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892" r:id="rId2"/>
    <p:sldId id="918" r:id="rId3"/>
    <p:sldId id="919" r:id="rId4"/>
    <p:sldId id="894" r:id="rId5"/>
    <p:sldId id="921" r:id="rId6"/>
    <p:sldId id="934" r:id="rId7"/>
    <p:sldId id="922" r:id="rId8"/>
    <p:sldId id="920" r:id="rId9"/>
    <p:sldId id="896" r:id="rId10"/>
    <p:sldId id="895" r:id="rId11"/>
    <p:sldId id="924" r:id="rId12"/>
    <p:sldId id="902" r:id="rId13"/>
    <p:sldId id="935" r:id="rId14"/>
    <p:sldId id="914" r:id="rId15"/>
    <p:sldId id="916" r:id="rId16"/>
    <p:sldId id="926" r:id="rId17"/>
    <p:sldId id="393" r:id="rId18"/>
    <p:sldId id="360" r:id="rId19"/>
    <p:sldId id="915" r:id="rId20"/>
    <p:sldId id="363" r:id="rId21"/>
    <p:sldId id="332" r:id="rId22"/>
    <p:sldId id="338" r:id="rId23"/>
    <p:sldId id="932" r:id="rId24"/>
    <p:sldId id="928" r:id="rId25"/>
    <p:sldId id="414" r:id="rId26"/>
    <p:sldId id="933" r:id="rId27"/>
    <p:sldId id="917" r:id="rId28"/>
    <p:sldId id="923" r:id="rId29"/>
    <p:sldId id="400" r:id="rId30"/>
    <p:sldId id="374" r:id="rId31"/>
    <p:sldId id="375" r:id="rId32"/>
    <p:sldId id="925" r:id="rId33"/>
    <p:sldId id="905" r:id="rId34"/>
  </p:sldIdLst>
  <p:sldSz cx="10693400" cy="7561263"/>
  <p:notesSz cx="9872663" cy="6742113"/>
  <p:defaultTextStyle>
    <a:defPPr>
      <a:defRPr lang="en-GB"/>
    </a:defPPr>
    <a:lvl1pPr marL="0" indent="0" algn="l" defTabSz="995690" rtl="0" eaLnBrk="1" latinLnBrk="0" hangingPunct="1">
      <a:spcBef>
        <a:spcPts val="0"/>
      </a:spcBef>
      <a:spcAft>
        <a:spcPts val="600"/>
      </a:spcAft>
      <a:buFont typeface="Arial" panose="020B0604020202020204" pitchFamily="34" charset="0"/>
      <a:buNone/>
      <a:defRPr sz="1200" b="0" kern="1200">
        <a:solidFill>
          <a:schemeClr val="accent1"/>
        </a:solidFill>
        <a:latin typeface="+mn-lt"/>
        <a:ea typeface="+mn-ea"/>
        <a:cs typeface="+mn-cs"/>
      </a:defRPr>
    </a:lvl1pPr>
    <a:lvl2pPr marL="0" indent="0" algn="l" defTabSz="995690" rtl="0" eaLnBrk="1" latinLnBrk="0" hangingPunct="1">
      <a:spcBef>
        <a:spcPts val="0"/>
      </a:spcBef>
      <a:spcAft>
        <a:spcPts val="600"/>
      </a:spcAft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975" indent="-180975" algn="l" defTabSz="995690" rtl="0" eaLnBrk="1" latinLnBrk="0" hangingPunct="1">
      <a:spcBef>
        <a:spcPts val="0"/>
      </a:spcBef>
      <a:spcAft>
        <a:spcPts val="600"/>
      </a:spcAft>
      <a:buClrTx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975" algn="l" defTabSz="995690" rtl="0" eaLnBrk="1" latinLnBrk="0" hangingPunct="1">
      <a:spcBef>
        <a:spcPts val="0"/>
      </a:spcBef>
      <a:spcAft>
        <a:spcPts val="600"/>
      </a:spcAft>
      <a:buClrTx/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40000" indent="-180975" algn="l" defTabSz="995690" rtl="0" eaLnBrk="1" latinLnBrk="0" hangingPunct="1">
      <a:spcBef>
        <a:spcPts val="0"/>
      </a:spcBef>
      <a:spcAft>
        <a:spcPts val="600"/>
      </a:spcAft>
      <a:buClrTx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95690" rtl="0" eaLnBrk="1" latinLnBrk="0" hangingPunct="1">
      <a:spcBef>
        <a:spcPts val="0"/>
      </a:spcBef>
      <a:spcAft>
        <a:spcPts val="600"/>
      </a:spcAft>
      <a:buClr>
        <a:schemeClr val="accent1"/>
      </a:buClr>
      <a:buFontTx/>
      <a:buNone/>
      <a:defRPr sz="1200" b="1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995690" rtl="0" eaLnBrk="1" latinLnBrk="0" hangingPunct="1">
      <a:spcBef>
        <a:spcPts val="0"/>
      </a:spcBef>
      <a:spcAft>
        <a:spcPts val="600"/>
      </a:spcAft>
      <a:buClr>
        <a:schemeClr val="bg2"/>
      </a:buClr>
      <a:buFontTx/>
      <a:buNone/>
      <a:defRPr sz="1400" b="0" kern="1200">
        <a:solidFill>
          <a:schemeClr val="accent1"/>
        </a:solidFill>
        <a:latin typeface="+mj-lt"/>
        <a:ea typeface="+mn-ea"/>
        <a:cs typeface="+mn-cs"/>
      </a:defRPr>
    </a:lvl7pPr>
    <a:lvl8pPr marL="180975" indent="-180975" algn="l" defTabSz="995690" rtl="0" eaLnBrk="1" latinLnBrk="0" hangingPunct="1">
      <a:spcBef>
        <a:spcPts val="0"/>
      </a:spcBef>
      <a:spcAft>
        <a:spcPts val="600"/>
      </a:spcAft>
      <a:buClrTx/>
      <a:buFont typeface="+mj-lt"/>
      <a:buAutoNum type="arabicPeriod"/>
      <a:defRPr sz="1200" kern="1200" baseline="0">
        <a:solidFill>
          <a:schemeClr val="tx1"/>
        </a:solidFill>
        <a:latin typeface="+mn-lt"/>
        <a:ea typeface="+mn-ea"/>
        <a:cs typeface="+mn-cs"/>
      </a:defRPr>
    </a:lvl8pPr>
    <a:lvl9pPr marL="360000" indent="-180975" algn="l" defTabSz="995690" rtl="0" eaLnBrk="1" latinLnBrk="0" hangingPunct="1">
      <a:spcBef>
        <a:spcPts val="0"/>
      </a:spcBef>
      <a:spcAft>
        <a:spcPts val="600"/>
      </a:spcAft>
      <a:buClrTx/>
      <a:buFont typeface="+mj-lt"/>
      <a:buAutoNum type="alphaLcPeriod"/>
      <a:defRPr sz="1200" kern="1200" baseline="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79" userDrawn="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4541"/>
    <a:srgbClr val="C35500"/>
    <a:srgbClr val="F4F0D4"/>
    <a:srgbClr val="FFFFFF"/>
    <a:srgbClr val="A38000"/>
    <a:srgbClr val="0F3F32"/>
    <a:srgbClr val="325C50"/>
    <a:srgbClr val="001F49"/>
    <a:srgbClr val="B19436"/>
    <a:srgbClr val="F5F2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533F8C-D18B-4762-8919-670824F8919E}">
  <a:tblStyle styleId="{D49E0F0E-A5B4-4547-9745-3D994D56F12B}" styleName="ToC table design">
    <a:wholeTbl>
      <a:tcTxStyle>
        <a:fontRef idx="minor"/>
        <a:schemeClr val="accent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9525" cmpd="sng">
              <a:solidFill>
                <a:schemeClr val="tx1"/>
              </a:solidFill>
            </a:ln>
          </a:top>
          <a:bottom>
            <a:ln w="9525" cmpd="sng">
              <a:solidFill>
                <a:schemeClr val="tx1"/>
              </a:solidFill>
            </a:ln>
          </a:bottom>
          <a:insideH>
            <a:ln w="9525" cmpd="sng">
              <a:solidFill>
                <a:schemeClr val="tx1"/>
              </a:solidFill>
            </a:ln>
          </a:insideH>
          <a:insideV>
            <a:ln w="0" cmpd="sng">
              <a:noFill/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firstRow>
      <a:tcTxStyle b="on">
        <a:fontRef idx="minor"/>
        <a:schemeClr val="tx1"/>
      </a:tcTxStyle>
      <a:tcStyle>
        <a:tcBdr>
          <a:top>
            <a:ln w="0" cmpd="sng">
              <a:noFill/>
            </a:ln>
          </a:top>
        </a:tcBdr>
      </a:tcStyle>
    </a:firstRow>
  </a:tblStyle>
  <a:tblStyle styleId="{83533F8C-D18B-4762-8919-670824F8919E}" styleName="Text table design">
    <a:wholeTbl>
      <a:tcTxStyle>
        <a:fontRef idx="minor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3175" cmpd="sng">
              <a:solidFill>
                <a:schemeClr val="tx1"/>
              </a:solidFill>
            </a:ln>
          </a:insideH>
          <a:insideV>
            <a:ln w="0" cmpd="sng"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dk1">
              <a:tint val="15000"/>
            </a:schemeClr>
          </a:solidFill>
        </a:fill>
      </a:tcStyle>
    </a:band1H>
    <a:band2H>
      <a:tcStyle>
        <a:tcBdr/>
      </a:tcStyle>
    </a:band2H>
    <a:band1V>
      <a:tcStyle>
        <a:tcBdr/>
      </a:tcStyle>
    </a:band1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firstRow>
      <a:tcTxStyle b="on">
        <a:fontRef idx="minor"/>
        <a:schemeClr val="accent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</a:tcStyle>
    </a:firstRow>
  </a:tblStyle>
  <a:tblStyle styleId="{7B619D63-DB6B-4383-81C1-41A0EA8E23FA}" styleName="Simple black text table design">
    <a:wholeTbl>
      <a:tcTxStyle>
        <a:fontRef idx="minor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3175" cmpd="sng">
              <a:solidFill>
                <a:schemeClr val="tx1"/>
              </a:solidFill>
            </a:ln>
          </a:insideH>
          <a:insideV>
            <a:ln w="0" cmpd="sng">
              <a:noFill/>
            </a:ln>
          </a:insideV>
        </a:tcBdr>
      </a:tcStyle>
    </a:wholeTbl>
    <a:band1H>
      <a:tcStyle>
        <a:tcBdr/>
        <a:fill>
          <a:solidFill>
            <a:schemeClr val="dk1">
              <a:tint val="15000"/>
            </a:schemeClr>
          </a:solidFill>
        </a:fill>
      </a:tcStyle>
    </a:band1H>
    <a:band2H>
      <a:tcStyle>
        <a:tcBdr/>
      </a:tcStyle>
    </a:band2H>
    <a:band1V>
      <a:tcStyle>
        <a:tcBdr/>
      </a:tcStyle>
    </a:band1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firstRow>
      <a:tcTxStyle b="on">
        <a:fontRef idx="minor"/>
        <a:schemeClr val="tx1"/>
      </a:tcTxStyle>
      <a:tcStyle>
        <a:tcBdr>
          <a:top>
            <a:ln w="0" cmpd="sng">
              <a:noFill/>
            </a:ln>
          </a:top>
          <a:bottom>
            <a:ln w="12700" cmpd="sng">
              <a:solidFill>
                <a:schemeClr val="tx1"/>
              </a:solidFill>
            </a:ln>
          </a:bottom>
        </a:tcBdr>
      </a:tcStyle>
    </a:firstRow>
  </a:tblStyle>
  <a:tblStyle styleId="{3CA677A0-8965-4289-897E-55E850D2B119}" styleName="Background 2 text table design">
    <a:wholeTbl>
      <a:tcTxStyle>
        <a:fontRef idx="minor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12700" cmpd="sng">
              <a:solidFill>
                <a:schemeClr val="bg2"/>
              </a:solidFill>
            </a:ln>
          </a:bottom>
          <a:insideH>
            <a:ln w="3175" cmpd="sng">
              <a:solidFill>
                <a:schemeClr val="tx1"/>
              </a:solidFill>
            </a:ln>
          </a:insideH>
          <a:insideV>
            <a:ln w="0" cmpd="sng"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dk1">
              <a:tint val="15000"/>
            </a:schemeClr>
          </a:solidFill>
        </a:fill>
      </a:tcStyle>
    </a:band1H>
    <a:band2H>
      <a:tcStyle>
        <a:tcBdr/>
      </a:tcStyle>
    </a:band2H>
    <a:band1V>
      <a:tcStyle>
        <a:tcBdr/>
      </a:tcStyle>
    </a:band1V>
    <a:lastCol>
      <a:tcTxStyle/>
      <a:tcStyle>
        <a:tcBdr/>
      </a:tcStyle>
    </a:lastCol>
    <a:firstCol>
      <a:tcTxStyle>
        <a:fontRef idx="minor">
          <a:schemeClr val="accent1"/>
        </a:fontRef>
        <a:schemeClr val="accent1"/>
      </a:tcTxStyle>
      <a:tcStyle>
        <a:tcBdr/>
      </a:tcStyle>
    </a:firstCol>
    <a:lastRow>
      <a:tcTxStyle/>
      <a:tcStyle>
        <a:tcBdr/>
      </a:tcStyle>
    </a:lastRow>
    <a:firstRow>
      <a:tcTxStyle b="on">
        <a:fontRef idx="minor"/>
        <a:schemeClr val="tx1"/>
      </a:tcTxStyle>
      <a:tcStyle>
        <a:tcBdr>
          <a:top>
            <a:ln w="0" cmpd="sng">
              <a:noFill/>
            </a:ln>
          </a:top>
          <a:bottom>
            <a:ln w="0" cmpd="sng">
              <a:noFill/>
            </a:ln>
          </a:bottom>
        </a:tcBdr>
        <a:fill>
          <a:solidFill>
            <a:schemeClr val="bg2"/>
          </a:solidFill>
        </a:fill>
      </a:tcStyle>
    </a:firstRow>
  </a:tblStyle>
  <a:tblStyle styleId="{C4115793-17EF-48D4-910C-43EAF39E0735}" styleName="Accent 1 text table design">
    <a:wholeTbl>
      <a:tcTxStyle>
        <a:fontRef idx="minor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3175" cmpd="sng">
              <a:solidFill>
                <a:schemeClr val="tx1"/>
              </a:solidFill>
            </a:ln>
          </a:insideH>
          <a:insideV>
            <a:ln w="0" cmpd="sng"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dk1">
              <a:tint val="15000"/>
            </a:schemeClr>
          </a:solidFill>
        </a:fill>
      </a:tcStyle>
    </a:band1H>
    <a:band2H>
      <a:tcStyle>
        <a:tcBdr/>
      </a:tcStyle>
    </a:band2H>
    <a:band1V>
      <a:tcStyle>
        <a:tcBdr/>
      </a:tcStyle>
    </a:band1V>
    <a:lastCol>
      <a:tcTxStyle/>
      <a:tcStyle>
        <a:tcBdr/>
      </a:tcStyle>
    </a:lastCol>
    <a:firstCol>
      <a:tcTxStyle>
        <a:fontRef idx="minor">
          <a:schemeClr val="tx1"/>
        </a:fontRef>
        <a:schemeClr val="tx1"/>
      </a:tcTxStyle>
      <a:tcStyle>
        <a:tcBdr/>
      </a:tcStyle>
    </a:firstCol>
    <a:lastRow>
      <a:tcTxStyle/>
      <a:tcStyle>
        <a:tcBdr/>
      </a:tcStyle>
    </a:lastRow>
    <a:firstRow>
      <a:tcTxStyle b="on">
        <a:fontRef idx="minor"/>
        <a:schemeClr val="lt1"/>
      </a:tcTxStyle>
      <a:tcStyle>
        <a:tcBdr>
          <a:top>
            <a:ln w="0" cmpd="sng">
              <a:noFill/>
            </a:ln>
          </a:top>
          <a:bottom>
            <a:ln w="0" cmpd="sng">
              <a:noFill/>
            </a:ln>
          </a:bottom>
        </a:tcBdr>
        <a:fill>
          <a:solidFill>
            <a:schemeClr val="accent1"/>
          </a:solidFill>
        </a:fill>
      </a:tcStyle>
    </a:firstRow>
  </a:tblStyle>
  <a:tblStyle styleId="{BF85C13B-E850-45F1-A6CA-C31FC0D0211D}" styleName="Text 1 text table design">
    <a:wholeTbl>
      <a:tcTxStyle>
        <a:fontRef idx="minor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3175" cmpd="sng">
              <a:solidFill>
                <a:schemeClr val="tx1"/>
              </a:solidFill>
            </a:ln>
          </a:insideH>
          <a:insideV>
            <a:ln w="0" cmpd="sng"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dk1">
              <a:tint val="15000"/>
            </a:schemeClr>
          </a:solidFill>
        </a:fill>
      </a:tcStyle>
    </a:band1H>
    <a:band2H>
      <a:tcStyle>
        <a:tcBdr/>
      </a:tcStyle>
    </a:band2H>
    <a:band1V>
      <a:tcStyle>
        <a:tcBdr/>
      </a:tcStyle>
    </a:band1V>
    <a:lastCol>
      <a:tcTxStyle/>
      <a:tcStyle>
        <a:tcBdr/>
      </a:tcStyle>
    </a:lastCol>
    <a:firstCol>
      <a:tcTxStyle>
        <a:fontRef idx="minor">
          <a:schemeClr val="tx1"/>
        </a:fontRef>
        <a:schemeClr val="tx1"/>
      </a:tcTxStyle>
      <a:tcStyle>
        <a:tcBdr/>
      </a:tcStyle>
    </a:firstCol>
    <a:lastRow>
      <a:tcTxStyle/>
      <a:tcStyle>
        <a:tcBdr/>
      </a:tcStyle>
    </a:lastRow>
    <a:firstRow>
      <a:tcTxStyle b="on">
        <a:fontRef idx="minor"/>
        <a:schemeClr val="lt1"/>
      </a:tcTxStyle>
      <a:tcStyle>
        <a:tcBdr>
          <a:top>
            <a:ln w="0" cmpd="sng">
              <a:noFill/>
            </a:ln>
          </a:top>
          <a:bottom>
            <a:ln w="0" cmpd="sng">
              <a:noFill/>
            </a:ln>
          </a:bottom>
        </a:tcBdr>
        <a:fill>
          <a:solidFill>
            <a:schemeClr val="tx1"/>
          </a:solidFill>
        </a:fill>
      </a:tcStyle>
    </a:firstRow>
  </a:tblStyle>
  <a:tblStyle styleId="{82CED4C5-AB9F-4B39-AE40-79E33D72183D}" styleName="Accent 2 text table design">
    <a:wholeTbl>
      <a:tcTxStyle>
        <a:fontRef idx="minor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3175" cmpd="sng">
              <a:solidFill>
                <a:schemeClr val="tx1"/>
              </a:solidFill>
            </a:ln>
          </a:insideH>
          <a:insideV>
            <a:ln w="0" cmpd="sng"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dk1">
              <a:tint val="15000"/>
            </a:schemeClr>
          </a:solidFill>
        </a:fill>
      </a:tcStyle>
    </a:band1H>
    <a:band2H>
      <a:tcStyle>
        <a:tcBdr/>
      </a:tcStyle>
    </a:band2H>
    <a:band1V>
      <a:tcStyle>
        <a:tcBdr/>
      </a:tcStyle>
    </a:band1V>
    <a:lastCol>
      <a:tcTxStyle/>
      <a:tcStyle>
        <a:tcBdr/>
      </a:tcStyle>
    </a:lastCol>
    <a:firstCol>
      <a:tcTxStyle>
        <a:fontRef idx="minor">
          <a:schemeClr val="tx1"/>
        </a:fontRef>
        <a:schemeClr val="tx1"/>
      </a:tcTxStyle>
      <a:tcStyle>
        <a:tcBdr/>
      </a:tcStyle>
    </a:firstCol>
    <a:lastRow>
      <a:tcTxStyle/>
      <a:tcStyle>
        <a:tcBdr/>
      </a:tcStyle>
    </a:lastRow>
    <a:firstRow>
      <a:tcTxStyle b="on">
        <a:fontRef idx="minor"/>
        <a:schemeClr val="lt1"/>
      </a:tcTxStyle>
      <a:tcStyle>
        <a:tcBdr>
          <a:top>
            <a:ln w="0" cmpd="sng">
              <a:noFill/>
            </a:ln>
          </a:top>
          <a:bottom>
            <a:ln w="0" cmpd="sng">
              <a:noFill/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710" autoAdjust="0"/>
  </p:normalViewPr>
  <p:slideViewPr>
    <p:cSldViewPr snapToObjects="1">
      <p:cViewPr varScale="1">
        <p:scale>
          <a:sx n="75" d="100"/>
          <a:sy n="75" d="100"/>
        </p:scale>
        <p:origin x="906" y="42"/>
      </p:cViewPr>
      <p:guideLst>
        <p:guide orient="horz" pos="3379"/>
        <p:guide pos="3368"/>
      </p:guideLst>
    </p:cSldViewPr>
  </p:slideViewPr>
  <p:outlineViewPr>
    <p:cViewPr>
      <p:scale>
        <a:sx n="33" d="100"/>
        <a:sy n="33" d="100"/>
      </p:scale>
      <p:origin x="0" y="-15078"/>
    </p:cViewPr>
  </p:outlineViewPr>
  <p:notesTextViewPr>
    <p:cViewPr>
      <p:scale>
        <a:sx n="50" d="100"/>
        <a:sy n="50" d="100"/>
      </p:scale>
      <p:origin x="0" y="0"/>
    </p:cViewPr>
  </p:notesTextViewPr>
  <p:sorterViewPr>
    <p:cViewPr varScale="1">
      <p:scale>
        <a:sx n="1" d="1"/>
        <a:sy n="1" d="1"/>
      </p:scale>
      <p:origin x="0" y="-1506"/>
    </p:cViewPr>
  </p:sorterViewPr>
  <p:notesViewPr>
    <p:cSldViewPr snapToObjects="1" showGuides="1">
      <p:cViewPr varScale="1">
        <p:scale>
          <a:sx n="109" d="100"/>
          <a:sy n="109" d="100"/>
        </p:scale>
        <p:origin x="229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4F6354E-7CBF-40DA-9EA9-5CD34A4D421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4278154" cy="338277"/>
          </a:xfrm>
          <a:prstGeom prst="rect">
            <a:avLst/>
          </a:prstGeom>
        </p:spPr>
        <p:txBody>
          <a:bodyPr vert="horz" lIns="91953" tIns="45976" rIns="91953" bIns="4597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9FD799-075E-4090-8C6D-0BE599A5ED3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592225" y="1"/>
            <a:ext cx="4278154" cy="338277"/>
          </a:xfrm>
          <a:prstGeom prst="rect">
            <a:avLst/>
          </a:prstGeom>
        </p:spPr>
        <p:txBody>
          <a:bodyPr vert="horz" lIns="91953" tIns="45976" rIns="91953" bIns="45976" rtlCol="0"/>
          <a:lstStyle>
            <a:lvl1pPr algn="r">
              <a:defRPr sz="1200"/>
            </a:lvl1pPr>
          </a:lstStyle>
          <a:p>
            <a:fld id="{3D14D6CE-F47E-4A82-AE43-960B3EB297C8}" type="datetimeFigureOut">
              <a:rPr lang="en-GB" smtClean="0"/>
              <a:t/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CA3F7D-DA10-47D4-A201-1E70BDF8EB1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6403839"/>
            <a:ext cx="4278154" cy="338277"/>
          </a:xfrm>
          <a:prstGeom prst="rect">
            <a:avLst/>
          </a:prstGeom>
        </p:spPr>
        <p:txBody>
          <a:bodyPr vert="horz" lIns="91953" tIns="45976" rIns="91953" bIns="4597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AA9955-E27A-4339-BDAD-8A4A7BC26DD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592225" y="6403839"/>
            <a:ext cx="4278154" cy="338277"/>
          </a:xfrm>
          <a:prstGeom prst="rect">
            <a:avLst/>
          </a:prstGeom>
        </p:spPr>
        <p:txBody>
          <a:bodyPr vert="horz" lIns="91953" tIns="45976" rIns="91953" bIns="45976" rtlCol="0" anchor="b"/>
          <a:lstStyle>
            <a:lvl1pPr algn="r">
              <a:defRPr sz="1200"/>
            </a:lvl1pPr>
          </a:lstStyle>
          <a:p>
            <a:fld id="{522F76C9-224D-4B37-BE65-408FF489C1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4814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278154" cy="337105"/>
          </a:xfrm>
          <a:prstGeom prst="rect">
            <a:avLst/>
          </a:prstGeom>
        </p:spPr>
        <p:txBody>
          <a:bodyPr vert="horz" lIns="91953" tIns="45976" rIns="91953" bIns="4597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2225" y="1"/>
            <a:ext cx="4278154" cy="337105"/>
          </a:xfrm>
          <a:prstGeom prst="rect">
            <a:avLst/>
          </a:prstGeom>
        </p:spPr>
        <p:txBody>
          <a:bodyPr vert="horz" lIns="91953" tIns="45976" rIns="91953" bIns="45976" rtlCol="0"/>
          <a:lstStyle>
            <a:lvl1pPr algn="r">
              <a:defRPr sz="1200"/>
            </a:lvl1pPr>
          </a:lstStyle>
          <a:p>
            <a:fld id="{D36F24F6-1556-47AD-907E-11C4C804A6C2}" type="datetimeFigureOut">
              <a:rPr lang="en-GB" smtClean="0"/>
              <a:t/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46425" y="503238"/>
            <a:ext cx="3579813" cy="2532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53" tIns="45976" rIns="91953" bIns="4597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7267" y="3202504"/>
            <a:ext cx="7898130" cy="3033951"/>
          </a:xfrm>
          <a:prstGeom prst="rect">
            <a:avLst/>
          </a:prstGeom>
        </p:spPr>
        <p:txBody>
          <a:bodyPr vert="horz" lIns="91953" tIns="45976" rIns="91953" bIns="4597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03839"/>
            <a:ext cx="4278154" cy="337105"/>
          </a:xfrm>
          <a:prstGeom prst="rect">
            <a:avLst/>
          </a:prstGeom>
        </p:spPr>
        <p:txBody>
          <a:bodyPr vert="horz" lIns="91953" tIns="45976" rIns="91953" bIns="4597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2225" y="6403839"/>
            <a:ext cx="4278154" cy="337105"/>
          </a:xfrm>
          <a:prstGeom prst="rect">
            <a:avLst/>
          </a:prstGeom>
        </p:spPr>
        <p:txBody>
          <a:bodyPr vert="horz" lIns="91953" tIns="45976" rIns="91953" bIns="45976" rtlCol="0" anchor="b"/>
          <a:lstStyle>
            <a:lvl1pPr algn="r">
              <a:defRPr sz="1200"/>
            </a:lvl1pPr>
          </a:lstStyle>
          <a:p>
            <a:fld id="{8731FDDB-74AF-466F-B92E-1346EC410F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5987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/>
        </p:txBody>
      </p:sp>
    </p:spTree>
    <p:extLst>
      <p:ext uri="{BB962C8B-B14F-4D97-AF65-F5344CB8AC3E}">
        <p14:creationId xmlns:p14="http://schemas.microsoft.com/office/powerpoint/2010/main" val="6483409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/>
        </p:txBody>
      </p:sp>
    </p:spTree>
    <p:extLst>
      <p:ext uri="{BB962C8B-B14F-4D97-AF65-F5344CB8AC3E}">
        <p14:creationId xmlns:p14="http://schemas.microsoft.com/office/powerpoint/2010/main" val="30521084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/>
        </p:txBody>
      </p:sp>
    </p:spTree>
    <p:extLst>
      <p:ext uri="{BB962C8B-B14F-4D97-AF65-F5344CB8AC3E}">
        <p14:creationId xmlns:p14="http://schemas.microsoft.com/office/powerpoint/2010/main" val="39043839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/>
        </p:txBody>
      </p:sp>
    </p:spTree>
    <p:extLst>
      <p:ext uri="{BB962C8B-B14F-4D97-AF65-F5344CB8AC3E}">
        <p14:creationId xmlns:p14="http://schemas.microsoft.com/office/powerpoint/2010/main" val="5144940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/>
        </p:txBody>
      </p:sp>
    </p:spTree>
    <p:extLst>
      <p:ext uri="{BB962C8B-B14F-4D97-AF65-F5344CB8AC3E}">
        <p14:creationId xmlns:p14="http://schemas.microsoft.com/office/powerpoint/2010/main" val="34241050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7"/>
          <p:cNvSpPr txBox="1">
            <a:spLocks noGrp="1" noChangeArrowheads="1"/>
          </p:cNvSpPr>
          <p:nvPr/>
        </p:nvSpPr>
        <p:spPr bwMode="auto">
          <a:xfrm>
            <a:off x="3809711" y="9285529"/>
            <a:ext cx="2913396" cy="487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767" tIns="42882" rIns="85767" bIns="42882" anchor="b"/>
          <a:lstStyle/>
          <a:p>
            <a:pPr algn="r" defTabSz="856230"/>
            <a:fld id="{D727B8FA-FD15-4B12-9B1B-78D98F61911C}" type="slidenum">
              <a:rPr lang="en-GB" sz="1200">
                <a:solidFill>
                  <a:schemeClr val="tx1"/>
                </a:solidFill>
                <a:latin typeface="Arial" charset="0"/>
              </a:rPr>
              <a:pPr algn="r" defTabSz="856230"/>
              <a:t>30</a:t>
            </a:fld>
            <a:endParaRPr lang="en-GB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/>
        </p:txBody>
      </p:sp>
    </p:spTree>
    <p:extLst>
      <p:ext uri="{BB962C8B-B14F-4D97-AF65-F5344CB8AC3E}">
        <p14:creationId xmlns:p14="http://schemas.microsoft.com/office/powerpoint/2010/main" val="141701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ront Cov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4AC00F-605D-415A-A2D8-83F979DB28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62524" y="1548383"/>
            <a:ext cx="6294288" cy="52572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205D83EE-C05D-414B-919A-00537834CF5F}"/>
              </a:ext>
            </a:extLst>
          </p:cNvPr>
          <p:cNvSpPr txBox="1">
            <a:spLocks/>
          </p:cNvSpPr>
          <p:nvPr userDrawn="1"/>
        </p:nvSpPr>
        <p:spPr>
          <a:xfrm>
            <a:off x="630238" y="6984987"/>
            <a:ext cx="2143125" cy="19087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00" b="0" i="0" kern="1200" cap="none" baseline="0">
                <a:solidFill>
                  <a:schemeClr val="bg1"/>
                </a:solidFill>
                <a:latin typeface="CeraPRO-Medium ☞" panose="020B0600000000000000" pitchFamily="34" charset="0"/>
                <a:ea typeface="+mn-ea"/>
                <a:cs typeface="+mn-cs"/>
              </a:defRPr>
            </a:lvl1pPr>
            <a:lvl2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900" b="1" i="0" kern="1200" dirty="0">
                <a:solidFill>
                  <a:schemeClr val="bg1"/>
                </a:solidFill>
                <a:latin typeface="CeraPRO-Bold ☞" panose="020B0600000000000000" pitchFamily="34" charset="0"/>
                <a:ea typeface="+mn-ea"/>
                <a:cs typeface="+mn-cs"/>
              </a:defRPr>
            </a:lvl2pPr>
            <a:lvl3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900" kern="1200">
                <a:solidFill>
                  <a:schemeClr val="bg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3pPr>
            <a:lvl4pPr marL="180000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bg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4pPr>
            <a:lvl5pPr marL="360000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"/>
              <a:buChar char="-"/>
              <a:defRPr sz="900" kern="1200">
                <a:solidFill>
                  <a:schemeClr val="bg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5pPr>
            <a:lvl6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900" b="0" kern="1200">
                <a:solidFill>
                  <a:schemeClr val="accent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6pPr>
            <a:lvl7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sz="900" b="0" kern="1200">
                <a:solidFill>
                  <a:schemeClr val="tx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7pPr>
            <a:lvl8pPr marL="180975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900" kern="1200" baseline="0">
                <a:solidFill>
                  <a:schemeClr val="tx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8pPr>
            <a:lvl9pPr marL="360000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900" kern="1200" baseline="0">
                <a:solidFill>
                  <a:schemeClr val="tx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9pPr>
          </a:lstStyle>
          <a:p>
            <a:r>
              <a:rPr lang="en-US" b="1" dirty="0" err="1">
                <a:latin typeface="+mn-lt"/>
              </a:rPr>
              <a:t>traverssmith.com</a:t>
            </a:r>
            <a:endParaRPr lang="en-US" b="1" dirty="0">
              <a:latin typeface="+mn-lt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440DDBFC-AC61-E148-8DBA-8ADCDE716584}"/>
              </a:ext>
            </a:extLst>
          </p:cNvPr>
          <p:cNvSpPr txBox="1">
            <a:spLocks/>
          </p:cNvSpPr>
          <p:nvPr userDrawn="1"/>
        </p:nvSpPr>
        <p:spPr>
          <a:xfrm>
            <a:off x="7920039" y="7010138"/>
            <a:ext cx="2143125" cy="19087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algn="r">
              <a:lnSpc>
                <a:spcPct val="110000"/>
              </a:lnSpc>
              <a:spcAft>
                <a:spcPts val="900"/>
              </a:spcAft>
              <a:defRPr sz="800" i="0" cap="none" baseline="0">
                <a:solidFill>
                  <a:schemeClr val="bg1"/>
                </a:solidFill>
                <a:latin typeface="CeraPRO-Medium ☞" panose="020B0600000000000000" pitchFamily="34" charset="0"/>
              </a:defRPr>
            </a:lvl1pPr>
            <a:lvl2pPr>
              <a:lnSpc>
                <a:spcPct val="110000"/>
              </a:lnSpc>
              <a:defRPr lang="en-US" sz="900" b="1" i="0" dirty="0">
                <a:solidFill>
                  <a:schemeClr val="bg1"/>
                </a:solidFill>
                <a:latin typeface="CeraPRO-Bold ☞" panose="020B0600000000000000" pitchFamily="34" charset="0"/>
              </a:defRPr>
            </a:lvl2pPr>
            <a:lvl3pPr marL="0" indent="0">
              <a:lnSpc>
                <a:spcPct val="110000"/>
              </a:lnSpc>
              <a:buClr>
                <a:schemeClr val="accent1"/>
              </a:buClr>
              <a:buFontTx/>
              <a:buNone/>
              <a:defRPr sz="900">
                <a:solidFill>
                  <a:schemeClr val="bg1"/>
                </a:solidFill>
                <a:latin typeface="CeraPRO-Regular ☞" panose="020B0500000000000000" pitchFamily="34" charset="0"/>
              </a:defRPr>
            </a:lvl3pPr>
            <a:lvl4pPr marL="180000">
              <a:lnSpc>
                <a:spcPct val="110000"/>
              </a:lnSpc>
              <a:buClr>
                <a:schemeClr val="bg1"/>
              </a:buClr>
              <a:buChar char="•"/>
              <a:defRPr sz="900">
                <a:solidFill>
                  <a:schemeClr val="bg1"/>
                </a:solidFill>
                <a:latin typeface="CeraPRO-Regular ☞" panose="020B0500000000000000" pitchFamily="34" charset="0"/>
              </a:defRPr>
            </a:lvl4pPr>
            <a:lvl5pPr marL="360000">
              <a:lnSpc>
                <a:spcPct val="110000"/>
              </a:lnSpc>
              <a:buClr>
                <a:schemeClr val="bg1"/>
              </a:buClr>
              <a:buFont typeface="System Font"/>
              <a:buChar char="-"/>
              <a:defRPr sz="900">
                <a:solidFill>
                  <a:schemeClr val="bg1"/>
                </a:solidFill>
                <a:latin typeface="CeraPRO-Regular ☞" panose="020B0500000000000000" pitchFamily="34" charset="0"/>
              </a:defRPr>
            </a:lvl5pPr>
            <a:lvl6pPr>
              <a:lnSpc>
                <a:spcPct val="110000"/>
              </a:lnSpc>
              <a:defRPr sz="900" b="0">
                <a:solidFill>
                  <a:schemeClr val="accent1"/>
                </a:solidFill>
                <a:latin typeface="CeraPRO-Regular ☞" panose="020B0500000000000000" pitchFamily="34" charset="0"/>
              </a:defRPr>
            </a:lvl6pPr>
            <a:lvl7pPr>
              <a:lnSpc>
                <a:spcPct val="110000"/>
              </a:lnSpc>
              <a:defRPr sz="900">
                <a:solidFill>
                  <a:schemeClr val="tx1"/>
                </a:solidFill>
                <a:latin typeface="CeraPRO-Regular ☞" panose="020B0500000000000000" pitchFamily="34" charset="0"/>
              </a:defRPr>
            </a:lvl7pPr>
            <a:lvl8pPr>
              <a:lnSpc>
                <a:spcPct val="110000"/>
              </a:lnSpc>
              <a:defRPr sz="900">
                <a:latin typeface="CeraPRO-Regular ☞" panose="020B0500000000000000" pitchFamily="34" charset="0"/>
              </a:defRPr>
            </a:lvl8pPr>
            <a:lvl9pPr>
              <a:lnSpc>
                <a:spcPct val="110000"/>
              </a:lnSpc>
              <a:defRPr sz="900">
                <a:latin typeface="CeraPRO-Regular ☞" panose="020B0500000000000000" pitchFamily="34" charset="0"/>
              </a:defRPr>
            </a:lvl9pPr>
          </a:lstStyle>
          <a:p>
            <a:pPr lvl="0"/>
            <a:r>
              <a:rPr lang="en-US" b="0" noProof="0" dirty="0">
                <a:latin typeface="+mn-lt"/>
              </a:rPr>
              <a:t>@ Travers Smith 2021</a:t>
            </a:r>
          </a:p>
        </p:txBody>
      </p:sp>
      <p:grpSp>
        <p:nvGrpSpPr>
          <p:cNvPr id="4" name="Graphic 1">
            <a:extLst>
              <a:ext uri="{FF2B5EF4-FFF2-40B4-BE49-F238E27FC236}">
                <a16:creationId xmlns:a16="http://schemas.microsoft.com/office/drawing/2014/main" id="{08A9DE7D-B30C-443E-95B0-2D7064EA8C60}"/>
              </a:ext>
            </a:extLst>
          </p:cNvPr>
          <p:cNvGrpSpPr/>
          <p:nvPr/>
        </p:nvGrpSpPr>
        <p:grpSpPr>
          <a:xfrm>
            <a:off x="8296584" y="578645"/>
            <a:ext cx="1764134" cy="455059"/>
            <a:chOff x="8296584" y="578645"/>
            <a:chExt cx="1764134" cy="455059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7350910-ADF2-4A5D-92AD-ECE9F28CBF87}"/>
                </a:ext>
              </a:extLst>
            </p:cNvPr>
            <p:cNvSpPr/>
            <p:nvPr/>
          </p:nvSpPr>
          <p:spPr>
            <a:xfrm>
              <a:off x="8296584" y="578645"/>
              <a:ext cx="1265439" cy="211945"/>
            </a:xfrm>
            <a:custGeom>
              <a:avLst/>
              <a:gdLst>
                <a:gd name="connsiteX0" fmla="*/ 1164765 w 1265438"/>
                <a:gd name="connsiteY0" fmla="*/ 4114 h 211945"/>
                <a:gd name="connsiteX1" fmla="*/ 1142885 w 1265438"/>
                <a:gd name="connsiteY1" fmla="*/ 15958 h 211945"/>
                <a:gd name="connsiteX2" fmla="*/ 1128298 w 1265438"/>
                <a:gd name="connsiteY2" fmla="*/ 34659 h 211945"/>
                <a:gd name="connsiteX3" fmla="*/ 1122937 w 1265438"/>
                <a:gd name="connsiteY3" fmla="*/ 59220 h 211945"/>
                <a:gd name="connsiteX4" fmla="*/ 1126739 w 1265438"/>
                <a:gd name="connsiteY4" fmla="*/ 79168 h 211945"/>
                <a:gd name="connsiteX5" fmla="*/ 1137212 w 1265438"/>
                <a:gd name="connsiteY5" fmla="*/ 95313 h 211945"/>
                <a:gd name="connsiteX6" fmla="*/ 1153233 w 1265438"/>
                <a:gd name="connsiteY6" fmla="*/ 108466 h 211945"/>
                <a:gd name="connsiteX7" fmla="*/ 1173679 w 1265438"/>
                <a:gd name="connsiteY7" fmla="*/ 119375 h 211945"/>
                <a:gd name="connsiteX8" fmla="*/ 1195871 w 1265438"/>
                <a:gd name="connsiteY8" fmla="*/ 129536 h 211945"/>
                <a:gd name="connsiteX9" fmla="*/ 1215507 w 1265438"/>
                <a:gd name="connsiteY9" fmla="*/ 140320 h 211945"/>
                <a:gd name="connsiteX10" fmla="*/ 1222489 w 1265438"/>
                <a:gd name="connsiteY10" fmla="*/ 155530 h 211945"/>
                <a:gd name="connsiteX11" fmla="*/ 1214697 w 1265438"/>
                <a:gd name="connsiteY11" fmla="*/ 172611 h 211945"/>
                <a:gd name="connsiteX12" fmla="*/ 1192941 w 1265438"/>
                <a:gd name="connsiteY12" fmla="*/ 178657 h 211945"/>
                <a:gd name="connsiteX13" fmla="*/ 1175798 w 1265438"/>
                <a:gd name="connsiteY13" fmla="*/ 176102 h 211945"/>
                <a:gd name="connsiteX14" fmla="*/ 1162022 w 1265438"/>
                <a:gd name="connsiteY14" fmla="*/ 169307 h 211945"/>
                <a:gd name="connsiteX15" fmla="*/ 1150739 w 1265438"/>
                <a:gd name="connsiteY15" fmla="*/ 159645 h 211945"/>
                <a:gd name="connsiteX16" fmla="*/ 1141513 w 1265438"/>
                <a:gd name="connsiteY16" fmla="*/ 148237 h 211945"/>
                <a:gd name="connsiteX17" fmla="*/ 1112028 w 1265438"/>
                <a:gd name="connsiteY17" fmla="*/ 170367 h 211945"/>
                <a:gd name="connsiteX18" fmla="*/ 1144568 w 1265438"/>
                <a:gd name="connsiteY18" fmla="*/ 203904 h 211945"/>
                <a:gd name="connsiteX19" fmla="*/ 1192941 w 1265438"/>
                <a:gd name="connsiteY19" fmla="*/ 216558 h 211945"/>
                <a:gd name="connsiteX20" fmla="*/ 1221803 w 1265438"/>
                <a:gd name="connsiteY20" fmla="*/ 212257 h 211945"/>
                <a:gd name="connsiteX21" fmla="*/ 1244930 w 1265438"/>
                <a:gd name="connsiteY21" fmla="*/ 199914 h 211945"/>
                <a:gd name="connsiteX22" fmla="*/ 1260452 w 1265438"/>
                <a:gd name="connsiteY22" fmla="*/ 180153 h 211945"/>
                <a:gd name="connsiteX23" fmla="*/ 1266187 w 1265438"/>
                <a:gd name="connsiteY23" fmla="*/ 153847 h 211945"/>
                <a:gd name="connsiteX24" fmla="*/ 1252722 w 1265438"/>
                <a:gd name="connsiteY24" fmla="*/ 117630 h 211945"/>
                <a:gd name="connsiteX25" fmla="*/ 1214510 w 1265438"/>
                <a:gd name="connsiteY25" fmla="*/ 92757 h 211945"/>
                <a:gd name="connsiteX26" fmla="*/ 1190697 w 1265438"/>
                <a:gd name="connsiteY26" fmla="*/ 82285 h 211945"/>
                <a:gd name="connsiteX27" fmla="*/ 1172619 w 1265438"/>
                <a:gd name="connsiteY27" fmla="*/ 72186 h 211945"/>
                <a:gd name="connsiteX28" fmla="*/ 1166261 w 1265438"/>
                <a:gd name="connsiteY28" fmla="*/ 58285 h 211945"/>
                <a:gd name="connsiteX29" fmla="*/ 1173866 w 1265438"/>
                <a:gd name="connsiteY29" fmla="*/ 42950 h 211945"/>
                <a:gd name="connsiteX30" fmla="*/ 1192255 w 1265438"/>
                <a:gd name="connsiteY30" fmla="*/ 38025 h 211945"/>
                <a:gd name="connsiteX31" fmla="*/ 1214946 w 1265438"/>
                <a:gd name="connsiteY31" fmla="*/ 44384 h 211945"/>
                <a:gd name="connsiteX32" fmla="*/ 1232213 w 1265438"/>
                <a:gd name="connsiteY32" fmla="*/ 62088 h 211945"/>
                <a:gd name="connsiteX33" fmla="*/ 1261387 w 1265438"/>
                <a:gd name="connsiteY33" fmla="*/ 39584 h 211945"/>
                <a:gd name="connsiteX34" fmla="*/ 1234582 w 1265438"/>
                <a:gd name="connsiteY34" fmla="*/ 11221 h 211945"/>
                <a:gd name="connsiteX35" fmla="*/ 1191944 w 1265438"/>
                <a:gd name="connsiteY35" fmla="*/ 0 h 211945"/>
                <a:gd name="connsiteX36" fmla="*/ 1164765 w 1265438"/>
                <a:gd name="connsiteY36" fmla="*/ 4114 h 211945"/>
                <a:gd name="connsiteX37" fmla="*/ 1008673 w 1265438"/>
                <a:gd name="connsiteY37" fmla="*/ 41454 h 211945"/>
                <a:gd name="connsiteX38" fmla="*/ 1032174 w 1265438"/>
                <a:gd name="connsiteY38" fmla="*/ 49682 h 211945"/>
                <a:gd name="connsiteX39" fmla="*/ 1040403 w 1265438"/>
                <a:gd name="connsiteY39" fmla="*/ 71189 h 211945"/>
                <a:gd name="connsiteX40" fmla="*/ 1032174 w 1265438"/>
                <a:gd name="connsiteY40" fmla="*/ 93007 h 211945"/>
                <a:gd name="connsiteX41" fmla="*/ 1008673 w 1265438"/>
                <a:gd name="connsiteY41" fmla="*/ 101235 h 211945"/>
                <a:gd name="connsiteX42" fmla="*/ 972830 w 1265438"/>
                <a:gd name="connsiteY42" fmla="*/ 101235 h 211945"/>
                <a:gd name="connsiteX43" fmla="*/ 972830 w 1265438"/>
                <a:gd name="connsiteY43" fmla="*/ 41392 h 211945"/>
                <a:gd name="connsiteX44" fmla="*/ 1008673 w 1265438"/>
                <a:gd name="connsiteY44" fmla="*/ 41392 h 211945"/>
                <a:gd name="connsiteX45" fmla="*/ 930004 w 1265438"/>
                <a:gd name="connsiteY45" fmla="*/ 3803 h 211945"/>
                <a:gd name="connsiteX46" fmla="*/ 930004 w 1265438"/>
                <a:gd name="connsiteY46" fmla="*/ 212756 h 211945"/>
                <a:gd name="connsiteX47" fmla="*/ 972830 w 1265438"/>
                <a:gd name="connsiteY47" fmla="*/ 212756 h 211945"/>
                <a:gd name="connsiteX48" fmla="*/ 972830 w 1265438"/>
                <a:gd name="connsiteY48" fmla="*/ 139011 h 211945"/>
                <a:gd name="connsiteX49" fmla="*/ 1003936 w 1265438"/>
                <a:gd name="connsiteY49" fmla="*/ 139011 h 211945"/>
                <a:gd name="connsiteX50" fmla="*/ 1058169 w 1265438"/>
                <a:gd name="connsiteY50" fmla="*/ 212756 h 211945"/>
                <a:gd name="connsiteX51" fmla="*/ 1106355 w 1265438"/>
                <a:gd name="connsiteY51" fmla="*/ 212756 h 211945"/>
                <a:gd name="connsiteX52" fmla="*/ 1047384 w 1265438"/>
                <a:gd name="connsiteY52" fmla="*/ 130783 h 211945"/>
                <a:gd name="connsiteX53" fmla="*/ 1074314 w 1265438"/>
                <a:gd name="connsiteY53" fmla="*/ 107219 h 211945"/>
                <a:gd name="connsiteX54" fmla="*/ 1084163 w 1265438"/>
                <a:gd name="connsiteY54" fmla="*/ 71313 h 211945"/>
                <a:gd name="connsiteX55" fmla="*/ 1078615 w 1265438"/>
                <a:gd name="connsiteY55" fmla="*/ 43636 h 211945"/>
                <a:gd name="connsiteX56" fmla="*/ 1063093 w 1265438"/>
                <a:gd name="connsiteY56" fmla="*/ 22254 h 211945"/>
                <a:gd name="connsiteX57" fmla="*/ 1039281 w 1265438"/>
                <a:gd name="connsiteY57" fmla="*/ 8665 h 211945"/>
                <a:gd name="connsiteX58" fmla="*/ 1008985 w 1265438"/>
                <a:gd name="connsiteY58" fmla="*/ 3927 h 211945"/>
                <a:gd name="connsiteX59" fmla="*/ 930004 w 1265438"/>
                <a:gd name="connsiteY59" fmla="*/ 3927 h 211945"/>
                <a:gd name="connsiteX60" fmla="*/ 901828 w 1265438"/>
                <a:gd name="connsiteY60" fmla="*/ 3803 h 211945"/>
                <a:gd name="connsiteX61" fmla="*/ 761009 w 1265438"/>
                <a:gd name="connsiteY61" fmla="*/ 3803 h 211945"/>
                <a:gd name="connsiteX62" fmla="*/ 761009 w 1265438"/>
                <a:gd name="connsiteY62" fmla="*/ 212756 h 211945"/>
                <a:gd name="connsiteX63" fmla="*/ 905630 w 1265438"/>
                <a:gd name="connsiteY63" fmla="*/ 212756 h 211945"/>
                <a:gd name="connsiteX64" fmla="*/ 905630 w 1265438"/>
                <a:gd name="connsiteY64" fmla="*/ 174107 h 211945"/>
                <a:gd name="connsiteX65" fmla="*/ 803834 w 1265438"/>
                <a:gd name="connsiteY65" fmla="*/ 174107 h 211945"/>
                <a:gd name="connsiteX66" fmla="*/ 803834 w 1265438"/>
                <a:gd name="connsiteY66" fmla="*/ 121245 h 211945"/>
                <a:gd name="connsiteX67" fmla="*/ 876145 w 1265438"/>
                <a:gd name="connsiteY67" fmla="*/ 121245 h 211945"/>
                <a:gd name="connsiteX68" fmla="*/ 876145 w 1265438"/>
                <a:gd name="connsiteY68" fmla="*/ 84840 h 211945"/>
                <a:gd name="connsiteX69" fmla="*/ 803834 w 1265438"/>
                <a:gd name="connsiteY69" fmla="*/ 84840 h 211945"/>
                <a:gd name="connsiteX70" fmla="*/ 803834 w 1265438"/>
                <a:gd name="connsiteY70" fmla="*/ 42451 h 211945"/>
                <a:gd name="connsiteX71" fmla="*/ 901828 w 1265438"/>
                <a:gd name="connsiteY71" fmla="*/ 42451 h 211945"/>
                <a:gd name="connsiteX72" fmla="*/ 901828 w 1265438"/>
                <a:gd name="connsiteY72" fmla="*/ 3803 h 211945"/>
                <a:gd name="connsiteX73" fmla="*/ 738755 w 1265438"/>
                <a:gd name="connsiteY73" fmla="*/ 3803 h 211945"/>
                <a:gd name="connsiteX74" fmla="*/ 690568 w 1265438"/>
                <a:gd name="connsiteY74" fmla="*/ 3803 h 211945"/>
                <a:gd name="connsiteX75" fmla="*/ 638205 w 1265438"/>
                <a:gd name="connsiteY75" fmla="*/ 130783 h 211945"/>
                <a:gd name="connsiteX76" fmla="*/ 585842 w 1265438"/>
                <a:gd name="connsiteY76" fmla="*/ 3803 h 211945"/>
                <a:gd name="connsiteX77" fmla="*/ 537656 w 1265438"/>
                <a:gd name="connsiteY77" fmla="*/ 3803 h 211945"/>
                <a:gd name="connsiteX78" fmla="*/ 631223 w 1265438"/>
                <a:gd name="connsiteY78" fmla="*/ 216558 h 211945"/>
                <a:gd name="connsiteX79" fmla="*/ 645187 w 1265438"/>
                <a:gd name="connsiteY79" fmla="*/ 216558 h 211945"/>
                <a:gd name="connsiteX80" fmla="*/ 738755 w 1265438"/>
                <a:gd name="connsiteY80" fmla="*/ 3803 h 211945"/>
                <a:gd name="connsiteX81" fmla="*/ 485604 w 1265438"/>
                <a:gd name="connsiteY81" fmla="*/ 79791 h 211945"/>
                <a:gd name="connsiteX82" fmla="*/ 513220 w 1265438"/>
                <a:gd name="connsiteY82" fmla="*/ 150419 h 211945"/>
                <a:gd name="connsiteX83" fmla="*/ 457740 w 1265438"/>
                <a:gd name="connsiteY83" fmla="*/ 150419 h 211945"/>
                <a:gd name="connsiteX84" fmla="*/ 485604 w 1265438"/>
                <a:gd name="connsiteY84" fmla="*/ 79791 h 211945"/>
                <a:gd name="connsiteX85" fmla="*/ 492586 w 1265438"/>
                <a:gd name="connsiteY85" fmla="*/ 0 h 211945"/>
                <a:gd name="connsiteX86" fmla="*/ 478623 w 1265438"/>
                <a:gd name="connsiteY86" fmla="*/ 0 h 211945"/>
                <a:gd name="connsiteX87" fmla="*/ 385055 w 1265438"/>
                <a:gd name="connsiteY87" fmla="*/ 212756 h 211945"/>
                <a:gd name="connsiteX88" fmla="*/ 431060 w 1265438"/>
                <a:gd name="connsiteY88" fmla="*/ 212756 h 211945"/>
                <a:gd name="connsiteX89" fmla="*/ 442779 w 1265438"/>
                <a:gd name="connsiteY89" fmla="*/ 185514 h 211945"/>
                <a:gd name="connsiteX90" fmla="*/ 528430 w 1265438"/>
                <a:gd name="connsiteY90" fmla="*/ 185514 h 211945"/>
                <a:gd name="connsiteX91" fmla="*/ 540149 w 1265438"/>
                <a:gd name="connsiteY91" fmla="*/ 212756 h 211945"/>
                <a:gd name="connsiteX92" fmla="*/ 586154 w 1265438"/>
                <a:gd name="connsiteY92" fmla="*/ 212756 h 211945"/>
                <a:gd name="connsiteX93" fmla="*/ 492586 w 1265438"/>
                <a:gd name="connsiteY93" fmla="*/ 0 h 211945"/>
                <a:gd name="connsiteX94" fmla="*/ 280703 w 1265438"/>
                <a:gd name="connsiteY94" fmla="*/ 41454 h 211945"/>
                <a:gd name="connsiteX95" fmla="*/ 304204 w 1265438"/>
                <a:gd name="connsiteY95" fmla="*/ 49682 h 211945"/>
                <a:gd name="connsiteX96" fmla="*/ 312433 w 1265438"/>
                <a:gd name="connsiteY96" fmla="*/ 71189 h 211945"/>
                <a:gd name="connsiteX97" fmla="*/ 304204 w 1265438"/>
                <a:gd name="connsiteY97" fmla="*/ 93007 h 211945"/>
                <a:gd name="connsiteX98" fmla="*/ 280703 w 1265438"/>
                <a:gd name="connsiteY98" fmla="*/ 101235 h 211945"/>
                <a:gd name="connsiteX99" fmla="*/ 244859 w 1265438"/>
                <a:gd name="connsiteY99" fmla="*/ 101235 h 211945"/>
                <a:gd name="connsiteX100" fmla="*/ 244859 w 1265438"/>
                <a:gd name="connsiteY100" fmla="*/ 41392 h 211945"/>
                <a:gd name="connsiteX101" fmla="*/ 280703 w 1265438"/>
                <a:gd name="connsiteY101" fmla="*/ 41392 h 211945"/>
                <a:gd name="connsiteX102" fmla="*/ 202034 w 1265438"/>
                <a:gd name="connsiteY102" fmla="*/ 3803 h 211945"/>
                <a:gd name="connsiteX103" fmla="*/ 202034 w 1265438"/>
                <a:gd name="connsiteY103" fmla="*/ 212756 h 211945"/>
                <a:gd name="connsiteX104" fmla="*/ 244859 w 1265438"/>
                <a:gd name="connsiteY104" fmla="*/ 212756 h 211945"/>
                <a:gd name="connsiteX105" fmla="*/ 244859 w 1265438"/>
                <a:gd name="connsiteY105" fmla="*/ 139011 h 211945"/>
                <a:gd name="connsiteX106" fmla="*/ 275965 w 1265438"/>
                <a:gd name="connsiteY106" fmla="*/ 139011 h 211945"/>
                <a:gd name="connsiteX107" fmla="*/ 330199 w 1265438"/>
                <a:gd name="connsiteY107" fmla="*/ 212756 h 211945"/>
                <a:gd name="connsiteX108" fmla="*/ 378385 w 1265438"/>
                <a:gd name="connsiteY108" fmla="*/ 212756 h 211945"/>
                <a:gd name="connsiteX109" fmla="*/ 319414 w 1265438"/>
                <a:gd name="connsiteY109" fmla="*/ 130783 h 211945"/>
                <a:gd name="connsiteX110" fmla="*/ 346344 w 1265438"/>
                <a:gd name="connsiteY110" fmla="*/ 107219 h 211945"/>
                <a:gd name="connsiteX111" fmla="*/ 356193 w 1265438"/>
                <a:gd name="connsiteY111" fmla="*/ 71313 h 211945"/>
                <a:gd name="connsiteX112" fmla="*/ 350645 w 1265438"/>
                <a:gd name="connsiteY112" fmla="*/ 43636 h 211945"/>
                <a:gd name="connsiteX113" fmla="*/ 335123 w 1265438"/>
                <a:gd name="connsiteY113" fmla="*/ 22254 h 211945"/>
                <a:gd name="connsiteX114" fmla="*/ 311310 w 1265438"/>
                <a:gd name="connsiteY114" fmla="*/ 8665 h 211945"/>
                <a:gd name="connsiteX115" fmla="*/ 281015 w 1265438"/>
                <a:gd name="connsiteY115" fmla="*/ 3927 h 211945"/>
                <a:gd name="connsiteX116" fmla="*/ 202034 w 1265438"/>
                <a:gd name="connsiteY116" fmla="*/ 3927 h 211945"/>
                <a:gd name="connsiteX117" fmla="*/ 176974 w 1265438"/>
                <a:gd name="connsiteY117" fmla="*/ 3803 h 211945"/>
                <a:gd name="connsiteX118" fmla="*/ 0 w 1265438"/>
                <a:gd name="connsiteY118" fmla="*/ 3803 h 211945"/>
                <a:gd name="connsiteX119" fmla="*/ 0 w 1265438"/>
                <a:gd name="connsiteY119" fmla="*/ 42451 h 211945"/>
                <a:gd name="connsiteX120" fmla="*/ 66950 w 1265438"/>
                <a:gd name="connsiteY120" fmla="*/ 42451 h 211945"/>
                <a:gd name="connsiteX121" fmla="*/ 66950 w 1265438"/>
                <a:gd name="connsiteY121" fmla="*/ 212756 h 211945"/>
                <a:gd name="connsiteX122" fmla="*/ 109775 w 1265438"/>
                <a:gd name="connsiteY122" fmla="*/ 212756 h 211945"/>
                <a:gd name="connsiteX123" fmla="*/ 109775 w 1265438"/>
                <a:gd name="connsiteY123" fmla="*/ 42451 h 211945"/>
                <a:gd name="connsiteX124" fmla="*/ 177037 w 1265438"/>
                <a:gd name="connsiteY124" fmla="*/ 42451 h 211945"/>
                <a:gd name="connsiteX125" fmla="*/ 177037 w 1265438"/>
                <a:gd name="connsiteY125" fmla="*/ 3803 h 21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265438" h="211945">
                  <a:moveTo>
                    <a:pt x="1164765" y="4114"/>
                  </a:moveTo>
                  <a:cubicBezTo>
                    <a:pt x="1156287" y="6857"/>
                    <a:pt x="1148994" y="10847"/>
                    <a:pt x="1142885" y="15958"/>
                  </a:cubicBezTo>
                  <a:cubicBezTo>
                    <a:pt x="1136776" y="21132"/>
                    <a:pt x="1131913" y="27366"/>
                    <a:pt x="1128298" y="34659"/>
                  </a:cubicBezTo>
                  <a:cubicBezTo>
                    <a:pt x="1124682" y="41953"/>
                    <a:pt x="1122937" y="50119"/>
                    <a:pt x="1122937" y="59220"/>
                  </a:cubicBezTo>
                  <a:cubicBezTo>
                    <a:pt x="1122937" y="66638"/>
                    <a:pt x="1124184" y="73246"/>
                    <a:pt x="1126739" y="79168"/>
                  </a:cubicBezTo>
                  <a:cubicBezTo>
                    <a:pt x="1129295" y="85090"/>
                    <a:pt x="1132786" y="90451"/>
                    <a:pt x="1137212" y="95313"/>
                  </a:cubicBezTo>
                  <a:cubicBezTo>
                    <a:pt x="1141638" y="100175"/>
                    <a:pt x="1146999" y="104539"/>
                    <a:pt x="1153233" y="108466"/>
                  </a:cubicBezTo>
                  <a:cubicBezTo>
                    <a:pt x="1159466" y="112393"/>
                    <a:pt x="1166261" y="116009"/>
                    <a:pt x="1173679" y="119375"/>
                  </a:cubicBezTo>
                  <a:lnTo>
                    <a:pt x="1195871" y="129536"/>
                  </a:lnTo>
                  <a:cubicBezTo>
                    <a:pt x="1204349" y="133339"/>
                    <a:pt x="1210894" y="136954"/>
                    <a:pt x="1215507" y="140320"/>
                  </a:cubicBezTo>
                  <a:cubicBezTo>
                    <a:pt x="1220182" y="143686"/>
                    <a:pt x="1222489" y="148736"/>
                    <a:pt x="1222489" y="155530"/>
                  </a:cubicBezTo>
                  <a:cubicBezTo>
                    <a:pt x="1222489" y="162949"/>
                    <a:pt x="1219871" y="168621"/>
                    <a:pt x="1214697" y="172611"/>
                  </a:cubicBezTo>
                  <a:cubicBezTo>
                    <a:pt x="1209523" y="176600"/>
                    <a:pt x="1202292" y="178657"/>
                    <a:pt x="1192941" y="178657"/>
                  </a:cubicBezTo>
                  <a:cubicBezTo>
                    <a:pt x="1186583" y="178657"/>
                    <a:pt x="1180910" y="177785"/>
                    <a:pt x="1175798" y="176102"/>
                  </a:cubicBezTo>
                  <a:cubicBezTo>
                    <a:pt x="1170749" y="174419"/>
                    <a:pt x="1166136" y="172174"/>
                    <a:pt x="1162022" y="169307"/>
                  </a:cubicBezTo>
                  <a:cubicBezTo>
                    <a:pt x="1157908" y="166439"/>
                    <a:pt x="1154168" y="163260"/>
                    <a:pt x="1150739" y="159645"/>
                  </a:cubicBezTo>
                  <a:cubicBezTo>
                    <a:pt x="1147373" y="156029"/>
                    <a:pt x="1144318" y="152289"/>
                    <a:pt x="1141513" y="148237"/>
                  </a:cubicBezTo>
                  <a:lnTo>
                    <a:pt x="1112028" y="170367"/>
                  </a:lnTo>
                  <a:cubicBezTo>
                    <a:pt x="1119820" y="184268"/>
                    <a:pt x="1130667" y="195488"/>
                    <a:pt x="1144568" y="203904"/>
                  </a:cubicBezTo>
                  <a:cubicBezTo>
                    <a:pt x="1158407" y="212319"/>
                    <a:pt x="1174552" y="216558"/>
                    <a:pt x="1192941" y="216558"/>
                  </a:cubicBezTo>
                  <a:cubicBezTo>
                    <a:pt x="1203289" y="216558"/>
                    <a:pt x="1212951" y="215124"/>
                    <a:pt x="1221803" y="212257"/>
                  </a:cubicBezTo>
                  <a:cubicBezTo>
                    <a:pt x="1230655" y="209389"/>
                    <a:pt x="1238385" y="205275"/>
                    <a:pt x="1244930" y="199914"/>
                  </a:cubicBezTo>
                  <a:cubicBezTo>
                    <a:pt x="1251475" y="194553"/>
                    <a:pt x="1256649" y="187946"/>
                    <a:pt x="1260452" y="180153"/>
                  </a:cubicBezTo>
                  <a:cubicBezTo>
                    <a:pt x="1264255" y="172361"/>
                    <a:pt x="1266187" y="163572"/>
                    <a:pt x="1266187" y="153847"/>
                  </a:cubicBezTo>
                  <a:cubicBezTo>
                    <a:pt x="1266187" y="138887"/>
                    <a:pt x="1261699" y="126793"/>
                    <a:pt x="1252722" y="117630"/>
                  </a:cubicBezTo>
                  <a:cubicBezTo>
                    <a:pt x="1243746" y="108466"/>
                    <a:pt x="1230967" y="100175"/>
                    <a:pt x="1214510" y="92757"/>
                  </a:cubicBezTo>
                  <a:lnTo>
                    <a:pt x="1190697" y="82285"/>
                  </a:lnTo>
                  <a:cubicBezTo>
                    <a:pt x="1182843" y="78669"/>
                    <a:pt x="1176858" y="75303"/>
                    <a:pt x="1172619" y="72186"/>
                  </a:cubicBezTo>
                  <a:cubicBezTo>
                    <a:pt x="1168380" y="69007"/>
                    <a:pt x="1166261" y="64394"/>
                    <a:pt x="1166261" y="58285"/>
                  </a:cubicBezTo>
                  <a:cubicBezTo>
                    <a:pt x="1166261" y="51303"/>
                    <a:pt x="1168817" y="46192"/>
                    <a:pt x="1173866" y="42950"/>
                  </a:cubicBezTo>
                  <a:cubicBezTo>
                    <a:pt x="1178915" y="39709"/>
                    <a:pt x="1185087" y="38025"/>
                    <a:pt x="1192255" y="38025"/>
                  </a:cubicBezTo>
                  <a:cubicBezTo>
                    <a:pt x="1200920" y="38025"/>
                    <a:pt x="1208463" y="40145"/>
                    <a:pt x="1214946" y="44384"/>
                  </a:cubicBezTo>
                  <a:cubicBezTo>
                    <a:pt x="1221367" y="48623"/>
                    <a:pt x="1227164" y="54545"/>
                    <a:pt x="1232213" y="62088"/>
                  </a:cubicBezTo>
                  <a:lnTo>
                    <a:pt x="1261387" y="39584"/>
                  </a:lnTo>
                  <a:cubicBezTo>
                    <a:pt x="1255278" y="28176"/>
                    <a:pt x="1246301" y="18763"/>
                    <a:pt x="1234582" y="11221"/>
                  </a:cubicBezTo>
                  <a:cubicBezTo>
                    <a:pt x="1222863" y="3740"/>
                    <a:pt x="1208650" y="0"/>
                    <a:pt x="1191944" y="0"/>
                  </a:cubicBezTo>
                  <a:cubicBezTo>
                    <a:pt x="1182282" y="0"/>
                    <a:pt x="1173180" y="1371"/>
                    <a:pt x="1164765" y="4114"/>
                  </a:cubicBezTo>
                  <a:moveTo>
                    <a:pt x="1008673" y="41454"/>
                  </a:moveTo>
                  <a:cubicBezTo>
                    <a:pt x="1018834" y="41454"/>
                    <a:pt x="1026626" y="44197"/>
                    <a:pt x="1032174" y="49682"/>
                  </a:cubicBezTo>
                  <a:cubicBezTo>
                    <a:pt x="1037660" y="55168"/>
                    <a:pt x="1040403" y="62337"/>
                    <a:pt x="1040403" y="71189"/>
                  </a:cubicBezTo>
                  <a:cubicBezTo>
                    <a:pt x="1040403" y="80290"/>
                    <a:pt x="1037660" y="87521"/>
                    <a:pt x="1032174" y="93007"/>
                  </a:cubicBezTo>
                  <a:cubicBezTo>
                    <a:pt x="1026689" y="98492"/>
                    <a:pt x="1018834" y="101235"/>
                    <a:pt x="1008673" y="101235"/>
                  </a:cubicBezTo>
                  <a:lnTo>
                    <a:pt x="972830" y="101235"/>
                  </a:lnTo>
                  <a:lnTo>
                    <a:pt x="972830" y="41392"/>
                  </a:lnTo>
                  <a:lnTo>
                    <a:pt x="1008673" y="41392"/>
                  </a:lnTo>
                  <a:close/>
                  <a:moveTo>
                    <a:pt x="930004" y="3803"/>
                  </a:moveTo>
                  <a:lnTo>
                    <a:pt x="930004" y="212756"/>
                  </a:lnTo>
                  <a:lnTo>
                    <a:pt x="972830" y="212756"/>
                  </a:lnTo>
                  <a:lnTo>
                    <a:pt x="972830" y="139011"/>
                  </a:lnTo>
                  <a:lnTo>
                    <a:pt x="1003936" y="139011"/>
                  </a:lnTo>
                  <a:lnTo>
                    <a:pt x="1058169" y="212756"/>
                  </a:lnTo>
                  <a:lnTo>
                    <a:pt x="1106355" y="212756"/>
                  </a:lnTo>
                  <a:lnTo>
                    <a:pt x="1047384" y="130783"/>
                  </a:lnTo>
                  <a:cubicBezTo>
                    <a:pt x="1058792" y="125297"/>
                    <a:pt x="1067769" y="117443"/>
                    <a:pt x="1074314" y="107219"/>
                  </a:cubicBezTo>
                  <a:cubicBezTo>
                    <a:pt x="1080859" y="96996"/>
                    <a:pt x="1084163" y="85027"/>
                    <a:pt x="1084163" y="71313"/>
                  </a:cubicBezTo>
                  <a:cubicBezTo>
                    <a:pt x="1084163" y="61215"/>
                    <a:pt x="1082293" y="51927"/>
                    <a:pt x="1078615" y="43636"/>
                  </a:cubicBezTo>
                  <a:cubicBezTo>
                    <a:pt x="1074937" y="35283"/>
                    <a:pt x="1069763" y="28176"/>
                    <a:pt x="1063093" y="22254"/>
                  </a:cubicBezTo>
                  <a:cubicBezTo>
                    <a:pt x="1056423" y="16332"/>
                    <a:pt x="1048507" y="11782"/>
                    <a:pt x="1039281" y="8665"/>
                  </a:cubicBezTo>
                  <a:cubicBezTo>
                    <a:pt x="1030055" y="5486"/>
                    <a:pt x="1019956" y="3927"/>
                    <a:pt x="1008985" y="3927"/>
                  </a:cubicBezTo>
                  <a:lnTo>
                    <a:pt x="930004" y="3927"/>
                  </a:lnTo>
                  <a:close/>
                  <a:moveTo>
                    <a:pt x="901828" y="3803"/>
                  </a:moveTo>
                  <a:lnTo>
                    <a:pt x="761009" y="3803"/>
                  </a:lnTo>
                  <a:lnTo>
                    <a:pt x="761009" y="212756"/>
                  </a:lnTo>
                  <a:lnTo>
                    <a:pt x="905630" y="212756"/>
                  </a:lnTo>
                  <a:lnTo>
                    <a:pt x="905630" y="174107"/>
                  </a:lnTo>
                  <a:lnTo>
                    <a:pt x="803834" y="174107"/>
                  </a:lnTo>
                  <a:lnTo>
                    <a:pt x="803834" y="121245"/>
                  </a:lnTo>
                  <a:lnTo>
                    <a:pt x="876145" y="121245"/>
                  </a:lnTo>
                  <a:lnTo>
                    <a:pt x="876145" y="84840"/>
                  </a:lnTo>
                  <a:lnTo>
                    <a:pt x="803834" y="84840"/>
                  </a:lnTo>
                  <a:lnTo>
                    <a:pt x="803834" y="42451"/>
                  </a:lnTo>
                  <a:lnTo>
                    <a:pt x="901828" y="42451"/>
                  </a:lnTo>
                  <a:lnTo>
                    <a:pt x="901828" y="3803"/>
                  </a:lnTo>
                  <a:close/>
                  <a:moveTo>
                    <a:pt x="738755" y="3803"/>
                  </a:moveTo>
                  <a:lnTo>
                    <a:pt x="690568" y="3803"/>
                  </a:lnTo>
                  <a:lnTo>
                    <a:pt x="638205" y="130783"/>
                  </a:lnTo>
                  <a:lnTo>
                    <a:pt x="585842" y="3803"/>
                  </a:lnTo>
                  <a:lnTo>
                    <a:pt x="537656" y="3803"/>
                  </a:lnTo>
                  <a:lnTo>
                    <a:pt x="631223" y="216558"/>
                  </a:lnTo>
                  <a:lnTo>
                    <a:pt x="645187" y="216558"/>
                  </a:lnTo>
                  <a:lnTo>
                    <a:pt x="738755" y="3803"/>
                  </a:lnTo>
                  <a:close/>
                  <a:moveTo>
                    <a:pt x="485604" y="79791"/>
                  </a:moveTo>
                  <a:lnTo>
                    <a:pt x="513220" y="150419"/>
                  </a:lnTo>
                  <a:lnTo>
                    <a:pt x="457740" y="150419"/>
                  </a:lnTo>
                  <a:lnTo>
                    <a:pt x="485604" y="79791"/>
                  </a:lnTo>
                  <a:close/>
                  <a:moveTo>
                    <a:pt x="492586" y="0"/>
                  </a:moveTo>
                  <a:lnTo>
                    <a:pt x="478623" y="0"/>
                  </a:lnTo>
                  <a:lnTo>
                    <a:pt x="385055" y="212756"/>
                  </a:lnTo>
                  <a:lnTo>
                    <a:pt x="431060" y="212756"/>
                  </a:lnTo>
                  <a:lnTo>
                    <a:pt x="442779" y="185514"/>
                  </a:lnTo>
                  <a:lnTo>
                    <a:pt x="528430" y="185514"/>
                  </a:lnTo>
                  <a:lnTo>
                    <a:pt x="540149" y="212756"/>
                  </a:lnTo>
                  <a:lnTo>
                    <a:pt x="586154" y="212756"/>
                  </a:lnTo>
                  <a:lnTo>
                    <a:pt x="492586" y="0"/>
                  </a:lnTo>
                  <a:close/>
                  <a:moveTo>
                    <a:pt x="280703" y="41454"/>
                  </a:moveTo>
                  <a:cubicBezTo>
                    <a:pt x="290864" y="41454"/>
                    <a:pt x="298656" y="44197"/>
                    <a:pt x="304204" y="49682"/>
                  </a:cubicBezTo>
                  <a:cubicBezTo>
                    <a:pt x="309690" y="55168"/>
                    <a:pt x="312433" y="62337"/>
                    <a:pt x="312433" y="71189"/>
                  </a:cubicBezTo>
                  <a:cubicBezTo>
                    <a:pt x="312433" y="80290"/>
                    <a:pt x="309690" y="87521"/>
                    <a:pt x="304204" y="93007"/>
                  </a:cubicBezTo>
                  <a:cubicBezTo>
                    <a:pt x="298718" y="98492"/>
                    <a:pt x="290864" y="101235"/>
                    <a:pt x="280703" y="101235"/>
                  </a:cubicBezTo>
                  <a:lnTo>
                    <a:pt x="244859" y="101235"/>
                  </a:lnTo>
                  <a:lnTo>
                    <a:pt x="244859" y="41392"/>
                  </a:lnTo>
                  <a:lnTo>
                    <a:pt x="280703" y="41392"/>
                  </a:lnTo>
                  <a:close/>
                  <a:moveTo>
                    <a:pt x="202034" y="3803"/>
                  </a:moveTo>
                  <a:lnTo>
                    <a:pt x="202034" y="212756"/>
                  </a:lnTo>
                  <a:lnTo>
                    <a:pt x="244859" y="212756"/>
                  </a:lnTo>
                  <a:lnTo>
                    <a:pt x="244859" y="139011"/>
                  </a:lnTo>
                  <a:lnTo>
                    <a:pt x="275965" y="139011"/>
                  </a:lnTo>
                  <a:lnTo>
                    <a:pt x="330199" y="212756"/>
                  </a:lnTo>
                  <a:lnTo>
                    <a:pt x="378385" y="212756"/>
                  </a:lnTo>
                  <a:lnTo>
                    <a:pt x="319414" y="130783"/>
                  </a:lnTo>
                  <a:cubicBezTo>
                    <a:pt x="330822" y="125297"/>
                    <a:pt x="339798" y="117443"/>
                    <a:pt x="346344" y="107219"/>
                  </a:cubicBezTo>
                  <a:cubicBezTo>
                    <a:pt x="352889" y="96996"/>
                    <a:pt x="356193" y="85027"/>
                    <a:pt x="356193" y="71313"/>
                  </a:cubicBezTo>
                  <a:cubicBezTo>
                    <a:pt x="356193" y="61215"/>
                    <a:pt x="354323" y="51927"/>
                    <a:pt x="350645" y="43636"/>
                  </a:cubicBezTo>
                  <a:cubicBezTo>
                    <a:pt x="346967" y="35283"/>
                    <a:pt x="341793" y="28176"/>
                    <a:pt x="335123" y="22254"/>
                  </a:cubicBezTo>
                  <a:cubicBezTo>
                    <a:pt x="328453" y="16332"/>
                    <a:pt x="320536" y="11782"/>
                    <a:pt x="311310" y="8665"/>
                  </a:cubicBezTo>
                  <a:cubicBezTo>
                    <a:pt x="302085" y="5486"/>
                    <a:pt x="291986" y="3927"/>
                    <a:pt x="281015" y="3927"/>
                  </a:cubicBezTo>
                  <a:lnTo>
                    <a:pt x="202034" y="3927"/>
                  </a:lnTo>
                  <a:close/>
                  <a:moveTo>
                    <a:pt x="176974" y="3803"/>
                  </a:moveTo>
                  <a:lnTo>
                    <a:pt x="0" y="3803"/>
                  </a:lnTo>
                  <a:lnTo>
                    <a:pt x="0" y="42451"/>
                  </a:lnTo>
                  <a:lnTo>
                    <a:pt x="66950" y="42451"/>
                  </a:lnTo>
                  <a:lnTo>
                    <a:pt x="66950" y="212756"/>
                  </a:lnTo>
                  <a:lnTo>
                    <a:pt x="109775" y="212756"/>
                  </a:lnTo>
                  <a:lnTo>
                    <a:pt x="109775" y="42451"/>
                  </a:lnTo>
                  <a:lnTo>
                    <a:pt x="177037" y="42451"/>
                  </a:lnTo>
                  <a:lnTo>
                    <a:pt x="177037" y="3803"/>
                  </a:lnTo>
                  <a:close/>
                </a:path>
              </a:pathLst>
            </a:custGeom>
            <a:solidFill>
              <a:srgbClr val="FFFFFF"/>
            </a:solidFill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9803156-3F88-4A48-BDD3-3BE980079FD1}"/>
                </a:ext>
              </a:extLst>
            </p:cNvPr>
            <p:cNvSpPr/>
            <p:nvPr/>
          </p:nvSpPr>
          <p:spPr>
            <a:xfrm>
              <a:off x="9183077" y="814403"/>
              <a:ext cx="878950" cy="211945"/>
            </a:xfrm>
            <a:custGeom>
              <a:avLst/>
              <a:gdLst>
                <a:gd name="connsiteX0" fmla="*/ 880509 w 878950"/>
                <a:gd name="connsiteY0" fmla="*/ 3865 h 211945"/>
                <a:gd name="connsiteX1" fmla="*/ 837683 w 878950"/>
                <a:gd name="connsiteY1" fmla="*/ 3865 h 211945"/>
                <a:gd name="connsiteX2" fmla="*/ 837683 w 878950"/>
                <a:gd name="connsiteY2" fmla="*/ 83968 h 211945"/>
                <a:gd name="connsiteX3" fmla="*/ 745051 w 878950"/>
                <a:gd name="connsiteY3" fmla="*/ 83968 h 211945"/>
                <a:gd name="connsiteX4" fmla="*/ 745051 w 878950"/>
                <a:gd name="connsiteY4" fmla="*/ 3865 h 211945"/>
                <a:gd name="connsiteX5" fmla="*/ 702225 w 878950"/>
                <a:gd name="connsiteY5" fmla="*/ 3865 h 211945"/>
                <a:gd name="connsiteX6" fmla="*/ 702225 w 878950"/>
                <a:gd name="connsiteY6" fmla="*/ 212818 h 211945"/>
                <a:gd name="connsiteX7" fmla="*/ 745051 w 878950"/>
                <a:gd name="connsiteY7" fmla="*/ 212818 h 211945"/>
                <a:gd name="connsiteX8" fmla="*/ 745051 w 878950"/>
                <a:gd name="connsiteY8" fmla="*/ 122554 h 211945"/>
                <a:gd name="connsiteX9" fmla="*/ 837683 w 878950"/>
                <a:gd name="connsiteY9" fmla="*/ 122554 h 211945"/>
                <a:gd name="connsiteX10" fmla="*/ 837683 w 878950"/>
                <a:gd name="connsiteY10" fmla="*/ 212756 h 211945"/>
                <a:gd name="connsiteX11" fmla="*/ 880509 w 878950"/>
                <a:gd name="connsiteY11" fmla="*/ 212756 h 211945"/>
                <a:gd name="connsiteX12" fmla="*/ 880509 w 878950"/>
                <a:gd name="connsiteY12" fmla="*/ 3865 h 211945"/>
                <a:gd name="connsiteX13" fmla="*/ 674049 w 878950"/>
                <a:gd name="connsiteY13" fmla="*/ 3865 h 211945"/>
                <a:gd name="connsiteX14" fmla="*/ 497074 w 878950"/>
                <a:gd name="connsiteY14" fmla="*/ 3865 h 211945"/>
                <a:gd name="connsiteX15" fmla="*/ 497074 w 878950"/>
                <a:gd name="connsiteY15" fmla="*/ 42514 h 211945"/>
                <a:gd name="connsiteX16" fmla="*/ 564024 w 878950"/>
                <a:gd name="connsiteY16" fmla="*/ 42514 h 211945"/>
                <a:gd name="connsiteX17" fmla="*/ 564024 w 878950"/>
                <a:gd name="connsiteY17" fmla="*/ 212818 h 211945"/>
                <a:gd name="connsiteX18" fmla="*/ 606850 w 878950"/>
                <a:gd name="connsiteY18" fmla="*/ 212818 h 211945"/>
                <a:gd name="connsiteX19" fmla="*/ 606850 w 878950"/>
                <a:gd name="connsiteY19" fmla="*/ 42451 h 211945"/>
                <a:gd name="connsiteX20" fmla="*/ 674111 w 878950"/>
                <a:gd name="connsiteY20" fmla="*/ 42451 h 211945"/>
                <a:gd name="connsiteX21" fmla="*/ 674111 w 878950"/>
                <a:gd name="connsiteY21" fmla="*/ 3865 h 211945"/>
                <a:gd name="connsiteX22" fmla="*/ 468836 w 878950"/>
                <a:gd name="connsiteY22" fmla="*/ 3865 h 211945"/>
                <a:gd name="connsiteX23" fmla="*/ 426010 w 878950"/>
                <a:gd name="connsiteY23" fmla="*/ 3865 h 211945"/>
                <a:gd name="connsiteX24" fmla="*/ 426010 w 878950"/>
                <a:gd name="connsiteY24" fmla="*/ 212818 h 211945"/>
                <a:gd name="connsiteX25" fmla="*/ 468836 w 878950"/>
                <a:gd name="connsiteY25" fmla="*/ 212818 h 211945"/>
                <a:gd name="connsiteX26" fmla="*/ 468836 w 878950"/>
                <a:gd name="connsiteY26" fmla="*/ 3865 h 211945"/>
                <a:gd name="connsiteX27" fmla="*/ 394031 w 878950"/>
                <a:gd name="connsiteY27" fmla="*/ 62 h 211945"/>
                <a:gd name="connsiteX28" fmla="*/ 380068 w 878950"/>
                <a:gd name="connsiteY28" fmla="*/ 62 h 211945"/>
                <a:gd name="connsiteX29" fmla="*/ 291238 w 878950"/>
                <a:gd name="connsiteY29" fmla="*/ 113391 h 211945"/>
                <a:gd name="connsiteX30" fmla="*/ 203094 w 878950"/>
                <a:gd name="connsiteY30" fmla="*/ 62 h 211945"/>
                <a:gd name="connsiteX31" fmla="*/ 188818 w 878950"/>
                <a:gd name="connsiteY31" fmla="*/ 62 h 211945"/>
                <a:gd name="connsiteX32" fmla="*/ 188818 w 878950"/>
                <a:gd name="connsiteY32" fmla="*/ 212818 h 211945"/>
                <a:gd name="connsiteX33" fmla="*/ 231644 w 878950"/>
                <a:gd name="connsiteY33" fmla="*/ 212818 h 211945"/>
                <a:gd name="connsiteX34" fmla="*/ 231644 w 878950"/>
                <a:gd name="connsiteY34" fmla="*/ 101048 h 211945"/>
                <a:gd name="connsiteX35" fmla="*/ 284319 w 878950"/>
                <a:gd name="connsiteY35" fmla="*/ 167187 h 211945"/>
                <a:gd name="connsiteX36" fmla="*/ 298282 w 878950"/>
                <a:gd name="connsiteY36" fmla="*/ 167187 h 211945"/>
                <a:gd name="connsiteX37" fmla="*/ 351268 w 878950"/>
                <a:gd name="connsiteY37" fmla="*/ 101048 h 211945"/>
                <a:gd name="connsiteX38" fmla="*/ 351268 w 878950"/>
                <a:gd name="connsiteY38" fmla="*/ 212818 h 211945"/>
                <a:gd name="connsiteX39" fmla="*/ 394094 w 878950"/>
                <a:gd name="connsiteY39" fmla="*/ 212818 h 211945"/>
                <a:gd name="connsiteX40" fmla="*/ 394094 w 878950"/>
                <a:gd name="connsiteY40" fmla="*/ 62 h 211945"/>
                <a:gd name="connsiteX41" fmla="*/ 52737 w 878950"/>
                <a:gd name="connsiteY41" fmla="*/ 4177 h 211945"/>
                <a:gd name="connsiteX42" fmla="*/ 30857 w 878950"/>
                <a:gd name="connsiteY42" fmla="*/ 16021 h 211945"/>
                <a:gd name="connsiteX43" fmla="*/ 16270 w 878950"/>
                <a:gd name="connsiteY43" fmla="*/ 34722 h 211945"/>
                <a:gd name="connsiteX44" fmla="*/ 10909 w 878950"/>
                <a:gd name="connsiteY44" fmla="*/ 59282 h 211945"/>
                <a:gd name="connsiteX45" fmla="*/ 14712 w 878950"/>
                <a:gd name="connsiteY45" fmla="*/ 79230 h 211945"/>
                <a:gd name="connsiteX46" fmla="*/ 25184 w 878950"/>
                <a:gd name="connsiteY46" fmla="*/ 95375 h 211945"/>
                <a:gd name="connsiteX47" fmla="*/ 41205 w 878950"/>
                <a:gd name="connsiteY47" fmla="*/ 108528 h 211945"/>
                <a:gd name="connsiteX48" fmla="*/ 61651 w 878950"/>
                <a:gd name="connsiteY48" fmla="*/ 119437 h 211945"/>
                <a:gd name="connsiteX49" fmla="*/ 83843 w 878950"/>
                <a:gd name="connsiteY49" fmla="*/ 129536 h 211945"/>
                <a:gd name="connsiteX50" fmla="*/ 103479 w 878950"/>
                <a:gd name="connsiteY50" fmla="*/ 140320 h 211945"/>
                <a:gd name="connsiteX51" fmla="*/ 110461 w 878950"/>
                <a:gd name="connsiteY51" fmla="*/ 155530 h 211945"/>
                <a:gd name="connsiteX52" fmla="*/ 102669 w 878950"/>
                <a:gd name="connsiteY52" fmla="*/ 172611 h 211945"/>
                <a:gd name="connsiteX53" fmla="*/ 80913 w 878950"/>
                <a:gd name="connsiteY53" fmla="*/ 178657 h 211945"/>
                <a:gd name="connsiteX54" fmla="*/ 63771 w 878950"/>
                <a:gd name="connsiteY54" fmla="*/ 176102 h 211945"/>
                <a:gd name="connsiteX55" fmla="*/ 49994 w 878950"/>
                <a:gd name="connsiteY55" fmla="*/ 169307 h 211945"/>
                <a:gd name="connsiteX56" fmla="*/ 38711 w 878950"/>
                <a:gd name="connsiteY56" fmla="*/ 159645 h 211945"/>
                <a:gd name="connsiteX57" fmla="*/ 29485 w 878950"/>
                <a:gd name="connsiteY57" fmla="*/ 148237 h 211945"/>
                <a:gd name="connsiteX58" fmla="*/ 0 w 878950"/>
                <a:gd name="connsiteY58" fmla="*/ 170367 h 211945"/>
                <a:gd name="connsiteX59" fmla="*/ 32540 w 878950"/>
                <a:gd name="connsiteY59" fmla="*/ 203904 h 211945"/>
                <a:gd name="connsiteX60" fmla="*/ 80913 w 878950"/>
                <a:gd name="connsiteY60" fmla="*/ 216558 h 211945"/>
                <a:gd name="connsiteX61" fmla="*/ 109775 w 878950"/>
                <a:gd name="connsiteY61" fmla="*/ 212257 h 211945"/>
                <a:gd name="connsiteX62" fmla="*/ 132902 w 878950"/>
                <a:gd name="connsiteY62" fmla="*/ 199914 h 211945"/>
                <a:gd name="connsiteX63" fmla="*/ 148424 w 878950"/>
                <a:gd name="connsiteY63" fmla="*/ 180154 h 211945"/>
                <a:gd name="connsiteX64" fmla="*/ 154159 w 878950"/>
                <a:gd name="connsiteY64" fmla="*/ 153847 h 211945"/>
                <a:gd name="connsiteX65" fmla="*/ 140694 w 878950"/>
                <a:gd name="connsiteY65" fmla="*/ 117630 h 211945"/>
                <a:gd name="connsiteX66" fmla="*/ 102482 w 878950"/>
                <a:gd name="connsiteY66" fmla="*/ 92757 h 211945"/>
                <a:gd name="connsiteX67" fmla="*/ 78669 w 878950"/>
                <a:gd name="connsiteY67" fmla="*/ 82285 h 211945"/>
                <a:gd name="connsiteX68" fmla="*/ 60591 w 878950"/>
                <a:gd name="connsiteY68" fmla="*/ 72186 h 211945"/>
                <a:gd name="connsiteX69" fmla="*/ 54233 w 878950"/>
                <a:gd name="connsiteY69" fmla="*/ 58285 h 211945"/>
                <a:gd name="connsiteX70" fmla="*/ 61838 w 878950"/>
                <a:gd name="connsiteY70" fmla="*/ 42950 h 211945"/>
                <a:gd name="connsiteX71" fmla="*/ 80228 w 878950"/>
                <a:gd name="connsiteY71" fmla="*/ 38025 h 211945"/>
                <a:gd name="connsiteX72" fmla="*/ 102918 w 878950"/>
                <a:gd name="connsiteY72" fmla="*/ 44384 h 211945"/>
                <a:gd name="connsiteX73" fmla="*/ 120186 w 878950"/>
                <a:gd name="connsiteY73" fmla="*/ 62087 h 211945"/>
                <a:gd name="connsiteX74" fmla="*/ 149359 w 878950"/>
                <a:gd name="connsiteY74" fmla="*/ 39584 h 211945"/>
                <a:gd name="connsiteX75" fmla="*/ 122554 w 878950"/>
                <a:gd name="connsiteY75" fmla="*/ 11221 h 211945"/>
                <a:gd name="connsiteX76" fmla="*/ 79916 w 878950"/>
                <a:gd name="connsiteY76" fmla="*/ 0 h 211945"/>
                <a:gd name="connsiteX77" fmla="*/ 52737 w 878950"/>
                <a:gd name="connsiteY77" fmla="*/ 4177 h 21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878950" h="211945">
                  <a:moveTo>
                    <a:pt x="880509" y="3865"/>
                  </a:moveTo>
                  <a:lnTo>
                    <a:pt x="837683" y="3865"/>
                  </a:lnTo>
                  <a:lnTo>
                    <a:pt x="837683" y="83968"/>
                  </a:lnTo>
                  <a:lnTo>
                    <a:pt x="745051" y="83968"/>
                  </a:lnTo>
                  <a:lnTo>
                    <a:pt x="745051" y="3865"/>
                  </a:lnTo>
                  <a:lnTo>
                    <a:pt x="702225" y="3865"/>
                  </a:lnTo>
                  <a:lnTo>
                    <a:pt x="702225" y="212818"/>
                  </a:lnTo>
                  <a:lnTo>
                    <a:pt x="745051" y="212818"/>
                  </a:lnTo>
                  <a:lnTo>
                    <a:pt x="745051" y="122554"/>
                  </a:lnTo>
                  <a:lnTo>
                    <a:pt x="837683" y="122554"/>
                  </a:lnTo>
                  <a:lnTo>
                    <a:pt x="837683" y="212756"/>
                  </a:lnTo>
                  <a:lnTo>
                    <a:pt x="880509" y="212756"/>
                  </a:lnTo>
                  <a:lnTo>
                    <a:pt x="880509" y="3865"/>
                  </a:lnTo>
                  <a:close/>
                  <a:moveTo>
                    <a:pt x="674049" y="3865"/>
                  </a:moveTo>
                  <a:lnTo>
                    <a:pt x="497074" y="3865"/>
                  </a:lnTo>
                  <a:lnTo>
                    <a:pt x="497074" y="42514"/>
                  </a:lnTo>
                  <a:lnTo>
                    <a:pt x="564024" y="42514"/>
                  </a:lnTo>
                  <a:lnTo>
                    <a:pt x="564024" y="212818"/>
                  </a:lnTo>
                  <a:lnTo>
                    <a:pt x="606850" y="212818"/>
                  </a:lnTo>
                  <a:lnTo>
                    <a:pt x="606850" y="42451"/>
                  </a:lnTo>
                  <a:lnTo>
                    <a:pt x="674111" y="42451"/>
                  </a:lnTo>
                  <a:lnTo>
                    <a:pt x="674111" y="3865"/>
                  </a:lnTo>
                  <a:close/>
                  <a:moveTo>
                    <a:pt x="468836" y="3865"/>
                  </a:moveTo>
                  <a:lnTo>
                    <a:pt x="426010" y="3865"/>
                  </a:lnTo>
                  <a:lnTo>
                    <a:pt x="426010" y="212818"/>
                  </a:lnTo>
                  <a:lnTo>
                    <a:pt x="468836" y="212818"/>
                  </a:lnTo>
                  <a:lnTo>
                    <a:pt x="468836" y="3865"/>
                  </a:lnTo>
                  <a:close/>
                  <a:moveTo>
                    <a:pt x="394031" y="62"/>
                  </a:moveTo>
                  <a:lnTo>
                    <a:pt x="380068" y="62"/>
                  </a:lnTo>
                  <a:lnTo>
                    <a:pt x="291238" y="113391"/>
                  </a:lnTo>
                  <a:lnTo>
                    <a:pt x="203094" y="62"/>
                  </a:lnTo>
                  <a:lnTo>
                    <a:pt x="188818" y="62"/>
                  </a:lnTo>
                  <a:lnTo>
                    <a:pt x="188818" y="212818"/>
                  </a:lnTo>
                  <a:lnTo>
                    <a:pt x="231644" y="212818"/>
                  </a:lnTo>
                  <a:lnTo>
                    <a:pt x="231644" y="101048"/>
                  </a:lnTo>
                  <a:lnTo>
                    <a:pt x="284319" y="167187"/>
                  </a:lnTo>
                  <a:lnTo>
                    <a:pt x="298282" y="167187"/>
                  </a:lnTo>
                  <a:lnTo>
                    <a:pt x="351268" y="101048"/>
                  </a:lnTo>
                  <a:lnTo>
                    <a:pt x="351268" y="212818"/>
                  </a:lnTo>
                  <a:lnTo>
                    <a:pt x="394094" y="212818"/>
                  </a:lnTo>
                  <a:lnTo>
                    <a:pt x="394094" y="62"/>
                  </a:lnTo>
                  <a:close/>
                  <a:moveTo>
                    <a:pt x="52737" y="4177"/>
                  </a:moveTo>
                  <a:cubicBezTo>
                    <a:pt x="44259" y="6919"/>
                    <a:pt x="36966" y="10909"/>
                    <a:pt x="30857" y="16021"/>
                  </a:cubicBezTo>
                  <a:cubicBezTo>
                    <a:pt x="24748" y="21195"/>
                    <a:pt x="19885" y="27428"/>
                    <a:pt x="16270" y="34722"/>
                  </a:cubicBezTo>
                  <a:cubicBezTo>
                    <a:pt x="12654" y="42015"/>
                    <a:pt x="10909" y="50181"/>
                    <a:pt x="10909" y="59282"/>
                  </a:cubicBezTo>
                  <a:cubicBezTo>
                    <a:pt x="10909" y="66700"/>
                    <a:pt x="12156" y="73308"/>
                    <a:pt x="14712" y="79230"/>
                  </a:cubicBezTo>
                  <a:cubicBezTo>
                    <a:pt x="17267" y="85152"/>
                    <a:pt x="20758" y="90513"/>
                    <a:pt x="25184" y="95375"/>
                  </a:cubicBezTo>
                  <a:cubicBezTo>
                    <a:pt x="29610" y="100238"/>
                    <a:pt x="34971" y="104601"/>
                    <a:pt x="41205" y="108528"/>
                  </a:cubicBezTo>
                  <a:cubicBezTo>
                    <a:pt x="47438" y="112456"/>
                    <a:pt x="54233" y="116071"/>
                    <a:pt x="61651" y="119437"/>
                  </a:cubicBezTo>
                  <a:lnTo>
                    <a:pt x="83843" y="129536"/>
                  </a:lnTo>
                  <a:cubicBezTo>
                    <a:pt x="92321" y="133339"/>
                    <a:pt x="98866" y="136954"/>
                    <a:pt x="103479" y="140320"/>
                  </a:cubicBezTo>
                  <a:cubicBezTo>
                    <a:pt x="108154" y="143686"/>
                    <a:pt x="110461" y="148736"/>
                    <a:pt x="110461" y="155530"/>
                  </a:cubicBezTo>
                  <a:cubicBezTo>
                    <a:pt x="110461" y="162949"/>
                    <a:pt x="107843" y="168621"/>
                    <a:pt x="102669" y="172611"/>
                  </a:cubicBezTo>
                  <a:cubicBezTo>
                    <a:pt x="97495" y="176600"/>
                    <a:pt x="90264" y="178657"/>
                    <a:pt x="80913" y="178657"/>
                  </a:cubicBezTo>
                  <a:cubicBezTo>
                    <a:pt x="74555" y="178657"/>
                    <a:pt x="68882" y="177785"/>
                    <a:pt x="63771" y="176102"/>
                  </a:cubicBezTo>
                  <a:cubicBezTo>
                    <a:pt x="58721" y="174419"/>
                    <a:pt x="54108" y="172174"/>
                    <a:pt x="49994" y="169307"/>
                  </a:cubicBezTo>
                  <a:cubicBezTo>
                    <a:pt x="45880" y="166439"/>
                    <a:pt x="42140" y="163260"/>
                    <a:pt x="38711" y="159645"/>
                  </a:cubicBezTo>
                  <a:cubicBezTo>
                    <a:pt x="35345" y="156029"/>
                    <a:pt x="32290" y="152289"/>
                    <a:pt x="29485" y="148237"/>
                  </a:cubicBezTo>
                  <a:lnTo>
                    <a:pt x="0" y="170367"/>
                  </a:lnTo>
                  <a:cubicBezTo>
                    <a:pt x="7792" y="184268"/>
                    <a:pt x="18639" y="195488"/>
                    <a:pt x="32540" y="203904"/>
                  </a:cubicBezTo>
                  <a:cubicBezTo>
                    <a:pt x="46379" y="212319"/>
                    <a:pt x="62524" y="216558"/>
                    <a:pt x="80913" y="216558"/>
                  </a:cubicBezTo>
                  <a:cubicBezTo>
                    <a:pt x="91261" y="216558"/>
                    <a:pt x="100923" y="215124"/>
                    <a:pt x="109775" y="212257"/>
                  </a:cubicBezTo>
                  <a:cubicBezTo>
                    <a:pt x="118627" y="209390"/>
                    <a:pt x="126357" y="205275"/>
                    <a:pt x="132902" y="199914"/>
                  </a:cubicBezTo>
                  <a:cubicBezTo>
                    <a:pt x="139448" y="194553"/>
                    <a:pt x="144622" y="187946"/>
                    <a:pt x="148424" y="180154"/>
                  </a:cubicBezTo>
                  <a:cubicBezTo>
                    <a:pt x="152227" y="172361"/>
                    <a:pt x="154159" y="163572"/>
                    <a:pt x="154159" y="153847"/>
                  </a:cubicBezTo>
                  <a:cubicBezTo>
                    <a:pt x="154159" y="138887"/>
                    <a:pt x="149671" y="126793"/>
                    <a:pt x="140694" y="117630"/>
                  </a:cubicBezTo>
                  <a:cubicBezTo>
                    <a:pt x="131718" y="108466"/>
                    <a:pt x="118939" y="100175"/>
                    <a:pt x="102482" y="92757"/>
                  </a:cubicBezTo>
                  <a:lnTo>
                    <a:pt x="78669" y="82285"/>
                  </a:lnTo>
                  <a:cubicBezTo>
                    <a:pt x="70815" y="78669"/>
                    <a:pt x="64830" y="75303"/>
                    <a:pt x="60591" y="72186"/>
                  </a:cubicBezTo>
                  <a:cubicBezTo>
                    <a:pt x="56353" y="69007"/>
                    <a:pt x="54233" y="64394"/>
                    <a:pt x="54233" y="58285"/>
                  </a:cubicBezTo>
                  <a:cubicBezTo>
                    <a:pt x="54233" y="51303"/>
                    <a:pt x="56789" y="46192"/>
                    <a:pt x="61838" y="42950"/>
                  </a:cubicBezTo>
                  <a:cubicBezTo>
                    <a:pt x="66887" y="39709"/>
                    <a:pt x="73059" y="38025"/>
                    <a:pt x="80228" y="38025"/>
                  </a:cubicBezTo>
                  <a:cubicBezTo>
                    <a:pt x="88892" y="38025"/>
                    <a:pt x="96435" y="40145"/>
                    <a:pt x="102918" y="44384"/>
                  </a:cubicBezTo>
                  <a:cubicBezTo>
                    <a:pt x="109339" y="48623"/>
                    <a:pt x="115136" y="54545"/>
                    <a:pt x="120186" y="62087"/>
                  </a:cubicBezTo>
                  <a:lnTo>
                    <a:pt x="149359" y="39584"/>
                  </a:lnTo>
                  <a:cubicBezTo>
                    <a:pt x="143250" y="28176"/>
                    <a:pt x="134274" y="18763"/>
                    <a:pt x="122554" y="11221"/>
                  </a:cubicBezTo>
                  <a:cubicBezTo>
                    <a:pt x="110835" y="3740"/>
                    <a:pt x="96622" y="0"/>
                    <a:pt x="79916" y="0"/>
                  </a:cubicBezTo>
                  <a:cubicBezTo>
                    <a:pt x="70254" y="62"/>
                    <a:pt x="61215" y="1434"/>
                    <a:pt x="52737" y="4177"/>
                  </a:cubicBezTo>
                </a:path>
              </a:pathLst>
            </a:custGeom>
            <a:solidFill>
              <a:srgbClr val="FFFFFF"/>
            </a:solidFill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BA1EFA8-FA22-446D-BE7A-000BDFEBAE95}"/>
                </a:ext>
              </a:extLst>
            </p:cNvPr>
            <p:cNvSpPr/>
            <p:nvPr/>
          </p:nvSpPr>
          <p:spPr>
            <a:xfrm>
              <a:off x="9587394" y="704752"/>
              <a:ext cx="81038" cy="81038"/>
            </a:xfrm>
            <a:custGeom>
              <a:avLst/>
              <a:gdLst>
                <a:gd name="connsiteX0" fmla="*/ 44134 w 81037"/>
                <a:gd name="connsiteY0" fmla="*/ 0 h 81037"/>
                <a:gd name="connsiteX1" fmla="*/ 12218 w 81037"/>
                <a:gd name="connsiteY1" fmla="*/ 12530 h 81037"/>
                <a:gd name="connsiteX2" fmla="*/ 0 w 81037"/>
                <a:gd name="connsiteY2" fmla="*/ 43262 h 81037"/>
                <a:gd name="connsiteX3" fmla="*/ 12218 w 81037"/>
                <a:gd name="connsiteY3" fmla="*/ 74181 h 81037"/>
                <a:gd name="connsiteX4" fmla="*/ 44134 w 81037"/>
                <a:gd name="connsiteY4" fmla="*/ 86524 h 81037"/>
                <a:gd name="connsiteX5" fmla="*/ 61339 w 81037"/>
                <a:gd name="connsiteY5" fmla="*/ 83220 h 81037"/>
                <a:gd name="connsiteX6" fmla="*/ 74867 w 81037"/>
                <a:gd name="connsiteY6" fmla="*/ 74119 h 81037"/>
                <a:gd name="connsiteX7" fmla="*/ 83781 w 81037"/>
                <a:gd name="connsiteY7" fmla="*/ 60404 h 81037"/>
                <a:gd name="connsiteX8" fmla="*/ 87085 w 81037"/>
                <a:gd name="connsiteY8" fmla="*/ 43199 h 81037"/>
                <a:gd name="connsiteX9" fmla="*/ 83781 w 81037"/>
                <a:gd name="connsiteY9" fmla="*/ 26368 h 81037"/>
                <a:gd name="connsiteX10" fmla="*/ 74867 w 81037"/>
                <a:gd name="connsiteY10" fmla="*/ 12654 h 81037"/>
                <a:gd name="connsiteX11" fmla="*/ 61339 w 81037"/>
                <a:gd name="connsiteY11" fmla="*/ 3366 h 81037"/>
                <a:gd name="connsiteX12" fmla="*/ 44134 w 81037"/>
                <a:gd name="connsiteY12" fmla="*/ 0 h 81037"/>
                <a:gd name="connsiteX13" fmla="*/ 44134 w 81037"/>
                <a:gd name="connsiteY13" fmla="*/ 24187 h 81037"/>
                <a:gd name="connsiteX14" fmla="*/ 51615 w 81037"/>
                <a:gd name="connsiteY14" fmla="*/ 25620 h 81037"/>
                <a:gd name="connsiteX15" fmla="*/ 57475 w 81037"/>
                <a:gd name="connsiteY15" fmla="*/ 29548 h 81037"/>
                <a:gd name="connsiteX16" fmla="*/ 61402 w 81037"/>
                <a:gd name="connsiteY16" fmla="*/ 35657 h 81037"/>
                <a:gd name="connsiteX17" fmla="*/ 62836 w 81037"/>
                <a:gd name="connsiteY17" fmla="*/ 43199 h 81037"/>
                <a:gd name="connsiteX18" fmla="*/ 61402 w 81037"/>
                <a:gd name="connsiteY18" fmla="*/ 51116 h 81037"/>
                <a:gd name="connsiteX19" fmla="*/ 57475 w 81037"/>
                <a:gd name="connsiteY19" fmla="*/ 57225 h 81037"/>
                <a:gd name="connsiteX20" fmla="*/ 52114 w 81037"/>
                <a:gd name="connsiteY20" fmla="*/ 60778 h 81037"/>
                <a:gd name="connsiteX21" fmla="*/ 44197 w 81037"/>
                <a:gd name="connsiteY21" fmla="*/ 62212 h 81037"/>
                <a:gd name="connsiteX22" fmla="*/ 29548 w 81037"/>
                <a:gd name="connsiteY22" fmla="*/ 57101 h 81037"/>
                <a:gd name="connsiteX23" fmla="*/ 24311 w 81037"/>
                <a:gd name="connsiteY23" fmla="*/ 43199 h 81037"/>
                <a:gd name="connsiteX24" fmla="*/ 29672 w 81037"/>
                <a:gd name="connsiteY24" fmla="*/ 29361 h 81037"/>
                <a:gd name="connsiteX25" fmla="*/ 44134 w 81037"/>
                <a:gd name="connsiteY25" fmla="*/ 24187 h 81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1037" h="81037">
                  <a:moveTo>
                    <a:pt x="44134" y="0"/>
                  </a:moveTo>
                  <a:cubicBezTo>
                    <a:pt x="30981" y="0"/>
                    <a:pt x="20322" y="4177"/>
                    <a:pt x="12218" y="12530"/>
                  </a:cubicBezTo>
                  <a:cubicBezTo>
                    <a:pt x="4114" y="20883"/>
                    <a:pt x="0" y="31168"/>
                    <a:pt x="0" y="43262"/>
                  </a:cubicBezTo>
                  <a:cubicBezTo>
                    <a:pt x="0" y="55604"/>
                    <a:pt x="4052" y="65952"/>
                    <a:pt x="12218" y="74181"/>
                  </a:cubicBezTo>
                  <a:cubicBezTo>
                    <a:pt x="20322" y="82409"/>
                    <a:pt x="30981" y="86524"/>
                    <a:pt x="44134" y="86524"/>
                  </a:cubicBezTo>
                  <a:cubicBezTo>
                    <a:pt x="50306" y="86524"/>
                    <a:pt x="56041" y="85401"/>
                    <a:pt x="61339" y="83220"/>
                  </a:cubicBezTo>
                  <a:cubicBezTo>
                    <a:pt x="66638" y="81038"/>
                    <a:pt x="71126" y="77983"/>
                    <a:pt x="74867" y="74119"/>
                  </a:cubicBezTo>
                  <a:cubicBezTo>
                    <a:pt x="78607" y="70254"/>
                    <a:pt x="81599" y="65703"/>
                    <a:pt x="83781" y="60404"/>
                  </a:cubicBezTo>
                  <a:cubicBezTo>
                    <a:pt x="85963" y="55106"/>
                    <a:pt x="87085" y="49371"/>
                    <a:pt x="87085" y="43199"/>
                  </a:cubicBezTo>
                  <a:cubicBezTo>
                    <a:pt x="87085" y="37277"/>
                    <a:pt x="85963" y="31667"/>
                    <a:pt x="83781" y="26368"/>
                  </a:cubicBezTo>
                  <a:cubicBezTo>
                    <a:pt x="81599" y="21070"/>
                    <a:pt x="78607" y="16519"/>
                    <a:pt x="74867" y="12654"/>
                  </a:cubicBezTo>
                  <a:cubicBezTo>
                    <a:pt x="71126" y="8789"/>
                    <a:pt x="66576" y="5673"/>
                    <a:pt x="61339" y="3366"/>
                  </a:cubicBezTo>
                  <a:cubicBezTo>
                    <a:pt x="56103" y="1122"/>
                    <a:pt x="50306" y="0"/>
                    <a:pt x="44134" y="0"/>
                  </a:cubicBezTo>
                  <a:moveTo>
                    <a:pt x="44134" y="24187"/>
                  </a:moveTo>
                  <a:cubicBezTo>
                    <a:pt x="47002" y="24187"/>
                    <a:pt x="49433" y="24623"/>
                    <a:pt x="51615" y="25620"/>
                  </a:cubicBezTo>
                  <a:cubicBezTo>
                    <a:pt x="53984" y="26680"/>
                    <a:pt x="55916" y="27927"/>
                    <a:pt x="57475" y="29548"/>
                  </a:cubicBezTo>
                  <a:cubicBezTo>
                    <a:pt x="59095" y="31231"/>
                    <a:pt x="60342" y="33226"/>
                    <a:pt x="61402" y="35657"/>
                  </a:cubicBezTo>
                  <a:cubicBezTo>
                    <a:pt x="62399" y="38025"/>
                    <a:pt x="62836" y="40457"/>
                    <a:pt x="62836" y="43199"/>
                  </a:cubicBezTo>
                  <a:cubicBezTo>
                    <a:pt x="62836" y="46192"/>
                    <a:pt x="62337" y="48810"/>
                    <a:pt x="61402" y="51116"/>
                  </a:cubicBezTo>
                  <a:cubicBezTo>
                    <a:pt x="60404" y="53547"/>
                    <a:pt x="59095" y="55542"/>
                    <a:pt x="57475" y="57225"/>
                  </a:cubicBezTo>
                  <a:cubicBezTo>
                    <a:pt x="56041" y="58721"/>
                    <a:pt x="54295" y="59843"/>
                    <a:pt x="52114" y="60778"/>
                  </a:cubicBezTo>
                  <a:cubicBezTo>
                    <a:pt x="49745" y="61776"/>
                    <a:pt x="47189" y="62212"/>
                    <a:pt x="44197" y="62212"/>
                  </a:cubicBezTo>
                  <a:cubicBezTo>
                    <a:pt x="35719" y="62212"/>
                    <a:pt x="31916" y="59469"/>
                    <a:pt x="29548" y="57101"/>
                  </a:cubicBezTo>
                  <a:cubicBezTo>
                    <a:pt x="25870" y="53423"/>
                    <a:pt x="24311" y="49246"/>
                    <a:pt x="24311" y="43199"/>
                  </a:cubicBezTo>
                  <a:cubicBezTo>
                    <a:pt x="24311" y="37340"/>
                    <a:pt x="25932" y="33226"/>
                    <a:pt x="29672" y="29361"/>
                  </a:cubicBezTo>
                  <a:cubicBezTo>
                    <a:pt x="31979" y="26992"/>
                    <a:pt x="35719" y="24187"/>
                    <a:pt x="44134" y="24187"/>
                  </a:cubicBezTo>
                </a:path>
              </a:pathLst>
            </a:custGeom>
            <a:solidFill>
              <a:schemeClr val="accent1"/>
            </a:solidFill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CC55F54-E388-48E3-B002-64D423EF19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6588" y="1932524"/>
            <a:ext cx="4572000" cy="1296007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3800" b="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resentation titl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05AAE322-0B8D-4979-9C9E-837A40D7D7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6588" y="3362932"/>
            <a:ext cx="4572000" cy="558770"/>
          </a:xfrm>
          <a:prstGeom prst="rect">
            <a:avLst/>
          </a:prstGeom>
        </p:spPr>
        <p:txBody>
          <a:bodyPr/>
          <a:lstStyle>
            <a:lvl1pPr>
              <a:defRPr sz="1600" b="0" i="0" cap="all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sub-heading, data or speak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1930684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BD71CC-E88D-0649-91DB-C1683B02C2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2016126"/>
            <a:ext cx="4572000" cy="47396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47FDC26-B0B1-0740-880E-38CA29A4C6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0000" y="2016126"/>
            <a:ext cx="4572000" cy="47396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3E454A-03E5-A14D-9174-06AAB13F3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7A11A4-B726-45C0-A721-83B674FEB44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EB4A7077-FAC1-423D-AF31-C392C1F9D7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tx2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84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BD71CC-E88D-0649-91DB-C1683B02C2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1038870"/>
            <a:ext cx="4572000" cy="113877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47FDC26-B0B1-0740-880E-38CA29A4C6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0000" y="1038870"/>
            <a:ext cx="4572000" cy="113877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7A11A4-B726-45C0-A721-83B674FEB44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3327E83-8A11-4DCA-A3B4-FD53EB251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tx2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36566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BD71CC-E88D-0649-91DB-C1683B02C2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2016126"/>
            <a:ext cx="4572000" cy="47396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3E454A-03E5-A14D-9174-06AAB13F3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700" y="575999"/>
            <a:ext cx="4571539" cy="9003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7A11A4-B726-45C0-A721-83B674FEB44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91D6D89-1FEF-452E-A164-2E45748CA9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9574" y="575999"/>
            <a:ext cx="4571999" cy="617980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130622-C4EF-4611-9976-04537158C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tx2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1200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D74E454-88D4-484A-B735-3575E44C0E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0238" y="2016125"/>
            <a:ext cx="9432985" cy="61555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4000"/>
            </a:lvl1pPr>
            <a:lvl2pPr>
              <a:defRPr sz="4000"/>
            </a:lvl2pPr>
            <a:lvl3pPr marL="0" indent="0">
              <a:buFontTx/>
              <a:buNone/>
              <a:defRPr sz="4000"/>
            </a:lvl3pPr>
            <a:lvl4pPr marL="0" indent="0">
              <a:buFontTx/>
              <a:buNone/>
              <a:defRPr sz="4000"/>
            </a:lvl4pPr>
            <a:lvl5pPr marL="0" indent="0">
              <a:buFontTx/>
              <a:buNone/>
              <a:defRPr sz="4000"/>
            </a:lvl5pPr>
            <a:lvl6pPr marL="0" indent="0">
              <a:buFontTx/>
              <a:buNone/>
              <a:defRPr sz="4000"/>
            </a:lvl6pPr>
            <a:lvl7pPr marL="0" indent="0">
              <a:buFontTx/>
              <a:buNone/>
              <a:defRPr sz="4000"/>
            </a:lvl7pPr>
            <a:lvl8pPr>
              <a:defRPr sz="4000" b="0"/>
            </a:lvl8pPr>
            <a:lvl9pPr>
              <a:defRPr sz="40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7FC292-D34E-412F-9F98-FF027492216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EA5E18BC-1F09-47B6-81C7-F4411A609E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tx2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C7E110E-5AD5-426D-AD65-DAAF037950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178" y="4929585"/>
            <a:ext cx="9432985" cy="1754326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8790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1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graphic + key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5F31F77-311E-4488-9D7D-7BD274E4434D}"/>
              </a:ext>
            </a:extLst>
          </p:cNvPr>
          <p:cNvSpPr/>
          <p:nvPr userDrawn="1"/>
        </p:nvSpPr>
        <p:spPr>
          <a:xfrm>
            <a:off x="5491163" y="0"/>
            <a:ext cx="5202237" cy="75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 err="1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5C464E-32A5-47E7-9137-546584FD5CE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30700" y="6994512"/>
            <a:ext cx="4571538" cy="138499"/>
          </a:xfrm>
        </p:spPr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5E90D3-9DE9-424B-B246-978E59723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700" y="576000"/>
            <a:ext cx="4560732" cy="5642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E228E75-5087-49D9-91B1-658F4B20B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2016126"/>
            <a:ext cx="4572000" cy="47396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45BD58EF-87CB-4215-8CF9-17525B43CE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bg1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1878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36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+ key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5C60BA7-A0B0-4C89-A517-2B50B602CCB1}"/>
              </a:ext>
            </a:extLst>
          </p:cNvPr>
          <p:cNvSpPr/>
          <p:nvPr userDrawn="1"/>
        </p:nvSpPr>
        <p:spPr>
          <a:xfrm>
            <a:off x="5491163" y="0"/>
            <a:ext cx="5202237" cy="75612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 err="1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5C464E-32A5-47E7-9137-546584FD5CE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30700" y="6994512"/>
            <a:ext cx="4571538" cy="138499"/>
          </a:xfrm>
        </p:spPr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5E90D3-9DE9-424B-B246-978E59723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700" y="576000"/>
            <a:ext cx="4560732" cy="5642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F04F833-B687-476F-8DAA-0C0314B84F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bg1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E228E75-5087-49D9-91B1-658F4B20B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2016126"/>
            <a:ext cx="4572000" cy="47396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208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One column + key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5C464E-32A5-47E7-9137-546584FD5CE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30699" y="6971429"/>
            <a:ext cx="5579993" cy="184666"/>
          </a:xfrm>
        </p:spPr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5E90D3-9DE9-424B-B246-978E59723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699" y="576000"/>
            <a:ext cx="5566803" cy="56425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F04F833-B687-476F-8DAA-0C0314B84F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bg1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E228E75-5087-49D9-91B1-658F4B20B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8" y="2016126"/>
            <a:ext cx="5580557" cy="47396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133A28E-C1F3-40DB-A312-5F470A8C00D1}"/>
              </a:ext>
            </a:extLst>
          </p:cNvPr>
          <p:cNvSpPr/>
          <p:nvPr userDrawn="1"/>
        </p:nvSpPr>
        <p:spPr>
          <a:xfrm>
            <a:off x="9091116" y="576000"/>
            <a:ext cx="971584" cy="4985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>
              <a:spcAft>
                <a:spcPts val="0"/>
              </a:spcAft>
            </a:pPr>
            <a:r>
              <a:rPr lang="en-GB" sz="3600" b="1" dirty="0">
                <a:solidFill>
                  <a:schemeClr val="accent1"/>
                </a:solidFill>
              </a:rPr>
              <a:t>B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931A68-9646-4C73-853D-38498977042D}"/>
              </a:ext>
            </a:extLst>
          </p:cNvPr>
          <p:cNvSpPr/>
          <p:nvPr userDrawn="1"/>
        </p:nvSpPr>
        <p:spPr>
          <a:xfrm>
            <a:off x="6543554" y="0"/>
            <a:ext cx="4149847" cy="75612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5472933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One column + key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5C464E-32A5-47E7-9137-546584FD5CE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30699" y="6971429"/>
            <a:ext cx="5579993" cy="184666"/>
          </a:xfrm>
        </p:spPr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5E90D3-9DE9-424B-B246-978E59723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699" y="576000"/>
            <a:ext cx="5566803" cy="56425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F04F833-B687-476F-8DAA-0C0314B84F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bg1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E228E75-5087-49D9-91B1-658F4B20B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8" y="2016126"/>
            <a:ext cx="5580557" cy="47396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133A28E-C1F3-40DB-A312-5F470A8C00D1}"/>
              </a:ext>
            </a:extLst>
          </p:cNvPr>
          <p:cNvSpPr/>
          <p:nvPr userDrawn="1"/>
        </p:nvSpPr>
        <p:spPr>
          <a:xfrm>
            <a:off x="9091116" y="576000"/>
            <a:ext cx="971584" cy="4985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>
              <a:spcAft>
                <a:spcPts val="0"/>
              </a:spcAft>
            </a:pPr>
            <a:r>
              <a:rPr lang="en-GB" sz="3600" b="1" dirty="0">
                <a:solidFill>
                  <a:schemeClr val="accent1"/>
                </a:solidFill>
              </a:rPr>
              <a:t>B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931A68-9646-4C73-853D-38498977042D}"/>
              </a:ext>
            </a:extLst>
          </p:cNvPr>
          <p:cNvSpPr/>
          <p:nvPr userDrawn="1"/>
        </p:nvSpPr>
        <p:spPr>
          <a:xfrm>
            <a:off x="6543554" y="0"/>
            <a:ext cx="4149847" cy="75612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459791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One column + key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5C464E-32A5-47E7-9137-546584FD5CE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30699" y="6971429"/>
            <a:ext cx="5579993" cy="184666"/>
          </a:xfrm>
        </p:spPr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85E90D3-9DE9-424B-B246-978E59723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699" y="576000"/>
            <a:ext cx="5566803" cy="56425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F04F833-B687-476F-8DAA-0C0314B84F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bg1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E228E75-5087-49D9-91B1-658F4B20BA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8" y="2016126"/>
            <a:ext cx="5580557" cy="47396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133A28E-C1F3-40DB-A312-5F470A8C00D1}"/>
              </a:ext>
            </a:extLst>
          </p:cNvPr>
          <p:cNvSpPr/>
          <p:nvPr userDrawn="1"/>
        </p:nvSpPr>
        <p:spPr>
          <a:xfrm>
            <a:off x="9091116" y="576000"/>
            <a:ext cx="971584" cy="4985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>
              <a:spcAft>
                <a:spcPts val="0"/>
              </a:spcAft>
            </a:pPr>
            <a:r>
              <a:rPr lang="en-GB" sz="3600" b="1" dirty="0">
                <a:solidFill>
                  <a:schemeClr val="accent1"/>
                </a:solidFill>
              </a:rPr>
              <a:t>B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931A68-9646-4C73-853D-38498977042D}"/>
              </a:ext>
            </a:extLst>
          </p:cNvPr>
          <p:cNvSpPr/>
          <p:nvPr userDrawn="1"/>
        </p:nvSpPr>
        <p:spPr>
          <a:xfrm>
            <a:off x="6543554" y="0"/>
            <a:ext cx="4149847" cy="75612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391257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783" y="756127"/>
            <a:ext cx="9445838" cy="10081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23783" y="1932323"/>
            <a:ext cx="9445838" cy="48728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623782" y="6973165"/>
            <a:ext cx="6148705" cy="168028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80">
                <a:solidFill>
                  <a:srgbClr val="788DB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/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8287385" y="7141193"/>
            <a:ext cx="1785661" cy="1680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80">
                <a:solidFill>
                  <a:srgbClr val="788DB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D04B809-1412-49B2-9ECF-0BA31CED40D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8"/>
          </p:nvPr>
        </p:nvSpPr>
        <p:spPr>
          <a:xfrm>
            <a:off x="8287385" y="6973165"/>
            <a:ext cx="1782233" cy="1680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80">
                <a:solidFill>
                  <a:srgbClr val="788DB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1874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Cov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34AC00F-605D-415A-A2D8-83F979DB28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62524" y="1548383"/>
            <a:ext cx="6294288" cy="52572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205D83EE-C05D-414B-919A-00537834CF5F}"/>
              </a:ext>
            </a:extLst>
          </p:cNvPr>
          <p:cNvSpPr txBox="1">
            <a:spLocks/>
          </p:cNvSpPr>
          <p:nvPr userDrawn="1"/>
        </p:nvSpPr>
        <p:spPr>
          <a:xfrm>
            <a:off x="630238" y="6984987"/>
            <a:ext cx="2143125" cy="19087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00" b="0" i="0" kern="1200" cap="none" baseline="0">
                <a:solidFill>
                  <a:schemeClr val="bg1"/>
                </a:solidFill>
                <a:latin typeface="CeraPRO-Medium ☞" panose="020B0600000000000000" pitchFamily="34" charset="0"/>
                <a:ea typeface="+mn-ea"/>
                <a:cs typeface="+mn-cs"/>
              </a:defRPr>
            </a:lvl1pPr>
            <a:lvl2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900" b="1" i="0" kern="1200" dirty="0">
                <a:solidFill>
                  <a:schemeClr val="bg1"/>
                </a:solidFill>
                <a:latin typeface="CeraPRO-Bold ☞" panose="020B0600000000000000" pitchFamily="34" charset="0"/>
                <a:ea typeface="+mn-ea"/>
                <a:cs typeface="+mn-cs"/>
              </a:defRPr>
            </a:lvl2pPr>
            <a:lvl3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900" kern="1200">
                <a:solidFill>
                  <a:schemeClr val="bg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3pPr>
            <a:lvl4pPr marL="180000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bg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4pPr>
            <a:lvl5pPr marL="360000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"/>
              <a:buChar char="-"/>
              <a:defRPr sz="900" kern="1200">
                <a:solidFill>
                  <a:schemeClr val="bg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5pPr>
            <a:lvl6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900" b="0" kern="1200">
                <a:solidFill>
                  <a:schemeClr val="accent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6pPr>
            <a:lvl7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sz="900" b="0" kern="1200">
                <a:solidFill>
                  <a:schemeClr val="tx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7pPr>
            <a:lvl8pPr marL="180975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900" kern="1200" baseline="0">
                <a:solidFill>
                  <a:schemeClr val="tx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8pPr>
            <a:lvl9pPr marL="360000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900" kern="1200" baseline="0">
                <a:solidFill>
                  <a:schemeClr val="tx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9pPr>
          </a:lstStyle>
          <a:p>
            <a:r>
              <a:rPr lang="en-US" b="1" dirty="0" err="1">
                <a:latin typeface="+mn-lt"/>
              </a:rPr>
              <a:t>traverssmith.com</a:t>
            </a:r>
            <a:endParaRPr lang="en-US" b="1" dirty="0">
              <a:latin typeface="+mn-lt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440DDBFC-AC61-E148-8DBA-8ADCDE716584}"/>
              </a:ext>
            </a:extLst>
          </p:cNvPr>
          <p:cNvSpPr txBox="1">
            <a:spLocks/>
          </p:cNvSpPr>
          <p:nvPr userDrawn="1"/>
        </p:nvSpPr>
        <p:spPr>
          <a:xfrm>
            <a:off x="7920039" y="7010138"/>
            <a:ext cx="2143125" cy="19087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algn="r">
              <a:lnSpc>
                <a:spcPct val="110000"/>
              </a:lnSpc>
              <a:spcAft>
                <a:spcPts val="900"/>
              </a:spcAft>
              <a:defRPr sz="800" i="0" cap="none" baseline="0">
                <a:solidFill>
                  <a:schemeClr val="bg1"/>
                </a:solidFill>
                <a:latin typeface="CeraPRO-Medium ☞" panose="020B0600000000000000" pitchFamily="34" charset="0"/>
              </a:defRPr>
            </a:lvl1pPr>
            <a:lvl2pPr>
              <a:lnSpc>
                <a:spcPct val="110000"/>
              </a:lnSpc>
              <a:defRPr lang="en-US" sz="900" b="1" i="0" dirty="0">
                <a:solidFill>
                  <a:schemeClr val="bg1"/>
                </a:solidFill>
                <a:latin typeface="CeraPRO-Bold ☞" panose="020B0600000000000000" pitchFamily="34" charset="0"/>
              </a:defRPr>
            </a:lvl2pPr>
            <a:lvl3pPr marL="0" indent="0">
              <a:lnSpc>
                <a:spcPct val="110000"/>
              </a:lnSpc>
              <a:buClr>
                <a:schemeClr val="accent1"/>
              </a:buClr>
              <a:buFontTx/>
              <a:buNone/>
              <a:defRPr sz="900">
                <a:solidFill>
                  <a:schemeClr val="bg1"/>
                </a:solidFill>
                <a:latin typeface="CeraPRO-Regular ☞" panose="020B0500000000000000" pitchFamily="34" charset="0"/>
              </a:defRPr>
            </a:lvl3pPr>
            <a:lvl4pPr marL="180000">
              <a:lnSpc>
                <a:spcPct val="110000"/>
              </a:lnSpc>
              <a:buClr>
                <a:schemeClr val="bg1"/>
              </a:buClr>
              <a:buChar char="•"/>
              <a:defRPr sz="900">
                <a:solidFill>
                  <a:schemeClr val="bg1"/>
                </a:solidFill>
                <a:latin typeface="CeraPRO-Regular ☞" panose="020B0500000000000000" pitchFamily="34" charset="0"/>
              </a:defRPr>
            </a:lvl4pPr>
            <a:lvl5pPr marL="360000">
              <a:lnSpc>
                <a:spcPct val="110000"/>
              </a:lnSpc>
              <a:buClr>
                <a:schemeClr val="bg1"/>
              </a:buClr>
              <a:buFont typeface="System Font"/>
              <a:buChar char="-"/>
              <a:defRPr sz="900">
                <a:solidFill>
                  <a:schemeClr val="bg1"/>
                </a:solidFill>
                <a:latin typeface="CeraPRO-Regular ☞" panose="020B0500000000000000" pitchFamily="34" charset="0"/>
              </a:defRPr>
            </a:lvl5pPr>
            <a:lvl6pPr>
              <a:lnSpc>
                <a:spcPct val="110000"/>
              </a:lnSpc>
              <a:defRPr sz="900" b="0">
                <a:solidFill>
                  <a:schemeClr val="accent1"/>
                </a:solidFill>
                <a:latin typeface="CeraPRO-Regular ☞" panose="020B0500000000000000" pitchFamily="34" charset="0"/>
              </a:defRPr>
            </a:lvl6pPr>
            <a:lvl7pPr>
              <a:lnSpc>
                <a:spcPct val="110000"/>
              </a:lnSpc>
              <a:defRPr sz="900">
                <a:solidFill>
                  <a:schemeClr val="tx1"/>
                </a:solidFill>
                <a:latin typeface="CeraPRO-Regular ☞" panose="020B0500000000000000" pitchFamily="34" charset="0"/>
              </a:defRPr>
            </a:lvl7pPr>
            <a:lvl8pPr>
              <a:lnSpc>
                <a:spcPct val="110000"/>
              </a:lnSpc>
              <a:defRPr sz="900">
                <a:latin typeface="CeraPRO-Regular ☞" panose="020B0500000000000000" pitchFamily="34" charset="0"/>
              </a:defRPr>
            </a:lvl8pPr>
            <a:lvl9pPr>
              <a:lnSpc>
                <a:spcPct val="110000"/>
              </a:lnSpc>
              <a:defRPr sz="900">
                <a:latin typeface="CeraPRO-Regular ☞" panose="020B0500000000000000" pitchFamily="34" charset="0"/>
              </a:defRPr>
            </a:lvl9pPr>
          </a:lstStyle>
          <a:p>
            <a:pPr lvl="0"/>
            <a:r>
              <a:rPr lang="en-US" b="0" noProof="0" dirty="0">
                <a:latin typeface="+mn-lt"/>
              </a:rPr>
              <a:t>@ Travers Smith 2019</a:t>
            </a:r>
          </a:p>
        </p:txBody>
      </p:sp>
      <p:grpSp>
        <p:nvGrpSpPr>
          <p:cNvPr id="4" name="Graphic 1">
            <a:extLst>
              <a:ext uri="{FF2B5EF4-FFF2-40B4-BE49-F238E27FC236}">
                <a16:creationId xmlns:a16="http://schemas.microsoft.com/office/drawing/2014/main" id="{08A9DE7D-B30C-443E-95B0-2D7064EA8C60}"/>
              </a:ext>
            </a:extLst>
          </p:cNvPr>
          <p:cNvGrpSpPr/>
          <p:nvPr/>
        </p:nvGrpSpPr>
        <p:grpSpPr>
          <a:xfrm>
            <a:off x="8296584" y="578645"/>
            <a:ext cx="1764134" cy="455059"/>
            <a:chOff x="8296584" y="578645"/>
            <a:chExt cx="1764134" cy="455059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7350910-ADF2-4A5D-92AD-ECE9F28CBF87}"/>
                </a:ext>
              </a:extLst>
            </p:cNvPr>
            <p:cNvSpPr/>
            <p:nvPr/>
          </p:nvSpPr>
          <p:spPr>
            <a:xfrm>
              <a:off x="8296584" y="578645"/>
              <a:ext cx="1265439" cy="211945"/>
            </a:xfrm>
            <a:custGeom>
              <a:avLst/>
              <a:gdLst>
                <a:gd name="connsiteX0" fmla="*/ 1164765 w 1265438"/>
                <a:gd name="connsiteY0" fmla="*/ 4114 h 211945"/>
                <a:gd name="connsiteX1" fmla="*/ 1142885 w 1265438"/>
                <a:gd name="connsiteY1" fmla="*/ 15958 h 211945"/>
                <a:gd name="connsiteX2" fmla="*/ 1128298 w 1265438"/>
                <a:gd name="connsiteY2" fmla="*/ 34659 h 211945"/>
                <a:gd name="connsiteX3" fmla="*/ 1122937 w 1265438"/>
                <a:gd name="connsiteY3" fmla="*/ 59220 h 211945"/>
                <a:gd name="connsiteX4" fmla="*/ 1126739 w 1265438"/>
                <a:gd name="connsiteY4" fmla="*/ 79168 h 211945"/>
                <a:gd name="connsiteX5" fmla="*/ 1137212 w 1265438"/>
                <a:gd name="connsiteY5" fmla="*/ 95313 h 211945"/>
                <a:gd name="connsiteX6" fmla="*/ 1153233 w 1265438"/>
                <a:gd name="connsiteY6" fmla="*/ 108466 h 211945"/>
                <a:gd name="connsiteX7" fmla="*/ 1173679 w 1265438"/>
                <a:gd name="connsiteY7" fmla="*/ 119375 h 211945"/>
                <a:gd name="connsiteX8" fmla="*/ 1195871 w 1265438"/>
                <a:gd name="connsiteY8" fmla="*/ 129536 h 211945"/>
                <a:gd name="connsiteX9" fmla="*/ 1215507 w 1265438"/>
                <a:gd name="connsiteY9" fmla="*/ 140320 h 211945"/>
                <a:gd name="connsiteX10" fmla="*/ 1222489 w 1265438"/>
                <a:gd name="connsiteY10" fmla="*/ 155530 h 211945"/>
                <a:gd name="connsiteX11" fmla="*/ 1214697 w 1265438"/>
                <a:gd name="connsiteY11" fmla="*/ 172611 h 211945"/>
                <a:gd name="connsiteX12" fmla="*/ 1192941 w 1265438"/>
                <a:gd name="connsiteY12" fmla="*/ 178657 h 211945"/>
                <a:gd name="connsiteX13" fmla="*/ 1175798 w 1265438"/>
                <a:gd name="connsiteY13" fmla="*/ 176102 h 211945"/>
                <a:gd name="connsiteX14" fmla="*/ 1162022 w 1265438"/>
                <a:gd name="connsiteY14" fmla="*/ 169307 h 211945"/>
                <a:gd name="connsiteX15" fmla="*/ 1150739 w 1265438"/>
                <a:gd name="connsiteY15" fmla="*/ 159645 h 211945"/>
                <a:gd name="connsiteX16" fmla="*/ 1141513 w 1265438"/>
                <a:gd name="connsiteY16" fmla="*/ 148237 h 211945"/>
                <a:gd name="connsiteX17" fmla="*/ 1112028 w 1265438"/>
                <a:gd name="connsiteY17" fmla="*/ 170367 h 211945"/>
                <a:gd name="connsiteX18" fmla="*/ 1144568 w 1265438"/>
                <a:gd name="connsiteY18" fmla="*/ 203904 h 211945"/>
                <a:gd name="connsiteX19" fmla="*/ 1192941 w 1265438"/>
                <a:gd name="connsiteY19" fmla="*/ 216558 h 211945"/>
                <a:gd name="connsiteX20" fmla="*/ 1221803 w 1265438"/>
                <a:gd name="connsiteY20" fmla="*/ 212257 h 211945"/>
                <a:gd name="connsiteX21" fmla="*/ 1244930 w 1265438"/>
                <a:gd name="connsiteY21" fmla="*/ 199914 h 211945"/>
                <a:gd name="connsiteX22" fmla="*/ 1260452 w 1265438"/>
                <a:gd name="connsiteY22" fmla="*/ 180153 h 211945"/>
                <a:gd name="connsiteX23" fmla="*/ 1266187 w 1265438"/>
                <a:gd name="connsiteY23" fmla="*/ 153847 h 211945"/>
                <a:gd name="connsiteX24" fmla="*/ 1252722 w 1265438"/>
                <a:gd name="connsiteY24" fmla="*/ 117630 h 211945"/>
                <a:gd name="connsiteX25" fmla="*/ 1214510 w 1265438"/>
                <a:gd name="connsiteY25" fmla="*/ 92757 h 211945"/>
                <a:gd name="connsiteX26" fmla="*/ 1190697 w 1265438"/>
                <a:gd name="connsiteY26" fmla="*/ 82285 h 211945"/>
                <a:gd name="connsiteX27" fmla="*/ 1172619 w 1265438"/>
                <a:gd name="connsiteY27" fmla="*/ 72186 h 211945"/>
                <a:gd name="connsiteX28" fmla="*/ 1166261 w 1265438"/>
                <a:gd name="connsiteY28" fmla="*/ 58285 h 211945"/>
                <a:gd name="connsiteX29" fmla="*/ 1173866 w 1265438"/>
                <a:gd name="connsiteY29" fmla="*/ 42950 h 211945"/>
                <a:gd name="connsiteX30" fmla="*/ 1192255 w 1265438"/>
                <a:gd name="connsiteY30" fmla="*/ 38025 h 211945"/>
                <a:gd name="connsiteX31" fmla="*/ 1214946 w 1265438"/>
                <a:gd name="connsiteY31" fmla="*/ 44384 h 211945"/>
                <a:gd name="connsiteX32" fmla="*/ 1232213 w 1265438"/>
                <a:gd name="connsiteY32" fmla="*/ 62088 h 211945"/>
                <a:gd name="connsiteX33" fmla="*/ 1261387 w 1265438"/>
                <a:gd name="connsiteY33" fmla="*/ 39584 h 211945"/>
                <a:gd name="connsiteX34" fmla="*/ 1234582 w 1265438"/>
                <a:gd name="connsiteY34" fmla="*/ 11221 h 211945"/>
                <a:gd name="connsiteX35" fmla="*/ 1191944 w 1265438"/>
                <a:gd name="connsiteY35" fmla="*/ 0 h 211945"/>
                <a:gd name="connsiteX36" fmla="*/ 1164765 w 1265438"/>
                <a:gd name="connsiteY36" fmla="*/ 4114 h 211945"/>
                <a:gd name="connsiteX37" fmla="*/ 1008673 w 1265438"/>
                <a:gd name="connsiteY37" fmla="*/ 41454 h 211945"/>
                <a:gd name="connsiteX38" fmla="*/ 1032174 w 1265438"/>
                <a:gd name="connsiteY38" fmla="*/ 49682 h 211945"/>
                <a:gd name="connsiteX39" fmla="*/ 1040403 w 1265438"/>
                <a:gd name="connsiteY39" fmla="*/ 71189 h 211945"/>
                <a:gd name="connsiteX40" fmla="*/ 1032174 w 1265438"/>
                <a:gd name="connsiteY40" fmla="*/ 93007 h 211945"/>
                <a:gd name="connsiteX41" fmla="*/ 1008673 w 1265438"/>
                <a:gd name="connsiteY41" fmla="*/ 101235 h 211945"/>
                <a:gd name="connsiteX42" fmla="*/ 972830 w 1265438"/>
                <a:gd name="connsiteY42" fmla="*/ 101235 h 211945"/>
                <a:gd name="connsiteX43" fmla="*/ 972830 w 1265438"/>
                <a:gd name="connsiteY43" fmla="*/ 41392 h 211945"/>
                <a:gd name="connsiteX44" fmla="*/ 1008673 w 1265438"/>
                <a:gd name="connsiteY44" fmla="*/ 41392 h 211945"/>
                <a:gd name="connsiteX45" fmla="*/ 930004 w 1265438"/>
                <a:gd name="connsiteY45" fmla="*/ 3803 h 211945"/>
                <a:gd name="connsiteX46" fmla="*/ 930004 w 1265438"/>
                <a:gd name="connsiteY46" fmla="*/ 212756 h 211945"/>
                <a:gd name="connsiteX47" fmla="*/ 972830 w 1265438"/>
                <a:gd name="connsiteY47" fmla="*/ 212756 h 211945"/>
                <a:gd name="connsiteX48" fmla="*/ 972830 w 1265438"/>
                <a:gd name="connsiteY48" fmla="*/ 139011 h 211945"/>
                <a:gd name="connsiteX49" fmla="*/ 1003936 w 1265438"/>
                <a:gd name="connsiteY49" fmla="*/ 139011 h 211945"/>
                <a:gd name="connsiteX50" fmla="*/ 1058169 w 1265438"/>
                <a:gd name="connsiteY50" fmla="*/ 212756 h 211945"/>
                <a:gd name="connsiteX51" fmla="*/ 1106355 w 1265438"/>
                <a:gd name="connsiteY51" fmla="*/ 212756 h 211945"/>
                <a:gd name="connsiteX52" fmla="*/ 1047384 w 1265438"/>
                <a:gd name="connsiteY52" fmla="*/ 130783 h 211945"/>
                <a:gd name="connsiteX53" fmla="*/ 1074314 w 1265438"/>
                <a:gd name="connsiteY53" fmla="*/ 107219 h 211945"/>
                <a:gd name="connsiteX54" fmla="*/ 1084163 w 1265438"/>
                <a:gd name="connsiteY54" fmla="*/ 71313 h 211945"/>
                <a:gd name="connsiteX55" fmla="*/ 1078615 w 1265438"/>
                <a:gd name="connsiteY55" fmla="*/ 43636 h 211945"/>
                <a:gd name="connsiteX56" fmla="*/ 1063093 w 1265438"/>
                <a:gd name="connsiteY56" fmla="*/ 22254 h 211945"/>
                <a:gd name="connsiteX57" fmla="*/ 1039281 w 1265438"/>
                <a:gd name="connsiteY57" fmla="*/ 8665 h 211945"/>
                <a:gd name="connsiteX58" fmla="*/ 1008985 w 1265438"/>
                <a:gd name="connsiteY58" fmla="*/ 3927 h 211945"/>
                <a:gd name="connsiteX59" fmla="*/ 930004 w 1265438"/>
                <a:gd name="connsiteY59" fmla="*/ 3927 h 211945"/>
                <a:gd name="connsiteX60" fmla="*/ 901828 w 1265438"/>
                <a:gd name="connsiteY60" fmla="*/ 3803 h 211945"/>
                <a:gd name="connsiteX61" fmla="*/ 761009 w 1265438"/>
                <a:gd name="connsiteY61" fmla="*/ 3803 h 211945"/>
                <a:gd name="connsiteX62" fmla="*/ 761009 w 1265438"/>
                <a:gd name="connsiteY62" fmla="*/ 212756 h 211945"/>
                <a:gd name="connsiteX63" fmla="*/ 905630 w 1265438"/>
                <a:gd name="connsiteY63" fmla="*/ 212756 h 211945"/>
                <a:gd name="connsiteX64" fmla="*/ 905630 w 1265438"/>
                <a:gd name="connsiteY64" fmla="*/ 174107 h 211945"/>
                <a:gd name="connsiteX65" fmla="*/ 803834 w 1265438"/>
                <a:gd name="connsiteY65" fmla="*/ 174107 h 211945"/>
                <a:gd name="connsiteX66" fmla="*/ 803834 w 1265438"/>
                <a:gd name="connsiteY66" fmla="*/ 121245 h 211945"/>
                <a:gd name="connsiteX67" fmla="*/ 876145 w 1265438"/>
                <a:gd name="connsiteY67" fmla="*/ 121245 h 211945"/>
                <a:gd name="connsiteX68" fmla="*/ 876145 w 1265438"/>
                <a:gd name="connsiteY68" fmla="*/ 84840 h 211945"/>
                <a:gd name="connsiteX69" fmla="*/ 803834 w 1265438"/>
                <a:gd name="connsiteY69" fmla="*/ 84840 h 211945"/>
                <a:gd name="connsiteX70" fmla="*/ 803834 w 1265438"/>
                <a:gd name="connsiteY70" fmla="*/ 42451 h 211945"/>
                <a:gd name="connsiteX71" fmla="*/ 901828 w 1265438"/>
                <a:gd name="connsiteY71" fmla="*/ 42451 h 211945"/>
                <a:gd name="connsiteX72" fmla="*/ 901828 w 1265438"/>
                <a:gd name="connsiteY72" fmla="*/ 3803 h 211945"/>
                <a:gd name="connsiteX73" fmla="*/ 738755 w 1265438"/>
                <a:gd name="connsiteY73" fmla="*/ 3803 h 211945"/>
                <a:gd name="connsiteX74" fmla="*/ 690568 w 1265438"/>
                <a:gd name="connsiteY74" fmla="*/ 3803 h 211945"/>
                <a:gd name="connsiteX75" fmla="*/ 638205 w 1265438"/>
                <a:gd name="connsiteY75" fmla="*/ 130783 h 211945"/>
                <a:gd name="connsiteX76" fmla="*/ 585842 w 1265438"/>
                <a:gd name="connsiteY76" fmla="*/ 3803 h 211945"/>
                <a:gd name="connsiteX77" fmla="*/ 537656 w 1265438"/>
                <a:gd name="connsiteY77" fmla="*/ 3803 h 211945"/>
                <a:gd name="connsiteX78" fmla="*/ 631223 w 1265438"/>
                <a:gd name="connsiteY78" fmla="*/ 216558 h 211945"/>
                <a:gd name="connsiteX79" fmla="*/ 645187 w 1265438"/>
                <a:gd name="connsiteY79" fmla="*/ 216558 h 211945"/>
                <a:gd name="connsiteX80" fmla="*/ 738755 w 1265438"/>
                <a:gd name="connsiteY80" fmla="*/ 3803 h 211945"/>
                <a:gd name="connsiteX81" fmla="*/ 485604 w 1265438"/>
                <a:gd name="connsiteY81" fmla="*/ 79791 h 211945"/>
                <a:gd name="connsiteX82" fmla="*/ 513220 w 1265438"/>
                <a:gd name="connsiteY82" fmla="*/ 150419 h 211945"/>
                <a:gd name="connsiteX83" fmla="*/ 457740 w 1265438"/>
                <a:gd name="connsiteY83" fmla="*/ 150419 h 211945"/>
                <a:gd name="connsiteX84" fmla="*/ 485604 w 1265438"/>
                <a:gd name="connsiteY84" fmla="*/ 79791 h 211945"/>
                <a:gd name="connsiteX85" fmla="*/ 492586 w 1265438"/>
                <a:gd name="connsiteY85" fmla="*/ 0 h 211945"/>
                <a:gd name="connsiteX86" fmla="*/ 478623 w 1265438"/>
                <a:gd name="connsiteY86" fmla="*/ 0 h 211945"/>
                <a:gd name="connsiteX87" fmla="*/ 385055 w 1265438"/>
                <a:gd name="connsiteY87" fmla="*/ 212756 h 211945"/>
                <a:gd name="connsiteX88" fmla="*/ 431060 w 1265438"/>
                <a:gd name="connsiteY88" fmla="*/ 212756 h 211945"/>
                <a:gd name="connsiteX89" fmla="*/ 442779 w 1265438"/>
                <a:gd name="connsiteY89" fmla="*/ 185514 h 211945"/>
                <a:gd name="connsiteX90" fmla="*/ 528430 w 1265438"/>
                <a:gd name="connsiteY90" fmla="*/ 185514 h 211945"/>
                <a:gd name="connsiteX91" fmla="*/ 540149 w 1265438"/>
                <a:gd name="connsiteY91" fmla="*/ 212756 h 211945"/>
                <a:gd name="connsiteX92" fmla="*/ 586154 w 1265438"/>
                <a:gd name="connsiteY92" fmla="*/ 212756 h 211945"/>
                <a:gd name="connsiteX93" fmla="*/ 492586 w 1265438"/>
                <a:gd name="connsiteY93" fmla="*/ 0 h 211945"/>
                <a:gd name="connsiteX94" fmla="*/ 280703 w 1265438"/>
                <a:gd name="connsiteY94" fmla="*/ 41454 h 211945"/>
                <a:gd name="connsiteX95" fmla="*/ 304204 w 1265438"/>
                <a:gd name="connsiteY95" fmla="*/ 49682 h 211945"/>
                <a:gd name="connsiteX96" fmla="*/ 312433 w 1265438"/>
                <a:gd name="connsiteY96" fmla="*/ 71189 h 211945"/>
                <a:gd name="connsiteX97" fmla="*/ 304204 w 1265438"/>
                <a:gd name="connsiteY97" fmla="*/ 93007 h 211945"/>
                <a:gd name="connsiteX98" fmla="*/ 280703 w 1265438"/>
                <a:gd name="connsiteY98" fmla="*/ 101235 h 211945"/>
                <a:gd name="connsiteX99" fmla="*/ 244859 w 1265438"/>
                <a:gd name="connsiteY99" fmla="*/ 101235 h 211945"/>
                <a:gd name="connsiteX100" fmla="*/ 244859 w 1265438"/>
                <a:gd name="connsiteY100" fmla="*/ 41392 h 211945"/>
                <a:gd name="connsiteX101" fmla="*/ 280703 w 1265438"/>
                <a:gd name="connsiteY101" fmla="*/ 41392 h 211945"/>
                <a:gd name="connsiteX102" fmla="*/ 202034 w 1265438"/>
                <a:gd name="connsiteY102" fmla="*/ 3803 h 211945"/>
                <a:gd name="connsiteX103" fmla="*/ 202034 w 1265438"/>
                <a:gd name="connsiteY103" fmla="*/ 212756 h 211945"/>
                <a:gd name="connsiteX104" fmla="*/ 244859 w 1265438"/>
                <a:gd name="connsiteY104" fmla="*/ 212756 h 211945"/>
                <a:gd name="connsiteX105" fmla="*/ 244859 w 1265438"/>
                <a:gd name="connsiteY105" fmla="*/ 139011 h 211945"/>
                <a:gd name="connsiteX106" fmla="*/ 275965 w 1265438"/>
                <a:gd name="connsiteY106" fmla="*/ 139011 h 211945"/>
                <a:gd name="connsiteX107" fmla="*/ 330199 w 1265438"/>
                <a:gd name="connsiteY107" fmla="*/ 212756 h 211945"/>
                <a:gd name="connsiteX108" fmla="*/ 378385 w 1265438"/>
                <a:gd name="connsiteY108" fmla="*/ 212756 h 211945"/>
                <a:gd name="connsiteX109" fmla="*/ 319414 w 1265438"/>
                <a:gd name="connsiteY109" fmla="*/ 130783 h 211945"/>
                <a:gd name="connsiteX110" fmla="*/ 346344 w 1265438"/>
                <a:gd name="connsiteY110" fmla="*/ 107219 h 211945"/>
                <a:gd name="connsiteX111" fmla="*/ 356193 w 1265438"/>
                <a:gd name="connsiteY111" fmla="*/ 71313 h 211945"/>
                <a:gd name="connsiteX112" fmla="*/ 350645 w 1265438"/>
                <a:gd name="connsiteY112" fmla="*/ 43636 h 211945"/>
                <a:gd name="connsiteX113" fmla="*/ 335123 w 1265438"/>
                <a:gd name="connsiteY113" fmla="*/ 22254 h 211945"/>
                <a:gd name="connsiteX114" fmla="*/ 311310 w 1265438"/>
                <a:gd name="connsiteY114" fmla="*/ 8665 h 211945"/>
                <a:gd name="connsiteX115" fmla="*/ 281015 w 1265438"/>
                <a:gd name="connsiteY115" fmla="*/ 3927 h 211945"/>
                <a:gd name="connsiteX116" fmla="*/ 202034 w 1265438"/>
                <a:gd name="connsiteY116" fmla="*/ 3927 h 211945"/>
                <a:gd name="connsiteX117" fmla="*/ 176974 w 1265438"/>
                <a:gd name="connsiteY117" fmla="*/ 3803 h 211945"/>
                <a:gd name="connsiteX118" fmla="*/ 0 w 1265438"/>
                <a:gd name="connsiteY118" fmla="*/ 3803 h 211945"/>
                <a:gd name="connsiteX119" fmla="*/ 0 w 1265438"/>
                <a:gd name="connsiteY119" fmla="*/ 42451 h 211945"/>
                <a:gd name="connsiteX120" fmla="*/ 66950 w 1265438"/>
                <a:gd name="connsiteY120" fmla="*/ 42451 h 211945"/>
                <a:gd name="connsiteX121" fmla="*/ 66950 w 1265438"/>
                <a:gd name="connsiteY121" fmla="*/ 212756 h 211945"/>
                <a:gd name="connsiteX122" fmla="*/ 109775 w 1265438"/>
                <a:gd name="connsiteY122" fmla="*/ 212756 h 211945"/>
                <a:gd name="connsiteX123" fmla="*/ 109775 w 1265438"/>
                <a:gd name="connsiteY123" fmla="*/ 42451 h 211945"/>
                <a:gd name="connsiteX124" fmla="*/ 177037 w 1265438"/>
                <a:gd name="connsiteY124" fmla="*/ 42451 h 211945"/>
                <a:gd name="connsiteX125" fmla="*/ 177037 w 1265438"/>
                <a:gd name="connsiteY125" fmla="*/ 3803 h 21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265438" h="211945">
                  <a:moveTo>
                    <a:pt x="1164765" y="4114"/>
                  </a:moveTo>
                  <a:cubicBezTo>
                    <a:pt x="1156287" y="6857"/>
                    <a:pt x="1148994" y="10847"/>
                    <a:pt x="1142885" y="15958"/>
                  </a:cubicBezTo>
                  <a:cubicBezTo>
                    <a:pt x="1136776" y="21132"/>
                    <a:pt x="1131913" y="27366"/>
                    <a:pt x="1128298" y="34659"/>
                  </a:cubicBezTo>
                  <a:cubicBezTo>
                    <a:pt x="1124682" y="41953"/>
                    <a:pt x="1122937" y="50119"/>
                    <a:pt x="1122937" y="59220"/>
                  </a:cubicBezTo>
                  <a:cubicBezTo>
                    <a:pt x="1122937" y="66638"/>
                    <a:pt x="1124184" y="73246"/>
                    <a:pt x="1126739" y="79168"/>
                  </a:cubicBezTo>
                  <a:cubicBezTo>
                    <a:pt x="1129295" y="85090"/>
                    <a:pt x="1132786" y="90451"/>
                    <a:pt x="1137212" y="95313"/>
                  </a:cubicBezTo>
                  <a:cubicBezTo>
                    <a:pt x="1141638" y="100175"/>
                    <a:pt x="1146999" y="104539"/>
                    <a:pt x="1153233" y="108466"/>
                  </a:cubicBezTo>
                  <a:cubicBezTo>
                    <a:pt x="1159466" y="112393"/>
                    <a:pt x="1166261" y="116009"/>
                    <a:pt x="1173679" y="119375"/>
                  </a:cubicBezTo>
                  <a:lnTo>
                    <a:pt x="1195871" y="129536"/>
                  </a:lnTo>
                  <a:cubicBezTo>
                    <a:pt x="1204349" y="133339"/>
                    <a:pt x="1210894" y="136954"/>
                    <a:pt x="1215507" y="140320"/>
                  </a:cubicBezTo>
                  <a:cubicBezTo>
                    <a:pt x="1220182" y="143686"/>
                    <a:pt x="1222489" y="148736"/>
                    <a:pt x="1222489" y="155530"/>
                  </a:cubicBezTo>
                  <a:cubicBezTo>
                    <a:pt x="1222489" y="162949"/>
                    <a:pt x="1219871" y="168621"/>
                    <a:pt x="1214697" y="172611"/>
                  </a:cubicBezTo>
                  <a:cubicBezTo>
                    <a:pt x="1209523" y="176600"/>
                    <a:pt x="1202292" y="178657"/>
                    <a:pt x="1192941" y="178657"/>
                  </a:cubicBezTo>
                  <a:cubicBezTo>
                    <a:pt x="1186583" y="178657"/>
                    <a:pt x="1180910" y="177785"/>
                    <a:pt x="1175798" y="176102"/>
                  </a:cubicBezTo>
                  <a:cubicBezTo>
                    <a:pt x="1170749" y="174419"/>
                    <a:pt x="1166136" y="172174"/>
                    <a:pt x="1162022" y="169307"/>
                  </a:cubicBezTo>
                  <a:cubicBezTo>
                    <a:pt x="1157908" y="166439"/>
                    <a:pt x="1154168" y="163260"/>
                    <a:pt x="1150739" y="159645"/>
                  </a:cubicBezTo>
                  <a:cubicBezTo>
                    <a:pt x="1147373" y="156029"/>
                    <a:pt x="1144318" y="152289"/>
                    <a:pt x="1141513" y="148237"/>
                  </a:cubicBezTo>
                  <a:lnTo>
                    <a:pt x="1112028" y="170367"/>
                  </a:lnTo>
                  <a:cubicBezTo>
                    <a:pt x="1119820" y="184268"/>
                    <a:pt x="1130667" y="195488"/>
                    <a:pt x="1144568" y="203904"/>
                  </a:cubicBezTo>
                  <a:cubicBezTo>
                    <a:pt x="1158407" y="212319"/>
                    <a:pt x="1174552" y="216558"/>
                    <a:pt x="1192941" y="216558"/>
                  </a:cubicBezTo>
                  <a:cubicBezTo>
                    <a:pt x="1203289" y="216558"/>
                    <a:pt x="1212951" y="215124"/>
                    <a:pt x="1221803" y="212257"/>
                  </a:cubicBezTo>
                  <a:cubicBezTo>
                    <a:pt x="1230655" y="209389"/>
                    <a:pt x="1238385" y="205275"/>
                    <a:pt x="1244930" y="199914"/>
                  </a:cubicBezTo>
                  <a:cubicBezTo>
                    <a:pt x="1251475" y="194553"/>
                    <a:pt x="1256649" y="187946"/>
                    <a:pt x="1260452" y="180153"/>
                  </a:cubicBezTo>
                  <a:cubicBezTo>
                    <a:pt x="1264255" y="172361"/>
                    <a:pt x="1266187" y="163572"/>
                    <a:pt x="1266187" y="153847"/>
                  </a:cubicBezTo>
                  <a:cubicBezTo>
                    <a:pt x="1266187" y="138887"/>
                    <a:pt x="1261699" y="126793"/>
                    <a:pt x="1252722" y="117630"/>
                  </a:cubicBezTo>
                  <a:cubicBezTo>
                    <a:pt x="1243746" y="108466"/>
                    <a:pt x="1230967" y="100175"/>
                    <a:pt x="1214510" y="92757"/>
                  </a:cubicBezTo>
                  <a:lnTo>
                    <a:pt x="1190697" y="82285"/>
                  </a:lnTo>
                  <a:cubicBezTo>
                    <a:pt x="1182843" y="78669"/>
                    <a:pt x="1176858" y="75303"/>
                    <a:pt x="1172619" y="72186"/>
                  </a:cubicBezTo>
                  <a:cubicBezTo>
                    <a:pt x="1168380" y="69007"/>
                    <a:pt x="1166261" y="64394"/>
                    <a:pt x="1166261" y="58285"/>
                  </a:cubicBezTo>
                  <a:cubicBezTo>
                    <a:pt x="1166261" y="51303"/>
                    <a:pt x="1168817" y="46192"/>
                    <a:pt x="1173866" y="42950"/>
                  </a:cubicBezTo>
                  <a:cubicBezTo>
                    <a:pt x="1178915" y="39709"/>
                    <a:pt x="1185087" y="38025"/>
                    <a:pt x="1192255" y="38025"/>
                  </a:cubicBezTo>
                  <a:cubicBezTo>
                    <a:pt x="1200920" y="38025"/>
                    <a:pt x="1208463" y="40145"/>
                    <a:pt x="1214946" y="44384"/>
                  </a:cubicBezTo>
                  <a:cubicBezTo>
                    <a:pt x="1221367" y="48623"/>
                    <a:pt x="1227164" y="54545"/>
                    <a:pt x="1232213" y="62088"/>
                  </a:cubicBezTo>
                  <a:lnTo>
                    <a:pt x="1261387" y="39584"/>
                  </a:lnTo>
                  <a:cubicBezTo>
                    <a:pt x="1255278" y="28176"/>
                    <a:pt x="1246301" y="18763"/>
                    <a:pt x="1234582" y="11221"/>
                  </a:cubicBezTo>
                  <a:cubicBezTo>
                    <a:pt x="1222863" y="3740"/>
                    <a:pt x="1208650" y="0"/>
                    <a:pt x="1191944" y="0"/>
                  </a:cubicBezTo>
                  <a:cubicBezTo>
                    <a:pt x="1182282" y="0"/>
                    <a:pt x="1173180" y="1371"/>
                    <a:pt x="1164765" y="4114"/>
                  </a:cubicBezTo>
                  <a:moveTo>
                    <a:pt x="1008673" y="41454"/>
                  </a:moveTo>
                  <a:cubicBezTo>
                    <a:pt x="1018834" y="41454"/>
                    <a:pt x="1026626" y="44197"/>
                    <a:pt x="1032174" y="49682"/>
                  </a:cubicBezTo>
                  <a:cubicBezTo>
                    <a:pt x="1037660" y="55168"/>
                    <a:pt x="1040403" y="62337"/>
                    <a:pt x="1040403" y="71189"/>
                  </a:cubicBezTo>
                  <a:cubicBezTo>
                    <a:pt x="1040403" y="80290"/>
                    <a:pt x="1037660" y="87521"/>
                    <a:pt x="1032174" y="93007"/>
                  </a:cubicBezTo>
                  <a:cubicBezTo>
                    <a:pt x="1026689" y="98492"/>
                    <a:pt x="1018834" y="101235"/>
                    <a:pt x="1008673" y="101235"/>
                  </a:cubicBezTo>
                  <a:lnTo>
                    <a:pt x="972830" y="101235"/>
                  </a:lnTo>
                  <a:lnTo>
                    <a:pt x="972830" y="41392"/>
                  </a:lnTo>
                  <a:lnTo>
                    <a:pt x="1008673" y="41392"/>
                  </a:lnTo>
                  <a:close/>
                  <a:moveTo>
                    <a:pt x="930004" y="3803"/>
                  </a:moveTo>
                  <a:lnTo>
                    <a:pt x="930004" y="212756"/>
                  </a:lnTo>
                  <a:lnTo>
                    <a:pt x="972830" y="212756"/>
                  </a:lnTo>
                  <a:lnTo>
                    <a:pt x="972830" y="139011"/>
                  </a:lnTo>
                  <a:lnTo>
                    <a:pt x="1003936" y="139011"/>
                  </a:lnTo>
                  <a:lnTo>
                    <a:pt x="1058169" y="212756"/>
                  </a:lnTo>
                  <a:lnTo>
                    <a:pt x="1106355" y="212756"/>
                  </a:lnTo>
                  <a:lnTo>
                    <a:pt x="1047384" y="130783"/>
                  </a:lnTo>
                  <a:cubicBezTo>
                    <a:pt x="1058792" y="125297"/>
                    <a:pt x="1067769" y="117443"/>
                    <a:pt x="1074314" y="107219"/>
                  </a:cubicBezTo>
                  <a:cubicBezTo>
                    <a:pt x="1080859" y="96996"/>
                    <a:pt x="1084163" y="85027"/>
                    <a:pt x="1084163" y="71313"/>
                  </a:cubicBezTo>
                  <a:cubicBezTo>
                    <a:pt x="1084163" y="61215"/>
                    <a:pt x="1082293" y="51927"/>
                    <a:pt x="1078615" y="43636"/>
                  </a:cubicBezTo>
                  <a:cubicBezTo>
                    <a:pt x="1074937" y="35283"/>
                    <a:pt x="1069763" y="28176"/>
                    <a:pt x="1063093" y="22254"/>
                  </a:cubicBezTo>
                  <a:cubicBezTo>
                    <a:pt x="1056423" y="16332"/>
                    <a:pt x="1048507" y="11782"/>
                    <a:pt x="1039281" y="8665"/>
                  </a:cubicBezTo>
                  <a:cubicBezTo>
                    <a:pt x="1030055" y="5486"/>
                    <a:pt x="1019956" y="3927"/>
                    <a:pt x="1008985" y="3927"/>
                  </a:cubicBezTo>
                  <a:lnTo>
                    <a:pt x="930004" y="3927"/>
                  </a:lnTo>
                  <a:close/>
                  <a:moveTo>
                    <a:pt x="901828" y="3803"/>
                  </a:moveTo>
                  <a:lnTo>
                    <a:pt x="761009" y="3803"/>
                  </a:lnTo>
                  <a:lnTo>
                    <a:pt x="761009" y="212756"/>
                  </a:lnTo>
                  <a:lnTo>
                    <a:pt x="905630" y="212756"/>
                  </a:lnTo>
                  <a:lnTo>
                    <a:pt x="905630" y="174107"/>
                  </a:lnTo>
                  <a:lnTo>
                    <a:pt x="803834" y="174107"/>
                  </a:lnTo>
                  <a:lnTo>
                    <a:pt x="803834" y="121245"/>
                  </a:lnTo>
                  <a:lnTo>
                    <a:pt x="876145" y="121245"/>
                  </a:lnTo>
                  <a:lnTo>
                    <a:pt x="876145" y="84840"/>
                  </a:lnTo>
                  <a:lnTo>
                    <a:pt x="803834" y="84840"/>
                  </a:lnTo>
                  <a:lnTo>
                    <a:pt x="803834" y="42451"/>
                  </a:lnTo>
                  <a:lnTo>
                    <a:pt x="901828" y="42451"/>
                  </a:lnTo>
                  <a:lnTo>
                    <a:pt x="901828" y="3803"/>
                  </a:lnTo>
                  <a:close/>
                  <a:moveTo>
                    <a:pt x="738755" y="3803"/>
                  </a:moveTo>
                  <a:lnTo>
                    <a:pt x="690568" y="3803"/>
                  </a:lnTo>
                  <a:lnTo>
                    <a:pt x="638205" y="130783"/>
                  </a:lnTo>
                  <a:lnTo>
                    <a:pt x="585842" y="3803"/>
                  </a:lnTo>
                  <a:lnTo>
                    <a:pt x="537656" y="3803"/>
                  </a:lnTo>
                  <a:lnTo>
                    <a:pt x="631223" y="216558"/>
                  </a:lnTo>
                  <a:lnTo>
                    <a:pt x="645187" y="216558"/>
                  </a:lnTo>
                  <a:lnTo>
                    <a:pt x="738755" y="3803"/>
                  </a:lnTo>
                  <a:close/>
                  <a:moveTo>
                    <a:pt x="485604" y="79791"/>
                  </a:moveTo>
                  <a:lnTo>
                    <a:pt x="513220" y="150419"/>
                  </a:lnTo>
                  <a:lnTo>
                    <a:pt x="457740" y="150419"/>
                  </a:lnTo>
                  <a:lnTo>
                    <a:pt x="485604" y="79791"/>
                  </a:lnTo>
                  <a:close/>
                  <a:moveTo>
                    <a:pt x="492586" y="0"/>
                  </a:moveTo>
                  <a:lnTo>
                    <a:pt x="478623" y="0"/>
                  </a:lnTo>
                  <a:lnTo>
                    <a:pt x="385055" y="212756"/>
                  </a:lnTo>
                  <a:lnTo>
                    <a:pt x="431060" y="212756"/>
                  </a:lnTo>
                  <a:lnTo>
                    <a:pt x="442779" y="185514"/>
                  </a:lnTo>
                  <a:lnTo>
                    <a:pt x="528430" y="185514"/>
                  </a:lnTo>
                  <a:lnTo>
                    <a:pt x="540149" y="212756"/>
                  </a:lnTo>
                  <a:lnTo>
                    <a:pt x="586154" y="212756"/>
                  </a:lnTo>
                  <a:lnTo>
                    <a:pt x="492586" y="0"/>
                  </a:lnTo>
                  <a:close/>
                  <a:moveTo>
                    <a:pt x="280703" y="41454"/>
                  </a:moveTo>
                  <a:cubicBezTo>
                    <a:pt x="290864" y="41454"/>
                    <a:pt x="298656" y="44197"/>
                    <a:pt x="304204" y="49682"/>
                  </a:cubicBezTo>
                  <a:cubicBezTo>
                    <a:pt x="309690" y="55168"/>
                    <a:pt x="312433" y="62337"/>
                    <a:pt x="312433" y="71189"/>
                  </a:cubicBezTo>
                  <a:cubicBezTo>
                    <a:pt x="312433" y="80290"/>
                    <a:pt x="309690" y="87521"/>
                    <a:pt x="304204" y="93007"/>
                  </a:cubicBezTo>
                  <a:cubicBezTo>
                    <a:pt x="298718" y="98492"/>
                    <a:pt x="290864" y="101235"/>
                    <a:pt x="280703" y="101235"/>
                  </a:cubicBezTo>
                  <a:lnTo>
                    <a:pt x="244859" y="101235"/>
                  </a:lnTo>
                  <a:lnTo>
                    <a:pt x="244859" y="41392"/>
                  </a:lnTo>
                  <a:lnTo>
                    <a:pt x="280703" y="41392"/>
                  </a:lnTo>
                  <a:close/>
                  <a:moveTo>
                    <a:pt x="202034" y="3803"/>
                  </a:moveTo>
                  <a:lnTo>
                    <a:pt x="202034" y="212756"/>
                  </a:lnTo>
                  <a:lnTo>
                    <a:pt x="244859" y="212756"/>
                  </a:lnTo>
                  <a:lnTo>
                    <a:pt x="244859" y="139011"/>
                  </a:lnTo>
                  <a:lnTo>
                    <a:pt x="275965" y="139011"/>
                  </a:lnTo>
                  <a:lnTo>
                    <a:pt x="330199" y="212756"/>
                  </a:lnTo>
                  <a:lnTo>
                    <a:pt x="378385" y="212756"/>
                  </a:lnTo>
                  <a:lnTo>
                    <a:pt x="319414" y="130783"/>
                  </a:lnTo>
                  <a:cubicBezTo>
                    <a:pt x="330822" y="125297"/>
                    <a:pt x="339798" y="117443"/>
                    <a:pt x="346344" y="107219"/>
                  </a:cubicBezTo>
                  <a:cubicBezTo>
                    <a:pt x="352889" y="96996"/>
                    <a:pt x="356193" y="85027"/>
                    <a:pt x="356193" y="71313"/>
                  </a:cubicBezTo>
                  <a:cubicBezTo>
                    <a:pt x="356193" y="61215"/>
                    <a:pt x="354323" y="51927"/>
                    <a:pt x="350645" y="43636"/>
                  </a:cubicBezTo>
                  <a:cubicBezTo>
                    <a:pt x="346967" y="35283"/>
                    <a:pt x="341793" y="28176"/>
                    <a:pt x="335123" y="22254"/>
                  </a:cubicBezTo>
                  <a:cubicBezTo>
                    <a:pt x="328453" y="16332"/>
                    <a:pt x="320536" y="11782"/>
                    <a:pt x="311310" y="8665"/>
                  </a:cubicBezTo>
                  <a:cubicBezTo>
                    <a:pt x="302085" y="5486"/>
                    <a:pt x="291986" y="3927"/>
                    <a:pt x="281015" y="3927"/>
                  </a:cubicBezTo>
                  <a:lnTo>
                    <a:pt x="202034" y="3927"/>
                  </a:lnTo>
                  <a:close/>
                  <a:moveTo>
                    <a:pt x="176974" y="3803"/>
                  </a:moveTo>
                  <a:lnTo>
                    <a:pt x="0" y="3803"/>
                  </a:lnTo>
                  <a:lnTo>
                    <a:pt x="0" y="42451"/>
                  </a:lnTo>
                  <a:lnTo>
                    <a:pt x="66950" y="42451"/>
                  </a:lnTo>
                  <a:lnTo>
                    <a:pt x="66950" y="212756"/>
                  </a:lnTo>
                  <a:lnTo>
                    <a:pt x="109775" y="212756"/>
                  </a:lnTo>
                  <a:lnTo>
                    <a:pt x="109775" y="42451"/>
                  </a:lnTo>
                  <a:lnTo>
                    <a:pt x="177037" y="42451"/>
                  </a:lnTo>
                  <a:lnTo>
                    <a:pt x="177037" y="3803"/>
                  </a:lnTo>
                  <a:close/>
                </a:path>
              </a:pathLst>
            </a:custGeom>
            <a:solidFill>
              <a:srgbClr val="FFFFFF"/>
            </a:solidFill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9803156-3F88-4A48-BDD3-3BE980079FD1}"/>
                </a:ext>
              </a:extLst>
            </p:cNvPr>
            <p:cNvSpPr/>
            <p:nvPr/>
          </p:nvSpPr>
          <p:spPr>
            <a:xfrm>
              <a:off x="9183077" y="814403"/>
              <a:ext cx="878950" cy="211945"/>
            </a:xfrm>
            <a:custGeom>
              <a:avLst/>
              <a:gdLst>
                <a:gd name="connsiteX0" fmla="*/ 880509 w 878950"/>
                <a:gd name="connsiteY0" fmla="*/ 3865 h 211945"/>
                <a:gd name="connsiteX1" fmla="*/ 837683 w 878950"/>
                <a:gd name="connsiteY1" fmla="*/ 3865 h 211945"/>
                <a:gd name="connsiteX2" fmla="*/ 837683 w 878950"/>
                <a:gd name="connsiteY2" fmla="*/ 83968 h 211945"/>
                <a:gd name="connsiteX3" fmla="*/ 745051 w 878950"/>
                <a:gd name="connsiteY3" fmla="*/ 83968 h 211945"/>
                <a:gd name="connsiteX4" fmla="*/ 745051 w 878950"/>
                <a:gd name="connsiteY4" fmla="*/ 3865 h 211945"/>
                <a:gd name="connsiteX5" fmla="*/ 702225 w 878950"/>
                <a:gd name="connsiteY5" fmla="*/ 3865 h 211945"/>
                <a:gd name="connsiteX6" fmla="*/ 702225 w 878950"/>
                <a:gd name="connsiteY6" fmla="*/ 212818 h 211945"/>
                <a:gd name="connsiteX7" fmla="*/ 745051 w 878950"/>
                <a:gd name="connsiteY7" fmla="*/ 212818 h 211945"/>
                <a:gd name="connsiteX8" fmla="*/ 745051 w 878950"/>
                <a:gd name="connsiteY8" fmla="*/ 122554 h 211945"/>
                <a:gd name="connsiteX9" fmla="*/ 837683 w 878950"/>
                <a:gd name="connsiteY9" fmla="*/ 122554 h 211945"/>
                <a:gd name="connsiteX10" fmla="*/ 837683 w 878950"/>
                <a:gd name="connsiteY10" fmla="*/ 212756 h 211945"/>
                <a:gd name="connsiteX11" fmla="*/ 880509 w 878950"/>
                <a:gd name="connsiteY11" fmla="*/ 212756 h 211945"/>
                <a:gd name="connsiteX12" fmla="*/ 880509 w 878950"/>
                <a:gd name="connsiteY12" fmla="*/ 3865 h 211945"/>
                <a:gd name="connsiteX13" fmla="*/ 674049 w 878950"/>
                <a:gd name="connsiteY13" fmla="*/ 3865 h 211945"/>
                <a:gd name="connsiteX14" fmla="*/ 497074 w 878950"/>
                <a:gd name="connsiteY14" fmla="*/ 3865 h 211945"/>
                <a:gd name="connsiteX15" fmla="*/ 497074 w 878950"/>
                <a:gd name="connsiteY15" fmla="*/ 42514 h 211945"/>
                <a:gd name="connsiteX16" fmla="*/ 564024 w 878950"/>
                <a:gd name="connsiteY16" fmla="*/ 42514 h 211945"/>
                <a:gd name="connsiteX17" fmla="*/ 564024 w 878950"/>
                <a:gd name="connsiteY17" fmla="*/ 212818 h 211945"/>
                <a:gd name="connsiteX18" fmla="*/ 606850 w 878950"/>
                <a:gd name="connsiteY18" fmla="*/ 212818 h 211945"/>
                <a:gd name="connsiteX19" fmla="*/ 606850 w 878950"/>
                <a:gd name="connsiteY19" fmla="*/ 42451 h 211945"/>
                <a:gd name="connsiteX20" fmla="*/ 674111 w 878950"/>
                <a:gd name="connsiteY20" fmla="*/ 42451 h 211945"/>
                <a:gd name="connsiteX21" fmla="*/ 674111 w 878950"/>
                <a:gd name="connsiteY21" fmla="*/ 3865 h 211945"/>
                <a:gd name="connsiteX22" fmla="*/ 468836 w 878950"/>
                <a:gd name="connsiteY22" fmla="*/ 3865 h 211945"/>
                <a:gd name="connsiteX23" fmla="*/ 426010 w 878950"/>
                <a:gd name="connsiteY23" fmla="*/ 3865 h 211945"/>
                <a:gd name="connsiteX24" fmla="*/ 426010 w 878950"/>
                <a:gd name="connsiteY24" fmla="*/ 212818 h 211945"/>
                <a:gd name="connsiteX25" fmla="*/ 468836 w 878950"/>
                <a:gd name="connsiteY25" fmla="*/ 212818 h 211945"/>
                <a:gd name="connsiteX26" fmla="*/ 468836 w 878950"/>
                <a:gd name="connsiteY26" fmla="*/ 3865 h 211945"/>
                <a:gd name="connsiteX27" fmla="*/ 394031 w 878950"/>
                <a:gd name="connsiteY27" fmla="*/ 62 h 211945"/>
                <a:gd name="connsiteX28" fmla="*/ 380068 w 878950"/>
                <a:gd name="connsiteY28" fmla="*/ 62 h 211945"/>
                <a:gd name="connsiteX29" fmla="*/ 291238 w 878950"/>
                <a:gd name="connsiteY29" fmla="*/ 113391 h 211945"/>
                <a:gd name="connsiteX30" fmla="*/ 203094 w 878950"/>
                <a:gd name="connsiteY30" fmla="*/ 62 h 211945"/>
                <a:gd name="connsiteX31" fmla="*/ 188818 w 878950"/>
                <a:gd name="connsiteY31" fmla="*/ 62 h 211945"/>
                <a:gd name="connsiteX32" fmla="*/ 188818 w 878950"/>
                <a:gd name="connsiteY32" fmla="*/ 212818 h 211945"/>
                <a:gd name="connsiteX33" fmla="*/ 231644 w 878950"/>
                <a:gd name="connsiteY33" fmla="*/ 212818 h 211945"/>
                <a:gd name="connsiteX34" fmla="*/ 231644 w 878950"/>
                <a:gd name="connsiteY34" fmla="*/ 101048 h 211945"/>
                <a:gd name="connsiteX35" fmla="*/ 284319 w 878950"/>
                <a:gd name="connsiteY35" fmla="*/ 167187 h 211945"/>
                <a:gd name="connsiteX36" fmla="*/ 298282 w 878950"/>
                <a:gd name="connsiteY36" fmla="*/ 167187 h 211945"/>
                <a:gd name="connsiteX37" fmla="*/ 351268 w 878950"/>
                <a:gd name="connsiteY37" fmla="*/ 101048 h 211945"/>
                <a:gd name="connsiteX38" fmla="*/ 351268 w 878950"/>
                <a:gd name="connsiteY38" fmla="*/ 212818 h 211945"/>
                <a:gd name="connsiteX39" fmla="*/ 394094 w 878950"/>
                <a:gd name="connsiteY39" fmla="*/ 212818 h 211945"/>
                <a:gd name="connsiteX40" fmla="*/ 394094 w 878950"/>
                <a:gd name="connsiteY40" fmla="*/ 62 h 211945"/>
                <a:gd name="connsiteX41" fmla="*/ 52737 w 878950"/>
                <a:gd name="connsiteY41" fmla="*/ 4177 h 211945"/>
                <a:gd name="connsiteX42" fmla="*/ 30857 w 878950"/>
                <a:gd name="connsiteY42" fmla="*/ 16021 h 211945"/>
                <a:gd name="connsiteX43" fmla="*/ 16270 w 878950"/>
                <a:gd name="connsiteY43" fmla="*/ 34722 h 211945"/>
                <a:gd name="connsiteX44" fmla="*/ 10909 w 878950"/>
                <a:gd name="connsiteY44" fmla="*/ 59282 h 211945"/>
                <a:gd name="connsiteX45" fmla="*/ 14712 w 878950"/>
                <a:gd name="connsiteY45" fmla="*/ 79230 h 211945"/>
                <a:gd name="connsiteX46" fmla="*/ 25184 w 878950"/>
                <a:gd name="connsiteY46" fmla="*/ 95375 h 211945"/>
                <a:gd name="connsiteX47" fmla="*/ 41205 w 878950"/>
                <a:gd name="connsiteY47" fmla="*/ 108528 h 211945"/>
                <a:gd name="connsiteX48" fmla="*/ 61651 w 878950"/>
                <a:gd name="connsiteY48" fmla="*/ 119437 h 211945"/>
                <a:gd name="connsiteX49" fmla="*/ 83843 w 878950"/>
                <a:gd name="connsiteY49" fmla="*/ 129536 h 211945"/>
                <a:gd name="connsiteX50" fmla="*/ 103479 w 878950"/>
                <a:gd name="connsiteY50" fmla="*/ 140320 h 211945"/>
                <a:gd name="connsiteX51" fmla="*/ 110461 w 878950"/>
                <a:gd name="connsiteY51" fmla="*/ 155530 h 211945"/>
                <a:gd name="connsiteX52" fmla="*/ 102669 w 878950"/>
                <a:gd name="connsiteY52" fmla="*/ 172611 h 211945"/>
                <a:gd name="connsiteX53" fmla="*/ 80913 w 878950"/>
                <a:gd name="connsiteY53" fmla="*/ 178657 h 211945"/>
                <a:gd name="connsiteX54" fmla="*/ 63771 w 878950"/>
                <a:gd name="connsiteY54" fmla="*/ 176102 h 211945"/>
                <a:gd name="connsiteX55" fmla="*/ 49994 w 878950"/>
                <a:gd name="connsiteY55" fmla="*/ 169307 h 211945"/>
                <a:gd name="connsiteX56" fmla="*/ 38711 w 878950"/>
                <a:gd name="connsiteY56" fmla="*/ 159645 h 211945"/>
                <a:gd name="connsiteX57" fmla="*/ 29485 w 878950"/>
                <a:gd name="connsiteY57" fmla="*/ 148237 h 211945"/>
                <a:gd name="connsiteX58" fmla="*/ 0 w 878950"/>
                <a:gd name="connsiteY58" fmla="*/ 170367 h 211945"/>
                <a:gd name="connsiteX59" fmla="*/ 32540 w 878950"/>
                <a:gd name="connsiteY59" fmla="*/ 203904 h 211945"/>
                <a:gd name="connsiteX60" fmla="*/ 80913 w 878950"/>
                <a:gd name="connsiteY60" fmla="*/ 216558 h 211945"/>
                <a:gd name="connsiteX61" fmla="*/ 109775 w 878950"/>
                <a:gd name="connsiteY61" fmla="*/ 212257 h 211945"/>
                <a:gd name="connsiteX62" fmla="*/ 132902 w 878950"/>
                <a:gd name="connsiteY62" fmla="*/ 199914 h 211945"/>
                <a:gd name="connsiteX63" fmla="*/ 148424 w 878950"/>
                <a:gd name="connsiteY63" fmla="*/ 180154 h 211945"/>
                <a:gd name="connsiteX64" fmla="*/ 154159 w 878950"/>
                <a:gd name="connsiteY64" fmla="*/ 153847 h 211945"/>
                <a:gd name="connsiteX65" fmla="*/ 140694 w 878950"/>
                <a:gd name="connsiteY65" fmla="*/ 117630 h 211945"/>
                <a:gd name="connsiteX66" fmla="*/ 102482 w 878950"/>
                <a:gd name="connsiteY66" fmla="*/ 92757 h 211945"/>
                <a:gd name="connsiteX67" fmla="*/ 78669 w 878950"/>
                <a:gd name="connsiteY67" fmla="*/ 82285 h 211945"/>
                <a:gd name="connsiteX68" fmla="*/ 60591 w 878950"/>
                <a:gd name="connsiteY68" fmla="*/ 72186 h 211945"/>
                <a:gd name="connsiteX69" fmla="*/ 54233 w 878950"/>
                <a:gd name="connsiteY69" fmla="*/ 58285 h 211945"/>
                <a:gd name="connsiteX70" fmla="*/ 61838 w 878950"/>
                <a:gd name="connsiteY70" fmla="*/ 42950 h 211945"/>
                <a:gd name="connsiteX71" fmla="*/ 80228 w 878950"/>
                <a:gd name="connsiteY71" fmla="*/ 38025 h 211945"/>
                <a:gd name="connsiteX72" fmla="*/ 102918 w 878950"/>
                <a:gd name="connsiteY72" fmla="*/ 44384 h 211945"/>
                <a:gd name="connsiteX73" fmla="*/ 120186 w 878950"/>
                <a:gd name="connsiteY73" fmla="*/ 62087 h 211945"/>
                <a:gd name="connsiteX74" fmla="*/ 149359 w 878950"/>
                <a:gd name="connsiteY74" fmla="*/ 39584 h 211945"/>
                <a:gd name="connsiteX75" fmla="*/ 122554 w 878950"/>
                <a:gd name="connsiteY75" fmla="*/ 11221 h 211945"/>
                <a:gd name="connsiteX76" fmla="*/ 79916 w 878950"/>
                <a:gd name="connsiteY76" fmla="*/ 0 h 211945"/>
                <a:gd name="connsiteX77" fmla="*/ 52737 w 878950"/>
                <a:gd name="connsiteY77" fmla="*/ 4177 h 21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878950" h="211945">
                  <a:moveTo>
                    <a:pt x="880509" y="3865"/>
                  </a:moveTo>
                  <a:lnTo>
                    <a:pt x="837683" y="3865"/>
                  </a:lnTo>
                  <a:lnTo>
                    <a:pt x="837683" y="83968"/>
                  </a:lnTo>
                  <a:lnTo>
                    <a:pt x="745051" y="83968"/>
                  </a:lnTo>
                  <a:lnTo>
                    <a:pt x="745051" y="3865"/>
                  </a:lnTo>
                  <a:lnTo>
                    <a:pt x="702225" y="3865"/>
                  </a:lnTo>
                  <a:lnTo>
                    <a:pt x="702225" y="212818"/>
                  </a:lnTo>
                  <a:lnTo>
                    <a:pt x="745051" y="212818"/>
                  </a:lnTo>
                  <a:lnTo>
                    <a:pt x="745051" y="122554"/>
                  </a:lnTo>
                  <a:lnTo>
                    <a:pt x="837683" y="122554"/>
                  </a:lnTo>
                  <a:lnTo>
                    <a:pt x="837683" y="212756"/>
                  </a:lnTo>
                  <a:lnTo>
                    <a:pt x="880509" y="212756"/>
                  </a:lnTo>
                  <a:lnTo>
                    <a:pt x="880509" y="3865"/>
                  </a:lnTo>
                  <a:close/>
                  <a:moveTo>
                    <a:pt x="674049" y="3865"/>
                  </a:moveTo>
                  <a:lnTo>
                    <a:pt x="497074" y="3865"/>
                  </a:lnTo>
                  <a:lnTo>
                    <a:pt x="497074" y="42514"/>
                  </a:lnTo>
                  <a:lnTo>
                    <a:pt x="564024" y="42514"/>
                  </a:lnTo>
                  <a:lnTo>
                    <a:pt x="564024" y="212818"/>
                  </a:lnTo>
                  <a:lnTo>
                    <a:pt x="606850" y="212818"/>
                  </a:lnTo>
                  <a:lnTo>
                    <a:pt x="606850" y="42451"/>
                  </a:lnTo>
                  <a:lnTo>
                    <a:pt x="674111" y="42451"/>
                  </a:lnTo>
                  <a:lnTo>
                    <a:pt x="674111" y="3865"/>
                  </a:lnTo>
                  <a:close/>
                  <a:moveTo>
                    <a:pt x="468836" y="3865"/>
                  </a:moveTo>
                  <a:lnTo>
                    <a:pt x="426010" y="3865"/>
                  </a:lnTo>
                  <a:lnTo>
                    <a:pt x="426010" y="212818"/>
                  </a:lnTo>
                  <a:lnTo>
                    <a:pt x="468836" y="212818"/>
                  </a:lnTo>
                  <a:lnTo>
                    <a:pt x="468836" y="3865"/>
                  </a:lnTo>
                  <a:close/>
                  <a:moveTo>
                    <a:pt x="394031" y="62"/>
                  </a:moveTo>
                  <a:lnTo>
                    <a:pt x="380068" y="62"/>
                  </a:lnTo>
                  <a:lnTo>
                    <a:pt x="291238" y="113391"/>
                  </a:lnTo>
                  <a:lnTo>
                    <a:pt x="203094" y="62"/>
                  </a:lnTo>
                  <a:lnTo>
                    <a:pt x="188818" y="62"/>
                  </a:lnTo>
                  <a:lnTo>
                    <a:pt x="188818" y="212818"/>
                  </a:lnTo>
                  <a:lnTo>
                    <a:pt x="231644" y="212818"/>
                  </a:lnTo>
                  <a:lnTo>
                    <a:pt x="231644" y="101048"/>
                  </a:lnTo>
                  <a:lnTo>
                    <a:pt x="284319" y="167187"/>
                  </a:lnTo>
                  <a:lnTo>
                    <a:pt x="298282" y="167187"/>
                  </a:lnTo>
                  <a:lnTo>
                    <a:pt x="351268" y="101048"/>
                  </a:lnTo>
                  <a:lnTo>
                    <a:pt x="351268" y="212818"/>
                  </a:lnTo>
                  <a:lnTo>
                    <a:pt x="394094" y="212818"/>
                  </a:lnTo>
                  <a:lnTo>
                    <a:pt x="394094" y="62"/>
                  </a:lnTo>
                  <a:close/>
                  <a:moveTo>
                    <a:pt x="52737" y="4177"/>
                  </a:moveTo>
                  <a:cubicBezTo>
                    <a:pt x="44259" y="6919"/>
                    <a:pt x="36966" y="10909"/>
                    <a:pt x="30857" y="16021"/>
                  </a:cubicBezTo>
                  <a:cubicBezTo>
                    <a:pt x="24748" y="21195"/>
                    <a:pt x="19885" y="27428"/>
                    <a:pt x="16270" y="34722"/>
                  </a:cubicBezTo>
                  <a:cubicBezTo>
                    <a:pt x="12654" y="42015"/>
                    <a:pt x="10909" y="50181"/>
                    <a:pt x="10909" y="59282"/>
                  </a:cubicBezTo>
                  <a:cubicBezTo>
                    <a:pt x="10909" y="66700"/>
                    <a:pt x="12156" y="73308"/>
                    <a:pt x="14712" y="79230"/>
                  </a:cubicBezTo>
                  <a:cubicBezTo>
                    <a:pt x="17267" y="85152"/>
                    <a:pt x="20758" y="90513"/>
                    <a:pt x="25184" y="95375"/>
                  </a:cubicBezTo>
                  <a:cubicBezTo>
                    <a:pt x="29610" y="100238"/>
                    <a:pt x="34971" y="104601"/>
                    <a:pt x="41205" y="108528"/>
                  </a:cubicBezTo>
                  <a:cubicBezTo>
                    <a:pt x="47438" y="112456"/>
                    <a:pt x="54233" y="116071"/>
                    <a:pt x="61651" y="119437"/>
                  </a:cubicBezTo>
                  <a:lnTo>
                    <a:pt x="83843" y="129536"/>
                  </a:lnTo>
                  <a:cubicBezTo>
                    <a:pt x="92321" y="133339"/>
                    <a:pt x="98866" y="136954"/>
                    <a:pt x="103479" y="140320"/>
                  </a:cubicBezTo>
                  <a:cubicBezTo>
                    <a:pt x="108154" y="143686"/>
                    <a:pt x="110461" y="148736"/>
                    <a:pt x="110461" y="155530"/>
                  </a:cubicBezTo>
                  <a:cubicBezTo>
                    <a:pt x="110461" y="162949"/>
                    <a:pt x="107843" y="168621"/>
                    <a:pt x="102669" y="172611"/>
                  </a:cubicBezTo>
                  <a:cubicBezTo>
                    <a:pt x="97495" y="176600"/>
                    <a:pt x="90264" y="178657"/>
                    <a:pt x="80913" y="178657"/>
                  </a:cubicBezTo>
                  <a:cubicBezTo>
                    <a:pt x="74555" y="178657"/>
                    <a:pt x="68882" y="177785"/>
                    <a:pt x="63771" y="176102"/>
                  </a:cubicBezTo>
                  <a:cubicBezTo>
                    <a:pt x="58721" y="174419"/>
                    <a:pt x="54108" y="172174"/>
                    <a:pt x="49994" y="169307"/>
                  </a:cubicBezTo>
                  <a:cubicBezTo>
                    <a:pt x="45880" y="166439"/>
                    <a:pt x="42140" y="163260"/>
                    <a:pt x="38711" y="159645"/>
                  </a:cubicBezTo>
                  <a:cubicBezTo>
                    <a:pt x="35345" y="156029"/>
                    <a:pt x="32290" y="152289"/>
                    <a:pt x="29485" y="148237"/>
                  </a:cubicBezTo>
                  <a:lnTo>
                    <a:pt x="0" y="170367"/>
                  </a:lnTo>
                  <a:cubicBezTo>
                    <a:pt x="7792" y="184268"/>
                    <a:pt x="18639" y="195488"/>
                    <a:pt x="32540" y="203904"/>
                  </a:cubicBezTo>
                  <a:cubicBezTo>
                    <a:pt x="46379" y="212319"/>
                    <a:pt x="62524" y="216558"/>
                    <a:pt x="80913" y="216558"/>
                  </a:cubicBezTo>
                  <a:cubicBezTo>
                    <a:pt x="91261" y="216558"/>
                    <a:pt x="100923" y="215124"/>
                    <a:pt x="109775" y="212257"/>
                  </a:cubicBezTo>
                  <a:cubicBezTo>
                    <a:pt x="118627" y="209390"/>
                    <a:pt x="126357" y="205275"/>
                    <a:pt x="132902" y="199914"/>
                  </a:cubicBezTo>
                  <a:cubicBezTo>
                    <a:pt x="139448" y="194553"/>
                    <a:pt x="144622" y="187946"/>
                    <a:pt x="148424" y="180154"/>
                  </a:cubicBezTo>
                  <a:cubicBezTo>
                    <a:pt x="152227" y="172361"/>
                    <a:pt x="154159" y="163572"/>
                    <a:pt x="154159" y="153847"/>
                  </a:cubicBezTo>
                  <a:cubicBezTo>
                    <a:pt x="154159" y="138887"/>
                    <a:pt x="149671" y="126793"/>
                    <a:pt x="140694" y="117630"/>
                  </a:cubicBezTo>
                  <a:cubicBezTo>
                    <a:pt x="131718" y="108466"/>
                    <a:pt x="118939" y="100175"/>
                    <a:pt x="102482" y="92757"/>
                  </a:cubicBezTo>
                  <a:lnTo>
                    <a:pt x="78669" y="82285"/>
                  </a:lnTo>
                  <a:cubicBezTo>
                    <a:pt x="70815" y="78669"/>
                    <a:pt x="64830" y="75303"/>
                    <a:pt x="60591" y="72186"/>
                  </a:cubicBezTo>
                  <a:cubicBezTo>
                    <a:pt x="56353" y="69007"/>
                    <a:pt x="54233" y="64394"/>
                    <a:pt x="54233" y="58285"/>
                  </a:cubicBezTo>
                  <a:cubicBezTo>
                    <a:pt x="54233" y="51303"/>
                    <a:pt x="56789" y="46192"/>
                    <a:pt x="61838" y="42950"/>
                  </a:cubicBezTo>
                  <a:cubicBezTo>
                    <a:pt x="66887" y="39709"/>
                    <a:pt x="73059" y="38025"/>
                    <a:pt x="80228" y="38025"/>
                  </a:cubicBezTo>
                  <a:cubicBezTo>
                    <a:pt x="88892" y="38025"/>
                    <a:pt x="96435" y="40145"/>
                    <a:pt x="102918" y="44384"/>
                  </a:cubicBezTo>
                  <a:cubicBezTo>
                    <a:pt x="109339" y="48623"/>
                    <a:pt x="115136" y="54545"/>
                    <a:pt x="120186" y="62087"/>
                  </a:cubicBezTo>
                  <a:lnTo>
                    <a:pt x="149359" y="39584"/>
                  </a:lnTo>
                  <a:cubicBezTo>
                    <a:pt x="143250" y="28176"/>
                    <a:pt x="134274" y="18763"/>
                    <a:pt x="122554" y="11221"/>
                  </a:cubicBezTo>
                  <a:cubicBezTo>
                    <a:pt x="110835" y="3740"/>
                    <a:pt x="96622" y="0"/>
                    <a:pt x="79916" y="0"/>
                  </a:cubicBezTo>
                  <a:cubicBezTo>
                    <a:pt x="70254" y="62"/>
                    <a:pt x="61215" y="1434"/>
                    <a:pt x="52737" y="4177"/>
                  </a:cubicBezTo>
                </a:path>
              </a:pathLst>
            </a:custGeom>
            <a:solidFill>
              <a:srgbClr val="FFFFFF"/>
            </a:solidFill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BA1EFA8-FA22-446D-BE7A-000BDFEBAE95}"/>
                </a:ext>
              </a:extLst>
            </p:cNvPr>
            <p:cNvSpPr/>
            <p:nvPr/>
          </p:nvSpPr>
          <p:spPr>
            <a:xfrm>
              <a:off x="9587394" y="704752"/>
              <a:ext cx="81038" cy="81038"/>
            </a:xfrm>
            <a:custGeom>
              <a:avLst/>
              <a:gdLst>
                <a:gd name="connsiteX0" fmla="*/ 44134 w 81037"/>
                <a:gd name="connsiteY0" fmla="*/ 0 h 81037"/>
                <a:gd name="connsiteX1" fmla="*/ 12218 w 81037"/>
                <a:gd name="connsiteY1" fmla="*/ 12530 h 81037"/>
                <a:gd name="connsiteX2" fmla="*/ 0 w 81037"/>
                <a:gd name="connsiteY2" fmla="*/ 43262 h 81037"/>
                <a:gd name="connsiteX3" fmla="*/ 12218 w 81037"/>
                <a:gd name="connsiteY3" fmla="*/ 74181 h 81037"/>
                <a:gd name="connsiteX4" fmla="*/ 44134 w 81037"/>
                <a:gd name="connsiteY4" fmla="*/ 86524 h 81037"/>
                <a:gd name="connsiteX5" fmla="*/ 61339 w 81037"/>
                <a:gd name="connsiteY5" fmla="*/ 83220 h 81037"/>
                <a:gd name="connsiteX6" fmla="*/ 74867 w 81037"/>
                <a:gd name="connsiteY6" fmla="*/ 74119 h 81037"/>
                <a:gd name="connsiteX7" fmla="*/ 83781 w 81037"/>
                <a:gd name="connsiteY7" fmla="*/ 60404 h 81037"/>
                <a:gd name="connsiteX8" fmla="*/ 87085 w 81037"/>
                <a:gd name="connsiteY8" fmla="*/ 43199 h 81037"/>
                <a:gd name="connsiteX9" fmla="*/ 83781 w 81037"/>
                <a:gd name="connsiteY9" fmla="*/ 26368 h 81037"/>
                <a:gd name="connsiteX10" fmla="*/ 74867 w 81037"/>
                <a:gd name="connsiteY10" fmla="*/ 12654 h 81037"/>
                <a:gd name="connsiteX11" fmla="*/ 61339 w 81037"/>
                <a:gd name="connsiteY11" fmla="*/ 3366 h 81037"/>
                <a:gd name="connsiteX12" fmla="*/ 44134 w 81037"/>
                <a:gd name="connsiteY12" fmla="*/ 0 h 81037"/>
                <a:gd name="connsiteX13" fmla="*/ 44134 w 81037"/>
                <a:gd name="connsiteY13" fmla="*/ 24187 h 81037"/>
                <a:gd name="connsiteX14" fmla="*/ 51615 w 81037"/>
                <a:gd name="connsiteY14" fmla="*/ 25620 h 81037"/>
                <a:gd name="connsiteX15" fmla="*/ 57475 w 81037"/>
                <a:gd name="connsiteY15" fmla="*/ 29548 h 81037"/>
                <a:gd name="connsiteX16" fmla="*/ 61402 w 81037"/>
                <a:gd name="connsiteY16" fmla="*/ 35657 h 81037"/>
                <a:gd name="connsiteX17" fmla="*/ 62836 w 81037"/>
                <a:gd name="connsiteY17" fmla="*/ 43199 h 81037"/>
                <a:gd name="connsiteX18" fmla="*/ 61402 w 81037"/>
                <a:gd name="connsiteY18" fmla="*/ 51116 h 81037"/>
                <a:gd name="connsiteX19" fmla="*/ 57475 w 81037"/>
                <a:gd name="connsiteY19" fmla="*/ 57225 h 81037"/>
                <a:gd name="connsiteX20" fmla="*/ 52114 w 81037"/>
                <a:gd name="connsiteY20" fmla="*/ 60778 h 81037"/>
                <a:gd name="connsiteX21" fmla="*/ 44197 w 81037"/>
                <a:gd name="connsiteY21" fmla="*/ 62212 h 81037"/>
                <a:gd name="connsiteX22" fmla="*/ 29548 w 81037"/>
                <a:gd name="connsiteY22" fmla="*/ 57101 h 81037"/>
                <a:gd name="connsiteX23" fmla="*/ 24311 w 81037"/>
                <a:gd name="connsiteY23" fmla="*/ 43199 h 81037"/>
                <a:gd name="connsiteX24" fmla="*/ 29672 w 81037"/>
                <a:gd name="connsiteY24" fmla="*/ 29361 h 81037"/>
                <a:gd name="connsiteX25" fmla="*/ 44134 w 81037"/>
                <a:gd name="connsiteY25" fmla="*/ 24187 h 81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1037" h="81037">
                  <a:moveTo>
                    <a:pt x="44134" y="0"/>
                  </a:moveTo>
                  <a:cubicBezTo>
                    <a:pt x="30981" y="0"/>
                    <a:pt x="20322" y="4177"/>
                    <a:pt x="12218" y="12530"/>
                  </a:cubicBezTo>
                  <a:cubicBezTo>
                    <a:pt x="4114" y="20883"/>
                    <a:pt x="0" y="31168"/>
                    <a:pt x="0" y="43262"/>
                  </a:cubicBezTo>
                  <a:cubicBezTo>
                    <a:pt x="0" y="55604"/>
                    <a:pt x="4052" y="65952"/>
                    <a:pt x="12218" y="74181"/>
                  </a:cubicBezTo>
                  <a:cubicBezTo>
                    <a:pt x="20322" y="82409"/>
                    <a:pt x="30981" y="86524"/>
                    <a:pt x="44134" y="86524"/>
                  </a:cubicBezTo>
                  <a:cubicBezTo>
                    <a:pt x="50306" y="86524"/>
                    <a:pt x="56041" y="85401"/>
                    <a:pt x="61339" y="83220"/>
                  </a:cubicBezTo>
                  <a:cubicBezTo>
                    <a:pt x="66638" y="81038"/>
                    <a:pt x="71126" y="77983"/>
                    <a:pt x="74867" y="74119"/>
                  </a:cubicBezTo>
                  <a:cubicBezTo>
                    <a:pt x="78607" y="70254"/>
                    <a:pt x="81599" y="65703"/>
                    <a:pt x="83781" y="60404"/>
                  </a:cubicBezTo>
                  <a:cubicBezTo>
                    <a:pt x="85963" y="55106"/>
                    <a:pt x="87085" y="49371"/>
                    <a:pt x="87085" y="43199"/>
                  </a:cubicBezTo>
                  <a:cubicBezTo>
                    <a:pt x="87085" y="37277"/>
                    <a:pt x="85963" y="31667"/>
                    <a:pt x="83781" y="26368"/>
                  </a:cubicBezTo>
                  <a:cubicBezTo>
                    <a:pt x="81599" y="21070"/>
                    <a:pt x="78607" y="16519"/>
                    <a:pt x="74867" y="12654"/>
                  </a:cubicBezTo>
                  <a:cubicBezTo>
                    <a:pt x="71126" y="8789"/>
                    <a:pt x="66576" y="5673"/>
                    <a:pt x="61339" y="3366"/>
                  </a:cubicBezTo>
                  <a:cubicBezTo>
                    <a:pt x="56103" y="1122"/>
                    <a:pt x="50306" y="0"/>
                    <a:pt x="44134" y="0"/>
                  </a:cubicBezTo>
                  <a:moveTo>
                    <a:pt x="44134" y="24187"/>
                  </a:moveTo>
                  <a:cubicBezTo>
                    <a:pt x="47002" y="24187"/>
                    <a:pt x="49433" y="24623"/>
                    <a:pt x="51615" y="25620"/>
                  </a:cubicBezTo>
                  <a:cubicBezTo>
                    <a:pt x="53984" y="26680"/>
                    <a:pt x="55916" y="27927"/>
                    <a:pt x="57475" y="29548"/>
                  </a:cubicBezTo>
                  <a:cubicBezTo>
                    <a:pt x="59095" y="31231"/>
                    <a:pt x="60342" y="33226"/>
                    <a:pt x="61402" y="35657"/>
                  </a:cubicBezTo>
                  <a:cubicBezTo>
                    <a:pt x="62399" y="38025"/>
                    <a:pt x="62836" y="40457"/>
                    <a:pt x="62836" y="43199"/>
                  </a:cubicBezTo>
                  <a:cubicBezTo>
                    <a:pt x="62836" y="46192"/>
                    <a:pt x="62337" y="48810"/>
                    <a:pt x="61402" y="51116"/>
                  </a:cubicBezTo>
                  <a:cubicBezTo>
                    <a:pt x="60404" y="53547"/>
                    <a:pt x="59095" y="55542"/>
                    <a:pt x="57475" y="57225"/>
                  </a:cubicBezTo>
                  <a:cubicBezTo>
                    <a:pt x="56041" y="58721"/>
                    <a:pt x="54295" y="59843"/>
                    <a:pt x="52114" y="60778"/>
                  </a:cubicBezTo>
                  <a:cubicBezTo>
                    <a:pt x="49745" y="61776"/>
                    <a:pt x="47189" y="62212"/>
                    <a:pt x="44197" y="62212"/>
                  </a:cubicBezTo>
                  <a:cubicBezTo>
                    <a:pt x="35719" y="62212"/>
                    <a:pt x="31916" y="59469"/>
                    <a:pt x="29548" y="57101"/>
                  </a:cubicBezTo>
                  <a:cubicBezTo>
                    <a:pt x="25870" y="53423"/>
                    <a:pt x="24311" y="49246"/>
                    <a:pt x="24311" y="43199"/>
                  </a:cubicBezTo>
                  <a:cubicBezTo>
                    <a:pt x="24311" y="37340"/>
                    <a:pt x="25932" y="33226"/>
                    <a:pt x="29672" y="29361"/>
                  </a:cubicBezTo>
                  <a:cubicBezTo>
                    <a:pt x="31979" y="26992"/>
                    <a:pt x="35719" y="24187"/>
                    <a:pt x="44134" y="24187"/>
                  </a:cubicBezTo>
                </a:path>
              </a:pathLst>
            </a:custGeom>
            <a:solidFill>
              <a:schemeClr val="accent1"/>
            </a:solidFill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CC55F54-E388-48E3-B002-64D423EF19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6588" y="1932524"/>
            <a:ext cx="4572000" cy="1296007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3800" b="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resentation titl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05AAE322-0B8D-4979-9C9E-837A40D7D7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6588" y="3362932"/>
            <a:ext cx="4572000" cy="558770"/>
          </a:xfrm>
          <a:prstGeom prst="rect">
            <a:avLst/>
          </a:prstGeom>
        </p:spPr>
        <p:txBody>
          <a:bodyPr/>
          <a:lstStyle>
            <a:lvl1pPr>
              <a:defRPr sz="1600" b="0" i="0" cap="all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sub-heading, data or speaker information</a:t>
            </a:r>
          </a:p>
        </p:txBody>
      </p:sp>
    </p:spTree>
    <p:extLst>
      <p:ext uri="{BB962C8B-B14F-4D97-AF65-F5344CB8AC3E}">
        <p14:creationId xmlns:p14="http://schemas.microsoft.com/office/powerpoint/2010/main" val="38722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9620" y="1745177"/>
            <a:ext cx="9434164" cy="516948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7598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205D83EE-C05D-414B-919A-00537834CF5F}"/>
              </a:ext>
            </a:extLst>
          </p:cNvPr>
          <p:cNvSpPr txBox="1">
            <a:spLocks/>
          </p:cNvSpPr>
          <p:nvPr userDrawn="1"/>
        </p:nvSpPr>
        <p:spPr>
          <a:xfrm>
            <a:off x="630238" y="6984987"/>
            <a:ext cx="2143125" cy="190873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000" b="0" i="0" kern="1200" cap="none" baseline="0">
                <a:solidFill>
                  <a:schemeClr val="bg1"/>
                </a:solidFill>
                <a:latin typeface="CeraPRO-Medium ☞" panose="020B0600000000000000" pitchFamily="34" charset="0"/>
                <a:ea typeface="+mn-ea"/>
                <a:cs typeface="+mn-cs"/>
              </a:defRPr>
            </a:lvl1pPr>
            <a:lvl2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900" b="1" i="0" kern="1200" dirty="0">
                <a:solidFill>
                  <a:schemeClr val="bg1"/>
                </a:solidFill>
                <a:latin typeface="CeraPRO-Bold ☞" panose="020B0600000000000000" pitchFamily="34" charset="0"/>
                <a:ea typeface="+mn-ea"/>
                <a:cs typeface="+mn-cs"/>
              </a:defRPr>
            </a:lvl2pPr>
            <a:lvl3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900" kern="1200">
                <a:solidFill>
                  <a:schemeClr val="bg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3pPr>
            <a:lvl4pPr marL="180000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bg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4pPr>
            <a:lvl5pPr marL="360000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ystem Font"/>
              <a:buChar char="-"/>
              <a:defRPr sz="900" kern="1200">
                <a:solidFill>
                  <a:schemeClr val="bg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5pPr>
            <a:lvl6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900" b="0" kern="1200">
                <a:solidFill>
                  <a:schemeClr val="accent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6pPr>
            <a:lvl7pPr marL="0" indent="0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sz="900" b="0" kern="1200">
                <a:solidFill>
                  <a:schemeClr val="tx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7pPr>
            <a:lvl8pPr marL="180975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900" kern="1200" baseline="0">
                <a:solidFill>
                  <a:schemeClr val="tx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8pPr>
            <a:lvl9pPr marL="360000" indent="-180975" algn="l" defTabSz="99569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900" kern="1200" baseline="0">
                <a:solidFill>
                  <a:schemeClr val="tx1"/>
                </a:solidFill>
                <a:latin typeface="CeraPRO-Regular ☞" panose="020B0500000000000000" pitchFamily="34" charset="0"/>
                <a:ea typeface="+mn-ea"/>
                <a:cs typeface="+mn-cs"/>
              </a:defRPr>
            </a:lvl9pPr>
          </a:lstStyle>
          <a:p>
            <a:r>
              <a:rPr lang="en-US" b="1" dirty="0" err="1">
                <a:solidFill>
                  <a:schemeClr val="tx1"/>
                </a:solidFill>
                <a:latin typeface="+mn-lt"/>
              </a:rPr>
              <a:t>traverssmith.com</a:t>
            </a:r>
            <a:endParaRPr lang="en-US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440DDBFC-AC61-E148-8DBA-8ADCDE716584}"/>
              </a:ext>
            </a:extLst>
          </p:cNvPr>
          <p:cNvSpPr txBox="1">
            <a:spLocks/>
          </p:cNvSpPr>
          <p:nvPr userDrawn="1"/>
        </p:nvSpPr>
        <p:spPr>
          <a:xfrm>
            <a:off x="7920039" y="7010138"/>
            <a:ext cx="2143125" cy="19087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algn="r">
              <a:lnSpc>
                <a:spcPct val="110000"/>
              </a:lnSpc>
              <a:spcAft>
                <a:spcPts val="900"/>
              </a:spcAft>
              <a:defRPr sz="800" i="0" cap="none" baseline="0">
                <a:solidFill>
                  <a:schemeClr val="bg1"/>
                </a:solidFill>
                <a:latin typeface="CeraPRO-Medium ☞" panose="020B0600000000000000" pitchFamily="34" charset="0"/>
              </a:defRPr>
            </a:lvl1pPr>
            <a:lvl2pPr>
              <a:lnSpc>
                <a:spcPct val="110000"/>
              </a:lnSpc>
              <a:defRPr lang="en-US" sz="900" b="1" i="0" dirty="0">
                <a:solidFill>
                  <a:schemeClr val="bg1"/>
                </a:solidFill>
                <a:latin typeface="CeraPRO-Bold ☞" panose="020B0600000000000000" pitchFamily="34" charset="0"/>
              </a:defRPr>
            </a:lvl2pPr>
            <a:lvl3pPr marL="0" indent="0">
              <a:lnSpc>
                <a:spcPct val="110000"/>
              </a:lnSpc>
              <a:buClr>
                <a:schemeClr val="accent1"/>
              </a:buClr>
              <a:buFontTx/>
              <a:buNone/>
              <a:defRPr sz="900">
                <a:solidFill>
                  <a:schemeClr val="bg1"/>
                </a:solidFill>
                <a:latin typeface="CeraPRO-Regular ☞" panose="020B0500000000000000" pitchFamily="34" charset="0"/>
              </a:defRPr>
            </a:lvl3pPr>
            <a:lvl4pPr marL="180000">
              <a:lnSpc>
                <a:spcPct val="110000"/>
              </a:lnSpc>
              <a:buClr>
                <a:schemeClr val="bg1"/>
              </a:buClr>
              <a:buChar char="•"/>
              <a:defRPr sz="900">
                <a:solidFill>
                  <a:schemeClr val="bg1"/>
                </a:solidFill>
                <a:latin typeface="CeraPRO-Regular ☞" panose="020B0500000000000000" pitchFamily="34" charset="0"/>
              </a:defRPr>
            </a:lvl4pPr>
            <a:lvl5pPr marL="360000">
              <a:lnSpc>
                <a:spcPct val="110000"/>
              </a:lnSpc>
              <a:buClr>
                <a:schemeClr val="bg1"/>
              </a:buClr>
              <a:buFont typeface="System Font"/>
              <a:buChar char="-"/>
              <a:defRPr sz="900">
                <a:solidFill>
                  <a:schemeClr val="bg1"/>
                </a:solidFill>
                <a:latin typeface="CeraPRO-Regular ☞" panose="020B0500000000000000" pitchFamily="34" charset="0"/>
              </a:defRPr>
            </a:lvl5pPr>
            <a:lvl6pPr>
              <a:lnSpc>
                <a:spcPct val="110000"/>
              </a:lnSpc>
              <a:defRPr sz="900" b="0">
                <a:solidFill>
                  <a:schemeClr val="accent1"/>
                </a:solidFill>
                <a:latin typeface="CeraPRO-Regular ☞" panose="020B0500000000000000" pitchFamily="34" charset="0"/>
              </a:defRPr>
            </a:lvl6pPr>
            <a:lvl7pPr>
              <a:lnSpc>
                <a:spcPct val="110000"/>
              </a:lnSpc>
              <a:defRPr sz="900">
                <a:solidFill>
                  <a:schemeClr val="tx1"/>
                </a:solidFill>
                <a:latin typeface="CeraPRO-Regular ☞" panose="020B0500000000000000" pitchFamily="34" charset="0"/>
              </a:defRPr>
            </a:lvl7pPr>
            <a:lvl8pPr>
              <a:lnSpc>
                <a:spcPct val="110000"/>
              </a:lnSpc>
              <a:defRPr sz="900">
                <a:latin typeface="CeraPRO-Regular ☞" panose="020B0500000000000000" pitchFamily="34" charset="0"/>
              </a:defRPr>
            </a:lvl8pPr>
            <a:lvl9pPr>
              <a:lnSpc>
                <a:spcPct val="110000"/>
              </a:lnSpc>
              <a:defRPr sz="900">
                <a:latin typeface="CeraPRO-Regular ☞" panose="020B0500000000000000" pitchFamily="34" charset="0"/>
              </a:defRPr>
            </a:lvl9pPr>
          </a:lstStyle>
          <a:p>
            <a:pPr lvl="0"/>
            <a:r>
              <a:rPr lang="en-US" b="0" noProof="0" dirty="0">
                <a:solidFill>
                  <a:schemeClr val="tx1"/>
                </a:solidFill>
                <a:latin typeface="+mn-lt"/>
              </a:rPr>
              <a:t>@ Travers Smith 2019</a:t>
            </a:r>
          </a:p>
        </p:txBody>
      </p:sp>
      <p:grpSp>
        <p:nvGrpSpPr>
          <p:cNvPr id="4" name="Graphic 1">
            <a:extLst>
              <a:ext uri="{FF2B5EF4-FFF2-40B4-BE49-F238E27FC236}">
                <a16:creationId xmlns:a16="http://schemas.microsoft.com/office/drawing/2014/main" id="{08A9DE7D-B30C-443E-95B0-2D7064EA8C60}"/>
              </a:ext>
            </a:extLst>
          </p:cNvPr>
          <p:cNvGrpSpPr/>
          <p:nvPr/>
        </p:nvGrpSpPr>
        <p:grpSpPr>
          <a:xfrm>
            <a:off x="8296584" y="578645"/>
            <a:ext cx="1764134" cy="455059"/>
            <a:chOff x="8296584" y="578645"/>
            <a:chExt cx="1764134" cy="455059"/>
          </a:xfrm>
          <a:solidFill>
            <a:schemeClr val="tx1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7350910-ADF2-4A5D-92AD-ECE9F28CBF87}"/>
                </a:ext>
              </a:extLst>
            </p:cNvPr>
            <p:cNvSpPr/>
            <p:nvPr/>
          </p:nvSpPr>
          <p:spPr>
            <a:xfrm>
              <a:off x="8296584" y="578645"/>
              <a:ext cx="1265439" cy="211945"/>
            </a:xfrm>
            <a:custGeom>
              <a:avLst/>
              <a:gdLst>
                <a:gd name="connsiteX0" fmla="*/ 1164765 w 1265438"/>
                <a:gd name="connsiteY0" fmla="*/ 4114 h 211945"/>
                <a:gd name="connsiteX1" fmla="*/ 1142885 w 1265438"/>
                <a:gd name="connsiteY1" fmla="*/ 15958 h 211945"/>
                <a:gd name="connsiteX2" fmla="*/ 1128298 w 1265438"/>
                <a:gd name="connsiteY2" fmla="*/ 34659 h 211945"/>
                <a:gd name="connsiteX3" fmla="*/ 1122937 w 1265438"/>
                <a:gd name="connsiteY3" fmla="*/ 59220 h 211945"/>
                <a:gd name="connsiteX4" fmla="*/ 1126739 w 1265438"/>
                <a:gd name="connsiteY4" fmla="*/ 79168 h 211945"/>
                <a:gd name="connsiteX5" fmla="*/ 1137212 w 1265438"/>
                <a:gd name="connsiteY5" fmla="*/ 95313 h 211945"/>
                <a:gd name="connsiteX6" fmla="*/ 1153233 w 1265438"/>
                <a:gd name="connsiteY6" fmla="*/ 108466 h 211945"/>
                <a:gd name="connsiteX7" fmla="*/ 1173679 w 1265438"/>
                <a:gd name="connsiteY7" fmla="*/ 119375 h 211945"/>
                <a:gd name="connsiteX8" fmla="*/ 1195871 w 1265438"/>
                <a:gd name="connsiteY8" fmla="*/ 129536 h 211945"/>
                <a:gd name="connsiteX9" fmla="*/ 1215507 w 1265438"/>
                <a:gd name="connsiteY9" fmla="*/ 140320 h 211945"/>
                <a:gd name="connsiteX10" fmla="*/ 1222489 w 1265438"/>
                <a:gd name="connsiteY10" fmla="*/ 155530 h 211945"/>
                <a:gd name="connsiteX11" fmla="*/ 1214697 w 1265438"/>
                <a:gd name="connsiteY11" fmla="*/ 172611 h 211945"/>
                <a:gd name="connsiteX12" fmla="*/ 1192941 w 1265438"/>
                <a:gd name="connsiteY12" fmla="*/ 178657 h 211945"/>
                <a:gd name="connsiteX13" fmla="*/ 1175798 w 1265438"/>
                <a:gd name="connsiteY13" fmla="*/ 176102 h 211945"/>
                <a:gd name="connsiteX14" fmla="*/ 1162022 w 1265438"/>
                <a:gd name="connsiteY14" fmla="*/ 169307 h 211945"/>
                <a:gd name="connsiteX15" fmla="*/ 1150739 w 1265438"/>
                <a:gd name="connsiteY15" fmla="*/ 159645 h 211945"/>
                <a:gd name="connsiteX16" fmla="*/ 1141513 w 1265438"/>
                <a:gd name="connsiteY16" fmla="*/ 148237 h 211945"/>
                <a:gd name="connsiteX17" fmla="*/ 1112028 w 1265438"/>
                <a:gd name="connsiteY17" fmla="*/ 170367 h 211945"/>
                <a:gd name="connsiteX18" fmla="*/ 1144568 w 1265438"/>
                <a:gd name="connsiteY18" fmla="*/ 203904 h 211945"/>
                <a:gd name="connsiteX19" fmla="*/ 1192941 w 1265438"/>
                <a:gd name="connsiteY19" fmla="*/ 216558 h 211945"/>
                <a:gd name="connsiteX20" fmla="*/ 1221803 w 1265438"/>
                <a:gd name="connsiteY20" fmla="*/ 212257 h 211945"/>
                <a:gd name="connsiteX21" fmla="*/ 1244930 w 1265438"/>
                <a:gd name="connsiteY21" fmla="*/ 199914 h 211945"/>
                <a:gd name="connsiteX22" fmla="*/ 1260452 w 1265438"/>
                <a:gd name="connsiteY22" fmla="*/ 180153 h 211945"/>
                <a:gd name="connsiteX23" fmla="*/ 1266187 w 1265438"/>
                <a:gd name="connsiteY23" fmla="*/ 153847 h 211945"/>
                <a:gd name="connsiteX24" fmla="*/ 1252722 w 1265438"/>
                <a:gd name="connsiteY24" fmla="*/ 117630 h 211945"/>
                <a:gd name="connsiteX25" fmla="*/ 1214510 w 1265438"/>
                <a:gd name="connsiteY25" fmla="*/ 92757 h 211945"/>
                <a:gd name="connsiteX26" fmla="*/ 1190697 w 1265438"/>
                <a:gd name="connsiteY26" fmla="*/ 82285 h 211945"/>
                <a:gd name="connsiteX27" fmla="*/ 1172619 w 1265438"/>
                <a:gd name="connsiteY27" fmla="*/ 72186 h 211945"/>
                <a:gd name="connsiteX28" fmla="*/ 1166261 w 1265438"/>
                <a:gd name="connsiteY28" fmla="*/ 58285 h 211945"/>
                <a:gd name="connsiteX29" fmla="*/ 1173866 w 1265438"/>
                <a:gd name="connsiteY29" fmla="*/ 42950 h 211945"/>
                <a:gd name="connsiteX30" fmla="*/ 1192255 w 1265438"/>
                <a:gd name="connsiteY30" fmla="*/ 38025 h 211945"/>
                <a:gd name="connsiteX31" fmla="*/ 1214946 w 1265438"/>
                <a:gd name="connsiteY31" fmla="*/ 44384 h 211945"/>
                <a:gd name="connsiteX32" fmla="*/ 1232213 w 1265438"/>
                <a:gd name="connsiteY32" fmla="*/ 62088 h 211945"/>
                <a:gd name="connsiteX33" fmla="*/ 1261387 w 1265438"/>
                <a:gd name="connsiteY33" fmla="*/ 39584 h 211945"/>
                <a:gd name="connsiteX34" fmla="*/ 1234582 w 1265438"/>
                <a:gd name="connsiteY34" fmla="*/ 11221 h 211945"/>
                <a:gd name="connsiteX35" fmla="*/ 1191944 w 1265438"/>
                <a:gd name="connsiteY35" fmla="*/ 0 h 211945"/>
                <a:gd name="connsiteX36" fmla="*/ 1164765 w 1265438"/>
                <a:gd name="connsiteY36" fmla="*/ 4114 h 211945"/>
                <a:gd name="connsiteX37" fmla="*/ 1008673 w 1265438"/>
                <a:gd name="connsiteY37" fmla="*/ 41454 h 211945"/>
                <a:gd name="connsiteX38" fmla="*/ 1032174 w 1265438"/>
                <a:gd name="connsiteY38" fmla="*/ 49682 h 211945"/>
                <a:gd name="connsiteX39" fmla="*/ 1040403 w 1265438"/>
                <a:gd name="connsiteY39" fmla="*/ 71189 h 211945"/>
                <a:gd name="connsiteX40" fmla="*/ 1032174 w 1265438"/>
                <a:gd name="connsiteY40" fmla="*/ 93007 h 211945"/>
                <a:gd name="connsiteX41" fmla="*/ 1008673 w 1265438"/>
                <a:gd name="connsiteY41" fmla="*/ 101235 h 211945"/>
                <a:gd name="connsiteX42" fmla="*/ 972830 w 1265438"/>
                <a:gd name="connsiteY42" fmla="*/ 101235 h 211945"/>
                <a:gd name="connsiteX43" fmla="*/ 972830 w 1265438"/>
                <a:gd name="connsiteY43" fmla="*/ 41392 h 211945"/>
                <a:gd name="connsiteX44" fmla="*/ 1008673 w 1265438"/>
                <a:gd name="connsiteY44" fmla="*/ 41392 h 211945"/>
                <a:gd name="connsiteX45" fmla="*/ 930004 w 1265438"/>
                <a:gd name="connsiteY45" fmla="*/ 3803 h 211945"/>
                <a:gd name="connsiteX46" fmla="*/ 930004 w 1265438"/>
                <a:gd name="connsiteY46" fmla="*/ 212756 h 211945"/>
                <a:gd name="connsiteX47" fmla="*/ 972830 w 1265438"/>
                <a:gd name="connsiteY47" fmla="*/ 212756 h 211945"/>
                <a:gd name="connsiteX48" fmla="*/ 972830 w 1265438"/>
                <a:gd name="connsiteY48" fmla="*/ 139011 h 211945"/>
                <a:gd name="connsiteX49" fmla="*/ 1003936 w 1265438"/>
                <a:gd name="connsiteY49" fmla="*/ 139011 h 211945"/>
                <a:gd name="connsiteX50" fmla="*/ 1058169 w 1265438"/>
                <a:gd name="connsiteY50" fmla="*/ 212756 h 211945"/>
                <a:gd name="connsiteX51" fmla="*/ 1106355 w 1265438"/>
                <a:gd name="connsiteY51" fmla="*/ 212756 h 211945"/>
                <a:gd name="connsiteX52" fmla="*/ 1047384 w 1265438"/>
                <a:gd name="connsiteY52" fmla="*/ 130783 h 211945"/>
                <a:gd name="connsiteX53" fmla="*/ 1074314 w 1265438"/>
                <a:gd name="connsiteY53" fmla="*/ 107219 h 211945"/>
                <a:gd name="connsiteX54" fmla="*/ 1084163 w 1265438"/>
                <a:gd name="connsiteY54" fmla="*/ 71313 h 211945"/>
                <a:gd name="connsiteX55" fmla="*/ 1078615 w 1265438"/>
                <a:gd name="connsiteY55" fmla="*/ 43636 h 211945"/>
                <a:gd name="connsiteX56" fmla="*/ 1063093 w 1265438"/>
                <a:gd name="connsiteY56" fmla="*/ 22254 h 211945"/>
                <a:gd name="connsiteX57" fmla="*/ 1039281 w 1265438"/>
                <a:gd name="connsiteY57" fmla="*/ 8665 h 211945"/>
                <a:gd name="connsiteX58" fmla="*/ 1008985 w 1265438"/>
                <a:gd name="connsiteY58" fmla="*/ 3927 h 211945"/>
                <a:gd name="connsiteX59" fmla="*/ 930004 w 1265438"/>
                <a:gd name="connsiteY59" fmla="*/ 3927 h 211945"/>
                <a:gd name="connsiteX60" fmla="*/ 901828 w 1265438"/>
                <a:gd name="connsiteY60" fmla="*/ 3803 h 211945"/>
                <a:gd name="connsiteX61" fmla="*/ 761009 w 1265438"/>
                <a:gd name="connsiteY61" fmla="*/ 3803 h 211945"/>
                <a:gd name="connsiteX62" fmla="*/ 761009 w 1265438"/>
                <a:gd name="connsiteY62" fmla="*/ 212756 h 211945"/>
                <a:gd name="connsiteX63" fmla="*/ 905630 w 1265438"/>
                <a:gd name="connsiteY63" fmla="*/ 212756 h 211945"/>
                <a:gd name="connsiteX64" fmla="*/ 905630 w 1265438"/>
                <a:gd name="connsiteY64" fmla="*/ 174107 h 211945"/>
                <a:gd name="connsiteX65" fmla="*/ 803834 w 1265438"/>
                <a:gd name="connsiteY65" fmla="*/ 174107 h 211945"/>
                <a:gd name="connsiteX66" fmla="*/ 803834 w 1265438"/>
                <a:gd name="connsiteY66" fmla="*/ 121245 h 211945"/>
                <a:gd name="connsiteX67" fmla="*/ 876145 w 1265438"/>
                <a:gd name="connsiteY67" fmla="*/ 121245 h 211945"/>
                <a:gd name="connsiteX68" fmla="*/ 876145 w 1265438"/>
                <a:gd name="connsiteY68" fmla="*/ 84840 h 211945"/>
                <a:gd name="connsiteX69" fmla="*/ 803834 w 1265438"/>
                <a:gd name="connsiteY69" fmla="*/ 84840 h 211945"/>
                <a:gd name="connsiteX70" fmla="*/ 803834 w 1265438"/>
                <a:gd name="connsiteY70" fmla="*/ 42451 h 211945"/>
                <a:gd name="connsiteX71" fmla="*/ 901828 w 1265438"/>
                <a:gd name="connsiteY71" fmla="*/ 42451 h 211945"/>
                <a:gd name="connsiteX72" fmla="*/ 901828 w 1265438"/>
                <a:gd name="connsiteY72" fmla="*/ 3803 h 211945"/>
                <a:gd name="connsiteX73" fmla="*/ 738755 w 1265438"/>
                <a:gd name="connsiteY73" fmla="*/ 3803 h 211945"/>
                <a:gd name="connsiteX74" fmla="*/ 690568 w 1265438"/>
                <a:gd name="connsiteY74" fmla="*/ 3803 h 211945"/>
                <a:gd name="connsiteX75" fmla="*/ 638205 w 1265438"/>
                <a:gd name="connsiteY75" fmla="*/ 130783 h 211945"/>
                <a:gd name="connsiteX76" fmla="*/ 585842 w 1265438"/>
                <a:gd name="connsiteY76" fmla="*/ 3803 h 211945"/>
                <a:gd name="connsiteX77" fmla="*/ 537656 w 1265438"/>
                <a:gd name="connsiteY77" fmla="*/ 3803 h 211945"/>
                <a:gd name="connsiteX78" fmla="*/ 631223 w 1265438"/>
                <a:gd name="connsiteY78" fmla="*/ 216558 h 211945"/>
                <a:gd name="connsiteX79" fmla="*/ 645187 w 1265438"/>
                <a:gd name="connsiteY79" fmla="*/ 216558 h 211945"/>
                <a:gd name="connsiteX80" fmla="*/ 738755 w 1265438"/>
                <a:gd name="connsiteY80" fmla="*/ 3803 h 211945"/>
                <a:gd name="connsiteX81" fmla="*/ 485604 w 1265438"/>
                <a:gd name="connsiteY81" fmla="*/ 79791 h 211945"/>
                <a:gd name="connsiteX82" fmla="*/ 513220 w 1265438"/>
                <a:gd name="connsiteY82" fmla="*/ 150419 h 211945"/>
                <a:gd name="connsiteX83" fmla="*/ 457740 w 1265438"/>
                <a:gd name="connsiteY83" fmla="*/ 150419 h 211945"/>
                <a:gd name="connsiteX84" fmla="*/ 485604 w 1265438"/>
                <a:gd name="connsiteY84" fmla="*/ 79791 h 211945"/>
                <a:gd name="connsiteX85" fmla="*/ 492586 w 1265438"/>
                <a:gd name="connsiteY85" fmla="*/ 0 h 211945"/>
                <a:gd name="connsiteX86" fmla="*/ 478623 w 1265438"/>
                <a:gd name="connsiteY86" fmla="*/ 0 h 211945"/>
                <a:gd name="connsiteX87" fmla="*/ 385055 w 1265438"/>
                <a:gd name="connsiteY87" fmla="*/ 212756 h 211945"/>
                <a:gd name="connsiteX88" fmla="*/ 431060 w 1265438"/>
                <a:gd name="connsiteY88" fmla="*/ 212756 h 211945"/>
                <a:gd name="connsiteX89" fmla="*/ 442779 w 1265438"/>
                <a:gd name="connsiteY89" fmla="*/ 185514 h 211945"/>
                <a:gd name="connsiteX90" fmla="*/ 528430 w 1265438"/>
                <a:gd name="connsiteY90" fmla="*/ 185514 h 211945"/>
                <a:gd name="connsiteX91" fmla="*/ 540149 w 1265438"/>
                <a:gd name="connsiteY91" fmla="*/ 212756 h 211945"/>
                <a:gd name="connsiteX92" fmla="*/ 586154 w 1265438"/>
                <a:gd name="connsiteY92" fmla="*/ 212756 h 211945"/>
                <a:gd name="connsiteX93" fmla="*/ 492586 w 1265438"/>
                <a:gd name="connsiteY93" fmla="*/ 0 h 211945"/>
                <a:gd name="connsiteX94" fmla="*/ 280703 w 1265438"/>
                <a:gd name="connsiteY94" fmla="*/ 41454 h 211945"/>
                <a:gd name="connsiteX95" fmla="*/ 304204 w 1265438"/>
                <a:gd name="connsiteY95" fmla="*/ 49682 h 211945"/>
                <a:gd name="connsiteX96" fmla="*/ 312433 w 1265438"/>
                <a:gd name="connsiteY96" fmla="*/ 71189 h 211945"/>
                <a:gd name="connsiteX97" fmla="*/ 304204 w 1265438"/>
                <a:gd name="connsiteY97" fmla="*/ 93007 h 211945"/>
                <a:gd name="connsiteX98" fmla="*/ 280703 w 1265438"/>
                <a:gd name="connsiteY98" fmla="*/ 101235 h 211945"/>
                <a:gd name="connsiteX99" fmla="*/ 244859 w 1265438"/>
                <a:gd name="connsiteY99" fmla="*/ 101235 h 211945"/>
                <a:gd name="connsiteX100" fmla="*/ 244859 w 1265438"/>
                <a:gd name="connsiteY100" fmla="*/ 41392 h 211945"/>
                <a:gd name="connsiteX101" fmla="*/ 280703 w 1265438"/>
                <a:gd name="connsiteY101" fmla="*/ 41392 h 211945"/>
                <a:gd name="connsiteX102" fmla="*/ 202034 w 1265438"/>
                <a:gd name="connsiteY102" fmla="*/ 3803 h 211945"/>
                <a:gd name="connsiteX103" fmla="*/ 202034 w 1265438"/>
                <a:gd name="connsiteY103" fmla="*/ 212756 h 211945"/>
                <a:gd name="connsiteX104" fmla="*/ 244859 w 1265438"/>
                <a:gd name="connsiteY104" fmla="*/ 212756 h 211945"/>
                <a:gd name="connsiteX105" fmla="*/ 244859 w 1265438"/>
                <a:gd name="connsiteY105" fmla="*/ 139011 h 211945"/>
                <a:gd name="connsiteX106" fmla="*/ 275965 w 1265438"/>
                <a:gd name="connsiteY106" fmla="*/ 139011 h 211945"/>
                <a:gd name="connsiteX107" fmla="*/ 330199 w 1265438"/>
                <a:gd name="connsiteY107" fmla="*/ 212756 h 211945"/>
                <a:gd name="connsiteX108" fmla="*/ 378385 w 1265438"/>
                <a:gd name="connsiteY108" fmla="*/ 212756 h 211945"/>
                <a:gd name="connsiteX109" fmla="*/ 319414 w 1265438"/>
                <a:gd name="connsiteY109" fmla="*/ 130783 h 211945"/>
                <a:gd name="connsiteX110" fmla="*/ 346344 w 1265438"/>
                <a:gd name="connsiteY110" fmla="*/ 107219 h 211945"/>
                <a:gd name="connsiteX111" fmla="*/ 356193 w 1265438"/>
                <a:gd name="connsiteY111" fmla="*/ 71313 h 211945"/>
                <a:gd name="connsiteX112" fmla="*/ 350645 w 1265438"/>
                <a:gd name="connsiteY112" fmla="*/ 43636 h 211945"/>
                <a:gd name="connsiteX113" fmla="*/ 335123 w 1265438"/>
                <a:gd name="connsiteY113" fmla="*/ 22254 h 211945"/>
                <a:gd name="connsiteX114" fmla="*/ 311310 w 1265438"/>
                <a:gd name="connsiteY114" fmla="*/ 8665 h 211945"/>
                <a:gd name="connsiteX115" fmla="*/ 281015 w 1265438"/>
                <a:gd name="connsiteY115" fmla="*/ 3927 h 211945"/>
                <a:gd name="connsiteX116" fmla="*/ 202034 w 1265438"/>
                <a:gd name="connsiteY116" fmla="*/ 3927 h 211945"/>
                <a:gd name="connsiteX117" fmla="*/ 176974 w 1265438"/>
                <a:gd name="connsiteY117" fmla="*/ 3803 h 211945"/>
                <a:gd name="connsiteX118" fmla="*/ 0 w 1265438"/>
                <a:gd name="connsiteY118" fmla="*/ 3803 h 211945"/>
                <a:gd name="connsiteX119" fmla="*/ 0 w 1265438"/>
                <a:gd name="connsiteY119" fmla="*/ 42451 h 211945"/>
                <a:gd name="connsiteX120" fmla="*/ 66950 w 1265438"/>
                <a:gd name="connsiteY120" fmla="*/ 42451 h 211945"/>
                <a:gd name="connsiteX121" fmla="*/ 66950 w 1265438"/>
                <a:gd name="connsiteY121" fmla="*/ 212756 h 211945"/>
                <a:gd name="connsiteX122" fmla="*/ 109775 w 1265438"/>
                <a:gd name="connsiteY122" fmla="*/ 212756 h 211945"/>
                <a:gd name="connsiteX123" fmla="*/ 109775 w 1265438"/>
                <a:gd name="connsiteY123" fmla="*/ 42451 h 211945"/>
                <a:gd name="connsiteX124" fmla="*/ 177037 w 1265438"/>
                <a:gd name="connsiteY124" fmla="*/ 42451 h 211945"/>
                <a:gd name="connsiteX125" fmla="*/ 177037 w 1265438"/>
                <a:gd name="connsiteY125" fmla="*/ 3803 h 21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265438" h="211945">
                  <a:moveTo>
                    <a:pt x="1164765" y="4114"/>
                  </a:moveTo>
                  <a:cubicBezTo>
                    <a:pt x="1156287" y="6857"/>
                    <a:pt x="1148994" y="10847"/>
                    <a:pt x="1142885" y="15958"/>
                  </a:cubicBezTo>
                  <a:cubicBezTo>
                    <a:pt x="1136776" y="21132"/>
                    <a:pt x="1131913" y="27366"/>
                    <a:pt x="1128298" y="34659"/>
                  </a:cubicBezTo>
                  <a:cubicBezTo>
                    <a:pt x="1124682" y="41953"/>
                    <a:pt x="1122937" y="50119"/>
                    <a:pt x="1122937" y="59220"/>
                  </a:cubicBezTo>
                  <a:cubicBezTo>
                    <a:pt x="1122937" y="66638"/>
                    <a:pt x="1124184" y="73246"/>
                    <a:pt x="1126739" y="79168"/>
                  </a:cubicBezTo>
                  <a:cubicBezTo>
                    <a:pt x="1129295" y="85090"/>
                    <a:pt x="1132786" y="90451"/>
                    <a:pt x="1137212" y="95313"/>
                  </a:cubicBezTo>
                  <a:cubicBezTo>
                    <a:pt x="1141638" y="100175"/>
                    <a:pt x="1146999" y="104539"/>
                    <a:pt x="1153233" y="108466"/>
                  </a:cubicBezTo>
                  <a:cubicBezTo>
                    <a:pt x="1159466" y="112393"/>
                    <a:pt x="1166261" y="116009"/>
                    <a:pt x="1173679" y="119375"/>
                  </a:cubicBezTo>
                  <a:lnTo>
                    <a:pt x="1195871" y="129536"/>
                  </a:lnTo>
                  <a:cubicBezTo>
                    <a:pt x="1204349" y="133339"/>
                    <a:pt x="1210894" y="136954"/>
                    <a:pt x="1215507" y="140320"/>
                  </a:cubicBezTo>
                  <a:cubicBezTo>
                    <a:pt x="1220182" y="143686"/>
                    <a:pt x="1222489" y="148736"/>
                    <a:pt x="1222489" y="155530"/>
                  </a:cubicBezTo>
                  <a:cubicBezTo>
                    <a:pt x="1222489" y="162949"/>
                    <a:pt x="1219871" y="168621"/>
                    <a:pt x="1214697" y="172611"/>
                  </a:cubicBezTo>
                  <a:cubicBezTo>
                    <a:pt x="1209523" y="176600"/>
                    <a:pt x="1202292" y="178657"/>
                    <a:pt x="1192941" y="178657"/>
                  </a:cubicBezTo>
                  <a:cubicBezTo>
                    <a:pt x="1186583" y="178657"/>
                    <a:pt x="1180910" y="177785"/>
                    <a:pt x="1175798" y="176102"/>
                  </a:cubicBezTo>
                  <a:cubicBezTo>
                    <a:pt x="1170749" y="174419"/>
                    <a:pt x="1166136" y="172174"/>
                    <a:pt x="1162022" y="169307"/>
                  </a:cubicBezTo>
                  <a:cubicBezTo>
                    <a:pt x="1157908" y="166439"/>
                    <a:pt x="1154168" y="163260"/>
                    <a:pt x="1150739" y="159645"/>
                  </a:cubicBezTo>
                  <a:cubicBezTo>
                    <a:pt x="1147373" y="156029"/>
                    <a:pt x="1144318" y="152289"/>
                    <a:pt x="1141513" y="148237"/>
                  </a:cubicBezTo>
                  <a:lnTo>
                    <a:pt x="1112028" y="170367"/>
                  </a:lnTo>
                  <a:cubicBezTo>
                    <a:pt x="1119820" y="184268"/>
                    <a:pt x="1130667" y="195488"/>
                    <a:pt x="1144568" y="203904"/>
                  </a:cubicBezTo>
                  <a:cubicBezTo>
                    <a:pt x="1158407" y="212319"/>
                    <a:pt x="1174552" y="216558"/>
                    <a:pt x="1192941" y="216558"/>
                  </a:cubicBezTo>
                  <a:cubicBezTo>
                    <a:pt x="1203289" y="216558"/>
                    <a:pt x="1212951" y="215124"/>
                    <a:pt x="1221803" y="212257"/>
                  </a:cubicBezTo>
                  <a:cubicBezTo>
                    <a:pt x="1230655" y="209389"/>
                    <a:pt x="1238385" y="205275"/>
                    <a:pt x="1244930" y="199914"/>
                  </a:cubicBezTo>
                  <a:cubicBezTo>
                    <a:pt x="1251475" y="194553"/>
                    <a:pt x="1256649" y="187946"/>
                    <a:pt x="1260452" y="180153"/>
                  </a:cubicBezTo>
                  <a:cubicBezTo>
                    <a:pt x="1264255" y="172361"/>
                    <a:pt x="1266187" y="163572"/>
                    <a:pt x="1266187" y="153847"/>
                  </a:cubicBezTo>
                  <a:cubicBezTo>
                    <a:pt x="1266187" y="138887"/>
                    <a:pt x="1261699" y="126793"/>
                    <a:pt x="1252722" y="117630"/>
                  </a:cubicBezTo>
                  <a:cubicBezTo>
                    <a:pt x="1243746" y="108466"/>
                    <a:pt x="1230967" y="100175"/>
                    <a:pt x="1214510" y="92757"/>
                  </a:cubicBezTo>
                  <a:lnTo>
                    <a:pt x="1190697" y="82285"/>
                  </a:lnTo>
                  <a:cubicBezTo>
                    <a:pt x="1182843" y="78669"/>
                    <a:pt x="1176858" y="75303"/>
                    <a:pt x="1172619" y="72186"/>
                  </a:cubicBezTo>
                  <a:cubicBezTo>
                    <a:pt x="1168380" y="69007"/>
                    <a:pt x="1166261" y="64394"/>
                    <a:pt x="1166261" y="58285"/>
                  </a:cubicBezTo>
                  <a:cubicBezTo>
                    <a:pt x="1166261" y="51303"/>
                    <a:pt x="1168817" y="46192"/>
                    <a:pt x="1173866" y="42950"/>
                  </a:cubicBezTo>
                  <a:cubicBezTo>
                    <a:pt x="1178915" y="39709"/>
                    <a:pt x="1185087" y="38025"/>
                    <a:pt x="1192255" y="38025"/>
                  </a:cubicBezTo>
                  <a:cubicBezTo>
                    <a:pt x="1200920" y="38025"/>
                    <a:pt x="1208463" y="40145"/>
                    <a:pt x="1214946" y="44384"/>
                  </a:cubicBezTo>
                  <a:cubicBezTo>
                    <a:pt x="1221367" y="48623"/>
                    <a:pt x="1227164" y="54545"/>
                    <a:pt x="1232213" y="62088"/>
                  </a:cubicBezTo>
                  <a:lnTo>
                    <a:pt x="1261387" y="39584"/>
                  </a:lnTo>
                  <a:cubicBezTo>
                    <a:pt x="1255278" y="28176"/>
                    <a:pt x="1246301" y="18763"/>
                    <a:pt x="1234582" y="11221"/>
                  </a:cubicBezTo>
                  <a:cubicBezTo>
                    <a:pt x="1222863" y="3740"/>
                    <a:pt x="1208650" y="0"/>
                    <a:pt x="1191944" y="0"/>
                  </a:cubicBezTo>
                  <a:cubicBezTo>
                    <a:pt x="1182282" y="0"/>
                    <a:pt x="1173180" y="1371"/>
                    <a:pt x="1164765" y="4114"/>
                  </a:cubicBezTo>
                  <a:moveTo>
                    <a:pt x="1008673" y="41454"/>
                  </a:moveTo>
                  <a:cubicBezTo>
                    <a:pt x="1018834" y="41454"/>
                    <a:pt x="1026626" y="44197"/>
                    <a:pt x="1032174" y="49682"/>
                  </a:cubicBezTo>
                  <a:cubicBezTo>
                    <a:pt x="1037660" y="55168"/>
                    <a:pt x="1040403" y="62337"/>
                    <a:pt x="1040403" y="71189"/>
                  </a:cubicBezTo>
                  <a:cubicBezTo>
                    <a:pt x="1040403" y="80290"/>
                    <a:pt x="1037660" y="87521"/>
                    <a:pt x="1032174" y="93007"/>
                  </a:cubicBezTo>
                  <a:cubicBezTo>
                    <a:pt x="1026689" y="98492"/>
                    <a:pt x="1018834" y="101235"/>
                    <a:pt x="1008673" y="101235"/>
                  </a:cubicBezTo>
                  <a:lnTo>
                    <a:pt x="972830" y="101235"/>
                  </a:lnTo>
                  <a:lnTo>
                    <a:pt x="972830" y="41392"/>
                  </a:lnTo>
                  <a:lnTo>
                    <a:pt x="1008673" y="41392"/>
                  </a:lnTo>
                  <a:close/>
                  <a:moveTo>
                    <a:pt x="930004" y="3803"/>
                  </a:moveTo>
                  <a:lnTo>
                    <a:pt x="930004" y="212756"/>
                  </a:lnTo>
                  <a:lnTo>
                    <a:pt x="972830" y="212756"/>
                  </a:lnTo>
                  <a:lnTo>
                    <a:pt x="972830" y="139011"/>
                  </a:lnTo>
                  <a:lnTo>
                    <a:pt x="1003936" y="139011"/>
                  </a:lnTo>
                  <a:lnTo>
                    <a:pt x="1058169" y="212756"/>
                  </a:lnTo>
                  <a:lnTo>
                    <a:pt x="1106355" y="212756"/>
                  </a:lnTo>
                  <a:lnTo>
                    <a:pt x="1047384" y="130783"/>
                  </a:lnTo>
                  <a:cubicBezTo>
                    <a:pt x="1058792" y="125297"/>
                    <a:pt x="1067769" y="117443"/>
                    <a:pt x="1074314" y="107219"/>
                  </a:cubicBezTo>
                  <a:cubicBezTo>
                    <a:pt x="1080859" y="96996"/>
                    <a:pt x="1084163" y="85027"/>
                    <a:pt x="1084163" y="71313"/>
                  </a:cubicBezTo>
                  <a:cubicBezTo>
                    <a:pt x="1084163" y="61215"/>
                    <a:pt x="1082293" y="51927"/>
                    <a:pt x="1078615" y="43636"/>
                  </a:cubicBezTo>
                  <a:cubicBezTo>
                    <a:pt x="1074937" y="35283"/>
                    <a:pt x="1069763" y="28176"/>
                    <a:pt x="1063093" y="22254"/>
                  </a:cubicBezTo>
                  <a:cubicBezTo>
                    <a:pt x="1056423" y="16332"/>
                    <a:pt x="1048507" y="11782"/>
                    <a:pt x="1039281" y="8665"/>
                  </a:cubicBezTo>
                  <a:cubicBezTo>
                    <a:pt x="1030055" y="5486"/>
                    <a:pt x="1019956" y="3927"/>
                    <a:pt x="1008985" y="3927"/>
                  </a:cubicBezTo>
                  <a:lnTo>
                    <a:pt x="930004" y="3927"/>
                  </a:lnTo>
                  <a:close/>
                  <a:moveTo>
                    <a:pt x="901828" y="3803"/>
                  </a:moveTo>
                  <a:lnTo>
                    <a:pt x="761009" y="3803"/>
                  </a:lnTo>
                  <a:lnTo>
                    <a:pt x="761009" y="212756"/>
                  </a:lnTo>
                  <a:lnTo>
                    <a:pt x="905630" y="212756"/>
                  </a:lnTo>
                  <a:lnTo>
                    <a:pt x="905630" y="174107"/>
                  </a:lnTo>
                  <a:lnTo>
                    <a:pt x="803834" y="174107"/>
                  </a:lnTo>
                  <a:lnTo>
                    <a:pt x="803834" y="121245"/>
                  </a:lnTo>
                  <a:lnTo>
                    <a:pt x="876145" y="121245"/>
                  </a:lnTo>
                  <a:lnTo>
                    <a:pt x="876145" y="84840"/>
                  </a:lnTo>
                  <a:lnTo>
                    <a:pt x="803834" y="84840"/>
                  </a:lnTo>
                  <a:lnTo>
                    <a:pt x="803834" y="42451"/>
                  </a:lnTo>
                  <a:lnTo>
                    <a:pt x="901828" y="42451"/>
                  </a:lnTo>
                  <a:lnTo>
                    <a:pt x="901828" y="3803"/>
                  </a:lnTo>
                  <a:close/>
                  <a:moveTo>
                    <a:pt x="738755" y="3803"/>
                  </a:moveTo>
                  <a:lnTo>
                    <a:pt x="690568" y="3803"/>
                  </a:lnTo>
                  <a:lnTo>
                    <a:pt x="638205" y="130783"/>
                  </a:lnTo>
                  <a:lnTo>
                    <a:pt x="585842" y="3803"/>
                  </a:lnTo>
                  <a:lnTo>
                    <a:pt x="537656" y="3803"/>
                  </a:lnTo>
                  <a:lnTo>
                    <a:pt x="631223" y="216558"/>
                  </a:lnTo>
                  <a:lnTo>
                    <a:pt x="645187" y="216558"/>
                  </a:lnTo>
                  <a:lnTo>
                    <a:pt x="738755" y="3803"/>
                  </a:lnTo>
                  <a:close/>
                  <a:moveTo>
                    <a:pt x="485604" y="79791"/>
                  </a:moveTo>
                  <a:lnTo>
                    <a:pt x="513220" y="150419"/>
                  </a:lnTo>
                  <a:lnTo>
                    <a:pt x="457740" y="150419"/>
                  </a:lnTo>
                  <a:lnTo>
                    <a:pt x="485604" y="79791"/>
                  </a:lnTo>
                  <a:close/>
                  <a:moveTo>
                    <a:pt x="492586" y="0"/>
                  </a:moveTo>
                  <a:lnTo>
                    <a:pt x="478623" y="0"/>
                  </a:lnTo>
                  <a:lnTo>
                    <a:pt x="385055" y="212756"/>
                  </a:lnTo>
                  <a:lnTo>
                    <a:pt x="431060" y="212756"/>
                  </a:lnTo>
                  <a:lnTo>
                    <a:pt x="442779" y="185514"/>
                  </a:lnTo>
                  <a:lnTo>
                    <a:pt x="528430" y="185514"/>
                  </a:lnTo>
                  <a:lnTo>
                    <a:pt x="540149" y="212756"/>
                  </a:lnTo>
                  <a:lnTo>
                    <a:pt x="586154" y="212756"/>
                  </a:lnTo>
                  <a:lnTo>
                    <a:pt x="492586" y="0"/>
                  </a:lnTo>
                  <a:close/>
                  <a:moveTo>
                    <a:pt x="280703" y="41454"/>
                  </a:moveTo>
                  <a:cubicBezTo>
                    <a:pt x="290864" y="41454"/>
                    <a:pt x="298656" y="44197"/>
                    <a:pt x="304204" y="49682"/>
                  </a:cubicBezTo>
                  <a:cubicBezTo>
                    <a:pt x="309690" y="55168"/>
                    <a:pt x="312433" y="62337"/>
                    <a:pt x="312433" y="71189"/>
                  </a:cubicBezTo>
                  <a:cubicBezTo>
                    <a:pt x="312433" y="80290"/>
                    <a:pt x="309690" y="87521"/>
                    <a:pt x="304204" y="93007"/>
                  </a:cubicBezTo>
                  <a:cubicBezTo>
                    <a:pt x="298718" y="98492"/>
                    <a:pt x="290864" y="101235"/>
                    <a:pt x="280703" y="101235"/>
                  </a:cubicBezTo>
                  <a:lnTo>
                    <a:pt x="244859" y="101235"/>
                  </a:lnTo>
                  <a:lnTo>
                    <a:pt x="244859" y="41392"/>
                  </a:lnTo>
                  <a:lnTo>
                    <a:pt x="280703" y="41392"/>
                  </a:lnTo>
                  <a:close/>
                  <a:moveTo>
                    <a:pt x="202034" y="3803"/>
                  </a:moveTo>
                  <a:lnTo>
                    <a:pt x="202034" y="212756"/>
                  </a:lnTo>
                  <a:lnTo>
                    <a:pt x="244859" y="212756"/>
                  </a:lnTo>
                  <a:lnTo>
                    <a:pt x="244859" y="139011"/>
                  </a:lnTo>
                  <a:lnTo>
                    <a:pt x="275965" y="139011"/>
                  </a:lnTo>
                  <a:lnTo>
                    <a:pt x="330199" y="212756"/>
                  </a:lnTo>
                  <a:lnTo>
                    <a:pt x="378385" y="212756"/>
                  </a:lnTo>
                  <a:lnTo>
                    <a:pt x="319414" y="130783"/>
                  </a:lnTo>
                  <a:cubicBezTo>
                    <a:pt x="330822" y="125297"/>
                    <a:pt x="339798" y="117443"/>
                    <a:pt x="346344" y="107219"/>
                  </a:cubicBezTo>
                  <a:cubicBezTo>
                    <a:pt x="352889" y="96996"/>
                    <a:pt x="356193" y="85027"/>
                    <a:pt x="356193" y="71313"/>
                  </a:cubicBezTo>
                  <a:cubicBezTo>
                    <a:pt x="356193" y="61215"/>
                    <a:pt x="354323" y="51927"/>
                    <a:pt x="350645" y="43636"/>
                  </a:cubicBezTo>
                  <a:cubicBezTo>
                    <a:pt x="346967" y="35283"/>
                    <a:pt x="341793" y="28176"/>
                    <a:pt x="335123" y="22254"/>
                  </a:cubicBezTo>
                  <a:cubicBezTo>
                    <a:pt x="328453" y="16332"/>
                    <a:pt x="320536" y="11782"/>
                    <a:pt x="311310" y="8665"/>
                  </a:cubicBezTo>
                  <a:cubicBezTo>
                    <a:pt x="302085" y="5486"/>
                    <a:pt x="291986" y="3927"/>
                    <a:pt x="281015" y="3927"/>
                  </a:cubicBezTo>
                  <a:lnTo>
                    <a:pt x="202034" y="3927"/>
                  </a:lnTo>
                  <a:close/>
                  <a:moveTo>
                    <a:pt x="176974" y="3803"/>
                  </a:moveTo>
                  <a:lnTo>
                    <a:pt x="0" y="3803"/>
                  </a:lnTo>
                  <a:lnTo>
                    <a:pt x="0" y="42451"/>
                  </a:lnTo>
                  <a:lnTo>
                    <a:pt x="66950" y="42451"/>
                  </a:lnTo>
                  <a:lnTo>
                    <a:pt x="66950" y="212756"/>
                  </a:lnTo>
                  <a:lnTo>
                    <a:pt x="109775" y="212756"/>
                  </a:lnTo>
                  <a:lnTo>
                    <a:pt x="109775" y="42451"/>
                  </a:lnTo>
                  <a:lnTo>
                    <a:pt x="177037" y="42451"/>
                  </a:lnTo>
                  <a:lnTo>
                    <a:pt x="177037" y="3803"/>
                  </a:lnTo>
                  <a:close/>
                </a:path>
              </a:pathLst>
            </a:custGeom>
            <a:grpFill/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9803156-3F88-4A48-BDD3-3BE980079FD1}"/>
                </a:ext>
              </a:extLst>
            </p:cNvPr>
            <p:cNvSpPr/>
            <p:nvPr/>
          </p:nvSpPr>
          <p:spPr>
            <a:xfrm>
              <a:off x="9183077" y="814403"/>
              <a:ext cx="878950" cy="211945"/>
            </a:xfrm>
            <a:custGeom>
              <a:avLst/>
              <a:gdLst>
                <a:gd name="connsiteX0" fmla="*/ 880509 w 878950"/>
                <a:gd name="connsiteY0" fmla="*/ 3865 h 211945"/>
                <a:gd name="connsiteX1" fmla="*/ 837683 w 878950"/>
                <a:gd name="connsiteY1" fmla="*/ 3865 h 211945"/>
                <a:gd name="connsiteX2" fmla="*/ 837683 w 878950"/>
                <a:gd name="connsiteY2" fmla="*/ 83968 h 211945"/>
                <a:gd name="connsiteX3" fmla="*/ 745051 w 878950"/>
                <a:gd name="connsiteY3" fmla="*/ 83968 h 211945"/>
                <a:gd name="connsiteX4" fmla="*/ 745051 w 878950"/>
                <a:gd name="connsiteY4" fmla="*/ 3865 h 211945"/>
                <a:gd name="connsiteX5" fmla="*/ 702225 w 878950"/>
                <a:gd name="connsiteY5" fmla="*/ 3865 h 211945"/>
                <a:gd name="connsiteX6" fmla="*/ 702225 w 878950"/>
                <a:gd name="connsiteY6" fmla="*/ 212818 h 211945"/>
                <a:gd name="connsiteX7" fmla="*/ 745051 w 878950"/>
                <a:gd name="connsiteY7" fmla="*/ 212818 h 211945"/>
                <a:gd name="connsiteX8" fmla="*/ 745051 w 878950"/>
                <a:gd name="connsiteY8" fmla="*/ 122554 h 211945"/>
                <a:gd name="connsiteX9" fmla="*/ 837683 w 878950"/>
                <a:gd name="connsiteY9" fmla="*/ 122554 h 211945"/>
                <a:gd name="connsiteX10" fmla="*/ 837683 w 878950"/>
                <a:gd name="connsiteY10" fmla="*/ 212756 h 211945"/>
                <a:gd name="connsiteX11" fmla="*/ 880509 w 878950"/>
                <a:gd name="connsiteY11" fmla="*/ 212756 h 211945"/>
                <a:gd name="connsiteX12" fmla="*/ 880509 w 878950"/>
                <a:gd name="connsiteY12" fmla="*/ 3865 h 211945"/>
                <a:gd name="connsiteX13" fmla="*/ 674049 w 878950"/>
                <a:gd name="connsiteY13" fmla="*/ 3865 h 211945"/>
                <a:gd name="connsiteX14" fmla="*/ 497074 w 878950"/>
                <a:gd name="connsiteY14" fmla="*/ 3865 h 211945"/>
                <a:gd name="connsiteX15" fmla="*/ 497074 w 878950"/>
                <a:gd name="connsiteY15" fmla="*/ 42514 h 211945"/>
                <a:gd name="connsiteX16" fmla="*/ 564024 w 878950"/>
                <a:gd name="connsiteY16" fmla="*/ 42514 h 211945"/>
                <a:gd name="connsiteX17" fmla="*/ 564024 w 878950"/>
                <a:gd name="connsiteY17" fmla="*/ 212818 h 211945"/>
                <a:gd name="connsiteX18" fmla="*/ 606850 w 878950"/>
                <a:gd name="connsiteY18" fmla="*/ 212818 h 211945"/>
                <a:gd name="connsiteX19" fmla="*/ 606850 w 878950"/>
                <a:gd name="connsiteY19" fmla="*/ 42451 h 211945"/>
                <a:gd name="connsiteX20" fmla="*/ 674111 w 878950"/>
                <a:gd name="connsiteY20" fmla="*/ 42451 h 211945"/>
                <a:gd name="connsiteX21" fmla="*/ 674111 w 878950"/>
                <a:gd name="connsiteY21" fmla="*/ 3865 h 211945"/>
                <a:gd name="connsiteX22" fmla="*/ 468836 w 878950"/>
                <a:gd name="connsiteY22" fmla="*/ 3865 h 211945"/>
                <a:gd name="connsiteX23" fmla="*/ 426010 w 878950"/>
                <a:gd name="connsiteY23" fmla="*/ 3865 h 211945"/>
                <a:gd name="connsiteX24" fmla="*/ 426010 w 878950"/>
                <a:gd name="connsiteY24" fmla="*/ 212818 h 211945"/>
                <a:gd name="connsiteX25" fmla="*/ 468836 w 878950"/>
                <a:gd name="connsiteY25" fmla="*/ 212818 h 211945"/>
                <a:gd name="connsiteX26" fmla="*/ 468836 w 878950"/>
                <a:gd name="connsiteY26" fmla="*/ 3865 h 211945"/>
                <a:gd name="connsiteX27" fmla="*/ 394031 w 878950"/>
                <a:gd name="connsiteY27" fmla="*/ 62 h 211945"/>
                <a:gd name="connsiteX28" fmla="*/ 380068 w 878950"/>
                <a:gd name="connsiteY28" fmla="*/ 62 h 211945"/>
                <a:gd name="connsiteX29" fmla="*/ 291238 w 878950"/>
                <a:gd name="connsiteY29" fmla="*/ 113391 h 211945"/>
                <a:gd name="connsiteX30" fmla="*/ 203094 w 878950"/>
                <a:gd name="connsiteY30" fmla="*/ 62 h 211945"/>
                <a:gd name="connsiteX31" fmla="*/ 188818 w 878950"/>
                <a:gd name="connsiteY31" fmla="*/ 62 h 211945"/>
                <a:gd name="connsiteX32" fmla="*/ 188818 w 878950"/>
                <a:gd name="connsiteY32" fmla="*/ 212818 h 211945"/>
                <a:gd name="connsiteX33" fmla="*/ 231644 w 878950"/>
                <a:gd name="connsiteY33" fmla="*/ 212818 h 211945"/>
                <a:gd name="connsiteX34" fmla="*/ 231644 w 878950"/>
                <a:gd name="connsiteY34" fmla="*/ 101048 h 211945"/>
                <a:gd name="connsiteX35" fmla="*/ 284319 w 878950"/>
                <a:gd name="connsiteY35" fmla="*/ 167187 h 211945"/>
                <a:gd name="connsiteX36" fmla="*/ 298282 w 878950"/>
                <a:gd name="connsiteY36" fmla="*/ 167187 h 211945"/>
                <a:gd name="connsiteX37" fmla="*/ 351268 w 878950"/>
                <a:gd name="connsiteY37" fmla="*/ 101048 h 211945"/>
                <a:gd name="connsiteX38" fmla="*/ 351268 w 878950"/>
                <a:gd name="connsiteY38" fmla="*/ 212818 h 211945"/>
                <a:gd name="connsiteX39" fmla="*/ 394094 w 878950"/>
                <a:gd name="connsiteY39" fmla="*/ 212818 h 211945"/>
                <a:gd name="connsiteX40" fmla="*/ 394094 w 878950"/>
                <a:gd name="connsiteY40" fmla="*/ 62 h 211945"/>
                <a:gd name="connsiteX41" fmla="*/ 52737 w 878950"/>
                <a:gd name="connsiteY41" fmla="*/ 4177 h 211945"/>
                <a:gd name="connsiteX42" fmla="*/ 30857 w 878950"/>
                <a:gd name="connsiteY42" fmla="*/ 16021 h 211945"/>
                <a:gd name="connsiteX43" fmla="*/ 16270 w 878950"/>
                <a:gd name="connsiteY43" fmla="*/ 34722 h 211945"/>
                <a:gd name="connsiteX44" fmla="*/ 10909 w 878950"/>
                <a:gd name="connsiteY44" fmla="*/ 59282 h 211945"/>
                <a:gd name="connsiteX45" fmla="*/ 14712 w 878950"/>
                <a:gd name="connsiteY45" fmla="*/ 79230 h 211945"/>
                <a:gd name="connsiteX46" fmla="*/ 25184 w 878950"/>
                <a:gd name="connsiteY46" fmla="*/ 95375 h 211945"/>
                <a:gd name="connsiteX47" fmla="*/ 41205 w 878950"/>
                <a:gd name="connsiteY47" fmla="*/ 108528 h 211945"/>
                <a:gd name="connsiteX48" fmla="*/ 61651 w 878950"/>
                <a:gd name="connsiteY48" fmla="*/ 119437 h 211945"/>
                <a:gd name="connsiteX49" fmla="*/ 83843 w 878950"/>
                <a:gd name="connsiteY49" fmla="*/ 129536 h 211945"/>
                <a:gd name="connsiteX50" fmla="*/ 103479 w 878950"/>
                <a:gd name="connsiteY50" fmla="*/ 140320 h 211945"/>
                <a:gd name="connsiteX51" fmla="*/ 110461 w 878950"/>
                <a:gd name="connsiteY51" fmla="*/ 155530 h 211945"/>
                <a:gd name="connsiteX52" fmla="*/ 102669 w 878950"/>
                <a:gd name="connsiteY52" fmla="*/ 172611 h 211945"/>
                <a:gd name="connsiteX53" fmla="*/ 80913 w 878950"/>
                <a:gd name="connsiteY53" fmla="*/ 178657 h 211945"/>
                <a:gd name="connsiteX54" fmla="*/ 63771 w 878950"/>
                <a:gd name="connsiteY54" fmla="*/ 176102 h 211945"/>
                <a:gd name="connsiteX55" fmla="*/ 49994 w 878950"/>
                <a:gd name="connsiteY55" fmla="*/ 169307 h 211945"/>
                <a:gd name="connsiteX56" fmla="*/ 38711 w 878950"/>
                <a:gd name="connsiteY56" fmla="*/ 159645 h 211945"/>
                <a:gd name="connsiteX57" fmla="*/ 29485 w 878950"/>
                <a:gd name="connsiteY57" fmla="*/ 148237 h 211945"/>
                <a:gd name="connsiteX58" fmla="*/ 0 w 878950"/>
                <a:gd name="connsiteY58" fmla="*/ 170367 h 211945"/>
                <a:gd name="connsiteX59" fmla="*/ 32540 w 878950"/>
                <a:gd name="connsiteY59" fmla="*/ 203904 h 211945"/>
                <a:gd name="connsiteX60" fmla="*/ 80913 w 878950"/>
                <a:gd name="connsiteY60" fmla="*/ 216558 h 211945"/>
                <a:gd name="connsiteX61" fmla="*/ 109775 w 878950"/>
                <a:gd name="connsiteY61" fmla="*/ 212257 h 211945"/>
                <a:gd name="connsiteX62" fmla="*/ 132902 w 878950"/>
                <a:gd name="connsiteY62" fmla="*/ 199914 h 211945"/>
                <a:gd name="connsiteX63" fmla="*/ 148424 w 878950"/>
                <a:gd name="connsiteY63" fmla="*/ 180154 h 211945"/>
                <a:gd name="connsiteX64" fmla="*/ 154159 w 878950"/>
                <a:gd name="connsiteY64" fmla="*/ 153847 h 211945"/>
                <a:gd name="connsiteX65" fmla="*/ 140694 w 878950"/>
                <a:gd name="connsiteY65" fmla="*/ 117630 h 211945"/>
                <a:gd name="connsiteX66" fmla="*/ 102482 w 878950"/>
                <a:gd name="connsiteY66" fmla="*/ 92757 h 211945"/>
                <a:gd name="connsiteX67" fmla="*/ 78669 w 878950"/>
                <a:gd name="connsiteY67" fmla="*/ 82285 h 211945"/>
                <a:gd name="connsiteX68" fmla="*/ 60591 w 878950"/>
                <a:gd name="connsiteY68" fmla="*/ 72186 h 211945"/>
                <a:gd name="connsiteX69" fmla="*/ 54233 w 878950"/>
                <a:gd name="connsiteY69" fmla="*/ 58285 h 211945"/>
                <a:gd name="connsiteX70" fmla="*/ 61838 w 878950"/>
                <a:gd name="connsiteY70" fmla="*/ 42950 h 211945"/>
                <a:gd name="connsiteX71" fmla="*/ 80228 w 878950"/>
                <a:gd name="connsiteY71" fmla="*/ 38025 h 211945"/>
                <a:gd name="connsiteX72" fmla="*/ 102918 w 878950"/>
                <a:gd name="connsiteY72" fmla="*/ 44384 h 211945"/>
                <a:gd name="connsiteX73" fmla="*/ 120186 w 878950"/>
                <a:gd name="connsiteY73" fmla="*/ 62087 h 211945"/>
                <a:gd name="connsiteX74" fmla="*/ 149359 w 878950"/>
                <a:gd name="connsiteY74" fmla="*/ 39584 h 211945"/>
                <a:gd name="connsiteX75" fmla="*/ 122554 w 878950"/>
                <a:gd name="connsiteY75" fmla="*/ 11221 h 211945"/>
                <a:gd name="connsiteX76" fmla="*/ 79916 w 878950"/>
                <a:gd name="connsiteY76" fmla="*/ 0 h 211945"/>
                <a:gd name="connsiteX77" fmla="*/ 52737 w 878950"/>
                <a:gd name="connsiteY77" fmla="*/ 4177 h 21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878950" h="211945">
                  <a:moveTo>
                    <a:pt x="880509" y="3865"/>
                  </a:moveTo>
                  <a:lnTo>
                    <a:pt x="837683" y="3865"/>
                  </a:lnTo>
                  <a:lnTo>
                    <a:pt x="837683" y="83968"/>
                  </a:lnTo>
                  <a:lnTo>
                    <a:pt x="745051" y="83968"/>
                  </a:lnTo>
                  <a:lnTo>
                    <a:pt x="745051" y="3865"/>
                  </a:lnTo>
                  <a:lnTo>
                    <a:pt x="702225" y="3865"/>
                  </a:lnTo>
                  <a:lnTo>
                    <a:pt x="702225" y="212818"/>
                  </a:lnTo>
                  <a:lnTo>
                    <a:pt x="745051" y="212818"/>
                  </a:lnTo>
                  <a:lnTo>
                    <a:pt x="745051" y="122554"/>
                  </a:lnTo>
                  <a:lnTo>
                    <a:pt x="837683" y="122554"/>
                  </a:lnTo>
                  <a:lnTo>
                    <a:pt x="837683" y="212756"/>
                  </a:lnTo>
                  <a:lnTo>
                    <a:pt x="880509" y="212756"/>
                  </a:lnTo>
                  <a:lnTo>
                    <a:pt x="880509" y="3865"/>
                  </a:lnTo>
                  <a:close/>
                  <a:moveTo>
                    <a:pt x="674049" y="3865"/>
                  </a:moveTo>
                  <a:lnTo>
                    <a:pt x="497074" y="3865"/>
                  </a:lnTo>
                  <a:lnTo>
                    <a:pt x="497074" y="42514"/>
                  </a:lnTo>
                  <a:lnTo>
                    <a:pt x="564024" y="42514"/>
                  </a:lnTo>
                  <a:lnTo>
                    <a:pt x="564024" y="212818"/>
                  </a:lnTo>
                  <a:lnTo>
                    <a:pt x="606850" y="212818"/>
                  </a:lnTo>
                  <a:lnTo>
                    <a:pt x="606850" y="42451"/>
                  </a:lnTo>
                  <a:lnTo>
                    <a:pt x="674111" y="42451"/>
                  </a:lnTo>
                  <a:lnTo>
                    <a:pt x="674111" y="3865"/>
                  </a:lnTo>
                  <a:close/>
                  <a:moveTo>
                    <a:pt x="468836" y="3865"/>
                  </a:moveTo>
                  <a:lnTo>
                    <a:pt x="426010" y="3865"/>
                  </a:lnTo>
                  <a:lnTo>
                    <a:pt x="426010" y="212818"/>
                  </a:lnTo>
                  <a:lnTo>
                    <a:pt x="468836" y="212818"/>
                  </a:lnTo>
                  <a:lnTo>
                    <a:pt x="468836" y="3865"/>
                  </a:lnTo>
                  <a:close/>
                  <a:moveTo>
                    <a:pt x="394031" y="62"/>
                  </a:moveTo>
                  <a:lnTo>
                    <a:pt x="380068" y="62"/>
                  </a:lnTo>
                  <a:lnTo>
                    <a:pt x="291238" y="113391"/>
                  </a:lnTo>
                  <a:lnTo>
                    <a:pt x="203094" y="62"/>
                  </a:lnTo>
                  <a:lnTo>
                    <a:pt x="188818" y="62"/>
                  </a:lnTo>
                  <a:lnTo>
                    <a:pt x="188818" y="212818"/>
                  </a:lnTo>
                  <a:lnTo>
                    <a:pt x="231644" y="212818"/>
                  </a:lnTo>
                  <a:lnTo>
                    <a:pt x="231644" y="101048"/>
                  </a:lnTo>
                  <a:lnTo>
                    <a:pt x="284319" y="167187"/>
                  </a:lnTo>
                  <a:lnTo>
                    <a:pt x="298282" y="167187"/>
                  </a:lnTo>
                  <a:lnTo>
                    <a:pt x="351268" y="101048"/>
                  </a:lnTo>
                  <a:lnTo>
                    <a:pt x="351268" y="212818"/>
                  </a:lnTo>
                  <a:lnTo>
                    <a:pt x="394094" y="212818"/>
                  </a:lnTo>
                  <a:lnTo>
                    <a:pt x="394094" y="62"/>
                  </a:lnTo>
                  <a:close/>
                  <a:moveTo>
                    <a:pt x="52737" y="4177"/>
                  </a:moveTo>
                  <a:cubicBezTo>
                    <a:pt x="44259" y="6919"/>
                    <a:pt x="36966" y="10909"/>
                    <a:pt x="30857" y="16021"/>
                  </a:cubicBezTo>
                  <a:cubicBezTo>
                    <a:pt x="24748" y="21195"/>
                    <a:pt x="19885" y="27428"/>
                    <a:pt x="16270" y="34722"/>
                  </a:cubicBezTo>
                  <a:cubicBezTo>
                    <a:pt x="12654" y="42015"/>
                    <a:pt x="10909" y="50181"/>
                    <a:pt x="10909" y="59282"/>
                  </a:cubicBezTo>
                  <a:cubicBezTo>
                    <a:pt x="10909" y="66700"/>
                    <a:pt x="12156" y="73308"/>
                    <a:pt x="14712" y="79230"/>
                  </a:cubicBezTo>
                  <a:cubicBezTo>
                    <a:pt x="17267" y="85152"/>
                    <a:pt x="20758" y="90513"/>
                    <a:pt x="25184" y="95375"/>
                  </a:cubicBezTo>
                  <a:cubicBezTo>
                    <a:pt x="29610" y="100238"/>
                    <a:pt x="34971" y="104601"/>
                    <a:pt x="41205" y="108528"/>
                  </a:cubicBezTo>
                  <a:cubicBezTo>
                    <a:pt x="47438" y="112456"/>
                    <a:pt x="54233" y="116071"/>
                    <a:pt x="61651" y="119437"/>
                  </a:cubicBezTo>
                  <a:lnTo>
                    <a:pt x="83843" y="129536"/>
                  </a:lnTo>
                  <a:cubicBezTo>
                    <a:pt x="92321" y="133339"/>
                    <a:pt x="98866" y="136954"/>
                    <a:pt x="103479" y="140320"/>
                  </a:cubicBezTo>
                  <a:cubicBezTo>
                    <a:pt x="108154" y="143686"/>
                    <a:pt x="110461" y="148736"/>
                    <a:pt x="110461" y="155530"/>
                  </a:cubicBezTo>
                  <a:cubicBezTo>
                    <a:pt x="110461" y="162949"/>
                    <a:pt x="107843" y="168621"/>
                    <a:pt x="102669" y="172611"/>
                  </a:cubicBezTo>
                  <a:cubicBezTo>
                    <a:pt x="97495" y="176600"/>
                    <a:pt x="90264" y="178657"/>
                    <a:pt x="80913" y="178657"/>
                  </a:cubicBezTo>
                  <a:cubicBezTo>
                    <a:pt x="74555" y="178657"/>
                    <a:pt x="68882" y="177785"/>
                    <a:pt x="63771" y="176102"/>
                  </a:cubicBezTo>
                  <a:cubicBezTo>
                    <a:pt x="58721" y="174419"/>
                    <a:pt x="54108" y="172174"/>
                    <a:pt x="49994" y="169307"/>
                  </a:cubicBezTo>
                  <a:cubicBezTo>
                    <a:pt x="45880" y="166439"/>
                    <a:pt x="42140" y="163260"/>
                    <a:pt x="38711" y="159645"/>
                  </a:cubicBezTo>
                  <a:cubicBezTo>
                    <a:pt x="35345" y="156029"/>
                    <a:pt x="32290" y="152289"/>
                    <a:pt x="29485" y="148237"/>
                  </a:cubicBezTo>
                  <a:lnTo>
                    <a:pt x="0" y="170367"/>
                  </a:lnTo>
                  <a:cubicBezTo>
                    <a:pt x="7792" y="184268"/>
                    <a:pt x="18639" y="195488"/>
                    <a:pt x="32540" y="203904"/>
                  </a:cubicBezTo>
                  <a:cubicBezTo>
                    <a:pt x="46379" y="212319"/>
                    <a:pt x="62524" y="216558"/>
                    <a:pt x="80913" y="216558"/>
                  </a:cubicBezTo>
                  <a:cubicBezTo>
                    <a:pt x="91261" y="216558"/>
                    <a:pt x="100923" y="215124"/>
                    <a:pt x="109775" y="212257"/>
                  </a:cubicBezTo>
                  <a:cubicBezTo>
                    <a:pt x="118627" y="209390"/>
                    <a:pt x="126357" y="205275"/>
                    <a:pt x="132902" y="199914"/>
                  </a:cubicBezTo>
                  <a:cubicBezTo>
                    <a:pt x="139448" y="194553"/>
                    <a:pt x="144622" y="187946"/>
                    <a:pt x="148424" y="180154"/>
                  </a:cubicBezTo>
                  <a:cubicBezTo>
                    <a:pt x="152227" y="172361"/>
                    <a:pt x="154159" y="163572"/>
                    <a:pt x="154159" y="153847"/>
                  </a:cubicBezTo>
                  <a:cubicBezTo>
                    <a:pt x="154159" y="138887"/>
                    <a:pt x="149671" y="126793"/>
                    <a:pt x="140694" y="117630"/>
                  </a:cubicBezTo>
                  <a:cubicBezTo>
                    <a:pt x="131718" y="108466"/>
                    <a:pt x="118939" y="100175"/>
                    <a:pt x="102482" y="92757"/>
                  </a:cubicBezTo>
                  <a:lnTo>
                    <a:pt x="78669" y="82285"/>
                  </a:lnTo>
                  <a:cubicBezTo>
                    <a:pt x="70815" y="78669"/>
                    <a:pt x="64830" y="75303"/>
                    <a:pt x="60591" y="72186"/>
                  </a:cubicBezTo>
                  <a:cubicBezTo>
                    <a:pt x="56353" y="69007"/>
                    <a:pt x="54233" y="64394"/>
                    <a:pt x="54233" y="58285"/>
                  </a:cubicBezTo>
                  <a:cubicBezTo>
                    <a:pt x="54233" y="51303"/>
                    <a:pt x="56789" y="46192"/>
                    <a:pt x="61838" y="42950"/>
                  </a:cubicBezTo>
                  <a:cubicBezTo>
                    <a:pt x="66887" y="39709"/>
                    <a:pt x="73059" y="38025"/>
                    <a:pt x="80228" y="38025"/>
                  </a:cubicBezTo>
                  <a:cubicBezTo>
                    <a:pt x="88892" y="38025"/>
                    <a:pt x="96435" y="40145"/>
                    <a:pt x="102918" y="44384"/>
                  </a:cubicBezTo>
                  <a:cubicBezTo>
                    <a:pt x="109339" y="48623"/>
                    <a:pt x="115136" y="54545"/>
                    <a:pt x="120186" y="62087"/>
                  </a:cubicBezTo>
                  <a:lnTo>
                    <a:pt x="149359" y="39584"/>
                  </a:lnTo>
                  <a:cubicBezTo>
                    <a:pt x="143250" y="28176"/>
                    <a:pt x="134274" y="18763"/>
                    <a:pt x="122554" y="11221"/>
                  </a:cubicBezTo>
                  <a:cubicBezTo>
                    <a:pt x="110835" y="3740"/>
                    <a:pt x="96622" y="0"/>
                    <a:pt x="79916" y="0"/>
                  </a:cubicBezTo>
                  <a:cubicBezTo>
                    <a:pt x="70254" y="62"/>
                    <a:pt x="61215" y="1434"/>
                    <a:pt x="52737" y="4177"/>
                  </a:cubicBezTo>
                </a:path>
              </a:pathLst>
            </a:custGeom>
            <a:grpFill/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BA1EFA8-FA22-446D-BE7A-000BDFEBAE95}"/>
                </a:ext>
              </a:extLst>
            </p:cNvPr>
            <p:cNvSpPr/>
            <p:nvPr/>
          </p:nvSpPr>
          <p:spPr>
            <a:xfrm>
              <a:off x="9587394" y="704752"/>
              <a:ext cx="81038" cy="81038"/>
            </a:xfrm>
            <a:custGeom>
              <a:avLst/>
              <a:gdLst>
                <a:gd name="connsiteX0" fmla="*/ 44134 w 81037"/>
                <a:gd name="connsiteY0" fmla="*/ 0 h 81037"/>
                <a:gd name="connsiteX1" fmla="*/ 12218 w 81037"/>
                <a:gd name="connsiteY1" fmla="*/ 12530 h 81037"/>
                <a:gd name="connsiteX2" fmla="*/ 0 w 81037"/>
                <a:gd name="connsiteY2" fmla="*/ 43262 h 81037"/>
                <a:gd name="connsiteX3" fmla="*/ 12218 w 81037"/>
                <a:gd name="connsiteY3" fmla="*/ 74181 h 81037"/>
                <a:gd name="connsiteX4" fmla="*/ 44134 w 81037"/>
                <a:gd name="connsiteY4" fmla="*/ 86524 h 81037"/>
                <a:gd name="connsiteX5" fmla="*/ 61339 w 81037"/>
                <a:gd name="connsiteY5" fmla="*/ 83220 h 81037"/>
                <a:gd name="connsiteX6" fmla="*/ 74867 w 81037"/>
                <a:gd name="connsiteY6" fmla="*/ 74119 h 81037"/>
                <a:gd name="connsiteX7" fmla="*/ 83781 w 81037"/>
                <a:gd name="connsiteY7" fmla="*/ 60404 h 81037"/>
                <a:gd name="connsiteX8" fmla="*/ 87085 w 81037"/>
                <a:gd name="connsiteY8" fmla="*/ 43199 h 81037"/>
                <a:gd name="connsiteX9" fmla="*/ 83781 w 81037"/>
                <a:gd name="connsiteY9" fmla="*/ 26368 h 81037"/>
                <a:gd name="connsiteX10" fmla="*/ 74867 w 81037"/>
                <a:gd name="connsiteY10" fmla="*/ 12654 h 81037"/>
                <a:gd name="connsiteX11" fmla="*/ 61339 w 81037"/>
                <a:gd name="connsiteY11" fmla="*/ 3366 h 81037"/>
                <a:gd name="connsiteX12" fmla="*/ 44134 w 81037"/>
                <a:gd name="connsiteY12" fmla="*/ 0 h 81037"/>
                <a:gd name="connsiteX13" fmla="*/ 44134 w 81037"/>
                <a:gd name="connsiteY13" fmla="*/ 24187 h 81037"/>
                <a:gd name="connsiteX14" fmla="*/ 51615 w 81037"/>
                <a:gd name="connsiteY14" fmla="*/ 25620 h 81037"/>
                <a:gd name="connsiteX15" fmla="*/ 57475 w 81037"/>
                <a:gd name="connsiteY15" fmla="*/ 29548 h 81037"/>
                <a:gd name="connsiteX16" fmla="*/ 61402 w 81037"/>
                <a:gd name="connsiteY16" fmla="*/ 35657 h 81037"/>
                <a:gd name="connsiteX17" fmla="*/ 62836 w 81037"/>
                <a:gd name="connsiteY17" fmla="*/ 43199 h 81037"/>
                <a:gd name="connsiteX18" fmla="*/ 61402 w 81037"/>
                <a:gd name="connsiteY18" fmla="*/ 51116 h 81037"/>
                <a:gd name="connsiteX19" fmla="*/ 57475 w 81037"/>
                <a:gd name="connsiteY19" fmla="*/ 57225 h 81037"/>
                <a:gd name="connsiteX20" fmla="*/ 52114 w 81037"/>
                <a:gd name="connsiteY20" fmla="*/ 60778 h 81037"/>
                <a:gd name="connsiteX21" fmla="*/ 44197 w 81037"/>
                <a:gd name="connsiteY21" fmla="*/ 62212 h 81037"/>
                <a:gd name="connsiteX22" fmla="*/ 29548 w 81037"/>
                <a:gd name="connsiteY22" fmla="*/ 57101 h 81037"/>
                <a:gd name="connsiteX23" fmla="*/ 24311 w 81037"/>
                <a:gd name="connsiteY23" fmla="*/ 43199 h 81037"/>
                <a:gd name="connsiteX24" fmla="*/ 29672 w 81037"/>
                <a:gd name="connsiteY24" fmla="*/ 29361 h 81037"/>
                <a:gd name="connsiteX25" fmla="*/ 44134 w 81037"/>
                <a:gd name="connsiteY25" fmla="*/ 24187 h 81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1037" h="81037">
                  <a:moveTo>
                    <a:pt x="44134" y="0"/>
                  </a:moveTo>
                  <a:cubicBezTo>
                    <a:pt x="30981" y="0"/>
                    <a:pt x="20322" y="4177"/>
                    <a:pt x="12218" y="12530"/>
                  </a:cubicBezTo>
                  <a:cubicBezTo>
                    <a:pt x="4114" y="20883"/>
                    <a:pt x="0" y="31168"/>
                    <a:pt x="0" y="43262"/>
                  </a:cubicBezTo>
                  <a:cubicBezTo>
                    <a:pt x="0" y="55604"/>
                    <a:pt x="4052" y="65952"/>
                    <a:pt x="12218" y="74181"/>
                  </a:cubicBezTo>
                  <a:cubicBezTo>
                    <a:pt x="20322" y="82409"/>
                    <a:pt x="30981" y="86524"/>
                    <a:pt x="44134" y="86524"/>
                  </a:cubicBezTo>
                  <a:cubicBezTo>
                    <a:pt x="50306" y="86524"/>
                    <a:pt x="56041" y="85401"/>
                    <a:pt x="61339" y="83220"/>
                  </a:cubicBezTo>
                  <a:cubicBezTo>
                    <a:pt x="66638" y="81038"/>
                    <a:pt x="71126" y="77983"/>
                    <a:pt x="74867" y="74119"/>
                  </a:cubicBezTo>
                  <a:cubicBezTo>
                    <a:pt x="78607" y="70254"/>
                    <a:pt x="81599" y="65703"/>
                    <a:pt x="83781" y="60404"/>
                  </a:cubicBezTo>
                  <a:cubicBezTo>
                    <a:pt x="85963" y="55106"/>
                    <a:pt x="87085" y="49371"/>
                    <a:pt x="87085" y="43199"/>
                  </a:cubicBezTo>
                  <a:cubicBezTo>
                    <a:pt x="87085" y="37277"/>
                    <a:pt x="85963" y="31667"/>
                    <a:pt x="83781" y="26368"/>
                  </a:cubicBezTo>
                  <a:cubicBezTo>
                    <a:pt x="81599" y="21070"/>
                    <a:pt x="78607" y="16519"/>
                    <a:pt x="74867" y="12654"/>
                  </a:cubicBezTo>
                  <a:cubicBezTo>
                    <a:pt x="71126" y="8789"/>
                    <a:pt x="66576" y="5673"/>
                    <a:pt x="61339" y="3366"/>
                  </a:cubicBezTo>
                  <a:cubicBezTo>
                    <a:pt x="56103" y="1122"/>
                    <a:pt x="50306" y="0"/>
                    <a:pt x="44134" y="0"/>
                  </a:cubicBezTo>
                  <a:moveTo>
                    <a:pt x="44134" y="24187"/>
                  </a:moveTo>
                  <a:cubicBezTo>
                    <a:pt x="47002" y="24187"/>
                    <a:pt x="49433" y="24623"/>
                    <a:pt x="51615" y="25620"/>
                  </a:cubicBezTo>
                  <a:cubicBezTo>
                    <a:pt x="53984" y="26680"/>
                    <a:pt x="55916" y="27927"/>
                    <a:pt x="57475" y="29548"/>
                  </a:cubicBezTo>
                  <a:cubicBezTo>
                    <a:pt x="59095" y="31231"/>
                    <a:pt x="60342" y="33226"/>
                    <a:pt x="61402" y="35657"/>
                  </a:cubicBezTo>
                  <a:cubicBezTo>
                    <a:pt x="62399" y="38025"/>
                    <a:pt x="62836" y="40457"/>
                    <a:pt x="62836" y="43199"/>
                  </a:cubicBezTo>
                  <a:cubicBezTo>
                    <a:pt x="62836" y="46192"/>
                    <a:pt x="62337" y="48810"/>
                    <a:pt x="61402" y="51116"/>
                  </a:cubicBezTo>
                  <a:cubicBezTo>
                    <a:pt x="60404" y="53547"/>
                    <a:pt x="59095" y="55542"/>
                    <a:pt x="57475" y="57225"/>
                  </a:cubicBezTo>
                  <a:cubicBezTo>
                    <a:pt x="56041" y="58721"/>
                    <a:pt x="54295" y="59843"/>
                    <a:pt x="52114" y="60778"/>
                  </a:cubicBezTo>
                  <a:cubicBezTo>
                    <a:pt x="49745" y="61776"/>
                    <a:pt x="47189" y="62212"/>
                    <a:pt x="44197" y="62212"/>
                  </a:cubicBezTo>
                  <a:cubicBezTo>
                    <a:pt x="35719" y="62212"/>
                    <a:pt x="31916" y="59469"/>
                    <a:pt x="29548" y="57101"/>
                  </a:cubicBezTo>
                  <a:cubicBezTo>
                    <a:pt x="25870" y="53423"/>
                    <a:pt x="24311" y="49246"/>
                    <a:pt x="24311" y="43199"/>
                  </a:cubicBezTo>
                  <a:cubicBezTo>
                    <a:pt x="24311" y="37340"/>
                    <a:pt x="25932" y="33226"/>
                    <a:pt x="29672" y="29361"/>
                  </a:cubicBezTo>
                  <a:cubicBezTo>
                    <a:pt x="31979" y="26992"/>
                    <a:pt x="35719" y="24187"/>
                    <a:pt x="44134" y="24187"/>
                  </a:cubicBezTo>
                </a:path>
              </a:pathLst>
            </a:custGeom>
            <a:solidFill>
              <a:schemeClr val="accent1"/>
            </a:solidFill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CC55F54-E388-48E3-B002-64D423EF19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588" y="1932524"/>
            <a:ext cx="4572000" cy="1296007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38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05AAE322-0B8D-4979-9C9E-837A40D7D7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8" y="3362932"/>
            <a:ext cx="4572000" cy="558770"/>
          </a:xfrm>
          <a:prstGeom prst="rect">
            <a:avLst/>
          </a:prstGeom>
        </p:spPr>
        <p:txBody>
          <a:bodyPr/>
          <a:lstStyle>
            <a:lvl1pPr>
              <a:defRPr sz="1600" b="0" i="0" cap="all" baseline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AD92E3B-EDA0-FD4B-9340-6C4E2FC7353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62524" y="1548383"/>
            <a:ext cx="6294288" cy="52572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6347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5" name="Freeform: Shape 3684">
            <a:extLst>
              <a:ext uri="{FF2B5EF4-FFF2-40B4-BE49-F238E27FC236}">
                <a16:creationId xmlns:a16="http://schemas.microsoft.com/office/drawing/2014/main" id="{494A87DA-98F0-4167-893F-F4FF43DA4674}"/>
              </a:ext>
            </a:extLst>
          </p:cNvPr>
          <p:cNvSpPr/>
          <p:nvPr/>
        </p:nvSpPr>
        <p:spPr>
          <a:xfrm>
            <a:off x="97201" y="54440"/>
            <a:ext cx="10505529" cy="7458372"/>
          </a:xfrm>
          <a:custGeom>
            <a:avLst/>
            <a:gdLst>
              <a:gd name="connsiteX0" fmla="*/ 10475977 w 10505529"/>
              <a:gd name="connsiteY0" fmla="*/ 7415641 h 7458372"/>
              <a:gd name="connsiteX1" fmla="*/ 10465992 w 10505529"/>
              <a:gd name="connsiteY1" fmla="*/ 7419236 h 7458372"/>
              <a:gd name="connsiteX2" fmla="*/ 10462399 w 10505529"/>
              <a:gd name="connsiteY2" fmla="*/ 7428687 h 7458372"/>
              <a:gd name="connsiteX3" fmla="*/ 10465992 w 10505529"/>
              <a:gd name="connsiteY3" fmla="*/ 7438138 h 7458372"/>
              <a:gd name="connsiteX4" fmla="*/ 10475977 w 10505529"/>
              <a:gd name="connsiteY4" fmla="*/ 7441732 h 7458372"/>
              <a:gd name="connsiteX5" fmla="*/ 10481302 w 10505529"/>
              <a:gd name="connsiteY5" fmla="*/ 7440535 h 7458372"/>
              <a:gd name="connsiteX6" fmla="*/ 10485029 w 10505529"/>
              <a:gd name="connsiteY6" fmla="*/ 7438138 h 7458372"/>
              <a:gd name="connsiteX7" fmla="*/ 10487691 w 10505529"/>
              <a:gd name="connsiteY7" fmla="*/ 7434011 h 7458372"/>
              <a:gd name="connsiteX8" fmla="*/ 10488623 w 10505529"/>
              <a:gd name="connsiteY8" fmla="*/ 7428554 h 7458372"/>
              <a:gd name="connsiteX9" fmla="*/ 10487691 w 10505529"/>
              <a:gd name="connsiteY9" fmla="*/ 7423362 h 7458372"/>
              <a:gd name="connsiteX10" fmla="*/ 10485029 w 10505529"/>
              <a:gd name="connsiteY10" fmla="*/ 7419236 h 7458372"/>
              <a:gd name="connsiteX11" fmla="*/ 10481035 w 10505529"/>
              <a:gd name="connsiteY11" fmla="*/ 7416573 h 7458372"/>
              <a:gd name="connsiteX12" fmla="*/ 10475977 w 10505529"/>
              <a:gd name="connsiteY12" fmla="*/ 7415641 h 7458372"/>
              <a:gd name="connsiteX13" fmla="*/ 10258466 w 10505529"/>
              <a:gd name="connsiteY13" fmla="*/ 7415641 h 7458372"/>
              <a:gd name="connsiteX14" fmla="*/ 10248481 w 10505529"/>
              <a:gd name="connsiteY14" fmla="*/ 7419236 h 7458372"/>
              <a:gd name="connsiteX15" fmla="*/ 10244887 w 10505529"/>
              <a:gd name="connsiteY15" fmla="*/ 7428687 h 7458372"/>
              <a:gd name="connsiteX16" fmla="*/ 10248481 w 10505529"/>
              <a:gd name="connsiteY16" fmla="*/ 7438138 h 7458372"/>
              <a:gd name="connsiteX17" fmla="*/ 10258466 w 10505529"/>
              <a:gd name="connsiteY17" fmla="*/ 7441732 h 7458372"/>
              <a:gd name="connsiteX18" fmla="*/ 10263790 w 10505529"/>
              <a:gd name="connsiteY18" fmla="*/ 7440535 h 7458372"/>
              <a:gd name="connsiteX19" fmla="*/ 10267517 w 10505529"/>
              <a:gd name="connsiteY19" fmla="*/ 7438138 h 7458372"/>
              <a:gd name="connsiteX20" fmla="*/ 10270180 w 10505529"/>
              <a:gd name="connsiteY20" fmla="*/ 7434011 h 7458372"/>
              <a:gd name="connsiteX21" fmla="*/ 10271112 w 10505529"/>
              <a:gd name="connsiteY21" fmla="*/ 7428554 h 7458372"/>
              <a:gd name="connsiteX22" fmla="*/ 10270180 w 10505529"/>
              <a:gd name="connsiteY22" fmla="*/ 7423362 h 7458372"/>
              <a:gd name="connsiteX23" fmla="*/ 10267517 w 10505529"/>
              <a:gd name="connsiteY23" fmla="*/ 7419236 h 7458372"/>
              <a:gd name="connsiteX24" fmla="*/ 10263524 w 10505529"/>
              <a:gd name="connsiteY24" fmla="*/ 7416573 h 7458372"/>
              <a:gd name="connsiteX25" fmla="*/ 10258466 w 10505529"/>
              <a:gd name="connsiteY25" fmla="*/ 7415641 h 7458372"/>
              <a:gd name="connsiteX26" fmla="*/ 10040820 w 10505529"/>
              <a:gd name="connsiteY26" fmla="*/ 7415641 h 7458372"/>
              <a:gd name="connsiteX27" fmla="*/ 10030835 w 10505529"/>
              <a:gd name="connsiteY27" fmla="*/ 7419236 h 7458372"/>
              <a:gd name="connsiteX28" fmla="*/ 10027242 w 10505529"/>
              <a:gd name="connsiteY28" fmla="*/ 7428687 h 7458372"/>
              <a:gd name="connsiteX29" fmla="*/ 10030835 w 10505529"/>
              <a:gd name="connsiteY29" fmla="*/ 7438138 h 7458372"/>
              <a:gd name="connsiteX30" fmla="*/ 10040820 w 10505529"/>
              <a:gd name="connsiteY30" fmla="*/ 7441732 h 7458372"/>
              <a:gd name="connsiteX31" fmla="*/ 10046145 w 10505529"/>
              <a:gd name="connsiteY31" fmla="*/ 7440535 h 7458372"/>
              <a:gd name="connsiteX32" fmla="*/ 10049872 w 10505529"/>
              <a:gd name="connsiteY32" fmla="*/ 7438138 h 7458372"/>
              <a:gd name="connsiteX33" fmla="*/ 10052534 w 10505529"/>
              <a:gd name="connsiteY33" fmla="*/ 7434011 h 7458372"/>
              <a:gd name="connsiteX34" fmla="*/ 10053599 w 10505529"/>
              <a:gd name="connsiteY34" fmla="*/ 7428554 h 7458372"/>
              <a:gd name="connsiteX35" fmla="*/ 10052534 w 10505529"/>
              <a:gd name="connsiteY35" fmla="*/ 7423362 h 7458372"/>
              <a:gd name="connsiteX36" fmla="*/ 10049872 w 10505529"/>
              <a:gd name="connsiteY36" fmla="*/ 7419236 h 7458372"/>
              <a:gd name="connsiteX37" fmla="*/ 10045878 w 10505529"/>
              <a:gd name="connsiteY37" fmla="*/ 7416573 h 7458372"/>
              <a:gd name="connsiteX38" fmla="*/ 10040820 w 10505529"/>
              <a:gd name="connsiteY38" fmla="*/ 7415641 h 7458372"/>
              <a:gd name="connsiteX39" fmla="*/ 9823176 w 10505529"/>
              <a:gd name="connsiteY39" fmla="*/ 7415641 h 7458372"/>
              <a:gd name="connsiteX40" fmla="*/ 9813191 w 10505529"/>
              <a:gd name="connsiteY40" fmla="*/ 7419236 h 7458372"/>
              <a:gd name="connsiteX41" fmla="*/ 9809597 w 10505529"/>
              <a:gd name="connsiteY41" fmla="*/ 7428687 h 7458372"/>
              <a:gd name="connsiteX42" fmla="*/ 9813191 w 10505529"/>
              <a:gd name="connsiteY42" fmla="*/ 7438138 h 7458372"/>
              <a:gd name="connsiteX43" fmla="*/ 9823176 w 10505529"/>
              <a:gd name="connsiteY43" fmla="*/ 7441732 h 7458372"/>
              <a:gd name="connsiteX44" fmla="*/ 9828501 w 10505529"/>
              <a:gd name="connsiteY44" fmla="*/ 7440535 h 7458372"/>
              <a:gd name="connsiteX45" fmla="*/ 9832227 w 10505529"/>
              <a:gd name="connsiteY45" fmla="*/ 7438138 h 7458372"/>
              <a:gd name="connsiteX46" fmla="*/ 9834890 w 10505529"/>
              <a:gd name="connsiteY46" fmla="*/ 7434011 h 7458372"/>
              <a:gd name="connsiteX47" fmla="*/ 9835955 w 10505529"/>
              <a:gd name="connsiteY47" fmla="*/ 7428554 h 7458372"/>
              <a:gd name="connsiteX48" fmla="*/ 9834890 w 10505529"/>
              <a:gd name="connsiteY48" fmla="*/ 7423362 h 7458372"/>
              <a:gd name="connsiteX49" fmla="*/ 9832227 w 10505529"/>
              <a:gd name="connsiteY49" fmla="*/ 7419236 h 7458372"/>
              <a:gd name="connsiteX50" fmla="*/ 9828234 w 10505529"/>
              <a:gd name="connsiteY50" fmla="*/ 7416573 h 7458372"/>
              <a:gd name="connsiteX51" fmla="*/ 9823176 w 10505529"/>
              <a:gd name="connsiteY51" fmla="*/ 7415641 h 7458372"/>
              <a:gd name="connsiteX52" fmla="*/ 9605531 w 10505529"/>
              <a:gd name="connsiteY52" fmla="*/ 7415641 h 7458372"/>
              <a:gd name="connsiteX53" fmla="*/ 9595546 w 10505529"/>
              <a:gd name="connsiteY53" fmla="*/ 7419236 h 7458372"/>
              <a:gd name="connsiteX54" fmla="*/ 9591952 w 10505529"/>
              <a:gd name="connsiteY54" fmla="*/ 7428687 h 7458372"/>
              <a:gd name="connsiteX55" fmla="*/ 9595546 w 10505529"/>
              <a:gd name="connsiteY55" fmla="*/ 7438138 h 7458372"/>
              <a:gd name="connsiteX56" fmla="*/ 9605531 w 10505529"/>
              <a:gd name="connsiteY56" fmla="*/ 7441732 h 7458372"/>
              <a:gd name="connsiteX57" fmla="*/ 9610855 w 10505529"/>
              <a:gd name="connsiteY57" fmla="*/ 7440535 h 7458372"/>
              <a:gd name="connsiteX58" fmla="*/ 9614582 w 10505529"/>
              <a:gd name="connsiteY58" fmla="*/ 7438138 h 7458372"/>
              <a:gd name="connsiteX59" fmla="*/ 9617245 w 10505529"/>
              <a:gd name="connsiteY59" fmla="*/ 7434011 h 7458372"/>
              <a:gd name="connsiteX60" fmla="*/ 9618309 w 10505529"/>
              <a:gd name="connsiteY60" fmla="*/ 7428554 h 7458372"/>
              <a:gd name="connsiteX61" fmla="*/ 9617245 w 10505529"/>
              <a:gd name="connsiteY61" fmla="*/ 7423362 h 7458372"/>
              <a:gd name="connsiteX62" fmla="*/ 9614582 w 10505529"/>
              <a:gd name="connsiteY62" fmla="*/ 7419236 h 7458372"/>
              <a:gd name="connsiteX63" fmla="*/ 9610589 w 10505529"/>
              <a:gd name="connsiteY63" fmla="*/ 7416573 h 7458372"/>
              <a:gd name="connsiteX64" fmla="*/ 9605531 w 10505529"/>
              <a:gd name="connsiteY64" fmla="*/ 7415641 h 7458372"/>
              <a:gd name="connsiteX65" fmla="*/ 9387885 w 10505529"/>
              <a:gd name="connsiteY65" fmla="*/ 7415641 h 7458372"/>
              <a:gd name="connsiteX66" fmla="*/ 9377900 w 10505529"/>
              <a:gd name="connsiteY66" fmla="*/ 7419236 h 7458372"/>
              <a:gd name="connsiteX67" fmla="*/ 9374307 w 10505529"/>
              <a:gd name="connsiteY67" fmla="*/ 7428687 h 7458372"/>
              <a:gd name="connsiteX68" fmla="*/ 9377900 w 10505529"/>
              <a:gd name="connsiteY68" fmla="*/ 7438138 h 7458372"/>
              <a:gd name="connsiteX69" fmla="*/ 9387885 w 10505529"/>
              <a:gd name="connsiteY69" fmla="*/ 7441732 h 7458372"/>
              <a:gd name="connsiteX70" fmla="*/ 9393210 w 10505529"/>
              <a:gd name="connsiteY70" fmla="*/ 7440535 h 7458372"/>
              <a:gd name="connsiteX71" fmla="*/ 9396937 w 10505529"/>
              <a:gd name="connsiteY71" fmla="*/ 7438138 h 7458372"/>
              <a:gd name="connsiteX72" fmla="*/ 9399599 w 10505529"/>
              <a:gd name="connsiteY72" fmla="*/ 7434011 h 7458372"/>
              <a:gd name="connsiteX73" fmla="*/ 9400664 w 10505529"/>
              <a:gd name="connsiteY73" fmla="*/ 7428554 h 7458372"/>
              <a:gd name="connsiteX74" fmla="*/ 9399599 w 10505529"/>
              <a:gd name="connsiteY74" fmla="*/ 7423362 h 7458372"/>
              <a:gd name="connsiteX75" fmla="*/ 9396937 w 10505529"/>
              <a:gd name="connsiteY75" fmla="*/ 7419236 h 7458372"/>
              <a:gd name="connsiteX76" fmla="*/ 9392943 w 10505529"/>
              <a:gd name="connsiteY76" fmla="*/ 7416573 h 7458372"/>
              <a:gd name="connsiteX77" fmla="*/ 9387885 w 10505529"/>
              <a:gd name="connsiteY77" fmla="*/ 7415641 h 7458372"/>
              <a:gd name="connsiteX78" fmla="*/ 9170374 w 10505529"/>
              <a:gd name="connsiteY78" fmla="*/ 7415641 h 7458372"/>
              <a:gd name="connsiteX79" fmla="*/ 9160389 w 10505529"/>
              <a:gd name="connsiteY79" fmla="*/ 7419236 h 7458372"/>
              <a:gd name="connsiteX80" fmla="*/ 9156795 w 10505529"/>
              <a:gd name="connsiteY80" fmla="*/ 7428687 h 7458372"/>
              <a:gd name="connsiteX81" fmla="*/ 9160389 w 10505529"/>
              <a:gd name="connsiteY81" fmla="*/ 7438138 h 7458372"/>
              <a:gd name="connsiteX82" fmla="*/ 9170374 w 10505529"/>
              <a:gd name="connsiteY82" fmla="*/ 7441732 h 7458372"/>
              <a:gd name="connsiteX83" fmla="*/ 9175698 w 10505529"/>
              <a:gd name="connsiteY83" fmla="*/ 7440535 h 7458372"/>
              <a:gd name="connsiteX84" fmla="*/ 9179425 w 10505529"/>
              <a:gd name="connsiteY84" fmla="*/ 7438138 h 7458372"/>
              <a:gd name="connsiteX85" fmla="*/ 9182088 w 10505529"/>
              <a:gd name="connsiteY85" fmla="*/ 7434011 h 7458372"/>
              <a:gd name="connsiteX86" fmla="*/ 9183152 w 10505529"/>
              <a:gd name="connsiteY86" fmla="*/ 7428554 h 7458372"/>
              <a:gd name="connsiteX87" fmla="*/ 9182088 w 10505529"/>
              <a:gd name="connsiteY87" fmla="*/ 7423362 h 7458372"/>
              <a:gd name="connsiteX88" fmla="*/ 9179425 w 10505529"/>
              <a:gd name="connsiteY88" fmla="*/ 7419236 h 7458372"/>
              <a:gd name="connsiteX89" fmla="*/ 9175432 w 10505529"/>
              <a:gd name="connsiteY89" fmla="*/ 7416573 h 7458372"/>
              <a:gd name="connsiteX90" fmla="*/ 9170374 w 10505529"/>
              <a:gd name="connsiteY90" fmla="*/ 7415641 h 7458372"/>
              <a:gd name="connsiteX91" fmla="*/ 8952728 w 10505529"/>
              <a:gd name="connsiteY91" fmla="*/ 7415641 h 7458372"/>
              <a:gd name="connsiteX92" fmla="*/ 8942743 w 10505529"/>
              <a:gd name="connsiteY92" fmla="*/ 7419236 h 7458372"/>
              <a:gd name="connsiteX93" fmla="*/ 8939150 w 10505529"/>
              <a:gd name="connsiteY93" fmla="*/ 7428687 h 7458372"/>
              <a:gd name="connsiteX94" fmla="*/ 8942743 w 10505529"/>
              <a:gd name="connsiteY94" fmla="*/ 7438138 h 7458372"/>
              <a:gd name="connsiteX95" fmla="*/ 8952728 w 10505529"/>
              <a:gd name="connsiteY95" fmla="*/ 7441732 h 7458372"/>
              <a:gd name="connsiteX96" fmla="*/ 8958053 w 10505529"/>
              <a:gd name="connsiteY96" fmla="*/ 7440535 h 7458372"/>
              <a:gd name="connsiteX97" fmla="*/ 8961780 w 10505529"/>
              <a:gd name="connsiteY97" fmla="*/ 7438138 h 7458372"/>
              <a:gd name="connsiteX98" fmla="*/ 8964442 w 10505529"/>
              <a:gd name="connsiteY98" fmla="*/ 7434011 h 7458372"/>
              <a:gd name="connsiteX99" fmla="*/ 8965507 w 10505529"/>
              <a:gd name="connsiteY99" fmla="*/ 7428554 h 7458372"/>
              <a:gd name="connsiteX100" fmla="*/ 8964442 w 10505529"/>
              <a:gd name="connsiteY100" fmla="*/ 7423362 h 7458372"/>
              <a:gd name="connsiteX101" fmla="*/ 8961780 w 10505529"/>
              <a:gd name="connsiteY101" fmla="*/ 7419236 h 7458372"/>
              <a:gd name="connsiteX102" fmla="*/ 8957786 w 10505529"/>
              <a:gd name="connsiteY102" fmla="*/ 7416573 h 7458372"/>
              <a:gd name="connsiteX103" fmla="*/ 8952728 w 10505529"/>
              <a:gd name="connsiteY103" fmla="*/ 7415641 h 7458372"/>
              <a:gd name="connsiteX104" fmla="*/ 8735083 w 10505529"/>
              <a:gd name="connsiteY104" fmla="*/ 7415641 h 7458372"/>
              <a:gd name="connsiteX105" fmla="*/ 8725098 w 10505529"/>
              <a:gd name="connsiteY105" fmla="*/ 7419236 h 7458372"/>
              <a:gd name="connsiteX106" fmla="*/ 8721504 w 10505529"/>
              <a:gd name="connsiteY106" fmla="*/ 7428687 h 7458372"/>
              <a:gd name="connsiteX107" fmla="*/ 8725098 w 10505529"/>
              <a:gd name="connsiteY107" fmla="*/ 7438138 h 7458372"/>
              <a:gd name="connsiteX108" fmla="*/ 8735083 w 10505529"/>
              <a:gd name="connsiteY108" fmla="*/ 7441732 h 7458372"/>
              <a:gd name="connsiteX109" fmla="*/ 8740407 w 10505529"/>
              <a:gd name="connsiteY109" fmla="*/ 7440535 h 7458372"/>
              <a:gd name="connsiteX110" fmla="*/ 8744134 w 10505529"/>
              <a:gd name="connsiteY110" fmla="*/ 7438138 h 7458372"/>
              <a:gd name="connsiteX111" fmla="*/ 8746797 w 10505529"/>
              <a:gd name="connsiteY111" fmla="*/ 7434011 h 7458372"/>
              <a:gd name="connsiteX112" fmla="*/ 8747862 w 10505529"/>
              <a:gd name="connsiteY112" fmla="*/ 7428554 h 7458372"/>
              <a:gd name="connsiteX113" fmla="*/ 8746797 w 10505529"/>
              <a:gd name="connsiteY113" fmla="*/ 7423362 h 7458372"/>
              <a:gd name="connsiteX114" fmla="*/ 8744134 w 10505529"/>
              <a:gd name="connsiteY114" fmla="*/ 7419236 h 7458372"/>
              <a:gd name="connsiteX115" fmla="*/ 8740141 w 10505529"/>
              <a:gd name="connsiteY115" fmla="*/ 7416573 h 7458372"/>
              <a:gd name="connsiteX116" fmla="*/ 8735083 w 10505529"/>
              <a:gd name="connsiteY116" fmla="*/ 7415641 h 7458372"/>
              <a:gd name="connsiteX117" fmla="*/ 8517438 w 10505529"/>
              <a:gd name="connsiteY117" fmla="*/ 7415641 h 7458372"/>
              <a:gd name="connsiteX118" fmla="*/ 8507453 w 10505529"/>
              <a:gd name="connsiteY118" fmla="*/ 7419236 h 7458372"/>
              <a:gd name="connsiteX119" fmla="*/ 8503860 w 10505529"/>
              <a:gd name="connsiteY119" fmla="*/ 7428687 h 7458372"/>
              <a:gd name="connsiteX120" fmla="*/ 8507453 w 10505529"/>
              <a:gd name="connsiteY120" fmla="*/ 7438138 h 7458372"/>
              <a:gd name="connsiteX121" fmla="*/ 8517438 w 10505529"/>
              <a:gd name="connsiteY121" fmla="*/ 7441732 h 7458372"/>
              <a:gd name="connsiteX122" fmla="*/ 8522763 w 10505529"/>
              <a:gd name="connsiteY122" fmla="*/ 7440535 h 7458372"/>
              <a:gd name="connsiteX123" fmla="*/ 8526490 w 10505529"/>
              <a:gd name="connsiteY123" fmla="*/ 7438138 h 7458372"/>
              <a:gd name="connsiteX124" fmla="*/ 8529152 w 10505529"/>
              <a:gd name="connsiteY124" fmla="*/ 7434011 h 7458372"/>
              <a:gd name="connsiteX125" fmla="*/ 8530084 w 10505529"/>
              <a:gd name="connsiteY125" fmla="*/ 7428554 h 7458372"/>
              <a:gd name="connsiteX126" fmla="*/ 8529152 w 10505529"/>
              <a:gd name="connsiteY126" fmla="*/ 7423362 h 7458372"/>
              <a:gd name="connsiteX127" fmla="*/ 8526490 w 10505529"/>
              <a:gd name="connsiteY127" fmla="*/ 7419236 h 7458372"/>
              <a:gd name="connsiteX128" fmla="*/ 8522496 w 10505529"/>
              <a:gd name="connsiteY128" fmla="*/ 7416573 h 7458372"/>
              <a:gd name="connsiteX129" fmla="*/ 8517438 w 10505529"/>
              <a:gd name="connsiteY129" fmla="*/ 7415641 h 7458372"/>
              <a:gd name="connsiteX130" fmla="*/ 8299793 w 10505529"/>
              <a:gd name="connsiteY130" fmla="*/ 7415641 h 7458372"/>
              <a:gd name="connsiteX131" fmla="*/ 8289809 w 10505529"/>
              <a:gd name="connsiteY131" fmla="*/ 7419236 h 7458372"/>
              <a:gd name="connsiteX132" fmla="*/ 8286215 w 10505529"/>
              <a:gd name="connsiteY132" fmla="*/ 7428687 h 7458372"/>
              <a:gd name="connsiteX133" fmla="*/ 8289809 w 10505529"/>
              <a:gd name="connsiteY133" fmla="*/ 7438138 h 7458372"/>
              <a:gd name="connsiteX134" fmla="*/ 8299793 w 10505529"/>
              <a:gd name="connsiteY134" fmla="*/ 7441732 h 7458372"/>
              <a:gd name="connsiteX135" fmla="*/ 8305118 w 10505529"/>
              <a:gd name="connsiteY135" fmla="*/ 7440535 h 7458372"/>
              <a:gd name="connsiteX136" fmla="*/ 8308844 w 10505529"/>
              <a:gd name="connsiteY136" fmla="*/ 7438138 h 7458372"/>
              <a:gd name="connsiteX137" fmla="*/ 8311507 w 10505529"/>
              <a:gd name="connsiteY137" fmla="*/ 7434011 h 7458372"/>
              <a:gd name="connsiteX138" fmla="*/ 8312439 w 10505529"/>
              <a:gd name="connsiteY138" fmla="*/ 7428554 h 7458372"/>
              <a:gd name="connsiteX139" fmla="*/ 8311507 w 10505529"/>
              <a:gd name="connsiteY139" fmla="*/ 7423362 h 7458372"/>
              <a:gd name="connsiteX140" fmla="*/ 8308844 w 10505529"/>
              <a:gd name="connsiteY140" fmla="*/ 7419236 h 7458372"/>
              <a:gd name="connsiteX141" fmla="*/ 8304851 w 10505529"/>
              <a:gd name="connsiteY141" fmla="*/ 7416573 h 7458372"/>
              <a:gd name="connsiteX142" fmla="*/ 8299793 w 10505529"/>
              <a:gd name="connsiteY142" fmla="*/ 7415641 h 7458372"/>
              <a:gd name="connsiteX143" fmla="*/ 8082281 w 10505529"/>
              <a:gd name="connsiteY143" fmla="*/ 7415641 h 7458372"/>
              <a:gd name="connsiteX144" fmla="*/ 8072297 w 10505529"/>
              <a:gd name="connsiteY144" fmla="*/ 7419236 h 7458372"/>
              <a:gd name="connsiteX145" fmla="*/ 8068703 w 10505529"/>
              <a:gd name="connsiteY145" fmla="*/ 7428687 h 7458372"/>
              <a:gd name="connsiteX146" fmla="*/ 8072297 w 10505529"/>
              <a:gd name="connsiteY146" fmla="*/ 7438138 h 7458372"/>
              <a:gd name="connsiteX147" fmla="*/ 8082281 w 10505529"/>
              <a:gd name="connsiteY147" fmla="*/ 7441732 h 7458372"/>
              <a:gd name="connsiteX148" fmla="*/ 8087605 w 10505529"/>
              <a:gd name="connsiteY148" fmla="*/ 7440535 h 7458372"/>
              <a:gd name="connsiteX149" fmla="*/ 8091332 w 10505529"/>
              <a:gd name="connsiteY149" fmla="*/ 7438138 h 7458372"/>
              <a:gd name="connsiteX150" fmla="*/ 8093994 w 10505529"/>
              <a:gd name="connsiteY150" fmla="*/ 7434011 h 7458372"/>
              <a:gd name="connsiteX151" fmla="*/ 8094926 w 10505529"/>
              <a:gd name="connsiteY151" fmla="*/ 7428554 h 7458372"/>
              <a:gd name="connsiteX152" fmla="*/ 8093994 w 10505529"/>
              <a:gd name="connsiteY152" fmla="*/ 7423362 h 7458372"/>
              <a:gd name="connsiteX153" fmla="*/ 8091332 w 10505529"/>
              <a:gd name="connsiteY153" fmla="*/ 7419236 h 7458372"/>
              <a:gd name="connsiteX154" fmla="*/ 8087338 w 10505529"/>
              <a:gd name="connsiteY154" fmla="*/ 7416573 h 7458372"/>
              <a:gd name="connsiteX155" fmla="*/ 8082281 w 10505529"/>
              <a:gd name="connsiteY155" fmla="*/ 7415641 h 7458372"/>
              <a:gd name="connsiteX156" fmla="*/ 7864636 w 10505529"/>
              <a:gd name="connsiteY156" fmla="*/ 7415641 h 7458372"/>
              <a:gd name="connsiteX157" fmla="*/ 7854652 w 10505529"/>
              <a:gd name="connsiteY157" fmla="*/ 7419236 h 7458372"/>
              <a:gd name="connsiteX158" fmla="*/ 7851058 w 10505529"/>
              <a:gd name="connsiteY158" fmla="*/ 7428687 h 7458372"/>
              <a:gd name="connsiteX159" fmla="*/ 7854652 w 10505529"/>
              <a:gd name="connsiteY159" fmla="*/ 7438138 h 7458372"/>
              <a:gd name="connsiteX160" fmla="*/ 7864636 w 10505529"/>
              <a:gd name="connsiteY160" fmla="*/ 7441732 h 7458372"/>
              <a:gd name="connsiteX161" fmla="*/ 7869961 w 10505529"/>
              <a:gd name="connsiteY161" fmla="*/ 7440535 h 7458372"/>
              <a:gd name="connsiteX162" fmla="*/ 7873687 w 10505529"/>
              <a:gd name="connsiteY162" fmla="*/ 7438138 h 7458372"/>
              <a:gd name="connsiteX163" fmla="*/ 7876350 w 10505529"/>
              <a:gd name="connsiteY163" fmla="*/ 7434011 h 7458372"/>
              <a:gd name="connsiteX164" fmla="*/ 7877282 w 10505529"/>
              <a:gd name="connsiteY164" fmla="*/ 7428554 h 7458372"/>
              <a:gd name="connsiteX165" fmla="*/ 7876350 w 10505529"/>
              <a:gd name="connsiteY165" fmla="*/ 7423362 h 7458372"/>
              <a:gd name="connsiteX166" fmla="*/ 7873687 w 10505529"/>
              <a:gd name="connsiteY166" fmla="*/ 7419236 h 7458372"/>
              <a:gd name="connsiteX167" fmla="*/ 7869694 w 10505529"/>
              <a:gd name="connsiteY167" fmla="*/ 7416573 h 7458372"/>
              <a:gd name="connsiteX168" fmla="*/ 7864636 w 10505529"/>
              <a:gd name="connsiteY168" fmla="*/ 7415641 h 7458372"/>
              <a:gd name="connsiteX169" fmla="*/ 7646991 w 10505529"/>
              <a:gd name="connsiteY169" fmla="*/ 7415641 h 7458372"/>
              <a:gd name="connsiteX170" fmla="*/ 7637007 w 10505529"/>
              <a:gd name="connsiteY170" fmla="*/ 7419236 h 7458372"/>
              <a:gd name="connsiteX171" fmla="*/ 7633413 w 10505529"/>
              <a:gd name="connsiteY171" fmla="*/ 7428687 h 7458372"/>
              <a:gd name="connsiteX172" fmla="*/ 7637007 w 10505529"/>
              <a:gd name="connsiteY172" fmla="*/ 7438138 h 7458372"/>
              <a:gd name="connsiteX173" fmla="*/ 7646991 w 10505529"/>
              <a:gd name="connsiteY173" fmla="*/ 7441732 h 7458372"/>
              <a:gd name="connsiteX174" fmla="*/ 7652315 w 10505529"/>
              <a:gd name="connsiteY174" fmla="*/ 7440535 h 7458372"/>
              <a:gd name="connsiteX175" fmla="*/ 7656042 w 10505529"/>
              <a:gd name="connsiteY175" fmla="*/ 7438138 h 7458372"/>
              <a:gd name="connsiteX176" fmla="*/ 7658705 w 10505529"/>
              <a:gd name="connsiteY176" fmla="*/ 7434011 h 7458372"/>
              <a:gd name="connsiteX177" fmla="*/ 7659769 w 10505529"/>
              <a:gd name="connsiteY177" fmla="*/ 7428554 h 7458372"/>
              <a:gd name="connsiteX178" fmla="*/ 7658705 w 10505529"/>
              <a:gd name="connsiteY178" fmla="*/ 7423362 h 7458372"/>
              <a:gd name="connsiteX179" fmla="*/ 7656042 w 10505529"/>
              <a:gd name="connsiteY179" fmla="*/ 7419236 h 7458372"/>
              <a:gd name="connsiteX180" fmla="*/ 7652049 w 10505529"/>
              <a:gd name="connsiteY180" fmla="*/ 7416573 h 7458372"/>
              <a:gd name="connsiteX181" fmla="*/ 7646991 w 10505529"/>
              <a:gd name="connsiteY181" fmla="*/ 7415641 h 7458372"/>
              <a:gd name="connsiteX182" fmla="*/ 7429345 w 10505529"/>
              <a:gd name="connsiteY182" fmla="*/ 7415641 h 7458372"/>
              <a:gd name="connsiteX183" fmla="*/ 7419361 w 10505529"/>
              <a:gd name="connsiteY183" fmla="*/ 7419236 h 7458372"/>
              <a:gd name="connsiteX184" fmla="*/ 7415768 w 10505529"/>
              <a:gd name="connsiteY184" fmla="*/ 7428687 h 7458372"/>
              <a:gd name="connsiteX185" fmla="*/ 7419361 w 10505529"/>
              <a:gd name="connsiteY185" fmla="*/ 7438138 h 7458372"/>
              <a:gd name="connsiteX186" fmla="*/ 7429345 w 10505529"/>
              <a:gd name="connsiteY186" fmla="*/ 7441732 h 7458372"/>
              <a:gd name="connsiteX187" fmla="*/ 7434670 w 10505529"/>
              <a:gd name="connsiteY187" fmla="*/ 7440535 h 7458372"/>
              <a:gd name="connsiteX188" fmla="*/ 7438397 w 10505529"/>
              <a:gd name="connsiteY188" fmla="*/ 7438138 h 7458372"/>
              <a:gd name="connsiteX189" fmla="*/ 7441059 w 10505529"/>
              <a:gd name="connsiteY189" fmla="*/ 7434011 h 7458372"/>
              <a:gd name="connsiteX190" fmla="*/ 7442124 w 10505529"/>
              <a:gd name="connsiteY190" fmla="*/ 7428554 h 7458372"/>
              <a:gd name="connsiteX191" fmla="*/ 7441059 w 10505529"/>
              <a:gd name="connsiteY191" fmla="*/ 7423362 h 7458372"/>
              <a:gd name="connsiteX192" fmla="*/ 7438397 w 10505529"/>
              <a:gd name="connsiteY192" fmla="*/ 7419236 h 7458372"/>
              <a:gd name="connsiteX193" fmla="*/ 7434403 w 10505529"/>
              <a:gd name="connsiteY193" fmla="*/ 7416573 h 7458372"/>
              <a:gd name="connsiteX194" fmla="*/ 7429345 w 10505529"/>
              <a:gd name="connsiteY194" fmla="*/ 7415641 h 7458372"/>
              <a:gd name="connsiteX195" fmla="*/ 7211701 w 10505529"/>
              <a:gd name="connsiteY195" fmla="*/ 7415641 h 7458372"/>
              <a:gd name="connsiteX196" fmla="*/ 7201717 w 10505529"/>
              <a:gd name="connsiteY196" fmla="*/ 7419236 h 7458372"/>
              <a:gd name="connsiteX197" fmla="*/ 7198123 w 10505529"/>
              <a:gd name="connsiteY197" fmla="*/ 7428687 h 7458372"/>
              <a:gd name="connsiteX198" fmla="*/ 7201717 w 10505529"/>
              <a:gd name="connsiteY198" fmla="*/ 7438138 h 7458372"/>
              <a:gd name="connsiteX199" fmla="*/ 7211701 w 10505529"/>
              <a:gd name="connsiteY199" fmla="*/ 7441732 h 7458372"/>
              <a:gd name="connsiteX200" fmla="*/ 7217026 w 10505529"/>
              <a:gd name="connsiteY200" fmla="*/ 7440535 h 7458372"/>
              <a:gd name="connsiteX201" fmla="*/ 7220752 w 10505529"/>
              <a:gd name="connsiteY201" fmla="*/ 7438138 h 7458372"/>
              <a:gd name="connsiteX202" fmla="*/ 7223415 w 10505529"/>
              <a:gd name="connsiteY202" fmla="*/ 7434011 h 7458372"/>
              <a:gd name="connsiteX203" fmla="*/ 7224480 w 10505529"/>
              <a:gd name="connsiteY203" fmla="*/ 7428554 h 7458372"/>
              <a:gd name="connsiteX204" fmla="*/ 7223415 w 10505529"/>
              <a:gd name="connsiteY204" fmla="*/ 7423362 h 7458372"/>
              <a:gd name="connsiteX205" fmla="*/ 7220752 w 10505529"/>
              <a:gd name="connsiteY205" fmla="*/ 7419236 h 7458372"/>
              <a:gd name="connsiteX206" fmla="*/ 7216759 w 10505529"/>
              <a:gd name="connsiteY206" fmla="*/ 7416573 h 7458372"/>
              <a:gd name="connsiteX207" fmla="*/ 7211701 w 10505529"/>
              <a:gd name="connsiteY207" fmla="*/ 7415641 h 7458372"/>
              <a:gd name="connsiteX208" fmla="*/ 6994056 w 10505529"/>
              <a:gd name="connsiteY208" fmla="*/ 7415641 h 7458372"/>
              <a:gd name="connsiteX209" fmla="*/ 6984072 w 10505529"/>
              <a:gd name="connsiteY209" fmla="*/ 7419236 h 7458372"/>
              <a:gd name="connsiteX210" fmla="*/ 6980478 w 10505529"/>
              <a:gd name="connsiteY210" fmla="*/ 7428687 h 7458372"/>
              <a:gd name="connsiteX211" fmla="*/ 6984072 w 10505529"/>
              <a:gd name="connsiteY211" fmla="*/ 7438138 h 7458372"/>
              <a:gd name="connsiteX212" fmla="*/ 6994056 w 10505529"/>
              <a:gd name="connsiteY212" fmla="*/ 7441732 h 7458372"/>
              <a:gd name="connsiteX213" fmla="*/ 6999380 w 10505529"/>
              <a:gd name="connsiteY213" fmla="*/ 7440535 h 7458372"/>
              <a:gd name="connsiteX214" fmla="*/ 7003107 w 10505529"/>
              <a:gd name="connsiteY214" fmla="*/ 7438138 h 7458372"/>
              <a:gd name="connsiteX215" fmla="*/ 7005769 w 10505529"/>
              <a:gd name="connsiteY215" fmla="*/ 7434011 h 7458372"/>
              <a:gd name="connsiteX216" fmla="*/ 7006834 w 10505529"/>
              <a:gd name="connsiteY216" fmla="*/ 7428554 h 7458372"/>
              <a:gd name="connsiteX217" fmla="*/ 7005769 w 10505529"/>
              <a:gd name="connsiteY217" fmla="*/ 7423362 h 7458372"/>
              <a:gd name="connsiteX218" fmla="*/ 7003107 w 10505529"/>
              <a:gd name="connsiteY218" fmla="*/ 7419236 h 7458372"/>
              <a:gd name="connsiteX219" fmla="*/ 6999113 w 10505529"/>
              <a:gd name="connsiteY219" fmla="*/ 7416573 h 7458372"/>
              <a:gd name="connsiteX220" fmla="*/ 6994056 w 10505529"/>
              <a:gd name="connsiteY220" fmla="*/ 7415641 h 7458372"/>
              <a:gd name="connsiteX221" fmla="*/ 6776544 w 10505529"/>
              <a:gd name="connsiteY221" fmla="*/ 7415641 h 7458372"/>
              <a:gd name="connsiteX222" fmla="*/ 6766560 w 10505529"/>
              <a:gd name="connsiteY222" fmla="*/ 7419236 h 7458372"/>
              <a:gd name="connsiteX223" fmla="*/ 6762966 w 10505529"/>
              <a:gd name="connsiteY223" fmla="*/ 7428687 h 7458372"/>
              <a:gd name="connsiteX224" fmla="*/ 6766560 w 10505529"/>
              <a:gd name="connsiteY224" fmla="*/ 7438138 h 7458372"/>
              <a:gd name="connsiteX225" fmla="*/ 6776544 w 10505529"/>
              <a:gd name="connsiteY225" fmla="*/ 7441732 h 7458372"/>
              <a:gd name="connsiteX226" fmla="*/ 6781869 w 10505529"/>
              <a:gd name="connsiteY226" fmla="*/ 7440535 h 7458372"/>
              <a:gd name="connsiteX227" fmla="*/ 6785595 w 10505529"/>
              <a:gd name="connsiteY227" fmla="*/ 7438138 h 7458372"/>
              <a:gd name="connsiteX228" fmla="*/ 6788258 w 10505529"/>
              <a:gd name="connsiteY228" fmla="*/ 7434011 h 7458372"/>
              <a:gd name="connsiteX229" fmla="*/ 6789323 w 10505529"/>
              <a:gd name="connsiteY229" fmla="*/ 7428554 h 7458372"/>
              <a:gd name="connsiteX230" fmla="*/ 6788258 w 10505529"/>
              <a:gd name="connsiteY230" fmla="*/ 7423362 h 7458372"/>
              <a:gd name="connsiteX231" fmla="*/ 6785595 w 10505529"/>
              <a:gd name="connsiteY231" fmla="*/ 7419236 h 7458372"/>
              <a:gd name="connsiteX232" fmla="*/ 6781602 w 10505529"/>
              <a:gd name="connsiteY232" fmla="*/ 7416573 h 7458372"/>
              <a:gd name="connsiteX233" fmla="*/ 6776544 w 10505529"/>
              <a:gd name="connsiteY233" fmla="*/ 7415641 h 7458372"/>
              <a:gd name="connsiteX234" fmla="*/ 6558899 w 10505529"/>
              <a:gd name="connsiteY234" fmla="*/ 7415641 h 7458372"/>
              <a:gd name="connsiteX235" fmla="*/ 6548915 w 10505529"/>
              <a:gd name="connsiteY235" fmla="*/ 7419236 h 7458372"/>
              <a:gd name="connsiteX236" fmla="*/ 6545321 w 10505529"/>
              <a:gd name="connsiteY236" fmla="*/ 7428687 h 7458372"/>
              <a:gd name="connsiteX237" fmla="*/ 6548915 w 10505529"/>
              <a:gd name="connsiteY237" fmla="*/ 7438138 h 7458372"/>
              <a:gd name="connsiteX238" fmla="*/ 6558899 w 10505529"/>
              <a:gd name="connsiteY238" fmla="*/ 7441732 h 7458372"/>
              <a:gd name="connsiteX239" fmla="*/ 6564223 w 10505529"/>
              <a:gd name="connsiteY239" fmla="*/ 7440535 h 7458372"/>
              <a:gd name="connsiteX240" fmla="*/ 6567950 w 10505529"/>
              <a:gd name="connsiteY240" fmla="*/ 7438138 h 7458372"/>
              <a:gd name="connsiteX241" fmla="*/ 6570612 w 10505529"/>
              <a:gd name="connsiteY241" fmla="*/ 7434011 h 7458372"/>
              <a:gd name="connsiteX242" fmla="*/ 6571677 w 10505529"/>
              <a:gd name="connsiteY242" fmla="*/ 7428554 h 7458372"/>
              <a:gd name="connsiteX243" fmla="*/ 6570612 w 10505529"/>
              <a:gd name="connsiteY243" fmla="*/ 7423362 h 7458372"/>
              <a:gd name="connsiteX244" fmla="*/ 6567950 w 10505529"/>
              <a:gd name="connsiteY244" fmla="*/ 7419236 h 7458372"/>
              <a:gd name="connsiteX245" fmla="*/ 6563956 w 10505529"/>
              <a:gd name="connsiteY245" fmla="*/ 7416573 h 7458372"/>
              <a:gd name="connsiteX246" fmla="*/ 6558899 w 10505529"/>
              <a:gd name="connsiteY246" fmla="*/ 7415641 h 7458372"/>
              <a:gd name="connsiteX247" fmla="*/ 6341253 w 10505529"/>
              <a:gd name="connsiteY247" fmla="*/ 7415641 h 7458372"/>
              <a:gd name="connsiteX248" fmla="*/ 6331270 w 10505529"/>
              <a:gd name="connsiteY248" fmla="*/ 7419236 h 7458372"/>
              <a:gd name="connsiteX249" fmla="*/ 6327675 w 10505529"/>
              <a:gd name="connsiteY249" fmla="*/ 7428687 h 7458372"/>
              <a:gd name="connsiteX250" fmla="*/ 6331270 w 10505529"/>
              <a:gd name="connsiteY250" fmla="*/ 7438138 h 7458372"/>
              <a:gd name="connsiteX251" fmla="*/ 6341253 w 10505529"/>
              <a:gd name="connsiteY251" fmla="*/ 7441732 h 7458372"/>
              <a:gd name="connsiteX252" fmla="*/ 6346578 w 10505529"/>
              <a:gd name="connsiteY252" fmla="*/ 7440535 h 7458372"/>
              <a:gd name="connsiteX253" fmla="*/ 6350305 w 10505529"/>
              <a:gd name="connsiteY253" fmla="*/ 7438138 h 7458372"/>
              <a:gd name="connsiteX254" fmla="*/ 6352968 w 10505529"/>
              <a:gd name="connsiteY254" fmla="*/ 7434011 h 7458372"/>
              <a:gd name="connsiteX255" fmla="*/ 6354033 w 10505529"/>
              <a:gd name="connsiteY255" fmla="*/ 7428554 h 7458372"/>
              <a:gd name="connsiteX256" fmla="*/ 6352968 w 10505529"/>
              <a:gd name="connsiteY256" fmla="*/ 7423362 h 7458372"/>
              <a:gd name="connsiteX257" fmla="*/ 6350305 w 10505529"/>
              <a:gd name="connsiteY257" fmla="*/ 7419236 h 7458372"/>
              <a:gd name="connsiteX258" fmla="*/ 6346312 w 10505529"/>
              <a:gd name="connsiteY258" fmla="*/ 7416573 h 7458372"/>
              <a:gd name="connsiteX259" fmla="*/ 6341253 w 10505529"/>
              <a:gd name="connsiteY259" fmla="*/ 7415641 h 7458372"/>
              <a:gd name="connsiteX260" fmla="*/ 6123608 w 10505529"/>
              <a:gd name="connsiteY260" fmla="*/ 7415641 h 7458372"/>
              <a:gd name="connsiteX261" fmla="*/ 6113624 w 10505529"/>
              <a:gd name="connsiteY261" fmla="*/ 7419236 h 7458372"/>
              <a:gd name="connsiteX262" fmla="*/ 6110030 w 10505529"/>
              <a:gd name="connsiteY262" fmla="*/ 7428687 h 7458372"/>
              <a:gd name="connsiteX263" fmla="*/ 6113624 w 10505529"/>
              <a:gd name="connsiteY263" fmla="*/ 7438138 h 7458372"/>
              <a:gd name="connsiteX264" fmla="*/ 6123608 w 10505529"/>
              <a:gd name="connsiteY264" fmla="*/ 7441732 h 7458372"/>
              <a:gd name="connsiteX265" fmla="*/ 6128932 w 10505529"/>
              <a:gd name="connsiteY265" fmla="*/ 7440535 h 7458372"/>
              <a:gd name="connsiteX266" fmla="*/ 6132659 w 10505529"/>
              <a:gd name="connsiteY266" fmla="*/ 7438138 h 7458372"/>
              <a:gd name="connsiteX267" fmla="*/ 6135322 w 10505529"/>
              <a:gd name="connsiteY267" fmla="*/ 7434011 h 7458372"/>
              <a:gd name="connsiteX268" fmla="*/ 6136387 w 10505529"/>
              <a:gd name="connsiteY268" fmla="*/ 7428554 h 7458372"/>
              <a:gd name="connsiteX269" fmla="*/ 6135322 w 10505529"/>
              <a:gd name="connsiteY269" fmla="*/ 7423362 h 7458372"/>
              <a:gd name="connsiteX270" fmla="*/ 6132659 w 10505529"/>
              <a:gd name="connsiteY270" fmla="*/ 7419236 h 7458372"/>
              <a:gd name="connsiteX271" fmla="*/ 6128666 w 10505529"/>
              <a:gd name="connsiteY271" fmla="*/ 7416573 h 7458372"/>
              <a:gd name="connsiteX272" fmla="*/ 6123608 w 10505529"/>
              <a:gd name="connsiteY272" fmla="*/ 7415641 h 7458372"/>
              <a:gd name="connsiteX273" fmla="*/ 5905963 w 10505529"/>
              <a:gd name="connsiteY273" fmla="*/ 7415641 h 7458372"/>
              <a:gd name="connsiteX274" fmla="*/ 5895979 w 10505529"/>
              <a:gd name="connsiteY274" fmla="*/ 7419236 h 7458372"/>
              <a:gd name="connsiteX275" fmla="*/ 5892385 w 10505529"/>
              <a:gd name="connsiteY275" fmla="*/ 7428687 h 7458372"/>
              <a:gd name="connsiteX276" fmla="*/ 5895979 w 10505529"/>
              <a:gd name="connsiteY276" fmla="*/ 7438138 h 7458372"/>
              <a:gd name="connsiteX277" fmla="*/ 5905963 w 10505529"/>
              <a:gd name="connsiteY277" fmla="*/ 7441732 h 7458372"/>
              <a:gd name="connsiteX278" fmla="*/ 5911287 w 10505529"/>
              <a:gd name="connsiteY278" fmla="*/ 7440535 h 7458372"/>
              <a:gd name="connsiteX279" fmla="*/ 5915014 w 10505529"/>
              <a:gd name="connsiteY279" fmla="*/ 7438138 h 7458372"/>
              <a:gd name="connsiteX280" fmla="*/ 5917677 w 10505529"/>
              <a:gd name="connsiteY280" fmla="*/ 7434011 h 7458372"/>
              <a:gd name="connsiteX281" fmla="*/ 5918742 w 10505529"/>
              <a:gd name="connsiteY281" fmla="*/ 7428554 h 7458372"/>
              <a:gd name="connsiteX282" fmla="*/ 5917677 w 10505529"/>
              <a:gd name="connsiteY282" fmla="*/ 7423362 h 7458372"/>
              <a:gd name="connsiteX283" fmla="*/ 5915014 w 10505529"/>
              <a:gd name="connsiteY283" fmla="*/ 7419236 h 7458372"/>
              <a:gd name="connsiteX284" fmla="*/ 5911021 w 10505529"/>
              <a:gd name="connsiteY284" fmla="*/ 7416573 h 7458372"/>
              <a:gd name="connsiteX285" fmla="*/ 5905963 w 10505529"/>
              <a:gd name="connsiteY285" fmla="*/ 7415641 h 7458372"/>
              <a:gd name="connsiteX286" fmla="*/ 5688451 w 10505529"/>
              <a:gd name="connsiteY286" fmla="*/ 7415641 h 7458372"/>
              <a:gd name="connsiteX287" fmla="*/ 5678467 w 10505529"/>
              <a:gd name="connsiteY287" fmla="*/ 7419236 h 7458372"/>
              <a:gd name="connsiteX288" fmla="*/ 5674873 w 10505529"/>
              <a:gd name="connsiteY288" fmla="*/ 7428687 h 7458372"/>
              <a:gd name="connsiteX289" fmla="*/ 5678467 w 10505529"/>
              <a:gd name="connsiteY289" fmla="*/ 7438138 h 7458372"/>
              <a:gd name="connsiteX290" fmla="*/ 5688451 w 10505529"/>
              <a:gd name="connsiteY290" fmla="*/ 7441732 h 7458372"/>
              <a:gd name="connsiteX291" fmla="*/ 5693775 w 10505529"/>
              <a:gd name="connsiteY291" fmla="*/ 7440535 h 7458372"/>
              <a:gd name="connsiteX292" fmla="*/ 5697502 w 10505529"/>
              <a:gd name="connsiteY292" fmla="*/ 7438138 h 7458372"/>
              <a:gd name="connsiteX293" fmla="*/ 5700165 w 10505529"/>
              <a:gd name="connsiteY293" fmla="*/ 7434011 h 7458372"/>
              <a:gd name="connsiteX294" fmla="*/ 5701230 w 10505529"/>
              <a:gd name="connsiteY294" fmla="*/ 7428554 h 7458372"/>
              <a:gd name="connsiteX295" fmla="*/ 5700165 w 10505529"/>
              <a:gd name="connsiteY295" fmla="*/ 7423362 h 7458372"/>
              <a:gd name="connsiteX296" fmla="*/ 5697502 w 10505529"/>
              <a:gd name="connsiteY296" fmla="*/ 7419236 h 7458372"/>
              <a:gd name="connsiteX297" fmla="*/ 5693509 w 10505529"/>
              <a:gd name="connsiteY297" fmla="*/ 7416573 h 7458372"/>
              <a:gd name="connsiteX298" fmla="*/ 5688451 w 10505529"/>
              <a:gd name="connsiteY298" fmla="*/ 7415641 h 7458372"/>
              <a:gd name="connsiteX299" fmla="*/ 5470806 w 10505529"/>
              <a:gd name="connsiteY299" fmla="*/ 7415641 h 7458372"/>
              <a:gd name="connsiteX300" fmla="*/ 5460822 w 10505529"/>
              <a:gd name="connsiteY300" fmla="*/ 7419236 h 7458372"/>
              <a:gd name="connsiteX301" fmla="*/ 5457228 w 10505529"/>
              <a:gd name="connsiteY301" fmla="*/ 7428687 h 7458372"/>
              <a:gd name="connsiteX302" fmla="*/ 5460822 w 10505529"/>
              <a:gd name="connsiteY302" fmla="*/ 7438138 h 7458372"/>
              <a:gd name="connsiteX303" fmla="*/ 5470806 w 10505529"/>
              <a:gd name="connsiteY303" fmla="*/ 7441732 h 7458372"/>
              <a:gd name="connsiteX304" fmla="*/ 5476130 w 10505529"/>
              <a:gd name="connsiteY304" fmla="*/ 7440535 h 7458372"/>
              <a:gd name="connsiteX305" fmla="*/ 5479857 w 10505529"/>
              <a:gd name="connsiteY305" fmla="*/ 7438138 h 7458372"/>
              <a:gd name="connsiteX306" fmla="*/ 5482520 w 10505529"/>
              <a:gd name="connsiteY306" fmla="*/ 7434011 h 7458372"/>
              <a:gd name="connsiteX307" fmla="*/ 5483585 w 10505529"/>
              <a:gd name="connsiteY307" fmla="*/ 7428554 h 7458372"/>
              <a:gd name="connsiteX308" fmla="*/ 5482520 w 10505529"/>
              <a:gd name="connsiteY308" fmla="*/ 7423362 h 7458372"/>
              <a:gd name="connsiteX309" fmla="*/ 5479857 w 10505529"/>
              <a:gd name="connsiteY309" fmla="*/ 7419236 h 7458372"/>
              <a:gd name="connsiteX310" fmla="*/ 5475864 w 10505529"/>
              <a:gd name="connsiteY310" fmla="*/ 7416573 h 7458372"/>
              <a:gd name="connsiteX311" fmla="*/ 5470806 w 10505529"/>
              <a:gd name="connsiteY311" fmla="*/ 7415641 h 7458372"/>
              <a:gd name="connsiteX312" fmla="*/ 5253160 w 10505529"/>
              <a:gd name="connsiteY312" fmla="*/ 7415641 h 7458372"/>
              <a:gd name="connsiteX313" fmla="*/ 5243177 w 10505529"/>
              <a:gd name="connsiteY313" fmla="*/ 7419236 h 7458372"/>
              <a:gd name="connsiteX314" fmla="*/ 5239583 w 10505529"/>
              <a:gd name="connsiteY314" fmla="*/ 7428687 h 7458372"/>
              <a:gd name="connsiteX315" fmla="*/ 5243177 w 10505529"/>
              <a:gd name="connsiteY315" fmla="*/ 7438138 h 7458372"/>
              <a:gd name="connsiteX316" fmla="*/ 5253160 w 10505529"/>
              <a:gd name="connsiteY316" fmla="*/ 7441732 h 7458372"/>
              <a:gd name="connsiteX317" fmla="*/ 5258485 w 10505529"/>
              <a:gd name="connsiteY317" fmla="*/ 7440535 h 7458372"/>
              <a:gd name="connsiteX318" fmla="*/ 5262212 w 10505529"/>
              <a:gd name="connsiteY318" fmla="*/ 7438138 h 7458372"/>
              <a:gd name="connsiteX319" fmla="*/ 5264875 w 10505529"/>
              <a:gd name="connsiteY319" fmla="*/ 7434011 h 7458372"/>
              <a:gd name="connsiteX320" fmla="*/ 5265939 w 10505529"/>
              <a:gd name="connsiteY320" fmla="*/ 7428554 h 7458372"/>
              <a:gd name="connsiteX321" fmla="*/ 5264875 w 10505529"/>
              <a:gd name="connsiteY321" fmla="*/ 7423362 h 7458372"/>
              <a:gd name="connsiteX322" fmla="*/ 5262212 w 10505529"/>
              <a:gd name="connsiteY322" fmla="*/ 7419236 h 7458372"/>
              <a:gd name="connsiteX323" fmla="*/ 5258219 w 10505529"/>
              <a:gd name="connsiteY323" fmla="*/ 7416573 h 7458372"/>
              <a:gd name="connsiteX324" fmla="*/ 5253160 w 10505529"/>
              <a:gd name="connsiteY324" fmla="*/ 7415641 h 7458372"/>
              <a:gd name="connsiteX325" fmla="*/ 5035515 w 10505529"/>
              <a:gd name="connsiteY325" fmla="*/ 7415641 h 7458372"/>
              <a:gd name="connsiteX326" fmla="*/ 5025532 w 10505529"/>
              <a:gd name="connsiteY326" fmla="*/ 7419236 h 7458372"/>
              <a:gd name="connsiteX327" fmla="*/ 5021938 w 10505529"/>
              <a:gd name="connsiteY327" fmla="*/ 7428687 h 7458372"/>
              <a:gd name="connsiteX328" fmla="*/ 5025532 w 10505529"/>
              <a:gd name="connsiteY328" fmla="*/ 7438138 h 7458372"/>
              <a:gd name="connsiteX329" fmla="*/ 5035515 w 10505529"/>
              <a:gd name="connsiteY329" fmla="*/ 7441732 h 7458372"/>
              <a:gd name="connsiteX330" fmla="*/ 5040840 w 10505529"/>
              <a:gd name="connsiteY330" fmla="*/ 7440535 h 7458372"/>
              <a:gd name="connsiteX331" fmla="*/ 5044567 w 10505529"/>
              <a:gd name="connsiteY331" fmla="*/ 7438138 h 7458372"/>
              <a:gd name="connsiteX332" fmla="*/ 5047230 w 10505529"/>
              <a:gd name="connsiteY332" fmla="*/ 7434011 h 7458372"/>
              <a:gd name="connsiteX333" fmla="*/ 5048294 w 10505529"/>
              <a:gd name="connsiteY333" fmla="*/ 7428554 h 7458372"/>
              <a:gd name="connsiteX334" fmla="*/ 5047230 w 10505529"/>
              <a:gd name="connsiteY334" fmla="*/ 7423362 h 7458372"/>
              <a:gd name="connsiteX335" fmla="*/ 5044567 w 10505529"/>
              <a:gd name="connsiteY335" fmla="*/ 7419236 h 7458372"/>
              <a:gd name="connsiteX336" fmla="*/ 5040574 w 10505529"/>
              <a:gd name="connsiteY336" fmla="*/ 7416573 h 7458372"/>
              <a:gd name="connsiteX337" fmla="*/ 5035515 w 10505529"/>
              <a:gd name="connsiteY337" fmla="*/ 7415641 h 7458372"/>
              <a:gd name="connsiteX338" fmla="*/ 4817870 w 10505529"/>
              <a:gd name="connsiteY338" fmla="*/ 7415641 h 7458372"/>
              <a:gd name="connsiteX339" fmla="*/ 4807887 w 10505529"/>
              <a:gd name="connsiteY339" fmla="*/ 7419236 h 7458372"/>
              <a:gd name="connsiteX340" fmla="*/ 4804293 w 10505529"/>
              <a:gd name="connsiteY340" fmla="*/ 7428687 h 7458372"/>
              <a:gd name="connsiteX341" fmla="*/ 4807887 w 10505529"/>
              <a:gd name="connsiteY341" fmla="*/ 7438138 h 7458372"/>
              <a:gd name="connsiteX342" fmla="*/ 4817870 w 10505529"/>
              <a:gd name="connsiteY342" fmla="*/ 7441732 h 7458372"/>
              <a:gd name="connsiteX343" fmla="*/ 4823195 w 10505529"/>
              <a:gd name="connsiteY343" fmla="*/ 7440535 h 7458372"/>
              <a:gd name="connsiteX344" fmla="*/ 4826922 w 10505529"/>
              <a:gd name="connsiteY344" fmla="*/ 7438138 h 7458372"/>
              <a:gd name="connsiteX345" fmla="*/ 4829585 w 10505529"/>
              <a:gd name="connsiteY345" fmla="*/ 7434011 h 7458372"/>
              <a:gd name="connsiteX346" fmla="*/ 4830650 w 10505529"/>
              <a:gd name="connsiteY346" fmla="*/ 7428554 h 7458372"/>
              <a:gd name="connsiteX347" fmla="*/ 4829585 w 10505529"/>
              <a:gd name="connsiteY347" fmla="*/ 7423362 h 7458372"/>
              <a:gd name="connsiteX348" fmla="*/ 4826922 w 10505529"/>
              <a:gd name="connsiteY348" fmla="*/ 7419236 h 7458372"/>
              <a:gd name="connsiteX349" fmla="*/ 4822929 w 10505529"/>
              <a:gd name="connsiteY349" fmla="*/ 7416573 h 7458372"/>
              <a:gd name="connsiteX350" fmla="*/ 4817870 w 10505529"/>
              <a:gd name="connsiteY350" fmla="*/ 7415641 h 7458372"/>
              <a:gd name="connsiteX351" fmla="*/ 4600226 w 10505529"/>
              <a:gd name="connsiteY351" fmla="*/ 7415641 h 7458372"/>
              <a:gd name="connsiteX352" fmla="*/ 4590242 w 10505529"/>
              <a:gd name="connsiteY352" fmla="*/ 7419236 h 7458372"/>
              <a:gd name="connsiteX353" fmla="*/ 4586648 w 10505529"/>
              <a:gd name="connsiteY353" fmla="*/ 7428687 h 7458372"/>
              <a:gd name="connsiteX354" fmla="*/ 4590242 w 10505529"/>
              <a:gd name="connsiteY354" fmla="*/ 7438138 h 7458372"/>
              <a:gd name="connsiteX355" fmla="*/ 4600226 w 10505529"/>
              <a:gd name="connsiteY355" fmla="*/ 7441732 h 7458372"/>
              <a:gd name="connsiteX356" fmla="*/ 4605550 w 10505529"/>
              <a:gd name="connsiteY356" fmla="*/ 7440535 h 7458372"/>
              <a:gd name="connsiteX357" fmla="*/ 4609277 w 10505529"/>
              <a:gd name="connsiteY357" fmla="*/ 7438138 h 7458372"/>
              <a:gd name="connsiteX358" fmla="*/ 4611940 w 10505529"/>
              <a:gd name="connsiteY358" fmla="*/ 7434011 h 7458372"/>
              <a:gd name="connsiteX359" fmla="*/ 4613005 w 10505529"/>
              <a:gd name="connsiteY359" fmla="*/ 7428554 h 7458372"/>
              <a:gd name="connsiteX360" fmla="*/ 4611940 w 10505529"/>
              <a:gd name="connsiteY360" fmla="*/ 7423362 h 7458372"/>
              <a:gd name="connsiteX361" fmla="*/ 4609277 w 10505529"/>
              <a:gd name="connsiteY361" fmla="*/ 7419236 h 7458372"/>
              <a:gd name="connsiteX362" fmla="*/ 4605284 w 10505529"/>
              <a:gd name="connsiteY362" fmla="*/ 7416573 h 7458372"/>
              <a:gd name="connsiteX363" fmla="*/ 4600226 w 10505529"/>
              <a:gd name="connsiteY363" fmla="*/ 7415641 h 7458372"/>
              <a:gd name="connsiteX364" fmla="*/ 4382713 w 10505529"/>
              <a:gd name="connsiteY364" fmla="*/ 7415641 h 7458372"/>
              <a:gd name="connsiteX365" fmla="*/ 4372730 w 10505529"/>
              <a:gd name="connsiteY365" fmla="*/ 7419236 h 7458372"/>
              <a:gd name="connsiteX366" fmla="*/ 4369136 w 10505529"/>
              <a:gd name="connsiteY366" fmla="*/ 7428687 h 7458372"/>
              <a:gd name="connsiteX367" fmla="*/ 4372730 w 10505529"/>
              <a:gd name="connsiteY367" fmla="*/ 7438138 h 7458372"/>
              <a:gd name="connsiteX368" fmla="*/ 4382713 w 10505529"/>
              <a:gd name="connsiteY368" fmla="*/ 7441732 h 7458372"/>
              <a:gd name="connsiteX369" fmla="*/ 4388038 w 10505529"/>
              <a:gd name="connsiteY369" fmla="*/ 7440535 h 7458372"/>
              <a:gd name="connsiteX370" fmla="*/ 4391765 w 10505529"/>
              <a:gd name="connsiteY370" fmla="*/ 7438138 h 7458372"/>
              <a:gd name="connsiteX371" fmla="*/ 4394428 w 10505529"/>
              <a:gd name="connsiteY371" fmla="*/ 7434011 h 7458372"/>
              <a:gd name="connsiteX372" fmla="*/ 4395493 w 10505529"/>
              <a:gd name="connsiteY372" fmla="*/ 7428554 h 7458372"/>
              <a:gd name="connsiteX373" fmla="*/ 4394428 w 10505529"/>
              <a:gd name="connsiteY373" fmla="*/ 7423362 h 7458372"/>
              <a:gd name="connsiteX374" fmla="*/ 4391765 w 10505529"/>
              <a:gd name="connsiteY374" fmla="*/ 7419236 h 7458372"/>
              <a:gd name="connsiteX375" fmla="*/ 4387772 w 10505529"/>
              <a:gd name="connsiteY375" fmla="*/ 7416573 h 7458372"/>
              <a:gd name="connsiteX376" fmla="*/ 4382713 w 10505529"/>
              <a:gd name="connsiteY376" fmla="*/ 7415641 h 7458372"/>
              <a:gd name="connsiteX377" fmla="*/ 4165068 w 10505529"/>
              <a:gd name="connsiteY377" fmla="*/ 7415641 h 7458372"/>
              <a:gd name="connsiteX378" fmla="*/ 4155084 w 10505529"/>
              <a:gd name="connsiteY378" fmla="*/ 7419236 h 7458372"/>
              <a:gd name="connsiteX379" fmla="*/ 4151490 w 10505529"/>
              <a:gd name="connsiteY379" fmla="*/ 7428687 h 7458372"/>
              <a:gd name="connsiteX380" fmla="*/ 4155084 w 10505529"/>
              <a:gd name="connsiteY380" fmla="*/ 7438138 h 7458372"/>
              <a:gd name="connsiteX381" fmla="*/ 4165068 w 10505529"/>
              <a:gd name="connsiteY381" fmla="*/ 7441732 h 7458372"/>
              <a:gd name="connsiteX382" fmla="*/ 4170392 w 10505529"/>
              <a:gd name="connsiteY382" fmla="*/ 7440535 h 7458372"/>
              <a:gd name="connsiteX383" fmla="*/ 4174119 w 10505529"/>
              <a:gd name="connsiteY383" fmla="*/ 7438138 h 7458372"/>
              <a:gd name="connsiteX384" fmla="*/ 4176782 w 10505529"/>
              <a:gd name="connsiteY384" fmla="*/ 7434011 h 7458372"/>
              <a:gd name="connsiteX385" fmla="*/ 4177847 w 10505529"/>
              <a:gd name="connsiteY385" fmla="*/ 7428554 h 7458372"/>
              <a:gd name="connsiteX386" fmla="*/ 4176782 w 10505529"/>
              <a:gd name="connsiteY386" fmla="*/ 7423362 h 7458372"/>
              <a:gd name="connsiteX387" fmla="*/ 4174119 w 10505529"/>
              <a:gd name="connsiteY387" fmla="*/ 7419236 h 7458372"/>
              <a:gd name="connsiteX388" fmla="*/ 4170126 w 10505529"/>
              <a:gd name="connsiteY388" fmla="*/ 7416573 h 7458372"/>
              <a:gd name="connsiteX389" fmla="*/ 4165068 w 10505529"/>
              <a:gd name="connsiteY389" fmla="*/ 7415641 h 7458372"/>
              <a:gd name="connsiteX390" fmla="*/ 3947819 w 10505529"/>
              <a:gd name="connsiteY390" fmla="*/ 7415641 h 7458372"/>
              <a:gd name="connsiteX391" fmla="*/ 3937835 w 10505529"/>
              <a:gd name="connsiteY391" fmla="*/ 7419236 h 7458372"/>
              <a:gd name="connsiteX392" fmla="*/ 3934241 w 10505529"/>
              <a:gd name="connsiteY392" fmla="*/ 7428687 h 7458372"/>
              <a:gd name="connsiteX393" fmla="*/ 3937835 w 10505529"/>
              <a:gd name="connsiteY393" fmla="*/ 7438138 h 7458372"/>
              <a:gd name="connsiteX394" fmla="*/ 3947819 w 10505529"/>
              <a:gd name="connsiteY394" fmla="*/ 7441732 h 7458372"/>
              <a:gd name="connsiteX395" fmla="*/ 3953150 w 10505529"/>
              <a:gd name="connsiteY395" fmla="*/ 7440535 h 7458372"/>
              <a:gd name="connsiteX396" fmla="*/ 3956876 w 10505529"/>
              <a:gd name="connsiteY396" fmla="*/ 7438138 h 7458372"/>
              <a:gd name="connsiteX397" fmla="*/ 3959539 w 10505529"/>
              <a:gd name="connsiteY397" fmla="*/ 7434011 h 7458372"/>
              <a:gd name="connsiteX398" fmla="*/ 3960603 w 10505529"/>
              <a:gd name="connsiteY398" fmla="*/ 7428554 h 7458372"/>
              <a:gd name="connsiteX399" fmla="*/ 3959539 w 10505529"/>
              <a:gd name="connsiteY399" fmla="*/ 7423362 h 7458372"/>
              <a:gd name="connsiteX400" fmla="*/ 3956876 w 10505529"/>
              <a:gd name="connsiteY400" fmla="*/ 7419236 h 7458372"/>
              <a:gd name="connsiteX401" fmla="*/ 3952883 w 10505529"/>
              <a:gd name="connsiteY401" fmla="*/ 7416573 h 7458372"/>
              <a:gd name="connsiteX402" fmla="*/ 3947819 w 10505529"/>
              <a:gd name="connsiteY402" fmla="*/ 7415641 h 7458372"/>
              <a:gd name="connsiteX403" fmla="*/ 3730157 w 10505529"/>
              <a:gd name="connsiteY403" fmla="*/ 7415641 h 7458372"/>
              <a:gd name="connsiteX404" fmla="*/ 3720169 w 10505529"/>
              <a:gd name="connsiteY404" fmla="*/ 7419236 h 7458372"/>
              <a:gd name="connsiteX405" fmla="*/ 3716577 w 10505529"/>
              <a:gd name="connsiteY405" fmla="*/ 7428687 h 7458372"/>
              <a:gd name="connsiteX406" fmla="*/ 3720169 w 10505529"/>
              <a:gd name="connsiteY406" fmla="*/ 7438138 h 7458372"/>
              <a:gd name="connsiteX407" fmla="*/ 3730157 w 10505529"/>
              <a:gd name="connsiteY407" fmla="*/ 7441732 h 7458372"/>
              <a:gd name="connsiteX408" fmla="*/ 3735484 w 10505529"/>
              <a:gd name="connsiteY408" fmla="*/ 7440535 h 7458372"/>
              <a:gd name="connsiteX409" fmla="*/ 3739210 w 10505529"/>
              <a:gd name="connsiteY409" fmla="*/ 7438138 h 7458372"/>
              <a:gd name="connsiteX410" fmla="*/ 3741874 w 10505529"/>
              <a:gd name="connsiteY410" fmla="*/ 7434011 h 7458372"/>
              <a:gd name="connsiteX411" fmla="*/ 3742937 w 10505529"/>
              <a:gd name="connsiteY411" fmla="*/ 7428554 h 7458372"/>
              <a:gd name="connsiteX412" fmla="*/ 3741874 w 10505529"/>
              <a:gd name="connsiteY412" fmla="*/ 7423362 h 7458372"/>
              <a:gd name="connsiteX413" fmla="*/ 3739210 w 10505529"/>
              <a:gd name="connsiteY413" fmla="*/ 7419236 h 7458372"/>
              <a:gd name="connsiteX414" fmla="*/ 3735217 w 10505529"/>
              <a:gd name="connsiteY414" fmla="*/ 7416573 h 7458372"/>
              <a:gd name="connsiteX415" fmla="*/ 3730157 w 10505529"/>
              <a:gd name="connsiteY415" fmla="*/ 7415641 h 7458372"/>
              <a:gd name="connsiteX416" fmla="*/ 3512490 w 10505529"/>
              <a:gd name="connsiteY416" fmla="*/ 7415641 h 7458372"/>
              <a:gd name="connsiteX417" fmla="*/ 3502502 w 10505529"/>
              <a:gd name="connsiteY417" fmla="*/ 7419236 h 7458372"/>
              <a:gd name="connsiteX418" fmla="*/ 3498909 w 10505529"/>
              <a:gd name="connsiteY418" fmla="*/ 7428687 h 7458372"/>
              <a:gd name="connsiteX419" fmla="*/ 3502502 w 10505529"/>
              <a:gd name="connsiteY419" fmla="*/ 7438138 h 7458372"/>
              <a:gd name="connsiteX420" fmla="*/ 3512490 w 10505529"/>
              <a:gd name="connsiteY420" fmla="*/ 7441732 h 7458372"/>
              <a:gd name="connsiteX421" fmla="*/ 3517817 w 10505529"/>
              <a:gd name="connsiteY421" fmla="*/ 7440535 h 7458372"/>
              <a:gd name="connsiteX422" fmla="*/ 3521545 w 10505529"/>
              <a:gd name="connsiteY422" fmla="*/ 7438138 h 7458372"/>
              <a:gd name="connsiteX423" fmla="*/ 3524207 w 10505529"/>
              <a:gd name="connsiteY423" fmla="*/ 7434011 h 7458372"/>
              <a:gd name="connsiteX424" fmla="*/ 3525272 w 10505529"/>
              <a:gd name="connsiteY424" fmla="*/ 7428554 h 7458372"/>
              <a:gd name="connsiteX425" fmla="*/ 3524207 w 10505529"/>
              <a:gd name="connsiteY425" fmla="*/ 7423362 h 7458372"/>
              <a:gd name="connsiteX426" fmla="*/ 3521545 w 10505529"/>
              <a:gd name="connsiteY426" fmla="*/ 7419236 h 7458372"/>
              <a:gd name="connsiteX427" fmla="*/ 3517552 w 10505529"/>
              <a:gd name="connsiteY427" fmla="*/ 7416573 h 7458372"/>
              <a:gd name="connsiteX428" fmla="*/ 3512490 w 10505529"/>
              <a:gd name="connsiteY428" fmla="*/ 7415641 h 7458372"/>
              <a:gd name="connsiteX429" fmla="*/ 3294959 w 10505529"/>
              <a:gd name="connsiteY429" fmla="*/ 7415641 h 7458372"/>
              <a:gd name="connsiteX430" fmla="*/ 3284972 w 10505529"/>
              <a:gd name="connsiteY430" fmla="*/ 7419236 h 7458372"/>
              <a:gd name="connsiteX431" fmla="*/ 3281378 w 10505529"/>
              <a:gd name="connsiteY431" fmla="*/ 7428687 h 7458372"/>
              <a:gd name="connsiteX432" fmla="*/ 3284972 w 10505529"/>
              <a:gd name="connsiteY432" fmla="*/ 7438138 h 7458372"/>
              <a:gd name="connsiteX433" fmla="*/ 3294959 w 10505529"/>
              <a:gd name="connsiteY433" fmla="*/ 7441732 h 7458372"/>
              <a:gd name="connsiteX434" fmla="*/ 3300283 w 10505529"/>
              <a:gd name="connsiteY434" fmla="*/ 7440535 h 7458372"/>
              <a:gd name="connsiteX435" fmla="*/ 3304011 w 10505529"/>
              <a:gd name="connsiteY435" fmla="*/ 7438138 h 7458372"/>
              <a:gd name="connsiteX436" fmla="*/ 3306674 w 10505529"/>
              <a:gd name="connsiteY436" fmla="*/ 7434011 h 7458372"/>
              <a:gd name="connsiteX437" fmla="*/ 3307739 w 10505529"/>
              <a:gd name="connsiteY437" fmla="*/ 7428554 h 7458372"/>
              <a:gd name="connsiteX438" fmla="*/ 3306674 w 10505529"/>
              <a:gd name="connsiteY438" fmla="*/ 7423362 h 7458372"/>
              <a:gd name="connsiteX439" fmla="*/ 3304011 w 10505529"/>
              <a:gd name="connsiteY439" fmla="*/ 7419236 h 7458372"/>
              <a:gd name="connsiteX440" fmla="*/ 3300018 w 10505529"/>
              <a:gd name="connsiteY440" fmla="*/ 7416573 h 7458372"/>
              <a:gd name="connsiteX441" fmla="*/ 3294959 w 10505529"/>
              <a:gd name="connsiteY441" fmla="*/ 7415641 h 7458372"/>
              <a:gd name="connsiteX442" fmla="*/ 3077427 w 10505529"/>
              <a:gd name="connsiteY442" fmla="*/ 7415641 h 7458372"/>
              <a:gd name="connsiteX443" fmla="*/ 3067441 w 10505529"/>
              <a:gd name="connsiteY443" fmla="*/ 7419236 h 7458372"/>
              <a:gd name="connsiteX444" fmla="*/ 3063711 w 10505529"/>
              <a:gd name="connsiteY444" fmla="*/ 7428687 h 7458372"/>
              <a:gd name="connsiteX445" fmla="*/ 3067306 w 10505529"/>
              <a:gd name="connsiteY445" fmla="*/ 7438138 h 7458372"/>
              <a:gd name="connsiteX446" fmla="*/ 3077293 w 10505529"/>
              <a:gd name="connsiteY446" fmla="*/ 7441732 h 7458372"/>
              <a:gd name="connsiteX447" fmla="*/ 3082752 w 10505529"/>
              <a:gd name="connsiteY447" fmla="*/ 7440535 h 7458372"/>
              <a:gd name="connsiteX448" fmla="*/ 3086479 w 10505529"/>
              <a:gd name="connsiteY448" fmla="*/ 7438138 h 7458372"/>
              <a:gd name="connsiteX449" fmla="*/ 3089142 w 10505529"/>
              <a:gd name="connsiteY449" fmla="*/ 7434011 h 7458372"/>
              <a:gd name="connsiteX450" fmla="*/ 3090073 w 10505529"/>
              <a:gd name="connsiteY450" fmla="*/ 7428554 h 7458372"/>
              <a:gd name="connsiteX451" fmla="*/ 3089142 w 10505529"/>
              <a:gd name="connsiteY451" fmla="*/ 7423362 h 7458372"/>
              <a:gd name="connsiteX452" fmla="*/ 3086479 w 10505529"/>
              <a:gd name="connsiteY452" fmla="*/ 7419236 h 7458372"/>
              <a:gd name="connsiteX453" fmla="*/ 3082484 w 10505529"/>
              <a:gd name="connsiteY453" fmla="*/ 7416573 h 7458372"/>
              <a:gd name="connsiteX454" fmla="*/ 3077427 w 10505529"/>
              <a:gd name="connsiteY454" fmla="*/ 7415641 h 7458372"/>
              <a:gd name="connsiteX455" fmla="*/ 2859628 w 10505529"/>
              <a:gd name="connsiteY455" fmla="*/ 7415641 h 7458372"/>
              <a:gd name="connsiteX456" fmla="*/ 2849644 w 10505529"/>
              <a:gd name="connsiteY456" fmla="*/ 7419236 h 7458372"/>
              <a:gd name="connsiteX457" fmla="*/ 2846043 w 10505529"/>
              <a:gd name="connsiteY457" fmla="*/ 7428687 h 7458372"/>
              <a:gd name="connsiteX458" fmla="*/ 2849644 w 10505529"/>
              <a:gd name="connsiteY458" fmla="*/ 7438138 h 7458372"/>
              <a:gd name="connsiteX459" fmla="*/ 2859628 w 10505529"/>
              <a:gd name="connsiteY459" fmla="*/ 7441732 h 7458372"/>
              <a:gd name="connsiteX460" fmla="*/ 2864953 w 10505529"/>
              <a:gd name="connsiteY460" fmla="*/ 7440535 h 7458372"/>
              <a:gd name="connsiteX461" fmla="*/ 2868679 w 10505529"/>
              <a:gd name="connsiteY461" fmla="*/ 7438138 h 7458372"/>
              <a:gd name="connsiteX462" fmla="*/ 2871343 w 10505529"/>
              <a:gd name="connsiteY462" fmla="*/ 7434011 h 7458372"/>
              <a:gd name="connsiteX463" fmla="*/ 2872274 w 10505529"/>
              <a:gd name="connsiteY463" fmla="*/ 7428554 h 7458372"/>
              <a:gd name="connsiteX464" fmla="*/ 2871343 w 10505529"/>
              <a:gd name="connsiteY464" fmla="*/ 7423362 h 7458372"/>
              <a:gd name="connsiteX465" fmla="*/ 2868679 w 10505529"/>
              <a:gd name="connsiteY465" fmla="*/ 7419236 h 7458372"/>
              <a:gd name="connsiteX466" fmla="*/ 2864687 w 10505529"/>
              <a:gd name="connsiteY466" fmla="*/ 7416573 h 7458372"/>
              <a:gd name="connsiteX467" fmla="*/ 2859628 w 10505529"/>
              <a:gd name="connsiteY467" fmla="*/ 7415641 h 7458372"/>
              <a:gd name="connsiteX468" fmla="*/ 2641962 w 10505529"/>
              <a:gd name="connsiteY468" fmla="*/ 7415641 h 7458372"/>
              <a:gd name="connsiteX469" fmla="*/ 2631978 w 10505529"/>
              <a:gd name="connsiteY469" fmla="*/ 7419236 h 7458372"/>
              <a:gd name="connsiteX470" fmla="*/ 2628383 w 10505529"/>
              <a:gd name="connsiteY470" fmla="*/ 7428687 h 7458372"/>
              <a:gd name="connsiteX471" fmla="*/ 2631978 w 10505529"/>
              <a:gd name="connsiteY471" fmla="*/ 7438138 h 7458372"/>
              <a:gd name="connsiteX472" fmla="*/ 2641962 w 10505529"/>
              <a:gd name="connsiteY472" fmla="*/ 7441732 h 7458372"/>
              <a:gd name="connsiteX473" fmla="*/ 2647287 w 10505529"/>
              <a:gd name="connsiteY473" fmla="*/ 7440535 h 7458372"/>
              <a:gd name="connsiteX474" fmla="*/ 2651014 w 10505529"/>
              <a:gd name="connsiteY474" fmla="*/ 7438138 h 7458372"/>
              <a:gd name="connsiteX475" fmla="*/ 2653677 w 10505529"/>
              <a:gd name="connsiteY475" fmla="*/ 7434011 h 7458372"/>
              <a:gd name="connsiteX476" fmla="*/ 2654608 w 10505529"/>
              <a:gd name="connsiteY476" fmla="*/ 7428554 h 7458372"/>
              <a:gd name="connsiteX477" fmla="*/ 2653677 w 10505529"/>
              <a:gd name="connsiteY477" fmla="*/ 7423362 h 7458372"/>
              <a:gd name="connsiteX478" fmla="*/ 2651014 w 10505529"/>
              <a:gd name="connsiteY478" fmla="*/ 7419236 h 7458372"/>
              <a:gd name="connsiteX479" fmla="*/ 2647020 w 10505529"/>
              <a:gd name="connsiteY479" fmla="*/ 7416573 h 7458372"/>
              <a:gd name="connsiteX480" fmla="*/ 2641962 w 10505529"/>
              <a:gd name="connsiteY480" fmla="*/ 7415641 h 7458372"/>
              <a:gd name="connsiteX481" fmla="*/ 2424294 w 10505529"/>
              <a:gd name="connsiteY481" fmla="*/ 7415641 h 7458372"/>
              <a:gd name="connsiteX482" fmla="*/ 2414312 w 10505529"/>
              <a:gd name="connsiteY482" fmla="*/ 7419236 h 7458372"/>
              <a:gd name="connsiteX483" fmla="*/ 2410717 w 10505529"/>
              <a:gd name="connsiteY483" fmla="*/ 7428687 h 7458372"/>
              <a:gd name="connsiteX484" fmla="*/ 2414312 w 10505529"/>
              <a:gd name="connsiteY484" fmla="*/ 7438138 h 7458372"/>
              <a:gd name="connsiteX485" fmla="*/ 2424294 w 10505529"/>
              <a:gd name="connsiteY485" fmla="*/ 7441732 h 7458372"/>
              <a:gd name="connsiteX486" fmla="*/ 2429620 w 10505529"/>
              <a:gd name="connsiteY486" fmla="*/ 7440535 h 7458372"/>
              <a:gd name="connsiteX487" fmla="*/ 2433348 w 10505529"/>
              <a:gd name="connsiteY487" fmla="*/ 7438138 h 7458372"/>
              <a:gd name="connsiteX488" fmla="*/ 2436011 w 10505529"/>
              <a:gd name="connsiteY488" fmla="*/ 7434011 h 7458372"/>
              <a:gd name="connsiteX489" fmla="*/ 2436942 w 10505529"/>
              <a:gd name="connsiteY489" fmla="*/ 7428554 h 7458372"/>
              <a:gd name="connsiteX490" fmla="*/ 2436011 w 10505529"/>
              <a:gd name="connsiteY490" fmla="*/ 7423362 h 7458372"/>
              <a:gd name="connsiteX491" fmla="*/ 2433348 w 10505529"/>
              <a:gd name="connsiteY491" fmla="*/ 7419236 h 7458372"/>
              <a:gd name="connsiteX492" fmla="*/ 2429355 w 10505529"/>
              <a:gd name="connsiteY492" fmla="*/ 7416573 h 7458372"/>
              <a:gd name="connsiteX493" fmla="*/ 2424294 w 10505529"/>
              <a:gd name="connsiteY493" fmla="*/ 7415641 h 7458372"/>
              <a:gd name="connsiteX494" fmla="*/ 2206629 w 10505529"/>
              <a:gd name="connsiteY494" fmla="*/ 7415641 h 7458372"/>
              <a:gd name="connsiteX495" fmla="*/ 2196646 w 10505529"/>
              <a:gd name="connsiteY495" fmla="*/ 7419236 h 7458372"/>
              <a:gd name="connsiteX496" fmla="*/ 2193052 w 10505529"/>
              <a:gd name="connsiteY496" fmla="*/ 7428687 h 7458372"/>
              <a:gd name="connsiteX497" fmla="*/ 2196646 w 10505529"/>
              <a:gd name="connsiteY497" fmla="*/ 7438138 h 7458372"/>
              <a:gd name="connsiteX498" fmla="*/ 2206629 w 10505529"/>
              <a:gd name="connsiteY498" fmla="*/ 7441732 h 7458372"/>
              <a:gd name="connsiteX499" fmla="*/ 2211955 w 10505529"/>
              <a:gd name="connsiteY499" fmla="*/ 7440535 h 7458372"/>
              <a:gd name="connsiteX500" fmla="*/ 2215681 w 10505529"/>
              <a:gd name="connsiteY500" fmla="*/ 7438138 h 7458372"/>
              <a:gd name="connsiteX501" fmla="*/ 2218344 w 10505529"/>
              <a:gd name="connsiteY501" fmla="*/ 7434011 h 7458372"/>
              <a:gd name="connsiteX502" fmla="*/ 2219275 w 10505529"/>
              <a:gd name="connsiteY502" fmla="*/ 7428554 h 7458372"/>
              <a:gd name="connsiteX503" fmla="*/ 2218344 w 10505529"/>
              <a:gd name="connsiteY503" fmla="*/ 7423362 h 7458372"/>
              <a:gd name="connsiteX504" fmla="*/ 2215681 w 10505529"/>
              <a:gd name="connsiteY504" fmla="*/ 7419236 h 7458372"/>
              <a:gd name="connsiteX505" fmla="*/ 2211687 w 10505529"/>
              <a:gd name="connsiteY505" fmla="*/ 7416573 h 7458372"/>
              <a:gd name="connsiteX506" fmla="*/ 2206629 w 10505529"/>
              <a:gd name="connsiteY506" fmla="*/ 7415641 h 7458372"/>
              <a:gd name="connsiteX507" fmla="*/ 1989097 w 10505529"/>
              <a:gd name="connsiteY507" fmla="*/ 7415641 h 7458372"/>
              <a:gd name="connsiteX508" fmla="*/ 1979114 w 10505529"/>
              <a:gd name="connsiteY508" fmla="*/ 7419236 h 7458372"/>
              <a:gd name="connsiteX509" fmla="*/ 1975520 w 10505529"/>
              <a:gd name="connsiteY509" fmla="*/ 7428687 h 7458372"/>
              <a:gd name="connsiteX510" fmla="*/ 1979114 w 10505529"/>
              <a:gd name="connsiteY510" fmla="*/ 7438138 h 7458372"/>
              <a:gd name="connsiteX511" fmla="*/ 1989097 w 10505529"/>
              <a:gd name="connsiteY511" fmla="*/ 7441732 h 7458372"/>
              <a:gd name="connsiteX512" fmla="*/ 1994422 w 10505529"/>
              <a:gd name="connsiteY512" fmla="*/ 7440535 h 7458372"/>
              <a:gd name="connsiteX513" fmla="*/ 1998149 w 10505529"/>
              <a:gd name="connsiteY513" fmla="*/ 7438138 h 7458372"/>
              <a:gd name="connsiteX514" fmla="*/ 2000811 w 10505529"/>
              <a:gd name="connsiteY514" fmla="*/ 7434011 h 7458372"/>
              <a:gd name="connsiteX515" fmla="*/ 2001741 w 10505529"/>
              <a:gd name="connsiteY515" fmla="*/ 7428554 h 7458372"/>
              <a:gd name="connsiteX516" fmla="*/ 2000811 w 10505529"/>
              <a:gd name="connsiteY516" fmla="*/ 7423362 h 7458372"/>
              <a:gd name="connsiteX517" fmla="*/ 1998149 w 10505529"/>
              <a:gd name="connsiteY517" fmla="*/ 7419236 h 7458372"/>
              <a:gd name="connsiteX518" fmla="*/ 1994156 w 10505529"/>
              <a:gd name="connsiteY518" fmla="*/ 7416573 h 7458372"/>
              <a:gd name="connsiteX519" fmla="*/ 1989097 w 10505529"/>
              <a:gd name="connsiteY519" fmla="*/ 7415641 h 7458372"/>
              <a:gd name="connsiteX520" fmla="*/ 1771467 w 10505529"/>
              <a:gd name="connsiteY520" fmla="*/ 7415641 h 7458372"/>
              <a:gd name="connsiteX521" fmla="*/ 1761486 w 10505529"/>
              <a:gd name="connsiteY521" fmla="*/ 7419236 h 7458372"/>
              <a:gd name="connsiteX522" fmla="*/ 1757891 w 10505529"/>
              <a:gd name="connsiteY522" fmla="*/ 7428687 h 7458372"/>
              <a:gd name="connsiteX523" fmla="*/ 1761486 w 10505529"/>
              <a:gd name="connsiteY523" fmla="*/ 7438138 h 7458372"/>
              <a:gd name="connsiteX524" fmla="*/ 1771467 w 10505529"/>
              <a:gd name="connsiteY524" fmla="*/ 7441732 h 7458372"/>
              <a:gd name="connsiteX525" fmla="*/ 1776790 w 10505529"/>
              <a:gd name="connsiteY525" fmla="*/ 7440535 h 7458372"/>
              <a:gd name="connsiteX526" fmla="*/ 1780517 w 10505529"/>
              <a:gd name="connsiteY526" fmla="*/ 7438138 h 7458372"/>
              <a:gd name="connsiteX527" fmla="*/ 1783180 w 10505529"/>
              <a:gd name="connsiteY527" fmla="*/ 7434011 h 7458372"/>
              <a:gd name="connsiteX528" fmla="*/ 1784245 w 10505529"/>
              <a:gd name="connsiteY528" fmla="*/ 7428554 h 7458372"/>
              <a:gd name="connsiteX529" fmla="*/ 1783180 w 10505529"/>
              <a:gd name="connsiteY529" fmla="*/ 7423362 h 7458372"/>
              <a:gd name="connsiteX530" fmla="*/ 1780517 w 10505529"/>
              <a:gd name="connsiteY530" fmla="*/ 7419236 h 7458372"/>
              <a:gd name="connsiteX531" fmla="*/ 1776525 w 10505529"/>
              <a:gd name="connsiteY531" fmla="*/ 7416573 h 7458372"/>
              <a:gd name="connsiteX532" fmla="*/ 1771467 w 10505529"/>
              <a:gd name="connsiteY532" fmla="*/ 7415641 h 7458372"/>
              <a:gd name="connsiteX533" fmla="*/ 1553833 w 10505529"/>
              <a:gd name="connsiteY533" fmla="*/ 7415641 h 7458372"/>
              <a:gd name="connsiteX534" fmla="*/ 1543850 w 10505529"/>
              <a:gd name="connsiteY534" fmla="*/ 7419236 h 7458372"/>
              <a:gd name="connsiteX535" fmla="*/ 1540255 w 10505529"/>
              <a:gd name="connsiteY535" fmla="*/ 7428687 h 7458372"/>
              <a:gd name="connsiteX536" fmla="*/ 1543850 w 10505529"/>
              <a:gd name="connsiteY536" fmla="*/ 7438138 h 7458372"/>
              <a:gd name="connsiteX537" fmla="*/ 1553833 w 10505529"/>
              <a:gd name="connsiteY537" fmla="*/ 7441732 h 7458372"/>
              <a:gd name="connsiteX538" fmla="*/ 1559157 w 10505529"/>
              <a:gd name="connsiteY538" fmla="*/ 7440535 h 7458372"/>
              <a:gd name="connsiteX539" fmla="*/ 1562884 w 10505529"/>
              <a:gd name="connsiteY539" fmla="*/ 7438138 h 7458372"/>
              <a:gd name="connsiteX540" fmla="*/ 1565547 w 10505529"/>
              <a:gd name="connsiteY540" fmla="*/ 7434011 h 7458372"/>
              <a:gd name="connsiteX541" fmla="*/ 1566612 w 10505529"/>
              <a:gd name="connsiteY541" fmla="*/ 7428554 h 7458372"/>
              <a:gd name="connsiteX542" fmla="*/ 1565547 w 10505529"/>
              <a:gd name="connsiteY542" fmla="*/ 7423362 h 7458372"/>
              <a:gd name="connsiteX543" fmla="*/ 1562884 w 10505529"/>
              <a:gd name="connsiteY543" fmla="*/ 7419236 h 7458372"/>
              <a:gd name="connsiteX544" fmla="*/ 1558891 w 10505529"/>
              <a:gd name="connsiteY544" fmla="*/ 7416573 h 7458372"/>
              <a:gd name="connsiteX545" fmla="*/ 1553833 w 10505529"/>
              <a:gd name="connsiteY545" fmla="*/ 7415641 h 7458372"/>
              <a:gd name="connsiteX546" fmla="*/ 1336190 w 10505529"/>
              <a:gd name="connsiteY546" fmla="*/ 7415641 h 7458372"/>
              <a:gd name="connsiteX547" fmla="*/ 1326204 w 10505529"/>
              <a:gd name="connsiteY547" fmla="*/ 7419236 h 7458372"/>
              <a:gd name="connsiteX548" fmla="*/ 1322610 w 10505529"/>
              <a:gd name="connsiteY548" fmla="*/ 7428687 h 7458372"/>
              <a:gd name="connsiteX549" fmla="*/ 1326204 w 10505529"/>
              <a:gd name="connsiteY549" fmla="*/ 7438138 h 7458372"/>
              <a:gd name="connsiteX550" fmla="*/ 1336190 w 10505529"/>
              <a:gd name="connsiteY550" fmla="*/ 7441732 h 7458372"/>
              <a:gd name="connsiteX551" fmla="*/ 1341515 w 10505529"/>
              <a:gd name="connsiteY551" fmla="*/ 7440535 h 7458372"/>
              <a:gd name="connsiteX552" fmla="*/ 1345242 w 10505529"/>
              <a:gd name="connsiteY552" fmla="*/ 7438138 h 7458372"/>
              <a:gd name="connsiteX553" fmla="*/ 1347905 w 10505529"/>
              <a:gd name="connsiteY553" fmla="*/ 7434011 h 7458372"/>
              <a:gd name="connsiteX554" fmla="*/ 1348971 w 10505529"/>
              <a:gd name="connsiteY554" fmla="*/ 7428554 h 7458372"/>
              <a:gd name="connsiteX555" fmla="*/ 1347905 w 10505529"/>
              <a:gd name="connsiteY555" fmla="*/ 7423362 h 7458372"/>
              <a:gd name="connsiteX556" fmla="*/ 1345242 w 10505529"/>
              <a:gd name="connsiteY556" fmla="*/ 7419236 h 7458372"/>
              <a:gd name="connsiteX557" fmla="*/ 1341250 w 10505529"/>
              <a:gd name="connsiteY557" fmla="*/ 7416573 h 7458372"/>
              <a:gd name="connsiteX558" fmla="*/ 1336190 w 10505529"/>
              <a:gd name="connsiteY558" fmla="*/ 7415641 h 7458372"/>
              <a:gd name="connsiteX559" fmla="*/ 1118675 w 10505529"/>
              <a:gd name="connsiteY559" fmla="*/ 7415641 h 7458372"/>
              <a:gd name="connsiteX560" fmla="*/ 1108691 w 10505529"/>
              <a:gd name="connsiteY560" fmla="*/ 7419236 h 7458372"/>
              <a:gd name="connsiteX561" fmla="*/ 1104964 w 10505529"/>
              <a:gd name="connsiteY561" fmla="*/ 7428687 h 7458372"/>
              <a:gd name="connsiteX562" fmla="*/ 1108557 w 10505529"/>
              <a:gd name="connsiteY562" fmla="*/ 7438138 h 7458372"/>
              <a:gd name="connsiteX563" fmla="*/ 1118543 w 10505529"/>
              <a:gd name="connsiteY563" fmla="*/ 7441732 h 7458372"/>
              <a:gd name="connsiteX564" fmla="*/ 1124001 w 10505529"/>
              <a:gd name="connsiteY564" fmla="*/ 7440535 h 7458372"/>
              <a:gd name="connsiteX565" fmla="*/ 1127732 w 10505529"/>
              <a:gd name="connsiteY565" fmla="*/ 7438138 h 7458372"/>
              <a:gd name="connsiteX566" fmla="*/ 1130395 w 10505529"/>
              <a:gd name="connsiteY566" fmla="*/ 7434011 h 7458372"/>
              <a:gd name="connsiteX567" fmla="*/ 1131460 w 10505529"/>
              <a:gd name="connsiteY567" fmla="*/ 7428554 h 7458372"/>
              <a:gd name="connsiteX568" fmla="*/ 1130395 w 10505529"/>
              <a:gd name="connsiteY568" fmla="*/ 7423362 h 7458372"/>
              <a:gd name="connsiteX569" fmla="*/ 1127732 w 10505529"/>
              <a:gd name="connsiteY569" fmla="*/ 7419236 h 7458372"/>
              <a:gd name="connsiteX570" fmla="*/ 1123734 w 10505529"/>
              <a:gd name="connsiteY570" fmla="*/ 7416573 h 7458372"/>
              <a:gd name="connsiteX571" fmla="*/ 1118675 w 10505529"/>
              <a:gd name="connsiteY571" fmla="*/ 7415641 h 7458372"/>
              <a:gd name="connsiteX572" fmla="*/ 901164 w 10505529"/>
              <a:gd name="connsiteY572" fmla="*/ 7415641 h 7458372"/>
              <a:gd name="connsiteX573" fmla="*/ 891180 w 10505529"/>
              <a:gd name="connsiteY573" fmla="*/ 7419236 h 7458372"/>
              <a:gd name="connsiteX574" fmla="*/ 887452 w 10505529"/>
              <a:gd name="connsiteY574" fmla="*/ 7428687 h 7458372"/>
              <a:gd name="connsiteX575" fmla="*/ 891047 w 10505529"/>
              <a:gd name="connsiteY575" fmla="*/ 7438138 h 7458372"/>
              <a:gd name="connsiteX576" fmla="*/ 901029 w 10505529"/>
              <a:gd name="connsiteY576" fmla="*/ 7441732 h 7458372"/>
              <a:gd name="connsiteX577" fmla="*/ 906488 w 10505529"/>
              <a:gd name="connsiteY577" fmla="*/ 7440535 h 7458372"/>
              <a:gd name="connsiteX578" fmla="*/ 910216 w 10505529"/>
              <a:gd name="connsiteY578" fmla="*/ 7438138 h 7458372"/>
              <a:gd name="connsiteX579" fmla="*/ 912878 w 10505529"/>
              <a:gd name="connsiteY579" fmla="*/ 7434011 h 7458372"/>
              <a:gd name="connsiteX580" fmla="*/ 913943 w 10505529"/>
              <a:gd name="connsiteY580" fmla="*/ 7428554 h 7458372"/>
              <a:gd name="connsiteX581" fmla="*/ 912878 w 10505529"/>
              <a:gd name="connsiteY581" fmla="*/ 7423362 h 7458372"/>
              <a:gd name="connsiteX582" fmla="*/ 910216 w 10505529"/>
              <a:gd name="connsiteY582" fmla="*/ 7419236 h 7458372"/>
              <a:gd name="connsiteX583" fmla="*/ 906222 w 10505529"/>
              <a:gd name="connsiteY583" fmla="*/ 7416573 h 7458372"/>
              <a:gd name="connsiteX584" fmla="*/ 901164 w 10505529"/>
              <a:gd name="connsiteY584" fmla="*/ 7415641 h 7458372"/>
              <a:gd name="connsiteX585" fmla="*/ 683390 w 10505529"/>
              <a:gd name="connsiteY585" fmla="*/ 7415641 h 7458372"/>
              <a:gd name="connsiteX586" fmla="*/ 673407 w 10505529"/>
              <a:gd name="connsiteY586" fmla="*/ 7419236 h 7458372"/>
              <a:gd name="connsiteX587" fmla="*/ 669814 w 10505529"/>
              <a:gd name="connsiteY587" fmla="*/ 7428687 h 7458372"/>
              <a:gd name="connsiteX588" fmla="*/ 673407 w 10505529"/>
              <a:gd name="connsiteY588" fmla="*/ 7438138 h 7458372"/>
              <a:gd name="connsiteX589" fmla="*/ 683390 w 10505529"/>
              <a:gd name="connsiteY589" fmla="*/ 7441732 h 7458372"/>
              <a:gd name="connsiteX590" fmla="*/ 688716 w 10505529"/>
              <a:gd name="connsiteY590" fmla="*/ 7440535 h 7458372"/>
              <a:gd name="connsiteX591" fmla="*/ 692443 w 10505529"/>
              <a:gd name="connsiteY591" fmla="*/ 7438138 h 7458372"/>
              <a:gd name="connsiteX592" fmla="*/ 695106 w 10505529"/>
              <a:gd name="connsiteY592" fmla="*/ 7434011 h 7458372"/>
              <a:gd name="connsiteX593" fmla="*/ 696171 w 10505529"/>
              <a:gd name="connsiteY593" fmla="*/ 7428554 h 7458372"/>
              <a:gd name="connsiteX594" fmla="*/ 695106 w 10505529"/>
              <a:gd name="connsiteY594" fmla="*/ 7423362 h 7458372"/>
              <a:gd name="connsiteX595" fmla="*/ 692443 w 10505529"/>
              <a:gd name="connsiteY595" fmla="*/ 7419236 h 7458372"/>
              <a:gd name="connsiteX596" fmla="*/ 688450 w 10505529"/>
              <a:gd name="connsiteY596" fmla="*/ 7416573 h 7458372"/>
              <a:gd name="connsiteX597" fmla="*/ 683390 w 10505529"/>
              <a:gd name="connsiteY597" fmla="*/ 7415641 h 7458372"/>
              <a:gd name="connsiteX598" fmla="*/ 465751 w 10505529"/>
              <a:gd name="connsiteY598" fmla="*/ 7415641 h 7458372"/>
              <a:gd name="connsiteX599" fmla="*/ 455767 w 10505529"/>
              <a:gd name="connsiteY599" fmla="*/ 7419236 h 7458372"/>
              <a:gd name="connsiteX600" fmla="*/ 452173 w 10505529"/>
              <a:gd name="connsiteY600" fmla="*/ 7428687 h 7458372"/>
              <a:gd name="connsiteX601" fmla="*/ 455767 w 10505529"/>
              <a:gd name="connsiteY601" fmla="*/ 7438138 h 7458372"/>
              <a:gd name="connsiteX602" fmla="*/ 465751 w 10505529"/>
              <a:gd name="connsiteY602" fmla="*/ 7441732 h 7458372"/>
              <a:gd name="connsiteX603" fmla="*/ 471076 w 10505529"/>
              <a:gd name="connsiteY603" fmla="*/ 7440535 h 7458372"/>
              <a:gd name="connsiteX604" fmla="*/ 474803 w 10505529"/>
              <a:gd name="connsiteY604" fmla="*/ 7438138 h 7458372"/>
              <a:gd name="connsiteX605" fmla="*/ 477466 w 10505529"/>
              <a:gd name="connsiteY605" fmla="*/ 7434011 h 7458372"/>
              <a:gd name="connsiteX606" fmla="*/ 478531 w 10505529"/>
              <a:gd name="connsiteY606" fmla="*/ 7428554 h 7458372"/>
              <a:gd name="connsiteX607" fmla="*/ 477466 w 10505529"/>
              <a:gd name="connsiteY607" fmla="*/ 7423362 h 7458372"/>
              <a:gd name="connsiteX608" fmla="*/ 474803 w 10505529"/>
              <a:gd name="connsiteY608" fmla="*/ 7419236 h 7458372"/>
              <a:gd name="connsiteX609" fmla="*/ 470810 w 10505529"/>
              <a:gd name="connsiteY609" fmla="*/ 7416573 h 7458372"/>
              <a:gd name="connsiteX610" fmla="*/ 465751 w 10505529"/>
              <a:gd name="connsiteY610" fmla="*/ 7415641 h 7458372"/>
              <a:gd name="connsiteX611" fmla="*/ 248110 w 10505529"/>
              <a:gd name="connsiteY611" fmla="*/ 7415641 h 7458372"/>
              <a:gd name="connsiteX612" fmla="*/ 238128 w 10505529"/>
              <a:gd name="connsiteY612" fmla="*/ 7419236 h 7458372"/>
              <a:gd name="connsiteX613" fmla="*/ 234534 w 10505529"/>
              <a:gd name="connsiteY613" fmla="*/ 7428687 h 7458372"/>
              <a:gd name="connsiteX614" fmla="*/ 238128 w 10505529"/>
              <a:gd name="connsiteY614" fmla="*/ 7438138 h 7458372"/>
              <a:gd name="connsiteX615" fmla="*/ 248110 w 10505529"/>
              <a:gd name="connsiteY615" fmla="*/ 7441732 h 7458372"/>
              <a:gd name="connsiteX616" fmla="*/ 253434 w 10505529"/>
              <a:gd name="connsiteY616" fmla="*/ 7440535 h 7458372"/>
              <a:gd name="connsiteX617" fmla="*/ 257161 w 10505529"/>
              <a:gd name="connsiteY617" fmla="*/ 7438138 h 7458372"/>
              <a:gd name="connsiteX618" fmla="*/ 259824 w 10505529"/>
              <a:gd name="connsiteY618" fmla="*/ 7434011 h 7458372"/>
              <a:gd name="connsiteX619" fmla="*/ 260889 w 10505529"/>
              <a:gd name="connsiteY619" fmla="*/ 7428554 h 7458372"/>
              <a:gd name="connsiteX620" fmla="*/ 259824 w 10505529"/>
              <a:gd name="connsiteY620" fmla="*/ 7423362 h 7458372"/>
              <a:gd name="connsiteX621" fmla="*/ 257161 w 10505529"/>
              <a:gd name="connsiteY621" fmla="*/ 7419236 h 7458372"/>
              <a:gd name="connsiteX622" fmla="*/ 253168 w 10505529"/>
              <a:gd name="connsiteY622" fmla="*/ 7416573 h 7458372"/>
              <a:gd name="connsiteX623" fmla="*/ 248110 w 10505529"/>
              <a:gd name="connsiteY623" fmla="*/ 7415641 h 7458372"/>
              <a:gd name="connsiteX624" fmla="*/ 30469 w 10505529"/>
              <a:gd name="connsiteY624" fmla="*/ 7415641 h 7458372"/>
              <a:gd name="connsiteX625" fmla="*/ 20486 w 10505529"/>
              <a:gd name="connsiteY625" fmla="*/ 7419236 h 7458372"/>
              <a:gd name="connsiteX626" fmla="*/ 16893 w 10505529"/>
              <a:gd name="connsiteY626" fmla="*/ 7428687 h 7458372"/>
              <a:gd name="connsiteX627" fmla="*/ 20486 w 10505529"/>
              <a:gd name="connsiteY627" fmla="*/ 7438138 h 7458372"/>
              <a:gd name="connsiteX628" fmla="*/ 30469 w 10505529"/>
              <a:gd name="connsiteY628" fmla="*/ 7441732 h 7458372"/>
              <a:gd name="connsiteX629" fmla="*/ 35794 w 10505529"/>
              <a:gd name="connsiteY629" fmla="*/ 7440535 h 7458372"/>
              <a:gd name="connsiteX630" fmla="*/ 39521 w 10505529"/>
              <a:gd name="connsiteY630" fmla="*/ 7438138 h 7458372"/>
              <a:gd name="connsiteX631" fmla="*/ 42184 w 10505529"/>
              <a:gd name="connsiteY631" fmla="*/ 7434011 h 7458372"/>
              <a:gd name="connsiteX632" fmla="*/ 43115 w 10505529"/>
              <a:gd name="connsiteY632" fmla="*/ 7428554 h 7458372"/>
              <a:gd name="connsiteX633" fmla="*/ 42184 w 10505529"/>
              <a:gd name="connsiteY633" fmla="*/ 7423362 h 7458372"/>
              <a:gd name="connsiteX634" fmla="*/ 39521 w 10505529"/>
              <a:gd name="connsiteY634" fmla="*/ 7419236 h 7458372"/>
              <a:gd name="connsiteX635" fmla="*/ 35528 w 10505529"/>
              <a:gd name="connsiteY635" fmla="*/ 7416573 h 7458372"/>
              <a:gd name="connsiteX636" fmla="*/ 30469 w 10505529"/>
              <a:gd name="connsiteY636" fmla="*/ 7415641 h 7458372"/>
              <a:gd name="connsiteX637" fmla="*/ 10475977 w 10505529"/>
              <a:gd name="connsiteY637" fmla="*/ 7399134 h 7458372"/>
              <a:gd name="connsiteX638" fmla="*/ 10487824 w 10505529"/>
              <a:gd name="connsiteY638" fmla="*/ 7401530 h 7458372"/>
              <a:gd name="connsiteX639" fmla="*/ 10497143 w 10505529"/>
              <a:gd name="connsiteY639" fmla="*/ 7407787 h 7458372"/>
              <a:gd name="connsiteX640" fmla="*/ 10503266 w 10505529"/>
              <a:gd name="connsiteY640" fmla="*/ 7417239 h 7458372"/>
              <a:gd name="connsiteX641" fmla="*/ 10505529 w 10505529"/>
              <a:gd name="connsiteY641" fmla="*/ 7428687 h 7458372"/>
              <a:gd name="connsiteX642" fmla="*/ 10503266 w 10505529"/>
              <a:gd name="connsiteY642" fmla="*/ 7440402 h 7458372"/>
              <a:gd name="connsiteX643" fmla="*/ 10497143 w 10505529"/>
              <a:gd name="connsiteY643" fmla="*/ 7449852 h 7458372"/>
              <a:gd name="connsiteX644" fmla="*/ 10487824 w 10505529"/>
              <a:gd name="connsiteY644" fmla="*/ 7456109 h 7458372"/>
              <a:gd name="connsiteX645" fmla="*/ 10475977 w 10505529"/>
              <a:gd name="connsiteY645" fmla="*/ 7458372 h 7458372"/>
              <a:gd name="connsiteX646" fmla="*/ 10454145 w 10505529"/>
              <a:gd name="connsiteY646" fmla="*/ 7449852 h 7458372"/>
              <a:gd name="connsiteX647" fmla="*/ 10445759 w 10505529"/>
              <a:gd name="connsiteY647" fmla="*/ 7428687 h 7458372"/>
              <a:gd name="connsiteX648" fmla="*/ 10454145 w 10505529"/>
              <a:gd name="connsiteY648" fmla="*/ 7407654 h 7458372"/>
              <a:gd name="connsiteX649" fmla="*/ 10475977 w 10505529"/>
              <a:gd name="connsiteY649" fmla="*/ 7399134 h 7458372"/>
              <a:gd name="connsiteX650" fmla="*/ 10258466 w 10505529"/>
              <a:gd name="connsiteY650" fmla="*/ 7399134 h 7458372"/>
              <a:gd name="connsiteX651" fmla="*/ 10270313 w 10505529"/>
              <a:gd name="connsiteY651" fmla="*/ 7401530 h 7458372"/>
              <a:gd name="connsiteX652" fmla="*/ 10279631 w 10505529"/>
              <a:gd name="connsiteY652" fmla="*/ 7407787 h 7458372"/>
              <a:gd name="connsiteX653" fmla="*/ 10285754 w 10505529"/>
              <a:gd name="connsiteY653" fmla="*/ 7417239 h 7458372"/>
              <a:gd name="connsiteX654" fmla="*/ 10288017 w 10505529"/>
              <a:gd name="connsiteY654" fmla="*/ 7428687 h 7458372"/>
              <a:gd name="connsiteX655" fmla="*/ 10285754 w 10505529"/>
              <a:gd name="connsiteY655" fmla="*/ 7440402 h 7458372"/>
              <a:gd name="connsiteX656" fmla="*/ 10279631 w 10505529"/>
              <a:gd name="connsiteY656" fmla="*/ 7449852 h 7458372"/>
              <a:gd name="connsiteX657" fmla="*/ 10270313 w 10505529"/>
              <a:gd name="connsiteY657" fmla="*/ 7456109 h 7458372"/>
              <a:gd name="connsiteX658" fmla="*/ 10258466 w 10505529"/>
              <a:gd name="connsiteY658" fmla="*/ 7458372 h 7458372"/>
              <a:gd name="connsiteX659" fmla="*/ 10236633 w 10505529"/>
              <a:gd name="connsiteY659" fmla="*/ 7449852 h 7458372"/>
              <a:gd name="connsiteX660" fmla="*/ 10228247 w 10505529"/>
              <a:gd name="connsiteY660" fmla="*/ 7428687 h 7458372"/>
              <a:gd name="connsiteX661" fmla="*/ 10236633 w 10505529"/>
              <a:gd name="connsiteY661" fmla="*/ 7407654 h 7458372"/>
              <a:gd name="connsiteX662" fmla="*/ 10258466 w 10505529"/>
              <a:gd name="connsiteY662" fmla="*/ 7399134 h 7458372"/>
              <a:gd name="connsiteX663" fmla="*/ 10040820 w 10505529"/>
              <a:gd name="connsiteY663" fmla="*/ 7399134 h 7458372"/>
              <a:gd name="connsiteX664" fmla="*/ 10052534 w 10505529"/>
              <a:gd name="connsiteY664" fmla="*/ 7401530 h 7458372"/>
              <a:gd name="connsiteX665" fmla="*/ 10061852 w 10505529"/>
              <a:gd name="connsiteY665" fmla="*/ 7407787 h 7458372"/>
              <a:gd name="connsiteX666" fmla="*/ 10067976 w 10505529"/>
              <a:gd name="connsiteY666" fmla="*/ 7417239 h 7458372"/>
              <a:gd name="connsiteX667" fmla="*/ 10070239 w 10505529"/>
              <a:gd name="connsiteY667" fmla="*/ 7428687 h 7458372"/>
              <a:gd name="connsiteX668" fmla="*/ 10067976 w 10505529"/>
              <a:gd name="connsiteY668" fmla="*/ 7440402 h 7458372"/>
              <a:gd name="connsiteX669" fmla="*/ 10061852 w 10505529"/>
              <a:gd name="connsiteY669" fmla="*/ 7449852 h 7458372"/>
              <a:gd name="connsiteX670" fmla="*/ 10052534 w 10505529"/>
              <a:gd name="connsiteY670" fmla="*/ 7456109 h 7458372"/>
              <a:gd name="connsiteX671" fmla="*/ 10040820 w 10505529"/>
              <a:gd name="connsiteY671" fmla="*/ 7458372 h 7458372"/>
              <a:gd name="connsiteX672" fmla="*/ 10018988 w 10505529"/>
              <a:gd name="connsiteY672" fmla="*/ 7449852 h 7458372"/>
              <a:gd name="connsiteX673" fmla="*/ 10010602 w 10505529"/>
              <a:gd name="connsiteY673" fmla="*/ 7428687 h 7458372"/>
              <a:gd name="connsiteX674" fmla="*/ 10018988 w 10505529"/>
              <a:gd name="connsiteY674" fmla="*/ 7407654 h 7458372"/>
              <a:gd name="connsiteX675" fmla="*/ 10040820 w 10505529"/>
              <a:gd name="connsiteY675" fmla="*/ 7399134 h 7458372"/>
              <a:gd name="connsiteX676" fmla="*/ 9823176 w 10505529"/>
              <a:gd name="connsiteY676" fmla="*/ 7399134 h 7458372"/>
              <a:gd name="connsiteX677" fmla="*/ 9834890 w 10505529"/>
              <a:gd name="connsiteY677" fmla="*/ 7401530 h 7458372"/>
              <a:gd name="connsiteX678" fmla="*/ 9844208 w 10505529"/>
              <a:gd name="connsiteY678" fmla="*/ 7407787 h 7458372"/>
              <a:gd name="connsiteX679" fmla="*/ 9850331 w 10505529"/>
              <a:gd name="connsiteY679" fmla="*/ 7417239 h 7458372"/>
              <a:gd name="connsiteX680" fmla="*/ 9852595 w 10505529"/>
              <a:gd name="connsiteY680" fmla="*/ 7428687 h 7458372"/>
              <a:gd name="connsiteX681" fmla="*/ 9850331 w 10505529"/>
              <a:gd name="connsiteY681" fmla="*/ 7440402 h 7458372"/>
              <a:gd name="connsiteX682" fmla="*/ 9844208 w 10505529"/>
              <a:gd name="connsiteY682" fmla="*/ 7449852 h 7458372"/>
              <a:gd name="connsiteX683" fmla="*/ 9834890 w 10505529"/>
              <a:gd name="connsiteY683" fmla="*/ 7456109 h 7458372"/>
              <a:gd name="connsiteX684" fmla="*/ 9823176 w 10505529"/>
              <a:gd name="connsiteY684" fmla="*/ 7458372 h 7458372"/>
              <a:gd name="connsiteX685" fmla="*/ 9801343 w 10505529"/>
              <a:gd name="connsiteY685" fmla="*/ 7449852 h 7458372"/>
              <a:gd name="connsiteX686" fmla="*/ 9792957 w 10505529"/>
              <a:gd name="connsiteY686" fmla="*/ 7428687 h 7458372"/>
              <a:gd name="connsiteX687" fmla="*/ 9801343 w 10505529"/>
              <a:gd name="connsiteY687" fmla="*/ 7407654 h 7458372"/>
              <a:gd name="connsiteX688" fmla="*/ 9823176 w 10505529"/>
              <a:gd name="connsiteY688" fmla="*/ 7399134 h 7458372"/>
              <a:gd name="connsiteX689" fmla="*/ 9605531 w 10505529"/>
              <a:gd name="connsiteY689" fmla="*/ 7399134 h 7458372"/>
              <a:gd name="connsiteX690" fmla="*/ 9617245 w 10505529"/>
              <a:gd name="connsiteY690" fmla="*/ 7401530 h 7458372"/>
              <a:gd name="connsiteX691" fmla="*/ 9626562 w 10505529"/>
              <a:gd name="connsiteY691" fmla="*/ 7407787 h 7458372"/>
              <a:gd name="connsiteX692" fmla="*/ 9632686 w 10505529"/>
              <a:gd name="connsiteY692" fmla="*/ 7417239 h 7458372"/>
              <a:gd name="connsiteX693" fmla="*/ 9634949 w 10505529"/>
              <a:gd name="connsiteY693" fmla="*/ 7428687 h 7458372"/>
              <a:gd name="connsiteX694" fmla="*/ 9632686 w 10505529"/>
              <a:gd name="connsiteY694" fmla="*/ 7440402 h 7458372"/>
              <a:gd name="connsiteX695" fmla="*/ 9626562 w 10505529"/>
              <a:gd name="connsiteY695" fmla="*/ 7449852 h 7458372"/>
              <a:gd name="connsiteX696" fmla="*/ 9617245 w 10505529"/>
              <a:gd name="connsiteY696" fmla="*/ 7456109 h 7458372"/>
              <a:gd name="connsiteX697" fmla="*/ 9605531 w 10505529"/>
              <a:gd name="connsiteY697" fmla="*/ 7458372 h 7458372"/>
              <a:gd name="connsiteX698" fmla="*/ 9583698 w 10505529"/>
              <a:gd name="connsiteY698" fmla="*/ 7449852 h 7458372"/>
              <a:gd name="connsiteX699" fmla="*/ 9575312 w 10505529"/>
              <a:gd name="connsiteY699" fmla="*/ 7428687 h 7458372"/>
              <a:gd name="connsiteX700" fmla="*/ 9583698 w 10505529"/>
              <a:gd name="connsiteY700" fmla="*/ 7407654 h 7458372"/>
              <a:gd name="connsiteX701" fmla="*/ 9605531 w 10505529"/>
              <a:gd name="connsiteY701" fmla="*/ 7399134 h 7458372"/>
              <a:gd name="connsiteX702" fmla="*/ 9387885 w 10505529"/>
              <a:gd name="connsiteY702" fmla="*/ 7399134 h 7458372"/>
              <a:gd name="connsiteX703" fmla="*/ 9399599 w 10505529"/>
              <a:gd name="connsiteY703" fmla="*/ 7401530 h 7458372"/>
              <a:gd name="connsiteX704" fmla="*/ 9408917 w 10505529"/>
              <a:gd name="connsiteY704" fmla="*/ 7407787 h 7458372"/>
              <a:gd name="connsiteX705" fmla="*/ 9415041 w 10505529"/>
              <a:gd name="connsiteY705" fmla="*/ 7417239 h 7458372"/>
              <a:gd name="connsiteX706" fmla="*/ 9417304 w 10505529"/>
              <a:gd name="connsiteY706" fmla="*/ 7428687 h 7458372"/>
              <a:gd name="connsiteX707" fmla="*/ 9415041 w 10505529"/>
              <a:gd name="connsiteY707" fmla="*/ 7440402 h 7458372"/>
              <a:gd name="connsiteX708" fmla="*/ 9408917 w 10505529"/>
              <a:gd name="connsiteY708" fmla="*/ 7449852 h 7458372"/>
              <a:gd name="connsiteX709" fmla="*/ 9399599 w 10505529"/>
              <a:gd name="connsiteY709" fmla="*/ 7456109 h 7458372"/>
              <a:gd name="connsiteX710" fmla="*/ 9387885 w 10505529"/>
              <a:gd name="connsiteY710" fmla="*/ 7458372 h 7458372"/>
              <a:gd name="connsiteX711" fmla="*/ 9366053 w 10505529"/>
              <a:gd name="connsiteY711" fmla="*/ 7449852 h 7458372"/>
              <a:gd name="connsiteX712" fmla="*/ 9357667 w 10505529"/>
              <a:gd name="connsiteY712" fmla="*/ 7428687 h 7458372"/>
              <a:gd name="connsiteX713" fmla="*/ 9366053 w 10505529"/>
              <a:gd name="connsiteY713" fmla="*/ 7407654 h 7458372"/>
              <a:gd name="connsiteX714" fmla="*/ 9387885 w 10505529"/>
              <a:gd name="connsiteY714" fmla="*/ 7399134 h 7458372"/>
              <a:gd name="connsiteX715" fmla="*/ 9170374 w 10505529"/>
              <a:gd name="connsiteY715" fmla="*/ 7399134 h 7458372"/>
              <a:gd name="connsiteX716" fmla="*/ 9182088 w 10505529"/>
              <a:gd name="connsiteY716" fmla="*/ 7401530 h 7458372"/>
              <a:gd name="connsiteX717" fmla="*/ 9191405 w 10505529"/>
              <a:gd name="connsiteY717" fmla="*/ 7407787 h 7458372"/>
              <a:gd name="connsiteX718" fmla="*/ 9197529 w 10505529"/>
              <a:gd name="connsiteY718" fmla="*/ 7417239 h 7458372"/>
              <a:gd name="connsiteX719" fmla="*/ 9199792 w 10505529"/>
              <a:gd name="connsiteY719" fmla="*/ 7428687 h 7458372"/>
              <a:gd name="connsiteX720" fmla="*/ 9197529 w 10505529"/>
              <a:gd name="connsiteY720" fmla="*/ 7440402 h 7458372"/>
              <a:gd name="connsiteX721" fmla="*/ 9191405 w 10505529"/>
              <a:gd name="connsiteY721" fmla="*/ 7449852 h 7458372"/>
              <a:gd name="connsiteX722" fmla="*/ 9182088 w 10505529"/>
              <a:gd name="connsiteY722" fmla="*/ 7456109 h 7458372"/>
              <a:gd name="connsiteX723" fmla="*/ 9170374 w 10505529"/>
              <a:gd name="connsiteY723" fmla="*/ 7458372 h 7458372"/>
              <a:gd name="connsiteX724" fmla="*/ 9148541 w 10505529"/>
              <a:gd name="connsiteY724" fmla="*/ 7449852 h 7458372"/>
              <a:gd name="connsiteX725" fmla="*/ 9140155 w 10505529"/>
              <a:gd name="connsiteY725" fmla="*/ 7428687 h 7458372"/>
              <a:gd name="connsiteX726" fmla="*/ 9148541 w 10505529"/>
              <a:gd name="connsiteY726" fmla="*/ 7407654 h 7458372"/>
              <a:gd name="connsiteX727" fmla="*/ 9170374 w 10505529"/>
              <a:gd name="connsiteY727" fmla="*/ 7399134 h 7458372"/>
              <a:gd name="connsiteX728" fmla="*/ 8952728 w 10505529"/>
              <a:gd name="connsiteY728" fmla="*/ 7399134 h 7458372"/>
              <a:gd name="connsiteX729" fmla="*/ 8964442 w 10505529"/>
              <a:gd name="connsiteY729" fmla="*/ 7401530 h 7458372"/>
              <a:gd name="connsiteX730" fmla="*/ 8973760 w 10505529"/>
              <a:gd name="connsiteY730" fmla="*/ 7407787 h 7458372"/>
              <a:gd name="connsiteX731" fmla="*/ 8979884 w 10505529"/>
              <a:gd name="connsiteY731" fmla="*/ 7417239 h 7458372"/>
              <a:gd name="connsiteX732" fmla="*/ 8982147 w 10505529"/>
              <a:gd name="connsiteY732" fmla="*/ 7428687 h 7458372"/>
              <a:gd name="connsiteX733" fmla="*/ 8979884 w 10505529"/>
              <a:gd name="connsiteY733" fmla="*/ 7440402 h 7458372"/>
              <a:gd name="connsiteX734" fmla="*/ 8973760 w 10505529"/>
              <a:gd name="connsiteY734" fmla="*/ 7449852 h 7458372"/>
              <a:gd name="connsiteX735" fmla="*/ 8964442 w 10505529"/>
              <a:gd name="connsiteY735" fmla="*/ 7456109 h 7458372"/>
              <a:gd name="connsiteX736" fmla="*/ 8952728 w 10505529"/>
              <a:gd name="connsiteY736" fmla="*/ 7458372 h 7458372"/>
              <a:gd name="connsiteX737" fmla="*/ 8930896 w 10505529"/>
              <a:gd name="connsiteY737" fmla="*/ 7449852 h 7458372"/>
              <a:gd name="connsiteX738" fmla="*/ 8922510 w 10505529"/>
              <a:gd name="connsiteY738" fmla="*/ 7428687 h 7458372"/>
              <a:gd name="connsiteX739" fmla="*/ 8930896 w 10505529"/>
              <a:gd name="connsiteY739" fmla="*/ 7407654 h 7458372"/>
              <a:gd name="connsiteX740" fmla="*/ 8952728 w 10505529"/>
              <a:gd name="connsiteY740" fmla="*/ 7399134 h 7458372"/>
              <a:gd name="connsiteX741" fmla="*/ 8735083 w 10505529"/>
              <a:gd name="connsiteY741" fmla="*/ 7399134 h 7458372"/>
              <a:gd name="connsiteX742" fmla="*/ 8746797 w 10505529"/>
              <a:gd name="connsiteY742" fmla="*/ 7401530 h 7458372"/>
              <a:gd name="connsiteX743" fmla="*/ 8756115 w 10505529"/>
              <a:gd name="connsiteY743" fmla="*/ 7407787 h 7458372"/>
              <a:gd name="connsiteX744" fmla="*/ 8762238 w 10505529"/>
              <a:gd name="connsiteY744" fmla="*/ 7417239 h 7458372"/>
              <a:gd name="connsiteX745" fmla="*/ 8764502 w 10505529"/>
              <a:gd name="connsiteY745" fmla="*/ 7428687 h 7458372"/>
              <a:gd name="connsiteX746" fmla="*/ 8762238 w 10505529"/>
              <a:gd name="connsiteY746" fmla="*/ 7440402 h 7458372"/>
              <a:gd name="connsiteX747" fmla="*/ 8756115 w 10505529"/>
              <a:gd name="connsiteY747" fmla="*/ 7449852 h 7458372"/>
              <a:gd name="connsiteX748" fmla="*/ 8746797 w 10505529"/>
              <a:gd name="connsiteY748" fmla="*/ 7456109 h 7458372"/>
              <a:gd name="connsiteX749" fmla="*/ 8735083 w 10505529"/>
              <a:gd name="connsiteY749" fmla="*/ 7458372 h 7458372"/>
              <a:gd name="connsiteX750" fmla="*/ 8713250 w 10505529"/>
              <a:gd name="connsiteY750" fmla="*/ 7449852 h 7458372"/>
              <a:gd name="connsiteX751" fmla="*/ 8704864 w 10505529"/>
              <a:gd name="connsiteY751" fmla="*/ 7428687 h 7458372"/>
              <a:gd name="connsiteX752" fmla="*/ 8713250 w 10505529"/>
              <a:gd name="connsiteY752" fmla="*/ 7407654 h 7458372"/>
              <a:gd name="connsiteX753" fmla="*/ 8735083 w 10505529"/>
              <a:gd name="connsiteY753" fmla="*/ 7399134 h 7458372"/>
              <a:gd name="connsiteX754" fmla="*/ 8517438 w 10505529"/>
              <a:gd name="connsiteY754" fmla="*/ 7399134 h 7458372"/>
              <a:gd name="connsiteX755" fmla="*/ 8529152 w 10505529"/>
              <a:gd name="connsiteY755" fmla="*/ 7401530 h 7458372"/>
              <a:gd name="connsiteX756" fmla="*/ 8538470 w 10505529"/>
              <a:gd name="connsiteY756" fmla="*/ 7407787 h 7458372"/>
              <a:gd name="connsiteX757" fmla="*/ 8544594 w 10505529"/>
              <a:gd name="connsiteY757" fmla="*/ 7417239 h 7458372"/>
              <a:gd name="connsiteX758" fmla="*/ 8546857 w 10505529"/>
              <a:gd name="connsiteY758" fmla="*/ 7428687 h 7458372"/>
              <a:gd name="connsiteX759" fmla="*/ 8544594 w 10505529"/>
              <a:gd name="connsiteY759" fmla="*/ 7440402 h 7458372"/>
              <a:gd name="connsiteX760" fmla="*/ 8538470 w 10505529"/>
              <a:gd name="connsiteY760" fmla="*/ 7449852 h 7458372"/>
              <a:gd name="connsiteX761" fmla="*/ 8529152 w 10505529"/>
              <a:gd name="connsiteY761" fmla="*/ 7456109 h 7458372"/>
              <a:gd name="connsiteX762" fmla="*/ 8517438 w 10505529"/>
              <a:gd name="connsiteY762" fmla="*/ 7458372 h 7458372"/>
              <a:gd name="connsiteX763" fmla="*/ 8495606 w 10505529"/>
              <a:gd name="connsiteY763" fmla="*/ 7449852 h 7458372"/>
              <a:gd name="connsiteX764" fmla="*/ 8487220 w 10505529"/>
              <a:gd name="connsiteY764" fmla="*/ 7428687 h 7458372"/>
              <a:gd name="connsiteX765" fmla="*/ 8495606 w 10505529"/>
              <a:gd name="connsiteY765" fmla="*/ 7407654 h 7458372"/>
              <a:gd name="connsiteX766" fmla="*/ 8517438 w 10505529"/>
              <a:gd name="connsiteY766" fmla="*/ 7399134 h 7458372"/>
              <a:gd name="connsiteX767" fmla="*/ 8299793 w 10505529"/>
              <a:gd name="connsiteY767" fmla="*/ 7399134 h 7458372"/>
              <a:gd name="connsiteX768" fmla="*/ 8311507 w 10505529"/>
              <a:gd name="connsiteY768" fmla="*/ 7401530 h 7458372"/>
              <a:gd name="connsiteX769" fmla="*/ 8320825 w 10505529"/>
              <a:gd name="connsiteY769" fmla="*/ 7407787 h 7458372"/>
              <a:gd name="connsiteX770" fmla="*/ 8326948 w 10505529"/>
              <a:gd name="connsiteY770" fmla="*/ 7417239 h 7458372"/>
              <a:gd name="connsiteX771" fmla="*/ 8329212 w 10505529"/>
              <a:gd name="connsiteY771" fmla="*/ 7428687 h 7458372"/>
              <a:gd name="connsiteX772" fmla="*/ 8326948 w 10505529"/>
              <a:gd name="connsiteY772" fmla="*/ 7440402 h 7458372"/>
              <a:gd name="connsiteX773" fmla="*/ 8320825 w 10505529"/>
              <a:gd name="connsiteY773" fmla="*/ 7449852 h 7458372"/>
              <a:gd name="connsiteX774" fmla="*/ 8311507 w 10505529"/>
              <a:gd name="connsiteY774" fmla="*/ 7456109 h 7458372"/>
              <a:gd name="connsiteX775" fmla="*/ 8299793 w 10505529"/>
              <a:gd name="connsiteY775" fmla="*/ 7458372 h 7458372"/>
              <a:gd name="connsiteX776" fmla="*/ 8277960 w 10505529"/>
              <a:gd name="connsiteY776" fmla="*/ 7449852 h 7458372"/>
              <a:gd name="connsiteX777" fmla="*/ 8269574 w 10505529"/>
              <a:gd name="connsiteY777" fmla="*/ 7428687 h 7458372"/>
              <a:gd name="connsiteX778" fmla="*/ 8277960 w 10505529"/>
              <a:gd name="connsiteY778" fmla="*/ 7407654 h 7458372"/>
              <a:gd name="connsiteX779" fmla="*/ 8299793 w 10505529"/>
              <a:gd name="connsiteY779" fmla="*/ 7399134 h 7458372"/>
              <a:gd name="connsiteX780" fmla="*/ 8082281 w 10505529"/>
              <a:gd name="connsiteY780" fmla="*/ 7399134 h 7458372"/>
              <a:gd name="connsiteX781" fmla="*/ 8094127 w 10505529"/>
              <a:gd name="connsiteY781" fmla="*/ 7401530 h 7458372"/>
              <a:gd name="connsiteX782" fmla="*/ 8103446 w 10505529"/>
              <a:gd name="connsiteY782" fmla="*/ 7407787 h 7458372"/>
              <a:gd name="connsiteX783" fmla="*/ 8109569 w 10505529"/>
              <a:gd name="connsiteY783" fmla="*/ 7417239 h 7458372"/>
              <a:gd name="connsiteX784" fmla="*/ 8111832 w 10505529"/>
              <a:gd name="connsiteY784" fmla="*/ 7428687 h 7458372"/>
              <a:gd name="connsiteX785" fmla="*/ 8109569 w 10505529"/>
              <a:gd name="connsiteY785" fmla="*/ 7440402 h 7458372"/>
              <a:gd name="connsiteX786" fmla="*/ 8103446 w 10505529"/>
              <a:gd name="connsiteY786" fmla="*/ 7449852 h 7458372"/>
              <a:gd name="connsiteX787" fmla="*/ 8094127 w 10505529"/>
              <a:gd name="connsiteY787" fmla="*/ 7456109 h 7458372"/>
              <a:gd name="connsiteX788" fmla="*/ 8082281 w 10505529"/>
              <a:gd name="connsiteY788" fmla="*/ 7458372 h 7458372"/>
              <a:gd name="connsiteX789" fmla="*/ 8060448 w 10505529"/>
              <a:gd name="connsiteY789" fmla="*/ 7449852 h 7458372"/>
              <a:gd name="connsiteX790" fmla="*/ 8052062 w 10505529"/>
              <a:gd name="connsiteY790" fmla="*/ 7428687 h 7458372"/>
              <a:gd name="connsiteX791" fmla="*/ 8060448 w 10505529"/>
              <a:gd name="connsiteY791" fmla="*/ 7407654 h 7458372"/>
              <a:gd name="connsiteX792" fmla="*/ 8082281 w 10505529"/>
              <a:gd name="connsiteY792" fmla="*/ 7399134 h 7458372"/>
              <a:gd name="connsiteX793" fmla="*/ 7864636 w 10505529"/>
              <a:gd name="connsiteY793" fmla="*/ 7399134 h 7458372"/>
              <a:gd name="connsiteX794" fmla="*/ 7876483 w 10505529"/>
              <a:gd name="connsiteY794" fmla="*/ 7401530 h 7458372"/>
              <a:gd name="connsiteX795" fmla="*/ 7885802 w 10505529"/>
              <a:gd name="connsiteY795" fmla="*/ 7407787 h 7458372"/>
              <a:gd name="connsiteX796" fmla="*/ 7891924 w 10505529"/>
              <a:gd name="connsiteY796" fmla="*/ 7417239 h 7458372"/>
              <a:gd name="connsiteX797" fmla="*/ 7894188 w 10505529"/>
              <a:gd name="connsiteY797" fmla="*/ 7428687 h 7458372"/>
              <a:gd name="connsiteX798" fmla="*/ 7891924 w 10505529"/>
              <a:gd name="connsiteY798" fmla="*/ 7440402 h 7458372"/>
              <a:gd name="connsiteX799" fmla="*/ 7885802 w 10505529"/>
              <a:gd name="connsiteY799" fmla="*/ 7449852 h 7458372"/>
              <a:gd name="connsiteX800" fmla="*/ 7876483 w 10505529"/>
              <a:gd name="connsiteY800" fmla="*/ 7456109 h 7458372"/>
              <a:gd name="connsiteX801" fmla="*/ 7864636 w 10505529"/>
              <a:gd name="connsiteY801" fmla="*/ 7458372 h 7458372"/>
              <a:gd name="connsiteX802" fmla="*/ 7842803 w 10505529"/>
              <a:gd name="connsiteY802" fmla="*/ 7449852 h 7458372"/>
              <a:gd name="connsiteX803" fmla="*/ 7834417 w 10505529"/>
              <a:gd name="connsiteY803" fmla="*/ 7428687 h 7458372"/>
              <a:gd name="connsiteX804" fmla="*/ 7842803 w 10505529"/>
              <a:gd name="connsiteY804" fmla="*/ 7407654 h 7458372"/>
              <a:gd name="connsiteX805" fmla="*/ 7864636 w 10505529"/>
              <a:gd name="connsiteY805" fmla="*/ 7399134 h 7458372"/>
              <a:gd name="connsiteX806" fmla="*/ 7646991 w 10505529"/>
              <a:gd name="connsiteY806" fmla="*/ 7399134 h 7458372"/>
              <a:gd name="connsiteX807" fmla="*/ 7658705 w 10505529"/>
              <a:gd name="connsiteY807" fmla="*/ 7401530 h 7458372"/>
              <a:gd name="connsiteX808" fmla="*/ 7668022 w 10505529"/>
              <a:gd name="connsiteY808" fmla="*/ 7407787 h 7458372"/>
              <a:gd name="connsiteX809" fmla="*/ 7674146 w 10505529"/>
              <a:gd name="connsiteY809" fmla="*/ 7417239 h 7458372"/>
              <a:gd name="connsiteX810" fmla="*/ 7676409 w 10505529"/>
              <a:gd name="connsiteY810" fmla="*/ 7428687 h 7458372"/>
              <a:gd name="connsiteX811" fmla="*/ 7674146 w 10505529"/>
              <a:gd name="connsiteY811" fmla="*/ 7440402 h 7458372"/>
              <a:gd name="connsiteX812" fmla="*/ 7668022 w 10505529"/>
              <a:gd name="connsiteY812" fmla="*/ 7449852 h 7458372"/>
              <a:gd name="connsiteX813" fmla="*/ 7658705 w 10505529"/>
              <a:gd name="connsiteY813" fmla="*/ 7456109 h 7458372"/>
              <a:gd name="connsiteX814" fmla="*/ 7646991 w 10505529"/>
              <a:gd name="connsiteY814" fmla="*/ 7458372 h 7458372"/>
              <a:gd name="connsiteX815" fmla="*/ 7625158 w 10505529"/>
              <a:gd name="connsiteY815" fmla="*/ 7449852 h 7458372"/>
              <a:gd name="connsiteX816" fmla="*/ 7616772 w 10505529"/>
              <a:gd name="connsiteY816" fmla="*/ 7428687 h 7458372"/>
              <a:gd name="connsiteX817" fmla="*/ 7625158 w 10505529"/>
              <a:gd name="connsiteY817" fmla="*/ 7407654 h 7458372"/>
              <a:gd name="connsiteX818" fmla="*/ 7646991 w 10505529"/>
              <a:gd name="connsiteY818" fmla="*/ 7399134 h 7458372"/>
              <a:gd name="connsiteX819" fmla="*/ 7429345 w 10505529"/>
              <a:gd name="connsiteY819" fmla="*/ 7399134 h 7458372"/>
              <a:gd name="connsiteX820" fmla="*/ 7441059 w 10505529"/>
              <a:gd name="connsiteY820" fmla="*/ 7401530 h 7458372"/>
              <a:gd name="connsiteX821" fmla="*/ 7450377 w 10505529"/>
              <a:gd name="connsiteY821" fmla="*/ 7407787 h 7458372"/>
              <a:gd name="connsiteX822" fmla="*/ 7456501 w 10505529"/>
              <a:gd name="connsiteY822" fmla="*/ 7417239 h 7458372"/>
              <a:gd name="connsiteX823" fmla="*/ 7458764 w 10505529"/>
              <a:gd name="connsiteY823" fmla="*/ 7428687 h 7458372"/>
              <a:gd name="connsiteX824" fmla="*/ 7456501 w 10505529"/>
              <a:gd name="connsiteY824" fmla="*/ 7440402 h 7458372"/>
              <a:gd name="connsiteX825" fmla="*/ 7450377 w 10505529"/>
              <a:gd name="connsiteY825" fmla="*/ 7449852 h 7458372"/>
              <a:gd name="connsiteX826" fmla="*/ 7441059 w 10505529"/>
              <a:gd name="connsiteY826" fmla="*/ 7456109 h 7458372"/>
              <a:gd name="connsiteX827" fmla="*/ 7429345 w 10505529"/>
              <a:gd name="connsiteY827" fmla="*/ 7458372 h 7458372"/>
              <a:gd name="connsiteX828" fmla="*/ 7407513 w 10505529"/>
              <a:gd name="connsiteY828" fmla="*/ 7449852 h 7458372"/>
              <a:gd name="connsiteX829" fmla="*/ 7399127 w 10505529"/>
              <a:gd name="connsiteY829" fmla="*/ 7428687 h 7458372"/>
              <a:gd name="connsiteX830" fmla="*/ 7407513 w 10505529"/>
              <a:gd name="connsiteY830" fmla="*/ 7407654 h 7458372"/>
              <a:gd name="connsiteX831" fmla="*/ 7429345 w 10505529"/>
              <a:gd name="connsiteY831" fmla="*/ 7399134 h 7458372"/>
              <a:gd name="connsiteX832" fmla="*/ 7211701 w 10505529"/>
              <a:gd name="connsiteY832" fmla="*/ 7399134 h 7458372"/>
              <a:gd name="connsiteX833" fmla="*/ 7223415 w 10505529"/>
              <a:gd name="connsiteY833" fmla="*/ 7401530 h 7458372"/>
              <a:gd name="connsiteX834" fmla="*/ 7232733 w 10505529"/>
              <a:gd name="connsiteY834" fmla="*/ 7407787 h 7458372"/>
              <a:gd name="connsiteX835" fmla="*/ 7238856 w 10505529"/>
              <a:gd name="connsiteY835" fmla="*/ 7417239 h 7458372"/>
              <a:gd name="connsiteX836" fmla="*/ 7241120 w 10505529"/>
              <a:gd name="connsiteY836" fmla="*/ 7428687 h 7458372"/>
              <a:gd name="connsiteX837" fmla="*/ 7238856 w 10505529"/>
              <a:gd name="connsiteY837" fmla="*/ 7440402 h 7458372"/>
              <a:gd name="connsiteX838" fmla="*/ 7232733 w 10505529"/>
              <a:gd name="connsiteY838" fmla="*/ 7449852 h 7458372"/>
              <a:gd name="connsiteX839" fmla="*/ 7223415 w 10505529"/>
              <a:gd name="connsiteY839" fmla="*/ 7456109 h 7458372"/>
              <a:gd name="connsiteX840" fmla="*/ 7211701 w 10505529"/>
              <a:gd name="connsiteY840" fmla="*/ 7458372 h 7458372"/>
              <a:gd name="connsiteX841" fmla="*/ 7189868 w 10505529"/>
              <a:gd name="connsiteY841" fmla="*/ 7449852 h 7458372"/>
              <a:gd name="connsiteX842" fmla="*/ 7181482 w 10505529"/>
              <a:gd name="connsiteY842" fmla="*/ 7428687 h 7458372"/>
              <a:gd name="connsiteX843" fmla="*/ 7189868 w 10505529"/>
              <a:gd name="connsiteY843" fmla="*/ 7407654 h 7458372"/>
              <a:gd name="connsiteX844" fmla="*/ 7211701 w 10505529"/>
              <a:gd name="connsiteY844" fmla="*/ 7399134 h 7458372"/>
              <a:gd name="connsiteX845" fmla="*/ 6994056 w 10505529"/>
              <a:gd name="connsiteY845" fmla="*/ 7399134 h 7458372"/>
              <a:gd name="connsiteX846" fmla="*/ 7005769 w 10505529"/>
              <a:gd name="connsiteY846" fmla="*/ 7401530 h 7458372"/>
              <a:gd name="connsiteX847" fmla="*/ 7015087 w 10505529"/>
              <a:gd name="connsiteY847" fmla="*/ 7407787 h 7458372"/>
              <a:gd name="connsiteX848" fmla="*/ 7021211 w 10505529"/>
              <a:gd name="connsiteY848" fmla="*/ 7417239 h 7458372"/>
              <a:gd name="connsiteX849" fmla="*/ 7023474 w 10505529"/>
              <a:gd name="connsiteY849" fmla="*/ 7428687 h 7458372"/>
              <a:gd name="connsiteX850" fmla="*/ 7021211 w 10505529"/>
              <a:gd name="connsiteY850" fmla="*/ 7440402 h 7458372"/>
              <a:gd name="connsiteX851" fmla="*/ 7015087 w 10505529"/>
              <a:gd name="connsiteY851" fmla="*/ 7449852 h 7458372"/>
              <a:gd name="connsiteX852" fmla="*/ 7005769 w 10505529"/>
              <a:gd name="connsiteY852" fmla="*/ 7456109 h 7458372"/>
              <a:gd name="connsiteX853" fmla="*/ 6994056 w 10505529"/>
              <a:gd name="connsiteY853" fmla="*/ 7458372 h 7458372"/>
              <a:gd name="connsiteX854" fmla="*/ 6972223 w 10505529"/>
              <a:gd name="connsiteY854" fmla="*/ 7449852 h 7458372"/>
              <a:gd name="connsiteX855" fmla="*/ 6963837 w 10505529"/>
              <a:gd name="connsiteY855" fmla="*/ 7428687 h 7458372"/>
              <a:gd name="connsiteX856" fmla="*/ 6972223 w 10505529"/>
              <a:gd name="connsiteY856" fmla="*/ 7407654 h 7458372"/>
              <a:gd name="connsiteX857" fmla="*/ 6994056 w 10505529"/>
              <a:gd name="connsiteY857" fmla="*/ 7399134 h 7458372"/>
              <a:gd name="connsiteX858" fmla="*/ 6776544 w 10505529"/>
              <a:gd name="connsiteY858" fmla="*/ 7399134 h 7458372"/>
              <a:gd name="connsiteX859" fmla="*/ 6788258 w 10505529"/>
              <a:gd name="connsiteY859" fmla="*/ 7401530 h 7458372"/>
              <a:gd name="connsiteX860" fmla="*/ 6797576 w 10505529"/>
              <a:gd name="connsiteY860" fmla="*/ 7407787 h 7458372"/>
              <a:gd name="connsiteX861" fmla="*/ 6803699 w 10505529"/>
              <a:gd name="connsiteY861" fmla="*/ 7417239 h 7458372"/>
              <a:gd name="connsiteX862" fmla="*/ 6805963 w 10505529"/>
              <a:gd name="connsiteY862" fmla="*/ 7428687 h 7458372"/>
              <a:gd name="connsiteX863" fmla="*/ 6803699 w 10505529"/>
              <a:gd name="connsiteY863" fmla="*/ 7440402 h 7458372"/>
              <a:gd name="connsiteX864" fmla="*/ 6797576 w 10505529"/>
              <a:gd name="connsiteY864" fmla="*/ 7449852 h 7458372"/>
              <a:gd name="connsiteX865" fmla="*/ 6788258 w 10505529"/>
              <a:gd name="connsiteY865" fmla="*/ 7456109 h 7458372"/>
              <a:gd name="connsiteX866" fmla="*/ 6776544 w 10505529"/>
              <a:gd name="connsiteY866" fmla="*/ 7458372 h 7458372"/>
              <a:gd name="connsiteX867" fmla="*/ 6754711 w 10505529"/>
              <a:gd name="connsiteY867" fmla="*/ 7449852 h 7458372"/>
              <a:gd name="connsiteX868" fmla="*/ 6746325 w 10505529"/>
              <a:gd name="connsiteY868" fmla="*/ 7428687 h 7458372"/>
              <a:gd name="connsiteX869" fmla="*/ 6754711 w 10505529"/>
              <a:gd name="connsiteY869" fmla="*/ 7407654 h 7458372"/>
              <a:gd name="connsiteX870" fmla="*/ 6776544 w 10505529"/>
              <a:gd name="connsiteY870" fmla="*/ 7399134 h 7458372"/>
              <a:gd name="connsiteX871" fmla="*/ 6558899 w 10505529"/>
              <a:gd name="connsiteY871" fmla="*/ 7399134 h 7458372"/>
              <a:gd name="connsiteX872" fmla="*/ 6570612 w 10505529"/>
              <a:gd name="connsiteY872" fmla="*/ 7401530 h 7458372"/>
              <a:gd name="connsiteX873" fmla="*/ 6579930 w 10505529"/>
              <a:gd name="connsiteY873" fmla="*/ 7407787 h 7458372"/>
              <a:gd name="connsiteX874" fmla="*/ 6586054 w 10505529"/>
              <a:gd name="connsiteY874" fmla="*/ 7417239 h 7458372"/>
              <a:gd name="connsiteX875" fmla="*/ 6588317 w 10505529"/>
              <a:gd name="connsiteY875" fmla="*/ 7428687 h 7458372"/>
              <a:gd name="connsiteX876" fmla="*/ 6586054 w 10505529"/>
              <a:gd name="connsiteY876" fmla="*/ 7440402 h 7458372"/>
              <a:gd name="connsiteX877" fmla="*/ 6579930 w 10505529"/>
              <a:gd name="connsiteY877" fmla="*/ 7449852 h 7458372"/>
              <a:gd name="connsiteX878" fmla="*/ 6570612 w 10505529"/>
              <a:gd name="connsiteY878" fmla="*/ 7456109 h 7458372"/>
              <a:gd name="connsiteX879" fmla="*/ 6558899 w 10505529"/>
              <a:gd name="connsiteY879" fmla="*/ 7458372 h 7458372"/>
              <a:gd name="connsiteX880" fmla="*/ 6537066 w 10505529"/>
              <a:gd name="connsiteY880" fmla="*/ 7449852 h 7458372"/>
              <a:gd name="connsiteX881" fmla="*/ 6528680 w 10505529"/>
              <a:gd name="connsiteY881" fmla="*/ 7428687 h 7458372"/>
              <a:gd name="connsiteX882" fmla="*/ 6537066 w 10505529"/>
              <a:gd name="connsiteY882" fmla="*/ 7407654 h 7458372"/>
              <a:gd name="connsiteX883" fmla="*/ 6558899 w 10505529"/>
              <a:gd name="connsiteY883" fmla="*/ 7399134 h 7458372"/>
              <a:gd name="connsiteX884" fmla="*/ 6341253 w 10505529"/>
              <a:gd name="connsiteY884" fmla="*/ 7399134 h 7458372"/>
              <a:gd name="connsiteX885" fmla="*/ 6352968 w 10505529"/>
              <a:gd name="connsiteY885" fmla="*/ 7401530 h 7458372"/>
              <a:gd name="connsiteX886" fmla="*/ 6362286 w 10505529"/>
              <a:gd name="connsiteY886" fmla="*/ 7407787 h 7458372"/>
              <a:gd name="connsiteX887" fmla="*/ 6368409 w 10505529"/>
              <a:gd name="connsiteY887" fmla="*/ 7417239 h 7458372"/>
              <a:gd name="connsiteX888" fmla="*/ 6370672 w 10505529"/>
              <a:gd name="connsiteY888" fmla="*/ 7428687 h 7458372"/>
              <a:gd name="connsiteX889" fmla="*/ 6368409 w 10505529"/>
              <a:gd name="connsiteY889" fmla="*/ 7440402 h 7458372"/>
              <a:gd name="connsiteX890" fmla="*/ 6362286 w 10505529"/>
              <a:gd name="connsiteY890" fmla="*/ 7449852 h 7458372"/>
              <a:gd name="connsiteX891" fmla="*/ 6352968 w 10505529"/>
              <a:gd name="connsiteY891" fmla="*/ 7456109 h 7458372"/>
              <a:gd name="connsiteX892" fmla="*/ 6341253 w 10505529"/>
              <a:gd name="connsiteY892" fmla="*/ 7458372 h 7458372"/>
              <a:gd name="connsiteX893" fmla="*/ 6319421 w 10505529"/>
              <a:gd name="connsiteY893" fmla="*/ 7449852 h 7458372"/>
              <a:gd name="connsiteX894" fmla="*/ 6311035 w 10505529"/>
              <a:gd name="connsiteY894" fmla="*/ 7428687 h 7458372"/>
              <a:gd name="connsiteX895" fmla="*/ 6319421 w 10505529"/>
              <a:gd name="connsiteY895" fmla="*/ 7407654 h 7458372"/>
              <a:gd name="connsiteX896" fmla="*/ 6341253 w 10505529"/>
              <a:gd name="connsiteY896" fmla="*/ 7399134 h 7458372"/>
              <a:gd name="connsiteX897" fmla="*/ 6123608 w 10505529"/>
              <a:gd name="connsiteY897" fmla="*/ 7399134 h 7458372"/>
              <a:gd name="connsiteX898" fmla="*/ 6135322 w 10505529"/>
              <a:gd name="connsiteY898" fmla="*/ 7401530 h 7458372"/>
              <a:gd name="connsiteX899" fmla="*/ 6144640 w 10505529"/>
              <a:gd name="connsiteY899" fmla="*/ 7407787 h 7458372"/>
              <a:gd name="connsiteX900" fmla="*/ 6150763 w 10505529"/>
              <a:gd name="connsiteY900" fmla="*/ 7417239 h 7458372"/>
              <a:gd name="connsiteX901" fmla="*/ 6153026 w 10505529"/>
              <a:gd name="connsiteY901" fmla="*/ 7428687 h 7458372"/>
              <a:gd name="connsiteX902" fmla="*/ 6150763 w 10505529"/>
              <a:gd name="connsiteY902" fmla="*/ 7440402 h 7458372"/>
              <a:gd name="connsiteX903" fmla="*/ 6144640 w 10505529"/>
              <a:gd name="connsiteY903" fmla="*/ 7449852 h 7458372"/>
              <a:gd name="connsiteX904" fmla="*/ 6135322 w 10505529"/>
              <a:gd name="connsiteY904" fmla="*/ 7456109 h 7458372"/>
              <a:gd name="connsiteX905" fmla="*/ 6123608 w 10505529"/>
              <a:gd name="connsiteY905" fmla="*/ 7458372 h 7458372"/>
              <a:gd name="connsiteX906" fmla="*/ 6101775 w 10505529"/>
              <a:gd name="connsiteY906" fmla="*/ 7449852 h 7458372"/>
              <a:gd name="connsiteX907" fmla="*/ 6093389 w 10505529"/>
              <a:gd name="connsiteY907" fmla="*/ 7428687 h 7458372"/>
              <a:gd name="connsiteX908" fmla="*/ 6101775 w 10505529"/>
              <a:gd name="connsiteY908" fmla="*/ 7407654 h 7458372"/>
              <a:gd name="connsiteX909" fmla="*/ 6123608 w 10505529"/>
              <a:gd name="connsiteY909" fmla="*/ 7399134 h 7458372"/>
              <a:gd name="connsiteX910" fmla="*/ 5905963 w 10505529"/>
              <a:gd name="connsiteY910" fmla="*/ 7399134 h 7458372"/>
              <a:gd name="connsiteX911" fmla="*/ 5917677 w 10505529"/>
              <a:gd name="connsiteY911" fmla="*/ 7401530 h 7458372"/>
              <a:gd name="connsiteX912" fmla="*/ 5926995 w 10505529"/>
              <a:gd name="connsiteY912" fmla="*/ 7407787 h 7458372"/>
              <a:gd name="connsiteX913" fmla="*/ 5933118 w 10505529"/>
              <a:gd name="connsiteY913" fmla="*/ 7417239 h 7458372"/>
              <a:gd name="connsiteX914" fmla="*/ 5935381 w 10505529"/>
              <a:gd name="connsiteY914" fmla="*/ 7428687 h 7458372"/>
              <a:gd name="connsiteX915" fmla="*/ 5933118 w 10505529"/>
              <a:gd name="connsiteY915" fmla="*/ 7440402 h 7458372"/>
              <a:gd name="connsiteX916" fmla="*/ 5926995 w 10505529"/>
              <a:gd name="connsiteY916" fmla="*/ 7449852 h 7458372"/>
              <a:gd name="connsiteX917" fmla="*/ 5917677 w 10505529"/>
              <a:gd name="connsiteY917" fmla="*/ 7456109 h 7458372"/>
              <a:gd name="connsiteX918" fmla="*/ 5905963 w 10505529"/>
              <a:gd name="connsiteY918" fmla="*/ 7458372 h 7458372"/>
              <a:gd name="connsiteX919" fmla="*/ 5884130 w 10505529"/>
              <a:gd name="connsiteY919" fmla="*/ 7449852 h 7458372"/>
              <a:gd name="connsiteX920" fmla="*/ 5875744 w 10505529"/>
              <a:gd name="connsiteY920" fmla="*/ 7428687 h 7458372"/>
              <a:gd name="connsiteX921" fmla="*/ 5884130 w 10505529"/>
              <a:gd name="connsiteY921" fmla="*/ 7407654 h 7458372"/>
              <a:gd name="connsiteX922" fmla="*/ 5905963 w 10505529"/>
              <a:gd name="connsiteY922" fmla="*/ 7399134 h 7458372"/>
              <a:gd name="connsiteX923" fmla="*/ 5688451 w 10505529"/>
              <a:gd name="connsiteY923" fmla="*/ 7399134 h 7458372"/>
              <a:gd name="connsiteX924" fmla="*/ 5700165 w 10505529"/>
              <a:gd name="connsiteY924" fmla="*/ 7401530 h 7458372"/>
              <a:gd name="connsiteX925" fmla="*/ 5709483 w 10505529"/>
              <a:gd name="connsiteY925" fmla="*/ 7407787 h 7458372"/>
              <a:gd name="connsiteX926" fmla="*/ 5715606 w 10505529"/>
              <a:gd name="connsiteY926" fmla="*/ 7417239 h 7458372"/>
              <a:gd name="connsiteX927" fmla="*/ 5717869 w 10505529"/>
              <a:gd name="connsiteY927" fmla="*/ 7428687 h 7458372"/>
              <a:gd name="connsiteX928" fmla="*/ 5715606 w 10505529"/>
              <a:gd name="connsiteY928" fmla="*/ 7440402 h 7458372"/>
              <a:gd name="connsiteX929" fmla="*/ 5709483 w 10505529"/>
              <a:gd name="connsiteY929" fmla="*/ 7449852 h 7458372"/>
              <a:gd name="connsiteX930" fmla="*/ 5700165 w 10505529"/>
              <a:gd name="connsiteY930" fmla="*/ 7456109 h 7458372"/>
              <a:gd name="connsiteX931" fmla="*/ 5688451 w 10505529"/>
              <a:gd name="connsiteY931" fmla="*/ 7458372 h 7458372"/>
              <a:gd name="connsiteX932" fmla="*/ 5666618 w 10505529"/>
              <a:gd name="connsiteY932" fmla="*/ 7449852 h 7458372"/>
              <a:gd name="connsiteX933" fmla="*/ 5658232 w 10505529"/>
              <a:gd name="connsiteY933" fmla="*/ 7428687 h 7458372"/>
              <a:gd name="connsiteX934" fmla="*/ 5666618 w 10505529"/>
              <a:gd name="connsiteY934" fmla="*/ 7407654 h 7458372"/>
              <a:gd name="connsiteX935" fmla="*/ 5688451 w 10505529"/>
              <a:gd name="connsiteY935" fmla="*/ 7399134 h 7458372"/>
              <a:gd name="connsiteX936" fmla="*/ 5470806 w 10505529"/>
              <a:gd name="connsiteY936" fmla="*/ 7399134 h 7458372"/>
              <a:gd name="connsiteX937" fmla="*/ 5482520 w 10505529"/>
              <a:gd name="connsiteY937" fmla="*/ 7401530 h 7458372"/>
              <a:gd name="connsiteX938" fmla="*/ 5491838 w 10505529"/>
              <a:gd name="connsiteY938" fmla="*/ 7407787 h 7458372"/>
              <a:gd name="connsiteX939" fmla="*/ 5497961 w 10505529"/>
              <a:gd name="connsiteY939" fmla="*/ 7417239 h 7458372"/>
              <a:gd name="connsiteX940" fmla="*/ 5500224 w 10505529"/>
              <a:gd name="connsiteY940" fmla="*/ 7428687 h 7458372"/>
              <a:gd name="connsiteX941" fmla="*/ 5497961 w 10505529"/>
              <a:gd name="connsiteY941" fmla="*/ 7440402 h 7458372"/>
              <a:gd name="connsiteX942" fmla="*/ 5491838 w 10505529"/>
              <a:gd name="connsiteY942" fmla="*/ 7449852 h 7458372"/>
              <a:gd name="connsiteX943" fmla="*/ 5482520 w 10505529"/>
              <a:gd name="connsiteY943" fmla="*/ 7456109 h 7458372"/>
              <a:gd name="connsiteX944" fmla="*/ 5470806 w 10505529"/>
              <a:gd name="connsiteY944" fmla="*/ 7458372 h 7458372"/>
              <a:gd name="connsiteX945" fmla="*/ 5448973 w 10505529"/>
              <a:gd name="connsiteY945" fmla="*/ 7449852 h 7458372"/>
              <a:gd name="connsiteX946" fmla="*/ 5440587 w 10505529"/>
              <a:gd name="connsiteY946" fmla="*/ 7428687 h 7458372"/>
              <a:gd name="connsiteX947" fmla="*/ 5448973 w 10505529"/>
              <a:gd name="connsiteY947" fmla="*/ 7407654 h 7458372"/>
              <a:gd name="connsiteX948" fmla="*/ 5470806 w 10505529"/>
              <a:gd name="connsiteY948" fmla="*/ 7399134 h 7458372"/>
              <a:gd name="connsiteX949" fmla="*/ 5253160 w 10505529"/>
              <a:gd name="connsiteY949" fmla="*/ 7399134 h 7458372"/>
              <a:gd name="connsiteX950" fmla="*/ 5264875 w 10505529"/>
              <a:gd name="connsiteY950" fmla="*/ 7401530 h 7458372"/>
              <a:gd name="connsiteX951" fmla="*/ 5274192 w 10505529"/>
              <a:gd name="connsiteY951" fmla="*/ 7407787 h 7458372"/>
              <a:gd name="connsiteX952" fmla="*/ 5280316 w 10505529"/>
              <a:gd name="connsiteY952" fmla="*/ 7417239 h 7458372"/>
              <a:gd name="connsiteX953" fmla="*/ 5282579 w 10505529"/>
              <a:gd name="connsiteY953" fmla="*/ 7428687 h 7458372"/>
              <a:gd name="connsiteX954" fmla="*/ 5280316 w 10505529"/>
              <a:gd name="connsiteY954" fmla="*/ 7440402 h 7458372"/>
              <a:gd name="connsiteX955" fmla="*/ 5274192 w 10505529"/>
              <a:gd name="connsiteY955" fmla="*/ 7449852 h 7458372"/>
              <a:gd name="connsiteX956" fmla="*/ 5264875 w 10505529"/>
              <a:gd name="connsiteY956" fmla="*/ 7456109 h 7458372"/>
              <a:gd name="connsiteX957" fmla="*/ 5253160 w 10505529"/>
              <a:gd name="connsiteY957" fmla="*/ 7458372 h 7458372"/>
              <a:gd name="connsiteX958" fmla="*/ 5231328 w 10505529"/>
              <a:gd name="connsiteY958" fmla="*/ 7449852 h 7458372"/>
              <a:gd name="connsiteX959" fmla="*/ 5222942 w 10505529"/>
              <a:gd name="connsiteY959" fmla="*/ 7428687 h 7458372"/>
              <a:gd name="connsiteX960" fmla="*/ 5231328 w 10505529"/>
              <a:gd name="connsiteY960" fmla="*/ 7407654 h 7458372"/>
              <a:gd name="connsiteX961" fmla="*/ 5253160 w 10505529"/>
              <a:gd name="connsiteY961" fmla="*/ 7399134 h 7458372"/>
              <a:gd name="connsiteX962" fmla="*/ 5035515 w 10505529"/>
              <a:gd name="connsiteY962" fmla="*/ 7399134 h 7458372"/>
              <a:gd name="connsiteX963" fmla="*/ 5047230 w 10505529"/>
              <a:gd name="connsiteY963" fmla="*/ 7401530 h 7458372"/>
              <a:gd name="connsiteX964" fmla="*/ 5056548 w 10505529"/>
              <a:gd name="connsiteY964" fmla="*/ 7407787 h 7458372"/>
              <a:gd name="connsiteX965" fmla="*/ 5062671 w 10505529"/>
              <a:gd name="connsiteY965" fmla="*/ 7417239 h 7458372"/>
              <a:gd name="connsiteX966" fmla="*/ 5064934 w 10505529"/>
              <a:gd name="connsiteY966" fmla="*/ 7428687 h 7458372"/>
              <a:gd name="connsiteX967" fmla="*/ 5062671 w 10505529"/>
              <a:gd name="connsiteY967" fmla="*/ 7440402 h 7458372"/>
              <a:gd name="connsiteX968" fmla="*/ 5056548 w 10505529"/>
              <a:gd name="connsiteY968" fmla="*/ 7449852 h 7458372"/>
              <a:gd name="connsiteX969" fmla="*/ 5047230 w 10505529"/>
              <a:gd name="connsiteY969" fmla="*/ 7456109 h 7458372"/>
              <a:gd name="connsiteX970" fmla="*/ 5035515 w 10505529"/>
              <a:gd name="connsiteY970" fmla="*/ 7458372 h 7458372"/>
              <a:gd name="connsiteX971" fmla="*/ 5013683 w 10505529"/>
              <a:gd name="connsiteY971" fmla="*/ 7449852 h 7458372"/>
              <a:gd name="connsiteX972" fmla="*/ 5005297 w 10505529"/>
              <a:gd name="connsiteY972" fmla="*/ 7428687 h 7458372"/>
              <a:gd name="connsiteX973" fmla="*/ 5013683 w 10505529"/>
              <a:gd name="connsiteY973" fmla="*/ 7407654 h 7458372"/>
              <a:gd name="connsiteX974" fmla="*/ 5035515 w 10505529"/>
              <a:gd name="connsiteY974" fmla="*/ 7399134 h 7458372"/>
              <a:gd name="connsiteX975" fmla="*/ 4817870 w 10505529"/>
              <a:gd name="connsiteY975" fmla="*/ 7399134 h 7458372"/>
              <a:gd name="connsiteX976" fmla="*/ 4829585 w 10505529"/>
              <a:gd name="connsiteY976" fmla="*/ 7401530 h 7458372"/>
              <a:gd name="connsiteX977" fmla="*/ 4838903 w 10505529"/>
              <a:gd name="connsiteY977" fmla="*/ 7407787 h 7458372"/>
              <a:gd name="connsiteX978" fmla="*/ 4845026 w 10505529"/>
              <a:gd name="connsiteY978" fmla="*/ 7417239 h 7458372"/>
              <a:gd name="connsiteX979" fmla="*/ 4847289 w 10505529"/>
              <a:gd name="connsiteY979" fmla="*/ 7428687 h 7458372"/>
              <a:gd name="connsiteX980" fmla="*/ 4845026 w 10505529"/>
              <a:gd name="connsiteY980" fmla="*/ 7440402 h 7458372"/>
              <a:gd name="connsiteX981" fmla="*/ 4838903 w 10505529"/>
              <a:gd name="connsiteY981" fmla="*/ 7449852 h 7458372"/>
              <a:gd name="connsiteX982" fmla="*/ 4829585 w 10505529"/>
              <a:gd name="connsiteY982" fmla="*/ 7456109 h 7458372"/>
              <a:gd name="connsiteX983" fmla="*/ 4817870 w 10505529"/>
              <a:gd name="connsiteY983" fmla="*/ 7458372 h 7458372"/>
              <a:gd name="connsiteX984" fmla="*/ 4796038 w 10505529"/>
              <a:gd name="connsiteY984" fmla="*/ 7449852 h 7458372"/>
              <a:gd name="connsiteX985" fmla="*/ 4787652 w 10505529"/>
              <a:gd name="connsiteY985" fmla="*/ 7428687 h 7458372"/>
              <a:gd name="connsiteX986" fmla="*/ 4796038 w 10505529"/>
              <a:gd name="connsiteY986" fmla="*/ 7407654 h 7458372"/>
              <a:gd name="connsiteX987" fmla="*/ 4817870 w 10505529"/>
              <a:gd name="connsiteY987" fmla="*/ 7399134 h 7458372"/>
              <a:gd name="connsiteX988" fmla="*/ 4600226 w 10505529"/>
              <a:gd name="connsiteY988" fmla="*/ 7399134 h 7458372"/>
              <a:gd name="connsiteX989" fmla="*/ 4612073 w 10505529"/>
              <a:gd name="connsiteY989" fmla="*/ 7401530 h 7458372"/>
              <a:gd name="connsiteX990" fmla="*/ 4621391 w 10505529"/>
              <a:gd name="connsiteY990" fmla="*/ 7407787 h 7458372"/>
              <a:gd name="connsiteX991" fmla="*/ 4627514 w 10505529"/>
              <a:gd name="connsiteY991" fmla="*/ 7417239 h 7458372"/>
              <a:gd name="connsiteX992" fmla="*/ 4629777 w 10505529"/>
              <a:gd name="connsiteY992" fmla="*/ 7428687 h 7458372"/>
              <a:gd name="connsiteX993" fmla="*/ 4627514 w 10505529"/>
              <a:gd name="connsiteY993" fmla="*/ 7440402 h 7458372"/>
              <a:gd name="connsiteX994" fmla="*/ 4621391 w 10505529"/>
              <a:gd name="connsiteY994" fmla="*/ 7449852 h 7458372"/>
              <a:gd name="connsiteX995" fmla="*/ 4612073 w 10505529"/>
              <a:gd name="connsiteY995" fmla="*/ 7456109 h 7458372"/>
              <a:gd name="connsiteX996" fmla="*/ 4600226 w 10505529"/>
              <a:gd name="connsiteY996" fmla="*/ 7458372 h 7458372"/>
              <a:gd name="connsiteX997" fmla="*/ 4578393 w 10505529"/>
              <a:gd name="connsiteY997" fmla="*/ 7449852 h 7458372"/>
              <a:gd name="connsiteX998" fmla="*/ 4570007 w 10505529"/>
              <a:gd name="connsiteY998" fmla="*/ 7428687 h 7458372"/>
              <a:gd name="connsiteX999" fmla="*/ 4578393 w 10505529"/>
              <a:gd name="connsiteY999" fmla="*/ 7407654 h 7458372"/>
              <a:gd name="connsiteX1000" fmla="*/ 4600226 w 10505529"/>
              <a:gd name="connsiteY1000" fmla="*/ 7399134 h 7458372"/>
              <a:gd name="connsiteX1001" fmla="*/ 4382713 w 10505529"/>
              <a:gd name="connsiteY1001" fmla="*/ 7399134 h 7458372"/>
              <a:gd name="connsiteX1002" fmla="*/ 4394428 w 10505529"/>
              <a:gd name="connsiteY1002" fmla="*/ 7401530 h 7458372"/>
              <a:gd name="connsiteX1003" fmla="*/ 4403746 w 10505529"/>
              <a:gd name="connsiteY1003" fmla="*/ 7407787 h 7458372"/>
              <a:gd name="connsiteX1004" fmla="*/ 4409869 w 10505529"/>
              <a:gd name="connsiteY1004" fmla="*/ 7417239 h 7458372"/>
              <a:gd name="connsiteX1005" fmla="*/ 4412132 w 10505529"/>
              <a:gd name="connsiteY1005" fmla="*/ 7428687 h 7458372"/>
              <a:gd name="connsiteX1006" fmla="*/ 4409869 w 10505529"/>
              <a:gd name="connsiteY1006" fmla="*/ 7440402 h 7458372"/>
              <a:gd name="connsiteX1007" fmla="*/ 4403746 w 10505529"/>
              <a:gd name="connsiteY1007" fmla="*/ 7449852 h 7458372"/>
              <a:gd name="connsiteX1008" fmla="*/ 4394428 w 10505529"/>
              <a:gd name="connsiteY1008" fmla="*/ 7456109 h 7458372"/>
              <a:gd name="connsiteX1009" fmla="*/ 4382713 w 10505529"/>
              <a:gd name="connsiteY1009" fmla="*/ 7458372 h 7458372"/>
              <a:gd name="connsiteX1010" fmla="*/ 4360881 w 10505529"/>
              <a:gd name="connsiteY1010" fmla="*/ 7449852 h 7458372"/>
              <a:gd name="connsiteX1011" fmla="*/ 4352495 w 10505529"/>
              <a:gd name="connsiteY1011" fmla="*/ 7428687 h 7458372"/>
              <a:gd name="connsiteX1012" fmla="*/ 4360881 w 10505529"/>
              <a:gd name="connsiteY1012" fmla="*/ 7407654 h 7458372"/>
              <a:gd name="connsiteX1013" fmla="*/ 4382713 w 10505529"/>
              <a:gd name="connsiteY1013" fmla="*/ 7399134 h 7458372"/>
              <a:gd name="connsiteX1014" fmla="*/ 4165068 w 10505529"/>
              <a:gd name="connsiteY1014" fmla="*/ 7399134 h 7458372"/>
              <a:gd name="connsiteX1015" fmla="*/ 4176782 w 10505529"/>
              <a:gd name="connsiteY1015" fmla="*/ 7401530 h 7458372"/>
              <a:gd name="connsiteX1016" fmla="*/ 4186100 w 10505529"/>
              <a:gd name="connsiteY1016" fmla="*/ 7407787 h 7458372"/>
              <a:gd name="connsiteX1017" fmla="*/ 4192223 w 10505529"/>
              <a:gd name="connsiteY1017" fmla="*/ 7417239 h 7458372"/>
              <a:gd name="connsiteX1018" fmla="*/ 4194486 w 10505529"/>
              <a:gd name="connsiteY1018" fmla="*/ 7428687 h 7458372"/>
              <a:gd name="connsiteX1019" fmla="*/ 4192223 w 10505529"/>
              <a:gd name="connsiteY1019" fmla="*/ 7440402 h 7458372"/>
              <a:gd name="connsiteX1020" fmla="*/ 4186100 w 10505529"/>
              <a:gd name="connsiteY1020" fmla="*/ 7449852 h 7458372"/>
              <a:gd name="connsiteX1021" fmla="*/ 4176782 w 10505529"/>
              <a:gd name="connsiteY1021" fmla="*/ 7456109 h 7458372"/>
              <a:gd name="connsiteX1022" fmla="*/ 4165068 w 10505529"/>
              <a:gd name="connsiteY1022" fmla="*/ 7458372 h 7458372"/>
              <a:gd name="connsiteX1023" fmla="*/ 4143235 w 10505529"/>
              <a:gd name="connsiteY1023" fmla="*/ 7449852 h 7458372"/>
              <a:gd name="connsiteX1024" fmla="*/ 4134849 w 10505529"/>
              <a:gd name="connsiteY1024" fmla="*/ 7428687 h 7458372"/>
              <a:gd name="connsiteX1025" fmla="*/ 4143235 w 10505529"/>
              <a:gd name="connsiteY1025" fmla="*/ 7407654 h 7458372"/>
              <a:gd name="connsiteX1026" fmla="*/ 4165068 w 10505529"/>
              <a:gd name="connsiteY1026" fmla="*/ 7399134 h 7458372"/>
              <a:gd name="connsiteX1027" fmla="*/ 3947819 w 10505529"/>
              <a:gd name="connsiteY1027" fmla="*/ 7399134 h 7458372"/>
              <a:gd name="connsiteX1028" fmla="*/ 3959539 w 10505529"/>
              <a:gd name="connsiteY1028" fmla="*/ 7401530 h 7458372"/>
              <a:gd name="connsiteX1029" fmla="*/ 3968857 w 10505529"/>
              <a:gd name="connsiteY1029" fmla="*/ 7407787 h 7458372"/>
              <a:gd name="connsiteX1030" fmla="*/ 3974981 w 10505529"/>
              <a:gd name="connsiteY1030" fmla="*/ 7417239 h 7458372"/>
              <a:gd name="connsiteX1031" fmla="*/ 3977244 w 10505529"/>
              <a:gd name="connsiteY1031" fmla="*/ 7428687 h 7458372"/>
              <a:gd name="connsiteX1032" fmla="*/ 3974981 w 10505529"/>
              <a:gd name="connsiteY1032" fmla="*/ 7440402 h 7458372"/>
              <a:gd name="connsiteX1033" fmla="*/ 3968857 w 10505529"/>
              <a:gd name="connsiteY1033" fmla="*/ 7449852 h 7458372"/>
              <a:gd name="connsiteX1034" fmla="*/ 3959539 w 10505529"/>
              <a:gd name="connsiteY1034" fmla="*/ 7456109 h 7458372"/>
              <a:gd name="connsiteX1035" fmla="*/ 3947819 w 10505529"/>
              <a:gd name="connsiteY1035" fmla="*/ 7458372 h 7458372"/>
              <a:gd name="connsiteX1036" fmla="*/ 3925988 w 10505529"/>
              <a:gd name="connsiteY1036" fmla="*/ 7449852 h 7458372"/>
              <a:gd name="connsiteX1037" fmla="*/ 3917601 w 10505529"/>
              <a:gd name="connsiteY1037" fmla="*/ 7428687 h 7458372"/>
              <a:gd name="connsiteX1038" fmla="*/ 3925988 w 10505529"/>
              <a:gd name="connsiteY1038" fmla="*/ 7407654 h 7458372"/>
              <a:gd name="connsiteX1039" fmla="*/ 3947819 w 10505529"/>
              <a:gd name="connsiteY1039" fmla="*/ 7399134 h 7458372"/>
              <a:gd name="connsiteX1040" fmla="*/ 3730157 w 10505529"/>
              <a:gd name="connsiteY1040" fmla="*/ 7399134 h 7458372"/>
              <a:gd name="connsiteX1041" fmla="*/ 3741874 w 10505529"/>
              <a:gd name="connsiteY1041" fmla="*/ 7401530 h 7458372"/>
              <a:gd name="connsiteX1042" fmla="*/ 3751192 w 10505529"/>
              <a:gd name="connsiteY1042" fmla="*/ 7407787 h 7458372"/>
              <a:gd name="connsiteX1043" fmla="*/ 3757314 w 10505529"/>
              <a:gd name="connsiteY1043" fmla="*/ 7417239 h 7458372"/>
              <a:gd name="connsiteX1044" fmla="*/ 3759578 w 10505529"/>
              <a:gd name="connsiteY1044" fmla="*/ 7428687 h 7458372"/>
              <a:gd name="connsiteX1045" fmla="*/ 3757314 w 10505529"/>
              <a:gd name="connsiteY1045" fmla="*/ 7440402 h 7458372"/>
              <a:gd name="connsiteX1046" fmla="*/ 3751192 w 10505529"/>
              <a:gd name="connsiteY1046" fmla="*/ 7449852 h 7458372"/>
              <a:gd name="connsiteX1047" fmla="*/ 3741874 w 10505529"/>
              <a:gd name="connsiteY1047" fmla="*/ 7456109 h 7458372"/>
              <a:gd name="connsiteX1048" fmla="*/ 3730157 w 10505529"/>
              <a:gd name="connsiteY1048" fmla="*/ 7458372 h 7458372"/>
              <a:gd name="connsiteX1049" fmla="*/ 3708314 w 10505529"/>
              <a:gd name="connsiteY1049" fmla="*/ 7449852 h 7458372"/>
              <a:gd name="connsiteX1050" fmla="*/ 3699927 w 10505529"/>
              <a:gd name="connsiteY1050" fmla="*/ 7428687 h 7458372"/>
              <a:gd name="connsiteX1051" fmla="*/ 3708314 w 10505529"/>
              <a:gd name="connsiteY1051" fmla="*/ 7407654 h 7458372"/>
              <a:gd name="connsiteX1052" fmla="*/ 3730157 w 10505529"/>
              <a:gd name="connsiteY1052" fmla="*/ 7399134 h 7458372"/>
              <a:gd name="connsiteX1053" fmla="*/ 3512490 w 10505529"/>
              <a:gd name="connsiteY1053" fmla="*/ 7399134 h 7458372"/>
              <a:gd name="connsiteX1054" fmla="*/ 3524207 w 10505529"/>
              <a:gd name="connsiteY1054" fmla="*/ 7401530 h 7458372"/>
              <a:gd name="connsiteX1055" fmla="*/ 3533526 w 10505529"/>
              <a:gd name="connsiteY1055" fmla="*/ 7407787 h 7458372"/>
              <a:gd name="connsiteX1056" fmla="*/ 3539648 w 10505529"/>
              <a:gd name="connsiteY1056" fmla="*/ 7417239 h 7458372"/>
              <a:gd name="connsiteX1057" fmla="*/ 3541912 w 10505529"/>
              <a:gd name="connsiteY1057" fmla="*/ 7428687 h 7458372"/>
              <a:gd name="connsiteX1058" fmla="*/ 3539648 w 10505529"/>
              <a:gd name="connsiteY1058" fmla="*/ 7440402 h 7458372"/>
              <a:gd name="connsiteX1059" fmla="*/ 3533526 w 10505529"/>
              <a:gd name="connsiteY1059" fmla="*/ 7449852 h 7458372"/>
              <a:gd name="connsiteX1060" fmla="*/ 3524207 w 10505529"/>
              <a:gd name="connsiteY1060" fmla="*/ 7456109 h 7458372"/>
              <a:gd name="connsiteX1061" fmla="*/ 3512490 w 10505529"/>
              <a:gd name="connsiteY1061" fmla="*/ 7458372 h 7458372"/>
              <a:gd name="connsiteX1062" fmla="*/ 3490654 w 10505529"/>
              <a:gd name="connsiteY1062" fmla="*/ 7449852 h 7458372"/>
              <a:gd name="connsiteX1063" fmla="*/ 3482266 w 10505529"/>
              <a:gd name="connsiteY1063" fmla="*/ 7428687 h 7458372"/>
              <a:gd name="connsiteX1064" fmla="*/ 3490654 w 10505529"/>
              <a:gd name="connsiteY1064" fmla="*/ 7407654 h 7458372"/>
              <a:gd name="connsiteX1065" fmla="*/ 3512490 w 10505529"/>
              <a:gd name="connsiteY1065" fmla="*/ 7399134 h 7458372"/>
              <a:gd name="connsiteX1066" fmla="*/ 3294959 w 10505529"/>
              <a:gd name="connsiteY1066" fmla="*/ 7399134 h 7458372"/>
              <a:gd name="connsiteX1067" fmla="*/ 3306674 w 10505529"/>
              <a:gd name="connsiteY1067" fmla="*/ 7401530 h 7458372"/>
              <a:gd name="connsiteX1068" fmla="*/ 3315992 w 10505529"/>
              <a:gd name="connsiteY1068" fmla="*/ 7407787 h 7458372"/>
              <a:gd name="connsiteX1069" fmla="*/ 3322116 w 10505529"/>
              <a:gd name="connsiteY1069" fmla="*/ 7417239 h 7458372"/>
              <a:gd name="connsiteX1070" fmla="*/ 3324377 w 10505529"/>
              <a:gd name="connsiteY1070" fmla="*/ 7428687 h 7458372"/>
              <a:gd name="connsiteX1071" fmla="*/ 3322116 w 10505529"/>
              <a:gd name="connsiteY1071" fmla="*/ 7440402 h 7458372"/>
              <a:gd name="connsiteX1072" fmla="*/ 3315992 w 10505529"/>
              <a:gd name="connsiteY1072" fmla="*/ 7449852 h 7458372"/>
              <a:gd name="connsiteX1073" fmla="*/ 3306674 w 10505529"/>
              <a:gd name="connsiteY1073" fmla="*/ 7456109 h 7458372"/>
              <a:gd name="connsiteX1074" fmla="*/ 3294959 w 10505529"/>
              <a:gd name="connsiteY1074" fmla="*/ 7458372 h 7458372"/>
              <a:gd name="connsiteX1075" fmla="*/ 3273121 w 10505529"/>
              <a:gd name="connsiteY1075" fmla="*/ 7449852 h 7458372"/>
              <a:gd name="connsiteX1076" fmla="*/ 3264731 w 10505529"/>
              <a:gd name="connsiteY1076" fmla="*/ 7428687 h 7458372"/>
              <a:gd name="connsiteX1077" fmla="*/ 3273121 w 10505529"/>
              <a:gd name="connsiteY1077" fmla="*/ 7407654 h 7458372"/>
              <a:gd name="connsiteX1078" fmla="*/ 3294959 w 10505529"/>
              <a:gd name="connsiteY1078" fmla="*/ 7399134 h 7458372"/>
              <a:gd name="connsiteX1079" fmla="*/ 3077293 w 10505529"/>
              <a:gd name="connsiteY1079" fmla="*/ 7399134 h 7458372"/>
              <a:gd name="connsiteX1080" fmla="*/ 3089008 w 10505529"/>
              <a:gd name="connsiteY1080" fmla="*/ 7401530 h 7458372"/>
              <a:gd name="connsiteX1081" fmla="*/ 3098326 w 10505529"/>
              <a:gd name="connsiteY1081" fmla="*/ 7407787 h 7458372"/>
              <a:gd name="connsiteX1082" fmla="*/ 3104449 w 10505529"/>
              <a:gd name="connsiteY1082" fmla="*/ 7417239 h 7458372"/>
              <a:gd name="connsiteX1083" fmla="*/ 3106713 w 10505529"/>
              <a:gd name="connsiteY1083" fmla="*/ 7428687 h 7458372"/>
              <a:gd name="connsiteX1084" fmla="*/ 3104449 w 10505529"/>
              <a:gd name="connsiteY1084" fmla="*/ 7440402 h 7458372"/>
              <a:gd name="connsiteX1085" fmla="*/ 3098326 w 10505529"/>
              <a:gd name="connsiteY1085" fmla="*/ 7449852 h 7458372"/>
              <a:gd name="connsiteX1086" fmla="*/ 3089008 w 10505529"/>
              <a:gd name="connsiteY1086" fmla="*/ 7456109 h 7458372"/>
              <a:gd name="connsiteX1087" fmla="*/ 3077293 w 10505529"/>
              <a:gd name="connsiteY1087" fmla="*/ 7458372 h 7458372"/>
              <a:gd name="connsiteX1088" fmla="*/ 3055452 w 10505529"/>
              <a:gd name="connsiteY1088" fmla="*/ 7449852 h 7458372"/>
              <a:gd name="connsiteX1089" fmla="*/ 3047067 w 10505529"/>
              <a:gd name="connsiteY1089" fmla="*/ 7428687 h 7458372"/>
              <a:gd name="connsiteX1090" fmla="*/ 3055452 w 10505529"/>
              <a:gd name="connsiteY1090" fmla="*/ 7407654 h 7458372"/>
              <a:gd name="connsiteX1091" fmla="*/ 3077293 w 10505529"/>
              <a:gd name="connsiteY1091" fmla="*/ 7399134 h 7458372"/>
              <a:gd name="connsiteX1092" fmla="*/ 2859628 w 10505529"/>
              <a:gd name="connsiteY1092" fmla="*/ 7399134 h 7458372"/>
              <a:gd name="connsiteX1093" fmla="*/ 2871477 w 10505529"/>
              <a:gd name="connsiteY1093" fmla="*/ 7401530 h 7458372"/>
              <a:gd name="connsiteX1094" fmla="*/ 2880793 w 10505529"/>
              <a:gd name="connsiteY1094" fmla="*/ 7407787 h 7458372"/>
              <a:gd name="connsiteX1095" fmla="*/ 2886917 w 10505529"/>
              <a:gd name="connsiteY1095" fmla="*/ 7417239 h 7458372"/>
              <a:gd name="connsiteX1096" fmla="*/ 2889179 w 10505529"/>
              <a:gd name="connsiteY1096" fmla="*/ 7428687 h 7458372"/>
              <a:gd name="connsiteX1097" fmla="*/ 2886917 w 10505529"/>
              <a:gd name="connsiteY1097" fmla="*/ 7440402 h 7458372"/>
              <a:gd name="connsiteX1098" fmla="*/ 2880793 w 10505529"/>
              <a:gd name="connsiteY1098" fmla="*/ 7449852 h 7458372"/>
              <a:gd name="connsiteX1099" fmla="*/ 2871477 w 10505529"/>
              <a:gd name="connsiteY1099" fmla="*/ 7456109 h 7458372"/>
              <a:gd name="connsiteX1100" fmla="*/ 2859628 w 10505529"/>
              <a:gd name="connsiteY1100" fmla="*/ 7458372 h 7458372"/>
              <a:gd name="connsiteX1101" fmla="*/ 2837788 w 10505529"/>
              <a:gd name="connsiteY1101" fmla="*/ 7449852 h 7458372"/>
              <a:gd name="connsiteX1102" fmla="*/ 2829398 w 10505529"/>
              <a:gd name="connsiteY1102" fmla="*/ 7428687 h 7458372"/>
              <a:gd name="connsiteX1103" fmla="*/ 2837788 w 10505529"/>
              <a:gd name="connsiteY1103" fmla="*/ 7407654 h 7458372"/>
              <a:gd name="connsiteX1104" fmla="*/ 2859628 w 10505529"/>
              <a:gd name="connsiteY1104" fmla="*/ 7399134 h 7458372"/>
              <a:gd name="connsiteX1105" fmla="*/ 2641962 w 10505529"/>
              <a:gd name="connsiteY1105" fmla="*/ 7399134 h 7458372"/>
              <a:gd name="connsiteX1106" fmla="*/ 2653677 w 10505529"/>
              <a:gd name="connsiteY1106" fmla="*/ 7401530 h 7458372"/>
              <a:gd name="connsiteX1107" fmla="*/ 2662995 w 10505529"/>
              <a:gd name="connsiteY1107" fmla="*/ 7407787 h 7458372"/>
              <a:gd name="connsiteX1108" fmla="*/ 2669117 w 10505529"/>
              <a:gd name="connsiteY1108" fmla="*/ 7417239 h 7458372"/>
              <a:gd name="connsiteX1109" fmla="*/ 2671381 w 10505529"/>
              <a:gd name="connsiteY1109" fmla="*/ 7428687 h 7458372"/>
              <a:gd name="connsiteX1110" fmla="*/ 2669117 w 10505529"/>
              <a:gd name="connsiteY1110" fmla="*/ 7440402 h 7458372"/>
              <a:gd name="connsiteX1111" fmla="*/ 2662995 w 10505529"/>
              <a:gd name="connsiteY1111" fmla="*/ 7449852 h 7458372"/>
              <a:gd name="connsiteX1112" fmla="*/ 2653677 w 10505529"/>
              <a:gd name="connsiteY1112" fmla="*/ 7456109 h 7458372"/>
              <a:gd name="connsiteX1113" fmla="*/ 2641962 w 10505529"/>
              <a:gd name="connsiteY1113" fmla="*/ 7458372 h 7458372"/>
              <a:gd name="connsiteX1114" fmla="*/ 2620127 w 10505529"/>
              <a:gd name="connsiteY1114" fmla="*/ 7449852 h 7458372"/>
              <a:gd name="connsiteX1115" fmla="*/ 2611735 w 10505529"/>
              <a:gd name="connsiteY1115" fmla="*/ 7428687 h 7458372"/>
              <a:gd name="connsiteX1116" fmla="*/ 2620127 w 10505529"/>
              <a:gd name="connsiteY1116" fmla="*/ 7407654 h 7458372"/>
              <a:gd name="connsiteX1117" fmla="*/ 2641962 w 10505529"/>
              <a:gd name="connsiteY1117" fmla="*/ 7399134 h 7458372"/>
              <a:gd name="connsiteX1118" fmla="*/ 2424294 w 10505529"/>
              <a:gd name="connsiteY1118" fmla="*/ 7399134 h 7458372"/>
              <a:gd name="connsiteX1119" fmla="*/ 2436011 w 10505529"/>
              <a:gd name="connsiteY1119" fmla="*/ 7401530 h 7458372"/>
              <a:gd name="connsiteX1120" fmla="*/ 2445329 w 10505529"/>
              <a:gd name="connsiteY1120" fmla="*/ 7407787 h 7458372"/>
              <a:gd name="connsiteX1121" fmla="*/ 2451451 w 10505529"/>
              <a:gd name="connsiteY1121" fmla="*/ 7417239 h 7458372"/>
              <a:gd name="connsiteX1122" fmla="*/ 2453715 w 10505529"/>
              <a:gd name="connsiteY1122" fmla="*/ 7428687 h 7458372"/>
              <a:gd name="connsiteX1123" fmla="*/ 2451451 w 10505529"/>
              <a:gd name="connsiteY1123" fmla="*/ 7440402 h 7458372"/>
              <a:gd name="connsiteX1124" fmla="*/ 2445329 w 10505529"/>
              <a:gd name="connsiteY1124" fmla="*/ 7449852 h 7458372"/>
              <a:gd name="connsiteX1125" fmla="*/ 2436011 w 10505529"/>
              <a:gd name="connsiteY1125" fmla="*/ 7456109 h 7458372"/>
              <a:gd name="connsiteX1126" fmla="*/ 2424294 w 10505529"/>
              <a:gd name="connsiteY1126" fmla="*/ 7458372 h 7458372"/>
              <a:gd name="connsiteX1127" fmla="*/ 2402462 w 10505529"/>
              <a:gd name="connsiteY1127" fmla="*/ 7449852 h 7458372"/>
              <a:gd name="connsiteX1128" fmla="*/ 2394072 w 10505529"/>
              <a:gd name="connsiteY1128" fmla="*/ 7428687 h 7458372"/>
              <a:gd name="connsiteX1129" fmla="*/ 2402462 w 10505529"/>
              <a:gd name="connsiteY1129" fmla="*/ 7407654 h 7458372"/>
              <a:gd name="connsiteX1130" fmla="*/ 2424294 w 10505529"/>
              <a:gd name="connsiteY1130" fmla="*/ 7399134 h 7458372"/>
              <a:gd name="connsiteX1131" fmla="*/ 2206629 w 10505529"/>
              <a:gd name="connsiteY1131" fmla="*/ 7399134 h 7458372"/>
              <a:gd name="connsiteX1132" fmla="*/ 2218344 w 10505529"/>
              <a:gd name="connsiteY1132" fmla="*/ 7401530 h 7458372"/>
              <a:gd name="connsiteX1133" fmla="*/ 2227663 w 10505529"/>
              <a:gd name="connsiteY1133" fmla="*/ 7407787 h 7458372"/>
              <a:gd name="connsiteX1134" fmla="*/ 2233786 w 10505529"/>
              <a:gd name="connsiteY1134" fmla="*/ 7417239 h 7458372"/>
              <a:gd name="connsiteX1135" fmla="*/ 2236050 w 10505529"/>
              <a:gd name="connsiteY1135" fmla="*/ 7428687 h 7458372"/>
              <a:gd name="connsiteX1136" fmla="*/ 2233786 w 10505529"/>
              <a:gd name="connsiteY1136" fmla="*/ 7440402 h 7458372"/>
              <a:gd name="connsiteX1137" fmla="*/ 2227663 w 10505529"/>
              <a:gd name="connsiteY1137" fmla="*/ 7449852 h 7458372"/>
              <a:gd name="connsiteX1138" fmla="*/ 2218344 w 10505529"/>
              <a:gd name="connsiteY1138" fmla="*/ 7456109 h 7458372"/>
              <a:gd name="connsiteX1139" fmla="*/ 2206629 w 10505529"/>
              <a:gd name="connsiteY1139" fmla="*/ 7458372 h 7458372"/>
              <a:gd name="connsiteX1140" fmla="*/ 2184796 w 10505529"/>
              <a:gd name="connsiteY1140" fmla="*/ 7449852 h 7458372"/>
              <a:gd name="connsiteX1141" fmla="*/ 2176408 w 10505529"/>
              <a:gd name="connsiteY1141" fmla="*/ 7428687 h 7458372"/>
              <a:gd name="connsiteX1142" fmla="*/ 2184796 w 10505529"/>
              <a:gd name="connsiteY1142" fmla="*/ 7407654 h 7458372"/>
              <a:gd name="connsiteX1143" fmla="*/ 2206629 w 10505529"/>
              <a:gd name="connsiteY1143" fmla="*/ 7399134 h 7458372"/>
              <a:gd name="connsiteX1144" fmla="*/ 1989097 w 10505529"/>
              <a:gd name="connsiteY1144" fmla="*/ 7399134 h 7458372"/>
              <a:gd name="connsiteX1145" fmla="*/ 2000811 w 10505529"/>
              <a:gd name="connsiteY1145" fmla="*/ 7401530 h 7458372"/>
              <a:gd name="connsiteX1146" fmla="*/ 2010130 w 10505529"/>
              <a:gd name="connsiteY1146" fmla="*/ 7407787 h 7458372"/>
              <a:gd name="connsiteX1147" fmla="*/ 2016252 w 10505529"/>
              <a:gd name="connsiteY1147" fmla="*/ 7417239 h 7458372"/>
              <a:gd name="connsiteX1148" fmla="*/ 2018515 w 10505529"/>
              <a:gd name="connsiteY1148" fmla="*/ 7428687 h 7458372"/>
              <a:gd name="connsiteX1149" fmla="*/ 2016252 w 10505529"/>
              <a:gd name="connsiteY1149" fmla="*/ 7440402 h 7458372"/>
              <a:gd name="connsiteX1150" fmla="*/ 2010130 w 10505529"/>
              <a:gd name="connsiteY1150" fmla="*/ 7449852 h 7458372"/>
              <a:gd name="connsiteX1151" fmla="*/ 2000811 w 10505529"/>
              <a:gd name="connsiteY1151" fmla="*/ 7456109 h 7458372"/>
              <a:gd name="connsiteX1152" fmla="*/ 1989097 w 10505529"/>
              <a:gd name="connsiteY1152" fmla="*/ 7458372 h 7458372"/>
              <a:gd name="connsiteX1153" fmla="*/ 1967266 w 10505529"/>
              <a:gd name="connsiteY1153" fmla="*/ 7449852 h 7458372"/>
              <a:gd name="connsiteX1154" fmla="*/ 1958880 w 10505529"/>
              <a:gd name="connsiteY1154" fmla="*/ 7428687 h 7458372"/>
              <a:gd name="connsiteX1155" fmla="*/ 1967266 w 10505529"/>
              <a:gd name="connsiteY1155" fmla="*/ 7407654 h 7458372"/>
              <a:gd name="connsiteX1156" fmla="*/ 1989097 w 10505529"/>
              <a:gd name="connsiteY1156" fmla="*/ 7399134 h 7458372"/>
              <a:gd name="connsiteX1157" fmla="*/ 1771467 w 10505529"/>
              <a:gd name="connsiteY1157" fmla="*/ 7399134 h 7458372"/>
              <a:gd name="connsiteX1158" fmla="*/ 1783180 w 10505529"/>
              <a:gd name="connsiteY1158" fmla="*/ 7401530 h 7458372"/>
              <a:gd name="connsiteX1159" fmla="*/ 1792498 w 10505529"/>
              <a:gd name="connsiteY1159" fmla="*/ 7407787 h 7458372"/>
              <a:gd name="connsiteX1160" fmla="*/ 1798621 w 10505529"/>
              <a:gd name="connsiteY1160" fmla="*/ 7417239 h 7458372"/>
              <a:gd name="connsiteX1161" fmla="*/ 1800883 w 10505529"/>
              <a:gd name="connsiteY1161" fmla="*/ 7428687 h 7458372"/>
              <a:gd name="connsiteX1162" fmla="*/ 1798621 w 10505529"/>
              <a:gd name="connsiteY1162" fmla="*/ 7440402 h 7458372"/>
              <a:gd name="connsiteX1163" fmla="*/ 1792498 w 10505529"/>
              <a:gd name="connsiteY1163" fmla="*/ 7449852 h 7458372"/>
              <a:gd name="connsiteX1164" fmla="*/ 1783180 w 10505529"/>
              <a:gd name="connsiteY1164" fmla="*/ 7456109 h 7458372"/>
              <a:gd name="connsiteX1165" fmla="*/ 1771467 w 10505529"/>
              <a:gd name="connsiteY1165" fmla="*/ 7458372 h 7458372"/>
              <a:gd name="connsiteX1166" fmla="*/ 1749638 w 10505529"/>
              <a:gd name="connsiteY1166" fmla="*/ 7449852 h 7458372"/>
              <a:gd name="connsiteX1167" fmla="*/ 1741255 w 10505529"/>
              <a:gd name="connsiteY1167" fmla="*/ 7428687 h 7458372"/>
              <a:gd name="connsiteX1168" fmla="*/ 1749638 w 10505529"/>
              <a:gd name="connsiteY1168" fmla="*/ 7407654 h 7458372"/>
              <a:gd name="connsiteX1169" fmla="*/ 1771467 w 10505529"/>
              <a:gd name="connsiteY1169" fmla="*/ 7399134 h 7458372"/>
              <a:gd name="connsiteX1170" fmla="*/ 1553833 w 10505529"/>
              <a:gd name="connsiteY1170" fmla="*/ 7399134 h 7458372"/>
              <a:gd name="connsiteX1171" fmla="*/ 1565547 w 10505529"/>
              <a:gd name="connsiteY1171" fmla="*/ 7401530 h 7458372"/>
              <a:gd name="connsiteX1172" fmla="*/ 1574865 w 10505529"/>
              <a:gd name="connsiteY1172" fmla="*/ 7407787 h 7458372"/>
              <a:gd name="connsiteX1173" fmla="*/ 1580988 w 10505529"/>
              <a:gd name="connsiteY1173" fmla="*/ 7417239 h 7458372"/>
              <a:gd name="connsiteX1174" fmla="*/ 1583251 w 10505529"/>
              <a:gd name="connsiteY1174" fmla="*/ 7428687 h 7458372"/>
              <a:gd name="connsiteX1175" fmla="*/ 1580988 w 10505529"/>
              <a:gd name="connsiteY1175" fmla="*/ 7440402 h 7458372"/>
              <a:gd name="connsiteX1176" fmla="*/ 1574865 w 10505529"/>
              <a:gd name="connsiteY1176" fmla="*/ 7449852 h 7458372"/>
              <a:gd name="connsiteX1177" fmla="*/ 1565547 w 10505529"/>
              <a:gd name="connsiteY1177" fmla="*/ 7456109 h 7458372"/>
              <a:gd name="connsiteX1178" fmla="*/ 1553833 w 10505529"/>
              <a:gd name="connsiteY1178" fmla="*/ 7458372 h 7458372"/>
              <a:gd name="connsiteX1179" fmla="*/ 1532003 w 10505529"/>
              <a:gd name="connsiteY1179" fmla="*/ 7449852 h 7458372"/>
              <a:gd name="connsiteX1180" fmla="*/ 1523618 w 10505529"/>
              <a:gd name="connsiteY1180" fmla="*/ 7428687 h 7458372"/>
              <a:gd name="connsiteX1181" fmla="*/ 1532003 w 10505529"/>
              <a:gd name="connsiteY1181" fmla="*/ 7407654 h 7458372"/>
              <a:gd name="connsiteX1182" fmla="*/ 1553833 w 10505529"/>
              <a:gd name="connsiteY1182" fmla="*/ 7399134 h 7458372"/>
              <a:gd name="connsiteX1183" fmla="*/ 1336190 w 10505529"/>
              <a:gd name="connsiteY1183" fmla="*/ 7399134 h 7458372"/>
              <a:gd name="connsiteX1184" fmla="*/ 1347905 w 10505529"/>
              <a:gd name="connsiteY1184" fmla="*/ 7401530 h 7458372"/>
              <a:gd name="connsiteX1185" fmla="*/ 1357222 w 10505529"/>
              <a:gd name="connsiteY1185" fmla="*/ 7407787 h 7458372"/>
              <a:gd name="connsiteX1186" fmla="*/ 1363345 w 10505529"/>
              <a:gd name="connsiteY1186" fmla="*/ 7417239 h 7458372"/>
              <a:gd name="connsiteX1187" fmla="*/ 1365608 w 10505529"/>
              <a:gd name="connsiteY1187" fmla="*/ 7428687 h 7458372"/>
              <a:gd name="connsiteX1188" fmla="*/ 1363345 w 10505529"/>
              <a:gd name="connsiteY1188" fmla="*/ 7440402 h 7458372"/>
              <a:gd name="connsiteX1189" fmla="*/ 1357222 w 10505529"/>
              <a:gd name="connsiteY1189" fmla="*/ 7449852 h 7458372"/>
              <a:gd name="connsiteX1190" fmla="*/ 1347905 w 10505529"/>
              <a:gd name="connsiteY1190" fmla="*/ 7456109 h 7458372"/>
              <a:gd name="connsiteX1191" fmla="*/ 1336190 w 10505529"/>
              <a:gd name="connsiteY1191" fmla="*/ 7458372 h 7458372"/>
              <a:gd name="connsiteX1192" fmla="*/ 1314356 w 10505529"/>
              <a:gd name="connsiteY1192" fmla="*/ 7449852 h 7458372"/>
              <a:gd name="connsiteX1193" fmla="*/ 1305970 w 10505529"/>
              <a:gd name="connsiteY1193" fmla="*/ 7428687 h 7458372"/>
              <a:gd name="connsiteX1194" fmla="*/ 1314356 w 10505529"/>
              <a:gd name="connsiteY1194" fmla="*/ 7407654 h 7458372"/>
              <a:gd name="connsiteX1195" fmla="*/ 1336190 w 10505529"/>
              <a:gd name="connsiteY1195" fmla="*/ 7399134 h 7458372"/>
              <a:gd name="connsiteX1196" fmla="*/ 1118543 w 10505529"/>
              <a:gd name="connsiteY1196" fmla="*/ 7399134 h 7458372"/>
              <a:gd name="connsiteX1197" fmla="*/ 1130262 w 10505529"/>
              <a:gd name="connsiteY1197" fmla="*/ 7401530 h 7458372"/>
              <a:gd name="connsiteX1198" fmla="*/ 1139575 w 10505529"/>
              <a:gd name="connsiteY1198" fmla="*/ 7407787 h 7458372"/>
              <a:gd name="connsiteX1199" fmla="*/ 1145695 w 10505529"/>
              <a:gd name="connsiteY1199" fmla="*/ 7417239 h 7458372"/>
              <a:gd name="connsiteX1200" fmla="*/ 1147959 w 10505529"/>
              <a:gd name="connsiteY1200" fmla="*/ 7428687 h 7458372"/>
              <a:gd name="connsiteX1201" fmla="*/ 1145695 w 10505529"/>
              <a:gd name="connsiteY1201" fmla="*/ 7440402 h 7458372"/>
              <a:gd name="connsiteX1202" fmla="*/ 1139575 w 10505529"/>
              <a:gd name="connsiteY1202" fmla="*/ 7449852 h 7458372"/>
              <a:gd name="connsiteX1203" fmla="*/ 1130262 w 10505529"/>
              <a:gd name="connsiteY1203" fmla="*/ 7456109 h 7458372"/>
              <a:gd name="connsiteX1204" fmla="*/ 1118543 w 10505529"/>
              <a:gd name="connsiteY1204" fmla="*/ 7458372 h 7458372"/>
              <a:gd name="connsiteX1205" fmla="*/ 1096707 w 10505529"/>
              <a:gd name="connsiteY1205" fmla="*/ 7449852 h 7458372"/>
              <a:gd name="connsiteX1206" fmla="*/ 1088323 w 10505529"/>
              <a:gd name="connsiteY1206" fmla="*/ 7428687 h 7458372"/>
              <a:gd name="connsiteX1207" fmla="*/ 1096707 w 10505529"/>
              <a:gd name="connsiteY1207" fmla="*/ 7407654 h 7458372"/>
              <a:gd name="connsiteX1208" fmla="*/ 1118543 w 10505529"/>
              <a:gd name="connsiteY1208" fmla="*/ 7399134 h 7458372"/>
              <a:gd name="connsiteX1209" fmla="*/ 901029 w 10505529"/>
              <a:gd name="connsiteY1209" fmla="*/ 7399134 h 7458372"/>
              <a:gd name="connsiteX1210" fmla="*/ 912745 w 10505529"/>
              <a:gd name="connsiteY1210" fmla="*/ 7401530 h 7458372"/>
              <a:gd name="connsiteX1211" fmla="*/ 922063 w 10505529"/>
              <a:gd name="connsiteY1211" fmla="*/ 7407787 h 7458372"/>
              <a:gd name="connsiteX1212" fmla="*/ 928186 w 10505529"/>
              <a:gd name="connsiteY1212" fmla="*/ 7417239 h 7458372"/>
              <a:gd name="connsiteX1213" fmla="*/ 930448 w 10505529"/>
              <a:gd name="connsiteY1213" fmla="*/ 7428687 h 7458372"/>
              <a:gd name="connsiteX1214" fmla="*/ 928186 w 10505529"/>
              <a:gd name="connsiteY1214" fmla="*/ 7440402 h 7458372"/>
              <a:gd name="connsiteX1215" fmla="*/ 922063 w 10505529"/>
              <a:gd name="connsiteY1215" fmla="*/ 7449852 h 7458372"/>
              <a:gd name="connsiteX1216" fmla="*/ 912745 w 10505529"/>
              <a:gd name="connsiteY1216" fmla="*/ 7456109 h 7458372"/>
              <a:gd name="connsiteX1217" fmla="*/ 901029 w 10505529"/>
              <a:gd name="connsiteY1217" fmla="*/ 7458372 h 7458372"/>
              <a:gd name="connsiteX1218" fmla="*/ 879200 w 10505529"/>
              <a:gd name="connsiteY1218" fmla="*/ 7449852 h 7458372"/>
              <a:gd name="connsiteX1219" fmla="*/ 870814 w 10505529"/>
              <a:gd name="connsiteY1219" fmla="*/ 7428687 h 7458372"/>
              <a:gd name="connsiteX1220" fmla="*/ 879200 w 10505529"/>
              <a:gd name="connsiteY1220" fmla="*/ 7407654 h 7458372"/>
              <a:gd name="connsiteX1221" fmla="*/ 901029 w 10505529"/>
              <a:gd name="connsiteY1221" fmla="*/ 7399134 h 7458372"/>
              <a:gd name="connsiteX1222" fmla="*/ 683390 w 10505529"/>
              <a:gd name="connsiteY1222" fmla="*/ 7399134 h 7458372"/>
              <a:gd name="connsiteX1223" fmla="*/ 695106 w 10505529"/>
              <a:gd name="connsiteY1223" fmla="*/ 7401530 h 7458372"/>
              <a:gd name="connsiteX1224" fmla="*/ 704423 w 10505529"/>
              <a:gd name="connsiteY1224" fmla="*/ 7407787 h 7458372"/>
              <a:gd name="connsiteX1225" fmla="*/ 710546 w 10505529"/>
              <a:gd name="connsiteY1225" fmla="*/ 7417239 h 7458372"/>
              <a:gd name="connsiteX1226" fmla="*/ 712808 w 10505529"/>
              <a:gd name="connsiteY1226" fmla="*/ 7428687 h 7458372"/>
              <a:gd name="connsiteX1227" fmla="*/ 710546 w 10505529"/>
              <a:gd name="connsiteY1227" fmla="*/ 7440402 h 7458372"/>
              <a:gd name="connsiteX1228" fmla="*/ 704423 w 10505529"/>
              <a:gd name="connsiteY1228" fmla="*/ 7449852 h 7458372"/>
              <a:gd name="connsiteX1229" fmla="*/ 695106 w 10505529"/>
              <a:gd name="connsiteY1229" fmla="*/ 7456109 h 7458372"/>
              <a:gd name="connsiteX1230" fmla="*/ 683390 w 10505529"/>
              <a:gd name="connsiteY1230" fmla="*/ 7458372 h 7458372"/>
              <a:gd name="connsiteX1231" fmla="*/ 661560 w 10505529"/>
              <a:gd name="connsiteY1231" fmla="*/ 7449852 h 7458372"/>
              <a:gd name="connsiteX1232" fmla="*/ 653174 w 10505529"/>
              <a:gd name="connsiteY1232" fmla="*/ 7428687 h 7458372"/>
              <a:gd name="connsiteX1233" fmla="*/ 661560 w 10505529"/>
              <a:gd name="connsiteY1233" fmla="*/ 7407654 h 7458372"/>
              <a:gd name="connsiteX1234" fmla="*/ 683390 w 10505529"/>
              <a:gd name="connsiteY1234" fmla="*/ 7399134 h 7458372"/>
              <a:gd name="connsiteX1235" fmla="*/ 465751 w 10505529"/>
              <a:gd name="connsiteY1235" fmla="*/ 7399134 h 7458372"/>
              <a:gd name="connsiteX1236" fmla="*/ 477466 w 10505529"/>
              <a:gd name="connsiteY1236" fmla="*/ 7401530 h 7458372"/>
              <a:gd name="connsiteX1237" fmla="*/ 486783 w 10505529"/>
              <a:gd name="connsiteY1237" fmla="*/ 7407787 h 7458372"/>
              <a:gd name="connsiteX1238" fmla="*/ 492906 w 10505529"/>
              <a:gd name="connsiteY1238" fmla="*/ 7417239 h 7458372"/>
              <a:gd name="connsiteX1239" fmla="*/ 495169 w 10505529"/>
              <a:gd name="connsiteY1239" fmla="*/ 7428687 h 7458372"/>
              <a:gd name="connsiteX1240" fmla="*/ 492906 w 10505529"/>
              <a:gd name="connsiteY1240" fmla="*/ 7440402 h 7458372"/>
              <a:gd name="connsiteX1241" fmla="*/ 486783 w 10505529"/>
              <a:gd name="connsiteY1241" fmla="*/ 7449852 h 7458372"/>
              <a:gd name="connsiteX1242" fmla="*/ 477466 w 10505529"/>
              <a:gd name="connsiteY1242" fmla="*/ 7456109 h 7458372"/>
              <a:gd name="connsiteX1243" fmla="*/ 465751 w 10505529"/>
              <a:gd name="connsiteY1243" fmla="*/ 7458372 h 7458372"/>
              <a:gd name="connsiteX1244" fmla="*/ 443920 w 10505529"/>
              <a:gd name="connsiteY1244" fmla="*/ 7449852 h 7458372"/>
              <a:gd name="connsiteX1245" fmla="*/ 435534 w 10505529"/>
              <a:gd name="connsiteY1245" fmla="*/ 7428687 h 7458372"/>
              <a:gd name="connsiteX1246" fmla="*/ 443920 w 10505529"/>
              <a:gd name="connsiteY1246" fmla="*/ 7407654 h 7458372"/>
              <a:gd name="connsiteX1247" fmla="*/ 465751 w 10505529"/>
              <a:gd name="connsiteY1247" fmla="*/ 7399134 h 7458372"/>
              <a:gd name="connsiteX1248" fmla="*/ 248110 w 10505529"/>
              <a:gd name="connsiteY1248" fmla="*/ 7399134 h 7458372"/>
              <a:gd name="connsiteX1249" fmla="*/ 259824 w 10505529"/>
              <a:gd name="connsiteY1249" fmla="*/ 7401530 h 7458372"/>
              <a:gd name="connsiteX1250" fmla="*/ 269142 w 10505529"/>
              <a:gd name="connsiteY1250" fmla="*/ 7407787 h 7458372"/>
              <a:gd name="connsiteX1251" fmla="*/ 275265 w 10505529"/>
              <a:gd name="connsiteY1251" fmla="*/ 7417239 h 7458372"/>
              <a:gd name="connsiteX1252" fmla="*/ 277528 w 10505529"/>
              <a:gd name="connsiteY1252" fmla="*/ 7428687 h 7458372"/>
              <a:gd name="connsiteX1253" fmla="*/ 275265 w 10505529"/>
              <a:gd name="connsiteY1253" fmla="*/ 7440402 h 7458372"/>
              <a:gd name="connsiteX1254" fmla="*/ 269142 w 10505529"/>
              <a:gd name="connsiteY1254" fmla="*/ 7449852 h 7458372"/>
              <a:gd name="connsiteX1255" fmla="*/ 259824 w 10505529"/>
              <a:gd name="connsiteY1255" fmla="*/ 7456109 h 7458372"/>
              <a:gd name="connsiteX1256" fmla="*/ 248110 w 10505529"/>
              <a:gd name="connsiteY1256" fmla="*/ 7458372 h 7458372"/>
              <a:gd name="connsiteX1257" fmla="*/ 226281 w 10505529"/>
              <a:gd name="connsiteY1257" fmla="*/ 7449852 h 7458372"/>
              <a:gd name="connsiteX1258" fmla="*/ 217896 w 10505529"/>
              <a:gd name="connsiteY1258" fmla="*/ 7428687 h 7458372"/>
              <a:gd name="connsiteX1259" fmla="*/ 226281 w 10505529"/>
              <a:gd name="connsiteY1259" fmla="*/ 7407654 h 7458372"/>
              <a:gd name="connsiteX1260" fmla="*/ 248110 w 10505529"/>
              <a:gd name="connsiteY1260" fmla="*/ 7399134 h 7458372"/>
              <a:gd name="connsiteX1261" fmla="*/ 30469 w 10505529"/>
              <a:gd name="connsiteY1261" fmla="*/ 7399134 h 7458372"/>
              <a:gd name="connsiteX1262" fmla="*/ 42184 w 10505529"/>
              <a:gd name="connsiteY1262" fmla="*/ 7401530 h 7458372"/>
              <a:gd name="connsiteX1263" fmla="*/ 51502 w 10505529"/>
              <a:gd name="connsiteY1263" fmla="*/ 7407787 h 7458372"/>
              <a:gd name="connsiteX1264" fmla="*/ 57626 w 10505529"/>
              <a:gd name="connsiteY1264" fmla="*/ 7417239 h 7458372"/>
              <a:gd name="connsiteX1265" fmla="*/ 59888 w 10505529"/>
              <a:gd name="connsiteY1265" fmla="*/ 7428687 h 7458372"/>
              <a:gd name="connsiteX1266" fmla="*/ 57626 w 10505529"/>
              <a:gd name="connsiteY1266" fmla="*/ 7440402 h 7458372"/>
              <a:gd name="connsiteX1267" fmla="*/ 51502 w 10505529"/>
              <a:gd name="connsiteY1267" fmla="*/ 7449852 h 7458372"/>
              <a:gd name="connsiteX1268" fmla="*/ 42184 w 10505529"/>
              <a:gd name="connsiteY1268" fmla="*/ 7456109 h 7458372"/>
              <a:gd name="connsiteX1269" fmla="*/ 30469 w 10505529"/>
              <a:gd name="connsiteY1269" fmla="*/ 7458372 h 7458372"/>
              <a:gd name="connsiteX1270" fmla="*/ 8643 w 10505529"/>
              <a:gd name="connsiteY1270" fmla="*/ 7449852 h 7458372"/>
              <a:gd name="connsiteX1271" fmla="*/ 256 w 10505529"/>
              <a:gd name="connsiteY1271" fmla="*/ 7428687 h 7458372"/>
              <a:gd name="connsiteX1272" fmla="*/ 8643 w 10505529"/>
              <a:gd name="connsiteY1272" fmla="*/ 7407654 h 7458372"/>
              <a:gd name="connsiteX1273" fmla="*/ 30469 w 10505529"/>
              <a:gd name="connsiteY1273" fmla="*/ 7399134 h 7458372"/>
              <a:gd name="connsiteX1274" fmla="*/ 10475977 w 10505529"/>
              <a:gd name="connsiteY1274" fmla="*/ 7198129 h 7458372"/>
              <a:gd name="connsiteX1275" fmla="*/ 10465992 w 10505529"/>
              <a:gd name="connsiteY1275" fmla="*/ 7201723 h 7458372"/>
              <a:gd name="connsiteX1276" fmla="*/ 10462399 w 10505529"/>
              <a:gd name="connsiteY1276" fmla="*/ 7211174 h 7458372"/>
              <a:gd name="connsiteX1277" fmla="*/ 10465992 w 10505529"/>
              <a:gd name="connsiteY1277" fmla="*/ 7220625 h 7458372"/>
              <a:gd name="connsiteX1278" fmla="*/ 10475977 w 10505529"/>
              <a:gd name="connsiteY1278" fmla="*/ 7224087 h 7458372"/>
              <a:gd name="connsiteX1279" fmla="*/ 10481302 w 10505529"/>
              <a:gd name="connsiteY1279" fmla="*/ 7223155 h 7458372"/>
              <a:gd name="connsiteX1280" fmla="*/ 10485029 w 10505529"/>
              <a:gd name="connsiteY1280" fmla="*/ 7220758 h 7458372"/>
              <a:gd name="connsiteX1281" fmla="*/ 10487691 w 10505529"/>
              <a:gd name="connsiteY1281" fmla="*/ 7216499 h 7458372"/>
              <a:gd name="connsiteX1282" fmla="*/ 10488623 w 10505529"/>
              <a:gd name="connsiteY1282" fmla="*/ 7211040 h 7458372"/>
              <a:gd name="connsiteX1283" fmla="*/ 10487691 w 10505529"/>
              <a:gd name="connsiteY1283" fmla="*/ 7205850 h 7458372"/>
              <a:gd name="connsiteX1284" fmla="*/ 10485029 w 10505529"/>
              <a:gd name="connsiteY1284" fmla="*/ 7201723 h 7458372"/>
              <a:gd name="connsiteX1285" fmla="*/ 10481035 w 10505529"/>
              <a:gd name="connsiteY1285" fmla="*/ 7199060 h 7458372"/>
              <a:gd name="connsiteX1286" fmla="*/ 10475977 w 10505529"/>
              <a:gd name="connsiteY1286" fmla="*/ 7198129 h 7458372"/>
              <a:gd name="connsiteX1287" fmla="*/ 10258466 w 10505529"/>
              <a:gd name="connsiteY1287" fmla="*/ 7198129 h 7458372"/>
              <a:gd name="connsiteX1288" fmla="*/ 10248481 w 10505529"/>
              <a:gd name="connsiteY1288" fmla="*/ 7201723 h 7458372"/>
              <a:gd name="connsiteX1289" fmla="*/ 10244887 w 10505529"/>
              <a:gd name="connsiteY1289" fmla="*/ 7211174 h 7458372"/>
              <a:gd name="connsiteX1290" fmla="*/ 10248481 w 10505529"/>
              <a:gd name="connsiteY1290" fmla="*/ 7220625 h 7458372"/>
              <a:gd name="connsiteX1291" fmla="*/ 10258466 w 10505529"/>
              <a:gd name="connsiteY1291" fmla="*/ 7224087 h 7458372"/>
              <a:gd name="connsiteX1292" fmla="*/ 10263790 w 10505529"/>
              <a:gd name="connsiteY1292" fmla="*/ 7223155 h 7458372"/>
              <a:gd name="connsiteX1293" fmla="*/ 10267517 w 10505529"/>
              <a:gd name="connsiteY1293" fmla="*/ 7220758 h 7458372"/>
              <a:gd name="connsiteX1294" fmla="*/ 10270180 w 10505529"/>
              <a:gd name="connsiteY1294" fmla="*/ 7216499 h 7458372"/>
              <a:gd name="connsiteX1295" fmla="*/ 10271112 w 10505529"/>
              <a:gd name="connsiteY1295" fmla="*/ 7211040 h 7458372"/>
              <a:gd name="connsiteX1296" fmla="*/ 10270180 w 10505529"/>
              <a:gd name="connsiteY1296" fmla="*/ 7205850 h 7458372"/>
              <a:gd name="connsiteX1297" fmla="*/ 10267517 w 10505529"/>
              <a:gd name="connsiteY1297" fmla="*/ 7201723 h 7458372"/>
              <a:gd name="connsiteX1298" fmla="*/ 10263524 w 10505529"/>
              <a:gd name="connsiteY1298" fmla="*/ 7199060 h 7458372"/>
              <a:gd name="connsiteX1299" fmla="*/ 10258466 w 10505529"/>
              <a:gd name="connsiteY1299" fmla="*/ 7198129 h 7458372"/>
              <a:gd name="connsiteX1300" fmla="*/ 10040820 w 10505529"/>
              <a:gd name="connsiteY1300" fmla="*/ 7198129 h 7458372"/>
              <a:gd name="connsiteX1301" fmla="*/ 10030835 w 10505529"/>
              <a:gd name="connsiteY1301" fmla="*/ 7201723 h 7458372"/>
              <a:gd name="connsiteX1302" fmla="*/ 10027242 w 10505529"/>
              <a:gd name="connsiteY1302" fmla="*/ 7211174 h 7458372"/>
              <a:gd name="connsiteX1303" fmla="*/ 10030835 w 10505529"/>
              <a:gd name="connsiteY1303" fmla="*/ 7220625 h 7458372"/>
              <a:gd name="connsiteX1304" fmla="*/ 10040820 w 10505529"/>
              <a:gd name="connsiteY1304" fmla="*/ 7224087 h 7458372"/>
              <a:gd name="connsiteX1305" fmla="*/ 10046145 w 10505529"/>
              <a:gd name="connsiteY1305" fmla="*/ 7223155 h 7458372"/>
              <a:gd name="connsiteX1306" fmla="*/ 10049872 w 10505529"/>
              <a:gd name="connsiteY1306" fmla="*/ 7220758 h 7458372"/>
              <a:gd name="connsiteX1307" fmla="*/ 10052534 w 10505529"/>
              <a:gd name="connsiteY1307" fmla="*/ 7216499 h 7458372"/>
              <a:gd name="connsiteX1308" fmla="*/ 10053599 w 10505529"/>
              <a:gd name="connsiteY1308" fmla="*/ 7211040 h 7458372"/>
              <a:gd name="connsiteX1309" fmla="*/ 10052534 w 10505529"/>
              <a:gd name="connsiteY1309" fmla="*/ 7205850 h 7458372"/>
              <a:gd name="connsiteX1310" fmla="*/ 10049872 w 10505529"/>
              <a:gd name="connsiteY1310" fmla="*/ 7201723 h 7458372"/>
              <a:gd name="connsiteX1311" fmla="*/ 10045878 w 10505529"/>
              <a:gd name="connsiteY1311" fmla="*/ 7199060 h 7458372"/>
              <a:gd name="connsiteX1312" fmla="*/ 10040820 w 10505529"/>
              <a:gd name="connsiteY1312" fmla="*/ 7198129 h 7458372"/>
              <a:gd name="connsiteX1313" fmla="*/ 9823176 w 10505529"/>
              <a:gd name="connsiteY1313" fmla="*/ 7198129 h 7458372"/>
              <a:gd name="connsiteX1314" fmla="*/ 9813191 w 10505529"/>
              <a:gd name="connsiteY1314" fmla="*/ 7201723 h 7458372"/>
              <a:gd name="connsiteX1315" fmla="*/ 9809597 w 10505529"/>
              <a:gd name="connsiteY1315" fmla="*/ 7211174 h 7458372"/>
              <a:gd name="connsiteX1316" fmla="*/ 9813191 w 10505529"/>
              <a:gd name="connsiteY1316" fmla="*/ 7220625 h 7458372"/>
              <a:gd name="connsiteX1317" fmla="*/ 9823176 w 10505529"/>
              <a:gd name="connsiteY1317" fmla="*/ 7224087 h 7458372"/>
              <a:gd name="connsiteX1318" fmla="*/ 9828501 w 10505529"/>
              <a:gd name="connsiteY1318" fmla="*/ 7223155 h 7458372"/>
              <a:gd name="connsiteX1319" fmla="*/ 9832227 w 10505529"/>
              <a:gd name="connsiteY1319" fmla="*/ 7220758 h 7458372"/>
              <a:gd name="connsiteX1320" fmla="*/ 9834890 w 10505529"/>
              <a:gd name="connsiteY1320" fmla="*/ 7216499 h 7458372"/>
              <a:gd name="connsiteX1321" fmla="*/ 9835955 w 10505529"/>
              <a:gd name="connsiteY1321" fmla="*/ 7211040 h 7458372"/>
              <a:gd name="connsiteX1322" fmla="*/ 9834890 w 10505529"/>
              <a:gd name="connsiteY1322" fmla="*/ 7205850 h 7458372"/>
              <a:gd name="connsiteX1323" fmla="*/ 9832227 w 10505529"/>
              <a:gd name="connsiteY1323" fmla="*/ 7201723 h 7458372"/>
              <a:gd name="connsiteX1324" fmla="*/ 9828234 w 10505529"/>
              <a:gd name="connsiteY1324" fmla="*/ 7199060 h 7458372"/>
              <a:gd name="connsiteX1325" fmla="*/ 9823176 w 10505529"/>
              <a:gd name="connsiteY1325" fmla="*/ 7198129 h 7458372"/>
              <a:gd name="connsiteX1326" fmla="*/ 9605531 w 10505529"/>
              <a:gd name="connsiteY1326" fmla="*/ 7198129 h 7458372"/>
              <a:gd name="connsiteX1327" fmla="*/ 9595546 w 10505529"/>
              <a:gd name="connsiteY1327" fmla="*/ 7201723 h 7458372"/>
              <a:gd name="connsiteX1328" fmla="*/ 9591952 w 10505529"/>
              <a:gd name="connsiteY1328" fmla="*/ 7211174 h 7458372"/>
              <a:gd name="connsiteX1329" fmla="*/ 9595546 w 10505529"/>
              <a:gd name="connsiteY1329" fmla="*/ 7220625 h 7458372"/>
              <a:gd name="connsiteX1330" fmla="*/ 9605531 w 10505529"/>
              <a:gd name="connsiteY1330" fmla="*/ 7224087 h 7458372"/>
              <a:gd name="connsiteX1331" fmla="*/ 9610855 w 10505529"/>
              <a:gd name="connsiteY1331" fmla="*/ 7223155 h 7458372"/>
              <a:gd name="connsiteX1332" fmla="*/ 9614582 w 10505529"/>
              <a:gd name="connsiteY1332" fmla="*/ 7220758 h 7458372"/>
              <a:gd name="connsiteX1333" fmla="*/ 9617245 w 10505529"/>
              <a:gd name="connsiteY1333" fmla="*/ 7216499 h 7458372"/>
              <a:gd name="connsiteX1334" fmla="*/ 9618309 w 10505529"/>
              <a:gd name="connsiteY1334" fmla="*/ 7211040 h 7458372"/>
              <a:gd name="connsiteX1335" fmla="*/ 9617245 w 10505529"/>
              <a:gd name="connsiteY1335" fmla="*/ 7205850 h 7458372"/>
              <a:gd name="connsiteX1336" fmla="*/ 9614582 w 10505529"/>
              <a:gd name="connsiteY1336" fmla="*/ 7201723 h 7458372"/>
              <a:gd name="connsiteX1337" fmla="*/ 9610589 w 10505529"/>
              <a:gd name="connsiteY1337" fmla="*/ 7199060 h 7458372"/>
              <a:gd name="connsiteX1338" fmla="*/ 9605531 w 10505529"/>
              <a:gd name="connsiteY1338" fmla="*/ 7198129 h 7458372"/>
              <a:gd name="connsiteX1339" fmla="*/ 9387885 w 10505529"/>
              <a:gd name="connsiteY1339" fmla="*/ 7198129 h 7458372"/>
              <a:gd name="connsiteX1340" fmla="*/ 9377900 w 10505529"/>
              <a:gd name="connsiteY1340" fmla="*/ 7201723 h 7458372"/>
              <a:gd name="connsiteX1341" fmla="*/ 9374307 w 10505529"/>
              <a:gd name="connsiteY1341" fmla="*/ 7211174 h 7458372"/>
              <a:gd name="connsiteX1342" fmla="*/ 9377900 w 10505529"/>
              <a:gd name="connsiteY1342" fmla="*/ 7220625 h 7458372"/>
              <a:gd name="connsiteX1343" fmla="*/ 9387885 w 10505529"/>
              <a:gd name="connsiteY1343" fmla="*/ 7224087 h 7458372"/>
              <a:gd name="connsiteX1344" fmla="*/ 9393210 w 10505529"/>
              <a:gd name="connsiteY1344" fmla="*/ 7223155 h 7458372"/>
              <a:gd name="connsiteX1345" fmla="*/ 9396937 w 10505529"/>
              <a:gd name="connsiteY1345" fmla="*/ 7220758 h 7458372"/>
              <a:gd name="connsiteX1346" fmla="*/ 9399599 w 10505529"/>
              <a:gd name="connsiteY1346" fmla="*/ 7216499 h 7458372"/>
              <a:gd name="connsiteX1347" fmla="*/ 9400664 w 10505529"/>
              <a:gd name="connsiteY1347" fmla="*/ 7211040 h 7458372"/>
              <a:gd name="connsiteX1348" fmla="*/ 9399599 w 10505529"/>
              <a:gd name="connsiteY1348" fmla="*/ 7205850 h 7458372"/>
              <a:gd name="connsiteX1349" fmla="*/ 9396937 w 10505529"/>
              <a:gd name="connsiteY1349" fmla="*/ 7201723 h 7458372"/>
              <a:gd name="connsiteX1350" fmla="*/ 9392943 w 10505529"/>
              <a:gd name="connsiteY1350" fmla="*/ 7199060 h 7458372"/>
              <a:gd name="connsiteX1351" fmla="*/ 9387885 w 10505529"/>
              <a:gd name="connsiteY1351" fmla="*/ 7198129 h 7458372"/>
              <a:gd name="connsiteX1352" fmla="*/ 9170374 w 10505529"/>
              <a:gd name="connsiteY1352" fmla="*/ 7198129 h 7458372"/>
              <a:gd name="connsiteX1353" fmla="*/ 9160389 w 10505529"/>
              <a:gd name="connsiteY1353" fmla="*/ 7201723 h 7458372"/>
              <a:gd name="connsiteX1354" fmla="*/ 9156795 w 10505529"/>
              <a:gd name="connsiteY1354" fmla="*/ 7211174 h 7458372"/>
              <a:gd name="connsiteX1355" fmla="*/ 9160389 w 10505529"/>
              <a:gd name="connsiteY1355" fmla="*/ 7220625 h 7458372"/>
              <a:gd name="connsiteX1356" fmla="*/ 9170374 w 10505529"/>
              <a:gd name="connsiteY1356" fmla="*/ 7224087 h 7458372"/>
              <a:gd name="connsiteX1357" fmla="*/ 9175698 w 10505529"/>
              <a:gd name="connsiteY1357" fmla="*/ 7223155 h 7458372"/>
              <a:gd name="connsiteX1358" fmla="*/ 9179425 w 10505529"/>
              <a:gd name="connsiteY1358" fmla="*/ 7220758 h 7458372"/>
              <a:gd name="connsiteX1359" fmla="*/ 9182088 w 10505529"/>
              <a:gd name="connsiteY1359" fmla="*/ 7216499 h 7458372"/>
              <a:gd name="connsiteX1360" fmla="*/ 9183152 w 10505529"/>
              <a:gd name="connsiteY1360" fmla="*/ 7211040 h 7458372"/>
              <a:gd name="connsiteX1361" fmla="*/ 9182088 w 10505529"/>
              <a:gd name="connsiteY1361" fmla="*/ 7205850 h 7458372"/>
              <a:gd name="connsiteX1362" fmla="*/ 9179425 w 10505529"/>
              <a:gd name="connsiteY1362" fmla="*/ 7201723 h 7458372"/>
              <a:gd name="connsiteX1363" fmla="*/ 9175432 w 10505529"/>
              <a:gd name="connsiteY1363" fmla="*/ 7199060 h 7458372"/>
              <a:gd name="connsiteX1364" fmla="*/ 9170374 w 10505529"/>
              <a:gd name="connsiteY1364" fmla="*/ 7198129 h 7458372"/>
              <a:gd name="connsiteX1365" fmla="*/ 8952728 w 10505529"/>
              <a:gd name="connsiteY1365" fmla="*/ 7198129 h 7458372"/>
              <a:gd name="connsiteX1366" fmla="*/ 8942743 w 10505529"/>
              <a:gd name="connsiteY1366" fmla="*/ 7201723 h 7458372"/>
              <a:gd name="connsiteX1367" fmla="*/ 8939150 w 10505529"/>
              <a:gd name="connsiteY1367" fmla="*/ 7211174 h 7458372"/>
              <a:gd name="connsiteX1368" fmla="*/ 8942743 w 10505529"/>
              <a:gd name="connsiteY1368" fmla="*/ 7220625 h 7458372"/>
              <a:gd name="connsiteX1369" fmla="*/ 8952728 w 10505529"/>
              <a:gd name="connsiteY1369" fmla="*/ 7224087 h 7458372"/>
              <a:gd name="connsiteX1370" fmla="*/ 8958053 w 10505529"/>
              <a:gd name="connsiteY1370" fmla="*/ 7223155 h 7458372"/>
              <a:gd name="connsiteX1371" fmla="*/ 8961780 w 10505529"/>
              <a:gd name="connsiteY1371" fmla="*/ 7220758 h 7458372"/>
              <a:gd name="connsiteX1372" fmla="*/ 8964442 w 10505529"/>
              <a:gd name="connsiteY1372" fmla="*/ 7216499 h 7458372"/>
              <a:gd name="connsiteX1373" fmla="*/ 8965507 w 10505529"/>
              <a:gd name="connsiteY1373" fmla="*/ 7211040 h 7458372"/>
              <a:gd name="connsiteX1374" fmla="*/ 8964442 w 10505529"/>
              <a:gd name="connsiteY1374" fmla="*/ 7205850 h 7458372"/>
              <a:gd name="connsiteX1375" fmla="*/ 8961780 w 10505529"/>
              <a:gd name="connsiteY1375" fmla="*/ 7201723 h 7458372"/>
              <a:gd name="connsiteX1376" fmla="*/ 8957786 w 10505529"/>
              <a:gd name="connsiteY1376" fmla="*/ 7199060 h 7458372"/>
              <a:gd name="connsiteX1377" fmla="*/ 8952728 w 10505529"/>
              <a:gd name="connsiteY1377" fmla="*/ 7198129 h 7458372"/>
              <a:gd name="connsiteX1378" fmla="*/ 8735083 w 10505529"/>
              <a:gd name="connsiteY1378" fmla="*/ 7198129 h 7458372"/>
              <a:gd name="connsiteX1379" fmla="*/ 8725098 w 10505529"/>
              <a:gd name="connsiteY1379" fmla="*/ 7201723 h 7458372"/>
              <a:gd name="connsiteX1380" fmla="*/ 8721504 w 10505529"/>
              <a:gd name="connsiteY1380" fmla="*/ 7211174 h 7458372"/>
              <a:gd name="connsiteX1381" fmla="*/ 8725098 w 10505529"/>
              <a:gd name="connsiteY1381" fmla="*/ 7220625 h 7458372"/>
              <a:gd name="connsiteX1382" fmla="*/ 8735083 w 10505529"/>
              <a:gd name="connsiteY1382" fmla="*/ 7224087 h 7458372"/>
              <a:gd name="connsiteX1383" fmla="*/ 8740407 w 10505529"/>
              <a:gd name="connsiteY1383" fmla="*/ 7223155 h 7458372"/>
              <a:gd name="connsiteX1384" fmla="*/ 8744134 w 10505529"/>
              <a:gd name="connsiteY1384" fmla="*/ 7220758 h 7458372"/>
              <a:gd name="connsiteX1385" fmla="*/ 8746797 w 10505529"/>
              <a:gd name="connsiteY1385" fmla="*/ 7216499 h 7458372"/>
              <a:gd name="connsiteX1386" fmla="*/ 8747862 w 10505529"/>
              <a:gd name="connsiteY1386" fmla="*/ 7211040 h 7458372"/>
              <a:gd name="connsiteX1387" fmla="*/ 8746797 w 10505529"/>
              <a:gd name="connsiteY1387" fmla="*/ 7205850 h 7458372"/>
              <a:gd name="connsiteX1388" fmla="*/ 8744134 w 10505529"/>
              <a:gd name="connsiteY1388" fmla="*/ 7201723 h 7458372"/>
              <a:gd name="connsiteX1389" fmla="*/ 8740141 w 10505529"/>
              <a:gd name="connsiteY1389" fmla="*/ 7199060 h 7458372"/>
              <a:gd name="connsiteX1390" fmla="*/ 8735083 w 10505529"/>
              <a:gd name="connsiteY1390" fmla="*/ 7198129 h 7458372"/>
              <a:gd name="connsiteX1391" fmla="*/ 8517438 w 10505529"/>
              <a:gd name="connsiteY1391" fmla="*/ 7198129 h 7458372"/>
              <a:gd name="connsiteX1392" fmla="*/ 8507453 w 10505529"/>
              <a:gd name="connsiteY1392" fmla="*/ 7201723 h 7458372"/>
              <a:gd name="connsiteX1393" fmla="*/ 8503860 w 10505529"/>
              <a:gd name="connsiteY1393" fmla="*/ 7211174 h 7458372"/>
              <a:gd name="connsiteX1394" fmla="*/ 8507453 w 10505529"/>
              <a:gd name="connsiteY1394" fmla="*/ 7220625 h 7458372"/>
              <a:gd name="connsiteX1395" fmla="*/ 8517438 w 10505529"/>
              <a:gd name="connsiteY1395" fmla="*/ 7224087 h 7458372"/>
              <a:gd name="connsiteX1396" fmla="*/ 8522763 w 10505529"/>
              <a:gd name="connsiteY1396" fmla="*/ 7223155 h 7458372"/>
              <a:gd name="connsiteX1397" fmla="*/ 8526490 w 10505529"/>
              <a:gd name="connsiteY1397" fmla="*/ 7220758 h 7458372"/>
              <a:gd name="connsiteX1398" fmla="*/ 8529152 w 10505529"/>
              <a:gd name="connsiteY1398" fmla="*/ 7216499 h 7458372"/>
              <a:gd name="connsiteX1399" fmla="*/ 8530084 w 10505529"/>
              <a:gd name="connsiteY1399" fmla="*/ 7211040 h 7458372"/>
              <a:gd name="connsiteX1400" fmla="*/ 8529152 w 10505529"/>
              <a:gd name="connsiteY1400" fmla="*/ 7205850 h 7458372"/>
              <a:gd name="connsiteX1401" fmla="*/ 8526490 w 10505529"/>
              <a:gd name="connsiteY1401" fmla="*/ 7201723 h 7458372"/>
              <a:gd name="connsiteX1402" fmla="*/ 8522496 w 10505529"/>
              <a:gd name="connsiteY1402" fmla="*/ 7199060 h 7458372"/>
              <a:gd name="connsiteX1403" fmla="*/ 8517438 w 10505529"/>
              <a:gd name="connsiteY1403" fmla="*/ 7198129 h 7458372"/>
              <a:gd name="connsiteX1404" fmla="*/ 8299793 w 10505529"/>
              <a:gd name="connsiteY1404" fmla="*/ 7198129 h 7458372"/>
              <a:gd name="connsiteX1405" fmla="*/ 8289809 w 10505529"/>
              <a:gd name="connsiteY1405" fmla="*/ 7201723 h 7458372"/>
              <a:gd name="connsiteX1406" fmla="*/ 8286215 w 10505529"/>
              <a:gd name="connsiteY1406" fmla="*/ 7211174 h 7458372"/>
              <a:gd name="connsiteX1407" fmla="*/ 8289809 w 10505529"/>
              <a:gd name="connsiteY1407" fmla="*/ 7220625 h 7458372"/>
              <a:gd name="connsiteX1408" fmla="*/ 8299793 w 10505529"/>
              <a:gd name="connsiteY1408" fmla="*/ 7224087 h 7458372"/>
              <a:gd name="connsiteX1409" fmla="*/ 8305118 w 10505529"/>
              <a:gd name="connsiteY1409" fmla="*/ 7223155 h 7458372"/>
              <a:gd name="connsiteX1410" fmla="*/ 8308844 w 10505529"/>
              <a:gd name="connsiteY1410" fmla="*/ 7220758 h 7458372"/>
              <a:gd name="connsiteX1411" fmla="*/ 8311507 w 10505529"/>
              <a:gd name="connsiteY1411" fmla="*/ 7216499 h 7458372"/>
              <a:gd name="connsiteX1412" fmla="*/ 8312439 w 10505529"/>
              <a:gd name="connsiteY1412" fmla="*/ 7211040 h 7458372"/>
              <a:gd name="connsiteX1413" fmla="*/ 8311507 w 10505529"/>
              <a:gd name="connsiteY1413" fmla="*/ 7205850 h 7458372"/>
              <a:gd name="connsiteX1414" fmla="*/ 8308844 w 10505529"/>
              <a:gd name="connsiteY1414" fmla="*/ 7201723 h 7458372"/>
              <a:gd name="connsiteX1415" fmla="*/ 8304851 w 10505529"/>
              <a:gd name="connsiteY1415" fmla="*/ 7199060 h 7458372"/>
              <a:gd name="connsiteX1416" fmla="*/ 8299793 w 10505529"/>
              <a:gd name="connsiteY1416" fmla="*/ 7198129 h 7458372"/>
              <a:gd name="connsiteX1417" fmla="*/ 8082281 w 10505529"/>
              <a:gd name="connsiteY1417" fmla="*/ 7198129 h 7458372"/>
              <a:gd name="connsiteX1418" fmla="*/ 8072297 w 10505529"/>
              <a:gd name="connsiteY1418" fmla="*/ 7201723 h 7458372"/>
              <a:gd name="connsiteX1419" fmla="*/ 8068703 w 10505529"/>
              <a:gd name="connsiteY1419" fmla="*/ 7211174 h 7458372"/>
              <a:gd name="connsiteX1420" fmla="*/ 8072297 w 10505529"/>
              <a:gd name="connsiteY1420" fmla="*/ 7220625 h 7458372"/>
              <a:gd name="connsiteX1421" fmla="*/ 8082281 w 10505529"/>
              <a:gd name="connsiteY1421" fmla="*/ 7224087 h 7458372"/>
              <a:gd name="connsiteX1422" fmla="*/ 8087605 w 10505529"/>
              <a:gd name="connsiteY1422" fmla="*/ 7223155 h 7458372"/>
              <a:gd name="connsiteX1423" fmla="*/ 8091332 w 10505529"/>
              <a:gd name="connsiteY1423" fmla="*/ 7220758 h 7458372"/>
              <a:gd name="connsiteX1424" fmla="*/ 8093994 w 10505529"/>
              <a:gd name="connsiteY1424" fmla="*/ 7216499 h 7458372"/>
              <a:gd name="connsiteX1425" fmla="*/ 8094926 w 10505529"/>
              <a:gd name="connsiteY1425" fmla="*/ 7211040 h 7458372"/>
              <a:gd name="connsiteX1426" fmla="*/ 8093994 w 10505529"/>
              <a:gd name="connsiteY1426" fmla="*/ 7205850 h 7458372"/>
              <a:gd name="connsiteX1427" fmla="*/ 8091332 w 10505529"/>
              <a:gd name="connsiteY1427" fmla="*/ 7201723 h 7458372"/>
              <a:gd name="connsiteX1428" fmla="*/ 8087338 w 10505529"/>
              <a:gd name="connsiteY1428" fmla="*/ 7199060 h 7458372"/>
              <a:gd name="connsiteX1429" fmla="*/ 8082281 w 10505529"/>
              <a:gd name="connsiteY1429" fmla="*/ 7198129 h 7458372"/>
              <a:gd name="connsiteX1430" fmla="*/ 7864636 w 10505529"/>
              <a:gd name="connsiteY1430" fmla="*/ 7198129 h 7458372"/>
              <a:gd name="connsiteX1431" fmla="*/ 7854652 w 10505529"/>
              <a:gd name="connsiteY1431" fmla="*/ 7201723 h 7458372"/>
              <a:gd name="connsiteX1432" fmla="*/ 7851058 w 10505529"/>
              <a:gd name="connsiteY1432" fmla="*/ 7211174 h 7458372"/>
              <a:gd name="connsiteX1433" fmla="*/ 7854652 w 10505529"/>
              <a:gd name="connsiteY1433" fmla="*/ 7220625 h 7458372"/>
              <a:gd name="connsiteX1434" fmla="*/ 7864636 w 10505529"/>
              <a:gd name="connsiteY1434" fmla="*/ 7224087 h 7458372"/>
              <a:gd name="connsiteX1435" fmla="*/ 7869961 w 10505529"/>
              <a:gd name="connsiteY1435" fmla="*/ 7223155 h 7458372"/>
              <a:gd name="connsiteX1436" fmla="*/ 7873687 w 10505529"/>
              <a:gd name="connsiteY1436" fmla="*/ 7220758 h 7458372"/>
              <a:gd name="connsiteX1437" fmla="*/ 7876350 w 10505529"/>
              <a:gd name="connsiteY1437" fmla="*/ 7216499 h 7458372"/>
              <a:gd name="connsiteX1438" fmla="*/ 7877282 w 10505529"/>
              <a:gd name="connsiteY1438" fmla="*/ 7211040 h 7458372"/>
              <a:gd name="connsiteX1439" fmla="*/ 7876350 w 10505529"/>
              <a:gd name="connsiteY1439" fmla="*/ 7205850 h 7458372"/>
              <a:gd name="connsiteX1440" fmla="*/ 7873687 w 10505529"/>
              <a:gd name="connsiteY1440" fmla="*/ 7201723 h 7458372"/>
              <a:gd name="connsiteX1441" fmla="*/ 7869694 w 10505529"/>
              <a:gd name="connsiteY1441" fmla="*/ 7199060 h 7458372"/>
              <a:gd name="connsiteX1442" fmla="*/ 7864636 w 10505529"/>
              <a:gd name="connsiteY1442" fmla="*/ 7198129 h 7458372"/>
              <a:gd name="connsiteX1443" fmla="*/ 7646991 w 10505529"/>
              <a:gd name="connsiteY1443" fmla="*/ 7198129 h 7458372"/>
              <a:gd name="connsiteX1444" fmla="*/ 7637007 w 10505529"/>
              <a:gd name="connsiteY1444" fmla="*/ 7201723 h 7458372"/>
              <a:gd name="connsiteX1445" fmla="*/ 7633413 w 10505529"/>
              <a:gd name="connsiteY1445" fmla="*/ 7211174 h 7458372"/>
              <a:gd name="connsiteX1446" fmla="*/ 7637007 w 10505529"/>
              <a:gd name="connsiteY1446" fmla="*/ 7220625 h 7458372"/>
              <a:gd name="connsiteX1447" fmla="*/ 7646991 w 10505529"/>
              <a:gd name="connsiteY1447" fmla="*/ 7224087 h 7458372"/>
              <a:gd name="connsiteX1448" fmla="*/ 7652315 w 10505529"/>
              <a:gd name="connsiteY1448" fmla="*/ 7223155 h 7458372"/>
              <a:gd name="connsiteX1449" fmla="*/ 7656042 w 10505529"/>
              <a:gd name="connsiteY1449" fmla="*/ 7220758 h 7458372"/>
              <a:gd name="connsiteX1450" fmla="*/ 7658705 w 10505529"/>
              <a:gd name="connsiteY1450" fmla="*/ 7216499 h 7458372"/>
              <a:gd name="connsiteX1451" fmla="*/ 7659769 w 10505529"/>
              <a:gd name="connsiteY1451" fmla="*/ 7211040 h 7458372"/>
              <a:gd name="connsiteX1452" fmla="*/ 7658705 w 10505529"/>
              <a:gd name="connsiteY1452" fmla="*/ 7205850 h 7458372"/>
              <a:gd name="connsiteX1453" fmla="*/ 7656042 w 10505529"/>
              <a:gd name="connsiteY1453" fmla="*/ 7201723 h 7458372"/>
              <a:gd name="connsiteX1454" fmla="*/ 7652049 w 10505529"/>
              <a:gd name="connsiteY1454" fmla="*/ 7199060 h 7458372"/>
              <a:gd name="connsiteX1455" fmla="*/ 7646991 w 10505529"/>
              <a:gd name="connsiteY1455" fmla="*/ 7198129 h 7458372"/>
              <a:gd name="connsiteX1456" fmla="*/ 7429345 w 10505529"/>
              <a:gd name="connsiteY1456" fmla="*/ 7198129 h 7458372"/>
              <a:gd name="connsiteX1457" fmla="*/ 7419361 w 10505529"/>
              <a:gd name="connsiteY1457" fmla="*/ 7201723 h 7458372"/>
              <a:gd name="connsiteX1458" fmla="*/ 7415768 w 10505529"/>
              <a:gd name="connsiteY1458" fmla="*/ 7211174 h 7458372"/>
              <a:gd name="connsiteX1459" fmla="*/ 7419361 w 10505529"/>
              <a:gd name="connsiteY1459" fmla="*/ 7220625 h 7458372"/>
              <a:gd name="connsiteX1460" fmla="*/ 7429345 w 10505529"/>
              <a:gd name="connsiteY1460" fmla="*/ 7224087 h 7458372"/>
              <a:gd name="connsiteX1461" fmla="*/ 7434670 w 10505529"/>
              <a:gd name="connsiteY1461" fmla="*/ 7223155 h 7458372"/>
              <a:gd name="connsiteX1462" fmla="*/ 7438397 w 10505529"/>
              <a:gd name="connsiteY1462" fmla="*/ 7220758 h 7458372"/>
              <a:gd name="connsiteX1463" fmla="*/ 7441059 w 10505529"/>
              <a:gd name="connsiteY1463" fmla="*/ 7216499 h 7458372"/>
              <a:gd name="connsiteX1464" fmla="*/ 7442124 w 10505529"/>
              <a:gd name="connsiteY1464" fmla="*/ 7211040 h 7458372"/>
              <a:gd name="connsiteX1465" fmla="*/ 7441059 w 10505529"/>
              <a:gd name="connsiteY1465" fmla="*/ 7205850 h 7458372"/>
              <a:gd name="connsiteX1466" fmla="*/ 7438397 w 10505529"/>
              <a:gd name="connsiteY1466" fmla="*/ 7201723 h 7458372"/>
              <a:gd name="connsiteX1467" fmla="*/ 7434403 w 10505529"/>
              <a:gd name="connsiteY1467" fmla="*/ 7199060 h 7458372"/>
              <a:gd name="connsiteX1468" fmla="*/ 7429345 w 10505529"/>
              <a:gd name="connsiteY1468" fmla="*/ 7198129 h 7458372"/>
              <a:gd name="connsiteX1469" fmla="*/ 7211701 w 10505529"/>
              <a:gd name="connsiteY1469" fmla="*/ 7198129 h 7458372"/>
              <a:gd name="connsiteX1470" fmla="*/ 7201717 w 10505529"/>
              <a:gd name="connsiteY1470" fmla="*/ 7201723 h 7458372"/>
              <a:gd name="connsiteX1471" fmla="*/ 7198123 w 10505529"/>
              <a:gd name="connsiteY1471" fmla="*/ 7211174 h 7458372"/>
              <a:gd name="connsiteX1472" fmla="*/ 7201717 w 10505529"/>
              <a:gd name="connsiteY1472" fmla="*/ 7220625 h 7458372"/>
              <a:gd name="connsiteX1473" fmla="*/ 7211701 w 10505529"/>
              <a:gd name="connsiteY1473" fmla="*/ 7224087 h 7458372"/>
              <a:gd name="connsiteX1474" fmla="*/ 7217026 w 10505529"/>
              <a:gd name="connsiteY1474" fmla="*/ 7223155 h 7458372"/>
              <a:gd name="connsiteX1475" fmla="*/ 7220752 w 10505529"/>
              <a:gd name="connsiteY1475" fmla="*/ 7220758 h 7458372"/>
              <a:gd name="connsiteX1476" fmla="*/ 7223415 w 10505529"/>
              <a:gd name="connsiteY1476" fmla="*/ 7216499 h 7458372"/>
              <a:gd name="connsiteX1477" fmla="*/ 7224480 w 10505529"/>
              <a:gd name="connsiteY1477" fmla="*/ 7211040 h 7458372"/>
              <a:gd name="connsiteX1478" fmla="*/ 7223415 w 10505529"/>
              <a:gd name="connsiteY1478" fmla="*/ 7205850 h 7458372"/>
              <a:gd name="connsiteX1479" fmla="*/ 7220752 w 10505529"/>
              <a:gd name="connsiteY1479" fmla="*/ 7201723 h 7458372"/>
              <a:gd name="connsiteX1480" fmla="*/ 7216759 w 10505529"/>
              <a:gd name="connsiteY1480" fmla="*/ 7199060 h 7458372"/>
              <a:gd name="connsiteX1481" fmla="*/ 7211701 w 10505529"/>
              <a:gd name="connsiteY1481" fmla="*/ 7198129 h 7458372"/>
              <a:gd name="connsiteX1482" fmla="*/ 6994056 w 10505529"/>
              <a:gd name="connsiteY1482" fmla="*/ 7198129 h 7458372"/>
              <a:gd name="connsiteX1483" fmla="*/ 6984072 w 10505529"/>
              <a:gd name="connsiteY1483" fmla="*/ 7201723 h 7458372"/>
              <a:gd name="connsiteX1484" fmla="*/ 6980478 w 10505529"/>
              <a:gd name="connsiteY1484" fmla="*/ 7211174 h 7458372"/>
              <a:gd name="connsiteX1485" fmla="*/ 6984072 w 10505529"/>
              <a:gd name="connsiteY1485" fmla="*/ 7220625 h 7458372"/>
              <a:gd name="connsiteX1486" fmla="*/ 6994056 w 10505529"/>
              <a:gd name="connsiteY1486" fmla="*/ 7224087 h 7458372"/>
              <a:gd name="connsiteX1487" fmla="*/ 6999380 w 10505529"/>
              <a:gd name="connsiteY1487" fmla="*/ 7223155 h 7458372"/>
              <a:gd name="connsiteX1488" fmla="*/ 7003107 w 10505529"/>
              <a:gd name="connsiteY1488" fmla="*/ 7220758 h 7458372"/>
              <a:gd name="connsiteX1489" fmla="*/ 7005769 w 10505529"/>
              <a:gd name="connsiteY1489" fmla="*/ 7216499 h 7458372"/>
              <a:gd name="connsiteX1490" fmla="*/ 7006834 w 10505529"/>
              <a:gd name="connsiteY1490" fmla="*/ 7211040 h 7458372"/>
              <a:gd name="connsiteX1491" fmla="*/ 7005769 w 10505529"/>
              <a:gd name="connsiteY1491" fmla="*/ 7205850 h 7458372"/>
              <a:gd name="connsiteX1492" fmla="*/ 7003107 w 10505529"/>
              <a:gd name="connsiteY1492" fmla="*/ 7201723 h 7458372"/>
              <a:gd name="connsiteX1493" fmla="*/ 6999113 w 10505529"/>
              <a:gd name="connsiteY1493" fmla="*/ 7199060 h 7458372"/>
              <a:gd name="connsiteX1494" fmla="*/ 6994056 w 10505529"/>
              <a:gd name="connsiteY1494" fmla="*/ 7198129 h 7458372"/>
              <a:gd name="connsiteX1495" fmla="*/ 6776544 w 10505529"/>
              <a:gd name="connsiteY1495" fmla="*/ 7198129 h 7458372"/>
              <a:gd name="connsiteX1496" fmla="*/ 6766560 w 10505529"/>
              <a:gd name="connsiteY1496" fmla="*/ 7201723 h 7458372"/>
              <a:gd name="connsiteX1497" fmla="*/ 6762966 w 10505529"/>
              <a:gd name="connsiteY1497" fmla="*/ 7211174 h 7458372"/>
              <a:gd name="connsiteX1498" fmla="*/ 6766560 w 10505529"/>
              <a:gd name="connsiteY1498" fmla="*/ 7220625 h 7458372"/>
              <a:gd name="connsiteX1499" fmla="*/ 6776544 w 10505529"/>
              <a:gd name="connsiteY1499" fmla="*/ 7224087 h 7458372"/>
              <a:gd name="connsiteX1500" fmla="*/ 6781869 w 10505529"/>
              <a:gd name="connsiteY1500" fmla="*/ 7223155 h 7458372"/>
              <a:gd name="connsiteX1501" fmla="*/ 6785595 w 10505529"/>
              <a:gd name="connsiteY1501" fmla="*/ 7220758 h 7458372"/>
              <a:gd name="connsiteX1502" fmla="*/ 6788258 w 10505529"/>
              <a:gd name="connsiteY1502" fmla="*/ 7216499 h 7458372"/>
              <a:gd name="connsiteX1503" fmla="*/ 6789323 w 10505529"/>
              <a:gd name="connsiteY1503" fmla="*/ 7211040 h 7458372"/>
              <a:gd name="connsiteX1504" fmla="*/ 6788258 w 10505529"/>
              <a:gd name="connsiteY1504" fmla="*/ 7205850 h 7458372"/>
              <a:gd name="connsiteX1505" fmla="*/ 6785595 w 10505529"/>
              <a:gd name="connsiteY1505" fmla="*/ 7201723 h 7458372"/>
              <a:gd name="connsiteX1506" fmla="*/ 6781602 w 10505529"/>
              <a:gd name="connsiteY1506" fmla="*/ 7199060 h 7458372"/>
              <a:gd name="connsiteX1507" fmla="*/ 6776544 w 10505529"/>
              <a:gd name="connsiteY1507" fmla="*/ 7198129 h 7458372"/>
              <a:gd name="connsiteX1508" fmla="*/ 6558899 w 10505529"/>
              <a:gd name="connsiteY1508" fmla="*/ 7198129 h 7458372"/>
              <a:gd name="connsiteX1509" fmla="*/ 6548915 w 10505529"/>
              <a:gd name="connsiteY1509" fmla="*/ 7201723 h 7458372"/>
              <a:gd name="connsiteX1510" fmla="*/ 6545321 w 10505529"/>
              <a:gd name="connsiteY1510" fmla="*/ 7211174 h 7458372"/>
              <a:gd name="connsiteX1511" fmla="*/ 6548915 w 10505529"/>
              <a:gd name="connsiteY1511" fmla="*/ 7220625 h 7458372"/>
              <a:gd name="connsiteX1512" fmla="*/ 6558899 w 10505529"/>
              <a:gd name="connsiteY1512" fmla="*/ 7224087 h 7458372"/>
              <a:gd name="connsiteX1513" fmla="*/ 6564223 w 10505529"/>
              <a:gd name="connsiteY1513" fmla="*/ 7223155 h 7458372"/>
              <a:gd name="connsiteX1514" fmla="*/ 6567950 w 10505529"/>
              <a:gd name="connsiteY1514" fmla="*/ 7220758 h 7458372"/>
              <a:gd name="connsiteX1515" fmla="*/ 6570612 w 10505529"/>
              <a:gd name="connsiteY1515" fmla="*/ 7216499 h 7458372"/>
              <a:gd name="connsiteX1516" fmla="*/ 6571677 w 10505529"/>
              <a:gd name="connsiteY1516" fmla="*/ 7211040 h 7458372"/>
              <a:gd name="connsiteX1517" fmla="*/ 6570612 w 10505529"/>
              <a:gd name="connsiteY1517" fmla="*/ 7205850 h 7458372"/>
              <a:gd name="connsiteX1518" fmla="*/ 6567950 w 10505529"/>
              <a:gd name="connsiteY1518" fmla="*/ 7201723 h 7458372"/>
              <a:gd name="connsiteX1519" fmla="*/ 6563956 w 10505529"/>
              <a:gd name="connsiteY1519" fmla="*/ 7199060 h 7458372"/>
              <a:gd name="connsiteX1520" fmla="*/ 6558899 w 10505529"/>
              <a:gd name="connsiteY1520" fmla="*/ 7198129 h 7458372"/>
              <a:gd name="connsiteX1521" fmla="*/ 6341253 w 10505529"/>
              <a:gd name="connsiteY1521" fmla="*/ 7198129 h 7458372"/>
              <a:gd name="connsiteX1522" fmla="*/ 6331270 w 10505529"/>
              <a:gd name="connsiteY1522" fmla="*/ 7201723 h 7458372"/>
              <a:gd name="connsiteX1523" fmla="*/ 6327675 w 10505529"/>
              <a:gd name="connsiteY1523" fmla="*/ 7211174 h 7458372"/>
              <a:gd name="connsiteX1524" fmla="*/ 6331270 w 10505529"/>
              <a:gd name="connsiteY1524" fmla="*/ 7220625 h 7458372"/>
              <a:gd name="connsiteX1525" fmla="*/ 6341253 w 10505529"/>
              <a:gd name="connsiteY1525" fmla="*/ 7224087 h 7458372"/>
              <a:gd name="connsiteX1526" fmla="*/ 6346578 w 10505529"/>
              <a:gd name="connsiteY1526" fmla="*/ 7223155 h 7458372"/>
              <a:gd name="connsiteX1527" fmla="*/ 6350305 w 10505529"/>
              <a:gd name="connsiteY1527" fmla="*/ 7220758 h 7458372"/>
              <a:gd name="connsiteX1528" fmla="*/ 6352968 w 10505529"/>
              <a:gd name="connsiteY1528" fmla="*/ 7216499 h 7458372"/>
              <a:gd name="connsiteX1529" fmla="*/ 6354033 w 10505529"/>
              <a:gd name="connsiteY1529" fmla="*/ 7211040 h 7458372"/>
              <a:gd name="connsiteX1530" fmla="*/ 6352968 w 10505529"/>
              <a:gd name="connsiteY1530" fmla="*/ 7205850 h 7458372"/>
              <a:gd name="connsiteX1531" fmla="*/ 6350305 w 10505529"/>
              <a:gd name="connsiteY1531" fmla="*/ 7201723 h 7458372"/>
              <a:gd name="connsiteX1532" fmla="*/ 6346312 w 10505529"/>
              <a:gd name="connsiteY1532" fmla="*/ 7199060 h 7458372"/>
              <a:gd name="connsiteX1533" fmla="*/ 6341253 w 10505529"/>
              <a:gd name="connsiteY1533" fmla="*/ 7198129 h 7458372"/>
              <a:gd name="connsiteX1534" fmla="*/ 6123608 w 10505529"/>
              <a:gd name="connsiteY1534" fmla="*/ 7198129 h 7458372"/>
              <a:gd name="connsiteX1535" fmla="*/ 6113624 w 10505529"/>
              <a:gd name="connsiteY1535" fmla="*/ 7201723 h 7458372"/>
              <a:gd name="connsiteX1536" fmla="*/ 6110030 w 10505529"/>
              <a:gd name="connsiteY1536" fmla="*/ 7211174 h 7458372"/>
              <a:gd name="connsiteX1537" fmla="*/ 6113624 w 10505529"/>
              <a:gd name="connsiteY1537" fmla="*/ 7220625 h 7458372"/>
              <a:gd name="connsiteX1538" fmla="*/ 6123608 w 10505529"/>
              <a:gd name="connsiteY1538" fmla="*/ 7224087 h 7458372"/>
              <a:gd name="connsiteX1539" fmla="*/ 6128932 w 10505529"/>
              <a:gd name="connsiteY1539" fmla="*/ 7223155 h 7458372"/>
              <a:gd name="connsiteX1540" fmla="*/ 6132659 w 10505529"/>
              <a:gd name="connsiteY1540" fmla="*/ 7220758 h 7458372"/>
              <a:gd name="connsiteX1541" fmla="*/ 6135322 w 10505529"/>
              <a:gd name="connsiteY1541" fmla="*/ 7216499 h 7458372"/>
              <a:gd name="connsiteX1542" fmla="*/ 6136387 w 10505529"/>
              <a:gd name="connsiteY1542" fmla="*/ 7211040 h 7458372"/>
              <a:gd name="connsiteX1543" fmla="*/ 6135322 w 10505529"/>
              <a:gd name="connsiteY1543" fmla="*/ 7205850 h 7458372"/>
              <a:gd name="connsiteX1544" fmla="*/ 6132659 w 10505529"/>
              <a:gd name="connsiteY1544" fmla="*/ 7201723 h 7458372"/>
              <a:gd name="connsiteX1545" fmla="*/ 6128666 w 10505529"/>
              <a:gd name="connsiteY1545" fmla="*/ 7199060 h 7458372"/>
              <a:gd name="connsiteX1546" fmla="*/ 6123608 w 10505529"/>
              <a:gd name="connsiteY1546" fmla="*/ 7198129 h 7458372"/>
              <a:gd name="connsiteX1547" fmla="*/ 5905963 w 10505529"/>
              <a:gd name="connsiteY1547" fmla="*/ 7198129 h 7458372"/>
              <a:gd name="connsiteX1548" fmla="*/ 5895979 w 10505529"/>
              <a:gd name="connsiteY1548" fmla="*/ 7201723 h 7458372"/>
              <a:gd name="connsiteX1549" fmla="*/ 5892385 w 10505529"/>
              <a:gd name="connsiteY1549" fmla="*/ 7211174 h 7458372"/>
              <a:gd name="connsiteX1550" fmla="*/ 5895979 w 10505529"/>
              <a:gd name="connsiteY1550" fmla="*/ 7220625 h 7458372"/>
              <a:gd name="connsiteX1551" fmla="*/ 5905963 w 10505529"/>
              <a:gd name="connsiteY1551" fmla="*/ 7224087 h 7458372"/>
              <a:gd name="connsiteX1552" fmla="*/ 5911287 w 10505529"/>
              <a:gd name="connsiteY1552" fmla="*/ 7223155 h 7458372"/>
              <a:gd name="connsiteX1553" fmla="*/ 5915014 w 10505529"/>
              <a:gd name="connsiteY1553" fmla="*/ 7220758 h 7458372"/>
              <a:gd name="connsiteX1554" fmla="*/ 5917677 w 10505529"/>
              <a:gd name="connsiteY1554" fmla="*/ 7216499 h 7458372"/>
              <a:gd name="connsiteX1555" fmla="*/ 5918742 w 10505529"/>
              <a:gd name="connsiteY1555" fmla="*/ 7211040 h 7458372"/>
              <a:gd name="connsiteX1556" fmla="*/ 5917677 w 10505529"/>
              <a:gd name="connsiteY1556" fmla="*/ 7205850 h 7458372"/>
              <a:gd name="connsiteX1557" fmla="*/ 5915014 w 10505529"/>
              <a:gd name="connsiteY1557" fmla="*/ 7201723 h 7458372"/>
              <a:gd name="connsiteX1558" fmla="*/ 5911021 w 10505529"/>
              <a:gd name="connsiteY1558" fmla="*/ 7199060 h 7458372"/>
              <a:gd name="connsiteX1559" fmla="*/ 5905963 w 10505529"/>
              <a:gd name="connsiteY1559" fmla="*/ 7198129 h 7458372"/>
              <a:gd name="connsiteX1560" fmla="*/ 5688451 w 10505529"/>
              <a:gd name="connsiteY1560" fmla="*/ 7198129 h 7458372"/>
              <a:gd name="connsiteX1561" fmla="*/ 5678467 w 10505529"/>
              <a:gd name="connsiteY1561" fmla="*/ 7201723 h 7458372"/>
              <a:gd name="connsiteX1562" fmla="*/ 5674873 w 10505529"/>
              <a:gd name="connsiteY1562" fmla="*/ 7211174 h 7458372"/>
              <a:gd name="connsiteX1563" fmla="*/ 5678467 w 10505529"/>
              <a:gd name="connsiteY1563" fmla="*/ 7220625 h 7458372"/>
              <a:gd name="connsiteX1564" fmla="*/ 5688451 w 10505529"/>
              <a:gd name="connsiteY1564" fmla="*/ 7224087 h 7458372"/>
              <a:gd name="connsiteX1565" fmla="*/ 5693775 w 10505529"/>
              <a:gd name="connsiteY1565" fmla="*/ 7223155 h 7458372"/>
              <a:gd name="connsiteX1566" fmla="*/ 5697502 w 10505529"/>
              <a:gd name="connsiteY1566" fmla="*/ 7220758 h 7458372"/>
              <a:gd name="connsiteX1567" fmla="*/ 5700165 w 10505529"/>
              <a:gd name="connsiteY1567" fmla="*/ 7216499 h 7458372"/>
              <a:gd name="connsiteX1568" fmla="*/ 5701230 w 10505529"/>
              <a:gd name="connsiteY1568" fmla="*/ 7211040 h 7458372"/>
              <a:gd name="connsiteX1569" fmla="*/ 5700165 w 10505529"/>
              <a:gd name="connsiteY1569" fmla="*/ 7205850 h 7458372"/>
              <a:gd name="connsiteX1570" fmla="*/ 5697502 w 10505529"/>
              <a:gd name="connsiteY1570" fmla="*/ 7201723 h 7458372"/>
              <a:gd name="connsiteX1571" fmla="*/ 5693509 w 10505529"/>
              <a:gd name="connsiteY1571" fmla="*/ 7199060 h 7458372"/>
              <a:gd name="connsiteX1572" fmla="*/ 5688451 w 10505529"/>
              <a:gd name="connsiteY1572" fmla="*/ 7198129 h 7458372"/>
              <a:gd name="connsiteX1573" fmla="*/ 5470806 w 10505529"/>
              <a:gd name="connsiteY1573" fmla="*/ 7198129 h 7458372"/>
              <a:gd name="connsiteX1574" fmla="*/ 5460822 w 10505529"/>
              <a:gd name="connsiteY1574" fmla="*/ 7201723 h 7458372"/>
              <a:gd name="connsiteX1575" fmla="*/ 5457228 w 10505529"/>
              <a:gd name="connsiteY1575" fmla="*/ 7211174 h 7458372"/>
              <a:gd name="connsiteX1576" fmla="*/ 5460822 w 10505529"/>
              <a:gd name="connsiteY1576" fmla="*/ 7220625 h 7458372"/>
              <a:gd name="connsiteX1577" fmla="*/ 5470806 w 10505529"/>
              <a:gd name="connsiteY1577" fmla="*/ 7224087 h 7458372"/>
              <a:gd name="connsiteX1578" fmla="*/ 5476130 w 10505529"/>
              <a:gd name="connsiteY1578" fmla="*/ 7223155 h 7458372"/>
              <a:gd name="connsiteX1579" fmla="*/ 5479857 w 10505529"/>
              <a:gd name="connsiteY1579" fmla="*/ 7220758 h 7458372"/>
              <a:gd name="connsiteX1580" fmla="*/ 5482520 w 10505529"/>
              <a:gd name="connsiteY1580" fmla="*/ 7216499 h 7458372"/>
              <a:gd name="connsiteX1581" fmla="*/ 5483585 w 10505529"/>
              <a:gd name="connsiteY1581" fmla="*/ 7211040 h 7458372"/>
              <a:gd name="connsiteX1582" fmla="*/ 5482520 w 10505529"/>
              <a:gd name="connsiteY1582" fmla="*/ 7205850 h 7458372"/>
              <a:gd name="connsiteX1583" fmla="*/ 5479857 w 10505529"/>
              <a:gd name="connsiteY1583" fmla="*/ 7201723 h 7458372"/>
              <a:gd name="connsiteX1584" fmla="*/ 5475864 w 10505529"/>
              <a:gd name="connsiteY1584" fmla="*/ 7199060 h 7458372"/>
              <a:gd name="connsiteX1585" fmla="*/ 5470806 w 10505529"/>
              <a:gd name="connsiteY1585" fmla="*/ 7198129 h 7458372"/>
              <a:gd name="connsiteX1586" fmla="*/ 5253160 w 10505529"/>
              <a:gd name="connsiteY1586" fmla="*/ 7198129 h 7458372"/>
              <a:gd name="connsiteX1587" fmla="*/ 5243177 w 10505529"/>
              <a:gd name="connsiteY1587" fmla="*/ 7201723 h 7458372"/>
              <a:gd name="connsiteX1588" fmla="*/ 5239583 w 10505529"/>
              <a:gd name="connsiteY1588" fmla="*/ 7211174 h 7458372"/>
              <a:gd name="connsiteX1589" fmla="*/ 5243177 w 10505529"/>
              <a:gd name="connsiteY1589" fmla="*/ 7220625 h 7458372"/>
              <a:gd name="connsiteX1590" fmla="*/ 5253160 w 10505529"/>
              <a:gd name="connsiteY1590" fmla="*/ 7224087 h 7458372"/>
              <a:gd name="connsiteX1591" fmla="*/ 5258485 w 10505529"/>
              <a:gd name="connsiteY1591" fmla="*/ 7223155 h 7458372"/>
              <a:gd name="connsiteX1592" fmla="*/ 5262212 w 10505529"/>
              <a:gd name="connsiteY1592" fmla="*/ 7220758 h 7458372"/>
              <a:gd name="connsiteX1593" fmla="*/ 5264875 w 10505529"/>
              <a:gd name="connsiteY1593" fmla="*/ 7216499 h 7458372"/>
              <a:gd name="connsiteX1594" fmla="*/ 5265939 w 10505529"/>
              <a:gd name="connsiteY1594" fmla="*/ 7211040 h 7458372"/>
              <a:gd name="connsiteX1595" fmla="*/ 5264875 w 10505529"/>
              <a:gd name="connsiteY1595" fmla="*/ 7205850 h 7458372"/>
              <a:gd name="connsiteX1596" fmla="*/ 5262212 w 10505529"/>
              <a:gd name="connsiteY1596" fmla="*/ 7201723 h 7458372"/>
              <a:gd name="connsiteX1597" fmla="*/ 5258219 w 10505529"/>
              <a:gd name="connsiteY1597" fmla="*/ 7199060 h 7458372"/>
              <a:gd name="connsiteX1598" fmla="*/ 5253160 w 10505529"/>
              <a:gd name="connsiteY1598" fmla="*/ 7198129 h 7458372"/>
              <a:gd name="connsiteX1599" fmla="*/ 5035515 w 10505529"/>
              <a:gd name="connsiteY1599" fmla="*/ 7198129 h 7458372"/>
              <a:gd name="connsiteX1600" fmla="*/ 5025532 w 10505529"/>
              <a:gd name="connsiteY1600" fmla="*/ 7201723 h 7458372"/>
              <a:gd name="connsiteX1601" fmla="*/ 5021938 w 10505529"/>
              <a:gd name="connsiteY1601" fmla="*/ 7211174 h 7458372"/>
              <a:gd name="connsiteX1602" fmla="*/ 5025532 w 10505529"/>
              <a:gd name="connsiteY1602" fmla="*/ 7220625 h 7458372"/>
              <a:gd name="connsiteX1603" fmla="*/ 5035515 w 10505529"/>
              <a:gd name="connsiteY1603" fmla="*/ 7224087 h 7458372"/>
              <a:gd name="connsiteX1604" fmla="*/ 5040840 w 10505529"/>
              <a:gd name="connsiteY1604" fmla="*/ 7223155 h 7458372"/>
              <a:gd name="connsiteX1605" fmla="*/ 5044567 w 10505529"/>
              <a:gd name="connsiteY1605" fmla="*/ 7220758 h 7458372"/>
              <a:gd name="connsiteX1606" fmla="*/ 5047230 w 10505529"/>
              <a:gd name="connsiteY1606" fmla="*/ 7216499 h 7458372"/>
              <a:gd name="connsiteX1607" fmla="*/ 5048294 w 10505529"/>
              <a:gd name="connsiteY1607" fmla="*/ 7211040 h 7458372"/>
              <a:gd name="connsiteX1608" fmla="*/ 5047230 w 10505529"/>
              <a:gd name="connsiteY1608" fmla="*/ 7205850 h 7458372"/>
              <a:gd name="connsiteX1609" fmla="*/ 5044567 w 10505529"/>
              <a:gd name="connsiteY1609" fmla="*/ 7201723 h 7458372"/>
              <a:gd name="connsiteX1610" fmla="*/ 5040574 w 10505529"/>
              <a:gd name="connsiteY1610" fmla="*/ 7199060 h 7458372"/>
              <a:gd name="connsiteX1611" fmla="*/ 5035515 w 10505529"/>
              <a:gd name="connsiteY1611" fmla="*/ 7198129 h 7458372"/>
              <a:gd name="connsiteX1612" fmla="*/ 4817870 w 10505529"/>
              <a:gd name="connsiteY1612" fmla="*/ 7198129 h 7458372"/>
              <a:gd name="connsiteX1613" fmla="*/ 4807887 w 10505529"/>
              <a:gd name="connsiteY1613" fmla="*/ 7201723 h 7458372"/>
              <a:gd name="connsiteX1614" fmla="*/ 4804293 w 10505529"/>
              <a:gd name="connsiteY1614" fmla="*/ 7211174 h 7458372"/>
              <a:gd name="connsiteX1615" fmla="*/ 4807887 w 10505529"/>
              <a:gd name="connsiteY1615" fmla="*/ 7220625 h 7458372"/>
              <a:gd name="connsiteX1616" fmla="*/ 4817870 w 10505529"/>
              <a:gd name="connsiteY1616" fmla="*/ 7224087 h 7458372"/>
              <a:gd name="connsiteX1617" fmla="*/ 4823195 w 10505529"/>
              <a:gd name="connsiteY1617" fmla="*/ 7223155 h 7458372"/>
              <a:gd name="connsiteX1618" fmla="*/ 4826922 w 10505529"/>
              <a:gd name="connsiteY1618" fmla="*/ 7220758 h 7458372"/>
              <a:gd name="connsiteX1619" fmla="*/ 4829585 w 10505529"/>
              <a:gd name="connsiteY1619" fmla="*/ 7216499 h 7458372"/>
              <a:gd name="connsiteX1620" fmla="*/ 4830650 w 10505529"/>
              <a:gd name="connsiteY1620" fmla="*/ 7211040 h 7458372"/>
              <a:gd name="connsiteX1621" fmla="*/ 4829585 w 10505529"/>
              <a:gd name="connsiteY1621" fmla="*/ 7205850 h 7458372"/>
              <a:gd name="connsiteX1622" fmla="*/ 4826922 w 10505529"/>
              <a:gd name="connsiteY1622" fmla="*/ 7201723 h 7458372"/>
              <a:gd name="connsiteX1623" fmla="*/ 4822929 w 10505529"/>
              <a:gd name="connsiteY1623" fmla="*/ 7199060 h 7458372"/>
              <a:gd name="connsiteX1624" fmla="*/ 4817870 w 10505529"/>
              <a:gd name="connsiteY1624" fmla="*/ 7198129 h 7458372"/>
              <a:gd name="connsiteX1625" fmla="*/ 4600226 w 10505529"/>
              <a:gd name="connsiteY1625" fmla="*/ 7198129 h 7458372"/>
              <a:gd name="connsiteX1626" fmla="*/ 4590242 w 10505529"/>
              <a:gd name="connsiteY1626" fmla="*/ 7201723 h 7458372"/>
              <a:gd name="connsiteX1627" fmla="*/ 4586648 w 10505529"/>
              <a:gd name="connsiteY1627" fmla="*/ 7211174 h 7458372"/>
              <a:gd name="connsiteX1628" fmla="*/ 4590242 w 10505529"/>
              <a:gd name="connsiteY1628" fmla="*/ 7220625 h 7458372"/>
              <a:gd name="connsiteX1629" fmla="*/ 4600226 w 10505529"/>
              <a:gd name="connsiteY1629" fmla="*/ 7224087 h 7458372"/>
              <a:gd name="connsiteX1630" fmla="*/ 4605550 w 10505529"/>
              <a:gd name="connsiteY1630" fmla="*/ 7223155 h 7458372"/>
              <a:gd name="connsiteX1631" fmla="*/ 4609277 w 10505529"/>
              <a:gd name="connsiteY1631" fmla="*/ 7220758 h 7458372"/>
              <a:gd name="connsiteX1632" fmla="*/ 4611940 w 10505529"/>
              <a:gd name="connsiteY1632" fmla="*/ 7216499 h 7458372"/>
              <a:gd name="connsiteX1633" fmla="*/ 4613005 w 10505529"/>
              <a:gd name="connsiteY1633" fmla="*/ 7211040 h 7458372"/>
              <a:gd name="connsiteX1634" fmla="*/ 4611940 w 10505529"/>
              <a:gd name="connsiteY1634" fmla="*/ 7205850 h 7458372"/>
              <a:gd name="connsiteX1635" fmla="*/ 4609277 w 10505529"/>
              <a:gd name="connsiteY1635" fmla="*/ 7201723 h 7458372"/>
              <a:gd name="connsiteX1636" fmla="*/ 4605284 w 10505529"/>
              <a:gd name="connsiteY1636" fmla="*/ 7199060 h 7458372"/>
              <a:gd name="connsiteX1637" fmla="*/ 4600226 w 10505529"/>
              <a:gd name="connsiteY1637" fmla="*/ 7198129 h 7458372"/>
              <a:gd name="connsiteX1638" fmla="*/ 4382713 w 10505529"/>
              <a:gd name="connsiteY1638" fmla="*/ 7198129 h 7458372"/>
              <a:gd name="connsiteX1639" fmla="*/ 4372730 w 10505529"/>
              <a:gd name="connsiteY1639" fmla="*/ 7201723 h 7458372"/>
              <a:gd name="connsiteX1640" fmla="*/ 4369136 w 10505529"/>
              <a:gd name="connsiteY1640" fmla="*/ 7211174 h 7458372"/>
              <a:gd name="connsiteX1641" fmla="*/ 4372730 w 10505529"/>
              <a:gd name="connsiteY1641" fmla="*/ 7220625 h 7458372"/>
              <a:gd name="connsiteX1642" fmla="*/ 4382713 w 10505529"/>
              <a:gd name="connsiteY1642" fmla="*/ 7224087 h 7458372"/>
              <a:gd name="connsiteX1643" fmla="*/ 4388038 w 10505529"/>
              <a:gd name="connsiteY1643" fmla="*/ 7223155 h 7458372"/>
              <a:gd name="connsiteX1644" fmla="*/ 4391765 w 10505529"/>
              <a:gd name="connsiteY1644" fmla="*/ 7220758 h 7458372"/>
              <a:gd name="connsiteX1645" fmla="*/ 4394428 w 10505529"/>
              <a:gd name="connsiteY1645" fmla="*/ 7216499 h 7458372"/>
              <a:gd name="connsiteX1646" fmla="*/ 4395493 w 10505529"/>
              <a:gd name="connsiteY1646" fmla="*/ 7211040 h 7458372"/>
              <a:gd name="connsiteX1647" fmla="*/ 4394428 w 10505529"/>
              <a:gd name="connsiteY1647" fmla="*/ 7205850 h 7458372"/>
              <a:gd name="connsiteX1648" fmla="*/ 4391765 w 10505529"/>
              <a:gd name="connsiteY1648" fmla="*/ 7201723 h 7458372"/>
              <a:gd name="connsiteX1649" fmla="*/ 4387772 w 10505529"/>
              <a:gd name="connsiteY1649" fmla="*/ 7199060 h 7458372"/>
              <a:gd name="connsiteX1650" fmla="*/ 4382713 w 10505529"/>
              <a:gd name="connsiteY1650" fmla="*/ 7198129 h 7458372"/>
              <a:gd name="connsiteX1651" fmla="*/ 4165068 w 10505529"/>
              <a:gd name="connsiteY1651" fmla="*/ 7198129 h 7458372"/>
              <a:gd name="connsiteX1652" fmla="*/ 4155084 w 10505529"/>
              <a:gd name="connsiteY1652" fmla="*/ 7201723 h 7458372"/>
              <a:gd name="connsiteX1653" fmla="*/ 4151490 w 10505529"/>
              <a:gd name="connsiteY1653" fmla="*/ 7211174 h 7458372"/>
              <a:gd name="connsiteX1654" fmla="*/ 4155084 w 10505529"/>
              <a:gd name="connsiteY1654" fmla="*/ 7220625 h 7458372"/>
              <a:gd name="connsiteX1655" fmla="*/ 4165068 w 10505529"/>
              <a:gd name="connsiteY1655" fmla="*/ 7224087 h 7458372"/>
              <a:gd name="connsiteX1656" fmla="*/ 4170392 w 10505529"/>
              <a:gd name="connsiteY1656" fmla="*/ 7223155 h 7458372"/>
              <a:gd name="connsiteX1657" fmla="*/ 4174119 w 10505529"/>
              <a:gd name="connsiteY1657" fmla="*/ 7220758 h 7458372"/>
              <a:gd name="connsiteX1658" fmla="*/ 4176782 w 10505529"/>
              <a:gd name="connsiteY1658" fmla="*/ 7216499 h 7458372"/>
              <a:gd name="connsiteX1659" fmla="*/ 4177847 w 10505529"/>
              <a:gd name="connsiteY1659" fmla="*/ 7211040 h 7458372"/>
              <a:gd name="connsiteX1660" fmla="*/ 4176782 w 10505529"/>
              <a:gd name="connsiteY1660" fmla="*/ 7205850 h 7458372"/>
              <a:gd name="connsiteX1661" fmla="*/ 4174119 w 10505529"/>
              <a:gd name="connsiteY1661" fmla="*/ 7201723 h 7458372"/>
              <a:gd name="connsiteX1662" fmla="*/ 4170126 w 10505529"/>
              <a:gd name="connsiteY1662" fmla="*/ 7199060 h 7458372"/>
              <a:gd name="connsiteX1663" fmla="*/ 4165068 w 10505529"/>
              <a:gd name="connsiteY1663" fmla="*/ 7198129 h 7458372"/>
              <a:gd name="connsiteX1664" fmla="*/ 3947814 w 10505529"/>
              <a:gd name="connsiteY1664" fmla="*/ 7198129 h 7458372"/>
              <a:gd name="connsiteX1665" fmla="*/ 3937830 w 10505529"/>
              <a:gd name="connsiteY1665" fmla="*/ 7201723 h 7458372"/>
              <a:gd name="connsiteX1666" fmla="*/ 3934236 w 10505529"/>
              <a:gd name="connsiteY1666" fmla="*/ 7211174 h 7458372"/>
              <a:gd name="connsiteX1667" fmla="*/ 3937830 w 10505529"/>
              <a:gd name="connsiteY1667" fmla="*/ 7220625 h 7458372"/>
              <a:gd name="connsiteX1668" fmla="*/ 3947814 w 10505529"/>
              <a:gd name="connsiteY1668" fmla="*/ 7224087 h 7458372"/>
              <a:gd name="connsiteX1669" fmla="*/ 3953143 w 10505529"/>
              <a:gd name="connsiteY1669" fmla="*/ 7223155 h 7458372"/>
              <a:gd name="connsiteX1670" fmla="*/ 3956870 w 10505529"/>
              <a:gd name="connsiteY1670" fmla="*/ 7220758 h 7458372"/>
              <a:gd name="connsiteX1671" fmla="*/ 3959533 w 10505529"/>
              <a:gd name="connsiteY1671" fmla="*/ 7216499 h 7458372"/>
              <a:gd name="connsiteX1672" fmla="*/ 3960598 w 10505529"/>
              <a:gd name="connsiteY1672" fmla="*/ 7211040 h 7458372"/>
              <a:gd name="connsiteX1673" fmla="*/ 3959533 w 10505529"/>
              <a:gd name="connsiteY1673" fmla="*/ 7205850 h 7458372"/>
              <a:gd name="connsiteX1674" fmla="*/ 3956870 w 10505529"/>
              <a:gd name="connsiteY1674" fmla="*/ 7201723 h 7458372"/>
              <a:gd name="connsiteX1675" fmla="*/ 3952876 w 10505529"/>
              <a:gd name="connsiteY1675" fmla="*/ 7199060 h 7458372"/>
              <a:gd name="connsiteX1676" fmla="*/ 3947814 w 10505529"/>
              <a:gd name="connsiteY1676" fmla="*/ 7198129 h 7458372"/>
              <a:gd name="connsiteX1677" fmla="*/ 3730152 w 10505529"/>
              <a:gd name="connsiteY1677" fmla="*/ 7198129 h 7458372"/>
              <a:gd name="connsiteX1678" fmla="*/ 3720164 w 10505529"/>
              <a:gd name="connsiteY1678" fmla="*/ 7201723 h 7458372"/>
              <a:gd name="connsiteX1679" fmla="*/ 3716572 w 10505529"/>
              <a:gd name="connsiteY1679" fmla="*/ 7211174 h 7458372"/>
              <a:gd name="connsiteX1680" fmla="*/ 3720164 w 10505529"/>
              <a:gd name="connsiteY1680" fmla="*/ 7220625 h 7458372"/>
              <a:gd name="connsiteX1681" fmla="*/ 3730152 w 10505529"/>
              <a:gd name="connsiteY1681" fmla="*/ 7224087 h 7458372"/>
              <a:gd name="connsiteX1682" fmla="*/ 3735477 w 10505529"/>
              <a:gd name="connsiteY1682" fmla="*/ 7223155 h 7458372"/>
              <a:gd name="connsiteX1683" fmla="*/ 3739204 w 10505529"/>
              <a:gd name="connsiteY1683" fmla="*/ 7220758 h 7458372"/>
              <a:gd name="connsiteX1684" fmla="*/ 3741867 w 10505529"/>
              <a:gd name="connsiteY1684" fmla="*/ 7216499 h 7458372"/>
              <a:gd name="connsiteX1685" fmla="*/ 3742932 w 10505529"/>
              <a:gd name="connsiteY1685" fmla="*/ 7211040 h 7458372"/>
              <a:gd name="connsiteX1686" fmla="*/ 3741867 w 10505529"/>
              <a:gd name="connsiteY1686" fmla="*/ 7205850 h 7458372"/>
              <a:gd name="connsiteX1687" fmla="*/ 3739204 w 10505529"/>
              <a:gd name="connsiteY1687" fmla="*/ 7201723 h 7458372"/>
              <a:gd name="connsiteX1688" fmla="*/ 3735211 w 10505529"/>
              <a:gd name="connsiteY1688" fmla="*/ 7199060 h 7458372"/>
              <a:gd name="connsiteX1689" fmla="*/ 3730152 w 10505529"/>
              <a:gd name="connsiteY1689" fmla="*/ 7198129 h 7458372"/>
              <a:gd name="connsiteX1690" fmla="*/ 3512486 w 10505529"/>
              <a:gd name="connsiteY1690" fmla="*/ 7198129 h 7458372"/>
              <a:gd name="connsiteX1691" fmla="*/ 3502495 w 10505529"/>
              <a:gd name="connsiteY1691" fmla="*/ 7201723 h 7458372"/>
              <a:gd name="connsiteX1692" fmla="*/ 3498902 w 10505529"/>
              <a:gd name="connsiteY1692" fmla="*/ 7211174 h 7458372"/>
              <a:gd name="connsiteX1693" fmla="*/ 3502495 w 10505529"/>
              <a:gd name="connsiteY1693" fmla="*/ 7220625 h 7458372"/>
              <a:gd name="connsiteX1694" fmla="*/ 3512486 w 10505529"/>
              <a:gd name="connsiteY1694" fmla="*/ 7224087 h 7458372"/>
              <a:gd name="connsiteX1695" fmla="*/ 3517811 w 10505529"/>
              <a:gd name="connsiteY1695" fmla="*/ 7223155 h 7458372"/>
              <a:gd name="connsiteX1696" fmla="*/ 3521539 w 10505529"/>
              <a:gd name="connsiteY1696" fmla="*/ 7220758 h 7458372"/>
              <a:gd name="connsiteX1697" fmla="*/ 3524202 w 10505529"/>
              <a:gd name="connsiteY1697" fmla="*/ 7216499 h 7458372"/>
              <a:gd name="connsiteX1698" fmla="*/ 3525267 w 10505529"/>
              <a:gd name="connsiteY1698" fmla="*/ 7211040 h 7458372"/>
              <a:gd name="connsiteX1699" fmla="*/ 3524202 w 10505529"/>
              <a:gd name="connsiteY1699" fmla="*/ 7205850 h 7458372"/>
              <a:gd name="connsiteX1700" fmla="*/ 3521539 w 10505529"/>
              <a:gd name="connsiteY1700" fmla="*/ 7201723 h 7458372"/>
              <a:gd name="connsiteX1701" fmla="*/ 3517546 w 10505529"/>
              <a:gd name="connsiteY1701" fmla="*/ 7199060 h 7458372"/>
              <a:gd name="connsiteX1702" fmla="*/ 3512486 w 10505529"/>
              <a:gd name="connsiteY1702" fmla="*/ 7198129 h 7458372"/>
              <a:gd name="connsiteX1703" fmla="*/ 3294953 w 10505529"/>
              <a:gd name="connsiteY1703" fmla="*/ 7198129 h 7458372"/>
              <a:gd name="connsiteX1704" fmla="*/ 3284966 w 10505529"/>
              <a:gd name="connsiteY1704" fmla="*/ 7201723 h 7458372"/>
              <a:gd name="connsiteX1705" fmla="*/ 3281372 w 10505529"/>
              <a:gd name="connsiteY1705" fmla="*/ 7211174 h 7458372"/>
              <a:gd name="connsiteX1706" fmla="*/ 3284966 w 10505529"/>
              <a:gd name="connsiteY1706" fmla="*/ 7220625 h 7458372"/>
              <a:gd name="connsiteX1707" fmla="*/ 3294953 w 10505529"/>
              <a:gd name="connsiteY1707" fmla="*/ 7224087 h 7458372"/>
              <a:gd name="connsiteX1708" fmla="*/ 3300279 w 10505529"/>
              <a:gd name="connsiteY1708" fmla="*/ 7223155 h 7458372"/>
              <a:gd name="connsiteX1709" fmla="*/ 3304006 w 10505529"/>
              <a:gd name="connsiteY1709" fmla="*/ 7220758 h 7458372"/>
              <a:gd name="connsiteX1710" fmla="*/ 3306669 w 10505529"/>
              <a:gd name="connsiteY1710" fmla="*/ 7216499 h 7458372"/>
              <a:gd name="connsiteX1711" fmla="*/ 3307733 w 10505529"/>
              <a:gd name="connsiteY1711" fmla="*/ 7211040 h 7458372"/>
              <a:gd name="connsiteX1712" fmla="*/ 3306669 w 10505529"/>
              <a:gd name="connsiteY1712" fmla="*/ 7205850 h 7458372"/>
              <a:gd name="connsiteX1713" fmla="*/ 3304006 w 10505529"/>
              <a:gd name="connsiteY1713" fmla="*/ 7201723 h 7458372"/>
              <a:gd name="connsiteX1714" fmla="*/ 3300013 w 10505529"/>
              <a:gd name="connsiteY1714" fmla="*/ 7199060 h 7458372"/>
              <a:gd name="connsiteX1715" fmla="*/ 3294953 w 10505529"/>
              <a:gd name="connsiteY1715" fmla="*/ 7198129 h 7458372"/>
              <a:gd name="connsiteX1716" fmla="*/ 3077421 w 10505529"/>
              <a:gd name="connsiteY1716" fmla="*/ 7198129 h 7458372"/>
              <a:gd name="connsiteX1717" fmla="*/ 3067437 w 10505529"/>
              <a:gd name="connsiteY1717" fmla="*/ 7201723 h 7458372"/>
              <a:gd name="connsiteX1718" fmla="*/ 3063706 w 10505529"/>
              <a:gd name="connsiteY1718" fmla="*/ 7211174 h 7458372"/>
              <a:gd name="connsiteX1719" fmla="*/ 3067303 w 10505529"/>
              <a:gd name="connsiteY1719" fmla="*/ 7220625 h 7458372"/>
              <a:gd name="connsiteX1720" fmla="*/ 3077288 w 10505529"/>
              <a:gd name="connsiteY1720" fmla="*/ 7224087 h 7458372"/>
              <a:gd name="connsiteX1721" fmla="*/ 3082746 w 10505529"/>
              <a:gd name="connsiteY1721" fmla="*/ 7223155 h 7458372"/>
              <a:gd name="connsiteX1722" fmla="*/ 3086474 w 10505529"/>
              <a:gd name="connsiteY1722" fmla="*/ 7220758 h 7458372"/>
              <a:gd name="connsiteX1723" fmla="*/ 3089136 w 10505529"/>
              <a:gd name="connsiteY1723" fmla="*/ 7216499 h 7458372"/>
              <a:gd name="connsiteX1724" fmla="*/ 3090069 w 10505529"/>
              <a:gd name="connsiteY1724" fmla="*/ 7211040 h 7458372"/>
              <a:gd name="connsiteX1725" fmla="*/ 3089136 w 10505529"/>
              <a:gd name="connsiteY1725" fmla="*/ 7205850 h 7458372"/>
              <a:gd name="connsiteX1726" fmla="*/ 3086474 w 10505529"/>
              <a:gd name="connsiteY1726" fmla="*/ 7201723 h 7458372"/>
              <a:gd name="connsiteX1727" fmla="*/ 3082481 w 10505529"/>
              <a:gd name="connsiteY1727" fmla="*/ 7199060 h 7458372"/>
              <a:gd name="connsiteX1728" fmla="*/ 3077421 w 10505529"/>
              <a:gd name="connsiteY1728" fmla="*/ 7198129 h 7458372"/>
              <a:gd name="connsiteX1729" fmla="*/ 2859623 w 10505529"/>
              <a:gd name="connsiteY1729" fmla="*/ 7198129 h 7458372"/>
              <a:gd name="connsiteX1730" fmla="*/ 2849637 w 10505529"/>
              <a:gd name="connsiteY1730" fmla="*/ 7201723 h 7458372"/>
              <a:gd name="connsiteX1731" fmla="*/ 2846036 w 10505529"/>
              <a:gd name="connsiteY1731" fmla="*/ 7211174 h 7458372"/>
              <a:gd name="connsiteX1732" fmla="*/ 2849637 w 10505529"/>
              <a:gd name="connsiteY1732" fmla="*/ 7220625 h 7458372"/>
              <a:gd name="connsiteX1733" fmla="*/ 2859623 w 10505529"/>
              <a:gd name="connsiteY1733" fmla="*/ 7224087 h 7458372"/>
              <a:gd name="connsiteX1734" fmla="*/ 2864948 w 10505529"/>
              <a:gd name="connsiteY1734" fmla="*/ 7223155 h 7458372"/>
              <a:gd name="connsiteX1735" fmla="*/ 2868675 w 10505529"/>
              <a:gd name="connsiteY1735" fmla="*/ 7220758 h 7458372"/>
              <a:gd name="connsiteX1736" fmla="*/ 2871338 w 10505529"/>
              <a:gd name="connsiteY1736" fmla="*/ 7216499 h 7458372"/>
              <a:gd name="connsiteX1737" fmla="*/ 2872269 w 10505529"/>
              <a:gd name="connsiteY1737" fmla="*/ 7211040 h 7458372"/>
              <a:gd name="connsiteX1738" fmla="*/ 2871338 w 10505529"/>
              <a:gd name="connsiteY1738" fmla="*/ 7205850 h 7458372"/>
              <a:gd name="connsiteX1739" fmla="*/ 2868675 w 10505529"/>
              <a:gd name="connsiteY1739" fmla="*/ 7201723 h 7458372"/>
              <a:gd name="connsiteX1740" fmla="*/ 2864682 w 10505529"/>
              <a:gd name="connsiteY1740" fmla="*/ 7199060 h 7458372"/>
              <a:gd name="connsiteX1741" fmla="*/ 2859623 w 10505529"/>
              <a:gd name="connsiteY1741" fmla="*/ 7198129 h 7458372"/>
              <a:gd name="connsiteX1742" fmla="*/ 2641957 w 10505529"/>
              <a:gd name="connsiteY1742" fmla="*/ 7198129 h 7458372"/>
              <a:gd name="connsiteX1743" fmla="*/ 2631974 w 10505529"/>
              <a:gd name="connsiteY1743" fmla="*/ 7201723 h 7458372"/>
              <a:gd name="connsiteX1744" fmla="*/ 2628379 w 10505529"/>
              <a:gd name="connsiteY1744" fmla="*/ 7211174 h 7458372"/>
              <a:gd name="connsiteX1745" fmla="*/ 2631974 w 10505529"/>
              <a:gd name="connsiteY1745" fmla="*/ 7220625 h 7458372"/>
              <a:gd name="connsiteX1746" fmla="*/ 2641957 w 10505529"/>
              <a:gd name="connsiteY1746" fmla="*/ 7224087 h 7458372"/>
              <a:gd name="connsiteX1747" fmla="*/ 2647282 w 10505529"/>
              <a:gd name="connsiteY1747" fmla="*/ 7223155 h 7458372"/>
              <a:gd name="connsiteX1748" fmla="*/ 2651009 w 10505529"/>
              <a:gd name="connsiteY1748" fmla="*/ 7220758 h 7458372"/>
              <a:gd name="connsiteX1749" fmla="*/ 2653672 w 10505529"/>
              <a:gd name="connsiteY1749" fmla="*/ 7216499 h 7458372"/>
              <a:gd name="connsiteX1750" fmla="*/ 2654603 w 10505529"/>
              <a:gd name="connsiteY1750" fmla="*/ 7211040 h 7458372"/>
              <a:gd name="connsiteX1751" fmla="*/ 2653672 w 10505529"/>
              <a:gd name="connsiteY1751" fmla="*/ 7205850 h 7458372"/>
              <a:gd name="connsiteX1752" fmla="*/ 2651009 w 10505529"/>
              <a:gd name="connsiteY1752" fmla="*/ 7201723 h 7458372"/>
              <a:gd name="connsiteX1753" fmla="*/ 2647016 w 10505529"/>
              <a:gd name="connsiteY1753" fmla="*/ 7199060 h 7458372"/>
              <a:gd name="connsiteX1754" fmla="*/ 2641957 w 10505529"/>
              <a:gd name="connsiteY1754" fmla="*/ 7198129 h 7458372"/>
              <a:gd name="connsiteX1755" fmla="*/ 2424291 w 10505529"/>
              <a:gd name="connsiteY1755" fmla="*/ 7198129 h 7458372"/>
              <a:gd name="connsiteX1756" fmla="*/ 2414308 w 10505529"/>
              <a:gd name="connsiteY1756" fmla="*/ 7201723 h 7458372"/>
              <a:gd name="connsiteX1757" fmla="*/ 2410714 w 10505529"/>
              <a:gd name="connsiteY1757" fmla="*/ 7211174 h 7458372"/>
              <a:gd name="connsiteX1758" fmla="*/ 2414308 w 10505529"/>
              <a:gd name="connsiteY1758" fmla="*/ 7220625 h 7458372"/>
              <a:gd name="connsiteX1759" fmla="*/ 2424291 w 10505529"/>
              <a:gd name="connsiteY1759" fmla="*/ 7224087 h 7458372"/>
              <a:gd name="connsiteX1760" fmla="*/ 2429616 w 10505529"/>
              <a:gd name="connsiteY1760" fmla="*/ 7223155 h 7458372"/>
              <a:gd name="connsiteX1761" fmla="*/ 2433343 w 10505529"/>
              <a:gd name="connsiteY1761" fmla="*/ 7220758 h 7458372"/>
              <a:gd name="connsiteX1762" fmla="*/ 2436006 w 10505529"/>
              <a:gd name="connsiteY1762" fmla="*/ 7216499 h 7458372"/>
              <a:gd name="connsiteX1763" fmla="*/ 2436937 w 10505529"/>
              <a:gd name="connsiteY1763" fmla="*/ 7211040 h 7458372"/>
              <a:gd name="connsiteX1764" fmla="*/ 2436006 w 10505529"/>
              <a:gd name="connsiteY1764" fmla="*/ 7205850 h 7458372"/>
              <a:gd name="connsiteX1765" fmla="*/ 2433343 w 10505529"/>
              <a:gd name="connsiteY1765" fmla="*/ 7201723 h 7458372"/>
              <a:gd name="connsiteX1766" fmla="*/ 2429350 w 10505529"/>
              <a:gd name="connsiteY1766" fmla="*/ 7199060 h 7458372"/>
              <a:gd name="connsiteX1767" fmla="*/ 2424291 w 10505529"/>
              <a:gd name="connsiteY1767" fmla="*/ 7198129 h 7458372"/>
              <a:gd name="connsiteX1768" fmla="*/ 2206625 w 10505529"/>
              <a:gd name="connsiteY1768" fmla="*/ 7198129 h 7458372"/>
              <a:gd name="connsiteX1769" fmla="*/ 2196642 w 10505529"/>
              <a:gd name="connsiteY1769" fmla="*/ 7201723 h 7458372"/>
              <a:gd name="connsiteX1770" fmla="*/ 2193048 w 10505529"/>
              <a:gd name="connsiteY1770" fmla="*/ 7211174 h 7458372"/>
              <a:gd name="connsiteX1771" fmla="*/ 2196642 w 10505529"/>
              <a:gd name="connsiteY1771" fmla="*/ 7220625 h 7458372"/>
              <a:gd name="connsiteX1772" fmla="*/ 2206625 w 10505529"/>
              <a:gd name="connsiteY1772" fmla="*/ 7224087 h 7458372"/>
              <a:gd name="connsiteX1773" fmla="*/ 2211950 w 10505529"/>
              <a:gd name="connsiteY1773" fmla="*/ 7223155 h 7458372"/>
              <a:gd name="connsiteX1774" fmla="*/ 2215677 w 10505529"/>
              <a:gd name="connsiteY1774" fmla="*/ 7220758 h 7458372"/>
              <a:gd name="connsiteX1775" fmla="*/ 2218340 w 10505529"/>
              <a:gd name="connsiteY1775" fmla="*/ 7216499 h 7458372"/>
              <a:gd name="connsiteX1776" fmla="*/ 2219272 w 10505529"/>
              <a:gd name="connsiteY1776" fmla="*/ 7211040 h 7458372"/>
              <a:gd name="connsiteX1777" fmla="*/ 2218340 w 10505529"/>
              <a:gd name="connsiteY1777" fmla="*/ 7205850 h 7458372"/>
              <a:gd name="connsiteX1778" fmla="*/ 2215677 w 10505529"/>
              <a:gd name="connsiteY1778" fmla="*/ 7201723 h 7458372"/>
              <a:gd name="connsiteX1779" fmla="*/ 2211684 w 10505529"/>
              <a:gd name="connsiteY1779" fmla="*/ 7199060 h 7458372"/>
              <a:gd name="connsiteX1780" fmla="*/ 2206625 w 10505529"/>
              <a:gd name="connsiteY1780" fmla="*/ 7198129 h 7458372"/>
              <a:gd name="connsiteX1781" fmla="*/ 1989092 w 10505529"/>
              <a:gd name="connsiteY1781" fmla="*/ 7198129 h 7458372"/>
              <a:gd name="connsiteX1782" fmla="*/ 1979109 w 10505529"/>
              <a:gd name="connsiteY1782" fmla="*/ 7201723 h 7458372"/>
              <a:gd name="connsiteX1783" fmla="*/ 1975515 w 10505529"/>
              <a:gd name="connsiteY1783" fmla="*/ 7211174 h 7458372"/>
              <a:gd name="connsiteX1784" fmla="*/ 1979109 w 10505529"/>
              <a:gd name="connsiteY1784" fmla="*/ 7220625 h 7458372"/>
              <a:gd name="connsiteX1785" fmla="*/ 1989092 w 10505529"/>
              <a:gd name="connsiteY1785" fmla="*/ 7224087 h 7458372"/>
              <a:gd name="connsiteX1786" fmla="*/ 1994417 w 10505529"/>
              <a:gd name="connsiteY1786" fmla="*/ 7223155 h 7458372"/>
              <a:gd name="connsiteX1787" fmla="*/ 1998145 w 10505529"/>
              <a:gd name="connsiteY1787" fmla="*/ 7220758 h 7458372"/>
              <a:gd name="connsiteX1788" fmla="*/ 2000808 w 10505529"/>
              <a:gd name="connsiteY1788" fmla="*/ 7216499 h 7458372"/>
              <a:gd name="connsiteX1789" fmla="*/ 2001738 w 10505529"/>
              <a:gd name="connsiteY1789" fmla="*/ 7211040 h 7458372"/>
              <a:gd name="connsiteX1790" fmla="*/ 2000808 w 10505529"/>
              <a:gd name="connsiteY1790" fmla="*/ 7205850 h 7458372"/>
              <a:gd name="connsiteX1791" fmla="*/ 1998145 w 10505529"/>
              <a:gd name="connsiteY1791" fmla="*/ 7201723 h 7458372"/>
              <a:gd name="connsiteX1792" fmla="*/ 1994151 w 10505529"/>
              <a:gd name="connsiteY1792" fmla="*/ 7199060 h 7458372"/>
              <a:gd name="connsiteX1793" fmla="*/ 1989092 w 10505529"/>
              <a:gd name="connsiteY1793" fmla="*/ 7198129 h 7458372"/>
              <a:gd name="connsiteX1794" fmla="*/ 1771462 w 10505529"/>
              <a:gd name="connsiteY1794" fmla="*/ 7198129 h 7458372"/>
              <a:gd name="connsiteX1795" fmla="*/ 1761480 w 10505529"/>
              <a:gd name="connsiteY1795" fmla="*/ 7201723 h 7458372"/>
              <a:gd name="connsiteX1796" fmla="*/ 1757887 w 10505529"/>
              <a:gd name="connsiteY1796" fmla="*/ 7211174 h 7458372"/>
              <a:gd name="connsiteX1797" fmla="*/ 1761480 w 10505529"/>
              <a:gd name="connsiteY1797" fmla="*/ 7220625 h 7458372"/>
              <a:gd name="connsiteX1798" fmla="*/ 1771462 w 10505529"/>
              <a:gd name="connsiteY1798" fmla="*/ 7224087 h 7458372"/>
              <a:gd name="connsiteX1799" fmla="*/ 1776787 w 10505529"/>
              <a:gd name="connsiteY1799" fmla="*/ 7223155 h 7458372"/>
              <a:gd name="connsiteX1800" fmla="*/ 1780512 w 10505529"/>
              <a:gd name="connsiteY1800" fmla="*/ 7220758 h 7458372"/>
              <a:gd name="connsiteX1801" fmla="*/ 1783175 w 10505529"/>
              <a:gd name="connsiteY1801" fmla="*/ 7216499 h 7458372"/>
              <a:gd name="connsiteX1802" fmla="*/ 1784240 w 10505529"/>
              <a:gd name="connsiteY1802" fmla="*/ 7211040 h 7458372"/>
              <a:gd name="connsiteX1803" fmla="*/ 1783175 w 10505529"/>
              <a:gd name="connsiteY1803" fmla="*/ 7205850 h 7458372"/>
              <a:gd name="connsiteX1804" fmla="*/ 1780512 w 10505529"/>
              <a:gd name="connsiteY1804" fmla="*/ 7201723 h 7458372"/>
              <a:gd name="connsiteX1805" fmla="*/ 1776521 w 10505529"/>
              <a:gd name="connsiteY1805" fmla="*/ 7199060 h 7458372"/>
              <a:gd name="connsiteX1806" fmla="*/ 1771462 w 10505529"/>
              <a:gd name="connsiteY1806" fmla="*/ 7198129 h 7458372"/>
              <a:gd name="connsiteX1807" fmla="*/ 1553827 w 10505529"/>
              <a:gd name="connsiteY1807" fmla="*/ 7198129 h 7458372"/>
              <a:gd name="connsiteX1808" fmla="*/ 1543845 w 10505529"/>
              <a:gd name="connsiteY1808" fmla="*/ 7201723 h 7458372"/>
              <a:gd name="connsiteX1809" fmla="*/ 1540250 w 10505529"/>
              <a:gd name="connsiteY1809" fmla="*/ 7211174 h 7458372"/>
              <a:gd name="connsiteX1810" fmla="*/ 1543845 w 10505529"/>
              <a:gd name="connsiteY1810" fmla="*/ 7220625 h 7458372"/>
              <a:gd name="connsiteX1811" fmla="*/ 1553827 w 10505529"/>
              <a:gd name="connsiteY1811" fmla="*/ 7224087 h 7458372"/>
              <a:gd name="connsiteX1812" fmla="*/ 1559152 w 10505529"/>
              <a:gd name="connsiteY1812" fmla="*/ 7223155 h 7458372"/>
              <a:gd name="connsiteX1813" fmla="*/ 1562879 w 10505529"/>
              <a:gd name="connsiteY1813" fmla="*/ 7220758 h 7458372"/>
              <a:gd name="connsiteX1814" fmla="*/ 1565542 w 10505529"/>
              <a:gd name="connsiteY1814" fmla="*/ 7216499 h 7458372"/>
              <a:gd name="connsiteX1815" fmla="*/ 1566607 w 10505529"/>
              <a:gd name="connsiteY1815" fmla="*/ 7211040 h 7458372"/>
              <a:gd name="connsiteX1816" fmla="*/ 1565542 w 10505529"/>
              <a:gd name="connsiteY1816" fmla="*/ 7205850 h 7458372"/>
              <a:gd name="connsiteX1817" fmla="*/ 1562879 w 10505529"/>
              <a:gd name="connsiteY1817" fmla="*/ 7201723 h 7458372"/>
              <a:gd name="connsiteX1818" fmla="*/ 1558886 w 10505529"/>
              <a:gd name="connsiteY1818" fmla="*/ 7199060 h 7458372"/>
              <a:gd name="connsiteX1819" fmla="*/ 1553827 w 10505529"/>
              <a:gd name="connsiteY1819" fmla="*/ 7198129 h 7458372"/>
              <a:gd name="connsiteX1820" fmla="*/ 1336184 w 10505529"/>
              <a:gd name="connsiteY1820" fmla="*/ 7198129 h 7458372"/>
              <a:gd name="connsiteX1821" fmla="*/ 1326200 w 10505529"/>
              <a:gd name="connsiteY1821" fmla="*/ 7201723 h 7458372"/>
              <a:gd name="connsiteX1822" fmla="*/ 1322606 w 10505529"/>
              <a:gd name="connsiteY1822" fmla="*/ 7211174 h 7458372"/>
              <a:gd name="connsiteX1823" fmla="*/ 1326200 w 10505529"/>
              <a:gd name="connsiteY1823" fmla="*/ 7220625 h 7458372"/>
              <a:gd name="connsiteX1824" fmla="*/ 1336184 w 10505529"/>
              <a:gd name="connsiteY1824" fmla="*/ 7224087 h 7458372"/>
              <a:gd name="connsiteX1825" fmla="*/ 1341511 w 10505529"/>
              <a:gd name="connsiteY1825" fmla="*/ 7223155 h 7458372"/>
              <a:gd name="connsiteX1826" fmla="*/ 1345238 w 10505529"/>
              <a:gd name="connsiteY1826" fmla="*/ 7220758 h 7458372"/>
              <a:gd name="connsiteX1827" fmla="*/ 1347900 w 10505529"/>
              <a:gd name="connsiteY1827" fmla="*/ 7216499 h 7458372"/>
              <a:gd name="connsiteX1828" fmla="*/ 1348966 w 10505529"/>
              <a:gd name="connsiteY1828" fmla="*/ 7211040 h 7458372"/>
              <a:gd name="connsiteX1829" fmla="*/ 1347900 w 10505529"/>
              <a:gd name="connsiteY1829" fmla="*/ 7205850 h 7458372"/>
              <a:gd name="connsiteX1830" fmla="*/ 1345238 w 10505529"/>
              <a:gd name="connsiteY1830" fmla="*/ 7201723 h 7458372"/>
              <a:gd name="connsiteX1831" fmla="*/ 1341243 w 10505529"/>
              <a:gd name="connsiteY1831" fmla="*/ 7199060 h 7458372"/>
              <a:gd name="connsiteX1832" fmla="*/ 1336184 w 10505529"/>
              <a:gd name="connsiteY1832" fmla="*/ 7198129 h 7458372"/>
              <a:gd name="connsiteX1833" fmla="*/ 1118672 w 10505529"/>
              <a:gd name="connsiteY1833" fmla="*/ 7198129 h 7458372"/>
              <a:gd name="connsiteX1834" fmla="*/ 1108686 w 10505529"/>
              <a:gd name="connsiteY1834" fmla="*/ 7201723 h 7458372"/>
              <a:gd name="connsiteX1835" fmla="*/ 1104959 w 10505529"/>
              <a:gd name="connsiteY1835" fmla="*/ 7211174 h 7458372"/>
              <a:gd name="connsiteX1836" fmla="*/ 1108553 w 10505529"/>
              <a:gd name="connsiteY1836" fmla="*/ 7220625 h 7458372"/>
              <a:gd name="connsiteX1837" fmla="*/ 1118539 w 10505529"/>
              <a:gd name="connsiteY1837" fmla="*/ 7224087 h 7458372"/>
              <a:gd name="connsiteX1838" fmla="*/ 1123995 w 10505529"/>
              <a:gd name="connsiteY1838" fmla="*/ 7223155 h 7458372"/>
              <a:gd name="connsiteX1839" fmla="*/ 1127727 w 10505529"/>
              <a:gd name="connsiteY1839" fmla="*/ 7220758 h 7458372"/>
              <a:gd name="connsiteX1840" fmla="*/ 1130391 w 10505529"/>
              <a:gd name="connsiteY1840" fmla="*/ 7216499 h 7458372"/>
              <a:gd name="connsiteX1841" fmla="*/ 1131456 w 10505529"/>
              <a:gd name="connsiteY1841" fmla="*/ 7211040 h 7458372"/>
              <a:gd name="connsiteX1842" fmla="*/ 1130391 w 10505529"/>
              <a:gd name="connsiteY1842" fmla="*/ 7205850 h 7458372"/>
              <a:gd name="connsiteX1843" fmla="*/ 1127727 w 10505529"/>
              <a:gd name="connsiteY1843" fmla="*/ 7201723 h 7458372"/>
              <a:gd name="connsiteX1844" fmla="*/ 1123731 w 10505529"/>
              <a:gd name="connsiteY1844" fmla="*/ 7199060 h 7458372"/>
              <a:gd name="connsiteX1845" fmla="*/ 1118672 w 10505529"/>
              <a:gd name="connsiteY1845" fmla="*/ 7198129 h 7458372"/>
              <a:gd name="connsiteX1846" fmla="*/ 901159 w 10505529"/>
              <a:gd name="connsiteY1846" fmla="*/ 7198129 h 7458372"/>
              <a:gd name="connsiteX1847" fmla="*/ 891175 w 10505529"/>
              <a:gd name="connsiteY1847" fmla="*/ 7201723 h 7458372"/>
              <a:gd name="connsiteX1848" fmla="*/ 887448 w 10505529"/>
              <a:gd name="connsiteY1848" fmla="*/ 7211174 h 7458372"/>
              <a:gd name="connsiteX1849" fmla="*/ 891042 w 10505529"/>
              <a:gd name="connsiteY1849" fmla="*/ 7220625 h 7458372"/>
              <a:gd name="connsiteX1850" fmla="*/ 901025 w 10505529"/>
              <a:gd name="connsiteY1850" fmla="*/ 7224087 h 7458372"/>
              <a:gd name="connsiteX1851" fmla="*/ 906484 w 10505529"/>
              <a:gd name="connsiteY1851" fmla="*/ 7223155 h 7458372"/>
              <a:gd name="connsiteX1852" fmla="*/ 910212 w 10505529"/>
              <a:gd name="connsiteY1852" fmla="*/ 7220758 h 7458372"/>
              <a:gd name="connsiteX1853" fmla="*/ 912874 w 10505529"/>
              <a:gd name="connsiteY1853" fmla="*/ 7216499 h 7458372"/>
              <a:gd name="connsiteX1854" fmla="*/ 913939 w 10505529"/>
              <a:gd name="connsiteY1854" fmla="*/ 7211040 h 7458372"/>
              <a:gd name="connsiteX1855" fmla="*/ 912874 w 10505529"/>
              <a:gd name="connsiteY1855" fmla="*/ 7205850 h 7458372"/>
              <a:gd name="connsiteX1856" fmla="*/ 910212 w 10505529"/>
              <a:gd name="connsiteY1856" fmla="*/ 7201723 h 7458372"/>
              <a:gd name="connsiteX1857" fmla="*/ 906217 w 10505529"/>
              <a:gd name="connsiteY1857" fmla="*/ 7199060 h 7458372"/>
              <a:gd name="connsiteX1858" fmla="*/ 901159 w 10505529"/>
              <a:gd name="connsiteY1858" fmla="*/ 7198129 h 7458372"/>
              <a:gd name="connsiteX1859" fmla="*/ 683387 w 10505529"/>
              <a:gd name="connsiteY1859" fmla="*/ 7198129 h 7458372"/>
              <a:gd name="connsiteX1860" fmla="*/ 673403 w 10505529"/>
              <a:gd name="connsiteY1860" fmla="*/ 7201723 h 7458372"/>
              <a:gd name="connsiteX1861" fmla="*/ 669810 w 10505529"/>
              <a:gd name="connsiteY1861" fmla="*/ 7211174 h 7458372"/>
              <a:gd name="connsiteX1862" fmla="*/ 673403 w 10505529"/>
              <a:gd name="connsiteY1862" fmla="*/ 7220625 h 7458372"/>
              <a:gd name="connsiteX1863" fmla="*/ 683387 w 10505529"/>
              <a:gd name="connsiteY1863" fmla="*/ 7224087 h 7458372"/>
              <a:gd name="connsiteX1864" fmla="*/ 688712 w 10505529"/>
              <a:gd name="connsiteY1864" fmla="*/ 7223155 h 7458372"/>
              <a:gd name="connsiteX1865" fmla="*/ 692439 w 10505529"/>
              <a:gd name="connsiteY1865" fmla="*/ 7220758 h 7458372"/>
              <a:gd name="connsiteX1866" fmla="*/ 695102 w 10505529"/>
              <a:gd name="connsiteY1866" fmla="*/ 7216499 h 7458372"/>
              <a:gd name="connsiteX1867" fmla="*/ 696167 w 10505529"/>
              <a:gd name="connsiteY1867" fmla="*/ 7211040 h 7458372"/>
              <a:gd name="connsiteX1868" fmla="*/ 695102 w 10505529"/>
              <a:gd name="connsiteY1868" fmla="*/ 7205850 h 7458372"/>
              <a:gd name="connsiteX1869" fmla="*/ 692439 w 10505529"/>
              <a:gd name="connsiteY1869" fmla="*/ 7201723 h 7458372"/>
              <a:gd name="connsiteX1870" fmla="*/ 688446 w 10505529"/>
              <a:gd name="connsiteY1870" fmla="*/ 7199060 h 7458372"/>
              <a:gd name="connsiteX1871" fmla="*/ 683387 w 10505529"/>
              <a:gd name="connsiteY1871" fmla="*/ 7198129 h 7458372"/>
              <a:gd name="connsiteX1872" fmla="*/ 465746 w 10505529"/>
              <a:gd name="connsiteY1872" fmla="*/ 7198129 h 7458372"/>
              <a:gd name="connsiteX1873" fmla="*/ 455763 w 10505529"/>
              <a:gd name="connsiteY1873" fmla="*/ 7201723 h 7458372"/>
              <a:gd name="connsiteX1874" fmla="*/ 452169 w 10505529"/>
              <a:gd name="connsiteY1874" fmla="*/ 7211174 h 7458372"/>
              <a:gd name="connsiteX1875" fmla="*/ 455763 w 10505529"/>
              <a:gd name="connsiteY1875" fmla="*/ 7220625 h 7458372"/>
              <a:gd name="connsiteX1876" fmla="*/ 465746 w 10505529"/>
              <a:gd name="connsiteY1876" fmla="*/ 7224087 h 7458372"/>
              <a:gd name="connsiteX1877" fmla="*/ 471072 w 10505529"/>
              <a:gd name="connsiteY1877" fmla="*/ 7223155 h 7458372"/>
              <a:gd name="connsiteX1878" fmla="*/ 474799 w 10505529"/>
              <a:gd name="connsiteY1878" fmla="*/ 7220758 h 7458372"/>
              <a:gd name="connsiteX1879" fmla="*/ 477462 w 10505529"/>
              <a:gd name="connsiteY1879" fmla="*/ 7216499 h 7458372"/>
              <a:gd name="connsiteX1880" fmla="*/ 478527 w 10505529"/>
              <a:gd name="connsiteY1880" fmla="*/ 7211040 h 7458372"/>
              <a:gd name="connsiteX1881" fmla="*/ 477462 w 10505529"/>
              <a:gd name="connsiteY1881" fmla="*/ 7205850 h 7458372"/>
              <a:gd name="connsiteX1882" fmla="*/ 474799 w 10505529"/>
              <a:gd name="connsiteY1882" fmla="*/ 7201723 h 7458372"/>
              <a:gd name="connsiteX1883" fmla="*/ 470806 w 10505529"/>
              <a:gd name="connsiteY1883" fmla="*/ 7199060 h 7458372"/>
              <a:gd name="connsiteX1884" fmla="*/ 465746 w 10505529"/>
              <a:gd name="connsiteY1884" fmla="*/ 7198129 h 7458372"/>
              <a:gd name="connsiteX1885" fmla="*/ 248106 w 10505529"/>
              <a:gd name="connsiteY1885" fmla="*/ 7198129 h 7458372"/>
              <a:gd name="connsiteX1886" fmla="*/ 238124 w 10505529"/>
              <a:gd name="connsiteY1886" fmla="*/ 7201723 h 7458372"/>
              <a:gd name="connsiteX1887" fmla="*/ 234530 w 10505529"/>
              <a:gd name="connsiteY1887" fmla="*/ 7211174 h 7458372"/>
              <a:gd name="connsiteX1888" fmla="*/ 238124 w 10505529"/>
              <a:gd name="connsiteY1888" fmla="*/ 7220625 h 7458372"/>
              <a:gd name="connsiteX1889" fmla="*/ 248106 w 10505529"/>
              <a:gd name="connsiteY1889" fmla="*/ 7224087 h 7458372"/>
              <a:gd name="connsiteX1890" fmla="*/ 253430 w 10505529"/>
              <a:gd name="connsiteY1890" fmla="*/ 7223155 h 7458372"/>
              <a:gd name="connsiteX1891" fmla="*/ 257157 w 10505529"/>
              <a:gd name="connsiteY1891" fmla="*/ 7220758 h 7458372"/>
              <a:gd name="connsiteX1892" fmla="*/ 259820 w 10505529"/>
              <a:gd name="connsiteY1892" fmla="*/ 7216499 h 7458372"/>
              <a:gd name="connsiteX1893" fmla="*/ 260885 w 10505529"/>
              <a:gd name="connsiteY1893" fmla="*/ 7211040 h 7458372"/>
              <a:gd name="connsiteX1894" fmla="*/ 259820 w 10505529"/>
              <a:gd name="connsiteY1894" fmla="*/ 7205850 h 7458372"/>
              <a:gd name="connsiteX1895" fmla="*/ 257157 w 10505529"/>
              <a:gd name="connsiteY1895" fmla="*/ 7201723 h 7458372"/>
              <a:gd name="connsiteX1896" fmla="*/ 253164 w 10505529"/>
              <a:gd name="connsiteY1896" fmla="*/ 7199060 h 7458372"/>
              <a:gd name="connsiteX1897" fmla="*/ 248106 w 10505529"/>
              <a:gd name="connsiteY1897" fmla="*/ 7198129 h 7458372"/>
              <a:gd name="connsiteX1898" fmla="*/ 30465 w 10505529"/>
              <a:gd name="connsiteY1898" fmla="*/ 7198129 h 7458372"/>
              <a:gd name="connsiteX1899" fmla="*/ 20482 w 10505529"/>
              <a:gd name="connsiteY1899" fmla="*/ 7201723 h 7458372"/>
              <a:gd name="connsiteX1900" fmla="*/ 16889 w 10505529"/>
              <a:gd name="connsiteY1900" fmla="*/ 7211174 h 7458372"/>
              <a:gd name="connsiteX1901" fmla="*/ 20482 w 10505529"/>
              <a:gd name="connsiteY1901" fmla="*/ 7220625 h 7458372"/>
              <a:gd name="connsiteX1902" fmla="*/ 30465 w 10505529"/>
              <a:gd name="connsiteY1902" fmla="*/ 7224087 h 7458372"/>
              <a:gd name="connsiteX1903" fmla="*/ 35790 w 10505529"/>
              <a:gd name="connsiteY1903" fmla="*/ 7223155 h 7458372"/>
              <a:gd name="connsiteX1904" fmla="*/ 39517 w 10505529"/>
              <a:gd name="connsiteY1904" fmla="*/ 7220758 h 7458372"/>
              <a:gd name="connsiteX1905" fmla="*/ 42180 w 10505529"/>
              <a:gd name="connsiteY1905" fmla="*/ 7216499 h 7458372"/>
              <a:gd name="connsiteX1906" fmla="*/ 43111 w 10505529"/>
              <a:gd name="connsiteY1906" fmla="*/ 7211040 h 7458372"/>
              <a:gd name="connsiteX1907" fmla="*/ 42180 w 10505529"/>
              <a:gd name="connsiteY1907" fmla="*/ 7205850 h 7458372"/>
              <a:gd name="connsiteX1908" fmla="*/ 39517 w 10505529"/>
              <a:gd name="connsiteY1908" fmla="*/ 7201723 h 7458372"/>
              <a:gd name="connsiteX1909" fmla="*/ 35524 w 10505529"/>
              <a:gd name="connsiteY1909" fmla="*/ 7199060 h 7458372"/>
              <a:gd name="connsiteX1910" fmla="*/ 30465 w 10505529"/>
              <a:gd name="connsiteY1910" fmla="*/ 7198129 h 7458372"/>
              <a:gd name="connsiteX1911" fmla="*/ 10475977 w 10505529"/>
              <a:gd name="connsiteY1911" fmla="*/ 7181489 h 7458372"/>
              <a:gd name="connsiteX1912" fmla="*/ 10487824 w 10505529"/>
              <a:gd name="connsiteY1912" fmla="*/ 7183752 h 7458372"/>
              <a:gd name="connsiteX1913" fmla="*/ 10497143 w 10505529"/>
              <a:gd name="connsiteY1913" fmla="*/ 7190141 h 7458372"/>
              <a:gd name="connsiteX1914" fmla="*/ 10503266 w 10505529"/>
              <a:gd name="connsiteY1914" fmla="*/ 7199459 h 7458372"/>
              <a:gd name="connsiteX1915" fmla="*/ 10505529 w 10505529"/>
              <a:gd name="connsiteY1915" fmla="*/ 7210908 h 7458372"/>
              <a:gd name="connsiteX1916" fmla="*/ 10503266 w 10505529"/>
              <a:gd name="connsiteY1916" fmla="*/ 7222622 h 7458372"/>
              <a:gd name="connsiteX1917" fmla="*/ 10497143 w 10505529"/>
              <a:gd name="connsiteY1917" fmla="*/ 7232074 h 7458372"/>
              <a:gd name="connsiteX1918" fmla="*/ 10487824 w 10505529"/>
              <a:gd name="connsiteY1918" fmla="*/ 7238331 h 7458372"/>
              <a:gd name="connsiteX1919" fmla="*/ 10475977 w 10505529"/>
              <a:gd name="connsiteY1919" fmla="*/ 7240594 h 7458372"/>
              <a:gd name="connsiteX1920" fmla="*/ 10454145 w 10505529"/>
              <a:gd name="connsiteY1920" fmla="*/ 7232207 h 7458372"/>
              <a:gd name="connsiteX1921" fmla="*/ 10445759 w 10505529"/>
              <a:gd name="connsiteY1921" fmla="*/ 7211040 h 7458372"/>
              <a:gd name="connsiteX1922" fmla="*/ 10454145 w 10505529"/>
              <a:gd name="connsiteY1922" fmla="*/ 7190009 h 7458372"/>
              <a:gd name="connsiteX1923" fmla="*/ 10475977 w 10505529"/>
              <a:gd name="connsiteY1923" fmla="*/ 7181489 h 7458372"/>
              <a:gd name="connsiteX1924" fmla="*/ 10258466 w 10505529"/>
              <a:gd name="connsiteY1924" fmla="*/ 7181489 h 7458372"/>
              <a:gd name="connsiteX1925" fmla="*/ 10270313 w 10505529"/>
              <a:gd name="connsiteY1925" fmla="*/ 7183752 h 7458372"/>
              <a:gd name="connsiteX1926" fmla="*/ 10279631 w 10505529"/>
              <a:gd name="connsiteY1926" fmla="*/ 7190141 h 7458372"/>
              <a:gd name="connsiteX1927" fmla="*/ 10285754 w 10505529"/>
              <a:gd name="connsiteY1927" fmla="*/ 7199459 h 7458372"/>
              <a:gd name="connsiteX1928" fmla="*/ 10288017 w 10505529"/>
              <a:gd name="connsiteY1928" fmla="*/ 7210908 h 7458372"/>
              <a:gd name="connsiteX1929" fmla="*/ 10285754 w 10505529"/>
              <a:gd name="connsiteY1929" fmla="*/ 7222622 h 7458372"/>
              <a:gd name="connsiteX1930" fmla="*/ 10279631 w 10505529"/>
              <a:gd name="connsiteY1930" fmla="*/ 7232074 h 7458372"/>
              <a:gd name="connsiteX1931" fmla="*/ 10270313 w 10505529"/>
              <a:gd name="connsiteY1931" fmla="*/ 7238331 h 7458372"/>
              <a:gd name="connsiteX1932" fmla="*/ 10258466 w 10505529"/>
              <a:gd name="connsiteY1932" fmla="*/ 7240594 h 7458372"/>
              <a:gd name="connsiteX1933" fmla="*/ 10236633 w 10505529"/>
              <a:gd name="connsiteY1933" fmla="*/ 7232207 h 7458372"/>
              <a:gd name="connsiteX1934" fmla="*/ 10228247 w 10505529"/>
              <a:gd name="connsiteY1934" fmla="*/ 7211040 h 7458372"/>
              <a:gd name="connsiteX1935" fmla="*/ 10236633 w 10505529"/>
              <a:gd name="connsiteY1935" fmla="*/ 7190009 h 7458372"/>
              <a:gd name="connsiteX1936" fmla="*/ 10258466 w 10505529"/>
              <a:gd name="connsiteY1936" fmla="*/ 7181489 h 7458372"/>
              <a:gd name="connsiteX1937" fmla="*/ 10040820 w 10505529"/>
              <a:gd name="connsiteY1937" fmla="*/ 7181489 h 7458372"/>
              <a:gd name="connsiteX1938" fmla="*/ 10052534 w 10505529"/>
              <a:gd name="connsiteY1938" fmla="*/ 7183752 h 7458372"/>
              <a:gd name="connsiteX1939" fmla="*/ 10061852 w 10505529"/>
              <a:gd name="connsiteY1939" fmla="*/ 7190141 h 7458372"/>
              <a:gd name="connsiteX1940" fmla="*/ 10067976 w 10505529"/>
              <a:gd name="connsiteY1940" fmla="*/ 7199459 h 7458372"/>
              <a:gd name="connsiteX1941" fmla="*/ 10070239 w 10505529"/>
              <a:gd name="connsiteY1941" fmla="*/ 7210908 h 7458372"/>
              <a:gd name="connsiteX1942" fmla="*/ 10067976 w 10505529"/>
              <a:gd name="connsiteY1942" fmla="*/ 7222622 h 7458372"/>
              <a:gd name="connsiteX1943" fmla="*/ 10061852 w 10505529"/>
              <a:gd name="connsiteY1943" fmla="*/ 7232074 h 7458372"/>
              <a:gd name="connsiteX1944" fmla="*/ 10052534 w 10505529"/>
              <a:gd name="connsiteY1944" fmla="*/ 7238331 h 7458372"/>
              <a:gd name="connsiteX1945" fmla="*/ 10040820 w 10505529"/>
              <a:gd name="connsiteY1945" fmla="*/ 7240594 h 7458372"/>
              <a:gd name="connsiteX1946" fmla="*/ 10018988 w 10505529"/>
              <a:gd name="connsiteY1946" fmla="*/ 7232207 h 7458372"/>
              <a:gd name="connsiteX1947" fmla="*/ 10010602 w 10505529"/>
              <a:gd name="connsiteY1947" fmla="*/ 7211040 h 7458372"/>
              <a:gd name="connsiteX1948" fmla="*/ 10018988 w 10505529"/>
              <a:gd name="connsiteY1948" fmla="*/ 7190009 h 7458372"/>
              <a:gd name="connsiteX1949" fmla="*/ 10040820 w 10505529"/>
              <a:gd name="connsiteY1949" fmla="*/ 7181489 h 7458372"/>
              <a:gd name="connsiteX1950" fmla="*/ 9823176 w 10505529"/>
              <a:gd name="connsiteY1950" fmla="*/ 7181489 h 7458372"/>
              <a:gd name="connsiteX1951" fmla="*/ 9834890 w 10505529"/>
              <a:gd name="connsiteY1951" fmla="*/ 7183752 h 7458372"/>
              <a:gd name="connsiteX1952" fmla="*/ 9844208 w 10505529"/>
              <a:gd name="connsiteY1952" fmla="*/ 7190141 h 7458372"/>
              <a:gd name="connsiteX1953" fmla="*/ 9850331 w 10505529"/>
              <a:gd name="connsiteY1953" fmla="*/ 7199459 h 7458372"/>
              <a:gd name="connsiteX1954" fmla="*/ 9852595 w 10505529"/>
              <a:gd name="connsiteY1954" fmla="*/ 7210908 h 7458372"/>
              <a:gd name="connsiteX1955" fmla="*/ 9850331 w 10505529"/>
              <a:gd name="connsiteY1955" fmla="*/ 7222622 h 7458372"/>
              <a:gd name="connsiteX1956" fmla="*/ 9844208 w 10505529"/>
              <a:gd name="connsiteY1956" fmla="*/ 7232074 h 7458372"/>
              <a:gd name="connsiteX1957" fmla="*/ 9834890 w 10505529"/>
              <a:gd name="connsiteY1957" fmla="*/ 7238331 h 7458372"/>
              <a:gd name="connsiteX1958" fmla="*/ 9823176 w 10505529"/>
              <a:gd name="connsiteY1958" fmla="*/ 7240594 h 7458372"/>
              <a:gd name="connsiteX1959" fmla="*/ 9801343 w 10505529"/>
              <a:gd name="connsiteY1959" fmla="*/ 7232207 h 7458372"/>
              <a:gd name="connsiteX1960" fmla="*/ 9792957 w 10505529"/>
              <a:gd name="connsiteY1960" fmla="*/ 7211040 h 7458372"/>
              <a:gd name="connsiteX1961" fmla="*/ 9801343 w 10505529"/>
              <a:gd name="connsiteY1961" fmla="*/ 7190009 h 7458372"/>
              <a:gd name="connsiteX1962" fmla="*/ 9823176 w 10505529"/>
              <a:gd name="connsiteY1962" fmla="*/ 7181489 h 7458372"/>
              <a:gd name="connsiteX1963" fmla="*/ 9605531 w 10505529"/>
              <a:gd name="connsiteY1963" fmla="*/ 7181489 h 7458372"/>
              <a:gd name="connsiteX1964" fmla="*/ 9617245 w 10505529"/>
              <a:gd name="connsiteY1964" fmla="*/ 7183752 h 7458372"/>
              <a:gd name="connsiteX1965" fmla="*/ 9626562 w 10505529"/>
              <a:gd name="connsiteY1965" fmla="*/ 7190141 h 7458372"/>
              <a:gd name="connsiteX1966" fmla="*/ 9632686 w 10505529"/>
              <a:gd name="connsiteY1966" fmla="*/ 7199459 h 7458372"/>
              <a:gd name="connsiteX1967" fmla="*/ 9634949 w 10505529"/>
              <a:gd name="connsiteY1967" fmla="*/ 7210908 h 7458372"/>
              <a:gd name="connsiteX1968" fmla="*/ 9632686 w 10505529"/>
              <a:gd name="connsiteY1968" fmla="*/ 7222622 h 7458372"/>
              <a:gd name="connsiteX1969" fmla="*/ 9626562 w 10505529"/>
              <a:gd name="connsiteY1969" fmla="*/ 7232074 h 7458372"/>
              <a:gd name="connsiteX1970" fmla="*/ 9617245 w 10505529"/>
              <a:gd name="connsiteY1970" fmla="*/ 7238331 h 7458372"/>
              <a:gd name="connsiteX1971" fmla="*/ 9605531 w 10505529"/>
              <a:gd name="connsiteY1971" fmla="*/ 7240594 h 7458372"/>
              <a:gd name="connsiteX1972" fmla="*/ 9583698 w 10505529"/>
              <a:gd name="connsiteY1972" fmla="*/ 7232207 h 7458372"/>
              <a:gd name="connsiteX1973" fmla="*/ 9575312 w 10505529"/>
              <a:gd name="connsiteY1973" fmla="*/ 7211040 h 7458372"/>
              <a:gd name="connsiteX1974" fmla="*/ 9583698 w 10505529"/>
              <a:gd name="connsiteY1974" fmla="*/ 7190009 h 7458372"/>
              <a:gd name="connsiteX1975" fmla="*/ 9605531 w 10505529"/>
              <a:gd name="connsiteY1975" fmla="*/ 7181489 h 7458372"/>
              <a:gd name="connsiteX1976" fmla="*/ 9387885 w 10505529"/>
              <a:gd name="connsiteY1976" fmla="*/ 7181489 h 7458372"/>
              <a:gd name="connsiteX1977" fmla="*/ 9399599 w 10505529"/>
              <a:gd name="connsiteY1977" fmla="*/ 7183752 h 7458372"/>
              <a:gd name="connsiteX1978" fmla="*/ 9408917 w 10505529"/>
              <a:gd name="connsiteY1978" fmla="*/ 7190141 h 7458372"/>
              <a:gd name="connsiteX1979" fmla="*/ 9415041 w 10505529"/>
              <a:gd name="connsiteY1979" fmla="*/ 7199459 h 7458372"/>
              <a:gd name="connsiteX1980" fmla="*/ 9417304 w 10505529"/>
              <a:gd name="connsiteY1980" fmla="*/ 7210908 h 7458372"/>
              <a:gd name="connsiteX1981" fmla="*/ 9415041 w 10505529"/>
              <a:gd name="connsiteY1981" fmla="*/ 7222622 h 7458372"/>
              <a:gd name="connsiteX1982" fmla="*/ 9408917 w 10505529"/>
              <a:gd name="connsiteY1982" fmla="*/ 7232074 h 7458372"/>
              <a:gd name="connsiteX1983" fmla="*/ 9399599 w 10505529"/>
              <a:gd name="connsiteY1983" fmla="*/ 7238331 h 7458372"/>
              <a:gd name="connsiteX1984" fmla="*/ 9387885 w 10505529"/>
              <a:gd name="connsiteY1984" fmla="*/ 7240594 h 7458372"/>
              <a:gd name="connsiteX1985" fmla="*/ 9366053 w 10505529"/>
              <a:gd name="connsiteY1985" fmla="*/ 7232207 h 7458372"/>
              <a:gd name="connsiteX1986" fmla="*/ 9357667 w 10505529"/>
              <a:gd name="connsiteY1986" fmla="*/ 7211040 h 7458372"/>
              <a:gd name="connsiteX1987" fmla="*/ 9366053 w 10505529"/>
              <a:gd name="connsiteY1987" fmla="*/ 7190009 h 7458372"/>
              <a:gd name="connsiteX1988" fmla="*/ 9387885 w 10505529"/>
              <a:gd name="connsiteY1988" fmla="*/ 7181489 h 7458372"/>
              <a:gd name="connsiteX1989" fmla="*/ 9170374 w 10505529"/>
              <a:gd name="connsiteY1989" fmla="*/ 7181489 h 7458372"/>
              <a:gd name="connsiteX1990" fmla="*/ 9182088 w 10505529"/>
              <a:gd name="connsiteY1990" fmla="*/ 7183752 h 7458372"/>
              <a:gd name="connsiteX1991" fmla="*/ 9191405 w 10505529"/>
              <a:gd name="connsiteY1991" fmla="*/ 7190141 h 7458372"/>
              <a:gd name="connsiteX1992" fmla="*/ 9197529 w 10505529"/>
              <a:gd name="connsiteY1992" fmla="*/ 7199459 h 7458372"/>
              <a:gd name="connsiteX1993" fmla="*/ 9199792 w 10505529"/>
              <a:gd name="connsiteY1993" fmla="*/ 7210908 h 7458372"/>
              <a:gd name="connsiteX1994" fmla="*/ 9197529 w 10505529"/>
              <a:gd name="connsiteY1994" fmla="*/ 7222622 h 7458372"/>
              <a:gd name="connsiteX1995" fmla="*/ 9191405 w 10505529"/>
              <a:gd name="connsiteY1995" fmla="*/ 7232074 h 7458372"/>
              <a:gd name="connsiteX1996" fmla="*/ 9182088 w 10505529"/>
              <a:gd name="connsiteY1996" fmla="*/ 7238331 h 7458372"/>
              <a:gd name="connsiteX1997" fmla="*/ 9170374 w 10505529"/>
              <a:gd name="connsiteY1997" fmla="*/ 7240594 h 7458372"/>
              <a:gd name="connsiteX1998" fmla="*/ 9148541 w 10505529"/>
              <a:gd name="connsiteY1998" fmla="*/ 7232207 h 7458372"/>
              <a:gd name="connsiteX1999" fmla="*/ 9140155 w 10505529"/>
              <a:gd name="connsiteY1999" fmla="*/ 7211040 h 7458372"/>
              <a:gd name="connsiteX2000" fmla="*/ 9148541 w 10505529"/>
              <a:gd name="connsiteY2000" fmla="*/ 7190009 h 7458372"/>
              <a:gd name="connsiteX2001" fmla="*/ 9170374 w 10505529"/>
              <a:gd name="connsiteY2001" fmla="*/ 7181489 h 7458372"/>
              <a:gd name="connsiteX2002" fmla="*/ 8952728 w 10505529"/>
              <a:gd name="connsiteY2002" fmla="*/ 7181489 h 7458372"/>
              <a:gd name="connsiteX2003" fmla="*/ 8964442 w 10505529"/>
              <a:gd name="connsiteY2003" fmla="*/ 7183752 h 7458372"/>
              <a:gd name="connsiteX2004" fmla="*/ 8973760 w 10505529"/>
              <a:gd name="connsiteY2004" fmla="*/ 7190141 h 7458372"/>
              <a:gd name="connsiteX2005" fmla="*/ 8979884 w 10505529"/>
              <a:gd name="connsiteY2005" fmla="*/ 7199459 h 7458372"/>
              <a:gd name="connsiteX2006" fmla="*/ 8982147 w 10505529"/>
              <a:gd name="connsiteY2006" fmla="*/ 7210908 h 7458372"/>
              <a:gd name="connsiteX2007" fmla="*/ 8979884 w 10505529"/>
              <a:gd name="connsiteY2007" fmla="*/ 7222622 h 7458372"/>
              <a:gd name="connsiteX2008" fmla="*/ 8973760 w 10505529"/>
              <a:gd name="connsiteY2008" fmla="*/ 7232074 h 7458372"/>
              <a:gd name="connsiteX2009" fmla="*/ 8964442 w 10505529"/>
              <a:gd name="connsiteY2009" fmla="*/ 7238331 h 7458372"/>
              <a:gd name="connsiteX2010" fmla="*/ 8952728 w 10505529"/>
              <a:gd name="connsiteY2010" fmla="*/ 7240594 h 7458372"/>
              <a:gd name="connsiteX2011" fmla="*/ 8930896 w 10505529"/>
              <a:gd name="connsiteY2011" fmla="*/ 7232207 h 7458372"/>
              <a:gd name="connsiteX2012" fmla="*/ 8922510 w 10505529"/>
              <a:gd name="connsiteY2012" fmla="*/ 7211040 h 7458372"/>
              <a:gd name="connsiteX2013" fmla="*/ 8930896 w 10505529"/>
              <a:gd name="connsiteY2013" fmla="*/ 7190009 h 7458372"/>
              <a:gd name="connsiteX2014" fmla="*/ 8952728 w 10505529"/>
              <a:gd name="connsiteY2014" fmla="*/ 7181489 h 7458372"/>
              <a:gd name="connsiteX2015" fmla="*/ 8735083 w 10505529"/>
              <a:gd name="connsiteY2015" fmla="*/ 7181489 h 7458372"/>
              <a:gd name="connsiteX2016" fmla="*/ 8746797 w 10505529"/>
              <a:gd name="connsiteY2016" fmla="*/ 7183752 h 7458372"/>
              <a:gd name="connsiteX2017" fmla="*/ 8756115 w 10505529"/>
              <a:gd name="connsiteY2017" fmla="*/ 7190141 h 7458372"/>
              <a:gd name="connsiteX2018" fmla="*/ 8762238 w 10505529"/>
              <a:gd name="connsiteY2018" fmla="*/ 7199459 h 7458372"/>
              <a:gd name="connsiteX2019" fmla="*/ 8764502 w 10505529"/>
              <a:gd name="connsiteY2019" fmla="*/ 7210908 h 7458372"/>
              <a:gd name="connsiteX2020" fmla="*/ 8762238 w 10505529"/>
              <a:gd name="connsiteY2020" fmla="*/ 7222622 h 7458372"/>
              <a:gd name="connsiteX2021" fmla="*/ 8756115 w 10505529"/>
              <a:gd name="connsiteY2021" fmla="*/ 7232074 h 7458372"/>
              <a:gd name="connsiteX2022" fmla="*/ 8746797 w 10505529"/>
              <a:gd name="connsiteY2022" fmla="*/ 7238331 h 7458372"/>
              <a:gd name="connsiteX2023" fmla="*/ 8735083 w 10505529"/>
              <a:gd name="connsiteY2023" fmla="*/ 7240594 h 7458372"/>
              <a:gd name="connsiteX2024" fmla="*/ 8713250 w 10505529"/>
              <a:gd name="connsiteY2024" fmla="*/ 7232207 h 7458372"/>
              <a:gd name="connsiteX2025" fmla="*/ 8704864 w 10505529"/>
              <a:gd name="connsiteY2025" fmla="*/ 7211040 h 7458372"/>
              <a:gd name="connsiteX2026" fmla="*/ 8713250 w 10505529"/>
              <a:gd name="connsiteY2026" fmla="*/ 7190009 h 7458372"/>
              <a:gd name="connsiteX2027" fmla="*/ 8735083 w 10505529"/>
              <a:gd name="connsiteY2027" fmla="*/ 7181489 h 7458372"/>
              <a:gd name="connsiteX2028" fmla="*/ 8517438 w 10505529"/>
              <a:gd name="connsiteY2028" fmla="*/ 7181489 h 7458372"/>
              <a:gd name="connsiteX2029" fmla="*/ 8529152 w 10505529"/>
              <a:gd name="connsiteY2029" fmla="*/ 7183752 h 7458372"/>
              <a:gd name="connsiteX2030" fmla="*/ 8538470 w 10505529"/>
              <a:gd name="connsiteY2030" fmla="*/ 7190141 h 7458372"/>
              <a:gd name="connsiteX2031" fmla="*/ 8544594 w 10505529"/>
              <a:gd name="connsiteY2031" fmla="*/ 7199459 h 7458372"/>
              <a:gd name="connsiteX2032" fmla="*/ 8546857 w 10505529"/>
              <a:gd name="connsiteY2032" fmla="*/ 7210908 h 7458372"/>
              <a:gd name="connsiteX2033" fmla="*/ 8544594 w 10505529"/>
              <a:gd name="connsiteY2033" fmla="*/ 7222622 h 7458372"/>
              <a:gd name="connsiteX2034" fmla="*/ 8538470 w 10505529"/>
              <a:gd name="connsiteY2034" fmla="*/ 7232074 h 7458372"/>
              <a:gd name="connsiteX2035" fmla="*/ 8529152 w 10505529"/>
              <a:gd name="connsiteY2035" fmla="*/ 7238331 h 7458372"/>
              <a:gd name="connsiteX2036" fmla="*/ 8517438 w 10505529"/>
              <a:gd name="connsiteY2036" fmla="*/ 7240594 h 7458372"/>
              <a:gd name="connsiteX2037" fmla="*/ 8495606 w 10505529"/>
              <a:gd name="connsiteY2037" fmla="*/ 7232207 h 7458372"/>
              <a:gd name="connsiteX2038" fmla="*/ 8487220 w 10505529"/>
              <a:gd name="connsiteY2038" fmla="*/ 7211040 h 7458372"/>
              <a:gd name="connsiteX2039" fmla="*/ 8495606 w 10505529"/>
              <a:gd name="connsiteY2039" fmla="*/ 7190009 h 7458372"/>
              <a:gd name="connsiteX2040" fmla="*/ 8517438 w 10505529"/>
              <a:gd name="connsiteY2040" fmla="*/ 7181489 h 7458372"/>
              <a:gd name="connsiteX2041" fmla="*/ 8299793 w 10505529"/>
              <a:gd name="connsiteY2041" fmla="*/ 7181489 h 7458372"/>
              <a:gd name="connsiteX2042" fmla="*/ 8311507 w 10505529"/>
              <a:gd name="connsiteY2042" fmla="*/ 7183752 h 7458372"/>
              <a:gd name="connsiteX2043" fmla="*/ 8320825 w 10505529"/>
              <a:gd name="connsiteY2043" fmla="*/ 7190141 h 7458372"/>
              <a:gd name="connsiteX2044" fmla="*/ 8326948 w 10505529"/>
              <a:gd name="connsiteY2044" fmla="*/ 7199459 h 7458372"/>
              <a:gd name="connsiteX2045" fmla="*/ 8329212 w 10505529"/>
              <a:gd name="connsiteY2045" fmla="*/ 7210908 h 7458372"/>
              <a:gd name="connsiteX2046" fmla="*/ 8326948 w 10505529"/>
              <a:gd name="connsiteY2046" fmla="*/ 7222622 h 7458372"/>
              <a:gd name="connsiteX2047" fmla="*/ 8320825 w 10505529"/>
              <a:gd name="connsiteY2047" fmla="*/ 7232074 h 7458372"/>
              <a:gd name="connsiteX2048" fmla="*/ 8311507 w 10505529"/>
              <a:gd name="connsiteY2048" fmla="*/ 7238331 h 7458372"/>
              <a:gd name="connsiteX2049" fmla="*/ 8299793 w 10505529"/>
              <a:gd name="connsiteY2049" fmla="*/ 7240594 h 7458372"/>
              <a:gd name="connsiteX2050" fmla="*/ 8277960 w 10505529"/>
              <a:gd name="connsiteY2050" fmla="*/ 7232207 h 7458372"/>
              <a:gd name="connsiteX2051" fmla="*/ 8269574 w 10505529"/>
              <a:gd name="connsiteY2051" fmla="*/ 7211040 h 7458372"/>
              <a:gd name="connsiteX2052" fmla="*/ 8277960 w 10505529"/>
              <a:gd name="connsiteY2052" fmla="*/ 7190009 h 7458372"/>
              <a:gd name="connsiteX2053" fmla="*/ 8299793 w 10505529"/>
              <a:gd name="connsiteY2053" fmla="*/ 7181489 h 7458372"/>
              <a:gd name="connsiteX2054" fmla="*/ 8082281 w 10505529"/>
              <a:gd name="connsiteY2054" fmla="*/ 7181489 h 7458372"/>
              <a:gd name="connsiteX2055" fmla="*/ 8094127 w 10505529"/>
              <a:gd name="connsiteY2055" fmla="*/ 7183752 h 7458372"/>
              <a:gd name="connsiteX2056" fmla="*/ 8103446 w 10505529"/>
              <a:gd name="connsiteY2056" fmla="*/ 7190141 h 7458372"/>
              <a:gd name="connsiteX2057" fmla="*/ 8109569 w 10505529"/>
              <a:gd name="connsiteY2057" fmla="*/ 7199459 h 7458372"/>
              <a:gd name="connsiteX2058" fmla="*/ 8111832 w 10505529"/>
              <a:gd name="connsiteY2058" fmla="*/ 7210908 h 7458372"/>
              <a:gd name="connsiteX2059" fmla="*/ 8109569 w 10505529"/>
              <a:gd name="connsiteY2059" fmla="*/ 7222622 h 7458372"/>
              <a:gd name="connsiteX2060" fmla="*/ 8103446 w 10505529"/>
              <a:gd name="connsiteY2060" fmla="*/ 7232074 h 7458372"/>
              <a:gd name="connsiteX2061" fmla="*/ 8094127 w 10505529"/>
              <a:gd name="connsiteY2061" fmla="*/ 7238331 h 7458372"/>
              <a:gd name="connsiteX2062" fmla="*/ 8082281 w 10505529"/>
              <a:gd name="connsiteY2062" fmla="*/ 7240594 h 7458372"/>
              <a:gd name="connsiteX2063" fmla="*/ 8060448 w 10505529"/>
              <a:gd name="connsiteY2063" fmla="*/ 7232207 h 7458372"/>
              <a:gd name="connsiteX2064" fmla="*/ 8052062 w 10505529"/>
              <a:gd name="connsiteY2064" fmla="*/ 7211040 h 7458372"/>
              <a:gd name="connsiteX2065" fmla="*/ 8060448 w 10505529"/>
              <a:gd name="connsiteY2065" fmla="*/ 7190009 h 7458372"/>
              <a:gd name="connsiteX2066" fmla="*/ 8082281 w 10505529"/>
              <a:gd name="connsiteY2066" fmla="*/ 7181489 h 7458372"/>
              <a:gd name="connsiteX2067" fmla="*/ 7864636 w 10505529"/>
              <a:gd name="connsiteY2067" fmla="*/ 7181489 h 7458372"/>
              <a:gd name="connsiteX2068" fmla="*/ 7876483 w 10505529"/>
              <a:gd name="connsiteY2068" fmla="*/ 7183752 h 7458372"/>
              <a:gd name="connsiteX2069" fmla="*/ 7885802 w 10505529"/>
              <a:gd name="connsiteY2069" fmla="*/ 7190141 h 7458372"/>
              <a:gd name="connsiteX2070" fmla="*/ 7891924 w 10505529"/>
              <a:gd name="connsiteY2070" fmla="*/ 7199459 h 7458372"/>
              <a:gd name="connsiteX2071" fmla="*/ 7894188 w 10505529"/>
              <a:gd name="connsiteY2071" fmla="*/ 7210908 h 7458372"/>
              <a:gd name="connsiteX2072" fmla="*/ 7891924 w 10505529"/>
              <a:gd name="connsiteY2072" fmla="*/ 7222622 h 7458372"/>
              <a:gd name="connsiteX2073" fmla="*/ 7885802 w 10505529"/>
              <a:gd name="connsiteY2073" fmla="*/ 7232074 h 7458372"/>
              <a:gd name="connsiteX2074" fmla="*/ 7876483 w 10505529"/>
              <a:gd name="connsiteY2074" fmla="*/ 7238331 h 7458372"/>
              <a:gd name="connsiteX2075" fmla="*/ 7864636 w 10505529"/>
              <a:gd name="connsiteY2075" fmla="*/ 7240594 h 7458372"/>
              <a:gd name="connsiteX2076" fmla="*/ 7842803 w 10505529"/>
              <a:gd name="connsiteY2076" fmla="*/ 7232207 h 7458372"/>
              <a:gd name="connsiteX2077" fmla="*/ 7834417 w 10505529"/>
              <a:gd name="connsiteY2077" fmla="*/ 7211040 h 7458372"/>
              <a:gd name="connsiteX2078" fmla="*/ 7842803 w 10505529"/>
              <a:gd name="connsiteY2078" fmla="*/ 7190009 h 7458372"/>
              <a:gd name="connsiteX2079" fmla="*/ 7864636 w 10505529"/>
              <a:gd name="connsiteY2079" fmla="*/ 7181489 h 7458372"/>
              <a:gd name="connsiteX2080" fmla="*/ 7646991 w 10505529"/>
              <a:gd name="connsiteY2080" fmla="*/ 7181489 h 7458372"/>
              <a:gd name="connsiteX2081" fmla="*/ 7658705 w 10505529"/>
              <a:gd name="connsiteY2081" fmla="*/ 7183752 h 7458372"/>
              <a:gd name="connsiteX2082" fmla="*/ 7668022 w 10505529"/>
              <a:gd name="connsiteY2082" fmla="*/ 7190141 h 7458372"/>
              <a:gd name="connsiteX2083" fmla="*/ 7674146 w 10505529"/>
              <a:gd name="connsiteY2083" fmla="*/ 7199459 h 7458372"/>
              <a:gd name="connsiteX2084" fmla="*/ 7676409 w 10505529"/>
              <a:gd name="connsiteY2084" fmla="*/ 7210908 h 7458372"/>
              <a:gd name="connsiteX2085" fmla="*/ 7674146 w 10505529"/>
              <a:gd name="connsiteY2085" fmla="*/ 7222622 h 7458372"/>
              <a:gd name="connsiteX2086" fmla="*/ 7668022 w 10505529"/>
              <a:gd name="connsiteY2086" fmla="*/ 7232074 h 7458372"/>
              <a:gd name="connsiteX2087" fmla="*/ 7658705 w 10505529"/>
              <a:gd name="connsiteY2087" fmla="*/ 7238331 h 7458372"/>
              <a:gd name="connsiteX2088" fmla="*/ 7646991 w 10505529"/>
              <a:gd name="connsiteY2088" fmla="*/ 7240594 h 7458372"/>
              <a:gd name="connsiteX2089" fmla="*/ 7625158 w 10505529"/>
              <a:gd name="connsiteY2089" fmla="*/ 7232207 h 7458372"/>
              <a:gd name="connsiteX2090" fmla="*/ 7616772 w 10505529"/>
              <a:gd name="connsiteY2090" fmla="*/ 7211040 h 7458372"/>
              <a:gd name="connsiteX2091" fmla="*/ 7625158 w 10505529"/>
              <a:gd name="connsiteY2091" fmla="*/ 7190009 h 7458372"/>
              <a:gd name="connsiteX2092" fmla="*/ 7646991 w 10505529"/>
              <a:gd name="connsiteY2092" fmla="*/ 7181489 h 7458372"/>
              <a:gd name="connsiteX2093" fmla="*/ 7429345 w 10505529"/>
              <a:gd name="connsiteY2093" fmla="*/ 7181489 h 7458372"/>
              <a:gd name="connsiteX2094" fmla="*/ 7441059 w 10505529"/>
              <a:gd name="connsiteY2094" fmla="*/ 7183752 h 7458372"/>
              <a:gd name="connsiteX2095" fmla="*/ 7450377 w 10505529"/>
              <a:gd name="connsiteY2095" fmla="*/ 7190141 h 7458372"/>
              <a:gd name="connsiteX2096" fmla="*/ 7456501 w 10505529"/>
              <a:gd name="connsiteY2096" fmla="*/ 7199459 h 7458372"/>
              <a:gd name="connsiteX2097" fmla="*/ 7458764 w 10505529"/>
              <a:gd name="connsiteY2097" fmla="*/ 7210908 h 7458372"/>
              <a:gd name="connsiteX2098" fmla="*/ 7456501 w 10505529"/>
              <a:gd name="connsiteY2098" fmla="*/ 7222622 h 7458372"/>
              <a:gd name="connsiteX2099" fmla="*/ 7450377 w 10505529"/>
              <a:gd name="connsiteY2099" fmla="*/ 7232074 h 7458372"/>
              <a:gd name="connsiteX2100" fmla="*/ 7441059 w 10505529"/>
              <a:gd name="connsiteY2100" fmla="*/ 7238331 h 7458372"/>
              <a:gd name="connsiteX2101" fmla="*/ 7429345 w 10505529"/>
              <a:gd name="connsiteY2101" fmla="*/ 7240594 h 7458372"/>
              <a:gd name="connsiteX2102" fmla="*/ 7407513 w 10505529"/>
              <a:gd name="connsiteY2102" fmla="*/ 7232207 h 7458372"/>
              <a:gd name="connsiteX2103" fmla="*/ 7399127 w 10505529"/>
              <a:gd name="connsiteY2103" fmla="*/ 7211040 h 7458372"/>
              <a:gd name="connsiteX2104" fmla="*/ 7407513 w 10505529"/>
              <a:gd name="connsiteY2104" fmla="*/ 7190009 h 7458372"/>
              <a:gd name="connsiteX2105" fmla="*/ 7429345 w 10505529"/>
              <a:gd name="connsiteY2105" fmla="*/ 7181489 h 7458372"/>
              <a:gd name="connsiteX2106" fmla="*/ 7211701 w 10505529"/>
              <a:gd name="connsiteY2106" fmla="*/ 7181489 h 7458372"/>
              <a:gd name="connsiteX2107" fmla="*/ 7223415 w 10505529"/>
              <a:gd name="connsiteY2107" fmla="*/ 7183752 h 7458372"/>
              <a:gd name="connsiteX2108" fmla="*/ 7232733 w 10505529"/>
              <a:gd name="connsiteY2108" fmla="*/ 7190141 h 7458372"/>
              <a:gd name="connsiteX2109" fmla="*/ 7238856 w 10505529"/>
              <a:gd name="connsiteY2109" fmla="*/ 7199459 h 7458372"/>
              <a:gd name="connsiteX2110" fmla="*/ 7241120 w 10505529"/>
              <a:gd name="connsiteY2110" fmla="*/ 7210908 h 7458372"/>
              <a:gd name="connsiteX2111" fmla="*/ 7238856 w 10505529"/>
              <a:gd name="connsiteY2111" fmla="*/ 7222622 h 7458372"/>
              <a:gd name="connsiteX2112" fmla="*/ 7232733 w 10505529"/>
              <a:gd name="connsiteY2112" fmla="*/ 7232074 h 7458372"/>
              <a:gd name="connsiteX2113" fmla="*/ 7223415 w 10505529"/>
              <a:gd name="connsiteY2113" fmla="*/ 7238331 h 7458372"/>
              <a:gd name="connsiteX2114" fmla="*/ 7211701 w 10505529"/>
              <a:gd name="connsiteY2114" fmla="*/ 7240594 h 7458372"/>
              <a:gd name="connsiteX2115" fmla="*/ 7189868 w 10505529"/>
              <a:gd name="connsiteY2115" fmla="*/ 7232207 h 7458372"/>
              <a:gd name="connsiteX2116" fmla="*/ 7181482 w 10505529"/>
              <a:gd name="connsiteY2116" fmla="*/ 7211040 h 7458372"/>
              <a:gd name="connsiteX2117" fmla="*/ 7189868 w 10505529"/>
              <a:gd name="connsiteY2117" fmla="*/ 7190009 h 7458372"/>
              <a:gd name="connsiteX2118" fmla="*/ 7211701 w 10505529"/>
              <a:gd name="connsiteY2118" fmla="*/ 7181489 h 7458372"/>
              <a:gd name="connsiteX2119" fmla="*/ 6994056 w 10505529"/>
              <a:gd name="connsiteY2119" fmla="*/ 7181489 h 7458372"/>
              <a:gd name="connsiteX2120" fmla="*/ 7005769 w 10505529"/>
              <a:gd name="connsiteY2120" fmla="*/ 7183752 h 7458372"/>
              <a:gd name="connsiteX2121" fmla="*/ 7015087 w 10505529"/>
              <a:gd name="connsiteY2121" fmla="*/ 7190141 h 7458372"/>
              <a:gd name="connsiteX2122" fmla="*/ 7021211 w 10505529"/>
              <a:gd name="connsiteY2122" fmla="*/ 7199459 h 7458372"/>
              <a:gd name="connsiteX2123" fmla="*/ 7023474 w 10505529"/>
              <a:gd name="connsiteY2123" fmla="*/ 7210908 h 7458372"/>
              <a:gd name="connsiteX2124" fmla="*/ 7021211 w 10505529"/>
              <a:gd name="connsiteY2124" fmla="*/ 7222622 h 7458372"/>
              <a:gd name="connsiteX2125" fmla="*/ 7015087 w 10505529"/>
              <a:gd name="connsiteY2125" fmla="*/ 7232074 h 7458372"/>
              <a:gd name="connsiteX2126" fmla="*/ 7005769 w 10505529"/>
              <a:gd name="connsiteY2126" fmla="*/ 7238331 h 7458372"/>
              <a:gd name="connsiteX2127" fmla="*/ 6994056 w 10505529"/>
              <a:gd name="connsiteY2127" fmla="*/ 7240594 h 7458372"/>
              <a:gd name="connsiteX2128" fmla="*/ 6972223 w 10505529"/>
              <a:gd name="connsiteY2128" fmla="*/ 7232207 h 7458372"/>
              <a:gd name="connsiteX2129" fmla="*/ 6963837 w 10505529"/>
              <a:gd name="connsiteY2129" fmla="*/ 7211040 h 7458372"/>
              <a:gd name="connsiteX2130" fmla="*/ 6972223 w 10505529"/>
              <a:gd name="connsiteY2130" fmla="*/ 7190009 h 7458372"/>
              <a:gd name="connsiteX2131" fmla="*/ 6994056 w 10505529"/>
              <a:gd name="connsiteY2131" fmla="*/ 7181489 h 7458372"/>
              <a:gd name="connsiteX2132" fmla="*/ 6776544 w 10505529"/>
              <a:gd name="connsiteY2132" fmla="*/ 7181489 h 7458372"/>
              <a:gd name="connsiteX2133" fmla="*/ 6788258 w 10505529"/>
              <a:gd name="connsiteY2133" fmla="*/ 7183752 h 7458372"/>
              <a:gd name="connsiteX2134" fmla="*/ 6797576 w 10505529"/>
              <a:gd name="connsiteY2134" fmla="*/ 7190141 h 7458372"/>
              <a:gd name="connsiteX2135" fmla="*/ 6803699 w 10505529"/>
              <a:gd name="connsiteY2135" fmla="*/ 7199459 h 7458372"/>
              <a:gd name="connsiteX2136" fmla="*/ 6805963 w 10505529"/>
              <a:gd name="connsiteY2136" fmla="*/ 7210908 h 7458372"/>
              <a:gd name="connsiteX2137" fmla="*/ 6803699 w 10505529"/>
              <a:gd name="connsiteY2137" fmla="*/ 7222622 h 7458372"/>
              <a:gd name="connsiteX2138" fmla="*/ 6797576 w 10505529"/>
              <a:gd name="connsiteY2138" fmla="*/ 7232074 h 7458372"/>
              <a:gd name="connsiteX2139" fmla="*/ 6788258 w 10505529"/>
              <a:gd name="connsiteY2139" fmla="*/ 7238331 h 7458372"/>
              <a:gd name="connsiteX2140" fmla="*/ 6776544 w 10505529"/>
              <a:gd name="connsiteY2140" fmla="*/ 7240594 h 7458372"/>
              <a:gd name="connsiteX2141" fmla="*/ 6754711 w 10505529"/>
              <a:gd name="connsiteY2141" fmla="*/ 7232207 h 7458372"/>
              <a:gd name="connsiteX2142" fmla="*/ 6746325 w 10505529"/>
              <a:gd name="connsiteY2142" fmla="*/ 7211040 h 7458372"/>
              <a:gd name="connsiteX2143" fmla="*/ 6754711 w 10505529"/>
              <a:gd name="connsiteY2143" fmla="*/ 7190009 h 7458372"/>
              <a:gd name="connsiteX2144" fmla="*/ 6776544 w 10505529"/>
              <a:gd name="connsiteY2144" fmla="*/ 7181489 h 7458372"/>
              <a:gd name="connsiteX2145" fmla="*/ 6558899 w 10505529"/>
              <a:gd name="connsiteY2145" fmla="*/ 7181489 h 7458372"/>
              <a:gd name="connsiteX2146" fmla="*/ 6570612 w 10505529"/>
              <a:gd name="connsiteY2146" fmla="*/ 7183752 h 7458372"/>
              <a:gd name="connsiteX2147" fmla="*/ 6579930 w 10505529"/>
              <a:gd name="connsiteY2147" fmla="*/ 7190141 h 7458372"/>
              <a:gd name="connsiteX2148" fmla="*/ 6586054 w 10505529"/>
              <a:gd name="connsiteY2148" fmla="*/ 7199459 h 7458372"/>
              <a:gd name="connsiteX2149" fmla="*/ 6588317 w 10505529"/>
              <a:gd name="connsiteY2149" fmla="*/ 7210908 h 7458372"/>
              <a:gd name="connsiteX2150" fmla="*/ 6586054 w 10505529"/>
              <a:gd name="connsiteY2150" fmla="*/ 7222622 h 7458372"/>
              <a:gd name="connsiteX2151" fmla="*/ 6579930 w 10505529"/>
              <a:gd name="connsiteY2151" fmla="*/ 7232074 h 7458372"/>
              <a:gd name="connsiteX2152" fmla="*/ 6570612 w 10505529"/>
              <a:gd name="connsiteY2152" fmla="*/ 7238331 h 7458372"/>
              <a:gd name="connsiteX2153" fmla="*/ 6558899 w 10505529"/>
              <a:gd name="connsiteY2153" fmla="*/ 7240594 h 7458372"/>
              <a:gd name="connsiteX2154" fmla="*/ 6537066 w 10505529"/>
              <a:gd name="connsiteY2154" fmla="*/ 7232207 h 7458372"/>
              <a:gd name="connsiteX2155" fmla="*/ 6528680 w 10505529"/>
              <a:gd name="connsiteY2155" fmla="*/ 7211040 h 7458372"/>
              <a:gd name="connsiteX2156" fmla="*/ 6537066 w 10505529"/>
              <a:gd name="connsiteY2156" fmla="*/ 7190009 h 7458372"/>
              <a:gd name="connsiteX2157" fmla="*/ 6558899 w 10505529"/>
              <a:gd name="connsiteY2157" fmla="*/ 7181489 h 7458372"/>
              <a:gd name="connsiteX2158" fmla="*/ 6341253 w 10505529"/>
              <a:gd name="connsiteY2158" fmla="*/ 7181489 h 7458372"/>
              <a:gd name="connsiteX2159" fmla="*/ 6352968 w 10505529"/>
              <a:gd name="connsiteY2159" fmla="*/ 7183752 h 7458372"/>
              <a:gd name="connsiteX2160" fmla="*/ 6362286 w 10505529"/>
              <a:gd name="connsiteY2160" fmla="*/ 7190141 h 7458372"/>
              <a:gd name="connsiteX2161" fmla="*/ 6368409 w 10505529"/>
              <a:gd name="connsiteY2161" fmla="*/ 7199459 h 7458372"/>
              <a:gd name="connsiteX2162" fmla="*/ 6370672 w 10505529"/>
              <a:gd name="connsiteY2162" fmla="*/ 7210908 h 7458372"/>
              <a:gd name="connsiteX2163" fmla="*/ 6368409 w 10505529"/>
              <a:gd name="connsiteY2163" fmla="*/ 7222622 h 7458372"/>
              <a:gd name="connsiteX2164" fmla="*/ 6362286 w 10505529"/>
              <a:gd name="connsiteY2164" fmla="*/ 7232074 h 7458372"/>
              <a:gd name="connsiteX2165" fmla="*/ 6352968 w 10505529"/>
              <a:gd name="connsiteY2165" fmla="*/ 7238331 h 7458372"/>
              <a:gd name="connsiteX2166" fmla="*/ 6341253 w 10505529"/>
              <a:gd name="connsiteY2166" fmla="*/ 7240594 h 7458372"/>
              <a:gd name="connsiteX2167" fmla="*/ 6319421 w 10505529"/>
              <a:gd name="connsiteY2167" fmla="*/ 7232207 h 7458372"/>
              <a:gd name="connsiteX2168" fmla="*/ 6311035 w 10505529"/>
              <a:gd name="connsiteY2168" fmla="*/ 7211040 h 7458372"/>
              <a:gd name="connsiteX2169" fmla="*/ 6319421 w 10505529"/>
              <a:gd name="connsiteY2169" fmla="*/ 7190009 h 7458372"/>
              <a:gd name="connsiteX2170" fmla="*/ 6341253 w 10505529"/>
              <a:gd name="connsiteY2170" fmla="*/ 7181489 h 7458372"/>
              <a:gd name="connsiteX2171" fmla="*/ 6123608 w 10505529"/>
              <a:gd name="connsiteY2171" fmla="*/ 7181489 h 7458372"/>
              <a:gd name="connsiteX2172" fmla="*/ 6135322 w 10505529"/>
              <a:gd name="connsiteY2172" fmla="*/ 7183752 h 7458372"/>
              <a:gd name="connsiteX2173" fmla="*/ 6144640 w 10505529"/>
              <a:gd name="connsiteY2173" fmla="*/ 7190141 h 7458372"/>
              <a:gd name="connsiteX2174" fmla="*/ 6150763 w 10505529"/>
              <a:gd name="connsiteY2174" fmla="*/ 7199459 h 7458372"/>
              <a:gd name="connsiteX2175" fmla="*/ 6153026 w 10505529"/>
              <a:gd name="connsiteY2175" fmla="*/ 7210908 h 7458372"/>
              <a:gd name="connsiteX2176" fmla="*/ 6150763 w 10505529"/>
              <a:gd name="connsiteY2176" fmla="*/ 7222622 h 7458372"/>
              <a:gd name="connsiteX2177" fmla="*/ 6144640 w 10505529"/>
              <a:gd name="connsiteY2177" fmla="*/ 7232074 h 7458372"/>
              <a:gd name="connsiteX2178" fmla="*/ 6135322 w 10505529"/>
              <a:gd name="connsiteY2178" fmla="*/ 7238331 h 7458372"/>
              <a:gd name="connsiteX2179" fmla="*/ 6123608 w 10505529"/>
              <a:gd name="connsiteY2179" fmla="*/ 7240594 h 7458372"/>
              <a:gd name="connsiteX2180" fmla="*/ 6101775 w 10505529"/>
              <a:gd name="connsiteY2180" fmla="*/ 7232207 h 7458372"/>
              <a:gd name="connsiteX2181" fmla="*/ 6093389 w 10505529"/>
              <a:gd name="connsiteY2181" fmla="*/ 7211040 h 7458372"/>
              <a:gd name="connsiteX2182" fmla="*/ 6101775 w 10505529"/>
              <a:gd name="connsiteY2182" fmla="*/ 7190009 h 7458372"/>
              <a:gd name="connsiteX2183" fmla="*/ 6123608 w 10505529"/>
              <a:gd name="connsiteY2183" fmla="*/ 7181489 h 7458372"/>
              <a:gd name="connsiteX2184" fmla="*/ 5905963 w 10505529"/>
              <a:gd name="connsiteY2184" fmla="*/ 7181489 h 7458372"/>
              <a:gd name="connsiteX2185" fmla="*/ 5917677 w 10505529"/>
              <a:gd name="connsiteY2185" fmla="*/ 7183752 h 7458372"/>
              <a:gd name="connsiteX2186" fmla="*/ 5926995 w 10505529"/>
              <a:gd name="connsiteY2186" fmla="*/ 7190141 h 7458372"/>
              <a:gd name="connsiteX2187" fmla="*/ 5933118 w 10505529"/>
              <a:gd name="connsiteY2187" fmla="*/ 7199459 h 7458372"/>
              <a:gd name="connsiteX2188" fmla="*/ 5935381 w 10505529"/>
              <a:gd name="connsiteY2188" fmla="*/ 7210908 h 7458372"/>
              <a:gd name="connsiteX2189" fmla="*/ 5933118 w 10505529"/>
              <a:gd name="connsiteY2189" fmla="*/ 7222622 h 7458372"/>
              <a:gd name="connsiteX2190" fmla="*/ 5926995 w 10505529"/>
              <a:gd name="connsiteY2190" fmla="*/ 7232074 h 7458372"/>
              <a:gd name="connsiteX2191" fmla="*/ 5917677 w 10505529"/>
              <a:gd name="connsiteY2191" fmla="*/ 7238331 h 7458372"/>
              <a:gd name="connsiteX2192" fmla="*/ 5905963 w 10505529"/>
              <a:gd name="connsiteY2192" fmla="*/ 7240594 h 7458372"/>
              <a:gd name="connsiteX2193" fmla="*/ 5884130 w 10505529"/>
              <a:gd name="connsiteY2193" fmla="*/ 7232207 h 7458372"/>
              <a:gd name="connsiteX2194" fmla="*/ 5875744 w 10505529"/>
              <a:gd name="connsiteY2194" fmla="*/ 7211040 h 7458372"/>
              <a:gd name="connsiteX2195" fmla="*/ 5884130 w 10505529"/>
              <a:gd name="connsiteY2195" fmla="*/ 7190009 h 7458372"/>
              <a:gd name="connsiteX2196" fmla="*/ 5905963 w 10505529"/>
              <a:gd name="connsiteY2196" fmla="*/ 7181489 h 7458372"/>
              <a:gd name="connsiteX2197" fmla="*/ 5688451 w 10505529"/>
              <a:gd name="connsiteY2197" fmla="*/ 7181489 h 7458372"/>
              <a:gd name="connsiteX2198" fmla="*/ 5700165 w 10505529"/>
              <a:gd name="connsiteY2198" fmla="*/ 7183752 h 7458372"/>
              <a:gd name="connsiteX2199" fmla="*/ 5709483 w 10505529"/>
              <a:gd name="connsiteY2199" fmla="*/ 7190141 h 7458372"/>
              <a:gd name="connsiteX2200" fmla="*/ 5715606 w 10505529"/>
              <a:gd name="connsiteY2200" fmla="*/ 7199459 h 7458372"/>
              <a:gd name="connsiteX2201" fmla="*/ 5717869 w 10505529"/>
              <a:gd name="connsiteY2201" fmla="*/ 7210908 h 7458372"/>
              <a:gd name="connsiteX2202" fmla="*/ 5715606 w 10505529"/>
              <a:gd name="connsiteY2202" fmla="*/ 7222622 h 7458372"/>
              <a:gd name="connsiteX2203" fmla="*/ 5709483 w 10505529"/>
              <a:gd name="connsiteY2203" fmla="*/ 7232074 h 7458372"/>
              <a:gd name="connsiteX2204" fmla="*/ 5700165 w 10505529"/>
              <a:gd name="connsiteY2204" fmla="*/ 7238331 h 7458372"/>
              <a:gd name="connsiteX2205" fmla="*/ 5688451 w 10505529"/>
              <a:gd name="connsiteY2205" fmla="*/ 7240594 h 7458372"/>
              <a:gd name="connsiteX2206" fmla="*/ 5666618 w 10505529"/>
              <a:gd name="connsiteY2206" fmla="*/ 7232207 h 7458372"/>
              <a:gd name="connsiteX2207" fmla="*/ 5658232 w 10505529"/>
              <a:gd name="connsiteY2207" fmla="*/ 7211040 h 7458372"/>
              <a:gd name="connsiteX2208" fmla="*/ 5666618 w 10505529"/>
              <a:gd name="connsiteY2208" fmla="*/ 7190009 h 7458372"/>
              <a:gd name="connsiteX2209" fmla="*/ 5688451 w 10505529"/>
              <a:gd name="connsiteY2209" fmla="*/ 7181489 h 7458372"/>
              <a:gd name="connsiteX2210" fmla="*/ 5470806 w 10505529"/>
              <a:gd name="connsiteY2210" fmla="*/ 7181489 h 7458372"/>
              <a:gd name="connsiteX2211" fmla="*/ 5482520 w 10505529"/>
              <a:gd name="connsiteY2211" fmla="*/ 7183752 h 7458372"/>
              <a:gd name="connsiteX2212" fmla="*/ 5491838 w 10505529"/>
              <a:gd name="connsiteY2212" fmla="*/ 7190141 h 7458372"/>
              <a:gd name="connsiteX2213" fmla="*/ 5497961 w 10505529"/>
              <a:gd name="connsiteY2213" fmla="*/ 7199459 h 7458372"/>
              <a:gd name="connsiteX2214" fmla="*/ 5500224 w 10505529"/>
              <a:gd name="connsiteY2214" fmla="*/ 7210908 h 7458372"/>
              <a:gd name="connsiteX2215" fmla="*/ 5497961 w 10505529"/>
              <a:gd name="connsiteY2215" fmla="*/ 7222622 h 7458372"/>
              <a:gd name="connsiteX2216" fmla="*/ 5491838 w 10505529"/>
              <a:gd name="connsiteY2216" fmla="*/ 7232074 h 7458372"/>
              <a:gd name="connsiteX2217" fmla="*/ 5482520 w 10505529"/>
              <a:gd name="connsiteY2217" fmla="*/ 7238331 h 7458372"/>
              <a:gd name="connsiteX2218" fmla="*/ 5470806 w 10505529"/>
              <a:gd name="connsiteY2218" fmla="*/ 7240594 h 7458372"/>
              <a:gd name="connsiteX2219" fmla="*/ 5448973 w 10505529"/>
              <a:gd name="connsiteY2219" fmla="*/ 7232207 h 7458372"/>
              <a:gd name="connsiteX2220" fmla="*/ 5440587 w 10505529"/>
              <a:gd name="connsiteY2220" fmla="*/ 7211040 h 7458372"/>
              <a:gd name="connsiteX2221" fmla="*/ 5448973 w 10505529"/>
              <a:gd name="connsiteY2221" fmla="*/ 7190009 h 7458372"/>
              <a:gd name="connsiteX2222" fmla="*/ 5470806 w 10505529"/>
              <a:gd name="connsiteY2222" fmla="*/ 7181489 h 7458372"/>
              <a:gd name="connsiteX2223" fmla="*/ 5253160 w 10505529"/>
              <a:gd name="connsiteY2223" fmla="*/ 7181489 h 7458372"/>
              <a:gd name="connsiteX2224" fmla="*/ 5264875 w 10505529"/>
              <a:gd name="connsiteY2224" fmla="*/ 7183752 h 7458372"/>
              <a:gd name="connsiteX2225" fmla="*/ 5274192 w 10505529"/>
              <a:gd name="connsiteY2225" fmla="*/ 7190141 h 7458372"/>
              <a:gd name="connsiteX2226" fmla="*/ 5280316 w 10505529"/>
              <a:gd name="connsiteY2226" fmla="*/ 7199459 h 7458372"/>
              <a:gd name="connsiteX2227" fmla="*/ 5282579 w 10505529"/>
              <a:gd name="connsiteY2227" fmla="*/ 7210908 h 7458372"/>
              <a:gd name="connsiteX2228" fmla="*/ 5280316 w 10505529"/>
              <a:gd name="connsiteY2228" fmla="*/ 7222622 h 7458372"/>
              <a:gd name="connsiteX2229" fmla="*/ 5274192 w 10505529"/>
              <a:gd name="connsiteY2229" fmla="*/ 7232074 h 7458372"/>
              <a:gd name="connsiteX2230" fmla="*/ 5264875 w 10505529"/>
              <a:gd name="connsiteY2230" fmla="*/ 7238331 h 7458372"/>
              <a:gd name="connsiteX2231" fmla="*/ 5253160 w 10505529"/>
              <a:gd name="connsiteY2231" fmla="*/ 7240594 h 7458372"/>
              <a:gd name="connsiteX2232" fmla="*/ 5231328 w 10505529"/>
              <a:gd name="connsiteY2232" fmla="*/ 7232207 h 7458372"/>
              <a:gd name="connsiteX2233" fmla="*/ 5222942 w 10505529"/>
              <a:gd name="connsiteY2233" fmla="*/ 7211040 h 7458372"/>
              <a:gd name="connsiteX2234" fmla="*/ 5231328 w 10505529"/>
              <a:gd name="connsiteY2234" fmla="*/ 7190009 h 7458372"/>
              <a:gd name="connsiteX2235" fmla="*/ 5253160 w 10505529"/>
              <a:gd name="connsiteY2235" fmla="*/ 7181489 h 7458372"/>
              <a:gd name="connsiteX2236" fmla="*/ 5035515 w 10505529"/>
              <a:gd name="connsiteY2236" fmla="*/ 7181489 h 7458372"/>
              <a:gd name="connsiteX2237" fmla="*/ 5047230 w 10505529"/>
              <a:gd name="connsiteY2237" fmla="*/ 7183752 h 7458372"/>
              <a:gd name="connsiteX2238" fmla="*/ 5056548 w 10505529"/>
              <a:gd name="connsiteY2238" fmla="*/ 7190141 h 7458372"/>
              <a:gd name="connsiteX2239" fmla="*/ 5062671 w 10505529"/>
              <a:gd name="connsiteY2239" fmla="*/ 7199459 h 7458372"/>
              <a:gd name="connsiteX2240" fmla="*/ 5064934 w 10505529"/>
              <a:gd name="connsiteY2240" fmla="*/ 7210908 h 7458372"/>
              <a:gd name="connsiteX2241" fmla="*/ 5062671 w 10505529"/>
              <a:gd name="connsiteY2241" fmla="*/ 7222622 h 7458372"/>
              <a:gd name="connsiteX2242" fmla="*/ 5056548 w 10505529"/>
              <a:gd name="connsiteY2242" fmla="*/ 7232074 h 7458372"/>
              <a:gd name="connsiteX2243" fmla="*/ 5047230 w 10505529"/>
              <a:gd name="connsiteY2243" fmla="*/ 7238331 h 7458372"/>
              <a:gd name="connsiteX2244" fmla="*/ 5035515 w 10505529"/>
              <a:gd name="connsiteY2244" fmla="*/ 7240594 h 7458372"/>
              <a:gd name="connsiteX2245" fmla="*/ 5013683 w 10505529"/>
              <a:gd name="connsiteY2245" fmla="*/ 7232207 h 7458372"/>
              <a:gd name="connsiteX2246" fmla="*/ 5005297 w 10505529"/>
              <a:gd name="connsiteY2246" fmla="*/ 7211040 h 7458372"/>
              <a:gd name="connsiteX2247" fmla="*/ 5013683 w 10505529"/>
              <a:gd name="connsiteY2247" fmla="*/ 7190009 h 7458372"/>
              <a:gd name="connsiteX2248" fmla="*/ 5035515 w 10505529"/>
              <a:gd name="connsiteY2248" fmla="*/ 7181489 h 7458372"/>
              <a:gd name="connsiteX2249" fmla="*/ 4817870 w 10505529"/>
              <a:gd name="connsiteY2249" fmla="*/ 7181489 h 7458372"/>
              <a:gd name="connsiteX2250" fmla="*/ 4829585 w 10505529"/>
              <a:gd name="connsiteY2250" fmla="*/ 7183752 h 7458372"/>
              <a:gd name="connsiteX2251" fmla="*/ 4838903 w 10505529"/>
              <a:gd name="connsiteY2251" fmla="*/ 7190141 h 7458372"/>
              <a:gd name="connsiteX2252" fmla="*/ 4845026 w 10505529"/>
              <a:gd name="connsiteY2252" fmla="*/ 7199459 h 7458372"/>
              <a:gd name="connsiteX2253" fmla="*/ 4847289 w 10505529"/>
              <a:gd name="connsiteY2253" fmla="*/ 7210908 h 7458372"/>
              <a:gd name="connsiteX2254" fmla="*/ 4845026 w 10505529"/>
              <a:gd name="connsiteY2254" fmla="*/ 7222622 h 7458372"/>
              <a:gd name="connsiteX2255" fmla="*/ 4838903 w 10505529"/>
              <a:gd name="connsiteY2255" fmla="*/ 7232074 h 7458372"/>
              <a:gd name="connsiteX2256" fmla="*/ 4829585 w 10505529"/>
              <a:gd name="connsiteY2256" fmla="*/ 7238331 h 7458372"/>
              <a:gd name="connsiteX2257" fmla="*/ 4817870 w 10505529"/>
              <a:gd name="connsiteY2257" fmla="*/ 7240594 h 7458372"/>
              <a:gd name="connsiteX2258" fmla="*/ 4796038 w 10505529"/>
              <a:gd name="connsiteY2258" fmla="*/ 7232207 h 7458372"/>
              <a:gd name="connsiteX2259" fmla="*/ 4787652 w 10505529"/>
              <a:gd name="connsiteY2259" fmla="*/ 7211040 h 7458372"/>
              <a:gd name="connsiteX2260" fmla="*/ 4796038 w 10505529"/>
              <a:gd name="connsiteY2260" fmla="*/ 7190009 h 7458372"/>
              <a:gd name="connsiteX2261" fmla="*/ 4817870 w 10505529"/>
              <a:gd name="connsiteY2261" fmla="*/ 7181489 h 7458372"/>
              <a:gd name="connsiteX2262" fmla="*/ 4600226 w 10505529"/>
              <a:gd name="connsiteY2262" fmla="*/ 7181489 h 7458372"/>
              <a:gd name="connsiteX2263" fmla="*/ 4612073 w 10505529"/>
              <a:gd name="connsiteY2263" fmla="*/ 7183752 h 7458372"/>
              <a:gd name="connsiteX2264" fmla="*/ 4621391 w 10505529"/>
              <a:gd name="connsiteY2264" fmla="*/ 7190141 h 7458372"/>
              <a:gd name="connsiteX2265" fmla="*/ 4627514 w 10505529"/>
              <a:gd name="connsiteY2265" fmla="*/ 7199459 h 7458372"/>
              <a:gd name="connsiteX2266" fmla="*/ 4629777 w 10505529"/>
              <a:gd name="connsiteY2266" fmla="*/ 7210908 h 7458372"/>
              <a:gd name="connsiteX2267" fmla="*/ 4627514 w 10505529"/>
              <a:gd name="connsiteY2267" fmla="*/ 7222622 h 7458372"/>
              <a:gd name="connsiteX2268" fmla="*/ 4621391 w 10505529"/>
              <a:gd name="connsiteY2268" fmla="*/ 7232074 h 7458372"/>
              <a:gd name="connsiteX2269" fmla="*/ 4612073 w 10505529"/>
              <a:gd name="connsiteY2269" fmla="*/ 7238331 h 7458372"/>
              <a:gd name="connsiteX2270" fmla="*/ 4600226 w 10505529"/>
              <a:gd name="connsiteY2270" fmla="*/ 7240594 h 7458372"/>
              <a:gd name="connsiteX2271" fmla="*/ 4578393 w 10505529"/>
              <a:gd name="connsiteY2271" fmla="*/ 7232207 h 7458372"/>
              <a:gd name="connsiteX2272" fmla="*/ 4570007 w 10505529"/>
              <a:gd name="connsiteY2272" fmla="*/ 7211040 h 7458372"/>
              <a:gd name="connsiteX2273" fmla="*/ 4578393 w 10505529"/>
              <a:gd name="connsiteY2273" fmla="*/ 7190009 h 7458372"/>
              <a:gd name="connsiteX2274" fmla="*/ 4600226 w 10505529"/>
              <a:gd name="connsiteY2274" fmla="*/ 7181489 h 7458372"/>
              <a:gd name="connsiteX2275" fmla="*/ 4382713 w 10505529"/>
              <a:gd name="connsiteY2275" fmla="*/ 7181489 h 7458372"/>
              <a:gd name="connsiteX2276" fmla="*/ 4394428 w 10505529"/>
              <a:gd name="connsiteY2276" fmla="*/ 7183752 h 7458372"/>
              <a:gd name="connsiteX2277" fmla="*/ 4403746 w 10505529"/>
              <a:gd name="connsiteY2277" fmla="*/ 7190141 h 7458372"/>
              <a:gd name="connsiteX2278" fmla="*/ 4409869 w 10505529"/>
              <a:gd name="connsiteY2278" fmla="*/ 7199459 h 7458372"/>
              <a:gd name="connsiteX2279" fmla="*/ 4412132 w 10505529"/>
              <a:gd name="connsiteY2279" fmla="*/ 7210908 h 7458372"/>
              <a:gd name="connsiteX2280" fmla="*/ 4409869 w 10505529"/>
              <a:gd name="connsiteY2280" fmla="*/ 7222622 h 7458372"/>
              <a:gd name="connsiteX2281" fmla="*/ 4403746 w 10505529"/>
              <a:gd name="connsiteY2281" fmla="*/ 7232074 h 7458372"/>
              <a:gd name="connsiteX2282" fmla="*/ 4394428 w 10505529"/>
              <a:gd name="connsiteY2282" fmla="*/ 7238331 h 7458372"/>
              <a:gd name="connsiteX2283" fmla="*/ 4382713 w 10505529"/>
              <a:gd name="connsiteY2283" fmla="*/ 7240594 h 7458372"/>
              <a:gd name="connsiteX2284" fmla="*/ 4360881 w 10505529"/>
              <a:gd name="connsiteY2284" fmla="*/ 7232207 h 7458372"/>
              <a:gd name="connsiteX2285" fmla="*/ 4352495 w 10505529"/>
              <a:gd name="connsiteY2285" fmla="*/ 7211040 h 7458372"/>
              <a:gd name="connsiteX2286" fmla="*/ 4360881 w 10505529"/>
              <a:gd name="connsiteY2286" fmla="*/ 7190009 h 7458372"/>
              <a:gd name="connsiteX2287" fmla="*/ 4382713 w 10505529"/>
              <a:gd name="connsiteY2287" fmla="*/ 7181489 h 7458372"/>
              <a:gd name="connsiteX2288" fmla="*/ 4165068 w 10505529"/>
              <a:gd name="connsiteY2288" fmla="*/ 7181489 h 7458372"/>
              <a:gd name="connsiteX2289" fmla="*/ 4176782 w 10505529"/>
              <a:gd name="connsiteY2289" fmla="*/ 7183752 h 7458372"/>
              <a:gd name="connsiteX2290" fmla="*/ 4186100 w 10505529"/>
              <a:gd name="connsiteY2290" fmla="*/ 7190141 h 7458372"/>
              <a:gd name="connsiteX2291" fmla="*/ 4192223 w 10505529"/>
              <a:gd name="connsiteY2291" fmla="*/ 7199459 h 7458372"/>
              <a:gd name="connsiteX2292" fmla="*/ 4194486 w 10505529"/>
              <a:gd name="connsiteY2292" fmla="*/ 7210908 h 7458372"/>
              <a:gd name="connsiteX2293" fmla="*/ 4192223 w 10505529"/>
              <a:gd name="connsiteY2293" fmla="*/ 7222622 h 7458372"/>
              <a:gd name="connsiteX2294" fmla="*/ 4186100 w 10505529"/>
              <a:gd name="connsiteY2294" fmla="*/ 7232074 h 7458372"/>
              <a:gd name="connsiteX2295" fmla="*/ 4176782 w 10505529"/>
              <a:gd name="connsiteY2295" fmla="*/ 7238331 h 7458372"/>
              <a:gd name="connsiteX2296" fmla="*/ 4165068 w 10505529"/>
              <a:gd name="connsiteY2296" fmla="*/ 7240594 h 7458372"/>
              <a:gd name="connsiteX2297" fmla="*/ 4143235 w 10505529"/>
              <a:gd name="connsiteY2297" fmla="*/ 7232207 h 7458372"/>
              <a:gd name="connsiteX2298" fmla="*/ 4134849 w 10505529"/>
              <a:gd name="connsiteY2298" fmla="*/ 7211040 h 7458372"/>
              <a:gd name="connsiteX2299" fmla="*/ 4143235 w 10505529"/>
              <a:gd name="connsiteY2299" fmla="*/ 7190009 h 7458372"/>
              <a:gd name="connsiteX2300" fmla="*/ 4165068 w 10505529"/>
              <a:gd name="connsiteY2300" fmla="*/ 7181489 h 7458372"/>
              <a:gd name="connsiteX2301" fmla="*/ 3947814 w 10505529"/>
              <a:gd name="connsiteY2301" fmla="*/ 7181489 h 7458372"/>
              <a:gd name="connsiteX2302" fmla="*/ 3959533 w 10505529"/>
              <a:gd name="connsiteY2302" fmla="*/ 7183752 h 7458372"/>
              <a:gd name="connsiteX2303" fmla="*/ 3968851 w 10505529"/>
              <a:gd name="connsiteY2303" fmla="*/ 7190141 h 7458372"/>
              <a:gd name="connsiteX2304" fmla="*/ 3974975 w 10505529"/>
              <a:gd name="connsiteY2304" fmla="*/ 7199459 h 7458372"/>
              <a:gd name="connsiteX2305" fmla="*/ 3977239 w 10505529"/>
              <a:gd name="connsiteY2305" fmla="*/ 7210908 h 7458372"/>
              <a:gd name="connsiteX2306" fmla="*/ 3974975 w 10505529"/>
              <a:gd name="connsiteY2306" fmla="*/ 7222622 h 7458372"/>
              <a:gd name="connsiteX2307" fmla="*/ 3968851 w 10505529"/>
              <a:gd name="connsiteY2307" fmla="*/ 7232074 h 7458372"/>
              <a:gd name="connsiteX2308" fmla="*/ 3959533 w 10505529"/>
              <a:gd name="connsiteY2308" fmla="*/ 7238331 h 7458372"/>
              <a:gd name="connsiteX2309" fmla="*/ 3947814 w 10505529"/>
              <a:gd name="connsiteY2309" fmla="*/ 7240594 h 7458372"/>
              <a:gd name="connsiteX2310" fmla="*/ 3925981 w 10505529"/>
              <a:gd name="connsiteY2310" fmla="*/ 7232207 h 7458372"/>
              <a:gd name="connsiteX2311" fmla="*/ 3917595 w 10505529"/>
              <a:gd name="connsiteY2311" fmla="*/ 7211040 h 7458372"/>
              <a:gd name="connsiteX2312" fmla="*/ 3925981 w 10505529"/>
              <a:gd name="connsiteY2312" fmla="*/ 7190009 h 7458372"/>
              <a:gd name="connsiteX2313" fmla="*/ 3947814 w 10505529"/>
              <a:gd name="connsiteY2313" fmla="*/ 7181489 h 7458372"/>
              <a:gd name="connsiteX2314" fmla="*/ 3730152 w 10505529"/>
              <a:gd name="connsiteY2314" fmla="*/ 7181489 h 7458372"/>
              <a:gd name="connsiteX2315" fmla="*/ 3741867 w 10505529"/>
              <a:gd name="connsiteY2315" fmla="*/ 7183752 h 7458372"/>
              <a:gd name="connsiteX2316" fmla="*/ 3751186 w 10505529"/>
              <a:gd name="connsiteY2316" fmla="*/ 7190141 h 7458372"/>
              <a:gd name="connsiteX2317" fmla="*/ 3757309 w 10505529"/>
              <a:gd name="connsiteY2317" fmla="*/ 7199459 h 7458372"/>
              <a:gd name="connsiteX2318" fmla="*/ 3759572 w 10505529"/>
              <a:gd name="connsiteY2318" fmla="*/ 7210908 h 7458372"/>
              <a:gd name="connsiteX2319" fmla="*/ 3757309 w 10505529"/>
              <a:gd name="connsiteY2319" fmla="*/ 7222622 h 7458372"/>
              <a:gd name="connsiteX2320" fmla="*/ 3751186 w 10505529"/>
              <a:gd name="connsiteY2320" fmla="*/ 7232074 h 7458372"/>
              <a:gd name="connsiteX2321" fmla="*/ 3741867 w 10505529"/>
              <a:gd name="connsiteY2321" fmla="*/ 7238331 h 7458372"/>
              <a:gd name="connsiteX2322" fmla="*/ 3730152 w 10505529"/>
              <a:gd name="connsiteY2322" fmla="*/ 7240594 h 7458372"/>
              <a:gd name="connsiteX2323" fmla="*/ 3708309 w 10505529"/>
              <a:gd name="connsiteY2323" fmla="*/ 7232207 h 7458372"/>
              <a:gd name="connsiteX2324" fmla="*/ 3699922 w 10505529"/>
              <a:gd name="connsiteY2324" fmla="*/ 7211040 h 7458372"/>
              <a:gd name="connsiteX2325" fmla="*/ 3708309 w 10505529"/>
              <a:gd name="connsiteY2325" fmla="*/ 7190009 h 7458372"/>
              <a:gd name="connsiteX2326" fmla="*/ 3730152 w 10505529"/>
              <a:gd name="connsiteY2326" fmla="*/ 7181489 h 7458372"/>
              <a:gd name="connsiteX2327" fmla="*/ 3512486 w 10505529"/>
              <a:gd name="connsiteY2327" fmla="*/ 7181489 h 7458372"/>
              <a:gd name="connsiteX2328" fmla="*/ 3524202 w 10505529"/>
              <a:gd name="connsiteY2328" fmla="*/ 7183752 h 7458372"/>
              <a:gd name="connsiteX2329" fmla="*/ 3533520 w 10505529"/>
              <a:gd name="connsiteY2329" fmla="*/ 7190141 h 7458372"/>
              <a:gd name="connsiteX2330" fmla="*/ 3539643 w 10505529"/>
              <a:gd name="connsiteY2330" fmla="*/ 7199459 h 7458372"/>
              <a:gd name="connsiteX2331" fmla="*/ 3541906 w 10505529"/>
              <a:gd name="connsiteY2331" fmla="*/ 7210908 h 7458372"/>
              <a:gd name="connsiteX2332" fmla="*/ 3539643 w 10505529"/>
              <a:gd name="connsiteY2332" fmla="*/ 7222622 h 7458372"/>
              <a:gd name="connsiteX2333" fmla="*/ 3533520 w 10505529"/>
              <a:gd name="connsiteY2333" fmla="*/ 7232074 h 7458372"/>
              <a:gd name="connsiteX2334" fmla="*/ 3524202 w 10505529"/>
              <a:gd name="connsiteY2334" fmla="*/ 7238331 h 7458372"/>
              <a:gd name="connsiteX2335" fmla="*/ 3512486 w 10505529"/>
              <a:gd name="connsiteY2335" fmla="*/ 7240594 h 7458372"/>
              <a:gd name="connsiteX2336" fmla="*/ 3490647 w 10505529"/>
              <a:gd name="connsiteY2336" fmla="*/ 7232207 h 7458372"/>
              <a:gd name="connsiteX2337" fmla="*/ 3482261 w 10505529"/>
              <a:gd name="connsiteY2337" fmla="*/ 7211040 h 7458372"/>
              <a:gd name="connsiteX2338" fmla="*/ 3490647 w 10505529"/>
              <a:gd name="connsiteY2338" fmla="*/ 7190009 h 7458372"/>
              <a:gd name="connsiteX2339" fmla="*/ 3512486 w 10505529"/>
              <a:gd name="connsiteY2339" fmla="*/ 7181489 h 7458372"/>
              <a:gd name="connsiteX2340" fmla="*/ 3294953 w 10505529"/>
              <a:gd name="connsiteY2340" fmla="*/ 7181489 h 7458372"/>
              <a:gd name="connsiteX2341" fmla="*/ 3306669 w 10505529"/>
              <a:gd name="connsiteY2341" fmla="*/ 7183752 h 7458372"/>
              <a:gd name="connsiteX2342" fmla="*/ 3315987 w 10505529"/>
              <a:gd name="connsiteY2342" fmla="*/ 7190141 h 7458372"/>
              <a:gd name="connsiteX2343" fmla="*/ 3322111 w 10505529"/>
              <a:gd name="connsiteY2343" fmla="*/ 7199459 h 7458372"/>
              <a:gd name="connsiteX2344" fmla="*/ 3324374 w 10505529"/>
              <a:gd name="connsiteY2344" fmla="*/ 7210908 h 7458372"/>
              <a:gd name="connsiteX2345" fmla="*/ 3322111 w 10505529"/>
              <a:gd name="connsiteY2345" fmla="*/ 7222622 h 7458372"/>
              <a:gd name="connsiteX2346" fmla="*/ 3315987 w 10505529"/>
              <a:gd name="connsiteY2346" fmla="*/ 7232074 h 7458372"/>
              <a:gd name="connsiteX2347" fmla="*/ 3306669 w 10505529"/>
              <a:gd name="connsiteY2347" fmla="*/ 7238331 h 7458372"/>
              <a:gd name="connsiteX2348" fmla="*/ 3294953 w 10505529"/>
              <a:gd name="connsiteY2348" fmla="*/ 7240594 h 7458372"/>
              <a:gd name="connsiteX2349" fmla="*/ 3273113 w 10505529"/>
              <a:gd name="connsiteY2349" fmla="*/ 7232207 h 7458372"/>
              <a:gd name="connsiteX2350" fmla="*/ 3264725 w 10505529"/>
              <a:gd name="connsiteY2350" fmla="*/ 7211040 h 7458372"/>
              <a:gd name="connsiteX2351" fmla="*/ 3273113 w 10505529"/>
              <a:gd name="connsiteY2351" fmla="*/ 7190009 h 7458372"/>
              <a:gd name="connsiteX2352" fmla="*/ 3294953 w 10505529"/>
              <a:gd name="connsiteY2352" fmla="*/ 7181489 h 7458372"/>
              <a:gd name="connsiteX2353" fmla="*/ 3077288 w 10505529"/>
              <a:gd name="connsiteY2353" fmla="*/ 7181489 h 7458372"/>
              <a:gd name="connsiteX2354" fmla="*/ 3089004 w 10505529"/>
              <a:gd name="connsiteY2354" fmla="*/ 7183752 h 7458372"/>
              <a:gd name="connsiteX2355" fmla="*/ 3098322 w 10505529"/>
              <a:gd name="connsiteY2355" fmla="*/ 7190141 h 7458372"/>
              <a:gd name="connsiteX2356" fmla="*/ 3104445 w 10505529"/>
              <a:gd name="connsiteY2356" fmla="*/ 7199459 h 7458372"/>
              <a:gd name="connsiteX2357" fmla="*/ 3106708 w 10505529"/>
              <a:gd name="connsiteY2357" fmla="*/ 7210908 h 7458372"/>
              <a:gd name="connsiteX2358" fmla="*/ 3104445 w 10505529"/>
              <a:gd name="connsiteY2358" fmla="*/ 7222622 h 7458372"/>
              <a:gd name="connsiteX2359" fmla="*/ 3098322 w 10505529"/>
              <a:gd name="connsiteY2359" fmla="*/ 7232074 h 7458372"/>
              <a:gd name="connsiteX2360" fmla="*/ 3089004 w 10505529"/>
              <a:gd name="connsiteY2360" fmla="*/ 7238331 h 7458372"/>
              <a:gd name="connsiteX2361" fmla="*/ 3077288 w 10505529"/>
              <a:gd name="connsiteY2361" fmla="*/ 7240594 h 7458372"/>
              <a:gd name="connsiteX2362" fmla="*/ 3055448 w 10505529"/>
              <a:gd name="connsiteY2362" fmla="*/ 7232207 h 7458372"/>
              <a:gd name="connsiteX2363" fmla="*/ 3047061 w 10505529"/>
              <a:gd name="connsiteY2363" fmla="*/ 7211040 h 7458372"/>
              <a:gd name="connsiteX2364" fmla="*/ 3055448 w 10505529"/>
              <a:gd name="connsiteY2364" fmla="*/ 7190009 h 7458372"/>
              <a:gd name="connsiteX2365" fmla="*/ 3077288 w 10505529"/>
              <a:gd name="connsiteY2365" fmla="*/ 7181489 h 7458372"/>
              <a:gd name="connsiteX2366" fmla="*/ 2859623 w 10505529"/>
              <a:gd name="connsiteY2366" fmla="*/ 7181489 h 7458372"/>
              <a:gd name="connsiteX2367" fmla="*/ 2871471 w 10505529"/>
              <a:gd name="connsiteY2367" fmla="*/ 7183752 h 7458372"/>
              <a:gd name="connsiteX2368" fmla="*/ 2880789 w 10505529"/>
              <a:gd name="connsiteY2368" fmla="*/ 7190141 h 7458372"/>
              <a:gd name="connsiteX2369" fmla="*/ 2886912 w 10505529"/>
              <a:gd name="connsiteY2369" fmla="*/ 7199459 h 7458372"/>
              <a:gd name="connsiteX2370" fmla="*/ 2889175 w 10505529"/>
              <a:gd name="connsiteY2370" fmla="*/ 7210908 h 7458372"/>
              <a:gd name="connsiteX2371" fmla="*/ 2886912 w 10505529"/>
              <a:gd name="connsiteY2371" fmla="*/ 7222622 h 7458372"/>
              <a:gd name="connsiteX2372" fmla="*/ 2880789 w 10505529"/>
              <a:gd name="connsiteY2372" fmla="*/ 7232074 h 7458372"/>
              <a:gd name="connsiteX2373" fmla="*/ 2871471 w 10505529"/>
              <a:gd name="connsiteY2373" fmla="*/ 7238331 h 7458372"/>
              <a:gd name="connsiteX2374" fmla="*/ 2859623 w 10505529"/>
              <a:gd name="connsiteY2374" fmla="*/ 7240594 h 7458372"/>
              <a:gd name="connsiteX2375" fmla="*/ 2837782 w 10505529"/>
              <a:gd name="connsiteY2375" fmla="*/ 7232207 h 7458372"/>
              <a:gd name="connsiteX2376" fmla="*/ 2829395 w 10505529"/>
              <a:gd name="connsiteY2376" fmla="*/ 7211040 h 7458372"/>
              <a:gd name="connsiteX2377" fmla="*/ 2837782 w 10505529"/>
              <a:gd name="connsiteY2377" fmla="*/ 7190009 h 7458372"/>
              <a:gd name="connsiteX2378" fmla="*/ 2859623 w 10505529"/>
              <a:gd name="connsiteY2378" fmla="*/ 7181489 h 7458372"/>
              <a:gd name="connsiteX2379" fmla="*/ 2641957 w 10505529"/>
              <a:gd name="connsiteY2379" fmla="*/ 7181489 h 7458372"/>
              <a:gd name="connsiteX2380" fmla="*/ 2653672 w 10505529"/>
              <a:gd name="connsiteY2380" fmla="*/ 7183752 h 7458372"/>
              <a:gd name="connsiteX2381" fmla="*/ 2662990 w 10505529"/>
              <a:gd name="connsiteY2381" fmla="*/ 7190141 h 7458372"/>
              <a:gd name="connsiteX2382" fmla="*/ 2669114 w 10505529"/>
              <a:gd name="connsiteY2382" fmla="*/ 7199459 h 7458372"/>
              <a:gd name="connsiteX2383" fmla="*/ 2671377 w 10505529"/>
              <a:gd name="connsiteY2383" fmla="*/ 7210908 h 7458372"/>
              <a:gd name="connsiteX2384" fmla="*/ 2669114 w 10505529"/>
              <a:gd name="connsiteY2384" fmla="*/ 7222622 h 7458372"/>
              <a:gd name="connsiteX2385" fmla="*/ 2662990 w 10505529"/>
              <a:gd name="connsiteY2385" fmla="*/ 7232074 h 7458372"/>
              <a:gd name="connsiteX2386" fmla="*/ 2653672 w 10505529"/>
              <a:gd name="connsiteY2386" fmla="*/ 7238331 h 7458372"/>
              <a:gd name="connsiteX2387" fmla="*/ 2641957 w 10505529"/>
              <a:gd name="connsiteY2387" fmla="*/ 7240594 h 7458372"/>
              <a:gd name="connsiteX2388" fmla="*/ 2620122 w 10505529"/>
              <a:gd name="connsiteY2388" fmla="*/ 7232207 h 7458372"/>
              <a:gd name="connsiteX2389" fmla="*/ 2611732 w 10505529"/>
              <a:gd name="connsiteY2389" fmla="*/ 7211040 h 7458372"/>
              <a:gd name="connsiteX2390" fmla="*/ 2620122 w 10505529"/>
              <a:gd name="connsiteY2390" fmla="*/ 7190009 h 7458372"/>
              <a:gd name="connsiteX2391" fmla="*/ 2641957 w 10505529"/>
              <a:gd name="connsiteY2391" fmla="*/ 7181489 h 7458372"/>
              <a:gd name="connsiteX2392" fmla="*/ 2424291 w 10505529"/>
              <a:gd name="connsiteY2392" fmla="*/ 7181489 h 7458372"/>
              <a:gd name="connsiteX2393" fmla="*/ 2436006 w 10505529"/>
              <a:gd name="connsiteY2393" fmla="*/ 7183752 h 7458372"/>
              <a:gd name="connsiteX2394" fmla="*/ 2445324 w 10505529"/>
              <a:gd name="connsiteY2394" fmla="*/ 7190141 h 7458372"/>
              <a:gd name="connsiteX2395" fmla="*/ 2451448 w 10505529"/>
              <a:gd name="connsiteY2395" fmla="*/ 7199459 h 7458372"/>
              <a:gd name="connsiteX2396" fmla="*/ 2453711 w 10505529"/>
              <a:gd name="connsiteY2396" fmla="*/ 7210908 h 7458372"/>
              <a:gd name="connsiteX2397" fmla="*/ 2451448 w 10505529"/>
              <a:gd name="connsiteY2397" fmla="*/ 7222622 h 7458372"/>
              <a:gd name="connsiteX2398" fmla="*/ 2445324 w 10505529"/>
              <a:gd name="connsiteY2398" fmla="*/ 7232074 h 7458372"/>
              <a:gd name="connsiteX2399" fmla="*/ 2436006 w 10505529"/>
              <a:gd name="connsiteY2399" fmla="*/ 7238331 h 7458372"/>
              <a:gd name="connsiteX2400" fmla="*/ 2424291 w 10505529"/>
              <a:gd name="connsiteY2400" fmla="*/ 7240594 h 7458372"/>
              <a:gd name="connsiteX2401" fmla="*/ 2402459 w 10505529"/>
              <a:gd name="connsiteY2401" fmla="*/ 7232207 h 7458372"/>
              <a:gd name="connsiteX2402" fmla="*/ 2394068 w 10505529"/>
              <a:gd name="connsiteY2402" fmla="*/ 7211040 h 7458372"/>
              <a:gd name="connsiteX2403" fmla="*/ 2402459 w 10505529"/>
              <a:gd name="connsiteY2403" fmla="*/ 7190009 h 7458372"/>
              <a:gd name="connsiteX2404" fmla="*/ 2424291 w 10505529"/>
              <a:gd name="connsiteY2404" fmla="*/ 7181489 h 7458372"/>
              <a:gd name="connsiteX2405" fmla="*/ 2206625 w 10505529"/>
              <a:gd name="connsiteY2405" fmla="*/ 7181489 h 7458372"/>
              <a:gd name="connsiteX2406" fmla="*/ 2218340 w 10505529"/>
              <a:gd name="connsiteY2406" fmla="*/ 7183752 h 7458372"/>
              <a:gd name="connsiteX2407" fmla="*/ 2227659 w 10505529"/>
              <a:gd name="connsiteY2407" fmla="*/ 7190141 h 7458372"/>
              <a:gd name="connsiteX2408" fmla="*/ 2233782 w 10505529"/>
              <a:gd name="connsiteY2408" fmla="*/ 7199459 h 7458372"/>
              <a:gd name="connsiteX2409" fmla="*/ 2236045 w 10505529"/>
              <a:gd name="connsiteY2409" fmla="*/ 7210908 h 7458372"/>
              <a:gd name="connsiteX2410" fmla="*/ 2233782 w 10505529"/>
              <a:gd name="connsiteY2410" fmla="*/ 7222622 h 7458372"/>
              <a:gd name="connsiteX2411" fmla="*/ 2227659 w 10505529"/>
              <a:gd name="connsiteY2411" fmla="*/ 7232074 h 7458372"/>
              <a:gd name="connsiteX2412" fmla="*/ 2218340 w 10505529"/>
              <a:gd name="connsiteY2412" fmla="*/ 7238331 h 7458372"/>
              <a:gd name="connsiteX2413" fmla="*/ 2206625 w 10505529"/>
              <a:gd name="connsiteY2413" fmla="*/ 7240594 h 7458372"/>
              <a:gd name="connsiteX2414" fmla="*/ 2184792 w 10505529"/>
              <a:gd name="connsiteY2414" fmla="*/ 7232207 h 7458372"/>
              <a:gd name="connsiteX2415" fmla="*/ 2176403 w 10505529"/>
              <a:gd name="connsiteY2415" fmla="*/ 7211040 h 7458372"/>
              <a:gd name="connsiteX2416" fmla="*/ 2184792 w 10505529"/>
              <a:gd name="connsiteY2416" fmla="*/ 7190009 h 7458372"/>
              <a:gd name="connsiteX2417" fmla="*/ 2206625 w 10505529"/>
              <a:gd name="connsiteY2417" fmla="*/ 7181489 h 7458372"/>
              <a:gd name="connsiteX2418" fmla="*/ 1989092 w 10505529"/>
              <a:gd name="connsiteY2418" fmla="*/ 7181489 h 7458372"/>
              <a:gd name="connsiteX2419" fmla="*/ 2000808 w 10505529"/>
              <a:gd name="connsiteY2419" fmla="*/ 7183752 h 7458372"/>
              <a:gd name="connsiteX2420" fmla="*/ 2010126 w 10505529"/>
              <a:gd name="connsiteY2420" fmla="*/ 7190141 h 7458372"/>
              <a:gd name="connsiteX2421" fmla="*/ 2016249 w 10505529"/>
              <a:gd name="connsiteY2421" fmla="*/ 7199459 h 7458372"/>
              <a:gd name="connsiteX2422" fmla="*/ 2018512 w 10505529"/>
              <a:gd name="connsiteY2422" fmla="*/ 7210908 h 7458372"/>
              <a:gd name="connsiteX2423" fmla="*/ 2016249 w 10505529"/>
              <a:gd name="connsiteY2423" fmla="*/ 7222622 h 7458372"/>
              <a:gd name="connsiteX2424" fmla="*/ 2010126 w 10505529"/>
              <a:gd name="connsiteY2424" fmla="*/ 7232074 h 7458372"/>
              <a:gd name="connsiteX2425" fmla="*/ 2000808 w 10505529"/>
              <a:gd name="connsiteY2425" fmla="*/ 7238331 h 7458372"/>
              <a:gd name="connsiteX2426" fmla="*/ 1989092 w 10505529"/>
              <a:gd name="connsiteY2426" fmla="*/ 7240594 h 7458372"/>
              <a:gd name="connsiteX2427" fmla="*/ 1967261 w 10505529"/>
              <a:gd name="connsiteY2427" fmla="*/ 7232207 h 7458372"/>
              <a:gd name="connsiteX2428" fmla="*/ 1958875 w 10505529"/>
              <a:gd name="connsiteY2428" fmla="*/ 7211040 h 7458372"/>
              <a:gd name="connsiteX2429" fmla="*/ 1967261 w 10505529"/>
              <a:gd name="connsiteY2429" fmla="*/ 7190009 h 7458372"/>
              <a:gd name="connsiteX2430" fmla="*/ 1989092 w 10505529"/>
              <a:gd name="connsiteY2430" fmla="*/ 7181489 h 7458372"/>
              <a:gd name="connsiteX2431" fmla="*/ 1771462 w 10505529"/>
              <a:gd name="connsiteY2431" fmla="*/ 7181489 h 7458372"/>
              <a:gd name="connsiteX2432" fmla="*/ 1783175 w 10505529"/>
              <a:gd name="connsiteY2432" fmla="*/ 7183752 h 7458372"/>
              <a:gd name="connsiteX2433" fmla="*/ 1792493 w 10505529"/>
              <a:gd name="connsiteY2433" fmla="*/ 7190141 h 7458372"/>
              <a:gd name="connsiteX2434" fmla="*/ 1798616 w 10505529"/>
              <a:gd name="connsiteY2434" fmla="*/ 7199459 h 7458372"/>
              <a:gd name="connsiteX2435" fmla="*/ 1800879 w 10505529"/>
              <a:gd name="connsiteY2435" fmla="*/ 7210908 h 7458372"/>
              <a:gd name="connsiteX2436" fmla="*/ 1798616 w 10505529"/>
              <a:gd name="connsiteY2436" fmla="*/ 7222622 h 7458372"/>
              <a:gd name="connsiteX2437" fmla="*/ 1792493 w 10505529"/>
              <a:gd name="connsiteY2437" fmla="*/ 7232074 h 7458372"/>
              <a:gd name="connsiteX2438" fmla="*/ 1783175 w 10505529"/>
              <a:gd name="connsiteY2438" fmla="*/ 7238331 h 7458372"/>
              <a:gd name="connsiteX2439" fmla="*/ 1771462 w 10505529"/>
              <a:gd name="connsiteY2439" fmla="*/ 7240594 h 7458372"/>
              <a:gd name="connsiteX2440" fmla="*/ 1749633 w 10505529"/>
              <a:gd name="connsiteY2440" fmla="*/ 7232207 h 7458372"/>
              <a:gd name="connsiteX2441" fmla="*/ 1741251 w 10505529"/>
              <a:gd name="connsiteY2441" fmla="*/ 7211040 h 7458372"/>
              <a:gd name="connsiteX2442" fmla="*/ 1749633 w 10505529"/>
              <a:gd name="connsiteY2442" fmla="*/ 7190009 h 7458372"/>
              <a:gd name="connsiteX2443" fmla="*/ 1771462 w 10505529"/>
              <a:gd name="connsiteY2443" fmla="*/ 7181489 h 7458372"/>
              <a:gd name="connsiteX2444" fmla="*/ 1553827 w 10505529"/>
              <a:gd name="connsiteY2444" fmla="*/ 7181489 h 7458372"/>
              <a:gd name="connsiteX2445" fmla="*/ 1565542 w 10505529"/>
              <a:gd name="connsiteY2445" fmla="*/ 7183752 h 7458372"/>
              <a:gd name="connsiteX2446" fmla="*/ 1574861 w 10505529"/>
              <a:gd name="connsiteY2446" fmla="*/ 7190141 h 7458372"/>
              <a:gd name="connsiteX2447" fmla="*/ 1580983 w 10505529"/>
              <a:gd name="connsiteY2447" fmla="*/ 7199459 h 7458372"/>
              <a:gd name="connsiteX2448" fmla="*/ 1583246 w 10505529"/>
              <a:gd name="connsiteY2448" fmla="*/ 7210908 h 7458372"/>
              <a:gd name="connsiteX2449" fmla="*/ 1580983 w 10505529"/>
              <a:gd name="connsiteY2449" fmla="*/ 7222622 h 7458372"/>
              <a:gd name="connsiteX2450" fmla="*/ 1574861 w 10505529"/>
              <a:gd name="connsiteY2450" fmla="*/ 7232074 h 7458372"/>
              <a:gd name="connsiteX2451" fmla="*/ 1565542 w 10505529"/>
              <a:gd name="connsiteY2451" fmla="*/ 7238331 h 7458372"/>
              <a:gd name="connsiteX2452" fmla="*/ 1553827 w 10505529"/>
              <a:gd name="connsiteY2452" fmla="*/ 7240594 h 7458372"/>
              <a:gd name="connsiteX2453" fmla="*/ 1531999 w 10505529"/>
              <a:gd name="connsiteY2453" fmla="*/ 7232207 h 7458372"/>
              <a:gd name="connsiteX2454" fmla="*/ 1523613 w 10505529"/>
              <a:gd name="connsiteY2454" fmla="*/ 7211040 h 7458372"/>
              <a:gd name="connsiteX2455" fmla="*/ 1531999 w 10505529"/>
              <a:gd name="connsiteY2455" fmla="*/ 7190009 h 7458372"/>
              <a:gd name="connsiteX2456" fmla="*/ 1553827 w 10505529"/>
              <a:gd name="connsiteY2456" fmla="*/ 7181489 h 7458372"/>
              <a:gd name="connsiteX2457" fmla="*/ 1336184 w 10505529"/>
              <a:gd name="connsiteY2457" fmla="*/ 7181489 h 7458372"/>
              <a:gd name="connsiteX2458" fmla="*/ 1347900 w 10505529"/>
              <a:gd name="connsiteY2458" fmla="*/ 7183752 h 7458372"/>
              <a:gd name="connsiteX2459" fmla="*/ 1357218 w 10505529"/>
              <a:gd name="connsiteY2459" fmla="*/ 7190141 h 7458372"/>
              <a:gd name="connsiteX2460" fmla="*/ 1363341 w 10505529"/>
              <a:gd name="connsiteY2460" fmla="*/ 7199459 h 7458372"/>
              <a:gd name="connsiteX2461" fmla="*/ 1365603 w 10505529"/>
              <a:gd name="connsiteY2461" fmla="*/ 7210908 h 7458372"/>
              <a:gd name="connsiteX2462" fmla="*/ 1363341 w 10505529"/>
              <a:gd name="connsiteY2462" fmla="*/ 7222622 h 7458372"/>
              <a:gd name="connsiteX2463" fmla="*/ 1357218 w 10505529"/>
              <a:gd name="connsiteY2463" fmla="*/ 7232074 h 7458372"/>
              <a:gd name="connsiteX2464" fmla="*/ 1347900 w 10505529"/>
              <a:gd name="connsiteY2464" fmla="*/ 7238331 h 7458372"/>
              <a:gd name="connsiteX2465" fmla="*/ 1336184 w 10505529"/>
              <a:gd name="connsiteY2465" fmla="*/ 7240594 h 7458372"/>
              <a:gd name="connsiteX2466" fmla="*/ 1314351 w 10505529"/>
              <a:gd name="connsiteY2466" fmla="*/ 7232207 h 7458372"/>
              <a:gd name="connsiteX2467" fmla="*/ 1305966 w 10505529"/>
              <a:gd name="connsiteY2467" fmla="*/ 7211040 h 7458372"/>
              <a:gd name="connsiteX2468" fmla="*/ 1314351 w 10505529"/>
              <a:gd name="connsiteY2468" fmla="*/ 7190009 h 7458372"/>
              <a:gd name="connsiteX2469" fmla="*/ 1336184 w 10505529"/>
              <a:gd name="connsiteY2469" fmla="*/ 7181489 h 7458372"/>
              <a:gd name="connsiteX2470" fmla="*/ 1118539 w 10505529"/>
              <a:gd name="connsiteY2470" fmla="*/ 7181489 h 7458372"/>
              <a:gd name="connsiteX2471" fmla="*/ 1130258 w 10505529"/>
              <a:gd name="connsiteY2471" fmla="*/ 7183752 h 7458372"/>
              <a:gd name="connsiteX2472" fmla="*/ 1139572 w 10505529"/>
              <a:gd name="connsiteY2472" fmla="*/ 7190141 h 7458372"/>
              <a:gd name="connsiteX2473" fmla="*/ 1145691 w 10505529"/>
              <a:gd name="connsiteY2473" fmla="*/ 7199459 h 7458372"/>
              <a:gd name="connsiteX2474" fmla="*/ 1147954 w 10505529"/>
              <a:gd name="connsiteY2474" fmla="*/ 7210908 h 7458372"/>
              <a:gd name="connsiteX2475" fmla="*/ 1145691 w 10505529"/>
              <a:gd name="connsiteY2475" fmla="*/ 7222622 h 7458372"/>
              <a:gd name="connsiteX2476" fmla="*/ 1139572 w 10505529"/>
              <a:gd name="connsiteY2476" fmla="*/ 7232074 h 7458372"/>
              <a:gd name="connsiteX2477" fmla="*/ 1130258 w 10505529"/>
              <a:gd name="connsiteY2477" fmla="*/ 7238331 h 7458372"/>
              <a:gd name="connsiteX2478" fmla="*/ 1118539 w 10505529"/>
              <a:gd name="connsiteY2478" fmla="*/ 7240594 h 7458372"/>
              <a:gd name="connsiteX2479" fmla="*/ 1096703 w 10505529"/>
              <a:gd name="connsiteY2479" fmla="*/ 7232207 h 7458372"/>
              <a:gd name="connsiteX2480" fmla="*/ 1088318 w 10505529"/>
              <a:gd name="connsiteY2480" fmla="*/ 7211040 h 7458372"/>
              <a:gd name="connsiteX2481" fmla="*/ 1096703 w 10505529"/>
              <a:gd name="connsiteY2481" fmla="*/ 7190009 h 7458372"/>
              <a:gd name="connsiteX2482" fmla="*/ 1118539 w 10505529"/>
              <a:gd name="connsiteY2482" fmla="*/ 7181489 h 7458372"/>
              <a:gd name="connsiteX2483" fmla="*/ 901025 w 10505529"/>
              <a:gd name="connsiteY2483" fmla="*/ 7181489 h 7458372"/>
              <a:gd name="connsiteX2484" fmla="*/ 912741 w 10505529"/>
              <a:gd name="connsiteY2484" fmla="*/ 7183752 h 7458372"/>
              <a:gd name="connsiteX2485" fmla="*/ 922059 w 10505529"/>
              <a:gd name="connsiteY2485" fmla="*/ 7190141 h 7458372"/>
              <a:gd name="connsiteX2486" fmla="*/ 928181 w 10505529"/>
              <a:gd name="connsiteY2486" fmla="*/ 7199459 h 7458372"/>
              <a:gd name="connsiteX2487" fmla="*/ 930444 w 10505529"/>
              <a:gd name="connsiteY2487" fmla="*/ 7210908 h 7458372"/>
              <a:gd name="connsiteX2488" fmla="*/ 928181 w 10505529"/>
              <a:gd name="connsiteY2488" fmla="*/ 7222622 h 7458372"/>
              <a:gd name="connsiteX2489" fmla="*/ 922059 w 10505529"/>
              <a:gd name="connsiteY2489" fmla="*/ 7232074 h 7458372"/>
              <a:gd name="connsiteX2490" fmla="*/ 912741 w 10505529"/>
              <a:gd name="connsiteY2490" fmla="*/ 7238331 h 7458372"/>
              <a:gd name="connsiteX2491" fmla="*/ 901025 w 10505529"/>
              <a:gd name="connsiteY2491" fmla="*/ 7240594 h 7458372"/>
              <a:gd name="connsiteX2492" fmla="*/ 879195 w 10505529"/>
              <a:gd name="connsiteY2492" fmla="*/ 7232207 h 7458372"/>
              <a:gd name="connsiteX2493" fmla="*/ 870810 w 10505529"/>
              <a:gd name="connsiteY2493" fmla="*/ 7211040 h 7458372"/>
              <a:gd name="connsiteX2494" fmla="*/ 879195 w 10505529"/>
              <a:gd name="connsiteY2494" fmla="*/ 7190009 h 7458372"/>
              <a:gd name="connsiteX2495" fmla="*/ 901025 w 10505529"/>
              <a:gd name="connsiteY2495" fmla="*/ 7181489 h 7458372"/>
              <a:gd name="connsiteX2496" fmla="*/ 683387 w 10505529"/>
              <a:gd name="connsiteY2496" fmla="*/ 7181489 h 7458372"/>
              <a:gd name="connsiteX2497" fmla="*/ 695102 w 10505529"/>
              <a:gd name="connsiteY2497" fmla="*/ 7183752 h 7458372"/>
              <a:gd name="connsiteX2498" fmla="*/ 704418 w 10505529"/>
              <a:gd name="connsiteY2498" fmla="*/ 7190141 h 7458372"/>
              <a:gd name="connsiteX2499" fmla="*/ 710542 w 10505529"/>
              <a:gd name="connsiteY2499" fmla="*/ 7199459 h 7458372"/>
              <a:gd name="connsiteX2500" fmla="*/ 712805 w 10505529"/>
              <a:gd name="connsiteY2500" fmla="*/ 7210908 h 7458372"/>
              <a:gd name="connsiteX2501" fmla="*/ 710542 w 10505529"/>
              <a:gd name="connsiteY2501" fmla="*/ 7222622 h 7458372"/>
              <a:gd name="connsiteX2502" fmla="*/ 704418 w 10505529"/>
              <a:gd name="connsiteY2502" fmla="*/ 7232074 h 7458372"/>
              <a:gd name="connsiteX2503" fmla="*/ 695102 w 10505529"/>
              <a:gd name="connsiteY2503" fmla="*/ 7238331 h 7458372"/>
              <a:gd name="connsiteX2504" fmla="*/ 683387 w 10505529"/>
              <a:gd name="connsiteY2504" fmla="*/ 7240594 h 7458372"/>
              <a:gd name="connsiteX2505" fmla="*/ 661555 w 10505529"/>
              <a:gd name="connsiteY2505" fmla="*/ 7232207 h 7458372"/>
              <a:gd name="connsiteX2506" fmla="*/ 653169 w 10505529"/>
              <a:gd name="connsiteY2506" fmla="*/ 7211040 h 7458372"/>
              <a:gd name="connsiteX2507" fmla="*/ 661555 w 10505529"/>
              <a:gd name="connsiteY2507" fmla="*/ 7190009 h 7458372"/>
              <a:gd name="connsiteX2508" fmla="*/ 683387 w 10505529"/>
              <a:gd name="connsiteY2508" fmla="*/ 7181489 h 7458372"/>
              <a:gd name="connsiteX2509" fmla="*/ 465746 w 10505529"/>
              <a:gd name="connsiteY2509" fmla="*/ 7181489 h 7458372"/>
              <a:gd name="connsiteX2510" fmla="*/ 477462 w 10505529"/>
              <a:gd name="connsiteY2510" fmla="*/ 7183752 h 7458372"/>
              <a:gd name="connsiteX2511" fmla="*/ 486779 w 10505529"/>
              <a:gd name="connsiteY2511" fmla="*/ 7190141 h 7458372"/>
              <a:gd name="connsiteX2512" fmla="*/ 492902 w 10505529"/>
              <a:gd name="connsiteY2512" fmla="*/ 7199459 h 7458372"/>
              <a:gd name="connsiteX2513" fmla="*/ 495164 w 10505529"/>
              <a:gd name="connsiteY2513" fmla="*/ 7210908 h 7458372"/>
              <a:gd name="connsiteX2514" fmla="*/ 492902 w 10505529"/>
              <a:gd name="connsiteY2514" fmla="*/ 7222622 h 7458372"/>
              <a:gd name="connsiteX2515" fmla="*/ 486779 w 10505529"/>
              <a:gd name="connsiteY2515" fmla="*/ 7232074 h 7458372"/>
              <a:gd name="connsiteX2516" fmla="*/ 477462 w 10505529"/>
              <a:gd name="connsiteY2516" fmla="*/ 7238331 h 7458372"/>
              <a:gd name="connsiteX2517" fmla="*/ 465746 w 10505529"/>
              <a:gd name="connsiteY2517" fmla="*/ 7240594 h 7458372"/>
              <a:gd name="connsiteX2518" fmla="*/ 443915 w 10505529"/>
              <a:gd name="connsiteY2518" fmla="*/ 7232207 h 7458372"/>
              <a:gd name="connsiteX2519" fmla="*/ 435529 w 10505529"/>
              <a:gd name="connsiteY2519" fmla="*/ 7211040 h 7458372"/>
              <a:gd name="connsiteX2520" fmla="*/ 443915 w 10505529"/>
              <a:gd name="connsiteY2520" fmla="*/ 7190009 h 7458372"/>
              <a:gd name="connsiteX2521" fmla="*/ 465746 w 10505529"/>
              <a:gd name="connsiteY2521" fmla="*/ 7181489 h 7458372"/>
              <a:gd name="connsiteX2522" fmla="*/ 248106 w 10505529"/>
              <a:gd name="connsiteY2522" fmla="*/ 7181489 h 7458372"/>
              <a:gd name="connsiteX2523" fmla="*/ 259820 w 10505529"/>
              <a:gd name="connsiteY2523" fmla="*/ 7183752 h 7458372"/>
              <a:gd name="connsiteX2524" fmla="*/ 269138 w 10505529"/>
              <a:gd name="connsiteY2524" fmla="*/ 7190141 h 7458372"/>
              <a:gd name="connsiteX2525" fmla="*/ 275261 w 10505529"/>
              <a:gd name="connsiteY2525" fmla="*/ 7199459 h 7458372"/>
              <a:gd name="connsiteX2526" fmla="*/ 277524 w 10505529"/>
              <a:gd name="connsiteY2526" fmla="*/ 7210908 h 7458372"/>
              <a:gd name="connsiteX2527" fmla="*/ 275261 w 10505529"/>
              <a:gd name="connsiteY2527" fmla="*/ 7222622 h 7458372"/>
              <a:gd name="connsiteX2528" fmla="*/ 269138 w 10505529"/>
              <a:gd name="connsiteY2528" fmla="*/ 7232074 h 7458372"/>
              <a:gd name="connsiteX2529" fmla="*/ 259820 w 10505529"/>
              <a:gd name="connsiteY2529" fmla="*/ 7238331 h 7458372"/>
              <a:gd name="connsiteX2530" fmla="*/ 248106 w 10505529"/>
              <a:gd name="connsiteY2530" fmla="*/ 7240594 h 7458372"/>
              <a:gd name="connsiteX2531" fmla="*/ 226277 w 10505529"/>
              <a:gd name="connsiteY2531" fmla="*/ 7232207 h 7458372"/>
              <a:gd name="connsiteX2532" fmla="*/ 217892 w 10505529"/>
              <a:gd name="connsiteY2532" fmla="*/ 7211040 h 7458372"/>
              <a:gd name="connsiteX2533" fmla="*/ 226277 w 10505529"/>
              <a:gd name="connsiteY2533" fmla="*/ 7190009 h 7458372"/>
              <a:gd name="connsiteX2534" fmla="*/ 248106 w 10505529"/>
              <a:gd name="connsiteY2534" fmla="*/ 7181489 h 7458372"/>
              <a:gd name="connsiteX2535" fmla="*/ 30465 w 10505529"/>
              <a:gd name="connsiteY2535" fmla="*/ 7181489 h 7458372"/>
              <a:gd name="connsiteX2536" fmla="*/ 42180 w 10505529"/>
              <a:gd name="connsiteY2536" fmla="*/ 7183752 h 7458372"/>
              <a:gd name="connsiteX2537" fmla="*/ 51499 w 10505529"/>
              <a:gd name="connsiteY2537" fmla="*/ 7190141 h 7458372"/>
              <a:gd name="connsiteX2538" fmla="*/ 57622 w 10505529"/>
              <a:gd name="connsiteY2538" fmla="*/ 7199459 h 7458372"/>
              <a:gd name="connsiteX2539" fmla="*/ 59885 w 10505529"/>
              <a:gd name="connsiteY2539" fmla="*/ 7210908 h 7458372"/>
              <a:gd name="connsiteX2540" fmla="*/ 57622 w 10505529"/>
              <a:gd name="connsiteY2540" fmla="*/ 7222622 h 7458372"/>
              <a:gd name="connsiteX2541" fmla="*/ 51499 w 10505529"/>
              <a:gd name="connsiteY2541" fmla="*/ 7232074 h 7458372"/>
              <a:gd name="connsiteX2542" fmla="*/ 42180 w 10505529"/>
              <a:gd name="connsiteY2542" fmla="*/ 7238331 h 7458372"/>
              <a:gd name="connsiteX2543" fmla="*/ 30465 w 10505529"/>
              <a:gd name="connsiteY2543" fmla="*/ 7240594 h 7458372"/>
              <a:gd name="connsiteX2544" fmla="*/ 8639 w 10505529"/>
              <a:gd name="connsiteY2544" fmla="*/ 7232207 h 7458372"/>
              <a:gd name="connsiteX2545" fmla="*/ 253 w 10505529"/>
              <a:gd name="connsiteY2545" fmla="*/ 7211040 h 7458372"/>
              <a:gd name="connsiteX2546" fmla="*/ 8639 w 10505529"/>
              <a:gd name="connsiteY2546" fmla="*/ 7190009 h 7458372"/>
              <a:gd name="connsiteX2547" fmla="*/ 30465 w 10505529"/>
              <a:gd name="connsiteY2547" fmla="*/ 7181489 h 7458372"/>
              <a:gd name="connsiteX2548" fmla="*/ 10475977 w 10505529"/>
              <a:gd name="connsiteY2548" fmla="*/ 6980351 h 7458372"/>
              <a:gd name="connsiteX2549" fmla="*/ 10465992 w 10505529"/>
              <a:gd name="connsiteY2549" fmla="*/ 6983945 h 7458372"/>
              <a:gd name="connsiteX2550" fmla="*/ 10462399 w 10505529"/>
              <a:gd name="connsiteY2550" fmla="*/ 6993396 h 7458372"/>
              <a:gd name="connsiteX2551" fmla="*/ 10465992 w 10505529"/>
              <a:gd name="connsiteY2551" fmla="*/ 7002848 h 7458372"/>
              <a:gd name="connsiteX2552" fmla="*/ 10475977 w 10505529"/>
              <a:gd name="connsiteY2552" fmla="*/ 7006442 h 7458372"/>
              <a:gd name="connsiteX2553" fmla="*/ 10481302 w 10505529"/>
              <a:gd name="connsiteY2553" fmla="*/ 7005378 h 7458372"/>
              <a:gd name="connsiteX2554" fmla="*/ 10485029 w 10505529"/>
              <a:gd name="connsiteY2554" fmla="*/ 7002980 h 7458372"/>
              <a:gd name="connsiteX2555" fmla="*/ 10487691 w 10505529"/>
              <a:gd name="connsiteY2555" fmla="*/ 6998721 h 7458372"/>
              <a:gd name="connsiteX2556" fmla="*/ 10488623 w 10505529"/>
              <a:gd name="connsiteY2556" fmla="*/ 6993263 h 7458372"/>
              <a:gd name="connsiteX2557" fmla="*/ 10487691 w 10505529"/>
              <a:gd name="connsiteY2557" fmla="*/ 6988071 h 7458372"/>
              <a:gd name="connsiteX2558" fmla="*/ 10485029 w 10505529"/>
              <a:gd name="connsiteY2558" fmla="*/ 6983945 h 7458372"/>
              <a:gd name="connsiteX2559" fmla="*/ 10481035 w 10505529"/>
              <a:gd name="connsiteY2559" fmla="*/ 6981283 h 7458372"/>
              <a:gd name="connsiteX2560" fmla="*/ 10475977 w 10505529"/>
              <a:gd name="connsiteY2560" fmla="*/ 6980351 h 7458372"/>
              <a:gd name="connsiteX2561" fmla="*/ 10258466 w 10505529"/>
              <a:gd name="connsiteY2561" fmla="*/ 6980351 h 7458372"/>
              <a:gd name="connsiteX2562" fmla="*/ 10248481 w 10505529"/>
              <a:gd name="connsiteY2562" fmla="*/ 6983945 h 7458372"/>
              <a:gd name="connsiteX2563" fmla="*/ 10244887 w 10505529"/>
              <a:gd name="connsiteY2563" fmla="*/ 6993396 h 7458372"/>
              <a:gd name="connsiteX2564" fmla="*/ 10248481 w 10505529"/>
              <a:gd name="connsiteY2564" fmla="*/ 7002848 h 7458372"/>
              <a:gd name="connsiteX2565" fmla="*/ 10258466 w 10505529"/>
              <a:gd name="connsiteY2565" fmla="*/ 7006442 h 7458372"/>
              <a:gd name="connsiteX2566" fmla="*/ 10263790 w 10505529"/>
              <a:gd name="connsiteY2566" fmla="*/ 7005378 h 7458372"/>
              <a:gd name="connsiteX2567" fmla="*/ 10267517 w 10505529"/>
              <a:gd name="connsiteY2567" fmla="*/ 7002980 h 7458372"/>
              <a:gd name="connsiteX2568" fmla="*/ 10270180 w 10505529"/>
              <a:gd name="connsiteY2568" fmla="*/ 6998721 h 7458372"/>
              <a:gd name="connsiteX2569" fmla="*/ 10271112 w 10505529"/>
              <a:gd name="connsiteY2569" fmla="*/ 6993263 h 7458372"/>
              <a:gd name="connsiteX2570" fmla="*/ 10270180 w 10505529"/>
              <a:gd name="connsiteY2570" fmla="*/ 6988071 h 7458372"/>
              <a:gd name="connsiteX2571" fmla="*/ 10267517 w 10505529"/>
              <a:gd name="connsiteY2571" fmla="*/ 6983945 h 7458372"/>
              <a:gd name="connsiteX2572" fmla="*/ 10263524 w 10505529"/>
              <a:gd name="connsiteY2572" fmla="*/ 6981283 h 7458372"/>
              <a:gd name="connsiteX2573" fmla="*/ 10258466 w 10505529"/>
              <a:gd name="connsiteY2573" fmla="*/ 6980351 h 7458372"/>
              <a:gd name="connsiteX2574" fmla="*/ 10040820 w 10505529"/>
              <a:gd name="connsiteY2574" fmla="*/ 6980351 h 7458372"/>
              <a:gd name="connsiteX2575" fmla="*/ 10030835 w 10505529"/>
              <a:gd name="connsiteY2575" fmla="*/ 6983945 h 7458372"/>
              <a:gd name="connsiteX2576" fmla="*/ 10027242 w 10505529"/>
              <a:gd name="connsiteY2576" fmla="*/ 6993396 h 7458372"/>
              <a:gd name="connsiteX2577" fmla="*/ 10030835 w 10505529"/>
              <a:gd name="connsiteY2577" fmla="*/ 7002848 h 7458372"/>
              <a:gd name="connsiteX2578" fmla="*/ 10040820 w 10505529"/>
              <a:gd name="connsiteY2578" fmla="*/ 7006442 h 7458372"/>
              <a:gd name="connsiteX2579" fmla="*/ 10046145 w 10505529"/>
              <a:gd name="connsiteY2579" fmla="*/ 7005378 h 7458372"/>
              <a:gd name="connsiteX2580" fmla="*/ 10049872 w 10505529"/>
              <a:gd name="connsiteY2580" fmla="*/ 7002980 h 7458372"/>
              <a:gd name="connsiteX2581" fmla="*/ 10052534 w 10505529"/>
              <a:gd name="connsiteY2581" fmla="*/ 6998721 h 7458372"/>
              <a:gd name="connsiteX2582" fmla="*/ 10053599 w 10505529"/>
              <a:gd name="connsiteY2582" fmla="*/ 6993263 h 7458372"/>
              <a:gd name="connsiteX2583" fmla="*/ 10052534 w 10505529"/>
              <a:gd name="connsiteY2583" fmla="*/ 6988071 h 7458372"/>
              <a:gd name="connsiteX2584" fmla="*/ 10049872 w 10505529"/>
              <a:gd name="connsiteY2584" fmla="*/ 6983945 h 7458372"/>
              <a:gd name="connsiteX2585" fmla="*/ 10045878 w 10505529"/>
              <a:gd name="connsiteY2585" fmla="*/ 6981283 h 7458372"/>
              <a:gd name="connsiteX2586" fmla="*/ 10040820 w 10505529"/>
              <a:gd name="connsiteY2586" fmla="*/ 6980351 h 7458372"/>
              <a:gd name="connsiteX2587" fmla="*/ 9823176 w 10505529"/>
              <a:gd name="connsiteY2587" fmla="*/ 6980351 h 7458372"/>
              <a:gd name="connsiteX2588" fmla="*/ 9813191 w 10505529"/>
              <a:gd name="connsiteY2588" fmla="*/ 6983945 h 7458372"/>
              <a:gd name="connsiteX2589" fmla="*/ 9809597 w 10505529"/>
              <a:gd name="connsiteY2589" fmla="*/ 6993396 h 7458372"/>
              <a:gd name="connsiteX2590" fmla="*/ 9813191 w 10505529"/>
              <a:gd name="connsiteY2590" fmla="*/ 7002848 h 7458372"/>
              <a:gd name="connsiteX2591" fmla="*/ 9823176 w 10505529"/>
              <a:gd name="connsiteY2591" fmla="*/ 7006442 h 7458372"/>
              <a:gd name="connsiteX2592" fmla="*/ 9828501 w 10505529"/>
              <a:gd name="connsiteY2592" fmla="*/ 7005378 h 7458372"/>
              <a:gd name="connsiteX2593" fmla="*/ 9832227 w 10505529"/>
              <a:gd name="connsiteY2593" fmla="*/ 7002980 h 7458372"/>
              <a:gd name="connsiteX2594" fmla="*/ 9834890 w 10505529"/>
              <a:gd name="connsiteY2594" fmla="*/ 6998721 h 7458372"/>
              <a:gd name="connsiteX2595" fmla="*/ 9835955 w 10505529"/>
              <a:gd name="connsiteY2595" fmla="*/ 6993263 h 7458372"/>
              <a:gd name="connsiteX2596" fmla="*/ 9834890 w 10505529"/>
              <a:gd name="connsiteY2596" fmla="*/ 6988071 h 7458372"/>
              <a:gd name="connsiteX2597" fmla="*/ 9832227 w 10505529"/>
              <a:gd name="connsiteY2597" fmla="*/ 6983945 h 7458372"/>
              <a:gd name="connsiteX2598" fmla="*/ 9828234 w 10505529"/>
              <a:gd name="connsiteY2598" fmla="*/ 6981283 h 7458372"/>
              <a:gd name="connsiteX2599" fmla="*/ 9823176 w 10505529"/>
              <a:gd name="connsiteY2599" fmla="*/ 6980351 h 7458372"/>
              <a:gd name="connsiteX2600" fmla="*/ 9605531 w 10505529"/>
              <a:gd name="connsiteY2600" fmla="*/ 6980351 h 7458372"/>
              <a:gd name="connsiteX2601" fmla="*/ 9595546 w 10505529"/>
              <a:gd name="connsiteY2601" fmla="*/ 6983945 h 7458372"/>
              <a:gd name="connsiteX2602" fmla="*/ 9591952 w 10505529"/>
              <a:gd name="connsiteY2602" fmla="*/ 6993396 h 7458372"/>
              <a:gd name="connsiteX2603" fmla="*/ 9595546 w 10505529"/>
              <a:gd name="connsiteY2603" fmla="*/ 7002848 h 7458372"/>
              <a:gd name="connsiteX2604" fmla="*/ 9605531 w 10505529"/>
              <a:gd name="connsiteY2604" fmla="*/ 7006442 h 7458372"/>
              <a:gd name="connsiteX2605" fmla="*/ 9610855 w 10505529"/>
              <a:gd name="connsiteY2605" fmla="*/ 7005378 h 7458372"/>
              <a:gd name="connsiteX2606" fmla="*/ 9614582 w 10505529"/>
              <a:gd name="connsiteY2606" fmla="*/ 7002980 h 7458372"/>
              <a:gd name="connsiteX2607" fmla="*/ 9617245 w 10505529"/>
              <a:gd name="connsiteY2607" fmla="*/ 6998721 h 7458372"/>
              <a:gd name="connsiteX2608" fmla="*/ 9618309 w 10505529"/>
              <a:gd name="connsiteY2608" fmla="*/ 6993263 h 7458372"/>
              <a:gd name="connsiteX2609" fmla="*/ 9617245 w 10505529"/>
              <a:gd name="connsiteY2609" fmla="*/ 6988071 h 7458372"/>
              <a:gd name="connsiteX2610" fmla="*/ 9614582 w 10505529"/>
              <a:gd name="connsiteY2610" fmla="*/ 6983945 h 7458372"/>
              <a:gd name="connsiteX2611" fmla="*/ 9610589 w 10505529"/>
              <a:gd name="connsiteY2611" fmla="*/ 6981283 h 7458372"/>
              <a:gd name="connsiteX2612" fmla="*/ 9605531 w 10505529"/>
              <a:gd name="connsiteY2612" fmla="*/ 6980351 h 7458372"/>
              <a:gd name="connsiteX2613" fmla="*/ 9387885 w 10505529"/>
              <a:gd name="connsiteY2613" fmla="*/ 6980351 h 7458372"/>
              <a:gd name="connsiteX2614" fmla="*/ 9377900 w 10505529"/>
              <a:gd name="connsiteY2614" fmla="*/ 6983945 h 7458372"/>
              <a:gd name="connsiteX2615" fmla="*/ 9374307 w 10505529"/>
              <a:gd name="connsiteY2615" fmla="*/ 6993396 h 7458372"/>
              <a:gd name="connsiteX2616" fmla="*/ 9377900 w 10505529"/>
              <a:gd name="connsiteY2616" fmla="*/ 7002848 h 7458372"/>
              <a:gd name="connsiteX2617" fmla="*/ 9387885 w 10505529"/>
              <a:gd name="connsiteY2617" fmla="*/ 7006442 h 7458372"/>
              <a:gd name="connsiteX2618" fmla="*/ 9393210 w 10505529"/>
              <a:gd name="connsiteY2618" fmla="*/ 7005378 h 7458372"/>
              <a:gd name="connsiteX2619" fmla="*/ 9396937 w 10505529"/>
              <a:gd name="connsiteY2619" fmla="*/ 7002980 h 7458372"/>
              <a:gd name="connsiteX2620" fmla="*/ 9399599 w 10505529"/>
              <a:gd name="connsiteY2620" fmla="*/ 6998721 h 7458372"/>
              <a:gd name="connsiteX2621" fmla="*/ 9400664 w 10505529"/>
              <a:gd name="connsiteY2621" fmla="*/ 6993263 h 7458372"/>
              <a:gd name="connsiteX2622" fmla="*/ 9399599 w 10505529"/>
              <a:gd name="connsiteY2622" fmla="*/ 6988071 h 7458372"/>
              <a:gd name="connsiteX2623" fmla="*/ 9396937 w 10505529"/>
              <a:gd name="connsiteY2623" fmla="*/ 6983945 h 7458372"/>
              <a:gd name="connsiteX2624" fmla="*/ 9392943 w 10505529"/>
              <a:gd name="connsiteY2624" fmla="*/ 6981283 h 7458372"/>
              <a:gd name="connsiteX2625" fmla="*/ 9387885 w 10505529"/>
              <a:gd name="connsiteY2625" fmla="*/ 6980351 h 7458372"/>
              <a:gd name="connsiteX2626" fmla="*/ 9170374 w 10505529"/>
              <a:gd name="connsiteY2626" fmla="*/ 6980351 h 7458372"/>
              <a:gd name="connsiteX2627" fmla="*/ 9160389 w 10505529"/>
              <a:gd name="connsiteY2627" fmla="*/ 6983945 h 7458372"/>
              <a:gd name="connsiteX2628" fmla="*/ 9156795 w 10505529"/>
              <a:gd name="connsiteY2628" fmla="*/ 6993396 h 7458372"/>
              <a:gd name="connsiteX2629" fmla="*/ 9160389 w 10505529"/>
              <a:gd name="connsiteY2629" fmla="*/ 7002848 h 7458372"/>
              <a:gd name="connsiteX2630" fmla="*/ 9170374 w 10505529"/>
              <a:gd name="connsiteY2630" fmla="*/ 7006442 h 7458372"/>
              <a:gd name="connsiteX2631" fmla="*/ 9175698 w 10505529"/>
              <a:gd name="connsiteY2631" fmla="*/ 7005378 h 7458372"/>
              <a:gd name="connsiteX2632" fmla="*/ 9179425 w 10505529"/>
              <a:gd name="connsiteY2632" fmla="*/ 7002980 h 7458372"/>
              <a:gd name="connsiteX2633" fmla="*/ 9182088 w 10505529"/>
              <a:gd name="connsiteY2633" fmla="*/ 6998721 h 7458372"/>
              <a:gd name="connsiteX2634" fmla="*/ 9183152 w 10505529"/>
              <a:gd name="connsiteY2634" fmla="*/ 6993263 h 7458372"/>
              <a:gd name="connsiteX2635" fmla="*/ 9182088 w 10505529"/>
              <a:gd name="connsiteY2635" fmla="*/ 6988071 h 7458372"/>
              <a:gd name="connsiteX2636" fmla="*/ 9179425 w 10505529"/>
              <a:gd name="connsiteY2636" fmla="*/ 6983945 h 7458372"/>
              <a:gd name="connsiteX2637" fmla="*/ 9175432 w 10505529"/>
              <a:gd name="connsiteY2637" fmla="*/ 6981283 h 7458372"/>
              <a:gd name="connsiteX2638" fmla="*/ 9170374 w 10505529"/>
              <a:gd name="connsiteY2638" fmla="*/ 6980351 h 7458372"/>
              <a:gd name="connsiteX2639" fmla="*/ 8952728 w 10505529"/>
              <a:gd name="connsiteY2639" fmla="*/ 6980351 h 7458372"/>
              <a:gd name="connsiteX2640" fmla="*/ 8942743 w 10505529"/>
              <a:gd name="connsiteY2640" fmla="*/ 6983945 h 7458372"/>
              <a:gd name="connsiteX2641" fmla="*/ 8939150 w 10505529"/>
              <a:gd name="connsiteY2641" fmla="*/ 6993396 h 7458372"/>
              <a:gd name="connsiteX2642" fmla="*/ 8942743 w 10505529"/>
              <a:gd name="connsiteY2642" fmla="*/ 7002848 h 7458372"/>
              <a:gd name="connsiteX2643" fmla="*/ 8952728 w 10505529"/>
              <a:gd name="connsiteY2643" fmla="*/ 7006442 h 7458372"/>
              <a:gd name="connsiteX2644" fmla="*/ 8958053 w 10505529"/>
              <a:gd name="connsiteY2644" fmla="*/ 7005378 h 7458372"/>
              <a:gd name="connsiteX2645" fmla="*/ 8961780 w 10505529"/>
              <a:gd name="connsiteY2645" fmla="*/ 7002980 h 7458372"/>
              <a:gd name="connsiteX2646" fmla="*/ 8964442 w 10505529"/>
              <a:gd name="connsiteY2646" fmla="*/ 6998721 h 7458372"/>
              <a:gd name="connsiteX2647" fmla="*/ 8965507 w 10505529"/>
              <a:gd name="connsiteY2647" fmla="*/ 6993263 h 7458372"/>
              <a:gd name="connsiteX2648" fmla="*/ 8964442 w 10505529"/>
              <a:gd name="connsiteY2648" fmla="*/ 6988071 h 7458372"/>
              <a:gd name="connsiteX2649" fmla="*/ 8961780 w 10505529"/>
              <a:gd name="connsiteY2649" fmla="*/ 6983945 h 7458372"/>
              <a:gd name="connsiteX2650" fmla="*/ 8957786 w 10505529"/>
              <a:gd name="connsiteY2650" fmla="*/ 6981283 h 7458372"/>
              <a:gd name="connsiteX2651" fmla="*/ 8952728 w 10505529"/>
              <a:gd name="connsiteY2651" fmla="*/ 6980351 h 7458372"/>
              <a:gd name="connsiteX2652" fmla="*/ 8735083 w 10505529"/>
              <a:gd name="connsiteY2652" fmla="*/ 6980351 h 7458372"/>
              <a:gd name="connsiteX2653" fmla="*/ 8725098 w 10505529"/>
              <a:gd name="connsiteY2653" fmla="*/ 6983945 h 7458372"/>
              <a:gd name="connsiteX2654" fmla="*/ 8721504 w 10505529"/>
              <a:gd name="connsiteY2654" fmla="*/ 6993396 h 7458372"/>
              <a:gd name="connsiteX2655" fmla="*/ 8725098 w 10505529"/>
              <a:gd name="connsiteY2655" fmla="*/ 7002848 h 7458372"/>
              <a:gd name="connsiteX2656" fmla="*/ 8735083 w 10505529"/>
              <a:gd name="connsiteY2656" fmla="*/ 7006442 h 7458372"/>
              <a:gd name="connsiteX2657" fmla="*/ 8740407 w 10505529"/>
              <a:gd name="connsiteY2657" fmla="*/ 7005378 h 7458372"/>
              <a:gd name="connsiteX2658" fmla="*/ 8744134 w 10505529"/>
              <a:gd name="connsiteY2658" fmla="*/ 7002980 h 7458372"/>
              <a:gd name="connsiteX2659" fmla="*/ 8746797 w 10505529"/>
              <a:gd name="connsiteY2659" fmla="*/ 6998721 h 7458372"/>
              <a:gd name="connsiteX2660" fmla="*/ 8747862 w 10505529"/>
              <a:gd name="connsiteY2660" fmla="*/ 6993263 h 7458372"/>
              <a:gd name="connsiteX2661" fmla="*/ 8746797 w 10505529"/>
              <a:gd name="connsiteY2661" fmla="*/ 6988071 h 7458372"/>
              <a:gd name="connsiteX2662" fmla="*/ 8744134 w 10505529"/>
              <a:gd name="connsiteY2662" fmla="*/ 6983945 h 7458372"/>
              <a:gd name="connsiteX2663" fmla="*/ 8740141 w 10505529"/>
              <a:gd name="connsiteY2663" fmla="*/ 6981283 h 7458372"/>
              <a:gd name="connsiteX2664" fmla="*/ 8735083 w 10505529"/>
              <a:gd name="connsiteY2664" fmla="*/ 6980351 h 7458372"/>
              <a:gd name="connsiteX2665" fmla="*/ 8517438 w 10505529"/>
              <a:gd name="connsiteY2665" fmla="*/ 6980351 h 7458372"/>
              <a:gd name="connsiteX2666" fmla="*/ 8507453 w 10505529"/>
              <a:gd name="connsiteY2666" fmla="*/ 6983945 h 7458372"/>
              <a:gd name="connsiteX2667" fmla="*/ 8503860 w 10505529"/>
              <a:gd name="connsiteY2667" fmla="*/ 6993396 h 7458372"/>
              <a:gd name="connsiteX2668" fmla="*/ 8507453 w 10505529"/>
              <a:gd name="connsiteY2668" fmla="*/ 7002848 h 7458372"/>
              <a:gd name="connsiteX2669" fmla="*/ 8517438 w 10505529"/>
              <a:gd name="connsiteY2669" fmla="*/ 7006442 h 7458372"/>
              <a:gd name="connsiteX2670" fmla="*/ 8522763 w 10505529"/>
              <a:gd name="connsiteY2670" fmla="*/ 7005378 h 7458372"/>
              <a:gd name="connsiteX2671" fmla="*/ 8526490 w 10505529"/>
              <a:gd name="connsiteY2671" fmla="*/ 7002980 h 7458372"/>
              <a:gd name="connsiteX2672" fmla="*/ 8529152 w 10505529"/>
              <a:gd name="connsiteY2672" fmla="*/ 6998721 h 7458372"/>
              <a:gd name="connsiteX2673" fmla="*/ 8530084 w 10505529"/>
              <a:gd name="connsiteY2673" fmla="*/ 6993263 h 7458372"/>
              <a:gd name="connsiteX2674" fmla="*/ 8529152 w 10505529"/>
              <a:gd name="connsiteY2674" fmla="*/ 6988071 h 7458372"/>
              <a:gd name="connsiteX2675" fmla="*/ 8526490 w 10505529"/>
              <a:gd name="connsiteY2675" fmla="*/ 6983945 h 7458372"/>
              <a:gd name="connsiteX2676" fmla="*/ 8522496 w 10505529"/>
              <a:gd name="connsiteY2676" fmla="*/ 6981283 h 7458372"/>
              <a:gd name="connsiteX2677" fmla="*/ 8517438 w 10505529"/>
              <a:gd name="connsiteY2677" fmla="*/ 6980351 h 7458372"/>
              <a:gd name="connsiteX2678" fmla="*/ 8299793 w 10505529"/>
              <a:gd name="connsiteY2678" fmla="*/ 6980351 h 7458372"/>
              <a:gd name="connsiteX2679" fmla="*/ 8289809 w 10505529"/>
              <a:gd name="connsiteY2679" fmla="*/ 6983945 h 7458372"/>
              <a:gd name="connsiteX2680" fmla="*/ 8286215 w 10505529"/>
              <a:gd name="connsiteY2680" fmla="*/ 6993396 h 7458372"/>
              <a:gd name="connsiteX2681" fmla="*/ 8289809 w 10505529"/>
              <a:gd name="connsiteY2681" fmla="*/ 7002848 h 7458372"/>
              <a:gd name="connsiteX2682" fmla="*/ 8299793 w 10505529"/>
              <a:gd name="connsiteY2682" fmla="*/ 7006442 h 7458372"/>
              <a:gd name="connsiteX2683" fmla="*/ 8305118 w 10505529"/>
              <a:gd name="connsiteY2683" fmla="*/ 7005378 h 7458372"/>
              <a:gd name="connsiteX2684" fmla="*/ 8308844 w 10505529"/>
              <a:gd name="connsiteY2684" fmla="*/ 7002980 h 7458372"/>
              <a:gd name="connsiteX2685" fmla="*/ 8311507 w 10505529"/>
              <a:gd name="connsiteY2685" fmla="*/ 6998721 h 7458372"/>
              <a:gd name="connsiteX2686" fmla="*/ 8312439 w 10505529"/>
              <a:gd name="connsiteY2686" fmla="*/ 6993263 h 7458372"/>
              <a:gd name="connsiteX2687" fmla="*/ 8311507 w 10505529"/>
              <a:gd name="connsiteY2687" fmla="*/ 6988071 h 7458372"/>
              <a:gd name="connsiteX2688" fmla="*/ 8308844 w 10505529"/>
              <a:gd name="connsiteY2688" fmla="*/ 6983945 h 7458372"/>
              <a:gd name="connsiteX2689" fmla="*/ 8304851 w 10505529"/>
              <a:gd name="connsiteY2689" fmla="*/ 6981283 h 7458372"/>
              <a:gd name="connsiteX2690" fmla="*/ 8299793 w 10505529"/>
              <a:gd name="connsiteY2690" fmla="*/ 6980351 h 7458372"/>
              <a:gd name="connsiteX2691" fmla="*/ 8082281 w 10505529"/>
              <a:gd name="connsiteY2691" fmla="*/ 6980351 h 7458372"/>
              <a:gd name="connsiteX2692" fmla="*/ 8072297 w 10505529"/>
              <a:gd name="connsiteY2692" fmla="*/ 6983945 h 7458372"/>
              <a:gd name="connsiteX2693" fmla="*/ 8068703 w 10505529"/>
              <a:gd name="connsiteY2693" fmla="*/ 6993396 h 7458372"/>
              <a:gd name="connsiteX2694" fmla="*/ 8072297 w 10505529"/>
              <a:gd name="connsiteY2694" fmla="*/ 7002848 h 7458372"/>
              <a:gd name="connsiteX2695" fmla="*/ 8082281 w 10505529"/>
              <a:gd name="connsiteY2695" fmla="*/ 7006442 h 7458372"/>
              <a:gd name="connsiteX2696" fmla="*/ 8087605 w 10505529"/>
              <a:gd name="connsiteY2696" fmla="*/ 7005378 h 7458372"/>
              <a:gd name="connsiteX2697" fmla="*/ 8091332 w 10505529"/>
              <a:gd name="connsiteY2697" fmla="*/ 7002980 h 7458372"/>
              <a:gd name="connsiteX2698" fmla="*/ 8093994 w 10505529"/>
              <a:gd name="connsiteY2698" fmla="*/ 6998721 h 7458372"/>
              <a:gd name="connsiteX2699" fmla="*/ 8094926 w 10505529"/>
              <a:gd name="connsiteY2699" fmla="*/ 6993263 h 7458372"/>
              <a:gd name="connsiteX2700" fmla="*/ 8093994 w 10505529"/>
              <a:gd name="connsiteY2700" fmla="*/ 6988071 h 7458372"/>
              <a:gd name="connsiteX2701" fmla="*/ 8091332 w 10505529"/>
              <a:gd name="connsiteY2701" fmla="*/ 6983945 h 7458372"/>
              <a:gd name="connsiteX2702" fmla="*/ 8087338 w 10505529"/>
              <a:gd name="connsiteY2702" fmla="*/ 6981283 h 7458372"/>
              <a:gd name="connsiteX2703" fmla="*/ 8082281 w 10505529"/>
              <a:gd name="connsiteY2703" fmla="*/ 6980351 h 7458372"/>
              <a:gd name="connsiteX2704" fmla="*/ 7864636 w 10505529"/>
              <a:gd name="connsiteY2704" fmla="*/ 6980351 h 7458372"/>
              <a:gd name="connsiteX2705" fmla="*/ 7854652 w 10505529"/>
              <a:gd name="connsiteY2705" fmla="*/ 6983945 h 7458372"/>
              <a:gd name="connsiteX2706" fmla="*/ 7851058 w 10505529"/>
              <a:gd name="connsiteY2706" fmla="*/ 6993396 h 7458372"/>
              <a:gd name="connsiteX2707" fmla="*/ 7854652 w 10505529"/>
              <a:gd name="connsiteY2707" fmla="*/ 7002848 h 7458372"/>
              <a:gd name="connsiteX2708" fmla="*/ 7864636 w 10505529"/>
              <a:gd name="connsiteY2708" fmla="*/ 7006442 h 7458372"/>
              <a:gd name="connsiteX2709" fmla="*/ 7869961 w 10505529"/>
              <a:gd name="connsiteY2709" fmla="*/ 7005378 h 7458372"/>
              <a:gd name="connsiteX2710" fmla="*/ 7873687 w 10505529"/>
              <a:gd name="connsiteY2710" fmla="*/ 7002980 h 7458372"/>
              <a:gd name="connsiteX2711" fmla="*/ 7876350 w 10505529"/>
              <a:gd name="connsiteY2711" fmla="*/ 6998721 h 7458372"/>
              <a:gd name="connsiteX2712" fmla="*/ 7877282 w 10505529"/>
              <a:gd name="connsiteY2712" fmla="*/ 6993263 h 7458372"/>
              <a:gd name="connsiteX2713" fmla="*/ 7876350 w 10505529"/>
              <a:gd name="connsiteY2713" fmla="*/ 6988071 h 7458372"/>
              <a:gd name="connsiteX2714" fmla="*/ 7873687 w 10505529"/>
              <a:gd name="connsiteY2714" fmla="*/ 6983945 h 7458372"/>
              <a:gd name="connsiteX2715" fmla="*/ 7869694 w 10505529"/>
              <a:gd name="connsiteY2715" fmla="*/ 6981283 h 7458372"/>
              <a:gd name="connsiteX2716" fmla="*/ 7864636 w 10505529"/>
              <a:gd name="connsiteY2716" fmla="*/ 6980351 h 7458372"/>
              <a:gd name="connsiteX2717" fmla="*/ 7646991 w 10505529"/>
              <a:gd name="connsiteY2717" fmla="*/ 6980351 h 7458372"/>
              <a:gd name="connsiteX2718" fmla="*/ 7637007 w 10505529"/>
              <a:gd name="connsiteY2718" fmla="*/ 6983945 h 7458372"/>
              <a:gd name="connsiteX2719" fmla="*/ 7633413 w 10505529"/>
              <a:gd name="connsiteY2719" fmla="*/ 6993396 h 7458372"/>
              <a:gd name="connsiteX2720" fmla="*/ 7637007 w 10505529"/>
              <a:gd name="connsiteY2720" fmla="*/ 7002848 h 7458372"/>
              <a:gd name="connsiteX2721" fmla="*/ 7646991 w 10505529"/>
              <a:gd name="connsiteY2721" fmla="*/ 7006442 h 7458372"/>
              <a:gd name="connsiteX2722" fmla="*/ 7652315 w 10505529"/>
              <a:gd name="connsiteY2722" fmla="*/ 7005378 h 7458372"/>
              <a:gd name="connsiteX2723" fmla="*/ 7656042 w 10505529"/>
              <a:gd name="connsiteY2723" fmla="*/ 7002980 h 7458372"/>
              <a:gd name="connsiteX2724" fmla="*/ 7658705 w 10505529"/>
              <a:gd name="connsiteY2724" fmla="*/ 6998721 h 7458372"/>
              <a:gd name="connsiteX2725" fmla="*/ 7659769 w 10505529"/>
              <a:gd name="connsiteY2725" fmla="*/ 6993263 h 7458372"/>
              <a:gd name="connsiteX2726" fmla="*/ 7658705 w 10505529"/>
              <a:gd name="connsiteY2726" fmla="*/ 6988071 h 7458372"/>
              <a:gd name="connsiteX2727" fmla="*/ 7656042 w 10505529"/>
              <a:gd name="connsiteY2727" fmla="*/ 6983945 h 7458372"/>
              <a:gd name="connsiteX2728" fmla="*/ 7652049 w 10505529"/>
              <a:gd name="connsiteY2728" fmla="*/ 6981283 h 7458372"/>
              <a:gd name="connsiteX2729" fmla="*/ 7646991 w 10505529"/>
              <a:gd name="connsiteY2729" fmla="*/ 6980351 h 7458372"/>
              <a:gd name="connsiteX2730" fmla="*/ 7429345 w 10505529"/>
              <a:gd name="connsiteY2730" fmla="*/ 6980351 h 7458372"/>
              <a:gd name="connsiteX2731" fmla="*/ 7419361 w 10505529"/>
              <a:gd name="connsiteY2731" fmla="*/ 6983945 h 7458372"/>
              <a:gd name="connsiteX2732" fmla="*/ 7415768 w 10505529"/>
              <a:gd name="connsiteY2732" fmla="*/ 6993396 h 7458372"/>
              <a:gd name="connsiteX2733" fmla="*/ 7419361 w 10505529"/>
              <a:gd name="connsiteY2733" fmla="*/ 7002848 h 7458372"/>
              <a:gd name="connsiteX2734" fmla="*/ 7429345 w 10505529"/>
              <a:gd name="connsiteY2734" fmla="*/ 7006442 h 7458372"/>
              <a:gd name="connsiteX2735" fmla="*/ 7434670 w 10505529"/>
              <a:gd name="connsiteY2735" fmla="*/ 7005378 h 7458372"/>
              <a:gd name="connsiteX2736" fmla="*/ 7438397 w 10505529"/>
              <a:gd name="connsiteY2736" fmla="*/ 7002980 h 7458372"/>
              <a:gd name="connsiteX2737" fmla="*/ 7441059 w 10505529"/>
              <a:gd name="connsiteY2737" fmla="*/ 6998721 h 7458372"/>
              <a:gd name="connsiteX2738" fmla="*/ 7442124 w 10505529"/>
              <a:gd name="connsiteY2738" fmla="*/ 6993263 h 7458372"/>
              <a:gd name="connsiteX2739" fmla="*/ 7441059 w 10505529"/>
              <a:gd name="connsiteY2739" fmla="*/ 6988071 h 7458372"/>
              <a:gd name="connsiteX2740" fmla="*/ 7438397 w 10505529"/>
              <a:gd name="connsiteY2740" fmla="*/ 6983945 h 7458372"/>
              <a:gd name="connsiteX2741" fmla="*/ 7434403 w 10505529"/>
              <a:gd name="connsiteY2741" fmla="*/ 6981283 h 7458372"/>
              <a:gd name="connsiteX2742" fmla="*/ 7429345 w 10505529"/>
              <a:gd name="connsiteY2742" fmla="*/ 6980351 h 7458372"/>
              <a:gd name="connsiteX2743" fmla="*/ 7211701 w 10505529"/>
              <a:gd name="connsiteY2743" fmla="*/ 6980351 h 7458372"/>
              <a:gd name="connsiteX2744" fmla="*/ 7201717 w 10505529"/>
              <a:gd name="connsiteY2744" fmla="*/ 6983945 h 7458372"/>
              <a:gd name="connsiteX2745" fmla="*/ 7198123 w 10505529"/>
              <a:gd name="connsiteY2745" fmla="*/ 6993396 h 7458372"/>
              <a:gd name="connsiteX2746" fmla="*/ 7201717 w 10505529"/>
              <a:gd name="connsiteY2746" fmla="*/ 7002848 h 7458372"/>
              <a:gd name="connsiteX2747" fmla="*/ 7211701 w 10505529"/>
              <a:gd name="connsiteY2747" fmla="*/ 7006442 h 7458372"/>
              <a:gd name="connsiteX2748" fmla="*/ 7217026 w 10505529"/>
              <a:gd name="connsiteY2748" fmla="*/ 7005378 h 7458372"/>
              <a:gd name="connsiteX2749" fmla="*/ 7220752 w 10505529"/>
              <a:gd name="connsiteY2749" fmla="*/ 7002980 h 7458372"/>
              <a:gd name="connsiteX2750" fmla="*/ 7223415 w 10505529"/>
              <a:gd name="connsiteY2750" fmla="*/ 6998721 h 7458372"/>
              <a:gd name="connsiteX2751" fmla="*/ 7224480 w 10505529"/>
              <a:gd name="connsiteY2751" fmla="*/ 6993263 h 7458372"/>
              <a:gd name="connsiteX2752" fmla="*/ 7223415 w 10505529"/>
              <a:gd name="connsiteY2752" fmla="*/ 6988071 h 7458372"/>
              <a:gd name="connsiteX2753" fmla="*/ 7220752 w 10505529"/>
              <a:gd name="connsiteY2753" fmla="*/ 6983945 h 7458372"/>
              <a:gd name="connsiteX2754" fmla="*/ 7216759 w 10505529"/>
              <a:gd name="connsiteY2754" fmla="*/ 6981283 h 7458372"/>
              <a:gd name="connsiteX2755" fmla="*/ 7211701 w 10505529"/>
              <a:gd name="connsiteY2755" fmla="*/ 6980351 h 7458372"/>
              <a:gd name="connsiteX2756" fmla="*/ 6994056 w 10505529"/>
              <a:gd name="connsiteY2756" fmla="*/ 6980351 h 7458372"/>
              <a:gd name="connsiteX2757" fmla="*/ 6984072 w 10505529"/>
              <a:gd name="connsiteY2757" fmla="*/ 6983945 h 7458372"/>
              <a:gd name="connsiteX2758" fmla="*/ 6980478 w 10505529"/>
              <a:gd name="connsiteY2758" fmla="*/ 6993396 h 7458372"/>
              <a:gd name="connsiteX2759" fmla="*/ 6984072 w 10505529"/>
              <a:gd name="connsiteY2759" fmla="*/ 7002848 h 7458372"/>
              <a:gd name="connsiteX2760" fmla="*/ 6994056 w 10505529"/>
              <a:gd name="connsiteY2760" fmla="*/ 7006442 h 7458372"/>
              <a:gd name="connsiteX2761" fmla="*/ 6999380 w 10505529"/>
              <a:gd name="connsiteY2761" fmla="*/ 7005378 h 7458372"/>
              <a:gd name="connsiteX2762" fmla="*/ 7003107 w 10505529"/>
              <a:gd name="connsiteY2762" fmla="*/ 7002980 h 7458372"/>
              <a:gd name="connsiteX2763" fmla="*/ 7005769 w 10505529"/>
              <a:gd name="connsiteY2763" fmla="*/ 6998721 h 7458372"/>
              <a:gd name="connsiteX2764" fmla="*/ 7006834 w 10505529"/>
              <a:gd name="connsiteY2764" fmla="*/ 6993263 h 7458372"/>
              <a:gd name="connsiteX2765" fmla="*/ 7005769 w 10505529"/>
              <a:gd name="connsiteY2765" fmla="*/ 6988071 h 7458372"/>
              <a:gd name="connsiteX2766" fmla="*/ 7003107 w 10505529"/>
              <a:gd name="connsiteY2766" fmla="*/ 6983945 h 7458372"/>
              <a:gd name="connsiteX2767" fmla="*/ 6999113 w 10505529"/>
              <a:gd name="connsiteY2767" fmla="*/ 6981283 h 7458372"/>
              <a:gd name="connsiteX2768" fmla="*/ 6994056 w 10505529"/>
              <a:gd name="connsiteY2768" fmla="*/ 6980351 h 7458372"/>
              <a:gd name="connsiteX2769" fmla="*/ 6776544 w 10505529"/>
              <a:gd name="connsiteY2769" fmla="*/ 6980351 h 7458372"/>
              <a:gd name="connsiteX2770" fmla="*/ 6766560 w 10505529"/>
              <a:gd name="connsiteY2770" fmla="*/ 6983945 h 7458372"/>
              <a:gd name="connsiteX2771" fmla="*/ 6762966 w 10505529"/>
              <a:gd name="connsiteY2771" fmla="*/ 6993396 h 7458372"/>
              <a:gd name="connsiteX2772" fmla="*/ 6766560 w 10505529"/>
              <a:gd name="connsiteY2772" fmla="*/ 7002848 h 7458372"/>
              <a:gd name="connsiteX2773" fmla="*/ 6776544 w 10505529"/>
              <a:gd name="connsiteY2773" fmla="*/ 7006442 h 7458372"/>
              <a:gd name="connsiteX2774" fmla="*/ 6781869 w 10505529"/>
              <a:gd name="connsiteY2774" fmla="*/ 7005378 h 7458372"/>
              <a:gd name="connsiteX2775" fmla="*/ 6785595 w 10505529"/>
              <a:gd name="connsiteY2775" fmla="*/ 7002980 h 7458372"/>
              <a:gd name="connsiteX2776" fmla="*/ 6788258 w 10505529"/>
              <a:gd name="connsiteY2776" fmla="*/ 6998721 h 7458372"/>
              <a:gd name="connsiteX2777" fmla="*/ 6789323 w 10505529"/>
              <a:gd name="connsiteY2777" fmla="*/ 6993263 h 7458372"/>
              <a:gd name="connsiteX2778" fmla="*/ 6788258 w 10505529"/>
              <a:gd name="connsiteY2778" fmla="*/ 6988071 h 7458372"/>
              <a:gd name="connsiteX2779" fmla="*/ 6785595 w 10505529"/>
              <a:gd name="connsiteY2779" fmla="*/ 6983945 h 7458372"/>
              <a:gd name="connsiteX2780" fmla="*/ 6781602 w 10505529"/>
              <a:gd name="connsiteY2780" fmla="*/ 6981283 h 7458372"/>
              <a:gd name="connsiteX2781" fmla="*/ 6776544 w 10505529"/>
              <a:gd name="connsiteY2781" fmla="*/ 6980351 h 7458372"/>
              <a:gd name="connsiteX2782" fmla="*/ 6558899 w 10505529"/>
              <a:gd name="connsiteY2782" fmla="*/ 6980351 h 7458372"/>
              <a:gd name="connsiteX2783" fmla="*/ 6548915 w 10505529"/>
              <a:gd name="connsiteY2783" fmla="*/ 6983945 h 7458372"/>
              <a:gd name="connsiteX2784" fmla="*/ 6545321 w 10505529"/>
              <a:gd name="connsiteY2784" fmla="*/ 6993396 h 7458372"/>
              <a:gd name="connsiteX2785" fmla="*/ 6548915 w 10505529"/>
              <a:gd name="connsiteY2785" fmla="*/ 7002848 h 7458372"/>
              <a:gd name="connsiteX2786" fmla="*/ 6558899 w 10505529"/>
              <a:gd name="connsiteY2786" fmla="*/ 7006442 h 7458372"/>
              <a:gd name="connsiteX2787" fmla="*/ 6564223 w 10505529"/>
              <a:gd name="connsiteY2787" fmla="*/ 7005378 h 7458372"/>
              <a:gd name="connsiteX2788" fmla="*/ 6567950 w 10505529"/>
              <a:gd name="connsiteY2788" fmla="*/ 7002980 h 7458372"/>
              <a:gd name="connsiteX2789" fmla="*/ 6570612 w 10505529"/>
              <a:gd name="connsiteY2789" fmla="*/ 6998721 h 7458372"/>
              <a:gd name="connsiteX2790" fmla="*/ 6571677 w 10505529"/>
              <a:gd name="connsiteY2790" fmla="*/ 6993263 h 7458372"/>
              <a:gd name="connsiteX2791" fmla="*/ 6570612 w 10505529"/>
              <a:gd name="connsiteY2791" fmla="*/ 6988071 h 7458372"/>
              <a:gd name="connsiteX2792" fmla="*/ 6567950 w 10505529"/>
              <a:gd name="connsiteY2792" fmla="*/ 6983945 h 7458372"/>
              <a:gd name="connsiteX2793" fmla="*/ 6563956 w 10505529"/>
              <a:gd name="connsiteY2793" fmla="*/ 6981283 h 7458372"/>
              <a:gd name="connsiteX2794" fmla="*/ 6558899 w 10505529"/>
              <a:gd name="connsiteY2794" fmla="*/ 6980351 h 7458372"/>
              <a:gd name="connsiteX2795" fmla="*/ 6341253 w 10505529"/>
              <a:gd name="connsiteY2795" fmla="*/ 6980351 h 7458372"/>
              <a:gd name="connsiteX2796" fmla="*/ 6331270 w 10505529"/>
              <a:gd name="connsiteY2796" fmla="*/ 6983945 h 7458372"/>
              <a:gd name="connsiteX2797" fmla="*/ 6327675 w 10505529"/>
              <a:gd name="connsiteY2797" fmla="*/ 6993396 h 7458372"/>
              <a:gd name="connsiteX2798" fmla="*/ 6331270 w 10505529"/>
              <a:gd name="connsiteY2798" fmla="*/ 7002848 h 7458372"/>
              <a:gd name="connsiteX2799" fmla="*/ 6341253 w 10505529"/>
              <a:gd name="connsiteY2799" fmla="*/ 7006442 h 7458372"/>
              <a:gd name="connsiteX2800" fmla="*/ 6346578 w 10505529"/>
              <a:gd name="connsiteY2800" fmla="*/ 7005378 h 7458372"/>
              <a:gd name="connsiteX2801" fmla="*/ 6350305 w 10505529"/>
              <a:gd name="connsiteY2801" fmla="*/ 7002980 h 7458372"/>
              <a:gd name="connsiteX2802" fmla="*/ 6352968 w 10505529"/>
              <a:gd name="connsiteY2802" fmla="*/ 6998721 h 7458372"/>
              <a:gd name="connsiteX2803" fmla="*/ 6354033 w 10505529"/>
              <a:gd name="connsiteY2803" fmla="*/ 6993263 h 7458372"/>
              <a:gd name="connsiteX2804" fmla="*/ 6352968 w 10505529"/>
              <a:gd name="connsiteY2804" fmla="*/ 6988071 h 7458372"/>
              <a:gd name="connsiteX2805" fmla="*/ 6350305 w 10505529"/>
              <a:gd name="connsiteY2805" fmla="*/ 6983945 h 7458372"/>
              <a:gd name="connsiteX2806" fmla="*/ 6346312 w 10505529"/>
              <a:gd name="connsiteY2806" fmla="*/ 6981283 h 7458372"/>
              <a:gd name="connsiteX2807" fmla="*/ 6341253 w 10505529"/>
              <a:gd name="connsiteY2807" fmla="*/ 6980351 h 7458372"/>
              <a:gd name="connsiteX2808" fmla="*/ 6123608 w 10505529"/>
              <a:gd name="connsiteY2808" fmla="*/ 6980351 h 7458372"/>
              <a:gd name="connsiteX2809" fmla="*/ 6113624 w 10505529"/>
              <a:gd name="connsiteY2809" fmla="*/ 6983945 h 7458372"/>
              <a:gd name="connsiteX2810" fmla="*/ 6110030 w 10505529"/>
              <a:gd name="connsiteY2810" fmla="*/ 6993396 h 7458372"/>
              <a:gd name="connsiteX2811" fmla="*/ 6113624 w 10505529"/>
              <a:gd name="connsiteY2811" fmla="*/ 7002848 h 7458372"/>
              <a:gd name="connsiteX2812" fmla="*/ 6123608 w 10505529"/>
              <a:gd name="connsiteY2812" fmla="*/ 7006442 h 7458372"/>
              <a:gd name="connsiteX2813" fmla="*/ 6128932 w 10505529"/>
              <a:gd name="connsiteY2813" fmla="*/ 7005378 h 7458372"/>
              <a:gd name="connsiteX2814" fmla="*/ 6132659 w 10505529"/>
              <a:gd name="connsiteY2814" fmla="*/ 7002980 h 7458372"/>
              <a:gd name="connsiteX2815" fmla="*/ 6135322 w 10505529"/>
              <a:gd name="connsiteY2815" fmla="*/ 6998721 h 7458372"/>
              <a:gd name="connsiteX2816" fmla="*/ 6136387 w 10505529"/>
              <a:gd name="connsiteY2816" fmla="*/ 6993263 h 7458372"/>
              <a:gd name="connsiteX2817" fmla="*/ 6135322 w 10505529"/>
              <a:gd name="connsiteY2817" fmla="*/ 6988071 h 7458372"/>
              <a:gd name="connsiteX2818" fmla="*/ 6132659 w 10505529"/>
              <a:gd name="connsiteY2818" fmla="*/ 6983945 h 7458372"/>
              <a:gd name="connsiteX2819" fmla="*/ 6128666 w 10505529"/>
              <a:gd name="connsiteY2819" fmla="*/ 6981283 h 7458372"/>
              <a:gd name="connsiteX2820" fmla="*/ 6123608 w 10505529"/>
              <a:gd name="connsiteY2820" fmla="*/ 6980351 h 7458372"/>
              <a:gd name="connsiteX2821" fmla="*/ 5905963 w 10505529"/>
              <a:gd name="connsiteY2821" fmla="*/ 6980351 h 7458372"/>
              <a:gd name="connsiteX2822" fmla="*/ 5895979 w 10505529"/>
              <a:gd name="connsiteY2822" fmla="*/ 6983945 h 7458372"/>
              <a:gd name="connsiteX2823" fmla="*/ 5892385 w 10505529"/>
              <a:gd name="connsiteY2823" fmla="*/ 6993396 h 7458372"/>
              <a:gd name="connsiteX2824" fmla="*/ 5895979 w 10505529"/>
              <a:gd name="connsiteY2824" fmla="*/ 7002848 h 7458372"/>
              <a:gd name="connsiteX2825" fmla="*/ 5905963 w 10505529"/>
              <a:gd name="connsiteY2825" fmla="*/ 7006442 h 7458372"/>
              <a:gd name="connsiteX2826" fmla="*/ 5911287 w 10505529"/>
              <a:gd name="connsiteY2826" fmla="*/ 7005378 h 7458372"/>
              <a:gd name="connsiteX2827" fmla="*/ 5915014 w 10505529"/>
              <a:gd name="connsiteY2827" fmla="*/ 7002980 h 7458372"/>
              <a:gd name="connsiteX2828" fmla="*/ 5917677 w 10505529"/>
              <a:gd name="connsiteY2828" fmla="*/ 6998721 h 7458372"/>
              <a:gd name="connsiteX2829" fmla="*/ 5918742 w 10505529"/>
              <a:gd name="connsiteY2829" fmla="*/ 6993263 h 7458372"/>
              <a:gd name="connsiteX2830" fmla="*/ 5917677 w 10505529"/>
              <a:gd name="connsiteY2830" fmla="*/ 6988071 h 7458372"/>
              <a:gd name="connsiteX2831" fmla="*/ 5915014 w 10505529"/>
              <a:gd name="connsiteY2831" fmla="*/ 6983945 h 7458372"/>
              <a:gd name="connsiteX2832" fmla="*/ 5911021 w 10505529"/>
              <a:gd name="connsiteY2832" fmla="*/ 6981283 h 7458372"/>
              <a:gd name="connsiteX2833" fmla="*/ 5905963 w 10505529"/>
              <a:gd name="connsiteY2833" fmla="*/ 6980351 h 7458372"/>
              <a:gd name="connsiteX2834" fmla="*/ 5688451 w 10505529"/>
              <a:gd name="connsiteY2834" fmla="*/ 6980351 h 7458372"/>
              <a:gd name="connsiteX2835" fmla="*/ 5678467 w 10505529"/>
              <a:gd name="connsiteY2835" fmla="*/ 6983945 h 7458372"/>
              <a:gd name="connsiteX2836" fmla="*/ 5674873 w 10505529"/>
              <a:gd name="connsiteY2836" fmla="*/ 6993396 h 7458372"/>
              <a:gd name="connsiteX2837" fmla="*/ 5678467 w 10505529"/>
              <a:gd name="connsiteY2837" fmla="*/ 7002848 h 7458372"/>
              <a:gd name="connsiteX2838" fmla="*/ 5688451 w 10505529"/>
              <a:gd name="connsiteY2838" fmla="*/ 7006442 h 7458372"/>
              <a:gd name="connsiteX2839" fmla="*/ 5693775 w 10505529"/>
              <a:gd name="connsiteY2839" fmla="*/ 7005378 h 7458372"/>
              <a:gd name="connsiteX2840" fmla="*/ 5697502 w 10505529"/>
              <a:gd name="connsiteY2840" fmla="*/ 7002980 h 7458372"/>
              <a:gd name="connsiteX2841" fmla="*/ 5700165 w 10505529"/>
              <a:gd name="connsiteY2841" fmla="*/ 6998721 h 7458372"/>
              <a:gd name="connsiteX2842" fmla="*/ 5701230 w 10505529"/>
              <a:gd name="connsiteY2842" fmla="*/ 6993263 h 7458372"/>
              <a:gd name="connsiteX2843" fmla="*/ 5700165 w 10505529"/>
              <a:gd name="connsiteY2843" fmla="*/ 6988071 h 7458372"/>
              <a:gd name="connsiteX2844" fmla="*/ 5697502 w 10505529"/>
              <a:gd name="connsiteY2844" fmla="*/ 6983945 h 7458372"/>
              <a:gd name="connsiteX2845" fmla="*/ 5693509 w 10505529"/>
              <a:gd name="connsiteY2845" fmla="*/ 6981283 h 7458372"/>
              <a:gd name="connsiteX2846" fmla="*/ 5688451 w 10505529"/>
              <a:gd name="connsiteY2846" fmla="*/ 6980351 h 7458372"/>
              <a:gd name="connsiteX2847" fmla="*/ 5470806 w 10505529"/>
              <a:gd name="connsiteY2847" fmla="*/ 6980351 h 7458372"/>
              <a:gd name="connsiteX2848" fmla="*/ 5460822 w 10505529"/>
              <a:gd name="connsiteY2848" fmla="*/ 6983945 h 7458372"/>
              <a:gd name="connsiteX2849" fmla="*/ 5457228 w 10505529"/>
              <a:gd name="connsiteY2849" fmla="*/ 6993396 h 7458372"/>
              <a:gd name="connsiteX2850" fmla="*/ 5460822 w 10505529"/>
              <a:gd name="connsiteY2850" fmla="*/ 7002848 h 7458372"/>
              <a:gd name="connsiteX2851" fmla="*/ 5470806 w 10505529"/>
              <a:gd name="connsiteY2851" fmla="*/ 7006442 h 7458372"/>
              <a:gd name="connsiteX2852" fmla="*/ 5476130 w 10505529"/>
              <a:gd name="connsiteY2852" fmla="*/ 7005378 h 7458372"/>
              <a:gd name="connsiteX2853" fmla="*/ 5479857 w 10505529"/>
              <a:gd name="connsiteY2853" fmla="*/ 7002980 h 7458372"/>
              <a:gd name="connsiteX2854" fmla="*/ 5482520 w 10505529"/>
              <a:gd name="connsiteY2854" fmla="*/ 6998721 h 7458372"/>
              <a:gd name="connsiteX2855" fmla="*/ 5483585 w 10505529"/>
              <a:gd name="connsiteY2855" fmla="*/ 6993263 h 7458372"/>
              <a:gd name="connsiteX2856" fmla="*/ 5482520 w 10505529"/>
              <a:gd name="connsiteY2856" fmla="*/ 6988071 h 7458372"/>
              <a:gd name="connsiteX2857" fmla="*/ 5479857 w 10505529"/>
              <a:gd name="connsiteY2857" fmla="*/ 6983945 h 7458372"/>
              <a:gd name="connsiteX2858" fmla="*/ 5475864 w 10505529"/>
              <a:gd name="connsiteY2858" fmla="*/ 6981283 h 7458372"/>
              <a:gd name="connsiteX2859" fmla="*/ 5470806 w 10505529"/>
              <a:gd name="connsiteY2859" fmla="*/ 6980351 h 7458372"/>
              <a:gd name="connsiteX2860" fmla="*/ 5253160 w 10505529"/>
              <a:gd name="connsiteY2860" fmla="*/ 6980351 h 7458372"/>
              <a:gd name="connsiteX2861" fmla="*/ 5243177 w 10505529"/>
              <a:gd name="connsiteY2861" fmla="*/ 6983945 h 7458372"/>
              <a:gd name="connsiteX2862" fmla="*/ 5239583 w 10505529"/>
              <a:gd name="connsiteY2862" fmla="*/ 6993396 h 7458372"/>
              <a:gd name="connsiteX2863" fmla="*/ 5243177 w 10505529"/>
              <a:gd name="connsiteY2863" fmla="*/ 7002848 h 7458372"/>
              <a:gd name="connsiteX2864" fmla="*/ 5253160 w 10505529"/>
              <a:gd name="connsiteY2864" fmla="*/ 7006442 h 7458372"/>
              <a:gd name="connsiteX2865" fmla="*/ 5258485 w 10505529"/>
              <a:gd name="connsiteY2865" fmla="*/ 7005378 h 7458372"/>
              <a:gd name="connsiteX2866" fmla="*/ 5262212 w 10505529"/>
              <a:gd name="connsiteY2866" fmla="*/ 7002980 h 7458372"/>
              <a:gd name="connsiteX2867" fmla="*/ 5264875 w 10505529"/>
              <a:gd name="connsiteY2867" fmla="*/ 6998721 h 7458372"/>
              <a:gd name="connsiteX2868" fmla="*/ 5265939 w 10505529"/>
              <a:gd name="connsiteY2868" fmla="*/ 6993263 h 7458372"/>
              <a:gd name="connsiteX2869" fmla="*/ 5264875 w 10505529"/>
              <a:gd name="connsiteY2869" fmla="*/ 6988071 h 7458372"/>
              <a:gd name="connsiteX2870" fmla="*/ 5262212 w 10505529"/>
              <a:gd name="connsiteY2870" fmla="*/ 6983945 h 7458372"/>
              <a:gd name="connsiteX2871" fmla="*/ 5258219 w 10505529"/>
              <a:gd name="connsiteY2871" fmla="*/ 6981283 h 7458372"/>
              <a:gd name="connsiteX2872" fmla="*/ 5253160 w 10505529"/>
              <a:gd name="connsiteY2872" fmla="*/ 6980351 h 7458372"/>
              <a:gd name="connsiteX2873" fmla="*/ 5035515 w 10505529"/>
              <a:gd name="connsiteY2873" fmla="*/ 6980351 h 7458372"/>
              <a:gd name="connsiteX2874" fmla="*/ 5025532 w 10505529"/>
              <a:gd name="connsiteY2874" fmla="*/ 6983945 h 7458372"/>
              <a:gd name="connsiteX2875" fmla="*/ 5021938 w 10505529"/>
              <a:gd name="connsiteY2875" fmla="*/ 6993396 h 7458372"/>
              <a:gd name="connsiteX2876" fmla="*/ 5025532 w 10505529"/>
              <a:gd name="connsiteY2876" fmla="*/ 7002848 h 7458372"/>
              <a:gd name="connsiteX2877" fmla="*/ 5035515 w 10505529"/>
              <a:gd name="connsiteY2877" fmla="*/ 7006442 h 7458372"/>
              <a:gd name="connsiteX2878" fmla="*/ 5040840 w 10505529"/>
              <a:gd name="connsiteY2878" fmla="*/ 7005378 h 7458372"/>
              <a:gd name="connsiteX2879" fmla="*/ 5044567 w 10505529"/>
              <a:gd name="connsiteY2879" fmla="*/ 7002980 h 7458372"/>
              <a:gd name="connsiteX2880" fmla="*/ 5047230 w 10505529"/>
              <a:gd name="connsiteY2880" fmla="*/ 6998721 h 7458372"/>
              <a:gd name="connsiteX2881" fmla="*/ 5048294 w 10505529"/>
              <a:gd name="connsiteY2881" fmla="*/ 6993263 h 7458372"/>
              <a:gd name="connsiteX2882" fmla="*/ 5047230 w 10505529"/>
              <a:gd name="connsiteY2882" fmla="*/ 6988071 h 7458372"/>
              <a:gd name="connsiteX2883" fmla="*/ 5044567 w 10505529"/>
              <a:gd name="connsiteY2883" fmla="*/ 6983945 h 7458372"/>
              <a:gd name="connsiteX2884" fmla="*/ 5040574 w 10505529"/>
              <a:gd name="connsiteY2884" fmla="*/ 6981283 h 7458372"/>
              <a:gd name="connsiteX2885" fmla="*/ 5035515 w 10505529"/>
              <a:gd name="connsiteY2885" fmla="*/ 6980351 h 7458372"/>
              <a:gd name="connsiteX2886" fmla="*/ 4817870 w 10505529"/>
              <a:gd name="connsiteY2886" fmla="*/ 6980351 h 7458372"/>
              <a:gd name="connsiteX2887" fmla="*/ 4807887 w 10505529"/>
              <a:gd name="connsiteY2887" fmla="*/ 6983945 h 7458372"/>
              <a:gd name="connsiteX2888" fmla="*/ 4804293 w 10505529"/>
              <a:gd name="connsiteY2888" fmla="*/ 6993396 h 7458372"/>
              <a:gd name="connsiteX2889" fmla="*/ 4807887 w 10505529"/>
              <a:gd name="connsiteY2889" fmla="*/ 7002848 h 7458372"/>
              <a:gd name="connsiteX2890" fmla="*/ 4817870 w 10505529"/>
              <a:gd name="connsiteY2890" fmla="*/ 7006442 h 7458372"/>
              <a:gd name="connsiteX2891" fmla="*/ 4823195 w 10505529"/>
              <a:gd name="connsiteY2891" fmla="*/ 7005378 h 7458372"/>
              <a:gd name="connsiteX2892" fmla="*/ 4826922 w 10505529"/>
              <a:gd name="connsiteY2892" fmla="*/ 7002980 h 7458372"/>
              <a:gd name="connsiteX2893" fmla="*/ 4829585 w 10505529"/>
              <a:gd name="connsiteY2893" fmla="*/ 6998721 h 7458372"/>
              <a:gd name="connsiteX2894" fmla="*/ 4830650 w 10505529"/>
              <a:gd name="connsiteY2894" fmla="*/ 6993263 h 7458372"/>
              <a:gd name="connsiteX2895" fmla="*/ 4829585 w 10505529"/>
              <a:gd name="connsiteY2895" fmla="*/ 6988071 h 7458372"/>
              <a:gd name="connsiteX2896" fmla="*/ 4826922 w 10505529"/>
              <a:gd name="connsiteY2896" fmla="*/ 6983945 h 7458372"/>
              <a:gd name="connsiteX2897" fmla="*/ 4822929 w 10505529"/>
              <a:gd name="connsiteY2897" fmla="*/ 6981283 h 7458372"/>
              <a:gd name="connsiteX2898" fmla="*/ 4817870 w 10505529"/>
              <a:gd name="connsiteY2898" fmla="*/ 6980351 h 7458372"/>
              <a:gd name="connsiteX2899" fmla="*/ 4600226 w 10505529"/>
              <a:gd name="connsiteY2899" fmla="*/ 6980351 h 7458372"/>
              <a:gd name="connsiteX2900" fmla="*/ 4590242 w 10505529"/>
              <a:gd name="connsiteY2900" fmla="*/ 6983945 h 7458372"/>
              <a:gd name="connsiteX2901" fmla="*/ 4586648 w 10505529"/>
              <a:gd name="connsiteY2901" fmla="*/ 6993396 h 7458372"/>
              <a:gd name="connsiteX2902" fmla="*/ 4590242 w 10505529"/>
              <a:gd name="connsiteY2902" fmla="*/ 7002848 h 7458372"/>
              <a:gd name="connsiteX2903" fmla="*/ 4600226 w 10505529"/>
              <a:gd name="connsiteY2903" fmla="*/ 7006442 h 7458372"/>
              <a:gd name="connsiteX2904" fmla="*/ 4605550 w 10505529"/>
              <a:gd name="connsiteY2904" fmla="*/ 7005378 h 7458372"/>
              <a:gd name="connsiteX2905" fmla="*/ 4609277 w 10505529"/>
              <a:gd name="connsiteY2905" fmla="*/ 7002980 h 7458372"/>
              <a:gd name="connsiteX2906" fmla="*/ 4611940 w 10505529"/>
              <a:gd name="connsiteY2906" fmla="*/ 6998721 h 7458372"/>
              <a:gd name="connsiteX2907" fmla="*/ 4613005 w 10505529"/>
              <a:gd name="connsiteY2907" fmla="*/ 6993263 h 7458372"/>
              <a:gd name="connsiteX2908" fmla="*/ 4611940 w 10505529"/>
              <a:gd name="connsiteY2908" fmla="*/ 6988071 h 7458372"/>
              <a:gd name="connsiteX2909" fmla="*/ 4609277 w 10505529"/>
              <a:gd name="connsiteY2909" fmla="*/ 6983945 h 7458372"/>
              <a:gd name="connsiteX2910" fmla="*/ 4605284 w 10505529"/>
              <a:gd name="connsiteY2910" fmla="*/ 6981283 h 7458372"/>
              <a:gd name="connsiteX2911" fmla="*/ 4600226 w 10505529"/>
              <a:gd name="connsiteY2911" fmla="*/ 6980351 h 7458372"/>
              <a:gd name="connsiteX2912" fmla="*/ 4382713 w 10505529"/>
              <a:gd name="connsiteY2912" fmla="*/ 6980351 h 7458372"/>
              <a:gd name="connsiteX2913" fmla="*/ 4372730 w 10505529"/>
              <a:gd name="connsiteY2913" fmla="*/ 6983945 h 7458372"/>
              <a:gd name="connsiteX2914" fmla="*/ 4369136 w 10505529"/>
              <a:gd name="connsiteY2914" fmla="*/ 6993396 h 7458372"/>
              <a:gd name="connsiteX2915" fmla="*/ 4372730 w 10505529"/>
              <a:gd name="connsiteY2915" fmla="*/ 7002848 h 7458372"/>
              <a:gd name="connsiteX2916" fmla="*/ 4382713 w 10505529"/>
              <a:gd name="connsiteY2916" fmla="*/ 7006442 h 7458372"/>
              <a:gd name="connsiteX2917" fmla="*/ 4388038 w 10505529"/>
              <a:gd name="connsiteY2917" fmla="*/ 7005378 h 7458372"/>
              <a:gd name="connsiteX2918" fmla="*/ 4391765 w 10505529"/>
              <a:gd name="connsiteY2918" fmla="*/ 7002980 h 7458372"/>
              <a:gd name="connsiteX2919" fmla="*/ 4394428 w 10505529"/>
              <a:gd name="connsiteY2919" fmla="*/ 6998721 h 7458372"/>
              <a:gd name="connsiteX2920" fmla="*/ 4395493 w 10505529"/>
              <a:gd name="connsiteY2920" fmla="*/ 6993263 h 7458372"/>
              <a:gd name="connsiteX2921" fmla="*/ 4394428 w 10505529"/>
              <a:gd name="connsiteY2921" fmla="*/ 6988071 h 7458372"/>
              <a:gd name="connsiteX2922" fmla="*/ 4391765 w 10505529"/>
              <a:gd name="connsiteY2922" fmla="*/ 6983945 h 7458372"/>
              <a:gd name="connsiteX2923" fmla="*/ 4387772 w 10505529"/>
              <a:gd name="connsiteY2923" fmla="*/ 6981283 h 7458372"/>
              <a:gd name="connsiteX2924" fmla="*/ 4382713 w 10505529"/>
              <a:gd name="connsiteY2924" fmla="*/ 6980351 h 7458372"/>
              <a:gd name="connsiteX2925" fmla="*/ 4165068 w 10505529"/>
              <a:gd name="connsiteY2925" fmla="*/ 6980351 h 7458372"/>
              <a:gd name="connsiteX2926" fmla="*/ 4155084 w 10505529"/>
              <a:gd name="connsiteY2926" fmla="*/ 6983945 h 7458372"/>
              <a:gd name="connsiteX2927" fmla="*/ 4151490 w 10505529"/>
              <a:gd name="connsiteY2927" fmla="*/ 6993396 h 7458372"/>
              <a:gd name="connsiteX2928" fmla="*/ 4155084 w 10505529"/>
              <a:gd name="connsiteY2928" fmla="*/ 7002848 h 7458372"/>
              <a:gd name="connsiteX2929" fmla="*/ 4165068 w 10505529"/>
              <a:gd name="connsiteY2929" fmla="*/ 7006442 h 7458372"/>
              <a:gd name="connsiteX2930" fmla="*/ 4170392 w 10505529"/>
              <a:gd name="connsiteY2930" fmla="*/ 7005378 h 7458372"/>
              <a:gd name="connsiteX2931" fmla="*/ 4174119 w 10505529"/>
              <a:gd name="connsiteY2931" fmla="*/ 7002980 h 7458372"/>
              <a:gd name="connsiteX2932" fmla="*/ 4176782 w 10505529"/>
              <a:gd name="connsiteY2932" fmla="*/ 6998721 h 7458372"/>
              <a:gd name="connsiteX2933" fmla="*/ 4177847 w 10505529"/>
              <a:gd name="connsiteY2933" fmla="*/ 6993263 h 7458372"/>
              <a:gd name="connsiteX2934" fmla="*/ 4176782 w 10505529"/>
              <a:gd name="connsiteY2934" fmla="*/ 6988071 h 7458372"/>
              <a:gd name="connsiteX2935" fmla="*/ 4174119 w 10505529"/>
              <a:gd name="connsiteY2935" fmla="*/ 6983945 h 7458372"/>
              <a:gd name="connsiteX2936" fmla="*/ 4170126 w 10505529"/>
              <a:gd name="connsiteY2936" fmla="*/ 6981283 h 7458372"/>
              <a:gd name="connsiteX2937" fmla="*/ 4165068 w 10505529"/>
              <a:gd name="connsiteY2937" fmla="*/ 6980351 h 7458372"/>
              <a:gd name="connsiteX2938" fmla="*/ 3947802 w 10505529"/>
              <a:gd name="connsiteY2938" fmla="*/ 6980351 h 7458372"/>
              <a:gd name="connsiteX2939" fmla="*/ 3937819 w 10505529"/>
              <a:gd name="connsiteY2939" fmla="*/ 6983945 h 7458372"/>
              <a:gd name="connsiteX2940" fmla="*/ 3934224 w 10505529"/>
              <a:gd name="connsiteY2940" fmla="*/ 6993396 h 7458372"/>
              <a:gd name="connsiteX2941" fmla="*/ 3937819 w 10505529"/>
              <a:gd name="connsiteY2941" fmla="*/ 7002848 h 7458372"/>
              <a:gd name="connsiteX2942" fmla="*/ 3947802 w 10505529"/>
              <a:gd name="connsiteY2942" fmla="*/ 7006442 h 7458372"/>
              <a:gd name="connsiteX2943" fmla="*/ 3953131 w 10505529"/>
              <a:gd name="connsiteY2943" fmla="*/ 7005378 h 7458372"/>
              <a:gd name="connsiteX2944" fmla="*/ 3956858 w 10505529"/>
              <a:gd name="connsiteY2944" fmla="*/ 7002980 h 7458372"/>
              <a:gd name="connsiteX2945" fmla="*/ 3959521 w 10505529"/>
              <a:gd name="connsiteY2945" fmla="*/ 6998721 h 7458372"/>
              <a:gd name="connsiteX2946" fmla="*/ 3960587 w 10505529"/>
              <a:gd name="connsiteY2946" fmla="*/ 6993263 h 7458372"/>
              <a:gd name="connsiteX2947" fmla="*/ 3959521 w 10505529"/>
              <a:gd name="connsiteY2947" fmla="*/ 6988071 h 7458372"/>
              <a:gd name="connsiteX2948" fmla="*/ 3956858 w 10505529"/>
              <a:gd name="connsiteY2948" fmla="*/ 6983945 h 7458372"/>
              <a:gd name="connsiteX2949" fmla="*/ 3952865 w 10505529"/>
              <a:gd name="connsiteY2949" fmla="*/ 6981283 h 7458372"/>
              <a:gd name="connsiteX2950" fmla="*/ 3947802 w 10505529"/>
              <a:gd name="connsiteY2950" fmla="*/ 6980351 h 7458372"/>
              <a:gd name="connsiteX2951" fmla="*/ 3730141 w 10505529"/>
              <a:gd name="connsiteY2951" fmla="*/ 6980351 h 7458372"/>
              <a:gd name="connsiteX2952" fmla="*/ 3720153 w 10505529"/>
              <a:gd name="connsiteY2952" fmla="*/ 6983945 h 7458372"/>
              <a:gd name="connsiteX2953" fmla="*/ 3716560 w 10505529"/>
              <a:gd name="connsiteY2953" fmla="*/ 6993396 h 7458372"/>
              <a:gd name="connsiteX2954" fmla="*/ 3720153 w 10505529"/>
              <a:gd name="connsiteY2954" fmla="*/ 7002848 h 7458372"/>
              <a:gd name="connsiteX2955" fmla="*/ 3730141 w 10505529"/>
              <a:gd name="connsiteY2955" fmla="*/ 7006442 h 7458372"/>
              <a:gd name="connsiteX2956" fmla="*/ 3735466 w 10505529"/>
              <a:gd name="connsiteY2956" fmla="*/ 7005378 h 7458372"/>
              <a:gd name="connsiteX2957" fmla="*/ 3739193 w 10505529"/>
              <a:gd name="connsiteY2957" fmla="*/ 7002980 h 7458372"/>
              <a:gd name="connsiteX2958" fmla="*/ 3741856 w 10505529"/>
              <a:gd name="connsiteY2958" fmla="*/ 6998721 h 7458372"/>
              <a:gd name="connsiteX2959" fmla="*/ 3742921 w 10505529"/>
              <a:gd name="connsiteY2959" fmla="*/ 6993263 h 7458372"/>
              <a:gd name="connsiteX2960" fmla="*/ 3741856 w 10505529"/>
              <a:gd name="connsiteY2960" fmla="*/ 6988071 h 7458372"/>
              <a:gd name="connsiteX2961" fmla="*/ 3739193 w 10505529"/>
              <a:gd name="connsiteY2961" fmla="*/ 6983945 h 7458372"/>
              <a:gd name="connsiteX2962" fmla="*/ 3735200 w 10505529"/>
              <a:gd name="connsiteY2962" fmla="*/ 6981283 h 7458372"/>
              <a:gd name="connsiteX2963" fmla="*/ 3730141 w 10505529"/>
              <a:gd name="connsiteY2963" fmla="*/ 6980351 h 7458372"/>
              <a:gd name="connsiteX2964" fmla="*/ 3512475 w 10505529"/>
              <a:gd name="connsiteY2964" fmla="*/ 6980351 h 7458372"/>
              <a:gd name="connsiteX2965" fmla="*/ 3502485 w 10505529"/>
              <a:gd name="connsiteY2965" fmla="*/ 6983945 h 7458372"/>
              <a:gd name="connsiteX2966" fmla="*/ 3498892 w 10505529"/>
              <a:gd name="connsiteY2966" fmla="*/ 6993396 h 7458372"/>
              <a:gd name="connsiteX2967" fmla="*/ 3502485 w 10505529"/>
              <a:gd name="connsiteY2967" fmla="*/ 7002848 h 7458372"/>
              <a:gd name="connsiteX2968" fmla="*/ 3512475 w 10505529"/>
              <a:gd name="connsiteY2968" fmla="*/ 7006442 h 7458372"/>
              <a:gd name="connsiteX2969" fmla="*/ 3517801 w 10505529"/>
              <a:gd name="connsiteY2969" fmla="*/ 7005378 h 7458372"/>
              <a:gd name="connsiteX2970" fmla="*/ 3521528 w 10505529"/>
              <a:gd name="connsiteY2970" fmla="*/ 7002980 h 7458372"/>
              <a:gd name="connsiteX2971" fmla="*/ 3524191 w 10505529"/>
              <a:gd name="connsiteY2971" fmla="*/ 6998721 h 7458372"/>
              <a:gd name="connsiteX2972" fmla="*/ 3525257 w 10505529"/>
              <a:gd name="connsiteY2972" fmla="*/ 6993263 h 7458372"/>
              <a:gd name="connsiteX2973" fmla="*/ 3524191 w 10505529"/>
              <a:gd name="connsiteY2973" fmla="*/ 6988071 h 7458372"/>
              <a:gd name="connsiteX2974" fmla="*/ 3521528 w 10505529"/>
              <a:gd name="connsiteY2974" fmla="*/ 6983945 h 7458372"/>
              <a:gd name="connsiteX2975" fmla="*/ 3517535 w 10505529"/>
              <a:gd name="connsiteY2975" fmla="*/ 6981283 h 7458372"/>
              <a:gd name="connsiteX2976" fmla="*/ 3512475 w 10505529"/>
              <a:gd name="connsiteY2976" fmla="*/ 6980351 h 7458372"/>
              <a:gd name="connsiteX2977" fmla="*/ 3294943 w 10505529"/>
              <a:gd name="connsiteY2977" fmla="*/ 6980351 h 7458372"/>
              <a:gd name="connsiteX2978" fmla="*/ 3284956 w 10505529"/>
              <a:gd name="connsiteY2978" fmla="*/ 6983945 h 7458372"/>
              <a:gd name="connsiteX2979" fmla="*/ 3281362 w 10505529"/>
              <a:gd name="connsiteY2979" fmla="*/ 6993396 h 7458372"/>
              <a:gd name="connsiteX2980" fmla="*/ 3284956 w 10505529"/>
              <a:gd name="connsiteY2980" fmla="*/ 7002848 h 7458372"/>
              <a:gd name="connsiteX2981" fmla="*/ 3294943 w 10505529"/>
              <a:gd name="connsiteY2981" fmla="*/ 7006442 h 7458372"/>
              <a:gd name="connsiteX2982" fmla="*/ 3300270 w 10505529"/>
              <a:gd name="connsiteY2982" fmla="*/ 7005378 h 7458372"/>
              <a:gd name="connsiteX2983" fmla="*/ 3303996 w 10505529"/>
              <a:gd name="connsiteY2983" fmla="*/ 7002980 h 7458372"/>
              <a:gd name="connsiteX2984" fmla="*/ 3306660 w 10505529"/>
              <a:gd name="connsiteY2984" fmla="*/ 6998721 h 7458372"/>
              <a:gd name="connsiteX2985" fmla="*/ 3307723 w 10505529"/>
              <a:gd name="connsiteY2985" fmla="*/ 6993263 h 7458372"/>
              <a:gd name="connsiteX2986" fmla="*/ 3306660 w 10505529"/>
              <a:gd name="connsiteY2986" fmla="*/ 6988071 h 7458372"/>
              <a:gd name="connsiteX2987" fmla="*/ 3303996 w 10505529"/>
              <a:gd name="connsiteY2987" fmla="*/ 6983945 h 7458372"/>
              <a:gd name="connsiteX2988" fmla="*/ 3300003 w 10505529"/>
              <a:gd name="connsiteY2988" fmla="*/ 6981283 h 7458372"/>
              <a:gd name="connsiteX2989" fmla="*/ 3294943 w 10505529"/>
              <a:gd name="connsiteY2989" fmla="*/ 6980351 h 7458372"/>
              <a:gd name="connsiteX2990" fmla="*/ 3077412 w 10505529"/>
              <a:gd name="connsiteY2990" fmla="*/ 6980351 h 7458372"/>
              <a:gd name="connsiteX2991" fmla="*/ 3067428 w 10505529"/>
              <a:gd name="connsiteY2991" fmla="*/ 6983945 h 7458372"/>
              <a:gd name="connsiteX2992" fmla="*/ 3063697 w 10505529"/>
              <a:gd name="connsiteY2992" fmla="*/ 6993396 h 7458372"/>
              <a:gd name="connsiteX2993" fmla="*/ 3067293 w 10505529"/>
              <a:gd name="connsiteY2993" fmla="*/ 7002848 h 7458372"/>
              <a:gd name="connsiteX2994" fmla="*/ 3077279 w 10505529"/>
              <a:gd name="connsiteY2994" fmla="*/ 7006442 h 7458372"/>
              <a:gd name="connsiteX2995" fmla="*/ 3082737 w 10505529"/>
              <a:gd name="connsiteY2995" fmla="*/ 7005378 h 7458372"/>
              <a:gd name="connsiteX2996" fmla="*/ 3086465 w 10505529"/>
              <a:gd name="connsiteY2996" fmla="*/ 7002980 h 7458372"/>
              <a:gd name="connsiteX2997" fmla="*/ 3089127 w 10505529"/>
              <a:gd name="connsiteY2997" fmla="*/ 6998721 h 7458372"/>
              <a:gd name="connsiteX2998" fmla="*/ 3090059 w 10505529"/>
              <a:gd name="connsiteY2998" fmla="*/ 6993263 h 7458372"/>
              <a:gd name="connsiteX2999" fmla="*/ 3089127 w 10505529"/>
              <a:gd name="connsiteY2999" fmla="*/ 6988071 h 7458372"/>
              <a:gd name="connsiteX3000" fmla="*/ 3086465 w 10505529"/>
              <a:gd name="connsiteY3000" fmla="*/ 6983945 h 7458372"/>
              <a:gd name="connsiteX3001" fmla="*/ 3082471 w 10505529"/>
              <a:gd name="connsiteY3001" fmla="*/ 6981283 h 7458372"/>
              <a:gd name="connsiteX3002" fmla="*/ 3077412 w 10505529"/>
              <a:gd name="connsiteY3002" fmla="*/ 6980351 h 7458372"/>
              <a:gd name="connsiteX3003" fmla="*/ 2859614 w 10505529"/>
              <a:gd name="connsiteY3003" fmla="*/ 6980351 h 7458372"/>
              <a:gd name="connsiteX3004" fmla="*/ 2849628 w 10505529"/>
              <a:gd name="connsiteY3004" fmla="*/ 6983945 h 7458372"/>
              <a:gd name="connsiteX3005" fmla="*/ 2846027 w 10505529"/>
              <a:gd name="connsiteY3005" fmla="*/ 6993396 h 7458372"/>
              <a:gd name="connsiteX3006" fmla="*/ 2849628 w 10505529"/>
              <a:gd name="connsiteY3006" fmla="*/ 7002848 h 7458372"/>
              <a:gd name="connsiteX3007" fmla="*/ 2859614 w 10505529"/>
              <a:gd name="connsiteY3007" fmla="*/ 7006442 h 7458372"/>
              <a:gd name="connsiteX3008" fmla="*/ 2864939 w 10505529"/>
              <a:gd name="connsiteY3008" fmla="*/ 7005378 h 7458372"/>
              <a:gd name="connsiteX3009" fmla="*/ 2868666 w 10505529"/>
              <a:gd name="connsiteY3009" fmla="*/ 7002980 h 7458372"/>
              <a:gd name="connsiteX3010" fmla="*/ 2871329 w 10505529"/>
              <a:gd name="connsiteY3010" fmla="*/ 6998721 h 7458372"/>
              <a:gd name="connsiteX3011" fmla="*/ 2872260 w 10505529"/>
              <a:gd name="connsiteY3011" fmla="*/ 6993263 h 7458372"/>
              <a:gd name="connsiteX3012" fmla="*/ 2871329 w 10505529"/>
              <a:gd name="connsiteY3012" fmla="*/ 6988071 h 7458372"/>
              <a:gd name="connsiteX3013" fmla="*/ 2868666 w 10505529"/>
              <a:gd name="connsiteY3013" fmla="*/ 6983945 h 7458372"/>
              <a:gd name="connsiteX3014" fmla="*/ 2864673 w 10505529"/>
              <a:gd name="connsiteY3014" fmla="*/ 6981283 h 7458372"/>
              <a:gd name="connsiteX3015" fmla="*/ 2859614 w 10505529"/>
              <a:gd name="connsiteY3015" fmla="*/ 6980351 h 7458372"/>
              <a:gd name="connsiteX3016" fmla="*/ 2641949 w 10505529"/>
              <a:gd name="connsiteY3016" fmla="*/ 6980351 h 7458372"/>
              <a:gd name="connsiteX3017" fmla="*/ 2631966 w 10505529"/>
              <a:gd name="connsiteY3017" fmla="*/ 6983945 h 7458372"/>
              <a:gd name="connsiteX3018" fmla="*/ 2628371 w 10505529"/>
              <a:gd name="connsiteY3018" fmla="*/ 6993396 h 7458372"/>
              <a:gd name="connsiteX3019" fmla="*/ 2631966 w 10505529"/>
              <a:gd name="connsiteY3019" fmla="*/ 7002848 h 7458372"/>
              <a:gd name="connsiteX3020" fmla="*/ 2641949 w 10505529"/>
              <a:gd name="connsiteY3020" fmla="*/ 7006442 h 7458372"/>
              <a:gd name="connsiteX3021" fmla="*/ 2647274 w 10505529"/>
              <a:gd name="connsiteY3021" fmla="*/ 7005378 h 7458372"/>
              <a:gd name="connsiteX3022" fmla="*/ 2651001 w 10505529"/>
              <a:gd name="connsiteY3022" fmla="*/ 7002980 h 7458372"/>
              <a:gd name="connsiteX3023" fmla="*/ 2653664 w 10505529"/>
              <a:gd name="connsiteY3023" fmla="*/ 6998721 h 7458372"/>
              <a:gd name="connsiteX3024" fmla="*/ 2654595 w 10505529"/>
              <a:gd name="connsiteY3024" fmla="*/ 6993263 h 7458372"/>
              <a:gd name="connsiteX3025" fmla="*/ 2653664 w 10505529"/>
              <a:gd name="connsiteY3025" fmla="*/ 6988071 h 7458372"/>
              <a:gd name="connsiteX3026" fmla="*/ 2651001 w 10505529"/>
              <a:gd name="connsiteY3026" fmla="*/ 6983945 h 7458372"/>
              <a:gd name="connsiteX3027" fmla="*/ 2647008 w 10505529"/>
              <a:gd name="connsiteY3027" fmla="*/ 6981283 h 7458372"/>
              <a:gd name="connsiteX3028" fmla="*/ 2641949 w 10505529"/>
              <a:gd name="connsiteY3028" fmla="*/ 6980351 h 7458372"/>
              <a:gd name="connsiteX3029" fmla="*/ 2424283 w 10505529"/>
              <a:gd name="connsiteY3029" fmla="*/ 6980351 h 7458372"/>
              <a:gd name="connsiteX3030" fmla="*/ 2414300 w 10505529"/>
              <a:gd name="connsiteY3030" fmla="*/ 6983945 h 7458372"/>
              <a:gd name="connsiteX3031" fmla="*/ 2410706 w 10505529"/>
              <a:gd name="connsiteY3031" fmla="*/ 6993396 h 7458372"/>
              <a:gd name="connsiteX3032" fmla="*/ 2414300 w 10505529"/>
              <a:gd name="connsiteY3032" fmla="*/ 7002848 h 7458372"/>
              <a:gd name="connsiteX3033" fmla="*/ 2424283 w 10505529"/>
              <a:gd name="connsiteY3033" fmla="*/ 7006442 h 7458372"/>
              <a:gd name="connsiteX3034" fmla="*/ 2429609 w 10505529"/>
              <a:gd name="connsiteY3034" fmla="*/ 7005378 h 7458372"/>
              <a:gd name="connsiteX3035" fmla="*/ 2433336 w 10505529"/>
              <a:gd name="connsiteY3035" fmla="*/ 7002980 h 7458372"/>
              <a:gd name="connsiteX3036" fmla="*/ 2435999 w 10505529"/>
              <a:gd name="connsiteY3036" fmla="*/ 6998721 h 7458372"/>
              <a:gd name="connsiteX3037" fmla="*/ 2436930 w 10505529"/>
              <a:gd name="connsiteY3037" fmla="*/ 6993263 h 7458372"/>
              <a:gd name="connsiteX3038" fmla="*/ 2435999 w 10505529"/>
              <a:gd name="connsiteY3038" fmla="*/ 6988071 h 7458372"/>
              <a:gd name="connsiteX3039" fmla="*/ 2433336 w 10505529"/>
              <a:gd name="connsiteY3039" fmla="*/ 6983945 h 7458372"/>
              <a:gd name="connsiteX3040" fmla="*/ 2429343 w 10505529"/>
              <a:gd name="connsiteY3040" fmla="*/ 6981283 h 7458372"/>
              <a:gd name="connsiteX3041" fmla="*/ 2424283 w 10505529"/>
              <a:gd name="connsiteY3041" fmla="*/ 6980351 h 7458372"/>
              <a:gd name="connsiteX3042" fmla="*/ 2206619 w 10505529"/>
              <a:gd name="connsiteY3042" fmla="*/ 6980351 h 7458372"/>
              <a:gd name="connsiteX3043" fmla="*/ 2196635 w 10505529"/>
              <a:gd name="connsiteY3043" fmla="*/ 6983945 h 7458372"/>
              <a:gd name="connsiteX3044" fmla="*/ 2193041 w 10505529"/>
              <a:gd name="connsiteY3044" fmla="*/ 6993396 h 7458372"/>
              <a:gd name="connsiteX3045" fmla="*/ 2196635 w 10505529"/>
              <a:gd name="connsiteY3045" fmla="*/ 7002848 h 7458372"/>
              <a:gd name="connsiteX3046" fmla="*/ 2206619 w 10505529"/>
              <a:gd name="connsiteY3046" fmla="*/ 7006442 h 7458372"/>
              <a:gd name="connsiteX3047" fmla="*/ 2211944 w 10505529"/>
              <a:gd name="connsiteY3047" fmla="*/ 7005378 h 7458372"/>
              <a:gd name="connsiteX3048" fmla="*/ 2215670 w 10505529"/>
              <a:gd name="connsiteY3048" fmla="*/ 7002980 h 7458372"/>
              <a:gd name="connsiteX3049" fmla="*/ 2218334 w 10505529"/>
              <a:gd name="connsiteY3049" fmla="*/ 6998721 h 7458372"/>
              <a:gd name="connsiteX3050" fmla="*/ 2219265 w 10505529"/>
              <a:gd name="connsiteY3050" fmla="*/ 6993263 h 7458372"/>
              <a:gd name="connsiteX3051" fmla="*/ 2218334 w 10505529"/>
              <a:gd name="connsiteY3051" fmla="*/ 6988071 h 7458372"/>
              <a:gd name="connsiteX3052" fmla="*/ 2215670 w 10505529"/>
              <a:gd name="connsiteY3052" fmla="*/ 6983945 h 7458372"/>
              <a:gd name="connsiteX3053" fmla="*/ 2211677 w 10505529"/>
              <a:gd name="connsiteY3053" fmla="*/ 6981283 h 7458372"/>
              <a:gd name="connsiteX3054" fmla="*/ 2206619 w 10505529"/>
              <a:gd name="connsiteY3054" fmla="*/ 6980351 h 7458372"/>
              <a:gd name="connsiteX3055" fmla="*/ 1989086 w 10505529"/>
              <a:gd name="connsiteY3055" fmla="*/ 6980351 h 7458372"/>
              <a:gd name="connsiteX3056" fmla="*/ 1979103 w 10505529"/>
              <a:gd name="connsiteY3056" fmla="*/ 6983945 h 7458372"/>
              <a:gd name="connsiteX3057" fmla="*/ 1975509 w 10505529"/>
              <a:gd name="connsiteY3057" fmla="*/ 6993396 h 7458372"/>
              <a:gd name="connsiteX3058" fmla="*/ 1979103 w 10505529"/>
              <a:gd name="connsiteY3058" fmla="*/ 7002848 h 7458372"/>
              <a:gd name="connsiteX3059" fmla="*/ 1989086 w 10505529"/>
              <a:gd name="connsiteY3059" fmla="*/ 7006442 h 7458372"/>
              <a:gd name="connsiteX3060" fmla="*/ 1994411 w 10505529"/>
              <a:gd name="connsiteY3060" fmla="*/ 7005378 h 7458372"/>
              <a:gd name="connsiteX3061" fmla="*/ 1998139 w 10505529"/>
              <a:gd name="connsiteY3061" fmla="*/ 7002980 h 7458372"/>
              <a:gd name="connsiteX3062" fmla="*/ 2000802 w 10505529"/>
              <a:gd name="connsiteY3062" fmla="*/ 6998721 h 7458372"/>
              <a:gd name="connsiteX3063" fmla="*/ 2001732 w 10505529"/>
              <a:gd name="connsiteY3063" fmla="*/ 6993263 h 7458372"/>
              <a:gd name="connsiteX3064" fmla="*/ 2000802 w 10505529"/>
              <a:gd name="connsiteY3064" fmla="*/ 6988071 h 7458372"/>
              <a:gd name="connsiteX3065" fmla="*/ 1998139 w 10505529"/>
              <a:gd name="connsiteY3065" fmla="*/ 6983945 h 7458372"/>
              <a:gd name="connsiteX3066" fmla="*/ 1994145 w 10505529"/>
              <a:gd name="connsiteY3066" fmla="*/ 6981283 h 7458372"/>
              <a:gd name="connsiteX3067" fmla="*/ 1989086 w 10505529"/>
              <a:gd name="connsiteY3067" fmla="*/ 6980351 h 7458372"/>
              <a:gd name="connsiteX3068" fmla="*/ 1771456 w 10505529"/>
              <a:gd name="connsiteY3068" fmla="*/ 6980351 h 7458372"/>
              <a:gd name="connsiteX3069" fmla="*/ 1761473 w 10505529"/>
              <a:gd name="connsiteY3069" fmla="*/ 6983945 h 7458372"/>
              <a:gd name="connsiteX3070" fmla="*/ 1757880 w 10505529"/>
              <a:gd name="connsiteY3070" fmla="*/ 6993396 h 7458372"/>
              <a:gd name="connsiteX3071" fmla="*/ 1761473 w 10505529"/>
              <a:gd name="connsiteY3071" fmla="*/ 7002848 h 7458372"/>
              <a:gd name="connsiteX3072" fmla="*/ 1771456 w 10505529"/>
              <a:gd name="connsiteY3072" fmla="*/ 7006442 h 7458372"/>
              <a:gd name="connsiteX3073" fmla="*/ 1776780 w 10505529"/>
              <a:gd name="connsiteY3073" fmla="*/ 7005378 h 7458372"/>
              <a:gd name="connsiteX3074" fmla="*/ 1780506 w 10505529"/>
              <a:gd name="connsiteY3074" fmla="*/ 7002980 h 7458372"/>
              <a:gd name="connsiteX3075" fmla="*/ 1783169 w 10505529"/>
              <a:gd name="connsiteY3075" fmla="*/ 6998721 h 7458372"/>
              <a:gd name="connsiteX3076" fmla="*/ 1784234 w 10505529"/>
              <a:gd name="connsiteY3076" fmla="*/ 6993263 h 7458372"/>
              <a:gd name="connsiteX3077" fmla="*/ 1783169 w 10505529"/>
              <a:gd name="connsiteY3077" fmla="*/ 6988071 h 7458372"/>
              <a:gd name="connsiteX3078" fmla="*/ 1780506 w 10505529"/>
              <a:gd name="connsiteY3078" fmla="*/ 6983945 h 7458372"/>
              <a:gd name="connsiteX3079" fmla="*/ 1776514 w 10505529"/>
              <a:gd name="connsiteY3079" fmla="*/ 6981283 h 7458372"/>
              <a:gd name="connsiteX3080" fmla="*/ 1771456 w 10505529"/>
              <a:gd name="connsiteY3080" fmla="*/ 6980351 h 7458372"/>
              <a:gd name="connsiteX3081" fmla="*/ 1553820 w 10505529"/>
              <a:gd name="connsiteY3081" fmla="*/ 6980351 h 7458372"/>
              <a:gd name="connsiteX3082" fmla="*/ 1543838 w 10505529"/>
              <a:gd name="connsiteY3082" fmla="*/ 6983945 h 7458372"/>
              <a:gd name="connsiteX3083" fmla="*/ 1540243 w 10505529"/>
              <a:gd name="connsiteY3083" fmla="*/ 6993396 h 7458372"/>
              <a:gd name="connsiteX3084" fmla="*/ 1543838 w 10505529"/>
              <a:gd name="connsiteY3084" fmla="*/ 7002848 h 7458372"/>
              <a:gd name="connsiteX3085" fmla="*/ 1553820 w 10505529"/>
              <a:gd name="connsiteY3085" fmla="*/ 7006442 h 7458372"/>
              <a:gd name="connsiteX3086" fmla="*/ 1559145 w 10505529"/>
              <a:gd name="connsiteY3086" fmla="*/ 7005378 h 7458372"/>
              <a:gd name="connsiteX3087" fmla="*/ 1562872 w 10505529"/>
              <a:gd name="connsiteY3087" fmla="*/ 7002980 h 7458372"/>
              <a:gd name="connsiteX3088" fmla="*/ 1565535 w 10505529"/>
              <a:gd name="connsiteY3088" fmla="*/ 6998721 h 7458372"/>
              <a:gd name="connsiteX3089" fmla="*/ 1566600 w 10505529"/>
              <a:gd name="connsiteY3089" fmla="*/ 6993263 h 7458372"/>
              <a:gd name="connsiteX3090" fmla="*/ 1565535 w 10505529"/>
              <a:gd name="connsiteY3090" fmla="*/ 6988071 h 7458372"/>
              <a:gd name="connsiteX3091" fmla="*/ 1562872 w 10505529"/>
              <a:gd name="connsiteY3091" fmla="*/ 6983945 h 7458372"/>
              <a:gd name="connsiteX3092" fmla="*/ 1558879 w 10505529"/>
              <a:gd name="connsiteY3092" fmla="*/ 6981283 h 7458372"/>
              <a:gd name="connsiteX3093" fmla="*/ 1553820 w 10505529"/>
              <a:gd name="connsiteY3093" fmla="*/ 6980351 h 7458372"/>
              <a:gd name="connsiteX3094" fmla="*/ 1336178 w 10505529"/>
              <a:gd name="connsiteY3094" fmla="*/ 6980351 h 7458372"/>
              <a:gd name="connsiteX3095" fmla="*/ 1326194 w 10505529"/>
              <a:gd name="connsiteY3095" fmla="*/ 6983945 h 7458372"/>
              <a:gd name="connsiteX3096" fmla="*/ 1322599 w 10505529"/>
              <a:gd name="connsiteY3096" fmla="*/ 6993396 h 7458372"/>
              <a:gd name="connsiteX3097" fmla="*/ 1326194 w 10505529"/>
              <a:gd name="connsiteY3097" fmla="*/ 7002848 h 7458372"/>
              <a:gd name="connsiteX3098" fmla="*/ 1336178 w 10505529"/>
              <a:gd name="connsiteY3098" fmla="*/ 7006442 h 7458372"/>
              <a:gd name="connsiteX3099" fmla="*/ 1341504 w 10505529"/>
              <a:gd name="connsiteY3099" fmla="*/ 7005378 h 7458372"/>
              <a:gd name="connsiteX3100" fmla="*/ 1345232 w 10505529"/>
              <a:gd name="connsiteY3100" fmla="*/ 7002980 h 7458372"/>
              <a:gd name="connsiteX3101" fmla="*/ 1347893 w 10505529"/>
              <a:gd name="connsiteY3101" fmla="*/ 6998721 h 7458372"/>
              <a:gd name="connsiteX3102" fmla="*/ 1348959 w 10505529"/>
              <a:gd name="connsiteY3102" fmla="*/ 6993263 h 7458372"/>
              <a:gd name="connsiteX3103" fmla="*/ 1347893 w 10505529"/>
              <a:gd name="connsiteY3103" fmla="*/ 6988071 h 7458372"/>
              <a:gd name="connsiteX3104" fmla="*/ 1345232 w 10505529"/>
              <a:gd name="connsiteY3104" fmla="*/ 6983945 h 7458372"/>
              <a:gd name="connsiteX3105" fmla="*/ 1341236 w 10505529"/>
              <a:gd name="connsiteY3105" fmla="*/ 6981283 h 7458372"/>
              <a:gd name="connsiteX3106" fmla="*/ 1336178 w 10505529"/>
              <a:gd name="connsiteY3106" fmla="*/ 6980351 h 7458372"/>
              <a:gd name="connsiteX3107" fmla="*/ 1118665 w 10505529"/>
              <a:gd name="connsiteY3107" fmla="*/ 6980351 h 7458372"/>
              <a:gd name="connsiteX3108" fmla="*/ 1108679 w 10505529"/>
              <a:gd name="connsiteY3108" fmla="*/ 6983945 h 7458372"/>
              <a:gd name="connsiteX3109" fmla="*/ 1104952 w 10505529"/>
              <a:gd name="connsiteY3109" fmla="*/ 6993396 h 7458372"/>
              <a:gd name="connsiteX3110" fmla="*/ 1108546 w 10505529"/>
              <a:gd name="connsiteY3110" fmla="*/ 7002848 h 7458372"/>
              <a:gd name="connsiteX3111" fmla="*/ 1118532 w 10505529"/>
              <a:gd name="connsiteY3111" fmla="*/ 7006442 h 7458372"/>
              <a:gd name="connsiteX3112" fmla="*/ 1123988 w 10505529"/>
              <a:gd name="connsiteY3112" fmla="*/ 7005378 h 7458372"/>
              <a:gd name="connsiteX3113" fmla="*/ 1127720 w 10505529"/>
              <a:gd name="connsiteY3113" fmla="*/ 7002980 h 7458372"/>
              <a:gd name="connsiteX3114" fmla="*/ 1130384 w 10505529"/>
              <a:gd name="connsiteY3114" fmla="*/ 6998721 h 7458372"/>
              <a:gd name="connsiteX3115" fmla="*/ 1131449 w 10505529"/>
              <a:gd name="connsiteY3115" fmla="*/ 6993263 h 7458372"/>
              <a:gd name="connsiteX3116" fmla="*/ 1130384 w 10505529"/>
              <a:gd name="connsiteY3116" fmla="*/ 6988071 h 7458372"/>
              <a:gd name="connsiteX3117" fmla="*/ 1127720 w 10505529"/>
              <a:gd name="connsiteY3117" fmla="*/ 6983945 h 7458372"/>
              <a:gd name="connsiteX3118" fmla="*/ 1123724 w 10505529"/>
              <a:gd name="connsiteY3118" fmla="*/ 6981283 h 7458372"/>
              <a:gd name="connsiteX3119" fmla="*/ 1118665 w 10505529"/>
              <a:gd name="connsiteY3119" fmla="*/ 6980351 h 7458372"/>
              <a:gd name="connsiteX3120" fmla="*/ 901152 w 10505529"/>
              <a:gd name="connsiteY3120" fmla="*/ 6980351 h 7458372"/>
              <a:gd name="connsiteX3121" fmla="*/ 891168 w 10505529"/>
              <a:gd name="connsiteY3121" fmla="*/ 6983945 h 7458372"/>
              <a:gd name="connsiteX3122" fmla="*/ 887441 w 10505529"/>
              <a:gd name="connsiteY3122" fmla="*/ 6993396 h 7458372"/>
              <a:gd name="connsiteX3123" fmla="*/ 891035 w 10505529"/>
              <a:gd name="connsiteY3123" fmla="*/ 7002848 h 7458372"/>
              <a:gd name="connsiteX3124" fmla="*/ 901018 w 10505529"/>
              <a:gd name="connsiteY3124" fmla="*/ 7006442 h 7458372"/>
              <a:gd name="connsiteX3125" fmla="*/ 906477 w 10505529"/>
              <a:gd name="connsiteY3125" fmla="*/ 7005378 h 7458372"/>
              <a:gd name="connsiteX3126" fmla="*/ 910205 w 10505529"/>
              <a:gd name="connsiteY3126" fmla="*/ 7002980 h 7458372"/>
              <a:gd name="connsiteX3127" fmla="*/ 912867 w 10505529"/>
              <a:gd name="connsiteY3127" fmla="*/ 6998721 h 7458372"/>
              <a:gd name="connsiteX3128" fmla="*/ 913932 w 10505529"/>
              <a:gd name="connsiteY3128" fmla="*/ 6993263 h 7458372"/>
              <a:gd name="connsiteX3129" fmla="*/ 912867 w 10505529"/>
              <a:gd name="connsiteY3129" fmla="*/ 6988071 h 7458372"/>
              <a:gd name="connsiteX3130" fmla="*/ 910205 w 10505529"/>
              <a:gd name="connsiteY3130" fmla="*/ 6983945 h 7458372"/>
              <a:gd name="connsiteX3131" fmla="*/ 906211 w 10505529"/>
              <a:gd name="connsiteY3131" fmla="*/ 6981283 h 7458372"/>
              <a:gd name="connsiteX3132" fmla="*/ 901152 w 10505529"/>
              <a:gd name="connsiteY3132" fmla="*/ 6980351 h 7458372"/>
              <a:gd name="connsiteX3133" fmla="*/ 683380 w 10505529"/>
              <a:gd name="connsiteY3133" fmla="*/ 6980351 h 7458372"/>
              <a:gd name="connsiteX3134" fmla="*/ 673396 w 10505529"/>
              <a:gd name="connsiteY3134" fmla="*/ 6983945 h 7458372"/>
              <a:gd name="connsiteX3135" fmla="*/ 669802 w 10505529"/>
              <a:gd name="connsiteY3135" fmla="*/ 6993396 h 7458372"/>
              <a:gd name="connsiteX3136" fmla="*/ 673396 w 10505529"/>
              <a:gd name="connsiteY3136" fmla="*/ 7002848 h 7458372"/>
              <a:gd name="connsiteX3137" fmla="*/ 683380 w 10505529"/>
              <a:gd name="connsiteY3137" fmla="*/ 7006442 h 7458372"/>
              <a:gd name="connsiteX3138" fmla="*/ 688705 w 10505529"/>
              <a:gd name="connsiteY3138" fmla="*/ 7005378 h 7458372"/>
              <a:gd name="connsiteX3139" fmla="*/ 692432 w 10505529"/>
              <a:gd name="connsiteY3139" fmla="*/ 7002980 h 7458372"/>
              <a:gd name="connsiteX3140" fmla="*/ 695095 w 10505529"/>
              <a:gd name="connsiteY3140" fmla="*/ 6998721 h 7458372"/>
              <a:gd name="connsiteX3141" fmla="*/ 696160 w 10505529"/>
              <a:gd name="connsiteY3141" fmla="*/ 6993263 h 7458372"/>
              <a:gd name="connsiteX3142" fmla="*/ 695095 w 10505529"/>
              <a:gd name="connsiteY3142" fmla="*/ 6988071 h 7458372"/>
              <a:gd name="connsiteX3143" fmla="*/ 692432 w 10505529"/>
              <a:gd name="connsiteY3143" fmla="*/ 6983945 h 7458372"/>
              <a:gd name="connsiteX3144" fmla="*/ 688439 w 10505529"/>
              <a:gd name="connsiteY3144" fmla="*/ 6981283 h 7458372"/>
              <a:gd name="connsiteX3145" fmla="*/ 683380 w 10505529"/>
              <a:gd name="connsiteY3145" fmla="*/ 6980351 h 7458372"/>
              <a:gd name="connsiteX3146" fmla="*/ 465739 w 10505529"/>
              <a:gd name="connsiteY3146" fmla="*/ 6980351 h 7458372"/>
              <a:gd name="connsiteX3147" fmla="*/ 455756 w 10505529"/>
              <a:gd name="connsiteY3147" fmla="*/ 6983945 h 7458372"/>
              <a:gd name="connsiteX3148" fmla="*/ 452162 w 10505529"/>
              <a:gd name="connsiteY3148" fmla="*/ 6993396 h 7458372"/>
              <a:gd name="connsiteX3149" fmla="*/ 455756 w 10505529"/>
              <a:gd name="connsiteY3149" fmla="*/ 7002848 h 7458372"/>
              <a:gd name="connsiteX3150" fmla="*/ 465739 w 10505529"/>
              <a:gd name="connsiteY3150" fmla="*/ 7006442 h 7458372"/>
              <a:gd name="connsiteX3151" fmla="*/ 471064 w 10505529"/>
              <a:gd name="connsiteY3151" fmla="*/ 7005378 h 7458372"/>
              <a:gd name="connsiteX3152" fmla="*/ 474791 w 10505529"/>
              <a:gd name="connsiteY3152" fmla="*/ 7002980 h 7458372"/>
              <a:gd name="connsiteX3153" fmla="*/ 477454 w 10505529"/>
              <a:gd name="connsiteY3153" fmla="*/ 6998721 h 7458372"/>
              <a:gd name="connsiteX3154" fmla="*/ 478519 w 10505529"/>
              <a:gd name="connsiteY3154" fmla="*/ 6993263 h 7458372"/>
              <a:gd name="connsiteX3155" fmla="*/ 477454 w 10505529"/>
              <a:gd name="connsiteY3155" fmla="*/ 6988071 h 7458372"/>
              <a:gd name="connsiteX3156" fmla="*/ 474791 w 10505529"/>
              <a:gd name="connsiteY3156" fmla="*/ 6983945 h 7458372"/>
              <a:gd name="connsiteX3157" fmla="*/ 470798 w 10505529"/>
              <a:gd name="connsiteY3157" fmla="*/ 6981283 h 7458372"/>
              <a:gd name="connsiteX3158" fmla="*/ 465739 w 10505529"/>
              <a:gd name="connsiteY3158" fmla="*/ 6980351 h 7458372"/>
              <a:gd name="connsiteX3159" fmla="*/ 248098 w 10505529"/>
              <a:gd name="connsiteY3159" fmla="*/ 6980351 h 7458372"/>
              <a:gd name="connsiteX3160" fmla="*/ 238116 w 10505529"/>
              <a:gd name="connsiteY3160" fmla="*/ 6983945 h 7458372"/>
              <a:gd name="connsiteX3161" fmla="*/ 234523 w 10505529"/>
              <a:gd name="connsiteY3161" fmla="*/ 6993396 h 7458372"/>
              <a:gd name="connsiteX3162" fmla="*/ 238116 w 10505529"/>
              <a:gd name="connsiteY3162" fmla="*/ 7002848 h 7458372"/>
              <a:gd name="connsiteX3163" fmla="*/ 248098 w 10505529"/>
              <a:gd name="connsiteY3163" fmla="*/ 7006442 h 7458372"/>
              <a:gd name="connsiteX3164" fmla="*/ 253423 w 10505529"/>
              <a:gd name="connsiteY3164" fmla="*/ 7005378 h 7458372"/>
              <a:gd name="connsiteX3165" fmla="*/ 257149 w 10505529"/>
              <a:gd name="connsiteY3165" fmla="*/ 7002980 h 7458372"/>
              <a:gd name="connsiteX3166" fmla="*/ 259813 w 10505529"/>
              <a:gd name="connsiteY3166" fmla="*/ 6998721 h 7458372"/>
              <a:gd name="connsiteX3167" fmla="*/ 260878 w 10505529"/>
              <a:gd name="connsiteY3167" fmla="*/ 6993263 h 7458372"/>
              <a:gd name="connsiteX3168" fmla="*/ 259813 w 10505529"/>
              <a:gd name="connsiteY3168" fmla="*/ 6988071 h 7458372"/>
              <a:gd name="connsiteX3169" fmla="*/ 257149 w 10505529"/>
              <a:gd name="connsiteY3169" fmla="*/ 6983945 h 7458372"/>
              <a:gd name="connsiteX3170" fmla="*/ 253157 w 10505529"/>
              <a:gd name="connsiteY3170" fmla="*/ 6981283 h 7458372"/>
              <a:gd name="connsiteX3171" fmla="*/ 248098 w 10505529"/>
              <a:gd name="connsiteY3171" fmla="*/ 6980351 h 7458372"/>
              <a:gd name="connsiteX3172" fmla="*/ 30458 w 10505529"/>
              <a:gd name="connsiteY3172" fmla="*/ 6980351 h 7458372"/>
              <a:gd name="connsiteX3173" fmla="*/ 20474 w 10505529"/>
              <a:gd name="connsiteY3173" fmla="*/ 6983945 h 7458372"/>
              <a:gd name="connsiteX3174" fmla="*/ 16882 w 10505529"/>
              <a:gd name="connsiteY3174" fmla="*/ 6993396 h 7458372"/>
              <a:gd name="connsiteX3175" fmla="*/ 20474 w 10505529"/>
              <a:gd name="connsiteY3175" fmla="*/ 7002848 h 7458372"/>
              <a:gd name="connsiteX3176" fmla="*/ 30458 w 10505529"/>
              <a:gd name="connsiteY3176" fmla="*/ 7006442 h 7458372"/>
              <a:gd name="connsiteX3177" fmla="*/ 35783 w 10505529"/>
              <a:gd name="connsiteY3177" fmla="*/ 7005378 h 7458372"/>
              <a:gd name="connsiteX3178" fmla="*/ 39510 w 10505529"/>
              <a:gd name="connsiteY3178" fmla="*/ 7002980 h 7458372"/>
              <a:gd name="connsiteX3179" fmla="*/ 42173 w 10505529"/>
              <a:gd name="connsiteY3179" fmla="*/ 6998721 h 7458372"/>
              <a:gd name="connsiteX3180" fmla="*/ 43104 w 10505529"/>
              <a:gd name="connsiteY3180" fmla="*/ 6993263 h 7458372"/>
              <a:gd name="connsiteX3181" fmla="*/ 42173 w 10505529"/>
              <a:gd name="connsiteY3181" fmla="*/ 6988071 h 7458372"/>
              <a:gd name="connsiteX3182" fmla="*/ 39510 w 10505529"/>
              <a:gd name="connsiteY3182" fmla="*/ 6983945 h 7458372"/>
              <a:gd name="connsiteX3183" fmla="*/ 35517 w 10505529"/>
              <a:gd name="connsiteY3183" fmla="*/ 6981283 h 7458372"/>
              <a:gd name="connsiteX3184" fmla="*/ 30458 w 10505529"/>
              <a:gd name="connsiteY3184" fmla="*/ 6980351 h 7458372"/>
              <a:gd name="connsiteX3185" fmla="*/ 10475977 w 10505529"/>
              <a:gd name="connsiteY3185" fmla="*/ 6963844 h 7458372"/>
              <a:gd name="connsiteX3186" fmla="*/ 10487824 w 10505529"/>
              <a:gd name="connsiteY3186" fmla="*/ 6966373 h 7458372"/>
              <a:gd name="connsiteX3187" fmla="*/ 10497143 w 10505529"/>
              <a:gd name="connsiteY3187" fmla="*/ 6972763 h 7458372"/>
              <a:gd name="connsiteX3188" fmla="*/ 10503266 w 10505529"/>
              <a:gd name="connsiteY3188" fmla="*/ 6982082 h 7458372"/>
              <a:gd name="connsiteX3189" fmla="*/ 10505529 w 10505529"/>
              <a:gd name="connsiteY3189" fmla="*/ 6993529 h 7458372"/>
              <a:gd name="connsiteX3190" fmla="*/ 10503266 w 10505529"/>
              <a:gd name="connsiteY3190" fmla="*/ 7005245 h 7458372"/>
              <a:gd name="connsiteX3191" fmla="*/ 10497143 w 10505529"/>
              <a:gd name="connsiteY3191" fmla="*/ 7014563 h 7458372"/>
              <a:gd name="connsiteX3192" fmla="*/ 10487824 w 10505529"/>
              <a:gd name="connsiteY3192" fmla="*/ 7020819 h 7458372"/>
              <a:gd name="connsiteX3193" fmla="*/ 10475977 w 10505529"/>
              <a:gd name="connsiteY3193" fmla="*/ 7023082 h 7458372"/>
              <a:gd name="connsiteX3194" fmla="*/ 10454145 w 10505529"/>
              <a:gd name="connsiteY3194" fmla="*/ 7014563 h 7458372"/>
              <a:gd name="connsiteX3195" fmla="*/ 10445759 w 10505529"/>
              <a:gd name="connsiteY3195" fmla="*/ 6993396 h 7458372"/>
              <a:gd name="connsiteX3196" fmla="*/ 10454145 w 10505529"/>
              <a:gd name="connsiteY3196" fmla="*/ 6972364 h 7458372"/>
              <a:gd name="connsiteX3197" fmla="*/ 10475977 w 10505529"/>
              <a:gd name="connsiteY3197" fmla="*/ 6963844 h 7458372"/>
              <a:gd name="connsiteX3198" fmla="*/ 10258466 w 10505529"/>
              <a:gd name="connsiteY3198" fmla="*/ 6963844 h 7458372"/>
              <a:gd name="connsiteX3199" fmla="*/ 10270313 w 10505529"/>
              <a:gd name="connsiteY3199" fmla="*/ 6966373 h 7458372"/>
              <a:gd name="connsiteX3200" fmla="*/ 10279631 w 10505529"/>
              <a:gd name="connsiteY3200" fmla="*/ 6972763 h 7458372"/>
              <a:gd name="connsiteX3201" fmla="*/ 10285754 w 10505529"/>
              <a:gd name="connsiteY3201" fmla="*/ 6982082 h 7458372"/>
              <a:gd name="connsiteX3202" fmla="*/ 10288017 w 10505529"/>
              <a:gd name="connsiteY3202" fmla="*/ 6993529 h 7458372"/>
              <a:gd name="connsiteX3203" fmla="*/ 10285754 w 10505529"/>
              <a:gd name="connsiteY3203" fmla="*/ 7005245 h 7458372"/>
              <a:gd name="connsiteX3204" fmla="*/ 10279631 w 10505529"/>
              <a:gd name="connsiteY3204" fmla="*/ 7014563 h 7458372"/>
              <a:gd name="connsiteX3205" fmla="*/ 10270313 w 10505529"/>
              <a:gd name="connsiteY3205" fmla="*/ 7020819 h 7458372"/>
              <a:gd name="connsiteX3206" fmla="*/ 10258466 w 10505529"/>
              <a:gd name="connsiteY3206" fmla="*/ 7023082 h 7458372"/>
              <a:gd name="connsiteX3207" fmla="*/ 10236633 w 10505529"/>
              <a:gd name="connsiteY3207" fmla="*/ 7014563 h 7458372"/>
              <a:gd name="connsiteX3208" fmla="*/ 10228247 w 10505529"/>
              <a:gd name="connsiteY3208" fmla="*/ 6993396 h 7458372"/>
              <a:gd name="connsiteX3209" fmla="*/ 10236633 w 10505529"/>
              <a:gd name="connsiteY3209" fmla="*/ 6972364 h 7458372"/>
              <a:gd name="connsiteX3210" fmla="*/ 10258466 w 10505529"/>
              <a:gd name="connsiteY3210" fmla="*/ 6963844 h 7458372"/>
              <a:gd name="connsiteX3211" fmla="*/ 10040820 w 10505529"/>
              <a:gd name="connsiteY3211" fmla="*/ 6963844 h 7458372"/>
              <a:gd name="connsiteX3212" fmla="*/ 10052534 w 10505529"/>
              <a:gd name="connsiteY3212" fmla="*/ 6966373 h 7458372"/>
              <a:gd name="connsiteX3213" fmla="*/ 10061852 w 10505529"/>
              <a:gd name="connsiteY3213" fmla="*/ 6972763 h 7458372"/>
              <a:gd name="connsiteX3214" fmla="*/ 10067976 w 10505529"/>
              <a:gd name="connsiteY3214" fmla="*/ 6982082 h 7458372"/>
              <a:gd name="connsiteX3215" fmla="*/ 10070239 w 10505529"/>
              <a:gd name="connsiteY3215" fmla="*/ 6993529 h 7458372"/>
              <a:gd name="connsiteX3216" fmla="*/ 10067976 w 10505529"/>
              <a:gd name="connsiteY3216" fmla="*/ 7005245 h 7458372"/>
              <a:gd name="connsiteX3217" fmla="*/ 10061852 w 10505529"/>
              <a:gd name="connsiteY3217" fmla="*/ 7014563 h 7458372"/>
              <a:gd name="connsiteX3218" fmla="*/ 10052534 w 10505529"/>
              <a:gd name="connsiteY3218" fmla="*/ 7020819 h 7458372"/>
              <a:gd name="connsiteX3219" fmla="*/ 10040820 w 10505529"/>
              <a:gd name="connsiteY3219" fmla="*/ 7023082 h 7458372"/>
              <a:gd name="connsiteX3220" fmla="*/ 10018988 w 10505529"/>
              <a:gd name="connsiteY3220" fmla="*/ 7014563 h 7458372"/>
              <a:gd name="connsiteX3221" fmla="*/ 10010602 w 10505529"/>
              <a:gd name="connsiteY3221" fmla="*/ 6993396 h 7458372"/>
              <a:gd name="connsiteX3222" fmla="*/ 10018988 w 10505529"/>
              <a:gd name="connsiteY3222" fmla="*/ 6972364 h 7458372"/>
              <a:gd name="connsiteX3223" fmla="*/ 10040820 w 10505529"/>
              <a:gd name="connsiteY3223" fmla="*/ 6963844 h 7458372"/>
              <a:gd name="connsiteX3224" fmla="*/ 9823176 w 10505529"/>
              <a:gd name="connsiteY3224" fmla="*/ 6963844 h 7458372"/>
              <a:gd name="connsiteX3225" fmla="*/ 9834890 w 10505529"/>
              <a:gd name="connsiteY3225" fmla="*/ 6966373 h 7458372"/>
              <a:gd name="connsiteX3226" fmla="*/ 9844208 w 10505529"/>
              <a:gd name="connsiteY3226" fmla="*/ 6972763 h 7458372"/>
              <a:gd name="connsiteX3227" fmla="*/ 9850331 w 10505529"/>
              <a:gd name="connsiteY3227" fmla="*/ 6982082 h 7458372"/>
              <a:gd name="connsiteX3228" fmla="*/ 9852595 w 10505529"/>
              <a:gd name="connsiteY3228" fmla="*/ 6993529 h 7458372"/>
              <a:gd name="connsiteX3229" fmla="*/ 9850331 w 10505529"/>
              <a:gd name="connsiteY3229" fmla="*/ 7005245 h 7458372"/>
              <a:gd name="connsiteX3230" fmla="*/ 9844208 w 10505529"/>
              <a:gd name="connsiteY3230" fmla="*/ 7014563 h 7458372"/>
              <a:gd name="connsiteX3231" fmla="*/ 9834890 w 10505529"/>
              <a:gd name="connsiteY3231" fmla="*/ 7020819 h 7458372"/>
              <a:gd name="connsiteX3232" fmla="*/ 9823176 w 10505529"/>
              <a:gd name="connsiteY3232" fmla="*/ 7023082 h 7458372"/>
              <a:gd name="connsiteX3233" fmla="*/ 9801343 w 10505529"/>
              <a:gd name="connsiteY3233" fmla="*/ 7014563 h 7458372"/>
              <a:gd name="connsiteX3234" fmla="*/ 9792957 w 10505529"/>
              <a:gd name="connsiteY3234" fmla="*/ 6993396 h 7458372"/>
              <a:gd name="connsiteX3235" fmla="*/ 9801343 w 10505529"/>
              <a:gd name="connsiteY3235" fmla="*/ 6972364 h 7458372"/>
              <a:gd name="connsiteX3236" fmla="*/ 9823176 w 10505529"/>
              <a:gd name="connsiteY3236" fmla="*/ 6963844 h 7458372"/>
              <a:gd name="connsiteX3237" fmla="*/ 9605531 w 10505529"/>
              <a:gd name="connsiteY3237" fmla="*/ 6963844 h 7458372"/>
              <a:gd name="connsiteX3238" fmla="*/ 9617245 w 10505529"/>
              <a:gd name="connsiteY3238" fmla="*/ 6966373 h 7458372"/>
              <a:gd name="connsiteX3239" fmla="*/ 9626562 w 10505529"/>
              <a:gd name="connsiteY3239" fmla="*/ 6972763 h 7458372"/>
              <a:gd name="connsiteX3240" fmla="*/ 9632686 w 10505529"/>
              <a:gd name="connsiteY3240" fmla="*/ 6982082 h 7458372"/>
              <a:gd name="connsiteX3241" fmla="*/ 9634949 w 10505529"/>
              <a:gd name="connsiteY3241" fmla="*/ 6993529 h 7458372"/>
              <a:gd name="connsiteX3242" fmla="*/ 9632686 w 10505529"/>
              <a:gd name="connsiteY3242" fmla="*/ 7005245 h 7458372"/>
              <a:gd name="connsiteX3243" fmla="*/ 9626562 w 10505529"/>
              <a:gd name="connsiteY3243" fmla="*/ 7014563 h 7458372"/>
              <a:gd name="connsiteX3244" fmla="*/ 9617245 w 10505529"/>
              <a:gd name="connsiteY3244" fmla="*/ 7020819 h 7458372"/>
              <a:gd name="connsiteX3245" fmla="*/ 9605531 w 10505529"/>
              <a:gd name="connsiteY3245" fmla="*/ 7023082 h 7458372"/>
              <a:gd name="connsiteX3246" fmla="*/ 9583698 w 10505529"/>
              <a:gd name="connsiteY3246" fmla="*/ 7014563 h 7458372"/>
              <a:gd name="connsiteX3247" fmla="*/ 9575312 w 10505529"/>
              <a:gd name="connsiteY3247" fmla="*/ 6993396 h 7458372"/>
              <a:gd name="connsiteX3248" fmla="*/ 9583698 w 10505529"/>
              <a:gd name="connsiteY3248" fmla="*/ 6972364 h 7458372"/>
              <a:gd name="connsiteX3249" fmla="*/ 9605531 w 10505529"/>
              <a:gd name="connsiteY3249" fmla="*/ 6963844 h 7458372"/>
              <a:gd name="connsiteX3250" fmla="*/ 9387885 w 10505529"/>
              <a:gd name="connsiteY3250" fmla="*/ 6963844 h 7458372"/>
              <a:gd name="connsiteX3251" fmla="*/ 9399599 w 10505529"/>
              <a:gd name="connsiteY3251" fmla="*/ 6966373 h 7458372"/>
              <a:gd name="connsiteX3252" fmla="*/ 9408917 w 10505529"/>
              <a:gd name="connsiteY3252" fmla="*/ 6972763 h 7458372"/>
              <a:gd name="connsiteX3253" fmla="*/ 9415041 w 10505529"/>
              <a:gd name="connsiteY3253" fmla="*/ 6982082 h 7458372"/>
              <a:gd name="connsiteX3254" fmla="*/ 9417304 w 10505529"/>
              <a:gd name="connsiteY3254" fmla="*/ 6993529 h 7458372"/>
              <a:gd name="connsiteX3255" fmla="*/ 9415041 w 10505529"/>
              <a:gd name="connsiteY3255" fmla="*/ 7005245 h 7458372"/>
              <a:gd name="connsiteX3256" fmla="*/ 9408917 w 10505529"/>
              <a:gd name="connsiteY3256" fmla="*/ 7014563 h 7458372"/>
              <a:gd name="connsiteX3257" fmla="*/ 9399599 w 10505529"/>
              <a:gd name="connsiteY3257" fmla="*/ 7020819 h 7458372"/>
              <a:gd name="connsiteX3258" fmla="*/ 9387885 w 10505529"/>
              <a:gd name="connsiteY3258" fmla="*/ 7023082 h 7458372"/>
              <a:gd name="connsiteX3259" fmla="*/ 9366053 w 10505529"/>
              <a:gd name="connsiteY3259" fmla="*/ 7014563 h 7458372"/>
              <a:gd name="connsiteX3260" fmla="*/ 9357667 w 10505529"/>
              <a:gd name="connsiteY3260" fmla="*/ 6993396 h 7458372"/>
              <a:gd name="connsiteX3261" fmla="*/ 9366053 w 10505529"/>
              <a:gd name="connsiteY3261" fmla="*/ 6972364 h 7458372"/>
              <a:gd name="connsiteX3262" fmla="*/ 9387885 w 10505529"/>
              <a:gd name="connsiteY3262" fmla="*/ 6963844 h 7458372"/>
              <a:gd name="connsiteX3263" fmla="*/ 9170374 w 10505529"/>
              <a:gd name="connsiteY3263" fmla="*/ 6963844 h 7458372"/>
              <a:gd name="connsiteX3264" fmla="*/ 9182088 w 10505529"/>
              <a:gd name="connsiteY3264" fmla="*/ 6966373 h 7458372"/>
              <a:gd name="connsiteX3265" fmla="*/ 9191405 w 10505529"/>
              <a:gd name="connsiteY3265" fmla="*/ 6972763 h 7458372"/>
              <a:gd name="connsiteX3266" fmla="*/ 9197529 w 10505529"/>
              <a:gd name="connsiteY3266" fmla="*/ 6982082 h 7458372"/>
              <a:gd name="connsiteX3267" fmla="*/ 9199792 w 10505529"/>
              <a:gd name="connsiteY3267" fmla="*/ 6993529 h 7458372"/>
              <a:gd name="connsiteX3268" fmla="*/ 9197529 w 10505529"/>
              <a:gd name="connsiteY3268" fmla="*/ 7005245 h 7458372"/>
              <a:gd name="connsiteX3269" fmla="*/ 9191405 w 10505529"/>
              <a:gd name="connsiteY3269" fmla="*/ 7014563 h 7458372"/>
              <a:gd name="connsiteX3270" fmla="*/ 9182088 w 10505529"/>
              <a:gd name="connsiteY3270" fmla="*/ 7020819 h 7458372"/>
              <a:gd name="connsiteX3271" fmla="*/ 9170374 w 10505529"/>
              <a:gd name="connsiteY3271" fmla="*/ 7023082 h 7458372"/>
              <a:gd name="connsiteX3272" fmla="*/ 9148541 w 10505529"/>
              <a:gd name="connsiteY3272" fmla="*/ 7014563 h 7458372"/>
              <a:gd name="connsiteX3273" fmla="*/ 9140155 w 10505529"/>
              <a:gd name="connsiteY3273" fmla="*/ 6993396 h 7458372"/>
              <a:gd name="connsiteX3274" fmla="*/ 9148541 w 10505529"/>
              <a:gd name="connsiteY3274" fmla="*/ 6972364 h 7458372"/>
              <a:gd name="connsiteX3275" fmla="*/ 9170374 w 10505529"/>
              <a:gd name="connsiteY3275" fmla="*/ 6963844 h 7458372"/>
              <a:gd name="connsiteX3276" fmla="*/ 8952728 w 10505529"/>
              <a:gd name="connsiteY3276" fmla="*/ 6963844 h 7458372"/>
              <a:gd name="connsiteX3277" fmla="*/ 8964442 w 10505529"/>
              <a:gd name="connsiteY3277" fmla="*/ 6966373 h 7458372"/>
              <a:gd name="connsiteX3278" fmla="*/ 8973760 w 10505529"/>
              <a:gd name="connsiteY3278" fmla="*/ 6972763 h 7458372"/>
              <a:gd name="connsiteX3279" fmla="*/ 8979884 w 10505529"/>
              <a:gd name="connsiteY3279" fmla="*/ 6982082 h 7458372"/>
              <a:gd name="connsiteX3280" fmla="*/ 8982147 w 10505529"/>
              <a:gd name="connsiteY3280" fmla="*/ 6993529 h 7458372"/>
              <a:gd name="connsiteX3281" fmla="*/ 8979884 w 10505529"/>
              <a:gd name="connsiteY3281" fmla="*/ 7005245 h 7458372"/>
              <a:gd name="connsiteX3282" fmla="*/ 8973760 w 10505529"/>
              <a:gd name="connsiteY3282" fmla="*/ 7014563 h 7458372"/>
              <a:gd name="connsiteX3283" fmla="*/ 8964442 w 10505529"/>
              <a:gd name="connsiteY3283" fmla="*/ 7020819 h 7458372"/>
              <a:gd name="connsiteX3284" fmla="*/ 8952728 w 10505529"/>
              <a:gd name="connsiteY3284" fmla="*/ 7023082 h 7458372"/>
              <a:gd name="connsiteX3285" fmla="*/ 8930896 w 10505529"/>
              <a:gd name="connsiteY3285" fmla="*/ 7014563 h 7458372"/>
              <a:gd name="connsiteX3286" fmla="*/ 8922510 w 10505529"/>
              <a:gd name="connsiteY3286" fmla="*/ 6993396 h 7458372"/>
              <a:gd name="connsiteX3287" fmla="*/ 8930896 w 10505529"/>
              <a:gd name="connsiteY3287" fmla="*/ 6972364 h 7458372"/>
              <a:gd name="connsiteX3288" fmla="*/ 8952728 w 10505529"/>
              <a:gd name="connsiteY3288" fmla="*/ 6963844 h 7458372"/>
              <a:gd name="connsiteX3289" fmla="*/ 8735083 w 10505529"/>
              <a:gd name="connsiteY3289" fmla="*/ 6963844 h 7458372"/>
              <a:gd name="connsiteX3290" fmla="*/ 8746797 w 10505529"/>
              <a:gd name="connsiteY3290" fmla="*/ 6966373 h 7458372"/>
              <a:gd name="connsiteX3291" fmla="*/ 8756115 w 10505529"/>
              <a:gd name="connsiteY3291" fmla="*/ 6972763 h 7458372"/>
              <a:gd name="connsiteX3292" fmla="*/ 8762238 w 10505529"/>
              <a:gd name="connsiteY3292" fmla="*/ 6982082 h 7458372"/>
              <a:gd name="connsiteX3293" fmla="*/ 8764502 w 10505529"/>
              <a:gd name="connsiteY3293" fmla="*/ 6993529 h 7458372"/>
              <a:gd name="connsiteX3294" fmla="*/ 8762238 w 10505529"/>
              <a:gd name="connsiteY3294" fmla="*/ 7005245 h 7458372"/>
              <a:gd name="connsiteX3295" fmla="*/ 8756115 w 10505529"/>
              <a:gd name="connsiteY3295" fmla="*/ 7014563 h 7458372"/>
              <a:gd name="connsiteX3296" fmla="*/ 8746797 w 10505529"/>
              <a:gd name="connsiteY3296" fmla="*/ 7020819 h 7458372"/>
              <a:gd name="connsiteX3297" fmla="*/ 8735083 w 10505529"/>
              <a:gd name="connsiteY3297" fmla="*/ 7023082 h 7458372"/>
              <a:gd name="connsiteX3298" fmla="*/ 8713250 w 10505529"/>
              <a:gd name="connsiteY3298" fmla="*/ 7014563 h 7458372"/>
              <a:gd name="connsiteX3299" fmla="*/ 8704864 w 10505529"/>
              <a:gd name="connsiteY3299" fmla="*/ 6993396 h 7458372"/>
              <a:gd name="connsiteX3300" fmla="*/ 8713250 w 10505529"/>
              <a:gd name="connsiteY3300" fmla="*/ 6972364 h 7458372"/>
              <a:gd name="connsiteX3301" fmla="*/ 8735083 w 10505529"/>
              <a:gd name="connsiteY3301" fmla="*/ 6963844 h 7458372"/>
              <a:gd name="connsiteX3302" fmla="*/ 8517438 w 10505529"/>
              <a:gd name="connsiteY3302" fmla="*/ 6963844 h 7458372"/>
              <a:gd name="connsiteX3303" fmla="*/ 8529152 w 10505529"/>
              <a:gd name="connsiteY3303" fmla="*/ 6966373 h 7458372"/>
              <a:gd name="connsiteX3304" fmla="*/ 8538470 w 10505529"/>
              <a:gd name="connsiteY3304" fmla="*/ 6972763 h 7458372"/>
              <a:gd name="connsiteX3305" fmla="*/ 8544594 w 10505529"/>
              <a:gd name="connsiteY3305" fmla="*/ 6982082 h 7458372"/>
              <a:gd name="connsiteX3306" fmla="*/ 8546857 w 10505529"/>
              <a:gd name="connsiteY3306" fmla="*/ 6993529 h 7458372"/>
              <a:gd name="connsiteX3307" fmla="*/ 8544594 w 10505529"/>
              <a:gd name="connsiteY3307" fmla="*/ 7005245 h 7458372"/>
              <a:gd name="connsiteX3308" fmla="*/ 8538470 w 10505529"/>
              <a:gd name="connsiteY3308" fmla="*/ 7014563 h 7458372"/>
              <a:gd name="connsiteX3309" fmla="*/ 8529152 w 10505529"/>
              <a:gd name="connsiteY3309" fmla="*/ 7020819 h 7458372"/>
              <a:gd name="connsiteX3310" fmla="*/ 8517438 w 10505529"/>
              <a:gd name="connsiteY3310" fmla="*/ 7023082 h 7458372"/>
              <a:gd name="connsiteX3311" fmla="*/ 8495606 w 10505529"/>
              <a:gd name="connsiteY3311" fmla="*/ 7014563 h 7458372"/>
              <a:gd name="connsiteX3312" fmla="*/ 8487220 w 10505529"/>
              <a:gd name="connsiteY3312" fmla="*/ 6993396 h 7458372"/>
              <a:gd name="connsiteX3313" fmla="*/ 8495606 w 10505529"/>
              <a:gd name="connsiteY3313" fmla="*/ 6972364 h 7458372"/>
              <a:gd name="connsiteX3314" fmla="*/ 8517438 w 10505529"/>
              <a:gd name="connsiteY3314" fmla="*/ 6963844 h 7458372"/>
              <a:gd name="connsiteX3315" fmla="*/ 8299793 w 10505529"/>
              <a:gd name="connsiteY3315" fmla="*/ 6963844 h 7458372"/>
              <a:gd name="connsiteX3316" fmla="*/ 8311507 w 10505529"/>
              <a:gd name="connsiteY3316" fmla="*/ 6966373 h 7458372"/>
              <a:gd name="connsiteX3317" fmla="*/ 8320825 w 10505529"/>
              <a:gd name="connsiteY3317" fmla="*/ 6972763 h 7458372"/>
              <a:gd name="connsiteX3318" fmla="*/ 8326948 w 10505529"/>
              <a:gd name="connsiteY3318" fmla="*/ 6982082 h 7458372"/>
              <a:gd name="connsiteX3319" fmla="*/ 8329212 w 10505529"/>
              <a:gd name="connsiteY3319" fmla="*/ 6993529 h 7458372"/>
              <a:gd name="connsiteX3320" fmla="*/ 8326948 w 10505529"/>
              <a:gd name="connsiteY3320" fmla="*/ 7005245 h 7458372"/>
              <a:gd name="connsiteX3321" fmla="*/ 8320825 w 10505529"/>
              <a:gd name="connsiteY3321" fmla="*/ 7014563 h 7458372"/>
              <a:gd name="connsiteX3322" fmla="*/ 8311507 w 10505529"/>
              <a:gd name="connsiteY3322" fmla="*/ 7020819 h 7458372"/>
              <a:gd name="connsiteX3323" fmla="*/ 8299793 w 10505529"/>
              <a:gd name="connsiteY3323" fmla="*/ 7023082 h 7458372"/>
              <a:gd name="connsiteX3324" fmla="*/ 8277960 w 10505529"/>
              <a:gd name="connsiteY3324" fmla="*/ 7014563 h 7458372"/>
              <a:gd name="connsiteX3325" fmla="*/ 8269574 w 10505529"/>
              <a:gd name="connsiteY3325" fmla="*/ 6993396 h 7458372"/>
              <a:gd name="connsiteX3326" fmla="*/ 8277960 w 10505529"/>
              <a:gd name="connsiteY3326" fmla="*/ 6972364 h 7458372"/>
              <a:gd name="connsiteX3327" fmla="*/ 8299793 w 10505529"/>
              <a:gd name="connsiteY3327" fmla="*/ 6963844 h 7458372"/>
              <a:gd name="connsiteX3328" fmla="*/ 8082281 w 10505529"/>
              <a:gd name="connsiteY3328" fmla="*/ 6963844 h 7458372"/>
              <a:gd name="connsiteX3329" fmla="*/ 8094127 w 10505529"/>
              <a:gd name="connsiteY3329" fmla="*/ 6966373 h 7458372"/>
              <a:gd name="connsiteX3330" fmla="*/ 8103446 w 10505529"/>
              <a:gd name="connsiteY3330" fmla="*/ 6972763 h 7458372"/>
              <a:gd name="connsiteX3331" fmla="*/ 8109569 w 10505529"/>
              <a:gd name="connsiteY3331" fmla="*/ 6982082 h 7458372"/>
              <a:gd name="connsiteX3332" fmla="*/ 8111832 w 10505529"/>
              <a:gd name="connsiteY3332" fmla="*/ 6993529 h 7458372"/>
              <a:gd name="connsiteX3333" fmla="*/ 8109569 w 10505529"/>
              <a:gd name="connsiteY3333" fmla="*/ 7005245 h 7458372"/>
              <a:gd name="connsiteX3334" fmla="*/ 8103446 w 10505529"/>
              <a:gd name="connsiteY3334" fmla="*/ 7014563 h 7458372"/>
              <a:gd name="connsiteX3335" fmla="*/ 8094127 w 10505529"/>
              <a:gd name="connsiteY3335" fmla="*/ 7020819 h 7458372"/>
              <a:gd name="connsiteX3336" fmla="*/ 8082281 w 10505529"/>
              <a:gd name="connsiteY3336" fmla="*/ 7023082 h 7458372"/>
              <a:gd name="connsiteX3337" fmla="*/ 8060448 w 10505529"/>
              <a:gd name="connsiteY3337" fmla="*/ 7014563 h 7458372"/>
              <a:gd name="connsiteX3338" fmla="*/ 8052062 w 10505529"/>
              <a:gd name="connsiteY3338" fmla="*/ 6993396 h 7458372"/>
              <a:gd name="connsiteX3339" fmla="*/ 8060448 w 10505529"/>
              <a:gd name="connsiteY3339" fmla="*/ 6972364 h 7458372"/>
              <a:gd name="connsiteX3340" fmla="*/ 8082281 w 10505529"/>
              <a:gd name="connsiteY3340" fmla="*/ 6963844 h 7458372"/>
              <a:gd name="connsiteX3341" fmla="*/ 7864636 w 10505529"/>
              <a:gd name="connsiteY3341" fmla="*/ 6963844 h 7458372"/>
              <a:gd name="connsiteX3342" fmla="*/ 7876483 w 10505529"/>
              <a:gd name="connsiteY3342" fmla="*/ 6966373 h 7458372"/>
              <a:gd name="connsiteX3343" fmla="*/ 7885802 w 10505529"/>
              <a:gd name="connsiteY3343" fmla="*/ 6972763 h 7458372"/>
              <a:gd name="connsiteX3344" fmla="*/ 7891924 w 10505529"/>
              <a:gd name="connsiteY3344" fmla="*/ 6982082 h 7458372"/>
              <a:gd name="connsiteX3345" fmla="*/ 7894188 w 10505529"/>
              <a:gd name="connsiteY3345" fmla="*/ 6993529 h 7458372"/>
              <a:gd name="connsiteX3346" fmla="*/ 7891924 w 10505529"/>
              <a:gd name="connsiteY3346" fmla="*/ 7005245 h 7458372"/>
              <a:gd name="connsiteX3347" fmla="*/ 7885802 w 10505529"/>
              <a:gd name="connsiteY3347" fmla="*/ 7014563 h 7458372"/>
              <a:gd name="connsiteX3348" fmla="*/ 7876483 w 10505529"/>
              <a:gd name="connsiteY3348" fmla="*/ 7020819 h 7458372"/>
              <a:gd name="connsiteX3349" fmla="*/ 7864636 w 10505529"/>
              <a:gd name="connsiteY3349" fmla="*/ 7023082 h 7458372"/>
              <a:gd name="connsiteX3350" fmla="*/ 7842803 w 10505529"/>
              <a:gd name="connsiteY3350" fmla="*/ 7014563 h 7458372"/>
              <a:gd name="connsiteX3351" fmla="*/ 7834417 w 10505529"/>
              <a:gd name="connsiteY3351" fmla="*/ 6993396 h 7458372"/>
              <a:gd name="connsiteX3352" fmla="*/ 7842803 w 10505529"/>
              <a:gd name="connsiteY3352" fmla="*/ 6972364 h 7458372"/>
              <a:gd name="connsiteX3353" fmla="*/ 7864636 w 10505529"/>
              <a:gd name="connsiteY3353" fmla="*/ 6963844 h 7458372"/>
              <a:gd name="connsiteX3354" fmla="*/ 7646991 w 10505529"/>
              <a:gd name="connsiteY3354" fmla="*/ 6963844 h 7458372"/>
              <a:gd name="connsiteX3355" fmla="*/ 7658705 w 10505529"/>
              <a:gd name="connsiteY3355" fmla="*/ 6966373 h 7458372"/>
              <a:gd name="connsiteX3356" fmla="*/ 7668022 w 10505529"/>
              <a:gd name="connsiteY3356" fmla="*/ 6972763 h 7458372"/>
              <a:gd name="connsiteX3357" fmla="*/ 7674146 w 10505529"/>
              <a:gd name="connsiteY3357" fmla="*/ 6982082 h 7458372"/>
              <a:gd name="connsiteX3358" fmla="*/ 7676409 w 10505529"/>
              <a:gd name="connsiteY3358" fmla="*/ 6993529 h 7458372"/>
              <a:gd name="connsiteX3359" fmla="*/ 7674146 w 10505529"/>
              <a:gd name="connsiteY3359" fmla="*/ 7005245 h 7458372"/>
              <a:gd name="connsiteX3360" fmla="*/ 7668022 w 10505529"/>
              <a:gd name="connsiteY3360" fmla="*/ 7014563 h 7458372"/>
              <a:gd name="connsiteX3361" fmla="*/ 7658705 w 10505529"/>
              <a:gd name="connsiteY3361" fmla="*/ 7020819 h 7458372"/>
              <a:gd name="connsiteX3362" fmla="*/ 7646991 w 10505529"/>
              <a:gd name="connsiteY3362" fmla="*/ 7023082 h 7458372"/>
              <a:gd name="connsiteX3363" fmla="*/ 7625158 w 10505529"/>
              <a:gd name="connsiteY3363" fmla="*/ 7014563 h 7458372"/>
              <a:gd name="connsiteX3364" fmla="*/ 7616772 w 10505529"/>
              <a:gd name="connsiteY3364" fmla="*/ 6993396 h 7458372"/>
              <a:gd name="connsiteX3365" fmla="*/ 7625158 w 10505529"/>
              <a:gd name="connsiteY3365" fmla="*/ 6972364 h 7458372"/>
              <a:gd name="connsiteX3366" fmla="*/ 7646991 w 10505529"/>
              <a:gd name="connsiteY3366" fmla="*/ 6963844 h 7458372"/>
              <a:gd name="connsiteX3367" fmla="*/ 7429345 w 10505529"/>
              <a:gd name="connsiteY3367" fmla="*/ 6963844 h 7458372"/>
              <a:gd name="connsiteX3368" fmla="*/ 7441059 w 10505529"/>
              <a:gd name="connsiteY3368" fmla="*/ 6966373 h 7458372"/>
              <a:gd name="connsiteX3369" fmla="*/ 7450377 w 10505529"/>
              <a:gd name="connsiteY3369" fmla="*/ 6972763 h 7458372"/>
              <a:gd name="connsiteX3370" fmla="*/ 7456501 w 10505529"/>
              <a:gd name="connsiteY3370" fmla="*/ 6982082 h 7458372"/>
              <a:gd name="connsiteX3371" fmla="*/ 7458764 w 10505529"/>
              <a:gd name="connsiteY3371" fmla="*/ 6993529 h 7458372"/>
              <a:gd name="connsiteX3372" fmla="*/ 7456501 w 10505529"/>
              <a:gd name="connsiteY3372" fmla="*/ 7005245 h 7458372"/>
              <a:gd name="connsiteX3373" fmla="*/ 7450377 w 10505529"/>
              <a:gd name="connsiteY3373" fmla="*/ 7014563 h 7458372"/>
              <a:gd name="connsiteX3374" fmla="*/ 7441059 w 10505529"/>
              <a:gd name="connsiteY3374" fmla="*/ 7020819 h 7458372"/>
              <a:gd name="connsiteX3375" fmla="*/ 7429345 w 10505529"/>
              <a:gd name="connsiteY3375" fmla="*/ 7023082 h 7458372"/>
              <a:gd name="connsiteX3376" fmla="*/ 7407513 w 10505529"/>
              <a:gd name="connsiteY3376" fmla="*/ 7014563 h 7458372"/>
              <a:gd name="connsiteX3377" fmla="*/ 7399127 w 10505529"/>
              <a:gd name="connsiteY3377" fmla="*/ 6993396 h 7458372"/>
              <a:gd name="connsiteX3378" fmla="*/ 7407513 w 10505529"/>
              <a:gd name="connsiteY3378" fmla="*/ 6972364 h 7458372"/>
              <a:gd name="connsiteX3379" fmla="*/ 7429345 w 10505529"/>
              <a:gd name="connsiteY3379" fmla="*/ 6963844 h 7458372"/>
              <a:gd name="connsiteX3380" fmla="*/ 7211701 w 10505529"/>
              <a:gd name="connsiteY3380" fmla="*/ 6963844 h 7458372"/>
              <a:gd name="connsiteX3381" fmla="*/ 7223415 w 10505529"/>
              <a:gd name="connsiteY3381" fmla="*/ 6966373 h 7458372"/>
              <a:gd name="connsiteX3382" fmla="*/ 7232733 w 10505529"/>
              <a:gd name="connsiteY3382" fmla="*/ 6972763 h 7458372"/>
              <a:gd name="connsiteX3383" fmla="*/ 7238856 w 10505529"/>
              <a:gd name="connsiteY3383" fmla="*/ 6982082 h 7458372"/>
              <a:gd name="connsiteX3384" fmla="*/ 7241120 w 10505529"/>
              <a:gd name="connsiteY3384" fmla="*/ 6993529 h 7458372"/>
              <a:gd name="connsiteX3385" fmla="*/ 7238856 w 10505529"/>
              <a:gd name="connsiteY3385" fmla="*/ 7005245 h 7458372"/>
              <a:gd name="connsiteX3386" fmla="*/ 7232733 w 10505529"/>
              <a:gd name="connsiteY3386" fmla="*/ 7014563 h 7458372"/>
              <a:gd name="connsiteX3387" fmla="*/ 7223415 w 10505529"/>
              <a:gd name="connsiteY3387" fmla="*/ 7020819 h 7458372"/>
              <a:gd name="connsiteX3388" fmla="*/ 7211701 w 10505529"/>
              <a:gd name="connsiteY3388" fmla="*/ 7023082 h 7458372"/>
              <a:gd name="connsiteX3389" fmla="*/ 7189868 w 10505529"/>
              <a:gd name="connsiteY3389" fmla="*/ 7014563 h 7458372"/>
              <a:gd name="connsiteX3390" fmla="*/ 7181482 w 10505529"/>
              <a:gd name="connsiteY3390" fmla="*/ 6993396 h 7458372"/>
              <a:gd name="connsiteX3391" fmla="*/ 7189868 w 10505529"/>
              <a:gd name="connsiteY3391" fmla="*/ 6972364 h 7458372"/>
              <a:gd name="connsiteX3392" fmla="*/ 7211701 w 10505529"/>
              <a:gd name="connsiteY3392" fmla="*/ 6963844 h 7458372"/>
              <a:gd name="connsiteX3393" fmla="*/ 6994056 w 10505529"/>
              <a:gd name="connsiteY3393" fmla="*/ 6963844 h 7458372"/>
              <a:gd name="connsiteX3394" fmla="*/ 7005769 w 10505529"/>
              <a:gd name="connsiteY3394" fmla="*/ 6966373 h 7458372"/>
              <a:gd name="connsiteX3395" fmla="*/ 7015087 w 10505529"/>
              <a:gd name="connsiteY3395" fmla="*/ 6972763 h 7458372"/>
              <a:gd name="connsiteX3396" fmla="*/ 7021211 w 10505529"/>
              <a:gd name="connsiteY3396" fmla="*/ 6982082 h 7458372"/>
              <a:gd name="connsiteX3397" fmla="*/ 7023474 w 10505529"/>
              <a:gd name="connsiteY3397" fmla="*/ 6993529 h 7458372"/>
              <a:gd name="connsiteX3398" fmla="*/ 7021211 w 10505529"/>
              <a:gd name="connsiteY3398" fmla="*/ 7005245 h 7458372"/>
              <a:gd name="connsiteX3399" fmla="*/ 7015087 w 10505529"/>
              <a:gd name="connsiteY3399" fmla="*/ 7014563 h 7458372"/>
              <a:gd name="connsiteX3400" fmla="*/ 7005769 w 10505529"/>
              <a:gd name="connsiteY3400" fmla="*/ 7020819 h 7458372"/>
              <a:gd name="connsiteX3401" fmla="*/ 6994056 w 10505529"/>
              <a:gd name="connsiteY3401" fmla="*/ 7023082 h 7458372"/>
              <a:gd name="connsiteX3402" fmla="*/ 6972223 w 10505529"/>
              <a:gd name="connsiteY3402" fmla="*/ 7014563 h 7458372"/>
              <a:gd name="connsiteX3403" fmla="*/ 6963837 w 10505529"/>
              <a:gd name="connsiteY3403" fmla="*/ 6993396 h 7458372"/>
              <a:gd name="connsiteX3404" fmla="*/ 6972223 w 10505529"/>
              <a:gd name="connsiteY3404" fmla="*/ 6972364 h 7458372"/>
              <a:gd name="connsiteX3405" fmla="*/ 6994056 w 10505529"/>
              <a:gd name="connsiteY3405" fmla="*/ 6963844 h 7458372"/>
              <a:gd name="connsiteX3406" fmla="*/ 6776544 w 10505529"/>
              <a:gd name="connsiteY3406" fmla="*/ 6963844 h 7458372"/>
              <a:gd name="connsiteX3407" fmla="*/ 6788258 w 10505529"/>
              <a:gd name="connsiteY3407" fmla="*/ 6966373 h 7458372"/>
              <a:gd name="connsiteX3408" fmla="*/ 6797576 w 10505529"/>
              <a:gd name="connsiteY3408" fmla="*/ 6972763 h 7458372"/>
              <a:gd name="connsiteX3409" fmla="*/ 6803699 w 10505529"/>
              <a:gd name="connsiteY3409" fmla="*/ 6982082 h 7458372"/>
              <a:gd name="connsiteX3410" fmla="*/ 6805963 w 10505529"/>
              <a:gd name="connsiteY3410" fmla="*/ 6993529 h 7458372"/>
              <a:gd name="connsiteX3411" fmla="*/ 6803699 w 10505529"/>
              <a:gd name="connsiteY3411" fmla="*/ 7005245 h 7458372"/>
              <a:gd name="connsiteX3412" fmla="*/ 6797576 w 10505529"/>
              <a:gd name="connsiteY3412" fmla="*/ 7014563 h 7458372"/>
              <a:gd name="connsiteX3413" fmla="*/ 6788258 w 10505529"/>
              <a:gd name="connsiteY3413" fmla="*/ 7020819 h 7458372"/>
              <a:gd name="connsiteX3414" fmla="*/ 6776544 w 10505529"/>
              <a:gd name="connsiteY3414" fmla="*/ 7023082 h 7458372"/>
              <a:gd name="connsiteX3415" fmla="*/ 6754711 w 10505529"/>
              <a:gd name="connsiteY3415" fmla="*/ 7014563 h 7458372"/>
              <a:gd name="connsiteX3416" fmla="*/ 6746325 w 10505529"/>
              <a:gd name="connsiteY3416" fmla="*/ 6993396 h 7458372"/>
              <a:gd name="connsiteX3417" fmla="*/ 6754711 w 10505529"/>
              <a:gd name="connsiteY3417" fmla="*/ 6972364 h 7458372"/>
              <a:gd name="connsiteX3418" fmla="*/ 6776544 w 10505529"/>
              <a:gd name="connsiteY3418" fmla="*/ 6963844 h 7458372"/>
              <a:gd name="connsiteX3419" fmla="*/ 6558899 w 10505529"/>
              <a:gd name="connsiteY3419" fmla="*/ 6963844 h 7458372"/>
              <a:gd name="connsiteX3420" fmla="*/ 6570612 w 10505529"/>
              <a:gd name="connsiteY3420" fmla="*/ 6966373 h 7458372"/>
              <a:gd name="connsiteX3421" fmla="*/ 6579930 w 10505529"/>
              <a:gd name="connsiteY3421" fmla="*/ 6972763 h 7458372"/>
              <a:gd name="connsiteX3422" fmla="*/ 6586054 w 10505529"/>
              <a:gd name="connsiteY3422" fmla="*/ 6982082 h 7458372"/>
              <a:gd name="connsiteX3423" fmla="*/ 6588317 w 10505529"/>
              <a:gd name="connsiteY3423" fmla="*/ 6993529 h 7458372"/>
              <a:gd name="connsiteX3424" fmla="*/ 6586054 w 10505529"/>
              <a:gd name="connsiteY3424" fmla="*/ 7005245 h 7458372"/>
              <a:gd name="connsiteX3425" fmla="*/ 6579930 w 10505529"/>
              <a:gd name="connsiteY3425" fmla="*/ 7014563 h 7458372"/>
              <a:gd name="connsiteX3426" fmla="*/ 6570612 w 10505529"/>
              <a:gd name="connsiteY3426" fmla="*/ 7020819 h 7458372"/>
              <a:gd name="connsiteX3427" fmla="*/ 6558899 w 10505529"/>
              <a:gd name="connsiteY3427" fmla="*/ 7023082 h 7458372"/>
              <a:gd name="connsiteX3428" fmla="*/ 6537066 w 10505529"/>
              <a:gd name="connsiteY3428" fmla="*/ 7014563 h 7458372"/>
              <a:gd name="connsiteX3429" fmla="*/ 6528680 w 10505529"/>
              <a:gd name="connsiteY3429" fmla="*/ 6993396 h 7458372"/>
              <a:gd name="connsiteX3430" fmla="*/ 6537066 w 10505529"/>
              <a:gd name="connsiteY3430" fmla="*/ 6972364 h 7458372"/>
              <a:gd name="connsiteX3431" fmla="*/ 6558899 w 10505529"/>
              <a:gd name="connsiteY3431" fmla="*/ 6963844 h 7458372"/>
              <a:gd name="connsiteX3432" fmla="*/ 6341253 w 10505529"/>
              <a:gd name="connsiteY3432" fmla="*/ 6963844 h 7458372"/>
              <a:gd name="connsiteX3433" fmla="*/ 6352968 w 10505529"/>
              <a:gd name="connsiteY3433" fmla="*/ 6966373 h 7458372"/>
              <a:gd name="connsiteX3434" fmla="*/ 6362286 w 10505529"/>
              <a:gd name="connsiteY3434" fmla="*/ 6972763 h 7458372"/>
              <a:gd name="connsiteX3435" fmla="*/ 6368409 w 10505529"/>
              <a:gd name="connsiteY3435" fmla="*/ 6982082 h 7458372"/>
              <a:gd name="connsiteX3436" fmla="*/ 6370672 w 10505529"/>
              <a:gd name="connsiteY3436" fmla="*/ 6993529 h 7458372"/>
              <a:gd name="connsiteX3437" fmla="*/ 6368409 w 10505529"/>
              <a:gd name="connsiteY3437" fmla="*/ 7005245 h 7458372"/>
              <a:gd name="connsiteX3438" fmla="*/ 6362286 w 10505529"/>
              <a:gd name="connsiteY3438" fmla="*/ 7014563 h 7458372"/>
              <a:gd name="connsiteX3439" fmla="*/ 6352968 w 10505529"/>
              <a:gd name="connsiteY3439" fmla="*/ 7020819 h 7458372"/>
              <a:gd name="connsiteX3440" fmla="*/ 6341253 w 10505529"/>
              <a:gd name="connsiteY3440" fmla="*/ 7023082 h 7458372"/>
              <a:gd name="connsiteX3441" fmla="*/ 6319421 w 10505529"/>
              <a:gd name="connsiteY3441" fmla="*/ 7014563 h 7458372"/>
              <a:gd name="connsiteX3442" fmla="*/ 6311035 w 10505529"/>
              <a:gd name="connsiteY3442" fmla="*/ 6993396 h 7458372"/>
              <a:gd name="connsiteX3443" fmla="*/ 6319421 w 10505529"/>
              <a:gd name="connsiteY3443" fmla="*/ 6972364 h 7458372"/>
              <a:gd name="connsiteX3444" fmla="*/ 6341253 w 10505529"/>
              <a:gd name="connsiteY3444" fmla="*/ 6963844 h 7458372"/>
              <a:gd name="connsiteX3445" fmla="*/ 6123608 w 10505529"/>
              <a:gd name="connsiteY3445" fmla="*/ 6963844 h 7458372"/>
              <a:gd name="connsiteX3446" fmla="*/ 6135322 w 10505529"/>
              <a:gd name="connsiteY3446" fmla="*/ 6966373 h 7458372"/>
              <a:gd name="connsiteX3447" fmla="*/ 6144640 w 10505529"/>
              <a:gd name="connsiteY3447" fmla="*/ 6972763 h 7458372"/>
              <a:gd name="connsiteX3448" fmla="*/ 6150763 w 10505529"/>
              <a:gd name="connsiteY3448" fmla="*/ 6982082 h 7458372"/>
              <a:gd name="connsiteX3449" fmla="*/ 6153026 w 10505529"/>
              <a:gd name="connsiteY3449" fmla="*/ 6993529 h 7458372"/>
              <a:gd name="connsiteX3450" fmla="*/ 6150763 w 10505529"/>
              <a:gd name="connsiteY3450" fmla="*/ 7005245 h 7458372"/>
              <a:gd name="connsiteX3451" fmla="*/ 6144640 w 10505529"/>
              <a:gd name="connsiteY3451" fmla="*/ 7014563 h 7458372"/>
              <a:gd name="connsiteX3452" fmla="*/ 6135322 w 10505529"/>
              <a:gd name="connsiteY3452" fmla="*/ 7020819 h 7458372"/>
              <a:gd name="connsiteX3453" fmla="*/ 6123608 w 10505529"/>
              <a:gd name="connsiteY3453" fmla="*/ 7023082 h 7458372"/>
              <a:gd name="connsiteX3454" fmla="*/ 6101775 w 10505529"/>
              <a:gd name="connsiteY3454" fmla="*/ 7014563 h 7458372"/>
              <a:gd name="connsiteX3455" fmla="*/ 6093389 w 10505529"/>
              <a:gd name="connsiteY3455" fmla="*/ 6993396 h 7458372"/>
              <a:gd name="connsiteX3456" fmla="*/ 6101775 w 10505529"/>
              <a:gd name="connsiteY3456" fmla="*/ 6972364 h 7458372"/>
              <a:gd name="connsiteX3457" fmla="*/ 6123608 w 10505529"/>
              <a:gd name="connsiteY3457" fmla="*/ 6963844 h 7458372"/>
              <a:gd name="connsiteX3458" fmla="*/ 5905963 w 10505529"/>
              <a:gd name="connsiteY3458" fmla="*/ 6963844 h 7458372"/>
              <a:gd name="connsiteX3459" fmla="*/ 5917677 w 10505529"/>
              <a:gd name="connsiteY3459" fmla="*/ 6966373 h 7458372"/>
              <a:gd name="connsiteX3460" fmla="*/ 5926995 w 10505529"/>
              <a:gd name="connsiteY3460" fmla="*/ 6972763 h 7458372"/>
              <a:gd name="connsiteX3461" fmla="*/ 5933118 w 10505529"/>
              <a:gd name="connsiteY3461" fmla="*/ 6982082 h 7458372"/>
              <a:gd name="connsiteX3462" fmla="*/ 5935381 w 10505529"/>
              <a:gd name="connsiteY3462" fmla="*/ 6993529 h 7458372"/>
              <a:gd name="connsiteX3463" fmla="*/ 5933118 w 10505529"/>
              <a:gd name="connsiteY3463" fmla="*/ 7005245 h 7458372"/>
              <a:gd name="connsiteX3464" fmla="*/ 5926995 w 10505529"/>
              <a:gd name="connsiteY3464" fmla="*/ 7014563 h 7458372"/>
              <a:gd name="connsiteX3465" fmla="*/ 5917677 w 10505529"/>
              <a:gd name="connsiteY3465" fmla="*/ 7020819 h 7458372"/>
              <a:gd name="connsiteX3466" fmla="*/ 5905963 w 10505529"/>
              <a:gd name="connsiteY3466" fmla="*/ 7023082 h 7458372"/>
              <a:gd name="connsiteX3467" fmla="*/ 5884130 w 10505529"/>
              <a:gd name="connsiteY3467" fmla="*/ 7014563 h 7458372"/>
              <a:gd name="connsiteX3468" fmla="*/ 5875744 w 10505529"/>
              <a:gd name="connsiteY3468" fmla="*/ 6993396 h 7458372"/>
              <a:gd name="connsiteX3469" fmla="*/ 5884130 w 10505529"/>
              <a:gd name="connsiteY3469" fmla="*/ 6972364 h 7458372"/>
              <a:gd name="connsiteX3470" fmla="*/ 5905963 w 10505529"/>
              <a:gd name="connsiteY3470" fmla="*/ 6963844 h 7458372"/>
              <a:gd name="connsiteX3471" fmla="*/ 5688451 w 10505529"/>
              <a:gd name="connsiteY3471" fmla="*/ 6963844 h 7458372"/>
              <a:gd name="connsiteX3472" fmla="*/ 5700165 w 10505529"/>
              <a:gd name="connsiteY3472" fmla="*/ 6966373 h 7458372"/>
              <a:gd name="connsiteX3473" fmla="*/ 5709483 w 10505529"/>
              <a:gd name="connsiteY3473" fmla="*/ 6972763 h 7458372"/>
              <a:gd name="connsiteX3474" fmla="*/ 5715606 w 10505529"/>
              <a:gd name="connsiteY3474" fmla="*/ 6982082 h 7458372"/>
              <a:gd name="connsiteX3475" fmla="*/ 5717869 w 10505529"/>
              <a:gd name="connsiteY3475" fmla="*/ 6993529 h 7458372"/>
              <a:gd name="connsiteX3476" fmla="*/ 5715606 w 10505529"/>
              <a:gd name="connsiteY3476" fmla="*/ 7005245 h 7458372"/>
              <a:gd name="connsiteX3477" fmla="*/ 5709483 w 10505529"/>
              <a:gd name="connsiteY3477" fmla="*/ 7014563 h 7458372"/>
              <a:gd name="connsiteX3478" fmla="*/ 5700165 w 10505529"/>
              <a:gd name="connsiteY3478" fmla="*/ 7020819 h 7458372"/>
              <a:gd name="connsiteX3479" fmla="*/ 5688451 w 10505529"/>
              <a:gd name="connsiteY3479" fmla="*/ 7023082 h 7458372"/>
              <a:gd name="connsiteX3480" fmla="*/ 5666618 w 10505529"/>
              <a:gd name="connsiteY3480" fmla="*/ 7014563 h 7458372"/>
              <a:gd name="connsiteX3481" fmla="*/ 5658232 w 10505529"/>
              <a:gd name="connsiteY3481" fmla="*/ 6993396 h 7458372"/>
              <a:gd name="connsiteX3482" fmla="*/ 5666618 w 10505529"/>
              <a:gd name="connsiteY3482" fmla="*/ 6972364 h 7458372"/>
              <a:gd name="connsiteX3483" fmla="*/ 5688451 w 10505529"/>
              <a:gd name="connsiteY3483" fmla="*/ 6963844 h 7458372"/>
              <a:gd name="connsiteX3484" fmla="*/ 5470806 w 10505529"/>
              <a:gd name="connsiteY3484" fmla="*/ 6963844 h 7458372"/>
              <a:gd name="connsiteX3485" fmla="*/ 5482520 w 10505529"/>
              <a:gd name="connsiteY3485" fmla="*/ 6966373 h 7458372"/>
              <a:gd name="connsiteX3486" fmla="*/ 5491838 w 10505529"/>
              <a:gd name="connsiteY3486" fmla="*/ 6972763 h 7458372"/>
              <a:gd name="connsiteX3487" fmla="*/ 5497961 w 10505529"/>
              <a:gd name="connsiteY3487" fmla="*/ 6982082 h 7458372"/>
              <a:gd name="connsiteX3488" fmla="*/ 5500224 w 10505529"/>
              <a:gd name="connsiteY3488" fmla="*/ 6993529 h 7458372"/>
              <a:gd name="connsiteX3489" fmla="*/ 5497961 w 10505529"/>
              <a:gd name="connsiteY3489" fmla="*/ 7005245 h 7458372"/>
              <a:gd name="connsiteX3490" fmla="*/ 5491838 w 10505529"/>
              <a:gd name="connsiteY3490" fmla="*/ 7014563 h 7458372"/>
              <a:gd name="connsiteX3491" fmla="*/ 5482520 w 10505529"/>
              <a:gd name="connsiteY3491" fmla="*/ 7020819 h 7458372"/>
              <a:gd name="connsiteX3492" fmla="*/ 5470806 w 10505529"/>
              <a:gd name="connsiteY3492" fmla="*/ 7023082 h 7458372"/>
              <a:gd name="connsiteX3493" fmla="*/ 5448973 w 10505529"/>
              <a:gd name="connsiteY3493" fmla="*/ 7014563 h 7458372"/>
              <a:gd name="connsiteX3494" fmla="*/ 5440587 w 10505529"/>
              <a:gd name="connsiteY3494" fmla="*/ 6993396 h 7458372"/>
              <a:gd name="connsiteX3495" fmla="*/ 5448973 w 10505529"/>
              <a:gd name="connsiteY3495" fmla="*/ 6972364 h 7458372"/>
              <a:gd name="connsiteX3496" fmla="*/ 5470806 w 10505529"/>
              <a:gd name="connsiteY3496" fmla="*/ 6963844 h 7458372"/>
              <a:gd name="connsiteX3497" fmla="*/ 5253160 w 10505529"/>
              <a:gd name="connsiteY3497" fmla="*/ 6963844 h 7458372"/>
              <a:gd name="connsiteX3498" fmla="*/ 5264875 w 10505529"/>
              <a:gd name="connsiteY3498" fmla="*/ 6966373 h 7458372"/>
              <a:gd name="connsiteX3499" fmla="*/ 5274192 w 10505529"/>
              <a:gd name="connsiteY3499" fmla="*/ 6972763 h 7458372"/>
              <a:gd name="connsiteX3500" fmla="*/ 5280316 w 10505529"/>
              <a:gd name="connsiteY3500" fmla="*/ 6982082 h 7458372"/>
              <a:gd name="connsiteX3501" fmla="*/ 5282579 w 10505529"/>
              <a:gd name="connsiteY3501" fmla="*/ 6993529 h 7458372"/>
              <a:gd name="connsiteX3502" fmla="*/ 5280316 w 10505529"/>
              <a:gd name="connsiteY3502" fmla="*/ 7005245 h 7458372"/>
              <a:gd name="connsiteX3503" fmla="*/ 5274192 w 10505529"/>
              <a:gd name="connsiteY3503" fmla="*/ 7014563 h 7458372"/>
              <a:gd name="connsiteX3504" fmla="*/ 5264875 w 10505529"/>
              <a:gd name="connsiteY3504" fmla="*/ 7020819 h 7458372"/>
              <a:gd name="connsiteX3505" fmla="*/ 5253160 w 10505529"/>
              <a:gd name="connsiteY3505" fmla="*/ 7023082 h 7458372"/>
              <a:gd name="connsiteX3506" fmla="*/ 5231328 w 10505529"/>
              <a:gd name="connsiteY3506" fmla="*/ 7014563 h 7458372"/>
              <a:gd name="connsiteX3507" fmla="*/ 5222942 w 10505529"/>
              <a:gd name="connsiteY3507" fmla="*/ 6993396 h 7458372"/>
              <a:gd name="connsiteX3508" fmla="*/ 5231328 w 10505529"/>
              <a:gd name="connsiteY3508" fmla="*/ 6972364 h 7458372"/>
              <a:gd name="connsiteX3509" fmla="*/ 5253160 w 10505529"/>
              <a:gd name="connsiteY3509" fmla="*/ 6963844 h 7458372"/>
              <a:gd name="connsiteX3510" fmla="*/ 5035515 w 10505529"/>
              <a:gd name="connsiteY3510" fmla="*/ 6963844 h 7458372"/>
              <a:gd name="connsiteX3511" fmla="*/ 5047230 w 10505529"/>
              <a:gd name="connsiteY3511" fmla="*/ 6966373 h 7458372"/>
              <a:gd name="connsiteX3512" fmla="*/ 5056548 w 10505529"/>
              <a:gd name="connsiteY3512" fmla="*/ 6972763 h 7458372"/>
              <a:gd name="connsiteX3513" fmla="*/ 5062671 w 10505529"/>
              <a:gd name="connsiteY3513" fmla="*/ 6982082 h 7458372"/>
              <a:gd name="connsiteX3514" fmla="*/ 5064934 w 10505529"/>
              <a:gd name="connsiteY3514" fmla="*/ 6993529 h 7458372"/>
              <a:gd name="connsiteX3515" fmla="*/ 5062671 w 10505529"/>
              <a:gd name="connsiteY3515" fmla="*/ 7005245 h 7458372"/>
              <a:gd name="connsiteX3516" fmla="*/ 5056548 w 10505529"/>
              <a:gd name="connsiteY3516" fmla="*/ 7014563 h 7458372"/>
              <a:gd name="connsiteX3517" fmla="*/ 5047230 w 10505529"/>
              <a:gd name="connsiteY3517" fmla="*/ 7020819 h 7458372"/>
              <a:gd name="connsiteX3518" fmla="*/ 5035515 w 10505529"/>
              <a:gd name="connsiteY3518" fmla="*/ 7023082 h 7458372"/>
              <a:gd name="connsiteX3519" fmla="*/ 5013683 w 10505529"/>
              <a:gd name="connsiteY3519" fmla="*/ 7014563 h 7458372"/>
              <a:gd name="connsiteX3520" fmla="*/ 5005297 w 10505529"/>
              <a:gd name="connsiteY3520" fmla="*/ 6993396 h 7458372"/>
              <a:gd name="connsiteX3521" fmla="*/ 5013683 w 10505529"/>
              <a:gd name="connsiteY3521" fmla="*/ 6972364 h 7458372"/>
              <a:gd name="connsiteX3522" fmla="*/ 5035515 w 10505529"/>
              <a:gd name="connsiteY3522" fmla="*/ 6963844 h 7458372"/>
              <a:gd name="connsiteX3523" fmla="*/ 4817870 w 10505529"/>
              <a:gd name="connsiteY3523" fmla="*/ 6963844 h 7458372"/>
              <a:gd name="connsiteX3524" fmla="*/ 4829585 w 10505529"/>
              <a:gd name="connsiteY3524" fmla="*/ 6966373 h 7458372"/>
              <a:gd name="connsiteX3525" fmla="*/ 4838903 w 10505529"/>
              <a:gd name="connsiteY3525" fmla="*/ 6972763 h 7458372"/>
              <a:gd name="connsiteX3526" fmla="*/ 4845026 w 10505529"/>
              <a:gd name="connsiteY3526" fmla="*/ 6982082 h 7458372"/>
              <a:gd name="connsiteX3527" fmla="*/ 4847289 w 10505529"/>
              <a:gd name="connsiteY3527" fmla="*/ 6993529 h 7458372"/>
              <a:gd name="connsiteX3528" fmla="*/ 4845026 w 10505529"/>
              <a:gd name="connsiteY3528" fmla="*/ 7005245 h 7458372"/>
              <a:gd name="connsiteX3529" fmla="*/ 4838903 w 10505529"/>
              <a:gd name="connsiteY3529" fmla="*/ 7014563 h 7458372"/>
              <a:gd name="connsiteX3530" fmla="*/ 4829585 w 10505529"/>
              <a:gd name="connsiteY3530" fmla="*/ 7020819 h 7458372"/>
              <a:gd name="connsiteX3531" fmla="*/ 4817870 w 10505529"/>
              <a:gd name="connsiteY3531" fmla="*/ 7023082 h 7458372"/>
              <a:gd name="connsiteX3532" fmla="*/ 4796038 w 10505529"/>
              <a:gd name="connsiteY3532" fmla="*/ 7014563 h 7458372"/>
              <a:gd name="connsiteX3533" fmla="*/ 4787652 w 10505529"/>
              <a:gd name="connsiteY3533" fmla="*/ 6993396 h 7458372"/>
              <a:gd name="connsiteX3534" fmla="*/ 4796038 w 10505529"/>
              <a:gd name="connsiteY3534" fmla="*/ 6972364 h 7458372"/>
              <a:gd name="connsiteX3535" fmla="*/ 4817870 w 10505529"/>
              <a:gd name="connsiteY3535" fmla="*/ 6963844 h 7458372"/>
              <a:gd name="connsiteX3536" fmla="*/ 4600226 w 10505529"/>
              <a:gd name="connsiteY3536" fmla="*/ 6963844 h 7458372"/>
              <a:gd name="connsiteX3537" fmla="*/ 4612073 w 10505529"/>
              <a:gd name="connsiteY3537" fmla="*/ 6966373 h 7458372"/>
              <a:gd name="connsiteX3538" fmla="*/ 4621391 w 10505529"/>
              <a:gd name="connsiteY3538" fmla="*/ 6972763 h 7458372"/>
              <a:gd name="connsiteX3539" fmla="*/ 4627514 w 10505529"/>
              <a:gd name="connsiteY3539" fmla="*/ 6982082 h 7458372"/>
              <a:gd name="connsiteX3540" fmla="*/ 4629777 w 10505529"/>
              <a:gd name="connsiteY3540" fmla="*/ 6993529 h 7458372"/>
              <a:gd name="connsiteX3541" fmla="*/ 4627514 w 10505529"/>
              <a:gd name="connsiteY3541" fmla="*/ 7005245 h 7458372"/>
              <a:gd name="connsiteX3542" fmla="*/ 4621391 w 10505529"/>
              <a:gd name="connsiteY3542" fmla="*/ 7014563 h 7458372"/>
              <a:gd name="connsiteX3543" fmla="*/ 4612073 w 10505529"/>
              <a:gd name="connsiteY3543" fmla="*/ 7020819 h 7458372"/>
              <a:gd name="connsiteX3544" fmla="*/ 4600226 w 10505529"/>
              <a:gd name="connsiteY3544" fmla="*/ 7023082 h 7458372"/>
              <a:gd name="connsiteX3545" fmla="*/ 4578393 w 10505529"/>
              <a:gd name="connsiteY3545" fmla="*/ 7014563 h 7458372"/>
              <a:gd name="connsiteX3546" fmla="*/ 4570007 w 10505529"/>
              <a:gd name="connsiteY3546" fmla="*/ 6993396 h 7458372"/>
              <a:gd name="connsiteX3547" fmla="*/ 4578393 w 10505529"/>
              <a:gd name="connsiteY3547" fmla="*/ 6972364 h 7458372"/>
              <a:gd name="connsiteX3548" fmla="*/ 4600226 w 10505529"/>
              <a:gd name="connsiteY3548" fmla="*/ 6963844 h 7458372"/>
              <a:gd name="connsiteX3549" fmla="*/ 4382713 w 10505529"/>
              <a:gd name="connsiteY3549" fmla="*/ 6963844 h 7458372"/>
              <a:gd name="connsiteX3550" fmla="*/ 4394428 w 10505529"/>
              <a:gd name="connsiteY3550" fmla="*/ 6966373 h 7458372"/>
              <a:gd name="connsiteX3551" fmla="*/ 4403746 w 10505529"/>
              <a:gd name="connsiteY3551" fmla="*/ 6972763 h 7458372"/>
              <a:gd name="connsiteX3552" fmla="*/ 4409869 w 10505529"/>
              <a:gd name="connsiteY3552" fmla="*/ 6982082 h 7458372"/>
              <a:gd name="connsiteX3553" fmla="*/ 4412132 w 10505529"/>
              <a:gd name="connsiteY3553" fmla="*/ 6993529 h 7458372"/>
              <a:gd name="connsiteX3554" fmla="*/ 4409869 w 10505529"/>
              <a:gd name="connsiteY3554" fmla="*/ 7005245 h 7458372"/>
              <a:gd name="connsiteX3555" fmla="*/ 4403746 w 10505529"/>
              <a:gd name="connsiteY3555" fmla="*/ 7014563 h 7458372"/>
              <a:gd name="connsiteX3556" fmla="*/ 4394428 w 10505529"/>
              <a:gd name="connsiteY3556" fmla="*/ 7020819 h 7458372"/>
              <a:gd name="connsiteX3557" fmla="*/ 4382713 w 10505529"/>
              <a:gd name="connsiteY3557" fmla="*/ 7023082 h 7458372"/>
              <a:gd name="connsiteX3558" fmla="*/ 4360881 w 10505529"/>
              <a:gd name="connsiteY3558" fmla="*/ 7014563 h 7458372"/>
              <a:gd name="connsiteX3559" fmla="*/ 4352495 w 10505529"/>
              <a:gd name="connsiteY3559" fmla="*/ 6993396 h 7458372"/>
              <a:gd name="connsiteX3560" fmla="*/ 4360881 w 10505529"/>
              <a:gd name="connsiteY3560" fmla="*/ 6972364 h 7458372"/>
              <a:gd name="connsiteX3561" fmla="*/ 4382713 w 10505529"/>
              <a:gd name="connsiteY3561" fmla="*/ 6963844 h 7458372"/>
              <a:gd name="connsiteX3562" fmla="*/ 4165068 w 10505529"/>
              <a:gd name="connsiteY3562" fmla="*/ 6963844 h 7458372"/>
              <a:gd name="connsiteX3563" fmla="*/ 4176782 w 10505529"/>
              <a:gd name="connsiteY3563" fmla="*/ 6966373 h 7458372"/>
              <a:gd name="connsiteX3564" fmla="*/ 4186100 w 10505529"/>
              <a:gd name="connsiteY3564" fmla="*/ 6972763 h 7458372"/>
              <a:gd name="connsiteX3565" fmla="*/ 4192223 w 10505529"/>
              <a:gd name="connsiteY3565" fmla="*/ 6982082 h 7458372"/>
              <a:gd name="connsiteX3566" fmla="*/ 4194486 w 10505529"/>
              <a:gd name="connsiteY3566" fmla="*/ 6993529 h 7458372"/>
              <a:gd name="connsiteX3567" fmla="*/ 4192223 w 10505529"/>
              <a:gd name="connsiteY3567" fmla="*/ 7005245 h 7458372"/>
              <a:gd name="connsiteX3568" fmla="*/ 4186100 w 10505529"/>
              <a:gd name="connsiteY3568" fmla="*/ 7014563 h 7458372"/>
              <a:gd name="connsiteX3569" fmla="*/ 4176782 w 10505529"/>
              <a:gd name="connsiteY3569" fmla="*/ 7020819 h 7458372"/>
              <a:gd name="connsiteX3570" fmla="*/ 4165068 w 10505529"/>
              <a:gd name="connsiteY3570" fmla="*/ 7023082 h 7458372"/>
              <a:gd name="connsiteX3571" fmla="*/ 4143235 w 10505529"/>
              <a:gd name="connsiteY3571" fmla="*/ 7014563 h 7458372"/>
              <a:gd name="connsiteX3572" fmla="*/ 4134849 w 10505529"/>
              <a:gd name="connsiteY3572" fmla="*/ 6993396 h 7458372"/>
              <a:gd name="connsiteX3573" fmla="*/ 4143235 w 10505529"/>
              <a:gd name="connsiteY3573" fmla="*/ 6972364 h 7458372"/>
              <a:gd name="connsiteX3574" fmla="*/ 4165068 w 10505529"/>
              <a:gd name="connsiteY3574" fmla="*/ 6963844 h 7458372"/>
              <a:gd name="connsiteX3575" fmla="*/ 3947802 w 10505529"/>
              <a:gd name="connsiteY3575" fmla="*/ 6963844 h 7458372"/>
              <a:gd name="connsiteX3576" fmla="*/ 3959521 w 10505529"/>
              <a:gd name="connsiteY3576" fmla="*/ 6966373 h 7458372"/>
              <a:gd name="connsiteX3577" fmla="*/ 3968839 w 10505529"/>
              <a:gd name="connsiteY3577" fmla="*/ 6972763 h 7458372"/>
              <a:gd name="connsiteX3578" fmla="*/ 3974963 w 10505529"/>
              <a:gd name="connsiteY3578" fmla="*/ 6982082 h 7458372"/>
              <a:gd name="connsiteX3579" fmla="*/ 3977227 w 10505529"/>
              <a:gd name="connsiteY3579" fmla="*/ 6993529 h 7458372"/>
              <a:gd name="connsiteX3580" fmla="*/ 3974963 w 10505529"/>
              <a:gd name="connsiteY3580" fmla="*/ 7005245 h 7458372"/>
              <a:gd name="connsiteX3581" fmla="*/ 3968839 w 10505529"/>
              <a:gd name="connsiteY3581" fmla="*/ 7014563 h 7458372"/>
              <a:gd name="connsiteX3582" fmla="*/ 3959521 w 10505529"/>
              <a:gd name="connsiteY3582" fmla="*/ 7020819 h 7458372"/>
              <a:gd name="connsiteX3583" fmla="*/ 3947802 w 10505529"/>
              <a:gd name="connsiteY3583" fmla="*/ 7023082 h 7458372"/>
              <a:gd name="connsiteX3584" fmla="*/ 3925970 w 10505529"/>
              <a:gd name="connsiteY3584" fmla="*/ 7014563 h 7458372"/>
              <a:gd name="connsiteX3585" fmla="*/ 3917583 w 10505529"/>
              <a:gd name="connsiteY3585" fmla="*/ 6993396 h 7458372"/>
              <a:gd name="connsiteX3586" fmla="*/ 3925970 w 10505529"/>
              <a:gd name="connsiteY3586" fmla="*/ 6972364 h 7458372"/>
              <a:gd name="connsiteX3587" fmla="*/ 3947802 w 10505529"/>
              <a:gd name="connsiteY3587" fmla="*/ 6963844 h 7458372"/>
              <a:gd name="connsiteX3588" fmla="*/ 3730141 w 10505529"/>
              <a:gd name="connsiteY3588" fmla="*/ 6963844 h 7458372"/>
              <a:gd name="connsiteX3589" fmla="*/ 3741856 w 10505529"/>
              <a:gd name="connsiteY3589" fmla="*/ 6966373 h 7458372"/>
              <a:gd name="connsiteX3590" fmla="*/ 3751175 w 10505529"/>
              <a:gd name="connsiteY3590" fmla="*/ 6972763 h 7458372"/>
              <a:gd name="connsiteX3591" fmla="*/ 3757297 w 10505529"/>
              <a:gd name="connsiteY3591" fmla="*/ 6982082 h 7458372"/>
              <a:gd name="connsiteX3592" fmla="*/ 3759560 w 10505529"/>
              <a:gd name="connsiteY3592" fmla="*/ 6993529 h 7458372"/>
              <a:gd name="connsiteX3593" fmla="*/ 3757297 w 10505529"/>
              <a:gd name="connsiteY3593" fmla="*/ 7005245 h 7458372"/>
              <a:gd name="connsiteX3594" fmla="*/ 3751175 w 10505529"/>
              <a:gd name="connsiteY3594" fmla="*/ 7014563 h 7458372"/>
              <a:gd name="connsiteX3595" fmla="*/ 3741856 w 10505529"/>
              <a:gd name="connsiteY3595" fmla="*/ 7020819 h 7458372"/>
              <a:gd name="connsiteX3596" fmla="*/ 3730141 w 10505529"/>
              <a:gd name="connsiteY3596" fmla="*/ 7023082 h 7458372"/>
              <a:gd name="connsiteX3597" fmla="*/ 3708298 w 10505529"/>
              <a:gd name="connsiteY3597" fmla="*/ 7014563 h 7458372"/>
              <a:gd name="connsiteX3598" fmla="*/ 3699911 w 10505529"/>
              <a:gd name="connsiteY3598" fmla="*/ 6993396 h 7458372"/>
              <a:gd name="connsiteX3599" fmla="*/ 3708298 w 10505529"/>
              <a:gd name="connsiteY3599" fmla="*/ 6972364 h 7458372"/>
              <a:gd name="connsiteX3600" fmla="*/ 3730141 w 10505529"/>
              <a:gd name="connsiteY3600" fmla="*/ 6963844 h 7458372"/>
              <a:gd name="connsiteX3601" fmla="*/ 3512475 w 10505529"/>
              <a:gd name="connsiteY3601" fmla="*/ 6963844 h 7458372"/>
              <a:gd name="connsiteX3602" fmla="*/ 3524191 w 10505529"/>
              <a:gd name="connsiteY3602" fmla="*/ 6966373 h 7458372"/>
              <a:gd name="connsiteX3603" fmla="*/ 3533509 w 10505529"/>
              <a:gd name="connsiteY3603" fmla="*/ 6972763 h 7458372"/>
              <a:gd name="connsiteX3604" fmla="*/ 3539633 w 10505529"/>
              <a:gd name="connsiteY3604" fmla="*/ 6982082 h 7458372"/>
              <a:gd name="connsiteX3605" fmla="*/ 3541896 w 10505529"/>
              <a:gd name="connsiteY3605" fmla="*/ 6993529 h 7458372"/>
              <a:gd name="connsiteX3606" fmla="*/ 3539633 w 10505529"/>
              <a:gd name="connsiteY3606" fmla="*/ 7005245 h 7458372"/>
              <a:gd name="connsiteX3607" fmla="*/ 3533509 w 10505529"/>
              <a:gd name="connsiteY3607" fmla="*/ 7014563 h 7458372"/>
              <a:gd name="connsiteX3608" fmla="*/ 3524191 w 10505529"/>
              <a:gd name="connsiteY3608" fmla="*/ 7020819 h 7458372"/>
              <a:gd name="connsiteX3609" fmla="*/ 3512475 w 10505529"/>
              <a:gd name="connsiteY3609" fmla="*/ 7023082 h 7458372"/>
              <a:gd name="connsiteX3610" fmla="*/ 3490637 w 10505529"/>
              <a:gd name="connsiteY3610" fmla="*/ 7014563 h 7458372"/>
              <a:gd name="connsiteX3611" fmla="*/ 3482251 w 10505529"/>
              <a:gd name="connsiteY3611" fmla="*/ 6993396 h 7458372"/>
              <a:gd name="connsiteX3612" fmla="*/ 3490637 w 10505529"/>
              <a:gd name="connsiteY3612" fmla="*/ 6972364 h 7458372"/>
              <a:gd name="connsiteX3613" fmla="*/ 3512475 w 10505529"/>
              <a:gd name="connsiteY3613" fmla="*/ 6963844 h 7458372"/>
              <a:gd name="connsiteX3614" fmla="*/ 3294943 w 10505529"/>
              <a:gd name="connsiteY3614" fmla="*/ 6963844 h 7458372"/>
              <a:gd name="connsiteX3615" fmla="*/ 3306660 w 10505529"/>
              <a:gd name="connsiteY3615" fmla="*/ 6966373 h 7458372"/>
              <a:gd name="connsiteX3616" fmla="*/ 3315978 w 10505529"/>
              <a:gd name="connsiteY3616" fmla="*/ 6972763 h 7458372"/>
              <a:gd name="connsiteX3617" fmla="*/ 3322101 w 10505529"/>
              <a:gd name="connsiteY3617" fmla="*/ 6982082 h 7458372"/>
              <a:gd name="connsiteX3618" fmla="*/ 3324364 w 10505529"/>
              <a:gd name="connsiteY3618" fmla="*/ 6993529 h 7458372"/>
              <a:gd name="connsiteX3619" fmla="*/ 3322101 w 10505529"/>
              <a:gd name="connsiteY3619" fmla="*/ 7005245 h 7458372"/>
              <a:gd name="connsiteX3620" fmla="*/ 3315978 w 10505529"/>
              <a:gd name="connsiteY3620" fmla="*/ 7014563 h 7458372"/>
              <a:gd name="connsiteX3621" fmla="*/ 3306660 w 10505529"/>
              <a:gd name="connsiteY3621" fmla="*/ 7020819 h 7458372"/>
              <a:gd name="connsiteX3622" fmla="*/ 3294943 w 10505529"/>
              <a:gd name="connsiteY3622" fmla="*/ 7023082 h 7458372"/>
              <a:gd name="connsiteX3623" fmla="*/ 3273104 w 10505529"/>
              <a:gd name="connsiteY3623" fmla="*/ 7014563 h 7458372"/>
              <a:gd name="connsiteX3624" fmla="*/ 3264715 w 10505529"/>
              <a:gd name="connsiteY3624" fmla="*/ 6993396 h 7458372"/>
              <a:gd name="connsiteX3625" fmla="*/ 3273104 w 10505529"/>
              <a:gd name="connsiteY3625" fmla="*/ 6972364 h 7458372"/>
              <a:gd name="connsiteX3626" fmla="*/ 3294943 w 10505529"/>
              <a:gd name="connsiteY3626" fmla="*/ 6963844 h 7458372"/>
              <a:gd name="connsiteX3627" fmla="*/ 3077279 w 10505529"/>
              <a:gd name="connsiteY3627" fmla="*/ 6963844 h 7458372"/>
              <a:gd name="connsiteX3628" fmla="*/ 3088994 w 10505529"/>
              <a:gd name="connsiteY3628" fmla="*/ 6966373 h 7458372"/>
              <a:gd name="connsiteX3629" fmla="*/ 3098312 w 10505529"/>
              <a:gd name="connsiteY3629" fmla="*/ 6972763 h 7458372"/>
              <a:gd name="connsiteX3630" fmla="*/ 3104435 w 10505529"/>
              <a:gd name="connsiteY3630" fmla="*/ 6982082 h 7458372"/>
              <a:gd name="connsiteX3631" fmla="*/ 3106698 w 10505529"/>
              <a:gd name="connsiteY3631" fmla="*/ 6993529 h 7458372"/>
              <a:gd name="connsiteX3632" fmla="*/ 3104435 w 10505529"/>
              <a:gd name="connsiteY3632" fmla="*/ 7005245 h 7458372"/>
              <a:gd name="connsiteX3633" fmla="*/ 3098312 w 10505529"/>
              <a:gd name="connsiteY3633" fmla="*/ 7014563 h 7458372"/>
              <a:gd name="connsiteX3634" fmla="*/ 3088994 w 10505529"/>
              <a:gd name="connsiteY3634" fmla="*/ 7020819 h 7458372"/>
              <a:gd name="connsiteX3635" fmla="*/ 3077279 w 10505529"/>
              <a:gd name="connsiteY3635" fmla="*/ 7023082 h 7458372"/>
              <a:gd name="connsiteX3636" fmla="*/ 3055439 w 10505529"/>
              <a:gd name="connsiteY3636" fmla="*/ 7014563 h 7458372"/>
              <a:gd name="connsiteX3637" fmla="*/ 3047052 w 10505529"/>
              <a:gd name="connsiteY3637" fmla="*/ 6993396 h 7458372"/>
              <a:gd name="connsiteX3638" fmla="*/ 3055439 w 10505529"/>
              <a:gd name="connsiteY3638" fmla="*/ 6972364 h 7458372"/>
              <a:gd name="connsiteX3639" fmla="*/ 3077279 w 10505529"/>
              <a:gd name="connsiteY3639" fmla="*/ 6963844 h 7458372"/>
              <a:gd name="connsiteX3640" fmla="*/ 2859614 w 10505529"/>
              <a:gd name="connsiteY3640" fmla="*/ 6963844 h 7458372"/>
              <a:gd name="connsiteX3641" fmla="*/ 2871462 w 10505529"/>
              <a:gd name="connsiteY3641" fmla="*/ 6966373 h 7458372"/>
              <a:gd name="connsiteX3642" fmla="*/ 2880780 w 10505529"/>
              <a:gd name="connsiteY3642" fmla="*/ 6972763 h 7458372"/>
              <a:gd name="connsiteX3643" fmla="*/ 2886904 w 10505529"/>
              <a:gd name="connsiteY3643" fmla="*/ 6982082 h 7458372"/>
              <a:gd name="connsiteX3644" fmla="*/ 2889167 w 10505529"/>
              <a:gd name="connsiteY3644" fmla="*/ 6993529 h 7458372"/>
              <a:gd name="connsiteX3645" fmla="*/ 2886904 w 10505529"/>
              <a:gd name="connsiteY3645" fmla="*/ 7005245 h 7458372"/>
              <a:gd name="connsiteX3646" fmla="*/ 2880780 w 10505529"/>
              <a:gd name="connsiteY3646" fmla="*/ 7014563 h 7458372"/>
              <a:gd name="connsiteX3647" fmla="*/ 2871462 w 10505529"/>
              <a:gd name="connsiteY3647" fmla="*/ 7020819 h 7458372"/>
              <a:gd name="connsiteX3648" fmla="*/ 2859614 w 10505529"/>
              <a:gd name="connsiteY3648" fmla="*/ 7023082 h 7458372"/>
              <a:gd name="connsiteX3649" fmla="*/ 2837774 w 10505529"/>
              <a:gd name="connsiteY3649" fmla="*/ 7014563 h 7458372"/>
              <a:gd name="connsiteX3650" fmla="*/ 2829386 w 10505529"/>
              <a:gd name="connsiteY3650" fmla="*/ 6993396 h 7458372"/>
              <a:gd name="connsiteX3651" fmla="*/ 2837774 w 10505529"/>
              <a:gd name="connsiteY3651" fmla="*/ 6972364 h 7458372"/>
              <a:gd name="connsiteX3652" fmla="*/ 2859614 w 10505529"/>
              <a:gd name="connsiteY3652" fmla="*/ 6963844 h 7458372"/>
              <a:gd name="connsiteX3653" fmla="*/ 2641949 w 10505529"/>
              <a:gd name="connsiteY3653" fmla="*/ 6963844 h 7458372"/>
              <a:gd name="connsiteX3654" fmla="*/ 2653664 w 10505529"/>
              <a:gd name="connsiteY3654" fmla="*/ 6966373 h 7458372"/>
              <a:gd name="connsiteX3655" fmla="*/ 2662982 w 10505529"/>
              <a:gd name="connsiteY3655" fmla="*/ 6972763 h 7458372"/>
              <a:gd name="connsiteX3656" fmla="*/ 2669105 w 10505529"/>
              <a:gd name="connsiteY3656" fmla="*/ 6982082 h 7458372"/>
              <a:gd name="connsiteX3657" fmla="*/ 2671368 w 10505529"/>
              <a:gd name="connsiteY3657" fmla="*/ 6993529 h 7458372"/>
              <a:gd name="connsiteX3658" fmla="*/ 2669105 w 10505529"/>
              <a:gd name="connsiteY3658" fmla="*/ 7005245 h 7458372"/>
              <a:gd name="connsiteX3659" fmla="*/ 2662982 w 10505529"/>
              <a:gd name="connsiteY3659" fmla="*/ 7014563 h 7458372"/>
              <a:gd name="connsiteX3660" fmla="*/ 2653664 w 10505529"/>
              <a:gd name="connsiteY3660" fmla="*/ 7020819 h 7458372"/>
              <a:gd name="connsiteX3661" fmla="*/ 2641949 w 10505529"/>
              <a:gd name="connsiteY3661" fmla="*/ 7023082 h 7458372"/>
              <a:gd name="connsiteX3662" fmla="*/ 2620114 w 10505529"/>
              <a:gd name="connsiteY3662" fmla="*/ 7014563 h 7458372"/>
              <a:gd name="connsiteX3663" fmla="*/ 2611724 w 10505529"/>
              <a:gd name="connsiteY3663" fmla="*/ 6993396 h 7458372"/>
              <a:gd name="connsiteX3664" fmla="*/ 2620114 w 10505529"/>
              <a:gd name="connsiteY3664" fmla="*/ 6972364 h 7458372"/>
              <a:gd name="connsiteX3665" fmla="*/ 2641949 w 10505529"/>
              <a:gd name="connsiteY3665" fmla="*/ 6963844 h 7458372"/>
              <a:gd name="connsiteX3666" fmla="*/ 2424283 w 10505529"/>
              <a:gd name="connsiteY3666" fmla="*/ 6963844 h 7458372"/>
              <a:gd name="connsiteX3667" fmla="*/ 2435999 w 10505529"/>
              <a:gd name="connsiteY3667" fmla="*/ 6966373 h 7458372"/>
              <a:gd name="connsiteX3668" fmla="*/ 2445317 w 10505529"/>
              <a:gd name="connsiteY3668" fmla="*/ 6972763 h 7458372"/>
              <a:gd name="connsiteX3669" fmla="*/ 2451440 w 10505529"/>
              <a:gd name="connsiteY3669" fmla="*/ 6982082 h 7458372"/>
              <a:gd name="connsiteX3670" fmla="*/ 2453703 w 10505529"/>
              <a:gd name="connsiteY3670" fmla="*/ 6993529 h 7458372"/>
              <a:gd name="connsiteX3671" fmla="*/ 2451440 w 10505529"/>
              <a:gd name="connsiteY3671" fmla="*/ 7005245 h 7458372"/>
              <a:gd name="connsiteX3672" fmla="*/ 2445317 w 10505529"/>
              <a:gd name="connsiteY3672" fmla="*/ 7014563 h 7458372"/>
              <a:gd name="connsiteX3673" fmla="*/ 2435999 w 10505529"/>
              <a:gd name="connsiteY3673" fmla="*/ 7020819 h 7458372"/>
              <a:gd name="connsiteX3674" fmla="*/ 2424283 w 10505529"/>
              <a:gd name="connsiteY3674" fmla="*/ 7023082 h 7458372"/>
              <a:gd name="connsiteX3675" fmla="*/ 2402451 w 10505529"/>
              <a:gd name="connsiteY3675" fmla="*/ 7014563 h 7458372"/>
              <a:gd name="connsiteX3676" fmla="*/ 2394061 w 10505529"/>
              <a:gd name="connsiteY3676" fmla="*/ 6993396 h 7458372"/>
              <a:gd name="connsiteX3677" fmla="*/ 2402451 w 10505529"/>
              <a:gd name="connsiteY3677" fmla="*/ 6972364 h 7458372"/>
              <a:gd name="connsiteX3678" fmla="*/ 2424283 w 10505529"/>
              <a:gd name="connsiteY3678" fmla="*/ 6963844 h 7458372"/>
              <a:gd name="connsiteX3679" fmla="*/ 2206619 w 10505529"/>
              <a:gd name="connsiteY3679" fmla="*/ 6963844 h 7458372"/>
              <a:gd name="connsiteX3680" fmla="*/ 2218334 w 10505529"/>
              <a:gd name="connsiteY3680" fmla="*/ 6966373 h 7458372"/>
              <a:gd name="connsiteX3681" fmla="*/ 2227652 w 10505529"/>
              <a:gd name="connsiteY3681" fmla="*/ 6972763 h 7458372"/>
              <a:gd name="connsiteX3682" fmla="*/ 2233775 w 10505529"/>
              <a:gd name="connsiteY3682" fmla="*/ 6982082 h 7458372"/>
              <a:gd name="connsiteX3683" fmla="*/ 2236038 w 10505529"/>
              <a:gd name="connsiteY3683" fmla="*/ 6993529 h 7458372"/>
              <a:gd name="connsiteX3684" fmla="*/ 2233775 w 10505529"/>
              <a:gd name="connsiteY3684" fmla="*/ 7005245 h 7458372"/>
              <a:gd name="connsiteX3685" fmla="*/ 2227652 w 10505529"/>
              <a:gd name="connsiteY3685" fmla="*/ 7014563 h 7458372"/>
              <a:gd name="connsiteX3686" fmla="*/ 2218334 w 10505529"/>
              <a:gd name="connsiteY3686" fmla="*/ 7020819 h 7458372"/>
              <a:gd name="connsiteX3687" fmla="*/ 2206619 w 10505529"/>
              <a:gd name="connsiteY3687" fmla="*/ 7023082 h 7458372"/>
              <a:gd name="connsiteX3688" fmla="*/ 2184785 w 10505529"/>
              <a:gd name="connsiteY3688" fmla="*/ 7014563 h 7458372"/>
              <a:gd name="connsiteX3689" fmla="*/ 2176397 w 10505529"/>
              <a:gd name="connsiteY3689" fmla="*/ 6993396 h 7458372"/>
              <a:gd name="connsiteX3690" fmla="*/ 2184785 w 10505529"/>
              <a:gd name="connsiteY3690" fmla="*/ 6972364 h 7458372"/>
              <a:gd name="connsiteX3691" fmla="*/ 2206619 w 10505529"/>
              <a:gd name="connsiteY3691" fmla="*/ 6963844 h 7458372"/>
              <a:gd name="connsiteX3692" fmla="*/ 1989086 w 10505529"/>
              <a:gd name="connsiteY3692" fmla="*/ 6963844 h 7458372"/>
              <a:gd name="connsiteX3693" fmla="*/ 2000802 w 10505529"/>
              <a:gd name="connsiteY3693" fmla="*/ 6966373 h 7458372"/>
              <a:gd name="connsiteX3694" fmla="*/ 2010120 w 10505529"/>
              <a:gd name="connsiteY3694" fmla="*/ 6972763 h 7458372"/>
              <a:gd name="connsiteX3695" fmla="*/ 2016243 w 10505529"/>
              <a:gd name="connsiteY3695" fmla="*/ 6982082 h 7458372"/>
              <a:gd name="connsiteX3696" fmla="*/ 2018506 w 10505529"/>
              <a:gd name="connsiteY3696" fmla="*/ 6993529 h 7458372"/>
              <a:gd name="connsiteX3697" fmla="*/ 2016243 w 10505529"/>
              <a:gd name="connsiteY3697" fmla="*/ 7005245 h 7458372"/>
              <a:gd name="connsiteX3698" fmla="*/ 2010120 w 10505529"/>
              <a:gd name="connsiteY3698" fmla="*/ 7014563 h 7458372"/>
              <a:gd name="connsiteX3699" fmla="*/ 2000802 w 10505529"/>
              <a:gd name="connsiteY3699" fmla="*/ 7020819 h 7458372"/>
              <a:gd name="connsiteX3700" fmla="*/ 1989086 w 10505529"/>
              <a:gd name="connsiteY3700" fmla="*/ 7023082 h 7458372"/>
              <a:gd name="connsiteX3701" fmla="*/ 1967255 w 10505529"/>
              <a:gd name="connsiteY3701" fmla="*/ 7014563 h 7458372"/>
              <a:gd name="connsiteX3702" fmla="*/ 1958869 w 10505529"/>
              <a:gd name="connsiteY3702" fmla="*/ 6993396 h 7458372"/>
              <a:gd name="connsiteX3703" fmla="*/ 1967255 w 10505529"/>
              <a:gd name="connsiteY3703" fmla="*/ 6972364 h 7458372"/>
              <a:gd name="connsiteX3704" fmla="*/ 1989086 w 10505529"/>
              <a:gd name="connsiteY3704" fmla="*/ 6963844 h 7458372"/>
              <a:gd name="connsiteX3705" fmla="*/ 1771456 w 10505529"/>
              <a:gd name="connsiteY3705" fmla="*/ 6963844 h 7458372"/>
              <a:gd name="connsiteX3706" fmla="*/ 1783169 w 10505529"/>
              <a:gd name="connsiteY3706" fmla="*/ 6966373 h 7458372"/>
              <a:gd name="connsiteX3707" fmla="*/ 1792487 w 10505529"/>
              <a:gd name="connsiteY3707" fmla="*/ 6972763 h 7458372"/>
              <a:gd name="connsiteX3708" fmla="*/ 1798610 w 10505529"/>
              <a:gd name="connsiteY3708" fmla="*/ 6982082 h 7458372"/>
              <a:gd name="connsiteX3709" fmla="*/ 1800872 w 10505529"/>
              <a:gd name="connsiteY3709" fmla="*/ 6993529 h 7458372"/>
              <a:gd name="connsiteX3710" fmla="*/ 1798610 w 10505529"/>
              <a:gd name="connsiteY3710" fmla="*/ 7005245 h 7458372"/>
              <a:gd name="connsiteX3711" fmla="*/ 1792487 w 10505529"/>
              <a:gd name="connsiteY3711" fmla="*/ 7014563 h 7458372"/>
              <a:gd name="connsiteX3712" fmla="*/ 1783169 w 10505529"/>
              <a:gd name="connsiteY3712" fmla="*/ 7020819 h 7458372"/>
              <a:gd name="connsiteX3713" fmla="*/ 1771456 w 10505529"/>
              <a:gd name="connsiteY3713" fmla="*/ 7023082 h 7458372"/>
              <a:gd name="connsiteX3714" fmla="*/ 1749627 w 10505529"/>
              <a:gd name="connsiteY3714" fmla="*/ 7014563 h 7458372"/>
              <a:gd name="connsiteX3715" fmla="*/ 1741244 w 10505529"/>
              <a:gd name="connsiteY3715" fmla="*/ 6993396 h 7458372"/>
              <a:gd name="connsiteX3716" fmla="*/ 1749627 w 10505529"/>
              <a:gd name="connsiteY3716" fmla="*/ 6972364 h 7458372"/>
              <a:gd name="connsiteX3717" fmla="*/ 1771456 w 10505529"/>
              <a:gd name="connsiteY3717" fmla="*/ 6963844 h 7458372"/>
              <a:gd name="connsiteX3718" fmla="*/ 1553820 w 10505529"/>
              <a:gd name="connsiteY3718" fmla="*/ 6963844 h 7458372"/>
              <a:gd name="connsiteX3719" fmla="*/ 1565535 w 10505529"/>
              <a:gd name="connsiteY3719" fmla="*/ 6966373 h 7458372"/>
              <a:gd name="connsiteX3720" fmla="*/ 1574854 w 10505529"/>
              <a:gd name="connsiteY3720" fmla="*/ 6972763 h 7458372"/>
              <a:gd name="connsiteX3721" fmla="*/ 1580976 w 10505529"/>
              <a:gd name="connsiteY3721" fmla="*/ 6982082 h 7458372"/>
              <a:gd name="connsiteX3722" fmla="*/ 1583239 w 10505529"/>
              <a:gd name="connsiteY3722" fmla="*/ 6993529 h 7458372"/>
              <a:gd name="connsiteX3723" fmla="*/ 1580976 w 10505529"/>
              <a:gd name="connsiteY3723" fmla="*/ 7005245 h 7458372"/>
              <a:gd name="connsiteX3724" fmla="*/ 1574854 w 10505529"/>
              <a:gd name="connsiteY3724" fmla="*/ 7014563 h 7458372"/>
              <a:gd name="connsiteX3725" fmla="*/ 1565535 w 10505529"/>
              <a:gd name="connsiteY3725" fmla="*/ 7020819 h 7458372"/>
              <a:gd name="connsiteX3726" fmla="*/ 1553820 w 10505529"/>
              <a:gd name="connsiteY3726" fmla="*/ 7023082 h 7458372"/>
              <a:gd name="connsiteX3727" fmla="*/ 1531992 w 10505529"/>
              <a:gd name="connsiteY3727" fmla="*/ 7014563 h 7458372"/>
              <a:gd name="connsiteX3728" fmla="*/ 1523606 w 10505529"/>
              <a:gd name="connsiteY3728" fmla="*/ 6993396 h 7458372"/>
              <a:gd name="connsiteX3729" fmla="*/ 1531992 w 10505529"/>
              <a:gd name="connsiteY3729" fmla="*/ 6972364 h 7458372"/>
              <a:gd name="connsiteX3730" fmla="*/ 1553820 w 10505529"/>
              <a:gd name="connsiteY3730" fmla="*/ 6963844 h 7458372"/>
              <a:gd name="connsiteX3731" fmla="*/ 1336178 w 10505529"/>
              <a:gd name="connsiteY3731" fmla="*/ 6963844 h 7458372"/>
              <a:gd name="connsiteX3732" fmla="*/ 1347893 w 10505529"/>
              <a:gd name="connsiteY3732" fmla="*/ 6966373 h 7458372"/>
              <a:gd name="connsiteX3733" fmla="*/ 1357211 w 10505529"/>
              <a:gd name="connsiteY3733" fmla="*/ 6972763 h 7458372"/>
              <a:gd name="connsiteX3734" fmla="*/ 1363334 w 10505529"/>
              <a:gd name="connsiteY3734" fmla="*/ 6982082 h 7458372"/>
              <a:gd name="connsiteX3735" fmla="*/ 1365596 w 10505529"/>
              <a:gd name="connsiteY3735" fmla="*/ 6993529 h 7458372"/>
              <a:gd name="connsiteX3736" fmla="*/ 1363334 w 10505529"/>
              <a:gd name="connsiteY3736" fmla="*/ 7005245 h 7458372"/>
              <a:gd name="connsiteX3737" fmla="*/ 1357211 w 10505529"/>
              <a:gd name="connsiteY3737" fmla="*/ 7014563 h 7458372"/>
              <a:gd name="connsiteX3738" fmla="*/ 1347893 w 10505529"/>
              <a:gd name="connsiteY3738" fmla="*/ 7020819 h 7458372"/>
              <a:gd name="connsiteX3739" fmla="*/ 1336178 w 10505529"/>
              <a:gd name="connsiteY3739" fmla="*/ 7023082 h 7458372"/>
              <a:gd name="connsiteX3740" fmla="*/ 1314344 w 10505529"/>
              <a:gd name="connsiteY3740" fmla="*/ 7014563 h 7458372"/>
              <a:gd name="connsiteX3741" fmla="*/ 1305959 w 10505529"/>
              <a:gd name="connsiteY3741" fmla="*/ 6993396 h 7458372"/>
              <a:gd name="connsiteX3742" fmla="*/ 1314344 w 10505529"/>
              <a:gd name="connsiteY3742" fmla="*/ 6972364 h 7458372"/>
              <a:gd name="connsiteX3743" fmla="*/ 1336178 w 10505529"/>
              <a:gd name="connsiteY3743" fmla="*/ 6963844 h 7458372"/>
              <a:gd name="connsiteX3744" fmla="*/ 1118532 w 10505529"/>
              <a:gd name="connsiteY3744" fmla="*/ 6963844 h 7458372"/>
              <a:gd name="connsiteX3745" fmla="*/ 1130251 w 10505529"/>
              <a:gd name="connsiteY3745" fmla="*/ 6966373 h 7458372"/>
              <a:gd name="connsiteX3746" fmla="*/ 1139565 w 10505529"/>
              <a:gd name="connsiteY3746" fmla="*/ 6972763 h 7458372"/>
              <a:gd name="connsiteX3747" fmla="*/ 1145684 w 10505529"/>
              <a:gd name="connsiteY3747" fmla="*/ 6982082 h 7458372"/>
              <a:gd name="connsiteX3748" fmla="*/ 1147947 w 10505529"/>
              <a:gd name="connsiteY3748" fmla="*/ 6993529 h 7458372"/>
              <a:gd name="connsiteX3749" fmla="*/ 1145684 w 10505529"/>
              <a:gd name="connsiteY3749" fmla="*/ 7005245 h 7458372"/>
              <a:gd name="connsiteX3750" fmla="*/ 1139565 w 10505529"/>
              <a:gd name="connsiteY3750" fmla="*/ 7014563 h 7458372"/>
              <a:gd name="connsiteX3751" fmla="*/ 1130251 w 10505529"/>
              <a:gd name="connsiteY3751" fmla="*/ 7020819 h 7458372"/>
              <a:gd name="connsiteX3752" fmla="*/ 1118532 w 10505529"/>
              <a:gd name="connsiteY3752" fmla="*/ 7023082 h 7458372"/>
              <a:gd name="connsiteX3753" fmla="*/ 1096696 w 10505529"/>
              <a:gd name="connsiteY3753" fmla="*/ 7014563 h 7458372"/>
              <a:gd name="connsiteX3754" fmla="*/ 1088312 w 10505529"/>
              <a:gd name="connsiteY3754" fmla="*/ 6993396 h 7458372"/>
              <a:gd name="connsiteX3755" fmla="*/ 1096696 w 10505529"/>
              <a:gd name="connsiteY3755" fmla="*/ 6972364 h 7458372"/>
              <a:gd name="connsiteX3756" fmla="*/ 1118532 w 10505529"/>
              <a:gd name="connsiteY3756" fmla="*/ 6963844 h 7458372"/>
              <a:gd name="connsiteX3757" fmla="*/ 901018 w 10505529"/>
              <a:gd name="connsiteY3757" fmla="*/ 6963844 h 7458372"/>
              <a:gd name="connsiteX3758" fmla="*/ 912734 w 10505529"/>
              <a:gd name="connsiteY3758" fmla="*/ 6966373 h 7458372"/>
              <a:gd name="connsiteX3759" fmla="*/ 922052 w 10505529"/>
              <a:gd name="connsiteY3759" fmla="*/ 6972763 h 7458372"/>
              <a:gd name="connsiteX3760" fmla="*/ 928174 w 10505529"/>
              <a:gd name="connsiteY3760" fmla="*/ 6982082 h 7458372"/>
              <a:gd name="connsiteX3761" fmla="*/ 930437 w 10505529"/>
              <a:gd name="connsiteY3761" fmla="*/ 6993529 h 7458372"/>
              <a:gd name="connsiteX3762" fmla="*/ 928174 w 10505529"/>
              <a:gd name="connsiteY3762" fmla="*/ 7005245 h 7458372"/>
              <a:gd name="connsiteX3763" fmla="*/ 922052 w 10505529"/>
              <a:gd name="connsiteY3763" fmla="*/ 7014563 h 7458372"/>
              <a:gd name="connsiteX3764" fmla="*/ 912734 w 10505529"/>
              <a:gd name="connsiteY3764" fmla="*/ 7020819 h 7458372"/>
              <a:gd name="connsiteX3765" fmla="*/ 901018 w 10505529"/>
              <a:gd name="connsiteY3765" fmla="*/ 7023082 h 7458372"/>
              <a:gd name="connsiteX3766" fmla="*/ 879188 w 10505529"/>
              <a:gd name="connsiteY3766" fmla="*/ 7014563 h 7458372"/>
              <a:gd name="connsiteX3767" fmla="*/ 870803 w 10505529"/>
              <a:gd name="connsiteY3767" fmla="*/ 6993396 h 7458372"/>
              <a:gd name="connsiteX3768" fmla="*/ 879188 w 10505529"/>
              <a:gd name="connsiteY3768" fmla="*/ 6972364 h 7458372"/>
              <a:gd name="connsiteX3769" fmla="*/ 901018 w 10505529"/>
              <a:gd name="connsiteY3769" fmla="*/ 6963844 h 7458372"/>
              <a:gd name="connsiteX3770" fmla="*/ 683380 w 10505529"/>
              <a:gd name="connsiteY3770" fmla="*/ 6963844 h 7458372"/>
              <a:gd name="connsiteX3771" fmla="*/ 695095 w 10505529"/>
              <a:gd name="connsiteY3771" fmla="*/ 6966373 h 7458372"/>
              <a:gd name="connsiteX3772" fmla="*/ 704411 w 10505529"/>
              <a:gd name="connsiteY3772" fmla="*/ 6972763 h 7458372"/>
              <a:gd name="connsiteX3773" fmla="*/ 710535 w 10505529"/>
              <a:gd name="connsiteY3773" fmla="*/ 6982082 h 7458372"/>
              <a:gd name="connsiteX3774" fmla="*/ 712798 w 10505529"/>
              <a:gd name="connsiteY3774" fmla="*/ 6993529 h 7458372"/>
              <a:gd name="connsiteX3775" fmla="*/ 710535 w 10505529"/>
              <a:gd name="connsiteY3775" fmla="*/ 7005245 h 7458372"/>
              <a:gd name="connsiteX3776" fmla="*/ 704411 w 10505529"/>
              <a:gd name="connsiteY3776" fmla="*/ 7014563 h 7458372"/>
              <a:gd name="connsiteX3777" fmla="*/ 695095 w 10505529"/>
              <a:gd name="connsiteY3777" fmla="*/ 7020819 h 7458372"/>
              <a:gd name="connsiteX3778" fmla="*/ 683380 w 10505529"/>
              <a:gd name="connsiteY3778" fmla="*/ 7023082 h 7458372"/>
              <a:gd name="connsiteX3779" fmla="*/ 661548 w 10505529"/>
              <a:gd name="connsiteY3779" fmla="*/ 7014563 h 7458372"/>
              <a:gd name="connsiteX3780" fmla="*/ 653162 w 10505529"/>
              <a:gd name="connsiteY3780" fmla="*/ 6993396 h 7458372"/>
              <a:gd name="connsiteX3781" fmla="*/ 661548 w 10505529"/>
              <a:gd name="connsiteY3781" fmla="*/ 6972364 h 7458372"/>
              <a:gd name="connsiteX3782" fmla="*/ 683380 w 10505529"/>
              <a:gd name="connsiteY3782" fmla="*/ 6963844 h 7458372"/>
              <a:gd name="connsiteX3783" fmla="*/ 465739 w 10505529"/>
              <a:gd name="connsiteY3783" fmla="*/ 6963844 h 7458372"/>
              <a:gd name="connsiteX3784" fmla="*/ 477454 w 10505529"/>
              <a:gd name="connsiteY3784" fmla="*/ 6966373 h 7458372"/>
              <a:gd name="connsiteX3785" fmla="*/ 486772 w 10505529"/>
              <a:gd name="connsiteY3785" fmla="*/ 6972763 h 7458372"/>
              <a:gd name="connsiteX3786" fmla="*/ 492894 w 10505529"/>
              <a:gd name="connsiteY3786" fmla="*/ 6982082 h 7458372"/>
              <a:gd name="connsiteX3787" fmla="*/ 495157 w 10505529"/>
              <a:gd name="connsiteY3787" fmla="*/ 6993529 h 7458372"/>
              <a:gd name="connsiteX3788" fmla="*/ 492894 w 10505529"/>
              <a:gd name="connsiteY3788" fmla="*/ 7005245 h 7458372"/>
              <a:gd name="connsiteX3789" fmla="*/ 486772 w 10505529"/>
              <a:gd name="connsiteY3789" fmla="*/ 7014563 h 7458372"/>
              <a:gd name="connsiteX3790" fmla="*/ 477454 w 10505529"/>
              <a:gd name="connsiteY3790" fmla="*/ 7020819 h 7458372"/>
              <a:gd name="connsiteX3791" fmla="*/ 465739 w 10505529"/>
              <a:gd name="connsiteY3791" fmla="*/ 7023082 h 7458372"/>
              <a:gd name="connsiteX3792" fmla="*/ 443908 w 10505529"/>
              <a:gd name="connsiteY3792" fmla="*/ 7014563 h 7458372"/>
              <a:gd name="connsiteX3793" fmla="*/ 435522 w 10505529"/>
              <a:gd name="connsiteY3793" fmla="*/ 6993396 h 7458372"/>
              <a:gd name="connsiteX3794" fmla="*/ 443908 w 10505529"/>
              <a:gd name="connsiteY3794" fmla="*/ 6972364 h 7458372"/>
              <a:gd name="connsiteX3795" fmla="*/ 465739 w 10505529"/>
              <a:gd name="connsiteY3795" fmla="*/ 6963844 h 7458372"/>
              <a:gd name="connsiteX3796" fmla="*/ 248098 w 10505529"/>
              <a:gd name="connsiteY3796" fmla="*/ 6963844 h 7458372"/>
              <a:gd name="connsiteX3797" fmla="*/ 259813 w 10505529"/>
              <a:gd name="connsiteY3797" fmla="*/ 6966373 h 7458372"/>
              <a:gd name="connsiteX3798" fmla="*/ 269131 w 10505529"/>
              <a:gd name="connsiteY3798" fmla="*/ 6972763 h 7458372"/>
              <a:gd name="connsiteX3799" fmla="*/ 275254 w 10505529"/>
              <a:gd name="connsiteY3799" fmla="*/ 6982082 h 7458372"/>
              <a:gd name="connsiteX3800" fmla="*/ 277517 w 10505529"/>
              <a:gd name="connsiteY3800" fmla="*/ 6993529 h 7458372"/>
              <a:gd name="connsiteX3801" fmla="*/ 275254 w 10505529"/>
              <a:gd name="connsiteY3801" fmla="*/ 7005245 h 7458372"/>
              <a:gd name="connsiteX3802" fmla="*/ 269131 w 10505529"/>
              <a:gd name="connsiteY3802" fmla="*/ 7014563 h 7458372"/>
              <a:gd name="connsiteX3803" fmla="*/ 259813 w 10505529"/>
              <a:gd name="connsiteY3803" fmla="*/ 7020819 h 7458372"/>
              <a:gd name="connsiteX3804" fmla="*/ 248098 w 10505529"/>
              <a:gd name="connsiteY3804" fmla="*/ 7023082 h 7458372"/>
              <a:gd name="connsiteX3805" fmla="*/ 226269 w 10505529"/>
              <a:gd name="connsiteY3805" fmla="*/ 7014563 h 7458372"/>
              <a:gd name="connsiteX3806" fmla="*/ 217884 w 10505529"/>
              <a:gd name="connsiteY3806" fmla="*/ 6993396 h 7458372"/>
              <a:gd name="connsiteX3807" fmla="*/ 226269 w 10505529"/>
              <a:gd name="connsiteY3807" fmla="*/ 6972364 h 7458372"/>
              <a:gd name="connsiteX3808" fmla="*/ 248098 w 10505529"/>
              <a:gd name="connsiteY3808" fmla="*/ 6963844 h 7458372"/>
              <a:gd name="connsiteX3809" fmla="*/ 30458 w 10505529"/>
              <a:gd name="connsiteY3809" fmla="*/ 6963844 h 7458372"/>
              <a:gd name="connsiteX3810" fmla="*/ 42173 w 10505529"/>
              <a:gd name="connsiteY3810" fmla="*/ 6966373 h 7458372"/>
              <a:gd name="connsiteX3811" fmla="*/ 51491 w 10505529"/>
              <a:gd name="connsiteY3811" fmla="*/ 6972763 h 7458372"/>
              <a:gd name="connsiteX3812" fmla="*/ 57614 w 10505529"/>
              <a:gd name="connsiteY3812" fmla="*/ 6982082 h 7458372"/>
              <a:gd name="connsiteX3813" fmla="*/ 59877 w 10505529"/>
              <a:gd name="connsiteY3813" fmla="*/ 6993529 h 7458372"/>
              <a:gd name="connsiteX3814" fmla="*/ 57614 w 10505529"/>
              <a:gd name="connsiteY3814" fmla="*/ 7005245 h 7458372"/>
              <a:gd name="connsiteX3815" fmla="*/ 51491 w 10505529"/>
              <a:gd name="connsiteY3815" fmla="*/ 7014563 h 7458372"/>
              <a:gd name="connsiteX3816" fmla="*/ 42173 w 10505529"/>
              <a:gd name="connsiteY3816" fmla="*/ 7020819 h 7458372"/>
              <a:gd name="connsiteX3817" fmla="*/ 30458 w 10505529"/>
              <a:gd name="connsiteY3817" fmla="*/ 7023082 h 7458372"/>
              <a:gd name="connsiteX3818" fmla="*/ 8631 w 10505529"/>
              <a:gd name="connsiteY3818" fmla="*/ 7014563 h 7458372"/>
              <a:gd name="connsiteX3819" fmla="*/ 245 w 10505529"/>
              <a:gd name="connsiteY3819" fmla="*/ 6993396 h 7458372"/>
              <a:gd name="connsiteX3820" fmla="*/ 8631 w 10505529"/>
              <a:gd name="connsiteY3820" fmla="*/ 6972364 h 7458372"/>
              <a:gd name="connsiteX3821" fmla="*/ 30458 w 10505529"/>
              <a:gd name="connsiteY3821" fmla="*/ 6963844 h 7458372"/>
              <a:gd name="connsiteX3822" fmla="*/ 10475977 w 10505529"/>
              <a:gd name="connsiteY3822" fmla="*/ 6762839 h 7458372"/>
              <a:gd name="connsiteX3823" fmla="*/ 10465992 w 10505529"/>
              <a:gd name="connsiteY3823" fmla="*/ 6766433 h 7458372"/>
              <a:gd name="connsiteX3824" fmla="*/ 10462399 w 10505529"/>
              <a:gd name="connsiteY3824" fmla="*/ 6775884 h 7458372"/>
              <a:gd name="connsiteX3825" fmla="*/ 10465992 w 10505529"/>
              <a:gd name="connsiteY3825" fmla="*/ 6785335 h 7458372"/>
              <a:gd name="connsiteX3826" fmla="*/ 10475977 w 10505529"/>
              <a:gd name="connsiteY3826" fmla="*/ 6788797 h 7458372"/>
              <a:gd name="connsiteX3827" fmla="*/ 10481302 w 10505529"/>
              <a:gd name="connsiteY3827" fmla="*/ 6787865 h 7458372"/>
              <a:gd name="connsiteX3828" fmla="*/ 10485029 w 10505529"/>
              <a:gd name="connsiteY3828" fmla="*/ 6785468 h 7458372"/>
              <a:gd name="connsiteX3829" fmla="*/ 10487691 w 10505529"/>
              <a:gd name="connsiteY3829" fmla="*/ 6781209 h 7458372"/>
              <a:gd name="connsiteX3830" fmla="*/ 10488623 w 10505529"/>
              <a:gd name="connsiteY3830" fmla="*/ 6775751 h 7458372"/>
              <a:gd name="connsiteX3831" fmla="*/ 10487691 w 10505529"/>
              <a:gd name="connsiteY3831" fmla="*/ 6770560 h 7458372"/>
              <a:gd name="connsiteX3832" fmla="*/ 10485029 w 10505529"/>
              <a:gd name="connsiteY3832" fmla="*/ 6766433 h 7458372"/>
              <a:gd name="connsiteX3833" fmla="*/ 10481035 w 10505529"/>
              <a:gd name="connsiteY3833" fmla="*/ 6763770 h 7458372"/>
              <a:gd name="connsiteX3834" fmla="*/ 10475977 w 10505529"/>
              <a:gd name="connsiteY3834" fmla="*/ 6762839 h 7458372"/>
              <a:gd name="connsiteX3835" fmla="*/ 10258466 w 10505529"/>
              <a:gd name="connsiteY3835" fmla="*/ 6762839 h 7458372"/>
              <a:gd name="connsiteX3836" fmla="*/ 10248481 w 10505529"/>
              <a:gd name="connsiteY3836" fmla="*/ 6766433 h 7458372"/>
              <a:gd name="connsiteX3837" fmla="*/ 10244887 w 10505529"/>
              <a:gd name="connsiteY3837" fmla="*/ 6775884 h 7458372"/>
              <a:gd name="connsiteX3838" fmla="*/ 10248481 w 10505529"/>
              <a:gd name="connsiteY3838" fmla="*/ 6785335 h 7458372"/>
              <a:gd name="connsiteX3839" fmla="*/ 10258466 w 10505529"/>
              <a:gd name="connsiteY3839" fmla="*/ 6788797 h 7458372"/>
              <a:gd name="connsiteX3840" fmla="*/ 10263790 w 10505529"/>
              <a:gd name="connsiteY3840" fmla="*/ 6787865 h 7458372"/>
              <a:gd name="connsiteX3841" fmla="*/ 10267517 w 10505529"/>
              <a:gd name="connsiteY3841" fmla="*/ 6785468 h 7458372"/>
              <a:gd name="connsiteX3842" fmla="*/ 10270180 w 10505529"/>
              <a:gd name="connsiteY3842" fmla="*/ 6781209 h 7458372"/>
              <a:gd name="connsiteX3843" fmla="*/ 10271112 w 10505529"/>
              <a:gd name="connsiteY3843" fmla="*/ 6775751 h 7458372"/>
              <a:gd name="connsiteX3844" fmla="*/ 10270180 w 10505529"/>
              <a:gd name="connsiteY3844" fmla="*/ 6770560 h 7458372"/>
              <a:gd name="connsiteX3845" fmla="*/ 10267517 w 10505529"/>
              <a:gd name="connsiteY3845" fmla="*/ 6766433 h 7458372"/>
              <a:gd name="connsiteX3846" fmla="*/ 10263524 w 10505529"/>
              <a:gd name="connsiteY3846" fmla="*/ 6763770 h 7458372"/>
              <a:gd name="connsiteX3847" fmla="*/ 10258466 w 10505529"/>
              <a:gd name="connsiteY3847" fmla="*/ 6762839 h 7458372"/>
              <a:gd name="connsiteX3848" fmla="*/ 10040820 w 10505529"/>
              <a:gd name="connsiteY3848" fmla="*/ 6762839 h 7458372"/>
              <a:gd name="connsiteX3849" fmla="*/ 10030835 w 10505529"/>
              <a:gd name="connsiteY3849" fmla="*/ 6766433 h 7458372"/>
              <a:gd name="connsiteX3850" fmla="*/ 10027242 w 10505529"/>
              <a:gd name="connsiteY3850" fmla="*/ 6775884 h 7458372"/>
              <a:gd name="connsiteX3851" fmla="*/ 10030835 w 10505529"/>
              <a:gd name="connsiteY3851" fmla="*/ 6785335 h 7458372"/>
              <a:gd name="connsiteX3852" fmla="*/ 10040820 w 10505529"/>
              <a:gd name="connsiteY3852" fmla="*/ 6788797 h 7458372"/>
              <a:gd name="connsiteX3853" fmla="*/ 10046145 w 10505529"/>
              <a:gd name="connsiteY3853" fmla="*/ 6787865 h 7458372"/>
              <a:gd name="connsiteX3854" fmla="*/ 10049872 w 10505529"/>
              <a:gd name="connsiteY3854" fmla="*/ 6785468 h 7458372"/>
              <a:gd name="connsiteX3855" fmla="*/ 10052534 w 10505529"/>
              <a:gd name="connsiteY3855" fmla="*/ 6781209 h 7458372"/>
              <a:gd name="connsiteX3856" fmla="*/ 10053599 w 10505529"/>
              <a:gd name="connsiteY3856" fmla="*/ 6775751 h 7458372"/>
              <a:gd name="connsiteX3857" fmla="*/ 10052534 w 10505529"/>
              <a:gd name="connsiteY3857" fmla="*/ 6770560 h 7458372"/>
              <a:gd name="connsiteX3858" fmla="*/ 10049872 w 10505529"/>
              <a:gd name="connsiteY3858" fmla="*/ 6766433 h 7458372"/>
              <a:gd name="connsiteX3859" fmla="*/ 10045878 w 10505529"/>
              <a:gd name="connsiteY3859" fmla="*/ 6763770 h 7458372"/>
              <a:gd name="connsiteX3860" fmla="*/ 10040820 w 10505529"/>
              <a:gd name="connsiteY3860" fmla="*/ 6762839 h 7458372"/>
              <a:gd name="connsiteX3861" fmla="*/ 9823176 w 10505529"/>
              <a:gd name="connsiteY3861" fmla="*/ 6762839 h 7458372"/>
              <a:gd name="connsiteX3862" fmla="*/ 9813191 w 10505529"/>
              <a:gd name="connsiteY3862" fmla="*/ 6766433 h 7458372"/>
              <a:gd name="connsiteX3863" fmla="*/ 9809597 w 10505529"/>
              <a:gd name="connsiteY3863" fmla="*/ 6775884 h 7458372"/>
              <a:gd name="connsiteX3864" fmla="*/ 9813191 w 10505529"/>
              <a:gd name="connsiteY3864" fmla="*/ 6785335 h 7458372"/>
              <a:gd name="connsiteX3865" fmla="*/ 9823176 w 10505529"/>
              <a:gd name="connsiteY3865" fmla="*/ 6788797 h 7458372"/>
              <a:gd name="connsiteX3866" fmla="*/ 9828501 w 10505529"/>
              <a:gd name="connsiteY3866" fmla="*/ 6787865 h 7458372"/>
              <a:gd name="connsiteX3867" fmla="*/ 9832227 w 10505529"/>
              <a:gd name="connsiteY3867" fmla="*/ 6785468 h 7458372"/>
              <a:gd name="connsiteX3868" fmla="*/ 9834890 w 10505529"/>
              <a:gd name="connsiteY3868" fmla="*/ 6781209 h 7458372"/>
              <a:gd name="connsiteX3869" fmla="*/ 9835955 w 10505529"/>
              <a:gd name="connsiteY3869" fmla="*/ 6775751 h 7458372"/>
              <a:gd name="connsiteX3870" fmla="*/ 9834890 w 10505529"/>
              <a:gd name="connsiteY3870" fmla="*/ 6770560 h 7458372"/>
              <a:gd name="connsiteX3871" fmla="*/ 9832227 w 10505529"/>
              <a:gd name="connsiteY3871" fmla="*/ 6766433 h 7458372"/>
              <a:gd name="connsiteX3872" fmla="*/ 9828234 w 10505529"/>
              <a:gd name="connsiteY3872" fmla="*/ 6763770 h 7458372"/>
              <a:gd name="connsiteX3873" fmla="*/ 9823176 w 10505529"/>
              <a:gd name="connsiteY3873" fmla="*/ 6762839 h 7458372"/>
              <a:gd name="connsiteX3874" fmla="*/ 9605531 w 10505529"/>
              <a:gd name="connsiteY3874" fmla="*/ 6762839 h 7458372"/>
              <a:gd name="connsiteX3875" fmla="*/ 9595546 w 10505529"/>
              <a:gd name="connsiteY3875" fmla="*/ 6766433 h 7458372"/>
              <a:gd name="connsiteX3876" fmla="*/ 9591952 w 10505529"/>
              <a:gd name="connsiteY3876" fmla="*/ 6775884 h 7458372"/>
              <a:gd name="connsiteX3877" fmla="*/ 9595546 w 10505529"/>
              <a:gd name="connsiteY3877" fmla="*/ 6785335 h 7458372"/>
              <a:gd name="connsiteX3878" fmla="*/ 9605531 w 10505529"/>
              <a:gd name="connsiteY3878" fmla="*/ 6788797 h 7458372"/>
              <a:gd name="connsiteX3879" fmla="*/ 9610855 w 10505529"/>
              <a:gd name="connsiteY3879" fmla="*/ 6787865 h 7458372"/>
              <a:gd name="connsiteX3880" fmla="*/ 9614582 w 10505529"/>
              <a:gd name="connsiteY3880" fmla="*/ 6785468 h 7458372"/>
              <a:gd name="connsiteX3881" fmla="*/ 9617245 w 10505529"/>
              <a:gd name="connsiteY3881" fmla="*/ 6781209 h 7458372"/>
              <a:gd name="connsiteX3882" fmla="*/ 9618309 w 10505529"/>
              <a:gd name="connsiteY3882" fmla="*/ 6775751 h 7458372"/>
              <a:gd name="connsiteX3883" fmla="*/ 9617245 w 10505529"/>
              <a:gd name="connsiteY3883" fmla="*/ 6770560 h 7458372"/>
              <a:gd name="connsiteX3884" fmla="*/ 9614582 w 10505529"/>
              <a:gd name="connsiteY3884" fmla="*/ 6766433 h 7458372"/>
              <a:gd name="connsiteX3885" fmla="*/ 9610589 w 10505529"/>
              <a:gd name="connsiteY3885" fmla="*/ 6763770 h 7458372"/>
              <a:gd name="connsiteX3886" fmla="*/ 9605531 w 10505529"/>
              <a:gd name="connsiteY3886" fmla="*/ 6762839 h 7458372"/>
              <a:gd name="connsiteX3887" fmla="*/ 9387885 w 10505529"/>
              <a:gd name="connsiteY3887" fmla="*/ 6762839 h 7458372"/>
              <a:gd name="connsiteX3888" fmla="*/ 9377900 w 10505529"/>
              <a:gd name="connsiteY3888" fmla="*/ 6766433 h 7458372"/>
              <a:gd name="connsiteX3889" fmla="*/ 9374307 w 10505529"/>
              <a:gd name="connsiteY3889" fmla="*/ 6775884 h 7458372"/>
              <a:gd name="connsiteX3890" fmla="*/ 9377900 w 10505529"/>
              <a:gd name="connsiteY3890" fmla="*/ 6785335 h 7458372"/>
              <a:gd name="connsiteX3891" fmla="*/ 9387885 w 10505529"/>
              <a:gd name="connsiteY3891" fmla="*/ 6788797 h 7458372"/>
              <a:gd name="connsiteX3892" fmla="*/ 9393210 w 10505529"/>
              <a:gd name="connsiteY3892" fmla="*/ 6787865 h 7458372"/>
              <a:gd name="connsiteX3893" fmla="*/ 9396937 w 10505529"/>
              <a:gd name="connsiteY3893" fmla="*/ 6785468 h 7458372"/>
              <a:gd name="connsiteX3894" fmla="*/ 9399599 w 10505529"/>
              <a:gd name="connsiteY3894" fmla="*/ 6781209 h 7458372"/>
              <a:gd name="connsiteX3895" fmla="*/ 9400664 w 10505529"/>
              <a:gd name="connsiteY3895" fmla="*/ 6775751 h 7458372"/>
              <a:gd name="connsiteX3896" fmla="*/ 9399599 w 10505529"/>
              <a:gd name="connsiteY3896" fmla="*/ 6770560 h 7458372"/>
              <a:gd name="connsiteX3897" fmla="*/ 9396937 w 10505529"/>
              <a:gd name="connsiteY3897" fmla="*/ 6766433 h 7458372"/>
              <a:gd name="connsiteX3898" fmla="*/ 9392943 w 10505529"/>
              <a:gd name="connsiteY3898" fmla="*/ 6763770 h 7458372"/>
              <a:gd name="connsiteX3899" fmla="*/ 9387885 w 10505529"/>
              <a:gd name="connsiteY3899" fmla="*/ 6762839 h 7458372"/>
              <a:gd name="connsiteX3900" fmla="*/ 9170374 w 10505529"/>
              <a:gd name="connsiteY3900" fmla="*/ 6762839 h 7458372"/>
              <a:gd name="connsiteX3901" fmla="*/ 9160389 w 10505529"/>
              <a:gd name="connsiteY3901" fmla="*/ 6766433 h 7458372"/>
              <a:gd name="connsiteX3902" fmla="*/ 9156795 w 10505529"/>
              <a:gd name="connsiteY3902" fmla="*/ 6775884 h 7458372"/>
              <a:gd name="connsiteX3903" fmla="*/ 9160389 w 10505529"/>
              <a:gd name="connsiteY3903" fmla="*/ 6785335 h 7458372"/>
              <a:gd name="connsiteX3904" fmla="*/ 9170374 w 10505529"/>
              <a:gd name="connsiteY3904" fmla="*/ 6788797 h 7458372"/>
              <a:gd name="connsiteX3905" fmla="*/ 9175698 w 10505529"/>
              <a:gd name="connsiteY3905" fmla="*/ 6787865 h 7458372"/>
              <a:gd name="connsiteX3906" fmla="*/ 9179425 w 10505529"/>
              <a:gd name="connsiteY3906" fmla="*/ 6785468 h 7458372"/>
              <a:gd name="connsiteX3907" fmla="*/ 9182088 w 10505529"/>
              <a:gd name="connsiteY3907" fmla="*/ 6781209 h 7458372"/>
              <a:gd name="connsiteX3908" fmla="*/ 9183152 w 10505529"/>
              <a:gd name="connsiteY3908" fmla="*/ 6775751 h 7458372"/>
              <a:gd name="connsiteX3909" fmla="*/ 9182088 w 10505529"/>
              <a:gd name="connsiteY3909" fmla="*/ 6770560 h 7458372"/>
              <a:gd name="connsiteX3910" fmla="*/ 9179425 w 10505529"/>
              <a:gd name="connsiteY3910" fmla="*/ 6766433 h 7458372"/>
              <a:gd name="connsiteX3911" fmla="*/ 9175432 w 10505529"/>
              <a:gd name="connsiteY3911" fmla="*/ 6763770 h 7458372"/>
              <a:gd name="connsiteX3912" fmla="*/ 9170374 w 10505529"/>
              <a:gd name="connsiteY3912" fmla="*/ 6762839 h 7458372"/>
              <a:gd name="connsiteX3913" fmla="*/ 8952728 w 10505529"/>
              <a:gd name="connsiteY3913" fmla="*/ 6762839 h 7458372"/>
              <a:gd name="connsiteX3914" fmla="*/ 8942743 w 10505529"/>
              <a:gd name="connsiteY3914" fmla="*/ 6766433 h 7458372"/>
              <a:gd name="connsiteX3915" fmla="*/ 8939150 w 10505529"/>
              <a:gd name="connsiteY3915" fmla="*/ 6775884 h 7458372"/>
              <a:gd name="connsiteX3916" fmla="*/ 8942743 w 10505529"/>
              <a:gd name="connsiteY3916" fmla="*/ 6785335 h 7458372"/>
              <a:gd name="connsiteX3917" fmla="*/ 8952728 w 10505529"/>
              <a:gd name="connsiteY3917" fmla="*/ 6788797 h 7458372"/>
              <a:gd name="connsiteX3918" fmla="*/ 8958053 w 10505529"/>
              <a:gd name="connsiteY3918" fmla="*/ 6787865 h 7458372"/>
              <a:gd name="connsiteX3919" fmla="*/ 8961780 w 10505529"/>
              <a:gd name="connsiteY3919" fmla="*/ 6785468 h 7458372"/>
              <a:gd name="connsiteX3920" fmla="*/ 8964442 w 10505529"/>
              <a:gd name="connsiteY3920" fmla="*/ 6781209 h 7458372"/>
              <a:gd name="connsiteX3921" fmla="*/ 8965507 w 10505529"/>
              <a:gd name="connsiteY3921" fmla="*/ 6775751 h 7458372"/>
              <a:gd name="connsiteX3922" fmla="*/ 8964442 w 10505529"/>
              <a:gd name="connsiteY3922" fmla="*/ 6770560 h 7458372"/>
              <a:gd name="connsiteX3923" fmla="*/ 8961780 w 10505529"/>
              <a:gd name="connsiteY3923" fmla="*/ 6766433 h 7458372"/>
              <a:gd name="connsiteX3924" fmla="*/ 8957786 w 10505529"/>
              <a:gd name="connsiteY3924" fmla="*/ 6763770 h 7458372"/>
              <a:gd name="connsiteX3925" fmla="*/ 8952728 w 10505529"/>
              <a:gd name="connsiteY3925" fmla="*/ 6762839 h 7458372"/>
              <a:gd name="connsiteX3926" fmla="*/ 8735083 w 10505529"/>
              <a:gd name="connsiteY3926" fmla="*/ 6762839 h 7458372"/>
              <a:gd name="connsiteX3927" fmla="*/ 8725098 w 10505529"/>
              <a:gd name="connsiteY3927" fmla="*/ 6766433 h 7458372"/>
              <a:gd name="connsiteX3928" fmla="*/ 8721504 w 10505529"/>
              <a:gd name="connsiteY3928" fmla="*/ 6775884 h 7458372"/>
              <a:gd name="connsiteX3929" fmla="*/ 8725098 w 10505529"/>
              <a:gd name="connsiteY3929" fmla="*/ 6785335 h 7458372"/>
              <a:gd name="connsiteX3930" fmla="*/ 8735083 w 10505529"/>
              <a:gd name="connsiteY3930" fmla="*/ 6788797 h 7458372"/>
              <a:gd name="connsiteX3931" fmla="*/ 8740407 w 10505529"/>
              <a:gd name="connsiteY3931" fmla="*/ 6787865 h 7458372"/>
              <a:gd name="connsiteX3932" fmla="*/ 8744134 w 10505529"/>
              <a:gd name="connsiteY3932" fmla="*/ 6785468 h 7458372"/>
              <a:gd name="connsiteX3933" fmla="*/ 8746797 w 10505529"/>
              <a:gd name="connsiteY3933" fmla="*/ 6781209 h 7458372"/>
              <a:gd name="connsiteX3934" fmla="*/ 8747862 w 10505529"/>
              <a:gd name="connsiteY3934" fmla="*/ 6775751 h 7458372"/>
              <a:gd name="connsiteX3935" fmla="*/ 8746797 w 10505529"/>
              <a:gd name="connsiteY3935" fmla="*/ 6770560 h 7458372"/>
              <a:gd name="connsiteX3936" fmla="*/ 8744134 w 10505529"/>
              <a:gd name="connsiteY3936" fmla="*/ 6766433 h 7458372"/>
              <a:gd name="connsiteX3937" fmla="*/ 8740141 w 10505529"/>
              <a:gd name="connsiteY3937" fmla="*/ 6763770 h 7458372"/>
              <a:gd name="connsiteX3938" fmla="*/ 8735083 w 10505529"/>
              <a:gd name="connsiteY3938" fmla="*/ 6762839 h 7458372"/>
              <a:gd name="connsiteX3939" fmla="*/ 8517438 w 10505529"/>
              <a:gd name="connsiteY3939" fmla="*/ 6762839 h 7458372"/>
              <a:gd name="connsiteX3940" fmla="*/ 8507453 w 10505529"/>
              <a:gd name="connsiteY3940" fmla="*/ 6766433 h 7458372"/>
              <a:gd name="connsiteX3941" fmla="*/ 8503860 w 10505529"/>
              <a:gd name="connsiteY3941" fmla="*/ 6775884 h 7458372"/>
              <a:gd name="connsiteX3942" fmla="*/ 8507453 w 10505529"/>
              <a:gd name="connsiteY3942" fmla="*/ 6785335 h 7458372"/>
              <a:gd name="connsiteX3943" fmla="*/ 8517438 w 10505529"/>
              <a:gd name="connsiteY3943" fmla="*/ 6788797 h 7458372"/>
              <a:gd name="connsiteX3944" fmla="*/ 8522763 w 10505529"/>
              <a:gd name="connsiteY3944" fmla="*/ 6787865 h 7458372"/>
              <a:gd name="connsiteX3945" fmla="*/ 8526490 w 10505529"/>
              <a:gd name="connsiteY3945" fmla="*/ 6785468 h 7458372"/>
              <a:gd name="connsiteX3946" fmla="*/ 8529152 w 10505529"/>
              <a:gd name="connsiteY3946" fmla="*/ 6781209 h 7458372"/>
              <a:gd name="connsiteX3947" fmla="*/ 8530084 w 10505529"/>
              <a:gd name="connsiteY3947" fmla="*/ 6775751 h 7458372"/>
              <a:gd name="connsiteX3948" fmla="*/ 8529152 w 10505529"/>
              <a:gd name="connsiteY3948" fmla="*/ 6770560 h 7458372"/>
              <a:gd name="connsiteX3949" fmla="*/ 8526490 w 10505529"/>
              <a:gd name="connsiteY3949" fmla="*/ 6766433 h 7458372"/>
              <a:gd name="connsiteX3950" fmla="*/ 8522496 w 10505529"/>
              <a:gd name="connsiteY3950" fmla="*/ 6763770 h 7458372"/>
              <a:gd name="connsiteX3951" fmla="*/ 8517438 w 10505529"/>
              <a:gd name="connsiteY3951" fmla="*/ 6762839 h 7458372"/>
              <a:gd name="connsiteX3952" fmla="*/ 8299793 w 10505529"/>
              <a:gd name="connsiteY3952" fmla="*/ 6762839 h 7458372"/>
              <a:gd name="connsiteX3953" fmla="*/ 8289809 w 10505529"/>
              <a:gd name="connsiteY3953" fmla="*/ 6766433 h 7458372"/>
              <a:gd name="connsiteX3954" fmla="*/ 8286215 w 10505529"/>
              <a:gd name="connsiteY3954" fmla="*/ 6775884 h 7458372"/>
              <a:gd name="connsiteX3955" fmla="*/ 8289809 w 10505529"/>
              <a:gd name="connsiteY3955" fmla="*/ 6785335 h 7458372"/>
              <a:gd name="connsiteX3956" fmla="*/ 8299793 w 10505529"/>
              <a:gd name="connsiteY3956" fmla="*/ 6788797 h 7458372"/>
              <a:gd name="connsiteX3957" fmla="*/ 8305118 w 10505529"/>
              <a:gd name="connsiteY3957" fmla="*/ 6787865 h 7458372"/>
              <a:gd name="connsiteX3958" fmla="*/ 8308844 w 10505529"/>
              <a:gd name="connsiteY3958" fmla="*/ 6785468 h 7458372"/>
              <a:gd name="connsiteX3959" fmla="*/ 8311507 w 10505529"/>
              <a:gd name="connsiteY3959" fmla="*/ 6781209 h 7458372"/>
              <a:gd name="connsiteX3960" fmla="*/ 8312439 w 10505529"/>
              <a:gd name="connsiteY3960" fmla="*/ 6775751 h 7458372"/>
              <a:gd name="connsiteX3961" fmla="*/ 8311507 w 10505529"/>
              <a:gd name="connsiteY3961" fmla="*/ 6770560 h 7458372"/>
              <a:gd name="connsiteX3962" fmla="*/ 8308844 w 10505529"/>
              <a:gd name="connsiteY3962" fmla="*/ 6766433 h 7458372"/>
              <a:gd name="connsiteX3963" fmla="*/ 8304851 w 10505529"/>
              <a:gd name="connsiteY3963" fmla="*/ 6763770 h 7458372"/>
              <a:gd name="connsiteX3964" fmla="*/ 8299793 w 10505529"/>
              <a:gd name="connsiteY3964" fmla="*/ 6762839 h 7458372"/>
              <a:gd name="connsiteX3965" fmla="*/ 8082281 w 10505529"/>
              <a:gd name="connsiteY3965" fmla="*/ 6762839 h 7458372"/>
              <a:gd name="connsiteX3966" fmla="*/ 8072297 w 10505529"/>
              <a:gd name="connsiteY3966" fmla="*/ 6766433 h 7458372"/>
              <a:gd name="connsiteX3967" fmla="*/ 8068703 w 10505529"/>
              <a:gd name="connsiteY3967" fmla="*/ 6775884 h 7458372"/>
              <a:gd name="connsiteX3968" fmla="*/ 8072297 w 10505529"/>
              <a:gd name="connsiteY3968" fmla="*/ 6785335 h 7458372"/>
              <a:gd name="connsiteX3969" fmla="*/ 8082281 w 10505529"/>
              <a:gd name="connsiteY3969" fmla="*/ 6788797 h 7458372"/>
              <a:gd name="connsiteX3970" fmla="*/ 8087605 w 10505529"/>
              <a:gd name="connsiteY3970" fmla="*/ 6787865 h 7458372"/>
              <a:gd name="connsiteX3971" fmla="*/ 8091332 w 10505529"/>
              <a:gd name="connsiteY3971" fmla="*/ 6785468 h 7458372"/>
              <a:gd name="connsiteX3972" fmla="*/ 8093994 w 10505529"/>
              <a:gd name="connsiteY3972" fmla="*/ 6781209 h 7458372"/>
              <a:gd name="connsiteX3973" fmla="*/ 8094926 w 10505529"/>
              <a:gd name="connsiteY3973" fmla="*/ 6775751 h 7458372"/>
              <a:gd name="connsiteX3974" fmla="*/ 8093994 w 10505529"/>
              <a:gd name="connsiteY3974" fmla="*/ 6770560 h 7458372"/>
              <a:gd name="connsiteX3975" fmla="*/ 8091332 w 10505529"/>
              <a:gd name="connsiteY3975" fmla="*/ 6766433 h 7458372"/>
              <a:gd name="connsiteX3976" fmla="*/ 8087338 w 10505529"/>
              <a:gd name="connsiteY3976" fmla="*/ 6763770 h 7458372"/>
              <a:gd name="connsiteX3977" fmla="*/ 8082281 w 10505529"/>
              <a:gd name="connsiteY3977" fmla="*/ 6762839 h 7458372"/>
              <a:gd name="connsiteX3978" fmla="*/ 7864636 w 10505529"/>
              <a:gd name="connsiteY3978" fmla="*/ 6762839 h 7458372"/>
              <a:gd name="connsiteX3979" fmla="*/ 7854652 w 10505529"/>
              <a:gd name="connsiteY3979" fmla="*/ 6766433 h 7458372"/>
              <a:gd name="connsiteX3980" fmla="*/ 7851058 w 10505529"/>
              <a:gd name="connsiteY3980" fmla="*/ 6775884 h 7458372"/>
              <a:gd name="connsiteX3981" fmla="*/ 7854652 w 10505529"/>
              <a:gd name="connsiteY3981" fmla="*/ 6785335 h 7458372"/>
              <a:gd name="connsiteX3982" fmla="*/ 7864636 w 10505529"/>
              <a:gd name="connsiteY3982" fmla="*/ 6788797 h 7458372"/>
              <a:gd name="connsiteX3983" fmla="*/ 7869961 w 10505529"/>
              <a:gd name="connsiteY3983" fmla="*/ 6787865 h 7458372"/>
              <a:gd name="connsiteX3984" fmla="*/ 7873687 w 10505529"/>
              <a:gd name="connsiteY3984" fmla="*/ 6785468 h 7458372"/>
              <a:gd name="connsiteX3985" fmla="*/ 7876350 w 10505529"/>
              <a:gd name="connsiteY3985" fmla="*/ 6781209 h 7458372"/>
              <a:gd name="connsiteX3986" fmla="*/ 7877282 w 10505529"/>
              <a:gd name="connsiteY3986" fmla="*/ 6775751 h 7458372"/>
              <a:gd name="connsiteX3987" fmla="*/ 7876350 w 10505529"/>
              <a:gd name="connsiteY3987" fmla="*/ 6770560 h 7458372"/>
              <a:gd name="connsiteX3988" fmla="*/ 7873687 w 10505529"/>
              <a:gd name="connsiteY3988" fmla="*/ 6766433 h 7458372"/>
              <a:gd name="connsiteX3989" fmla="*/ 7869694 w 10505529"/>
              <a:gd name="connsiteY3989" fmla="*/ 6763770 h 7458372"/>
              <a:gd name="connsiteX3990" fmla="*/ 7864636 w 10505529"/>
              <a:gd name="connsiteY3990" fmla="*/ 6762839 h 7458372"/>
              <a:gd name="connsiteX3991" fmla="*/ 7646991 w 10505529"/>
              <a:gd name="connsiteY3991" fmla="*/ 6762839 h 7458372"/>
              <a:gd name="connsiteX3992" fmla="*/ 7637007 w 10505529"/>
              <a:gd name="connsiteY3992" fmla="*/ 6766433 h 7458372"/>
              <a:gd name="connsiteX3993" fmla="*/ 7633413 w 10505529"/>
              <a:gd name="connsiteY3993" fmla="*/ 6775884 h 7458372"/>
              <a:gd name="connsiteX3994" fmla="*/ 7637007 w 10505529"/>
              <a:gd name="connsiteY3994" fmla="*/ 6785335 h 7458372"/>
              <a:gd name="connsiteX3995" fmla="*/ 7646991 w 10505529"/>
              <a:gd name="connsiteY3995" fmla="*/ 6788797 h 7458372"/>
              <a:gd name="connsiteX3996" fmla="*/ 7652315 w 10505529"/>
              <a:gd name="connsiteY3996" fmla="*/ 6787865 h 7458372"/>
              <a:gd name="connsiteX3997" fmla="*/ 7656042 w 10505529"/>
              <a:gd name="connsiteY3997" fmla="*/ 6785468 h 7458372"/>
              <a:gd name="connsiteX3998" fmla="*/ 7658705 w 10505529"/>
              <a:gd name="connsiteY3998" fmla="*/ 6781209 h 7458372"/>
              <a:gd name="connsiteX3999" fmla="*/ 7659769 w 10505529"/>
              <a:gd name="connsiteY3999" fmla="*/ 6775751 h 7458372"/>
              <a:gd name="connsiteX4000" fmla="*/ 7658705 w 10505529"/>
              <a:gd name="connsiteY4000" fmla="*/ 6770560 h 7458372"/>
              <a:gd name="connsiteX4001" fmla="*/ 7656042 w 10505529"/>
              <a:gd name="connsiteY4001" fmla="*/ 6766433 h 7458372"/>
              <a:gd name="connsiteX4002" fmla="*/ 7652049 w 10505529"/>
              <a:gd name="connsiteY4002" fmla="*/ 6763770 h 7458372"/>
              <a:gd name="connsiteX4003" fmla="*/ 7646991 w 10505529"/>
              <a:gd name="connsiteY4003" fmla="*/ 6762839 h 7458372"/>
              <a:gd name="connsiteX4004" fmla="*/ 7429345 w 10505529"/>
              <a:gd name="connsiteY4004" fmla="*/ 6762839 h 7458372"/>
              <a:gd name="connsiteX4005" fmla="*/ 7419361 w 10505529"/>
              <a:gd name="connsiteY4005" fmla="*/ 6766433 h 7458372"/>
              <a:gd name="connsiteX4006" fmla="*/ 7415768 w 10505529"/>
              <a:gd name="connsiteY4006" fmla="*/ 6775884 h 7458372"/>
              <a:gd name="connsiteX4007" fmla="*/ 7419361 w 10505529"/>
              <a:gd name="connsiteY4007" fmla="*/ 6785335 h 7458372"/>
              <a:gd name="connsiteX4008" fmla="*/ 7429345 w 10505529"/>
              <a:gd name="connsiteY4008" fmla="*/ 6788797 h 7458372"/>
              <a:gd name="connsiteX4009" fmla="*/ 7434670 w 10505529"/>
              <a:gd name="connsiteY4009" fmla="*/ 6787865 h 7458372"/>
              <a:gd name="connsiteX4010" fmla="*/ 7438397 w 10505529"/>
              <a:gd name="connsiteY4010" fmla="*/ 6785468 h 7458372"/>
              <a:gd name="connsiteX4011" fmla="*/ 7441059 w 10505529"/>
              <a:gd name="connsiteY4011" fmla="*/ 6781209 h 7458372"/>
              <a:gd name="connsiteX4012" fmla="*/ 7442124 w 10505529"/>
              <a:gd name="connsiteY4012" fmla="*/ 6775751 h 7458372"/>
              <a:gd name="connsiteX4013" fmla="*/ 7441059 w 10505529"/>
              <a:gd name="connsiteY4013" fmla="*/ 6770560 h 7458372"/>
              <a:gd name="connsiteX4014" fmla="*/ 7438397 w 10505529"/>
              <a:gd name="connsiteY4014" fmla="*/ 6766433 h 7458372"/>
              <a:gd name="connsiteX4015" fmla="*/ 7434403 w 10505529"/>
              <a:gd name="connsiteY4015" fmla="*/ 6763770 h 7458372"/>
              <a:gd name="connsiteX4016" fmla="*/ 7429345 w 10505529"/>
              <a:gd name="connsiteY4016" fmla="*/ 6762839 h 7458372"/>
              <a:gd name="connsiteX4017" fmla="*/ 7211701 w 10505529"/>
              <a:gd name="connsiteY4017" fmla="*/ 6762839 h 7458372"/>
              <a:gd name="connsiteX4018" fmla="*/ 7201717 w 10505529"/>
              <a:gd name="connsiteY4018" fmla="*/ 6766433 h 7458372"/>
              <a:gd name="connsiteX4019" fmla="*/ 7198123 w 10505529"/>
              <a:gd name="connsiteY4019" fmla="*/ 6775884 h 7458372"/>
              <a:gd name="connsiteX4020" fmla="*/ 7201717 w 10505529"/>
              <a:gd name="connsiteY4020" fmla="*/ 6785335 h 7458372"/>
              <a:gd name="connsiteX4021" fmla="*/ 7211701 w 10505529"/>
              <a:gd name="connsiteY4021" fmla="*/ 6788797 h 7458372"/>
              <a:gd name="connsiteX4022" fmla="*/ 7217026 w 10505529"/>
              <a:gd name="connsiteY4022" fmla="*/ 6787865 h 7458372"/>
              <a:gd name="connsiteX4023" fmla="*/ 7220752 w 10505529"/>
              <a:gd name="connsiteY4023" fmla="*/ 6785468 h 7458372"/>
              <a:gd name="connsiteX4024" fmla="*/ 7223415 w 10505529"/>
              <a:gd name="connsiteY4024" fmla="*/ 6781209 h 7458372"/>
              <a:gd name="connsiteX4025" fmla="*/ 7224480 w 10505529"/>
              <a:gd name="connsiteY4025" fmla="*/ 6775751 h 7458372"/>
              <a:gd name="connsiteX4026" fmla="*/ 7223415 w 10505529"/>
              <a:gd name="connsiteY4026" fmla="*/ 6770560 h 7458372"/>
              <a:gd name="connsiteX4027" fmla="*/ 7220752 w 10505529"/>
              <a:gd name="connsiteY4027" fmla="*/ 6766433 h 7458372"/>
              <a:gd name="connsiteX4028" fmla="*/ 7216759 w 10505529"/>
              <a:gd name="connsiteY4028" fmla="*/ 6763770 h 7458372"/>
              <a:gd name="connsiteX4029" fmla="*/ 7211701 w 10505529"/>
              <a:gd name="connsiteY4029" fmla="*/ 6762839 h 7458372"/>
              <a:gd name="connsiteX4030" fmla="*/ 6994056 w 10505529"/>
              <a:gd name="connsiteY4030" fmla="*/ 6762839 h 7458372"/>
              <a:gd name="connsiteX4031" fmla="*/ 6984072 w 10505529"/>
              <a:gd name="connsiteY4031" fmla="*/ 6766433 h 7458372"/>
              <a:gd name="connsiteX4032" fmla="*/ 6980478 w 10505529"/>
              <a:gd name="connsiteY4032" fmla="*/ 6775884 h 7458372"/>
              <a:gd name="connsiteX4033" fmla="*/ 6984072 w 10505529"/>
              <a:gd name="connsiteY4033" fmla="*/ 6785335 h 7458372"/>
              <a:gd name="connsiteX4034" fmla="*/ 6994056 w 10505529"/>
              <a:gd name="connsiteY4034" fmla="*/ 6788797 h 7458372"/>
              <a:gd name="connsiteX4035" fmla="*/ 6999380 w 10505529"/>
              <a:gd name="connsiteY4035" fmla="*/ 6787865 h 7458372"/>
              <a:gd name="connsiteX4036" fmla="*/ 7003107 w 10505529"/>
              <a:gd name="connsiteY4036" fmla="*/ 6785468 h 7458372"/>
              <a:gd name="connsiteX4037" fmla="*/ 7005769 w 10505529"/>
              <a:gd name="connsiteY4037" fmla="*/ 6781209 h 7458372"/>
              <a:gd name="connsiteX4038" fmla="*/ 7006834 w 10505529"/>
              <a:gd name="connsiteY4038" fmla="*/ 6775751 h 7458372"/>
              <a:gd name="connsiteX4039" fmla="*/ 7005769 w 10505529"/>
              <a:gd name="connsiteY4039" fmla="*/ 6770560 h 7458372"/>
              <a:gd name="connsiteX4040" fmla="*/ 7003107 w 10505529"/>
              <a:gd name="connsiteY4040" fmla="*/ 6766433 h 7458372"/>
              <a:gd name="connsiteX4041" fmla="*/ 6999113 w 10505529"/>
              <a:gd name="connsiteY4041" fmla="*/ 6763770 h 7458372"/>
              <a:gd name="connsiteX4042" fmla="*/ 6994056 w 10505529"/>
              <a:gd name="connsiteY4042" fmla="*/ 6762839 h 7458372"/>
              <a:gd name="connsiteX4043" fmla="*/ 6776544 w 10505529"/>
              <a:gd name="connsiteY4043" fmla="*/ 6762839 h 7458372"/>
              <a:gd name="connsiteX4044" fmla="*/ 6766560 w 10505529"/>
              <a:gd name="connsiteY4044" fmla="*/ 6766433 h 7458372"/>
              <a:gd name="connsiteX4045" fmla="*/ 6762966 w 10505529"/>
              <a:gd name="connsiteY4045" fmla="*/ 6775884 h 7458372"/>
              <a:gd name="connsiteX4046" fmla="*/ 6766560 w 10505529"/>
              <a:gd name="connsiteY4046" fmla="*/ 6785335 h 7458372"/>
              <a:gd name="connsiteX4047" fmla="*/ 6776544 w 10505529"/>
              <a:gd name="connsiteY4047" fmla="*/ 6788797 h 7458372"/>
              <a:gd name="connsiteX4048" fmla="*/ 6781869 w 10505529"/>
              <a:gd name="connsiteY4048" fmla="*/ 6787865 h 7458372"/>
              <a:gd name="connsiteX4049" fmla="*/ 6785595 w 10505529"/>
              <a:gd name="connsiteY4049" fmla="*/ 6785468 h 7458372"/>
              <a:gd name="connsiteX4050" fmla="*/ 6788258 w 10505529"/>
              <a:gd name="connsiteY4050" fmla="*/ 6781209 h 7458372"/>
              <a:gd name="connsiteX4051" fmla="*/ 6789323 w 10505529"/>
              <a:gd name="connsiteY4051" fmla="*/ 6775751 h 7458372"/>
              <a:gd name="connsiteX4052" fmla="*/ 6788258 w 10505529"/>
              <a:gd name="connsiteY4052" fmla="*/ 6770560 h 7458372"/>
              <a:gd name="connsiteX4053" fmla="*/ 6785595 w 10505529"/>
              <a:gd name="connsiteY4053" fmla="*/ 6766433 h 7458372"/>
              <a:gd name="connsiteX4054" fmla="*/ 6781602 w 10505529"/>
              <a:gd name="connsiteY4054" fmla="*/ 6763770 h 7458372"/>
              <a:gd name="connsiteX4055" fmla="*/ 6776544 w 10505529"/>
              <a:gd name="connsiteY4055" fmla="*/ 6762839 h 7458372"/>
              <a:gd name="connsiteX4056" fmla="*/ 6558899 w 10505529"/>
              <a:gd name="connsiteY4056" fmla="*/ 6762839 h 7458372"/>
              <a:gd name="connsiteX4057" fmla="*/ 6548915 w 10505529"/>
              <a:gd name="connsiteY4057" fmla="*/ 6766433 h 7458372"/>
              <a:gd name="connsiteX4058" fmla="*/ 6545321 w 10505529"/>
              <a:gd name="connsiteY4058" fmla="*/ 6775884 h 7458372"/>
              <a:gd name="connsiteX4059" fmla="*/ 6548915 w 10505529"/>
              <a:gd name="connsiteY4059" fmla="*/ 6785335 h 7458372"/>
              <a:gd name="connsiteX4060" fmla="*/ 6558899 w 10505529"/>
              <a:gd name="connsiteY4060" fmla="*/ 6788797 h 7458372"/>
              <a:gd name="connsiteX4061" fmla="*/ 6564223 w 10505529"/>
              <a:gd name="connsiteY4061" fmla="*/ 6787865 h 7458372"/>
              <a:gd name="connsiteX4062" fmla="*/ 6567950 w 10505529"/>
              <a:gd name="connsiteY4062" fmla="*/ 6785468 h 7458372"/>
              <a:gd name="connsiteX4063" fmla="*/ 6570612 w 10505529"/>
              <a:gd name="connsiteY4063" fmla="*/ 6781209 h 7458372"/>
              <a:gd name="connsiteX4064" fmla="*/ 6571677 w 10505529"/>
              <a:gd name="connsiteY4064" fmla="*/ 6775751 h 7458372"/>
              <a:gd name="connsiteX4065" fmla="*/ 6570612 w 10505529"/>
              <a:gd name="connsiteY4065" fmla="*/ 6770560 h 7458372"/>
              <a:gd name="connsiteX4066" fmla="*/ 6567950 w 10505529"/>
              <a:gd name="connsiteY4066" fmla="*/ 6766433 h 7458372"/>
              <a:gd name="connsiteX4067" fmla="*/ 6563956 w 10505529"/>
              <a:gd name="connsiteY4067" fmla="*/ 6763770 h 7458372"/>
              <a:gd name="connsiteX4068" fmla="*/ 6558899 w 10505529"/>
              <a:gd name="connsiteY4068" fmla="*/ 6762839 h 7458372"/>
              <a:gd name="connsiteX4069" fmla="*/ 6341253 w 10505529"/>
              <a:gd name="connsiteY4069" fmla="*/ 6762839 h 7458372"/>
              <a:gd name="connsiteX4070" fmla="*/ 6331270 w 10505529"/>
              <a:gd name="connsiteY4070" fmla="*/ 6766433 h 7458372"/>
              <a:gd name="connsiteX4071" fmla="*/ 6327675 w 10505529"/>
              <a:gd name="connsiteY4071" fmla="*/ 6775884 h 7458372"/>
              <a:gd name="connsiteX4072" fmla="*/ 6331270 w 10505529"/>
              <a:gd name="connsiteY4072" fmla="*/ 6785335 h 7458372"/>
              <a:gd name="connsiteX4073" fmla="*/ 6341253 w 10505529"/>
              <a:gd name="connsiteY4073" fmla="*/ 6788797 h 7458372"/>
              <a:gd name="connsiteX4074" fmla="*/ 6346578 w 10505529"/>
              <a:gd name="connsiteY4074" fmla="*/ 6787865 h 7458372"/>
              <a:gd name="connsiteX4075" fmla="*/ 6350305 w 10505529"/>
              <a:gd name="connsiteY4075" fmla="*/ 6785468 h 7458372"/>
              <a:gd name="connsiteX4076" fmla="*/ 6352968 w 10505529"/>
              <a:gd name="connsiteY4076" fmla="*/ 6781209 h 7458372"/>
              <a:gd name="connsiteX4077" fmla="*/ 6354033 w 10505529"/>
              <a:gd name="connsiteY4077" fmla="*/ 6775751 h 7458372"/>
              <a:gd name="connsiteX4078" fmla="*/ 6352968 w 10505529"/>
              <a:gd name="connsiteY4078" fmla="*/ 6770560 h 7458372"/>
              <a:gd name="connsiteX4079" fmla="*/ 6350305 w 10505529"/>
              <a:gd name="connsiteY4079" fmla="*/ 6766433 h 7458372"/>
              <a:gd name="connsiteX4080" fmla="*/ 6346312 w 10505529"/>
              <a:gd name="connsiteY4080" fmla="*/ 6763770 h 7458372"/>
              <a:gd name="connsiteX4081" fmla="*/ 6341253 w 10505529"/>
              <a:gd name="connsiteY4081" fmla="*/ 6762839 h 7458372"/>
              <a:gd name="connsiteX4082" fmla="*/ 6123608 w 10505529"/>
              <a:gd name="connsiteY4082" fmla="*/ 6762839 h 7458372"/>
              <a:gd name="connsiteX4083" fmla="*/ 6113624 w 10505529"/>
              <a:gd name="connsiteY4083" fmla="*/ 6766433 h 7458372"/>
              <a:gd name="connsiteX4084" fmla="*/ 6110030 w 10505529"/>
              <a:gd name="connsiteY4084" fmla="*/ 6775884 h 7458372"/>
              <a:gd name="connsiteX4085" fmla="*/ 6113624 w 10505529"/>
              <a:gd name="connsiteY4085" fmla="*/ 6785335 h 7458372"/>
              <a:gd name="connsiteX4086" fmla="*/ 6123608 w 10505529"/>
              <a:gd name="connsiteY4086" fmla="*/ 6788797 h 7458372"/>
              <a:gd name="connsiteX4087" fmla="*/ 6128932 w 10505529"/>
              <a:gd name="connsiteY4087" fmla="*/ 6787865 h 7458372"/>
              <a:gd name="connsiteX4088" fmla="*/ 6132659 w 10505529"/>
              <a:gd name="connsiteY4088" fmla="*/ 6785468 h 7458372"/>
              <a:gd name="connsiteX4089" fmla="*/ 6135322 w 10505529"/>
              <a:gd name="connsiteY4089" fmla="*/ 6781209 h 7458372"/>
              <a:gd name="connsiteX4090" fmla="*/ 6136387 w 10505529"/>
              <a:gd name="connsiteY4090" fmla="*/ 6775751 h 7458372"/>
              <a:gd name="connsiteX4091" fmla="*/ 6135322 w 10505529"/>
              <a:gd name="connsiteY4091" fmla="*/ 6770560 h 7458372"/>
              <a:gd name="connsiteX4092" fmla="*/ 6132659 w 10505529"/>
              <a:gd name="connsiteY4092" fmla="*/ 6766433 h 7458372"/>
              <a:gd name="connsiteX4093" fmla="*/ 6128666 w 10505529"/>
              <a:gd name="connsiteY4093" fmla="*/ 6763770 h 7458372"/>
              <a:gd name="connsiteX4094" fmla="*/ 6123608 w 10505529"/>
              <a:gd name="connsiteY4094" fmla="*/ 6762839 h 7458372"/>
              <a:gd name="connsiteX4095" fmla="*/ 5905963 w 10505529"/>
              <a:gd name="connsiteY4095" fmla="*/ 6762839 h 7458372"/>
              <a:gd name="connsiteX4096" fmla="*/ 5895979 w 10505529"/>
              <a:gd name="connsiteY4096" fmla="*/ 6766433 h 7458372"/>
              <a:gd name="connsiteX4097" fmla="*/ 5892385 w 10505529"/>
              <a:gd name="connsiteY4097" fmla="*/ 6775884 h 7458372"/>
              <a:gd name="connsiteX4098" fmla="*/ 5895979 w 10505529"/>
              <a:gd name="connsiteY4098" fmla="*/ 6785335 h 7458372"/>
              <a:gd name="connsiteX4099" fmla="*/ 5905963 w 10505529"/>
              <a:gd name="connsiteY4099" fmla="*/ 6788797 h 7458372"/>
              <a:gd name="connsiteX4100" fmla="*/ 5911287 w 10505529"/>
              <a:gd name="connsiteY4100" fmla="*/ 6787865 h 7458372"/>
              <a:gd name="connsiteX4101" fmla="*/ 5915014 w 10505529"/>
              <a:gd name="connsiteY4101" fmla="*/ 6785468 h 7458372"/>
              <a:gd name="connsiteX4102" fmla="*/ 5917677 w 10505529"/>
              <a:gd name="connsiteY4102" fmla="*/ 6781209 h 7458372"/>
              <a:gd name="connsiteX4103" fmla="*/ 5918742 w 10505529"/>
              <a:gd name="connsiteY4103" fmla="*/ 6775751 h 7458372"/>
              <a:gd name="connsiteX4104" fmla="*/ 5917677 w 10505529"/>
              <a:gd name="connsiteY4104" fmla="*/ 6770560 h 7458372"/>
              <a:gd name="connsiteX4105" fmla="*/ 5915014 w 10505529"/>
              <a:gd name="connsiteY4105" fmla="*/ 6766433 h 7458372"/>
              <a:gd name="connsiteX4106" fmla="*/ 5911021 w 10505529"/>
              <a:gd name="connsiteY4106" fmla="*/ 6763770 h 7458372"/>
              <a:gd name="connsiteX4107" fmla="*/ 5905963 w 10505529"/>
              <a:gd name="connsiteY4107" fmla="*/ 6762839 h 7458372"/>
              <a:gd name="connsiteX4108" fmla="*/ 5688451 w 10505529"/>
              <a:gd name="connsiteY4108" fmla="*/ 6762839 h 7458372"/>
              <a:gd name="connsiteX4109" fmla="*/ 5678467 w 10505529"/>
              <a:gd name="connsiteY4109" fmla="*/ 6766433 h 7458372"/>
              <a:gd name="connsiteX4110" fmla="*/ 5674873 w 10505529"/>
              <a:gd name="connsiteY4110" fmla="*/ 6775884 h 7458372"/>
              <a:gd name="connsiteX4111" fmla="*/ 5678467 w 10505529"/>
              <a:gd name="connsiteY4111" fmla="*/ 6785335 h 7458372"/>
              <a:gd name="connsiteX4112" fmla="*/ 5688451 w 10505529"/>
              <a:gd name="connsiteY4112" fmla="*/ 6788797 h 7458372"/>
              <a:gd name="connsiteX4113" fmla="*/ 5693775 w 10505529"/>
              <a:gd name="connsiteY4113" fmla="*/ 6787865 h 7458372"/>
              <a:gd name="connsiteX4114" fmla="*/ 5697502 w 10505529"/>
              <a:gd name="connsiteY4114" fmla="*/ 6785468 h 7458372"/>
              <a:gd name="connsiteX4115" fmla="*/ 5700165 w 10505529"/>
              <a:gd name="connsiteY4115" fmla="*/ 6781209 h 7458372"/>
              <a:gd name="connsiteX4116" fmla="*/ 5701230 w 10505529"/>
              <a:gd name="connsiteY4116" fmla="*/ 6775751 h 7458372"/>
              <a:gd name="connsiteX4117" fmla="*/ 5700165 w 10505529"/>
              <a:gd name="connsiteY4117" fmla="*/ 6770560 h 7458372"/>
              <a:gd name="connsiteX4118" fmla="*/ 5697502 w 10505529"/>
              <a:gd name="connsiteY4118" fmla="*/ 6766433 h 7458372"/>
              <a:gd name="connsiteX4119" fmla="*/ 5693509 w 10505529"/>
              <a:gd name="connsiteY4119" fmla="*/ 6763770 h 7458372"/>
              <a:gd name="connsiteX4120" fmla="*/ 5688451 w 10505529"/>
              <a:gd name="connsiteY4120" fmla="*/ 6762839 h 7458372"/>
              <a:gd name="connsiteX4121" fmla="*/ 5470806 w 10505529"/>
              <a:gd name="connsiteY4121" fmla="*/ 6762839 h 7458372"/>
              <a:gd name="connsiteX4122" fmla="*/ 5460822 w 10505529"/>
              <a:gd name="connsiteY4122" fmla="*/ 6766433 h 7458372"/>
              <a:gd name="connsiteX4123" fmla="*/ 5457228 w 10505529"/>
              <a:gd name="connsiteY4123" fmla="*/ 6775884 h 7458372"/>
              <a:gd name="connsiteX4124" fmla="*/ 5460822 w 10505529"/>
              <a:gd name="connsiteY4124" fmla="*/ 6785335 h 7458372"/>
              <a:gd name="connsiteX4125" fmla="*/ 5470806 w 10505529"/>
              <a:gd name="connsiteY4125" fmla="*/ 6788797 h 7458372"/>
              <a:gd name="connsiteX4126" fmla="*/ 5476130 w 10505529"/>
              <a:gd name="connsiteY4126" fmla="*/ 6787865 h 7458372"/>
              <a:gd name="connsiteX4127" fmla="*/ 5479857 w 10505529"/>
              <a:gd name="connsiteY4127" fmla="*/ 6785468 h 7458372"/>
              <a:gd name="connsiteX4128" fmla="*/ 5482520 w 10505529"/>
              <a:gd name="connsiteY4128" fmla="*/ 6781209 h 7458372"/>
              <a:gd name="connsiteX4129" fmla="*/ 5483585 w 10505529"/>
              <a:gd name="connsiteY4129" fmla="*/ 6775751 h 7458372"/>
              <a:gd name="connsiteX4130" fmla="*/ 5482520 w 10505529"/>
              <a:gd name="connsiteY4130" fmla="*/ 6770560 h 7458372"/>
              <a:gd name="connsiteX4131" fmla="*/ 5479857 w 10505529"/>
              <a:gd name="connsiteY4131" fmla="*/ 6766433 h 7458372"/>
              <a:gd name="connsiteX4132" fmla="*/ 5475864 w 10505529"/>
              <a:gd name="connsiteY4132" fmla="*/ 6763770 h 7458372"/>
              <a:gd name="connsiteX4133" fmla="*/ 5470806 w 10505529"/>
              <a:gd name="connsiteY4133" fmla="*/ 6762839 h 7458372"/>
              <a:gd name="connsiteX4134" fmla="*/ 5253160 w 10505529"/>
              <a:gd name="connsiteY4134" fmla="*/ 6762839 h 7458372"/>
              <a:gd name="connsiteX4135" fmla="*/ 5243177 w 10505529"/>
              <a:gd name="connsiteY4135" fmla="*/ 6766433 h 7458372"/>
              <a:gd name="connsiteX4136" fmla="*/ 5239583 w 10505529"/>
              <a:gd name="connsiteY4136" fmla="*/ 6775884 h 7458372"/>
              <a:gd name="connsiteX4137" fmla="*/ 5243177 w 10505529"/>
              <a:gd name="connsiteY4137" fmla="*/ 6785335 h 7458372"/>
              <a:gd name="connsiteX4138" fmla="*/ 5253160 w 10505529"/>
              <a:gd name="connsiteY4138" fmla="*/ 6788797 h 7458372"/>
              <a:gd name="connsiteX4139" fmla="*/ 5258485 w 10505529"/>
              <a:gd name="connsiteY4139" fmla="*/ 6787865 h 7458372"/>
              <a:gd name="connsiteX4140" fmla="*/ 5262212 w 10505529"/>
              <a:gd name="connsiteY4140" fmla="*/ 6785468 h 7458372"/>
              <a:gd name="connsiteX4141" fmla="*/ 5264875 w 10505529"/>
              <a:gd name="connsiteY4141" fmla="*/ 6781209 h 7458372"/>
              <a:gd name="connsiteX4142" fmla="*/ 5265939 w 10505529"/>
              <a:gd name="connsiteY4142" fmla="*/ 6775751 h 7458372"/>
              <a:gd name="connsiteX4143" fmla="*/ 5264875 w 10505529"/>
              <a:gd name="connsiteY4143" fmla="*/ 6770560 h 7458372"/>
              <a:gd name="connsiteX4144" fmla="*/ 5262212 w 10505529"/>
              <a:gd name="connsiteY4144" fmla="*/ 6766433 h 7458372"/>
              <a:gd name="connsiteX4145" fmla="*/ 5258219 w 10505529"/>
              <a:gd name="connsiteY4145" fmla="*/ 6763770 h 7458372"/>
              <a:gd name="connsiteX4146" fmla="*/ 5253160 w 10505529"/>
              <a:gd name="connsiteY4146" fmla="*/ 6762839 h 7458372"/>
              <a:gd name="connsiteX4147" fmla="*/ 5035515 w 10505529"/>
              <a:gd name="connsiteY4147" fmla="*/ 6762839 h 7458372"/>
              <a:gd name="connsiteX4148" fmla="*/ 5025532 w 10505529"/>
              <a:gd name="connsiteY4148" fmla="*/ 6766433 h 7458372"/>
              <a:gd name="connsiteX4149" fmla="*/ 5021938 w 10505529"/>
              <a:gd name="connsiteY4149" fmla="*/ 6775884 h 7458372"/>
              <a:gd name="connsiteX4150" fmla="*/ 5025532 w 10505529"/>
              <a:gd name="connsiteY4150" fmla="*/ 6785335 h 7458372"/>
              <a:gd name="connsiteX4151" fmla="*/ 5035515 w 10505529"/>
              <a:gd name="connsiteY4151" fmla="*/ 6788797 h 7458372"/>
              <a:gd name="connsiteX4152" fmla="*/ 5040840 w 10505529"/>
              <a:gd name="connsiteY4152" fmla="*/ 6787865 h 7458372"/>
              <a:gd name="connsiteX4153" fmla="*/ 5044567 w 10505529"/>
              <a:gd name="connsiteY4153" fmla="*/ 6785468 h 7458372"/>
              <a:gd name="connsiteX4154" fmla="*/ 5047230 w 10505529"/>
              <a:gd name="connsiteY4154" fmla="*/ 6781209 h 7458372"/>
              <a:gd name="connsiteX4155" fmla="*/ 5048294 w 10505529"/>
              <a:gd name="connsiteY4155" fmla="*/ 6775751 h 7458372"/>
              <a:gd name="connsiteX4156" fmla="*/ 5047230 w 10505529"/>
              <a:gd name="connsiteY4156" fmla="*/ 6770560 h 7458372"/>
              <a:gd name="connsiteX4157" fmla="*/ 5044567 w 10505529"/>
              <a:gd name="connsiteY4157" fmla="*/ 6766433 h 7458372"/>
              <a:gd name="connsiteX4158" fmla="*/ 5040574 w 10505529"/>
              <a:gd name="connsiteY4158" fmla="*/ 6763770 h 7458372"/>
              <a:gd name="connsiteX4159" fmla="*/ 5035515 w 10505529"/>
              <a:gd name="connsiteY4159" fmla="*/ 6762839 h 7458372"/>
              <a:gd name="connsiteX4160" fmla="*/ 4817870 w 10505529"/>
              <a:gd name="connsiteY4160" fmla="*/ 6762839 h 7458372"/>
              <a:gd name="connsiteX4161" fmla="*/ 4807887 w 10505529"/>
              <a:gd name="connsiteY4161" fmla="*/ 6766433 h 7458372"/>
              <a:gd name="connsiteX4162" fmla="*/ 4804293 w 10505529"/>
              <a:gd name="connsiteY4162" fmla="*/ 6775884 h 7458372"/>
              <a:gd name="connsiteX4163" fmla="*/ 4807887 w 10505529"/>
              <a:gd name="connsiteY4163" fmla="*/ 6785335 h 7458372"/>
              <a:gd name="connsiteX4164" fmla="*/ 4817870 w 10505529"/>
              <a:gd name="connsiteY4164" fmla="*/ 6788797 h 7458372"/>
              <a:gd name="connsiteX4165" fmla="*/ 4823195 w 10505529"/>
              <a:gd name="connsiteY4165" fmla="*/ 6787865 h 7458372"/>
              <a:gd name="connsiteX4166" fmla="*/ 4826922 w 10505529"/>
              <a:gd name="connsiteY4166" fmla="*/ 6785468 h 7458372"/>
              <a:gd name="connsiteX4167" fmla="*/ 4829585 w 10505529"/>
              <a:gd name="connsiteY4167" fmla="*/ 6781209 h 7458372"/>
              <a:gd name="connsiteX4168" fmla="*/ 4830650 w 10505529"/>
              <a:gd name="connsiteY4168" fmla="*/ 6775751 h 7458372"/>
              <a:gd name="connsiteX4169" fmla="*/ 4829585 w 10505529"/>
              <a:gd name="connsiteY4169" fmla="*/ 6770560 h 7458372"/>
              <a:gd name="connsiteX4170" fmla="*/ 4826922 w 10505529"/>
              <a:gd name="connsiteY4170" fmla="*/ 6766433 h 7458372"/>
              <a:gd name="connsiteX4171" fmla="*/ 4822929 w 10505529"/>
              <a:gd name="connsiteY4171" fmla="*/ 6763770 h 7458372"/>
              <a:gd name="connsiteX4172" fmla="*/ 4817870 w 10505529"/>
              <a:gd name="connsiteY4172" fmla="*/ 6762839 h 7458372"/>
              <a:gd name="connsiteX4173" fmla="*/ 4600226 w 10505529"/>
              <a:gd name="connsiteY4173" fmla="*/ 6762839 h 7458372"/>
              <a:gd name="connsiteX4174" fmla="*/ 4590242 w 10505529"/>
              <a:gd name="connsiteY4174" fmla="*/ 6766433 h 7458372"/>
              <a:gd name="connsiteX4175" fmla="*/ 4586648 w 10505529"/>
              <a:gd name="connsiteY4175" fmla="*/ 6775884 h 7458372"/>
              <a:gd name="connsiteX4176" fmla="*/ 4590242 w 10505529"/>
              <a:gd name="connsiteY4176" fmla="*/ 6785335 h 7458372"/>
              <a:gd name="connsiteX4177" fmla="*/ 4600226 w 10505529"/>
              <a:gd name="connsiteY4177" fmla="*/ 6788797 h 7458372"/>
              <a:gd name="connsiteX4178" fmla="*/ 4605550 w 10505529"/>
              <a:gd name="connsiteY4178" fmla="*/ 6787865 h 7458372"/>
              <a:gd name="connsiteX4179" fmla="*/ 4609277 w 10505529"/>
              <a:gd name="connsiteY4179" fmla="*/ 6785468 h 7458372"/>
              <a:gd name="connsiteX4180" fmla="*/ 4611940 w 10505529"/>
              <a:gd name="connsiteY4180" fmla="*/ 6781209 h 7458372"/>
              <a:gd name="connsiteX4181" fmla="*/ 4613005 w 10505529"/>
              <a:gd name="connsiteY4181" fmla="*/ 6775751 h 7458372"/>
              <a:gd name="connsiteX4182" fmla="*/ 4611940 w 10505529"/>
              <a:gd name="connsiteY4182" fmla="*/ 6770560 h 7458372"/>
              <a:gd name="connsiteX4183" fmla="*/ 4609277 w 10505529"/>
              <a:gd name="connsiteY4183" fmla="*/ 6766433 h 7458372"/>
              <a:gd name="connsiteX4184" fmla="*/ 4605284 w 10505529"/>
              <a:gd name="connsiteY4184" fmla="*/ 6763770 h 7458372"/>
              <a:gd name="connsiteX4185" fmla="*/ 4600226 w 10505529"/>
              <a:gd name="connsiteY4185" fmla="*/ 6762839 h 7458372"/>
              <a:gd name="connsiteX4186" fmla="*/ 4382713 w 10505529"/>
              <a:gd name="connsiteY4186" fmla="*/ 6762839 h 7458372"/>
              <a:gd name="connsiteX4187" fmla="*/ 4372730 w 10505529"/>
              <a:gd name="connsiteY4187" fmla="*/ 6766433 h 7458372"/>
              <a:gd name="connsiteX4188" fmla="*/ 4369136 w 10505529"/>
              <a:gd name="connsiteY4188" fmla="*/ 6775884 h 7458372"/>
              <a:gd name="connsiteX4189" fmla="*/ 4372730 w 10505529"/>
              <a:gd name="connsiteY4189" fmla="*/ 6785335 h 7458372"/>
              <a:gd name="connsiteX4190" fmla="*/ 4382713 w 10505529"/>
              <a:gd name="connsiteY4190" fmla="*/ 6788797 h 7458372"/>
              <a:gd name="connsiteX4191" fmla="*/ 4388038 w 10505529"/>
              <a:gd name="connsiteY4191" fmla="*/ 6787865 h 7458372"/>
              <a:gd name="connsiteX4192" fmla="*/ 4391765 w 10505529"/>
              <a:gd name="connsiteY4192" fmla="*/ 6785468 h 7458372"/>
              <a:gd name="connsiteX4193" fmla="*/ 4394428 w 10505529"/>
              <a:gd name="connsiteY4193" fmla="*/ 6781209 h 7458372"/>
              <a:gd name="connsiteX4194" fmla="*/ 4395493 w 10505529"/>
              <a:gd name="connsiteY4194" fmla="*/ 6775751 h 7458372"/>
              <a:gd name="connsiteX4195" fmla="*/ 4394428 w 10505529"/>
              <a:gd name="connsiteY4195" fmla="*/ 6770560 h 7458372"/>
              <a:gd name="connsiteX4196" fmla="*/ 4391765 w 10505529"/>
              <a:gd name="connsiteY4196" fmla="*/ 6766433 h 7458372"/>
              <a:gd name="connsiteX4197" fmla="*/ 4387772 w 10505529"/>
              <a:gd name="connsiteY4197" fmla="*/ 6763770 h 7458372"/>
              <a:gd name="connsiteX4198" fmla="*/ 4382713 w 10505529"/>
              <a:gd name="connsiteY4198" fmla="*/ 6762839 h 7458372"/>
              <a:gd name="connsiteX4199" fmla="*/ 4165068 w 10505529"/>
              <a:gd name="connsiteY4199" fmla="*/ 6762839 h 7458372"/>
              <a:gd name="connsiteX4200" fmla="*/ 4155084 w 10505529"/>
              <a:gd name="connsiteY4200" fmla="*/ 6766433 h 7458372"/>
              <a:gd name="connsiteX4201" fmla="*/ 4151490 w 10505529"/>
              <a:gd name="connsiteY4201" fmla="*/ 6775884 h 7458372"/>
              <a:gd name="connsiteX4202" fmla="*/ 4155084 w 10505529"/>
              <a:gd name="connsiteY4202" fmla="*/ 6785335 h 7458372"/>
              <a:gd name="connsiteX4203" fmla="*/ 4165068 w 10505529"/>
              <a:gd name="connsiteY4203" fmla="*/ 6788797 h 7458372"/>
              <a:gd name="connsiteX4204" fmla="*/ 4170392 w 10505529"/>
              <a:gd name="connsiteY4204" fmla="*/ 6787865 h 7458372"/>
              <a:gd name="connsiteX4205" fmla="*/ 4174119 w 10505529"/>
              <a:gd name="connsiteY4205" fmla="*/ 6785468 h 7458372"/>
              <a:gd name="connsiteX4206" fmla="*/ 4176782 w 10505529"/>
              <a:gd name="connsiteY4206" fmla="*/ 6781209 h 7458372"/>
              <a:gd name="connsiteX4207" fmla="*/ 4177847 w 10505529"/>
              <a:gd name="connsiteY4207" fmla="*/ 6775751 h 7458372"/>
              <a:gd name="connsiteX4208" fmla="*/ 4176782 w 10505529"/>
              <a:gd name="connsiteY4208" fmla="*/ 6770560 h 7458372"/>
              <a:gd name="connsiteX4209" fmla="*/ 4174119 w 10505529"/>
              <a:gd name="connsiteY4209" fmla="*/ 6766433 h 7458372"/>
              <a:gd name="connsiteX4210" fmla="*/ 4170126 w 10505529"/>
              <a:gd name="connsiteY4210" fmla="*/ 6763770 h 7458372"/>
              <a:gd name="connsiteX4211" fmla="*/ 4165068 w 10505529"/>
              <a:gd name="connsiteY4211" fmla="*/ 6762839 h 7458372"/>
              <a:gd name="connsiteX4212" fmla="*/ 3947790 w 10505529"/>
              <a:gd name="connsiteY4212" fmla="*/ 6762839 h 7458372"/>
              <a:gd name="connsiteX4213" fmla="*/ 3937807 w 10505529"/>
              <a:gd name="connsiteY4213" fmla="*/ 6766433 h 7458372"/>
              <a:gd name="connsiteX4214" fmla="*/ 3934213 w 10505529"/>
              <a:gd name="connsiteY4214" fmla="*/ 6775884 h 7458372"/>
              <a:gd name="connsiteX4215" fmla="*/ 3937807 w 10505529"/>
              <a:gd name="connsiteY4215" fmla="*/ 6785335 h 7458372"/>
              <a:gd name="connsiteX4216" fmla="*/ 3947790 w 10505529"/>
              <a:gd name="connsiteY4216" fmla="*/ 6788797 h 7458372"/>
              <a:gd name="connsiteX4217" fmla="*/ 3953120 w 10505529"/>
              <a:gd name="connsiteY4217" fmla="*/ 6787865 h 7458372"/>
              <a:gd name="connsiteX4218" fmla="*/ 3956847 w 10505529"/>
              <a:gd name="connsiteY4218" fmla="*/ 6785468 h 7458372"/>
              <a:gd name="connsiteX4219" fmla="*/ 3959510 w 10505529"/>
              <a:gd name="connsiteY4219" fmla="*/ 6781209 h 7458372"/>
              <a:gd name="connsiteX4220" fmla="*/ 3960575 w 10505529"/>
              <a:gd name="connsiteY4220" fmla="*/ 6775751 h 7458372"/>
              <a:gd name="connsiteX4221" fmla="*/ 3959510 w 10505529"/>
              <a:gd name="connsiteY4221" fmla="*/ 6770560 h 7458372"/>
              <a:gd name="connsiteX4222" fmla="*/ 3956847 w 10505529"/>
              <a:gd name="connsiteY4222" fmla="*/ 6766433 h 7458372"/>
              <a:gd name="connsiteX4223" fmla="*/ 3952853 w 10505529"/>
              <a:gd name="connsiteY4223" fmla="*/ 6763770 h 7458372"/>
              <a:gd name="connsiteX4224" fmla="*/ 3947790 w 10505529"/>
              <a:gd name="connsiteY4224" fmla="*/ 6762839 h 7458372"/>
              <a:gd name="connsiteX4225" fmla="*/ 3730129 w 10505529"/>
              <a:gd name="connsiteY4225" fmla="*/ 6762839 h 7458372"/>
              <a:gd name="connsiteX4226" fmla="*/ 3720142 w 10505529"/>
              <a:gd name="connsiteY4226" fmla="*/ 6766433 h 7458372"/>
              <a:gd name="connsiteX4227" fmla="*/ 3716549 w 10505529"/>
              <a:gd name="connsiteY4227" fmla="*/ 6775884 h 7458372"/>
              <a:gd name="connsiteX4228" fmla="*/ 3720142 w 10505529"/>
              <a:gd name="connsiteY4228" fmla="*/ 6785335 h 7458372"/>
              <a:gd name="connsiteX4229" fmla="*/ 3730129 w 10505529"/>
              <a:gd name="connsiteY4229" fmla="*/ 6788797 h 7458372"/>
              <a:gd name="connsiteX4230" fmla="*/ 3735454 w 10505529"/>
              <a:gd name="connsiteY4230" fmla="*/ 6787865 h 7458372"/>
              <a:gd name="connsiteX4231" fmla="*/ 3739182 w 10505529"/>
              <a:gd name="connsiteY4231" fmla="*/ 6785468 h 7458372"/>
              <a:gd name="connsiteX4232" fmla="*/ 3741845 w 10505529"/>
              <a:gd name="connsiteY4232" fmla="*/ 6781209 h 7458372"/>
              <a:gd name="connsiteX4233" fmla="*/ 3742909 w 10505529"/>
              <a:gd name="connsiteY4233" fmla="*/ 6775751 h 7458372"/>
              <a:gd name="connsiteX4234" fmla="*/ 3741845 w 10505529"/>
              <a:gd name="connsiteY4234" fmla="*/ 6770560 h 7458372"/>
              <a:gd name="connsiteX4235" fmla="*/ 3739182 w 10505529"/>
              <a:gd name="connsiteY4235" fmla="*/ 6766433 h 7458372"/>
              <a:gd name="connsiteX4236" fmla="*/ 3735189 w 10505529"/>
              <a:gd name="connsiteY4236" fmla="*/ 6763770 h 7458372"/>
              <a:gd name="connsiteX4237" fmla="*/ 3730129 w 10505529"/>
              <a:gd name="connsiteY4237" fmla="*/ 6762839 h 7458372"/>
              <a:gd name="connsiteX4238" fmla="*/ 3512465 w 10505529"/>
              <a:gd name="connsiteY4238" fmla="*/ 6762839 h 7458372"/>
              <a:gd name="connsiteX4239" fmla="*/ 3502475 w 10505529"/>
              <a:gd name="connsiteY4239" fmla="*/ 6766433 h 7458372"/>
              <a:gd name="connsiteX4240" fmla="*/ 3498881 w 10505529"/>
              <a:gd name="connsiteY4240" fmla="*/ 6775884 h 7458372"/>
              <a:gd name="connsiteX4241" fmla="*/ 3502475 w 10505529"/>
              <a:gd name="connsiteY4241" fmla="*/ 6785335 h 7458372"/>
              <a:gd name="connsiteX4242" fmla="*/ 3512465 w 10505529"/>
              <a:gd name="connsiteY4242" fmla="*/ 6788797 h 7458372"/>
              <a:gd name="connsiteX4243" fmla="*/ 3517790 w 10505529"/>
              <a:gd name="connsiteY4243" fmla="*/ 6787865 h 7458372"/>
              <a:gd name="connsiteX4244" fmla="*/ 3521518 w 10505529"/>
              <a:gd name="connsiteY4244" fmla="*/ 6785468 h 7458372"/>
              <a:gd name="connsiteX4245" fmla="*/ 3524181 w 10505529"/>
              <a:gd name="connsiteY4245" fmla="*/ 6781209 h 7458372"/>
              <a:gd name="connsiteX4246" fmla="*/ 3525246 w 10505529"/>
              <a:gd name="connsiteY4246" fmla="*/ 6775751 h 7458372"/>
              <a:gd name="connsiteX4247" fmla="*/ 3524181 w 10505529"/>
              <a:gd name="connsiteY4247" fmla="*/ 6770560 h 7458372"/>
              <a:gd name="connsiteX4248" fmla="*/ 3521518 w 10505529"/>
              <a:gd name="connsiteY4248" fmla="*/ 6766433 h 7458372"/>
              <a:gd name="connsiteX4249" fmla="*/ 3517525 w 10505529"/>
              <a:gd name="connsiteY4249" fmla="*/ 6763770 h 7458372"/>
              <a:gd name="connsiteX4250" fmla="*/ 3512465 w 10505529"/>
              <a:gd name="connsiteY4250" fmla="*/ 6762839 h 7458372"/>
              <a:gd name="connsiteX4251" fmla="*/ 3294933 w 10505529"/>
              <a:gd name="connsiteY4251" fmla="*/ 6762839 h 7458372"/>
              <a:gd name="connsiteX4252" fmla="*/ 3284947 w 10505529"/>
              <a:gd name="connsiteY4252" fmla="*/ 6766433 h 7458372"/>
              <a:gd name="connsiteX4253" fmla="*/ 3281353 w 10505529"/>
              <a:gd name="connsiteY4253" fmla="*/ 6775884 h 7458372"/>
              <a:gd name="connsiteX4254" fmla="*/ 3284947 w 10505529"/>
              <a:gd name="connsiteY4254" fmla="*/ 6785335 h 7458372"/>
              <a:gd name="connsiteX4255" fmla="*/ 3294933 w 10505529"/>
              <a:gd name="connsiteY4255" fmla="*/ 6788797 h 7458372"/>
              <a:gd name="connsiteX4256" fmla="*/ 3300260 w 10505529"/>
              <a:gd name="connsiteY4256" fmla="*/ 6787865 h 7458372"/>
              <a:gd name="connsiteX4257" fmla="*/ 3303987 w 10505529"/>
              <a:gd name="connsiteY4257" fmla="*/ 6785468 h 7458372"/>
              <a:gd name="connsiteX4258" fmla="*/ 3306650 w 10505529"/>
              <a:gd name="connsiteY4258" fmla="*/ 6781209 h 7458372"/>
              <a:gd name="connsiteX4259" fmla="*/ 3307713 w 10505529"/>
              <a:gd name="connsiteY4259" fmla="*/ 6775751 h 7458372"/>
              <a:gd name="connsiteX4260" fmla="*/ 3306650 w 10505529"/>
              <a:gd name="connsiteY4260" fmla="*/ 6770560 h 7458372"/>
              <a:gd name="connsiteX4261" fmla="*/ 3303987 w 10505529"/>
              <a:gd name="connsiteY4261" fmla="*/ 6766433 h 7458372"/>
              <a:gd name="connsiteX4262" fmla="*/ 3299993 w 10505529"/>
              <a:gd name="connsiteY4262" fmla="*/ 6763770 h 7458372"/>
              <a:gd name="connsiteX4263" fmla="*/ 3294933 w 10505529"/>
              <a:gd name="connsiteY4263" fmla="*/ 6762839 h 7458372"/>
              <a:gd name="connsiteX4264" fmla="*/ 3077403 w 10505529"/>
              <a:gd name="connsiteY4264" fmla="*/ 6762839 h 7458372"/>
              <a:gd name="connsiteX4265" fmla="*/ 3067419 w 10505529"/>
              <a:gd name="connsiteY4265" fmla="*/ 6766433 h 7458372"/>
              <a:gd name="connsiteX4266" fmla="*/ 3063687 w 10505529"/>
              <a:gd name="connsiteY4266" fmla="*/ 6775884 h 7458372"/>
              <a:gd name="connsiteX4267" fmla="*/ 3067284 w 10505529"/>
              <a:gd name="connsiteY4267" fmla="*/ 6785335 h 7458372"/>
              <a:gd name="connsiteX4268" fmla="*/ 3077269 w 10505529"/>
              <a:gd name="connsiteY4268" fmla="*/ 6788797 h 7458372"/>
              <a:gd name="connsiteX4269" fmla="*/ 3082728 w 10505529"/>
              <a:gd name="connsiteY4269" fmla="*/ 6787865 h 7458372"/>
              <a:gd name="connsiteX4270" fmla="*/ 3086455 w 10505529"/>
              <a:gd name="connsiteY4270" fmla="*/ 6785468 h 7458372"/>
              <a:gd name="connsiteX4271" fmla="*/ 3089118 w 10505529"/>
              <a:gd name="connsiteY4271" fmla="*/ 6781209 h 7458372"/>
              <a:gd name="connsiteX4272" fmla="*/ 3090050 w 10505529"/>
              <a:gd name="connsiteY4272" fmla="*/ 6775751 h 7458372"/>
              <a:gd name="connsiteX4273" fmla="*/ 3089118 w 10505529"/>
              <a:gd name="connsiteY4273" fmla="*/ 6770560 h 7458372"/>
              <a:gd name="connsiteX4274" fmla="*/ 3086455 w 10505529"/>
              <a:gd name="connsiteY4274" fmla="*/ 6766433 h 7458372"/>
              <a:gd name="connsiteX4275" fmla="*/ 3082462 w 10505529"/>
              <a:gd name="connsiteY4275" fmla="*/ 6763770 h 7458372"/>
              <a:gd name="connsiteX4276" fmla="*/ 3077403 w 10505529"/>
              <a:gd name="connsiteY4276" fmla="*/ 6762839 h 7458372"/>
              <a:gd name="connsiteX4277" fmla="*/ 2859605 w 10505529"/>
              <a:gd name="connsiteY4277" fmla="*/ 6762839 h 7458372"/>
              <a:gd name="connsiteX4278" fmla="*/ 2849619 w 10505529"/>
              <a:gd name="connsiteY4278" fmla="*/ 6766433 h 7458372"/>
              <a:gd name="connsiteX4279" fmla="*/ 2846019 w 10505529"/>
              <a:gd name="connsiteY4279" fmla="*/ 6775884 h 7458372"/>
              <a:gd name="connsiteX4280" fmla="*/ 2849619 w 10505529"/>
              <a:gd name="connsiteY4280" fmla="*/ 6785335 h 7458372"/>
              <a:gd name="connsiteX4281" fmla="*/ 2859605 w 10505529"/>
              <a:gd name="connsiteY4281" fmla="*/ 6788797 h 7458372"/>
              <a:gd name="connsiteX4282" fmla="*/ 2864930 w 10505529"/>
              <a:gd name="connsiteY4282" fmla="*/ 6787865 h 7458372"/>
              <a:gd name="connsiteX4283" fmla="*/ 2868657 w 10505529"/>
              <a:gd name="connsiteY4283" fmla="*/ 6785468 h 7458372"/>
              <a:gd name="connsiteX4284" fmla="*/ 2871320 w 10505529"/>
              <a:gd name="connsiteY4284" fmla="*/ 6781209 h 7458372"/>
              <a:gd name="connsiteX4285" fmla="*/ 2872251 w 10505529"/>
              <a:gd name="connsiteY4285" fmla="*/ 6775751 h 7458372"/>
              <a:gd name="connsiteX4286" fmla="*/ 2871320 w 10505529"/>
              <a:gd name="connsiteY4286" fmla="*/ 6770560 h 7458372"/>
              <a:gd name="connsiteX4287" fmla="*/ 2868657 w 10505529"/>
              <a:gd name="connsiteY4287" fmla="*/ 6766433 h 7458372"/>
              <a:gd name="connsiteX4288" fmla="*/ 2864665 w 10505529"/>
              <a:gd name="connsiteY4288" fmla="*/ 6763770 h 7458372"/>
              <a:gd name="connsiteX4289" fmla="*/ 2859605 w 10505529"/>
              <a:gd name="connsiteY4289" fmla="*/ 6762839 h 7458372"/>
              <a:gd name="connsiteX4290" fmla="*/ 2641941 w 10505529"/>
              <a:gd name="connsiteY4290" fmla="*/ 6762839 h 7458372"/>
              <a:gd name="connsiteX4291" fmla="*/ 2631958 w 10505529"/>
              <a:gd name="connsiteY4291" fmla="*/ 6766433 h 7458372"/>
              <a:gd name="connsiteX4292" fmla="*/ 2628363 w 10505529"/>
              <a:gd name="connsiteY4292" fmla="*/ 6775884 h 7458372"/>
              <a:gd name="connsiteX4293" fmla="*/ 2631958 w 10505529"/>
              <a:gd name="connsiteY4293" fmla="*/ 6785335 h 7458372"/>
              <a:gd name="connsiteX4294" fmla="*/ 2641941 w 10505529"/>
              <a:gd name="connsiteY4294" fmla="*/ 6788797 h 7458372"/>
              <a:gd name="connsiteX4295" fmla="*/ 2647266 w 10505529"/>
              <a:gd name="connsiteY4295" fmla="*/ 6787865 h 7458372"/>
              <a:gd name="connsiteX4296" fmla="*/ 2650993 w 10505529"/>
              <a:gd name="connsiteY4296" fmla="*/ 6785468 h 7458372"/>
              <a:gd name="connsiteX4297" fmla="*/ 2653656 w 10505529"/>
              <a:gd name="connsiteY4297" fmla="*/ 6781209 h 7458372"/>
              <a:gd name="connsiteX4298" fmla="*/ 2654587 w 10505529"/>
              <a:gd name="connsiteY4298" fmla="*/ 6775751 h 7458372"/>
              <a:gd name="connsiteX4299" fmla="*/ 2653656 w 10505529"/>
              <a:gd name="connsiteY4299" fmla="*/ 6770560 h 7458372"/>
              <a:gd name="connsiteX4300" fmla="*/ 2650993 w 10505529"/>
              <a:gd name="connsiteY4300" fmla="*/ 6766433 h 7458372"/>
              <a:gd name="connsiteX4301" fmla="*/ 2647000 w 10505529"/>
              <a:gd name="connsiteY4301" fmla="*/ 6763770 h 7458372"/>
              <a:gd name="connsiteX4302" fmla="*/ 2641941 w 10505529"/>
              <a:gd name="connsiteY4302" fmla="*/ 6762839 h 7458372"/>
              <a:gd name="connsiteX4303" fmla="*/ 2424276 w 10505529"/>
              <a:gd name="connsiteY4303" fmla="*/ 6762839 h 7458372"/>
              <a:gd name="connsiteX4304" fmla="*/ 2414293 w 10505529"/>
              <a:gd name="connsiteY4304" fmla="*/ 6766433 h 7458372"/>
              <a:gd name="connsiteX4305" fmla="*/ 2410699 w 10505529"/>
              <a:gd name="connsiteY4305" fmla="*/ 6775884 h 7458372"/>
              <a:gd name="connsiteX4306" fmla="*/ 2414293 w 10505529"/>
              <a:gd name="connsiteY4306" fmla="*/ 6785335 h 7458372"/>
              <a:gd name="connsiteX4307" fmla="*/ 2424276 w 10505529"/>
              <a:gd name="connsiteY4307" fmla="*/ 6788797 h 7458372"/>
              <a:gd name="connsiteX4308" fmla="*/ 2429601 w 10505529"/>
              <a:gd name="connsiteY4308" fmla="*/ 6787865 h 7458372"/>
              <a:gd name="connsiteX4309" fmla="*/ 2433328 w 10505529"/>
              <a:gd name="connsiteY4309" fmla="*/ 6785468 h 7458372"/>
              <a:gd name="connsiteX4310" fmla="*/ 2435991 w 10505529"/>
              <a:gd name="connsiteY4310" fmla="*/ 6781209 h 7458372"/>
              <a:gd name="connsiteX4311" fmla="*/ 2436923 w 10505529"/>
              <a:gd name="connsiteY4311" fmla="*/ 6775751 h 7458372"/>
              <a:gd name="connsiteX4312" fmla="*/ 2435991 w 10505529"/>
              <a:gd name="connsiteY4312" fmla="*/ 6770560 h 7458372"/>
              <a:gd name="connsiteX4313" fmla="*/ 2433328 w 10505529"/>
              <a:gd name="connsiteY4313" fmla="*/ 6766433 h 7458372"/>
              <a:gd name="connsiteX4314" fmla="*/ 2429335 w 10505529"/>
              <a:gd name="connsiteY4314" fmla="*/ 6763770 h 7458372"/>
              <a:gd name="connsiteX4315" fmla="*/ 2424276 w 10505529"/>
              <a:gd name="connsiteY4315" fmla="*/ 6762839 h 7458372"/>
              <a:gd name="connsiteX4316" fmla="*/ 2206612 w 10505529"/>
              <a:gd name="connsiteY4316" fmla="*/ 6762839 h 7458372"/>
              <a:gd name="connsiteX4317" fmla="*/ 2196628 w 10505529"/>
              <a:gd name="connsiteY4317" fmla="*/ 6766433 h 7458372"/>
              <a:gd name="connsiteX4318" fmla="*/ 2193034 w 10505529"/>
              <a:gd name="connsiteY4318" fmla="*/ 6775884 h 7458372"/>
              <a:gd name="connsiteX4319" fmla="*/ 2196628 w 10505529"/>
              <a:gd name="connsiteY4319" fmla="*/ 6785335 h 7458372"/>
              <a:gd name="connsiteX4320" fmla="*/ 2206612 w 10505529"/>
              <a:gd name="connsiteY4320" fmla="*/ 6788797 h 7458372"/>
              <a:gd name="connsiteX4321" fmla="*/ 2211937 w 10505529"/>
              <a:gd name="connsiteY4321" fmla="*/ 6787865 h 7458372"/>
              <a:gd name="connsiteX4322" fmla="*/ 2215664 w 10505529"/>
              <a:gd name="connsiteY4322" fmla="*/ 6785468 h 7458372"/>
              <a:gd name="connsiteX4323" fmla="*/ 2218327 w 10505529"/>
              <a:gd name="connsiteY4323" fmla="*/ 6781209 h 7458372"/>
              <a:gd name="connsiteX4324" fmla="*/ 2219258 w 10505529"/>
              <a:gd name="connsiteY4324" fmla="*/ 6775751 h 7458372"/>
              <a:gd name="connsiteX4325" fmla="*/ 2218327 w 10505529"/>
              <a:gd name="connsiteY4325" fmla="*/ 6770560 h 7458372"/>
              <a:gd name="connsiteX4326" fmla="*/ 2215664 w 10505529"/>
              <a:gd name="connsiteY4326" fmla="*/ 6766433 h 7458372"/>
              <a:gd name="connsiteX4327" fmla="*/ 2211671 w 10505529"/>
              <a:gd name="connsiteY4327" fmla="*/ 6763770 h 7458372"/>
              <a:gd name="connsiteX4328" fmla="*/ 2206612 w 10505529"/>
              <a:gd name="connsiteY4328" fmla="*/ 6762839 h 7458372"/>
              <a:gd name="connsiteX4329" fmla="*/ 1989080 w 10505529"/>
              <a:gd name="connsiteY4329" fmla="*/ 6762839 h 7458372"/>
              <a:gd name="connsiteX4330" fmla="*/ 1979097 w 10505529"/>
              <a:gd name="connsiteY4330" fmla="*/ 6766433 h 7458372"/>
              <a:gd name="connsiteX4331" fmla="*/ 1975503 w 10505529"/>
              <a:gd name="connsiteY4331" fmla="*/ 6775884 h 7458372"/>
              <a:gd name="connsiteX4332" fmla="*/ 1979097 w 10505529"/>
              <a:gd name="connsiteY4332" fmla="*/ 6785335 h 7458372"/>
              <a:gd name="connsiteX4333" fmla="*/ 1989080 w 10505529"/>
              <a:gd name="connsiteY4333" fmla="*/ 6788797 h 7458372"/>
              <a:gd name="connsiteX4334" fmla="*/ 1994405 w 10505529"/>
              <a:gd name="connsiteY4334" fmla="*/ 6787865 h 7458372"/>
              <a:gd name="connsiteX4335" fmla="*/ 1998132 w 10505529"/>
              <a:gd name="connsiteY4335" fmla="*/ 6785468 h 7458372"/>
              <a:gd name="connsiteX4336" fmla="*/ 2000795 w 10505529"/>
              <a:gd name="connsiteY4336" fmla="*/ 6781209 h 7458372"/>
              <a:gd name="connsiteX4337" fmla="*/ 2001726 w 10505529"/>
              <a:gd name="connsiteY4337" fmla="*/ 6775751 h 7458372"/>
              <a:gd name="connsiteX4338" fmla="*/ 2000795 w 10505529"/>
              <a:gd name="connsiteY4338" fmla="*/ 6770560 h 7458372"/>
              <a:gd name="connsiteX4339" fmla="*/ 1998132 w 10505529"/>
              <a:gd name="connsiteY4339" fmla="*/ 6766433 h 7458372"/>
              <a:gd name="connsiteX4340" fmla="*/ 1994139 w 10505529"/>
              <a:gd name="connsiteY4340" fmla="*/ 6763770 h 7458372"/>
              <a:gd name="connsiteX4341" fmla="*/ 1989080 w 10505529"/>
              <a:gd name="connsiteY4341" fmla="*/ 6762839 h 7458372"/>
              <a:gd name="connsiteX4342" fmla="*/ 1771449 w 10505529"/>
              <a:gd name="connsiteY4342" fmla="*/ 6762839 h 7458372"/>
              <a:gd name="connsiteX4343" fmla="*/ 1761467 w 10505529"/>
              <a:gd name="connsiteY4343" fmla="*/ 6766433 h 7458372"/>
              <a:gd name="connsiteX4344" fmla="*/ 1757873 w 10505529"/>
              <a:gd name="connsiteY4344" fmla="*/ 6775884 h 7458372"/>
              <a:gd name="connsiteX4345" fmla="*/ 1761467 w 10505529"/>
              <a:gd name="connsiteY4345" fmla="*/ 6785335 h 7458372"/>
              <a:gd name="connsiteX4346" fmla="*/ 1771449 w 10505529"/>
              <a:gd name="connsiteY4346" fmla="*/ 6788797 h 7458372"/>
              <a:gd name="connsiteX4347" fmla="*/ 1776774 w 10505529"/>
              <a:gd name="connsiteY4347" fmla="*/ 6787865 h 7458372"/>
              <a:gd name="connsiteX4348" fmla="*/ 1780499 w 10505529"/>
              <a:gd name="connsiteY4348" fmla="*/ 6785468 h 7458372"/>
              <a:gd name="connsiteX4349" fmla="*/ 1783162 w 10505529"/>
              <a:gd name="connsiteY4349" fmla="*/ 6781209 h 7458372"/>
              <a:gd name="connsiteX4350" fmla="*/ 1784227 w 10505529"/>
              <a:gd name="connsiteY4350" fmla="*/ 6775751 h 7458372"/>
              <a:gd name="connsiteX4351" fmla="*/ 1783162 w 10505529"/>
              <a:gd name="connsiteY4351" fmla="*/ 6770560 h 7458372"/>
              <a:gd name="connsiteX4352" fmla="*/ 1780499 w 10505529"/>
              <a:gd name="connsiteY4352" fmla="*/ 6766433 h 7458372"/>
              <a:gd name="connsiteX4353" fmla="*/ 1776508 w 10505529"/>
              <a:gd name="connsiteY4353" fmla="*/ 6763770 h 7458372"/>
              <a:gd name="connsiteX4354" fmla="*/ 1771449 w 10505529"/>
              <a:gd name="connsiteY4354" fmla="*/ 6762839 h 7458372"/>
              <a:gd name="connsiteX4355" fmla="*/ 1553813 w 10505529"/>
              <a:gd name="connsiteY4355" fmla="*/ 6762839 h 7458372"/>
              <a:gd name="connsiteX4356" fmla="*/ 1543831 w 10505529"/>
              <a:gd name="connsiteY4356" fmla="*/ 6766433 h 7458372"/>
              <a:gd name="connsiteX4357" fmla="*/ 1540236 w 10505529"/>
              <a:gd name="connsiteY4357" fmla="*/ 6775884 h 7458372"/>
              <a:gd name="connsiteX4358" fmla="*/ 1543831 w 10505529"/>
              <a:gd name="connsiteY4358" fmla="*/ 6785335 h 7458372"/>
              <a:gd name="connsiteX4359" fmla="*/ 1553813 w 10505529"/>
              <a:gd name="connsiteY4359" fmla="*/ 6788797 h 7458372"/>
              <a:gd name="connsiteX4360" fmla="*/ 1559138 w 10505529"/>
              <a:gd name="connsiteY4360" fmla="*/ 6787865 h 7458372"/>
              <a:gd name="connsiteX4361" fmla="*/ 1562865 w 10505529"/>
              <a:gd name="connsiteY4361" fmla="*/ 6785468 h 7458372"/>
              <a:gd name="connsiteX4362" fmla="*/ 1565528 w 10505529"/>
              <a:gd name="connsiteY4362" fmla="*/ 6781209 h 7458372"/>
              <a:gd name="connsiteX4363" fmla="*/ 1566593 w 10505529"/>
              <a:gd name="connsiteY4363" fmla="*/ 6775751 h 7458372"/>
              <a:gd name="connsiteX4364" fmla="*/ 1565528 w 10505529"/>
              <a:gd name="connsiteY4364" fmla="*/ 6770560 h 7458372"/>
              <a:gd name="connsiteX4365" fmla="*/ 1562865 w 10505529"/>
              <a:gd name="connsiteY4365" fmla="*/ 6766433 h 7458372"/>
              <a:gd name="connsiteX4366" fmla="*/ 1558872 w 10505529"/>
              <a:gd name="connsiteY4366" fmla="*/ 6763770 h 7458372"/>
              <a:gd name="connsiteX4367" fmla="*/ 1553813 w 10505529"/>
              <a:gd name="connsiteY4367" fmla="*/ 6762839 h 7458372"/>
              <a:gd name="connsiteX4368" fmla="*/ 1336171 w 10505529"/>
              <a:gd name="connsiteY4368" fmla="*/ 6762839 h 7458372"/>
              <a:gd name="connsiteX4369" fmla="*/ 1326187 w 10505529"/>
              <a:gd name="connsiteY4369" fmla="*/ 6766433 h 7458372"/>
              <a:gd name="connsiteX4370" fmla="*/ 1322592 w 10505529"/>
              <a:gd name="connsiteY4370" fmla="*/ 6775884 h 7458372"/>
              <a:gd name="connsiteX4371" fmla="*/ 1326187 w 10505529"/>
              <a:gd name="connsiteY4371" fmla="*/ 6785335 h 7458372"/>
              <a:gd name="connsiteX4372" fmla="*/ 1336171 w 10505529"/>
              <a:gd name="connsiteY4372" fmla="*/ 6788797 h 7458372"/>
              <a:gd name="connsiteX4373" fmla="*/ 1341497 w 10505529"/>
              <a:gd name="connsiteY4373" fmla="*/ 6787865 h 7458372"/>
              <a:gd name="connsiteX4374" fmla="*/ 1345225 w 10505529"/>
              <a:gd name="connsiteY4374" fmla="*/ 6785468 h 7458372"/>
              <a:gd name="connsiteX4375" fmla="*/ 1347886 w 10505529"/>
              <a:gd name="connsiteY4375" fmla="*/ 6781209 h 7458372"/>
              <a:gd name="connsiteX4376" fmla="*/ 1348952 w 10505529"/>
              <a:gd name="connsiteY4376" fmla="*/ 6775751 h 7458372"/>
              <a:gd name="connsiteX4377" fmla="*/ 1347886 w 10505529"/>
              <a:gd name="connsiteY4377" fmla="*/ 6770560 h 7458372"/>
              <a:gd name="connsiteX4378" fmla="*/ 1345225 w 10505529"/>
              <a:gd name="connsiteY4378" fmla="*/ 6766433 h 7458372"/>
              <a:gd name="connsiteX4379" fmla="*/ 1341229 w 10505529"/>
              <a:gd name="connsiteY4379" fmla="*/ 6763770 h 7458372"/>
              <a:gd name="connsiteX4380" fmla="*/ 1336171 w 10505529"/>
              <a:gd name="connsiteY4380" fmla="*/ 6762839 h 7458372"/>
              <a:gd name="connsiteX4381" fmla="*/ 1118658 w 10505529"/>
              <a:gd name="connsiteY4381" fmla="*/ 6762839 h 7458372"/>
              <a:gd name="connsiteX4382" fmla="*/ 1108672 w 10505529"/>
              <a:gd name="connsiteY4382" fmla="*/ 6766433 h 7458372"/>
              <a:gd name="connsiteX4383" fmla="*/ 1104945 w 10505529"/>
              <a:gd name="connsiteY4383" fmla="*/ 6775884 h 7458372"/>
              <a:gd name="connsiteX4384" fmla="*/ 1108539 w 10505529"/>
              <a:gd name="connsiteY4384" fmla="*/ 6785335 h 7458372"/>
              <a:gd name="connsiteX4385" fmla="*/ 1118525 w 10505529"/>
              <a:gd name="connsiteY4385" fmla="*/ 6788797 h 7458372"/>
              <a:gd name="connsiteX4386" fmla="*/ 1123981 w 10505529"/>
              <a:gd name="connsiteY4386" fmla="*/ 6787865 h 7458372"/>
              <a:gd name="connsiteX4387" fmla="*/ 1127712 w 10505529"/>
              <a:gd name="connsiteY4387" fmla="*/ 6785468 h 7458372"/>
              <a:gd name="connsiteX4388" fmla="*/ 1130377 w 10505529"/>
              <a:gd name="connsiteY4388" fmla="*/ 6781209 h 7458372"/>
              <a:gd name="connsiteX4389" fmla="*/ 1131441 w 10505529"/>
              <a:gd name="connsiteY4389" fmla="*/ 6775751 h 7458372"/>
              <a:gd name="connsiteX4390" fmla="*/ 1130377 w 10505529"/>
              <a:gd name="connsiteY4390" fmla="*/ 6770560 h 7458372"/>
              <a:gd name="connsiteX4391" fmla="*/ 1127712 w 10505529"/>
              <a:gd name="connsiteY4391" fmla="*/ 6766433 h 7458372"/>
              <a:gd name="connsiteX4392" fmla="*/ 1123717 w 10505529"/>
              <a:gd name="connsiteY4392" fmla="*/ 6763770 h 7458372"/>
              <a:gd name="connsiteX4393" fmla="*/ 1118658 w 10505529"/>
              <a:gd name="connsiteY4393" fmla="*/ 6762839 h 7458372"/>
              <a:gd name="connsiteX4394" fmla="*/ 901146 w 10505529"/>
              <a:gd name="connsiteY4394" fmla="*/ 6762839 h 7458372"/>
              <a:gd name="connsiteX4395" fmla="*/ 891161 w 10505529"/>
              <a:gd name="connsiteY4395" fmla="*/ 6766433 h 7458372"/>
              <a:gd name="connsiteX4396" fmla="*/ 887434 w 10505529"/>
              <a:gd name="connsiteY4396" fmla="*/ 6775884 h 7458372"/>
              <a:gd name="connsiteX4397" fmla="*/ 891029 w 10505529"/>
              <a:gd name="connsiteY4397" fmla="*/ 6785335 h 7458372"/>
              <a:gd name="connsiteX4398" fmla="*/ 901012 w 10505529"/>
              <a:gd name="connsiteY4398" fmla="*/ 6788797 h 7458372"/>
              <a:gd name="connsiteX4399" fmla="*/ 906470 w 10505529"/>
              <a:gd name="connsiteY4399" fmla="*/ 6787865 h 7458372"/>
              <a:gd name="connsiteX4400" fmla="*/ 910198 w 10505529"/>
              <a:gd name="connsiteY4400" fmla="*/ 6785468 h 7458372"/>
              <a:gd name="connsiteX4401" fmla="*/ 912860 w 10505529"/>
              <a:gd name="connsiteY4401" fmla="*/ 6781209 h 7458372"/>
              <a:gd name="connsiteX4402" fmla="*/ 913925 w 10505529"/>
              <a:gd name="connsiteY4402" fmla="*/ 6775751 h 7458372"/>
              <a:gd name="connsiteX4403" fmla="*/ 912860 w 10505529"/>
              <a:gd name="connsiteY4403" fmla="*/ 6770560 h 7458372"/>
              <a:gd name="connsiteX4404" fmla="*/ 910198 w 10505529"/>
              <a:gd name="connsiteY4404" fmla="*/ 6766433 h 7458372"/>
              <a:gd name="connsiteX4405" fmla="*/ 906204 w 10505529"/>
              <a:gd name="connsiteY4405" fmla="*/ 6763770 h 7458372"/>
              <a:gd name="connsiteX4406" fmla="*/ 901146 w 10505529"/>
              <a:gd name="connsiteY4406" fmla="*/ 6762839 h 7458372"/>
              <a:gd name="connsiteX4407" fmla="*/ 683372 w 10505529"/>
              <a:gd name="connsiteY4407" fmla="*/ 6762839 h 7458372"/>
              <a:gd name="connsiteX4408" fmla="*/ 673389 w 10505529"/>
              <a:gd name="connsiteY4408" fmla="*/ 6766433 h 7458372"/>
              <a:gd name="connsiteX4409" fmla="*/ 669795 w 10505529"/>
              <a:gd name="connsiteY4409" fmla="*/ 6775884 h 7458372"/>
              <a:gd name="connsiteX4410" fmla="*/ 673389 w 10505529"/>
              <a:gd name="connsiteY4410" fmla="*/ 6785335 h 7458372"/>
              <a:gd name="connsiteX4411" fmla="*/ 683372 w 10505529"/>
              <a:gd name="connsiteY4411" fmla="*/ 6788797 h 7458372"/>
              <a:gd name="connsiteX4412" fmla="*/ 688698 w 10505529"/>
              <a:gd name="connsiteY4412" fmla="*/ 6787865 h 7458372"/>
              <a:gd name="connsiteX4413" fmla="*/ 692425 w 10505529"/>
              <a:gd name="connsiteY4413" fmla="*/ 6785468 h 7458372"/>
              <a:gd name="connsiteX4414" fmla="*/ 695088 w 10505529"/>
              <a:gd name="connsiteY4414" fmla="*/ 6781209 h 7458372"/>
              <a:gd name="connsiteX4415" fmla="*/ 696153 w 10505529"/>
              <a:gd name="connsiteY4415" fmla="*/ 6775751 h 7458372"/>
              <a:gd name="connsiteX4416" fmla="*/ 695088 w 10505529"/>
              <a:gd name="connsiteY4416" fmla="*/ 6770560 h 7458372"/>
              <a:gd name="connsiteX4417" fmla="*/ 692425 w 10505529"/>
              <a:gd name="connsiteY4417" fmla="*/ 6766433 h 7458372"/>
              <a:gd name="connsiteX4418" fmla="*/ 688432 w 10505529"/>
              <a:gd name="connsiteY4418" fmla="*/ 6763770 h 7458372"/>
              <a:gd name="connsiteX4419" fmla="*/ 683372 w 10505529"/>
              <a:gd name="connsiteY4419" fmla="*/ 6762839 h 7458372"/>
              <a:gd name="connsiteX4420" fmla="*/ 465732 w 10505529"/>
              <a:gd name="connsiteY4420" fmla="*/ 6762839 h 7458372"/>
              <a:gd name="connsiteX4421" fmla="*/ 455749 w 10505529"/>
              <a:gd name="connsiteY4421" fmla="*/ 6766433 h 7458372"/>
              <a:gd name="connsiteX4422" fmla="*/ 452155 w 10505529"/>
              <a:gd name="connsiteY4422" fmla="*/ 6775884 h 7458372"/>
              <a:gd name="connsiteX4423" fmla="*/ 455749 w 10505529"/>
              <a:gd name="connsiteY4423" fmla="*/ 6785335 h 7458372"/>
              <a:gd name="connsiteX4424" fmla="*/ 465732 w 10505529"/>
              <a:gd name="connsiteY4424" fmla="*/ 6788797 h 7458372"/>
              <a:gd name="connsiteX4425" fmla="*/ 471057 w 10505529"/>
              <a:gd name="connsiteY4425" fmla="*/ 6787865 h 7458372"/>
              <a:gd name="connsiteX4426" fmla="*/ 474784 w 10505529"/>
              <a:gd name="connsiteY4426" fmla="*/ 6785468 h 7458372"/>
              <a:gd name="connsiteX4427" fmla="*/ 477447 w 10505529"/>
              <a:gd name="connsiteY4427" fmla="*/ 6781209 h 7458372"/>
              <a:gd name="connsiteX4428" fmla="*/ 478512 w 10505529"/>
              <a:gd name="connsiteY4428" fmla="*/ 6775751 h 7458372"/>
              <a:gd name="connsiteX4429" fmla="*/ 477447 w 10505529"/>
              <a:gd name="connsiteY4429" fmla="*/ 6770560 h 7458372"/>
              <a:gd name="connsiteX4430" fmla="*/ 474784 w 10505529"/>
              <a:gd name="connsiteY4430" fmla="*/ 6766433 h 7458372"/>
              <a:gd name="connsiteX4431" fmla="*/ 470791 w 10505529"/>
              <a:gd name="connsiteY4431" fmla="*/ 6763770 h 7458372"/>
              <a:gd name="connsiteX4432" fmla="*/ 465732 w 10505529"/>
              <a:gd name="connsiteY4432" fmla="*/ 6762839 h 7458372"/>
              <a:gd name="connsiteX4433" fmla="*/ 248091 w 10505529"/>
              <a:gd name="connsiteY4433" fmla="*/ 6762839 h 7458372"/>
              <a:gd name="connsiteX4434" fmla="*/ 238109 w 10505529"/>
              <a:gd name="connsiteY4434" fmla="*/ 6766433 h 7458372"/>
              <a:gd name="connsiteX4435" fmla="*/ 234515 w 10505529"/>
              <a:gd name="connsiteY4435" fmla="*/ 6775884 h 7458372"/>
              <a:gd name="connsiteX4436" fmla="*/ 238109 w 10505529"/>
              <a:gd name="connsiteY4436" fmla="*/ 6785335 h 7458372"/>
              <a:gd name="connsiteX4437" fmla="*/ 248091 w 10505529"/>
              <a:gd name="connsiteY4437" fmla="*/ 6788797 h 7458372"/>
              <a:gd name="connsiteX4438" fmla="*/ 253416 w 10505529"/>
              <a:gd name="connsiteY4438" fmla="*/ 6787865 h 7458372"/>
              <a:gd name="connsiteX4439" fmla="*/ 257142 w 10505529"/>
              <a:gd name="connsiteY4439" fmla="*/ 6785468 h 7458372"/>
              <a:gd name="connsiteX4440" fmla="*/ 259805 w 10505529"/>
              <a:gd name="connsiteY4440" fmla="*/ 6781209 h 7458372"/>
              <a:gd name="connsiteX4441" fmla="*/ 260870 w 10505529"/>
              <a:gd name="connsiteY4441" fmla="*/ 6775751 h 7458372"/>
              <a:gd name="connsiteX4442" fmla="*/ 259805 w 10505529"/>
              <a:gd name="connsiteY4442" fmla="*/ 6770560 h 7458372"/>
              <a:gd name="connsiteX4443" fmla="*/ 257142 w 10505529"/>
              <a:gd name="connsiteY4443" fmla="*/ 6766433 h 7458372"/>
              <a:gd name="connsiteX4444" fmla="*/ 253150 w 10505529"/>
              <a:gd name="connsiteY4444" fmla="*/ 6763770 h 7458372"/>
              <a:gd name="connsiteX4445" fmla="*/ 248091 w 10505529"/>
              <a:gd name="connsiteY4445" fmla="*/ 6762839 h 7458372"/>
              <a:gd name="connsiteX4446" fmla="*/ 30450 w 10505529"/>
              <a:gd name="connsiteY4446" fmla="*/ 6762839 h 7458372"/>
              <a:gd name="connsiteX4447" fmla="*/ 20467 w 10505529"/>
              <a:gd name="connsiteY4447" fmla="*/ 6766433 h 7458372"/>
              <a:gd name="connsiteX4448" fmla="*/ 16874 w 10505529"/>
              <a:gd name="connsiteY4448" fmla="*/ 6775884 h 7458372"/>
              <a:gd name="connsiteX4449" fmla="*/ 20467 w 10505529"/>
              <a:gd name="connsiteY4449" fmla="*/ 6785335 h 7458372"/>
              <a:gd name="connsiteX4450" fmla="*/ 30450 w 10505529"/>
              <a:gd name="connsiteY4450" fmla="*/ 6788797 h 7458372"/>
              <a:gd name="connsiteX4451" fmla="*/ 35775 w 10505529"/>
              <a:gd name="connsiteY4451" fmla="*/ 6787865 h 7458372"/>
              <a:gd name="connsiteX4452" fmla="*/ 39502 w 10505529"/>
              <a:gd name="connsiteY4452" fmla="*/ 6785468 h 7458372"/>
              <a:gd name="connsiteX4453" fmla="*/ 42165 w 10505529"/>
              <a:gd name="connsiteY4453" fmla="*/ 6781209 h 7458372"/>
              <a:gd name="connsiteX4454" fmla="*/ 43096 w 10505529"/>
              <a:gd name="connsiteY4454" fmla="*/ 6775751 h 7458372"/>
              <a:gd name="connsiteX4455" fmla="*/ 42165 w 10505529"/>
              <a:gd name="connsiteY4455" fmla="*/ 6770560 h 7458372"/>
              <a:gd name="connsiteX4456" fmla="*/ 39502 w 10505529"/>
              <a:gd name="connsiteY4456" fmla="*/ 6766433 h 7458372"/>
              <a:gd name="connsiteX4457" fmla="*/ 35509 w 10505529"/>
              <a:gd name="connsiteY4457" fmla="*/ 6763770 h 7458372"/>
              <a:gd name="connsiteX4458" fmla="*/ 30450 w 10505529"/>
              <a:gd name="connsiteY4458" fmla="*/ 6762839 h 7458372"/>
              <a:gd name="connsiteX4459" fmla="*/ 10475977 w 10505529"/>
              <a:gd name="connsiteY4459" fmla="*/ 6746199 h 7458372"/>
              <a:gd name="connsiteX4460" fmla="*/ 10487824 w 10505529"/>
              <a:gd name="connsiteY4460" fmla="*/ 6748595 h 7458372"/>
              <a:gd name="connsiteX4461" fmla="*/ 10497143 w 10505529"/>
              <a:gd name="connsiteY4461" fmla="*/ 6754985 h 7458372"/>
              <a:gd name="connsiteX4462" fmla="*/ 10503266 w 10505529"/>
              <a:gd name="connsiteY4462" fmla="*/ 6764303 h 7458372"/>
              <a:gd name="connsiteX4463" fmla="*/ 10505529 w 10505529"/>
              <a:gd name="connsiteY4463" fmla="*/ 6775751 h 7458372"/>
              <a:gd name="connsiteX4464" fmla="*/ 10503266 w 10505529"/>
              <a:gd name="connsiteY4464" fmla="*/ 6787466 h 7458372"/>
              <a:gd name="connsiteX4465" fmla="*/ 10497143 w 10505529"/>
              <a:gd name="connsiteY4465" fmla="*/ 6796917 h 7458372"/>
              <a:gd name="connsiteX4466" fmla="*/ 10487824 w 10505529"/>
              <a:gd name="connsiteY4466" fmla="*/ 6803174 h 7458372"/>
              <a:gd name="connsiteX4467" fmla="*/ 10475977 w 10505529"/>
              <a:gd name="connsiteY4467" fmla="*/ 6805437 h 7458372"/>
              <a:gd name="connsiteX4468" fmla="*/ 10454145 w 10505529"/>
              <a:gd name="connsiteY4468" fmla="*/ 6796917 h 7458372"/>
              <a:gd name="connsiteX4469" fmla="*/ 10445759 w 10505529"/>
              <a:gd name="connsiteY4469" fmla="*/ 6775751 h 7458372"/>
              <a:gd name="connsiteX4470" fmla="*/ 10454145 w 10505529"/>
              <a:gd name="connsiteY4470" fmla="*/ 6754719 h 7458372"/>
              <a:gd name="connsiteX4471" fmla="*/ 10475977 w 10505529"/>
              <a:gd name="connsiteY4471" fmla="*/ 6746199 h 7458372"/>
              <a:gd name="connsiteX4472" fmla="*/ 10258466 w 10505529"/>
              <a:gd name="connsiteY4472" fmla="*/ 6746199 h 7458372"/>
              <a:gd name="connsiteX4473" fmla="*/ 10270313 w 10505529"/>
              <a:gd name="connsiteY4473" fmla="*/ 6748595 h 7458372"/>
              <a:gd name="connsiteX4474" fmla="*/ 10279631 w 10505529"/>
              <a:gd name="connsiteY4474" fmla="*/ 6754985 h 7458372"/>
              <a:gd name="connsiteX4475" fmla="*/ 10285754 w 10505529"/>
              <a:gd name="connsiteY4475" fmla="*/ 6764303 h 7458372"/>
              <a:gd name="connsiteX4476" fmla="*/ 10288017 w 10505529"/>
              <a:gd name="connsiteY4476" fmla="*/ 6775751 h 7458372"/>
              <a:gd name="connsiteX4477" fmla="*/ 10285754 w 10505529"/>
              <a:gd name="connsiteY4477" fmla="*/ 6787466 h 7458372"/>
              <a:gd name="connsiteX4478" fmla="*/ 10279631 w 10505529"/>
              <a:gd name="connsiteY4478" fmla="*/ 6796917 h 7458372"/>
              <a:gd name="connsiteX4479" fmla="*/ 10270313 w 10505529"/>
              <a:gd name="connsiteY4479" fmla="*/ 6803174 h 7458372"/>
              <a:gd name="connsiteX4480" fmla="*/ 10258466 w 10505529"/>
              <a:gd name="connsiteY4480" fmla="*/ 6805437 h 7458372"/>
              <a:gd name="connsiteX4481" fmla="*/ 10236633 w 10505529"/>
              <a:gd name="connsiteY4481" fmla="*/ 6796917 h 7458372"/>
              <a:gd name="connsiteX4482" fmla="*/ 10228247 w 10505529"/>
              <a:gd name="connsiteY4482" fmla="*/ 6775751 h 7458372"/>
              <a:gd name="connsiteX4483" fmla="*/ 10236633 w 10505529"/>
              <a:gd name="connsiteY4483" fmla="*/ 6754719 h 7458372"/>
              <a:gd name="connsiteX4484" fmla="*/ 10258466 w 10505529"/>
              <a:gd name="connsiteY4484" fmla="*/ 6746199 h 7458372"/>
              <a:gd name="connsiteX4485" fmla="*/ 10040820 w 10505529"/>
              <a:gd name="connsiteY4485" fmla="*/ 6746199 h 7458372"/>
              <a:gd name="connsiteX4486" fmla="*/ 10052534 w 10505529"/>
              <a:gd name="connsiteY4486" fmla="*/ 6748595 h 7458372"/>
              <a:gd name="connsiteX4487" fmla="*/ 10061852 w 10505529"/>
              <a:gd name="connsiteY4487" fmla="*/ 6754985 h 7458372"/>
              <a:gd name="connsiteX4488" fmla="*/ 10067976 w 10505529"/>
              <a:gd name="connsiteY4488" fmla="*/ 6764303 h 7458372"/>
              <a:gd name="connsiteX4489" fmla="*/ 10070239 w 10505529"/>
              <a:gd name="connsiteY4489" fmla="*/ 6775751 h 7458372"/>
              <a:gd name="connsiteX4490" fmla="*/ 10067976 w 10505529"/>
              <a:gd name="connsiteY4490" fmla="*/ 6787466 h 7458372"/>
              <a:gd name="connsiteX4491" fmla="*/ 10061852 w 10505529"/>
              <a:gd name="connsiteY4491" fmla="*/ 6796917 h 7458372"/>
              <a:gd name="connsiteX4492" fmla="*/ 10052534 w 10505529"/>
              <a:gd name="connsiteY4492" fmla="*/ 6803174 h 7458372"/>
              <a:gd name="connsiteX4493" fmla="*/ 10040820 w 10505529"/>
              <a:gd name="connsiteY4493" fmla="*/ 6805437 h 7458372"/>
              <a:gd name="connsiteX4494" fmla="*/ 10018988 w 10505529"/>
              <a:gd name="connsiteY4494" fmla="*/ 6796917 h 7458372"/>
              <a:gd name="connsiteX4495" fmla="*/ 10010602 w 10505529"/>
              <a:gd name="connsiteY4495" fmla="*/ 6775751 h 7458372"/>
              <a:gd name="connsiteX4496" fmla="*/ 10018988 w 10505529"/>
              <a:gd name="connsiteY4496" fmla="*/ 6754719 h 7458372"/>
              <a:gd name="connsiteX4497" fmla="*/ 10040820 w 10505529"/>
              <a:gd name="connsiteY4497" fmla="*/ 6746199 h 7458372"/>
              <a:gd name="connsiteX4498" fmla="*/ 9823176 w 10505529"/>
              <a:gd name="connsiteY4498" fmla="*/ 6746199 h 7458372"/>
              <a:gd name="connsiteX4499" fmla="*/ 9834890 w 10505529"/>
              <a:gd name="connsiteY4499" fmla="*/ 6748595 h 7458372"/>
              <a:gd name="connsiteX4500" fmla="*/ 9844208 w 10505529"/>
              <a:gd name="connsiteY4500" fmla="*/ 6754985 h 7458372"/>
              <a:gd name="connsiteX4501" fmla="*/ 9850331 w 10505529"/>
              <a:gd name="connsiteY4501" fmla="*/ 6764303 h 7458372"/>
              <a:gd name="connsiteX4502" fmla="*/ 9852595 w 10505529"/>
              <a:gd name="connsiteY4502" fmla="*/ 6775751 h 7458372"/>
              <a:gd name="connsiteX4503" fmla="*/ 9850331 w 10505529"/>
              <a:gd name="connsiteY4503" fmla="*/ 6787466 h 7458372"/>
              <a:gd name="connsiteX4504" fmla="*/ 9844208 w 10505529"/>
              <a:gd name="connsiteY4504" fmla="*/ 6796917 h 7458372"/>
              <a:gd name="connsiteX4505" fmla="*/ 9834890 w 10505529"/>
              <a:gd name="connsiteY4505" fmla="*/ 6803174 h 7458372"/>
              <a:gd name="connsiteX4506" fmla="*/ 9823176 w 10505529"/>
              <a:gd name="connsiteY4506" fmla="*/ 6805437 h 7458372"/>
              <a:gd name="connsiteX4507" fmla="*/ 9801343 w 10505529"/>
              <a:gd name="connsiteY4507" fmla="*/ 6796917 h 7458372"/>
              <a:gd name="connsiteX4508" fmla="*/ 9792957 w 10505529"/>
              <a:gd name="connsiteY4508" fmla="*/ 6775751 h 7458372"/>
              <a:gd name="connsiteX4509" fmla="*/ 9801343 w 10505529"/>
              <a:gd name="connsiteY4509" fmla="*/ 6754719 h 7458372"/>
              <a:gd name="connsiteX4510" fmla="*/ 9823176 w 10505529"/>
              <a:gd name="connsiteY4510" fmla="*/ 6746199 h 7458372"/>
              <a:gd name="connsiteX4511" fmla="*/ 9605531 w 10505529"/>
              <a:gd name="connsiteY4511" fmla="*/ 6746199 h 7458372"/>
              <a:gd name="connsiteX4512" fmla="*/ 9617245 w 10505529"/>
              <a:gd name="connsiteY4512" fmla="*/ 6748595 h 7458372"/>
              <a:gd name="connsiteX4513" fmla="*/ 9626562 w 10505529"/>
              <a:gd name="connsiteY4513" fmla="*/ 6754985 h 7458372"/>
              <a:gd name="connsiteX4514" fmla="*/ 9632686 w 10505529"/>
              <a:gd name="connsiteY4514" fmla="*/ 6764303 h 7458372"/>
              <a:gd name="connsiteX4515" fmla="*/ 9634949 w 10505529"/>
              <a:gd name="connsiteY4515" fmla="*/ 6775751 h 7458372"/>
              <a:gd name="connsiteX4516" fmla="*/ 9632686 w 10505529"/>
              <a:gd name="connsiteY4516" fmla="*/ 6787466 h 7458372"/>
              <a:gd name="connsiteX4517" fmla="*/ 9626562 w 10505529"/>
              <a:gd name="connsiteY4517" fmla="*/ 6796917 h 7458372"/>
              <a:gd name="connsiteX4518" fmla="*/ 9617245 w 10505529"/>
              <a:gd name="connsiteY4518" fmla="*/ 6803174 h 7458372"/>
              <a:gd name="connsiteX4519" fmla="*/ 9605531 w 10505529"/>
              <a:gd name="connsiteY4519" fmla="*/ 6805437 h 7458372"/>
              <a:gd name="connsiteX4520" fmla="*/ 9583698 w 10505529"/>
              <a:gd name="connsiteY4520" fmla="*/ 6796917 h 7458372"/>
              <a:gd name="connsiteX4521" fmla="*/ 9575312 w 10505529"/>
              <a:gd name="connsiteY4521" fmla="*/ 6775751 h 7458372"/>
              <a:gd name="connsiteX4522" fmla="*/ 9583698 w 10505529"/>
              <a:gd name="connsiteY4522" fmla="*/ 6754719 h 7458372"/>
              <a:gd name="connsiteX4523" fmla="*/ 9605531 w 10505529"/>
              <a:gd name="connsiteY4523" fmla="*/ 6746199 h 7458372"/>
              <a:gd name="connsiteX4524" fmla="*/ 9387885 w 10505529"/>
              <a:gd name="connsiteY4524" fmla="*/ 6746199 h 7458372"/>
              <a:gd name="connsiteX4525" fmla="*/ 9399599 w 10505529"/>
              <a:gd name="connsiteY4525" fmla="*/ 6748595 h 7458372"/>
              <a:gd name="connsiteX4526" fmla="*/ 9408917 w 10505529"/>
              <a:gd name="connsiteY4526" fmla="*/ 6754985 h 7458372"/>
              <a:gd name="connsiteX4527" fmla="*/ 9415041 w 10505529"/>
              <a:gd name="connsiteY4527" fmla="*/ 6764303 h 7458372"/>
              <a:gd name="connsiteX4528" fmla="*/ 9417304 w 10505529"/>
              <a:gd name="connsiteY4528" fmla="*/ 6775751 h 7458372"/>
              <a:gd name="connsiteX4529" fmla="*/ 9415041 w 10505529"/>
              <a:gd name="connsiteY4529" fmla="*/ 6787466 h 7458372"/>
              <a:gd name="connsiteX4530" fmla="*/ 9408917 w 10505529"/>
              <a:gd name="connsiteY4530" fmla="*/ 6796917 h 7458372"/>
              <a:gd name="connsiteX4531" fmla="*/ 9399599 w 10505529"/>
              <a:gd name="connsiteY4531" fmla="*/ 6803174 h 7458372"/>
              <a:gd name="connsiteX4532" fmla="*/ 9387885 w 10505529"/>
              <a:gd name="connsiteY4532" fmla="*/ 6805437 h 7458372"/>
              <a:gd name="connsiteX4533" fmla="*/ 9366053 w 10505529"/>
              <a:gd name="connsiteY4533" fmla="*/ 6796917 h 7458372"/>
              <a:gd name="connsiteX4534" fmla="*/ 9357667 w 10505529"/>
              <a:gd name="connsiteY4534" fmla="*/ 6775751 h 7458372"/>
              <a:gd name="connsiteX4535" fmla="*/ 9366053 w 10505529"/>
              <a:gd name="connsiteY4535" fmla="*/ 6754719 h 7458372"/>
              <a:gd name="connsiteX4536" fmla="*/ 9387885 w 10505529"/>
              <a:gd name="connsiteY4536" fmla="*/ 6746199 h 7458372"/>
              <a:gd name="connsiteX4537" fmla="*/ 9170374 w 10505529"/>
              <a:gd name="connsiteY4537" fmla="*/ 6746199 h 7458372"/>
              <a:gd name="connsiteX4538" fmla="*/ 9182088 w 10505529"/>
              <a:gd name="connsiteY4538" fmla="*/ 6748595 h 7458372"/>
              <a:gd name="connsiteX4539" fmla="*/ 9191405 w 10505529"/>
              <a:gd name="connsiteY4539" fmla="*/ 6754985 h 7458372"/>
              <a:gd name="connsiteX4540" fmla="*/ 9197529 w 10505529"/>
              <a:gd name="connsiteY4540" fmla="*/ 6764303 h 7458372"/>
              <a:gd name="connsiteX4541" fmla="*/ 9199792 w 10505529"/>
              <a:gd name="connsiteY4541" fmla="*/ 6775751 h 7458372"/>
              <a:gd name="connsiteX4542" fmla="*/ 9197529 w 10505529"/>
              <a:gd name="connsiteY4542" fmla="*/ 6787466 h 7458372"/>
              <a:gd name="connsiteX4543" fmla="*/ 9191405 w 10505529"/>
              <a:gd name="connsiteY4543" fmla="*/ 6796917 h 7458372"/>
              <a:gd name="connsiteX4544" fmla="*/ 9182088 w 10505529"/>
              <a:gd name="connsiteY4544" fmla="*/ 6803174 h 7458372"/>
              <a:gd name="connsiteX4545" fmla="*/ 9170374 w 10505529"/>
              <a:gd name="connsiteY4545" fmla="*/ 6805437 h 7458372"/>
              <a:gd name="connsiteX4546" fmla="*/ 9148541 w 10505529"/>
              <a:gd name="connsiteY4546" fmla="*/ 6796917 h 7458372"/>
              <a:gd name="connsiteX4547" fmla="*/ 9140155 w 10505529"/>
              <a:gd name="connsiteY4547" fmla="*/ 6775751 h 7458372"/>
              <a:gd name="connsiteX4548" fmla="*/ 9148541 w 10505529"/>
              <a:gd name="connsiteY4548" fmla="*/ 6754719 h 7458372"/>
              <a:gd name="connsiteX4549" fmla="*/ 9170374 w 10505529"/>
              <a:gd name="connsiteY4549" fmla="*/ 6746199 h 7458372"/>
              <a:gd name="connsiteX4550" fmla="*/ 8952728 w 10505529"/>
              <a:gd name="connsiteY4550" fmla="*/ 6746199 h 7458372"/>
              <a:gd name="connsiteX4551" fmla="*/ 8964442 w 10505529"/>
              <a:gd name="connsiteY4551" fmla="*/ 6748595 h 7458372"/>
              <a:gd name="connsiteX4552" fmla="*/ 8973760 w 10505529"/>
              <a:gd name="connsiteY4552" fmla="*/ 6754985 h 7458372"/>
              <a:gd name="connsiteX4553" fmla="*/ 8979884 w 10505529"/>
              <a:gd name="connsiteY4553" fmla="*/ 6764303 h 7458372"/>
              <a:gd name="connsiteX4554" fmla="*/ 8982147 w 10505529"/>
              <a:gd name="connsiteY4554" fmla="*/ 6775751 h 7458372"/>
              <a:gd name="connsiteX4555" fmla="*/ 8979884 w 10505529"/>
              <a:gd name="connsiteY4555" fmla="*/ 6787466 h 7458372"/>
              <a:gd name="connsiteX4556" fmla="*/ 8973760 w 10505529"/>
              <a:gd name="connsiteY4556" fmla="*/ 6796917 h 7458372"/>
              <a:gd name="connsiteX4557" fmla="*/ 8964442 w 10505529"/>
              <a:gd name="connsiteY4557" fmla="*/ 6803174 h 7458372"/>
              <a:gd name="connsiteX4558" fmla="*/ 8952728 w 10505529"/>
              <a:gd name="connsiteY4558" fmla="*/ 6805437 h 7458372"/>
              <a:gd name="connsiteX4559" fmla="*/ 8930896 w 10505529"/>
              <a:gd name="connsiteY4559" fmla="*/ 6796917 h 7458372"/>
              <a:gd name="connsiteX4560" fmla="*/ 8922510 w 10505529"/>
              <a:gd name="connsiteY4560" fmla="*/ 6775751 h 7458372"/>
              <a:gd name="connsiteX4561" fmla="*/ 8930896 w 10505529"/>
              <a:gd name="connsiteY4561" fmla="*/ 6754719 h 7458372"/>
              <a:gd name="connsiteX4562" fmla="*/ 8952728 w 10505529"/>
              <a:gd name="connsiteY4562" fmla="*/ 6746199 h 7458372"/>
              <a:gd name="connsiteX4563" fmla="*/ 8735083 w 10505529"/>
              <a:gd name="connsiteY4563" fmla="*/ 6746199 h 7458372"/>
              <a:gd name="connsiteX4564" fmla="*/ 8746797 w 10505529"/>
              <a:gd name="connsiteY4564" fmla="*/ 6748595 h 7458372"/>
              <a:gd name="connsiteX4565" fmla="*/ 8756115 w 10505529"/>
              <a:gd name="connsiteY4565" fmla="*/ 6754985 h 7458372"/>
              <a:gd name="connsiteX4566" fmla="*/ 8762238 w 10505529"/>
              <a:gd name="connsiteY4566" fmla="*/ 6764303 h 7458372"/>
              <a:gd name="connsiteX4567" fmla="*/ 8764502 w 10505529"/>
              <a:gd name="connsiteY4567" fmla="*/ 6775751 h 7458372"/>
              <a:gd name="connsiteX4568" fmla="*/ 8762238 w 10505529"/>
              <a:gd name="connsiteY4568" fmla="*/ 6787466 h 7458372"/>
              <a:gd name="connsiteX4569" fmla="*/ 8756115 w 10505529"/>
              <a:gd name="connsiteY4569" fmla="*/ 6796917 h 7458372"/>
              <a:gd name="connsiteX4570" fmla="*/ 8746797 w 10505529"/>
              <a:gd name="connsiteY4570" fmla="*/ 6803174 h 7458372"/>
              <a:gd name="connsiteX4571" fmla="*/ 8735083 w 10505529"/>
              <a:gd name="connsiteY4571" fmla="*/ 6805437 h 7458372"/>
              <a:gd name="connsiteX4572" fmla="*/ 8713250 w 10505529"/>
              <a:gd name="connsiteY4572" fmla="*/ 6796917 h 7458372"/>
              <a:gd name="connsiteX4573" fmla="*/ 8704864 w 10505529"/>
              <a:gd name="connsiteY4573" fmla="*/ 6775751 h 7458372"/>
              <a:gd name="connsiteX4574" fmla="*/ 8713250 w 10505529"/>
              <a:gd name="connsiteY4574" fmla="*/ 6754719 h 7458372"/>
              <a:gd name="connsiteX4575" fmla="*/ 8735083 w 10505529"/>
              <a:gd name="connsiteY4575" fmla="*/ 6746199 h 7458372"/>
              <a:gd name="connsiteX4576" fmla="*/ 8517438 w 10505529"/>
              <a:gd name="connsiteY4576" fmla="*/ 6746199 h 7458372"/>
              <a:gd name="connsiteX4577" fmla="*/ 8529152 w 10505529"/>
              <a:gd name="connsiteY4577" fmla="*/ 6748595 h 7458372"/>
              <a:gd name="connsiteX4578" fmla="*/ 8538470 w 10505529"/>
              <a:gd name="connsiteY4578" fmla="*/ 6754985 h 7458372"/>
              <a:gd name="connsiteX4579" fmla="*/ 8544594 w 10505529"/>
              <a:gd name="connsiteY4579" fmla="*/ 6764303 h 7458372"/>
              <a:gd name="connsiteX4580" fmla="*/ 8546857 w 10505529"/>
              <a:gd name="connsiteY4580" fmla="*/ 6775751 h 7458372"/>
              <a:gd name="connsiteX4581" fmla="*/ 8544594 w 10505529"/>
              <a:gd name="connsiteY4581" fmla="*/ 6787466 h 7458372"/>
              <a:gd name="connsiteX4582" fmla="*/ 8538470 w 10505529"/>
              <a:gd name="connsiteY4582" fmla="*/ 6796917 h 7458372"/>
              <a:gd name="connsiteX4583" fmla="*/ 8529152 w 10505529"/>
              <a:gd name="connsiteY4583" fmla="*/ 6803174 h 7458372"/>
              <a:gd name="connsiteX4584" fmla="*/ 8517438 w 10505529"/>
              <a:gd name="connsiteY4584" fmla="*/ 6805437 h 7458372"/>
              <a:gd name="connsiteX4585" fmla="*/ 8495606 w 10505529"/>
              <a:gd name="connsiteY4585" fmla="*/ 6796917 h 7458372"/>
              <a:gd name="connsiteX4586" fmla="*/ 8487220 w 10505529"/>
              <a:gd name="connsiteY4586" fmla="*/ 6775751 h 7458372"/>
              <a:gd name="connsiteX4587" fmla="*/ 8495606 w 10505529"/>
              <a:gd name="connsiteY4587" fmla="*/ 6754719 h 7458372"/>
              <a:gd name="connsiteX4588" fmla="*/ 8517438 w 10505529"/>
              <a:gd name="connsiteY4588" fmla="*/ 6746199 h 7458372"/>
              <a:gd name="connsiteX4589" fmla="*/ 8299793 w 10505529"/>
              <a:gd name="connsiteY4589" fmla="*/ 6746199 h 7458372"/>
              <a:gd name="connsiteX4590" fmla="*/ 8311507 w 10505529"/>
              <a:gd name="connsiteY4590" fmla="*/ 6748595 h 7458372"/>
              <a:gd name="connsiteX4591" fmla="*/ 8320825 w 10505529"/>
              <a:gd name="connsiteY4591" fmla="*/ 6754985 h 7458372"/>
              <a:gd name="connsiteX4592" fmla="*/ 8326948 w 10505529"/>
              <a:gd name="connsiteY4592" fmla="*/ 6764303 h 7458372"/>
              <a:gd name="connsiteX4593" fmla="*/ 8329212 w 10505529"/>
              <a:gd name="connsiteY4593" fmla="*/ 6775751 h 7458372"/>
              <a:gd name="connsiteX4594" fmla="*/ 8326948 w 10505529"/>
              <a:gd name="connsiteY4594" fmla="*/ 6787466 h 7458372"/>
              <a:gd name="connsiteX4595" fmla="*/ 8320825 w 10505529"/>
              <a:gd name="connsiteY4595" fmla="*/ 6796917 h 7458372"/>
              <a:gd name="connsiteX4596" fmla="*/ 8311507 w 10505529"/>
              <a:gd name="connsiteY4596" fmla="*/ 6803174 h 7458372"/>
              <a:gd name="connsiteX4597" fmla="*/ 8299793 w 10505529"/>
              <a:gd name="connsiteY4597" fmla="*/ 6805437 h 7458372"/>
              <a:gd name="connsiteX4598" fmla="*/ 8277960 w 10505529"/>
              <a:gd name="connsiteY4598" fmla="*/ 6796917 h 7458372"/>
              <a:gd name="connsiteX4599" fmla="*/ 8269574 w 10505529"/>
              <a:gd name="connsiteY4599" fmla="*/ 6775751 h 7458372"/>
              <a:gd name="connsiteX4600" fmla="*/ 8277960 w 10505529"/>
              <a:gd name="connsiteY4600" fmla="*/ 6754719 h 7458372"/>
              <a:gd name="connsiteX4601" fmla="*/ 8299793 w 10505529"/>
              <a:gd name="connsiteY4601" fmla="*/ 6746199 h 7458372"/>
              <a:gd name="connsiteX4602" fmla="*/ 8082281 w 10505529"/>
              <a:gd name="connsiteY4602" fmla="*/ 6746199 h 7458372"/>
              <a:gd name="connsiteX4603" fmla="*/ 8094127 w 10505529"/>
              <a:gd name="connsiteY4603" fmla="*/ 6748595 h 7458372"/>
              <a:gd name="connsiteX4604" fmla="*/ 8103446 w 10505529"/>
              <a:gd name="connsiteY4604" fmla="*/ 6754985 h 7458372"/>
              <a:gd name="connsiteX4605" fmla="*/ 8109569 w 10505529"/>
              <a:gd name="connsiteY4605" fmla="*/ 6764303 h 7458372"/>
              <a:gd name="connsiteX4606" fmla="*/ 8111832 w 10505529"/>
              <a:gd name="connsiteY4606" fmla="*/ 6775751 h 7458372"/>
              <a:gd name="connsiteX4607" fmla="*/ 8109569 w 10505529"/>
              <a:gd name="connsiteY4607" fmla="*/ 6787466 h 7458372"/>
              <a:gd name="connsiteX4608" fmla="*/ 8103446 w 10505529"/>
              <a:gd name="connsiteY4608" fmla="*/ 6796917 h 7458372"/>
              <a:gd name="connsiteX4609" fmla="*/ 8094127 w 10505529"/>
              <a:gd name="connsiteY4609" fmla="*/ 6803174 h 7458372"/>
              <a:gd name="connsiteX4610" fmla="*/ 8082281 w 10505529"/>
              <a:gd name="connsiteY4610" fmla="*/ 6805437 h 7458372"/>
              <a:gd name="connsiteX4611" fmla="*/ 8060448 w 10505529"/>
              <a:gd name="connsiteY4611" fmla="*/ 6796917 h 7458372"/>
              <a:gd name="connsiteX4612" fmla="*/ 8052062 w 10505529"/>
              <a:gd name="connsiteY4612" fmla="*/ 6775751 h 7458372"/>
              <a:gd name="connsiteX4613" fmla="*/ 8060448 w 10505529"/>
              <a:gd name="connsiteY4613" fmla="*/ 6754719 h 7458372"/>
              <a:gd name="connsiteX4614" fmla="*/ 8082281 w 10505529"/>
              <a:gd name="connsiteY4614" fmla="*/ 6746199 h 7458372"/>
              <a:gd name="connsiteX4615" fmla="*/ 7864636 w 10505529"/>
              <a:gd name="connsiteY4615" fmla="*/ 6746199 h 7458372"/>
              <a:gd name="connsiteX4616" fmla="*/ 7876483 w 10505529"/>
              <a:gd name="connsiteY4616" fmla="*/ 6748595 h 7458372"/>
              <a:gd name="connsiteX4617" fmla="*/ 7885802 w 10505529"/>
              <a:gd name="connsiteY4617" fmla="*/ 6754985 h 7458372"/>
              <a:gd name="connsiteX4618" fmla="*/ 7891924 w 10505529"/>
              <a:gd name="connsiteY4618" fmla="*/ 6764303 h 7458372"/>
              <a:gd name="connsiteX4619" fmla="*/ 7894188 w 10505529"/>
              <a:gd name="connsiteY4619" fmla="*/ 6775751 h 7458372"/>
              <a:gd name="connsiteX4620" fmla="*/ 7891924 w 10505529"/>
              <a:gd name="connsiteY4620" fmla="*/ 6787466 h 7458372"/>
              <a:gd name="connsiteX4621" fmla="*/ 7885802 w 10505529"/>
              <a:gd name="connsiteY4621" fmla="*/ 6796917 h 7458372"/>
              <a:gd name="connsiteX4622" fmla="*/ 7876483 w 10505529"/>
              <a:gd name="connsiteY4622" fmla="*/ 6803174 h 7458372"/>
              <a:gd name="connsiteX4623" fmla="*/ 7864636 w 10505529"/>
              <a:gd name="connsiteY4623" fmla="*/ 6805437 h 7458372"/>
              <a:gd name="connsiteX4624" fmla="*/ 7842803 w 10505529"/>
              <a:gd name="connsiteY4624" fmla="*/ 6796917 h 7458372"/>
              <a:gd name="connsiteX4625" fmla="*/ 7834417 w 10505529"/>
              <a:gd name="connsiteY4625" fmla="*/ 6775751 h 7458372"/>
              <a:gd name="connsiteX4626" fmla="*/ 7842803 w 10505529"/>
              <a:gd name="connsiteY4626" fmla="*/ 6754719 h 7458372"/>
              <a:gd name="connsiteX4627" fmla="*/ 7864636 w 10505529"/>
              <a:gd name="connsiteY4627" fmla="*/ 6746199 h 7458372"/>
              <a:gd name="connsiteX4628" fmla="*/ 7646991 w 10505529"/>
              <a:gd name="connsiteY4628" fmla="*/ 6746199 h 7458372"/>
              <a:gd name="connsiteX4629" fmla="*/ 7658705 w 10505529"/>
              <a:gd name="connsiteY4629" fmla="*/ 6748595 h 7458372"/>
              <a:gd name="connsiteX4630" fmla="*/ 7668022 w 10505529"/>
              <a:gd name="connsiteY4630" fmla="*/ 6754985 h 7458372"/>
              <a:gd name="connsiteX4631" fmla="*/ 7674146 w 10505529"/>
              <a:gd name="connsiteY4631" fmla="*/ 6764303 h 7458372"/>
              <a:gd name="connsiteX4632" fmla="*/ 7676409 w 10505529"/>
              <a:gd name="connsiteY4632" fmla="*/ 6775751 h 7458372"/>
              <a:gd name="connsiteX4633" fmla="*/ 7674146 w 10505529"/>
              <a:gd name="connsiteY4633" fmla="*/ 6787466 h 7458372"/>
              <a:gd name="connsiteX4634" fmla="*/ 7668022 w 10505529"/>
              <a:gd name="connsiteY4634" fmla="*/ 6796917 h 7458372"/>
              <a:gd name="connsiteX4635" fmla="*/ 7658705 w 10505529"/>
              <a:gd name="connsiteY4635" fmla="*/ 6803174 h 7458372"/>
              <a:gd name="connsiteX4636" fmla="*/ 7646991 w 10505529"/>
              <a:gd name="connsiteY4636" fmla="*/ 6805437 h 7458372"/>
              <a:gd name="connsiteX4637" fmla="*/ 7625158 w 10505529"/>
              <a:gd name="connsiteY4637" fmla="*/ 6796917 h 7458372"/>
              <a:gd name="connsiteX4638" fmla="*/ 7616772 w 10505529"/>
              <a:gd name="connsiteY4638" fmla="*/ 6775751 h 7458372"/>
              <a:gd name="connsiteX4639" fmla="*/ 7625158 w 10505529"/>
              <a:gd name="connsiteY4639" fmla="*/ 6754719 h 7458372"/>
              <a:gd name="connsiteX4640" fmla="*/ 7646991 w 10505529"/>
              <a:gd name="connsiteY4640" fmla="*/ 6746199 h 7458372"/>
              <a:gd name="connsiteX4641" fmla="*/ 7429345 w 10505529"/>
              <a:gd name="connsiteY4641" fmla="*/ 6746199 h 7458372"/>
              <a:gd name="connsiteX4642" fmla="*/ 7441059 w 10505529"/>
              <a:gd name="connsiteY4642" fmla="*/ 6748595 h 7458372"/>
              <a:gd name="connsiteX4643" fmla="*/ 7450377 w 10505529"/>
              <a:gd name="connsiteY4643" fmla="*/ 6754985 h 7458372"/>
              <a:gd name="connsiteX4644" fmla="*/ 7456501 w 10505529"/>
              <a:gd name="connsiteY4644" fmla="*/ 6764303 h 7458372"/>
              <a:gd name="connsiteX4645" fmla="*/ 7458764 w 10505529"/>
              <a:gd name="connsiteY4645" fmla="*/ 6775751 h 7458372"/>
              <a:gd name="connsiteX4646" fmla="*/ 7456501 w 10505529"/>
              <a:gd name="connsiteY4646" fmla="*/ 6787466 h 7458372"/>
              <a:gd name="connsiteX4647" fmla="*/ 7450377 w 10505529"/>
              <a:gd name="connsiteY4647" fmla="*/ 6796917 h 7458372"/>
              <a:gd name="connsiteX4648" fmla="*/ 7441059 w 10505529"/>
              <a:gd name="connsiteY4648" fmla="*/ 6803174 h 7458372"/>
              <a:gd name="connsiteX4649" fmla="*/ 7429345 w 10505529"/>
              <a:gd name="connsiteY4649" fmla="*/ 6805437 h 7458372"/>
              <a:gd name="connsiteX4650" fmla="*/ 7407513 w 10505529"/>
              <a:gd name="connsiteY4650" fmla="*/ 6796917 h 7458372"/>
              <a:gd name="connsiteX4651" fmla="*/ 7399127 w 10505529"/>
              <a:gd name="connsiteY4651" fmla="*/ 6775751 h 7458372"/>
              <a:gd name="connsiteX4652" fmla="*/ 7407513 w 10505529"/>
              <a:gd name="connsiteY4652" fmla="*/ 6754719 h 7458372"/>
              <a:gd name="connsiteX4653" fmla="*/ 7429345 w 10505529"/>
              <a:gd name="connsiteY4653" fmla="*/ 6746199 h 7458372"/>
              <a:gd name="connsiteX4654" fmla="*/ 7211701 w 10505529"/>
              <a:gd name="connsiteY4654" fmla="*/ 6746199 h 7458372"/>
              <a:gd name="connsiteX4655" fmla="*/ 7223415 w 10505529"/>
              <a:gd name="connsiteY4655" fmla="*/ 6748595 h 7458372"/>
              <a:gd name="connsiteX4656" fmla="*/ 7232733 w 10505529"/>
              <a:gd name="connsiteY4656" fmla="*/ 6754985 h 7458372"/>
              <a:gd name="connsiteX4657" fmla="*/ 7238856 w 10505529"/>
              <a:gd name="connsiteY4657" fmla="*/ 6764303 h 7458372"/>
              <a:gd name="connsiteX4658" fmla="*/ 7241120 w 10505529"/>
              <a:gd name="connsiteY4658" fmla="*/ 6775751 h 7458372"/>
              <a:gd name="connsiteX4659" fmla="*/ 7238856 w 10505529"/>
              <a:gd name="connsiteY4659" fmla="*/ 6787466 h 7458372"/>
              <a:gd name="connsiteX4660" fmla="*/ 7232733 w 10505529"/>
              <a:gd name="connsiteY4660" fmla="*/ 6796917 h 7458372"/>
              <a:gd name="connsiteX4661" fmla="*/ 7223415 w 10505529"/>
              <a:gd name="connsiteY4661" fmla="*/ 6803174 h 7458372"/>
              <a:gd name="connsiteX4662" fmla="*/ 7211701 w 10505529"/>
              <a:gd name="connsiteY4662" fmla="*/ 6805437 h 7458372"/>
              <a:gd name="connsiteX4663" fmla="*/ 7189868 w 10505529"/>
              <a:gd name="connsiteY4663" fmla="*/ 6796917 h 7458372"/>
              <a:gd name="connsiteX4664" fmla="*/ 7181482 w 10505529"/>
              <a:gd name="connsiteY4664" fmla="*/ 6775751 h 7458372"/>
              <a:gd name="connsiteX4665" fmla="*/ 7189868 w 10505529"/>
              <a:gd name="connsiteY4665" fmla="*/ 6754719 h 7458372"/>
              <a:gd name="connsiteX4666" fmla="*/ 7211701 w 10505529"/>
              <a:gd name="connsiteY4666" fmla="*/ 6746199 h 7458372"/>
              <a:gd name="connsiteX4667" fmla="*/ 6994056 w 10505529"/>
              <a:gd name="connsiteY4667" fmla="*/ 6746199 h 7458372"/>
              <a:gd name="connsiteX4668" fmla="*/ 7005769 w 10505529"/>
              <a:gd name="connsiteY4668" fmla="*/ 6748595 h 7458372"/>
              <a:gd name="connsiteX4669" fmla="*/ 7015087 w 10505529"/>
              <a:gd name="connsiteY4669" fmla="*/ 6754985 h 7458372"/>
              <a:gd name="connsiteX4670" fmla="*/ 7021211 w 10505529"/>
              <a:gd name="connsiteY4670" fmla="*/ 6764303 h 7458372"/>
              <a:gd name="connsiteX4671" fmla="*/ 7023474 w 10505529"/>
              <a:gd name="connsiteY4671" fmla="*/ 6775751 h 7458372"/>
              <a:gd name="connsiteX4672" fmla="*/ 7021211 w 10505529"/>
              <a:gd name="connsiteY4672" fmla="*/ 6787466 h 7458372"/>
              <a:gd name="connsiteX4673" fmla="*/ 7015087 w 10505529"/>
              <a:gd name="connsiteY4673" fmla="*/ 6796917 h 7458372"/>
              <a:gd name="connsiteX4674" fmla="*/ 7005769 w 10505529"/>
              <a:gd name="connsiteY4674" fmla="*/ 6803174 h 7458372"/>
              <a:gd name="connsiteX4675" fmla="*/ 6994056 w 10505529"/>
              <a:gd name="connsiteY4675" fmla="*/ 6805437 h 7458372"/>
              <a:gd name="connsiteX4676" fmla="*/ 6972223 w 10505529"/>
              <a:gd name="connsiteY4676" fmla="*/ 6796917 h 7458372"/>
              <a:gd name="connsiteX4677" fmla="*/ 6963837 w 10505529"/>
              <a:gd name="connsiteY4677" fmla="*/ 6775751 h 7458372"/>
              <a:gd name="connsiteX4678" fmla="*/ 6972223 w 10505529"/>
              <a:gd name="connsiteY4678" fmla="*/ 6754719 h 7458372"/>
              <a:gd name="connsiteX4679" fmla="*/ 6994056 w 10505529"/>
              <a:gd name="connsiteY4679" fmla="*/ 6746199 h 7458372"/>
              <a:gd name="connsiteX4680" fmla="*/ 6776544 w 10505529"/>
              <a:gd name="connsiteY4680" fmla="*/ 6746199 h 7458372"/>
              <a:gd name="connsiteX4681" fmla="*/ 6788258 w 10505529"/>
              <a:gd name="connsiteY4681" fmla="*/ 6748595 h 7458372"/>
              <a:gd name="connsiteX4682" fmla="*/ 6797576 w 10505529"/>
              <a:gd name="connsiteY4682" fmla="*/ 6754985 h 7458372"/>
              <a:gd name="connsiteX4683" fmla="*/ 6803699 w 10505529"/>
              <a:gd name="connsiteY4683" fmla="*/ 6764303 h 7458372"/>
              <a:gd name="connsiteX4684" fmla="*/ 6805963 w 10505529"/>
              <a:gd name="connsiteY4684" fmla="*/ 6775751 h 7458372"/>
              <a:gd name="connsiteX4685" fmla="*/ 6803699 w 10505529"/>
              <a:gd name="connsiteY4685" fmla="*/ 6787466 h 7458372"/>
              <a:gd name="connsiteX4686" fmla="*/ 6797576 w 10505529"/>
              <a:gd name="connsiteY4686" fmla="*/ 6796917 h 7458372"/>
              <a:gd name="connsiteX4687" fmla="*/ 6788258 w 10505529"/>
              <a:gd name="connsiteY4687" fmla="*/ 6803174 h 7458372"/>
              <a:gd name="connsiteX4688" fmla="*/ 6776544 w 10505529"/>
              <a:gd name="connsiteY4688" fmla="*/ 6805437 h 7458372"/>
              <a:gd name="connsiteX4689" fmla="*/ 6754711 w 10505529"/>
              <a:gd name="connsiteY4689" fmla="*/ 6796917 h 7458372"/>
              <a:gd name="connsiteX4690" fmla="*/ 6746325 w 10505529"/>
              <a:gd name="connsiteY4690" fmla="*/ 6775751 h 7458372"/>
              <a:gd name="connsiteX4691" fmla="*/ 6754711 w 10505529"/>
              <a:gd name="connsiteY4691" fmla="*/ 6754719 h 7458372"/>
              <a:gd name="connsiteX4692" fmla="*/ 6776544 w 10505529"/>
              <a:gd name="connsiteY4692" fmla="*/ 6746199 h 7458372"/>
              <a:gd name="connsiteX4693" fmla="*/ 6558899 w 10505529"/>
              <a:gd name="connsiteY4693" fmla="*/ 6746199 h 7458372"/>
              <a:gd name="connsiteX4694" fmla="*/ 6570612 w 10505529"/>
              <a:gd name="connsiteY4694" fmla="*/ 6748595 h 7458372"/>
              <a:gd name="connsiteX4695" fmla="*/ 6579930 w 10505529"/>
              <a:gd name="connsiteY4695" fmla="*/ 6754985 h 7458372"/>
              <a:gd name="connsiteX4696" fmla="*/ 6586054 w 10505529"/>
              <a:gd name="connsiteY4696" fmla="*/ 6764303 h 7458372"/>
              <a:gd name="connsiteX4697" fmla="*/ 6588317 w 10505529"/>
              <a:gd name="connsiteY4697" fmla="*/ 6775751 h 7458372"/>
              <a:gd name="connsiteX4698" fmla="*/ 6586054 w 10505529"/>
              <a:gd name="connsiteY4698" fmla="*/ 6787466 h 7458372"/>
              <a:gd name="connsiteX4699" fmla="*/ 6579930 w 10505529"/>
              <a:gd name="connsiteY4699" fmla="*/ 6796917 h 7458372"/>
              <a:gd name="connsiteX4700" fmla="*/ 6570612 w 10505529"/>
              <a:gd name="connsiteY4700" fmla="*/ 6803174 h 7458372"/>
              <a:gd name="connsiteX4701" fmla="*/ 6558899 w 10505529"/>
              <a:gd name="connsiteY4701" fmla="*/ 6805437 h 7458372"/>
              <a:gd name="connsiteX4702" fmla="*/ 6537066 w 10505529"/>
              <a:gd name="connsiteY4702" fmla="*/ 6796917 h 7458372"/>
              <a:gd name="connsiteX4703" fmla="*/ 6528680 w 10505529"/>
              <a:gd name="connsiteY4703" fmla="*/ 6775751 h 7458372"/>
              <a:gd name="connsiteX4704" fmla="*/ 6537066 w 10505529"/>
              <a:gd name="connsiteY4704" fmla="*/ 6754719 h 7458372"/>
              <a:gd name="connsiteX4705" fmla="*/ 6558899 w 10505529"/>
              <a:gd name="connsiteY4705" fmla="*/ 6746199 h 7458372"/>
              <a:gd name="connsiteX4706" fmla="*/ 6341253 w 10505529"/>
              <a:gd name="connsiteY4706" fmla="*/ 6746199 h 7458372"/>
              <a:gd name="connsiteX4707" fmla="*/ 6352968 w 10505529"/>
              <a:gd name="connsiteY4707" fmla="*/ 6748595 h 7458372"/>
              <a:gd name="connsiteX4708" fmla="*/ 6362286 w 10505529"/>
              <a:gd name="connsiteY4708" fmla="*/ 6754985 h 7458372"/>
              <a:gd name="connsiteX4709" fmla="*/ 6368409 w 10505529"/>
              <a:gd name="connsiteY4709" fmla="*/ 6764303 h 7458372"/>
              <a:gd name="connsiteX4710" fmla="*/ 6370672 w 10505529"/>
              <a:gd name="connsiteY4710" fmla="*/ 6775751 h 7458372"/>
              <a:gd name="connsiteX4711" fmla="*/ 6368409 w 10505529"/>
              <a:gd name="connsiteY4711" fmla="*/ 6787466 h 7458372"/>
              <a:gd name="connsiteX4712" fmla="*/ 6362286 w 10505529"/>
              <a:gd name="connsiteY4712" fmla="*/ 6796917 h 7458372"/>
              <a:gd name="connsiteX4713" fmla="*/ 6352968 w 10505529"/>
              <a:gd name="connsiteY4713" fmla="*/ 6803174 h 7458372"/>
              <a:gd name="connsiteX4714" fmla="*/ 6341253 w 10505529"/>
              <a:gd name="connsiteY4714" fmla="*/ 6805437 h 7458372"/>
              <a:gd name="connsiteX4715" fmla="*/ 6319421 w 10505529"/>
              <a:gd name="connsiteY4715" fmla="*/ 6796917 h 7458372"/>
              <a:gd name="connsiteX4716" fmla="*/ 6311035 w 10505529"/>
              <a:gd name="connsiteY4716" fmla="*/ 6775751 h 7458372"/>
              <a:gd name="connsiteX4717" fmla="*/ 6319421 w 10505529"/>
              <a:gd name="connsiteY4717" fmla="*/ 6754719 h 7458372"/>
              <a:gd name="connsiteX4718" fmla="*/ 6341253 w 10505529"/>
              <a:gd name="connsiteY4718" fmla="*/ 6746199 h 7458372"/>
              <a:gd name="connsiteX4719" fmla="*/ 6123608 w 10505529"/>
              <a:gd name="connsiteY4719" fmla="*/ 6746199 h 7458372"/>
              <a:gd name="connsiteX4720" fmla="*/ 6135322 w 10505529"/>
              <a:gd name="connsiteY4720" fmla="*/ 6748595 h 7458372"/>
              <a:gd name="connsiteX4721" fmla="*/ 6144640 w 10505529"/>
              <a:gd name="connsiteY4721" fmla="*/ 6754985 h 7458372"/>
              <a:gd name="connsiteX4722" fmla="*/ 6150763 w 10505529"/>
              <a:gd name="connsiteY4722" fmla="*/ 6764303 h 7458372"/>
              <a:gd name="connsiteX4723" fmla="*/ 6153026 w 10505529"/>
              <a:gd name="connsiteY4723" fmla="*/ 6775751 h 7458372"/>
              <a:gd name="connsiteX4724" fmla="*/ 6150763 w 10505529"/>
              <a:gd name="connsiteY4724" fmla="*/ 6787466 h 7458372"/>
              <a:gd name="connsiteX4725" fmla="*/ 6144640 w 10505529"/>
              <a:gd name="connsiteY4725" fmla="*/ 6796917 h 7458372"/>
              <a:gd name="connsiteX4726" fmla="*/ 6135322 w 10505529"/>
              <a:gd name="connsiteY4726" fmla="*/ 6803174 h 7458372"/>
              <a:gd name="connsiteX4727" fmla="*/ 6123608 w 10505529"/>
              <a:gd name="connsiteY4727" fmla="*/ 6805437 h 7458372"/>
              <a:gd name="connsiteX4728" fmla="*/ 6101775 w 10505529"/>
              <a:gd name="connsiteY4728" fmla="*/ 6796917 h 7458372"/>
              <a:gd name="connsiteX4729" fmla="*/ 6093389 w 10505529"/>
              <a:gd name="connsiteY4729" fmla="*/ 6775751 h 7458372"/>
              <a:gd name="connsiteX4730" fmla="*/ 6101775 w 10505529"/>
              <a:gd name="connsiteY4730" fmla="*/ 6754719 h 7458372"/>
              <a:gd name="connsiteX4731" fmla="*/ 6123608 w 10505529"/>
              <a:gd name="connsiteY4731" fmla="*/ 6746199 h 7458372"/>
              <a:gd name="connsiteX4732" fmla="*/ 5905963 w 10505529"/>
              <a:gd name="connsiteY4732" fmla="*/ 6746199 h 7458372"/>
              <a:gd name="connsiteX4733" fmla="*/ 5917677 w 10505529"/>
              <a:gd name="connsiteY4733" fmla="*/ 6748595 h 7458372"/>
              <a:gd name="connsiteX4734" fmla="*/ 5926995 w 10505529"/>
              <a:gd name="connsiteY4734" fmla="*/ 6754985 h 7458372"/>
              <a:gd name="connsiteX4735" fmla="*/ 5933118 w 10505529"/>
              <a:gd name="connsiteY4735" fmla="*/ 6764303 h 7458372"/>
              <a:gd name="connsiteX4736" fmla="*/ 5935381 w 10505529"/>
              <a:gd name="connsiteY4736" fmla="*/ 6775751 h 7458372"/>
              <a:gd name="connsiteX4737" fmla="*/ 5933118 w 10505529"/>
              <a:gd name="connsiteY4737" fmla="*/ 6787466 h 7458372"/>
              <a:gd name="connsiteX4738" fmla="*/ 5926995 w 10505529"/>
              <a:gd name="connsiteY4738" fmla="*/ 6796917 h 7458372"/>
              <a:gd name="connsiteX4739" fmla="*/ 5917677 w 10505529"/>
              <a:gd name="connsiteY4739" fmla="*/ 6803174 h 7458372"/>
              <a:gd name="connsiteX4740" fmla="*/ 5905963 w 10505529"/>
              <a:gd name="connsiteY4740" fmla="*/ 6805437 h 7458372"/>
              <a:gd name="connsiteX4741" fmla="*/ 5884130 w 10505529"/>
              <a:gd name="connsiteY4741" fmla="*/ 6796917 h 7458372"/>
              <a:gd name="connsiteX4742" fmla="*/ 5875744 w 10505529"/>
              <a:gd name="connsiteY4742" fmla="*/ 6775751 h 7458372"/>
              <a:gd name="connsiteX4743" fmla="*/ 5884130 w 10505529"/>
              <a:gd name="connsiteY4743" fmla="*/ 6754719 h 7458372"/>
              <a:gd name="connsiteX4744" fmla="*/ 5905963 w 10505529"/>
              <a:gd name="connsiteY4744" fmla="*/ 6746199 h 7458372"/>
              <a:gd name="connsiteX4745" fmla="*/ 5688451 w 10505529"/>
              <a:gd name="connsiteY4745" fmla="*/ 6746199 h 7458372"/>
              <a:gd name="connsiteX4746" fmla="*/ 5700165 w 10505529"/>
              <a:gd name="connsiteY4746" fmla="*/ 6748595 h 7458372"/>
              <a:gd name="connsiteX4747" fmla="*/ 5709483 w 10505529"/>
              <a:gd name="connsiteY4747" fmla="*/ 6754985 h 7458372"/>
              <a:gd name="connsiteX4748" fmla="*/ 5715606 w 10505529"/>
              <a:gd name="connsiteY4748" fmla="*/ 6764303 h 7458372"/>
              <a:gd name="connsiteX4749" fmla="*/ 5717869 w 10505529"/>
              <a:gd name="connsiteY4749" fmla="*/ 6775751 h 7458372"/>
              <a:gd name="connsiteX4750" fmla="*/ 5715606 w 10505529"/>
              <a:gd name="connsiteY4750" fmla="*/ 6787466 h 7458372"/>
              <a:gd name="connsiteX4751" fmla="*/ 5709483 w 10505529"/>
              <a:gd name="connsiteY4751" fmla="*/ 6796917 h 7458372"/>
              <a:gd name="connsiteX4752" fmla="*/ 5700165 w 10505529"/>
              <a:gd name="connsiteY4752" fmla="*/ 6803174 h 7458372"/>
              <a:gd name="connsiteX4753" fmla="*/ 5688451 w 10505529"/>
              <a:gd name="connsiteY4753" fmla="*/ 6805437 h 7458372"/>
              <a:gd name="connsiteX4754" fmla="*/ 5666618 w 10505529"/>
              <a:gd name="connsiteY4754" fmla="*/ 6796917 h 7458372"/>
              <a:gd name="connsiteX4755" fmla="*/ 5658232 w 10505529"/>
              <a:gd name="connsiteY4755" fmla="*/ 6775751 h 7458372"/>
              <a:gd name="connsiteX4756" fmla="*/ 5666618 w 10505529"/>
              <a:gd name="connsiteY4756" fmla="*/ 6754719 h 7458372"/>
              <a:gd name="connsiteX4757" fmla="*/ 5688451 w 10505529"/>
              <a:gd name="connsiteY4757" fmla="*/ 6746199 h 7458372"/>
              <a:gd name="connsiteX4758" fmla="*/ 5470806 w 10505529"/>
              <a:gd name="connsiteY4758" fmla="*/ 6746199 h 7458372"/>
              <a:gd name="connsiteX4759" fmla="*/ 5482520 w 10505529"/>
              <a:gd name="connsiteY4759" fmla="*/ 6748595 h 7458372"/>
              <a:gd name="connsiteX4760" fmla="*/ 5491838 w 10505529"/>
              <a:gd name="connsiteY4760" fmla="*/ 6754985 h 7458372"/>
              <a:gd name="connsiteX4761" fmla="*/ 5497961 w 10505529"/>
              <a:gd name="connsiteY4761" fmla="*/ 6764303 h 7458372"/>
              <a:gd name="connsiteX4762" fmla="*/ 5500224 w 10505529"/>
              <a:gd name="connsiteY4762" fmla="*/ 6775751 h 7458372"/>
              <a:gd name="connsiteX4763" fmla="*/ 5497961 w 10505529"/>
              <a:gd name="connsiteY4763" fmla="*/ 6787466 h 7458372"/>
              <a:gd name="connsiteX4764" fmla="*/ 5491838 w 10505529"/>
              <a:gd name="connsiteY4764" fmla="*/ 6796917 h 7458372"/>
              <a:gd name="connsiteX4765" fmla="*/ 5482520 w 10505529"/>
              <a:gd name="connsiteY4765" fmla="*/ 6803174 h 7458372"/>
              <a:gd name="connsiteX4766" fmla="*/ 5470806 w 10505529"/>
              <a:gd name="connsiteY4766" fmla="*/ 6805437 h 7458372"/>
              <a:gd name="connsiteX4767" fmla="*/ 5448973 w 10505529"/>
              <a:gd name="connsiteY4767" fmla="*/ 6796917 h 7458372"/>
              <a:gd name="connsiteX4768" fmla="*/ 5440587 w 10505529"/>
              <a:gd name="connsiteY4768" fmla="*/ 6775751 h 7458372"/>
              <a:gd name="connsiteX4769" fmla="*/ 5448973 w 10505529"/>
              <a:gd name="connsiteY4769" fmla="*/ 6754719 h 7458372"/>
              <a:gd name="connsiteX4770" fmla="*/ 5470806 w 10505529"/>
              <a:gd name="connsiteY4770" fmla="*/ 6746199 h 7458372"/>
              <a:gd name="connsiteX4771" fmla="*/ 5253160 w 10505529"/>
              <a:gd name="connsiteY4771" fmla="*/ 6746199 h 7458372"/>
              <a:gd name="connsiteX4772" fmla="*/ 5264875 w 10505529"/>
              <a:gd name="connsiteY4772" fmla="*/ 6748595 h 7458372"/>
              <a:gd name="connsiteX4773" fmla="*/ 5274192 w 10505529"/>
              <a:gd name="connsiteY4773" fmla="*/ 6754985 h 7458372"/>
              <a:gd name="connsiteX4774" fmla="*/ 5280316 w 10505529"/>
              <a:gd name="connsiteY4774" fmla="*/ 6764303 h 7458372"/>
              <a:gd name="connsiteX4775" fmla="*/ 5282579 w 10505529"/>
              <a:gd name="connsiteY4775" fmla="*/ 6775751 h 7458372"/>
              <a:gd name="connsiteX4776" fmla="*/ 5280316 w 10505529"/>
              <a:gd name="connsiteY4776" fmla="*/ 6787466 h 7458372"/>
              <a:gd name="connsiteX4777" fmla="*/ 5274192 w 10505529"/>
              <a:gd name="connsiteY4777" fmla="*/ 6796917 h 7458372"/>
              <a:gd name="connsiteX4778" fmla="*/ 5264875 w 10505529"/>
              <a:gd name="connsiteY4778" fmla="*/ 6803174 h 7458372"/>
              <a:gd name="connsiteX4779" fmla="*/ 5253160 w 10505529"/>
              <a:gd name="connsiteY4779" fmla="*/ 6805437 h 7458372"/>
              <a:gd name="connsiteX4780" fmla="*/ 5231328 w 10505529"/>
              <a:gd name="connsiteY4780" fmla="*/ 6796917 h 7458372"/>
              <a:gd name="connsiteX4781" fmla="*/ 5222942 w 10505529"/>
              <a:gd name="connsiteY4781" fmla="*/ 6775751 h 7458372"/>
              <a:gd name="connsiteX4782" fmla="*/ 5231328 w 10505529"/>
              <a:gd name="connsiteY4782" fmla="*/ 6754719 h 7458372"/>
              <a:gd name="connsiteX4783" fmla="*/ 5253160 w 10505529"/>
              <a:gd name="connsiteY4783" fmla="*/ 6746199 h 7458372"/>
              <a:gd name="connsiteX4784" fmla="*/ 5035515 w 10505529"/>
              <a:gd name="connsiteY4784" fmla="*/ 6746199 h 7458372"/>
              <a:gd name="connsiteX4785" fmla="*/ 5047230 w 10505529"/>
              <a:gd name="connsiteY4785" fmla="*/ 6748595 h 7458372"/>
              <a:gd name="connsiteX4786" fmla="*/ 5056548 w 10505529"/>
              <a:gd name="connsiteY4786" fmla="*/ 6754985 h 7458372"/>
              <a:gd name="connsiteX4787" fmla="*/ 5062671 w 10505529"/>
              <a:gd name="connsiteY4787" fmla="*/ 6764303 h 7458372"/>
              <a:gd name="connsiteX4788" fmla="*/ 5064934 w 10505529"/>
              <a:gd name="connsiteY4788" fmla="*/ 6775751 h 7458372"/>
              <a:gd name="connsiteX4789" fmla="*/ 5062671 w 10505529"/>
              <a:gd name="connsiteY4789" fmla="*/ 6787466 h 7458372"/>
              <a:gd name="connsiteX4790" fmla="*/ 5056548 w 10505529"/>
              <a:gd name="connsiteY4790" fmla="*/ 6796917 h 7458372"/>
              <a:gd name="connsiteX4791" fmla="*/ 5047230 w 10505529"/>
              <a:gd name="connsiteY4791" fmla="*/ 6803174 h 7458372"/>
              <a:gd name="connsiteX4792" fmla="*/ 5035515 w 10505529"/>
              <a:gd name="connsiteY4792" fmla="*/ 6805437 h 7458372"/>
              <a:gd name="connsiteX4793" fmla="*/ 5013683 w 10505529"/>
              <a:gd name="connsiteY4793" fmla="*/ 6796917 h 7458372"/>
              <a:gd name="connsiteX4794" fmla="*/ 5005297 w 10505529"/>
              <a:gd name="connsiteY4794" fmla="*/ 6775751 h 7458372"/>
              <a:gd name="connsiteX4795" fmla="*/ 5013683 w 10505529"/>
              <a:gd name="connsiteY4795" fmla="*/ 6754719 h 7458372"/>
              <a:gd name="connsiteX4796" fmla="*/ 5035515 w 10505529"/>
              <a:gd name="connsiteY4796" fmla="*/ 6746199 h 7458372"/>
              <a:gd name="connsiteX4797" fmla="*/ 4817870 w 10505529"/>
              <a:gd name="connsiteY4797" fmla="*/ 6746199 h 7458372"/>
              <a:gd name="connsiteX4798" fmla="*/ 4829585 w 10505529"/>
              <a:gd name="connsiteY4798" fmla="*/ 6748595 h 7458372"/>
              <a:gd name="connsiteX4799" fmla="*/ 4838903 w 10505529"/>
              <a:gd name="connsiteY4799" fmla="*/ 6754985 h 7458372"/>
              <a:gd name="connsiteX4800" fmla="*/ 4845026 w 10505529"/>
              <a:gd name="connsiteY4800" fmla="*/ 6764303 h 7458372"/>
              <a:gd name="connsiteX4801" fmla="*/ 4847289 w 10505529"/>
              <a:gd name="connsiteY4801" fmla="*/ 6775751 h 7458372"/>
              <a:gd name="connsiteX4802" fmla="*/ 4845026 w 10505529"/>
              <a:gd name="connsiteY4802" fmla="*/ 6787466 h 7458372"/>
              <a:gd name="connsiteX4803" fmla="*/ 4838903 w 10505529"/>
              <a:gd name="connsiteY4803" fmla="*/ 6796917 h 7458372"/>
              <a:gd name="connsiteX4804" fmla="*/ 4829585 w 10505529"/>
              <a:gd name="connsiteY4804" fmla="*/ 6803174 h 7458372"/>
              <a:gd name="connsiteX4805" fmla="*/ 4817870 w 10505529"/>
              <a:gd name="connsiteY4805" fmla="*/ 6805437 h 7458372"/>
              <a:gd name="connsiteX4806" fmla="*/ 4796038 w 10505529"/>
              <a:gd name="connsiteY4806" fmla="*/ 6796917 h 7458372"/>
              <a:gd name="connsiteX4807" fmla="*/ 4787652 w 10505529"/>
              <a:gd name="connsiteY4807" fmla="*/ 6775751 h 7458372"/>
              <a:gd name="connsiteX4808" fmla="*/ 4796038 w 10505529"/>
              <a:gd name="connsiteY4808" fmla="*/ 6754719 h 7458372"/>
              <a:gd name="connsiteX4809" fmla="*/ 4817870 w 10505529"/>
              <a:gd name="connsiteY4809" fmla="*/ 6746199 h 7458372"/>
              <a:gd name="connsiteX4810" fmla="*/ 4600226 w 10505529"/>
              <a:gd name="connsiteY4810" fmla="*/ 6746199 h 7458372"/>
              <a:gd name="connsiteX4811" fmla="*/ 4612073 w 10505529"/>
              <a:gd name="connsiteY4811" fmla="*/ 6748595 h 7458372"/>
              <a:gd name="connsiteX4812" fmla="*/ 4621391 w 10505529"/>
              <a:gd name="connsiteY4812" fmla="*/ 6754985 h 7458372"/>
              <a:gd name="connsiteX4813" fmla="*/ 4627514 w 10505529"/>
              <a:gd name="connsiteY4813" fmla="*/ 6764303 h 7458372"/>
              <a:gd name="connsiteX4814" fmla="*/ 4629777 w 10505529"/>
              <a:gd name="connsiteY4814" fmla="*/ 6775751 h 7458372"/>
              <a:gd name="connsiteX4815" fmla="*/ 4627514 w 10505529"/>
              <a:gd name="connsiteY4815" fmla="*/ 6787466 h 7458372"/>
              <a:gd name="connsiteX4816" fmla="*/ 4621391 w 10505529"/>
              <a:gd name="connsiteY4816" fmla="*/ 6796917 h 7458372"/>
              <a:gd name="connsiteX4817" fmla="*/ 4612073 w 10505529"/>
              <a:gd name="connsiteY4817" fmla="*/ 6803174 h 7458372"/>
              <a:gd name="connsiteX4818" fmla="*/ 4600226 w 10505529"/>
              <a:gd name="connsiteY4818" fmla="*/ 6805437 h 7458372"/>
              <a:gd name="connsiteX4819" fmla="*/ 4578393 w 10505529"/>
              <a:gd name="connsiteY4819" fmla="*/ 6796917 h 7458372"/>
              <a:gd name="connsiteX4820" fmla="*/ 4570007 w 10505529"/>
              <a:gd name="connsiteY4820" fmla="*/ 6775751 h 7458372"/>
              <a:gd name="connsiteX4821" fmla="*/ 4578393 w 10505529"/>
              <a:gd name="connsiteY4821" fmla="*/ 6754719 h 7458372"/>
              <a:gd name="connsiteX4822" fmla="*/ 4600226 w 10505529"/>
              <a:gd name="connsiteY4822" fmla="*/ 6746199 h 7458372"/>
              <a:gd name="connsiteX4823" fmla="*/ 4382713 w 10505529"/>
              <a:gd name="connsiteY4823" fmla="*/ 6746199 h 7458372"/>
              <a:gd name="connsiteX4824" fmla="*/ 4394428 w 10505529"/>
              <a:gd name="connsiteY4824" fmla="*/ 6748595 h 7458372"/>
              <a:gd name="connsiteX4825" fmla="*/ 4403746 w 10505529"/>
              <a:gd name="connsiteY4825" fmla="*/ 6754985 h 7458372"/>
              <a:gd name="connsiteX4826" fmla="*/ 4409869 w 10505529"/>
              <a:gd name="connsiteY4826" fmla="*/ 6764303 h 7458372"/>
              <a:gd name="connsiteX4827" fmla="*/ 4412132 w 10505529"/>
              <a:gd name="connsiteY4827" fmla="*/ 6775751 h 7458372"/>
              <a:gd name="connsiteX4828" fmla="*/ 4409869 w 10505529"/>
              <a:gd name="connsiteY4828" fmla="*/ 6787466 h 7458372"/>
              <a:gd name="connsiteX4829" fmla="*/ 4403746 w 10505529"/>
              <a:gd name="connsiteY4829" fmla="*/ 6796917 h 7458372"/>
              <a:gd name="connsiteX4830" fmla="*/ 4394428 w 10505529"/>
              <a:gd name="connsiteY4830" fmla="*/ 6803174 h 7458372"/>
              <a:gd name="connsiteX4831" fmla="*/ 4382713 w 10505529"/>
              <a:gd name="connsiteY4831" fmla="*/ 6805437 h 7458372"/>
              <a:gd name="connsiteX4832" fmla="*/ 4360881 w 10505529"/>
              <a:gd name="connsiteY4832" fmla="*/ 6796917 h 7458372"/>
              <a:gd name="connsiteX4833" fmla="*/ 4352495 w 10505529"/>
              <a:gd name="connsiteY4833" fmla="*/ 6775751 h 7458372"/>
              <a:gd name="connsiteX4834" fmla="*/ 4360881 w 10505529"/>
              <a:gd name="connsiteY4834" fmla="*/ 6754719 h 7458372"/>
              <a:gd name="connsiteX4835" fmla="*/ 4382713 w 10505529"/>
              <a:gd name="connsiteY4835" fmla="*/ 6746199 h 7458372"/>
              <a:gd name="connsiteX4836" fmla="*/ 4165068 w 10505529"/>
              <a:gd name="connsiteY4836" fmla="*/ 6746199 h 7458372"/>
              <a:gd name="connsiteX4837" fmla="*/ 4176782 w 10505529"/>
              <a:gd name="connsiteY4837" fmla="*/ 6748595 h 7458372"/>
              <a:gd name="connsiteX4838" fmla="*/ 4186100 w 10505529"/>
              <a:gd name="connsiteY4838" fmla="*/ 6754985 h 7458372"/>
              <a:gd name="connsiteX4839" fmla="*/ 4192223 w 10505529"/>
              <a:gd name="connsiteY4839" fmla="*/ 6764303 h 7458372"/>
              <a:gd name="connsiteX4840" fmla="*/ 4194486 w 10505529"/>
              <a:gd name="connsiteY4840" fmla="*/ 6775751 h 7458372"/>
              <a:gd name="connsiteX4841" fmla="*/ 4192223 w 10505529"/>
              <a:gd name="connsiteY4841" fmla="*/ 6787466 h 7458372"/>
              <a:gd name="connsiteX4842" fmla="*/ 4186100 w 10505529"/>
              <a:gd name="connsiteY4842" fmla="*/ 6796917 h 7458372"/>
              <a:gd name="connsiteX4843" fmla="*/ 4176782 w 10505529"/>
              <a:gd name="connsiteY4843" fmla="*/ 6803174 h 7458372"/>
              <a:gd name="connsiteX4844" fmla="*/ 4165068 w 10505529"/>
              <a:gd name="connsiteY4844" fmla="*/ 6805437 h 7458372"/>
              <a:gd name="connsiteX4845" fmla="*/ 4143235 w 10505529"/>
              <a:gd name="connsiteY4845" fmla="*/ 6796917 h 7458372"/>
              <a:gd name="connsiteX4846" fmla="*/ 4134849 w 10505529"/>
              <a:gd name="connsiteY4846" fmla="*/ 6775751 h 7458372"/>
              <a:gd name="connsiteX4847" fmla="*/ 4143235 w 10505529"/>
              <a:gd name="connsiteY4847" fmla="*/ 6754719 h 7458372"/>
              <a:gd name="connsiteX4848" fmla="*/ 4165068 w 10505529"/>
              <a:gd name="connsiteY4848" fmla="*/ 6746199 h 7458372"/>
              <a:gd name="connsiteX4849" fmla="*/ 3947790 w 10505529"/>
              <a:gd name="connsiteY4849" fmla="*/ 6746199 h 7458372"/>
              <a:gd name="connsiteX4850" fmla="*/ 3959510 w 10505529"/>
              <a:gd name="connsiteY4850" fmla="*/ 6748595 h 7458372"/>
              <a:gd name="connsiteX4851" fmla="*/ 3968828 w 10505529"/>
              <a:gd name="connsiteY4851" fmla="*/ 6754985 h 7458372"/>
              <a:gd name="connsiteX4852" fmla="*/ 3974952 w 10505529"/>
              <a:gd name="connsiteY4852" fmla="*/ 6764303 h 7458372"/>
              <a:gd name="connsiteX4853" fmla="*/ 3977215 w 10505529"/>
              <a:gd name="connsiteY4853" fmla="*/ 6775751 h 7458372"/>
              <a:gd name="connsiteX4854" fmla="*/ 3974952 w 10505529"/>
              <a:gd name="connsiteY4854" fmla="*/ 6787466 h 7458372"/>
              <a:gd name="connsiteX4855" fmla="*/ 3968828 w 10505529"/>
              <a:gd name="connsiteY4855" fmla="*/ 6796917 h 7458372"/>
              <a:gd name="connsiteX4856" fmla="*/ 3959510 w 10505529"/>
              <a:gd name="connsiteY4856" fmla="*/ 6803174 h 7458372"/>
              <a:gd name="connsiteX4857" fmla="*/ 3947790 w 10505529"/>
              <a:gd name="connsiteY4857" fmla="*/ 6805437 h 7458372"/>
              <a:gd name="connsiteX4858" fmla="*/ 3925958 w 10505529"/>
              <a:gd name="connsiteY4858" fmla="*/ 6796917 h 7458372"/>
              <a:gd name="connsiteX4859" fmla="*/ 3917572 w 10505529"/>
              <a:gd name="connsiteY4859" fmla="*/ 6775751 h 7458372"/>
              <a:gd name="connsiteX4860" fmla="*/ 3925958 w 10505529"/>
              <a:gd name="connsiteY4860" fmla="*/ 6754719 h 7458372"/>
              <a:gd name="connsiteX4861" fmla="*/ 3947790 w 10505529"/>
              <a:gd name="connsiteY4861" fmla="*/ 6746199 h 7458372"/>
              <a:gd name="connsiteX4862" fmla="*/ 3730129 w 10505529"/>
              <a:gd name="connsiteY4862" fmla="*/ 6746199 h 7458372"/>
              <a:gd name="connsiteX4863" fmla="*/ 3741845 w 10505529"/>
              <a:gd name="connsiteY4863" fmla="*/ 6748595 h 7458372"/>
              <a:gd name="connsiteX4864" fmla="*/ 3751164 w 10505529"/>
              <a:gd name="connsiteY4864" fmla="*/ 6754985 h 7458372"/>
              <a:gd name="connsiteX4865" fmla="*/ 3757286 w 10505529"/>
              <a:gd name="connsiteY4865" fmla="*/ 6764303 h 7458372"/>
              <a:gd name="connsiteX4866" fmla="*/ 3759549 w 10505529"/>
              <a:gd name="connsiteY4866" fmla="*/ 6775751 h 7458372"/>
              <a:gd name="connsiteX4867" fmla="*/ 3757286 w 10505529"/>
              <a:gd name="connsiteY4867" fmla="*/ 6787466 h 7458372"/>
              <a:gd name="connsiteX4868" fmla="*/ 3751164 w 10505529"/>
              <a:gd name="connsiteY4868" fmla="*/ 6796917 h 7458372"/>
              <a:gd name="connsiteX4869" fmla="*/ 3741845 w 10505529"/>
              <a:gd name="connsiteY4869" fmla="*/ 6803174 h 7458372"/>
              <a:gd name="connsiteX4870" fmla="*/ 3730129 w 10505529"/>
              <a:gd name="connsiteY4870" fmla="*/ 6805437 h 7458372"/>
              <a:gd name="connsiteX4871" fmla="*/ 3708287 w 10505529"/>
              <a:gd name="connsiteY4871" fmla="*/ 6796917 h 7458372"/>
              <a:gd name="connsiteX4872" fmla="*/ 3699901 w 10505529"/>
              <a:gd name="connsiteY4872" fmla="*/ 6775751 h 7458372"/>
              <a:gd name="connsiteX4873" fmla="*/ 3708287 w 10505529"/>
              <a:gd name="connsiteY4873" fmla="*/ 6754719 h 7458372"/>
              <a:gd name="connsiteX4874" fmla="*/ 3730129 w 10505529"/>
              <a:gd name="connsiteY4874" fmla="*/ 6746199 h 7458372"/>
              <a:gd name="connsiteX4875" fmla="*/ 3512465 w 10505529"/>
              <a:gd name="connsiteY4875" fmla="*/ 6746199 h 7458372"/>
              <a:gd name="connsiteX4876" fmla="*/ 3524181 w 10505529"/>
              <a:gd name="connsiteY4876" fmla="*/ 6748595 h 7458372"/>
              <a:gd name="connsiteX4877" fmla="*/ 3533499 w 10505529"/>
              <a:gd name="connsiteY4877" fmla="*/ 6754985 h 7458372"/>
              <a:gd name="connsiteX4878" fmla="*/ 3539622 w 10505529"/>
              <a:gd name="connsiteY4878" fmla="*/ 6764303 h 7458372"/>
              <a:gd name="connsiteX4879" fmla="*/ 3541885 w 10505529"/>
              <a:gd name="connsiteY4879" fmla="*/ 6775751 h 7458372"/>
              <a:gd name="connsiteX4880" fmla="*/ 3539622 w 10505529"/>
              <a:gd name="connsiteY4880" fmla="*/ 6787466 h 7458372"/>
              <a:gd name="connsiteX4881" fmla="*/ 3533499 w 10505529"/>
              <a:gd name="connsiteY4881" fmla="*/ 6796917 h 7458372"/>
              <a:gd name="connsiteX4882" fmla="*/ 3524181 w 10505529"/>
              <a:gd name="connsiteY4882" fmla="*/ 6803174 h 7458372"/>
              <a:gd name="connsiteX4883" fmla="*/ 3512465 w 10505529"/>
              <a:gd name="connsiteY4883" fmla="*/ 6805437 h 7458372"/>
              <a:gd name="connsiteX4884" fmla="*/ 3490627 w 10505529"/>
              <a:gd name="connsiteY4884" fmla="*/ 6796917 h 7458372"/>
              <a:gd name="connsiteX4885" fmla="*/ 3482240 w 10505529"/>
              <a:gd name="connsiteY4885" fmla="*/ 6775751 h 7458372"/>
              <a:gd name="connsiteX4886" fmla="*/ 3490627 w 10505529"/>
              <a:gd name="connsiteY4886" fmla="*/ 6754719 h 7458372"/>
              <a:gd name="connsiteX4887" fmla="*/ 3512465 w 10505529"/>
              <a:gd name="connsiteY4887" fmla="*/ 6746199 h 7458372"/>
              <a:gd name="connsiteX4888" fmla="*/ 3294933 w 10505529"/>
              <a:gd name="connsiteY4888" fmla="*/ 6746199 h 7458372"/>
              <a:gd name="connsiteX4889" fmla="*/ 3306650 w 10505529"/>
              <a:gd name="connsiteY4889" fmla="*/ 6748595 h 7458372"/>
              <a:gd name="connsiteX4890" fmla="*/ 3315968 w 10505529"/>
              <a:gd name="connsiteY4890" fmla="*/ 6754985 h 7458372"/>
              <a:gd name="connsiteX4891" fmla="*/ 3322091 w 10505529"/>
              <a:gd name="connsiteY4891" fmla="*/ 6764303 h 7458372"/>
              <a:gd name="connsiteX4892" fmla="*/ 3324354 w 10505529"/>
              <a:gd name="connsiteY4892" fmla="*/ 6775751 h 7458372"/>
              <a:gd name="connsiteX4893" fmla="*/ 3322091 w 10505529"/>
              <a:gd name="connsiteY4893" fmla="*/ 6787466 h 7458372"/>
              <a:gd name="connsiteX4894" fmla="*/ 3315968 w 10505529"/>
              <a:gd name="connsiteY4894" fmla="*/ 6796917 h 7458372"/>
              <a:gd name="connsiteX4895" fmla="*/ 3306650 w 10505529"/>
              <a:gd name="connsiteY4895" fmla="*/ 6803174 h 7458372"/>
              <a:gd name="connsiteX4896" fmla="*/ 3294933 w 10505529"/>
              <a:gd name="connsiteY4896" fmla="*/ 6805437 h 7458372"/>
              <a:gd name="connsiteX4897" fmla="*/ 3273095 w 10505529"/>
              <a:gd name="connsiteY4897" fmla="*/ 6796917 h 7458372"/>
              <a:gd name="connsiteX4898" fmla="*/ 3264706 w 10505529"/>
              <a:gd name="connsiteY4898" fmla="*/ 6775751 h 7458372"/>
              <a:gd name="connsiteX4899" fmla="*/ 3273095 w 10505529"/>
              <a:gd name="connsiteY4899" fmla="*/ 6754719 h 7458372"/>
              <a:gd name="connsiteX4900" fmla="*/ 3294933 w 10505529"/>
              <a:gd name="connsiteY4900" fmla="*/ 6746199 h 7458372"/>
              <a:gd name="connsiteX4901" fmla="*/ 3077269 w 10505529"/>
              <a:gd name="connsiteY4901" fmla="*/ 6746199 h 7458372"/>
              <a:gd name="connsiteX4902" fmla="*/ 3088985 w 10505529"/>
              <a:gd name="connsiteY4902" fmla="*/ 6748595 h 7458372"/>
              <a:gd name="connsiteX4903" fmla="*/ 3098303 w 10505529"/>
              <a:gd name="connsiteY4903" fmla="*/ 6754985 h 7458372"/>
              <a:gd name="connsiteX4904" fmla="*/ 3104426 w 10505529"/>
              <a:gd name="connsiteY4904" fmla="*/ 6764303 h 7458372"/>
              <a:gd name="connsiteX4905" fmla="*/ 3106689 w 10505529"/>
              <a:gd name="connsiteY4905" fmla="*/ 6775751 h 7458372"/>
              <a:gd name="connsiteX4906" fmla="*/ 3104426 w 10505529"/>
              <a:gd name="connsiteY4906" fmla="*/ 6787466 h 7458372"/>
              <a:gd name="connsiteX4907" fmla="*/ 3098303 w 10505529"/>
              <a:gd name="connsiteY4907" fmla="*/ 6796917 h 7458372"/>
              <a:gd name="connsiteX4908" fmla="*/ 3088985 w 10505529"/>
              <a:gd name="connsiteY4908" fmla="*/ 6803174 h 7458372"/>
              <a:gd name="connsiteX4909" fmla="*/ 3077269 w 10505529"/>
              <a:gd name="connsiteY4909" fmla="*/ 6805437 h 7458372"/>
              <a:gd name="connsiteX4910" fmla="*/ 3055430 w 10505529"/>
              <a:gd name="connsiteY4910" fmla="*/ 6796917 h 7458372"/>
              <a:gd name="connsiteX4911" fmla="*/ 3047043 w 10505529"/>
              <a:gd name="connsiteY4911" fmla="*/ 6775751 h 7458372"/>
              <a:gd name="connsiteX4912" fmla="*/ 3055430 w 10505529"/>
              <a:gd name="connsiteY4912" fmla="*/ 6754719 h 7458372"/>
              <a:gd name="connsiteX4913" fmla="*/ 3077269 w 10505529"/>
              <a:gd name="connsiteY4913" fmla="*/ 6746199 h 7458372"/>
              <a:gd name="connsiteX4914" fmla="*/ 2859605 w 10505529"/>
              <a:gd name="connsiteY4914" fmla="*/ 6746199 h 7458372"/>
              <a:gd name="connsiteX4915" fmla="*/ 2871454 w 10505529"/>
              <a:gd name="connsiteY4915" fmla="*/ 6748595 h 7458372"/>
              <a:gd name="connsiteX4916" fmla="*/ 2880772 w 10505529"/>
              <a:gd name="connsiteY4916" fmla="*/ 6754985 h 7458372"/>
              <a:gd name="connsiteX4917" fmla="*/ 2886895 w 10505529"/>
              <a:gd name="connsiteY4917" fmla="*/ 6764303 h 7458372"/>
              <a:gd name="connsiteX4918" fmla="*/ 2889158 w 10505529"/>
              <a:gd name="connsiteY4918" fmla="*/ 6775751 h 7458372"/>
              <a:gd name="connsiteX4919" fmla="*/ 2886895 w 10505529"/>
              <a:gd name="connsiteY4919" fmla="*/ 6787466 h 7458372"/>
              <a:gd name="connsiteX4920" fmla="*/ 2880772 w 10505529"/>
              <a:gd name="connsiteY4920" fmla="*/ 6796917 h 7458372"/>
              <a:gd name="connsiteX4921" fmla="*/ 2871454 w 10505529"/>
              <a:gd name="connsiteY4921" fmla="*/ 6803174 h 7458372"/>
              <a:gd name="connsiteX4922" fmla="*/ 2859605 w 10505529"/>
              <a:gd name="connsiteY4922" fmla="*/ 6805437 h 7458372"/>
              <a:gd name="connsiteX4923" fmla="*/ 2837765 w 10505529"/>
              <a:gd name="connsiteY4923" fmla="*/ 6796917 h 7458372"/>
              <a:gd name="connsiteX4924" fmla="*/ 2829378 w 10505529"/>
              <a:gd name="connsiteY4924" fmla="*/ 6775751 h 7458372"/>
              <a:gd name="connsiteX4925" fmla="*/ 2837765 w 10505529"/>
              <a:gd name="connsiteY4925" fmla="*/ 6754719 h 7458372"/>
              <a:gd name="connsiteX4926" fmla="*/ 2859605 w 10505529"/>
              <a:gd name="connsiteY4926" fmla="*/ 6746199 h 7458372"/>
              <a:gd name="connsiteX4927" fmla="*/ 2641941 w 10505529"/>
              <a:gd name="connsiteY4927" fmla="*/ 6746199 h 7458372"/>
              <a:gd name="connsiteX4928" fmla="*/ 2653656 w 10505529"/>
              <a:gd name="connsiteY4928" fmla="*/ 6748595 h 7458372"/>
              <a:gd name="connsiteX4929" fmla="*/ 2662974 w 10505529"/>
              <a:gd name="connsiteY4929" fmla="*/ 6754985 h 7458372"/>
              <a:gd name="connsiteX4930" fmla="*/ 2669097 w 10505529"/>
              <a:gd name="connsiteY4930" fmla="*/ 6764303 h 7458372"/>
              <a:gd name="connsiteX4931" fmla="*/ 2671360 w 10505529"/>
              <a:gd name="connsiteY4931" fmla="*/ 6775751 h 7458372"/>
              <a:gd name="connsiteX4932" fmla="*/ 2669097 w 10505529"/>
              <a:gd name="connsiteY4932" fmla="*/ 6787466 h 7458372"/>
              <a:gd name="connsiteX4933" fmla="*/ 2662974 w 10505529"/>
              <a:gd name="connsiteY4933" fmla="*/ 6796917 h 7458372"/>
              <a:gd name="connsiteX4934" fmla="*/ 2653656 w 10505529"/>
              <a:gd name="connsiteY4934" fmla="*/ 6803174 h 7458372"/>
              <a:gd name="connsiteX4935" fmla="*/ 2641941 w 10505529"/>
              <a:gd name="connsiteY4935" fmla="*/ 6805437 h 7458372"/>
              <a:gd name="connsiteX4936" fmla="*/ 2620106 w 10505529"/>
              <a:gd name="connsiteY4936" fmla="*/ 6796917 h 7458372"/>
              <a:gd name="connsiteX4937" fmla="*/ 2611716 w 10505529"/>
              <a:gd name="connsiteY4937" fmla="*/ 6775751 h 7458372"/>
              <a:gd name="connsiteX4938" fmla="*/ 2620106 w 10505529"/>
              <a:gd name="connsiteY4938" fmla="*/ 6754719 h 7458372"/>
              <a:gd name="connsiteX4939" fmla="*/ 2641941 w 10505529"/>
              <a:gd name="connsiteY4939" fmla="*/ 6746199 h 7458372"/>
              <a:gd name="connsiteX4940" fmla="*/ 2424276 w 10505529"/>
              <a:gd name="connsiteY4940" fmla="*/ 6746199 h 7458372"/>
              <a:gd name="connsiteX4941" fmla="*/ 2435991 w 10505529"/>
              <a:gd name="connsiteY4941" fmla="*/ 6748595 h 7458372"/>
              <a:gd name="connsiteX4942" fmla="*/ 2445309 w 10505529"/>
              <a:gd name="connsiteY4942" fmla="*/ 6754985 h 7458372"/>
              <a:gd name="connsiteX4943" fmla="*/ 2451433 w 10505529"/>
              <a:gd name="connsiteY4943" fmla="*/ 6764303 h 7458372"/>
              <a:gd name="connsiteX4944" fmla="*/ 2453696 w 10505529"/>
              <a:gd name="connsiteY4944" fmla="*/ 6775751 h 7458372"/>
              <a:gd name="connsiteX4945" fmla="*/ 2451433 w 10505529"/>
              <a:gd name="connsiteY4945" fmla="*/ 6787466 h 7458372"/>
              <a:gd name="connsiteX4946" fmla="*/ 2445309 w 10505529"/>
              <a:gd name="connsiteY4946" fmla="*/ 6796917 h 7458372"/>
              <a:gd name="connsiteX4947" fmla="*/ 2435991 w 10505529"/>
              <a:gd name="connsiteY4947" fmla="*/ 6803174 h 7458372"/>
              <a:gd name="connsiteX4948" fmla="*/ 2424276 w 10505529"/>
              <a:gd name="connsiteY4948" fmla="*/ 6805437 h 7458372"/>
              <a:gd name="connsiteX4949" fmla="*/ 2402444 w 10505529"/>
              <a:gd name="connsiteY4949" fmla="*/ 6796917 h 7458372"/>
              <a:gd name="connsiteX4950" fmla="*/ 2394054 w 10505529"/>
              <a:gd name="connsiteY4950" fmla="*/ 6775751 h 7458372"/>
              <a:gd name="connsiteX4951" fmla="*/ 2402444 w 10505529"/>
              <a:gd name="connsiteY4951" fmla="*/ 6754719 h 7458372"/>
              <a:gd name="connsiteX4952" fmla="*/ 2424276 w 10505529"/>
              <a:gd name="connsiteY4952" fmla="*/ 6746199 h 7458372"/>
              <a:gd name="connsiteX4953" fmla="*/ 2206612 w 10505529"/>
              <a:gd name="connsiteY4953" fmla="*/ 6746199 h 7458372"/>
              <a:gd name="connsiteX4954" fmla="*/ 2218327 w 10505529"/>
              <a:gd name="connsiteY4954" fmla="*/ 6748595 h 7458372"/>
              <a:gd name="connsiteX4955" fmla="*/ 2227645 w 10505529"/>
              <a:gd name="connsiteY4955" fmla="*/ 6754985 h 7458372"/>
              <a:gd name="connsiteX4956" fmla="*/ 2233768 w 10505529"/>
              <a:gd name="connsiteY4956" fmla="*/ 6764303 h 7458372"/>
              <a:gd name="connsiteX4957" fmla="*/ 2236031 w 10505529"/>
              <a:gd name="connsiteY4957" fmla="*/ 6775751 h 7458372"/>
              <a:gd name="connsiteX4958" fmla="*/ 2233768 w 10505529"/>
              <a:gd name="connsiteY4958" fmla="*/ 6787466 h 7458372"/>
              <a:gd name="connsiteX4959" fmla="*/ 2227645 w 10505529"/>
              <a:gd name="connsiteY4959" fmla="*/ 6796917 h 7458372"/>
              <a:gd name="connsiteX4960" fmla="*/ 2218327 w 10505529"/>
              <a:gd name="connsiteY4960" fmla="*/ 6803174 h 7458372"/>
              <a:gd name="connsiteX4961" fmla="*/ 2206612 w 10505529"/>
              <a:gd name="connsiteY4961" fmla="*/ 6805437 h 7458372"/>
              <a:gd name="connsiteX4962" fmla="*/ 2184779 w 10505529"/>
              <a:gd name="connsiteY4962" fmla="*/ 6796917 h 7458372"/>
              <a:gd name="connsiteX4963" fmla="*/ 2176390 w 10505529"/>
              <a:gd name="connsiteY4963" fmla="*/ 6775751 h 7458372"/>
              <a:gd name="connsiteX4964" fmla="*/ 2184779 w 10505529"/>
              <a:gd name="connsiteY4964" fmla="*/ 6754719 h 7458372"/>
              <a:gd name="connsiteX4965" fmla="*/ 2206612 w 10505529"/>
              <a:gd name="connsiteY4965" fmla="*/ 6746199 h 7458372"/>
              <a:gd name="connsiteX4966" fmla="*/ 1989080 w 10505529"/>
              <a:gd name="connsiteY4966" fmla="*/ 6746199 h 7458372"/>
              <a:gd name="connsiteX4967" fmla="*/ 2000795 w 10505529"/>
              <a:gd name="connsiteY4967" fmla="*/ 6748595 h 7458372"/>
              <a:gd name="connsiteX4968" fmla="*/ 2010113 w 10505529"/>
              <a:gd name="connsiteY4968" fmla="*/ 6754985 h 7458372"/>
              <a:gd name="connsiteX4969" fmla="*/ 2016237 w 10505529"/>
              <a:gd name="connsiteY4969" fmla="*/ 6764303 h 7458372"/>
              <a:gd name="connsiteX4970" fmla="*/ 2018500 w 10505529"/>
              <a:gd name="connsiteY4970" fmla="*/ 6775751 h 7458372"/>
              <a:gd name="connsiteX4971" fmla="*/ 2016237 w 10505529"/>
              <a:gd name="connsiteY4971" fmla="*/ 6787466 h 7458372"/>
              <a:gd name="connsiteX4972" fmla="*/ 2010113 w 10505529"/>
              <a:gd name="connsiteY4972" fmla="*/ 6796917 h 7458372"/>
              <a:gd name="connsiteX4973" fmla="*/ 2000795 w 10505529"/>
              <a:gd name="connsiteY4973" fmla="*/ 6803174 h 7458372"/>
              <a:gd name="connsiteX4974" fmla="*/ 1989080 w 10505529"/>
              <a:gd name="connsiteY4974" fmla="*/ 6805437 h 7458372"/>
              <a:gd name="connsiteX4975" fmla="*/ 1967249 w 10505529"/>
              <a:gd name="connsiteY4975" fmla="*/ 6796917 h 7458372"/>
              <a:gd name="connsiteX4976" fmla="*/ 1958863 w 10505529"/>
              <a:gd name="connsiteY4976" fmla="*/ 6775751 h 7458372"/>
              <a:gd name="connsiteX4977" fmla="*/ 1967249 w 10505529"/>
              <a:gd name="connsiteY4977" fmla="*/ 6754719 h 7458372"/>
              <a:gd name="connsiteX4978" fmla="*/ 1989080 w 10505529"/>
              <a:gd name="connsiteY4978" fmla="*/ 6746199 h 7458372"/>
              <a:gd name="connsiteX4979" fmla="*/ 1771449 w 10505529"/>
              <a:gd name="connsiteY4979" fmla="*/ 6746199 h 7458372"/>
              <a:gd name="connsiteX4980" fmla="*/ 1783162 w 10505529"/>
              <a:gd name="connsiteY4980" fmla="*/ 6748595 h 7458372"/>
              <a:gd name="connsiteX4981" fmla="*/ 1792480 w 10505529"/>
              <a:gd name="connsiteY4981" fmla="*/ 6754985 h 7458372"/>
              <a:gd name="connsiteX4982" fmla="*/ 1798603 w 10505529"/>
              <a:gd name="connsiteY4982" fmla="*/ 6764303 h 7458372"/>
              <a:gd name="connsiteX4983" fmla="*/ 1800865 w 10505529"/>
              <a:gd name="connsiteY4983" fmla="*/ 6775751 h 7458372"/>
              <a:gd name="connsiteX4984" fmla="*/ 1798603 w 10505529"/>
              <a:gd name="connsiteY4984" fmla="*/ 6787466 h 7458372"/>
              <a:gd name="connsiteX4985" fmla="*/ 1792480 w 10505529"/>
              <a:gd name="connsiteY4985" fmla="*/ 6796917 h 7458372"/>
              <a:gd name="connsiteX4986" fmla="*/ 1783162 w 10505529"/>
              <a:gd name="connsiteY4986" fmla="*/ 6803174 h 7458372"/>
              <a:gd name="connsiteX4987" fmla="*/ 1771449 w 10505529"/>
              <a:gd name="connsiteY4987" fmla="*/ 6805437 h 7458372"/>
              <a:gd name="connsiteX4988" fmla="*/ 1749620 w 10505529"/>
              <a:gd name="connsiteY4988" fmla="*/ 6796917 h 7458372"/>
              <a:gd name="connsiteX4989" fmla="*/ 1741237 w 10505529"/>
              <a:gd name="connsiteY4989" fmla="*/ 6775751 h 7458372"/>
              <a:gd name="connsiteX4990" fmla="*/ 1749620 w 10505529"/>
              <a:gd name="connsiteY4990" fmla="*/ 6754719 h 7458372"/>
              <a:gd name="connsiteX4991" fmla="*/ 1771449 w 10505529"/>
              <a:gd name="connsiteY4991" fmla="*/ 6746199 h 7458372"/>
              <a:gd name="connsiteX4992" fmla="*/ 1553813 w 10505529"/>
              <a:gd name="connsiteY4992" fmla="*/ 6746199 h 7458372"/>
              <a:gd name="connsiteX4993" fmla="*/ 1565528 w 10505529"/>
              <a:gd name="connsiteY4993" fmla="*/ 6748595 h 7458372"/>
              <a:gd name="connsiteX4994" fmla="*/ 1574847 w 10505529"/>
              <a:gd name="connsiteY4994" fmla="*/ 6754985 h 7458372"/>
              <a:gd name="connsiteX4995" fmla="*/ 1580970 w 10505529"/>
              <a:gd name="connsiteY4995" fmla="*/ 6764303 h 7458372"/>
              <a:gd name="connsiteX4996" fmla="*/ 1583233 w 10505529"/>
              <a:gd name="connsiteY4996" fmla="*/ 6775751 h 7458372"/>
              <a:gd name="connsiteX4997" fmla="*/ 1580970 w 10505529"/>
              <a:gd name="connsiteY4997" fmla="*/ 6787466 h 7458372"/>
              <a:gd name="connsiteX4998" fmla="*/ 1574847 w 10505529"/>
              <a:gd name="connsiteY4998" fmla="*/ 6796917 h 7458372"/>
              <a:gd name="connsiteX4999" fmla="*/ 1565528 w 10505529"/>
              <a:gd name="connsiteY4999" fmla="*/ 6803174 h 7458372"/>
              <a:gd name="connsiteX5000" fmla="*/ 1553813 w 10505529"/>
              <a:gd name="connsiteY5000" fmla="*/ 6805437 h 7458372"/>
              <a:gd name="connsiteX5001" fmla="*/ 1531985 w 10505529"/>
              <a:gd name="connsiteY5001" fmla="*/ 6796917 h 7458372"/>
              <a:gd name="connsiteX5002" fmla="*/ 1523599 w 10505529"/>
              <a:gd name="connsiteY5002" fmla="*/ 6775751 h 7458372"/>
              <a:gd name="connsiteX5003" fmla="*/ 1531985 w 10505529"/>
              <a:gd name="connsiteY5003" fmla="*/ 6754719 h 7458372"/>
              <a:gd name="connsiteX5004" fmla="*/ 1553813 w 10505529"/>
              <a:gd name="connsiteY5004" fmla="*/ 6746199 h 7458372"/>
              <a:gd name="connsiteX5005" fmla="*/ 1336171 w 10505529"/>
              <a:gd name="connsiteY5005" fmla="*/ 6746199 h 7458372"/>
              <a:gd name="connsiteX5006" fmla="*/ 1347886 w 10505529"/>
              <a:gd name="connsiteY5006" fmla="*/ 6748595 h 7458372"/>
              <a:gd name="connsiteX5007" fmla="*/ 1357204 w 10505529"/>
              <a:gd name="connsiteY5007" fmla="*/ 6754985 h 7458372"/>
              <a:gd name="connsiteX5008" fmla="*/ 1363327 w 10505529"/>
              <a:gd name="connsiteY5008" fmla="*/ 6764303 h 7458372"/>
              <a:gd name="connsiteX5009" fmla="*/ 1365589 w 10505529"/>
              <a:gd name="connsiteY5009" fmla="*/ 6775751 h 7458372"/>
              <a:gd name="connsiteX5010" fmla="*/ 1363327 w 10505529"/>
              <a:gd name="connsiteY5010" fmla="*/ 6787466 h 7458372"/>
              <a:gd name="connsiteX5011" fmla="*/ 1357204 w 10505529"/>
              <a:gd name="connsiteY5011" fmla="*/ 6796917 h 7458372"/>
              <a:gd name="connsiteX5012" fmla="*/ 1347886 w 10505529"/>
              <a:gd name="connsiteY5012" fmla="*/ 6803174 h 7458372"/>
              <a:gd name="connsiteX5013" fmla="*/ 1336171 w 10505529"/>
              <a:gd name="connsiteY5013" fmla="*/ 6805437 h 7458372"/>
              <a:gd name="connsiteX5014" fmla="*/ 1314337 w 10505529"/>
              <a:gd name="connsiteY5014" fmla="*/ 6796917 h 7458372"/>
              <a:gd name="connsiteX5015" fmla="*/ 1305952 w 10505529"/>
              <a:gd name="connsiteY5015" fmla="*/ 6775751 h 7458372"/>
              <a:gd name="connsiteX5016" fmla="*/ 1314337 w 10505529"/>
              <a:gd name="connsiteY5016" fmla="*/ 6754719 h 7458372"/>
              <a:gd name="connsiteX5017" fmla="*/ 1336171 w 10505529"/>
              <a:gd name="connsiteY5017" fmla="*/ 6746199 h 7458372"/>
              <a:gd name="connsiteX5018" fmla="*/ 1118525 w 10505529"/>
              <a:gd name="connsiteY5018" fmla="*/ 6746199 h 7458372"/>
              <a:gd name="connsiteX5019" fmla="*/ 1130244 w 10505529"/>
              <a:gd name="connsiteY5019" fmla="*/ 6748595 h 7458372"/>
              <a:gd name="connsiteX5020" fmla="*/ 1139558 w 10505529"/>
              <a:gd name="connsiteY5020" fmla="*/ 6754985 h 7458372"/>
              <a:gd name="connsiteX5021" fmla="*/ 1145677 w 10505529"/>
              <a:gd name="connsiteY5021" fmla="*/ 6764303 h 7458372"/>
              <a:gd name="connsiteX5022" fmla="*/ 1147940 w 10505529"/>
              <a:gd name="connsiteY5022" fmla="*/ 6775751 h 7458372"/>
              <a:gd name="connsiteX5023" fmla="*/ 1145677 w 10505529"/>
              <a:gd name="connsiteY5023" fmla="*/ 6787466 h 7458372"/>
              <a:gd name="connsiteX5024" fmla="*/ 1139558 w 10505529"/>
              <a:gd name="connsiteY5024" fmla="*/ 6796917 h 7458372"/>
              <a:gd name="connsiteX5025" fmla="*/ 1130244 w 10505529"/>
              <a:gd name="connsiteY5025" fmla="*/ 6803174 h 7458372"/>
              <a:gd name="connsiteX5026" fmla="*/ 1118525 w 10505529"/>
              <a:gd name="connsiteY5026" fmla="*/ 6805437 h 7458372"/>
              <a:gd name="connsiteX5027" fmla="*/ 1096689 w 10505529"/>
              <a:gd name="connsiteY5027" fmla="*/ 6796917 h 7458372"/>
              <a:gd name="connsiteX5028" fmla="*/ 1088305 w 10505529"/>
              <a:gd name="connsiteY5028" fmla="*/ 6775751 h 7458372"/>
              <a:gd name="connsiteX5029" fmla="*/ 1096689 w 10505529"/>
              <a:gd name="connsiteY5029" fmla="*/ 6754719 h 7458372"/>
              <a:gd name="connsiteX5030" fmla="*/ 1118525 w 10505529"/>
              <a:gd name="connsiteY5030" fmla="*/ 6746199 h 7458372"/>
              <a:gd name="connsiteX5031" fmla="*/ 901012 w 10505529"/>
              <a:gd name="connsiteY5031" fmla="*/ 6746199 h 7458372"/>
              <a:gd name="connsiteX5032" fmla="*/ 912727 w 10505529"/>
              <a:gd name="connsiteY5032" fmla="*/ 6748595 h 7458372"/>
              <a:gd name="connsiteX5033" fmla="*/ 922045 w 10505529"/>
              <a:gd name="connsiteY5033" fmla="*/ 6754985 h 7458372"/>
              <a:gd name="connsiteX5034" fmla="*/ 928167 w 10505529"/>
              <a:gd name="connsiteY5034" fmla="*/ 6764303 h 7458372"/>
              <a:gd name="connsiteX5035" fmla="*/ 930430 w 10505529"/>
              <a:gd name="connsiteY5035" fmla="*/ 6775751 h 7458372"/>
              <a:gd name="connsiteX5036" fmla="*/ 928167 w 10505529"/>
              <a:gd name="connsiteY5036" fmla="*/ 6787466 h 7458372"/>
              <a:gd name="connsiteX5037" fmla="*/ 922045 w 10505529"/>
              <a:gd name="connsiteY5037" fmla="*/ 6796917 h 7458372"/>
              <a:gd name="connsiteX5038" fmla="*/ 912727 w 10505529"/>
              <a:gd name="connsiteY5038" fmla="*/ 6803174 h 7458372"/>
              <a:gd name="connsiteX5039" fmla="*/ 901012 w 10505529"/>
              <a:gd name="connsiteY5039" fmla="*/ 6805437 h 7458372"/>
              <a:gd name="connsiteX5040" fmla="*/ 879181 w 10505529"/>
              <a:gd name="connsiteY5040" fmla="*/ 6796917 h 7458372"/>
              <a:gd name="connsiteX5041" fmla="*/ 870796 w 10505529"/>
              <a:gd name="connsiteY5041" fmla="*/ 6775751 h 7458372"/>
              <a:gd name="connsiteX5042" fmla="*/ 879181 w 10505529"/>
              <a:gd name="connsiteY5042" fmla="*/ 6754719 h 7458372"/>
              <a:gd name="connsiteX5043" fmla="*/ 901012 w 10505529"/>
              <a:gd name="connsiteY5043" fmla="*/ 6746199 h 7458372"/>
              <a:gd name="connsiteX5044" fmla="*/ 683372 w 10505529"/>
              <a:gd name="connsiteY5044" fmla="*/ 6746199 h 7458372"/>
              <a:gd name="connsiteX5045" fmla="*/ 695088 w 10505529"/>
              <a:gd name="connsiteY5045" fmla="*/ 6748595 h 7458372"/>
              <a:gd name="connsiteX5046" fmla="*/ 704404 w 10505529"/>
              <a:gd name="connsiteY5046" fmla="*/ 6754985 h 7458372"/>
              <a:gd name="connsiteX5047" fmla="*/ 710527 w 10505529"/>
              <a:gd name="connsiteY5047" fmla="*/ 6764303 h 7458372"/>
              <a:gd name="connsiteX5048" fmla="*/ 712791 w 10505529"/>
              <a:gd name="connsiteY5048" fmla="*/ 6775751 h 7458372"/>
              <a:gd name="connsiteX5049" fmla="*/ 710527 w 10505529"/>
              <a:gd name="connsiteY5049" fmla="*/ 6787466 h 7458372"/>
              <a:gd name="connsiteX5050" fmla="*/ 704404 w 10505529"/>
              <a:gd name="connsiteY5050" fmla="*/ 6796917 h 7458372"/>
              <a:gd name="connsiteX5051" fmla="*/ 695088 w 10505529"/>
              <a:gd name="connsiteY5051" fmla="*/ 6803174 h 7458372"/>
              <a:gd name="connsiteX5052" fmla="*/ 683372 w 10505529"/>
              <a:gd name="connsiteY5052" fmla="*/ 6805437 h 7458372"/>
              <a:gd name="connsiteX5053" fmla="*/ 661541 w 10505529"/>
              <a:gd name="connsiteY5053" fmla="*/ 6796917 h 7458372"/>
              <a:gd name="connsiteX5054" fmla="*/ 653155 w 10505529"/>
              <a:gd name="connsiteY5054" fmla="*/ 6775751 h 7458372"/>
              <a:gd name="connsiteX5055" fmla="*/ 661541 w 10505529"/>
              <a:gd name="connsiteY5055" fmla="*/ 6754719 h 7458372"/>
              <a:gd name="connsiteX5056" fmla="*/ 683372 w 10505529"/>
              <a:gd name="connsiteY5056" fmla="*/ 6746199 h 7458372"/>
              <a:gd name="connsiteX5057" fmla="*/ 465732 w 10505529"/>
              <a:gd name="connsiteY5057" fmla="*/ 6746199 h 7458372"/>
              <a:gd name="connsiteX5058" fmla="*/ 477447 w 10505529"/>
              <a:gd name="connsiteY5058" fmla="*/ 6748595 h 7458372"/>
              <a:gd name="connsiteX5059" fmla="*/ 486765 w 10505529"/>
              <a:gd name="connsiteY5059" fmla="*/ 6754985 h 7458372"/>
              <a:gd name="connsiteX5060" fmla="*/ 492887 w 10505529"/>
              <a:gd name="connsiteY5060" fmla="*/ 6764303 h 7458372"/>
              <a:gd name="connsiteX5061" fmla="*/ 495150 w 10505529"/>
              <a:gd name="connsiteY5061" fmla="*/ 6775751 h 7458372"/>
              <a:gd name="connsiteX5062" fmla="*/ 492887 w 10505529"/>
              <a:gd name="connsiteY5062" fmla="*/ 6787466 h 7458372"/>
              <a:gd name="connsiteX5063" fmla="*/ 486765 w 10505529"/>
              <a:gd name="connsiteY5063" fmla="*/ 6796917 h 7458372"/>
              <a:gd name="connsiteX5064" fmla="*/ 477447 w 10505529"/>
              <a:gd name="connsiteY5064" fmla="*/ 6803174 h 7458372"/>
              <a:gd name="connsiteX5065" fmla="*/ 465732 w 10505529"/>
              <a:gd name="connsiteY5065" fmla="*/ 6805437 h 7458372"/>
              <a:gd name="connsiteX5066" fmla="*/ 443901 w 10505529"/>
              <a:gd name="connsiteY5066" fmla="*/ 6796917 h 7458372"/>
              <a:gd name="connsiteX5067" fmla="*/ 435515 w 10505529"/>
              <a:gd name="connsiteY5067" fmla="*/ 6775751 h 7458372"/>
              <a:gd name="connsiteX5068" fmla="*/ 443901 w 10505529"/>
              <a:gd name="connsiteY5068" fmla="*/ 6754719 h 7458372"/>
              <a:gd name="connsiteX5069" fmla="*/ 465732 w 10505529"/>
              <a:gd name="connsiteY5069" fmla="*/ 6746199 h 7458372"/>
              <a:gd name="connsiteX5070" fmla="*/ 248091 w 10505529"/>
              <a:gd name="connsiteY5070" fmla="*/ 6746199 h 7458372"/>
              <a:gd name="connsiteX5071" fmla="*/ 259805 w 10505529"/>
              <a:gd name="connsiteY5071" fmla="*/ 6748595 h 7458372"/>
              <a:gd name="connsiteX5072" fmla="*/ 269123 w 10505529"/>
              <a:gd name="connsiteY5072" fmla="*/ 6754985 h 7458372"/>
              <a:gd name="connsiteX5073" fmla="*/ 275246 w 10505529"/>
              <a:gd name="connsiteY5073" fmla="*/ 6764303 h 7458372"/>
              <a:gd name="connsiteX5074" fmla="*/ 277509 w 10505529"/>
              <a:gd name="connsiteY5074" fmla="*/ 6775751 h 7458372"/>
              <a:gd name="connsiteX5075" fmla="*/ 275246 w 10505529"/>
              <a:gd name="connsiteY5075" fmla="*/ 6787466 h 7458372"/>
              <a:gd name="connsiteX5076" fmla="*/ 269123 w 10505529"/>
              <a:gd name="connsiteY5076" fmla="*/ 6796917 h 7458372"/>
              <a:gd name="connsiteX5077" fmla="*/ 259805 w 10505529"/>
              <a:gd name="connsiteY5077" fmla="*/ 6803174 h 7458372"/>
              <a:gd name="connsiteX5078" fmla="*/ 248091 w 10505529"/>
              <a:gd name="connsiteY5078" fmla="*/ 6805437 h 7458372"/>
              <a:gd name="connsiteX5079" fmla="*/ 226262 w 10505529"/>
              <a:gd name="connsiteY5079" fmla="*/ 6796917 h 7458372"/>
              <a:gd name="connsiteX5080" fmla="*/ 217877 w 10505529"/>
              <a:gd name="connsiteY5080" fmla="*/ 6775751 h 7458372"/>
              <a:gd name="connsiteX5081" fmla="*/ 226262 w 10505529"/>
              <a:gd name="connsiteY5081" fmla="*/ 6754719 h 7458372"/>
              <a:gd name="connsiteX5082" fmla="*/ 248091 w 10505529"/>
              <a:gd name="connsiteY5082" fmla="*/ 6746199 h 7458372"/>
              <a:gd name="connsiteX5083" fmla="*/ 30450 w 10505529"/>
              <a:gd name="connsiteY5083" fmla="*/ 6746199 h 7458372"/>
              <a:gd name="connsiteX5084" fmla="*/ 42165 w 10505529"/>
              <a:gd name="connsiteY5084" fmla="*/ 6748595 h 7458372"/>
              <a:gd name="connsiteX5085" fmla="*/ 51483 w 10505529"/>
              <a:gd name="connsiteY5085" fmla="*/ 6754985 h 7458372"/>
              <a:gd name="connsiteX5086" fmla="*/ 57607 w 10505529"/>
              <a:gd name="connsiteY5086" fmla="*/ 6764303 h 7458372"/>
              <a:gd name="connsiteX5087" fmla="*/ 59870 w 10505529"/>
              <a:gd name="connsiteY5087" fmla="*/ 6775751 h 7458372"/>
              <a:gd name="connsiteX5088" fmla="*/ 57607 w 10505529"/>
              <a:gd name="connsiteY5088" fmla="*/ 6787466 h 7458372"/>
              <a:gd name="connsiteX5089" fmla="*/ 51483 w 10505529"/>
              <a:gd name="connsiteY5089" fmla="*/ 6796917 h 7458372"/>
              <a:gd name="connsiteX5090" fmla="*/ 42165 w 10505529"/>
              <a:gd name="connsiteY5090" fmla="*/ 6803174 h 7458372"/>
              <a:gd name="connsiteX5091" fmla="*/ 30450 w 10505529"/>
              <a:gd name="connsiteY5091" fmla="*/ 6805437 h 7458372"/>
              <a:gd name="connsiteX5092" fmla="*/ 8623 w 10505529"/>
              <a:gd name="connsiteY5092" fmla="*/ 6796917 h 7458372"/>
              <a:gd name="connsiteX5093" fmla="*/ 237 w 10505529"/>
              <a:gd name="connsiteY5093" fmla="*/ 6775751 h 7458372"/>
              <a:gd name="connsiteX5094" fmla="*/ 8623 w 10505529"/>
              <a:gd name="connsiteY5094" fmla="*/ 6754719 h 7458372"/>
              <a:gd name="connsiteX5095" fmla="*/ 30450 w 10505529"/>
              <a:gd name="connsiteY5095" fmla="*/ 6746199 h 7458372"/>
              <a:gd name="connsiteX5096" fmla="*/ 10475977 w 10505529"/>
              <a:gd name="connsiteY5096" fmla="*/ 6545327 h 7458372"/>
              <a:gd name="connsiteX5097" fmla="*/ 10465992 w 10505529"/>
              <a:gd name="connsiteY5097" fmla="*/ 6548921 h 7458372"/>
              <a:gd name="connsiteX5098" fmla="*/ 10462399 w 10505529"/>
              <a:gd name="connsiteY5098" fmla="*/ 6558372 h 7458372"/>
              <a:gd name="connsiteX5099" fmla="*/ 10465992 w 10505529"/>
              <a:gd name="connsiteY5099" fmla="*/ 6567823 h 7458372"/>
              <a:gd name="connsiteX5100" fmla="*/ 10475977 w 10505529"/>
              <a:gd name="connsiteY5100" fmla="*/ 6571286 h 7458372"/>
              <a:gd name="connsiteX5101" fmla="*/ 10481302 w 10505529"/>
              <a:gd name="connsiteY5101" fmla="*/ 6570354 h 7458372"/>
              <a:gd name="connsiteX5102" fmla="*/ 10485029 w 10505529"/>
              <a:gd name="connsiteY5102" fmla="*/ 6567957 h 7458372"/>
              <a:gd name="connsiteX5103" fmla="*/ 10487691 w 10505529"/>
              <a:gd name="connsiteY5103" fmla="*/ 6563697 h 7458372"/>
              <a:gd name="connsiteX5104" fmla="*/ 10488623 w 10505529"/>
              <a:gd name="connsiteY5104" fmla="*/ 6558239 h 7458372"/>
              <a:gd name="connsiteX5105" fmla="*/ 10487691 w 10505529"/>
              <a:gd name="connsiteY5105" fmla="*/ 6553047 h 7458372"/>
              <a:gd name="connsiteX5106" fmla="*/ 10485029 w 10505529"/>
              <a:gd name="connsiteY5106" fmla="*/ 6548921 h 7458372"/>
              <a:gd name="connsiteX5107" fmla="*/ 10481035 w 10505529"/>
              <a:gd name="connsiteY5107" fmla="*/ 6546259 h 7458372"/>
              <a:gd name="connsiteX5108" fmla="*/ 10475977 w 10505529"/>
              <a:gd name="connsiteY5108" fmla="*/ 6545327 h 7458372"/>
              <a:gd name="connsiteX5109" fmla="*/ 10258466 w 10505529"/>
              <a:gd name="connsiteY5109" fmla="*/ 6545327 h 7458372"/>
              <a:gd name="connsiteX5110" fmla="*/ 10248481 w 10505529"/>
              <a:gd name="connsiteY5110" fmla="*/ 6548921 h 7458372"/>
              <a:gd name="connsiteX5111" fmla="*/ 10244887 w 10505529"/>
              <a:gd name="connsiteY5111" fmla="*/ 6558372 h 7458372"/>
              <a:gd name="connsiteX5112" fmla="*/ 10248481 w 10505529"/>
              <a:gd name="connsiteY5112" fmla="*/ 6567823 h 7458372"/>
              <a:gd name="connsiteX5113" fmla="*/ 10258466 w 10505529"/>
              <a:gd name="connsiteY5113" fmla="*/ 6571286 h 7458372"/>
              <a:gd name="connsiteX5114" fmla="*/ 10263790 w 10505529"/>
              <a:gd name="connsiteY5114" fmla="*/ 6570354 h 7458372"/>
              <a:gd name="connsiteX5115" fmla="*/ 10267517 w 10505529"/>
              <a:gd name="connsiteY5115" fmla="*/ 6567957 h 7458372"/>
              <a:gd name="connsiteX5116" fmla="*/ 10270180 w 10505529"/>
              <a:gd name="connsiteY5116" fmla="*/ 6563697 h 7458372"/>
              <a:gd name="connsiteX5117" fmla="*/ 10271112 w 10505529"/>
              <a:gd name="connsiteY5117" fmla="*/ 6558239 h 7458372"/>
              <a:gd name="connsiteX5118" fmla="*/ 10270180 w 10505529"/>
              <a:gd name="connsiteY5118" fmla="*/ 6553047 h 7458372"/>
              <a:gd name="connsiteX5119" fmla="*/ 10267517 w 10505529"/>
              <a:gd name="connsiteY5119" fmla="*/ 6548921 h 7458372"/>
              <a:gd name="connsiteX5120" fmla="*/ 10263524 w 10505529"/>
              <a:gd name="connsiteY5120" fmla="*/ 6546259 h 7458372"/>
              <a:gd name="connsiteX5121" fmla="*/ 10258466 w 10505529"/>
              <a:gd name="connsiteY5121" fmla="*/ 6545327 h 7458372"/>
              <a:gd name="connsiteX5122" fmla="*/ 10040820 w 10505529"/>
              <a:gd name="connsiteY5122" fmla="*/ 6545327 h 7458372"/>
              <a:gd name="connsiteX5123" fmla="*/ 10030835 w 10505529"/>
              <a:gd name="connsiteY5123" fmla="*/ 6548921 h 7458372"/>
              <a:gd name="connsiteX5124" fmla="*/ 10027242 w 10505529"/>
              <a:gd name="connsiteY5124" fmla="*/ 6558372 h 7458372"/>
              <a:gd name="connsiteX5125" fmla="*/ 10030835 w 10505529"/>
              <a:gd name="connsiteY5125" fmla="*/ 6567823 h 7458372"/>
              <a:gd name="connsiteX5126" fmla="*/ 10040820 w 10505529"/>
              <a:gd name="connsiteY5126" fmla="*/ 6571286 h 7458372"/>
              <a:gd name="connsiteX5127" fmla="*/ 10046145 w 10505529"/>
              <a:gd name="connsiteY5127" fmla="*/ 6570354 h 7458372"/>
              <a:gd name="connsiteX5128" fmla="*/ 10049872 w 10505529"/>
              <a:gd name="connsiteY5128" fmla="*/ 6567957 h 7458372"/>
              <a:gd name="connsiteX5129" fmla="*/ 10052534 w 10505529"/>
              <a:gd name="connsiteY5129" fmla="*/ 6563697 h 7458372"/>
              <a:gd name="connsiteX5130" fmla="*/ 10053599 w 10505529"/>
              <a:gd name="connsiteY5130" fmla="*/ 6558239 h 7458372"/>
              <a:gd name="connsiteX5131" fmla="*/ 10052534 w 10505529"/>
              <a:gd name="connsiteY5131" fmla="*/ 6553047 h 7458372"/>
              <a:gd name="connsiteX5132" fmla="*/ 10049872 w 10505529"/>
              <a:gd name="connsiteY5132" fmla="*/ 6548921 h 7458372"/>
              <a:gd name="connsiteX5133" fmla="*/ 10045878 w 10505529"/>
              <a:gd name="connsiteY5133" fmla="*/ 6546259 h 7458372"/>
              <a:gd name="connsiteX5134" fmla="*/ 10040820 w 10505529"/>
              <a:gd name="connsiteY5134" fmla="*/ 6545327 h 7458372"/>
              <a:gd name="connsiteX5135" fmla="*/ 9823176 w 10505529"/>
              <a:gd name="connsiteY5135" fmla="*/ 6545327 h 7458372"/>
              <a:gd name="connsiteX5136" fmla="*/ 9813191 w 10505529"/>
              <a:gd name="connsiteY5136" fmla="*/ 6548921 h 7458372"/>
              <a:gd name="connsiteX5137" fmla="*/ 9809597 w 10505529"/>
              <a:gd name="connsiteY5137" fmla="*/ 6558372 h 7458372"/>
              <a:gd name="connsiteX5138" fmla="*/ 9813191 w 10505529"/>
              <a:gd name="connsiteY5138" fmla="*/ 6567823 h 7458372"/>
              <a:gd name="connsiteX5139" fmla="*/ 9823176 w 10505529"/>
              <a:gd name="connsiteY5139" fmla="*/ 6571286 h 7458372"/>
              <a:gd name="connsiteX5140" fmla="*/ 9828501 w 10505529"/>
              <a:gd name="connsiteY5140" fmla="*/ 6570354 h 7458372"/>
              <a:gd name="connsiteX5141" fmla="*/ 9832227 w 10505529"/>
              <a:gd name="connsiteY5141" fmla="*/ 6567957 h 7458372"/>
              <a:gd name="connsiteX5142" fmla="*/ 9834890 w 10505529"/>
              <a:gd name="connsiteY5142" fmla="*/ 6563697 h 7458372"/>
              <a:gd name="connsiteX5143" fmla="*/ 9835955 w 10505529"/>
              <a:gd name="connsiteY5143" fmla="*/ 6558239 h 7458372"/>
              <a:gd name="connsiteX5144" fmla="*/ 9834890 w 10505529"/>
              <a:gd name="connsiteY5144" fmla="*/ 6553047 h 7458372"/>
              <a:gd name="connsiteX5145" fmla="*/ 9832227 w 10505529"/>
              <a:gd name="connsiteY5145" fmla="*/ 6548921 h 7458372"/>
              <a:gd name="connsiteX5146" fmla="*/ 9828234 w 10505529"/>
              <a:gd name="connsiteY5146" fmla="*/ 6546259 h 7458372"/>
              <a:gd name="connsiteX5147" fmla="*/ 9823176 w 10505529"/>
              <a:gd name="connsiteY5147" fmla="*/ 6545327 h 7458372"/>
              <a:gd name="connsiteX5148" fmla="*/ 9605531 w 10505529"/>
              <a:gd name="connsiteY5148" fmla="*/ 6545327 h 7458372"/>
              <a:gd name="connsiteX5149" fmla="*/ 9595546 w 10505529"/>
              <a:gd name="connsiteY5149" fmla="*/ 6548921 h 7458372"/>
              <a:gd name="connsiteX5150" fmla="*/ 9591952 w 10505529"/>
              <a:gd name="connsiteY5150" fmla="*/ 6558372 h 7458372"/>
              <a:gd name="connsiteX5151" fmla="*/ 9595546 w 10505529"/>
              <a:gd name="connsiteY5151" fmla="*/ 6567823 h 7458372"/>
              <a:gd name="connsiteX5152" fmla="*/ 9605531 w 10505529"/>
              <a:gd name="connsiteY5152" fmla="*/ 6571286 h 7458372"/>
              <a:gd name="connsiteX5153" fmla="*/ 9610855 w 10505529"/>
              <a:gd name="connsiteY5153" fmla="*/ 6570354 h 7458372"/>
              <a:gd name="connsiteX5154" fmla="*/ 9614582 w 10505529"/>
              <a:gd name="connsiteY5154" fmla="*/ 6567957 h 7458372"/>
              <a:gd name="connsiteX5155" fmla="*/ 9617245 w 10505529"/>
              <a:gd name="connsiteY5155" fmla="*/ 6563697 h 7458372"/>
              <a:gd name="connsiteX5156" fmla="*/ 9618309 w 10505529"/>
              <a:gd name="connsiteY5156" fmla="*/ 6558239 h 7458372"/>
              <a:gd name="connsiteX5157" fmla="*/ 9617245 w 10505529"/>
              <a:gd name="connsiteY5157" fmla="*/ 6553047 h 7458372"/>
              <a:gd name="connsiteX5158" fmla="*/ 9614582 w 10505529"/>
              <a:gd name="connsiteY5158" fmla="*/ 6548921 h 7458372"/>
              <a:gd name="connsiteX5159" fmla="*/ 9610589 w 10505529"/>
              <a:gd name="connsiteY5159" fmla="*/ 6546259 h 7458372"/>
              <a:gd name="connsiteX5160" fmla="*/ 9605531 w 10505529"/>
              <a:gd name="connsiteY5160" fmla="*/ 6545327 h 7458372"/>
              <a:gd name="connsiteX5161" fmla="*/ 9387885 w 10505529"/>
              <a:gd name="connsiteY5161" fmla="*/ 6545327 h 7458372"/>
              <a:gd name="connsiteX5162" fmla="*/ 9377900 w 10505529"/>
              <a:gd name="connsiteY5162" fmla="*/ 6548921 h 7458372"/>
              <a:gd name="connsiteX5163" fmla="*/ 9374307 w 10505529"/>
              <a:gd name="connsiteY5163" fmla="*/ 6558372 h 7458372"/>
              <a:gd name="connsiteX5164" fmla="*/ 9377900 w 10505529"/>
              <a:gd name="connsiteY5164" fmla="*/ 6567823 h 7458372"/>
              <a:gd name="connsiteX5165" fmla="*/ 9387885 w 10505529"/>
              <a:gd name="connsiteY5165" fmla="*/ 6571286 h 7458372"/>
              <a:gd name="connsiteX5166" fmla="*/ 9393210 w 10505529"/>
              <a:gd name="connsiteY5166" fmla="*/ 6570354 h 7458372"/>
              <a:gd name="connsiteX5167" fmla="*/ 9396937 w 10505529"/>
              <a:gd name="connsiteY5167" fmla="*/ 6567957 h 7458372"/>
              <a:gd name="connsiteX5168" fmla="*/ 9399599 w 10505529"/>
              <a:gd name="connsiteY5168" fmla="*/ 6563697 h 7458372"/>
              <a:gd name="connsiteX5169" fmla="*/ 9400664 w 10505529"/>
              <a:gd name="connsiteY5169" fmla="*/ 6558239 h 7458372"/>
              <a:gd name="connsiteX5170" fmla="*/ 9399599 w 10505529"/>
              <a:gd name="connsiteY5170" fmla="*/ 6553047 h 7458372"/>
              <a:gd name="connsiteX5171" fmla="*/ 9396937 w 10505529"/>
              <a:gd name="connsiteY5171" fmla="*/ 6548921 h 7458372"/>
              <a:gd name="connsiteX5172" fmla="*/ 9392943 w 10505529"/>
              <a:gd name="connsiteY5172" fmla="*/ 6546259 h 7458372"/>
              <a:gd name="connsiteX5173" fmla="*/ 9387885 w 10505529"/>
              <a:gd name="connsiteY5173" fmla="*/ 6545327 h 7458372"/>
              <a:gd name="connsiteX5174" fmla="*/ 9170374 w 10505529"/>
              <a:gd name="connsiteY5174" fmla="*/ 6545327 h 7458372"/>
              <a:gd name="connsiteX5175" fmla="*/ 9160389 w 10505529"/>
              <a:gd name="connsiteY5175" fmla="*/ 6548921 h 7458372"/>
              <a:gd name="connsiteX5176" fmla="*/ 9156795 w 10505529"/>
              <a:gd name="connsiteY5176" fmla="*/ 6558372 h 7458372"/>
              <a:gd name="connsiteX5177" fmla="*/ 9160389 w 10505529"/>
              <a:gd name="connsiteY5177" fmla="*/ 6567823 h 7458372"/>
              <a:gd name="connsiteX5178" fmla="*/ 9170374 w 10505529"/>
              <a:gd name="connsiteY5178" fmla="*/ 6571286 h 7458372"/>
              <a:gd name="connsiteX5179" fmla="*/ 9175698 w 10505529"/>
              <a:gd name="connsiteY5179" fmla="*/ 6570354 h 7458372"/>
              <a:gd name="connsiteX5180" fmla="*/ 9179425 w 10505529"/>
              <a:gd name="connsiteY5180" fmla="*/ 6567957 h 7458372"/>
              <a:gd name="connsiteX5181" fmla="*/ 9182088 w 10505529"/>
              <a:gd name="connsiteY5181" fmla="*/ 6563697 h 7458372"/>
              <a:gd name="connsiteX5182" fmla="*/ 9183152 w 10505529"/>
              <a:gd name="connsiteY5182" fmla="*/ 6558239 h 7458372"/>
              <a:gd name="connsiteX5183" fmla="*/ 9182088 w 10505529"/>
              <a:gd name="connsiteY5183" fmla="*/ 6553047 h 7458372"/>
              <a:gd name="connsiteX5184" fmla="*/ 9179425 w 10505529"/>
              <a:gd name="connsiteY5184" fmla="*/ 6548921 h 7458372"/>
              <a:gd name="connsiteX5185" fmla="*/ 9175432 w 10505529"/>
              <a:gd name="connsiteY5185" fmla="*/ 6546259 h 7458372"/>
              <a:gd name="connsiteX5186" fmla="*/ 9170374 w 10505529"/>
              <a:gd name="connsiteY5186" fmla="*/ 6545327 h 7458372"/>
              <a:gd name="connsiteX5187" fmla="*/ 8952728 w 10505529"/>
              <a:gd name="connsiteY5187" fmla="*/ 6545327 h 7458372"/>
              <a:gd name="connsiteX5188" fmla="*/ 8942743 w 10505529"/>
              <a:gd name="connsiteY5188" fmla="*/ 6548921 h 7458372"/>
              <a:gd name="connsiteX5189" fmla="*/ 8939150 w 10505529"/>
              <a:gd name="connsiteY5189" fmla="*/ 6558372 h 7458372"/>
              <a:gd name="connsiteX5190" fmla="*/ 8942743 w 10505529"/>
              <a:gd name="connsiteY5190" fmla="*/ 6567823 h 7458372"/>
              <a:gd name="connsiteX5191" fmla="*/ 8952728 w 10505529"/>
              <a:gd name="connsiteY5191" fmla="*/ 6571286 h 7458372"/>
              <a:gd name="connsiteX5192" fmla="*/ 8958053 w 10505529"/>
              <a:gd name="connsiteY5192" fmla="*/ 6570354 h 7458372"/>
              <a:gd name="connsiteX5193" fmla="*/ 8961780 w 10505529"/>
              <a:gd name="connsiteY5193" fmla="*/ 6567957 h 7458372"/>
              <a:gd name="connsiteX5194" fmla="*/ 8964442 w 10505529"/>
              <a:gd name="connsiteY5194" fmla="*/ 6563697 h 7458372"/>
              <a:gd name="connsiteX5195" fmla="*/ 8965507 w 10505529"/>
              <a:gd name="connsiteY5195" fmla="*/ 6558239 h 7458372"/>
              <a:gd name="connsiteX5196" fmla="*/ 8964442 w 10505529"/>
              <a:gd name="connsiteY5196" fmla="*/ 6553047 h 7458372"/>
              <a:gd name="connsiteX5197" fmla="*/ 8961780 w 10505529"/>
              <a:gd name="connsiteY5197" fmla="*/ 6548921 h 7458372"/>
              <a:gd name="connsiteX5198" fmla="*/ 8957786 w 10505529"/>
              <a:gd name="connsiteY5198" fmla="*/ 6546259 h 7458372"/>
              <a:gd name="connsiteX5199" fmla="*/ 8952728 w 10505529"/>
              <a:gd name="connsiteY5199" fmla="*/ 6545327 h 7458372"/>
              <a:gd name="connsiteX5200" fmla="*/ 8735083 w 10505529"/>
              <a:gd name="connsiteY5200" fmla="*/ 6545327 h 7458372"/>
              <a:gd name="connsiteX5201" fmla="*/ 8725098 w 10505529"/>
              <a:gd name="connsiteY5201" fmla="*/ 6548921 h 7458372"/>
              <a:gd name="connsiteX5202" fmla="*/ 8721504 w 10505529"/>
              <a:gd name="connsiteY5202" fmla="*/ 6558372 h 7458372"/>
              <a:gd name="connsiteX5203" fmla="*/ 8725098 w 10505529"/>
              <a:gd name="connsiteY5203" fmla="*/ 6567823 h 7458372"/>
              <a:gd name="connsiteX5204" fmla="*/ 8735083 w 10505529"/>
              <a:gd name="connsiteY5204" fmla="*/ 6571286 h 7458372"/>
              <a:gd name="connsiteX5205" fmla="*/ 8740407 w 10505529"/>
              <a:gd name="connsiteY5205" fmla="*/ 6570354 h 7458372"/>
              <a:gd name="connsiteX5206" fmla="*/ 8744134 w 10505529"/>
              <a:gd name="connsiteY5206" fmla="*/ 6567957 h 7458372"/>
              <a:gd name="connsiteX5207" fmla="*/ 8746797 w 10505529"/>
              <a:gd name="connsiteY5207" fmla="*/ 6563697 h 7458372"/>
              <a:gd name="connsiteX5208" fmla="*/ 8747862 w 10505529"/>
              <a:gd name="connsiteY5208" fmla="*/ 6558239 h 7458372"/>
              <a:gd name="connsiteX5209" fmla="*/ 8746797 w 10505529"/>
              <a:gd name="connsiteY5209" fmla="*/ 6553047 h 7458372"/>
              <a:gd name="connsiteX5210" fmla="*/ 8744134 w 10505529"/>
              <a:gd name="connsiteY5210" fmla="*/ 6548921 h 7458372"/>
              <a:gd name="connsiteX5211" fmla="*/ 8740141 w 10505529"/>
              <a:gd name="connsiteY5211" fmla="*/ 6546259 h 7458372"/>
              <a:gd name="connsiteX5212" fmla="*/ 8735083 w 10505529"/>
              <a:gd name="connsiteY5212" fmla="*/ 6545327 h 7458372"/>
              <a:gd name="connsiteX5213" fmla="*/ 8517438 w 10505529"/>
              <a:gd name="connsiteY5213" fmla="*/ 6545327 h 7458372"/>
              <a:gd name="connsiteX5214" fmla="*/ 8507453 w 10505529"/>
              <a:gd name="connsiteY5214" fmla="*/ 6548921 h 7458372"/>
              <a:gd name="connsiteX5215" fmla="*/ 8503860 w 10505529"/>
              <a:gd name="connsiteY5215" fmla="*/ 6558372 h 7458372"/>
              <a:gd name="connsiteX5216" fmla="*/ 8507453 w 10505529"/>
              <a:gd name="connsiteY5216" fmla="*/ 6567823 h 7458372"/>
              <a:gd name="connsiteX5217" fmla="*/ 8517438 w 10505529"/>
              <a:gd name="connsiteY5217" fmla="*/ 6571286 h 7458372"/>
              <a:gd name="connsiteX5218" fmla="*/ 8522763 w 10505529"/>
              <a:gd name="connsiteY5218" fmla="*/ 6570354 h 7458372"/>
              <a:gd name="connsiteX5219" fmla="*/ 8526490 w 10505529"/>
              <a:gd name="connsiteY5219" fmla="*/ 6567957 h 7458372"/>
              <a:gd name="connsiteX5220" fmla="*/ 8529152 w 10505529"/>
              <a:gd name="connsiteY5220" fmla="*/ 6563697 h 7458372"/>
              <a:gd name="connsiteX5221" fmla="*/ 8530084 w 10505529"/>
              <a:gd name="connsiteY5221" fmla="*/ 6558239 h 7458372"/>
              <a:gd name="connsiteX5222" fmla="*/ 8529152 w 10505529"/>
              <a:gd name="connsiteY5222" fmla="*/ 6553047 h 7458372"/>
              <a:gd name="connsiteX5223" fmla="*/ 8526490 w 10505529"/>
              <a:gd name="connsiteY5223" fmla="*/ 6548921 h 7458372"/>
              <a:gd name="connsiteX5224" fmla="*/ 8522496 w 10505529"/>
              <a:gd name="connsiteY5224" fmla="*/ 6546259 h 7458372"/>
              <a:gd name="connsiteX5225" fmla="*/ 8517438 w 10505529"/>
              <a:gd name="connsiteY5225" fmla="*/ 6545327 h 7458372"/>
              <a:gd name="connsiteX5226" fmla="*/ 8299793 w 10505529"/>
              <a:gd name="connsiteY5226" fmla="*/ 6545327 h 7458372"/>
              <a:gd name="connsiteX5227" fmla="*/ 8289809 w 10505529"/>
              <a:gd name="connsiteY5227" fmla="*/ 6548921 h 7458372"/>
              <a:gd name="connsiteX5228" fmla="*/ 8286215 w 10505529"/>
              <a:gd name="connsiteY5228" fmla="*/ 6558372 h 7458372"/>
              <a:gd name="connsiteX5229" fmla="*/ 8289809 w 10505529"/>
              <a:gd name="connsiteY5229" fmla="*/ 6567823 h 7458372"/>
              <a:gd name="connsiteX5230" fmla="*/ 8299793 w 10505529"/>
              <a:gd name="connsiteY5230" fmla="*/ 6571286 h 7458372"/>
              <a:gd name="connsiteX5231" fmla="*/ 8305118 w 10505529"/>
              <a:gd name="connsiteY5231" fmla="*/ 6570354 h 7458372"/>
              <a:gd name="connsiteX5232" fmla="*/ 8308844 w 10505529"/>
              <a:gd name="connsiteY5232" fmla="*/ 6567957 h 7458372"/>
              <a:gd name="connsiteX5233" fmla="*/ 8311507 w 10505529"/>
              <a:gd name="connsiteY5233" fmla="*/ 6563697 h 7458372"/>
              <a:gd name="connsiteX5234" fmla="*/ 8312439 w 10505529"/>
              <a:gd name="connsiteY5234" fmla="*/ 6558239 h 7458372"/>
              <a:gd name="connsiteX5235" fmla="*/ 8311507 w 10505529"/>
              <a:gd name="connsiteY5235" fmla="*/ 6553047 h 7458372"/>
              <a:gd name="connsiteX5236" fmla="*/ 8308844 w 10505529"/>
              <a:gd name="connsiteY5236" fmla="*/ 6548921 h 7458372"/>
              <a:gd name="connsiteX5237" fmla="*/ 8304851 w 10505529"/>
              <a:gd name="connsiteY5237" fmla="*/ 6546259 h 7458372"/>
              <a:gd name="connsiteX5238" fmla="*/ 8299793 w 10505529"/>
              <a:gd name="connsiteY5238" fmla="*/ 6545327 h 7458372"/>
              <a:gd name="connsiteX5239" fmla="*/ 8082281 w 10505529"/>
              <a:gd name="connsiteY5239" fmla="*/ 6545327 h 7458372"/>
              <a:gd name="connsiteX5240" fmla="*/ 8072297 w 10505529"/>
              <a:gd name="connsiteY5240" fmla="*/ 6548921 h 7458372"/>
              <a:gd name="connsiteX5241" fmla="*/ 8068703 w 10505529"/>
              <a:gd name="connsiteY5241" fmla="*/ 6558372 h 7458372"/>
              <a:gd name="connsiteX5242" fmla="*/ 8072297 w 10505529"/>
              <a:gd name="connsiteY5242" fmla="*/ 6567823 h 7458372"/>
              <a:gd name="connsiteX5243" fmla="*/ 8082281 w 10505529"/>
              <a:gd name="connsiteY5243" fmla="*/ 6571286 h 7458372"/>
              <a:gd name="connsiteX5244" fmla="*/ 8087605 w 10505529"/>
              <a:gd name="connsiteY5244" fmla="*/ 6570354 h 7458372"/>
              <a:gd name="connsiteX5245" fmla="*/ 8091332 w 10505529"/>
              <a:gd name="connsiteY5245" fmla="*/ 6567957 h 7458372"/>
              <a:gd name="connsiteX5246" fmla="*/ 8093994 w 10505529"/>
              <a:gd name="connsiteY5246" fmla="*/ 6563697 h 7458372"/>
              <a:gd name="connsiteX5247" fmla="*/ 8094926 w 10505529"/>
              <a:gd name="connsiteY5247" fmla="*/ 6558239 h 7458372"/>
              <a:gd name="connsiteX5248" fmla="*/ 8093994 w 10505529"/>
              <a:gd name="connsiteY5248" fmla="*/ 6553047 h 7458372"/>
              <a:gd name="connsiteX5249" fmla="*/ 8091332 w 10505529"/>
              <a:gd name="connsiteY5249" fmla="*/ 6548921 h 7458372"/>
              <a:gd name="connsiteX5250" fmla="*/ 8087338 w 10505529"/>
              <a:gd name="connsiteY5250" fmla="*/ 6546259 h 7458372"/>
              <a:gd name="connsiteX5251" fmla="*/ 8082281 w 10505529"/>
              <a:gd name="connsiteY5251" fmla="*/ 6545327 h 7458372"/>
              <a:gd name="connsiteX5252" fmla="*/ 7864636 w 10505529"/>
              <a:gd name="connsiteY5252" fmla="*/ 6545327 h 7458372"/>
              <a:gd name="connsiteX5253" fmla="*/ 7854652 w 10505529"/>
              <a:gd name="connsiteY5253" fmla="*/ 6548921 h 7458372"/>
              <a:gd name="connsiteX5254" fmla="*/ 7851058 w 10505529"/>
              <a:gd name="connsiteY5254" fmla="*/ 6558372 h 7458372"/>
              <a:gd name="connsiteX5255" fmla="*/ 7854652 w 10505529"/>
              <a:gd name="connsiteY5255" fmla="*/ 6567823 h 7458372"/>
              <a:gd name="connsiteX5256" fmla="*/ 7864636 w 10505529"/>
              <a:gd name="connsiteY5256" fmla="*/ 6571286 h 7458372"/>
              <a:gd name="connsiteX5257" fmla="*/ 7869961 w 10505529"/>
              <a:gd name="connsiteY5257" fmla="*/ 6570354 h 7458372"/>
              <a:gd name="connsiteX5258" fmla="*/ 7873687 w 10505529"/>
              <a:gd name="connsiteY5258" fmla="*/ 6567957 h 7458372"/>
              <a:gd name="connsiteX5259" fmla="*/ 7876350 w 10505529"/>
              <a:gd name="connsiteY5259" fmla="*/ 6563697 h 7458372"/>
              <a:gd name="connsiteX5260" fmla="*/ 7877282 w 10505529"/>
              <a:gd name="connsiteY5260" fmla="*/ 6558239 h 7458372"/>
              <a:gd name="connsiteX5261" fmla="*/ 7876350 w 10505529"/>
              <a:gd name="connsiteY5261" fmla="*/ 6553047 h 7458372"/>
              <a:gd name="connsiteX5262" fmla="*/ 7873687 w 10505529"/>
              <a:gd name="connsiteY5262" fmla="*/ 6548921 h 7458372"/>
              <a:gd name="connsiteX5263" fmla="*/ 7869694 w 10505529"/>
              <a:gd name="connsiteY5263" fmla="*/ 6546259 h 7458372"/>
              <a:gd name="connsiteX5264" fmla="*/ 7864636 w 10505529"/>
              <a:gd name="connsiteY5264" fmla="*/ 6545327 h 7458372"/>
              <a:gd name="connsiteX5265" fmla="*/ 7646991 w 10505529"/>
              <a:gd name="connsiteY5265" fmla="*/ 6545327 h 7458372"/>
              <a:gd name="connsiteX5266" fmla="*/ 7637007 w 10505529"/>
              <a:gd name="connsiteY5266" fmla="*/ 6548921 h 7458372"/>
              <a:gd name="connsiteX5267" fmla="*/ 7633413 w 10505529"/>
              <a:gd name="connsiteY5267" fmla="*/ 6558372 h 7458372"/>
              <a:gd name="connsiteX5268" fmla="*/ 7637007 w 10505529"/>
              <a:gd name="connsiteY5268" fmla="*/ 6567823 h 7458372"/>
              <a:gd name="connsiteX5269" fmla="*/ 7646991 w 10505529"/>
              <a:gd name="connsiteY5269" fmla="*/ 6571286 h 7458372"/>
              <a:gd name="connsiteX5270" fmla="*/ 7652315 w 10505529"/>
              <a:gd name="connsiteY5270" fmla="*/ 6570354 h 7458372"/>
              <a:gd name="connsiteX5271" fmla="*/ 7656042 w 10505529"/>
              <a:gd name="connsiteY5271" fmla="*/ 6567957 h 7458372"/>
              <a:gd name="connsiteX5272" fmla="*/ 7658705 w 10505529"/>
              <a:gd name="connsiteY5272" fmla="*/ 6563697 h 7458372"/>
              <a:gd name="connsiteX5273" fmla="*/ 7659769 w 10505529"/>
              <a:gd name="connsiteY5273" fmla="*/ 6558239 h 7458372"/>
              <a:gd name="connsiteX5274" fmla="*/ 7658705 w 10505529"/>
              <a:gd name="connsiteY5274" fmla="*/ 6553047 h 7458372"/>
              <a:gd name="connsiteX5275" fmla="*/ 7656042 w 10505529"/>
              <a:gd name="connsiteY5275" fmla="*/ 6548921 h 7458372"/>
              <a:gd name="connsiteX5276" fmla="*/ 7652049 w 10505529"/>
              <a:gd name="connsiteY5276" fmla="*/ 6546259 h 7458372"/>
              <a:gd name="connsiteX5277" fmla="*/ 7646991 w 10505529"/>
              <a:gd name="connsiteY5277" fmla="*/ 6545327 h 7458372"/>
              <a:gd name="connsiteX5278" fmla="*/ 7429345 w 10505529"/>
              <a:gd name="connsiteY5278" fmla="*/ 6545327 h 7458372"/>
              <a:gd name="connsiteX5279" fmla="*/ 7419361 w 10505529"/>
              <a:gd name="connsiteY5279" fmla="*/ 6548921 h 7458372"/>
              <a:gd name="connsiteX5280" fmla="*/ 7415768 w 10505529"/>
              <a:gd name="connsiteY5280" fmla="*/ 6558372 h 7458372"/>
              <a:gd name="connsiteX5281" fmla="*/ 7419361 w 10505529"/>
              <a:gd name="connsiteY5281" fmla="*/ 6567823 h 7458372"/>
              <a:gd name="connsiteX5282" fmla="*/ 7429345 w 10505529"/>
              <a:gd name="connsiteY5282" fmla="*/ 6571286 h 7458372"/>
              <a:gd name="connsiteX5283" fmla="*/ 7434670 w 10505529"/>
              <a:gd name="connsiteY5283" fmla="*/ 6570354 h 7458372"/>
              <a:gd name="connsiteX5284" fmla="*/ 7438397 w 10505529"/>
              <a:gd name="connsiteY5284" fmla="*/ 6567957 h 7458372"/>
              <a:gd name="connsiteX5285" fmla="*/ 7441059 w 10505529"/>
              <a:gd name="connsiteY5285" fmla="*/ 6563697 h 7458372"/>
              <a:gd name="connsiteX5286" fmla="*/ 7442124 w 10505529"/>
              <a:gd name="connsiteY5286" fmla="*/ 6558239 h 7458372"/>
              <a:gd name="connsiteX5287" fmla="*/ 7441059 w 10505529"/>
              <a:gd name="connsiteY5287" fmla="*/ 6553047 h 7458372"/>
              <a:gd name="connsiteX5288" fmla="*/ 7438397 w 10505529"/>
              <a:gd name="connsiteY5288" fmla="*/ 6548921 h 7458372"/>
              <a:gd name="connsiteX5289" fmla="*/ 7434403 w 10505529"/>
              <a:gd name="connsiteY5289" fmla="*/ 6546259 h 7458372"/>
              <a:gd name="connsiteX5290" fmla="*/ 7429345 w 10505529"/>
              <a:gd name="connsiteY5290" fmla="*/ 6545327 h 7458372"/>
              <a:gd name="connsiteX5291" fmla="*/ 7211701 w 10505529"/>
              <a:gd name="connsiteY5291" fmla="*/ 6545327 h 7458372"/>
              <a:gd name="connsiteX5292" fmla="*/ 7201717 w 10505529"/>
              <a:gd name="connsiteY5292" fmla="*/ 6548921 h 7458372"/>
              <a:gd name="connsiteX5293" fmla="*/ 7198123 w 10505529"/>
              <a:gd name="connsiteY5293" fmla="*/ 6558372 h 7458372"/>
              <a:gd name="connsiteX5294" fmla="*/ 7201717 w 10505529"/>
              <a:gd name="connsiteY5294" fmla="*/ 6567823 h 7458372"/>
              <a:gd name="connsiteX5295" fmla="*/ 7211701 w 10505529"/>
              <a:gd name="connsiteY5295" fmla="*/ 6571286 h 7458372"/>
              <a:gd name="connsiteX5296" fmla="*/ 7217026 w 10505529"/>
              <a:gd name="connsiteY5296" fmla="*/ 6570354 h 7458372"/>
              <a:gd name="connsiteX5297" fmla="*/ 7220752 w 10505529"/>
              <a:gd name="connsiteY5297" fmla="*/ 6567957 h 7458372"/>
              <a:gd name="connsiteX5298" fmla="*/ 7223415 w 10505529"/>
              <a:gd name="connsiteY5298" fmla="*/ 6563697 h 7458372"/>
              <a:gd name="connsiteX5299" fmla="*/ 7224480 w 10505529"/>
              <a:gd name="connsiteY5299" fmla="*/ 6558239 h 7458372"/>
              <a:gd name="connsiteX5300" fmla="*/ 7223415 w 10505529"/>
              <a:gd name="connsiteY5300" fmla="*/ 6553047 h 7458372"/>
              <a:gd name="connsiteX5301" fmla="*/ 7220752 w 10505529"/>
              <a:gd name="connsiteY5301" fmla="*/ 6548921 h 7458372"/>
              <a:gd name="connsiteX5302" fmla="*/ 7216759 w 10505529"/>
              <a:gd name="connsiteY5302" fmla="*/ 6546259 h 7458372"/>
              <a:gd name="connsiteX5303" fmla="*/ 7211701 w 10505529"/>
              <a:gd name="connsiteY5303" fmla="*/ 6545327 h 7458372"/>
              <a:gd name="connsiteX5304" fmla="*/ 6994056 w 10505529"/>
              <a:gd name="connsiteY5304" fmla="*/ 6545327 h 7458372"/>
              <a:gd name="connsiteX5305" fmla="*/ 6984072 w 10505529"/>
              <a:gd name="connsiteY5305" fmla="*/ 6548921 h 7458372"/>
              <a:gd name="connsiteX5306" fmla="*/ 6980478 w 10505529"/>
              <a:gd name="connsiteY5306" fmla="*/ 6558372 h 7458372"/>
              <a:gd name="connsiteX5307" fmla="*/ 6984072 w 10505529"/>
              <a:gd name="connsiteY5307" fmla="*/ 6567823 h 7458372"/>
              <a:gd name="connsiteX5308" fmla="*/ 6994056 w 10505529"/>
              <a:gd name="connsiteY5308" fmla="*/ 6571286 h 7458372"/>
              <a:gd name="connsiteX5309" fmla="*/ 6999380 w 10505529"/>
              <a:gd name="connsiteY5309" fmla="*/ 6570354 h 7458372"/>
              <a:gd name="connsiteX5310" fmla="*/ 7003107 w 10505529"/>
              <a:gd name="connsiteY5310" fmla="*/ 6567957 h 7458372"/>
              <a:gd name="connsiteX5311" fmla="*/ 7005769 w 10505529"/>
              <a:gd name="connsiteY5311" fmla="*/ 6563697 h 7458372"/>
              <a:gd name="connsiteX5312" fmla="*/ 7006834 w 10505529"/>
              <a:gd name="connsiteY5312" fmla="*/ 6558239 h 7458372"/>
              <a:gd name="connsiteX5313" fmla="*/ 7005769 w 10505529"/>
              <a:gd name="connsiteY5313" fmla="*/ 6553047 h 7458372"/>
              <a:gd name="connsiteX5314" fmla="*/ 7003107 w 10505529"/>
              <a:gd name="connsiteY5314" fmla="*/ 6548921 h 7458372"/>
              <a:gd name="connsiteX5315" fmla="*/ 6999113 w 10505529"/>
              <a:gd name="connsiteY5315" fmla="*/ 6546259 h 7458372"/>
              <a:gd name="connsiteX5316" fmla="*/ 6994056 w 10505529"/>
              <a:gd name="connsiteY5316" fmla="*/ 6545327 h 7458372"/>
              <a:gd name="connsiteX5317" fmla="*/ 6776544 w 10505529"/>
              <a:gd name="connsiteY5317" fmla="*/ 6545327 h 7458372"/>
              <a:gd name="connsiteX5318" fmla="*/ 6766560 w 10505529"/>
              <a:gd name="connsiteY5318" fmla="*/ 6548921 h 7458372"/>
              <a:gd name="connsiteX5319" fmla="*/ 6762966 w 10505529"/>
              <a:gd name="connsiteY5319" fmla="*/ 6558372 h 7458372"/>
              <a:gd name="connsiteX5320" fmla="*/ 6766560 w 10505529"/>
              <a:gd name="connsiteY5320" fmla="*/ 6567823 h 7458372"/>
              <a:gd name="connsiteX5321" fmla="*/ 6776544 w 10505529"/>
              <a:gd name="connsiteY5321" fmla="*/ 6571286 h 7458372"/>
              <a:gd name="connsiteX5322" fmla="*/ 6781869 w 10505529"/>
              <a:gd name="connsiteY5322" fmla="*/ 6570354 h 7458372"/>
              <a:gd name="connsiteX5323" fmla="*/ 6785595 w 10505529"/>
              <a:gd name="connsiteY5323" fmla="*/ 6567957 h 7458372"/>
              <a:gd name="connsiteX5324" fmla="*/ 6788258 w 10505529"/>
              <a:gd name="connsiteY5324" fmla="*/ 6563697 h 7458372"/>
              <a:gd name="connsiteX5325" fmla="*/ 6789323 w 10505529"/>
              <a:gd name="connsiteY5325" fmla="*/ 6558239 h 7458372"/>
              <a:gd name="connsiteX5326" fmla="*/ 6788258 w 10505529"/>
              <a:gd name="connsiteY5326" fmla="*/ 6553047 h 7458372"/>
              <a:gd name="connsiteX5327" fmla="*/ 6785595 w 10505529"/>
              <a:gd name="connsiteY5327" fmla="*/ 6548921 h 7458372"/>
              <a:gd name="connsiteX5328" fmla="*/ 6781602 w 10505529"/>
              <a:gd name="connsiteY5328" fmla="*/ 6546259 h 7458372"/>
              <a:gd name="connsiteX5329" fmla="*/ 6776544 w 10505529"/>
              <a:gd name="connsiteY5329" fmla="*/ 6545327 h 7458372"/>
              <a:gd name="connsiteX5330" fmla="*/ 6558899 w 10505529"/>
              <a:gd name="connsiteY5330" fmla="*/ 6545327 h 7458372"/>
              <a:gd name="connsiteX5331" fmla="*/ 6548915 w 10505529"/>
              <a:gd name="connsiteY5331" fmla="*/ 6548921 h 7458372"/>
              <a:gd name="connsiteX5332" fmla="*/ 6545321 w 10505529"/>
              <a:gd name="connsiteY5332" fmla="*/ 6558372 h 7458372"/>
              <a:gd name="connsiteX5333" fmla="*/ 6548915 w 10505529"/>
              <a:gd name="connsiteY5333" fmla="*/ 6567823 h 7458372"/>
              <a:gd name="connsiteX5334" fmla="*/ 6558899 w 10505529"/>
              <a:gd name="connsiteY5334" fmla="*/ 6571286 h 7458372"/>
              <a:gd name="connsiteX5335" fmla="*/ 6564223 w 10505529"/>
              <a:gd name="connsiteY5335" fmla="*/ 6570354 h 7458372"/>
              <a:gd name="connsiteX5336" fmla="*/ 6567950 w 10505529"/>
              <a:gd name="connsiteY5336" fmla="*/ 6567957 h 7458372"/>
              <a:gd name="connsiteX5337" fmla="*/ 6570612 w 10505529"/>
              <a:gd name="connsiteY5337" fmla="*/ 6563697 h 7458372"/>
              <a:gd name="connsiteX5338" fmla="*/ 6571677 w 10505529"/>
              <a:gd name="connsiteY5338" fmla="*/ 6558239 h 7458372"/>
              <a:gd name="connsiteX5339" fmla="*/ 6570612 w 10505529"/>
              <a:gd name="connsiteY5339" fmla="*/ 6553047 h 7458372"/>
              <a:gd name="connsiteX5340" fmla="*/ 6567950 w 10505529"/>
              <a:gd name="connsiteY5340" fmla="*/ 6548921 h 7458372"/>
              <a:gd name="connsiteX5341" fmla="*/ 6563956 w 10505529"/>
              <a:gd name="connsiteY5341" fmla="*/ 6546259 h 7458372"/>
              <a:gd name="connsiteX5342" fmla="*/ 6558899 w 10505529"/>
              <a:gd name="connsiteY5342" fmla="*/ 6545327 h 7458372"/>
              <a:gd name="connsiteX5343" fmla="*/ 6341253 w 10505529"/>
              <a:gd name="connsiteY5343" fmla="*/ 6545327 h 7458372"/>
              <a:gd name="connsiteX5344" fmla="*/ 6331270 w 10505529"/>
              <a:gd name="connsiteY5344" fmla="*/ 6548921 h 7458372"/>
              <a:gd name="connsiteX5345" fmla="*/ 6327675 w 10505529"/>
              <a:gd name="connsiteY5345" fmla="*/ 6558372 h 7458372"/>
              <a:gd name="connsiteX5346" fmla="*/ 6331270 w 10505529"/>
              <a:gd name="connsiteY5346" fmla="*/ 6567823 h 7458372"/>
              <a:gd name="connsiteX5347" fmla="*/ 6341253 w 10505529"/>
              <a:gd name="connsiteY5347" fmla="*/ 6571286 h 7458372"/>
              <a:gd name="connsiteX5348" fmla="*/ 6346578 w 10505529"/>
              <a:gd name="connsiteY5348" fmla="*/ 6570354 h 7458372"/>
              <a:gd name="connsiteX5349" fmla="*/ 6350305 w 10505529"/>
              <a:gd name="connsiteY5349" fmla="*/ 6567957 h 7458372"/>
              <a:gd name="connsiteX5350" fmla="*/ 6352968 w 10505529"/>
              <a:gd name="connsiteY5350" fmla="*/ 6563697 h 7458372"/>
              <a:gd name="connsiteX5351" fmla="*/ 6354033 w 10505529"/>
              <a:gd name="connsiteY5351" fmla="*/ 6558239 h 7458372"/>
              <a:gd name="connsiteX5352" fmla="*/ 6352968 w 10505529"/>
              <a:gd name="connsiteY5352" fmla="*/ 6553047 h 7458372"/>
              <a:gd name="connsiteX5353" fmla="*/ 6350305 w 10505529"/>
              <a:gd name="connsiteY5353" fmla="*/ 6548921 h 7458372"/>
              <a:gd name="connsiteX5354" fmla="*/ 6346312 w 10505529"/>
              <a:gd name="connsiteY5354" fmla="*/ 6546259 h 7458372"/>
              <a:gd name="connsiteX5355" fmla="*/ 6341253 w 10505529"/>
              <a:gd name="connsiteY5355" fmla="*/ 6545327 h 7458372"/>
              <a:gd name="connsiteX5356" fmla="*/ 6123608 w 10505529"/>
              <a:gd name="connsiteY5356" fmla="*/ 6545327 h 7458372"/>
              <a:gd name="connsiteX5357" fmla="*/ 6113624 w 10505529"/>
              <a:gd name="connsiteY5357" fmla="*/ 6548921 h 7458372"/>
              <a:gd name="connsiteX5358" fmla="*/ 6110030 w 10505529"/>
              <a:gd name="connsiteY5358" fmla="*/ 6558372 h 7458372"/>
              <a:gd name="connsiteX5359" fmla="*/ 6113624 w 10505529"/>
              <a:gd name="connsiteY5359" fmla="*/ 6567823 h 7458372"/>
              <a:gd name="connsiteX5360" fmla="*/ 6123608 w 10505529"/>
              <a:gd name="connsiteY5360" fmla="*/ 6571286 h 7458372"/>
              <a:gd name="connsiteX5361" fmla="*/ 6128932 w 10505529"/>
              <a:gd name="connsiteY5361" fmla="*/ 6570354 h 7458372"/>
              <a:gd name="connsiteX5362" fmla="*/ 6132659 w 10505529"/>
              <a:gd name="connsiteY5362" fmla="*/ 6567957 h 7458372"/>
              <a:gd name="connsiteX5363" fmla="*/ 6135322 w 10505529"/>
              <a:gd name="connsiteY5363" fmla="*/ 6563697 h 7458372"/>
              <a:gd name="connsiteX5364" fmla="*/ 6136387 w 10505529"/>
              <a:gd name="connsiteY5364" fmla="*/ 6558239 h 7458372"/>
              <a:gd name="connsiteX5365" fmla="*/ 6135322 w 10505529"/>
              <a:gd name="connsiteY5365" fmla="*/ 6553047 h 7458372"/>
              <a:gd name="connsiteX5366" fmla="*/ 6132659 w 10505529"/>
              <a:gd name="connsiteY5366" fmla="*/ 6548921 h 7458372"/>
              <a:gd name="connsiteX5367" fmla="*/ 6128666 w 10505529"/>
              <a:gd name="connsiteY5367" fmla="*/ 6546259 h 7458372"/>
              <a:gd name="connsiteX5368" fmla="*/ 6123608 w 10505529"/>
              <a:gd name="connsiteY5368" fmla="*/ 6545327 h 7458372"/>
              <a:gd name="connsiteX5369" fmla="*/ 5905963 w 10505529"/>
              <a:gd name="connsiteY5369" fmla="*/ 6545327 h 7458372"/>
              <a:gd name="connsiteX5370" fmla="*/ 5895979 w 10505529"/>
              <a:gd name="connsiteY5370" fmla="*/ 6548921 h 7458372"/>
              <a:gd name="connsiteX5371" fmla="*/ 5892385 w 10505529"/>
              <a:gd name="connsiteY5371" fmla="*/ 6558372 h 7458372"/>
              <a:gd name="connsiteX5372" fmla="*/ 5895979 w 10505529"/>
              <a:gd name="connsiteY5372" fmla="*/ 6567823 h 7458372"/>
              <a:gd name="connsiteX5373" fmla="*/ 5905963 w 10505529"/>
              <a:gd name="connsiteY5373" fmla="*/ 6571286 h 7458372"/>
              <a:gd name="connsiteX5374" fmla="*/ 5911287 w 10505529"/>
              <a:gd name="connsiteY5374" fmla="*/ 6570354 h 7458372"/>
              <a:gd name="connsiteX5375" fmla="*/ 5915014 w 10505529"/>
              <a:gd name="connsiteY5375" fmla="*/ 6567957 h 7458372"/>
              <a:gd name="connsiteX5376" fmla="*/ 5917677 w 10505529"/>
              <a:gd name="connsiteY5376" fmla="*/ 6563697 h 7458372"/>
              <a:gd name="connsiteX5377" fmla="*/ 5918742 w 10505529"/>
              <a:gd name="connsiteY5377" fmla="*/ 6558239 h 7458372"/>
              <a:gd name="connsiteX5378" fmla="*/ 5917677 w 10505529"/>
              <a:gd name="connsiteY5378" fmla="*/ 6553047 h 7458372"/>
              <a:gd name="connsiteX5379" fmla="*/ 5915014 w 10505529"/>
              <a:gd name="connsiteY5379" fmla="*/ 6548921 h 7458372"/>
              <a:gd name="connsiteX5380" fmla="*/ 5911021 w 10505529"/>
              <a:gd name="connsiteY5380" fmla="*/ 6546259 h 7458372"/>
              <a:gd name="connsiteX5381" fmla="*/ 5905963 w 10505529"/>
              <a:gd name="connsiteY5381" fmla="*/ 6545327 h 7458372"/>
              <a:gd name="connsiteX5382" fmla="*/ 5688451 w 10505529"/>
              <a:gd name="connsiteY5382" fmla="*/ 6545327 h 7458372"/>
              <a:gd name="connsiteX5383" fmla="*/ 5678467 w 10505529"/>
              <a:gd name="connsiteY5383" fmla="*/ 6548921 h 7458372"/>
              <a:gd name="connsiteX5384" fmla="*/ 5674873 w 10505529"/>
              <a:gd name="connsiteY5384" fmla="*/ 6558372 h 7458372"/>
              <a:gd name="connsiteX5385" fmla="*/ 5678467 w 10505529"/>
              <a:gd name="connsiteY5385" fmla="*/ 6567823 h 7458372"/>
              <a:gd name="connsiteX5386" fmla="*/ 5688451 w 10505529"/>
              <a:gd name="connsiteY5386" fmla="*/ 6571286 h 7458372"/>
              <a:gd name="connsiteX5387" fmla="*/ 5693775 w 10505529"/>
              <a:gd name="connsiteY5387" fmla="*/ 6570354 h 7458372"/>
              <a:gd name="connsiteX5388" fmla="*/ 5697502 w 10505529"/>
              <a:gd name="connsiteY5388" fmla="*/ 6567957 h 7458372"/>
              <a:gd name="connsiteX5389" fmla="*/ 5700165 w 10505529"/>
              <a:gd name="connsiteY5389" fmla="*/ 6563697 h 7458372"/>
              <a:gd name="connsiteX5390" fmla="*/ 5701230 w 10505529"/>
              <a:gd name="connsiteY5390" fmla="*/ 6558239 h 7458372"/>
              <a:gd name="connsiteX5391" fmla="*/ 5700165 w 10505529"/>
              <a:gd name="connsiteY5391" fmla="*/ 6553047 h 7458372"/>
              <a:gd name="connsiteX5392" fmla="*/ 5697502 w 10505529"/>
              <a:gd name="connsiteY5392" fmla="*/ 6548921 h 7458372"/>
              <a:gd name="connsiteX5393" fmla="*/ 5693509 w 10505529"/>
              <a:gd name="connsiteY5393" fmla="*/ 6546259 h 7458372"/>
              <a:gd name="connsiteX5394" fmla="*/ 5688451 w 10505529"/>
              <a:gd name="connsiteY5394" fmla="*/ 6545327 h 7458372"/>
              <a:gd name="connsiteX5395" fmla="*/ 5470806 w 10505529"/>
              <a:gd name="connsiteY5395" fmla="*/ 6545327 h 7458372"/>
              <a:gd name="connsiteX5396" fmla="*/ 5460822 w 10505529"/>
              <a:gd name="connsiteY5396" fmla="*/ 6548921 h 7458372"/>
              <a:gd name="connsiteX5397" fmla="*/ 5457228 w 10505529"/>
              <a:gd name="connsiteY5397" fmla="*/ 6558372 h 7458372"/>
              <a:gd name="connsiteX5398" fmla="*/ 5460822 w 10505529"/>
              <a:gd name="connsiteY5398" fmla="*/ 6567823 h 7458372"/>
              <a:gd name="connsiteX5399" fmla="*/ 5470806 w 10505529"/>
              <a:gd name="connsiteY5399" fmla="*/ 6571286 h 7458372"/>
              <a:gd name="connsiteX5400" fmla="*/ 5476130 w 10505529"/>
              <a:gd name="connsiteY5400" fmla="*/ 6570354 h 7458372"/>
              <a:gd name="connsiteX5401" fmla="*/ 5479857 w 10505529"/>
              <a:gd name="connsiteY5401" fmla="*/ 6567957 h 7458372"/>
              <a:gd name="connsiteX5402" fmla="*/ 5482520 w 10505529"/>
              <a:gd name="connsiteY5402" fmla="*/ 6563697 h 7458372"/>
              <a:gd name="connsiteX5403" fmla="*/ 5483585 w 10505529"/>
              <a:gd name="connsiteY5403" fmla="*/ 6558239 h 7458372"/>
              <a:gd name="connsiteX5404" fmla="*/ 5482520 w 10505529"/>
              <a:gd name="connsiteY5404" fmla="*/ 6553047 h 7458372"/>
              <a:gd name="connsiteX5405" fmla="*/ 5479857 w 10505529"/>
              <a:gd name="connsiteY5405" fmla="*/ 6548921 h 7458372"/>
              <a:gd name="connsiteX5406" fmla="*/ 5475864 w 10505529"/>
              <a:gd name="connsiteY5406" fmla="*/ 6546259 h 7458372"/>
              <a:gd name="connsiteX5407" fmla="*/ 5470806 w 10505529"/>
              <a:gd name="connsiteY5407" fmla="*/ 6545327 h 7458372"/>
              <a:gd name="connsiteX5408" fmla="*/ 5253160 w 10505529"/>
              <a:gd name="connsiteY5408" fmla="*/ 6545327 h 7458372"/>
              <a:gd name="connsiteX5409" fmla="*/ 5243177 w 10505529"/>
              <a:gd name="connsiteY5409" fmla="*/ 6548921 h 7458372"/>
              <a:gd name="connsiteX5410" fmla="*/ 5239583 w 10505529"/>
              <a:gd name="connsiteY5410" fmla="*/ 6558372 h 7458372"/>
              <a:gd name="connsiteX5411" fmla="*/ 5243177 w 10505529"/>
              <a:gd name="connsiteY5411" fmla="*/ 6567823 h 7458372"/>
              <a:gd name="connsiteX5412" fmla="*/ 5253160 w 10505529"/>
              <a:gd name="connsiteY5412" fmla="*/ 6571286 h 7458372"/>
              <a:gd name="connsiteX5413" fmla="*/ 5258485 w 10505529"/>
              <a:gd name="connsiteY5413" fmla="*/ 6570354 h 7458372"/>
              <a:gd name="connsiteX5414" fmla="*/ 5262212 w 10505529"/>
              <a:gd name="connsiteY5414" fmla="*/ 6567957 h 7458372"/>
              <a:gd name="connsiteX5415" fmla="*/ 5264875 w 10505529"/>
              <a:gd name="connsiteY5415" fmla="*/ 6563697 h 7458372"/>
              <a:gd name="connsiteX5416" fmla="*/ 5265939 w 10505529"/>
              <a:gd name="connsiteY5416" fmla="*/ 6558239 h 7458372"/>
              <a:gd name="connsiteX5417" fmla="*/ 5264875 w 10505529"/>
              <a:gd name="connsiteY5417" fmla="*/ 6553047 h 7458372"/>
              <a:gd name="connsiteX5418" fmla="*/ 5262212 w 10505529"/>
              <a:gd name="connsiteY5418" fmla="*/ 6548921 h 7458372"/>
              <a:gd name="connsiteX5419" fmla="*/ 5258219 w 10505529"/>
              <a:gd name="connsiteY5419" fmla="*/ 6546259 h 7458372"/>
              <a:gd name="connsiteX5420" fmla="*/ 5253160 w 10505529"/>
              <a:gd name="connsiteY5420" fmla="*/ 6545327 h 7458372"/>
              <a:gd name="connsiteX5421" fmla="*/ 5035515 w 10505529"/>
              <a:gd name="connsiteY5421" fmla="*/ 6545327 h 7458372"/>
              <a:gd name="connsiteX5422" fmla="*/ 5025532 w 10505529"/>
              <a:gd name="connsiteY5422" fmla="*/ 6548921 h 7458372"/>
              <a:gd name="connsiteX5423" fmla="*/ 5021938 w 10505529"/>
              <a:gd name="connsiteY5423" fmla="*/ 6558372 h 7458372"/>
              <a:gd name="connsiteX5424" fmla="*/ 5025532 w 10505529"/>
              <a:gd name="connsiteY5424" fmla="*/ 6567823 h 7458372"/>
              <a:gd name="connsiteX5425" fmla="*/ 5035515 w 10505529"/>
              <a:gd name="connsiteY5425" fmla="*/ 6571286 h 7458372"/>
              <a:gd name="connsiteX5426" fmla="*/ 5040840 w 10505529"/>
              <a:gd name="connsiteY5426" fmla="*/ 6570354 h 7458372"/>
              <a:gd name="connsiteX5427" fmla="*/ 5044567 w 10505529"/>
              <a:gd name="connsiteY5427" fmla="*/ 6567957 h 7458372"/>
              <a:gd name="connsiteX5428" fmla="*/ 5047230 w 10505529"/>
              <a:gd name="connsiteY5428" fmla="*/ 6563697 h 7458372"/>
              <a:gd name="connsiteX5429" fmla="*/ 5048294 w 10505529"/>
              <a:gd name="connsiteY5429" fmla="*/ 6558239 h 7458372"/>
              <a:gd name="connsiteX5430" fmla="*/ 5047230 w 10505529"/>
              <a:gd name="connsiteY5430" fmla="*/ 6553047 h 7458372"/>
              <a:gd name="connsiteX5431" fmla="*/ 5044567 w 10505529"/>
              <a:gd name="connsiteY5431" fmla="*/ 6548921 h 7458372"/>
              <a:gd name="connsiteX5432" fmla="*/ 5040574 w 10505529"/>
              <a:gd name="connsiteY5432" fmla="*/ 6546259 h 7458372"/>
              <a:gd name="connsiteX5433" fmla="*/ 5035515 w 10505529"/>
              <a:gd name="connsiteY5433" fmla="*/ 6545327 h 7458372"/>
              <a:gd name="connsiteX5434" fmla="*/ 4817870 w 10505529"/>
              <a:gd name="connsiteY5434" fmla="*/ 6545327 h 7458372"/>
              <a:gd name="connsiteX5435" fmla="*/ 4807887 w 10505529"/>
              <a:gd name="connsiteY5435" fmla="*/ 6548921 h 7458372"/>
              <a:gd name="connsiteX5436" fmla="*/ 4804293 w 10505529"/>
              <a:gd name="connsiteY5436" fmla="*/ 6558372 h 7458372"/>
              <a:gd name="connsiteX5437" fmla="*/ 4807887 w 10505529"/>
              <a:gd name="connsiteY5437" fmla="*/ 6567823 h 7458372"/>
              <a:gd name="connsiteX5438" fmla="*/ 4817870 w 10505529"/>
              <a:gd name="connsiteY5438" fmla="*/ 6571286 h 7458372"/>
              <a:gd name="connsiteX5439" fmla="*/ 4823195 w 10505529"/>
              <a:gd name="connsiteY5439" fmla="*/ 6570354 h 7458372"/>
              <a:gd name="connsiteX5440" fmla="*/ 4826922 w 10505529"/>
              <a:gd name="connsiteY5440" fmla="*/ 6567957 h 7458372"/>
              <a:gd name="connsiteX5441" fmla="*/ 4829585 w 10505529"/>
              <a:gd name="connsiteY5441" fmla="*/ 6563697 h 7458372"/>
              <a:gd name="connsiteX5442" fmla="*/ 4830650 w 10505529"/>
              <a:gd name="connsiteY5442" fmla="*/ 6558239 h 7458372"/>
              <a:gd name="connsiteX5443" fmla="*/ 4829585 w 10505529"/>
              <a:gd name="connsiteY5443" fmla="*/ 6553047 h 7458372"/>
              <a:gd name="connsiteX5444" fmla="*/ 4826922 w 10505529"/>
              <a:gd name="connsiteY5444" fmla="*/ 6548921 h 7458372"/>
              <a:gd name="connsiteX5445" fmla="*/ 4822929 w 10505529"/>
              <a:gd name="connsiteY5445" fmla="*/ 6546259 h 7458372"/>
              <a:gd name="connsiteX5446" fmla="*/ 4817870 w 10505529"/>
              <a:gd name="connsiteY5446" fmla="*/ 6545327 h 7458372"/>
              <a:gd name="connsiteX5447" fmla="*/ 4600226 w 10505529"/>
              <a:gd name="connsiteY5447" fmla="*/ 6545327 h 7458372"/>
              <a:gd name="connsiteX5448" fmla="*/ 4590242 w 10505529"/>
              <a:gd name="connsiteY5448" fmla="*/ 6548921 h 7458372"/>
              <a:gd name="connsiteX5449" fmla="*/ 4586648 w 10505529"/>
              <a:gd name="connsiteY5449" fmla="*/ 6558372 h 7458372"/>
              <a:gd name="connsiteX5450" fmla="*/ 4590242 w 10505529"/>
              <a:gd name="connsiteY5450" fmla="*/ 6567823 h 7458372"/>
              <a:gd name="connsiteX5451" fmla="*/ 4600226 w 10505529"/>
              <a:gd name="connsiteY5451" fmla="*/ 6571286 h 7458372"/>
              <a:gd name="connsiteX5452" fmla="*/ 4605550 w 10505529"/>
              <a:gd name="connsiteY5452" fmla="*/ 6570354 h 7458372"/>
              <a:gd name="connsiteX5453" fmla="*/ 4609277 w 10505529"/>
              <a:gd name="connsiteY5453" fmla="*/ 6567957 h 7458372"/>
              <a:gd name="connsiteX5454" fmla="*/ 4611940 w 10505529"/>
              <a:gd name="connsiteY5454" fmla="*/ 6563697 h 7458372"/>
              <a:gd name="connsiteX5455" fmla="*/ 4613005 w 10505529"/>
              <a:gd name="connsiteY5455" fmla="*/ 6558239 h 7458372"/>
              <a:gd name="connsiteX5456" fmla="*/ 4611940 w 10505529"/>
              <a:gd name="connsiteY5456" fmla="*/ 6553047 h 7458372"/>
              <a:gd name="connsiteX5457" fmla="*/ 4609277 w 10505529"/>
              <a:gd name="connsiteY5457" fmla="*/ 6548921 h 7458372"/>
              <a:gd name="connsiteX5458" fmla="*/ 4605284 w 10505529"/>
              <a:gd name="connsiteY5458" fmla="*/ 6546259 h 7458372"/>
              <a:gd name="connsiteX5459" fmla="*/ 4600226 w 10505529"/>
              <a:gd name="connsiteY5459" fmla="*/ 6545327 h 7458372"/>
              <a:gd name="connsiteX5460" fmla="*/ 4382713 w 10505529"/>
              <a:gd name="connsiteY5460" fmla="*/ 6545327 h 7458372"/>
              <a:gd name="connsiteX5461" fmla="*/ 4372730 w 10505529"/>
              <a:gd name="connsiteY5461" fmla="*/ 6548921 h 7458372"/>
              <a:gd name="connsiteX5462" fmla="*/ 4369136 w 10505529"/>
              <a:gd name="connsiteY5462" fmla="*/ 6558372 h 7458372"/>
              <a:gd name="connsiteX5463" fmla="*/ 4372730 w 10505529"/>
              <a:gd name="connsiteY5463" fmla="*/ 6567823 h 7458372"/>
              <a:gd name="connsiteX5464" fmla="*/ 4382713 w 10505529"/>
              <a:gd name="connsiteY5464" fmla="*/ 6571286 h 7458372"/>
              <a:gd name="connsiteX5465" fmla="*/ 4388038 w 10505529"/>
              <a:gd name="connsiteY5465" fmla="*/ 6570354 h 7458372"/>
              <a:gd name="connsiteX5466" fmla="*/ 4391765 w 10505529"/>
              <a:gd name="connsiteY5466" fmla="*/ 6567957 h 7458372"/>
              <a:gd name="connsiteX5467" fmla="*/ 4394428 w 10505529"/>
              <a:gd name="connsiteY5467" fmla="*/ 6563697 h 7458372"/>
              <a:gd name="connsiteX5468" fmla="*/ 4395493 w 10505529"/>
              <a:gd name="connsiteY5468" fmla="*/ 6558239 h 7458372"/>
              <a:gd name="connsiteX5469" fmla="*/ 4394428 w 10505529"/>
              <a:gd name="connsiteY5469" fmla="*/ 6553047 h 7458372"/>
              <a:gd name="connsiteX5470" fmla="*/ 4391765 w 10505529"/>
              <a:gd name="connsiteY5470" fmla="*/ 6548921 h 7458372"/>
              <a:gd name="connsiteX5471" fmla="*/ 4387772 w 10505529"/>
              <a:gd name="connsiteY5471" fmla="*/ 6546259 h 7458372"/>
              <a:gd name="connsiteX5472" fmla="*/ 4382713 w 10505529"/>
              <a:gd name="connsiteY5472" fmla="*/ 6545327 h 7458372"/>
              <a:gd name="connsiteX5473" fmla="*/ 4165068 w 10505529"/>
              <a:gd name="connsiteY5473" fmla="*/ 6545327 h 7458372"/>
              <a:gd name="connsiteX5474" fmla="*/ 4155084 w 10505529"/>
              <a:gd name="connsiteY5474" fmla="*/ 6548921 h 7458372"/>
              <a:gd name="connsiteX5475" fmla="*/ 4151490 w 10505529"/>
              <a:gd name="connsiteY5475" fmla="*/ 6558372 h 7458372"/>
              <a:gd name="connsiteX5476" fmla="*/ 4155084 w 10505529"/>
              <a:gd name="connsiteY5476" fmla="*/ 6567823 h 7458372"/>
              <a:gd name="connsiteX5477" fmla="*/ 4165068 w 10505529"/>
              <a:gd name="connsiteY5477" fmla="*/ 6571286 h 7458372"/>
              <a:gd name="connsiteX5478" fmla="*/ 4170392 w 10505529"/>
              <a:gd name="connsiteY5478" fmla="*/ 6570354 h 7458372"/>
              <a:gd name="connsiteX5479" fmla="*/ 4174119 w 10505529"/>
              <a:gd name="connsiteY5479" fmla="*/ 6567957 h 7458372"/>
              <a:gd name="connsiteX5480" fmla="*/ 4176782 w 10505529"/>
              <a:gd name="connsiteY5480" fmla="*/ 6563697 h 7458372"/>
              <a:gd name="connsiteX5481" fmla="*/ 4177847 w 10505529"/>
              <a:gd name="connsiteY5481" fmla="*/ 6558239 h 7458372"/>
              <a:gd name="connsiteX5482" fmla="*/ 4176782 w 10505529"/>
              <a:gd name="connsiteY5482" fmla="*/ 6553047 h 7458372"/>
              <a:gd name="connsiteX5483" fmla="*/ 4174119 w 10505529"/>
              <a:gd name="connsiteY5483" fmla="*/ 6548921 h 7458372"/>
              <a:gd name="connsiteX5484" fmla="*/ 4170126 w 10505529"/>
              <a:gd name="connsiteY5484" fmla="*/ 6546259 h 7458372"/>
              <a:gd name="connsiteX5485" fmla="*/ 4165068 w 10505529"/>
              <a:gd name="connsiteY5485" fmla="*/ 6545327 h 7458372"/>
              <a:gd name="connsiteX5486" fmla="*/ 3947779 w 10505529"/>
              <a:gd name="connsiteY5486" fmla="*/ 6545327 h 7458372"/>
              <a:gd name="connsiteX5487" fmla="*/ 3937796 w 10505529"/>
              <a:gd name="connsiteY5487" fmla="*/ 6548921 h 7458372"/>
              <a:gd name="connsiteX5488" fmla="*/ 3934201 w 10505529"/>
              <a:gd name="connsiteY5488" fmla="*/ 6558372 h 7458372"/>
              <a:gd name="connsiteX5489" fmla="*/ 3937796 w 10505529"/>
              <a:gd name="connsiteY5489" fmla="*/ 6567823 h 7458372"/>
              <a:gd name="connsiteX5490" fmla="*/ 3947779 w 10505529"/>
              <a:gd name="connsiteY5490" fmla="*/ 6571286 h 7458372"/>
              <a:gd name="connsiteX5491" fmla="*/ 3953108 w 10505529"/>
              <a:gd name="connsiteY5491" fmla="*/ 6570354 h 7458372"/>
              <a:gd name="connsiteX5492" fmla="*/ 3956835 w 10505529"/>
              <a:gd name="connsiteY5492" fmla="*/ 6567957 h 7458372"/>
              <a:gd name="connsiteX5493" fmla="*/ 3959498 w 10505529"/>
              <a:gd name="connsiteY5493" fmla="*/ 6563697 h 7458372"/>
              <a:gd name="connsiteX5494" fmla="*/ 3960563 w 10505529"/>
              <a:gd name="connsiteY5494" fmla="*/ 6558239 h 7458372"/>
              <a:gd name="connsiteX5495" fmla="*/ 3959498 w 10505529"/>
              <a:gd name="connsiteY5495" fmla="*/ 6553047 h 7458372"/>
              <a:gd name="connsiteX5496" fmla="*/ 3956835 w 10505529"/>
              <a:gd name="connsiteY5496" fmla="*/ 6548921 h 7458372"/>
              <a:gd name="connsiteX5497" fmla="*/ 3952841 w 10505529"/>
              <a:gd name="connsiteY5497" fmla="*/ 6546259 h 7458372"/>
              <a:gd name="connsiteX5498" fmla="*/ 3947779 w 10505529"/>
              <a:gd name="connsiteY5498" fmla="*/ 6545327 h 7458372"/>
              <a:gd name="connsiteX5499" fmla="*/ 3730118 w 10505529"/>
              <a:gd name="connsiteY5499" fmla="*/ 6545327 h 7458372"/>
              <a:gd name="connsiteX5500" fmla="*/ 3720131 w 10505529"/>
              <a:gd name="connsiteY5500" fmla="*/ 6548921 h 7458372"/>
              <a:gd name="connsiteX5501" fmla="*/ 3716538 w 10505529"/>
              <a:gd name="connsiteY5501" fmla="*/ 6558372 h 7458372"/>
              <a:gd name="connsiteX5502" fmla="*/ 3720131 w 10505529"/>
              <a:gd name="connsiteY5502" fmla="*/ 6567823 h 7458372"/>
              <a:gd name="connsiteX5503" fmla="*/ 3730118 w 10505529"/>
              <a:gd name="connsiteY5503" fmla="*/ 6571286 h 7458372"/>
              <a:gd name="connsiteX5504" fmla="*/ 3735443 w 10505529"/>
              <a:gd name="connsiteY5504" fmla="*/ 6570354 h 7458372"/>
              <a:gd name="connsiteX5505" fmla="*/ 3739171 w 10505529"/>
              <a:gd name="connsiteY5505" fmla="*/ 6567957 h 7458372"/>
              <a:gd name="connsiteX5506" fmla="*/ 3741834 w 10505529"/>
              <a:gd name="connsiteY5506" fmla="*/ 6563697 h 7458372"/>
              <a:gd name="connsiteX5507" fmla="*/ 3742898 w 10505529"/>
              <a:gd name="connsiteY5507" fmla="*/ 6558239 h 7458372"/>
              <a:gd name="connsiteX5508" fmla="*/ 3741834 w 10505529"/>
              <a:gd name="connsiteY5508" fmla="*/ 6553047 h 7458372"/>
              <a:gd name="connsiteX5509" fmla="*/ 3739171 w 10505529"/>
              <a:gd name="connsiteY5509" fmla="*/ 6548921 h 7458372"/>
              <a:gd name="connsiteX5510" fmla="*/ 3735178 w 10505529"/>
              <a:gd name="connsiteY5510" fmla="*/ 6546259 h 7458372"/>
              <a:gd name="connsiteX5511" fmla="*/ 3730118 w 10505529"/>
              <a:gd name="connsiteY5511" fmla="*/ 6545327 h 7458372"/>
              <a:gd name="connsiteX5512" fmla="*/ 3512454 w 10505529"/>
              <a:gd name="connsiteY5512" fmla="*/ 6545327 h 7458372"/>
              <a:gd name="connsiteX5513" fmla="*/ 3502464 w 10505529"/>
              <a:gd name="connsiteY5513" fmla="*/ 6548921 h 7458372"/>
              <a:gd name="connsiteX5514" fmla="*/ 3498871 w 10505529"/>
              <a:gd name="connsiteY5514" fmla="*/ 6558372 h 7458372"/>
              <a:gd name="connsiteX5515" fmla="*/ 3502464 w 10505529"/>
              <a:gd name="connsiteY5515" fmla="*/ 6567823 h 7458372"/>
              <a:gd name="connsiteX5516" fmla="*/ 3512454 w 10505529"/>
              <a:gd name="connsiteY5516" fmla="*/ 6571286 h 7458372"/>
              <a:gd name="connsiteX5517" fmla="*/ 3517780 w 10505529"/>
              <a:gd name="connsiteY5517" fmla="*/ 6570354 h 7458372"/>
              <a:gd name="connsiteX5518" fmla="*/ 3521507 w 10505529"/>
              <a:gd name="connsiteY5518" fmla="*/ 6567957 h 7458372"/>
              <a:gd name="connsiteX5519" fmla="*/ 3524170 w 10505529"/>
              <a:gd name="connsiteY5519" fmla="*/ 6563697 h 7458372"/>
              <a:gd name="connsiteX5520" fmla="*/ 3525235 w 10505529"/>
              <a:gd name="connsiteY5520" fmla="*/ 6558239 h 7458372"/>
              <a:gd name="connsiteX5521" fmla="*/ 3524170 w 10505529"/>
              <a:gd name="connsiteY5521" fmla="*/ 6553047 h 7458372"/>
              <a:gd name="connsiteX5522" fmla="*/ 3521507 w 10505529"/>
              <a:gd name="connsiteY5522" fmla="*/ 6548921 h 7458372"/>
              <a:gd name="connsiteX5523" fmla="*/ 3517514 w 10505529"/>
              <a:gd name="connsiteY5523" fmla="*/ 6546259 h 7458372"/>
              <a:gd name="connsiteX5524" fmla="*/ 3512454 w 10505529"/>
              <a:gd name="connsiteY5524" fmla="*/ 6545327 h 7458372"/>
              <a:gd name="connsiteX5525" fmla="*/ 3294924 w 10505529"/>
              <a:gd name="connsiteY5525" fmla="*/ 6545327 h 7458372"/>
              <a:gd name="connsiteX5526" fmla="*/ 3284937 w 10505529"/>
              <a:gd name="connsiteY5526" fmla="*/ 6548921 h 7458372"/>
              <a:gd name="connsiteX5527" fmla="*/ 3281343 w 10505529"/>
              <a:gd name="connsiteY5527" fmla="*/ 6558372 h 7458372"/>
              <a:gd name="connsiteX5528" fmla="*/ 3284937 w 10505529"/>
              <a:gd name="connsiteY5528" fmla="*/ 6567823 h 7458372"/>
              <a:gd name="connsiteX5529" fmla="*/ 3294924 w 10505529"/>
              <a:gd name="connsiteY5529" fmla="*/ 6571286 h 7458372"/>
              <a:gd name="connsiteX5530" fmla="*/ 3300250 w 10505529"/>
              <a:gd name="connsiteY5530" fmla="*/ 6570354 h 7458372"/>
              <a:gd name="connsiteX5531" fmla="*/ 3303977 w 10505529"/>
              <a:gd name="connsiteY5531" fmla="*/ 6567957 h 7458372"/>
              <a:gd name="connsiteX5532" fmla="*/ 3306640 w 10505529"/>
              <a:gd name="connsiteY5532" fmla="*/ 6563697 h 7458372"/>
              <a:gd name="connsiteX5533" fmla="*/ 3307704 w 10505529"/>
              <a:gd name="connsiteY5533" fmla="*/ 6558239 h 7458372"/>
              <a:gd name="connsiteX5534" fmla="*/ 3306640 w 10505529"/>
              <a:gd name="connsiteY5534" fmla="*/ 6553047 h 7458372"/>
              <a:gd name="connsiteX5535" fmla="*/ 3303977 w 10505529"/>
              <a:gd name="connsiteY5535" fmla="*/ 6548921 h 7458372"/>
              <a:gd name="connsiteX5536" fmla="*/ 3299984 w 10505529"/>
              <a:gd name="connsiteY5536" fmla="*/ 6546259 h 7458372"/>
              <a:gd name="connsiteX5537" fmla="*/ 3294924 w 10505529"/>
              <a:gd name="connsiteY5537" fmla="*/ 6545327 h 7458372"/>
              <a:gd name="connsiteX5538" fmla="*/ 3077393 w 10505529"/>
              <a:gd name="connsiteY5538" fmla="*/ 6545327 h 7458372"/>
              <a:gd name="connsiteX5539" fmla="*/ 3067409 w 10505529"/>
              <a:gd name="connsiteY5539" fmla="*/ 6548921 h 7458372"/>
              <a:gd name="connsiteX5540" fmla="*/ 3063678 w 10505529"/>
              <a:gd name="connsiteY5540" fmla="*/ 6558372 h 7458372"/>
              <a:gd name="connsiteX5541" fmla="*/ 3067275 w 10505529"/>
              <a:gd name="connsiteY5541" fmla="*/ 6567823 h 7458372"/>
              <a:gd name="connsiteX5542" fmla="*/ 3077260 w 10505529"/>
              <a:gd name="connsiteY5542" fmla="*/ 6571286 h 7458372"/>
              <a:gd name="connsiteX5543" fmla="*/ 3082718 w 10505529"/>
              <a:gd name="connsiteY5543" fmla="*/ 6570354 h 7458372"/>
              <a:gd name="connsiteX5544" fmla="*/ 3086446 w 10505529"/>
              <a:gd name="connsiteY5544" fmla="*/ 6567957 h 7458372"/>
              <a:gd name="connsiteX5545" fmla="*/ 3089108 w 10505529"/>
              <a:gd name="connsiteY5545" fmla="*/ 6563697 h 7458372"/>
              <a:gd name="connsiteX5546" fmla="*/ 3090041 w 10505529"/>
              <a:gd name="connsiteY5546" fmla="*/ 6558239 h 7458372"/>
              <a:gd name="connsiteX5547" fmla="*/ 3089108 w 10505529"/>
              <a:gd name="connsiteY5547" fmla="*/ 6553047 h 7458372"/>
              <a:gd name="connsiteX5548" fmla="*/ 3086446 w 10505529"/>
              <a:gd name="connsiteY5548" fmla="*/ 6548921 h 7458372"/>
              <a:gd name="connsiteX5549" fmla="*/ 3082453 w 10505529"/>
              <a:gd name="connsiteY5549" fmla="*/ 6546259 h 7458372"/>
              <a:gd name="connsiteX5550" fmla="*/ 3077393 w 10505529"/>
              <a:gd name="connsiteY5550" fmla="*/ 6545327 h 7458372"/>
              <a:gd name="connsiteX5551" fmla="*/ 2859597 w 10505529"/>
              <a:gd name="connsiteY5551" fmla="*/ 6545327 h 7458372"/>
              <a:gd name="connsiteX5552" fmla="*/ 2849611 w 10505529"/>
              <a:gd name="connsiteY5552" fmla="*/ 6548921 h 7458372"/>
              <a:gd name="connsiteX5553" fmla="*/ 2846011 w 10505529"/>
              <a:gd name="connsiteY5553" fmla="*/ 6558372 h 7458372"/>
              <a:gd name="connsiteX5554" fmla="*/ 2849611 w 10505529"/>
              <a:gd name="connsiteY5554" fmla="*/ 6567823 h 7458372"/>
              <a:gd name="connsiteX5555" fmla="*/ 2859597 w 10505529"/>
              <a:gd name="connsiteY5555" fmla="*/ 6571286 h 7458372"/>
              <a:gd name="connsiteX5556" fmla="*/ 2864922 w 10505529"/>
              <a:gd name="connsiteY5556" fmla="*/ 6570354 h 7458372"/>
              <a:gd name="connsiteX5557" fmla="*/ 2868648 w 10505529"/>
              <a:gd name="connsiteY5557" fmla="*/ 6567957 h 7458372"/>
              <a:gd name="connsiteX5558" fmla="*/ 2871312 w 10505529"/>
              <a:gd name="connsiteY5558" fmla="*/ 6563697 h 7458372"/>
              <a:gd name="connsiteX5559" fmla="*/ 2872243 w 10505529"/>
              <a:gd name="connsiteY5559" fmla="*/ 6558239 h 7458372"/>
              <a:gd name="connsiteX5560" fmla="*/ 2871312 w 10505529"/>
              <a:gd name="connsiteY5560" fmla="*/ 6553047 h 7458372"/>
              <a:gd name="connsiteX5561" fmla="*/ 2868648 w 10505529"/>
              <a:gd name="connsiteY5561" fmla="*/ 6548921 h 7458372"/>
              <a:gd name="connsiteX5562" fmla="*/ 2864656 w 10505529"/>
              <a:gd name="connsiteY5562" fmla="*/ 6546259 h 7458372"/>
              <a:gd name="connsiteX5563" fmla="*/ 2859597 w 10505529"/>
              <a:gd name="connsiteY5563" fmla="*/ 6545327 h 7458372"/>
              <a:gd name="connsiteX5564" fmla="*/ 2641933 w 10505529"/>
              <a:gd name="connsiteY5564" fmla="*/ 6545327 h 7458372"/>
              <a:gd name="connsiteX5565" fmla="*/ 2631950 w 10505529"/>
              <a:gd name="connsiteY5565" fmla="*/ 6548921 h 7458372"/>
              <a:gd name="connsiteX5566" fmla="*/ 2628355 w 10505529"/>
              <a:gd name="connsiteY5566" fmla="*/ 6558372 h 7458372"/>
              <a:gd name="connsiteX5567" fmla="*/ 2631950 w 10505529"/>
              <a:gd name="connsiteY5567" fmla="*/ 6567823 h 7458372"/>
              <a:gd name="connsiteX5568" fmla="*/ 2641933 w 10505529"/>
              <a:gd name="connsiteY5568" fmla="*/ 6571286 h 7458372"/>
              <a:gd name="connsiteX5569" fmla="*/ 2647258 w 10505529"/>
              <a:gd name="connsiteY5569" fmla="*/ 6570354 h 7458372"/>
              <a:gd name="connsiteX5570" fmla="*/ 2650985 w 10505529"/>
              <a:gd name="connsiteY5570" fmla="*/ 6567957 h 7458372"/>
              <a:gd name="connsiteX5571" fmla="*/ 2653648 w 10505529"/>
              <a:gd name="connsiteY5571" fmla="*/ 6563697 h 7458372"/>
              <a:gd name="connsiteX5572" fmla="*/ 2654579 w 10505529"/>
              <a:gd name="connsiteY5572" fmla="*/ 6558239 h 7458372"/>
              <a:gd name="connsiteX5573" fmla="*/ 2653648 w 10505529"/>
              <a:gd name="connsiteY5573" fmla="*/ 6553047 h 7458372"/>
              <a:gd name="connsiteX5574" fmla="*/ 2650985 w 10505529"/>
              <a:gd name="connsiteY5574" fmla="*/ 6548921 h 7458372"/>
              <a:gd name="connsiteX5575" fmla="*/ 2646992 w 10505529"/>
              <a:gd name="connsiteY5575" fmla="*/ 6546259 h 7458372"/>
              <a:gd name="connsiteX5576" fmla="*/ 2641933 w 10505529"/>
              <a:gd name="connsiteY5576" fmla="*/ 6545327 h 7458372"/>
              <a:gd name="connsiteX5577" fmla="*/ 2424268 w 10505529"/>
              <a:gd name="connsiteY5577" fmla="*/ 6545327 h 7458372"/>
              <a:gd name="connsiteX5578" fmla="*/ 2414285 w 10505529"/>
              <a:gd name="connsiteY5578" fmla="*/ 6548921 h 7458372"/>
              <a:gd name="connsiteX5579" fmla="*/ 2410691 w 10505529"/>
              <a:gd name="connsiteY5579" fmla="*/ 6558372 h 7458372"/>
              <a:gd name="connsiteX5580" fmla="*/ 2414285 w 10505529"/>
              <a:gd name="connsiteY5580" fmla="*/ 6567823 h 7458372"/>
              <a:gd name="connsiteX5581" fmla="*/ 2424268 w 10505529"/>
              <a:gd name="connsiteY5581" fmla="*/ 6571286 h 7458372"/>
              <a:gd name="connsiteX5582" fmla="*/ 2429594 w 10505529"/>
              <a:gd name="connsiteY5582" fmla="*/ 6570354 h 7458372"/>
              <a:gd name="connsiteX5583" fmla="*/ 2433321 w 10505529"/>
              <a:gd name="connsiteY5583" fmla="*/ 6567957 h 7458372"/>
              <a:gd name="connsiteX5584" fmla="*/ 2435984 w 10505529"/>
              <a:gd name="connsiteY5584" fmla="*/ 6563697 h 7458372"/>
              <a:gd name="connsiteX5585" fmla="*/ 2436915 w 10505529"/>
              <a:gd name="connsiteY5585" fmla="*/ 6558239 h 7458372"/>
              <a:gd name="connsiteX5586" fmla="*/ 2435984 w 10505529"/>
              <a:gd name="connsiteY5586" fmla="*/ 6553047 h 7458372"/>
              <a:gd name="connsiteX5587" fmla="*/ 2433321 w 10505529"/>
              <a:gd name="connsiteY5587" fmla="*/ 6548921 h 7458372"/>
              <a:gd name="connsiteX5588" fmla="*/ 2429328 w 10505529"/>
              <a:gd name="connsiteY5588" fmla="*/ 6546259 h 7458372"/>
              <a:gd name="connsiteX5589" fmla="*/ 2424268 w 10505529"/>
              <a:gd name="connsiteY5589" fmla="*/ 6545327 h 7458372"/>
              <a:gd name="connsiteX5590" fmla="*/ 2206605 w 10505529"/>
              <a:gd name="connsiteY5590" fmla="*/ 6545327 h 7458372"/>
              <a:gd name="connsiteX5591" fmla="*/ 2196621 w 10505529"/>
              <a:gd name="connsiteY5591" fmla="*/ 6548921 h 7458372"/>
              <a:gd name="connsiteX5592" fmla="*/ 2193027 w 10505529"/>
              <a:gd name="connsiteY5592" fmla="*/ 6558372 h 7458372"/>
              <a:gd name="connsiteX5593" fmla="*/ 2196621 w 10505529"/>
              <a:gd name="connsiteY5593" fmla="*/ 6567823 h 7458372"/>
              <a:gd name="connsiteX5594" fmla="*/ 2206605 w 10505529"/>
              <a:gd name="connsiteY5594" fmla="*/ 6571286 h 7458372"/>
              <a:gd name="connsiteX5595" fmla="*/ 2211930 w 10505529"/>
              <a:gd name="connsiteY5595" fmla="*/ 6570354 h 7458372"/>
              <a:gd name="connsiteX5596" fmla="*/ 2215657 w 10505529"/>
              <a:gd name="connsiteY5596" fmla="*/ 6567957 h 7458372"/>
              <a:gd name="connsiteX5597" fmla="*/ 2218320 w 10505529"/>
              <a:gd name="connsiteY5597" fmla="*/ 6563697 h 7458372"/>
              <a:gd name="connsiteX5598" fmla="*/ 2219251 w 10505529"/>
              <a:gd name="connsiteY5598" fmla="*/ 6558239 h 7458372"/>
              <a:gd name="connsiteX5599" fmla="*/ 2218320 w 10505529"/>
              <a:gd name="connsiteY5599" fmla="*/ 6553047 h 7458372"/>
              <a:gd name="connsiteX5600" fmla="*/ 2215657 w 10505529"/>
              <a:gd name="connsiteY5600" fmla="*/ 6548921 h 7458372"/>
              <a:gd name="connsiteX5601" fmla="*/ 2211664 w 10505529"/>
              <a:gd name="connsiteY5601" fmla="*/ 6546259 h 7458372"/>
              <a:gd name="connsiteX5602" fmla="*/ 2206605 w 10505529"/>
              <a:gd name="connsiteY5602" fmla="*/ 6545327 h 7458372"/>
              <a:gd name="connsiteX5603" fmla="*/ 1989074 w 10505529"/>
              <a:gd name="connsiteY5603" fmla="*/ 6545327 h 7458372"/>
              <a:gd name="connsiteX5604" fmla="*/ 1979091 w 10505529"/>
              <a:gd name="connsiteY5604" fmla="*/ 6548921 h 7458372"/>
              <a:gd name="connsiteX5605" fmla="*/ 1975497 w 10505529"/>
              <a:gd name="connsiteY5605" fmla="*/ 6558372 h 7458372"/>
              <a:gd name="connsiteX5606" fmla="*/ 1979091 w 10505529"/>
              <a:gd name="connsiteY5606" fmla="*/ 6567823 h 7458372"/>
              <a:gd name="connsiteX5607" fmla="*/ 1989074 w 10505529"/>
              <a:gd name="connsiteY5607" fmla="*/ 6571286 h 7458372"/>
              <a:gd name="connsiteX5608" fmla="*/ 1994399 w 10505529"/>
              <a:gd name="connsiteY5608" fmla="*/ 6570354 h 7458372"/>
              <a:gd name="connsiteX5609" fmla="*/ 1998126 w 10505529"/>
              <a:gd name="connsiteY5609" fmla="*/ 6567957 h 7458372"/>
              <a:gd name="connsiteX5610" fmla="*/ 2000789 w 10505529"/>
              <a:gd name="connsiteY5610" fmla="*/ 6563697 h 7458372"/>
              <a:gd name="connsiteX5611" fmla="*/ 2001720 w 10505529"/>
              <a:gd name="connsiteY5611" fmla="*/ 6558239 h 7458372"/>
              <a:gd name="connsiteX5612" fmla="*/ 2000789 w 10505529"/>
              <a:gd name="connsiteY5612" fmla="*/ 6553047 h 7458372"/>
              <a:gd name="connsiteX5613" fmla="*/ 1998126 w 10505529"/>
              <a:gd name="connsiteY5613" fmla="*/ 6548921 h 7458372"/>
              <a:gd name="connsiteX5614" fmla="*/ 1994133 w 10505529"/>
              <a:gd name="connsiteY5614" fmla="*/ 6546259 h 7458372"/>
              <a:gd name="connsiteX5615" fmla="*/ 1989074 w 10505529"/>
              <a:gd name="connsiteY5615" fmla="*/ 6545327 h 7458372"/>
              <a:gd name="connsiteX5616" fmla="*/ 1771442 w 10505529"/>
              <a:gd name="connsiteY5616" fmla="*/ 6545327 h 7458372"/>
              <a:gd name="connsiteX5617" fmla="*/ 1761460 w 10505529"/>
              <a:gd name="connsiteY5617" fmla="*/ 6548921 h 7458372"/>
              <a:gd name="connsiteX5618" fmla="*/ 1757867 w 10505529"/>
              <a:gd name="connsiteY5618" fmla="*/ 6558372 h 7458372"/>
              <a:gd name="connsiteX5619" fmla="*/ 1761460 w 10505529"/>
              <a:gd name="connsiteY5619" fmla="*/ 6567823 h 7458372"/>
              <a:gd name="connsiteX5620" fmla="*/ 1771442 w 10505529"/>
              <a:gd name="connsiteY5620" fmla="*/ 6571286 h 7458372"/>
              <a:gd name="connsiteX5621" fmla="*/ 1776767 w 10505529"/>
              <a:gd name="connsiteY5621" fmla="*/ 6570354 h 7458372"/>
              <a:gd name="connsiteX5622" fmla="*/ 1780493 w 10505529"/>
              <a:gd name="connsiteY5622" fmla="*/ 6567957 h 7458372"/>
              <a:gd name="connsiteX5623" fmla="*/ 1783156 w 10505529"/>
              <a:gd name="connsiteY5623" fmla="*/ 6563697 h 7458372"/>
              <a:gd name="connsiteX5624" fmla="*/ 1784221 w 10505529"/>
              <a:gd name="connsiteY5624" fmla="*/ 6558239 h 7458372"/>
              <a:gd name="connsiteX5625" fmla="*/ 1783156 w 10505529"/>
              <a:gd name="connsiteY5625" fmla="*/ 6553047 h 7458372"/>
              <a:gd name="connsiteX5626" fmla="*/ 1780493 w 10505529"/>
              <a:gd name="connsiteY5626" fmla="*/ 6548921 h 7458372"/>
              <a:gd name="connsiteX5627" fmla="*/ 1776501 w 10505529"/>
              <a:gd name="connsiteY5627" fmla="*/ 6546259 h 7458372"/>
              <a:gd name="connsiteX5628" fmla="*/ 1771442 w 10505529"/>
              <a:gd name="connsiteY5628" fmla="*/ 6545327 h 7458372"/>
              <a:gd name="connsiteX5629" fmla="*/ 1553807 w 10505529"/>
              <a:gd name="connsiteY5629" fmla="*/ 6545327 h 7458372"/>
              <a:gd name="connsiteX5630" fmla="*/ 1543824 w 10505529"/>
              <a:gd name="connsiteY5630" fmla="*/ 6548921 h 7458372"/>
              <a:gd name="connsiteX5631" fmla="*/ 1540229 w 10505529"/>
              <a:gd name="connsiteY5631" fmla="*/ 6558372 h 7458372"/>
              <a:gd name="connsiteX5632" fmla="*/ 1543824 w 10505529"/>
              <a:gd name="connsiteY5632" fmla="*/ 6567823 h 7458372"/>
              <a:gd name="connsiteX5633" fmla="*/ 1553807 w 10505529"/>
              <a:gd name="connsiteY5633" fmla="*/ 6571286 h 7458372"/>
              <a:gd name="connsiteX5634" fmla="*/ 1559131 w 10505529"/>
              <a:gd name="connsiteY5634" fmla="*/ 6570354 h 7458372"/>
              <a:gd name="connsiteX5635" fmla="*/ 1562858 w 10505529"/>
              <a:gd name="connsiteY5635" fmla="*/ 6567957 h 7458372"/>
              <a:gd name="connsiteX5636" fmla="*/ 1565521 w 10505529"/>
              <a:gd name="connsiteY5636" fmla="*/ 6563697 h 7458372"/>
              <a:gd name="connsiteX5637" fmla="*/ 1566587 w 10505529"/>
              <a:gd name="connsiteY5637" fmla="*/ 6558239 h 7458372"/>
              <a:gd name="connsiteX5638" fmla="*/ 1565521 w 10505529"/>
              <a:gd name="connsiteY5638" fmla="*/ 6553047 h 7458372"/>
              <a:gd name="connsiteX5639" fmla="*/ 1562858 w 10505529"/>
              <a:gd name="connsiteY5639" fmla="*/ 6548921 h 7458372"/>
              <a:gd name="connsiteX5640" fmla="*/ 1558865 w 10505529"/>
              <a:gd name="connsiteY5640" fmla="*/ 6546259 h 7458372"/>
              <a:gd name="connsiteX5641" fmla="*/ 1553807 w 10505529"/>
              <a:gd name="connsiteY5641" fmla="*/ 6545327 h 7458372"/>
              <a:gd name="connsiteX5642" fmla="*/ 1336163 w 10505529"/>
              <a:gd name="connsiteY5642" fmla="*/ 6545327 h 7458372"/>
              <a:gd name="connsiteX5643" fmla="*/ 1326179 w 10505529"/>
              <a:gd name="connsiteY5643" fmla="*/ 6548921 h 7458372"/>
              <a:gd name="connsiteX5644" fmla="*/ 1322585 w 10505529"/>
              <a:gd name="connsiteY5644" fmla="*/ 6558372 h 7458372"/>
              <a:gd name="connsiteX5645" fmla="*/ 1326179 w 10505529"/>
              <a:gd name="connsiteY5645" fmla="*/ 6567823 h 7458372"/>
              <a:gd name="connsiteX5646" fmla="*/ 1336163 w 10505529"/>
              <a:gd name="connsiteY5646" fmla="*/ 6571286 h 7458372"/>
              <a:gd name="connsiteX5647" fmla="*/ 1341490 w 10505529"/>
              <a:gd name="connsiteY5647" fmla="*/ 6570354 h 7458372"/>
              <a:gd name="connsiteX5648" fmla="*/ 1345217 w 10505529"/>
              <a:gd name="connsiteY5648" fmla="*/ 6567957 h 7458372"/>
              <a:gd name="connsiteX5649" fmla="*/ 1347879 w 10505529"/>
              <a:gd name="connsiteY5649" fmla="*/ 6563697 h 7458372"/>
              <a:gd name="connsiteX5650" fmla="*/ 1348945 w 10505529"/>
              <a:gd name="connsiteY5650" fmla="*/ 6558239 h 7458372"/>
              <a:gd name="connsiteX5651" fmla="*/ 1347879 w 10505529"/>
              <a:gd name="connsiteY5651" fmla="*/ 6553047 h 7458372"/>
              <a:gd name="connsiteX5652" fmla="*/ 1345217 w 10505529"/>
              <a:gd name="connsiteY5652" fmla="*/ 6548921 h 7458372"/>
              <a:gd name="connsiteX5653" fmla="*/ 1341222 w 10505529"/>
              <a:gd name="connsiteY5653" fmla="*/ 6546259 h 7458372"/>
              <a:gd name="connsiteX5654" fmla="*/ 1336163 w 10505529"/>
              <a:gd name="connsiteY5654" fmla="*/ 6545327 h 7458372"/>
              <a:gd name="connsiteX5655" fmla="*/ 1118651 w 10505529"/>
              <a:gd name="connsiteY5655" fmla="*/ 6545327 h 7458372"/>
              <a:gd name="connsiteX5656" fmla="*/ 1108665 w 10505529"/>
              <a:gd name="connsiteY5656" fmla="*/ 6548921 h 7458372"/>
              <a:gd name="connsiteX5657" fmla="*/ 1104938 w 10505529"/>
              <a:gd name="connsiteY5657" fmla="*/ 6558372 h 7458372"/>
              <a:gd name="connsiteX5658" fmla="*/ 1108533 w 10505529"/>
              <a:gd name="connsiteY5658" fmla="*/ 6567823 h 7458372"/>
              <a:gd name="connsiteX5659" fmla="*/ 1118518 w 10505529"/>
              <a:gd name="connsiteY5659" fmla="*/ 6571286 h 7458372"/>
              <a:gd name="connsiteX5660" fmla="*/ 1123974 w 10505529"/>
              <a:gd name="connsiteY5660" fmla="*/ 6570354 h 7458372"/>
              <a:gd name="connsiteX5661" fmla="*/ 1127705 w 10505529"/>
              <a:gd name="connsiteY5661" fmla="*/ 6567957 h 7458372"/>
              <a:gd name="connsiteX5662" fmla="*/ 1130369 w 10505529"/>
              <a:gd name="connsiteY5662" fmla="*/ 6563697 h 7458372"/>
              <a:gd name="connsiteX5663" fmla="*/ 1131434 w 10505529"/>
              <a:gd name="connsiteY5663" fmla="*/ 6558239 h 7458372"/>
              <a:gd name="connsiteX5664" fmla="*/ 1130369 w 10505529"/>
              <a:gd name="connsiteY5664" fmla="*/ 6553047 h 7458372"/>
              <a:gd name="connsiteX5665" fmla="*/ 1127705 w 10505529"/>
              <a:gd name="connsiteY5665" fmla="*/ 6548921 h 7458372"/>
              <a:gd name="connsiteX5666" fmla="*/ 1123710 w 10505529"/>
              <a:gd name="connsiteY5666" fmla="*/ 6546259 h 7458372"/>
              <a:gd name="connsiteX5667" fmla="*/ 1118651 w 10505529"/>
              <a:gd name="connsiteY5667" fmla="*/ 6545327 h 7458372"/>
              <a:gd name="connsiteX5668" fmla="*/ 901139 w 10505529"/>
              <a:gd name="connsiteY5668" fmla="*/ 6545327 h 7458372"/>
              <a:gd name="connsiteX5669" fmla="*/ 891154 w 10505529"/>
              <a:gd name="connsiteY5669" fmla="*/ 6548921 h 7458372"/>
              <a:gd name="connsiteX5670" fmla="*/ 887428 w 10505529"/>
              <a:gd name="connsiteY5670" fmla="*/ 6558372 h 7458372"/>
              <a:gd name="connsiteX5671" fmla="*/ 891022 w 10505529"/>
              <a:gd name="connsiteY5671" fmla="*/ 6567823 h 7458372"/>
              <a:gd name="connsiteX5672" fmla="*/ 901005 w 10505529"/>
              <a:gd name="connsiteY5672" fmla="*/ 6571286 h 7458372"/>
              <a:gd name="connsiteX5673" fmla="*/ 906463 w 10505529"/>
              <a:gd name="connsiteY5673" fmla="*/ 6570354 h 7458372"/>
              <a:gd name="connsiteX5674" fmla="*/ 910191 w 10505529"/>
              <a:gd name="connsiteY5674" fmla="*/ 6567957 h 7458372"/>
              <a:gd name="connsiteX5675" fmla="*/ 912853 w 10505529"/>
              <a:gd name="connsiteY5675" fmla="*/ 6563697 h 7458372"/>
              <a:gd name="connsiteX5676" fmla="*/ 913918 w 10505529"/>
              <a:gd name="connsiteY5676" fmla="*/ 6558239 h 7458372"/>
              <a:gd name="connsiteX5677" fmla="*/ 912853 w 10505529"/>
              <a:gd name="connsiteY5677" fmla="*/ 6553047 h 7458372"/>
              <a:gd name="connsiteX5678" fmla="*/ 910191 w 10505529"/>
              <a:gd name="connsiteY5678" fmla="*/ 6548921 h 7458372"/>
              <a:gd name="connsiteX5679" fmla="*/ 906197 w 10505529"/>
              <a:gd name="connsiteY5679" fmla="*/ 6546259 h 7458372"/>
              <a:gd name="connsiteX5680" fmla="*/ 901139 w 10505529"/>
              <a:gd name="connsiteY5680" fmla="*/ 6545327 h 7458372"/>
              <a:gd name="connsiteX5681" fmla="*/ 683365 w 10505529"/>
              <a:gd name="connsiteY5681" fmla="*/ 6545327 h 7458372"/>
              <a:gd name="connsiteX5682" fmla="*/ 673382 w 10505529"/>
              <a:gd name="connsiteY5682" fmla="*/ 6548921 h 7458372"/>
              <a:gd name="connsiteX5683" fmla="*/ 669788 w 10505529"/>
              <a:gd name="connsiteY5683" fmla="*/ 6558372 h 7458372"/>
              <a:gd name="connsiteX5684" fmla="*/ 673382 w 10505529"/>
              <a:gd name="connsiteY5684" fmla="*/ 6567823 h 7458372"/>
              <a:gd name="connsiteX5685" fmla="*/ 683365 w 10505529"/>
              <a:gd name="connsiteY5685" fmla="*/ 6571286 h 7458372"/>
              <a:gd name="connsiteX5686" fmla="*/ 688691 w 10505529"/>
              <a:gd name="connsiteY5686" fmla="*/ 6570354 h 7458372"/>
              <a:gd name="connsiteX5687" fmla="*/ 692417 w 10505529"/>
              <a:gd name="connsiteY5687" fmla="*/ 6567957 h 7458372"/>
              <a:gd name="connsiteX5688" fmla="*/ 695081 w 10505529"/>
              <a:gd name="connsiteY5688" fmla="*/ 6563697 h 7458372"/>
              <a:gd name="connsiteX5689" fmla="*/ 696146 w 10505529"/>
              <a:gd name="connsiteY5689" fmla="*/ 6558239 h 7458372"/>
              <a:gd name="connsiteX5690" fmla="*/ 695081 w 10505529"/>
              <a:gd name="connsiteY5690" fmla="*/ 6553047 h 7458372"/>
              <a:gd name="connsiteX5691" fmla="*/ 692417 w 10505529"/>
              <a:gd name="connsiteY5691" fmla="*/ 6548921 h 7458372"/>
              <a:gd name="connsiteX5692" fmla="*/ 688424 w 10505529"/>
              <a:gd name="connsiteY5692" fmla="*/ 6546259 h 7458372"/>
              <a:gd name="connsiteX5693" fmla="*/ 683365 w 10505529"/>
              <a:gd name="connsiteY5693" fmla="*/ 6545327 h 7458372"/>
              <a:gd name="connsiteX5694" fmla="*/ 465725 w 10505529"/>
              <a:gd name="connsiteY5694" fmla="*/ 6545327 h 7458372"/>
              <a:gd name="connsiteX5695" fmla="*/ 455741 w 10505529"/>
              <a:gd name="connsiteY5695" fmla="*/ 6548921 h 7458372"/>
              <a:gd name="connsiteX5696" fmla="*/ 452147 w 10505529"/>
              <a:gd name="connsiteY5696" fmla="*/ 6558372 h 7458372"/>
              <a:gd name="connsiteX5697" fmla="*/ 455741 w 10505529"/>
              <a:gd name="connsiteY5697" fmla="*/ 6567823 h 7458372"/>
              <a:gd name="connsiteX5698" fmla="*/ 465725 w 10505529"/>
              <a:gd name="connsiteY5698" fmla="*/ 6571286 h 7458372"/>
              <a:gd name="connsiteX5699" fmla="*/ 471050 w 10505529"/>
              <a:gd name="connsiteY5699" fmla="*/ 6570354 h 7458372"/>
              <a:gd name="connsiteX5700" fmla="*/ 474777 w 10505529"/>
              <a:gd name="connsiteY5700" fmla="*/ 6567957 h 7458372"/>
              <a:gd name="connsiteX5701" fmla="*/ 477440 w 10505529"/>
              <a:gd name="connsiteY5701" fmla="*/ 6563697 h 7458372"/>
              <a:gd name="connsiteX5702" fmla="*/ 478505 w 10505529"/>
              <a:gd name="connsiteY5702" fmla="*/ 6558239 h 7458372"/>
              <a:gd name="connsiteX5703" fmla="*/ 477440 w 10505529"/>
              <a:gd name="connsiteY5703" fmla="*/ 6553047 h 7458372"/>
              <a:gd name="connsiteX5704" fmla="*/ 474777 w 10505529"/>
              <a:gd name="connsiteY5704" fmla="*/ 6548921 h 7458372"/>
              <a:gd name="connsiteX5705" fmla="*/ 470784 w 10505529"/>
              <a:gd name="connsiteY5705" fmla="*/ 6546259 h 7458372"/>
              <a:gd name="connsiteX5706" fmla="*/ 465725 w 10505529"/>
              <a:gd name="connsiteY5706" fmla="*/ 6545327 h 7458372"/>
              <a:gd name="connsiteX5707" fmla="*/ 248084 w 10505529"/>
              <a:gd name="connsiteY5707" fmla="*/ 6545327 h 7458372"/>
              <a:gd name="connsiteX5708" fmla="*/ 238101 w 10505529"/>
              <a:gd name="connsiteY5708" fmla="*/ 6548921 h 7458372"/>
              <a:gd name="connsiteX5709" fmla="*/ 234508 w 10505529"/>
              <a:gd name="connsiteY5709" fmla="*/ 6558372 h 7458372"/>
              <a:gd name="connsiteX5710" fmla="*/ 238101 w 10505529"/>
              <a:gd name="connsiteY5710" fmla="*/ 6567823 h 7458372"/>
              <a:gd name="connsiteX5711" fmla="*/ 248084 w 10505529"/>
              <a:gd name="connsiteY5711" fmla="*/ 6571286 h 7458372"/>
              <a:gd name="connsiteX5712" fmla="*/ 253408 w 10505529"/>
              <a:gd name="connsiteY5712" fmla="*/ 6570354 h 7458372"/>
              <a:gd name="connsiteX5713" fmla="*/ 257135 w 10505529"/>
              <a:gd name="connsiteY5713" fmla="*/ 6567957 h 7458372"/>
              <a:gd name="connsiteX5714" fmla="*/ 259798 w 10505529"/>
              <a:gd name="connsiteY5714" fmla="*/ 6563697 h 7458372"/>
              <a:gd name="connsiteX5715" fmla="*/ 260863 w 10505529"/>
              <a:gd name="connsiteY5715" fmla="*/ 6558239 h 7458372"/>
              <a:gd name="connsiteX5716" fmla="*/ 259798 w 10505529"/>
              <a:gd name="connsiteY5716" fmla="*/ 6553047 h 7458372"/>
              <a:gd name="connsiteX5717" fmla="*/ 257135 w 10505529"/>
              <a:gd name="connsiteY5717" fmla="*/ 6548921 h 7458372"/>
              <a:gd name="connsiteX5718" fmla="*/ 253142 w 10505529"/>
              <a:gd name="connsiteY5718" fmla="*/ 6546259 h 7458372"/>
              <a:gd name="connsiteX5719" fmla="*/ 248084 w 10505529"/>
              <a:gd name="connsiteY5719" fmla="*/ 6545327 h 7458372"/>
              <a:gd name="connsiteX5720" fmla="*/ 30443 w 10505529"/>
              <a:gd name="connsiteY5720" fmla="*/ 6545327 h 7458372"/>
              <a:gd name="connsiteX5721" fmla="*/ 20459 w 10505529"/>
              <a:gd name="connsiteY5721" fmla="*/ 6548921 h 7458372"/>
              <a:gd name="connsiteX5722" fmla="*/ 16866 w 10505529"/>
              <a:gd name="connsiteY5722" fmla="*/ 6558372 h 7458372"/>
              <a:gd name="connsiteX5723" fmla="*/ 20459 w 10505529"/>
              <a:gd name="connsiteY5723" fmla="*/ 6567823 h 7458372"/>
              <a:gd name="connsiteX5724" fmla="*/ 30443 w 10505529"/>
              <a:gd name="connsiteY5724" fmla="*/ 6571286 h 7458372"/>
              <a:gd name="connsiteX5725" fmla="*/ 35768 w 10505529"/>
              <a:gd name="connsiteY5725" fmla="*/ 6570354 h 7458372"/>
              <a:gd name="connsiteX5726" fmla="*/ 39495 w 10505529"/>
              <a:gd name="connsiteY5726" fmla="*/ 6567957 h 7458372"/>
              <a:gd name="connsiteX5727" fmla="*/ 42158 w 10505529"/>
              <a:gd name="connsiteY5727" fmla="*/ 6563697 h 7458372"/>
              <a:gd name="connsiteX5728" fmla="*/ 43089 w 10505529"/>
              <a:gd name="connsiteY5728" fmla="*/ 6558239 h 7458372"/>
              <a:gd name="connsiteX5729" fmla="*/ 42158 w 10505529"/>
              <a:gd name="connsiteY5729" fmla="*/ 6553047 h 7458372"/>
              <a:gd name="connsiteX5730" fmla="*/ 39495 w 10505529"/>
              <a:gd name="connsiteY5730" fmla="*/ 6548921 h 7458372"/>
              <a:gd name="connsiteX5731" fmla="*/ 35502 w 10505529"/>
              <a:gd name="connsiteY5731" fmla="*/ 6546259 h 7458372"/>
              <a:gd name="connsiteX5732" fmla="*/ 30443 w 10505529"/>
              <a:gd name="connsiteY5732" fmla="*/ 6545327 h 7458372"/>
              <a:gd name="connsiteX5733" fmla="*/ 10475977 w 10505529"/>
              <a:gd name="connsiteY5733" fmla="*/ 6528554 h 7458372"/>
              <a:gd name="connsiteX5734" fmla="*/ 10487824 w 10505529"/>
              <a:gd name="connsiteY5734" fmla="*/ 6531083 h 7458372"/>
              <a:gd name="connsiteX5735" fmla="*/ 10497143 w 10505529"/>
              <a:gd name="connsiteY5735" fmla="*/ 6537473 h 7458372"/>
              <a:gd name="connsiteX5736" fmla="*/ 10503266 w 10505529"/>
              <a:gd name="connsiteY5736" fmla="*/ 6546791 h 7458372"/>
              <a:gd name="connsiteX5737" fmla="*/ 10505529 w 10505529"/>
              <a:gd name="connsiteY5737" fmla="*/ 6558239 h 7458372"/>
              <a:gd name="connsiteX5738" fmla="*/ 10503266 w 10505529"/>
              <a:gd name="connsiteY5738" fmla="*/ 6569954 h 7458372"/>
              <a:gd name="connsiteX5739" fmla="*/ 10497143 w 10505529"/>
              <a:gd name="connsiteY5739" fmla="*/ 6579272 h 7458372"/>
              <a:gd name="connsiteX5740" fmla="*/ 10487824 w 10505529"/>
              <a:gd name="connsiteY5740" fmla="*/ 6585529 h 7458372"/>
              <a:gd name="connsiteX5741" fmla="*/ 10475977 w 10505529"/>
              <a:gd name="connsiteY5741" fmla="*/ 6587792 h 7458372"/>
              <a:gd name="connsiteX5742" fmla="*/ 10454145 w 10505529"/>
              <a:gd name="connsiteY5742" fmla="*/ 6579272 h 7458372"/>
              <a:gd name="connsiteX5743" fmla="*/ 10445759 w 10505529"/>
              <a:gd name="connsiteY5743" fmla="*/ 6558106 h 7458372"/>
              <a:gd name="connsiteX5744" fmla="*/ 10454145 w 10505529"/>
              <a:gd name="connsiteY5744" fmla="*/ 6537074 h 7458372"/>
              <a:gd name="connsiteX5745" fmla="*/ 10475977 w 10505529"/>
              <a:gd name="connsiteY5745" fmla="*/ 6528554 h 7458372"/>
              <a:gd name="connsiteX5746" fmla="*/ 10258466 w 10505529"/>
              <a:gd name="connsiteY5746" fmla="*/ 6528554 h 7458372"/>
              <a:gd name="connsiteX5747" fmla="*/ 10270313 w 10505529"/>
              <a:gd name="connsiteY5747" fmla="*/ 6531083 h 7458372"/>
              <a:gd name="connsiteX5748" fmla="*/ 10279631 w 10505529"/>
              <a:gd name="connsiteY5748" fmla="*/ 6537473 h 7458372"/>
              <a:gd name="connsiteX5749" fmla="*/ 10285754 w 10505529"/>
              <a:gd name="connsiteY5749" fmla="*/ 6546791 h 7458372"/>
              <a:gd name="connsiteX5750" fmla="*/ 10288017 w 10505529"/>
              <a:gd name="connsiteY5750" fmla="*/ 6558239 h 7458372"/>
              <a:gd name="connsiteX5751" fmla="*/ 10285754 w 10505529"/>
              <a:gd name="connsiteY5751" fmla="*/ 6569954 h 7458372"/>
              <a:gd name="connsiteX5752" fmla="*/ 10279631 w 10505529"/>
              <a:gd name="connsiteY5752" fmla="*/ 6579272 h 7458372"/>
              <a:gd name="connsiteX5753" fmla="*/ 10270313 w 10505529"/>
              <a:gd name="connsiteY5753" fmla="*/ 6585529 h 7458372"/>
              <a:gd name="connsiteX5754" fmla="*/ 10258466 w 10505529"/>
              <a:gd name="connsiteY5754" fmla="*/ 6587792 h 7458372"/>
              <a:gd name="connsiteX5755" fmla="*/ 10236633 w 10505529"/>
              <a:gd name="connsiteY5755" fmla="*/ 6579272 h 7458372"/>
              <a:gd name="connsiteX5756" fmla="*/ 10228247 w 10505529"/>
              <a:gd name="connsiteY5756" fmla="*/ 6558106 h 7458372"/>
              <a:gd name="connsiteX5757" fmla="*/ 10236633 w 10505529"/>
              <a:gd name="connsiteY5757" fmla="*/ 6537074 h 7458372"/>
              <a:gd name="connsiteX5758" fmla="*/ 10258466 w 10505529"/>
              <a:gd name="connsiteY5758" fmla="*/ 6528554 h 7458372"/>
              <a:gd name="connsiteX5759" fmla="*/ 10040820 w 10505529"/>
              <a:gd name="connsiteY5759" fmla="*/ 6528554 h 7458372"/>
              <a:gd name="connsiteX5760" fmla="*/ 10052534 w 10505529"/>
              <a:gd name="connsiteY5760" fmla="*/ 6531083 h 7458372"/>
              <a:gd name="connsiteX5761" fmla="*/ 10061852 w 10505529"/>
              <a:gd name="connsiteY5761" fmla="*/ 6537473 h 7458372"/>
              <a:gd name="connsiteX5762" fmla="*/ 10067976 w 10505529"/>
              <a:gd name="connsiteY5762" fmla="*/ 6546791 h 7458372"/>
              <a:gd name="connsiteX5763" fmla="*/ 10070239 w 10505529"/>
              <a:gd name="connsiteY5763" fmla="*/ 6558239 h 7458372"/>
              <a:gd name="connsiteX5764" fmla="*/ 10067976 w 10505529"/>
              <a:gd name="connsiteY5764" fmla="*/ 6569954 h 7458372"/>
              <a:gd name="connsiteX5765" fmla="*/ 10061852 w 10505529"/>
              <a:gd name="connsiteY5765" fmla="*/ 6579272 h 7458372"/>
              <a:gd name="connsiteX5766" fmla="*/ 10052534 w 10505529"/>
              <a:gd name="connsiteY5766" fmla="*/ 6585529 h 7458372"/>
              <a:gd name="connsiteX5767" fmla="*/ 10040820 w 10505529"/>
              <a:gd name="connsiteY5767" fmla="*/ 6587792 h 7458372"/>
              <a:gd name="connsiteX5768" fmla="*/ 10018988 w 10505529"/>
              <a:gd name="connsiteY5768" fmla="*/ 6579272 h 7458372"/>
              <a:gd name="connsiteX5769" fmla="*/ 10010602 w 10505529"/>
              <a:gd name="connsiteY5769" fmla="*/ 6558106 h 7458372"/>
              <a:gd name="connsiteX5770" fmla="*/ 10018988 w 10505529"/>
              <a:gd name="connsiteY5770" fmla="*/ 6537074 h 7458372"/>
              <a:gd name="connsiteX5771" fmla="*/ 10040820 w 10505529"/>
              <a:gd name="connsiteY5771" fmla="*/ 6528554 h 7458372"/>
              <a:gd name="connsiteX5772" fmla="*/ 9823176 w 10505529"/>
              <a:gd name="connsiteY5772" fmla="*/ 6528554 h 7458372"/>
              <a:gd name="connsiteX5773" fmla="*/ 9834890 w 10505529"/>
              <a:gd name="connsiteY5773" fmla="*/ 6531083 h 7458372"/>
              <a:gd name="connsiteX5774" fmla="*/ 9844208 w 10505529"/>
              <a:gd name="connsiteY5774" fmla="*/ 6537473 h 7458372"/>
              <a:gd name="connsiteX5775" fmla="*/ 9850331 w 10505529"/>
              <a:gd name="connsiteY5775" fmla="*/ 6546791 h 7458372"/>
              <a:gd name="connsiteX5776" fmla="*/ 9852595 w 10505529"/>
              <a:gd name="connsiteY5776" fmla="*/ 6558239 h 7458372"/>
              <a:gd name="connsiteX5777" fmla="*/ 9850331 w 10505529"/>
              <a:gd name="connsiteY5777" fmla="*/ 6569954 h 7458372"/>
              <a:gd name="connsiteX5778" fmla="*/ 9844208 w 10505529"/>
              <a:gd name="connsiteY5778" fmla="*/ 6579272 h 7458372"/>
              <a:gd name="connsiteX5779" fmla="*/ 9834890 w 10505529"/>
              <a:gd name="connsiteY5779" fmla="*/ 6585529 h 7458372"/>
              <a:gd name="connsiteX5780" fmla="*/ 9823176 w 10505529"/>
              <a:gd name="connsiteY5780" fmla="*/ 6587792 h 7458372"/>
              <a:gd name="connsiteX5781" fmla="*/ 9801343 w 10505529"/>
              <a:gd name="connsiteY5781" fmla="*/ 6579272 h 7458372"/>
              <a:gd name="connsiteX5782" fmla="*/ 9792957 w 10505529"/>
              <a:gd name="connsiteY5782" fmla="*/ 6558106 h 7458372"/>
              <a:gd name="connsiteX5783" fmla="*/ 9801343 w 10505529"/>
              <a:gd name="connsiteY5783" fmla="*/ 6537074 h 7458372"/>
              <a:gd name="connsiteX5784" fmla="*/ 9823176 w 10505529"/>
              <a:gd name="connsiteY5784" fmla="*/ 6528554 h 7458372"/>
              <a:gd name="connsiteX5785" fmla="*/ 9605531 w 10505529"/>
              <a:gd name="connsiteY5785" fmla="*/ 6528554 h 7458372"/>
              <a:gd name="connsiteX5786" fmla="*/ 9617245 w 10505529"/>
              <a:gd name="connsiteY5786" fmla="*/ 6531083 h 7458372"/>
              <a:gd name="connsiteX5787" fmla="*/ 9626562 w 10505529"/>
              <a:gd name="connsiteY5787" fmla="*/ 6537473 h 7458372"/>
              <a:gd name="connsiteX5788" fmla="*/ 9632686 w 10505529"/>
              <a:gd name="connsiteY5788" fmla="*/ 6546791 h 7458372"/>
              <a:gd name="connsiteX5789" fmla="*/ 9634949 w 10505529"/>
              <a:gd name="connsiteY5789" fmla="*/ 6558239 h 7458372"/>
              <a:gd name="connsiteX5790" fmla="*/ 9632686 w 10505529"/>
              <a:gd name="connsiteY5790" fmla="*/ 6569954 h 7458372"/>
              <a:gd name="connsiteX5791" fmla="*/ 9626562 w 10505529"/>
              <a:gd name="connsiteY5791" fmla="*/ 6579272 h 7458372"/>
              <a:gd name="connsiteX5792" fmla="*/ 9617245 w 10505529"/>
              <a:gd name="connsiteY5792" fmla="*/ 6585529 h 7458372"/>
              <a:gd name="connsiteX5793" fmla="*/ 9605531 w 10505529"/>
              <a:gd name="connsiteY5793" fmla="*/ 6587792 h 7458372"/>
              <a:gd name="connsiteX5794" fmla="*/ 9583698 w 10505529"/>
              <a:gd name="connsiteY5794" fmla="*/ 6579272 h 7458372"/>
              <a:gd name="connsiteX5795" fmla="*/ 9575312 w 10505529"/>
              <a:gd name="connsiteY5795" fmla="*/ 6558106 h 7458372"/>
              <a:gd name="connsiteX5796" fmla="*/ 9583698 w 10505529"/>
              <a:gd name="connsiteY5796" fmla="*/ 6537074 h 7458372"/>
              <a:gd name="connsiteX5797" fmla="*/ 9605531 w 10505529"/>
              <a:gd name="connsiteY5797" fmla="*/ 6528554 h 7458372"/>
              <a:gd name="connsiteX5798" fmla="*/ 9387885 w 10505529"/>
              <a:gd name="connsiteY5798" fmla="*/ 6528554 h 7458372"/>
              <a:gd name="connsiteX5799" fmla="*/ 9399599 w 10505529"/>
              <a:gd name="connsiteY5799" fmla="*/ 6531083 h 7458372"/>
              <a:gd name="connsiteX5800" fmla="*/ 9408917 w 10505529"/>
              <a:gd name="connsiteY5800" fmla="*/ 6537473 h 7458372"/>
              <a:gd name="connsiteX5801" fmla="*/ 9415041 w 10505529"/>
              <a:gd name="connsiteY5801" fmla="*/ 6546791 h 7458372"/>
              <a:gd name="connsiteX5802" fmla="*/ 9417304 w 10505529"/>
              <a:gd name="connsiteY5802" fmla="*/ 6558239 h 7458372"/>
              <a:gd name="connsiteX5803" fmla="*/ 9415041 w 10505529"/>
              <a:gd name="connsiteY5803" fmla="*/ 6569954 h 7458372"/>
              <a:gd name="connsiteX5804" fmla="*/ 9408917 w 10505529"/>
              <a:gd name="connsiteY5804" fmla="*/ 6579272 h 7458372"/>
              <a:gd name="connsiteX5805" fmla="*/ 9399599 w 10505529"/>
              <a:gd name="connsiteY5805" fmla="*/ 6585529 h 7458372"/>
              <a:gd name="connsiteX5806" fmla="*/ 9387885 w 10505529"/>
              <a:gd name="connsiteY5806" fmla="*/ 6587792 h 7458372"/>
              <a:gd name="connsiteX5807" fmla="*/ 9366053 w 10505529"/>
              <a:gd name="connsiteY5807" fmla="*/ 6579272 h 7458372"/>
              <a:gd name="connsiteX5808" fmla="*/ 9357667 w 10505529"/>
              <a:gd name="connsiteY5808" fmla="*/ 6558106 h 7458372"/>
              <a:gd name="connsiteX5809" fmla="*/ 9366053 w 10505529"/>
              <a:gd name="connsiteY5809" fmla="*/ 6537074 h 7458372"/>
              <a:gd name="connsiteX5810" fmla="*/ 9387885 w 10505529"/>
              <a:gd name="connsiteY5810" fmla="*/ 6528554 h 7458372"/>
              <a:gd name="connsiteX5811" fmla="*/ 9170374 w 10505529"/>
              <a:gd name="connsiteY5811" fmla="*/ 6528554 h 7458372"/>
              <a:gd name="connsiteX5812" fmla="*/ 9182088 w 10505529"/>
              <a:gd name="connsiteY5812" fmla="*/ 6531083 h 7458372"/>
              <a:gd name="connsiteX5813" fmla="*/ 9191405 w 10505529"/>
              <a:gd name="connsiteY5813" fmla="*/ 6537473 h 7458372"/>
              <a:gd name="connsiteX5814" fmla="*/ 9197529 w 10505529"/>
              <a:gd name="connsiteY5814" fmla="*/ 6546791 h 7458372"/>
              <a:gd name="connsiteX5815" fmla="*/ 9199792 w 10505529"/>
              <a:gd name="connsiteY5815" fmla="*/ 6558239 h 7458372"/>
              <a:gd name="connsiteX5816" fmla="*/ 9197529 w 10505529"/>
              <a:gd name="connsiteY5816" fmla="*/ 6569954 h 7458372"/>
              <a:gd name="connsiteX5817" fmla="*/ 9191405 w 10505529"/>
              <a:gd name="connsiteY5817" fmla="*/ 6579272 h 7458372"/>
              <a:gd name="connsiteX5818" fmla="*/ 9182088 w 10505529"/>
              <a:gd name="connsiteY5818" fmla="*/ 6585529 h 7458372"/>
              <a:gd name="connsiteX5819" fmla="*/ 9170374 w 10505529"/>
              <a:gd name="connsiteY5819" fmla="*/ 6587792 h 7458372"/>
              <a:gd name="connsiteX5820" fmla="*/ 9148541 w 10505529"/>
              <a:gd name="connsiteY5820" fmla="*/ 6579272 h 7458372"/>
              <a:gd name="connsiteX5821" fmla="*/ 9140155 w 10505529"/>
              <a:gd name="connsiteY5821" fmla="*/ 6558106 h 7458372"/>
              <a:gd name="connsiteX5822" fmla="*/ 9148541 w 10505529"/>
              <a:gd name="connsiteY5822" fmla="*/ 6537074 h 7458372"/>
              <a:gd name="connsiteX5823" fmla="*/ 9170374 w 10505529"/>
              <a:gd name="connsiteY5823" fmla="*/ 6528554 h 7458372"/>
              <a:gd name="connsiteX5824" fmla="*/ 8952728 w 10505529"/>
              <a:gd name="connsiteY5824" fmla="*/ 6528554 h 7458372"/>
              <a:gd name="connsiteX5825" fmla="*/ 8964442 w 10505529"/>
              <a:gd name="connsiteY5825" fmla="*/ 6531083 h 7458372"/>
              <a:gd name="connsiteX5826" fmla="*/ 8973760 w 10505529"/>
              <a:gd name="connsiteY5826" fmla="*/ 6537473 h 7458372"/>
              <a:gd name="connsiteX5827" fmla="*/ 8979884 w 10505529"/>
              <a:gd name="connsiteY5827" fmla="*/ 6546791 h 7458372"/>
              <a:gd name="connsiteX5828" fmla="*/ 8982147 w 10505529"/>
              <a:gd name="connsiteY5828" fmla="*/ 6558239 h 7458372"/>
              <a:gd name="connsiteX5829" fmla="*/ 8979884 w 10505529"/>
              <a:gd name="connsiteY5829" fmla="*/ 6569954 h 7458372"/>
              <a:gd name="connsiteX5830" fmla="*/ 8973760 w 10505529"/>
              <a:gd name="connsiteY5830" fmla="*/ 6579272 h 7458372"/>
              <a:gd name="connsiteX5831" fmla="*/ 8964442 w 10505529"/>
              <a:gd name="connsiteY5831" fmla="*/ 6585529 h 7458372"/>
              <a:gd name="connsiteX5832" fmla="*/ 8952728 w 10505529"/>
              <a:gd name="connsiteY5832" fmla="*/ 6587792 h 7458372"/>
              <a:gd name="connsiteX5833" fmla="*/ 8930896 w 10505529"/>
              <a:gd name="connsiteY5833" fmla="*/ 6579272 h 7458372"/>
              <a:gd name="connsiteX5834" fmla="*/ 8922510 w 10505529"/>
              <a:gd name="connsiteY5834" fmla="*/ 6558106 h 7458372"/>
              <a:gd name="connsiteX5835" fmla="*/ 8930896 w 10505529"/>
              <a:gd name="connsiteY5835" fmla="*/ 6537074 h 7458372"/>
              <a:gd name="connsiteX5836" fmla="*/ 8952728 w 10505529"/>
              <a:gd name="connsiteY5836" fmla="*/ 6528554 h 7458372"/>
              <a:gd name="connsiteX5837" fmla="*/ 8735083 w 10505529"/>
              <a:gd name="connsiteY5837" fmla="*/ 6528554 h 7458372"/>
              <a:gd name="connsiteX5838" fmla="*/ 8746797 w 10505529"/>
              <a:gd name="connsiteY5838" fmla="*/ 6531083 h 7458372"/>
              <a:gd name="connsiteX5839" fmla="*/ 8756115 w 10505529"/>
              <a:gd name="connsiteY5839" fmla="*/ 6537473 h 7458372"/>
              <a:gd name="connsiteX5840" fmla="*/ 8762238 w 10505529"/>
              <a:gd name="connsiteY5840" fmla="*/ 6546791 h 7458372"/>
              <a:gd name="connsiteX5841" fmla="*/ 8764502 w 10505529"/>
              <a:gd name="connsiteY5841" fmla="*/ 6558239 h 7458372"/>
              <a:gd name="connsiteX5842" fmla="*/ 8762238 w 10505529"/>
              <a:gd name="connsiteY5842" fmla="*/ 6569954 h 7458372"/>
              <a:gd name="connsiteX5843" fmla="*/ 8756115 w 10505529"/>
              <a:gd name="connsiteY5843" fmla="*/ 6579272 h 7458372"/>
              <a:gd name="connsiteX5844" fmla="*/ 8746797 w 10505529"/>
              <a:gd name="connsiteY5844" fmla="*/ 6585529 h 7458372"/>
              <a:gd name="connsiteX5845" fmla="*/ 8735083 w 10505529"/>
              <a:gd name="connsiteY5845" fmla="*/ 6587792 h 7458372"/>
              <a:gd name="connsiteX5846" fmla="*/ 8713250 w 10505529"/>
              <a:gd name="connsiteY5846" fmla="*/ 6579272 h 7458372"/>
              <a:gd name="connsiteX5847" fmla="*/ 8704864 w 10505529"/>
              <a:gd name="connsiteY5847" fmla="*/ 6558106 h 7458372"/>
              <a:gd name="connsiteX5848" fmla="*/ 8713250 w 10505529"/>
              <a:gd name="connsiteY5848" fmla="*/ 6537074 h 7458372"/>
              <a:gd name="connsiteX5849" fmla="*/ 8735083 w 10505529"/>
              <a:gd name="connsiteY5849" fmla="*/ 6528554 h 7458372"/>
              <a:gd name="connsiteX5850" fmla="*/ 8517438 w 10505529"/>
              <a:gd name="connsiteY5850" fmla="*/ 6528554 h 7458372"/>
              <a:gd name="connsiteX5851" fmla="*/ 8529152 w 10505529"/>
              <a:gd name="connsiteY5851" fmla="*/ 6531083 h 7458372"/>
              <a:gd name="connsiteX5852" fmla="*/ 8538470 w 10505529"/>
              <a:gd name="connsiteY5852" fmla="*/ 6537473 h 7458372"/>
              <a:gd name="connsiteX5853" fmla="*/ 8544594 w 10505529"/>
              <a:gd name="connsiteY5853" fmla="*/ 6546791 h 7458372"/>
              <a:gd name="connsiteX5854" fmla="*/ 8546857 w 10505529"/>
              <a:gd name="connsiteY5854" fmla="*/ 6558239 h 7458372"/>
              <a:gd name="connsiteX5855" fmla="*/ 8544594 w 10505529"/>
              <a:gd name="connsiteY5855" fmla="*/ 6569954 h 7458372"/>
              <a:gd name="connsiteX5856" fmla="*/ 8538470 w 10505529"/>
              <a:gd name="connsiteY5856" fmla="*/ 6579272 h 7458372"/>
              <a:gd name="connsiteX5857" fmla="*/ 8529152 w 10505529"/>
              <a:gd name="connsiteY5857" fmla="*/ 6585529 h 7458372"/>
              <a:gd name="connsiteX5858" fmla="*/ 8517438 w 10505529"/>
              <a:gd name="connsiteY5858" fmla="*/ 6587792 h 7458372"/>
              <a:gd name="connsiteX5859" fmla="*/ 8495606 w 10505529"/>
              <a:gd name="connsiteY5859" fmla="*/ 6579272 h 7458372"/>
              <a:gd name="connsiteX5860" fmla="*/ 8487220 w 10505529"/>
              <a:gd name="connsiteY5860" fmla="*/ 6558106 h 7458372"/>
              <a:gd name="connsiteX5861" fmla="*/ 8495606 w 10505529"/>
              <a:gd name="connsiteY5861" fmla="*/ 6537074 h 7458372"/>
              <a:gd name="connsiteX5862" fmla="*/ 8517438 w 10505529"/>
              <a:gd name="connsiteY5862" fmla="*/ 6528554 h 7458372"/>
              <a:gd name="connsiteX5863" fmla="*/ 8299793 w 10505529"/>
              <a:gd name="connsiteY5863" fmla="*/ 6528554 h 7458372"/>
              <a:gd name="connsiteX5864" fmla="*/ 8311507 w 10505529"/>
              <a:gd name="connsiteY5864" fmla="*/ 6531083 h 7458372"/>
              <a:gd name="connsiteX5865" fmla="*/ 8320825 w 10505529"/>
              <a:gd name="connsiteY5865" fmla="*/ 6537473 h 7458372"/>
              <a:gd name="connsiteX5866" fmla="*/ 8326948 w 10505529"/>
              <a:gd name="connsiteY5866" fmla="*/ 6546791 h 7458372"/>
              <a:gd name="connsiteX5867" fmla="*/ 8329212 w 10505529"/>
              <a:gd name="connsiteY5867" fmla="*/ 6558239 h 7458372"/>
              <a:gd name="connsiteX5868" fmla="*/ 8326948 w 10505529"/>
              <a:gd name="connsiteY5868" fmla="*/ 6569954 h 7458372"/>
              <a:gd name="connsiteX5869" fmla="*/ 8320825 w 10505529"/>
              <a:gd name="connsiteY5869" fmla="*/ 6579272 h 7458372"/>
              <a:gd name="connsiteX5870" fmla="*/ 8311507 w 10505529"/>
              <a:gd name="connsiteY5870" fmla="*/ 6585529 h 7458372"/>
              <a:gd name="connsiteX5871" fmla="*/ 8299793 w 10505529"/>
              <a:gd name="connsiteY5871" fmla="*/ 6587792 h 7458372"/>
              <a:gd name="connsiteX5872" fmla="*/ 8277960 w 10505529"/>
              <a:gd name="connsiteY5872" fmla="*/ 6579272 h 7458372"/>
              <a:gd name="connsiteX5873" fmla="*/ 8269574 w 10505529"/>
              <a:gd name="connsiteY5873" fmla="*/ 6558106 h 7458372"/>
              <a:gd name="connsiteX5874" fmla="*/ 8277960 w 10505529"/>
              <a:gd name="connsiteY5874" fmla="*/ 6537074 h 7458372"/>
              <a:gd name="connsiteX5875" fmla="*/ 8299793 w 10505529"/>
              <a:gd name="connsiteY5875" fmla="*/ 6528554 h 7458372"/>
              <a:gd name="connsiteX5876" fmla="*/ 8082281 w 10505529"/>
              <a:gd name="connsiteY5876" fmla="*/ 6528554 h 7458372"/>
              <a:gd name="connsiteX5877" fmla="*/ 8094127 w 10505529"/>
              <a:gd name="connsiteY5877" fmla="*/ 6531083 h 7458372"/>
              <a:gd name="connsiteX5878" fmla="*/ 8103446 w 10505529"/>
              <a:gd name="connsiteY5878" fmla="*/ 6537473 h 7458372"/>
              <a:gd name="connsiteX5879" fmla="*/ 8109569 w 10505529"/>
              <a:gd name="connsiteY5879" fmla="*/ 6546791 h 7458372"/>
              <a:gd name="connsiteX5880" fmla="*/ 8111832 w 10505529"/>
              <a:gd name="connsiteY5880" fmla="*/ 6558239 h 7458372"/>
              <a:gd name="connsiteX5881" fmla="*/ 8109569 w 10505529"/>
              <a:gd name="connsiteY5881" fmla="*/ 6569954 h 7458372"/>
              <a:gd name="connsiteX5882" fmla="*/ 8103446 w 10505529"/>
              <a:gd name="connsiteY5882" fmla="*/ 6579272 h 7458372"/>
              <a:gd name="connsiteX5883" fmla="*/ 8094127 w 10505529"/>
              <a:gd name="connsiteY5883" fmla="*/ 6585529 h 7458372"/>
              <a:gd name="connsiteX5884" fmla="*/ 8082281 w 10505529"/>
              <a:gd name="connsiteY5884" fmla="*/ 6587792 h 7458372"/>
              <a:gd name="connsiteX5885" fmla="*/ 8060448 w 10505529"/>
              <a:gd name="connsiteY5885" fmla="*/ 6579272 h 7458372"/>
              <a:gd name="connsiteX5886" fmla="*/ 8052062 w 10505529"/>
              <a:gd name="connsiteY5886" fmla="*/ 6558106 h 7458372"/>
              <a:gd name="connsiteX5887" fmla="*/ 8060448 w 10505529"/>
              <a:gd name="connsiteY5887" fmla="*/ 6537074 h 7458372"/>
              <a:gd name="connsiteX5888" fmla="*/ 8082281 w 10505529"/>
              <a:gd name="connsiteY5888" fmla="*/ 6528554 h 7458372"/>
              <a:gd name="connsiteX5889" fmla="*/ 7864636 w 10505529"/>
              <a:gd name="connsiteY5889" fmla="*/ 6528554 h 7458372"/>
              <a:gd name="connsiteX5890" fmla="*/ 7876483 w 10505529"/>
              <a:gd name="connsiteY5890" fmla="*/ 6531083 h 7458372"/>
              <a:gd name="connsiteX5891" fmla="*/ 7885802 w 10505529"/>
              <a:gd name="connsiteY5891" fmla="*/ 6537473 h 7458372"/>
              <a:gd name="connsiteX5892" fmla="*/ 7891924 w 10505529"/>
              <a:gd name="connsiteY5892" fmla="*/ 6546791 h 7458372"/>
              <a:gd name="connsiteX5893" fmla="*/ 7894188 w 10505529"/>
              <a:gd name="connsiteY5893" fmla="*/ 6558239 h 7458372"/>
              <a:gd name="connsiteX5894" fmla="*/ 7891924 w 10505529"/>
              <a:gd name="connsiteY5894" fmla="*/ 6569954 h 7458372"/>
              <a:gd name="connsiteX5895" fmla="*/ 7885802 w 10505529"/>
              <a:gd name="connsiteY5895" fmla="*/ 6579272 h 7458372"/>
              <a:gd name="connsiteX5896" fmla="*/ 7876483 w 10505529"/>
              <a:gd name="connsiteY5896" fmla="*/ 6585529 h 7458372"/>
              <a:gd name="connsiteX5897" fmla="*/ 7864636 w 10505529"/>
              <a:gd name="connsiteY5897" fmla="*/ 6587792 h 7458372"/>
              <a:gd name="connsiteX5898" fmla="*/ 7842803 w 10505529"/>
              <a:gd name="connsiteY5898" fmla="*/ 6579272 h 7458372"/>
              <a:gd name="connsiteX5899" fmla="*/ 7834417 w 10505529"/>
              <a:gd name="connsiteY5899" fmla="*/ 6558106 h 7458372"/>
              <a:gd name="connsiteX5900" fmla="*/ 7842803 w 10505529"/>
              <a:gd name="connsiteY5900" fmla="*/ 6537074 h 7458372"/>
              <a:gd name="connsiteX5901" fmla="*/ 7864636 w 10505529"/>
              <a:gd name="connsiteY5901" fmla="*/ 6528554 h 7458372"/>
              <a:gd name="connsiteX5902" fmla="*/ 7646991 w 10505529"/>
              <a:gd name="connsiteY5902" fmla="*/ 6528554 h 7458372"/>
              <a:gd name="connsiteX5903" fmla="*/ 7658705 w 10505529"/>
              <a:gd name="connsiteY5903" fmla="*/ 6531083 h 7458372"/>
              <a:gd name="connsiteX5904" fmla="*/ 7668022 w 10505529"/>
              <a:gd name="connsiteY5904" fmla="*/ 6537473 h 7458372"/>
              <a:gd name="connsiteX5905" fmla="*/ 7674146 w 10505529"/>
              <a:gd name="connsiteY5905" fmla="*/ 6546791 h 7458372"/>
              <a:gd name="connsiteX5906" fmla="*/ 7676409 w 10505529"/>
              <a:gd name="connsiteY5906" fmla="*/ 6558239 h 7458372"/>
              <a:gd name="connsiteX5907" fmla="*/ 7674146 w 10505529"/>
              <a:gd name="connsiteY5907" fmla="*/ 6569954 h 7458372"/>
              <a:gd name="connsiteX5908" fmla="*/ 7668022 w 10505529"/>
              <a:gd name="connsiteY5908" fmla="*/ 6579272 h 7458372"/>
              <a:gd name="connsiteX5909" fmla="*/ 7658705 w 10505529"/>
              <a:gd name="connsiteY5909" fmla="*/ 6585529 h 7458372"/>
              <a:gd name="connsiteX5910" fmla="*/ 7646991 w 10505529"/>
              <a:gd name="connsiteY5910" fmla="*/ 6587792 h 7458372"/>
              <a:gd name="connsiteX5911" fmla="*/ 7625158 w 10505529"/>
              <a:gd name="connsiteY5911" fmla="*/ 6579272 h 7458372"/>
              <a:gd name="connsiteX5912" fmla="*/ 7616772 w 10505529"/>
              <a:gd name="connsiteY5912" fmla="*/ 6558106 h 7458372"/>
              <a:gd name="connsiteX5913" fmla="*/ 7625158 w 10505529"/>
              <a:gd name="connsiteY5913" fmla="*/ 6537074 h 7458372"/>
              <a:gd name="connsiteX5914" fmla="*/ 7646991 w 10505529"/>
              <a:gd name="connsiteY5914" fmla="*/ 6528554 h 7458372"/>
              <a:gd name="connsiteX5915" fmla="*/ 7429345 w 10505529"/>
              <a:gd name="connsiteY5915" fmla="*/ 6528554 h 7458372"/>
              <a:gd name="connsiteX5916" fmla="*/ 7441059 w 10505529"/>
              <a:gd name="connsiteY5916" fmla="*/ 6531083 h 7458372"/>
              <a:gd name="connsiteX5917" fmla="*/ 7450377 w 10505529"/>
              <a:gd name="connsiteY5917" fmla="*/ 6537473 h 7458372"/>
              <a:gd name="connsiteX5918" fmla="*/ 7456501 w 10505529"/>
              <a:gd name="connsiteY5918" fmla="*/ 6546791 h 7458372"/>
              <a:gd name="connsiteX5919" fmla="*/ 7458764 w 10505529"/>
              <a:gd name="connsiteY5919" fmla="*/ 6558239 h 7458372"/>
              <a:gd name="connsiteX5920" fmla="*/ 7456501 w 10505529"/>
              <a:gd name="connsiteY5920" fmla="*/ 6569954 h 7458372"/>
              <a:gd name="connsiteX5921" fmla="*/ 7450377 w 10505529"/>
              <a:gd name="connsiteY5921" fmla="*/ 6579272 h 7458372"/>
              <a:gd name="connsiteX5922" fmla="*/ 7441059 w 10505529"/>
              <a:gd name="connsiteY5922" fmla="*/ 6585529 h 7458372"/>
              <a:gd name="connsiteX5923" fmla="*/ 7429345 w 10505529"/>
              <a:gd name="connsiteY5923" fmla="*/ 6587792 h 7458372"/>
              <a:gd name="connsiteX5924" fmla="*/ 7407513 w 10505529"/>
              <a:gd name="connsiteY5924" fmla="*/ 6579272 h 7458372"/>
              <a:gd name="connsiteX5925" fmla="*/ 7399127 w 10505529"/>
              <a:gd name="connsiteY5925" fmla="*/ 6558106 h 7458372"/>
              <a:gd name="connsiteX5926" fmla="*/ 7407513 w 10505529"/>
              <a:gd name="connsiteY5926" fmla="*/ 6537074 h 7458372"/>
              <a:gd name="connsiteX5927" fmla="*/ 7429345 w 10505529"/>
              <a:gd name="connsiteY5927" fmla="*/ 6528554 h 7458372"/>
              <a:gd name="connsiteX5928" fmla="*/ 7211701 w 10505529"/>
              <a:gd name="connsiteY5928" fmla="*/ 6528554 h 7458372"/>
              <a:gd name="connsiteX5929" fmla="*/ 7223415 w 10505529"/>
              <a:gd name="connsiteY5929" fmla="*/ 6531083 h 7458372"/>
              <a:gd name="connsiteX5930" fmla="*/ 7232733 w 10505529"/>
              <a:gd name="connsiteY5930" fmla="*/ 6537473 h 7458372"/>
              <a:gd name="connsiteX5931" fmla="*/ 7238856 w 10505529"/>
              <a:gd name="connsiteY5931" fmla="*/ 6546791 h 7458372"/>
              <a:gd name="connsiteX5932" fmla="*/ 7241120 w 10505529"/>
              <a:gd name="connsiteY5932" fmla="*/ 6558239 h 7458372"/>
              <a:gd name="connsiteX5933" fmla="*/ 7238856 w 10505529"/>
              <a:gd name="connsiteY5933" fmla="*/ 6569954 h 7458372"/>
              <a:gd name="connsiteX5934" fmla="*/ 7232733 w 10505529"/>
              <a:gd name="connsiteY5934" fmla="*/ 6579272 h 7458372"/>
              <a:gd name="connsiteX5935" fmla="*/ 7223415 w 10505529"/>
              <a:gd name="connsiteY5935" fmla="*/ 6585529 h 7458372"/>
              <a:gd name="connsiteX5936" fmla="*/ 7211701 w 10505529"/>
              <a:gd name="connsiteY5936" fmla="*/ 6587792 h 7458372"/>
              <a:gd name="connsiteX5937" fmla="*/ 7189868 w 10505529"/>
              <a:gd name="connsiteY5937" fmla="*/ 6579272 h 7458372"/>
              <a:gd name="connsiteX5938" fmla="*/ 7181482 w 10505529"/>
              <a:gd name="connsiteY5938" fmla="*/ 6558106 h 7458372"/>
              <a:gd name="connsiteX5939" fmla="*/ 7189868 w 10505529"/>
              <a:gd name="connsiteY5939" fmla="*/ 6537074 h 7458372"/>
              <a:gd name="connsiteX5940" fmla="*/ 7211701 w 10505529"/>
              <a:gd name="connsiteY5940" fmla="*/ 6528554 h 7458372"/>
              <a:gd name="connsiteX5941" fmla="*/ 6994056 w 10505529"/>
              <a:gd name="connsiteY5941" fmla="*/ 6528554 h 7458372"/>
              <a:gd name="connsiteX5942" fmla="*/ 7005769 w 10505529"/>
              <a:gd name="connsiteY5942" fmla="*/ 6531083 h 7458372"/>
              <a:gd name="connsiteX5943" fmla="*/ 7015087 w 10505529"/>
              <a:gd name="connsiteY5943" fmla="*/ 6537473 h 7458372"/>
              <a:gd name="connsiteX5944" fmla="*/ 7021211 w 10505529"/>
              <a:gd name="connsiteY5944" fmla="*/ 6546791 h 7458372"/>
              <a:gd name="connsiteX5945" fmla="*/ 7023474 w 10505529"/>
              <a:gd name="connsiteY5945" fmla="*/ 6558239 h 7458372"/>
              <a:gd name="connsiteX5946" fmla="*/ 7021211 w 10505529"/>
              <a:gd name="connsiteY5946" fmla="*/ 6569954 h 7458372"/>
              <a:gd name="connsiteX5947" fmla="*/ 7015087 w 10505529"/>
              <a:gd name="connsiteY5947" fmla="*/ 6579272 h 7458372"/>
              <a:gd name="connsiteX5948" fmla="*/ 7005769 w 10505529"/>
              <a:gd name="connsiteY5948" fmla="*/ 6585529 h 7458372"/>
              <a:gd name="connsiteX5949" fmla="*/ 6994056 w 10505529"/>
              <a:gd name="connsiteY5949" fmla="*/ 6587792 h 7458372"/>
              <a:gd name="connsiteX5950" fmla="*/ 6972223 w 10505529"/>
              <a:gd name="connsiteY5950" fmla="*/ 6579272 h 7458372"/>
              <a:gd name="connsiteX5951" fmla="*/ 6963837 w 10505529"/>
              <a:gd name="connsiteY5951" fmla="*/ 6558106 h 7458372"/>
              <a:gd name="connsiteX5952" fmla="*/ 6972223 w 10505529"/>
              <a:gd name="connsiteY5952" fmla="*/ 6537074 h 7458372"/>
              <a:gd name="connsiteX5953" fmla="*/ 6994056 w 10505529"/>
              <a:gd name="connsiteY5953" fmla="*/ 6528554 h 7458372"/>
              <a:gd name="connsiteX5954" fmla="*/ 6776544 w 10505529"/>
              <a:gd name="connsiteY5954" fmla="*/ 6528554 h 7458372"/>
              <a:gd name="connsiteX5955" fmla="*/ 6788258 w 10505529"/>
              <a:gd name="connsiteY5955" fmla="*/ 6531083 h 7458372"/>
              <a:gd name="connsiteX5956" fmla="*/ 6797576 w 10505529"/>
              <a:gd name="connsiteY5956" fmla="*/ 6537473 h 7458372"/>
              <a:gd name="connsiteX5957" fmla="*/ 6803699 w 10505529"/>
              <a:gd name="connsiteY5957" fmla="*/ 6546791 h 7458372"/>
              <a:gd name="connsiteX5958" fmla="*/ 6805963 w 10505529"/>
              <a:gd name="connsiteY5958" fmla="*/ 6558239 h 7458372"/>
              <a:gd name="connsiteX5959" fmla="*/ 6803699 w 10505529"/>
              <a:gd name="connsiteY5959" fmla="*/ 6569954 h 7458372"/>
              <a:gd name="connsiteX5960" fmla="*/ 6797576 w 10505529"/>
              <a:gd name="connsiteY5960" fmla="*/ 6579272 h 7458372"/>
              <a:gd name="connsiteX5961" fmla="*/ 6788258 w 10505529"/>
              <a:gd name="connsiteY5961" fmla="*/ 6585529 h 7458372"/>
              <a:gd name="connsiteX5962" fmla="*/ 6776544 w 10505529"/>
              <a:gd name="connsiteY5962" fmla="*/ 6587792 h 7458372"/>
              <a:gd name="connsiteX5963" fmla="*/ 6754711 w 10505529"/>
              <a:gd name="connsiteY5963" fmla="*/ 6579272 h 7458372"/>
              <a:gd name="connsiteX5964" fmla="*/ 6746325 w 10505529"/>
              <a:gd name="connsiteY5964" fmla="*/ 6558106 h 7458372"/>
              <a:gd name="connsiteX5965" fmla="*/ 6754711 w 10505529"/>
              <a:gd name="connsiteY5965" fmla="*/ 6537074 h 7458372"/>
              <a:gd name="connsiteX5966" fmla="*/ 6776544 w 10505529"/>
              <a:gd name="connsiteY5966" fmla="*/ 6528554 h 7458372"/>
              <a:gd name="connsiteX5967" fmla="*/ 6558899 w 10505529"/>
              <a:gd name="connsiteY5967" fmla="*/ 6528554 h 7458372"/>
              <a:gd name="connsiteX5968" fmla="*/ 6570612 w 10505529"/>
              <a:gd name="connsiteY5968" fmla="*/ 6531083 h 7458372"/>
              <a:gd name="connsiteX5969" fmla="*/ 6579930 w 10505529"/>
              <a:gd name="connsiteY5969" fmla="*/ 6537473 h 7458372"/>
              <a:gd name="connsiteX5970" fmla="*/ 6586054 w 10505529"/>
              <a:gd name="connsiteY5970" fmla="*/ 6546791 h 7458372"/>
              <a:gd name="connsiteX5971" fmla="*/ 6588317 w 10505529"/>
              <a:gd name="connsiteY5971" fmla="*/ 6558239 h 7458372"/>
              <a:gd name="connsiteX5972" fmla="*/ 6586054 w 10505529"/>
              <a:gd name="connsiteY5972" fmla="*/ 6569954 h 7458372"/>
              <a:gd name="connsiteX5973" fmla="*/ 6579930 w 10505529"/>
              <a:gd name="connsiteY5973" fmla="*/ 6579272 h 7458372"/>
              <a:gd name="connsiteX5974" fmla="*/ 6570612 w 10505529"/>
              <a:gd name="connsiteY5974" fmla="*/ 6585529 h 7458372"/>
              <a:gd name="connsiteX5975" fmla="*/ 6558899 w 10505529"/>
              <a:gd name="connsiteY5975" fmla="*/ 6587792 h 7458372"/>
              <a:gd name="connsiteX5976" fmla="*/ 6537066 w 10505529"/>
              <a:gd name="connsiteY5976" fmla="*/ 6579272 h 7458372"/>
              <a:gd name="connsiteX5977" fmla="*/ 6528680 w 10505529"/>
              <a:gd name="connsiteY5977" fmla="*/ 6558106 h 7458372"/>
              <a:gd name="connsiteX5978" fmla="*/ 6537066 w 10505529"/>
              <a:gd name="connsiteY5978" fmla="*/ 6537074 h 7458372"/>
              <a:gd name="connsiteX5979" fmla="*/ 6558899 w 10505529"/>
              <a:gd name="connsiteY5979" fmla="*/ 6528554 h 7458372"/>
              <a:gd name="connsiteX5980" fmla="*/ 6341253 w 10505529"/>
              <a:gd name="connsiteY5980" fmla="*/ 6528554 h 7458372"/>
              <a:gd name="connsiteX5981" fmla="*/ 6352968 w 10505529"/>
              <a:gd name="connsiteY5981" fmla="*/ 6531083 h 7458372"/>
              <a:gd name="connsiteX5982" fmla="*/ 6362286 w 10505529"/>
              <a:gd name="connsiteY5982" fmla="*/ 6537473 h 7458372"/>
              <a:gd name="connsiteX5983" fmla="*/ 6368409 w 10505529"/>
              <a:gd name="connsiteY5983" fmla="*/ 6546791 h 7458372"/>
              <a:gd name="connsiteX5984" fmla="*/ 6370672 w 10505529"/>
              <a:gd name="connsiteY5984" fmla="*/ 6558239 h 7458372"/>
              <a:gd name="connsiteX5985" fmla="*/ 6368409 w 10505529"/>
              <a:gd name="connsiteY5985" fmla="*/ 6569954 h 7458372"/>
              <a:gd name="connsiteX5986" fmla="*/ 6362286 w 10505529"/>
              <a:gd name="connsiteY5986" fmla="*/ 6579272 h 7458372"/>
              <a:gd name="connsiteX5987" fmla="*/ 6352968 w 10505529"/>
              <a:gd name="connsiteY5987" fmla="*/ 6585529 h 7458372"/>
              <a:gd name="connsiteX5988" fmla="*/ 6341253 w 10505529"/>
              <a:gd name="connsiteY5988" fmla="*/ 6587792 h 7458372"/>
              <a:gd name="connsiteX5989" fmla="*/ 6319421 w 10505529"/>
              <a:gd name="connsiteY5989" fmla="*/ 6579272 h 7458372"/>
              <a:gd name="connsiteX5990" fmla="*/ 6311035 w 10505529"/>
              <a:gd name="connsiteY5990" fmla="*/ 6558106 h 7458372"/>
              <a:gd name="connsiteX5991" fmla="*/ 6319421 w 10505529"/>
              <a:gd name="connsiteY5991" fmla="*/ 6537074 h 7458372"/>
              <a:gd name="connsiteX5992" fmla="*/ 6341253 w 10505529"/>
              <a:gd name="connsiteY5992" fmla="*/ 6528554 h 7458372"/>
              <a:gd name="connsiteX5993" fmla="*/ 6123608 w 10505529"/>
              <a:gd name="connsiteY5993" fmla="*/ 6528554 h 7458372"/>
              <a:gd name="connsiteX5994" fmla="*/ 6135322 w 10505529"/>
              <a:gd name="connsiteY5994" fmla="*/ 6531083 h 7458372"/>
              <a:gd name="connsiteX5995" fmla="*/ 6144640 w 10505529"/>
              <a:gd name="connsiteY5995" fmla="*/ 6537473 h 7458372"/>
              <a:gd name="connsiteX5996" fmla="*/ 6150763 w 10505529"/>
              <a:gd name="connsiteY5996" fmla="*/ 6546791 h 7458372"/>
              <a:gd name="connsiteX5997" fmla="*/ 6153026 w 10505529"/>
              <a:gd name="connsiteY5997" fmla="*/ 6558239 h 7458372"/>
              <a:gd name="connsiteX5998" fmla="*/ 6150763 w 10505529"/>
              <a:gd name="connsiteY5998" fmla="*/ 6569954 h 7458372"/>
              <a:gd name="connsiteX5999" fmla="*/ 6144640 w 10505529"/>
              <a:gd name="connsiteY5999" fmla="*/ 6579272 h 7458372"/>
              <a:gd name="connsiteX6000" fmla="*/ 6135322 w 10505529"/>
              <a:gd name="connsiteY6000" fmla="*/ 6585529 h 7458372"/>
              <a:gd name="connsiteX6001" fmla="*/ 6123608 w 10505529"/>
              <a:gd name="connsiteY6001" fmla="*/ 6587792 h 7458372"/>
              <a:gd name="connsiteX6002" fmla="*/ 6101775 w 10505529"/>
              <a:gd name="connsiteY6002" fmla="*/ 6579272 h 7458372"/>
              <a:gd name="connsiteX6003" fmla="*/ 6093389 w 10505529"/>
              <a:gd name="connsiteY6003" fmla="*/ 6558106 h 7458372"/>
              <a:gd name="connsiteX6004" fmla="*/ 6101775 w 10505529"/>
              <a:gd name="connsiteY6004" fmla="*/ 6537074 h 7458372"/>
              <a:gd name="connsiteX6005" fmla="*/ 6123608 w 10505529"/>
              <a:gd name="connsiteY6005" fmla="*/ 6528554 h 7458372"/>
              <a:gd name="connsiteX6006" fmla="*/ 5905963 w 10505529"/>
              <a:gd name="connsiteY6006" fmla="*/ 6528554 h 7458372"/>
              <a:gd name="connsiteX6007" fmla="*/ 5917677 w 10505529"/>
              <a:gd name="connsiteY6007" fmla="*/ 6531083 h 7458372"/>
              <a:gd name="connsiteX6008" fmla="*/ 5926995 w 10505529"/>
              <a:gd name="connsiteY6008" fmla="*/ 6537473 h 7458372"/>
              <a:gd name="connsiteX6009" fmla="*/ 5933118 w 10505529"/>
              <a:gd name="connsiteY6009" fmla="*/ 6546791 h 7458372"/>
              <a:gd name="connsiteX6010" fmla="*/ 5935381 w 10505529"/>
              <a:gd name="connsiteY6010" fmla="*/ 6558239 h 7458372"/>
              <a:gd name="connsiteX6011" fmla="*/ 5933118 w 10505529"/>
              <a:gd name="connsiteY6011" fmla="*/ 6569954 h 7458372"/>
              <a:gd name="connsiteX6012" fmla="*/ 5926995 w 10505529"/>
              <a:gd name="connsiteY6012" fmla="*/ 6579272 h 7458372"/>
              <a:gd name="connsiteX6013" fmla="*/ 5917677 w 10505529"/>
              <a:gd name="connsiteY6013" fmla="*/ 6585529 h 7458372"/>
              <a:gd name="connsiteX6014" fmla="*/ 5905963 w 10505529"/>
              <a:gd name="connsiteY6014" fmla="*/ 6587792 h 7458372"/>
              <a:gd name="connsiteX6015" fmla="*/ 5884130 w 10505529"/>
              <a:gd name="connsiteY6015" fmla="*/ 6579272 h 7458372"/>
              <a:gd name="connsiteX6016" fmla="*/ 5875744 w 10505529"/>
              <a:gd name="connsiteY6016" fmla="*/ 6558106 h 7458372"/>
              <a:gd name="connsiteX6017" fmla="*/ 5884130 w 10505529"/>
              <a:gd name="connsiteY6017" fmla="*/ 6537074 h 7458372"/>
              <a:gd name="connsiteX6018" fmla="*/ 5905963 w 10505529"/>
              <a:gd name="connsiteY6018" fmla="*/ 6528554 h 7458372"/>
              <a:gd name="connsiteX6019" fmla="*/ 5688451 w 10505529"/>
              <a:gd name="connsiteY6019" fmla="*/ 6528554 h 7458372"/>
              <a:gd name="connsiteX6020" fmla="*/ 5700165 w 10505529"/>
              <a:gd name="connsiteY6020" fmla="*/ 6531083 h 7458372"/>
              <a:gd name="connsiteX6021" fmla="*/ 5709483 w 10505529"/>
              <a:gd name="connsiteY6021" fmla="*/ 6537473 h 7458372"/>
              <a:gd name="connsiteX6022" fmla="*/ 5715606 w 10505529"/>
              <a:gd name="connsiteY6022" fmla="*/ 6546791 h 7458372"/>
              <a:gd name="connsiteX6023" fmla="*/ 5717869 w 10505529"/>
              <a:gd name="connsiteY6023" fmla="*/ 6558239 h 7458372"/>
              <a:gd name="connsiteX6024" fmla="*/ 5715606 w 10505529"/>
              <a:gd name="connsiteY6024" fmla="*/ 6569954 h 7458372"/>
              <a:gd name="connsiteX6025" fmla="*/ 5709483 w 10505529"/>
              <a:gd name="connsiteY6025" fmla="*/ 6579272 h 7458372"/>
              <a:gd name="connsiteX6026" fmla="*/ 5700165 w 10505529"/>
              <a:gd name="connsiteY6026" fmla="*/ 6585529 h 7458372"/>
              <a:gd name="connsiteX6027" fmla="*/ 5688451 w 10505529"/>
              <a:gd name="connsiteY6027" fmla="*/ 6587792 h 7458372"/>
              <a:gd name="connsiteX6028" fmla="*/ 5666618 w 10505529"/>
              <a:gd name="connsiteY6028" fmla="*/ 6579272 h 7458372"/>
              <a:gd name="connsiteX6029" fmla="*/ 5658232 w 10505529"/>
              <a:gd name="connsiteY6029" fmla="*/ 6558106 h 7458372"/>
              <a:gd name="connsiteX6030" fmla="*/ 5666618 w 10505529"/>
              <a:gd name="connsiteY6030" fmla="*/ 6537074 h 7458372"/>
              <a:gd name="connsiteX6031" fmla="*/ 5688451 w 10505529"/>
              <a:gd name="connsiteY6031" fmla="*/ 6528554 h 7458372"/>
              <a:gd name="connsiteX6032" fmla="*/ 5470806 w 10505529"/>
              <a:gd name="connsiteY6032" fmla="*/ 6528554 h 7458372"/>
              <a:gd name="connsiteX6033" fmla="*/ 5482520 w 10505529"/>
              <a:gd name="connsiteY6033" fmla="*/ 6531083 h 7458372"/>
              <a:gd name="connsiteX6034" fmla="*/ 5491838 w 10505529"/>
              <a:gd name="connsiteY6034" fmla="*/ 6537473 h 7458372"/>
              <a:gd name="connsiteX6035" fmla="*/ 5497961 w 10505529"/>
              <a:gd name="connsiteY6035" fmla="*/ 6546791 h 7458372"/>
              <a:gd name="connsiteX6036" fmla="*/ 5500224 w 10505529"/>
              <a:gd name="connsiteY6036" fmla="*/ 6558239 h 7458372"/>
              <a:gd name="connsiteX6037" fmla="*/ 5497961 w 10505529"/>
              <a:gd name="connsiteY6037" fmla="*/ 6569954 h 7458372"/>
              <a:gd name="connsiteX6038" fmla="*/ 5491838 w 10505529"/>
              <a:gd name="connsiteY6038" fmla="*/ 6579272 h 7458372"/>
              <a:gd name="connsiteX6039" fmla="*/ 5482520 w 10505529"/>
              <a:gd name="connsiteY6039" fmla="*/ 6585529 h 7458372"/>
              <a:gd name="connsiteX6040" fmla="*/ 5470806 w 10505529"/>
              <a:gd name="connsiteY6040" fmla="*/ 6587792 h 7458372"/>
              <a:gd name="connsiteX6041" fmla="*/ 5448973 w 10505529"/>
              <a:gd name="connsiteY6041" fmla="*/ 6579272 h 7458372"/>
              <a:gd name="connsiteX6042" fmla="*/ 5440587 w 10505529"/>
              <a:gd name="connsiteY6042" fmla="*/ 6558106 h 7458372"/>
              <a:gd name="connsiteX6043" fmla="*/ 5448973 w 10505529"/>
              <a:gd name="connsiteY6043" fmla="*/ 6537074 h 7458372"/>
              <a:gd name="connsiteX6044" fmla="*/ 5470806 w 10505529"/>
              <a:gd name="connsiteY6044" fmla="*/ 6528554 h 7458372"/>
              <a:gd name="connsiteX6045" fmla="*/ 5253160 w 10505529"/>
              <a:gd name="connsiteY6045" fmla="*/ 6528554 h 7458372"/>
              <a:gd name="connsiteX6046" fmla="*/ 5264875 w 10505529"/>
              <a:gd name="connsiteY6046" fmla="*/ 6531083 h 7458372"/>
              <a:gd name="connsiteX6047" fmla="*/ 5274192 w 10505529"/>
              <a:gd name="connsiteY6047" fmla="*/ 6537473 h 7458372"/>
              <a:gd name="connsiteX6048" fmla="*/ 5280316 w 10505529"/>
              <a:gd name="connsiteY6048" fmla="*/ 6546791 h 7458372"/>
              <a:gd name="connsiteX6049" fmla="*/ 5282579 w 10505529"/>
              <a:gd name="connsiteY6049" fmla="*/ 6558239 h 7458372"/>
              <a:gd name="connsiteX6050" fmla="*/ 5280316 w 10505529"/>
              <a:gd name="connsiteY6050" fmla="*/ 6569954 h 7458372"/>
              <a:gd name="connsiteX6051" fmla="*/ 5274192 w 10505529"/>
              <a:gd name="connsiteY6051" fmla="*/ 6579272 h 7458372"/>
              <a:gd name="connsiteX6052" fmla="*/ 5264875 w 10505529"/>
              <a:gd name="connsiteY6052" fmla="*/ 6585529 h 7458372"/>
              <a:gd name="connsiteX6053" fmla="*/ 5253160 w 10505529"/>
              <a:gd name="connsiteY6053" fmla="*/ 6587792 h 7458372"/>
              <a:gd name="connsiteX6054" fmla="*/ 5231328 w 10505529"/>
              <a:gd name="connsiteY6054" fmla="*/ 6579272 h 7458372"/>
              <a:gd name="connsiteX6055" fmla="*/ 5222942 w 10505529"/>
              <a:gd name="connsiteY6055" fmla="*/ 6558106 h 7458372"/>
              <a:gd name="connsiteX6056" fmla="*/ 5231328 w 10505529"/>
              <a:gd name="connsiteY6056" fmla="*/ 6537074 h 7458372"/>
              <a:gd name="connsiteX6057" fmla="*/ 5253160 w 10505529"/>
              <a:gd name="connsiteY6057" fmla="*/ 6528554 h 7458372"/>
              <a:gd name="connsiteX6058" fmla="*/ 5035515 w 10505529"/>
              <a:gd name="connsiteY6058" fmla="*/ 6528554 h 7458372"/>
              <a:gd name="connsiteX6059" fmla="*/ 5047230 w 10505529"/>
              <a:gd name="connsiteY6059" fmla="*/ 6531083 h 7458372"/>
              <a:gd name="connsiteX6060" fmla="*/ 5056548 w 10505529"/>
              <a:gd name="connsiteY6060" fmla="*/ 6537473 h 7458372"/>
              <a:gd name="connsiteX6061" fmla="*/ 5062671 w 10505529"/>
              <a:gd name="connsiteY6061" fmla="*/ 6546791 h 7458372"/>
              <a:gd name="connsiteX6062" fmla="*/ 5064934 w 10505529"/>
              <a:gd name="connsiteY6062" fmla="*/ 6558239 h 7458372"/>
              <a:gd name="connsiteX6063" fmla="*/ 5062671 w 10505529"/>
              <a:gd name="connsiteY6063" fmla="*/ 6569954 h 7458372"/>
              <a:gd name="connsiteX6064" fmla="*/ 5056548 w 10505529"/>
              <a:gd name="connsiteY6064" fmla="*/ 6579272 h 7458372"/>
              <a:gd name="connsiteX6065" fmla="*/ 5047230 w 10505529"/>
              <a:gd name="connsiteY6065" fmla="*/ 6585529 h 7458372"/>
              <a:gd name="connsiteX6066" fmla="*/ 5035515 w 10505529"/>
              <a:gd name="connsiteY6066" fmla="*/ 6587792 h 7458372"/>
              <a:gd name="connsiteX6067" fmla="*/ 5013683 w 10505529"/>
              <a:gd name="connsiteY6067" fmla="*/ 6579272 h 7458372"/>
              <a:gd name="connsiteX6068" fmla="*/ 5005297 w 10505529"/>
              <a:gd name="connsiteY6068" fmla="*/ 6558106 h 7458372"/>
              <a:gd name="connsiteX6069" fmla="*/ 5013683 w 10505529"/>
              <a:gd name="connsiteY6069" fmla="*/ 6537074 h 7458372"/>
              <a:gd name="connsiteX6070" fmla="*/ 5035515 w 10505529"/>
              <a:gd name="connsiteY6070" fmla="*/ 6528554 h 7458372"/>
              <a:gd name="connsiteX6071" fmla="*/ 4817870 w 10505529"/>
              <a:gd name="connsiteY6071" fmla="*/ 6528554 h 7458372"/>
              <a:gd name="connsiteX6072" fmla="*/ 4829585 w 10505529"/>
              <a:gd name="connsiteY6072" fmla="*/ 6531083 h 7458372"/>
              <a:gd name="connsiteX6073" fmla="*/ 4838903 w 10505529"/>
              <a:gd name="connsiteY6073" fmla="*/ 6537473 h 7458372"/>
              <a:gd name="connsiteX6074" fmla="*/ 4845026 w 10505529"/>
              <a:gd name="connsiteY6074" fmla="*/ 6546791 h 7458372"/>
              <a:gd name="connsiteX6075" fmla="*/ 4847289 w 10505529"/>
              <a:gd name="connsiteY6075" fmla="*/ 6558239 h 7458372"/>
              <a:gd name="connsiteX6076" fmla="*/ 4845026 w 10505529"/>
              <a:gd name="connsiteY6076" fmla="*/ 6569954 h 7458372"/>
              <a:gd name="connsiteX6077" fmla="*/ 4838903 w 10505529"/>
              <a:gd name="connsiteY6077" fmla="*/ 6579272 h 7458372"/>
              <a:gd name="connsiteX6078" fmla="*/ 4829585 w 10505529"/>
              <a:gd name="connsiteY6078" fmla="*/ 6585529 h 7458372"/>
              <a:gd name="connsiteX6079" fmla="*/ 4817870 w 10505529"/>
              <a:gd name="connsiteY6079" fmla="*/ 6587792 h 7458372"/>
              <a:gd name="connsiteX6080" fmla="*/ 4796038 w 10505529"/>
              <a:gd name="connsiteY6080" fmla="*/ 6579272 h 7458372"/>
              <a:gd name="connsiteX6081" fmla="*/ 4787652 w 10505529"/>
              <a:gd name="connsiteY6081" fmla="*/ 6558106 h 7458372"/>
              <a:gd name="connsiteX6082" fmla="*/ 4796038 w 10505529"/>
              <a:gd name="connsiteY6082" fmla="*/ 6537074 h 7458372"/>
              <a:gd name="connsiteX6083" fmla="*/ 4817870 w 10505529"/>
              <a:gd name="connsiteY6083" fmla="*/ 6528554 h 7458372"/>
              <a:gd name="connsiteX6084" fmla="*/ 4600226 w 10505529"/>
              <a:gd name="connsiteY6084" fmla="*/ 6528554 h 7458372"/>
              <a:gd name="connsiteX6085" fmla="*/ 4612073 w 10505529"/>
              <a:gd name="connsiteY6085" fmla="*/ 6531083 h 7458372"/>
              <a:gd name="connsiteX6086" fmla="*/ 4621391 w 10505529"/>
              <a:gd name="connsiteY6086" fmla="*/ 6537473 h 7458372"/>
              <a:gd name="connsiteX6087" fmla="*/ 4627514 w 10505529"/>
              <a:gd name="connsiteY6087" fmla="*/ 6546791 h 7458372"/>
              <a:gd name="connsiteX6088" fmla="*/ 4629777 w 10505529"/>
              <a:gd name="connsiteY6088" fmla="*/ 6558239 h 7458372"/>
              <a:gd name="connsiteX6089" fmla="*/ 4627514 w 10505529"/>
              <a:gd name="connsiteY6089" fmla="*/ 6569954 h 7458372"/>
              <a:gd name="connsiteX6090" fmla="*/ 4621391 w 10505529"/>
              <a:gd name="connsiteY6090" fmla="*/ 6579272 h 7458372"/>
              <a:gd name="connsiteX6091" fmla="*/ 4612073 w 10505529"/>
              <a:gd name="connsiteY6091" fmla="*/ 6585529 h 7458372"/>
              <a:gd name="connsiteX6092" fmla="*/ 4600226 w 10505529"/>
              <a:gd name="connsiteY6092" fmla="*/ 6587792 h 7458372"/>
              <a:gd name="connsiteX6093" fmla="*/ 4578393 w 10505529"/>
              <a:gd name="connsiteY6093" fmla="*/ 6579272 h 7458372"/>
              <a:gd name="connsiteX6094" fmla="*/ 4570007 w 10505529"/>
              <a:gd name="connsiteY6094" fmla="*/ 6558106 h 7458372"/>
              <a:gd name="connsiteX6095" fmla="*/ 4578393 w 10505529"/>
              <a:gd name="connsiteY6095" fmla="*/ 6537074 h 7458372"/>
              <a:gd name="connsiteX6096" fmla="*/ 4600226 w 10505529"/>
              <a:gd name="connsiteY6096" fmla="*/ 6528554 h 7458372"/>
              <a:gd name="connsiteX6097" fmla="*/ 4382713 w 10505529"/>
              <a:gd name="connsiteY6097" fmla="*/ 6528554 h 7458372"/>
              <a:gd name="connsiteX6098" fmla="*/ 4394428 w 10505529"/>
              <a:gd name="connsiteY6098" fmla="*/ 6531083 h 7458372"/>
              <a:gd name="connsiteX6099" fmla="*/ 4403746 w 10505529"/>
              <a:gd name="connsiteY6099" fmla="*/ 6537473 h 7458372"/>
              <a:gd name="connsiteX6100" fmla="*/ 4409869 w 10505529"/>
              <a:gd name="connsiteY6100" fmla="*/ 6546791 h 7458372"/>
              <a:gd name="connsiteX6101" fmla="*/ 4412132 w 10505529"/>
              <a:gd name="connsiteY6101" fmla="*/ 6558239 h 7458372"/>
              <a:gd name="connsiteX6102" fmla="*/ 4409869 w 10505529"/>
              <a:gd name="connsiteY6102" fmla="*/ 6569954 h 7458372"/>
              <a:gd name="connsiteX6103" fmla="*/ 4403746 w 10505529"/>
              <a:gd name="connsiteY6103" fmla="*/ 6579272 h 7458372"/>
              <a:gd name="connsiteX6104" fmla="*/ 4394428 w 10505529"/>
              <a:gd name="connsiteY6104" fmla="*/ 6585529 h 7458372"/>
              <a:gd name="connsiteX6105" fmla="*/ 4382713 w 10505529"/>
              <a:gd name="connsiteY6105" fmla="*/ 6587792 h 7458372"/>
              <a:gd name="connsiteX6106" fmla="*/ 4360881 w 10505529"/>
              <a:gd name="connsiteY6106" fmla="*/ 6579272 h 7458372"/>
              <a:gd name="connsiteX6107" fmla="*/ 4352495 w 10505529"/>
              <a:gd name="connsiteY6107" fmla="*/ 6558106 h 7458372"/>
              <a:gd name="connsiteX6108" fmla="*/ 4360881 w 10505529"/>
              <a:gd name="connsiteY6108" fmla="*/ 6537074 h 7458372"/>
              <a:gd name="connsiteX6109" fmla="*/ 4382713 w 10505529"/>
              <a:gd name="connsiteY6109" fmla="*/ 6528554 h 7458372"/>
              <a:gd name="connsiteX6110" fmla="*/ 4165068 w 10505529"/>
              <a:gd name="connsiteY6110" fmla="*/ 6528554 h 7458372"/>
              <a:gd name="connsiteX6111" fmla="*/ 4176782 w 10505529"/>
              <a:gd name="connsiteY6111" fmla="*/ 6531083 h 7458372"/>
              <a:gd name="connsiteX6112" fmla="*/ 4186100 w 10505529"/>
              <a:gd name="connsiteY6112" fmla="*/ 6537473 h 7458372"/>
              <a:gd name="connsiteX6113" fmla="*/ 4192223 w 10505529"/>
              <a:gd name="connsiteY6113" fmla="*/ 6546791 h 7458372"/>
              <a:gd name="connsiteX6114" fmla="*/ 4194486 w 10505529"/>
              <a:gd name="connsiteY6114" fmla="*/ 6558239 h 7458372"/>
              <a:gd name="connsiteX6115" fmla="*/ 4192223 w 10505529"/>
              <a:gd name="connsiteY6115" fmla="*/ 6569954 h 7458372"/>
              <a:gd name="connsiteX6116" fmla="*/ 4186100 w 10505529"/>
              <a:gd name="connsiteY6116" fmla="*/ 6579272 h 7458372"/>
              <a:gd name="connsiteX6117" fmla="*/ 4176782 w 10505529"/>
              <a:gd name="connsiteY6117" fmla="*/ 6585529 h 7458372"/>
              <a:gd name="connsiteX6118" fmla="*/ 4165068 w 10505529"/>
              <a:gd name="connsiteY6118" fmla="*/ 6587792 h 7458372"/>
              <a:gd name="connsiteX6119" fmla="*/ 4143235 w 10505529"/>
              <a:gd name="connsiteY6119" fmla="*/ 6579272 h 7458372"/>
              <a:gd name="connsiteX6120" fmla="*/ 4134849 w 10505529"/>
              <a:gd name="connsiteY6120" fmla="*/ 6558106 h 7458372"/>
              <a:gd name="connsiteX6121" fmla="*/ 4143235 w 10505529"/>
              <a:gd name="connsiteY6121" fmla="*/ 6537074 h 7458372"/>
              <a:gd name="connsiteX6122" fmla="*/ 4165068 w 10505529"/>
              <a:gd name="connsiteY6122" fmla="*/ 6528554 h 7458372"/>
              <a:gd name="connsiteX6123" fmla="*/ 3947779 w 10505529"/>
              <a:gd name="connsiteY6123" fmla="*/ 6528554 h 7458372"/>
              <a:gd name="connsiteX6124" fmla="*/ 3959498 w 10505529"/>
              <a:gd name="connsiteY6124" fmla="*/ 6531083 h 7458372"/>
              <a:gd name="connsiteX6125" fmla="*/ 3968816 w 10505529"/>
              <a:gd name="connsiteY6125" fmla="*/ 6537473 h 7458372"/>
              <a:gd name="connsiteX6126" fmla="*/ 3974940 w 10505529"/>
              <a:gd name="connsiteY6126" fmla="*/ 6546791 h 7458372"/>
              <a:gd name="connsiteX6127" fmla="*/ 3977203 w 10505529"/>
              <a:gd name="connsiteY6127" fmla="*/ 6558239 h 7458372"/>
              <a:gd name="connsiteX6128" fmla="*/ 3974940 w 10505529"/>
              <a:gd name="connsiteY6128" fmla="*/ 6569954 h 7458372"/>
              <a:gd name="connsiteX6129" fmla="*/ 3968816 w 10505529"/>
              <a:gd name="connsiteY6129" fmla="*/ 6579272 h 7458372"/>
              <a:gd name="connsiteX6130" fmla="*/ 3959498 w 10505529"/>
              <a:gd name="connsiteY6130" fmla="*/ 6585529 h 7458372"/>
              <a:gd name="connsiteX6131" fmla="*/ 3947779 w 10505529"/>
              <a:gd name="connsiteY6131" fmla="*/ 6587792 h 7458372"/>
              <a:gd name="connsiteX6132" fmla="*/ 3925946 w 10505529"/>
              <a:gd name="connsiteY6132" fmla="*/ 6579272 h 7458372"/>
              <a:gd name="connsiteX6133" fmla="*/ 3917560 w 10505529"/>
              <a:gd name="connsiteY6133" fmla="*/ 6558106 h 7458372"/>
              <a:gd name="connsiteX6134" fmla="*/ 3925946 w 10505529"/>
              <a:gd name="connsiteY6134" fmla="*/ 6537074 h 7458372"/>
              <a:gd name="connsiteX6135" fmla="*/ 3947779 w 10505529"/>
              <a:gd name="connsiteY6135" fmla="*/ 6528554 h 7458372"/>
              <a:gd name="connsiteX6136" fmla="*/ 3730118 w 10505529"/>
              <a:gd name="connsiteY6136" fmla="*/ 6528554 h 7458372"/>
              <a:gd name="connsiteX6137" fmla="*/ 3741834 w 10505529"/>
              <a:gd name="connsiteY6137" fmla="*/ 6531083 h 7458372"/>
              <a:gd name="connsiteX6138" fmla="*/ 3751152 w 10505529"/>
              <a:gd name="connsiteY6138" fmla="*/ 6537473 h 7458372"/>
              <a:gd name="connsiteX6139" fmla="*/ 3757275 w 10505529"/>
              <a:gd name="connsiteY6139" fmla="*/ 6546791 h 7458372"/>
              <a:gd name="connsiteX6140" fmla="*/ 3759538 w 10505529"/>
              <a:gd name="connsiteY6140" fmla="*/ 6558239 h 7458372"/>
              <a:gd name="connsiteX6141" fmla="*/ 3757275 w 10505529"/>
              <a:gd name="connsiteY6141" fmla="*/ 6569954 h 7458372"/>
              <a:gd name="connsiteX6142" fmla="*/ 3751152 w 10505529"/>
              <a:gd name="connsiteY6142" fmla="*/ 6579272 h 7458372"/>
              <a:gd name="connsiteX6143" fmla="*/ 3741834 w 10505529"/>
              <a:gd name="connsiteY6143" fmla="*/ 6585529 h 7458372"/>
              <a:gd name="connsiteX6144" fmla="*/ 3730118 w 10505529"/>
              <a:gd name="connsiteY6144" fmla="*/ 6587792 h 7458372"/>
              <a:gd name="connsiteX6145" fmla="*/ 3708276 w 10505529"/>
              <a:gd name="connsiteY6145" fmla="*/ 6579272 h 7458372"/>
              <a:gd name="connsiteX6146" fmla="*/ 3699890 w 10505529"/>
              <a:gd name="connsiteY6146" fmla="*/ 6558106 h 7458372"/>
              <a:gd name="connsiteX6147" fmla="*/ 3708276 w 10505529"/>
              <a:gd name="connsiteY6147" fmla="*/ 6537074 h 7458372"/>
              <a:gd name="connsiteX6148" fmla="*/ 3730118 w 10505529"/>
              <a:gd name="connsiteY6148" fmla="*/ 6528554 h 7458372"/>
              <a:gd name="connsiteX6149" fmla="*/ 3512454 w 10505529"/>
              <a:gd name="connsiteY6149" fmla="*/ 6528554 h 7458372"/>
              <a:gd name="connsiteX6150" fmla="*/ 3524170 w 10505529"/>
              <a:gd name="connsiteY6150" fmla="*/ 6531083 h 7458372"/>
              <a:gd name="connsiteX6151" fmla="*/ 3533488 w 10505529"/>
              <a:gd name="connsiteY6151" fmla="*/ 6537473 h 7458372"/>
              <a:gd name="connsiteX6152" fmla="*/ 3539612 w 10505529"/>
              <a:gd name="connsiteY6152" fmla="*/ 6546791 h 7458372"/>
              <a:gd name="connsiteX6153" fmla="*/ 3541875 w 10505529"/>
              <a:gd name="connsiteY6153" fmla="*/ 6558239 h 7458372"/>
              <a:gd name="connsiteX6154" fmla="*/ 3539612 w 10505529"/>
              <a:gd name="connsiteY6154" fmla="*/ 6569954 h 7458372"/>
              <a:gd name="connsiteX6155" fmla="*/ 3533488 w 10505529"/>
              <a:gd name="connsiteY6155" fmla="*/ 6579272 h 7458372"/>
              <a:gd name="connsiteX6156" fmla="*/ 3524170 w 10505529"/>
              <a:gd name="connsiteY6156" fmla="*/ 6585529 h 7458372"/>
              <a:gd name="connsiteX6157" fmla="*/ 3512454 w 10505529"/>
              <a:gd name="connsiteY6157" fmla="*/ 6587792 h 7458372"/>
              <a:gd name="connsiteX6158" fmla="*/ 3490617 w 10505529"/>
              <a:gd name="connsiteY6158" fmla="*/ 6579272 h 7458372"/>
              <a:gd name="connsiteX6159" fmla="*/ 3482230 w 10505529"/>
              <a:gd name="connsiteY6159" fmla="*/ 6558106 h 7458372"/>
              <a:gd name="connsiteX6160" fmla="*/ 3490617 w 10505529"/>
              <a:gd name="connsiteY6160" fmla="*/ 6537074 h 7458372"/>
              <a:gd name="connsiteX6161" fmla="*/ 3512454 w 10505529"/>
              <a:gd name="connsiteY6161" fmla="*/ 6528554 h 7458372"/>
              <a:gd name="connsiteX6162" fmla="*/ 3294924 w 10505529"/>
              <a:gd name="connsiteY6162" fmla="*/ 6528554 h 7458372"/>
              <a:gd name="connsiteX6163" fmla="*/ 3306640 w 10505529"/>
              <a:gd name="connsiteY6163" fmla="*/ 6531083 h 7458372"/>
              <a:gd name="connsiteX6164" fmla="*/ 3315958 w 10505529"/>
              <a:gd name="connsiteY6164" fmla="*/ 6537473 h 7458372"/>
              <a:gd name="connsiteX6165" fmla="*/ 3322081 w 10505529"/>
              <a:gd name="connsiteY6165" fmla="*/ 6546791 h 7458372"/>
              <a:gd name="connsiteX6166" fmla="*/ 3324344 w 10505529"/>
              <a:gd name="connsiteY6166" fmla="*/ 6558239 h 7458372"/>
              <a:gd name="connsiteX6167" fmla="*/ 3322081 w 10505529"/>
              <a:gd name="connsiteY6167" fmla="*/ 6569954 h 7458372"/>
              <a:gd name="connsiteX6168" fmla="*/ 3315958 w 10505529"/>
              <a:gd name="connsiteY6168" fmla="*/ 6579272 h 7458372"/>
              <a:gd name="connsiteX6169" fmla="*/ 3306640 w 10505529"/>
              <a:gd name="connsiteY6169" fmla="*/ 6585529 h 7458372"/>
              <a:gd name="connsiteX6170" fmla="*/ 3294924 w 10505529"/>
              <a:gd name="connsiteY6170" fmla="*/ 6587792 h 7458372"/>
              <a:gd name="connsiteX6171" fmla="*/ 3273085 w 10505529"/>
              <a:gd name="connsiteY6171" fmla="*/ 6579272 h 7458372"/>
              <a:gd name="connsiteX6172" fmla="*/ 3264696 w 10505529"/>
              <a:gd name="connsiteY6172" fmla="*/ 6558106 h 7458372"/>
              <a:gd name="connsiteX6173" fmla="*/ 3273085 w 10505529"/>
              <a:gd name="connsiteY6173" fmla="*/ 6537074 h 7458372"/>
              <a:gd name="connsiteX6174" fmla="*/ 3294924 w 10505529"/>
              <a:gd name="connsiteY6174" fmla="*/ 6528554 h 7458372"/>
              <a:gd name="connsiteX6175" fmla="*/ 3077260 w 10505529"/>
              <a:gd name="connsiteY6175" fmla="*/ 6528554 h 7458372"/>
              <a:gd name="connsiteX6176" fmla="*/ 3088976 w 10505529"/>
              <a:gd name="connsiteY6176" fmla="*/ 6531083 h 7458372"/>
              <a:gd name="connsiteX6177" fmla="*/ 3098294 w 10505529"/>
              <a:gd name="connsiteY6177" fmla="*/ 6537473 h 7458372"/>
              <a:gd name="connsiteX6178" fmla="*/ 3104417 w 10505529"/>
              <a:gd name="connsiteY6178" fmla="*/ 6546791 h 7458372"/>
              <a:gd name="connsiteX6179" fmla="*/ 3106680 w 10505529"/>
              <a:gd name="connsiteY6179" fmla="*/ 6558239 h 7458372"/>
              <a:gd name="connsiteX6180" fmla="*/ 3104417 w 10505529"/>
              <a:gd name="connsiteY6180" fmla="*/ 6569954 h 7458372"/>
              <a:gd name="connsiteX6181" fmla="*/ 3098294 w 10505529"/>
              <a:gd name="connsiteY6181" fmla="*/ 6579272 h 7458372"/>
              <a:gd name="connsiteX6182" fmla="*/ 3088976 w 10505529"/>
              <a:gd name="connsiteY6182" fmla="*/ 6585529 h 7458372"/>
              <a:gd name="connsiteX6183" fmla="*/ 3077260 w 10505529"/>
              <a:gd name="connsiteY6183" fmla="*/ 6587792 h 7458372"/>
              <a:gd name="connsiteX6184" fmla="*/ 3055421 w 10505529"/>
              <a:gd name="connsiteY6184" fmla="*/ 6579272 h 7458372"/>
              <a:gd name="connsiteX6185" fmla="*/ 3047034 w 10505529"/>
              <a:gd name="connsiteY6185" fmla="*/ 6558106 h 7458372"/>
              <a:gd name="connsiteX6186" fmla="*/ 3055421 w 10505529"/>
              <a:gd name="connsiteY6186" fmla="*/ 6537074 h 7458372"/>
              <a:gd name="connsiteX6187" fmla="*/ 3077260 w 10505529"/>
              <a:gd name="connsiteY6187" fmla="*/ 6528554 h 7458372"/>
              <a:gd name="connsiteX6188" fmla="*/ 2859597 w 10505529"/>
              <a:gd name="connsiteY6188" fmla="*/ 6528554 h 7458372"/>
              <a:gd name="connsiteX6189" fmla="*/ 2871445 w 10505529"/>
              <a:gd name="connsiteY6189" fmla="*/ 6531083 h 7458372"/>
              <a:gd name="connsiteX6190" fmla="*/ 2880763 w 10505529"/>
              <a:gd name="connsiteY6190" fmla="*/ 6537473 h 7458372"/>
              <a:gd name="connsiteX6191" fmla="*/ 2886886 w 10505529"/>
              <a:gd name="connsiteY6191" fmla="*/ 6546791 h 7458372"/>
              <a:gd name="connsiteX6192" fmla="*/ 2889149 w 10505529"/>
              <a:gd name="connsiteY6192" fmla="*/ 6558239 h 7458372"/>
              <a:gd name="connsiteX6193" fmla="*/ 2886886 w 10505529"/>
              <a:gd name="connsiteY6193" fmla="*/ 6569954 h 7458372"/>
              <a:gd name="connsiteX6194" fmla="*/ 2880763 w 10505529"/>
              <a:gd name="connsiteY6194" fmla="*/ 6579272 h 7458372"/>
              <a:gd name="connsiteX6195" fmla="*/ 2871445 w 10505529"/>
              <a:gd name="connsiteY6195" fmla="*/ 6585529 h 7458372"/>
              <a:gd name="connsiteX6196" fmla="*/ 2859597 w 10505529"/>
              <a:gd name="connsiteY6196" fmla="*/ 6587792 h 7458372"/>
              <a:gd name="connsiteX6197" fmla="*/ 2837757 w 10505529"/>
              <a:gd name="connsiteY6197" fmla="*/ 6579272 h 7458372"/>
              <a:gd name="connsiteX6198" fmla="*/ 2829370 w 10505529"/>
              <a:gd name="connsiteY6198" fmla="*/ 6558106 h 7458372"/>
              <a:gd name="connsiteX6199" fmla="*/ 2837757 w 10505529"/>
              <a:gd name="connsiteY6199" fmla="*/ 6537074 h 7458372"/>
              <a:gd name="connsiteX6200" fmla="*/ 2859597 w 10505529"/>
              <a:gd name="connsiteY6200" fmla="*/ 6528554 h 7458372"/>
              <a:gd name="connsiteX6201" fmla="*/ 2641933 w 10505529"/>
              <a:gd name="connsiteY6201" fmla="*/ 6528554 h 7458372"/>
              <a:gd name="connsiteX6202" fmla="*/ 2653648 w 10505529"/>
              <a:gd name="connsiteY6202" fmla="*/ 6531083 h 7458372"/>
              <a:gd name="connsiteX6203" fmla="*/ 2662966 w 10505529"/>
              <a:gd name="connsiteY6203" fmla="*/ 6537473 h 7458372"/>
              <a:gd name="connsiteX6204" fmla="*/ 2669089 w 10505529"/>
              <a:gd name="connsiteY6204" fmla="*/ 6546791 h 7458372"/>
              <a:gd name="connsiteX6205" fmla="*/ 2671352 w 10505529"/>
              <a:gd name="connsiteY6205" fmla="*/ 6558239 h 7458372"/>
              <a:gd name="connsiteX6206" fmla="*/ 2669089 w 10505529"/>
              <a:gd name="connsiteY6206" fmla="*/ 6569954 h 7458372"/>
              <a:gd name="connsiteX6207" fmla="*/ 2662966 w 10505529"/>
              <a:gd name="connsiteY6207" fmla="*/ 6579272 h 7458372"/>
              <a:gd name="connsiteX6208" fmla="*/ 2653648 w 10505529"/>
              <a:gd name="connsiteY6208" fmla="*/ 6585529 h 7458372"/>
              <a:gd name="connsiteX6209" fmla="*/ 2641933 w 10505529"/>
              <a:gd name="connsiteY6209" fmla="*/ 6587792 h 7458372"/>
              <a:gd name="connsiteX6210" fmla="*/ 2620099 w 10505529"/>
              <a:gd name="connsiteY6210" fmla="*/ 6579272 h 7458372"/>
              <a:gd name="connsiteX6211" fmla="*/ 2611708 w 10505529"/>
              <a:gd name="connsiteY6211" fmla="*/ 6558106 h 7458372"/>
              <a:gd name="connsiteX6212" fmla="*/ 2620099 w 10505529"/>
              <a:gd name="connsiteY6212" fmla="*/ 6537074 h 7458372"/>
              <a:gd name="connsiteX6213" fmla="*/ 2641933 w 10505529"/>
              <a:gd name="connsiteY6213" fmla="*/ 6528554 h 7458372"/>
              <a:gd name="connsiteX6214" fmla="*/ 2424268 w 10505529"/>
              <a:gd name="connsiteY6214" fmla="*/ 6528554 h 7458372"/>
              <a:gd name="connsiteX6215" fmla="*/ 2435984 w 10505529"/>
              <a:gd name="connsiteY6215" fmla="*/ 6531083 h 7458372"/>
              <a:gd name="connsiteX6216" fmla="*/ 2445302 w 10505529"/>
              <a:gd name="connsiteY6216" fmla="*/ 6537473 h 7458372"/>
              <a:gd name="connsiteX6217" fmla="*/ 2451425 w 10505529"/>
              <a:gd name="connsiteY6217" fmla="*/ 6546791 h 7458372"/>
              <a:gd name="connsiteX6218" fmla="*/ 2453688 w 10505529"/>
              <a:gd name="connsiteY6218" fmla="*/ 6558239 h 7458372"/>
              <a:gd name="connsiteX6219" fmla="*/ 2451425 w 10505529"/>
              <a:gd name="connsiteY6219" fmla="*/ 6569954 h 7458372"/>
              <a:gd name="connsiteX6220" fmla="*/ 2445302 w 10505529"/>
              <a:gd name="connsiteY6220" fmla="*/ 6579272 h 7458372"/>
              <a:gd name="connsiteX6221" fmla="*/ 2435984 w 10505529"/>
              <a:gd name="connsiteY6221" fmla="*/ 6585529 h 7458372"/>
              <a:gd name="connsiteX6222" fmla="*/ 2424268 w 10505529"/>
              <a:gd name="connsiteY6222" fmla="*/ 6587792 h 7458372"/>
              <a:gd name="connsiteX6223" fmla="*/ 2402437 w 10505529"/>
              <a:gd name="connsiteY6223" fmla="*/ 6579272 h 7458372"/>
              <a:gd name="connsiteX6224" fmla="*/ 2394047 w 10505529"/>
              <a:gd name="connsiteY6224" fmla="*/ 6558106 h 7458372"/>
              <a:gd name="connsiteX6225" fmla="*/ 2402437 w 10505529"/>
              <a:gd name="connsiteY6225" fmla="*/ 6537074 h 7458372"/>
              <a:gd name="connsiteX6226" fmla="*/ 2424268 w 10505529"/>
              <a:gd name="connsiteY6226" fmla="*/ 6528554 h 7458372"/>
              <a:gd name="connsiteX6227" fmla="*/ 2206605 w 10505529"/>
              <a:gd name="connsiteY6227" fmla="*/ 6528554 h 7458372"/>
              <a:gd name="connsiteX6228" fmla="*/ 2218320 w 10505529"/>
              <a:gd name="connsiteY6228" fmla="*/ 6531083 h 7458372"/>
              <a:gd name="connsiteX6229" fmla="*/ 2227639 w 10505529"/>
              <a:gd name="connsiteY6229" fmla="*/ 6537473 h 7458372"/>
              <a:gd name="connsiteX6230" fmla="*/ 2233761 w 10505529"/>
              <a:gd name="connsiteY6230" fmla="*/ 6546791 h 7458372"/>
              <a:gd name="connsiteX6231" fmla="*/ 2236024 w 10505529"/>
              <a:gd name="connsiteY6231" fmla="*/ 6558239 h 7458372"/>
              <a:gd name="connsiteX6232" fmla="*/ 2233761 w 10505529"/>
              <a:gd name="connsiteY6232" fmla="*/ 6569954 h 7458372"/>
              <a:gd name="connsiteX6233" fmla="*/ 2227639 w 10505529"/>
              <a:gd name="connsiteY6233" fmla="*/ 6579272 h 7458372"/>
              <a:gd name="connsiteX6234" fmla="*/ 2218320 w 10505529"/>
              <a:gd name="connsiteY6234" fmla="*/ 6585529 h 7458372"/>
              <a:gd name="connsiteX6235" fmla="*/ 2206605 w 10505529"/>
              <a:gd name="connsiteY6235" fmla="*/ 6587792 h 7458372"/>
              <a:gd name="connsiteX6236" fmla="*/ 2184772 w 10505529"/>
              <a:gd name="connsiteY6236" fmla="*/ 6579272 h 7458372"/>
              <a:gd name="connsiteX6237" fmla="*/ 2176383 w 10505529"/>
              <a:gd name="connsiteY6237" fmla="*/ 6558106 h 7458372"/>
              <a:gd name="connsiteX6238" fmla="*/ 2184772 w 10505529"/>
              <a:gd name="connsiteY6238" fmla="*/ 6537074 h 7458372"/>
              <a:gd name="connsiteX6239" fmla="*/ 2206605 w 10505529"/>
              <a:gd name="connsiteY6239" fmla="*/ 6528554 h 7458372"/>
              <a:gd name="connsiteX6240" fmla="*/ 1989074 w 10505529"/>
              <a:gd name="connsiteY6240" fmla="*/ 6528554 h 7458372"/>
              <a:gd name="connsiteX6241" fmla="*/ 2000789 w 10505529"/>
              <a:gd name="connsiteY6241" fmla="*/ 6531083 h 7458372"/>
              <a:gd name="connsiteX6242" fmla="*/ 2010107 w 10505529"/>
              <a:gd name="connsiteY6242" fmla="*/ 6537473 h 7458372"/>
              <a:gd name="connsiteX6243" fmla="*/ 2016230 w 10505529"/>
              <a:gd name="connsiteY6243" fmla="*/ 6546791 h 7458372"/>
              <a:gd name="connsiteX6244" fmla="*/ 2018493 w 10505529"/>
              <a:gd name="connsiteY6244" fmla="*/ 6558239 h 7458372"/>
              <a:gd name="connsiteX6245" fmla="*/ 2016230 w 10505529"/>
              <a:gd name="connsiteY6245" fmla="*/ 6569954 h 7458372"/>
              <a:gd name="connsiteX6246" fmla="*/ 2010107 w 10505529"/>
              <a:gd name="connsiteY6246" fmla="*/ 6579272 h 7458372"/>
              <a:gd name="connsiteX6247" fmla="*/ 2000789 w 10505529"/>
              <a:gd name="connsiteY6247" fmla="*/ 6585529 h 7458372"/>
              <a:gd name="connsiteX6248" fmla="*/ 1989074 w 10505529"/>
              <a:gd name="connsiteY6248" fmla="*/ 6587792 h 7458372"/>
              <a:gd name="connsiteX6249" fmla="*/ 1967243 w 10505529"/>
              <a:gd name="connsiteY6249" fmla="*/ 6579272 h 7458372"/>
              <a:gd name="connsiteX6250" fmla="*/ 1958856 w 10505529"/>
              <a:gd name="connsiteY6250" fmla="*/ 6558106 h 7458372"/>
              <a:gd name="connsiteX6251" fmla="*/ 1967243 w 10505529"/>
              <a:gd name="connsiteY6251" fmla="*/ 6537074 h 7458372"/>
              <a:gd name="connsiteX6252" fmla="*/ 1989074 w 10505529"/>
              <a:gd name="connsiteY6252" fmla="*/ 6528554 h 7458372"/>
              <a:gd name="connsiteX6253" fmla="*/ 1771442 w 10505529"/>
              <a:gd name="connsiteY6253" fmla="*/ 6528554 h 7458372"/>
              <a:gd name="connsiteX6254" fmla="*/ 1783156 w 10505529"/>
              <a:gd name="connsiteY6254" fmla="*/ 6531083 h 7458372"/>
              <a:gd name="connsiteX6255" fmla="*/ 1792474 w 10505529"/>
              <a:gd name="connsiteY6255" fmla="*/ 6537473 h 7458372"/>
              <a:gd name="connsiteX6256" fmla="*/ 1798597 w 10505529"/>
              <a:gd name="connsiteY6256" fmla="*/ 6546791 h 7458372"/>
              <a:gd name="connsiteX6257" fmla="*/ 1800859 w 10505529"/>
              <a:gd name="connsiteY6257" fmla="*/ 6558239 h 7458372"/>
              <a:gd name="connsiteX6258" fmla="*/ 1798597 w 10505529"/>
              <a:gd name="connsiteY6258" fmla="*/ 6569954 h 7458372"/>
              <a:gd name="connsiteX6259" fmla="*/ 1792474 w 10505529"/>
              <a:gd name="connsiteY6259" fmla="*/ 6579272 h 7458372"/>
              <a:gd name="connsiteX6260" fmla="*/ 1783156 w 10505529"/>
              <a:gd name="connsiteY6260" fmla="*/ 6585529 h 7458372"/>
              <a:gd name="connsiteX6261" fmla="*/ 1771442 w 10505529"/>
              <a:gd name="connsiteY6261" fmla="*/ 6587792 h 7458372"/>
              <a:gd name="connsiteX6262" fmla="*/ 1749613 w 10505529"/>
              <a:gd name="connsiteY6262" fmla="*/ 6579272 h 7458372"/>
              <a:gd name="connsiteX6263" fmla="*/ 1741231 w 10505529"/>
              <a:gd name="connsiteY6263" fmla="*/ 6558106 h 7458372"/>
              <a:gd name="connsiteX6264" fmla="*/ 1749613 w 10505529"/>
              <a:gd name="connsiteY6264" fmla="*/ 6537074 h 7458372"/>
              <a:gd name="connsiteX6265" fmla="*/ 1771442 w 10505529"/>
              <a:gd name="connsiteY6265" fmla="*/ 6528554 h 7458372"/>
              <a:gd name="connsiteX6266" fmla="*/ 1553807 w 10505529"/>
              <a:gd name="connsiteY6266" fmla="*/ 6528554 h 7458372"/>
              <a:gd name="connsiteX6267" fmla="*/ 1565521 w 10505529"/>
              <a:gd name="connsiteY6267" fmla="*/ 6531083 h 7458372"/>
              <a:gd name="connsiteX6268" fmla="*/ 1574840 w 10505529"/>
              <a:gd name="connsiteY6268" fmla="*/ 6537473 h 7458372"/>
              <a:gd name="connsiteX6269" fmla="*/ 1580963 w 10505529"/>
              <a:gd name="connsiteY6269" fmla="*/ 6546791 h 7458372"/>
              <a:gd name="connsiteX6270" fmla="*/ 1583226 w 10505529"/>
              <a:gd name="connsiteY6270" fmla="*/ 6558239 h 7458372"/>
              <a:gd name="connsiteX6271" fmla="*/ 1580963 w 10505529"/>
              <a:gd name="connsiteY6271" fmla="*/ 6569954 h 7458372"/>
              <a:gd name="connsiteX6272" fmla="*/ 1574840 w 10505529"/>
              <a:gd name="connsiteY6272" fmla="*/ 6579272 h 7458372"/>
              <a:gd name="connsiteX6273" fmla="*/ 1565521 w 10505529"/>
              <a:gd name="connsiteY6273" fmla="*/ 6585529 h 7458372"/>
              <a:gd name="connsiteX6274" fmla="*/ 1553807 w 10505529"/>
              <a:gd name="connsiteY6274" fmla="*/ 6587792 h 7458372"/>
              <a:gd name="connsiteX6275" fmla="*/ 1531978 w 10505529"/>
              <a:gd name="connsiteY6275" fmla="*/ 6579272 h 7458372"/>
              <a:gd name="connsiteX6276" fmla="*/ 1523592 w 10505529"/>
              <a:gd name="connsiteY6276" fmla="*/ 6558106 h 7458372"/>
              <a:gd name="connsiteX6277" fmla="*/ 1531978 w 10505529"/>
              <a:gd name="connsiteY6277" fmla="*/ 6537074 h 7458372"/>
              <a:gd name="connsiteX6278" fmla="*/ 1553807 w 10505529"/>
              <a:gd name="connsiteY6278" fmla="*/ 6528554 h 7458372"/>
              <a:gd name="connsiteX6279" fmla="*/ 1336163 w 10505529"/>
              <a:gd name="connsiteY6279" fmla="*/ 6528554 h 7458372"/>
              <a:gd name="connsiteX6280" fmla="*/ 1347879 w 10505529"/>
              <a:gd name="connsiteY6280" fmla="*/ 6531083 h 7458372"/>
              <a:gd name="connsiteX6281" fmla="*/ 1357197 w 10505529"/>
              <a:gd name="connsiteY6281" fmla="*/ 6537473 h 7458372"/>
              <a:gd name="connsiteX6282" fmla="*/ 1363320 w 10505529"/>
              <a:gd name="connsiteY6282" fmla="*/ 6546791 h 7458372"/>
              <a:gd name="connsiteX6283" fmla="*/ 1365582 w 10505529"/>
              <a:gd name="connsiteY6283" fmla="*/ 6558239 h 7458372"/>
              <a:gd name="connsiteX6284" fmla="*/ 1363320 w 10505529"/>
              <a:gd name="connsiteY6284" fmla="*/ 6569954 h 7458372"/>
              <a:gd name="connsiteX6285" fmla="*/ 1357197 w 10505529"/>
              <a:gd name="connsiteY6285" fmla="*/ 6579272 h 7458372"/>
              <a:gd name="connsiteX6286" fmla="*/ 1347879 w 10505529"/>
              <a:gd name="connsiteY6286" fmla="*/ 6585529 h 7458372"/>
              <a:gd name="connsiteX6287" fmla="*/ 1336163 w 10505529"/>
              <a:gd name="connsiteY6287" fmla="*/ 6587792 h 7458372"/>
              <a:gd name="connsiteX6288" fmla="*/ 1314330 w 10505529"/>
              <a:gd name="connsiteY6288" fmla="*/ 6579272 h 7458372"/>
              <a:gd name="connsiteX6289" fmla="*/ 1305945 w 10505529"/>
              <a:gd name="connsiteY6289" fmla="*/ 6558106 h 7458372"/>
              <a:gd name="connsiteX6290" fmla="*/ 1314330 w 10505529"/>
              <a:gd name="connsiteY6290" fmla="*/ 6537074 h 7458372"/>
              <a:gd name="connsiteX6291" fmla="*/ 1336163 w 10505529"/>
              <a:gd name="connsiteY6291" fmla="*/ 6528554 h 7458372"/>
              <a:gd name="connsiteX6292" fmla="*/ 1118518 w 10505529"/>
              <a:gd name="connsiteY6292" fmla="*/ 6528554 h 7458372"/>
              <a:gd name="connsiteX6293" fmla="*/ 1130237 w 10505529"/>
              <a:gd name="connsiteY6293" fmla="*/ 6531083 h 7458372"/>
              <a:gd name="connsiteX6294" fmla="*/ 1139551 w 10505529"/>
              <a:gd name="connsiteY6294" fmla="*/ 6537473 h 7458372"/>
              <a:gd name="connsiteX6295" fmla="*/ 1145670 w 10505529"/>
              <a:gd name="connsiteY6295" fmla="*/ 6546791 h 7458372"/>
              <a:gd name="connsiteX6296" fmla="*/ 1147933 w 10505529"/>
              <a:gd name="connsiteY6296" fmla="*/ 6558239 h 7458372"/>
              <a:gd name="connsiteX6297" fmla="*/ 1145670 w 10505529"/>
              <a:gd name="connsiteY6297" fmla="*/ 6569954 h 7458372"/>
              <a:gd name="connsiteX6298" fmla="*/ 1139551 w 10505529"/>
              <a:gd name="connsiteY6298" fmla="*/ 6579272 h 7458372"/>
              <a:gd name="connsiteX6299" fmla="*/ 1130237 w 10505529"/>
              <a:gd name="connsiteY6299" fmla="*/ 6585529 h 7458372"/>
              <a:gd name="connsiteX6300" fmla="*/ 1118518 w 10505529"/>
              <a:gd name="connsiteY6300" fmla="*/ 6587792 h 7458372"/>
              <a:gd name="connsiteX6301" fmla="*/ 1096682 w 10505529"/>
              <a:gd name="connsiteY6301" fmla="*/ 6579272 h 7458372"/>
              <a:gd name="connsiteX6302" fmla="*/ 1088298 w 10505529"/>
              <a:gd name="connsiteY6302" fmla="*/ 6558106 h 7458372"/>
              <a:gd name="connsiteX6303" fmla="*/ 1096682 w 10505529"/>
              <a:gd name="connsiteY6303" fmla="*/ 6537074 h 7458372"/>
              <a:gd name="connsiteX6304" fmla="*/ 1118518 w 10505529"/>
              <a:gd name="connsiteY6304" fmla="*/ 6528554 h 7458372"/>
              <a:gd name="connsiteX6305" fmla="*/ 901005 w 10505529"/>
              <a:gd name="connsiteY6305" fmla="*/ 6528554 h 7458372"/>
              <a:gd name="connsiteX6306" fmla="*/ 912720 w 10505529"/>
              <a:gd name="connsiteY6306" fmla="*/ 6531083 h 7458372"/>
              <a:gd name="connsiteX6307" fmla="*/ 922038 w 10505529"/>
              <a:gd name="connsiteY6307" fmla="*/ 6537473 h 7458372"/>
              <a:gd name="connsiteX6308" fmla="*/ 928160 w 10505529"/>
              <a:gd name="connsiteY6308" fmla="*/ 6546791 h 7458372"/>
              <a:gd name="connsiteX6309" fmla="*/ 930423 w 10505529"/>
              <a:gd name="connsiteY6309" fmla="*/ 6558239 h 7458372"/>
              <a:gd name="connsiteX6310" fmla="*/ 928160 w 10505529"/>
              <a:gd name="connsiteY6310" fmla="*/ 6569954 h 7458372"/>
              <a:gd name="connsiteX6311" fmla="*/ 922038 w 10505529"/>
              <a:gd name="connsiteY6311" fmla="*/ 6579272 h 7458372"/>
              <a:gd name="connsiteX6312" fmla="*/ 912720 w 10505529"/>
              <a:gd name="connsiteY6312" fmla="*/ 6585529 h 7458372"/>
              <a:gd name="connsiteX6313" fmla="*/ 901005 w 10505529"/>
              <a:gd name="connsiteY6313" fmla="*/ 6587792 h 7458372"/>
              <a:gd name="connsiteX6314" fmla="*/ 879174 w 10505529"/>
              <a:gd name="connsiteY6314" fmla="*/ 6579272 h 7458372"/>
              <a:gd name="connsiteX6315" fmla="*/ 870789 w 10505529"/>
              <a:gd name="connsiteY6315" fmla="*/ 6558106 h 7458372"/>
              <a:gd name="connsiteX6316" fmla="*/ 879174 w 10505529"/>
              <a:gd name="connsiteY6316" fmla="*/ 6537074 h 7458372"/>
              <a:gd name="connsiteX6317" fmla="*/ 901005 w 10505529"/>
              <a:gd name="connsiteY6317" fmla="*/ 6528554 h 7458372"/>
              <a:gd name="connsiteX6318" fmla="*/ 683365 w 10505529"/>
              <a:gd name="connsiteY6318" fmla="*/ 6528554 h 7458372"/>
              <a:gd name="connsiteX6319" fmla="*/ 695081 w 10505529"/>
              <a:gd name="connsiteY6319" fmla="*/ 6531083 h 7458372"/>
              <a:gd name="connsiteX6320" fmla="*/ 704397 w 10505529"/>
              <a:gd name="connsiteY6320" fmla="*/ 6537473 h 7458372"/>
              <a:gd name="connsiteX6321" fmla="*/ 710520 w 10505529"/>
              <a:gd name="connsiteY6321" fmla="*/ 6546791 h 7458372"/>
              <a:gd name="connsiteX6322" fmla="*/ 712783 w 10505529"/>
              <a:gd name="connsiteY6322" fmla="*/ 6558239 h 7458372"/>
              <a:gd name="connsiteX6323" fmla="*/ 710520 w 10505529"/>
              <a:gd name="connsiteY6323" fmla="*/ 6569954 h 7458372"/>
              <a:gd name="connsiteX6324" fmla="*/ 704397 w 10505529"/>
              <a:gd name="connsiteY6324" fmla="*/ 6579272 h 7458372"/>
              <a:gd name="connsiteX6325" fmla="*/ 695081 w 10505529"/>
              <a:gd name="connsiteY6325" fmla="*/ 6585529 h 7458372"/>
              <a:gd name="connsiteX6326" fmla="*/ 683365 w 10505529"/>
              <a:gd name="connsiteY6326" fmla="*/ 6587792 h 7458372"/>
              <a:gd name="connsiteX6327" fmla="*/ 661534 w 10505529"/>
              <a:gd name="connsiteY6327" fmla="*/ 6579272 h 7458372"/>
              <a:gd name="connsiteX6328" fmla="*/ 653148 w 10505529"/>
              <a:gd name="connsiteY6328" fmla="*/ 6558106 h 7458372"/>
              <a:gd name="connsiteX6329" fmla="*/ 661534 w 10505529"/>
              <a:gd name="connsiteY6329" fmla="*/ 6537074 h 7458372"/>
              <a:gd name="connsiteX6330" fmla="*/ 683365 w 10505529"/>
              <a:gd name="connsiteY6330" fmla="*/ 6528554 h 7458372"/>
              <a:gd name="connsiteX6331" fmla="*/ 465725 w 10505529"/>
              <a:gd name="connsiteY6331" fmla="*/ 6528554 h 7458372"/>
              <a:gd name="connsiteX6332" fmla="*/ 477440 w 10505529"/>
              <a:gd name="connsiteY6332" fmla="*/ 6531083 h 7458372"/>
              <a:gd name="connsiteX6333" fmla="*/ 486757 w 10505529"/>
              <a:gd name="connsiteY6333" fmla="*/ 6537473 h 7458372"/>
              <a:gd name="connsiteX6334" fmla="*/ 492880 w 10505529"/>
              <a:gd name="connsiteY6334" fmla="*/ 6546791 h 7458372"/>
              <a:gd name="connsiteX6335" fmla="*/ 495143 w 10505529"/>
              <a:gd name="connsiteY6335" fmla="*/ 6558239 h 7458372"/>
              <a:gd name="connsiteX6336" fmla="*/ 492880 w 10505529"/>
              <a:gd name="connsiteY6336" fmla="*/ 6569954 h 7458372"/>
              <a:gd name="connsiteX6337" fmla="*/ 486757 w 10505529"/>
              <a:gd name="connsiteY6337" fmla="*/ 6579272 h 7458372"/>
              <a:gd name="connsiteX6338" fmla="*/ 477440 w 10505529"/>
              <a:gd name="connsiteY6338" fmla="*/ 6585529 h 7458372"/>
              <a:gd name="connsiteX6339" fmla="*/ 465725 w 10505529"/>
              <a:gd name="connsiteY6339" fmla="*/ 6587792 h 7458372"/>
              <a:gd name="connsiteX6340" fmla="*/ 443893 w 10505529"/>
              <a:gd name="connsiteY6340" fmla="*/ 6579272 h 7458372"/>
              <a:gd name="connsiteX6341" fmla="*/ 435507 w 10505529"/>
              <a:gd name="connsiteY6341" fmla="*/ 6558106 h 7458372"/>
              <a:gd name="connsiteX6342" fmla="*/ 443893 w 10505529"/>
              <a:gd name="connsiteY6342" fmla="*/ 6537074 h 7458372"/>
              <a:gd name="connsiteX6343" fmla="*/ 465725 w 10505529"/>
              <a:gd name="connsiteY6343" fmla="*/ 6528554 h 7458372"/>
              <a:gd name="connsiteX6344" fmla="*/ 248084 w 10505529"/>
              <a:gd name="connsiteY6344" fmla="*/ 6528554 h 7458372"/>
              <a:gd name="connsiteX6345" fmla="*/ 259798 w 10505529"/>
              <a:gd name="connsiteY6345" fmla="*/ 6531083 h 7458372"/>
              <a:gd name="connsiteX6346" fmla="*/ 269116 w 10505529"/>
              <a:gd name="connsiteY6346" fmla="*/ 6537473 h 7458372"/>
              <a:gd name="connsiteX6347" fmla="*/ 275239 w 10505529"/>
              <a:gd name="connsiteY6347" fmla="*/ 6546791 h 7458372"/>
              <a:gd name="connsiteX6348" fmla="*/ 277502 w 10505529"/>
              <a:gd name="connsiteY6348" fmla="*/ 6558239 h 7458372"/>
              <a:gd name="connsiteX6349" fmla="*/ 275239 w 10505529"/>
              <a:gd name="connsiteY6349" fmla="*/ 6569954 h 7458372"/>
              <a:gd name="connsiteX6350" fmla="*/ 269116 w 10505529"/>
              <a:gd name="connsiteY6350" fmla="*/ 6579272 h 7458372"/>
              <a:gd name="connsiteX6351" fmla="*/ 259798 w 10505529"/>
              <a:gd name="connsiteY6351" fmla="*/ 6585529 h 7458372"/>
              <a:gd name="connsiteX6352" fmla="*/ 248084 w 10505529"/>
              <a:gd name="connsiteY6352" fmla="*/ 6587792 h 7458372"/>
              <a:gd name="connsiteX6353" fmla="*/ 226254 w 10505529"/>
              <a:gd name="connsiteY6353" fmla="*/ 6579272 h 7458372"/>
              <a:gd name="connsiteX6354" fmla="*/ 217869 w 10505529"/>
              <a:gd name="connsiteY6354" fmla="*/ 6558106 h 7458372"/>
              <a:gd name="connsiteX6355" fmla="*/ 226254 w 10505529"/>
              <a:gd name="connsiteY6355" fmla="*/ 6537074 h 7458372"/>
              <a:gd name="connsiteX6356" fmla="*/ 248084 w 10505529"/>
              <a:gd name="connsiteY6356" fmla="*/ 6528554 h 7458372"/>
              <a:gd name="connsiteX6357" fmla="*/ 30443 w 10505529"/>
              <a:gd name="connsiteY6357" fmla="*/ 6528554 h 7458372"/>
              <a:gd name="connsiteX6358" fmla="*/ 42158 w 10505529"/>
              <a:gd name="connsiteY6358" fmla="*/ 6531083 h 7458372"/>
              <a:gd name="connsiteX6359" fmla="*/ 51476 w 10505529"/>
              <a:gd name="connsiteY6359" fmla="*/ 6537473 h 7458372"/>
              <a:gd name="connsiteX6360" fmla="*/ 57599 w 10505529"/>
              <a:gd name="connsiteY6360" fmla="*/ 6546791 h 7458372"/>
              <a:gd name="connsiteX6361" fmla="*/ 59862 w 10505529"/>
              <a:gd name="connsiteY6361" fmla="*/ 6558239 h 7458372"/>
              <a:gd name="connsiteX6362" fmla="*/ 57599 w 10505529"/>
              <a:gd name="connsiteY6362" fmla="*/ 6569954 h 7458372"/>
              <a:gd name="connsiteX6363" fmla="*/ 51476 w 10505529"/>
              <a:gd name="connsiteY6363" fmla="*/ 6579272 h 7458372"/>
              <a:gd name="connsiteX6364" fmla="*/ 42158 w 10505529"/>
              <a:gd name="connsiteY6364" fmla="*/ 6585529 h 7458372"/>
              <a:gd name="connsiteX6365" fmla="*/ 30443 w 10505529"/>
              <a:gd name="connsiteY6365" fmla="*/ 6587792 h 7458372"/>
              <a:gd name="connsiteX6366" fmla="*/ 8616 w 10505529"/>
              <a:gd name="connsiteY6366" fmla="*/ 6579272 h 7458372"/>
              <a:gd name="connsiteX6367" fmla="*/ 230 w 10505529"/>
              <a:gd name="connsiteY6367" fmla="*/ 6558106 h 7458372"/>
              <a:gd name="connsiteX6368" fmla="*/ 8616 w 10505529"/>
              <a:gd name="connsiteY6368" fmla="*/ 6537074 h 7458372"/>
              <a:gd name="connsiteX6369" fmla="*/ 30443 w 10505529"/>
              <a:gd name="connsiteY6369" fmla="*/ 6528554 h 7458372"/>
              <a:gd name="connsiteX6370" fmla="*/ 10475977 w 10505529"/>
              <a:gd name="connsiteY6370" fmla="*/ 6327682 h 7458372"/>
              <a:gd name="connsiteX6371" fmla="*/ 10465992 w 10505529"/>
              <a:gd name="connsiteY6371" fmla="*/ 6331276 h 7458372"/>
              <a:gd name="connsiteX6372" fmla="*/ 10462399 w 10505529"/>
              <a:gd name="connsiteY6372" fmla="*/ 6340727 h 7458372"/>
              <a:gd name="connsiteX6373" fmla="*/ 10465992 w 10505529"/>
              <a:gd name="connsiteY6373" fmla="*/ 6350178 h 7458372"/>
              <a:gd name="connsiteX6374" fmla="*/ 10475977 w 10505529"/>
              <a:gd name="connsiteY6374" fmla="*/ 6353640 h 7458372"/>
              <a:gd name="connsiteX6375" fmla="*/ 10481302 w 10505529"/>
              <a:gd name="connsiteY6375" fmla="*/ 6352708 h 7458372"/>
              <a:gd name="connsiteX6376" fmla="*/ 10485029 w 10505529"/>
              <a:gd name="connsiteY6376" fmla="*/ 6350311 h 7458372"/>
              <a:gd name="connsiteX6377" fmla="*/ 10487691 w 10505529"/>
              <a:gd name="connsiteY6377" fmla="*/ 6346052 h 7458372"/>
              <a:gd name="connsiteX6378" fmla="*/ 10488623 w 10505529"/>
              <a:gd name="connsiteY6378" fmla="*/ 6340594 h 7458372"/>
              <a:gd name="connsiteX6379" fmla="*/ 10487691 w 10505529"/>
              <a:gd name="connsiteY6379" fmla="*/ 6335403 h 7458372"/>
              <a:gd name="connsiteX6380" fmla="*/ 10485029 w 10505529"/>
              <a:gd name="connsiteY6380" fmla="*/ 6331276 h 7458372"/>
              <a:gd name="connsiteX6381" fmla="*/ 10481035 w 10505529"/>
              <a:gd name="connsiteY6381" fmla="*/ 6328613 h 7458372"/>
              <a:gd name="connsiteX6382" fmla="*/ 10475977 w 10505529"/>
              <a:gd name="connsiteY6382" fmla="*/ 6327682 h 7458372"/>
              <a:gd name="connsiteX6383" fmla="*/ 10258466 w 10505529"/>
              <a:gd name="connsiteY6383" fmla="*/ 6327682 h 7458372"/>
              <a:gd name="connsiteX6384" fmla="*/ 10248481 w 10505529"/>
              <a:gd name="connsiteY6384" fmla="*/ 6331276 h 7458372"/>
              <a:gd name="connsiteX6385" fmla="*/ 10244887 w 10505529"/>
              <a:gd name="connsiteY6385" fmla="*/ 6340727 h 7458372"/>
              <a:gd name="connsiteX6386" fmla="*/ 10248481 w 10505529"/>
              <a:gd name="connsiteY6386" fmla="*/ 6350178 h 7458372"/>
              <a:gd name="connsiteX6387" fmla="*/ 10258466 w 10505529"/>
              <a:gd name="connsiteY6387" fmla="*/ 6353640 h 7458372"/>
              <a:gd name="connsiteX6388" fmla="*/ 10263790 w 10505529"/>
              <a:gd name="connsiteY6388" fmla="*/ 6352708 h 7458372"/>
              <a:gd name="connsiteX6389" fmla="*/ 10267517 w 10505529"/>
              <a:gd name="connsiteY6389" fmla="*/ 6350311 h 7458372"/>
              <a:gd name="connsiteX6390" fmla="*/ 10270180 w 10505529"/>
              <a:gd name="connsiteY6390" fmla="*/ 6346052 h 7458372"/>
              <a:gd name="connsiteX6391" fmla="*/ 10271112 w 10505529"/>
              <a:gd name="connsiteY6391" fmla="*/ 6340594 h 7458372"/>
              <a:gd name="connsiteX6392" fmla="*/ 10270180 w 10505529"/>
              <a:gd name="connsiteY6392" fmla="*/ 6335403 h 7458372"/>
              <a:gd name="connsiteX6393" fmla="*/ 10267517 w 10505529"/>
              <a:gd name="connsiteY6393" fmla="*/ 6331276 h 7458372"/>
              <a:gd name="connsiteX6394" fmla="*/ 10263524 w 10505529"/>
              <a:gd name="connsiteY6394" fmla="*/ 6328613 h 7458372"/>
              <a:gd name="connsiteX6395" fmla="*/ 10258466 w 10505529"/>
              <a:gd name="connsiteY6395" fmla="*/ 6327682 h 7458372"/>
              <a:gd name="connsiteX6396" fmla="*/ 10040820 w 10505529"/>
              <a:gd name="connsiteY6396" fmla="*/ 6327682 h 7458372"/>
              <a:gd name="connsiteX6397" fmla="*/ 10030835 w 10505529"/>
              <a:gd name="connsiteY6397" fmla="*/ 6331276 h 7458372"/>
              <a:gd name="connsiteX6398" fmla="*/ 10027242 w 10505529"/>
              <a:gd name="connsiteY6398" fmla="*/ 6340727 h 7458372"/>
              <a:gd name="connsiteX6399" fmla="*/ 10030835 w 10505529"/>
              <a:gd name="connsiteY6399" fmla="*/ 6350178 h 7458372"/>
              <a:gd name="connsiteX6400" fmla="*/ 10040820 w 10505529"/>
              <a:gd name="connsiteY6400" fmla="*/ 6353640 h 7458372"/>
              <a:gd name="connsiteX6401" fmla="*/ 10046145 w 10505529"/>
              <a:gd name="connsiteY6401" fmla="*/ 6352708 h 7458372"/>
              <a:gd name="connsiteX6402" fmla="*/ 10049872 w 10505529"/>
              <a:gd name="connsiteY6402" fmla="*/ 6350311 h 7458372"/>
              <a:gd name="connsiteX6403" fmla="*/ 10052534 w 10505529"/>
              <a:gd name="connsiteY6403" fmla="*/ 6346052 h 7458372"/>
              <a:gd name="connsiteX6404" fmla="*/ 10053599 w 10505529"/>
              <a:gd name="connsiteY6404" fmla="*/ 6340594 h 7458372"/>
              <a:gd name="connsiteX6405" fmla="*/ 10052534 w 10505529"/>
              <a:gd name="connsiteY6405" fmla="*/ 6335403 h 7458372"/>
              <a:gd name="connsiteX6406" fmla="*/ 10049872 w 10505529"/>
              <a:gd name="connsiteY6406" fmla="*/ 6331276 h 7458372"/>
              <a:gd name="connsiteX6407" fmla="*/ 10045878 w 10505529"/>
              <a:gd name="connsiteY6407" fmla="*/ 6328613 h 7458372"/>
              <a:gd name="connsiteX6408" fmla="*/ 10040820 w 10505529"/>
              <a:gd name="connsiteY6408" fmla="*/ 6327682 h 7458372"/>
              <a:gd name="connsiteX6409" fmla="*/ 9823176 w 10505529"/>
              <a:gd name="connsiteY6409" fmla="*/ 6327682 h 7458372"/>
              <a:gd name="connsiteX6410" fmla="*/ 9813191 w 10505529"/>
              <a:gd name="connsiteY6410" fmla="*/ 6331276 h 7458372"/>
              <a:gd name="connsiteX6411" fmla="*/ 9809597 w 10505529"/>
              <a:gd name="connsiteY6411" fmla="*/ 6340727 h 7458372"/>
              <a:gd name="connsiteX6412" fmla="*/ 9813191 w 10505529"/>
              <a:gd name="connsiteY6412" fmla="*/ 6350178 h 7458372"/>
              <a:gd name="connsiteX6413" fmla="*/ 9823176 w 10505529"/>
              <a:gd name="connsiteY6413" fmla="*/ 6353640 h 7458372"/>
              <a:gd name="connsiteX6414" fmla="*/ 9828501 w 10505529"/>
              <a:gd name="connsiteY6414" fmla="*/ 6352708 h 7458372"/>
              <a:gd name="connsiteX6415" fmla="*/ 9832227 w 10505529"/>
              <a:gd name="connsiteY6415" fmla="*/ 6350311 h 7458372"/>
              <a:gd name="connsiteX6416" fmla="*/ 9834890 w 10505529"/>
              <a:gd name="connsiteY6416" fmla="*/ 6346052 h 7458372"/>
              <a:gd name="connsiteX6417" fmla="*/ 9835955 w 10505529"/>
              <a:gd name="connsiteY6417" fmla="*/ 6340594 h 7458372"/>
              <a:gd name="connsiteX6418" fmla="*/ 9834890 w 10505529"/>
              <a:gd name="connsiteY6418" fmla="*/ 6335403 h 7458372"/>
              <a:gd name="connsiteX6419" fmla="*/ 9832227 w 10505529"/>
              <a:gd name="connsiteY6419" fmla="*/ 6331276 h 7458372"/>
              <a:gd name="connsiteX6420" fmla="*/ 9828234 w 10505529"/>
              <a:gd name="connsiteY6420" fmla="*/ 6328613 h 7458372"/>
              <a:gd name="connsiteX6421" fmla="*/ 9823176 w 10505529"/>
              <a:gd name="connsiteY6421" fmla="*/ 6327682 h 7458372"/>
              <a:gd name="connsiteX6422" fmla="*/ 9605531 w 10505529"/>
              <a:gd name="connsiteY6422" fmla="*/ 6327682 h 7458372"/>
              <a:gd name="connsiteX6423" fmla="*/ 9595546 w 10505529"/>
              <a:gd name="connsiteY6423" fmla="*/ 6331276 h 7458372"/>
              <a:gd name="connsiteX6424" fmla="*/ 9591952 w 10505529"/>
              <a:gd name="connsiteY6424" fmla="*/ 6340727 h 7458372"/>
              <a:gd name="connsiteX6425" fmla="*/ 9595546 w 10505529"/>
              <a:gd name="connsiteY6425" fmla="*/ 6350178 h 7458372"/>
              <a:gd name="connsiteX6426" fmla="*/ 9605531 w 10505529"/>
              <a:gd name="connsiteY6426" fmla="*/ 6353640 h 7458372"/>
              <a:gd name="connsiteX6427" fmla="*/ 9610855 w 10505529"/>
              <a:gd name="connsiteY6427" fmla="*/ 6352708 h 7458372"/>
              <a:gd name="connsiteX6428" fmla="*/ 9614582 w 10505529"/>
              <a:gd name="connsiteY6428" fmla="*/ 6350311 h 7458372"/>
              <a:gd name="connsiteX6429" fmla="*/ 9617245 w 10505529"/>
              <a:gd name="connsiteY6429" fmla="*/ 6346052 h 7458372"/>
              <a:gd name="connsiteX6430" fmla="*/ 9618309 w 10505529"/>
              <a:gd name="connsiteY6430" fmla="*/ 6340594 h 7458372"/>
              <a:gd name="connsiteX6431" fmla="*/ 9617245 w 10505529"/>
              <a:gd name="connsiteY6431" fmla="*/ 6335403 h 7458372"/>
              <a:gd name="connsiteX6432" fmla="*/ 9614582 w 10505529"/>
              <a:gd name="connsiteY6432" fmla="*/ 6331276 h 7458372"/>
              <a:gd name="connsiteX6433" fmla="*/ 9610589 w 10505529"/>
              <a:gd name="connsiteY6433" fmla="*/ 6328613 h 7458372"/>
              <a:gd name="connsiteX6434" fmla="*/ 9605531 w 10505529"/>
              <a:gd name="connsiteY6434" fmla="*/ 6327682 h 7458372"/>
              <a:gd name="connsiteX6435" fmla="*/ 9387885 w 10505529"/>
              <a:gd name="connsiteY6435" fmla="*/ 6327682 h 7458372"/>
              <a:gd name="connsiteX6436" fmla="*/ 9377900 w 10505529"/>
              <a:gd name="connsiteY6436" fmla="*/ 6331276 h 7458372"/>
              <a:gd name="connsiteX6437" fmla="*/ 9374307 w 10505529"/>
              <a:gd name="connsiteY6437" fmla="*/ 6340727 h 7458372"/>
              <a:gd name="connsiteX6438" fmla="*/ 9377900 w 10505529"/>
              <a:gd name="connsiteY6438" fmla="*/ 6350178 h 7458372"/>
              <a:gd name="connsiteX6439" fmla="*/ 9387885 w 10505529"/>
              <a:gd name="connsiteY6439" fmla="*/ 6353640 h 7458372"/>
              <a:gd name="connsiteX6440" fmla="*/ 9393210 w 10505529"/>
              <a:gd name="connsiteY6440" fmla="*/ 6352708 h 7458372"/>
              <a:gd name="connsiteX6441" fmla="*/ 9396937 w 10505529"/>
              <a:gd name="connsiteY6441" fmla="*/ 6350311 h 7458372"/>
              <a:gd name="connsiteX6442" fmla="*/ 9399599 w 10505529"/>
              <a:gd name="connsiteY6442" fmla="*/ 6346052 h 7458372"/>
              <a:gd name="connsiteX6443" fmla="*/ 9400664 w 10505529"/>
              <a:gd name="connsiteY6443" fmla="*/ 6340594 h 7458372"/>
              <a:gd name="connsiteX6444" fmla="*/ 9399599 w 10505529"/>
              <a:gd name="connsiteY6444" fmla="*/ 6335403 h 7458372"/>
              <a:gd name="connsiteX6445" fmla="*/ 9396937 w 10505529"/>
              <a:gd name="connsiteY6445" fmla="*/ 6331276 h 7458372"/>
              <a:gd name="connsiteX6446" fmla="*/ 9392943 w 10505529"/>
              <a:gd name="connsiteY6446" fmla="*/ 6328613 h 7458372"/>
              <a:gd name="connsiteX6447" fmla="*/ 9387885 w 10505529"/>
              <a:gd name="connsiteY6447" fmla="*/ 6327682 h 7458372"/>
              <a:gd name="connsiteX6448" fmla="*/ 9170374 w 10505529"/>
              <a:gd name="connsiteY6448" fmla="*/ 6327682 h 7458372"/>
              <a:gd name="connsiteX6449" fmla="*/ 9160389 w 10505529"/>
              <a:gd name="connsiteY6449" fmla="*/ 6331276 h 7458372"/>
              <a:gd name="connsiteX6450" fmla="*/ 9156795 w 10505529"/>
              <a:gd name="connsiteY6450" fmla="*/ 6340727 h 7458372"/>
              <a:gd name="connsiteX6451" fmla="*/ 9160389 w 10505529"/>
              <a:gd name="connsiteY6451" fmla="*/ 6350178 h 7458372"/>
              <a:gd name="connsiteX6452" fmla="*/ 9170374 w 10505529"/>
              <a:gd name="connsiteY6452" fmla="*/ 6353640 h 7458372"/>
              <a:gd name="connsiteX6453" fmla="*/ 9175698 w 10505529"/>
              <a:gd name="connsiteY6453" fmla="*/ 6352708 h 7458372"/>
              <a:gd name="connsiteX6454" fmla="*/ 9179425 w 10505529"/>
              <a:gd name="connsiteY6454" fmla="*/ 6350311 h 7458372"/>
              <a:gd name="connsiteX6455" fmla="*/ 9182088 w 10505529"/>
              <a:gd name="connsiteY6455" fmla="*/ 6346052 h 7458372"/>
              <a:gd name="connsiteX6456" fmla="*/ 9183152 w 10505529"/>
              <a:gd name="connsiteY6456" fmla="*/ 6340594 h 7458372"/>
              <a:gd name="connsiteX6457" fmla="*/ 9182088 w 10505529"/>
              <a:gd name="connsiteY6457" fmla="*/ 6335403 h 7458372"/>
              <a:gd name="connsiteX6458" fmla="*/ 9179425 w 10505529"/>
              <a:gd name="connsiteY6458" fmla="*/ 6331276 h 7458372"/>
              <a:gd name="connsiteX6459" fmla="*/ 9175432 w 10505529"/>
              <a:gd name="connsiteY6459" fmla="*/ 6328613 h 7458372"/>
              <a:gd name="connsiteX6460" fmla="*/ 9170374 w 10505529"/>
              <a:gd name="connsiteY6460" fmla="*/ 6327682 h 7458372"/>
              <a:gd name="connsiteX6461" fmla="*/ 8952728 w 10505529"/>
              <a:gd name="connsiteY6461" fmla="*/ 6327682 h 7458372"/>
              <a:gd name="connsiteX6462" fmla="*/ 8942743 w 10505529"/>
              <a:gd name="connsiteY6462" fmla="*/ 6331276 h 7458372"/>
              <a:gd name="connsiteX6463" fmla="*/ 8939150 w 10505529"/>
              <a:gd name="connsiteY6463" fmla="*/ 6340727 h 7458372"/>
              <a:gd name="connsiteX6464" fmla="*/ 8942743 w 10505529"/>
              <a:gd name="connsiteY6464" fmla="*/ 6350178 h 7458372"/>
              <a:gd name="connsiteX6465" fmla="*/ 8952728 w 10505529"/>
              <a:gd name="connsiteY6465" fmla="*/ 6353640 h 7458372"/>
              <a:gd name="connsiteX6466" fmla="*/ 8958053 w 10505529"/>
              <a:gd name="connsiteY6466" fmla="*/ 6352708 h 7458372"/>
              <a:gd name="connsiteX6467" fmla="*/ 8961780 w 10505529"/>
              <a:gd name="connsiteY6467" fmla="*/ 6350311 h 7458372"/>
              <a:gd name="connsiteX6468" fmla="*/ 8964442 w 10505529"/>
              <a:gd name="connsiteY6468" fmla="*/ 6346052 h 7458372"/>
              <a:gd name="connsiteX6469" fmla="*/ 8965507 w 10505529"/>
              <a:gd name="connsiteY6469" fmla="*/ 6340594 h 7458372"/>
              <a:gd name="connsiteX6470" fmla="*/ 8964442 w 10505529"/>
              <a:gd name="connsiteY6470" fmla="*/ 6335403 h 7458372"/>
              <a:gd name="connsiteX6471" fmla="*/ 8961780 w 10505529"/>
              <a:gd name="connsiteY6471" fmla="*/ 6331276 h 7458372"/>
              <a:gd name="connsiteX6472" fmla="*/ 8957786 w 10505529"/>
              <a:gd name="connsiteY6472" fmla="*/ 6328613 h 7458372"/>
              <a:gd name="connsiteX6473" fmla="*/ 8952728 w 10505529"/>
              <a:gd name="connsiteY6473" fmla="*/ 6327682 h 7458372"/>
              <a:gd name="connsiteX6474" fmla="*/ 8735083 w 10505529"/>
              <a:gd name="connsiteY6474" fmla="*/ 6327682 h 7458372"/>
              <a:gd name="connsiteX6475" fmla="*/ 8725098 w 10505529"/>
              <a:gd name="connsiteY6475" fmla="*/ 6331276 h 7458372"/>
              <a:gd name="connsiteX6476" fmla="*/ 8721504 w 10505529"/>
              <a:gd name="connsiteY6476" fmla="*/ 6340727 h 7458372"/>
              <a:gd name="connsiteX6477" fmla="*/ 8725098 w 10505529"/>
              <a:gd name="connsiteY6477" fmla="*/ 6350178 h 7458372"/>
              <a:gd name="connsiteX6478" fmla="*/ 8735083 w 10505529"/>
              <a:gd name="connsiteY6478" fmla="*/ 6353640 h 7458372"/>
              <a:gd name="connsiteX6479" fmla="*/ 8740407 w 10505529"/>
              <a:gd name="connsiteY6479" fmla="*/ 6352708 h 7458372"/>
              <a:gd name="connsiteX6480" fmla="*/ 8744134 w 10505529"/>
              <a:gd name="connsiteY6480" fmla="*/ 6350311 h 7458372"/>
              <a:gd name="connsiteX6481" fmla="*/ 8746797 w 10505529"/>
              <a:gd name="connsiteY6481" fmla="*/ 6346052 h 7458372"/>
              <a:gd name="connsiteX6482" fmla="*/ 8747862 w 10505529"/>
              <a:gd name="connsiteY6482" fmla="*/ 6340594 h 7458372"/>
              <a:gd name="connsiteX6483" fmla="*/ 8746797 w 10505529"/>
              <a:gd name="connsiteY6483" fmla="*/ 6335403 h 7458372"/>
              <a:gd name="connsiteX6484" fmla="*/ 8744134 w 10505529"/>
              <a:gd name="connsiteY6484" fmla="*/ 6331276 h 7458372"/>
              <a:gd name="connsiteX6485" fmla="*/ 8740141 w 10505529"/>
              <a:gd name="connsiteY6485" fmla="*/ 6328613 h 7458372"/>
              <a:gd name="connsiteX6486" fmla="*/ 8735083 w 10505529"/>
              <a:gd name="connsiteY6486" fmla="*/ 6327682 h 7458372"/>
              <a:gd name="connsiteX6487" fmla="*/ 8517438 w 10505529"/>
              <a:gd name="connsiteY6487" fmla="*/ 6327682 h 7458372"/>
              <a:gd name="connsiteX6488" fmla="*/ 8507453 w 10505529"/>
              <a:gd name="connsiteY6488" fmla="*/ 6331276 h 7458372"/>
              <a:gd name="connsiteX6489" fmla="*/ 8503860 w 10505529"/>
              <a:gd name="connsiteY6489" fmla="*/ 6340727 h 7458372"/>
              <a:gd name="connsiteX6490" fmla="*/ 8507453 w 10505529"/>
              <a:gd name="connsiteY6490" fmla="*/ 6350178 h 7458372"/>
              <a:gd name="connsiteX6491" fmla="*/ 8517438 w 10505529"/>
              <a:gd name="connsiteY6491" fmla="*/ 6353640 h 7458372"/>
              <a:gd name="connsiteX6492" fmla="*/ 8522763 w 10505529"/>
              <a:gd name="connsiteY6492" fmla="*/ 6352708 h 7458372"/>
              <a:gd name="connsiteX6493" fmla="*/ 8526490 w 10505529"/>
              <a:gd name="connsiteY6493" fmla="*/ 6350311 h 7458372"/>
              <a:gd name="connsiteX6494" fmla="*/ 8529152 w 10505529"/>
              <a:gd name="connsiteY6494" fmla="*/ 6346052 h 7458372"/>
              <a:gd name="connsiteX6495" fmla="*/ 8530084 w 10505529"/>
              <a:gd name="connsiteY6495" fmla="*/ 6340594 h 7458372"/>
              <a:gd name="connsiteX6496" fmla="*/ 8529152 w 10505529"/>
              <a:gd name="connsiteY6496" fmla="*/ 6335403 h 7458372"/>
              <a:gd name="connsiteX6497" fmla="*/ 8526490 w 10505529"/>
              <a:gd name="connsiteY6497" fmla="*/ 6331276 h 7458372"/>
              <a:gd name="connsiteX6498" fmla="*/ 8522496 w 10505529"/>
              <a:gd name="connsiteY6498" fmla="*/ 6328613 h 7458372"/>
              <a:gd name="connsiteX6499" fmla="*/ 8517438 w 10505529"/>
              <a:gd name="connsiteY6499" fmla="*/ 6327682 h 7458372"/>
              <a:gd name="connsiteX6500" fmla="*/ 8299793 w 10505529"/>
              <a:gd name="connsiteY6500" fmla="*/ 6327682 h 7458372"/>
              <a:gd name="connsiteX6501" fmla="*/ 8289809 w 10505529"/>
              <a:gd name="connsiteY6501" fmla="*/ 6331276 h 7458372"/>
              <a:gd name="connsiteX6502" fmla="*/ 8286215 w 10505529"/>
              <a:gd name="connsiteY6502" fmla="*/ 6340727 h 7458372"/>
              <a:gd name="connsiteX6503" fmla="*/ 8289809 w 10505529"/>
              <a:gd name="connsiteY6503" fmla="*/ 6350178 h 7458372"/>
              <a:gd name="connsiteX6504" fmla="*/ 8299793 w 10505529"/>
              <a:gd name="connsiteY6504" fmla="*/ 6353640 h 7458372"/>
              <a:gd name="connsiteX6505" fmla="*/ 8305118 w 10505529"/>
              <a:gd name="connsiteY6505" fmla="*/ 6352708 h 7458372"/>
              <a:gd name="connsiteX6506" fmla="*/ 8308844 w 10505529"/>
              <a:gd name="connsiteY6506" fmla="*/ 6350311 h 7458372"/>
              <a:gd name="connsiteX6507" fmla="*/ 8311507 w 10505529"/>
              <a:gd name="connsiteY6507" fmla="*/ 6346052 h 7458372"/>
              <a:gd name="connsiteX6508" fmla="*/ 8312439 w 10505529"/>
              <a:gd name="connsiteY6508" fmla="*/ 6340594 h 7458372"/>
              <a:gd name="connsiteX6509" fmla="*/ 8311507 w 10505529"/>
              <a:gd name="connsiteY6509" fmla="*/ 6335403 h 7458372"/>
              <a:gd name="connsiteX6510" fmla="*/ 8308844 w 10505529"/>
              <a:gd name="connsiteY6510" fmla="*/ 6331276 h 7458372"/>
              <a:gd name="connsiteX6511" fmla="*/ 8304851 w 10505529"/>
              <a:gd name="connsiteY6511" fmla="*/ 6328613 h 7458372"/>
              <a:gd name="connsiteX6512" fmla="*/ 8299793 w 10505529"/>
              <a:gd name="connsiteY6512" fmla="*/ 6327682 h 7458372"/>
              <a:gd name="connsiteX6513" fmla="*/ 8082281 w 10505529"/>
              <a:gd name="connsiteY6513" fmla="*/ 6327682 h 7458372"/>
              <a:gd name="connsiteX6514" fmla="*/ 8072297 w 10505529"/>
              <a:gd name="connsiteY6514" fmla="*/ 6331276 h 7458372"/>
              <a:gd name="connsiteX6515" fmla="*/ 8068703 w 10505529"/>
              <a:gd name="connsiteY6515" fmla="*/ 6340727 h 7458372"/>
              <a:gd name="connsiteX6516" fmla="*/ 8072297 w 10505529"/>
              <a:gd name="connsiteY6516" fmla="*/ 6350178 h 7458372"/>
              <a:gd name="connsiteX6517" fmla="*/ 8082281 w 10505529"/>
              <a:gd name="connsiteY6517" fmla="*/ 6353640 h 7458372"/>
              <a:gd name="connsiteX6518" fmla="*/ 8087605 w 10505529"/>
              <a:gd name="connsiteY6518" fmla="*/ 6352708 h 7458372"/>
              <a:gd name="connsiteX6519" fmla="*/ 8091332 w 10505529"/>
              <a:gd name="connsiteY6519" fmla="*/ 6350311 h 7458372"/>
              <a:gd name="connsiteX6520" fmla="*/ 8093994 w 10505529"/>
              <a:gd name="connsiteY6520" fmla="*/ 6346052 h 7458372"/>
              <a:gd name="connsiteX6521" fmla="*/ 8094926 w 10505529"/>
              <a:gd name="connsiteY6521" fmla="*/ 6340594 h 7458372"/>
              <a:gd name="connsiteX6522" fmla="*/ 8093994 w 10505529"/>
              <a:gd name="connsiteY6522" fmla="*/ 6335403 h 7458372"/>
              <a:gd name="connsiteX6523" fmla="*/ 8091332 w 10505529"/>
              <a:gd name="connsiteY6523" fmla="*/ 6331276 h 7458372"/>
              <a:gd name="connsiteX6524" fmla="*/ 8087338 w 10505529"/>
              <a:gd name="connsiteY6524" fmla="*/ 6328613 h 7458372"/>
              <a:gd name="connsiteX6525" fmla="*/ 8082281 w 10505529"/>
              <a:gd name="connsiteY6525" fmla="*/ 6327682 h 7458372"/>
              <a:gd name="connsiteX6526" fmla="*/ 7864636 w 10505529"/>
              <a:gd name="connsiteY6526" fmla="*/ 6327682 h 7458372"/>
              <a:gd name="connsiteX6527" fmla="*/ 7854652 w 10505529"/>
              <a:gd name="connsiteY6527" fmla="*/ 6331276 h 7458372"/>
              <a:gd name="connsiteX6528" fmla="*/ 7851058 w 10505529"/>
              <a:gd name="connsiteY6528" fmla="*/ 6340727 h 7458372"/>
              <a:gd name="connsiteX6529" fmla="*/ 7854652 w 10505529"/>
              <a:gd name="connsiteY6529" fmla="*/ 6350178 h 7458372"/>
              <a:gd name="connsiteX6530" fmla="*/ 7864636 w 10505529"/>
              <a:gd name="connsiteY6530" fmla="*/ 6353640 h 7458372"/>
              <a:gd name="connsiteX6531" fmla="*/ 7869961 w 10505529"/>
              <a:gd name="connsiteY6531" fmla="*/ 6352708 h 7458372"/>
              <a:gd name="connsiteX6532" fmla="*/ 7873687 w 10505529"/>
              <a:gd name="connsiteY6532" fmla="*/ 6350311 h 7458372"/>
              <a:gd name="connsiteX6533" fmla="*/ 7876350 w 10505529"/>
              <a:gd name="connsiteY6533" fmla="*/ 6346052 h 7458372"/>
              <a:gd name="connsiteX6534" fmla="*/ 7877282 w 10505529"/>
              <a:gd name="connsiteY6534" fmla="*/ 6340594 h 7458372"/>
              <a:gd name="connsiteX6535" fmla="*/ 7876350 w 10505529"/>
              <a:gd name="connsiteY6535" fmla="*/ 6335403 h 7458372"/>
              <a:gd name="connsiteX6536" fmla="*/ 7873687 w 10505529"/>
              <a:gd name="connsiteY6536" fmla="*/ 6331276 h 7458372"/>
              <a:gd name="connsiteX6537" fmla="*/ 7869694 w 10505529"/>
              <a:gd name="connsiteY6537" fmla="*/ 6328613 h 7458372"/>
              <a:gd name="connsiteX6538" fmla="*/ 7864636 w 10505529"/>
              <a:gd name="connsiteY6538" fmla="*/ 6327682 h 7458372"/>
              <a:gd name="connsiteX6539" fmla="*/ 7646991 w 10505529"/>
              <a:gd name="connsiteY6539" fmla="*/ 6327682 h 7458372"/>
              <a:gd name="connsiteX6540" fmla="*/ 7637007 w 10505529"/>
              <a:gd name="connsiteY6540" fmla="*/ 6331276 h 7458372"/>
              <a:gd name="connsiteX6541" fmla="*/ 7633413 w 10505529"/>
              <a:gd name="connsiteY6541" fmla="*/ 6340727 h 7458372"/>
              <a:gd name="connsiteX6542" fmla="*/ 7637007 w 10505529"/>
              <a:gd name="connsiteY6542" fmla="*/ 6350178 h 7458372"/>
              <a:gd name="connsiteX6543" fmla="*/ 7646991 w 10505529"/>
              <a:gd name="connsiteY6543" fmla="*/ 6353640 h 7458372"/>
              <a:gd name="connsiteX6544" fmla="*/ 7652315 w 10505529"/>
              <a:gd name="connsiteY6544" fmla="*/ 6352708 h 7458372"/>
              <a:gd name="connsiteX6545" fmla="*/ 7656042 w 10505529"/>
              <a:gd name="connsiteY6545" fmla="*/ 6350311 h 7458372"/>
              <a:gd name="connsiteX6546" fmla="*/ 7658705 w 10505529"/>
              <a:gd name="connsiteY6546" fmla="*/ 6346052 h 7458372"/>
              <a:gd name="connsiteX6547" fmla="*/ 7659769 w 10505529"/>
              <a:gd name="connsiteY6547" fmla="*/ 6340594 h 7458372"/>
              <a:gd name="connsiteX6548" fmla="*/ 7658705 w 10505529"/>
              <a:gd name="connsiteY6548" fmla="*/ 6335403 h 7458372"/>
              <a:gd name="connsiteX6549" fmla="*/ 7656042 w 10505529"/>
              <a:gd name="connsiteY6549" fmla="*/ 6331276 h 7458372"/>
              <a:gd name="connsiteX6550" fmla="*/ 7652049 w 10505529"/>
              <a:gd name="connsiteY6550" fmla="*/ 6328613 h 7458372"/>
              <a:gd name="connsiteX6551" fmla="*/ 7646991 w 10505529"/>
              <a:gd name="connsiteY6551" fmla="*/ 6327682 h 7458372"/>
              <a:gd name="connsiteX6552" fmla="*/ 7429345 w 10505529"/>
              <a:gd name="connsiteY6552" fmla="*/ 6327682 h 7458372"/>
              <a:gd name="connsiteX6553" fmla="*/ 7419361 w 10505529"/>
              <a:gd name="connsiteY6553" fmla="*/ 6331276 h 7458372"/>
              <a:gd name="connsiteX6554" fmla="*/ 7415768 w 10505529"/>
              <a:gd name="connsiteY6554" fmla="*/ 6340727 h 7458372"/>
              <a:gd name="connsiteX6555" fmla="*/ 7419361 w 10505529"/>
              <a:gd name="connsiteY6555" fmla="*/ 6350178 h 7458372"/>
              <a:gd name="connsiteX6556" fmla="*/ 7429345 w 10505529"/>
              <a:gd name="connsiteY6556" fmla="*/ 6353640 h 7458372"/>
              <a:gd name="connsiteX6557" fmla="*/ 7434670 w 10505529"/>
              <a:gd name="connsiteY6557" fmla="*/ 6352708 h 7458372"/>
              <a:gd name="connsiteX6558" fmla="*/ 7438397 w 10505529"/>
              <a:gd name="connsiteY6558" fmla="*/ 6350311 h 7458372"/>
              <a:gd name="connsiteX6559" fmla="*/ 7441059 w 10505529"/>
              <a:gd name="connsiteY6559" fmla="*/ 6346052 h 7458372"/>
              <a:gd name="connsiteX6560" fmla="*/ 7442124 w 10505529"/>
              <a:gd name="connsiteY6560" fmla="*/ 6340594 h 7458372"/>
              <a:gd name="connsiteX6561" fmla="*/ 7441059 w 10505529"/>
              <a:gd name="connsiteY6561" fmla="*/ 6335403 h 7458372"/>
              <a:gd name="connsiteX6562" fmla="*/ 7438397 w 10505529"/>
              <a:gd name="connsiteY6562" fmla="*/ 6331276 h 7458372"/>
              <a:gd name="connsiteX6563" fmla="*/ 7434403 w 10505529"/>
              <a:gd name="connsiteY6563" fmla="*/ 6328613 h 7458372"/>
              <a:gd name="connsiteX6564" fmla="*/ 7429345 w 10505529"/>
              <a:gd name="connsiteY6564" fmla="*/ 6327682 h 7458372"/>
              <a:gd name="connsiteX6565" fmla="*/ 7211701 w 10505529"/>
              <a:gd name="connsiteY6565" fmla="*/ 6327682 h 7458372"/>
              <a:gd name="connsiteX6566" fmla="*/ 7201717 w 10505529"/>
              <a:gd name="connsiteY6566" fmla="*/ 6331276 h 7458372"/>
              <a:gd name="connsiteX6567" fmla="*/ 7198123 w 10505529"/>
              <a:gd name="connsiteY6567" fmla="*/ 6340727 h 7458372"/>
              <a:gd name="connsiteX6568" fmla="*/ 7201717 w 10505529"/>
              <a:gd name="connsiteY6568" fmla="*/ 6350178 h 7458372"/>
              <a:gd name="connsiteX6569" fmla="*/ 7211701 w 10505529"/>
              <a:gd name="connsiteY6569" fmla="*/ 6353640 h 7458372"/>
              <a:gd name="connsiteX6570" fmla="*/ 7217026 w 10505529"/>
              <a:gd name="connsiteY6570" fmla="*/ 6352708 h 7458372"/>
              <a:gd name="connsiteX6571" fmla="*/ 7220752 w 10505529"/>
              <a:gd name="connsiteY6571" fmla="*/ 6350311 h 7458372"/>
              <a:gd name="connsiteX6572" fmla="*/ 7223415 w 10505529"/>
              <a:gd name="connsiteY6572" fmla="*/ 6346052 h 7458372"/>
              <a:gd name="connsiteX6573" fmla="*/ 7224480 w 10505529"/>
              <a:gd name="connsiteY6573" fmla="*/ 6340594 h 7458372"/>
              <a:gd name="connsiteX6574" fmla="*/ 7223415 w 10505529"/>
              <a:gd name="connsiteY6574" fmla="*/ 6335403 h 7458372"/>
              <a:gd name="connsiteX6575" fmla="*/ 7220752 w 10505529"/>
              <a:gd name="connsiteY6575" fmla="*/ 6331276 h 7458372"/>
              <a:gd name="connsiteX6576" fmla="*/ 7216759 w 10505529"/>
              <a:gd name="connsiteY6576" fmla="*/ 6328613 h 7458372"/>
              <a:gd name="connsiteX6577" fmla="*/ 7211701 w 10505529"/>
              <a:gd name="connsiteY6577" fmla="*/ 6327682 h 7458372"/>
              <a:gd name="connsiteX6578" fmla="*/ 6994056 w 10505529"/>
              <a:gd name="connsiteY6578" fmla="*/ 6327682 h 7458372"/>
              <a:gd name="connsiteX6579" fmla="*/ 6984072 w 10505529"/>
              <a:gd name="connsiteY6579" fmla="*/ 6331276 h 7458372"/>
              <a:gd name="connsiteX6580" fmla="*/ 6980478 w 10505529"/>
              <a:gd name="connsiteY6580" fmla="*/ 6340727 h 7458372"/>
              <a:gd name="connsiteX6581" fmla="*/ 6984072 w 10505529"/>
              <a:gd name="connsiteY6581" fmla="*/ 6350178 h 7458372"/>
              <a:gd name="connsiteX6582" fmla="*/ 6994056 w 10505529"/>
              <a:gd name="connsiteY6582" fmla="*/ 6353640 h 7458372"/>
              <a:gd name="connsiteX6583" fmla="*/ 6999380 w 10505529"/>
              <a:gd name="connsiteY6583" fmla="*/ 6352708 h 7458372"/>
              <a:gd name="connsiteX6584" fmla="*/ 7003107 w 10505529"/>
              <a:gd name="connsiteY6584" fmla="*/ 6350311 h 7458372"/>
              <a:gd name="connsiteX6585" fmla="*/ 7005769 w 10505529"/>
              <a:gd name="connsiteY6585" fmla="*/ 6346052 h 7458372"/>
              <a:gd name="connsiteX6586" fmla="*/ 7006834 w 10505529"/>
              <a:gd name="connsiteY6586" fmla="*/ 6340594 h 7458372"/>
              <a:gd name="connsiteX6587" fmla="*/ 7005769 w 10505529"/>
              <a:gd name="connsiteY6587" fmla="*/ 6335403 h 7458372"/>
              <a:gd name="connsiteX6588" fmla="*/ 7003107 w 10505529"/>
              <a:gd name="connsiteY6588" fmla="*/ 6331276 h 7458372"/>
              <a:gd name="connsiteX6589" fmla="*/ 6999113 w 10505529"/>
              <a:gd name="connsiteY6589" fmla="*/ 6328613 h 7458372"/>
              <a:gd name="connsiteX6590" fmla="*/ 6994056 w 10505529"/>
              <a:gd name="connsiteY6590" fmla="*/ 6327682 h 7458372"/>
              <a:gd name="connsiteX6591" fmla="*/ 6776544 w 10505529"/>
              <a:gd name="connsiteY6591" fmla="*/ 6327682 h 7458372"/>
              <a:gd name="connsiteX6592" fmla="*/ 6766560 w 10505529"/>
              <a:gd name="connsiteY6592" fmla="*/ 6331276 h 7458372"/>
              <a:gd name="connsiteX6593" fmla="*/ 6762966 w 10505529"/>
              <a:gd name="connsiteY6593" fmla="*/ 6340727 h 7458372"/>
              <a:gd name="connsiteX6594" fmla="*/ 6766560 w 10505529"/>
              <a:gd name="connsiteY6594" fmla="*/ 6350178 h 7458372"/>
              <a:gd name="connsiteX6595" fmla="*/ 6776544 w 10505529"/>
              <a:gd name="connsiteY6595" fmla="*/ 6353640 h 7458372"/>
              <a:gd name="connsiteX6596" fmla="*/ 6781869 w 10505529"/>
              <a:gd name="connsiteY6596" fmla="*/ 6352708 h 7458372"/>
              <a:gd name="connsiteX6597" fmla="*/ 6785595 w 10505529"/>
              <a:gd name="connsiteY6597" fmla="*/ 6350311 h 7458372"/>
              <a:gd name="connsiteX6598" fmla="*/ 6788258 w 10505529"/>
              <a:gd name="connsiteY6598" fmla="*/ 6346052 h 7458372"/>
              <a:gd name="connsiteX6599" fmla="*/ 6789323 w 10505529"/>
              <a:gd name="connsiteY6599" fmla="*/ 6340594 h 7458372"/>
              <a:gd name="connsiteX6600" fmla="*/ 6788258 w 10505529"/>
              <a:gd name="connsiteY6600" fmla="*/ 6335403 h 7458372"/>
              <a:gd name="connsiteX6601" fmla="*/ 6785595 w 10505529"/>
              <a:gd name="connsiteY6601" fmla="*/ 6331276 h 7458372"/>
              <a:gd name="connsiteX6602" fmla="*/ 6781602 w 10505529"/>
              <a:gd name="connsiteY6602" fmla="*/ 6328613 h 7458372"/>
              <a:gd name="connsiteX6603" fmla="*/ 6776544 w 10505529"/>
              <a:gd name="connsiteY6603" fmla="*/ 6327682 h 7458372"/>
              <a:gd name="connsiteX6604" fmla="*/ 6558899 w 10505529"/>
              <a:gd name="connsiteY6604" fmla="*/ 6327682 h 7458372"/>
              <a:gd name="connsiteX6605" fmla="*/ 6548915 w 10505529"/>
              <a:gd name="connsiteY6605" fmla="*/ 6331276 h 7458372"/>
              <a:gd name="connsiteX6606" fmla="*/ 6545321 w 10505529"/>
              <a:gd name="connsiteY6606" fmla="*/ 6340727 h 7458372"/>
              <a:gd name="connsiteX6607" fmla="*/ 6548915 w 10505529"/>
              <a:gd name="connsiteY6607" fmla="*/ 6350178 h 7458372"/>
              <a:gd name="connsiteX6608" fmla="*/ 6558899 w 10505529"/>
              <a:gd name="connsiteY6608" fmla="*/ 6353640 h 7458372"/>
              <a:gd name="connsiteX6609" fmla="*/ 6564223 w 10505529"/>
              <a:gd name="connsiteY6609" fmla="*/ 6352708 h 7458372"/>
              <a:gd name="connsiteX6610" fmla="*/ 6567950 w 10505529"/>
              <a:gd name="connsiteY6610" fmla="*/ 6350311 h 7458372"/>
              <a:gd name="connsiteX6611" fmla="*/ 6570612 w 10505529"/>
              <a:gd name="connsiteY6611" fmla="*/ 6346052 h 7458372"/>
              <a:gd name="connsiteX6612" fmla="*/ 6571677 w 10505529"/>
              <a:gd name="connsiteY6612" fmla="*/ 6340594 h 7458372"/>
              <a:gd name="connsiteX6613" fmla="*/ 6570612 w 10505529"/>
              <a:gd name="connsiteY6613" fmla="*/ 6335403 h 7458372"/>
              <a:gd name="connsiteX6614" fmla="*/ 6567950 w 10505529"/>
              <a:gd name="connsiteY6614" fmla="*/ 6331276 h 7458372"/>
              <a:gd name="connsiteX6615" fmla="*/ 6563956 w 10505529"/>
              <a:gd name="connsiteY6615" fmla="*/ 6328613 h 7458372"/>
              <a:gd name="connsiteX6616" fmla="*/ 6558899 w 10505529"/>
              <a:gd name="connsiteY6616" fmla="*/ 6327682 h 7458372"/>
              <a:gd name="connsiteX6617" fmla="*/ 6341253 w 10505529"/>
              <a:gd name="connsiteY6617" fmla="*/ 6327682 h 7458372"/>
              <a:gd name="connsiteX6618" fmla="*/ 6331270 w 10505529"/>
              <a:gd name="connsiteY6618" fmla="*/ 6331276 h 7458372"/>
              <a:gd name="connsiteX6619" fmla="*/ 6327675 w 10505529"/>
              <a:gd name="connsiteY6619" fmla="*/ 6340727 h 7458372"/>
              <a:gd name="connsiteX6620" fmla="*/ 6331270 w 10505529"/>
              <a:gd name="connsiteY6620" fmla="*/ 6350178 h 7458372"/>
              <a:gd name="connsiteX6621" fmla="*/ 6341253 w 10505529"/>
              <a:gd name="connsiteY6621" fmla="*/ 6353640 h 7458372"/>
              <a:gd name="connsiteX6622" fmla="*/ 6346578 w 10505529"/>
              <a:gd name="connsiteY6622" fmla="*/ 6352708 h 7458372"/>
              <a:gd name="connsiteX6623" fmla="*/ 6350305 w 10505529"/>
              <a:gd name="connsiteY6623" fmla="*/ 6350311 h 7458372"/>
              <a:gd name="connsiteX6624" fmla="*/ 6352968 w 10505529"/>
              <a:gd name="connsiteY6624" fmla="*/ 6346052 h 7458372"/>
              <a:gd name="connsiteX6625" fmla="*/ 6354033 w 10505529"/>
              <a:gd name="connsiteY6625" fmla="*/ 6340594 h 7458372"/>
              <a:gd name="connsiteX6626" fmla="*/ 6352968 w 10505529"/>
              <a:gd name="connsiteY6626" fmla="*/ 6335403 h 7458372"/>
              <a:gd name="connsiteX6627" fmla="*/ 6350305 w 10505529"/>
              <a:gd name="connsiteY6627" fmla="*/ 6331276 h 7458372"/>
              <a:gd name="connsiteX6628" fmla="*/ 6346312 w 10505529"/>
              <a:gd name="connsiteY6628" fmla="*/ 6328613 h 7458372"/>
              <a:gd name="connsiteX6629" fmla="*/ 6341253 w 10505529"/>
              <a:gd name="connsiteY6629" fmla="*/ 6327682 h 7458372"/>
              <a:gd name="connsiteX6630" fmla="*/ 6123608 w 10505529"/>
              <a:gd name="connsiteY6630" fmla="*/ 6327682 h 7458372"/>
              <a:gd name="connsiteX6631" fmla="*/ 6113624 w 10505529"/>
              <a:gd name="connsiteY6631" fmla="*/ 6331276 h 7458372"/>
              <a:gd name="connsiteX6632" fmla="*/ 6110030 w 10505529"/>
              <a:gd name="connsiteY6632" fmla="*/ 6340727 h 7458372"/>
              <a:gd name="connsiteX6633" fmla="*/ 6113624 w 10505529"/>
              <a:gd name="connsiteY6633" fmla="*/ 6350178 h 7458372"/>
              <a:gd name="connsiteX6634" fmla="*/ 6123608 w 10505529"/>
              <a:gd name="connsiteY6634" fmla="*/ 6353640 h 7458372"/>
              <a:gd name="connsiteX6635" fmla="*/ 6128932 w 10505529"/>
              <a:gd name="connsiteY6635" fmla="*/ 6352708 h 7458372"/>
              <a:gd name="connsiteX6636" fmla="*/ 6132659 w 10505529"/>
              <a:gd name="connsiteY6636" fmla="*/ 6350311 h 7458372"/>
              <a:gd name="connsiteX6637" fmla="*/ 6135322 w 10505529"/>
              <a:gd name="connsiteY6637" fmla="*/ 6346052 h 7458372"/>
              <a:gd name="connsiteX6638" fmla="*/ 6136387 w 10505529"/>
              <a:gd name="connsiteY6638" fmla="*/ 6340594 h 7458372"/>
              <a:gd name="connsiteX6639" fmla="*/ 6135322 w 10505529"/>
              <a:gd name="connsiteY6639" fmla="*/ 6335403 h 7458372"/>
              <a:gd name="connsiteX6640" fmla="*/ 6132659 w 10505529"/>
              <a:gd name="connsiteY6640" fmla="*/ 6331276 h 7458372"/>
              <a:gd name="connsiteX6641" fmla="*/ 6128666 w 10505529"/>
              <a:gd name="connsiteY6641" fmla="*/ 6328613 h 7458372"/>
              <a:gd name="connsiteX6642" fmla="*/ 6123608 w 10505529"/>
              <a:gd name="connsiteY6642" fmla="*/ 6327682 h 7458372"/>
              <a:gd name="connsiteX6643" fmla="*/ 5905963 w 10505529"/>
              <a:gd name="connsiteY6643" fmla="*/ 6327682 h 7458372"/>
              <a:gd name="connsiteX6644" fmla="*/ 5895979 w 10505529"/>
              <a:gd name="connsiteY6644" fmla="*/ 6331276 h 7458372"/>
              <a:gd name="connsiteX6645" fmla="*/ 5892385 w 10505529"/>
              <a:gd name="connsiteY6645" fmla="*/ 6340727 h 7458372"/>
              <a:gd name="connsiteX6646" fmla="*/ 5895979 w 10505529"/>
              <a:gd name="connsiteY6646" fmla="*/ 6350178 h 7458372"/>
              <a:gd name="connsiteX6647" fmla="*/ 5905963 w 10505529"/>
              <a:gd name="connsiteY6647" fmla="*/ 6353640 h 7458372"/>
              <a:gd name="connsiteX6648" fmla="*/ 5911287 w 10505529"/>
              <a:gd name="connsiteY6648" fmla="*/ 6352708 h 7458372"/>
              <a:gd name="connsiteX6649" fmla="*/ 5915014 w 10505529"/>
              <a:gd name="connsiteY6649" fmla="*/ 6350311 h 7458372"/>
              <a:gd name="connsiteX6650" fmla="*/ 5917677 w 10505529"/>
              <a:gd name="connsiteY6650" fmla="*/ 6346052 h 7458372"/>
              <a:gd name="connsiteX6651" fmla="*/ 5918742 w 10505529"/>
              <a:gd name="connsiteY6651" fmla="*/ 6340594 h 7458372"/>
              <a:gd name="connsiteX6652" fmla="*/ 5917677 w 10505529"/>
              <a:gd name="connsiteY6652" fmla="*/ 6335403 h 7458372"/>
              <a:gd name="connsiteX6653" fmla="*/ 5915014 w 10505529"/>
              <a:gd name="connsiteY6653" fmla="*/ 6331276 h 7458372"/>
              <a:gd name="connsiteX6654" fmla="*/ 5911021 w 10505529"/>
              <a:gd name="connsiteY6654" fmla="*/ 6328613 h 7458372"/>
              <a:gd name="connsiteX6655" fmla="*/ 5905963 w 10505529"/>
              <a:gd name="connsiteY6655" fmla="*/ 6327682 h 7458372"/>
              <a:gd name="connsiteX6656" fmla="*/ 5688451 w 10505529"/>
              <a:gd name="connsiteY6656" fmla="*/ 6327682 h 7458372"/>
              <a:gd name="connsiteX6657" fmla="*/ 5678467 w 10505529"/>
              <a:gd name="connsiteY6657" fmla="*/ 6331276 h 7458372"/>
              <a:gd name="connsiteX6658" fmla="*/ 5674873 w 10505529"/>
              <a:gd name="connsiteY6658" fmla="*/ 6340727 h 7458372"/>
              <a:gd name="connsiteX6659" fmla="*/ 5678467 w 10505529"/>
              <a:gd name="connsiteY6659" fmla="*/ 6350178 h 7458372"/>
              <a:gd name="connsiteX6660" fmla="*/ 5688451 w 10505529"/>
              <a:gd name="connsiteY6660" fmla="*/ 6353640 h 7458372"/>
              <a:gd name="connsiteX6661" fmla="*/ 5693775 w 10505529"/>
              <a:gd name="connsiteY6661" fmla="*/ 6352708 h 7458372"/>
              <a:gd name="connsiteX6662" fmla="*/ 5697502 w 10505529"/>
              <a:gd name="connsiteY6662" fmla="*/ 6350311 h 7458372"/>
              <a:gd name="connsiteX6663" fmla="*/ 5700165 w 10505529"/>
              <a:gd name="connsiteY6663" fmla="*/ 6346052 h 7458372"/>
              <a:gd name="connsiteX6664" fmla="*/ 5701230 w 10505529"/>
              <a:gd name="connsiteY6664" fmla="*/ 6340594 h 7458372"/>
              <a:gd name="connsiteX6665" fmla="*/ 5700165 w 10505529"/>
              <a:gd name="connsiteY6665" fmla="*/ 6335403 h 7458372"/>
              <a:gd name="connsiteX6666" fmla="*/ 5697502 w 10505529"/>
              <a:gd name="connsiteY6666" fmla="*/ 6331276 h 7458372"/>
              <a:gd name="connsiteX6667" fmla="*/ 5693509 w 10505529"/>
              <a:gd name="connsiteY6667" fmla="*/ 6328613 h 7458372"/>
              <a:gd name="connsiteX6668" fmla="*/ 5688451 w 10505529"/>
              <a:gd name="connsiteY6668" fmla="*/ 6327682 h 7458372"/>
              <a:gd name="connsiteX6669" fmla="*/ 5470806 w 10505529"/>
              <a:gd name="connsiteY6669" fmla="*/ 6327682 h 7458372"/>
              <a:gd name="connsiteX6670" fmla="*/ 5460822 w 10505529"/>
              <a:gd name="connsiteY6670" fmla="*/ 6331276 h 7458372"/>
              <a:gd name="connsiteX6671" fmla="*/ 5457228 w 10505529"/>
              <a:gd name="connsiteY6671" fmla="*/ 6340727 h 7458372"/>
              <a:gd name="connsiteX6672" fmla="*/ 5460822 w 10505529"/>
              <a:gd name="connsiteY6672" fmla="*/ 6350178 h 7458372"/>
              <a:gd name="connsiteX6673" fmla="*/ 5470806 w 10505529"/>
              <a:gd name="connsiteY6673" fmla="*/ 6353640 h 7458372"/>
              <a:gd name="connsiteX6674" fmla="*/ 5476130 w 10505529"/>
              <a:gd name="connsiteY6674" fmla="*/ 6352708 h 7458372"/>
              <a:gd name="connsiteX6675" fmla="*/ 5479857 w 10505529"/>
              <a:gd name="connsiteY6675" fmla="*/ 6350311 h 7458372"/>
              <a:gd name="connsiteX6676" fmla="*/ 5482520 w 10505529"/>
              <a:gd name="connsiteY6676" fmla="*/ 6346052 h 7458372"/>
              <a:gd name="connsiteX6677" fmla="*/ 5483585 w 10505529"/>
              <a:gd name="connsiteY6677" fmla="*/ 6340594 h 7458372"/>
              <a:gd name="connsiteX6678" fmla="*/ 5482520 w 10505529"/>
              <a:gd name="connsiteY6678" fmla="*/ 6335403 h 7458372"/>
              <a:gd name="connsiteX6679" fmla="*/ 5479857 w 10505529"/>
              <a:gd name="connsiteY6679" fmla="*/ 6331276 h 7458372"/>
              <a:gd name="connsiteX6680" fmla="*/ 5475864 w 10505529"/>
              <a:gd name="connsiteY6680" fmla="*/ 6328613 h 7458372"/>
              <a:gd name="connsiteX6681" fmla="*/ 5470806 w 10505529"/>
              <a:gd name="connsiteY6681" fmla="*/ 6327682 h 7458372"/>
              <a:gd name="connsiteX6682" fmla="*/ 5253160 w 10505529"/>
              <a:gd name="connsiteY6682" fmla="*/ 6327682 h 7458372"/>
              <a:gd name="connsiteX6683" fmla="*/ 5243177 w 10505529"/>
              <a:gd name="connsiteY6683" fmla="*/ 6331276 h 7458372"/>
              <a:gd name="connsiteX6684" fmla="*/ 5239583 w 10505529"/>
              <a:gd name="connsiteY6684" fmla="*/ 6340727 h 7458372"/>
              <a:gd name="connsiteX6685" fmla="*/ 5243177 w 10505529"/>
              <a:gd name="connsiteY6685" fmla="*/ 6350178 h 7458372"/>
              <a:gd name="connsiteX6686" fmla="*/ 5253160 w 10505529"/>
              <a:gd name="connsiteY6686" fmla="*/ 6353640 h 7458372"/>
              <a:gd name="connsiteX6687" fmla="*/ 5258485 w 10505529"/>
              <a:gd name="connsiteY6687" fmla="*/ 6352708 h 7458372"/>
              <a:gd name="connsiteX6688" fmla="*/ 5262212 w 10505529"/>
              <a:gd name="connsiteY6688" fmla="*/ 6350311 h 7458372"/>
              <a:gd name="connsiteX6689" fmla="*/ 5264875 w 10505529"/>
              <a:gd name="connsiteY6689" fmla="*/ 6346052 h 7458372"/>
              <a:gd name="connsiteX6690" fmla="*/ 5265939 w 10505529"/>
              <a:gd name="connsiteY6690" fmla="*/ 6340594 h 7458372"/>
              <a:gd name="connsiteX6691" fmla="*/ 5264875 w 10505529"/>
              <a:gd name="connsiteY6691" fmla="*/ 6335403 h 7458372"/>
              <a:gd name="connsiteX6692" fmla="*/ 5262212 w 10505529"/>
              <a:gd name="connsiteY6692" fmla="*/ 6331276 h 7458372"/>
              <a:gd name="connsiteX6693" fmla="*/ 5258219 w 10505529"/>
              <a:gd name="connsiteY6693" fmla="*/ 6328613 h 7458372"/>
              <a:gd name="connsiteX6694" fmla="*/ 5253160 w 10505529"/>
              <a:gd name="connsiteY6694" fmla="*/ 6327682 h 7458372"/>
              <a:gd name="connsiteX6695" fmla="*/ 5035515 w 10505529"/>
              <a:gd name="connsiteY6695" fmla="*/ 6327682 h 7458372"/>
              <a:gd name="connsiteX6696" fmla="*/ 5025532 w 10505529"/>
              <a:gd name="connsiteY6696" fmla="*/ 6331276 h 7458372"/>
              <a:gd name="connsiteX6697" fmla="*/ 5021938 w 10505529"/>
              <a:gd name="connsiteY6697" fmla="*/ 6340727 h 7458372"/>
              <a:gd name="connsiteX6698" fmla="*/ 5025532 w 10505529"/>
              <a:gd name="connsiteY6698" fmla="*/ 6350178 h 7458372"/>
              <a:gd name="connsiteX6699" fmla="*/ 5035515 w 10505529"/>
              <a:gd name="connsiteY6699" fmla="*/ 6353640 h 7458372"/>
              <a:gd name="connsiteX6700" fmla="*/ 5040840 w 10505529"/>
              <a:gd name="connsiteY6700" fmla="*/ 6352708 h 7458372"/>
              <a:gd name="connsiteX6701" fmla="*/ 5044567 w 10505529"/>
              <a:gd name="connsiteY6701" fmla="*/ 6350311 h 7458372"/>
              <a:gd name="connsiteX6702" fmla="*/ 5047230 w 10505529"/>
              <a:gd name="connsiteY6702" fmla="*/ 6346052 h 7458372"/>
              <a:gd name="connsiteX6703" fmla="*/ 5048294 w 10505529"/>
              <a:gd name="connsiteY6703" fmla="*/ 6340594 h 7458372"/>
              <a:gd name="connsiteX6704" fmla="*/ 5047230 w 10505529"/>
              <a:gd name="connsiteY6704" fmla="*/ 6335403 h 7458372"/>
              <a:gd name="connsiteX6705" fmla="*/ 5044567 w 10505529"/>
              <a:gd name="connsiteY6705" fmla="*/ 6331276 h 7458372"/>
              <a:gd name="connsiteX6706" fmla="*/ 5040574 w 10505529"/>
              <a:gd name="connsiteY6706" fmla="*/ 6328613 h 7458372"/>
              <a:gd name="connsiteX6707" fmla="*/ 5035515 w 10505529"/>
              <a:gd name="connsiteY6707" fmla="*/ 6327682 h 7458372"/>
              <a:gd name="connsiteX6708" fmla="*/ 4817870 w 10505529"/>
              <a:gd name="connsiteY6708" fmla="*/ 6327682 h 7458372"/>
              <a:gd name="connsiteX6709" fmla="*/ 4807887 w 10505529"/>
              <a:gd name="connsiteY6709" fmla="*/ 6331276 h 7458372"/>
              <a:gd name="connsiteX6710" fmla="*/ 4804293 w 10505529"/>
              <a:gd name="connsiteY6710" fmla="*/ 6340727 h 7458372"/>
              <a:gd name="connsiteX6711" fmla="*/ 4807887 w 10505529"/>
              <a:gd name="connsiteY6711" fmla="*/ 6350178 h 7458372"/>
              <a:gd name="connsiteX6712" fmla="*/ 4817870 w 10505529"/>
              <a:gd name="connsiteY6712" fmla="*/ 6353640 h 7458372"/>
              <a:gd name="connsiteX6713" fmla="*/ 4823195 w 10505529"/>
              <a:gd name="connsiteY6713" fmla="*/ 6352708 h 7458372"/>
              <a:gd name="connsiteX6714" fmla="*/ 4826922 w 10505529"/>
              <a:gd name="connsiteY6714" fmla="*/ 6350311 h 7458372"/>
              <a:gd name="connsiteX6715" fmla="*/ 4829585 w 10505529"/>
              <a:gd name="connsiteY6715" fmla="*/ 6346052 h 7458372"/>
              <a:gd name="connsiteX6716" fmla="*/ 4830650 w 10505529"/>
              <a:gd name="connsiteY6716" fmla="*/ 6340594 h 7458372"/>
              <a:gd name="connsiteX6717" fmla="*/ 4829585 w 10505529"/>
              <a:gd name="connsiteY6717" fmla="*/ 6335403 h 7458372"/>
              <a:gd name="connsiteX6718" fmla="*/ 4826922 w 10505529"/>
              <a:gd name="connsiteY6718" fmla="*/ 6331276 h 7458372"/>
              <a:gd name="connsiteX6719" fmla="*/ 4822929 w 10505529"/>
              <a:gd name="connsiteY6719" fmla="*/ 6328613 h 7458372"/>
              <a:gd name="connsiteX6720" fmla="*/ 4817870 w 10505529"/>
              <a:gd name="connsiteY6720" fmla="*/ 6327682 h 7458372"/>
              <a:gd name="connsiteX6721" fmla="*/ 4600226 w 10505529"/>
              <a:gd name="connsiteY6721" fmla="*/ 6327682 h 7458372"/>
              <a:gd name="connsiteX6722" fmla="*/ 4590242 w 10505529"/>
              <a:gd name="connsiteY6722" fmla="*/ 6331276 h 7458372"/>
              <a:gd name="connsiteX6723" fmla="*/ 4586648 w 10505529"/>
              <a:gd name="connsiteY6723" fmla="*/ 6340727 h 7458372"/>
              <a:gd name="connsiteX6724" fmla="*/ 4590242 w 10505529"/>
              <a:gd name="connsiteY6724" fmla="*/ 6350178 h 7458372"/>
              <a:gd name="connsiteX6725" fmla="*/ 4600226 w 10505529"/>
              <a:gd name="connsiteY6725" fmla="*/ 6353640 h 7458372"/>
              <a:gd name="connsiteX6726" fmla="*/ 4605550 w 10505529"/>
              <a:gd name="connsiteY6726" fmla="*/ 6352708 h 7458372"/>
              <a:gd name="connsiteX6727" fmla="*/ 4609277 w 10505529"/>
              <a:gd name="connsiteY6727" fmla="*/ 6350311 h 7458372"/>
              <a:gd name="connsiteX6728" fmla="*/ 4611940 w 10505529"/>
              <a:gd name="connsiteY6728" fmla="*/ 6346052 h 7458372"/>
              <a:gd name="connsiteX6729" fmla="*/ 4613005 w 10505529"/>
              <a:gd name="connsiteY6729" fmla="*/ 6340594 h 7458372"/>
              <a:gd name="connsiteX6730" fmla="*/ 4611940 w 10505529"/>
              <a:gd name="connsiteY6730" fmla="*/ 6335403 h 7458372"/>
              <a:gd name="connsiteX6731" fmla="*/ 4609277 w 10505529"/>
              <a:gd name="connsiteY6731" fmla="*/ 6331276 h 7458372"/>
              <a:gd name="connsiteX6732" fmla="*/ 4605284 w 10505529"/>
              <a:gd name="connsiteY6732" fmla="*/ 6328613 h 7458372"/>
              <a:gd name="connsiteX6733" fmla="*/ 4600226 w 10505529"/>
              <a:gd name="connsiteY6733" fmla="*/ 6327682 h 7458372"/>
              <a:gd name="connsiteX6734" fmla="*/ 4382713 w 10505529"/>
              <a:gd name="connsiteY6734" fmla="*/ 6327682 h 7458372"/>
              <a:gd name="connsiteX6735" fmla="*/ 4372730 w 10505529"/>
              <a:gd name="connsiteY6735" fmla="*/ 6331276 h 7458372"/>
              <a:gd name="connsiteX6736" fmla="*/ 4369136 w 10505529"/>
              <a:gd name="connsiteY6736" fmla="*/ 6340727 h 7458372"/>
              <a:gd name="connsiteX6737" fmla="*/ 4372730 w 10505529"/>
              <a:gd name="connsiteY6737" fmla="*/ 6350178 h 7458372"/>
              <a:gd name="connsiteX6738" fmla="*/ 4382713 w 10505529"/>
              <a:gd name="connsiteY6738" fmla="*/ 6353640 h 7458372"/>
              <a:gd name="connsiteX6739" fmla="*/ 4388038 w 10505529"/>
              <a:gd name="connsiteY6739" fmla="*/ 6352708 h 7458372"/>
              <a:gd name="connsiteX6740" fmla="*/ 4391765 w 10505529"/>
              <a:gd name="connsiteY6740" fmla="*/ 6350311 h 7458372"/>
              <a:gd name="connsiteX6741" fmla="*/ 4394428 w 10505529"/>
              <a:gd name="connsiteY6741" fmla="*/ 6346052 h 7458372"/>
              <a:gd name="connsiteX6742" fmla="*/ 4395493 w 10505529"/>
              <a:gd name="connsiteY6742" fmla="*/ 6340594 h 7458372"/>
              <a:gd name="connsiteX6743" fmla="*/ 4394428 w 10505529"/>
              <a:gd name="connsiteY6743" fmla="*/ 6335403 h 7458372"/>
              <a:gd name="connsiteX6744" fmla="*/ 4391765 w 10505529"/>
              <a:gd name="connsiteY6744" fmla="*/ 6331276 h 7458372"/>
              <a:gd name="connsiteX6745" fmla="*/ 4387772 w 10505529"/>
              <a:gd name="connsiteY6745" fmla="*/ 6328613 h 7458372"/>
              <a:gd name="connsiteX6746" fmla="*/ 4382713 w 10505529"/>
              <a:gd name="connsiteY6746" fmla="*/ 6327682 h 7458372"/>
              <a:gd name="connsiteX6747" fmla="*/ 4165068 w 10505529"/>
              <a:gd name="connsiteY6747" fmla="*/ 6327682 h 7458372"/>
              <a:gd name="connsiteX6748" fmla="*/ 4155084 w 10505529"/>
              <a:gd name="connsiteY6748" fmla="*/ 6331276 h 7458372"/>
              <a:gd name="connsiteX6749" fmla="*/ 4151490 w 10505529"/>
              <a:gd name="connsiteY6749" fmla="*/ 6340727 h 7458372"/>
              <a:gd name="connsiteX6750" fmla="*/ 4155084 w 10505529"/>
              <a:gd name="connsiteY6750" fmla="*/ 6350178 h 7458372"/>
              <a:gd name="connsiteX6751" fmla="*/ 4165068 w 10505529"/>
              <a:gd name="connsiteY6751" fmla="*/ 6353640 h 7458372"/>
              <a:gd name="connsiteX6752" fmla="*/ 4170392 w 10505529"/>
              <a:gd name="connsiteY6752" fmla="*/ 6352708 h 7458372"/>
              <a:gd name="connsiteX6753" fmla="*/ 4174119 w 10505529"/>
              <a:gd name="connsiteY6753" fmla="*/ 6350311 h 7458372"/>
              <a:gd name="connsiteX6754" fmla="*/ 4176782 w 10505529"/>
              <a:gd name="connsiteY6754" fmla="*/ 6346052 h 7458372"/>
              <a:gd name="connsiteX6755" fmla="*/ 4177847 w 10505529"/>
              <a:gd name="connsiteY6755" fmla="*/ 6340594 h 7458372"/>
              <a:gd name="connsiteX6756" fmla="*/ 4176782 w 10505529"/>
              <a:gd name="connsiteY6756" fmla="*/ 6335403 h 7458372"/>
              <a:gd name="connsiteX6757" fmla="*/ 4174119 w 10505529"/>
              <a:gd name="connsiteY6757" fmla="*/ 6331276 h 7458372"/>
              <a:gd name="connsiteX6758" fmla="*/ 4170126 w 10505529"/>
              <a:gd name="connsiteY6758" fmla="*/ 6328613 h 7458372"/>
              <a:gd name="connsiteX6759" fmla="*/ 4165068 w 10505529"/>
              <a:gd name="connsiteY6759" fmla="*/ 6327682 h 7458372"/>
              <a:gd name="connsiteX6760" fmla="*/ 3947767 w 10505529"/>
              <a:gd name="connsiteY6760" fmla="*/ 6327682 h 7458372"/>
              <a:gd name="connsiteX6761" fmla="*/ 3937784 w 10505529"/>
              <a:gd name="connsiteY6761" fmla="*/ 6331276 h 7458372"/>
              <a:gd name="connsiteX6762" fmla="*/ 3934190 w 10505529"/>
              <a:gd name="connsiteY6762" fmla="*/ 6340727 h 7458372"/>
              <a:gd name="connsiteX6763" fmla="*/ 3937784 w 10505529"/>
              <a:gd name="connsiteY6763" fmla="*/ 6350178 h 7458372"/>
              <a:gd name="connsiteX6764" fmla="*/ 3947767 w 10505529"/>
              <a:gd name="connsiteY6764" fmla="*/ 6353640 h 7458372"/>
              <a:gd name="connsiteX6765" fmla="*/ 3953096 w 10505529"/>
              <a:gd name="connsiteY6765" fmla="*/ 6352708 h 7458372"/>
              <a:gd name="connsiteX6766" fmla="*/ 3956823 w 10505529"/>
              <a:gd name="connsiteY6766" fmla="*/ 6350311 h 7458372"/>
              <a:gd name="connsiteX6767" fmla="*/ 3959486 w 10505529"/>
              <a:gd name="connsiteY6767" fmla="*/ 6346052 h 7458372"/>
              <a:gd name="connsiteX6768" fmla="*/ 3960551 w 10505529"/>
              <a:gd name="connsiteY6768" fmla="*/ 6340594 h 7458372"/>
              <a:gd name="connsiteX6769" fmla="*/ 3959486 w 10505529"/>
              <a:gd name="connsiteY6769" fmla="*/ 6335403 h 7458372"/>
              <a:gd name="connsiteX6770" fmla="*/ 3956823 w 10505529"/>
              <a:gd name="connsiteY6770" fmla="*/ 6331276 h 7458372"/>
              <a:gd name="connsiteX6771" fmla="*/ 3952829 w 10505529"/>
              <a:gd name="connsiteY6771" fmla="*/ 6328613 h 7458372"/>
              <a:gd name="connsiteX6772" fmla="*/ 3947767 w 10505529"/>
              <a:gd name="connsiteY6772" fmla="*/ 6327682 h 7458372"/>
              <a:gd name="connsiteX6773" fmla="*/ 3730107 w 10505529"/>
              <a:gd name="connsiteY6773" fmla="*/ 6327682 h 7458372"/>
              <a:gd name="connsiteX6774" fmla="*/ 3720120 w 10505529"/>
              <a:gd name="connsiteY6774" fmla="*/ 6331276 h 7458372"/>
              <a:gd name="connsiteX6775" fmla="*/ 3716527 w 10505529"/>
              <a:gd name="connsiteY6775" fmla="*/ 6340727 h 7458372"/>
              <a:gd name="connsiteX6776" fmla="*/ 3720120 w 10505529"/>
              <a:gd name="connsiteY6776" fmla="*/ 6350178 h 7458372"/>
              <a:gd name="connsiteX6777" fmla="*/ 3730107 w 10505529"/>
              <a:gd name="connsiteY6777" fmla="*/ 6353640 h 7458372"/>
              <a:gd name="connsiteX6778" fmla="*/ 3735432 w 10505529"/>
              <a:gd name="connsiteY6778" fmla="*/ 6352708 h 7458372"/>
              <a:gd name="connsiteX6779" fmla="*/ 3739160 w 10505529"/>
              <a:gd name="connsiteY6779" fmla="*/ 6350311 h 7458372"/>
              <a:gd name="connsiteX6780" fmla="*/ 3741823 w 10505529"/>
              <a:gd name="connsiteY6780" fmla="*/ 6346052 h 7458372"/>
              <a:gd name="connsiteX6781" fmla="*/ 3742887 w 10505529"/>
              <a:gd name="connsiteY6781" fmla="*/ 6340594 h 7458372"/>
              <a:gd name="connsiteX6782" fmla="*/ 3741823 w 10505529"/>
              <a:gd name="connsiteY6782" fmla="*/ 6335403 h 7458372"/>
              <a:gd name="connsiteX6783" fmla="*/ 3739160 w 10505529"/>
              <a:gd name="connsiteY6783" fmla="*/ 6331276 h 7458372"/>
              <a:gd name="connsiteX6784" fmla="*/ 3735167 w 10505529"/>
              <a:gd name="connsiteY6784" fmla="*/ 6328613 h 7458372"/>
              <a:gd name="connsiteX6785" fmla="*/ 3730107 w 10505529"/>
              <a:gd name="connsiteY6785" fmla="*/ 6327682 h 7458372"/>
              <a:gd name="connsiteX6786" fmla="*/ 3512444 w 10505529"/>
              <a:gd name="connsiteY6786" fmla="*/ 6327682 h 7458372"/>
              <a:gd name="connsiteX6787" fmla="*/ 3502454 w 10505529"/>
              <a:gd name="connsiteY6787" fmla="*/ 6331276 h 7458372"/>
              <a:gd name="connsiteX6788" fmla="*/ 3498861 w 10505529"/>
              <a:gd name="connsiteY6788" fmla="*/ 6340727 h 7458372"/>
              <a:gd name="connsiteX6789" fmla="*/ 3502454 w 10505529"/>
              <a:gd name="connsiteY6789" fmla="*/ 6350178 h 7458372"/>
              <a:gd name="connsiteX6790" fmla="*/ 3512444 w 10505529"/>
              <a:gd name="connsiteY6790" fmla="*/ 6353640 h 7458372"/>
              <a:gd name="connsiteX6791" fmla="*/ 3517769 w 10505529"/>
              <a:gd name="connsiteY6791" fmla="*/ 6352708 h 7458372"/>
              <a:gd name="connsiteX6792" fmla="*/ 3521497 w 10505529"/>
              <a:gd name="connsiteY6792" fmla="*/ 6350311 h 7458372"/>
              <a:gd name="connsiteX6793" fmla="*/ 3524160 w 10505529"/>
              <a:gd name="connsiteY6793" fmla="*/ 6346052 h 7458372"/>
              <a:gd name="connsiteX6794" fmla="*/ 3525225 w 10505529"/>
              <a:gd name="connsiteY6794" fmla="*/ 6340594 h 7458372"/>
              <a:gd name="connsiteX6795" fmla="*/ 3524160 w 10505529"/>
              <a:gd name="connsiteY6795" fmla="*/ 6335403 h 7458372"/>
              <a:gd name="connsiteX6796" fmla="*/ 3521497 w 10505529"/>
              <a:gd name="connsiteY6796" fmla="*/ 6331276 h 7458372"/>
              <a:gd name="connsiteX6797" fmla="*/ 3517504 w 10505529"/>
              <a:gd name="connsiteY6797" fmla="*/ 6328613 h 7458372"/>
              <a:gd name="connsiteX6798" fmla="*/ 3512444 w 10505529"/>
              <a:gd name="connsiteY6798" fmla="*/ 6327682 h 7458372"/>
              <a:gd name="connsiteX6799" fmla="*/ 3294914 w 10505529"/>
              <a:gd name="connsiteY6799" fmla="*/ 6327682 h 7458372"/>
              <a:gd name="connsiteX6800" fmla="*/ 3284927 w 10505529"/>
              <a:gd name="connsiteY6800" fmla="*/ 6331276 h 7458372"/>
              <a:gd name="connsiteX6801" fmla="*/ 3281333 w 10505529"/>
              <a:gd name="connsiteY6801" fmla="*/ 6340727 h 7458372"/>
              <a:gd name="connsiteX6802" fmla="*/ 3284927 w 10505529"/>
              <a:gd name="connsiteY6802" fmla="*/ 6350178 h 7458372"/>
              <a:gd name="connsiteX6803" fmla="*/ 3294914 w 10505529"/>
              <a:gd name="connsiteY6803" fmla="*/ 6353640 h 7458372"/>
              <a:gd name="connsiteX6804" fmla="*/ 3300240 w 10505529"/>
              <a:gd name="connsiteY6804" fmla="*/ 6352708 h 7458372"/>
              <a:gd name="connsiteX6805" fmla="*/ 3303967 w 10505529"/>
              <a:gd name="connsiteY6805" fmla="*/ 6350311 h 7458372"/>
              <a:gd name="connsiteX6806" fmla="*/ 3306630 w 10505529"/>
              <a:gd name="connsiteY6806" fmla="*/ 6346052 h 7458372"/>
              <a:gd name="connsiteX6807" fmla="*/ 3307694 w 10505529"/>
              <a:gd name="connsiteY6807" fmla="*/ 6340594 h 7458372"/>
              <a:gd name="connsiteX6808" fmla="*/ 3306630 w 10505529"/>
              <a:gd name="connsiteY6808" fmla="*/ 6335403 h 7458372"/>
              <a:gd name="connsiteX6809" fmla="*/ 3303967 w 10505529"/>
              <a:gd name="connsiteY6809" fmla="*/ 6331276 h 7458372"/>
              <a:gd name="connsiteX6810" fmla="*/ 3299974 w 10505529"/>
              <a:gd name="connsiteY6810" fmla="*/ 6328613 h 7458372"/>
              <a:gd name="connsiteX6811" fmla="*/ 3294914 w 10505529"/>
              <a:gd name="connsiteY6811" fmla="*/ 6327682 h 7458372"/>
              <a:gd name="connsiteX6812" fmla="*/ 3077384 w 10505529"/>
              <a:gd name="connsiteY6812" fmla="*/ 6327682 h 7458372"/>
              <a:gd name="connsiteX6813" fmla="*/ 3067400 w 10505529"/>
              <a:gd name="connsiteY6813" fmla="*/ 6331276 h 7458372"/>
              <a:gd name="connsiteX6814" fmla="*/ 3063669 w 10505529"/>
              <a:gd name="connsiteY6814" fmla="*/ 6340727 h 7458372"/>
              <a:gd name="connsiteX6815" fmla="*/ 3067265 w 10505529"/>
              <a:gd name="connsiteY6815" fmla="*/ 6350178 h 7458372"/>
              <a:gd name="connsiteX6816" fmla="*/ 3077251 w 10505529"/>
              <a:gd name="connsiteY6816" fmla="*/ 6353640 h 7458372"/>
              <a:gd name="connsiteX6817" fmla="*/ 3082709 w 10505529"/>
              <a:gd name="connsiteY6817" fmla="*/ 6352708 h 7458372"/>
              <a:gd name="connsiteX6818" fmla="*/ 3086437 w 10505529"/>
              <a:gd name="connsiteY6818" fmla="*/ 6350311 h 7458372"/>
              <a:gd name="connsiteX6819" fmla="*/ 3089099 w 10505529"/>
              <a:gd name="connsiteY6819" fmla="*/ 6346052 h 7458372"/>
              <a:gd name="connsiteX6820" fmla="*/ 3090031 w 10505529"/>
              <a:gd name="connsiteY6820" fmla="*/ 6340594 h 7458372"/>
              <a:gd name="connsiteX6821" fmla="*/ 3089099 w 10505529"/>
              <a:gd name="connsiteY6821" fmla="*/ 6335403 h 7458372"/>
              <a:gd name="connsiteX6822" fmla="*/ 3086437 w 10505529"/>
              <a:gd name="connsiteY6822" fmla="*/ 6331276 h 7458372"/>
              <a:gd name="connsiteX6823" fmla="*/ 3082444 w 10505529"/>
              <a:gd name="connsiteY6823" fmla="*/ 6328613 h 7458372"/>
              <a:gd name="connsiteX6824" fmla="*/ 3077384 w 10505529"/>
              <a:gd name="connsiteY6824" fmla="*/ 6327682 h 7458372"/>
              <a:gd name="connsiteX6825" fmla="*/ 2859588 w 10505529"/>
              <a:gd name="connsiteY6825" fmla="*/ 6327682 h 7458372"/>
              <a:gd name="connsiteX6826" fmla="*/ 2849602 w 10505529"/>
              <a:gd name="connsiteY6826" fmla="*/ 6331276 h 7458372"/>
              <a:gd name="connsiteX6827" fmla="*/ 2846002 w 10505529"/>
              <a:gd name="connsiteY6827" fmla="*/ 6340727 h 7458372"/>
              <a:gd name="connsiteX6828" fmla="*/ 2849602 w 10505529"/>
              <a:gd name="connsiteY6828" fmla="*/ 6350178 h 7458372"/>
              <a:gd name="connsiteX6829" fmla="*/ 2859588 w 10505529"/>
              <a:gd name="connsiteY6829" fmla="*/ 6353640 h 7458372"/>
              <a:gd name="connsiteX6830" fmla="*/ 2864913 w 10505529"/>
              <a:gd name="connsiteY6830" fmla="*/ 6352708 h 7458372"/>
              <a:gd name="connsiteX6831" fmla="*/ 2868640 w 10505529"/>
              <a:gd name="connsiteY6831" fmla="*/ 6350311 h 7458372"/>
              <a:gd name="connsiteX6832" fmla="*/ 2871303 w 10505529"/>
              <a:gd name="connsiteY6832" fmla="*/ 6346052 h 7458372"/>
              <a:gd name="connsiteX6833" fmla="*/ 2872234 w 10505529"/>
              <a:gd name="connsiteY6833" fmla="*/ 6340594 h 7458372"/>
              <a:gd name="connsiteX6834" fmla="*/ 2871303 w 10505529"/>
              <a:gd name="connsiteY6834" fmla="*/ 6335403 h 7458372"/>
              <a:gd name="connsiteX6835" fmla="*/ 2868640 w 10505529"/>
              <a:gd name="connsiteY6835" fmla="*/ 6331276 h 7458372"/>
              <a:gd name="connsiteX6836" fmla="*/ 2864647 w 10505529"/>
              <a:gd name="connsiteY6836" fmla="*/ 6328613 h 7458372"/>
              <a:gd name="connsiteX6837" fmla="*/ 2859588 w 10505529"/>
              <a:gd name="connsiteY6837" fmla="*/ 6327682 h 7458372"/>
              <a:gd name="connsiteX6838" fmla="*/ 2641924 w 10505529"/>
              <a:gd name="connsiteY6838" fmla="*/ 6327682 h 7458372"/>
              <a:gd name="connsiteX6839" fmla="*/ 2631941 w 10505529"/>
              <a:gd name="connsiteY6839" fmla="*/ 6331276 h 7458372"/>
              <a:gd name="connsiteX6840" fmla="*/ 2628347 w 10505529"/>
              <a:gd name="connsiteY6840" fmla="*/ 6340727 h 7458372"/>
              <a:gd name="connsiteX6841" fmla="*/ 2631941 w 10505529"/>
              <a:gd name="connsiteY6841" fmla="*/ 6350178 h 7458372"/>
              <a:gd name="connsiteX6842" fmla="*/ 2641924 w 10505529"/>
              <a:gd name="connsiteY6842" fmla="*/ 6353640 h 7458372"/>
              <a:gd name="connsiteX6843" fmla="*/ 2647250 w 10505529"/>
              <a:gd name="connsiteY6843" fmla="*/ 6352708 h 7458372"/>
              <a:gd name="connsiteX6844" fmla="*/ 2650977 w 10505529"/>
              <a:gd name="connsiteY6844" fmla="*/ 6350311 h 7458372"/>
              <a:gd name="connsiteX6845" fmla="*/ 2653640 w 10505529"/>
              <a:gd name="connsiteY6845" fmla="*/ 6346052 h 7458372"/>
              <a:gd name="connsiteX6846" fmla="*/ 2654571 w 10505529"/>
              <a:gd name="connsiteY6846" fmla="*/ 6340594 h 7458372"/>
              <a:gd name="connsiteX6847" fmla="*/ 2653640 w 10505529"/>
              <a:gd name="connsiteY6847" fmla="*/ 6335403 h 7458372"/>
              <a:gd name="connsiteX6848" fmla="*/ 2650977 w 10505529"/>
              <a:gd name="connsiteY6848" fmla="*/ 6331276 h 7458372"/>
              <a:gd name="connsiteX6849" fmla="*/ 2646984 w 10505529"/>
              <a:gd name="connsiteY6849" fmla="*/ 6328613 h 7458372"/>
              <a:gd name="connsiteX6850" fmla="*/ 2641924 w 10505529"/>
              <a:gd name="connsiteY6850" fmla="*/ 6327682 h 7458372"/>
              <a:gd name="connsiteX6851" fmla="*/ 2424261 w 10505529"/>
              <a:gd name="connsiteY6851" fmla="*/ 6327682 h 7458372"/>
              <a:gd name="connsiteX6852" fmla="*/ 2414278 w 10505529"/>
              <a:gd name="connsiteY6852" fmla="*/ 6331276 h 7458372"/>
              <a:gd name="connsiteX6853" fmla="*/ 2410684 w 10505529"/>
              <a:gd name="connsiteY6853" fmla="*/ 6340727 h 7458372"/>
              <a:gd name="connsiteX6854" fmla="*/ 2414278 w 10505529"/>
              <a:gd name="connsiteY6854" fmla="*/ 6350178 h 7458372"/>
              <a:gd name="connsiteX6855" fmla="*/ 2424261 w 10505529"/>
              <a:gd name="connsiteY6855" fmla="*/ 6353640 h 7458372"/>
              <a:gd name="connsiteX6856" fmla="*/ 2429587 w 10505529"/>
              <a:gd name="connsiteY6856" fmla="*/ 6352708 h 7458372"/>
              <a:gd name="connsiteX6857" fmla="*/ 2433313 w 10505529"/>
              <a:gd name="connsiteY6857" fmla="*/ 6350311 h 7458372"/>
              <a:gd name="connsiteX6858" fmla="*/ 2435977 w 10505529"/>
              <a:gd name="connsiteY6858" fmla="*/ 6346052 h 7458372"/>
              <a:gd name="connsiteX6859" fmla="*/ 2436908 w 10505529"/>
              <a:gd name="connsiteY6859" fmla="*/ 6340594 h 7458372"/>
              <a:gd name="connsiteX6860" fmla="*/ 2435977 w 10505529"/>
              <a:gd name="connsiteY6860" fmla="*/ 6335403 h 7458372"/>
              <a:gd name="connsiteX6861" fmla="*/ 2433313 w 10505529"/>
              <a:gd name="connsiteY6861" fmla="*/ 6331276 h 7458372"/>
              <a:gd name="connsiteX6862" fmla="*/ 2429320 w 10505529"/>
              <a:gd name="connsiteY6862" fmla="*/ 6328613 h 7458372"/>
              <a:gd name="connsiteX6863" fmla="*/ 2424261 w 10505529"/>
              <a:gd name="connsiteY6863" fmla="*/ 6327682 h 7458372"/>
              <a:gd name="connsiteX6864" fmla="*/ 2206598 w 10505529"/>
              <a:gd name="connsiteY6864" fmla="*/ 6327682 h 7458372"/>
              <a:gd name="connsiteX6865" fmla="*/ 2196615 w 10505529"/>
              <a:gd name="connsiteY6865" fmla="*/ 6331276 h 7458372"/>
              <a:gd name="connsiteX6866" fmla="*/ 2193020 w 10505529"/>
              <a:gd name="connsiteY6866" fmla="*/ 6340727 h 7458372"/>
              <a:gd name="connsiteX6867" fmla="*/ 2196615 w 10505529"/>
              <a:gd name="connsiteY6867" fmla="*/ 6350178 h 7458372"/>
              <a:gd name="connsiteX6868" fmla="*/ 2206598 w 10505529"/>
              <a:gd name="connsiteY6868" fmla="*/ 6353640 h 7458372"/>
              <a:gd name="connsiteX6869" fmla="*/ 2211923 w 10505529"/>
              <a:gd name="connsiteY6869" fmla="*/ 6352708 h 7458372"/>
              <a:gd name="connsiteX6870" fmla="*/ 2215650 w 10505529"/>
              <a:gd name="connsiteY6870" fmla="*/ 6350311 h 7458372"/>
              <a:gd name="connsiteX6871" fmla="*/ 2218313 w 10505529"/>
              <a:gd name="connsiteY6871" fmla="*/ 6346052 h 7458372"/>
              <a:gd name="connsiteX6872" fmla="*/ 2219244 w 10505529"/>
              <a:gd name="connsiteY6872" fmla="*/ 6340594 h 7458372"/>
              <a:gd name="connsiteX6873" fmla="*/ 2218313 w 10505529"/>
              <a:gd name="connsiteY6873" fmla="*/ 6335403 h 7458372"/>
              <a:gd name="connsiteX6874" fmla="*/ 2215650 w 10505529"/>
              <a:gd name="connsiteY6874" fmla="*/ 6331276 h 7458372"/>
              <a:gd name="connsiteX6875" fmla="*/ 2211657 w 10505529"/>
              <a:gd name="connsiteY6875" fmla="*/ 6328613 h 7458372"/>
              <a:gd name="connsiteX6876" fmla="*/ 2206598 w 10505529"/>
              <a:gd name="connsiteY6876" fmla="*/ 6327682 h 7458372"/>
              <a:gd name="connsiteX6877" fmla="*/ 1989068 w 10505529"/>
              <a:gd name="connsiteY6877" fmla="*/ 6327682 h 7458372"/>
              <a:gd name="connsiteX6878" fmla="*/ 1979085 w 10505529"/>
              <a:gd name="connsiteY6878" fmla="*/ 6331276 h 7458372"/>
              <a:gd name="connsiteX6879" fmla="*/ 1975490 w 10505529"/>
              <a:gd name="connsiteY6879" fmla="*/ 6340727 h 7458372"/>
              <a:gd name="connsiteX6880" fmla="*/ 1979085 w 10505529"/>
              <a:gd name="connsiteY6880" fmla="*/ 6350178 h 7458372"/>
              <a:gd name="connsiteX6881" fmla="*/ 1989068 w 10505529"/>
              <a:gd name="connsiteY6881" fmla="*/ 6353640 h 7458372"/>
              <a:gd name="connsiteX6882" fmla="*/ 1994393 w 10505529"/>
              <a:gd name="connsiteY6882" fmla="*/ 6352708 h 7458372"/>
              <a:gd name="connsiteX6883" fmla="*/ 1998120 w 10505529"/>
              <a:gd name="connsiteY6883" fmla="*/ 6350311 h 7458372"/>
              <a:gd name="connsiteX6884" fmla="*/ 2000783 w 10505529"/>
              <a:gd name="connsiteY6884" fmla="*/ 6346052 h 7458372"/>
              <a:gd name="connsiteX6885" fmla="*/ 2001714 w 10505529"/>
              <a:gd name="connsiteY6885" fmla="*/ 6340594 h 7458372"/>
              <a:gd name="connsiteX6886" fmla="*/ 2000783 w 10505529"/>
              <a:gd name="connsiteY6886" fmla="*/ 6335403 h 7458372"/>
              <a:gd name="connsiteX6887" fmla="*/ 1998120 w 10505529"/>
              <a:gd name="connsiteY6887" fmla="*/ 6331276 h 7458372"/>
              <a:gd name="connsiteX6888" fmla="*/ 1994126 w 10505529"/>
              <a:gd name="connsiteY6888" fmla="*/ 6328613 h 7458372"/>
              <a:gd name="connsiteX6889" fmla="*/ 1989068 w 10505529"/>
              <a:gd name="connsiteY6889" fmla="*/ 6327682 h 7458372"/>
              <a:gd name="connsiteX6890" fmla="*/ 1771436 w 10505529"/>
              <a:gd name="connsiteY6890" fmla="*/ 6327682 h 7458372"/>
              <a:gd name="connsiteX6891" fmla="*/ 1761453 w 10505529"/>
              <a:gd name="connsiteY6891" fmla="*/ 6331276 h 7458372"/>
              <a:gd name="connsiteX6892" fmla="*/ 1757860 w 10505529"/>
              <a:gd name="connsiteY6892" fmla="*/ 6340727 h 7458372"/>
              <a:gd name="connsiteX6893" fmla="*/ 1761453 w 10505529"/>
              <a:gd name="connsiteY6893" fmla="*/ 6350178 h 7458372"/>
              <a:gd name="connsiteX6894" fmla="*/ 1771436 w 10505529"/>
              <a:gd name="connsiteY6894" fmla="*/ 6353640 h 7458372"/>
              <a:gd name="connsiteX6895" fmla="*/ 1776760 w 10505529"/>
              <a:gd name="connsiteY6895" fmla="*/ 6352708 h 7458372"/>
              <a:gd name="connsiteX6896" fmla="*/ 1780486 w 10505529"/>
              <a:gd name="connsiteY6896" fmla="*/ 6350311 h 7458372"/>
              <a:gd name="connsiteX6897" fmla="*/ 1783149 w 10505529"/>
              <a:gd name="connsiteY6897" fmla="*/ 6346052 h 7458372"/>
              <a:gd name="connsiteX6898" fmla="*/ 1784214 w 10505529"/>
              <a:gd name="connsiteY6898" fmla="*/ 6340594 h 7458372"/>
              <a:gd name="connsiteX6899" fmla="*/ 1783149 w 10505529"/>
              <a:gd name="connsiteY6899" fmla="*/ 6335403 h 7458372"/>
              <a:gd name="connsiteX6900" fmla="*/ 1780486 w 10505529"/>
              <a:gd name="connsiteY6900" fmla="*/ 6331276 h 7458372"/>
              <a:gd name="connsiteX6901" fmla="*/ 1776495 w 10505529"/>
              <a:gd name="connsiteY6901" fmla="*/ 6328613 h 7458372"/>
              <a:gd name="connsiteX6902" fmla="*/ 1771436 w 10505529"/>
              <a:gd name="connsiteY6902" fmla="*/ 6327682 h 7458372"/>
              <a:gd name="connsiteX6903" fmla="*/ 1553800 w 10505529"/>
              <a:gd name="connsiteY6903" fmla="*/ 6327682 h 7458372"/>
              <a:gd name="connsiteX6904" fmla="*/ 1543817 w 10505529"/>
              <a:gd name="connsiteY6904" fmla="*/ 6331276 h 7458372"/>
              <a:gd name="connsiteX6905" fmla="*/ 1540222 w 10505529"/>
              <a:gd name="connsiteY6905" fmla="*/ 6340727 h 7458372"/>
              <a:gd name="connsiteX6906" fmla="*/ 1543817 w 10505529"/>
              <a:gd name="connsiteY6906" fmla="*/ 6350178 h 7458372"/>
              <a:gd name="connsiteX6907" fmla="*/ 1553800 w 10505529"/>
              <a:gd name="connsiteY6907" fmla="*/ 6353640 h 7458372"/>
              <a:gd name="connsiteX6908" fmla="*/ 1559124 w 10505529"/>
              <a:gd name="connsiteY6908" fmla="*/ 6352708 h 7458372"/>
              <a:gd name="connsiteX6909" fmla="*/ 1562852 w 10505529"/>
              <a:gd name="connsiteY6909" fmla="*/ 6350311 h 7458372"/>
              <a:gd name="connsiteX6910" fmla="*/ 1565514 w 10505529"/>
              <a:gd name="connsiteY6910" fmla="*/ 6346052 h 7458372"/>
              <a:gd name="connsiteX6911" fmla="*/ 1566580 w 10505529"/>
              <a:gd name="connsiteY6911" fmla="*/ 6340594 h 7458372"/>
              <a:gd name="connsiteX6912" fmla="*/ 1565514 w 10505529"/>
              <a:gd name="connsiteY6912" fmla="*/ 6335403 h 7458372"/>
              <a:gd name="connsiteX6913" fmla="*/ 1562852 w 10505529"/>
              <a:gd name="connsiteY6913" fmla="*/ 6331276 h 7458372"/>
              <a:gd name="connsiteX6914" fmla="*/ 1558858 w 10505529"/>
              <a:gd name="connsiteY6914" fmla="*/ 6328613 h 7458372"/>
              <a:gd name="connsiteX6915" fmla="*/ 1553800 w 10505529"/>
              <a:gd name="connsiteY6915" fmla="*/ 6327682 h 7458372"/>
              <a:gd name="connsiteX6916" fmla="*/ 1336157 w 10505529"/>
              <a:gd name="connsiteY6916" fmla="*/ 6327682 h 7458372"/>
              <a:gd name="connsiteX6917" fmla="*/ 1326172 w 10505529"/>
              <a:gd name="connsiteY6917" fmla="*/ 6331276 h 7458372"/>
              <a:gd name="connsiteX6918" fmla="*/ 1322578 w 10505529"/>
              <a:gd name="connsiteY6918" fmla="*/ 6340727 h 7458372"/>
              <a:gd name="connsiteX6919" fmla="*/ 1326172 w 10505529"/>
              <a:gd name="connsiteY6919" fmla="*/ 6350178 h 7458372"/>
              <a:gd name="connsiteX6920" fmla="*/ 1336157 w 10505529"/>
              <a:gd name="connsiteY6920" fmla="*/ 6353640 h 7458372"/>
              <a:gd name="connsiteX6921" fmla="*/ 1341483 w 10505529"/>
              <a:gd name="connsiteY6921" fmla="*/ 6352708 h 7458372"/>
              <a:gd name="connsiteX6922" fmla="*/ 1345210 w 10505529"/>
              <a:gd name="connsiteY6922" fmla="*/ 6350311 h 7458372"/>
              <a:gd name="connsiteX6923" fmla="*/ 1347872 w 10505529"/>
              <a:gd name="connsiteY6923" fmla="*/ 6346052 h 7458372"/>
              <a:gd name="connsiteX6924" fmla="*/ 1348938 w 10505529"/>
              <a:gd name="connsiteY6924" fmla="*/ 6340594 h 7458372"/>
              <a:gd name="connsiteX6925" fmla="*/ 1347872 w 10505529"/>
              <a:gd name="connsiteY6925" fmla="*/ 6335403 h 7458372"/>
              <a:gd name="connsiteX6926" fmla="*/ 1345210 w 10505529"/>
              <a:gd name="connsiteY6926" fmla="*/ 6331276 h 7458372"/>
              <a:gd name="connsiteX6927" fmla="*/ 1341215 w 10505529"/>
              <a:gd name="connsiteY6927" fmla="*/ 6328613 h 7458372"/>
              <a:gd name="connsiteX6928" fmla="*/ 1336157 w 10505529"/>
              <a:gd name="connsiteY6928" fmla="*/ 6327682 h 7458372"/>
              <a:gd name="connsiteX6929" fmla="*/ 1118644 w 10505529"/>
              <a:gd name="connsiteY6929" fmla="*/ 6327682 h 7458372"/>
              <a:gd name="connsiteX6930" fmla="*/ 1108658 w 10505529"/>
              <a:gd name="connsiteY6930" fmla="*/ 6331276 h 7458372"/>
              <a:gd name="connsiteX6931" fmla="*/ 1104931 w 10505529"/>
              <a:gd name="connsiteY6931" fmla="*/ 6340727 h 7458372"/>
              <a:gd name="connsiteX6932" fmla="*/ 1108526 w 10505529"/>
              <a:gd name="connsiteY6932" fmla="*/ 6350178 h 7458372"/>
              <a:gd name="connsiteX6933" fmla="*/ 1118511 w 10505529"/>
              <a:gd name="connsiteY6933" fmla="*/ 6353640 h 7458372"/>
              <a:gd name="connsiteX6934" fmla="*/ 1123967 w 10505529"/>
              <a:gd name="connsiteY6934" fmla="*/ 6352708 h 7458372"/>
              <a:gd name="connsiteX6935" fmla="*/ 1127698 w 10505529"/>
              <a:gd name="connsiteY6935" fmla="*/ 6350311 h 7458372"/>
              <a:gd name="connsiteX6936" fmla="*/ 1130362 w 10505529"/>
              <a:gd name="connsiteY6936" fmla="*/ 6346052 h 7458372"/>
              <a:gd name="connsiteX6937" fmla="*/ 1131427 w 10505529"/>
              <a:gd name="connsiteY6937" fmla="*/ 6340594 h 7458372"/>
              <a:gd name="connsiteX6938" fmla="*/ 1130362 w 10505529"/>
              <a:gd name="connsiteY6938" fmla="*/ 6335403 h 7458372"/>
              <a:gd name="connsiteX6939" fmla="*/ 1127698 w 10505529"/>
              <a:gd name="connsiteY6939" fmla="*/ 6331276 h 7458372"/>
              <a:gd name="connsiteX6940" fmla="*/ 1123703 w 10505529"/>
              <a:gd name="connsiteY6940" fmla="*/ 6328613 h 7458372"/>
              <a:gd name="connsiteX6941" fmla="*/ 1118644 w 10505529"/>
              <a:gd name="connsiteY6941" fmla="*/ 6327682 h 7458372"/>
              <a:gd name="connsiteX6942" fmla="*/ 901132 w 10505529"/>
              <a:gd name="connsiteY6942" fmla="*/ 6327682 h 7458372"/>
              <a:gd name="connsiteX6943" fmla="*/ 891147 w 10505529"/>
              <a:gd name="connsiteY6943" fmla="*/ 6331276 h 7458372"/>
              <a:gd name="connsiteX6944" fmla="*/ 887421 w 10505529"/>
              <a:gd name="connsiteY6944" fmla="*/ 6340727 h 7458372"/>
              <a:gd name="connsiteX6945" fmla="*/ 891015 w 10505529"/>
              <a:gd name="connsiteY6945" fmla="*/ 6350178 h 7458372"/>
              <a:gd name="connsiteX6946" fmla="*/ 900998 w 10505529"/>
              <a:gd name="connsiteY6946" fmla="*/ 6353640 h 7458372"/>
              <a:gd name="connsiteX6947" fmla="*/ 906456 w 10505529"/>
              <a:gd name="connsiteY6947" fmla="*/ 6352708 h 7458372"/>
              <a:gd name="connsiteX6948" fmla="*/ 910184 w 10505529"/>
              <a:gd name="connsiteY6948" fmla="*/ 6350311 h 7458372"/>
              <a:gd name="connsiteX6949" fmla="*/ 912846 w 10505529"/>
              <a:gd name="connsiteY6949" fmla="*/ 6346052 h 7458372"/>
              <a:gd name="connsiteX6950" fmla="*/ 913911 w 10505529"/>
              <a:gd name="connsiteY6950" fmla="*/ 6340594 h 7458372"/>
              <a:gd name="connsiteX6951" fmla="*/ 912846 w 10505529"/>
              <a:gd name="connsiteY6951" fmla="*/ 6335403 h 7458372"/>
              <a:gd name="connsiteX6952" fmla="*/ 910184 w 10505529"/>
              <a:gd name="connsiteY6952" fmla="*/ 6331276 h 7458372"/>
              <a:gd name="connsiteX6953" fmla="*/ 906190 w 10505529"/>
              <a:gd name="connsiteY6953" fmla="*/ 6328613 h 7458372"/>
              <a:gd name="connsiteX6954" fmla="*/ 901132 w 10505529"/>
              <a:gd name="connsiteY6954" fmla="*/ 6327682 h 7458372"/>
              <a:gd name="connsiteX6955" fmla="*/ 683358 w 10505529"/>
              <a:gd name="connsiteY6955" fmla="*/ 6327682 h 7458372"/>
              <a:gd name="connsiteX6956" fmla="*/ 673375 w 10505529"/>
              <a:gd name="connsiteY6956" fmla="*/ 6331276 h 7458372"/>
              <a:gd name="connsiteX6957" fmla="*/ 669781 w 10505529"/>
              <a:gd name="connsiteY6957" fmla="*/ 6340727 h 7458372"/>
              <a:gd name="connsiteX6958" fmla="*/ 673375 w 10505529"/>
              <a:gd name="connsiteY6958" fmla="*/ 6350178 h 7458372"/>
              <a:gd name="connsiteX6959" fmla="*/ 683358 w 10505529"/>
              <a:gd name="connsiteY6959" fmla="*/ 6353640 h 7458372"/>
              <a:gd name="connsiteX6960" fmla="*/ 688683 w 10505529"/>
              <a:gd name="connsiteY6960" fmla="*/ 6352708 h 7458372"/>
              <a:gd name="connsiteX6961" fmla="*/ 692410 w 10505529"/>
              <a:gd name="connsiteY6961" fmla="*/ 6350311 h 7458372"/>
              <a:gd name="connsiteX6962" fmla="*/ 695073 w 10505529"/>
              <a:gd name="connsiteY6962" fmla="*/ 6346052 h 7458372"/>
              <a:gd name="connsiteX6963" fmla="*/ 696139 w 10505529"/>
              <a:gd name="connsiteY6963" fmla="*/ 6340594 h 7458372"/>
              <a:gd name="connsiteX6964" fmla="*/ 695073 w 10505529"/>
              <a:gd name="connsiteY6964" fmla="*/ 6335403 h 7458372"/>
              <a:gd name="connsiteX6965" fmla="*/ 692410 w 10505529"/>
              <a:gd name="connsiteY6965" fmla="*/ 6331276 h 7458372"/>
              <a:gd name="connsiteX6966" fmla="*/ 688417 w 10505529"/>
              <a:gd name="connsiteY6966" fmla="*/ 6328613 h 7458372"/>
              <a:gd name="connsiteX6967" fmla="*/ 683358 w 10505529"/>
              <a:gd name="connsiteY6967" fmla="*/ 6327682 h 7458372"/>
              <a:gd name="connsiteX6968" fmla="*/ 465717 w 10505529"/>
              <a:gd name="connsiteY6968" fmla="*/ 6327682 h 7458372"/>
              <a:gd name="connsiteX6969" fmla="*/ 455734 w 10505529"/>
              <a:gd name="connsiteY6969" fmla="*/ 6331276 h 7458372"/>
              <a:gd name="connsiteX6970" fmla="*/ 452140 w 10505529"/>
              <a:gd name="connsiteY6970" fmla="*/ 6340727 h 7458372"/>
              <a:gd name="connsiteX6971" fmla="*/ 455734 w 10505529"/>
              <a:gd name="connsiteY6971" fmla="*/ 6350178 h 7458372"/>
              <a:gd name="connsiteX6972" fmla="*/ 465717 w 10505529"/>
              <a:gd name="connsiteY6972" fmla="*/ 6353640 h 7458372"/>
              <a:gd name="connsiteX6973" fmla="*/ 471042 w 10505529"/>
              <a:gd name="connsiteY6973" fmla="*/ 6352708 h 7458372"/>
              <a:gd name="connsiteX6974" fmla="*/ 474769 w 10505529"/>
              <a:gd name="connsiteY6974" fmla="*/ 6350311 h 7458372"/>
              <a:gd name="connsiteX6975" fmla="*/ 477433 w 10505529"/>
              <a:gd name="connsiteY6975" fmla="*/ 6346052 h 7458372"/>
              <a:gd name="connsiteX6976" fmla="*/ 478498 w 10505529"/>
              <a:gd name="connsiteY6976" fmla="*/ 6340594 h 7458372"/>
              <a:gd name="connsiteX6977" fmla="*/ 477433 w 10505529"/>
              <a:gd name="connsiteY6977" fmla="*/ 6335403 h 7458372"/>
              <a:gd name="connsiteX6978" fmla="*/ 474769 w 10505529"/>
              <a:gd name="connsiteY6978" fmla="*/ 6331276 h 7458372"/>
              <a:gd name="connsiteX6979" fmla="*/ 470777 w 10505529"/>
              <a:gd name="connsiteY6979" fmla="*/ 6328613 h 7458372"/>
              <a:gd name="connsiteX6980" fmla="*/ 465717 w 10505529"/>
              <a:gd name="connsiteY6980" fmla="*/ 6327682 h 7458372"/>
              <a:gd name="connsiteX6981" fmla="*/ 248076 w 10505529"/>
              <a:gd name="connsiteY6981" fmla="*/ 6327682 h 7458372"/>
              <a:gd name="connsiteX6982" fmla="*/ 238094 w 10505529"/>
              <a:gd name="connsiteY6982" fmla="*/ 6331276 h 7458372"/>
              <a:gd name="connsiteX6983" fmla="*/ 234500 w 10505529"/>
              <a:gd name="connsiteY6983" fmla="*/ 6340727 h 7458372"/>
              <a:gd name="connsiteX6984" fmla="*/ 238094 w 10505529"/>
              <a:gd name="connsiteY6984" fmla="*/ 6350178 h 7458372"/>
              <a:gd name="connsiteX6985" fmla="*/ 248076 w 10505529"/>
              <a:gd name="connsiteY6985" fmla="*/ 6353640 h 7458372"/>
              <a:gd name="connsiteX6986" fmla="*/ 253401 w 10505529"/>
              <a:gd name="connsiteY6986" fmla="*/ 6352708 h 7458372"/>
              <a:gd name="connsiteX6987" fmla="*/ 257127 w 10505529"/>
              <a:gd name="connsiteY6987" fmla="*/ 6350311 h 7458372"/>
              <a:gd name="connsiteX6988" fmla="*/ 259790 w 10505529"/>
              <a:gd name="connsiteY6988" fmla="*/ 6346052 h 7458372"/>
              <a:gd name="connsiteX6989" fmla="*/ 260855 w 10505529"/>
              <a:gd name="connsiteY6989" fmla="*/ 6340594 h 7458372"/>
              <a:gd name="connsiteX6990" fmla="*/ 259790 w 10505529"/>
              <a:gd name="connsiteY6990" fmla="*/ 6335403 h 7458372"/>
              <a:gd name="connsiteX6991" fmla="*/ 257127 w 10505529"/>
              <a:gd name="connsiteY6991" fmla="*/ 6331276 h 7458372"/>
              <a:gd name="connsiteX6992" fmla="*/ 253135 w 10505529"/>
              <a:gd name="connsiteY6992" fmla="*/ 6328613 h 7458372"/>
              <a:gd name="connsiteX6993" fmla="*/ 248076 w 10505529"/>
              <a:gd name="connsiteY6993" fmla="*/ 6327682 h 7458372"/>
              <a:gd name="connsiteX6994" fmla="*/ 30435 w 10505529"/>
              <a:gd name="connsiteY6994" fmla="*/ 6327682 h 7458372"/>
              <a:gd name="connsiteX6995" fmla="*/ 20452 w 10505529"/>
              <a:gd name="connsiteY6995" fmla="*/ 6331276 h 7458372"/>
              <a:gd name="connsiteX6996" fmla="*/ 16859 w 10505529"/>
              <a:gd name="connsiteY6996" fmla="*/ 6340727 h 7458372"/>
              <a:gd name="connsiteX6997" fmla="*/ 20452 w 10505529"/>
              <a:gd name="connsiteY6997" fmla="*/ 6350178 h 7458372"/>
              <a:gd name="connsiteX6998" fmla="*/ 30435 w 10505529"/>
              <a:gd name="connsiteY6998" fmla="*/ 6353640 h 7458372"/>
              <a:gd name="connsiteX6999" fmla="*/ 35760 w 10505529"/>
              <a:gd name="connsiteY6999" fmla="*/ 6352708 h 7458372"/>
              <a:gd name="connsiteX7000" fmla="*/ 39487 w 10505529"/>
              <a:gd name="connsiteY7000" fmla="*/ 6350311 h 7458372"/>
              <a:gd name="connsiteX7001" fmla="*/ 42150 w 10505529"/>
              <a:gd name="connsiteY7001" fmla="*/ 6346052 h 7458372"/>
              <a:gd name="connsiteX7002" fmla="*/ 43081 w 10505529"/>
              <a:gd name="connsiteY7002" fmla="*/ 6340594 h 7458372"/>
              <a:gd name="connsiteX7003" fmla="*/ 42150 w 10505529"/>
              <a:gd name="connsiteY7003" fmla="*/ 6335403 h 7458372"/>
              <a:gd name="connsiteX7004" fmla="*/ 39487 w 10505529"/>
              <a:gd name="connsiteY7004" fmla="*/ 6331276 h 7458372"/>
              <a:gd name="connsiteX7005" fmla="*/ 35494 w 10505529"/>
              <a:gd name="connsiteY7005" fmla="*/ 6328613 h 7458372"/>
              <a:gd name="connsiteX7006" fmla="*/ 30435 w 10505529"/>
              <a:gd name="connsiteY7006" fmla="*/ 6327682 h 7458372"/>
              <a:gd name="connsiteX7007" fmla="*/ 10475977 w 10505529"/>
              <a:gd name="connsiteY7007" fmla="*/ 6311042 h 7458372"/>
              <a:gd name="connsiteX7008" fmla="*/ 10487824 w 10505529"/>
              <a:gd name="connsiteY7008" fmla="*/ 6313305 h 7458372"/>
              <a:gd name="connsiteX7009" fmla="*/ 10497143 w 10505529"/>
              <a:gd name="connsiteY7009" fmla="*/ 6319694 h 7458372"/>
              <a:gd name="connsiteX7010" fmla="*/ 10503266 w 10505529"/>
              <a:gd name="connsiteY7010" fmla="*/ 6329013 h 7458372"/>
              <a:gd name="connsiteX7011" fmla="*/ 10505529 w 10505529"/>
              <a:gd name="connsiteY7011" fmla="*/ 6340461 h 7458372"/>
              <a:gd name="connsiteX7012" fmla="*/ 10503266 w 10505529"/>
              <a:gd name="connsiteY7012" fmla="*/ 6352176 h 7458372"/>
              <a:gd name="connsiteX7013" fmla="*/ 10497143 w 10505529"/>
              <a:gd name="connsiteY7013" fmla="*/ 6361627 h 7458372"/>
              <a:gd name="connsiteX7014" fmla="*/ 10487824 w 10505529"/>
              <a:gd name="connsiteY7014" fmla="*/ 6367884 h 7458372"/>
              <a:gd name="connsiteX7015" fmla="*/ 10475977 w 10505529"/>
              <a:gd name="connsiteY7015" fmla="*/ 6370147 h 7458372"/>
              <a:gd name="connsiteX7016" fmla="*/ 10454145 w 10505529"/>
              <a:gd name="connsiteY7016" fmla="*/ 6361760 h 7458372"/>
              <a:gd name="connsiteX7017" fmla="*/ 10445759 w 10505529"/>
              <a:gd name="connsiteY7017" fmla="*/ 6340594 h 7458372"/>
              <a:gd name="connsiteX7018" fmla="*/ 10454145 w 10505529"/>
              <a:gd name="connsiteY7018" fmla="*/ 6319562 h 7458372"/>
              <a:gd name="connsiteX7019" fmla="*/ 10475977 w 10505529"/>
              <a:gd name="connsiteY7019" fmla="*/ 6311042 h 7458372"/>
              <a:gd name="connsiteX7020" fmla="*/ 10258466 w 10505529"/>
              <a:gd name="connsiteY7020" fmla="*/ 6311042 h 7458372"/>
              <a:gd name="connsiteX7021" fmla="*/ 10270313 w 10505529"/>
              <a:gd name="connsiteY7021" fmla="*/ 6313305 h 7458372"/>
              <a:gd name="connsiteX7022" fmla="*/ 10279631 w 10505529"/>
              <a:gd name="connsiteY7022" fmla="*/ 6319694 h 7458372"/>
              <a:gd name="connsiteX7023" fmla="*/ 10285754 w 10505529"/>
              <a:gd name="connsiteY7023" fmla="*/ 6329013 h 7458372"/>
              <a:gd name="connsiteX7024" fmla="*/ 10288017 w 10505529"/>
              <a:gd name="connsiteY7024" fmla="*/ 6340461 h 7458372"/>
              <a:gd name="connsiteX7025" fmla="*/ 10285754 w 10505529"/>
              <a:gd name="connsiteY7025" fmla="*/ 6352176 h 7458372"/>
              <a:gd name="connsiteX7026" fmla="*/ 10279631 w 10505529"/>
              <a:gd name="connsiteY7026" fmla="*/ 6361627 h 7458372"/>
              <a:gd name="connsiteX7027" fmla="*/ 10270313 w 10505529"/>
              <a:gd name="connsiteY7027" fmla="*/ 6367884 h 7458372"/>
              <a:gd name="connsiteX7028" fmla="*/ 10258466 w 10505529"/>
              <a:gd name="connsiteY7028" fmla="*/ 6370147 h 7458372"/>
              <a:gd name="connsiteX7029" fmla="*/ 10236633 w 10505529"/>
              <a:gd name="connsiteY7029" fmla="*/ 6361760 h 7458372"/>
              <a:gd name="connsiteX7030" fmla="*/ 10228247 w 10505529"/>
              <a:gd name="connsiteY7030" fmla="*/ 6340594 h 7458372"/>
              <a:gd name="connsiteX7031" fmla="*/ 10236633 w 10505529"/>
              <a:gd name="connsiteY7031" fmla="*/ 6319562 h 7458372"/>
              <a:gd name="connsiteX7032" fmla="*/ 10258466 w 10505529"/>
              <a:gd name="connsiteY7032" fmla="*/ 6311042 h 7458372"/>
              <a:gd name="connsiteX7033" fmla="*/ 10040820 w 10505529"/>
              <a:gd name="connsiteY7033" fmla="*/ 6311042 h 7458372"/>
              <a:gd name="connsiteX7034" fmla="*/ 10052534 w 10505529"/>
              <a:gd name="connsiteY7034" fmla="*/ 6313305 h 7458372"/>
              <a:gd name="connsiteX7035" fmla="*/ 10061852 w 10505529"/>
              <a:gd name="connsiteY7035" fmla="*/ 6319694 h 7458372"/>
              <a:gd name="connsiteX7036" fmla="*/ 10067976 w 10505529"/>
              <a:gd name="connsiteY7036" fmla="*/ 6329013 h 7458372"/>
              <a:gd name="connsiteX7037" fmla="*/ 10070239 w 10505529"/>
              <a:gd name="connsiteY7037" fmla="*/ 6340461 h 7458372"/>
              <a:gd name="connsiteX7038" fmla="*/ 10067976 w 10505529"/>
              <a:gd name="connsiteY7038" fmla="*/ 6352176 h 7458372"/>
              <a:gd name="connsiteX7039" fmla="*/ 10061852 w 10505529"/>
              <a:gd name="connsiteY7039" fmla="*/ 6361627 h 7458372"/>
              <a:gd name="connsiteX7040" fmla="*/ 10052534 w 10505529"/>
              <a:gd name="connsiteY7040" fmla="*/ 6367884 h 7458372"/>
              <a:gd name="connsiteX7041" fmla="*/ 10040820 w 10505529"/>
              <a:gd name="connsiteY7041" fmla="*/ 6370147 h 7458372"/>
              <a:gd name="connsiteX7042" fmla="*/ 10018988 w 10505529"/>
              <a:gd name="connsiteY7042" fmla="*/ 6361760 h 7458372"/>
              <a:gd name="connsiteX7043" fmla="*/ 10010602 w 10505529"/>
              <a:gd name="connsiteY7043" fmla="*/ 6340594 h 7458372"/>
              <a:gd name="connsiteX7044" fmla="*/ 10018988 w 10505529"/>
              <a:gd name="connsiteY7044" fmla="*/ 6319562 h 7458372"/>
              <a:gd name="connsiteX7045" fmla="*/ 10040820 w 10505529"/>
              <a:gd name="connsiteY7045" fmla="*/ 6311042 h 7458372"/>
              <a:gd name="connsiteX7046" fmla="*/ 9823176 w 10505529"/>
              <a:gd name="connsiteY7046" fmla="*/ 6311042 h 7458372"/>
              <a:gd name="connsiteX7047" fmla="*/ 9834890 w 10505529"/>
              <a:gd name="connsiteY7047" fmla="*/ 6313305 h 7458372"/>
              <a:gd name="connsiteX7048" fmla="*/ 9844208 w 10505529"/>
              <a:gd name="connsiteY7048" fmla="*/ 6319694 h 7458372"/>
              <a:gd name="connsiteX7049" fmla="*/ 9850331 w 10505529"/>
              <a:gd name="connsiteY7049" fmla="*/ 6329013 h 7458372"/>
              <a:gd name="connsiteX7050" fmla="*/ 9852595 w 10505529"/>
              <a:gd name="connsiteY7050" fmla="*/ 6340461 h 7458372"/>
              <a:gd name="connsiteX7051" fmla="*/ 9850331 w 10505529"/>
              <a:gd name="connsiteY7051" fmla="*/ 6352176 h 7458372"/>
              <a:gd name="connsiteX7052" fmla="*/ 9844208 w 10505529"/>
              <a:gd name="connsiteY7052" fmla="*/ 6361627 h 7458372"/>
              <a:gd name="connsiteX7053" fmla="*/ 9834890 w 10505529"/>
              <a:gd name="connsiteY7053" fmla="*/ 6367884 h 7458372"/>
              <a:gd name="connsiteX7054" fmla="*/ 9823176 w 10505529"/>
              <a:gd name="connsiteY7054" fmla="*/ 6370147 h 7458372"/>
              <a:gd name="connsiteX7055" fmla="*/ 9801343 w 10505529"/>
              <a:gd name="connsiteY7055" fmla="*/ 6361760 h 7458372"/>
              <a:gd name="connsiteX7056" fmla="*/ 9792957 w 10505529"/>
              <a:gd name="connsiteY7056" fmla="*/ 6340594 h 7458372"/>
              <a:gd name="connsiteX7057" fmla="*/ 9801343 w 10505529"/>
              <a:gd name="connsiteY7057" fmla="*/ 6319562 h 7458372"/>
              <a:gd name="connsiteX7058" fmla="*/ 9823176 w 10505529"/>
              <a:gd name="connsiteY7058" fmla="*/ 6311042 h 7458372"/>
              <a:gd name="connsiteX7059" fmla="*/ 9605531 w 10505529"/>
              <a:gd name="connsiteY7059" fmla="*/ 6311042 h 7458372"/>
              <a:gd name="connsiteX7060" fmla="*/ 9617245 w 10505529"/>
              <a:gd name="connsiteY7060" fmla="*/ 6313305 h 7458372"/>
              <a:gd name="connsiteX7061" fmla="*/ 9626562 w 10505529"/>
              <a:gd name="connsiteY7061" fmla="*/ 6319694 h 7458372"/>
              <a:gd name="connsiteX7062" fmla="*/ 9632686 w 10505529"/>
              <a:gd name="connsiteY7062" fmla="*/ 6329013 h 7458372"/>
              <a:gd name="connsiteX7063" fmla="*/ 9634949 w 10505529"/>
              <a:gd name="connsiteY7063" fmla="*/ 6340461 h 7458372"/>
              <a:gd name="connsiteX7064" fmla="*/ 9632686 w 10505529"/>
              <a:gd name="connsiteY7064" fmla="*/ 6352176 h 7458372"/>
              <a:gd name="connsiteX7065" fmla="*/ 9626562 w 10505529"/>
              <a:gd name="connsiteY7065" fmla="*/ 6361627 h 7458372"/>
              <a:gd name="connsiteX7066" fmla="*/ 9617245 w 10505529"/>
              <a:gd name="connsiteY7066" fmla="*/ 6367884 h 7458372"/>
              <a:gd name="connsiteX7067" fmla="*/ 9605531 w 10505529"/>
              <a:gd name="connsiteY7067" fmla="*/ 6370147 h 7458372"/>
              <a:gd name="connsiteX7068" fmla="*/ 9583698 w 10505529"/>
              <a:gd name="connsiteY7068" fmla="*/ 6361760 h 7458372"/>
              <a:gd name="connsiteX7069" fmla="*/ 9575312 w 10505529"/>
              <a:gd name="connsiteY7069" fmla="*/ 6340594 h 7458372"/>
              <a:gd name="connsiteX7070" fmla="*/ 9583698 w 10505529"/>
              <a:gd name="connsiteY7070" fmla="*/ 6319562 h 7458372"/>
              <a:gd name="connsiteX7071" fmla="*/ 9605531 w 10505529"/>
              <a:gd name="connsiteY7071" fmla="*/ 6311042 h 7458372"/>
              <a:gd name="connsiteX7072" fmla="*/ 9387885 w 10505529"/>
              <a:gd name="connsiteY7072" fmla="*/ 6311042 h 7458372"/>
              <a:gd name="connsiteX7073" fmla="*/ 9399599 w 10505529"/>
              <a:gd name="connsiteY7073" fmla="*/ 6313305 h 7458372"/>
              <a:gd name="connsiteX7074" fmla="*/ 9408917 w 10505529"/>
              <a:gd name="connsiteY7074" fmla="*/ 6319694 h 7458372"/>
              <a:gd name="connsiteX7075" fmla="*/ 9415041 w 10505529"/>
              <a:gd name="connsiteY7075" fmla="*/ 6329013 h 7458372"/>
              <a:gd name="connsiteX7076" fmla="*/ 9417304 w 10505529"/>
              <a:gd name="connsiteY7076" fmla="*/ 6340461 h 7458372"/>
              <a:gd name="connsiteX7077" fmla="*/ 9415041 w 10505529"/>
              <a:gd name="connsiteY7077" fmla="*/ 6352176 h 7458372"/>
              <a:gd name="connsiteX7078" fmla="*/ 9408917 w 10505529"/>
              <a:gd name="connsiteY7078" fmla="*/ 6361627 h 7458372"/>
              <a:gd name="connsiteX7079" fmla="*/ 9399599 w 10505529"/>
              <a:gd name="connsiteY7079" fmla="*/ 6367884 h 7458372"/>
              <a:gd name="connsiteX7080" fmla="*/ 9387885 w 10505529"/>
              <a:gd name="connsiteY7080" fmla="*/ 6370147 h 7458372"/>
              <a:gd name="connsiteX7081" fmla="*/ 9366053 w 10505529"/>
              <a:gd name="connsiteY7081" fmla="*/ 6361760 h 7458372"/>
              <a:gd name="connsiteX7082" fmla="*/ 9357667 w 10505529"/>
              <a:gd name="connsiteY7082" fmla="*/ 6340594 h 7458372"/>
              <a:gd name="connsiteX7083" fmla="*/ 9366053 w 10505529"/>
              <a:gd name="connsiteY7083" fmla="*/ 6319562 h 7458372"/>
              <a:gd name="connsiteX7084" fmla="*/ 9387885 w 10505529"/>
              <a:gd name="connsiteY7084" fmla="*/ 6311042 h 7458372"/>
              <a:gd name="connsiteX7085" fmla="*/ 9170374 w 10505529"/>
              <a:gd name="connsiteY7085" fmla="*/ 6311042 h 7458372"/>
              <a:gd name="connsiteX7086" fmla="*/ 9182088 w 10505529"/>
              <a:gd name="connsiteY7086" fmla="*/ 6313305 h 7458372"/>
              <a:gd name="connsiteX7087" fmla="*/ 9191405 w 10505529"/>
              <a:gd name="connsiteY7087" fmla="*/ 6319694 h 7458372"/>
              <a:gd name="connsiteX7088" fmla="*/ 9197529 w 10505529"/>
              <a:gd name="connsiteY7088" fmla="*/ 6329013 h 7458372"/>
              <a:gd name="connsiteX7089" fmla="*/ 9199792 w 10505529"/>
              <a:gd name="connsiteY7089" fmla="*/ 6340461 h 7458372"/>
              <a:gd name="connsiteX7090" fmla="*/ 9197529 w 10505529"/>
              <a:gd name="connsiteY7090" fmla="*/ 6352176 h 7458372"/>
              <a:gd name="connsiteX7091" fmla="*/ 9191405 w 10505529"/>
              <a:gd name="connsiteY7091" fmla="*/ 6361627 h 7458372"/>
              <a:gd name="connsiteX7092" fmla="*/ 9182088 w 10505529"/>
              <a:gd name="connsiteY7092" fmla="*/ 6367884 h 7458372"/>
              <a:gd name="connsiteX7093" fmla="*/ 9170374 w 10505529"/>
              <a:gd name="connsiteY7093" fmla="*/ 6370147 h 7458372"/>
              <a:gd name="connsiteX7094" fmla="*/ 9148541 w 10505529"/>
              <a:gd name="connsiteY7094" fmla="*/ 6361760 h 7458372"/>
              <a:gd name="connsiteX7095" fmla="*/ 9140155 w 10505529"/>
              <a:gd name="connsiteY7095" fmla="*/ 6340594 h 7458372"/>
              <a:gd name="connsiteX7096" fmla="*/ 9148541 w 10505529"/>
              <a:gd name="connsiteY7096" fmla="*/ 6319562 h 7458372"/>
              <a:gd name="connsiteX7097" fmla="*/ 9170374 w 10505529"/>
              <a:gd name="connsiteY7097" fmla="*/ 6311042 h 7458372"/>
              <a:gd name="connsiteX7098" fmla="*/ 8952728 w 10505529"/>
              <a:gd name="connsiteY7098" fmla="*/ 6311042 h 7458372"/>
              <a:gd name="connsiteX7099" fmla="*/ 8964442 w 10505529"/>
              <a:gd name="connsiteY7099" fmla="*/ 6313305 h 7458372"/>
              <a:gd name="connsiteX7100" fmla="*/ 8973760 w 10505529"/>
              <a:gd name="connsiteY7100" fmla="*/ 6319694 h 7458372"/>
              <a:gd name="connsiteX7101" fmla="*/ 8979884 w 10505529"/>
              <a:gd name="connsiteY7101" fmla="*/ 6329013 h 7458372"/>
              <a:gd name="connsiteX7102" fmla="*/ 8982147 w 10505529"/>
              <a:gd name="connsiteY7102" fmla="*/ 6340461 h 7458372"/>
              <a:gd name="connsiteX7103" fmla="*/ 8979884 w 10505529"/>
              <a:gd name="connsiteY7103" fmla="*/ 6352176 h 7458372"/>
              <a:gd name="connsiteX7104" fmla="*/ 8973760 w 10505529"/>
              <a:gd name="connsiteY7104" fmla="*/ 6361627 h 7458372"/>
              <a:gd name="connsiteX7105" fmla="*/ 8964442 w 10505529"/>
              <a:gd name="connsiteY7105" fmla="*/ 6367884 h 7458372"/>
              <a:gd name="connsiteX7106" fmla="*/ 8952728 w 10505529"/>
              <a:gd name="connsiteY7106" fmla="*/ 6370147 h 7458372"/>
              <a:gd name="connsiteX7107" fmla="*/ 8930896 w 10505529"/>
              <a:gd name="connsiteY7107" fmla="*/ 6361760 h 7458372"/>
              <a:gd name="connsiteX7108" fmla="*/ 8922510 w 10505529"/>
              <a:gd name="connsiteY7108" fmla="*/ 6340594 h 7458372"/>
              <a:gd name="connsiteX7109" fmla="*/ 8930896 w 10505529"/>
              <a:gd name="connsiteY7109" fmla="*/ 6319562 h 7458372"/>
              <a:gd name="connsiteX7110" fmla="*/ 8952728 w 10505529"/>
              <a:gd name="connsiteY7110" fmla="*/ 6311042 h 7458372"/>
              <a:gd name="connsiteX7111" fmla="*/ 8735083 w 10505529"/>
              <a:gd name="connsiteY7111" fmla="*/ 6311042 h 7458372"/>
              <a:gd name="connsiteX7112" fmla="*/ 8746797 w 10505529"/>
              <a:gd name="connsiteY7112" fmla="*/ 6313305 h 7458372"/>
              <a:gd name="connsiteX7113" fmla="*/ 8756115 w 10505529"/>
              <a:gd name="connsiteY7113" fmla="*/ 6319694 h 7458372"/>
              <a:gd name="connsiteX7114" fmla="*/ 8762238 w 10505529"/>
              <a:gd name="connsiteY7114" fmla="*/ 6329013 h 7458372"/>
              <a:gd name="connsiteX7115" fmla="*/ 8764502 w 10505529"/>
              <a:gd name="connsiteY7115" fmla="*/ 6340461 h 7458372"/>
              <a:gd name="connsiteX7116" fmla="*/ 8762238 w 10505529"/>
              <a:gd name="connsiteY7116" fmla="*/ 6352176 h 7458372"/>
              <a:gd name="connsiteX7117" fmla="*/ 8756115 w 10505529"/>
              <a:gd name="connsiteY7117" fmla="*/ 6361627 h 7458372"/>
              <a:gd name="connsiteX7118" fmla="*/ 8746797 w 10505529"/>
              <a:gd name="connsiteY7118" fmla="*/ 6367884 h 7458372"/>
              <a:gd name="connsiteX7119" fmla="*/ 8735083 w 10505529"/>
              <a:gd name="connsiteY7119" fmla="*/ 6370147 h 7458372"/>
              <a:gd name="connsiteX7120" fmla="*/ 8713250 w 10505529"/>
              <a:gd name="connsiteY7120" fmla="*/ 6361760 h 7458372"/>
              <a:gd name="connsiteX7121" fmla="*/ 8704864 w 10505529"/>
              <a:gd name="connsiteY7121" fmla="*/ 6340594 h 7458372"/>
              <a:gd name="connsiteX7122" fmla="*/ 8713250 w 10505529"/>
              <a:gd name="connsiteY7122" fmla="*/ 6319562 h 7458372"/>
              <a:gd name="connsiteX7123" fmla="*/ 8735083 w 10505529"/>
              <a:gd name="connsiteY7123" fmla="*/ 6311042 h 7458372"/>
              <a:gd name="connsiteX7124" fmla="*/ 8517438 w 10505529"/>
              <a:gd name="connsiteY7124" fmla="*/ 6311042 h 7458372"/>
              <a:gd name="connsiteX7125" fmla="*/ 8529152 w 10505529"/>
              <a:gd name="connsiteY7125" fmla="*/ 6313305 h 7458372"/>
              <a:gd name="connsiteX7126" fmla="*/ 8538470 w 10505529"/>
              <a:gd name="connsiteY7126" fmla="*/ 6319694 h 7458372"/>
              <a:gd name="connsiteX7127" fmla="*/ 8544594 w 10505529"/>
              <a:gd name="connsiteY7127" fmla="*/ 6329013 h 7458372"/>
              <a:gd name="connsiteX7128" fmla="*/ 8546857 w 10505529"/>
              <a:gd name="connsiteY7128" fmla="*/ 6340461 h 7458372"/>
              <a:gd name="connsiteX7129" fmla="*/ 8544594 w 10505529"/>
              <a:gd name="connsiteY7129" fmla="*/ 6352176 h 7458372"/>
              <a:gd name="connsiteX7130" fmla="*/ 8538470 w 10505529"/>
              <a:gd name="connsiteY7130" fmla="*/ 6361627 h 7458372"/>
              <a:gd name="connsiteX7131" fmla="*/ 8529152 w 10505529"/>
              <a:gd name="connsiteY7131" fmla="*/ 6367884 h 7458372"/>
              <a:gd name="connsiteX7132" fmla="*/ 8517438 w 10505529"/>
              <a:gd name="connsiteY7132" fmla="*/ 6370147 h 7458372"/>
              <a:gd name="connsiteX7133" fmla="*/ 8495606 w 10505529"/>
              <a:gd name="connsiteY7133" fmla="*/ 6361760 h 7458372"/>
              <a:gd name="connsiteX7134" fmla="*/ 8487220 w 10505529"/>
              <a:gd name="connsiteY7134" fmla="*/ 6340594 h 7458372"/>
              <a:gd name="connsiteX7135" fmla="*/ 8495606 w 10505529"/>
              <a:gd name="connsiteY7135" fmla="*/ 6319562 h 7458372"/>
              <a:gd name="connsiteX7136" fmla="*/ 8517438 w 10505529"/>
              <a:gd name="connsiteY7136" fmla="*/ 6311042 h 7458372"/>
              <a:gd name="connsiteX7137" fmla="*/ 8299793 w 10505529"/>
              <a:gd name="connsiteY7137" fmla="*/ 6311042 h 7458372"/>
              <a:gd name="connsiteX7138" fmla="*/ 8311507 w 10505529"/>
              <a:gd name="connsiteY7138" fmla="*/ 6313305 h 7458372"/>
              <a:gd name="connsiteX7139" fmla="*/ 8320825 w 10505529"/>
              <a:gd name="connsiteY7139" fmla="*/ 6319694 h 7458372"/>
              <a:gd name="connsiteX7140" fmla="*/ 8326948 w 10505529"/>
              <a:gd name="connsiteY7140" fmla="*/ 6329013 h 7458372"/>
              <a:gd name="connsiteX7141" fmla="*/ 8329212 w 10505529"/>
              <a:gd name="connsiteY7141" fmla="*/ 6340461 h 7458372"/>
              <a:gd name="connsiteX7142" fmla="*/ 8326948 w 10505529"/>
              <a:gd name="connsiteY7142" fmla="*/ 6352176 h 7458372"/>
              <a:gd name="connsiteX7143" fmla="*/ 8320825 w 10505529"/>
              <a:gd name="connsiteY7143" fmla="*/ 6361627 h 7458372"/>
              <a:gd name="connsiteX7144" fmla="*/ 8311507 w 10505529"/>
              <a:gd name="connsiteY7144" fmla="*/ 6367884 h 7458372"/>
              <a:gd name="connsiteX7145" fmla="*/ 8299793 w 10505529"/>
              <a:gd name="connsiteY7145" fmla="*/ 6370147 h 7458372"/>
              <a:gd name="connsiteX7146" fmla="*/ 8277960 w 10505529"/>
              <a:gd name="connsiteY7146" fmla="*/ 6361760 h 7458372"/>
              <a:gd name="connsiteX7147" fmla="*/ 8269574 w 10505529"/>
              <a:gd name="connsiteY7147" fmla="*/ 6340594 h 7458372"/>
              <a:gd name="connsiteX7148" fmla="*/ 8277960 w 10505529"/>
              <a:gd name="connsiteY7148" fmla="*/ 6319562 h 7458372"/>
              <a:gd name="connsiteX7149" fmla="*/ 8299793 w 10505529"/>
              <a:gd name="connsiteY7149" fmla="*/ 6311042 h 7458372"/>
              <a:gd name="connsiteX7150" fmla="*/ 8082281 w 10505529"/>
              <a:gd name="connsiteY7150" fmla="*/ 6311042 h 7458372"/>
              <a:gd name="connsiteX7151" fmla="*/ 8094127 w 10505529"/>
              <a:gd name="connsiteY7151" fmla="*/ 6313305 h 7458372"/>
              <a:gd name="connsiteX7152" fmla="*/ 8103446 w 10505529"/>
              <a:gd name="connsiteY7152" fmla="*/ 6319694 h 7458372"/>
              <a:gd name="connsiteX7153" fmla="*/ 8109569 w 10505529"/>
              <a:gd name="connsiteY7153" fmla="*/ 6329013 h 7458372"/>
              <a:gd name="connsiteX7154" fmla="*/ 8111832 w 10505529"/>
              <a:gd name="connsiteY7154" fmla="*/ 6340461 h 7458372"/>
              <a:gd name="connsiteX7155" fmla="*/ 8109569 w 10505529"/>
              <a:gd name="connsiteY7155" fmla="*/ 6352176 h 7458372"/>
              <a:gd name="connsiteX7156" fmla="*/ 8103446 w 10505529"/>
              <a:gd name="connsiteY7156" fmla="*/ 6361627 h 7458372"/>
              <a:gd name="connsiteX7157" fmla="*/ 8094127 w 10505529"/>
              <a:gd name="connsiteY7157" fmla="*/ 6367884 h 7458372"/>
              <a:gd name="connsiteX7158" fmla="*/ 8082281 w 10505529"/>
              <a:gd name="connsiteY7158" fmla="*/ 6370147 h 7458372"/>
              <a:gd name="connsiteX7159" fmla="*/ 8060448 w 10505529"/>
              <a:gd name="connsiteY7159" fmla="*/ 6361760 h 7458372"/>
              <a:gd name="connsiteX7160" fmla="*/ 8052062 w 10505529"/>
              <a:gd name="connsiteY7160" fmla="*/ 6340594 h 7458372"/>
              <a:gd name="connsiteX7161" fmla="*/ 8060448 w 10505529"/>
              <a:gd name="connsiteY7161" fmla="*/ 6319562 h 7458372"/>
              <a:gd name="connsiteX7162" fmla="*/ 8082281 w 10505529"/>
              <a:gd name="connsiteY7162" fmla="*/ 6311042 h 7458372"/>
              <a:gd name="connsiteX7163" fmla="*/ 7864636 w 10505529"/>
              <a:gd name="connsiteY7163" fmla="*/ 6311042 h 7458372"/>
              <a:gd name="connsiteX7164" fmla="*/ 7876483 w 10505529"/>
              <a:gd name="connsiteY7164" fmla="*/ 6313305 h 7458372"/>
              <a:gd name="connsiteX7165" fmla="*/ 7885802 w 10505529"/>
              <a:gd name="connsiteY7165" fmla="*/ 6319694 h 7458372"/>
              <a:gd name="connsiteX7166" fmla="*/ 7891924 w 10505529"/>
              <a:gd name="connsiteY7166" fmla="*/ 6329013 h 7458372"/>
              <a:gd name="connsiteX7167" fmla="*/ 7894188 w 10505529"/>
              <a:gd name="connsiteY7167" fmla="*/ 6340461 h 7458372"/>
              <a:gd name="connsiteX7168" fmla="*/ 7891924 w 10505529"/>
              <a:gd name="connsiteY7168" fmla="*/ 6352176 h 7458372"/>
              <a:gd name="connsiteX7169" fmla="*/ 7885802 w 10505529"/>
              <a:gd name="connsiteY7169" fmla="*/ 6361627 h 7458372"/>
              <a:gd name="connsiteX7170" fmla="*/ 7876483 w 10505529"/>
              <a:gd name="connsiteY7170" fmla="*/ 6367884 h 7458372"/>
              <a:gd name="connsiteX7171" fmla="*/ 7864636 w 10505529"/>
              <a:gd name="connsiteY7171" fmla="*/ 6370147 h 7458372"/>
              <a:gd name="connsiteX7172" fmla="*/ 7842803 w 10505529"/>
              <a:gd name="connsiteY7172" fmla="*/ 6361760 h 7458372"/>
              <a:gd name="connsiteX7173" fmla="*/ 7834417 w 10505529"/>
              <a:gd name="connsiteY7173" fmla="*/ 6340594 h 7458372"/>
              <a:gd name="connsiteX7174" fmla="*/ 7842803 w 10505529"/>
              <a:gd name="connsiteY7174" fmla="*/ 6319562 h 7458372"/>
              <a:gd name="connsiteX7175" fmla="*/ 7864636 w 10505529"/>
              <a:gd name="connsiteY7175" fmla="*/ 6311042 h 7458372"/>
              <a:gd name="connsiteX7176" fmla="*/ 7646991 w 10505529"/>
              <a:gd name="connsiteY7176" fmla="*/ 6311042 h 7458372"/>
              <a:gd name="connsiteX7177" fmla="*/ 7658705 w 10505529"/>
              <a:gd name="connsiteY7177" fmla="*/ 6313305 h 7458372"/>
              <a:gd name="connsiteX7178" fmla="*/ 7668022 w 10505529"/>
              <a:gd name="connsiteY7178" fmla="*/ 6319694 h 7458372"/>
              <a:gd name="connsiteX7179" fmla="*/ 7674146 w 10505529"/>
              <a:gd name="connsiteY7179" fmla="*/ 6329013 h 7458372"/>
              <a:gd name="connsiteX7180" fmla="*/ 7676409 w 10505529"/>
              <a:gd name="connsiteY7180" fmla="*/ 6340461 h 7458372"/>
              <a:gd name="connsiteX7181" fmla="*/ 7674146 w 10505529"/>
              <a:gd name="connsiteY7181" fmla="*/ 6352176 h 7458372"/>
              <a:gd name="connsiteX7182" fmla="*/ 7668022 w 10505529"/>
              <a:gd name="connsiteY7182" fmla="*/ 6361627 h 7458372"/>
              <a:gd name="connsiteX7183" fmla="*/ 7658705 w 10505529"/>
              <a:gd name="connsiteY7183" fmla="*/ 6367884 h 7458372"/>
              <a:gd name="connsiteX7184" fmla="*/ 7646991 w 10505529"/>
              <a:gd name="connsiteY7184" fmla="*/ 6370147 h 7458372"/>
              <a:gd name="connsiteX7185" fmla="*/ 7625158 w 10505529"/>
              <a:gd name="connsiteY7185" fmla="*/ 6361760 h 7458372"/>
              <a:gd name="connsiteX7186" fmla="*/ 7616772 w 10505529"/>
              <a:gd name="connsiteY7186" fmla="*/ 6340594 h 7458372"/>
              <a:gd name="connsiteX7187" fmla="*/ 7625158 w 10505529"/>
              <a:gd name="connsiteY7187" fmla="*/ 6319562 h 7458372"/>
              <a:gd name="connsiteX7188" fmla="*/ 7646991 w 10505529"/>
              <a:gd name="connsiteY7188" fmla="*/ 6311042 h 7458372"/>
              <a:gd name="connsiteX7189" fmla="*/ 7429345 w 10505529"/>
              <a:gd name="connsiteY7189" fmla="*/ 6311042 h 7458372"/>
              <a:gd name="connsiteX7190" fmla="*/ 7441059 w 10505529"/>
              <a:gd name="connsiteY7190" fmla="*/ 6313305 h 7458372"/>
              <a:gd name="connsiteX7191" fmla="*/ 7450377 w 10505529"/>
              <a:gd name="connsiteY7191" fmla="*/ 6319694 h 7458372"/>
              <a:gd name="connsiteX7192" fmla="*/ 7456501 w 10505529"/>
              <a:gd name="connsiteY7192" fmla="*/ 6329013 h 7458372"/>
              <a:gd name="connsiteX7193" fmla="*/ 7458764 w 10505529"/>
              <a:gd name="connsiteY7193" fmla="*/ 6340461 h 7458372"/>
              <a:gd name="connsiteX7194" fmla="*/ 7456501 w 10505529"/>
              <a:gd name="connsiteY7194" fmla="*/ 6352176 h 7458372"/>
              <a:gd name="connsiteX7195" fmla="*/ 7450377 w 10505529"/>
              <a:gd name="connsiteY7195" fmla="*/ 6361627 h 7458372"/>
              <a:gd name="connsiteX7196" fmla="*/ 7441059 w 10505529"/>
              <a:gd name="connsiteY7196" fmla="*/ 6367884 h 7458372"/>
              <a:gd name="connsiteX7197" fmla="*/ 7429345 w 10505529"/>
              <a:gd name="connsiteY7197" fmla="*/ 6370147 h 7458372"/>
              <a:gd name="connsiteX7198" fmla="*/ 7407513 w 10505529"/>
              <a:gd name="connsiteY7198" fmla="*/ 6361760 h 7458372"/>
              <a:gd name="connsiteX7199" fmla="*/ 7399127 w 10505529"/>
              <a:gd name="connsiteY7199" fmla="*/ 6340594 h 7458372"/>
              <a:gd name="connsiteX7200" fmla="*/ 7407513 w 10505529"/>
              <a:gd name="connsiteY7200" fmla="*/ 6319562 h 7458372"/>
              <a:gd name="connsiteX7201" fmla="*/ 7429345 w 10505529"/>
              <a:gd name="connsiteY7201" fmla="*/ 6311042 h 7458372"/>
              <a:gd name="connsiteX7202" fmla="*/ 7211701 w 10505529"/>
              <a:gd name="connsiteY7202" fmla="*/ 6311042 h 7458372"/>
              <a:gd name="connsiteX7203" fmla="*/ 7223415 w 10505529"/>
              <a:gd name="connsiteY7203" fmla="*/ 6313305 h 7458372"/>
              <a:gd name="connsiteX7204" fmla="*/ 7232733 w 10505529"/>
              <a:gd name="connsiteY7204" fmla="*/ 6319694 h 7458372"/>
              <a:gd name="connsiteX7205" fmla="*/ 7238856 w 10505529"/>
              <a:gd name="connsiteY7205" fmla="*/ 6329013 h 7458372"/>
              <a:gd name="connsiteX7206" fmla="*/ 7241120 w 10505529"/>
              <a:gd name="connsiteY7206" fmla="*/ 6340461 h 7458372"/>
              <a:gd name="connsiteX7207" fmla="*/ 7238856 w 10505529"/>
              <a:gd name="connsiteY7207" fmla="*/ 6352176 h 7458372"/>
              <a:gd name="connsiteX7208" fmla="*/ 7232733 w 10505529"/>
              <a:gd name="connsiteY7208" fmla="*/ 6361627 h 7458372"/>
              <a:gd name="connsiteX7209" fmla="*/ 7223415 w 10505529"/>
              <a:gd name="connsiteY7209" fmla="*/ 6367884 h 7458372"/>
              <a:gd name="connsiteX7210" fmla="*/ 7211701 w 10505529"/>
              <a:gd name="connsiteY7210" fmla="*/ 6370147 h 7458372"/>
              <a:gd name="connsiteX7211" fmla="*/ 7189868 w 10505529"/>
              <a:gd name="connsiteY7211" fmla="*/ 6361760 h 7458372"/>
              <a:gd name="connsiteX7212" fmla="*/ 7181482 w 10505529"/>
              <a:gd name="connsiteY7212" fmla="*/ 6340594 h 7458372"/>
              <a:gd name="connsiteX7213" fmla="*/ 7189868 w 10505529"/>
              <a:gd name="connsiteY7213" fmla="*/ 6319562 h 7458372"/>
              <a:gd name="connsiteX7214" fmla="*/ 7211701 w 10505529"/>
              <a:gd name="connsiteY7214" fmla="*/ 6311042 h 7458372"/>
              <a:gd name="connsiteX7215" fmla="*/ 6994056 w 10505529"/>
              <a:gd name="connsiteY7215" fmla="*/ 6311042 h 7458372"/>
              <a:gd name="connsiteX7216" fmla="*/ 7005769 w 10505529"/>
              <a:gd name="connsiteY7216" fmla="*/ 6313305 h 7458372"/>
              <a:gd name="connsiteX7217" fmla="*/ 7015087 w 10505529"/>
              <a:gd name="connsiteY7217" fmla="*/ 6319694 h 7458372"/>
              <a:gd name="connsiteX7218" fmla="*/ 7021211 w 10505529"/>
              <a:gd name="connsiteY7218" fmla="*/ 6329013 h 7458372"/>
              <a:gd name="connsiteX7219" fmla="*/ 7023474 w 10505529"/>
              <a:gd name="connsiteY7219" fmla="*/ 6340461 h 7458372"/>
              <a:gd name="connsiteX7220" fmla="*/ 7021211 w 10505529"/>
              <a:gd name="connsiteY7220" fmla="*/ 6352176 h 7458372"/>
              <a:gd name="connsiteX7221" fmla="*/ 7015087 w 10505529"/>
              <a:gd name="connsiteY7221" fmla="*/ 6361627 h 7458372"/>
              <a:gd name="connsiteX7222" fmla="*/ 7005769 w 10505529"/>
              <a:gd name="connsiteY7222" fmla="*/ 6367884 h 7458372"/>
              <a:gd name="connsiteX7223" fmla="*/ 6994056 w 10505529"/>
              <a:gd name="connsiteY7223" fmla="*/ 6370147 h 7458372"/>
              <a:gd name="connsiteX7224" fmla="*/ 6972223 w 10505529"/>
              <a:gd name="connsiteY7224" fmla="*/ 6361760 h 7458372"/>
              <a:gd name="connsiteX7225" fmla="*/ 6963837 w 10505529"/>
              <a:gd name="connsiteY7225" fmla="*/ 6340594 h 7458372"/>
              <a:gd name="connsiteX7226" fmla="*/ 6972223 w 10505529"/>
              <a:gd name="connsiteY7226" fmla="*/ 6319562 h 7458372"/>
              <a:gd name="connsiteX7227" fmla="*/ 6994056 w 10505529"/>
              <a:gd name="connsiteY7227" fmla="*/ 6311042 h 7458372"/>
              <a:gd name="connsiteX7228" fmla="*/ 6776544 w 10505529"/>
              <a:gd name="connsiteY7228" fmla="*/ 6311042 h 7458372"/>
              <a:gd name="connsiteX7229" fmla="*/ 6788258 w 10505529"/>
              <a:gd name="connsiteY7229" fmla="*/ 6313305 h 7458372"/>
              <a:gd name="connsiteX7230" fmla="*/ 6797576 w 10505529"/>
              <a:gd name="connsiteY7230" fmla="*/ 6319694 h 7458372"/>
              <a:gd name="connsiteX7231" fmla="*/ 6803699 w 10505529"/>
              <a:gd name="connsiteY7231" fmla="*/ 6329013 h 7458372"/>
              <a:gd name="connsiteX7232" fmla="*/ 6805963 w 10505529"/>
              <a:gd name="connsiteY7232" fmla="*/ 6340461 h 7458372"/>
              <a:gd name="connsiteX7233" fmla="*/ 6803699 w 10505529"/>
              <a:gd name="connsiteY7233" fmla="*/ 6352176 h 7458372"/>
              <a:gd name="connsiteX7234" fmla="*/ 6797576 w 10505529"/>
              <a:gd name="connsiteY7234" fmla="*/ 6361627 h 7458372"/>
              <a:gd name="connsiteX7235" fmla="*/ 6788258 w 10505529"/>
              <a:gd name="connsiteY7235" fmla="*/ 6367884 h 7458372"/>
              <a:gd name="connsiteX7236" fmla="*/ 6776544 w 10505529"/>
              <a:gd name="connsiteY7236" fmla="*/ 6370147 h 7458372"/>
              <a:gd name="connsiteX7237" fmla="*/ 6754711 w 10505529"/>
              <a:gd name="connsiteY7237" fmla="*/ 6361760 h 7458372"/>
              <a:gd name="connsiteX7238" fmla="*/ 6746325 w 10505529"/>
              <a:gd name="connsiteY7238" fmla="*/ 6340594 h 7458372"/>
              <a:gd name="connsiteX7239" fmla="*/ 6754711 w 10505529"/>
              <a:gd name="connsiteY7239" fmla="*/ 6319562 h 7458372"/>
              <a:gd name="connsiteX7240" fmla="*/ 6776544 w 10505529"/>
              <a:gd name="connsiteY7240" fmla="*/ 6311042 h 7458372"/>
              <a:gd name="connsiteX7241" fmla="*/ 6558899 w 10505529"/>
              <a:gd name="connsiteY7241" fmla="*/ 6311042 h 7458372"/>
              <a:gd name="connsiteX7242" fmla="*/ 6570612 w 10505529"/>
              <a:gd name="connsiteY7242" fmla="*/ 6313305 h 7458372"/>
              <a:gd name="connsiteX7243" fmla="*/ 6579930 w 10505529"/>
              <a:gd name="connsiteY7243" fmla="*/ 6319694 h 7458372"/>
              <a:gd name="connsiteX7244" fmla="*/ 6586054 w 10505529"/>
              <a:gd name="connsiteY7244" fmla="*/ 6329013 h 7458372"/>
              <a:gd name="connsiteX7245" fmla="*/ 6588317 w 10505529"/>
              <a:gd name="connsiteY7245" fmla="*/ 6340461 h 7458372"/>
              <a:gd name="connsiteX7246" fmla="*/ 6586054 w 10505529"/>
              <a:gd name="connsiteY7246" fmla="*/ 6352176 h 7458372"/>
              <a:gd name="connsiteX7247" fmla="*/ 6579930 w 10505529"/>
              <a:gd name="connsiteY7247" fmla="*/ 6361627 h 7458372"/>
              <a:gd name="connsiteX7248" fmla="*/ 6570612 w 10505529"/>
              <a:gd name="connsiteY7248" fmla="*/ 6367884 h 7458372"/>
              <a:gd name="connsiteX7249" fmla="*/ 6558899 w 10505529"/>
              <a:gd name="connsiteY7249" fmla="*/ 6370147 h 7458372"/>
              <a:gd name="connsiteX7250" fmla="*/ 6537066 w 10505529"/>
              <a:gd name="connsiteY7250" fmla="*/ 6361760 h 7458372"/>
              <a:gd name="connsiteX7251" fmla="*/ 6528680 w 10505529"/>
              <a:gd name="connsiteY7251" fmla="*/ 6340594 h 7458372"/>
              <a:gd name="connsiteX7252" fmla="*/ 6537066 w 10505529"/>
              <a:gd name="connsiteY7252" fmla="*/ 6319562 h 7458372"/>
              <a:gd name="connsiteX7253" fmla="*/ 6558899 w 10505529"/>
              <a:gd name="connsiteY7253" fmla="*/ 6311042 h 7458372"/>
              <a:gd name="connsiteX7254" fmla="*/ 6341253 w 10505529"/>
              <a:gd name="connsiteY7254" fmla="*/ 6311042 h 7458372"/>
              <a:gd name="connsiteX7255" fmla="*/ 6352968 w 10505529"/>
              <a:gd name="connsiteY7255" fmla="*/ 6313305 h 7458372"/>
              <a:gd name="connsiteX7256" fmla="*/ 6362286 w 10505529"/>
              <a:gd name="connsiteY7256" fmla="*/ 6319694 h 7458372"/>
              <a:gd name="connsiteX7257" fmla="*/ 6368409 w 10505529"/>
              <a:gd name="connsiteY7257" fmla="*/ 6329013 h 7458372"/>
              <a:gd name="connsiteX7258" fmla="*/ 6370672 w 10505529"/>
              <a:gd name="connsiteY7258" fmla="*/ 6340461 h 7458372"/>
              <a:gd name="connsiteX7259" fmla="*/ 6368409 w 10505529"/>
              <a:gd name="connsiteY7259" fmla="*/ 6352176 h 7458372"/>
              <a:gd name="connsiteX7260" fmla="*/ 6362286 w 10505529"/>
              <a:gd name="connsiteY7260" fmla="*/ 6361627 h 7458372"/>
              <a:gd name="connsiteX7261" fmla="*/ 6352968 w 10505529"/>
              <a:gd name="connsiteY7261" fmla="*/ 6367884 h 7458372"/>
              <a:gd name="connsiteX7262" fmla="*/ 6341253 w 10505529"/>
              <a:gd name="connsiteY7262" fmla="*/ 6370147 h 7458372"/>
              <a:gd name="connsiteX7263" fmla="*/ 6319421 w 10505529"/>
              <a:gd name="connsiteY7263" fmla="*/ 6361760 h 7458372"/>
              <a:gd name="connsiteX7264" fmla="*/ 6311035 w 10505529"/>
              <a:gd name="connsiteY7264" fmla="*/ 6340594 h 7458372"/>
              <a:gd name="connsiteX7265" fmla="*/ 6319421 w 10505529"/>
              <a:gd name="connsiteY7265" fmla="*/ 6319562 h 7458372"/>
              <a:gd name="connsiteX7266" fmla="*/ 6341253 w 10505529"/>
              <a:gd name="connsiteY7266" fmla="*/ 6311042 h 7458372"/>
              <a:gd name="connsiteX7267" fmla="*/ 6123608 w 10505529"/>
              <a:gd name="connsiteY7267" fmla="*/ 6311042 h 7458372"/>
              <a:gd name="connsiteX7268" fmla="*/ 6135322 w 10505529"/>
              <a:gd name="connsiteY7268" fmla="*/ 6313305 h 7458372"/>
              <a:gd name="connsiteX7269" fmla="*/ 6144640 w 10505529"/>
              <a:gd name="connsiteY7269" fmla="*/ 6319694 h 7458372"/>
              <a:gd name="connsiteX7270" fmla="*/ 6150763 w 10505529"/>
              <a:gd name="connsiteY7270" fmla="*/ 6329013 h 7458372"/>
              <a:gd name="connsiteX7271" fmla="*/ 6153026 w 10505529"/>
              <a:gd name="connsiteY7271" fmla="*/ 6340461 h 7458372"/>
              <a:gd name="connsiteX7272" fmla="*/ 6150763 w 10505529"/>
              <a:gd name="connsiteY7272" fmla="*/ 6352176 h 7458372"/>
              <a:gd name="connsiteX7273" fmla="*/ 6144640 w 10505529"/>
              <a:gd name="connsiteY7273" fmla="*/ 6361627 h 7458372"/>
              <a:gd name="connsiteX7274" fmla="*/ 6135322 w 10505529"/>
              <a:gd name="connsiteY7274" fmla="*/ 6367884 h 7458372"/>
              <a:gd name="connsiteX7275" fmla="*/ 6123608 w 10505529"/>
              <a:gd name="connsiteY7275" fmla="*/ 6370147 h 7458372"/>
              <a:gd name="connsiteX7276" fmla="*/ 6101775 w 10505529"/>
              <a:gd name="connsiteY7276" fmla="*/ 6361760 h 7458372"/>
              <a:gd name="connsiteX7277" fmla="*/ 6093389 w 10505529"/>
              <a:gd name="connsiteY7277" fmla="*/ 6340594 h 7458372"/>
              <a:gd name="connsiteX7278" fmla="*/ 6101775 w 10505529"/>
              <a:gd name="connsiteY7278" fmla="*/ 6319562 h 7458372"/>
              <a:gd name="connsiteX7279" fmla="*/ 6123608 w 10505529"/>
              <a:gd name="connsiteY7279" fmla="*/ 6311042 h 7458372"/>
              <a:gd name="connsiteX7280" fmla="*/ 5905963 w 10505529"/>
              <a:gd name="connsiteY7280" fmla="*/ 6311042 h 7458372"/>
              <a:gd name="connsiteX7281" fmla="*/ 5917677 w 10505529"/>
              <a:gd name="connsiteY7281" fmla="*/ 6313305 h 7458372"/>
              <a:gd name="connsiteX7282" fmla="*/ 5926995 w 10505529"/>
              <a:gd name="connsiteY7282" fmla="*/ 6319694 h 7458372"/>
              <a:gd name="connsiteX7283" fmla="*/ 5933118 w 10505529"/>
              <a:gd name="connsiteY7283" fmla="*/ 6329013 h 7458372"/>
              <a:gd name="connsiteX7284" fmla="*/ 5935381 w 10505529"/>
              <a:gd name="connsiteY7284" fmla="*/ 6340461 h 7458372"/>
              <a:gd name="connsiteX7285" fmla="*/ 5933118 w 10505529"/>
              <a:gd name="connsiteY7285" fmla="*/ 6352176 h 7458372"/>
              <a:gd name="connsiteX7286" fmla="*/ 5926995 w 10505529"/>
              <a:gd name="connsiteY7286" fmla="*/ 6361627 h 7458372"/>
              <a:gd name="connsiteX7287" fmla="*/ 5917677 w 10505529"/>
              <a:gd name="connsiteY7287" fmla="*/ 6367884 h 7458372"/>
              <a:gd name="connsiteX7288" fmla="*/ 5905963 w 10505529"/>
              <a:gd name="connsiteY7288" fmla="*/ 6370147 h 7458372"/>
              <a:gd name="connsiteX7289" fmla="*/ 5884130 w 10505529"/>
              <a:gd name="connsiteY7289" fmla="*/ 6361760 h 7458372"/>
              <a:gd name="connsiteX7290" fmla="*/ 5875744 w 10505529"/>
              <a:gd name="connsiteY7290" fmla="*/ 6340594 h 7458372"/>
              <a:gd name="connsiteX7291" fmla="*/ 5884130 w 10505529"/>
              <a:gd name="connsiteY7291" fmla="*/ 6319562 h 7458372"/>
              <a:gd name="connsiteX7292" fmla="*/ 5905963 w 10505529"/>
              <a:gd name="connsiteY7292" fmla="*/ 6311042 h 7458372"/>
              <a:gd name="connsiteX7293" fmla="*/ 5688451 w 10505529"/>
              <a:gd name="connsiteY7293" fmla="*/ 6311042 h 7458372"/>
              <a:gd name="connsiteX7294" fmla="*/ 5700165 w 10505529"/>
              <a:gd name="connsiteY7294" fmla="*/ 6313305 h 7458372"/>
              <a:gd name="connsiteX7295" fmla="*/ 5709483 w 10505529"/>
              <a:gd name="connsiteY7295" fmla="*/ 6319694 h 7458372"/>
              <a:gd name="connsiteX7296" fmla="*/ 5715606 w 10505529"/>
              <a:gd name="connsiteY7296" fmla="*/ 6329013 h 7458372"/>
              <a:gd name="connsiteX7297" fmla="*/ 5717869 w 10505529"/>
              <a:gd name="connsiteY7297" fmla="*/ 6340461 h 7458372"/>
              <a:gd name="connsiteX7298" fmla="*/ 5715606 w 10505529"/>
              <a:gd name="connsiteY7298" fmla="*/ 6352176 h 7458372"/>
              <a:gd name="connsiteX7299" fmla="*/ 5709483 w 10505529"/>
              <a:gd name="connsiteY7299" fmla="*/ 6361627 h 7458372"/>
              <a:gd name="connsiteX7300" fmla="*/ 5700165 w 10505529"/>
              <a:gd name="connsiteY7300" fmla="*/ 6367884 h 7458372"/>
              <a:gd name="connsiteX7301" fmla="*/ 5688451 w 10505529"/>
              <a:gd name="connsiteY7301" fmla="*/ 6370147 h 7458372"/>
              <a:gd name="connsiteX7302" fmla="*/ 5666618 w 10505529"/>
              <a:gd name="connsiteY7302" fmla="*/ 6361760 h 7458372"/>
              <a:gd name="connsiteX7303" fmla="*/ 5658232 w 10505529"/>
              <a:gd name="connsiteY7303" fmla="*/ 6340594 h 7458372"/>
              <a:gd name="connsiteX7304" fmla="*/ 5666618 w 10505529"/>
              <a:gd name="connsiteY7304" fmla="*/ 6319562 h 7458372"/>
              <a:gd name="connsiteX7305" fmla="*/ 5688451 w 10505529"/>
              <a:gd name="connsiteY7305" fmla="*/ 6311042 h 7458372"/>
              <a:gd name="connsiteX7306" fmla="*/ 5470806 w 10505529"/>
              <a:gd name="connsiteY7306" fmla="*/ 6311042 h 7458372"/>
              <a:gd name="connsiteX7307" fmla="*/ 5482520 w 10505529"/>
              <a:gd name="connsiteY7307" fmla="*/ 6313305 h 7458372"/>
              <a:gd name="connsiteX7308" fmla="*/ 5491838 w 10505529"/>
              <a:gd name="connsiteY7308" fmla="*/ 6319694 h 7458372"/>
              <a:gd name="connsiteX7309" fmla="*/ 5497961 w 10505529"/>
              <a:gd name="connsiteY7309" fmla="*/ 6329013 h 7458372"/>
              <a:gd name="connsiteX7310" fmla="*/ 5500224 w 10505529"/>
              <a:gd name="connsiteY7310" fmla="*/ 6340461 h 7458372"/>
              <a:gd name="connsiteX7311" fmla="*/ 5497961 w 10505529"/>
              <a:gd name="connsiteY7311" fmla="*/ 6352176 h 7458372"/>
              <a:gd name="connsiteX7312" fmla="*/ 5491838 w 10505529"/>
              <a:gd name="connsiteY7312" fmla="*/ 6361627 h 7458372"/>
              <a:gd name="connsiteX7313" fmla="*/ 5482520 w 10505529"/>
              <a:gd name="connsiteY7313" fmla="*/ 6367884 h 7458372"/>
              <a:gd name="connsiteX7314" fmla="*/ 5470806 w 10505529"/>
              <a:gd name="connsiteY7314" fmla="*/ 6370147 h 7458372"/>
              <a:gd name="connsiteX7315" fmla="*/ 5448973 w 10505529"/>
              <a:gd name="connsiteY7315" fmla="*/ 6361760 h 7458372"/>
              <a:gd name="connsiteX7316" fmla="*/ 5440587 w 10505529"/>
              <a:gd name="connsiteY7316" fmla="*/ 6340594 h 7458372"/>
              <a:gd name="connsiteX7317" fmla="*/ 5448973 w 10505529"/>
              <a:gd name="connsiteY7317" fmla="*/ 6319562 h 7458372"/>
              <a:gd name="connsiteX7318" fmla="*/ 5470806 w 10505529"/>
              <a:gd name="connsiteY7318" fmla="*/ 6311042 h 7458372"/>
              <a:gd name="connsiteX7319" fmla="*/ 5253160 w 10505529"/>
              <a:gd name="connsiteY7319" fmla="*/ 6311042 h 7458372"/>
              <a:gd name="connsiteX7320" fmla="*/ 5264875 w 10505529"/>
              <a:gd name="connsiteY7320" fmla="*/ 6313305 h 7458372"/>
              <a:gd name="connsiteX7321" fmla="*/ 5274192 w 10505529"/>
              <a:gd name="connsiteY7321" fmla="*/ 6319694 h 7458372"/>
              <a:gd name="connsiteX7322" fmla="*/ 5280316 w 10505529"/>
              <a:gd name="connsiteY7322" fmla="*/ 6329013 h 7458372"/>
              <a:gd name="connsiteX7323" fmla="*/ 5282579 w 10505529"/>
              <a:gd name="connsiteY7323" fmla="*/ 6340461 h 7458372"/>
              <a:gd name="connsiteX7324" fmla="*/ 5280316 w 10505529"/>
              <a:gd name="connsiteY7324" fmla="*/ 6352176 h 7458372"/>
              <a:gd name="connsiteX7325" fmla="*/ 5274192 w 10505529"/>
              <a:gd name="connsiteY7325" fmla="*/ 6361627 h 7458372"/>
              <a:gd name="connsiteX7326" fmla="*/ 5264875 w 10505529"/>
              <a:gd name="connsiteY7326" fmla="*/ 6367884 h 7458372"/>
              <a:gd name="connsiteX7327" fmla="*/ 5253160 w 10505529"/>
              <a:gd name="connsiteY7327" fmla="*/ 6370147 h 7458372"/>
              <a:gd name="connsiteX7328" fmla="*/ 5231328 w 10505529"/>
              <a:gd name="connsiteY7328" fmla="*/ 6361760 h 7458372"/>
              <a:gd name="connsiteX7329" fmla="*/ 5222942 w 10505529"/>
              <a:gd name="connsiteY7329" fmla="*/ 6340594 h 7458372"/>
              <a:gd name="connsiteX7330" fmla="*/ 5231328 w 10505529"/>
              <a:gd name="connsiteY7330" fmla="*/ 6319562 h 7458372"/>
              <a:gd name="connsiteX7331" fmla="*/ 5253160 w 10505529"/>
              <a:gd name="connsiteY7331" fmla="*/ 6311042 h 7458372"/>
              <a:gd name="connsiteX7332" fmla="*/ 5035515 w 10505529"/>
              <a:gd name="connsiteY7332" fmla="*/ 6311042 h 7458372"/>
              <a:gd name="connsiteX7333" fmla="*/ 5047230 w 10505529"/>
              <a:gd name="connsiteY7333" fmla="*/ 6313305 h 7458372"/>
              <a:gd name="connsiteX7334" fmla="*/ 5056548 w 10505529"/>
              <a:gd name="connsiteY7334" fmla="*/ 6319694 h 7458372"/>
              <a:gd name="connsiteX7335" fmla="*/ 5062671 w 10505529"/>
              <a:gd name="connsiteY7335" fmla="*/ 6329013 h 7458372"/>
              <a:gd name="connsiteX7336" fmla="*/ 5064934 w 10505529"/>
              <a:gd name="connsiteY7336" fmla="*/ 6340461 h 7458372"/>
              <a:gd name="connsiteX7337" fmla="*/ 5062671 w 10505529"/>
              <a:gd name="connsiteY7337" fmla="*/ 6352176 h 7458372"/>
              <a:gd name="connsiteX7338" fmla="*/ 5056548 w 10505529"/>
              <a:gd name="connsiteY7338" fmla="*/ 6361627 h 7458372"/>
              <a:gd name="connsiteX7339" fmla="*/ 5047230 w 10505529"/>
              <a:gd name="connsiteY7339" fmla="*/ 6367884 h 7458372"/>
              <a:gd name="connsiteX7340" fmla="*/ 5035515 w 10505529"/>
              <a:gd name="connsiteY7340" fmla="*/ 6370147 h 7458372"/>
              <a:gd name="connsiteX7341" fmla="*/ 5013683 w 10505529"/>
              <a:gd name="connsiteY7341" fmla="*/ 6361760 h 7458372"/>
              <a:gd name="connsiteX7342" fmla="*/ 5005297 w 10505529"/>
              <a:gd name="connsiteY7342" fmla="*/ 6340594 h 7458372"/>
              <a:gd name="connsiteX7343" fmla="*/ 5013683 w 10505529"/>
              <a:gd name="connsiteY7343" fmla="*/ 6319562 h 7458372"/>
              <a:gd name="connsiteX7344" fmla="*/ 5035515 w 10505529"/>
              <a:gd name="connsiteY7344" fmla="*/ 6311042 h 7458372"/>
              <a:gd name="connsiteX7345" fmla="*/ 4817870 w 10505529"/>
              <a:gd name="connsiteY7345" fmla="*/ 6311042 h 7458372"/>
              <a:gd name="connsiteX7346" fmla="*/ 4829585 w 10505529"/>
              <a:gd name="connsiteY7346" fmla="*/ 6313305 h 7458372"/>
              <a:gd name="connsiteX7347" fmla="*/ 4838903 w 10505529"/>
              <a:gd name="connsiteY7347" fmla="*/ 6319694 h 7458372"/>
              <a:gd name="connsiteX7348" fmla="*/ 4845026 w 10505529"/>
              <a:gd name="connsiteY7348" fmla="*/ 6329013 h 7458372"/>
              <a:gd name="connsiteX7349" fmla="*/ 4847289 w 10505529"/>
              <a:gd name="connsiteY7349" fmla="*/ 6340461 h 7458372"/>
              <a:gd name="connsiteX7350" fmla="*/ 4845026 w 10505529"/>
              <a:gd name="connsiteY7350" fmla="*/ 6352176 h 7458372"/>
              <a:gd name="connsiteX7351" fmla="*/ 4838903 w 10505529"/>
              <a:gd name="connsiteY7351" fmla="*/ 6361627 h 7458372"/>
              <a:gd name="connsiteX7352" fmla="*/ 4829585 w 10505529"/>
              <a:gd name="connsiteY7352" fmla="*/ 6367884 h 7458372"/>
              <a:gd name="connsiteX7353" fmla="*/ 4817870 w 10505529"/>
              <a:gd name="connsiteY7353" fmla="*/ 6370147 h 7458372"/>
              <a:gd name="connsiteX7354" fmla="*/ 4796038 w 10505529"/>
              <a:gd name="connsiteY7354" fmla="*/ 6361760 h 7458372"/>
              <a:gd name="connsiteX7355" fmla="*/ 4787652 w 10505529"/>
              <a:gd name="connsiteY7355" fmla="*/ 6340594 h 7458372"/>
              <a:gd name="connsiteX7356" fmla="*/ 4796038 w 10505529"/>
              <a:gd name="connsiteY7356" fmla="*/ 6319562 h 7458372"/>
              <a:gd name="connsiteX7357" fmla="*/ 4817870 w 10505529"/>
              <a:gd name="connsiteY7357" fmla="*/ 6311042 h 7458372"/>
              <a:gd name="connsiteX7358" fmla="*/ 4600226 w 10505529"/>
              <a:gd name="connsiteY7358" fmla="*/ 6311042 h 7458372"/>
              <a:gd name="connsiteX7359" fmla="*/ 4612073 w 10505529"/>
              <a:gd name="connsiteY7359" fmla="*/ 6313305 h 7458372"/>
              <a:gd name="connsiteX7360" fmla="*/ 4621391 w 10505529"/>
              <a:gd name="connsiteY7360" fmla="*/ 6319694 h 7458372"/>
              <a:gd name="connsiteX7361" fmla="*/ 4627514 w 10505529"/>
              <a:gd name="connsiteY7361" fmla="*/ 6329013 h 7458372"/>
              <a:gd name="connsiteX7362" fmla="*/ 4629777 w 10505529"/>
              <a:gd name="connsiteY7362" fmla="*/ 6340461 h 7458372"/>
              <a:gd name="connsiteX7363" fmla="*/ 4627514 w 10505529"/>
              <a:gd name="connsiteY7363" fmla="*/ 6352176 h 7458372"/>
              <a:gd name="connsiteX7364" fmla="*/ 4621391 w 10505529"/>
              <a:gd name="connsiteY7364" fmla="*/ 6361627 h 7458372"/>
              <a:gd name="connsiteX7365" fmla="*/ 4612073 w 10505529"/>
              <a:gd name="connsiteY7365" fmla="*/ 6367884 h 7458372"/>
              <a:gd name="connsiteX7366" fmla="*/ 4600226 w 10505529"/>
              <a:gd name="connsiteY7366" fmla="*/ 6370147 h 7458372"/>
              <a:gd name="connsiteX7367" fmla="*/ 4578393 w 10505529"/>
              <a:gd name="connsiteY7367" fmla="*/ 6361760 h 7458372"/>
              <a:gd name="connsiteX7368" fmla="*/ 4570007 w 10505529"/>
              <a:gd name="connsiteY7368" fmla="*/ 6340594 h 7458372"/>
              <a:gd name="connsiteX7369" fmla="*/ 4578393 w 10505529"/>
              <a:gd name="connsiteY7369" fmla="*/ 6319562 h 7458372"/>
              <a:gd name="connsiteX7370" fmla="*/ 4600226 w 10505529"/>
              <a:gd name="connsiteY7370" fmla="*/ 6311042 h 7458372"/>
              <a:gd name="connsiteX7371" fmla="*/ 4382713 w 10505529"/>
              <a:gd name="connsiteY7371" fmla="*/ 6311042 h 7458372"/>
              <a:gd name="connsiteX7372" fmla="*/ 4394428 w 10505529"/>
              <a:gd name="connsiteY7372" fmla="*/ 6313305 h 7458372"/>
              <a:gd name="connsiteX7373" fmla="*/ 4403746 w 10505529"/>
              <a:gd name="connsiteY7373" fmla="*/ 6319694 h 7458372"/>
              <a:gd name="connsiteX7374" fmla="*/ 4409869 w 10505529"/>
              <a:gd name="connsiteY7374" fmla="*/ 6329013 h 7458372"/>
              <a:gd name="connsiteX7375" fmla="*/ 4412132 w 10505529"/>
              <a:gd name="connsiteY7375" fmla="*/ 6340461 h 7458372"/>
              <a:gd name="connsiteX7376" fmla="*/ 4409869 w 10505529"/>
              <a:gd name="connsiteY7376" fmla="*/ 6352176 h 7458372"/>
              <a:gd name="connsiteX7377" fmla="*/ 4403746 w 10505529"/>
              <a:gd name="connsiteY7377" fmla="*/ 6361627 h 7458372"/>
              <a:gd name="connsiteX7378" fmla="*/ 4394428 w 10505529"/>
              <a:gd name="connsiteY7378" fmla="*/ 6367884 h 7458372"/>
              <a:gd name="connsiteX7379" fmla="*/ 4382713 w 10505529"/>
              <a:gd name="connsiteY7379" fmla="*/ 6370147 h 7458372"/>
              <a:gd name="connsiteX7380" fmla="*/ 4360881 w 10505529"/>
              <a:gd name="connsiteY7380" fmla="*/ 6361760 h 7458372"/>
              <a:gd name="connsiteX7381" fmla="*/ 4352495 w 10505529"/>
              <a:gd name="connsiteY7381" fmla="*/ 6340594 h 7458372"/>
              <a:gd name="connsiteX7382" fmla="*/ 4360881 w 10505529"/>
              <a:gd name="connsiteY7382" fmla="*/ 6319562 h 7458372"/>
              <a:gd name="connsiteX7383" fmla="*/ 4382713 w 10505529"/>
              <a:gd name="connsiteY7383" fmla="*/ 6311042 h 7458372"/>
              <a:gd name="connsiteX7384" fmla="*/ 4165068 w 10505529"/>
              <a:gd name="connsiteY7384" fmla="*/ 6311042 h 7458372"/>
              <a:gd name="connsiteX7385" fmla="*/ 4176782 w 10505529"/>
              <a:gd name="connsiteY7385" fmla="*/ 6313305 h 7458372"/>
              <a:gd name="connsiteX7386" fmla="*/ 4186100 w 10505529"/>
              <a:gd name="connsiteY7386" fmla="*/ 6319694 h 7458372"/>
              <a:gd name="connsiteX7387" fmla="*/ 4192223 w 10505529"/>
              <a:gd name="connsiteY7387" fmla="*/ 6329013 h 7458372"/>
              <a:gd name="connsiteX7388" fmla="*/ 4194486 w 10505529"/>
              <a:gd name="connsiteY7388" fmla="*/ 6340461 h 7458372"/>
              <a:gd name="connsiteX7389" fmla="*/ 4192223 w 10505529"/>
              <a:gd name="connsiteY7389" fmla="*/ 6352176 h 7458372"/>
              <a:gd name="connsiteX7390" fmla="*/ 4186100 w 10505529"/>
              <a:gd name="connsiteY7390" fmla="*/ 6361627 h 7458372"/>
              <a:gd name="connsiteX7391" fmla="*/ 4176782 w 10505529"/>
              <a:gd name="connsiteY7391" fmla="*/ 6367884 h 7458372"/>
              <a:gd name="connsiteX7392" fmla="*/ 4165068 w 10505529"/>
              <a:gd name="connsiteY7392" fmla="*/ 6370147 h 7458372"/>
              <a:gd name="connsiteX7393" fmla="*/ 4143235 w 10505529"/>
              <a:gd name="connsiteY7393" fmla="*/ 6361760 h 7458372"/>
              <a:gd name="connsiteX7394" fmla="*/ 4134849 w 10505529"/>
              <a:gd name="connsiteY7394" fmla="*/ 6340594 h 7458372"/>
              <a:gd name="connsiteX7395" fmla="*/ 4143235 w 10505529"/>
              <a:gd name="connsiteY7395" fmla="*/ 6319562 h 7458372"/>
              <a:gd name="connsiteX7396" fmla="*/ 4165068 w 10505529"/>
              <a:gd name="connsiteY7396" fmla="*/ 6311042 h 7458372"/>
              <a:gd name="connsiteX7397" fmla="*/ 3947767 w 10505529"/>
              <a:gd name="connsiteY7397" fmla="*/ 6311042 h 7458372"/>
              <a:gd name="connsiteX7398" fmla="*/ 3959486 w 10505529"/>
              <a:gd name="connsiteY7398" fmla="*/ 6313305 h 7458372"/>
              <a:gd name="connsiteX7399" fmla="*/ 3968804 w 10505529"/>
              <a:gd name="connsiteY7399" fmla="*/ 6319694 h 7458372"/>
              <a:gd name="connsiteX7400" fmla="*/ 3974928 w 10505529"/>
              <a:gd name="connsiteY7400" fmla="*/ 6329013 h 7458372"/>
              <a:gd name="connsiteX7401" fmla="*/ 3977192 w 10505529"/>
              <a:gd name="connsiteY7401" fmla="*/ 6340461 h 7458372"/>
              <a:gd name="connsiteX7402" fmla="*/ 3974928 w 10505529"/>
              <a:gd name="connsiteY7402" fmla="*/ 6352176 h 7458372"/>
              <a:gd name="connsiteX7403" fmla="*/ 3968804 w 10505529"/>
              <a:gd name="connsiteY7403" fmla="*/ 6361627 h 7458372"/>
              <a:gd name="connsiteX7404" fmla="*/ 3959486 w 10505529"/>
              <a:gd name="connsiteY7404" fmla="*/ 6367884 h 7458372"/>
              <a:gd name="connsiteX7405" fmla="*/ 3947767 w 10505529"/>
              <a:gd name="connsiteY7405" fmla="*/ 6370147 h 7458372"/>
              <a:gd name="connsiteX7406" fmla="*/ 3925934 w 10505529"/>
              <a:gd name="connsiteY7406" fmla="*/ 6361760 h 7458372"/>
              <a:gd name="connsiteX7407" fmla="*/ 3917548 w 10505529"/>
              <a:gd name="connsiteY7407" fmla="*/ 6340594 h 7458372"/>
              <a:gd name="connsiteX7408" fmla="*/ 3925934 w 10505529"/>
              <a:gd name="connsiteY7408" fmla="*/ 6319562 h 7458372"/>
              <a:gd name="connsiteX7409" fmla="*/ 3947767 w 10505529"/>
              <a:gd name="connsiteY7409" fmla="*/ 6311042 h 7458372"/>
              <a:gd name="connsiteX7410" fmla="*/ 3730107 w 10505529"/>
              <a:gd name="connsiteY7410" fmla="*/ 6311042 h 7458372"/>
              <a:gd name="connsiteX7411" fmla="*/ 3741823 w 10505529"/>
              <a:gd name="connsiteY7411" fmla="*/ 6313305 h 7458372"/>
              <a:gd name="connsiteX7412" fmla="*/ 3751141 w 10505529"/>
              <a:gd name="connsiteY7412" fmla="*/ 6319694 h 7458372"/>
              <a:gd name="connsiteX7413" fmla="*/ 3757264 w 10505529"/>
              <a:gd name="connsiteY7413" fmla="*/ 6329013 h 7458372"/>
              <a:gd name="connsiteX7414" fmla="*/ 3759527 w 10505529"/>
              <a:gd name="connsiteY7414" fmla="*/ 6340461 h 7458372"/>
              <a:gd name="connsiteX7415" fmla="*/ 3757264 w 10505529"/>
              <a:gd name="connsiteY7415" fmla="*/ 6352176 h 7458372"/>
              <a:gd name="connsiteX7416" fmla="*/ 3751141 w 10505529"/>
              <a:gd name="connsiteY7416" fmla="*/ 6361627 h 7458372"/>
              <a:gd name="connsiteX7417" fmla="*/ 3741823 w 10505529"/>
              <a:gd name="connsiteY7417" fmla="*/ 6367884 h 7458372"/>
              <a:gd name="connsiteX7418" fmla="*/ 3730107 w 10505529"/>
              <a:gd name="connsiteY7418" fmla="*/ 6370147 h 7458372"/>
              <a:gd name="connsiteX7419" fmla="*/ 3708265 w 10505529"/>
              <a:gd name="connsiteY7419" fmla="*/ 6361760 h 7458372"/>
              <a:gd name="connsiteX7420" fmla="*/ 3699879 w 10505529"/>
              <a:gd name="connsiteY7420" fmla="*/ 6340594 h 7458372"/>
              <a:gd name="connsiteX7421" fmla="*/ 3708265 w 10505529"/>
              <a:gd name="connsiteY7421" fmla="*/ 6319562 h 7458372"/>
              <a:gd name="connsiteX7422" fmla="*/ 3730107 w 10505529"/>
              <a:gd name="connsiteY7422" fmla="*/ 6311042 h 7458372"/>
              <a:gd name="connsiteX7423" fmla="*/ 3512444 w 10505529"/>
              <a:gd name="connsiteY7423" fmla="*/ 6311042 h 7458372"/>
              <a:gd name="connsiteX7424" fmla="*/ 3524160 w 10505529"/>
              <a:gd name="connsiteY7424" fmla="*/ 6313305 h 7458372"/>
              <a:gd name="connsiteX7425" fmla="*/ 3533478 w 10505529"/>
              <a:gd name="connsiteY7425" fmla="*/ 6319694 h 7458372"/>
              <a:gd name="connsiteX7426" fmla="*/ 3539601 w 10505529"/>
              <a:gd name="connsiteY7426" fmla="*/ 6329013 h 7458372"/>
              <a:gd name="connsiteX7427" fmla="*/ 3541864 w 10505529"/>
              <a:gd name="connsiteY7427" fmla="*/ 6340461 h 7458372"/>
              <a:gd name="connsiteX7428" fmla="*/ 3539601 w 10505529"/>
              <a:gd name="connsiteY7428" fmla="*/ 6352176 h 7458372"/>
              <a:gd name="connsiteX7429" fmla="*/ 3533478 w 10505529"/>
              <a:gd name="connsiteY7429" fmla="*/ 6361627 h 7458372"/>
              <a:gd name="connsiteX7430" fmla="*/ 3524160 w 10505529"/>
              <a:gd name="connsiteY7430" fmla="*/ 6367884 h 7458372"/>
              <a:gd name="connsiteX7431" fmla="*/ 3512444 w 10505529"/>
              <a:gd name="connsiteY7431" fmla="*/ 6370147 h 7458372"/>
              <a:gd name="connsiteX7432" fmla="*/ 3490606 w 10505529"/>
              <a:gd name="connsiteY7432" fmla="*/ 6361760 h 7458372"/>
              <a:gd name="connsiteX7433" fmla="*/ 3482220 w 10505529"/>
              <a:gd name="connsiteY7433" fmla="*/ 6340594 h 7458372"/>
              <a:gd name="connsiteX7434" fmla="*/ 3490606 w 10505529"/>
              <a:gd name="connsiteY7434" fmla="*/ 6319562 h 7458372"/>
              <a:gd name="connsiteX7435" fmla="*/ 3512444 w 10505529"/>
              <a:gd name="connsiteY7435" fmla="*/ 6311042 h 7458372"/>
              <a:gd name="connsiteX7436" fmla="*/ 3294914 w 10505529"/>
              <a:gd name="connsiteY7436" fmla="*/ 6311042 h 7458372"/>
              <a:gd name="connsiteX7437" fmla="*/ 3306630 w 10505529"/>
              <a:gd name="connsiteY7437" fmla="*/ 6313305 h 7458372"/>
              <a:gd name="connsiteX7438" fmla="*/ 3315948 w 10505529"/>
              <a:gd name="connsiteY7438" fmla="*/ 6319694 h 7458372"/>
              <a:gd name="connsiteX7439" fmla="*/ 3322071 w 10505529"/>
              <a:gd name="connsiteY7439" fmla="*/ 6329013 h 7458372"/>
              <a:gd name="connsiteX7440" fmla="*/ 3324334 w 10505529"/>
              <a:gd name="connsiteY7440" fmla="*/ 6340461 h 7458372"/>
              <a:gd name="connsiteX7441" fmla="*/ 3322071 w 10505529"/>
              <a:gd name="connsiteY7441" fmla="*/ 6352176 h 7458372"/>
              <a:gd name="connsiteX7442" fmla="*/ 3315948 w 10505529"/>
              <a:gd name="connsiteY7442" fmla="*/ 6361627 h 7458372"/>
              <a:gd name="connsiteX7443" fmla="*/ 3306630 w 10505529"/>
              <a:gd name="connsiteY7443" fmla="*/ 6367884 h 7458372"/>
              <a:gd name="connsiteX7444" fmla="*/ 3294914 w 10505529"/>
              <a:gd name="connsiteY7444" fmla="*/ 6370147 h 7458372"/>
              <a:gd name="connsiteX7445" fmla="*/ 3273075 w 10505529"/>
              <a:gd name="connsiteY7445" fmla="*/ 6361760 h 7458372"/>
              <a:gd name="connsiteX7446" fmla="*/ 3264687 w 10505529"/>
              <a:gd name="connsiteY7446" fmla="*/ 6340594 h 7458372"/>
              <a:gd name="connsiteX7447" fmla="*/ 3273075 w 10505529"/>
              <a:gd name="connsiteY7447" fmla="*/ 6319562 h 7458372"/>
              <a:gd name="connsiteX7448" fmla="*/ 3294914 w 10505529"/>
              <a:gd name="connsiteY7448" fmla="*/ 6311042 h 7458372"/>
              <a:gd name="connsiteX7449" fmla="*/ 3077251 w 10505529"/>
              <a:gd name="connsiteY7449" fmla="*/ 6311042 h 7458372"/>
              <a:gd name="connsiteX7450" fmla="*/ 3088966 w 10505529"/>
              <a:gd name="connsiteY7450" fmla="*/ 6313305 h 7458372"/>
              <a:gd name="connsiteX7451" fmla="*/ 3098284 w 10505529"/>
              <a:gd name="connsiteY7451" fmla="*/ 6319694 h 7458372"/>
              <a:gd name="connsiteX7452" fmla="*/ 3104408 w 10505529"/>
              <a:gd name="connsiteY7452" fmla="*/ 6329013 h 7458372"/>
              <a:gd name="connsiteX7453" fmla="*/ 3106671 w 10505529"/>
              <a:gd name="connsiteY7453" fmla="*/ 6340461 h 7458372"/>
              <a:gd name="connsiteX7454" fmla="*/ 3104408 w 10505529"/>
              <a:gd name="connsiteY7454" fmla="*/ 6352176 h 7458372"/>
              <a:gd name="connsiteX7455" fmla="*/ 3098284 w 10505529"/>
              <a:gd name="connsiteY7455" fmla="*/ 6361627 h 7458372"/>
              <a:gd name="connsiteX7456" fmla="*/ 3088966 w 10505529"/>
              <a:gd name="connsiteY7456" fmla="*/ 6367884 h 7458372"/>
              <a:gd name="connsiteX7457" fmla="*/ 3077251 w 10505529"/>
              <a:gd name="connsiteY7457" fmla="*/ 6370147 h 7458372"/>
              <a:gd name="connsiteX7458" fmla="*/ 3055411 w 10505529"/>
              <a:gd name="connsiteY7458" fmla="*/ 6361760 h 7458372"/>
              <a:gd name="connsiteX7459" fmla="*/ 3047025 w 10505529"/>
              <a:gd name="connsiteY7459" fmla="*/ 6340594 h 7458372"/>
              <a:gd name="connsiteX7460" fmla="*/ 3055411 w 10505529"/>
              <a:gd name="connsiteY7460" fmla="*/ 6319562 h 7458372"/>
              <a:gd name="connsiteX7461" fmla="*/ 3077251 w 10505529"/>
              <a:gd name="connsiteY7461" fmla="*/ 6311042 h 7458372"/>
              <a:gd name="connsiteX7462" fmla="*/ 2859588 w 10505529"/>
              <a:gd name="connsiteY7462" fmla="*/ 6311042 h 7458372"/>
              <a:gd name="connsiteX7463" fmla="*/ 2871436 w 10505529"/>
              <a:gd name="connsiteY7463" fmla="*/ 6313305 h 7458372"/>
              <a:gd name="connsiteX7464" fmla="*/ 2880754 w 10505529"/>
              <a:gd name="connsiteY7464" fmla="*/ 6319694 h 7458372"/>
              <a:gd name="connsiteX7465" fmla="*/ 2886877 w 10505529"/>
              <a:gd name="connsiteY7465" fmla="*/ 6329013 h 7458372"/>
              <a:gd name="connsiteX7466" fmla="*/ 2889140 w 10505529"/>
              <a:gd name="connsiteY7466" fmla="*/ 6340461 h 7458372"/>
              <a:gd name="connsiteX7467" fmla="*/ 2886877 w 10505529"/>
              <a:gd name="connsiteY7467" fmla="*/ 6352176 h 7458372"/>
              <a:gd name="connsiteX7468" fmla="*/ 2880754 w 10505529"/>
              <a:gd name="connsiteY7468" fmla="*/ 6361627 h 7458372"/>
              <a:gd name="connsiteX7469" fmla="*/ 2871436 w 10505529"/>
              <a:gd name="connsiteY7469" fmla="*/ 6367884 h 7458372"/>
              <a:gd name="connsiteX7470" fmla="*/ 2859588 w 10505529"/>
              <a:gd name="connsiteY7470" fmla="*/ 6370147 h 7458372"/>
              <a:gd name="connsiteX7471" fmla="*/ 2837749 w 10505529"/>
              <a:gd name="connsiteY7471" fmla="*/ 6361760 h 7458372"/>
              <a:gd name="connsiteX7472" fmla="*/ 2829361 w 10505529"/>
              <a:gd name="connsiteY7472" fmla="*/ 6340594 h 7458372"/>
              <a:gd name="connsiteX7473" fmla="*/ 2837749 w 10505529"/>
              <a:gd name="connsiteY7473" fmla="*/ 6319562 h 7458372"/>
              <a:gd name="connsiteX7474" fmla="*/ 2859588 w 10505529"/>
              <a:gd name="connsiteY7474" fmla="*/ 6311042 h 7458372"/>
              <a:gd name="connsiteX7475" fmla="*/ 2641924 w 10505529"/>
              <a:gd name="connsiteY7475" fmla="*/ 6311042 h 7458372"/>
              <a:gd name="connsiteX7476" fmla="*/ 2653640 w 10505529"/>
              <a:gd name="connsiteY7476" fmla="*/ 6313305 h 7458372"/>
              <a:gd name="connsiteX7477" fmla="*/ 2662958 w 10505529"/>
              <a:gd name="connsiteY7477" fmla="*/ 6319694 h 7458372"/>
              <a:gd name="connsiteX7478" fmla="*/ 2669081 w 10505529"/>
              <a:gd name="connsiteY7478" fmla="*/ 6329013 h 7458372"/>
              <a:gd name="connsiteX7479" fmla="*/ 2671344 w 10505529"/>
              <a:gd name="connsiteY7479" fmla="*/ 6340461 h 7458372"/>
              <a:gd name="connsiteX7480" fmla="*/ 2669081 w 10505529"/>
              <a:gd name="connsiteY7480" fmla="*/ 6352176 h 7458372"/>
              <a:gd name="connsiteX7481" fmla="*/ 2662958 w 10505529"/>
              <a:gd name="connsiteY7481" fmla="*/ 6361627 h 7458372"/>
              <a:gd name="connsiteX7482" fmla="*/ 2653640 w 10505529"/>
              <a:gd name="connsiteY7482" fmla="*/ 6367884 h 7458372"/>
              <a:gd name="connsiteX7483" fmla="*/ 2641924 w 10505529"/>
              <a:gd name="connsiteY7483" fmla="*/ 6370147 h 7458372"/>
              <a:gd name="connsiteX7484" fmla="*/ 2620091 w 10505529"/>
              <a:gd name="connsiteY7484" fmla="*/ 6361760 h 7458372"/>
              <a:gd name="connsiteX7485" fmla="*/ 2611701 w 10505529"/>
              <a:gd name="connsiteY7485" fmla="*/ 6340594 h 7458372"/>
              <a:gd name="connsiteX7486" fmla="*/ 2620091 w 10505529"/>
              <a:gd name="connsiteY7486" fmla="*/ 6319562 h 7458372"/>
              <a:gd name="connsiteX7487" fmla="*/ 2641924 w 10505529"/>
              <a:gd name="connsiteY7487" fmla="*/ 6311042 h 7458372"/>
              <a:gd name="connsiteX7488" fmla="*/ 2424261 w 10505529"/>
              <a:gd name="connsiteY7488" fmla="*/ 6311042 h 7458372"/>
              <a:gd name="connsiteX7489" fmla="*/ 2435977 w 10505529"/>
              <a:gd name="connsiteY7489" fmla="*/ 6313305 h 7458372"/>
              <a:gd name="connsiteX7490" fmla="*/ 2445295 w 10505529"/>
              <a:gd name="connsiteY7490" fmla="*/ 6319694 h 7458372"/>
              <a:gd name="connsiteX7491" fmla="*/ 2451418 w 10505529"/>
              <a:gd name="connsiteY7491" fmla="*/ 6329013 h 7458372"/>
              <a:gd name="connsiteX7492" fmla="*/ 2453681 w 10505529"/>
              <a:gd name="connsiteY7492" fmla="*/ 6340461 h 7458372"/>
              <a:gd name="connsiteX7493" fmla="*/ 2451418 w 10505529"/>
              <a:gd name="connsiteY7493" fmla="*/ 6352176 h 7458372"/>
              <a:gd name="connsiteX7494" fmla="*/ 2445295 w 10505529"/>
              <a:gd name="connsiteY7494" fmla="*/ 6361627 h 7458372"/>
              <a:gd name="connsiteX7495" fmla="*/ 2435977 w 10505529"/>
              <a:gd name="connsiteY7495" fmla="*/ 6367884 h 7458372"/>
              <a:gd name="connsiteX7496" fmla="*/ 2424261 w 10505529"/>
              <a:gd name="connsiteY7496" fmla="*/ 6370147 h 7458372"/>
              <a:gd name="connsiteX7497" fmla="*/ 2402429 w 10505529"/>
              <a:gd name="connsiteY7497" fmla="*/ 6361760 h 7458372"/>
              <a:gd name="connsiteX7498" fmla="*/ 2394040 w 10505529"/>
              <a:gd name="connsiteY7498" fmla="*/ 6340594 h 7458372"/>
              <a:gd name="connsiteX7499" fmla="*/ 2402429 w 10505529"/>
              <a:gd name="connsiteY7499" fmla="*/ 6319562 h 7458372"/>
              <a:gd name="connsiteX7500" fmla="*/ 2424261 w 10505529"/>
              <a:gd name="connsiteY7500" fmla="*/ 6311042 h 7458372"/>
              <a:gd name="connsiteX7501" fmla="*/ 2206598 w 10505529"/>
              <a:gd name="connsiteY7501" fmla="*/ 6311042 h 7458372"/>
              <a:gd name="connsiteX7502" fmla="*/ 2218313 w 10505529"/>
              <a:gd name="connsiteY7502" fmla="*/ 6313305 h 7458372"/>
              <a:gd name="connsiteX7503" fmla="*/ 2227632 w 10505529"/>
              <a:gd name="connsiteY7503" fmla="*/ 6319694 h 7458372"/>
              <a:gd name="connsiteX7504" fmla="*/ 2233754 w 10505529"/>
              <a:gd name="connsiteY7504" fmla="*/ 6329013 h 7458372"/>
              <a:gd name="connsiteX7505" fmla="*/ 2236017 w 10505529"/>
              <a:gd name="connsiteY7505" fmla="*/ 6340461 h 7458372"/>
              <a:gd name="connsiteX7506" fmla="*/ 2233754 w 10505529"/>
              <a:gd name="connsiteY7506" fmla="*/ 6352176 h 7458372"/>
              <a:gd name="connsiteX7507" fmla="*/ 2227632 w 10505529"/>
              <a:gd name="connsiteY7507" fmla="*/ 6361627 h 7458372"/>
              <a:gd name="connsiteX7508" fmla="*/ 2218313 w 10505529"/>
              <a:gd name="connsiteY7508" fmla="*/ 6367884 h 7458372"/>
              <a:gd name="connsiteX7509" fmla="*/ 2206598 w 10505529"/>
              <a:gd name="connsiteY7509" fmla="*/ 6370147 h 7458372"/>
              <a:gd name="connsiteX7510" fmla="*/ 2184765 w 10505529"/>
              <a:gd name="connsiteY7510" fmla="*/ 6361760 h 7458372"/>
              <a:gd name="connsiteX7511" fmla="*/ 2176376 w 10505529"/>
              <a:gd name="connsiteY7511" fmla="*/ 6340594 h 7458372"/>
              <a:gd name="connsiteX7512" fmla="*/ 2184765 w 10505529"/>
              <a:gd name="connsiteY7512" fmla="*/ 6319562 h 7458372"/>
              <a:gd name="connsiteX7513" fmla="*/ 2206598 w 10505529"/>
              <a:gd name="connsiteY7513" fmla="*/ 6311042 h 7458372"/>
              <a:gd name="connsiteX7514" fmla="*/ 1989068 w 10505529"/>
              <a:gd name="connsiteY7514" fmla="*/ 6311042 h 7458372"/>
              <a:gd name="connsiteX7515" fmla="*/ 2000783 w 10505529"/>
              <a:gd name="connsiteY7515" fmla="*/ 6313305 h 7458372"/>
              <a:gd name="connsiteX7516" fmla="*/ 2010101 w 10505529"/>
              <a:gd name="connsiteY7516" fmla="*/ 6319694 h 7458372"/>
              <a:gd name="connsiteX7517" fmla="*/ 2016224 w 10505529"/>
              <a:gd name="connsiteY7517" fmla="*/ 6329013 h 7458372"/>
              <a:gd name="connsiteX7518" fmla="*/ 2018487 w 10505529"/>
              <a:gd name="connsiteY7518" fmla="*/ 6340461 h 7458372"/>
              <a:gd name="connsiteX7519" fmla="*/ 2016224 w 10505529"/>
              <a:gd name="connsiteY7519" fmla="*/ 6352176 h 7458372"/>
              <a:gd name="connsiteX7520" fmla="*/ 2010101 w 10505529"/>
              <a:gd name="connsiteY7520" fmla="*/ 6361627 h 7458372"/>
              <a:gd name="connsiteX7521" fmla="*/ 2000783 w 10505529"/>
              <a:gd name="connsiteY7521" fmla="*/ 6367884 h 7458372"/>
              <a:gd name="connsiteX7522" fmla="*/ 1989068 w 10505529"/>
              <a:gd name="connsiteY7522" fmla="*/ 6370147 h 7458372"/>
              <a:gd name="connsiteX7523" fmla="*/ 1967236 w 10505529"/>
              <a:gd name="connsiteY7523" fmla="*/ 6361760 h 7458372"/>
              <a:gd name="connsiteX7524" fmla="*/ 1958850 w 10505529"/>
              <a:gd name="connsiteY7524" fmla="*/ 6340594 h 7458372"/>
              <a:gd name="connsiteX7525" fmla="*/ 1967236 w 10505529"/>
              <a:gd name="connsiteY7525" fmla="*/ 6319562 h 7458372"/>
              <a:gd name="connsiteX7526" fmla="*/ 1989068 w 10505529"/>
              <a:gd name="connsiteY7526" fmla="*/ 6311042 h 7458372"/>
              <a:gd name="connsiteX7527" fmla="*/ 1771436 w 10505529"/>
              <a:gd name="connsiteY7527" fmla="*/ 6311042 h 7458372"/>
              <a:gd name="connsiteX7528" fmla="*/ 1783149 w 10505529"/>
              <a:gd name="connsiteY7528" fmla="*/ 6313305 h 7458372"/>
              <a:gd name="connsiteX7529" fmla="*/ 1792467 w 10505529"/>
              <a:gd name="connsiteY7529" fmla="*/ 6319694 h 7458372"/>
              <a:gd name="connsiteX7530" fmla="*/ 1798590 w 10505529"/>
              <a:gd name="connsiteY7530" fmla="*/ 6329013 h 7458372"/>
              <a:gd name="connsiteX7531" fmla="*/ 1800852 w 10505529"/>
              <a:gd name="connsiteY7531" fmla="*/ 6340461 h 7458372"/>
              <a:gd name="connsiteX7532" fmla="*/ 1798590 w 10505529"/>
              <a:gd name="connsiteY7532" fmla="*/ 6352176 h 7458372"/>
              <a:gd name="connsiteX7533" fmla="*/ 1792467 w 10505529"/>
              <a:gd name="connsiteY7533" fmla="*/ 6361627 h 7458372"/>
              <a:gd name="connsiteX7534" fmla="*/ 1783149 w 10505529"/>
              <a:gd name="connsiteY7534" fmla="*/ 6367884 h 7458372"/>
              <a:gd name="connsiteX7535" fmla="*/ 1771436 w 10505529"/>
              <a:gd name="connsiteY7535" fmla="*/ 6370147 h 7458372"/>
              <a:gd name="connsiteX7536" fmla="*/ 1749606 w 10505529"/>
              <a:gd name="connsiteY7536" fmla="*/ 6361760 h 7458372"/>
              <a:gd name="connsiteX7537" fmla="*/ 1741224 w 10505529"/>
              <a:gd name="connsiteY7537" fmla="*/ 6340594 h 7458372"/>
              <a:gd name="connsiteX7538" fmla="*/ 1749606 w 10505529"/>
              <a:gd name="connsiteY7538" fmla="*/ 6319562 h 7458372"/>
              <a:gd name="connsiteX7539" fmla="*/ 1771436 w 10505529"/>
              <a:gd name="connsiteY7539" fmla="*/ 6311042 h 7458372"/>
              <a:gd name="connsiteX7540" fmla="*/ 1553800 w 10505529"/>
              <a:gd name="connsiteY7540" fmla="*/ 6311042 h 7458372"/>
              <a:gd name="connsiteX7541" fmla="*/ 1565514 w 10505529"/>
              <a:gd name="connsiteY7541" fmla="*/ 6313305 h 7458372"/>
              <a:gd name="connsiteX7542" fmla="*/ 1574833 w 10505529"/>
              <a:gd name="connsiteY7542" fmla="*/ 6319694 h 7458372"/>
              <a:gd name="connsiteX7543" fmla="*/ 1580955 w 10505529"/>
              <a:gd name="connsiteY7543" fmla="*/ 6329013 h 7458372"/>
              <a:gd name="connsiteX7544" fmla="*/ 1583219 w 10505529"/>
              <a:gd name="connsiteY7544" fmla="*/ 6340461 h 7458372"/>
              <a:gd name="connsiteX7545" fmla="*/ 1580955 w 10505529"/>
              <a:gd name="connsiteY7545" fmla="*/ 6352176 h 7458372"/>
              <a:gd name="connsiteX7546" fmla="*/ 1574833 w 10505529"/>
              <a:gd name="connsiteY7546" fmla="*/ 6361627 h 7458372"/>
              <a:gd name="connsiteX7547" fmla="*/ 1565514 w 10505529"/>
              <a:gd name="connsiteY7547" fmla="*/ 6367884 h 7458372"/>
              <a:gd name="connsiteX7548" fmla="*/ 1553800 w 10505529"/>
              <a:gd name="connsiteY7548" fmla="*/ 6370147 h 7458372"/>
              <a:gd name="connsiteX7549" fmla="*/ 1531971 w 10505529"/>
              <a:gd name="connsiteY7549" fmla="*/ 6361760 h 7458372"/>
              <a:gd name="connsiteX7550" fmla="*/ 1523585 w 10505529"/>
              <a:gd name="connsiteY7550" fmla="*/ 6340594 h 7458372"/>
              <a:gd name="connsiteX7551" fmla="*/ 1531971 w 10505529"/>
              <a:gd name="connsiteY7551" fmla="*/ 6319562 h 7458372"/>
              <a:gd name="connsiteX7552" fmla="*/ 1553800 w 10505529"/>
              <a:gd name="connsiteY7552" fmla="*/ 6311042 h 7458372"/>
              <a:gd name="connsiteX7553" fmla="*/ 1336157 w 10505529"/>
              <a:gd name="connsiteY7553" fmla="*/ 6311042 h 7458372"/>
              <a:gd name="connsiteX7554" fmla="*/ 1347872 w 10505529"/>
              <a:gd name="connsiteY7554" fmla="*/ 6313305 h 7458372"/>
              <a:gd name="connsiteX7555" fmla="*/ 1357190 w 10505529"/>
              <a:gd name="connsiteY7555" fmla="*/ 6319694 h 7458372"/>
              <a:gd name="connsiteX7556" fmla="*/ 1363313 w 10505529"/>
              <a:gd name="connsiteY7556" fmla="*/ 6329013 h 7458372"/>
              <a:gd name="connsiteX7557" fmla="*/ 1365575 w 10505529"/>
              <a:gd name="connsiteY7557" fmla="*/ 6340461 h 7458372"/>
              <a:gd name="connsiteX7558" fmla="*/ 1363313 w 10505529"/>
              <a:gd name="connsiteY7558" fmla="*/ 6352176 h 7458372"/>
              <a:gd name="connsiteX7559" fmla="*/ 1357190 w 10505529"/>
              <a:gd name="connsiteY7559" fmla="*/ 6361627 h 7458372"/>
              <a:gd name="connsiteX7560" fmla="*/ 1347872 w 10505529"/>
              <a:gd name="connsiteY7560" fmla="*/ 6367884 h 7458372"/>
              <a:gd name="connsiteX7561" fmla="*/ 1336157 w 10505529"/>
              <a:gd name="connsiteY7561" fmla="*/ 6370147 h 7458372"/>
              <a:gd name="connsiteX7562" fmla="*/ 1314323 w 10505529"/>
              <a:gd name="connsiteY7562" fmla="*/ 6361760 h 7458372"/>
              <a:gd name="connsiteX7563" fmla="*/ 1305938 w 10505529"/>
              <a:gd name="connsiteY7563" fmla="*/ 6340594 h 7458372"/>
              <a:gd name="connsiteX7564" fmla="*/ 1314323 w 10505529"/>
              <a:gd name="connsiteY7564" fmla="*/ 6319562 h 7458372"/>
              <a:gd name="connsiteX7565" fmla="*/ 1336157 w 10505529"/>
              <a:gd name="connsiteY7565" fmla="*/ 6311042 h 7458372"/>
              <a:gd name="connsiteX7566" fmla="*/ 1118511 w 10505529"/>
              <a:gd name="connsiteY7566" fmla="*/ 6311042 h 7458372"/>
              <a:gd name="connsiteX7567" fmla="*/ 1130229 w 10505529"/>
              <a:gd name="connsiteY7567" fmla="*/ 6313305 h 7458372"/>
              <a:gd name="connsiteX7568" fmla="*/ 1139544 w 10505529"/>
              <a:gd name="connsiteY7568" fmla="*/ 6319694 h 7458372"/>
              <a:gd name="connsiteX7569" fmla="*/ 1145663 w 10505529"/>
              <a:gd name="connsiteY7569" fmla="*/ 6329013 h 7458372"/>
              <a:gd name="connsiteX7570" fmla="*/ 1147927 w 10505529"/>
              <a:gd name="connsiteY7570" fmla="*/ 6340461 h 7458372"/>
              <a:gd name="connsiteX7571" fmla="*/ 1145663 w 10505529"/>
              <a:gd name="connsiteY7571" fmla="*/ 6352176 h 7458372"/>
              <a:gd name="connsiteX7572" fmla="*/ 1139544 w 10505529"/>
              <a:gd name="connsiteY7572" fmla="*/ 6361627 h 7458372"/>
              <a:gd name="connsiteX7573" fmla="*/ 1130229 w 10505529"/>
              <a:gd name="connsiteY7573" fmla="*/ 6367884 h 7458372"/>
              <a:gd name="connsiteX7574" fmla="*/ 1118511 w 10505529"/>
              <a:gd name="connsiteY7574" fmla="*/ 6370147 h 7458372"/>
              <a:gd name="connsiteX7575" fmla="*/ 1096676 w 10505529"/>
              <a:gd name="connsiteY7575" fmla="*/ 6361760 h 7458372"/>
              <a:gd name="connsiteX7576" fmla="*/ 1088291 w 10505529"/>
              <a:gd name="connsiteY7576" fmla="*/ 6340594 h 7458372"/>
              <a:gd name="connsiteX7577" fmla="*/ 1096676 w 10505529"/>
              <a:gd name="connsiteY7577" fmla="*/ 6319562 h 7458372"/>
              <a:gd name="connsiteX7578" fmla="*/ 1118511 w 10505529"/>
              <a:gd name="connsiteY7578" fmla="*/ 6311042 h 7458372"/>
              <a:gd name="connsiteX7579" fmla="*/ 900998 w 10505529"/>
              <a:gd name="connsiteY7579" fmla="*/ 6311042 h 7458372"/>
              <a:gd name="connsiteX7580" fmla="*/ 912713 w 10505529"/>
              <a:gd name="connsiteY7580" fmla="*/ 6313305 h 7458372"/>
              <a:gd name="connsiteX7581" fmla="*/ 922031 w 10505529"/>
              <a:gd name="connsiteY7581" fmla="*/ 6319694 h 7458372"/>
              <a:gd name="connsiteX7582" fmla="*/ 928153 w 10505529"/>
              <a:gd name="connsiteY7582" fmla="*/ 6329013 h 7458372"/>
              <a:gd name="connsiteX7583" fmla="*/ 930416 w 10505529"/>
              <a:gd name="connsiteY7583" fmla="*/ 6340461 h 7458372"/>
              <a:gd name="connsiteX7584" fmla="*/ 928153 w 10505529"/>
              <a:gd name="connsiteY7584" fmla="*/ 6352176 h 7458372"/>
              <a:gd name="connsiteX7585" fmla="*/ 922031 w 10505529"/>
              <a:gd name="connsiteY7585" fmla="*/ 6361627 h 7458372"/>
              <a:gd name="connsiteX7586" fmla="*/ 912713 w 10505529"/>
              <a:gd name="connsiteY7586" fmla="*/ 6367884 h 7458372"/>
              <a:gd name="connsiteX7587" fmla="*/ 900998 w 10505529"/>
              <a:gd name="connsiteY7587" fmla="*/ 6370147 h 7458372"/>
              <a:gd name="connsiteX7588" fmla="*/ 879167 w 10505529"/>
              <a:gd name="connsiteY7588" fmla="*/ 6361760 h 7458372"/>
              <a:gd name="connsiteX7589" fmla="*/ 870782 w 10505529"/>
              <a:gd name="connsiteY7589" fmla="*/ 6340594 h 7458372"/>
              <a:gd name="connsiteX7590" fmla="*/ 879167 w 10505529"/>
              <a:gd name="connsiteY7590" fmla="*/ 6319562 h 7458372"/>
              <a:gd name="connsiteX7591" fmla="*/ 900998 w 10505529"/>
              <a:gd name="connsiteY7591" fmla="*/ 6311042 h 7458372"/>
              <a:gd name="connsiteX7592" fmla="*/ 683358 w 10505529"/>
              <a:gd name="connsiteY7592" fmla="*/ 6311042 h 7458372"/>
              <a:gd name="connsiteX7593" fmla="*/ 695073 w 10505529"/>
              <a:gd name="connsiteY7593" fmla="*/ 6313305 h 7458372"/>
              <a:gd name="connsiteX7594" fmla="*/ 704390 w 10505529"/>
              <a:gd name="connsiteY7594" fmla="*/ 6319694 h 7458372"/>
              <a:gd name="connsiteX7595" fmla="*/ 710513 w 10505529"/>
              <a:gd name="connsiteY7595" fmla="*/ 6329013 h 7458372"/>
              <a:gd name="connsiteX7596" fmla="*/ 712776 w 10505529"/>
              <a:gd name="connsiteY7596" fmla="*/ 6340461 h 7458372"/>
              <a:gd name="connsiteX7597" fmla="*/ 710513 w 10505529"/>
              <a:gd name="connsiteY7597" fmla="*/ 6352176 h 7458372"/>
              <a:gd name="connsiteX7598" fmla="*/ 704390 w 10505529"/>
              <a:gd name="connsiteY7598" fmla="*/ 6361627 h 7458372"/>
              <a:gd name="connsiteX7599" fmla="*/ 695073 w 10505529"/>
              <a:gd name="connsiteY7599" fmla="*/ 6367884 h 7458372"/>
              <a:gd name="connsiteX7600" fmla="*/ 683358 w 10505529"/>
              <a:gd name="connsiteY7600" fmla="*/ 6370147 h 7458372"/>
              <a:gd name="connsiteX7601" fmla="*/ 661527 w 10505529"/>
              <a:gd name="connsiteY7601" fmla="*/ 6361760 h 7458372"/>
              <a:gd name="connsiteX7602" fmla="*/ 653141 w 10505529"/>
              <a:gd name="connsiteY7602" fmla="*/ 6340594 h 7458372"/>
              <a:gd name="connsiteX7603" fmla="*/ 661527 w 10505529"/>
              <a:gd name="connsiteY7603" fmla="*/ 6319562 h 7458372"/>
              <a:gd name="connsiteX7604" fmla="*/ 683358 w 10505529"/>
              <a:gd name="connsiteY7604" fmla="*/ 6311042 h 7458372"/>
              <a:gd name="connsiteX7605" fmla="*/ 465717 w 10505529"/>
              <a:gd name="connsiteY7605" fmla="*/ 6311042 h 7458372"/>
              <a:gd name="connsiteX7606" fmla="*/ 477433 w 10505529"/>
              <a:gd name="connsiteY7606" fmla="*/ 6313305 h 7458372"/>
              <a:gd name="connsiteX7607" fmla="*/ 486750 w 10505529"/>
              <a:gd name="connsiteY7607" fmla="*/ 6319694 h 7458372"/>
              <a:gd name="connsiteX7608" fmla="*/ 492873 w 10505529"/>
              <a:gd name="connsiteY7608" fmla="*/ 6329013 h 7458372"/>
              <a:gd name="connsiteX7609" fmla="*/ 495136 w 10505529"/>
              <a:gd name="connsiteY7609" fmla="*/ 6340461 h 7458372"/>
              <a:gd name="connsiteX7610" fmla="*/ 492873 w 10505529"/>
              <a:gd name="connsiteY7610" fmla="*/ 6352176 h 7458372"/>
              <a:gd name="connsiteX7611" fmla="*/ 486750 w 10505529"/>
              <a:gd name="connsiteY7611" fmla="*/ 6361627 h 7458372"/>
              <a:gd name="connsiteX7612" fmla="*/ 477433 w 10505529"/>
              <a:gd name="connsiteY7612" fmla="*/ 6367884 h 7458372"/>
              <a:gd name="connsiteX7613" fmla="*/ 465717 w 10505529"/>
              <a:gd name="connsiteY7613" fmla="*/ 6370147 h 7458372"/>
              <a:gd name="connsiteX7614" fmla="*/ 443886 w 10505529"/>
              <a:gd name="connsiteY7614" fmla="*/ 6361760 h 7458372"/>
              <a:gd name="connsiteX7615" fmla="*/ 435500 w 10505529"/>
              <a:gd name="connsiteY7615" fmla="*/ 6340594 h 7458372"/>
              <a:gd name="connsiteX7616" fmla="*/ 443886 w 10505529"/>
              <a:gd name="connsiteY7616" fmla="*/ 6319562 h 7458372"/>
              <a:gd name="connsiteX7617" fmla="*/ 465717 w 10505529"/>
              <a:gd name="connsiteY7617" fmla="*/ 6311042 h 7458372"/>
              <a:gd name="connsiteX7618" fmla="*/ 248076 w 10505529"/>
              <a:gd name="connsiteY7618" fmla="*/ 6311042 h 7458372"/>
              <a:gd name="connsiteX7619" fmla="*/ 259790 w 10505529"/>
              <a:gd name="connsiteY7619" fmla="*/ 6313305 h 7458372"/>
              <a:gd name="connsiteX7620" fmla="*/ 269109 w 10505529"/>
              <a:gd name="connsiteY7620" fmla="*/ 6319694 h 7458372"/>
              <a:gd name="connsiteX7621" fmla="*/ 275232 w 10505529"/>
              <a:gd name="connsiteY7621" fmla="*/ 6329013 h 7458372"/>
              <a:gd name="connsiteX7622" fmla="*/ 277495 w 10505529"/>
              <a:gd name="connsiteY7622" fmla="*/ 6340461 h 7458372"/>
              <a:gd name="connsiteX7623" fmla="*/ 275232 w 10505529"/>
              <a:gd name="connsiteY7623" fmla="*/ 6352176 h 7458372"/>
              <a:gd name="connsiteX7624" fmla="*/ 269109 w 10505529"/>
              <a:gd name="connsiteY7624" fmla="*/ 6361627 h 7458372"/>
              <a:gd name="connsiteX7625" fmla="*/ 259790 w 10505529"/>
              <a:gd name="connsiteY7625" fmla="*/ 6367884 h 7458372"/>
              <a:gd name="connsiteX7626" fmla="*/ 248076 w 10505529"/>
              <a:gd name="connsiteY7626" fmla="*/ 6370147 h 7458372"/>
              <a:gd name="connsiteX7627" fmla="*/ 226247 w 10505529"/>
              <a:gd name="connsiteY7627" fmla="*/ 6361760 h 7458372"/>
              <a:gd name="connsiteX7628" fmla="*/ 217862 w 10505529"/>
              <a:gd name="connsiteY7628" fmla="*/ 6340594 h 7458372"/>
              <a:gd name="connsiteX7629" fmla="*/ 226247 w 10505529"/>
              <a:gd name="connsiteY7629" fmla="*/ 6319562 h 7458372"/>
              <a:gd name="connsiteX7630" fmla="*/ 248076 w 10505529"/>
              <a:gd name="connsiteY7630" fmla="*/ 6311042 h 7458372"/>
              <a:gd name="connsiteX7631" fmla="*/ 30435 w 10505529"/>
              <a:gd name="connsiteY7631" fmla="*/ 6311042 h 7458372"/>
              <a:gd name="connsiteX7632" fmla="*/ 42150 w 10505529"/>
              <a:gd name="connsiteY7632" fmla="*/ 6313305 h 7458372"/>
              <a:gd name="connsiteX7633" fmla="*/ 51468 w 10505529"/>
              <a:gd name="connsiteY7633" fmla="*/ 6319694 h 7458372"/>
              <a:gd name="connsiteX7634" fmla="*/ 57592 w 10505529"/>
              <a:gd name="connsiteY7634" fmla="*/ 6329013 h 7458372"/>
              <a:gd name="connsiteX7635" fmla="*/ 59855 w 10505529"/>
              <a:gd name="connsiteY7635" fmla="*/ 6340461 h 7458372"/>
              <a:gd name="connsiteX7636" fmla="*/ 57592 w 10505529"/>
              <a:gd name="connsiteY7636" fmla="*/ 6352176 h 7458372"/>
              <a:gd name="connsiteX7637" fmla="*/ 51468 w 10505529"/>
              <a:gd name="connsiteY7637" fmla="*/ 6361627 h 7458372"/>
              <a:gd name="connsiteX7638" fmla="*/ 42150 w 10505529"/>
              <a:gd name="connsiteY7638" fmla="*/ 6367884 h 7458372"/>
              <a:gd name="connsiteX7639" fmla="*/ 30435 w 10505529"/>
              <a:gd name="connsiteY7639" fmla="*/ 6370147 h 7458372"/>
              <a:gd name="connsiteX7640" fmla="*/ 8608 w 10505529"/>
              <a:gd name="connsiteY7640" fmla="*/ 6361760 h 7458372"/>
              <a:gd name="connsiteX7641" fmla="*/ 222 w 10505529"/>
              <a:gd name="connsiteY7641" fmla="*/ 6340594 h 7458372"/>
              <a:gd name="connsiteX7642" fmla="*/ 8608 w 10505529"/>
              <a:gd name="connsiteY7642" fmla="*/ 6319562 h 7458372"/>
              <a:gd name="connsiteX7643" fmla="*/ 30435 w 10505529"/>
              <a:gd name="connsiteY7643" fmla="*/ 6311042 h 7458372"/>
              <a:gd name="connsiteX7644" fmla="*/ 10475977 w 10505529"/>
              <a:gd name="connsiteY7644" fmla="*/ 6110037 h 7458372"/>
              <a:gd name="connsiteX7645" fmla="*/ 10465992 w 10505529"/>
              <a:gd name="connsiteY7645" fmla="*/ 6113631 h 7458372"/>
              <a:gd name="connsiteX7646" fmla="*/ 10462399 w 10505529"/>
              <a:gd name="connsiteY7646" fmla="*/ 6123082 h 7458372"/>
              <a:gd name="connsiteX7647" fmla="*/ 10465992 w 10505529"/>
              <a:gd name="connsiteY7647" fmla="*/ 6132533 h 7458372"/>
              <a:gd name="connsiteX7648" fmla="*/ 10475977 w 10505529"/>
              <a:gd name="connsiteY7648" fmla="*/ 6135995 h 7458372"/>
              <a:gd name="connsiteX7649" fmla="*/ 10481302 w 10505529"/>
              <a:gd name="connsiteY7649" fmla="*/ 6135063 h 7458372"/>
              <a:gd name="connsiteX7650" fmla="*/ 10485029 w 10505529"/>
              <a:gd name="connsiteY7650" fmla="*/ 6132666 h 7458372"/>
              <a:gd name="connsiteX7651" fmla="*/ 10487691 w 10505529"/>
              <a:gd name="connsiteY7651" fmla="*/ 6128407 h 7458372"/>
              <a:gd name="connsiteX7652" fmla="*/ 10488623 w 10505529"/>
              <a:gd name="connsiteY7652" fmla="*/ 6122949 h 7458372"/>
              <a:gd name="connsiteX7653" fmla="*/ 10487691 w 10505529"/>
              <a:gd name="connsiteY7653" fmla="*/ 6117758 h 7458372"/>
              <a:gd name="connsiteX7654" fmla="*/ 10485029 w 10505529"/>
              <a:gd name="connsiteY7654" fmla="*/ 6113631 h 7458372"/>
              <a:gd name="connsiteX7655" fmla="*/ 10481035 w 10505529"/>
              <a:gd name="connsiteY7655" fmla="*/ 6110968 h 7458372"/>
              <a:gd name="connsiteX7656" fmla="*/ 10475977 w 10505529"/>
              <a:gd name="connsiteY7656" fmla="*/ 6110037 h 7458372"/>
              <a:gd name="connsiteX7657" fmla="*/ 10258466 w 10505529"/>
              <a:gd name="connsiteY7657" fmla="*/ 6110037 h 7458372"/>
              <a:gd name="connsiteX7658" fmla="*/ 10248481 w 10505529"/>
              <a:gd name="connsiteY7658" fmla="*/ 6113631 h 7458372"/>
              <a:gd name="connsiteX7659" fmla="*/ 10244887 w 10505529"/>
              <a:gd name="connsiteY7659" fmla="*/ 6123082 h 7458372"/>
              <a:gd name="connsiteX7660" fmla="*/ 10248481 w 10505529"/>
              <a:gd name="connsiteY7660" fmla="*/ 6132533 h 7458372"/>
              <a:gd name="connsiteX7661" fmla="*/ 10258466 w 10505529"/>
              <a:gd name="connsiteY7661" fmla="*/ 6135995 h 7458372"/>
              <a:gd name="connsiteX7662" fmla="*/ 10263790 w 10505529"/>
              <a:gd name="connsiteY7662" fmla="*/ 6135063 h 7458372"/>
              <a:gd name="connsiteX7663" fmla="*/ 10267517 w 10505529"/>
              <a:gd name="connsiteY7663" fmla="*/ 6132666 h 7458372"/>
              <a:gd name="connsiteX7664" fmla="*/ 10270180 w 10505529"/>
              <a:gd name="connsiteY7664" fmla="*/ 6128407 h 7458372"/>
              <a:gd name="connsiteX7665" fmla="*/ 10271112 w 10505529"/>
              <a:gd name="connsiteY7665" fmla="*/ 6122949 h 7458372"/>
              <a:gd name="connsiteX7666" fmla="*/ 10270180 w 10505529"/>
              <a:gd name="connsiteY7666" fmla="*/ 6117758 h 7458372"/>
              <a:gd name="connsiteX7667" fmla="*/ 10267517 w 10505529"/>
              <a:gd name="connsiteY7667" fmla="*/ 6113631 h 7458372"/>
              <a:gd name="connsiteX7668" fmla="*/ 10263524 w 10505529"/>
              <a:gd name="connsiteY7668" fmla="*/ 6110968 h 7458372"/>
              <a:gd name="connsiteX7669" fmla="*/ 10258466 w 10505529"/>
              <a:gd name="connsiteY7669" fmla="*/ 6110037 h 7458372"/>
              <a:gd name="connsiteX7670" fmla="*/ 10040820 w 10505529"/>
              <a:gd name="connsiteY7670" fmla="*/ 6110037 h 7458372"/>
              <a:gd name="connsiteX7671" fmla="*/ 10030835 w 10505529"/>
              <a:gd name="connsiteY7671" fmla="*/ 6113631 h 7458372"/>
              <a:gd name="connsiteX7672" fmla="*/ 10027242 w 10505529"/>
              <a:gd name="connsiteY7672" fmla="*/ 6123082 h 7458372"/>
              <a:gd name="connsiteX7673" fmla="*/ 10030835 w 10505529"/>
              <a:gd name="connsiteY7673" fmla="*/ 6132533 h 7458372"/>
              <a:gd name="connsiteX7674" fmla="*/ 10040820 w 10505529"/>
              <a:gd name="connsiteY7674" fmla="*/ 6135995 h 7458372"/>
              <a:gd name="connsiteX7675" fmla="*/ 10046145 w 10505529"/>
              <a:gd name="connsiteY7675" fmla="*/ 6135063 h 7458372"/>
              <a:gd name="connsiteX7676" fmla="*/ 10049872 w 10505529"/>
              <a:gd name="connsiteY7676" fmla="*/ 6132666 h 7458372"/>
              <a:gd name="connsiteX7677" fmla="*/ 10052534 w 10505529"/>
              <a:gd name="connsiteY7677" fmla="*/ 6128407 h 7458372"/>
              <a:gd name="connsiteX7678" fmla="*/ 10053599 w 10505529"/>
              <a:gd name="connsiteY7678" fmla="*/ 6122949 h 7458372"/>
              <a:gd name="connsiteX7679" fmla="*/ 10052534 w 10505529"/>
              <a:gd name="connsiteY7679" fmla="*/ 6117758 h 7458372"/>
              <a:gd name="connsiteX7680" fmla="*/ 10049872 w 10505529"/>
              <a:gd name="connsiteY7680" fmla="*/ 6113631 h 7458372"/>
              <a:gd name="connsiteX7681" fmla="*/ 10045878 w 10505529"/>
              <a:gd name="connsiteY7681" fmla="*/ 6110968 h 7458372"/>
              <a:gd name="connsiteX7682" fmla="*/ 10040820 w 10505529"/>
              <a:gd name="connsiteY7682" fmla="*/ 6110037 h 7458372"/>
              <a:gd name="connsiteX7683" fmla="*/ 9823176 w 10505529"/>
              <a:gd name="connsiteY7683" fmla="*/ 6110037 h 7458372"/>
              <a:gd name="connsiteX7684" fmla="*/ 9813191 w 10505529"/>
              <a:gd name="connsiteY7684" fmla="*/ 6113631 h 7458372"/>
              <a:gd name="connsiteX7685" fmla="*/ 9809597 w 10505529"/>
              <a:gd name="connsiteY7685" fmla="*/ 6123082 h 7458372"/>
              <a:gd name="connsiteX7686" fmla="*/ 9813191 w 10505529"/>
              <a:gd name="connsiteY7686" fmla="*/ 6132533 h 7458372"/>
              <a:gd name="connsiteX7687" fmla="*/ 9823176 w 10505529"/>
              <a:gd name="connsiteY7687" fmla="*/ 6135995 h 7458372"/>
              <a:gd name="connsiteX7688" fmla="*/ 9828501 w 10505529"/>
              <a:gd name="connsiteY7688" fmla="*/ 6135063 h 7458372"/>
              <a:gd name="connsiteX7689" fmla="*/ 9832227 w 10505529"/>
              <a:gd name="connsiteY7689" fmla="*/ 6132666 h 7458372"/>
              <a:gd name="connsiteX7690" fmla="*/ 9834890 w 10505529"/>
              <a:gd name="connsiteY7690" fmla="*/ 6128407 h 7458372"/>
              <a:gd name="connsiteX7691" fmla="*/ 9835955 w 10505529"/>
              <a:gd name="connsiteY7691" fmla="*/ 6122949 h 7458372"/>
              <a:gd name="connsiteX7692" fmla="*/ 9834890 w 10505529"/>
              <a:gd name="connsiteY7692" fmla="*/ 6117758 h 7458372"/>
              <a:gd name="connsiteX7693" fmla="*/ 9832227 w 10505529"/>
              <a:gd name="connsiteY7693" fmla="*/ 6113631 h 7458372"/>
              <a:gd name="connsiteX7694" fmla="*/ 9828234 w 10505529"/>
              <a:gd name="connsiteY7694" fmla="*/ 6110968 h 7458372"/>
              <a:gd name="connsiteX7695" fmla="*/ 9823176 w 10505529"/>
              <a:gd name="connsiteY7695" fmla="*/ 6110037 h 7458372"/>
              <a:gd name="connsiteX7696" fmla="*/ 9605531 w 10505529"/>
              <a:gd name="connsiteY7696" fmla="*/ 6110037 h 7458372"/>
              <a:gd name="connsiteX7697" fmla="*/ 9595546 w 10505529"/>
              <a:gd name="connsiteY7697" fmla="*/ 6113631 h 7458372"/>
              <a:gd name="connsiteX7698" fmla="*/ 9591952 w 10505529"/>
              <a:gd name="connsiteY7698" fmla="*/ 6123082 h 7458372"/>
              <a:gd name="connsiteX7699" fmla="*/ 9595546 w 10505529"/>
              <a:gd name="connsiteY7699" fmla="*/ 6132533 h 7458372"/>
              <a:gd name="connsiteX7700" fmla="*/ 9605531 w 10505529"/>
              <a:gd name="connsiteY7700" fmla="*/ 6135995 h 7458372"/>
              <a:gd name="connsiteX7701" fmla="*/ 9610855 w 10505529"/>
              <a:gd name="connsiteY7701" fmla="*/ 6135063 h 7458372"/>
              <a:gd name="connsiteX7702" fmla="*/ 9614582 w 10505529"/>
              <a:gd name="connsiteY7702" fmla="*/ 6132666 h 7458372"/>
              <a:gd name="connsiteX7703" fmla="*/ 9617245 w 10505529"/>
              <a:gd name="connsiteY7703" fmla="*/ 6128407 h 7458372"/>
              <a:gd name="connsiteX7704" fmla="*/ 9618309 w 10505529"/>
              <a:gd name="connsiteY7704" fmla="*/ 6122949 h 7458372"/>
              <a:gd name="connsiteX7705" fmla="*/ 9617245 w 10505529"/>
              <a:gd name="connsiteY7705" fmla="*/ 6117758 h 7458372"/>
              <a:gd name="connsiteX7706" fmla="*/ 9614582 w 10505529"/>
              <a:gd name="connsiteY7706" fmla="*/ 6113631 h 7458372"/>
              <a:gd name="connsiteX7707" fmla="*/ 9610589 w 10505529"/>
              <a:gd name="connsiteY7707" fmla="*/ 6110968 h 7458372"/>
              <a:gd name="connsiteX7708" fmla="*/ 9605531 w 10505529"/>
              <a:gd name="connsiteY7708" fmla="*/ 6110037 h 7458372"/>
              <a:gd name="connsiteX7709" fmla="*/ 9387885 w 10505529"/>
              <a:gd name="connsiteY7709" fmla="*/ 6110037 h 7458372"/>
              <a:gd name="connsiteX7710" fmla="*/ 9377900 w 10505529"/>
              <a:gd name="connsiteY7710" fmla="*/ 6113631 h 7458372"/>
              <a:gd name="connsiteX7711" fmla="*/ 9374307 w 10505529"/>
              <a:gd name="connsiteY7711" fmla="*/ 6123082 h 7458372"/>
              <a:gd name="connsiteX7712" fmla="*/ 9377900 w 10505529"/>
              <a:gd name="connsiteY7712" fmla="*/ 6132533 h 7458372"/>
              <a:gd name="connsiteX7713" fmla="*/ 9387885 w 10505529"/>
              <a:gd name="connsiteY7713" fmla="*/ 6135995 h 7458372"/>
              <a:gd name="connsiteX7714" fmla="*/ 9393210 w 10505529"/>
              <a:gd name="connsiteY7714" fmla="*/ 6135063 h 7458372"/>
              <a:gd name="connsiteX7715" fmla="*/ 9396937 w 10505529"/>
              <a:gd name="connsiteY7715" fmla="*/ 6132666 h 7458372"/>
              <a:gd name="connsiteX7716" fmla="*/ 9399599 w 10505529"/>
              <a:gd name="connsiteY7716" fmla="*/ 6128407 h 7458372"/>
              <a:gd name="connsiteX7717" fmla="*/ 9400664 w 10505529"/>
              <a:gd name="connsiteY7717" fmla="*/ 6122949 h 7458372"/>
              <a:gd name="connsiteX7718" fmla="*/ 9399599 w 10505529"/>
              <a:gd name="connsiteY7718" fmla="*/ 6117758 h 7458372"/>
              <a:gd name="connsiteX7719" fmla="*/ 9396937 w 10505529"/>
              <a:gd name="connsiteY7719" fmla="*/ 6113631 h 7458372"/>
              <a:gd name="connsiteX7720" fmla="*/ 9392943 w 10505529"/>
              <a:gd name="connsiteY7720" fmla="*/ 6110968 h 7458372"/>
              <a:gd name="connsiteX7721" fmla="*/ 9387885 w 10505529"/>
              <a:gd name="connsiteY7721" fmla="*/ 6110037 h 7458372"/>
              <a:gd name="connsiteX7722" fmla="*/ 9170374 w 10505529"/>
              <a:gd name="connsiteY7722" fmla="*/ 6110037 h 7458372"/>
              <a:gd name="connsiteX7723" fmla="*/ 9160389 w 10505529"/>
              <a:gd name="connsiteY7723" fmla="*/ 6113631 h 7458372"/>
              <a:gd name="connsiteX7724" fmla="*/ 9156795 w 10505529"/>
              <a:gd name="connsiteY7724" fmla="*/ 6123082 h 7458372"/>
              <a:gd name="connsiteX7725" fmla="*/ 9160389 w 10505529"/>
              <a:gd name="connsiteY7725" fmla="*/ 6132533 h 7458372"/>
              <a:gd name="connsiteX7726" fmla="*/ 9170374 w 10505529"/>
              <a:gd name="connsiteY7726" fmla="*/ 6135995 h 7458372"/>
              <a:gd name="connsiteX7727" fmla="*/ 9175698 w 10505529"/>
              <a:gd name="connsiteY7727" fmla="*/ 6135063 h 7458372"/>
              <a:gd name="connsiteX7728" fmla="*/ 9179425 w 10505529"/>
              <a:gd name="connsiteY7728" fmla="*/ 6132666 h 7458372"/>
              <a:gd name="connsiteX7729" fmla="*/ 9182088 w 10505529"/>
              <a:gd name="connsiteY7729" fmla="*/ 6128407 h 7458372"/>
              <a:gd name="connsiteX7730" fmla="*/ 9183152 w 10505529"/>
              <a:gd name="connsiteY7730" fmla="*/ 6122949 h 7458372"/>
              <a:gd name="connsiteX7731" fmla="*/ 9182088 w 10505529"/>
              <a:gd name="connsiteY7731" fmla="*/ 6117758 h 7458372"/>
              <a:gd name="connsiteX7732" fmla="*/ 9179425 w 10505529"/>
              <a:gd name="connsiteY7732" fmla="*/ 6113631 h 7458372"/>
              <a:gd name="connsiteX7733" fmla="*/ 9175432 w 10505529"/>
              <a:gd name="connsiteY7733" fmla="*/ 6110968 h 7458372"/>
              <a:gd name="connsiteX7734" fmla="*/ 9170374 w 10505529"/>
              <a:gd name="connsiteY7734" fmla="*/ 6110037 h 7458372"/>
              <a:gd name="connsiteX7735" fmla="*/ 8952728 w 10505529"/>
              <a:gd name="connsiteY7735" fmla="*/ 6110037 h 7458372"/>
              <a:gd name="connsiteX7736" fmla="*/ 8942743 w 10505529"/>
              <a:gd name="connsiteY7736" fmla="*/ 6113631 h 7458372"/>
              <a:gd name="connsiteX7737" fmla="*/ 8939150 w 10505529"/>
              <a:gd name="connsiteY7737" fmla="*/ 6123082 h 7458372"/>
              <a:gd name="connsiteX7738" fmla="*/ 8942743 w 10505529"/>
              <a:gd name="connsiteY7738" fmla="*/ 6132533 h 7458372"/>
              <a:gd name="connsiteX7739" fmla="*/ 8952728 w 10505529"/>
              <a:gd name="connsiteY7739" fmla="*/ 6135995 h 7458372"/>
              <a:gd name="connsiteX7740" fmla="*/ 8958053 w 10505529"/>
              <a:gd name="connsiteY7740" fmla="*/ 6135063 h 7458372"/>
              <a:gd name="connsiteX7741" fmla="*/ 8961780 w 10505529"/>
              <a:gd name="connsiteY7741" fmla="*/ 6132666 h 7458372"/>
              <a:gd name="connsiteX7742" fmla="*/ 8964442 w 10505529"/>
              <a:gd name="connsiteY7742" fmla="*/ 6128407 h 7458372"/>
              <a:gd name="connsiteX7743" fmla="*/ 8965507 w 10505529"/>
              <a:gd name="connsiteY7743" fmla="*/ 6122949 h 7458372"/>
              <a:gd name="connsiteX7744" fmla="*/ 8964442 w 10505529"/>
              <a:gd name="connsiteY7744" fmla="*/ 6117758 h 7458372"/>
              <a:gd name="connsiteX7745" fmla="*/ 8961780 w 10505529"/>
              <a:gd name="connsiteY7745" fmla="*/ 6113631 h 7458372"/>
              <a:gd name="connsiteX7746" fmla="*/ 8957786 w 10505529"/>
              <a:gd name="connsiteY7746" fmla="*/ 6110968 h 7458372"/>
              <a:gd name="connsiteX7747" fmla="*/ 8952728 w 10505529"/>
              <a:gd name="connsiteY7747" fmla="*/ 6110037 h 7458372"/>
              <a:gd name="connsiteX7748" fmla="*/ 8735083 w 10505529"/>
              <a:gd name="connsiteY7748" fmla="*/ 6110037 h 7458372"/>
              <a:gd name="connsiteX7749" fmla="*/ 8725098 w 10505529"/>
              <a:gd name="connsiteY7749" fmla="*/ 6113631 h 7458372"/>
              <a:gd name="connsiteX7750" fmla="*/ 8721504 w 10505529"/>
              <a:gd name="connsiteY7750" fmla="*/ 6123082 h 7458372"/>
              <a:gd name="connsiteX7751" fmla="*/ 8725098 w 10505529"/>
              <a:gd name="connsiteY7751" fmla="*/ 6132533 h 7458372"/>
              <a:gd name="connsiteX7752" fmla="*/ 8735083 w 10505529"/>
              <a:gd name="connsiteY7752" fmla="*/ 6135995 h 7458372"/>
              <a:gd name="connsiteX7753" fmla="*/ 8740407 w 10505529"/>
              <a:gd name="connsiteY7753" fmla="*/ 6135063 h 7458372"/>
              <a:gd name="connsiteX7754" fmla="*/ 8744134 w 10505529"/>
              <a:gd name="connsiteY7754" fmla="*/ 6132666 h 7458372"/>
              <a:gd name="connsiteX7755" fmla="*/ 8746797 w 10505529"/>
              <a:gd name="connsiteY7755" fmla="*/ 6128407 h 7458372"/>
              <a:gd name="connsiteX7756" fmla="*/ 8747862 w 10505529"/>
              <a:gd name="connsiteY7756" fmla="*/ 6122949 h 7458372"/>
              <a:gd name="connsiteX7757" fmla="*/ 8746797 w 10505529"/>
              <a:gd name="connsiteY7757" fmla="*/ 6117758 h 7458372"/>
              <a:gd name="connsiteX7758" fmla="*/ 8744134 w 10505529"/>
              <a:gd name="connsiteY7758" fmla="*/ 6113631 h 7458372"/>
              <a:gd name="connsiteX7759" fmla="*/ 8740141 w 10505529"/>
              <a:gd name="connsiteY7759" fmla="*/ 6110968 h 7458372"/>
              <a:gd name="connsiteX7760" fmla="*/ 8735083 w 10505529"/>
              <a:gd name="connsiteY7760" fmla="*/ 6110037 h 7458372"/>
              <a:gd name="connsiteX7761" fmla="*/ 8517438 w 10505529"/>
              <a:gd name="connsiteY7761" fmla="*/ 6110037 h 7458372"/>
              <a:gd name="connsiteX7762" fmla="*/ 8507453 w 10505529"/>
              <a:gd name="connsiteY7762" fmla="*/ 6113631 h 7458372"/>
              <a:gd name="connsiteX7763" fmla="*/ 8503860 w 10505529"/>
              <a:gd name="connsiteY7763" fmla="*/ 6123082 h 7458372"/>
              <a:gd name="connsiteX7764" fmla="*/ 8507453 w 10505529"/>
              <a:gd name="connsiteY7764" fmla="*/ 6132533 h 7458372"/>
              <a:gd name="connsiteX7765" fmla="*/ 8517438 w 10505529"/>
              <a:gd name="connsiteY7765" fmla="*/ 6135995 h 7458372"/>
              <a:gd name="connsiteX7766" fmla="*/ 8522763 w 10505529"/>
              <a:gd name="connsiteY7766" fmla="*/ 6135063 h 7458372"/>
              <a:gd name="connsiteX7767" fmla="*/ 8526490 w 10505529"/>
              <a:gd name="connsiteY7767" fmla="*/ 6132666 h 7458372"/>
              <a:gd name="connsiteX7768" fmla="*/ 8529152 w 10505529"/>
              <a:gd name="connsiteY7768" fmla="*/ 6128407 h 7458372"/>
              <a:gd name="connsiteX7769" fmla="*/ 8530084 w 10505529"/>
              <a:gd name="connsiteY7769" fmla="*/ 6122949 h 7458372"/>
              <a:gd name="connsiteX7770" fmla="*/ 8529152 w 10505529"/>
              <a:gd name="connsiteY7770" fmla="*/ 6117758 h 7458372"/>
              <a:gd name="connsiteX7771" fmla="*/ 8526490 w 10505529"/>
              <a:gd name="connsiteY7771" fmla="*/ 6113631 h 7458372"/>
              <a:gd name="connsiteX7772" fmla="*/ 8522496 w 10505529"/>
              <a:gd name="connsiteY7772" fmla="*/ 6110968 h 7458372"/>
              <a:gd name="connsiteX7773" fmla="*/ 8517438 w 10505529"/>
              <a:gd name="connsiteY7773" fmla="*/ 6110037 h 7458372"/>
              <a:gd name="connsiteX7774" fmla="*/ 8299793 w 10505529"/>
              <a:gd name="connsiteY7774" fmla="*/ 6110037 h 7458372"/>
              <a:gd name="connsiteX7775" fmla="*/ 8289809 w 10505529"/>
              <a:gd name="connsiteY7775" fmla="*/ 6113631 h 7458372"/>
              <a:gd name="connsiteX7776" fmla="*/ 8286215 w 10505529"/>
              <a:gd name="connsiteY7776" fmla="*/ 6123082 h 7458372"/>
              <a:gd name="connsiteX7777" fmla="*/ 8289809 w 10505529"/>
              <a:gd name="connsiteY7777" fmla="*/ 6132533 h 7458372"/>
              <a:gd name="connsiteX7778" fmla="*/ 8299793 w 10505529"/>
              <a:gd name="connsiteY7778" fmla="*/ 6135995 h 7458372"/>
              <a:gd name="connsiteX7779" fmla="*/ 8305118 w 10505529"/>
              <a:gd name="connsiteY7779" fmla="*/ 6135063 h 7458372"/>
              <a:gd name="connsiteX7780" fmla="*/ 8308844 w 10505529"/>
              <a:gd name="connsiteY7780" fmla="*/ 6132666 h 7458372"/>
              <a:gd name="connsiteX7781" fmla="*/ 8311507 w 10505529"/>
              <a:gd name="connsiteY7781" fmla="*/ 6128407 h 7458372"/>
              <a:gd name="connsiteX7782" fmla="*/ 8312439 w 10505529"/>
              <a:gd name="connsiteY7782" fmla="*/ 6122949 h 7458372"/>
              <a:gd name="connsiteX7783" fmla="*/ 8311507 w 10505529"/>
              <a:gd name="connsiteY7783" fmla="*/ 6117758 h 7458372"/>
              <a:gd name="connsiteX7784" fmla="*/ 8308844 w 10505529"/>
              <a:gd name="connsiteY7784" fmla="*/ 6113631 h 7458372"/>
              <a:gd name="connsiteX7785" fmla="*/ 8304851 w 10505529"/>
              <a:gd name="connsiteY7785" fmla="*/ 6110968 h 7458372"/>
              <a:gd name="connsiteX7786" fmla="*/ 8299793 w 10505529"/>
              <a:gd name="connsiteY7786" fmla="*/ 6110037 h 7458372"/>
              <a:gd name="connsiteX7787" fmla="*/ 8082281 w 10505529"/>
              <a:gd name="connsiteY7787" fmla="*/ 6110037 h 7458372"/>
              <a:gd name="connsiteX7788" fmla="*/ 8072297 w 10505529"/>
              <a:gd name="connsiteY7788" fmla="*/ 6113631 h 7458372"/>
              <a:gd name="connsiteX7789" fmla="*/ 8068703 w 10505529"/>
              <a:gd name="connsiteY7789" fmla="*/ 6123082 h 7458372"/>
              <a:gd name="connsiteX7790" fmla="*/ 8072297 w 10505529"/>
              <a:gd name="connsiteY7790" fmla="*/ 6132533 h 7458372"/>
              <a:gd name="connsiteX7791" fmla="*/ 8082281 w 10505529"/>
              <a:gd name="connsiteY7791" fmla="*/ 6135995 h 7458372"/>
              <a:gd name="connsiteX7792" fmla="*/ 8087605 w 10505529"/>
              <a:gd name="connsiteY7792" fmla="*/ 6135063 h 7458372"/>
              <a:gd name="connsiteX7793" fmla="*/ 8091332 w 10505529"/>
              <a:gd name="connsiteY7793" fmla="*/ 6132666 h 7458372"/>
              <a:gd name="connsiteX7794" fmla="*/ 8093994 w 10505529"/>
              <a:gd name="connsiteY7794" fmla="*/ 6128407 h 7458372"/>
              <a:gd name="connsiteX7795" fmla="*/ 8094926 w 10505529"/>
              <a:gd name="connsiteY7795" fmla="*/ 6122949 h 7458372"/>
              <a:gd name="connsiteX7796" fmla="*/ 8093994 w 10505529"/>
              <a:gd name="connsiteY7796" fmla="*/ 6117758 h 7458372"/>
              <a:gd name="connsiteX7797" fmla="*/ 8091332 w 10505529"/>
              <a:gd name="connsiteY7797" fmla="*/ 6113631 h 7458372"/>
              <a:gd name="connsiteX7798" fmla="*/ 8087338 w 10505529"/>
              <a:gd name="connsiteY7798" fmla="*/ 6110968 h 7458372"/>
              <a:gd name="connsiteX7799" fmla="*/ 8082281 w 10505529"/>
              <a:gd name="connsiteY7799" fmla="*/ 6110037 h 7458372"/>
              <a:gd name="connsiteX7800" fmla="*/ 7864636 w 10505529"/>
              <a:gd name="connsiteY7800" fmla="*/ 6110037 h 7458372"/>
              <a:gd name="connsiteX7801" fmla="*/ 7854652 w 10505529"/>
              <a:gd name="connsiteY7801" fmla="*/ 6113631 h 7458372"/>
              <a:gd name="connsiteX7802" fmla="*/ 7851058 w 10505529"/>
              <a:gd name="connsiteY7802" fmla="*/ 6123082 h 7458372"/>
              <a:gd name="connsiteX7803" fmla="*/ 7854652 w 10505529"/>
              <a:gd name="connsiteY7803" fmla="*/ 6132533 h 7458372"/>
              <a:gd name="connsiteX7804" fmla="*/ 7864636 w 10505529"/>
              <a:gd name="connsiteY7804" fmla="*/ 6135995 h 7458372"/>
              <a:gd name="connsiteX7805" fmla="*/ 7869961 w 10505529"/>
              <a:gd name="connsiteY7805" fmla="*/ 6135063 h 7458372"/>
              <a:gd name="connsiteX7806" fmla="*/ 7873687 w 10505529"/>
              <a:gd name="connsiteY7806" fmla="*/ 6132666 h 7458372"/>
              <a:gd name="connsiteX7807" fmla="*/ 7876350 w 10505529"/>
              <a:gd name="connsiteY7807" fmla="*/ 6128407 h 7458372"/>
              <a:gd name="connsiteX7808" fmla="*/ 7877282 w 10505529"/>
              <a:gd name="connsiteY7808" fmla="*/ 6122949 h 7458372"/>
              <a:gd name="connsiteX7809" fmla="*/ 7876350 w 10505529"/>
              <a:gd name="connsiteY7809" fmla="*/ 6117758 h 7458372"/>
              <a:gd name="connsiteX7810" fmla="*/ 7873687 w 10505529"/>
              <a:gd name="connsiteY7810" fmla="*/ 6113631 h 7458372"/>
              <a:gd name="connsiteX7811" fmla="*/ 7869694 w 10505529"/>
              <a:gd name="connsiteY7811" fmla="*/ 6110968 h 7458372"/>
              <a:gd name="connsiteX7812" fmla="*/ 7864636 w 10505529"/>
              <a:gd name="connsiteY7812" fmla="*/ 6110037 h 7458372"/>
              <a:gd name="connsiteX7813" fmla="*/ 7646991 w 10505529"/>
              <a:gd name="connsiteY7813" fmla="*/ 6110037 h 7458372"/>
              <a:gd name="connsiteX7814" fmla="*/ 7637007 w 10505529"/>
              <a:gd name="connsiteY7814" fmla="*/ 6113631 h 7458372"/>
              <a:gd name="connsiteX7815" fmla="*/ 7633413 w 10505529"/>
              <a:gd name="connsiteY7815" fmla="*/ 6123082 h 7458372"/>
              <a:gd name="connsiteX7816" fmla="*/ 7637007 w 10505529"/>
              <a:gd name="connsiteY7816" fmla="*/ 6132533 h 7458372"/>
              <a:gd name="connsiteX7817" fmla="*/ 7646991 w 10505529"/>
              <a:gd name="connsiteY7817" fmla="*/ 6135995 h 7458372"/>
              <a:gd name="connsiteX7818" fmla="*/ 7652315 w 10505529"/>
              <a:gd name="connsiteY7818" fmla="*/ 6135063 h 7458372"/>
              <a:gd name="connsiteX7819" fmla="*/ 7656042 w 10505529"/>
              <a:gd name="connsiteY7819" fmla="*/ 6132666 h 7458372"/>
              <a:gd name="connsiteX7820" fmla="*/ 7658705 w 10505529"/>
              <a:gd name="connsiteY7820" fmla="*/ 6128407 h 7458372"/>
              <a:gd name="connsiteX7821" fmla="*/ 7659769 w 10505529"/>
              <a:gd name="connsiteY7821" fmla="*/ 6122949 h 7458372"/>
              <a:gd name="connsiteX7822" fmla="*/ 7658705 w 10505529"/>
              <a:gd name="connsiteY7822" fmla="*/ 6117758 h 7458372"/>
              <a:gd name="connsiteX7823" fmla="*/ 7656042 w 10505529"/>
              <a:gd name="connsiteY7823" fmla="*/ 6113631 h 7458372"/>
              <a:gd name="connsiteX7824" fmla="*/ 7652049 w 10505529"/>
              <a:gd name="connsiteY7824" fmla="*/ 6110968 h 7458372"/>
              <a:gd name="connsiteX7825" fmla="*/ 7646991 w 10505529"/>
              <a:gd name="connsiteY7825" fmla="*/ 6110037 h 7458372"/>
              <a:gd name="connsiteX7826" fmla="*/ 7429345 w 10505529"/>
              <a:gd name="connsiteY7826" fmla="*/ 6110037 h 7458372"/>
              <a:gd name="connsiteX7827" fmla="*/ 7419361 w 10505529"/>
              <a:gd name="connsiteY7827" fmla="*/ 6113631 h 7458372"/>
              <a:gd name="connsiteX7828" fmla="*/ 7415768 w 10505529"/>
              <a:gd name="connsiteY7828" fmla="*/ 6123082 h 7458372"/>
              <a:gd name="connsiteX7829" fmla="*/ 7419361 w 10505529"/>
              <a:gd name="connsiteY7829" fmla="*/ 6132533 h 7458372"/>
              <a:gd name="connsiteX7830" fmla="*/ 7429345 w 10505529"/>
              <a:gd name="connsiteY7830" fmla="*/ 6135995 h 7458372"/>
              <a:gd name="connsiteX7831" fmla="*/ 7434670 w 10505529"/>
              <a:gd name="connsiteY7831" fmla="*/ 6135063 h 7458372"/>
              <a:gd name="connsiteX7832" fmla="*/ 7438397 w 10505529"/>
              <a:gd name="connsiteY7832" fmla="*/ 6132666 h 7458372"/>
              <a:gd name="connsiteX7833" fmla="*/ 7441059 w 10505529"/>
              <a:gd name="connsiteY7833" fmla="*/ 6128407 h 7458372"/>
              <a:gd name="connsiteX7834" fmla="*/ 7442124 w 10505529"/>
              <a:gd name="connsiteY7834" fmla="*/ 6122949 h 7458372"/>
              <a:gd name="connsiteX7835" fmla="*/ 7441059 w 10505529"/>
              <a:gd name="connsiteY7835" fmla="*/ 6117758 h 7458372"/>
              <a:gd name="connsiteX7836" fmla="*/ 7438397 w 10505529"/>
              <a:gd name="connsiteY7836" fmla="*/ 6113631 h 7458372"/>
              <a:gd name="connsiteX7837" fmla="*/ 7434403 w 10505529"/>
              <a:gd name="connsiteY7837" fmla="*/ 6110968 h 7458372"/>
              <a:gd name="connsiteX7838" fmla="*/ 7429345 w 10505529"/>
              <a:gd name="connsiteY7838" fmla="*/ 6110037 h 7458372"/>
              <a:gd name="connsiteX7839" fmla="*/ 7211701 w 10505529"/>
              <a:gd name="connsiteY7839" fmla="*/ 6110037 h 7458372"/>
              <a:gd name="connsiteX7840" fmla="*/ 7201717 w 10505529"/>
              <a:gd name="connsiteY7840" fmla="*/ 6113631 h 7458372"/>
              <a:gd name="connsiteX7841" fmla="*/ 7198123 w 10505529"/>
              <a:gd name="connsiteY7841" fmla="*/ 6123082 h 7458372"/>
              <a:gd name="connsiteX7842" fmla="*/ 7201717 w 10505529"/>
              <a:gd name="connsiteY7842" fmla="*/ 6132533 h 7458372"/>
              <a:gd name="connsiteX7843" fmla="*/ 7211701 w 10505529"/>
              <a:gd name="connsiteY7843" fmla="*/ 6135995 h 7458372"/>
              <a:gd name="connsiteX7844" fmla="*/ 7217026 w 10505529"/>
              <a:gd name="connsiteY7844" fmla="*/ 6135063 h 7458372"/>
              <a:gd name="connsiteX7845" fmla="*/ 7220752 w 10505529"/>
              <a:gd name="connsiteY7845" fmla="*/ 6132666 h 7458372"/>
              <a:gd name="connsiteX7846" fmla="*/ 7223415 w 10505529"/>
              <a:gd name="connsiteY7846" fmla="*/ 6128407 h 7458372"/>
              <a:gd name="connsiteX7847" fmla="*/ 7224480 w 10505529"/>
              <a:gd name="connsiteY7847" fmla="*/ 6122949 h 7458372"/>
              <a:gd name="connsiteX7848" fmla="*/ 7223415 w 10505529"/>
              <a:gd name="connsiteY7848" fmla="*/ 6117758 h 7458372"/>
              <a:gd name="connsiteX7849" fmla="*/ 7220752 w 10505529"/>
              <a:gd name="connsiteY7849" fmla="*/ 6113631 h 7458372"/>
              <a:gd name="connsiteX7850" fmla="*/ 7216759 w 10505529"/>
              <a:gd name="connsiteY7850" fmla="*/ 6110968 h 7458372"/>
              <a:gd name="connsiteX7851" fmla="*/ 7211701 w 10505529"/>
              <a:gd name="connsiteY7851" fmla="*/ 6110037 h 7458372"/>
              <a:gd name="connsiteX7852" fmla="*/ 6994056 w 10505529"/>
              <a:gd name="connsiteY7852" fmla="*/ 6110037 h 7458372"/>
              <a:gd name="connsiteX7853" fmla="*/ 6984072 w 10505529"/>
              <a:gd name="connsiteY7853" fmla="*/ 6113631 h 7458372"/>
              <a:gd name="connsiteX7854" fmla="*/ 6980478 w 10505529"/>
              <a:gd name="connsiteY7854" fmla="*/ 6123082 h 7458372"/>
              <a:gd name="connsiteX7855" fmla="*/ 6984072 w 10505529"/>
              <a:gd name="connsiteY7855" fmla="*/ 6132533 h 7458372"/>
              <a:gd name="connsiteX7856" fmla="*/ 6994056 w 10505529"/>
              <a:gd name="connsiteY7856" fmla="*/ 6135995 h 7458372"/>
              <a:gd name="connsiteX7857" fmla="*/ 6999380 w 10505529"/>
              <a:gd name="connsiteY7857" fmla="*/ 6135063 h 7458372"/>
              <a:gd name="connsiteX7858" fmla="*/ 7003107 w 10505529"/>
              <a:gd name="connsiteY7858" fmla="*/ 6132666 h 7458372"/>
              <a:gd name="connsiteX7859" fmla="*/ 7005769 w 10505529"/>
              <a:gd name="connsiteY7859" fmla="*/ 6128407 h 7458372"/>
              <a:gd name="connsiteX7860" fmla="*/ 7006834 w 10505529"/>
              <a:gd name="connsiteY7860" fmla="*/ 6122949 h 7458372"/>
              <a:gd name="connsiteX7861" fmla="*/ 7005769 w 10505529"/>
              <a:gd name="connsiteY7861" fmla="*/ 6117758 h 7458372"/>
              <a:gd name="connsiteX7862" fmla="*/ 7003107 w 10505529"/>
              <a:gd name="connsiteY7862" fmla="*/ 6113631 h 7458372"/>
              <a:gd name="connsiteX7863" fmla="*/ 6999113 w 10505529"/>
              <a:gd name="connsiteY7863" fmla="*/ 6110968 h 7458372"/>
              <a:gd name="connsiteX7864" fmla="*/ 6994056 w 10505529"/>
              <a:gd name="connsiteY7864" fmla="*/ 6110037 h 7458372"/>
              <a:gd name="connsiteX7865" fmla="*/ 6776544 w 10505529"/>
              <a:gd name="connsiteY7865" fmla="*/ 6110037 h 7458372"/>
              <a:gd name="connsiteX7866" fmla="*/ 6766560 w 10505529"/>
              <a:gd name="connsiteY7866" fmla="*/ 6113631 h 7458372"/>
              <a:gd name="connsiteX7867" fmla="*/ 6762966 w 10505529"/>
              <a:gd name="connsiteY7867" fmla="*/ 6123082 h 7458372"/>
              <a:gd name="connsiteX7868" fmla="*/ 6766560 w 10505529"/>
              <a:gd name="connsiteY7868" fmla="*/ 6132533 h 7458372"/>
              <a:gd name="connsiteX7869" fmla="*/ 6776544 w 10505529"/>
              <a:gd name="connsiteY7869" fmla="*/ 6135995 h 7458372"/>
              <a:gd name="connsiteX7870" fmla="*/ 6781869 w 10505529"/>
              <a:gd name="connsiteY7870" fmla="*/ 6135063 h 7458372"/>
              <a:gd name="connsiteX7871" fmla="*/ 6785595 w 10505529"/>
              <a:gd name="connsiteY7871" fmla="*/ 6132666 h 7458372"/>
              <a:gd name="connsiteX7872" fmla="*/ 6788258 w 10505529"/>
              <a:gd name="connsiteY7872" fmla="*/ 6128407 h 7458372"/>
              <a:gd name="connsiteX7873" fmla="*/ 6789323 w 10505529"/>
              <a:gd name="connsiteY7873" fmla="*/ 6122949 h 7458372"/>
              <a:gd name="connsiteX7874" fmla="*/ 6788258 w 10505529"/>
              <a:gd name="connsiteY7874" fmla="*/ 6117758 h 7458372"/>
              <a:gd name="connsiteX7875" fmla="*/ 6785595 w 10505529"/>
              <a:gd name="connsiteY7875" fmla="*/ 6113631 h 7458372"/>
              <a:gd name="connsiteX7876" fmla="*/ 6781602 w 10505529"/>
              <a:gd name="connsiteY7876" fmla="*/ 6110968 h 7458372"/>
              <a:gd name="connsiteX7877" fmla="*/ 6776544 w 10505529"/>
              <a:gd name="connsiteY7877" fmla="*/ 6110037 h 7458372"/>
              <a:gd name="connsiteX7878" fmla="*/ 6558899 w 10505529"/>
              <a:gd name="connsiteY7878" fmla="*/ 6110037 h 7458372"/>
              <a:gd name="connsiteX7879" fmla="*/ 6548915 w 10505529"/>
              <a:gd name="connsiteY7879" fmla="*/ 6113631 h 7458372"/>
              <a:gd name="connsiteX7880" fmla="*/ 6545321 w 10505529"/>
              <a:gd name="connsiteY7880" fmla="*/ 6123082 h 7458372"/>
              <a:gd name="connsiteX7881" fmla="*/ 6548915 w 10505529"/>
              <a:gd name="connsiteY7881" fmla="*/ 6132533 h 7458372"/>
              <a:gd name="connsiteX7882" fmla="*/ 6558899 w 10505529"/>
              <a:gd name="connsiteY7882" fmla="*/ 6135995 h 7458372"/>
              <a:gd name="connsiteX7883" fmla="*/ 6564223 w 10505529"/>
              <a:gd name="connsiteY7883" fmla="*/ 6135063 h 7458372"/>
              <a:gd name="connsiteX7884" fmla="*/ 6567950 w 10505529"/>
              <a:gd name="connsiteY7884" fmla="*/ 6132666 h 7458372"/>
              <a:gd name="connsiteX7885" fmla="*/ 6570612 w 10505529"/>
              <a:gd name="connsiteY7885" fmla="*/ 6128407 h 7458372"/>
              <a:gd name="connsiteX7886" fmla="*/ 6571677 w 10505529"/>
              <a:gd name="connsiteY7886" fmla="*/ 6122949 h 7458372"/>
              <a:gd name="connsiteX7887" fmla="*/ 6570612 w 10505529"/>
              <a:gd name="connsiteY7887" fmla="*/ 6117758 h 7458372"/>
              <a:gd name="connsiteX7888" fmla="*/ 6567950 w 10505529"/>
              <a:gd name="connsiteY7888" fmla="*/ 6113631 h 7458372"/>
              <a:gd name="connsiteX7889" fmla="*/ 6563956 w 10505529"/>
              <a:gd name="connsiteY7889" fmla="*/ 6110968 h 7458372"/>
              <a:gd name="connsiteX7890" fmla="*/ 6558899 w 10505529"/>
              <a:gd name="connsiteY7890" fmla="*/ 6110037 h 7458372"/>
              <a:gd name="connsiteX7891" fmla="*/ 6341253 w 10505529"/>
              <a:gd name="connsiteY7891" fmla="*/ 6110037 h 7458372"/>
              <a:gd name="connsiteX7892" fmla="*/ 6331270 w 10505529"/>
              <a:gd name="connsiteY7892" fmla="*/ 6113631 h 7458372"/>
              <a:gd name="connsiteX7893" fmla="*/ 6327675 w 10505529"/>
              <a:gd name="connsiteY7893" fmla="*/ 6123082 h 7458372"/>
              <a:gd name="connsiteX7894" fmla="*/ 6331270 w 10505529"/>
              <a:gd name="connsiteY7894" fmla="*/ 6132533 h 7458372"/>
              <a:gd name="connsiteX7895" fmla="*/ 6341253 w 10505529"/>
              <a:gd name="connsiteY7895" fmla="*/ 6135995 h 7458372"/>
              <a:gd name="connsiteX7896" fmla="*/ 6346578 w 10505529"/>
              <a:gd name="connsiteY7896" fmla="*/ 6135063 h 7458372"/>
              <a:gd name="connsiteX7897" fmla="*/ 6350305 w 10505529"/>
              <a:gd name="connsiteY7897" fmla="*/ 6132666 h 7458372"/>
              <a:gd name="connsiteX7898" fmla="*/ 6352968 w 10505529"/>
              <a:gd name="connsiteY7898" fmla="*/ 6128407 h 7458372"/>
              <a:gd name="connsiteX7899" fmla="*/ 6354033 w 10505529"/>
              <a:gd name="connsiteY7899" fmla="*/ 6122949 h 7458372"/>
              <a:gd name="connsiteX7900" fmla="*/ 6352968 w 10505529"/>
              <a:gd name="connsiteY7900" fmla="*/ 6117758 h 7458372"/>
              <a:gd name="connsiteX7901" fmla="*/ 6350305 w 10505529"/>
              <a:gd name="connsiteY7901" fmla="*/ 6113631 h 7458372"/>
              <a:gd name="connsiteX7902" fmla="*/ 6346312 w 10505529"/>
              <a:gd name="connsiteY7902" fmla="*/ 6110968 h 7458372"/>
              <a:gd name="connsiteX7903" fmla="*/ 6341253 w 10505529"/>
              <a:gd name="connsiteY7903" fmla="*/ 6110037 h 7458372"/>
              <a:gd name="connsiteX7904" fmla="*/ 6123608 w 10505529"/>
              <a:gd name="connsiteY7904" fmla="*/ 6110037 h 7458372"/>
              <a:gd name="connsiteX7905" fmla="*/ 6113624 w 10505529"/>
              <a:gd name="connsiteY7905" fmla="*/ 6113631 h 7458372"/>
              <a:gd name="connsiteX7906" fmla="*/ 6110030 w 10505529"/>
              <a:gd name="connsiteY7906" fmla="*/ 6123082 h 7458372"/>
              <a:gd name="connsiteX7907" fmla="*/ 6113624 w 10505529"/>
              <a:gd name="connsiteY7907" fmla="*/ 6132533 h 7458372"/>
              <a:gd name="connsiteX7908" fmla="*/ 6123608 w 10505529"/>
              <a:gd name="connsiteY7908" fmla="*/ 6135995 h 7458372"/>
              <a:gd name="connsiteX7909" fmla="*/ 6128932 w 10505529"/>
              <a:gd name="connsiteY7909" fmla="*/ 6135063 h 7458372"/>
              <a:gd name="connsiteX7910" fmla="*/ 6132659 w 10505529"/>
              <a:gd name="connsiteY7910" fmla="*/ 6132666 h 7458372"/>
              <a:gd name="connsiteX7911" fmla="*/ 6135322 w 10505529"/>
              <a:gd name="connsiteY7911" fmla="*/ 6128407 h 7458372"/>
              <a:gd name="connsiteX7912" fmla="*/ 6136387 w 10505529"/>
              <a:gd name="connsiteY7912" fmla="*/ 6122949 h 7458372"/>
              <a:gd name="connsiteX7913" fmla="*/ 6135322 w 10505529"/>
              <a:gd name="connsiteY7913" fmla="*/ 6117758 h 7458372"/>
              <a:gd name="connsiteX7914" fmla="*/ 6132659 w 10505529"/>
              <a:gd name="connsiteY7914" fmla="*/ 6113631 h 7458372"/>
              <a:gd name="connsiteX7915" fmla="*/ 6128666 w 10505529"/>
              <a:gd name="connsiteY7915" fmla="*/ 6110968 h 7458372"/>
              <a:gd name="connsiteX7916" fmla="*/ 6123608 w 10505529"/>
              <a:gd name="connsiteY7916" fmla="*/ 6110037 h 7458372"/>
              <a:gd name="connsiteX7917" fmla="*/ 5905963 w 10505529"/>
              <a:gd name="connsiteY7917" fmla="*/ 6110037 h 7458372"/>
              <a:gd name="connsiteX7918" fmla="*/ 5895979 w 10505529"/>
              <a:gd name="connsiteY7918" fmla="*/ 6113631 h 7458372"/>
              <a:gd name="connsiteX7919" fmla="*/ 5892385 w 10505529"/>
              <a:gd name="connsiteY7919" fmla="*/ 6123082 h 7458372"/>
              <a:gd name="connsiteX7920" fmla="*/ 5895979 w 10505529"/>
              <a:gd name="connsiteY7920" fmla="*/ 6132533 h 7458372"/>
              <a:gd name="connsiteX7921" fmla="*/ 5905963 w 10505529"/>
              <a:gd name="connsiteY7921" fmla="*/ 6135995 h 7458372"/>
              <a:gd name="connsiteX7922" fmla="*/ 5911287 w 10505529"/>
              <a:gd name="connsiteY7922" fmla="*/ 6135063 h 7458372"/>
              <a:gd name="connsiteX7923" fmla="*/ 5915014 w 10505529"/>
              <a:gd name="connsiteY7923" fmla="*/ 6132666 h 7458372"/>
              <a:gd name="connsiteX7924" fmla="*/ 5917677 w 10505529"/>
              <a:gd name="connsiteY7924" fmla="*/ 6128407 h 7458372"/>
              <a:gd name="connsiteX7925" fmla="*/ 5918742 w 10505529"/>
              <a:gd name="connsiteY7925" fmla="*/ 6122949 h 7458372"/>
              <a:gd name="connsiteX7926" fmla="*/ 5917677 w 10505529"/>
              <a:gd name="connsiteY7926" fmla="*/ 6117758 h 7458372"/>
              <a:gd name="connsiteX7927" fmla="*/ 5915014 w 10505529"/>
              <a:gd name="connsiteY7927" fmla="*/ 6113631 h 7458372"/>
              <a:gd name="connsiteX7928" fmla="*/ 5911021 w 10505529"/>
              <a:gd name="connsiteY7928" fmla="*/ 6110968 h 7458372"/>
              <a:gd name="connsiteX7929" fmla="*/ 5905963 w 10505529"/>
              <a:gd name="connsiteY7929" fmla="*/ 6110037 h 7458372"/>
              <a:gd name="connsiteX7930" fmla="*/ 5688451 w 10505529"/>
              <a:gd name="connsiteY7930" fmla="*/ 6110037 h 7458372"/>
              <a:gd name="connsiteX7931" fmla="*/ 5678467 w 10505529"/>
              <a:gd name="connsiteY7931" fmla="*/ 6113631 h 7458372"/>
              <a:gd name="connsiteX7932" fmla="*/ 5674873 w 10505529"/>
              <a:gd name="connsiteY7932" fmla="*/ 6123082 h 7458372"/>
              <a:gd name="connsiteX7933" fmla="*/ 5678467 w 10505529"/>
              <a:gd name="connsiteY7933" fmla="*/ 6132533 h 7458372"/>
              <a:gd name="connsiteX7934" fmla="*/ 5688451 w 10505529"/>
              <a:gd name="connsiteY7934" fmla="*/ 6135995 h 7458372"/>
              <a:gd name="connsiteX7935" fmla="*/ 5693775 w 10505529"/>
              <a:gd name="connsiteY7935" fmla="*/ 6135063 h 7458372"/>
              <a:gd name="connsiteX7936" fmla="*/ 5697502 w 10505529"/>
              <a:gd name="connsiteY7936" fmla="*/ 6132666 h 7458372"/>
              <a:gd name="connsiteX7937" fmla="*/ 5700165 w 10505529"/>
              <a:gd name="connsiteY7937" fmla="*/ 6128407 h 7458372"/>
              <a:gd name="connsiteX7938" fmla="*/ 5701230 w 10505529"/>
              <a:gd name="connsiteY7938" fmla="*/ 6122949 h 7458372"/>
              <a:gd name="connsiteX7939" fmla="*/ 5700165 w 10505529"/>
              <a:gd name="connsiteY7939" fmla="*/ 6117758 h 7458372"/>
              <a:gd name="connsiteX7940" fmla="*/ 5697502 w 10505529"/>
              <a:gd name="connsiteY7940" fmla="*/ 6113631 h 7458372"/>
              <a:gd name="connsiteX7941" fmla="*/ 5693509 w 10505529"/>
              <a:gd name="connsiteY7941" fmla="*/ 6110968 h 7458372"/>
              <a:gd name="connsiteX7942" fmla="*/ 5688451 w 10505529"/>
              <a:gd name="connsiteY7942" fmla="*/ 6110037 h 7458372"/>
              <a:gd name="connsiteX7943" fmla="*/ 5470806 w 10505529"/>
              <a:gd name="connsiteY7943" fmla="*/ 6110037 h 7458372"/>
              <a:gd name="connsiteX7944" fmla="*/ 5460822 w 10505529"/>
              <a:gd name="connsiteY7944" fmla="*/ 6113631 h 7458372"/>
              <a:gd name="connsiteX7945" fmla="*/ 5457228 w 10505529"/>
              <a:gd name="connsiteY7945" fmla="*/ 6123082 h 7458372"/>
              <a:gd name="connsiteX7946" fmla="*/ 5460822 w 10505529"/>
              <a:gd name="connsiteY7946" fmla="*/ 6132533 h 7458372"/>
              <a:gd name="connsiteX7947" fmla="*/ 5470806 w 10505529"/>
              <a:gd name="connsiteY7947" fmla="*/ 6135995 h 7458372"/>
              <a:gd name="connsiteX7948" fmla="*/ 5476130 w 10505529"/>
              <a:gd name="connsiteY7948" fmla="*/ 6135063 h 7458372"/>
              <a:gd name="connsiteX7949" fmla="*/ 5479857 w 10505529"/>
              <a:gd name="connsiteY7949" fmla="*/ 6132666 h 7458372"/>
              <a:gd name="connsiteX7950" fmla="*/ 5482520 w 10505529"/>
              <a:gd name="connsiteY7950" fmla="*/ 6128407 h 7458372"/>
              <a:gd name="connsiteX7951" fmla="*/ 5483585 w 10505529"/>
              <a:gd name="connsiteY7951" fmla="*/ 6122949 h 7458372"/>
              <a:gd name="connsiteX7952" fmla="*/ 5482520 w 10505529"/>
              <a:gd name="connsiteY7952" fmla="*/ 6117758 h 7458372"/>
              <a:gd name="connsiteX7953" fmla="*/ 5479857 w 10505529"/>
              <a:gd name="connsiteY7953" fmla="*/ 6113631 h 7458372"/>
              <a:gd name="connsiteX7954" fmla="*/ 5475864 w 10505529"/>
              <a:gd name="connsiteY7954" fmla="*/ 6110968 h 7458372"/>
              <a:gd name="connsiteX7955" fmla="*/ 5470806 w 10505529"/>
              <a:gd name="connsiteY7955" fmla="*/ 6110037 h 7458372"/>
              <a:gd name="connsiteX7956" fmla="*/ 5253160 w 10505529"/>
              <a:gd name="connsiteY7956" fmla="*/ 6110037 h 7458372"/>
              <a:gd name="connsiteX7957" fmla="*/ 5243177 w 10505529"/>
              <a:gd name="connsiteY7957" fmla="*/ 6113631 h 7458372"/>
              <a:gd name="connsiteX7958" fmla="*/ 5239583 w 10505529"/>
              <a:gd name="connsiteY7958" fmla="*/ 6123082 h 7458372"/>
              <a:gd name="connsiteX7959" fmla="*/ 5243177 w 10505529"/>
              <a:gd name="connsiteY7959" fmla="*/ 6132533 h 7458372"/>
              <a:gd name="connsiteX7960" fmla="*/ 5253160 w 10505529"/>
              <a:gd name="connsiteY7960" fmla="*/ 6135995 h 7458372"/>
              <a:gd name="connsiteX7961" fmla="*/ 5258485 w 10505529"/>
              <a:gd name="connsiteY7961" fmla="*/ 6135063 h 7458372"/>
              <a:gd name="connsiteX7962" fmla="*/ 5262212 w 10505529"/>
              <a:gd name="connsiteY7962" fmla="*/ 6132666 h 7458372"/>
              <a:gd name="connsiteX7963" fmla="*/ 5264875 w 10505529"/>
              <a:gd name="connsiteY7963" fmla="*/ 6128407 h 7458372"/>
              <a:gd name="connsiteX7964" fmla="*/ 5265939 w 10505529"/>
              <a:gd name="connsiteY7964" fmla="*/ 6122949 h 7458372"/>
              <a:gd name="connsiteX7965" fmla="*/ 5264875 w 10505529"/>
              <a:gd name="connsiteY7965" fmla="*/ 6117758 h 7458372"/>
              <a:gd name="connsiteX7966" fmla="*/ 5262212 w 10505529"/>
              <a:gd name="connsiteY7966" fmla="*/ 6113631 h 7458372"/>
              <a:gd name="connsiteX7967" fmla="*/ 5258219 w 10505529"/>
              <a:gd name="connsiteY7967" fmla="*/ 6110968 h 7458372"/>
              <a:gd name="connsiteX7968" fmla="*/ 5253160 w 10505529"/>
              <a:gd name="connsiteY7968" fmla="*/ 6110037 h 7458372"/>
              <a:gd name="connsiteX7969" fmla="*/ 5035515 w 10505529"/>
              <a:gd name="connsiteY7969" fmla="*/ 6110037 h 7458372"/>
              <a:gd name="connsiteX7970" fmla="*/ 5025532 w 10505529"/>
              <a:gd name="connsiteY7970" fmla="*/ 6113631 h 7458372"/>
              <a:gd name="connsiteX7971" fmla="*/ 5021938 w 10505529"/>
              <a:gd name="connsiteY7971" fmla="*/ 6123082 h 7458372"/>
              <a:gd name="connsiteX7972" fmla="*/ 5025532 w 10505529"/>
              <a:gd name="connsiteY7972" fmla="*/ 6132533 h 7458372"/>
              <a:gd name="connsiteX7973" fmla="*/ 5035515 w 10505529"/>
              <a:gd name="connsiteY7973" fmla="*/ 6135995 h 7458372"/>
              <a:gd name="connsiteX7974" fmla="*/ 5040840 w 10505529"/>
              <a:gd name="connsiteY7974" fmla="*/ 6135063 h 7458372"/>
              <a:gd name="connsiteX7975" fmla="*/ 5044567 w 10505529"/>
              <a:gd name="connsiteY7975" fmla="*/ 6132666 h 7458372"/>
              <a:gd name="connsiteX7976" fmla="*/ 5047230 w 10505529"/>
              <a:gd name="connsiteY7976" fmla="*/ 6128407 h 7458372"/>
              <a:gd name="connsiteX7977" fmla="*/ 5048294 w 10505529"/>
              <a:gd name="connsiteY7977" fmla="*/ 6122949 h 7458372"/>
              <a:gd name="connsiteX7978" fmla="*/ 5047230 w 10505529"/>
              <a:gd name="connsiteY7978" fmla="*/ 6117758 h 7458372"/>
              <a:gd name="connsiteX7979" fmla="*/ 5044567 w 10505529"/>
              <a:gd name="connsiteY7979" fmla="*/ 6113631 h 7458372"/>
              <a:gd name="connsiteX7980" fmla="*/ 5040574 w 10505529"/>
              <a:gd name="connsiteY7980" fmla="*/ 6110968 h 7458372"/>
              <a:gd name="connsiteX7981" fmla="*/ 5035515 w 10505529"/>
              <a:gd name="connsiteY7981" fmla="*/ 6110037 h 7458372"/>
              <a:gd name="connsiteX7982" fmla="*/ 4817870 w 10505529"/>
              <a:gd name="connsiteY7982" fmla="*/ 6110037 h 7458372"/>
              <a:gd name="connsiteX7983" fmla="*/ 4807887 w 10505529"/>
              <a:gd name="connsiteY7983" fmla="*/ 6113631 h 7458372"/>
              <a:gd name="connsiteX7984" fmla="*/ 4804293 w 10505529"/>
              <a:gd name="connsiteY7984" fmla="*/ 6123082 h 7458372"/>
              <a:gd name="connsiteX7985" fmla="*/ 4807887 w 10505529"/>
              <a:gd name="connsiteY7985" fmla="*/ 6132533 h 7458372"/>
              <a:gd name="connsiteX7986" fmla="*/ 4817870 w 10505529"/>
              <a:gd name="connsiteY7986" fmla="*/ 6135995 h 7458372"/>
              <a:gd name="connsiteX7987" fmla="*/ 4823195 w 10505529"/>
              <a:gd name="connsiteY7987" fmla="*/ 6135063 h 7458372"/>
              <a:gd name="connsiteX7988" fmla="*/ 4826922 w 10505529"/>
              <a:gd name="connsiteY7988" fmla="*/ 6132666 h 7458372"/>
              <a:gd name="connsiteX7989" fmla="*/ 4829585 w 10505529"/>
              <a:gd name="connsiteY7989" fmla="*/ 6128407 h 7458372"/>
              <a:gd name="connsiteX7990" fmla="*/ 4830650 w 10505529"/>
              <a:gd name="connsiteY7990" fmla="*/ 6122949 h 7458372"/>
              <a:gd name="connsiteX7991" fmla="*/ 4829585 w 10505529"/>
              <a:gd name="connsiteY7991" fmla="*/ 6117758 h 7458372"/>
              <a:gd name="connsiteX7992" fmla="*/ 4826922 w 10505529"/>
              <a:gd name="connsiteY7992" fmla="*/ 6113631 h 7458372"/>
              <a:gd name="connsiteX7993" fmla="*/ 4822929 w 10505529"/>
              <a:gd name="connsiteY7993" fmla="*/ 6110968 h 7458372"/>
              <a:gd name="connsiteX7994" fmla="*/ 4817870 w 10505529"/>
              <a:gd name="connsiteY7994" fmla="*/ 6110037 h 7458372"/>
              <a:gd name="connsiteX7995" fmla="*/ 4600226 w 10505529"/>
              <a:gd name="connsiteY7995" fmla="*/ 6110037 h 7458372"/>
              <a:gd name="connsiteX7996" fmla="*/ 4590242 w 10505529"/>
              <a:gd name="connsiteY7996" fmla="*/ 6113631 h 7458372"/>
              <a:gd name="connsiteX7997" fmla="*/ 4586648 w 10505529"/>
              <a:gd name="connsiteY7997" fmla="*/ 6123082 h 7458372"/>
              <a:gd name="connsiteX7998" fmla="*/ 4590242 w 10505529"/>
              <a:gd name="connsiteY7998" fmla="*/ 6132533 h 7458372"/>
              <a:gd name="connsiteX7999" fmla="*/ 4600226 w 10505529"/>
              <a:gd name="connsiteY7999" fmla="*/ 6135995 h 7458372"/>
              <a:gd name="connsiteX8000" fmla="*/ 4605550 w 10505529"/>
              <a:gd name="connsiteY8000" fmla="*/ 6135063 h 7458372"/>
              <a:gd name="connsiteX8001" fmla="*/ 4609277 w 10505529"/>
              <a:gd name="connsiteY8001" fmla="*/ 6132666 h 7458372"/>
              <a:gd name="connsiteX8002" fmla="*/ 4611940 w 10505529"/>
              <a:gd name="connsiteY8002" fmla="*/ 6128407 h 7458372"/>
              <a:gd name="connsiteX8003" fmla="*/ 4613005 w 10505529"/>
              <a:gd name="connsiteY8003" fmla="*/ 6122949 h 7458372"/>
              <a:gd name="connsiteX8004" fmla="*/ 4611940 w 10505529"/>
              <a:gd name="connsiteY8004" fmla="*/ 6117758 h 7458372"/>
              <a:gd name="connsiteX8005" fmla="*/ 4609277 w 10505529"/>
              <a:gd name="connsiteY8005" fmla="*/ 6113631 h 7458372"/>
              <a:gd name="connsiteX8006" fmla="*/ 4605284 w 10505529"/>
              <a:gd name="connsiteY8006" fmla="*/ 6110968 h 7458372"/>
              <a:gd name="connsiteX8007" fmla="*/ 4600226 w 10505529"/>
              <a:gd name="connsiteY8007" fmla="*/ 6110037 h 7458372"/>
              <a:gd name="connsiteX8008" fmla="*/ 4382713 w 10505529"/>
              <a:gd name="connsiteY8008" fmla="*/ 6110037 h 7458372"/>
              <a:gd name="connsiteX8009" fmla="*/ 4372730 w 10505529"/>
              <a:gd name="connsiteY8009" fmla="*/ 6113631 h 7458372"/>
              <a:gd name="connsiteX8010" fmla="*/ 4369136 w 10505529"/>
              <a:gd name="connsiteY8010" fmla="*/ 6123082 h 7458372"/>
              <a:gd name="connsiteX8011" fmla="*/ 4372730 w 10505529"/>
              <a:gd name="connsiteY8011" fmla="*/ 6132533 h 7458372"/>
              <a:gd name="connsiteX8012" fmla="*/ 4382713 w 10505529"/>
              <a:gd name="connsiteY8012" fmla="*/ 6135995 h 7458372"/>
              <a:gd name="connsiteX8013" fmla="*/ 4388038 w 10505529"/>
              <a:gd name="connsiteY8013" fmla="*/ 6135063 h 7458372"/>
              <a:gd name="connsiteX8014" fmla="*/ 4391765 w 10505529"/>
              <a:gd name="connsiteY8014" fmla="*/ 6132666 h 7458372"/>
              <a:gd name="connsiteX8015" fmla="*/ 4394428 w 10505529"/>
              <a:gd name="connsiteY8015" fmla="*/ 6128407 h 7458372"/>
              <a:gd name="connsiteX8016" fmla="*/ 4395493 w 10505529"/>
              <a:gd name="connsiteY8016" fmla="*/ 6122949 h 7458372"/>
              <a:gd name="connsiteX8017" fmla="*/ 4394428 w 10505529"/>
              <a:gd name="connsiteY8017" fmla="*/ 6117758 h 7458372"/>
              <a:gd name="connsiteX8018" fmla="*/ 4391765 w 10505529"/>
              <a:gd name="connsiteY8018" fmla="*/ 6113631 h 7458372"/>
              <a:gd name="connsiteX8019" fmla="*/ 4387772 w 10505529"/>
              <a:gd name="connsiteY8019" fmla="*/ 6110968 h 7458372"/>
              <a:gd name="connsiteX8020" fmla="*/ 4382713 w 10505529"/>
              <a:gd name="connsiteY8020" fmla="*/ 6110037 h 7458372"/>
              <a:gd name="connsiteX8021" fmla="*/ 4165068 w 10505529"/>
              <a:gd name="connsiteY8021" fmla="*/ 6110037 h 7458372"/>
              <a:gd name="connsiteX8022" fmla="*/ 4155084 w 10505529"/>
              <a:gd name="connsiteY8022" fmla="*/ 6113631 h 7458372"/>
              <a:gd name="connsiteX8023" fmla="*/ 4151490 w 10505529"/>
              <a:gd name="connsiteY8023" fmla="*/ 6123082 h 7458372"/>
              <a:gd name="connsiteX8024" fmla="*/ 4155084 w 10505529"/>
              <a:gd name="connsiteY8024" fmla="*/ 6132533 h 7458372"/>
              <a:gd name="connsiteX8025" fmla="*/ 4165068 w 10505529"/>
              <a:gd name="connsiteY8025" fmla="*/ 6135995 h 7458372"/>
              <a:gd name="connsiteX8026" fmla="*/ 4170392 w 10505529"/>
              <a:gd name="connsiteY8026" fmla="*/ 6135063 h 7458372"/>
              <a:gd name="connsiteX8027" fmla="*/ 4174119 w 10505529"/>
              <a:gd name="connsiteY8027" fmla="*/ 6132666 h 7458372"/>
              <a:gd name="connsiteX8028" fmla="*/ 4176782 w 10505529"/>
              <a:gd name="connsiteY8028" fmla="*/ 6128407 h 7458372"/>
              <a:gd name="connsiteX8029" fmla="*/ 4177847 w 10505529"/>
              <a:gd name="connsiteY8029" fmla="*/ 6122949 h 7458372"/>
              <a:gd name="connsiteX8030" fmla="*/ 4176782 w 10505529"/>
              <a:gd name="connsiteY8030" fmla="*/ 6117758 h 7458372"/>
              <a:gd name="connsiteX8031" fmla="*/ 4174119 w 10505529"/>
              <a:gd name="connsiteY8031" fmla="*/ 6113631 h 7458372"/>
              <a:gd name="connsiteX8032" fmla="*/ 4170126 w 10505529"/>
              <a:gd name="connsiteY8032" fmla="*/ 6110968 h 7458372"/>
              <a:gd name="connsiteX8033" fmla="*/ 4165068 w 10505529"/>
              <a:gd name="connsiteY8033" fmla="*/ 6110037 h 7458372"/>
              <a:gd name="connsiteX8034" fmla="*/ 3947756 w 10505529"/>
              <a:gd name="connsiteY8034" fmla="*/ 6110037 h 7458372"/>
              <a:gd name="connsiteX8035" fmla="*/ 3937773 w 10505529"/>
              <a:gd name="connsiteY8035" fmla="*/ 6113631 h 7458372"/>
              <a:gd name="connsiteX8036" fmla="*/ 3934178 w 10505529"/>
              <a:gd name="connsiteY8036" fmla="*/ 6123082 h 7458372"/>
              <a:gd name="connsiteX8037" fmla="*/ 3937773 w 10505529"/>
              <a:gd name="connsiteY8037" fmla="*/ 6132533 h 7458372"/>
              <a:gd name="connsiteX8038" fmla="*/ 3947756 w 10505529"/>
              <a:gd name="connsiteY8038" fmla="*/ 6135995 h 7458372"/>
              <a:gd name="connsiteX8039" fmla="*/ 3953084 w 10505529"/>
              <a:gd name="connsiteY8039" fmla="*/ 6135063 h 7458372"/>
              <a:gd name="connsiteX8040" fmla="*/ 3956811 w 10505529"/>
              <a:gd name="connsiteY8040" fmla="*/ 6132666 h 7458372"/>
              <a:gd name="connsiteX8041" fmla="*/ 3959474 w 10505529"/>
              <a:gd name="connsiteY8041" fmla="*/ 6128407 h 7458372"/>
              <a:gd name="connsiteX8042" fmla="*/ 3960539 w 10505529"/>
              <a:gd name="connsiteY8042" fmla="*/ 6122949 h 7458372"/>
              <a:gd name="connsiteX8043" fmla="*/ 3959474 w 10505529"/>
              <a:gd name="connsiteY8043" fmla="*/ 6117758 h 7458372"/>
              <a:gd name="connsiteX8044" fmla="*/ 3956811 w 10505529"/>
              <a:gd name="connsiteY8044" fmla="*/ 6113631 h 7458372"/>
              <a:gd name="connsiteX8045" fmla="*/ 3952818 w 10505529"/>
              <a:gd name="connsiteY8045" fmla="*/ 6110968 h 7458372"/>
              <a:gd name="connsiteX8046" fmla="*/ 3947756 w 10505529"/>
              <a:gd name="connsiteY8046" fmla="*/ 6110037 h 7458372"/>
              <a:gd name="connsiteX8047" fmla="*/ 3730096 w 10505529"/>
              <a:gd name="connsiteY8047" fmla="*/ 6110037 h 7458372"/>
              <a:gd name="connsiteX8048" fmla="*/ 3720109 w 10505529"/>
              <a:gd name="connsiteY8048" fmla="*/ 6113631 h 7458372"/>
              <a:gd name="connsiteX8049" fmla="*/ 3716516 w 10505529"/>
              <a:gd name="connsiteY8049" fmla="*/ 6123082 h 7458372"/>
              <a:gd name="connsiteX8050" fmla="*/ 3720109 w 10505529"/>
              <a:gd name="connsiteY8050" fmla="*/ 6132533 h 7458372"/>
              <a:gd name="connsiteX8051" fmla="*/ 3730096 w 10505529"/>
              <a:gd name="connsiteY8051" fmla="*/ 6135995 h 7458372"/>
              <a:gd name="connsiteX8052" fmla="*/ 3735421 w 10505529"/>
              <a:gd name="connsiteY8052" fmla="*/ 6135063 h 7458372"/>
              <a:gd name="connsiteX8053" fmla="*/ 3739148 w 10505529"/>
              <a:gd name="connsiteY8053" fmla="*/ 6132666 h 7458372"/>
              <a:gd name="connsiteX8054" fmla="*/ 3741812 w 10505529"/>
              <a:gd name="connsiteY8054" fmla="*/ 6128407 h 7458372"/>
              <a:gd name="connsiteX8055" fmla="*/ 3742876 w 10505529"/>
              <a:gd name="connsiteY8055" fmla="*/ 6122949 h 7458372"/>
              <a:gd name="connsiteX8056" fmla="*/ 3741812 w 10505529"/>
              <a:gd name="connsiteY8056" fmla="*/ 6117758 h 7458372"/>
              <a:gd name="connsiteX8057" fmla="*/ 3739148 w 10505529"/>
              <a:gd name="connsiteY8057" fmla="*/ 6113631 h 7458372"/>
              <a:gd name="connsiteX8058" fmla="*/ 3735155 w 10505529"/>
              <a:gd name="connsiteY8058" fmla="*/ 6110968 h 7458372"/>
              <a:gd name="connsiteX8059" fmla="*/ 3730096 w 10505529"/>
              <a:gd name="connsiteY8059" fmla="*/ 6110037 h 7458372"/>
              <a:gd name="connsiteX8060" fmla="*/ 3512433 w 10505529"/>
              <a:gd name="connsiteY8060" fmla="*/ 6110037 h 7458372"/>
              <a:gd name="connsiteX8061" fmla="*/ 3502444 w 10505529"/>
              <a:gd name="connsiteY8061" fmla="*/ 6113631 h 7458372"/>
              <a:gd name="connsiteX8062" fmla="*/ 3498851 w 10505529"/>
              <a:gd name="connsiteY8062" fmla="*/ 6123082 h 7458372"/>
              <a:gd name="connsiteX8063" fmla="*/ 3502444 w 10505529"/>
              <a:gd name="connsiteY8063" fmla="*/ 6132533 h 7458372"/>
              <a:gd name="connsiteX8064" fmla="*/ 3512433 w 10505529"/>
              <a:gd name="connsiteY8064" fmla="*/ 6135995 h 7458372"/>
              <a:gd name="connsiteX8065" fmla="*/ 3517759 w 10505529"/>
              <a:gd name="connsiteY8065" fmla="*/ 6135063 h 7458372"/>
              <a:gd name="connsiteX8066" fmla="*/ 3521486 w 10505529"/>
              <a:gd name="connsiteY8066" fmla="*/ 6132666 h 7458372"/>
              <a:gd name="connsiteX8067" fmla="*/ 3524149 w 10505529"/>
              <a:gd name="connsiteY8067" fmla="*/ 6128407 h 7458372"/>
              <a:gd name="connsiteX8068" fmla="*/ 3525214 w 10505529"/>
              <a:gd name="connsiteY8068" fmla="*/ 6122949 h 7458372"/>
              <a:gd name="connsiteX8069" fmla="*/ 3524149 w 10505529"/>
              <a:gd name="connsiteY8069" fmla="*/ 6117758 h 7458372"/>
              <a:gd name="connsiteX8070" fmla="*/ 3521486 w 10505529"/>
              <a:gd name="connsiteY8070" fmla="*/ 6113631 h 7458372"/>
              <a:gd name="connsiteX8071" fmla="*/ 3517493 w 10505529"/>
              <a:gd name="connsiteY8071" fmla="*/ 6110968 h 7458372"/>
              <a:gd name="connsiteX8072" fmla="*/ 3512433 w 10505529"/>
              <a:gd name="connsiteY8072" fmla="*/ 6110037 h 7458372"/>
              <a:gd name="connsiteX8073" fmla="*/ 3294904 w 10505529"/>
              <a:gd name="connsiteY8073" fmla="*/ 6110037 h 7458372"/>
              <a:gd name="connsiteX8074" fmla="*/ 3284917 w 10505529"/>
              <a:gd name="connsiteY8074" fmla="*/ 6113631 h 7458372"/>
              <a:gd name="connsiteX8075" fmla="*/ 3281323 w 10505529"/>
              <a:gd name="connsiteY8075" fmla="*/ 6123082 h 7458372"/>
              <a:gd name="connsiteX8076" fmla="*/ 3284917 w 10505529"/>
              <a:gd name="connsiteY8076" fmla="*/ 6132533 h 7458372"/>
              <a:gd name="connsiteX8077" fmla="*/ 3294904 w 10505529"/>
              <a:gd name="connsiteY8077" fmla="*/ 6135995 h 7458372"/>
              <a:gd name="connsiteX8078" fmla="*/ 3300230 w 10505529"/>
              <a:gd name="connsiteY8078" fmla="*/ 6135063 h 7458372"/>
              <a:gd name="connsiteX8079" fmla="*/ 3303957 w 10505529"/>
              <a:gd name="connsiteY8079" fmla="*/ 6132666 h 7458372"/>
              <a:gd name="connsiteX8080" fmla="*/ 3306620 w 10505529"/>
              <a:gd name="connsiteY8080" fmla="*/ 6128407 h 7458372"/>
              <a:gd name="connsiteX8081" fmla="*/ 3307684 w 10505529"/>
              <a:gd name="connsiteY8081" fmla="*/ 6122949 h 7458372"/>
              <a:gd name="connsiteX8082" fmla="*/ 3306620 w 10505529"/>
              <a:gd name="connsiteY8082" fmla="*/ 6117758 h 7458372"/>
              <a:gd name="connsiteX8083" fmla="*/ 3303957 w 10505529"/>
              <a:gd name="connsiteY8083" fmla="*/ 6113631 h 7458372"/>
              <a:gd name="connsiteX8084" fmla="*/ 3299964 w 10505529"/>
              <a:gd name="connsiteY8084" fmla="*/ 6110968 h 7458372"/>
              <a:gd name="connsiteX8085" fmla="*/ 3294904 w 10505529"/>
              <a:gd name="connsiteY8085" fmla="*/ 6110037 h 7458372"/>
              <a:gd name="connsiteX8086" fmla="*/ 3077375 w 10505529"/>
              <a:gd name="connsiteY8086" fmla="*/ 6110037 h 7458372"/>
              <a:gd name="connsiteX8087" fmla="*/ 3067391 w 10505529"/>
              <a:gd name="connsiteY8087" fmla="*/ 6113631 h 7458372"/>
              <a:gd name="connsiteX8088" fmla="*/ 3063660 w 10505529"/>
              <a:gd name="connsiteY8088" fmla="*/ 6123082 h 7458372"/>
              <a:gd name="connsiteX8089" fmla="*/ 3067256 w 10505529"/>
              <a:gd name="connsiteY8089" fmla="*/ 6132533 h 7458372"/>
              <a:gd name="connsiteX8090" fmla="*/ 3077241 w 10505529"/>
              <a:gd name="connsiteY8090" fmla="*/ 6135995 h 7458372"/>
              <a:gd name="connsiteX8091" fmla="*/ 3082700 w 10505529"/>
              <a:gd name="connsiteY8091" fmla="*/ 6135063 h 7458372"/>
              <a:gd name="connsiteX8092" fmla="*/ 3086427 w 10505529"/>
              <a:gd name="connsiteY8092" fmla="*/ 6132666 h 7458372"/>
              <a:gd name="connsiteX8093" fmla="*/ 3089090 w 10505529"/>
              <a:gd name="connsiteY8093" fmla="*/ 6128407 h 7458372"/>
              <a:gd name="connsiteX8094" fmla="*/ 3090022 w 10505529"/>
              <a:gd name="connsiteY8094" fmla="*/ 6122949 h 7458372"/>
              <a:gd name="connsiteX8095" fmla="*/ 3089090 w 10505529"/>
              <a:gd name="connsiteY8095" fmla="*/ 6117758 h 7458372"/>
              <a:gd name="connsiteX8096" fmla="*/ 3086427 w 10505529"/>
              <a:gd name="connsiteY8096" fmla="*/ 6113631 h 7458372"/>
              <a:gd name="connsiteX8097" fmla="*/ 3082434 w 10505529"/>
              <a:gd name="connsiteY8097" fmla="*/ 6110968 h 7458372"/>
              <a:gd name="connsiteX8098" fmla="*/ 3077375 w 10505529"/>
              <a:gd name="connsiteY8098" fmla="*/ 6110037 h 7458372"/>
              <a:gd name="connsiteX8099" fmla="*/ 2859579 w 10505529"/>
              <a:gd name="connsiteY8099" fmla="*/ 6110037 h 7458372"/>
              <a:gd name="connsiteX8100" fmla="*/ 2849593 w 10505529"/>
              <a:gd name="connsiteY8100" fmla="*/ 6113631 h 7458372"/>
              <a:gd name="connsiteX8101" fmla="*/ 2845994 w 10505529"/>
              <a:gd name="connsiteY8101" fmla="*/ 6123082 h 7458372"/>
              <a:gd name="connsiteX8102" fmla="*/ 2849593 w 10505529"/>
              <a:gd name="connsiteY8102" fmla="*/ 6132533 h 7458372"/>
              <a:gd name="connsiteX8103" fmla="*/ 2859579 w 10505529"/>
              <a:gd name="connsiteY8103" fmla="*/ 6135995 h 7458372"/>
              <a:gd name="connsiteX8104" fmla="*/ 2864904 w 10505529"/>
              <a:gd name="connsiteY8104" fmla="*/ 6135063 h 7458372"/>
              <a:gd name="connsiteX8105" fmla="*/ 2868631 w 10505529"/>
              <a:gd name="connsiteY8105" fmla="*/ 6132666 h 7458372"/>
              <a:gd name="connsiteX8106" fmla="*/ 2871294 w 10505529"/>
              <a:gd name="connsiteY8106" fmla="*/ 6128407 h 7458372"/>
              <a:gd name="connsiteX8107" fmla="*/ 2872225 w 10505529"/>
              <a:gd name="connsiteY8107" fmla="*/ 6122949 h 7458372"/>
              <a:gd name="connsiteX8108" fmla="*/ 2871294 w 10505529"/>
              <a:gd name="connsiteY8108" fmla="*/ 6117758 h 7458372"/>
              <a:gd name="connsiteX8109" fmla="*/ 2868631 w 10505529"/>
              <a:gd name="connsiteY8109" fmla="*/ 6113631 h 7458372"/>
              <a:gd name="connsiteX8110" fmla="*/ 2864639 w 10505529"/>
              <a:gd name="connsiteY8110" fmla="*/ 6110968 h 7458372"/>
              <a:gd name="connsiteX8111" fmla="*/ 2859579 w 10505529"/>
              <a:gd name="connsiteY8111" fmla="*/ 6110037 h 7458372"/>
              <a:gd name="connsiteX8112" fmla="*/ 2641916 w 10505529"/>
              <a:gd name="connsiteY8112" fmla="*/ 6110037 h 7458372"/>
              <a:gd name="connsiteX8113" fmla="*/ 2631933 w 10505529"/>
              <a:gd name="connsiteY8113" fmla="*/ 6113631 h 7458372"/>
              <a:gd name="connsiteX8114" fmla="*/ 2628339 w 10505529"/>
              <a:gd name="connsiteY8114" fmla="*/ 6123082 h 7458372"/>
              <a:gd name="connsiteX8115" fmla="*/ 2631933 w 10505529"/>
              <a:gd name="connsiteY8115" fmla="*/ 6132533 h 7458372"/>
              <a:gd name="connsiteX8116" fmla="*/ 2641916 w 10505529"/>
              <a:gd name="connsiteY8116" fmla="*/ 6135995 h 7458372"/>
              <a:gd name="connsiteX8117" fmla="*/ 2647242 w 10505529"/>
              <a:gd name="connsiteY8117" fmla="*/ 6135063 h 7458372"/>
              <a:gd name="connsiteX8118" fmla="*/ 2650969 w 10505529"/>
              <a:gd name="connsiteY8118" fmla="*/ 6132666 h 7458372"/>
              <a:gd name="connsiteX8119" fmla="*/ 2653632 w 10505529"/>
              <a:gd name="connsiteY8119" fmla="*/ 6128407 h 7458372"/>
              <a:gd name="connsiteX8120" fmla="*/ 2654562 w 10505529"/>
              <a:gd name="connsiteY8120" fmla="*/ 6122949 h 7458372"/>
              <a:gd name="connsiteX8121" fmla="*/ 2653632 w 10505529"/>
              <a:gd name="connsiteY8121" fmla="*/ 6117758 h 7458372"/>
              <a:gd name="connsiteX8122" fmla="*/ 2650969 w 10505529"/>
              <a:gd name="connsiteY8122" fmla="*/ 6113631 h 7458372"/>
              <a:gd name="connsiteX8123" fmla="*/ 2646976 w 10505529"/>
              <a:gd name="connsiteY8123" fmla="*/ 6110968 h 7458372"/>
              <a:gd name="connsiteX8124" fmla="*/ 2641916 w 10505529"/>
              <a:gd name="connsiteY8124" fmla="*/ 6110037 h 7458372"/>
              <a:gd name="connsiteX8125" fmla="*/ 2424254 w 10505529"/>
              <a:gd name="connsiteY8125" fmla="*/ 6110037 h 7458372"/>
              <a:gd name="connsiteX8126" fmla="*/ 2414271 w 10505529"/>
              <a:gd name="connsiteY8126" fmla="*/ 6113631 h 7458372"/>
              <a:gd name="connsiteX8127" fmla="*/ 2410676 w 10505529"/>
              <a:gd name="connsiteY8127" fmla="*/ 6123082 h 7458372"/>
              <a:gd name="connsiteX8128" fmla="*/ 2414271 w 10505529"/>
              <a:gd name="connsiteY8128" fmla="*/ 6132533 h 7458372"/>
              <a:gd name="connsiteX8129" fmla="*/ 2424254 w 10505529"/>
              <a:gd name="connsiteY8129" fmla="*/ 6135995 h 7458372"/>
              <a:gd name="connsiteX8130" fmla="*/ 2429579 w 10505529"/>
              <a:gd name="connsiteY8130" fmla="*/ 6135063 h 7458372"/>
              <a:gd name="connsiteX8131" fmla="*/ 2433306 w 10505529"/>
              <a:gd name="connsiteY8131" fmla="*/ 6132666 h 7458372"/>
              <a:gd name="connsiteX8132" fmla="*/ 2435969 w 10505529"/>
              <a:gd name="connsiteY8132" fmla="*/ 6128407 h 7458372"/>
              <a:gd name="connsiteX8133" fmla="*/ 2436900 w 10505529"/>
              <a:gd name="connsiteY8133" fmla="*/ 6122949 h 7458372"/>
              <a:gd name="connsiteX8134" fmla="*/ 2435969 w 10505529"/>
              <a:gd name="connsiteY8134" fmla="*/ 6117758 h 7458372"/>
              <a:gd name="connsiteX8135" fmla="*/ 2433306 w 10505529"/>
              <a:gd name="connsiteY8135" fmla="*/ 6113631 h 7458372"/>
              <a:gd name="connsiteX8136" fmla="*/ 2429313 w 10505529"/>
              <a:gd name="connsiteY8136" fmla="*/ 6110968 h 7458372"/>
              <a:gd name="connsiteX8137" fmla="*/ 2424254 w 10505529"/>
              <a:gd name="connsiteY8137" fmla="*/ 6110037 h 7458372"/>
              <a:gd name="connsiteX8138" fmla="*/ 2206591 w 10505529"/>
              <a:gd name="connsiteY8138" fmla="*/ 6110037 h 7458372"/>
              <a:gd name="connsiteX8139" fmla="*/ 2196608 w 10505529"/>
              <a:gd name="connsiteY8139" fmla="*/ 6113631 h 7458372"/>
              <a:gd name="connsiteX8140" fmla="*/ 2193014 w 10505529"/>
              <a:gd name="connsiteY8140" fmla="*/ 6123082 h 7458372"/>
              <a:gd name="connsiteX8141" fmla="*/ 2196608 w 10505529"/>
              <a:gd name="connsiteY8141" fmla="*/ 6132533 h 7458372"/>
              <a:gd name="connsiteX8142" fmla="*/ 2206591 w 10505529"/>
              <a:gd name="connsiteY8142" fmla="*/ 6135995 h 7458372"/>
              <a:gd name="connsiteX8143" fmla="*/ 2211916 w 10505529"/>
              <a:gd name="connsiteY8143" fmla="*/ 6135063 h 7458372"/>
              <a:gd name="connsiteX8144" fmla="*/ 2215643 w 10505529"/>
              <a:gd name="connsiteY8144" fmla="*/ 6132666 h 7458372"/>
              <a:gd name="connsiteX8145" fmla="*/ 2218306 w 10505529"/>
              <a:gd name="connsiteY8145" fmla="*/ 6128407 h 7458372"/>
              <a:gd name="connsiteX8146" fmla="*/ 2219237 w 10505529"/>
              <a:gd name="connsiteY8146" fmla="*/ 6122949 h 7458372"/>
              <a:gd name="connsiteX8147" fmla="*/ 2218306 w 10505529"/>
              <a:gd name="connsiteY8147" fmla="*/ 6117758 h 7458372"/>
              <a:gd name="connsiteX8148" fmla="*/ 2215643 w 10505529"/>
              <a:gd name="connsiteY8148" fmla="*/ 6113631 h 7458372"/>
              <a:gd name="connsiteX8149" fmla="*/ 2211650 w 10505529"/>
              <a:gd name="connsiteY8149" fmla="*/ 6110968 h 7458372"/>
              <a:gd name="connsiteX8150" fmla="*/ 2206591 w 10505529"/>
              <a:gd name="connsiteY8150" fmla="*/ 6110037 h 7458372"/>
              <a:gd name="connsiteX8151" fmla="*/ 1989061 w 10505529"/>
              <a:gd name="connsiteY8151" fmla="*/ 6110037 h 7458372"/>
              <a:gd name="connsiteX8152" fmla="*/ 1979078 w 10505529"/>
              <a:gd name="connsiteY8152" fmla="*/ 6113631 h 7458372"/>
              <a:gd name="connsiteX8153" fmla="*/ 1975484 w 10505529"/>
              <a:gd name="connsiteY8153" fmla="*/ 6123082 h 7458372"/>
              <a:gd name="connsiteX8154" fmla="*/ 1979078 w 10505529"/>
              <a:gd name="connsiteY8154" fmla="*/ 6132533 h 7458372"/>
              <a:gd name="connsiteX8155" fmla="*/ 1989061 w 10505529"/>
              <a:gd name="connsiteY8155" fmla="*/ 6135995 h 7458372"/>
              <a:gd name="connsiteX8156" fmla="*/ 1994386 w 10505529"/>
              <a:gd name="connsiteY8156" fmla="*/ 6135063 h 7458372"/>
              <a:gd name="connsiteX8157" fmla="*/ 1998114 w 10505529"/>
              <a:gd name="connsiteY8157" fmla="*/ 6132666 h 7458372"/>
              <a:gd name="connsiteX8158" fmla="*/ 2000777 w 10505529"/>
              <a:gd name="connsiteY8158" fmla="*/ 6128407 h 7458372"/>
              <a:gd name="connsiteX8159" fmla="*/ 2001707 w 10505529"/>
              <a:gd name="connsiteY8159" fmla="*/ 6122949 h 7458372"/>
              <a:gd name="connsiteX8160" fmla="*/ 2000777 w 10505529"/>
              <a:gd name="connsiteY8160" fmla="*/ 6117758 h 7458372"/>
              <a:gd name="connsiteX8161" fmla="*/ 1998114 w 10505529"/>
              <a:gd name="connsiteY8161" fmla="*/ 6113631 h 7458372"/>
              <a:gd name="connsiteX8162" fmla="*/ 1994120 w 10505529"/>
              <a:gd name="connsiteY8162" fmla="*/ 6110968 h 7458372"/>
              <a:gd name="connsiteX8163" fmla="*/ 1989061 w 10505529"/>
              <a:gd name="connsiteY8163" fmla="*/ 6110037 h 7458372"/>
              <a:gd name="connsiteX8164" fmla="*/ 1771429 w 10505529"/>
              <a:gd name="connsiteY8164" fmla="*/ 6110037 h 7458372"/>
              <a:gd name="connsiteX8165" fmla="*/ 1761447 w 10505529"/>
              <a:gd name="connsiteY8165" fmla="*/ 6113631 h 7458372"/>
              <a:gd name="connsiteX8166" fmla="*/ 1757853 w 10505529"/>
              <a:gd name="connsiteY8166" fmla="*/ 6123082 h 7458372"/>
              <a:gd name="connsiteX8167" fmla="*/ 1761447 w 10505529"/>
              <a:gd name="connsiteY8167" fmla="*/ 6132533 h 7458372"/>
              <a:gd name="connsiteX8168" fmla="*/ 1771429 w 10505529"/>
              <a:gd name="connsiteY8168" fmla="*/ 6135995 h 7458372"/>
              <a:gd name="connsiteX8169" fmla="*/ 1776754 w 10505529"/>
              <a:gd name="connsiteY8169" fmla="*/ 6135063 h 7458372"/>
              <a:gd name="connsiteX8170" fmla="*/ 1780480 w 10505529"/>
              <a:gd name="connsiteY8170" fmla="*/ 6132666 h 7458372"/>
              <a:gd name="connsiteX8171" fmla="*/ 1783143 w 10505529"/>
              <a:gd name="connsiteY8171" fmla="*/ 6128407 h 7458372"/>
              <a:gd name="connsiteX8172" fmla="*/ 1784207 w 10505529"/>
              <a:gd name="connsiteY8172" fmla="*/ 6122949 h 7458372"/>
              <a:gd name="connsiteX8173" fmla="*/ 1783143 w 10505529"/>
              <a:gd name="connsiteY8173" fmla="*/ 6117758 h 7458372"/>
              <a:gd name="connsiteX8174" fmla="*/ 1780480 w 10505529"/>
              <a:gd name="connsiteY8174" fmla="*/ 6113631 h 7458372"/>
              <a:gd name="connsiteX8175" fmla="*/ 1776488 w 10505529"/>
              <a:gd name="connsiteY8175" fmla="*/ 6110968 h 7458372"/>
              <a:gd name="connsiteX8176" fmla="*/ 1771429 w 10505529"/>
              <a:gd name="connsiteY8176" fmla="*/ 6110037 h 7458372"/>
              <a:gd name="connsiteX8177" fmla="*/ 1553793 w 10505529"/>
              <a:gd name="connsiteY8177" fmla="*/ 6110037 h 7458372"/>
              <a:gd name="connsiteX8178" fmla="*/ 1543810 w 10505529"/>
              <a:gd name="connsiteY8178" fmla="*/ 6113631 h 7458372"/>
              <a:gd name="connsiteX8179" fmla="*/ 1540215 w 10505529"/>
              <a:gd name="connsiteY8179" fmla="*/ 6123082 h 7458372"/>
              <a:gd name="connsiteX8180" fmla="*/ 1543810 w 10505529"/>
              <a:gd name="connsiteY8180" fmla="*/ 6132533 h 7458372"/>
              <a:gd name="connsiteX8181" fmla="*/ 1553793 w 10505529"/>
              <a:gd name="connsiteY8181" fmla="*/ 6135995 h 7458372"/>
              <a:gd name="connsiteX8182" fmla="*/ 1559117 w 10505529"/>
              <a:gd name="connsiteY8182" fmla="*/ 6135063 h 7458372"/>
              <a:gd name="connsiteX8183" fmla="*/ 1562845 w 10505529"/>
              <a:gd name="connsiteY8183" fmla="*/ 6132666 h 7458372"/>
              <a:gd name="connsiteX8184" fmla="*/ 1565507 w 10505529"/>
              <a:gd name="connsiteY8184" fmla="*/ 6128407 h 7458372"/>
              <a:gd name="connsiteX8185" fmla="*/ 1566572 w 10505529"/>
              <a:gd name="connsiteY8185" fmla="*/ 6122949 h 7458372"/>
              <a:gd name="connsiteX8186" fmla="*/ 1565507 w 10505529"/>
              <a:gd name="connsiteY8186" fmla="*/ 6117758 h 7458372"/>
              <a:gd name="connsiteX8187" fmla="*/ 1562845 w 10505529"/>
              <a:gd name="connsiteY8187" fmla="*/ 6113631 h 7458372"/>
              <a:gd name="connsiteX8188" fmla="*/ 1558851 w 10505529"/>
              <a:gd name="connsiteY8188" fmla="*/ 6110968 h 7458372"/>
              <a:gd name="connsiteX8189" fmla="*/ 1553793 w 10505529"/>
              <a:gd name="connsiteY8189" fmla="*/ 6110037 h 7458372"/>
              <a:gd name="connsiteX8190" fmla="*/ 1336150 w 10505529"/>
              <a:gd name="connsiteY8190" fmla="*/ 6110037 h 7458372"/>
              <a:gd name="connsiteX8191" fmla="*/ 1326166 w 10505529"/>
              <a:gd name="connsiteY8191" fmla="*/ 6113631 h 7458372"/>
              <a:gd name="connsiteX8192" fmla="*/ 1322571 w 10505529"/>
              <a:gd name="connsiteY8192" fmla="*/ 6123082 h 7458372"/>
              <a:gd name="connsiteX8193" fmla="*/ 1326166 w 10505529"/>
              <a:gd name="connsiteY8193" fmla="*/ 6132533 h 7458372"/>
              <a:gd name="connsiteX8194" fmla="*/ 1336150 w 10505529"/>
              <a:gd name="connsiteY8194" fmla="*/ 6135995 h 7458372"/>
              <a:gd name="connsiteX8195" fmla="*/ 1341476 w 10505529"/>
              <a:gd name="connsiteY8195" fmla="*/ 6135063 h 7458372"/>
              <a:gd name="connsiteX8196" fmla="*/ 1345204 w 10505529"/>
              <a:gd name="connsiteY8196" fmla="*/ 6132666 h 7458372"/>
              <a:gd name="connsiteX8197" fmla="*/ 1347865 w 10505529"/>
              <a:gd name="connsiteY8197" fmla="*/ 6128407 h 7458372"/>
              <a:gd name="connsiteX8198" fmla="*/ 1348931 w 10505529"/>
              <a:gd name="connsiteY8198" fmla="*/ 6122949 h 7458372"/>
              <a:gd name="connsiteX8199" fmla="*/ 1347865 w 10505529"/>
              <a:gd name="connsiteY8199" fmla="*/ 6117758 h 7458372"/>
              <a:gd name="connsiteX8200" fmla="*/ 1345204 w 10505529"/>
              <a:gd name="connsiteY8200" fmla="*/ 6113631 h 7458372"/>
              <a:gd name="connsiteX8201" fmla="*/ 1341208 w 10505529"/>
              <a:gd name="connsiteY8201" fmla="*/ 6110968 h 7458372"/>
              <a:gd name="connsiteX8202" fmla="*/ 1336150 w 10505529"/>
              <a:gd name="connsiteY8202" fmla="*/ 6110037 h 7458372"/>
              <a:gd name="connsiteX8203" fmla="*/ 1118637 w 10505529"/>
              <a:gd name="connsiteY8203" fmla="*/ 6110037 h 7458372"/>
              <a:gd name="connsiteX8204" fmla="*/ 1108651 w 10505529"/>
              <a:gd name="connsiteY8204" fmla="*/ 6113631 h 7458372"/>
              <a:gd name="connsiteX8205" fmla="*/ 1104924 w 10505529"/>
              <a:gd name="connsiteY8205" fmla="*/ 6123082 h 7458372"/>
              <a:gd name="connsiteX8206" fmla="*/ 1108519 w 10505529"/>
              <a:gd name="connsiteY8206" fmla="*/ 6132533 h 7458372"/>
              <a:gd name="connsiteX8207" fmla="*/ 1118504 w 10505529"/>
              <a:gd name="connsiteY8207" fmla="*/ 6135995 h 7458372"/>
              <a:gd name="connsiteX8208" fmla="*/ 1123960 w 10505529"/>
              <a:gd name="connsiteY8208" fmla="*/ 6135063 h 7458372"/>
              <a:gd name="connsiteX8209" fmla="*/ 1127691 w 10505529"/>
              <a:gd name="connsiteY8209" fmla="*/ 6132666 h 7458372"/>
              <a:gd name="connsiteX8210" fmla="*/ 1130355 w 10505529"/>
              <a:gd name="connsiteY8210" fmla="*/ 6128407 h 7458372"/>
              <a:gd name="connsiteX8211" fmla="*/ 1131420 w 10505529"/>
              <a:gd name="connsiteY8211" fmla="*/ 6122949 h 7458372"/>
              <a:gd name="connsiteX8212" fmla="*/ 1130355 w 10505529"/>
              <a:gd name="connsiteY8212" fmla="*/ 6117758 h 7458372"/>
              <a:gd name="connsiteX8213" fmla="*/ 1127691 w 10505529"/>
              <a:gd name="connsiteY8213" fmla="*/ 6113631 h 7458372"/>
              <a:gd name="connsiteX8214" fmla="*/ 1123696 w 10505529"/>
              <a:gd name="connsiteY8214" fmla="*/ 6110968 h 7458372"/>
              <a:gd name="connsiteX8215" fmla="*/ 1118637 w 10505529"/>
              <a:gd name="connsiteY8215" fmla="*/ 6110037 h 7458372"/>
              <a:gd name="connsiteX8216" fmla="*/ 901125 w 10505529"/>
              <a:gd name="connsiteY8216" fmla="*/ 6110037 h 7458372"/>
              <a:gd name="connsiteX8217" fmla="*/ 891140 w 10505529"/>
              <a:gd name="connsiteY8217" fmla="*/ 6113631 h 7458372"/>
              <a:gd name="connsiteX8218" fmla="*/ 887414 w 10505529"/>
              <a:gd name="connsiteY8218" fmla="*/ 6123082 h 7458372"/>
              <a:gd name="connsiteX8219" fmla="*/ 891008 w 10505529"/>
              <a:gd name="connsiteY8219" fmla="*/ 6132533 h 7458372"/>
              <a:gd name="connsiteX8220" fmla="*/ 900991 w 10505529"/>
              <a:gd name="connsiteY8220" fmla="*/ 6135995 h 7458372"/>
              <a:gd name="connsiteX8221" fmla="*/ 906449 w 10505529"/>
              <a:gd name="connsiteY8221" fmla="*/ 6135063 h 7458372"/>
              <a:gd name="connsiteX8222" fmla="*/ 910177 w 10505529"/>
              <a:gd name="connsiteY8222" fmla="*/ 6132666 h 7458372"/>
              <a:gd name="connsiteX8223" fmla="*/ 912839 w 10505529"/>
              <a:gd name="connsiteY8223" fmla="*/ 6128407 h 7458372"/>
              <a:gd name="connsiteX8224" fmla="*/ 913904 w 10505529"/>
              <a:gd name="connsiteY8224" fmla="*/ 6122949 h 7458372"/>
              <a:gd name="connsiteX8225" fmla="*/ 912839 w 10505529"/>
              <a:gd name="connsiteY8225" fmla="*/ 6117758 h 7458372"/>
              <a:gd name="connsiteX8226" fmla="*/ 910177 w 10505529"/>
              <a:gd name="connsiteY8226" fmla="*/ 6113631 h 7458372"/>
              <a:gd name="connsiteX8227" fmla="*/ 906183 w 10505529"/>
              <a:gd name="connsiteY8227" fmla="*/ 6110968 h 7458372"/>
              <a:gd name="connsiteX8228" fmla="*/ 901125 w 10505529"/>
              <a:gd name="connsiteY8228" fmla="*/ 6110037 h 7458372"/>
              <a:gd name="connsiteX8229" fmla="*/ 683351 w 10505529"/>
              <a:gd name="connsiteY8229" fmla="*/ 6110037 h 7458372"/>
              <a:gd name="connsiteX8230" fmla="*/ 673368 w 10505529"/>
              <a:gd name="connsiteY8230" fmla="*/ 6113631 h 7458372"/>
              <a:gd name="connsiteX8231" fmla="*/ 669774 w 10505529"/>
              <a:gd name="connsiteY8231" fmla="*/ 6123082 h 7458372"/>
              <a:gd name="connsiteX8232" fmla="*/ 673368 w 10505529"/>
              <a:gd name="connsiteY8232" fmla="*/ 6132533 h 7458372"/>
              <a:gd name="connsiteX8233" fmla="*/ 683351 w 10505529"/>
              <a:gd name="connsiteY8233" fmla="*/ 6135995 h 7458372"/>
              <a:gd name="connsiteX8234" fmla="*/ 688676 w 10505529"/>
              <a:gd name="connsiteY8234" fmla="*/ 6135063 h 7458372"/>
              <a:gd name="connsiteX8235" fmla="*/ 692403 w 10505529"/>
              <a:gd name="connsiteY8235" fmla="*/ 6132666 h 7458372"/>
              <a:gd name="connsiteX8236" fmla="*/ 695066 w 10505529"/>
              <a:gd name="connsiteY8236" fmla="*/ 6128407 h 7458372"/>
              <a:gd name="connsiteX8237" fmla="*/ 696131 w 10505529"/>
              <a:gd name="connsiteY8237" fmla="*/ 6122949 h 7458372"/>
              <a:gd name="connsiteX8238" fmla="*/ 695066 w 10505529"/>
              <a:gd name="connsiteY8238" fmla="*/ 6117758 h 7458372"/>
              <a:gd name="connsiteX8239" fmla="*/ 692403 w 10505529"/>
              <a:gd name="connsiteY8239" fmla="*/ 6113631 h 7458372"/>
              <a:gd name="connsiteX8240" fmla="*/ 688410 w 10505529"/>
              <a:gd name="connsiteY8240" fmla="*/ 6110968 h 7458372"/>
              <a:gd name="connsiteX8241" fmla="*/ 683351 w 10505529"/>
              <a:gd name="connsiteY8241" fmla="*/ 6110037 h 7458372"/>
              <a:gd name="connsiteX8242" fmla="*/ 465710 w 10505529"/>
              <a:gd name="connsiteY8242" fmla="*/ 6110037 h 7458372"/>
              <a:gd name="connsiteX8243" fmla="*/ 455727 w 10505529"/>
              <a:gd name="connsiteY8243" fmla="*/ 6113631 h 7458372"/>
              <a:gd name="connsiteX8244" fmla="*/ 452133 w 10505529"/>
              <a:gd name="connsiteY8244" fmla="*/ 6123082 h 7458372"/>
              <a:gd name="connsiteX8245" fmla="*/ 455727 w 10505529"/>
              <a:gd name="connsiteY8245" fmla="*/ 6132533 h 7458372"/>
              <a:gd name="connsiteX8246" fmla="*/ 465710 w 10505529"/>
              <a:gd name="connsiteY8246" fmla="*/ 6135995 h 7458372"/>
              <a:gd name="connsiteX8247" fmla="*/ 471035 w 10505529"/>
              <a:gd name="connsiteY8247" fmla="*/ 6135063 h 7458372"/>
              <a:gd name="connsiteX8248" fmla="*/ 474762 w 10505529"/>
              <a:gd name="connsiteY8248" fmla="*/ 6132666 h 7458372"/>
              <a:gd name="connsiteX8249" fmla="*/ 477425 w 10505529"/>
              <a:gd name="connsiteY8249" fmla="*/ 6128407 h 7458372"/>
              <a:gd name="connsiteX8250" fmla="*/ 478490 w 10505529"/>
              <a:gd name="connsiteY8250" fmla="*/ 6122949 h 7458372"/>
              <a:gd name="connsiteX8251" fmla="*/ 477425 w 10505529"/>
              <a:gd name="connsiteY8251" fmla="*/ 6117758 h 7458372"/>
              <a:gd name="connsiteX8252" fmla="*/ 474762 w 10505529"/>
              <a:gd name="connsiteY8252" fmla="*/ 6113631 h 7458372"/>
              <a:gd name="connsiteX8253" fmla="*/ 470769 w 10505529"/>
              <a:gd name="connsiteY8253" fmla="*/ 6110968 h 7458372"/>
              <a:gd name="connsiteX8254" fmla="*/ 465710 w 10505529"/>
              <a:gd name="connsiteY8254" fmla="*/ 6110037 h 7458372"/>
              <a:gd name="connsiteX8255" fmla="*/ 248069 w 10505529"/>
              <a:gd name="connsiteY8255" fmla="*/ 6110037 h 7458372"/>
              <a:gd name="connsiteX8256" fmla="*/ 238087 w 10505529"/>
              <a:gd name="connsiteY8256" fmla="*/ 6113631 h 7458372"/>
              <a:gd name="connsiteX8257" fmla="*/ 234493 w 10505529"/>
              <a:gd name="connsiteY8257" fmla="*/ 6123082 h 7458372"/>
              <a:gd name="connsiteX8258" fmla="*/ 238087 w 10505529"/>
              <a:gd name="connsiteY8258" fmla="*/ 6132533 h 7458372"/>
              <a:gd name="connsiteX8259" fmla="*/ 248069 w 10505529"/>
              <a:gd name="connsiteY8259" fmla="*/ 6135995 h 7458372"/>
              <a:gd name="connsiteX8260" fmla="*/ 253393 w 10505529"/>
              <a:gd name="connsiteY8260" fmla="*/ 6135063 h 7458372"/>
              <a:gd name="connsiteX8261" fmla="*/ 257120 w 10505529"/>
              <a:gd name="connsiteY8261" fmla="*/ 6132666 h 7458372"/>
              <a:gd name="connsiteX8262" fmla="*/ 259783 w 10505529"/>
              <a:gd name="connsiteY8262" fmla="*/ 6128407 h 7458372"/>
              <a:gd name="connsiteX8263" fmla="*/ 260848 w 10505529"/>
              <a:gd name="connsiteY8263" fmla="*/ 6122949 h 7458372"/>
              <a:gd name="connsiteX8264" fmla="*/ 259783 w 10505529"/>
              <a:gd name="connsiteY8264" fmla="*/ 6117758 h 7458372"/>
              <a:gd name="connsiteX8265" fmla="*/ 257120 w 10505529"/>
              <a:gd name="connsiteY8265" fmla="*/ 6113631 h 7458372"/>
              <a:gd name="connsiteX8266" fmla="*/ 253127 w 10505529"/>
              <a:gd name="connsiteY8266" fmla="*/ 6110968 h 7458372"/>
              <a:gd name="connsiteX8267" fmla="*/ 248069 w 10505529"/>
              <a:gd name="connsiteY8267" fmla="*/ 6110037 h 7458372"/>
              <a:gd name="connsiteX8268" fmla="*/ 30428 w 10505529"/>
              <a:gd name="connsiteY8268" fmla="*/ 6110037 h 7458372"/>
              <a:gd name="connsiteX8269" fmla="*/ 20444 w 10505529"/>
              <a:gd name="connsiteY8269" fmla="*/ 6113631 h 7458372"/>
              <a:gd name="connsiteX8270" fmla="*/ 16851 w 10505529"/>
              <a:gd name="connsiteY8270" fmla="*/ 6123082 h 7458372"/>
              <a:gd name="connsiteX8271" fmla="*/ 20444 w 10505529"/>
              <a:gd name="connsiteY8271" fmla="*/ 6132533 h 7458372"/>
              <a:gd name="connsiteX8272" fmla="*/ 30428 w 10505529"/>
              <a:gd name="connsiteY8272" fmla="*/ 6135995 h 7458372"/>
              <a:gd name="connsiteX8273" fmla="*/ 35753 w 10505529"/>
              <a:gd name="connsiteY8273" fmla="*/ 6135063 h 7458372"/>
              <a:gd name="connsiteX8274" fmla="*/ 39480 w 10505529"/>
              <a:gd name="connsiteY8274" fmla="*/ 6132666 h 7458372"/>
              <a:gd name="connsiteX8275" fmla="*/ 42143 w 10505529"/>
              <a:gd name="connsiteY8275" fmla="*/ 6128407 h 7458372"/>
              <a:gd name="connsiteX8276" fmla="*/ 43074 w 10505529"/>
              <a:gd name="connsiteY8276" fmla="*/ 6122949 h 7458372"/>
              <a:gd name="connsiteX8277" fmla="*/ 42143 w 10505529"/>
              <a:gd name="connsiteY8277" fmla="*/ 6117758 h 7458372"/>
              <a:gd name="connsiteX8278" fmla="*/ 39480 w 10505529"/>
              <a:gd name="connsiteY8278" fmla="*/ 6113631 h 7458372"/>
              <a:gd name="connsiteX8279" fmla="*/ 35487 w 10505529"/>
              <a:gd name="connsiteY8279" fmla="*/ 6110968 h 7458372"/>
              <a:gd name="connsiteX8280" fmla="*/ 30428 w 10505529"/>
              <a:gd name="connsiteY8280" fmla="*/ 6110037 h 7458372"/>
              <a:gd name="connsiteX8281" fmla="*/ 10475977 w 10505529"/>
              <a:gd name="connsiteY8281" fmla="*/ 6093397 h 7458372"/>
              <a:gd name="connsiteX8282" fmla="*/ 10487824 w 10505529"/>
              <a:gd name="connsiteY8282" fmla="*/ 6095926 h 7458372"/>
              <a:gd name="connsiteX8283" fmla="*/ 10497143 w 10505529"/>
              <a:gd name="connsiteY8283" fmla="*/ 6102316 h 7458372"/>
              <a:gd name="connsiteX8284" fmla="*/ 10503266 w 10505529"/>
              <a:gd name="connsiteY8284" fmla="*/ 6111634 h 7458372"/>
              <a:gd name="connsiteX8285" fmla="*/ 10505529 w 10505529"/>
              <a:gd name="connsiteY8285" fmla="*/ 6123082 h 7458372"/>
              <a:gd name="connsiteX8286" fmla="*/ 10503266 w 10505529"/>
              <a:gd name="connsiteY8286" fmla="*/ 6134797 h 7458372"/>
              <a:gd name="connsiteX8287" fmla="*/ 10497143 w 10505529"/>
              <a:gd name="connsiteY8287" fmla="*/ 6144116 h 7458372"/>
              <a:gd name="connsiteX8288" fmla="*/ 10487824 w 10505529"/>
              <a:gd name="connsiteY8288" fmla="*/ 6150372 h 7458372"/>
              <a:gd name="connsiteX8289" fmla="*/ 10475977 w 10505529"/>
              <a:gd name="connsiteY8289" fmla="*/ 6152635 h 7458372"/>
              <a:gd name="connsiteX8290" fmla="*/ 10454145 w 10505529"/>
              <a:gd name="connsiteY8290" fmla="*/ 6144116 h 7458372"/>
              <a:gd name="connsiteX8291" fmla="*/ 10445759 w 10505529"/>
              <a:gd name="connsiteY8291" fmla="*/ 6122949 h 7458372"/>
              <a:gd name="connsiteX8292" fmla="*/ 10454145 w 10505529"/>
              <a:gd name="connsiteY8292" fmla="*/ 6101917 h 7458372"/>
              <a:gd name="connsiteX8293" fmla="*/ 10475977 w 10505529"/>
              <a:gd name="connsiteY8293" fmla="*/ 6093397 h 7458372"/>
              <a:gd name="connsiteX8294" fmla="*/ 10258466 w 10505529"/>
              <a:gd name="connsiteY8294" fmla="*/ 6093397 h 7458372"/>
              <a:gd name="connsiteX8295" fmla="*/ 10270313 w 10505529"/>
              <a:gd name="connsiteY8295" fmla="*/ 6095926 h 7458372"/>
              <a:gd name="connsiteX8296" fmla="*/ 10279631 w 10505529"/>
              <a:gd name="connsiteY8296" fmla="*/ 6102316 h 7458372"/>
              <a:gd name="connsiteX8297" fmla="*/ 10285754 w 10505529"/>
              <a:gd name="connsiteY8297" fmla="*/ 6111634 h 7458372"/>
              <a:gd name="connsiteX8298" fmla="*/ 10288017 w 10505529"/>
              <a:gd name="connsiteY8298" fmla="*/ 6123082 h 7458372"/>
              <a:gd name="connsiteX8299" fmla="*/ 10285754 w 10505529"/>
              <a:gd name="connsiteY8299" fmla="*/ 6134797 h 7458372"/>
              <a:gd name="connsiteX8300" fmla="*/ 10279631 w 10505529"/>
              <a:gd name="connsiteY8300" fmla="*/ 6144116 h 7458372"/>
              <a:gd name="connsiteX8301" fmla="*/ 10270313 w 10505529"/>
              <a:gd name="connsiteY8301" fmla="*/ 6150372 h 7458372"/>
              <a:gd name="connsiteX8302" fmla="*/ 10258466 w 10505529"/>
              <a:gd name="connsiteY8302" fmla="*/ 6152635 h 7458372"/>
              <a:gd name="connsiteX8303" fmla="*/ 10236633 w 10505529"/>
              <a:gd name="connsiteY8303" fmla="*/ 6144116 h 7458372"/>
              <a:gd name="connsiteX8304" fmla="*/ 10228247 w 10505529"/>
              <a:gd name="connsiteY8304" fmla="*/ 6122949 h 7458372"/>
              <a:gd name="connsiteX8305" fmla="*/ 10236633 w 10505529"/>
              <a:gd name="connsiteY8305" fmla="*/ 6101917 h 7458372"/>
              <a:gd name="connsiteX8306" fmla="*/ 10258466 w 10505529"/>
              <a:gd name="connsiteY8306" fmla="*/ 6093397 h 7458372"/>
              <a:gd name="connsiteX8307" fmla="*/ 10040820 w 10505529"/>
              <a:gd name="connsiteY8307" fmla="*/ 6093397 h 7458372"/>
              <a:gd name="connsiteX8308" fmla="*/ 10052534 w 10505529"/>
              <a:gd name="connsiteY8308" fmla="*/ 6095926 h 7458372"/>
              <a:gd name="connsiteX8309" fmla="*/ 10061852 w 10505529"/>
              <a:gd name="connsiteY8309" fmla="*/ 6102316 h 7458372"/>
              <a:gd name="connsiteX8310" fmla="*/ 10067976 w 10505529"/>
              <a:gd name="connsiteY8310" fmla="*/ 6111634 h 7458372"/>
              <a:gd name="connsiteX8311" fmla="*/ 10070239 w 10505529"/>
              <a:gd name="connsiteY8311" fmla="*/ 6123082 h 7458372"/>
              <a:gd name="connsiteX8312" fmla="*/ 10067976 w 10505529"/>
              <a:gd name="connsiteY8312" fmla="*/ 6134797 h 7458372"/>
              <a:gd name="connsiteX8313" fmla="*/ 10061852 w 10505529"/>
              <a:gd name="connsiteY8313" fmla="*/ 6144116 h 7458372"/>
              <a:gd name="connsiteX8314" fmla="*/ 10052534 w 10505529"/>
              <a:gd name="connsiteY8314" fmla="*/ 6150372 h 7458372"/>
              <a:gd name="connsiteX8315" fmla="*/ 10040820 w 10505529"/>
              <a:gd name="connsiteY8315" fmla="*/ 6152635 h 7458372"/>
              <a:gd name="connsiteX8316" fmla="*/ 10018988 w 10505529"/>
              <a:gd name="connsiteY8316" fmla="*/ 6144116 h 7458372"/>
              <a:gd name="connsiteX8317" fmla="*/ 10010602 w 10505529"/>
              <a:gd name="connsiteY8317" fmla="*/ 6122949 h 7458372"/>
              <a:gd name="connsiteX8318" fmla="*/ 10018988 w 10505529"/>
              <a:gd name="connsiteY8318" fmla="*/ 6101917 h 7458372"/>
              <a:gd name="connsiteX8319" fmla="*/ 10040820 w 10505529"/>
              <a:gd name="connsiteY8319" fmla="*/ 6093397 h 7458372"/>
              <a:gd name="connsiteX8320" fmla="*/ 9823176 w 10505529"/>
              <a:gd name="connsiteY8320" fmla="*/ 6093397 h 7458372"/>
              <a:gd name="connsiteX8321" fmla="*/ 9834890 w 10505529"/>
              <a:gd name="connsiteY8321" fmla="*/ 6095926 h 7458372"/>
              <a:gd name="connsiteX8322" fmla="*/ 9844208 w 10505529"/>
              <a:gd name="connsiteY8322" fmla="*/ 6102316 h 7458372"/>
              <a:gd name="connsiteX8323" fmla="*/ 9850331 w 10505529"/>
              <a:gd name="connsiteY8323" fmla="*/ 6111634 h 7458372"/>
              <a:gd name="connsiteX8324" fmla="*/ 9852595 w 10505529"/>
              <a:gd name="connsiteY8324" fmla="*/ 6123082 h 7458372"/>
              <a:gd name="connsiteX8325" fmla="*/ 9850331 w 10505529"/>
              <a:gd name="connsiteY8325" fmla="*/ 6134797 h 7458372"/>
              <a:gd name="connsiteX8326" fmla="*/ 9844208 w 10505529"/>
              <a:gd name="connsiteY8326" fmla="*/ 6144116 h 7458372"/>
              <a:gd name="connsiteX8327" fmla="*/ 9834890 w 10505529"/>
              <a:gd name="connsiteY8327" fmla="*/ 6150372 h 7458372"/>
              <a:gd name="connsiteX8328" fmla="*/ 9823176 w 10505529"/>
              <a:gd name="connsiteY8328" fmla="*/ 6152635 h 7458372"/>
              <a:gd name="connsiteX8329" fmla="*/ 9801343 w 10505529"/>
              <a:gd name="connsiteY8329" fmla="*/ 6144116 h 7458372"/>
              <a:gd name="connsiteX8330" fmla="*/ 9792957 w 10505529"/>
              <a:gd name="connsiteY8330" fmla="*/ 6122949 h 7458372"/>
              <a:gd name="connsiteX8331" fmla="*/ 9801343 w 10505529"/>
              <a:gd name="connsiteY8331" fmla="*/ 6101917 h 7458372"/>
              <a:gd name="connsiteX8332" fmla="*/ 9823176 w 10505529"/>
              <a:gd name="connsiteY8332" fmla="*/ 6093397 h 7458372"/>
              <a:gd name="connsiteX8333" fmla="*/ 9605531 w 10505529"/>
              <a:gd name="connsiteY8333" fmla="*/ 6093397 h 7458372"/>
              <a:gd name="connsiteX8334" fmla="*/ 9617245 w 10505529"/>
              <a:gd name="connsiteY8334" fmla="*/ 6095926 h 7458372"/>
              <a:gd name="connsiteX8335" fmla="*/ 9626562 w 10505529"/>
              <a:gd name="connsiteY8335" fmla="*/ 6102316 h 7458372"/>
              <a:gd name="connsiteX8336" fmla="*/ 9632686 w 10505529"/>
              <a:gd name="connsiteY8336" fmla="*/ 6111634 h 7458372"/>
              <a:gd name="connsiteX8337" fmla="*/ 9634949 w 10505529"/>
              <a:gd name="connsiteY8337" fmla="*/ 6123082 h 7458372"/>
              <a:gd name="connsiteX8338" fmla="*/ 9632686 w 10505529"/>
              <a:gd name="connsiteY8338" fmla="*/ 6134797 h 7458372"/>
              <a:gd name="connsiteX8339" fmla="*/ 9626562 w 10505529"/>
              <a:gd name="connsiteY8339" fmla="*/ 6144116 h 7458372"/>
              <a:gd name="connsiteX8340" fmla="*/ 9617245 w 10505529"/>
              <a:gd name="connsiteY8340" fmla="*/ 6150372 h 7458372"/>
              <a:gd name="connsiteX8341" fmla="*/ 9605531 w 10505529"/>
              <a:gd name="connsiteY8341" fmla="*/ 6152635 h 7458372"/>
              <a:gd name="connsiteX8342" fmla="*/ 9583698 w 10505529"/>
              <a:gd name="connsiteY8342" fmla="*/ 6144116 h 7458372"/>
              <a:gd name="connsiteX8343" fmla="*/ 9575312 w 10505529"/>
              <a:gd name="connsiteY8343" fmla="*/ 6122949 h 7458372"/>
              <a:gd name="connsiteX8344" fmla="*/ 9583698 w 10505529"/>
              <a:gd name="connsiteY8344" fmla="*/ 6101917 h 7458372"/>
              <a:gd name="connsiteX8345" fmla="*/ 9605531 w 10505529"/>
              <a:gd name="connsiteY8345" fmla="*/ 6093397 h 7458372"/>
              <a:gd name="connsiteX8346" fmla="*/ 9387885 w 10505529"/>
              <a:gd name="connsiteY8346" fmla="*/ 6093397 h 7458372"/>
              <a:gd name="connsiteX8347" fmla="*/ 9399599 w 10505529"/>
              <a:gd name="connsiteY8347" fmla="*/ 6095926 h 7458372"/>
              <a:gd name="connsiteX8348" fmla="*/ 9408917 w 10505529"/>
              <a:gd name="connsiteY8348" fmla="*/ 6102316 h 7458372"/>
              <a:gd name="connsiteX8349" fmla="*/ 9415041 w 10505529"/>
              <a:gd name="connsiteY8349" fmla="*/ 6111634 h 7458372"/>
              <a:gd name="connsiteX8350" fmla="*/ 9417304 w 10505529"/>
              <a:gd name="connsiteY8350" fmla="*/ 6123082 h 7458372"/>
              <a:gd name="connsiteX8351" fmla="*/ 9415041 w 10505529"/>
              <a:gd name="connsiteY8351" fmla="*/ 6134797 h 7458372"/>
              <a:gd name="connsiteX8352" fmla="*/ 9408917 w 10505529"/>
              <a:gd name="connsiteY8352" fmla="*/ 6144116 h 7458372"/>
              <a:gd name="connsiteX8353" fmla="*/ 9399599 w 10505529"/>
              <a:gd name="connsiteY8353" fmla="*/ 6150372 h 7458372"/>
              <a:gd name="connsiteX8354" fmla="*/ 9387885 w 10505529"/>
              <a:gd name="connsiteY8354" fmla="*/ 6152635 h 7458372"/>
              <a:gd name="connsiteX8355" fmla="*/ 9366053 w 10505529"/>
              <a:gd name="connsiteY8355" fmla="*/ 6144116 h 7458372"/>
              <a:gd name="connsiteX8356" fmla="*/ 9357667 w 10505529"/>
              <a:gd name="connsiteY8356" fmla="*/ 6122949 h 7458372"/>
              <a:gd name="connsiteX8357" fmla="*/ 9366053 w 10505529"/>
              <a:gd name="connsiteY8357" fmla="*/ 6101917 h 7458372"/>
              <a:gd name="connsiteX8358" fmla="*/ 9387885 w 10505529"/>
              <a:gd name="connsiteY8358" fmla="*/ 6093397 h 7458372"/>
              <a:gd name="connsiteX8359" fmla="*/ 9170374 w 10505529"/>
              <a:gd name="connsiteY8359" fmla="*/ 6093397 h 7458372"/>
              <a:gd name="connsiteX8360" fmla="*/ 9182088 w 10505529"/>
              <a:gd name="connsiteY8360" fmla="*/ 6095926 h 7458372"/>
              <a:gd name="connsiteX8361" fmla="*/ 9191405 w 10505529"/>
              <a:gd name="connsiteY8361" fmla="*/ 6102316 h 7458372"/>
              <a:gd name="connsiteX8362" fmla="*/ 9197529 w 10505529"/>
              <a:gd name="connsiteY8362" fmla="*/ 6111634 h 7458372"/>
              <a:gd name="connsiteX8363" fmla="*/ 9199792 w 10505529"/>
              <a:gd name="connsiteY8363" fmla="*/ 6123082 h 7458372"/>
              <a:gd name="connsiteX8364" fmla="*/ 9197529 w 10505529"/>
              <a:gd name="connsiteY8364" fmla="*/ 6134797 h 7458372"/>
              <a:gd name="connsiteX8365" fmla="*/ 9191405 w 10505529"/>
              <a:gd name="connsiteY8365" fmla="*/ 6144116 h 7458372"/>
              <a:gd name="connsiteX8366" fmla="*/ 9182088 w 10505529"/>
              <a:gd name="connsiteY8366" fmla="*/ 6150372 h 7458372"/>
              <a:gd name="connsiteX8367" fmla="*/ 9170374 w 10505529"/>
              <a:gd name="connsiteY8367" fmla="*/ 6152635 h 7458372"/>
              <a:gd name="connsiteX8368" fmla="*/ 9148541 w 10505529"/>
              <a:gd name="connsiteY8368" fmla="*/ 6144116 h 7458372"/>
              <a:gd name="connsiteX8369" fmla="*/ 9140155 w 10505529"/>
              <a:gd name="connsiteY8369" fmla="*/ 6122949 h 7458372"/>
              <a:gd name="connsiteX8370" fmla="*/ 9148541 w 10505529"/>
              <a:gd name="connsiteY8370" fmla="*/ 6101917 h 7458372"/>
              <a:gd name="connsiteX8371" fmla="*/ 9170374 w 10505529"/>
              <a:gd name="connsiteY8371" fmla="*/ 6093397 h 7458372"/>
              <a:gd name="connsiteX8372" fmla="*/ 8952728 w 10505529"/>
              <a:gd name="connsiteY8372" fmla="*/ 6093397 h 7458372"/>
              <a:gd name="connsiteX8373" fmla="*/ 8964442 w 10505529"/>
              <a:gd name="connsiteY8373" fmla="*/ 6095926 h 7458372"/>
              <a:gd name="connsiteX8374" fmla="*/ 8973760 w 10505529"/>
              <a:gd name="connsiteY8374" fmla="*/ 6102316 h 7458372"/>
              <a:gd name="connsiteX8375" fmla="*/ 8979884 w 10505529"/>
              <a:gd name="connsiteY8375" fmla="*/ 6111634 h 7458372"/>
              <a:gd name="connsiteX8376" fmla="*/ 8982147 w 10505529"/>
              <a:gd name="connsiteY8376" fmla="*/ 6123082 h 7458372"/>
              <a:gd name="connsiteX8377" fmla="*/ 8979884 w 10505529"/>
              <a:gd name="connsiteY8377" fmla="*/ 6134797 h 7458372"/>
              <a:gd name="connsiteX8378" fmla="*/ 8973760 w 10505529"/>
              <a:gd name="connsiteY8378" fmla="*/ 6144116 h 7458372"/>
              <a:gd name="connsiteX8379" fmla="*/ 8964442 w 10505529"/>
              <a:gd name="connsiteY8379" fmla="*/ 6150372 h 7458372"/>
              <a:gd name="connsiteX8380" fmla="*/ 8952728 w 10505529"/>
              <a:gd name="connsiteY8380" fmla="*/ 6152635 h 7458372"/>
              <a:gd name="connsiteX8381" fmla="*/ 8930896 w 10505529"/>
              <a:gd name="connsiteY8381" fmla="*/ 6144116 h 7458372"/>
              <a:gd name="connsiteX8382" fmla="*/ 8922510 w 10505529"/>
              <a:gd name="connsiteY8382" fmla="*/ 6122949 h 7458372"/>
              <a:gd name="connsiteX8383" fmla="*/ 8930896 w 10505529"/>
              <a:gd name="connsiteY8383" fmla="*/ 6101917 h 7458372"/>
              <a:gd name="connsiteX8384" fmla="*/ 8952728 w 10505529"/>
              <a:gd name="connsiteY8384" fmla="*/ 6093397 h 7458372"/>
              <a:gd name="connsiteX8385" fmla="*/ 8735083 w 10505529"/>
              <a:gd name="connsiteY8385" fmla="*/ 6093397 h 7458372"/>
              <a:gd name="connsiteX8386" fmla="*/ 8746797 w 10505529"/>
              <a:gd name="connsiteY8386" fmla="*/ 6095926 h 7458372"/>
              <a:gd name="connsiteX8387" fmla="*/ 8756115 w 10505529"/>
              <a:gd name="connsiteY8387" fmla="*/ 6102316 h 7458372"/>
              <a:gd name="connsiteX8388" fmla="*/ 8762238 w 10505529"/>
              <a:gd name="connsiteY8388" fmla="*/ 6111634 h 7458372"/>
              <a:gd name="connsiteX8389" fmla="*/ 8764502 w 10505529"/>
              <a:gd name="connsiteY8389" fmla="*/ 6123082 h 7458372"/>
              <a:gd name="connsiteX8390" fmla="*/ 8762238 w 10505529"/>
              <a:gd name="connsiteY8390" fmla="*/ 6134797 h 7458372"/>
              <a:gd name="connsiteX8391" fmla="*/ 8756115 w 10505529"/>
              <a:gd name="connsiteY8391" fmla="*/ 6144116 h 7458372"/>
              <a:gd name="connsiteX8392" fmla="*/ 8746797 w 10505529"/>
              <a:gd name="connsiteY8392" fmla="*/ 6150372 h 7458372"/>
              <a:gd name="connsiteX8393" fmla="*/ 8735083 w 10505529"/>
              <a:gd name="connsiteY8393" fmla="*/ 6152635 h 7458372"/>
              <a:gd name="connsiteX8394" fmla="*/ 8713250 w 10505529"/>
              <a:gd name="connsiteY8394" fmla="*/ 6144116 h 7458372"/>
              <a:gd name="connsiteX8395" fmla="*/ 8704864 w 10505529"/>
              <a:gd name="connsiteY8395" fmla="*/ 6122949 h 7458372"/>
              <a:gd name="connsiteX8396" fmla="*/ 8713250 w 10505529"/>
              <a:gd name="connsiteY8396" fmla="*/ 6101917 h 7458372"/>
              <a:gd name="connsiteX8397" fmla="*/ 8735083 w 10505529"/>
              <a:gd name="connsiteY8397" fmla="*/ 6093397 h 7458372"/>
              <a:gd name="connsiteX8398" fmla="*/ 8517438 w 10505529"/>
              <a:gd name="connsiteY8398" fmla="*/ 6093397 h 7458372"/>
              <a:gd name="connsiteX8399" fmla="*/ 8529152 w 10505529"/>
              <a:gd name="connsiteY8399" fmla="*/ 6095926 h 7458372"/>
              <a:gd name="connsiteX8400" fmla="*/ 8538470 w 10505529"/>
              <a:gd name="connsiteY8400" fmla="*/ 6102316 h 7458372"/>
              <a:gd name="connsiteX8401" fmla="*/ 8544594 w 10505529"/>
              <a:gd name="connsiteY8401" fmla="*/ 6111634 h 7458372"/>
              <a:gd name="connsiteX8402" fmla="*/ 8546857 w 10505529"/>
              <a:gd name="connsiteY8402" fmla="*/ 6123082 h 7458372"/>
              <a:gd name="connsiteX8403" fmla="*/ 8544594 w 10505529"/>
              <a:gd name="connsiteY8403" fmla="*/ 6134797 h 7458372"/>
              <a:gd name="connsiteX8404" fmla="*/ 8538470 w 10505529"/>
              <a:gd name="connsiteY8404" fmla="*/ 6144116 h 7458372"/>
              <a:gd name="connsiteX8405" fmla="*/ 8529152 w 10505529"/>
              <a:gd name="connsiteY8405" fmla="*/ 6150372 h 7458372"/>
              <a:gd name="connsiteX8406" fmla="*/ 8517438 w 10505529"/>
              <a:gd name="connsiteY8406" fmla="*/ 6152635 h 7458372"/>
              <a:gd name="connsiteX8407" fmla="*/ 8495606 w 10505529"/>
              <a:gd name="connsiteY8407" fmla="*/ 6144116 h 7458372"/>
              <a:gd name="connsiteX8408" fmla="*/ 8487220 w 10505529"/>
              <a:gd name="connsiteY8408" fmla="*/ 6122949 h 7458372"/>
              <a:gd name="connsiteX8409" fmla="*/ 8495606 w 10505529"/>
              <a:gd name="connsiteY8409" fmla="*/ 6101917 h 7458372"/>
              <a:gd name="connsiteX8410" fmla="*/ 8517438 w 10505529"/>
              <a:gd name="connsiteY8410" fmla="*/ 6093397 h 7458372"/>
              <a:gd name="connsiteX8411" fmla="*/ 8299793 w 10505529"/>
              <a:gd name="connsiteY8411" fmla="*/ 6093397 h 7458372"/>
              <a:gd name="connsiteX8412" fmla="*/ 8311507 w 10505529"/>
              <a:gd name="connsiteY8412" fmla="*/ 6095926 h 7458372"/>
              <a:gd name="connsiteX8413" fmla="*/ 8320825 w 10505529"/>
              <a:gd name="connsiteY8413" fmla="*/ 6102316 h 7458372"/>
              <a:gd name="connsiteX8414" fmla="*/ 8326948 w 10505529"/>
              <a:gd name="connsiteY8414" fmla="*/ 6111634 h 7458372"/>
              <a:gd name="connsiteX8415" fmla="*/ 8329212 w 10505529"/>
              <a:gd name="connsiteY8415" fmla="*/ 6123082 h 7458372"/>
              <a:gd name="connsiteX8416" fmla="*/ 8326948 w 10505529"/>
              <a:gd name="connsiteY8416" fmla="*/ 6134797 h 7458372"/>
              <a:gd name="connsiteX8417" fmla="*/ 8320825 w 10505529"/>
              <a:gd name="connsiteY8417" fmla="*/ 6144116 h 7458372"/>
              <a:gd name="connsiteX8418" fmla="*/ 8311507 w 10505529"/>
              <a:gd name="connsiteY8418" fmla="*/ 6150372 h 7458372"/>
              <a:gd name="connsiteX8419" fmla="*/ 8299793 w 10505529"/>
              <a:gd name="connsiteY8419" fmla="*/ 6152635 h 7458372"/>
              <a:gd name="connsiteX8420" fmla="*/ 8277960 w 10505529"/>
              <a:gd name="connsiteY8420" fmla="*/ 6144116 h 7458372"/>
              <a:gd name="connsiteX8421" fmla="*/ 8269574 w 10505529"/>
              <a:gd name="connsiteY8421" fmla="*/ 6122949 h 7458372"/>
              <a:gd name="connsiteX8422" fmla="*/ 8277960 w 10505529"/>
              <a:gd name="connsiteY8422" fmla="*/ 6101917 h 7458372"/>
              <a:gd name="connsiteX8423" fmla="*/ 8299793 w 10505529"/>
              <a:gd name="connsiteY8423" fmla="*/ 6093397 h 7458372"/>
              <a:gd name="connsiteX8424" fmla="*/ 8082281 w 10505529"/>
              <a:gd name="connsiteY8424" fmla="*/ 6093397 h 7458372"/>
              <a:gd name="connsiteX8425" fmla="*/ 8094127 w 10505529"/>
              <a:gd name="connsiteY8425" fmla="*/ 6095926 h 7458372"/>
              <a:gd name="connsiteX8426" fmla="*/ 8103446 w 10505529"/>
              <a:gd name="connsiteY8426" fmla="*/ 6102316 h 7458372"/>
              <a:gd name="connsiteX8427" fmla="*/ 8109569 w 10505529"/>
              <a:gd name="connsiteY8427" fmla="*/ 6111634 h 7458372"/>
              <a:gd name="connsiteX8428" fmla="*/ 8111832 w 10505529"/>
              <a:gd name="connsiteY8428" fmla="*/ 6123082 h 7458372"/>
              <a:gd name="connsiteX8429" fmla="*/ 8109569 w 10505529"/>
              <a:gd name="connsiteY8429" fmla="*/ 6134797 h 7458372"/>
              <a:gd name="connsiteX8430" fmla="*/ 8103446 w 10505529"/>
              <a:gd name="connsiteY8430" fmla="*/ 6144116 h 7458372"/>
              <a:gd name="connsiteX8431" fmla="*/ 8094127 w 10505529"/>
              <a:gd name="connsiteY8431" fmla="*/ 6150372 h 7458372"/>
              <a:gd name="connsiteX8432" fmla="*/ 8082281 w 10505529"/>
              <a:gd name="connsiteY8432" fmla="*/ 6152635 h 7458372"/>
              <a:gd name="connsiteX8433" fmla="*/ 8060448 w 10505529"/>
              <a:gd name="connsiteY8433" fmla="*/ 6144116 h 7458372"/>
              <a:gd name="connsiteX8434" fmla="*/ 8052062 w 10505529"/>
              <a:gd name="connsiteY8434" fmla="*/ 6122949 h 7458372"/>
              <a:gd name="connsiteX8435" fmla="*/ 8060448 w 10505529"/>
              <a:gd name="connsiteY8435" fmla="*/ 6101917 h 7458372"/>
              <a:gd name="connsiteX8436" fmla="*/ 8082281 w 10505529"/>
              <a:gd name="connsiteY8436" fmla="*/ 6093397 h 7458372"/>
              <a:gd name="connsiteX8437" fmla="*/ 7864636 w 10505529"/>
              <a:gd name="connsiteY8437" fmla="*/ 6093397 h 7458372"/>
              <a:gd name="connsiteX8438" fmla="*/ 7876483 w 10505529"/>
              <a:gd name="connsiteY8438" fmla="*/ 6095926 h 7458372"/>
              <a:gd name="connsiteX8439" fmla="*/ 7885802 w 10505529"/>
              <a:gd name="connsiteY8439" fmla="*/ 6102316 h 7458372"/>
              <a:gd name="connsiteX8440" fmla="*/ 7891924 w 10505529"/>
              <a:gd name="connsiteY8440" fmla="*/ 6111634 h 7458372"/>
              <a:gd name="connsiteX8441" fmla="*/ 7894188 w 10505529"/>
              <a:gd name="connsiteY8441" fmla="*/ 6123082 h 7458372"/>
              <a:gd name="connsiteX8442" fmla="*/ 7891924 w 10505529"/>
              <a:gd name="connsiteY8442" fmla="*/ 6134797 h 7458372"/>
              <a:gd name="connsiteX8443" fmla="*/ 7885802 w 10505529"/>
              <a:gd name="connsiteY8443" fmla="*/ 6144116 h 7458372"/>
              <a:gd name="connsiteX8444" fmla="*/ 7876483 w 10505529"/>
              <a:gd name="connsiteY8444" fmla="*/ 6150372 h 7458372"/>
              <a:gd name="connsiteX8445" fmla="*/ 7864636 w 10505529"/>
              <a:gd name="connsiteY8445" fmla="*/ 6152635 h 7458372"/>
              <a:gd name="connsiteX8446" fmla="*/ 7842803 w 10505529"/>
              <a:gd name="connsiteY8446" fmla="*/ 6144116 h 7458372"/>
              <a:gd name="connsiteX8447" fmla="*/ 7834417 w 10505529"/>
              <a:gd name="connsiteY8447" fmla="*/ 6122949 h 7458372"/>
              <a:gd name="connsiteX8448" fmla="*/ 7842803 w 10505529"/>
              <a:gd name="connsiteY8448" fmla="*/ 6101917 h 7458372"/>
              <a:gd name="connsiteX8449" fmla="*/ 7864636 w 10505529"/>
              <a:gd name="connsiteY8449" fmla="*/ 6093397 h 7458372"/>
              <a:gd name="connsiteX8450" fmla="*/ 7646991 w 10505529"/>
              <a:gd name="connsiteY8450" fmla="*/ 6093397 h 7458372"/>
              <a:gd name="connsiteX8451" fmla="*/ 7658705 w 10505529"/>
              <a:gd name="connsiteY8451" fmla="*/ 6095926 h 7458372"/>
              <a:gd name="connsiteX8452" fmla="*/ 7668022 w 10505529"/>
              <a:gd name="connsiteY8452" fmla="*/ 6102316 h 7458372"/>
              <a:gd name="connsiteX8453" fmla="*/ 7674146 w 10505529"/>
              <a:gd name="connsiteY8453" fmla="*/ 6111634 h 7458372"/>
              <a:gd name="connsiteX8454" fmla="*/ 7676409 w 10505529"/>
              <a:gd name="connsiteY8454" fmla="*/ 6123082 h 7458372"/>
              <a:gd name="connsiteX8455" fmla="*/ 7674146 w 10505529"/>
              <a:gd name="connsiteY8455" fmla="*/ 6134797 h 7458372"/>
              <a:gd name="connsiteX8456" fmla="*/ 7668022 w 10505529"/>
              <a:gd name="connsiteY8456" fmla="*/ 6144116 h 7458372"/>
              <a:gd name="connsiteX8457" fmla="*/ 7658705 w 10505529"/>
              <a:gd name="connsiteY8457" fmla="*/ 6150372 h 7458372"/>
              <a:gd name="connsiteX8458" fmla="*/ 7646991 w 10505529"/>
              <a:gd name="connsiteY8458" fmla="*/ 6152635 h 7458372"/>
              <a:gd name="connsiteX8459" fmla="*/ 7625158 w 10505529"/>
              <a:gd name="connsiteY8459" fmla="*/ 6144116 h 7458372"/>
              <a:gd name="connsiteX8460" fmla="*/ 7616772 w 10505529"/>
              <a:gd name="connsiteY8460" fmla="*/ 6122949 h 7458372"/>
              <a:gd name="connsiteX8461" fmla="*/ 7625158 w 10505529"/>
              <a:gd name="connsiteY8461" fmla="*/ 6101917 h 7458372"/>
              <a:gd name="connsiteX8462" fmla="*/ 7646991 w 10505529"/>
              <a:gd name="connsiteY8462" fmla="*/ 6093397 h 7458372"/>
              <a:gd name="connsiteX8463" fmla="*/ 7429345 w 10505529"/>
              <a:gd name="connsiteY8463" fmla="*/ 6093397 h 7458372"/>
              <a:gd name="connsiteX8464" fmla="*/ 7441059 w 10505529"/>
              <a:gd name="connsiteY8464" fmla="*/ 6095926 h 7458372"/>
              <a:gd name="connsiteX8465" fmla="*/ 7450377 w 10505529"/>
              <a:gd name="connsiteY8465" fmla="*/ 6102316 h 7458372"/>
              <a:gd name="connsiteX8466" fmla="*/ 7456501 w 10505529"/>
              <a:gd name="connsiteY8466" fmla="*/ 6111634 h 7458372"/>
              <a:gd name="connsiteX8467" fmla="*/ 7458764 w 10505529"/>
              <a:gd name="connsiteY8467" fmla="*/ 6123082 h 7458372"/>
              <a:gd name="connsiteX8468" fmla="*/ 7456501 w 10505529"/>
              <a:gd name="connsiteY8468" fmla="*/ 6134797 h 7458372"/>
              <a:gd name="connsiteX8469" fmla="*/ 7450377 w 10505529"/>
              <a:gd name="connsiteY8469" fmla="*/ 6144116 h 7458372"/>
              <a:gd name="connsiteX8470" fmla="*/ 7441059 w 10505529"/>
              <a:gd name="connsiteY8470" fmla="*/ 6150372 h 7458372"/>
              <a:gd name="connsiteX8471" fmla="*/ 7429345 w 10505529"/>
              <a:gd name="connsiteY8471" fmla="*/ 6152635 h 7458372"/>
              <a:gd name="connsiteX8472" fmla="*/ 7407513 w 10505529"/>
              <a:gd name="connsiteY8472" fmla="*/ 6144116 h 7458372"/>
              <a:gd name="connsiteX8473" fmla="*/ 7399127 w 10505529"/>
              <a:gd name="connsiteY8473" fmla="*/ 6122949 h 7458372"/>
              <a:gd name="connsiteX8474" fmla="*/ 7407513 w 10505529"/>
              <a:gd name="connsiteY8474" fmla="*/ 6101917 h 7458372"/>
              <a:gd name="connsiteX8475" fmla="*/ 7429345 w 10505529"/>
              <a:gd name="connsiteY8475" fmla="*/ 6093397 h 7458372"/>
              <a:gd name="connsiteX8476" fmla="*/ 7211701 w 10505529"/>
              <a:gd name="connsiteY8476" fmla="*/ 6093397 h 7458372"/>
              <a:gd name="connsiteX8477" fmla="*/ 7223415 w 10505529"/>
              <a:gd name="connsiteY8477" fmla="*/ 6095926 h 7458372"/>
              <a:gd name="connsiteX8478" fmla="*/ 7232733 w 10505529"/>
              <a:gd name="connsiteY8478" fmla="*/ 6102316 h 7458372"/>
              <a:gd name="connsiteX8479" fmla="*/ 7238856 w 10505529"/>
              <a:gd name="connsiteY8479" fmla="*/ 6111634 h 7458372"/>
              <a:gd name="connsiteX8480" fmla="*/ 7241120 w 10505529"/>
              <a:gd name="connsiteY8480" fmla="*/ 6123082 h 7458372"/>
              <a:gd name="connsiteX8481" fmla="*/ 7238856 w 10505529"/>
              <a:gd name="connsiteY8481" fmla="*/ 6134797 h 7458372"/>
              <a:gd name="connsiteX8482" fmla="*/ 7232733 w 10505529"/>
              <a:gd name="connsiteY8482" fmla="*/ 6144116 h 7458372"/>
              <a:gd name="connsiteX8483" fmla="*/ 7223415 w 10505529"/>
              <a:gd name="connsiteY8483" fmla="*/ 6150372 h 7458372"/>
              <a:gd name="connsiteX8484" fmla="*/ 7211701 w 10505529"/>
              <a:gd name="connsiteY8484" fmla="*/ 6152635 h 7458372"/>
              <a:gd name="connsiteX8485" fmla="*/ 7189868 w 10505529"/>
              <a:gd name="connsiteY8485" fmla="*/ 6144116 h 7458372"/>
              <a:gd name="connsiteX8486" fmla="*/ 7181482 w 10505529"/>
              <a:gd name="connsiteY8486" fmla="*/ 6122949 h 7458372"/>
              <a:gd name="connsiteX8487" fmla="*/ 7189868 w 10505529"/>
              <a:gd name="connsiteY8487" fmla="*/ 6101917 h 7458372"/>
              <a:gd name="connsiteX8488" fmla="*/ 7211701 w 10505529"/>
              <a:gd name="connsiteY8488" fmla="*/ 6093397 h 7458372"/>
              <a:gd name="connsiteX8489" fmla="*/ 6994056 w 10505529"/>
              <a:gd name="connsiteY8489" fmla="*/ 6093397 h 7458372"/>
              <a:gd name="connsiteX8490" fmla="*/ 7005769 w 10505529"/>
              <a:gd name="connsiteY8490" fmla="*/ 6095926 h 7458372"/>
              <a:gd name="connsiteX8491" fmla="*/ 7015087 w 10505529"/>
              <a:gd name="connsiteY8491" fmla="*/ 6102316 h 7458372"/>
              <a:gd name="connsiteX8492" fmla="*/ 7021211 w 10505529"/>
              <a:gd name="connsiteY8492" fmla="*/ 6111634 h 7458372"/>
              <a:gd name="connsiteX8493" fmla="*/ 7023474 w 10505529"/>
              <a:gd name="connsiteY8493" fmla="*/ 6123082 h 7458372"/>
              <a:gd name="connsiteX8494" fmla="*/ 7021211 w 10505529"/>
              <a:gd name="connsiteY8494" fmla="*/ 6134797 h 7458372"/>
              <a:gd name="connsiteX8495" fmla="*/ 7015087 w 10505529"/>
              <a:gd name="connsiteY8495" fmla="*/ 6144116 h 7458372"/>
              <a:gd name="connsiteX8496" fmla="*/ 7005769 w 10505529"/>
              <a:gd name="connsiteY8496" fmla="*/ 6150372 h 7458372"/>
              <a:gd name="connsiteX8497" fmla="*/ 6994056 w 10505529"/>
              <a:gd name="connsiteY8497" fmla="*/ 6152635 h 7458372"/>
              <a:gd name="connsiteX8498" fmla="*/ 6972223 w 10505529"/>
              <a:gd name="connsiteY8498" fmla="*/ 6144116 h 7458372"/>
              <a:gd name="connsiteX8499" fmla="*/ 6963837 w 10505529"/>
              <a:gd name="connsiteY8499" fmla="*/ 6122949 h 7458372"/>
              <a:gd name="connsiteX8500" fmla="*/ 6972223 w 10505529"/>
              <a:gd name="connsiteY8500" fmla="*/ 6101917 h 7458372"/>
              <a:gd name="connsiteX8501" fmla="*/ 6994056 w 10505529"/>
              <a:gd name="connsiteY8501" fmla="*/ 6093397 h 7458372"/>
              <a:gd name="connsiteX8502" fmla="*/ 6776544 w 10505529"/>
              <a:gd name="connsiteY8502" fmla="*/ 6093397 h 7458372"/>
              <a:gd name="connsiteX8503" fmla="*/ 6788258 w 10505529"/>
              <a:gd name="connsiteY8503" fmla="*/ 6095926 h 7458372"/>
              <a:gd name="connsiteX8504" fmla="*/ 6797576 w 10505529"/>
              <a:gd name="connsiteY8504" fmla="*/ 6102316 h 7458372"/>
              <a:gd name="connsiteX8505" fmla="*/ 6803699 w 10505529"/>
              <a:gd name="connsiteY8505" fmla="*/ 6111634 h 7458372"/>
              <a:gd name="connsiteX8506" fmla="*/ 6805963 w 10505529"/>
              <a:gd name="connsiteY8506" fmla="*/ 6123082 h 7458372"/>
              <a:gd name="connsiteX8507" fmla="*/ 6803699 w 10505529"/>
              <a:gd name="connsiteY8507" fmla="*/ 6134797 h 7458372"/>
              <a:gd name="connsiteX8508" fmla="*/ 6797576 w 10505529"/>
              <a:gd name="connsiteY8508" fmla="*/ 6144116 h 7458372"/>
              <a:gd name="connsiteX8509" fmla="*/ 6788258 w 10505529"/>
              <a:gd name="connsiteY8509" fmla="*/ 6150372 h 7458372"/>
              <a:gd name="connsiteX8510" fmla="*/ 6776544 w 10505529"/>
              <a:gd name="connsiteY8510" fmla="*/ 6152635 h 7458372"/>
              <a:gd name="connsiteX8511" fmla="*/ 6754711 w 10505529"/>
              <a:gd name="connsiteY8511" fmla="*/ 6144116 h 7458372"/>
              <a:gd name="connsiteX8512" fmla="*/ 6746325 w 10505529"/>
              <a:gd name="connsiteY8512" fmla="*/ 6122949 h 7458372"/>
              <a:gd name="connsiteX8513" fmla="*/ 6754711 w 10505529"/>
              <a:gd name="connsiteY8513" fmla="*/ 6101917 h 7458372"/>
              <a:gd name="connsiteX8514" fmla="*/ 6776544 w 10505529"/>
              <a:gd name="connsiteY8514" fmla="*/ 6093397 h 7458372"/>
              <a:gd name="connsiteX8515" fmla="*/ 6558899 w 10505529"/>
              <a:gd name="connsiteY8515" fmla="*/ 6093397 h 7458372"/>
              <a:gd name="connsiteX8516" fmla="*/ 6570612 w 10505529"/>
              <a:gd name="connsiteY8516" fmla="*/ 6095926 h 7458372"/>
              <a:gd name="connsiteX8517" fmla="*/ 6579930 w 10505529"/>
              <a:gd name="connsiteY8517" fmla="*/ 6102316 h 7458372"/>
              <a:gd name="connsiteX8518" fmla="*/ 6586054 w 10505529"/>
              <a:gd name="connsiteY8518" fmla="*/ 6111634 h 7458372"/>
              <a:gd name="connsiteX8519" fmla="*/ 6588317 w 10505529"/>
              <a:gd name="connsiteY8519" fmla="*/ 6123082 h 7458372"/>
              <a:gd name="connsiteX8520" fmla="*/ 6586054 w 10505529"/>
              <a:gd name="connsiteY8520" fmla="*/ 6134797 h 7458372"/>
              <a:gd name="connsiteX8521" fmla="*/ 6579930 w 10505529"/>
              <a:gd name="connsiteY8521" fmla="*/ 6144116 h 7458372"/>
              <a:gd name="connsiteX8522" fmla="*/ 6570612 w 10505529"/>
              <a:gd name="connsiteY8522" fmla="*/ 6150372 h 7458372"/>
              <a:gd name="connsiteX8523" fmla="*/ 6558899 w 10505529"/>
              <a:gd name="connsiteY8523" fmla="*/ 6152635 h 7458372"/>
              <a:gd name="connsiteX8524" fmla="*/ 6537066 w 10505529"/>
              <a:gd name="connsiteY8524" fmla="*/ 6144116 h 7458372"/>
              <a:gd name="connsiteX8525" fmla="*/ 6528680 w 10505529"/>
              <a:gd name="connsiteY8525" fmla="*/ 6122949 h 7458372"/>
              <a:gd name="connsiteX8526" fmla="*/ 6537066 w 10505529"/>
              <a:gd name="connsiteY8526" fmla="*/ 6101917 h 7458372"/>
              <a:gd name="connsiteX8527" fmla="*/ 6558899 w 10505529"/>
              <a:gd name="connsiteY8527" fmla="*/ 6093397 h 7458372"/>
              <a:gd name="connsiteX8528" fmla="*/ 6341253 w 10505529"/>
              <a:gd name="connsiteY8528" fmla="*/ 6093397 h 7458372"/>
              <a:gd name="connsiteX8529" fmla="*/ 6352968 w 10505529"/>
              <a:gd name="connsiteY8529" fmla="*/ 6095926 h 7458372"/>
              <a:gd name="connsiteX8530" fmla="*/ 6362286 w 10505529"/>
              <a:gd name="connsiteY8530" fmla="*/ 6102316 h 7458372"/>
              <a:gd name="connsiteX8531" fmla="*/ 6368409 w 10505529"/>
              <a:gd name="connsiteY8531" fmla="*/ 6111634 h 7458372"/>
              <a:gd name="connsiteX8532" fmla="*/ 6370672 w 10505529"/>
              <a:gd name="connsiteY8532" fmla="*/ 6123082 h 7458372"/>
              <a:gd name="connsiteX8533" fmla="*/ 6368409 w 10505529"/>
              <a:gd name="connsiteY8533" fmla="*/ 6134797 h 7458372"/>
              <a:gd name="connsiteX8534" fmla="*/ 6362286 w 10505529"/>
              <a:gd name="connsiteY8534" fmla="*/ 6144116 h 7458372"/>
              <a:gd name="connsiteX8535" fmla="*/ 6352968 w 10505529"/>
              <a:gd name="connsiteY8535" fmla="*/ 6150372 h 7458372"/>
              <a:gd name="connsiteX8536" fmla="*/ 6341253 w 10505529"/>
              <a:gd name="connsiteY8536" fmla="*/ 6152635 h 7458372"/>
              <a:gd name="connsiteX8537" fmla="*/ 6319421 w 10505529"/>
              <a:gd name="connsiteY8537" fmla="*/ 6144116 h 7458372"/>
              <a:gd name="connsiteX8538" fmla="*/ 6311035 w 10505529"/>
              <a:gd name="connsiteY8538" fmla="*/ 6122949 h 7458372"/>
              <a:gd name="connsiteX8539" fmla="*/ 6319421 w 10505529"/>
              <a:gd name="connsiteY8539" fmla="*/ 6101917 h 7458372"/>
              <a:gd name="connsiteX8540" fmla="*/ 6341253 w 10505529"/>
              <a:gd name="connsiteY8540" fmla="*/ 6093397 h 7458372"/>
              <a:gd name="connsiteX8541" fmla="*/ 6123608 w 10505529"/>
              <a:gd name="connsiteY8541" fmla="*/ 6093397 h 7458372"/>
              <a:gd name="connsiteX8542" fmla="*/ 6135322 w 10505529"/>
              <a:gd name="connsiteY8542" fmla="*/ 6095926 h 7458372"/>
              <a:gd name="connsiteX8543" fmla="*/ 6144640 w 10505529"/>
              <a:gd name="connsiteY8543" fmla="*/ 6102316 h 7458372"/>
              <a:gd name="connsiteX8544" fmla="*/ 6150763 w 10505529"/>
              <a:gd name="connsiteY8544" fmla="*/ 6111634 h 7458372"/>
              <a:gd name="connsiteX8545" fmla="*/ 6153026 w 10505529"/>
              <a:gd name="connsiteY8545" fmla="*/ 6123082 h 7458372"/>
              <a:gd name="connsiteX8546" fmla="*/ 6150763 w 10505529"/>
              <a:gd name="connsiteY8546" fmla="*/ 6134797 h 7458372"/>
              <a:gd name="connsiteX8547" fmla="*/ 6144640 w 10505529"/>
              <a:gd name="connsiteY8547" fmla="*/ 6144116 h 7458372"/>
              <a:gd name="connsiteX8548" fmla="*/ 6135322 w 10505529"/>
              <a:gd name="connsiteY8548" fmla="*/ 6150372 h 7458372"/>
              <a:gd name="connsiteX8549" fmla="*/ 6123608 w 10505529"/>
              <a:gd name="connsiteY8549" fmla="*/ 6152635 h 7458372"/>
              <a:gd name="connsiteX8550" fmla="*/ 6101775 w 10505529"/>
              <a:gd name="connsiteY8550" fmla="*/ 6144116 h 7458372"/>
              <a:gd name="connsiteX8551" fmla="*/ 6093389 w 10505529"/>
              <a:gd name="connsiteY8551" fmla="*/ 6122949 h 7458372"/>
              <a:gd name="connsiteX8552" fmla="*/ 6101775 w 10505529"/>
              <a:gd name="connsiteY8552" fmla="*/ 6101917 h 7458372"/>
              <a:gd name="connsiteX8553" fmla="*/ 6123608 w 10505529"/>
              <a:gd name="connsiteY8553" fmla="*/ 6093397 h 7458372"/>
              <a:gd name="connsiteX8554" fmla="*/ 5905963 w 10505529"/>
              <a:gd name="connsiteY8554" fmla="*/ 6093397 h 7458372"/>
              <a:gd name="connsiteX8555" fmla="*/ 5917677 w 10505529"/>
              <a:gd name="connsiteY8555" fmla="*/ 6095926 h 7458372"/>
              <a:gd name="connsiteX8556" fmla="*/ 5926995 w 10505529"/>
              <a:gd name="connsiteY8556" fmla="*/ 6102316 h 7458372"/>
              <a:gd name="connsiteX8557" fmla="*/ 5933118 w 10505529"/>
              <a:gd name="connsiteY8557" fmla="*/ 6111634 h 7458372"/>
              <a:gd name="connsiteX8558" fmla="*/ 5935381 w 10505529"/>
              <a:gd name="connsiteY8558" fmla="*/ 6123082 h 7458372"/>
              <a:gd name="connsiteX8559" fmla="*/ 5933118 w 10505529"/>
              <a:gd name="connsiteY8559" fmla="*/ 6134797 h 7458372"/>
              <a:gd name="connsiteX8560" fmla="*/ 5926995 w 10505529"/>
              <a:gd name="connsiteY8560" fmla="*/ 6144116 h 7458372"/>
              <a:gd name="connsiteX8561" fmla="*/ 5917677 w 10505529"/>
              <a:gd name="connsiteY8561" fmla="*/ 6150372 h 7458372"/>
              <a:gd name="connsiteX8562" fmla="*/ 5905963 w 10505529"/>
              <a:gd name="connsiteY8562" fmla="*/ 6152635 h 7458372"/>
              <a:gd name="connsiteX8563" fmla="*/ 5884130 w 10505529"/>
              <a:gd name="connsiteY8563" fmla="*/ 6144116 h 7458372"/>
              <a:gd name="connsiteX8564" fmla="*/ 5875744 w 10505529"/>
              <a:gd name="connsiteY8564" fmla="*/ 6122949 h 7458372"/>
              <a:gd name="connsiteX8565" fmla="*/ 5884130 w 10505529"/>
              <a:gd name="connsiteY8565" fmla="*/ 6101917 h 7458372"/>
              <a:gd name="connsiteX8566" fmla="*/ 5905963 w 10505529"/>
              <a:gd name="connsiteY8566" fmla="*/ 6093397 h 7458372"/>
              <a:gd name="connsiteX8567" fmla="*/ 5688451 w 10505529"/>
              <a:gd name="connsiteY8567" fmla="*/ 6093397 h 7458372"/>
              <a:gd name="connsiteX8568" fmla="*/ 5700165 w 10505529"/>
              <a:gd name="connsiteY8568" fmla="*/ 6095926 h 7458372"/>
              <a:gd name="connsiteX8569" fmla="*/ 5709483 w 10505529"/>
              <a:gd name="connsiteY8569" fmla="*/ 6102316 h 7458372"/>
              <a:gd name="connsiteX8570" fmla="*/ 5715606 w 10505529"/>
              <a:gd name="connsiteY8570" fmla="*/ 6111634 h 7458372"/>
              <a:gd name="connsiteX8571" fmla="*/ 5717869 w 10505529"/>
              <a:gd name="connsiteY8571" fmla="*/ 6123082 h 7458372"/>
              <a:gd name="connsiteX8572" fmla="*/ 5715606 w 10505529"/>
              <a:gd name="connsiteY8572" fmla="*/ 6134797 h 7458372"/>
              <a:gd name="connsiteX8573" fmla="*/ 5709483 w 10505529"/>
              <a:gd name="connsiteY8573" fmla="*/ 6144116 h 7458372"/>
              <a:gd name="connsiteX8574" fmla="*/ 5700165 w 10505529"/>
              <a:gd name="connsiteY8574" fmla="*/ 6150372 h 7458372"/>
              <a:gd name="connsiteX8575" fmla="*/ 5688451 w 10505529"/>
              <a:gd name="connsiteY8575" fmla="*/ 6152635 h 7458372"/>
              <a:gd name="connsiteX8576" fmla="*/ 5666618 w 10505529"/>
              <a:gd name="connsiteY8576" fmla="*/ 6144116 h 7458372"/>
              <a:gd name="connsiteX8577" fmla="*/ 5658232 w 10505529"/>
              <a:gd name="connsiteY8577" fmla="*/ 6122949 h 7458372"/>
              <a:gd name="connsiteX8578" fmla="*/ 5666618 w 10505529"/>
              <a:gd name="connsiteY8578" fmla="*/ 6101917 h 7458372"/>
              <a:gd name="connsiteX8579" fmla="*/ 5688451 w 10505529"/>
              <a:gd name="connsiteY8579" fmla="*/ 6093397 h 7458372"/>
              <a:gd name="connsiteX8580" fmla="*/ 5470806 w 10505529"/>
              <a:gd name="connsiteY8580" fmla="*/ 6093397 h 7458372"/>
              <a:gd name="connsiteX8581" fmla="*/ 5482520 w 10505529"/>
              <a:gd name="connsiteY8581" fmla="*/ 6095926 h 7458372"/>
              <a:gd name="connsiteX8582" fmla="*/ 5491838 w 10505529"/>
              <a:gd name="connsiteY8582" fmla="*/ 6102316 h 7458372"/>
              <a:gd name="connsiteX8583" fmla="*/ 5497961 w 10505529"/>
              <a:gd name="connsiteY8583" fmla="*/ 6111634 h 7458372"/>
              <a:gd name="connsiteX8584" fmla="*/ 5500224 w 10505529"/>
              <a:gd name="connsiteY8584" fmla="*/ 6123082 h 7458372"/>
              <a:gd name="connsiteX8585" fmla="*/ 5497961 w 10505529"/>
              <a:gd name="connsiteY8585" fmla="*/ 6134797 h 7458372"/>
              <a:gd name="connsiteX8586" fmla="*/ 5491838 w 10505529"/>
              <a:gd name="connsiteY8586" fmla="*/ 6144116 h 7458372"/>
              <a:gd name="connsiteX8587" fmla="*/ 5482520 w 10505529"/>
              <a:gd name="connsiteY8587" fmla="*/ 6150372 h 7458372"/>
              <a:gd name="connsiteX8588" fmla="*/ 5470806 w 10505529"/>
              <a:gd name="connsiteY8588" fmla="*/ 6152635 h 7458372"/>
              <a:gd name="connsiteX8589" fmla="*/ 5448973 w 10505529"/>
              <a:gd name="connsiteY8589" fmla="*/ 6144116 h 7458372"/>
              <a:gd name="connsiteX8590" fmla="*/ 5440587 w 10505529"/>
              <a:gd name="connsiteY8590" fmla="*/ 6122949 h 7458372"/>
              <a:gd name="connsiteX8591" fmla="*/ 5448973 w 10505529"/>
              <a:gd name="connsiteY8591" fmla="*/ 6101917 h 7458372"/>
              <a:gd name="connsiteX8592" fmla="*/ 5470806 w 10505529"/>
              <a:gd name="connsiteY8592" fmla="*/ 6093397 h 7458372"/>
              <a:gd name="connsiteX8593" fmla="*/ 5253160 w 10505529"/>
              <a:gd name="connsiteY8593" fmla="*/ 6093397 h 7458372"/>
              <a:gd name="connsiteX8594" fmla="*/ 5264875 w 10505529"/>
              <a:gd name="connsiteY8594" fmla="*/ 6095926 h 7458372"/>
              <a:gd name="connsiteX8595" fmla="*/ 5274192 w 10505529"/>
              <a:gd name="connsiteY8595" fmla="*/ 6102316 h 7458372"/>
              <a:gd name="connsiteX8596" fmla="*/ 5280316 w 10505529"/>
              <a:gd name="connsiteY8596" fmla="*/ 6111634 h 7458372"/>
              <a:gd name="connsiteX8597" fmla="*/ 5282579 w 10505529"/>
              <a:gd name="connsiteY8597" fmla="*/ 6123082 h 7458372"/>
              <a:gd name="connsiteX8598" fmla="*/ 5280316 w 10505529"/>
              <a:gd name="connsiteY8598" fmla="*/ 6134797 h 7458372"/>
              <a:gd name="connsiteX8599" fmla="*/ 5274192 w 10505529"/>
              <a:gd name="connsiteY8599" fmla="*/ 6144116 h 7458372"/>
              <a:gd name="connsiteX8600" fmla="*/ 5264875 w 10505529"/>
              <a:gd name="connsiteY8600" fmla="*/ 6150372 h 7458372"/>
              <a:gd name="connsiteX8601" fmla="*/ 5253160 w 10505529"/>
              <a:gd name="connsiteY8601" fmla="*/ 6152635 h 7458372"/>
              <a:gd name="connsiteX8602" fmla="*/ 5231328 w 10505529"/>
              <a:gd name="connsiteY8602" fmla="*/ 6144116 h 7458372"/>
              <a:gd name="connsiteX8603" fmla="*/ 5222942 w 10505529"/>
              <a:gd name="connsiteY8603" fmla="*/ 6122949 h 7458372"/>
              <a:gd name="connsiteX8604" fmla="*/ 5231328 w 10505529"/>
              <a:gd name="connsiteY8604" fmla="*/ 6101917 h 7458372"/>
              <a:gd name="connsiteX8605" fmla="*/ 5253160 w 10505529"/>
              <a:gd name="connsiteY8605" fmla="*/ 6093397 h 7458372"/>
              <a:gd name="connsiteX8606" fmla="*/ 5035515 w 10505529"/>
              <a:gd name="connsiteY8606" fmla="*/ 6093397 h 7458372"/>
              <a:gd name="connsiteX8607" fmla="*/ 5047230 w 10505529"/>
              <a:gd name="connsiteY8607" fmla="*/ 6095926 h 7458372"/>
              <a:gd name="connsiteX8608" fmla="*/ 5056548 w 10505529"/>
              <a:gd name="connsiteY8608" fmla="*/ 6102316 h 7458372"/>
              <a:gd name="connsiteX8609" fmla="*/ 5062671 w 10505529"/>
              <a:gd name="connsiteY8609" fmla="*/ 6111634 h 7458372"/>
              <a:gd name="connsiteX8610" fmla="*/ 5064934 w 10505529"/>
              <a:gd name="connsiteY8610" fmla="*/ 6123082 h 7458372"/>
              <a:gd name="connsiteX8611" fmla="*/ 5062671 w 10505529"/>
              <a:gd name="connsiteY8611" fmla="*/ 6134797 h 7458372"/>
              <a:gd name="connsiteX8612" fmla="*/ 5056548 w 10505529"/>
              <a:gd name="connsiteY8612" fmla="*/ 6144116 h 7458372"/>
              <a:gd name="connsiteX8613" fmla="*/ 5047230 w 10505529"/>
              <a:gd name="connsiteY8613" fmla="*/ 6150372 h 7458372"/>
              <a:gd name="connsiteX8614" fmla="*/ 5035515 w 10505529"/>
              <a:gd name="connsiteY8614" fmla="*/ 6152635 h 7458372"/>
              <a:gd name="connsiteX8615" fmla="*/ 5013683 w 10505529"/>
              <a:gd name="connsiteY8615" fmla="*/ 6144116 h 7458372"/>
              <a:gd name="connsiteX8616" fmla="*/ 5005297 w 10505529"/>
              <a:gd name="connsiteY8616" fmla="*/ 6122949 h 7458372"/>
              <a:gd name="connsiteX8617" fmla="*/ 5013683 w 10505529"/>
              <a:gd name="connsiteY8617" fmla="*/ 6101917 h 7458372"/>
              <a:gd name="connsiteX8618" fmla="*/ 5035515 w 10505529"/>
              <a:gd name="connsiteY8618" fmla="*/ 6093397 h 7458372"/>
              <a:gd name="connsiteX8619" fmla="*/ 4817870 w 10505529"/>
              <a:gd name="connsiteY8619" fmla="*/ 6093397 h 7458372"/>
              <a:gd name="connsiteX8620" fmla="*/ 4829585 w 10505529"/>
              <a:gd name="connsiteY8620" fmla="*/ 6095926 h 7458372"/>
              <a:gd name="connsiteX8621" fmla="*/ 4838903 w 10505529"/>
              <a:gd name="connsiteY8621" fmla="*/ 6102316 h 7458372"/>
              <a:gd name="connsiteX8622" fmla="*/ 4845026 w 10505529"/>
              <a:gd name="connsiteY8622" fmla="*/ 6111634 h 7458372"/>
              <a:gd name="connsiteX8623" fmla="*/ 4847289 w 10505529"/>
              <a:gd name="connsiteY8623" fmla="*/ 6123082 h 7458372"/>
              <a:gd name="connsiteX8624" fmla="*/ 4845026 w 10505529"/>
              <a:gd name="connsiteY8624" fmla="*/ 6134797 h 7458372"/>
              <a:gd name="connsiteX8625" fmla="*/ 4838903 w 10505529"/>
              <a:gd name="connsiteY8625" fmla="*/ 6144116 h 7458372"/>
              <a:gd name="connsiteX8626" fmla="*/ 4829585 w 10505529"/>
              <a:gd name="connsiteY8626" fmla="*/ 6150372 h 7458372"/>
              <a:gd name="connsiteX8627" fmla="*/ 4817870 w 10505529"/>
              <a:gd name="connsiteY8627" fmla="*/ 6152635 h 7458372"/>
              <a:gd name="connsiteX8628" fmla="*/ 4796038 w 10505529"/>
              <a:gd name="connsiteY8628" fmla="*/ 6144116 h 7458372"/>
              <a:gd name="connsiteX8629" fmla="*/ 4787652 w 10505529"/>
              <a:gd name="connsiteY8629" fmla="*/ 6122949 h 7458372"/>
              <a:gd name="connsiteX8630" fmla="*/ 4796038 w 10505529"/>
              <a:gd name="connsiteY8630" fmla="*/ 6101917 h 7458372"/>
              <a:gd name="connsiteX8631" fmla="*/ 4817870 w 10505529"/>
              <a:gd name="connsiteY8631" fmla="*/ 6093397 h 7458372"/>
              <a:gd name="connsiteX8632" fmla="*/ 4600226 w 10505529"/>
              <a:gd name="connsiteY8632" fmla="*/ 6093397 h 7458372"/>
              <a:gd name="connsiteX8633" fmla="*/ 4612073 w 10505529"/>
              <a:gd name="connsiteY8633" fmla="*/ 6095926 h 7458372"/>
              <a:gd name="connsiteX8634" fmla="*/ 4621391 w 10505529"/>
              <a:gd name="connsiteY8634" fmla="*/ 6102316 h 7458372"/>
              <a:gd name="connsiteX8635" fmla="*/ 4627514 w 10505529"/>
              <a:gd name="connsiteY8635" fmla="*/ 6111634 h 7458372"/>
              <a:gd name="connsiteX8636" fmla="*/ 4629777 w 10505529"/>
              <a:gd name="connsiteY8636" fmla="*/ 6123082 h 7458372"/>
              <a:gd name="connsiteX8637" fmla="*/ 4627514 w 10505529"/>
              <a:gd name="connsiteY8637" fmla="*/ 6134797 h 7458372"/>
              <a:gd name="connsiteX8638" fmla="*/ 4621391 w 10505529"/>
              <a:gd name="connsiteY8638" fmla="*/ 6144116 h 7458372"/>
              <a:gd name="connsiteX8639" fmla="*/ 4612073 w 10505529"/>
              <a:gd name="connsiteY8639" fmla="*/ 6150372 h 7458372"/>
              <a:gd name="connsiteX8640" fmla="*/ 4600226 w 10505529"/>
              <a:gd name="connsiteY8640" fmla="*/ 6152635 h 7458372"/>
              <a:gd name="connsiteX8641" fmla="*/ 4578393 w 10505529"/>
              <a:gd name="connsiteY8641" fmla="*/ 6144116 h 7458372"/>
              <a:gd name="connsiteX8642" fmla="*/ 4570007 w 10505529"/>
              <a:gd name="connsiteY8642" fmla="*/ 6122949 h 7458372"/>
              <a:gd name="connsiteX8643" fmla="*/ 4578393 w 10505529"/>
              <a:gd name="connsiteY8643" fmla="*/ 6101917 h 7458372"/>
              <a:gd name="connsiteX8644" fmla="*/ 4600226 w 10505529"/>
              <a:gd name="connsiteY8644" fmla="*/ 6093397 h 7458372"/>
              <a:gd name="connsiteX8645" fmla="*/ 4382713 w 10505529"/>
              <a:gd name="connsiteY8645" fmla="*/ 6093397 h 7458372"/>
              <a:gd name="connsiteX8646" fmla="*/ 4394428 w 10505529"/>
              <a:gd name="connsiteY8646" fmla="*/ 6095926 h 7458372"/>
              <a:gd name="connsiteX8647" fmla="*/ 4403746 w 10505529"/>
              <a:gd name="connsiteY8647" fmla="*/ 6102316 h 7458372"/>
              <a:gd name="connsiteX8648" fmla="*/ 4409869 w 10505529"/>
              <a:gd name="connsiteY8648" fmla="*/ 6111634 h 7458372"/>
              <a:gd name="connsiteX8649" fmla="*/ 4412132 w 10505529"/>
              <a:gd name="connsiteY8649" fmla="*/ 6123082 h 7458372"/>
              <a:gd name="connsiteX8650" fmla="*/ 4409869 w 10505529"/>
              <a:gd name="connsiteY8650" fmla="*/ 6134797 h 7458372"/>
              <a:gd name="connsiteX8651" fmla="*/ 4403746 w 10505529"/>
              <a:gd name="connsiteY8651" fmla="*/ 6144116 h 7458372"/>
              <a:gd name="connsiteX8652" fmla="*/ 4394428 w 10505529"/>
              <a:gd name="connsiteY8652" fmla="*/ 6150372 h 7458372"/>
              <a:gd name="connsiteX8653" fmla="*/ 4382713 w 10505529"/>
              <a:gd name="connsiteY8653" fmla="*/ 6152635 h 7458372"/>
              <a:gd name="connsiteX8654" fmla="*/ 4360881 w 10505529"/>
              <a:gd name="connsiteY8654" fmla="*/ 6144116 h 7458372"/>
              <a:gd name="connsiteX8655" fmla="*/ 4352495 w 10505529"/>
              <a:gd name="connsiteY8655" fmla="*/ 6122949 h 7458372"/>
              <a:gd name="connsiteX8656" fmla="*/ 4360881 w 10505529"/>
              <a:gd name="connsiteY8656" fmla="*/ 6101917 h 7458372"/>
              <a:gd name="connsiteX8657" fmla="*/ 4382713 w 10505529"/>
              <a:gd name="connsiteY8657" fmla="*/ 6093397 h 7458372"/>
              <a:gd name="connsiteX8658" fmla="*/ 4165068 w 10505529"/>
              <a:gd name="connsiteY8658" fmla="*/ 6093397 h 7458372"/>
              <a:gd name="connsiteX8659" fmla="*/ 4176782 w 10505529"/>
              <a:gd name="connsiteY8659" fmla="*/ 6095926 h 7458372"/>
              <a:gd name="connsiteX8660" fmla="*/ 4186100 w 10505529"/>
              <a:gd name="connsiteY8660" fmla="*/ 6102316 h 7458372"/>
              <a:gd name="connsiteX8661" fmla="*/ 4192223 w 10505529"/>
              <a:gd name="connsiteY8661" fmla="*/ 6111634 h 7458372"/>
              <a:gd name="connsiteX8662" fmla="*/ 4194486 w 10505529"/>
              <a:gd name="connsiteY8662" fmla="*/ 6123082 h 7458372"/>
              <a:gd name="connsiteX8663" fmla="*/ 4192223 w 10505529"/>
              <a:gd name="connsiteY8663" fmla="*/ 6134797 h 7458372"/>
              <a:gd name="connsiteX8664" fmla="*/ 4186100 w 10505529"/>
              <a:gd name="connsiteY8664" fmla="*/ 6144116 h 7458372"/>
              <a:gd name="connsiteX8665" fmla="*/ 4176782 w 10505529"/>
              <a:gd name="connsiteY8665" fmla="*/ 6150372 h 7458372"/>
              <a:gd name="connsiteX8666" fmla="*/ 4165068 w 10505529"/>
              <a:gd name="connsiteY8666" fmla="*/ 6152635 h 7458372"/>
              <a:gd name="connsiteX8667" fmla="*/ 4143235 w 10505529"/>
              <a:gd name="connsiteY8667" fmla="*/ 6144116 h 7458372"/>
              <a:gd name="connsiteX8668" fmla="*/ 4134849 w 10505529"/>
              <a:gd name="connsiteY8668" fmla="*/ 6122949 h 7458372"/>
              <a:gd name="connsiteX8669" fmla="*/ 4143235 w 10505529"/>
              <a:gd name="connsiteY8669" fmla="*/ 6101917 h 7458372"/>
              <a:gd name="connsiteX8670" fmla="*/ 4165068 w 10505529"/>
              <a:gd name="connsiteY8670" fmla="*/ 6093397 h 7458372"/>
              <a:gd name="connsiteX8671" fmla="*/ 3947756 w 10505529"/>
              <a:gd name="connsiteY8671" fmla="*/ 6093397 h 7458372"/>
              <a:gd name="connsiteX8672" fmla="*/ 3959474 w 10505529"/>
              <a:gd name="connsiteY8672" fmla="*/ 6095926 h 7458372"/>
              <a:gd name="connsiteX8673" fmla="*/ 3968792 w 10505529"/>
              <a:gd name="connsiteY8673" fmla="*/ 6102316 h 7458372"/>
              <a:gd name="connsiteX8674" fmla="*/ 3974916 w 10505529"/>
              <a:gd name="connsiteY8674" fmla="*/ 6111634 h 7458372"/>
              <a:gd name="connsiteX8675" fmla="*/ 3977180 w 10505529"/>
              <a:gd name="connsiteY8675" fmla="*/ 6123082 h 7458372"/>
              <a:gd name="connsiteX8676" fmla="*/ 3974916 w 10505529"/>
              <a:gd name="connsiteY8676" fmla="*/ 6134797 h 7458372"/>
              <a:gd name="connsiteX8677" fmla="*/ 3968792 w 10505529"/>
              <a:gd name="connsiteY8677" fmla="*/ 6144116 h 7458372"/>
              <a:gd name="connsiteX8678" fmla="*/ 3959474 w 10505529"/>
              <a:gd name="connsiteY8678" fmla="*/ 6150372 h 7458372"/>
              <a:gd name="connsiteX8679" fmla="*/ 3947756 w 10505529"/>
              <a:gd name="connsiteY8679" fmla="*/ 6152635 h 7458372"/>
              <a:gd name="connsiteX8680" fmla="*/ 3925923 w 10505529"/>
              <a:gd name="connsiteY8680" fmla="*/ 6144116 h 7458372"/>
              <a:gd name="connsiteX8681" fmla="*/ 3917537 w 10505529"/>
              <a:gd name="connsiteY8681" fmla="*/ 6122949 h 7458372"/>
              <a:gd name="connsiteX8682" fmla="*/ 3925923 w 10505529"/>
              <a:gd name="connsiteY8682" fmla="*/ 6101917 h 7458372"/>
              <a:gd name="connsiteX8683" fmla="*/ 3947756 w 10505529"/>
              <a:gd name="connsiteY8683" fmla="*/ 6093397 h 7458372"/>
              <a:gd name="connsiteX8684" fmla="*/ 3730096 w 10505529"/>
              <a:gd name="connsiteY8684" fmla="*/ 6093397 h 7458372"/>
              <a:gd name="connsiteX8685" fmla="*/ 3741812 w 10505529"/>
              <a:gd name="connsiteY8685" fmla="*/ 6095926 h 7458372"/>
              <a:gd name="connsiteX8686" fmla="*/ 3751130 w 10505529"/>
              <a:gd name="connsiteY8686" fmla="*/ 6102316 h 7458372"/>
              <a:gd name="connsiteX8687" fmla="*/ 3757253 w 10505529"/>
              <a:gd name="connsiteY8687" fmla="*/ 6111634 h 7458372"/>
              <a:gd name="connsiteX8688" fmla="*/ 3759516 w 10505529"/>
              <a:gd name="connsiteY8688" fmla="*/ 6123082 h 7458372"/>
              <a:gd name="connsiteX8689" fmla="*/ 3757253 w 10505529"/>
              <a:gd name="connsiteY8689" fmla="*/ 6134797 h 7458372"/>
              <a:gd name="connsiteX8690" fmla="*/ 3751130 w 10505529"/>
              <a:gd name="connsiteY8690" fmla="*/ 6144116 h 7458372"/>
              <a:gd name="connsiteX8691" fmla="*/ 3741812 w 10505529"/>
              <a:gd name="connsiteY8691" fmla="*/ 6150372 h 7458372"/>
              <a:gd name="connsiteX8692" fmla="*/ 3730096 w 10505529"/>
              <a:gd name="connsiteY8692" fmla="*/ 6152635 h 7458372"/>
              <a:gd name="connsiteX8693" fmla="*/ 3708255 w 10505529"/>
              <a:gd name="connsiteY8693" fmla="*/ 6144116 h 7458372"/>
              <a:gd name="connsiteX8694" fmla="*/ 3699868 w 10505529"/>
              <a:gd name="connsiteY8694" fmla="*/ 6122949 h 7458372"/>
              <a:gd name="connsiteX8695" fmla="*/ 3708255 w 10505529"/>
              <a:gd name="connsiteY8695" fmla="*/ 6101917 h 7458372"/>
              <a:gd name="connsiteX8696" fmla="*/ 3730096 w 10505529"/>
              <a:gd name="connsiteY8696" fmla="*/ 6093397 h 7458372"/>
              <a:gd name="connsiteX8697" fmla="*/ 3512433 w 10505529"/>
              <a:gd name="connsiteY8697" fmla="*/ 6093397 h 7458372"/>
              <a:gd name="connsiteX8698" fmla="*/ 3524149 w 10505529"/>
              <a:gd name="connsiteY8698" fmla="*/ 6095926 h 7458372"/>
              <a:gd name="connsiteX8699" fmla="*/ 3533467 w 10505529"/>
              <a:gd name="connsiteY8699" fmla="*/ 6102316 h 7458372"/>
              <a:gd name="connsiteX8700" fmla="*/ 3539591 w 10505529"/>
              <a:gd name="connsiteY8700" fmla="*/ 6111634 h 7458372"/>
              <a:gd name="connsiteX8701" fmla="*/ 3541854 w 10505529"/>
              <a:gd name="connsiteY8701" fmla="*/ 6123082 h 7458372"/>
              <a:gd name="connsiteX8702" fmla="*/ 3539591 w 10505529"/>
              <a:gd name="connsiteY8702" fmla="*/ 6134797 h 7458372"/>
              <a:gd name="connsiteX8703" fmla="*/ 3533467 w 10505529"/>
              <a:gd name="connsiteY8703" fmla="*/ 6144116 h 7458372"/>
              <a:gd name="connsiteX8704" fmla="*/ 3524149 w 10505529"/>
              <a:gd name="connsiteY8704" fmla="*/ 6150372 h 7458372"/>
              <a:gd name="connsiteX8705" fmla="*/ 3512433 w 10505529"/>
              <a:gd name="connsiteY8705" fmla="*/ 6152635 h 7458372"/>
              <a:gd name="connsiteX8706" fmla="*/ 3490596 w 10505529"/>
              <a:gd name="connsiteY8706" fmla="*/ 6144116 h 7458372"/>
              <a:gd name="connsiteX8707" fmla="*/ 3482209 w 10505529"/>
              <a:gd name="connsiteY8707" fmla="*/ 6122949 h 7458372"/>
              <a:gd name="connsiteX8708" fmla="*/ 3490596 w 10505529"/>
              <a:gd name="connsiteY8708" fmla="*/ 6101917 h 7458372"/>
              <a:gd name="connsiteX8709" fmla="*/ 3512433 w 10505529"/>
              <a:gd name="connsiteY8709" fmla="*/ 6093397 h 7458372"/>
              <a:gd name="connsiteX8710" fmla="*/ 3294904 w 10505529"/>
              <a:gd name="connsiteY8710" fmla="*/ 6093397 h 7458372"/>
              <a:gd name="connsiteX8711" fmla="*/ 3306620 w 10505529"/>
              <a:gd name="connsiteY8711" fmla="*/ 6095926 h 7458372"/>
              <a:gd name="connsiteX8712" fmla="*/ 3315938 w 10505529"/>
              <a:gd name="connsiteY8712" fmla="*/ 6102316 h 7458372"/>
              <a:gd name="connsiteX8713" fmla="*/ 3322061 w 10505529"/>
              <a:gd name="connsiteY8713" fmla="*/ 6111634 h 7458372"/>
              <a:gd name="connsiteX8714" fmla="*/ 3324324 w 10505529"/>
              <a:gd name="connsiteY8714" fmla="*/ 6123082 h 7458372"/>
              <a:gd name="connsiteX8715" fmla="*/ 3322061 w 10505529"/>
              <a:gd name="connsiteY8715" fmla="*/ 6134797 h 7458372"/>
              <a:gd name="connsiteX8716" fmla="*/ 3315938 w 10505529"/>
              <a:gd name="connsiteY8716" fmla="*/ 6144116 h 7458372"/>
              <a:gd name="connsiteX8717" fmla="*/ 3306620 w 10505529"/>
              <a:gd name="connsiteY8717" fmla="*/ 6150372 h 7458372"/>
              <a:gd name="connsiteX8718" fmla="*/ 3294904 w 10505529"/>
              <a:gd name="connsiteY8718" fmla="*/ 6152635 h 7458372"/>
              <a:gd name="connsiteX8719" fmla="*/ 3273066 w 10505529"/>
              <a:gd name="connsiteY8719" fmla="*/ 6144116 h 7458372"/>
              <a:gd name="connsiteX8720" fmla="*/ 3264677 w 10505529"/>
              <a:gd name="connsiteY8720" fmla="*/ 6122949 h 7458372"/>
              <a:gd name="connsiteX8721" fmla="*/ 3273066 w 10505529"/>
              <a:gd name="connsiteY8721" fmla="*/ 6101917 h 7458372"/>
              <a:gd name="connsiteX8722" fmla="*/ 3294904 w 10505529"/>
              <a:gd name="connsiteY8722" fmla="*/ 6093397 h 7458372"/>
              <a:gd name="connsiteX8723" fmla="*/ 3077241 w 10505529"/>
              <a:gd name="connsiteY8723" fmla="*/ 6093397 h 7458372"/>
              <a:gd name="connsiteX8724" fmla="*/ 3088957 w 10505529"/>
              <a:gd name="connsiteY8724" fmla="*/ 6095926 h 7458372"/>
              <a:gd name="connsiteX8725" fmla="*/ 3098275 w 10505529"/>
              <a:gd name="connsiteY8725" fmla="*/ 6102316 h 7458372"/>
              <a:gd name="connsiteX8726" fmla="*/ 3104398 w 10505529"/>
              <a:gd name="connsiteY8726" fmla="*/ 6111634 h 7458372"/>
              <a:gd name="connsiteX8727" fmla="*/ 3106661 w 10505529"/>
              <a:gd name="connsiteY8727" fmla="*/ 6123082 h 7458372"/>
              <a:gd name="connsiteX8728" fmla="*/ 3104398 w 10505529"/>
              <a:gd name="connsiteY8728" fmla="*/ 6134797 h 7458372"/>
              <a:gd name="connsiteX8729" fmla="*/ 3098275 w 10505529"/>
              <a:gd name="connsiteY8729" fmla="*/ 6144116 h 7458372"/>
              <a:gd name="connsiteX8730" fmla="*/ 3088957 w 10505529"/>
              <a:gd name="connsiteY8730" fmla="*/ 6150372 h 7458372"/>
              <a:gd name="connsiteX8731" fmla="*/ 3077241 w 10505529"/>
              <a:gd name="connsiteY8731" fmla="*/ 6152635 h 7458372"/>
              <a:gd name="connsiteX8732" fmla="*/ 3055403 w 10505529"/>
              <a:gd name="connsiteY8732" fmla="*/ 6144116 h 7458372"/>
              <a:gd name="connsiteX8733" fmla="*/ 3047016 w 10505529"/>
              <a:gd name="connsiteY8733" fmla="*/ 6122949 h 7458372"/>
              <a:gd name="connsiteX8734" fmla="*/ 3055403 w 10505529"/>
              <a:gd name="connsiteY8734" fmla="*/ 6101917 h 7458372"/>
              <a:gd name="connsiteX8735" fmla="*/ 3077241 w 10505529"/>
              <a:gd name="connsiteY8735" fmla="*/ 6093397 h 7458372"/>
              <a:gd name="connsiteX8736" fmla="*/ 2859579 w 10505529"/>
              <a:gd name="connsiteY8736" fmla="*/ 6093397 h 7458372"/>
              <a:gd name="connsiteX8737" fmla="*/ 2871428 w 10505529"/>
              <a:gd name="connsiteY8737" fmla="*/ 6095926 h 7458372"/>
              <a:gd name="connsiteX8738" fmla="*/ 2880746 w 10505529"/>
              <a:gd name="connsiteY8738" fmla="*/ 6102316 h 7458372"/>
              <a:gd name="connsiteX8739" fmla="*/ 2886869 w 10505529"/>
              <a:gd name="connsiteY8739" fmla="*/ 6111634 h 7458372"/>
              <a:gd name="connsiteX8740" fmla="*/ 2889132 w 10505529"/>
              <a:gd name="connsiteY8740" fmla="*/ 6123082 h 7458372"/>
              <a:gd name="connsiteX8741" fmla="*/ 2886869 w 10505529"/>
              <a:gd name="connsiteY8741" fmla="*/ 6134797 h 7458372"/>
              <a:gd name="connsiteX8742" fmla="*/ 2880746 w 10505529"/>
              <a:gd name="connsiteY8742" fmla="*/ 6144116 h 7458372"/>
              <a:gd name="connsiteX8743" fmla="*/ 2871428 w 10505529"/>
              <a:gd name="connsiteY8743" fmla="*/ 6150372 h 7458372"/>
              <a:gd name="connsiteX8744" fmla="*/ 2859579 w 10505529"/>
              <a:gd name="connsiteY8744" fmla="*/ 6152635 h 7458372"/>
              <a:gd name="connsiteX8745" fmla="*/ 2837740 w 10505529"/>
              <a:gd name="connsiteY8745" fmla="*/ 6144116 h 7458372"/>
              <a:gd name="connsiteX8746" fmla="*/ 2829353 w 10505529"/>
              <a:gd name="connsiteY8746" fmla="*/ 6122949 h 7458372"/>
              <a:gd name="connsiteX8747" fmla="*/ 2837740 w 10505529"/>
              <a:gd name="connsiteY8747" fmla="*/ 6101917 h 7458372"/>
              <a:gd name="connsiteX8748" fmla="*/ 2859579 w 10505529"/>
              <a:gd name="connsiteY8748" fmla="*/ 6093397 h 7458372"/>
              <a:gd name="connsiteX8749" fmla="*/ 2641916 w 10505529"/>
              <a:gd name="connsiteY8749" fmla="*/ 6093397 h 7458372"/>
              <a:gd name="connsiteX8750" fmla="*/ 2653632 w 10505529"/>
              <a:gd name="connsiteY8750" fmla="*/ 6095926 h 7458372"/>
              <a:gd name="connsiteX8751" fmla="*/ 2662950 w 10505529"/>
              <a:gd name="connsiteY8751" fmla="*/ 6102316 h 7458372"/>
              <a:gd name="connsiteX8752" fmla="*/ 2669073 w 10505529"/>
              <a:gd name="connsiteY8752" fmla="*/ 6111634 h 7458372"/>
              <a:gd name="connsiteX8753" fmla="*/ 2671336 w 10505529"/>
              <a:gd name="connsiteY8753" fmla="*/ 6123082 h 7458372"/>
              <a:gd name="connsiteX8754" fmla="*/ 2669073 w 10505529"/>
              <a:gd name="connsiteY8754" fmla="*/ 6134797 h 7458372"/>
              <a:gd name="connsiteX8755" fmla="*/ 2662950 w 10505529"/>
              <a:gd name="connsiteY8755" fmla="*/ 6144116 h 7458372"/>
              <a:gd name="connsiteX8756" fmla="*/ 2653632 w 10505529"/>
              <a:gd name="connsiteY8756" fmla="*/ 6150372 h 7458372"/>
              <a:gd name="connsiteX8757" fmla="*/ 2641916 w 10505529"/>
              <a:gd name="connsiteY8757" fmla="*/ 6152635 h 7458372"/>
              <a:gd name="connsiteX8758" fmla="*/ 2620083 w 10505529"/>
              <a:gd name="connsiteY8758" fmla="*/ 6144116 h 7458372"/>
              <a:gd name="connsiteX8759" fmla="*/ 2611693 w 10505529"/>
              <a:gd name="connsiteY8759" fmla="*/ 6122949 h 7458372"/>
              <a:gd name="connsiteX8760" fmla="*/ 2620083 w 10505529"/>
              <a:gd name="connsiteY8760" fmla="*/ 6101917 h 7458372"/>
              <a:gd name="connsiteX8761" fmla="*/ 2641916 w 10505529"/>
              <a:gd name="connsiteY8761" fmla="*/ 6093397 h 7458372"/>
              <a:gd name="connsiteX8762" fmla="*/ 2424254 w 10505529"/>
              <a:gd name="connsiteY8762" fmla="*/ 6093397 h 7458372"/>
              <a:gd name="connsiteX8763" fmla="*/ 2435969 w 10505529"/>
              <a:gd name="connsiteY8763" fmla="*/ 6095926 h 7458372"/>
              <a:gd name="connsiteX8764" fmla="*/ 2445287 w 10505529"/>
              <a:gd name="connsiteY8764" fmla="*/ 6102316 h 7458372"/>
              <a:gd name="connsiteX8765" fmla="*/ 2451410 w 10505529"/>
              <a:gd name="connsiteY8765" fmla="*/ 6111634 h 7458372"/>
              <a:gd name="connsiteX8766" fmla="*/ 2453673 w 10505529"/>
              <a:gd name="connsiteY8766" fmla="*/ 6123082 h 7458372"/>
              <a:gd name="connsiteX8767" fmla="*/ 2451410 w 10505529"/>
              <a:gd name="connsiteY8767" fmla="*/ 6134797 h 7458372"/>
              <a:gd name="connsiteX8768" fmla="*/ 2445287 w 10505529"/>
              <a:gd name="connsiteY8768" fmla="*/ 6144116 h 7458372"/>
              <a:gd name="connsiteX8769" fmla="*/ 2435969 w 10505529"/>
              <a:gd name="connsiteY8769" fmla="*/ 6150372 h 7458372"/>
              <a:gd name="connsiteX8770" fmla="*/ 2424254 w 10505529"/>
              <a:gd name="connsiteY8770" fmla="*/ 6152635 h 7458372"/>
              <a:gd name="connsiteX8771" fmla="*/ 2402422 w 10505529"/>
              <a:gd name="connsiteY8771" fmla="*/ 6144116 h 7458372"/>
              <a:gd name="connsiteX8772" fmla="*/ 2394032 w 10505529"/>
              <a:gd name="connsiteY8772" fmla="*/ 6122949 h 7458372"/>
              <a:gd name="connsiteX8773" fmla="*/ 2402422 w 10505529"/>
              <a:gd name="connsiteY8773" fmla="*/ 6101917 h 7458372"/>
              <a:gd name="connsiteX8774" fmla="*/ 2424254 w 10505529"/>
              <a:gd name="connsiteY8774" fmla="*/ 6093397 h 7458372"/>
              <a:gd name="connsiteX8775" fmla="*/ 2206591 w 10505529"/>
              <a:gd name="connsiteY8775" fmla="*/ 6093397 h 7458372"/>
              <a:gd name="connsiteX8776" fmla="*/ 2218306 w 10505529"/>
              <a:gd name="connsiteY8776" fmla="*/ 6095926 h 7458372"/>
              <a:gd name="connsiteX8777" fmla="*/ 2227625 w 10505529"/>
              <a:gd name="connsiteY8777" fmla="*/ 6102316 h 7458372"/>
              <a:gd name="connsiteX8778" fmla="*/ 2233748 w 10505529"/>
              <a:gd name="connsiteY8778" fmla="*/ 6111634 h 7458372"/>
              <a:gd name="connsiteX8779" fmla="*/ 2236011 w 10505529"/>
              <a:gd name="connsiteY8779" fmla="*/ 6123082 h 7458372"/>
              <a:gd name="connsiteX8780" fmla="*/ 2233748 w 10505529"/>
              <a:gd name="connsiteY8780" fmla="*/ 6134797 h 7458372"/>
              <a:gd name="connsiteX8781" fmla="*/ 2227625 w 10505529"/>
              <a:gd name="connsiteY8781" fmla="*/ 6144116 h 7458372"/>
              <a:gd name="connsiteX8782" fmla="*/ 2218306 w 10505529"/>
              <a:gd name="connsiteY8782" fmla="*/ 6150372 h 7458372"/>
              <a:gd name="connsiteX8783" fmla="*/ 2206591 w 10505529"/>
              <a:gd name="connsiteY8783" fmla="*/ 6152635 h 7458372"/>
              <a:gd name="connsiteX8784" fmla="*/ 2184758 w 10505529"/>
              <a:gd name="connsiteY8784" fmla="*/ 6144116 h 7458372"/>
              <a:gd name="connsiteX8785" fmla="*/ 2176369 w 10505529"/>
              <a:gd name="connsiteY8785" fmla="*/ 6122949 h 7458372"/>
              <a:gd name="connsiteX8786" fmla="*/ 2184758 w 10505529"/>
              <a:gd name="connsiteY8786" fmla="*/ 6101917 h 7458372"/>
              <a:gd name="connsiteX8787" fmla="*/ 2206591 w 10505529"/>
              <a:gd name="connsiteY8787" fmla="*/ 6093397 h 7458372"/>
              <a:gd name="connsiteX8788" fmla="*/ 1989061 w 10505529"/>
              <a:gd name="connsiteY8788" fmla="*/ 6093397 h 7458372"/>
              <a:gd name="connsiteX8789" fmla="*/ 2000777 w 10505529"/>
              <a:gd name="connsiteY8789" fmla="*/ 6095926 h 7458372"/>
              <a:gd name="connsiteX8790" fmla="*/ 2010095 w 10505529"/>
              <a:gd name="connsiteY8790" fmla="*/ 6102316 h 7458372"/>
              <a:gd name="connsiteX8791" fmla="*/ 2016218 w 10505529"/>
              <a:gd name="connsiteY8791" fmla="*/ 6111634 h 7458372"/>
              <a:gd name="connsiteX8792" fmla="*/ 2018481 w 10505529"/>
              <a:gd name="connsiteY8792" fmla="*/ 6123082 h 7458372"/>
              <a:gd name="connsiteX8793" fmla="*/ 2016218 w 10505529"/>
              <a:gd name="connsiteY8793" fmla="*/ 6134797 h 7458372"/>
              <a:gd name="connsiteX8794" fmla="*/ 2010095 w 10505529"/>
              <a:gd name="connsiteY8794" fmla="*/ 6144116 h 7458372"/>
              <a:gd name="connsiteX8795" fmla="*/ 2000777 w 10505529"/>
              <a:gd name="connsiteY8795" fmla="*/ 6150372 h 7458372"/>
              <a:gd name="connsiteX8796" fmla="*/ 1989061 w 10505529"/>
              <a:gd name="connsiteY8796" fmla="*/ 6152635 h 7458372"/>
              <a:gd name="connsiteX8797" fmla="*/ 1967230 w 10505529"/>
              <a:gd name="connsiteY8797" fmla="*/ 6144116 h 7458372"/>
              <a:gd name="connsiteX8798" fmla="*/ 1958844 w 10505529"/>
              <a:gd name="connsiteY8798" fmla="*/ 6122949 h 7458372"/>
              <a:gd name="connsiteX8799" fmla="*/ 1967230 w 10505529"/>
              <a:gd name="connsiteY8799" fmla="*/ 6101917 h 7458372"/>
              <a:gd name="connsiteX8800" fmla="*/ 1989061 w 10505529"/>
              <a:gd name="connsiteY8800" fmla="*/ 6093397 h 7458372"/>
              <a:gd name="connsiteX8801" fmla="*/ 1771429 w 10505529"/>
              <a:gd name="connsiteY8801" fmla="*/ 6093397 h 7458372"/>
              <a:gd name="connsiteX8802" fmla="*/ 1783143 w 10505529"/>
              <a:gd name="connsiteY8802" fmla="*/ 6095926 h 7458372"/>
              <a:gd name="connsiteX8803" fmla="*/ 1792460 w 10505529"/>
              <a:gd name="connsiteY8803" fmla="*/ 6102316 h 7458372"/>
              <a:gd name="connsiteX8804" fmla="*/ 1798583 w 10505529"/>
              <a:gd name="connsiteY8804" fmla="*/ 6111634 h 7458372"/>
              <a:gd name="connsiteX8805" fmla="*/ 1800846 w 10505529"/>
              <a:gd name="connsiteY8805" fmla="*/ 6123082 h 7458372"/>
              <a:gd name="connsiteX8806" fmla="*/ 1798583 w 10505529"/>
              <a:gd name="connsiteY8806" fmla="*/ 6134797 h 7458372"/>
              <a:gd name="connsiteX8807" fmla="*/ 1792460 w 10505529"/>
              <a:gd name="connsiteY8807" fmla="*/ 6144116 h 7458372"/>
              <a:gd name="connsiteX8808" fmla="*/ 1783143 w 10505529"/>
              <a:gd name="connsiteY8808" fmla="*/ 6150372 h 7458372"/>
              <a:gd name="connsiteX8809" fmla="*/ 1771429 w 10505529"/>
              <a:gd name="connsiteY8809" fmla="*/ 6152635 h 7458372"/>
              <a:gd name="connsiteX8810" fmla="*/ 1749600 w 10505529"/>
              <a:gd name="connsiteY8810" fmla="*/ 6144116 h 7458372"/>
              <a:gd name="connsiteX8811" fmla="*/ 1741217 w 10505529"/>
              <a:gd name="connsiteY8811" fmla="*/ 6122949 h 7458372"/>
              <a:gd name="connsiteX8812" fmla="*/ 1749600 w 10505529"/>
              <a:gd name="connsiteY8812" fmla="*/ 6101917 h 7458372"/>
              <a:gd name="connsiteX8813" fmla="*/ 1771429 w 10505529"/>
              <a:gd name="connsiteY8813" fmla="*/ 6093397 h 7458372"/>
              <a:gd name="connsiteX8814" fmla="*/ 1553793 w 10505529"/>
              <a:gd name="connsiteY8814" fmla="*/ 6093397 h 7458372"/>
              <a:gd name="connsiteX8815" fmla="*/ 1565507 w 10505529"/>
              <a:gd name="connsiteY8815" fmla="*/ 6095926 h 7458372"/>
              <a:gd name="connsiteX8816" fmla="*/ 1574826 w 10505529"/>
              <a:gd name="connsiteY8816" fmla="*/ 6102316 h 7458372"/>
              <a:gd name="connsiteX8817" fmla="*/ 1580949 w 10505529"/>
              <a:gd name="connsiteY8817" fmla="*/ 6111634 h 7458372"/>
              <a:gd name="connsiteX8818" fmla="*/ 1583212 w 10505529"/>
              <a:gd name="connsiteY8818" fmla="*/ 6123082 h 7458372"/>
              <a:gd name="connsiteX8819" fmla="*/ 1580949 w 10505529"/>
              <a:gd name="connsiteY8819" fmla="*/ 6134797 h 7458372"/>
              <a:gd name="connsiteX8820" fmla="*/ 1574826 w 10505529"/>
              <a:gd name="connsiteY8820" fmla="*/ 6144116 h 7458372"/>
              <a:gd name="connsiteX8821" fmla="*/ 1565507 w 10505529"/>
              <a:gd name="connsiteY8821" fmla="*/ 6150372 h 7458372"/>
              <a:gd name="connsiteX8822" fmla="*/ 1553793 w 10505529"/>
              <a:gd name="connsiteY8822" fmla="*/ 6152635 h 7458372"/>
              <a:gd name="connsiteX8823" fmla="*/ 1531964 w 10505529"/>
              <a:gd name="connsiteY8823" fmla="*/ 6144116 h 7458372"/>
              <a:gd name="connsiteX8824" fmla="*/ 1523578 w 10505529"/>
              <a:gd name="connsiteY8824" fmla="*/ 6122949 h 7458372"/>
              <a:gd name="connsiteX8825" fmla="*/ 1531964 w 10505529"/>
              <a:gd name="connsiteY8825" fmla="*/ 6101917 h 7458372"/>
              <a:gd name="connsiteX8826" fmla="*/ 1553793 w 10505529"/>
              <a:gd name="connsiteY8826" fmla="*/ 6093397 h 7458372"/>
              <a:gd name="connsiteX8827" fmla="*/ 1336150 w 10505529"/>
              <a:gd name="connsiteY8827" fmla="*/ 6093397 h 7458372"/>
              <a:gd name="connsiteX8828" fmla="*/ 1347865 w 10505529"/>
              <a:gd name="connsiteY8828" fmla="*/ 6095926 h 7458372"/>
              <a:gd name="connsiteX8829" fmla="*/ 1357183 w 10505529"/>
              <a:gd name="connsiteY8829" fmla="*/ 6102316 h 7458372"/>
              <a:gd name="connsiteX8830" fmla="*/ 1363306 w 10505529"/>
              <a:gd name="connsiteY8830" fmla="*/ 6111634 h 7458372"/>
              <a:gd name="connsiteX8831" fmla="*/ 1365568 w 10505529"/>
              <a:gd name="connsiteY8831" fmla="*/ 6123082 h 7458372"/>
              <a:gd name="connsiteX8832" fmla="*/ 1363306 w 10505529"/>
              <a:gd name="connsiteY8832" fmla="*/ 6134797 h 7458372"/>
              <a:gd name="connsiteX8833" fmla="*/ 1357183 w 10505529"/>
              <a:gd name="connsiteY8833" fmla="*/ 6144116 h 7458372"/>
              <a:gd name="connsiteX8834" fmla="*/ 1347865 w 10505529"/>
              <a:gd name="connsiteY8834" fmla="*/ 6150372 h 7458372"/>
              <a:gd name="connsiteX8835" fmla="*/ 1336150 w 10505529"/>
              <a:gd name="connsiteY8835" fmla="*/ 6152635 h 7458372"/>
              <a:gd name="connsiteX8836" fmla="*/ 1314316 w 10505529"/>
              <a:gd name="connsiteY8836" fmla="*/ 6144116 h 7458372"/>
              <a:gd name="connsiteX8837" fmla="*/ 1305931 w 10505529"/>
              <a:gd name="connsiteY8837" fmla="*/ 6122949 h 7458372"/>
              <a:gd name="connsiteX8838" fmla="*/ 1314316 w 10505529"/>
              <a:gd name="connsiteY8838" fmla="*/ 6101917 h 7458372"/>
              <a:gd name="connsiteX8839" fmla="*/ 1336150 w 10505529"/>
              <a:gd name="connsiteY8839" fmla="*/ 6093397 h 7458372"/>
              <a:gd name="connsiteX8840" fmla="*/ 1118504 w 10505529"/>
              <a:gd name="connsiteY8840" fmla="*/ 6093397 h 7458372"/>
              <a:gd name="connsiteX8841" fmla="*/ 1130222 w 10505529"/>
              <a:gd name="connsiteY8841" fmla="*/ 6095926 h 7458372"/>
              <a:gd name="connsiteX8842" fmla="*/ 1139536 w 10505529"/>
              <a:gd name="connsiteY8842" fmla="*/ 6102316 h 7458372"/>
              <a:gd name="connsiteX8843" fmla="*/ 1145656 w 10505529"/>
              <a:gd name="connsiteY8843" fmla="*/ 6111634 h 7458372"/>
              <a:gd name="connsiteX8844" fmla="*/ 1147920 w 10505529"/>
              <a:gd name="connsiteY8844" fmla="*/ 6123082 h 7458372"/>
              <a:gd name="connsiteX8845" fmla="*/ 1145656 w 10505529"/>
              <a:gd name="connsiteY8845" fmla="*/ 6134797 h 7458372"/>
              <a:gd name="connsiteX8846" fmla="*/ 1139536 w 10505529"/>
              <a:gd name="connsiteY8846" fmla="*/ 6144116 h 7458372"/>
              <a:gd name="connsiteX8847" fmla="*/ 1130222 w 10505529"/>
              <a:gd name="connsiteY8847" fmla="*/ 6150372 h 7458372"/>
              <a:gd name="connsiteX8848" fmla="*/ 1118504 w 10505529"/>
              <a:gd name="connsiteY8848" fmla="*/ 6152635 h 7458372"/>
              <a:gd name="connsiteX8849" fmla="*/ 1096669 w 10505529"/>
              <a:gd name="connsiteY8849" fmla="*/ 6144116 h 7458372"/>
              <a:gd name="connsiteX8850" fmla="*/ 1088284 w 10505529"/>
              <a:gd name="connsiteY8850" fmla="*/ 6122949 h 7458372"/>
              <a:gd name="connsiteX8851" fmla="*/ 1096669 w 10505529"/>
              <a:gd name="connsiteY8851" fmla="*/ 6101917 h 7458372"/>
              <a:gd name="connsiteX8852" fmla="*/ 1118504 w 10505529"/>
              <a:gd name="connsiteY8852" fmla="*/ 6093397 h 7458372"/>
              <a:gd name="connsiteX8853" fmla="*/ 900991 w 10505529"/>
              <a:gd name="connsiteY8853" fmla="*/ 6093397 h 7458372"/>
              <a:gd name="connsiteX8854" fmla="*/ 912706 w 10505529"/>
              <a:gd name="connsiteY8854" fmla="*/ 6095926 h 7458372"/>
              <a:gd name="connsiteX8855" fmla="*/ 922024 w 10505529"/>
              <a:gd name="connsiteY8855" fmla="*/ 6102316 h 7458372"/>
              <a:gd name="connsiteX8856" fmla="*/ 928146 w 10505529"/>
              <a:gd name="connsiteY8856" fmla="*/ 6111634 h 7458372"/>
              <a:gd name="connsiteX8857" fmla="*/ 930409 w 10505529"/>
              <a:gd name="connsiteY8857" fmla="*/ 6123082 h 7458372"/>
              <a:gd name="connsiteX8858" fmla="*/ 928146 w 10505529"/>
              <a:gd name="connsiteY8858" fmla="*/ 6134797 h 7458372"/>
              <a:gd name="connsiteX8859" fmla="*/ 922024 w 10505529"/>
              <a:gd name="connsiteY8859" fmla="*/ 6144116 h 7458372"/>
              <a:gd name="connsiteX8860" fmla="*/ 912706 w 10505529"/>
              <a:gd name="connsiteY8860" fmla="*/ 6150372 h 7458372"/>
              <a:gd name="connsiteX8861" fmla="*/ 900991 w 10505529"/>
              <a:gd name="connsiteY8861" fmla="*/ 6152635 h 7458372"/>
              <a:gd name="connsiteX8862" fmla="*/ 879160 w 10505529"/>
              <a:gd name="connsiteY8862" fmla="*/ 6144116 h 7458372"/>
              <a:gd name="connsiteX8863" fmla="*/ 870775 w 10505529"/>
              <a:gd name="connsiteY8863" fmla="*/ 6122949 h 7458372"/>
              <a:gd name="connsiteX8864" fmla="*/ 879160 w 10505529"/>
              <a:gd name="connsiteY8864" fmla="*/ 6101917 h 7458372"/>
              <a:gd name="connsiteX8865" fmla="*/ 900991 w 10505529"/>
              <a:gd name="connsiteY8865" fmla="*/ 6093397 h 7458372"/>
              <a:gd name="connsiteX8866" fmla="*/ 683351 w 10505529"/>
              <a:gd name="connsiteY8866" fmla="*/ 6093397 h 7458372"/>
              <a:gd name="connsiteX8867" fmla="*/ 695066 w 10505529"/>
              <a:gd name="connsiteY8867" fmla="*/ 6095926 h 7458372"/>
              <a:gd name="connsiteX8868" fmla="*/ 704383 w 10505529"/>
              <a:gd name="connsiteY8868" fmla="*/ 6102316 h 7458372"/>
              <a:gd name="connsiteX8869" fmla="*/ 710506 w 10505529"/>
              <a:gd name="connsiteY8869" fmla="*/ 6111634 h 7458372"/>
              <a:gd name="connsiteX8870" fmla="*/ 712769 w 10505529"/>
              <a:gd name="connsiteY8870" fmla="*/ 6123082 h 7458372"/>
              <a:gd name="connsiteX8871" fmla="*/ 710506 w 10505529"/>
              <a:gd name="connsiteY8871" fmla="*/ 6134797 h 7458372"/>
              <a:gd name="connsiteX8872" fmla="*/ 704383 w 10505529"/>
              <a:gd name="connsiteY8872" fmla="*/ 6144116 h 7458372"/>
              <a:gd name="connsiteX8873" fmla="*/ 695066 w 10505529"/>
              <a:gd name="connsiteY8873" fmla="*/ 6150372 h 7458372"/>
              <a:gd name="connsiteX8874" fmla="*/ 683351 w 10505529"/>
              <a:gd name="connsiteY8874" fmla="*/ 6152635 h 7458372"/>
              <a:gd name="connsiteX8875" fmla="*/ 661519 w 10505529"/>
              <a:gd name="connsiteY8875" fmla="*/ 6144116 h 7458372"/>
              <a:gd name="connsiteX8876" fmla="*/ 653134 w 10505529"/>
              <a:gd name="connsiteY8876" fmla="*/ 6122949 h 7458372"/>
              <a:gd name="connsiteX8877" fmla="*/ 661519 w 10505529"/>
              <a:gd name="connsiteY8877" fmla="*/ 6101917 h 7458372"/>
              <a:gd name="connsiteX8878" fmla="*/ 683351 w 10505529"/>
              <a:gd name="connsiteY8878" fmla="*/ 6093397 h 7458372"/>
              <a:gd name="connsiteX8879" fmla="*/ 465710 w 10505529"/>
              <a:gd name="connsiteY8879" fmla="*/ 6093397 h 7458372"/>
              <a:gd name="connsiteX8880" fmla="*/ 477425 w 10505529"/>
              <a:gd name="connsiteY8880" fmla="*/ 6095926 h 7458372"/>
              <a:gd name="connsiteX8881" fmla="*/ 486743 w 10505529"/>
              <a:gd name="connsiteY8881" fmla="*/ 6102316 h 7458372"/>
              <a:gd name="connsiteX8882" fmla="*/ 492866 w 10505529"/>
              <a:gd name="connsiteY8882" fmla="*/ 6111634 h 7458372"/>
              <a:gd name="connsiteX8883" fmla="*/ 495128 w 10505529"/>
              <a:gd name="connsiteY8883" fmla="*/ 6123082 h 7458372"/>
              <a:gd name="connsiteX8884" fmla="*/ 492866 w 10505529"/>
              <a:gd name="connsiteY8884" fmla="*/ 6134797 h 7458372"/>
              <a:gd name="connsiteX8885" fmla="*/ 486743 w 10505529"/>
              <a:gd name="connsiteY8885" fmla="*/ 6144116 h 7458372"/>
              <a:gd name="connsiteX8886" fmla="*/ 477425 w 10505529"/>
              <a:gd name="connsiteY8886" fmla="*/ 6150372 h 7458372"/>
              <a:gd name="connsiteX8887" fmla="*/ 465710 w 10505529"/>
              <a:gd name="connsiteY8887" fmla="*/ 6152635 h 7458372"/>
              <a:gd name="connsiteX8888" fmla="*/ 443879 w 10505529"/>
              <a:gd name="connsiteY8888" fmla="*/ 6144116 h 7458372"/>
              <a:gd name="connsiteX8889" fmla="*/ 435493 w 10505529"/>
              <a:gd name="connsiteY8889" fmla="*/ 6122949 h 7458372"/>
              <a:gd name="connsiteX8890" fmla="*/ 443879 w 10505529"/>
              <a:gd name="connsiteY8890" fmla="*/ 6101917 h 7458372"/>
              <a:gd name="connsiteX8891" fmla="*/ 465710 w 10505529"/>
              <a:gd name="connsiteY8891" fmla="*/ 6093397 h 7458372"/>
              <a:gd name="connsiteX8892" fmla="*/ 248069 w 10505529"/>
              <a:gd name="connsiteY8892" fmla="*/ 6093397 h 7458372"/>
              <a:gd name="connsiteX8893" fmla="*/ 259783 w 10505529"/>
              <a:gd name="connsiteY8893" fmla="*/ 6095926 h 7458372"/>
              <a:gd name="connsiteX8894" fmla="*/ 269101 w 10505529"/>
              <a:gd name="connsiteY8894" fmla="*/ 6102316 h 7458372"/>
              <a:gd name="connsiteX8895" fmla="*/ 275224 w 10505529"/>
              <a:gd name="connsiteY8895" fmla="*/ 6111634 h 7458372"/>
              <a:gd name="connsiteX8896" fmla="*/ 277487 w 10505529"/>
              <a:gd name="connsiteY8896" fmla="*/ 6123082 h 7458372"/>
              <a:gd name="connsiteX8897" fmla="*/ 275224 w 10505529"/>
              <a:gd name="connsiteY8897" fmla="*/ 6134797 h 7458372"/>
              <a:gd name="connsiteX8898" fmla="*/ 269101 w 10505529"/>
              <a:gd name="connsiteY8898" fmla="*/ 6144116 h 7458372"/>
              <a:gd name="connsiteX8899" fmla="*/ 259783 w 10505529"/>
              <a:gd name="connsiteY8899" fmla="*/ 6150372 h 7458372"/>
              <a:gd name="connsiteX8900" fmla="*/ 248069 w 10505529"/>
              <a:gd name="connsiteY8900" fmla="*/ 6152635 h 7458372"/>
              <a:gd name="connsiteX8901" fmla="*/ 226239 w 10505529"/>
              <a:gd name="connsiteY8901" fmla="*/ 6144116 h 7458372"/>
              <a:gd name="connsiteX8902" fmla="*/ 217854 w 10505529"/>
              <a:gd name="connsiteY8902" fmla="*/ 6122949 h 7458372"/>
              <a:gd name="connsiteX8903" fmla="*/ 226239 w 10505529"/>
              <a:gd name="connsiteY8903" fmla="*/ 6101917 h 7458372"/>
              <a:gd name="connsiteX8904" fmla="*/ 248069 w 10505529"/>
              <a:gd name="connsiteY8904" fmla="*/ 6093397 h 7458372"/>
              <a:gd name="connsiteX8905" fmla="*/ 30428 w 10505529"/>
              <a:gd name="connsiteY8905" fmla="*/ 6093397 h 7458372"/>
              <a:gd name="connsiteX8906" fmla="*/ 42143 w 10505529"/>
              <a:gd name="connsiteY8906" fmla="*/ 6095926 h 7458372"/>
              <a:gd name="connsiteX8907" fmla="*/ 51461 w 10505529"/>
              <a:gd name="connsiteY8907" fmla="*/ 6102316 h 7458372"/>
              <a:gd name="connsiteX8908" fmla="*/ 57584 w 10505529"/>
              <a:gd name="connsiteY8908" fmla="*/ 6111634 h 7458372"/>
              <a:gd name="connsiteX8909" fmla="*/ 59847 w 10505529"/>
              <a:gd name="connsiteY8909" fmla="*/ 6123082 h 7458372"/>
              <a:gd name="connsiteX8910" fmla="*/ 57584 w 10505529"/>
              <a:gd name="connsiteY8910" fmla="*/ 6134797 h 7458372"/>
              <a:gd name="connsiteX8911" fmla="*/ 51461 w 10505529"/>
              <a:gd name="connsiteY8911" fmla="*/ 6144116 h 7458372"/>
              <a:gd name="connsiteX8912" fmla="*/ 42143 w 10505529"/>
              <a:gd name="connsiteY8912" fmla="*/ 6150372 h 7458372"/>
              <a:gd name="connsiteX8913" fmla="*/ 30428 w 10505529"/>
              <a:gd name="connsiteY8913" fmla="*/ 6152635 h 7458372"/>
              <a:gd name="connsiteX8914" fmla="*/ 8600 w 10505529"/>
              <a:gd name="connsiteY8914" fmla="*/ 6144116 h 7458372"/>
              <a:gd name="connsiteX8915" fmla="*/ 214 w 10505529"/>
              <a:gd name="connsiteY8915" fmla="*/ 6122949 h 7458372"/>
              <a:gd name="connsiteX8916" fmla="*/ 8600 w 10505529"/>
              <a:gd name="connsiteY8916" fmla="*/ 6101917 h 7458372"/>
              <a:gd name="connsiteX8917" fmla="*/ 30428 w 10505529"/>
              <a:gd name="connsiteY8917" fmla="*/ 6093397 h 7458372"/>
              <a:gd name="connsiteX8918" fmla="*/ 10475977 w 10505529"/>
              <a:gd name="connsiteY8918" fmla="*/ 5892392 h 7458372"/>
              <a:gd name="connsiteX8919" fmla="*/ 10465992 w 10505529"/>
              <a:gd name="connsiteY8919" fmla="*/ 5895986 h 7458372"/>
              <a:gd name="connsiteX8920" fmla="*/ 10462399 w 10505529"/>
              <a:gd name="connsiteY8920" fmla="*/ 5905437 h 7458372"/>
              <a:gd name="connsiteX8921" fmla="*/ 10465992 w 10505529"/>
              <a:gd name="connsiteY8921" fmla="*/ 5914888 h 7458372"/>
              <a:gd name="connsiteX8922" fmla="*/ 10475977 w 10505529"/>
              <a:gd name="connsiteY8922" fmla="*/ 5918350 h 7458372"/>
              <a:gd name="connsiteX8923" fmla="*/ 10481302 w 10505529"/>
              <a:gd name="connsiteY8923" fmla="*/ 5917418 h 7458372"/>
              <a:gd name="connsiteX8924" fmla="*/ 10485029 w 10505529"/>
              <a:gd name="connsiteY8924" fmla="*/ 5915021 h 7458372"/>
              <a:gd name="connsiteX8925" fmla="*/ 10487691 w 10505529"/>
              <a:gd name="connsiteY8925" fmla="*/ 5910761 h 7458372"/>
              <a:gd name="connsiteX8926" fmla="*/ 10488623 w 10505529"/>
              <a:gd name="connsiteY8926" fmla="*/ 5905304 h 7458372"/>
              <a:gd name="connsiteX8927" fmla="*/ 10487691 w 10505529"/>
              <a:gd name="connsiteY8927" fmla="*/ 5900112 h 7458372"/>
              <a:gd name="connsiteX8928" fmla="*/ 10485029 w 10505529"/>
              <a:gd name="connsiteY8928" fmla="*/ 5895986 h 7458372"/>
              <a:gd name="connsiteX8929" fmla="*/ 10481035 w 10505529"/>
              <a:gd name="connsiteY8929" fmla="*/ 5893323 h 7458372"/>
              <a:gd name="connsiteX8930" fmla="*/ 10475977 w 10505529"/>
              <a:gd name="connsiteY8930" fmla="*/ 5892392 h 7458372"/>
              <a:gd name="connsiteX8931" fmla="*/ 10258466 w 10505529"/>
              <a:gd name="connsiteY8931" fmla="*/ 5892392 h 7458372"/>
              <a:gd name="connsiteX8932" fmla="*/ 10248481 w 10505529"/>
              <a:gd name="connsiteY8932" fmla="*/ 5895986 h 7458372"/>
              <a:gd name="connsiteX8933" fmla="*/ 10244887 w 10505529"/>
              <a:gd name="connsiteY8933" fmla="*/ 5905437 h 7458372"/>
              <a:gd name="connsiteX8934" fmla="*/ 10248481 w 10505529"/>
              <a:gd name="connsiteY8934" fmla="*/ 5914888 h 7458372"/>
              <a:gd name="connsiteX8935" fmla="*/ 10258466 w 10505529"/>
              <a:gd name="connsiteY8935" fmla="*/ 5918350 h 7458372"/>
              <a:gd name="connsiteX8936" fmla="*/ 10263790 w 10505529"/>
              <a:gd name="connsiteY8936" fmla="*/ 5917418 h 7458372"/>
              <a:gd name="connsiteX8937" fmla="*/ 10267517 w 10505529"/>
              <a:gd name="connsiteY8937" fmla="*/ 5915021 h 7458372"/>
              <a:gd name="connsiteX8938" fmla="*/ 10270180 w 10505529"/>
              <a:gd name="connsiteY8938" fmla="*/ 5910761 h 7458372"/>
              <a:gd name="connsiteX8939" fmla="*/ 10271112 w 10505529"/>
              <a:gd name="connsiteY8939" fmla="*/ 5905304 h 7458372"/>
              <a:gd name="connsiteX8940" fmla="*/ 10270180 w 10505529"/>
              <a:gd name="connsiteY8940" fmla="*/ 5900112 h 7458372"/>
              <a:gd name="connsiteX8941" fmla="*/ 10267517 w 10505529"/>
              <a:gd name="connsiteY8941" fmla="*/ 5895986 h 7458372"/>
              <a:gd name="connsiteX8942" fmla="*/ 10263524 w 10505529"/>
              <a:gd name="connsiteY8942" fmla="*/ 5893323 h 7458372"/>
              <a:gd name="connsiteX8943" fmla="*/ 10258466 w 10505529"/>
              <a:gd name="connsiteY8943" fmla="*/ 5892392 h 7458372"/>
              <a:gd name="connsiteX8944" fmla="*/ 10040820 w 10505529"/>
              <a:gd name="connsiteY8944" fmla="*/ 5892392 h 7458372"/>
              <a:gd name="connsiteX8945" fmla="*/ 10030835 w 10505529"/>
              <a:gd name="connsiteY8945" fmla="*/ 5895986 h 7458372"/>
              <a:gd name="connsiteX8946" fmla="*/ 10027242 w 10505529"/>
              <a:gd name="connsiteY8946" fmla="*/ 5905437 h 7458372"/>
              <a:gd name="connsiteX8947" fmla="*/ 10030835 w 10505529"/>
              <a:gd name="connsiteY8947" fmla="*/ 5914888 h 7458372"/>
              <a:gd name="connsiteX8948" fmla="*/ 10040820 w 10505529"/>
              <a:gd name="connsiteY8948" fmla="*/ 5918350 h 7458372"/>
              <a:gd name="connsiteX8949" fmla="*/ 10046145 w 10505529"/>
              <a:gd name="connsiteY8949" fmla="*/ 5917418 h 7458372"/>
              <a:gd name="connsiteX8950" fmla="*/ 10049872 w 10505529"/>
              <a:gd name="connsiteY8950" fmla="*/ 5915021 h 7458372"/>
              <a:gd name="connsiteX8951" fmla="*/ 10052534 w 10505529"/>
              <a:gd name="connsiteY8951" fmla="*/ 5910761 h 7458372"/>
              <a:gd name="connsiteX8952" fmla="*/ 10053599 w 10505529"/>
              <a:gd name="connsiteY8952" fmla="*/ 5905304 h 7458372"/>
              <a:gd name="connsiteX8953" fmla="*/ 10052534 w 10505529"/>
              <a:gd name="connsiteY8953" fmla="*/ 5900112 h 7458372"/>
              <a:gd name="connsiteX8954" fmla="*/ 10049872 w 10505529"/>
              <a:gd name="connsiteY8954" fmla="*/ 5895986 h 7458372"/>
              <a:gd name="connsiteX8955" fmla="*/ 10045878 w 10505529"/>
              <a:gd name="connsiteY8955" fmla="*/ 5893323 h 7458372"/>
              <a:gd name="connsiteX8956" fmla="*/ 10040820 w 10505529"/>
              <a:gd name="connsiteY8956" fmla="*/ 5892392 h 7458372"/>
              <a:gd name="connsiteX8957" fmla="*/ 9823176 w 10505529"/>
              <a:gd name="connsiteY8957" fmla="*/ 5892392 h 7458372"/>
              <a:gd name="connsiteX8958" fmla="*/ 9813191 w 10505529"/>
              <a:gd name="connsiteY8958" fmla="*/ 5895986 h 7458372"/>
              <a:gd name="connsiteX8959" fmla="*/ 9809597 w 10505529"/>
              <a:gd name="connsiteY8959" fmla="*/ 5905437 h 7458372"/>
              <a:gd name="connsiteX8960" fmla="*/ 9813191 w 10505529"/>
              <a:gd name="connsiteY8960" fmla="*/ 5914888 h 7458372"/>
              <a:gd name="connsiteX8961" fmla="*/ 9823176 w 10505529"/>
              <a:gd name="connsiteY8961" fmla="*/ 5918350 h 7458372"/>
              <a:gd name="connsiteX8962" fmla="*/ 9828501 w 10505529"/>
              <a:gd name="connsiteY8962" fmla="*/ 5917418 h 7458372"/>
              <a:gd name="connsiteX8963" fmla="*/ 9832227 w 10505529"/>
              <a:gd name="connsiteY8963" fmla="*/ 5915021 h 7458372"/>
              <a:gd name="connsiteX8964" fmla="*/ 9834890 w 10505529"/>
              <a:gd name="connsiteY8964" fmla="*/ 5910761 h 7458372"/>
              <a:gd name="connsiteX8965" fmla="*/ 9835955 w 10505529"/>
              <a:gd name="connsiteY8965" fmla="*/ 5905304 h 7458372"/>
              <a:gd name="connsiteX8966" fmla="*/ 9834890 w 10505529"/>
              <a:gd name="connsiteY8966" fmla="*/ 5900112 h 7458372"/>
              <a:gd name="connsiteX8967" fmla="*/ 9832227 w 10505529"/>
              <a:gd name="connsiteY8967" fmla="*/ 5895986 h 7458372"/>
              <a:gd name="connsiteX8968" fmla="*/ 9828234 w 10505529"/>
              <a:gd name="connsiteY8968" fmla="*/ 5893323 h 7458372"/>
              <a:gd name="connsiteX8969" fmla="*/ 9823176 w 10505529"/>
              <a:gd name="connsiteY8969" fmla="*/ 5892392 h 7458372"/>
              <a:gd name="connsiteX8970" fmla="*/ 9605531 w 10505529"/>
              <a:gd name="connsiteY8970" fmla="*/ 5892392 h 7458372"/>
              <a:gd name="connsiteX8971" fmla="*/ 9595546 w 10505529"/>
              <a:gd name="connsiteY8971" fmla="*/ 5895986 h 7458372"/>
              <a:gd name="connsiteX8972" fmla="*/ 9591952 w 10505529"/>
              <a:gd name="connsiteY8972" fmla="*/ 5905437 h 7458372"/>
              <a:gd name="connsiteX8973" fmla="*/ 9595546 w 10505529"/>
              <a:gd name="connsiteY8973" fmla="*/ 5914888 h 7458372"/>
              <a:gd name="connsiteX8974" fmla="*/ 9605531 w 10505529"/>
              <a:gd name="connsiteY8974" fmla="*/ 5918350 h 7458372"/>
              <a:gd name="connsiteX8975" fmla="*/ 9610855 w 10505529"/>
              <a:gd name="connsiteY8975" fmla="*/ 5917418 h 7458372"/>
              <a:gd name="connsiteX8976" fmla="*/ 9614582 w 10505529"/>
              <a:gd name="connsiteY8976" fmla="*/ 5915021 h 7458372"/>
              <a:gd name="connsiteX8977" fmla="*/ 9617245 w 10505529"/>
              <a:gd name="connsiteY8977" fmla="*/ 5910761 h 7458372"/>
              <a:gd name="connsiteX8978" fmla="*/ 9618309 w 10505529"/>
              <a:gd name="connsiteY8978" fmla="*/ 5905304 h 7458372"/>
              <a:gd name="connsiteX8979" fmla="*/ 9617245 w 10505529"/>
              <a:gd name="connsiteY8979" fmla="*/ 5900112 h 7458372"/>
              <a:gd name="connsiteX8980" fmla="*/ 9614582 w 10505529"/>
              <a:gd name="connsiteY8980" fmla="*/ 5895986 h 7458372"/>
              <a:gd name="connsiteX8981" fmla="*/ 9610589 w 10505529"/>
              <a:gd name="connsiteY8981" fmla="*/ 5893323 h 7458372"/>
              <a:gd name="connsiteX8982" fmla="*/ 9605531 w 10505529"/>
              <a:gd name="connsiteY8982" fmla="*/ 5892392 h 7458372"/>
              <a:gd name="connsiteX8983" fmla="*/ 9387885 w 10505529"/>
              <a:gd name="connsiteY8983" fmla="*/ 5892392 h 7458372"/>
              <a:gd name="connsiteX8984" fmla="*/ 9377900 w 10505529"/>
              <a:gd name="connsiteY8984" fmla="*/ 5895986 h 7458372"/>
              <a:gd name="connsiteX8985" fmla="*/ 9374307 w 10505529"/>
              <a:gd name="connsiteY8985" fmla="*/ 5905437 h 7458372"/>
              <a:gd name="connsiteX8986" fmla="*/ 9377900 w 10505529"/>
              <a:gd name="connsiteY8986" fmla="*/ 5914888 h 7458372"/>
              <a:gd name="connsiteX8987" fmla="*/ 9387885 w 10505529"/>
              <a:gd name="connsiteY8987" fmla="*/ 5918350 h 7458372"/>
              <a:gd name="connsiteX8988" fmla="*/ 9393210 w 10505529"/>
              <a:gd name="connsiteY8988" fmla="*/ 5917418 h 7458372"/>
              <a:gd name="connsiteX8989" fmla="*/ 9396937 w 10505529"/>
              <a:gd name="connsiteY8989" fmla="*/ 5915021 h 7458372"/>
              <a:gd name="connsiteX8990" fmla="*/ 9399599 w 10505529"/>
              <a:gd name="connsiteY8990" fmla="*/ 5910761 h 7458372"/>
              <a:gd name="connsiteX8991" fmla="*/ 9400664 w 10505529"/>
              <a:gd name="connsiteY8991" fmla="*/ 5905304 h 7458372"/>
              <a:gd name="connsiteX8992" fmla="*/ 9399599 w 10505529"/>
              <a:gd name="connsiteY8992" fmla="*/ 5900112 h 7458372"/>
              <a:gd name="connsiteX8993" fmla="*/ 9396937 w 10505529"/>
              <a:gd name="connsiteY8993" fmla="*/ 5895986 h 7458372"/>
              <a:gd name="connsiteX8994" fmla="*/ 9392943 w 10505529"/>
              <a:gd name="connsiteY8994" fmla="*/ 5893323 h 7458372"/>
              <a:gd name="connsiteX8995" fmla="*/ 9387885 w 10505529"/>
              <a:gd name="connsiteY8995" fmla="*/ 5892392 h 7458372"/>
              <a:gd name="connsiteX8996" fmla="*/ 9170374 w 10505529"/>
              <a:gd name="connsiteY8996" fmla="*/ 5892392 h 7458372"/>
              <a:gd name="connsiteX8997" fmla="*/ 9160389 w 10505529"/>
              <a:gd name="connsiteY8997" fmla="*/ 5895986 h 7458372"/>
              <a:gd name="connsiteX8998" fmla="*/ 9156795 w 10505529"/>
              <a:gd name="connsiteY8998" fmla="*/ 5905437 h 7458372"/>
              <a:gd name="connsiteX8999" fmla="*/ 9160389 w 10505529"/>
              <a:gd name="connsiteY8999" fmla="*/ 5914888 h 7458372"/>
              <a:gd name="connsiteX9000" fmla="*/ 9170374 w 10505529"/>
              <a:gd name="connsiteY9000" fmla="*/ 5918350 h 7458372"/>
              <a:gd name="connsiteX9001" fmla="*/ 9175698 w 10505529"/>
              <a:gd name="connsiteY9001" fmla="*/ 5917418 h 7458372"/>
              <a:gd name="connsiteX9002" fmla="*/ 9179425 w 10505529"/>
              <a:gd name="connsiteY9002" fmla="*/ 5915021 h 7458372"/>
              <a:gd name="connsiteX9003" fmla="*/ 9182088 w 10505529"/>
              <a:gd name="connsiteY9003" fmla="*/ 5910761 h 7458372"/>
              <a:gd name="connsiteX9004" fmla="*/ 9183152 w 10505529"/>
              <a:gd name="connsiteY9004" fmla="*/ 5905304 h 7458372"/>
              <a:gd name="connsiteX9005" fmla="*/ 9182088 w 10505529"/>
              <a:gd name="connsiteY9005" fmla="*/ 5900112 h 7458372"/>
              <a:gd name="connsiteX9006" fmla="*/ 9179425 w 10505529"/>
              <a:gd name="connsiteY9006" fmla="*/ 5895986 h 7458372"/>
              <a:gd name="connsiteX9007" fmla="*/ 9175432 w 10505529"/>
              <a:gd name="connsiteY9007" fmla="*/ 5893323 h 7458372"/>
              <a:gd name="connsiteX9008" fmla="*/ 9170374 w 10505529"/>
              <a:gd name="connsiteY9008" fmla="*/ 5892392 h 7458372"/>
              <a:gd name="connsiteX9009" fmla="*/ 8952728 w 10505529"/>
              <a:gd name="connsiteY9009" fmla="*/ 5892392 h 7458372"/>
              <a:gd name="connsiteX9010" fmla="*/ 8942743 w 10505529"/>
              <a:gd name="connsiteY9010" fmla="*/ 5895986 h 7458372"/>
              <a:gd name="connsiteX9011" fmla="*/ 8939150 w 10505529"/>
              <a:gd name="connsiteY9011" fmla="*/ 5905437 h 7458372"/>
              <a:gd name="connsiteX9012" fmla="*/ 8942743 w 10505529"/>
              <a:gd name="connsiteY9012" fmla="*/ 5914888 h 7458372"/>
              <a:gd name="connsiteX9013" fmla="*/ 8952728 w 10505529"/>
              <a:gd name="connsiteY9013" fmla="*/ 5918350 h 7458372"/>
              <a:gd name="connsiteX9014" fmla="*/ 8958053 w 10505529"/>
              <a:gd name="connsiteY9014" fmla="*/ 5917418 h 7458372"/>
              <a:gd name="connsiteX9015" fmla="*/ 8961780 w 10505529"/>
              <a:gd name="connsiteY9015" fmla="*/ 5915021 h 7458372"/>
              <a:gd name="connsiteX9016" fmla="*/ 8964442 w 10505529"/>
              <a:gd name="connsiteY9016" fmla="*/ 5910761 h 7458372"/>
              <a:gd name="connsiteX9017" fmla="*/ 8965507 w 10505529"/>
              <a:gd name="connsiteY9017" fmla="*/ 5905304 h 7458372"/>
              <a:gd name="connsiteX9018" fmla="*/ 8964442 w 10505529"/>
              <a:gd name="connsiteY9018" fmla="*/ 5900112 h 7458372"/>
              <a:gd name="connsiteX9019" fmla="*/ 8961780 w 10505529"/>
              <a:gd name="connsiteY9019" fmla="*/ 5895986 h 7458372"/>
              <a:gd name="connsiteX9020" fmla="*/ 8957786 w 10505529"/>
              <a:gd name="connsiteY9020" fmla="*/ 5893323 h 7458372"/>
              <a:gd name="connsiteX9021" fmla="*/ 8952728 w 10505529"/>
              <a:gd name="connsiteY9021" fmla="*/ 5892392 h 7458372"/>
              <a:gd name="connsiteX9022" fmla="*/ 8735083 w 10505529"/>
              <a:gd name="connsiteY9022" fmla="*/ 5892392 h 7458372"/>
              <a:gd name="connsiteX9023" fmla="*/ 8725098 w 10505529"/>
              <a:gd name="connsiteY9023" fmla="*/ 5895986 h 7458372"/>
              <a:gd name="connsiteX9024" fmla="*/ 8721504 w 10505529"/>
              <a:gd name="connsiteY9024" fmla="*/ 5905437 h 7458372"/>
              <a:gd name="connsiteX9025" fmla="*/ 8725098 w 10505529"/>
              <a:gd name="connsiteY9025" fmla="*/ 5914888 h 7458372"/>
              <a:gd name="connsiteX9026" fmla="*/ 8735083 w 10505529"/>
              <a:gd name="connsiteY9026" fmla="*/ 5918350 h 7458372"/>
              <a:gd name="connsiteX9027" fmla="*/ 8740407 w 10505529"/>
              <a:gd name="connsiteY9027" fmla="*/ 5917418 h 7458372"/>
              <a:gd name="connsiteX9028" fmla="*/ 8744134 w 10505529"/>
              <a:gd name="connsiteY9028" fmla="*/ 5915021 h 7458372"/>
              <a:gd name="connsiteX9029" fmla="*/ 8746797 w 10505529"/>
              <a:gd name="connsiteY9029" fmla="*/ 5910761 h 7458372"/>
              <a:gd name="connsiteX9030" fmla="*/ 8747862 w 10505529"/>
              <a:gd name="connsiteY9030" fmla="*/ 5905304 h 7458372"/>
              <a:gd name="connsiteX9031" fmla="*/ 8746797 w 10505529"/>
              <a:gd name="connsiteY9031" fmla="*/ 5900112 h 7458372"/>
              <a:gd name="connsiteX9032" fmla="*/ 8744134 w 10505529"/>
              <a:gd name="connsiteY9032" fmla="*/ 5895986 h 7458372"/>
              <a:gd name="connsiteX9033" fmla="*/ 8740141 w 10505529"/>
              <a:gd name="connsiteY9033" fmla="*/ 5893323 h 7458372"/>
              <a:gd name="connsiteX9034" fmla="*/ 8735083 w 10505529"/>
              <a:gd name="connsiteY9034" fmla="*/ 5892392 h 7458372"/>
              <a:gd name="connsiteX9035" fmla="*/ 8517438 w 10505529"/>
              <a:gd name="connsiteY9035" fmla="*/ 5892392 h 7458372"/>
              <a:gd name="connsiteX9036" fmla="*/ 8507453 w 10505529"/>
              <a:gd name="connsiteY9036" fmla="*/ 5895986 h 7458372"/>
              <a:gd name="connsiteX9037" fmla="*/ 8503860 w 10505529"/>
              <a:gd name="connsiteY9037" fmla="*/ 5905437 h 7458372"/>
              <a:gd name="connsiteX9038" fmla="*/ 8507453 w 10505529"/>
              <a:gd name="connsiteY9038" fmla="*/ 5914888 h 7458372"/>
              <a:gd name="connsiteX9039" fmla="*/ 8517438 w 10505529"/>
              <a:gd name="connsiteY9039" fmla="*/ 5918350 h 7458372"/>
              <a:gd name="connsiteX9040" fmla="*/ 8522763 w 10505529"/>
              <a:gd name="connsiteY9040" fmla="*/ 5917418 h 7458372"/>
              <a:gd name="connsiteX9041" fmla="*/ 8526490 w 10505529"/>
              <a:gd name="connsiteY9041" fmla="*/ 5915021 h 7458372"/>
              <a:gd name="connsiteX9042" fmla="*/ 8529152 w 10505529"/>
              <a:gd name="connsiteY9042" fmla="*/ 5910761 h 7458372"/>
              <a:gd name="connsiteX9043" fmla="*/ 8530084 w 10505529"/>
              <a:gd name="connsiteY9043" fmla="*/ 5905304 h 7458372"/>
              <a:gd name="connsiteX9044" fmla="*/ 8529152 w 10505529"/>
              <a:gd name="connsiteY9044" fmla="*/ 5900112 h 7458372"/>
              <a:gd name="connsiteX9045" fmla="*/ 8526490 w 10505529"/>
              <a:gd name="connsiteY9045" fmla="*/ 5895986 h 7458372"/>
              <a:gd name="connsiteX9046" fmla="*/ 8522496 w 10505529"/>
              <a:gd name="connsiteY9046" fmla="*/ 5893323 h 7458372"/>
              <a:gd name="connsiteX9047" fmla="*/ 8517438 w 10505529"/>
              <a:gd name="connsiteY9047" fmla="*/ 5892392 h 7458372"/>
              <a:gd name="connsiteX9048" fmla="*/ 8299793 w 10505529"/>
              <a:gd name="connsiteY9048" fmla="*/ 5892392 h 7458372"/>
              <a:gd name="connsiteX9049" fmla="*/ 8289809 w 10505529"/>
              <a:gd name="connsiteY9049" fmla="*/ 5895986 h 7458372"/>
              <a:gd name="connsiteX9050" fmla="*/ 8286215 w 10505529"/>
              <a:gd name="connsiteY9050" fmla="*/ 5905437 h 7458372"/>
              <a:gd name="connsiteX9051" fmla="*/ 8289809 w 10505529"/>
              <a:gd name="connsiteY9051" fmla="*/ 5914888 h 7458372"/>
              <a:gd name="connsiteX9052" fmla="*/ 8299793 w 10505529"/>
              <a:gd name="connsiteY9052" fmla="*/ 5918350 h 7458372"/>
              <a:gd name="connsiteX9053" fmla="*/ 8305118 w 10505529"/>
              <a:gd name="connsiteY9053" fmla="*/ 5917418 h 7458372"/>
              <a:gd name="connsiteX9054" fmla="*/ 8308844 w 10505529"/>
              <a:gd name="connsiteY9054" fmla="*/ 5915021 h 7458372"/>
              <a:gd name="connsiteX9055" fmla="*/ 8311507 w 10505529"/>
              <a:gd name="connsiteY9055" fmla="*/ 5910761 h 7458372"/>
              <a:gd name="connsiteX9056" fmla="*/ 8312439 w 10505529"/>
              <a:gd name="connsiteY9056" fmla="*/ 5905304 h 7458372"/>
              <a:gd name="connsiteX9057" fmla="*/ 8311507 w 10505529"/>
              <a:gd name="connsiteY9057" fmla="*/ 5900112 h 7458372"/>
              <a:gd name="connsiteX9058" fmla="*/ 8308844 w 10505529"/>
              <a:gd name="connsiteY9058" fmla="*/ 5895986 h 7458372"/>
              <a:gd name="connsiteX9059" fmla="*/ 8304851 w 10505529"/>
              <a:gd name="connsiteY9059" fmla="*/ 5893323 h 7458372"/>
              <a:gd name="connsiteX9060" fmla="*/ 8299793 w 10505529"/>
              <a:gd name="connsiteY9060" fmla="*/ 5892392 h 7458372"/>
              <a:gd name="connsiteX9061" fmla="*/ 8082281 w 10505529"/>
              <a:gd name="connsiteY9061" fmla="*/ 5892392 h 7458372"/>
              <a:gd name="connsiteX9062" fmla="*/ 8072297 w 10505529"/>
              <a:gd name="connsiteY9062" fmla="*/ 5895986 h 7458372"/>
              <a:gd name="connsiteX9063" fmla="*/ 8068703 w 10505529"/>
              <a:gd name="connsiteY9063" fmla="*/ 5905437 h 7458372"/>
              <a:gd name="connsiteX9064" fmla="*/ 8072297 w 10505529"/>
              <a:gd name="connsiteY9064" fmla="*/ 5914888 h 7458372"/>
              <a:gd name="connsiteX9065" fmla="*/ 8082281 w 10505529"/>
              <a:gd name="connsiteY9065" fmla="*/ 5918350 h 7458372"/>
              <a:gd name="connsiteX9066" fmla="*/ 8087605 w 10505529"/>
              <a:gd name="connsiteY9066" fmla="*/ 5917418 h 7458372"/>
              <a:gd name="connsiteX9067" fmla="*/ 8091332 w 10505529"/>
              <a:gd name="connsiteY9067" fmla="*/ 5915021 h 7458372"/>
              <a:gd name="connsiteX9068" fmla="*/ 8093994 w 10505529"/>
              <a:gd name="connsiteY9068" fmla="*/ 5910761 h 7458372"/>
              <a:gd name="connsiteX9069" fmla="*/ 8094926 w 10505529"/>
              <a:gd name="connsiteY9069" fmla="*/ 5905304 h 7458372"/>
              <a:gd name="connsiteX9070" fmla="*/ 8093994 w 10505529"/>
              <a:gd name="connsiteY9070" fmla="*/ 5900112 h 7458372"/>
              <a:gd name="connsiteX9071" fmla="*/ 8091332 w 10505529"/>
              <a:gd name="connsiteY9071" fmla="*/ 5895986 h 7458372"/>
              <a:gd name="connsiteX9072" fmla="*/ 8087338 w 10505529"/>
              <a:gd name="connsiteY9072" fmla="*/ 5893323 h 7458372"/>
              <a:gd name="connsiteX9073" fmla="*/ 8082281 w 10505529"/>
              <a:gd name="connsiteY9073" fmla="*/ 5892392 h 7458372"/>
              <a:gd name="connsiteX9074" fmla="*/ 7864636 w 10505529"/>
              <a:gd name="connsiteY9074" fmla="*/ 5892392 h 7458372"/>
              <a:gd name="connsiteX9075" fmla="*/ 7854652 w 10505529"/>
              <a:gd name="connsiteY9075" fmla="*/ 5895986 h 7458372"/>
              <a:gd name="connsiteX9076" fmla="*/ 7851058 w 10505529"/>
              <a:gd name="connsiteY9076" fmla="*/ 5905437 h 7458372"/>
              <a:gd name="connsiteX9077" fmla="*/ 7854652 w 10505529"/>
              <a:gd name="connsiteY9077" fmla="*/ 5914888 h 7458372"/>
              <a:gd name="connsiteX9078" fmla="*/ 7864636 w 10505529"/>
              <a:gd name="connsiteY9078" fmla="*/ 5918350 h 7458372"/>
              <a:gd name="connsiteX9079" fmla="*/ 7869961 w 10505529"/>
              <a:gd name="connsiteY9079" fmla="*/ 5917418 h 7458372"/>
              <a:gd name="connsiteX9080" fmla="*/ 7873687 w 10505529"/>
              <a:gd name="connsiteY9080" fmla="*/ 5915021 h 7458372"/>
              <a:gd name="connsiteX9081" fmla="*/ 7876350 w 10505529"/>
              <a:gd name="connsiteY9081" fmla="*/ 5910761 h 7458372"/>
              <a:gd name="connsiteX9082" fmla="*/ 7877282 w 10505529"/>
              <a:gd name="connsiteY9082" fmla="*/ 5905304 h 7458372"/>
              <a:gd name="connsiteX9083" fmla="*/ 7876350 w 10505529"/>
              <a:gd name="connsiteY9083" fmla="*/ 5900112 h 7458372"/>
              <a:gd name="connsiteX9084" fmla="*/ 7873687 w 10505529"/>
              <a:gd name="connsiteY9084" fmla="*/ 5895986 h 7458372"/>
              <a:gd name="connsiteX9085" fmla="*/ 7869694 w 10505529"/>
              <a:gd name="connsiteY9085" fmla="*/ 5893323 h 7458372"/>
              <a:gd name="connsiteX9086" fmla="*/ 7864636 w 10505529"/>
              <a:gd name="connsiteY9086" fmla="*/ 5892392 h 7458372"/>
              <a:gd name="connsiteX9087" fmla="*/ 7646991 w 10505529"/>
              <a:gd name="connsiteY9087" fmla="*/ 5892392 h 7458372"/>
              <a:gd name="connsiteX9088" fmla="*/ 7637007 w 10505529"/>
              <a:gd name="connsiteY9088" fmla="*/ 5895986 h 7458372"/>
              <a:gd name="connsiteX9089" fmla="*/ 7633413 w 10505529"/>
              <a:gd name="connsiteY9089" fmla="*/ 5905437 h 7458372"/>
              <a:gd name="connsiteX9090" fmla="*/ 7637007 w 10505529"/>
              <a:gd name="connsiteY9090" fmla="*/ 5914888 h 7458372"/>
              <a:gd name="connsiteX9091" fmla="*/ 7646991 w 10505529"/>
              <a:gd name="connsiteY9091" fmla="*/ 5918350 h 7458372"/>
              <a:gd name="connsiteX9092" fmla="*/ 7652315 w 10505529"/>
              <a:gd name="connsiteY9092" fmla="*/ 5917418 h 7458372"/>
              <a:gd name="connsiteX9093" fmla="*/ 7656042 w 10505529"/>
              <a:gd name="connsiteY9093" fmla="*/ 5915021 h 7458372"/>
              <a:gd name="connsiteX9094" fmla="*/ 7658705 w 10505529"/>
              <a:gd name="connsiteY9094" fmla="*/ 5910761 h 7458372"/>
              <a:gd name="connsiteX9095" fmla="*/ 7659769 w 10505529"/>
              <a:gd name="connsiteY9095" fmla="*/ 5905304 h 7458372"/>
              <a:gd name="connsiteX9096" fmla="*/ 7658705 w 10505529"/>
              <a:gd name="connsiteY9096" fmla="*/ 5900112 h 7458372"/>
              <a:gd name="connsiteX9097" fmla="*/ 7656042 w 10505529"/>
              <a:gd name="connsiteY9097" fmla="*/ 5895986 h 7458372"/>
              <a:gd name="connsiteX9098" fmla="*/ 7652049 w 10505529"/>
              <a:gd name="connsiteY9098" fmla="*/ 5893323 h 7458372"/>
              <a:gd name="connsiteX9099" fmla="*/ 7646991 w 10505529"/>
              <a:gd name="connsiteY9099" fmla="*/ 5892392 h 7458372"/>
              <a:gd name="connsiteX9100" fmla="*/ 7429345 w 10505529"/>
              <a:gd name="connsiteY9100" fmla="*/ 5892392 h 7458372"/>
              <a:gd name="connsiteX9101" fmla="*/ 7419361 w 10505529"/>
              <a:gd name="connsiteY9101" fmla="*/ 5895986 h 7458372"/>
              <a:gd name="connsiteX9102" fmla="*/ 7415768 w 10505529"/>
              <a:gd name="connsiteY9102" fmla="*/ 5905437 h 7458372"/>
              <a:gd name="connsiteX9103" fmla="*/ 7419361 w 10505529"/>
              <a:gd name="connsiteY9103" fmla="*/ 5914888 h 7458372"/>
              <a:gd name="connsiteX9104" fmla="*/ 7429345 w 10505529"/>
              <a:gd name="connsiteY9104" fmla="*/ 5918350 h 7458372"/>
              <a:gd name="connsiteX9105" fmla="*/ 7434670 w 10505529"/>
              <a:gd name="connsiteY9105" fmla="*/ 5917418 h 7458372"/>
              <a:gd name="connsiteX9106" fmla="*/ 7438397 w 10505529"/>
              <a:gd name="connsiteY9106" fmla="*/ 5915021 h 7458372"/>
              <a:gd name="connsiteX9107" fmla="*/ 7441059 w 10505529"/>
              <a:gd name="connsiteY9107" fmla="*/ 5910761 h 7458372"/>
              <a:gd name="connsiteX9108" fmla="*/ 7442124 w 10505529"/>
              <a:gd name="connsiteY9108" fmla="*/ 5905304 h 7458372"/>
              <a:gd name="connsiteX9109" fmla="*/ 7441059 w 10505529"/>
              <a:gd name="connsiteY9109" fmla="*/ 5900112 h 7458372"/>
              <a:gd name="connsiteX9110" fmla="*/ 7438397 w 10505529"/>
              <a:gd name="connsiteY9110" fmla="*/ 5895986 h 7458372"/>
              <a:gd name="connsiteX9111" fmla="*/ 7434403 w 10505529"/>
              <a:gd name="connsiteY9111" fmla="*/ 5893323 h 7458372"/>
              <a:gd name="connsiteX9112" fmla="*/ 7429345 w 10505529"/>
              <a:gd name="connsiteY9112" fmla="*/ 5892392 h 7458372"/>
              <a:gd name="connsiteX9113" fmla="*/ 7211701 w 10505529"/>
              <a:gd name="connsiteY9113" fmla="*/ 5892392 h 7458372"/>
              <a:gd name="connsiteX9114" fmla="*/ 7201717 w 10505529"/>
              <a:gd name="connsiteY9114" fmla="*/ 5895986 h 7458372"/>
              <a:gd name="connsiteX9115" fmla="*/ 7198123 w 10505529"/>
              <a:gd name="connsiteY9115" fmla="*/ 5905437 h 7458372"/>
              <a:gd name="connsiteX9116" fmla="*/ 7201717 w 10505529"/>
              <a:gd name="connsiteY9116" fmla="*/ 5914888 h 7458372"/>
              <a:gd name="connsiteX9117" fmla="*/ 7211701 w 10505529"/>
              <a:gd name="connsiteY9117" fmla="*/ 5918350 h 7458372"/>
              <a:gd name="connsiteX9118" fmla="*/ 7217026 w 10505529"/>
              <a:gd name="connsiteY9118" fmla="*/ 5917418 h 7458372"/>
              <a:gd name="connsiteX9119" fmla="*/ 7220752 w 10505529"/>
              <a:gd name="connsiteY9119" fmla="*/ 5915021 h 7458372"/>
              <a:gd name="connsiteX9120" fmla="*/ 7223415 w 10505529"/>
              <a:gd name="connsiteY9120" fmla="*/ 5910761 h 7458372"/>
              <a:gd name="connsiteX9121" fmla="*/ 7224480 w 10505529"/>
              <a:gd name="connsiteY9121" fmla="*/ 5905304 h 7458372"/>
              <a:gd name="connsiteX9122" fmla="*/ 7223415 w 10505529"/>
              <a:gd name="connsiteY9122" fmla="*/ 5900112 h 7458372"/>
              <a:gd name="connsiteX9123" fmla="*/ 7220752 w 10505529"/>
              <a:gd name="connsiteY9123" fmla="*/ 5895986 h 7458372"/>
              <a:gd name="connsiteX9124" fmla="*/ 7216759 w 10505529"/>
              <a:gd name="connsiteY9124" fmla="*/ 5893323 h 7458372"/>
              <a:gd name="connsiteX9125" fmla="*/ 7211701 w 10505529"/>
              <a:gd name="connsiteY9125" fmla="*/ 5892392 h 7458372"/>
              <a:gd name="connsiteX9126" fmla="*/ 6994056 w 10505529"/>
              <a:gd name="connsiteY9126" fmla="*/ 5892392 h 7458372"/>
              <a:gd name="connsiteX9127" fmla="*/ 6984072 w 10505529"/>
              <a:gd name="connsiteY9127" fmla="*/ 5895986 h 7458372"/>
              <a:gd name="connsiteX9128" fmla="*/ 6980478 w 10505529"/>
              <a:gd name="connsiteY9128" fmla="*/ 5905437 h 7458372"/>
              <a:gd name="connsiteX9129" fmla="*/ 6984072 w 10505529"/>
              <a:gd name="connsiteY9129" fmla="*/ 5914888 h 7458372"/>
              <a:gd name="connsiteX9130" fmla="*/ 6994056 w 10505529"/>
              <a:gd name="connsiteY9130" fmla="*/ 5918350 h 7458372"/>
              <a:gd name="connsiteX9131" fmla="*/ 6999380 w 10505529"/>
              <a:gd name="connsiteY9131" fmla="*/ 5917418 h 7458372"/>
              <a:gd name="connsiteX9132" fmla="*/ 7003107 w 10505529"/>
              <a:gd name="connsiteY9132" fmla="*/ 5915021 h 7458372"/>
              <a:gd name="connsiteX9133" fmla="*/ 7005769 w 10505529"/>
              <a:gd name="connsiteY9133" fmla="*/ 5910761 h 7458372"/>
              <a:gd name="connsiteX9134" fmla="*/ 7006834 w 10505529"/>
              <a:gd name="connsiteY9134" fmla="*/ 5905304 h 7458372"/>
              <a:gd name="connsiteX9135" fmla="*/ 7005769 w 10505529"/>
              <a:gd name="connsiteY9135" fmla="*/ 5900112 h 7458372"/>
              <a:gd name="connsiteX9136" fmla="*/ 7003107 w 10505529"/>
              <a:gd name="connsiteY9136" fmla="*/ 5895986 h 7458372"/>
              <a:gd name="connsiteX9137" fmla="*/ 6999113 w 10505529"/>
              <a:gd name="connsiteY9137" fmla="*/ 5893323 h 7458372"/>
              <a:gd name="connsiteX9138" fmla="*/ 6994056 w 10505529"/>
              <a:gd name="connsiteY9138" fmla="*/ 5892392 h 7458372"/>
              <a:gd name="connsiteX9139" fmla="*/ 6776544 w 10505529"/>
              <a:gd name="connsiteY9139" fmla="*/ 5892392 h 7458372"/>
              <a:gd name="connsiteX9140" fmla="*/ 6766560 w 10505529"/>
              <a:gd name="connsiteY9140" fmla="*/ 5895986 h 7458372"/>
              <a:gd name="connsiteX9141" fmla="*/ 6762966 w 10505529"/>
              <a:gd name="connsiteY9141" fmla="*/ 5905437 h 7458372"/>
              <a:gd name="connsiteX9142" fmla="*/ 6766560 w 10505529"/>
              <a:gd name="connsiteY9142" fmla="*/ 5914888 h 7458372"/>
              <a:gd name="connsiteX9143" fmla="*/ 6776544 w 10505529"/>
              <a:gd name="connsiteY9143" fmla="*/ 5918350 h 7458372"/>
              <a:gd name="connsiteX9144" fmla="*/ 6781869 w 10505529"/>
              <a:gd name="connsiteY9144" fmla="*/ 5917418 h 7458372"/>
              <a:gd name="connsiteX9145" fmla="*/ 6785595 w 10505529"/>
              <a:gd name="connsiteY9145" fmla="*/ 5915021 h 7458372"/>
              <a:gd name="connsiteX9146" fmla="*/ 6788258 w 10505529"/>
              <a:gd name="connsiteY9146" fmla="*/ 5910761 h 7458372"/>
              <a:gd name="connsiteX9147" fmla="*/ 6789323 w 10505529"/>
              <a:gd name="connsiteY9147" fmla="*/ 5905304 h 7458372"/>
              <a:gd name="connsiteX9148" fmla="*/ 6788258 w 10505529"/>
              <a:gd name="connsiteY9148" fmla="*/ 5900112 h 7458372"/>
              <a:gd name="connsiteX9149" fmla="*/ 6785595 w 10505529"/>
              <a:gd name="connsiteY9149" fmla="*/ 5895986 h 7458372"/>
              <a:gd name="connsiteX9150" fmla="*/ 6781602 w 10505529"/>
              <a:gd name="connsiteY9150" fmla="*/ 5893323 h 7458372"/>
              <a:gd name="connsiteX9151" fmla="*/ 6776544 w 10505529"/>
              <a:gd name="connsiteY9151" fmla="*/ 5892392 h 7458372"/>
              <a:gd name="connsiteX9152" fmla="*/ 6558899 w 10505529"/>
              <a:gd name="connsiteY9152" fmla="*/ 5892392 h 7458372"/>
              <a:gd name="connsiteX9153" fmla="*/ 6548915 w 10505529"/>
              <a:gd name="connsiteY9153" fmla="*/ 5895986 h 7458372"/>
              <a:gd name="connsiteX9154" fmla="*/ 6545321 w 10505529"/>
              <a:gd name="connsiteY9154" fmla="*/ 5905437 h 7458372"/>
              <a:gd name="connsiteX9155" fmla="*/ 6548915 w 10505529"/>
              <a:gd name="connsiteY9155" fmla="*/ 5914888 h 7458372"/>
              <a:gd name="connsiteX9156" fmla="*/ 6558899 w 10505529"/>
              <a:gd name="connsiteY9156" fmla="*/ 5918350 h 7458372"/>
              <a:gd name="connsiteX9157" fmla="*/ 6564223 w 10505529"/>
              <a:gd name="connsiteY9157" fmla="*/ 5917418 h 7458372"/>
              <a:gd name="connsiteX9158" fmla="*/ 6567950 w 10505529"/>
              <a:gd name="connsiteY9158" fmla="*/ 5915021 h 7458372"/>
              <a:gd name="connsiteX9159" fmla="*/ 6570612 w 10505529"/>
              <a:gd name="connsiteY9159" fmla="*/ 5910761 h 7458372"/>
              <a:gd name="connsiteX9160" fmla="*/ 6571677 w 10505529"/>
              <a:gd name="connsiteY9160" fmla="*/ 5905304 h 7458372"/>
              <a:gd name="connsiteX9161" fmla="*/ 6570612 w 10505529"/>
              <a:gd name="connsiteY9161" fmla="*/ 5900112 h 7458372"/>
              <a:gd name="connsiteX9162" fmla="*/ 6567950 w 10505529"/>
              <a:gd name="connsiteY9162" fmla="*/ 5895986 h 7458372"/>
              <a:gd name="connsiteX9163" fmla="*/ 6563956 w 10505529"/>
              <a:gd name="connsiteY9163" fmla="*/ 5893323 h 7458372"/>
              <a:gd name="connsiteX9164" fmla="*/ 6558899 w 10505529"/>
              <a:gd name="connsiteY9164" fmla="*/ 5892392 h 7458372"/>
              <a:gd name="connsiteX9165" fmla="*/ 6341253 w 10505529"/>
              <a:gd name="connsiteY9165" fmla="*/ 5892392 h 7458372"/>
              <a:gd name="connsiteX9166" fmla="*/ 6331270 w 10505529"/>
              <a:gd name="connsiteY9166" fmla="*/ 5895986 h 7458372"/>
              <a:gd name="connsiteX9167" fmla="*/ 6327675 w 10505529"/>
              <a:gd name="connsiteY9167" fmla="*/ 5905437 h 7458372"/>
              <a:gd name="connsiteX9168" fmla="*/ 6331270 w 10505529"/>
              <a:gd name="connsiteY9168" fmla="*/ 5914888 h 7458372"/>
              <a:gd name="connsiteX9169" fmla="*/ 6341253 w 10505529"/>
              <a:gd name="connsiteY9169" fmla="*/ 5918350 h 7458372"/>
              <a:gd name="connsiteX9170" fmla="*/ 6346578 w 10505529"/>
              <a:gd name="connsiteY9170" fmla="*/ 5917418 h 7458372"/>
              <a:gd name="connsiteX9171" fmla="*/ 6350305 w 10505529"/>
              <a:gd name="connsiteY9171" fmla="*/ 5915021 h 7458372"/>
              <a:gd name="connsiteX9172" fmla="*/ 6352968 w 10505529"/>
              <a:gd name="connsiteY9172" fmla="*/ 5910761 h 7458372"/>
              <a:gd name="connsiteX9173" fmla="*/ 6354033 w 10505529"/>
              <a:gd name="connsiteY9173" fmla="*/ 5905304 h 7458372"/>
              <a:gd name="connsiteX9174" fmla="*/ 6352968 w 10505529"/>
              <a:gd name="connsiteY9174" fmla="*/ 5900112 h 7458372"/>
              <a:gd name="connsiteX9175" fmla="*/ 6350305 w 10505529"/>
              <a:gd name="connsiteY9175" fmla="*/ 5895986 h 7458372"/>
              <a:gd name="connsiteX9176" fmla="*/ 6346312 w 10505529"/>
              <a:gd name="connsiteY9176" fmla="*/ 5893323 h 7458372"/>
              <a:gd name="connsiteX9177" fmla="*/ 6341253 w 10505529"/>
              <a:gd name="connsiteY9177" fmla="*/ 5892392 h 7458372"/>
              <a:gd name="connsiteX9178" fmla="*/ 6123608 w 10505529"/>
              <a:gd name="connsiteY9178" fmla="*/ 5892392 h 7458372"/>
              <a:gd name="connsiteX9179" fmla="*/ 6113624 w 10505529"/>
              <a:gd name="connsiteY9179" fmla="*/ 5895986 h 7458372"/>
              <a:gd name="connsiteX9180" fmla="*/ 6110030 w 10505529"/>
              <a:gd name="connsiteY9180" fmla="*/ 5905437 h 7458372"/>
              <a:gd name="connsiteX9181" fmla="*/ 6113624 w 10505529"/>
              <a:gd name="connsiteY9181" fmla="*/ 5914888 h 7458372"/>
              <a:gd name="connsiteX9182" fmla="*/ 6123608 w 10505529"/>
              <a:gd name="connsiteY9182" fmla="*/ 5918350 h 7458372"/>
              <a:gd name="connsiteX9183" fmla="*/ 6128932 w 10505529"/>
              <a:gd name="connsiteY9183" fmla="*/ 5917418 h 7458372"/>
              <a:gd name="connsiteX9184" fmla="*/ 6132659 w 10505529"/>
              <a:gd name="connsiteY9184" fmla="*/ 5915021 h 7458372"/>
              <a:gd name="connsiteX9185" fmla="*/ 6135322 w 10505529"/>
              <a:gd name="connsiteY9185" fmla="*/ 5910761 h 7458372"/>
              <a:gd name="connsiteX9186" fmla="*/ 6136387 w 10505529"/>
              <a:gd name="connsiteY9186" fmla="*/ 5905304 h 7458372"/>
              <a:gd name="connsiteX9187" fmla="*/ 6135322 w 10505529"/>
              <a:gd name="connsiteY9187" fmla="*/ 5900112 h 7458372"/>
              <a:gd name="connsiteX9188" fmla="*/ 6132659 w 10505529"/>
              <a:gd name="connsiteY9188" fmla="*/ 5895986 h 7458372"/>
              <a:gd name="connsiteX9189" fmla="*/ 6128666 w 10505529"/>
              <a:gd name="connsiteY9189" fmla="*/ 5893323 h 7458372"/>
              <a:gd name="connsiteX9190" fmla="*/ 6123608 w 10505529"/>
              <a:gd name="connsiteY9190" fmla="*/ 5892392 h 7458372"/>
              <a:gd name="connsiteX9191" fmla="*/ 5905963 w 10505529"/>
              <a:gd name="connsiteY9191" fmla="*/ 5892392 h 7458372"/>
              <a:gd name="connsiteX9192" fmla="*/ 5895979 w 10505529"/>
              <a:gd name="connsiteY9192" fmla="*/ 5895986 h 7458372"/>
              <a:gd name="connsiteX9193" fmla="*/ 5892385 w 10505529"/>
              <a:gd name="connsiteY9193" fmla="*/ 5905437 h 7458372"/>
              <a:gd name="connsiteX9194" fmla="*/ 5895979 w 10505529"/>
              <a:gd name="connsiteY9194" fmla="*/ 5914888 h 7458372"/>
              <a:gd name="connsiteX9195" fmla="*/ 5905963 w 10505529"/>
              <a:gd name="connsiteY9195" fmla="*/ 5918350 h 7458372"/>
              <a:gd name="connsiteX9196" fmla="*/ 5911287 w 10505529"/>
              <a:gd name="connsiteY9196" fmla="*/ 5917418 h 7458372"/>
              <a:gd name="connsiteX9197" fmla="*/ 5915014 w 10505529"/>
              <a:gd name="connsiteY9197" fmla="*/ 5915021 h 7458372"/>
              <a:gd name="connsiteX9198" fmla="*/ 5917677 w 10505529"/>
              <a:gd name="connsiteY9198" fmla="*/ 5910761 h 7458372"/>
              <a:gd name="connsiteX9199" fmla="*/ 5918742 w 10505529"/>
              <a:gd name="connsiteY9199" fmla="*/ 5905304 h 7458372"/>
              <a:gd name="connsiteX9200" fmla="*/ 5917677 w 10505529"/>
              <a:gd name="connsiteY9200" fmla="*/ 5900112 h 7458372"/>
              <a:gd name="connsiteX9201" fmla="*/ 5915014 w 10505529"/>
              <a:gd name="connsiteY9201" fmla="*/ 5895986 h 7458372"/>
              <a:gd name="connsiteX9202" fmla="*/ 5911021 w 10505529"/>
              <a:gd name="connsiteY9202" fmla="*/ 5893323 h 7458372"/>
              <a:gd name="connsiteX9203" fmla="*/ 5905963 w 10505529"/>
              <a:gd name="connsiteY9203" fmla="*/ 5892392 h 7458372"/>
              <a:gd name="connsiteX9204" fmla="*/ 5688451 w 10505529"/>
              <a:gd name="connsiteY9204" fmla="*/ 5892392 h 7458372"/>
              <a:gd name="connsiteX9205" fmla="*/ 5678467 w 10505529"/>
              <a:gd name="connsiteY9205" fmla="*/ 5895986 h 7458372"/>
              <a:gd name="connsiteX9206" fmla="*/ 5674873 w 10505529"/>
              <a:gd name="connsiteY9206" fmla="*/ 5905437 h 7458372"/>
              <a:gd name="connsiteX9207" fmla="*/ 5678467 w 10505529"/>
              <a:gd name="connsiteY9207" fmla="*/ 5914888 h 7458372"/>
              <a:gd name="connsiteX9208" fmla="*/ 5688451 w 10505529"/>
              <a:gd name="connsiteY9208" fmla="*/ 5918350 h 7458372"/>
              <a:gd name="connsiteX9209" fmla="*/ 5693775 w 10505529"/>
              <a:gd name="connsiteY9209" fmla="*/ 5917418 h 7458372"/>
              <a:gd name="connsiteX9210" fmla="*/ 5697502 w 10505529"/>
              <a:gd name="connsiteY9210" fmla="*/ 5915021 h 7458372"/>
              <a:gd name="connsiteX9211" fmla="*/ 5700165 w 10505529"/>
              <a:gd name="connsiteY9211" fmla="*/ 5910761 h 7458372"/>
              <a:gd name="connsiteX9212" fmla="*/ 5701230 w 10505529"/>
              <a:gd name="connsiteY9212" fmla="*/ 5905304 h 7458372"/>
              <a:gd name="connsiteX9213" fmla="*/ 5700165 w 10505529"/>
              <a:gd name="connsiteY9213" fmla="*/ 5900112 h 7458372"/>
              <a:gd name="connsiteX9214" fmla="*/ 5697502 w 10505529"/>
              <a:gd name="connsiteY9214" fmla="*/ 5895986 h 7458372"/>
              <a:gd name="connsiteX9215" fmla="*/ 5693509 w 10505529"/>
              <a:gd name="connsiteY9215" fmla="*/ 5893323 h 7458372"/>
              <a:gd name="connsiteX9216" fmla="*/ 5688451 w 10505529"/>
              <a:gd name="connsiteY9216" fmla="*/ 5892392 h 7458372"/>
              <a:gd name="connsiteX9217" fmla="*/ 5470806 w 10505529"/>
              <a:gd name="connsiteY9217" fmla="*/ 5892392 h 7458372"/>
              <a:gd name="connsiteX9218" fmla="*/ 5460822 w 10505529"/>
              <a:gd name="connsiteY9218" fmla="*/ 5895986 h 7458372"/>
              <a:gd name="connsiteX9219" fmla="*/ 5457228 w 10505529"/>
              <a:gd name="connsiteY9219" fmla="*/ 5905437 h 7458372"/>
              <a:gd name="connsiteX9220" fmla="*/ 5460822 w 10505529"/>
              <a:gd name="connsiteY9220" fmla="*/ 5914888 h 7458372"/>
              <a:gd name="connsiteX9221" fmla="*/ 5470806 w 10505529"/>
              <a:gd name="connsiteY9221" fmla="*/ 5918350 h 7458372"/>
              <a:gd name="connsiteX9222" fmla="*/ 5476130 w 10505529"/>
              <a:gd name="connsiteY9222" fmla="*/ 5917418 h 7458372"/>
              <a:gd name="connsiteX9223" fmla="*/ 5479857 w 10505529"/>
              <a:gd name="connsiteY9223" fmla="*/ 5915021 h 7458372"/>
              <a:gd name="connsiteX9224" fmla="*/ 5482520 w 10505529"/>
              <a:gd name="connsiteY9224" fmla="*/ 5910761 h 7458372"/>
              <a:gd name="connsiteX9225" fmla="*/ 5483585 w 10505529"/>
              <a:gd name="connsiteY9225" fmla="*/ 5905304 h 7458372"/>
              <a:gd name="connsiteX9226" fmla="*/ 5482520 w 10505529"/>
              <a:gd name="connsiteY9226" fmla="*/ 5900112 h 7458372"/>
              <a:gd name="connsiteX9227" fmla="*/ 5479857 w 10505529"/>
              <a:gd name="connsiteY9227" fmla="*/ 5895986 h 7458372"/>
              <a:gd name="connsiteX9228" fmla="*/ 5475864 w 10505529"/>
              <a:gd name="connsiteY9228" fmla="*/ 5893323 h 7458372"/>
              <a:gd name="connsiteX9229" fmla="*/ 5470806 w 10505529"/>
              <a:gd name="connsiteY9229" fmla="*/ 5892392 h 7458372"/>
              <a:gd name="connsiteX9230" fmla="*/ 5253160 w 10505529"/>
              <a:gd name="connsiteY9230" fmla="*/ 5892392 h 7458372"/>
              <a:gd name="connsiteX9231" fmla="*/ 5243177 w 10505529"/>
              <a:gd name="connsiteY9231" fmla="*/ 5895986 h 7458372"/>
              <a:gd name="connsiteX9232" fmla="*/ 5239583 w 10505529"/>
              <a:gd name="connsiteY9232" fmla="*/ 5905437 h 7458372"/>
              <a:gd name="connsiteX9233" fmla="*/ 5243177 w 10505529"/>
              <a:gd name="connsiteY9233" fmla="*/ 5914888 h 7458372"/>
              <a:gd name="connsiteX9234" fmla="*/ 5253160 w 10505529"/>
              <a:gd name="connsiteY9234" fmla="*/ 5918350 h 7458372"/>
              <a:gd name="connsiteX9235" fmla="*/ 5258485 w 10505529"/>
              <a:gd name="connsiteY9235" fmla="*/ 5917418 h 7458372"/>
              <a:gd name="connsiteX9236" fmla="*/ 5262212 w 10505529"/>
              <a:gd name="connsiteY9236" fmla="*/ 5915021 h 7458372"/>
              <a:gd name="connsiteX9237" fmla="*/ 5264875 w 10505529"/>
              <a:gd name="connsiteY9237" fmla="*/ 5910761 h 7458372"/>
              <a:gd name="connsiteX9238" fmla="*/ 5265939 w 10505529"/>
              <a:gd name="connsiteY9238" fmla="*/ 5905304 h 7458372"/>
              <a:gd name="connsiteX9239" fmla="*/ 5264875 w 10505529"/>
              <a:gd name="connsiteY9239" fmla="*/ 5900112 h 7458372"/>
              <a:gd name="connsiteX9240" fmla="*/ 5262212 w 10505529"/>
              <a:gd name="connsiteY9240" fmla="*/ 5895986 h 7458372"/>
              <a:gd name="connsiteX9241" fmla="*/ 5258219 w 10505529"/>
              <a:gd name="connsiteY9241" fmla="*/ 5893323 h 7458372"/>
              <a:gd name="connsiteX9242" fmla="*/ 5253160 w 10505529"/>
              <a:gd name="connsiteY9242" fmla="*/ 5892392 h 7458372"/>
              <a:gd name="connsiteX9243" fmla="*/ 5035515 w 10505529"/>
              <a:gd name="connsiteY9243" fmla="*/ 5892392 h 7458372"/>
              <a:gd name="connsiteX9244" fmla="*/ 5025532 w 10505529"/>
              <a:gd name="connsiteY9244" fmla="*/ 5895986 h 7458372"/>
              <a:gd name="connsiteX9245" fmla="*/ 5021938 w 10505529"/>
              <a:gd name="connsiteY9245" fmla="*/ 5905437 h 7458372"/>
              <a:gd name="connsiteX9246" fmla="*/ 5025532 w 10505529"/>
              <a:gd name="connsiteY9246" fmla="*/ 5914888 h 7458372"/>
              <a:gd name="connsiteX9247" fmla="*/ 5035515 w 10505529"/>
              <a:gd name="connsiteY9247" fmla="*/ 5918350 h 7458372"/>
              <a:gd name="connsiteX9248" fmla="*/ 5040840 w 10505529"/>
              <a:gd name="connsiteY9248" fmla="*/ 5917418 h 7458372"/>
              <a:gd name="connsiteX9249" fmla="*/ 5044567 w 10505529"/>
              <a:gd name="connsiteY9249" fmla="*/ 5915021 h 7458372"/>
              <a:gd name="connsiteX9250" fmla="*/ 5047230 w 10505529"/>
              <a:gd name="connsiteY9250" fmla="*/ 5910761 h 7458372"/>
              <a:gd name="connsiteX9251" fmla="*/ 5048294 w 10505529"/>
              <a:gd name="connsiteY9251" fmla="*/ 5905304 h 7458372"/>
              <a:gd name="connsiteX9252" fmla="*/ 5047230 w 10505529"/>
              <a:gd name="connsiteY9252" fmla="*/ 5900112 h 7458372"/>
              <a:gd name="connsiteX9253" fmla="*/ 5044567 w 10505529"/>
              <a:gd name="connsiteY9253" fmla="*/ 5895986 h 7458372"/>
              <a:gd name="connsiteX9254" fmla="*/ 5040574 w 10505529"/>
              <a:gd name="connsiteY9254" fmla="*/ 5893323 h 7458372"/>
              <a:gd name="connsiteX9255" fmla="*/ 5035515 w 10505529"/>
              <a:gd name="connsiteY9255" fmla="*/ 5892392 h 7458372"/>
              <a:gd name="connsiteX9256" fmla="*/ 4817870 w 10505529"/>
              <a:gd name="connsiteY9256" fmla="*/ 5892392 h 7458372"/>
              <a:gd name="connsiteX9257" fmla="*/ 4807887 w 10505529"/>
              <a:gd name="connsiteY9257" fmla="*/ 5895986 h 7458372"/>
              <a:gd name="connsiteX9258" fmla="*/ 4804293 w 10505529"/>
              <a:gd name="connsiteY9258" fmla="*/ 5905437 h 7458372"/>
              <a:gd name="connsiteX9259" fmla="*/ 4807887 w 10505529"/>
              <a:gd name="connsiteY9259" fmla="*/ 5914888 h 7458372"/>
              <a:gd name="connsiteX9260" fmla="*/ 4817870 w 10505529"/>
              <a:gd name="connsiteY9260" fmla="*/ 5918350 h 7458372"/>
              <a:gd name="connsiteX9261" fmla="*/ 4823195 w 10505529"/>
              <a:gd name="connsiteY9261" fmla="*/ 5917418 h 7458372"/>
              <a:gd name="connsiteX9262" fmla="*/ 4826922 w 10505529"/>
              <a:gd name="connsiteY9262" fmla="*/ 5915021 h 7458372"/>
              <a:gd name="connsiteX9263" fmla="*/ 4829585 w 10505529"/>
              <a:gd name="connsiteY9263" fmla="*/ 5910761 h 7458372"/>
              <a:gd name="connsiteX9264" fmla="*/ 4830650 w 10505529"/>
              <a:gd name="connsiteY9264" fmla="*/ 5905304 h 7458372"/>
              <a:gd name="connsiteX9265" fmla="*/ 4829585 w 10505529"/>
              <a:gd name="connsiteY9265" fmla="*/ 5900112 h 7458372"/>
              <a:gd name="connsiteX9266" fmla="*/ 4826922 w 10505529"/>
              <a:gd name="connsiteY9266" fmla="*/ 5895986 h 7458372"/>
              <a:gd name="connsiteX9267" fmla="*/ 4822929 w 10505529"/>
              <a:gd name="connsiteY9267" fmla="*/ 5893323 h 7458372"/>
              <a:gd name="connsiteX9268" fmla="*/ 4817870 w 10505529"/>
              <a:gd name="connsiteY9268" fmla="*/ 5892392 h 7458372"/>
              <a:gd name="connsiteX9269" fmla="*/ 4600226 w 10505529"/>
              <a:gd name="connsiteY9269" fmla="*/ 5892392 h 7458372"/>
              <a:gd name="connsiteX9270" fmla="*/ 4590242 w 10505529"/>
              <a:gd name="connsiteY9270" fmla="*/ 5895986 h 7458372"/>
              <a:gd name="connsiteX9271" fmla="*/ 4586648 w 10505529"/>
              <a:gd name="connsiteY9271" fmla="*/ 5905437 h 7458372"/>
              <a:gd name="connsiteX9272" fmla="*/ 4590242 w 10505529"/>
              <a:gd name="connsiteY9272" fmla="*/ 5914888 h 7458372"/>
              <a:gd name="connsiteX9273" fmla="*/ 4600226 w 10505529"/>
              <a:gd name="connsiteY9273" fmla="*/ 5918350 h 7458372"/>
              <a:gd name="connsiteX9274" fmla="*/ 4605550 w 10505529"/>
              <a:gd name="connsiteY9274" fmla="*/ 5917418 h 7458372"/>
              <a:gd name="connsiteX9275" fmla="*/ 4609277 w 10505529"/>
              <a:gd name="connsiteY9275" fmla="*/ 5915021 h 7458372"/>
              <a:gd name="connsiteX9276" fmla="*/ 4611940 w 10505529"/>
              <a:gd name="connsiteY9276" fmla="*/ 5910761 h 7458372"/>
              <a:gd name="connsiteX9277" fmla="*/ 4613005 w 10505529"/>
              <a:gd name="connsiteY9277" fmla="*/ 5905304 h 7458372"/>
              <a:gd name="connsiteX9278" fmla="*/ 4611940 w 10505529"/>
              <a:gd name="connsiteY9278" fmla="*/ 5900112 h 7458372"/>
              <a:gd name="connsiteX9279" fmla="*/ 4609277 w 10505529"/>
              <a:gd name="connsiteY9279" fmla="*/ 5895986 h 7458372"/>
              <a:gd name="connsiteX9280" fmla="*/ 4605284 w 10505529"/>
              <a:gd name="connsiteY9280" fmla="*/ 5893323 h 7458372"/>
              <a:gd name="connsiteX9281" fmla="*/ 4600226 w 10505529"/>
              <a:gd name="connsiteY9281" fmla="*/ 5892392 h 7458372"/>
              <a:gd name="connsiteX9282" fmla="*/ 4382713 w 10505529"/>
              <a:gd name="connsiteY9282" fmla="*/ 5892392 h 7458372"/>
              <a:gd name="connsiteX9283" fmla="*/ 4372730 w 10505529"/>
              <a:gd name="connsiteY9283" fmla="*/ 5895986 h 7458372"/>
              <a:gd name="connsiteX9284" fmla="*/ 4369136 w 10505529"/>
              <a:gd name="connsiteY9284" fmla="*/ 5905437 h 7458372"/>
              <a:gd name="connsiteX9285" fmla="*/ 4372730 w 10505529"/>
              <a:gd name="connsiteY9285" fmla="*/ 5914888 h 7458372"/>
              <a:gd name="connsiteX9286" fmla="*/ 4382713 w 10505529"/>
              <a:gd name="connsiteY9286" fmla="*/ 5918350 h 7458372"/>
              <a:gd name="connsiteX9287" fmla="*/ 4388038 w 10505529"/>
              <a:gd name="connsiteY9287" fmla="*/ 5917418 h 7458372"/>
              <a:gd name="connsiteX9288" fmla="*/ 4391765 w 10505529"/>
              <a:gd name="connsiteY9288" fmla="*/ 5915021 h 7458372"/>
              <a:gd name="connsiteX9289" fmla="*/ 4394428 w 10505529"/>
              <a:gd name="connsiteY9289" fmla="*/ 5910761 h 7458372"/>
              <a:gd name="connsiteX9290" fmla="*/ 4395493 w 10505529"/>
              <a:gd name="connsiteY9290" fmla="*/ 5905304 h 7458372"/>
              <a:gd name="connsiteX9291" fmla="*/ 4394428 w 10505529"/>
              <a:gd name="connsiteY9291" fmla="*/ 5900112 h 7458372"/>
              <a:gd name="connsiteX9292" fmla="*/ 4391765 w 10505529"/>
              <a:gd name="connsiteY9292" fmla="*/ 5895986 h 7458372"/>
              <a:gd name="connsiteX9293" fmla="*/ 4387772 w 10505529"/>
              <a:gd name="connsiteY9293" fmla="*/ 5893323 h 7458372"/>
              <a:gd name="connsiteX9294" fmla="*/ 4382713 w 10505529"/>
              <a:gd name="connsiteY9294" fmla="*/ 5892392 h 7458372"/>
              <a:gd name="connsiteX9295" fmla="*/ 4165068 w 10505529"/>
              <a:gd name="connsiteY9295" fmla="*/ 5892392 h 7458372"/>
              <a:gd name="connsiteX9296" fmla="*/ 4155084 w 10505529"/>
              <a:gd name="connsiteY9296" fmla="*/ 5895986 h 7458372"/>
              <a:gd name="connsiteX9297" fmla="*/ 4151490 w 10505529"/>
              <a:gd name="connsiteY9297" fmla="*/ 5905437 h 7458372"/>
              <a:gd name="connsiteX9298" fmla="*/ 4155084 w 10505529"/>
              <a:gd name="connsiteY9298" fmla="*/ 5914888 h 7458372"/>
              <a:gd name="connsiteX9299" fmla="*/ 4165068 w 10505529"/>
              <a:gd name="connsiteY9299" fmla="*/ 5918350 h 7458372"/>
              <a:gd name="connsiteX9300" fmla="*/ 4170392 w 10505529"/>
              <a:gd name="connsiteY9300" fmla="*/ 5917418 h 7458372"/>
              <a:gd name="connsiteX9301" fmla="*/ 4174119 w 10505529"/>
              <a:gd name="connsiteY9301" fmla="*/ 5915021 h 7458372"/>
              <a:gd name="connsiteX9302" fmla="*/ 4176782 w 10505529"/>
              <a:gd name="connsiteY9302" fmla="*/ 5910761 h 7458372"/>
              <a:gd name="connsiteX9303" fmla="*/ 4177847 w 10505529"/>
              <a:gd name="connsiteY9303" fmla="*/ 5905304 h 7458372"/>
              <a:gd name="connsiteX9304" fmla="*/ 4176782 w 10505529"/>
              <a:gd name="connsiteY9304" fmla="*/ 5900112 h 7458372"/>
              <a:gd name="connsiteX9305" fmla="*/ 4174119 w 10505529"/>
              <a:gd name="connsiteY9305" fmla="*/ 5895986 h 7458372"/>
              <a:gd name="connsiteX9306" fmla="*/ 4170126 w 10505529"/>
              <a:gd name="connsiteY9306" fmla="*/ 5893323 h 7458372"/>
              <a:gd name="connsiteX9307" fmla="*/ 4165068 w 10505529"/>
              <a:gd name="connsiteY9307" fmla="*/ 5892392 h 7458372"/>
              <a:gd name="connsiteX9308" fmla="*/ 3947744 w 10505529"/>
              <a:gd name="connsiteY9308" fmla="*/ 5892392 h 7458372"/>
              <a:gd name="connsiteX9309" fmla="*/ 3937761 w 10505529"/>
              <a:gd name="connsiteY9309" fmla="*/ 5895986 h 7458372"/>
              <a:gd name="connsiteX9310" fmla="*/ 3934166 w 10505529"/>
              <a:gd name="connsiteY9310" fmla="*/ 5905437 h 7458372"/>
              <a:gd name="connsiteX9311" fmla="*/ 3937761 w 10505529"/>
              <a:gd name="connsiteY9311" fmla="*/ 5914888 h 7458372"/>
              <a:gd name="connsiteX9312" fmla="*/ 3947744 w 10505529"/>
              <a:gd name="connsiteY9312" fmla="*/ 5918350 h 7458372"/>
              <a:gd name="connsiteX9313" fmla="*/ 3953073 w 10505529"/>
              <a:gd name="connsiteY9313" fmla="*/ 5917418 h 7458372"/>
              <a:gd name="connsiteX9314" fmla="*/ 3956799 w 10505529"/>
              <a:gd name="connsiteY9314" fmla="*/ 5915021 h 7458372"/>
              <a:gd name="connsiteX9315" fmla="*/ 3959463 w 10505529"/>
              <a:gd name="connsiteY9315" fmla="*/ 5910761 h 7458372"/>
              <a:gd name="connsiteX9316" fmla="*/ 3960528 w 10505529"/>
              <a:gd name="connsiteY9316" fmla="*/ 5905304 h 7458372"/>
              <a:gd name="connsiteX9317" fmla="*/ 3959463 w 10505529"/>
              <a:gd name="connsiteY9317" fmla="*/ 5900112 h 7458372"/>
              <a:gd name="connsiteX9318" fmla="*/ 3956799 w 10505529"/>
              <a:gd name="connsiteY9318" fmla="*/ 5895986 h 7458372"/>
              <a:gd name="connsiteX9319" fmla="*/ 3952806 w 10505529"/>
              <a:gd name="connsiteY9319" fmla="*/ 5893323 h 7458372"/>
              <a:gd name="connsiteX9320" fmla="*/ 3947744 w 10505529"/>
              <a:gd name="connsiteY9320" fmla="*/ 5892392 h 7458372"/>
              <a:gd name="connsiteX9321" fmla="*/ 3730085 w 10505529"/>
              <a:gd name="connsiteY9321" fmla="*/ 5892392 h 7458372"/>
              <a:gd name="connsiteX9322" fmla="*/ 3720098 w 10505529"/>
              <a:gd name="connsiteY9322" fmla="*/ 5895986 h 7458372"/>
              <a:gd name="connsiteX9323" fmla="*/ 3716506 w 10505529"/>
              <a:gd name="connsiteY9323" fmla="*/ 5905437 h 7458372"/>
              <a:gd name="connsiteX9324" fmla="*/ 3720098 w 10505529"/>
              <a:gd name="connsiteY9324" fmla="*/ 5914888 h 7458372"/>
              <a:gd name="connsiteX9325" fmla="*/ 3730085 w 10505529"/>
              <a:gd name="connsiteY9325" fmla="*/ 5918350 h 7458372"/>
              <a:gd name="connsiteX9326" fmla="*/ 3735410 w 10505529"/>
              <a:gd name="connsiteY9326" fmla="*/ 5917418 h 7458372"/>
              <a:gd name="connsiteX9327" fmla="*/ 3739137 w 10505529"/>
              <a:gd name="connsiteY9327" fmla="*/ 5915021 h 7458372"/>
              <a:gd name="connsiteX9328" fmla="*/ 3741800 w 10505529"/>
              <a:gd name="connsiteY9328" fmla="*/ 5910761 h 7458372"/>
              <a:gd name="connsiteX9329" fmla="*/ 3742865 w 10505529"/>
              <a:gd name="connsiteY9329" fmla="*/ 5905304 h 7458372"/>
              <a:gd name="connsiteX9330" fmla="*/ 3741800 w 10505529"/>
              <a:gd name="connsiteY9330" fmla="*/ 5900112 h 7458372"/>
              <a:gd name="connsiteX9331" fmla="*/ 3739137 w 10505529"/>
              <a:gd name="connsiteY9331" fmla="*/ 5895986 h 7458372"/>
              <a:gd name="connsiteX9332" fmla="*/ 3735144 w 10505529"/>
              <a:gd name="connsiteY9332" fmla="*/ 5893323 h 7458372"/>
              <a:gd name="connsiteX9333" fmla="*/ 3730085 w 10505529"/>
              <a:gd name="connsiteY9333" fmla="*/ 5892392 h 7458372"/>
              <a:gd name="connsiteX9334" fmla="*/ 3512423 w 10505529"/>
              <a:gd name="connsiteY9334" fmla="*/ 5892392 h 7458372"/>
              <a:gd name="connsiteX9335" fmla="*/ 3502433 w 10505529"/>
              <a:gd name="connsiteY9335" fmla="*/ 5895986 h 7458372"/>
              <a:gd name="connsiteX9336" fmla="*/ 3498840 w 10505529"/>
              <a:gd name="connsiteY9336" fmla="*/ 5905437 h 7458372"/>
              <a:gd name="connsiteX9337" fmla="*/ 3502433 w 10505529"/>
              <a:gd name="connsiteY9337" fmla="*/ 5914888 h 7458372"/>
              <a:gd name="connsiteX9338" fmla="*/ 3512423 w 10505529"/>
              <a:gd name="connsiteY9338" fmla="*/ 5918350 h 7458372"/>
              <a:gd name="connsiteX9339" fmla="*/ 3517748 w 10505529"/>
              <a:gd name="connsiteY9339" fmla="*/ 5917418 h 7458372"/>
              <a:gd name="connsiteX9340" fmla="*/ 3521476 w 10505529"/>
              <a:gd name="connsiteY9340" fmla="*/ 5915021 h 7458372"/>
              <a:gd name="connsiteX9341" fmla="*/ 3524139 w 10505529"/>
              <a:gd name="connsiteY9341" fmla="*/ 5910761 h 7458372"/>
              <a:gd name="connsiteX9342" fmla="*/ 3525204 w 10505529"/>
              <a:gd name="connsiteY9342" fmla="*/ 5905304 h 7458372"/>
              <a:gd name="connsiteX9343" fmla="*/ 3524139 w 10505529"/>
              <a:gd name="connsiteY9343" fmla="*/ 5900112 h 7458372"/>
              <a:gd name="connsiteX9344" fmla="*/ 3521476 w 10505529"/>
              <a:gd name="connsiteY9344" fmla="*/ 5895986 h 7458372"/>
              <a:gd name="connsiteX9345" fmla="*/ 3517483 w 10505529"/>
              <a:gd name="connsiteY9345" fmla="*/ 5893323 h 7458372"/>
              <a:gd name="connsiteX9346" fmla="*/ 3512423 w 10505529"/>
              <a:gd name="connsiteY9346" fmla="*/ 5892392 h 7458372"/>
              <a:gd name="connsiteX9347" fmla="*/ 3294894 w 10505529"/>
              <a:gd name="connsiteY9347" fmla="*/ 5892392 h 7458372"/>
              <a:gd name="connsiteX9348" fmla="*/ 3284907 w 10505529"/>
              <a:gd name="connsiteY9348" fmla="*/ 5895986 h 7458372"/>
              <a:gd name="connsiteX9349" fmla="*/ 3281313 w 10505529"/>
              <a:gd name="connsiteY9349" fmla="*/ 5905437 h 7458372"/>
              <a:gd name="connsiteX9350" fmla="*/ 3284907 w 10505529"/>
              <a:gd name="connsiteY9350" fmla="*/ 5914888 h 7458372"/>
              <a:gd name="connsiteX9351" fmla="*/ 3294894 w 10505529"/>
              <a:gd name="connsiteY9351" fmla="*/ 5918350 h 7458372"/>
              <a:gd name="connsiteX9352" fmla="*/ 3300220 w 10505529"/>
              <a:gd name="connsiteY9352" fmla="*/ 5917418 h 7458372"/>
              <a:gd name="connsiteX9353" fmla="*/ 3303947 w 10505529"/>
              <a:gd name="connsiteY9353" fmla="*/ 5915021 h 7458372"/>
              <a:gd name="connsiteX9354" fmla="*/ 3306610 w 10505529"/>
              <a:gd name="connsiteY9354" fmla="*/ 5910761 h 7458372"/>
              <a:gd name="connsiteX9355" fmla="*/ 3307674 w 10505529"/>
              <a:gd name="connsiteY9355" fmla="*/ 5905304 h 7458372"/>
              <a:gd name="connsiteX9356" fmla="*/ 3306610 w 10505529"/>
              <a:gd name="connsiteY9356" fmla="*/ 5900112 h 7458372"/>
              <a:gd name="connsiteX9357" fmla="*/ 3303947 w 10505529"/>
              <a:gd name="connsiteY9357" fmla="*/ 5895986 h 7458372"/>
              <a:gd name="connsiteX9358" fmla="*/ 3299954 w 10505529"/>
              <a:gd name="connsiteY9358" fmla="*/ 5893323 h 7458372"/>
              <a:gd name="connsiteX9359" fmla="*/ 3294894 w 10505529"/>
              <a:gd name="connsiteY9359" fmla="*/ 5892392 h 7458372"/>
              <a:gd name="connsiteX9360" fmla="*/ 3077366 w 10505529"/>
              <a:gd name="connsiteY9360" fmla="*/ 5892392 h 7458372"/>
              <a:gd name="connsiteX9361" fmla="*/ 3067381 w 10505529"/>
              <a:gd name="connsiteY9361" fmla="*/ 5895986 h 7458372"/>
              <a:gd name="connsiteX9362" fmla="*/ 3063651 w 10505529"/>
              <a:gd name="connsiteY9362" fmla="*/ 5905437 h 7458372"/>
              <a:gd name="connsiteX9363" fmla="*/ 3067247 w 10505529"/>
              <a:gd name="connsiteY9363" fmla="*/ 5914888 h 7458372"/>
              <a:gd name="connsiteX9364" fmla="*/ 3077232 w 10505529"/>
              <a:gd name="connsiteY9364" fmla="*/ 5918350 h 7458372"/>
              <a:gd name="connsiteX9365" fmla="*/ 3082690 w 10505529"/>
              <a:gd name="connsiteY9365" fmla="*/ 5917418 h 7458372"/>
              <a:gd name="connsiteX9366" fmla="*/ 3086418 w 10505529"/>
              <a:gd name="connsiteY9366" fmla="*/ 5915021 h 7458372"/>
              <a:gd name="connsiteX9367" fmla="*/ 3089080 w 10505529"/>
              <a:gd name="connsiteY9367" fmla="*/ 5910761 h 7458372"/>
              <a:gd name="connsiteX9368" fmla="*/ 3090013 w 10505529"/>
              <a:gd name="connsiteY9368" fmla="*/ 5905304 h 7458372"/>
              <a:gd name="connsiteX9369" fmla="*/ 3089080 w 10505529"/>
              <a:gd name="connsiteY9369" fmla="*/ 5900112 h 7458372"/>
              <a:gd name="connsiteX9370" fmla="*/ 3086418 w 10505529"/>
              <a:gd name="connsiteY9370" fmla="*/ 5895986 h 7458372"/>
              <a:gd name="connsiteX9371" fmla="*/ 3082425 w 10505529"/>
              <a:gd name="connsiteY9371" fmla="*/ 5893323 h 7458372"/>
              <a:gd name="connsiteX9372" fmla="*/ 3077366 w 10505529"/>
              <a:gd name="connsiteY9372" fmla="*/ 5892392 h 7458372"/>
              <a:gd name="connsiteX9373" fmla="*/ 2859571 w 10505529"/>
              <a:gd name="connsiteY9373" fmla="*/ 5892392 h 7458372"/>
              <a:gd name="connsiteX9374" fmla="*/ 2849584 w 10505529"/>
              <a:gd name="connsiteY9374" fmla="*/ 5895986 h 7458372"/>
              <a:gd name="connsiteX9375" fmla="*/ 2845985 w 10505529"/>
              <a:gd name="connsiteY9375" fmla="*/ 5905437 h 7458372"/>
              <a:gd name="connsiteX9376" fmla="*/ 2849584 w 10505529"/>
              <a:gd name="connsiteY9376" fmla="*/ 5914888 h 7458372"/>
              <a:gd name="connsiteX9377" fmla="*/ 2859571 w 10505529"/>
              <a:gd name="connsiteY9377" fmla="*/ 5918350 h 7458372"/>
              <a:gd name="connsiteX9378" fmla="*/ 2864895 w 10505529"/>
              <a:gd name="connsiteY9378" fmla="*/ 5917418 h 7458372"/>
              <a:gd name="connsiteX9379" fmla="*/ 2868622 w 10505529"/>
              <a:gd name="connsiteY9379" fmla="*/ 5915021 h 7458372"/>
              <a:gd name="connsiteX9380" fmla="*/ 2871285 w 10505529"/>
              <a:gd name="connsiteY9380" fmla="*/ 5910761 h 7458372"/>
              <a:gd name="connsiteX9381" fmla="*/ 2872217 w 10505529"/>
              <a:gd name="connsiteY9381" fmla="*/ 5905304 h 7458372"/>
              <a:gd name="connsiteX9382" fmla="*/ 2871285 w 10505529"/>
              <a:gd name="connsiteY9382" fmla="*/ 5900112 h 7458372"/>
              <a:gd name="connsiteX9383" fmla="*/ 2868622 w 10505529"/>
              <a:gd name="connsiteY9383" fmla="*/ 5895986 h 7458372"/>
              <a:gd name="connsiteX9384" fmla="*/ 2864630 w 10505529"/>
              <a:gd name="connsiteY9384" fmla="*/ 5893323 h 7458372"/>
              <a:gd name="connsiteX9385" fmla="*/ 2859571 w 10505529"/>
              <a:gd name="connsiteY9385" fmla="*/ 5892392 h 7458372"/>
              <a:gd name="connsiteX9386" fmla="*/ 2641908 w 10505529"/>
              <a:gd name="connsiteY9386" fmla="*/ 5892392 h 7458372"/>
              <a:gd name="connsiteX9387" fmla="*/ 2631925 w 10505529"/>
              <a:gd name="connsiteY9387" fmla="*/ 5895986 h 7458372"/>
              <a:gd name="connsiteX9388" fmla="*/ 2628331 w 10505529"/>
              <a:gd name="connsiteY9388" fmla="*/ 5905437 h 7458372"/>
              <a:gd name="connsiteX9389" fmla="*/ 2631925 w 10505529"/>
              <a:gd name="connsiteY9389" fmla="*/ 5914888 h 7458372"/>
              <a:gd name="connsiteX9390" fmla="*/ 2641908 w 10505529"/>
              <a:gd name="connsiteY9390" fmla="*/ 5918350 h 7458372"/>
              <a:gd name="connsiteX9391" fmla="*/ 2647234 w 10505529"/>
              <a:gd name="connsiteY9391" fmla="*/ 5917418 h 7458372"/>
              <a:gd name="connsiteX9392" fmla="*/ 2650961 w 10505529"/>
              <a:gd name="connsiteY9392" fmla="*/ 5915021 h 7458372"/>
              <a:gd name="connsiteX9393" fmla="*/ 2653624 w 10505529"/>
              <a:gd name="connsiteY9393" fmla="*/ 5910761 h 7458372"/>
              <a:gd name="connsiteX9394" fmla="*/ 2654554 w 10505529"/>
              <a:gd name="connsiteY9394" fmla="*/ 5905304 h 7458372"/>
              <a:gd name="connsiteX9395" fmla="*/ 2653624 w 10505529"/>
              <a:gd name="connsiteY9395" fmla="*/ 5900112 h 7458372"/>
              <a:gd name="connsiteX9396" fmla="*/ 2650961 w 10505529"/>
              <a:gd name="connsiteY9396" fmla="*/ 5895986 h 7458372"/>
              <a:gd name="connsiteX9397" fmla="*/ 2646968 w 10505529"/>
              <a:gd name="connsiteY9397" fmla="*/ 5893323 h 7458372"/>
              <a:gd name="connsiteX9398" fmla="*/ 2641908 w 10505529"/>
              <a:gd name="connsiteY9398" fmla="*/ 5892392 h 7458372"/>
              <a:gd name="connsiteX9399" fmla="*/ 2424246 w 10505529"/>
              <a:gd name="connsiteY9399" fmla="*/ 5892392 h 7458372"/>
              <a:gd name="connsiteX9400" fmla="*/ 2414263 w 10505529"/>
              <a:gd name="connsiteY9400" fmla="*/ 5895986 h 7458372"/>
              <a:gd name="connsiteX9401" fmla="*/ 2410669 w 10505529"/>
              <a:gd name="connsiteY9401" fmla="*/ 5905437 h 7458372"/>
              <a:gd name="connsiteX9402" fmla="*/ 2414263 w 10505529"/>
              <a:gd name="connsiteY9402" fmla="*/ 5914888 h 7458372"/>
              <a:gd name="connsiteX9403" fmla="*/ 2424246 w 10505529"/>
              <a:gd name="connsiteY9403" fmla="*/ 5918350 h 7458372"/>
              <a:gd name="connsiteX9404" fmla="*/ 2429572 w 10505529"/>
              <a:gd name="connsiteY9404" fmla="*/ 5917418 h 7458372"/>
              <a:gd name="connsiteX9405" fmla="*/ 2433299 w 10505529"/>
              <a:gd name="connsiteY9405" fmla="*/ 5915021 h 7458372"/>
              <a:gd name="connsiteX9406" fmla="*/ 2435962 w 10505529"/>
              <a:gd name="connsiteY9406" fmla="*/ 5910761 h 7458372"/>
              <a:gd name="connsiteX9407" fmla="*/ 2436893 w 10505529"/>
              <a:gd name="connsiteY9407" fmla="*/ 5905304 h 7458372"/>
              <a:gd name="connsiteX9408" fmla="*/ 2435962 w 10505529"/>
              <a:gd name="connsiteY9408" fmla="*/ 5900112 h 7458372"/>
              <a:gd name="connsiteX9409" fmla="*/ 2433299 w 10505529"/>
              <a:gd name="connsiteY9409" fmla="*/ 5895986 h 7458372"/>
              <a:gd name="connsiteX9410" fmla="*/ 2429306 w 10505529"/>
              <a:gd name="connsiteY9410" fmla="*/ 5893323 h 7458372"/>
              <a:gd name="connsiteX9411" fmla="*/ 2424246 w 10505529"/>
              <a:gd name="connsiteY9411" fmla="*/ 5892392 h 7458372"/>
              <a:gd name="connsiteX9412" fmla="*/ 2206585 w 10505529"/>
              <a:gd name="connsiteY9412" fmla="*/ 5892392 h 7458372"/>
              <a:gd name="connsiteX9413" fmla="*/ 2196601 w 10505529"/>
              <a:gd name="connsiteY9413" fmla="*/ 5895986 h 7458372"/>
              <a:gd name="connsiteX9414" fmla="*/ 2193007 w 10505529"/>
              <a:gd name="connsiteY9414" fmla="*/ 5905437 h 7458372"/>
              <a:gd name="connsiteX9415" fmla="*/ 2196601 w 10505529"/>
              <a:gd name="connsiteY9415" fmla="*/ 5914888 h 7458372"/>
              <a:gd name="connsiteX9416" fmla="*/ 2206585 w 10505529"/>
              <a:gd name="connsiteY9416" fmla="*/ 5918350 h 7458372"/>
              <a:gd name="connsiteX9417" fmla="*/ 2211909 w 10505529"/>
              <a:gd name="connsiteY9417" fmla="*/ 5917418 h 7458372"/>
              <a:gd name="connsiteX9418" fmla="*/ 2215636 w 10505529"/>
              <a:gd name="connsiteY9418" fmla="*/ 5915021 h 7458372"/>
              <a:gd name="connsiteX9419" fmla="*/ 2218299 w 10505529"/>
              <a:gd name="connsiteY9419" fmla="*/ 5910761 h 7458372"/>
              <a:gd name="connsiteX9420" fmla="*/ 2219231 w 10505529"/>
              <a:gd name="connsiteY9420" fmla="*/ 5905304 h 7458372"/>
              <a:gd name="connsiteX9421" fmla="*/ 2218299 w 10505529"/>
              <a:gd name="connsiteY9421" fmla="*/ 5900112 h 7458372"/>
              <a:gd name="connsiteX9422" fmla="*/ 2215636 w 10505529"/>
              <a:gd name="connsiteY9422" fmla="*/ 5895986 h 7458372"/>
              <a:gd name="connsiteX9423" fmla="*/ 2211643 w 10505529"/>
              <a:gd name="connsiteY9423" fmla="*/ 5893323 h 7458372"/>
              <a:gd name="connsiteX9424" fmla="*/ 2206585 w 10505529"/>
              <a:gd name="connsiteY9424" fmla="*/ 5892392 h 7458372"/>
              <a:gd name="connsiteX9425" fmla="*/ 1989055 w 10505529"/>
              <a:gd name="connsiteY9425" fmla="*/ 5892392 h 7458372"/>
              <a:gd name="connsiteX9426" fmla="*/ 1979072 w 10505529"/>
              <a:gd name="connsiteY9426" fmla="*/ 5895986 h 7458372"/>
              <a:gd name="connsiteX9427" fmla="*/ 1975478 w 10505529"/>
              <a:gd name="connsiteY9427" fmla="*/ 5905437 h 7458372"/>
              <a:gd name="connsiteX9428" fmla="*/ 1979072 w 10505529"/>
              <a:gd name="connsiteY9428" fmla="*/ 5914888 h 7458372"/>
              <a:gd name="connsiteX9429" fmla="*/ 1989055 w 10505529"/>
              <a:gd name="connsiteY9429" fmla="*/ 5918350 h 7458372"/>
              <a:gd name="connsiteX9430" fmla="*/ 1994380 w 10505529"/>
              <a:gd name="connsiteY9430" fmla="*/ 5917418 h 7458372"/>
              <a:gd name="connsiteX9431" fmla="*/ 1998108 w 10505529"/>
              <a:gd name="connsiteY9431" fmla="*/ 5915021 h 7458372"/>
              <a:gd name="connsiteX9432" fmla="*/ 2000771 w 10505529"/>
              <a:gd name="connsiteY9432" fmla="*/ 5910761 h 7458372"/>
              <a:gd name="connsiteX9433" fmla="*/ 2001701 w 10505529"/>
              <a:gd name="connsiteY9433" fmla="*/ 5905304 h 7458372"/>
              <a:gd name="connsiteX9434" fmla="*/ 2000771 w 10505529"/>
              <a:gd name="connsiteY9434" fmla="*/ 5900112 h 7458372"/>
              <a:gd name="connsiteX9435" fmla="*/ 1998108 w 10505529"/>
              <a:gd name="connsiteY9435" fmla="*/ 5895986 h 7458372"/>
              <a:gd name="connsiteX9436" fmla="*/ 1994114 w 10505529"/>
              <a:gd name="connsiteY9436" fmla="*/ 5893323 h 7458372"/>
              <a:gd name="connsiteX9437" fmla="*/ 1989055 w 10505529"/>
              <a:gd name="connsiteY9437" fmla="*/ 5892392 h 7458372"/>
              <a:gd name="connsiteX9438" fmla="*/ 1771422 w 10505529"/>
              <a:gd name="connsiteY9438" fmla="*/ 5892392 h 7458372"/>
              <a:gd name="connsiteX9439" fmla="*/ 1761440 w 10505529"/>
              <a:gd name="connsiteY9439" fmla="*/ 5895986 h 7458372"/>
              <a:gd name="connsiteX9440" fmla="*/ 1757847 w 10505529"/>
              <a:gd name="connsiteY9440" fmla="*/ 5905437 h 7458372"/>
              <a:gd name="connsiteX9441" fmla="*/ 1761440 w 10505529"/>
              <a:gd name="connsiteY9441" fmla="*/ 5914888 h 7458372"/>
              <a:gd name="connsiteX9442" fmla="*/ 1771422 w 10505529"/>
              <a:gd name="connsiteY9442" fmla="*/ 5918350 h 7458372"/>
              <a:gd name="connsiteX9443" fmla="*/ 1776747 w 10505529"/>
              <a:gd name="connsiteY9443" fmla="*/ 5917418 h 7458372"/>
              <a:gd name="connsiteX9444" fmla="*/ 1780473 w 10505529"/>
              <a:gd name="connsiteY9444" fmla="*/ 5915021 h 7458372"/>
              <a:gd name="connsiteX9445" fmla="*/ 1783136 w 10505529"/>
              <a:gd name="connsiteY9445" fmla="*/ 5910761 h 7458372"/>
              <a:gd name="connsiteX9446" fmla="*/ 1784201 w 10505529"/>
              <a:gd name="connsiteY9446" fmla="*/ 5905304 h 7458372"/>
              <a:gd name="connsiteX9447" fmla="*/ 1783136 w 10505529"/>
              <a:gd name="connsiteY9447" fmla="*/ 5900112 h 7458372"/>
              <a:gd name="connsiteX9448" fmla="*/ 1780473 w 10505529"/>
              <a:gd name="connsiteY9448" fmla="*/ 5895986 h 7458372"/>
              <a:gd name="connsiteX9449" fmla="*/ 1776481 w 10505529"/>
              <a:gd name="connsiteY9449" fmla="*/ 5893323 h 7458372"/>
              <a:gd name="connsiteX9450" fmla="*/ 1771422 w 10505529"/>
              <a:gd name="connsiteY9450" fmla="*/ 5892392 h 7458372"/>
              <a:gd name="connsiteX9451" fmla="*/ 1553786 w 10505529"/>
              <a:gd name="connsiteY9451" fmla="*/ 5892392 h 7458372"/>
              <a:gd name="connsiteX9452" fmla="*/ 1543803 w 10505529"/>
              <a:gd name="connsiteY9452" fmla="*/ 5895986 h 7458372"/>
              <a:gd name="connsiteX9453" fmla="*/ 1540208 w 10505529"/>
              <a:gd name="connsiteY9453" fmla="*/ 5905437 h 7458372"/>
              <a:gd name="connsiteX9454" fmla="*/ 1543803 w 10505529"/>
              <a:gd name="connsiteY9454" fmla="*/ 5914888 h 7458372"/>
              <a:gd name="connsiteX9455" fmla="*/ 1553786 w 10505529"/>
              <a:gd name="connsiteY9455" fmla="*/ 5918350 h 7458372"/>
              <a:gd name="connsiteX9456" fmla="*/ 1559110 w 10505529"/>
              <a:gd name="connsiteY9456" fmla="*/ 5917418 h 7458372"/>
              <a:gd name="connsiteX9457" fmla="*/ 1562837 w 10505529"/>
              <a:gd name="connsiteY9457" fmla="*/ 5915021 h 7458372"/>
              <a:gd name="connsiteX9458" fmla="*/ 1565500 w 10505529"/>
              <a:gd name="connsiteY9458" fmla="*/ 5910761 h 7458372"/>
              <a:gd name="connsiteX9459" fmla="*/ 1566566 w 10505529"/>
              <a:gd name="connsiteY9459" fmla="*/ 5905304 h 7458372"/>
              <a:gd name="connsiteX9460" fmla="*/ 1565500 w 10505529"/>
              <a:gd name="connsiteY9460" fmla="*/ 5900112 h 7458372"/>
              <a:gd name="connsiteX9461" fmla="*/ 1562837 w 10505529"/>
              <a:gd name="connsiteY9461" fmla="*/ 5895986 h 7458372"/>
              <a:gd name="connsiteX9462" fmla="*/ 1558844 w 10505529"/>
              <a:gd name="connsiteY9462" fmla="*/ 5893323 h 7458372"/>
              <a:gd name="connsiteX9463" fmla="*/ 1553786 w 10505529"/>
              <a:gd name="connsiteY9463" fmla="*/ 5892392 h 7458372"/>
              <a:gd name="connsiteX9464" fmla="*/ 1336143 w 10505529"/>
              <a:gd name="connsiteY9464" fmla="*/ 5892392 h 7458372"/>
              <a:gd name="connsiteX9465" fmla="*/ 1326159 w 10505529"/>
              <a:gd name="connsiteY9465" fmla="*/ 5895986 h 7458372"/>
              <a:gd name="connsiteX9466" fmla="*/ 1322564 w 10505529"/>
              <a:gd name="connsiteY9466" fmla="*/ 5905437 h 7458372"/>
              <a:gd name="connsiteX9467" fmla="*/ 1326159 w 10505529"/>
              <a:gd name="connsiteY9467" fmla="*/ 5914888 h 7458372"/>
              <a:gd name="connsiteX9468" fmla="*/ 1336143 w 10505529"/>
              <a:gd name="connsiteY9468" fmla="*/ 5918350 h 7458372"/>
              <a:gd name="connsiteX9469" fmla="*/ 1341469 w 10505529"/>
              <a:gd name="connsiteY9469" fmla="*/ 5917418 h 7458372"/>
              <a:gd name="connsiteX9470" fmla="*/ 1345196 w 10505529"/>
              <a:gd name="connsiteY9470" fmla="*/ 5915021 h 7458372"/>
              <a:gd name="connsiteX9471" fmla="*/ 1347858 w 10505529"/>
              <a:gd name="connsiteY9471" fmla="*/ 5910761 h 7458372"/>
              <a:gd name="connsiteX9472" fmla="*/ 1348924 w 10505529"/>
              <a:gd name="connsiteY9472" fmla="*/ 5905304 h 7458372"/>
              <a:gd name="connsiteX9473" fmla="*/ 1347858 w 10505529"/>
              <a:gd name="connsiteY9473" fmla="*/ 5900112 h 7458372"/>
              <a:gd name="connsiteX9474" fmla="*/ 1345196 w 10505529"/>
              <a:gd name="connsiteY9474" fmla="*/ 5895986 h 7458372"/>
              <a:gd name="connsiteX9475" fmla="*/ 1341201 w 10505529"/>
              <a:gd name="connsiteY9475" fmla="*/ 5893323 h 7458372"/>
              <a:gd name="connsiteX9476" fmla="*/ 1336143 w 10505529"/>
              <a:gd name="connsiteY9476" fmla="*/ 5892392 h 7458372"/>
              <a:gd name="connsiteX9477" fmla="*/ 1118630 w 10505529"/>
              <a:gd name="connsiteY9477" fmla="*/ 5892392 h 7458372"/>
              <a:gd name="connsiteX9478" fmla="*/ 1108645 w 10505529"/>
              <a:gd name="connsiteY9478" fmla="*/ 5895986 h 7458372"/>
              <a:gd name="connsiteX9479" fmla="*/ 1104917 w 10505529"/>
              <a:gd name="connsiteY9479" fmla="*/ 5905437 h 7458372"/>
              <a:gd name="connsiteX9480" fmla="*/ 1108512 w 10505529"/>
              <a:gd name="connsiteY9480" fmla="*/ 5914888 h 7458372"/>
              <a:gd name="connsiteX9481" fmla="*/ 1118497 w 10505529"/>
              <a:gd name="connsiteY9481" fmla="*/ 5918350 h 7458372"/>
              <a:gd name="connsiteX9482" fmla="*/ 1123953 w 10505529"/>
              <a:gd name="connsiteY9482" fmla="*/ 5917418 h 7458372"/>
              <a:gd name="connsiteX9483" fmla="*/ 1127684 w 10505529"/>
              <a:gd name="connsiteY9483" fmla="*/ 5915021 h 7458372"/>
              <a:gd name="connsiteX9484" fmla="*/ 1130348 w 10505529"/>
              <a:gd name="connsiteY9484" fmla="*/ 5910761 h 7458372"/>
              <a:gd name="connsiteX9485" fmla="*/ 1131413 w 10505529"/>
              <a:gd name="connsiteY9485" fmla="*/ 5905304 h 7458372"/>
              <a:gd name="connsiteX9486" fmla="*/ 1130348 w 10505529"/>
              <a:gd name="connsiteY9486" fmla="*/ 5900112 h 7458372"/>
              <a:gd name="connsiteX9487" fmla="*/ 1127684 w 10505529"/>
              <a:gd name="connsiteY9487" fmla="*/ 5895986 h 7458372"/>
              <a:gd name="connsiteX9488" fmla="*/ 1123688 w 10505529"/>
              <a:gd name="connsiteY9488" fmla="*/ 5893323 h 7458372"/>
              <a:gd name="connsiteX9489" fmla="*/ 1118630 w 10505529"/>
              <a:gd name="connsiteY9489" fmla="*/ 5892392 h 7458372"/>
              <a:gd name="connsiteX9490" fmla="*/ 901118 w 10505529"/>
              <a:gd name="connsiteY9490" fmla="*/ 5892392 h 7458372"/>
              <a:gd name="connsiteX9491" fmla="*/ 891133 w 10505529"/>
              <a:gd name="connsiteY9491" fmla="*/ 5895986 h 7458372"/>
              <a:gd name="connsiteX9492" fmla="*/ 887407 w 10505529"/>
              <a:gd name="connsiteY9492" fmla="*/ 5905437 h 7458372"/>
              <a:gd name="connsiteX9493" fmla="*/ 891001 w 10505529"/>
              <a:gd name="connsiteY9493" fmla="*/ 5914888 h 7458372"/>
              <a:gd name="connsiteX9494" fmla="*/ 900984 w 10505529"/>
              <a:gd name="connsiteY9494" fmla="*/ 5918350 h 7458372"/>
              <a:gd name="connsiteX9495" fmla="*/ 906442 w 10505529"/>
              <a:gd name="connsiteY9495" fmla="*/ 5917418 h 7458372"/>
              <a:gd name="connsiteX9496" fmla="*/ 910170 w 10505529"/>
              <a:gd name="connsiteY9496" fmla="*/ 5915021 h 7458372"/>
              <a:gd name="connsiteX9497" fmla="*/ 912832 w 10505529"/>
              <a:gd name="connsiteY9497" fmla="*/ 5910761 h 7458372"/>
              <a:gd name="connsiteX9498" fmla="*/ 913897 w 10505529"/>
              <a:gd name="connsiteY9498" fmla="*/ 5905304 h 7458372"/>
              <a:gd name="connsiteX9499" fmla="*/ 912832 w 10505529"/>
              <a:gd name="connsiteY9499" fmla="*/ 5900112 h 7458372"/>
              <a:gd name="connsiteX9500" fmla="*/ 910170 w 10505529"/>
              <a:gd name="connsiteY9500" fmla="*/ 5895986 h 7458372"/>
              <a:gd name="connsiteX9501" fmla="*/ 906176 w 10505529"/>
              <a:gd name="connsiteY9501" fmla="*/ 5893323 h 7458372"/>
              <a:gd name="connsiteX9502" fmla="*/ 901118 w 10505529"/>
              <a:gd name="connsiteY9502" fmla="*/ 5892392 h 7458372"/>
              <a:gd name="connsiteX9503" fmla="*/ 683344 w 10505529"/>
              <a:gd name="connsiteY9503" fmla="*/ 5892392 h 7458372"/>
              <a:gd name="connsiteX9504" fmla="*/ 673361 w 10505529"/>
              <a:gd name="connsiteY9504" fmla="*/ 5895986 h 7458372"/>
              <a:gd name="connsiteX9505" fmla="*/ 669767 w 10505529"/>
              <a:gd name="connsiteY9505" fmla="*/ 5905437 h 7458372"/>
              <a:gd name="connsiteX9506" fmla="*/ 673361 w 10505529"/>
              <a:gd name="connsiteY9506" fmla="*/ 5914888 h 7458372"/>
              <a:gd name="connsiteX9507" fmla="*/ 683344 w 10505529"/>
              <a:gd name="connsiteY9507" fmla="*/ 5918350 h 7458372"/>
              <a:gd name="connsiteX9508" fmla="*/ 688669 w 10505529"/>
              <a:gd name="connsiteY9508" fmla="*/ 5917418 h 7458372"/>
              <a:gd name="connsiteX9509" fmla="*/ 692396 w 10505529"/>
              <a:gd name="connsiteY9509" fmla="*/ 5915021 h 7458372"/>
              <a:gd name="connsiteX9510" fmla="*/ 695059 w 10505529"/>
              <a:gd name="connsiteY9510" fmla="*/ 5910761 h 7458372"/>
              <a:gd name="connsiteX9511" fmla="*/ 696124 w 10505529"/>
              <a:gd name="connsiteY9511" fmla="*/ 5905304 h 7458372"/>
              <a:gd name="connsiteX9512" fmla="*/ 695059 w 10505529"/>
              <a:gd name="connsiteY9512" fmla="*/ 5900112 h 7458372"/>
              <a:gd name="connsiteX9513" fmla="*/ 692396 w 10505529"/>
              <a:gd name="connsiteY9513" fmla="*/ 5895986 h 7458372"/>
              <a:gd name="connsiteX9514" fmla="*/ 688403 w 10505529"/>
              <a:gd name="connsiteY9514" fmla="*/ 5893323 h 7458372"/>
              <a:gd name="connsiteX9515" fmla="*/ 683344 w 10505529"/>
              <a:gd name="connsiteY9515" fmla="*/ 5892392 h 7458372"/>
              <a:gd name="connsiteX9516" fmla="*/ 465703 w 10505529"/>
              <a:gd name="connsiteY9516" fmla="*/ 5892392 h 7458372"/>
              <a:gd name="connsiteX9517" fmla="*/ 455720 w 10505529"/>
              <a:gd name="connsiteY9517" fmla="*/ 5895986 h 7458372"/>
              <a:gd name="connsiteX9518" fmla="*/ 452126 w 10505529"/>
              <a:gd name="connsiteY9518" fmla="*/ 5905437 h 7458372"/>
              <a:gd name="connsiteX9519" fmla="*/ 455720 w 10505529"/>
              <a:gd name="connsiteY9519" fmla="*/ 5914888 h 7458372"/>
              <a:gd name="connsiteX9520" fmla="*/ 465703 w 10505529"/>
              <a:gd name="connsiteY9520" fmla="*/ 5918350 h 7458372"/>
              <a:gd name="connsiteX9521" fmla="*/ 471028 w 10505529"/>
              <a:gd name="connsiteY9521" fmla="*/ 5917418 h 7458372"/>
              <a:gd name="connsiteX9522" fmla="*/ 474755 w 10505529"/>
              <a:gd name="connsiteY9522" fmla="*/ 5915021 h 7458372"/>
              <a:gd name="connsiteX9523" fmla="*/ 477418 w 10505529"/>
              <a:gd name="connsiteY9523" fmla="*/ 5910761 h 7458372"/>
              <a:gd name="connsiteX9524" fmla="*/ 478483 w 10505529"/>
              <a:gd name="connsiteY9524" fmla="*/ 5905304 h 7458372"/>
              <a:gd name="connsiteX9525" fmla="*/ 477418 w 10505529"/>
              <a:gd name="connsiteY9525" fmla="*/ 5900112 h 7458372"/>
              <a:gd name="connsiteX9526" fmla="*/ 474755 w 10505529"/>
              <a:gd name="connsiteY9526" fmla="*/ 5895986 h 7458372"/>
              <a:gd name="connsiteX9527" fmla="*/ 470762 w 10505529"/>
              <a:gd name="connsiteY9527" fmla="*/ 5893323 h 7458372"/>
              <a:gd name="connsiteX9528" fmla="*/ 465703 w 10505529"/>
              <a:gd name="connsiteY9528" fmla="*/ 5892392 h 7458372"/>
              <a:gd name="connsiteX9529" fmla="*/ 248061 w 10505529"/>
              <a:gd name="connsiteY9529" fmla="*/ 5892392 h 7458372"/>
              <a:gd name="connsiteX9530" fmla="*/ 238079 w 10505529"/>
              <a:gd name="connsiteY9530" fmla="*/ 5895986 h 7458372"/>
              <a:gd name="connsiteX9531" fmla="*/ 234486 w 10505529"/>
              <a:gd name="connsiteY9531" fmla="*/ 5905437 h 7458372"/>
              <a:gd name="connsiteX9532" fmla="*/ 238079 w 10505529"/>
              <a:gd name="connsiteY9532" fmla="*/ 5914888 h 7458372"/>
              <a:gd name="connsiteX9533" fmla="*/ 248061 w 10505529"/>
              <a:gd name="connsiteY9533" fmla="*/ 5918350 h 7458372"/>
              <a:gd name="connsiteX9534" fmla="*/ 253386 w 10505529"/>
              <a:gd name="connsiteY9534" fmla="*/ 5917418 h 7458372"/>
              <a:gd name="connsiteX9535" fmla="*/ 257113 w 10505529"/>
              <a:gd name="connsiteY9535" fmla="*/ 5915021 h 7458372"/>
              <a:gd name="connsiteX9536" fmla="*/ 259776 w 10505529"/>
              <a:gd name="connsiteY9536" fmla="*/ 5910761 h 7458372"/>
              <a:gd name="connsiteX9537" fmla="*/ 260841 w 10505529"/>
              <a:gd name="connsiteY9537" fmla="*/ 5905304 h 7458372"/>
              <a:gd name="connsiteX9538" fmla="*/ 259776 w 10505529"/>
              <a:gd name="connsiteY9538" fmla="*/ 5900112 h 7458372"/>
              <a:gd name="connsiteX9539" fmla="*/ 257113 w 10505529"/>
              <a:gd name="connsiteY9539" fmla="*/ 5895986 h 7458372"/>
              <a:gd name="connsiteX9540" fmla="*/ 253120 w 10505529"/>
              <a:gd name="connsiteY9540" fmla="*/ 5893323 h 7458372"/>
              <a:gd name="connsiteX9541" fmla="*/ 248061 w 10505529"/>
              <a:gd name="connsiteY9541" fmla="*/ 5892392 h 7458372"/>
              <a:gd name="connsiteX9542" fmla="*/ 30420 w 10505529"/>
              <a:gd name="connsiteY9542" fmla="*/ 5892392 h 7458372"/>
              <a:gd name="connsiteX9543" fmla="*/ 20437 w 10505529"/>
              <a:gd name="connsiteY9543" fmla="*/ 5895986 h 7458372"/>
              <a:gd name="connsiteX9544" fmla="*/ 16844 w 10505529"/>
              <a:gd name="connsiteY9544" fmla="*/ 5905437 h 7458372"/>
              <a:gd name="connsiteX9545" fmla="*/ 20437 w 10505529"/>
              <a:gd name="connsiteY9545" fmla="*/ 5914888 h 7458372"/>
              <a:gd name="connsiteX9546" fmla="*/ 30420 w 10505529"/>
              <a:gd name="connsiteY9546" fmla="*/ 5918350 h 7458372"/>
              <a:gd name="connsiteX9547" fmla="*/ 35745 w 10505529"/>
              <a:gd name="connsiteY9547" fmla="*/ 5917418 h 7458372"/>
              <a:gd name="connsiteX9548" fmla="*/ 39472 w 10505529"/>
              <a:gd name="connsiteY9548" fmla="*/ 5915021 h 7458372"/>
              <a:gd name="connsiteX9549" fmla="*/ 42135 w 10505529"/>
              <a:gd name="connsiteY9549" fmla="*/ 5910761 h 7458372"/>
              <a:gd name="connsiteX9550" fmla="*/ 43066 w 10505529"/>
              <a:gd name="connsiteY9550" fmla="*/ 5905304 h 7458372"/>
              <a:gd name="connsiteX9551" fmla="*/ 42135 w 10505529"/>
              <a:gd name="connsiteY9551" fmla="*/ 5900112 h 7458372"/>
              <a:gd name="connsiteX9552" fmla="*/ 39472 w 10505529"/>
              <a:gd name="connsiteY9552" fmla="*/ 5895986 h 7458372"/>
              <a:gd name="connsiteX9553" fmla="*/ 35479 w 10505529"/>
              <a:gd name="connsiteY9553" fmla="*/ 5893323 h 7458372"/>
              <a:gd name="connsiteX9554" fmla="*/ 30420 w 10505529"/>
              <a:gd name="connsiteY9554" fmla="*/ 5892392 h 7458372"/>
              <a:gd name="connsiteX9555" fmla="*/ 10475977 w 10505529"/>
              <a:gd name="connsiteY9555" fmla="*/ 5875752 h 7458372"/>
              <a:gd name="connsiteX9556" fmla="*/ 10487824 w 10505529"/>
              <a:gd name="connsiteY9556" fmla="*/ 5878281 h 7458372"/>
              <a:gd name="connsiteX9557" fmla="*/ 10497143 w 10505529"/>
              <a:gd name="connsiteY9557" fmla="*/ 5884671 h 7458372"/>
              <a:gd name="connsiteX9558" fmla="*/ 10503266 w 10505529"/>
              <a:gd name="connsiteY9558" fmla="*/ 5893989 h 7458372"/>
              <a:gd name="connsiteX9559" fmla="*/ 10505529 w 10505529"/>
              <a:gd name="connsiteY9559" fmla="*/ 5905437 h 7458372"/>
              <a:gd name="connsiteX9560" fmla="*/ 10503266 w 10505529"/>
              <a:gd name="connsiteY9560" fmla="*/ 5917152 h 7458372"/>
              <a:gd name="connsiteX9561" fmla="*/ 10497143 w 10505529"/>
              <a:gd name="connsiteY9561" fmla="*/ 5926470 h 7458372"/>
              <a:gd name="connsiteX9562" fmla="*/ 10487824 w 10505529"/>
              <a:gd name="connsiteY9562" fmla="*/ 5932727 h 7458372"/>
              <a:gd name="connsiteX9563" fmla="*/ 10475977 w 10505529"/>
              <a:gd name="connsiteY9563" fmla="*/ 5934989 h 7458372"/>
              <a:gd name="connsiteX9564" fmla="*/ 10454145 w 10505529"/>
              <a:gd name="connsiteY9564" fmla="*/ 5926470 h 7458372"/>
              <a:gd name="connsiteX9565" fmla="*/ 10445759 w 10505529"/>
              <a:gd name="connsiteY9565" fmla="*/ 5905304 h 7458372"/>
              <a:gd name="connsiteX9566" fmla="*/ 10454145 w 10505529"/>
              <a:gd name="connsiteY9566" fmla="*/ 5884271 h 7458372"/>
              <a:gd name="connsiteX9567" fmla="*/ 10475977 w 10505529"/>
              <a:gd name="connsiteY9567" fmla="*/ 5875752 h 7458372"/>
              <a:gd name="connsiteX9568" fmla="*/ 10258466 w 10505529"/>
              <a:gd name="connsiteY9568" fmla="*/ 5875752 h 7458372"/>
              <a:gd name="connsiteX9569" fmla="*/ 10270313 w 10505529"/>
              <a:gd name="connsiteY9569" fmla="*/ 5878281 h 7458372"/>
              <a:gd name="connsiteX9570" fmla="*/ 10279631 w 10505529"/>
              <a:gd name="connsiteY9570" fmla="*/ 5884671 h 7458372"/>
              <a:gd name="connsiteX9571" fmla="*/ 10285754 w 10505529"/>
              <a:gd name="connsiteY9571" fmla="*/ 5893989 h 7458372"/>
              <a:gd name="connsiteX9572" fmla="*/ 10288017 w 10505529"/>
              <a:gd name="connsiteY9572" fmla="*/ 5905437 h 7458372"/>
              <a:gd name="connsiteX9573" fmla="*/ 10285754 w 10505529"/>
              <a:gd name="connsiteY9573" fmla="*/ 5917152 h 7458372"/>
              <a:gd name="connsiteX9574" fmla="*/ 10279631 w 10505529"/>
              <a:gd name="connsiteY9574" fmla="*/ 5926470 h 7458372"/>
              <a:gd name="connsiteX9575" fmla="*/ 10270313 w 10505529"/>
              <a:gd name="connsiteY9575" fmla="*/ 5932727 h 7458372"/>
              <a:gd name="connsiteX9576" fmla="*/ 10258466 w 10505529"/>
              <a:gd name="connsiteY9576" fmla="*/ 5934989 h 7458372"/>
              <a:gd name="connsiteX9577" fmla="*/ 10236633 w 10505529"/>
              <a:gd name="connsiteY9577" fmla="*/ 5926470 h 7458372"/>
              <a:gd name="connsiteX9578" fmla="*/ 10228247 w 10505529"/>
              <a:gd name="connsiteY9578" fmla="*/ 5905304 h 7458372"/>
              <a:gd name="connsiteX9579" fmla="*/ 10236633 w 10505529"/>
              <a:gd name="connsiteY9579" fmla="*/ 5884271 h 7458372"/>
              <a:gd name="connsiteX9580" fmla="*/ 10258466 w 10505529"/>
              <a:gd name="connsiteY9580" fmla="*/ 5875752 h 7458372"/>
              <a:gd name="connsiteX9581" fmla="*/ 10040820 w 10505529"/>
              <a:gd name="connsiteY9581" fmla="*/ 5875752 h 7458372"/>
              <a:gd name="connsiteX9582" fmla="*/ 10052534 w 10505529"/>
              <a:gd name="connsiteY9582" fmla="*/ 5878281 h 7458372"/>
              <a:gd name="connsiteX9583" fmla="*/ 10061852 w 10505529"/>
              <a:gd name="connsiteY9583" fmla="*/ 5884671 h 7458372"/>
              <a:gd name="connsiteX9584" fmla="*/ 10067976 w 10505529"/>
              <a:gd name="connsiteY9584" fmla="*/ 5893989 h 7458372"/>
              <a:gd name="connsiteX9585" fmla="*/ 10070239 w 10505529"/>
              <a:gd name="connsiteY9585" fmla="*/ 5905437 h 7458372"/>
              <a:gd name="connsiteX9586" fmla="*/ 10067976 w 10505529"/>
              <a:gd name="connsiteY9586" fmla="*/ 5917152 h 7458372"/>
              <a:gd name="connsiteX9587" fmla="*/ 10061852 w 10505529"/>
              <a:gd name="connsiteY9587" fmla="*/ 5926470 h 7458372"/>
              <a:gd name="connsiteX9588" fmla="*/ 10052534 w 10505529"/>
              <a:gd name="connsiteY9588" fmla="*/ 5932727 h 7458372"/>
              <a:gd name="connsiteX9589" fmla="*/ 10040820 w 10505529"/>
              <a:gd name="connsiteY9589" fmla="*/ 5934989 h 7458372"/>
              <a:gd name="connsiteX9590" fmla="*/ 10018988 w 10505529"/>
              <a:gd name="connsiteY9590" fmla="*/ 5926470 h 7458372"/>
              <a:gd name="connsiteX9591" fmla="*/ 10010602 w 10505529"/>
              <a:gd name="connsiteY9591" fmla="*/ 5905304 h 7458372"/>
              <a:gd name="connsiteX9592" fmla="*/ 10018988 w 10505529"/>
              <a:gd name="connsiteY9592" fmla="*/ 5884271 h 7458372"/>
              <a:gd name="connsiteX9593" fmla="*/ 10040820 w 10505529"/>
              <a:gd name="connsiteY9593" fmla="*/ 5875752 h 7458372"/>
              <a:gd name="connsiteX9594" fmla="*/ 9823176 w 10505529"/>
              <a:gd name="connsiteY9594" fmla="*/ 5875752 h 7458372"/>
              <a:gd name="connsiteX9595" fmla="*/ 9834890 w 10505529"/>
              <a:gd name="connsiteY9595" fmla="*/ 5878281 h 7458372"/>
              <a:gd name="connsiteX9596" fmla="*/ 9844208 w 10505529"/>
              <a:gd name="connsiteY9596" fmla="*/ 5884671 h 7458372"/>
              <a:gd name="connsiteX9597" fmla="*/ 9850331 w 10505529"/>
              <a:gd name="connsiteY9597" fmla="*/ 5893989 h 7458372"/>
              <a:gd name="connsiteX9598" fmla="*/ 9852595 w 10505529"/>
              <a:gd name="connsiteY9598" fmla="*/ 5905437 h 7458372"/>
              <a:gd name="connsiteX9599" fmla="*/ 9850331 w 10505529"/>
              <a:gd name="connsiteY9599" fmla="*/ 5917152 h 7458372"/>
              <a:gd name="connsiteX9600" fmla="*/ 9844208 w 10505529"/>
              <a:gd name="connsiteY9600" fmla="*/ 5926470 h 7458372"/>
              <a:gd name="connsiteX9601" fmla="*/ 9834890 w 10505529"/>
              <a:gd name="connsiteY9601" fmla="*/ 5932727 h 7458372"/>
              <a:gd name="connsiteX9602" fmla="*/ 9823176 w 10505529"/>
              <a:gd name="connsiteY9602" fmla="*/ 5934989 h 7458372"/>
              <a:gd name="connsiteX9603" fmla="*/ 9801343 w 10505529"/>
              <a:gd name="connsiteY9603" fmla="*/ 5926470 h 7458372"/>
              <a:gd name="connsiteX9604" fmla="*/ 9792957 w 10505529"/>
              <a:gd name="connsiteY9604" fmla="*/ 5905304 h 7458372"/>
              <a:gd name="connsiteX9605" fmla="*/ 9801343 w 10505529"/>
              <a:gd name="connsiteY9605" fmla="*/ 5884271 h 7458372"/>
              <a:gd name="connsiteX9606" fmla="*/ 9823176 w 10505529"/>
              <a:gd name="connsiteY9606" fmla="*/ 5875752 h 7458372"/>
              <a:gd name="connsiteX9607" fmla="*/ 9605531 w 10505529"/>
              <a:gd name="connsiteY9607" fmla="*/ 5875752 h 7458372"/>
              <a:gd name="connsiteX9608" fmla="*/ 9617245 w 10505529"/>
              <a:gd name="connsiteY9608" fmla="*/ 5878281 h 7458372"/>
              <a:gd name="connsiteX9609" fmla="*/ 9626562 w 10505529"/>
              <a:gd name="connsiteY9609" fmla="*/ 5884671 h 7458372"/>
              <a:gd name="connsiteX9610" fmla="*/ 9632686 w 10505529"/>
              <a:gd name="connsiteY9610" fmla="*/ 5893989 h 7458372"/>
              <a:gd name="connsiteX9611" fmla="*/ 9634949 w 10505529"/>
              <a:gd name="connsiteY9611" fmla="*/ 5905437 h 7458372"/>
              <a:gd name="connsiteX9612" fmla="*/ 9632686 w 10505529"/>
              <a:gd name="connsiteY9612" fmla="*/ 5917152 h 7458372"/>
              <a:gd name="connsiteX9613" fmla="*/ 9626562 w 10505529"/>
              <a:gd name="connsiteY9613" fmla="*/ 5926470 h 7458372"/>
              <a:gd name="connsiteX9614" fmla="*/ 9617245 w 10505529"/>
              <a:gd name="connsiteY9614" fmla="*/ 5932727 h 7458372"/>
              <a:gd name="connsiteX9615" fmla="*/ 9605531 w 10505529"/>
              <a:gd name="connsiteY9615" fmla="*/ 5934989 h 7458372"/>
              <a:gd name="connsiteX9616" fmla="*/ 9583698 w 10505529"/>
              <a:gd name="connsiteY9616" fmla="*/ 5926470 h 7458372"/>
              <a:gd name="connsiteX9617" fmla="*/ 9575312 w 10505529"/>
              <a:gd name="connsiteY9617" fmla="*/ 5905304 h 7458372"/>
              <a:gd name="connsiteX9618" fmla="*/ 9583698 w 10505529"/>
              <a:gd name="connsiteY9618" fmla="*/ 5884271 h 7458372"/>
              <a:gd name="connsiteX9619" fmla="*/ 9605531 w 10505529"/>
              <a:gd name="connsiteY9619" fmla="*/ 5875752 h 7458372"/>
              <a:gd name="connsiteX9620" fmla="*/ 9387885 w 10505529"/>
              <a:gd name="connsiteY9620" fmla="*/ 5875752 h 7458372"/>
              <a:gd name="connsiteX9621" fmla="*/ 9399599 w 10505529"/>
              <a:gd name="connsiteY9621" fmla="*/ 5878281 h 7458372"/>
              <a:gd name="connsiteX9622" fmla="*/ 9408917 w 10505529"/>
              <a:gd name="connsiteY9622" fmla="*/ 5884671 h 7458372"/>
              <a:gd name="connsiteX9623" fmla="*/ 9415041 w 10505529"/>
              <a:gd name="connsiteY9623" fmla="*/ 5893989 h 7458372"/>
              <a:gd name="connsiteX9624" fmla="*/ 9417304 w 10505529"/>
              <a:gd name="connsiteY9624" fmla="*/ 5905437 h 7458372"/>
              <a:gd name="connsiteX9625" fmla="*/ 9415041 w 10505529"/>
              <a:gd name="connsiteY9625" fmla="*/ 5917152 h 7458372"/>
              <a:gd name="connsiteX9626" fmla="*/ 9408917 w 10505529"/>
              <a:gd name="connsiteY9626" fmla="*/ 5926470 h 7458372"/>
              <a:gd name="connsiteX9627" fmla="*/ 9399599 w 10505529"/>
              <a:gd name="connsiteY9627" fmla="*/ 5932727 h 7458372"/>
              <a:gd name="connsiteX9628" fmla="*/ 9387885 w 10505529"/>
              <a:gd name="connsiteY9628" fmla="*/ 5934989 h 7458372"/>
              <a:gd name="connsiteX9629" fmla="*/ 9366053 w 10505529"/>
              <a:gd name="connsiteY9629" fmla="*/ 5926470 h 7458372"/>
              <a:gd name="connsiteX9630" fmla="*/ 9357667 w 10505529"/>
              <a:gd name="connsiteY9630" fmla="*/ 5905304 h 7458372"/>
              <a:gd name="connsiteX9631" fmla="*/ 9366053 w 10505529"/>
              <a:gd name="connsiteY9631" fmla="*/ 5884271 h 7458372"/>
              <a:gd name="connsiteX9632" fmla="*/ 9387885 w 10505529"/>
              <a:gd name="connsiteY9632" fmla="*/ 5875752 h 7458372"/>
              <a:gd name="connsiteX9633" fmla="*/ 9170374 w 10505529"/>
              <a:gd name="connsiteY9633" fmla="*/ 5875752 h 7458372"/>
              <a:gd name="connsiteX9634" fmla="*/ 9182088 w 10505529"/>
              <a:gd name="connsiteY9634" fmla="*/ 5878281 h 7458372"/>
              <a:gd name="connsiteX9635" fmla="*/ 9191405 w 10505529"/>
              <a:gd name="connsiteY9635" fmla="*/ 5884671 h 7458372"/>
              <a:gd name="connsiteX9636" fmla="*/ 9197529 w 10505529"/>
              <a:gd name="connsiteY9636" fmla="*/ 5893989 h 7458372"/>
              <a:gd name="connsiteX9637" fmla="*/ 9199792 w 10505529"/>
              <a:gd name="connsiteY9637" fmla="*/ 5905437 h 7458372"/>
              <a:gd name="connsiteX9638" fmla="*/ 9197529 w 10505529"/>
              <a:gd name="connsiteY9638" fmla="*/ 5917152 h 7458372"/>
              <a:gd name="connsiteX9639" fmla="*/ 9191405 w 10505529"/>
              <a:gd name="connsiteY9639" fmla="*/ 5926470 h 7458372"/>
              <a:gd name="connsiteX9640" fmla="*/ 9182088 w 10505529"/>
              <a:gd name="connsiteY9640" fmla="*/ 5932727 h 7458372"/>
              <a:gd name="connsiteX9641" fmla="*/ 9170374 w 10505529"/>
              <a:gd name="connsiteY9641" fmla="*/ 5934989 h 7458372"/>
              <a:gd name="connsiteX9642" fmla="*/ 9148541 w 10505529"/>
              <a:gd name="connsiteY9642" fmla="*/ 5926470 h 7458372"/>
              <a:gd name="connsiteX9643" fmla="*/ 9140155 w 10505529"/>
              <a:gd name="connsiteY9643" fmla="*/ 5905304 h 7458372"/>
              <a:gd name="connsiteX9644" fmla="*/ 9148541 w 10505529"/>
              <a:gd name="connsiteY9644" fmla="*/ 5884271 h 7458372"/>
              <a:gd name="connsiteX9645" fmla="*/ 9170374 w 10505529"/>
              <a:gd name="connsiteY9645" fmla="*/ 5875752 h 7458372"/>
              <a:gd name="connsiteX9646" fmla="*/ 8952728 w 10505529"/>
              <a:gd name="connsiteY9646" fmla="*/ 5875752 h 7458372"/>
              <a:gd name="connsiteX9647" fmla="*/ 8964442 w 10505529"/>
              <a:gd name="connsiteY9647" fmla="*/ 5878281 h 7458372"/>
              <a:gd name="connsiteX9648" fmla="*/ 8973760 w 10505529"/>
              <a:gd name="connsiteY9648" fmla="*/ 5884671 h 7458372"/>
              <a:gd name="connsiteX9649" fmla="*/ 8979884 w 10505529"/>
              <a:gd name="connsiteY9649" fmla="*/ 5893989 h 7458372"/>
              <a:gd name="connsiteX9650" fmla="*/ 8982147 w 10505529"/>
              <a:gd name="connsiteY9650" fmla="*/ 5905437 h 7458372"/>
              <a:gd name="connsiteX9651" fmla="*/ 8979884 w 10505529"/>
              <a:gd name="connsiteY9651" fmla="*/ 5917152 h 7458372"/>
              <a:gd name="connsiteX9652" fmla="*/ 8973760 w 10505529"/>
              <a:gd name="connsiteY9652" fmla="*/ 5926470 h 7458372"/>
              <a:gd name="connsiteX9653" fmla="*/ 8964442 w 10505529"/>
              <a:gd name="connsiteY9653" fmla="*/ 5932727 h 7458372"/>
              <a:gd name="connsiteX9654" fmla="*/ 8952728 w 10505529"/>
              <a:gd name="connsiteY9654" fmla="*/ 5934989 h 7458372"/>
              <a:gd name="connsiteX9655" fmla="*/ 8930896 w 10505529"/>
              <a:gd name="connsiteY9655" fmla="*/ 5926470 h 7458372"/>
              <a:gd name="connsiteX9656" fmla="*/ 8922510 w 10505529"/>
              <a:gd name="connsiteY9656" fmla="*/ 5905304 h 7458372"/>
              <a:gd name="connsiteX9657" fmla="*/ 8930896 w 10505529"/>
              <a:gd name="connsiteY9657" fmla="*/ 5884271 h 7458372"/>
              <a:gd name="connsiteX9658" fmla="*/ 8952728 w 10505529"/>
              <a:gd name="connsiteY9658" fmla="*/ 5875752 h 7458372"/>
              <a:gd name="connsiteX9659" fmla="*/ 8735083 w 10505529"/>
              <a:gd name="connsiteY9659" fmla="*/ 5875752 h 7458372"/>
              <a:gd name="connsiteX9660" fmla="*/ 8746797 w 10505529"/>
              <a:gd name="connsiteY9660" fmla="*/ 5878281 h 7458372"/>
              <a:gd name="connsiteX9661" fmla="*/ 8756115 w 10505529"/>
              <a:gd name="connsiteY9661" fmla="*/ 5884671 h 7458372"/>
              <a:gd name="connsiteX9662" fmla="*/ 8762238 w 10505529"/>
              <a:gd name="connsiteY9662" fmla="*/ 5893989 h 7458372"/>
              <a:gd name="connsiteX9663" fmla="*/ 8764502 w 10505529"/>
              <a:gd name="connsiteY9663" fmla="*/ 5905437 h 7458372"/>
              <a:gd name="connsiteX9664" fmla="*/ 8762238 w 10505529"/>
              <a:gd name="connsiteY9664" fmla="*/ 5917152 h 7458372"/>
              <a:gd name="connsiteX9665" fmla="*/ 8756115 w 10505529"/>
              <a:gd name="connsiteY9665" fmla="*/ 5926470 h 7458372"/>
              <a:gd name="connsiteX9666" fmla="*/ 8746797 w 10505529"/>
              <a:gd name="connsiteY9666" fmla="*/ 5932727 h 7458372"/>
              <a:gd name="connsiteX9667" fmla="*/ 8735083 w 10505529"/>
              <a:gd name="connsiteY9667" fmla="*/ 5934989 h 7458372"/>
              <a:gd name="connsiteX9668" fmla="*/ 8713250 w 10505529"/>
              <a:gd name="connsiteY9668" fmla="*/ 5926470 h 7458372"/>
              <a:gd name="connsiteX9669" fmla="*/ 8704864 w 10505529"/>
              <a:gd name="connsiteY9669" fmla="*/ 5905304 h 7458372"/>
              <a:gd name="connsiteX9670" fmla="*/ 8713250 w 10505529"/>
              <a:gd name="connsiteY9670" fmla="*/ 5884271 h 7458372"/>
              <a:gd name="connsiteX9671" fmla="*/ 8735083 w 10505529"/>
              <a:gd name="connsiteY9671" fmla="*/ 5875752 h 7458372"/>
              <a:gd name="connsiteX9672" fmla="*/ 8517438 w 10505529"/>
              <a:gd name="connsiteY9672" fmla="*/ 5875752 h 7458372"/>
              <a:gd name="connsiteX9673" fmla="*/ 8529152 w 10505529"/>
              <a:gd name="connsiteY9673" fmla="*/ 5878281 h 7458372"/>
              <a:gd name="connsiteX9674" fmla="*/ 8538470 w 10505529"/>
              <a:gd name="connsiteY9674" fmla="*/ 5884671 h 7458372"/>
              <a:gd name="connsiteX9675" fmla="*/ 8544594 w 10505529"/>
              <a:gd name="connsiteY9675" fmla="*/ 5893989 h 7458372"/>
              <a:gd name="connsiteX9676" fmla="*/ 8546857 w 10505529"/>
              <a:gd name="connsiteY9676" fmla="*/ 5905437 h 7458372"/>
              <a:gd name="connsiteX9677" fmla="*/ 8544594 w 10505529"/>
              <a:gd name="connsiteY9677" fmla="*/ 5917152 h 7458372"/>
              <a:gd name="connsiteX9678" fmla="*/ 8538470 w 10505529"/>
              <a:gd name="connsiteY9678" fmla="*/ 5926470 h 7458372"/>
              <a:gd name="connsiteX9679" fmla="*/ 8529152 w 10505529"/>
              <a:gd name="connsiteY9679" fmla="*/ 5932727 h 7458372"/>
              <a:gd name="connsiteX9680" fmla="*/ 8517438 w 10505529"/>
              <a:gd name="connsiteY9680" fmla="*/ 5934989 h 7458372"/>
              <a:gd name="connsiteX9681" fmla="*/ 8495606 w 10505529"/>
              <a:gd name="connsiteY9681" fmla="*/ 5926470 h 7458372"/>
              <a:gd name="connsiteX9682" fmla="*/ 8487220 w 10505529"/>
              <a:gd name="connsiteY9682" fmla="*/ 5905304 h 7458372"/>
              <a:gd name="connsiteX9683" fmla="*/ 8495606 w 10505529"/>
              <a:gd name="connsiteY9683" fmla="*/ 5884271 h 7458372"/>
              <a:gd name="connsiteX9684" fmla="*/ 8517438 w 10505529"/>
              <a:gd name="connsiteY9684" fmla="*/ 5875752 h 7458372"/>
              <a:gd name="connsiteX9685" fmla="*/ 8299793 w 10505529"/>
              <a:gd name="connsiteY9685" fmla="*/ 5875752 h 7458372"/>
              <a:gd name="connsiteX9686" fmla="*/ 8311507 w 10505529"/>
              <a:gd name="connsiteY9686" fmla="*/ 5878281 h 7458372"/>
              <a:gd name="connsiteX9687" fmla="*/ 8320825 w 10505529"/>
              <a:gd name="connsiteY9687" fmla="*/ 5884671 h 7458372"/>
              <a:gd name="connsiteX9688" fmla="*/ 8326948 w 10505529"/>
              <a:gd name="connsiteY9688" fmla="*/ 5893989 h 7458372"/>
              <a:gd name="connsiteX9689" fmla="*/ 8329212 w 10505529"/>
              <a:gd name="connsiteY9689" fmla="*/ 5905437 h 7458372"/>
              <a:gd name="connsiteX9690" fmla="*/ 8326948 w 10505529"/>
              <a:gd name="connsiteY9690" fmla="*/ 5917152 h 7458372"/>
              <a:gd name="connsiteX9691" fmla="*/ 8320825 w 10505529"/>
              <a:gd name="connsiteY9691" fmla="*/ 5926470 h 7458372"/>
              <a:gd name="connsiteX9692" fmla="*/ 8311507 w 10505529"/>
              <a:gd name="connsiteY9692" fmla="*/ 5932727 h 7458372"/>
              <a:gd name="connsiteX9693" fmla="*/ 8299793 w 10505529"/>
              <a:gd name="connsiteY9693" fmla="*/ 5934989 h 7458372"/>
              <a:gd name="connsiteX9694" fmla="*/ 8277960 w 10505529"/>
              <a:gd name="connsiteY9694" fmla="*/ 5926470 h 7458372"/>
              <a:gd name="connsiteX9695" fmla="*/ 8269574 w 10505529"/>
              <a:gd name="connsiteY9695" fmla="*/ 5905304 h 7458372"/>
              <a:gd name="connsiteX9696" fmla="*/ 8277960 w 10505529"/>
              <a:gd name="connsiteY9696" fmla="*/ 5884271 h 7458372"/>
              <a:gd name="connsiteX9697" fmla="*/ 8299793 w 10505529"/>
              <a:gd name="connsiteY9697" fmla="*/ 5875752 h 7458372"/>
              <a:gd name="connsiteX9698" fmla="*/ 8082281 w 10505529"/>
              <a:gd name="connsiteY9698" fmla="*/ 5875752 h 7458372"/>
              <a:gd name="connsiteX9699" fmla="*/ 8094127 w 10505529"/>
              <a:gd name="connsiteY9699" fmla="*/ 5878281 h 7458372"/>
              <a:gd name="connsiteX9700" fmla="*/ 8103446 w 10505529"/>
              <a:gd name="connsiteY9700" fmla="*/ 5884671 h 7458372"/>
              <a:gd name="connsiteX9701" fmla="*/ 8109569 w 10505529"/>
              <a:gd name="connsiteY9701" fmla="*/ 5893989 h 7458372"/>
              <a:gd name="connsiteX9702" fmla="*/ 8111832 w 10505529"/>
              <a:gd name="connsiteY9702" fmla="*/ 5905437 h 7458372"/>
              <a:gd name="connsiteX9703" fmla="*/ 8109569 w 10505529"/>
              <a:gd name="connsiteY9703" fmla="*/ 5917152 h 7458372"/>
              <a:gd name="connsiteX9704" fmla="*/ 8103446 w 10505529"/>
              <a:gd name="connsiteY9704" fmla="*/ 5926470 h 7458372"/>
              <a:gd name="connsiteX9705" fmla="*/ 8094127 w 10505529"/>
              <a:gd name="connsiteY9705" fmla="*/ 5932727 h 7458372"/>
              <a:gd name="connsiteX9706" fmla="*/ 8082281 w 10505529"/>
              <a:gd name="connsiteY9706" fmla="*/ 5934989 h 7458372"/>
              <a:gd name="connsiteX9707" fmla="*/ 8060448 w 10505529"/>
              <a:gd name="connsiteY9707" fmla="*/ 5926470 h 7458372"/>
              <a:gd name="connsiteX9708" fmla="*/ 8052062 w 10505529"/>
              <a:gd name="connsiteY9708" fmla="*/ 5905304 h 7458372"/>
              <a:gd name="connsiteX9709" fmla="*/ 8060448 w 10505529"/>
              <a:gd name="connsiteY9709" fmla="*/ 5884271 h 7458372"/>
              <a:gd name="connsiteX9710" fmla="*/ 8082281 w 10505529"/>
              <a:gd name="connsiteY9710" fmla="*/ 5875752 h 7458372"/>
              <a:gd name="connsiteX9711" fmla="*/ 7864636 w 10505529"/>
              <a:gd name="connsiteY9711" fmla="*/ 5875752 h 7458372"/>
              <a:gd name="connsiteX9712" fmla="*/ 7876483 w 10505529"/>
              <a:gd name="connsiteY9712" fmla="*/ 5878281 h 7458372"/>
              <a:gd name="connsiteX9713" fmla="*/ 7885802 w 10505529"/>
              <a:gd name="connsiteY9713" fmla="*/ 5884671 h 7458372"/>
              <a:gd name="connsiteX9714" fmla="*/ 7891924 w 10505529"/>
              <a:gd name="connsiteY9714" fmla="*/ 5893989 h 7458372"/>
              <a:gd name="connsiteX9715" fmla="*/ 7894188 w 10505529"/>
              <a:gd name="connsiteY9715" fmla="*/ 5905437 h 7458372"/>
              <a:gd name="connsiteX9716" fmla="*/ 7891924 w 10505529"/>
              <a:gd name="connsiteY9716" fmla="*/ 5917152 h 7458372"/>
              <a:gd name="connsiteX9717" fmla="*/ 7885802 w 10505529"/>
              <a:gd name="connsiteY9717" fmla="*/ 5926470 h 7458372"/>
              <a:gd name="connsiteX9718" fmla="*/ 7876483 w 10505529"/>
              <a:gd name="connsiteY9718" fmla="*/ 5932727 h 7458372"/>
              <a:gd name="connsiteX9719" fmla="*/ 7864636 w 10505529"/>
              <a:gd name="connsiteY9719" fmla="*/ 5934989 h 7458372"/>
              <a:gd name="connsiteX9720" fmla="*/ 7842803 w 10505529"/>
              <a:gd name="connsiteY9720" fmla="*/ 5926470 h 7458372"/>
              <a:gd name="connsiteX9721" fmla="*/ 7834417 w 10505529"/>
              <a:gd name="connsiteY9721" fmla="*/ 5905304 h 7458372"/>
              <a:gd name="connsiteX9722" fmla="*/ 7842803 w 10505529"/>
              <a:gd name="connsiteY9722" fmla="*/ 5884271 h 7458372"/>
              <a:gd name="connsiteX9723" fmla="*/ 7864636 w 10505529"/>
              <a:gd name="connsiteY9723" fmla="*/ 5875752 h 7458372"/>
              <a:gd name="connsiteX9724" fmla="*/ 7646991 w 10505529"/>
              <a:gd name="connsiteY9724" fmla="*/ 5875752 h 7458372"/>
              <a:gd name="connsiteX9725" fmla="*/ 7658705 w 10505529"/>
              <a:gd name="connsiteY9725" fmla="*/ 5878281 h 7458372"/>
              <a:gd name="connsiteX9726" fmla="*/ 7668022 w 10505529"/>
              <a:gd name="connsiteY9726" fmla="*/ 5884671 h 7458372"/>
              <a:gd name="connsiteX9727" fmla="*/ 7674146 w 10505529"/>
              <a:gd name="connsiteY9727" fmla="*/ 5893989 h 7458372"/>
              <a:gd name="connsiteX9728" fmla="*/ 7676409 w 10505529"/>
              <a:gd name="connsiteY9728" fmla="*/ 5905437 h 7458372"/>
              <a:gd name="connsiteX9729" fmla="*/ 7674146 w 10505529"/>
              <a:gd name="connsiteY9729" fmla="*/ 5917152 h 7458372"/>
              <a:gd name="connsiteX9730" fmla="*/ 7668022 w 10505529"/>
              <a:gd name="connsiteY9730" fmla="*/ 5926470 h 7458372"/>
              <a:gd name="connsiteX9731" fmla="*/ 7658705 w 10505529"/>
              <a:gd name="connsiteY9731" fmla="*/ 5932727 h 7458372"/>
              <a:gd name="connsiteX9732" fmla="*/ 7646991 w 10505529"/>
              <a:gd name="connsiteY9732" fmla="*/ 5934989 h 7458372"/>
              <a:gd name="connsiteX9733" fmla="*/ 7625158 w 10505529"/>
              <a:gd name="connsiteY9733" fmla="*/ 5926470 h 7458372"/>
              <a:gd name="connsiteX9734" fmla="*/ 7616772 w 10505529"/>
              <a:gd name="connsiteY9734" fmla="*/ 5905304 h 7458372"/>
              <a:gd name="connsiteX9735" fmla="*/ 7625158 w 10505529"/>
              <a:gd name="connsiteY9735" fmla="*/ 5884271 h 7458372"/>
              <a:gd name="connsiteX9736" fmla="*/ 7646991 w 10505529"/>
              <a:gd name="connsiteY9736" fmla="*/ 5875752 h 7458372"/>
              <a:gd name="connsiteX9737" fmla="*/ 7429345 w 10505529"/>
              <a:gd name="connsiteY9737" fmla="*/ 5875752 h 7458372"/>
              <a:gd name="connsiteX9738" fmla="*/ 7441059 w 10505529"/>
              <a:gd name="connsiteY9738" fmla="*/ 5878281 h 7458372"/>
              <a:gd name="connsiteX9739" fmla="*/ 7450377 w 10505529"/>
              <a:gd name="connsiteY9739" fmla="*/ 5884671 h 7458372"/>
              <a:gd name="connsiteX9740" fmla="*/ 7456501 w 10505529"/>
              <a:gd name="connsiteY9740" fmla="*/ 5893989 h 7458372"/>
              <a:gd name="connsiteX9741" fmla="*/ 7458764 w 10505529"/>
              <a:gd name="connsiteY9741" fmla="*/ 5905437 h 7458372"/>
              <a:gd name="connsiteX9742" fmla="*/ 7456501 w 10505529"/>
              <a:gd name="connsiteY9742" fmla="*/ 5917152 h 7458372"/>
              <a:gd name="connsiteX9743" fmla="*/ 7450377 w 10505529"/>
              <a:gd name="connsiteY9743" fmla="*/ 5926470 h 7458372"/>
              <a:gd name="connsiteX9744" fmla="*/ 7441059 w 10505529"/>
              <a:gd name="connsiteY9744" fmla="*/ 5932727 h 7458372"/>
              <a:gd name="connsiteX9745" fmla="*/ 7429345 w 10505529"/>
              <a:gd name="connsiteY9745" fmla="*/ 5934989 h 7458372"/>
              <a:gd name="connsiteX9746" fmla="*/ 7407513 w 10505529"/>
              <a:gd name="connsiteY9746" fmla="*/ 5926470 h 7458372"/>
              <a:gd name="connsiteX9747" fmla="*/ 7399127 w 10505529"/>
              <a:gd name="connsiteY9747" fmla="*/ 5905304 h 7458372"/>
              <a:gd name="connsiteX9748" fmla="*/ 7407513 w 10505529"/>
              <a:gd name="connsiteY9748" fmla="*/ 5884271 h 7458372"/>
              <a:gd name="connsiteX9749" fmla="*/ 7429345 w 10505529"/>
              <a:gd name="connsiteY9749" fmla="*/ 5875752 h 7458372"/>
              <a:gd name="connsiteX9750" fmla="*/ 7211701 w 10505529"/>
              <a:gd name="connsiteY9750" fmla="*/ 5875752 h 7458372"/>
              <a:gd name="connsiteX9751" fmla="*/ 7223415 w 10505529"/>
              <a:gd name="connsiteY9751" fmla="*/ 5878281 h 7458372"/>
              <a:gd name="connsiteX9752" fmla="*/ 7232733 w 10505529"/>
              <a:gd name="connsiteY9752" fmla="*/ 5884671 h 7458372"/>
              <a:gd name="connsiteX9753" fmla="*/ 7238856 w 10505529"/>
              <a:gd name="connsiteY9753" fmla="*/ 5893989 h 7458372"/>
              <a:gd name="connsiteX9754" fmla="*/ 7241120 w 10505529"/>
              <a:gd name="connsiteY9754" fmla="*/ 5905437 h 7458372"/>
              <a:gd name="connsiteX9755" fmla="*/ 7238856 w 10505529"/>
              <a:gd name="connsiteY9755" fmla="*/ 5917152 h 7458372"/>
              <a:gd name="connsiteX9756" fmla="*/ 7232733 w 10505529"/>
              <a:gd name="connsiteY9756" fmla="*/ 5926470 h 7458372"/>
              <a:gd name="connsiteX9757" fmla="*/ 7223415 w 10505529"/>
              <a:gd name="connsiteY9757" fmla="*/ 5932727 h 7458372"/>
              <a:gd name="connsiteX9758" fmla="*/ 7211701 w 10505529"/>
              <a:gd name="connsiteY9758" fmla="*/ 5934989 h 7458372"/>
              <a:gd name="connsiteX9759" fmla="*/ 7189868 w 10505529"/>
              <a:gd name="connsiteY9759" fmla="*/ 5926470 h 7458372"/>
              <a:gd name="connsiteX9760" fmla="*/ 7181482 w 10505529"/>
              <a:gd name="connsiteY9760" fmla="*/ 5905304 h 7458372"/>
              <a:gd name="connsiteX9761" fmla="*/ 7189868 w 10505529"/>
              <a:gd name="connsiteY9761" fmla="*/ 5884271 h 7458372"/>
              <a:gd name="connsiteX9762" fmla="*/ 7211701 w 10505529"/>
              <a:gd name="connsiteY9762" fmla="*/ 5875752 h 7458372"/>
              <a:gd name="connsiteX9763" fmla="*/ 6994056 w 10505529"/>
              <a:gd name="connsiteY9763" fmla="*/ 5875752 h 7458372"/>
              <a:gd name="connsiteX9764" fmla="*/ 7005769 w 10505529"/>
              <a:gd name="connsiteY9764" fmla="*/ 5878281 h 7458372"/>
              <a:gd name="connsiteX9765" fmla="*/ 7015087 w 10505529"/>
              <a:gd name="connsiteY9765" fmla="*/ 5884671 h 7458372"/>
              <a:gd name="connsiteX9766" fmla="*/ 7021211 w 10505529"/>
              <a:gd name="connsiteY9766" fmla="*/ 5893989 h 7458372"/>
              <a:gd name="connsiteX9767" fmla="*/ 7023474 w 10505529"/>
              <a:gd name="connsiteY9767" fmla="*/ 5905437 h 7458372"/>
              <a:gd name="connsiteX9768" fmla="*/ 7021211 w 10505529"/>
              <a:gd name="connsiteY9768" fmla="*/ 5917152 h 7458372"/>
              <a:gd name="connsiteX9769" fmla="*/ 7015087 w 10505529"/>
              <a:gd name="connsiteY9769" fmla="*/ 5926470 h 7458372"/>
              <a:gd name="connsiteX9770" fmla="*/ 7005769 w 10505529"/>
              <a:gd name="connsiteY9770" fmla="*/ 5932727 h 7458372"/>
              <a:gd name="connsiteX9771" fmla="*/ 6994056 w 10505529"/>
              <a:gd name="connsiteY9771" fmla="*/ 5934989 h 7458372"/>
              <a:gd name="connsiteX9772" fmla="*/ 6972223 w 10505529"/>
              <a:gd name="connsiteY9772" fmla="*/ 5926470 h 7458372"/>
              <a:gd name="connsiteX9773" fmla="*/ 6963837 w 10505529"/>
              <a:gd name="connsiteY9773" fmla="*/ 5905304 h 7458372"/>
              <a:gd name="connsiteX9774" fmla="*/ 6972223 w 10505529"/>
              <a:gd name="connsiteY9774" fmla="*/ 5884271 h 7458372"/>
              <a:gd name="connsiteX9775" fmla="*/ 6994056 w 10505529"/>
              <a:gd name="connsiteY9775" fmla="*/ 5875752 h 7458372"/>
              <a:gd name="connsiteX9776" fmla="*/ 6776544 w 10505529"/>
              <a:gd name="connsiteY9776" fmla="*/ 5875752 h 7458372"/>
              <a:gd name="connsiteX9777" fmla="*/ 6788258 w 10505529"/>
              <a:gd name="connsiteY9777" fmla="*/ 5878281 h 7458372"/>
              <a:gd name="connsiteX9778" fmla="*/ 6797576 w 10505529"/>
              <a:gd name="connsiteY9778" fmla="*/ 5884671 h 7458372"/>
              <a:gd name="connsiteX9779" fmla="*/ 6803699 w 10505529"/>
              <a:gd name="connsiteY9779" fmla="*/ 5893989 h 7458372"/>
              <a:gd name="connsiteX9780" fmla="*/ 6805963 w 10505529"/>
              <a:gd name="connsiteY9780" fmla="*/ 5905437 h 7458372"/>
              <a:gd name="connsiteX9781" fmla="*/ 6803699 w 10505529"/>
              <a:gd name="connsiteY9781" fmla="*/ 5917152 h 7458372"/>
              <a:gd name="connsiteX9782" fmla="*/ 6797576 w 10505529"/>
              <a:gd name="connsiteY9782" fmla="*/ 5926470 h 7458372"/>
              <a:gd name="connsiteX9783" fmla="*/ 6788258 w 10505529"/>
              <a:gd name="connsiteY9783" fmla="*/ 5932727 h 7458372"/>
              <a:gd name="connsiteX9784" fmla="*/ 6776544 w 10505529"/>
              <a:gd name="connsiteY9784" fmla="*/ 5934989 h 7458372"/>
              <a:gd name="connsiteX9785" fmla="*/ 6754711 w 10505529"/>
              <a:gd name="connsiteY9785" fmla="*/ 5926470 h 7458372"/>
              <a:gd name="connsiteX9786" fmla="*/ 6746325 w 10505529"/>
              <a:gd name="connsiteY9786" fmla="*/ 5905304 h 7458372"/>
              <a:gd name="connsiteX9787" fmla="*/ 6754711 w 10505529"/>
              <a:gd name="connsiteY9787" fmla="*/ 5884271 h 7458372"/>
              <a:gd name="connsiteX9788" fmla="*/ 6776544 w 10505529"/>
              <a:gd name="connsiteY9788" fmla="*/ 5875752 h 7458372"/>
              <a:gd name="connsiteX9789" fmla="*/ 6558899 w 10505529"/>
              <a:gd name="connsiteY9789" fmla="*/ 5875752 h 7458372"/>
              <a:gd name="connsiteX9790" fmla="*/ 6570612 w 10505529"/>
              <a:gd name="connsiteY9790" fmla="*/ 5878281 h 7458372"/>
              <a:gd name="connsiteX9791" fmla="*/ 6579930 w 10505529"/>
              <a:gd name="connsiteY9791" fmla="*/ 5884671 h 7458372"/>
              <a:gd name="connsiteX9792" fmla="*/ 6586054 w 10505529"/>
              <a:gd name="connsiteY9792" fmla="*/ 5893989 h 7458372"/>
              <a:gd name="connsiteX9793" fmla="*/ 6588317 w 10505529"/>
              <a:gd name="connsiteY9793" fmla="*/ 5905437 h 7458372"/>
              <a:gd name="connsiteX9794" fmla="*/ 6586054 w 10505529"/>
              <a:gd name="connsiteY9794" fmla="*/ 5917152 h 7458372"/>
              <a:gd name="connsiteX9795" fmla="*/ 6579930 w 10505529"/>
              <a:gd name="connsiteY9795" fmla="*/ 5926470 h 7458372"/>
              <a:gd name="connsiteX9796" fmla="*/ 6570612 w 10505529"/>
              <a:gd name="connsiteY9796" fmla="*/ 5932727 h 7458372"/>
              <a:gd name="connsiteX9797" fmla="*/ 6558899 w 10505529"/>
              <a:gd name="connsiteY9797" fmla="*/ 5934989 h 7458372"/>
              <a:gd name="connsiteX9798" fmla="*/ 6537066 w 10505529"/>
              <a:gd name="connsiteY9798" fmla="*/ 5926470 h 7458372"/>
              <a:gd name="connsiteX9799" fmla="*/ 6528680 w 10505529"/>
              <a:gd name="connsiteY9799" fmla="*/ 5905304 h 7458372"/>
              <a:gd name="connsiteX9800" fmla="*/ 6537066 w 10505529"/>
              <a:gd name="connsiteY9800" fmla="*/ 5884271 h 7458372"/>
              <a:gd name="connsiteX9801" fmla="*/ 6558899 w 10505529"/>
              <a:gd name="connsiteY9801" fmla="*/ 5875752 h 7458372"/>
              <a:gd name="connsiteX9802" fmla="*/ 6341253 w 10505529"/>
              <a:gd name="connsiteY9802" fmla="*/ 5875752 h 7458372"/>
              <a:gd name="connsiteX9803" fmla="*/ 6352968 w 10505529"/>
              <a:gd name="connsiteY9803" fmla="*/ 5878281 h 7458372"/>
              <a:gd name="connsiteX9804" fmla="*/ 6362286 w 10505529"/>
              <a:gd name="connsiteY9804" fmla="*/ 5884671 h 7458372"/>
              <a:gd name="connsiteX9805" fmla="*/ 6368409 w 10505529"/>
              <a:gd name="connsiteY9805" fmla="*/ 5893989 h 7458372"/>
              <a:gd name="connsiteX9806" fmla="*/ 6370672 w 10505529"/>
              <a:gd name="connsiteY9806" fmla="*/ 5905437 h 7458372"/>
              <a:gd name="connsiteX9807" fmla="*/ 6368409 w 10505529"/>
              <a:gd name="connsiteY9807" fmla="*/ 5917152 h 7458372"/>
              <a:gd name="connsiteX9808" fmla="*/ 6362286 w 10505529"/>
              <a:gd name="connsiteY9808" fmla="*/ 5926470 h 7458372"/>
              <a:gd name="connsiteX9809" fmla="*/ 6352968 w 10505529"/>
              <a:gd name="connsiteY9809" fmla="*/ 5932727 h 7458372"/>
              <a:gd name="connsiteX9810" fmla="*/ 6341253 w 10505529"/>
              <a:gd name="connsiteY9810" fmla="*/ 5934989 h 7458372"/>
              <a:gd name="connsiteX9811" fmla="*/ 6319421 w 10505529"/>
              <a:gd name="connsiteY9811" fmla="*/ 5926470 h 7458372"/>
              <a:gd name="connsiteX9812" fmla="*/ 6311035 w 10505529"/>
              <a:gd name="connsiteY9812" fmla="*/ 5905304 h 7458372"/>
              <a:gd name="connsiteX9813" fmla="*/ 6319421 w 10505529"/>
              <a:gd name="connsiteY9813" fmla="*/ 5884271 h 7458372"/>
              <a:gd name="connsiteX9814" fmla="*/ 6341253 w 10505529"/>
              <a:gd name="connsiteY9814" fmla="*/ 5875752 h 7458372"/>
              <a:gd name="connsiteX9815" fmla="*/ 6123608 w 10505529"/>
              <a:gd name="connsiteY9815" fmla="*/ 5875752 h 7458372"/>
              <a:gd name="connsiteX9816" fmla="*/ 6135322 w 10505529"/>
              <a:gd name="connsiteY9816" fmla="*/ 5878281 h 7458372"/>
              <a:gd name="connsiteX9817" fmla="*/ 6144640 w 10505529"/>
              <a:gd name="connsiteY9817" fmla="*/ 5884671 h 7458372"/>
              <a:gd name="connsiteX9818" fmla="*/ 6150763 w 10505529"/>
              <a:gd name="connsiteY9818" fmla="*/ 5893989 h 7458372"/>
              <a:gd name="connsiteX9819" fmla="*/ 6153026 w 10505529"/>
              <a:gd name="connsiteY9819" fmla="*/ 5905437 h 7458372"/>
              <a:gd name="connsiteX9820" fmla="*/ 6150763 w 10505529"/>
              <a:gd name="connsiteY9820" fmla="*/ 5917152 h 7458372"/>
              <a:gd name="connsiteX9821" fmla="*/ 6144640 w 10505529"/>
              <a:gd name="connsiteY9821" fmla="*/ 5926470 h 7458372"/>
              <a:gd name="connsiteX9822" fmla="*/ 6135322 w 10505529"/>
              <a:gd name="connsiteY9822" fmla="*/ 5932727 h 7458372"/>
              <a:gd name="connsiteX9823" fmla="*/ 6123608 w 10505529"/>
              <a:gd name="connsiteY9823" fmla="*/ 5934989 h 7458372"/>
              <a:gd name="connsiteX9824" fmla="*/ 6101775 w 10505529"/>
              <a:gd name="connsiteY9824" fmla="*/ 5926470 h 7458372"/>
              <a:gd name="connsiteX9825" fmla="*/ 6093389 w 10505529"/>
              <a:gd name="connsiteY9825" fmla="*/ 5905304 h 7458372"/>
              <a:gd name="connsiteX9826" fmla="*/ 6101775 w 10505529"/>
              <a:gd name="connsiteY9826" fmla="*/ 5884271 h 7458372"/>
              <a:gd name="connsiteX9827" fmla="*/ 6123608 w 10505529"/>
              <a:gd name="connsiteY9827" fmla="*/ 5875752 h 7458372"/>
              <a:gd name="connsiteX9828" fmla="*/ 5905963 w 10505529"/>
              <a:gd name="connsiteY9828" fmla="*/ 5875752 h 7458372"/>
              <a:gd name="connsiteX9829" fmla="*/ 5917677 w 10505529"/>
              <a:gd name="connsiteY9829" fmla="*/ 5878281 h 7458372"/>
              <a:gd name="connsiteX9830" fmla="*/ 5926995 w 10505529"/>
              <a:gd name="connsiteY9830" fmla="*/ 5884671 h 7458372"/>
              <a:gd name="connsiteX9831" fmla="*/ 5933118 w 10505529"/>
              <a:gd name="connsiteY9831" fmla="*/ 5893989 h 7458372"/>
              <a:gd name="connsiteX9832" fmla="*/ 5935381 w 10505529"/>
              <a:gd name="connsiteY9832" fmla="*/ 5905437 h 7458372"/>
              <a:gd name="connsiteX9833" fmla="*/ 5933118 w 10505529"/>
              <a:gd name="connsiteY9833" fmla="*/ 5917152 h 7458372"/>
              <a:gd name="connsiteX9834" fmla="*/ 5926995 w 10505529"/>
              <a:gd name="connsiteY9834" fmla="*/ 5926470 h 7458372"/>
              <a:gd name="connsiteX9835" fmla="*/ 5917677 w 10505529"/>
              <a:gd name="connsiteY9835" fmla="*/ 5932727 h 7458372"/>
              <a:gd name="connsiteX9836" fmla="*/ 5905963 w 10505529"/>
              <a:gd name="connsiteY9836" fmla="*/ 5934989 h 7458372"/>
              <a:gd name="connsiteX9837" fmla="*/ 5884130 w 10505529"/>
              <a:gd name="connsiteY9837" fmla="*/ 5926470 h 7458372"/>
              <a:gd name="connsiteX9838" fmla="*/ 5875744 w 10505529"/>
              <a:gd name="connsiteY9838" fmla="*/ 5905304 h 7458372"/>
              <a:gd name="connsiteX9839" fmla="*/ 5884130 w 10505529"/>
              <a:gd name="connsiteY9839" fmla="*/ 5884271 h 7458372"/>
              <a:gd name="connsiteX9840" fmla="*/ 5905963 w 10505529"/>
              <a:gd name="connsiteY9840" fmla="*/ 5875752 h 7458372"/>
              <a:gd name="connsiteX9841" fmla="*/ 5688451 w 10505529"/>
              <a:gd name="connsiteY9841" fmla="*/ 5875752 h 7458372"/>
              <a:gd name="connsiteX9842" fmla="*/ 5700165 w 10505529"/>
              <a:gd name="connsiteY9842" fmla="*/ 5878281 h 7458372"/>
              <a:gd name="connsiteX9843" fmla="*/ 5709483 w 10505529"/>
              <a:gd name="connsiteY9843" fmla="*/ 5884671 h 7458372"/>
              <a:gd name="connsiteX9844" fmla="*/ 5715606 w 10505529"/>
              <a:gd name="connsiteY9844" fmla="*/ 5893989 h 7458372"/>
              <a:gd name="connsiteX9845" fmla="*/ 5717869 w 10505529"/>
              <a:gd name="connsiteY9845" fmla="*/ 5905437 h 7458372"/>
              <a:gd name="connsiteX9846" fmla="*/ 5715606 w 10505529"/>
              <a:gd name="connsiteY9846" fmla="*/ 5917152 h 7458372"/>
              <a:gd name="connsiteX9847" fmla="*/ 5709483 w 10505529"/>
              <a:gd name="connsiteY9847" fmla="*/ 5926470 h 7458372"/>
              <a:gd name="connsiteX9848" fmla="*/ 5700165 w 10505529"/>
              <a:gd name="connsiteY9848" fmla="*/ 5932727 h 7458372"/>
              <a:gd name="connsiteX9849" fmla="*/ 5688451 w 10505529"/>
              <a:gd name="connsiteY9849" fmla="*/ 5934989 h 7458372"/>
              <a:gd name="connsiteX9850" fmla="*/ 5666618 w 10505529"/>
              <a:gd name="connsiteY9850" fmla="*/ 5926470 h 7458372"/>
              <a:gd name="connsiteX9851" fmla="*/ 5658232 w 10505529"/>
              <a:gd name="connsiteY9851" fmla="*/ 5905304 h 7458372"/>
              <a:gd name="connsiteX9852" fmla="*/ 5666618 w 10505529"/>
              <a:gd name="connsiteY9852" fmla="*/ 5884271 h 7458372"/>
              <a:gd name="connsiteX9853" fmla="*/ 5688451 w 10505529"/>
              <a:gd name="connsiteY9853" fmla="*/ 5875752 h 7458372"/>
              <a:gd name="connsiteX9854" fmla="*/ 5470806 w 10505529"/>
              <a:gd name="connsiteY9854" fmla="*/ 5875752 h 7458372"/>
              <a:gd name="connsiteX9855" fmla="*/ 5482520 w 10505529"/>
              <a:gd name="connsiteY9855" fmla="*/ 5878281 h 7458372"/>
              <a:gd name="connsiteX9856" fmla="*/ 5491838 w 10505529"/>
              <a:gd name="connsiteY9856" fmla="*/ 5884671 h 7458372"/>
              <a:gd name="connsiteX9857" fmla="*/ 5497961 w 10505529"/>
              <a:gd name="connsiteY9857" fmla="*/ 5893989 h 7458372"/>
              <a:gd name="connsiteX9858" fmla="*/ 5500224 w 10505529"/>
              <a:gd name="connsiteY9858" fmla="*/ 5905437 h 7458372"/>
              <a:gd name="connsiteX9859" fmla="*/ 5497961 w 10505529"/>
              <a:gd name="connsiteY9859" fmla="*/ 5917152 h 7458372"/>
              <a:gd name="connsiteX9860" fmla="*/ 5491838 w 10505529"/>
              <a:gd name="connsiteY9860" fmla="*/ 5926470 h 7458372"/>
              <a:gd name="connsiteX9861" fmla="*/ 5482520 w 10505529"/>
              <a:gd name="connsiteY9861" fmla="*/ 5932727 h 7458372"/>
              <a:gd name="connsiteX9862" fmla="*/ 5470806 w 10505529"/>
              <a:gd name="connsiteY9862" fmla="*/ 5934989 h 7458372"/>
              <a:gd name="connsiteX9863" fmla="*/ 5448973 w 10505529"/>
              <a:gd name="connsiteY9863" fmla="*/ 5926470 h 7458372"/>
              <a:gd name="connsiteX9864" fmla="*/ 5440587 w 10505529"/>
              <a:gd name="connsiteY9864" fmla="*/ 5905304 h 7458372"/>
              <a:gd name="connsiteX9865" fmla="*/ 5448973 w 10505529"/>
              <a:gd name="connsiteY9865" fmla="*/ 5884271 h 7458372"/>
              <a:gd name="connsiteX9866" fmla="*/ 5470806 w 10505529"/>
              <a:gd name="connsiteY9866" fmla="*/ 5875752 h 7458372"/>
              <a:gd name="connsiteX9867" fmla="*/ 5253160 w 10505529"/>
              <a:gd name="connsiteY9867" fmla="*/ 5875752 h 7458372"/>
              <a:gd name="connsiteX9868" fmla="*/ 5264875 w 10505529"/>
              <a:gd name="connsiteY9868" fmla="*/ 5878281 h 7458372"/>
              <a:gd name="connsiteX9869" fmla="*/ 5274192 w 10505529"/>
              <a:gd name="connsiteY9869" fmla="*/ 5884671 h 7458372"/>
              <a:gd name="connsiteX9870" fmla="*/ 5280316 w 10505529"/>
              <a:gd name="connsiteY9870" fmla="*/ 5893989 h 7458372"/>
              <a:gd name="connsiteX9871" fmla="*/ 5282579 w 10505529"/>
              <a:gd name="connsiteY9871" fmla="*/ 5905437 h 7458372"/>
              <a:gd name="connsiteX9872" fmla="*/ 5280316 w 10505529"/>
              <a:gd name="connsiteY9872" fmla="*/ 5917152 h 7458372"/>
              <a:gd name="connsiteX9873" fmla="*/ 5274192 w 10505529"/>
              <a:gd name="connsiteY9873" fmla="*/ 5926470 h 7458372"/>
              <a:gd name="connsiteX9874" fmla="*/ 5264875 w 10505529"/>
              <a:gd name="connsiteY9874" fmla="*/ 5932727 h 7458372"/>
              <a:gd name="connsiteX9875" fmla="*/ 5253160 w 10505529"/>
              <a:gd name="connsiteY9875" fmla="*/ 5934989 h 7458372"/>
              <a:gd name="connsiteX9876" fmla="*/ 5231328 w 10505529"/>
              <a:gd name="connsiteY9876" fmla="*/ 5926470 h 7458372"/>
              <a:gd name="connsiteX9877" fmla="*/ 5222942 w 10505529"/>
              <a:gd name="connsiteY9877" fmla="*/ 5905304 h 7458372"/>
              <a:gd name="connsiteX9878" fmla="*/ 5231328 w 10505529"/>
              <a:gd name="connsiteY9878" fmla="*/ 5884271 h 7458372"/>
              <a:gd name="connsiteX9879" fmla="*/ 5253160 w 10505529"/>
              <a:gd name="connsiteY9879" fmla="*/ 5875752 h 7458372"/>
              <a:gd name="connsiteX9880" fmla="*/ 5035515 w 10505529"/>
              <a:gd name="connsiteY9880" fmla="*/ 5875752 h 7458372"/>
              <a:gd name="connsiteX9881" fmla="*/ 5047230 w 10505529"/>
              <a:gd name="connsiteY9881" fmla="*/ 5878281 h 7458372"/>
              <a:gd name="connsiteX9882" fmla="*/ 5056548 w 10505529"/>
              <a:gd name="connsiteY9882" fmla="*/ 5884671 h 7458372"/>
              <a:gd name="connsiteX9883" fmla="*/ 5062671 w 10505529"/>
              <a:gd name="connsiteY9883" fmla="*/ 5893989 h 7458372"/>
              <a:gd name="connsiteX9884" fmla="*/ 5064934 w 10505529"/>
              <a:gd name="connsiteY9884" fmla="*/ 5905437 h 7458372"/>
              <a:gd name="connsiteX9885" fmla="*/ 5062671 w 10505529"/>
              <a:gd name="connsiteY9885" fmla="*/ 5917152 h 7458372"/>
              <a:gd name="connsiteX9886" fmla="*/ 5056548 w 10505529"/>
              <a:gd name="connsiteY9886" fmla="*/ 5926470 h 7458372"/>
              <a:gd name="connsiteX9887" fmla="*/ 5047230 w 10505529"/>
              <a:gd name="connsiteY9887" fmla="*/ 5932727 h 7458372"/>
              <a:gd name="connsiteX9888" fmla="*/ 5035515 w 10505529"/>
              <a:gd name="connsiteY9888" fmla="*/ 5934989 h 7458372"/>
              <a:gd name="connsiteX9889" fmla="*/ 5013683 w 10505529"/>
              <a:gd name="connsiteY9889" fmla="*/ 5926470 h 7458372"/>
              <a:gd name="connsiteX9890" fmla="*/ 5005297 w 10505529"/>
              <a:gd name="connsiteY9890" fmla="*/ 5905304 h 7458372"/>
              <a:gd name="connsiteX9891" fmla="*/ 5013683 w 10505529"/>
              <a:gd name="connsiteY9891" fmla="*/ 5884271 h 7458372"/>
              <a:gd name="connsiteX9892" fmla="*/ 5035515 w 10505529"/>
              <a:gd name="connsiteY9892" fmla="*/ 5875752 h 7458372"/>
              <a:gd name="connsiteX9893" fmla="*/ 4817870 w 10505529"/>
              <a:gd name="connsiteY9893" fmla="*/ 5875752 h 7458372"/>
              <a:gd name="connsiteX9894" fmla="*/ 4829585 w 10505529"/>
              <a:gd name="connsiteY9894" fmla="*/ 5878281 h 7458372"/>
              <a:gd name="connsiteX9895" fmla="*/ 4838903 w 10505529"/>
              <a:gd name="connsiteY9895" fmla="*/ 5884671 h 7458372"/>
              <a:gd name="connsiteX9896" fmla="*/ 4845026 w 10505529"/>
              <a:gd name="connsiteY9896" fmla="*/ 5893989 h 7458372"/>
              <a:gd name="connsiteX9897" fmla="*/ 4847289 w 10505529"/>
              <a:gd name="connsiteY9897" fmla="*/ 5905437 h 7458372"/>
              <a:gd name="connsiteX9898" fmla="*/ 4845026 w 10505529"/>
              <a:gd name="connsiteY9898" fmla="*/ 5917152 h 7458372"/>
              <a:gd name="connsiteX9899" fmla="*/ 4838903 w 10505529"/>
              <a:gd name="connsiteY9899" fmla="*/ 5926470 h 7458372"/>
              <a:gd name="connsiteX9900" fmla="*/ 4829585 w 10505529"/>
              <a:gd name="connsiteY9900" fmla="*/ 5932727 h 7458372"/>
              <a:gd name="connsiteX9901" fmla="*/ 4817870 w 10505529"/>
              <a:gd name="connsiteY9901" fmla="*/ 5934989 h 7458372"/>
              <a:gd name="connsiteX9902" fmla="*/ 4796038 w 10505529"/>
              <a:gd name="connsiteY9902" fmla="*/ 5926470 h 7458372"/>
              <a:gd name="connsiteX9903" fmla="*/ 4787652 w 10505529"/>
              <a:gd name="connsiteY9903" fmla="*/ 5905304 h 7458372"/>
              <a:gd name="connsiteX9904" fmla="*/ 4796038 w 10505529"/>
              <a:gd name="connsiteY9904" fmla="*/ 5884271 h 7458372"/>
              <a:gd name="connsiteX9905" fmla="*/ 4817870 w 10505529"/>
              <a:gd name="connsiteY9905" fmla="*/ 5875752 h 7458372"/>
              <a:gd name="connsiteX9906" fmla="*/ 4600226 w 10505529"/>
              <a:gd name="connsiteY9906" fmla="*/ 5875752 h 7458372"/>
              <a:gd name="connsiteX9907" fmla="*/ 4612073 w 10505529"/>
              <a:gd name="connsiteY9907" fmla="*/ 5878281 h 7458372"/>
              <a:gd name="connsiteX9908" fmla="*/ 4621391 w 10505529"/>
              <a:gd name="connsiteY9908" fmla="*/ 5884671 h 7458372"/>
              <a:gd name="connsiteX9909" fmla="*/ 4627514 w 10505529"/>
              <a:gd name="connsiteY9909" fmla="*/ 5893989 h 7458372"/>
              <a:gd name="connsiteX9910" fmla="*/ 4629777 w 10505529"/>
              <a:gd name="connsiteY9910" fmla="*/ 5905437 h 7458372"/>
              <a:gd name="connsiteX9911" fmla="*/ 4627514 w 10505529"/>
              <a:gd name="connsiteY9911" fmla="*/ 5917152 h 7458372"/>
              <a:gd name="connsiteX9912" fmla="*/ 4621391 w 10505529"/>
              <a:gd name="connsiteY9912" fmla="*/ 5926470 h 7458372"/>
              <a:gd name="connsiteX9913" fmla="*/ 4612073 w 10505529"/>
              <a:gd name="connsiteY9913" fmla="*/ 5932727 h 7458372"/>
              <a:gd name="connsiteX9914" fmla="*/ 4600226 w 10505529"/>
              <a:gd name="connsiteY9914" fmla="*/ 5934989 h 7458372"/>
              <a:gd name="connsiteX9915" fmla="*/ 4578393 w 10505529"/>
              <a:gd name="connsiteY9915" fmla="*/ 5926470 h 7458372"/>
              <a:gd name="connsiteX9916" fmla="*/ 4570007 w 10505529"/>
              <a:gd name="connsiteY9916" fmla="*/ 5905304 h 7458372"/>
              <a:gd name="connsiteX9917" fmla="*/ 4578393 w 10505529"/>
              <a:gd name="connsiteY9917" fmla="*/ 5884271 h 7458372"/>
              <a:gd name="connsiteX9918" fmla="*/ 4600226 w 10505529"/>
              <a:gd name="connsiteY9918" fmla="*/ 5875752 h 7458372"/>
              <a:gd name="connsiteX9919" fmla="*/ 4382713 w 10505529"/>
              <a:gd name="connsiteY9919" fmla="*/ 5875752 h 7458372"/>
              <a:gd name="connsiteX9920" fmla="*/ 4394428 w 10505529"/>
              <a:gd name="connsiteY9920" fmla="*/ 5878281 h 7458372"/>
              <a:gd name="connsiteX9921" fmla="*/ 4403746 w 10505529"/>
              <a:gd name="connsiteY9921" fmla="*/ 5884671 h 7458372"/>
              <a:gd name="connsiteX9922" fmla="*/ 4409869 w 10505529"/>
              <a:gd name="connsiteY9922" fmla="*/ 5893989 h 7458372"/>
              <a:gd name="connsiteX9923" fmla="*/ 4412132 w 10505529"/>
              <a:gd name="connsiteY9923" fmla="*/ 5905437 h 7458372"/>
              <a:gd name="connsiteX9924" fmla="*/ 4409869 w 10505529"/>
              <a:gd name="connsiteY9924" fmla="*/ 5917152 h 7458372"/>
              <a:gd name="connsiteX9925" fmla="*/ 4403746 w 10505529"/>
              <a:gd name="connsiteY9925" fmla="*/ 5926470 h 7458372"/>
              <a:gd name="connsiteX9926" fmla="*/ 4394428 w 10505529"/>
              <a:gd name="connsiteY9926" fmla="*/ 5932727 h 7458372"/>
              <a:gd name="connsiteX9927" fmla="*/ 4382713 w 10505529"/>
              <a:gd name="connsiteY9927" fmla="*/ 5934989 h 7458372"/>
              <a:gd name="connsiteX9928" fmla="*/ 4360881 w 10505529"/>
              <a:gd name="connsiteY9928" fmla="*/ 5926470 h 7458372"/>
              <a:gd name="connsiteX9929" fmla="*/ 4352495 w 10505529"/>
              <a:gd name="connsiteY9929" fmla="*/ 5905304 h 7458372"/>
              <a:gd name="connsiteX9930" fmla="*/ 4360881 w 10505529"/>
              <a:gd name="connsiteY9930" fmla="*/ 5884271 h 7458372"/>
              <a:gd name="connsiteX9931" fmla="*/ 4382713 w 10505529"/>
              <a:gd name="connsiteY9931" fmla="*/ 5875752 h 7458372"/>
              <a:gd name="connsiteX9932" fmla="*/ 4165068 w 10505529"/>
              <a:gd name="connsiteY9932" fmla="*/ 5875752 h 7458372"/>
              <a:gd name="connsiteX9933" fmla="*/ 4176782 w 10505529"/>
              <a:gd name="connsiteY9933" fmla="*/ 5878281 h 7458372"/>
              <a:gd name="connsiteX9934" fmla="*/ 4186100 w 10505529"/>
              <a:gd name="connsiteY9934" fmla="*/ 5884671 h 7458372"/>
              <a:gd name="connsiteX9935" fmla="*/ 4192223 w 10505529"/>
              <a:gd name="connsiteY9935" fmla="*/ 5893989 h 7458372"/>
              <a:gd name="connsiteX9936" fmla="*/ 4194486 w 10505529"/>
              <a:gd name="connsiteY9936" fmla="*/ 5905437 h 7458372"/>
              <a:gd name="connsiteX9937" fmla="*/ 4192223 w 10505529"/>
              <a:gd name="connsiteY9937" fmla="*/ 5917152 h 7458372"/>
              <a:gd name="connsiteX9938" fmla="*/ 4186100 w 10505529"/>
              <a:gd name="connsiteY9938" fmla="*/ 5926470 h 7458372"/>
              <a:gd name="connsiteX9939" fmla="*/ 4176782 w 10505529"/>
              <a:gd name="connsiteY9939" fmla="*/ 5932727 h 7458372"/>
              <a:gd name="connsiteX9940" fmla="*/ 4165068 w 10505529"/>
              <a:gd name="connsiteY9940" fmla="*/ 5934989 h 7458372"/>
              <a:gd name="connsiteX9941" fmla="*/ 4143235 w 10505529"/>
              <a:gd name="connsiteY9941" fmla="*/ 5926470 h 7458372"/>
              <a:gd name="connsiteX9942" fmla="*/ 4134849 w 10505529"/>
              <a:gd name="connsiteY9942" fmla="*/ 5905304 h 7458372"/>
              <a:gd name="connsiteX9943" fmla="*/ 4143235 w 10505529"/>
              <a:gd name="connsiteY9943" fmla="*/ 5884271 h 7458372"/>
              <a:gd name="connsiteX9944" fmla="*/ 4165068 w 10505529"/>
              <a:gd name="connsiteY9944" fmla="*/ 5875752 h 7458372"/>
              <a:gd name="connsiteX9945" fmla="*/ 3947744 w 10505529"/>
              <a:gd name="connsiteY9945" fmla="*/ 5875752 h 7458372"/>
              <a:gd name="connsiteX9946" fmla="*/ 3959463 w 10505529"/>
              <a:gd name="connsiteY9946" fmla="*/ 5878281 h 7458372"/>
              <a:gd name="connsiteX9947" fmla="*/ 3968781 w 10505529"/>
              <a:gd name="connsiteY9947" fmla="*/ 5884671 h 7458372"/>
              <a:gd name="connsiteX9948" fmla="*/ 3974904 w 10505529"/>
              <a:gd name="connsiteY9948" fmla="*/ 5893989 h 7458372"/>
              <a:gd name="connsiteX9949" fmla="*/ 3977168 w 10505529"/>
              <a:gd name="connsiteY9949" fmla="*/ 5905437 h 7458372"/>
              <a:gd name="connsiteX9950" fmla="*/ 3974904 w 10505529"/>
              <a:gd name="connsiteY9950" fmla="*/ 5917152 h 7458372"/>
              <a:gd name="connsiteX9951" fmla="*/ 3968781 w 10505529"/>
              <a:gd name="connsiteY9951" fmla="*/ 5926470 h 7458372"/>
              <a:gd name="connsiteX9952" fmla="*/ 3959463 w 10505529"/>
              <a:gd name="connsiteY9952" fmla="*/ 5932727 h 7458372"/>
              <a:gd name="connsiteX9953" fmla="*/ 3947744 w 10505529"/>
              <a:gd name="connsiteY9953" fmla="*/ 5934989 h 7458372"/>
              <a:gd name="connsiteX9954" fmla="*/ 3925911 w 10505529"/>
              <a:gd name="connsiteY9954" fmla="*/ 5926470 h 7458372"/>
              <a:gd name="connsiteX9955" fmla="*/ 3917525 w 10505529"/>
              <a:gd name="connsiteY9955" fmla="*/ 5905304 h 7458372"/>
              <a:gd name="connsiteX9956" fmla="*/ 3925911 w 10505529"/>
              <a:gd name="connsiteY9956" fmla="*/ 5884271 h 7458372"/>
              <a:gd name="connsiteX9957" fmla="*/ 3947744 w 10505529"/>
              <a:gd name="connsiteY9957" fmla="*/ 5875752 h 7458372"/>
              <a:gd name="connsiteX9958" fmla="*/ 3730085 w 10505529"/>
              <a:gd name="connsiteY9958" fmla="*/ 5875752 h 7458372"/>
              <a:gd name="connsiteX9959" fmla="*/ 3741800 w 10505529"/>
              <a:gd name="connsiteY9959" fmla="*/ 5878281 h 7458372"/>
              <a:gd name="connsiteX9960" fmla="*/ 3751119 w 10505529"/>
              <a:gd name="connsiteY9960" fmla="*/ 5884671 h 7458372"/>
              <a:gd name="connsiteX9961" fmla="*/ 3757242 w 10505529"/>
              <a:gd name="connsiteY9961" fmla="*/ 5893989 h 7458372"/>
              <a:gd name="connsiteX9962" fmla="*/ 3759505 w 10505529"/>
              <a:gd name="connsiteY9962" fmla="*/ 5905437 h 7458372"/>
              <a:gd name="connsiteX9963" fmla="*/ 3757242 w 10505529"/>
              <a:gd name="connsiteY9963" fmla="*/ 5917152 h 7458372"/>
              <a:gd name="connsiteX9964" fmla="*/ 3751119 w 10505529"/>
              <a:gd name="connsiteY9964" fmla="*/ 5926470 h 7458372"/>
              <a:gd name="connsiteX9965" fmla="*/ 3741800 w 10505529"/>
              <a:gd name="connsiteY9965" fmla="*/ 5932727 h 7458372"/>
              <a:gd name="connsiteX9966" fmla="*/ 3730085 w 10505529"/>
              <a:gd name="connsiteY9966" fmla="*/ 5934989 h 7458372"/>
              <a:gd name="connsiteX9967" fmla="*/ 3708244 w 10505529"/>
              <a:gd name="connsiteY9967" fmla="*/ 5926470 h 7458372"/>
              <a:gd name="connsiteX9968" fmla="*/ 3699858 w 10505529"/>
              <a:gd name="connsiteY9968" fmla="*/ 5905304 h 7458372"/>
              <a:gd name="connsiteX9969" fmla="*/ 3708244 w 10505529"/>
              <a:gd name="connsiteY9969" fmla="*/ 5884271 h 7458372"/>
              <a:gd name="connsiteX9970" fmla="*/ 3730085 w 10505529"/>
              <a:gd name="connsiteY9970" fmla="*/ 5875752 h 7458372"/>
              <a:gd name="connsiteX9971" fmla="*/ 3512423 w 10505529"/>
              <a:gd name="connsiteY9971" fmla="*/ 5875752 h 7458372"/>
              <a:gd name="connsiteX9972" fmla="*/ 3524139 w 10505529"/>
              <a:gd name="connsiteY9972" fmla="*/ 5878281 h 7458372"/>
              <a:gd name="connsiteX9973" fmla="*/ 3533457 w 10505529"/>
              <a:gd name="connsiteY9973" fmla="*/ 5884671 h 7458372"/>
              <a:gd name="connsiteX9974" fmla="*/ 3539580 w 10505529"/>
              <a:gd name="connsiteY9974" fmla="*/ 5893989 h 7458372"/>
              <a:gd name="connsiteX9975" fmla="*/ 3541843 w 10505529"/>
              <a:gd name="connsiteY9975" fmla="*/ 5905437 h 7458372"/>
              <a:gd name="connsiteX9976" fmla="*/ 3539580 w 10505529"/>
              <a:gd name="connsiteY9976" fmla="*/ 5917152 h 7458372"/>
              <a:gd name="connsiteX9977" fmla="*/ 3533457 w 10505529"/>
              <a:gd name="connsiteY9977" fmla="*/ 5926470 h 7458372"/>
              <a:gd name="connsiteX9978" fmla="*/ 3524139 w 10505529"/>
              <a:gd name="connsiteY9978" fmla="*/ 5932727 h 7458372"/>
              <a:gd name="connsiteX9979" fmla="*/ 3512423 w 10505529"/>
              <a:gd name="connsiteY9979" fmla="*/ 5934989 h 7458372"/>
              <a:gd name="connsiteX9980" fmla="*/ 3490586 w 10505529"/>
              <a:gd name="connsiteY9980" fmla="*/ 5926470 h 7458372"/>
              <a:gd name="connsiteX9981" fmla="*/ 3482199 w 10505529"/>
              <a:gd name="connsiteY9981" fmla="*/ 5905304 h 7458372"/>
              <a:gd name="connsiteX9982" fmla="*/ 3490586 w 10505529"/>
              <a:gd name="connsiteY9982" fmla="*/ 5884271 h 7458372"/>
              <a:gd name="connsiteX9983" fmla="*/ 3512423 w 10505529"/>
              <a:gd name="connsiteY9983" fmla="*/ 5875752 h 7458372"/>
              <a:gd name="connsiteX9984" fmla="*/ 3294894 w 10505529"/>
              <a:gd name="connsiteY9984" fmla="*/ 5875752 h 7458372"/>
              <a:gd name="connsiteX9985" fmla="*/ 3306610 w 10505529"/>
              <a:gd name="connsiteY9985" fmla="*/ 5878281 h 7458372"/>
              <a:gd name="connsiteX9986" fmla="*/ 3315928 w 10505529"/>
              <a:gd name="connsiteY9986" fmla="*/ 5884671 h 7458372"/>
              <a:gd name="connsiteX9987" fmla="*/ 3322051 w 10505529"/>
              <a:gd name="connsiteY9987" fmla="*/ 5893989 h 7458372"/>
              <a:gd name="connsiteX9988" fmla="*/ 3324314 w 10505529"/>
              <a:gd name="connsiteY9988" fmla="*/ 5905437 h 7458372"/>
              <a:gd name="connsiteX9989" fmla="*/ 3322051 w 10505529"/>
              <a:gd name="connsiteY9989" fmla="*/ 5917152 h 7458372"/>
              <a:gd name="connsiteX9990" fmla="*/ 3315928 w 10505529"/>
              <a:gd name="connsiteY9990" fmla="*/ 5926470 h 7458372"/>
              <a:gd name="connsiteX9991" fmla="*/ 3306610 w 10505529"/>
              <a:gd name="connsiteY9991" fmla="*/ 5932727 h 7458372"/>
              <a:gd name="connsiteX9992" fmla="*/ 3294894 w 10505529"/>
              <a:gd name="connsiteY9992" fmla="*/ 5934989 h 7458372"/>
              <a:gd name="connsiteX9993" fmla="*/ 3273056 w 10505529"/>
              <a:gd name="connsiteY9993" fmla="*/ 5926470 h 7458372"/>
              <a:gd name="connsiteX9994" fmla="*/ 3264667 w 10505529"/>
              <a:gd name="connsiteY9994" fmla="*/ 5905304 h 7458372"/>
              <a:gd name="connsiteX9995" fmla="*/ 3273056 w 10505529"/>
              <a:gd name="connsiteY9995" fmla="*/ 5884271 h 7458372"/>
              <a:gd name="connsiteX9996" fmla="*/ 3294894 w 10505529"/>
              <a:gd name="connsiteY9996" fmla="*/ 5875752 h 7458372"/>
              <a:gd name="connsiteX9997" fmla="*/ 3077232 w 10505529"/>
              <a:gd name="connsiteY9997" fmla="*/ 5875752 h 7458372"/>
              <a:gd name="connsiteX9998" fmla="*/ 3088948 w 10505529"/>
              <a:gd name="connsiteY9998" fmla="*/ 5878281 h 7458372"/>
              <a:gd name="connsiteX9999" fmla="*/ 3098266 w 10505529"/>
              <a:gd name="connsiteY9999" fmla="*/ 5884671 h 7458372"/>
              <a:gd name="connsiteX10000" fmla="*/ 3104389 w 10505529"/>
              <a:gd name="connsiteY10000" fmla="*/ 5893989 h 7458372"/>
              <a:gd name="connsiteX10001" fmla="*/ 3106652 w 10505529"/>
              <a:gd name="connsiteY10001" fmla="*/ 5905437 h 7458372"/>
              <a:gd name="connsiteX10002" fmla="*/ 3104389 w 10505529"/>
              <a:gd name="connsiteY10002" fmla="*/ 5917152 h 7458372"/>
              <a:gd name="connsiteX10003" fmla="*/ 3098266 w 10505529"/>
              <a:gd name="connsiteY10003" fmla="*/ 5926470 h 7458372"/>
              <a:gd name="connsiteX10004" fmla="*/ 3088948 w 10505529"/>
              <a:gd name="connsiteY10004" fmla="*/ 5932727 h 7458372"/>
              <a:gd name="connsiteX10005" fmla="*/ 3077232 w 10505529"/>
              <a:gd name="connsiteY10005" fmla="*/ 5934989 h 7458372"/>
              <a:gd name="connsiteX10006" fmla="*/ 3055393 w 10505529"/>
              <a:gd name="connsiteY10006" fmla="*/ 5926470 h 7458372"/>
              <a:gd name="connsiteX10007" fmla="*/ 3047007 w 10505529"/>
              <a:gd name="connsiteY10007" fmla="*/ 5905304 h 7458372"/>
              <a:gd name="connsiteX10008" fmla="*/ 3055393 w 10505529"/>
              <a:gd name="connsiteY10008" fmla="*/ 5884271 h 7458372"/>
              <a:gd name="connsiteX10009" fmla="*/ 3077232 w 10505529"/>
              <a:gd name="connsiteY10009" fmla="*/ 5875752 h 7458372"/>
              <a:gd name="connsiteX10010" fmla="*/ 2859571 w 10505529"/>
              <a:gd name="connsiteY10010" fmla="*/ 5875752 h 7458372"/>
              <a:gd name="connsiteX10011" fmla="*/ 2871419 w 10505529"/>
              <a:gd name="connsiteY10011" fmla="*/ 5878281 h 7458372"/>
              <a:gd name="connsiteX10012" fmla="*/ 2880737 w 10505529"/>
              <a:gd name="connsiteY10012" fmla="*/ 5884671 h 7458372"/>
              <a:gd name="connsiteX10013" fmla="*/ 2886860 w 10505529"/>
              <a:gd name="connsiteY10013" fmla="*/ 5893989 h 7458372"/>
              <a:gd name="connsiteX10014" fmla="*/ 2889123 w 10505529"/>
              <a:gd name="connsiteY10014" fmla="*/ 5905437 h 7458372"/>
              <a:gd name="connsiteX10015" fmla="*/ 2886860 w 10505529"/>
              <a:gd name="connsiteY10015" fmla="*/ 5917152 h 7458372"/>
              <a:gd name="connsiteX10016" fmla="*/ 2880737 w 10505529"/>
              <a:gd name="connsiteY10016" fmla="*/ 5926470 h 7458372"/>
              <a:gd name="connsiteX10017" fmla="*/ 2871419 w 10505529"/>
              <a:gd name="connsiteY10017" fmla="*/ 5932727 h 7458372"/>
              <a:gd name="connsiteX10018" fmla="*/ 2859571 w 10505529"/>
              <a:gd name="connsiteY10018" fmla="*/ 5934989 h 7458372"/>
              <a:gd name="connsiteX10019" fmla="*/ 2837732 w 10505529"/>
              <a:gd name="connsiteY10019" fmla="*/ 5926470 h 7458372"/>
              <a:gd name="connsiteX10020" fmla="*/ 2829344 w 10505529"/>
              <a:gd name="connsiteY10020" fmla="*/ 5905304 h 7458372"/>
              <a:gd name="connsiteX10021" fmla="*/ 2837732 w 10505529"/>
              <a:gd name="connsiteY10021" fmla="*/ 5884271 h 7458372"/>
              <a:gd name="connsiteX10022" fmla="*/ 2859571 w 10505529"/>
              <a:gd name="connsiteY10022" fmla="*/ 5875752 h 7458372"/>
              <a:gd name="connsiteX10023" fmla="*/ 2641908 w 10505529"/>
              <a:gd name="connsiteY10023" fmla="*/ 5875752 h 7458372"/>
              <a:gd name="connsiteX10024" fmla="*/ 2653624 w 10505529"/>
              <a:gd name="connsiteY10024" fmla="*/ 5878281 h 7458372"/>
              <a:gd name="connsiteX10025" fmla="*/ 2662942 w 10505529"/>
              <a:gd name="connsiteY10025" fmla="*/ 5884671 h 7458372"/>
              <a:gd name="connsiteX10026" fmla="*/ 2669065 w 10505529"/>
              <a:gd name="connsiteY10026" fmla="*/ 5893989 h 7458372"/>
              <a:gd name="connsiteX10027" fmla="*/ 2671328 w 10505529"/>
              <a:gd name="connsiteY10027" fmla="*/ 5905437 h 7458372"/>
              <a:gd name="connsiteX10028" fmla="*/ 2669065 w 10505529"/>
              <a:gd name="connsiteY10028" fmla="*/ 5917152 h 7458372"/>
              <a:gd name="connsiteX10029" fmla="*/ 2662942 w 10505529"/>
              <a:gd name="connsiteY10029" fmla="*/ 5926470 h 7458372"/>
              <a:gd name="connsiteX10030" fmla="*/ 2653624 w 10505529"/>
              <a:gd name="connsiteY10030" fmla="*/ 5932727 h 7458372"/>
              <a:gd name="connsiteX10031" fmla="*/ 2641908 w 10505529"/>
              <a:gd name="connsiteY10031" fmla="*/ 5934989 h 7458372"/>
              <a:gd name="connsiteX10032" fmla="*/ 2620075 w 10505529"/>
              <a:gd name="connsiteY10032" fmla="*/ 5926470 h 7458372"/>
              <a:gd name="connsiteX10033" fmla="*/ 2611685 w 10505529"/>
              <a:gd name="connsiteY10033" fmla="*/ 5905304 h 7458372"/>
              <a:gd name="connsiteX10034" fmla="*/ 2620075 w 10505529"/>
              <a:gd name="connsiteY10034" fmla="*/ 5884271 h 7458372"/>
              <a:gd name="connsiteX10035" fmla="*/ 2641908 w 10505529"/>
              <a:gd name="connsiteY10035" fmla="*/ 5875752 h 7458372"/>
              <a:gd name="connsiteX10036" fmla="*/ 2424246 w 10505529"/>
              <a:gd name="connsiteY10036" fmla="*/ 5875752 h 7458372"/>
              <a:gd name="connsiteX10037" fmla="*/ 2435962 w 10505529"/>
              <a:gd name="connsiteY10037" fmla="*/ 5878281 h 7458372"/>
              <a:gd name="connsiteX10038" fmla="*/ 2445280 w 10505529"/>
              <a:gd name="connsiteY10038" fmla="*/ 5884671 h 7458372"/>
              <a:gd name="connsiteX10039" fmla="*/ 2451403 w 10505529"/>
              <a:gd name="connsiteY10039" fmla="*/ 5893989 h 7458372"/>
              <a:gd name="connsiteX10040" fmla="*/ 2453666 w 10505529"/>
              <a:gd name="connsiteY10040" fmla="*/ 5905437 h 7458372"/>
              <a:gd name="connsiteX10041" fmla="*/ 2451403 w 10505529"/>
              <a:gd name="connsiteY10041" fmla="*/ 5917152 h 7458372"/>
              <a:gd name="connsiteX10042" fmla="*/ 2445280 w 10505529"/>
              <a:gd name="connsiteY10042" fmla="*/ 5926470 h 7458372"/>
              <a:gd name="connsiteX10043" fmla="*/ 2435962 w 10505529"/>
              <a:gd name="connsiteY10043" fmla="*/ 5932727 h 7458372"/>
              <a:gd name="connsiteX10044" fmla="*/ 2424246 w 10505529"/>
              <a:gd name="connsiteY10044" fmla="*/ 5934989 h 7458372"/>
              <a:gd name="connsiteX10045" fmla="*/ 2402414 w 10505529"/>
              <a:gd name="connsiteY10045" fmla="*/ 5926470 h 7458372"/>
              <a:gd name="connsiteX10046" fmla="*/ 2394025 w 10505529"/>
              <a:gd name="connsiteY10046" fmla="*/ 5905304 h 7458372"/>
              <a:gd name="connsiteX10047" fmla="*/ 2402414 w 10505529"/>
              <a:gd name="connsiteY10047" fmla="*/ 5884271 h 7458372"/>
              <a:gd name="connsiteX10048" fmla="*/ 2424246 w 10505529"/>
              <a:gd name="connsiteY10048" fmla="*/ 5875752 h 7458372"/>
              <a:gd name="connsiteX10049" fmla="*/ 2206585 w 10505529"/>
              <a:gd name="connsiteY10049" fmla="*/ 5875752 h 7458372"/>
              <a:gd name="connsiteX10050" fmla="*/ 2218299 w 10505529"/>
              <a:gd name="connsiteY10050" fmla="*/ 5878281 h 7458372"/>
              <a:gd name="connsiteX10051" fmla="*/ 2227618 w 10505529"/>
              <a:gd name="connsiteY10051" fmla="*/ 5884671 h 7458372"/>
              <a:gd name="connsiteX10052" fmla="*/ 2233741 w 10505529"/>
              <a:gd name="connsiteY10052" fmla="*/ 5893989 h 7458372"/>
              <a:gd name="connsiteX10053" fmla="*/ 2236004 w 10505529"/>
              <a:gd name="connsiteY10053" fmla="*/ 5905437 h 7458372"/>
              <a:gd name="connsiteX10054" fmla="*/ 2233741 w 10505529"/>
              <a:gd name="connsiteY10054" fmla="*/ 5917152 h 7458372"/>
              <a:gd name="connsiteX10055" fmla="*/ 2227618 w 10505529"/>
              <a:gd name="connsiteY10055" fmla="*/ 5926470 h 7458372"/>
              <a:gd name="connsiteX10056" fmla="*/ 2218299 w 10505529"/>
              <a:gd name="connsiteY10056" fmla="*/ 5932727 h 7458372"/>
              <a:gd name="connsiteX10057" fmla="*/ 2206585 w 10505529"/>
              <a:gd name="connsiteY10057" fmla="*/ 5934989 h 7458372"/>
              <a:gd name="connsiteX10058" fmla="*/ 2184751 w 10505529"/>
              <a:gd name="connsiteY10058" fmla="*/ 5926470 h 7458372"/>
              <a:gd name="connsiteX10059" fmla="*/ 2176363 w 10505529"/>
              <a:gd name="connsiteY10059" fmla="*/ 5905304 h 7458372"/>
              <a:gd name="connsiteX10060" fmla="*/ 2184751 w 10505529"/>
              <a:gd name="connsiteY10060" fmla="*/ 5884271 h 7458372"/>
              <a:gd name="connsiteX10061" fmla="*/ 2206585 w 10505529"/>
              <a:gd name="connsiteY10061" fmla="*/ 5875752 h 7458372"/>
              <a:gd name="connsiteX10062" fmla="*/ 1989055 w 10505529"/>
              <a:gd name="connsiteY10062" fmla="*/ 5875752 h 7458372"/>
              <a:gd name="connsiteX10063" fmla="*/ 2000771 w 10505529"/>
              <a:gd name="connsiteY10063" fmla="*/ 5878281 h 7458372"/>
              <a:gd name="connsiteX10064" fmla="*/ 2010089 w 10505529"/>
              <a:gd name="connsiteY10064" fmla="*/ 5884671 h 7458372"/>
              <a:gd name="connsiteX10065" fmla="*/ 2016212 w 10505529"/>
              <a:gd name="connsiteY10065" fmla="*/ 5893989 h 7458372"/>
              <a:gd name="connsiteX10066" fmla="*/ 2018475 w 10505529"/>
              <a:gd name="connsiteY10066" fmla="*/ 5905437 h 7458372"/>
              <a:gd name="connsiteX10067" fmla="*/ 2016212 w 10505529"/>
              <a:gd name="connsiteY10067" fmla="*/ 5917152 h 7458372"/>
              <a:gd name="connsiteX10068" fmla="*/ 2010089 w 10505529"/>
              <a:gd name="connsiteY10068" fmla="*/ 5926470 h 7458372"/>
              <a:gd name="connsiteX10069" fmla="*/ 2000771 w 10505529"/>
              <a:gd name="connsiteY10069" fmla="*/ 5932727 h 7458372"/>
              <a:gd name="connsiteX10070" fmla="*/ 1989055 w 10505529"/>
              <a:gd name="connsiteY10070" fmla="*/ 5934989 h 7458372"/>
              <a:gd name="connsiteX10071" fmla="*/ 1967224 w 10505529"/>
              <a:gd name="connsiteY10071" fmla="*/ 5926470 h 7458372"/>
              <a:gd name="connsiteX10072" fmla="*/ 1958838 w 10505529"/>
              <a:gd name="connsiteY10072" fmla="*/ 5905304 h 7458372"/>
              <a:gd name="connsiteX10073" fmla="*/ 1967224 w 10505529"/>
              <a:gd name="connsiteY10073" fmla="*/ 5884271 h 7458372"/>
              <a:gd name="connsiteX10074" fmla="*/ 1989055 w 10505529"/>
              <a:gd name="connsiteY10074" fmla="*/ 5875752 h 7458372"/>
              <a:gd name="connsiteX10075" fmla="*/ 1771422 w 10505529"/>
              <a:gd name="connsiteY10075" fmla="*/ 5875752 h 7458372"/>
              <a:gd name="connsiteX10076" fmla="*/ 1783136 w 10505529"/>
              <a:gd name="connsiteY10076" fmla="*/ 5878281 h 7458372"/>
              <a:gd name="connsiteX10077" fmla="*/ 1792454 w 10505529"/>
              <a:gd name="connsiteY10077" fmla="*/ 5884671 h 7458372"/>
              <a:gd name="connsiteX10078" fmla="*/ 1798577 w 10505529"/>
              <a:gd name="connsiteY10078" fmla="*/ 5893989 h 7458372"/>
              <a:gd name="connsiteX10079" fmla="*/ 1800839 w 10505529"/>
              <a:gd name="connsiteY10079" fmla="*/ 5905437 h 7458372"/>
              <a:gd name="connsiteX10080" fmla="*/ 1798577 w 10505529"/>
              <a:gd name="connsiteY10080" fmla="*/ 5917152 h 7458372"/>
              <a:gd name="connsiteX10081" fmla="*/ 1792454 w 10505529"/>
              <a:gd name="connsiteY10081" fmla="*/ 5926470 h 7458372"/>
              <a:gd name="connsiteX10082" fmla="*/ 1783136 w 10505529"/>
              <a:gd name="connsiteY10082" fmla="*/ 5932727 h 7458372"/>
              <a:gd name="connsiteX10083" fmla="*/ 1771422 w 10505529"/>
              <a:gd name="connsiteY10083" fmla="*/ 5934989 h 7458372"/>
              <a:gd name="connsiteX10084" fmla="*/ 1749593 w 10505529"/>
              <a:gd name="connsiteY10084" fmla="*/ 5926470 h 7458372"/>
              <a:gd name="connsiteX10085" fmla="*/ 1741210 w 10505529"/>
              <a:gd name="connsiteY10085" fmla="*/ 5905304 h 7458372"/>
              <a:gd name="connsiteX10086" fmla="*/ 1749593 w 10505529"/>
              <a:gd name="connsiteY10086" fmla="*/ 5884271 h 7458372"/>
              <a:gd name="connsiteX10087" fmla="*/ 1771422 w 10505529"/>
              <a:gd name="connsiteY10087" fmla="*/ 5875752 h 7458372"/>
              <a:gd name="connsiteX10088" fmla="*/ 1553786 w 10505529"/>
              <a:gd name="connsiteY10088" fmla="*/ 5875752 h 7458372"/>
              <a:gd name="connsiteX10089" fmla="*/ 1565500 w 10505529"/>
              <a:gd name="connsiteY10089" fmla="*/ 5878281 h 7458372"/>
              <a:gd name="connsiteX10090" fmla="*/ 1574819 w 10505529"/>
              <a:gd name="connsiteY10090" fmla="*/ 5884671 h 7458372"/>
              <a:gd name="connsiteX10091" fmla="*/ 1580942 w 10505529"/>
              <a:gd name="connsiteY10091" fmla="*/ 5893989 h 7458372"/>
              <a:gd name="connsiteX10092" fmla="*/ 1583205 w 10505529"/>
              <a:gd name="connsiteY10092" fmla="*/ 5905437 h 7458372"/>
              <a:gd name="connsiteX10093" fmla="*/ 1580942 w 10505529"/>
              <a:gd name="connsiteY10093" fmla="*/ 5917152 h 7458372"/>
              <a:gd name="connsiteX10094" fmla="*/ 1574819 w 10505529"/>
              <a:gd name="connsiteY10094" fmla="*/ 5926470 h 7458372"/>
              <a:gd name="connsiteX10095" fmla="*/ 1565500 w 10505529"/>
              <a:gd name="connsiteY10095" fmla="*/ 5932727 h 7458372"/>
              <a:gd name="connsiteX10096" fmla="*/ 1553786 w 10505529"/>
              <a:gd name="connsiteY10096" fmla="*/ 5934989 h 7458372"/>
              <a:gd name="connsiteX10097" fmla="*/ 1531956 w 10505529"/>
              <a:gd name="connsiteY10097" fmla="*/ 5926470 h 7458372"/>
              <a:gd name="connsiteX10098" fmla="*/ 1523571 w 10505529"/>
              <a:gd name="connsiteY10098" fmla="*/ 5905304 h 7458372"/>
              <a:gd name="connsiteX10099" fmla="*/ 1531956 w 10505529"/>
              <a:gd name="connsiteY10099" fmla="*/ 5884271 h 7458372"/>
              <a:gd name="connsiteX10100" fmla="*/ 1553786 w 10505529"/>
              <a:gd name="connsiteY10100" fmla="*/ 5875752 h 7458372"/>
              <a:gd name="connsiteX10101" fmla="*/ 1336143 w 10505529"/>
              <a:gd name="connsiteY10101" fmla="*/ 5875752 h 7458372"/>
              <a:gd name="connsiteX10102" fmla="*/ 1347858 w 10505529"/>
              <a:gd name="connsiteY10102" fmla="*/ 5878281 h 7458372"/>
              <a:gd name="connsiteX10103" fmla="*/ 1357176 w 10505529"/>
              <a:gd name="connsiteY10103" fmla="*/ 5884671 h 7458372"/>
              <a:gd name="connsiteX10104" fmla="*/ 1363299 w 10505529"/>
              <a:gd name="connsiteY10104" fmla="*/ 5893989 h 7458372"/>
              <a:gd name="connsiteX10105" fmla="*/ 1365561 w 10505529"/>
              <a:gd name="connsiteY10105" fmla="*/ 5905437 h 7458372"/>
              <a:gd name="connsiteX10106" fmla="*/ 1363299 w 10505529"/>
              <a:gd name="connsiteY10106" fmla="*/ 5917152 h 7458372"/>
              <a:gd name="connsiteX10107" fmla="*/ 1357176 w 10505529"/>
              <a:gd name="connsiteY10107" fmla="*/ 5926470 h 7458372"/>
              <a:gd name="connsiteX10108" fmla="*/ 1347858 w 10505529"/>
              <a:gd name="connsiteY10108" fmla="*/ 5932727 h 7458372"/>
              <a:gd name="connsiteX10109" fmla="*/ 1336143 w 10505529"/>
              <a:gd name="connsiteY10109" fmla="*/ 5934989 h 7458372"/>
              <a:gd name="connsiteX10110" fmla="*/ 1314309 w 10505529"/>
              <a:gd name="connsiteY10110" fmla="*/ 5926470 h 7458372"/>
              <a:gd name="connsiteX10111" fmla="*/ 1305924 w 10505529"/>
              <a:gd name="connsiteY10111" fmla="*/ 5905304 h 7458372"/>
              <a:gd name="connsiteX10112" fmla="*/ 1314309 w 10505529"/>
              <a:gd name="connsiteY10112" fmla="*/ 5884271 h 7458372"/>
              <a:gd name="connsiteX10113" fmla="*/ 1336143 w 10505529"/>
              <a:gd name="connsiteY10113" fmla="*/ 5875752 h 7458372"/>
              <a:gd name="connsiteX10114" fmla="*/ 1118497 w 10505529"/>
              <a:gd name="connsiteY10114" fmla="*/ 5875752 h 7458372"/>
              <a:gd name="connsiteX10115" fmla="*/ 1130215 w 10505529"/>
              <a:gd name="connsiteY10115" fmla="*/ 5878281 h 7458372"/>
              <a:gd name="connsiteX10116" fmla="*/ 1139529 w 10505529"/>
              <a:gd name="connsiteY10116" fmla="*/ 5884671 h 7458372"/>
              <a:gd name="connsiteX10117" fmla="*/ 1145649 w 10505529"/>
              <a:gd name="connsiteY10117" fmla="*/ 5893989 h 7458372"/>
              <a:gd name="connsiteX10118" fmla="*/ 1147913 w 10505529"/>
              <a:gd name="connsiteY10118" fmla="*/ 5905437 h 7458372"/>
              <a:gd name="connsiteX10119" fmla="*/ 1145649 w 10505529"/>
              <a:gd name="connsiteY10119" fmla="*/ 5917152 h 7458372"/>
              <a:gd name="connsiteX10120" fmla="*/ 1139529 w 10505529"/>
              <a:gd name="connsiteY10120" fmla="*/ 5926470 h 7458372"/>
              <a:gd name="connsiteX10121" fmla="*/ 1130215 w 10505529"/>
              <a:gd name="connsiteY10121" fmla="*/ 5932727 h 7458372"/>
              <a:gd name="connsiteX10122" fmla="*/ 1118497 w 10505529"/>
              <a:gd name="connsiteY10122" fmla="*/ 5934989 h 7458372"/>
              <a:gd name="connsiteX10123" fmla="*/ 1096662 w 10505529"/>
              <a:gd name="connsiteY10123" fmla="*/ 5926470 h 7458372"/>
              <a:gd name="connsiteX10124" fmla="*/ 1088277 w 10505529"/>
              <a:gd name="connsiteY10124" fmla="*/ 5905304 h 7458372"/>
              <a:gd name="connsiteX10125" fmla="*/ 1096662 w 10505529"/>
              <a:gd name="connsiteY10125" fmla="*/ 5884271 h 7458372"/>
              <a:gd name="connsiteX10126" fmla="*/ 1118497 w 10505529"/>
              <a:gd name="connsiteY10126" fmla="*/ 5875752 h 7458372"/>
              <a:gd name="connsiteX10127" fmla="*/ 900984 w 10505529"/>
              <a:gd name="connsiteY10127" fmla="*/ 5875752 h 7458372"/>
              <a:gd name="connsiteX10128" fmla="*/ 912699 w 10505529"/>
              <a:gd name="connsiteY10128" fmla="*/ 5878281 h 7458372"/>
              <a:gd name="connsiteX10129" fmla="*/ 922017 w 10505529"/>
              <a:gd name="connsiteY10129" fmla="*/ 5884671 h 7458372"/>
              <a:gd name="connsiteX10130" fmla="*/ 928139 w 10505529"/>
              <a:gd name="connsiteY10130" fmla="*/ 5893989 h 7458372"/>
              <a:gd name="connsiteX10131" fmla="*/ 930402 w 10505529"/>
              <a:gd name="connsiteY10131" fmla="*/ 5905437 h 7458372"/>
              <a:gd name="connsiteX10132" fmla="*/ 928139 w 10505529"/>
              <a:gd name="connsiteY10132" fmla="*/ 5917152 h 7458372"/>
              <a:gd name="connsiteX10133" fmla="*/ 922017 w 10505529"/>
              <a:gd name="connsiteY10133" fmla="*/ 5926470 h 7458372"/>
              <a:gd name="connsiteX10134" fmla="*/ 912699 w 10505529"/>
              <a:gd name="connsiteY10134" fmla="*/ 5932727 h 7458372"/>
              <a:gd name="connsiteX10135" fmla="*/ 900984 w 10505529"/>
              <a:gd name="connsiteY10135" fmla="*/ 5934989 h 7458372"/>
              <a:gd name="connsiteX10136" fmla="*/ 879153 w 10505529"/>
              <a:gd name="connsiteY10136" fmla="*/ 5926470 h 7458372"/>
              <a:gd name="connsiteX10137" fmla="*/ 870768 w 10505529"/>
              <a:gd name="connsiteY10137" fmla="*/ 5905304 h 7458372"/>
              <a:gd name="connsiteX10138" fmla="*/ 879153 w 10505529"/>
              <a:gd name="connsiteY10138" fmla="*/ 5884271 h 7458372"/>
              <a:gd name="connsiteX10139" fmla="*/ 900984 w 10505529"/>
              <a:gd name="connsiteY10139" fmla="*/ 5875752 h 7458372"/>
              <a:gd name="connsiteX10140" fmla="*/ 683344 w 10505529"/>
              <a:gd name="connsiteY10140" fmla="*/ 5875752 h 7458372"/>
              <a:gd name="connsiteX10141" fmla="*/ 695059 w 10505529"/>
              <a:gd name="connsiteY10141" fmla="*/ 5878281 h 7458372"/>
              <a:gd name="connsiteX10142" fmla="*/ 704376 w 10505529"/>
              <a:gd name="connsiteY10142" fmla="*/ 5884671 h 7458372"/>
              <a:gd name="connsiteX10143" fmla="*/ 710499 w 10505529"/>
              <a:gd name="connsiteY10143" fmla="*/ 5893989 h 7458372"/>
              <a:gd name="connsiteX10144" fmla="*/ 712762 w 10505529"/>
              <a:gd name="connsiteY10144" fmla="*/ 5905437 h 7458372"/>
              <a:gd name="connsiteX10145" fmla="*/ 710499 w 10505529"/>
              <a:gd name="connsiteY10145" fmla="*/ 5917152 h 7458372"/>
              <a:gd name="connsiteX10146" fmla="*/ 704376 w 10505529"/>
              <a:gd name="connsiteY10146" fmla="*/ 5926470 h 7458372"/>
              <a:gd name="connsiteX10147" fmla="*/ 695059 w 10505529"/>
              <a:gd name="connsiteY10147" fmla="*/ 5932727 h 7458372"/>
              <a:gd name="connsiteX10148" fmla="*/ 683344 w 10505529"/>
              <a:gd name="connsiteY10148" fmla="*/ 5934989 h 7458372"/>
              <a:gd name="connsiteX10149" fmla="*/ 661512 w 10505529"/>
              <a:gd name="connsiteY10149" fmla="*/ 5926470 h 7458372"/>
              <a:gd name="connsiteX10150" fmla="*/ 653126 w 10505529"/>
              <a:gd name="connsiteY10150" fmla="*/ 5905304 h 7458372"/>
              <a:gd name="connsiteX10151" fmla="*/ 661512 w 10505529"/>
              <a:gd name="connsiteY10151" fmla="*/ 5884271 h 7458372"/>
              <a:gd name="connsiteX10152" fmla="*/ 683344 w 10505529"/>
              <a:gd name="connsiteY10152" fmla="*/ 5875752 h 7458372"/>
              <a:gd name="connsiteX10153" fmla="*/ 465703 w 10505529"/>
              <a:gd name="connsiteY10153" fmla="*/ 5875752 h 7458372"/>
              <a:gd name="connsiteX10154" fmla="*/ 477418 w 10505529"/>
              <a:gd name="connsiteY10154" fmla="*/ 5878281 h 7458372"/>
              <a:gd name="connsiteX10155" fmla="*/ 486736 w 10505529"/>
              <a:gd name="connsiteY10155" fmla="*/ 5884671 h 7458372"/>
              <a:gd name="connsiteX10156" fmla="*/ 492858 w 10505529"/>
              <a:gd name="connsiteY10156" fmla="*/ 5893989 h 7458372"/>
              <a:gd name="connsiteX10157" fmla="*/ 495121 w 10505529"/>
              <a:gd name="connsiteY10157" fmla="*/ 5905437 h 7458372"/>
              <a:gd name="connsiteX10158" fmla="*/ 492858 w 10505529"/>
              <a:gd name="connsiteY10158" fmla="*/ 5917152 h 7458372"/>
              <a:gd name="connsiteX10159" fmla="*/ 486736 w 10505529"/>
              <a:gd name="connsiteY10159" fmla="*/ 5926470 h 7458372"/>
              <a:gd name="connsiteX10160" fmla="*/ 477418 w 10505529"/>
              <a:gd name="connsiteY10160" fmla="*/ 5932727 h 7458372"/>
              <a:gd name="connsiteX10161" fmla="*/ 465703 w 10505529"/>
              <a:gd name="connsiteY10161" fmla="*/ 5934989 h 7458372"/>
              <a:gd name="connsiteX10162" fmla="*/ 443872 w 10505529"/>
              <a:gd name="connsiteY10162" fmla="*/ 5926470 h 7458372"/>
              <a:gd name="connsiteX10163" fmla="*/ 435486 w 10505529"/>
              <a:gd name="connsiteY10163" fmla="*/ 5905304 h 7458372"/>
              <a:gd name="connsiteX10164" fmla="*/ 443872 w 10505529"/>
              <a:gd name="connsiteY10164" fmla="*/ 5884271 h 7458372"/>
              <a:gd name="connsiteX10165" fmla="*/ 465703 w 10505529"/>
              <a:gd name="connsiteY10165" fmla="*/ 5875752 h 7458372"/>
              <a:gd name="connsiteX10166" fmla="*/ 248061 w 10505529"/>
              <a:gd name="connsiteY10166" fmla="*/ 5875752 h 7458372"/>
              <a:gd name="connsiteX10167" fmla="*/ 259776 w 10505529"/>
              <a:gd name="connsiteY10167" fmla="*/ 5878281 h 7458372"/>
              <a:gd name="connsiteX10168" fmla="*/ 269094 w 10505529"/>
              <a:gd name="connsiteY10168" fmla="*/ 5884671 h 7458372"/>
              <a:gd name="connsiteX10169" fmla="*/ 275217 w 10505529"/>
              <a:gd name="connsiteY10169" fmla="*/ 5893989 h 7458372"/>
              <a:gd name="connsiteX10170" fmla="*/ 277480 w 10505529"/>
              <a:gd name="connsiteY10170" fmla="*/ 5905437 h 7458372"/>
              <a:gd name="connsiteX10171" fmla="*/ 275217 w 10505529"/>
              <a:gd name="connsiteY10171" fmla="*/ 5917152 h 7458372"/>
              <a:gd name="connsiteX10172" fmla="*/ 269094 w 10505529"/>
              <a:gd name="connsiteY10172" fmla="*/ 5926470 h 7458372"/>
              <a:gd name="connsiteX10173" fmla="*/ 259776 w 10505529"/>
              <a:gd name="connsiteY10173" fmla="*/ 5932727 h 7458372"/>
              <a:gd name="connsiteX10174" fmla="*/ 248061 w 10505529"/>
              <a:gd name="connsiteY10174" fmla="*/ 5934989 h 7458372"/>
              <a:gd name="connsiteX10175" fmla="*/ 226232 w 10505529"/>
              <a:gd name="connsiteY10175" fmla="*/ 5926470 h 7458372"/>
              <a:gd name="connsiteX10176" fmla="*/ 217847 w 10505529"/>
              <a:gd name="connsiteY10176" fmla="*/ 5905304 h 7458372"/>
              <a:gd name="connsiteX10177" fmla="*/ 226232 w 10505529"/>
              <a:gd name="connsiteY10177" fmla="*/ 5884271 h 7458372"/>
              <a:gd name="connsiteX10178" fmla="*/ 248061 w 10505529"/>
              <a:gd name="connsiteY10178" fmla="*/ 5875752 h 7458372"/>
              <a:gd name="connsiteX10179" fmla="*/ 30420 w 10505529"/>
              <a:gd name="connsiteY10179" fmla="*/ 5875752 h 7458372"/>
              <a:gd name="connsiteX10180" fmla="*/ 42135 w 10505529"/>
              <a:gd name="connsiteY10180" fmla="*/ 5878281 h 7458372"/>
              <a:gd name="connsiteX10181" fmla="*/ 51453 w 10505529"/>
              <a:gd name="connsiteY10181" fmla="*/ 5884671 h 7458372"/>
              <a:gd name="connsiteX10182" fmla="*/ 57577 w 10505529"/>
              <a:gd name="connsiteY10182" fmla="*/ 5893989 h 7458372"/>
              <a:gd name="connsiteX10183" fmla="*/ 59840 w 10505529"/>
              <a:gd name="connsiteY10183" fmla="*/ 5905437 h 7458372"/>
              <a:gd name="connsiteX10184" fmla="*/ 57577 w 10505529"/>
              <a:gd name="connsiteY10184" fmla="*/ 5917152 h 7458372"/>
              <a:gd name="connsiteX10185" fmla="*/ 51453 w 10505529"/>
              <a:gd name="connsiteY10185" fmla="*/ 5926470 h 7458372"/>
              <a:gd name="connsiteX10186" fmla="*/ 42135 w 10505529"/>
              <a:gd name="connsiteY10186" fmla="*/ 5932727 h 7458372"/>
              <a:gd name="connsiteX10187" fmla="*/ 30420 w 10505529"/>
              <a:gd name="connsiteY10187" fmla="*/ 5934989 h 7458372"/>
              <a:gd name="connsiteX10188" fmla="*/ 8593 w 10505529"/>
              <a:gd name="connsiteY10188" fmla="*/ 5926470 h 7458372"/>
              <a:gd name="connsiteX10189" fmla="*/ 207 w 10505529"/>
              <a:gd name="connsiteY10189" fmla="*/ 5905304 h 7458372"/>
              <a:gd name="connsiteX10190" fmla="*/ 8593 w 10505529"/>
              <a:gd name="connsiteY10190" fmla="*/ 5884271 h 7458372"/>
              <a:gd name="connsiteX10191" fmla="*/ 30420 w 10505529"/>
              <a:gd name="connsiteY10191" fmla="*/ 5875752 h 7458372"/>
              <a:gd name="connsiteX10192" fmla="*/ 10475977 w 10505529"/>
              <a:gd name="connsiteY10192" fmla="*/ 5674747 h 7458372"/>
              <a:gd name="connsiteX10193" fmla="*/ 10465992 w 10505529"/>
              <a:gd name="connsiteY10193" fmla="*/ 5678341 h 7458372"/>
              <a:gd name="connsiteX10194" fmla="*/ 10462399 w 10505529"/>
              <a:gd name="connsiteY10194" fmla="*/ 5687792 h 7458372"/>
              <a:gd name="connsiteX10195" fmla="*/ 10465992 w 10505529"/>
              <a:gd name="connsiteY10195" fmla="*/ 5697243 h 7458372"/>
              <a:gd name="connsiteX10196" fmla="*/ 10475977 w 10505529"/>
              <a:gd name="connsiteY10196" fmla="*/ 5700705 h 7458372"/>
              <a:gd name="connsiteX10197" fmla="*/ 10481302 w 10505529"/>
              <a:gd name="connsiteY10197" fmla="*/ 5699773 h 7458372"/>
              <a:gd name="connsiteX10198" fmla="*/ 10485029 w 10505529"/>
              <a:gd name="connsiteY10198" fmla="*/ 5697376 h 7458372"/>
              <a:gd name="connsiteX10199" fmla="*/ 10487691 w 10505529"/>
              <a:gd name="connsiteY10199" fmla="*/ 5693117 h 7458372"/>
              <a:gd name="connsiteX10200" fmla="*/ 10488623 w 10505529"/>
              <a:gd name="connsiteY10200" fmla="*/ 5687659 h 7458372"/>
              <a:gd name="connsiteX10201" fmla="*/ 10487691 w 10505529"/>
              <a:gd name="connsiteY10201" fmla="*/ 5682467 h 7458372"/>
              <a:gd name="connsiteX10202" fmla="*/ 10485029 w 10505529"/>
              <a:gd name="connsiteY10202" fmla="*/ 5678341 h 7458372"/>
              <a:gd name="connsiteX10203" fmla="*/ 10481035 w 10505529"/>
              <a:gd name="connsiteY10203" fmla="*/ 5675678 h 7458372"/>
              <a:gd name="connsiteX10204" fmla="*/ 10475977 w 10505529"/>
              <a:gd name="connsiteY10204" fmla="*/ 5674747 h 7458372"/>
              <a:gd name="connsiteX10205" fmla="*/ 10258466 w 10505529"/>
              <a:gd name="connsiteY10205" fmla="*/ 5674747 h 7458372"/>
              <a:gd name="connsiteX10206" fmla="*/ 10248481 w 10505529"/>
              <a:gd name="connsiteY10206" fmla="*/ 5678341 h 7458372"/>
              <a:gd name="connsiteX10207" fmla="*/ 10244887 w 10505529"/>
              <a:gd name="connsiteY10207" fmla="*/ 5687792 h 7458372"/>
              <a:gd name="connsiteX10208" fmla="*/ 10248481 w 10505529"/>
              <a:gd name="connsiteY10208" fmla="*/ 5697243 h 7458372"/>
              <a:gd name="connsiteX10209" fmla="*/ 10258466 w 10505529"/>
              <a:gd name="connsiteY10209" fmla="*/ 5700705 h 7458372"/>
              <a:gd name="connsiteX10210" fmla="*/ 10263790 w 10505529"/>
              <a:gd name="connsiteY10210" fmla="*/ 5699773 h 7458372"/>
              <a:gd name="connsiteX10211" fmla="*/ 10267517 w 10505529"/>
              <a:gd name="connsiteY10211" fmla="*/ 5697376 h 7458372"/>
              <a:gd name="connsiteX10212" fmla="*/ 10270180 w 10505529"/>
              <a:gd name="connsiteY10212" fmla="*/ 5693117 h 7458372"/>
              <a:gd name="connsiteX10213" fmla="*/ 10271112 w 10505529"/>
              <a:gd name="connsiteY10213" fmla="*/ 5687659 h 7458372"/>
              <a:gd name="connsiteX10214" fmla="*/ 10270180 w 10505529"/>
              <a:gd name="connsiteY10214" fmla="*/ 5682467 h 7458372"/>
              <a:gd name="connsiteX10215" fmla="*/ 10267517 w 10505529"/>
              <a:gd name="connsiteY10215" fmla="*/ 5678341 h 7458372"/>
              <a:gd name="connsiteX10216" fmla="*/ 10263524 w 10505529"/>
              <a:gd name="connsiteY10216" fmla="*/ 5675678 h 7458372"/>
              <a:gd name="connsiteX10217" fmla="*/ 10258466 w 10505529"/>
              <a:gd name="connsiteY10217" fmla="*/ 5674747 h 7458372"/>
              <a:gd name="connsiteX10218" fmla="*/ 10040820 w 10505529"/>
              <a:gd name="connsiteY10218" fmla="*/ 5674747 h 7458372"/>
              <a:gd name="connsiteX10219" fmla="*/ 10030835 w 10505529"/>
              <a:gd name="connsiteY10219" fmla="*/ 5678341 h 7458372"/>
              <a:gd name="connsiteX10220" fmla="*/ 10027242 w 10505529"/>
              <a:gd name="connsiteY10220" fmla="*/ 5687792 h 7458372"/>
              <a:gd name="connsiteX10221" fmla="*/ 10030835 w 10505529"/>
              <a:gd name="connsiteY10221" fmla="*/ 5697243 h 7458372"/>
              <a:gd name="connsiteX10222" fmla="*/ 10040820 w 10505529"/>
              <a:gd name="connsiteY10222" fmla="*/ 5700705 h 7458372"/>
              <a:gd name="connsiteX10223" fmla="*/ 10046145 w 10505529"/>
              <a:gd name="connsiteY10223" fmla="*/ 5699773 h 7458372"/>
              <a:gd name="connsiteX10224" fmla="*/ 10049872 w 10505529"/>
              <a:gd name="connsiteY10224" fmla="*/ 5697376 h 7458372"/>
              <a:gd name="connsiteX10225" fmla="*/ 10052534 w 10505529"/>
              <a:gd name="connsiteY10225" fmla="*/ 5693117 h 7458372"/>
              <a:gd name="connsiteX10226" fmla="*/ 10053599 w 10505529"/>
              <a:gd name="connsiteY10226" fmla="*/ 5687659 h 7458372"/>
              <a:gd name="connsiteX10227" fmla="*/ 10052534 w 10505529"/>
              <a:gd name="connsiteY10227" fmla="*/ 5682467 h 7458372"/>
              <a:gd name="connsiteX10228" fmla="*/ 10049872 w 10505529"/>
              <a:gd name="connsiteY10228" fmla="*/ 5678341 h 7458372"/>
              <a:gd name="connsiteX10229" fmla="*/ 10045878 w 10505529"/>
              <a:gd name="connsiteY10229" fmla="*/ 5675678 h 7458372"/>
              <a:gd name="connsiteX10230" fmla="*/ 10040820 w 10505529"/>
              <a:gd name="connsiteY10230" fmla="*/ 5674747 h 7458372"/>
              <a:gd name="connsiteX10231" fmla="*/ 9823176 w 10505529"/>
              <a:gd name="connsiteY10231" fmla="*/ 5674747 h 7458372"/>
              <a:gd name="connsiteX10232" fmla="*/ 9813191 w 10505529"/>
              <a:gd name="connsiteY10232" fmla="*/ 5678341 h 7458372"/>
              <a:gd name="connsiteX10233" fmla="*/ 9809597 w 10505529"/>
              <a:gd name="connsiteY10233" fmla="*/ 5687792 h 7458372"/>
              <a:gd name="connsiteX10234" fmla="*/ 9813191 w 10505529"/>
              <a:gd name="connsiteY10234" fmla="*/ 5697243 h 7458372"/>
              <a:gd name="connsiteX10235" fmla="*/ 9823176 w 10505529"/>
              <a:gd name="connsiteY10235" fmla="*/ 5700705 h 7458372"/>
              <a:gd name="connsiteX10236" fmla="*/ 9828501 w 10505529"/>
              <a:gd name="connsiteY10236" fmla="*/ 5699773 h 7458372"/>
              <a:gd name="connsiteX10237" fmla="*/ 9832227 w 10505529"/>
              <a:gd name="connsiteY10237" fmla="*/ 5697376 h 7458372"/>
              <a:gd name="connsiteX10238" fmla="*/ 9834890 w 10505529"/>
              <a:gd name="connsiteY10238" fmla="*/ 5693117 h 7458372"/>
              <a:gd name="connsiteX10239" fmla="*/ 9835955 w 10505529"/>
              <a:gd name="connsiteY10239" fmla="*/ 5687659 h 7458372"/>
              <a:gd name="connsiteX10240" fmla="*/ 9834890 w 10505529"/>
              <a:gd name="connsiteY10240" fmla="*/ 5682467 h 7458372"/>
              <a:gd name="connsiteX10241" fmla="*/ 9832227 w 10505529"/>
              <a:gd name="connsiteY10241" fmla="*/ 5678341 h 7458372"/>
              <a:gd name="connsiteX10242" fmla="*/ 9828234 w 10505529"/>
              <a:gd name="connsiteY10242" fmla="*/ 5675678 h 7458372"/>
              <a:gd name="connsiteX10243" fmla="*/ 9823176 w 10505529"/>
              <a:gd name="connsiteY10243" fmla="*/ 5674747 h 7458372"/>
              <a:gd name="connsiteX10244" fmla="*/ 9605531 w 10505529"/>
              <a:gd name="connsiteY10244" fmla="*/ 5674747 h 7458372"/>
              <a:gd name="connsiteX10245" fmla="*/ 9595546 w 10505529"/>
              <a:gd name="connsiteY10245" fmla="*/ 5678341 h 7458372"/>
              <a:gd name="connsiteX10246" fmla="*/ 9591952 w 10505529"/>
              <a:gd name="connsiteY10246" fmla="*/ 5687792 h 7458372"/>
              <a:gd name="connsiteX10247" fmla="*/ 9595546 w 10505529"/>
              <a:gd name="connsiteY10247" fmla="*/ 5697243 h 7458372"/>
              <a:gd name="connsiteX10248" fmla="*/ 9605531 w 10505529"/>
              <a:gd name="connsiteY10248" fmla="*/ 5700705 h 7458372"/>
              <a:gd name="connsiteX10249" fmla="*/ 9610855 w 10505529"/>
              <a:gd name="connsiteY10249" fmla="*/ 5699773 h 7458372"/>
              <a:gd name="connsiteX10250" fmla="*/ 9614582 w 10505529"/>
              <a:gd name="connsiteY10250" fmla="*/ 5697376 h 7458372"/>
              <a:gd name="connsiteX10251" fmla="*/ 9617245 w 10505529"/>
              <a:gd name="connsiteY10251" fmla="*/ 5693117 h 7458372"/>
              <a:gd name="connsiteX10252" fmla="*/ 9618309 w 10505529"/>
              <a:gd name="connsiteY10252" fmla="*/ 5687659 h 7458372"/>
              <a:gd name="connsiteX10253" fmla="*/ 9617245 w 10505529"/>
              <a:gd name="connsiteY10253" fmla="*/ 5682467 h 7458372"/>
              <a:gd name="connsiteX10254" fmla="*/ 9614582 w 10505529"/>
              <a:gd name="connsiteY10254" fmla="*/ 5678341 h 7458372"/>
              <a:gd name="connsiteX10255" fmla="*/ 9610589 w 10505529"/>
              <a:gd name="connsiteY10255" fmla="*/ 5675678 h 7458372"/>
              <a:gd name="connsiteX10256" fmla="*/ 9605531 w 10505529"/>
              <a:gd name="connsiteY10256" fmla="*/ 5674747 h 7458372"/>
              <a:gd name="connsiteX10257" fmla="*/ 9387885 w 10505529"/>
              <a:gd name="connsiteY10257" fmla="*/ 5674747 h 7458372"/>
              <a:gd name="connsiteX10258" fmla="*/ 9377900 w 10505529"/>
              <a:gd name="connsiteY10258" fmla="*/ 5678341 h 7458372"/>
              <a:gd name="connsiteX10259" fmla="*/ 9374307 w 10505529"/>
              <a:gd name="connsiteY10259" fmla="*/ 5687792 h 7458372"/>
              <a:gd name="connsiteX10260" fmla="*/ 9377900 w 10505529"/>
              <a:gd name="connsiteY10260" fmla="*/ 5697243 h 7458372"/>
              <a:gd name="connsiteX10261" fmla="*/ 9387885 w 10505529"/>
              <a:gd name="connsiteY10261" fmla="*/ 5700705 h 7458372"/>
              <a:gd name="connsiteX10262" fmla="*/ 9393210 w 10505529"/>
              <a:gd name="connsiteY10262" fmla="*/ 5699773 h 7458372"/>
              <a:gd name="connsiteX10263" fmla="*/ 9396937 w 10505529"/>
              <a:gd name="connsiteY10263" fmla="*/ 5697376 h 7458372"/>
              <a:gd name="connsiteX10264" fmla="*/ 9399599 w 10505529"/>
              <a:gd name="connsiteY10264" fmla="*/ 5693117 h 7458372"/>
              <a:gd name="connsiteX10265" fmla="*/ 9400664 w 10505529"/>
              <a:gd name="connsiteY10265" fmla="*/ 5687659 h 7458372"/>
              <a:gd name="connsiteX10266" fmla="*/ 9399599 w 10505529"/>
              <a:gd name="connsiteY10266" fmla="*/ 5682467 h 7458372"/>
              <a:gd name="connsiteX10267" fmla="*/ 9396937 w 10505529"/>
              <a:gd name="connsiteY10267" fmla="*/ 5678341 h 7458372"/>
              <a:gd name="connsiteX10268" fmla="*/ 9392943 w 10505529"/>
              <a:gd name="connsiteY10268" fmla="*/ 5675678 h 7458372"/>
              <a:gd name="connsiteX10269" fmla="*/ 9387885 w 10505529"/>
              <a:gd name="connsiteY10269" fmla="*/ 5674747 h 7458372"/>
              <a:gd name="connsiteX10270" fmla="*/ 9170374 w 10505529"/>
              <a:gd name="connsiteY10270" fmla="*/ 5674747 h 7458372"/>
              <a:gd name="connsiteX10271" fmla="*/ 9160389 w 10505529"/>
              <a:gd name="connsiteY10271" fmla="*/ 5678341 h 7458372"/>
              <a:gd name="connsiteX10272" fmla="*/ 9156795 w 10505529"/>
              <a:gd name="connsiteY10272" fmla="*/ 5687792 h 7458372"/>
              <a:gd name="connsiteX10273" fmla="*/ 9160389 w 10505529"/>
              <a:gd name="connsiteY10273" fmla="*/ 5697243 h 7458372"/>
              <a:gd name="connsiteX10274" fmla="*/ 9170374 w 10505529"/>
              <a:gd name="connsiteY10274" fmla="*/ 5700705 h 7458372"/>
              <a:gd name="connsiteX10275" fmla="*/ 9175698 w 10505529"/>
              <a:gd name="connsiteY10275" fmla="*/ 5699773 h 7458372"/>
              <a:gd name="connsiteX10276" fmla="*/ 9179425 w 10505529"/>
              <a:gd name="connsiteY10276" fmla="*/ 5697376 h 7458372"/>
              <a:gd name="connsiteX10277" fmla="*/ 9182088 w 10505529"/>
              <a:gd name="connsiteY10277" fmla="*/ 5693117 h 7458372"/>
              <a:gd name="connsiteX10278" fmla="*/ 9183152 w 10505529"/>
              <a:gd name="connsiteY10278" fmla="*/ 5687659 h 7458372"/>
              <a:gd name="connsiteX10279" fmla="*/ 9182088 w 10505529"/>
              <a:gd name="connsiteY10279" fmla="*/ 5682467 h 7458372"/>
              <a:gd name="connsiteX10280" fmla="*/ 9179425 w 10505529"/>
              <a:gd name="connsiteY10280" fmla="*/ 5678341 h 7458372"/>
              <a:gd name="connsiteX10281" fmla="*/ 9175432 w 10505529"/>
              <a:gd name="connsiteY10281" fmla="*/ 5675678 h 7458372"/>
              <a:gd name="connsiteX10282" fmla="*/ 9170374 w 10505529"/>
              <a:gd name="connsiteY10282" fmla="*/ 5674747 h 7458372"/>
              <a:gd name="connsiteX10283" fmla="*/ 8952728 w 10505529"/>
              <a:gd name="connsiteY10283" fmla="*/ 5674747 h 7458372"/>
              <a:gd name="connsiteX10284" fmla="*/ 8942743 w 10505529"/>
              <a:gd name="connsiteY10284" fmla="*/ 5678341 h 7458372"/>
              <a:gd name="connsiteX10285" fmla="*/ 8939150 w 10505529"/>
              <a:gd name="connsiteY10285" fmla="*/ 5687792 h 7458372"/>
              <a:gd name="connsiteX10286" fmla="*/ 8942743 w 10505529"/>
              <a:gd name="connsiteY10286" fmla="*/ 5697243 h 7458372"/>
              <a:gd name="connsiteX10287" fmla="*/ 8952728 w 10505529"/>
              <a:gd name="connsiteY10287" fmla="*/ 5700705 h 7458372"/>
              <a:gd name="connsiteX10288" fmla="*/ 8958053 w 10505529"/>
              <a:gd name="connsiteY10288" fmla="*/ 5699773 h 7458372"/>
              <a:gd name="connsiteX10289" fmla="*/ 8961780 w 10505529"/>
              <a:gd name="connsiteY10289" fmla="*/ 5697376 h 7458372"/>
              <a:gd name="connsiteX10290" fmla="*/ 8964442 w 10505529"/>
              <a:gd name="connsiteY10290" fmla="*/ 5693117 h 7458372"/>
              <a:gd name="connsiteX10291" fmla="*/ 8965507 w 10505529"/>
              <a:gd name="connsiteY10291" fmla="*/ 5687659 h 7458372"/>
              <a:gd name="connsiteX10292" fmla="*/ 8964442 w 10505529"/>
              <a:gd name="connsiteY10292" fmla="*/ 5682467 h 7458372"/>
              <a:gd name="connsiteX10293" fmla="*/ 8961780 w 10505529"/>
              <a:gd name="connsiteY10293" fmla="*/ 5678341 h 7458372"/>
              <a:gd name="connsiteX10294" fmla="*/ 8957786 w 10505529"/>
              <a:gd name="connsiteY10294" fmla="*/ 5675678 h 7458372"/>
              <a:gd name="connsiteX10295" fmla="*/ 8952728 w 10505529"/>
              <a:gd name="connsiteY10295" fmla="*/ 5674747 h 7458372"/>
              <a:gd name="connsiteX10296" fmla="*/ 8735083 w 10505529"/>
              <a:gd name="connsiteY10296" fmla="*/ 5674747 h 7458372"/>
              <a:gd name="connsiteX10297" fmla="*/ 8725098 w 10505529"/>
              <a:gd name="connsiteY10297" fmla="*/ 5678341 h 7458372"/>
              <a:gd name="connsiteX10298" fmla="*/ 8721504 w 10505529"/>
              <a:gd name="connsiteY10298" fmla="*/ 5687792 h 7458372"/>
              <a:gd name="connsiteX10299" fmla="*/ 8725098 w 10505529"/>
              <a:gd name="connsiteY10299" fmla="*/ 5697243 h 7458372"/>
              <a:gd name="connsiteX10300" fmla="*/ 8735083 w 10505529"/>
              <a:gd name="connsiteY10300" fmla="*/ 5700705 h 7458372"/>
              <a:gd name="connsiteX10301" fmla="*/ 8740407 w 10505529"/>
              <a:gd name="connsiteY10301" fmla="*/ 5699773 h 7458372"/>
              <a:gd name="connsiteX10302" fmla="*/ 8744134 w 10505529"/>
              <a:gd name="connsiteY10302" fmla="*/ 5697376 h 7458372"/>
              <a:gd name="connsiteX10303" fmla="*/ 8746797 w 10505529"/>
              <a:gd name="connsiteY10303" fmla="*/ 5693117 h 7458372"/>
              <a:gd name="connsiteX10304" fmla="*/ 8747862 w 10505529"/>
              <a:gd name="connsiteY10304" fmla="*/ 5687659 h 7458372"/>
              <a:gd name="connsiteX10305" fmla="*/ 8746797 w 10505529"/>
              <a:gd name="connsiteY10305" fmla="*/ 5682467 h 7458372"/>
              <a:gd name="connsiteX10306" fmla="*/ 8744134 w 10505529"/>
              <a:gd name="connsiteY10306" fmla="*/ 5678341 h 7458372"/>
              <a:gd name="connsiteX10307" fmla="*/ 8740141 w 10505529"/>
              <a:gd name="connsiteY10307" fmla="*/ 5675678 h 7458372"/>
              <a:gd name="connsiteX10308" fmla="*/ 8735083 w 10505529"/>
              <a:gd name="connsiteY10308" fmla="*/ 5674747 h 7458372"/>
              <a:gd name="connsiteX10309" fmla="*/ 8517438 w 10505529"/>
              <a:gd name="connsiteY10309" fmla="*/ 5674747 h 7458372"/>
              <a:gd name="connsiteX10310" fmla="*/ 8507453 w 10505529"/>
              <a:gd name="connsiteY10310" fmla="*/ 5678341 h 7458372"/>
              <a:gd name="connsiteX10311" fmla="*/ 8503860 w 10505529"/>
              <a:gd name="connsiteY10311" fmla="*/ 5687792 h 7458372"/>
              <a:gd name="connsiteX10312" fmla="*/ 8507453 w 10505529"/>
              <a:gd name="connsiteY10312" fmla="*/ 5697243 h 7458372"/>
              <a:gd name="connsiteX10313" fmla="*/ 8517438 w 10505529"/>
              <a:gd name="connsiteY10313" fmla="*/ 5700705 h 7458372"/>
              <a:gd name="connsiteX10314" fmla="*/ 8522763 w 10505529"/>
              <a:gd name="connsiteY10314" fmla="*/ 5699773 h 7458372"/>
              <a:gd name="connsiteX10315" fmla="*/ 8526490 w 10505529"/>
              <a:gd name="connsiteY10315" fmla="*/ 5697376 h 7458372"/>
              <a:gd name="connsiteX10316" fmla="*/ 8529152 w 10505529"/>
              <a:gd name="connsiteY10316" fmla="*/ 5693117 h 7458372"/>
              <a:gd name="connsiteX10317" fmla="*/ 8530084 w 10505529"/>
              <a:gd name="connsiteY10317" fmla="*/ 5687659 h 7458372"/>
              <a:gd name="connsiteX10318" fmla="*/ 8529152 w 10505529"/>
              <a:gd name="connsiteY10318" fmla="*/ 5682467 h 7458372"/>
              <a:gd name="connsiteX10319" fmla="*/ 8526490 w 10505529"/>
              <a:gd name="connsiteY10319" fmla="*/ 5678341 h 7458372"/>
              <a:gd name="connsiteX10320" fmla="*/ 8522496 w 10505529"/>
              <a:gd name="connsiteY10320" fmla="*/ 5675678 h 7458372"/>
              <a:gd name="connsiteX10321" fmla="*/ 8517438 w 10505529"/>
              <a:gd name="connsiteY10321" fmla="*/ 5674747 h 7458372"/>
              <a:gd name="connsiteX10322" fmla="*/ 8299793 w 10505529"/>
              <a:gd name="connsiteY10322" fmla="*/ 5674747 h 7458372"/>
              <a:gd name="connsiteX10323" fmla="*/ 8289809 w 10505529"/>
              <a:gd name="connsiteY10323" fmla="*/ 5678341 h 7458372"/>
              <a:gd name="connsiteX10324" fmla="*/ 8286215 w 10505529"/>
              <a:gd name="connsiteY10324" fmla="*/ 5687792 h 7458372"/>
              <a:gd name="connsiteX10325" fmla="*/ 8289809 w 10505529"/>
              <a:gd name="connsiteY10325" fmla="*/ 5697243 h 7458372"/>
              <a:gd name="connsiteX10326" fmla="*/ 8299793 w 10505529"/>
              <a:gd name="connsiteY10326" fmla="*/ 5700705 h 7458372"/>
              <a:gd name="connsiteX10327" fmla="*/ 8305118 w 10505529"/>
              <a:gd name="connsiteY10327" fmla="*/ 5699773 h 7458372"/>
              <a:gd name="connsiteX10328" fmla="*/ 8308844 w 10505529"/>
              <a:gd name="connsiteY10328" fmla="*/ 5697376 h 7458372"/>
              <a:gd name="connsiteX10329" fmla="*/ 8311507 w 10505529"/>
              <a:gd name="connsiteY10329" fmla="*/ 5693117 h 7458372"/>
              <a:gd name="connsiteX10330" fmla="*/ 8312439 w 10505529"/>
              <a:gd name="connsiteY10330" fmla="*/ 5687659 h 7458372"/>
              <a:gd name="connsiteX10331" fmla="*/ 8311507 w 10505529"/>
              <a:gd name="connsiteY10331" fmla="*/ 5682467 h 7458372"/>
              <a:gd name="connsiteX10332" fmla="*/ 8308844 w 10505529"/>
              <a:gd name="connsiteY10332" fmla="*/ 5678341 h 7458372"/>
              <a:gd name="connsiteX10333" fmla="*/ 8304851 w 10505529"/>
              <a:gd name="connsiteY10333" fmla="*/ 5675678 h 7458372"/>
              <a:gd name="connsiteX10334" fmla="*/ 8299793 w 10505529"/>
              <a:gd name="connsiteY10334" fmla="*/ 5674747 h 7458372"/>
              <a:gd name="connsiteX10335" fmla="*/ 8082281 w 10505529"/>
              <a:gd name="connsiteY10335" fmla="*/ 5674747 h 7458372"/>
              <a:gd name="connsiteX10336" fmla="*/ 8072297 w 10505529"/>
              <a:gd name="connsiteY10336" fmla="*/ 5678341 h 7458372"/>
              <a:gd name="connsiteX10337" fmla="*/ 8068703 w 10505529"/>
              <a:gd name="connsiteY10337" fmla="*/ 5687792 h 7458372"/>
              <a:gd name="connsiteX10338" fmla="*/ 8072297 w 10505529"/>
              <a:gd name="connsiteY10338" fmla="*/ 5697243 h 7458372"/>
              <a:gd name="connsiteX10339" fmla="*/ 8082281 w 10505529"/>
              <a:gd name="connsiteY10339" fmla="*/ 5700705 h 7458372"/>
              <a:gd name="connsiteX10340" fmla="*/ 8087605 w 10505529"/>
              <a:gd name="connsiteY10340" fmla="*/ 5699773 h 7458372"/>
              <a:gd name="connsiteX10341" fmla="*/ 8091332 w 10505529"/>
              <a:gd name="connsiteY10341" fmla="*/ 5697376 h 7458372"/>
              <a:gd name="connsiteX10342" fmla="*/ 8093994 w 10505529"/>
              <a:gd name="connsiteY10342" fmla="*/ 5693117 h 7458372"/>
              <a:gd name="connsiteX10343" fmla="*/ 8094926 w 10505529"/>
              <a:gd name="connsiteY10343" fmla="*/ 5687659 h 7458372"/>
              <a:gd name="connsiteX10344" fmla="*/ 8093994 w 10505529"/>
              <a:gd name="connsiteY10344" fmla="*/ 5682467 h 7458372"/>
              <a:gd name="connsiteX10345" fmla="*/ 8091332 w 10505529"/>
              <a:gd name="connsiteY10345" fmla="*/ 5678341 h 7458372"/>
              <a:gd name="connsiteX10346" fmla="*/ 8087338 w 10505529"/>
              <a:gd name="connsiteY10346" fmla="*/ 5675678 h 7458372"/>
              <a:gd name="connsiteX10347" fmla="*/ 8082281 w 10505529"/>
              <a:gd name="connsiteY10347" fmla="*/ 5674747 h 7458372"/>
              <a:gd name="connsiteX10348" fmla="*/ 7864636 w 10505529"/>
              <a:gd name="connsiteY10348" fmla="*/ 5674747 h 7458372"/>
              <a:gd name="connsiteX10349" fmla="*/ 7854652 w 10505529"/>
              <a:gd name="connsiteY10349" fmla="*/ 5678341 h 7458372"/>
              <a:gd name="connsiteX10350" fmla="*/ 7851058 w 10505529"/>
              <a:gd name="connsiteY10350" fmla="*/ 5687792 h 7458372"/>
              <a:gd name="connsiteX10351" fmla="*/ 7854652 w 10505529"/>
              <a:gd name="connsiteY10351" fmla="*/ 5697243 h 7458372"/>
              <a:gd name="connsiteX10352" fmla="*/ 7864636 w 10505529"/>
              <a:gd name="connsiteY10352" fmla="*/ 5700705 h 7458372"/>
              <a:gd name="connsiteX10353" fmla="*/ 7869961 w 10505529"/>
              <a:gd name="connsiteY10353" fmla="*/ 5699773 h 7458372"/>
              <a:gd name="connsiteX10354" fmla="*/ 7873687 w 10505529"/>
              <a:gd name="connsiteY10354" fmla="*/ 5697376 h 7458372"/>
              <a:gd name="connsiteX10355" fmla="*/ 7876350 w 10505529"/>
              <a:gd name="connsiteY10355" fmla="*/ 5693117 h 7458372"/>
              <a:gd name="connsiteX10356" fmla="*/ 7877282 w 10505529"/>
              <a:gd name="connsiteY10356" fmla="*/ 5687659 h 7458372"/>
              <a:gd name="connsiteX10357" fmla="*/ 7876350 w 10505529"/>
              <a:gd name="connsiteY10357" fmla="*/ 5682467 h 7458372"/>
              <a:gd name="connsiteX10358" fmla="*/ 7873687 w 10505529"/>
              <a:gd name="connsiteY10358" fmla="*/ 5678341 h 7458372"/>
              <a:gd name="connsiteX10359" fmla="*/ 7869694 w 10505529"/>
              <a:gd name="connsiteY10359" fmla="*/ 5675678 h 7458372"/>
              <a:gd name="connsiteX10360" fmla="*/ 7864636 w 10505529"/>
              <a:gd name="connsiteY10360" fmla="*/ 5674747 h 7458372"/>
              <a:gd name="connsiteX10361" fmla="*/ 7646991 w 10505529"/>
              <a:gd name="connsiteY10361" fmla="*/ 5674747 h 7458372"/>
              <a:gd name="connsiteX10362" fmla="*/ 7637007 w 10505529"/>
              <a:gd name="connsiteY10362" fmla="*/ 5678341 h 7458372"/>
              <a:gd name="connsiteX10363" fmla="*/ 7633413 w 10505529"/>
              <a:gd name="connsiteY10363" fmla="*/ 5687792 h 7458372"/>
              <a:gd name="connsiteX10364" fmla="*/ 7637007 w 10505529"/>
              <a:gd name="connsiteY10364" fmla="*/ 5697243 h 7458372"/>
              <a:gd name="connsiteX10365" fmla="*/ 7646991 w 10505529"/>
              <a:gd name="connsiteY10365" fmla="*/ 5700705 h 7458372"/>
              <a:gd name="connsiteX10366" fmla="*/ 7652315 w 10505529"/>
              <a:gd name="connsiteY10366" fmla="*/ 5699773 h 7458372"/>
              <a:gd name="connsiteX10367" fmla="*/ 7656042 w 10505529"/>
              <a:gd name="connsiteY10367" fmla="*/ 5697376 h 7458372"/>
              <a:gd name="connsiteX10368" fmla="*/ 7658705 w 10505529"/>
              <a:gd name="connsiteY10368" fmla="*/ 5693117 h 7458372"/>
              <a:gd name="connsiteX10369" fmla="*/ 7659769 w 10505529"/>
              <a:gd name="connsiteY10369" fmla="*/ 5687659 h 7458372"/>
              <a:gd name="connsiteX10370" fmla="*/ 7658705 w 10505529"/>
              <a:gd name="connsiteY10370" fmla="*/ 5682467 h 7458372"/>
              <a:gd name="connsiteX10371" fmla="*/ 7656042 w 10505529"/>
              <a:gd name="connsiteY10371" fmla="*/ 5678341 h 7458372"/>
              <a:gd name="connsiteX10372" fmla="*/ 7652049 w 10505529"/>
              <a:gd name="connsiteY10372" fmla="*/ 5675678 h 7458372"/>
              <a:gd name="connsiteX10373" fmla="*/ 7646991 w 10505529"/>
              <a:gd name="connsiteY10373" fmla="*/ 5674747 h 7458372"/>
              <a:gd name="connsiteX10374" fmla="*/ 7429345 w 10505529"/>
              <a:gd name="connsiteY10374" fmla="*/ 5674747 h 7458372"/>
              <a:gd name="connsiteX10375" fmla="*/ 7419361 w 10505529"/>
              <a:gd name="connsiteY10375" fmla="*/ 5678341 h 7458372"/>
              <a:gd name="connsiteX10376" fmla="*/ 7415768 w 10505529"/>
              <a:gd name="connsiteY10376" fmla="*/ 5687792 h 7458372"/>
              <a:gd name="connsiteX10377" fmla="*/ 7419361 w 10505529"/>
              <a:gd name="connsiteY10377" fmla="*/ 5697243 h 7458372"/>
              <a:gd name="connsiteX10378" fmla="*/ 7429345 w 10505529"/>
              <a:gd name="connsiteY10378" fmla="*/ 5700705 h 7458372"/>
              <a:gd name="connsiteX10379" fmla="*/ 7434670 w 10505529"/>
              <a:gd name="connsiteY10379" fmla="*/ 5699773 h 7458372"/>
              <a:gd name="connsiteX10380" fmla="*/ 7438397 w 10505529"/>
              <a:gd name="connsiteY10380" fmla="*/ 5697376 h 7458372"/>
              <a:gd name="connsiteX10381" fmla="*/ 7441059 w 10505529"/>
              <a:gd name="connsiteY10381" fmla="*/ 5693117 h 7458372"/>
              <a:gd name="connsiteX10382" fmla="*/ 7442124 w 10505529"/>
              <a:gd name="connsiteY10382" fmla="*/ 5687659 h 7458372"/>
              <a:gd name="connsiteX10383" fmla="*/ 7441059 w 10505529"/>
              <a:gd name="connsiteY10383" fmla="*/ 5682467 h 7458372"/>
              <a:gd name="connsiteX10384" fmla="*/ 7438397 w 10505529"/>
              <a:gd name="connsiteY10384" fmla="*/ 5678341 h 7458372"/>
              <a:gd name="connsiteX10385" fmla="*/ 7434403 w 10505529"/>
              <a:gd name="connsiteY10385" fmla="*/ 5675678 h 7458372"/>
              <a:gd name="connsiteX10386" fmla="*/ 7429345 w 10505529"/>
              <a:gd name="connsiteY10386" fmla="*/ 5674747 h 7458372"/>
              <a:gd name="connsiteX10387" fmla="*/ 7211701 w 10505529"/>
              <a:gd name="connsiteY10387" fmla="*/ 5674747 h 7458372"/>
              <a:gd name="connsiteX10388" fmla="*/ 7201717 w 10505529"/>
              <a:gd name="connsiteY10388" fmla="*/ 5678341 h 7458372"/>
              <a:gd name="connsiteX10389" fmla="*/ 7198123 w 10505529"/>
              <a:gd name="connsiteY10389" fmla="*/ 5687792 h 7458372"/>
              <a:gd name="connsiteX10390" fmla="*/ 7201717 w 10505529"/>
              <a:gd name="connsiteY10390" fmla="*/ 5697243 h 7458372"/>
              <a:gd name="connsiteX10391" fmla="*/ 7211701 w 10505529"/>
              <a:gd name="connsiteY10391" fmla="*/ 5700705 h 7458372"/>
              <a:gd name="connsiteX10392" fmla="*/ 7217026 w 10505529"/>
              <a:gd name="connsiteY10392" fmla="*/ 5699773 h 7458372"/>
              <a:gd name="connsiteX10393" fmla="*/ 7220752 w 10505529"/>
              <a:gd name="connsiteY10393" fmla="*/ 5697376 h 7458372"/>
              <a:gd name="connsiteX10394" fmla="*/ 7223415 w 10505529"/>
              <a:gd name="connsiteY10394" fmla="*/ 5693117 h 7458372"/>
              <a:gd name="connsiteX10395" fmla="*/ 7224480 w 10505529"/>
              <a:gd name="connsiteY10395" fmla="*/ 5687659 h 7458372"/>
              <a:gd name="connsiteX10396" fmla="*/ 7223415 w 10505529"/>
              <a:gd name="connsiteY10396" fmla="*/ 5682467 h 7458372"/>
              <a:gd name="connsiteX10397" fmla="*/ 7220752 w 10505529"/>
              <a:gd name="connsiteY10397" fmla="*/ 5678341 h 7458372"/>
              <a:gd name="connsiteX10398" fmla="*/ 7216759 w 10505529"/>
              <a:gd name="connsiteY10398" fmla="*/ 5675678 h 7458372"/>
              <a:gd name="connsiteX10399" fmla="*/ 7211701 w 10505529"/>
              <a:gd name="connsiteY10399" fmla="*/ 5674747 h 7458372"/>
              <a:gd name="connsiteX10400" fmla="*/ 6994056 w 10505529"/>
              <a:gd name="connsiteY10400" fmla="*/ 5674747 h 7458372"/>
              <a:gd name="connsiteX10401" fmla="*/ 6984072 w 10505529"/>
              <a:gd name="connsiteY10401" fmla="*/ 5678341 h 7458372"/>
              <a:gd name="connsiteX10402" fmla="*/ 6980478 w 10505529"/>
              <a:gd name="connsiteY10402" fmla="*/ 5687792 h 7458372"/>
              <a:gd name="connsiteX10403" fmla="*/ 6984072 w 10505529"/>
              <a:gd name="connsiteY10403" fmla="*/ 5697243 h 7458372"/>
              <a:gd name="connsiteX10404" fmla="*/ 6994056 w 10505529"/>
              <a:gd name="connsiteY10404" fmla="*/ 5700705 h 7458372"/>
              <a:gd name="connsiteX10405" fmla="*/ 6999380 w 10505529"/>
              <a:gd name="connsiteY10405" fmla="*/ 5699773 h 7458372"/>
              <a:gd name="connsiteX10406" fmla="*/ 7003107 w 10505529"/>
              <a:gd name="connsiteY10406" fmla="*/ 5697376 h 7458372"/>
              <a:gd name="connsiteX10407" fmla="*/ 7005769 w 10505529"/>
              <a:gd name="connsiteY10407" fmla="*/ 5693117 h 7458372"/>
              <a:gd name="connsiteX10408" fmla="*/ 7006834 w 10505529"/>
              <a:gd name="connsiteY10408" fmla="*/ 5687659 h 7458372"/>
              <a:gd name="connsiteX10409" fmla="*/ 7005769 w 10505529"/>
              <a:gd name="connsiteY10409" fmla="*/ 5682467 h 7458372"/>
              <a:gd name="connsiteX10410" fmla="*/ 7003107 w 10505529"/>
              <a:gd name="connsiteY10410" fmla="*/ 5678341 h 7458372"/>
              <a:gd name="connsiteX10411" fmla="*/ 6999113 w 10505529"/>
              <a:gd name="connsiteY10411" fmla="*/ 5675678 h 7458372"/>
              <a:gd name="connsiteX10412" fmla="*/ 6994056 w 10505529"/>
              <a:gd name="connsiteY10412" fmla="*/ 5674747 h 7458372"/>
              <a:gd name="connsiteX10413" fmla="*/ 6776544 w 10505529"/>
              <a:gd name="connsiteY10413" fmla="*/ 5674747 h 7458372"/>
              <a:gd name="connsiteX10414" fmla="*/ 6766560 w 10505529"/>
              <a:gd name="connsiteY10414" fmla="*/ 5678341 h 7458372"/>
              <a:gd name="connsiteX10415" fmla="*/ 6762966 w 10505529"/>
              <a:gd name="connsiteY10415" fmla="*/ 5687792 h 7458372"/>
              <a:gd name="connsiteX10416" fmla="*/ 6766560 w 10505529"/>
              <a:gd name="connsiteY10416" fmla="*/ 5697243 h 7458372"/>
              <a:gd name="connsiteX10417" fmla="*/ 6776544 w 10505529"/>
              <a:gd name="connsiteY10417" fmla="*/ 5700705 h 7458372"/>
              <a:gd name="connsiteX10418" fmla="*/ 6781869 w 10505529"/>
              <a:gd name="connsiteY10418" fmla="*/ 5699773 h 7458372"/>
              <a:gd name="connsiteX10419" fmla="*/ 6785595 w 10505529"/>
              <a:gd name="connsiteY10419" fmla="*/ 5697376 h 7458372"/>
              <a:gd name="connsiteX10420" fmla="*/ 6788258 w 10505529"/>
              <a:gd name="connsiteY10420" fmla="*/ 5693117 h 7458372"/>
              <a:gd name="connsiteX10421" fmla="*/ 6789323 w 10505529"/>
              <a:gd name="connsiteY10421" fmla="*/ 5687659 h 7458372"/>
              <a:gd name="connsiteX10422" fmla="*/ 6788258 w 10505529"/>
              <a:gd name="connsiteY10422" fmla="*/ 5682467 h 7458372"/>
              <a:gd name="connsiteX10423" fmla="*/ 6785595 w 10505529"/>
              <a:gd name="connsiteY10423" fmla="*/ 5678341 h 7458372"/>
              <a:gd name="connsiteX10424" fmla="*/ 6781602 w 10505529"/>
              <a:gd name="connsiteY10424" fmla="*/ 5675678 h 7458372"/>
              <a:gd name="connsiteX10425" fmla="*/ 6776544 w 10505529"/>
              <a:gd name="connsiteY10425" fmla="*/ 5674747 h 7458372"/>
              <a:gd name="connsiteX10426" fmla="*/ 6558899 w 10505529"/>
              <a:gd name="connsiteY10426" fmla="*/ 5674747 h 7458372"/>
              <a:gd name="connsiteX10427" fmla="*/ 6548915 w 10505529"/>
              <a:gd name="connsiteY10427" fmla="*/ 5678341 h 7458372"/>
              <a:gd name="connsiteX10428" fmla="*/ 6545321 w 10505529"/>
              <a:gd name="connsiteY10428" fmla="*/ 5687792 h 7458372"/>
              <a:gd name="connsiteX10429" fmla="*/ 6548915 w 10505529"/>
              <a:gd name="connsiteY10429" fmla="*/ 5697243 h 7458372"/>
              <a:gd name="connsiteX10430" fmla="*/ 6558899 w 10505529"/>
              <a:gd name="connsiteY10430" fmla="*/ 5700705 h 7458372"/>
              <a:gd name="connsiteX10431" fmla="*/ 6564223 w 10505529"/>
              <a:gd name="connsiteY10431" fmla="*/ 5699773 h 7458372"/>
              <a:gd name="connsiteX10432" fmla="*/ 6567950 w 10505529"/>
              <a:gd name="connsiteY10432" fmla="*/ 5697376 h 7458372"/>
              <a:gd name="connsiteX10433" fmla="*/ 6570612 w 10505529"/>
              <a:gd name="connsiteY10433" fmla="*/ 5693117 h 7458372"/>
              <a:gd name="connsiteX10434" fmla="*/ 6571677 w 10505529"/>
              <a:gd name="connsiteY10434" fmla="*/ 5687659 h 7458372"/>
              <a:gd name="connsiteX10435" fmla="*/ 6570612 w 10505529"/>
              <a:gd name="connsiteY10435" fmla="*/ 5682467 h 7458372"/>
              <a:gd name="connsiteX10436" fmla="*/ 6567950 w 10505529"/>
              <a:gd name="connsiteY10436" fmla="*/ 5678341 h 7458372"/>
              <a:gd name="connsiteX10437" fmla="*/ 6563956 w 10505529"/>
              <a:gd name="connsiteY10437" fmla="*/ 5675678 h 7458372"/>
              <a:gd name="connsiteX10438" fmla="*/ 6558899 w 10505529"/>
              <a:gd name="connsiteY10438" fmla="*/ 5674747 h 7458372"/>
              <a:gd name="connsiteX10439" fmla="*/ 6341253 w 10505529"/>
              <a:gd name="connsiteY10439" fmla="*/ 5674747 h 7458372"/>
              <a:gd name="connsiteX10440" fmla="*/ 6331270 w 10505529"/>
              <a:gd name="connsiteY10440" fmla="*/ 5678341 h 7458372"/>
              <a:gd name="connsiteX10441" fmla="*/ 6327675 w 10505529"/>
              <a:gd name="connsiteY10441" fmla="*/ 5687792 h 7458372"/>
              <a:gd name="connsiteX10442" fmla="*/ 6331270 w 10505529"/>
              <a:gd name="connsiteY10442" fmla="*/ 5697243 h 7458372"/>
              <a:gd name="connsiteX10443" fmla="*/ 6341253 w 10505529"/>
              <a:gd name="connsiteY10443" fmla="*/ 5700705 h 7458372"/>
              <a:gd name="connsiteX10444" fmla="*/ 6346578 w 10505529"/>
              <a:gd name="connsiteY10444" fmla="*/ 5699773 h 7458372"/>
              <a:gd name="connsiteX10445" fmla="*/ 6350305 w 10505529"/>
              <a:gd name="connsiteY10445" fmla="*/ 5697376 h 7458372"/>
              <a:gd name="connsiteX10446" fmla="*/ 6352968 w 10505529"/>
              <a:gd name="connsiteY10446" fmla="*/ 5693117 h 7458372"/>
              <a:gd name="connsiteX10447" fmla="*/ 6354033 w 10505529"/>
              <a:gd name="connsiteY10447" fmla="*/ 5687659 h 7458372"/>
              <a:gd name="connsiteX10448" fmla="*/ 6352968 w 10505529"/>
              <a:gd name="connsiteY10448" fmla="*/ 5682467 h 7458372"/>
              <a:gd name="connsiteX10449" fmla="*/ 6350305 w 10505529"/>
              <a:gd name="connsiteY10449" fmla="*/ 5678341 h 7458372"/>
              <a:gd name="connsiteX10450" fmla="*/ 6346312 w 10505529"/>
              <a:gd name="connsiteY10450" fmla="*/ 5675678 h 7458372"/>
              <a:gd name="connsiteX10451" fmla="*/ 6341253 w 10505529"/>
              <a:gd name="connsiteY10451" fmla="*/ 5674747 h 7458372"/>
              <a:gd name="connsiteX10452" fmla="*/ 6123608 w 10505529"/>
              <a:gd name="connsiteY10452" fmla="*/ 5674747 h 7458372"/>
              <a:gd name="connsiteX10453" fmla="*/ 6113624 w 10505529"/>
              <a:gd name="connsiteY10453" fmla="*/ 5678341 h 7458372"/>
              <a:gd name="connsiteX10454" fmla="*/ 6110030 w 10505529"/>
              <a:gd name="connsiteY10454" fmla="*/ 5687792 h 7458372"/>
              <a:gd name="connsiteX10455" fmla="*/ 6113624 w 10505529"/>
              <a:gd name="connsiteY10455" fmla="*/ 5697243 h 7458372"/>
              <a:gd name="connsiteX10456" fmla="*/ 6123608 w 10505529"/>
              <a:gd name="connsiteY10456" fmla="*/ 5700705 h 7458372"/>
              <a:gd name="connsiteX10457" fmla="*/ 6128932 w 10505529"/>
              <a:gd name="connsiteY10457" fmla="*/ 5699773 h 7458372"/>
              <a:gd name="connsiteX10458" fmla="*/ 6132659 w 10505529"/>
              <a:gd name="connsiteY10458" fmla="*/ 5697376 h 7458372"/>
              <a:gd name="connsiteX10459" fmla="*/ 6135322 w 10505529"/>
              <a:gd name="connsiteY10459" fmla="*/ 5693117 h 7458372"/>
              <a:gd name="connsiteX10460" fmla="*/ 6136387 w 10505529"/>
              <a:gd name="connsiteY10460" fmla="*/ 5687659 h 7458372"/>
              <a:gd name="connsiteX10461" fmla="*/ 6135322 w 10505529"/>
              <a:gd name="connsiteY10461" fmla="*/ 5682467 h 7458372"/>
              <a:gd name="connsiteX10462" fmla="*/ 6132659 w 10505529"/>
              <a:gd name="connsiteY10462" fmla="*/ 5678341 h 7458372"/>
              <a:gd name="connsiteX10463" fmla="*/ 6128666 w 10505529"/>
              <a:gd name="connsiteY10463" fmla="*/ 5675678 h 7458372"/>
              <a:gd name="connsiteX10464" fmla="*/ 6123608 w 10505529"/>
              <a:gd name="connsiteY10464" fmla="*/ 5674747 h 7458372"/>
              <a:gd name="connsiteX10465" fmla="*/ 5905963 w 10505529"/>
              <a:gd name="connsiteY10465" fmla="*/ 5674747 h 7458372"/>
              <a:gd name="connsiteX10466" fmla="*/ 5895979 w 10505529"/>
              <a:gd name="connsiteY10466" fmla="*/ 5678341 h 7458372"/>
              <a:gd name="connsiteX10467" fmla="*/ 5892385 w 10505529"/>
              <a:gd name="connsiteY10467" fmla="*/ 5687792 h 7458372"/>
              <a:gd name="connsiteX10468" fmla="*/ 5895979 w 10505529"/>
              <a:gd name="connsiteY10468" fmla="*/ 5697243 h 7458372"/>
              <a:gd name="connsiteX10469" fmla="*/ 5905963 w 10505529"/>
              <a:gd name="connsiteY10469" fmla="*/ 5700705 h 7458372"/>
              <a:gd name="connsiteX10470" fmla="*/ 5911287 w 10505529"/>
              <a:gd name="connsiteY10470" fmla="*/ 5699773 h 7458372"/>
              <a:gd name="connsiteX10471" fmla="*/ 5915014 w 10505529"/>
              <a:gd name="connsiteY10471" fmla="*/ 5697376 h 7458372"/>
              <a:gd name="connsiteX10472" fmla="*/ 5917677 w 10505529"/>
              <a:gd name="connsiteY10472" fmla="*/ 5693117 h 7458372"/>
              <a:gd name="connsiteX10473" fmla="*/ 5918742 w 10505529"/>
              <a:gd name="connsiteY10473" fmla="*/ 5687659 h 7458372"/>
              <a:gd name="connsiteX10474" fmla="*/ 5917677 w 10505529"/>
              <a:gd name="connsiteY10474" fmla="*/ 5682467 h 7458372"/>
              <a:gd name="connsiteX10475" fmla="*/ 5915014 w 10505529"/>
              <a:gd name="connsiteY10475" fmla="*/ 5678341 h 7458372"/>
              <a:gd name="connsiteX10476" fmla="*/ 5911021 w 10505529"/>
              <a:gd name="connsiteY10476" fmla="*/ 5675678 h 7458372"/>
              <a:gd name="connsiteX10477" fmla="*/ 5905963 w 10505529"/>
              <a:gd name="connsiteY10477" fmla="*/ 5674747 h 7458372"/>
              <a:gd name="connsiteX10478" fmla="*/ 5688451 w 10505529"/>
              <a:gd name="connsiteY10478" fmla="*/ 5674747 h 7458372"/>
              <a:gd name="connsiteX10479" fmla="*/ 5678467 w 10505529"/>
              <a:gd name="connsiteY10479" fmla="*/ 5678341 h 7458372"/>
              <a:gd name="connsiteX10480" fmla="*/ 5674873 w 10505529"/>
              <a:gd name="connsiteY10480" fmla="*/ 5687792 h 7458372"/>
              <a:gd name="connsiteX10481" fmla="*/ 5678467 w 10505529"/>
              <a:gd name="connsiteY10481" fmla="*/ 5697243 h 7458372"/>
              <a:gd name="connsiteX10482" fmla="*/ 5688451 w 10505529"/>
              <a:gd name="connsiteY10482" fmla="*/ 5700705 h 7458372"/>
              <a:gd name="connsiteX10483" fmla="*/ 5693775 w 10505529"/>
              <a:gd name="connsiteY10483" fmla="*/ 5699773 h 7458372"/>
              <a:gd name="connsiteX10484" fmla="*/ 5697502 w 10505529"/>
              <a:gd name="connsiteY10484" fmla="*/ 5697376 h 7458372"/>
              <a:gd name="connsiteX10485" fmla="*/ 5700165 w 10505529"/>
              <a:gd name="connsiteY10485" fmla="*/ 5693117 h 7458372"/>
              <a:gd name="connsiteX10486" fmla="*/ 5701230 w 10505529"/>
              <a:gd name="connsiteY10486" fmla="*/ 5687659 h 7458372"/>
              <a:gd name="connsiteX10487" fmla="*/ 5700165 w 10505529"/>
              <a:gd name="connsiteY10487" fmla="*/ 5682467 h 7458372"/>
              <a:gd name="connsiteX10488" fmla="*/ 5697502 w 10505529"/>
              <a:gd name="connsiteY10488" fmla="*/ 5678341 h 7458372"/>
              <a:gd name="connsiteX10489" fmla="*/ 5693509 w 10505529"/>
              <a:gd name="connsiteY10489" fmla="*/ 5675678 h 7458372"/>
              <a:gd name="connsiteX10490" fmla="*/ 5688451 w 10505529"/>
              <a:gd name="connsiteY10490" fmla="*/ 5674747 h 7458372"/>
              <a:gd name="connsiteX10491" fmla="*/ 5470806 w 10505529"/>
              <a:gd name="connsiteY10491" fmla="*/ 5674747 h 7458372"/>
              <a:gd name="connsiteX10492" fmla="*/ 5460822 w 10505529"/>
              <a:gd name="connsiteY10492" fmla="*/ 5678341 h 7458372"/>
              <a:gd name="connsiteX10493" fmla="*/ 5457228 w 10505529"/>
              <a:gd name="connsiteY10493" fmla="*/ 5687792 h 7458372"/>
              <a:gd name="connsiteX10494" fmla="*/ 5460822 w 10505529"/>
              <a:gd name="connsiteY10494" fmla="*/ 5697243 h 7458372"/>
              <a:gd name="connsiteX10495" fmla="*/ 5470806 w 10505529"/>
              <a:gd name="connsiteY10495" fmla="*/ 5700705 h 7458372"/>
              <a:gd name="connsiteX10496" fmla="*/ 5476130 w 10505529"/>
              <a:gd name="connsiteY10496" fmla="*/ 5699773 h 7458372"/>
              <a:gd name="connsiteX10497" fmla="*/ 5479857 w 10505529"/>
              <a:gd name="connsiteY10497" fmla="*/ 5697376 h 7458372"/>
              <a:gd name="connsiteX10498" fmla="*/ 5482520 w 10505529"/>
              <a:gd name="connsiteY10498" fmla="*/ 5693117 h 7458372"/>
              <a:gd name="connsiteX10499" fmla="*/ 5483585 w 10505529"/>
              <a:gd name="connsiteY10499" fmla="*/ 5687659 h 7458372"/>
              <a:gd name="connsiteX10500" fmla="*/ 5482520 w 10505529"/>
              <a:gd name="connsiteY10500" fmla="*/ 5682467 h 7458372"/>
              <a:gd name="connsiteX10501" fmla="*/ 5479857 w 10505529"/>
              <a:gd name="connsiteY10501" fmla="*/ 5678341 h 7458372"/>
              <a:gd name="connsiteX10502" fmla="*/ 5475864 w 10505529"/>
              <a:gd name="connsiteY10502" fmla="*/ 5675678 h 7458372"/>
              <a:gd name="connsiteX10503" fmla="*/ 5470806 w 10505529"/>
              <a:gd name="connsiteY10503" fmla="*/ 5674747 h 7458372"/>
              <a:gd name="connsiteX10504" fmla="*/ 5253160 w 10505529"/>
              <a:gd name="connsiteY10504" fmla="*/ 5674747 h 7458372"/>
              <a:gd name="connsiteX10505" fmla="*/ 5243177 w 10505529"/>
              <a:gd name="connsiteY10505" fmla="*/ 5678341 h 7458372"/>
              <a:gd name="connsiteX10506" fmla="*/ 5239583 w 10505529"/>
              <a:gd name="connsiteY10506" fmla="*/ 5687792 h 7458372"/>
              <a:gd name="connsiteX10507" fmla="*/ 5243177 w 10505529"/>
              <a:gd name="connsiteY10507" fmla="*/ 5697243 h 7458372"/>
              <a:gd name="connsiteX10508" fmla="*/ 5253160 w 10505529"/>
              <a:gd name="connsiteY10508" fmla="*/ 5700705 h 7458372"/>
              <a:gd name="connsiteX10509" fmla="*/ 5258485 w 10505529"/>
              <a:gd name="connsiteY10509" fmla="*/ 5699773 h 7458372"/>
              <a:gd name="connsiteX10510" fmla="*/ 5262212 w 10505529"/>
              <a:gd name="connsiteY10510" fmla="*/ 5697376 h 7458372"/>
              <a:gd name="connsiteX10511" fmla="*/ 5264875 w 10505529"/>
              <a:gd name="connsiteY10511" fmla="*/ 5693117 h 7458372"/>
              <a:gd name="connsiteX10512" fmla="*/ 5265939 w 10505529"/>
              <a:gd name="connsiteY10512" fmla="*/ 5687659 h 7458372"/>
              <a:gd name="connsiteX10513" fmla="*/ 5264875 w 10505529"/>
              <a:gd name="connsiteY10513" fmla="*/ 5682467 h 7458372"/>
              <a:gd name="connsiteX10514" fmla="*/ 5262212 w 10505529"/>
              <a:gd name="connsiteY10514" fmla="*/ 5678341 h 7458372"/>
              <a:gd name="connsiteX10515" fmla="*/ 5258219 w 10505529"/>
              <a:gd name="connsiteY10515" fmla="*/ 5675678 h 7458372"/>
              <a:gd name="connsiteX10516" fmla="*/ 5253160 w 10505529"/>
              <a:gd name="connsiteY10516" fmla="*/ 5674747 h 7458372"/>
              <a:gd name="connsiteX10517" fmla="*/ 5035515 w 10505529"/>
              <a:gd name="connsiteY10517" fmla="*/ 5674747 h 7458372"/>
              <a:gd name="connsiteX10518" fmla="*/ 5025532 w 10505529"/>
              <a:gd name="connsiteY10518" fmla="*/ 5678341 h 7458372"/>
              <a:gd name="connsiteX10519" fmla="*/ 5021938 w 10505529"/>
              <a:gd name="connsiteY10519" fmla="*/ 5687792 h 7458372"/>
              <a:gd name="connsiteX10520" fmla="*/ 5025532 w 10505529"/>
              <a:gd name="connsiteY10520" fmla="*/ 5697243 h 7458372"/>
              <a:gd name="connsiteX10521" fmla="*/ 5035515 w 10505529"/>
              <a:gd name="connsiteY10521" fmla="*/ 5700705 h 7458372"/>
              <a:gd name="connsiteX10522" fmla="*/ 5040840 w 10505529"/>
              <a:gd name="connsiteY10522" fmla="*/ 5699773 h 7458372"/>
              <a:gd name="connsiteX10523" fmla="*/ 5044567 w 10505529"/>
              <a:gd name="connsiteY10523" fmla="*/ 5697376 h 7458372"/>
              <a:gd name="connsiteX10524" fmla="*/ 5047230 w 10505529"/>
              <a:gd name="connsiteY10524" fmla="*/ 5693117 h 7458372"/>
              <a:gd name="connsiteX10525" fmla="*/ 5048294 w 10505529"/>
              <a:gd name="connsiteY10525" fmla="*/ 5687659 h 7458372"/>
              <a:gd name="connsiteX10526" fmla="*/ 5047230 w 10505529"/>
              <a:gd name="connsiteY10526" fmla="*/ 5682467 h 7458372"/>
              <a:gd name="connsiteX10527" fmla="*/ 5044567 w 10505529"/>
              <a:gd name="connsiteY10527" fmla="*/ 5678341 h 7458372"/>
              <a:gd name="connsiteX10528" fmla="*/ 5040574 w 10505529"/>
              <a:gd name="connsiteY10528" fmla="*/ 5675678 h 7458372"/>
              <a:gd name="connsiteX10529" fmla="*/ 5035515 w 10505529"/>
              <a:gd name="connsiteY10529" fmla="*/ 5674747 h 7458372"/>
              <a:gd name="connsiteX10530" fmla="*/ 4817870 w 10505529"/>
              <a:gd name="connsiteY10530" fmla="*/ 5674747 h 7458372"/>
              <a:gd name="connsiteX10531" fmla="*/ 4807887 w 10505529"/>
              <a:gd name="connsiteY10531" fmla="*/ 5678341 h 7458372"/>
              <a:gd name="connsiteX10532" fmla="*/ 4804293 w 10505529"/>
              <a:gd name="connsiteY10532" fmla="*/ 5687792 h 7458372"/>
              <a:gd name="connsiteX10533" fmla="*/ 4807887 w 10505529"/>
              <a:gd name="connsiteY10533" fmla="*/ 5697243 h 7458372"/>
              <a:gd name="connsiteX10534" fmla="*/ 4817870 w 10505529"/>
              <a:gd name="connsiteY10534" fmla="*/ 5700705 h 7458372"/>
              <a:gd name="connsiteX10535" fmla="*/ 4823195 w 10505529"/>
              <a:gd name="connsiteY10535" fmla="*/ 5699773 h 7458372"/>
              <a:gd name="connsiteX10536" fmla="*/ 4826922 w 10505529"/>
              <a:gd name="connsiteY10536" fmla="*/ 5697376 h 7458372"/>
              <a:gd name="connsiteX10537" fmla="*/ 4829585 w 10505529"/>
              <a:gd name="connsiteY10537" fmla="*/ 5693117 h 7458372"/>
              <a:gd name="connsiteX10538" fmla="*/ 4830650 w 10505529"/>
              <a:gd name="connsiteY10538" fmla="*/ 5687659 h 7458372"/>
              <a:gd name="connsiteX10539" fmla="*/ 4829585 w 10505529"/>
              <a:gd name="connsiteY10539" fmla="*/ 5682467 h 7458372"/>
              <a:gd name="connsiteX10540" fmla="*/ 4826922 w 10505529"/>
              <a:gd name="connsiteY10540" fmla="*/ 5678341 h 7458372"/>
              <a:gd name="connsiteX10541" fmla="*/ 4822929 w 10505529"/>
              <a:gd name="connsiteY10541" fmla="*/ 5675678 h 7458372"/>
              <a:gd name="connsiteX10542" fmla="*/ 4817870 w 10505529"/>
              <a:gd name="connsiteY10542" fmla="*/ 5674747 h 7458372"/>
              <a:gd name="connsiteX10543" fmla="*/ 4600226 w 10505529"/>
              <a:gd name="connsiteY10543" fmla="*/ 5674747 h 7458372"/>
              <a:gd name="connsiteX10544" fmla="*/ 4590242 w 10505529"/>
              <a:gd name="connsiteY10544" fmla="*/ 5678341 h 7458372"/>
              <a:gd name="connsiteX10545" fmla="*/ 4586648 w 10505529"/>
              <a:gd name="connsiteY10545" fmla="*/ 5687792 h 7458372"/>
              <a:gd name="connsiteX10546" fmla="*/ 4590242 w 10505529"/>
              <a:gd name="connsiteY10546" fmla="*/ 5697243 h 7458372"/>
              <a:gd name="connsiteX10547" fmla="*/ 4600226 w 10505529"/>
              <a:gd name="connsiteY10547" fmla="*/ 5700705 h 7458372"/>
              <a:gd name="connsiteX10548" fmla="*/ 4605550 w 10505529"/>
              <a:gd name="connsiteY10548" fmla="*/ 5699773 h 7458372"/>
              <a:gd name="connsiteX10549" fmla="*/ 4609277 w 10505529"/>
              <a:gd name="connsiteY10549" fmla="*/ 5697376 h 7458372"/>
              <a:gd name="connsiteX10550" fmla="*/ 4611940 w 10505529"/>
              <a:gd name="connsiteY10550" fmla="*/ 5693117 h 7458372"/>
              <a:gd name="connsiteX10551" fmla="*/ 4613005 w 10505529"/>
              <a:gd name="connsiteY10551" fmla="*/ 5687659 h 7458372"/>
              <a:gd name="connsiteX10552" fmla="*/ 4611940 w 10505529"/>
              <a:gd name="connsiteY10552" fmla="*/ 5682467 h 7458372"/>
              <a:gd name="connsiteX10553" fmla="*/ 4609277 w 10505529"/>
              <a:gd name="connsiteY10553" fmla="*/ 5678341 h 7458372"/>
              <a:gd name="connsiteX10554" fmla="*/ 4605284 w 10505529"/>
              <a:gd name="connsiteY10554" fmla="*/ 5675678 h 7458372"/>
              <a:gd name="connsiteX10555" fmla="*/ 4600226 w 10505529"/>
              <a:gd name="connsiteY10555" fmla="*/ 5674747 h 7458372"/>
              <a:gd name="connsiteX10556" fmla="*/ 4382713 w 10505529"/>
              <a:gd name="connsiteY10556" fmla="*/ 5674747 h 7458372"/>
              <a:gd name="connsiteX10557" fmla="*/ 4372730 w 10505529"/>
              <a:gd name="connsiteY10557" fmla="*/ 5678341 h 7458372"/>
              <a:gd name="connsiteX10558" fmla="*/ 4369136 w 10505529"/>
              <a:gd name="connsiteY10558" fmla="*/ 5687792 h 7458372"/>
              <a:gd name="connsiteX10559" fmla="*/ 4372730 w 10505529"/>
              <a:gd name="connsiteY10559" fmla="*/ 5697243 h 7458372"/>
              <a:gd name="connsiteX10560" fmla="*/ 4382713 w 10505529"/>
              <a:gd name="connsiteY10560" fmla="*/ 5700705 h 7458372"/>
              <a:gd name="connsiteX10561" fmla="*/ 4388038 w 10505529"/>
              <a:gd name="connsiteY10561" fmla="*/ 5699773 h 7458372"/>
              <a:gd name="connsiteX10562" fmla="*/ 4391765 w 10505529"/>
              <a:gd name="connsiteY10562" fmla="*/ 5697376 h 7458372"/>
              <a:gd name="connsiteX10563" fmla="*/ 4394428 w 10505529"/>
              <a:gd name="connsiteY10563" fmla="*/ 5693117 h 7458372"/>
              <a:gd name="connsiteX10564" fmla="*/ 4395493 w 10505529"/>
              <a:gd name="connsiteY10564" fmla="*/ 5687659 h 7458372"/>
              <a:gd name="connsiteX10565" fmla="*/ 4394428 w 10505529"/>
              <a:gd name="connsiteY10565" fmla="*/ 5682467 h 7458372"/>
              <a:gd name="connsiteX10566" fmla="*/ 4391765 w 10505529"/>
              <a:gd name="connsiteY10566" fmla="*/ 5678341 h 7458372"/>
              <a:gd name="connsiteX10567" fmla="*/ 4387772 w 10505529"/>
              <a:gd name="connsiteY10567" fmla="*/ 5675678 h 7458372"/>
              <a:gd name="connsiteX10568" fmla="*/ 4382713 w 10505529"/>
              <a:gd name="connsiteY10568" fmla="*/ 5674747 h 7458372"/>
              <a:gd name="connsiteX10569" fmla="*/ 4165068 w 10505529"/>
              <a:gd name="connsiteY10569" fmla="*/ 5674747 h 7458372"/>
              <a:gd name="connsiteX10570" fmla="*/ 4155084 w 10505529"/>
              <a:gd name="connsiteY10570" fmla="*/ 5678341 h 7458372"/>
              <a:gd name="connsiteX10571" fmla="*/ 4151490 w 10505529"/>
              <a:gd name="connsiteY10571" fmla="*/ 5687792 h 7458372"/>
              <a:gd name="connsiteX10572" fmla="*/ 4155084 w 10505529"/>
              <a:gd name="connsiteY10572" fmla="*/ 5697243 h 7458372"/>
              <a:gd name="connsiteX10573" fmla="*/ 4165068 w 10505529"/>
              <a:gd name="connsiteY10573" fmla="*/ 5700705 h 7458372"/>
              <a:gd name="connsiteX10574" fmla="*/ 4170392 w 10505529"/>
              <a:gd name="connsiteY10574" fmla="*/ 5699773 h 7458372"/>
              <a:gd name="connsiteX10575" fmla="*/ 4174119 w 10505529"/>
              <a:gd name="connsiteY10575" fmla="*/ 5697376 h 7458372"/>
              <a:gd name="connsiteX10576" fmla="*/ 4176782 w 10505529"/>
              <a:gd name="connsiteY10576" fmla="*/ 5693117 h 7458372"/>
              <a:gd name="connsiteX10577" fmla="*/ 4177847 w 10505529"/>
              <a:gd name="connsiteY10577" fmla="*/ 5687659 h 7458372"/>
              <a:gd name="connsiteX10578" fmla="*/ 4176782 w 10505529"/>
              <a:gd name="connsiteY10578" fmla="*/ 5682467 h 7458372"/>
              <a:gd name="connsiteX10579" fmla="*/ 4174119 w 10505529"/>
              <a:gd name="connsiteY10579" fmla="*/ 5678341 h 7458372"/>
              <a:gd name="connsiteX10580" fmla="*/ 4170126 w 10505529"/>
              <a:gd name="connsiteY10580" fmla="*/ 5675678 h 7458372"/>
              <a:gd name="connsiteX10581" fmla="*/ 4165068 w 10505529"/>
              <a:gd name="connsiteY10581" fmla="*/ 5674747 h 7458372"/>
              <a:gd name="connsiteX10582" fmla="*/ 3947733 w 10505529"/>
              <a:gd name="connsiteY10582" fmla="*/ 5674747 h 7458372"/>
              <a:gd name="connsiteX10583" fmla="*/ 3937749 w 10505529"/>
              <a:gd name="connsiteY10583" fmla="*/ 5678341 h 7458372"/>
              <a:gd name="connsiteX10584" fmla="*/ 3934155 w 10505529"/>
              <a:gd name="connsiteY10584" fmla="*/ 5687792 h 7458372"/>
              <a:gd name="connsiteX10585" fmla="*/ 3937749 w 10505529"/>
              <a:gd name="connsiteY10585" fmla="*/ 5697243 h 7458372"/>
              <a:gd name="connsiteX10586" fmla="*/ 3947733 w 10505529"/>
              <a:gd name="connsiteY10586" fmla="*/ 5700705 h 7458372"/>
              <a:gd name="connsiteX10587" fmla="*/ 3953061 w 10505529"/>
              <a:gd name="connsiteY10587" fmla="*/ 5699773 h 7458372"/>
              <a:gd name="connsiteX10588" fmla="*/ 3956788 w 10505529"/>
              <a:gd name="connsiteY10588" fmla="*/ 5697376 h 7458372"/>
              <a:gd name="connsiteX10589" fmla="*/ 3959451 w 10505529"/>
              <a:gd name="connsiteY10589" fmla="*/ 5693117 h 7458372"/>
              <a:gd name="connsiteX10590" fmla="*/ 3960516 w 10505529"/>
              <a:gd name="connsiteY10590" fmla="*/ 5687659 h 7458372"/>
              <a:gd name="connsiteX10591" fmla="*/ 3959451 w 10505529"/>
              <a:gd name="connsiteY10591" fmla="*/ 5682467 h 7458372"/>
              <a:gd name="connsiteX10592" fmla="*/ 3956788 w 10505529"/>
              <a:gd name="connsiteY10592" fmla="*/ 5678341 h 7458372"/>
              <a:gd name="connsiteX10593" fmla="*/ 3952794 w 10505529"/>
              <a:gd name="connsiteY10593" fmla="*/ 5675678 h 7458372"/>
              <a:gd name="connsiteX10594" fmla="*/ 3947733 w 10505529"/>
              <a:gd name="connsiteY10594" fmla="*/ 5674747 h 7458372"/>
              <a:gd name="connsiteX10595" fmla="*/ 3730074 w 10505529"/>
              <a:gd name="connsiteY10595" fmla="*/ 5674747 h 7458372"/>
              <a:gd name="connsiteX10596" fmla="*/ 3720087 w 10505529"/>
              <a:gd name="connsiteY10596" fmla="*/ 5678341 h 7458372"/>
              <a:gd name="connsiteX10597" fmla="*/ 3716495 w 10505529"/>
              <a:gd name="connsiteY10597" fmla="*/ 5687792 h 7458372"/>
              <a:gd name="connsiteX10598" fmla="*/ 3720087 w 10505529"/>
              <a:gd name="connsiteY10598" fmla="*/ 5697243 h 7458372"/>
              <a:gd name="connsiteX10599" fmla="*/ 3730074 w 10505529"/>
              <a:gd name="connsiteY10599" fmla="*/ 5700705 h 7458372"/>
              <a:gd name="connsiteX10600" fmla="*/ 3735399 w 10505529"/>
              <a:gd name="connsiteY10600" fmla="*/ 5699773 h 7458372"/>
              <a:gd name="connsiteX10601" fmla="*/ 3739126 w 10505529"/>
              <a:gd name="connsiteY10601" fmla="*/ 5697376 h 7458372"/>
              <a:gd name="connsiteX10602" fmla="*/ 3741789 w 10505529"/>
              <a:gd name="connsiteY10602" fmla="*/ 5693117 h 7458372"/>
              <a:gd name="connsiteX10603" fmla="*/ 3742854 w 10505529"/>
              <a:gd name="connsiteY10603" fmla="*/ 5687659 h 7458372"/>
              <a:gd name="connsiteX10604" fmla="*/ 3741789 w 10505529"/>
              <a:gd name="connsiteY10604" fmla="*/ 5682467 h 7458372"/>
              <a:gd name="connsiteX10605" fmla="*/ 3739126 w 10505529"/>
              <a:gd name="connsiteY10605" fmla="*/ 5678341 h 7458372"/>
              <a:gd name="connsiteX10606" fmla="*/ 3735133 w 10505529"/>
              <a:gd name="connsiteY10606" fmla="*/ 5675678 h 7458372"/>
              <a:gd name="connsiteX10607" fmla="*/ 3730074 w 10505529"/>
              <a:gd name="connsiteY10607" fmla="*/ 5674747 h 7458372"/>
              <a:gd name="connsiteX10608" fmla="*/ 3512412 w 10505529"/>
              <a:gd name="connsiteY10608" fmla="*/ 5674747 h 7458372"/>
              <a:gd name="connsiteX10609" fmla="*/ 3502423 w 10505529"/>
              <a:gd name="connsiteY10609" fmla="*/ 5678341 h 7458372"/>
              <a:gd name="connsiteX10610" fmla="*/ 3498830 w 10505529"/>
              <a:gd name="connsiteY10610" fmla="*/ 5687792 h 7458372"/>
              <a:gd name="connsiteX10611" fmla="*/ 3502423 w 10505529"/>
              <a:gd name="connsiteY10611" fmla="*/ 5697243 h 7458372"/>
              <a:gd name="connsiteX10612" fmla="*/ 3512412 w 10505529"/>
              <a:gd name="connsiteY10612" fmla="*/ 5700705 h 7458372"/>
              <a:gd name="connsiteX10613" fmla="*/ 3517738 w 10505529"/>
              <a:gd name="connsiteY10613" fmla="*/ 5699773 h 7458372"/>
              <a:gd name="connsiteX10614" fmla="*/ 3521465 w 10505529"/>
              <a:gd name="connsiteY10614" fmla="*/ 5697376 h 7458372"/>
              <a:gd name="connsiteX10615" fmla="*/ 3524128 w 10505529"/>
              <a:gd name="connsiteY10615" fmla="*/ 5693117 h 7458372"/>
              <a:gd name="connsiteX10616" fmla="*/ 3525193 w 10505529"/>
              <a:gd name="connsiteY10616" fmla="*/ 5687659 h 7458372"/>
              <a:gd name="connsiteX10617" fmla="*/ 3524128 w 10505529"/>
              <a:gd name="connsiteY10617" fmla="*/ 5682467 h 7458372"/>
              <a:gd name="connsiteX10618" fmla="*/ 3521465 w 10505529"/>
              <a:gd name="connsiteY10618" fmla="*/ 5678341 h 7458372"/>
              <a:gd name="connsiteX10619" fmla="*/ 3517472 w 10505529"/>
              <a:gd name="connsiteY10619" fmla="*/ 5675678 h 7458372"/>
              <a:gd name="connsiteX10620" fmla="*/ 3512412 w 10505529"/>
              <a:gd name="connsiteY10620" fmla="*/ 5674747 h 7458372"/>
              <a:gd name="connsiteX10621" fmla="*/ 3294884 w 10505529"/>
              <a:gd name="connsiteY10621" fmla="*/ 5674747 h 7458372"/>
              <a:gd name="connsiteX10622" fmla="*/ 3284898 w 10505529"/>
              <a:gd name="connsiteY10622" fmla="*/ 5678341 h 7458372"/>
              <a:gd name="connsiteX10623" fmla="*/ 3281304 w 10505529"/>
              <a:gd name="connsiteY10623" fmla="*/ 5687792 h 7458372"/>
              <a:gd name="connsiteX10624" fmla="*/ 3284898 w 10505529"/>
              <a:gd name="connsiteY10624" fmla="*/ 5697243 h 7458372"/>
              <a:gd name="connsiteX10625" fmla="*/ 3294884 w 10505529"/>
              <a:gd name="connsiteY10625" fmla="*/ 5700705 h 7458372"/>
              <a:gd name="connsiteX10626" fmla="*/ 3300210 w 10505529"/>
              <a:gd name="connsiteY10626" fmla="*/ 5699773 h 7458372"/>
              <a:gd name="connsiteX10627" fmla="*/ 3303937 w 10505529"/>
              <a:gd name="connsiteY10627" fmla="*/ 5697376 h 7458372"/>
              <a:gd name="connsiteX10628" fmla="*/ 3306600 w 10505529"/>
              <a:gd name="connsiteY10628" fmla="*/ 5693117 h 7458372"/>
              <a:gd name="connsiteX10629" fmla="*/ 3307664 w 10505529"/>
              <a:gd name="connsiteY10629" fmla="*/ 5687659 h 7458372"/>
              <a:gd name="connsiteX10630" fmla="*/ 3306600 w 10505529"/>
              <a:gd name="connsiteY10630" fmla="*/ 5682467 h 7458372"/>
              <a:gd name="connsiteX10631" fmla="*/ 3303937 w 10505529"/>
              <a:gd name="connsiteY10631" fmla="*/ 5678341 h 7458372"/>
              <a:gd name="connsiteX10632" fmla="*/ 3299944 w 10505529"/>
              <a:gd name="connsiteY10632" fmla="*/ 5675678 h 7458372"/>
              <a:gd name="connsiteX10633" fmla="*/ 3294884 w 10505529"/>
              <a:gd name="connsiteY10633" fmla="*/ 5674747 h 7458372"/>
              <a:gd name="connsiteX10634" fmla="*/ 3077356 w 10505529"/>
              <a:gd name="connsiteY10634" fmla="*/ 5674747 h 7458372"/>
              <a:gd name="connsiteX10635" fmla="*/ 3067372 w 10505529"/>
              <a:gd name="connsiteY10635" fmla="*/ 5678341 h 7458372"/>
              <a:gd name="connsiteX10636" fmla="*/ 3063642 w 10505529"/>
              <a:gd name="connsiteY10636" fmla="*/ 5687792 h 7458372"/>
              <a:gd name="connsiteX10637" fmla="*/ 3067238 w 10505529"/>
              <a:gd name="connsiteY10637" fmla="*/ 5697243 h 7458372"/>
              <a:gd name="connsiteX10638" fmla="*/ 3077223 w 10505529"/>
              <a:gd name="connsiteY10638" fmla="*/ 5700705 h 7458372"/>
              <a:gd name="connsiteX10639" fmla="*/ 3082681 w 10505529"/>
              <a:gd name="connsiteY10639" fmla="*/ 5699773 h 7458372"/>
              <a:gd name="connsiteX10640" fmla="*/ 3086409 w 10505529"/>
              <a:gd name="connsiteY10640" fmla="*/ 5697376 h 7458372"/>
              <a:gd name="connsiteX10641" fmla="*/ 3089071 w 10505529"/>
              <a:gd name="connsiteY10641" fmla="*/ 5693117 h 7458372"/>
              <a:gd name="connsiteX10642" fmla="*/ 3090003 w 10505529"/>
              <a:gd name="connsiteY10642" fmla="*/ 5687659 h 7458372"/>
              <a:gd name="connsiteX10643" fmla="*/ 3089071 w 10505529"/>
              <a:gd name="connsiteY10643" fmla="*/ 5682467 h 7458372"/>
              <a:gd name="connsiteX10644" fmla="*/ 3086409 w 10505529"/>
              <a:gd name="connsiteY10644" fmla="*/ 5678341 h 7458372"/>
              <a:gd name="connsiteX10645" fmla="*/ 3082416 w 10505529"/>
              <a:gd name="connsiteY10645" fmla="*/ 5675678 h 7458372"/>
              <a:gd name="connsiteX10646" fmla="*/ 3077356 w 10505529"/>
              <a:gd name="connsiteY10646" fmla="*/ 5674747 h 7458372"/>
              <a:gd name="connsiteX10647" fmla="*/ 2859562 w 10505529"/>
              <a:gd name="connsiteY10647" fmla="*/ 5674747 h 7458372"/>
              <a:gd name="connsiteX10648" fmla="*/ 2849576 w 10505529"/>
              <a:gd name="connsiteY10648" fmla="*/ 5678341 h 7458372"/>
              <a:gd name="connsiteX10649" fmla="*/ 2845977 w 10505529"/>
              <a:gd name="connsiteY10649" fmla="*/ 5687792 h 7458372"/>
              <a:gd name="connsiteX10650" fmla="*/ 2849576 w 10505529"/>
              <a:gd name="connsiteY10650" fmla="*/ 5697243 h 7458372"/>
              <a:gd name="connsiteX10651" fmla="*/ 2859562 w 10505529"/>
              <a:gd name="connsiteY10651" fmla="*/ 5700705 h 7458372"/>
              <a:gd name="connsiteX10652" fmla="*/ 2864887 w 10505529"/>
              <a:gd name="connsiteY10652" fmla="*/ 5699773 h 7458372"/>
              <a:gd name="connsiteX10653" fmla="*/ 2868614 w 10505529"/>
              <a:gd name="connsiteY10653" fmla="*/ 5697376 h 7458372"/>
              <a:gd name="connsiteX10654" fmla="*/ 2871277 w 10505529"/>
              <a:gd name="connsiteY10654" fmla="*/ 5693117 h 7458372"/>
              <a:gd name="connsiteX10655" fmla="*/ 2872208 w 10505529"/>
              <a:gd name="connsiteY10655" fmla="*/ 5687659 h 7458372"/>
              <a:gd name="connsiteX10656" fmla="*/ 2871277 w 10505529"/>
              <a:gd name="connsiteY10656" fmla="*/ 5682467 h 7458372"/>
              <a:gd name="connsiteX10657" fmla="*/ 2868614 w 10505529"/>
              <a:gd name="connsiteY10657" fmla="*/ 5678341 h 7458372"/>
              <a:gd name="connsiteX10658" fmla="*/ 2864621 w 10505529"/>
              <a:gd name="connsiteY10658" fmla="*/ 5675678 h 7458372"/>
              <a:gd name="connsiteX10659" fmla="*/ 2859562 w 10505529"/>
              <a:gd name="connsiteY10659" fmla="*/ 5674747 h 7458372"/>
              <a:gd name="connsiteX10660" fmla="*/ 2641900 w 10505529"/>
              <a:gd name="connsiteY10660" fmla="*/ 5674747 h 7458372"/>
              <a:gd name="connsiteX10661" fmla="*/ 2631917 w 10505529"/>
              <a:gd name="connsiteY10661" fmla="*/ 5678341 h 7458372"/>
              <a:gd name="connsiteX10662" fmla="*/ 2628322 w 10505529"/>
              <a:gd name="connsiteY10662" fmla="*/ 5687792 h 7458372"/>
              <a:gd name="connsiteX10663" fmla="*/ 2631917 w 10505529"/>
              <a:gd name="connsiteY10663" fmla="*/ 5697243 h 7458372"/>
              <a:gd name="connsiteX10664" fmla="*/ 2641900 w 10505529"/>
              <a:gd name="connsiteY10664" fmla="*/ 5700705 h 7458372"/>
              <a:gd name="connsiteX10665" fmla="*/ 2647226 w 10505529"/>
              <a:gd name="connsiteY10665" fmla="*/ 5699773 h 7458372"/>
              <a:gd name="connsiteX10666" fmla="*/ 2650953 w 10505529"/>
              <a:gd name="connsiteY10666" fmla="*/ 5697376 h 7458372"/>
              <a:gd name="connsiteX10667" fmla="*/ 2653616 w 10505529"/>
              <a:gd name="connsiteY10667" fmla="*/ 5693117 h 7458372"/>
              <a:gd name="connsiteX10668" fmla="*/ 2654546 w 10505529"/>
              <a:gd name="connsiteY10668" fmla="*/ 5687659 h 7458372"/>
              <a:gd name="connsiteX10669" fmla="*/ 2653616 w 10505529"/>
              <a:gd name="connsiteY10669" fmla="*/ 5682467 h 7458372"/>
              <a:gd name="connsiteX10670" fmla="*/ 2650953 w 10505529"/>
              <a:gd name="connsiteY10670" fmla="*/ 5678341 h 7458372"/>
              <a:gd name="connsiteX10671" fmla="*/ 2646960 w 10505529"/>
              <a:gd name="connsiteY10671" fmla="*/ 5675678 h 7458372"/>
              <a:gd name="connsiteX10672" fmla="*/ 2641900 w 10505529"/>
              <a:gd name="connsiteY10672" fmla="*/ 5674747 h 7458372"/>
              <a:gd name="connsiteX10673" fmla="*/ 2424239 w 10505529"/>
              <a:gd name="connsiteY10673" fmla="*/ 5674747 h 7458372"/>
              <a:gd name="connsiteX10674" fmla="*/ 2414256 w 10505529"/>
              <a:gd name="connsiteY10674" fmla="*/ 5678341 h 7458372"/>
              <a:gd name="connsiteX10675" fmla="*/ 2410661 w 10505529"/>
              <a:gd name="connsiteY10675" fmla="*/ 5687792 h 7458372"/>
              <a:gd name="connsiteX10676" fmla="*/ 2414256 w 10505529"/>
              <a:gd name="connsiteY10676" fmla="*/ 5697243 h 7458372"/>
              <a:gd name="connsiteX10677" fmla="*/ 2424239 w 10505529"/>
              <a:gd name="connsiteY10677" fmla="*/ 5700705 h 7458372"/>
              <a:gd name="connsiteX10678" fmla="*/ 2429564 w 10505529"/>
              <a:gd name="connsiteY10678" fmla="*/ 5699773 h 7458372"/>
              <a:gd name="connsiteX10679" fmla="*/ 2433291 w 10505529"/>
              <a:gd name="connsiteY10679" fmla="*/ 5697376 h 7458372"/>
              <a:gd name="connsiteX10680" fmla="*/ 2435954 w 10505529"/>
              <a:gd name="connsiteY10680" fmla="*/ 5693117 h 7458372"/>
              <a:gd name="connsiteX10681" fmla="*/ 2436885 w 10505529"/>
              <a:gd name="connsiteY10681" fmla="*/ 5687659 h 7458372"/>
              <a:gd name="connsiteX10682" fmla="*/ 2435954 w 10505529"/>
              <a:gd name="connsiteY10682" fmla="*/ 5682467 h 7458372"/>
              <a:gd name="connsiteX10683" fmla="*/ 2433291 w 10505529"/>
              <a:gd name="connsiteY10683" fmla="*/ 5678341 h 7458372"/>
              <a:gd name="connsiteX10684" fmla="*/ 2429298 w 10505529"/>
              <a:gd name="connsiteY10684" fmla="*/ 5675678 h 7458372"/>
              <a:gd name="connsiteX10685" fmla="*/ 2424239 w 10505529"/>
              <a:gd name="connsiteY10685" fmla="*/ 5674747 h 7458372"/>
              <a:gd name="connsiteX10686" fmla="*/ 2206578 w 10505529"/>
              <a:gd name="connsiteY10686" fmla="*/ 5674747 h 7458372"/>
              <a:gd name="connsiteX10687" fmla="*/ 2196594 w 10505529"/>
              <a:gd name="connsiteY10687" fmla="*/ 5678341 h 7458372"/>
              <a:gd name="connsiteX10688" fmla="*/ 2193000 w 10505529"/>
              <a:gd name="connsiteY10688" fmla="*/ 5687792 h 7458372"/>
              <a:gd name="connsiteX10689" fmla="*/ 2196594 w 10505529"/>
              <a:gd name="connsiteY10689" fmla="*/ 5697243 h 7458372"/>
              <a:gd name="connsiteX10690" fmla="*/ 2206578 w 10505529"/>
              <a:gd name="connsiteY10690" fmla="*/ 5700705 h 7458372"/>
              <a:gd name="connsiteX10691" fmla="*/ 2211903 w 10505529"/>
              <a:gd name="connsiteY10691" fmla="*/ 5699773 h 7458372"/>
              <a:gd name="connsiteX10692" fmla="*/ 2215630 w 10505529"/>
              <a:gd name="connsiteY10692" fmla="*/ 5697376 h 7458372"/>
              <a:gd name="connsiteX10693" fmla="*/ 2218293 w 10505529"/>
              <a:gd name="connsiteY10693" fmla="*/ 5693117 h 7458372"/>
              <a:gd name="connsiteX10694" fmla="*/ 2219224 w 10505529"/>
              <a:gd name="connsiteY10694" fmla="*/ 5687659 h 7458372"/>
              <a:gd name="connsiteX10695" fmla="*/ 2218293 w 10505529"/>
              <a:gd name="connsiteY10695" fmla="*/ 5682467 h 7458372"/>
              <a:gd name="connsiteX10696" fmla="*/ 2215630 w 10505529"/>
              <a:gd name="connsiteY10696" fmla="*/ 5678341 h 7458372"/>
              <a:gd name="connsiteX10697" fmla="*/ 2211636 w 10505529"/>
              <a:gd name="connsiteY10697" fmla="*/ 5675678 h 7458372"/>
              <a:gd name="connsiteX10698" fmla="*/ 2206578 w 10505529"/>
              <a:gd name="connsiteY10698" fmla="*/ 5674747 h 7458372"/>
              <a:gd name="connsiteX10699" fmla="*/ 1989049 w 10505529"/>
              <a:gd name="connsiteY10699" fmla="*/ 5674747 h 7458372"/>
              <a:gd name="connsiteX10700" fmla="*/ 1979066 w 10505529"/>
              <a:gd name="connsiteY10700" fmla="*/ 5678341 h 7458372"/>
              <a:gd name="connsiteX10701" fmla="*/ 1975472 w 10505529"/>
              <a:gd name="connsiteY10701" fmla="*/ 5687792 h 7458372"/>
              <a:gd name="connsiteX10702" fmla="*/ 1979066 w 10505529"/>
              <a:gd name="connsiteY10702" fmla="*/ 5697243 h 7458372"/>
              <a:gd name="connsiteX10703" fmla="*/ 1989049 w 10505529"/>
              <a:gd name="connsiteY10703" fmla="*/ 5700705 h 7458372"/>
              <a:gd name="connsiteX10704" fmla="*/ 1994374 w 10505529"/>
              <a:gd name="connsiteY10704" fmla="*/ 5699773 h 7458372"/>
              <a:gd name="connsiteX10705" fmla="*/ 1998101 w 10505529"/>
              <a:gd name="connsiteY10705" fmla="*/ 5697376 h 7458372"/>
              <a:gd name="connsiteX10706" fmla="*/ 2000764 w 10505529"/>
              <a:gd name="connsiteY10706" fmla="*/ 5693117 h 7458372"/>
              <a:gd name="connsiteX10707" fmla="*/ 2001695 w 10505529"/>
              <a:gd name="connsiteY10707" fmla="*/ 5687659 h 7458372"/>
              <a:gd name="connsiteX10708" fmla="*/ 2000764 w 10505529"/>
              <a:gd name="connsiteY10708" fmla="*/ 5682467 h 7458372"/>
              <a:gd name="connsiteX10709" fmla="*/ 1998101 w 10505529"/>
              <a:gd name="connsiteY10709" fmla="*/ 5678341 h 7458372"/>
              <a:gd name="connsiteX10710" fmla="*/ 1994108 w 10505529"/>
              <a:gd name="connsiteY10710" fmla="*/ 5675678 h 7458372"/>
              <a:gd name="connsiteX10711" fmla="*/ 1989049 w 10505529"/>
              <a:gd name="connsiteY10711" fmla="*/ 5674747 h 7458372"/>
              <a:gd name="connsiteX10712" fmla="*/ 1771416 w 10505529"/>
              <a:gd name="connsiteY10712" fmla="*/ 5674747 h 7458372"/>
              <a:gd name="connsiteX10713" fmla="*/ 1761434 w 10505529"/>
              <a:gd name="connsiteY10713" fmla="*/ 5678341 h 7458372"/>
              <a:gd name="connsiteX10714" fmla="*/ 1757840 w 10505529"/>
              <a:gd name="connsiteY10714" fmla="*/ 5687792 h 7458372"/>
              <a:gd name="connsiteX10715" fmla="*/ 1761434 w 10505529"/>
              <a:gd name="connsiteY10715" fmla="*/ 5697243 h 7458372"/>
              <a:gd name="connsiteX10716" fmla="*/ 1771416 w 10505529"/>
              <a:gd name="connsiteY10716" fmla="*/ 5700705 h 7458372"/>
              <a:gd name="connsiteX10717" fmla="*/ 1776740 w 10505529"/>
              <a:gd name="connsiteY10717" fmla="*/ 5699773 h 7458372"/>
              <a:gd name="connsiteX10718" fmla="*/ 1780467 w 10505529"/>
              <a:gd name="connsiteY10718" fmla="*/ 5697376 h 7458372"/>
              <a:gd name="connsiteX10719" fmla="*/ 1783129 w 10505529"/>
              <a:gd name="connsiteY10719" fmla="*/ 5693117 h 7458372"/>
              <a:gd name="connsiteX10720" fmla="*/ 1784194 w 10505529"/>
              <a:gd name="connsiteY10720" fmla="*/ 5687659 h 7458372"/>
              <a:gd name="connsiteX10721" fmla="*/ 1783129 w 10505529"/>
              <a:gd name="connsiteY10721" fmla="*/ 5682467 h 7458372"/>
              <a:gd name="connsiteX10722" fmla="*/ 1780467 w 10505529"/>
              <a:gd name="connsiteY10722" fmla="*/ 5678341 h 7458372"/>
              <a:gd name="connsiteX10723" fmla="*/ 1776475 w 10505529"/>
              <a:gd name="connsiteY10723" fmla="*/ 5675678 h 7458372"/>
              <a:gd name="connsiteX10724" fmla="*/ 1771416 w 10505529"/>
              <a:gd name="connsiteY10724" fmla="*/ 5674747 h 7458372"/>
              <a:gd name="connsiteX10725" fmla="*/ 1553779 w 10505529"/>
              <a:gd name="connsiteY10725" fmla="*/ 5674747 h 7458372"/>
              <a:gd name="connsiteX10726" fmla="*/ 1543796 w 10505529"/>
              <a:gd name="connsiteY10726" fmla="*/ 5678341 h 7458372"/>
              <a:gd name="connsiteX10727" fmla="*/ 1540201 w 10505529"/>
              <a:gd name="connsiteY10727" fmla="*/ 5687792 h 7458372"/>
              <a:gd name="connsiteX10728" fmla="*/ 1543796 w 10505529"/>
              <a:gd name="connsiteY10728" fmla="*/ 5697243 h 7458372"/>
              <a:gd name="connsiteX10729" fmla="*/ 1553779 w 10505529"/>
              <a:gd name="connsiteY10729" fmla="*/ 5700705 h 7458372"/>
              <a:gd name="connsiteX10730" fmla="*/ 1559104 w 10505529"/>
              <a:gd name="connsiteY10730" fmla="*/ 5699773 h 7458372"/>
              <a:gd name="connsiteX10731" fmla="*/ 1562831 w 10505529"/>
              <a:gd name="connsiteY10731" fmla="*/ 5697376 h 7458372"/>
              <a:gd name="connsiteX10732" fmla="*/ 1565494 w 10505529"/>
              <a:gd name="connsiteY10732" fmla="*/ 5693117 h 7458372"/>
              <a:gd name="connsiteX10733" fmla="*/ 1566559 w 10505529"/>
              <a:gd name="connsiteY10733" fmla="*/ 5687659 h 7458372"/>
              <a:gd name="connsiteX10734" fmla="*/ 1565494 w 10505529"/>
              <a:gd name="connsiteY10734" fmla="*/ 5682467 h 7458372"/>
              <a:gd name="connsiteX10735" fmla="*/ 1562831 w 10505529"/>
              <a:gd name="connsiteY10735" fmla="*/ 5678341 h 7458372"/>
              <a:gd name="connsiteX10736" fmla="*/ 1558837 w 10505529"/>
              <a:gd name="connsiteY10736" fmla="*/ 5675678 h 7458372"/>
              <a:gd name="connsiteX10737" fmla="*/ 1553779 w 10505529"/>
              <a:gd name="connsiteY10737" fmla="*/ 5674747 h 7458372"/>
              <a:gd name="connsiteX10738" fmla="*/ 1336135 w 10505529"/>
              <a:gd name="connsiteY10738" fmla="*/ 5674747 h 7458372"/>
              <a:gd name="connsiteX10739" fmla="*/ 1326151 w 10505529"/>
              <a:gd name="connsiteY10739" fmla="*/ 5678341 h 7458372"/>
              <a:gd name="connsiteX10740" fmla="*/ 1322557 w 10505529"/>
              <a:gd name="connsiteY10740" fmla="*/ 5687792 h 7458372"/>
              <a:gd name="connsiteX10741" fmla="*/ 1326151 w 10505529"/>
              <a:gd name="connsiteY10741" fmla="*/ 5697243 h 7458372"/>
              <a:gd name="connsiteX10742" fmla="*/ 1336135 w 10505529"/>
              <a:gd name="connsiteY10742" fmla="*/ 5700705 h 7458372"/>
              <a:gd name="connsiteX10743" fmla="*/ 1341462 w 10505529"/>
              <a:gd name="connsiteY10743" fmla="*/ 5699773 h 7458372"/>
              <a:gd name="connsiteX10744" fmla="*/ 1345189 w 10505529"/>
              <a:gd name="connsiteY10744" fmla="*/ 5697376 h 7458372"/>
              <a:gd name="connsiteX10745" fmla="*/ 1347851 w 10505529"/>
              <a:gd name="connsiteY10745" fmla="*/ 5693117 h 7458372"/>
              <a:gd name="connsiteX10746" fmla="*/ 1348917 w 10505529"/>
              <a:gd name="connsiteY10746" fmla="*/ 5687659 h 7458372"/>
              <a:gd name="connsiteX10747" fmla="*/ 1347851 w 10505529"/>
              <a:gd name="connsiteY10747" fmla="*/ 5682467 h 7458372"/>
              <a:gd name="connsiteX10748" fmla="*/ 1345189 w 10505529"/>
              <a:gd name="connsiteY10748" fmla="*/ 5678341 h 7458372"/>
              <a:gd name="connsiteX10749" fmla="*/ 1341194 w 10505529"/>
              <a:gd name="connsiteY10749" fmla="*/ 5675678 h 7458372"/>
              <a:gd name="connsiteX10750" fmla="*/ 1336135 w 10505529"/>
              <a:gd name="connsiteY10750" fmla="*/ 5674747 h 7458372"/>
              <a:gd name="connsiteX10751" fmla="*/ 1118623 w 10505529"/>
              <a:gd name="connsiteY10751" fmla="*/ 5674747 h 7458372"/>
              <a:gd name="connsiteX10752" fmla="*/ 1108637 w 10505529"/>
              <a:gd name="connsiteY10752" fmla="*/ 5678341 h 7458372"/>
              <a:gd name="connsiteX10753" fmla="*/ 1104910 w 10505529"/>
              <a:gd name="connsiteY10753" fmla="*/ 5687792 h 7458372"/>
              <a:gd name="connsiteX10754" fmla="*/ 1108505 w 10505529"/>
              <a:gd name="connsiteY10754" fmla="*/ 5697243 h 7458372"/>
              <a:gd name="connsiteX10755" fmla="*/ 1118490 w 10505529"/>
              <a:gd name="connsiteY10755" fmla="*/ 5700705 h 7458372"/>
              <a:gd name="connsiteX10756" fmla="*/ 1123946 w 10505529"/>
              <a:gd name="connsiteY10756" fmla="*/ 5699773 h 7458372"/>
              <a:gd name="connsiteX10757" fmla="*/ 1127678 w 10505529"/>
              <a:gd name="connsiteY10757" fmla="*/ 5697376 h 7458372"/>
              <a:gd name="connsiteX10758" fmla="*/ 1130341 w 10505529"/>
              <a:gd name="connsiteY10758" fmla="*/ 5693117 h 7458372"/>
              <a:gd name="connsiteX10759" fmla="*/ 1131406 w 10505529"/>
              <a:gd name="connsiteY10759" fmla="*/ 5687659 h 7458372"/>
              <a:gd name="connsiteX10760" fmla="*/ 1130341 w 10505529"/>
              <a:gd name="connsiteY10760" fmla="*/ 5682467 h 7458372"/>
              <a:gd name="connsiteX10761" fmla="*/ 1127678 w 10505529"/>
              <a:gd name="connsiteY10761" fmla="*/ 5678341 h 7458372"/>
              <a:gd name="connsiteX10762" fmla="*/ 1123681 w 10505529"/>
              <a:gd name="connsiteY10762" fmla="*/ 5675678 h 7458372"/>
              <a:gd name="connsiteX10763" fmla="*/ 1118623 w 10505529"/>
              <a:gd name="connsiteY10763" fmla="*/ 5674747 h 7458372"/>
              <a:gd name="connsiteX10764" fmla="*/ 901111 w 10505529"/>
              <a:gd name="connsiteY10764" fmla="*/ 5674747 h 7458372"/>
              <a:gd name="connsiteX10765" fmla="*/ 891127 w 10505529"/>
              <a:gd name="connsiteY10765" fmla="*/ 5678341 h 7458372"/>
              <a:gd name="connsiteX10766" fmla="*/ 887400 w 10505529"/>
              <a:gd name="connsiteY10766" fmla="*/ 5687792 h 7458372"/>
              <a:gd name="connsiteX10767" fmla="*/ 890994 w 10505529"/>
              <a:gd name="connsiteY10767" fmla="*/ 5697243 h 7458372"/>
              <a:gd name="connsiteX10768" fmla="*/ 900977 w 10505529"/>
              <a:gd name="connsiteY10768" fmla="*/ 5700705 h 7458372"/>
              <a:gd name="connsiteX10769" fmla="*/ 906435 w 10505529"/>
              <a:gd name="connsiteY10769" fmla="*/ 5699773 h 7458372"/>
              <a:gd name="connsiteX10770" fmla="*/ 910163 w 10505529"/>
              <a:gd name="connsiteY10770" fmla="*/ 5697376 h 7458372"/>
              <a:gd name="connsiteX10771" fmla="*/ 912825 w 10505529"/>
              <a:gd name="connsiteY10771" fmla="*/ 5693117 h 7458372"/>
              <a:gd name="connsiteX10772" fmla="*/ 913890 w 10505529"/>
              <a:gd name="connsiteY10772" fmla="*/ 5687659 h 7458372"/>
              <a:gd name="connsiteX10773" fmla="*/ 912825 w 10505529"/>
              <a:gd name="connsiteY10773" fmla="*/ 5682467 h 7458372"/>
              <a:gd name="connsiteX10774" fmla="*/ 910163 w 10505529"/>
              <a:gd name="connsiteY10774" fmla="*/ 5678341 h 7458372"/>
              <a:gd name="connsiteX10775" fmla="*/ 906169 w 10505529"/>
              <a:gd name="connsiteY10775" fmla="*/ 5675678 h 7458372"/>
              <a:gd name="connsiteX10776" fmla="*/ 901111 w 10505529"/>
              <a:gd name="connsiteY10776" fmla="*/ 5674747 h 7458372"/>
              <a:gd name="connsiteX10777" fmla="*/ 683337 w 10505529"/>
              <a:gd name="connsiteY10777" fmla="*/ 5674747 h 7458372"/>
              <a:gd name="connsiteX10778" fmla="*/ 673353 w 10505529"/>
              <a:gd name="connsiteY10778" fmla="*/ 5678341 h 7458372"/>
              <a:gd name="connsiteX10779" fmla="*/ 669760 w 10505529"/>
              <a:gd name="connsiteY10779" fmla="*/ 5687792 h 7458372"/>
              <a:gd name="connsiteX10780" fmla="*/ 673353 w 10505529"/>
              <a:gd name="connsiteY10780" fmla="*/ 5697243 h 7458372"/>
              <a:gd name="connsiteX10781" fmla="*/ 683337 w 10505529"/>
              <a:gd name="connsiteY10781" fmla="*/ 5700705 h 7458372"/>
              <a:gd name="connsiteX10782" fmla="*/ 688662 w 10505529"/>
              <a:gd name="connsiteY10782" fmla="*/ 5699773 h 7458372"/>
              <a:gd name="connsiteX10783" fmla="*/ 692389 w 10505529"/>
              <a:gd name="connsiteY10783" fmla="*/ 5697376 h 7458372"/>
              <a:gd name="connsiteX10784" fmla="*/ 695052 w 10505529"/>
              <a:gd name="connsiteY10784" fmla="*/ 5693117 h 7458372"/>
              <a:gd name="connsiteX10785" fmla="*/ 696117 w 10505529"/>
              <a:gd name="connsiteY10785" fmla="*/ 5687659 h 7458372"/>
              <a:gd name="connsiteX10786" fmla="*/ 695052 w 10505529"/>
              <a:gd name="connsiteY10786" fmla="*/ 5682467 h 7458372"/>
              <a:gd name="connsiteX10787" fmla="*/ 692389 w 10505529"/>
              <a:gd name="connsiteY10787" fmla="*/ 5678341 h 7458372"/>
              <a:gd name="connsiteX10788" fmla="*/ 688396 w 10505529"/>
              <a:gd name="connsiteY10788" fmla="*/ 5675678 h 7458372"/>
              <a:gd name="connsiteX10789" fmla="*/ 683337 w 10505529"/>
              <a:gd name="connsiteY10789" fmla="*/ 5674747 h 7458372"/>
              <a:gd name="connsiteX10790" fmla="*/ 465695 w 10505529"/>
              <a:gd name="connsiteY10790" fmla="*/ 5674747 h 7458372"/>
              <a:gd name="connsiteX10791" fmla="*/ 455712 w 10505529"/>
              <a:gd name="connsiteY10791" fmla="*/ 5678341 h 7458372"/>
              <a:gd name="connsiteX10792" fmla="*/ 452118 w 10505529"/>
              <a:gd name="connsiteY10792" fmla="*/ 5687792 h 7458372"/>
              <a:gd name="connsiteX10793" fmla="*/ 455712 w 10505529"/>
              <a:gd name="connsiteY10793" fmla="*/ 5697243 h 7458372"/>
              <a:gd name="connsiteX10794" fmla="*/ 465695 w 10505529"/>
              <a:gd name="connsiteY10794" fmla="*/ 5700705 h 7458372"/>
              <a:gd name="connsiteX10795" fmla="*/ 471021 w 10505529"/>
              <a:gd name="connsiteY10795" fmla="*/ 5699773 h 7458372"/>
              <a:gd name="connsiteX10796" fmla="*/ 474748 w 10505529"/>
              <a:gd name="connsiteY10796" fmla="*/ 5697376 h 7458372"/>
              <a:gd name="connsiteX10797" fmla="*/ 477411 w 10505529"/>
              <a:gd name="connsiteY10797" fmla="*/ 5693117 h 7458372"/>
              <a:gd name="connsiteX10798" fmla="*/ 478476 w 10505529"/>
              <a:gd name="connsiteY10798" fmla="*/ 5687659 h 7458372"/>
              <a:gd name="connsiteX10799" fmla="*/ 477411 w 10505529"/>
              <a:gd name="connsiteY10799" fmla="*/ 5682467 h 7458372"/>
              <a:gd name="connsiteX10800" fmla="*/ 474748 w 10505529"/>
              <a:gd name="connsiteY10800" fmla="*/ 5678341 h 7458372"/>
              <a:gd name="connsiteX10801" fmla="*/ 470755 w 10505529"/>
              <a:gd name="connsiteY10801" fmla="*/ 5675678 h 7458372"/>
              <a:gd name="connsiteX10802" fmla="*/ 465695 w 10505529"/>
              <a:gd name="connsiteY10802" fmla="*/ 5674747 h 7458372"/>
              <a:gd name="connsiteX10803" fmla="*/ 248054 w 10505529"/>
              <a:gd name="connsiteY10803" fmla="*/ 5674747 h 7458372"/>
              <a:gd name="connsiteX10804" fmla="*/ 238072 w 10505529"/>
              <a:gd name="connsiteY10804" fmla="*/ 5678341 h 7458372"/>
              <a:gd name="connsiteX10805" fmla="*/ 234478 w 10505529"/>
              <a:gd name="connsiteY10805" fmla="*/ 5687792 h 7458372"/>
              <a:gd name="connsiteX10806" fmla="*/ 238072 w 10505529"/>
              <a:gd name="connsiteY10806" fmla="*/ 5697243 h 7458372"/>
              <a:gd name="connsiteX10807" fmla="*/ 248054 w 10505529"/>
              <a:gd name="connsiteY10807" fmla="*/ 5700705 h 7458372"/>
              <a:gd name="connsiteX10808" fmla="*/ 253379 w 10505529"/>
              <a:gd name="connsiteY10808" fmla="*/ 5699773 h 7458372"/>
              <a:gd name="connsiteX10809" fmla="*/ 257105 w 10505529"/>
              <a:gd name="connsiteY10809" fmla="*/ 5697376 h 7458372"/>
              <a:gd name="connsiteX10810" fmla="*/ 259768 w 10505529"/>
              <a:gd name="connsiteY10810" fmla="*/ 5693117 h 7458372"/>
              <a:gd name="connsiteX10811" fmla="*/ 260833 w 10505529"/>
              <a:gd name="connsiteY10811" fmla="*/ 5687659 h 7458372"/>
              <a:gd name="connsiteX10812" fmla="*/ 259768 w 10505529"/>
              <a:gd name="connsiteY10812" fmla="*/ 5682467 h 7458372"/>
              <a:gd name="connsiteX10813" fmla="*/ 257105 w 10505529"/>
              <a:gd name="connsiteY10813" fmla="*/ 5678341 h 7458372"/>
              <a:gd name="connsiteX10814" fmla="*/ 253113 w 10505529"/>
              <a:gd name="connsiteY10814" fmla="*/ 5675678 h 7458372"/>
              <a:gd name="connsiteX10815" fmla="*/ 248054 w 10505529"/>
              <a:gd name="connsiteY10815" fmla="*/ 5674747 h 7458372"/>
              <a:gd name="connsiteX10816" fmla="*/ 30413 w 10505529"/>
              <a:gd name="connsiteY10816" fmla="*/ 5674747 h 7458372"/>
              <a:gd name="connsiteX10817" fmla="*/ 20429 w 10505529"/>
              <a:gd name="connsiteY10817" fmla="*/ 5678341 h 7458372"/>
              <a:gd name="connsiteX10818" fmla="*/ 16836 w 10505529"/>
              <a:gd name="connsiteY10818" fmla="*/ 5687792 h 7458372"/>
              <a:gd name="connsiteX10819" fmla="*/ 20429 w 10505529"/>
              <a:gd name="connsiteY10819" fmla="*/ 5697243 h 7458372"/>
              <a:gd name="connsiteX10820" fmla="*/ 30413 w 10505529"/>
              <a:gd name="connsiteY10820" fmla="*/ 5700705 h 7458372"/>
              <a:gd name="connsiteX10821" fmla="*/ 35738 w 10505529"/>
              <a:gd name="connsiteY10821" fmla="*/ 5699773 h 7458372"/>
              <a:gd name="connsiteX10822" fmla="*/ 39465 w 10505529"/>
              <a:gd name="connsiteY10822" fmla="*/ 5697376 h 7458372"/>
              <a:gd name="connsiteX10823" fmla="*/ 42128 w 10505529"/>
              <a:gd name="connsiteY10823" fmla="*/ 5693117 h 7458372"/>
              <a:gd name="connsiteX10824" fmla="*/ 43059 w 10505529"/>
              <a:gd name="connsiteY10824" fmla="*/ 5687659 h 7458372"/>
              <a:gd name="connsiteX10825" fmla="*/ 42128 w 10505529"/>
              <a:gd name="connsiteY10825" fmla="*/ 5682467 h 7458372"/>
              <a:gd name="connsiteX10826" fmla="*/ 39465 w 10505529"/>
              <a:gd name="connsiteY10826" fmla="*/ 5678341 h 7458372"/>
              <a:gd name="connsiteX10827" fmla="*/ 35472 w 10505529"/>
              <a:gd name="connsiteY10827" fmla="*/ 5675678 h 7458372"/>
              <a:gd name="connsiteX10828" fmla="*/ 30413 w 10505529"/>
              <a:gd name="connsiteY10828" fmla="*/ 5674747 h 7458372"/>
              <a:gd name="connsiteX10829" fmla="*/ 10475977 w 10505529"/>
              <a:gd name="connsiteY10829" fmla="*/ 5658107 h 7458372"/>
              <a:gd name="connsiteX10830" fmla="*/ 10487824 w 10505529"/>
              <a:gd name="connsiteY10830" fmla="*/ 5660636 h 7458372"/>
              <a:gd name="connsiteX10831" fmla="*/ 10497143 w 10505529"/>
              <a:gd name="connsiteY10831" fmla="*/ 5667026 h 7458372"/>
              <a:gd name="connsiteX10832" fmla="*/ 10503266 w 10505529"/>
              <a:gd name="connsiteY10832" fmla="*/ 5676344 h 7458372"/>
              <a:gd name="connsiteX10833" fmla="*/ 10505529 w 10505529"/>
              <a:gd name="connsiteY10833" fmla="*/ 5687792 h 7458372"/>
              <a:gd name="connsiteX10834" fmla="*/ 10503266 w 10505529"/>
              <a:gd name="connsiteY10834" fmla="*/ 5699507 h 7458372"/>
              <a:gd name="connsiteX10835" fmla="*/ 10497143 w 10505529"/>
              <a:gd name="connsiteY10835" fmla="*/ 5708825 h 7458372"/>
              <a:gd name="connsiteX10836" fmla="*/ 10487824 w 10505529"/>
              <a:gd name="connsiteY10836" fmla="*/ 5715082 h 7458372"/>
              <a:gd name="connsiteX10837" fmla="*/ 10475977 w 10505529"/>
              <a:gd name="connsiteY10837" fmla="*/ 5717344 h 7458372"/>
              <a:gd name="connsiteX10838" fmla="*/ 10454145 w 10505529"/>
              <a:gd name="connsiteY10838" fmla="*/ 5708825 h 7458372"/>
              <a:gd name="connsiteX10839" fmla="*/ 10445759 w 10505529"/>
              <a:gd name="connsiteY10839" fmla="*/ 5687659 h 7458372"/>
              <a:gd name="connsiteX10840" fmla="*/ 10454145 w 10505529"/>
              <a:gd name="connsiteY10840" fmla="*/ 5666626 h 7458372"/>
              <a:gd name="connsiteX10841" fmla="*/ 10475977 w 10505529"/>
              <a:gd name="connsiteY10841" fmla="*/ 5658107 h 7458372"/>
              <a:gd name="connsiteX10842" fmla="*/ 10258466 w 10505529"/>
              <a:gd name="connsiteY10842" fmla="*/ 5658107 h 7458372"/>
              <a:gd name="connsiteX10843" fmla="*/ 10270313 w 10505529"/>
              <a:gd name="connsiteY10843" fmla="*/ 5660636 h 7458372"/>
              <a:gd name="connsiteX10844" fmla="*/ 10279631 w 10505529"/>
              <a:gd name="connsiteY10844" fmla="*/ 5667026 h 7458372"/>
              <a:gd name="connsiteX10845" fmla="*/ 10285754 w 10505529"/>
              <a:gd name="connsiteY10845" fmla="*/ 5676344 h 7458372"/>
              <a:gd name="connsiteX10846" fmla="*/ 10288017 w 10505529"/>
              <a:gd name="connsiteY10846" fmla="*/ 5687792 h 7458372"/>
              <a:gd name="connsiteX10847" fmla="*/ 10285754 w 10505529"/>
              <a:gd name="connsiteY10847" fmla="*/ 5699507 h 7458372"/>
              <a:gd name="connsiteX10848" fmla="*/ 10279631 w 10505529"/>
              <a:gd name="connsiteY10848" fmla="*/ 5708825 h 7458372"/>
              <a:gd name="connsiteX10849" fmla="*/ 10270313 w 10505529"/>
              <a:gd name="connsiteY10849" fmla="*/ 5715082 h 7458372"/>
              <a:gd name="connsiteX10850" fmla="*/ 10258466 w 10505529"/>
              <a:gd name="connsiteY10850" fmla="*/ 5717344 h 7458372"/>
              <a:gd name="connsiteX10851" fmla="*/ 10236633 w 10505529"/>
              <a:gd name="connsiteY10851" fmla="*/ 5708825 h 7458372"/>
              <a:gd name="connsiteX10852" fmla="*/ 10228247 w 10505529"/>
              <a:gd name="connsiteY10852" fmla="*/ 5687659 h 7458372"/>
              <a:gd name="connsiteX10853" fmla="*/ 10236633 w 10505529"/>
              <a:gd name="connsiteY10853" fmla="*/ 5666626 h 7458372"/>
              <a:gd name="connsiteX10854" fmla="*/ 10258466 w 10505529"/>
              <a:gd name="connsiteY10854" fmla="*/ 5658107 h 7458372"/>
              <a:gd name="connsiteX10855" fmla="*/ 10040820 w 10505529"/>
              <a:gd name="connsiteY10855" fmla="*/ 5658107 h 7458372"/>
              <a:gd name="connsiteX10856" fmla="*/ 10052534 w 10505529"/>
              <a:gd name="connsiteY10856" fmla="*/ 5660636 h 7458372"/>
              <a:gd name="connsiteX10857" fmla="*/ 10061852 w 10505529"/>
              <a:gd name="connsiteY10857" fmla="*/ 5667026 h 7458372"/>
              <a:gd name="connsiteX10858" fmla="*/ 10067976 w 10505529"/>
              <a:gd name="connsiteY10858" fmla="*/ 5676344 h 7458372"/>
              <a:gd name="connsiteX10859" fmla="*/ 10070239 w 10505529"/>
              <a:gd name="connsiteY10859" fmla="*/ 5687792 h 7458372"/>
              <a:gd name="connsiteX10860" fmla="*/ 10067976 w 10505529"/>
              <a:gd name="connsiteY10860" fmla="*/ 5699507 h 7458372"/>
              <a:gd name="connsiteX10861" fmla="*/ 10061852 w 10505529"/>
              <a:gd name="connsiteY10861" fmla="*/ 5708825 h 7458372"/>
              <a:gd name="connsiteX10862" fmla="*/ 10052534 w 10505529"/>
              <a:gd name="connsiteY10862" fmla="*/ 5715082 h 7458372"/>
              <a:gd name="connsiteX10863" fmla="*/ 10040820 w 10505529"/>
              <a:gd name="connsiteY10863" fmla="*/ 5717344 h 7458372"/>
              <a:gd name="connsiteX10864" fmla="*/ 10018988 w 10505529"/>
              <a:gd name="connsiteY10864" fmla="*/ 5708825 h 7458372"/>
              <a:gd name="connsiteX10865" fmla="*/ 10010602 w 10505529"/>
              <a:gd name="connsiteY10865" fmla="*/ 5687659 h 7458372"/>
              <a:gd name="connsiteX10866" fmla="*/ 10018988 w 10505529"/>
              <a:gd name="connsiteY10866" fmla="*/ 5666626 h 7458372"/>
              <a:gd name="connsiteX10867" fmla="*/ 10040820 w 10505529"/>
              <a:gd name="connsiteY10867" fmla="*/ 5658107 h 7458372"/>
              <a:gd name="connsiteX10868" fmla="*/ 9823176 w 10505529"/>
              <a:gd name="connsiteY10868" fmla="*/ 5658107 h 7458372"/>
              <a:gd name="connsiteX10869" fmla="*/ 9834890 w 10505529"/>
              <a:gd name="connsiteY10869" fmla="*/ 5660636 h 7458372"/>
              <a:gd name="connsiteX10870" fmla="*/ 9844208 w 10505529"/>
              <a:gd name="connsiteY10870" fmla="*/ 5667026 h 7458372"/>
              <a:gd name="connsiteX10871" fmla="*/ 9850331 w 10505529"/>
              <a:gd name="connsiteY10871" fmla="*/ 5676344 h 7458372"/>
              <a:gd name="connsiteX10872" fmla="*/ 9852595 w 10505529"/>
              <a:gd name="connsiteY10872" fmla="*/ 5687792 h 7458372"/>
              <a:gd name="connsiteX10873" fmla="*/ 9850331 w 10505529"/>
              <a:gd name="connsiteY10873" fmla="*/ 5699507 h 7458372"/>
              <a:gd name="connsiteX10874" fmla="*/ 9844208 w 10505529"/>
              <a:gd name="connsiteY10874" fmla="*/ 5708825 h 7458372"/>
              <a:gd name="connsiteX10875" fmla="*/ 9834890 w 10505529"/>
              <a:gd name="connsiteY10875" fmla="*/ 5715082 h 7458372"/>
              <a:gd name="connsiteX10876" fmla="*/ 9823176 w 10505529"/>
              <a:gd name="connsiteY10876" fmla="*/ 5717344 h 7458372"/>
              <a:gd name="connsiteX10877" fmla="*/ 9801343 w 10505529"/>
              <a:gd name="connsiteY10877" fmla="*/ 5708825 h 7458372"/>
              <a:gd name="connsiteX10878" fmla="*/ 9792957 w 10505529"/>
              <a:gd name="connsiteY10878" fmla="*/ 5687659 h 7458372"/>
              <a:gd name="connsiteX10879" fmla="*/ 9801343 w 10505529"/>
              <a:gd name="connsiteY10879" fmla="*/ 5666626 h 7458372"/>
              <a:gd name="connsiteX10880" fmla="*/ 9823176 w 10505529"/>
              <a:gd name="connsiteY10880" fmla="*/ 5658107 h 7458372"/>
              <a:gd name="connsiteX10881" fmla="*/ 9605531 w 10505529"/>
              <a:gd name="connsiteY10881" fmla="*/ 5658107 h 7458372"/>
              <a:gd name="connsiteX10882" fmla="*/ 9617245 w 10505529"/>
              <a:gd name="connsiteY10882" fmla="*/ 5660636 h 7458372"/>
              <a:gd name="connsiteX10883" fmla="*/ 9626562 w 10505529"/>
              <a:gd name="connsiteY10883" fmla="*/ 5667026 h 7458372"/>
              <a:gd name="connsiteX10884" fmla="*/ 9632686 w 10505529"/>
              <a:gd name="connsiteY10884" fmla="*/ 5676344 h 7458372"/>
              <a:gd name="connsiteX10885" fmla="*/ 9634949 w 10505529"/>
              <a:gd name="connsiteY10885" fmla="*/ 5687792 h 7458372"/>
              <a:gd name="connsiteX10886" fmla="*/ 9632686 w 10505529"/>
              <a:gd name="connsiteY10886" fmla="*/ 5699507 h 7458372"/>
              <a:gd name="connsiteX10887" fmla="*/ 9626562 w 10505529"/>
              <a:gd name="connsiteY10887" fmla="*/ 5708825 h 7458372"/>
              <a:gd name="connsiteX10888" fmla="*/ 9617245 w 10505529"/>
              <a:gd name="connsiteY10888" fmla="*/ 5715082 h 7458372"/>
              <a:gd name="connsiteX10889" fmla="*/ 9605531 w 10505529"/>
              <a:gd name="connsiteY10889" fmla="*/ 5717344 h 7458372"/>
              <a:gd name="connsiteX10890" fmla="*/ 9583698 w 10505529"/>
              <a:gd name="connsiteY10890" fmla="*/ 5708825 h 7458372"/>
              <a:gd name="connsiteX10891" fmla="*/ 9575312 w 10505529"/>
              <a:gd name="connsiteY10891" fmla="*/ 5687659 h 7458372"/>
              <a:gd name="connsiteX10892" fmla="*/ 9583698 w 10505529"/>
              <a:gd name="connsiteY10892" fmla="*/ 5666626 h 7458372"/>
              <a:gd name="connsiteX10893" fmla="*/ 9605531 w 10505529"/>
              <a:gd name="connsiteY10893" fmla="*/ 5658107 h 7458372"/>
              <a:gd name="connsiteX10894" fmla="*/ 9387885 w 10505529"/>
              <a:gd name="connsiteY10894" fmla="*/ 5658107 h 7458372"/>
              <a:gd name="connsiteX10895" fmla="*/ 9399599 w 10505529"/>
              <a:gd name="connsiteY10895" fmla="*/ 5660636 h 7458372"/>
              <a:gd name="connsiteX10896" fmla="*/ 9408917 w 10505529"/>
              <a:gd name="connsiteY10896" fmla="*/ 5667026 h 7458372"/>
              <a:gd name="connsiteX10897" fmla="*/ 9415041 w 10505529"/>
              <a:gd name="connsiteY10897" fmla="*/ 5676344 h 7458372"/>
              <a:gd name="connsiteX10898" fmla="*/ 9417304 w 10505529"/>
              <a:gd name="connsiteY10898" fmla="*/ 5687792 h 7458372"/>
              <a:gd name="connsiteX10899" fmla="*/ 9415041 w 10505529"/>
              <a:gd name="connsiteY10899" fmla="*/ 5699507 h 7458372"/>
              <a:gd name="connsiteX10900" fmla="*/ 9408917 w 10505529"/>
              <a:gd name="connsiteY10900" fmla="*/ 5708825 h 7458372"/>
              <a:gd name="connsiteX10901" fmla="*/ 9399599 w 10505529"/>
              <a:gd name="connsiteY10901" fmla="*/ 5715082 h 7458372"/>
              <a:gd name="connsiteX10902" fmla="*/ 9387885 w 10505529"/>
              <a:gd name="connsiteY10902" fmla="*/ 5717344 h 7458372"/>
              <a:gd name="connsiteX10903" fmla="*/ 9366053 w 10505529"/>
              <a:gd name="connsiteY10903" fmla="*/ 5708825 h 7458372"/>
              <a:gd name="connsiteX10904" fmla="*/ 9357667 w 10505529"/>
              <a:gd name="connsiteY10904" fmla="*/ 5687659 h 7458372"/>
              <a:gd name="connsiteX10905" fmla="*/ 9366053 w 10505529"/>
              <a:gd name="connsiteY10905" fmla="*/ 5666626 h 7458372"/>
              <a:gd name="connsiteX10906" fmla="*/ 9387885 w 10505529"/>
              <a:gd name="connsiteY10906" fmla="*/ 5658107 h 7458372"/>
              <a:gd name="connsiteX10907" fmla="*/ 9170374 w 10505529"/>
              <a:gd name="connsiteY10907" fmla="*/ 5658107 h 7458372"/>
              <a:gd name="connsiteX10908" fmla="*/ 9182088 w 10505529"/>
              <a:gd name="connsiteY10908" fmla="*/ 5660636 h 7458372"/>
              <a:gd name="connsiteX10909" fmla="*/ 9191405 w 10505529"/>
              <a:gd name="connsiteY10909" fmla="*/ 5667026 h 7458372"/>
              <a:gd name="connsiteX10910" fmla="*/ 9197529 w 10505529"/>
              <a:gd name="connsiteY10910" fmla="*/ 5676344 h 7458372"/>
              <a:gd name="connsiteX10911" fmla="*/ 9199792 w 10505529"/>
              <a:gd name="connsiteY10911" fmla="*/ 5687792 h 7458372"/>
              <a:gd name="connsiteX10912" fmla="*/ 9197529 w 10505529"/>
              <a:gd name="connsiteY10912" fmla="*/ 5699507 h 7458372"/>
              <a:gd name="connsiteX10913" fmla="*/ 9191405 w 10505529"/>
              <a:gd name="connsiteY10913" fmla="*/ 5708825 h 7458372"/>
              <a:gd name="connsiteX10914" fmla="*/ 9182088 w 10505529"/>
              <a:gd name="connsiteY10914" fmla="*/ 5715082 h 7458372"/>
              <a:gd name="connsiteX10915" fmla="*/ 9170374 w 10505529"/>
              <a:gd name="connsiteY10915" fmla="*/ 5717344 h 7458372"/>
              <a:gd name="connsiteX10916" fmla="*/ 9148541 w 10505529"/>
              <a:gd name="connsiteY10916" fmla="*/ 5708825 h 7458372"/>
              <a:gd name="connsiteX10917" fmla="*/ 9140155 w 10505529"/>
              <a:gd name="connsiteY10917" fmla="*/ 5687659 h 7458372"/>
              <a:gd name="connsiteX10918" fmla="*/ 9148541 w 10505529"/>
              <a:gd name="connsiteY10918" fmla="*/ 5666626 h 7458372"/>
              <a:gd name="connsiteX10919" fmla="*/ 9170374 w 10505529"/>
              <a:gd name="connsiteY10919" fmla="*/ 5658107 h 7458372"/>
              <a:gd name="connsiteX10920" fmla="*/ 8952728 w 10505529"/>
              <a:gd name="connsiteY10920" fmla="*/ 5658107 h 7458372"/>
              <a:gd name="connsiteX10921" fmla="*/ 8964442 w 10505529"/>
              <a:gd name="connsiteY10921" fmla="*/ 5660636 h 7458372"/>
              <a:gd name="connsiteX10922" fmla="*/ 8973760 w 10505529"/>
              <a:gd name="connsiteY10922" fmla="*/ 5667026 h 7458372"/>
              <a:gd name="connsiteX10923" fmla="*/ 8979884 w 10505529"/>
              <a:gd name="connsiteY10923" fmla="*/ 5676344 h 7458372"/>
              <a:gd name="connsiteX10924" fmla="*/ 8982147 w 10505529"/>
              <a:gd name="connsiteY10924" fmla="*/ 5687792 h 7458372"/>
              <a:gd name="connsiteX10925" fmla="*/ 8979884 w 10505529"/>
              <a:gd name="connsiteY10925" fmla="*/ 5699507 h 7458372"/>
              <a:gd name="connsiteX10926" fmla="*/ 8973760 w 10505529"/>
              <a:gd name="connsiteY10926" fmla="*/ 5708825 h 7458372"/>
              <a:gd name="connsiteX10927" fmla="*/ 8964442 w 10505529"/>
              <a:gd name="connsiteY10927" fmla="*/ 5715082 h 7458372"/>
              <a:gd name="connsiteX10928" fmla="*/ 8952728 w 10505529"/>
              <a:gd name="connsiteY10928" fmla="*/ 5717344 h 7458372"/>
              <a:gd name="connsiteX10929" fmla="*/ 8930896 w 10505529"/>
              <a:gd name="connsiteY10929" fmla="*/ 5708825 h 7458372"/>
              <a:gd name="connsiteX10930" fmla="*/ 8922510 w 10505529"/>
              <a:gd name="connsiteY10930" fmla="*/ 5687659 h 7458372"/>
              <a:gd name="connsiteX10931" fmla="*/ 8930896 w 10505529"/>
              <a:gd name="connsiteY10931" fmla="*/ 5666626 h 7458372"/>
              <a:gd name="connsiteX10932" fmla="*/ 8952728 w 10505529"/>
              <a:gd name="connsiteY10932" fmla="*/ 5658107 h 7458372"/>
              <a:gd name="connsiteX10933" fmla="*/ 8735083 w 10505529"/>
              <a:gd name="connsiteY10933" fmla="*/ 5658107 h 7458372"/>
              <a:gd name="connsiteX10934" fmla="*/ 8746797 w 10505529"/>
              <a:gd name="connsiteY10934" fmla="*/ 5660636 h 7458372"/>
              <a:gd name="connsiteX10935" fmla="*/ 8756115 w 10505529"/>
              <a:gd name="connsiteY10935" fmla="*/ 5667026 h 7458372"/>
              <a:gd name="connsiteX10936" fmla="*/ 8762238 w 10505529"/>
              <a:gd name="connsiteY10936" fmla="*/ 5676344 h 7458372"/>
              <a:gd name="connsiteX10937" fmla="*/ 8764502 w 10505529"/>
              <a:gd name="connsiteY10937" fmla="*/ 5687792 h 7458372"/>
              <a:gd name="connsiteX10938" fmla="*/ 8762238 w 10505529"/>
              <a:gd name="connsiteY10938" fmla="*/ 5699507 h 7458372"/>
              <a:gd name="connsiteX10939" fmla="*/ 8756115 w 10505529"/>
              <a:gd name="connsiteY10939" fmla="*/ 5708825 h 7458372"/>
              <a:gd name="connsiteX10940" fmla="*/ 8746797 w 10505529"/>
              <a:gd name="connsiteY10940" fmla="*/ 5715082 h 7458372"/>
              <a:gd name="connsiteX10941" fmla="*/ 8735083 w 10505529"/>
              <a:gd name="connsiteY10941" fmla="*/ 5717344 h 7458372"/>
              <a:gd name="connsiteX10942" fmla="*/ 8713250 w 10505529"/>
              <a:gd name="connsiteY10942" fmla="*/ 5708825 h 7458372"/>
              <a:gd name="connsiteX10943" fmla="*/ 8704864 w 10505529"/>
              <a:gd name="connsiteY10943" fmla="*/ 5687659 h 7458372"/>
              <a:gd name="connsiteX10944" fmla="*/ 8713250 w 10505529"/>
              <a:gd name="connsiteY10944" fmla="*/ 5666626 h 7458372"/>
              <a:gd name="connsiteX10945" fmla="*/ 8735083 w 10505529"/>
              <a:gd name="connsiteY10945" fmla="*/ 5658107 h 7458372"/>
              <a:gd name="connsiteX10946" fmla="*/ 8517438 w 10505529"/>
              <a:gd name="connsiteY10946" fmla="*/ 5658107 h 7458372"/>
              <a:gd name="connsiteX10947" fmla="*/ 8529152 w 10505529"/>
              <a:gd name="connsiteY10947" fmla="*/ 5660636 h 7458372"/>
              <a:gd name="connsiteX10948" fmla="*/ 8538470 w 10505529"/>
              <a:gd name="connsiteY10948" fmla="*/ 5667026 h 7458372"/>
              <a:gd name="connsiteX10949" fmla="*/ 8544594 w 10505529"/>
              <a:gd name="connsiteY10949" fmla="*/ 5676344 h 7458372"/>
              <a:gd name="connsiteX10950" fmla="*/ 8546857 w 10505529"/>
              <a:gd name="connsiteY10950" fmla="*/ 5687792 h 7458372"/>
              <a:gd name="connsiteX10951" fmla="*/ 8544594 w 10505529"/>
              <a:gd name="connsiteY10951" fmla="*/ 5699507 h 7458372"/>
              <a:gd name="connsiteX10952" fmla="*/ 8538470 w 10505529"/>
              <a:gd name="connsiteY10952" fmla="*/ 5708825 h 7458372"/>
              <a:gd name="connsiteX10953" fmla="*/ 8529152 w 10505529"/>
              <a:gd name="connsiteY10953" fmla="*/ 5715082 h 7458372"/>
              <a:gd name="connsiteX10954" fmla="*/ 8517438 w 10505529"/>
              <a:gd name="connsiteY10954" fmla="*/ 5717344 h 7458372"/>
              <a:gd name="connsiteX10955" fmla="*/ 8495606 w 10505529"/>
              <a:gd name="connsiteY10955" fmla="*/ 5708825 h 7458372"/>
              <a:gd name="connsiteX10956" fmla="*/ 8487220 w 10505529"/>
              <a:gd name="connsiteY10956" fmla="*/ 5687659 h 7458372"/>
              <a:gd name="connsiteX10957" fmla="*/ 8495606 w 10505529"/>
              <a:gd name="connsiteY10957" fmla="*/ 5666626 h 7458372"/>
              <a:gd name="connsiteX10958" fmla="*/ 8517438 w 10505529"/>
              <a:gd name="connsiteY10958" fmla="*/ 5658107 h 7458372"/>
              <a:gd name="connsiteX10959" fmla="*/ 8299793 w 10505529"/>
              <a:gd name="connsiteY10959" fmla="*/ 5658107 h 7458372"/>
              <a:gd name="connsiteX10960" fmla="*/ 8311507 w 10505529"/>
              <a:gd name="connsiteY10960" fmla="*/ 5660636 h 7458372"/>
              <a:gd name="connsiteX10961" fmla="*/ 8320825 w 10505529"/>
              <a:gd name="connsiteY10961" fmla="*/ 5667026 h 7458372"/>
              <a:gd name="connsiteX10962" fmla="*/ 8326948 w 10505529"/>
              <a:gd name="connsiteY10962" fmla="*/ 5676344 h 7458372"/>
              <a:gd name="connsiteX10963" fmla="*/ 8329212 w 10505529"/>
              <a:gd name="connsiteY10963" fmla="*/ 5687792 h 7458372"/>
              <a:gd name="connsiteX10964" fmla="*/ 8326948 w 10505529"/>
              <a:gd name="connsiteY10964" fmla="*/ 5699507 h 7458372"/>
              <a:gd name="connsiteX10965" fmla="*/ 8320825 w 10505529"/>
              <a:gd name="connsiteY10965" fmla="*/ 5708825 h 7458372"/>
              <a:gd name="connsiteX10966" fmla="*/ 8311507 w 10505529"/>
              <a:gd name="connsiteY10966" fmla="*/ 5715082 h 7458372"/>
              <a:gd name="connsiteX10967" fmla="*/ 8299793 w 10505529"/>
              <a:gd name="connsiteY10967" fmla="*/ 5717344 h 7458372"/>
              <a:gd name="connsiteX10968" fmla="*/ 8277960 w 10505529"/>
              <a:gd name="connsiteY10968" fmla="*/ 5708825 h 7458372"/>
              <a:gd name="connsiteX10969" fmla="*/ 8269574 w 10505529"/>
              <a:gd name="connsiteY10969" fmla="*/ 5687659 h 7458372"/>
              <a:gd name="connsiteX10970" fmla="*/ 8277960 w 10505529"/>
              <a:gd name="connsiteY10970" fmla="*/ 5666626 h 7458372"/>
              <a:gd name="connsiteX10971" fmla="*/ 8299793 w 10505529"/>
              <a:gd name="connsiteY10971" fmla="*/ 5658107 h 7458372"/>
              <a:gd name="connsiteX10972" fmla="*/ 8082281 w 10505529"/>
              <a:gd name="connsiteY10972" fmla="*/ 5658107 h 7458372"/>
              <a:gd name="connsiteX10973" fmla="*/ 8094127 w 10505529"/>
              <a:gd name="connsiteY10973" fmla="*/ 5660636 h 7458372"/>
              <a:gd name="connsiteX10974" fmla="*/ 8103446 w 10505529"/>
              <a:gd name="connsiteY10974" fmla="*/ 5667026 h 7458372"/>
              <a:gd name="connsiteX10975" fmla="*/ 8109569 w 10505529"/>
              <a:gd name="connsiteY10975" fmla="*/ 5676344 h 7458372"/>
              <a:gd name="connsiteX10976" fmla="*/ 8111832 w 10505529"/>
              <a:gd name="connsiteY10976" fmla="*/ 5687792 h 7458372"/>
              <a:gd name="connsiteX10977" fmla="*/ 8109569 w 10505529"/>
              <a:gd name="connsiteY10977" fmla="*/ 5699507 h 7458372"/>
              <a:gd name="connsiteX10978" fmla="*/ 8103446 w 10505529"/>
              <a:gd name="connsiteY10978" fmla="*/ 5708825 h 7458372"/>
              <a:gd name="connsiteX10979" fmla="*/ 8094127 w 10505529"/>
              <a:gd name="connsiteY10979" fmla="*/ 5715082 h 7458372"/>
              <a:gd name="connsiteX10980" fmla="*/ 8082281 w 10505529"/>
              <a:gd name="connsiteY10980" fmla="*/ 5717344 h 7458372"/>
              <a:gd name="connsiteX10981" fmla="*/ 8060448 w 10505529"/>
              <a:gd name="connsiteY10981" fmla="*/ 5708825 h 7458372"/>
              <a:gd name="connsiteX10982" fmla="*/ 8052062 w 10505529"/>
              <a:gd name="connsiteY10982" fmla="*/ 5687659 h 7458372"/>
              <a:gd name="connsiteX10983" fmla="*/ 8060448 w 10505529"/>
              <a:gd name="connsiteY10983" fmla="*/ 5666626 h 7458372"/>
              <a:gd name="connsiteX10984" fmla="*/ 8082281 w 10505529"/>
              <a:gd name="connsiteY10984" fmla="*/ 5658107 h 7458372"/>
              <a:gd name="connsiteX10985" fmla="*/ 7864636 w 10505529"/>
              <a:gd name="connsiteY10985" fmla="*/ 5658107 h 7458372"/>
              <a:gd name="connsiteX10986" fmla="*/ 7876483 w 10505529"/>
              <a:gd name="connsiteY10986" fmla="*/ 5660636 h 7458372"/>
              <a:gd name="connsiteX10987" fmla="*/ 7885802 w 10505529"/>
              <a:gd name="connsiteY10987" fmla="*/ 5667026 h 7458372"/>
              <a:gd name="connsiteX10988" fmla="*/ 7891924 w 10505529"/>
              <a:gd name="connsiteY10988" fmla="*/ 5676344 h 7458372"/>
              <a:gd name="connsiteX10989" fmla="*/ 7894188 w 10505529"/>
              <a:gd name="connsiteY10989" fmla="*/ 5687792 h 7458372"/>
              <a:gd name="connsiteX10990" fmla="*/ 7891924 w 10505529"/>
              <a:gd name="connsiteY10990" fmla="*/ 5699507 h 7458372"/>
              <a:gd name="connsiteX10991" fmla="*/ 7885802 w 10505529"/>
              <a:gd name="connsiteY10991" fmla="*/ 5708825 h 7458372"/>
              <a:gd name="connsiteX10992" fmla="*/ 7876483 w 10505529"/>
              <a:gd name="connsiteY10992" fmla="*/ 5715082 h 7458372"/>
              <a:gd name="connsiteX10993" fmla="*/ 7864636 w 10505529"/>
              <a:gd name="connsiteY10993" fmla="*/ 5717344 h 7458372"/>
              <a:gd name="connsiteX10994" fmla="*/ 7842803 w 10505529"/>
              <a:gd name="connsiteY10994" fmla="*/ 5708825 h 7458372"/>
              <a:gd name="connsiteX10995" fmla="*/ 7834417 w 10505529"/>
              <a:gd name="connsiteY10995" fmla="*/ 5687659 h 7458372"/>
              <a:gd name="connsiteX10996" fmla="*/ 7842803 w 10505529"/>
              <a:gd name="connsiteY10996" fmla="*/ 5666626 h 7458372"/>
              <a:gd name="connsiteX10997" fmla="*/ 7864636 w 10505529"/>
              <a:gd name="connsiteY10997" fmla="*/ 5658107 h 7458372"/>
              <a:gd name="connsiteX10998" fmla="*/ 7646991 w 10505529"/>
              <a:gd name="connsiteY10998" fmla="*/ 5658107 h 7458372"/>
              <a:gd name="connsiteX10999" fmla="*/ 7658705 w 10505529"/>
              <a:gd name="connsiteY10999" fmla="*/ 5660636 h 7458372"/>
              <a:gd name="connsiteX11000" fmla="*/ 7668022 w 10505529"/>
              <a:gd name="connsiteY11000" fmla="*/ 5667026 h 7458372"/>
              <a:gd name="connsiteX11001" fmla="*/ 7674146 w 10505529"/>
              <a:gd name="connsiteY11001" fmla="*/ 5676344 h 7458372"/>
              <a:gd name="connsiteX11002" fmla="*/ 7676409 w 10505529"/>
              <a:gd name="connsiteY11002" fmla="*/ 5687792 h 7458372"/>
              <a:gd name="connsiteX11003" fmla="*/ 7674146 w 10505529"/>
              <a:gd name="connsiteY11003" fmla="*/ 5699507 h 7458372"/>
              <a:gd name="connsiteX11004" fmla="*/ 7668022 w 10505529"/>
              <a:gd name="connsiteY11004" fmla="*/ 5708825 h 7458372"/>
              <a:gd name="connsiteX11005" fmla="*/ 7658705 w 10505529"/>
              <a:gd name="connsiteY11005" fmla="*/ 5715082 h 7458372"/>
              <a:gd name="connsiteX11006" fmla="*/ 7646991 w 10505529"/>
              <a:gd name="connsiteY11006" fmla="*/ 5717344 h 7458372"/>
              <a:gd name="connsiteX11007" fmla="*/ 7625158 w 10505529"/>
              <a:gd name="connsiteY11007" fmla="*/ 5708825 h 7458372"/>
              <a:gd name="connsiteX11008" fmla="*/ 7616772 w 10505529"/>
              <a:gd name="connsiteY11008" fmla="*/ 5687659 h 7458372"/>
              <a:gd name="connsiteX11009" fmla="*/ 7625158 w 10505529"/>
              <a:gd name="connsiteY11009" fmla="*/ 5666626 h 7458372"/>
              <a:gd name="connsiteX11010" fmla="*/ 7646991 w 10505529"/>
              <a:gd name="connsiteY11010" fmla="*/ 5658107 h 7458372"/>
              <a:gd name="connsiteX11011" fmla="*/ 7429345 w 10505529"/>
              <a:gd name="connsiteY11011" fmla="*/ 5658107 h 7458372"/>
              <a:gd name="connsiteX11012" fmla="*/ 7441059 w 10505529"/>
              <a:gd name="connsiteY11012" fmla="*/ 5660636 h 7458372"/>
              <a:gd name="connsiteX11013" fmla="*/ 7450377 w 10505529"/>
              <a:gd name="connsiteY11013" fmla="*/ 5667026 h 7458372"/>
              <a:gd name="connsiteX11014" fmla="*/ 7456501 w 10505529"/>
              <a:gd name="connsiteY11014" fmla="*/ 5676344 h 7458372"/>
              <a:gd name="connsiteX11015" fmla="*/ 7458764 w 10505529"/>
              <a:gd name="connsiteY11015" fmla="*/ 5687792 h 7458372"/>
              <a:gd name="connsiteX11016" fmla="*/ 7456501 w 10505529"/>
              <a:gd name="connsiteY11016" fmla="*/ 5699507 h 7458372"/>
              <a:gd name="connsiteX11017" fmla="*/ 7450377 w 10505529"/>
              <a:gd name="connsiteY11017" fmla="*/ 5708825 h 7458372"/>
              <a:gd name="connsiteX11018" fmla="*/ 7441059 w 10505529"/>
              <a:gd name="connsiteY11018" fmla="*/ 5715082 h 7458372"/>
              <a:gd name="connsiteX11019" fmla="*/ 7429345 w 10505529"/>
              <a:gd name="connsiteY11019" fmla="*/ 5717344 h 7458372"/>
              <a:gd name="connsiteX11020" fmla="*/ 7407513 w 10505529"/>
              <a:gd name="connsiteY11020" fmla="*/ 5708825 h 7458372"/>
              <a:gd name="connsiteX11021" fmla="*/ 7399127 w 10505529"/>
              <a:gd name="connsiteY11021" fmla="*/ 5687659 h 7458372"/>
              <a:gd name="connsiteX11022" fmla="*/ 7407513 w 10505529"/>
              <a:gd name="connsiteY11022" fmla="*/ 5666626 h 7458372"/>
              <a:gd name="connsiteX11023" fmla="*/ 7429345 w 10505529"/>
              <a:gd name="connsiteY11023" fmla="*/ 5658107 h 7458372"/>
              <a:gd name="connsiteX11024" fmla="*/ 7211701 w 10505529"/>
              <a:gd name="connsiteY11024" fmla="*/ 5658107 h 7458372"/>
              <a:gd name="connsiteX11025" fmla="*/ 7223415 w 10505529"/>
              <a:gd name="connsiteY11025" fmla="*/ 5660636 h 7458372"/>
              <a:gd name="connsiteX11026" fmla="*/ 7232733 w 10505529"/>
              <a:gd name="connsiteY11026" fmla="*/ 5667026 h 7458372"/>
              <a:gd name="connsiteX11027" fmla="*/ 7238856 w 10505529"/>
              <a:gd name="connsiteY11027" fmla="*/ 5676344 h 7458372"/>
              <a:gd name="connsiteX11028" fmla="*/ 7241120 w 10505529"/>
              <a:gd name="connsiteY11028" fmla="*/ 5687792 h 7458372"/>
              <a:gd name="connsiteX11029" fmla="*/ 7238856 w 10505529"/>
              <a:gd name="connsiteY11029" fmla="*/ 5699507 h 7458372"/>
              <a:gd name="connsiteX11030" fmla="*/ 7232733 w 10505529"/>
              <a:gd name="connsiteY11030" fmla="*/ 5708825 h 7458372"/>
              <a:gd name="connsiteX11031" fmla="*/ 7223415 w 10505529"/>
              <a:gd name="connsiteY11031" fmla="*/ 5715082 h 7458372"/>
              <a:gd name="connsiteX11032" fmla="*/ 7211701 w 10505529"/>
              <a:gd name="connsiteY11032" fmla="*/ 5717344 h 7458372"/>
              <a:gd name="connsiteX11033" fmla="*/ 7189868 w 10505529"/>
              <a:gd name="connsiteY11033" fmla="*/ 5708825 h 7458372"/>
              <a:gd name="connsiteX11034" fmla="*/ 7181482 w 10505529"/>
              <a:gd name="connsiteY11034" fmla="*/ 5687659 h 7458372"/>
              <a:gd name="connsiteX11035" fmla="*/ 7189868 w 10505529"/>
              <a:gd name="connsiteY11035" fmla="*/ 5666626 h 7458372"/>
              <a:gd name="connsiteX11036" fmla="*/ 7211701 w 10505529"/>
              <a:gd name="connsiteY11036" fmla="*/ 5658107 h 7458372"/>
              <a:gd name="connsiteX11037" fmla="*/ 6994056 w 10505529"/>
              <a:gd name="connsiteY11037" fmla="*/ 5658107 h 7458372"/>
              <a:gd name="connsiteX11038" fmla="*/ 7005769 w 10505529"/>
              <a:gd name="connsiteY11038" fmla="*/ 5660636 h 7458372"/>
              <a:gd name="connsiteX11039" fmla="*/ 7015087 w 10505529"/>
              <a:gd name="connsiteY11039" fmla="*/ 5667026 h 7458372"/>
              <a:gd name="connsiteX11040" fmla="*/ 7021211 w 10505529"/>
              <a:gd name="connsiteY11040" fmla="*/ 5676344 h 7458372"/>
              <a:gd name="connsiteX11041" fmla="*/ 7023474 w 10505529"/>
              <a:gd name="connsiteY11041" fmla="*/ 5687792 h 7458372"/>
              <a:gd name="connsiteX11042" fmla="*/ 7021211 w 10505529"/>
              <a:gd name="connsiteY11042" fmla="*/ 5699507 h 7458372"/>
              <a:gd name="connsiteX11043" fmla="*/ 7015087 w 10505529"/>
              <a:gd name="connsiteY11043" fmla="*/ 5708825 h 7458372"/>
              <a:gd name="connsiteX11044" fmla="*/ 7005769 w 10505529"/>
              <a:gd name="connsiteY11044" fmla="*/ 5715082 h 7458372"/>
              <a:gd name="connsiteX11045" fmla="*/ 6994056 w 10505529"/>
              <a:gd name="connsiteY11045" fmla="*/ 5717344 h 7458372"/>
              <a:gd name="connsiteX11046" fmla="*/ 6972223 w 10505529"/>
              <a:gd name="connsiteY11046" fmla="*/ 5708825 h 7458372"/>
              <a:gd name="connsiteX11047" fmla="*/ 6963837 w 10505529"/>
              <a:gd name="connsiteY11047" fmla="*/ 5687659 h 7458372"/>
              <a:gd name="connsiteX11048" fmla="*/ 6972223 w 10505529"/>
              <a:gd name="connsiteY11048" fmla="*/ 5666626 h 7458372"/>
              <a:gd name="connsiteX11049" fmla="*/ 6994056 w 10505529"/>
              <a:gd name="connsiteY11049" fmla="*/ 5658107 h 7458372"/>
              <a:gd name="connsiteX11050" fmla="*/ 6776544 w 10505529"/>
              <a:gd name="connsiteY11050" fmla="*/ 5658107 h 7458372"/>
              <a:gd name="connsiteX11051" fmla="*/ 6788258 w 10505529"/>
              <a:gd name="connsiteY11051" fmla="*/ 5660636 h 7458372"/>
              <a:gd name="connsiteX11052" fmla="*/ 6797576 w 10505529"/>
              <a:gd name="connsiteY11052" fmla="*/ 5667026 h 7458372"/>
              <a:gd name="connsiteX11053" fmla="*/ 6803699 w 10505529"/>
              <a:gd name="connsiteY11053" fmla="*/ 5676344 h 7458372"/>
              <a:gd name="connsiteX11054" fmla="*/ 6805963 w 10505529"/>
              <a:gd name="connsiteY11054" fmla="*/ 5687792 h 7458372"/>
              <a:gd name="connsiteX11055" fmla="*/ 6803699 w 10505529"/>
              <a:gd name="connsiteY11055" fmla="*/ 5699507 h 7458372"/>
              <a:gd name="connsiteX11056" fmla="*/ 6797576 w 10505529"/>
              <a:gd name="connsiteY11056" fmla="*/ 5708825 h 7458372"/>
              <a:gd name="connsiteX11057" fmla="*/ 6788258 w 10505529"/>
              <a:gd name="connsiteY11057" fmla="*/ 5715082 h 7458372"/>
              <a:gd name="connsiteX11058" fmla="*/ 6776544 w 10505529"/>
              <a:gd name="connsiteY11058" fmla="*/ 5717344 h 7458372"/>
              <a:gd name="connsiteX11059" fmla="*/ 6754711 w 10505529"/>
              <a:gd name="connsiteY11059" fmla="*/ 5708825 h 7458372"/>
              <a:gd name="connsiteX11060" fmla="*/ 6746325 w 10505529"/>
              <a:gd name="connsiteY11060" fmla="*/ 5687659 h 7458372"/>
              <a:gd name="connsiteX11061" fmla="*/ 6754711 w 10505529"/>
              <a:gd name="connsiteY11061" fmla="*/ 5666626 h 7458372"/>
              <a:gd name="connsiteX11062" fmla="*/ 6776544 w 10505529"/>
              <a:gd name="connsiteY11062" fmla="*/ 5658107 h 7458372"/>
              <a:gd name="connsiteX11063" fmla="*/ 6558899 w 10505529"/>
              <a:gd name="connsiteY11063" fmla="*/ 5658107 h 7458372"/>
              <a:gd name="connsiteX11064" fmla="*/ 6570612 w 10505529"/>
              <a:gd name="connsiteY11064" fmla="*/ 5660636 h 7458372"/>
              <a:gd name="connsiteX11065" fmla="*/ 6579930 w 10505529"/>
              <a:gd name="connsiteY11065" fmla="*/ 5667026 h 7458372"/>
              <a:gd name="connsiteX11066" fmla="*/ 6586054 w 10505529"/>
              <a:gd name="connsiteY11066" fmla="*/ 5676344 h 7458372"/>
              <a:gd name="connsiteX11067" fmla="*/ 6588317 w 10505529"/>
              <a:gd name="connsiteY11067" fmla="*/ 5687792 h 7458372"/>
              <a:gd name="connsiteX11068" fmla="*/ 6586054 w 10505529"/>
              <a:gd name="connsiteY11068" fmla="*/ 5699507 h 7458372"/>
              <a:gd name="connsiteX11069" fmla="*/ 6579930 w 10505529"/>
              <a:gd name="connsiteY11069" fmla="*/ 5708825 h 7458372"/>
              <a:gd name="connsiteX11070" fmla="*/ 6570612 w 10505529"/>
              <a:gd name="connsiteY11070" fmla="*/ 5715082 h 7458372"/>
              <a:gd name="connsiteX11071" fmla="*/ 6558899 w 10505529"/>
              <a:gd name="connsiteY11071" fmla="*/ 5717344 h 7458372"/>
              <a:gd name="connsiteX11072" fmla="*/ 6537066 w 10505529"/>
              <a:gd name="connsiteY11072" fmla="*/ 5708825 h 7458372"/>
              <a:gd name="connsiteX11073" fmla="*/ 6528680 w 10505529"/>
              <a:gd name="connsiteY11073" fmla="*/ 5687659 h 7458372"/>
              <a:gd name="connsiteX11074" fmla="*/ 6537066 w 10505529"/>
              <a:gd name="connsiteY11074" fmla="*/ 5666626 h 7458372"/>
              <a:gd name="connsiteX11075" fmla="*/ 6558899 w 10505529"/>
              <a:gd name="connsiteY11075" fmla="*/ 5658107 h 7458372"/>
              <a:gd name="connsiteX11076" fmla="*/ 6341253 w 10505529"/>
              <a:gd name="connsiteY11076" fmla="*/ 5658107 h 7458372"/>
              <a:gd name="connsiteX11077" fmla="*/ 6352968 w 10505529"/>
              <a:gd name="connsiteY11077" fmla="*/ 5660636 h 7458372"/>
              <a:gd name="connsiteX11078" fmla="*/ 6362286 w 10505529"/>
              <a:gd name="connsiteY11078" fmla="*/ 5667026 h 7458372"/>
              <a:gd name="connsiteX11079" fmla="*/ 6368409 w 10505529"/>
              <a:gd name="connsiteY11079" fmla="*/ 5676344 h 7458372"/>
              <a:gd name="connsiteX11080" fmla="*/ 6370672 w 10505529"/>
              <a:gd name="connsiteY11080" fmla="*/ 5687792 h 7458372"/>
              <a:gd name="connsiteX11081" fmla="*/ 6368409 w 10505529"/>
              <a:gd name="connsiteY11081" fmla="*/ 5699507 h 7458372"/>
              <a:gd name="connsiteX11082" fmla="*/ 6362286 w 10505529"/>
              <a:gd name="connsiteY11082" fmla="*/ 5708825 h 7458372"/>
              <a:gd name="connsiteX11083" fmla="*/ 6352968 w 10505529"/>
              <a:gd name="connsiteY11083" fmla="*/ 5715082 h 7458372"/>
              <a:gd name="connsiteX11084" fmla="*/ 6341253 w 10505529"/>
              <a:gd name="connsiteY11084" fmla="*/ 5717344 h 7458372"/>
              <a:gd name="connsiteX11085" fmla="*/ 6319421 w 10505529"/>
              <a:gd name="connsiteY11085" fmla="*/ 5708825 h 7458372"/>
              <a:gd name="connsiteX11086" fmla="*/ 6311035 w 10505529"/>
              <a:gd name="connsiteY11086" fmla="*/ 5687659 h 7458372"/>
              <a:gd name="connsiteX11087" fmla="*/ 6319421 w 10505529"/>
              <a:gd name="connsiteY11087" fmla="*/ 5666626 h 7458372"/>
              <a:gd name="connsiteX11088" fmla="*/ 6341253 w 10505529"/>
              <a:gd name="connsiteY11088" fmla="*/ 5658107 h 7458372"/>
              <a:gd name="connsiteX11089" fmla="*/ 6123608 w 10505529"/>
              <a:gd name="connsiteY11089" fmla="*/ 5658107 h 7458372"/>
              <a:gd name="connsiteX11090" fmla="*/ 6135322 w 10505529"/>
              <a:gd name="connsiteY11090" fmla="*/ 5660636 h 7458372"/>
              <a:gd name="connsiteX11091" fmla="*/ 6144640 w 10505529"/>
              <a:gd name="connsiteY11091" fmla="*/ 5667026 h 7458372"/>
              <a:gd name="connsiteX11092" fmla="*/ 6150763 w 10505529"/>
              <a:gd name="connsiteY11092" fmla="*/ 5676344 h 7458372"/>
              <a:gd name="connsiteX11093" fmla="*/ 6153026 w 10505529"/>
              <a:gd name="connsiteY11093" fmla="*/ 5687792 h 7458372"/>
              <a:gd name="connsiteX11094" fmla="*/ 6150763 w 10505529"/>
              <a:gd name="connsiteY11094" fmla="*/ 5699507 h 7458372"/>
              <a:gd name="connsiteX11095" fmla="*/ 6144640 w 10505529"/>
              <a:gd name="connsiteY11095" fmla="*/ 5708825 h 7458372"/>
              <a:gd name="connsiteX11096" fmla="*/ 6135322 w 10505529"/>
              <a:gd name="connsiteY11096" fmla="*/ 5715082 h 7458372"/>
              <a:gd name="connsiteX11097" fmla="*/ 6123608 w 10505529"/>
              <a:gd name="connsiteY11097" fmla="*/ 5717344 h 7458372"/>
              <a:gd name="connsiteX11098" fmla="*/ 6101775 w 10505529"/>
              <a:gd name="connsiteY11098" fmla="*/ 5708825 h 7458372"/>
              <a:gd name="connsiteX11099" fmla="*/ 6093389 w 10505529"/>
              <a:gd name="connsiteY11099" fmla="*/ 5687659 h 7458372"/>
              <a:gd name="connsiteX11100" fmla="*/ 6101775 w 10505529"/>
              <a:gd name="connsiteY11100" fmla="*/ 5666626 h 7458372"/>
              <a:gd name="connsiteX11101" fmla="*/ 6123608 w 10505529"/>
              <a:gd name="connsiteY11101" fmla="*/ 5658107 h 7458372"/>
              <a:gd name="connsiteX11102" fmla="*/ 5905963 w 10505529"/>
              <a:gd name="connsiteY11102" fmla="*/ 5658107 h 7458372"/>
              <a:gd name="connsiteX11103" fmla="*/ 5917677 w 10505529"/>
              <a:gd name="connsiteY11103" fmla="*/ 5660636 h 7458372"/>
              <a:gd name="connsiteX11104" fmla="*/ 5926995 w 10505529"/>
              <a:gd name="connsiteY11104" fmla="*/ 5667026 h 7458372"/>
              <a:gd name="connsiteX11105" fmla="*/ 5933118 w 10505529"/>
              <a:gd name="connsiteY11105" fmla="*/ 5676344 h 7458372"/>
              <a:gd name="connsiteX11106" fmla="*/ 5935381 w 10505529"/>
              <a:gd name="connsiteY11106" fmla="*/ 5687792 h 7458372"/>
              <a:gd name="connsiteX11107" fmla="*/ 5933118 w 10505529"/>
              <a:gd name="connsiteY11107" fmla="*/ 5699507 h 7458372"/>
              <a:gd name="connsiteX11108" fmla="*/ 5926995 w 10505529"/>
              <a:gd name="connsiteY11108" fmla="*/ 5708825 h 7458372"/>
              <a:gd name="connsiteX11109" fmla="*/ 5917677 w 10505529"/>
              <a:gd name="connsiteY11109" fmla="*/ 5715082 h 7458372"/>
              <a:gd name="connsiteX11110" fmla="*/ 5905963 w 10505529"/>
              <a:gd name="connsiteY11110" fmla="*/ 5717344 h 7458372"/>
              <a:gd name="connsiteX11111" fmla="*/ 5884130 w 10505529"/>
              <a:gd name="connsiteY11111" fmla="*/ 5708825 h 7458372"/>
              <a:gd name="connsiteX11112" fmla="*/ 5875744 w 10505529"/>
              <a:gd name="connsiteY11112" fmla="*/ 5687659 h 7458372"/>
              <a:gd name="connsiteX11113" fmla="*/ 5884130 w 10505529"/>
              <a:gd name="connsiteY11113" fmla="*/ 5666626 h 7458372"/>
              <a:gd name="connsiteX11114" fmla="*/ 5905963 w 10505529"/>
              <a:gd name="connsiteY11114" fmla="*/ 5658107 h 7458372"/>
              <a:gd name="connsiteX11115" fmla="*/ 5688451 w 10505529"/>
              <a:gd name="connsiteY11115" fmla="*/ 5658107 h 7458372"/>
              <a:gd name="connsiteX11116" fmla="*/ 5700165 w 10505529"/>
              <a:gd name="connsiteY11116" fmla="*/ 5660636 h 7458372"/>
              <a:gd name="connsiteX11117" fmla="*/ 5709483 w 10505529"/>
              <a:gd name="connsiteY11117" fmla="*/ 5667026 h 7458372"/>
              <a:gd name="connsiteX11118" fmla="*/ 5715606 w 10505529"/>
              <a:gd name="connsiteY11118" fmla="*/ 5676344 h 7458372"/>
              <a:gd name="connsiteX11119" fmla="*/ 5717869 w 10505529"/>
              <a:gd name="connsiteY11119" fmla="*/ 5687792 h 7458372"/>
              <a:gd name="connsiteX11120" fmla="*/ 5715606 w 10505529"/>
              <a:gd name="connsiteY11120" fmla="*/ 5699507 h 7458372"/>
              <a:gd name="connsiteX11121" fmla="*/ 5709483 w 10505529"/>
              <a:gd name="connsiteY11121" fmla="*/ 5708825 h 7458372"/>
              <a:gd name="connsiteX11122" fmla="*/ 5700165 w 10505529"/>
              <a:gd name="connsiteY11122" fmla="*/ 5715082 h 7458372"/>
              <a:gd name="connsiteX11123" fmla="*/ 5688451 w 10505529"/>
              <a:gd name="connsiteY11123" fmla="*/ 5717344 h 7458372"/>
              <a:gd name="connsiteX11124" fmla="*/ 5666618 w 10505529"/>
              <a:gd name="connsiteY11124" fmla="*/ 5708825 h 7458372"/>
              <a:gd name="connsiteX11125" fmla="*/ 5658232 w 10505529"/>
              <a:gd name="connsiteY11125" fmla="*/ 5687659 h 7458372"/>
              <a:gd name="connsiteX11126" fmla="*/ 5666618 w 10505529"/>
              <a:gd name="connsiteY11126" fmla="*/ 5666626 h 7458372"/>
              <a:gd name="connsiteX11127" fmla="*/ 5688451 w 10505529"/>
              <a:gd name="connsiteY11127" fmla="*/ 5658107 h 7458372"/>
              <a:gd name="connsiteX11128" fmla="*/ 5470806 w 10505529"/>
              <a:gd name="connsiteY11128" fmla="*/ 5658107 h 7458372"/>
              <a:gd name="connsiteX11129" fmla="*/ 5482520 w 10505529"/>
              <a:gd name="connsiteY11129" fmla="*/ 5660636 h 7458372"/>
              <a:gd name="connsiteX11130" fmla="*/ 5491838 w 10505529"/>
              <a:gd name="connsiteY11130" fmla="*/ 5667026 h 7458372"/>
              <a:gd name="connsiteX11131" fmla="*/ 5497961 w 10505529"/>
              <a:gd name="connsiteY11131" fmla="*/ 5676344 h 7458372"/>
              <a:gd name="connsiteX11132" fmla="*/ 5500224 w 10505529"/>
              <a:gd name="connsiteY11132" fmla="*/ 5687792 h 7458372"/>
              <a:gd name="connsiteX11133" fmla="*/ 5497961 w 10505529"/>
              <a:gd name="connsiteY11133" fmla="*/ 5699507 h 7458372"/>
              <a:gd name="connsiteX11134" fmla="*/ 5491838 w 10505529"/>
              <a:gd name="connsiteY11134" fmla="*/ 5708825 h 7458372"/>
              <a:gd name="connsiteX11135" fmla="*/ 5482520 w 10505529"/>
              <a:gd name="connsiteY11135" fmla="*/ 5715082 h 7458372"/>
              <a:gd name="connsiteX11136" fmla="*/ 5470806 w 10505529"/>
              <a:gd name="connsiteY11136" fmla="*/ 5717344 h 7458372"/>
              <a:gd name="connsiteX11137" fmla="*/ 5448973 w 10505529"/>
              <a:gd name="connsiteY11137" fmla="*/ 5708825 h 7458372"/>
              <a:gd name="connsiteX11138" fmla="*/ 5440587 w 10505529"/>
              <a:gd name="connsiteY11138" fmla="*/ 5687659 h 7458372"/>
              <a:gd name="connsiteX11139" fmla="*/ 5448973 w 10505529"/>
              <a:gd name="connsiteY11139" fmla="*/ 5666626 h 7458372"/>
              <a:gd name="connsiteX11140" fmla="*/ 5470806 w 10505529"/>
              <a:gd name="connsiteY11140" fmla="*/ 5658107 h 7458372"/>
              <a:gd name="connsiteX11141" fmla="*/ 5253160 w 10505529"/>
              <a:gd name="connsiteY11141" fmla="*/ 5658107 h 7458372"/>
              <a:gd name="connsiteX11142" fmla="*/ 5264875 w 10505529"/>
              <a:gd name="connsiteY11142" fmla="*/ 5660636 h 7458372"/>
              <a:gd name="connsiteX11143" fmla="*/ 5274192 w 10505529"/>
              <a:gd name="connsiteY11143" fmla="*/ 5667026 h 7458372"/>
              <a:gd name="connsiteX11144" fmla="*/ 5280316 w 10505529"/>
              <a:gd name="connsiteY11144" fmla="*/ 5676344 h 7458372"/>
              <a:gd name="connsiteX11145" fmla="*/ 5282579 w 10505529"/>
              <a:gd name="connsiteY11145" fmla="*/ 5687792 h 7458372"/>
              <a:gd name="connsiteX11146" fmla="*/ 5280316 w 10505529"/>
              <a:gd name="connsiteY11146" fmla="*/ 5699507 h 7458372"/>
              <a:gd name="connsiteX11147" fmla="*/ 5274192 w 10505529"/>
              <a:gd name="connsiteY11147" fmla="*/ 5708825 h 7458372"/>
              <a:gd name="connsiteX11148" fmla="*/ 5264875 w 10505529"/>
              <a:gd name="connsiteY11148" fmla="*/ 5715082 h 7458372"/>
              <a:gd name="connsiteX11149" fmla="*/ 5253160 w 10505529"/>
              <a:gd name="connsiteY11149" fmla="*/ 5717344 h 7458372"/>
              <a:gd name="connsiteX11150" fmla="*/ 5231328 w 10505529"/>
              <a:gd name="connsiteY11150" fmla="*/ 5708825 h 7458372"/>
              <a:gd name="connsiteX11151" fmla="*/ 5222942 w 10505529"/>
              <a:gd name="connsiteY11151" fmla="*/ 5687659 h 7458372"/>
              <a:gd name="connsiteX11152" fmla="*/ 5231328 w 10505529"/>
              <a:gd name="connsiteY11152" fmla="*/ 5666626 h 7458372"/>
              <a:gd name="connsiteX11153" fmla="*/ 5253160 w 10505529"/>
              <a:gd name="connsiteY11153" fmla="*/ 5658107 h 7458372"/>
              <a:gd name="connsiteX11154" fmla="*/ 5035515 w 10505529"/>
              <a:gd name="connsiteY11154" fmla="*/ 5658107 h 7458372"/>
              <a:gd name="connsiteX11155" fmla="*/ 5047230 w 10505529"/>
              <a:gd name="connsiteY11155" fmla="*/ 5660636 h 7458372"/>
              <a:gd name="connsiteX11156" fmla="*/ 5056548 w 10505529"/>
              <a:gd name="connsiteY11156" fmla="*/ 5667026 h 7458372"/>
              <a:gd name="connsiteX11157" fmla="*/ 5062671 w 10505529"/>
              <a:gd name="connsiteY11157" fmla="*/ 5676344 h 7458372"/>
              <a:gd name="connsiteX11158" fmla="*/ 5064934 w 10505529"/>
              <a:gd name="connsiteY11158" fmla="*/ 5687792 h 7458372"/>
              <a:gd name="connsiteX11159" fmla="*/ 5062671 w 10505529"/>
              <a:gd name="connsiteY11159" fmla="*/ 5699507 h 7458372"/>
              <a:gd name="connsiteX11160" fmla="*/ 5056548 w 10505529"/>
              <a:gd name="connsiteY11160" fmla="*/ 5708825 h 7458372"/>
              <a:gd name="connsiteX11161" fmla="*/ 5047230 w 10505529"/>
              <a:gd name="connsiteY11161" fmla="*/ 5715082 h 7458372"/>
              <a:gd name="connsiteX11162" fmla="*/ 5035515 w 10505529"/>
              <a:gd name="connsiteY11162" fmla="*/ 5717344 h 7458372"/>
              <a:gd name="connsiteX11163" fmla="*/ 5013683 w 10505529"/>
              <a:gd name="connsiteY11163" fmla="*/ 5708825 h 7458372"/>
              <a:gd name="connsiteX11164" fmla="*/ 5005297 w 10505529"/>
              <a:gd name="connsiteY11164" fmla="*/ 5687659 h 7458372"/>
              <a:gd name="connsiteX11165" fmla="*/ 5013683 w 10505529"/>
              <a:gd name="connsiteY11165" fmla="*/ 5666626 h 7458372"/>
              <a:gd name="connsiteX11166" fmla="*/ 5035515 w 10505529"/>
              <a:gd name="connsiteY11166" fmla="*/ 5658107 h 7458372"/>
              <a:gd name="connsiteX11167" fmla="*/ 4817870 w 10505529"/>
              <a:gd name="connsiteY11167" fmla="*/ 5658107 h 7458372"/>
              <a:gd name="connsiteX11168" fmla="*/ 4829585 w 10505529"/>
              <a:gd name="connsiteY11168" fmla="*/ 5660636 h 7458372"/>
              <a:gd name="connsiteX11169" fmla="*/ 4838903 w 10505529"/>
              <a:gd name="connsiteY11169" fmla="*/ 5667026 h 7458372"/>
              <a:gd name="connsiteX11170" fmla="*/ 4845026 w 10505529"/>
              <a:gd name="connsiteY11170" fmla="*/ 5676344 h 7458372"/>
              <a:gd name="connsiteX11171" fmla="*/ 4847289 w 10505529"/>
              <a:gd name="connsiteY11171" fmla="*/ 5687792 h 7458372"/>
              <a:gd name="connsiteX11172" fmla="*/ 4845026 w 10505529"/>
              <a:gd name="connsiteY11172" fmla="*/ 5699507 h 7458372"/>
              <a:gd name="connsiteX11173" fmla="*/ 4838903 w 10505529"/>
              <a:gd name="connsiteY11173" fmla="*/ 5708825 h 7458372"/>
              <a:gd name="connsiteX11174" fmla="*/ 4829585 w 10505529"/>
              <a:gd name="connsiteY11174" fmla="*/ 5715082 h 7458372"/>
              <a:gd name="connsiteX11175" fmla="*/ 4817870 w 10505529"/>
              <a:gd name="connsiteY11175" fmla="*/ 5717344 h 7458372"/>
              <a:gd name="connsiteX11176" fmla="*/ 4796038 w 10505529"/>
              <a:gd name="connsiteY11176" fmla="*/ 5708825 h 7458372"/>
              <a:gd name="connsiteX11177" fmla="*/ 4787652 w 10505529"/>
              <a:gd name="connsiteY11177" fmla="*/ 5687659 h 7458372"/>
              <a:gd name="connsiteX11178" fmla="*/ 4796038 w 10505529"/>
              <a:gd name="connsiteY11178" fmla="*/ 5666626 h 7458372"/>
              <a:gd name="connsiteX11179" fmla="*/ 4817870 w 10505529"/>
              <a:gd name="connsiteY11179" fmla="*/ 5658107 h 7458372"/>
              <a:gd name="connsiteX11180" fmla="*/ 4600226 w 10505529"/>
              <a:gd name="connsiteY11180" fmla="*/ 5658107 h 7458372"/>
              <a:gd name="connsiteX11181" fmla="*/ 4612073 w 10505529"/>
              <a:gd name="connsiteY11181" fmla="*/ 5660636 h 7458372"/>
              <a:gd name="connsiteX11182" fmla="*/ 4621391 w 10505529"/>
              <a:gd name="connsiteY11182" fmla="*/ 5667026 h 7458372"/>
              <a:gd name="connsiteX11183" fmla="*/ 4627514 w 10505529"/>
              <a:gd name="connsiteY11183" fmla="*/ 5676344 h 7458372"/>
              <a:gd name="connsiteX11184" fmla="*/ 4629777 w 10505529"/>
              <a:gd name="connsiteY11184" fmla="*/ 5687792 h 7458372"/>
              <a:gd name="connsiteX11185" fmla="*/ 4627514 w 10505529"/>
              <a:gd name="connsiteY11185" fmla="*/ 5699507 h 7458372"/>
              <a:gd name="connsiteX11186" fmla="*/ 4621391 w 10505529"/>
              <a:gd name="connsiteY11186" fmla="*/ 5708825 h 7458372"/>
              <a:gd name="connsiteX11187" fmla="*/ 4612073 w 10505529"/>
              <a:gd name="connsiteY11187" fmla="*/ 5715082 h 7458372"/>
              <a:gd name="connsiteX11188" fmla="*/ 4600226 w 10505529"/>
              <a:gd name="connsiteY11188" fmla="*/ 5717344 h 7458372"/>
              <a:gd name="connsiteX11189" fmla="*/ 4578393 w 10505529"/>
              <a:gd name="connsiteY11189" fmla="*/ 5708825 h 7458372"/>
              <a:gd name="connsiteX11190" fmla="*/ 4570007 w 10505529"/>
              <a:gd name="connsiteY11190" fmla="*/ 5687659 h 7458372"/>
              <a:gd name="connsiteX11191" fmla="*/ 4578393 w 10505529"/>
              <a:gd name="connsiteY11191" fmla="*/ 5666626 h 7458372"/>
              <a:gd name="connsiteX11192" fmla="*/ 4600226 w 10505529"/>
              <a:gd name="connsiteY11192" fmla="*/ 5658107 h 7458372"/>
              <a:gd name="connsiteX11193" fmla="*/ 4382713 w 10505529"/>
              <a:gd name="connsiteY11193" fmla="*/ 5658107 h 7458372"/>
              <a:gd name="connsiteX11194" fmla="*/ 4394428 w 10505529"/>
              <a:gd name="connsiteY11194" fmla="*/ 5660636 h 7458372"/>
              <a:gd name="connsiteX11195" fmla="*/ 4403746 w 10505529"/>
              <a:gd name="connsiteY11195" fmla="*/ 5667026 h 7458372"/>
              <a:gd name="connsiteX11196" fmla="*/ 4409869 w 10505529"/>
              <a:gd name="connsiteY11196" fmla="*/ 5676344 h 7458372"/>
              <a:gd name="connsiteX11197" fmla="*/ 4412132 w 10505529"/>
              <a:gd name="connsiteY11197" fmla="*/ 5687792 h 7458372"/>
              <a:gd name="connsiteX11198" fmla="*/ 4409869 w 10505529"/>
              <a:gd name="connsiteY11198" fmla="*/ 5699507 h 7458372"/>
              <a:gd name="connsiteX11199" fmla="*/ 4403746 w 10505529"/>
              <a:gd name="connsiteY11199" fmla="*/ 5708825 h 7458372"/>
              <a:gd name="connsiteX11200" fmla="*/ 4394428 w 10505529"/>
              <a:gd name="connsiteY11200" fmla="*/ 5715082 h 7458372"/>
              <a:gd name="connsiteX11201" fmla="*/ 4382713 w 10505529"/>
              <a:gd name="connsiteY11201" fmla="*/ 5717344 h 7458372"/>
              <a:gd name="connsiteX11202" fmla="*/ 4360881 w 10505529"/>
              <a:gd name="connsiteY11202" fmla="*/ 5708825 h 7458372"/>
              <a:gd name="connsiteX11203" fmla="*/ 4352495 w 10505529"/>
              <a:gd name="connsiteY11203" fmla="*/ 5687659 h 7458372"/>
              <a:gd name="connsiteX11204" fmla="*/ 4360881 w 10505529"/>
              <a:gd name="connsiteY11204" fmla="*/ 5666626 h 7458372"/>
              <a:gd name="connsiteX11205" fmla="*/ 4382713 w 10505529"/>
              <a:gd name="connsiteY11205" fmla="*/ 5658107 h 7458372"/>
              <a:gd name="connsiteX11206" fmla="*/ 4165068 w 10505529"/>
              <a:gd name="connsiteY11206" fmla="*/ 5658107 h 7458372"/>
              <a:gd name="connsiteX11207" fmla="*/ 4176782 w 10505529"/>
              <a:gd name="connsiteY11207" fmla="*/ 5660636 h 7458372"/>
              <a:gd name="connsiteX11208" fmla="*/ 4186100 w 10505529"/>
              <a:gd name="connsiteY11208" fmla="*/ 5667026 h 7458372"/>
              <a:gd name="connsiteX11209" fmla="*/ 4192223 w 10505529"/>
              <a:gd name="connsiteY11209" fmla="*/ 5676344 h 7458372"/>
              <a:gd name="connsiteX11210" fmla="*/ 4194486 w 10505529"/>
              <a:gd name="connsiteY11210" fmla="*/ 5687792 h 7458372"/>
              <a:gd name="connsiteX11211" fmla="*/ 4192223 w 10505529"/>
              <a:gd name="connsiteY11211" fmla="*/ 5699507 h 7458372"/>
              <a:gd name="connsiteX11212" fmla="*/ 4186100 w 10505529"/>
              <a:gd name="connsiteY11212" fmla="*/ 5708825 h 7458372"/>
              <a:gd name="connsiteX11213" fmla="*/ 4176782 w 10505529"/>
              <a:gd name="connsiteY11213" fmla="*/ 5715082 h 7458372"/>
              <a:gd name="connsiteX11214" fmla="*/ 4165068 w 10505529"/>
              <a:gd name="connsiteY11214" fmla="*/ 5717344 h 7458372"/>
              <a:gd name="connsiteX11215" fmla="*/ 4143235 w 10505529"/>
              <a:gd name="connsiteY11215" fmla="*/ 5708825 h 7458372"/>
              <a:gd name="connsiteX11216" fmla="*/ 4134849 w 10505529"/>
              <a:gd name="connsiteY11216" fmla="*/ 5687659 h 7458372"/>
              <a:gd name="connsiteX11217" fmla="*/ 4143235 w 10505529"/>
              <a:gd name="connsiteY11217" fmla="*/ 5666626 h 7458372"/>
              <a:gd name="connsiteX11218" fmla="*/ 4165068 w 10505529"/>
              <a:gd name="connsiteY11218" fmla="*/ 5658107 h 7458372"/>
              <a:gd name="connsiteX11219" fmla="*/ 3947733 w 10505529"/>
              <a:gd name="connsiteY11219" fmla="*/ 5658107 h 7458372"/>
              <a:gd name="connsiteX11220" fmla="*/ 3959451 w 10505529"/>
              <a:gd name="connsiteY11220" fmla="*/ 5660636 h 7458372"/>
              <a:gd name="connsiteX11221" fmla="*/ 3968769 w 10505529"/>
              <a:gd name="connsiteY11221" fmla="*/ 5667026 h 7458372"/>
              <a:gd name="connsiteX11222" fmla="*/ 3974893 w 10505529"/>
              <a:gd name="connsiteY11222" fmla="*/ 5676344 h 7458372"/>
              <a:gd name="connsiteX11223" fmla="*/ 3977156 w 10505529"/>
              <a:gd name="connsiteY11223" fmla="*/ 5687792 h 7458372"/>
              <a:gd name="connsiteX11224" fmla="*/ 3974893 w 10505529"/>
              <a:gd name="connsiteY11224" fmla="*/ 5699507 h 7458372"/>
              <a:gd name="connsiteX11225" fmla="*/ 3968769 w 10505529"/>
              <a:gd name="connsiteY11225" fmla="*/ 5708825 h 7458372"/>
              <a:gd name="connsiteX11226" fmla="*/ 3959451 w 10505529"/>
              <a:gd name="connsiteY11226" fmla="*/ 5715082 h 7458372"/>
              <a:gd name="connsiteX11227" fmla="*/ 3947733 w 10505529"/>
              <a:gd name="connsiteY11227" fmla="*/ 5717344 h 7458372"/>
              <a:gd name="connsiteX11228" fmla="*/ 3925900 w 10505529"/>
              <a:gd name="connsiteY11228" fmla="*/ 5708825 h 7458372"/>
              <a:gd name="connsiteX11229" fmla="*/ 3917513 w 10505529"/>
              <a:gd name="connsiteY11229" fmla="*/ 5687659 h 7458372"/>
              <a:gd name="connsiteX11230" fmla="*/ 3925900 w 10505529"/>
              <a:gd name="connsiteY11230" fmla="*/ 5666626 h 7458372"/>
              <a:gd name="connsiteX11231" fmla="*/ 3947733 w 10505529"/>
              <a:gd name="connsiteY11231" fmla="*/ 5658107 h 7458372"/>
              <a:gd name="connsiteX11232" fmla="*/ 3730074 w 10505529"/>
              <a:gd name="connsiteY11232" fmla="*/ 5658107 h 7458372"/>
              <a:gd name="connsiteX11233" fmla="*/ 3741789 w 10505529"/>
              <a:gd name="connsiteY11233" fmla="*/ 5660636 h 7458372"/>
              <a:gd name="connsiteX11234" fmla="*/ 3751108 w 10505529"/>
              <a:gd name="connsiteY11234" fmla="*/ 5667026 h 7458372"/>
              <a:gd name="connsiteX11235" fmla="*/ 3757230 w 10505529"/>
              <a:gd name="connsiteY11235" fmla="*/ 5676344 h 7458372"/>
              <a:gd name="connsiteX11236" fmla="*/ 3759493 w 10505529"/>
              <a:gd name="connsiteY11236" fmla="*/ 5687792 h 7458372"/>
              <a:gd name="connsiteX11237" fmla="*/ 3757230 w 10505529"/>
              <a:gd name="connsiteY11237" fmla="*/ 5699507 h 7458372"/>
              <a:gd name="connsiteX11238" fmla="*/ 3751108 w 10505529"/>
              <a:gd name="connsiteY11238" fmla="*/ 5708825 h 7458372"/>
              <a:gd name="connsiteX11239" fmla="*/ 3741789 w 10505529"/>
              <a:gd name="connsiteY11239" fmla="*/ 5715082 h 7458372"/>
              <a:gd name="connsiteX11240" fmla="*/ 3730074 w 10505529"/>
              <a:gd name="connsiteY11240" fmla="*/ 5717344 h 7458372"/>
              <a:gd name="connsiteX11241" fmla="*/ 3708233 w 10505529"/>
              <a:gd name="connsiteY11241" fmla="*/ 5708825 h 7458372"/>
              <a:gd name="connsiteX11242" fmla="*/ 3699847 w 10505529"/>
              <a:gd name="connsiteY11242" fmla="*/ 5687659 h 7458372"/>
              <a:gd name="connsiteX11243" fmla="*/ 3708233 w 10505529"/>
              <a:gd name="connsiteY11243" fmla="*/ 5666626 h 7458372"/>
              <a:gd name="connsiteX11244" fmla="*/ 3730074 w 10505529"/>
              <a:gd name="connsiteY11244" fmla="*/ 5658107 h 7458372"/>
              <a:gd name="connsiteX11245" fmla="*/ 3512412 w 10505529"/>
              <a:gd name="connsiteY11245" fmla="*/ 5658107 h 7458372"/>
              <a:gd name="connsiteX11246" fmla="*/ 3524128 w 10505529"/>
              <a:gd name="connsiteY11246" fmla="*/ 5660636 h 7458372"/>
              <a:gd name="connsiteX11247" fmla="*/ 3533446 w 10505529"/>
              <a:gd name="connsiteY11247" fmla="*/ 5667026 h 7458372"/>
              <a:gd name="connsiteX11248" fmla="*/ 3539569 w 10505529"/>
              <a:gd name="connsiteY11248" fmla="*/ 5676344 h 7458372"/>
              <a:gd name="connsiteX11249" fmla="*/ 3541832 w 10505529"/>
              <a:gd name="connsiteY11249" fmla="*/ 5687792 h 7458372"/>
              <a:gd name="connsiteX11250" fmla="*/ 3539569 w 10505529"/>
              <a:gd name="connsiteY11250" fmla="*/ 5699507 h 7458372"/>
              <a:gd name="connsiteX11251" fmla="*/ 3533446 w 10505529"/>
              <a:gd name="connsiteY11251" fmla="*/ 5708825 h 7458372"/>
              <a:gd name="connsiteX11252" fmla="*/ 3524128 w 10505529"/>
              <a:gd name="connsiteY11252" fmla="*/ 5715082 h 7458372"/>
              <a:gd name="connsiteX11253" fmla="*/ 3512412 w 10505529"/>
              <a:gd name="connsiteY11253" fmla="*/ 5717344 h 7458372"/>
              <a:gd name="connsiteX11254" fmla="*/ 3490575 w 10505529"/>
              <a:gd name="connsiteY11254" fmla="*/ 5708825 h 7458372"/>
              <a:gd name="connsiteX11255" fmla="*/ 3482189 w 10505529"/>
              <a:gd name="connsiteY11255" fmla="*/ 5687659 h 7458372"/>
              <a:gd name="connsiteX11256" fmla="*/ 3490575 w 10505529"/>
              <a:gd name="connsiteY11256" fmla="*/ 5666626 h 7458372"/>
              <a:gd name="connsiteX11257" fmla="*/ 3512412 w 10505529"/>
              <a:gd name="connsiteY11257" fmla="*/ 5658107 h 7458372"/>
              <a:gd name="connsiteX11258" fmla="*/ 3294884 w 10505529"/>
              <a:gd name="connsiteY11258" fmla="*/ 5658107 h 7458372"/>
              <a:gd name="connsiteX11259" fmla="*/ 3306600 w 10505529"/>
              <a:gd name="connsiteY11259" fmla="*/ 5660636 h 7458372"/>
              <a:gd name="connsiteX11260" fmla="*/ 3315918 w 10505529"/>
              <a:gd name="connsiteY11260" fmla="*/ 5667026 h 7458372"/>
              <a:gd name="connsiteX11261" fmla="*/ 3322041 w 10505529"/>
              <a:gd name="connsiteY11261" fmla="*/ 5676344 h 7458372"/>
              <a:gd name="connsiteX11262" fmla="*/ 3324304 w 10505529"/>
              <a:gd name="connsiteY11262" fmla="*/ 5687792 h 7458372"/>
              <a:gd name="connsiteX11263" fmla="*/ 3322041 w 10505529"/>
              <a:gd name="connsiteY11263" fmla="*/ 5699507 h 7458372"/>
              <a:gd name="connsiteX11264" fmla="*/ 3315918 w 10505529"/>
              <a:gd name="connsiteY11264" fmla="*/ 5708825 h 7458372"/>
              <a:gd name="connsiteX11265" fmla="*/ 3306600 w 10505529"/>
              <a:gd name="connsiteY11265" fmla="*/ 5715082 h 7458372"/>
              <a:gd name="connsiteX11266" fmla="*/ 3294884 w 10505529"/>
              <a:gd name="connsiteY11266" fmla="*/ 5717344 h 7458372"/>
              <a:gd name="connsiteX11267" fmla="*/ 3273046 w 10505529"/>
              <a:gd name="connsiteY11267" fmla="*/ 5708825 h 7458372"/>
              <a:gd name="connsiteX11268" fmla="*/ 3264658 w 10505529"/>
              <a:gd name="connsiteY11268" fmla="*/ 5687659 h 7458372"/>
              <a:gd name="connsiteX11269" fmla="*/ 3273046 w 10505529"/>
              <a:gd name="connsiteY11269" fmla="*/ 5666626 h 7458372"/>
              <a:gd name="connsiteX11270" fmla="*/ 3294884 w 10505529"/>
              <a:gd name="connsiteY11270" fmla="*/ 5658107 h 7458372"/>
              <a:gd name="connsiteX11271" fmla="*/ 3077223 w 10505529"/>
              <a:gd name="connsiteY11271" fmla="*/ 5658107 h 7458372"/>
              <a:gd name="connsiteX11272" fmla="*/ 3088938 w 10505529"/>
              <a:gd name="connsiteY11272" fmla="*/ 5660636 h 7458372"/>
              <a:gd name="connsiteX11273" fmla="*/ 3098256 w 10505529"/>
              <a:gd name="connsiteY11273" fmla="*/ 5667026 h 7458372"/>
              <a:gd name="connsiteX11274" fmla="*/ 3104380 w 10505529"/>
              <a:gd name="connsiteY11274" fmla="*/ 5676344 h 7458372"/>
              <a:gd name="connsiteX11275" fmla="*/ 3106643 w 10505529"/>
              <a:gd name="connsiteY11275" fmla="*/ 5687792 h 7458372"/>
              <a:gd name="connsiteX11276" fmla="*/ 3104380 w 10505529"/>
              <a:gd name="connsiteY11276" fmla="*/ 5699507 h 7458372"/>
              <a:gd name="connsiteX11277" fmla="*/ 3098256 w 10505529"/>
              <a:gd name="connsiteY11277" fmla="*/ 5708825 h 7458372"/>
              <a:gd name="connsiteX11278" fmla="*/ 3088938 w 10505529"/>
              <a:gd name="connsiteY11278" fmla="*/ 5715082 h 7458372"/>
              <a:gd name="connsiteX11279" fmla="*/ 3077223 w 10505529"/>
              <a:gd name="connsiteY11279" fmla="*/ 5717344 h 7458372"/>
              <a:gd name="connsiteX11280" fmla="*/ 3055385 w 10505529"/>
              <a:gd name="connsiteY11280" fmla="*/ 5708825 h 7458372"/>
              <a:gd name="connsiteX11281" fmla="*/ 3046998 w 10505529"/>
              <a:gd name="connsiteY11281" fmla="*/ 5687659 h 7458372"/>
              <a:gd name="connsiteX11282" fmla="*/ 3055385 w 10505529"/>
              <a:gd name="connsiteY11282" fmla="*/ 5666626 h 7458372"/>
              <a:gd name="connsiteX11283" fmla="*/ 3077223 w 10505529"/>
              <a:gd name="connsiteY11283" fmla="*/ 5658107 h 7458372"/>
              <a:gd name="connsiteX11284" fmla="*/ 2859562 w 10505529"/>
              <a:gd name="connsiteY11284" fmla="*/ 5658107 h 7458372"/>
              <a:gd name="connsiteX11285" fmla="*/ 2871410 w 10505529"/>
              <a:gd name="connsiteY11285" fmla="*/ 5660636 h 7458372"/>
              <a:gd name="connsiteX11286" fmla="*/ 2880728 w 10505529"/>
              <a:gd name="connsiteY11286" fmla="*/ 5667026 h 7458372"/>
              <a:gd name="connsiteX11287" fmla="*/ 2886851 w 10505529"/>
              <a:gd name="connsiteY11287" fmla="*/ 5676344 h 7458372"/>
              <a:gd name="connsiteX11288" fmla="*/ 2889114 w 10505529"/>
              <a:gd name="connsiteY11288" fmla="*/ 5687792 h 7458372"/>
              <a:gd name="connsiteX11289" fmla="*/ 2886851 w 10505529"/>
              <a:gd name="connsiteY11289" fmla="*/ 5699507 h 7458372"/>
              <a:gd name="connsiteX11290" fmla="*/ 2880728 w 10505529"/>
              <a:gd name="connsiteY11290" fmla="*/ 5708825 h 7458372"/>
              <a:gd name="connsiteX11291" fmla="*/ 2871410 w 10505529"/>
              <a:gd name="connsiteY11291" fmla="*/ 5715082 h 7458372"/>
              <a:gd name="connsiteX11292" fmla="*/ 2859562 w 10505529"/>
              <a:gd name="connsiteY11292" fmla="*/ 5717344 h 7458372"/>
              <a:gd name="connsiteX11293" fmla="*/ 2837724 w 10505529"/>
              <a:gd name="connsiteY11293" fmla="*/ 5708825 h 7458372"/>
              <a:gd name="connsiteX11294" fmla="*/ 2829336 w 10505529"/>
              <a:gd name="connsiteY11294" fmla="*/ 5687659 h 7458372"/>
              <a:gd name="connsiteX11295" fmla="*/ 2837724 w 10505529"/>
              <a:gd name="connsiteY11295" fmla="*/ 5666626 h 7458372"/>
              <a:gd name="connsiteX11296" fmla="*/ 2859562 w 10505529"/>
              <a:gd name="connsiteY11296" fmla="*/ 5658107 h 7458372"/>
              <a:gd name="connsiteX11297" fmla="*/ 2641900 w 10505529"/>
              <a:gd name="connsiteY11297" fmla="*/ 5658107 h 7458372"/>
              <a:gd name="connsiteX11298" fmla="*/ 2653616 w 10505529"/>
              <a:gd name="connsiteY11298" fmla="*/ 5660636 h 7458372"/>
              <a:gd name="connsiteX11299" fmla="*/ 2662934 w 10505529"/>
              <a:gd name="connsiteY11299" fmla="*/ 5667026 h 7458372"/>
              <a:gd name="connsiteX11300" fmla="*/ 2669057 w 10505529"/>
              <a:gd name="connsiteY11300" fmla="*/ 5676344 h 7458372"/>
              <a:gd name="connsiteX11301" fmla="*/ 2671320 w 10505529"/>
              <a:gd name="connsiteY11301" fmla="*/ 5687792 h 7458372"/>
              <a:gd name="connsiteX11302" fmla="*/ 2669057 w 10505529"/>
              <a:gd name="connsiteY11302" fmla="*/ 5699507 h 7458372"/>
              <a:gd name="connsiteX11303" fmla="*/ 2662934 w 10505529"/>
              <a:gd name="connsiteY11303" fmla="*/ 5708825 h 7458372"/>
              <a:gd name="connsiteX11304" fmla="*/ 2653616 w 10505529"/>
              <a:gd name="connsiteY11304" fmla="*/ 5715082 h 7458372"/>
              <a:gd name="connsiteX11305" fmla="*/ 2641900 w 10505529"/>
              <a:gd name="connsiteY11305" fmla="*/ 5717344 h 7458372"/>
              <a:gd name="connsiteX11306" fmla="*/ 2620068 w 10505529"/>
              <a:gd name="connsiteY11306" fmla="*/ 5708825 h 7458372"/>
              <a:gd name="connsiteX11307" fmla="*/ 2611677 w 10505529"/>
              <a:gd name="connsiteY11307" fmla="*/ 5687659 h 7458372"/>
              <a:gd name="connsiteX11308" fmla="*/ 2620068 w 10505529"/>
              <a:gd name="connsiteY11308" fmla="*/ 5666626 h 7458372"/>
              <a:gd name="connsiteX11309" fmla="*/ 2641900 w 10505529"/>
              <a:gd name="connsiteY11309" fmla="*/ 5658107 h 7458372"/>
              <a:gd name="connsiteX11310" fmla="*/ 2424239 w 10505529"/>
              <a:gd name="connsiteY11310" fmla="*/ 5658107 h 7458372"/>
              <a:gd name="connsiteX11311" fmla="*/ 2435954 w 10505529"/>
              <a:gd name="connsiteY11311" fmla="*/ 5660636 h 7458372"/>
              <a:gd name="connsiteX11312" fmla="*/ 2445272 w 10505529"/>
              <a:gd name="connsiteY11312" fmla="*/ 5667026 h 7458372"/>
              <a:gd name="connsiteX11313" fmla="*/ 2451395 w 10505529"/>
              <a:gd name="connsiteY11313" fmla="*/ 5676344 h 7458372"/>
              <a:gd name="connsiteX11314" fmla="*/ 2453658 w 10505529"/>
              <a:gd name="connsiteY11314" fmla="*/ 5687792 h 7458372"/>
              <a:gd name="connsiteX11315" fmla="*/ 2451395 w 10505529"/>
              <a:gd name="connsiteY11315" fmla="*/ 5699507 h 7458372"/>
              <a:gd name="connsiteX11316" fmla="*/ 2445272 w 10505529"/>
              <a:gd name="connsiteY11316" fmla="*/ 5708825 h 7458372"/>
              <a:gd name="connsiteX11317" fmla="*/ 2435954 w 10505529"/>
              <a:gd name="connsiteY11317" fmla="*/ 5715082 h 7458372"/>
              <a:gd name="connsiteX11318" fmla="*/ 2424239 w 10505529"/>
              <a:gd name="connsiteY11318" fmla="*/ 5717344 h 7458372"/>
              <a:gd name="connsiteX11319" fmla="*/ 2402407 w 10505529"/>
              <a:gd name="connsiteY11319" fmla="*/ 5708825 h 7458372"/>
              <a:gd name="connsiteX11320" fmla="*/ 2394017 w 10505529"/>
              <a:gd name="connsiteY11320" fmla="*/ 5687659 h 7458372"/>
              <a:gd name="connsiteX11321" fmla="*/ 2402407 w 10505529"/>
              <a:gd name="connsiteY11321" fmla="*/ 5666626 h 7458372"/>
              <a:gd name="connsiteX11322" fmla="*/ 2424239 w 10505529"/>
              <a:gd name="connsiteY11322" fmla="*/ 5658107 h 7458372"/>
              <a:gd name="connsiteX11323" fmla="*/ 2206578 w 10505529"/>
              <a:gd name="connsiteY11323" fmla="*/ 5658107 h 7458372"/>
              <a:gd name="connsiteX11324" fmla="*/ 2218293 w 10505529"/>
              <a:gd name="connsiteY11324" fmla="*/ 5660636 h 7458372"/>
              <a:gd name="connsiteX11325" fmla="*/ 2227611 w 10505529"/>
              <a:gd name="connsiteY11325" fmla="*/ 5667026 h 7458372"/>
              <a:gd name="connsiteX11326" fmla="*/ 2233734 w 10505529"/>
              <a:gd name="connsiteY11326" fmla="*/ 5676344 h 7458372"/>
              <a:gd name="connsiteX11327" fmla="*/ 2235997 w 10505529"/>
              <a:gd name="connsiteY11327" fmla="*/ 5687792 h 7458372"/>
              <a:gd name="connsiteX11328" fmla="*/ 2233734 w 10505529"/>
              <a:gd name="connsiteY11328" fmla="*/ 5699507 h 7458372"/>
              <a:gd name="connsiteX11329" fmla="*/ 2227611 w 10505529"/>
              <a:gd name="connsiteY11329" fmla="*/ 5708825 h 7458372"/>
              <a:gd name="connsiteX11330" fmla="*/ 2218293 w 10505529"/>
              <a:gd name="connsiteY11330" fmla="*/ 5715082 h 7458372"/>
              <a:gd name="connsiteX11331" fmla="*/ 2206578 w 10505529"/>
              <a:gd name="connsiteY11331" fmla="*/ 5717344 h 7458372"/>
              <a:gd name="connsiteX11332" fmla="*/ 2184745 w 10505529"/>
              <a:gd name="connsiteY11332" fmla="*/ 5708825 h 7458372"/>
              <a:gd name="connsiteX11333" fmla="*/ 2176356 w 10505529"/>
              <a:gd name="connsiteY11333" fmla="*/ 5687659 h 7458372"/>
              <a:gd name="connsiteX11334" fmla="*/ 2184745 w 10505529"/>
              <a:gd name="connsiteY11334" fmla="*/ 5666626 h 7458372"/>
              <a:gd name="connsiteX11335" fmla="*/ 2206578 w 10505529"/>
              <a:gd name="connsiteY11335" fmla="*/ 5658107 h 7458372"/>
              <a:gd name="connsiteX11336" fmla="*/ 1989049 w 10505529"/>
              <a:gd name="connsiteY11336" fmla="*/ 5658107 h 7458372"/>
              <a:gd name="connsiteX11337" fmla="*/ 2000764 w 10505529"/>
              <a:gd name="connsiteY11337" fmla="*/ 5660636 h 7458372"/>
              <a:gd name="connsiteX11338" fmla="*/ 2010082 w 10505529"/>
              <a:gd name="connsiteY11338" fmla="*/ 5667026 h 7458372"/>
              <a:gd name="connsiteX11339" fmla="*/ 2016206 w 10505529"/>
              <a:gd name="connsiteY11339" fmla="*/ 5676344 h 7458372"/>
              <a:gd name="connsiteX11340" fmla="*/ 2018469 w 10505529"/>
              <a:gd name="connsiteY11340" fmla="*/ 5687792 h 7458372"/>
              <a:gd name="connsiteX11341" fmla="*/ 2016206 w 10505529"/>
              <a:gd name="connsiteY11341" fmla="*/ 5699507 h 7458372"/>
              <a:gd name="connsiteX11342" fmla="*/ 2010082 w 10505529"/>
              <a:gd name="connsiteY11342" fmla="*/ 5708825 h 7458372"/>
              <a:gd name="connsiteX11343" fmla="*/ 2000764 w 10505529"/>
              <a:gd name="connsiteY11343" fmla="*/ 5715082 h 7458372"/>
              <a:gd name="connsiteX11344" fmla="*/ 1989049 w 10505529"/>
              <a:gd name="connsiteY11344" fmla="*/ 5717344 h 7458372"/>
              <a:gd name="connsiteX11345" fmla="*/ 1967218 w 10505529"/>
              <a:gd name="connsiteY11345" fmla="*/ 5708825 h 7458372"/>
              <a:gd name="connsiteX11346" fmla="*/ 1958832 w 10505529"/>
              <a:gd name="connsiteY11346" fmla="*/ 5687659 h 7458372"/>
              <a:gd name="connsiteX11347" fmla="*/ 1967218 w 10505529"/>
              <a:gd name="connsiteY11347" fmla="*/ 5666626 h 7458372"/>
              <a:gd name="connsiteX11348" fmla="*/ 1989049 w 10505529"/>
              <a:gd name="connsiteY11348" fmla="*/ 5658107 h 7458372"/>
              <a:gd name="connsiteX11349" fmla="*/ 1771416 w 10505529"/>
              <a:gd name="connsiteY11349" fmla="*/ 5658107 h 7458372"/>
              <a:gd name="connsiteX11350" fmla="*/ 1783129 w 10505529"/>
              <a:gd name="connsiteY11350" fmla="*/ 5660636 h 7458372"/>
              <a:gd name="connsiteX11351" fmla="*/ 1792447 w 10505529"/>
              <a:gd name="connsiteY11351" fmla="*/ 5667026 h 7458372"/>
              <a:gd name="connsiteX11352" fmla="*/ 1798570 w 10505529"/>
              <a:gd name="connsiteY11352" fmla="*/ 5676344 h 7458372"/>
              <a:gd name="connsiteX11353" fmla="*/ 1800833 w 10505529"/>
              <a:gd name="connsiteY11353" fmla="*/ 5687792 h 7458372"/>
              <a:gd name="connsiteX11354" fmla="*/ 1798570 w 10505529"/>
              <a:gd name="connsiteY11354" fmla="*/ 5699507 h 7458372"/>
              <a:gd name="connsiteX11355" fmla="*/ 1792447 w 10505529"/>
              <a:gd name="connsiteY11355" fmla="*/ 5708825 h 7458372"/>
              <a:gd name="connsiteX11356" fmla="*/ 1783129 w 10505529"/>
              <a:gd name="connsiteY11356" fmla="*/ 5715082 h 7458372"/>
              <a:gd name="connsiteX11357" fmla="*/ 1771416 w 10505529"/>
              <a:gd name="connsiteY11357" fmla="*/ 5717344 h 7458372"/>
              <a:gd name="connsiteX11358" fmla="*/ 1749586 w 10505529"/>
              <a:gd name="connsiteY11358" fmla="*/ 5708825 h 7458372"/>
              <a:gd name="connsiteX11359" fmla="*/ 1741203 w 10505529"/>
              <a:gd name="connsiteY11359" fmla="*/ 5687659 h 7458372"/>
              <a:gd name="connsiteX11360" fmla="*/ 1749586 w 10505529"/>
              <a:gd name="connsiteY11360" fmla="*/ 5666626 h 7458372"/>
              <a:gd name="connsiteX11361" fmla="*/ 1771416 w 10505529"/>
              <a:gd name="connsiteY11361" fmla="*/ 5658107 h 7458372"/>
              <a:gd name="connsiteX11362" fmla="*/ 1553779 w 10505529"/>
              <a:gd name="connsiteY11362" fmla="*/ 5658107 h 7458372"/>
              <a:gd name="connsiteX11363" fmla="*/ 1565494 w 10505529"/>
              <a:gd name="connsiteY11363" fmla="*/ 5660636 h 7458372"/>
              <a:gd name="connsiteX11364" fmla="*/ 1574812 w 10505529"/>
              <a:gd name="connsiteY11364" fmla="*/ 5667026 h 7458372"/>
              <a:gd name="connsiteX11365" fmla="*/ 1580935 w 10505529"/>
              <a:gd name="connsiteY11365" fmla="*/ 5676344 h 7458372"/>
              <a:gd name="connsiteX11366" fmla="*/ 1583198 w 10505529"/>
              <a:gd name="connsiteY11366" fmla="*/ 5687792 h 7458372"/>
              <a:gd name="connsiteX11367" fmla="*/ 1580935 w 10505529"/>
              <a:gd name="connsiteY11367" fmla="*/ 5699507 h 7458372"/>
              <a:gd name="connsiteX11368" fmla="*/ 1574812 w 10505529"/>
              <a:gd name="connsiteY11368" fmla="*/ 5708825 h 7458372"/>
              <a:gd name="connsiteX11369" fmla="*/ 1565494 w 10505529"/>
              <a:gd name="connsiteY11369" fmla="*/ 5715082 h 7458372"/>
              <a:gd name="connsiteX11370" fmla="*/ 1553779 w 10505529"/>
              <a:gd name="connsiteY11370" fmla="*/ 5717344 h 7458372"/>
              <a:gd name="connsiteX11371" fmla="*/ 1531949 w 10505529"/>
              <a:gd name="connsiteY11371" fmla="*/ 5708825 h 7458372"/>
              <a:gd name="connsiteX11372" fmla="*/ 1523564 w 10505529"/>
              <a:gd name="connsiteY11372" fmla="*/ 5687659 h 7458372"/>
              <a:gd name="connsiteX11373" fmla="*/ 1531949 w 10505529"/>
              <a:gd name="connsiteY11373" fmla="*/ 5666626 h 7458372"/>
              <a:gd name="connsiteX11374" fmla="*/ 1553779 w 10505529"/>
              <a:gd name="connsiteY11374" fmla="*/ 5658107 h 7458372"/>
              <a:gd name="connsiteX11375" fmla="*/ 1336135 w 10505529"/>
              <a:gd name="connsiteY11375" fmla="*/ 5658107 h 7458372"/>
              <a:gd name="connsiteX11376" fmla="*/ 1347851 w 10505529"/>
              <a:gd name="connsiteY11376" fmla="*/ 5660636 h 7458372"/>
              <a:gd name="connsiteX11377" fmla="*/ 1357169 w 10505529"/>
              <a:gd name="connsiteY11377" fmla="*/ 5667026 h 7458372"/>
              <a:gd name="connsiteX11378" fmla="*/ 1363292 w 10505529"/>
              <a:gd name="connsiteY11378" fmla="*/ 5676344 h 7458372"/>
              <a:gd name="connsiteX11379" fmla="*/ 1365554 w 10505529"/>
              <a:gd name="connsiteY11379" fmla="*/ 5687792 h 7458372"/>
              <a:gd name="connsiteX11380" fmla="*/ 1363292 w 10505529"/>
              <a:gd name="connsiteY11380" fmla="*/ 5699507 h 7458372"/>
              <a:gd name="connsiteX11381" fmla="*/ 1357169 w 10505529"/>
              <a:gd name="connsiteY11381" fmla="*/ 5708825 h 7458372"/>
              <a:gd name="connsiteX11382" fmla="*/ 1347851 w 10505529"/>
              <a:gd name="connsiteY11382" fmla="*/ 5715082 h 7458372"/>
              <a:gd name="connsiteX11383" fmla="*/ 1336135 w 10505529"/>
              <a:gd name="connsiteY11383" fmla="*/ 5717344 h 7458372"/>
              <a:gd name="connsiteX11384" fmla="*/ 1314303 w 10505529"/>
              <a:gd name="connsiteY11384" fmla="*/ 5708825 h 7458372"/>
              <a:gd name="connsiteX11385" fmla="*/ 1305917 w 10505529"/>
              <a:gd name="connsiteY11385" fmla="*/ 5687659 h 7458372"/>
              <a:gd name="connsiteX11386" fmla="*/ 1314303 w 10505529"/>
              <a:gd name="connsiteY11386" fmla="*/ 5666626 h 7458372"/>
              <a:gd name="connsiteX11387" fmla="*/ 1336135 w 10505529"/>
              <a:gd name="connsiteY11387" fmla="*/ 5658107 h 7458372"/>
              <a:gd name="connsiteX11388" fmla="*/ 1118490 w 10505529"/>
              <a:gd name="connsiteY11388" fmla="*/ 5658107 h 7458372"/>
              <a:gd name="connsiteX11389" fmla="*/ 1130208 w 10505529"/>
              <a:gd name="connsiteY11389" fmla="*/ 5660636 h 7458372"/>
              <a:gd name="connsiteX11390" fmla="*/ 1139523 w 10505529"/>
              <a:gd name="connsiteY11390" fmla="*/ 5667026 h 7458372"/>
              <a:gd name="connsiteX11391" fmla="*/ 1145643 w 10505529"/>
              <a:gd name="connsiteY11391" fmla="*/ 5676344 h 7458372"/>
              <a:gd name="connsiteX11392" fmla="*/ 1147906 w 10505529"/>
              <a:gd name="connsiteY11392" fmla="*/ 5687792 h 7458372"/>
              <a:gd name="connsiteX11393" fmla="*/ 1145643 w 10505529"/>
              <a:gd name="connsiteY11393" fmla="*/ 5699507 h 7458372"/>
              <a:gd name="connsiteX11394" fmla="*/ 1139523 w 10505529"/>
              <a:gd name="connsiteY11394" fmla="*/ 5708825 h 7458372"/>
              <a:gd name="connsiteX11395" fmla="*/ 1130208 w 10505529"/>
              <a:gd name="connsiteY11395" fmla="*/ 5715082 h 7458372"/>
              <a:gd name="connsiteX11396" fmla="*/ 1118490 w 10505529"/>
              <a:gd name="connsiteY11396" fmla="*/ 5717344 h 7458372"/>
              <a:gd name="connsiteX11397" fmla="*/ 1096655 w 10505529"/>
              <a:gd name="connsiteY11397" fmla="*/ 5708825 h 7458372"/>
              <a:gd name="connsiteX11398" fmla="*/ 1088270 w 10505529"/>
              <a:gd name="connsiteY11398" fmla="*/ 5687659 h 7458372"/>
              <a:gd name="connsiteX11399" fmla="*/ 1096655 w 10505529"/>
              <a:gd name="connsiteY11399" fmla="*/ 5666626 h 7458372"/>
              <a:gd name="connsiteX11400" fmla="*/ 1118490 w 10505529"/>
              <a:gd name="connsiteY11400" fmla="*/ 5658107 h 7458372"/>
              <a:gd name="connsiteX11401" fmla="*/ 900977 w 10505529"/>
              <a:gd name="connsiteY11401" fmla="*/ 5658107 h 7458372"/>
              <a:gd name="connsiteX11402" fmla="*/ 912692 w 10505529"/>
              <a:gd name="connsiteY11402" fmla="*/ 5660636 h 7458372"/>
              <a:gd name="connsiteX11403" fmla="*/ 922010 w 10505529"/>
              <a:gd name="connsiteY11403" fmla="*/ 5667026 h 7458372"/>
              <a:gd name="connsiteX11404" fmla="*/ 928132 w 10505529"/>
              <a:gd name="connsiteY11404" fmla="*/ 5676344 h 7458372"/>
              <a:gd name="connsiteX11405" fmla="*/ 930395 w 10505529"/>
              <a:gd name="connsiteY11405" fmla="*/ 5687792 h 7458372"/>
              <a:gd name="connsiteX11406" fmla="*/ 928132 w 10505529"/>
              <a:gd name="connsiteY11406" fmla="*/ 5699507 h 7458372"/>
              <a:gd name="connsiteX11407" fmla="*/ 922010 w 10505529"/>
              <a:gd name="connsiteY11407" fmla="*/ 5708825 h 7458372"/>
              <a:gd name="connsiteX11408" fmla="*/ 912692 w 10505529"/>
              <a:gd name="connsiteY11408" fmla="*/ 5715082 h 7458372"/>
              <a:gd name="connsiteX11409" fmla="*/ 900977 w 10505529"/>
              <a:gd name="connsiteY11409" fmla="*/ 5717344 h 7458372"/>
              <a:gd name="connsiteX11410" fmla="*/ 879146 w 10505529"/>
              <a:gd name="connsiteY11410" fmla="*/ 5708825 h 7458372"/>
              <a:gd name="connsiteX11411" fmla="*/ 870761 w 10505529"/>
              <a:gd name="connsiteY11411" fmla="*/ 5687659 h 7458372"/>
              <a:gd name="connsiteX11412" fmla="*/ 879146 w 10505529"/>
              <a:gd name="connsiteY11412" fmla="*/ 5666626 h 7458372"/>
              <a:gd name="connsiteX11413" fmla="*/ 900977 w 10505529"/>
              <a:gd name="connsiteY11413" fmla="*/ 5658107 h 7458372"/>
              <a:gd name="connsiteX11414" fmla="*/ 683337 w 10505529"/>
              <a:gd name="connsiteY11414" fmla="*/ 5658107 h 7458372"/>
              <a:gd name="connsiteX11415" fmla="*/ 695052 w 10505529"/>
              <a:gd name="connsiteY11415" fmla="*/ 5660636 h 7458372"/>
              <a:gd name="connsiteX11416" fmla="*/ 704369 w 10505529"/>
              <a:gd name="connsiteY11416" fmla="*/ 5667026 h 7458372"/>
              <a:gd name="connsiteX11417" fmla="*/ 710492 w 10505529"/>
              <a:gd name="connsiteY11417" fmla="*/ 5676344 h 7458372"/>
              <a:gd name="connsiteX11418" fmla="*/ 712755 w 10505529"/>
              <a:gd name="connsiteY11418" fmla="*/ 5687792 h 7458372"/>
              <a:gd name="connsiteX11419" fmla="*/ 710492 w 10505529"/>
              <a:gd name="connsiteY11419" fmla="*/ 5699507 h 7458372"/>
              <a:gd name="connsiteX11420" fmla="*/ 704369 w 10505529"/>
              <a:gd name="connsiteY11420" fmla="*/ 5708825 h 7458372"/>
              <a:gd name="connsiteX11421" fmla="*/ 695052 w 10505529"/>
              <a:gd name="connsiteY11421" fmla="*/ 5715082 h 7458372"/>
              <a:gd name="connsiteX11422" fmla="*/ 683337 w 10505529"/>
              <a:gd name="connsiteY11422" fmla="*/ 5717344 h 7458372"/>
              <a:gd name="connsiteX11423" fmla="*/ 661505 w 10505529"/>
              <a:gd name="connsiteY11423" fmla="*/ 5708825 h 7458372"/>
              <a:gd name="connsiteX11424" fmla="*/ 653119 w 10505529"/>
              <a:gd name="connsiteY11424" fmla="*/ 5687659 h 7458372"/>
              <a:gd name="connsiteX11425" fmla="*/ 661505 w 10505529"/>
              <a:gd name="connsiteY11425" fmla="*/ 5666626 h 7458372"/>
              <a:gd name="connsiteX11426" fmla="*/ 683337 w 10505529"/>
              <a:gd name="connsiteY11426" fmla="*/ 5658107 h 7458372"/>
              <a:gd name="connsiteX11427" fmla="*/ 465695 w 10505529"/>
              <a:gd name="connsiteY11427" fmla="*/ 5658107 h 7458372"/>
              <a:gd name="connsiteX11428" fmla="*/ 477411 w 10505529"/>
              <a:gd name="connsiteY11428" fmla="*/ 5660636 h 7458372"/>
              <a:gd name="connsiteX11429" fmla="*/ 486728 w 10505529"/>
              <a:gd name="connsiteY11429" fmla="*/ 5667026 h 7458372"/>
              <a:gd name="connsiteX11430" fmla="*/ 492851 w 10505529"/>
              <a:gd name="connsiteY11430" fmla="*/ 5676344 h 7458372"/>
              <a:gd name="connsiteX11431" fmla="*/ 495114 w 10505529"/>
              <a:gd name="connsiteY11431" fmla="*/ 5687792 h 7458372"/>
              <a:gd name="connsiteX11432" fmla="*/ 492851 w 10505529"/>
              <a:gd name="connsiteY11432" fmla="*/ 5699507 h 7458372"/>
              <a:gd name="connsiteX11433" fmla="*/ 486728 w 10505529"/>
              <a:gd name="connsiteY11433" fmla="*/ 5708825 h 7458372"/>
              <a:gd name="connsiteX11434" fmla="*/ 477411 w 10505529"/>
              <a:gd name="connsiteY11434" fmla="*/ 5715082 h 7458372"/>
              <a:gd name="connsiteX11435" fmla="*/ 465695 w 10505529"/>
              <a:gd name="connsiteY11435" fmla="*/ 5717344 h 7458372"/>
              <a:gd name="connsiteX11436" fmla="*/ 443864 w 10505529"/>
              <a:gd name="connsiteY11436" fmla="*/ 5708825 h 7458372"/>
              <a:gd name="connsiteX11437" fmla="*/ 435478 w 10505529"/>
              <a:gd name="connsiteY11437" fmla="*/ 5687659 h 7458372"/>
              <a:gd name="connsiteX11438" fmla="*/ 443864 w 10505529"/>
              <a:gd name="connsiteY11438" fmla="*/ 5666626 h 7458372"/>
              <a:gd name="connsiteX11439" fmla="*/ 465695 w 10505529"/>
              <a:gd name="connsiteY11439" fmla="*/ 5658107 h 7458372"/>
              <a:gd name="connsiteX11440" fmla="*/ 248054 w 10505529"/>
              <a:gd name="connsiteY11440" fmla="*/ 5658107 h 7458372"/>
              <a:gd name="connsiteX11441" fmla="*/ 259768 w 10505529"/>
              <a:gd name="connsiteY11441" fmla="*/ 5660636 h 7458372"/>
              <a:gd name="connsiteX11442" fmla="*/ 269087 w 10505529"/>
              <a:gd name="connsiteY11442" fmla="*/ 5667026 h 7458372"/>
              <a:gd name="connsiteX11443" fmla="*/ 275210 w 10505529"/>
              <a:gd name="connsiteY11443" fmla="*/ 5676344 h 7458372"/>
              <a:gd name="connsiteX11444" fmla="*/ 277473 w 10505529"/>
              <a:gd name="connsiteY11444" fmla="*/ 5687792 h 7458372"/>
              <a:gd name="connsiteX11445" fmla="*/ 275210 w 10505529"/>
              <a:gd name="connsiteY11445" fmla="*/ 5699507 h 7458372"/>
              <a:gd name="connsiteX11446" fmla="*/ 269087 w 10505529"/>
              <a:gd name="connsiteY11446" fmla="*/ 5708825 h 7458372"/>
              <a:gd name="connsiteX11447" fmla="*/ 259768 w 10505529"/>
              <a:gd name="connsiteY11447" fmla="*/ 5715082 h 7458372"/>
              <a:gd name="connsiteX11448" fmla="*/ 248054 w 10505529"/>
              <a:gd name="connsiteY11448" fmla="*/ 5717344 h 7458372"/>
              <a:gd name="connsiteX11449" fmla="*/ 226224 w 10505529"/>
              <a:gd name="connsiteY11449" fmla="*/ 5708825 h 7458372"/>
              <a:gd name="connsiteX11450" fmla="*/ 217839 w 10505529"/>
              <a:gd name="connsiteY11450" fmla="*/ 5687659 h 7458372"/>
              <a:gd name="connsiteX11451" fmla="*/ 226224 w 10505529"/>
              <a:gd name="connsiteY11451" fmla="*/ 5666626 h 7458372"/>
              <a:gd name="connsiteX11452" fmla="*/ 248054 w 10505529"/>
              <a:gd name="connsiteY11452" fmla="*/ 5658107 h 7458372"/>
              <a:gd name="connsiteX11453" fmla="*/ 30413 w 10505529"/>
              <a:gd name="connsiteY11453" fmla="*/ 5658107 h 7458372"/>
              <a:gd name="connsiteX11454" fmla="*/ 42128 w 10505529"/>
              <a:gd name="connsiteY11454" fmla="*/ 5660636 h 7458372"/>
              <a:gd name="connsiteX11455" fmla="*/ 51446 w 10505529"/>
              <a:gd name="connsiteY11455" fmla="*/ 5667026 h 7458372"/>
              <a:gd name="connsiteX11456" fmla="*/ 57569 w 10505529"/>
              <a:gd name="connsiteY11456" fmla="*/ 5676344 h 7458372"/>
              <a:gd name="connsiteX11457" fmla="*/ 59832 w 10505529"/>
              <a:gd name="connsiteY11457" fmla="*/ 5687792 h 7458372"/>
              <a:gd name="connsiteX11458" fmla="*/ 57569 w 10505529"/>
              <a:gd name="connsiteY11458" fmla="*/ 5699507 h 7458372"/>
              <a:gd name="connsiteX11459" fmla="*/ 51446 w 10505529"/>
              <a:gd name="connsiteY11459" fmla="*/ 5708825 h 7458372"/>
              <a:gd name="connsiteX11460" fmla="*/ 42128 w 10505529"/>
              <a:gd name="connsiteY11460" fmla="*/ 5715082 h 7458372"/>
              <a:gd name="connsiteX11461" fmla="*/ 30413 w 10505529"/>
              <a:gd name="connsiteY11461" fmla="*/ 5717344 h 7458372"/>
              <a:gd name="connsiteX11462" fmla="*/ 8585 w 10505529"/>
              <a:gd name="connsiteY11462" fmla="*/ 5708825 h 7458372"/>
              <a:gd name="connsiteX11463" fmla="*/ 199 w 10505529"/>
              <a:gd name="connsiteY11463" fmla="*/ 5687659 h 7458372"/>
              <a:gd name="connsiteX11464" fmla="*/ 8585 w 10505529"/>
              <a:gd name="connsiteY11464" fmla="*/ 5666626 h 7458372"/>
              <a:gd name="connsiteX11465" fmla="*/ 30413 w 10505529"/>
              <a:gd name="connsiteY11465" fmla="*/ 5658107 h 7458372"/>
              <a:gd name="connsiteX11466" fmla="*/ 10475977 w 10505529"/>
              <a:gd name="connsiteY11466" fmla="*/ 5457102 h 7458372"/>
              <a:gd name="connsiteX11467" fmla="*/ 10465992 w 10505529"/>
              <a:gd name="connsiteY11467" fmla="*/ 5460696 h 7458372"/>
              <a:gd name="connsiteX11468" fmla="*/ 10462399 w 10505529"/>
              <a:gd name="connsiteY11468" fmla="*/ 5470147 h 7458372"/>
              <a:gd name="connsiteX11469" fmla="*/ 10465992 w 10505529"/>
              <a:gd name="connsiteY11469" fmla="*/ 5479598 h 7458372"/>
              <a:gd name="connsiteX11470" fmla="*/ 10475977 w 10505529"/>
              <a:gd name="connsiteY11470" fmla="*/ 5483060 h 7458372"/>
              <a:gd name="connsiteX11471" fmla="*/ 10481302 w 10505529"/>
              <a:gd name="connsiteY11471" fmla="*/ 5482128 h 7458372"/>
              <a:gd name="connsiteX11472" fmla="*/ 10485029 w 10505529"/>
              <a:gd name="connsiteY11472" fmla="*/ 5479731 h 7458372"/>
              <a:gd name="connsiteX11473" fmla="*/ 10487691 w 10505529"/>
              <a:gd name="connsiteY11473" fmla="*/ 5475472 h 7458372"/>
              <a:gd name="connsiteX11474" fmla="*/ 10488623 w 10505529"/>
              <a:gd name="connsiteY11474" fmla="*/ 5470014 h 7458372"/>
              <a:gd name="connsiteX11475" fmla="*/ 10487691 w 10505529"/>
              <a:gd name="connsiteY11475" fmla="*/ 5464822 h 7458372"/>
              <a:gd name="connsiteX11476" fmla="*/ 10485029 w 10505529"/>
              <a:gd name="connsiteY11476" fmla="*/ 5460696 h 7458372"/>
              <a:gd name="connsiteX11477" fmla="*/ 10481035 w 10505529"/>
              <a:gd name="connsiteY11477" fmla="*/ 5458033 h 7458372"/>
              <a:gd name="connsiteX11478" fmla="*/ 10475977 w 10505529"/>
              <a:gd name="connsiteY11478" fmla="*/ 5457102 h 7458372"/>
              <a:gd name="connsiteX11479" fmla="*/ 10258466 w 10505529"/>
              <a:gd name="connsiteY11479" fmla="*/ 5457102 h 7458372"/>
              <a:gd name="connsiteX11480" fmla="*/ 10248481 w 10505529"/>
              <a:gd name="connsiteY11480" fmla="*/ 5460696 h 7458372"/>
              <a:gd name="connsiteX11481" fmla="*/ 10244887 w 10505529"/>
              <a:gd name="connsiteY11481" fmla="*/ 5470147 h 7458372"/>
              <a:gd name="connsiteX11482" fmla="*/ 10248481 w 10505529"/>
              <a:gd name="connsiteY11482" fmla="*/ 5479598 h 7458372"/>
              <a:gd name="connsiteX11483" fmla="*/ 10258466 w 10505529"/>
              <a:gd name="connsiteY11483" fmla="*/ 5483060 h 7458372"/>
              <a:gd name="connsiteX11484" fmla="*/ 10263790 w 10505529"/>
              <a:gd name="connsiteY11484" fmla="*/ 5482128 h 7458372"/>
              <a:gd name="connsiteX11485" fmla="*/ 10267517 w 10505529"/>
              <a:gd name="connsiteY11485" fmla="*/ 5479731 h 7458372"/>
              <a:gd name="connsiteX11486" fmla="*/ 10270180 w 10505529"/>
              <a:gd name="connsiteY11486" fmla="*/ 5475472 h 7458372"/>
              <a:gd name="connsiteX11487" fmla="*/ 10271112 w 10505529"/>
              <a:gd name="connsiteY11487" fmla="*/ 5470014 h 7458372"/>
              <a:gd name="connsiteX11488" fmla="*/ 10270180 w 10505529"/>
              <a:gd name="connsiteY11488" fmla="*/ 5464822 h 7458372"/>
              <a:gd name="connsiteX11489" fmla="*/ 10267517 w 10505529"/>
              <a:gd name="connsiteY11489" fmla="*/ 5460696 h 7458372"/>
              <a:gd name="connsiteX11490" fmla="*/ 10263524 w 10505529"/>
              <a:gd name="connsiteY11490" fmla="*/ 5458033 h 7458372"/>
              <a:gd name="connsiteX11491" fmla="*/ 10258466 w 10505529"/>
              <a:gd name="connsiteY11491" fmla="*/ 5457102 h 7458372"/>
              <a:gd name="connsiteX11492" fmla="*/ 10040820 w 10505529"/>
              <a:gd name="connsiteY11492" fmla="*/ 5457102 h 7458372"/>
              <a:gd name="connsiteX11493" fmla="*/ 10030835 w 10505529"/>
              <a:gd name="connsiteY11493" fmla="*/ 5460696 h 7458372"/>
              <a:gd name="connsiteX11494" fmla="*/ 10027242 w 10505529"/>
              <a:gd name="connsiteY11494" fmla="*/ 5470147 h 7458372"/>
              <a:gd name="connsiteX11495" fmla="*/ 10030835 w 10505529"/>
              <a:gd name="connsiteY11495" fmla="*/ 5479598 h 7458372"/>
              <a:gd name="connsiteX11496" fmla="*/ 10040820 w 10505529"/>
              <a:gd name="connsiteY11496" fmla="*/ 5483060 h 7458372"/>
              <a:gd name="connsiteX11497" fmla="*/ 10046145 w 10505529"/>
              <a:gd name="connsiteY11497" fmla="*/ 5482128 h 7458372"/>
              <a:gd name="connsiteX11498" fmla="*/ 10049872 w 10505529"/>
              <a:gd name="connsiteY11498" fmla="*/ 5479731 h 7458372"/>
              <a:gd name="connsiteX11499" fmla="*/ 10052534 w 10505529"/>
              <a:gd name="connsiteY11499" fmla="*/ 5475472 h 7458372"/>
              <a:gd name="connsiteX11500" fmla="*/ 10053599 w 10505529"/>
              <a:gd name="connsiteY11500" fmla="*/ 5470014 h 7458372"/>
              <a:gd name="connsiteX11501" fmla="*/ 10052534 w 10505529"/>
              <a:gd name="connsiteY11501" fmla="*/ 5464822 h 7458372"/>
              <a:gd name="connsiteX11502" fmla="*/ 10049872 w 10505529"/>
              <a:gd name="connsiteY11502" fmla="*/ 5460696 h 7458372"/>
              <a:gd name="connsiteX11503" fmla="*/ 10045878 w 10505529"/>
              <a:gd name="connsiteY11503" fmla="*/ 5458033 h 7458372"/>
              <a:gd name="connsiteX11504" fmla="*/ 10040820 w 10505529"/>
              <a:gd name="connsiteY11504" fmla="*/ 5457102 h 7458372"/>
              <a:gd name="connsiteX11505" fmla="*/ 9823176 w 10505529"/>
              <a:gd name="connsiteY11505" fmla="*/ 5457102 h 7458372"/>
              <a:gd name="connsiteX11506" fmla="*/ 9813191 w 10505529"/>
              <a:gd name="connsiteY11506" fmla="*/ 5460696 h 7458372"/>
              <a:gd name="connsiteX11507" fmla="*/ 9809597 w 10505529"/>
              <a:gd name="connsiteY11507" fmla="*/ 5470147 h 7458372"/>
              <a:gd name="connsiteX11508" fmla="*/ 9813191 w 10505529"/>
              <a:gd name="connsiteY11508" fmla="*/ 5479598 h 7458372"/>
              <a:gd name="connsiteX11509" fmla="*/ 9823176 w 10505529"/>
              <a:gd name="connsiteY11509" fmla="*/ 5483060 h 7458372"/>
              <a:gd name="connsiteX11510" fmla="*/ 9828501 w 10505529"/>
              <a:gd name="connsiteY11510" fmla="*/ 5482128 h 7458372"/>
              <a:gd name="connsiteX11511" fmla="*/ 9832227 w 10505529"/>
              <a:gd name="connsiteY11511" fmla="*/ 5479731 h 7458372"/>
              <a:gd name="connsiteX11512" fmla="*/ 9834890 w 10505529"/>
              <a:gd name="connsiteY11512" fmla="*/ 5475472 h 7458372"/>
              <a:gd name="connsiteX11513" fmla="*/ 9835955 w 10505529"/>
              <a:gd name="connsiteY11513" fmla="*/ 5470014 h 7458372"/>
              <a:gd name="connsiteX11514" fmla="*/ 9834890 w 10505529"/>
              <a:gd name="connsiteY11514" fmla="*/ 5464822 h 7458372"/>
              <a:gd name="connsiteX11515" fmla="*/ 9832227 w 10505529"/>
              <a:gd name="connsiteY11515" fmla="*/ 5460696 h 7458372"/>
              <a:gd name="connsiteX11516" fmla="*/ 9828234 w 10505529"/>
              <a:gd name="connsiteY11516" fmla="*/ 5458033 h 7458372"/>
              <a:gd name="connsiteX11517" fmla="*/ 9823176 w 10505529"/>
              <a:gd name="connsiteY11517" fmla="*/ 5457102 h 7458372"/>
              <a:gd name="connsiteX11518" fmla="*/ 9605531 w 10505529"/>
              <a:gd name="connsiteY11518" fmla="*/ 5457102 h 7458372"/>
              <a:gd name="connsiteX11519" fmla="*/ 9595546 w 10505529"/>
              <a:gd name="connsiteY11519" fmla="*/ 5460696 h 7458372"/>
              <a:gd name="connsiteX11520" fmla="*/ 9591952 w 10505529"/>
              <a:gd name="connsiteY11520" fmla="*/ 5470147 h 7458372"/>
              <a:gd name="connsiteX11521" fmla="*/ 9595546 w 10505529"/>
              <a:gd name="connsiteY11521" fmla="*/ 5479598 h 7458372"/>
              <a:gd name="connsiteX11522" fmla="*/ 9605531 w 10505529"/>
              <a:gd name="connsiteY11522" fmla="*/ 5483060 h 7458372"/>
              <a:gd name="connsiteX11523" fmla="*/ 9610855 w 10505529"/>
              <a:gd name="connsiteY11523" fmla="*/ 5482128 h 7458372"/>
              <a:gd name="connsiteX11524" fmla="*/ 9614582 w 10505529"/>
              <a:gd name="connsiteY11524" fmla="*/ 5479731 h 7458372"/>
              <a:gd name="connsiteX11525" fmla="*/ 9617245 w 10505529"/>
              <a:gd name="connsiteY11525" fmla="*/ 5475472 h 7458372"/>
              <a:gd name="connsiteX11526" fmla="*/ 9618309 w 10505529"/>
              <a:gd name="connsiteY11526" fmla="*/ 5470014 h 7458372"/>
              <a:gd name="connsiteX11527" fmla="*/ 9617245 w 10505529"/>
              <a:gd name="connsiteY11527" fmla="*/ 5464822 h 7458372"/>
              <a:gd name="connsiteX11528" fmla="*/ 9614582 w 10505529"/>
              <a:gd name="connsiteY11528" fmla="*/ 5460696 h 7458372"/>
              <a:gd name="connsiteX11529" fmla="*/ 9610589 w 10505529"/>
              <a:gd name="connsiteY11529" fmla="*/ 5458033 h 7458372"/>
              <a:gd name="connsiteX11530" fmla="*/ 9605531 w 10505529"/>
              <a:gd name="connsiteY11530" fmla="*/ 5457102 h 7458372"/>
              <a:gd name="connsiteX11531" fmla="*/ 9387885 w 10505529"/>
              <a:gd name="connsiteY11531" fmla="*/ 5457102 h 7458372"/>
              <a:gd name="connsiteX11532" fmla="*/ 9377900 w 10505529"/>
              <a:gd name="connsiteY11532" fmla="*/ 5460696 h 7458372"/>
              <a:gd name="connsiteX11533" fmla="*/ 9374307 w 10505529"/>
              <a:gd name="connsiteY11533" fmla="*/ 5470147 h 7458372"/>
              <a:gd name="connsiteX11534" fmla="*/ 9377900 w 10505529"/>
              <a:gd name="connsiteY11534" fmla="*/ 5479598 h 7458372"/>
              <a:gd name="connsiteX11535" fmla="*/ 9387885 w 10505529"/>
              <a:gd name="connsiteY11535" fmla="*/ 5483060 h 7458372"/>
              <a:gd name="connsiteX11536" fmla="*/ 9393210 w 10505529"/>
              <a:gd name="connsiteY11536" fmla="*/ 5482128 h 7458372"/>
              <a:gd name="connsiteX11537" fmla="*/ 9396937 w 10505529"/>
              <a:gd name="connsiteY11537" fmla="*/ 5479731 h 7458372"/>
              <a:gd name="connsiteX11538" fmla="*/ 9399599 w 10505529"/>
              <a:gd name="connsiteY11538" fmla="*/ 5475472 h 7458372"/>
              <a:gd name="connsiteX11539" fmla="*/ 9400664 w 10505529"/>
              <a:gd name="connsiteY11539" fmla="*/ 5470014 h 7458372"/>
              <a:gd name="connsiteX11540" fmla="*/ 9399599 w 10505529"/>
              <a:gd name="connsiteY11540" fmla="*/ 5464822 h 7458372"/>
              <a:gd name="connsiteX11541" fmla="*/ 9396937 w 10505529"/>
              <a:gd name="connsiteY11541" fmla="*/ 5460696 h 7458372"/>
              <a:gd name="connsiteX11542" fmla="*/ 9392943 w 10505529"/>
              <a:gd name="connsiteY11542" fmla="*/ 5458033 h 7458372"/>
              <a:gd name="connsiteX11543" fmla="*/ 9387885 w 10505529"/>
              <a:gd name="connsiteY11543" fmla="*/ 5457102 h 7458372"/>
              <a:gd name="connsiteX11544" fmla="*/ 9170374 w 10505529"/>
              <a:gd name="connsiteY11544" fmla="*/ 5457102 h 7458372"/>
              <a:gd name="connsiteX11545" fmla="*/ 9160389 w 10505529"/>
              <a:gd name="connsiteY11545" fmla="*/ 5460696 h 7458372"/>
              <a:gd name="connsiteX11546" fmla="*/ 9156795 w 10505529"/>
              <a:gd name="connsiteY11546" fmla="*/ 5470147 h 7458372"/>
              <a:gd name="connsiteX11547" fmla="*/ 9160389 w 10505529"/>
              <a:gd name="connsiteY11547" fmla="*/ 5479598 h 7458372"/>
              <a:gd name="connsiteX11548" fmla="*/ 9170374 w 10505529"/>
              <a:gd name="connsiteY11548" fmla="*/ 5483060 h 7458372"/>
              <a:gd name="connsiteX11549" fmla="*/ 9175698 w 10505529"/>
              <a:gd name="connsiteY11549" fmla="*/ 5482128 h 7458372"/>
              <a:gd name="connsiteX11550" fmla="*/ 9179425 w 10505529"/>
              <a:gd name="connsiteY11550" fmla="*/ 5479731 h 7458372"/>
              <a:gd name="connsiteX11551" fmla="*/ 9182088 w 10505529"/>
              <a:gd name="connsiteY11551" fmla="*/ 5475472 h 7458372"/>
              <a:gd name="connsiteX11552" fmla="*/ 9183152 w 10505529"/>
              <a:gd name="connsiteY11552" fmla="*/ 5470014 h 7458372"/>
              <a:gd name="connsiteX11553" fmla="*/ 9182088 w 10505529"/>
              <a:gd name="connsiteY11553" fmla="*/ 5464822 h 7458372"/>
              <a:gd name="connsiteX11554" fmla="*/ 9179425 w 10505529"/>
              <a:gd name="connsiteY11554" fmla="*/ 5460696 h 7458372"/>
              <a:gd name="connsiteX11555" fmla="*/ 9175432 w 10505529"/>
              <a:gd name="connsiteY11555" fmla="*/ 5458033 h 7458372"/>
              <a:gd name="connsiteX11556" fmla="*/ 9170374 w 10505529"/>
              <a:gd name="connsiteY11556" fmla="*/ 5457102 h 7458372"/>
              <a:gd name="connsiteX11557" fmla="*/ 8952728 w 10505529"/>
              <a:gd name="connsiteY11557" fmla="*/ 5457102 h 7458372"/>
              <a:gd name="connsiteX11558" fmla="*/ 8942743 w 10505529"/>
              <a:gd name="connsiteY11558" fmla="*/ 5460696 h 7458372"/>
              <a:gd name="connsiteX11559" fmla="*/ 8939150 w 10505529"/>
              <a:gd name="connsiteY11559" fmla="*/ 5470147 h 7458372"/>
              <a:gd name="connsiteX11560" fmla="*/ 8942743 w 10505529"/>
              <a:gd name="connsiteY11560" fmla="*/ 5479598 h 7458372"/>
              <a:gd name="connsiteX11561" fmla="*/ 8952728 w 10505529"/>
              <a:gd name="connsiteY11561" fmla="*/ 5483060 h 7458372"/>
              <a:gd name="connsiteX11562" fmla="*/ 8958053 w 10505529"/>
              <a:gd name="connsiteY11562" fmla="*/ 5482128 h 7458372"/>
              <a:gd name="connsiteX11563" fmla="*/ 8961780 w 10505529"/>
              <a:gd name="connsiteY11563" fmla="*/ 5479731 h 7458372"/>
              <a:gd name="connsiteX11564" fmla="*/ 8964442 w 10505529"/>
              <a:gd name="connsiteY11564" fmla="*/ 5475472 h 7458372"/>
              <a:gd name="connsiteX11565" fmla="*/ 8965507 w 10505529"/>
              <a:gd name="connsiteY11565" fmla="*/ 5470014 h 7458372"/>
              <a:gd name="connsiteX11566" fmla="*/ 8964442 w 10505529"/>
              <a:gd name="connsiteY11566" fmla="*/ 5464822 h 7458372"/>
              <a:gd name="connsiteX11567" fmla="*/ 8961780 w 10505529"/>
              <a:gd name="connsiteY11567" fmla="*/ 5460696 h 7458372"/>
              <a:gd name="connsiteX11568" fmla="*/ 8957786 w 10505529"/>
              <a:gd name="connsiteY11568" fmla="*/ 5458033 h 7458372"/>
              <a:gd name="connsiteX11569" fmla="*/ 8952728 w 10505529"/>
              <a:gd name="connsiteY11569" fmla="*/ 5457102 h 7458372"/>
              <a:gd name="connsiteX11570" fmla="*/ 8735083 w 10505529"/>
              <a:gd name="connsiteY11570" fmla="*/ 5457102 h 7458372"/>
              <a:gd name="connsiteX11571" fmla="*/ 8725098 w 10505529"/>
              <a:gd name="connsiteY11571" fmla="*/ 5460696 h 7458372"/>
              <a:gd name="connsiteX11572" fmla="*/ 8721504 w 10505529"/>
              <a:gd name="connsiteY11572" fmla="*/ 5470147 h 7458372"/>
              <a:gd name="connsiteX11573" fmla="*/ 8725098 w 10505529"/>
              <a:gd name="connsiteY11573" fmla="*/ 5479598 h 7458372"/>
              <a:gd name="connsiteX11574" fmla="*/ 8735083 w 10505529"/>
              <a:gd name="connsiteY11574" fmla="*/ 5483060 h 7458372"/>
              <a:gd name="connsiteX11575" fmla="*/ 8740407 w 10505529"/>
              <a:gd name="connsiteY11575" fmla="*/ 5482128 h 7458372"/>
              <a:gd name="connsiteX11576" fmla="*/ 8744134 w 10505529"/>
              <a:gd name="connsiteY11576" fmla="*/ 5479731 h 7458372"/>
              <a:gd name="connsiteX11577" fmla="*/ 8746797 w 10505529"/>
              <a:gd name="connsiteY11577" fmla="*/ 5475472 h 7458372"/>
              <a:gd name="connsiteX11578" fmla="*/ 8747862 w 10505529"/>
              <a:gd name="connsiteY11578" fmla="*/ 5470014 h 7458372"/>
              <a:gd name="connsiteX11579" fmla="*/ 8746797 w 10505529"/>
              <a:gd name="connsiteY11579" fmla="*/ 5464822 h 7458372"/>
              <a:gd name="connsiteX11580" fmla="*/ 8744134 w 10505529"/>
              <a:gd name="connsiteY11580" fmla="*/ 5460696 h 7458372"/>
              <a:gd name="connsiteX11581" fmla="*/ 8740141 w 10505529"/>
              <a:gd name="connsiteY11581" fmla="*/ 5458033 h 7458372"/>
              <a:gd name="connsiteX11582" fmla="*/ 8735083 w 10505529"/>
              <a:gd name="connsiteY11582" fmla="*/ 5457102 h 7458372"/>
              <a:gd name="connsiteX11583" fmla="*/ 8517438 w 10505529"/>
              <a:gd name="connsiteY11583" fmla="*/ 5457102 h 7458372"/>
              <a:gd name="connsiteX11584" fmla="*/ 8507453 w 10505529"/>
              <a:gd name="connsiteY11584" fmla="*/ 5460696 h 7458372"/>
              <a:gd name="connsiteX11585" fmla="*/ 8503860 w 10505529"/>
              <a:gd name="connsiteY11585" fmla="*/ 5470147 h 7458372"/>
              <a:gd name="connsiteX11586" fmla="*/ 8507453 w 10505529"/>
              <a:gd name="connsiteY11586" fmla="*/ 5479598 h 7458372"/>
              <a:gd name="connsiteX11587" fmla="*/ 8517438 w 10505529"/>
              <a:gd name="connsiteY11587" fmla="*/ 5483060 h 7458372"/>
              <a:gd name="connsiteX11588" fmla="*/ 8522763 w 10505529"/>
              <a:gd name="connsiteY11588" fmla="*/ 5482128 h 7458372"/>
              <a:gd name="connsiteX11589" fmla="*/ 8526490 w 10505529"/>
              <a:gd name="connsiteY11589" fmla="*/ 5479731 h 7458372"/>
              <a:gd name="connsiteX11590" fmla="*/ 8529152 w 10505529"/>
              <a:gd name="connsiteY11590" fmla="*/ 5475472 h 7458372"/>
              <a:gd name="connsiteX11591" fmla="*/ 8530084 w 10505529"/>
              <a:gd name="connsiteY11591" fmla="*/ 5470014 h 7458372"/>
              <a:gd name="connsiteX11592" fmla="*/ 8529152 w 10505529"/>
              <a:gd name="connsiteY11592" fmla="*/ 5464822 h 7458372"/>
              <a:gd name="connsiteX11593" fmla="*/ 8526490 w 10505529"/>
              <a:gd name="connsiteY11593" fmla="*/ 5460696 h 7458372"/>
              <a:gd name="connsiteX11594" fmla="*/ 8522496 w 10505529"/>
              <a:gd name="connsiteY11594" fmla="*/ 5458033 h 7458372"/>
              <a:gd name="connsiteX11595" fmla="*/ 8517438 w 10505529"/>
              <a:gd name="connsiteY11595" fmla="*/ 5457102 h 7458372"/>
              <a:gd name="connsiteX11596" fmla="*/ 8299793 w 10505529"/>
              <a:gd name="connsiteY11596" fmla="*/ 5457102 h 7458372"/>
              <a:gd name="connsiteX11597" fmla="*/ 8289809 w 10505529"/>
              <a:gd name="connsiteY11597" fmla="*/ 5460696 h 7458372"/>
              <a:gd name="connsiteX11598" fmla="*/ 8286215 w 10505529"/>
              <a:gd name="connsiteY11598" fmla="*/ 5470147 h 7458372"/>
              <a:gd name="connsiteX11599" fmla="*/ 8289809 w 10505529"/>
              <a:gd name="connsiteY11599" fmla="*/ 5479598 h 7458372"/>
              <a:gd name="connsiteX11600" fmla="*/ 8299793 w 10505529"/>
              <a:gd name="connsiteY11600" fmla="*/ 5483060 h 7458372"/>
              <a:gd name="connsiteX11601" fmla="*/ 8305118 w 10505529"/>
              <a:gd name="connsiteY11601" fmla="*/ 5482128 h 7458372"/>
              <a:gd name="connsiteX11602" fmla="*/ 8308844 w 10505529"/>
              <a:gd name="connsiteY11602" fmla="*/ 5479731 h 7458372"/>
              <a:gd name="connsiteX11603" fmla="*/ 8311507 w 10505529"/>
              <a:gd name="connsiteY11603" fmla="*/ 5475472 h 7458372"/>
              <a:gd name="connsiteX11604" fmla="*/ 8312439 w 10505529"/>
              <a:gd name="connsiteY11604" fmla="*/ 5470014 h 7458372"/>
              <a:gd name="connsiteX11605" fmla="*/ 8311507 w 10505529"/>
              <a:gd name="connsiteY11605" fmla="*/ 5464822 h 7458372"/>
              <a:gd name="connsiteX11606" fmla="*/ 8308844 w 10505529"/>
              <a:gd name="connsiteY11606" fmla="*/ 5460696 h 7458372"/>
              <a:gd name="connsiteX11607" fmla="*/ 8304851 w 10505529"/>
              <a:gd name="connsiteY11607" fmla="*/ 5458033 h 7458372"/>
              <a:gd name="connsiteX11608" fmla="*/ 8299793 w 10505529"/>
              <a:gd name="connsiteY11608" fmla="*/ 5457102 h 7458372"/>
              <a:gd name="connsiteX11609" fmla="*/ 8082281 w 10505529"/>
              <a:gd name="connsiteY11609" fmla="*/ 5457102 h 7458372"/>
              <a:gd name="connsiteX11610" fmla="*/ 8072297 w 10505529"/>
              <a:gd name="connsiteY11610" fmla="*/ 5460696 h 7458372"/>
              <a:gd name="connsiteX11611" fmla="*/ 8068703 w 10505529"/>
              <a:gd name="connsiteY11611" fmla="*/ 5470147 h 7458372"/>
              <a:gd name="connsiteX11612" fmla="*/ 8072297 w 10505529"/>
              <a:gd name="connsiteY11612" fmla="*/ 5479598 h 7458372"/>
              <a:gd name="connsiteX11613" fmla="*/ 8082281 w 10505529"/>
              <a:gd name="connsiteY11613" fmla="*/ 5483060 h 7458372"/>
              <a:gd name="connsiteX11614" fmla="*/ 8087605 w 10505529"/>
              <a:gd name="connsiteY11614" fmla="*/ 5482128 h 7458372"/>
              <a:gd name="connsiteX11615" fmla="*/ 8091332 w 10505529"/>
              <a:gd name="connsiteY11615" fmla="*/ 5479731 h 7458372"/>
              <a:gd name="connsiteX11616" fmla="*/ 8093994 w 10505529"/>
              <a:gd name="connsiteY11616" fmla="*/ 5475472 h 7458372"/>
              <a:gd name="connsiteX11617" fmla="*/ 8094926 w 10505529"/>
              <a:gd name="connsiteY11617" fmla="*/ 5470014 h 7458372"/>
              <a:gd name="connsiteX11618" fmla="*/ 8093994 w 10505529"/>
              <a:gd name="connsiteY11618" fmla="*/ 5464822 h 7458372"/>
              <a:gd name="connsiteX11619" fmla="*/ 8091332 w 10505529"/>
              <a:gd name="connsiteY11619" fmla="*/ 5460696 h 7458372"/>
              <a:gd name="connsiteX11620" fmla="*/ 8087338 w 10505529"/>
              <a:gd name="connsiteY11620" fmla="*/ 5458033 h 7458372"/>
              <a:gd name="connsiteX11621" fmla="*/ 8082281 w 10505529"/>
              <a:gd name="connsiteY11621" fmla="*/ 5457102 h 7458372"/>
              <a:gd name="connsiteX11622" fmla="*/ 7864636 w 10505529"/>
              <a:gd name="connsiteY11622" fmla="*/ 5457102 h 7458372"/>
              <a:gd name="connsiteX11623" fmla="*/ 7854652 w 10505529"/>
              <a:gd name="connsiteY11623" fmla="*/ 5460696 h 7458372"/>
              <a:gd name="connsiteX11624" fmla="*/ 7851058 w 10505529"/>
              <a:gd name="connsiteY11624" fmla="*/ 5470147 h 7458372"/>
              <a:gd name="connsiteX11625" fmla="*/ 7854652 w 10505529"/>
              <a:gd name="connsiteY11625" fmla="*/ 5479598 h 7458372"/>
              <a:gd name="connsiteX11626" fmla="*/ 7864636 w 10505529"/>
              <a:gd name="connsiteY11626" fmla="*/ 5483060 h 7458372"/>
              <a:gd name="connsiteX11627" fmla="*/ 7869961 w 10505529"/>
              <a:gd name="connsiteY11627" fmla="*/ 5482128 h 7458372"/>
              <a:gd name="connsiteX11628" fmla="*/ 7873687 w 10505529"/>
              <a:gd name="connsiteY11628" fmla="*/ 5479731 h 7458372"/>
              <a:gd name="connsiteX11629" fmla="*/ 7876350 w 10505529"/>
              <a:gd name="connsiteY11629" fmla="*/ 5475472 h 7458372"/>
              <a:gd name="connsiteX11630" fmla="*/ 7877282 w 10505529"/>
              <a:gd name="connsiteY11630" fmla="*/ 5470014 h 7458372"/>
              <a:gd name="connsiteX11631" fmla="*/ 7876350 w 10505529"/>
              <a:gd name="connsiteY11631" fmla="*/ 5464822 h 7458372"/>
              <a:gd name="connsiteX11632" fmla="*/ 7873687 w 10505529"/>
              <a:gd name="connsiteY11632" fmla="*/ 5460696 h 7458372"/>
              <a:gd name="connsiteX11633" fmla="*/ 7869694 w 10505529"/>
              <a:gd name="connsiteY11633" fmla="*/ 5458033 h 7458372"/>
              <a:gd name="connsiteX11634" fmla="*/ 7864636 w 10505529"/>
              <a:gd name="connsiteY11634" fmla="*/ 5457102 h 7458372"/>
              <a:gd name="connsiteX11635" fmla="*/ 7646991 w 10505529"/>
              <a:gd name="connsiteY11635" fmla="*/ 5457102 h 7458372"/>
              <a:gd name="connsiteX11636" fmla="*/ 7637007 w 10505529"/>
              <a:gd name="connsiteY11636" fmla="*/ 5460696 h 7458372"/>
              <a:gd name="connsiteX11637" fmla="*/ 7633413 w 10505529"/>
              <a:gd name="connsiteY11637" fmla="*/ 5470147 h 7458372"/>
              <a:gd name="connsiteX11638" fmla="*/ 7637007 w 10505529"/>
              <a:gd name="connsiteY11638" fmla="*/ 5479598 h 7458372"/>
              <a:gd name="connsiteX11639" fmla="*/ 7646991 w 10505529"/>
              <a:gd name="connsiteY11639" fmla="*/ 5483060 h 7458372"/>
              <a:gd name="connsiteX11640" fmla="*/ 7652315 w 10505529"/>
              <a:gd name="connsiteY11640" fmla="*/ 5482128 h 7458372"/>
              <a:gd name="connsiteX11641" fmla="*/ 7656042 w 10505529"/>
              <a:gd name="connsiteY11641" fmla="*/ 5479731 h 7458372"/>
              <a:gd name="connsiteX11642" fmla="*/ 7658705 w 10505529"/>
              <a:gd name="connsiteY11642" fmla="*/ 5475472 h 7458372"/>
              <a:gd name="connsiteX11643" fmla="*/ 7659769 w 10505529"/>
              <a:gd name="connsiteY11643" fmla="*/ 5470014 h 7458372"/>
              <a:gd name="connsiteX11644" fmla="*/ 7658705 w 10505529"/>
              <a:gd name="connsiteY11644" fmla="*/ 5464822 h 7458372"/>
              <a:gd name="connsiteX11645" fmla="*/ 7656042 w 10505529"/>
              <a:gd name="connsiteY11645" fmla="*/ 5460696 h 7458372"/>
              <a:gd name="connsiteX11646" fmla="*/ 7652049 w 10505529"/>
              <a:gd name="connsiteY11646" fmla="*/ 5458033 h 7458372"/>
              <a:gd name="connsiteX11647" fmla="*/ 7646991 w 10505529"/>
              <a:gd name="connsiteY11647" fmla="*/ 5457102 h 7458372"/>
              <a:gd name="connsiteX11648" fmla="*/ 7429345 w 10505529"/>
              <a:gd name="connsiteY11648" fmla="*/ 5457102 h 7458372"/>
              <a:gd name="connsiteX11649" fmla="*/ 7419361 w 10505529"/>
              <a:gd name="connsiteY11649" fmla="*/ 5460696 h 7458372"/>
              <a:gd name="connsiteX11650" fmla="*/ 7415768 w 10505529"/>
              <a:gd name="connsiteY11650" fmla="*/ 5470147 h 7458372"/>
              <a:gd name="connsiteX11651" fmla="*/ 7419361 w 10505529"/>
              <a:gd name="connsiteY11651" fmla="*/ 5479598 h 7458372"/>
              <a:gd name="connsiteX11652" fmla="*/ 7429345 w 10505529"/>
              <a:gd name="connsiteY11652" fmla="*/ 5483060 h 7458372"/>
              <a:gd name="connsiteX11653" fmla="*/ 7434670 w 10505529"/>
              <a:gd name="connsiteY11653" fmla="*/ 5482128 h 7458372"/>
              <a:gd name="connsiteX11654" fmla="*/ 7438397 w 10505529"/>
              <a:gd name="connsiteY11654" fmla="*/ 5479731 h 7458372"/>
              <a:gd name="connsiteX11655" fmla="*/ 7441059 w 10505529"/>
              <a:gd name="connsiteY11655" fmla="*/ 5475472 h 7458372"/>
              <a:gd name="connsiteX11656" fmla="*/ 7442124 w 10505529"/>
              <a:gd name="connsiteY11656" fmla="*/ 5470014 h 7458372"/>
              <a:gd name="connsiteX11657" fmla="*/ 7441059 w 10505529"/>
              <a:gd name="connsiteY11657" fmla="*/ 5464822 h 7458372"/>
              <a:gd name="connsiteX11658" fmla="*/ 7438397 w 10505529"/>
              <a:gd name="connsiteY11658" fmla="*/ 5460696 h 7458372"/>
              <a:gd name="connsiteX11659" fmla="*/ 7434403 w 10505529"/>
              <a:gd name="connsiteY11659" fmla="*/ 5458033 h 7458372"/>
              <a:gd name="connsiteX11660" fmla="*/ 7429345 w 10505529"/>
              <a:gd name="connsiteY11660" fmla="*/ 5457102 h 7458372"/>
              <a:gd name="connsiteX11661" fmla="*/ 7211701 w 10505529"/>
              <a:gd name="connsiteY11661" fmla="*/ 5457102 h 7458372"/>
              <a:gd name="connsiteX11662" fmla="*/ 7201717 w 10505529"/>
              <a:gd name="connsiteY11662" fmla="*/ 5460696 h 7458372"/>
              <a:gd name="connsiteX11663" fmla="*/ 7198123 w 10505529"/>
              <a:gd name="connsiteY11663" fmla="*/ 5470147 h 7458372"/>
              <a:gd name="connsiteX11664" fmla="*/ 7201717 w 10505529"/>
              <a:gd name="connsiteY11664" fmla="*/ 5479598 h 7458372"/>
              <a:gd name="connsiteX11665" fmla="*/ 7211701 w 10505529"/>
              <a:gd name="connsiteY11665" fmla="*/ 5483060 h 7458372"/>
              <a:gd name="connsiteX11666" fmla="*/ 7217026 w 10505529"/>
              <a:gd name="connsiteY11666" fmla="*/ 5482128 h 7458372"/>
              <a:gd name="connsiteX11667" fmla="*/ 7220752 w 10505529"/>
              <a:gd name="connsiteY11667" fmla="*/ 5479731 h 7458372"/>
              <a:gd name="connsiteX11668" fmla="*/ 7223415 w 10505529"/>
              <a:gd name="connsiteY11668" fmla="*/ 5475472 h 7458372"/>
              <a:gd name="connsiteX11669" fmla="*/ 7224480 w 10505529"/>
              <a:gd name="connsiteY11669" fmla="*/ 5470014 h 7458372"/>
              <a:gd name="connsiteX11670" fmla="*/ 7223415 w 10505529"/>
              <a:gd name="connsiteY11670" fmla="*/ 5464822 h 7458372"/>
              <a:gd name="connsiteX11671" fmla="*/ 7220752 w 10505529"/>
              <a:gd name="connsiteY11671" fmla="*/ 5460696 h 7458372"/>
              <a:gd name="connsiteX11672" fmla="*/ 7216759 w 10505529"/>
              <a:gd name="connsiteY11672" fmla="*/ 5458033 h 7458372"/>
              <a:gd name="connsiteX11673" fmla="*/ 7211701 w 10505529"/>
              <a:gd name="connsiteY11673" fmla="*/ 5457102 h 7458372"/>
              <a:gd name="connsiteX11674" fmla="*/ 6994056 w 10505529"/>
              <a:gd name="connsiteY11674" fmla="*/ 5457102 h 7458372"/>
              <a:gd name="connsiteX11675" fmla="*/ 6984072 w 10505529"/>
              <a:gd name="connsiteY11675" fmla="*/ 5460696 h 7458372"/>
              <a:gd name="connsiteX11676" fmla="*/ 6980478 w 10505529"/>
              <a:gd name="connsiteY11676" fmla="*/ 5470147 h 7458372"/>
              <a:gd name="connsiteX11677" fmla="*/ 6984072 w 10505529"/>
              <a:gd name="connsiteY11677" fmla="*/ 5479598 h 7458372"/>
              <a:gd name="connsiteX11678" fmla="*/ 6994056 w 10505529"/>
              <a:gd name="connsiteY11678" fmla="*/ 5483060 h 7458372"/>
              <a:gd name="connsiteX11679" fmla="*/ 6999380 w 10505529"/>
              <a:gd name="connsiteY11679" fmla="*/ 5482128 h 7458372"/>
              <a:gd name="connsiteX11680" fmla="*/ 7003107 w 10505529"/>
              <a:gd name="connsiteY11680" fmla="*/ 5479731 h 7458372"/>
              <a:gd name="connsiteX11681" fmla="*/ 7005769 w 10505529"/>
              <a:gd name="connsiteY11681" fmla="*/ 5475472 h 7458372"/>
              <a:gd name="connsiteX11682" fmla="*/ 7006834 w 10505529"/>
              <a:gd name="connsiteY11682" fmla="*/ 5470014 h 7458372"/>
              <a:gd name="connsiteX11683" fmla="*/ 7005769 w 10505529"/>
              <a:gd name="connsiteY11683" fmla="*/ 5464822 h 7458372"/>
              <a:gd name="connsiteX11684" fmla="*/ 7003107 w 10505529"/>
              <a:gd name="connsiteY11684" fmla="*/ 5460696 h 7458372"/>
              <a:gd name="connsiteX11685" fmla="*/ 6999113 w 10505529"/>
              <a:gd name="connsiteY11685" fmla="*/ 5458033 h 7458372"/>
              <a:gd name="connsiteX11686" fmla="*/ 6994056 w 10505529"/>
              <a:gd name="connsiteY11686" fmla="*/ 5457102 h 7458372"/>
              <a:gd name="connsiteX11687" fmla="*/ 6776544 w 10505529"/>
              <a:gd name="connsiteY11687" fmla="*/ 5457102 h 7458372"/>
              <a:gd name="connsiteX11688" fmla="*/ 6766560 w 10505529"/>
              <a:gd name="connsiteY11688" fmla="*/ 5460696 h 7458372"/>
              <a:gd name="connsiteX11689" fmla="*/ 6762966 w 10505529"/>
              <a:gd name="connsiteY11689" fmla="*/ 5470147 h 7458372"/>
              <a:gd name="connsiteX11690" fmla="*/ 6766560 w 10505529"/>
              <a:gd name="connsiteY11690" fmla="*/ 5479598 h 7458372"/>
              <a:gd name="connsiteX11691" fmla="*/ 6776544 w 10505529"/>
              <a:gd name="connsiteY11691" fmla="*/ 5483060 h 7458372"/>
              <a:gd name="connsiteX11692" fmla="*/ 6781869 w 10505529"/>
              <a:gd name="connsiteY11692" fmla="*/ 5482128 h 7458372"/>
              <a:gd name="connsiteX11693" fmla="*/ 6785595 w 10505529"/>
              <a:gd name="connsiteY11693" fmla="*/ 5479731 h 7458372"/>
              <a:gd name="connsiteX11694" fmla="*/ 6788258 w 10505529"/>
              <a:gd name="connsiteY11694" fmla="*/ 5475472 h 7458372"/>
              <a:gd name="connsiteX11695" fmla="*/ 6789323 w 10505529"/>
              <a:gd name="connsiteY11695" fmla="*/ 5470014 h 7458372"/>
              <a:gd name="connsiteX11696" fmla="*/ 6788258 w 10505529"/>
              <a:gd name="connsiteY11696" fmla="*/ 5464822 h 7458372"/>
              <a:gd name="connsiteX11697" fmla="*/ 6785595 w 10505529"/>
              <a:gd name="connsiteY11697" fmla="*/ 5460696 h 7458372"/>
              <a:gd name="connsiteX11698" fmla="*/ 6781602 w 10505529"/>
              <a:gd name="connsiteY11698" fmla="*/ 5458033 h 7458372"/>
              <a:gd name="connsiteX11699" fmla="*/ 6776544 w 10505529"/>
              <a:gd name="connsiteY11699" fmla="*/ 5457102 h 7458372"/>
              <a:gd name="connsiteX11700" fmla="*/ 6558899 w 10505529"/>
              <a:gd name="connsiteY11700" fmla="*/ 5457102 h 7458372"/>
              <a:gd name="connsiteX11701" fmla="*/ 6548915 w 10505529"/>
              <a:gd name="connsiteY11701" fmla="*/ 5460696 h 7458372"/>
              <a:gd name="connsiteX11702" fmla="*/ 6545321 w 10505529"/>
              <a:gd name="connsiteY11702" fmla="*/ 5470147 h 7458372"/>
              <a:gd name="connsiteX11703" fmla="*/ 6548915 w 10505529"/>
              <a:gd name="connsiteY11703" fmla="*/ 5479598 h 7458372"/>
              <a:gd name="connsiteX11704" fmla="*/ 6558899 w 10505529"/>
              <a:gd name="connsiteY11704" fmla="*/ 5483060 h 7458372"/>
              <a:gd name="connsiteX11705" fmla="*/ 6564223 w 10505529"/>
              <a:gd name="connsiteY11705" fmla="*/ 5482128 h 7458372"/>
              <a:gd name="connsiteX11706" fmla="*/ 6567950 w 10505529"/>
              <a:gd name="connsiteY11706" fmla="*/ 5479731 h 7458372"/>
              <a:gd name="connsiteX11707" fmla="*/ 6570612 w 10505529"/>
              <a:gd name="connsiteY11707" fmla="*/ 5475472 h 7458372"/>
              <a:gd name="connsiteX11708" fmla="*/ 6571677 w 10505529"/>
              <a:gd name="connsiteY11708" fmla="*/ 5470014 h 7458372"/>
              <a:gd name="connsiteX11709" fmla="*/ 6570612 w 10505529"/>
              <a:gd name="connsiteY11709" fmla="*/ 5464822 h 7458372"/>
              <a:gd name="connsiteX11710" fmla="*/ 6567950 w 10505529"/>
              <a:gd name="connsiteY11710" fmla="*/ 5460696 h 7458372"/>
              <a:gd name="connsiteX11711" fmla="*/ 6563956 w 10505529"/>
              <a:gd name="connsiteY11711" fmla="*/ 5458033 h 7458372"/>
              <a:gd name="connsiteX11712" fmla="*/ 6558899 w 10505529"/>
              <a:gd name="connsiteY11712" fmla="*/ 5457102 h 7458372"/>
              <a:gd name="connsiteX11713" fmla="*/ 6341253 w 10505529"/>
              <a:gd name="connsiteY11713" fmla="*/ 5457102 h 7458372"/>
              <a:gd name="connsiteX11714" fmla="*/ 6331270 w 10505529"/>
              <a:gd name="connsiteY11714" fmla="*/ 5460696 h 7458372"/>
              <a:gd name="connsiteX11715" fmla="*/ 6327675 w 10505529"/>
              <a:gd name="connsiteY11715" fmla="*/ 5470147 h 7458372"/>
              <a:gd name="connsiteX11716" fmla="*/ 6331270 w 10505529"/>
              <a:gd name="connsiteY11716" fmla="*/ 5479598 h 7458372"/>
              <a:gd name="connsiteX11717" fmla="*/ 6341253 w 10505529"/>
              <a:gd name="connsiteY11717" fmla="*/ 5483060 h 7458372"/>
              <a:gd name="connsiteX11718" fmla="*/ 6346578 w 10505529"/>
              <a:gd name="connsiteY11718" fmla="*/ 5482128 h 7458372"/>
              <a:gd name="connsiteX11719" fmla="*/ 6350305 w 10505529"/>
              <a:gd name="connsiteY11719" fmla="*/ 5479731 h 7458372"/>
              <a:gd name="connsiteX11720" fmla="*/ 6352968 w 10505529"/>
              <a:gd name="connsiteY11720" fmla="*/ 5475472 h 7458372"/>
              <a:gd name="connsiteX11721" fmla="*/ 6354033 w 10505529"/>
              <a:gd name="connsiteY11721" fmla="*/ 5470014 h 7458372"/>
              <a:gd name="connsiteX11722" fmla="*/ 6352968 w 10505529"/>
              <a:gd name="connsiteY11722" fmla="*/ 5464822 h 7458372"/>
              <a:gd name="connsiteX11723" fmla="*/ 6350305 w 10505529"/>
              <a:gd name="connsiteY11723" fmla="*/ 5460696 h 7458372"/>
              <a:gd name="connsiteX11724" fmla="*/ 6346312 w 10505529"/>
              <a:gd name="connsiteY11724" fmla="*/ 5458033 h 7458372"/>
              <a:gd name="connsiteX11725" fmla="*/ 6341253 w 10505529"/>
              <a:gd name="connsiteY11725" fmla="*/ 5457102 h 7458372"/>
              <a:gd name="connsiteX11726" fmla="*/ 6123608 w 10505529"/>
              <a:gd name="connsiteY11726" fmla="*/ 5457102 h 7458372"/>
              <a:gd name="connsiteX11727" fmla="*/ 6113624 w 10505529"/>
              <a:gd name="connsiteY11727" fmla="*/ 5460696 h 7458372"/>
              <a:gd name="connsiteX11728" fmla="*/ 6110030 w 10505529"/>
              <a:gd name="connsiteY11728" fmla="*/ 5470147 h 7458372"/>
              <a:gd name="connsiteX11729" fmla="*/ 6113624 w 10505529"/>
              <a:gd name="connsiteY11729" fmla="*/ 5479598 h 7458372"/>
              <a:gd name="connsiteX11730" fmla="*/ 6123608 w 10505529"/>
              <a:gd name="connsiteY11730" fmla="*/ 5483060 h 7458372"/>
              <a:gd name="connsiteX11731" fmla="*/ 6128932 w 10505529"/>
              <a:gd name="connsiteY11731" fmla="*/ 5482128 h 7458372"/>
              <a:gd name="connsiteX11732" fmla="*/ 6132659 w 10505529"/>
              <a:gd name="connsiteY11732" fmla="*/ 5479731 h 7458372"/>
              <a:gd name="connsiteX11733" fmla="*/ 6135322 w 10505529"/>
              <a:gd name="connsiteY11733" fmla="*/ 5475472 h 7458372"/>
              <a:gd name="connsiteX11734" fmla="*/ 6136387 w 10505529"/>
              <a:gd name="connsiteY11734" fmla="*/ 5470014 h 7458372"/>
              <a:gd name="connsiteX11735" fmla="*/ 6135322 w 10505529"/>
              <a:gd name="connsiteY11735" fmla="*/ 5464822 h 7458372"/>
              <a:gd name="connsiteX11736" fmla="*/ 6132659 w 10505529"/>
              <a:gd name="connsiteY11736" fmla="*/ 5460696 h 7458372"/>
              <a:gd name="connsiteX11737" fmla="*/ 6128666 w 10505529"/>
              <a:gd name="connsiteY11737" fmla="*/ 5458033 h 7458372"/>
              <a:gd name="connsiteX11738" fmla="*/ 6123608 w 10505529"/>
              <a:gd name="connsiteY11738" fmla="*/ 5457102 h 7458372"/>
              <a:gd name="connsiteX11739" fmla="*/ 5905963 w 10505529"/>
              <a:gd name="connsiteY11739" fmla="*/ 5457102 h 7458372"/>
              <a:gd name="connsiteX11740" fmla="*/ 5895979 w 10505529"/>
              <a:gd name="connsiteY11740" fmla="*/ 5460696 h 7458372"/>
              <a:gd name="connsiteX11741" fmla="*/ 5892385 w 10505529"/>
              <a:gd name="connsiteY11741" fmla="*/ 5470147 h 7458372"/>
              <a:gd name="connsiteX11742" fmla="*/ 5895979 w 10505529"/>
              <a:gd name="connsiteY11742" fmla="*/ 5479598 h 7458372"/>
              <a:gd name="connsiteX11743" fmla="*/ 5905963 w 10505529"/>
              <a:gd name="connsiteY11743" fmla="*/ 5483060 h 7458372"/>
              <a:gd name="connsiteX11744" fmla="*/ 5911287 w 10505529"/>
              <a:gd name="connsiteY11744" fmla="*/ 5482128 h 7458372"/>
              <a:gd name="connsiteX11745" fmla="*/ 5915014 w 10505529"/>
              <a:gd name="connsiteY11745" fmla="*/ 5479731 h 7458372"/>
              <a:gd name="connsiteX11746" fmla="*/ 5917677 w 10505529"/>
              <a:gd name="connsiteY11746" fmla="*/ 5475472 h 7458372"/>
              <a:gd name="connsiteX11747" fmla="*/ 5918742 w 10505529"/>
              <a:gd name="connsiteY11747" fmla="*/ 5470014 h 7458372"/>
              <a:gd name="connsiteX11748" fmla="*/ 5917677 w 10505529"/>
              <a:gd name="connsiteY11748" fmla="*/ 5464822 h 7458372"/>
              <a:gd name="connsiteX11749" fmla="*/ 5915014 w 10505529"/>
              <a:gd name="connsiteY11749" fmla="*/ 5460696 h 7458372"/>
              <a:gd name="connsiteX11750" fmla="*/ 5911021 w 10505529"/>
              <a:gd name="connsiteY11750" fmla="*/ 5458033 h 7458372"/>
              <a:gd name="connsiteX11751" fmla="*/ 5905963 w 10505529"/>
              <a:gd name="connsiteY11751" fmla="*/ 5457102 h 7458372"/>
              <a:gd name="connsiteX11752" fmla="*/ 5688451 w 10505529"/>
              <a:gd name="connsiteY11752" fmla="*/ 5457102 h 7458372"/>
              <a:gd name="connsiteX11753" fmla="*/ 5678467 w 10505529"/>
              <a:gd name="connsiteY11753" fmla="*/ 5460696 h 7458372"/>
              <a:gd name="connsiteX11754" fmla="*/ 5674873 w 10505529"/>
              <a:gd name="connsiteY11754" fmla="*/ 5470147 h 7458372"/>
              <a:gd name="connsiteX11755" fmla="*/ 5678467 w 10505529"/>
              <a:gd name="connsiteY11755" fmla="*/ 5479598 h 7458372"/>
              <a:gd name="connsiteX11756" fmla="*/ 5688451 w 10505529"/>
              <a:gd name="connsiteY11756" fmla="*/ 5483060 h 7458372"/>
              <a:gd name="connsiteX11757" fmla="*/ 5693775 w 10505529"/>
              <a:gd name="connsiteY11757" fmla="*/ 5482128 h 7458372"/>
              <a:gd name="connsiteX11758" fmla="*/ 5697502 w 10505529"/>
              <a:gd name="connsiteY11758" fmla="*/ 5479731 h 7458372"/>
              <a:gd name="connsiteX11759" fmla="*/ 5700165 w 10505529"/>
              <a:gd name="connsiteY11759" fmla="*/ 5475472 h 7458372"/>
              <a:gd name="connsiteX11760" fmla="*/ 5701230 w 10505529"/>
              <a:gd name="connsiteY11760" fmla="*/ 5470014 h 7458372"/>
              <a:gd name="connsiteX11761" fmla="*/ 5700165 w 10505529"/>
              <a:gd name="connsiteY11761" fmla="*/ 5464822 h 7458372"/>
              <a:gd name="connsiteX11762" fmla="*/ 5697502 w 10505529"/>
              <a:gd name="connsiteY11762" fmla="*/ 5460696 h 7458372"/>
              <a:gd name="connsiteX11763" fmla="*/ 5693509 w 10505529"/>
              <a:gd name="connsiteY11763" fmla="*/ 5458033 h 7458372"/>
              <a:gd name="connsiteX11764" fmla="*/ 5688451 w 10505529"/>
              <a:gd name="connsiteY11764" fmla="*/ 5457102 h 7458372"/>
              <a:gd name="connsiteX11765" fmla="*/ 5470806 w 10505529"/>
              <a:gd name="connsiteY11765" fmla="*/ 5457102 h 7458372"/>
              <a:gd name="connsiteX11766" fmla="*/ 5460822 w 10505529"/>
              <a:gd name="connsiteY11766" fmla="*/ 5460696 h 7458372"/>
              <a:gd name="connsiteX11767" fmla="*/ 5457228 w 10505529"/>
              <a:gd name="connsiteY11767" fmla="*/ 5470147 h 7458372"/>
              <a:gd name="connsiteX11768" fmla="*/ 5460822 w 10505529"/>
              <a:gd name="connsiteY11768" fmla="*/ 5479598 h 7458372"/>
              <a:gd name="connsiteX11769" fmla="*/ 5470806 w 10505529"/>
              <a:gd name="connsiteY11769" fmla="*/ 5483060 h 7458372"/>
              <a:gd name="connsiteX11770" fmla="*/ 5476130 w 10505529"/>
              <a:gd name="connsiteY11770" fmla="*/ 5482128 h 7458372"/>
              <a:gd name="connsiteX11771" fmla="*/ 5479857 w 10505529"/>
              <a:gd name="connsiteY11771" fmla="*/ 5479731 h 7458372"/>
              <a:gd name="connsiteX11772" fmla="*/ 5482520 w 10505529"/>
              <a:gd name="connsiteY11772" fmla="*/ 5475472 h 7458372"/>
              <a:gd name="connsiteX11773" fmla="*/ 5483585 w 10505529"/>
              <a:gd name="connsiteY11773" fmla="*/ 5470014 h 7458372"/>
              <a:gd name="connsiteX11774" fmla="*/ 5482520 w 10505529"/>
              <a:gd name="connsiteY11774" fmla="*/ 5464822 h 7458372"/>
              <a:gd name="connsiteX11775" fmla="*/ 5479857 w 10505529"/>
              <a:gd name="connsiteY11775" fmla="*/ 5460696 h 7458372"/>
              <a:gd name="connsiteX11776" fmla="*/ 5475864 w 10505529"/>
              <a:gd name="connsiteY11776" fmla="*/ 5458033 h 7458372"/>
              <a:gd name="connsiteX11777" fmla="*/ 5470806 w 10505529"/>
              <a:gd name="connsiteY11777" fmla="*/ 5457102 h 7458372"/>
              <a:gd name="connsiteX11778" fmla="*/ 5253160 w 10505529"/>
              <a:gd name="connsiteY11778" fmla="*/ 5457102 h 7458372"/>
              <a:gd name="connsiteX11779" fmla="*/ 5243177 w 10505529"/>
              <a:gd name="connsiteY11779" fmla="*/ 5460696 h 7458372"/>
              <a:gd name="connsiteX11780" fmla="*/ 5239583 w 10505529"/>
              <a:gd name="connsiteY11780" fmla="*/ 5470147 h 7458372"/>
              <a:gd name="connsiteX11781" fmla="*/ 5243177 w 10505529"/>
              <a:gd name="connsiteY11781" fmla="*/ 5479598 h 7458372"/>
              <a:gd name="connsiteX11782" fmla="*/ 5253160 w 10505529"/>
              <a:gd name="connsiteY11782" fmla="*/ 5483060 h 7458372"/>
              <a:gd name="connsiteX11783" fmla="*/ 5258485 w 10505529"/>
              <a:gd name="connsiteY11783" fmla="*/ 5482128 h 7458372"/>
              <a:gd name="connsiteX11784" fmla="*/ 5262212 w 10505529"/>
              <a:gd name="connsiteY11784" fmla="*/ 5479731 h 7458372"/>
              <a:gd name="connsiteX11785" fmla="*/ 5264875 w 10505529"/>
              <a:gd name="connsiteY11785" fmla="*/ 5475472 h 7458372"/>
              <a:gd name="connsiteX11786" fmla="*/ 5265939 w 10505529"/>
              <a:gd name="connsiteY11786" fmla="*/ 5470014 h 7458372"/>
              <a:gd name="connsiteX11787" fmla="*/ 5264875 w 10505529"/>
              <a:gd name="connsiteY11787" fmla="*/ 5464822 h 7458372"/>
              <a:gd name="connsiteX11788" fmla="*/ 5262212 w 10505529"/>
              <a:gd name="connsiteY11788" fmla="*/ 5460696 h 7458372"/>
              <a:gd name="connsiteX11789" fmla="*/ 5258219 w 10505529"/>
              <a:gd name="connsiteY11789" fmla="*/ 5458033 h 7458372"/>
              <a:gd name="connsiteX11790" fmla="*/ 5253160 w 10505529"/>
              <a:gd name="connsiteY11790" fmla="*/ 5457102 h 7458372"/>
              <a:gd name="connsiteX11791" fmla="*/ 5035515 w 10505529"/>
              <a:gd name="connsiteY11791" fmla="*/ 5457102 h 7458372"/>
              <a:gd name="connsiteX11792" fmla="*/ 5025532 w 10505529"/>
              <a:gd name="connsiteY11792" fmla="*/ 5460696 h 7458372"/>
              <a:gd name="connsiteX11793" fmla="*/ 5021938 w 10505529"/>
              <a:gd name="connsiteY11793" fmla="*/ 5470147 h 7458372"/>
              <a:gd name="connsiteX11794" fmla="*/ 5025532 w 10505529"/>
              <a:gd name="connsiteY11794" fmla="*/ 5479598 h 7458372"/>
              <a:gd name="connsiteX11795" fmla="*/ 5035515 w 10505529"/>
              <a:gd name="connsiteY11795" fmla="*/ 5483060 h 7458372"/>
              <a:gd name="connsiteX11796" fmla="*/ 5040840 w 10505529"/>
              <a:gd name="connsiteY11796" fmla="*/ 5482128 h 7458372"/>
              <a:gd name="connsiteX11797" fmla="*/ 5044567 w 10505529"/>
              <a:gd name="connsiteY11797" fmla="*/ 5479731 h 7458372"/>
              <a:gd name="connsiteX11798" fmla="*/ 5047230 w 10505529"/>
              <a:gd name="connsiteY11798" fmla="*/ 5475472 h 7458372"/>
              <a:gd name="connsiteX11799" fmla="*/ 5048294 w 10505529"/>
              <a:gd name="connsiteY11799" fmla="*/ 5470014 h 7458372"/>
              <a:gd name="connsiteX11800" fmla="*/ 5047230 w 10505529"/>
              <a:gd name="connsiteY11800" fmla="*/ 5464822 h 7458372"/>
              <a:gd name="connsiteX11801" fmla="*/ 5044567 w 10505529"/>
              <a:gd name="connsiteY11801" fmla="*/ 5460696 h 7458372"/>
              <a:gd name="connsiteX11802" fmla="*/ 5040574 w 10505529"/>
              <a:gd name="connsiteY11802" fmla="*/ 5458033 h 7458372"/>
              <a:gd name="connsiteX11803" fmla="*/ 5035515 w 10505529"/>
              <a:gd name="connsiteY11803" fmla="*/ 5457102 h 7458372"/>
              <a:gd name="connsiteX11804" fmla="*/ 4817870 w 10505529"/>
              <a:gd name="connsiteY11804" fmla="*/ 5457102 h 7458372"/>
              <a:gd name="connsiteX11805" fmla="*/ 4807887 w 10505529"/>
              <a:gd name="connsiteY11805" fmla="*/ 5460696 h 7458372"/>
              <a:gd name="connsiteX11806" fmla="*/ 4804293 w 10505529"/>
              <a:gd name="connsiteY11806" fmla="*/ 5470147 h 7458372"/>
              <a:gd name="connsiteX11807" fmla="*/ 4807887 w 10505529"/>
              <a:gd name="connsiteY11807" fmla="*/ 5479598 h 7458372"/>
              <a:gd name="connsiteX11808" fmla="*/ 4817870 w 10505529"/>
              <a:gd name="connsiteY11808" fmla="*/ 5483060 h 7458372"/>
              <a:gd name="connsiteX11809" fmla="*/ 4823195 w 10505529"/>
              <a:gd name="connsiteY11809" fmla="*/ 5482128 h 7458372"/>
              <a:gd name="connsiteX11810" fmla="*/ 4826922 w 10505529"/>
              <a:gd name="connsiteY11810" fmla="*/ 5479731 h 7458372"/>
              <a:gd name="connsiteX11811" fmla="*/ 4829585 w 10505529"/>
              <a:gd name="connsiteY11811" fmla="*/ 5475472 h 7458372"/>
              <a:gd name="connsiteX11812" fmla="*/ 4830650 w 10505529"/>
              <a:gd name="connsiteY11812" fmla="*/ 5470014 h 7458372"/>
              <a:gd name="connsiteX11813" fmla="*/ 4829585 w 10505529"/>
              <a:gd name="connsiteY11813" fmla="*/ 5464822 h 7458372"/>
              <a:gd name="connsiteX11814" fmla="*/ 4826922 w 10505529"/>
              <a:gd name="connsiteY11814" fmla="*/ 5460696 h 7458372"/>
              <a:gd name="connsiteX11815" fmla="*/ 4822929 w 10505529"/>
              <a:gd name="connsiteY11815" fmla="*/ 5458033 h 7458372"/>
              <a:gd name="connsiteX11816" fmla="*/ 4817870 w 10505529"/>
              <a:gd name="connsiteY11816" fmla="*/ 5457102 h 7458372"/>
              <a:gd name="connsiteX11817" fmla="*/ 4600226 w 10505529"/>
              <a:gd name="connsiteY11817" fmla="*/ 5457102 h 7458372"/>
              <a:gd name="connsiteX11818" fmla="*/ 4590242 w 10505529"/>
              <a:gd name="connsiteY11818" fmla="*/ 5460696 h 7458372"/>
              <a:gd name="connsiteX11819" fmla="*/ 4586648 w 10505529"/>
              <a:gd name="connsiteY11819" fmla="*/ 5470147 h 7458372"/>
              <a:gd name="connsiteX11820" fmla="*/ 4590242 w 10505529"/>
              <a:gd name="connsiteY11820" fmla="*/ 5479598 h 7458372"/>
              <a:gd name="connsiteX11821" fmla="*/ 4600226 w 10505529"/>
              <a:gd name="connsiteY11821" fmla="*/ 5483060 h 7458372"/>
              <a:gd name="connsiteX11822" fmla="*/ 4605550 w 10505529"/>
              <a:gd name="connsiteY11822" fmla="*/ 5482128 h 7458372"/>
              <a:gd name="connsiteX11823" fmla="*/ 4609277 w 10505529"/>
              <a:gd name="connsiteY11823" fmla="*/ 5479731 h 7458372"/>
              <a:gd name="connsiteX11824" fmla="*/ 4611940 w 10505529"/>
              <a:gd name="connsiteY11824" fmla="*/ 5475472 h 7458372"/>
              <a:gd name="connsiteX11825" fmla="*/ 4613005 w 10505529"/>
              <a:gd name="connsiteY11825" fmla="*/ 5470014 h 7458372"/>
              <a:gd name="connsiteX11826" fmla="*/ 4611940 w 10505529"/>
              <a:gd name="connsiteY11826" fmla="*/ 5464822 h 7458372"/>
              <a:gd name="connsiteX11827" fmla="*/ 4609277 w 10505529"/>
              <a:gd name="connsiteY11827" fmla="*/ 5460696 h 7458372"/>
              <a:gd name="connsiteX11828" fmla="*/ 4605284 w 10505529"/>
              <a:gd name="connsiteY11828" fmla="*/ 5458033 h 7458372"/>
              <a:gd name="connsiteX11829" fmla="*/ 4600226 w 10505529"/>
              <a:gd name="connsiteY11829" fmla="*/ 5457102 h 7458372"/>
              <a:gd name="connsiteX11830" fmla="*/ 4382713 w 10505529"/>
              <a:gd name="connsiteY11830" fmla="*/ 5457102 h 7458372"/>
              <a:gd name="connsiteX11831" fmla="*/ 4372730 w 10505529"/>
              <a:gd name="connsiteY11831" fmla="*/ 5460696 h 7458372"/>
              <a:gd name="connsiteX11832" fmla="*/ 4369136 w 10505529"/>
              <a:gd name="connsiteY11832" fmla="*/ 5470147 h 7458372"/>
              <a:gd name="connsiteX11833" fmla="*/ 4372730 w 10505529"/>
              <a:gd name="connsiteY11833" fmla="*/ 5479598 h 7458372"/>
              <a:gd name="connsiteX11834" fmla="*/ 4382713 w 10505529"/>
              <a:gd name="connsiteY11834" fmla="*/ 5483060 h 7458372"/>
              <a:gd name="connsiteX11835" fmla="*/ 4388038 w 10505529"/>
              <a:gd name="connsiteY11835" fmla="*/ 5482128 h 7458372"/>
              <a:gd name="connsiteX11836" fmla="*/ 4391765 w 10505529"/>
              <a:gd name="connsiteY11836" fmla="*/ 5479731 h 7458372"/>
              <a:gd name="connsiteX11837" fmla="*/ 4394428 w 10505529"/>
              <a:gd name="connsiteY11837" fmla="*/ 5475472 h 7458372"/>
              <a:gd name="connsiteX11838" fmla="*/ 4395493 w 10505529"/>
              <a:gd name="connsiteY11838" fmla="*/ 5470014 h 7458372"/>
              <a:gd name="connsiteX11839" fmla="*/ 4394428 w 10505529"/>
              <a:gd name="connsiteY11839" fmla="*/ 5464822 h 7458372"/>
              <a:gd name="connsiteX11840" fmla="*/ 4391765 w 10505529"/>
              <a:gd name="connsiteY11840" fmla="*/ 5460696 h 7458372"/>
              <a:gd name="connsiteX11841" fmla="*/ 4387772 w 10505529"/>
              <a:gd name="connsiteY11841" fmla="*/ 5458033 h 7458372"/>
              <a:gd name="connsiteX11842" fmla="*/ 4382713 w 10505529"/>
              <a:gd name="connsiteY11842" fmla="*/ 5457102 h 7458372"/>
              <a:gd name="connsiteX11843" fmla="*/ 4165068 w 10505529"/>
              <a:gd name="connsiteY11843" fmla="*/ 5457102 h 7458372"/>
              <a:gd name="connsiteX11844" fmla="*/ 4155084 w 10505529"/>
              <a:gd name="connsiteY11844" fmla="*/ 5460696 h 7458372"/>
              <a:gd name="connsiteX11845" fmla="*/ 4151490 w 10505529"/>
              <a:gd name="connsiteY11845" fmla="*/ 5470147 h 7458372"/>
              <a:gd name="connsiteX11846" fmla="*/ 4155084 w 10505529"/>
              <a:gd name="connsiteY11846" fmla="*/ 5479598 h 7458372"/>
              <a:gd name="connsiteX11847" fmla="*/ 4165068 w 10505529"/>
              <a:gd name="connsiteY11847" fmla="*/ 5483060 h 7458372"/>
              <a:gd name="connsiteX11848" fmla="*/ 4170392 w 10505529"/>
              <a:gd name="connsiteY11848" fmla="*/ 5482128 h 7458372"/>
              <a:gd name="connsiteX11849" fmla="*/ 4174119 w 10505529"/>
              <a:gd name="connsiteY11849" fmla="*/ 5479731 h 7458372"/>
              <a:gd name="connsiteX11850" fmla="*/ 4176782 w 10505529"/>
              <a:gd name="connsiteY11850" fmla="*/ 5475472 h 7458372"/>
              <a:gd name="connsiteX11851" fmla="*/ 4177847 w 10505529"/>
              <a:gd name="connsiteY11851" fmla="*/ 5470014 h 7458372"/>
              <a:gd name="connsiteX11852" fmla="*/ 4176782 w 10505529"/>
              <a:gd name="connsiteY11852" fmla="*/ 5464822 h 7458372"/>
              <a:gd name="connsiteX11853" fmla="*/ 4174119 w 10505529"/>
              <a:gd name="connsiteY11853" fmla="*/ 5460696 h 7458372"/>
              <a:gd name="connsiteX11854" fmla="*/ 4170126 w 10505529"/>
              <a:gd name="connsiteY11854" fmla="*/ 5458033 h 7458372"/>
              <a:gd name="connsiteX11855" fmla="*/ 4165068 w 10505529"/>
              <a:gd name="connsiteY11855" fmla="*/ 5457102 h 7458372"/>
              <a:gd name="connsiteX11856" fmla="*/ 3947721 w 10505529"/>
              <a:gd name="connsiteY11856" fmla="*/ 5457102 h 7458372"/>
              <a:gd name="connsiteX11857" fmla="*/ 3937738 w 10505529"/>
              <a:gd name="connsiteY11857" fmla="*/ 5460696 h 7458372"/>
              <a:gd name="connsiteX11858" fmla="*/ 3934143 w 10505529"/>
              <a:gd name="connsiteY11858" fmla="*/ 5470147 h 7458372"/>
              <a:gd name="connsiteX11859" fmla="*/ 3937738 w 10505529"/>
              <a:gd name="connsiteY11859" fmla="*/ 5479598 h 7458372"/>
              <a:gd name="connsiteX11860" fmla="*/ 3947721 w 10505529"/>
              <a:gd name="connsiteY11860" fmla="*/ 5483060 h 7458372"/>
              <a:gd name="connsiteX11861" fmla="*/ 3953049 w 10505529"/>
              <a:gd name="connsiteY11861" fmla="*/ 5482128 h 7458372"/>
              <a:gd name="connsiteX11862" fmla="*/ 3956776 w 10505529"/>
              <a:gd name="connsiteY11862" fmla="*/ 5479731 h 7458372"/>
              <a:gd name="connsiteX11863" fmla="*/ 3959439 w 10505529"/>
              <a:gd name="connsiteY11863" fmla="*/ 5475472 h 7458372"/>
              <a:gd name="connsiteX11864" fmla="*/ 3960504 w 10505529"/>
              <a:gd name="connsiteY11864" fmla="*/ 5470014 h 7458372"/>
              <a:gd name="connsiteX11865" fmla="*/ 3959439 w 10505529"/>
              <a:gd name="connsiteY11865" fmla="*/ 5464822 h 7458372"/>
              <a:gd name="connsiteX11866" fmla="*/ 3956776 w 10505529"/>
              <a:gd name="connsiteY11866" fmla="*/ 5460696 h 7458372"/>
              <a:gd name="connsiteX11867" fmla="*/ 3952782 w 10505529"/>
              <a:gd name="connsiteY11867" fmla="*/ 5458033 h 7458372"/>
              <a:gd name="connsiteX11868" fmla="*/ 3947721 w 10505529"/>
              <a:gd name="connsiteY11868" fmla="*/ 5457102 h 7458372"/>
              <a:gd name="connsiteX11869" fmla="*/ 3730062 w 10505529"/>
              <a:gd name="connsiteY11869" fmla="*/ 5457102 h 7458372"/>
              <a:gd name="connsiteX11870" fmla="*/ 3720076 w 10505529"/>
              <a:gd name="connsiteY11870" fmla="*/ 5460696 h 7458372"/>
              <a:gd name="connsiteX11871" fmla="*/ 3716483 w 10505529"/>
              <a:gd name="connsiteY11871" fmla="*/ 5470147 h 7458372"/>
              <a:gd name="connsiteX11872" fmla="*/ 3720076 w 10505529"/>
              <a:gd name="connsiteY11872" fmla="*/ 5479598 h 7458372"/>
              <a:gd name="connsiteX11873" fmla="*/ 3730062 w 10505529"/>
              <a:gd name="connsiteY11873" fmla="*/ 5483060 h 7458372"/>
              <a:gd name="connsiteX11874" fmla="*/ 3735387 w 10505529"/>
              <a:gd name="connsiteY11874" fmla="*/ 5482128 h 7458372"/>
              <a:gd name="connsiteX11875" fmla="*/ 3739115 w 10505529"/>
              <a:gd name="connsiteY11875" fmla="*/ 5479731 h 7458372"/>
              <a:gd name="connsiteX11876" fmla="*/ 3741778 w 10505529"/>
              <a:gd name="connsiteY11876" fmla="*/ 5475472 h 7458372"/>
              <a:gd name="connsiteX11877" fmla="*/ 3742843 w 10505529"/>
              <a:gd name="connsiteY11877" fmla="*/ 5470014 h 7458372"/>
              <a:gd name="connsiteX11878" fmla="*/ 3741778 w 10505529"/>
              <a:gd name="connsiteY11878" fmla="*/ 5464822 h 7458372"/>
              <a:gd name="connsiteX11879" fmla="*/ 3739115 w 10505529"/>
              <a:gd name="connsiteY11879" fmla="*/ 5460696 h 7458372"/>
              <a:gd name="connsiteX11880" fmla="*/ 3735122 w 10505529"/>
              <a:gd name="connsiteY11880" fmla="*/ 5458033 h 7458372"/>
              <a:gd name="connsiteX11881" fmla="*/ 3730062 w 10505529"/>
              <a:gd name="connsiteY11881" fmla="*/ 5457102 h 7458372"/>
              <a:gd name="connsiteX11882" fmla="*/ 3512401 w 10505529"/>
              <a:gd name="connsiteY11882" fmla="*/ 5457102 h 7458372"/>
              <a:gd name="connsiteX11883" fmla="*/ 3502413 w 10505529"/>
              <a:gd name="connsiteY11883" fmla="*/ 5460696 h 7458372"/>
              <a:gd name="connsiteX11884" fmla="*/ 3498820 w 10505529"/>
              <a:gd name="connsiteY11884" fmla="*/ 5470147 h 7458372"/>
              <a:gd name="connsiteX11885" fmla="*/ 3502413 w 10505529"/>
              <a:gd name="connsiteY11885" fmla="*/ 5479598 h 7458372"/>
              <a:gd name="connsiteX11886" fmla="*/ 3512401 w 10505529"/>
              <a:gd name="connsiteY11886" fmla="*/ 5483060 h 7458372"/>
              <a:gd name="connsiteX11887" fmla="*/ 3517727 w 10505529"/>
              <a:gd name="connsiteY11887" fmla="*/ 5482128 h 7458372"/>
              <a:gd name="connsiteX11888" fmla="*/ 3521455 w 10505529"/>
              <a:gd name="connsiteY11888" fmla="*/ 5479731 h 7458372"/>
              <a:gd name="connsiteX11889" fmla="*/ 3524118 w 10505529"/>
              <a:gd name="connsiteY11889" fmla="*/ 5475472 h 7458372"/>
              <a:gd name="connsiteX11890" fmla="*/ 3525183 w 10505529"/>
              <a:gd name="connsiteY11890" fmla="*/ 5470014 h 7458372"/>
              <a:gd name="connsiteX11891" fmla="*/ 3524118 w 10505529"/>
              <a:gd name="connsiteY11891" fmla="*/ 5464822 h 7458372"/>
              <a:gd name="connsiteX11892" fmla="*/ 3521455 w 10505529"/>
              <a:gd name="connsiteY11892" fmla="*/ 5460696 h 7458372"/>
              <a:gd name="connsiteX11893" fmla="*/ 3517462 w 10505529"/>
              <a:gd name="connsiteY11893" fmla="*/ 5458033 h 7458372"/>
              <a:gd name="connsiteX11894" fmla="*/ 3512401 w 10505529"/>
              <a:gd name="connsiteY11894" fmla="*/ 5457102 h 7458372"/>
              <a:gd name="connsiteX11895" fmla="*/ 3294874 w 10505529"/>
              <a:gd name="connsiteY11895" fmla="*/ 5457102 h 7458372"/>
              <a:gd name="connsiteX11896" fmla="*/ 3284888 w 10505529"/>
              <a:gd name="connsiteY11896" fmla="*/ 5460696 h 7458372"/>
              <a:gd name="connsiteX11897" fmla="*/ 3281294 w 10505529"/>
              <a:gd name="connsiteY11897" fmla="*/ 5470147 h 7458372"/>
              <a:gd name="connsiteX11898" fmla="*/ 3284888 w 10505529"/>
              <a:gd name="connsiteY11898" fmla="*/ 5479598 h 7458372"/>
              <a:gd name="connsiteX11899" fmla="*/ 3294874 w 10505529"/>
              <a:gd name="connsiteY11899" fmla="*/ 5483060 h 7458372"/>
              <a:gd name="connsiteX11900" fmla="*/ 3300200 w 10505529"/>
              <a:gd name="connsiteY11900" fmla="*/ 5482128 h 7458372"/>
              <a:gd name="connsiteX11901" fmla="*/ 3303927 w 10505529"/>
              <a:gd name="connsiteY11901" fmla="*/ 5479731 h 7458372"/>
              <a:gd name="connsiteX11902" fmla="*/ 3306590 w 10505529"/>
              <a:gd name="connsiteY11902" fmla="*/ 5475472 h 7458372"/>
              <a:gd name="connsiteX11903" fmla="*/ 3307654 w 10505529"/>
              <a:gd name="connsiteY11903" fmla="*/ 5470014 h 7458372"/>
              <a:gd name="connsiteX11904" fmla="*/ 3306590 w 10505529"/>
              <a:gd name="connsiteY11904" fmla="*/ 5464822 h 7458372"/>
              <a:gd name="connsiteX11905" fmla="*/ 3303927 w 10505529"/>
              <a:gd name="connsiteY11905" fmla="*/ 5460696 h 7458372"/>
              <a:gd name="connsiteX11906" fmla="*/ 3299934 w 10505529"/>
              <a:gd name="connsiteY11906" fmla="*/ 5458033 h 7458372"/>
              <a:gd name="connsiteX11907" fmla="*/ 3294874 w 10505529"/>
              <a:gd name="connsiteY11907" fmla="*/ 5457102 h 7458372"/>
              <a:gd name="connsiteX11908" fmla="*/ 3077347 w 10505529"/>
              <a:gd name="connsiteY11908" fmla="*/ 5457102 h 7458372"/>
              <a:gd name="connsiteX11909" fmla="*/ 3067363 w 10505529"/>
              <a:gd name="connsiteY11909" fmla="*/ 5460696 h 7458372"/>
              <a:gd name="connsiteX11910" fmla="*/ 3063633 w 10505529"/>
              <a:gd name="connsiteY11910" fmla="*/ 5470147 h 7458372"/>
              <a:gd name="connsiteX11911" fmla="*/ 3067229 w 10505529"/>
              <a:gd name="connsiteY11911" fmla="*/ 5479598 h 7458372"/>
              <a:gd name="connsiteX11912" fmla="*/ 3077214 w 10505529"/>
              <a:gd name="connsiteY11912" fmla="*/ 5483060 h 7458372"/>
              <a:gd name="connsiteX11913" fmla="*/ 3082672 w 10505529"/>
              <a:gd name="connsiteY11913" fmla="*/ 5482128 h 7458372"/>
              <a:gd name="connsiteX11914" fmla="*/ 3086399 w 10505529"/>
              <a:gd name="connsiteY11914" fmla="*/ 5479731 h 7458372"/>
              <a:gd name="connsiteX11915" fmla="*/ 3089062 w 10505529"/>
              <a:gd name="connsiteY11915" fmla="*/ 5475472 h 7458372"/>
              <a:gd name="connsiteX11916" fmla="*/ 3089994 w 10505529"/>
              <a:gd name="connsiteY11916" fmla="*/ 5470014 h 7458372"/>
              <a:gd name="connsiteX11917" fmla="*/ 3089062 w 10505529"/>
              <a:gd name="connsiteY11917" fmla="*/ 5464822 h 7458372"/>
              <a:gd name="connsiteX11918" fmla="*/ 3086399 w 10505529"/>
              <a:gd name="connsiteY11918" fmla="*/ 5460696 h 7458372"/>
              <a:gd name="connsiteX11919" fmla="*/ 3082406 w 10505529"/>
              <a:gd name="connsiteY11919" fmla="*/ 5458033 h 7458372"/>
              <a:gd name="connsiteX11920" fmla="*/ 3077347 w 10505529"/>
              <a:gd name="connsiteY11920" fmla="*/ 5457102 h 7458372"/>
              <a:gd name="connsiteX11921" fmla="*/ 2859553 w 10505529"/>
              <a:gd name="connsiteY11921" fmla="*/ 5457102 h 7458372"/>
              <a:gd name="connsiteX11922" fmla="*/ 2849567 w 10505529"/>
              <a:gd name="connsiteY11922" fmla="*/ 5460696 h 7458372"/>
              <a:gd name="connsiteX11923" fmla="*/ 2845969 w 10505529"/>
              <a:gd name="connsiteY11923" fmla="*/ 5470147 h 7458372"/>
              <a:gd name="connsiteX11924" fmla="*/ 2849567 w 10505529"/>
              <a:gd name="connsiteY11924" fmla="*/ 5479598 h 7458372"/>
              <a:gd name="connsiteX11925" fmla="*/ 2859553 w 10505529"/>
              <a:gd name="connsiteY11925" fmla="*/ 5483060 h 7458372"/>
              <a:gd name="connsiteX11926" fmla="*/ 2864878 w 10505529"/>
              <a:gd name="connsiteY11926" fmla="*/ 5482128 h 7458372"/>
              <a:gd name="connsiteX11927" fmla="*/ 2868605 w 10505529"/>
              <a:gd name="connsiteY11927" fmla="*/ 5479731 h 7458372"/>
              <a:gd name="connsiteX11928" fmla="*/ 2871268 w 10505529"/>
              <a:gd name="connsiteY11928" fmla="*/ 5475472 h 7458372"/>
              <a:gd name="connsiteX11929" fmla="*/ 2872199 w 10505529"/>
              <a:gd name="connsiteY11929" fmla="*/ 5470014 h 7458372"/>
              <a:gd name="connsiteX11930" fmla="*/ 2871268 w 10505529"/>
              <a:gd name="connsiteY11930" fmla="*/ 5464822 h 7458372"/>
              <a:gd name="connsiteX11931" fmla="*/ 2868605 w 10505529"/>
              <a:gd name="connsiteY11931" fmla="*/ 5460696 h 7458372"/>
              <a:gd name="connsiteX11932" fmla="*/ 2864613 w 10505529"/>
              <a:gd name="connsiteY11932" fmla="*/ 5458033 h 7458372"/>
              <a:gd name="connsiteX11933" fmla="*/ 2859553 w 10505529"/>
              <a:gd name="connsiteY11933" fmla="*/ 5457102 h 7458372"/>
              <a:gd name="connsiteX11934" fmla="*/ 2641892 w 10505529"/>
              <a:gd name="connsiteY11934" fmla="*/ 5457102 h 7458372"/>
              <a:gd name="connsiteX11935" fmla="*/ 2631909 w 10505529"/>
              <a:gd name="connsiteY11935" fmla="*/ 5460696 h 7458372"/>
              <a:gd name="connsiteX11936" fmla="*/ 2628314 w 10505529"/>
              <a:gd name="connsiteY11936" fmla="*/ 5470147 h 7458372"/>
              <a:gd name="connsiteX11937" fmla="*/ 2631909 w 10505529"/>
              <a:gd name="connsiteY11937" fmla="*/ 5479598 h 7458372"/>
              <a:gd name="connsiteX11938" fmla="*/ 2641892 w 10505529"/>
              <a:gd name="connsiteY11938" fmla="*/ 5483060 h 7458372"/>
              <a:gd name="connsiteX11939" fmla="*/ 2647218 w 10505529"/>
              <a:gd name="connsiteY11939" fmla="*/ 5482128 h 7458372"/>
              <a:gd name="connsiteX11940" fmla="*/ 2650945 w 10505529"/>
              <a:gd name="connsiteY11940" fmla="*/ 5479731 h 7458372"/>
              <a:gd name="connsiteX11941" fmla="*/ 2653608 w 10505529"/>
              <a:gd name="connsiteY11941" fmla="*/ 5475472 h 7458372"/>
              <a:gd name="connsiteX11942" fmla="*/ 2654538 w 10505529"/>
              <a:gd name="connsiteY11942" fmla="*/ 5470014 h 7458372"/>
              <a:gd name="connsiteX11943" fmla="*/ 2653608 w 10505529"/>
              <a:gd name="connsiteY11943" fmla="*/ 5464822 h 7458372"/>
              <a:gd name="connsiteX11944" fmla="*/ 2650945 w 10505529"/>
              <a:gd name="connsiteY11944" fmla="*/ 5460696 h 7458372"/>
              <a:gd name="connsiteX11945" fmla="*/ 2646952 w 10505529"/>
              <a:gd name="connsiteY11945" fmla="*/ 5458033 h 7458372"/>
              <a:gd name="connsiteX11946" fmla="*/ 2641892 w 10505529"/>
              <a:gd name="connsiteY11946" fmla="*/ 5457102 h 7458372"/>
              <a:gd name="connsiteX11947" fmla="*/ 2424231 w 10505529"/>
              <a:gd name="connsiteY11947" fmla="*/ 5457102 h 7458372"/>
              <a:gd name="connsiteX11948" fmla="*/ 2414248 w 10505529"/>
              <a:gd name="connsiteY11948" fmla="*/ 5460696 h 7458372"/>
              <a:gd name="connsiteX11949" fmla="*/ 2410654 w 10505529"/>
              <a:gd name="connsiteY11949" fmla="*/ 5470147 h 7458372"/>
              <a:gd name="connsiteX11950" fmla="*/ 2414248 w 10505529"/>
              <a:gd name="connsiteY11950" fmla="*/ 5479598 h 7458372"/>
              <a:gd name="connsiteX11951" fmla="*/ 2424231 w 10505529"/>
              <a:gd name="connsiteY11951" fmla="*/ 5483060 h 7458372"/>
              <a:gd name="connsiteX11952" fmla="*/ 2429557 w 10505529"/>
              <a:gd name="connsiteY11952" fmla="*/ 5482128 h 7458372"/>
              <a:gd name="connsiteX11953" fmla="*/ 2433284 w 10505529"/>
              <a:gd name="connsiteY11953" fmla="*/ 5479731 h 7458372"/>
              <a:gd name="connsiteX11954" fmla="*/ 2435947 w 10505529"/>
              <a:gd name="connsiteY11954" fmla="*/ 5475472 h 7458372"/>
              <a:gd name="connsiteX11955" fmla="*/ 2436878 w 10505529"/>
              <a:gd name="connsiteY11955" fmla="*/ 5470014 h 7458372"/>
              <a:gd name="connsiteX11956" fmla="*/ 2435947 w 10505529"/>
              <a:gd name="connsiteY11956" fmla="*/ 5464822 h 7458372"/>
              <a:gd name="connsiteX11957" fmla="*/ 2433284 w 10505529"/>
              <a:gd name="connsiteY11957" fmla="*/ 5460696 h 7458372"/>
              <a:gd name="connsiteX11958" fmla="*/ 2429291 w 10505529"/>
              <a:gd name="connsiteY11958" fmla="*/ 5458033 h 7458372"/>
              <a:gd name="connsiteX11959" fmla="*/ 2424231 w 10505529"/>
              <a:gd name="connsiteY11959" fmla="*/ 5457102 h 7458372"/>
              <a:gd name="connsiteX11960" fmla="*/ 2206571 w 10505529"/>
              <a:gd name="connsiteY11960" fmla="*/ 5457102 h 7458372"/>
              <a:gd name="connsiteX11961" fmla="*/ 2196587 w 10505529"/>
              <a:gd name="connsiteY11961" fmla="*/ 5460696 h 7458372"/>
              <a:gd name="connsiteX11962" fmla="*/ 2192993 w 10505529"/>
              <a:gd name="connsiteY11962" fmla="*/ 5470147 h 7458372"/>
              <a:gd name="connsiteX11963" fmla="*/ 2196587 w 10505529"/>
              <a:gd name="connsiteY11963" fmla="*/ 5479598 h 7458372"/>
              <a:gd name="connsiteX11964" fmla="*/ 2206571 w 10505529"/>
              <a:gd name="connsiteY11964" fmla="*/ 5483060 h 7458372"/>
              <a:gd name="connsiteX11965" fmla="*/ 2211896 w 10505529"/>
              <a:gd name="connsiteY11965" fmla="*/ 5482128 h 7458372"/>
              <a:gd name="connsiteX11966" fmla="*/ 2215623 w 10505529"/>
              <a:gd name="connsiteY11966" fmla="*/ 5479731 h 7458372"/>
              <a:gd name="connsiteX11967" fmla="*/ 2218286 w 10505529"/>
              <a:gd name="connsiteY11967" fmla="*/ 5475472 h 7458372"/>
              <a:gd name="connsiteX11968" fmla="*/ 2219217 w 10505529"/>
              <a:gd name="connsiteY11968" fmla="*/ 5470014 h 7458372"/>
              <a:gd name="connsiteX11969" fmla="*/ 2218286 w 10505529"/>
              <a:gd name="connsiteY11969" fmla="*/ 5464822 h 7458372"/>
              <a:gd name="connsiteX11970" fmla="*/ 2215623 w 10505529"/>
              <a:gd name="connsiteY11970" fmla="*/ 5460696 h 7458372"/>
              <a:gd name="connsiteX11971" fmla="*/ 2211630 w 10505529"/>
              <a:gd name="connsiteY11971" fmla="*/ 5458033 h 7458372"/>
              <a:gd name="connsiteX11972" fmla="*/ 2206571 w 10505529"/>
              <a:gd name="connsiteY11972" fmla="*/ 5457102 h 7458372"/>
              <a:gd name="connsiteX11973" fmla="*/ 1989043 w 10505529"/>
              <a:gd name="connsiteY11973" fmla="*/ 5457102 h 7458372"/>
              <a:gd name="connsiteX11974" fmla="*/ 1979060 w 10505529"/>
              <a:gd name="connsiteY11974" fmla="*/ 5460696 h 7458372"/>
              <a:gd name="connsiteX11975" fmla="*/ 1975466 w 10505529"/>
              <a:gd name="connsiteY11975" fmla="*/ 5470147 h 7458372"/>
              <a:gd name="connsiteX11976" fmla="*/ 1979060 w 10505529"/>
              <a:gd name="connsiteY11976" fmla="*/ 5479598 h 7458372"/>
              <a:gd name="connsiteX11977" fmla="*/ 1989043 w 10505529"/>
              <a:gd name="connsiteY11977" fmla="*/ 5483060 h 7458372"/>
              <a:gd name="connsiteX11978" fmla="*/ 1994368 w 10505529"/>
              <a:gd name="connsiteY11978" fmla="*/ 5482128 h 7458372"/>
              <a:gd name="connsiteX11979" fmla="*/ 1998095 w 10505529"/>
              <a:gd name="connsiteY11979" fmla="*/ 5479731 h 7458372"/>
              <a:gd name="connsiteX11980" fmla="*/ 2000758 w 10505529"/>
              <a:gd name="connsiteY11980" fmla="*/ 5475472 h 7458372"/>
              <a:gd name="connsiteX11981" fmla="*/ 2001689 w 10505529"/>
              <a:gd name="connsiteY11981" fmla="*/ 5470014 h 7458372"/>
              <a:gd name="connsiteX11982" fmla="*/ 2000758 w 10505529"/>
              <a:gd name="connsiteY11982" fmla="*/ 5464822 h 7458372"/>
              <a:gd name="connsiteX11983" fmla="*/ 1998095 w 10505529"/>
              <a:gd name="connsiteY11983" fmla="*/ 5460696 h 7458372"/>
              <a:gd name="connsiteX11984" fmla="*/ 1994102 w 10505529"/>
              <a:gd name="connsiteY11984" fmla="*/ 5458033 h 7458372"/>
              <a:gd name="connsiteX11985" fmla="*/ 1989043 w 10505529"/>
              <a:gd name="connsiteY11985" fmla="*/ 5457102 h 7458372"/>
              <a:gd name="connsiteX11986" fmla="*/ 1771409 w 10505529"/>
              <a:gd name="connsiteY11986" fmla="*/ 5457102 h 7458372"/>
              <a:gd name="connsiteX11987" fmla="*/ 1761427 w 10505529"/>
              <a:gd name="connsiteY11987" fmla="*/ 5460696 h 7458372"/>
              <a:gd name="connsiteX11988" fmla="*/ 1757833 w 10505529"/>
              <a:gd name="connsiteY11988" fmla="*/ 5470147 h 7458372"/>
              <a:gd name="connsiteX11989" fmla="*/ 1761427 w 10505529"/>
              <a:gd name="connsiteY11989" fmla="*/ 5479598 h 7458372"/>
              <a:gd name="connsiteX11990" fmla="*/ 1771409 w 10505529"/>
              <a:gd name="connsiteY11990" fmla="*/ 5483060 h 7458372"/>
              <a:gd name="connsiteX11991" fmla="*/ 1776734 w 10505529"/>
              <a:gd name="connsiteY11991" fmla="*/ 5482128 h 7458372"/>
              <a:gd name="connsiteX11992" fmla="*/ 1780460 w 10505529"/>
              <a:gd name="connsiteY11992" fmla="*/ 5479731 h 7458372"/>
              <a:gd name="connsiteX11993" fmla="*/ 1783123 w 10505529"/>
              <a:gd name="connsiteY11993" fmla="*/ 5475472 h 7458372"/>
              <a:gd name="connsiteX11994" fmla="*/ 1784188 w 10505529"/>
              <a:gd name="connsiteY11994" fmla="*/ 5470014 h 7458372"/>
              <a:gd name="connsiteX11995" fmla="*/ 1783123 w 10505529"/>
              <a:gd name="connsiteY11995" fmla="*/ 5464822 h 7458372"/>
              <a:gd name="connsiteX11996" fmla="*/ 1780460 w 10505529"/>
              <a:gd name="connsiteY11996" fmla="*/ 5460696 h 7458372"/>
              <a:gd name="connsiteX11997" fmla="*/ 1776468 w 10505529"/>
              <a:gd name="connsiteY11997" fmla="*/ 5458033 h 7458372"/>
              <a:gd name="connsiteX11998" fmla="*/ 1771409 w 10505529"/>
              <a:gd name="connsiteY11998" fmla="*/ 5457102 h 7458372"/>
              <a:gd name="connsiteX11999" fmla="*/ 1553772 w 10505529"/>
              <a:gd name="connsiteY11999" fmla="*/ 5457102 h 7458372"/>
              <a:gd name="connsiteX12000" fmla="*/ 1543789 w 10505529"/>
              <a:gd name="connsiteY12000" fmla="*/ 5460696 h 7458372"/>
              <a:gd name="connsiteX12001" fmla="*/ 1540194 w 10505529"/>
              <a:gd name="connsiteY12001" fmla="*/ 5470147 h 7458372"/>
              <a:gd name="connsiteX12002" fmla="*/ 1543789 w 10505529"/>
              <a:gd name="connsiteY12002" fmla="*/ 5479598 h 7458372"/>
              <a:gd name="connsiteX12003" fmla="*/ 1553772 w 10505529"/>
              <a:gd name="connsiteY12003" fmla="*/ 5483060 h 7458372"/>
              <a:gd name="connsiteX12004" fmla="*/ 1559097 w 10505529"/>
              <a:gd name="connsiteY12004" fmla="*/ 5482128 h 7458372"/>
              <a:gd name="connsiteX12005" fmla="*/ 1562824 w 10505529"/>
              <a:gd name="connsiteY12005" fmla="*/ 5479731 h 7458372"/>
              <a:gd name="connsiteX12006" fmla="*/ 1565487 w 10505529"/>
              <a:gd name="connsiteY12006" fmla="*/ 5475472 h 7458372"/>
              <a:gd name="connsiteX12007" fmla="*/ 1566552 w 10505529"/>
              <a:gd name="connsiteY12007" fmla="*/ 5470014 h 7458372"/>
              <a:gd name="connsiteX12008" fmla="*/ 1565487 w 10505529"/>
              <a:gd name="connsiteY12008" fmla="*/ 5464822 h 7458372"/>
              <a:gd name="connsiteX12009" fmla="*/ 1562824 w 10505529"/>
              <a:gd name="connsiteY12009" fmla="*/ 5460696 h 7458372"/>
              <a:gd name="connsiteX12010" fmla="*/ 1558831 w 10505529"/>
              <a:gd name="connsiteY12010" fmla="*/ 5458033 h 7458372"/>
              <a:gd name="connsiteX12011" fmla="*/ 1553772 w 10505529"/>
              <a:gd name="connsiteY12011" fmla="*/ 5457102 h 7458372"/>
              <a:gd name="connsiteX12012" fmla="*/ 1336129 w 10505529"/>
              <a:gd name="connsiteY12012" fmla="*/ 5457102 h 7458372"/>
              <a:gd name="connsiteX12013" fmla="*/ 1326144 w 10505529"/>
              <a:gd name="connsiteY12013" fmla="*/ 5460696 h 7458372"/>
              <a:gd name="connsiteX12014" fmla="*/ 1322550 w 10505529"/>
              <a:gd name="connsiteY12014" fmla="*/ 5470147 h 7458372"/>
              <a:gd name="connsiteX12015" fmla="*/ 1326144 w 10505529"/>
              <a:gd name="connsiteY12015" fmla="*/ 5479598 h 7458372"/>
              <a:gd name="connsiteX12016" fmla="*/ 1336129 w 10505529"/>
              <a:gd name="connsiteY12016" fmla="*/ 5483060 h 7458372"/>
              <a:gd name="connsiteX12017" fmla="*/ 1341455 w 10505529"/>
              <a:gd name="connsiteY12017" fmla="*/ 5482128 h 7458372"/>
              <a:gd name="connsiteX12018" fmla="*/ 1345182 w 10505529"/>
              <a:gd name="connsiteY12018" fmla="*/ 5479731 h 7458372"/>
              <a:gd name="connsiteX12019" fmla="*/ 1347844 w 10505529"/>
              <a:gd name="connsiteY12019" fmla="*/ 5475472 h 7458372"/>
              <a:gd name="connsiteX12020" fmla="*/ 1348910 w 10505529"/>
              <a:gd name="connsiteY12020" fmla="*/ 5470014 h 7458372"/>
              <a:gd name="connsiteX12021" fmla="*/ 1347844 w 10505529"/>
              <a:gd name="connsiteY12021" fmla="*/ 5464822 h 7458372"/>
              <a:gd name="connsiteX12022" fmla="*/ 1345182 w 10505529"/>
              <a:gd name="connsiteY12022" fmla="*/ 5460696 h 7458372"/>
              <a:gd name="connsiteX12023" fmla="*/ 1341187 w 10505529"/>
              <a:gd name="connsiteY12023" fmla="*/ 5458033 h 7458372"/>
              <a:gd name="connsiteX12024" fmla="*/ 1336129 w 10505529"/>
              <a:gd name="connsiteY12024" fmla="*/ 5457102 h 7458372"/>
              <a:gd name="connsiteX12025" fmla="*/ 1118616 w 10505529"/>
              <a:gd name="connsiteY12025" fmla="*/ 5457102 h 7458372"/>
              <a:gd name="connsiteX12026" fmla="*/ 1108631 w 10505529"/>
              <a:gd name="connsiteY12026" fmla="*/ 5460696 h 7458372"/>
              <a:gd name="connsiteX12027" fmla="*/ 1104904 w 10505529"/>
              <a:gd name="connsiteY12027" fmla="*/ 5470147 h 7458372"/>
              <a:gd name="connsiteX12028" fmla="*/ 1108498 w 10505529"/>
              <a:gd name="connsiteY12028" fmla="*/ 5479598 h 7458372"/>
              <a:gd name="connsiteX12029" fmla="*/ 1118483 w 10505529"/>
              <a:gd name="connsiteY12029" fmla="*/ 5483060 h 7458372"/>
              <a:gd name="connsiteX12030" fmla="*/ 1123940 w 10505529"/>
              <a:gd name="connsiteY12030" fmla="*/ 5482128 h 7458372"/>
              <a:gd name="connsiteX12031" fmla="*/ 1127670 w 10505529"/>
              <a:gd name="connsiteY12031" fmla="*/ 5479731 h 7458372"/>
              <a:gd name="connsiteX12032" fmla="*/ 1130334 w 10505529"/>
              <a:gd name="connsiteY12032" fmla="*/ 5475472 h 7458372"/>
              <a:gd name="connsiteX12033" fmla="*/ 1131399 w 10505529"/>
              <a:gd name="connsiteY12033" fmla="*/ 5470014 h 7458372"/>
              <a:gd name="connsiteX12034" fmla="*/ 1130334 w 10505529"/>
              <a:gd name="connsiteY12034" fmla="*/ 5464822 h 7458372"/>
              <a:gd name="connsiteX12035" fmla="*/ 1127670 w 10505529"/>
              <a:gd name="connsiteY12035" fmla="*/ 5460696 h 7458372"/>
              <a:gd name="connsiteX12036" fmla="*/ 1123674 w 10505529"/>
              <a:gd name="connsiteY12036" fmla="*/ 5458033 h 7458372"/>
              <a:gd name="connsiteX12037" fmla="*/ 1118616 w 10505529"/>
              <a:gd name="connsiteY12037" fmla="*/ 5457102 h 7458372"/>
              <a:gd name="connsiteX12038" fmla="*/ 901104 w 10505529"/>
              <a:gd name="connsiteY12038" fmla="*/ 5457102 h 7458372"/>
              <a:gd name="connsiteX12039" fmla="*/ 891120 w 10505529"/>
              <a:gd name="connsiteY12039" fmla="*/ 5460696 h 7458372"/>
              <a:gd name="connsiteX12040" fmla="*/ 887393 w 10505529"/>
              <a:gd name="connsiteY12040" fmla="*/ 5470147 h 7458372"/>
              <a:gd name="connsiteX12041" fmla="*/ 890987 w 10505529"/>
              <a:gd name="connsiteY12041" fmla="*/ 5479598 h 7458372"/>
              <a:gd name="connsiteX12042" fmla="*/ 900970 w 10505529"/>
              <a:gd name="connsiteY12042" fmla="*/ 5483060 h 7458372"/>
              <a:gd name="connsiteX12043" fmla="*/ 906428 w 10505529"/>
              <a:gd name="connsiteY12043" fmla="*/ 5482128 h 7458372"/>
              <a:gd name="connsiteX12044" fmla="*/ 910156 w 10505529"/>
              <a:gd name="connsiteY12044" fmla="*/ 5479731 h 7458372"/>
              <a:gd name="connsiteX12045" fmla="*/ 912818 w 10505529"/>
              <a:gd name="connsiteY12045" fmla="*/ 5475472 h 7458372"/>
              <a:gd name="connsiteX12046" fmla="*/ 913883 w 10505529"/>
              <a:gd name="connsiteY12046" fmla="*/ 5470014 h 7458372"/>
              <a:gd name="connsiteX12047" fmla="*/ 912818 w 10505529"/>
              <a:gd name="connsiteY12047" fmla="*/ 5464822 h 7458372"/>
              <a:gd name="connsiteX12048" fmla="*/ 910156 w 10505529"/>
              <a:gd name="connsiteY12048" fmla="*/ 5460696 h 7458372"/>
              <a:gd name="connsiteX12049" fmla="*/ 906162 w 10505529"/>
              <a:gd name="connsiteY12049" fmla="*/ 5458033 h 7458372"/>
              <a:gd name="connsiteX12050" fmla="*/ 901104 w 10505529"/>
              <a:gd name="connsiteY12050" fmla="*/ 5457102 h 7458372"/>
              <a:gd name="connsiteX12051" fmla="*/ 683330 w 10505529"/>
              <a:gd name="connsiteY12051" fmla="*/ 5457102 h 7458372"/>
              <a:gd name="connsiteX12052" fmla="*/ 673346 w 10505529"/>
              <a:gd name="connsiteY12052" fmla="*/ 5460696 h 7458372"/>
              <a:gd name="connsiteX12053" fmla="*/ 669752 w 10505529"/>
              <a:gd name="connsiteY12053" fmla="*/ 5470147 h 7458372"/>
              <a:gd name="connsiteX12054" fmla="*/ 673346 w 10505529"/>
              <a:gd name="connsiteY12054" fmla="*/ 5479598 h 7458372"/>
              <a:gd name="connsiteX12055" fmla="*/ 683330 w 10505529"/>
              <a:gd name="connsiteY12055" fmla="*/ 5483060 h 7458372"/>
              <a:gd name="connsiteX12056" fmla="*/ 688655 w 10505529"/>
              <a:gd name="connsiteY12056" fmla="*/ 5482128 h 7458372"/>
              <a:gd name="connsiteX12057" fmla="*/ 692382 w 10505529"/>
              <a:gd name="connsiteY12057" fmla="*/ 5479731 h 7458372"/>
              <a:gd name="connsiteX12058" fmla="*/ 695045 w 10505529"/>
              <a:gd name="connsiteY12058" fmla="*/ 5475472 h 7458372"/>
              <a:gd name="connsiteX12059" fmla="*/ 696110 w 10505529"/>
              <a:gd name="connsiteY12059" fmla="*/ 5470014 h 7458372"/>
              <a:gd name="connsiteX12060" fmla="*/ 695045 w 10505529"/>
              <a:gd name="connsiteY12060" fmla="*/ 5464822 h 7458372"/>
              <a:gd name="connsiteX12061" fmla="*/ 692382 w 10505529"/>
              <a:gd name="connsiteY12061" fmla="*/ 5460696 h 7458372"/>
              <a:gd name="connsiteX12062" fmla="*/ 688389 w 10505529"/>
              <a:gd name="connsiteY12062" fmla="*/ 5458033 h 7458372"/>
              <a:gd name="connsiteX12063" fmla="*/ 683330 w 10505529"/>
              <a:gd name="connsiteY12063" fmla="*/ 5457102 h 7458372"/>
              <a:gd name="connsiteX12064" fmla="*/ 465688 w 10505529"/>
              <a:gd name="connsiteY12064" fmla="*/ 5457102 h 7458372"/>
              <a:gd name="connsiteX12065" fmla="*/ 455705 w 10505529"/>
              <a:gd name="connsiteY12065" fmla="*/ 5460696 h 7458372"/>
              <a:gd name="connsiteX12066" fmla="*/ 452111 w 10505529"/>
              <a:gd name="connsiteY12066" fmla="*/ 5470147 h 7458372"/>
              <a:gd name="connsiteX12067" fmla="*/ 455705 w 10505529"/>
              <a:gd name="connsiteY12067" fmla="*/ 5479598 h 7458372"/>
              <a:gd name="connsiteX12068" fmla="*/ 465688 w 10505529"/>
              <a:gd name="connsiteY12068" fmla="*/ 5483060 h 7458372"/>
              <a:gd name="connsiteX12069" fmla="*/ 471013 w 10505529"/>
              <a:gd name="connsiteY12069" fmla="*/ 5482128 h 7458372"/>
              <a:gd name="connsiteX12070" fmla="*/ 474740 w 10505529"/>
              <a:gd name="connsiteY12070" fmla="*/ 5479731 h 7458372"/>
              <a:gd name="connsiteX12071" fmla="*/ 477404 w 10505529"/>
              <a:gd name="connsiteY12071" fmla="*/ 5475472 h 7458372"/>
              <a:gd name="connsiteX12072" fmla="*/ 478468 w 10505529"/>
              <a:gd name="connsiteY12072" fmla="*/ 5470014 h 7458372"/>
              <a:gd name="connsiteX12073" fmla="*/ 477404 w 10505529"/>
              <a:gd name="connsiteY12073" fmla="*/ 5464822 h 7458372"/>
              <a:gd name="connsiteX12074" fmla="*/ 474740 w 10505529"/>
              <a:gd name="connsiteY12074" fmla="*/ 5460696 h 7458372"/>
              <a:gd name="connsiteX12075" fmla="*/ 470747 w 10505529"/>
              <a:gd name="connsiteY12075" fmla="*/ 5458033 h 7458372"/>
              <a:gd name="connsiteX12076" fmla="*/ 465688 w 10505529"/>
              <a:gd name="connsiteY12076" fmla="*/ 5457102 h 7458372"/>
              <a:gd name="connsiteX12077" fmla="*/ 248047 w 10505529"/>
              <a:gd name="connsiteY12077" fmla="*/ 5457102 h 7458372"/>
              <a:gd name="connsiteX12078" fmla="*/ 238064 w 10505529"/>
              <a:gd name="connsiteY12078" fmla="*/ 5460696 h 7458372"/>
              <a:gd name="connsiteX12079" fmla="*/ 234471 w 10505529"/>
              <a:gd name="connsiteY12079" fmla="*/ 5470147 h 7458372"/>
              <a:gd name="connsiteX12080" fmla="*/ 238064 w 10505529"/>
              <a:gd name="connsiteY12080" fmla="*/ 5479598 h 7458372"/>
              <a:gd name="connsiteX12081" fmla="*/ 248047 w 10505529"/>
              <a:gd name="connsiteY12081" fmla="*/ 5483060 h 7458372"/>
              <a:gd name="connsiteX12082" fmla="*/ 253371 w 10505529"/>
              <a:gd name="connsiteY12082" fmla="*/ 5482128 h 7458372"/>
              <a:gd name="connsiteX12083" fmla="*/ 257098 w 10505529"/>
              <a:gd name="connsiteY12083" fmla="*/ 5479731 h 7458372"/>
              <a:gd name="connsiteX12084" fmla="*/ 259761 w 10505529"/>
              <a:gd name="connsiteY12084" fmla="*/ 5475472 h 7458372"/>
              <a:gd name="connsiteX12085" fmla="*/ 260826 w 10505529"/>
              <a:gd name="connsiteY12085" fmla="*/ 5470014 h 7458372"/>
              <a:gd name="connsiteX12086" fmla="*/ 259761 w 10505529"/>
              <a:gd name="connsiteY12086" fmla="*/ 5464822 h 7458372"/>
              <a:gd name="connsiteX12087" fmla="*/ 257098 w 10505529"/>
              <a:gd name="connsiteY12087" fmla="*/ 5460696 h 7458372"/>
              <a:gd name="connsiteX12088" fmla="*/ 253105 w 10505529"/>
              <a:gd name="connsiteY12088" fmla="*/ 5458033 h 7458372"/>
              <a:gd name="connsiteX12089" fmla="*/ 248047 w 10505529"/>
              <a:gd name="connsiteY12089" fmla="*/ 5457102 h 7458372"/>
              <a:gd name="connsiteX12090" fmla="*/ 30405 w 10505529"/>
              <a:gd name="connsiteY12090" fmla="*/ 5457102 h 7458372"/>
              <a:gd name="connsiteX12091" fmla="*/ 20422 w 10505529"/>
              <a:gd name="connsiteY12091" fmla="*/ 5460696 h 7458372"/>
              <a:gd name="connsiteX12092" fmla="*/ 16829 w 10505529"/>
              <a:gd name="connsiteY12092" fmla="*/ 5470147 h 7458372"/>
              <a:gd name="connsiteX12093" fmla="*/ 20422 w 10505529"/>
              <a:gd name="connsiteY12093" fmla="*/ 5479598 h 7458372"/>
              <a:gd name="connsiteX12094" fmla="*/ 30405 w 10505529"/>
              <a:gd name="connsiteY12094" fmla="*/ 5483060 h 7458372"/>
              <a:gd name="connsiteX12095" fmla="*/ 35730 w 10505529"/>
              <a:gd name="connsiteY12095" fmla="*/ 5482128 h 7458372"/>
              <a:gd name="connsiteX12096" fmla="*/ 39457 w 10505529"/>
              <a:gd name="connsiteY12096" fmla="*/ 5479731 h 7458372"/>
              <a:gd name="connsiteX12097" fmla="*/ 42120 w 10505529"/>
              <a:gd name="connsiteY12097" fmla="*/ 5475472 h 7458372"/>
              <a:gd name="connsiteX12098" fmla="*/ 43051 w 10505529"/>
              <a:gd name="connsiteY12098" fmla="*/ 5470014 h 7458372"/>
              <a:gd name="connsiteX12099" fmla="*/ 42120 w 10505529"/>
              <a:gd name="connsiteY12099" fmla="*/ 5464822 h 7458372"/>
              <a:gd name="connsiteX12100" fmla="*/ 39457 w 10505529"/>
              <a:gd name="connsiteY12100" fmla="*/ 5460696 h 7458372"/>
              <a:gd name="connsiteX12101" fmla="*/ 35464 w 10505529"/>
              <a:gd name="connsiteY12101" fmla="*/ 5458033 h 7458372"/>
              <a:gd name="connsiteX12102" fmla="*/ 30405 w 10505529"/>
              <a:gd name="connsiteY12102" fmla="*/ 5457102 h 7458372"/>
              <a:gd name="connsiteX12103" fmla="*/ 10475977 w 10505529"/>
              <a:gd name="connsiteY12103" fmla="*/ 5440462 h 7458372"/>
              <a:gd name="connsiteX12104" fmla="*/ 10487824 w 10505529"/>
              <a:gd name="connsiteY12104" fmla="*/ 5443124 h 7458372"/>
              <a:gd name="connsiteX12105" fmla="*/ 10497143 w 10505529"/>
              <a:gd name="connsiteY12105" fmla="*/ 5449514 h 7458372"/>
              <a:gd name="connsiteX12106" fmla="*/ 10503266 w 10505529"/>
              <a:gd name="connsiteY12106" fmla="*/ 5458832 h 7458372"/>
              <a:gd name="connsiteX12107" fmla="*/ 10505529 w 10505529"/>
              <a:gd name="connsiteY12107" fmla="*/ 5470280 h 7458372"/>
              <a:gd name="connsiteX12108" fmla="*/ 10503266 w 10505529"/>
              <a:gd name="connsiteY12108" fmla="*/ 5481995 h 7458372"/>
              <a:gd name="connsiteX12109" fmla="*/ 10497143 w 10505529"/>
              <a:gd name="connsiteY12109" fmla="*/ 5491314 h 7458372"/>
              <a:gd name="connsiteX12110" fmla="*/ 10487824 w 10505529"/>
              <a:gd name="connsiteY12110" fmla="*/ 5497570 h 7458372"/>
              <a:gd name="connsiteX12111" fmla="*/ 10475977 w 10505529"/>
              <a:gd name="connsiteY12111" fmla="*/ 5499833 h 7458372"/>
              <a:gd name="connsiteX12112" fmla="*/ 10454145 w 10505529"/>
              <a:gd name="connsiteY12112" fmla="*/ 5491314 h 7458372"/>
              <a:gd name="connsiteX12113" fmla="*/ 10445759 w 10505529"/>
              <a:gd name="connsiteY12113" fmla="*/ 5470147 h 7458372"/>
              <a:gd name="connsiteX12114" fmla="*/ 10454145 w 10505529"/>
              <a:gd name="connsiteY12114" fmla="*/ 5449114 h 7458372"/>
              <a:gd name="connsiteX12115" fmla="*/ 10475977 w 10505529"/>
              <a:gd name="connsiteY12115" fmla="*/ 5440462 h 7458372"/>
              <a:gd name="connsiteX12116" fmla="*/ 10258466 w 10505529"/>
              <a:gd name="connsiteY12116" fmla="*/ 5440462 h 7458372"/>
              <a:gd name="connsiteX12117" fmla="*/ 10270313 w 10505529"/>
              <a:gd name="connsiteY12117" fmla="*/ 5443124 h 7458372"/>
              <a:gd name="connsiteX12118" fmla="*/ 10279631 w 10505529"/>
              <a:gd name="connsiteY12118" fmla="*/ 5449514 h 7458372"/>
              <a:gd name="connsiteX12119" fmla="*/ 10285754 w 10505529"/>
              <a:gd name="connsiteY12119" fmla="*/ 5458832 h 7458372"/>
              <a:gd name="connsiteX12120" fmla="*/ 10288017 w 10505529"/>
              <a:gd name="connsiteY12120" fmla="*/ 5470280 h 7458372"/>
              <a:gd name="connsiteX12121" fmla="*/ 10285754 w 10505529"/>
              <a:gd name="connsiteY12121" fmla="*/ 5481995 h 7458372"/>
              <a:gd name="connsiteX12122" fmla="*/ 10279631 w 10505529"/>
              <a:gd name="connsiteY12122" fmla="*/ 5491314 h 7458372"/>
              <a:gd name="connsiteX12123" fmla="*/ 10270313 w 10505529"/>
              <a:gd name="connsiteY12123" fmla="*/ 5497570 h 7458372"/>
              <a:gd name="connsiteX12124" fmla="*/ 10258466 w 10505529"/>
              <a:gd name="connsiteY12124" fmla="*/ 5499833 h 7458372"/>
              <a:gd name="connsiteX12125" fmla="*/ 10236633 w 10505529"/>
              <a:gd name="connsiteY12125" fmla="*/ 5491314 h 7458372"/>
              <a:gd name="connsiteX12126" fmla="*/ 10228247 w 10505529"/>
              <a:gd name="connsiteY12126" fmla="*/ 5470147 h 7458372"/>
              <a:gd name="connsiteX12127" fmla="*/ 10236633 w 10505529"/>
              <a:gd name="connsiteY12127" fmla="*/ 5449114 h 7458372"/>
              <a:gd name="connsiteX12128" fmla="*/ 10258466 w 10505529"/>
              <a:gd name="connsiteY12128" fmla="*/ 5440462 h 7458372"/>
              <a:gd name="connsiteX12129" fmla="*/ 10040820 w 10505529"/>
              <a:gd name="connsiteY12129" fmla="*/ 5440462 h 7458372"/>
              <a:gd name="connsiteX12130" fmla="*/ 10052534 w 10505529"/>
              <a:gd name="connsiteY12130" fmla="*/ 5443124 h 7458372"/>
              <a:gd name="connsiteX12131" fmla="*/ 10061852 w 10505529"/>
              <a:gd name="connsiteY12131" fmla="*/ 5449514 h 7458372"/>
              <a:gd name="connsiteX12132" fmla="*/ 10067976 w 10505529"/>
              <a:gd name="connsiteY12132" fmla="*/ 5458832 h 7458372"/>
              <a:gd name="connsiteX12133" fmla="*/ 10070239 w 10505529"/>
              <a:gd name="connsiteY12133" fmla="*/ 5470280 h 7458372"/>
              <a:gd name="connsiteX12134" fmla="*/ 10067976 w 10505529"/>
              <a:gd name="connsiteY12134" fmla="*/ 5481995 h 7458372"/>
              <a:gd name="connsiteX12135" fmla="*/ 10061852 w 10505529"/>
              <a:gd name="connsiteY12135" fmla="*/ 5491314 h 7458372"/>
              <a:gd name="connsiteX12136" fmla="*/ 10052534 w 10505529"/>
              <a:gd name="connsiteY12136" fmla="*/ 5497570 h 7458372"/>
              <a:gd name="connsiteX12137" fmla="*/ 10040820 w 10505529"/>
              <a:gd name="connsiteY12137" fmla="*/ 5499833 h 7458372"/>
              <a:gd name="connsiteX12138" fmla="*/ 10018988 w 10505529"/>
              <a:gd name="connsiteY12138" fmla="*/ 5491314 h 7458372"/>
              <a:gd name="connsiteX12139" fmla="*/ 10010602 w 10505529"/>
              <a:gd name="connsiteY12139" fmla="*/ 5470147 h 7458372"/>
              <a:gd name="connsiteX12140" fmla="*/ 10018988 w 10505529"/>
              <a:gd name="connsiteY12140" fmla="*/ 5449114 h 7458372"/>
              <a:gd name="connsiteX12141" fmla="*/ 10040820 w 10505529"/>
              <a:gd name="connsiteY12141" fmla="*/ 5440462 h 7458372"/>
              <a:gd name="connsiteX12142" fmla="*/ 9823176 w 10505529"/>
              <a:gd name="connsiteY12142" fmla="*/ 5440462 h 7458372"/>
              <a:gd name="connsiteX12143" fmla="*/ 9834890 w 10505529"/>
              <a:gd name="connsiteY12143" fmla="*/ 5443124 h 7458372"/>
              <a:gd name="connsiteX12144" fmla="*/ 9844208 w 10505529"/>
              <a:gd name="connsiteY12144" fmla="*/ 5449514 h 7458372"/>
              <a:gd name="connsiteX12145" fmla="*/ 9850331 w 10505529"/>
              <a:gd name="connsiteY12145" fmla="*/ 5458832 h 7458372"/>
              <a:gd name="connsiteX12146" fmla="*/ 9852595 w 10505529"/>
              <a:gd name="connsiteY12146" fmla="*/ 5470280 h 7458372"/>
              <a:gd name="connsiteX12147" fmla="*/ 9850331 w 10505529"/>
              <a:gd name="connsiteY12147" fmla="*/ 5481995 h 7458372"/>
              <a:gd name="connsiteX12148" fmla="*/ 9844208 w 10505529"/>
              <a:gd name="connsiteY12148" fmla="*/ 5491314 h 7458372"/>
              <a:gd name="connsiteX12149" fmla="*/ 9834890 w 10505529"/>
              <a:gd name="connsiteY12149" fmla="*/ 5497570 h 7458372"/>
              <a:gd name="connsiteX12150" fmla="*/ 9823176 w 10505529"/>
              <a:gd name="connsiteY12150" fmla="*/ 5499833 h 7458372"/>
              <a:gd name="connsiteX12151" fmla="*/ 9801343 w 10505529"/>
              <a:gd name="connsiteY12151" fmla="*/ 5491314 h 7458372"/>
              <a:gd name="connsiteX12152" fmla="*/ 9792957 w 10505529"/>
              <a:gd name="connsiteY12152" fmla="*/ 5470147 h 7458372"/>
              <a:gd name="connsiteX12153" fmla="*/ 9801343 w 10505529"/>
              <a:gd name="connsiteY12153" fmla="*/ 5449114 h 7458372"/>
              <a:gd name="connsiteX12154" fmla="*/ 9823176 w 10505529"/>
              <a:gd name="connsiteY12154" fmla="*/ 5440462 h 7458372"/>
              <a:gd name="connsiteX12155" fmla="*/ 9605531 w 10505529"/>
              <a:gd name="connsiteY12155" fmla="*/ 5440462 h 7458372"/>
              <a:gd name="connsiteX12156" fmla="*/ 9617245 w 10505529"/>
              <a:gd name="connsiteY12156" fmla="*/ 5443124 h 7458372"/>
              <a:gd name="connsiteX12157" fmla="*/ 9626562 w 10505529"/>
              <a:gd name="connsiteY12157" fmla="*/ 5449514 h 7458372"/>
              <a:gd name="connsiteX12158" fmla="*/ 9632686 w 10505529"/>
              <a:gd name="connsiteY12158" fmla="*/ 5458832 h 7458372"/>
              <a:gd name="connsiteX12159" fmla="*/ 9634949 w 10505529"/>
              <a:gd name="connsiteY12159" fmla="*/ 5470280 h 7458372"/>
              <a:gd name="connsiteX12160" fmla="*/ 9632686 w 10505529"/>
              <a:gd name="connsiteY12160" fmla="*/ 5481995 h 7458372"/>
              <a:gd name="connsiteX12161" fmla="*/ 9626562 w 10505529"/>
              <a:gd name="connsiteY12161" fmla="*/ 5491314 h 7458372"/>
              <a:gd name="connsiteX12162" fmla="*/ 9617245 w 10505529"/>
              <a:gd name="connsiteY12162" fmla="*/ 5497570 h 7458372"/>
              <a:gd name="connsiteX12163" fmla="*/ 9605531 w 10505529"/>
              <a:gd name="connsiteY12163" fmla="*/ 5499833 h 7458372"/>
              <a:gd name="connsiteX12164" fmla="*/ 9583698 w 10505529"/>
              <a:gd name="connsiteY12164" fmla="*/ 5491314 h 7458372"/>
              <a:gd name="connsiteX12165" fmla="*/ 9575312 w 10505529"/>
              <a:gd name="connsiteY12165" fmla="*/ 5470147 h 7458372"/>
              <a:gd name="connsiteX12166" fmla="*/ 9583698 w 10505529"/>
              <a:gd name="connsiteY12166" fmla="*/ 5449114 h 7458372"/>
              <a:gd name="connsiteX12167" fmla="*/ 9605531 w 10505529"/>
              <a:gd name="connsiteY12167" fmla="*/ 5440462 h 7458372"/>
              <a:gd name="connsiteX12168" fmla="*/ 9387885 w 10505529"/>
              <a:gd name="connsiteY12168" fmla="*/ 5440462 h 7458372"/>
              <a:gd name="connsiteX12169" fmla="*/ 9399599 w 10505529"/>
              <a:gd name="connsiteY12169" fmla="*/ 5443124 h 7458372"/>
              <a:gd name="connsiteX12170" fmla="*/ 9408917 w 10505529"/>
              <a:gd name="connsiteY12170" fmla="*/ 5449514 h 7458372"/>
              <a:gd name="connsiteX12171" fmla="*/ 9415041 w 10505529"/>
              <a:gd name="connsiteY12171" fmla="*/ 5458832 h 7458372"/>
              <a:gd name="connsiteX12172" fmla="*/ 9417304 w 10505529"/>
              <a:gd name="connsiteY12172" fmla="*/ 5470280 h 7458372"/>
              <a:gd name="connsiteX12173" fmla="*/ 9415041 w 10505529"/>
              <a:gd name="connsiteY12173" fmla="*/ 5481995 h 7458372"/>
              <a:gd name="connsiteX12174" fmla="*/ 9408917 w 10505529"/>
              <a:gd name="connsiteY12174" fmla="*/ 5491314 h 7458372"/>
              <a:gd name="connsiteX12175" fmla="*/ 9399599 w 10505529"/>
              <a:gd name="connsiteY12175" fmla="*/ 5497570 h 7458372"/>
              <a:gd name="connsiteX12176" fmla="*/ 9387885 w 10505529"/>
              <a:gd name="connsiteY12176" fmla="*/ 5499833 h 7458372"/>
              <a:gd name="connsiteX12177" fmla="*/ 9366053 w 10505529"/>
              <a:gd name="connsiteY12177" fmla="*/ 5491314 h 7458372"/>
              <a:gd name="connsiteX12178" fmla="*/ 9357667 w 10505529"/>
              <a:gd name="connsiteY12178" fmla="*/ 5470147 h 7458372"/>
              <a:gd name="connsiteX12179" fmla="*/ 9366053 w 10505529"/>
              <a:gd name="connsiteY12179" fmla="*/ 5449114 h 7458372"/>
              <a:gd name="connsiteX12180" fmla="*/ 9387885 w 10505529"/>
              <a:gd name="connsiteY12180" fmla="*/ 5440462 h 7458372"/>
              <a:gd name="connsiteX12181" fmla="*/ 9170374 w 10505529"/>
              <a:gd name="connsiteY12181" fmla="*/ 5440462 h 7458372"/>
              <a:gd name="connsiteX12182" fmla="*/ 9182088 w 10505529"/>
              <a:gd name="connsiteY12182" fmla="*/ 5443124 h 7458372"/>
              <a:gd name="connsiteX12183" fmla="*/ 9191405 w 10505529"/>
              <a:gd name="connsiteY12183" fmla="*/ 5449514 h 7458372"/>
              <a:gd name="connsiteX12184" fmla="*/ 9197529 w 10505529"/>
              <a:gd name="connsiteY12184" fmla="*/ 5458832 h 7458372"/>
              <a:gd name="connsiteX12185" fmla="*/ 9199792 w 10505529"/>
              <a:gd name="connsiteY12185" fmla="*/ 5470280 h 7458372"/>
              <a:gd name="connsiteX12186" fmla="*/ 9197529 w 10505529"/>
              <a:gd name="connsiteY12186" fmla="*/ 5481995 h 7458372"/>
              <a:gd name="connsiteX12187" fmla="*/ 9191405 w 10505529"/>
              <a:gd name="connsiteY12187" fmla="*/ 5491314 h 7458372"/>
              <a:gd name="connsiteX12188" fmla="*/ 9182088 w 10505529"/>
              <a:gd name="connsiteY12188" fmla="*/ 5497570 h 7458372"/>
              <a:gd name="connsiteX12189" fmla="*/ 9170374 w 10505529"/>
              <a:gd name="connsiteY12189" fmla="*/ 5499833 h 7458372"/>
              <a:gd name="connsiteX12190" fmla="*/ 9148541 w 10505529"/>
              <a:gd name="connsiteY12190" fmla="*/ 5491314 h 7458372"/>
              <a:gd name="connsiteX12191" fmla="*/ 9140155 w 10505529"/>
              <a:gd name="connsiteY12191" fmla="*/ 5470147 h 7458372"/>
              <a:gd name="connsiteX12192" fmla="*/ 9148541 w 10505529"/>
              <a:gd name="connsiteY12192" fmla="*/ 5449114 h 7458372"/>
              <a:gd name="connsiteX12193" fmla="*/ 9170374 w 10505529"/>
              <a:gd name="connsiteY12193" fmla="*/ 5440462 h 7458372"/>
              <a:gd name="connsiteX12194" fmla="*/ 8952728 w 10505529"/>
              <a:gd name="connsiteY12194" fmla="*/ 5440462 h 7458372"/>
              <a:gd name="connsiteX12195" fmla="*/ 8964442 w 10505529"/>
              <a:gd name="connsiteY12195" fmla="*/ 5443124 h 7458372"/>
              <a:gd name="connsiteX12196" fmla="*/ 8973760 w 10505529"/>
              <a:gd name="connsiteY12196" fmla="*/ 5449514 h 7458372"/>
              <a:gd name="connsiteX12197" fmla="*/ 8979884 w 10505529"/>
              <a:gd name="connsiteY12197" fmla="*/ 5458832 h 7458372"/>
              <a:gd name="connsiteX12198" fmla="*/ 8982147 w 10505529"/>
              <a:gd name="connsiteY12198" fmla="*/ 5470280 h 7458372"/>
              <a:gd name="connsiteX12199" fmla="*/ 8979884 w 10505529"/>
              <a:gd name="connsiteY12199" fmla="*/ 5481995 h 7458372"/>
              <a:gd name="connsiteX12200" fmla="*/ 8973760 w 10505529"/>
              <a:gd name="connsiteY12200" fmla="*/ 5491314 h 7458372"/>
              <a:gd name="connsiteX12201" fmla="*/ 8964442 w 10505529"/>
              <a:gd name="connsiteY12201" fmla="*/ 5497570 h 7458372"/>
              <a:gd name="connsiteX12202" fmla="*/ 8952728 w 10505529"/>
              <a:gd name="connsiteY12202" fmla="*/ 5499833 h 7458372"/>
              <a:gd name="connsiteX12203" fmla="*/ 8930896 w 10505529"/>
              <a:gd name="connsiteY12203" fmla="*/ 5491314 h 7458372"/>
              <a:gd name="connsiteX12204" fmla="*/ 8922510 w 10505529"/>
              <a:gd name="connsiteY12204" fmla="*/ 5470147 h 7458372"/>
              <a:gd name="connsiteX12205" fmla="*/ 8930896 w 10505529"/>
              <a:gd name="connsiteY12205" fmla="*/ 5449114 h 7458372"/>
              <a:gd name="connsiteX12206" fmla="*/ 8952728 w 10505529"/>
              <a:gd name="connsiteY12206" fmla="*/ 5440462 h 7458372"/>
              <a:gd name="connsiteX12207" fmla="*/ 8735083 w 10505529"/>
              <a:gd name="connsiteY12207" fmla="*/ 5440462 h 7458372"/>
              <a:gd name="connsiteX12208" fmla="*/ 8746797 w 10505529"/>
              <a:gd name="connsiteY12208" fmla="*/ 5443124 h 7458372"/>
              <a:gd name="connsiteX12209" fmla="*/ 8756115 w 10505529"/>
              <a:gd name="connsiteY12209" fmla="*/ 5449514 h 7458372"/>
              <a:gd name="connsiteX12210" fmla="*/ 8762238 w 10505529"/>
              <a:gd name="connsiteY12210" fmla="*/ 5458832 h 7458372"/>
              <a:gd name="connsiteX12211" fmla="*/ 8764502 w 10505529"/>
              <a:gd name="connsiteY12211" fmla="*/ 5470280 h 7458372"/>
              <a:gd name="connsiteX12212" fmla="*/ 8762238 w 10505529"/>
              <a:gd name="connsiteY12212" fmla="*/ 5481995 h 7458372"/>
              <a:gd name="connsiteX12213" fmla="*/ 8756115 w 10505529"/>
              <a:gd name="connsiteY12213" fmla="*/ 5491314 h 7458372"/>
              <a:gd name="connsiteX12214" fmla="*/ 8746797 w 10505529"/>
              <a:gd name="connsiteY12214" fmla="*/ 5497570 h 7458372"/>
              <a:gd name="connsiteX12215" fmla="*/ 8735083 w 10505529"/>
              <a:gd name="connsiteY12215" fmla="*/ 5499833 h 7458372"/>
              <a:gd name="connsiteX12216" fmla="*/ 8713250 w 10505529"/>
              <a:gd name="connsiteY12216" fmla="*/ 5491314 h 7458372"/>
              <a:gd name="connsiteX12217" fmla="*/ 8704864 w 10505529"/>
              <a:gd name="connsiteY12217" fmla="*/ 5470147 h 7458372"/>
              <a:gd name="connsiteX12218" fmla="*/ 8713250 w 10505529"/>
              <a:gd name="connsiteY12218" fmla="*/ 5449114 h 7458372"/>
              <a:gd name="connsiteX12219" fmla="*/ 8735083 w 10505529"/>
              <a:gd name="connsiteY12219" fmla="*/ 5440462 h 7458372"/>
              <a:gd name="connsiteX12220" fmla="*/ 8517438 w 10505529"/>
              <a:gd name="connsiteY12220" fmla="*/ 5440462 h 7458372"/>
              <a:gd name="connsiteX12221" fmla="*/ 8529152 w 10505529"/>
              <a:gd name="connsiteY12221" fmla="*/ 5443124 h 7458372"/>
              <a:gd name="connsiteX12222" fmla="*/ 8538470 w 10505529"/>
              <a:gd name="connsiteY12222" fmla="*/ 5449514 h 7458372"/>
              <a:gd name="connsiteX12223" fmla="*/ 8544594 w 10505529"/>
              <a:gd name="connsiteY12223" fmla="*/ 5458832 h 7458372"/>
              <a:gd name="connsiteX12224" fmla="*/ 8546857 w 10505529"/>
              <a:gd name="connsiteY12224" fmla="*/ 5470280 h 7458372"/>
              <a:gd name="connsiteX12225" fmla="*/ 8544594 w 10505529"/>
              <a:gd name="connsiteY12225" fmla="*/ 5481995 h 7458372"/>
              <a:gd name="connsiteX12226" fmla="*/ 8538470 w 10505529"/>
              <a:gd name="connsiteY12226" fmla="*/ 5491314 h 7458372"/>
              <a:gd name="connsiteX12227" fmla="*/ 8529152 w 10505529"/>
              <a:gd name="connsiteY12227" fmla="*/ 5497570 h 7458372"/>
              <a:gd name="connsiteX12228" fmla="*/ 8517438 w 10505529"/>
              <a:gd name="connsiteY12228" fmla="*/ 5499833 h 7458372"/>
              <a:gd name="connsiteX12229" fmla="*/ 8495606 w 10505529"/>
              <a:gd name="connsiteY12229" fmla="*/ 5491314 h 7458372"/>
              <a:gd name="connsiteX12230" fmla="*/ 8487220 w 10505529"/>
              <a:gd name="connsiteY12230" fmla="*/ 5470147 h 7458372"/>
              <a:gd name="connsiteX12231" fmla="*/ 8495606 w 10505529"/>
              <a:gd name="connsiteY12231" fmla="*/ 5449114 h 7458372"/>
              <a:gd name="connsiteX12232" fmla="*/ 8517438 w 10505529"/>
              <a:gd name="connsiteY12232" fmla="*/ 5440462 h 7458372"/>
              <a:gd name="connsiteX12233" fmla="*/ 8299793 w 10505529"/>
              <a:gd name="connsiteY12233" fmla="*/ 5440462 h 7458372"/>
              <a:gd name="connsiteX12234" fmla="*/ 8311507 w 10505529"/>
              <a:gd name="connsiteY12234" fmla="*/ 5443124 h 7458372"/>
              <a:gd name="connsiteX12235" fmla="*/ 8320825 w 10505529"/>
              <a:gd name="connsiteY12235" fmla="*/ 5449514 h 7458372"/>
              <a:gd name="connsiteX12236" fmla="*/ 8326948 w 10505529"/>
              <a:gd name="connsiteY12236" fmla="*/ 5458832 h 7458372"/>
              <a:gd name="connsiteX12237" fmla="*/ 8329212 w 10505529"/>
              <a:gd name="connsiteY12237" fmla="*/ 5470280 h 7458372"/>
              <a:gd name="connsiteX12238" fmla="*/ 8326948 w 10505529"/>
              <a:gd name="connsiteY12238" fmla="*/ 5481995 h 7458372"/>
              <a:gd name="connsiteX12239" fmla="*/ 8320825 w 10505529"/>
              <a:gd name="connsiteY12239" fmla="*/ 5491314 h 7458372"/>
              <a:gd name="connsiteX12240" fmla="*/ 8311507 w 10505529"/>
              <a:gd name="connsiteY12240" fmla="*/ 5497570 h 7458372"/>
              <a:gd name="connsiteX12241" fmla="*/ 8299793 w 10505529"/>
              <a:gd name="connsiteY12241" fmla="*/ 5499833 h 7458372"/>
              <a:gd name="connsiteX12242" fmla="*/ 8277960 w 10505529"/>
              <a:gd name="connsiteY12242" fmla="*/ 5491314 h 7458372"/>
              <a:gd name="connsiteX12243" fmla="*/ 8269574 w 10505529"/>
              <a:gd name="connsiteY12243" fmla="*/ 5470147 h 7458372"/>
              <a:gd name="connsiteX12244" fmla="*/ 8277960 w 10505529"/>
              <a:gd name="connsiteY12244" fmla="*/ 5449114 h 7458372"/>
              <a:gd name="connsiteX12245" fmla="*/ 8299793 w 10505529"/>
              <a:gd name="connsiteY12245" fmla="*/ 5440462 h 7458372"/>
              <a:gd name="connsiteX12246" fmla="*/ 8082281 w 10505529"/>
              <a:gd name="connsiteY12246" fmla="*/ 5440462 h 7458372"/>
              <a:gd name="connsiteX12247" fmla="*/ 8094127 w 10505529"/>
              <a:gd name="connsiteY12247" fmla="*/ 5443124 h 7458372"/>
              <a:gd name="connsiteX12248" fmla="*/ 8103446 w 10505529"/>
              <a:gd name="connsiteY12248" fmla="*/ 5449514 h 7458372"/>
              <a:gd name="connsiteX12249" fmla="*/ 8109569 w 10505529"/>
              <a:gd name="connsiteY12249" fmla="*/ 5458832 h 7458372"/>
              <a:gd name="connsiteX12250" fmla="*/ 8111832 w 10505529"/>
              <a:gd name="connsiteY12250" fmla="*/ 5470280 h 7458372"/>
              <a:gd name="connsiteX12251" fmla="*/ 8109569 w 10505529"/>
              <a:gd name="connsiteY12251" fmla="*/ 5481995 h 7458372"/>
              <a:gd name="connsiteX12252" fmla="*/ 8103446 w 10505529"/>
              <a:gd name="connsiteY12252" fmla="*/ 5491314 h 7458372"/>
              <a:gd name="connsiteX12253" fmla="*/ 8094127 w 10505529"/>
              <a:gd name="connsiteY12253" fmla="*/ 5497570 h 7458372"/>
              <a:gd name="connsiteX12254" fmla="*/ 8082281 w 10505529"/>
              <a:gd name="connsiteY12254" fmla="*/ 5499833 h 7458372"/>
              <a:gd name="connsiteX12255" fmla="*/ 8060448 w 10505529"/>
              <a:gd name="connsiteY12255" fmla="*/ 5491314 h 7458372"/>
              <a:gd name="connsiteX12256" fmla="*/ 8052062 w 10505529"/>
              <a:gd name="connsiteY12256" fmla="*/ 5470147 h 7458372"/>
              <a:gd name="connsiteX12257" fmla="*/ 8060448 w 10505529"/>
              <a:gd name="connsiteY12257" fmla="*/ 5449114 h 7458372"/>
              <a:gd name="connsiteX12258" fmla="*/ 8082281 w 10505529"/>
              <a:gd name="connsiteY12258" fmla="*/ 5440462 h 7458372"/>
              <a:gd name="connsiteX12259" fmla="*/ 7864636 w 10505529"/>
              <a:gd name="connsiteY12259" fmla="*/ 5440462 h 7458372"/>
              <a:gd name="connsiteX12260" fmla="*/ 7876483 w 10505529"/>
              <a:gd name="connsiteY12260" fmla="*/ 5443124 h 7458372"/>
              <a:gd name="connsiteX12261" fmla="*/ 7885802 w 10505529"/>
              <a:gd name="connsiteY12261" fmla="*/ 5449514 h 7458372"/>
              <a:gd name="connsiteX12262" fmla="*/ 7891924 w 10505529"/>
              <a:gd name="connsiteY12262" fmla="*/ 5458832 h 7458372"/>
              <a:gd name="connsiteX12263" fmla="*/ 7894188 w 10505529"/>
              <a:gd name="connsiteY12263" fmla="*/ 5470280 h 7458372"/>
              <a:gd name="connsiteX12264" fmla="*/ 7891924 w 10505529"/>
              <a:gd name="connsiteY12264" fmla="*/ 5481995 h 7458372"/>
              <a:gd name="connsiteX12265" fmla="*/ 7885802 w 10505529"/>
              <a:gd name="connsiteY12265" fmla="*/ 5491314 h 7458372"/>
              <a:gd name="connsiteX12266" fmla="*/ 7876483 w 10505529"/>
              <a:gd name="connsiteY12266" fmla="*/ 5497570 h 7458372"/>
              <a:gd name="connsiteX12267" fmla="*/ 7864636 w 10505529"/>
              <a:gd name="connsiteY12267" fmla="*/ 5499833 h 7458372"/>
              <a:gd name="connsiteX12268" fmla="*/ 7842803 w 10505529"/>
              <a:gd name="connsiteY12268" fmla="*/ 5491314 h 7458372"/>
              <a:gd name="connsiteX12269" fmla="*/ 7834417 w 10505529"/>
              <a:gd name="connsiteY12269" fmla="*/ 5470147 h 7458372"/>
              <a:gd name="connsiteX12270" fmla="*/ 7842803 w 10505529"/>
              <a:gd name="connsiteY12270" fmla="*/ 5449114 h 7458372"/>
              <a:gd name="connsiteX12271" fmla="*/ 7864636 w 10505529"/>
              <a:gd name="connsiteY12271" fmla="*/ 5440462 h 7458372"/>
              <a:gd name="connsiteX12272" fmla="*/ 7646991 w 10505529"/>
              <a:gd name="connsiteY12272" fmla="*/ 5440462 h 7458372"/>
              <a:gd name="connsiteX12273" fmla="*/ 7658705 w 10505529"/>
              <a:gd name="connsiteY12273" fmla="*/ 5443124 h 7458372"/>
              <a:gd name="connsiteX12274" fmla="*/ 7668022 w 10505529"/>
              <a:gd name="connsiteY12274" fmla="*/ 5449514 h 7458372"/>
              <a:gd name="connsiteX12275" fmla="*/ 7674146 w 10505529"/>
              <a:gd name="connsiteY12275" fmla="*/ 5458832 h 7458372"/>
              <a:gd name="connsiteX12276" fmla="*/ 7676409 w 10505529"/>
              <a:gd name="connsiteY12276" fmla="*/ 5470280 h 7458372"/>
              <a:gd name="connsiteX12277" fmla="*/ 7674146 w 10505529"/>
              <a:gd name="connsiteY12277" fmla="*/ 5481995 h 7458372"/>
              <a:gd name="connsiteX12278" fmla="*/ 7668022 w 10505529"/>
              <a:gd name="connsiteY12278" fmla="*/ 5491314 h 7458372"/>
              <a:gd name="connsiteX12279" fmla="*/ 7658705 w 10505529"/>
              <a:gd name="connsiteY12279" fmla="*/ 5497570 h 7458372"/>
              <a:gd name="connsiteX12280" fmla="*/ 7646991 w 10505529"/>
              <a:gd name="connsiteY12280" fmla="*/ 5499833 h 7458372"/>
              <a:gd name="connsiteX12281" fmla="*/ 7625158 w 10505529"/>
              <a:gd name="connsiteY12281" fmla="*/ 5491314 h 7458372"/>
              <a:gd name="connsiteX12282" fmla="*/ 7616772 w 10505529"/>
              <a:gd name="connsiteY12282" fmla="*/ 5470147 h 7458372"/>
              <a:gd name="connsiteX12283" fmla="*/ 7625158 w 10505529"/>
              <a:gd name="connsiteY12283" fmla="*/ 5449114 h 7458372"/>
              <a:gd name="connsiteX12284" fmla="*/ 7646991 w 10505529"/>
              <a:gd name="connsiteY12284" fmla="*/ 5440462 h 7458372"/>
              <a:gd name="connsiteX12285" fmla="*/ 7429345 w 10505529"/>
              <a:gd name="connsiteY12285" fmla="*/ 5440462 h 7458372"/>
              <a:gd name="connsiteX12286" fmla="*/ 7441059 w 10505529"/>
              <a:gd name="connsiteY12286" fmla="*/ 5443124 h 7458372"/>
              <a:gd name="connsiteX12287" fmla="*/ 7450377 w 10505529"/>
              <a:gd name="connsiteY12287" fmla="*/ 5449514 h 7458372"/>
              <a:gd name="connsiteX12288" fmla="*/ 7456501 w 10505529"/>
              <a:gd name="connsiteY12288" fmla="*/ 5458832 h 7458372"/>
              <a:gd name="connsiteX12289" fmla="*/ 7458764 w 10505529"/>
              <a:gd name="connsiteY12289" fmla="*/ 5470280 h 7458372"/>
              <a:gd name="connsiteX12290" fmla="*/ 7456501 w 10505529"/>
              <a:gd name="connsiteY12290" fmla="*/ 5481995 h 7458372"/>
              <a:gd name="connsiteX12291" fmla="*/ 7450377 w 10505529"/>
              <a:gd name="connsiteY12291" fmla="*/ 5491314 h 7458372"/>
              <a:gd name="connsiteX12292" fmla="*/ 7441059 w 10505529"/>
              <a:gd name="connsiteY12292" fmla="*/ 5497570 h 7458372"/>
              <a:gd name="connsiteX12293" fmla="*/ 7429345 w 10505529"/>
              <a:gd name="connsiteY12293" fmla="*/ 5499833 h 7458372"/>
              <a:gd name="connsiteX12294" fmla="*/ 7407513 w 10505529"/>
              <a:gd name="connsiteY12294" fmla="*/ 5491314 h 7458372"/>
              <a:gd name="connsiteX12295" fmla="*/ 7399127 w 10505529"/>
              <a:gd name="connsiteY12295" fmla="*/ 5470147 h 7458372"/>
              <a:gd name="connsiteX12296" fmla="*/ 7407513 w 10505529"/>
              <a:gd name="connsiteY12296" fmla="*/ 5449114 h 7458372"/>
              <a:gd name="connsiteX12297" fmla="*/ 7429345 w 10505529"/>
              <a:gd name="connsiteY12297" fmla="*/ 5440462 h 7458372"/>
              <a:gd name="connsiteX12298" fmla="*/ 7211701 w 10505529"/>
              <a:gd name="connsiteY12298" fmla="*/ 5440462 h 7458372"/>
              <a:gd name="connsiteX12299" fmla="*/ 7223415 w 10505529"/>
              <a:gd name="connsiteY12299" fmla="*/ 5443124 h 7458372"/>
              <a:gd name="connsiteX12300" fmla="*/ 7232733 w 10505529"/>
              <a:gd name="connsiteY12300" fmla="*/ 5449514 h 7458372"/>
              <a:gd name="connsiteX12301" fmla="*/ 7238856 w 10505529"/>
              <a:gd name="connsiteY12301" fmla="*/ 5458832 h 7458372"/>
              <a:gd name="connsiteX12302" fmla="*/ 7241120 w 10505529"/>
              <a:gd name="connsiteY12302" fmla="*/ 5470280 h 7458372"/>
              <a:gd name="connsiteX12303" fmla="*/ 7238856 w 10505529"/>
              <a:gd name="connsiteY12303" fmla="*/ 5481995 h 7458372"/>
              <a:gd name="connsiteX12304" fmla="*/ 7232733 w 10505529"/>
              <a:gd name="connsiteY12304" fmla="*/ 5491314 h 7458372"/>
              <a:gd name="connsiteX12305" fmla="*/ 7223415 w 10505529"/>
              <a:gd name="connsiteY12305" fmla="*/ 5497570 h 7458372"/>
              <a:gd name="connsiteX12306" fmla="*/ 7211701 w 10505529"/>
              <a:gd name="connsiteY12306" fmla="*/ 5499833 h 7458372"/>
              <a:gd name="connsiteX12307" fmla="*/ 7189868 w 10505529"/>
              <a:gd name="connsiteY12307" fmla="*/ 5491314 h 7458372"/>
              <a:gd name="connsiteX12308" fmla="*/ 7181482 w 10505529"/>
              <a:gd name="connsiteY12308" fmla="*/ 5470147 h 7458372"/>
              <a:gd name="connsiteX12309" fmla="*/ 7189868 w 10505529"/>
              <a:gd name="connsiteY12309" fmla="*/ 5449114 h 7458372"/>
              <a:gd name="connsiteX12310" fmla="*/ 7211701 w 10505529"/>
              <a:gd name="connsiteY12310" fmla="*/ 5440462 h 7458372"/>
              <a:gd name="connsiteX12311" fmla="*/ 6994056 w 10505529"/>
              <a:gd name="connsiteY12311" fmla="*/ 5440462 h 7458372"/>
              <a:gd name="connsiteX12312" fmla="*/ 7005769 w 10505529"/>
              <a:gd name="connsiteY12312" fmla="*/ 5443124 h 7458372"/>
              <a:gd name="connsiteX12313" fmla="*/ 7015087 w 10505529"/>
              <a:gd name="connsiteY12313" fmla="*/ 5449514 h 7458372"/>
              <a:gd name="connsiteX12314" fmla="*/ 7021211 w 10505529"/>
              <a:gd name="connsiteY12314" fmla="*/ 5458832 h 7458372"/>
              <a:gd name="connsiteX12315" fmla="*/ 7023474 w 10505529"/>
              <a:gd name="connsiteY12315" fmla="*/ 5470280 h 7458372"/>
              <a:gd name="connsiteX12316" fmla="*/ 7021211 w 10505529"/>
              <a:gd name="connsiteY12316" fmla="*/ 5481995 h 7458372"/>
              <a:gd name="connsiteX12317" fmla="*/ 7015087 w 10505529"/>
              <a:gd name="connsiteY12317" fmla="*/ 5491314 h 7458372"/>
              <a:gd name="connsiteX12318" fmla="*/ 7005769 w 10505529"/>
              <a:gd name="connsiteY12318" fmla="*/ 5497570 h 7458372"/>
              <a:gd name="connsiteX12319" fmla="*/ 6994056 w 10505529"/>
              <a:gd name="connsiteY12319" fmla="*/ 5499833 h 7458372"/>
              <a:gd name="connsiteX12320" fmla="*/ 6972223 w 10505529"/>
              <a:gd name="connsiteY12320" fmla="*/ 5491314 h 7458372"/>
              <a:gd name="connsiteX12321" fmla="*/ 6963837 w 10505529"/>
              <a:gd name="connsiteY12321" fmla="*/ 5470147 h 7458372"/>
              <a:gd name="connsiteX12322" fmla="*/ 6972223 w 10505529"/>
              <a:gd name="connsiteY12322" fmla="*/ 5449114 h 7458372"/>
              <a:gd name="connsiteX12323" fmla="*/ 6994056 w 10505529"/>
              <a:gd name="connsiteY12323" fmla="*/ 5440462 h 7458372"/>
              <a:gd name="connsiteX12324" fmla="*/ 6776544 w 10505529"/>
              <a:gd name="connsiteY12324" fmla="*/ 5440462 h 7458372"/>
              <a:gd name="connsiteX12325" fmla="*/ 6788258 w 10505529"/>
              <a:gd name="connsiteY12325" fmla="*/ 5443124 h 7458372"/>
              <a:gd name="connsiteX12326" fmla="*/ 6797576 w 10505529"/>
              <a:gd name="connsiteY12326" fmla="*/ 5449514 h 7458372"/>
              <a:gd name="connsiteX12327" fmla="*/ 6803699 w 10505529"/>
              <a:gd name="connsiteY12327" fmla="*/ 5458832 h 7458372"/>
              <a:gd name="connsiteX12328" fmla="*/ 6805963 w 10505529"/>
              <a:gd name="connsiteY12328" fmla="*/ 5470280 h 7458372"/>
              <a:gd name="connsiteX12329" fmla="*/ 6803699 w 10505529"/>
              <a:gd name="connsiteY12329" fmla="*/ 5481995 h 7458372"/>
              <a:gd name="connsiteX12330" fmla="*/ 6797576 w 10505529"/>
              <a:gd name="connsiteY12330" fmla="*/ 5491314 h 7458372"/>
              <a:gd name="connsiteX12331" fmla="*/ 6788258 w 10505529"/>
              <a:gd name="connsiteY12331" fmla="*/ 5497570 h 7458372"/>
              <a:gd name="connsiteX12332" fmla="*/ 6776544 w 10505529"/>
              <a:gd name="connsiteY12332" fmla="*/ 5499833 h 7458372"/>
              <a:gd name="connsiteX12333" fmla="*/ 6754711 w 10505529"/>
              <a:gd name="connsiteY12333" fmla="*/ 5491314 h 7458372"/>
              <a:gd name="connsiteX12334" fmla="*/ 6746325 w 10505529"/>
              <a:gd name="connsiteY12334" fmla="*/ 5470147 h 7458372"/>
              <a:gd name="connsiteX12335" fmla="*/ 6754711 w 10505529"/>
              <a:gd name="connsiteY12335" fmla="*/ 5449114 h 7458372"/>
              <a:gd name="connsiteX12336" fmla="*/ 6776544 w 10505529"/>
              <a:gd name="connsiteY12336" fmla="*/ 5440462 h 7458372"/>
              <a:gd name="connsiteX12337" fmla="*/ 6558899 w 10505529"/>
              <a:gd name="connsiteY12337" fmla="*/ 5440462 h 7458372"/>
              <a:gd name="connsiteX12338" fmla="*/ 6570612 w 10505529"/>
              <a:gd name="connsiteY12338" fmla="*/ 5443124 h 7458372"/>
              <a:gd name="connsiteX12339" fmla="*/ 6579930 w 10505529"/>
              <a:gd name="connsiteY12339" fmla="*/ 5449514 h 7458372"/>
              <a:gd name="connsiteX12340" fmla="*/ 6586054 w 10505529"/>
              <a:gd name="connsiteY12340" fmla="*/ 5458832 h 7458372"/>
              <a:gd name="connsiteX12341" fmla="*/ 6588317 w 10505529"/>
              <a:gd name="connsiteY12341" fmla="*/ 5470280 h 7458372"/>
              <a:gd name="connsiteX12342" fmla="*/ 6586054 w 10505529"/>
              <a:gd name="connsiteY12342" fmla="*/ 5481995 h 7458372"/>
              <a:gd name="connsiteX12343" fmla="*/ 6579930 w 10505529"/>
              <a:gd name="connsiteY12343" fmla="*/ 5491314 h 7458372"/>
              <a:gd name="connsiteX12344" fmla="*/ 6570612 w 10505529"/>
              <a:gd name="connsiteY12344" fmla="*/ 5497570 h 7458372"/>
              <a:gd name="connsiteX12345" fmla="*/ 6558899 w 10505529"/>
              <a:gd name="connsiteY12345" fmla="*/ 5499833 h 7458372"/>
              <a:gd name="connsiteX12346" fmla="*/ 6537066 w 10505529"/>
              <a:gd name="connsiteY12346" fmla="*/ 5491314 h 7458372"/>
              <a:gd name="connsiteX12347" fmla="*/ 6528680 w 10505529"/>
              <a:gd name="connsiteY12347" fmla="*/ 5470147 h 7458372"/>
              <a:gd name="connsiteX12348" fmla="*/ 6537066 w 10505529"/>
              <a:gd name="connsiteY12348" fmla="*/ 5449114 h 7458372"/>
              <a:gd name="connsiteX12349" fmla="*/ 6558899 w 10505529"/>
              <a:gd name="connsiteY12349" fmla="*/ 5440462 h 7458372"/>
              <a:gd name="connsiteX12350" fmla="*/ 6341253 w 10505529"/>
              <a:gd name="connsiteY12350" fmla="*/ 5440462 h 7458372"/>
              <a:gd name="connsiteX12351" fmla="*/ 6352968 w 10505529"/>
              <a:gd name="connsiteY12351" fmla="*/ 5443124 h 7458372"/>
              <a:gd name="connsiteX12352" fmla="*/ 6362286 w 10505529"/>
              <a:gd name="connsiteY12352" fmla="*/ 5449514 h 7458372"/>
              <a:gd name="connsiteX12353" fmla="*/ 6368409 w 10505529"/>
              <a:gd name="connsiteY12353" fmla="*/ 5458832 h 7458372"/>
              <a:gd name="connsiteX12354" fmla="*/ 6370672 w 10505529"/>
              <a:gd name="connsiteY12354" fmla="*/ 5470280 h 7458372"/>
              <a:gd name="connsiteX12355" fmla="*/ 6368409 w 10505529"/>
              <a:gd name="connsiteY12355" fmla="*/ 5481995 h 7458372"/>
              <a:gd name="connsiteX12356" fmla="*/ 6362286 w 10505529"/>
              <a:gd name="connsiteY12356" fmla="*/ 5491314 h 7458372"/>
              <a:gd name="connsiteX12357" fmla="*/ 6352968 w 10505529"/>
              <a:gd name="connsiteY12357" fmla="*/ 5497570 h 7458372"/>
              <a:gd name="connsiteX12358" fmla="*/ 6341253 w 10505529"/>
              <a:gd name="connsiteY12358" fmla="*/ 5499833 h 7458372"/>
              <a:gd name="connsiteX12359" fmla="*/ 6319421 w 10505529"/>
              <a:gd name="connsiteY12359" fmla="*/ 5491314 h 7458372"/>
              <a:gd name="connsiteX12360" fmla="*/ 6311035 w 10505529"/>
              <a:gd name="connsiteY12360" fmla="*/ 5470147 h 7458372"/>
              <a:gd name="connsiteX12361" fmla="*/ 6319421 w 10505529"/>
              <a:gd name="connsiteY12361" fmla="*/ 5449114 h 7458372"/>
              <a:gd name="connsiteX12362" fmla="*/ 6341253 w 10505529"/>
              <a:gd name="connsiteY12362" fmla="*/ 5440462 h 7458372"/>
              <a:gd name="connsiteX12363" fmla="*/ 6123608 w 10505529"/>
              <a:gd name="connsiteY12363" fmla="*/ 5440462 h 7458372"/>
              <a:gd name="connsiteX12364" fmla="*/ 6135322 w 10505529"/>
              <a:gd name="connsiteY12364" fmla="*/ 5443124 h 7458372"/>
              <a:gd name="connsiteX12365" fmla="*/ 6144640 w 10505529"/>
              <a:gd name="connsiteY12365" fmla="*/ 5449514 h 7458372"/>
              <a:gd name="connsiteX12366" fmla="*/ 6150763 w 10505529"/>
              <a:gd name="connsiteY12366" fmla="*/ 5458832 h 7458372"/>
              <a:gd name="connsiteX12367" fmla="*/ 6153026 w 10505529"/>
              <a:gd name="connsiteY12367" fmla="*/ 5470280 h 7458372"/>
              <a:gd name="connsiteX12368" fmla="*/ 6150763 w 10505529"/>
              <a:gd name="connsiteY12368" fmla="*/ 5481995 h 7458372"/>
              <a:gd name="connsiteX12369" fmla="*/ 6144640 w 10505529"/>
              <a:gd name="connsiteY12369" fmla="*/ 5491314 h 7458372"/>
              <a:gd name="connsiteX12370" fmla="*/ 6135322 w 10505529"/>
              <a:gd name="connsiteY12370" fmla="*/ 5497570 h 7458372"/>
              <a:gd name="connsiteX12371" fmla="*/ 6123608 w 10505529"/>
              <a:gd name="connsiteY12371" fmla="*/ 5499833 h 7458372"/>
              <a:gd name="connsiteX12372" fmla="*/ 6101775 w 10505529"/>
              <a:gd name="connsiteY12372" fmla="*/ 5491314 h 7458372"/>
              <a:gd name="connsiteX12373" fmla="*/ 6093389 w 10505529"/>
              <a:gd name="connsiteY12373" fmla="*/ 5470147 h 7458372"/>
              <a:gd name="connsiteX12374" fmla="*/ 6101775 w 10505529"/>
              <a:gd name="connsiteY12374" fmla="*/ 5449114 h 7458372"/>
              <a:gd name="connsiteX12375" fmla="*/ 6123608 w 10505529"/>
              <a:gd name="connsiteY12375" fmla="*/ 5440462 h 7458372"/>
              <a:gd name="connsiteX12376" fmla="*/ 5905963 w 10505529"/>
              <a:gd name="connsiteY12376" fmla="*/ 5440462 h 7458372"/>
              <a:gd name="connsiteX12377" fmla="*/ 5917677 w 10505529"/>
              <a:gd name="connsiteY12377" fmla="*/ 5443124 h 7458372"/>
              <a:gd name="connsiteX12378" fmla="*/ 5926995 w 10505529"/>
              <a:gd name="connsiteY12378" fmla="*/ 5449514 h 7458372"/>
              <a:gd name="connsiteX12379" fmla="*/ 5933118 w 10505529"/>
              <a:gd name="connsiteY12379" fmla="*/ 5458832 h 7458372"/>
              <a:gd name="connsiteX12380" fmla="*/ 5935381 w 10505529"/>
              <a:gd name="connsiteY12380" fmla="*/ 5470280 h 7458372"/>
              <a:gd name="connsiteX12381" fmla="*/ 5933118 w 10505529"/>
              <a:gd name="connsiteY12381" fmla="*/ 5481995 h 7458372"/>
              <a:gd name="connsiteX12382" fmla="*/ 5926995 w 10505529"/>
              <a:gd name="connsiteY12382" fmla="*/ 5491314 h 7458372"/>
              <a:gd name="connsiteX12383" fmla="*/ 5917677 w 10505529"/>
              <a:gd name="connsiteY12383" fmla="*/ 5497570 h 7458372"/>
              <a:gd name="connsiteX12384" fmla="*/ 5905963 w 10505529"/>
              <a:gd name="connsiteY12384" fmla="*/ 5499833 h 7458372"/>
              <a:gd name="connsiteX12385" fmla="*/ 5884130 w 10505529"/>
              <a:gd name="connsiteY12385" fmla="*/ 5491314 h 7458372"/>
              <a:gd name="connsiteX12386" fmla="*/ 5875744 w 10505529"/>
              <a:gd name="connsiteY12386" fmla="*/ 5470147 h 7458372"/>
              <a:gd name="connsiteX12387" fmla="*/ 5884130 w 10505529"/>
              <a:gd name="connsiteY12387" fmla="*/ 5449114 h 7458372"/>
              <a:gd name="connsiteX12388" fmla="*/ 5905963 w 10505529"/>
              <a:gd name="connsiteY12388" fmla="*/ 5440462 h 7458372"/>
              <a:gd name="connsiteX12389" fmla="*/ 5688451 w 10505529"/>
              <a:gd name="connsiteY12389" fmla="*/ 5440462 h 7458372"/>
              <a:gd name="connsiteX12390" fmla="*/ 5700165 w 10505529"/>
              <a:gd name="connsiteY12390" fmla="*/ 5443124 h 7458372"/>
              <a:gd name="connsiteX12391" fmla="*/ 5709483 w 10505529"/>
              <a:gd name="connsiteY12391" fmla="*/ 5449514 h 7458372"/>
              <a:gd name="connsiteX12392" fmla="*/ 5715606 w 10505529"/>
              <a:gd name="connsiteY12392" fmla="*/ 5458832 h 7458372"/>
              <a:gd name="connsiteX12393" fmla="*/ 5717869 w 10505529"/>
              <a:gd name="connsiteY12393" fmla="*/ 5470280 h 7458372"/>
              <a:gd name="connsiteX12394" fmla="*/ 5715606 w 10505529"/>
              <a:gd name="connsiteY12394" fmla="*/ 5481995 h 7458372"/>
              <a:gd name="connsiteX12395" fmla="*/ 5709483 w 10505529"/>
              <a:gd name="connsiteY12395" fmla="*/ 5491314 h 7458372"/>
              <a:gd name="connsiteX12396" fmla="*/ 5700165 w 10505529"/>
              <a:gd name="connsiteY12396" fmla="*/ 5497570 h 7458372"/>
              <a:gd name="connsiteX12397" fmla="*/ 5688451 w 10505529"/>
              <a:gd name="connsiteY12397" fmla="*/ 5499833 h 7458372"/>
              <a:gd name="connsiteX12398" fmla="*/ 5666618 w 10505529"/>
              <a:gd name="connsiteY12398" fmla="*/ 5491314 h 7458372"/>
              <a:gd name="connsiteX12399" fmla="*/ 5658232 w 10505529"/>
              <a:gd name="connsiteY12399" fmla="*/ 5470147 h 7458372"/>
              <a:gd name="connsiteX12400" fmla="*/ 5666618 w 10505529"/>
              <a:gd name="connsiteY12400" fmla="*/ 5449114 h 7458372"/>
              <a:gd name="connsiteX12401" fmla="*/ 5688451 w 10505529"/>
              <a:gd name="connsiteY12401" fmla="*/ 5440462 h 7458372"/>
              <a:gd name="connsiteX12402" fmla="*/ 5470806 w 10505529"/>
              <a:gd name="connsiteY12402" fmla="*/ 5440462 h 7458372"/>
              <a:gd name="connsiteX12403" fmla="*/ 5482520 w 10505529"/>
              <a:gd name="connsiteY12403" fmla="*/ 5443124 h 7458372"/>
              <a:gd name="connsiteX12404" fmla="*/ 5491838 w 10505529"/>
              <a:gd name="connsiteY12404" fmla="*/ 5449514 h 7458372"/>
              <a:gd name="connsiteX12405" fmla="*/ 5497961 w 10505529"/>
              <a:gd name="connsiteY12405" fmla="*/ 5458832 h 7458372"/>
              <a:gd name="connsiteX12406" fmla="*/ 5500224 w 10505529"/>
              <a:gd name="connsiteY12406" fmla="*/ 5470280 h 7458372"/>
              <a:gd name="connsiteX12407" fmla="*/ 5497961 w 10505529"/>
              <a:gd name="connsiteY12407" fmla="*/ 5481995 h 7458372"/>
              <a:gd name="connsiteX12408" fmla="*/ 5491838 w 10505529"/>
              <a:gd name="connsiteY12408" fmla="*/ 5491314 h 7458372"/>
              <a:gd name="connsiteX12409" fmla="*/ 5482520 w 10505529"/>
              <a:gd name="connsiteY12409" fmla="*/ 5497570 h 7458372"/>
              <a:gd name="connsiteX12410" fmla="*/ 5470806 w 10505529"/>
              <a:gd name="connsiteY12410" fmla="*/ 5499833 h 7458372"/>
              <a:gd name="connsiteX12411" fmla="*/ 5448973 w 10505529"/>
              <a:gd name="connsiteY12411" fmla="*/ 5491314 h 7458372"/>
              <a:gd name="connsiteX12412" fmla="*/ 5440587 w 10505529"/>
              <a:gd name="connsiteY12412" fmla="*/ 5470147 h 7458372"/>
              <a:gd name="connsiteX12413" fmla="*/ 5448973 w 10505529"/>
              <a:gd name="connsiteY12413" fmla="*/ 5449114 h 7458372"/>
              <a:gd name="connsiteX12414" fmla="*/ 5470806 w 10505529"/>
              <a:gd name="connsiteY12414" fmla="*/ 5440462 h 7458372"/>
              <a:gd name="connsiteX12415" fmla="*/ 5253160 w 10505529"/>
              <a:gd name="connsiteY12415" fmla="*/ 5440462 h 7458372"/>
              <a:gd name="connsiteX12416" fmla="*/ 5264875 w 10505529"/>
              <a:gd name="connsiteY12416" fmla="*/ 5443124 h 7458372"/>
              <a:gd name="connsiteX12417" fmla="*/ 5274192 w 10505529"/>
              <a:gd name="connsiteY12417" fmla="*/ 5449514 h 7458372"/>
              <a:gd name="connsiteX12418" fmla="*/ 5280316 w 10505529"/>
              <a:gd name="connsiteY12418" fmla="*/ 5458832 h 7458372"/>
              <a:gd name="connsiteX12419" fmla="*/ 5282579 w 10505529"/>
              <a:gd name="connsiteY12419" fmla="*/ 5470280 h 7458372"/>
              <a:gd name="connsiteX12420" fmla="*/ 5280316 w 10505529"/>
              <a:gd name="connsiteY12420" fmla="*/ 5481995 h 7458372"/>
              <a:gd name="connsiteX12421" fmla="*/ 5274192 w 10505529"/>
              <a:gd name="connsiteY12421" fmla="*/ 5491314 h 7458372"/>
              <a:gd name="connsiteX12422" fmla="*/ 5264875 w 10505529"/>
              <a:gd name="connsiteY12422" fmla="*/ 5497570 h 7458372"/>
              <a:gd name="connsiteX12423" fmla="*/ 5253160 w 10505529"/>
              <a:gd name="connsiteY12423" fmla="*/ 5499833 h 7458372"/>
              <a:gd name="connsiteX12424" fmla="*/ 5231328 w 10505529"/>
              <a:gd name="connsiteY12424" fmla="*/ 5491314 h 7458372"/>
              <a:gd name="connsiteX12425" fmla="*/ 5222942 w 10505529"/>
              <a:gd name="connsiteY12425" fmla="*/ 5470147 h 7458372"/>
              <a:gd name="connsiteX12426" fmla="*/ 5231328 w 10505529"/>
              <a:gd name="connsiteY12426" fmla="*/ 5449114 h 7458372"/>
              <a:gd name="connsiteX12427" fmla="*/ 5253160 w 10505529"/>
              <a:gd name="connsiteY12427" fmla="*/ 5440462 h 7458372"/>
              <a:gd name="connsiteX12428" fmla="*/ 5035515 w 10505529"/>
              <a:gd name="connsiteY12428" fmla="*/ 5440462 h 7458372"/>
              <a:gd name="connsiteX12429" fmla="*/ 5047230 w 10505529"/>
              <a:gd name="connsiteY12429" fmla="*/ 5443124 h 7458372"/>
              <a:gd name="connsiteX12430" fmla="*/ 5056548 w 10505529"/>
              <a:gd name="connsiteY12430" fmla="*/ 5449514 h 7458372"/>
              <a:gd name="connsiteX12431" fmla="*/ 5062671 w 10505529"/>
              <a:gd name="connsiteY12431" fmla="*/ 5458832 h 7458372"/>
              <a:gd name="connsiteX12432" fmla="*/ 5064934 w 10505529"/>
              <a:gd name="connsiteY12432" fmla="*/ 5470280 h 7458372"/>
              <a:gd name="connsiteX12433" fmla="*/ 5062671 w 10505529"/>
              <a:gd name="connsiteY12433" fmla="*/ 5481995 h 7458372"/>
              <a:gd name="connsiteX12434" fmla="*/ 5056548 w 10505529"/>
              <a:gd name="connsiteY12434" fmla="*/ 5491314 h 7458372"/>
              <a:gd name="connsiteX12435" fmla="*/ 5047230 w 10505529"/>
              <a:gd name="connsiteY12435" fmla="*/ 5497570 h 7458372"/>
              <a:gd name="connsiteX12436" fmla="*/ 5035515 w 10505529"/>
              <a:gd name="connsiteY12436" fmla="*/ 5499833 h 7458372"/>
              <a:gd name="connsiteX12437" fmla="*/ 5013683 w 10505529"/>
              <a:gd name="connsiteY12437" fmla="*/ 5491314 h 7458372"/>
              <a:gd name="connsiteX12438" fmla="*/ 5005297 w 10505529"/>
              <a:gd name="connsiteY12438" fmla="*/ 5470147 h 7458372"/>
              <a:gd name="connsiteX12439" fmla="*/ 5013683 w 10505529"/>
              <a:gd name="connsiteY12439" fmla="*/ 5449114 h 7458372"/>
              <a:gd name="connsiteX12440" fmla="*/ 5035515 w 10505529"/>
              <a:gd name="connsiteY12440" fmla="*/ 5440462 h 7458372"/>
              <a:gd name="connsiteX12441" fmla="*/ 4817870 w 10505529"/>
              <a:gd name="connsiteY12441" fmla="*/ 5440462 h 7458372"/>
              <a:gd name="connsiteX12442" fmla="*/ 4829585 w 10505529"/>
              <a:gd name="connsiteY12442" fmla="*/ 5443124 h 7458372"/>
              <a:gd name="connsiteX12443" fmla="*/ 4838903 w 10505529"/>
              <a:gd name="connsiteY12443" fmla="*/ 5449514 h 7458372"/>
              <a:gd name="connsiteX12444" fmla="*/ 4845026 w 10505529"/>
              <a:gd name="connsiteY12444" fmla="*/ 5458832 h 7458372"/>
              <a:gd name="connsiteX12445" fmla="*/ 4847289 w 10505529"/>
              <a:gd name="connsiteY12445" fmla="*/ 5470280 h 7458372"/>
              <a:gd name="connsiteX12446" fmla="*/ 4845026 w 10505529"/>
              <a:gd name="connsiteY12446" fmla="*/ 5481995 h 7458372"/>
              <a:gd name="connsiteX12447" fmla="*/ 4838903 w 10505529"/>
              <a:gd name="connsiteY12447" fmla="*/ 5491314 h 7458372"/>
              <a:gd name="connsiteX12448" fmla="*/ 4829585 w 10505529"/>
              <a:gd name="connsiteY12448" fmla="*/ 5497570 h 7458372"/>
              <a:gd name="connsiteX12449" fmla="*/ 4817870 w 10505529"/>
              <a:gd name="connsiteY12449" fmla="*/ 5499833 h 7458372"/>
              <a:gd name="connsiteX12450" fmla="*/ 4796038 w 10505529"/>
              <a:gd name="connsiteY12450" fmla="*/ 5491314 h 7458372"/>
              <a:gd name="connsiteX12451" fmla="*/ 4787652 w 10505529"/>
              <a:gd name="connsiteY12451" fmla="*/ 5470147 h 7458372"/>
              <a:gd name="connsiteX12452" fmla="*/ 4796038 w 10505529"/>
              <a:gd name="connsiteY12452" fmla="*/ 5449114 h 7458372"/>
              <a:gd name="connsiteX12453" fmla="*/ 4817870 w 10505529"/>
              <a:gd name="connsiteY12453" fmla="*/ 5440462 h 7458372"/>
              <a:gd name="connsiteX12454" fmla="*/ 4600226 w 10505529"/>
              <a:gd name="connsiteY12454" fmla="*/ 5440462 h 7458372"/>
              <a:gd name="connsiteX12455" fmla="*/ 4612073 w 10505529"/>
              <a:gd name="connsiteY12455" fmla="*/ 5443124 h 7458372"/>
              <a:gd name="connsiteX12456" fmla="*/ 4621391 w 10505529"/>
              <a:gd name="connsiteY12456" fmla="*/ 5449514 h 7458372"/>
              <a:gd name="connsiteX12457" fmla="*/ 4627514 w 10505529"/>
              <a:gd name="connsiteY12457" fmla="*/ 5458832 h 7458372"/>
              <a:gd name="connsiteX12458" fmla="*/ 4629777 w 10505529"/>
              <a:gd name="connsiteY12458" fmla="*/ 5470280 h 7458372"/>
              <a:gd name="connsiteX12459" fmla="*/ 4627514 w 10505529"/>
              <a:gd name="connsiteY12459" fmla="*/ 5481995 h 7458372"/>
              <a:gd name="connsiteX12460" fmla="*/ 4621391 w 10505529"/>
              <a:gd name="connsiteY12460" fmla="*/ 5491314 h 7458372"/>
              <a:gd name="connsiteX12461" fmla="*/ 4612073 w 10505529"/>
              <a:gd name="connsiteY12461" fmla="*/ 5497570 h 7458372"/>
              <a:gd name="connsiteX12462" fmla="*/ 4600226 w 10505529"/>
              <a:gd name="connsiteY12462" fmla="*/ 5499833 h 7458372"/>
              <a:gd name="connsiteX12463" fmla="*/ 4578393 w 10505529"/>
              <a:gd name="connsiteY12463" fmla="*/ 5491314 h 7458372"/>
              <a:gd name="connsiteX12464" fmla="*/ 4570007 w 10505529"/>
              <a:gd name="connsiteY12464" fmla="*/ 5470147 h 7458372"/>
              <a:gd name="connsiteX12465" fmla="*/ 4578393 w 10505529"/>
              <a:gd name="connsiteY12465" fmla="*/ 5449114 h 7458372"/>
              <a:gd name="connsiteX12466" fmla="*/ 4600226 w 10505529"/>
              <a:gd name="connsiteY12466" fmla="*/ 5440462 h 7458372"/>
              <a:gd name="connsiteX12467" fmla="*/ 4382713 w 10505529"/>
              <a:gd name="connsiteY12467" fmla="*/ 5440462 h 7458372"/>
              <a:gd name="connsiteX12468" fmla="*/ 4394428 w 10505529"/>
              <a:gd name="connsiteY12468" fmla="*/ 5443124 h 7458372"/>
              <a:gd name="connsiteX12469" fmla="*/ 4403746 w 10505529"/>
              <a:gd name="connsiteY12469" fmla="*/ 5449514 h 7458372"/>
              <a:gd name="connsiteX12470" fmla="*/ 4409869 w 10505529"/>
              <a:gd name="connsiteY12470" fmla="*/ 5458832 h 7458372"/>
              <a:gd name="connsiteX12471" fmla="*/ 4412132 w 10505529"/>
              <a:gd name="connsiteY12471" fmla="*/ 5470280 h 7458372"/>
              <a:gd name="connsiteX12472" fmla="*/ 4409869 w 10505529"/>
              <a:gd name="connsiteY12472" fmla="*/ 5481995 h 7458372"/>
              <a:gd name="connsiteX12473" fmla="*/ 4403746 w 10505529"/>
              <a:gd name="connsiteY12473" fmla="*/ 5491314 h 7458372"/>
              <a:gd name="connsiteX12474" fmla="*/ 4394428 w 10505529"/>
              <a:gd name="connsiteY12474" fmla="*/ 5497570 h 7458372"/>
              <a:gd name="connsiteX12475" fmla="*/ 4382713 w 10505529"/>
              <a:gd name="connsiteY12475" fmla="*/ 5499833 h 7458372"/>
              <a:gd name="connsiteX12476" fmla="*/ 4360881 w 10505529"/>
              <a:gd name="connsiteY12476" fmla="*/ 5491314 h 7458372"/>
              <a:gd name="connsiteX12477" fmla="*/ 4352495 w 10505529"/>
              <a:gd name="connsiteY12477" fmla="*/ 5470147 h 7458372"/>
              <a:gd name="connsiteX12478" fmla="*/ 4360881 w 10505529"/>
              <a:gd name="connsiteY12478" fmla="*/ 5449114 h 7458372"/>
              <a:gd name="connsiteX12479" fmla="*/ 4382713 w 10505529"/>
              <a:gd name="connsiteY12479" fmla="*/ 5440462 h 7458372"/>
              <a:gd name="connsiteX12480" fmla="*/ 4165068 w 10505529"/>
              <a:gd name="connsiteY12480" fmla="*/ 5440462 h 7458372"/>
              <a:gd name="connsiteX12481" fmla="*/ 4176782 w 10505529"/>
              <a:gd name="connsiteY12481" fmla="*/ 5443124 h 7458372"/>
              <a:gd name="connsiteX12482" fmla="*/ 4186100 w 10505529"/>
              <a:gd name="connsiteY12482" fmla="*/ 5449514 h 7458372"/>
              <a:gd name="connsiteX12483" fmla="*/ 4192223 w 10505529"/>
              <a:gd name="connsiteY12483" fmla="*/ 5458832 h 7458372"/>
              <a:gd name="connsiteX12484" fmla="*/ 4194486 w 10505529"/>
              <a:gd name="connsiteY12484" fmla="*/ 5470280 h 7458372"/>
              <a:gd name="connsiteX12485" fmla="*/ 4192223 w 10505529"/>
              <a:gd name="connsiteY12485" fmla="*/ 5481995 h 7458372"/>
              <a:gd name="connsiteX12486" fmla="*/ 4186100 w 10505529"/>
              <a:gd name="connsiteY12486" fmla="*/ 5491314 h 7458372"/>
              <a:gd name="connsiteX12487" fmla="*/ 4176782 w 10505529"/>
              <a:gd name="connsiteY12487" fmla="*/ 5497570 h 7458372"/>
              <a:gd name="connsiteX12488" fmla="*/ 4165068 w 10505529"/>
              <a:gd name="connsiteY12488" fmla="*/ 5499833 h 7458372"/>
              <a:gd name="connsiteX12489" fmla="*/ 4143235 w 10505529"/>
              <a:gd name="connsiteY12489" fmla="*/ 5491314 h 7458372"/>
              <a:gd name="connsiteX12490" fmla="*/ 4134849 w 10505529"/>
              <a:gd name="connsiteY12490" fmla="*/ 5470147 h 7458372"/>
              <a:gd name="connsiteX12491" fmla="*/ 4143235 w 10505529"/>
              <a:gd name="connsiteY12491" fmla="*/ 5449114 h 7458372"/>
              <a:gd name="connsiteX12492" fmla="*/ 4165068 w 10505529"/>
              <a:gd name="connsiteY12492" fmla="*/ 5440462 h 7458372"/>
              <a:gd name="connsiteX12493" fmla="*/ 3947721 w 10505529"/>
              <a:gd name="connsiteY12493" fmla="*/ 5440462 h 7458372"/>
              <a:gd name="connsiteX12494" fmla="*/ 3959439 w 10505529"/>
              <a:gd name="connsiteY12494" fmla="*/ 5443124 h 7458372"/>
              <a:gd name="connsiteX12495" fmla="*/ 3968757 w 10505529"/>
              <a:gd name="connsiteY12495" fmla="*/ 5449514 h 7458372"/>
              <a:gd name="connsiteX12496" fmla="*/ 3974881 w 10505529"/>
              <a:gd name="connsiteY12496" fmla="*/ 5458832 h 7458372"/>
              <a:gd name="connsiteX12497" fmla="*/ 3977144 w 10505529"/>
              <a:gd name="connsiteY12497" fmla="*/ 5470280 h 7458372"/>
              <a:gd name="connsiteX12498" fmla="*/ 3974881 w 10505529"/>
              <a:gd name="connsiteY12498" fmla="*/ 5481995 h 7458372"/>
              <a:gd name="connsiteX12499" fmla="*/ 3968757 w 10505529"/>
              <a:gd name="connsiteY12499" fmla="*/ 5491314 h 7458372"/>
              <a:gd name="connsiteX12500" fmla="*/ 3959439 w 10505529"/>
              <a:gd name="connsiteY12500" fmla="*/ 5497570 h 7458372"/>
              <a:gd name="connsiteX12501" fmla="*/ 3947721 w 10505529"/>
              <a:gd name="connsiteY12501" fmla="*/ 5499833 h 7458372"/>
              <a:gd name="connsiteX12502" fmla="*/ 3925888 w 10505529"/>
              <a:gd name="connsiteY12502" fmla="*/ 5491314 h 7458372"/>
              <a:gd name="connsiteX12503" fmla="*/ 3917502 w 10505529"/>
              <a:gd name="connsiteY12503" fmla="*/ 5470147 h 7458372"/>
              <a:gd name="connsiteX12504" fmla="*/ 3925888 w 10505529"/>
              <a:gd name="connsiteY12504" fmla="*/ 5449114 h 7458372"/>
              <a:gd name="connsiteX12505" fmla="*/ 3947721 w 10505529"/>
              <a:gd name="connsiteY12505" fmla="*/ 5440462 h 7458372"/>
              <a:gd name="connsiteX12506" fmla="*/ 3730062 w 10505529"/>
              <a:gd name="connsiteY12506" fmla="*/ 5440462 h 7458372"/>
              <a:gd name="connsiteX12507" fmla="*/ 3741778 w 10505529"/>
              <a:gd name="connsiteY12507" fmla="*/ 5443124 h 7458372"/>
              <a:gd name="connsiteX12508" fmla="*/ 3751097 w 10505529"/>
              <a:gd name="connsiteY12508" fmla="*/ 5449514 h 7458372"/>
              <a:gd name="connsiteX12509" fmla="*/ 3757219 w 10505529"/>
              <a:gd name="connsiteY12509" fmla="*/ 5458832 h 7458372"/>
              <a:gd name="connsiteX12510" fmla="*/ 3759482 w 10505529"/>
              <a:gd name="connsiteY12510" fmla="*/ 5470280 h 7458372"/>
              <a:gd name="connsiteX12511" fmla="*/ 3757219 w 10505529"/>
              <a:gd name="connsiteY12511" fmla="*/ 5481995 h 7458372"/>
              <a:gd name="connsiteX12512" fmla="*/ 3751097 w 10505529"/>
              <a:gd name="connsiteY12512" fmla="*/ 5491314 h 7458372"/>
              <a:gd name="connsiteX12513" fmla="*/ 3741778 w 10505529"/>
              <a:gd name="connsiteY12513" fmla="*/ 5497570 h 7458372"/>
              <a:gd name="connsiteX12514" fmla="*/ 3730062 w 10505529"/>
              <a:gd name="connsiteY12514" fmla="*/ 5499833 h 7458372"/>
              <a:gd name="connsiteX12515" fmla="*/ 3708222 w 10505529"/>
              <a:gd name="connsiteY12515" fmla="*/ 5491314 h 7458372"/>
              <a:gd name="connsiteX12516" fmla="*/ 3699836 w 10505529"/>
              <a:gd name="connsiteY12516" fmla="*/ 5470147 h 7458372"/>
              <a:gd name="connsiteX12517" fmla="*/ 3708222 w 10505529"/>
              <a:gd name="connsiteY12517" fmla="*/ 5449114 h 7458372"/>
              <a:gd name="connsiteX12518" fmla="*/ 3730062 w 10505529"/>
              <a:gd name="connsiteY12518" fmla="*/ 5440462 h 7458372"/>
              <a:gd name="connsiteX12519" fmla="*/ 3512401 w 10505529"/>
              <a:gd name="connsiteY12519" fmla="*/ 5440462 h 7458372"/>
              <a:gd name="connsiteX12520" fmla="*/ 3524118 w 10505529"/>
              <a:gd name="connsiteY12520" fmla="*/ 5443124 h 7458372"/>
              <a:gd name="connsiteX12521" fmla="*/ 3533436 w 10505529"/>
              <a:gd name="connsiteY12521" fmla="*/ 5449514 h 7458372"/>
              <a:gd name="connsiteX12522" fmla="*/ 3539559 w 10505529"/>
              <a:gd name="connsiteY12522" fmla="*/ 5458832 h 7458372"/>
              <a:gd name="connsiteX12523" fmla="*/ 3541822 w 10505529"/>
              <a:gd name="connsiteY12523" fmla="*/ 5470280 h 7458372"/>
              <a:gd name="connsiteX12524" fmla="*/ 3539559 w 10505529"/>
              <a:gd name="connsiteY12524" fmla="*/ 5481995 h 7458372"/>
              <a:gd name="connsiteX12525" fmla="*/ 3533436 w 10505529"/>
              <a:gd name="connsiteY12525" fmla="*/ 5491314 h 7458372"/>
              <a:gd name="connsiteX12526" fmla="*/ 3524118 w 10505529"/>
              <a:gd name="connsiteY12526" fmla="*/ 5497570 h 7458372"/>
              <a:gd name="connsiteX12527" fmla="*/ 3512401 w 10505529"/>
              <a:gd name="connsiteY12527" fmla="*/ 5499833 h 7458372"/>
              <a:gd name="connsiteX12528" fmla="*/ 3490565 w 10505529"/>
              <a:gd name="connsiteY12528" fmla="*/ 5491314 h 7458372"/>
              <a:gd name="connsiteX12529" fmla="*/ 3482178 w 10505529"/>
              <a:gd name="connsiteY12529" fmla="*/ 5470147 h 7458372"/>
              <a:gd name="connsiteX12530" fmla="*/ 3490565 w 10505529"/>
              <a:gd name="connsiteY12530" fmla="*/ 5449114 h 7458372"/>
              <a:gd name="connsiteX12531" fmla="*/ 3512401 w 10505529"/>
              <a:gd name="connsiteY12531" fmla="*/ 5440462 h 7458372"/>
              <a:gd name="connsiteX12532" fmla="*/ 3294874 w 10505529"/>
              <a:gd name="connsiteY12532" fmla="*/ 5440462 h 7458372"/>
              <a:gd name="connsiteX12533" fmla="*/ 3306590 w 10505529"/>
              <a:gd name="connsiteY12533" fmla="*/ 5443124 h 7458372"/>
              <a:gd name="connsiteX12534" fmla="*/ 3315908 w 10505529"/>
              <a:gd name="connsiteY12534" fmla="*/ 5449514 h 7458372"/>
              <a:gd name="connsiteX12535" fmla="*/ 3322031 w 10505529"/>
              <a:gd name="connsiteY12535" fmla="*/ 5458832 h 7458372"/>
              <a:gd name="connsiteX12536" fmla="*/ 3324294 w 10505529"/>
              <a:gd name="connsiteY12536" fmla="*/ 5470280 h 7458372"/>
              <a:gd name="connsiteX12537" fmla="*/ 3322031 w 10505529"/>
              <a:gd name="connsiteY12537" fmla="*/ 5481995 h 7458372"/>
              <a:gd name="connsiteX12538" fmla="*/ 3315908 w 10505529"/>
              <a:gd name="connsiteY12538" fmla="*/ 5491314 h 7458372"/>
              <a:gd name="connsiteX12539" fmla="*/ 3306590 w 10505529"/>
              <a:gd name="connsiteY12539" fmla="*/ 5497570 h 7458372"/>
              <a:gd name="connsiteX12540" fmla="*/ 3294874 w 10505529"/>
              <a:gd name="connsiteY12540" fmla="*/ 5499833 h 7458372"/>
              <a:gd name="connsiteX12541" fmla="*/ 3273036 w 10505529"/>
              <a:gd name="connsiteY12541" fmla="*/ 5491314 h 7458372"/>
              <a:gd name="connsiteX12542" fmla="*/ 3264648 w 10505529"/>
              <a:gd name="connsiteY12542" fmla="*/ 5470147 h 7458372"/>
              <a:gd name="connsiteX12543" fmla="*/ 3273036 w 10505529"/>
              <a:gd name="connsiteY12543" fmla="*/ 5449114 h 7458372"/>
              <a:gd name="connsiteX12544" fmla="*/ 3294874 w 10505529"/>
              <a:gd name="connsiteY12544" fmla="*/ 5440462 h 7458372"/>
              <a:gd name="connsiteX12545" fmla="*/ 3077214 w 10505529"/>
              <a:gd name="connsiteY12545" fmla="*/ 5440462 h 7458372"/>
              <a:gd name="connsiteX12546" fmla="*/ 3088929 w 10505529"/>
              <a:gd name="connsiteY12546" fmla="*/ 5443124 h 7458372"/>
              <a:gd name="connsiteX12547" fmla="*/ 3098247 w 10505529"/>
              <a:gd name="connsiteY12547" fmla="*/ 5449514 h 7458372"/>
              <a:gd name="connsiteX12548" fmla="*/ 3104370 w 10505529"/>
              <a:gd name="connsiteY12548" fmla="*/ 5458832 h 7458372"/>
              <a:gd name="connsiteX12549" fmla="*/ 3106633 w 10505529"/>
              <a:gd name="connsiteY12549" fmla="*/ 5470280 h 7458372"/>
              <a:gd name="connsiteX12550" fmla="*/ 3104370 w 10505529"/>
              <a:gd name="connsiteY12550" fmla="*/ 5481995 h 7458372"/>
              <a:gd name="connsiteX12551" fmla="*/ 3098247 w 10505529"/>
              <a:gd name="connsiteY12551" fmla="*/ 5491314 h 7458372"/>
              <a:gd name="connsiteX12552" fmla="*/ 3088929 w 10505529"/>
              <a:gd name="connsiteY12552" fmla="*/ 5497570 h 7458372"/>
              <a:gd name="connsiteX12553" fmla="*/ 3077214 w 10505529"/>
              <a:gd name="connsiteY12553" fmla="*/ 5499833 h 7458372"/>
              <a:gd name="connsiteX12554" fmla="*/ 3055375 w 10505529"/>
              <a:gd name="connsiteY12554" fmla="*/ 5491314 h 7458372"/>
              <a:gd name="connsiteX12555" fmla="*/ 3046989 w 10505529"/>
              <a:gd name="connsiteY12555" fmla="*/ 5470147 h 7458372"/>
              <a:gd name="connsiteX12556" fmla="*/ 3055375 w 10505529"/>
              <a:gd name="connsiteY12556" fmla="*/ 5449114 h 7458372"/>
              <a:gd name="connsiteX12557" fmla="*/ 3077214 w 10505529"/>
              <a:gd name="connsiteY12557" fmla="*/ 5440462 h 7458372"/>
              <a:gd name="connsiteX12558" fmla="*/ 2859553 w 10505529"/>
              <a:gd name="connsiteY12558" fmla="*/ 5440462 h 7458372"/>
              <a:gd name="connsiteX12559" fmla="*/ 2871401 w 10505529"/>
              <a:gd name="connsiteY12559" fmla="*/ 5443124 h 7458372"/>
              <a:gd name="connsiteX12560" fmla="*/ 2880719 w 10505529"/>
              <a:gd name="connsiteY12560" fmla="*/ 5449514 h 7458372"/>
              <a:gd name="connsiteX12561" fmla="*/ 2886843 w 10505529"/>
              <a:gd name="connsiteY12561" fmla="*/ 5458832 h 7458372"/>
              <a:gd name="connsiteX12562" fmla="*/ 2889106 w 10505529"/>
              <a:gd name="connsiteY12562" fmla="*/ 5470280 h 7458372"/>
              <a:gd name="connsiteX12563" fmla="*/ 2886843 w 10505529"/>
              <a:gd name="connsiteY12563" fmla="*/ 5481995 h 7458372"/>
              <a:gd name="connsiteX12564" fmla="*/ 2880719 w 10505529"/>
              <a:gd name="connsiteY12564" fmla="*/ 5491314 h 7458372"/>
              <a:gd name="connsiteX12565" fmla="*/ 2871401 w 10505529"/>
              <a:gd name="connsiteY12565" fmla="*/ 5497570 h 7458372"/>
              <a:gd name="connsiteX12566" fmla="*/ 2859553 w 10505529"/>
              <a:gd name="connsiteY12566" fmla="*/ 5499833 h 7458372"/>
              <a:gd name="connsiteX12567" fmla="*/ 2837715 w 10505529"/>
              <a:gd name="connsiteY12567" fmla="*/ 5491314 h 7458372"/>
              <a:gd name="connsiteX12568" fmla="*/ 2829328 w 10505529"/>
              <a:gd name="connsiteY12568" fmla="*/ 5470147 h 7458372"/>
              <a:gd name="connsiteX12569" fmla="*/ 2837715 w 10505529"/>
              <a:gd name="connsiteY12569" fmla="*/ 5449114 h 7458372"/>
              <a:gd name="connsiteX12570" fmla="*/ 2859553 w 10505529"/>
              <a:gd name="connsiteY12570" fmla="*/ 5440462 h 7458372"/>
              <a:gd name="connsiteX12571" fmla="*/ 2641892 w 10505529"/>
              <a:gd name="connsiteY12571" fmla="*/ 5440462 h 7458372"/>
              <a:gd name="connsiteX12572" fmla="*/ 2653608 w 10505529"/>
              <a:gd name="connsiteY12572" fmla="*/ 5443124 h 7458372"/>
              <a:gd name="connsiteX12573" fmla="*/ 2662926 w 10505529"/>
              <a:gd name="connsiteY12573" fmla="*/ 5449514 h 7458372"/>
              <a:gd name="connsiteX12574" fmla="*/ 2669049 w 10505529"/>
              <a:gd name="connsiteY12574" fmla="*/ 5458832 h 7458372"/>
              <a:gd name="connsiteX12575" fmla="*/ 2671312 w 10505529"/>
              <a:gd name="connsiteY12575" fmla="*/ 5470280 h 7458372"/>
              <a:gd name="connsiteX12576" fmla="*/ 2669049 w 10505529"/>
              <a:gd name="connsiteY12576" fmla="*/ 5481995 h 7458372"/>
              <a:gd name="connsiteX12577" fmla="*/ 2662926 w 10505529"/>
              <a:gd name="connsiteY12577" fmla="*/ 5491314 h 7458372"/>
              <a:gd name="connsiteX12578" fmla="*/ 2653608 w 10505529"/>
              <a:gd name="connsiteY12578" fmla="*/ 5497570 h 7458372"/>
              <a:gd name="connsiteX12579" fmla="*/ 2641892 w 10505529"/>
              <a:gd name="connsiteY12579" fmla="*/ 5499833 h 7458372"/>
              <a:gd name="connsiteX12580" fmla="*/ 2620060 w 10505529"/>
              <a:gd name="connsiteY12580" fmla="*/ 5491314 h 7458372"/>
              <a:gd name="connsiteX12581" fmla="*/ 2611669 w 10505529"/>
              <a:gd name="connsiteY12581" fmla="*/ 5470147 h 7458372"/>
              <a:gd name="connsiteX12582" fmla="*/ 2620060 w 10505529"/>
              <a:gd name="connsiteY12582" fmla="*/ 5449114 h 7458372"/>
              <a:gd name="connsiteX12583" fmla="*/ 2641892 w 10505529"/>
              <a:gd name="connsiteY12583" fmla="*/ 5440462 h 7458372"/>
              <a:gd name="connsiteX12584" fmla="*/ 2424231 w 10505529"/>
              <a:gd name="connsiteY12584" fmla="*/ 5440462 h 7458372"/>
              <a:gd name="connsiteX12585" fmla="*/ 2435947 w 10505529"/>
              <a:gd name="connsiteY12585" fmla="*/ 5443124 h 7458372"/>
              <a:gd name="connsiteX12586" fmla="*/ 2445265 w 10505529"/>
              <a:gd name="connsiteY12586" fmla="*/ 5449514 h 7458372"/>
              <a:gd name="connsiteX12587" fmla="*/ 2451388 w 10505529"/>
              <a:gd name="connsiteY12587" fmla="*/ 5458832 h 7458372"/>
              <a:gd name="connsiteX12588" fmla="*/ 2453651 w 10505529"/>
              <a:gd name="connsiteY12588" fmla="*/ 5470280 h 7458372"/>
              <a:gd name="connsiteX12589" fmla="*/ 2451388 w 10505529"/>
              <a:gd name="connsiteY12589" fmla="*/ 5481995 h 7458372"/>
              <a:gd name="connsiteX12590" fmla="*/ 2445265 w 10505529"/>
              <a:gd name="connsiteY12590" fmla="*/ 5491314 h 7458372"/>
              <a:gd name="connsiteX12591" fmla="*/ 2435947 w 10505529"/>
              <a:gd name="connsiteY12591" fmla="*/ 5497570 h 7458372"/>
              <a:gd name="connsiteX12592" fmla="*/ 2424231 w 10505529"/>
              <a:gd name="connsiteY12592" fmla="*/ 5499833 h 7458372"/>
              <a:gd name="connsiteX12593" fmla="*/ 2402399 w 10505529"/>
              <a:gd name="connsiteY12593" fmla="*/ 5491314 h 7458372"/>
              <a:gd name="connsiteX12594" fmla="*/ 2394010 w 10505529"/>
              <a:gd name="connsiteY12594" fmla="*/ 5470147 h 7458372"/>
              <a:gd name="connsiteX12595" fmla="*/ 2402399 w 10505529"/>
              <a:gd name="connsiteY12595" fmla="*/ 5449114 h 7458372"/>
              <a:gd name="connsiteX12596" fmla="*/ 2424231 w 10505529"/>
              <a:gd name="connsiteY12596" fmla="*/ 5440462 h 7458372"/>
              <a:gd name="connsiteX12597" fmla="*/ 2206571 w 10505529"/>
              <a:gd name="connsiteY12597" fmla="*/ 5440462 h 7458372"/>
              <a:gd name="connsiteX12598" fmla="*/ 2218286 w 10505529"/>
              <a:gd name="connsiteY12598" fmla="*/ 5443124 h 7458372"/>
              <a:gd name="connsiteX12599" fmla="*/ 2227604 w 10505529"/>
              <a:gd name="connsiteY12599" fmla="*/ 5449514 h 7458372"/>
              <a:gd name="connsiteX12600" fmla="*/ 2233727 w 10505529"/>
              <a:gd name="connsiteY12600" fmla="*/ 5458832 h 7458372"/>
              <a:gd name="connsiteX12601" fmla="*/ 2235990 w 10505529"/>
              <a:gd name="connsiteY12601" fmla="*/ 5470280 h 7458372"/>
              <a:gd name="connsiteX12602" fmla="*/ 2233727 w 10505529"/>
              <a:gd name="connsiteY12602" fmla="*/ 5481995 h 7458372"/>
              <a:gd name="connsiteX12603" fmla="*/ 2227604 w 10505529"/>
              <a:gd name="connsiteY12603" fmla="*/ 5491314 h 7458372"/>
              <a:gd name="connsiteX12604" fmla="*/ 2218286 w 10505529"/>
              <a:gd name="connsiteY12604" fmla="*/ 5497570 h 7458372"/>
              <a:gd name="connsiteX12605" fmla="*/ 2206571 w 10505529"/>
              <a:gd name="connsiteY12605" fmla="*/ 5499833 h 7458372"/>
              <a:gd name="connsiteX12606" fmla="*/ 2184738 w 10505529"/>
              <a:gd name="connsiteY12606" fmla="*/ 5491314 h 7458372"/>
              <a:gd name="connsiteX12607" fmla="*/ 2176350 w 10505529"/>
              <a:gd name="connsiteY12607" fmla="*/ 5470147 h 7458372"/>
              <a:gd name="connsiteX12608" fmla="*/ 2184738 w 10505529"/>
              <a:gd name="connsiteY12608" fmla="*/ 5449114 h 7458372"/>
              <a:gd name="connsiteX12609" fmla="*/ 2206571 w 10505529"/>
              <a:gd name="connsiteY12609" fmla="*/ 5440462 h 7458372"/>
              <a:gd name="connsiteX12610" fmla="*/ 1989043 w 10505529"/>
              <a:gd name="connsiteY12610" fmla="*/ 5440462 h 7458372"/>
              <a:gd name="connsiteX12611" fmla="*/ 2000758 w 10505529"/>
              <a:gd name="connsiteY12611" fmla="*/ 5443124 h 7458372"/>
              <a:gd name="connsiteX12612" fmla="*/ 2010076 w 10505529"/>
              <a:gd name="connsiteY12612" fmla="*/ 5449514 h 7458372"/>
              <a:gd name="connsiteX12613" fmla="*/ 2016199 w 10505529"/>
              <a:gd name="connsiteY12613" fmla="*/ 5458832 h 7458372"/>
              <a:gd name="connsiteX12614" fmla="*/ 2018462 w 10505529"/>
              <a:gd name="connsiteY12614" fmla="*/ 5470280 h 7458372"/>
              <a:gd name="connsiteX12615" fmla="*/ 2016199 w 10505529"/>
              <a:gd name="connsiteY12615" fmla="*/ 5481995 h 7458372"/>
              <a:gd name="connsiteX12616" fmla="*/ 2010076 w 10505529"/>
              <a:gd name="connsiteY12616" fmla="*/ 5491314 h 7458372"/>
              <a:gd name="connsiteX12617" fmla="*/ 2000758 w 10505529"/>
              <a:gd name="connsiteY12617" fmla="*/ 5497570 h 7458372"/>
              <a:gd name="connsiteX12618" fmla="*/ 1989043 w 10505529"/>
              <a:gd name="connsiteY12618" fmla="*/ 5499833 h 7458372"/>
              <a:gd name="connsiteX12619" fmla="*/ 1967212 w 10505529"/>
              <a:gd name="connsiteY12619" fmla="*/ 5491314 h 7458372"/>
              <a:gd name="connsiteX12620" fmla="*/ 1958825 w 10505529"/>
              <a:gd name="connsiteY12620" fmla="*/ 5470147 h 7458372"/>
              <a:gd name="connsiteX12621" fmla="*/ 1967212 w 10505529"/>
              <a:gd name="connsiteY12621" fmla="*/ 5449114 h 7458372"/>
              <a:gd name="connsiteX12622" fmla="*/ 1989043 w 10505529"/>
              <a:gd name="connsiteY12622" fmla="*/ 5440462 h 7458372"/>
              <a:gd name="connsiteX12623" fmla="*/ 1771409 w 10505529"/>
              <a:gd name="connsiteY12623" fmla="*/ 5440462 h 7458372"/>
              <a:gd name="connsiteX12624" fmla="*/ 1783123 w 10505529"/>
              <a:gd name="connsiteY12624" fmla="*/ 5443124 h 7458372"/>
              <a:gd name="connsiteX12625" fmla="*/ 1792441 w 10505529"/>
              <a:gd name="connsiteY12625" fmla="*/ 5449514 h 7458372"/>
              <a:gd name="connsiteX12626" fmla="*/ 1798564 w 10505529"/>
              <a:gd name="connsiteY12626" fmla="*/ 5458832 h 7458372"/>
              <a:gd name="connsiteX12627" fmla="*/ 1800826 w 10505529"/>
              <a:gd name="connsiteY12627" fmla="*/ 5470280 h 7458372"/>
              <a:gd name="connsiteX12628" fmla="*/ 1798564 w 10505529"/>
              <a:gd name="connsiteY12628" fmla="*/ 5481995 h 7458372"/>
              <a:gd name="connsiteX12629" fmla="*/ 1792441 w 10505529"/>
              <a:gd name="connsiteY12629" fmla="*/ 5491314 h 7458372"/>
              <a:gd name="connsiteX12630" fmla="*/ 1783123 w 10505529"/>
              <a:gd name="connsiteY12630" fmla="*/ 5497570 h 7458372"/>
              <a:gd name="connsiteX12631" fmla="*/ 1771409 w 10505529"/>
              <a:gd name="connsiteY12631" fmla="*/ 5499833 h 7458372"/>
              <a:gd name="connsiteX12632" fmla="*/ 1749580 w 10505529"/>
              <a:gd name="connsiteY12632" fmla="*/ 5491314 h 7458372"/>
              <a:gd name="connsiteX12633" fmla="*/ 1741196 w 10505529"/>
              <a:gd name="connsiteY12633" fmla="*/ 5470147 h 7458372"/>
              <a:gd name="connsiteX12634" fmla="*/ 1749580 w 10505529"/>
              <a:gd name="connsiteY12634" fmla="*/ 5449114 h 7458372"/>
              <a:gd name="connsiteX12635" fmla="*/ 1771409 w 10505529"/>
              <a:gd name="connsiteY12635" fmla="*/ 5440462 h 7458372"/>
              <a:gd name="connsiteX12636" fmla="*/ 1553772 w 10505529"/>
              <a:gd name="connsiteY12636" fmla="*/ 5440462 h 7458372"/>
              <a:gd name="connsiteX12637" fmla="*/ 1565487 w 10505529"/>
              <a:gd name="connsiteY12637" fmla="*/ 5443124 h 7458372"/>
              <a:gd name="connsiteX12638" fmla="*/ 1574805 w 10505529"/>
              <a:gd name="connsiteY12638" fmla="*/ 5449514 h 7458372"/>
              <a:gd name="connsiteX12639" fmla="*/ 1580928 w 10505529"/>
              <a:gd name="connsiteY12639" fmla="*/ 5458832 h 7458372"/>
              <a:gd name="connsiteX12640" fmla="*/ 1583191 w 10505529"/>
              <a:gd name="connsiteY12640" fmla="*/ 5470280 h 7458372"/>
              <a:gd name="connsiteX12641" fmla="*/ 1580928 w 10505529"/>
              <a:gd name="connsiteY12641" fmla="*/ 5481995 h 7458372"/>
              <a:gd name="connsiteX12642" fmla="*/ 1574805 w 10505529"/>
              <a:gd name="connsiteY12642" fmla="*/ 5491314 h 7458372"/>
              <a:gd name="connsiteX12643" fmla="*/ 1565487 w 10505529"/>
              <a:gd name="connsiteY12643" fmla="*/ 5497570 h 7458372"/>
              <a:gd name="connsiteX12644" fmla="*/ 1553772 w 10505529"/>
              <a:gd name="connsiteY12644" fmla="*/ 5499833 h 7458372"/>
              <a:gd name="connsiteX12645" fmla="*/ 1531942 w 10505529"/>
              <a:gd name="connsiteY12645" fmla="*/ 5491314 h 7458372"/>
              <a:gd name="connsiteX12646" fmla="*/ 1523557 w 10505529"/>
              <a:gd name="connsiteY12646" fmla="*/ 5470147 h 7458372"/>
              <a:gd name="connsiteX12647" fmla="*/ 1531942 w 10505529"/>
              <a:gd name="connsiteY12647" fmla="*/ 5449114 h 7458372"/>
              <a:gd name="connsiteX12648" fmla="*/ 1553772 w 10505529"/>
              <a:gd name="connsiteY12648" fmla="*/ 5440462 h 7458372"/>
              <a:gd name="connsiteX12649" fmla="*/ 1336129 w 10505529"/>
              <a:gd name="connsiteY12649" fmla="*/ 5440462 h 7458372"/>
              <a:gd name="connsiteX12650" fmla="*/ 1347844 w 10505529"/>
              <a:gd name="connsiteY12650" fmla="*/ 5443124 h 7458372"/>
              <a:gd name="connsiteX12651" fmla="*/ 1357162 w 10505529"/>
              <a:gd name="connsiteY12651" fmla="*/ 5449514 h 7458372"/>
              <a:gd name="connsiteX12652" fmla="*/ 1363285 w 10505529"/>
              <a:gd name="connsiteY12652" fmla="*/ 5458832 h 7458372"/>
              <a:gd name="connsiteX12653" fmla="*/ 1365547 w 10505529"/>
              <a:gd name="connsiteY12653" fmla="*/ 5470280 h 7458372"/>
              <a:gd name="connsiteX12654" fmla="*/ 1363285 w 10505529"/>
              <a:gd name="connsiteY12654" fmla="*/ 5481995 h 7458372"/>
              <a:gd name="connsiteX12655" fmla="*/ 1357162 w 10505529"/>
              <a:gd name="connsiteY12655" fmla="*/ 5491314 h 7458372"/>
              <a:gd name="connsiteX12656" fmla="*/ 1347844 w 10505529"/>
              <a:gd name="connsiteY12656" fmla="*/ 5497570 h 7458372"/>
              <a:gd name="connsiteX12657" fmla="*/ 1336129 w 10505529"/>
              <a:gd name="connsiteY12657" fmla="*/ 5499833 h 7458372"/>
              <a:gd name="connsiteX12658" fmla="*/ 1314296 w 10505529"/>
              <a:gd name="connsiteY12658" fmla="*/ 5491314 h 7458372"/>
              <a:gd name="connsiteX12659" fmla="*/ 1305910 w 10505529"/>
              <a:gd name="connsiteY12659" fmla="*/ 5470147 h 7458372"/>
              <a:gd name="connsiteX12660" fmla="*/ 1314296 w 10505529"/>
              <a:gd name="connsiteY12660" fmla="*/ 5449114 h 7458372"/>
              <a:gd name="connsiteX12661" fmla="*/ 1336129 w 10505529"/>
              <a:gd name="connsiteY12661" fmla="*/ 5440462 h 7458372"/>
              <a:gd name="connsiteX12662" fmla="*/ 1118483 w 10505529"/>
              <a:gd name="connsiteY12662" fmla="*/ 5440462 h 7458372"/>
              <a:gd name="connsiteX12663" fmla="*/ 1130201 w 10505529"/>
              <a:gd name="connsiteY12663" fmla="*/ 5443124 h 7458372"/>
              <a:gd name="connsiteX12664" fmla="*/ 1139516 w 10505529"/>
              <a:gd name="connsiteY12664" fmla="*/ 5449514 h 7458372"/>
              <a:gd name="connsiteX12665" fmla="*/ 1145636 w 10505529"/>
              <a:gd name="connsiteY12665" fmla="*/ 5458832 h 7458372"/>
              <a:gd name="connsiteX12666" fmla="*/ 1147899 w 10505529"/>
              <a:gd name="connsiteY12666" fmla="*/ 5470280 h 7458372"/>
              <a:gd name="connsiteX12667" fmla="*/ 1145636 w 10505529"/>
              <a:gd name="connsiteY12667" fmla="*/ 5481995 h 7458372"/>
              <a:gd name="connsiteX12668" fmla="*/ 1139516 w 10505529"/>
              <a:gd name="connsiteY12668" fmla="*/ 5491314 h 7458372"/>
              <a:gd name="connsiteX12669" fmla="*/ 1130201 w 10505529"/>
              <a:gd name="connsiteY12669" fmla="*/ 5497570 h 7458372"/>
              <a:gd name="connsiteX12670" fmla="*/ 1118483 w 10505529"/>
              <a:gd name="connsiteY12670" fmla="*/ 5499833 h 7458372"/>
              <a:gd name="connsiteX12671" fmla="*/ 1096648 w 10505529"/>
              <a:gd name="connsiteY12671" fmla="*/ 5491314 h 7458372"/>
              <a:gd name="connsiteX12672" fmla="*/ 1088263 w 10505529"/>
              <a:gd name="connsiteY12672" fmla="*/ 5470147 h 7458372"/>
              <a:gd name="connsiteX12673" fmla="*/ 1096648 w 10505529"/>
              <a:gd name="connsiteY12673" fmla="*/ 5449114 h 7458372"/>
              <a:gd name="connsiteX12674" fmla="*/ 1118483 w 10505529"/>
              <a:gd name="connsiteY12674" fmla="*/ 5440462 h 7458372"/>
              <a:gd name="connsiteX12675" fmla="*/ 900970 w 10505529"/>
              <a:gd name="connsiteY12675" fmla="*/ 5440462 h 7458372"/>
              <a:gd name="connsiteX12676" fmla="*/ 912685 w 10505529"/>
              <a:gd name="connsiteY12676" fmla="*/ 5443124 h 7458372"/>
              <a:gd name="connsiteX12677" fmla="*/ 922003 w 10505529"/>
              <a:gd name="connsiteY12677" fmla="*/ 5449514 h 7458372"/>
              <a:gd name="connsiteX12678" fmla="*/ 928126 w 10505529"/>
              <a:gd name="connsiteY12678" fmla="*/ 5458832 h 7458372"/>
              <a:gd name="connsiteX12679" fmla="*/ 930389 w 10505529"/>
              <a:gd name="connsiteY12679" fmla="*/ 5470280 h 7458372"/>
              <a:gd name="connsiteX12680" fmla="*/ 928126 w 10505529"/>
              <a:gd name="connsiteY12680" fmla="*/ 5481995 h 7458372"/>
              <a:gd name="connsiteX12681" fmla="*/ 922003 w 10505529"/>
              <a:gd name="connsiteY12681" fmla="*/ 5491314 h 7458372"/>
              <a:gd name="connsiteX12682" fmla="*/ 912685 w 10505529"/>
              <a:gd name="connsiteY12682" fmla="*/ 5497570 h 7458372"/>
              <a:gd name="connsiteX12683" fmla="*/ 900970 w 10505529"/>
              <a:gd name="connsiteY12683" fmla="*/ 5499833 h 7458372"/>
              <a:gd name="connsiteX12684" fmla="*/ 879139 w 10505529"/>
              <a:gd name="connsiteY12684" fmla="*/ 5491314 h 7458372"/>
              <a:gd name="connsiteX12685" fmla="*/ 870754 w 10505529"/>
              <a:gd name="connsiteY12685" fmla="*/ 5470147 h 7458372"/>
              <a:gd name="connsiteX12686" fmla="*/ 879139 w 10505529"/>
              <a:gd name="connsiteY12686" fmla="*/ 5449114 h 7458372"/>
              <a:gd name="connsiteX12687" fmla="*/ 900970 w 10505529"/>
              <a:gd name="connsiteY12687" fmla="*/ 5440462 h 7458372"/>
              <a:gd name="connsiteX12688" fmla="*/ 683330 w 10505529"/>
              <a:gd name="connsiteY12688" fmla="*/ 5440462 h 7458372"/>
              <a:gd name="connsiteX12689" fmla="*/ 695045 w 10505529"/>
              <a:gd name="connsiteY12689" fmla="*/ 5443124 h 7458372"/>
              <a:gd name="connsiteX12690" fmla="*/ 704362 w 10505529"/>
              <a:gd name="connsiteY12690" fmla="*/ 5449514 h 7458372"/>
              <a:gd name="connsiteX12691" fmla="*/ 710485 w 10505529"/>
              <a:gd name="connsiteY12691" fmla="*/ 5458832 h 7458372"/>
              <a:gd name="connsiteX12692" fmla="*/ 712748 w 10505529"/>
              <a:gd name="connsiteY12692" fmla="*/ 5470280 h 7458372"/>
              <a:gd name="connsiteX12693" fmla="*/ 710485 w 10505529"/>
              <a:gd name="connsiteY12693" fmla="*/ 5481995 h 7458372"/>
              <a:gd name="connsiteX12694" fmla="*/ 704362 w 10505529"/>
              <a:gd name="connsiteY12694" fmla="*/ 5491314 h 7458372"/>
              <a:gd name="connsiteX12695" fmla="*/ 695045 w 10505529"/>
              <a:gd name="connsiteY12695" fmla="*/ 5497570 h 7458372"/>
              <a:gd name="connsiteX12696" fmla="*/ 683330 w 10505529"/>
              <a:gd name="connsiteY12696" fmla="*/ 5499833 h 7458372"/>
              <a:gd name="connsiteX12697" fmla="*/ 661498 w 10505529"/>
              <a:gd name="connsiteY12697" fmla="*/ 5491314 h 7458372"/>
              <a:gd name="connsiteX12698" fmla="*/ 653112 w 10505529"/>
              <a:gd name="connsiteY12698" fmla="*/ 5470147 h 7458372"/>
              <a:gd name="connsiteX12699" fmla="*/ 661498 w 10505529"/>
              <a:gd name="connsiteY12699" fmla="*/ 5449114 h 7458372"/>
              <a:gd name="connsiteX12700" fmla="*/ 683330 w 10505529"/>
              <a:gd name="connsiteY12700" fmla="*/ 5440462 h 7458372"/>
              <a:gd name="connsiteX12701" fmla="*/ 465688 w 10505529"/>
              <a:gd name="connsiteY12701" fmla="*/ 5440462 h 7458372"/>
              <a:gd name="connsiteX12702" fmla="*/ 477404 w 10505529"/>
              <a:gd name="connsiteY12702" fmla="*/ 5443124 h 7458372"/>
              <a:gd name="connsiteX12703" fmla="*/ 486721 w 10505529"/>
              <a:gd name="connsiteY12703" fmla="*/ 5449514 h 7458372"/>
              <a:gd name="connsiteX12704" fmla="*/ 492844 w 10505529"/>
              <a:gd name="connsiteY12704" fmla="*/ 5458832 h 7458372"/>
              <a:gd name="connsiteX12705" fmla="*/ 495107 w 10505529"/>
              <a:gd name="connsiteY12705" fmla="*/ 5470280 h 7458372"/>
              <a:gd name="connsiteX12706" fmla="*/ 492844 w 10505529"/>
              <a:gd name="connsiteY12706" fmla="*/ 5481995 h 7458372"/>
              <a:gd name="connsiteX12707" fmla="*/ 486721 w 10505529"/>
              <a:gd name="connsiteY12707" fmla="*/ 5491314 h 7458372"/>
              <a:gd name="connsiteX12708" fmla="*/ 477404 w 10505529"/>
              <a:gd name="connsiteY12708" fmla="*/ 5497570 h 7458372"/>
              <a:gd name="connsiteX12709" fmla="*/ 465688 w 10505529"/>
              <a:gd name="connsiteY12709" fmla="*/ 5499833 h 7458372"/>
              <a:gd name="connsiteX12710" fmla="*/ 443857 w 10505529"/>
              <a:gd name="connsiteY12710" fmla="*/ 5491314 h 7458372"/>
              <a:gd name="connsiteX12711" fmla="*/ 435471 w 10505529"/>
              <a:gd name="connsiteY12711" fmla="*/ 5470147 h 7458372"/>
              <a:gd name="connsiteX12712" fmla="*/ 443857 w 10505529"/>
              <a:gd name="connsiteY12712" fmla="*/ 5449114 h 7458372"/>
              <a:gd name="connsiteX12713" fmla="*/ 465688 w 10505529"/>
              <a:gd name="connsiteY12713" fmla="*/ 5440462 h 7458372"/>
              <a:gd name="connsiteX12714" fmla="*/ 248047 w 10505529"/>
              <a:gd name="connsiteY12714" fmla="*/ 5440462 h 7458372"/>
              <a:gd name="connsiteX12715" fmla="*/ 259761 w 10505529"/>
              <a:gd name="connsiteY12715" fmla="*/ 5443124 h 7458372"/>
              <a:gd name="connsiteX12716" fmla="*/ 269079 w 10505529"/>
              <a:gd name="connsiteY12716" fmla="*/ 5449514 h 7458372"/>
              <a:gd name="connsiteX12717" fmla="*/ 275202 w 10505529"/>
              <a:gd name="connsiteY12717" fmla="*/ 5458832 h 7458372"/>
              <a:gd name="connsiteX12718" fmla="*/ 277465 w 10505529"/>
              <a:gd name="connsiteY12718" fmla="*/ 5470280 h 7458372"/>
              <a:gd name="connsiteX12719" fmla="*/ 275202 w 10505529"/>
              <a:gd name="connsiteY12719" fmla="*/ 5481995 h 7458372"/>
              <a:gd name="connsiteX12720" fmla="*/ 269079 w 10505529"/>
              <a:gd name="connsiteY12720" fmla="*/ 5491314 h 7458372"/>
              <a:gd name="connsiteX12721" fmla="*/ 259761 w 10505529"/>
              <a:gd name="connsiteY12721" fmla="*/ 5497570 h 7458372"/>
              <a:gd name="connsiteX12722" fmla="*/ 248047 w 10505529"/>
              <a:gd name="connsiteY12722" fmla="*/ 5499833 h 7458372"/>
              <a:gd name="connsiteX12723" fmla="*/ 226217 w 10505529"/>
              <a:gd name="connsiteY12723" fmla="*/ 5491314 h 7458372"/>
              <a:gd name="connsiteX12724" fmla="*/ 217832 w 10505529"/>
              <a:gd name="connsiteY12724" fmla="*/ 5470147 h 7458372"/>
              <a:gd name="connsiteX12725" fmla="*/ 226217 w 10505529"/>
              <a:gd name="connsiteY12725" fmla="*/ 5449114 h 7458372"/>
              <a:gd name="connsiteX12726" fmla="*/ 248047 w 10505529"/>
              <a:gd name="connsiteY12726" fmla="*/ 5440462 h 7458372"/>
              <a:gd name="connsiteX12727" fmla="*/ 30405 w 10505529"/>
              <a:gd name="connsiteY12727" fmla="*/ 5440462 h 7458372"/>
              <a:gd name="connsiteX12728" fmla="*/ 42120 w 10505529"/>
              <a:gd name="connsiteY12728" fmla="*/ 5443124 h 7458372"/>
              <a:gd name="connsiteX12729" fmla="*/ 51438 w 10505529"/>
              <a:gd name="connsiteY12729" fmla="*/ 5449514 h 7458372"/>
              <a:gd name="connsiteX12730" fmla="*/ 57561 w 10505529"/>
              <a:gd name="connsiteY12730" fmla="*/ 5458832 h 7458372"/>
              <a:gd name="connsiteX12731" fmla="*/ 59825 w 10505529"/>
              <a:gd name="connsiteY12731" fmla="*/ 5470280 h 7458372"/>
              <a:gd name="connsiteX12732" fmla="*/ 57561 w 10505529"/>
              <a:gd name="connsiteY12732" fmla="*/ 5481995 h 7458372"/>
              <a:gd name="connsiteX12733" fmla="*/ 51438 w 10505529"/>
              <a:gd name="connsiteY12733" fmla="*/ 5491314 h 7458372"/>
              <a:gd name="connsiteX12734" fmla="*/ 42120 w 10505529"/>
              <a:gd name="connsiteY12734" fmla="*/ 5497570 h 7458372"/>
              <a:gd name="connsiteX12735" fmla="*/ 30405 w 10505529"/>
              <a:gd name="connsiteY12735" fmla="*/ 5499833 h 7458372"/>
              <a:gd name="connsiteX12736" fmla="*/ 8577 w 10505529"/>
              <a:gd name="connsiteY12736" fmla="*/ 5491314 h 7458372"/>
              <a:gd name="connsiteX12737" fmla="*/ 191 w 10505529"/>
              <a:gd name="connsiteY12737" fmla="*/ 5470147 h 7458372"/>
              <a:gd name="connsiteX12738" fmla="*/ 8577 w 10505529"/>
              <a:gd name="connsiteY12738" fmla="*/ 5449114 h 7458372"/>
              <a:gd name="connsiteX12739" fmla="*/ 30405 w 10505529"/>
              <a:gd name="connsiteY12739" fmla="*/ 5440462 h 7458372"/>
              <a:gd name="connsiteX12740" fmla="*/ 10475977 w 10505529"/>
              <a:gd name="connsiteY12740" fmla="*/ 5239589 h 7458372"/>
              <a:gd name="connsiteX12741" fmla="*/ 10465992 w 10505529"/>
              <a:gd name="connsiteY12741" fmla="*/ 5243183 h 7458372"/>
              <a:gd name="connsiteX12742" fmla="*/ 10462399 w 10505529"/>
              <a:gd name="connsiteY12742" fmla="*/ 5252634 h 7458372"/>
              <a:gd name="connsiteX12743" fmla="*/ 10465992 w 10505529"/>
              <a:gd name="connsiteY12743" fmla="*/ 5262085 h 7458372"/>
              <a:gd name="connsiteX12744" fmla="*/ 10475977 w 10505529"/>
              <a:gd name="connsiteY12744" fmla="*/ 5265548 h 7458372"/>
              <a:gd name="connsiteX12745" fmla="*/ 10481302 w 10505529"/>
              <a:gd name="connsiteY12745" fmla="*/ 5264616 h 7458372"/>
              <a:gd name="connsiteX12746" fmla="*/ 10485029 w 10505529"/>
              <a:gd name="connsiteY12746" fmla="*/ 5262219 h 7458372"/>
              <a:gd name="connsiteX12747" fmla="*/ 10487691 w 10505529"/>
              <a:gd name="connsiteY12747" fmla="*/ 5257959 h 7458372"/>
              <a:gd name="connsiteX12748" fmla="*/ 10488623 w 10505529"/>
              <a:gd name="connsiteY12748" fmla="*/ 5252501 h 7458372"/>
              <a:gd name="connsiteX12749" fmla="*/ 10487691 w 10505529"/>
              <a:gd name="connsiteY12749" fmla="*/ 5247309 h 7458372"/>
              <a:gd name="connsiteX12750" fmla="*/ 10485029 w 10505529"/>
              <a:gd name="connsiteY12750" fmla="*/ 5243183 h 7458372"/>
              <a:gd name="connsiteX12751" fmla="*/ 10481035 w 10505529"/>
              <a:gd name="connsiteY12751" fmla="*/ 5240521 h 7458372"/>
              <a:gd name="connsiteX12752" fmla="*/ 10475977 w 10505529"/>
              <a:gd name="connsiteY12752" fmla="*/ 5239589 h 7458372"/>
              <a:gd name="connsiteX12753" fmla="*/ 10258466 w 10505529"/>
              <a:gd name="connsiteY12753" fmla="*/ 5239589 h 7458372"/>
              <a:gd name="connsiteX12754" fmla="*/ 10248481 w 10505529"/>
              <a:gd name="connsiteY12754" fmla="*/ 5243183 h 7458372"/>
              <a:gd name="connsiteX12755" fmla="*/ 10244887 w 10505529"/>
              <a:gd name="connsiteY12755" fmla="*/ 5252634 h 7458372"/>
              <a:gd name="connsiteX12756" fmla="*/ 10248481 w 10505529"/>
              <a:gd name="connsiteY12756" fmla="*/ 5262085 h 7458372"/>
              <a:gd name="connsiteX12757" fmla="*/ 10258466 w 10505529"/>
              <a:gd name="connsiteY12757" fmla="*/ 5265548 h 7458372"/>
              <a:gd name="connsiteX12758" fmla="*/ 10263790 w 10505529"/>
              <a:gd name="connsiteY12758" fmla="*/ 5264616 h 7458372"/>
              <a:gd name="connsiteX12759" fmla="*/ 10267517 w 10505529"/>
              <a:gd name="connsiteY12759" fmla="*/ 5262219 h 7458372"/>
              <a:gd name="connsiteX12760" fmla="*/ 10270180 w 10505529"/>
              <a:gd name="connsiteY12760" fmla="*/ 5257959 h 7458372"/>
              <a:gd name="connsiteX12761" fmla="*/ 10271112 w 10505529"/>
              <a:gd name="connsiteY12761" fmla="*/ 5252501 h 7458372"/>
              <a:gd name="connsiteX12762" fmla="*/ 10270180 w 10505529"/>
              <a:gd name="connsiteY12762" fmla="*/ 5247309 h 7458372"/>
              <a:gd name="connsiteX12763" fmla="*/ 10267517 w 10505529"/>
              <a:gd name="connsiteY12763" fmla="*/ 5243183 h 7458372"/>
              <a:gd name="connsiteX12764" fmla="*/ 10263524 w 10505529"/>
              <a:gd name="connsiteY12764" fmla="*/ 5240521 h 7458372"/>
              <a:gd name="connsiteX12765" fmla="*/ 10258466 w 10505529"/>
              <a:gd name="connsiteY12765" fmla="*/ 5239589 h 7458372"/>
              <a:gd name="connsiteX12766" fmla="*/ 10040820 w 10505529"/>
              <a:gd name="connsiteY12766" fmla="*/ 5239589 h 7458372"/>
              <a:gd name="connsiteX12767" fmla="*/ 10030835 w 10505529"/>
              <a:gd name="connsiteY12767" fmla="*/ 5243183 h 7458372"/>
              <a:gd name="connsiteX12768" fmla="*/ 10027242 w 10505529"/>
              <a:gd name="connsiteY12768" fmla="*/ 5252634 h 7458372"/>
              <a:gd name="connsiteX12769" fmla="*/ 10030835 w 10505529"/>
              <a:gd name="connsiteY12769" fmla="*/ 5262085 h 7458372"/>
              <a:gd name="connsiteX12770" fmla="*/ 10040820 w 10505529"/>
              <a:gd name="connsiteY12770" fmla="*/ 5265548 h 7458372"/>
              <a:gd name="connsiteX12771" fmla="*/ 10046145 w 10505529"/>
              <a:gd name="connsiteY12771" fmla="*/ 5264616 h 7458372"/>
              <a:gd name="connsiteX12772" fmla="*/ 10049872 w 10505529"/>
              <a:gd name="connsiteY12772" fmla="*/ 5262219 h 7458372"/>
              <a:gd name="connsiteX12773" fmla="*/ 10052534 w 10505529"/>
              <a:gd name="connsiteY12773" fmla="*/ 5257959 h 7458372"/>
              <a:gd name="connsiteX12774" fmla="*/ 10053599 w 10505529"/>
              <a:gd name="connsiteY12774" fmla="*/ 5252501 h 7458372"/>
              <a:gd name="connsiteX12775" fmla="*/ 10052534 w 10505529"/>
              <a:gd name="connsiteY12775" fmla="*/ 5247309 h 7458372"/>
              <a:gd name="connsiteX12776" fmla="*/ 10049872 w 10505529"/>
              <a:gd name="connsiteY12776" fmla="*/ 5243183 h 7458372"/>
              <a:gd name="connsiteX12777" fmla="*/ 10045878 w 10505529"/>
              <a:gd name="connsiteY12777" fmla="*/ 5240521 h 7458372"/>
              <a:gd name="connsiteX12778" fmla="*/ 10040820 w 10505529"/>
              <a:gd name="connsiteY12778" fmla="*/ 5239589 h 7458372"/>
              <a:gd name="connsiteX12779" fmla="*/ 9823176 w 10505529"/>
              <a:gd name="connsiteY12779" fmla="*/ 5239589 h 7458372"/>
              <a:gd name="connsiteX12780" fmla="*/ 9813191 w 10505529"/>
              <a:gd name="connsiteY12780" fmla="*/ 5243183 h 7458372"/>
              <a:gd name="connsiteX12781" fmla="*/ 9809597 w 10505529"/>
              <a:gd name="connsiteY12781" fmla="*/ 5252634 h 7458372"/>
              <a:gd name="connsiteX12782" fmla="*/ 9813191 w 10505529"/>
              <a:gd name="connsiteY12782" fmla="*/ 5262085 h 7458372"/>
              <a:gd name="connsiteX12783" fmla="*/ 9823176 w 10505529"/>
              <a:gd name="connsiteY12783" fmla="*/ 5265548 h 7458372"/>
              <a:gd name="connsiteX12784" fmla="*/ 9828501 w 10505529"/>
              <a:gd name="connsiteY12784" fmla="*/ 5264616 h 7458372"/>
              <a:gd name="connsiteX12785" fmla="*/ 9832227 w 10505529"/>
              <a:gd name="connsiteY12785" fmla="*/ 5262219 h 7458372"/>
              <a:gd name="connsiteX12786" fmla="*/ 9834890 w 10505529"/>
              <a:gd name="connsiteY12786" fmla="*/ 5257959 h 7458372"/>
              <a:gd name="connsiteX12787" fmla="*/ 9835955 w 10505529"/>
              <a:gd name="connsiteY12787" fmla="*/ 5252501 h 7458372"/>
              <a:gd name="connsiteX12788" fmla="*/ 9834890 w 10505529"/>
              <a:gd name="connsiteY12788" fmla="*/ 5247309 h 7458372"/>
              <a:gd name="connsiteX12789" fmla="*/ 9832227 w 10505529"/>
              <a:gd name="connsiteY12789" fmla="*/ 5243183 h 7458372"/>
              <a:gd name="connsiteX12790" fmla="*/ 9828234 w 10505529"/>
              <a:gd name="connsiteY12790" fmla="*/ 5240521 h 7458372"/>
              <a:gd name="connsiteX12791" fmla="*/ 9823176 w 10505529"/>
              <a:gd name="connsiteY12791" fmla="*/ 5239589 h 7458372"/>
              <a:gd name="connsiteX12792" fmla="*/ 9605531 w 10505529"/>
              <a:gd name="connsiteY12792" fmla="*/ 5239589 h 7458372"/>
              <a:gd name="connsiteX12793" fmla="*/ 9595546 w 10505529"/>
              <a:gd name="connsiteY12793" fmla="*/ 5243183 h 7458372"/>
              <a:gd name="connsiteX12794" fmla="*/ 9591952 w 10505529"/>
              <a:gd name="connsiteY12794" fmla="*/ 5252634 h 7458372"/>
              <a:gd name="connsiteX12795" fmla="*/ 9595546 w 10505529"/>
              <a:gd name="connsiteY12795" fmla="*/ 5262085 h 7458372"/>
              <a:gd name="connsiteX12796" fmla="*/ 9605531 w 10505529"/>
              <a:gd name="connsiteY12796" fmla="*/ 5265548 h 7458372"/>
              <a:gd name="connsiteX12797" fmla="*/ 9610855 w 10505529"/>
              <a:gd name="connsiteY12797" fmla="*/ 5264616 h 7458372"/>
              <a:gd name="connsiteX12798" fmla="*/ 9614582 w 10505529"/>
              <a:gd name="connsiteY12798" fmla="*/ 5262219 h 7458372"/>
              <a:gd name="connsiteX12799" fmla="*/ 9617245 w 10505529"/>
              <a:gd name="connsiteY12799" fmla="*/ 5257959 h 7458372"/>
              <a:gd name="connsiteX12800" fmla="*/ 9618309 w 10505529"/>
              <a:gd name="connsiteY12800" fmla="*/ 5252501 h 7458372"/>
              <a:gd name="connsiteX12801" fmla="*/ 9617245 w 10505529"/>
              <a:gd name="connsiteY12801" fmla="*/ 5247309 h 7458372"/>
              <a:gd name="connsiteX12802" fmla="*/ 9614582 w 10505529"/>
              <a:gd name="connsiteY12802" fmla="*/ 5243183 h 7458372"/>
              <a:gd name="connsiteX12803" fmla="*/ 9610589 w 10505529"/>
              <a:gd name="connsiteY12803" fmla="*/ 5240521 h 7458372"/>
              <a:gd name="connsiteX12804" fmla="*/ 9605531 w 10505529"/>
              <a:gd name="connsiteY12804" fmla="*/ 5239589 h 7458372"/>
              <a:gd name="connsiteX12805" fmla="*/ 9387885 w 10505529"/>
              <a:gd name="connsiteY12805" fmla="*/ 5239589 h 7458372"/>
              <a:gd name="connsiteX12806" fmla="*/ 9377900 w 10505529"/>
              <a:gd name="connsiteY12806" fmla="*/ 5243183 h 7458372"/>
              <a:gd name="connsiteX12807" fmla="*/ 9374307 w 10505529"/>
              <a:gd name="connsiteY12807" fmla="*/ 5252634 h 7458372"/>
              <a:gd name="connsiteX12808" fmla="*/ 9377900 w 10505529"/>
              <a:gd name="connsiteY12808" fmla="*/ 5262085 h 7458372"/>
              <a:gd name="connsiteX12809" fmla="*/ 9387885 w 10505529"/>
              <a:gd name="connsiteY12809" fmla="*/ 5265548 h 7458372"/>
              <a:gd name="connsiteX12810" fmla="*/ 9393210 w 10505529"/>
              <a:gd name="connsiteY12810" fmla="*/ 5264616 h 7458372"/>
              <a:gd name="connsiteX12811" fmla="*/ 9396937 w 10505529"/>
              <a:gd name="connsiteY12811" fmla="*/ 5262219 h 7458372"/>
              <a:gd name="connsiteX12812" fmla="*/ 9399599 w 10505529"/>
              <a:gd name="connsiteY12812" fmla="*/ 5257959 h 7458372"/>
              <a:gd name="connsiteX12813" fmla="*/ 9400664 w 10505529"/>
              <a:gd name="connsiteY12813" fmla="*/ 5252501 h 7458372"/>
              <a:gd name="connsiteX12814" fmla="*/ 9399599 w 10505529"/>
              <a:gd name="connsiteY12814" fmla="*/ 5247309 h 7458372"/>
              <a:gd name="connsiteX12815" fmla="*/ 9396937 w 10505529"/>
              <a:gd name="connsiteY12815" fmla="*/ 5243183 h 7458372"/>
              <a:gd name="connsiteX12816" fmla="*/ 9392943 w 10505529"/>
              <a:gd name="connsiteY12816" fmla="*/ 5240521 h 7458372"/>
              <a:gd name="connsiteX12817" fmla="*/ 9387885 w 10505529"/>
              <a:gd name="connsiteY12817" fmla="*/ 5239589 h 7458372"/>
              <a:gd name="connsiteX12818" fmla="*/ 9170374 w 10505529"/>
              <a:gd name="connsiteY12818" fmla="*/ 5239589 h 7458372"/>
              <a:gd name="connsiteX12819" fmla="*/ 9160389 w 10505529"/>
              <a:gd name="connsiteY12819" fmla="*/ 5243183 h 7458372"/>
              <a:gd name="connsiteX12820" fmla="*/ 9156795 w 10505529"/>
              <a:gd name="connsiteY12820" fmla="*/ 5252634 h 7458372"/>
              <a:gd name="connsiteX12821" fmla="*/ 9160389 w 10505529"/>
              <a:gd name="connsiteY12821" fmla="*/ 5262085 h 7458372"/>
              <a:gd name="connsiteX12822" fmla="*/ 9170374 w 10505529"/>
              <a:gd name="connsiteY12822" fmla="*/ 5265548 h 7458372"/>
              <a:gd name="connsiteX12823" fmla="*/ 9175698 w 10505529"/>
              <a:gd name="connsiteY12823" fmla="*/ 5264616 h 7458372"/>
              <a:gd name="connsiteX12824" fmla="*/ 9179425 w 10505529"/>
              <a:gd name="connsiteY12824" fmla="*/ 5262219 h 7458372"/>
              <a:gd name="connsiteX12825" fmla="*/ 9182088 w 10505529"/>
              <a:gd name="connsiteY12825" fmla="*/ 5257959 h 7458372"/>
              <a:gd name="connsiteX12826" fmla="*/ 9183152 w 10505529"/>
              <a:gd name="connsiteY12826" fmla="*/ 5252501 h 7458372"/>
              <a:gd name="connsiteX12827" fmla="*/ 9182088 w 10505529"/>
              <a:gd name="connsiteY12827" fmla="*/ 5247309 h 7458372"/>
              <a:gd name="connsiteX12828" fmla="*/ 9179425 w 10505529"/>
              <a:gd name="connsiteY12828" fmla="*/ 5243183 h 7458372"/>
              <a:gd name="connsiteX12829" fmla="*/ 9175432 w 10505529"/>
              <a:gd name="connsiteY12829" fmla="*/ 5240521 h 7458372"/>
              <a:gd name="connsiteX12830" fmla="*/ 9170374 w 10505529"/>
              <a:gd name="connsiteY12830" fmla="*/ 5239589 h 7458372"/>
              <a:gd name="connsiteX12831" fmla="*/ 8952728 w 10505529"/>
              <a:gd name="connsiteY12831" fmla="*/ 5239589 h 7458372"/>
              <a:gd name="connsiteX12832" fmla="*/ 8942743 w 10505529"/>
              <a:gd name="connsiteY12832" fmla="*/ 5243183 h 7458372"/>
              <a:gd name="connsiteX12833" fmla="*/ 8939150 w 10505529"/>
              <a:gd name="connsiteY12833" fmla="*/ 5252634 h 7458372"/>
              <a:gd name="connsiteX12834" fmla="*/ 8942743 w 10505529"/>
              <a:gd name="connsiteY12834" fmla="*/ 5262085 h 7458372"/>
              <a:gd name="connsiteX12835" fmla="*/ 8952728 w 10505529"/>
              <a:gd name="connsiteY12835" fmla="*/ 5265548 h 7458372"/>
              <a:gd name="connsiteX12836" fmla="*/ 8958053 w 10505529"/>
              <a:gd name="connsiteY12836" fmla="*/ 5264616 h 7458372"/>
              <a:gd name="connsiteX12837" fmla="*/ 8961780 w 10505529"/>
              <a:gd name="connsiteY12837" fmla="*/ 5262219 h 7458372"/>
              <a:gd name="connsiteX12838" fmla="*/ 8964442 w 10505529"/>
              <a:gd name="connsiteY12838" fmla="*/ 5257959 h 7458372"/>
              <a:gd name="connsiteX12839" fmla="*/ 8965507 w 10505529"/>
              <a:gd name="connsiteY12839" fmla="*/ 5252501 h 7458372"/>
              <a:gd name="connsiteX12840" fmla="*/ 8964442 w 10505529"/>
              <a:gd name="connsiteY12840" fmla="*/ 5247309 h 7458372"/>
              <a:gd name="connsiteX12841" fmla="*/ 8961780 w 10505529"/>
              <a:gd name="connsiteY12841" fmla="*/ 5243183 h 7458372"/>
              <a:gd name="connsiteX12842" fmla="*/ 8957786 w 10505529"/>
              <a:gd name="connsiteY12842" fmla="*/ 5240521 h 7458372"/>
              <a:gd name="connsiteX12843" fmla="*/ 8952728 w 10505529"/>
              <a:gd name="connsiteY12843" fmla="*/ 5239589 h 7458372"/>
              <a:gd name="connsiteX12844" fmla="*/ 8735083 w 10505529"/>
              <a:gd name="connsiteY12844" fmla="*/ 5239589 h 7458372"/>
              <a:gd name="connsiteX12845" fmla="*/ 8725098 w 10505529"/>
              <a:gd name="connsiteY12845" fmla="*/ 5243183 h 7458372"/>
              <a:gd name="connsiteX12846" fmla="*/ 8721504 w 10505529"/>
              <a:gd name="connsiteY12846" fmla="*/ 5252634 h 7458372"/>
              <a:gd name="connsiteX12847" fmla="*/ 8725098 w 10505529"/>
              <a:gd name="connsiteY12847" fmla="*/ 5262085 h 7458372"/>
              <a:gd name="connsiteX12848" fmla="*/ 8735083 w 10505529"/>
              <a:gd name="connsiteY12848" fmla="*/ 5265548 h 7458372"/>
              <a:gd name="connsiteX12849" fmla="*/ 8740407 w 10505529"/>
              <a:gd name="connsiteY12849" fmla="*/ 5264616 h 7458372"/>
              <a:gd name="connsiteX12850" fmla="*/ 8744134 w 10505529"/>
              <a:gd name="connsiteY12850" fmla="*/ 5262219 h 7458372"/>
              <a:gd name="connsiteX12851" fmla="*/ 8746797 w 10505529"/>
              <a:gd name="connsiteY12851" fmla="*/ 5257959 h 7458372"/>
              <a:gd name="connsiteX12852" fmla="*/ 8747862 w 10505529"/>
              <a:gd name="connsiteY12852" fmla="*/ 5252501 h 7458372"/>
              <a:gd name="connsiteX12853" fmla="*/ 8746797 w 10505529"/>
              <a:gd name="connsiteY12853" fmla="*/ 5247309 h 7458372"/>
              <a:gd name="connsiteX12854" fmla="*/ 8744134 w 10505529"/>
              <a:gd name="connsiteY12854" fmla="*/ 5243183 h 7458372"/>
              <a:gd name="connsiteX12855" fmla="*/ 8740141 w 10505529"/>
              <a:gd name="connsiteY12855" fmla="*/ 5240521 h 7458372"/>
              <a:gd name="connsiteX12856" fmla="*/ 8735083 w 10505529"/>
              <a:gd name="connsiteY12856" fmla="*/ 5239589 h 7458372"/>
              <a:gd name="connsiteX12857" fmla="*/ 8517438 w 10505529"/>
              <a:gd name="connsiteY12857" fmla="*/ 5239589 h 7458372"/>
              <a:gd name="connsiteX12858" fmla="*/ 8507453 w 10505529"/>
              <a:gd name="connsiteY12858" fmla="*/ 5243183 h 7458372"/>
              <a:gd name="connsiteX12859" fmla="*/ 8503860 w 10505529"/>
              <a:gd name="connsiteY12859" fmla="*/ 5252634 h 7458372"/>
              <a:gd name="connsiteX12860" fmla="*/ 8507453 w 10505529"/>
              <a:gd name="connsiteY12860" fmla="*/ 5262085 h 7458372"/>
              <a:gd name="connsiteX12861" fmla="*/ 8517438 w 10505529"/>
              <a:gd name="connsiteY12861" fmla="*/ 5265548 h 7458372"/>
              <a:gd name="connsiteX12862" fmla="*/ 8522763 w 10505529"/>
              <a:gd name="connsiteY12862" fmla="*/ 5264616 h 7458372"/>
              <a:gd name="connsiteX12863" fmla="*/ 8526490 w 10505529"/>
              <a:gd name="connsiteY12863" fmla="*/ 5262219 h 7458372"/>
              <a:gd name="connsiteX12864" fmla="*/ 8529152 w 10505529"/>
              <a:gd name="connsiteY12864" fmla="*/ 5257959 h 7458372"/>
              <a:gd name="connsiteX12865" fmla="*/ 8530084 w 10505529"/>
              <a:gd name="connsiteY12865" fmla="*/ 5252501 h 7458372"/>
              <a:gd name="connsiteX12866" fmla="*/ 8529152 w 10505529"/>
              <a:gd name="connsiteY12866" fmla="*/ 5247309 h 7458372"/>
              <a:gd name="connsiteX12867" fmla="*/ 8526490 w 10505529"/>
              <a:gd name="connsiteY12867" fmla="*/ 5243183 h 7458372"/>
              <a:gd name="connsiteX12868" fmla="*/ 8522496 w 10505529"/>
              <a:gd name="connsiteY12868" fmla="*/ 5240521 h 7458372"/>
              <a:gd name="connsiteX12869" fmla="*/ 8517438 w 10505529"/>
              <a:gd name="connsiteY12869" fmla="*/ 5239589 h 7458372"/>
              <a:gd name="connsiteX12870" fmla="*/ 8299793 w 10505529"/>
              <a:gd name="connsiteY12870" fmla="*/ 5239589 h 7458372"/>
              <a:gd name="connsiteX12871" fmla="*/ 8289809 w 10505529"/>
              <a:gd name="connsiteY12871" fmla="*/ 5243183 h 7458372"/>
              <a:gd name="connsiteX12872" fmla="*/ 8286215 w 10505529"/>
              <a:gd name="connsiteY12872" fmla="*/ 5252634 h 7458372"/>
              <a:gd name="connsiteX12873" fmla="*/ 8289809 w 10505529"/>
              <a:gd name="connsiteY12873" fmla="*/ 5262085 h 7458372"/>
              <a:gd name="connsiteX12874" fmla="*/ 8299793 w 10505529"/>
              <a:gd name="connsiteY12874" fmla="*/ 5265548 h 7458372"/>
              <a:gd name="connsiteX12875" fmla="*/ 8305118 w 10505529"/>
              <a:gd name="connsiteY12875" fmla="*/ 5264616 h 7458372"/>
              <a:gd name="connsiteX12876" fmla="*/ 8308844 w 10505529"/>
              <a:gd name="connsiteY12876" fmla="*/ 5262219 h 7458372"/>
              <a:gd name="connsiteX12877" fmla="*/ 8311507 w 10505529"/>
              <a:gd name="connsiteY12877" fmla="*/ 5257959 h 7458372"/>
              <a:gd name="connsiteX12878" fmla="*/ 8312439 w 10505529"/>
              <a:gd name="connsiteY12878" fmla="*/ 5252501 h 7458372"/>
              <a:gd name="connsiteX12879" fmla="*/ 8311507 w 10505529"/>
              <a:gd name="connsiteY12879" fmla="*/ 5247309 h 7458372"/>
              <a:gd name="connsiteX12880" fmla="*/ 8308844 w 10505529"/>
              <a:gd name="connsiteY12880" fmla="*/ 5243183 h 7458372"/>
              <a:gd name="connsiteX12881" fmla="*/ 8304851 w 10505529"/>
              <a:gd name="connsiteY12881" fmla="*/ 5240521 h 7458372"/>
              <a:gd name="connsiteX12882" fmla="*/ 8299793 w 10505529"/>
              <a:gd name="connsiteY12882" fmla="*/ 5239589 h 7458372"/>
              <a:gd name="connsiteX12883" fmla="*/ 8082281 w 10505529"/>
              <a:gd name="connsiteY12883" fmla="*/ 5239589 h 7458372"/>
              <a:gd name="connsiteX12884" fmla="*/ 8072297 w 10505529"/>
              <a:gd name="connsiteY12884" fmla="*/ 5243183 h 7458372"/>
              <a:gd name="connsiteX12885" fmla="*/ 8068703 w 10505529"/>
              <a:gd name="connsiteY12885" fmla="*/ 5252634 h 7458372"/>
              <a:gd name="connsiteX12886" fmla="*/ 8072297 w 10505529"/>
              <a:gd name="connsiteY12886" fmla="*/ 5262085 h 7458372"/>
              <a:gd name="connsiteX12887" fmla="*/ 8082281 w 10505529"/>
              <a:gd name="connsiteY12887" fmla="*/ 5265548 h 7458372"/>
              <a:gd name="connsiteX12888" fmla="*/ 8087605 w 10505529"/>
              <a:gd name="connsiteY12888" fmla="*/ 5264616 h 7458372"/>
              <a:gd name="connsiteX12889" fmla="*/ 8091332 w 10505529"/>
              <a:gd name="connsiteY12889" fmla="*/ 5262219 h 7458372"/>
              <a:gd name="connsiteX12890" fmla="*/ 8093994 w 10505529"/>
              <a:gd name="connsiteY12890" fmla="*/ 5257959 h 7458372"/>
              <a:gd name="connsiteX12891" fmla="*/ 8094926 w 10505529"/>
              <a:gd name="connsiteY12891" fmla="*/ 5252501 h 7458372"/>
              <a:gd name="connsiteX12892" fmla="*/ 8093994 w 10505529"/>
              <a:gd name="connsiteY12892" fmla="*/ 5247309 h 7458372"/>
              <a:gd name="connsiteX12893" fmla="*/ 8091332 w 10505529"/>
              <a:gd name="connsiteY12893" fmla="*/ 5243183 h 7458372"/>
              <a:gd name="connsiteX12894" fmla="*/ 8087338 w 10505529"/>
              <a:gd name="connsiteY12894" fmla="*/ 5240521 h 7458372"/>
              <a:gd name="connsiteX12895" fmla="*/ 8082281 w 10505529"/>
              <a:gd name="connsiteY12895" fmla="*/ 5239589 h 7458372"/>
              <a:gd name="connsiteX12896" fmla="*/ 7864636 w 10505529"/>
              <a:gd name="connsiteY12896" fmla="*/ 5239589 h 7458372"/>
              <a:gd name="connsiteX12897" fmla="*/ 7854652 w 10505529"/>
              <a:gd name="connsiteY12897" fmla="*/ 5243183 h 7458372"/>
              <a:gd name="connsiteX12898" fmla="*/ 7851058 w 10505529"/>
              <a:gd name="connsiteY12898" fmla="*/ 5252634 h 7458372"/>
              <a:gd name="connsiteX12899" fmla="*/ 7854652 w 10505529"/>
              <a:gd name="connsiteY12899" fmla="*/ 5262085 h 7458372"/>
              <a:gd name="connsiteX12900" fmla="*/ 7864636 w 10505529"/>
              <a:gd name="connsiteY12900" fmla="*/ 5265548 h 7458372"/>
              <a:gd name="connsiteX12901" fmla="*/ 7869961 w 10505529"/>
              <a:gd name="connsiteY12901" fmla="*/ 5264616 h 7458372"/>
              <a:gd name="connsiteX12902" fmla="*/ 7873687 w 10505529"/>
              <a:gd name="connsiteY12902" fmla="*/ 5262219 h 7458372"/>
              <a:gd name="connsiteX12903" fmla="*/ 7876350 w 10505529"/>
              <a:gd name="connsiteY12903" fmla="*/ 5257959 h 7458372"/>
              <a:gd name="connsiteX12904" fmla="*/ 7877282 w 10505529"/>
              <a:gd name="connsiteY12904" fmla="*/ 5252501 h 7458372"/>
              <a:gd name="connsiteX12905" fmla="*/ 7876350 w 10505529"/>
              <a:gd name="connsiteY12905" fmla="*/ 5247309 h 7458372"/>
              <a:gd name="connsiteX12906" fmla="*/ 7873687 w 10505529"/>
              <a:gd name="connsiteY12906" fmla="*/ 5243183 h 7458372"/>
              <a:gd name="connsiteX12907" fmla="*/ 7869694 w 10505529"/>
              <a:gd name="connsiteY12907" fmla="*/ 5240521 h 7458372"/>
              <a:gd name="connsiteX12908" fmla="*/ 7864636 w 10505529"/>
              <a:gd name="connsiteY12908" fmla="*/ 5239589 h 7458372"/>
              <a:gd name="connsiteX12909" fmla="*/ 7646991 w 10505529"/>
              <a:gd name="connsiteY12909" fmla="*/ 5239589 h 7458372"/>
              <a:gd name="connsiteX12910" fmla="*/ 7637007 w 10505529"/>
              <a:gd name="connsiteY12910" fmla="*/ 5243183 h 7458372"/>
              <a:gd name="connsiteX12911" fmla="*/ 7633413 w 10505529"/>
              <a:gd name="connsiteY12911" fmla="*/ 5252634 h 7458372"/>
              <a:gd name="connsiteX12912" fmla="*/ 7637007 w 10505529"/>
              <a:gd name="connsiteY12912" fmla="*/ 5262085 h 7458372"/>
              <a:gd name="connsiteX12913" fmla="*/ 7646991 w 10505529"/>
              <a:gd name="connsiteY12913" fmla="*/ 5265548 h 7458372"/>
              <a:gd name="connsiteX12914" fmla="*/ 7652315 w 10505529"/>
              <a:gd name="connsiteY12914" fmla="*/ 5264616 h 7458372"/>
              <a:gd name="connsiteX12915" fmla="*/ 7656042 w 10505529"/>
              <a:gd name="connsiteY12915" fmla="*/ 5262219 h 7458372"/>
              <a:gd name="connsiteX12916" fmla="*/ 7658705 w 10505529"/>
              <a:gd name="connsiteY12916" fmla="*/ 5257959 h 7458372"/>
              <a:gd name="connsiteX12917" fmla="*/ 7659769 w 10505529"/>
              <a:gd name="connsiteY12917" fmla="*/ 5252501 h 7458372"/>
              <a:gd name="connsiteX12918" fmla="*/ 7658705 w 10505529"/>
              <a:gd name="connsiteY12918" fmla="*/ 5247309 h 7458372"/>
              <a:gd name="connsiteX12919" fmla="*/ 7656042 w 10505529"/>
              <a:gd name="connsiteY12919" fmla="*/ 5243183 h 7458372"/>
              <a:gd name="connsiteX12920" fmla="*/ 7652049 w 10505529"/>
              <a:gd name="connsiteY12920" fmla="*/ 5240521 h 7458372"/>
              <a:gd name="connsiteX12921" fmla="*/ 7646991 w 10505529"/>
              <a:gd name="connsiteY12921" fmla="*/ 5239589 h 7458372"/>
              <a:gd name="connsiteX12922" fmla="*/ 7429345 w 10505529"/>
              <a:gd name="connsiteY12922" fmla="*/ 5239589 h 7458372"/>
              <a:gd name="connsiteX12923" fmla="*/ 7419361 w 10505529"/>
              <a:gd name="connsiteY12923" fmla="*/ 5243183 h 7458372"/>
              <a:gd name="connsiteX12924" fmla="*/ 7415768 w 10505529"/>
              <a:gd name="connsiteY12924" fmla="*/ 5252634 h 7458372"/>
              <a:gd name="connsiteX12925" fmla="*/ 7419361 w 10505529"/>
              <a:gd name="connsiteY12925" fmla="*/ 5262085 h 7458372"/>
              <a:gd name="connsiteX12926" fmla="*/ 7429345 w 10505529"/>
              <a:gd name="connsiteY12926" fmla="*/ 5265548 h 7458372"/>
              <a:gd name="connsiteX12927" fmla="*/ 7434670 w 10505529"/>
              <a:gd name="connsiteY12927" fmla="*/ 5264616 h 7458372"/>
              <a:gd name="connsiteX12928" fmla="*/ 7438397 w 10505529"/>
              <a:gd name="connsiteY12928" fmla="*/ 5262219 h 7458372"/>
              <a:gd name="connsiteX12929" fmla="*/ 7441059 w 10505529"/>
              <a:gd name="connsiteY12929" fmla="*/ 5257959 h 7458372"/>
              <a:gd name="connsiteX12930" fmla="*/ 7442124 w 10505529"/>
              <a:gd name="connsiteY12930" fmla="*/ 5252501 h 7458372"/>
              <a:gd name="connsiteX12931" fmla="*/ 7441059 w 10505529"/>
              <a:gd name="connsiteY12931" fmla="*/ 5247309 h 7458372"/>
              <a:gd name="connsiteX12932" fmla="*/ 7438397 w 10505529"/>
              <a:gd name="connsiteY12932" fmla="*/ 5243183 h 7458372"/>
              <a:gd name="connsiteX12933" fmla="*/ 7434403 w 10505529"/>
              <a:gd name="connsiteY12933" fmla="*/ 5240521 h 7458372"/>
              <a:gd name="connsiteX12934" fmla="*/ 7429345 w 10505529"/>
              <a:gd name="connsiteY12934" fmla="*/ 5239589 h 7458372"/>
              <a:gd name="connsiteX12935" fmla="*/ 7211701 w 10505529"/>
              <a:gd name="connsiteY12935" fmla="*/ 5239589 h 7458372"/>
              <a:gd name="connsiteX12936" fmla="*/ 7201717 w 10505529"/>
              <a:gd name="connsiteY12936" fmla="*/ 5243183 h 7458372"/>
              <a:gd name="connsiteX12937" fmla="*/ 7198123 w 10505529"/>
              <a:gd name="connsiteY12937" fmla="*/ 5252634 h 7458372"/>
              <a:gd name="connsiteX12938" fmla="*/ 7201717 w 10505529"/>
              <a:gd name="connsiteY12938" fmla="*/ 5262085 h 7458372"/>
              <a:gd name="connsiteX12939" fmla="*/ 7211701 w 10505529"/>
              <a:gd name="connsiteY12939" fmla="*/ 5265548 h 7458372"/>
              <a:gd name="connsiteX12940" fmla="*/ 7217026 w 10505529"/>
              <a:gd name="connsiteY12940" fmla="*/ 5264616 h 7458372"/>
              <a:gd name="connsiteX12941" fmla="*/ 7220752 w 10505529"/>
              <a:gd name="connsiteY12941" fmla="*/ 5262219 h 7458372"/>
              <a:gd name="connsiteX12942" fmla="*/ 7223415 w 10505529"/>
              <a:gd name="connsiteY12942" fmla="*/ 5257959 h 7458372"/>
              <a:gd name="connsiteX12943" fmla="*/ 7224480 w 10505529"/>
              <a:gd name="connsiteY12943" fmla="*/ 5252501 h 7458372"/>
              <a:gd name="connsiteX12944" fmla="*/ 7223415 w 10505529"/>
              <a:gd name="connsiteY12944" fmla="*/ 5247309 h 7458372"/>
              <a:gd name="connsiteX12945" fmla="*/ 7220752 w 10505529"/>
              <a:gd name="connsiteY12945" fmla="*/ 5243183 h 7458372"/>
              <a:gd name="connsiteX12946" fmla="*/ 7216759 w 10505529"/>
              <a:gd name="connsiteY12946" fmla="*/ 5240521 h 7458372"/>
              <a:gd name="connsiteX12947" fmla="*/ 7211701 w 10505529"/>
              <a:gd name="connsiteY12947" fmla="*/ 5239589 h 7458372"/>
              <a:gd name="connsiteX12948" fmla="*/ 6994056 w 10505529"/>
              <a:gd name="connsiteY12948" fmla="*/ 5239589 h 7458372"/>
              <a:gd name="connsiteX12949" fmla="*/ 6984072 w 10505529"/>
              <a:gd name="connsiteY12949" fmla="*/ 5243183 h 7458372"/>
              <a:gd name="connsiteX12950" fmla="*/ 6980478 w 10505529"/>
              <a:gd name="connsiteY12950" fmla="*/ 5252634 h 7458372"/>
              <a:gd name="connsiteX12951" fmla="*/ 6984072 w 10505529"/>
              <a:gd name="connsiteY12951" fmla="*/ 5262085 h 7458372"/>
              <a:gd name="connsiteX12952" fmla="*/ 6994056 w 10505529"/>
              <a:gd name="connsiteY12952" fmla="*/ 5265548 h 7458372"/>
              <a:gd name="connsiteX12953" fmla="*/ 6999380 w 10505529"/>
              <a:gd name="connsiteY12953" fmla="*/ 5264616 h 7458372"/>
              <a:gd name="connsiteX12954" fmla="*/ 7003107 w 10505529"/>
              <a:gd name="connsiteY12954" fmla="*/ 5262219 h 7458372"/>
              <a:gd name="connsiteX12955" fmla="*/ 7005769 w 10505529"/>
              <a:gd name="connsiteY12955" fmla="*/ 5257959 h 7458372"/>
              <a:gd name="connsiteX12956" fmla="*/ 7006834 w 10505529"/>
              <a:gd name="connsiteY12956" fmla="*/ 5252501 h 7458372"/>
              <a:gd name="connsiteX12957" fmla="*/ 7005769 w 10505529"/>
              <a:gd name="connsiteY12957" fmla="*/ 5247309 h 7458372"/>
              <a:gd name="connsiteX12958" fmla="*/ 7003107 w 10505529"/>
              <a:gd name="connsiteY12958" fmla="*/ 5243183 h 7458372"/>
              <a:gd name="connsiteX12959" fmla="*/ 6999113 w 10505529"/>
              <a:gd name="connsiteY12959" fmla="*/ 5240521 h 7458372"/>
              <a:gd name="connsiteX12960" fmla="*/ 6994056 w 10505529"/>
              <a:gd name="connsiteY12960" fmla="*/ 5239589 h 7458372"/>
              <a:gd name="connsiteX12961" fmla="*/ 6776544 w 10505529"/>
              <a:gd name="connsiteY12961" fmla="*/ 5239589 h 7458372"/>
              <a:gd name="connsiteX12962" fmla="*/ 6766560 w 10505529"/>
              <a:gd name="connsiteY12962" fmla="*/ 5243183 h 7458372"/>
              <a:gd name="connsiteX12963" fmla="*/ 6762966 w 10505529"/>
              <a:gd name="connsiteY12963" fmla="*/ 5252634 h 7458372"/>
              <a:gd name="connsiteX12964" fmla="*/ 6766560 w 10505529"/>
              <a:gd name="connsiteY12964" fmla="*/ 5262085 h 7458372"/>
              <a:gd name="connsiteX12965" fmla="*/ 6776544 w 10505529"/>
              <a:gd name="connsiteY12965" fmla="*/ 5265548 h 7458372"/>
              <a:gd name="connsiteX12966" fmla="*/ 6781869 w 10505529"/>
              <a:gd name="connsiteY12966" fmla="*/ 5264616 h 7458372"/>
              <a:gd name="connsiteX12967" fmla="*/ 6785595 w 10505529"/>
              <a:gd name="connsiteY12967" fmla="*/ 5262219 h 7458372"/>
              <a:gd name="connsiteX12968" fmla="*/ 6788258 w 10505529"/>
              <a:gd name="connsiteY12968" fmla="*/ 5257959 h 7458372"/>
              <a:gd name="connsiteX12969" fmla="*/ 6789323 w 10505529"/>
              <a:gd name="connsiteY12969" fmla="*/ 5252501 h 7458372"/>
              <a:gd name="connsiteX12970" fmla="*/ 6788258 w 10505529"/>
              <a:gd name="connsiteY12970" fmla="*/ 5247309 h 7458372"/>
              <a:gd name="connsiteX12971" fmla="*/ 6785595 w 10505529"/>
              <a:gd name="connsiteY12971" fmla="*/ 5243183 h 7458372"/>
              <a:gd name="connsiteX12972" fmla="*/ 6781602 w 10505529"/>
              <a:gd name="connsiteY12972" fmla="*/ 5240521 h 7458372"/>
              <a:gd name="connsiteX12973" fmla="*/ 6776544 w 10505529"/>
              <a:gd name="connsiteY12973" fmla="*/ 5239589 h 7458372"/>
              <a:gd name="connsiteX12974" fmla="*/ 6558899 w 10505529"/>
              <a:gd name="connsiteY12974" fmla="*/ 5239589 h 7458372"/>
              <a:gd name="connsiteX12975" fmla="*/ 6548915 w 10505529"/>
              <a:gd name="connsiteY12975" fmla="*/ 5243183 h 7458372"/>
              <a:gd name="connsiteX12976" fmla="*/ 6545321 w 10505529"/>
              <a:gd name="connsiteY12976" fmla="*/ 5252634 h 7458372"/>
              <a:gd name="connsiteX12977" fmla="*/ 6548915 w 10505529"/>
              <a:gd name="connsiteY12977" fmla="*/ 5262085 h 7458372"/>
              <a:gd name="connsiteX12978" fmla="*/ 6558899 w 10505529"/>
              <a:gd name="connsiteY12978" fmla="*/ 5265548 h 7458372"/>
              <a:gd name="connsiteX12979" fmla="*/ 6564223 w 10505529"/>
              <a:gd name="connsiteY12979" fmla="*/ 5264616 h 7458372"/>
              <a:gd name="connsiteX12980" fmla="*/ 6567950 w 10505529"/>
              <a:gd name="connsiteY12980" fmla="*/ 5262219 h 7458372"/>
              <a:gd name="connsiteX12981" fmla="*/ 6570612 w 10505529"/>
              <a:gd name="connsiteY12981" fmla="*/ 5257959 h 7458372"/>
              <a:gd name="connsiteX12982" fmla="*/ 6571677 w 10505529"/>
              <a:gd name="connsiteY12982" fmla="*/ 5252501 h 7458372"/>
              <a:gd name="connsiteX12983" fmla="*/ 6570612 w 10505529"/>
              <a:gd name="connsiteY12983" fmla="*/ 5247309 h 7458372"/>
              <a:gd name="connsiteX12984" fmla="*/ 6567950 w 10505529"/>
              <a:gd name="connsiteY12984" fmla="*/ 5243183 h 7458372"/>
              <a:gd name="connsiteX12985" fmla="*/ 6563956 w 10505529"/>
              <a:gd name="connsiteY12985" fmla="*/ 5240521 h 7458372"/>
              <a:gd name="connsiteX12986" fmla="*/ 6558899 w 10505529"/>
              <a:gd name="connsiteY12986" fmla="*/ 5239589 h 7458372"/>
              <a:gd name="connsiteX12987" fmla="*/ 6341253 w 10505529"/>
              <a:gd name="connsiteY12987" fmla="*/ 5239589 h 7458372"/>
              <a:gd name="connsiteX12988" fmla="*/ 6331270 w 10505529"/>
              <a:gd name="connsiteY12988" fmla="*/ 5243183 h 7458372"/>
              <a:gd name="connsiteX12989" fmla="*/ 6327675 w 10505529"/>
              <a:gd name="connsiteY12989" fmla="*/ 5252634 h 7458372"/>
              <a:gd name="connsiteX12990" fmla="*/ 6331270 w 10505529"/>
              <a:gd name="connsiteY12990" fmla="*/ 5262085 h 7458372"/>
              <a:gd name="connsiteX12991" fmla="*/ 6341253 w 10505529"/>
              <a:gd name="connsiteY12991" fmla="*/ 5265548 h 7458372"/>
              <a:gd name="connsiteX12992" fmla="*/ 6346578 w 10505529"/>
              <a:gd name="connsiteY12992" fmla="*/ 5264616 h 7458372"/>
              <a:gd name="connsiteX12993" fmla="*/ 6350305 w 10505529"/>
              <a:gd name="connsiteY12993" fmla="*/ 5262219 h 7458372"/>
              <a:gd name="connsiteX12994" fmla="*/ 6352968 w 10505529"/>
              <a:gd name="connsiteY12994" fmla="*/ 5257959 h 7458372"/>
              <a:gd name="connsiteX12995" fmla="*/ 6354033 w 10505529"/>
              <a:gd name="connsiteY12995" fmla="*/ 5252501 h 7458372"/>
              <a:gd name="connsiteX12996" fmla="*/ 6352968 w 10505529"/>
              <a:gd name="connsiteY12996" fmla="*/ 5247309 h 7458372"/>
              <a:gd name="connsiteX12997" fmla="*/ 6350305 w 10505529"/>
              <a:gd name="connsiteY12997" fmla="*/ 5243183 h 7458372"/>
              <a:gd name="connsiteX12998" fmla="*/ 6346312 w 10505529"/>
              <a:gd name="connsiteY12998" fmla="*/ 5240521 h 7458372"/>
              <a:gd name="connsiteX12999" fmla="*/ 6341253 w 10505529"/>
              <a:gd name="connsiteY12999" fmla="*/ 5239589 h 7458372"/>
              <a:gd name="connsiteX13000" fmla="*/ 6123608 w 10505529"/>
              <a:gd name="connsiteY13000" fmla="*/ 5239589 h 7458372"/>
              <a:gd name="connsiteX13001" fmla="*/ 6113624 w 10505529"/>
              <a:gd name="connsiteY13001" fmla="*/ 5243183 h 7458372"/>
              <a:gd name="connsiteX13002" fmla="*/ 6110030 w 10505529"/>
              <a:gd name="connsiteY13002" fmla="*/ 5252634 h 7458372"/>
              <a:gd name="connsiteX13003" fmla="*/ 6113624 w 10505529"/>
              <a:gd name="connsiteY13003" fmla="*/ 5262085 h 7458372"/>
              <a:gd name="connsiteX13004" fmla="*/ 6123608 w 10505529"/>
              <a:gd name="connsiteY13004" fmla="*/ 5265548 h 7458372"/>
              <a:gd name="connsiteX13005" fmla="*/ 6128932 w 10505529"/>
              <a:gd name="connsiteY13005" fmla="*/ 5264616 h 7458372"/>
              <a:gd name="connsiteX13006" fmla="*/ 6132659 w 10505529"/>
              <a:gd name="connsiteY13006" fmla="*/ 5262219 h 7458372"/>
              <a:gd name="connsiteX13007" fmla="*/ 6135322 w 10505529"/>
              <a:gd name="connsiteY13007" fmla="*/ 5257959 h 7458372"/>
              <a:gd name="connsiteX13008" fmla="*/ 6136387 w 10505529"/>
              <a:gd name="connsiteY13008" fmla="*/ 5252501 h 7458372"/>
              <a:gd name="connsiteX13009" fmla="*/ 6135322 w 10505529"/>
              <a:gd name="connsiteY13009" fmla="*/ 5247309 h 7458372"/>
              <a:gd name="connsiteX13010" fmla="*/ 6132659 w 10505529"/>
              <a:gd name="connsiteY13010" fmla="*/ 5243183 h 7458372"/>
              <a:gd name="connsiteX13011" fmla="*/ 6128666 w 10505529"/>
              <a:gd name="connsiteY13011" fmla="*/ 5240521 h 7458372"/>
              <a:gd name="connsiteX13012" fmla="*/ 6123608 w 10505529"/>
              <a:gd name="connsiteY13012" fmla="*/ 5239589 h 7458372"/>
              <a:gd name="connsiteX13013" fmla="*/ 5905963 w 10505529"/>
              <a:gd name="connsiteY13013" fmla="*/ 5239589 h 7458372"/>
              <a:gd name="connsiteX13014" fmla="*/ 5895979 w 10505529"/>
              <a:gd name="connsiteY13014" fmla="*/ 5243183 h 7458372"/>
              <a:gd name="connsiteX13015" fmla="*/ 5892385 w 10505529"/>
              <a:gd name="connsiteY13015" fmla="*/ 5252634 h 7458372"/>
              <a:gd name="connsiteX13016" fmla="*/ 5895979 w 10505529"/>
              <a:gd name="connsiteY13016" fmla="*/ 5262085 h 7458372"/>
              <a:gd name="connsiteX13017" fmla="*/ 5905963 w 10505529"/>
              <a:gd name="connsiteY13017" fmla="*/ 5265548 h 7458372"/>
              <a:gd name="connsiteX13018" fmla="*/ 5911287 w 10505529"/>
              <a:gd name="connsiteY13018" fmla="*/ 5264616 h 7458372"/>
              <a:gd name="connsiteX13019" fmla="*/ 5915014 w 10505529"/>
              <a:gd name="connsiteY13019" fmla="*/ 5262219 h 7458372"/>
              <a:gd name="connsiteX13020" fmla="*/ 5917677 w 10505529"/>
              <a:gd name="connsiteY13020" fmla="*/ 5257959 h 7458372"/>
              <a:gd name="connsiteX13021" fmla="*/ 5918742 w 10505529"/>
              <a:gd name="connsiteY13021" fmla="*/ 5252501 h 7458372"/>
              <a:gd name="connsiteX13022" fmla="*/ 5917677 w 10505529"/>
              <a:gd name="connsiteY13022" fmla="*/ 5247309 h 7458372"/>
              <a:gd name="connsiteX13023" fmla="*/ 5915014 w 10505529"/>
              <a:gd name="connsiteY13023" fmla="*/ 5243183 h 7458372"/>
              <a:gd name="connsiteX13024" fmla="*/ 5911021 w 10505529"/>
              <a:gd name="connsiteY13024" fmla="*/ 5240521 h 7458372"/>
              <a:gd name="connsiteX13025" fmla="*/ 5905963 w 10505529"/>
              <a:gd name="connsiteY13025" fmla="*/ 5239589 h 7458372"/>
              <a:gd name="connsiteX13026" fmla="*/ 5688451 w 10505529"/>
              <a:gd name="connsiteY13026" fmla="*/ 5239589 h 7458372"/>
              <a:gd name="connsiteX13027" fmla="*/ 5678467 w 10505529"/>
              <a:gd name="connsiteY13027" fmla="*/ 5243183 h 7458372"/>
              <a:gd name="connsiteX13028" fmla="*/ 5674873 w 10505529"/>
              <a:gd name="connsiteY13028" fmla="*/ 5252634 h 7458372"/>
              <a:gd name="connsiteX13029" fmla="*/ 5678467 w 10505529"/>
              <a:gd name="connsiteY13029" fmla="*/ 5262085 h 7458372"/>
              <a:gd name="connsiteX13030" fmla="*/ 5688451 w 10505529"/>
              <a:gd name="connsiteY13030" fmla="*/ 5265548 h 7458372"/>
              <a:gd name="connsiteX13031" fmla="*/ 5693775 w 10505529"/>
              <a:gd name="connsiteY13031" fmla="*/ 5264616 h 7458372"/>
              <a:gd name="connsiteX13032" fmla="*/ 5697502 w 10505529"/>
              <a:gd name="connsiteY13032" fmla="*/ 5262219 h 7458372"/>
              <a:gd name="connsiteX13033" fmla="*/ 5700165 w 10505529"/>
              <a:gd name="connsiteY13033" fmla="*/ 5257959 h 7458372"/>
              <a:gd name="connsiteX13034" fmla="*/ 5701230 w 10505529"/>
              <a:gd name="connsiteY13034" fmla="*/ 5252501 h 7458372"/>
              <a:gd name="connsiteX13035" fmla="*/ 5700165 w 10505529"/>
              <a:gd name="connsiteY13035" fmla="*/ 5247309 h 7458372"/>
              <a:gd name="connsiteX13036" fmla="*/ 5697502 w 10505529"/>
              <a:gd name="connsiteY13036" fmla="*/ 5243183 h 7458372"/>
              <a:gd name="connsiteX13037" fmla="*/ 5693509 w 10505529"/>
              <a:gd name="connsiteY13037" fmla="*/ 5240521 h 7458372"/>
              <a:gd name="connsiteX13038" fmla="*/ 5688451 w 10505529"/>
              <a:gd name="connsiteY13038" fmla="*/ 5239589 h 7458372"/>
              <a:gd name="connsiteX13039" fmla="*/ 5470806 w 10505529"/>
              <a:gd name="connsiteY13039" fmla="*/ 5239589 h 7458372"/>
              <a:gd name="connsiteX13040" fmla="*/ 5460822 w 10505529"/>
              <a:gd name="connsiteY13040" fmla="*/ 5243183 h 7458372"/>
              <a:gd name="connsiteX13041" fmla="*/ 5457228 w 10505529"/>
              <a:gd name="connsiteY13041" fmla="*/ 5252634 h 7458372"/>
              <a:gd name="connsiteX13042" fmla="*/ 5460822 w 10505529"/>
              <a:gd name="connsiteY13042" fmla="*/ 5262085 h 7458372"/>
              <a:gd name="connsiteX13043" fmla="*/ 5470806 w 10505529"/>
              <a:gd name="connsiteY13043" fmla="*/ 5265548 h 7458372"/>
              <a:gd name="connsiteX13044" fmla="*/ 5476130 w 10505529"/>
              <a:gd name="connsiteY13044" fmla="*/ 5264616 h 7458372"/>
              <a:gd name="connsiteX13045" fmla="*/ 5479857 w 10505529"/>
              <a:gd name="connsiteY13045" fmla="*/ 5262219 h 7458372"/>
              <a:gd name="connsiteX13046" fmla="*/ 5482520 w 10505529"/>
              <a:gd name="connsiteY13046" fmla="*/ 5257959 h 7458372"/>
              <a:gd name="connsiteX13047" fmla="*/ 5483585 w 10505529"/>
              <a:gd name="connsiteY13047" fmla="*/ 5252501 h 7458372"/>
              <a:gd name="connsiteX13048" fmla="*/ 5482520 w 10505529"/>
              <a:gd name="connsiteY13048" fmla="*/ 5247309 h 7458372"/>
              <a:gd name="connsiteX13049" fmla="*/ 5479857 w 10505529"/>
              <a:gd name="connsiteY13049" fmla="*/ 5243183 h 7458372"/>
              <a:gd name="connsiteX13050" fmla="*/ 5475864 w 10505529"/>
              <a:gd name="connsiteY13050" fmla="*/ 5240521 h 7458372"/>
              <a:gd name="connsiteX13051" fmla="*/ 5470806 w 10505529"/>
              <a:gd name="connsiteY13051" fmla="*/ 5239589 h 7458372"/>
              <a:gd name="connsiteX13052" fmla="*/ 5253160 w 10505529"/>
              <a:gd name="connsiteY13052" fmla="*/ 5239589 h 7458372"/>
              <a:gd name="connsiteX13053" fmla="*/ 5243177 w 10505529"/>
              <a:gd name="connsiteY13053" fmla="*/ 5243183 h 7458372"/>
              <a:gd name="connsiteX13054" fmla="*/ 5239583 w 10505529"/>
              <a:gd name="connsiteY13054" fmla="*/ 5252634 h 7458372"/>
              <a:gd name="connsiteX13055" fmla="*/ 5243177 w 10505529"/>
              <a:gd name="connsiteY13055" fmla="*/ 5262085 h 7458372"/>
              <a:gd name="connsiteX13056" fmla="*/ 5253160 w 10505529"/>
              <a:gd name="connsiteY13056" fmla="*/ 5265548 h 7458372"/>
              <a:gd name="connsiteX13057" fmla="*/ 5258485 w 10505529"/>
              <a:gd name="connsiteY13057" fmla="*/ 5264616 h 7458372"/>
              <a:gd name="connsiteX13058" fmla="*/ 5262212 w 10505529"/>
              <a:gd name="connsiteY13058" fmla="*/ 5262219 h 7458372"/>
              <a:gd name="connsiteX13059" fmla="*/ 5264875 w 10505529"/>
              <a:gd name="connsiteY13059" fmla="*/ 5257959 h 7458372"/>
              <a:gd name="connsiteX13060" fmla="*/ 5265939 w 10505529"/>
              <a:gd name="connsiteY13060" fmla="*/ 5252501 h 7458372"/>
              <a:gd name="connsiteX13061" fmla="*/ 5264875 w 10505529"/>
              <a:gd name="connsiteY13061" fmla="*/ 5247309 h 7458372"/>
              <a:gd name="connsiteX13062" fmla="*/ 5262212 w 10505529"/>
              <a:gd name="connsiteY13062" fmla="*/ 5243183 h 7458372"/>
              <a:gd name="connsiteX13063" fmla="*/ 5258219 w 10505529"/>
              <a:gd name="connsiteY13063" fmla="*/ 5240521 h 7458372"/>
              <a:gd name="connsiteX13064" fmla="*/ 5253160 w 10505529"/>
              <a:gd name="connsiteY13064" fmla="*/ 5239589 h 7458372"/>
              <a:gd name="connsiteX13065" fmla="*/ 5035515 w 10505529"/>
              <a:gd name="connsiteY13065" fmla="*/ 5239589 h 7458372"/>
              <a:gd name="connsiteX13066" fmla="*/ 5025532 w 10505529"/>
              <a:gd name="connsiteY13066" fmla="*/ 5243183 h 7458372"/>
              <a:gd name="connsiteX13067" fmla="*/ 5021938 w 10505529"/>
              <a:gd name="connsiteY13067" fmla="*/ 5252634 h 7458372"/>
              <a:gd name="connsiteX13068" fmla="*/ 5025532 w 10505529"/>
              <a:gd name="connsiteY13068" fmla="*/ 5262085 h 7458372"/>
              <a:gd name="connsiteX13069" fmla="*/ 5035515 w 10505529"/>
              <a:gd name="connsiteY13069" fmla="*/ 5265548 h 7458372"/>
              <a:gd name="connsiteX13070" fmla="*/ 5040840 w 10505529"/>
              <a:gd name="connsiteY13070" fmla="*/ 5264616 h 7458372"/>
              <a:gd name="connsiteX13071" fmla="*/ 5044567 w 10505529"/>
              <a:gd name="connsiteY13071" fmla="*/ 5262219 h 7458372"/>
              <a:gd name="connsiteX13072" fmla="*/ 5047230 w 10505529"/>
              <a:gd name="connsiteY13072" fmla="*/ 5257959 h 7458372"/>
              <a:gd name="connsiteX13073" fmla="*/ 5048294 w 10505529"/>
              <a:gd name="connsiteY13073" fmla="*/ 5252501 h 7458372"/>
              <a:gd name="connsiteX13074" fmla="*/ 5047230 w 10505529"/>
              <a:gd name="connsiteY13074" fmla="*/ 5247309 h 7458372"/>
              <a:gd name="connsiteX13075" fmla="*/ 5044567 w 10505529"/>
              <a:gd name="connsiteY13075" fmla="*/ 5243183 h 7458372"/>
              <a:gd name="connsiteX13076" fmla="*/ 5040574 w 10505529"/>
              <a:gd name="connsiteY13076" fmla="*/ 5240521 h 7458372"/>
              <a:gd name="connsiteX13077" fmla="*/ 5035515 w 10505529"/>
              <a:gd name="connsiteY13077" fmla="*/ 5239589 h 7458372"/>
              <a:gd name="connsiteX13078" fmla="*/ 4817870 w 10505529"/>
              <a:gd name="connsiteY13078" fmla="*/ 5239589 h 7458372"/>
              <a:gd name="connsiteX13079" fmla="*/ 4807887 w 10505529"/>
              <a:gd name="connsiteY13079" fmla="*/ 5243183 h 7458372"/>
              <a:gd name="connsiteX13080" fmla="*/ 4804293 w 10505529"/>
              <a:gd name="connsiteY13080" fmla="*/ 5252634 h 7458372"/>
              <a:gd name="connsiteX13081" fmla="*/ 4807887 w 10505529"/>
              <a:gd name="connsiteY13081" fmla="*/ 5262085 h 7458372"/>
              <a:gd name="connsiteX13082" fmla="*/ 4817870 w 10505529"/>
              <a:gd name="connsiteY13082" fmla="*/ 5265548 h 7458372"/>
              <a:gd name="connsiteX13083" fmla="*/ 4823195 w 10505529"/>
              <a:gd name="connsiteY13083" fmla="*/ 5264616 h 7458372"/>
              <a:gd name="connsiteX13084" fmla="*/ 4826922 w 10505529"/>
              <a:gd name="connsiteY13084" fmla="*/ 5262219 h 7458372"/>
              <a:gd name="connsiteX13085" fmla="*/ 4829585 w 10505529"/>
              <a:gd name="connsiteY13085" fmla="*/ 5257959 h 7458372"/>
              <a:gd name="connsiteX13086" fmla="*/ 4830650 w 10505529"/>
              <a:gd name="connsiteY13086" fmla="*/ 5252501 h 7458372"/>
              <a:gd name="connsiteX13087" fmla="*/ 4829585 w 10505529"/>
              <a:gd name="connsiteY13087" fmla="*/ 5247309 h 7458372"/>
              <a:gd name="connsiteX13088" fmla="*/ 4826922 w 10505529"/>
              <a:gd name="connsiteY13088" fmla="*/ 5243183 h 7458372"/>
              <a:gd name="connsiteX13089" fmla="*/ 4822929 w 10505529"/>
              <a:gd name="connsiteY13089" fmla="*/ 5240521 h 7458372"/>
              <a:gd name="connsiteX13090" fmla="*/ 4817870 w 10505529"/>
              <a:gd name="connsiteY13090" fmla="*/ 5239589 h 7458372"/>
              <a:gd name="connsiteX13091" fmla="*/ 4600226 w 10505529"/>
              <a:gd name="connsiteY13091" fmla="*/ 5239589 h 7458372"/>
              <a:gd name="connsiteX13092" fmla="*/ 4590242 w 10505529"/>
              <a:gd name="connsiteY13092" fmla="*/ 5243183 h 7458372"/>
              <a:gd name="connsiteX13093" fmla="*/ 4586648 w 10505529"/>
              <a:gd name="connsiteY13093" fmla="*/ 5252634 h 7458372"/>
              <a:gd name="connsiteX13094" fmla="*/ 4590242 w 10505529"/>
              <a:gd name="connsiteY13094" fmla="*/ 5262085 h 7458372"/>
              <a:gd name="connsiteX13095" fmla="*/ 4600226 w 10505529"/>
              <a:gd name="connsiteY13095" fmla="*/ 5265548 h 7458372"/>
              <a:gd name="connsiteX13096" fmla="*/ 4605550 w 10505529"/>
              <a:gd name="connsiteY13096" fmla="*/ 5264616 h 7458372"/>
              <a:gd name="connsiteX13097" fmla="*/ 4609277 w 10505529"/>
              <a:gd name="connsiteY13097" fmla="*/ 5262219 h 7458372"/>
              <a:gd name="connsiteX13098" fmla="*/ 4611940 w 10505529"/>
              <a:gd name="connsiteY13098" fmla="*/ 5257959 h 7458372"/>
              <a:gd name="connsiteX13099" fmla="*/ 4613005 w 10505529"/>
              <a:gd name="connsiteY13099" fmla="*/ 5252501 h 7458372"/>
              <a:gd name="connsiteX13100" fmla="*/ 4611940 w 10505529"/>
              <a:gd name="connsiteY13100" fmla="*/ 5247309 h 7458372"/>
              <a:gd name="connsiteX13101" fmla="*/ 4609277 w 10505529"/>
              <a:gd name="connsiteY13101" fmla="*/ 5243183 h 7458372"/>
              <a:gd name="connsiteX13102" fmla="*/ 4605284 w 10505529"/>
              <a:gd name="connsiteY13102" fmla="*/ 5240521 h 7458372"/>
              <a:gd name="connsiteX13103" fmla="*/ 4600226 w 10505529"/>
              <a:gd name="connsiteY13103" fmla="*/ 5239589 h 7458372"/>
              <a:gd name="connsiteX13104" fmla="*/ 4382713 w 10505529"/>
              <a:gd name="connsiteY13104" fmla="*/ 5239589 h 7458372"/>
              <a:gd name="connsiteX13105" fmla="*/ 4372730 w 10505529"/>
              <a:gd name="connsiteY13105" fmla="*/ 5243183 h 7458372"/>
              <a:gd name="connsiteX13106" fmla="*/ 4369136 w 10505529"/>
              <a:gd name="connsiteY13106" fmla="*/ 5252634 h 7458372"/>
              <a:gd name="connsiteX13107" fmla="*/ 4372730 w 10505529"/>
              <a:gd name="connsiteY13107" fmla="*/ 5262085 h 7458372"/>
              <a:gd name="connsiteX13108" fmla="*/ 4382713 w 10505529"/>
              <a:gd name="connsiteY13108" fmla="*/ 5265548 h 7458372"/>
              <a:gd name="connsiteX13109" fmla="*/ 4388038 w 10505529"/>
              <a:gd name="connsiteY13109" fmla="*/ 5264616 h 7458372"/>
              <a:gd name="connsiteX13110" fmla="*/ 4391765 w 10505529"/>
              <a:gd name="connsiteY13110" fmla="*/ 5262219 h 7458372"/>
              <a:gd name="connsiteX13111" fmla="*/ 4394428 w 10505529"/>
              <a:gd name="connsiteY13111" fmla="*/ 5257959 h 7458372"/>
              <a:gd name="connsiteX13112" fmla="*/ 4395493 w 10505529"/>
              <a:gd name="connsiteY13112" fmla="*/ 5252501 h 7458372"/>
              <a:gd name="connsiteX13113" fmla="*/ 4394428 w 10505529"/>
              <a:gd name="connsiteY13113" fmla="*/ 5247309 h 7458372"/>
              <a:gd name="connsiteX13114" fmla="*/ 4391765 w 10505529"/>
              <a:gd name="connsiteY13114" fmla="*/ 5243183 h 7458372"/>
              <a:gd name="connsiteX13115" fmla="*/ 4387772 w 10505529"/>
              <a:gd name="connsiteY13115" fmla="*/ 5240521 h 7458372"/>
              <a:gd name="connsiteX13116" fmla="*/ 4382713 w 10505529"/>
              <a:gd name="connsiteY13116" fmla="*/ 5239589 h 7458372"/>
              <a:gd name="connsiteX13117" fmla="*/ 4165068 w 10505529"/>
              <a:gd name="connsiteY13117" fmla="*/ 5239589 h 7458372"/>
              <a:gd name="connsiteX13118" fmla="*/ 4155084 w 10505529"/>
              <a:gd name="connsiteY13118" fmla="*/ 5243183 h 7458372"/>
              <a:gd name="connsiteX13119" fmla="*/ 4151490 w 10505529"/>
              <a:gd name="connsiteY13119" fmla="*/ 5252634 h 7458372"/>
              <a:gd name="connsiteX13120" fmla="*/ 4155084 w 10505529"/>
              <a:gd name="connsiteY13120" fmla="*/ 5262085 h 7458372"/>
              <a:gd name="connsiteX13121" fmla="*/ 4165068 w 10505529"/>
              <a:gd name="connsiteY13121" fmla="*/ 5265548 h 7458372"/>
              <a:gd name="connsiteX13122" fmla="*/ 4170392 w 10505529"/>
              <a:gd name="connsiteY13122" fmla="*/ 5264616 h 7458372"/>
              <a:gd name="connsiteX13123" fmla="*/ 4174119 w 10505529"/>
              <a:gd name="connsiteY13123" fmla="*/ 5262219 h 7458372"/>
              <a:gd name="connsiteX13124" fmla="*/ 4176782 w 10505529"/>
              <a:gd name="connsiteY13124" fmla="*/ 5257959 h 7458372"/>
              <a:gd name="connsiteX13125" fmla="*/ 4177847 w 10505529"/>
              <a:gd name="connsiteY13125" fmla="*/ 5252501 h 7458372"/>
              <a:gd name="connsiteX13126" fmla="*/ 4176782 w 10505529"/>
              <a:gd name="connsiteY13126" fmla="*/ 5247309 h 7458372"/>
              <a:gd name="connsiteX13127" fmla="*/ 4174119 w 10505529"/>
              <a:gd name="connsiteY13127" fmla="*/ 5243183 h 7458372"/>
              <a:gd name="connsiteX13128" fmla="*/ 4170126 w 10505529"/>
              <a:gd name="connsiteY13128" fmla="*/ 5240521 h 7458372"/>
              <a:gd name="connsiteX13129" fmla="*/ 4165068 w 10505529"/>
              <a:gd name="connsiteY13129" fmla="*/ 5239589 h 7458372"/>
              <a:gd name="connsiteX13130" fmla="*/ 3947709 w 10505529"/>
              <a:gd name="connsiteY13130" fmla="*/ 5239589 h 7458372"/>
              <a:gd name="connsiteX13131" fmla="*/ 3937726 w 10505529"/>
              <a:gd name="connsiteY13131" fmla="*/ 5243183 h 7458372"/>
              <a:gd name="connsiteX13132" fmla="*/ 3934131 w 10505529"/>
              <a:gd name="connsiteY13132" fmla="*/ 5252634 h 7458372"/>
              <a:gd name="connsiteX13133" fmla="*/ 3937726 w 10505529"/>
              <a:gd name="connsiteY13133" fmla="*/ 5262085 h 7458372"/>
              <a:gd name="connsiteX13134" fmla="*/ 3947709 w 10505529"/>
              <a:gd name="connsiteY13134" fmla="*/ 5265548 h 7458372"/>
              <a:gd name="connsiteX13135" fmla="*/ 3953037 w 10505529"/>
              <a:gd name="connsiteY13135" fmla="*/ 5264616 h 7458372"/>
              <a:gd name="connsiteX13136" fmla="*/ 3956764 w 10505529"/>
              <a:gd name="connsiteY13136" fmla="*/ 5262219 h 7458372"/>
              <a:gd name="connsiteX13137" fmla="*/ 3959427 w 10505529"/>
              <a:gd name="connsiteY13137" fmla="*/ 5257959 h 7458372"/>
              <a:gd name="connsiteX13138" fmla="*/ 3960492 w 10505529"/>
              <a:gd name="connsiteY13138" fmla="*/ 5252501 h 7458372"/>
              <a:gd name="connsiteX13139" fmla="*/ 3959427 w 10505529"/>
              <a:gd name="connsiteY13139" fmla="*/ 5247309 h 7458372"/>
              <a:gd name="connsiteX13140" fmla="*/ 3956764 w 10505529"/>
              <a:gd name="connsiteY13140" fmla="*/ 5243183 h 7458372"/>
              <a:gd name="connsiteX13141" fmla="*/ 3952770 w 10505529"/>
              <a:gd name="connsiteY13141" fmla="*/ 5240521 h 7458372"/>
              <a:gd name="connsiteX13142" fmla="*/ 3947709 w 10505529"/>
              <a:gd name="connsiteY13142" fmla="*/ 5239589 h 7458372"/>
              <a:gd name="connsiteX13143" fmla="*/ 3730051 w 10505529"/>
              <a:gd name="connsiteY13143" fmla="*/ 5239589 h 7458372"/>
              <a:gd name="connsiteX13144" fmla="*/ 3720065 w 10505529"/>
              <a:gd name="connsiteY13144" fmla="*/ 5243183 h 7458372"/>
              <a:gd name="connsiteX13145" fmla="*/ 3716472 w 10505529"/>
              <a:gd name="connsiteY13145" fmla="*/ 5252634 h 7458372"/>
              <a:gd name="connsiteX13146" fmla="*/ 3720065 w 10505529"/>
              <a:gd name="connsiteY13146" fmla="*/ 5262085 h 7458372"/>
              <a:gd name="connsiteX13147" fmla="*/ 3730051 w 10505529"/>
              <a:gd name="connsiteY13147" fmla="*/ 5265548 h 7458372"/>
              <a:gd name="connsiteX13148" fmla="*/ 3735376 w 10505529"/>
              <a:gd name="connsiteY13148" fmla="*/ 5264616 h 7458372"/>
              <a:gd name="connsiteX13149" fmla="*/ 3739104 w 10505529"/>
              <a:gd name="connsiteY13149" fmla="*/ 5262219 h 7458372"/>
              <a:gd name="connsiteX13150" fmla="*/ 3741767 w 10505529"/>
              <a:gd name="connsiteY13150" fmla="*/ 5257959 h 7458372"/>
              <a:gd name="connsiteX13151" fmla="*/ 3742831 w 10505529"/>
              <a:gd name="connsiteY13151" fmla="*/ 5252501 h 7458372"/>
              <a:gd name="connsiteX13152" fmla="*/ 3741767 w 10505529"/>
              <a:gd name="connsiteY13152" fmla="*/ 5247309 h 7458372"/>
              <a:gd name="connsiteX13153" fmla="*/ 3739104 w 10505529"/>
              <a:gd name="connsiteY13153" fmla="*/ 5243183 h 7458372"/>
              <a:gd name="connsiteX13154" fmla="*/ 3735111 w 10505529"/>
              <a:gd name="connsiteY13154" fmla="*/ 5240521 h 7458372"/>
              <a:gd name="connsiteX13155" fmla="*/ 3730051 w 10505529"/>
              <a:gd name="connsiteY13155" fmla="*/ 5239589 h 7458372"/>
              <a:gd name="connsiteX13156" fmla="*/ 3512391 w 10505529"/>
              <a:gd name="connsiteY13156" fmla="*/ 5239589 h 7458372"/>
              <a:gd name="connsiteX13157" fmla="*/ 3502403 w 10505529"/>
              <a:gd name="connsiteY13157" fmla="*/ 5243183 h 7458372"/>
              <a:gd name="connsiteX13158" fmla="*/ 3498809 w 10505529"/>
              <a:gd name="connsiteY13158" fmla="*/ 5252634 h 7458372"/>
              <a:gd name="connsiteX13159" fmla="*/ 3502403 w 10505529"/>
              <a:gd name="connsiteY13159" fmla="*/ 5262085 h 7458372"/>
              <a:gd name="connsiteX13160" fmla="*/ 3512391 w 10505529"/>
              <a:gd name="connsiteY13160" fmla="*/ 5265548 h 7458372"/>
              <a:gd name="connsiteX13161" fmla="*/ 3517716 w 10505529"/>
              <a:gd name="connsiteY13161" fmla="*/ 5264616 h 7458372"/>
              <a:gd name="connsiteX13162" fmla="*/ 3521444 w 10505529"/>
              <a:gd name="connsiteY13162" fmla="*/ 5262219 h 7458372"/>
              <a:gd name="connsiteX13163" fmla="*/ 3524107 w 10505529"/>
              <a:gd name="connsiteY13163" fmla="*/ 5257959 h 7458372"/>
              <a:gd name="connsiteX13164" fmla="*/ 3525172 w 10505529"/>
              <a:gd name="connsiteY13164" fmla="*/ 5252501 h 7458372"/>
              <a:gd name="connsiteX13165" fmla="*/ 3524107 w 10505529"/>
              <a:gd name="connsiteY13165" fmla="*/ 5247309 h 7458372"/>
              <a:gd name="connsiteX13166" fmla="*/ 3521444 w 10505529"/>
              <a:gd name="connsiteY13166" fmla="*/ 5243183 h 7458372"/>
              <a:gd name="connsiteX13167" fmla="*/ 3517451 w 10505529"/>
              <a:gd name="connsiteY13167" fmla="*/ 5240521 h 7458372"/>
              <a:gd name="connsiteX13168" fmla="*/ 3512391 w 10505529"/>
              <a:gd name="connsiteY13168" fmla="*/ 5239589 h 7458372"/>
              <a:gd name="connsiteX13169" fmla="*/ 3294865 w 10505529"/>
              <a:gd name="connsiteY13169" fmla="*/ 5239589 h 7458372"/>
              <a:gd name="connsiteX13170" fmla="*/ 3284878 w 10505529"/>
              <a:gd name="connsiteY13170" fmla="*/ 5243183 h 7458372"/>
              <a:gd name="connsiteX13171" fmla="*/ 3281284 w 10505529"/>
              <a:gd name="connsiteY13171" fmla="*/ 5252634 h 7458372"/>
              <a:gd name="connsiteX13172" fmla="*/ 3284878 w 10505529"/>
              <a:gd name="connsiteY13172" fmla="*/ 5262085 h 7458372"/>
              <a:gd name="connsiteX13173" fmla="*/ 3294865 w 10505529"/>
              <a:gd name="connsiteY13173" fmla="*/ 5265548 h 7458372"/>
              <a:gd name="connsiteX13174" fmla="*/ 3300190 w 10505529"/>
              <a:gd name="connsiteY13174" fmla="*/ 5264616 h 7458372"/>
              <a:gd name="connsiteX13175" fmla="*/ 3303917 w 10505529"/>
              <a:gd name="connsiteY13175" fmla="*/ 5262219 h 7458372"/>
              <a:gd name="connsiteX13176" fmla="*/ 3306580 w 10505529"/>
              <a:gd name="connsiteY13176" fmla="*/ 5257959 h 7458372"/>
              <a:gd name="connsiteX13177" fmla="*/ 3307644 w 10505529"/>
              <a:gd name="connsiteY13177" fmla="*/ 5252501 h 7458372"/>
              <a:gd name="connsiteX13178" fmla="*/ 3306580 w 10505529"/>
              <a:gd name="connsiteY13178" fmla="*/ 5247309 h 7458372"/>
              <a:gd name="connsiteX13179" fmla="*/ 3303917 w 10505529"/>
              <a:gd name="connsiteY13179" fmla="*/ 5243183 h 7458372"/>
              <a:gd name="connsiteX13180" fmla="*/ 3299924 w 10505529"/>
              <a:gd name="connsiteY13180" fmla="*/ 5240521 h 7458372"/>
              <a:gd name="connsiteX13181" fmla="*/ 3294865 w 10505529"/>
              <a:gd name="connsiteY13181" fmla="*/ 5239589 h 7458372"/>
              <a:gd name="connsiteX13182" fmla="*/ 3077338 w 10505529"/>
              <a:gd name="connsiteY13182" fmla="*/ 5239589 h 7458372"/>
              <a:gd name="connsiteX13183" fmla="*/ 3067354 w 10505529"/>
              <a:gd name="connsiteY13183" fmla="*/ 5243183 h 7458372"/>
              <a:gd name="connsiteX13184" fmla="*/ 3063623 w 10505529"/>
              <a:gd name="connsiteY13184" fmla="*/ 5252634 h 7458372"/>
              <a:gd name="connsiteX13185" fmla="*/ 3067220 w 10505529"/>
              <a:gd name="connsiteY13185" fmla="*/ 5262085 h 7458372"/>
              <a:gd name="connsiteX13186" fmla="*/ 3077204 w 10505529"/>
              <a:gd name="connsiteY13186" fmla="*/ 5265548 h 7458372"/>
              <a:gd name="connsiteX13187" fmla="*/ 3082663 w 10505529"/>
              <a:gd name="connsiteY13187" fmla="*/ 5264616 h 7458372"/>
              <a:gd name="connsiteX13188" fmla="*/ 3086390 w 10505529"/>
              <a:gd name="connsiteY13188" fmla="*/ 5262219 h 7458372"/>
              <a:gd name="connsiteX13189" fmla="*/ 3089053 w 10505529"/>
              <a:gd name="connsiteY13189" fmla="*/ 5257959 h 7458372"/>
              <a:gd name="connsiteX13190" fmla="*/ 3089985 w 10505529"/>
              <a:gd name="connsiteY13190" fmla="*/ 5252501 h 7458372"/>
              <a:gd name="connsiteX13191" fmla="*/ 3089053 w 10505529"/>
              <a:gd name="connsiteY13191" fmla="*/ 5247309 h 7458372"/>
              <a:gd name="connsiteX13192" fmla="*/ 3086390 w 10505529"/>
              <a:gd name="connsiteY13192" fmla="*/ 5243183 h 7458372"/>
              <a:gd name="connsiteX13193" fmla="*/ 3082397 w 10505529"/>
              <a:gd name="connsiteY13193" fmla="*/ 5240521 h 7458372"/>
              <a:gd name="connsiteX13194" fmla="*/ 3077338 w 10505529"/>
              <a:gd name="connsiteY13194" fmla="*/ 5239589 h 7458372"/>
              <a:gd name="connsiteX13195" fmla="*/ 2859544 w 10505529"/>
              <a:gd name="connsiteY13195" fmla="*/ 5239589 h 7458372"/>
              <a:gd name="connsiteX13196" fmla="*/ 2849558 w 10505529"/>
              <a:gd name="connsiteY13196" fmla="*/ 5243183 h 7458372"/>
              <a:gd name="connsiteX13197" fmla="*/ 2845960 w 10505529"/>
              <a:gd name="connsiteY13197" fmla="*/ 5252634 h 7458372"/>
              <a:gd name="connsiteX13198" fmla="*/ 2849558 w 10505529"/>
              <a:gd name="connsiteY13198" fmla="*/ 5262085 h 7458372"/>
              <a:gd name="connsiteX13199" fmla="*/ 2859544 w 10505529"/>
              <a:gd name="connsiteY13199" fmla="*/ 5265548 h 7458372"/>
              <a:gd name="connsiteX13200" fmla="*/ 2864869 w 10505529"/>
              <a:gd name="connsiteY13200" fmla="*/ 5264616 h 7458372"/>
              <a:gd name="connsiteX13201" fmla="*/ 2868596 w 10505529"/>
              <a:gd name="connsiteY13201" fmla="*/ 5262219 h 7458372"/>
              <a:gd name="connsiteX13202" fmla="*/ 2871259 w 10505529"/>
              <a:gd name="connsiteY13202" fmla="*/ 5257959 h 7458372"/>
              <a:gd name="connsiteX13203" fmla="*/ 2872191 w 10505529"/>
              <a:gd name="connsiteY13203" fmla="*/ 5252501 h 7458372"/>
              <a:gd name="connsiteX13204" fmla="*/ 2871259 w 10505529"/>
              <a:gd name="connsiteY13204" fmla="*/ 5247309 h 7458372"/>
              <a:gd name="connsiteX13205" fmla="*/ 2868596 w 10505529"/>
              <a:gd name="connsiteY13205" fmla="*/ 5243183 h 7458372"/>
              <a:gd name="connsiteX13206" fmla="*/ 2864604 w 10505529"/>
              <a:gd name="connsiteY13206" fmla="*/ 5240521 h 7458372"/>
              <a:gd name="connsiteX13207" fmla="*/ 2859544 w 10505529"/>
              <a:gd name="connsiteY13207" fmla="*/ 5239589 h 7458372"/>
              <a:gd name="connsiteX13208" fmla="*/ 2641884 w 10505529"/>
              <a:gd name="connsiteY13208" fmla="*/ 5239589 h 7458372"/>
              <a:gd name="connsiteX13209" fmla="*/ 2631901 w 10505529"/>
              <a:gd name="connsiteY13209" fmla="*/ 5243183 h 7458372"/>
              <a:gd name="connsiteX13210" fmla="*/ 2628306 w 10505529"/>
              <a:gd name="connsiteY13210" fmla="*/ 5252634 h 7458372"/>
              <a:gd name="connsiteX13211" fmla="*/ 2631901 w 10505529"/>
              <a:gd name="connsiteY13211" fmla="*/ 5262085 h 7458372"/>
              <a:gd name="connsiteX13212" fmla="*/ 2641884 w 10505529"/>
              <a:gd name="connsiteY13212" fmla="*/ 5265548 h 7458372"/>
              <a:gd name="connsiteX13213" fmla="*/ 2647210 w 10505529"/>
              <a:gd name="connsiteY13213" fmla="*/ 5264616 h 7458372"/>
              <a:gd name="connsiteX13214" fmla="*/ 2650937 w 10505529"/>
              <a:gd name="connsiteY13214" fmla="*/ 5262219 h 7458372"/>
              <a:gd name="connsiteX13215" fmla="*/ 2653600 w 10505529"/>
              <a:gd name="connsiteY13215" fmla="*/ 5257959 h 7458372"/>
              <a:gd name="connsiteX13216" fmla="*/ 2654530 w 10505529"/>
              <a:gd name="connsiteY13216" fmla="*/ 5252501 h 7458372"/>
              <a:gd name="connsiteX13217" fmla="*/ 2653600 w 10505529"/>
              <a:gd name="connsiteY13217" fmla="*/ 5247309 h 7458372"/>
              <a:gd name="connsiteX13218" fmla="*/ 2650937 w 10505529"/>
              <a:gd name="connsiteY13218" fmla="*/ 5243183 h 7458372"/>
              <a:gd name="connsiteX13219" fmla="*/ 2646944 w 10505529"/>
              <a:gd name="connsiteY13219" fmla="*/ 5240521 h 7458372"/>
              <a:gd name="connsiteX13220" fmla="*/ 2641884 w 10505529"/>
              <a:gd name="connsiteY13220" fmla="*/ 5239589 h 7458372"/>
              <a:gd name="connsiteX13221" fmla="*/ 2424224 w 10505529"/>
              <a:gd name="connsiteY13221" fmla="*/ 5239589 h 7458372"/>
              <a:gd name="connsiteX13222" fmla="*/ 2414241 w 10505529"/>
              <a:gd name="connsiteY13222" fmla="*/ 5243183 h 7458372"/>
              <a:gd name="connsiteX13223" fmla="*/ 2410647 w 10505529"/>
              <a:gd name="connsiteY13223" fmla="*/ 5252634 h 7458372"/>
              <a:gd name="connsiteX13224" fmla="*/ 2414241 w 10505529"/>
              <a:gd name="connsiteY13224" fmla="*/ 5262085 h 7458372"/>
              <a:gd name="connsiteX13225" fmla="*/ 2424224 w 10505529"/>
              <a:gd name="connsiteY13225" fmla="*/ 5265548 h 7458372"/>
              <a:gd name="connsiteX13226" fmla="*/ 2429549 w 10505529"/>
              <a:gd name="connsiteY13226" fmla="*/ 5264616 h 7458372"/>
              <a:gd name="connsiteX13227" fmla="*/ 2433276 w 10505529"/>
              <a:gd name="connsiteY13227" fmla="*/ 5262219 h 7458372"/>
              <a:gd name="connsiteX13228" fmla="*/ 2435939 w 10505529"/>
              <a:gd name="connsiteY13228" fmla="*/ 5257959 h 7458372"/>
              <a:gd name="connsiteX13229" fmla="*/ 2436870 w 10505529"/>
              <a:gd name="connsiteY13229" fmla="*/ 5252501 h 7458372"/>
              <a:gd name="connsiteX13230" fmla="*/ 2435939 w 10505529"/>
              <a:gd name="connsiteY13230" fmla="*/ 5247309 h 7458372"/>
              <a:gd name="connsiteX13231" fmla="*/ 2433276 w 10505529"/>
              <a:gd name="connsiteY13231" fmla="*/ 5243183 h 7458372"/>
              <a:gd name="connsiteX13232" fmla="*/ 2429283 w 10505529"/>
              <a:gd name="connsiteY13232" fmla="*/ 5240521 h 7458372"/>
              <a:gd name="connsiteX13233" fmla="*/ 2424224 w 10505529"/>
              <a:gd name="connsiteY13233" fmla="*/ 5239589 h 7458372"/>
              <a:gd name="connsiteX13234" fmla="*/ 2206564 w 10505529"/>
              <a:gd name="connsiteY13234" fmla="*/ 5239589 h 7458372"/>
              <a:gd name="connsiteX13235" fmla="*/ 2196580 w 10505529"/>
              <a:gd name="connsiteY13235" fmla="*/ 5243183 h 7458372"/>
              <a:gd name="connsiteX13236" fmla="*/ 2192986 w 10505529"/>
              <a:gd name="connsiteY13236" fmla="*/ 5252634 h 7458372"/>
              <a:gd name="connsiteX13237" fmla="*/ 2196580 w 10505529"/>
              <a:gd name="connsiteY13237" fmla="*/ 5262085 h 7458372"/>
              <a:gd name="connsiteX13238" fmla="*/ 2206564 w 10505529"/>
              <a:gd name="connsiteY13238" fmla="*/ 5265548 h 7458372"/>
              <a:gd name="connsiteX13239" fmla="*/ 2211889 w 10505529"/>
              <a:gd name="connsiteY13239" fmla="*/ 5264616 h 7458372"/>
              <a:gd name="connsiteX13240" fmla="*/ 2215616 w 10505529"/>
              <a:gd name="connsiteY13240" fmla="*/ 5262219 h 7458372"/>
              <a:gd name="connsiteX13241" fmla="*/ 2218279 w 10505529"/>
              <a:gd name="connsiteY13241" fmla="*/ 5257959 h 7458372"/>
              <a:gd name="connsiteX13242" fmla="*/ 2219210 w 10505529"/>
              <a:gd name="connsiteY13242" fmla="*/ 5252501 h 7458372"/>
              <a:gd name="connsiteX13243" fmla="*/ 2218279 w 10505529"/>
              <a:gd name="connsiteY13243" fmla="*/ 5247309 h 7458372"/>
              <a:gd name="connsiteX13244" fmla="*/ 2215616 w 10505529"/>
              <a:gd name="connsiteY13244" fmla="*/ 5243183 h 7458372"/>
              <a:gd name="connsiteX13245" fmla="*/ 2211623 w 10505529"/>
              <a:gd name="connsiteY13245" fmla="*/ 5240521 h 7458372"/>
              <a:gd name="connsiteX13246" fmla="*/ 2206564 w 10505529"/>
              <a:gd name="connsiteY13246" fmla="*/ 5239589 h 7458372"/>
              <a:gd name="connsiteX13247" fmla="*/ 1989037 w 10505529"/>
              <a:gd name="connsiteY13247" fmla="*/ 5239589 h 7458372"/>
              <a:gd name="connsiteX13248" fmla="*/ 1979054 w 10505529"/>
              <a:gd name="connsiteY13248" fmla="*/ 5243183 h 7458372"/>
              <a:gd name="connsiteX13249" fmla="*/ 1975459 w 10505529"/>
              <a:gd name="connsiteY13249" fmla="*/ 5252634 h 7458372"/>
              <a:gd name="connsiteX13250" fmla="*/ 1979054 w 10505529"/>
              <a:gd name="connsiteY13250" fmla="*/ 5262085 h 7458372"/>
              <a:gd name="connsiteX13251" fmla="*/ 1989037 w 10505529"/>
              <a:gd name="connsiteY13251" fmla="*/ 5265548 h 7458372"/>
              <a:gd name="connsiteX13252" fmla="*/ 1994362 w 10505529"/>
              <a:gd name="connsiteY13252" fmla="*/ 5264616 h 7458372"/>
              <a:gd name="connsiteX13253" fmla="*/ 1998089 w 10505529"/>
              <a:gd name="connsiteY13253" fmla="*/ 5262219 h 7458372"/>
              <a:gd name="connsiteX13254" fmla="*/ 2000752 w 10505529"/>
              <a:gd name="connsiteY13254" fmla="*/ 5257959 h 7458372"/>
              <a:gd name="connsiteX13255" fmla="*/ 2001682 w 10505529"/>
              <a:gd name="connsiteY13255" fmla="*/ 5252501 h 7458372"/>
              <a:gd name="connsiteX13256" fmla="*/ 2000752 w 10505529"/>
              <a:gd name="connsiteY13256" fmla="*/ 5247309 h 7458372"/>
              <a:gd name="connsiteX13257" fmla="*/ 1998089 w 10505529"/>
              <a:gd name="connsiteY13257" fmla="*/ 5243183 h 7458372"/>
              <a:gd name="connsiteX13258" fmla="*/ 1994095 w 10505529"/>
              <a:gd name="connsiteY13258" fmla="*/ 5240521 h 7458372"/>
              <a:gd name="connsiteX13259" fmla="*/ 1989037 w 10505529"/>
              <a:gd name="connsiteY13259" fmla="*/ 5239589 h 7458372"/>
              <a:gd name="connsiteX13260" fmla="*/ 1771402 w 10505529"/>
              <a:gd name="connsiteY13260" fmla="*/ 5239589 h 7458372"/>
              <a:gd name="connsiteX13261" fmla="*/ 1761420 w 10505529"/>
              <a:gd name="connsiteY13261" fmla="*/ 5243183 h 7458372"/>
              <a:gd name="connsiteX13262" fmla="*/ 1757826 w 10505529"/>
              <a:gd name="connsiteY13262" fmla="*/ 5252634 h 7458372"/>
              <a:gd name="connsiteX13263" fmla="*/ 1761420 w 10505529"/>
              <a:gd name="connsiteY13263" fmla="*/ 5262085 h 7458372"/>
              <a:gd name="connsiteX13264" fmla="*/ 1771402 w 10505529"/>
              <a:gd name="connsiteY13264" fmla="*/ 5265548 h 7458372"/>
              <a:gd name="connsiteX13265" fmla="*/ 1776727 w 10505529"/>
              <a:gd name="connsiteY13265" fmla="*/ 5264616 h 7458372"/>
              <a:gd name="connsiteX13266" fmla="*/ 1780453 w 10505529"/>
              <a:gd name="connsiteY13266" fmla="*/ 5262219 h 7458372"/>
              <a:gd name="connsiteX13267" fmla="*/ 1783116 w 10505529"/>
              <a:gd name="connsiteY13267" fmla="*/ 5257959 h 7458372"/>
              <a:gd name="connsiteX13268" fmla="*/ 1784181 w 10505529"/>
              <a:gd name="connsiteY13268" fmla="*/ 5252501 h 7458372"/>
              <a:gd name="connsiteX13269" fmla="*/ 1783116 w 10505529"/>
              <a:gd name="connsiteY13269" fmla="*/ 5247309 h 7458372"/>
              <a:gd name="connsiteX13270" fmla="*/ 1780453 w 10505529"/>
              <a:gd name="connsiteY13270" fmla="*/ 5243183 h 7458372"/>
              <a:gd name="connsiteX13271" fmla="*/ 1776461 w 10505529"/>
              <a:gd name="connsiteY13271" fmla="*/ 5240521 h 7458372"/>
              <a:gd name="connsiteX13272" fmla="*/ 1771402 w 10505529"/>
              <a:gd name="connsiteY13272" fmla="*/ 5239589 h 7458372"/>
              <a:gd name="connsiteX13273" fmla="*/ 1553765 w 10505529"/>
              <a:gd name="connsiteY13273" fmla="*/ 5239589 h 7458372"/>
              <a:gd name="connsiteX13274" fmla="*/ 1543782 w 10505529"/>
              <a:gd name="connsiteY13274" fmla="*/ 5243183 h 7458372"/>
              <a:gd name="connsiteX13275" fmla="*/ 1540187 w 10505529"/>
              <a:gd name="connsiteY13275" fmla="*/ 5252634 h 7458372"/>
              <a:gd name="connsiteX13276" fmla="*/ 1543782 w 10505529"/>
              <a:gd name="connsiteY13276" fmla="*/ 5262085 h 7458372"/>
              <a:gd name="connsiteX13277" fmla="*/ 1553765 w 10505529"/>
              <a:gd name="connsiteY13277" fmla="*/ 5265548 h 7458372"/>
              <a:gd name="connsiteX13278" fmla="*/ 1559090 w 10505529"/>
              <a:gd name="connsiteY13278" fmla="*/ 5264616 h 7458372"/>
              <a:gd name="connsiteX13279" fmla="*/ 1562817 w 10505529"/>
              <a:gd name="connsiteY13279" fmla="*/ 5262219 h 7458372"/>
              <a:gd name="connsiteX13280" fmla="*/ 1565480 w 10505529"/>
              <a:gd name="connsiteY13280" fmla="*/ 5257959 h 7458372"/>
              <a:gd name="connsiteX13281" fmla="*/ 1566545 w 10505529"/>
              <a:gd name="connsiteY13281" fmla="*/ 5252501 h 7458372"/>
              <a:gd name="connsiteX13282" fmla="*/ 1565480 w 10505529"/>
              <a:gd name="connsiteY13282" fmla="*/ 5247309 h 7458372"/>
              <a:gd name="connsiteX13283" fmla="*/ 1562817 w 10505529"/>
              <a:gd name="connsiteY13283" fmla="*/ 5243183 h 7458372"/>
              <a:gd name="connsiteX13284" fmla="*/ 1558824 w 10505529"/>
              <a:gd name="connsiteY13284" fmla="*/ 5240521 h 7458372"/>
              <a:gd name="connsiteX13285" fmla="*/ 1553765 w 10505529"/>
              <a:gd name="connsiteY13285" fmla="*/ 5239589 h 7458372"/>
              <a:gd name="connsiteX13286" fmla="*/ 1336122 w 10505529"/>
              <a:gd name="connsiteY13286" fmla="*/ 5239589 h 7458372"/>
              <a:gd name="connsiteX13287" fmla="*/ 1326138 w 10505529"/>
              <a:gd name="connsiteY13287" fmla="*/ 5243183 h 7458372"/>
              <a:gd name="connsiteX13288" fmla="*/ 1322543 w 10505529"/>
              <a:gd name="connsiteY13288" fmla="*/ 5252634 h 7458372"/>
              <a:gd name="connsiteX13289" fmla="*/ 1326138 w 10505529"/>
              <a:gd name="connsiteY13289" fmla="*/ 5262085 h 7458372"/>
              <a:gd name="connsiteX13290" fmla="*/ 1336122 w 10505529"/>
              <a:gd name="connsiteY13290" fmla="*/ 5265548 h 7458372"/>
              <a:gd name="connsiteX13291" fmla="*/ 1341448 w 10505529"/>
              <a:gd name="connsiteY13291" fmla="*/ 5264616 h 7458372"/>
              <a:gd name="connsiteX13292" fmla="*/ 1345175 w 10505529"/>
              <a:gd name="connsiteY13292" fmla="*/ 5262219 h 7458372"/>
              <a:gd name="connsiteX13293" fmla="*/ 1347836 w 10505529"/>
              <a:gd name="connsiteY13293" fmla="*/ 5257959 h 7458372"/>
              <a:gd name="connsiteX13294" fmla="*/ 1348903 w 10505529"/>
              <a:gd name="connsiteY13294" fmla="*/ 5252501 h 7458372"/>
              <a:gd name="connsiteX13295" fmla="*/ 1347836 w 10505529"/>
              <a:gd name="connsiteY13295" fmla="*/ 5247309 h 7458372"/>
              <a:gd name="connsiteX13296" fmla="*/ 1345175 w 10505529"/>
              <a:gd name="connsiteY13296" fmla="*/ 5243183 h 7458372"/>
              <a:gd name="connsiteX13297" fmla="*/ 1341180 w 10505529"/>
              <a:gd name="connsiteY13297" fmla="*/ 5240521 h 7458372"/>
              <a:gd name="connsiteX13298" fmla="*/ 1336122 w 10505529"/>
              <a:gd name="connsiteY13298" fmla="*/ 5239589 h 7458372"/>
              <a:gd name="connsiteX13299" fmla="*/ 1118609 w 10505529"/>
              <a:gd name="connsiteY13299" fmla="*/ 5239589 h 7458372"/>
              <a:gd name="connsiteX13300" fmla="*/ 1108624 w 10505529"/>
              <a:gd name="connsiteY13300" fmla="*/ 5243183 h 7458372"/>
              <a:gd name="connsiteX13301" fmla="*/ 1104897 w 10505529"/>
              <a:gd name="connsiteY13301" fmla="*/ 5252634 h 7458372"/>
              <a:gd name="connsiteX13302" fmla="*/ 1108491 w 10505529"/>
              <a:gd name="connsiteY13302" fmla="*/ 5262085 h 7458372"/>
              <a:gd name="connsiteX13303" fmla="*/ 1118476 w 10505529"/>
              <a:gd name="connsiteY13303" fmla="*/ 5265548 h 7458372"/>
              <a:gd name="connsiteX13304" fmla="*/ 1123932 w 10505529"/>
              <a:gd name="connsiteY13304" fmla="*/ 5264616 h 7458372"/>
              <a:gd name="connsiteX13305" fmla="*/ 1127663 w 10505529"/>
              <a:gd name="connsiteY13305" fmla="*/ 5262219 h 7458372"/>
              <a:gd name="connsiteX13306" fmla="*/ 1130327 w 10505529"/>
              <a:gd name="connsiteY13306" fmla="*/ 5257959 h 7458372"/>
              <a:gd name="connsiteX13307" fmla="*/ 1131392 w 10505529"/>
              <a:gd name="connsiteY13307" fmla="*/ 5252501 h 7458372"/>
              <a:gd name="connsiteX13308" fmla="*/ 1130327 w 10505529"/>
              <a:gd name="connsiteY13308" fmla="*/ 5247309 h 7458372"/>
              <a:gd name="connsiteX13309" fmla="*/ 1127663 w 10505529"/>
              <a:gd name="connsiteY13309" fmla="*/ 5243183 h 7458372"/>
              <a:gd name="connsiteX13310" fmla="*/ 1123667 w 10505529"/>
              <a:gd name="connsiteY13310" fmla="*/ 5240521 h 7458372"/>
              <a:gd name="connsiteX13311" fmla="*/ 1118609 w 10505529"/>
              <a:gd name="connsiteY13311" fmla="*/ 5239589 h 7458372"/>
              <a:gd name="connsiteX13312" fmla="*/ 901097 w 10505529"/>
              <a:gd name="connsiteY13312" fmla="*/ 5239589 h 7458372"/>
              <a:gd name="connsiteX13313" fmla="*/ 891113 w 10505529"/>
              <a:gd name="connsiteY13313" fmla="*/ 5243183 h 7458372"/>
              <a:gd name="connsiteX13314" fmla="*/ 887386 w 10505529"/>
              <a:gd name="connsiteY13314" fmla="*/ 5252634 h 7458372"/>
              <a:gd name="connsiteX13315" fmla="*/ 890980 w 10505529"/>
              <a:gd name="connsiteY13315" fmla="*/ 5262085 h 7458372"/>
              <a:gd name="connsiteX13316" fmla="*/ 900963 w 10505529"/>
              <a:gd name="connsiteY13316" fmla="*/ 5265548 h 7458372"/>
              <a:gd name="connsiteX13317" fmla="*/ 906421 w 10505529"/>
              <a:gd name="connsiteY13317" fmla="*/ 5264616 h 7458372"/>
              <a:gd name="connsiteX13318" fmla="*/ 910149 w 10505529"/>
              <a:gd name="connsiteY13318" fmla="*/ 5262219 h 7458372"/>
              <a:gd name="connsiteX13319" fmla="*/ 912811 w 10505529"/>
              <a:gd name="connsiteY13319" fmla="*/ 5257959 h 7458372"/>
              <a:gd name="connsiteX13320" fmla="*/ 913876 w 10505529"/>
              <a:gd name="connsiteY13320" fmla="*/ 5252501 h 7458372"/>
              <a:gd name="connsiteX13321" fmla="*/ 912811 w 10505529"/>
              <a:gd name="connsiteY13321" fmla="*/ 5247309 h 7458372"/>
              <a:gd name="connsiteX13322" fmla="*/ 910149 w 10505529"/>
              <a:gd name="connsiteY13322" fmla="*/ 5243183 h 7458372"/>
              <a:gd name="connsiteX13323" fmla="*/ 906155 w 10505529"/>
              <a:gd name="connsiteY13323" fmla="*/ 5240521 h 7458372"/>
              <a:gd name="connsiteX13324" fmla="*/ 901097 w 10505529"/>
              <a:gd name="connsiteY13324" fmla="*/ 5239589 h 7458372"/>
              <a:gd name="connsiteX13325" fmla="*/ 683323 w 10505529"/>
              <a:gd name="connsiteY13325" fmla="*/ 5239589 h 7458372"/>
              <a:gd name="connsiteX13326" fmla="*/ 673339 w 10505529"/>
              <a:gd name="connsiteY13326" fmla="*/ 5243183 h 7458372"/>
              <a:gd name="connsiteX13327" fmla="*/ 669745 w 10505529"/>
              <a:gd name="connsiteY13327" fmla="*/ 5252634 h 7458372"/>
              <a:gd name="connsiteX13328" fmla="*/ 673339 w 10505529"/>
              <a:gd name="connsiteY13328" fmla="*/ 5262085 h 7458372"/>
              <a:gd name="connsiteX13329" fmla="*/ 683323 w 10505529"/>
              <a:gd name="connsiteY13329" fmla="*/ 5265548 h 7458372"/>
              <a:gd name="connsiteX13330" fmla="*/ 688648 w 10505529"/>
              <a:gd name="connsiteY13330" fmla="*/ 5264616 h 7458372"/>
              <a:gd name="connsiteX13331" fmla="*/ 692375 w 10505529"/>
              <a:gd name="connsiteY13331" fmla="*/ 5262219 h 7458372"/>
              <a:gd name="connsiteX13332" fmla="*/ 695038 w 10505529"/>
              <a:gd name="connsiteY13332" fmla="*/ 5257959 h 7458372"/>
              <a:gd name="connsiteX13333" fmla="*/ 696103 w 10505529"/>
              <a:gd name="connsiteY13333" fmla="*/ 5252501 h 7458372"/>
              <a:gd name="connsiteX13334" fmla="*/ 695038 w 10505529"/>
              <a:gd name="connsiteY13334" fmla="*/ 5247309 h 7458372"/>
              <a:gd name="connsiteX13335" fmla="*/ 692375 w 10505529"/>
              <a:gd name="connsiteY13335" fmla="*/ 5243183 h 7458372"/>
              <a:gd name="connsiteX13336" fmla="*/ 688382 w 10505529"/>
              <a:gd name="connsiteY13336" fmla="*/ 5240521 h 7458372"/>
              <a:gd name="connsiteX13337" fmla="*/ 683323 w 10505529"/>
              <a:gd name="connsiteY13337" fmla="*/ 5239589 h 7458372"/>
              <a:gd name="connsiteX13338" fmla="*/ 465681 w 10505529"/>
              <a:gd name="connsiteY13338" fmla="*/ 5239589 h 7458372"/>
              <a:gd name="connsiteX13339" fmla="*/ 455698 w 10505529"/>
              <a:gd name="connsiteY13339" fmla="*/ 5243183 h 7458372"/>
              <a:gd name="connsiteX13340" fmla="*/ 452104 w 10505529"/>
              <a:gd name="connsiteY13340" fmla="*/ 5252634 h 7458372"/>
              <a:gd name="connsiteX13341" fmla="*/ 455698 w 10505529"/>
              <a:gd name="connsiteY13341" fmla="*/ 5262085 h 7458372"/>
              <a:gd name="connsiteX13342" fmla="*/ 465681 w 10505529"/>
              <a:gd name="connsiteY13342" fmla="*/ 5265548 h 7458372"/>
              <a:gd name="connsiteX13343" fmla="*/ 471006 w 10505529"/>
              <a:gd name="connsiteY13343" fmla="*/ 5264616 h 7458372"/>
              <a:gd name="connsiteX13344" fmla="*/ 474733 w 10505529"/>
              <a:gd name="connsiteY13344" fmla="*/ 5262219 h 7458372"/>
              <a:gd name="connsiteX13345" fmla="*/ 477396 w 10505529"/>
              <a:gd name="connsiteY13345" fmla="*/ 5257959 h 7458372"/>
              <a:gd name="connsiteX13346" fmla="*/ 478461 w 10505529"/>
              <a:gd name="connsiteY13346" fmla="*/ 5252501 h 7458372"/>
              <a:gd name="connsiteX13347" fmla="*/ 477396 w 10505529"/>
              <a:gd name="connsiteY13347" fmla="*/ 5247309 h 7458372"/>
              <a:gd name="connsiteX13348" fmla="*/ 474733 w 10505529"/>
              <a:gd name="connsiteY13348" fmla="*/ 5243183 h 7458372"/>
              <a:gd name="connsiteX13349" fmla="*/ 470740 w 10505529"/>
              <a:gd name="connsiteY13349" fmla="*/ 5240521 h 7458372"/>
              <a:gd name="connsiteX13350" fmla="*/ 465681 w 10505529"/>
              <a:gd name="connsiteY13350" fmla="*/ 5239589 h 7458372"/>
              <a:gd name="connsiteX13351" fmla="*/ 248039 w 10505529"/>
              <a:gd name="connsiteY13351" fmla="*/ 5239589 h 7458372"/>
              <a:gd name="connsiteX13352" fmla="*/ 238057 w 10505529"/>
              <a:gd name="connsiteY13352" fmla="*/ 5243183 h 7458372"/>
              <a:gd name="connsiteX13353" fmla="*/ 234463 w 10505529"/>
              <a:gd name="connsiteY13353" fmla="*/ 5252634 h 7458372"/>
              <a:gd name="connsiteX13354" fmla="*/ 238057 w 10505529"/>
              <a:gd name="connsiteY13354" fmla="*/ 5262085 h 7458372"/>
              <a:gd name="connsiteX13355" fmla="*/ 248039 w 10505529"/>
              <a:gd name="connsiteY13355" fmla="*/ 5265548 h 7458372"/>
              <a:gd name="connsiteX13356" fmla="*/ 253364 w 10505529"/>
              <a:gd name="connsiteY13356" fmla="*/ 5264616 h 7458372"/>
              <a:gd name="connsiteX13357" fmla="*/ 257091 w 10505529"/>
              <a:gd name="connsiteY13357" fmla="*/ 5262219 h 7458372"/>
              <a:gd name="connsiteX13358" fmla="*/ 259754 w 10505529"/>
              <a:gd name="connsiteY13358" fmla="*/ 5257959 h 7458372"/>
              <a:gd name="connsiteX13359" fmla="*/ 260819 w 10505529"/>
              <a:gd name="connsiteY13359" fmla="*/ 5252501 h 7458372"/>
              <a:gd name="connsiteX13360" fmla="*/ 259754 w 10505529"/>
              <a:gd name="connsiteY13360" fmla="*/ 5247309 h 7458372"/>
              <a:gd name="connsiteX13361" fmla="*/ 257091 w 10505529"/>
              <a:gd name="connsiteY13361" fmla="*/ 5243183 h 7458372"/>
              <a:gd name="connsiteX13362" fmla="*/ 253098 w 10505529"/>
              <a:gd name="connsiteY13362" fmla="*/ 5240521 h 7458372"/>
              <a:gd name="connsiteX13363" fmla="*/ 248039 w 10505529"/>
              <a:gd name="connsiteY13363" fmla="*/ 5239589 h 7458372"/>
              <a:gd name="connsiteX13364" fmla="*/ 30398 w 10505529"/>
              <a:gd name="connsiteY13364" fmla="*/ 5239589 h 7458372"/>
              <a:gd name="connsiteX13365" fmla="*/ 20414 w 10505529"/>
              <a:gd name="connsiteY13365" fmla="*/ 5243183 h 7458372"/>
              <a:gd name="connsiteX13366" fmla="*/ 16821 w 10505529"/>
              <a:gd name="connsiteY13366" fmla="*/ 5252634 h 7458372"/>
              <a:gd name="connsiteX13367" fmla="*/ 20414 w 10505529"/>
              <a:gd name="connsiteY13367" fmla="*/ 5262085 h 7458372"/>
              <a:gd name="connsiteX13368" fmla="*/ 30398 w 10505529"/>
              <a:gd name="connsiteY13368" fmla="*/ 5265548 h 7458372"/>
              <a:gd name="connsiteX13369" fmla="*/ 35723 w 10505529"/>
              <a:gd name="connsiteY13369" fmla="*/ 5264616 h 7458372"/>
              <a:gd name="connsiteX13370" fmla="*/ 39450 w 10505529"/>
              <a:gd name="connsiteY13370" fmla="*/ 5262219 h 7458372"/>
              <a:gd name="connsiteX13371" fmla="*/ 42113 w 10505529"/>
              <a:gd name="connsiteY13371" fmla="*/ 5257959 h 7458372"/>
              <a:gd name="connsiteX13372" fmla="*/ 43044 w 10505529"/>
              <a:gd name="connsiteY13372" fmla="*/ 5252501 h 7458372"/>
              <a:gd name="connsiteX13373" fmla="*/ 42113 w 10505529"/>
              <a:gd name="connsiteY13373" fmla="*/ 5247309 h 7458372"/>
              <a:gd name="connsiteX13374" fmla="*/ 39450 w 10505529"/>
              <a:gd name="connsiteY13374" fmla="*/ 5243183 h 7458372"/>
              <a:gd name="connsiteX13375" fmla="*/ 35457 w 10505529"/>
              <a:gd name="connsiteY13375" fmla="*/ 5240521 h 7458372"/>
              <a:gd name="connsiteX13376" fmla="*/ 30398 w 10505529"/>
              <a:gd name="connsiteY13376" fmla="*/ 5239589 h 7458372"/>
              <a:gd name="connsiteX13377" fmla="*/ 10475977 w 10505529"/>
              <a:gd name="connsiteY13377" fmla="*/ 5222816 h 7458372"/>
              <a:gd name="connsiteX13378" fmla="*/ 10487824 w 10505529"/>
              <a:gd name="connsiteY13378" fmla="*/ 5225478 h 7458372"/>
              <a:gd name="connsiteX13379" fmla="*/ 10497143 w 10505529"/>
              <a:gd name="connsiteY13379" fmla="*/ 5231868 h 7458372"/>
              <a:gd name="connsiteX13380" fmla="*/ 10503266 w 10505529"/>
              <a:gd name="connsiteY13380" fmla="*/ 5241186 h 7458372"/>
              <a:gd name="connsiteX13381" fmla="*/ 10505529 w 10505529"/>
              <a:gd name="connsiteY13381" fmla="*/ 5252634 h 7458372"/>
              <a:gd name="connsiteX13382" fmla="*/ 10503266 w 10505529"/>
              <a:gd name="connsiteY13382" fmla="*/ 5264349 h 7458372"/>
              <a:gd name="connsiteX13383" fmla="*/ 10497143 w 10505529"/>
              <a:gd name="connsiteY13383" fmla="*/ 5273668 h 7458372"/>
              <a:gd name="connsiteX13384" fmla="*/ 10487824 w 10505529"/>
              <a:gd name="connsiteY13384" fmla="*/ 5279924 h 7458372"/>
              <a:gd name="connsiteX13385" fmla="*/ 10475977 w 10505529"/>
              <a:gd name="connsiteY13385" fmla="*/ 5282187 h 7458372"/>
              <a:gd name="connsiteX13386" fmla="*/ 10454145 w 10505529"/>
              <a:gd name="connsiteY13386" fmla="*/ 5273668 h 7458372"/>
              <a:gd name="connsiteX13387" fmla="*/ 10445759 w 10505529"/>
              <a:gd name="connsiteY13387" fmla="*/ 5252501 h 7458372"/>
              <a:gd name="connsiteX13388" fmla="*/ 10454145 w 10505529"/>
              <a:gd name="connsiteY13388" fmla="*/ 5231468 h 7458372"/>
              <a:gd name="connsiteX13389" fmla="*/ 10475977 w 10505529"/>
              <a:gd name="connsiteY13389" fmla="*/ 5222816 h 7458372"/>
              <a:gd name="connsiteX13390" fmla="*/ 10258466 w 10505529"/>
              <a:gd name="connsiteY13390" fmla="*/ 5222816 h 7458372"/>
              <a:gd name="connsiteX13391" fmla="*/ 10270313 w 10505529"/>
              <a:gd name="connsiteY13391" fmla="*/ 5225478 h 7458372"/>
              <a:gd name="connsiteX13392" fmla="*/ 10279631 w 10505529"/>
              <a:gd name="connsiteY13392" fmla="*/ 5231868 h 7458372"/>
              <a:gd name="connsiteX13393" fmla="*/ 10285754 w 10505529"/>
              <a:gd name="connsiteY13393" fmla="*/ 5241186 h 7458372"/>
              <a:gd name="connsiteX13394" fmla="*/ 10288017 w 10505529"/>
              <a:gd name="connsiteY13394" fmla="*/ 5252634 h 7458372"/>
              <a:gd name="connsiteX13395" fmla="*/ 10285754 w 10505529"/>
              <a:gd name="connsiteY13395" fmla="*/ 5264349 h 7458372"/>
              <a:gd name="connsiteX13396" fmla="*/ 10279631 w 10505529"/>
              <a:gd name="connsiteY13396" fmla="*/ 5273668 h 7458372"/>
              <a:gd name="connsiteX13397" fmla="*/ 10270313 w 10505529"/>
              <a:gd name="connsiteY13397" fmla="*/ 5279924 h 7458372"/>
              <a:gd name="connsiteX13398" fmla="*/ 10258466 w 10505529"/>
              <a:gd name="connsiteY13398" fmla="*/ 5282187 h 7458372"/>
              <a:gd name="connsiteX13399" fmla="*/ 10236633 w 10505529"/>
              <a:gd name="connsiteY13399" fmla="*/ 5273668 h 7458372"/>
              <a:gd name="connsiteX13400" fmla="*/ 10228247 w 10505529"/>
              <a:gd name="connsiteY13400" fmla="*/ 5252501 h 7458372"/>
              <a:gd name="connsiteX13401" fmla="*/ 10236633 w 10505529"/>
              <a:gd name="connsiteY13401" fmla="*/ 5231468 h 7458372"/>
              <a:gd name="connsiteX13402" fmla="*/ 10258466 w 10505529"/>
              <a:gd name="connsiteY13402" fmla="*/ 5222816 h 7458372"/>
              <a:gd name="connsiteX13403" fmla="*/ 10040820 w 10505529"/>
              <a:gd name="connsiteY13403" fmla="*/ 5222816 h 7458372"/>
              <a:gd name="connsiteX13404" fmla="*/ 10052534 w 10505529"/>
              <a:gd name="connsiteY13404" fmla="*/ 5225478 h 7458372"/>
              <a:gd name="connsiteX13405" fmla="*/ 10061852 w 10505529"/>
              <a:gd name="connsiteY13405" fmla="*/ 5231868 h 7458372"/>
              <a:gd name="connsiteX13406" fmla="*/ 10067976 w 10505529"/>
              <a:gd name="connsiteY13406" fmla="*/ 5241186 h 7458372"/>
              <a:gd name="connsiteX13407" fmla="*/ 10070239 w 10505529"/>
              <a:gd name="connsiteY13407" fmla="*/ 5252634 h 7458372"/>
              <a:gd name="connsiteX13408" fmla="*/ 10067976 w 10505529"/>
              <a:gd name="connsiteY13408" fmla="*/ 5264349 h 7458372"/>
              <a:gd name="connsiteX13409" fmla="*/ 10061852 w 10505529"/>
              <a:gd name="connsiteY13409" fmla="*/ 5273668 h 7458372"/>
              <a:gd name="connsiteX13410" fmla="*/ 10052534 w 10505529"/>
              <a:gd name="connsiteY13410" fmla="*/ 5279924 h 7458372"/>
              <a:gd name="connsiteX13411" fmla="*/ 10040820 w 10505529"/>
              <a:gd name="connsiteY13411" fmla="*/ 5282187 h 7458372"/>
              <a:gd name="connsiteX13412" fmla="*/ 10018988 w 10505529"/>
              <a:gd name="connsiteY13412" fmla="*/ 5273668 h 7458372"/>
              <a:gd name="connsiteX13413" fmla="*/ 10010602 w 10505529"/>
              <a:gd name="connsiteY13413" fmla="*/ 5252501 h 7458372"/>
              <a:gd name="connsiteX13414" fmla="*/ 10018988 w 10505529"/>
              <a:gd name="connsiteY13414" fmla="*/ 5231468 h 7458372"/>
              <a:gd name="connsiteX13415" fmla="*/ 10040820 w 10505529"/>
              <a:gd name="connsiteY13415" fmla="*/ 5222816 h 7458372"/>
              <a:gd name="connsiteX13416" fmla="*/ 9823176 w 10505529"/>
              <a:gd name="connsiteY13416" fmla="*/ 5222816 h 7458372"/>
              <a:gd name="connsiteX13417" fmla="*/ 9834890 w 10505529"/>
              <a:gd name="connsiteY13417" fmla="*/ 5225478 h 7458372"/>
              <a:gd name="connsiteX13418" fmla="*/ 9844208 w 10505529"/>
              <a:gd name="connsiteY13418" fmla="*/ 5231868 h 7458372"/>
              <a:gd name="connsiteX13419" fmla="*/ 9850331 w 10505529"/>
              <a:gd name="connsiteY13419" fmla="*/ 5241186 h 7458372"/>
              <a:gd name="connsiteX13420" fmla="*/ 9852595 w 10505529"/>
              <a:gd name="connsiteY13420" fmla="*/ 5252634 h 7458372"/>
              <a:gd name="connsiteX13421" fmla="*/ 9850331 w 10505529"/>
              <a:gd name="connsiteY13421" fmla="*/ 5264349 h 7458372"/>
              <a:gd name="connsiteX13422" fmla="*/ 9844208 w 10505529"/>
              <a:gd name="connsiteY13422" fmla="*/ 5273668 h 7458372"/>
              <a:gd name="connsiteX13423" fmla="*/ 9834890 w 10505529"/>
              <a:gd name="connsiteY13423" fmla="*/ 5279924 h 7458372"/>
              <a:gd name="connsiteX13424" fmla="*/ 9823176 w 10505529"/>
              <a:gd name="connsiteY13424" fmla="*/ 5282187 h 7458372"/>
              <a:gd name="connsiteX13425" fmla="*/ 9801343 w 10505529"/>
              <a:gd name="connsiteY13425" fmla="*/ 5273668 h 7458372"/>
              <a:gd name="connsiteX13426" fmla="*/ 9792957 w 10505529"/>
              <a:gd name="connsiteY13426" fmla="*/ 5252501 h 7458372"/>
              <a:gd name="connsiteX13427" fmla="*/ 9801343 w 10505529"/>
              <a:gd name="connsiteY13427" fmla="*/ 5231468 h 7458372"/>
              <a:gd name="connsiteX13428" fmla="*/ 9823176 w 10505529"/>
              <a:gd name="connsiteY13428" fmla="*/ 5222816 h 7458372"/>
              <a:gd name="connsiteX13429" fmla="*/ 9605531 w 10505529"/>
              <a:gd name="connsiteY13429" fmla="*/ 5222816 h 7458372"/>
              <a:gd name="connsiteX13430" fmla="*/ 9617245 w 10505529"/>
              <a:gd name="connsiteY13430" fmla="*/ 5225478 h 7458372"/>
              <a:gd name="connsiteX13431" fmla="*/ 9626562 w 10505529"/>
              <a:gd name="connsiteY13431" fmla="*/ 5231868 h 7458372"/>
              <a:gd name="connsiteX13432" fmla="*/ 9632686 w 10505529"/>
              <a:gd name="connsiteY13432" fmla="*/ 5241186 h 7458372"/>
              <a:gd name="connsiteX13433" fmla="*/ 9634949 w 10505529"/>
              <a:gd name="connsiteY13433" fmla="*/ 5252634 h 7458372"/>
              <a:gd name="connsiteX13434" fmla="*/ 9632686 w 10505529"/>
              <a:gd name="connsiteY13434" fmla="*/ 5264349 h 7458372"/>
              <a:gd name="connsiteX13435" fmla="*/ 9626562 w 10505529"/>
              <a:gd name="connsiteY13435" fmla="*/ 5273668 h 7458372"/>
              <a:gd name="connsiteX13436" fmla="*/ 9617245 w 10505529"/>
              <a:gd name="connsiteY13436" fmla="*/ 5279924 h 7458372"/>
              <a:gd name="connsiteX13437" fmla="*/ 9605531 w 10505529"/>
              <a:gd name="connsiteY13437" fmla="*/ 5282187 h 7458372"/>
              <a:gd name="connsiteX13438" fmla="*/ 9583698 w 10505529"/>
              <a:gd name="connsiteY13438" fmla="*/ 5273668 h 7458372"/>
              <a:gd name="connsiteX13439" fmla="*/ 9575312 w 10505529"/>
              <a:gd name="connsiteY13439" fmla="*/ 5252501 h 7458372"/>
              <a:gd name="connsiteX13440" fmla="*/ 9583698 w 10505529"/>
              <a:gd name="connsiteY13440" fmla="*/ 5231468 h 7458372"/>
              <a:gd name="connsiteX13441" fmla="*/ 9605531 w 10505529"/>
              <a:gd name="connsiteY13441" fmla="*/ 5222816 h 7458372"/>
              <a:gd name="connsiteX13442" fmla="*/ 9387885 w 10505529"/>
              <a:gd name="connsiteY13442" fmla="*/ 5222816 h 7458372"/>
              <a:gd name="connsiteX13443" fmla="*/ 9399599 w 10505529"/>
              <a:gd name="connsiteY13443" fmla="*/ 5225478 h 7458372"/>
              <a:gd name="connsiteX13444" fmla="*/ 9408917 w 10505529"/>
              <a:gd name="connsiteY13444" fmla="*/ 5231868 h 7458372"/>
              <a:gd name="connsiteX13445" fmla="*/ 9415041 w 10505529"/>
              <a:gd name="connsiteY13445" fmla="*/ 5241186 h 7458372"/>
              <a:gd name="connsiteX13446" fmla="*/ 9417304 w 10505529"/>
              <a:gd name="connsiteY13446" fmla="*/ 5252634 h 7458372"/>
              <a:gd name="connsiteX13447" fmla="*/ 9415041 w 10505529"/>
              <a:gd name="connsiteY13447" fmla="*/ 5264349 h 7458372"/>
              <a:gd name="connsiteX13448" fmla="*/ 9408917 w 10505529"/>
              <a:gd name="connsiteY13448" fmla="*/ 5273668 h 7458372"/>
              <a:gd name="connsiteX13449" fmla="*/ 9399599 w 10505529"/>
              <a:gd name="connsiteY13449" fmla="*/ 5279924 h 7458372"/>
              <a:gd name="connsiteX13450" fmla="*/ 9387885 w 10505529"/>
              <a:gd name="connsiteY13450" fmla="*/ 5282187 h 7458372"/>
              <a:gd name="connsiteX13451" fmla="*/ 9366053 w 10505529"/>
              <a:gd name="connsiteY13451" fmla="*/ 5273668 h 7458372"/>
              <a:gd name="connsiteX13452" fmla="*/ 9357667 w 10505529"/>
              <a:gd name="connsiteY13452" fmla="*/ 5252501 h 7458372"/>
              <a:gd name="connsiteX13453" fmla="*/ 9366053 w 10505529"/>
              <a:gd name="connsiteY13453" fmla="*/ 5231468 h 7458372"/>
              <a:gd name="connsiteX13454" fmla="*/ 9387885 w 10505529"/>
              <a:gd name="connsiteY13454" fmla="*/ 5222816 h 7458372"/>
              <a:gd name="connsiteX13455" fmla="*/ 9170374 w 10505529"/>
              <a:gd name="connsiteY13455" fmla="*/ 5222816 h 7458372"/>
              <a:gd name="connsiteX13456" fmla="*/ 9182088 w 10505529"/>
              <a:gd name="connsiteY13456" fmla="*/ 5225478 h 7458372"/>
              <a:gd name="connsiteX13457" fmla="*/ 9191405 w 10505529"/>
              <a:gd name="connsiteY13457" fmla="*/ 5231868 h 7458372"/>
              <a:gd name="connsiteX13458" fmla="*/ 9197529 w 10505529"/>
              <a:gd name="connsiteY13458" fmla="*/ 5241186 h 7458372"/>
              <a:gd name="connsiteX13459" fmla="*/ 9199792 w 10505529"/>
              <a:gd name="connsiteY13459" fmla="*/ 5252634 h 7458372"/>
              <a:gd name="connsiteX13460" fmla="*/ 9197529 w 10505529"/>
              <a:gd name="connsiteY13460" fmla="*/ 5264349 h 7458372"/>
              <a:gd name="connsiteX13461" fmla="*/ 9191405 w 10505529"/>
              <a:gd name="connsiteY13461" fmla="*/ 5273668 h 7458372"/>
              <a:gd name="connsiteX13462" fmla="*/ 9182088 w 10505529"/>
              <a:gd name="connsiteY13462" fmla="*/ 5279924 h 7458372"/>
              <a:gd name="connsiteX13463" fmla="*/ 9170374 w 10505529"/>
              <a:gd name="connsiteY13463" fmla="*/ 5282187 h 7458372"/>
              <a:gd name="connsiteX13464" fmla="*/ 9148541 w 10505529"/>
              <a:gd name="connsiteY13464" fmla="*/ 5273668 h 7458372"/>
              <a:gd name="connsiteX13465" fmla="*/ 9140155 w 10505529"/>
              <a:gd name="connsiteY13465" fmla="*/ 5252501 h 7458372"/>
              <a:gd name="connsiteX13466" fmla="*/ 9148541 w 10505529"/>
              <a:gd name="connsiteY13466" fmla="*/ 5231468 h 7458372"/>
              <a:gd name="connsiteX13467" fmla="*/ 9170374 w 10505529"/>
              <a:gd name="connsiteY13467" fmla="*/ 5222816 h 7458372"/>
              <a:gd name="connsiteX13468" fmla="*/ 8952728 w 10505529"/>
              <a:gd name="connsiteY13468" fmla="*/ 5222816 h 7458372"/>
              <a:gd name="connsiteX13469" fmla="*/ 8964442 w 10505529"/>
              <a:gd name="connsiteY13469" fmla="*/ 5225478 h 7458372"/>
              <a:gd name="connsiteX13470" fmla="*/ 8973760 w 10505529"/>
              <a:gd name="connsiteY13470" fmla="*/ 5231868 h 7458372"/>
              <a:gd name="connsiteX13471" fmla="*/ 8979884 w 10505529"/>
              <a:gd name="connsiteY13471" fmla="*/ 5241186 h 7458372"/>
              <a:gd name="connsiteX13472" fmla="*/ 8982147 w 10505529"/>
              <a:gd name="connsiteY13472" fmla="*/ 5252634 h 7458372"/>
              <a:gd name="connsiteX13473" fmla="*/ 8979884 w 10505529"/>
              <a:gd name="connsiteY13473" fmla="*/ 5264349 h 7458372"/>
              <a:gd name="connsiteX13474" fmla="*/ 8973760 w 10505529"/>
              <a:gd name="connsiteY13474" fmla="*/ 5273668 h 7458372"/>
              <a:gd name="connsiteX13475" fmla="*/ 8964442 w 10505529"/>
              <a:gd name="connsiteY13475" fmla="*/ 5279924 h 7458372"/>
              <a:gd name="connsiteX13476" fmla="*/ 8952728 w 10505529"/>
              <a:gd name="connsiteY13476" fmla="*/ 5282187 h 7458372"/>
              <a:gd name="connsiteX13477" fmla="*/ 8930896 w 10505529"/>
              <a:gd name="connsiteY13477" fmla="*/ 5273668 h 7458372"/>
              <a:gd name="connsiteX13478" fmla="*/ 8922510 w 10505529"/>
              <a:gd name="connsiteY13478" fmla="*/ 5252501 h 7458372"/>
              <a:gd name="connsiteX13479" fmla="*/ 8930896 w 10505529"/>
              <a:gd name="connsiteY13479" fmla="*/ 5231468 h 7458372"/>
              <a:gd name="connsiteX13480" fmla="*/ 8952728 w 10505529"/>
              <a:gd name="connsiteY13480" fmla="*/ 5222816 h 7458372"/>
              <a:gd name="connsiteX13481" fmla="*/ 8735083 w 10505529"/>
              <a:gd name="connsiteY13481" fmla="*/ 5222816 h 7458372"/>
              <a:gd name="connsiteX13482" fmla="*/ 8746797 w 10505529"/>
              <a:gd name="connsiteY13482" fmla="*/ 5225478 h 7458372"/>
              <a:gd name="connsiteX13483" fmla="*/ 8756115 w 10505529"/>
              <a:gd name="connsiteY13483" fmla="*/ 5231868 h 7458372"/>
              <a:gd name="connsiteX13484" fmla="*/ 8762238 w 10505529"/>
              <a:gd name="connsiteY13484" fmla="*/ 5241186 h 7458372"/>
              <a:gd name="connsiteX13485" fmla="*/ 8764502 w 10505529"/>
              <a:gd name="connsiteY13485" fmla="*/ 5252634 h 7458372"/>
              <a:gd name="connsiteX13486" fmla="*/ 8762238 w 10505529"/>
              <a:gd name="connsiteY13486" fmla="*/ 5264349 h 7458372"/>
              <a:gd name="connsiteX13487" fmla="*/ 8756115 w 10505529"/>
              <a:gd name="connsiteY13487" fmla="*/ 5273668 h 7458372"/>
              <a:gd name="connsiteX13488" fmla="*/ 8746797 w 10505529"/>
              <a:gd name="connsiteY13488" fmla="*/ 5279924 h 7458372"/>
              <a:gd name="connsiteX13489" fmla="*/ 8735083 w 10505529"/>
              <a:gd name="connsiteY13489" fmla="*/ 5282187 h 7458372"/>
              <a:gd name="connsiteX13490" fmla="*/ 8713250 w 10505529"/>
              <a:gd name="connsiteY13490" fmla="*/ 5273668 h 7458372"/>
              <a:gd name="connsiteX13491" fmla="*/ 8704864 w 10505529"/>
              <a:gd name="connsiteY13491" fmla="*/ 5252501 h 7458372"/>
              <a:gd name="connsiteX13492" fmla="*/ 8713250 w 10505529"/>
              <a:gd name="connsiteY13492" fmla="*/ 5231468 h 7458372"/>
              <a:gd name="connsiteX13493" fmla="*/ 8735083 w 10505529"/>
              <a:gd name="connsiteY13493" fmla="*/ 5222816 h 7458372"/>
              <a:gd name="connsiteX13494" fmla="*/ 8517438 w 10505529"/>
              <a:gd name="connsiteY13494" fmla="*/ 5222816 h 7458372"/>
              <a:gd name="connsiteX13495" fmla="*/ 8529152 w 10505529"/>
              <a:gd name="connsiteY13495" fmla="*/ 5225478 h 7458372"/>
              <a:gd name="connsiteX13496" fmla="*/ 8538470 w 10505529"/>
              <a:gd name="connsiteY13496" fmla="*/ 5231868 h 7458372"/>
              <a:gd name="connsiteX13497" fmla="*/ 8544594 w 10505529"/>
              <a:gd name="connsiteY13497" fmla="*/ 5241186 h 7458372"/>
              <a:gd name="connsiteX13498" fmla="*/ 8546857 w 10505529"/>
              <a:gd name="connsiteY13498" fmla="*/ 5252634 h 7458372"/>
              <a:gd name="connsiteX13499" fmla="*/ 8544594 w 10505529"/>
              <a:gd name="connsiteY13499" fmla="*/ 5264349 h 7458372"/>
              <a:gd name="connsiteX13500" fmla="*/ 8538470 w 10505529"/>
              <a:gd name="connsiteY13500" fmla="*/ 5273668 h 7458372"/>
              <a:gd name="connsiteX13501" fmla="*/ 8529152 w 10505529"/>
              <a:gd name="connsiteY13501" fmla="*/ 5279924 h 7458372"/>
              <a:gd name="connsiteX13502" fmla="*/ 8517438 w 10505529"/>
              <a:gd name="connsiteY13502" fmla="*/ 5282187 h 7458372"/>
              <a:gd name="connsiteX13503" fmla="*/ 8495606 w 10505529"/>
              <a:gd name="connsiteY13503" fmla="*/ 5273668 h 7458372"/>
              <a:gd name="connsiteX13504" fmla="*/ 8487220 w 10505529"/>
              <a:gd name="connsiteY13504" fmla="*/ 5252501 h 7458372"/>
              <a:gd name="connsiteX13505" fmla="*/ 8495606 w 10505529"/>
              <a:gd name="connsiteY13505" fmla="*/ 5231468 h 7458372"/>
              <a:gd name="connsiteX13506" fmla="*/ 8517438 w 10505529"/>
              <a:gd name="connsiteY13506" fmla="*/ 5222816 h 7458372"/>
              <a:gd name="connsiteX13507" fmla="*/ 8299793 w 10505529"/>
              <a:gd name="connsiteY13507" fmla="*/ 5222816 h 7458372"/>
              <a:gd name="connsiteX13508" fmla="*/ 8311507 w 10505529"/>
              <a:gd name="connsiteY13508" fmla="*/ 5225478 h 7458372"/>
              <a:gd name="connsiteX13509" fmla="*/ 8320825 w 10505529"/>
              <a:gd name="connsiteY13509" fmla="*/ 5231868 h 7458372"/>
              <a:gd name="connsiteX13510" fmla="*/ 8326948 w 10505529"/>
              <a:gd name="connsiteY13510" fmla="*/ 5241186 h 7458372"/>
              <a:gd name="connsiteX13511" fmla="*/ 8329212 w 10505529"/>
              <a:gd name="connsiteY13511" fmla="*/ 5252634 h 7458372"/>
              <a:gd name="connsiteX13512" fmla="*/ 8326948 w 10505529"/>
              <a:gd name="connsiteY13512" fmla="*/ 5264349 h 7458372"/>
              <a:gd name="connsiteX13513" fmla="*/ 8320825 w 10505529"/>
              <a:gd name="connsiteY13513" fmla="*/ 5273668 h 7458372"/>
              <a:gd name="connsiteX13514" fmla="*/ 8311507 w 10505529"/>
              <a:gd name="connsiteY13514" fmla="*/ 5279924 h 7458372"/>
              <a:gd name="connsiteX13515" fmla="*/ 8299793 w 10505529"/>
              <a:gd name="connsiteY13515" fmla="*/ 5282187 h 7458372"/>
              <a:gd name="connsiteX13516" fmla="*/ 8277960 w 10505529"/>
              <a:gd name="connsiteY13516" fmla="*/ 5273668 h 7458372"/>
              <a:gd name="connsiteX13517" fmla="*/ 8269574 w 10505529"/>
              <a:gd name="connsiteY13517" fmla="*/ 5252501 h 7458372"/>
              <a:gd name="connsiteX13518" fmla="*/ 8277960 w 10505529"/>
              <a:gd name="connsiteY13518" fmla="*/ 5231468 h 7458372"/>
              <a:gd name="connsiteX13519" fmla="*/ 8299793 w 10505529"/>
              <a:gd name="connsiteY13519" fmla="*/ 5222816 h 7458372"/>
              <a:gd name="connsiteX13520" fmla="*/ 8082281 w 10505529"/>
              <a:gd name="connsiteY13520" fmla="*/ 5222816 h 7458372"/>
              <a:gd name="connsiteX13521" fmla="*/ 8094127 w 10505529"/>
              <a:gd name="connsiteY13521" fmla="*/ 5225478 h 7458372"/>
              <a:gd name="connsiteX13522" fmla="*/ 8103446 w 10505529"/>
              <a:gd name="connsiteY13522" fmla="*/ 5231868 h 7458372"/>
              <a:gd name="connsiteX13523" fmla="*/ 8109569 w 10505529"/>
              <a:gd name="connsiteY13523" fmla="*/ 5241186 h 7458372"/>
              <a:gd name="connsiteX13524" fmla="*/ 8111832 w 10505529"/>
              <a:gd name="connsiteY13524" fmla="*/ 5252634 h 7458372"/>
              <a:gd name="connsiteX13525" fmla="*/ 8109569 w 10505529"/>
              <a:gd name="connsiteY13525" fmla="*/ 5264349 h 7458372"/>
              <a:gd name="connsiteX13526" fmla="*/ 8103446 w 10505529"/>
              <a:gd name="connsiteY13526" fmla="*/ 5273668 h 7458372"/>
              <a:gd name="connsiteX13527" fmla="*/ 8094127 w 10505529"/>
              <a:gd name="connsiteY13527" fmla="*/ 5279924 h 7458372"/>
              <a:gd name="connsiteX13528" fmla="*/ 8082281 w 10505529"/>
              <a:gd name="connsiteY13528" fmla="*/ 5282187 h 7458372"/>
              <a:gd name="connsiteX13529" fmla="*/ 8060448 w 10505529"/>
              <a:gd name="connsiteY13529" fmla="*/ 5273668 h 7458372"/>
              <a:gd name="connsiteX13530" fmla="*/ 8052062 w 10505529"/>
              <a:gd name="connsiteY13530" fmla="*/ 5252501 h 7458372"/>
              <a:gd name="connsiteX13531" fmla="*/ 8060448 w 10505529"/>
              <a:gd name="connsiteY13531" fmla="*/ 5231468 h 7458372"/>
              <a:gd name="connsiteX13532" fmla="*/ 8082281 w 10505529"/>
              <a:gd name="connsiteY13532" fmla="*/ 5222816 h 7458372"/>
              <a:gd name="connsiteX13533" fmla="*/ 7864636 w 10505529"/>
              <a:gd name="connsiteY13533" fmla="*/ 5222816 h 7458372"/>
              <a:gd name="connsiteX13534" fmla="*/ 7876483 w 10505529"/>
              <a:gd name="connsiteY13534" fmla="*/ 5225478 h 7458372"/>
              <a:gd name="connsiteX13535" fmla="*/ 7885802 w 10505529"/>
              <a:gd name="connsiteY13535" fmla="*/ 5231868 h 7458372"/>
              <a:gd name="connsiteX13536" fmla="*/ 7891924 w 10505529"/>
              <a:gd name="connsiteY13536" fmla="*/ 5241186 h 7458372"/>
              <a:gd name="connsiteX13537" fmla="*/ 7894188 w 10505529"/>
              <a:gd name="connsiteY13537" fmla="*/ 5252634 h 7458372"/>
              <a:gd name="connsiteX13538" fmla="*/ 7891924 w 10505529"/>
              <a:gd name="connsiteY13538" fmla="*/ 5264349 h 7458372"/>
              <a:gd name="connsiteX13539" fmla="*/ 7885802 w 10505529"/>
              <a:gd name="connsiteY13539" fmla="*/ 5273668 h 7458372"/>
              <a:gd name="connsiteX13540" fmla="*/ 7876483 w 10505529"/>
              <a:gd name="connsiteY13540" fmla="*/ 5279924 h 7458372"/>
              <a:gd name="connsiteX13541" fmla="*/ 7864636 w 10505529"/>
              <a:gd name="connsiteY13541" fmla="*/ 5282187 h 7458372"/>
              <a:gd name="connsiteX13542" fmla="*/ 7842803 w 10505529"/>
              <a:gd name="connsiteY13542" fmla="*/ 5273668 h 7458372"/>
              <a:gd name="connsiteX13543" fmla="*/ 7834417 w 10505529"/>
              <a:gd name="connsiteY13543" fmla="*/ 5252501 h 7458372"/>
              <a:gd name="connsiteX13544" fmla="*/ 7842803 w 10505529"/>
              <a:gd name="connsiteY13544" fmla="*/ 5231468 h 7458372"/>
              <a:gd name="connsiteX13545" fmla="*/ 7864636 w 10505529"/>
              <a:gd name="connsiteY13545" fmla="*/ 5222816 h 7458372"/>
              <a:gd name="connsiteX13546" fmla="*/ 7646991 w 10505529"/>
              <a:gd name="connsiteY13546" fmla="*/ 5222816 h 7458372"/>
              <a:gd name="connsiteX13547" fmla="*/ 7658705 w 10505529"/>
              <a:gd name="connsiteY13547" fmla="*/ 5225478 h 7458372"/>
              <a:gd name="connsiteX13548" fmla="*/ 7668022 w 10505529"/>
              <a:gd name="connsiteY13548" fmla="*/ 5231868 h 7458372"/>
              <a:gd name="connsiteX13549" fmla="*/ 7674146 w 10505529"/>
              <a:gd name="connsiteY13549" fmla="*/ 5241186 h 7458372"/>
              <a:gd name="connsiteX13550" fmla="*/ 7676409 w 10505529"/>
              <a:gd name="connsiteY13550" fmla="*/ 5252634 h 7458372"/>
              <a:gd name="connsiteX13551" fmla="*/ 7674146 w 10505529"/>
              <a:gd name="connsiteY13551" fmla="*/ 5264349 h 7458372"/>
              <a:gd name="connsiteX13552" fmla="*/ 7668022 w 10505529"/>
              <a:gd name="connsiteY13552" fmla="*/ 5273668 h 7458372"/>
              <a:gd name="connsiteX13553" fmla="*/ 7658705 w 10505529"/>
              <a:gd name="connsiteY13553" fmla="*/ 5279924 h 7458372"/>
              <a:gd name="connsiteX13554" fmla="*/ 7646991 w 10505529"/>
              <a:gd name="connsiteY13554" fmla="*/ 5282187 h 7458372"/>
              <a:gd name="connsiteX13555" fmla="*/ 7625158 w 10505529"/>
              <a:gd name="connsiteY13555" fmla="*/ 5273668 h 7458372"/>
              <a:gd name="connsiteX13556" fmla="*/ 7616772 w 10505529"/>
              <a:gd name="connsiteY13556" fmla="*/ 5252501 h 7458372"/>
              <a:gd name="connsiteX13557" fmla="*/ 7625158 w 10505529"/>
              <a:gd name="connsiteY13557" fmla="*/ 5231468 h 7458372"/>
              <a:gd name="connsiteX13558" fmla="*/ 7646991 w 10505529"/>
              <a:gd name="connsiteY13558" fmla="*/ 5222816 h 7458372"/>
              <a:gd name="connsiteX13559" fmla="*/ 7429345 w 10505529"/>
              <a:gd name="connsiteY13559" fmla="*/ 5222816 h 7458372"/>
              <a:gd name="connsiteX13560" fmla="*/ 7441059 w 10505529"/>
              <a:gd name="connsiteY13560" fmla="*/ 5225478 h 7458372"/>
              <a:gd name="connsiteX13561" fmla="*/ 7450377 w 10505529"/>
              <a:gd name="connsiteY13561" fmla="*/ 5231868 h 7458372"/>
              <a:gd name="connsiteX13562" fmla="*/ 7456501 w 10505529"/>
              <a:gd name="connsiteY13562" fmla="*/ 5241186 h 7458372"/>
              <a:gd name="connsiteX13563" fmla="*/ 7458764 w 10505529"/>
              <a:gd name="connsiteY13563" fmla="*/ 5252634 h 7458372"/>
              <a:gd name="connsiteX13564" fmla="*/ 7456501 w 10505529"/>
              <a:gd name="connsiteY13564" fmla="*/ 5264349 h 7458372"/>
              <a:gd name="connsiteX13565" fmla="*/ 7450377 w 10505529"/>
              <a:gd name="connsiteY13565" fmla="*/ 5273668 h 7458372"/>
              <a:gd name="connsiteX13566" fmla="*/ 7441059 w 10505529"/>
              <a:gd name="connsiteY13566" fmla="*/ 5279924 h 7458372"/>
              <a:gd name="connsiteX13567" fmla="*/ 7429345 w 10505529"/>
              <a:gd name="connsiteY13567" fmla="*/ 5282187 h 7458372"/>
              <a:gd name="connsiteX13568" fmla="*/ 7407513 w 10505529"/>
              <a:gd name="connsiteY13568" fmla="*/ 5273668 h 7458372"/>
              <a:gd name="connsiteX13569" fmla="*/ 7399127 w 10505529"/>
              <a:gd name="connsiteY13569" fmla="*/ 5252501 h 7458372"/>
              <a:gd name="connsiteX13570" fmla="*/ 7407513 w 10505529"/>
              <a:gd name="connsiteY13570" fmla="*/ 5231468 h 7458372"/>
              <a:gd name="connsiteX13571" fmla="*/ 7429345 w 10505529"/>
              <a:gd name="connsiteY13571" fmla="*/ 5222816 h 7458372"/>
              <a:gd name="connsiteX13572" fmla="*/ 7211701 w 10505529"/>
              <a:gd name="connsiteY13572" fmla="*/ 5222816 h 7458372"/>
              <a:gd name="connsiteX13573" fmla="*/ 7223415 w 10505529"/>
              <a:gd name="connsiteY13573" fmla="*/ 5225478 h 7458372"/>
              <a:gd name="connsiteX13574" fmla="*/ 7232733 w 10505529"/>
              <a:gd name="connsiteY13574" fmla="*/ 5231868 h 7458372"/>
              <a:gd name="connsiteX13575" fmla="*/ 7238856 w 10505529"/>
              <a:gd name="connsiteY13575" fmla="*/ 5241186 h 7458372"/>
              <a:gd name="connsiteX13576" fmla="*/ 7241120 w 10505529"/>
              <a:gd name="connsiteY13576" fmla="*/ 5252634 h 7458372"/>
              <a:gd name="connsiteX13577" fmla="*/ 7238856 w 10505529"/>
              <a:gd name="connsiteY13577" fmla="*/ 5264349 h 7458372"/>
              <a:gd name="connsiteX13578" fmla="*/ 7232733 w 10505529"/>
              <a:gd name="connsiteY13578" fmla="*/ 5273668 h 7458372"/>
              <a:gd name="connsiteX13579" fmla="*/ 7223415 w 10505529"/>
              <a:gd name="connsiteY13579" fmla="*/ 5279924 h 7458372"/>
              <a:gd name="connsiteX13580" fmla="*/ 7211701 w 10505529"/>
              <a:gd name="connsiteY13580" fmla="*/ 5282187 h 7458372"/>
              <a:gd name="connsiteX13581" fmla="*/ 7189868 w 10505529"/>
              <a:gd name="connsiteY13581" fmla="*/ 5273668 h 7458372"/>
              <a:gd name="connsiteX13582" fmla="*/ 7181482 w 10505529"/>
              <a:gd name="connsiteY13582" fmla="*/ 5252501 h 7458372"/>
              <a:gd name="connsiteX13583" fmla="*/ 7189868 w 10505529"/>
              <a:gd name="connsiteY13583" fmla="*/ 5231468 h 7458372"/>
              <a:gd name="connsiteX13584" fmla="*/ 7211701 w 10505529"/>
              <a:gd name="connsiteY13584" fmla="*/ 5222816 h 7458372"/>
              <a:gd name="connsiteX13585" fmla="*/ 6994056 w 10505529"/>
              <a:gd name="connsiteY13585" fmla="*/ 5222816 h 7458372"/>
              <a:gd name="connsiteX13586" fmla="*/ 7005769 w 10505529"/>
              <a:gd name="connsiteY13586" fmla="*/ 5225478 h 7458372"/>
              <a:gd name="connsiteX13587" fmla="*/ 7015087 w 10505529"/>
              <a:gd name="connsiteY13587" fmla="*/ 5231868 h 7458372"/>
              <a:gd name="connsiteX13588" fmla="*/ 7021211 w 10505529"/>
              <a:gd name="connsiteY13588" fmla="*/ 5241186 h 7458372"/>
              <a:gd name="connsiteX13589" fmla="*/ 7023474 w 10505529"/>
              <a:gd name="connsiteY13589" fmla="*/ 5252634 h 7458372"/>
              <a:gd name="connsiteX13590" fmla="*/ 7021211 w 10505529"/>
              <a:gd name="connsiteY13590" fmla="*/ 5264349 h 7458372"/>
              <a:gd name="connsiteX13591" fmla="*/ 7015087 w 10505529"/>
              <a:gd name="connsiteY13591" fmla="*/ 5273668 h 7458372"/>
              <a:gd name="connsiteX13592" fmla="*/ 7005769 w 10505529"/>
              <a:gd name="connsiteY13592" fmla="*/ 5279924 h 7458372"/>
              <a:gd name="connsiteX13593" fmla="*/ 6994056 w 10505529"/>
              <a:gd name="connsiteY13593" fmla="*/ 5282187 h 7458372"/>
              <a:gd name="connsiteX13594" fmla="*/ 6972223 w 10505529"/>
              <a:gd name="connsiteY13594" fmla="*/ 5273668 h 7458372"/>
              <a:gd name="connsiteX13595" fmla="*/ 6963837 w 10505529"/>
              <a:gd name="connsiteY13595" fmla="*/ 5252501 h 7458372"/>
              <a:gd name="connsiteX13596" fmla="*/ 6972223 w 10505529"/>
              <a:gd name="connsiteY13596" fmla="*/ 5231468 h 7458372"/>
              <a:gd name="connsiteX13597" fmla="*/ 6994056 w 10505529"/>
              <a:gd name="connsiteY13597" fmla="*/ 5222816 h 7458372"/>
              <a:gd name="connsiteX13598" fmla="*/ 6776544 w 10505529"/>
              <a:gd name="connsiteY13598" fmla="*/ 5222816 h 7458372"/>
              <a:gd name="connsiteX13599" fmla="*/ 6788258 w 10505529"/>
              <a:gd name="connsiteY13599" fmla="*/ 5225478 h 7458372"/>
              <a:gd name="connsiteX13600" fmla="*/ 6797576 w 10505529"/>
              <a:gd name="connsiteY13600" fmla="*/ 5231868 h 7458372"/>
              <a:gd name="connsiteX13601" fmla="*/ 6803699 w 10505529"/>
              <a:gd name="connsiteY13601" fmla="*/ 5241186 h 7458372"/>
              <a:gd name="connsiteX13602" fmla="*/ 6805963 w 10505529"/>
              <a:gd name="connsiteY13602" fmla="*/ 5252634 h 7458372"/>
              <a:gd name="connsiteX13603" fmla="*/ 6803699 w 10505529"/>
              <a:gd name="connsiteY13603" fmla="*/ 5264349 h 7458372"/>
              <a:gd name="connsiteX13604" fmla="*/ 6797576 w 10505529"/>
              <a:gd name="connsiteY13604" fmla="*/ 5273668 h 7458372"/>
              <a:gd name="connsiteX13605" fmla="*/ 6788258 w 10505529"/>
              <a:gd name="connsiteY13605" fmla="*/ 5279924 h 7458372"/>
              <a:gd name="connsiteX13606" fmla="*/ 6776544 w 10505529"/>
              <a:gd name="connsiteY13606" fmla="*/ 5282187 h 7458372"/>
              <a:gd name="connsiteX13607" fmla="*/ 6754711 w 10505529"/>
              <a:gd name="connsiteY13607" fmla="*/ 5273668 h 7458372"/>
              <a:gd name="connsiteX13608" fmla="*/ 6746325 w 10505529"/>
              <a:gd name="connsiteY13608" fmla="*/ 5252501 h 7458372"/>
              <a:gd name="connsiteX13609" fmla="*/ 6754711 w 10505529"/>
              <a:gd name="connsiteY13609" fmla="*/ 5231468 h 7458372"/>
              <a:gd name="connsiteX13610" fmla="*/ 6776544 w 10505529"/>
              <a:gd name="connsiteY13610" fmla="*/ 5222816 h 7458372"/>
              <a:gd name="connsiteX13611" fmla="*/ 6558899 w 10505529"/>
              <a:gd name="connsiteY13611" fmla="*/ 5222816 h 7458372"/>
              <a:gd name="connsiteX13612" fmla="*/ 6570612 w 10505529"/>
              <a:gd name="connsiteY13612" fmla="*/ 5225478 h 7458372"/>
              <a:gd name="connsiteX13613" fmla="*/ 6579930 w 10505529"/>
              <a:gd name="connsiteY13613" fmla="*/ 5231868 h 7458372"/>
              <a:gd name="connsiteX13614" fmla="*/ 6586054 w 10505529"/>
              <a:gd name="connsiteY13614" fmla="*/ 5241186 h 7458372"/>
              <a:gd name="connsiteX13615" fmla="*/ 6588317 w 10505529"/>
              <a:gd name="connsiteY13615" fmla="*/ 5252634 h 7458372"/>
              <a:gd name="connsiteX13616" fmla="*/ 6586054 w 10505529"/>
              <a:gd name="connsiteY13616" fmla="*/ 5264349 h 7458372"/>
              <a:gd name="connsiteX13617" fmla="*/ 6579930 w 10505529"/>
              <a:gd name="connsiteY13617" fmla="*/ 5273668 h 7458372"/>
              <a:gd name="connsiteX13618" fmla="*/ 6570612 w 10505529"/>
              <a:gd name="connsiteY13618" fmla="*/ 5279924 h 7458372"/>
              <a:gd name="connsiteX13619" fmla="*/ 6558899 w 10505529"/>
              <a:gd name="connsiteY13619" fmla="*/ 5282187 h 7458372"/>
              <a:gd name="connsiteX13620" fmla="*/ 6537066 w 10505529"/>
              <a:gd name="connsiteY13620" fmla="*/ 5273668 h 7458372"/>
              <a:gd name="connsiteX13621" fmla="*/ 6528680 w 10505529"/>
              <a:gd name="connsiteY13621" fmla="*/ 5252501 h 7458372"/>
              <a:gd name="connsiteX13622" fmla="*/ 6537066 w 10505529"/>
              <a:gd name="connsiteY13622" fmla="*/ 5231468 h 7458372"/>
              <a:gd name="connsiteX13623" fmla="*/ 6558899 w 10505529"/>
              <a:gd name="connsiteY13623" fmla="*/ 5222816 h 7458372"/>
              <a:gd name="connsiteX13624" fmla="*/ 6341253 w 10505529"/>
              <a:gd name="connsiteY13624" fmla="*/ 5222816 h 7458372"/>
              <a:gd name="connsiteX13625" fmla="*/ 6352968 w 10505529"/>
              <a:gd name="connsiteY13625" fmla="*/ 5225478 h 7458372"/>
              <a:gd name="connsiteX13626" fmla="*/ 6362286 w 10505529"/>
              <a:gd name="connsiteY13626" fmla="*/ 5231868 h 7458372"/>
              <a:gd name="connsiteX13627" fmla="*/ 6368409 w 10505529"/>
              <a:gd name="connsiteY13627" fmla="*/ 5241186 h 7458372"/>
              <a:gd name="connsiteX13628" fmla="*/ 6370672 w 10505529"/>
              <a:gd name="connsiteY13628" fmla="*/ 5252634 h 7458372"/>
              <a:gd name="connsiteX13629" fmla="*/ 6368409 w 10505529"/>
              <a:gd name="connsiteY13629" fmla="*/ 5264349 h 7458372"/>
              <a:gd name="connsiteX13630" fmla="*/ 6362286 w 10505529"/>
              <a:gd name="connsiteY13630" fmla="*/ 5273668 h 7458372"/>
              <a:gd name="connsiteX13631" fmla="*/ 6352968 w 10505529"/>
              <a:gd name="connsiteY13631" fmla="*/ 5279924 h 7458372"/>
              <a:gd name="connsiteX13632" fmla="*/ 6341253 w 10505529"/>
              <a:gd name="connsiteY13632" fmla="*/ 5282187 h 7458372"/>
              <a:gd name="connsiteX13633" fmla="*/ 6319421 w 10505529"/>
              <a:gd name="connsiteY13633" fmla="*/ 5273668 h 7458372"/>
              <a:gd name="connsiteX13634" fmla="*/ 6311035 w 10505529"/>
              <a:gd name="connsiteY13634" fmla="*/ 5252501 h 7458372"/>
              <a:gd name="connsiteX13635" fmla="*/ 6319421 w 10505529"/>
              <a:gd name="connsiteY13635" fmla="*/ 5231468 h 7458372"/>
              <a:gd name="connsiteX13636" fmla="*/ 6341253 w 10505529"/>
              <a:gd name="connsiteY13636" fmla="*/ 5222816 h 7458372"/>
              <a:gd name="connsiteX13637" fmla="*/ 6123608 w 10505529"/>
              <a:gd name="connsiteY13637" fmla="*/ 5222816 h 7458372"/>
              <a:gd name="connsiteX13638" fmla="*/ 6135322 w 10505529"/>
              <a:gd name="connsiteY13638" fmla="*/ 5225478 h 7458372"/>
              <a:gd name="connsiteX13639" fmla="*/ 6144640 w 10505529"/>
              <a:gd name="connsiteY13639" fmla="*/ 5231868 h 7458372"/>
              <a:gd name="connsiteX13640" fmla="*/ 6150763 w 10505529"/>
              <a:gd name="connsiteY13640" fmla="*/ 5241186 h 7458372"/>
              <a:gd name="connsiteX13641" fmla="*/ 6153026 w 10505529"/>
              <a:gd name="connsiteY13641" fmla="*/ 5252634 h 7458372"/>
              <a:gd name="connsiteX13642" fmla="*/ 6150763 w 10505529"/>
              <a:gd name="connsiteY13642" fmla="*/ 5264349 h 7458372"/>
              <a:gd name="connsiteX13643" fmla="*/ 6144640 w 10505529"/>
              <a:gd name="connsiteY13643" fmla="*/ 5273668 h 7458372"/>
              <a:gd name="connsiteX13644" fmla="*/ 6135322 w 10505529"/>
              <a:gd name="connsiteY13644" fmla="*/ 5279924 h 7458372"/>
              <a:gd name="connsiteX13645" fmla="*/ 6123608 w 10505529"/>
              <a:gd name="connsiteY13645" fmla="*/ 5282187 h 7458372"/>
              <a:gd name="connsiteX13646" fmla="*/ 6101775 w 10505529"/>
              <a:gd name="connsiteY13646" fmla="*/ 5273668 h 7458372"/>
              <a:gd name="connsiteX13647" fmla="*/ 6093389 w 10505529"/>
              <a:gd name="connsiteY13647" fmla="*/ 5252501 h 7458372"/>
              <a:gd name="connsiteX13648" fmla="*/ 6101775 w 10505529"/>
              <a:gd name="connsiteY13648" fmla="*/ 5231468 h 7458372"/>
              <a:gd name="connsiteX13649" fmla="*/ 6123608 w 10505529"/>
              <a:gd name="connsiteY13649" fmla="*/ 5222816 h 7458372"/>
              <a:gd name="connsiteX13650" fmla="*/ 5905963 w 10505529"/>
              <a:gd name="connsiteY13650" fmla="*/ 5222816 h 7458372"/>
              <a:gd name="connsiteX13651" fmla="*/ 5917677 w 10505529"/>
              <a:gd name="connsiteY13651" fmla="*/ 5225478 h 7458372"/>
              <a:gd name="connsiteX13652" fmla="*/ 5926995 w 10505529"/>
              <a:gd name="connsiteY13652" fmla="*/ 5231868 h 7458372"/>
              <a:gd name="connsiteX13653" fmla="*/ 5933118 w 10505529"/>
              <a:gd name="connsiteY13653" fmla="*/ 5241186 h 7458372"/>
              <a:gd name="connsiteX13654" fmla="*/ 5935381 w 10505529"/>
              <a:gd name="connsiteY13654" fmla="*/ 5252634 h 7458372"/>
              <a:gd name="connsiteX13655" fmla="*/ 5933118 w 10505529"/>
              <a:gd name="connsiteY13655" fmla="*/ 5264349 h 7458372"/>
              <a:gd name="connsiteX13656" fmla="*/ 5926995 w 10505529"/>
              <a:gd name="connsiteY13656" fmla="*/ 5273668 h 7458372"/>
              <a:gd name="connsiteX13657" fmla="*/ 5917677 w 10505529"/>
              <a:gd name="connsiteY13657" fmla="*/ 5279924 h 7458372"/>
              <a:gd name="connsiteX13658" fmla="*/ 5905963 w 10505529"/>
              <a:gd name="connsiteY13658" fmla="*/ 5282187 h 7458372"/>
              <a:gd name="connsiteX13659" fmla="*/ 5884130 w 10505529"/>
              <a:gd name="connsiteY13659" fmla="*/ 5273668 h 7458372"/>
              <a:gd name="connsiteX13660" fmla="*/ 5875744 w 10505529"/>
              <a:gd name="connsiteY13660" fmla="*/ 5252501 h 7458372"/>
              <a:gd name="connsiteX13661" fmla="*/ 5884130 w 10505529"/>
              <a:gd name="connsiteY13661" fmla="*/ 5231468 h 7458372"/>
              <a:gd name="connsiteX13662" fmla="*/ 5905963 w 10505529"/>
              <a:gd name="connsiteY13662" fmla="*/ 5222816 h 7458372"/>
              <a:gd name="connsiteX13663" fmla="*/ 5688451 w 10505529"/>
              <a:gd name="connsiteY13663" fmla="*/ 5222816 h 7458372"/>
              <a:gd name="connsiteX13664" fmla="*/ 5700165 w 10505529"/>
              <a:gd name="connsiteY13664" fmla="*/ 5225478 h 7458372"/>
              <a:gd name="connsiteX13665" fmla="*/ 5709483 w 10505529"/>
              <a:gd name="connsiteY13665" fmla="*/ 5231868 h 7458372"/>
              <a:gd name="connsiteX13666" fmla="*/ 5715606 w 10505529"/>
              <a:gd name="connsiteY13666" fmla="*/ 5241186 h 7458372"/>
              <a:gd name="connsiteX13667" fmla="*/ 5717869 w 10505529"/>
              <a:gd name="connsiteY13667" fmla="*/ 5252634 h 7458372"/>
              <a:gd name="connsiteX13668" fmla="*/ 5715606 w 10505529"/>
              <a:gd name="connsiteY13668" fmla="*/ 5264349 h 7458372"/>
              <a:gd name="connsiteX13669" fmla="*/ 5709483 w 10505529"/>
              <a:gd name="connsiteY13669" fmla="*/ 5273668 h 7458372"/>
              <a:gd name="connsiteX13670" fmla="*/ 5700165 w 10505529"/>
              <a:gd name="connsiteY13670" fmla="*/ 5279924 h 7458372"/>
              <a:gd name="connsiteX13671" fmla="*/ 5688451 w 10505529"/>
              <a:gd name="connsiteY13671" fmla="*/ 5282187 h 7458372"/>
              <a:gd name="connsiteX13672" fmla="*/ 5666618 w 10505529"/>
              <a:gd name="connsiteY13672" fmla="*/ 5273668 h 7458372"/>
              <a:gd name="connsiteX13673" fmla="*/ 5658232 w 10505529"/>
              <a:gd name="connsiteY13673" fmla="*/ 5252501 h 7458372"/>
              <a:gd name="connsiteX13674" fmla="*/ 5666618 w 10505529"/>
              <a:gd name="connsiteY13674" fmla="*/ 5231468 h 7458372"/>
              <a:gd name="connsiteX13675" fmla="*/ 5688451 w 10505529"/>
              <a:gd name="connsiteY13675" fmla="*/ 5222816 h 7458372"/>
              <a:gd name="connsiteX13676" fmla="*/ 5470806 w 10505529"/>
              <a:gd name="connsiteY13676" fmla="*/ 5222816 h 7458372"/>
              <a:gd name="connsiteX13677" fmla="*/ 5482520 w 10505529"/>
              <a:gd name="connsiteY13677" fmla="*/ 5225478 h 7458372"/>
              <a:gd name="connsiteX13678" fmla="*/ 5491838 w 10505529"/>
              <a:gd name="connsiteY13678" fmla="*/ 5231868 h 7458372"/>
              <a:gd name="connsiteX13679" fmla="*/ 5497961 w 10505529"/>
              <a:gd name="connsiteY13679" fmla="*/ 5241186 h 7458372"/>
              <a:gd name="connsiteX13680" fmla="*/ 5500224 w 10505529"/>
              <a:gd name="connsiteY13680" fmla="*/ 5252634 h 7458372"/>
              <a:gd name="connsiteX13681" fmla="*/ 5497961 w 10505529"/>
              <a:gd name="connsiteY13681" fmla="*/ 5264349 h 7458372"/>
              <a:gd name="connsiteX13682" fmla="*/ 5491838 w 10505529"/>
              <a:gd name="connsiteY13682" fmla="*/ 5273668 h 7458372"/>
              <a:gd name="connsiteX13683" fmla="*/ 5482520 w 10505529"/>
              <a:gd name="connsiteY13683" fmla="*/ 5279924 h 7458372"/>
              <a:gd name="connsiteX13684" fmla="*/ 5470806 w 10505529"/>
              <a:gd name="connsiteY13684" fmla="*/ 5282187 h 7458372"/>
              <a:gd name="connsiteX13685" fmla="*/ 5448973 w 10505529"/>
              <a:gd name="connsiteY13685" fmla="*/ 5273668 h 7458372"/>
              <a:gd name="connsiteX13686" fmla="*/ 5440587 w 10505529"/>
              <a:gd name="connsiteY13686" fmla="*/ 5252501 h 7458372"/>
              <a:gd name="connsiteX13687" fmla="*/ 5448973 w 10505529"/>
              <a:gd name="connsiteY13687" fmla="*/ 5231468 h 7458372"/>
              <a:gd name="connsiteX13688" fmla="*/ 5470806 w 10505529"/>
              <a:gd name="connsiteY13688" fmla="*/ 5222816 h 7458372"/>
              <a:gd name="connsiteX13689" fmla="*/ 5253160 w 10505529"/>
              <a:gd name="connsiteY13689" fmla="*/ 5222816 h 7458372"/>
              <a:gd name="connsiteX13690" fmla="*/ 5264875 w 10505529"/>
              <a:gd name="connsiteY13690" fmla="*/ 5225478 h 7458372"/>
              <a:gd name="connsiteX13691" fmla="*/ 5274192 w 10505529"/>
              <a:gd name="connsiteY13691" fmla="*/ 5231868 h 7458372"/>
              <a:gd name="connsiteX13692" fmla="*/ 5280316 w 10505529"/>
              <a:gd name="connsiteY13692" fmla="*/ 5241186 h 7458372"/>
              <a:gd name="connsiteX13693" fmla="*/ 5282579 w 10505529"/>
              <a:gd name="connsiteY13693" fmla="*/ 5252634 h 7458372"/>
              <a:gd name="connsiteX13694" fmla="*/ 5280316 w 10505529"/>
              <a:gd name="connsiteY13694" fmla="*/ 5264349 h 7458372"/>
              <a:gd name="connsiteX13695" fmla="*/ 5274192 w 10505529"/>
              <a:gd name="connsiteY13695" fmla="*/ 5273668 h 7458372"/>
              <a:gd name="connsiteX13696" fmla="*/ 5264875 w 10505529"/>
              <a:gd name="connsiteY13696" fmla="*/ 5279924 h 7458372"/>
              <a:gd name="connsiteX13697" fmla="*/ 5253160 w 10505529"/>
              <a:gd name="connsiteY13697" fmla="*/ 5282187 h 7458372"/>
              <a:gd name="connsiteX13698" fmla="*/ 5231328 w 10505529"/>
              <a:gd name="connsiteY13698" fmla="*/ 5273668 h 7458372"/>
              <a:gd name="connsiteX13699" fmla="*/ 5222942 w 10505529"/>
              <a:gd name="connsiteY13699" fmla="*/ 5252501 h 7458372"/>
              <a:gd name="connsiteX13700" fmla="*/ 5231328 w 10505529"/>
              <a:gd name="connsiteY13700" fmla="*/ 5231468 h 7458372"/>
              <a:gd name="connsiteX13701" fmla="*/ 5253160 w 10505529"/>
              <a:gd name="connsiteY13701" fmla="*/ 5222816 h 7458372"/>
              <a:gd name="connsiteX13702" fmla="*/ 5035515 w 10505529"/>
              <a:gd name="connsiteY13702" fmla="*/ 5222816 h 7458372"/>
              <a:gd name="connsiteX13703" fmla="*/ 5047230 w 10505529"/>
              <a:gd name="connsiteY13703" fmla="*/ 5225478 h 7458372"/>
              <a:gd name="connsiteX13704" fmla="*/ 5056548 w 10505529"/>
              <a:gd name="connsiteY13704" fmla="*/ 5231868 h 7458372"/>
              <a:gd name="connsiteX13705" fmla="*/ 5062671 w 10505529"/>
              <a:gd name="connsiteY13705" fmla="*/ 5241186 h 7458372"/>
              <a:gd name="connsiteX13706" fmla="*/ 5064934 w 10505529"/>
              <a:gd name="connsiteY13706" fmla="*/ 5252634 h 7458372"/>
              <a:gd name="connsiteX13707" fmla="*/ 5062671 w 10505529"/>
              <a:gd name="connsiteY13707" fmla="*/ 5264349 h 7458372"/>
              <a:gd name="connsiteX13708" fmla="*/ 5056548 w 10505529"/>
              <a:gd name="connsiteY13708" fmla="*/ 5273668 h 7458372"/>
              <a:gd name="connsiteX13709" fmla="*/ 5047230 w 10505529"/>
              <a:gd name="connsiteY13709" fmla="*/ 5279924 h 7458372"/>
              <a:gd name="connsiteX13710" fmla="*/ 5035515 w 10505529"/>
              <a:gd name="connsiteY13710" fmla="*/ 5282187 h 7458372"/>
              <a:gd name="connsiteX13711" fmla="*/ 5013683 w 10505529"/>
              <a:gd name="connsiteY13711" fmla="*/ 5273668 h 7458372"/>
              <a:gd name="connsiteX13712" fmla="*/ 5005297 w 10505529"/>
              <a:gd name="connsiteY13712" fmla="*/ 5252501 h 7458372"/>
              <a:gd name="connsiteX13713" fmla="*/ 5013683 w 10505529"/>
              <a:gd name="connsiteY13713" fmla="*/ 5231468 h 7458372"/>
              <a:gd name="connsiteX13714" fmla="*/ 5035515 w 10505529"/>
              <a:gd name="connsiteY13714" fmla="*/ 5222816 h 7458372"/>
              <a:gd name="connsiteX13715" fmla="*/ 4817870 w 10505529"/>
              <a:gd name="connsiteY13715" fmla="*/ 5222816 h 7458372"/>
              <a:gd name="connsiteX13716" fmla="*/ 4829585 w 10505529"/>
              <a:gd name="connsiteY13716" fmla="*/ 5225478 h 7458372"/>
              <a:gd name="connsiteX13717" fmla="*/ 4838903 w 10505529"/>
              <a:gd name="connsiteY13717" fmla="*/ 5231868 h 7458372"/>
              <a:gd name="connsiteX13718" fmla="*/ 4845026 w 10505529"/>
              <a:gd name="connsiteY13718" fmla="*/ 5241186 h 7458372"/>
              <a:gd name="connsiteX13719" fmla="*/ 4847289 w 10505529"/>
              <a:gd name="connsiteY13719" fmla="*/ 5252634 h 7458372"/>
              <a:gd name="connsiteX13720" fmla="*/ 4845026 w 10505529"/>
              <a:gd name="connsiteY13720" fmla="*/ 5264349 h 7458372"/>
              <a:gd name="connsiteX13721" fmla="*/ 4838903 w 10505529"/>
              <a:gd name="connsiteY13721" fmla="*/ 5273668 h 7458372"/>
              <a:gd name="connsiteX13722" fmla="*/ 4829585 w 10505529"/>
              <a:gd name="connsiteY13722" fmla="*/ 5279924 h 7458372"/>
              <a:gd name="connsiteX13723" fmla="*/ 4817870 w 10505529"/>
              <a:gd name="connsiteY13723" fmla="*/ 5282187 h 7458372"/>
              <a:gd name="connsiteX13724" fmla="*/ 4796038 w 10505529"/>
              <a:gd name="connsiteY13724" fmla="*/ 5273668 h 7458372"/>
              <a:gd name="connsiteX13725" fmla="*/ 4787652 w 10505529"/>
              <a:gd name="connsiteY13725" fmla="*/ 5252501 h 7458372"/>
              <a:gd name="connsiteX13726" fmla="*/ 4796038 w 10505529"/>
              <a:gd name="connsiteY13726" fmla="*/ 5231468 h 7458372"/>
              <a:gd name="connsiteX13727" fmla="*/ 4817870 w 10505529"/>
              <a:gd name="connsiteY13727" fmla="*/ 5222816 h 7458372"/>
              <a:gd name="connsiteX13728" fmla="*/ 4600226 w 10505529"/>
              <a:gd name="connsiteY13728" fmla="*/ 5222816 h 7458372"/>
              <a:gd name="connsiteX13729" fmla="*/ 4612073 w 10505529"/>
              <a:gd name="connsiteY13729" fmla="*/ 5225478 h 7458372"/>
              <a:gd name="connsiteX13730" fmla="*/ 4621391 w 10505529"/>
              <a:gd name="connsiteY13730" fmla="*/ 5231868 h 7458372"/>
              <a:gd name="connsiteX13731" fmla="*/ 4627514 w 10505529"/>
              <a:gd name="connsiteY13731" fmla="*/ 5241186 h 7458372"/>
              <a:gd name="connsiteX13732" fmla="*/ 4629777 w 10505529"/>
              <a:gd name="connsiteY13732" fmla="*/ 5252634 h 7458372"/>
              <a:gd name="connsiteX13733" fmla="*/ 4627514 w 10505529"/>
              <a:gd name="connsiteY13733" fmla="*/ 5264349 h 7458372"/>
              <a:gd name="connsiteX13734" fmla="*/ 4621391 w 10505529"/>
              <a:gd name="connsiteY13734" fmla="*/ 5273668 h 7458372"/>
              <a:gd name="connsiteX13735" fmla="*/ 4612073 w 10505529"/>
              <a:gd name="connsiteY13735" fmla="*/ 5279924 h 7458372"/>
              <a:gd name="connsiteX13736" fmla="*/ 4600226 w 10505529"/>
              <a:gd name="connsiteY13736" fmla="*/ 5282187 h 7458372"/>
              <a:gd name="connsiteX13737" fmla="*/ 4578393 w 10505529"/>
              <a:gd name="connsiteY13737" fmla="*/ 5273668 h 7458372"/>
              <a:gd name="connsiteX13738" fmla="*/ 4570007 w 10505529"/>
              <a:gd name="connsiteY13738" fmla="*/ 5252501 h 7458372"/>
              <a:gd name="connsiteX13739" fmla="*/ 4578393 w 10505529"/>
              <a:gd name="connsiteY13739" fmla="*/ 5231468 h 7458372"/>
              <a:gd name="connsiteX13740" fmla="*/ 4600226 w 10505529"/>
              <a:gd name="connsiteY13740" fmla="*/ 5222816 h 7458372"/>
              <a:gd name="connsiteX13741" fmla="*/ 4382713 w 10505529"/>
              <a:gd name="connsiteY13741" fmla="*/ 5222816 h 7458372"/>
              <a:gd name="connsiteX13742" fmla="*/ 4394428 w 10505529"/>
              <a:gd name="connsiteY13742" fmla="*/ 5225478 h 7458372"/>
              <a:gd name="connsiteX13743" fmla="*/ 4403746 w 10505529"/>
              <a:gd name="connsiteY13743" fmla="*/ 5231868 h 7458372"/>
              <a:gd name="connsiteX13744" fmla="*/ 4409869 w 10505529"/>
              <a:gd name="connsiteY13744" fmla="*/ 5241186 h 7458372"/>
              <a:gd name="connsiteX13745" fmla="*/ 4412132 w 10505529"/>
              <a:gd name="connsiteY13745" fmla="*/ 5252634 h 7458372"/>
              <a:gd name="connsiteX13746" fmla="*/ 4409869 w 10505529"/>
              <a:gd name="connsiteY13746" fmla="*/ 5264349 h 7458372"/>
              <a:gd name="connsiteX13747" fmla="*/ 4403746 w 10505529"/>
              <a:gd name="connsiteY13747" fmla="*/ 5273668 h 7458372"/>
              <a:gd name="connsiteX13748" fmla="*/ 4394428 w 10505529"/>
              <a:gd name="connsiteY13748" fmla="*/ 5279924 h 7458372"/>
              <a:gd name="connsiteX13749" fmla="*/ 4382713 w 10505529"/>
              <a:gd name="connsiteY13749" fmla="*/ 5282187 h 7458372"/>
              <a:gd name="connsiteX13750" fmla="*/ 4360881 w 10505529"/>
              <a:gd name="connsiteY13750" fmla="*/ 5273668 h 7458372"/>
              <a:gd name="connsiteX13751" fmla="*/ 4352495 w 10505529"/>
              <a:gd name="connsiteY13751" fmla="*/ 5252501 h 7458372"/>
              <a:gd name="connsiteX13752" fmla="*/ 4360881 w 10505529"/>
              <a:gd name="connsiteY13752" fmla="*/ 5231468 h 7458372"/>
              <a:gd name="connsiteX13753" fmla="*/ 4382713 w 10505529"/>
              <a:gd name="connsiteY13753" fmla="*/ 5222816 h 7458372"/>
              <a:gd name="connsiteX13754" fmla="*/ 4165068 w 10505529"/>
              <a:gd name="connsiteY13754" fmla="*/ 5222816 h 7458372"/>
              <a:gd name="connsiteX13755" fmla="*/ 4176782 w 10505529"/>
              <a:gd name="connsiteY13755" fmla="*/ 5225478 h 7458372"/>
              <a:gd name="connsiteX13756" fmla="*/ 4186100 w 10505529"/>
              <a:gd name="connsiteY13756" fmla="*/ 5231868 h 7458372"/>
              <a:gd name="connsiteX13757" fmla="*/ 4192223 w 10505529"/>
              <a:gd name="connsiteY13757" fmla="*/ 5241186 h 7458372"/>
              <a:gd name="connsiteX13758" fmla="*/ 4194486 w 10505529"/>
              <a:gd name="connsiteY13758" fmla="*/ 5252634 h 7458372"/>
              <a:gd name="connsiteX13759" fmla="*/ 4192223 w 10505529"/>
              <a:gd name="connsiteY13759" fmla="*/ 5264349 h 7458372"/>
              <a:gd name="connsiteX13760" fmla="*/ 4186100 w 10505529"/>
              <a:gd name="connsiteY13760" fmla="*/ 5273668 h 7458372"/>
              <a:gd name="connsiteX13761" fmla="*/ 4176782 w 10505529"/>
              <a:gd name="connsiteY13761" fmla="*/ 5279924 h 7458372"/>
              <a:gd name="connsiteX13762" fmla="*/ 4165068 w 10505529"/>
              <a:gd name="connsiteY13762" fmla="*/ 5282187 h 7458372"/>
              <a:gd name="connsiteX13763" fmla="*/ 4143235 w 10505529"/>
              <a:gd name="connsiteY13763" fmla="*/ 5273668 h 7458372"/>
              <a:gd name="connsiteX13764" fmla="*/ 4134849 w 10505529"/>
              <a:gd name="connsiteY13764" fmla="*/ 5252501 h 7458372"/>
              <a:gd name="connsiteX13765" fmla="*/ 4143235 w 10505529"/>
              <a:gd name="connsiteY13765" fmla="*/ 5231468 h 7458372"/>
              <a:gd name="connsiteX13766" fmla="*/ 4165068 w 10505529"/>
              <a:gd name="connsiteY13766" fmla="*/ 5222816 h 7458372"/>
              <a:gd name="connsiteX13767" fmla="*/ 3947709 w 10505529"/>
              <a:gd name="connsiteY13767" fmla="*/ 5222816 h 7458372"/>
              <a:gd name="connsiteX13768" fmla="*/ 3959427 w 10505529"/>
              <a:gd name="connsiteY13768" fmla="*/ 5225478 h 7458372"/>
              <a:gd name="connsiteX13769" fmla="*/ 3968745 w 10505529"/>
              <a:gd name="connsiteY13769" fmla="*/ 5231868 h 7458372"/>
              <a:gd name="connsiteX13770" fmla="*/ 3974869 w 10505529"/>
              <a:gd name="connsiteY13770" fmla="*/ 5241186 h 7458372"/>
              <a:gd name="connsiteX13771" fmla="*/ 3977133 w 10505529"/>
              <a:gd name="connsiteY13771" fmla="*/ 5252634 h 7458372"/>
              <a:gd name="connsiteX13772" fmla="*/ 3974869 w 10505529"/>
              <a:gd name="connsiteY13772" fmla="*/ 5264349 h 7458372"/>
              <a:gd name="connsiteX13773" fmla="*/ 3968745 w 10505529"/>
              <a:gd name="connsiteY13773" fmla="*/ 5273668 h 7458372"/>
              <a:gd name="connsiteX13774" fmla="*/ 3959427 w 10505529"/>
              <a:gd name="connsiteY13774" fmla="*/ 5279924 h 7458372"/>
              <a:gd name="connsiteX13775" fmla="*/ 3947709 w 10505529"/>
              <a:gd name="connsiteY13775" fmla="*/ 5282187 h 7458372"/>
              <a:gd name="connsiteX13776" fmla="*/ 3925877 w 10505529"/>
              <a:gd name="connsiteY13776" fmla="*/ 5273668 h 7458372"/>
              <a:gd name="connsiteX13777" fmla="*/ 3917490 w 10505529"/>
              <a:gd name="connsiteY13777" fmla="*/ 5252501 h 7458372"/>
              <a:gd name="connsiteX13778" fmla="*/ 3925877 w 10505529"/>
              <a:gd name="connsiteY13778" fmla="*/ 5231468 h 7458372"/>
              <a:gd name="connsiteX13779" fmla="*/ 3947709 w 10505529"/>
              <a:gd name="connsiteY13779" fmla="*/ 5222816 h 7458372"/>
              <a:gd name="connsiteX13780" fmla="*/ 3730051 w 10505529"/>
              <a:gd name="connsiteY13780" fmla="*/ 5222816 h 7458372"/>
              <a:gd name="connsiteX13781" fmla="*/ 3741767 w 10505529"/>
              <a:gd name="connsiteY13781" fmla="*/ 5225478 h 7458372"/>
              <a:gd name="connsiteX13782" fmla="*/ 3751085 w 10505529"/>
              <a:gd name="connsiteY13782" fmla="*/ 5231868 h 7458372"/>
              <a:gd name="connsiteX13783" fmla="*/ 3757208 w 10505529"/>
              <a:gd name="connsiteY13783" fmla="*/ 5241186 h 7458372"/>
              <a:gd name="connsiteX13784" fmla="*/ 3759471 w 10505529"/>
              <a:gd name="connsiteY13784" fmla="*/ 5252634 h 7458372"/>
              <a:gd name="connsiteX13785" fmla="*/ 3757208 w 10505529"/>
              <a:gd name="connsiteY13785" fmla="*/ 5264349 h 7458372"/>
              <a:gd name="connsiteX13786" fmla="*/ 3751085 w 10505529"/>
              <a:gd name="connsiteY13786" fmla="*/ 5273668 h 7458372"/>
              <a:gd name="connsiteX13787" fmla="*/ 3741767 w 10505529"/>
              <a:gd name="connsiteY13787" fmla="*/ 5279924 h 7458372"/>
              <a:gd name="connsiteX13788" fmla="*/ 3730051 w 10505529"/>
              <a:gd name="connsiteY13788" fmla="*/ 5282187 h 7458372"/>
              <a:gd name="connsiteX13789" fmla="*/ 3708212 w 10505529"/>
              <a:gd name="connsiteY13789" fmla="*/ 5273668 h 7458372"/>
              <a:gd name="connsiteX13790" fmla="*/ 3699826 w 10505529"/>
              <a:gd name="connsiteY13790" fmla="*/ 5252501 h 7458372"/>
              <a:gd name="connsiteX13791" fmla="*/ 3708212 w 10505529"/>
              <a:gd name="connsiteY13791" fmla="*/ 5231468 h 7458372"/>
              <a:gd name="connsiteX13792" fmla="*/ 3730051 w 10505529"/>
              <a:gd name="connsiteY13792" fmla="*/ 5222816 h 7458372"/>
              <a:gd name="connsiteX13793" fmla="*/ 3512391 w 10505529"/>
              <a:gd name="connsiteY13793" fmla="*/ 5222816 h 7458372"/>
              <a:gd name="connsiteX13794" fmla="*/ 3524107 w 10505529"/>
              <a:gd name="connsiteY13794" fmla="*/ 5225478 h 7458372"/>
              <a:gd name="connsiteX13795" fmla="*/ 3533425 w 10505529"/>
              <a:gd name="connsiteY13795" fmla="*/ 5231868 h 7458372"/>
              <a:gd name="connsiteX13796" fmla="*/ 3539548 w 10505529"/>
              <a:gd name="connsiteY13796" fmla="*/ 5241186 h 7458372"/>
              <a:gd name="connsiteX13797" fmla="*/ 3541811 w 10505529"/>
              <a:gd name="connsiteY13797" fmla="*/ 5252634 h 7458372"/>
              <a:gd name="connsiteX13798" fmla="*/ 3539548 w 10505529"/>
              <a:gd name="connsiteY13798" fmla="*/ 5264349 h 7458372"/>
              <a:gd name="connsiteX13799" fmla="*/ 3533425 w 10505529"/>
              <a:gd name="connsiteY13799" fmla="*/ 5273668 h 7458372"/>
              <a:gd name="connsiteX13800" fmla="*/ 3524107 w 10505529"/>
              <a:gd name="connsiteY13800" fmla="*/ 5279924 h 7458372"/>
              <a:gd name="connsiteX13801" fmla="*/ 3512391 w 10505529"/>
              <a:gd name="connsiteY13801" fmla="*/ 5282187 h 7458372"/>
              <a:gd name="connsiteX13802" fmla="*/ 3490555 w 10505529"/>
              <a:gd name="connsiteY13802" fmla="*/ 5273668 h 7458372"/>
              <a:gd name="connsiteX13803" fmla="*/ 3482168 w 10505529"/>
              <a:gd name="connsiteY13803" fmla="*/ 5252501 h 7458372"/>
              <a:gd name="connsiteX13804" fmla="*/ 3490555 w 10505529"/>
              <a:gd name="connsiteY13804" fmla="*/ 5231468 h 7458372"/>
              <a:gd name="connsiteX13805" fmla="*/ 3512391 w 10505529"/>
              <a:gd name="connsiteY13805" fmla="*/ 5222816 h 7458372"/>
              <a:gd name="connsiteX13806" fmla="*/ 3294865 w 10505529"/>
              <a:gd name="connsiteY13806" fmla="*/ 5222816 h 7458372"/>
              <a:gd name="connsiteX13807" fmla="*/ 3306580 w 10505529"/>
              <a:gd name="connsiteY13807" fmla="*/ 5225478 h 7458372"/>
              <a:gd name="connsiteX13808" fmla="*/ 3315898 w 10505529"/>
              <a:gd name="connsiteY13808" fmla="*/ 5231868 h 7458372"/>
              <a:gd name="connsiteX13809" fmla="*/ 3322021 w 10505529"/>
              <a:gd name="connsiteY13809" fmla="*/ 5241186 h 7458372"/>
              <a:gd name="connsiteX13810" fmla="*/ 3324284 w 10505529"/>
              <a:gd name="connsiteY13810" fmla="*/ 5252634 h 7458372"/>
              <a:gd name="connsiteX13811" fmla="*/ 3322021 w 10505529"/>
              <a:gd name="connsiteY13811" fmla="*/ 5264349 h 7458372"/>
              <a:gd name="connsiteX13812" fmla="*/ 3315898 w 10505529"/>
              <a:gd name="connsiteY13812" fmla="*/ 5273668 h 7458372"/>
              <a:gd name="connsiteX13813" fmla="*/ 3306580 w 10505529"/>
              <a:gd name="connsiteY13813" fmla="*/ 5279924 h 7458372"/>
              <a:gd name="connsiteX13814" fmla="*/ 3294865 w 10505529"/>
              <a:gd name="connsiteY13814" fmla="*/ 5282187 h 7458372"/>
              <a:gd name="connsiteX13815" fmla="*/ 3273026 w 10505529"/>
              <a:gd name="connsiteY13815" fmla="*/ 5273668 h 7458372"/>
              <a:gd name="connsiteX13816" fmla="*/ 3264639 w 10505529"/>
              <a:gd name="connsiteY13816" fmla="*/ 5252501 h 7458372"/>
              <a:gd name="connsiteX13817" fmla="*/ 3273026 w 10505529"/>
              <a:gd name="connsiteY13817" fmla="*/ 5231468 h 7458372"/>
              <a:gd name="connsiteX13818" fmla="*/ 3294865 w 10505529"/>
              <a:gd name="connsiteY13818" fmla="*/ 5222816 h 7458372"/>
              <a:gd name="connsiteX13819" fmla="*/ 3077204 w 10505529"/>
              <a:gd name="connsiteY13819" fmla="*/ 5222816 h 7458372"/>
              <a:gd name="connsiteX13820" fmla="*/ 3088920 w 10505529"/>
              <a:gd name="connsiteY13820" fmla="*/ 5225478 h 7458372"/>
              <a:gd name="connsiteX13821" fmla="*/ 3098238 w 10505529"/>
              <a:gd name="connsiteY13821" fmla="*/ 5231868 h 7458372"/>
              <a:gd name="connsiteX13822" fmla="*/ 3104361 w 10505529"/>
              <a:gd name="connsiteY13822" fmla="*/ 5241186 h 7458372"/>
              <a:gd name="connsiteX13823" fmla="*/ 3106624 w 10505529"/>
              <a:gd name="connsiteY13823" fmla="*/ 5252634 h 7458372"/>
              <a:gd name="connsiteX13824" fmla="*/ 3104361 w 10505529"/>
              <a:gd name="connsiteY13824" fmla="*/ 5264349 h 7458372"/>
              <a:gd name="connsiteX13825" fmla="*/ 3098238 w 10505529"/>
              <a:gd name="connsiteY13825" fmla="*/ 5273668 h 7458372"/>
              <a:gd name="connsiteX13826" fmla="*/ 3088920 w 10505529"/>
              <a:gd name="connsiteY13826" fmla="*/ 5279924 h 7458372"/>
              <a:gd name="connsiteX13827" fmla="*/ 3077204 w 10505529"/>
              <a:gd name="connsiteY13827" fmla="*/ 5282187 h 7458372"/>
              <a:gd name="connsiteX13828" fmla="*/ 3055367 w 10505529"/>
              <a:gd name="connsiteY13828" fmla="*/ 5273668 h 7458372"/>
              <a:gd name="connsiteX13829" fmla="*/ 3046980 w 10505529"/>
              <a:gd name="connsiteY13829" fmla="*/ 5252501 h 7458372"/>
              <a:gd name="connsiteX13830" fmla="*/ 3055367 w 10505529"/>
              <a:gd name="connsiteY13830" fmla="*/ 5231468 h 7458372"/>
              <a:gd name="connsiteX13831" fmla="*/ 3077204 w 10505529"/>
              <a:gd name="connsiteY13831" fmla="*/ 5222816 h 7458372"/>
              <a:gd name="connsiteX13832" fmla="*/ 2859544 w 10505529"/>
              <a:gd name="connsiteY13832" fmla="*/ 5222816 h 7458372"/>
              <a:gd name="connsiteX13833" fmla="*/ 2871393 w 10505529"/>
              <a:gd name="connsiteY13833" fmla="*/ 5225478 h 7458372"/>
              <a:gd name="connsiteX13834" fmla="*/ 2880711 w 10505529"/>
              <a:gd name="connsiteY13834" fmla="*/ 5231868 h 7458372"/>
              <a:gd name="connsiteX13835" fmla="*/ 2886834 w 10505529"/>
              <a:gd name="connsiteY13835" fmla="*/ 5241186 h 7458372"/>
              <a:gd name="connsiteX13836" fmla="*/ 2889097 w 10505529"/>
              <a:gd name="connsiteY13836" fmla="*/ 5252634 h 7458372"/>
              <a:gd name="connsiteX13837" fmla="*/ 2886834 w 10505529"/>
              <a:gd name="connsiteY13837" fmla="*/ 5264349 h 7458372"/>
              <a:gd name="connsiteX13838" fmla="*/ 2880711 w 10505529"/>
              <a:gd name="connsiteY13838" fmla="*/ 5273668 h 7458372"/>
              <a:gd name="connsiteX13839" fmla="*/ 2871393 w 10505529"/>
              <a:gd name="connsiteY13839" fmla="*/ 5279924 h 7458372"/>
              <a:gd name="connsiteX13840" fmla="*/ 2859544 w 10505529"/>
              <a:gd name="connsiteY13840" fmla="*/ 5282187 h 7458372"/>
              <a:gd name="connsiteX13841" fmla="*/ 2837707 w 10505529"/>
              <a:gd name="connsiteY13841" fmla="*/ 5273668 h 7458372"/>
              <a:gd name="connsiteX13842" fmla="*/ 2829319 w 10505529"/>
              <a:gd name="connsiteY13842" fmla="*/ 5252501 h 7458372"/>
              <a:gd name="connsiteX13843" fmla="*/ 2837707 w 10505529"/>
              <a:gd name="connsiteY13843" fmla="*/ 5231468 h 7458372"/>
              <a:gd name="connsiteX13844" fmla="*/ 2859544 w 10505529"/>
              <a:gd name="connsiteY13844" fmla="*/ 5222816 h 7458372"/>
              <a:gd name="connsiteX13845" fmla="*/ 2641884 w 10505529"/>
              <a:gd name="connsiteY13845" fmla="*/ 5222816 h 7458372"/>
              <a:gd name="connsiteX13846" fmla="*/ 2653600 w 10505529"/>
              <a:gd name="connsiteY13846" fmla="*/ 5225478 h 7458372"/>
              <a:gd name="connsiteX13847" fmla="*/ 2662918 w 10505529"/>
              <a:gd name="connsiteY13847" fmla="*/ 5231868 h 7458372"/>
              <a:gd name="connsiteX13848" fmla="*/ 2669041 w 10505529"/>
              <a:gd name="connsiteY13848" fmla="*/ 5241186 h 7458372"/>
              <a:gd name="connsiteX13849" fmla="*/ 2671304 w 10505529"/>
              <a:gd name="connsiteY13849" fmla="*/ 5252634 h 7458372"/>
              <a:gd name="connsiteX13850" fmla="*/ 2669041 w 10505529"/>
              <a:gd name="connsiteY13850" fmla="*/ 5264349 h 7458372"/>
              <a:gd name="connsiteX13851" fmla="*/ 2662918 w 10505529"/>
              <a:gd name="connsiteY13851" fmla="*/ 5273668 h 7458372"/>
              <a:gd name="connsiteX13852" fmla="*/ 2653600 w 10505529"/>
              <a:gd name="connsiteY13852" fmla="*/ 5279924 h 7458372"/>
              <a:gd name="connsiteX13853" fmla="*/ 2641884 w 10505529"/>
              <a:gd name="connsiteY13853" fmla="*/ 5282187 h 7458372"/>
              <a:gd name="connsiteX13854" fmla="*/ 2620052 w 10505529"/>
              <a:gd name="connsiteY13854" fmla="*/ 5273668 h 7458372"/>
              <a:gd name="connsiteX13855" fmla="*/ 2611661 w 10505529"/>
              <a:gd name="connsiteY13855" fmla="*/ 5252501 h 7458372"/>
              <a:gd name="connsiteX13856" fmla="*/ 2620052 w 10505529"/>
              <a:gd name="connsiteY13856" fmla="*/ 5231468 h 7458372"/>
              <a:gd name="connsiteX13857" fmla="*/ 2641884 w 10505529"/>
              <a:gd name="connsiteY13857" fmla="*/ 5222816 h 7458372"/>
              <a:gd name="connsiteX13858" fmla="*/ 2424224 w 10505529"/>
              <a:gd name="connsiteY13858" fmla="*/ 5222816 h 7458372"/>
              <a:gd name="connsiteX13859" fmla="*/ 2435939 w 10505529"/>
              <a:gd name="connsiteY13859" fmla="*/ 5225478 h 7458372"/>
              <a:gd name="connsiteX13860" fmla="*/ 2445257 w 10505529"/>
              <a:gd name="connsiteY13860" fmla="*/ 5231868 h 7458372"/>
              <a:gd name="connsiteX13861" fmla="*/ 2451381 w 10505529"/>
              <a:gd name="connsiteY13861" fmla="*/ 5241186 h 7458372"/>
              <a:gd name="connsiteX13862" fmla="*/ 2453644 w 10505529"/>
              <a:gd name="connsiteY13862" fmla="*/ 5252634 h 7458372"/>
              <a:gd name="connsiteX13863" fmla="*/ 2451381 w 10505529"/>
              <a:gd name="connsiteY13863" fmla="*/ 5264349 h 7458372"/>
              <a:gd name="connsiteX13864" fmla="*/ 2445257 w 10505529"/>
              <a:gd name="connsiteY13864" fmla="*/ 5273668 h 7458372"/>
              <a:gd name="connsiteX13865" fmla="*/ 2435939 w 10505529"/>
              <a:gd name="connsiteY13865" fmla="*/ 5279924 h 7458372"/>
              <a:gd name="connsiteX13866" fmla="*/ 2424224 w 10505529"/>
              <a:gd name="connsiteY13866" fmla="*/ 5282187 h 7458372"/>
              <a:gd name="connsiteX13867" fmla="*/ 2402392 w 10505529"/>
              <a:gd name="connsiteY13867" fmla="*/ 5273668 h 7458372"/>
              <a:gd name="connsiteX13868" fmla="*/ 2394003 w 10505529"/>
              <a:gd name="connsiteY13868" fmla="*/ 5252501 h 7458372"/>
              <a:gd name="connsiteX13869" fmla="*/ 2402392 w 10505529"/>
              <a:gd name="connsiteY13869" fmla="*/ 5231468 h 7458372"/>
              <a:gd name="connsiteX13870" fmla="*/ 2424224 w 10505529"/>
              <a:gd name="connsiteY13870" fmla="*/ 5222816 h 7458372"/>
              <a:gd name="connsiteX13871" fmla="*/ 2206564 w 10505529"/>
              <a:gd name="connsiteY13871" fmla="*/ 5222816 h 7458372"/>
              <a:gd name="connsiteX13872" fmla="*/ 2218279 w 10505529"/>
              <a:gd name="connsiteY13872" fmla="*/ 5225478 h 7458372"/>
              <a:gd name="connsiteX13873" fmla="*/ 2227598 w 10505529"/>
              <a:gd name="connsiteY13873" fmla="*/ 5231868 h 7458372"/>
              <a:gd name="connsiteX13874" fmla="*/ 2233720 w 10505529"/>
              <a:gd name="connsiteY13874" fmla="*/ 5241186 h 7458372"/>
              <a:gd name="connsiteX13875" fmla="*/ 2235983 w 10505529"/>
              <a:gd name="connsiteY13875" fmla="*/ 5252634 h 7458372"/>
              <a:gd name="connsiteX13876" fmla="*/ 2233720 w 10505529"/>
              <a:gd name="connsiteY13876" fmla="*/ 5264349 h 7458372"/>
              <a:gd name="connsiteX13877" fmla="*/ 2227598 w 10505529"/>
              <a:gd name="connsiteY13877" fmla="*/ 5273668 h 7458372"/>
              <a:gd name="connsiteX13878" fmla="*/ 2218279 w 10505529"/>
              <a:gd name="connsiteY13878" fmla="*/ 5279924 h 7458372"/>
              <a:gd name="connsiteX13879" fmla="*/ 2206564 w 10505529"/>
              <a:gd name="connsiteY13879" fmla="*/ 5282187 h 7458372"/>
              <a:gd name="connsiteX13880" fmla="*/ 2184731 w 10505529"/>
              <a:gd name="connsiteY13880" fmla="*/ 5273668 h 7458372"/>
              <a:gd name="connsiteX13881" fmla="*/ 2176343 w 10505529"/>
              <a:gd name="connsiteY13881" fmla="*/ 5252501 h 7458372"/>
              <a:gd name="connsiteX13882" fmla="*/ 2184731 w 10505529"/>
              <a:gd name="connsiteY13882" fmla="*/ 5231468 h 7458372"/>
              <a:gd name="connsiteX13883" fmla="*/ 2206564 w 10505529"/>
              <a:gd name="connsiteY13883" fmla="*/ 5222816 h 7458372"/>
              <a:gd name="connsiteX13884" fmla="*/ 1989037 w 10505529"/>
              <a:gd name="connsiteY13884" fmla="*/ 5222816 h 7458372"/>
              <a:gd name="connsiteX13885" fmla="*/ 2000752 w 10505529"/>
              <a:gd name="connsiteY13885" fmla="*/ 5225478 h 7458372"/>
              <a:gd name="connsiteX13886" fmla="*/ 2010070 w 10505529"/>
              <a:gd name="connsiteY13886" fmla="*/ 5231868 h 7458372"/>
              <a:gd name="connsiteX13887" fmla="*/ 2016193 w 10505529"/>
              <a:gd name="connsiteY13887" fmla="*/ 5241186 h 7458372"/>
              <a:gd name="connsiteX13888" fmla="*/ 2018456 w 10505529"/>
              <a:gd name="connsiteY13888" fmla="*/ 5252634 h 7458372"/>
              <a:gd name="connsiteX13889" fmla="*/ 2016193 w 10505529"/>
              <a:gd name="connsiteY13889" fmla="*/ 5264349 h 7458372"/>
              <a:gd name="connsiteX13890" fmla="*/ 2010070 w 10505529"/>
              <a:gd name="connsiteY13890" fmla="*/ 5273668 h 7458372"/>
              <a:gd name="connsiteX13891" fmla="*/ 2000752 w 10505529"/>
              <a:gd name="connsiteY13891" fmla="*/ 5279924 h 7458372"/>
              <a:gd name="connsiteX13892" fmla="*/ 1989037 w 10505529"/>
              <a:gd name="connsiteY13892" fmla="*/ 5282187 h 7458372"/>
              <a:gd name="connsiteX13893" fmla="*/ 1967205 w 10505529"/>
              <a:gd name="connsiteY13893" fmla="*/ 5273668 h 7458372"/>
              <a:gd name="connsiteX13894" fmla="*/ 1958819 w 10505529"/>
              <a:gd name="connsiteY13894" fmla="*/ 5252501 h 7458372"/>
              <a:gd name="connsiteX13895" fmla="*/ 1967205 w 10505529"/>
              <a:gd name="connsiteY13895" fmla="*/ 5231468 h 7458372"/>
              <a:gd name="connsiteX13896" fmla="*/ 1989037 w 10505529"/>
              <a:gd name="connsiteY13896" fmla="*/ 5222816 h 7458372"/>
              <a:gd name="connsiteX13897" fmla="*/ 1771402 w 10505529"/>
              <a:gd name="connsiteY13897" fmla="*/ 5222816 h 7458372"/>
              <a:gd name="connsiteX13898" fmla="*/ 1783116 w 10505529"/>
              <a:gd name="connsiteY13898" fmla="*/ 5225478 h 7458372"/>
              <a:gd name="connsiteX13899" fmla="*/ 1792434 w 10505529"/>
              <a:gd name="connsiteY13899" fmla="*/ 5231868 h 7458372"/>
              <a:gd name="connsiteX13900" fmla="*/ 1798557 w 10505529"/>
              <a:gd name="connsiteY13900" fmla="*/ 5241186 h 7458372"/>
              <a:gd name="connsiteX13901" fmla="*/ 1800820 w 10505529"/>
              <a:gd name="connsiteY13901" fmla="*/ 5252634 h 7458372"/>
              <a:gd name="connsiteX13902" fmla="*/ 1798557 w 10505529"/>
              <a:gd name="connsiteY13902" fmla="*/ 5264349 h 7458372"/>
              <a:gd name="connsiteX13903" fmla="*/ 1792434 w 10505529"/>
              <a:gd name="connsiteY13903" fmla="*/ 5273668 h 7458372"/>
              <a:gd name="connsiteX13904" fmla="*/ 1783116 w 10505529"/>
              <a:gd name="connsiteY13904" fmla="*/ 5279924 h 7458372"/>
              <a:gd name="connsiteX13905" fmla="*/ 1771402 w 10505529"/>
              <a:gd name="connsiteY13905" fmla="*/ 5282187 h 7458372"/>
              <a:gd name="connsiteX13906" fmla="*/ 1749573 w 10505529"/>
              <a:gd name="connsiteY13906" fmla="*/ 5273668 h 7458372"/>
              <a:gd name="connsiteX13907" fmla="*/ 1741190 w 10505529"/>
              <a:gd name="connsiteY13907" fmla="*/ 5252501 h 7458372"/>
              <a:gd name="connsiteX13908" fmla="*/ 1749573 w 10505529"/>
              <a:gd name="connsiteY13908" fmla="*/ 5231468 h 7458372"/>
              <a:gd name="connsiteX13909" fmla="*/ 1771402 w 10505529"/>
              <a:gd name="connsiteY13909" fmla="*/ 5222816 h 7458372"/>
              <a:gd name="connsiteX13910" fmla="*/ 1553765 w 10505529"/>
              <a:gd name="connsiteY13910" fmla="*/ 5222816 h 7458372"/>
              <a:gd name="connsiteX13911" fmla="*/ 1565480 w 10505529"/>
              <a:gd name="connsiteY13911" fmla="*/ 5225478 h 7458372"/>
              <a:gd name="connsiteX13912" fmla="*/ 1574798 w 10505529"/>
              <a:gd name="connsiteY13912" fmla="*/ 5231868 h 7458372"/>
              <a:gd name="connsiteX13913" fmla="*/ 1580921 w 10505529"/>
              <a:gd name="connsiteY13913" fmla="*/ 5241186 h 7458372"/>
              <a:gd name="connsiteX13914" fmla="*/ 1583184 w 10505529"/>
              <a:gd name="connsiteY13914" fmla="*/ 5252634 h 7458372"/>
              <a:gd name="connsiteX13915" fmla="*/ 1580921 w 10505529"/>
              <a:gd name="connsiteY13915" fmla="*/ 5264349 h 7458372"/>
              <a:gd name="connsiteX13916" fmla="*/ 1574798 w 10505529"/>
              <a:gd name="connsiteY13916" fmla="*/ 5273668 h 7458372"/>
              <a:gd name="connsiteX13917" fmla="*/ 1565480 w 10505529"/>
              <a:gd name="connsiteY13917" fmla="*/ 5279924 h 7458372"/>
              <a:gd name="connsiteX13918" fmla="*/ 1553765 w 10505529"/>
              <a:gd name="connsiteY13918" fmla="*/ 5282187 h 7458372"/>
              <a:gd name="connsiteX13919" fmla="*/ 1531935 w 10505529"/>
              <a:gd name="connsiteY13919" fmla="*/ 5273668 h 7458372"/>
              <a:gd name="connsiteX13920" fmla="*/ 1523550 w 10505529"/>
              <a:gd name="connsiteY13920" fmla="*/ 5252501 h 7458372"/>
              <a:gd name="connsiteX13921" fmla="*/ 1531935 w 10505529"/>
              <a:gd name="connsiteY13921" fmla="*/ 5231468 h 7458372"/>
              <a:gd name="connsiteX13922" fmla="*/ 1553765 w 10505529"/>
              <a:gd name="connsiteY13922" fmla="*/ 5222816 h 7458372"/>
              <a:gd name="connsiteX13923" fmla="*/ 1336122 w 10505529"/>
              <a:gd name="connsiteY13923" fmla="*/ 5222816 h 7458372"/>
              <a:gd name="connsiteX13924" fmla="*/ 1347836 w 10505529"/>
              <a:gd name="connsiteY13924" fmla="*/ 5225478 h 7458372"/>
              <a:gd name="connsiteX13925" fmla="*/ 1357155 w 10505529"/>
              <a:gd name="connsiteY13925" fmla="*/ 5231868 h 7458372"/>
              <a:gd name="connsiteX13926" fmla="*/ 1363278 w 10505529"/>
              <a:gd name="connsiteY13926" fmla="*/ 5241186 h 7458372"/>
              <a:gd name="connsiteX13927" fmla="*/ 1365540 w 10505529"/>
              <a:gd name="connsiteY13927" fmla="*/ 5252634 h 7458372"/>
              <a:gd name="connsiteX13928" fmla="*/ 1363278 w 10505529"/>
              <a:gd name="connsiteY13928" fmla="*/ 5264349 h 7458372"/>
              <a:gd name="connsiteX13929" fmla="*/ 1357155 w 10505529"/>
              <a:gd name="connsiteY13929" fmla="*/ 5273668 h 7458372"/>
              <a:gd name="connsiteX13930" fmla="*/ 1347836 w 10505529"/>
              <a:gd name="connsiteY13930" fmla="*/ 5279924 h 7458372"/>
              <a:gd name="connsiteX13931" fmla="*/ 1336122 w 10505529"/>
              <a:gd name="connsiteY13931" fmla="*/ 5282187 h 7458372"/>
              <a:gd name="connsiteX13932" fmla="*/ 1314289 w 10505529"/>
              <a:gd name="connsiteY13932" fmla="*/ 5273668 h 7458372"/>
              <a:gd name="connsiteX13933" fmla="*/ 1305903 w 10505529"/>
              <a:gd name="connsiteY13933" fmla="*/ 5252501 h 7458372"/>
              <a:gd name="connsiteX13934" fmla="*/ 1314289 w 10505529"/>
              <a:gd name="connsiteY13934" fmla="*/ 5231468 h 7458372"/>
              <a:gd name="connsiteX13935" fmla="*/ 1336122 w 10505529"/>
              <a:gd name="connsiteY13935" fmla="*/ 5222816 h 7458372"/>
              <a:gd name="connsiteX13936" fmla="*/ 1118476 w 10505529"/>
              <a:gd name="connsiteY13936" fmla="*/ 5222816 h 7458372"/>
              <a:gd name="connsiteX13937" fmla="*/ 1130194 w 10505529"/>
              <a:gd name="connsiteY13937" fmla="*/ 5225478 h 7458372"/>
              <a:gd name="connsiteX13938" fmla="*/ 1139509 w 10505529"/>
              <a:gd name="connsiteY13938" fmla="*/ 5231868 h 7458372"/>
              <a:gd name="connsiteX13939" fmla="*/ 1145629 w 10505529"/>
              <a:gd name="connsiteY13939" fmla="*/ 5241186 h 7458372"/>
              <a:gd name="connsiteX13940" fmla="*/ 1147892 w 10505529"/>
              <a:gd name="connsiteY13940" fmla="*/ 5252634 h 7458372"/>
              <a:gd name="connsiteX13941" fmla="*/ 1145629 w 10505529"/>
              <a:gd name="connsiteY13941" fmla="*/ 5264349 h 7458372"/>
              <a:gd name="connsiteX13942" fmla="*/ 1139509 w 10505529"/>
              <a:gd name="connsiteY13942" fmla="*/ 5273668 h 7458372"/>
              <a:gd name="connsiteX13943" fmla="*/ 1130194 w 10505529"/>
              <a:gd name="connsiteY13943" fmla="*/ 5279924 h 7458372"/>
              <a:gd name="connsiteX13944" fmla="*/ 1118476 w 10505529"/>
              <a:gd name="connsiteY13944" fmla="*/ 5282187 h 7458372"/>
              <a:gd name="connsiteX13945" fmla="*/ 1096641 w 10505529"/>
              <a:gd name="connsiteY13945" fmla="*/ 5273668 h 7458372"/>
              <a:gd name="connsiteX13946" fmla="*/ 1088257 w 10505529"/>
              <a:gd name="connsiteY13946" fmla="*/ 5252501 h 7458372"/>
              <a:gd name="connsiteX13947" fmla="*/ 1096641 w 10505529"/>
              <a:gd name="connsiteY13947" fmla="*/ 5231468 h 7458372"/>
              <a:gd name="connsiteX13948" fmla="*/ 1118476 w 10505529"/>
              <a:gd name="connsiteY13948" fmla="*/ 5222816 h 7458372"/>
              <a:gd name="connsiteX13949" fmla="*/ 900963 w 10505529"/>
              <a:gd name="connsiteY13949" fmla="*/ 5222816 h 7458372"/>
              <a:gd name="connsiteX13950" fmla="*/ 912678 w 10505529"/>
              <a:gd name="connsiteY13950" fmla="*/ 5225478 h 7458372"/>
              <a:gd name="connsiteX13951" fmla="*/ 921996 w 10505529"/>
              <a:gd name="connsiteY13951" fmla="*/ 5231868 h 7458372"/>
              <a:gd name="connsiteX13952" fmla="*/ 928119 w 10505529"/>
              <a:gd name="connsiteY13952" fmla="*/ 5241186 h 7458372"/>
              <a:gd name="connsiteX13953" fmla="*/ 930382 w 10505529"/>
              <a:gd name="connsiteY13953" fmla="*/ 5252634 h 7458372"/>
              <a:gd name="connsiteX13954" fmla="*/ 928119 w 10505529"/>
              <a:gd name="connsiteY13954" fmla="*/ 5264349 h 7458372"/>
              <a:gd name="connsiteX13955" fmla="*/ 921996 w 10505529"/>
              <a:gd name="connsiteY13955" fmla="*/ 5273668 h 7458372"/>
              <a:gd name="connsiteX13956" fmla="*/ 912678 w 10505529"/>
              <a:gd name="connsiteY13956" fmla="*/ 5279924 h 7458372"/>
              <a:gd name="connsiteX13957" fmla="*/ 900963 w 10505529"/>
              <a:gd name="connsiteY13957" fmla="*/ 5282187 h 7458372"/>
              <a:gd name="connsiteX13958" fmla="*/ 879132 w 10505529"/>
              <a:gd name="connsiteY13958" fmla="*/ 5273668 h 7458372"/>
              <a:gd name="connsiteX13959" fmla="*/ 870747 w 10505529"/>
              <a:gd name="connsiteY13959" fmla="*/ 5252501 h 7458372"/>
              <a:gd name="connsiteX13960" fmla="*/ 879132 w 10505529"/>
              <a:gd name="connsiteY13960" fmla="*/ 5231468 h 7458372"/>
              <a:gd name="connsiteX13961" fmla="*/ 900963 w 10505529"/>
              <a:gd name="connsiteY13961" fmla="*/ 5222816 h 7458372"/>
              <a:gd name="connsiteX13962" fmla="*/ 683323 w 10505529"/>
              <a:gd name="connsiteY13962" fmla="*/ 5222816 h 7458372"/>
              <a:gd name="connsiteX13963" fmla="*/ 695038 w 10505529"/>
              <a:gd name="connsiteY13963" fmla="*/ 5225478 h 7458372"/>
              <a:gd name="connsiteX13964" fmla="*/ 704355 w 10505529"/>
              <a:gd name="connsiteY13964" fmla="*/ 5231868 h 7458372"/>
              <a:gd name="connsiteX13965" fmla="*/ 710478 w 10505529"/>
              <a:gd name="connsiteY13965" fmla="*/ 5241186 h 7458372"/>
              <a:gd name="connsiteX13966" fmla="*/ 712741 w 10505529"/>
              <a:gd name="connsiteY13966" fmla="*/ 5252634 h 7458372"/>
              <a:gd name="connsiteX13967" fmla="*/ 710478 w 10505529"/>
              <a:gd name="connsiteY13967" fmla="*/ 5264349 h 7458372"/>
              <a:gd name="connsiteX13968" fmla="*/ 704355 w 10505529"/>
              <a:gd name="connsiteY13968" fmla="*/ 5273668 h 7458372"/>
              <a:gd name="connsiteX13969" fmla="*/ 695038 w 10505529"/>
              <a:gd name="connsiteY13969" fmla="*/ 5279924 h 7458372"/>
              <a:gd name="connsiteX13970" fmla="*/ 683323 w 10505529"/>
              <a:gd name="connsiteY13970" fmla="*/ 5282187 h 7458372"/>
              <a:gd name="connsiteX13971" fmla="*/ 661491 w 10505529"/>
              <a:gd name="connsiteY13971" fmla="*/ 5273668 h 7458372"/>
              <a:gd name="connsiteX13972" fmla="*/ 653105 w 10505529"/>
              <a:gd name="connsiteY13972" fmla="*/ 5252501 h 7458372"/>
              <a:gd name="connsiteX13973" fmla="*/ 661491 w 10505529"/>
              <a:gd name="connsiteY13973" fmla="*/ 5231468 h 7458372"/>
              <a:gd name="connsiteX13974" fmla="*/ 683323 w 10505529"/>
              <a:gd name="connsiteY13974" fmla="*/ 5222816 h 7458372"/>
              <a:gd name="connsiteX13975" fmla="*/ 465681 w 10505529"/>
              <a:gd name="connsiteY13975" fmla="*/ 5222816 h 7458372"/>
              <a:gd name="connsiteX13976" fmla="*/ 477396 w 10505529"/>
              <a:gd name="connsiteY13976" fmla="*/ 5225478 h 7458372"/>
              <a:gd name="connsiteX13977" fmla="*/ 486714 w 10505529"/>
              <a:gd name="connsiteY13977" fmla="*/ 5231868 h 7458372"/>
              <a:gd name="connsiteX13978" fmla="*/ 492837 w 10505529"/>
              <a:gd name="connsiteY13978" fmla="*/ 5241186 h 7458372"/>
              <a:gd name="connsiteX13979" fmla="*/ 495100 w 10505529"/>
              <a:gd name="connsiteY13979" fmla="*/ 5252634 h 7458372"/>
              <a:gd name="connsiteX13980" fmla="*/ 492837 w 10505529"/>
              <a:gd name="connsiteY13980" fmla="*/ 5264349 h 7458372"/>
              <a:gd name="connsiteX13981" fmla="*/ 486714 w 10505529"/>
              <a:gd name="connsiteY13981" fmla="*/ 5273668 h 7458372"/>
              <a:gd name="connsiteX13982" fmla="*/ 477396 w 10505529"/>
              <a:gd name="connsiteY13982" fmla="*/ 5279924 h 7458372"/>
              <a:gd name="connsiteX13983" fmla="*/ 465681 w 10505529"/>
              <a:gd name="connsiteY13983" fmla="*/ 5282187 h 7458372"/>
              <a:gd name="connsiteX13984" fmla="*/ 443850 w 10505529"/>
              <a:gd name="connsiteY13984" fmla="*/ 5273668 h 7458372"/>
              <a:gd name="connsiteX13985" fmla="*/ 435464 w 10505529"/>
              <a:gd name="connsiteY13985" fmla="*/ 5252501 h 7458372"/>
              <a:gd name="connsiteX13986" fmla="*/ 443850 w 10505529"/>
              <a:gd name="connsiteY13986" fmla="*/ 5231468 h 7458372"/>
              <a:gd name="connsiteX13987" fmla="*/ 465681 w 10505529"/>
              <a:gd name="connsiteY13987" fmla="*/ 5222816 h 7458372"/>
              <a:gd name="connsiteX13988" fmla="*/ 248039 w 10505529"/>
              <a:gd name="connsiteY13988" fmla="*/ 5222816 h 7458372"/>
              <a:gd name="connsiteX13989" fmla="*/ 259754 w 10505529"/>
              <a:gd name="connsiteY13989" fmla="*/ 5225478 h 7458372"/>
              <a:gd name="connsiteX13990" fmla="*/ 269072 w 10505529"/>
              <a:gd name="connsiteY13990" fmla="*/ 5231868 h 7458372"/>
              <a:gd name="connsiteX13991" fmla="*/ 275195 w 10505529"/>
              <a:gd name="connsiteY13991" fmla="*/ 5241186 h 7458372"/>
              <a:gd name="connsiteX13992" fmla="*/ 277458 w 10505529"/>
              <a:gd name="connsiteY13992" fmla="*/ 5252634 h 7458372"/>
              <a:gd name="connsiteX13993" fmla="*/ 275195 w 10505529"/>
              <a:gd name="connsiteY13993" fmla="*/ 5264349 h 7458372"/>
              <a:gd name="connsiteX13994" fmla="*/ 269072 w 10505529"/>
              <a:gd name="connsiteY13994" fmla="*/ 5273668 h 7458372"/>
              <a:gd name="connsiteX13995" fmla="*/ 259754 w 10505529"/>
              <a:gd name="connsiteY13995" fmla="*/ 5279924 h 7458372"/>
              <a:gd name="connsiteX13996" fmla="*/ 248039 w 10505529"/>
              <a:gd name="connsiteY13996" fmla="*/ 5282187 h 7458372"/>
              <a:gd name="connsiteX13997" fmla="*/ 226209 w 10505529"/>
              <a:gd name="connsiteY13997" fmla="*/ 5273668 h 7458372"/>
              <a:gd name="connsiteX13998" fmla="*/ 217824 w 10505529"/>
              <a:gd name="connsiteY13998" fmla="*/ 5252501 h 7458372"/>
              <a:gd name="connsiteX13999" fmla="*/ 226209 w 10505529"/>
              <a:gd name="connsiteY13999" fmla="*/ 5231468 h 7458372"/>
              <a:gd name="connsiteX14000" fmla="*/ 248039 w 10505529"/>
              <a:gd name="connsiteY14000" fmla="*/ 5222816 h 7458372"/>
              <a:gd name="connsiteX14001" fmla="*/ 30398 w 10505529"/>
              <a:gd name="connsiteY14001" fmla="*/ 5222816 h 7458372"/>
              <a:gd name="connsiteX14002" fmla="*/ 42113 w 10505529"/>
              <a:gd name="connsiteY14002" fmla="*/ 5225478 h 7458372"/>
              <a:gd name="connsiteX14003" fmla="*/ 51431 w 10505529"/>
              <a:gd name="connsiteY14003" fmla="*/ 5231868 h 7458372"/>
              <a:gd name="connsiteX14004" fmla="*/ 57554 w 10505529"/>
              <a:gd name="connsiteY14004" fmla="*/ 5241186 h 7458372"/>
              <a:gd name="connsiteX14005" fmla="*/ 59817 w 10505529"/>
              <a:gd name="connsiteY14005" fmla="*/ 5252634 h 7458372"/>
              <a:gd name="connsiteX14006" fmla="*/ 57554 w 10505529"/>
              <a:gd name="connsiteY14006" fmla="*/ 5264349 h 7458372"/>
              <a:gd name="connsiteX14007" fmla="*/ 51431 w 10505529"/>
              <a:gd name="connsiteY14007" fmla="*/ 5273668 h 7458372"/>
              <a:gd name="connsiteX14008" fmla="*/ 42113 w 10505529"/>
              <a:gd name="connsiteY14008" fmla="*/ 5279924 h 7458372"/>
              <a:gd name="connsiteX14009" fmla="*/ 30398 w 10505529"/>
              <a:gd name="connsiteY14009" fmla="*/ 5282187 h 7458372"/>
              <a:gd name="connsiteX14010" fmla="*/ 8570 w 10505529"/>
              <a:gd name="connsiteY14010" fmla="*/ 5273668 h 7458372"/>
              <a:gd name="connsiteX14011" fmla="*/ 184 w 10505529"/>
              <a:gd name="connsiteY14011" fmla="*/ 5252501 h 7458372"/>
              <a:gd name="connsiteX14012" fmla="*/ 8570 w 10505529"/>
              <a:gd name="connsiteY14012" fmla="*/ 5231468 h 7458372"/>
              <a:gd name="connsiteX14013" fmla="*/ 30398 w 10505529"/>
              <a:gd name="connsiteY14013" fmla="*/ 5222816 h 7458372"/>
              <a:gd name="connsiteX14014" fmla="*/ 10475977 w 10505529"/>
              <a:gd name="connsiteY14014" fmla="*/ 5021945 h 7458372"/>
              <a:gd name="connsiteX14015" fmla="*/ 10465992 w 10505529"/>
              <a:gd name="connsiteY14015" fmla="*/ 5025539 h 7458372"/>
              <a:gd name="connsiteX14016" fmla="*/ 10462399 w 10505529"/>
              <a:gd name="connsiteY14016" fmla="*/ 5034990 h 7458372"/>
              <a:gd name="connsiteX14017" fmla="*/ 10465992 w 10505529"/>
              <a:gd name="connsiteY14017" fmla="*/ 5044441 h 7458372"/>
              <a:gd name="connsiteX14018" fmla="*/ 10475977 w 10505529"/>
              <a:gd name="connsiteY14018" fmla="*/ 5047903 h 7458372"/>
              <a:gd name="connsiteX14019" fmla="*/ 10481302 w 10505529"/>
              <a:gd name="connsiteY14019" fmla="*/ 5046971 h 7458372"/>
              <a:gd name="connsiteX14020" fmla="*/ 10485029 w 10505529"/>
              <a:gd name="connsiteY14020" fmla="*/ 5044574 h 7458372"/>
              <a:gd name="connsiteX14021" fmla="*/ 10487691 w 10505529"/>
              <a:gd name="connsiteY14021" fmla="*/ 5040315 h 7458372"/>
              <a:gd name="connsiteX14022" fmla="*/ 10488623 w 10505529"/>
              <a:gd name="connsiteY14022" fmla="*/ 5034857 h 7458372"/>
              <a:gd name="connsiteX14023" fmla="*/ 10487691 w 10505529"/>
              <a:gd name="connsiteY14023" fmla="*/ 5029666 h 7458372"/>
              <a:gd name="connsiteX14024" fmla="*/ 10485029 w 10505529"/>
              <a:gd name="connsiteY14024" fmla="*/ 5025539 h 7458372"/>
              <a:gd name="connsiteX14025" fmla="*/ 10481035 w 10505529"/>
              <a:gd name="connsiteY14025" fmla="*/ 5022876 h 7458372"/>
              <a:gd name="connsiteX14026" fmla="*/ 10475977 w 10505529"/>
              <a:gd name="connsiteY14026" fmla="*/ 5021945 h 7458372"/>
              <a:gd name="connsiteX14027" fmla="*/ 10258466 w 10505529"/>
              <a:gd name="connsiteY14027" fmla="*/ 5021945 h 7458372"/>
              <a:gd name="connsiteX14028" fmla="*/ 10248481 w 10505529"/>
              <a:gd name="connsiteY14028" fmla="*/ 5025539 h 7458372"/>
              <a:gd name="connsiteX14029" fmla="*/ 10244887 w 10505529"/>
              <a:gd name="connsiteY14029" fmla="*/ 5034990 h 7458372"/>
              <a:gd name="connsiteX14030" fmla="*/ 10248481 w 10505529"/>
              <a:gd name="connsiteY14030" fmla="*/ 5044441 h 7458372"/>
              <a:gd name="connsiteX14031" fmla="*/ 10258466 w 10505529"/>
              <a:gd name="connsiteY14031" fmla="*/ 5047903 h 7458372"/>
              <a:gd name="connsiteX14032" fmla="*/ 10263790 w 10505529"/>
              <a:gd name="connsiteY14032" fmla="*/ 5046971 h 7458372"/>
              <a:gd name="connsiteX14033" fmla="*/ 10267517 w 10505529"/>
              <a:gd name="connsiteY14033" fmla="*/ 5044574 h 7458372"/>
              <a:gd name="connsiteX14034" fmla="*/ 10270180 w 10505529"/>
              <a:gd name="connsiteY14034" fmla="*/ 5040315 h 7458372"/>
              <a:gd name="connsiteX14035" fmla="*/ 10271112 w 10505529"/>
              <a:gd name="connsiteY14035" fmla="*/ 5034857 h 7458372"/>
              <a:gd name="connsiteX14036" fmla="*/ 10270180 w 10505529"/>
              <a:gd name="connsiteY14036" fmla="*/ 5029666 h 7458372"/>
              <a:gd name="connsiteX14037" fmla="*/ 10267517 w 10505529"/>
              <a:gd name="connsiteY14037" fmla="*/ 5025539 h 7458372"/>
              <a:gd name="connsiteX14038" fmla="*/ 10263524 w 10505529"/>
              <a:gd name="connsiteY14038" fmla="*/ 5022876 h 7458372"/>
              <a:gd name="connsiteX14039" fmla="*/ 10258466 w 10505529"/>
              <a:gd name="connsiteY14039" fmla="*/ 5021945 h 7458372"/>
              <a:gd name="connsiteX14040" fmla="*/ 10040820 w 10505529"/>
              <a:gd name="connsiteY14040" fmla="*/ 5021945 h 7458372"/>
              <a:gd name="connsiteX14041" fmla="*/ 10030835 w 10505529"/>
              <a:gd name="connsiteY14041" fmla="*/ 5025539 h 7458372"/>
              <a:gd name="connsiteX14042" fmla="*/ 10027242 w 10505529"/>
              <a:gd name="connsiteY14042" fmla="*/ 5034990 h 7458372"/>
              <a:gd name="connsiteX14043" fmla="*/ 10030835 w 10505529"/>
              <a:gd name="connsiteY14043" fmla="*/ 5044441 h 7458372"/>
              <a:gd name="connsiteX14044" fmla="*/ 10040820 w 10505529"/>
              <a:gd name="connsiteY14044" fmla="*/ 5047903 h 7458372"/>
              <a:gd name="connsiteX14045" fmla="*/ 10046145 w 10505529"/>
              <a:gd name="connsiteY14045" fmla="*/ 5046971 h 7458372"/>
              <a:gd name="connsiteX14046" fmla="*/ 10049872 w 10505529"/>
              <a:gd name="connsiteY14046" fmla="*/ 5044574 h 7458372"/>
              <a:gd name="connsiteX14047" fmla="*/ 10052534 w 10505529"/>
              <a:gd name="connsiteY14047" fmla="*/ 5040315 h 7458372"/>
              <a:gd name="connsiteX14048" fmla="*/ 10053599 w 10505529"/>
              <a:gd name="connsiteY14048" fmla="*/ 5034857 h 7458372"/>
              <a:gd name="connsiteX14049" fmla="*/ 10052534 w 10505529"/>
              <a:gd name="connsiteY14049" fmla="*/ 5029666 h 7458372"/>
              <a:gd name="connsiteX14050" fmla="*/ 10049872 w 10505529"/>
              <a:gd name="connsiteY14050" fmla="*/ 5025539 h 7458372"/>
              <a:gd name="connsiteX14051" fmla="*/ 10045878 w 10505529"/>
              <a:gd name="connsiteY14051" fmla="*/ 5022876 h 7458372"/>
              <a:gd name="connsiteX14052" fmla="*/ 10040820 w 10505529"/>
              <a:gd name="connsiteY14052" fmla="*/ 5021945 h 7458372"/>
              <a:gd name="connsiteX14053" fmla="*/ 9823176 w 10505529"/>
              <a:gd name="connsiteY14053" fmla="*/ 5021945 h 7458372"/>
              <a:gd name="connsiteX14054" fmla="*/ 9813191 w 10505529"/>
              <a:gd name="connsiteY14054" fmla="*/ 5025539 h 7458372"/>
              <a:gd name="connsiteX14055" fmla="*/ 9809597 w 10505529"/>
              <a:gd name="connsiteY14055" fmla="*/ 5034990 h 7458372"/>
              <a:gd name="connsiteX14056" fmla="*/ 9813191 w 10505529"/>
              <a:gd name="connsiteY14056" fmla="*/ 5044441 h 7458372"/>
              <a:gd name="connsiteX14057" fmla="*/ 9823176 w 10505529"/>
              <a:gd name="connsiteY14057" fmla="*/ 5047903 h 7458372"/>
              <a:gd name="connsiteX14058" fmla="*/ 9828501 w 10505529"/>
              <a:gd name="connsiteY14058" fmla="*/ 5046971 h 7458372"/>
              <a:gd name="connsiteX14059" fmla="*/ 9832227 w 10505529"/>
              <a:gd name="connsiteY14059" fmla="*/ 5044574 h 7458372"/>
              <a:gd name="connsiteX14060" fmla="*/ 9834890 w 10505529"/>
              <a:gd name="connsiteY14060" fmla="*/ 5040315 h 7458372"/>
              <a:gd name="connsiteX14061" fmla="*/ 9835955 w 10505529"/>
              <a:gd name="connsiteY14061" fmla="*/ 5034857 h 7458372"/>
              <a:gd name="connsiteX14062" fmla="*/ 9834890 w 10505529"/>
              <a:gd name="connsiteY14062" fmla="*/ 5029666 h 7458372"/>
              <a:gd name="connsiteX14063" fmla="*/ 9832227 w 10505529"/>
              <a:gd name="connsiteY14063" fmla="*/ 5025539 h 7458372"/>
              <a:gd name="connsiteX14064" fmla="*/ 9828234 w 10505529"/>
              <a:gd name="connsiteY14064" fmla="*/ 5022876 h 7458372"/>
              <a:gd name="connsiteX14065" fmla="*/ 9823176 w 10505529"/>
              <a:gd name="connsiteY14065" fmla="*/ 5021945 h 7458372"/>
              <a:gd name="connsiteX14066" fmla="*/ 9605531 w 10505529"/>
              <a:gd name="connsiteY14066" fmla="*/ 5021945 h 7458372"/>
              <a:gd name="connsiteX14067" fmla="*/ 9595546 w 10505529"/>
              <a:gd name="connsiteY14067" fmla="*/ 5025539 h 7458372"/>
              <a:gd name="connsiteX14068" fmla="*/ 9591952 w 10505529"/>
              <a:gd name="connsiteY14068" fmla="*/ 5034990 h 7458372"/>
              <a:gd name="connsiteX14069" fmla="*/ 9595546 w 10505529"/>
              <a:gd name="connsiteY14069" fmla="*/ 5044441 h 7458372"/>
              <a:gd name="connsiteX14070" fmla="*/ 9605531 w 10505529"/>
              <a:gd name="connsiteY14070" fmla="*/ 5047903 h 7458372"/>
              <a:gd name="connsiteX14071" fmla="*/ 9610855 w 10505529"/>
              <a:gd name="connsiteY14071" fmla="*/ 5046971 h 7458372"/>
              <a:gd name="connsiteX14072" fmla="*/ 9614582 w 10505529"/>
              <a:gd name="connsiteY14072" fmla="*/ 5044574 h 7458372"/>
              <a:gd name="connsiteX14073" fmla="*/ 9617245 w 10505529"/>
              <a:gd name="connsiteY14073" fmla="*/ 5040315 h 7458372"/>
              <a:gd name="connsiteX14074" fmla="*/ 9618309 w 10505529"/>
              <a:gd name="connsiteY14074" fmla="*/ 5034857 h 7458372"/>
              <a:gd name="connsiteX14075" fmla="*/ 9617245 w 10505529"/>
              <a:gd name="connsiteY14075" fmla="*/ 5029666 h 7458372"/>
              <a:gd name="connsiteX14076" fmla="*/ 9614582 w 10505529"/>
              <a:gd name="connsiteY14076" fmla="*/ 5025539 h 7458372"/>
              <a:gd name="connsiteX14077" fmla="*/ 9610589 w 10505529"/>
              <a:gd name="connsiteY14077" fmla="*/ 5022876 h 7458372"/>
              <a:gd name="connsiteX14078" fmla="*/ 9605531 w 10505529"/>
              <a:gd name="connsiteY14078" fmla="*/ 5021945 h 7458372"/>
              <a:gd name="connsiteX14079" fmla="*/ 9387885 w 10505529"/>
              <a:gd name="connsiteY14079" fmla="*/ 5021945 h 7458372"/>
              <a:gd name="connsiteX14080" fmla="*/ 9377900 w 10505529"/>
              <a:gd name="connsiteY14080" fmla="*/ 5025539 h 7458372"/>
              <a:gd name="connsiteX14081" fmla="*/ 9374307 w 10505529"/>
              <a:gd name="connsiteY14081" fmla="*/ 5034990 h 7458372"/>
              <a:gd name="connsiteX14082" fmla="*/ 9377900 w 10505529"/>
              <a:gd name="connsiteY14082" fmla="*/ 5044441 h 7458372"/>
              <a:gd name="connsiteX14083" fmla="*/ 9387885 w 10505529"/>
              <a:gd name="connsiteY14083" fmla="*/ 5047903 h 7458372"/>
              <a:gd name="connsiteX14084" fmla="*/ 9393210 w 10505529"/>
              <a:gd name="connsiteY14084" fmla="*/ 5046971 h 7458372"/>
              <a:gd name="connsiteX14085" fmla="*/ 9396937 w 10505529"/>
              <a:gd name="connsiteY14085" fmla="*/ 5044574 h 7458372"/>
              <a:gd name="connsiteX14086" fmla="*/ 9399599 w 10505529"/>
              <a:gd name="connsiteY14086" fmla="*/ 5040315 h 7458372"/>
              <a:gd name="connsiteX14087" fmla="*/ 9400664 w 10505529"/>
              <a:gd name="connsiteY14087" fmla="*/ 5034857 h 7458372"/>
              <a:gd name="connsiteX14088" fmla="*/ 9399599 w 10505529"/>
              <a:gd name="connsiteY14088" fmla="*/ 5029666 h 7458372"/>
              <a:gd name="connsiteX14089" fmla="*/ 9396937 w 10505529"/>
              <a:gd name="connsiteY14089" fmla="*/ 5025539 h 7458372"/>
              <a:gd name="connsiteX14090" fmla="*/ 9392943 w 10505529"/>
              <a:gd name="connsiteY14090" fmla="*/ 5022876 h 7458372"/>
              <a:gd name="connsiteX14091" fmla="*/ 9387885 w 10505529"/>
              <a:gd name="connsiteY14091" fmla="*/ 5021945 h 7458372"/>
              <a:gd name="connsiteX14092" fmla="*/ 9170374 w 10505529"/>
              <a:gd name="connsiteY14092" fmla="*/ 5021945 h 7458372"/>
              <a:gd name="connsiteX14093" fmla="*/ 9160389 w 10505529"/>
              <a:gd name="connsiteY14093" fmla="*/ 5025539 h 7458372"/>
              <a:gd name="connsiteX14094" fmla="*/ 9156795 w 10505529"/>
              <a:gd name="connsiteY14094" fmla="*/ 5034990 h 7458372"/>
              <a:gd name="connsiteX14095" fmla="*/ 9160389 w 10505529"/>
              <a:gd name="connsiteY14095" fmla="*/ 5044441 h 7458372"/>
              <a:gd name="connsiteX14096" fmla="*/ 9170374 w 10505529"/>
              <a:gd name="connsiteY14096" fmla="*/ 5047903 h 7458372"/>
              <a:gd name="connsiteX14097" fmla="*/ 9175698 w 10505529"/>
              <a:gd name="connsiteY14097" fmla="*/ 5046971 h 7458372"/>
              <a:gd name="connsiteX14098" fmla="*/ 9179425 w 10505529"/>
              <a:gd name="connsiteY14098" fmla="*/ 5044574 h 7458372"/>
              <a:gd name="connsiteX14099" fmla="*/ 9182088 w 10505529"/>
              <a:gd name="connsiteY14099" fmla="*/ 5040315 h 7458372"/>
              <a:gd name="connsiteX14100" fmla="*/ 9183152 w 10505529"/>
              <a:gd name="connsiteY14100" fmla="*/ 5034857 h 7458372"/>
              <a:gd name="connsiteX14101" fmla="*/ 9182088 w 10505529"/>
              <a:gd name="connsiteY14101" fmla="*/ 5029666 h 7458372"/>
              <a:gd name="connsiteX14102" fmla="*/ 9179425 w 10505529"/>
              <a:gd name="connsiteY14102" fmla="*/ 5025539 h 7458372"/>
              <a:gd name="connsiteX14103" fmla="*/ 9175432 w 10505529"/>
              <a:gd name="connsiteY14103" fmla="*/ 5022876 h 7458372"/>
              <a:gd name="connsiteX14104" fmla="*/ 9170374 w 10505529"/>
              <a:gd name="connsiteY14104" fmla="*/ 5021945 h 7458372"/>
              <a:gd name="connsiteX14105" fmla="*/ 8952728 w 10505529"/>
              <a:gd name="connsiteY14105" fmla="*/ 5021945 h 7458372"/>
              <a:gd name="connsiteX14106" fmla="*/ 8942743 w 10505529"/>
              <a:gd name="connsiteY14106" fmla="*/ 5025539 h 7458372"/>
              <a:gd name="connsiteX14107" fmla="*/ 8939150 w 10505529"/>
              <a:gd name="connsiteY14107" fmla="*/ 5034990 h 7458372"/>
              <a:gd name="connsiteX14108" fmla="*/ 8942743 w 10505529"/>
              <a:gd name="connsiteY14108" fmla="*/ 5044441 h 7458372"/>
              <a:gd name="connsiteX14109" fmla="*/ 8952728 w 10505529"/>
              <a:gd name="connsiteY14109" fmla="*/ 5047903 h 7458372"/>
              <a:gd name="connsiteX14110" fmla="*/ 8958053 w 10505529"/>
              <a:gd name="connsiteY14110" fmla="*/ 5046971 h 7458372"/>
              <a:gd name="connsiteX14111" fmla="*/ 8961780 w 10505529"/>
              <a:gd name="connsiteY14111" fmla="*/ 5044574 h 7458372"/>
              <a:gd name="connsiteX14112" fmla="*/ 8964442 w 10505529"/>
              <a:gd name="connsiteY14112" fmla="*/ 5040315 h 7458372"/>
              <a:gd name="connsiteX14113" fmla="*/ 8965507 w 10505529"/>
              <a:gd name="connsiteY14113" fmla="*/ 5034857 h 7458372"/>
              <a:gd name="connsiteX14114" fmla="*/ 8964442 w 10505529"/>
              <a:gd name="connsiteY14114" fmla="*/ 5029666 h 7458372"/>
              <a:gd name="connsiteX14115" fmla="*/ 8961780 w 10505529"/>
              <a:gd name="connsiteY14115" fmla="*/ 5025539 h 7458372"/>
              <a:gd name="connsiteX14116" fmla="*/ 8957786 w 10505529"/>
              <a:gd name="connsiteY14116" fmla="*/ 5022876 h 7458372"/>
              <a:gd name="connsiteX14117" fmla="*/ 8952728 w 10505529"/>
              <a:gd name="connsiteY14117" fmla="*/ 5021945 h 7458372"/>
              <a:gd name="connsiteX14118" fmla="*/ 8735083 w 10505529"/>
              <a:gd name="connsiteY14118" fmla="*/ 5021945 h 7458372"/>
              <a:gd name="connsiteX14119" fmla="*/ 8725098 w 10505529"/>
              <a:gd name="connsiteY14119" fmla="*/ 5025539 h 7458372"/>
              <a:gd name="connsiteX14120" fmla="*/ 8721504 w 10505529"/>
              <a:gd name="connsiteY14120" fmla="*/ 5034990 h 7458372"/>
              <a:gd name="connsiteX14121" fmla="*/ 8725098 w 10505529"/>
              <a:gd name="connsiteY14121" fmla="*/ 5044441 h 7458372"/>
              <a:gd name="connsiteX14122" fmla="*/ 8735083 w 10505529"/>
              <a:gd name="connsiteY14122" fmla="*/ 5047903 h 7458372"/>
              <a:gd name="connsiteX14123" fmla="*/ 8740407 w 10505529"/>
              <a:gd name="connsiteY14123" fmla="*/ 5046971 h 7458372"/>
              <a:gd name="connsiteX14124" fmla="*/ 8744134 w 10505529"/>
              <a:gd name="connsiteY14124" fmla="*/ 5044574 h 7458372"/>
              <a:gd name="connsiteX14125" fmla="*/ 8746797 w 10505529"/>
              <a:gd name="connsiteY14125" fmla="*/ 5040315 h 7458372"/>
              <a:gd name="connsiteX14126" fmla="*/ 8747862 w 10505529"/>
              <a:gd name="connsiteY14126" fmla="*/ 5034857 h 7458372"/>
              <a:gd name="connsiteX14127" fmla="*/ 8746797 w 10505529"/>
              <a:gd name="connsiteY14127" fmla="*/ 5029666 h 7458372"/>
              <a:gd name="connsiteX14128" fmla="*/ 8744134 w 10505529"/>
              <a:gd name="connsiteY14128" fmla="*/ 5025539 h 7458372"/>
              <a:gd name="connsiteX14129" fmla="*/ 8740141 w 10505529"/>
              <a:gd name="connsiteY14129" fmla="*/ 5022876 h 7458372"/>
              <a:gd name="connsiteX14130" fmla="*/ 8735083 w 10505529"/>
              <a:gd name="connsiteY14130" fmla="*/ 5021945 h 7458372"/>
              <a:gd name="connsiteX14131" fmla="*/ 8517438 w 10505529"/>
              <a:gd name="connsiteY14131" fmla="*/ 5021945 h 7458372"/>
              <a:gd name="connsiteX14132" fmla="*/ 8507453 w 10505529"/>
              <a:gd name="connsiteY14132" fmla="*/ 5025539 h 7458372"/>
              <a:gd name="connsiteX14133" fmla="*/ 8503860 w 10505529"/>
              <a:gd name="connsiteY14133" fmla="*/ 5034990 h 7458372"/>
              <a:gd name="connsiteX14134" fmla="*/ 8507453 w 10505529"/>
              <a:gd name="connsiteY14134" fmla="*/ 5044441 h 7458372"/>
              <a:gd name="connsiteX14135" fmla="*/ 8517438 w 10505529"/>
              <a:gd name="connsiteY14135" fmla="*/ 5047903 h 7458372"/>
              <a:gd name="connsiteX14136" fmla="*/ 8522763 w 10505529"/>
              <a:gd name="connsiteY14136" fmla="*/ 5046971 h 7458372"/>
              <a:gd name="connsiteX14137" fmla="*/ 8526490 w 10505529"/>
              <a:gd name="connsiteY14137" fmla="*/ 5044574 h 7458372"/>
              <a:gd name="connsiteX14138" fmla="*/ 8529152 w 10505529"/>
              <a:gd name="connsiteY14138" fmla="*/ 5040315 h 7458372"/>
              <a:gd name="connsiteX14139" fmla="*/ 8530084 w 10505529"/>
              <a:gd name="connsiteY14139" fmla="*/ 5034857 h 7458372"/>
              <a:gd name="connsiteX14140" fmla="*/ 8529152 w 10505529"/>
              <a:gd name="connsiteY14140" fmla="*/ 5029666 h 7458372"/>
              <a:gd name="connsiteX14141" fmla="*/ 8526490 w 10505529"/>
              <a:gd name="connsiteY14141" fmla="*/ 5025539 h 7458372"/>
              <a:gd name="connsiteX14142" fmla="*/ 8522496 w 10505529"/>
              <a:gd name="connsiteY14142" fmla="*/ 5022876 h 7458372"/>
              <a:gd name="connsiteX14143" fmla="*/ 8517438 w 10505529"/>
              <a:gd name="connsiteY14143" fmla="*/ 5021945 h 7458372"/>
              <a:gd name="connsiteX14144" fmla="*/ 8299793 w 10505529"/>
              <a:gd name="connsiteY14144" fmla="*/ 5021945 h 7458372"/>
              <a:gd name="connsiteX14145" fmla="*/ 8289809 w 10505529"/>
              <a:gd name="connsiteY14145" fmla="*/ 5025539 h 7458372"/>
              <a:gd name="connsiteX14146" fmla="*/ 8286215 w 10505529"/>
              <a:gd name="connsiteY14146" fmla="*/ 5034990 h 7458372"/>
              <a:gd name="connsiteX14147" fmla="*/ 8289809 w 10505529"/>
              <a:gd name="connsiteY14147" fmla="*/ 5044441 h 7458372"/>
              <a:gd name="connsiteX14148" fmla="*/ 8299793 w 10505529"/>
              <a:gd name="connsiteY14148" fmla="*/ 5047903 h 7458372"/>
              <a:gd name="connsiteX14149" fmla="*/ 8305118 w 10505529"/>
              <a:gd name="connsiteY14149" fmla="*/ 5046971 h 7458372"/>
              <a:gd name="connsiteX14150" fmla="*/ 8308844 w 10505529"/>
              <a:gd name="connsiteY14150" fmla="*/ 5044574 h 7458372"/>
              <a:gd name="connsiteX14151" fmla="*/ 8311507 w 10505529"/>
              <a:gd name="connsiteY14151" fmla="*/ 5040315 h 7458372"/>
              <a:gd name="connsiteX14152" fmla="*/ 8312439 w 10505529"/>
              <a:gd name="connsiteY14152" fmla="*/ 5034857 h 7458372"/>
              <a:gd name="connsiteX14153" fmla="*/ 8311507 w 10505529"/>
              <a:gd name="connsiteY14153" fmla="*/ 5029666 h 7458372"/>
              <a:gd name="connsiteX14154" fmla="*/ 8308844 w 10505529"/>
              <a:gd name="connsiteY14154" fmla="*/ 5025539 h 7458372"/>
              <a:gd name="connsiteX14155" fmla="*/ 8304851 w 10505529"/>
              <a:gd name="connsiteY14155" fmla="*/ 5022876 h 7458372"/>
              <a:gd name="connsiteX14156" fmla="*/ 8299793 w 10505529"/>
              <a:gd name="connsiteY14156" fmla="*/ 5021945 h 7458372"/>
              <a:gd name="connsiteX14157" fmla="*/ 8082281 w 10505529"/>
              <a:gd name="connsiteY14157" fmla="*/ 5021945 h 7458372"/>
              <a:gd name="connsiteX14158" fmla="*/ 8072297 w 10505529"/>
              <a:gd name="connsiteY14158" fmla="*/ 5025539 h 7458372"/>
              <a:gd name="connsiteX14159" fmla="*/ 8068703 w 10505529"/>
              <a:gd name="connsiteY14159" fmla="*/ 5034990 h 7458372"/>
              <a:gd name="connsiteX14160" fmla="*/ 8072297 w 10505529"/>
              <a:gd name="connsiteY14160" fmla="*/ 5044441 h 7458372"/>
              <a:gd name="connsiteX14161" fmla="*/ 8082281 w 10505529"/>
              <a:gd name="connsiteY14161" fmla="*/ 5047903 h 7458372"/>
              <a:gd name="connsiteX14162" fmla="*/ 8087605 w 10505529"/>
              <a:gd name="connsiteY14162" fmla="*/ 5046971 h 7458372"/>
              <a:gd name="connsiteX14163" fmla="*/ 8091332 w 10505529"/>
              <a:gd name="connsiteY14163" fmla="*/ 5044574 h 7458372"/>
              <a:gd name="connsiteX14164" fmla="*/ 8093994 w 10505529"/>
              <a:gd name="connsiteY14164" fmla="*/ 5040315 h 7458372"/>
              <a:gd name="connsiteX14165" fmla="*/ 8094926 w 10505529"/>
              <a:gd name="connsiteY14165" fmla="*/ 5034857 h 7458372"/>
              <a:gd name="connsiteX14166" fmla="*/ 8093994 w 10505529"/>
              <a:gd name="connsiteY14166" fmla="*/ 5029666 h 7458372"/>
              <a:gd name="connsiteX14167" fmla="*/ 8091332 w 10505529"/>
              <a:gd name="connsiteY14167" fmla="*/ 5025539 h 7458372"/>
              <a:gd name="connsiteX14168" fmla="*/ 8087338 w 10505529"/>
              <a:gd name="connsiteY14168" fmla="*/ 5022876 h 7458372"/>
              <a:gd name="connsiteX14169" fmla="*/ 8082281 w 10505529"/>
              <a:gd name="connsiteY14169" fmla="*/ 5021945 h 7458372"/>
              <a:gd name="connsiteX14170" fmla="*/ 7864636 w 10505529"/>
              <a:gd name="connsiteY14170" fmla="*/ 5021945 h 7458372"/>
              <a:gd name="connsiteX14171" fmla="*/ 7854652 w 10505529"/>
              <a:gd name="connsiteY14171" fmla="*/ 5025539 h 7458372"/>
              <a:gd name="connsiteX14172" fmla="*/ 7851058 w 10505529"/>
              <a:gd name="connsiteY14172" fmla="*/ 5034990 h 7458372"/>
              <a:gd name="connsiteX14173" fmla="*/ 7854652 w 10505529"/>
              <a:gd name="connsiteY14173" fmla="*/ 5044441 h 7458372"/>
              <a:gd name="connsiteX14174" fmla="*/ 7864636 w 10505529"/>
              <a:gd name="connsiteY14174" fmla="*/ 5047903 h 7458372"/>
              <a:gd name="connsiteX14175" fmla="*/ 7869961 w 10505529"/>
              <a:gd name="connsiteY14175" fmla="*/ 5046971 h 7458372"/>
              <a:gd name="connsiteX14176" fmla="*/ 7873687 w 10505529"/>
              <a:gd name="connsiteY14176" fmla="*/ 5044574 h 7458372"/>
              <a:gd name="connsiteX14177" fmla="*/ 7876350 w 10505529"/>
              <a:gd name="connsiteY14177" fmla="*/ 5040315 h 7458372"/>
              <a:gd name="connsiteX14178" fmla="*/ 7877282 w 10505529"/>
              <a:gd name="connsiteY14178" fmla="*/ 5034857 h 7458372"/>
              <a:gd name="connsiteX14179" fmla="*/ 7876350 w 10505529"/>
              <a:gd name="connsiteY14179" fmla="*/ 5029666 h 7458372"/>
              <a:gd name="connsiteX14180" fmla="*/ 7873687 w 10505529"/>
              <a:gd name="connsiteY14180" fmla="*/ 5025539 h 7458372"/>
              <a:gd name="connsiteX14181" fmla="*/ 7869694 w 10505529"/>
              <a:gd name="connsiteY14181" fmla="*/ 5022876 h 7458372"/>
              <a:gd name="connsiteX14182" fmla="*/ 7864636 w 10505529"/>
              <a:gd name="connsiteY14182" fmla="*/ 5021945 h 7458372"/>
              <a:gd name="connsiteX14183" fmla="*/ 7646991 w 10505529"/>
              <a:gd name="connsiteY14183" fmla="*/ 5021945 h 7458372"/>
              <a:gd name="connsiteX14184" fmla="*/ 7637007 w 10505529"/>
              <a:gd name="connsiteY14184" fmla="*/ 5025539 h 7458372"/>
              <a:gd name="connsiteX14185" fmla="*/ 7633413 w 10505529"/>
              <a:gd name="connsiteY14185" fmla="*/ 5034990 h 7458372"/>
              <a:gd name="connsiteX14186" fmla="*/ 7637007 w 10505529"/>
              <a:gd name="connsiteY14186" fmla="*/ 5044441 h 7458372"/>
              <a:gd name="connsiteX14187" fmla="*/ 7646991 w 10505529"/>
              <a:gd name="connsiteY14187" fmla="*/ 5047903 h 7458372"/>
              <a:gd name="connsiteX14188" fmla="*/ 7652315 w 10505529"/>
              <a:gd name="connsiteY14188" fmla="*/ 5046971 h 7458372"/>
              <a:gd name="connsiteX14189" fmla="*/ 7656042 w 10505529"/>
              <a:gd name="connsiteY14189" fmla="*/ 5044574 h 7458372"/>
              <a:gd name="connsiteX14190" fmla="*/ 7658705 w 10505529"/>
              <a:gd name="connsiteY14190" fmla="*/ 5040315 h 7458372"/>
              <a:gd name="connsiteX14191" fmla="*/ 7659769 w 10505529"/>
              <a:gd name="connsiteY14191" fmla="*/ 5034857 h 7458372"/>
              <a:gd name="connsiteX14192" fmla="*/ 7658705 w 10505529"/>
              <a:gd name="connsiteY14192" fmla="*/ 5029666 h 7458372"/>
              <a:gd name="connsiteX14193" fmla="*/ 7656042 w 10505529"/>
              <a:gd name="connsiteY14193" fmla="*/ 5025539 h 7458372"/>
              <a:gd name="connsiteX14194" fmla="*/ 7652049 w 10505529"/>
              <a:gd name="connsiteY14194" fmla="*/ 5022876 h 7458372"/>
              <a:gd name="connsiteX14195" fmla="*/ 7646991 w 10505529"/>
              <a:gd name="connsiteY14195" fmla="*/ 5021945 h 7458372"/>
              <a:gd name="connsiteX14196" fmla="*/ 7429345 w 10505529"/>
              <a:gd name="connsiteY14196" fmla="*/ 5021945 h 7458372"/>
              <a:gd name="connsiteX14197" fmla="*/ 7419361 w 10505529"/>
              <a:gd name="connsiteY14197" fmla="*/ 5025539 h 7458372"/>
              <a:gd name="connsiteX14198" fmla="*/ 7415768 w 10505529"/>
              <a:gd name="connsiteY14198" fmla="*/ 5034990 h 7458372"/>
              <a:gd name="connsiteX14199" fmla="*/ 7419361 w 10505529"/>
              <a:gd name="connsiteY14199" fmla="*/ 5044441 h 7458372"/>
              <a:gd name="connsiteX14200" fmla="*/ 7429345 w 10505529"/>
              <a:gd name="connsiteY14200" fmla="*/ 5047903 h 7458372"/>
              <a:gd name="connsiteX14201" fmla="*/ 7434670 w 10505529"/>
              <a:gd name="connsiteY14201" fmla="*/ 5046971 h 7458372"/>
              <a:gd name="connsiteX14202" fmla="*/ 7438397 w 10505529"/>
              <a:gd name="connsiteY14202" fmla="*/ 5044574 h 7458372"/>
              <a:gd name="connsiteX14203" fmla="*/ 7441059 w 10505529"/>
              <a:gd name="connsiteY14203" fmla="*/ 5040315 h 7458372"/>
              <a:gd name="connsiteX14204" fmla="*/ 7442124 w 10505529"/>
              <a:gd name="connsiteY14204" fmla="*/ 5034857 h 7458372"/>
              <a:gd name="connsiteX14205" fmla="*/ 7441059 w 10505529"/>
              <a:gd name="connsiteY14205" fmla="*/ 5029666 h 7458372"/>
              <a:gd name="connsiteX14206" fmla="*/ 7438397 w 10505529"/>
              <a:gd name="connsiteY14206" fmla="*/ 5025539 h 7458372"/>
              <a:gd name="connsiteX14207" fmla="*/ 7434403 w 10505529"/>
              <a:gd name="connsiteY14207" fmla="*/ 5022876 h 7458372"/>
              <a:gd name="connsiteX14208" fmla="*/ 7429345 w 10505529"/>
              <a:gd name="connsiteY14208" fmla="*/ 5021945 h 7458372"/>
              <a:gd name="connsiteX14209" fmla="*/ 7211701 w 10505529"/>
              <a:gd name="connsiteY14209" fmla="*/ 5021945 h 7458372"/>
              <a:gd name="connsiteX14210" fmla="*/ 7201717 w 10505529"/>
              <a:gd name="connsiteY14210" fmla="*/ 5025539 h 7458372"/>
              <a:gd name="connsiteX14211" fmla="*/ 7198123 w 10505529"/>
              <a:gd name="connsiteY14211" fmla="*/ 5034990 h 7458372"/>
              <a:gd name="connsiteX14212" fmla="*/ 7201717 w 10505529"/>
              <a:gd name="connsiteY14212" fmla="*/ 5044441 h 7458372"/>
              <a:gd name="connsiteX14213" fmla="*/ 7211701 w 10505529"/>
              <a:gd name="connsiteY14213" fmla="*/ 5047903 h 7458372"/>
              <a:gd name="connsiteX14214" fmla="*/ 7217026 w 10505529"/>
              <a:gd name="connsiteY14214" fmla="*/ 5046971 h 7458372"/>
              <a:gd name="connsiteX14215" fmla="*/ 7220752 w 10505529"/>
              <a:gd name="connsiteY14215" fmla="*/ 5044574 h 7458372"/>
              <a:gd name="connsiteX14216" fmla="*/ 7223415 w 10505529"/>
              <a:gd name="connsiteY14216" fmla="*/ 5040315 h 7458372"/>
              <a:gd name="connsiteX14217" fmla="*/ 7224480 w 10505529"/>
              <a:gd name="connsiteY14217" fmla="*/ 5034857 h 7458372"/>
              <a:gd name="connsiteX14218" fmla="*/ 7223415 w 10505529"/>
              <a:gd name="connsiteY14218" fmla="*/ 5029666 h 7458372"/>
              <a:gd name="connsiteX14219" fmla="*/ 7220752 w 10505529"/>
              <a:gd name="connsiteY14219" fmla="*/ 5025539 h 7458372"/>
              <a:gd name="connsiteX14220" fmla="*/ 7216759 w 10505529"/>
              <a:gd name="connsiteY14220" fmla="*/ 5022876 h 7458372"/>
              <a:gd name="connsiteX14221" fmla="*/ 7211701 w 10505529"/>
              <a:gd name="connsiteY14221" fmla="*/ 5021945 h 7458372"/>
              <a:gd name="connsiteX14222" fmla="*/ 6994056 w 10505529"/>
              <a:gd name="connsiteY14222" fmla="*/ 5021945 h 7458372"/>
              <a:gd name="connsiteX14223" fmla="*/ 6984072 w 10505529"/>
              <a:gd name="connsiteY14223" fmla="*/ 5025539 h 7458372"/>
              <a:gd name="connsiteX14224" fmla="*/ 6980478 w 10505529"/>
              <a:gd name="connsiteY14224" fmla="*/ 5034990 h 7458372"/>
              <a:gd name="connsiteX14225" fmla="*/ 6984072 w 10505529"/>
              <a:gd name="connsiteY14225" fmla="*/ 5044441 h 7458372"/>
              <a:gd name="connsiteX14226" fmla="*/ 6994056 w 10505529"/>
              <a:gd name="connsiteY14226" fmla="*/ 5047903 h 7458372"/>
              <a:gd name="connsiteX14227" fmla="*/ 6999380 w 10505529"/>
              <a:gd name="connsiteY14227" fmla="*/ 5046971 h 7458372"/>
              <a:gd name="connsiteX14228" fmla="*/ 7003107 w 10505529"/>
              <a:gd name="connsiteY14228" fmla="*/ 5044574 h 7458372"/>
              <a:gd name="connsiteX14229" fmla="*/ 7005769 w 10505529"/>
              <a:gd name="connsiteY14229" fmla="*/ 5040315 h 7458372"/>
              <a:gd name="connsiteX14230" fmla="*/ 7006834 w 10505529"/>
              <a:gd name="connsiteY14230" fmla="*/ 5034857 h 7458372"/>
              <a:gd name="connsiteX14231" fmla="*/ 7005769 w 10505529"/>
              <a:gd name="connsiteY14231" fmla="*/ 5029666 h 7458372"/>
              <a:gd name="connsiteX14232" fmla="*/ 7003107 w 10505529"/>
              <a:gd name="connsiteY14232" fmla="*/ 5025539 h 7458372"/>
              <a:gd name="connsiteX14233" fmla="*/ 6999113 w 10505529"/>
              <a:gd name="connsiteY14233" fmla="*/ 5022876 h 7458372"/>
              <a:gd name="connsiteX14234" fmla="*/ 6994056 w 10505529"/>
              <a:gd name="connsiteY14234" fmla="*/ 5021945 h 7458372"/>
              <a:gd name="connsiteX14235" fmla="*/ 6776544 w 10505529"/>
              <a:gd name="connsiteY14235" fmla="*/ 5021945 h 7458372"/>
              <a:gd name="connsiteX14236" fmla="*/ 6766560 w 10505529"/>
              <a:gd name="connsiteY14236" fmla="*/ 5025539 h 7458372"/>
              <a:gd name="connsiteX14237" fmla="*/ 6762966 w 10505529"/>
              <a:gd name="connsiteY14237" fmla="*/ 5034990 h 7458372"/>
              <a:gd name="connsiteX14238" fmla="*/ 6766560 w 10505529"/>
              <a:gd name="connsiteY14238" fmla="*/ 5044441 h 7458372"/>
              <a:gd name="connsiteX14239" fmla="*/ 6776544 w 10505529"/>
              <a:gd name="connsiteY14239" fmla="*/ 5047903 h 7458372"/>
              <a:gd name="connsiteX14240" fmla="*/ 6781869 w 10505529"/>
              <a:gd name="connsiteY14240" fmla="*/ 5046971 h 7458372"/>
              <a:gd name="connsiteX14241" fmla="*/ 6785595 w 10505529"/>
              <a:gd name="connsiteY14241" fmla="*/ 5044574 h 7458372"/>
              <a:gd name="connsiteX14242" fmla="*/ 6788258 w 10505529"/>
              <a:gd name="connsiteY14242" fmla="*/ 5040315 h 7458372"/>
              <a:gd name="connsiteX14243" fmla="*/ 6789323 w 10505529"/>
              <a:gd name="connsiteY14243" fmla="*/ 5034857 h 7458372"/>
              <a:gd name="connsiteX14244" fmla="*/ 6788258 w 10505529"/>
              <a:gd name="connsiteY14244" fmla="*/ 5029666 h 7458372"/>
              <a:gd name="connsiteX14245" fmla="*/ 6785595 w 10505529"/>
              <a:gd name="connsiteY14245" fmla="*/ 5025539 h 7458372"/>
              <a:gd name="connsiteX14246" fmla="*/ 6781602 w 10505529"/>
              <a:gd name="connsiteY14246" fmla="*/ 5022876 h 7458372"/>
              <a:gd name="connsiteX14247" fmla="*/ 6776544 w 10505529"/>
              <a:gd name="connsiteY14247" fmla="*/ 5021945 h 7458372"/>
              <a:gd name="connsiteX14248" fmla="*/ 6558899 w 10505529"/>
              <a:gd name="connsiteY14248" fmla="*/ 5021945 h 7458372"/>
              <a:gd name="connsiteX14249" fmla="*/ 6548915 w 10505529"/>
              <a:gd name="connsiteY14249" fmla="*/ 5025539 h 7458372"/>
              <a:gd name="connsiteX14250" fmla="*/ 6545321 w 10505529"/>
              <a:gd name="connsiteY14250" fmla="*/ 5034990 h 7458372"/>
              <a:gd name="connsiteX14251" fmla="*/ 6548915 w 10505529"/>
              <a:gd name="connsiteY14251" fmla="*/ 5044441 h 7458372"/>
              <a:gd name="connsiteX14252" fmla="*/ 6558899 w 10505529"/>
              <a:gd name="connsiteY14252" fmla="*/ 5047903 h 7458372"/>
              <a:gd name="connsiteX14253" fmla="*/ 6564223 w 10505529"/>
              <a:gd name="connsiteY14253" fmla="*/ 5046971 h 7458372"/>
              <a:gd name="connsiteX14254" fmla="*/ 6567950 w 10505529"/>
              <a:gd name="connsiteY14254" fmla="*/ 5044574 h 7458372"/>
              <a:gd name="connsiteX14255" fmla="*/ 6570612 w 10505529"/>
              <a:gd name="connsiteY14255" fmla="*/ 5040315 h 7458372"/>
              <a:gd name="connsiteX14256" fmla="*/ 6571677 w 10505529"/>
              <a:gd name="connsiteY14256" fmla="*/ 5034857 h 7458372"/>
              <a:gd name="connsiteX14257" fmla="*/ 6570612 w 10505529"/>
              <a:gd name="connsiteY14257" fmla="*/ 5029666 h 7458372"/>
              <a:gd name="connsiteX14258" fmla="*/ 6567950 w 10505529"/>
              <a:gd name="connsiteY14258" fmla="*/ 5025539 h 7458372"/>
              <a:gd name="connsiteX14259" fmla="*/ 6563956 w 10505529"/>
              <a:gd name="connsiteY14259" fmla="*/ 5022876 h 7458372"/>
              <a:gd name="connsiteX14260" fmla="*/ 6558899 w 10505529"/>
              <a:gd name="connsiteY14260" fmla="*/ 5021945 h 7458372"/>
              <a:gd name="connsiteX14261" fmla="*/ 6341253 w 10505529"/>
              <a:gd name="connsiteY14261" fmla="*/ 5021945 h 7458372"/>
              <a:gd name="connsiteX14262" fmla="*/ 6331270 w 10505529"/>
              <a:gd name="connsiteY14262" fmla="*/ 5025539 h 7458372"/>
              <a:gd name="connsiteX14263" fmla="*/ 6327675 w 10505529"/>
              <a:gd name="connsiteY14263" fmla="*/ 5034990 h 7458372"/>
              <a:gd name="connsiteX14264" fmla="*/ 6331270 w 10505529"/>
              <a:gd name="connsiteY14264" fmla="*/ 5044441 h 7458372"/>
              <a:gd name="connsiteX14265" fmla="*/ 6341253 w 10505529"/>
              <a:gd name="connsiteY14265" fmla="*/ 5047903 h 7458372"/>
              <a:gd name="connsiteX14266" fmla="*/ 6346578 w 10505529"/>
              <a:gd name="connsiteY14266" fmla="*/ 5046971 h 7458372"/>
              <a:gd name="connsiteX14267" fmla="*/ 6350305 w 10505529"/>
              <a:gd name="connsiteY14267" fmla="*/ 5044574 h 7458372"/>
              <a:gd name="connsiteX14268" fmla="*/ 6352968 w 10505529"/>
              <a:gd name="connsiteY14268" fmla="*/ 5040315 h 7458372"/>
              <a:gd name="connsiteX14269" fmla="*/ 6354033 w 10505529"/>
              <a:gd name="connsiteY14269" fmla="*/ 5034857 h 7458372"/>
              <a:gd name="connsiteX14270" fmla="*/ 6352968 w 10505529"/>
              <a:gd name="connsiteY14270" fmla="*/ 5029666 h 7458372"/>
              <a:gd name="connsiteX14271" fmla="*/ 6350305 w 10505529"/>
              <a:gd name="connsiteY14271" fmla="*/ 5025539 h 7458372"/>
              <a:gd name="connsiteX14272" fmla="*/ 6346312 w 10505529"/>
              <a:gd name="connsiteY14272" fmla="*/ 5022876 h 7458372"/>
              <a:gd name="connsiteX14273" fmla="*/ 6341253 w 10505529"/>
              <a:gd name="connsiteY14273" fmla="*/ 5021945 h 7458372"/>
              <a:gd name="connsiteX14274" fmla="*/ 6123608 w 10505529"/>
              <a:gd name="connsiteY14274" fmla="*/ 5021945 h 7458372"/>
              <a:gd name="connsiteX14275" fmla="*/ 6113624 w 10505529"/>
              <a:gd name="connsiteY14275" fmla="*/ 5025539 h 7458372"/>
              <a:gd name="connsiteX14276" fmla="*/ 6110030 w 10505529"/>
              <a:gd name="connsiteY14276" fmla="*/ 5034990 h 7458372"/>
              <a:gd name="connsiteX14277" fmla="*/ 6113624 w 10505529"/>
              <a:gd name="connsiteY14277" fmla="*/ 5044441 h 7458372"/>
              <a:gd name="connsiteX14278" fmla="*/ 6123608 w 10505529"/>
              <a:gd name="connsiteY14278" fmla="*/ 5047903 h 7458372"/>
              <a:gd name="connsiteX14279" fmla="*/ 6128932 w 10505529"/>
              <a:gd name="connsiteY14279" fmla="*/ 5046971 h 7458372"/>
              <a:gd name="connsiteX14280" fmla="*/ 6132659 w 10505529"/>
              <a:gd name="connsiteY14280" fmla="*/ 5044574 h 7458372"/>
              <a:gd name="connsiteX14281" fmla="*/ 6135322 w 10505529"/>
              <a:gd name="connsiteY14281" fmla="*/ 5040315 h 7458372"/>
              <a:gd name="connsiteX14282" fmla="*/ 6136387 w 10505529"/>
              <a:gd name="connsiteY14282" fmla="*/ 5034857 h 7458372"/>
              <a:gd name="connsiteX14283" fmla="*/ 6135322 w 10505529"/>
              <a:gd name="connsiteY14283" fmla="*/ 5029666 h 7458372"/>
              <a:gd name="connsiteX14284" fmla="*/ 6132659 w 10505529"/>
              <a:gd name="connsiteY14284" fmla="*/ 5025539 h 7458372"/>
              <a:gd name="connsiteX14285" fmla="*/ 6128666 w 10505529"/>
              <a:gd name="connsiteY14285" fmla="*/ 5022876 h 7458372"/>
              <a:gd name="connsiteX14286" fmla="*/ 6123608 w 10505529"/>
              <a:gd name="connsiteY14286" fmla="*/ 5021945 h 7458372"/>
              <a:gd name="connsiteX14287" fmla="*/ 5905963 w 10505529"/>
              <a:gd name="connsiteY14287" fmla="*/ 5021945 h 7458372"/>
              <a:gd name="connsiteX14288" fmla="*/ 5895979 w 10505529"/>
              <a:gd name="connsiteY14288" fmla="*/ 5025539 h 7458372"/>
              <a:gd name="connsiteX14289" fmla="*/ 5892385 w 10505529"/>
              <a:gd name="connsiteY14289" fmla="*/ 5034990 h 7458372"/>
              <a:gd name="connsiteX14290" fmla="*/ 5895979 w 10505529"/>
              <a:gd name="connsiteY14290" fmla="*/ 5044441 h 7458372"/>
              <a:gd name="connsiteX14291" fmla="*/ 5905963 w 10505529"/>
              <a:gd name="connsiteY14291" fmla="*/ 5047903 h 7458372"/>
              <a:gd name="connsiteX14292" fmla="*/ 5911287 w 10505529"/>
              <a:gd name="connsiteY14292" fmla="*/ 5046971 h 7458372"/>
              <a:gd name="connsiteX14293" fmla="*/ 5915014 w 10505529"/>
              <a:gd name="connsiteY14293" fmla="*/ 5044574 h 7458372"/>
              <a:gd name="connsiteX14294" fmla="*/ 5917677 w 10505529"/>
              <a:gd name="connsiteY14294" fmla="*/ 5040315 h 7458372"/>
              <a:gd name="connsiteX14295" fmla="*/ 5918742 w 10505529"/>
              <a:gd name="connsiteY14295" fmla="*/ 5034857 h 7458372"/>
              <a:gd name="connsiteX14296" fmla="*/ 5917677 w 10505529"/>
              <a:gd name="connsiteY14296" fmla="*/ 5029666 h 7458372"/>
              <a:gd name="connsiteX14297" fmla="*/ 5915014 w 10505529"/>
              <a:gd name="connsiteY14297" fmla="*/ 5025539 h 7458372"/>
              <a:gd name="connsiteX14298" fmla="*/ 5911021 w 10505529"/>
              <a:gd name="connsiteY14298" fmla="*/ 5022876 h 7458372"/>
              <a:gd name="connsiteX14299" fmla="*/ 5905963 w 10505529"/>
              <a:gd name="connsiteY14299" fmla="*/ 5021945 h 7458372"/>
              <a:gd name="connsiteX14300" fmla="*/ 5688451 w 10505529"/>
              <a:gd name="connsiteY14300" fmla="*/ 5021945 h 7458372"/>
              <a:gd name="connsiteX14301" fmla="*/ 5678467 w 10505529"/>
              <a:gd name="connsiteY14301" fmla="*/ 5025539 h 7458372"/>
              <a:gd name="connsiteX14302" fmla="*/ 5674873 w 10505529"/>
              <a:gd name="connsiteY14302" fmla="*/ 5034990 h 7458372"/>
              <a:gd name="connsiteX14303" fmla="*/ 5678467 w 10505529"/>
              <a:gd name="connsiteY14303" fmla="*/ 5044441 h 7458372"/>
              <a:gd name="connsiteX14304" fmla="*/ 5688451 w 10505529"/>
              <a:gd name="connsiteY14304" fmla="*/ 5047903 h 7458372"/>
              <a:gd name="connsiteX14305" fmla="*/ 5693775 w 10505529"/>
              <a:gd name="connsiteY14305" fmla="*/ 5046971 h 7458372"/>
              <a:gd name="connsiteX14306" fmla="*/ 5697502 w 10505529"/>
              <a:gd name="connsiteY14306" fmla="*/ 5044574 h 7458372"/>
              <a:gd name="connsiteX14307" fmla="*/ 5700165 w 10505529"/>
              <a:gd name="connsiteY14307" fmla="*/ 5040315 h 7458372"/>
              <a:gd name="connsiteX14308" fmla="*/ 5701230 w 10505529"/>
              <a:gd name="connsiteY14308" fmla="*/ 5034857 h 7458372"/>
              <a:gd name="connsiteX14309" fmla="*/ 5700165 w 10505529"/>
              <a:gd name="connsiteY14309" fmla="*/ 5029666 h 7458372"/>
              <a:gd name="connsiteX14310" fmla="*/ 5697502 w 10505529"/>
              <a:gd name="connsiteY14310" fmla="*/ 5025539 h 7458372"/>
              <a:gd name="connsiteX14311" fmla="*/ 5693509 w 10505529"/>
              <a:gd name="connsiteY14311" fmla="*/ 5022876 h 7458372"/>
              <a:gd name="connsiteX14312" fmla="*/ 5688451 w 10505529"/>
              <a:gd name="connsiteY14312" fmla="*/ 5021945 h 7458372"/>
              <a:gd name="connsiteX14313" fmla="*/ 5470806 w 10505529"/>
              <a:gd name="connsiteY14313" fmla="*/ 5021945 h 7458372"/>
              <a:gd name="connsiteX14314" fmla="*/ 5460822 w 10505529"/>
              <a:gd name="connsiteY14314" fmla="*/ 5025539 h 7458372"/>
              <a:gd name="connsiteX14315" fmla="*/ 5457228 w 10505529"/>
              <a:gd name="connsiteY14315" fmla="*/ 5034990 h 7458372"/>
              <a:gd name="connsiteX14316" fmla="*/ 5460822 w 10505529"/>
              <a:gd name="connsiteY14316" fmla="*/ 5044441 h 7458372"/>
              <a:gd name="connsiteX14317" fmla="*/ 5470806 w 10505529"/>
              <a:gd name="connsiteY14317" fmla="*/ 5047903 h 7458372"/>
              <a:gd name="connsiteX14318" fmla="*/ 5476130 w 10505529"/>
              <a:gd name="connsiteY14318" fmla="*/ 5046971 h 7458372"/>
              <a:gd name="connsiteX14319" fmla="*/ 5479857 w 10505529"/>
              <a:gd name="connsiteY14319" fmla="*/ 5044574 h 7458372"/>
              <a:gd name="connsiteX14320" fmla="*/ 5482520 w 10505529"/>
              <a:gd name="connsiteY14320" fmla="*/ 5040315 h 7458372"/>
              <a:gd name="connsiteX14321" fmla="*/ 5483585 w 10505529"/>
              <a:gd name="connsiteY14321" fmla="*/ 5034857 h 7458372"/>
              <a:gd name="connsiteX14322" fmla="*/ 5482520 w 10505529"/>
              <a:gd name="connsiteY14322" fmla="*/ 5029666 h 7458372"/>
              <a:gd name="connsiteX14323" fmla="*/ 5479857 w 10505529"/>
              <a:gd name="connsiteY14323" fmla="*/ 5025539 h 7458372"/>
              <a:gd name="connsiteX14324" fmla="*/ 5475864 w 10505529"/>
              <a:gd name="connsiteY14324" fmla="*/ 5022876 h 7458372"/>
              <a:gd name="connsiteX14325" fmla="*/ 5470806 w 10505529"/>
              <a:gd name="connsiteY14325" fmla="*/ 5021945 h 7458372"/>
              <a:gd name="connsiteX14326" fmla="*/ 5253160 w 10505529"/>
              <a:gd name="connsiteY14326" fmla="*/ 5021945 h 7458372"/>
              <a:gd name="connsiteX14327" fmla="*/ 5243177 w 10505529"/>
              <a:gd name="connsiteY14327" fmla="*/ 5025539 h 7458372"/>
              <a:gd name="connsiteX14328" fmla="*/ 5239583 w 10505529"/>
              <a:gd name="connsiteY14328" fmla="*/ 5034990 h 7458372"/>
              <a:gd name="connsiteX14329" fmla="*/ 5243177 w 10505529"/>
              <a:gd name="connsiteY14329" fmla="*/ 5044441 h 7458372"/>
              <a:gd name="connsiteX14330" fmla="*/ 5253160 w 10505529"/>
              <a:gd name="connsiteY14330" fmla="*/ 5047903 h 7458372"/>
              <a:gd name="connsiteX14331" fmla="*/ 5258485 w 10505529"/>
              <a:gd name="connsiteY14331" fmla="*/ 5046971 h 7458372"/>
              <a:gd name="connsiteX14332" fmla="*/ 5262212 w 10505529"/>
              <a:gd name="connsiteY14332" fmla="*/ 5044574 h 7458372"/>
              <a:gd name="connsiteX14333" fmla="*/ 5264875 w 10505529"/>
              <a:gd name="connsiteY14333" fmla="*/ 5040315 h 7458372"/>
              <a:gd name="connsiteX14334" fmla="*/ 5265939 w 10505529"/>
              <a:gd name="connsiteY14334" fmla="*/ 5034857 h 7458372"/>
              <a:gd name="connsiteX14335" fmla="*/ 5264875 w 10505529"/>
              <a:gd name="connsiteY14335" fmla="*/ 5029666 h 7458372"/>
              <a:gd name="connsiteX14336" fmla="*/ 5262212 w 10505529"/>
              <a:gd name="connsiteY14336" fmla="*/ 5025539 h 7458372"/>
              <a:gd name="connsiteX14337" fmla="*/ 5258219 w 10505529"/>
              <a:gd name="connsiteY14337" fmla="*/ 5022876 h 7458372"/>
              <a:gd name="connsiteX14338" fmla="*/ 5253160 w 10505529"/>
              <a:gd name="connsiteY14338" fmla="*/ 5021945 h 7458372"/>
              <a:gd name="connsiteX14339" fmla="*/ 5035515 w 10505529"/>
              <a:gd name="connsiteY14339" fmla="*/ 5021945 h 7458372"/>
              <a:gd name="connsiteX14340" fmla="*/ 5025532 w 10505529"/>
              <a:gd name="connsiteY14340" fmla="*/ 5025539 h 7458372"/>
              <a:gd name="connsiteX14341" fmla="*/ 5021938 w 10505529"/>
              <a:gd name="connsiteY14341" fmla="*/ 5034990 h 7458372"/>
              <a:gd name="connsiteX14342" fmla="*/ 5025532 w 10505529"/>
              <a:gd name="connsiteY14342" fmla="*/ 5044441 h 7458372"/>
              <a:gd name="connsiteX14343" fmla="*/ 5035515 w 10505529"/>
              <a:gd name="connsiteY14343" fmla="*/ 5047903 h 7458372"/>
              <a:gd name="connsiteX14344" fmla="*/ 5040840 w 10505529"/>
              <a:gd name="connsiteY14344" fmla="*/ 5046971 h 7458372"/>
              <a:gd name="connsiteX14345" fmla="*/ 5044567 w 10505529"/>
              <a:gd name="connsiteY14345" fmla="*/ 5044574 h 7458372"/>
              <a:gd name="connsiteX14346" fmla="*/ 5047230 w 10505529"/>
              <a:gd name="connsiteY14346" fmla="*/ 5040315 h 7458372"/>
              <a:gd name="connsiteX14347" fmla="*/ 5048294 w 10505529"/>
              <a:gd name="connsiteY14347" fmla="*/ 5034857 h 7458372"/>
              <a:gd name="connsiteX14348" fmla="*/ 5047230 w 10505529"/>
              <a:gd name="connsiteY14348" fmla="*/ 5029666 h 7458372"/>
              <a:gd name="connsiteX14349" fmla="*/ 5044567 w 10505529"/>
              <a:gd name="connsiteY14349" fmla="*/ 5025539 h 7458372"/>
              <a:gd name="connsiteX14350" fmla="*/ 5040574 w 10505529"/>
              <a:gd name="connsiteY14350" fmla="*/ 5022876 h 7458372"/>
              <a:gd name="connsiteX14351" fmla="*/ 5035515 w 10505529"/>
              <a:gd name="connsiteY14351" fmla="*/ 5021945 h 7458372"/>
              <a:gd name="connsiteX14352" fmla="*/ 4817870 w 10505529"/>
              <a:gd name="connsiteY14352" fmla="*/ 5021945 h 7458372"/>
              <a:gd name="connsiteX14353" fmla="*/ 4807887 w 10505529"/>
              <a:gd name="connsiteY14353" fmla="*/ 5025539 h 7458372"/>
              <a:gd name="connsiteX14354" fmla="*/ 4804293 w 10505529"/>
              <a:gd name="connsiteY14354" fmla="*/ 5034990 h 7458372"/>
              <a:gd name="connsiteX14355" fmla="*/ 4807887 w 10505529"/>
              <a:gd name="connsiteY14355" fmla="*/ 5044441 h 7458372"/>
              <a:gd name="connsiteX14356" fmla="*/ 4817870 w 10505529"/>
              <a:gd name="connsiteY14356" fmla="*/ 5047903 h 7458372"/>
              <a:gd name="connsiteX14357" fmla="*/ 4823195 w 10505529"/>
              <a:gd name="connsiteY14357" fmla="*/ 5046971 h 7458372"/>
              <a:gd name="connsiteX14358" fmla="*/ 4826922 w 10505529"/>
              <a:gd name="connsiteY14358" fmla="*/ 5044574 h 7458372"/>
              <a:gd name="connsiteX14359" fmla="*/ 4829585 w 10505529"/>
              <a:gd name="connsiteY14359" fmla="*/ 5040315 h 7458372"/>
              <a:gd name="connsiteX14360" fmla="*/ 4830650 w 10505529"/>
              <a:gd name="connsiteY14360" fmla="*/ 5034857 h 7458372"/>
              <a:gd name="connsiteX14361" fmla="*/ 4829585 w 10505529"/>
              <a:gd name="connsiteY14361" fmla="*/ 5029666 h 7458372"/>
              <a:gd name="connsiteX14362" fmla="*/ 4826922 w 10505529"/>
              <a:gd name="connsiteY14362" fmla="*/ 5025539 h 7458372"/>
              <a:gd name="connsiteX14363" fmla="*/ 4822929 w 10505529"/>
              <a:gd name="connsiteY14363" fmla="*/ 5022876 h 7458372"/>
              <a:gd name="connsiteX14364" fmla="*/ 4817870 w 10505529"/>
              <a:gd name="connsiteY14364" fmla="*/ 5021945 h 7458372"/>
              <a:gd name="connsiteX14365" fmla="*/ 4600226 w 10505529"/>
              <a:gd name="connsiteY14365" fmla="*/ 5021945 h 7458372"/>
              <a:gd name="connsiteX14366" fmla="*/ 4590242 w 10505529"/>
              <a:gd name="connsiteY14366" fmla="*/ 5025539 h 7458372"/>
              <a:gd name="connsiteX14367" fmla="*/ 4586648 w 10505529"/>
              <a:gd name="connsiteY14367" fmla="*/ 5034990 h 7458372"/>
              <a:gd name="connsiteX14368" fmla="*/ 4590242 w 10505529"/>
              <a:gd name="connsiteY14368" fmla="*/ 5044441 h 7458372"/>
              <a:gd name="connsiteX14369" fmla="*/ 4600226 w 10505529"/>
              <a:gd name="connsiteY14369" fmla="*/ 5047903 h 7458372"/>
              <a:gd name="connsiteX14370" fmla="*/ 4605550 w 10505529"/>
              <a:gd name="connsiteY14370" fmla="*/ 5046971 h 7458372"/>
              <a:gd name="connsiteX14371" fmla="*/ 4609277 w 10505529"/>
              <a:gd name="connsiteY14371" fmla="*/ 5044574 h 7458372"/>
              <a:gd name="connsiteX14372" fmla="*/ 4611940 w 10505529"/>
              <a:gd name="connsiteY14372" fmla="*/ 5040315 h 7458372"/>
              <a:gd name="connsiteX14373" fmla="*/ 4613005 w 10505529"/>
              <a:gd name="connsiteY14373" fmla="*/ 5034857 h 7458372"/>
              <a:gd name="connsiteX14374" fmla="*/ 4611940 w 10505529"/>
              <a:gd name="connsiteY14374" fmla="*/ 5029666 h 7458372"/>
              <a:gd name="connsiteX14375" fmla="*/ 4609277 w 10505529"/>
              <a:gd name="connsiteY14375" fmla="*/ 5025539 h 7458372"/>
              <a:gd name="connsiteX14376" fmla="*/ 4605284 w 10505529"/>
              <a:gd name="connsiteY14376" fmla="*/ 5022876 h 7458372"/>
              <a:gd name="connsiteX14377" fmla="*/ 4600226 w 10505529"/>
              <a:gd name="connsiteY14377" fmla="*/ 5021945 h 7458372"/>
              <a:gd name="connsiteX14378" fmla="*/ 4382713 w 10505529"/>
              <a:gd name="connsiteY14378" fmla="*/ 5021945 h 7458372"/>
              <a:gd name="connsiteX14379" fmla="*/ 4372730 w 10505529"/>
              <a:gd name="connsiteY14379" fmla="*/ 5025539 h 7458372"/>
              <a:gd name="connsiteX14380" fmla="*/ 4369136 w 10505529"/>
              <a:gd name="connsiteY14380" fmla="*/ 5034990 h 7458372"/>
              <a:gd name="connsiteX14381" fmla="*/ 4372730 w 10505529"/>
              <a:gd name="connsiteY14381" fmla="*/ 5044441 h 7458372"/>
              <a:gd name="connsiteX14382" fmla="*/ 4382713 w 10505529"/>
              <a:gd name="connsiteY14382" fmla="*/ 5047903 h 7458372"/>
              <a:gd name="connsiteX14383" fmla="*/ 4388038 w 10505529"/>
              <a:gd name="connsiteY14383" fmla="*/ 5046971 h 7458372"/>
              <a:gd name="connsiteX14384" fmla="*/ 4391765 w 10505529"/>
              <a:gd name="connsiteY14384" fmla="*/ 5044574 h 7458372"/>
              <a:gd name="connsiteX14385" fmla="*/ 4394428 w 10505529"/>
              <a:gd name="connsiteY14385" fmla="*/ 5040315 h 7458372"/>
              <a:gd name="connsiteX14386" fmla="*/ 4395493 w 10505529"/>
              <a:gd name="connsiteY14386" fmla="*/ 5034857 h 7458372"/>
              <a:gd name="connsiteX14387" fmla="*/ 4394428 w 10505529"/>
              <a:gd name="connsiteY14387" fmla="*/ 5029666 h 7458372"/>
              <a:gd name="connsiteX14388" fmla="*/ 4391765 w 10505529"/>
              <a:gd name="connsiteY14388" fmla="*/ 5025539 h 7458372"/>
              <a:gd name="connsiteX14389" fmla="*/ 4387772 w 10505529"/>
              <a:gd name="connsiteY14389" fmla="*/ 5022876 h 7458372"/>
              <a:gd name="connsiteX14390" fmla="*/ 4382713 w 10505529"/>
              <a:gd name="connsiteY14390" fmla="*/ 5021945 h 7458372"/>
              <a:gd name="connsiteX14391" fmla="*/ 4165068 w 10505529"/>
              <a:gd name="connsiteY14391" fmla="*/ 5021945 h 7458372"/>
              <a:gd name="connsiteX14392" fmla="*/ 4155084 w 10505529"/>
              <a:gd name="connsiteY14392" fmla="*/ 5025539 h 7458372"/>
              <a:gd name="connsiteX14393" fmla="*/ 4151490 w 10505529"/>
              <a:gd name="connsiteY14393" fmla="*/ 5034990 h 7458372"/>
              <a:gd name="connsiteX14394" fmla="*/ 4155084 w 10505529"/>
              <a:gd name="connsiteY14394" fmla="*/ 5044441 h 7458372"/>
              <a:gd name="connsiteX14395" fmla="*/ 4165068 w 10505529"/>
              <a:gd name="connsiteY14395" fmla="*/ 5047903 h 7458372"/>
              <a:gd name="connsiteX14396" fmla="*/ 4170392 w 10505529"/>
              <a:gd name="connsiteY14396" fmla="*/ 5046971 h 7458372"/>
              <a:gd name="connsiteX14397" fmla="*/ 4174119 w 10505529"/>
              <a:gd name="connsiteY14397" fmla="*/ 5044574 h 7458372"/>
              <a:gd name="connsiteX14398" fmla="*/ 4176782 w 10505529"/>
              <a:gd name="connsiteY14398" fmla="*/ 5040315 h 7458372"/>
              <a:gd name="connsiteX14399" fmla="*/ 4177847 w 10505529"/>
              <a:gd name="connsiteY14399" fmla="*/ 5034857 h 7458372"/>
              <a:gd name="connsiteX14400" fmla="*/ 4176782 w 10505529"/>
              <a:gd name="connsiteY14400" fmla="*/ 5029666 h 7458372"/>
              <a:gd name="connsiteX14401" fmla="*/ 4174119 w 10505529"/>
              <a:gd name="connsiteY14401" fmla="*/ 5025539 h 7458372"/>
              <a:gd name="connsiteX14402" fmla="*/ 4170126 w 10505529"/>
              <a:gd name="connsiteY14402" fmla="*/ 5022876 h 7458372"/>
              <a:gd name="connsiteX14403" fmla="*/ 4165068 w 10505529"/>
              <a:gd name="connsiteY14403" fmla="*/ 5021945 h 7458372"/>
              <a:gd name="connsiteX14404" fmla="*/ 3947698 w 10505529"/>
              <a:gd name="connsiteY14404" fmla="*/ 5021945 h 7458372"/>
              <a:gd name="connsiteX14405" fmla="*/ 3937714 w 10505529"/>
              <a:gd name="connsiteY14405" fmla="*/ 5025539 h 7458372"/>
              <a:gd name="connsiteX14406" fmla="*/ 3934120 w 10505529"/>
              <a:gd name="connsiteY14406" fmla="*/ 5034990 h 7458372"/>
              <a:gd name="connsiteX14407" fmla="*/ 3937714 w 10505529"/>
              <a:gd name="connsiteY14407" fmla="*/ 5044441 h 7458372"/>
              <a:gd name="connsiteX14408" fmla="*/ 3947698 w 10505529"/>
              <a:gd name="connsiteY14408" fmla="*/ 5047903 h 7458372"/>
              <a:gd name="connsiteX14409" fmla="*/ 3953025 w 10505529"/>
              <a:gd name="connsiteY14409" fmla="*/ 5046971 h 7458372"/>
              <a:gd name="connsiteX14410" fmla="*/ 3956752 w 10505529"/>
              <a:gd name="connsiteY14410" fmla="*/ 5044574 h 7458372"/>
              <a:gd name="connsiteX14411" fmla="*/ 3959415 w 10505529"/>
              <a:gd name="connsiteY14411" fmla="*/ 5040315 h 7458372"/>
              <a:gd name="connsiteX14412" fmla="*/ 3960481 w 10505529"/>
              <a:gd name="connsiteY14412" fmla="*/ 5034857 h 7458372"/>
              <a:gd name="connsiteX14413" fmla="*/ 3959415 w 10505529"/>
              <a:gd name="connsiteY14413" fmla="*/ 5029666 h 7458372"/>
              <a:gd name="connsiteX14414" fmla="*/ 3956752 w 10505529"/>
              <a:gd name="connsiteY14414" fmla="*/ 5025539 h 7458372"/>
              <a:gd name="connsiteX14415" fmla="*/ 3952759 w 10505529"/>
              <a:gd name="connsiteY14415" fmla="*/ 5022876 h 7458372"/>
              <a:gd name="connsiteX14416" fmla="*/ 3947698 w 10505529"/>
              <a:gd name="connsiteY14416" fmla="*/ 5021945 h 7458372"/>
              <a:gd name="connsiteX14417" fmla="*/ 3730040 w 10505529"/>
              <a:gd name="connsiteY14417" fmla="*/ 5021945 h 7458372"/>
              <a:gd name="connsiteX14418" fmla="*/ 3720053 w 10505529"/>
              <a:gd name="connsiteY14418" fmla="*/ 5025539 h 7458372"/>
              <a:gd name="connsiteX14419" fmla="*/ 3716461 w 10505529"/>
              <a:gd name="connsiteY14419" fmla="*/ 5034990 h 7458372"/>
              <a:gd name="connsiteX14420" fmla="*/ 3720053 w 10505529"/>
              <a:gd name="connsiteY14420" fmla="*/ 5044441 h 7458372"/>
              <a:gd name="connsiteX14421" fmla="*/ 3730040 w 10505529"/>
              <a:gd name="connsiteY14421" fmla="*/ 5047903 h 7458372"/>
              <a:gd name="connsiteX14422" fmla="*/ 3735365 w 10505529"/>
              <a:gd name="connsiteY14422" fmla="*/ 5046971 h 7458372"/>
              <a:gd name="connsiteX14423" fmla="*/ 3739093 w 10505529"/>
              <a:gd name="connsiteY14423" fmla="*/ 5044574 h 7458372"/>
              <a:gd name="connsiteX14424" fmla="*/ 3741756 w 10505529"/>
              <a:gd name="connsiteY14424" fmla="*/ 5040315 h 7458372"/>
              <a:gd name="connsiteX14425" fmla="*/ 3742820 w 10505529"/>
              <a:gd name="connsiteY14425" fmla="*/ 5034857 h 7458372"/>
              <a:gd name="connsiteX14426" fmla="*/ 3741756 w 10505529"/>
              <a:gd name="connsiteY14426" fmla="*/ 5029666 h 7458372"/>
              <a:gd name="connsiteX14427" fmla="*/ 3739093 w 10505529"/>
              <a:gd name="connsiteY14427" fmla="*/ 5025539 h 7458372"/>
              <a:gd name="connsiteX14428" fmla="*/ 3735100 w 10505529"/>
              <a:gd name="connsiteY14428" fmla="*/ 5022876 h 7458372"/>
              <a:gd name="connsiteX14429" fmla="*/ 3730040 w 10505529"/>
              <a:gd name="connsiteY14429" fmla="*/ 5021945 h 7458372"/>
              <a:gd name="connsiteX14430" fmla="*/ 3512380 w 10505529"/>
              <a:gd name="connsiteY14430" fmla="*/ 5021945 h 7458372"/>
              <a:gd name="connsiteX14431" fmla="*/ 3502392 w 10505529"/>
              <a:gd name="connsiteY14431" fmla="*/ 5025539 h 7458372"/>
              <a:gd name="connsiteX14432" fmla="*/ 3498799 w 10505529"/>
              <a:gd name="connsiteY14432" fmla="*/ 5034990 h 7458372"/>
              <a:gd name="connsiteX14433" fmla="*/ 3502392 w 10505529"/>
              <a:gd name="connsiteY14433" fmla="*/ 5044441 h 7458372"/>
              <a:gd name="connsiteX14434" fmla="*/ 3512380 w 10505529"/>
              <a:gd name="connsiteY14434" fmla="*/ 5047903 h 7458372"/>
              <a:gd name="connsiteX14435" fmla="*/ 3517706 w 10505529"/>
              <a:gd name="connsiteY14435" fmla="*/ 5046971 h 7458372"/>
              <a:gd name="connsiteX14436" fmla="*/ 3521433 w 10505529"/>
              <a:gd name="connsiteY14436" fmla="*/ 5044574 h 7458372"/>
              <a:gd name="connsiteX14437" fmla="*/ 3524097 w 10505529"/>
              <a:gd name="connsiteY14437" fmla="*/ 5040315 h 7458372"/>
              <a:gd name="connsiteX14438" fmla="*/ 3525162 w 10505529"/>
              <a:gd name="connsiteY14438" fmla="*/ 5034857 h 7458372"/>
              <a:gd name="connsiteX14439" fmla="*/ 3524097 w 10505529"/>
              <a:gd name="connsiteY14439" fmla="*/ 5029666 h 7458372"/>
              <a:gd name="connsiteX14440" fmla="*/ 3521433 w 10505529"/>
              <a:gd name="connsiteY14440" fmla="*/ 5025539 h 7458372"/>
              <a:gd name="connsiteX14441" fmla="*/ 3517440 w 10505529"/>
              <a:gd name="connsiteY14441" fmla="*/ 5022876 h 7458372"/>
              <a:gd name="connsiteX14442" fmla="*/ 3512380 w 10505529"/>
              <a:gd name="connsiteY14442" fmla="*/ 5021945 h 7458372"/>
              <a:gd name="connsiteX14443" fmla="*/ 3294855 w 10505529"/>
              <a:gd name="connsiteY14443" fmla="*/ 5021945 h 7458372"/>
              <a:gd name="connsiteX14444" fmla="*/ 3284869 w 10505529"/>
              <a:gd name="connsiteY14444" fmla="*/ 5025539 h 7458372"/>
              <a:gd name="connsiteX14445" fmla="*/ 3281274 w 10505529"/>
              <a:gd name="connsiteY14445" fmla="*/ 5034990 h 7458372"/>
              <a:gd name="connsiteX14446" fmla="*/ 3284869 w 10505529"/>
              <a:gd name="connsiteY14446" fmla="*/ 5044441 h 7458372"/>
              <a:gd name="connsiteX14447" fmla="*/ 3294855 w 10505529"/>
              <a:gd name="connsiteY14447" fmla="*/ 5047903 h 7458372"/>
              <a:gd name="connsiteX14448" fmla="*/ 3300180 w 10505529"/>
              <a:gd name="connsiteY14448" fmla="*/ 5046971 h 7458372"/>
              <a:gd name="connsiteX14449" fmla="*/ 3303907 w 10505529"/>
              <a:gd name="connsiteY14449" fmla="*/ 5044574 h 7458372"/>
              <a:gd name="connsiteX14450" fmla="*/ 3306570 w 10505529"/>
              <a:gd name="connsiteY14450" fmla="*/ 5040315 h 7458372"/>
              <a:gd name="connsiteX14451" fmla="*/ 3307634 w 10505529"/>
              <a:gd name="connsiteY14451" fmla="*/ 5034857 h 7458372"/>
              <a:gd name="connsiteX14452" fmla="*/ 3306570 w 10505529"/>
              <a:gd name="connsiteY14452" fmla="*/ 5029666 h 7458372"/>
              <a:gd name="connsiteX14453" fmla="*/ 3303907 w 10505529"/>
              <a:gd name="connsiteY14453" fmla="*/ 5025539 h 7458372"/>
              <a:gd name="connsiteX14454" fmla="*/ 3299914 w 10505529"/>
              <a:gd name="connsiteY14454" fmla="*/ 5022876 h 7458372"/>
              <a:gd name="connsiteX14455" fmla="*/ 3294855 w 10505529"/>
              <a:gd name="connsiteY14455" fmla="*/ 5021945 h 7458372"/>
              <a:gd name="connsiteX14456" fmla="*/ 3077328 w 10505529"/>
              <a:gd name="connsiteY14456" fmla="*/ 5021945 h 7458372"/>
              <a:gd name="connsiteX14457" fmla="*/ 3067345 w 10505529"/>
              <a:gd name="connsiteY14457" fmla="*/ 5025539 h 7458372"/>
              <a:gd name="connsiteX14458" fmla="*/ 3063614 w 10505529"/>
              <a:gd name="connsiteY14458" fmla="*/ 5034990 h 7458372"/>
              <a:gd name="connsiteX14459" fmla="*/ 3067211 w 10505529"/>
              <a:gd name="connsiteY14459" fmla="*/ 5044441 h 7458372"/>
              <a:gd name="connsiteX14460" fmla="*/ 3077195 w 10505529"/>
              <a:gd name="connsiteY14460" fmla="*/ 5047903 h 7458372"/>
              <a:gd name="connsiteX14461" fmla="*/ 3082653 w 10505529"/>
              <a:gd name="connsiteY14461" fmla="*/ 5046971 h 7458372"/>
              <a:gd name="connsiteX14462" fmla="*/ 3086381 w 10505529"/>
              <a:gd name="connsiteY14462" fmla="*/ 5044574 h 7458372"/>
              <a:gd name="connsiteX14463" fmla="*/ 3089043 w 10505529"/>
              <a:gd name="connsiteY14463" fmla="*/ 5040315 h 7458372"/>
              <a:gd name="connsiteX14464" fmla="*/ 3089976 w 10505529"/>
              <a:gd name="connsiteY14464" fmla="*/ 5034857 h 7458372"/>
              <a:gd name="connsiteX14465" fmla="*/ 3089043 w 10505529"/>
              <a:gd name="connsiteY14465" fmla="*/ 5029666 h 7458372"/>
              <a:gd name="connsiteX14466" fmla="*/ 3086381 w 10505529"/>
              <a:gd name="connsiteY14466" fmla="*/ 5025539 h 7458372"/>
              <a:gd name="connsiteX14467" fmla="*/ 3082388 w 10505529"/>
              <a:gd name="connsiteY14467" fmla="*/ 5022876 h 7458372"/>
              <a:gd name="connsiteX14468" fmla="*/ 3077328 w 10505529"/>
              <a:gd name="connsiteY14468" fmla="*/ 5021945 h 7458372"/>
              <a:gd name="connsiteX14469" fmla="*/ 2859536 w 10505529"/>
              <a:gd name="connsiteY14469" fmla="*/ 5021945 h 7458372"/>
              <a:gd name="connsiteX14470" fmla="*/ 2849550 w 10505529"/>
              <a:gd name="connsiteY14470" fmla="*/ 5025539 h 7458372"/>
              <a:gd name="connsiteX14471" fmla="*/ 2845952 w 10505529"/>
              <a:gd name="connsiteY14471" fmla="*/ 5034990 h 7458372"/>
              <a:gd name="connsiteX14472" fmla="*/ 2849550 w 10505529"/>
              <a:gd name="connsiteY14472" fmla="*/ 5044441 h 7458372"/>
              <a:gd name="connsiteX14473" fmla="*/ 2859536 w 10505529"/>
              <a:gd name="connsiteY14473" fmla="*/ 5047903 h 7458372"/>
              <a:gd name="connsiteX14474" fmla="*/ 2864861 w 10505529"/>
              <a:gd name="connsiteY14474" fmla="*/ 5046971 h 7458372"/>
              <a:gd name="connsiteX14475" fmla="*/ 2868588 w 10505529"/>
              <a:gd name="connsiteY14475" fmla="*/ 5044574 h 7458372"/>
              <a:gd name="connsiteX14476" fmla="*/ 2871251 w 10505529"/>
              <a:gd name="connsiteY14476" fmla="*/ 5040315 h 7458372"/>
              <a:gd name="connsiteX14477" fmla="*/ 2872182 w 10505529"/>
              <a:gd name="connsiteY14477" fmla="*/ 5034857 h 7458372"/>
              <a:gd name="connsiteX14478" fmla="*/ 2871251 w 10505529"/>
              <a:gd name="connsiteY14478" fmla="*/ 5029666 h 7458372"/>
              <a:gd name="connsiteX14479" fmla="*/ 2868588 w 10505529"/>
              <a:gd name="connsiteY14479" fmla="*/ 5025539 h 7458372"/>
              <a:gd name="connsiteX14480" fmla="*/ 2864595 w 10505529"/>
              <a:gd name="connsiteY14480" fmla="*/ 5022876 h 7458372"/>
              <a:gd name="connsiteX14481" fmla="*/ 2859536 w 10505529"/>
              <a:gd name="connsiteY14481" fmla="*/ 5021945 h 7458372"/>
              <a:gd name="connsiteX14482" fmla="*/ 2641876 w 10505529"/>
              <a:gd name="connsiteY14482" fmla="*/ 5021945 h 7458372"/>
              <a:gd name="connsiteX14483" fmla="*/ 2631893 w 10505529"/>
              <a:gd name="connsiteY14483" fmla="*/ 5025539 h 7458372"/>
              <a:gd name="connsiteX14484" fmla="*/ 2628298 w 10505529"/>
              <a:gd name="connsiteY14484" fmla="*/ 5034990 h 7458372"/>
              <a:gd name="connsiteX14485" fmla="*/ 2631893 w 10505529"/>
              <a:gd name="connsiteY14485" fmla="*/ 5044441 h 7458372"/>
              <a:gd name="connsiteX14486" fmla="*/ 2641876 w 10505529"/>
              <a:gd name="connsiteY14486" fmla="*/ 5047903 h 7458372"/>
              <a:gd name="connsiteX14487" fmla="*/ 2647202 w 10505529"/>
              <a:gd name="connsiteY14487" fmla="*/ 5046971 h 7458372"/>
              <a:gd name="connsiteX14488" fmla="*/ 2650929 w 10505529"/>
              <a:gd name="connsiteY14488" fmla="*/ 5044574 h 7458372"/>
              <a:gd name="connsiteX14489" fmla="*/ 2653592 w 10505529"/>
              <a:gd name="connsiteY14489" fmla="*/ 5040315 h 7458372"/>
              <a:gd name="connsiteX14490" fmla="*/ 2654522 w 10505529"/>
              <a:gd name="connsiteY14490" fmla="*/ 5034857 h 7458372"/>
              <a:gd name="connsiteX14491" fmla="*/ 2653592 w 10505529"/>
              <a:gd name="connsiteY14491" fmla="*/ 5029666 h 7458372"/>
              <a:gd name="connsiteX14492" fmla="*/ 2650929 w 10505529"/>
              <a:gd name="connsiteY14492" fmla="*/ 5025539 h 7458372"/>
              <a:gd name="connsiteX14493" fmla="*/ 2646935 w 10505529"/>
              <a:gd name="connsiteY14493" fmla="*/ 5022876 h 7458372"/>
              <a:gd name="connsiteX14494" fmla="*/ 2641876 w 10505529"/>
              <a:gd name="connsiteY14494" fmla="*/ 5021945 h 7458372"/>
              <a:gd name="connsiteX14495" fmla="*/ 2424216 w 10505529"/>
              <a:gd name="connsiteY14495" fmla="*/ 5021945 h 7458372"/>
              <a:gd name="connsiteX14496" fmla="*/ 2414233 w 10505529"/>
              <a:gd name="connsiteY14496" fmla="*/ 5025539 h 7458372"/>
              <a:gd name="connsiteX14497" fmla="*/ 2410639 w 10505529"/>
              <a:gd name="connsiteY14497" fmla="*/ 5034990 h 7458372"/>
              <a:gd name="connsiteX14498" fmla="*/ 2414233 w 10505529"/>
              <a:gd name="connsiteY14498" fmla="*/ 5044441 h 7458372"/>
              <a:gd name="connsiteX14499" fmla="*/ 2424216 w 10505529"/>
              <a:gd name="connsiteY14499" fmla="*/ 5047903 h 7458372"/>
              <a:gd name="connsiteX14500" fmla="*/ 2429542 w 10505529"/>
              <a:gd name="connsiteY14500" fmla="*/ 5046971 h 7458372"/>
              <a:gd name="connsiteX14501" fmla="*/ 2433269 w 10505529"/>
              <a:gd name="connsiteY14501" fmla="*/ 5044574 h 7458372"/>
              <a:gd name="connsiteX14502" fmla="*/ 2435932 w 10505529"/>
              <a:gd name="connsiteY14502" fmla="*/ 5040315 h 7458372"/>
              <a:gd name="connsiteX14503" fmla="*/ 2436863 w 10505529"/>
              <a:gd name="connsiteY14503" fmla="*/ 5034857 h 7458372"/>
              <a:gd name="connsiteX14504" fmla="*/ 2435932 w 10505529"/>
              <a:gd name="connsiteY14504" fmla="*/ 5029666 h 7458372"/>
              <a:gd name="connsiteX14505" fmla="*/ 2433269 w 10505529"/>
              <a:gd name="connsiteY14505" fmla="*/ 5025539 h 7458372"/>
              <a:gd name="connsiteX14506" fmla="*/ 2429276 w 10505529"/>
              <a:gd name="connsiteY14506" fmla="*/ 5022876 h 7458372"/>
              <a:gd name="connsiteX14507" fmla="*/ 2424216 w 10505529"/>
              <a:gd name="connsiteY14507" fmla="*/ 5021945 h 7458372"/>
              <a:gd name="connsiteX14508" fmla="*/ 2206557 w 10505529"/>
              <a:gd name="connsiteY14508" fmla="*/ 5021945 h 7458372"/>
              <a:gd name="connsiteX14509" fmla="*/ 2196574 w 10505529"/>
              <a:gd name="connsiteY14509" fmla="*/ 5025539 h 7458372"/>
              <a:gd name="connsiteX14510" fmla="*/ 2192979 w 10505529"/>
              <a:gd name="connsiteY14510" fmla="*/ 5034990 h 7458372"/>
              <a:gd name="connsiteX14511" fmla="*/ 2196574 w 10505529"/>
              <a:gd name="connsiteY14511" fmla="*/ 5044441 h 7458372"/>
              <a:gd name="connsiteX14512" fmla="*/ 2206557 w 10505529"/>
              <a:gd name="connsiteY14512" fmla="*/ 5047903 h 7458372"/>
              <a:gd name="connsiteX14513" fmla="*/ 2211882 w 10505529"/>
              <a:gd name="connsiteY14513" fmla="*/ 5046971 h 7458372"/>
              <a:gd name="connsiteX14514" fmla="*/ 2215609 w 10505529"/>
              <a:gd name="connsiteY14514" fmla="*/ 5044574 h 7458372"/>
              <a:gd name="connsiteX14515" fmla="*/ 2218272 w 10505529"/>
              <a:gd name="connsiteY14515" fmla="*/ 5040315 h 7458372"/>
              <a:gd name="connsiteX14516" fmla="*/ 2219203 w 10505529"/>
              <a:gd name="connsiteY14516" fmla="*/ 5034857 h 7458372"/>
              <a:gd name="connsiteX14517" fmla="*/ 2218272 w 10505529"/>
              <a:gd name="connsiteY14517" fmla="*/ 5029666 h 7458372"/>
              <a:gd name="connsiteX14518" fmla="*/ 2215609 w 10505529"/>
              <a:gd name="connsiteY14518" fmla="*/ 5025539 h 7458372"/>
              <a:gd name="connsiteX14519" fmla="*/ 2211616 w 10505529"/>
              <a:gd name="connsiteY14519" fmla="*/ 5022876 h 7458372"/>
              <a:gd name="connsiteX14520" fmla="*/ 2206557 w 10505529"/>
              <a:gd name="connsiteY14520" fmla="*/ 5021945 h 7458372"/>
              <a:gd name="connsiteX14521" fmla="*/ 1989030 w 10505529"/>
              <a:gd name="connsiteY14521" fmla="*/ 5021945 h 7458372"/>
              <a:gd name="connsiteX14522" fmla="*/ 1979047 w 10505529"/>
              <a:gd name="connsiteY14522" fmla="*/ 5025539 h 7458372"/>
              <a:gd name="connsiteX14523" fmla="*/ 1975453 w 10505529"/>
              <a:gd name="connsiteY14523" fmla="*/ 5034990 h 7458372"/>
              <a:gd name="connsiteX14524" fmla="*/ 1979047 w 10505529"/>
              <a:gd name="connsiteY14524" fmla="*/ 5044441 h 7458372"/>
              <a:gd name="connsiteX14525" fmla="*/ 1989030 w 10505529"/>
              <a:gd name="connsiteY14525" fmla="*/ 5047903 h 7458372"/>
              <a:gd name="connsiteX14526" fmla="*/ 1994355 w 10505529"/>
              <a:gd name="connsiteY14526" fmla="*/ 5046971 h 7458372"/>
              <a:gd name="connsiteX14527" fmla="*/ 1998083 w 10505529"/>
              <a:gd name="connsiteY14527" fmla="*/ 5044574 h 7458372"/>
              <a:gd name="connsiteX14528" fmla="*/ 2000746 w 10505529"/>
              <a:gd name="connsiteY14528" fmla="*/ 5040315 h 7458372"/>
              <a:gd name="connsiteX14529" fmla="*/ 2001676 w 10505529"/>
              <a:gd name="connsiteY14529" fmla="*/ 5034857 h 7458372"/>
              <a:gd name="connsiteX14530" fmla="*/ 2000746 w 10505529"/>
              <a:gd name="connsiteY14530" fmla="*/ 5029666 h 7458372"/>
              <a:gd name="connsiteX14531" fmla="*/ 1998083 w 10505529"/>
              <a:gd name="connsiteY14531" fmla="*/ 5025539 h 7458372"/>
              <a:gd name="connsiteX14532" fmla="*/ 1994089 w 10505529"/>
              <a:gd name="connsiteY14532" fmla="*/ 5022876 h 7458372"/>
              <a:gd name="connsiteX14533" fmla="*/ 1989030 w 10505529"/>
              <a:gd name="connsiteY14533" fmla="*/ 5021945 h 7458372"/>
              <a:gd name="connsiteX14534" fmla="*/ 1771396 w 10505529"/>
              <a:gd name="connsiteY14534" fmla="*/ 5021945 h 7458372"/>
              <a:gd name="connsiteX14535" fmla="*/ 1761414 w 10505529"/>
              <a:gd name="connsiteY14535" fmla="*/ 5025539 h 7458372"/>
              <a:gd name="connsiteX14536" fmla="*/ 1757820 w 10505529"/>
              <a:gd name="connsiteY14536" fmla="*/ 5034990 h 7458372"/>
              <a:gd name="connsiteX14537" fmla="*/ 1761414 w 10505529"/>
              <a:gd name="connsiteY14537" fmla="*/ 5044441 h 7458372"/>
              <a:gd name="connsiteX14538" fmla="*/ 1771396 w 10505529"/>
              <a:gd name="connsiteY14538" fmla="*/ 5047903 h 7458372"/>
              <a:gd name="connsiteX14539" fmla="*/ 1776721 w 10505529"/>
              <a:gd name="connsiteY14539" fmla="*/ 5046971 h 7458372"/>
              <a:gd name="connsiteX14540" fmla="*/ 1780447 w 10505529"/>
              <a:gd name="connsiteY14540" fmla="*/ 5044574 h 7458372"/>
              <a:gd name="connsiteX14541" fmla="*/ 1783110 w 10505529"/>
              <a:gd name="connsiteY14541" fmla="*/ 5040315 h 7458372"/>
              <a:gd name="connsiteX14542" fmla="*/ 1784174 w 10505529"/>
              <a:gd name="connsiteY14542" fmla="*/ 5034857 h 7458372"/>
              <a:gd name="connsiteX14543" fmla="*/ 1783110 w 10505529"/>
              <a:gd name="connsiteY14543" fmla="*/ 5029666 h 7458372"/>
              <a:gd name="connsiteX14544" fmla="*/ 1780447 w 10505529"/>
              <a:gd name="connsiteY14544" fmla="*/ 5025539 h 7458372"/>
              <a:gd name="connsiteX14545" fmla="*/ 1776455 w 10505529"/>
              <a:gd name="connsiteY14545" fmla="*/ 5022876 h 7458372"/>
              <a:gd name="connsiteX14546" fmla="*/ 1771396 w 10505529"/>
              <a:gd name="connsiteY14546" fmla="*/ 5021945 h 7458372"/>
              <a:gd name="connsiteX14547" fmla="*/ 1553758 w 10505529"/>
              <a:gd name="connsiteY14547" fmla="*/ 5021945 h 7458372"/>
              <a:gd name="connsiteX14548" fmla="*/ 1543775 w 10505529"/>
              <a:gd name="connsiteY14548" fmla="*/ 5025539 h 7458372"/>
              <a:gd name="connsiteX14549" fmla="*/ 1540180 w 10505529"/>
              <a:gd name="connsiteY14549" fmla="*/ 5034990 h 7458372"/>
              <a:gd name="connsiteX14550" fmla="*/ 1543775 w 10505529"/>
              <a:gd name="connsiteY14550" fmla="*/ 5044441 h 7458372"/>
              <a:gd name="connsiteX14551" fmla="*/ 1553758 w 10505529"/>
              <a:gd name="connsiteY14551" fmla="*/ 5047903 h 7458372"/>
              <a:gd name="connsiteX14552" fmla="*/ 1559083 w 10505529"/>
              <a:gd name="connsiteY14552" fmla="*/ 5046971 h 7458372"/>
              <a:gd name="connsiteX14553" fmla="*/ 1562810 w 10505529"/>
              <a:gd name="connsiteY14553" fmla="*/ 5044574 h 7458372"/>
              <a:gd name="connsiteX14554" fmla="*/ 1565473 w 10505529"/>
              <a:gd name="connsiteY14554" fmla="*/ 5040315 h 7458372"/>
              <a:gd name="connsiteX14555" fmla="*/ 1566538 w 10505529"/>
              <a:gd name="connsiteY14555" fmla="*/ 5034857 h 7458372"/>
              <a:gd name="connsiteX14556" fmla="*/ 1565473 w 10505529"/>
              <a:gd name="connsiteY14556" fmla="*/ 5029666 h 7458372"/>
              <a:gd name="connsiteX14557" fmla="*/ 1562810 w 10505529"/>
              <a:gd name="connsiteY14557" fmla="*/ 5025539 h 7458372"/>
              <a:gd name="connsiteX14558" fmla="*/ 1558816 w 10505529"/>
              <a:gd name="connsiteY14558" fmla="*/ 5022876 h 7458372"/>
              <a:gd name="connsiteX14559" fmla="*/ 1553758 w 10505529"/>
              <a:gd name="connsiteY14559" fmla="*/ 5021945 h 7458372"/>
              <a:gd name="connsiteX14560" fmla="*/ 1336114 w 10505529"/>
              <a:gd name="connsiteY14560" fmla="*/ 5021945 h 7458372"/>
              <a:gd name="connsiteX14561" fmla="*/ 1326131 w 10505529"/>
              <a:gd name="connsiteY14561" fmla="*/ 5025539 h 7458372"/>
              <a:gd name="connsiteX14562" fmla="*/ 1322536 w 10505529"/>
              <a:gd name="connsiteY14562" fmla="*/ 5034990 h 7458372"/>
              <a:gd name="connsiteX14563" fmla="*/ 1326131 w 10505529"/>
              <a:gd name="connsiteY14563" fmla="*/ 5044441 h 7458372"/>
              <a:gd name="connsiteX14564" fmla="*/ 1336114 w 10505529"/>
              <a:gd name="connsiteY14564" fmla="*/ 5047903 h 7458372"/>
              <a:gd name="connsiteX14565" fmla="*/ 1341441 w 10505529"/>
              <a:gd name="connsiteY14565" fmla="*/ 5046971 h 7458372"/>
              <a:gd name="connsiteX14566" fmla="*/ 1345168 w 10505529"/>
              <a:gd name="connsiteY14566" fmla="*/ 5044574 h 7458372"/>
              <a:gd name="connsiteX14567" fmla="*/ 1347830 w 10505529"/>
              <a:gd name="connsiteY14567" fmla="*/ 5040315 h 7458372"/>
              <a:gd name="connsiteX14568" fmla="*/ 1348896 w 10505529"/>
              <a:gd name="connsiteY14568" fmla="*/ 5034857 h 7458372"/>
              <a:gd name="connsiteX14569" fmla="*/ 1347830 w 10505529"/>
              <a:gd name="connsiteY14569" fmla="*/ 5029666 h 7458372"/>
              <a:gd name="connsiteX14570" fmla="*/ 1345168 w 10505529"/>
              <a:gd name="connsiteY14570" fmla="*/ 5025539 h 7458372"/>
              <a:gd name="connsiteX14571" fmla="*/ 1341173 w 10505529"/>
              <a:gd name="connsiteY14571" fmla="*/ 5022876 h 7458372"/>
              <a:gd name="connsiteX14572" fmla="*/ 1336114 w 10505529"/>
              <a:gd name="connsiteY14572" fmla="*/ 5021945 h 7458372"/>
              <a:gd name="connsiteX14573" fmla="*/ 1118602 w 10505529"/>
              <a:gd name="connsiteY14573" fmla="*/ 5021945 h 7458372"/>
              <a:gd name="connsiteX14574" fmla="*/ 1108617 w 10505529"/>
              <a:gd name="connsiteY14574" fmla="*/ 5025539 h 7458372"/>
              <a:gd name="connsiteX14575" fmla="*/ 1104890 w 10505529"/>
              <a:gd name="connsiteY14575" fmla="*/ 5034990 h 7458372"/>
              <a:gd name="connsiteX14576" fmla="*/ 1108484 w 10505529"/>
              <a:gd name="connsiteY14576" fmla="*/ 5044441 h 7458372"/>
              <a:gd name="connsiteX14577" fmla="*/ 1118469 w 10505529"/>
              <a:gd name="connsiteY14577" fmla="*/ 5047903 h 7458372"/>
              <a:gd name="connsiteX14578" fmla="*/ 1123926 w 10505529"/>
              <a:gd name="connsiteY14578" fmla="*/ 5046971 h 7458372"/>
              <a:gd name="connsiteX14579" fmla="*/ 1127656 w 10505529"/>
              <a:gd name="connsiteY14579" fmla="*/ 5044574 h 7458372"/>
              <a:gd name="connsiteX14580" fmla="*/ 1130320 w 10505529"/>
              <a:gd name="connsiteY14580" fmla="*/ 5040315 h 7458372"/>
              <a:gd name="connsiteX14581" fmla="*/ 1131384 w 10505529"/>
              <a:gd name="connsiteY14581" fmla="*/ 5034857 h 7458372"/>
              <a:gd name="connsiteX14582" fmla="*/ 1130320 w 10505529"/>
              <a:gd name="connsiteY14582" fmla="*/ 5029666 h 7458372"/>
              <a:gd name="connsiteX14583" fmla="*/ 1127656 w 10505529"/>
              <a:gd name="connsiteY14583" fmla="*/ 5025539 h 7458372"/>
              <a:gd name="connsiteX14584" fmla="*/ 1123661 w 10505529"/>
              <a:gd name="connsiteY14584" fmla="*/ 5022876 h 7458372"/>
              <a:gd name="connsiteX14585" fmla="*/ 1118602 w 10505529"/>
              <a:gd name="connsiteY14585" fmla="*/ 5021945 h 7458372"/>
              <a:gd name="connsiteX14586" fmla="*/ 901090 w 10505529"/>
              <a:gd name="connsiteY14586" fmla="*/ 5021945 h 7458372"/>
              <a:gd name="connsiteX14587" fmla="*/ 891106 w 10505529"/>
              <a:gd name="connsiteY14587" fmla="*/ 5025539 h 7458372"/>
              <a:gd name="connsiteX14588" fmla="*/ 887379 w 10505529"/>
              <a:gd name="connsiteY14588" fmla="*/ 5034990 h 7458372"/>
              <a:gd name="connsiteX14589" fmla="*/ 890973 w 10505529"/>
              <a:gd name="connsiteY14589" fmla="*/ 5044441 h 7458372"/>
              <a:gd name="connsiteX14590" fmla="*/ 900956 w 10505529"/>
              <a:gd name="connsiteY14590" fmla="*/ 5047903 h 7458372"/>
              <a:gd name="connsiteX14591" fmla="*/ 906414 w 10505529"/>
              <a:gd name="connsiteY14591" fmla="*/ 5046971 h 7458372"/>
              <a:gd name="connsiteX14592" fmla="*/ 910142 w 10505529"/>
              <a:gd name="connsiteY14592" fmla="*/ 5044574 h 7458372"/>
              <a:gd name="connsiteX14593" fmla="*/ 912804 w 10505529"/>
              <a:gd name="connsiteY14593" fmla="*/ 5040315 h 7458372"/>
              <a:gd name="connsiteX14594" fmla="*/ 913869 w 10505529"/>
              <a:gd name="connsiteY14594" fmla="*/ 5034857 h 7458372"/>
              <a:gd name="connsiteX14595" fmla="*/ 912804 w 10505529"/>
              <a:gd name="connsiteY14595" fmla="*/ 5029666 h 7458372"/>
              <a:gd name="connsiteX14596" fmla="*/ 910142 w 10505529"/>
              <a:gd name="connsiteY14596" fmla="*/ 5025539 h 7458372"/>
              <a:gd name="connsiteX14597" fmla="*/ 906148 w 10505529"/>
              <a:gd name="connsiteY14597" fmla="*/ 5022876 h 7458372"/>
              <a:gd name="connsiteX14598" fmla="*/ 901090 w 10505529"/>
              <a:gd name="connsiteY14598" fmla="*/ 5021945 h 7458372"/>
              <a:gd name="connsiteX14599" fmla="*/ 683315 w 10505529"/>
              <a:gd name="connsiteY14599" fmla="*/ 5021945 h 7458372"/>
              <a:gd name="connsiteX14600" fmla="*/ 673332 w 10505529"/>
              <a:gd name="connsiteY14600" fmla="*/ 5025539 h 7458372"/>
              <a:gd name="connsiteX14601" fmla="*/ 669738 w 10505529"/>
              <a:gd name="connsiteY14601" fmla="*/ 5034990 h 7458372"/>
              <a:gd name="connsiteX14602" fmla="*/ 673332 w 10505529"/>
              <a:gd name="connsiteY14602" fmla="*/ 5044441 h 7458372"/>
              <a:gd name="connsiteX14603" fmla="*/ 683315 w 10505529"/>
              <a:gd name="connsiteY14603" fmla="*/ 5047903 h 7458372"/>
              <a:gd name="connsiteX14604" fmla="*/ 688641 w 10505529"/>
              <a:gd name="connsiteY14604" fmla="*/ 5046971 h 7458372"/>
              <a:gd name="connsiteX14605" fmla="*/ 692368 w 10505529"/>
              <a:gd name="connsiteY14605" fmla="*/ 5044574 h 7458372"/>
              <a:gd name="connsiteX14606" fmla="*/ 695031 w 10505529"/>
              <a:gd name="connsiteY14606" fmla="*/ 5040315 h 7458372"/>
              <a:gd name="connsiteX14607" fmla="*/ 696096 w 10505529"/>
              <a:gd name="connsiteY14607" fmla="*/ 5034857 h 7458372"/>
              <a:gd name="connsiteX14608" fmla="*/ 695031 w 10505529"/>
              <a:gd name="connsiteY14608" fmla="*/ 5029666 h 7458372"/>
              <a:gd name="connsiteX14609" fmla="*/ 692368 w 10505529"/>
              <a:gd name="connsiteY14609" fmla="*/ 5025539 h 7458372"/>
              <a:gd name="connsiteX14610" fmla="*/ 688375 w 10505529"/>
              <a:gd name="connsiteY14610" fmla="*/ 5022876 h 7458372"/>
              <a:gd name="connsiteX14611" fmla="*/ 683315 w 10505529"/>
              <a:gd name="connsiteY14611" fmla="*/ 5021945 h 7458372"/>
              <a:gd name="connsiteX14612" fmla="*/ 465674 w 10505529"/>
              <a:gd name="connsiteY14612" fmla="*/ 5021945 h 7458372"/>
              <a:gd name="connsiteX14613" fmla="*/ 455691 w 10505529"/>
              <a:gd name="connsiteY14613" fmla="*/ 5025539 h 7458372"/>
              <a:gd name="connsiteX14614" fmla="*/ 452097 w 10505529"/>
              <a:gd name="connsiteY14614" fmla="*/ 5034990 h 7458372"/>
              <a:gd name="connsiteX14615" fmla="*/ 455691 w 10505529"/>
              <a:gd name="connsiteY14615" fmla="*/ 5044441 h 7458372"/>
              <a:gd name="connsiteX14616" fmla="*/ 465674 w 10505529"/>
              <a:gd name="connsiteY14616" fmla="*/ 5047903 h 7458372"/>
              <a:gd name="connsiteX14617" fmla="*/ 470999 w 10505529"/>
              <a:gd name="connsiteY14617" fmla="*/ 5046971 h 7458372"/>
              <a:gd name="connsiteX14618" fmla="*/ 474726 w 10505529"/>
              <a:gd name="connsiteY14618" fmla="*/ 5044574 h 7458372"/>
              <a:gd name="connsiteX14619" fmla="*/ 477389 w 10505529"/>
              <a:gd name="connsiteY14619" fmla="*/ 5040315 h 7458372"/>
              <a:gd name="connsiteX14620" fmla="*/ 478454 w 10505529"/>
              <a:gd name="connsiteY14620" fmla="*/ 5034857 h 7458372"/>
              <a:gd name="connsiteX14621" fmla="*/ 477389 w 10505529"/>
              <a:gd name="connsiteY14621" fmla="*/ 5029666 h 7458372"/>
              <a:gd name="connsiteX14622" fmla="*/ 474726 w 10505529"/>
              <a:gd name="connsiteY14622" fmla="*/ 5025539 h 7458372"/>
              <a:gd name="connsiteX14623" fmla="*/ 470733 w 10505529"/>
              <a:gd name="connsiteY14623" fmla="*/ 5022876 h 7458372"/>
              <a:gd name="connsiteX14624" fmla="*/ 465674 w 10505529"/>
              <a:gd name="connsiteY14624" fmla="*/ 5021945 h 7458372"/>
              <a:gd name="connsiteX14625" fmla="*/ 248032 w 10505529"/>
              <a:gd name="connsiteY14625" fmla="*/ 5021945 h 7458372"/>
              <a:gd name="connsiteX14626" fmla="*/ 238049 w 10505529"/>
              <a:gd name="connsiteY14626" fmla="*/ 5025539 h 7458372"/>
              <a:gd name="connsiteX14627" fmla="*/ 234456 w 10505529"/>
              <a:gd name="connsiteY14627" fmla="*/ 5034990 h 7458372"/>
              <a:gd name="connsiteX14628" fmla="*/ 238049 w 10505529"/>
              <a:gd name="connsiteY14628" fmla="*/ 5044441 h 7458372"/>
              <a:gd name="connsiteX14629" fmla="*/ 248032 w 10505529"/>
              <a:gd name="connsiteY14629" fmla="*/ 5047903 h 7458372"/>
              <a:gd name="connsiteX14630" fmla="*/ 253357 w 10505529"/>
              <a:gd name="connsiteY14630" fmla="*/ 5046971 h 7458372"/>
              <a:gd name="connsiteX14631" fmla="*/ 257083 w 10505529"/>
              <a:gd name="connsiteY14631" fmla="*/ 5044574 h 7458372"/>
              <a:gd name="connsiteX14632" fmla="*/ 259746 w 10505529"/>
              <a:gd name="connsiteY14632" fmla="*/ 5040315 h 7458372"/>
              <a:gd name="connsiteX14633" fmla="*/ 260811 w 10505529"/>
              <a:gd name="connsiteY14633" fmla="*/ 5034857 h 7458372"/>
              <a:gd name="connsiteX14634" fmla="*/ 259746 w 10505529"/>
              <a:gd name="connsiteY14634" fmla="*/ 5029666 h 7458372"/>
              <a:gd name="connsiteX14635" fmla="*/ 257083 w 10505529"/>
              <a:gd name="connsiteY14635" fmla="*/ 5025539 h 7458372"/>
              <a:gd name="connsiteX14636" fmla="*/ 253091 w 10505529"/>
              <a:gd name="connsiteY14636" fmla="*/ 5022876 h 7458372"/>
              <a:gd name="connsiteX14637" fmla="*/ 248032 w 10505529"/>
              <a:gd name="connsiteY14637" fmla="*/ 5021945 h 7458372"/>
              <a:gd name="connsiteX14638" fmla="*/ 30390 w 10505529"/>
              <a:gd name="connsiteY14638" fmla="*/ 5021945 h 7458372"/>
              <a:gd name="connsiteX14639" fmla="*/ 20407 w 10505529"/>
              <a:gd name="connsiteY14639" fmla="*/ 5025539 h 7458372"/>
              <a:gd name="connsiteX14640" fmla="*/ 16814 w 10505529"/>
              <a:gd name="connsiteY14640" fmla="*/ 5034990 h 7458372"/>
              <a:gd name="connsiteX14641" fmla="*/ 20407 w 10505529"/>
              <a:gd name="connsiteY14641" fmla="*/ 5044441 h 7458372"/>
              <a:gd name="connsiteX14642" fmla="*/ 30390 w 10505529"/>
              <a:gd name="connsiteY14642" fmla="*/ 5047903 h 7458372"/>
              <a:gd name="connsiteX14643" fmla="*/ 35715 w 10505529"/>
              <a:gd name="connsiteY14643" fmla="*/ 5046971 h 7458372"/>
              <a:gd name="connsiteX14644" fmla="*/ 39442 w 10505529"/>
              <a:gd name="connsiteY14644" fmla="*/ 5044574 h 7458372"/>
              <a:gd name="connsiteX14645" fmla="*/ 42105 w 10505529"/>
              <a:gd name="connsiteY14645" fmla="*/ 5040315 h 7458372"/>
              <a:gd name="connsiteX14646" fmla="*/ 43036 w 10505529"/>
              <a:gd name="connsiteY14646" fmla="*/ 5034857 h 7458372"/>
              <a:gd name="connsiteX14647" fmla="*/ 42105 w 10505529"/>
              <a:gd name="connsiteY14647" fmla="*/ 5029666 h 7458372"/>
              <a:gd name="connsiteX14648" fmla="*/ 39442 w 10505529"/>
              <a:gd name="connsiteY14648" fmla="*/ 5025539 h 7458372"/>
              <a:gd name="connsiteX14649" fmla="*/ 35449 w 10505529"/>
              <a:gd name="connsiteY14649" fmla="*/ 5022876 h 7458372"/>
              <a:gd name="connsiteX14650" fmla="*/ 30390 w 10505529"/>
              <a:gd name="connsiteY14650" fmla="*/ 5021945 h 7458372"/>
              <a:gd name="connsiteX14651" fmla="*/ 10475977 w 10505529"/>
              <a:gd name="connsiteY14651" fmla="*/ 5005305 h 7458372"/>
              <a:gd name="connsiteX14652" fmla="*/ 10487824 w 10505529"/>
              <a:gd name="connsiteY14652" fmla="*/ 5007834 h 7458372"/>
              <a:gd name="connsiteX14653" fmla="*/ 10497143 w 10505529"/>
              <a:gd name="connsiteY14653" fmla="*/ 5014224 h 7458372"/>
              <a:gd name="connsiteX14654" fmla="*/ 10503266 w 10505529"/>
              <a:gd name="connsiteY14654" fmla="*/ 5023542 h 7458372"/>
              <a:gd name="connsiteX14655" fmla="*/ 10505529 w 10505529"/>
              <a:gd name="connsiteY14655" fmla="*/ 5034990 h 7458372"/>
              <a:gd name="connsiteX14656" fmla="*/ 10503266 w 10505529"/>
              <a:gd name="connsiteY14656" fmla="*/ 5046705 h 7458372"/>
              <a:gd name="connsiteX14657" fmla="*/ 10497143 w 10505529"/>
              <a:gd name="connsiteY14657" fmla="*/ 5056023 h 7458372"/>
              <a:gd name="connsiteX14658" fmla="*/ 10487824 w 10505529"/>
              <a:gd name="connsiteY14658" fmla="*/ 5062280 h 7458372"/>
              <a:gd name="connsiteX14659" fmla="*/ 10475977 w 10505529"/>
              <a:gd name="connsiteY14659" fmla="*/ 5064543 h 7458372"/>
              <a:gd name="connsiteX14660" fmla="*/ 10454145 w 10505529"/>
              <a:gd name="connsiteY14660" fmla="*/ 5056023 h 7458372"/>
              <a:gd name="connsiteX14661" fmla="*/ 10445759 w 10505529"/>
              <a:gd name="connsiteY14661" fmla="*/ 5034857 h 7458372"/>
              <a:gd name="connsiteX14662" fmla="*/ 10454145 w 10505529"/>
              <a:gd name="connsiteY14662" fmla="*/ 5013825 h 7458372"/>
              <a:gd name="connsiteX14663" fmla="*/ 10475977 w 10505529"/>
              <a:gd name="connsiteY14663" fmla="*/ 5005305 h 7458372"/>
              <a:gd name="connsiteX14664" fmla="*/ 10258466 w 10505529"/>
              <a:gd name="connsiteY14664" fmla="*/ 5005305 h 7458372"/>
              <a:gd name="connsiteX14665" fmla="*/ 10270313 w 10505529"/>
              <a:gd name="connsiteY14665" fmla="*/ 5007834 h 7458372"/>
              <a:gd name="connsiteX14666" fmla="*/ 10279631 w 10505529"/>
              <a:gd name="connsiteY14666" fmla="*/ 5014224 h 7458372"/>
              <a:gd name="connsiteX14667" fmla="*/ 10285754 w 10505529"/>
              <a:gd name="connsiteY14667" fmla="*/ 5023542 h 7458372"/>
              <a:gd name="connsiteX14668" fmla="*/ 10288017 w 10505529"/>
              <a:gd name="connsiteY14668" fmla="*/ 5034990 h 7458372"/>
              <a:gd name="connsiteX14669" fmla="*/ 10285754 w 10505529"/>
              <a:gd name="connsiteY14669" fmla="*/ 5046705 h 7458372"/>
              <a:gd name="connsiteX14670" fmla="*/ 10279631 w 10505529"/>
              <a:gd name="connsiteY14670" fmla="*/ 5056023 h 7458372"/>
              <a:gd name="connsiteX14671" fmla="*/ 10270313 w 10505529"/>
              <a:gd name="connsiteY14671" fmla="*/ 5062280 h 7458372"/>
              <a:gd name="connsiteX14672" fmla="*/ 10258466 w 10505529"/>
              <a:gd name="connsiteY14672" fmla="*/ 5064543 h 7458372"/>
              <a:gd name="connsiteX14673" fmla="*/ 10236633 w 10505529"/>
              <a:gd name="connsiteY14673" fmla="*/ 5056023 h 7458372"/>
              <a:gd name="connsiteX14674" fmla="*/ 10228247 w 10505529"/>
              <a:gd name="connsiteY14674" fmla="*/ 5034857 h 7458372"/>
              <a:gd name="connsiteX14675" fmla="*/ 10236633 w 10505529"/>
              <a:gd name="connsiteY14675" fmla="*/ 5013825 h 7458372"/>
              <a:gd name="connsiteX14676" fmla="*/ 10258466 w 10505529"/>
              <a:gd name="connsiteY14676" fmla="*/ 5005305 h 7458372"/>
              <a:gd name="connsiteX14677" fmla="*/ 10040820 w 10505529"/>
              <a:gd name="connsiteY14677" fmla="*/ 5005305 h 7458372"/>
              <a:gd name="connsiteX14678" fmla="*/ 10052534 w 10505529"/>
              <a:gd name="connsiteY14678" fmla="*/ 5007834 h 7458372"/>
              <a:gd name="connsiteX14679" fmla="*/ 10061852 w 10505529"/>
              <a:gd name="connsiteY14679" fmla="*/ 5014224 h 7458372"/>
              <a:gd name="connsiteX14680" fmla="*/ 10067976 w 10505529"/>
              <a:gd name="connsiteY14680" fmla="*/ 5023542 h 7458372"/>
              <a:gd name="connsiteX14681" fmla="*/ 10070239 w 10505529"/>
              <a:gd name="connsiteY14681" fmla="*/ 5034990 h 7458372"/>
              <a:gd name="connsiteX14682" fmla="*/ 10067976 w 10505529"/>
              <a:gd name="connsiteY14682" fmla="*/ 5046705 h 7458372"/>
              <a:gd name="connsiteX14683" fmla="*/ 10061852 w 10505529"/>
              <a:gd name="connsiteY14683" fmla="*/ 5056023 h 7458372"/>
              <a:gd name="connsiteX14684" fmla="*/ 10052534 w 10505529"/>
              <a:gd name="connsiteY14684" fmla="*/ 5062280 h 7458372"/>
              <a:gd name="connsiteX14685" fmla="*/ 10040820 w 10505529"/>
              <a:gd name="connsiteY14685" fmla="*/ 5064543 h 7458372"/>
              <a:gd name="connsiteX14686" fmla="*/ 10018988 w 10505529"/>
              <a:gd name="connsiteY14686" fmla="*/ 5056023 h 7458372"/>
              <a:gd name="connsiteX14687" fmla="*/ 10010602 w 10505529"/>
              <a:gd name="connsiteY14687" fmla="*/ 5034857 h 7458372"/>
              <a:gd name="connsiteX14688" fmla="*/ 10018988 w 10505529"/>
              <a:gd name="connsiteY14688" fmla="*/ 5013825 h 7458372"/>
              <a:gd name="connsiteX14689" fmla="*/ 10040820 w 10505529"/>
              <a:gd name="connsiteY14689" fmla="*/ 5005305 h 7458372"/>
              <a:gd name="connsiteX14690" fmla="*/ 9823176 w 10505529"/>
              <a:gd name="connsiteY14690" fmla="*/ 5005305 h 7458372"/>
              <a:gd name="connsiteX14691" fmla="*/ 9834890 w 10505529"/>
              <a:gd name="connsiteY14691" fmla="*/ 5007834 h 7458372"/>
              <a:gd name="connsiteX14692" fmla="*/ 9844208 w 10505529"/>
              <a:gd name="connsiteY14692" fmla="*/ 5014224 h 7458372"/>
              <a:gd name="connsiteX14693" fmla="*/ 9850331 w 10505529"/>
              <a:gd name="connsiteY14693" fmla="*/ 5023542 h 7458372"/>
              <a:gd name="connsiteX14694" fmla="*/ 9852595 w 10505529"/>
              <a:gd name="connsiteY14694" fmla="*/ 5034990 h 7458372"/>
              <a:gd name="connsiteX14695" fmla="*/ 9850331 w 10505529"/>
              <a:gd name="connsiteY14695" fmla="*/ 5046705 h 7458372"/>
              <a:gd name="connsiteX14696" fmla="*/ 9844208 w 10505529"/>
              <a:gd name="connsiteY14696" fmla="*/ 5056023 h 7458372"/>
              <a:gd name="connsiteX14697" fmla="*/ 9834890 w 10505529"/>
              <a:gd name="connsiteY14697" fmla="*/ 5062280 h 7458372"/>
              <a:gd name="connsiteX14698" fmla="*/ 9823176 w 10505529"/>
              <a:gd name="connsiteY14698" fmla="*/ 5064543 h 7458372"/>
              <a:gd name="connsiteX14699" fmla="*/ 9801343 w 10505529"/>
              <a:gd name="connsiteY14699" fmla="*/ 5056023 h 7458372"/>
              <a:gd name="connsiteX14700" fmla="*/ 9792957 w 10505529"/>
              <a:gd name="connsiteY14700" fmla="*/ 5034857 h 7458372"/>
              <a:gd name="connsiteX14701" fmla="*/ 9801343 w 10505529"/>
              <a:gd name="connsiteY14701" fmla="*/ 5013825 h 7458372"/>
              <a:gd name="connsiteX14702" fmla="*/ 9823176 w 10505529"/>
              <a:gd name="connsiteY14702" fmla="*/ 5005305 h 7458372"/>
              <a:gd name="connsiteX14703" fmla="*/ 9605531 w 10505529"/>
              <a:gd name="connsiteY14703" fmla="*/ 5005305 h 7458372"/>
              <a:gd name="connsiteX14704" fmla="*/ 9617245 w 10505529"/>
              <a:gd name="connsiteY14704" fmla="*/ 5007834 h 7458372"/>
              <a:gd name="connsiteX14705" fmla="*/ 9626562 w 10505529"/>
              <a:gd name="connsiteY14705" fmla="*/ 5014224 h 7458372"/>
              <a:gd name="connsiteX14706" fmla="*/ 9632686 w 10505529"/>
              <a:gd name="connsiteY14706" fmla="*/ 5023542 h 7458372"/>
              <a:gd name="connsiteX14707" fmla="*/ 9634949 w 10505529"/>
              <a:gd name="connsiteY14707" fmla="*/ 5034990 h 7458372"/>
              <a:gd name="connsiteX14708" fmla="*/ 9632686 w 10505529"/>
              <a:gd name="connsiteY14708" fmla="*/ 5046705 h 7458372"/>
              <a:gd name="connsiteX14709" fmla="*/ 9626562 w 10505529"/>
              <a:gd name="connsiteY14709" fmla="*/ 5056023 h 7458372"/>
              <a:gd name="connsiteX14710" fmla="*/ 9617245 w 10505529"/>
              <a:gd name="connsiteY14710" fmla="*/ 5062280 h 7458372"/>
              <a:gd name="connsiteX14711" fmla="*/ 9605531 w 10505529"/>
              <a:gd name="connsiteY14711" fmla="*/ 5064543 h 7458372"/>
              <a:gd name="connsiteX14712" fmla="*/ 9583698 w 10505529"/>
              <a:gd name="connsiteY14712" fmla="*/ 5056023 h 7458372"/>
              <a:gd name="connsiteX14713" fmla="*/ 9575312 w 10505529"/>
              <a:gd name="connsiteY14713" fmla="*/ 5034857 h 7458372"/>
              <a:gd name="connsiteX14714" fmla="*/ 9583698 w 10505529"/>
              <a:gd name="connsiteY14714" fmla="*/ 5013825 h 7458372"/>
              <a:gd name="connsiteX14715" fmla="*/ 9605531 w 10505529"/>
              <a:gd name="connsiteY14715" fmla="*/ 5005305 h 7458372"/>
              <a:gd name="connsiteX14716" fmla="*/ 9387885 w 10505529"/>
              <a:gd name="connsiteY14716" fmla="*/ 5005305 h 7458372"/>
              <a:gd name="connsiteX14717" fmla="*/ 9399599 w 10505529"/>
              <a:gd name="connsiteY14717" fmla="*/ 5007834 h 7458372"/>
              <a:gd name="connsiteX14718" fmla="*/ 9408917 w 10505529"/>
              <a:gd name="connsiteY14718" fmla="*/ 5014224 h 7458372"/>
              <a:gd name="connsiteX14719" fmla="*/ 9415041 w 10505529"/>
              <a:gd name="connsiteY14719" fmla="*/ 5023542 h 7458372"/>
              <a:gd name="connsiteX14720" fmla="*/ 9417304 w 10505529"/>
              <a:gd name="connsiteY14720" fmla="*/ 5034990 h 7458372"/>
              <a:gd name="connsiteX14721" fmla="*/ 9415041 w 10505529"/>
              <a:gd name="connsiteY14721" fmla="*/ 5046705 h 7458372"/>
              <a:gd name="connsiteX14722" fmla="*/ 9408917 w 10505529"/>
              <a:gd name="connsiteY14722" fmla="*/ 5056023 h 7458372"/>
              <a:gd name="connsiteX14723" fmla="*/ 9399599 w 10505529"/>
              <a:gd name="connsiteY14723" fmla="*/ 5062280 h 7458372"/>
              <a:gd name="connsiteX14724" fmla="*/ 9387885 w 10505529"/>
              <a:gd name="connsiteY14724" fmla="*/ 5064543 h 7458372"/>
              <a:gd name="connsiteX14725" fmla="*/ 9366053 w 10505529"/>
              <a:gd name="connsiteY14725" fmla="*/ 5056023 h 7458372"/>
              <a:gd name="connsiteX14726" fmla="*/ 9357667 w 10505529"/>
              <a:gd name="connsiteY14726" fmla="*/ 5034857 h 7458372"/>
              <a:gd name="connsiteX14727" fmla="*/ 9366053 w 10505529"/>
              <a:gd name="connsiteY14727" fmla="*/ 5013825 h 7458372"/>
              <a:gd name="connsiteX14728" fmla="*/ 9387885 w 10505529"/>
              <a:gd name="connsiteY14728" fmla="*/ 5005305 h 7458372"/>
              <a:gd name="connsiteX14729" fmla="*/ 9170374 w 10505529"/>
              <a:gd name="connsiteY14729" fmla="*/ 5005305 h 7458372"/>
              <a:gd name="connsiteX14730" fmla="*/ 9182088 w 10505529"/>
              <a:gd name="connsiteY14730" fmla="*/ 5007834 h 7458372"/>
              <a:gd name="connsiteX14731" fmla="*/ 9191405 w 10505529"/>
              <a:gd name="connsiteY14731" fmla="*/ 5014224 h 7458372"/>
              <a:gd name="connsiteX14732" fmla="*/ 9197529 w 10505529"/>
              <a:gd name="connsiteY14732" fmla="*/ 5023542 h 7458372"/>
              <a:gd name="connsiteX14733" fmla="*/ 9199792 w 10505529"/>
              <a:gd name="connsiteY14733" fmla="*/ 5034990 h 7458372"/>
              <a:gd name="connsiteX14734" fmla="*/ 9197529 w 10505529"/>
              <a:gd name="connsiteY14734" fmla="*/ 5046705 h 7458372"/>
              <a:gd name="connsiteX14735" fmla="*/ 9191405 w 10505529"/>
              <a:gd name="connsiteY14735" fmla="*/ 5056023 h 7458372"/>
              <a:gd name="connsiteX14736" fmla="*/ 9182088 w 10505529"/>
              <a:gd name="connsiteY14736" fmla="*/ 5062280 h 7458372"/>
              <a:gd name="connsiteX14737" fmla="*/ 9170374 w 10505529"/>
              <a:gd name="connsiteY14737" fmla="*/ 5064543 h 7458372"/>
              <a:gd name="connsiteX14738" fmla="*/ 9148541 w 10505529"/>
              <a:gd name="connsiteY14738" fmla="*/ 5056023 h 7458372"/>
              <a:gd name="connsiteX14739" fmla="*/ 9140155 w 10505529"/>
              <a:gd name="connsiteY14739" fmla="*/ 5034857 h 7458372"/>
              <a:gd name="connsiteX14740" fmla="*/ 9148541 w 10505529"/>
              <a:gd name="connsiteY14740" fmla="*/ 5013825 h 7458372"/>
              <a:gd name="connsiteX14741" fmla="*/ 9170374 w 10505529"/>
              <a:gd name="connsiteY14741" fmla="*/ 5005305 h 7458372"/>
              <a:gd name="connsiteX14742" fmla="*/ 8952728 w 10505529"/>
              <a:gd name="connsiteY14742" fmla="*/ 5005305 h 7458372"/>
              <a:gd name="connsiteX14743" fmla="*/ 8964442 w 10505529"/>
              <a:gd name="connsiteY14743" fmla="*/ 5007834 h 7458372"/>
              <a:gd name="connsiteX14744" fmla="*/ 8973760 w 10505529"/>
              <a:gd name="connsiteY14744" fmla="*/ 5014224 h 7458372"/>
              <a:gd name="connsiteX14745" fmla="*/ 8979884 w 10505529"/>
              <a:gd name="connsiteY14745" fmla="*/ 5023542 h 7458372"/>
              <a:gd name="connsiteX14746" fmla="*/ 8982147 w 10505529"/>
              <a:gd name="connsiteY14746" fmla="*/ 5034990 h 7458372"/>
              <a:gd name="connsiteX14747" fmla="*/ 8979884 w 10505529"/>
              <a:gd name="connsiteY14747" fmla="*/ 5046705 h 7458372"/>
              <a:gd name="connsiteX14748" fmla="*/ 8973760 w 10505529"/>
              <a:gd name="connsiteY14748" fmla="*/ 5056023 h 7458372"/>
              <a:gd name="connsiteX14749" fmla="*/ 8964442 w 10505529"/>
              <a:gd name="connsiteY14749" fmla="*/ 5062280 h 7458372"/>
              <a:gd name="connsiteX14750" fmla="*/ 8952728 w 10505529"/>
              <a:gd name="connsiteY14750" fmla="*/ 5064543 h 7458372"/>
              <a:gd name="connsiteX14751" fmla="*/ 8930896 w 10505529"/>
              <a:gd name="connsiteY14751" fmla="*/ 5056023 h 7458372"/>
              <a:gd name="connsiteX14752" fmla="*/ 8922510 w 10505529"/>
              <a:gd name="connsiteY14752" fmla="*/ 5034857 h 7458372"/>
              <a:gd name="connsiteX14753" fmla="*/ 8930896 w 10505529"/>
              <a:gd name="connsiteY14753" fmla="*/ 5013825 h 7458372"/>
              <a:gd name="connsiteX14754" fmla="*/ 8952728 w 10505529"/>
              <a:gd name="connsiteY14754" fmla="*/ 5005305 h 7458372"/>
              <a:gd name="connsiteX14755" fmla="*/ 8735083 w 10505529"/>
              <a:gd name="connsiteY14755" fmla="*/ 5005305 h 7458372"/>
              <a:gd name="connsiteX14756" fmla="*/ 8746797 w 10505529"/>
              <a:gd name="connsiteY14756" fmla="*/ 5007834 h 7458372"/>
              <a:gd name="connsiteX14757" fmla="*/ 8756115 w 10505529"/>
              <a:gd name="connsiteY14757" fmla="*/ 5014224 h 7458372"/>
              <a:gd name="connsiteX14758" fmla="*/ 8762238 w 10505529"/>
              <a:gd name="connsiteY14758" fmla="*/ 5023542 h 7458372"/>
              <a:gd name="connsiteX14759" fmla="*/ 8764502 w 10505529"/>
              <a:gd name="connsiteY14759" fmla="*/ 5034990 h 7458372"/>
              <a:gd name="connsiteX14760" fmla="*/ 8762238 w 10505529"/>
              <a:gd name="connsiteY14760" fmla="*/ 5046705 h 7458372"/>
              <a:gd name="connsiteX14761" fmla="*/ 8756115 w 10505529"/>
              <a:gd name="connsiteY14761" fmla="*/ 5056023 h 7458372"/>
              <a:gd name="connsiteX14762" fmla="*/ 8746797 w 10505529"/>
              <a:gd name="connsiteY14762" fmla="*/ 5062280 h 7458372"/>
              <a:gd name="connsiteX14763" fmla="*/ 8735083 w 10505529"/>
              <a:gd name="connsiteY14763" fmla="*/ 5064543 h 7458372"/>
              <a:gd name="connsiteX14764" fmla="*/ 8713250 w 10505529"/>
              <a:gd name="connsiteY14764" fmla="*/ 5056023 h 7458372"/>
              <a:gd name="connsiteX14765" fmla="*/ 8704864 w 10505529"/>
              <a:gd name="connsiteY14765" fmla="*/ 5034857 h 7458372"/>
              <a:gd name="connsiteX14766" fmla="*/ 8713250 w 10505529"/>
              <a:gd name="connsiteY14766" fmla="*/ 5013825 h 7458372"/>
              <a:gd name="connsiteX14767" fmla="*/ 8735083 w 10505529"/>
              <a:gd name="connsiteY14767" fmla="*/ 5005305 h 7458372"/>
              <a:gd name="connsiteX14768" fmla="*/ 8517438 w 10505529"/>
              <a:gd name="connsiteY14768" fmla="*/ 5005305 h 7458372"/>
              <a:gd name="connsiteX14769" fmla="*/ 8529152 w 10505529"/>
              <a:gd name="connsiteY14769" fmla="*/ 5007834 h 7458372"/>
              <a:gd name="connsiteX14770" fmla="*/ 8538470 w 10505529"/>
              <a:gd name="connsiteY14770" fmla="*/ 5014224 h 7458372"/>
              <a:gd name="connsiteX14771" fmla="*/ 8544594 w 10505529"/>
              <a:gd name="connsiteY14771" fmla="*/ 5023542 h 7458372"/>
              <a:gd name="connsiteX14772" fmla="*/ 8546857 w 10505529"/>
              <a:gd name="connsiteY14772" fmla="*/ 5034990 h 7458372"/>
              <a:gd name="connsiteX14773" fmla="*/ 8544594 w 10505529"/>
              <a:gd name="connsiteY14773" fmla="*/ 5046705 h 7458372"/>
              <a:gd name="connsiteX14774" fmla="*/ 8538470 w 10505529"/>
              <a:gd name="connsiteY14774" fmla="*/ 5056023 h 7458372"/>
              <a:gd name="connsiteX14775" fmla="*/ 8529152 w 10505529"/>
              <a:gd name="connsiteY14775" fmla="*/ 5062280 h 7458372"/>
              <a:gd name="connsiteX14776" fmla="*/ 8517438 w 10505529"/>
              <a:gd name="connsiteY14776" fmla="*/ 5064543 h 7458372"/>
              <a:gd name="connsiteX14777" fmla="*/ 8495606 w 10505529"/>
              <a:gd name="connsiteY14777" fmla="*/ 5056023 h 7458372"/>
              <a:gd name="connsiteX14778" fmla="*/ 8487220 w 10505529"/>
              <a:gd name="connsiteY14778" fmla="*/ 5034857 h 7458372"/>
              <a:gd name="connsiteX14779" fmla="*/ 8495606 w 10505529"/>
              <a:gd name="connsiteY14779" fmla="*/ 5013825 h 7458372"/>
              <a:gd name="connsiteX14780" fmla="*/ 8517438 w 10505529"/>
              <a:gd name="connsiteY14780" fmla="*/ 5005305 h 7458372"/>
              <a:gd name="connsiteX14781" fmla="*/ 8299793 w 10505529"/>
              <a:gd name="connsiteY14781" fmla="*/ 5005305 h 7458372"/>
              <a:gd name="connsiteX14782" fmla="*/ 8311507 w 10505529"/>
              <a:gd name="connsiteY14782" fmla="*/ 5007834 h 7458372"/>
              <a:gd name="connsiteX14783" fmla="*/ 8320825 w 10505529"/>
              <a:gd name="connsiteY14783" fmla="*/ 5014224 h 7458372"/>
              <a:gd name="connsiteX14784" fmla="*/ 8326948 w 10505529"/>
              <a:gd name="connsiteY14784" fmla="*/ 5023542 h 7458372"/>
              <a:gd name="connsiteX14785" fmla="*/ 8329212 w 10505529"/>
              <a:gd name="connsiteY14785" fmla="*/ 5034990 h 7458372"/>
              <a:gd name="connsiteX14786" fmla="*/ 8326948 w 10505529"/>
              <a:gd name="connsiteY14786" fmla="*/ 5046705 h 7458372"/>
              <a:gd name="connsiteX14787" fmla="*/ 8320825 w 10505529"/>
              <a:gd name="connsiteY14787" fmla="*/ 5056023 h 7458372"/>
              <a:gd name="connsiteX14788" fmla="*/ 8311507 w 10505529"/>
              <a:gd name="connsiteY14788" fmla="*/ 5062280 h 7458372"/>
              <a:gd name="connsiteX14789" fmla="*/ 8299793 w 10505529"/>
              <a:gd name="connsiteY14789" fmla="*/ 5064543 h 7458372"/>
              <a:gd name="connsiteX14790" fmla="*/ 8277960 w 10505529"/>
              <a:gd name="connsiteY14790" fmla="*/ 5056023 h 7458372"/>
              <a:gd name="connsiteX14791" fmla="*/ 8269574 w 10505529"/>
              <a:gd name="connsiteY14791" fmla="*/ 5034857 h 7458372"/>
              <a:gd name="connsiteX14792" fmla="*/ 8277960 w 10505529"/>
              <a:gd name="connsiteY14792" fmla="*/ 5013825 h 7458372"/>
              <a:gd name="connsiteX14793" fmla="*/ 8299793 w 10505529"/>
              <a:gd name="connsiteY14793" fmla="*/ 5005305 h 7458372"/>
              <a:gd name="connsiteX14794" fmla="*/ 8082281 w 10505529"/>
              <a:gd name="connsiteY14794" fmla="*/ 5005305 h 7458372"/>
              <a:gd name="connsiteX14795" fmla="*/ 8094127 w 10505529"/>
              <a:gd name="connsiteY14795" fmla="*/ 5007834 h 7458372"/>
              <a:gd name="connsiteX14796" fmla="*/ 8103446 w 10505529"/>
              <a:gd name="connsiteY14796" fmla="*/ 5014224 h 7458372"/>
              <a:gd name="connsiteX14797" fmla="*/ 8109569 w 10505529"/>
              <a:gd name="connsiteY14797" fmla="*/ 5023542 h 7458372"/>
              <a:gd name="connsiteX14798" fmla="*/ 8111832 w 10505529"/>
              <a:gd name="connsiteY14798" fmla="*/ 5034990 h 7458372"/>
              <a:gd name="connsiteX14799" fmla="*/ 8109569 w 10505529"/>
              <a:gd name="connsiteY14799" fmla="*/ 5046705 h 7458372"/>
              <a:gd name="connsiteX14800" fmla="*/ 8103446 w 10505529"/>
              <a:gd name="connsiteY14800" fmla="*/ 5056023 h 7458372"/>
              <a:gd name="connsiteX14801" fmla="*/ 8094127 w 10505529"/>
              <a:gd name="connsiteY14801" fmla="*/ 5062280 h 7458372"/>
              <a:gd name="connsiteX14802" fmla="*/ 8082281 w 10505529"/>
              <a:gd name="connsiteY14802" fmla="*/ 5064543 h 7458372"/>
              <a:gd name="connsiteX14803" fmla="*/ 8060448 w 10505529"/>
              <a:gd name="connsiteY14803" fmla="*/ 5056023 h 7458372"/>
              <a:gd name="connsiteX14804" fmla="*/ 8052062 w 10505529"/>
              <a:gd name="connsiteY14804" fmla="*/ 5034857 h 7458372"/>
              <a:gd name="connsiteX14805" fmla="*/ 8060448 w 10505529"/>
              <a:gd name="connsiteY14805" fmla="*/ 5013825 h 7458372"/>
              <a:gd name="connsiteX14806" fmla="*/ 8082281 w 10505529"/>
              <a:gd name="connsiteY14806" fmla="*/ 5005305 h 7458372"/>
              <a:gd name="connsiteX14807" fmla="*/ 7864636 w 10505529"/>
              <a:gd name="connsiteY14807" fmla="*/ 5005305 h 7458372"/>
              <a:gd name="connsiteX14808" fmla="*/ 7876483 w 10505529"/>
              <a:gd name="connsiteY14808" fmla="*/ 5007834 h 7458372"/>
              <a:gd name="connsiteX14809" fmla="*/ 7885802 w 10505529"/>
              <a:gd name="connsiteY14809" fmla="*/ 5014224 h 7458372"/>
              <a:gd name="connsiteX14810" fmla="*/ 7891924 w 10505529"/>
              <a:gd name="connsiteY14810" fmla="*/ 5023542 h 7458372"/>
              <a:gd name="connsiteX14811" fmla="*/ 7894188 w 10505529"/>
              <a:gd name="connsiteY14811" fmla="*/ 5034990 h 7458372"/>
              <a:gd name="connsiteX14812" fmla="*/ 7891924 w 10505529"/>
              <a:gd name="connsiteY14812" fmla="*/ 5046705 h 7458372"/>
              <a:gd name="connsiteX14813" fmla="*/ 7885802 w 10505529"/>
              <a:gd name="connsiteY14813" fmla="*/ 5056023 h 7458372"/>
              <a:gd name="connsiteX14814" fmla="*/ 7876483 w 10505529"/>
              <a:gd name="connsiteY14814" fmla="*/ 5062280 h 7458372"/>
              <a:gd name="connsiteX14815" fmla="*/ 7864636 w 10505529"/>
              <a:gd name="connsiteY14815" fmla="*/ 5064543 h 7458372"/>
              <a:gd name="connsiteX14816" fmla="*/ 7842803 w 10505529"/>
              <a:gd name="connsiteY14816" fmla="*/ 5056023 h 7458372"/>
              <a:gd name="connsiteX14817" fmla="*/ 7834417 w 10505529"/>
              <a:gd name="connsiteY14817" fmla="*/ 5034857 h 7458372"/>
              <a:gd name="connsiteX14818" fmla="*/ 7842803 w 10505529"/>
              <a:gd name="connsiteY14818" fmla="*/ 5013825 h 7458372"/>
              <a:gd name="connsiteX14819" fmla="*/ 7864636 w 10505529"/>
              <a:gd name="connsiteY14819" fmla="*/ 5005305 h 7458372"/>
              <a:gd name="connsiteX14820" fmla="*/ 7646991 w 10505529"/>
              <a:gd name="connsiteY14820" fmla="*/ 5005305 h 7458372"/>
              <a:gd name="connsiteX14821" fmla="*/ 7658705 w 10505529"/>
              <a:gd name="connsiteY14821" fmla="*/ 5007834 h 7458372"/>
              <a:gd name="connsiteX14822" fmla="*/ 7668022 w 10505529"/>
              <a:gd name="connsiteY14822" fmla="*/ 5014224 h 7458372"/>
              <a:gd name="connsiteX14823" fmla="*/ 7674146 w 10505529"/>
              <a:gd name="connsiteY14823" fmla="*/ 5023542 h 7458372"/>
              <a:gd name="connsiteX14824" fmla="*/ 7676409 w 10505529"/>
              <a:gd name="connsiteY14824" fmla="*/ 5034990 h 7458372"/>
              <a:gd name="connsiteX14825" fmla="*/ 7674146 w 10505529"/>
              <a:gd name="connsiteY14825" fmla="*/ 5046705 h 7458372"/>
              <a:gd name="connsiteX14826" fmla="*/ 7668022 w 10505529"/>
              <a:gd name="connsiteY14826" fmla="*/ 5056023 h 7458372"/>
              <a:gd name="connsiteX14827" fmla="*/ 7658705 w 10505529"/>
              <a:gd name="connsiteY14827" fmla="*/ 5062280 h 7458372"/>
              <a:gd name="connsiteX14828" fmla="*/ 7646991 w 10505529"/>
              <a:gd name="connsiteY14828" fmla="*/ 5064543 h 7458372"/>
              <a:gd name="connsiteX14829" fmla="*/ 7625158 w 10505529"/>
              <a:gd name="connsiteY14829" fmla="*/ 5056023 h 7458372"/>
              <a:gd name="connsiteX14830" fmla="*/ 7616772 w 10505529"/>
              <a:gd name="connsiteY14830" fmla="*/ 5034857 h 7458372"/>
              <a:gd name="connsiteX14831" fmla="*/ 7625158 w 10505529"/>
              <a:gd name="connsiteY14831" fmla="*/ 5013825 h 7458372"/>
              <a:gd name="connsiteX14832" fmla="*/ 7646991 w 10505529"/>
              <a:gd name="connsiteY14832" fmla="*/ 5005305 h 7458372"/>
              <a:gd name="connsiteX14833" fmla="*/ 7429345 w 10505529"/>
              <a:gd name="connsiteY14833" fmla="*/ 5005305 h 7458372"/>
              <a:gd name="connsiteX14834" fmla="*/ 7441059 w 10505529"/>
              <a:gd name="connsiteY14834" fmla="*/ 5007834 h 7458372"/>
              <a:gd name="connsiteX14835" fmla="*/ 7450377 w 10505529"/>
              <a:gd name="connsiteY14835" fmla="*/ 5014224 h 7458372"/>
              <a:gd name="connsiteX14836" fmla="*/ 7456501 w 10505529"/>
              <a:gd name="connsiteY14836" fmla="*/ 5023542 h 7458372"/>
              <a:gd name="connsiteX14837" fmla="*/ 7458764 w 10505529"/>
              <a:gd name="connsiteY14837" fmla="*/ 5034990 h 7458372"/>
              <a:gd name="connsiteX14838" fmla="*/ 7456501 w 10505529"/>
              <a:gd name="connsiteY14838" fmla="*/ 5046705 h 7458372"/>
              <a:gd name="connsiteX14839" fmla="*/ 7450377 w 10505529"/>
              <a:gd name="connsiteY14839" fmla="*/ 5056023 h 7458372"/>
              <a:gd name="connsiteX14840" fmla="*/ 7441059 w 10505529"/>
              <a:gd name="connsiteY14840" fmla="*/ 5062280 h 7458372"/>
              <a:gd name="connsiteX14841" fmla="*/ 7429345 w 10505529"/>
              <a:gd name="connsiteY14841" fmla="*/ 5064543 h 7458372"/>
              <a:gd name="connsiteX14842" fmla="*/ 7407513 w 10505529"/>
              <a:gd name="connsiteY14842" fmla="*/ 5056023 h 7458372"/>
              <a:gd name="connsiteX14843" fmla="*/ 7399127 w 10505529"/>
              <a:gd name="connsiteY14843" fmla="*/ 5034857 h 7458372"/>
              <a:gd name="connsiteX14844" fmla="*/ 7407513 w 10505529"/>
              <a:gd name="connsiteY14844" fmla="*/ 5013825 h 7458372"/>
              <a:gd name="connsiteX14845" fmla="*/ 7429345 w 10505529"/>
              <a:gd name="connsiteY14845" fmla="*/ 5005305 h 7458372"/>
              <a:gd name="connsiteX14846" fmla="*/ 7211701 w 10505529"/>
              <a:gd name="connsiteY14846" fmla="*/ 5005305 h 7458372"/>
              <a:gd name="connsiteX14847" fmla="*/ 7223415 w 10505529"/>
              <a:gd name="connsiteY14847" fmla="*/ 5007834 h 7458372"/>
              <a:gd name="connsiteX14848" fmla="*/ 7232733 w 10505529"/>
              <a:gd name="connsiteY14848" fmla="*/ 5014224 h 7458372"/>
              <a:gd name="connsiteX14849" fmla="*/ 7238856 w 10505529"/>
              <a:gd name="connsiteY14849" fmla="*/ 5023542 h 7458372"/>
              <a:gd name="connsiteX14850" fmla="*/ 7241120 w 10505529"/>
              <a:gd name="connsiteY14850" fmla="*/ 5034990 h 7458372"/>
              <a:gd name="connsiteX14851" fmla="*/ 7238856 w 10505529"/>
              <a:gd name="connsiteY14851" fmla="*/ 5046705 h 7458372"/>
              <a:gd name="connsiteX14852" fmla="*/ 7232733 w 10505529"/>
              <a:gd name="connsiteY14852" fmla="*/ 5056023 h 7458372"/>
              <a:gd name="connsiteX14853" fmla="*/ 7223415 w 10505529"/>
              <a:gd name="connsiteY14853" fmla="*/ 5062280 h 7458372"/>
              <a:gd name="connsiteX14854" fmla="*/ 7211701 w 10505529"/>
              <a:gd name="connsiteY14854" fmla="*/ 5064543 h 7458372"/>
              <a:gd name="connsiteX14855" fmla="*/ 7189868 w 10505529"/>
              <a:gd name="connsiteY14855" fmla="*/ 5056023 h 7458372"/>
              <a:gd name="connsiteX14856" fmla="*/ 7181482 w 10505529"/>
              <a:gd name="connsiteY14856" fmla="*/ 5034857 h 7458372"/>
              <a:gd name="connsiteX14857" fmla="*/ 7189868 w 10505529"/>
              <a:gd name="connsiteY14857" fmla="*/ 5013825 h 7458372"/>
              <a:gd name="connsiteX14858" fmla="*/ 7211701 w 10505529"/>
              <a:gd name="connsiteY14858" fmla="*/ 5005305 h 7458372"/>
              <a:gd name="connsiteX14859" fmla="*/ 6994056 w 10505529"/>
              <a:gd name="connsiteY14859" fmla="*/ 5005305 h 7458372"/>
              <a:gd name="connsiteX14860" fmla="*/ 7005769 w 10505529"/>
              <a:gd name="connsiteY14860" fmla="*/ 5007834 h 7458372"/>
              <a:gd name="connsiteX14861" fmla="*/ 7015087 w 10505529"/>
              <a:gd name="connsiteY14861" fmla="*/ 5014224 h 7458372"/>
              <a:gd name="connsiteX14862" fmla="*/ 7021211 w 10505529"/>
              <a:gd name="connsiteY14862" fmla="*/ 5023542 h 7458372"/>
              <a:gd name="connsiteX14863" fmla="*/ 7023474 w 10505529"/>
              <a:gd name="connsiteY14863" fmla="*/ 5034990 h 7458372"/>
              <a:gd name="connsiteX14864" fmla="*/ 7021211 w 10505529"/>
              <a:gd name="connsiteY14864" fmla="*/ 5046705 h 7458372"/>
              <a:gd name="connsiteX14865" fmla="*/ 7015087 w 10505529"/>
              <a:gd name="connsiteY14865" fmla="*/ 5056023 h 7458372"/>
              <a:gd name="connsiteX14866" fmla="*/ 7005769 w 10505529"/>
              <a:gd name="connsiteY14866" fmla="*/ 5062280 h 7458372"/>
              <a:gd name="connsiteX14867" fmla="*/ 6994056 w 10505529"/>
              <a:gd name="connsiteY14867" fmla="*/ 5064543 h 7458372"/>
              <a:gd name="connsiteX14868" fmla="*/ 6972223 w 10505529"/>
              <a:gd name="connsiteY14868" fmla="*/ 5056023 h 7458372"/>
              <a:gd name="connsiteX14869" fmla="*/ 6963837 w 10505529"/>
              <a:gd name="connsiteY14869" fmla="*/ 5034857 h 7458372"/>
              <a:gd name="connsiteX14870" fmla="*/ 6972223 w 10505529"/>
              <a:gd name="connsiteY14870" fmla="*/ 5013825 h 7458372"/>
              <a:gd name="connsiteX14871" fmla="*/ 6994056 w 10505529"/>
              <a:gd name="connsiteY14871" fmla="*/ 5005305 h 7458372"/>
              <a:gd name="connsiteX14872" fmla="*/ 6776544 w 10505529"/>
              <a:gd name="connsiteY14872" fmla="*/ 5005305 h 7458372"/>
              <a:gd name="connsiteX14873" fmla="*/ 6788258 w 10505529"/>
              <a:gd name="connsiteY14873" fmla="*/ 5007834 h 7458372"/>
              <a:gd name="connsiteX14874" fmla="*/ 6797576 w 10505529"/>
              <a:gd name="connsiteY14874" fmla="*/ 5014224 h 7458372"/>
              <a:gd name="connsiteX14875" fmla="*/ 6803699 w 10505529"/>
              <a:gd name="connsiteY14875" fmla="*/ 5023542 h 7458372"/>
              <a:gd name="connsiteX14876" fmla="*/ 6805963 w 10505529"/>
              <a:gd name="connsiteY14876" fmla="*/ 5034990 h 7458372"/>
              <a:gd name="connsiteX14877" fmla="*/ 6803699 w 10505529"/>
              <a:gd name="connsiteY14877" fmla="*/ 5046705 h 7458372"/>
              <a:gd name="connsiteX14878" fmla="*/ 6797576 w 10505529"/>
              <a:gd name="connsiteY14878" fmla="*/ 5056023 h 7458372"/>
              <a:gd name="connsiteX14879" fmla="*/ 6788258 w 10505529"/>
              <a:gd name="connsiteY14879" fmla="*/ 5062280 h 7458372"/>
              <a:gd name="connsiteX14880" fmla="*/ 6776544 w 10505529"/>
              <a:gd name="connsiteY14880" fmla="*/ 5064543 h 7458372"/>
              <a:gd name="connsiteX14881" fmla="*/ 6754711 w 10505529"/>
              <a:gd name="connsiteY14881" fmla="*/ 5056023 h 7458372"/>
              <a:gd name="connsiteX14882" fmla="*/ 6746325 w 10505529"/>
              <a:gd name="connsiteY14882" fmla="*/ 5034857 h 7458372"/>
              <a:gd name="connsiteX14883" fmla="*/ 6754711 w 10505529"/>
              <a:gd name="connsiteY14883" fmla="*/ 5013825 h 7458372"/>
              <a:gd name="connsiteX14884" fmla="*/ 6776544 w 10505529"/>
              <a:gd name="connsiteY14884" fmla="*/ 5005305 h 7458372"/>
              <a:gd name="connsiteX14885" fmla="*/ 6558899 w 10505529"/>
              <a:gd name="connsiteY14885" fmla="*/ 5005305 h 7458372"/>
              <a:gd name="connsiteX14886" fmla="*/ 6570612 w 10505529"/>
              <a:gd name="connsiteY14886" fmla="*/ 5007834 h 7458372"/>
              <a:gd name="connsiteX14887" fmla="*/ 6579930 w 10505529"/>
              <a:gd name="connsiteY14887" fmla="*/ 5014224 h 7458372"/>
              <a:gd name="connsiteX14888" fmla="*/ 6586054 w 10505529"/>
              <a:gd name="connsiteY14888" fmla="*/ 5023542 h 7458372"/>
              <a:gd name="connsiteX14889" fmla="*/ 6588317 w 10505529"/>
              <a:gd name="connsiteY14889" fmla="*/ 5034990 h 7458372"/>
              <a:gd name="connsiteX14890" fmla="*/ 6586054 w 10505529"/>
              <a:gd name="connsiteY14890" fmla="*/ 5046705 h 7458372"/>
              <a:gd name="connsiteX14891" fmla="*/ 6579930 w 10505529"/>
              <a:gd name="connsiteY14891" fmla="*/ 5056023 h 7458372"/>
              <a:gd name="connsiteX14892" fmla="*/ 6570612 w 10505529"/>
              <a:gd name="connsiteY14892" fmla="*/ 5062280 h 7458372"/>
              <a:gd name="connsiteX14893" fmla="*/ 6558899 w 10505529"/>
              <a:gd name="connsiteY14893" fmla="*/ 5064543 h 7458372"/>
              <a:gd name="connsiteX14894" fmla="*/ 6537066 w 10505529"/>
              <a:gd name="connsiteY14894" fmla="*/ 5056023 h 7458372"/>
              <a:gd name="connsiteX14895" fmla="*/ 6528680 w 10505529"/>
              <a:gd name="connsiteY14895" fmla="*/ 5034857 h 7458372"/>
              <a:gd name="connsiteX14896" fmla="*/ 6537066 w 10505529"/>
              <a:gd name="connsiteY14896" fmla="*/ 5013825 h 7458372"/>
              <a:gd name="connsiteX14897" fmla="*/ 6558899 w 10505529"/>
              <a:gd name="connsiteY14897" fmla="*/ 5005305 h 7458372"/>
              <a:gd name="connsiteX14898" fmla="*/ 6341253 w 10505529"/>
              <a:gd name="connsiteY14898" fmla="*/ 5005305 h 7458372"/>
              <a:gd name="connsiteX14899" fmla="*/ 6352968 w 10505529"/>
              <a:gd name="connsiteY14899" fmla="*/ 5007834 h 7458372"/>
              <a:gd name="connsiteX14900" fmla="*/ 6362286 w 10505529"/>
              <a:gd name="connsiteY14900" fmla="*/ 5014224 h 7458372"/>
              <a:gd name="connsiteX14901" fmla="*/ 6368409 w 10505529"/>
              <a:gd name="connsiteY14901" fmla="*/ 5023542 h 7458372"/>
              <a:gd name="connsiteX14902" fmla="*/ 6370672 w 10505529"/>
              <a:gd name="connsiteY14902" fmla="*/ 5034990 h 7458372"/>
              <a:gd name="connsiteX14903" fmla="*/ 6368409 w 10505529"/>
              <a:gd name="connsiteY14903" fmla="*/ 5046705 h 7458372"/>
              <a:gd name="connsiteX14904" fmla="*/ 6362286 w 10505529"/>
              <a:gd name="connsiteY14904" fmla="*/ 5056023 h 7458372"/>
              <a:gd name="connsiteX14905" fmla="*/ 6352968 w 10505529"/>
              <a:gd name="connsiteY14905" fmla="*/ 5062280 h 7458372"/>
              <a:gd name="connsiteX14906" fmla="*/ 6341253 w 10505529"/>
              <a:gd name="connsiteY14906" fmla="*/ 5064543 h 7458372"/>
              <a:gd name="connsiteX14907" fmla="*/ 6319421 w 10505529"/>
              <a:gd name="connsiteY14907" fmla="*/ 5056023 h 7458372"/>
              <a:gd name="connsiteX14908" fmla="*/ 6311035 w 10505529"/>
              <a:gd name="connsiteY14908" fmla="*/ 5034857 h 7458372"/>
              <a:gd name="connsiteX14909" fmla="*/ 6319421 w 10505529"/>
              <a:gd name="connsiteY14909" fmla="*/ 5013825 h 7458372"/>
              <a:gd name="connsiteX14910" fmla="*/ 6341253 w 10505529"/>
              <a:gd name="connsiteY14910" fmla="*/ 5005305 h 7458372"/>
              <a:gd name="connsiteX14911" fmla="*/ 6123608 w 10505529"/>
              <a:gd name="connsiteY14911" fmla="*/ 5005305 h 7458372"/>
              <a:gd name="connsiteX14912" fmla="*/ 6135322 w 10505529"/>
              <a:gd name="connsiteY14912" fmla="*/ 5007834 h 7458372"/>
              <a:gd name="connsiteX14913" fmla="*/ 6144640 w 10505529"/>
              <a:gd name="connsiteY14913" fmla="*/ 5014224 h 7458372"/>
              <a:gd name="connsiteX14914" fmla="*/ 6150763 w 10505529"/>
              <a:gd name="connsiteY14914" fmla="*/ 5023542 h 7458372"/>
              <a:gd name="connsiteX14915" fmla="*/ 6153026 w 10505529"/>
              <a:gd name="connsiteY14915" fmla="*/ 5034990 h 7458372"/>
              <a:gd name="connsiteX14916" fmla="*/ 6150763 w 10505529"/>
              <a:gd name="connsiteY14916" fmla="*/ 5046705 h 7458372"/>
              <a:gd name="connsiteX14917" fmla="*/ 6144640 w 10505529"/>
              <a:gd name="connsiteY14917" fmla="*/ 5056023 h 7458372"/>
              <a:gd name="connsiteX14918" fmla="*/ 6135322 w 10505529"/>
              <a:gd name="connsiteY14918" fmla="*/ 5062280 h 7458372"/>
              <a:gd name="connsiteX14919" fmla="*/ 6123608 w 10505529"/>
              <a:gd name="connsiteY14919" fmla="*/ 5064543 h 7458372"/>
              <a:gd name="connsiteX14920" fmla="*/ 6101775 w 10505529"/>
              <a:gd name="connsiteY14920" fmla="*/ 5056023 h 7458372"/>
              <a:gd name="connsiteX14921" fmla="*/ 6093389 w 10505529"/>
              <a:gd name="connsiteY14921" fmla="*/ 5034857 h 7458372"/>
              <a:gd name="connsiteX14922" fmla="*/ 6101775 w 10505529"/>
              <a:gd name="connsiteY14922" fmla="*/ 5013825 h 7458372"/>
              <a:gd name="connsiteX14923" fmla="*/ 6123608 w 10505529"/>
              <a:gd name="connsiteY14923" fmla="*/ 5005305 h 7458372"/>
              <a:gd name="connsiteX14924" fmla="*/ 5905963 w 10505529"/>
              <a:gd name="connsiteY14924" fmla="*/ 5005305 h 7458372"/>
              <a:gd name="connsiteX14925" fmla="*/ 5917677 w 10505529"/>
              <a:gd name="connsiteY14925" fmla="*/ 5007834 h 7458372"/>
              <a:gd name="connsiteX14926" fmla="*/ 5926995 w 10505529"/>
              <a:gd name="connsiteY14926" fmla="*/ 5014224 h 7458372"/>
              <a:gd name="connsiteX14927" fmla="*/ 5933118 w 10505529"/>
              <a:gd name="connsiteY14927" fmla="*/ 5023542 h 7458372"/>
              <a:gd name="connsiteX14928" fmla="*/ 5935381 w 10505529"/>
              <a:gd name="connsiteY14928" fmla="*/ 5034990 h 7458372"/>
              <a:gd name="connsiteX14929" fmla="*/ 5933118 w 10505529"/>
              <a:gd name="connsiteY14929" fmla="*/ 5046705 h 7458372"/>
              <a:gd name="connsiteX14930" fmla="*/ 5926995 w 10505529"/>
              <a:gd name="connsiteY14930" fmla="*/ 5056023 h 7458372"/>
              <a:gd name="connsiteX14931" fmla="*/ 5917677 w 10505529"/>
              <a:gd name="connsiteY14931" fmla="*/ 5062280 h 7458372"/>
              <a:gd name="connsiteX14932" fmla="*/ 5905963 w 10505529"/>
              <a:gd name="connsiteY14932" fmla="*/ 5064543 h 7458372"/>
              <a:gd name="connsiteX14933" fmla="*/ 5884130 w 10505529"/>
              <a:gd name="connsiteY14933" fmla="*/ 5056023 h 7458372"/>
              <a:gd name="connsiteX14934" fmla="*/ 5875744 w 10505529"/>
              <a:gd name="connsiteY14934" fmla="*/ 5034857 h 7458372"/>
              <a:gd name="connsiteX14935" fmla="*/ 5884130 w 10505529"/>
              <a:gd name="connsiteY14935" fmla="*/ 5013825 h 7458372"/>
              <a:gd name="connsiteX14936" fmla="*/ 5905963 w 10505529"/>
              <a:gd name="connsiteY14936" fmla="*/ 5005305 h 7458372"/>
              <a:gd name="connsiteX14937" fmla="*/ 5688451 w 10505529"/>
              <a:gd name="connsiteY14937" fmla="*/ 5005305 h 7458372"/>
              <a:gd name="connsiteX14938" fmla="*/ 5700165 w 10505529"/>
              <a:gd name="connsiteY14938" fmla="*/ 5007834 h 7458372"/>
              <a:gd name="connsiteX14939" fmla="*/ 5709483 w 10505529"/>
              <a:gd name="connsiteY14939" fmla="*/ 5014224 h 7458372"/>
              <a:gd name="connsiteX14940" fmla="*/ 5715606 w 10505529"/>
              <a:gd name="connsiteY14940" fmla="*/ 5023542 h 7458372"/>
              <a:gd name="connsiteX14941" fmla="*/ 5717869 w 10505529"/>
              <a:gd name="connsiteY14941" fmla="*/ 5034990 h 7458372"/>
              <a:gd name="connsiteX14942" fmla="*/ 5715606 w 10505529"/>
              <a:gd name="connsiteY14942" fmla="*/ 5046705 h 7458372"/>
              <a:gd name="connsiteX14943" fmla="*/ 5709483 w 10505529"/>
              <a:gd name="connsiteY14943" fmla="*/ 5056023 h 7458372"/>
              <a:gd name="connsiteX14944" fmla="*/ 5700165 w 10505529"/>
              <a:gd name="connsiteY14944" fmla="*/ 5062280 h 7458372"/>
              <a:gd name="connsiteX14945" fmla="*/ 5688451 w 10505529"/>
              <a:gd name="connsiteY14945" fmla="*/ 5064543 h 7458372"/>
              <a:gd name="connsiteX14946" fmla="*/ 5666618 w 10505529"/>
              <a:gd name="connsiteY14946" fmla="*/ 5056023 h 7458372"/>
              <a:gd name="connsiteX14947" fmla="*/ 5658232 w 10505529"/>
              <a:gd name="connsiteY14947" fmla="*/ 5034857 h 7458372"/>
              <a:gd name="connsiteX14948" fmla="*/ 5666618 w 10505529"/>
              <a:gd name="connsiteY14948" fmla="*/ 5013825 h 7458372"/>
              <a:gd name="connsiteX14949" fmla="*/ 5688451 w 10505529"/>
              <a:gd name="connsiteY14949" fmla="*/ 5005305 h 7458372"/>
              <a:gd name="connsiteX14950" fmla="*/ 5470806 w 10505529"/>
              <a:gd name="connsiteY14950" fmla="*/ 5005305 h 7458372"/>
              <a:gd name="connsiteX14951" fmla="*/ 5482520 w 10505529"/>
              <a:gd name="connsiteY14951" fmla="*/ 5007834 h 7458372"/>
              <a:gd name="connsiteX14952" fmla="*/ 5491838 w 10505529"/>
              <a:gd name="connsiteY14952" fmla="*/ 5014224 h 7458372"/>
              <a:gd name="connsiteX14953" fmla="*/ 5497961 w 10505529"/>
              <a:gd name="connsiteY14953" fmla="*/ 5023542 h 7458372"/>
              <a:gd name="connsiteX14954" fmla="*/ 5500224 w 10505529"/>
              <a:gd name="connsiteY14954" fmla="*/ 5034990 h 7458372"/>
              <a:gd name="connsiteX14955" fmla="*/ 5497961 w 10505529"/>
              <a:gd name="connsiteY14955" fmla="*/ 5046705 h 7458372"/>
              <a:gd name="connsiteX14956" fmla="*/ 5491838 w 10505529"/>
              <a:gd name="connsiteY14956" fmla="*/ 5056023 h 7458372"/>
              <a:gd name="connsiteX14957" fmla="*/ 5482520 w 10505529"/>
              <a:gd name="connsiteY14957" fmla="*/ 5062280 h 7458372"/>
              <a:gd name="connsiteX14958" fmla="*/ 5470806 w 10505529"/>
              <a:gd name="connsiteY14958" fmla="*/ 5064543 h 7458372"/>
              <a:gd name="connsiteX14959" fmla="*/ 5448973 w 10505529"/>
              <a:gd name="connsiteY14959" fmla="*/ 5056023 h 7458372"/>
              <a:gd name="connsiteX14960" fmla="*/ 5440587 w 10505529"/>
              <a:gd name="connsiteY14960" fmla="*/ 5034857 h 7458372"/>
              <a:gd name="connsiteX14961" fmla="*/ 5448973 w 10505529"/>
              <a:gd name="connsiteY14961" fmla="*/ 5013825 h 7458372"/>
              <a:gd name="connsiteX14962" fmla="*/ 5470806 w 10505529"/>
              <a:gd name="connsiteY14962" fmla="*/ 5005305 h 7458372"/>
              <a:gd name="connsiteX14963" fmla="*/ 5253160 w 10505529"/>
              <a:gd name="connsiteY14963" fmla="*/ 5005305 h 7458372"/>
              <a:gd name="connsiteX14964" fmla="*/ 5264875 w 10505529"/>
              <a:gd name="connsiteY14964" fmla="*/ 5007834 h 7458372"/>
              <a:gd name="connsiteX14965" fmla="*/ 5274192 w 10505529"/>
              <a:gd name="connsiteY14965" fmla="*/ 5014224 h 7458372"/>
              <a:gd name="connsiteX14966" fmla="*/ 5280316 w 10505529"/>
              <a:gd name="connsiteY14966" fmla="*/ 5023542 h 7458372"/>
              <a:gd name="connsiteX14967" fmla="*/ 5282579 w 10505529"/>
              <a:gd name="connsiteY14967" fmla="*/ 5034990 h 7458372"/>
              <a:gd name="connsiteX14968" fmla="*/ 5280316 w 10505529"/>
              <a:gd name="connsiteY14968" fmla="*/ 5046705 h 7458372"/>
              <a:gd name="connsiteX14969" fmla="*/ 5274192 w 10505529"/>
              <a:gd name="connsiteY14969" fmla="*/ 5056023 h 7458372"/>
              <a:gd name="connsiteX14970" fmla="*/ 5264875 w 10505529"/>
              <a:gd name="connsiteY14970" fmla="*/ 5062280 h 7458372"/>
              <a:gd name="connsiteX14971" fmla="*/ 5253160 w 10505529"/>
              <a:gd name="connsiteY14971" fmla="*/ 5064543 h 7458372"/>
              <a:gd name="connsiteX14972" fmla="*/ 5231328 w 10505529"/>
              <a:gd name="connsiteY14972" fmla="*/ 5056023 h 7458372"/>
              <a:gd name="connsiteX14973" fmla="*/ 5222942 w 10505529"/>
              <a:gd name="connsiteY14973" fmla="*/ 5034857 h 7458372"/>
              <a:gd name="connsiteX14974" fmla="*/ 5231328 w 10505529"/>
              <a:gd name="connsiteY14974" fmla="*/ 5013825 h 7458372"/>
              <a:gd name="connsiteX14975" fmla="*/ 5253160 w 10505529"/>
              <a:gd name="connsiteY14975" fmla="*/ 5005305 h 7458372"/>
              <a:gd name="connsiteX14976" fmla="*/ 5035515 w 10505529"/>
              <a:gd name="connsiteY14976" fmla="*/ 5005305 h 7458372"/>
              <a:gd name="connsiteX14977" fmla="*/ 5047230 w 10505529"/>
              <a:gd name="connsiteY14977" fmla="*/ 5007834 h 7458372"/>
              <a:gd name="connsiteX14978" fmla="*/ 5056548 w 10505529"/>
              <a:gd name="connsiteY14978" fmla="*/ 5014224 h 7458372"/>
              <a:gd name="connsiteX14979" fmla="*/ 5062671 w 10505529"/>
              <a:gd name="connsiteY14979" fmla="*/ 5023542 h 7458372"/>
              <a:gd name="connsiteX14980" fmla="*/ 5064934 w 10505529"/>
              <a:gd name="connsiteY14980" fmla="*/ 5034990 h 7458372"/>
              <a:gd name="connsiteX14981" fmla="*/ 5062671 w 10505529"/>
              <a:gd name="connsiteY14981" fmla="*/ 5046705 h 7458372"/>
              <a:gd name="connsiteX14982" fmla="*/ 5056548 w 10505529"/>
              <a:gd name="connsiteY14982" fmla="*/ 5056023 h 7458372"/>
              <a:gd name="connsiteX14983" fmla="*/ 5047230 w 10505529"/>
              <a:gd name="connsiteY14983" fmla="*/ 5062280 h 7458372"/>
              <a:gd name="connsiteX14984" fmla="*/ 5035515 w 10505529"/>
              <a:gd name="connsiteY14984" fmla="*/ 5064543 h 7458372"/>
              <a:gd name="connsiteX14985" fmla="*/ 5013683 w 10505529"/>
              <a:gd name="connsiteY14985" fmla="*/ 5056023 h 7458372"/>
              <a:gd name="connsiteX14986" fmla="*/ 5005297 w 10505529"/>
              <a:gd name="connsiteY14986" fmla="*/ 5034857 h 7458372"/>
              <a:gd name="connsiteX14987" fmla="*/ 5013683 w 10505529"/>
              <a:gd name="connsiteY14987" fmla="*/ 5013825 h 7458372"/>
              <a:gd name="connsiteX14988" fmla="*/ 5035515 w 10505529"/>
              <a:gd name="connsiteY14988" fmla="*/ 5005305 h 7458372"/>
              <a:gd name="connsiteX14989" fmla="*/ 4817870 w 10505529"/>
              <a:gd name="connsiteY14989" fmla="*/ 5005305 h 7458372"/>
              <a:gd name="connsiteX14990" fmla="*/ 4829585 w 10505529"/>
              <a:gd name="connsiteY14990" fmla="*/ 5007834 h 7458372"/>
              <a:gd name="connsiteX14991" fmla="*/ 4838903 w 10505529"/>
              <a:gd name="connsiteY14991" fmla="*/ 5014224 h 7458372"/>
              <a:gd name="connsiteX14992" fmla="*/ 4845026 w 10505529"/>
              <a:gd name="connsiteY14992" fmla="*/ 5023542 h 7458372"/>
              <a:gd name="connsiteX14993" fmla="*/ 4847289 w 10505529"/>
              <a:gd name="connsiteY14993" fmla="*/ 5034990 h 7458372"/>
              <a:gd name="connsiteX14994" fmla="*/ 4845026 w 10505529"/>
              <a:gd name="connsiteY14994" fmla="*/ 5046705 h 7458372"/>
              <a:gd name="connsiteX14995" fmla="*/ 4838903 w 10505529"/>
              <a:gd name="connsiteY14995" fmla="*/ 5056023 h 7458372"/>
              <a:gd name="connsiteX14996" fmla="*/ 4829585 w 10505529"/>
              <a:gd name="connsiteY14996" fmla="*/ 5062280 h 7458372"/>
              <a:gd name="connsiteX14997" fmla="*/ 4817870 w 10505529"/>
              <a:gd name="connsiteY14997" fmla="*/ 5064543 h 7458372"/>
              <a:gd name="connsiteX14998" fmla="*/ 4796038 w 10505529"/>
              <a:gd name="connsiteY14998" fmla="*/ 5056023 h 7458372"/>
              <a:gd name="connsiteX14999" fmla="*/ 4787652 w 10505529"/>
              <a:gd name="connsiteY14999" fmla="*/ 5034857 h 7458372"/>
              <a:gd name="connsiteX15000" fmla="*/ 4796038 w 10505529"/>
              <a:gd name="connsiteY15000" fmla="*/ 5013825 h 7458372"/>
              <a:gd name="connsiteX15001" fmla="*/ 4817870 w 10505529"/>
              <a:gd name="connsiteY15001" fmla="*/ 5005305 h 7458372"/>
              <a:gd name="connsiteX15002" fmla="*/ 4600226 w 10505529"/>
              <a:gd name="connsiteY15002" fmla="*/ 5005305 h 7458372"/>
              <a:gd name="connsiteX15003" fmla="*/ 4612073 w 10505529"/>
              <a:gd name="connsiteY15003" fmla="*/ 5007834 h 7458372"/>
              <a:gd name="connsiteX15004" fmla="*/ 4621391 w 10505529"/>
              <a:gd name="connsiteY15004" fmla="*/ 5014224 h 7458372"/>
              <a:gd name="connsiteX15005" fmla="*/ 4627514 w 10505529"/>
              <a:gd name="connsiteY15005" fmla="*/ 5023542 h 7458372"/>
              <a:gd name="connsiteX15006" fmla="*/ 4629777 w 10505529"/>
              <a:gd name="connsiteY15006" fmla="*/ 5034990 h 7458372"/>
              <a:gd name="connsiteX15007" fmla="*/ 4627514 w 10505529"/>
              <a:gd name="connsiteY15007" fmla="*/ 5046705 h 7458372"/>
              <a:gd name="connsiteX15008" fmla="*/ 4621391 w 10505529"/>
              <a:gd name="connsiteY15008" fmla="*/ 5056023 h 7458372"/>
              <a:gd name="connsiteX15009" fmla="*/ 4612073 w 10505529"/>
              <a:gd name="connsiteY15009" fmla="*/ 5062280 h 7458372"/>
              <a:gd name="connsiteX15010" fmla="*/ 4600226 w 10505529"/>
              <a:gd name="connsiteY15010" fmla="*/ 5064543 h 7458372"/>
              <a:gd name="connsiteX15011" fmla="*/ 4578393 w 10505529"/>
              <a:gd name="connsiteY15011" fmla="*/ 5056023 h 7458372"/>
              <a:gd name="connsiteX15012" fmla="*/ 4570007 w 10505529"/>
              <a:gd name="connsiteY15012" fmla="*/ 5034857 h 7458372"/>
              <a:gd name="connsiteX15013" fmla="*/ 4578393 w 10505529"/>
              <a:gd name="connsiteY15013" fmla="*/ 5013825 h 7458372"/>
              <a:gd name="connsiteX15014" fmla="*/ 4600226 w 10505529"/>
              <a:gd name="connsiteY15014" fmla="*/ 5005305 h 7458372"/>
              <a:gd name="connsiteX15015" fmla="*/ 4382713 w 10505529"/>
              <a:gd name="connsiteY15015" fmla="*/ 5005305 h 7458372"/>
              <a:gd name="connsiteX15016" fmla="*/ 4394428 w 10505529"/>
              <a:gd name="connsiteY15016" fmla="*/ 5007834 h 7458372"/>
              <a:gd name="connsiteX15017" fmla="*/ 4403746 w 10505529"/>
              <a:gd name="connsiteY15017" fmla="*/ 5014224 h 7458372"/>
              <a:gd name="connsiteX15018" fmla="*/ 4409869 w 10505529"/>
              <a:gd name="connsiteY15018" fmla="*/ 5023542 h 7458372"/>
              <a:gd name="connsiteX15019" fmla="*/ 4412132 w 10505529"/>
              <a:gd name="connsiteY15019" fmla="*/ 5034990 h 7458372"/>
              <a:gd name="connsiteX15020" fmla="*/ 4409869 w 10505529"/>
              <a:gd name="connsiteY15020" fmla="*/ 5046705 h 7458372"/>
              <a:gd name="connsiteX15021" fmla="*/ 4403746 w 10505529"/>
              <a:gd name="connsiteY15021" fmla="*/ 5056023 h 7458372"/>
              <a:gd name="connsiteX15022" fmla="*/ 4394428 w 10505529"/>
              <a:gd name="connsiteY15022" fmla="*/ 5062280 h 7458372"/>
              <a:gd name="connsiteX15023" fmla="*/ 4382713 w 10505529"/>
              <a:gd name="connsiteY15023" fmla="*/ 5064543 h 7458372"/>
              <a:gd name="connsiteX15024" fmla="*/ 4360881 w 10505529"/>
              <a:gd name="connsiteY15024" fmla="*/ 5056023 h 7458372"/>
              <a:gd name="connsiteX15025" fmla="*/ 4352495 w 10505529"/>
              <a:gd name="connsiteY15025" fmla="*/ 5034857 h 7458372"/>
              <a:gd name="connsiteX15026" fmla="*/ 4360881 w 10505529"/>
              <a:gd name="connsiteY15026" fmla="*/ 5013825 h 7458372"/>
              <a:gd name="connsiteX15027" fmla="*/ 4382713 w 10505529"/>
              <a:gd name="connsiteY15027" fmla="*/ 5005305 h 7458372"/>
              <a:gd name="connsiteX15028" fmla="*/ 4165068 w 10505529"/>
              <a:gd name="connsiteY15028" fmla="*/ 5005305 h 7458372"/>
              <a:gd name="connsiteX15029" fmla="*/ 4176782 w 10505529"/>
              <a:gd name="connsiteY15029" fmla="*/ 5007834 h 7458372"/>
              <a:gd name="connsiteX15030" fmla="*/ 4186100 w 10505529"/>
              <a:gd name="connsiteY15030" fmla="*/ 5014224 h 7458372"/>
              <a:gd name="connsiteX15031" fmla="*/ 4192223 w 10505529"/>
              <a:gd name="connsiteY15031" fmla="*/ 5023542 h 7458372"/>
              <a:gd name="connsiteX15032" fmla="*/ 4194486 w 10505529"/>
              <a:gd name="connsiteY15032" fmla="*/ 5034990 h 7458372"/>
              <a:gd name="connsiteX15033" fmla="*/ 4192223 w 10505529"/>
              <a:gd name="connsiteY15033" fmla="*/ 5046705 h 7458372"/>
              <a:gd name="connsiteX15034" fmla="*/ 4186100 w 10505529"/>
              <a:gd name="connsiteY15034" fmla="*/ 5056023 h 7458372"/>
              <a:gd name="connsiteX15035" fmla="*/ 4176782 w 10505529"/>
              <a:gd name="connsiteY15035" fmla="*/ 5062280 h 7458372"/>
              <a:gd name="connsiteX15036" fmla="*/ 4165068 w 10505529"/>
              <a:gd name="connsiteY15036" fmla="*/ 5064543 h 7458372"/>
              <a:gd name="connsiteX15037" fmla="*/ 4143235 w 10505529"/>
              <a:gd name="connsiteY15037" fmla="*/ 5056023 h 7458372"/>
              <a:gd name="connsiteX15038" fmla="*/ 4134849 w 10505529"/>
              <a:gd name="connsiteY15038" fmla="*/ 5034857 h 7458372"/>
              <a:gd name="connsiteX15039" fmla="*/ 4143235 w 10505529"/>
              <a:gd name="connsiteY15039" fmla="*/ 5013825 h 7458372"/>
              <a:gd name="connsiteX15040" fmla="*/ 4165068 w 10505529"/>
              <a:gd name="connsiteY15040" fmla="*/ 5005305 h 7458372"/>
              <a:gd name="connsiteX15041" fmla="*/ 3947698 w 10505529"/>
              <a:gd name="connsiteY15041" fmla="*/ 5005305 h 7458372"/>
              <a:gd name="connsiteX15042" fmla="*/ 3959415 w 10505529"/>
              <a:gd name="connsiteY15042" fmla="*/ 5007834 h 7458372"/>
              <a:gd name="connsiteX15043" fmla="*/ 3968733 w 10505529"/>
              <a:gd name="connsiteY15043" fmla="*/ 5014224 h 7458372"/>
              <a:gd name="connsiteX15044" fmla="*/ 3974857 w 10505529"/>
              <a:gd name="connsiteY15044" fmla="*/ 5023542 h 7458372"/>
              <a:gd name="connsiteX15045" fmla="*/ 3977121 w 10505529"/>
              <a:gd name="connsiteY15045" fmla="*/ 5034990 h 7458372"/>
              <a:gd name="connsiteX15046" fmla="*/ 3974857 w 10505529"/>
              <a:gd name="connsiteY15046" fmla="*/ 5046705 h 7458372"/>
              <a:gd name="connsiteX15047" fmla="*/ 3968733 w 10505529"/>
              <a:gd name="connsiteY15047" fmla="*/ 5056023 h 7458372"/>
              <a:gd name="connsiteX15048" fmla="*/ 3959415 w 10505529"/>
              <a:gd name="connsiteY15048" fmla="*/ 5062280 h 7458372"/>
              <a:gd name="connsiteX15049" fmla="*/ 3947698 w 10505529"/>
              <a:gd name="connsiteY15049" fmla="*/ 5064543 h 7458372"/>
              <a:gd name="connsiteX15050" fmla="*/ 3925865 w 10505529"/>
              <a:gd name="connsiteY15050" fmla="*/ 5056023 h 7458372"/>
              <a:gd name="connsiteX15051" fmla="*/ 3917479 w 10505529"/>
              <a:gd name="connsiteY15051" fmla="*/ 5034857 h 7458372"/>
              <a:gd name="connsiteX15052" fmla="*/ 3925865 w 10505529"/>
              <a:gd name="connsiteY15052" fmla="*/ 5013825 h 7458372"/>
              <a:gd name="connsiteX15053" fmla="*/ 3947698 w 10505529"/>
              <a:gd name="connsiteY15053" fmla="*/ 5005305 h 7458372"/>
              <a:gd name="connsiteX15054" fmla="*/ 3730040 w 10505529"/>
              <a:gd name="connsiteY15054" fmla="*/ 5005305 h 7458372"/>
              <a:gd name="connsiteX15055" fmla="*/ 3741756 w 10505529"/>
              <a:gd name="connsiteY15055" fmla="*/ 5007834 h 7458372"/>
              <a:gd name="connsiteX15056" fmla="*/ 3751074 w 10505529"/>
              <a:gd name="connsiteY15056" fmla="*/ 5014224 h 7458372"/>
              <a:gd name="connsiteX15057" fmla="*/ 3757197 w 10505529"/>
              <a:gd name="connsiteY15057" fmla="*/ 5023542 h 7458372"/>
              <a:gd name="connsiteX15058" fmla="*/ 3759460 w 10505529"/>
              <a:gd name="connsiteY15058" fmla="*/ 5034990 h 7458372"/>
              <a:gd name="connsiteX15059" fmla="*/ 3757197 w 10505529"/>
              <a:gd name="connsiteY15059" fmla="*/ 5046705 h 7458372"/>
              <a:gd name="connsiteX15060" fmla="*/ 3751074 w 10505529"/>
              <a:gd name="connsiteY15060" fmla="*/ 5056023 h 7458372"/>
              <a:gd name="connsiteX15061" fmla="*/ 3741756 w 10505529"/>
              <a:gd name="connsiteY15061" fmla="*/ 5062280 h 7458372"/>
              <a:gd name="connsiteX15062" fmla="*/ 3730040 w 10505529"/>
              <a:gd name="connsiteY15062" fmla="*/ 5064543 h 7458372"/>
              <a:gd name="connsiteX15063" fmla="*/ 3708201 w 10505529"/>
              <a:gd name="connsiteY15063" fmla="*/ 5056023 h 7458372"/>
              <a:gd name="connsiteX15064" fmla="*/ 3699815 w 10505529"/>
              <a:gd name="connsiteY15064" fmla="*/ 5034857 h 7458372"/>
              <a:gd name="connsiteX15065" fmla="*/ 3708201 w 10505529"/>
              <a:gd name="connsiteY15065" fmla="*/ 5013825 h 7458372"/>
              <a:gd name="connsiteX15066" fmla="*/ 3730040 w 10505529"/>
              <a:gd name="connsiteY15066" fmla="*/ 5005305 h 7458372"/>
              <a:gd name="connsiteX15067" fmla="*/ 3512380 w 10505529"/>
              <a:gd name="connsiteY15067" fmla="*/ 5005305 h 7458372"/>
              <a:gd name="connsiteX15068" fmla="*/ 3524097 w 10505529"/>
              <a:gd name="connsiteY15068" fmla="*/ 5007834 h 7458372"/>
              <a:gd name="connsiteX15069" fmla="*/ 3533415 w 10505529"/>
              <a:gd name="connsiteY15069" fmla="*/ 5014224 h 7458372"/>
              <a:gd name="connsiteX15070" fmla="*/ 3539538 w 10505529"/>
              <a:gd name="connsiteY15070" fmla="*/ 5023542 h 7458372"/>
              <a:gd name="connsiteX15071" fmla="*/ 3541801 w 10505529"/>
              <a:gd name="connsiteY15071" fmla="*/ 5034990 h 7458372"/>
              <a:gd name="connsiteX15072" fmla="*/ 3539538 w 10505529"/>
              <a:gd name="connsiteY15072" fmla="*/ 5046705 h 7458372"/>
              <a:gd name="connsiteX15073" fmla="*/ 3533415 w 10505529"/>
              <a:gd name="connsiteY15073" fmla="*/ 5056023 h 7458372"/>
              <a:gd name="connsiteX15074" fmla="*/ 3524097 w 10505529"/>
              <a:gd name="connsiteY15074" fmla="*/ 5062280 h 7458372"/>
              <a:gd name="connsiteX15075" fmla="*/ 3512380 w 10505529"/>
              <a:gd name="connsiteY15075" fmla="*/ 5064543 h 7458372"/>
              <a:gd name="connsiteX15076" fmla="*/ 3490544 w 10505529"/>
              <a:gd name="connsiteY15076" fmla="*/ 5056023 h 7458372"/>
              <a:gd name="connsiteX15077" fmla="*/ 3482158 w 10505529"/>
              <a:gd name="connsiteY15077" fmla="*/ 5034857 h 7458372"/>
              <a:gd name="connsiteX15078" fmla="*/ 3490544 w 10505529"/>
              <a:gd name="connsiteY15078" fmla="*/ 5013825 h 7458372"/>
              <a:gd name="connsiteX15079" fmla="*/ 3512380 w 10505529"/>
              <a:gd name="connsiteY15079" fmla="*/ 5005305 h 7458372"/>
              <a:gd name="connsiteX15080" fmla="*/ 3294855 w 10505529"/>
              <a:gd name="connsiteY15080" fmla="*/ 5005305 h 7458372"/>
              <a:gd name="connsiteX15081" fmla="*/ 3306570 w 10505529"/>
              <a:gd name="connsiteY15081" fmla="*/ 5007834 h 7458372"/>
              <a:gd name="connsiteX15082" fmla="*/ 3315888 w 10505529"/>
              <a:gd name="connsiteY15082" fmla="*/ 5014224 h 7458372"/>
              <a:gd name="connsiteX15083" fmla="*/ 3322011 w 10505529"/>
              <a:gd name="connsiteY15083" fmla="*/ 5023542 h 7458372"/>
              <a:gd name="connsiteX15084" fmla="*/ 3324274 w 10505529"/>
              <a:gd name="connsiteY15084" fmla="*/ 5034990 h 7458372"/>
              <a:gd name="connsiteX15085" fmla="*/ 3322011 w 10505529"/>
              <a:gd name="connsiteY15085" fmla="*/ 5046705 h 7458372"/>
              <a:gd name="connsiteX15086" fmla="*/ 3315888 w 10505529"/>
              <a:gd name="connsiteY15086" fmla="*/ 5056023 h 7458372"/>
              <a:gd name="connsiteX15087" fmla="*/ 3306570 w 10505529"/>
              <a:gd name="connsiteY15087" fmla="*/ 5062280 h 7458372"/>
              <a:gd name="connsiteX15088" fmla="*/ 3294855 w 10505529"/>
              <a:gd name="connsiteY15088" fmla="*/ 5064543 h 7458372"/>
              <a:gd name="connsiteX15089" fmla="*/ 3273017 w 10505529"/>
              <a:gd name="connsiteY15089" fmla="*/ 5056023 h 7458372"/>
              <a:gd name="connsiteX15090" fmla="*/ 3264629 w 10505529"/>
              <a:gd name="connsiteY15090" fmla="*/ 5034857 h 7458372"/>
              <a:gd name="connsiteX15091" fmla="*/ 3273017 w 10505529"/>
              <a:gd name="connsiteY15091" fmla="*/ 5013825 h 7458372"/>
              <a:gd name="connsiteX15092" fmla="*/ 3294855 w 10505529"/>
              <a:gd name="connsiteY15092" fmla="*/ 5005305 h 7458372"/>
              <a:gd name="connsiteX15093" fmla="*/ 3077195 w 10505529"/>
              <a:gd name="connsiteY15093" fmla="*/ 5005305 h 7458372"/>
              <a:gd name="connsiteX15094" fmla="*/ 3088910 w 10505529"/>
              <a:gd name="connsiteY15094" fmla="*/ 5007834 h 7458372"/>
              <a:gd name="connsiteX15095" fmla="*/ 3098228 w 10505529"/>
              <a:gd name="connsiteY15095" fmla="*/ 5014224 h 7458372"/>
              <a:gd name="connsiteX15096" fmla="*/ 3104352 w 10505529"/>
              <a:gd name="connsiteY15096" fmla="*/ 5023542 h 7458372"/>
              <a:gd name="connsiteX15097" fmla="*/ 3106615 w 10505529"/>
              <a:gd name="connsiteY15097" fmla="*/ 5034990 h 7458372"/>
              <a:gd name="connsiteX15098" fmla="*/ 3104352 w 10505529"/>
              <a:gd name="connsiteY15098" fmla="*/ 5046705 h 7458372"/>
              <a:gd name="connsiteX15099" fmla="*/ 3098228 w 10505529"/>
              <a:gd name="connsiteY15099" fmla="*/ 5056023 h 7458372"/>
              <a:gd name="connsiteX15100" fmla="*/ 3088910 w 10505529"/>
              <a:gd name="connsiteY15100" fmla="*/ 5062280 h 7458372"/>
              <a:gd name="connsiteX15101" fmla="*/ 3077195 w 10505529"/>
              <a:gd name="connsiteY15101" fmla="*/ 5064543 h 7458372"/>
              <a:gd name="connsiteX15102" fmla="*/ 3055357 w 10505529"/>
              <a:gd name="connsiteY15102" fmla="*/ 5056023 h 7458372"/>
              <a:gd name="connsiteX15103" fmla="*/ 3046971 w 10505529"/>
              <a:gd name="connsiteY15103" fmla="*/ 5034857 h 7458372"/>
              <a:gd name="connsiteX15104" fmla="*/ 3055357 w 10505529"/>
              <a:gd name="connsiteY15104" fmla="*/ 5013825 h 7458372"/>
              <a:gd name="connsiteX15105" fmla="*/ 3077195 w 10505529"/>
              <a:gd name="connsiteY15105" fmla="*/ 5005305 h 7458372"/>
              <a:gd name="connsiteX15106" fmla="*/ 2859536 w 10505529"/>
              <a:gd name="connsiteY15106" fmla="*/ 5005305 h 7458372"/>
              <a:gd name="connsiteX15107" fmla="*/ 2871384 w 10505529"/>
              <a:gd name="connsiteY15107" fmla="*/ 5007834 h 7458372"/>
              <a:gd name="connsiteX15108" fmla="*/ 2880702 w 10505529"/>
              <a:gd name="connsiteY15108" fmla="*/ 5014224 h 7458372"/>
              <a:gd name="connsiteX15109" fmla="*/ 2886825 w 10505529"/>
              <a:gd name="connsiteY15109" fmla="*/ 5023542 h 7458372"/>
              <a:gd name="connsiteX15110" fmla="*/ 2889088 w 10505529"/>
              <a:gd name="connsiteY15110" fmla="*/ 5034990 h 7458372"/>
              <a:gd name="connsiteX15111" fmla="*/ 2886825 w 10505529"/>
              <a:gd name="connsiteY15111" fmla="*/ 5046705 h 7458372"/>
              <a:gd name="connsiteX15112" fmla="*/ 2880702 w 10505529"/>
              <a:gd name="connsiteY15112" fmla="*/ 5056023 h 7458372"/>
              <a:gd name="connsiteX15113" fmla="*/ 2871384 w 10505529"/>
              <a:gd name="connsiteY15113" fmla="*/ 5062280 h 7458372"/>
              <a:gd name="connsiteX15114" fmla="*/ 2859536 w 10505529"/>
              <a:gd name="connsiteY15114" fmla="*/ 5064543 h 7458372"/>
              <a:gd name="connsiteX15115" fmla="*/ 2837698 w 10505529"/>
              <a:gd name="connsiteY15115" fmla="*/ 5056023 h 7458372"/>
              <a:gd name="connsiteX15116" fmla="*/ 2829311 w 10505529"/>
              <a:gd name="connsiteY15116" fmla="*/ 5034857 h 7458372"/>
              <a:gd name="connsiteX15117" fmla="*/ 2837698 w 10505529"/>
              <a:gd name="connsiteY15117" fmla="*/ 5013825 h 7458372"/>
              <a:gd name="connsiteX15118" fmla="*/ 2859536 w 10505529"/>
              <a:gd name="connsiteY15118" fmla="*/ 5005305 h 7458372"/>
              <a:gd name="connsiteX15119" fmla="*/ 2641876 w 10505529"/>
              <a:gd name="connsiteY15119" fmla="*/ 5005305 h 7458372"/>
              <a:gd name="connsiteX15120" fmla="*/ 2653592 w 10505529"/>
              <a:gd name="connsiteY15120" fmla="*/ 5007834 h 7458372"/>
              <a:gd name="connsiteX15121" fmla="*/ 2662910 w 10505529"/>
              <a:gd name="connsiteY15121" fmla="*/ 5014224 h 7458372"/>
              <a:gd name="connsiteX15122" fmla="*/ 2669033 w 10505529"/>
              <a:gd name="connsiteY15122" fmla="*/ 5023542 h 7458372"/>
              <a:gd name="connsiteX15123" fmla="*/ 2671296 w 10505529"/>
              <a:gd name="connsiteY15123" fmla="*/ 5034990 h 7458372"/>
              <a:gd name="connsiteX15124" fmla="*/ 2669033 w 10505529"/>
              <a:gd name="connsiteY15124" fmla="*/ 5046705 h 7458372"/>
              <a:gd name="connsiteX15125" fmla="*/ 2662910 w 10505529"/>
              <a:gd name="connsiteY15125" fmla="*/ 5056023 h 7458372"/>
              <a:gd name="connsiteX15126" fmla="*/ 2653592 w 10505529"/>
              <a:gd name="connsiteY15126" fmla="*/ 5062280 h 7458372"/>
              <a:gd name="connsiteX15127" fmla="*/ 2641876 w 10505529"/>
              <a:gd name="connsiteY15127" fmla="*/ 5064543 h 7458372"/>
              <a:gd name="connsiteX15128" fmla="*/ 2620044 w 10505529"/>
              <a:gd name="connsiteY15128" fmla="*/ 5056023 h 7458372"/>
              <a:gd name="connsiteX15129" fmla="*/ 2611653 w 10505529"/>
              <a:gd name="connsiteY15129" fmla="*/ 5034857 h 7458372"/>
              <a:gd name="connsiteX15130" fmla="*/ 2620044 w 10505529"/>
              <a:gd name="connsiteY15130" fmla="*/ 5013825 h 7458372"/>
              <a:gd name="connsiteX15131" fmla="*/ 2641876 w 10505529"/>
              <a:gd name="connsiteY15131" fmla="*/ 5005305 h 7458372"/>
              <a:gd name="connsiteX15132" fmla="*/ 2424216 w 10505529"/>
              <a:gd name="connsiteY15132" fmla="*/ 5005305 h 7458372"/>
              <a:gd name="connsiteX15133" fmla="*/ 2435932 w 10505529"/>
              <a:gd name="connsiteY15133" fmla="*/ 5007834 h 7458372"/>
              <a:gd name="connsiteX15134" fmla="*/ 2445250 w 10505529"/>
              <a:gd name="connsiteY15134" fmla="*/ 5014224 h 7458372"/>
              <a:gd name="connsiteX15135" fmla="*/ 2451373 w 10505529"/>
              <a:gd name="connsiteY15135" fmla="*/ 5023542 h 7458372"/>
              <a:gd name="connsiteX15136" fmla="*/ 2453636 w 10505529"/>
              <a:gd name="connsiteY15136" fmla="*/ 5034990 h 7458372"/>
              <a:gd name="connsiteX15137" fmla="*/ 2451373 w 10505529"/>
              <a:gd name="connsiteY15137" fmla="*/ 5046705 h 7458372"/>
              <a:gd name="connsiteX15138" fmla="*/ 2445250 w 10505529"/>
              <a:gd name="connsiteY15138" fmla="*/ 5056023 h 7458372"/>
              <a:gd name="connsiteX15139" fmla="*/ 2435932 w 10505529"/>
              <a:gd name="connsiteY15139" fmla="*/ 5062280 h 7458372"/>
              <a:gd name="connsiteX15140" fmla="*/ 2424216 w 10505529"/>
              <a:gd name="connsiteY15140" fmla="*/ 5064543 h 7458372"/>
              <a:gd name="connsiteX15141" fmla="*/ 2402384 w 10505529"/>
              <a:gd name="connsiteY15141" fmla="*/ 5056023 h 7458372"/>
              <a:gd name="connsiteX15142" fmla="*/ 2393995 w 10505529"/>
              <a:gd name="connsiteY15142" fmla="*/ 5034857 h 7458372"/>
              <a:gd name="connsiteX15143" fmla="*/ 2402384 w 10505529"/>
              <a:gd name="connsiteY15143" fmla="*/ 5013825 h 7458372"/>
              <a:gd name="connsiteX15144" fmla="*/ 2424216 w 10505529"/>
              <a:gd name="connsiteY15144" fmla="*/ 5005305 h 7458372"/>
              <a:gd name="connsiteX15145" fmla="*/ 2206557 w 10505529"/>
              <a:gd name="connsiteY15145" fmla="*/ 5005305 h 7458372"/>
              <a:gd name="connsiteX15146" fmla="*/ 2218272 w 10505529"/>
              <a:gd name="connsiteY15146" fmla="*/ 5007834 h 7458372"/>
              <a:gd name="connsiteX15147" fmla="*/ 2227591 w 10505529"/>
              <a:gd name="connsiteY15147" fmla="*/ 5014224 h 7458372"/>
              <a:gd name="connsiteX15148" fmla="*/ 2233713 w 10505529"/>
              <a:gd name="connsiteY15148" fmla="*/ 5023542 h 7458372"/>
              <a:gd name="connsiteX15149" fmla="*/ 2235976 w 10505529"/>
              <a:gd name="connsiteY15149" fmla="*/ 5034990 h 7458372"/>
              <a:gd name="connsiteX15150" fmla="*/ 2233713 w 10505529"/>
              <a:gd name="connsiteY15150" fmla="*/ 5046705 h 7458372"/>
              <a:gd name="connsiteX15151" fmla="*/ 2227591 w 10505529"/>
              <a:gd name="connsiteY15151" fmla="*/ 5056023 h 7458372"/>
              <a:gd name="connsiteX15152" fmla="*/ 2218272 w 10505529"/>
              <a:gd name="connsiteY15152" fmla="*/ 5062280 h 7458372"/>
              <a:gd name="connsiteX15153" fmla="*/ 2206557 w 10505529"/>
              <a:gd name="connsiteY15153" fmla="*/ 5064543 h 7458372"/>
              <a:gd name="connsiteX15154" fmla="*/ 2184724 w 10505529"/>
              <a:gd name="connsiteY15154" fmla="*/ 5056023 h 7458372"/>
              <a:gd name="connsiteX15155" fmla="*/ 2176337 w 10505529"/>
              <a:gd name="connsiteY15155" fmla="*/ 5034857 h 7458372"/>
              <a:gd name="connsiteX15156" fmla="*/ 2184724 w 10505529"/>
              <a:gd name="connsiteY15156" fmla="*/ 5013825 h 7458372"/>
              <a:gd name="connsiteX15157" fmla="*/ 2206557 w 10505529"/>
              <a:gd name="connsiteY15157" fmla="*/ 5005305 h 7458372"/>
              <a:gd name="connsiteX15158" fmla="*/ 1989030 w 10505529"/>
              <a:gd name="connsiteY15158" fmla="*/ 5005305 h 7458372"/>
              <a:gd name="connsiteX15159" fmla="*/ 2000746 w 10505529"/>
              <a:gd name="connsiteY15159" fmla="*/ 5007834 h 7458372"/>
              <a:gd name="connsiteX15160" fmla="*/ 2010064 w 10505529"/>
              <a:gd name="connsiteY15160" fmla="*/ 5014224 h 7458372"/>
              <a:gd name="connsiteX15161" fmla="*/ 2016187 w 10505529"/>
              <a:gd name="connsiteY15161" fmla="*/ 5023542 h 7458372"/>
              <a:gd name="connsiteX15162" fmla="*/ 2018450 w 10505529"/>
              <a:gd name="connsiteY15162" fmla="*/ 5034990 h 7458372"/>
              <a:gd name="connsiteX15163" fmla="*/ 2016187 w 10505529"/>
              <a:gd name="connsiteY15163" fmla="*/ 5046705 h 7458372"/>
              <a:gd name="connsiteX15164" fmla="*/ 2010064 w 10505529"/>
              <a:gd name="connsiteY15164" fmla="*/ 5056023 h 7458372"/>
              <a:gd name="connsiteX15165" fmla="*/ 2000746 w 10505529"/>
              <a:gd name="connsiteY15165" fmla="*/ 5062280 h 7458372"/>
              <a:gd name="connsiteX15166" fmla="*/ 1989030 w 10505529"/>
              <a:gd name="connsiteY15166" fmla="*/ 5064543 h 7458372"/>
              <a:gd name="connsiteX15167" fmla="*/ 1967199 w 10505529"/>
              <a:gd name="connsiteY15167" fmla="*/ 5056023 h 7458372"/>
              <a:gd name="connsiteX15168" fmla="*/ 1958813 w 10505529"/>
              <a:gd name="connsiteY15168" fmla="*/ 5034857 h 7458372"/>
              <a:gd name="connsiteX15169" fmla="*/ 1967199 w 10505529"/>
              <a:gd name="connsiteY15169" fmla="*/ 5013825 h 7458372"/>
              <a:gd name="connsiteX15170" fmla="*/ 1989030 w 10505529"/>
              <a:gd name="connsiteY15170" fmla="*/ 5005305 h 7458372"/>
              <a:gd name="connsiteX15171" fmla="*/ 1771396 w 10505529"/>
              <a:gd name="connsiteY15171" fmla="*/ 5005305 h 7458372"/>
              <a:gd name="connsiteX15172" fmla="*/ 1783110 w 10505529"/>
              <a:gd name="connsiteY15172" fmla="*/ 5007834 h 7458372"/>
              <a:gd name="connsiteX15173" fmla="*/ 1792427 w 10505529"/>
              <a:gd name="connsiteY15173" fmla="*/ 5014224 h 7458372"/>
              <a:gd name="connsiteX15174" fmla="*/ 1798551 w 10505529"/>
              <a:gd name="connsiteY15174" fmla="*/ 5023542 h 7458372"/>
              <a:gd name="connsiteX15175" fmla="*/ 1800813 w 10505529"/>
              <a:gd name="connsiteY15175" fmla="*/ 5034990 h 7458372"/>
              <a:gd name="connsiteX15176" fmla="*/ 1798551 w 10505529"/>
              <a:gd name="connsiteY15176" fmla="*/ 5046705 h 7458372"/>
              <a:gd name="connsiteX15177" fmla="*/ 1792427 w 10505529"/>
              <a:gd name="connsiteY15177" fmla="*/ 5056023 h 7458372"/>
              <a:gd name="connsiteX15178" fmla="*/ 1783110 w 10505529"/>
              <a:gd name="connsiteY15178" fmla="*/ 5062280 h 7458372"/>
              <a:gd name="connsiteX15179" fmla="*/ 1771396 w 10505529"/>
              <a:gd name="connsiteY15179" fmla="*/ 5064543 h 7458372"/>
              <a:gd name="connsiteX15180" fmla="*/ 1749566 w 10505529"/>
              <a:gd name="connsiteY15180" fmla="*/ 5056023 h 7458372"/>
              <a:gd name="connsiteX15181" fmla="*/ 1741183 w 10505529"/>
              <a:gd name="connsiteY15181" fmla="*/ 5034857 h 7458372"/>
              <a:gd name="connsiteX15182" fmla="*/ 1749566 w 10505529"/>
              <a:gd name="connsiteY15182" fmla="*/ 5013825 h 7458372"/>
              <a:gd name="connsiteX15183" fmla="*/ 1771396 w 10505529"/>
              <a:gd name="connsiteY15183" fmla="*/ 5005305 h 7458372"/>
              <a:gd name="connsiteX15184" fmla="*/ 1553758 w 10505529"/>
              <a:gd name="connsiteY15184" fmla="*/ 5005305 h 7458372"/>
              <a:gd name="connsiteX15185" fmla="*/ 1565473 w 10505529"/>
              <a:gd name="connsiteY15185" fmla="*/ 5007834 h 7458372"/>
              <a:gd name="connsiteX15186" fmla="*/ 1574791 w 10505529"/>
              <a:gd name="connsiteY15186" fmla="*/ 5014224 h 7458372"/>
              <a:gd name="connsiteX15187" fmla="*/ 1580914 w 10505529"/>
              <a:gd name="connsiteY15187" fmla="*/ 5023542 h 7458372"/>
              <a:gd name="connsiteX15188" fmla="*/ 1583177 w 10505529"/>
              <a:gd name="connsiteY15188" fmla="*/ 5034990 h 7458372"/>
              <a:gd name="connsiteX15189" fmla="*/ 1580914 w 10505529"/>
              <a:gd name="connsiteY15189" fmla="*/ 5046705 h 7458372"/>
              <a:gd name="connsiteX15190" fmla="*/ 1574791 w 10505529"/>
              <a:gd name="connsiteY15190" fmla="*/ 5056023 h 7458372"/>
              <a:gd name="connsiteX15191" fmla="*/ 1565473 w 10505529"/>
              <a:gd name="connsiteY15191" fmla="*/ 5062280 h 7458372"/>
              <a:gd name="connsiteX15192" fmla="*/ 1553758 w 10505529"/>
              <a:gd name="connsiteY15192" fmla="*/ 5064543 h 7458372"/>
              <a:gd name="connsiteX15193" fmla="*/ 1531928 w 10505529"/>
              <a:gd name="connsiteY15193" fmla="*/ 5056023 h 7458372"/>
              <a:gd name="connsiteX15194" fmla="*/ 1523542 w 10505529"/>
              <a:gd name="connsiteY15194" fmla="*/ 5034857 h 7458372"/>
              <a:gd name="connsiteX15195" fmla="*/ 1531928 w 10505529"/>
              <a:gd name="connsiteY15195" fmla="*/ 5013825 h 7458372"/>
              <a:gd name="connsiteX15196" fmla="*/ 1553758 w 10505529"/>
              <a:gd name="connsiteY15196" fmla="*/ 5005305 h 7458372"/>
              <a:gd name="connsiteX15197" fmla="*/ 1336114 w 10505529"/>
              <a:gd name="connsiteY15197" fmla="*/ 5005305 h 7458372"/>
              <a:gd name="connsiteX15198" fmla="*/ 1347830 w 10505529"/>
              <a:gd name="connsiteY15198" fmla="*/ 5007834 h 7458372"/>
              <a:gd name="connsiteX15199" fmla="*/ 1357148 w 10505529"/>
              <a:gd name="connsiteY15199" fmla="*/ 5014224 h 7458372"/>
              <a:gd name="connsiteX15200" fmla="*/ 1363271 w 10505529"/>
              <a:gd name="connsiteY15200" fmla="*/ 5023542 h 7458372"/>
              <a:gd name="connsiteX15201" fmla="*/ 1365533 w 10505529"/>
              <a:gd name="connsiteY15201" fmla="*/ 5034990 h 7458372"/>
              <a:gd name="connsiteX15202" fmla="*/ 1363271 w 10505529"/>
              <a:gd name="connsiteY15202" fmla="*/ 5046705 h 7458372"/>
              <a:gd name="connsiteX15203" fmla="*/ 1357148 w 10505529"/>
              <a:gd name="connsiteY15203" fmla="*/ 5056023 h 7458372"/>
              <a:gd name="connsiteX15204" fmla="*/ 1347830 w 10505529"/>
              <a:gd name="connsiteY15204" fmla="*/ 5062280 h 7458372"/>
              <a:gd name="connsiteX15205" fmla="*/ 1336114 w 10505529"/>
              <a:gd name="connsiteY15205" fmla="*/ 5064543 h 7458372"/>
              <a:gd name="connsiteX15206" fmla="*/ 1314282 w 10505529"/>
              <a:gd name="connsiteY15206" fmla="*/ 5056023 h 7458372"/>
              <a:gd name="connsiteX15207" fmla="*/ 1305896 w 10505529"/>
              <a:gd name="connsiteY15207" fmla="*/ 5034857 h 7458372"/>
              <a:gd name="connsiteX15208" fmla="*/ 1314282 w 10505529"/>
              <a:gd name="connsiteY15208" fmla="*/ 5013825 h 7458372"/>
              <a:gd name="connsiteX15209" fmla="*/ 1336114 w 10505529"/>
              <a:gd name="connsiteY15209" fmla="*/ 5005305 h 7458372"/>
              <a:gd name="connsiteX15210" fmla="*/ 1118469 w 10505529"/>
              <a:gd name="connsiteY15210" fmla="*/ 5005305 h 7458372"/>
              <a:gd name="connsiteX15211" fmla="*/ 1130187 w 10505529"/>
              <a:gd name="connsiteY15211" fmla="*/ 5007834 h 7458372"/>
              <a:gd name="connsiteX15212" fmla="*/ 1139502 w 10505529"/>
              <a:gd name="connsiteY15212" fmla="*/ 5014224 h 7458372"/>
              <a:gd name="connsiteX15213" fmla="*/ 1145622 w 10505529"/>
              <a:gd name="connsiteY15213" fmla="*/ 5023542 h 7458372"/>
              <a:gd name="connsiteX15214" fmla="*/ 1147885 w 10505529"/>
              <a:gd name="connsiteY15214" fmla="*/ 5034990 h 7458372"/>
              <a:gd name="connsiteX15215" fmla="*/ 1145622 w 10505529"/>
              <a:gd name="connsiteY15215" fmla="*/ 5046705 h 7458372"/>
              <a:gd name="connsiteX15216" fmla="*/ 1139502 w 10505529"/>
              <a:gd name="connsiteY15216" fmla="*/ 5056023 h 7458372"/>
              <a:gd name="connsiteX15217" fmla="*/ 1130187 w 10505529"/>
              <a:gd name="connsiteY15217" fmla="*/ 5062280 h 7458372"/>
              <a:gd name="connsiteX15218" fmla="*/ 1118469 w 10505529"/>
              <a:gd name="connsiteY15218" fmla="*/ 5064543 h 7458372"/>
              <a:gd name="connsiteX15219" fmla="*/ 1096634 w 10505529"/>
              <a:gd name="connsiteY15219" fmla="*/ 5056023 h 7458372"/>
              <a:gd name="connsiteX15220" fmla="*/ 1088250 w 10505529"/>
              <a:gd name="connsiteY15220" fmla="*/ 5034857 h 7458372"/>
              <a:gd name="connsiteX15221" fmla="*/ 1096634 w 10505529"/>
              <a:gd name="connsiteY15221" fmla="*/ 5013825 h 7458372"/>
              <a:gd name="connsiteX15222" fmla="*/ 1118469 w 10505529"/>
              <a:gd name="connsiteY15222" fmla="*/ 5005305 h 7458372"/>
              <a:gd name="connsiteX15223" fmla="*/ 900956 w 10505529"/>
              <a:gd name="connsiteY15223" fmla="*/ 5005305 h 7458372"/>
              <a:gd name="connsiteX15224" fmla="*/ 912671 w 10505529"/>
              <a:gd name="connsiteY15224" fmla="*/ 5007834 h 7458372"/>
              <a:gd name="connsiteX15225" fmla="*/ 921989 w 10505529"/>
              <a:gd name="connsiteY15225" fmla="*/ 5014224 h 7458372"/>
              <a:gd name="connsiteX15226" fmla="*/ 928112 w 10505529"/>
              <a:gd name="connsiteY15226" fmla="*/ 5023542 h 7458372"/>
              <a:gd name="connsiteX15227" fmla="*/ 930375 w 10505529"/>
              <a:gd name="connsiteY15227" fmla="*/ 5034990 h 7458372"/>
              <a:gd name="connsiteX15228" fmla="*/ 928112 w 10505529"/>
              <a:gd name="connsiteY15228" fmla="*/ 5046705 h 7458372"/>
              <a:gd name="connsiteX15229" fmla="*/ 921989 w 10505529"/>
              <a:gd name="connsiteY15229" fmla="*/ 5056023 h 7458372"/>
              <a:gd name="connsiteX15230" fmla="*/ 912671 w 10505529"/>
              <a:gd name="connsiteY15230" fmla="*/ 5062280 h 7458372"/>
              <a:gd name="connsiteX15231" fmla="*/ 900956 w 10505529"/>
              <a:gd name="connsiteY15231" fmla="*/ 5064543 h 7458372"/>
              <a:gd name="connsiteX15232" fmla="*/ 879125 w 10505529"/>
              <a:gd name="connsiteY15232" fmla="*/ 5056023 h 7458372"/>
              <a:gd name="connsiteX15233" fmla="*/ 870740 w 10505529"/>
              <a:gd name="connsiteY15233" fmla="*/ 5034857 h 7458372"/>
              <a:gd name="connsiteX15234" fmla="*/ 879125 w 10505529"/>
              <a:gd name="connsiteY15234" fmla="*/ 5013825 h 7458372"/>
              <a:gd name="connsiteX15235" fmla="*/ 900956 w 10505529"/>
              <a:gd name="connsiteY15235" fmla="*/ 5005305 h 7458372"/>
              <a:gd name="connsiteX15236" fmla="*/ 683315 w 10505529"/>
              <a:gd name="connsiteY15236" fmla="*/ 5005305 h 7458372"/>
              <a:gd name="connsiteX15237" fmla="*/ 695031 w 10505529"/>
              <a:gd name="connsiteY15237" fmla="*/ 5007834 h 7458372"/>
              <a:gd name="connsiteX15238" fmla="*/ 704348 w 10505529"/>
              <a:gd name="connsiteY15238" fmla="*/ 5014224 h 7458372"/>
              <a:gd name="connsiteX15239" fmla="*/ 710471 w 10505529"/>
              <a:gd name="connsiteY15239" fmla="*/ 5023542 h 7458372"/>
              <a:gd name="connsiteX15240" fmla="*/ 712734 w 10505529"/>
              <a:gd name="connsiteY15240" fmla="*/ 5034990 h 7458372"/>
              <a:gd name="connsiteX15241" fmla="*/ 710471 w 10505529"/>
              <a:gd name="connsiteY15241" fmla="*/ 5046705 h 7458372"/>
              <a:gd name="connsiteX15242" fmla="*/ 704348 w 10505529"/>
              <a:gd name="connsiteY15242" fmla="*/ 5056023 h 7458372"/>
              <a:gd name="connsiteX15243" fmla="*/ 695031 w 10505529"/>
              <a:gd name="connsiteY15243" fmla="*/ 5062280 h 7458372"/>
              <a:gd name="connsiteX15244" fmla="*/ 683315 w 10505529"/>
              <a:gd name="connsiteY15244" fmla="*/ 5064543 h 7458372"/>
              <a:gd name="connsiteX15245" fmla="*/ 661484 w 10505529"/>
              <a:gd name="connsiteY15245" fmla="*/ 5056023 h 7458372"/>
              <a:gd name="connsiteX15246" fmla="*/ 653098 w 10505529"/>
              <a:gd name="connsiteY15246" fmla="*/ 5034857 h 7458372"/>
              <a:gd name="connsiteX15247" fmla="*/ 661484 w 10505529"/>
              <a:gd name="connsiteY15247" fmla="*/ 5013825 h 7458372"/>
              <a:gd name="connsiteX15248" fmla="*/ 683315 w 10505529"/>
              <a:gd name="connsiteY15248" fmla="*/ 5005305 h 7458372"/>
              <a:gd name="connsiteX15249" fmla="*/ 465674 w 10505529"/>
              <a:gd name="connsiteY15249" fmla="*/ 5005305 h 7458372"/>
              <a:gd name="connsiteX15250" fmla="*/ 477389 w 10505529"/>
              <a:gd name="connsiteY15250" fmla="*/ 5007834 h 7458372"/>
              <a:gd name="connsiteX15251" fmla="*/ 486706 w 10505529"/>
              <a:gd name="connsiteY15251" fmla="*/ 5014224 h 7458372"/>
              <a:gd name="connsiteX15252" fmla="*/ 492829 w 10505529"/>
              <a:gd name="connsiteY15252" fmla="*/ 5023542 h 7458372"/>
              <a:gd name="connsiteX15253" fmla="*/ 495092 w 10505529"/>
              <a:gd name="connsiteY15253" fmla="*/ 5034990 h 7458372"/>
              <a:gd name="connsiteX15254" fmla="*/ 492829 w 10505529"/>
              <a:gd name="connsiteY15254" fmla="*/ 5046705 h 7458372"/>
              <a:gd name="connsiteX15255" fmla="*/ 486706 w 10505529"/>
              <a:gd name="connsiteY15255" fmla="*/ 5056023 h 7458372"/>
              <a:gd name="connsiteX15256" fmla="*/ 477389 w 10505529"/>
              <a:gd name="connsiteY15256" fmla="*/ 5062280 h 7458372"/>
              <a:gd name="connsiteX15257" fmla="*/ 465674 w 10505529"/>
              <a:gd name="connsiteY15257" fmla="*/ 5064543 h 7458372"/>
              <a:gd name="connsiteX15258" fmla="*/ 443842 w 10505529"/>
              <a:gd name="connsiteY15258" fmla="*/ 5056023 h 7458372"/>
              <a:gd name="connsiteX15259" fmla="*/ 435457 w 10505529"/>
              <a:gd name="connsiteY15259" fmla="*/ 5034857 h 7458372"/>
              <a:gd name="connsiteX15260" fmla="*/ 443842 w 10505529"/>
              <a:gd name="connsiteY15260" fmla="*/ 5013825 h 7458372"/>
              <a:gd name="connsiteX15261" fmla="*/ 465674 w 10505529"/>
              <a:gd name="connsiteY15261" fmla="*/ 5005305 h 7458372"/>
              <a:gd name="connsiteX15262" fmla="*/ 248032 w 10505529"/>
              <a:gd name="connsiteY15262" fmla="*/ 5005305 h 7458372"/>
              <a:gd name="connsiteX15263" fmla="*/ 259746 w 10505529"/>
              <a:gd name="connsiteY15263" fmla="*/ 5007834 h 7458372"/>
              <a:gd name="connsiteX15264" fmla="*/ 269065 w 10505529"/>
              <a:gd name="connsiteY15264" fmla="*/ 5014224 h 7458372"/>
              <a:gd name="connsiteX15265" fmla="*/ 275188 w 10505529"/>
              <a:gd name="connsiteY15265" fmla="*/ 5023542 h 7458372"/>
              <a:gd name="connsiteX15266" fmla="*/ 277451 w 10505529"/>
              <a:gd name="connsiteY15266" fmla="*/ 5034990 h 7458372"/>
              <a:gd name="connsiteX15267" fmla="*/ 275188 w 10505529"/>
              <a:gd name="connsiteY15267" fmla="*/ 5046705 h 7458372"/>
              <a:gd name="connsiteX15268" fmla="*/ 269065 w 10505529"/>
              <a:gd name="connsiteY15268" fmla="*/ 5056023 h 7458372"/>
              <a:gd name="connsiteX15269" fmla="*/ 259746 w 10505529"/>
              <a:gd name="connsiteY15269" fmla="*/ 5062280 h 7458372"/>
              <a:gd name="connsiteX15270" fmla="*/ 248032 w 10505529"/>
              <a:gd name="connsiteY15270" fmla="*/ 5064543 h 7458372"/>
              <a:gd name="connsiteX15271" fmla="*/ 226202 w 10505529"/>
              <a:gd name="connsiteY15271" fmla="*/ 5056023 h 7458372"/>
              <a:gd name="connsiteX15272" fmla="*/ 217817 w 10505529"/>
              <a:gd name="connsiteY15272" fmla="*/ 5034857 h 7458372"/>
              <a:gd name="connsiteX15273" fmla="*/ 226202 w 10505529"/>
              <a:gd name="connsiteY15273" fmla="*/ 5013825 h 7458372"/>
              <a:gd name="connsiteX15274" fmla="*/ 248032 w 10505529"/>
              <a:gd name="connsiteY15274" fmla="*/ 5005305 h 7458372"/>
              <a:gd name="connsiteX15275" fmla="*/ 30390 w 10505529"/>
              <a:gd name="connsiteY15275" fmla="*/ 5005305 h 7458372"/>
              <a:gd name="connsiteX15276" fmla="*/ 42105 w 10505529"/>
              <a:gd name="connsiteY15276" fmla="*/ 5007834 h 7458372"/>
              <a:gd name="connsiteX15277" fmla="*/ 51423 w 10505529"/>
              <a:gd name="connsiteY15277" fmla="*/ 5014224 h 7458372"/>
              <a:gd name="connsiteX15278" fmla="*/ 57546 w 10505529"/>
              <a:gd name="connsiteY15278" fmla="*/ 5023542 h 7458372"/>
              <a:gd name="connsiteX15279" fmla="*/ 59809 w 10505529"/>
              <a:gd name="connsiteY15279" fmla="*/ 5034990 h 7458372"/>
              <a:gd name="connsiteX15280" fmla="*/ 57546 w 10505529"/>
              <a:gd name="connsiteY15280" fmla="*/ 5046705 h 7458372"/>
              <a:gd name="connsiteX15281" fmla="*/ 51423 w 10505529"/>
              <a:gd name="connsiteY15281" fmla="*/ 5056023 h 7458372"/>
              <a:gd name="connsiteX15282" fmla="*/ 42105 w 10505529"/>
              <a:gd name="connsiteY15282" fmla="*/ 5062280 h 7458372"/>
              <a:gd name="connsiteX15283" fmla="*/ 30390 w 10505529"/>
              <a:gd name="connsiteY15283" fmla="*/ 5064543 h 7458372"/>
              <a:gd name="connsiteX15284" fmla="*/ 8562 w 10505529"/>
              <a:gd name="connsiteY15284" fmla="*/ 5056023 h 7458372"/>
              <a:gd name="connsiteX15285" fmla="*/ 176 w 10505529"/>
              <a:gd name="connsiteY15285" fmla="*/ 5034857 h 7458372"/>
              <a:gd name="connsiteX15286" fmla="*/ 8562 w 10505529"/>
              <a:gd name="connsiteY15286" fmla="*/ 5013825 h 7458372"/>
              <a:gd name="connsiteX15287" fmla="*/ 30390 w 10505529"/>
              <a:gd name="connsiteY15287" fmla="*/ 5005305 h 7458372"/>
              <a:gd name="connsiteX15288" fmla="*/ 10475977 w 10505529"/>
              <a:gd name="connsiteY15288" fmla="*/ 4804299 h 7458372"/>
              <a:gd name="connsiteX15289" fmla="*/ 10465992 w 10505529"/>
              <a:gd name="connsiteY15289" fmla="*/ 4807893 h 7458372"/>
              <a:gd name="connsiteX15290" fmla="*/ 10462399 w 10505529"/>
              <a:gd name="connsiteY15290" fmla="*/ 4817344 h 7458372"/>
              <a:gd name="connsiteX15291" fmla="*/ 10465992 w 10505529"/>
              <a:gd name="connsiteY15291" fmla="*/ 4826795 h 7458372"/>
              <a:gd name="connsiteX15292" fmla="*/ 10475977 w 10505529"/>
              <a:gd name="connsiteY15292" fmla="*/ 4830257 h 7458372"/>
              <a:gd name="connsiteX15293" fmla="*/ 10481302 w 10505529"/>
              <a:gd name="connsiteY15293" fmla="*/ 4829325 h 7458372"/>
              <a:gd name="connsiteX15294" fmla="*/ 10485029 w 10505529"/>
              <a:gd name="connsiteY15294" fmla="*/ 4826928 h 7458372"/>
              <a:gd name="connsiteX15295" fmla="*/ 10487691 w 10505529"/>
              <a:gd name="connsiteY15295" fmla="*/ 4822669 h 7458372"/>
              <a:gd name="connsiteX15296" fmla="*/ 10488623 w 10505529"/>
              <a:gd name="connsiteY15296" fmla="*/ 4817211 h 7458372"/>
              <a:gd name="connsiteX15297" fmla="*/ 10487691 w 10505529"/>
              <a:gd name="connsiteY15297" fmla="*/ 4812020 h 7458372"/>
              <a:gd name="connsiteX15298" fmla="*/ 10485029 w 10505529"/>
              <a:gd name="connsiteY15298" fmla="*/ 4807893 h 7458372"/>
              <a:gd name="connsiteX15299" fmla="*/ 10481035 w 10505529"/>
              <a:gd name="connsiteY15299" fmla="*/ 4805230 h 7458372"/>
              <a:gd name="connsiteX15300" fmla="*/ 10475977 w 10505529"/>
              <a:gd name="connsiteY15300" fmla="*/ 4804299 h 7458372"/>
              <a:gd name="connsiteX15301" fmla="*/ 10258466 w 10505529"/>
              <a:gd name="connsiteY15301" fmla="*/ 4804299 h 7458372"/>
              <a:gd name="connsiteX15302" fmla="*/ 10248481 w 10505529"/>
              <a:gd name="connsiteY15302" fmla="*/ 4807893 h 7458372"/>
              <a:gd name="connsiteX15303" fmla="*/ 10244887 w 10505529"/>
              <a:gd name="connsiteY15303" fmla="*/ 4817344 h 7458372"/>
              <a:gd name="connsiteX15304" fmla="*/ 10248481 w 10505529"/>
              <a:gd name="connsiteY15304" fmla="*/ 4826795 h 7458372"/>
              <a:gd name="connsiteX15305" fmla="*/ 10258466 w 10505529"/>
              <a:gd name="connsiteY15305" fmla="*/ 4830257 h 7458372"/>
              <a:gd name="connsiteX15306" fmla="*/ 10263790 w 10505529"/>
              <a:gd name="connsiteY15306" fmla="*/ 4829325 h 7458372"/>
              <a:gd name="connsiteX15307" fmla="*/ 10267517 w 10505529"/>
              <a:gd name="connsiteY15307" fmla="*/ 4826928 h 7458372"/>
              <a:gd name="connsiteX15308" fmla="*/ 10270180 w 10505529"/>
              <a:gd name="connsiteY15308" fmla="*/ 4822669 h 7458372"/>
              <a:gd name="connsiteX15309" fmla="*/ 10271112 w 10505529"/>
              <a:gd name="connsiteY15309" fmla="*/ 4817211 h 7458372"/>
              <a:gd name="connsiteX15310" fmla="*/ 10270180 w 10505529"/>
              <a:gd name="connsiteY15310" fmla="*/ 4812020 h 7458372"/>
              <a:gd name="connsiteX15311" fmla="*/ 10267517 w 10505529"/>
              <a:gd name="connsiteY15311" fmla="*/ 4807893 h 7458372"/>
              <a:gd name="connsiteX15312" fmla="*/ 10263524 w 10505529"/>
              <a:gd name="connsiteY15312" fmla="*/ 4805230 h 7458372"/>
              <a:gd name="connsiteX15313" fmla="*/ 10258466 w 10505529"/>
              <a:gd name="connsiteY15313" fmla="*/ 4804299 h 7458372"/>
              <a:gd name="connsiteX15314" fmla="*/ 10040820 w 10505529"/>
              <a:gd name="connsiteY15314" fmla="*/ 4804299 h 7458372"/>
              <a:gd name="connsiteX15315" fmla="*/ 10030835 w 10505529"/>
              <a:gd name="connsiteY15315" fmla="*/ 4807893 h 7458372"/>
              <a:gd name="connsiteX15316" fmla="*/ 10027242 w 10505529"/>
              <a:gd name="connsiteY15316" fmla="*/ 4817344 h 7458372"/>
              <a:gd name="connsiteX15317" fmla="*/ 10030835 w 10505529"/>
              <a:gd name="connsiteY15317" fmla="*/ 4826795 h 7458372"/>
              <a:gd name="connsiteX15318" fmla="*/ 10040820 w 10505529"/>
              <a:gd name="connsiteY15318" fmla="*/ 4830257 h 7458372"/>
              <a:gd name="connsiteX15319" fmla="*/ 10046145 w 10505529"/>
              <a:gd name="connsiteY15319" fmla="*/ 4829325 h 7458372"/>
              <a:gd name="connsiteX15320" fmla="*/ 10049872 w 10505529"/>
              <a:gd name="connsiteY15320" fmla="*/ 4826928 h 7458372"/>
              <a:gd name="connsiteX15321" fmla="*/ 10052534 w 10505529"/>
              <a:gd name="connsiteY15321" fmla="*/ 4822669 h 7458372"/>
              <a:gd name="connsiteX15322" fmla="*/ 10053599 w 10505529"/>
              <a:gd name="connsiteY15322" fmla="*/ 4817211 h 7458372"/>
              <a:gd name="connsiteX15323" fmla="*/ 10052534 w 10505529"/>
              <a:gd name="connsiteY15323" fmla="*/ 4812020 h 7458372"/>
              <a:gd name="connsiteX15324" fmla="*/ 10049872 w 10505529"/>
              <a:gd name="connsiteY15324" fmla="*/ 4807893 h 7458372"/>
              <a:gd name="connsiteX15325" fmla="*/ 10045878 w 10505529"/>
              <a:gd name="connsiteY15325" fmla="*/ 4805230 h 7458372"/>
              <a:gd name="connsiteX15326" fmla="*/ 10040820 w 10505529"/>
              <a:gd name="connsiteY15326" fmla="*/ 4804299 h 7458372"/>
              <a:gd name="connsiteX15327" fmla="*/ 9823176 w 10505529"/>
              <a:gd name="connsiteY15327" fmla="*/ 4804299 h 7458372"/>
              <a:gd name="connsiteX15328" fmla="*/ 9813191 w 10505529"/>
              <a:gd name="connsiteY15328" fmla="*/ 4807893 h 7458372"/>
              <a:gd name="connsiteX15329" fmla="*/ 9809597 w 10505529"/>
              <a:gd name="connsiteY15329" fmla="*/ 4817344 h 7458372"/>
              <a:gd name="connsiteX15330" fmla="*/ 9813191 w 10505529"/>
              <a:gd name="connsiteY15330" fmla="*/ 4826795 h 7458372"/>
              <a:gd name="connsiteX15331" fmla="*/ 9823176 w 10505529"/>
              <a:gd name="connsiteY15331" fmla="*/ 4830257 h 7458372"/>
              <a:gd name="connsiteX15332" fmla="*/ 9828501 w 10505529"/>
              <a:gd name="connsiteY15332" fmla="*/ 4829325 h 7458372"/>
              <a:gd name="connsiteX15333" fmla="*/ 9832227 w 10505529"/>
              <a:gd name="connsiteY15333" fmla="*/ 4826928 h 7458372"/>
              <a:gd name="connsiteX15334" fmla="*/ 9834890 w 10505529"/>
              <a:gd name="connsiteY15334" fmla="*/ 4822669 h 7458372"/>
              <a:gd name="connsiteX15335" fmla="*/ 9835955 w 10505529"/>
              <a:gd name="connsiteY15335" fmla="*/ 4817211 h 7458372"/>
              <a:gd name="connsiteX15336" fmla="*/ 9834890 w 10505529"/>
              <a:gd name="connsiteY15336" fmla="*/ 4812020 h 7458372"/>
              <a:gd name="connsiteX15337" fmla="*/ 9832227 w 10505529"/>
              <a:gd name="connsiteY15337" fmla="*/ 4807893 h 7458372"/>
              <a:gd name="connsiteX15338" fmla="*/ 9828234 w 10505529"/>
              <a:gd name="connsiteY15338" fmla="*/ 4805230 h 7458372"/>
              <a:gd name="connsiteX15339" fmla="*/ 9823176 w 10505529"/>
              <a:gd name="connsiteY15339" fmla="*/ 4804299 h 7458372"/>
              <a:gd name="connsiteX15340" fmla="*/ 9605531 w 10505529"/>
              <a:gd name="connsiteY15340" fmla="*/ 4804299 h 7458372"/>
              <a:gd name="connsiteX15341" fmla="*/ 9595546 w 10505529"/>
              <a:gd name="connsiteY15341" fmla="*/ 4807893 h 7458372"/>
              <a:gd name="connsiteX15342" fmla="*/ 9591952 w 10505529"/>
              <a:gd name="connsiteY15342" fmla="*/ 4817344 h 7458372"/>
              <a:gd name="connsiteX15343" fmla="*/ 9595546 w 10505529"/>
              <a:gd name="connsiteY15343" fmla="*/ 4826795 h 7458372"/>
              <a:gd name="connsiteX15344" fmla="*/ 9605531 w 10505529"/>
              <a:gd name="connsiteY15344" fmla="*/ 4830257 h 7458372"/>
              <a:gd name="connsiteX15345" fmla="*/ 9610855 w 10505529"/>
              <a:gd name="connsiteY15345" fmla="*/ 4829325 h 7458372"/>
              <a:gd name="connsiteX15346" fmla="*/ 9614582 w 10505529"/>
              <a:gd name="connsiteY15346" fmla="*/ 4826928 h 7458372"/>
              <a:gd name="connsiteX15347" fmla="*/ 9617245 w 10505529"/>
              <a:gd name="connsiteY15347" fmla="*/ 4822669 h 7458372"/>
              <a:gd name="connsiteX15348" fmla="*/ 9618309 w 10505529"/>
              <a:gd name="connsiteY15348" fmla="*/ 4817211 h 7458372"/>
              <a:gd name="connsiteX15349" fmla="*/ 9617245 w 10505529"/>
              <a:gd name="connsiteY15349" fmla="*/ 4812020 h 7458372"/>
              <a:gd name="connsiteX15350" fmla="*/ 9614582 w 10505529"/>
              <a:gd name="connsiteY15350" fmla="*/ 4807893 h 7458372"/>
              <a:gd name="connsiteX15351" fmla="*/ 9610589 w 10505529"/>
              <a:gd name="connsiteY15351" fmla="*/ 4805230 h 7458372"/>
              <a:gd name="connsiteX15352" fmla="*/ 9605531 w 10505529"/>
              <a:gd name="connsiteY15352" fmla="*/ 4804299 h 7458372"/>
              <a:gd name="connsiteX15353" fmla="*/ 9387885 w 10505529"/>
              <a:gd name="connsiteY15353" fmla="*/ 4804299 h 7458372"/>
              <a:gd name="connsiteX15354" fmla="*/ 9377900 w 10505529"/>
              <a:gd name="connsiteY15354" fmla="*/ 4807893 h 7458372"/>
              <a:gd name="connsiteX15355" fmla="*/ 9374307 w 10505529"/>
              <a:gd name="connsiteY15355" fmla="*/ 4817344 h 7458372"/>
              <a:gd name="connsiteX15356" fmla="*/ 9377900 w 10505529"/>
              <a:gd name="connsiteY15356" fmla="*/ 4826795 h 7458372"/>
              <a:gd name="connsiteX15357" fmla="*/ 9387885 w 10505529"/>
              <a:gd name="connsiteY15357" fmla="*/ 4830257 h 7458372"/>
              <a:gd name="connsiteX15358" fmla="*/ 9393210 w 10505529"/>
              <a:gd name="connsiteY15358" fmla="*/ 4829325 h 7458372"/>
              <a:gd name="connsiteX15359" fmla="*/ 9396937 w 10505529"/>
              <a:gd name="connsiteY15359" fmla="*/ 4826928 h 7458372"/>
              <a:gd name="connsiteX15360" fmla="*/ 9399599 w 10505529"/>
              <a:gd name="connsiteY15360" fmla="*/ 4822669 h 7458372"/>
              <a:gd name="connsiteX15361" fmla="*/ 9400664 w 10505529"/>
              <a:gd name="connsiteY15361" fmla="*/ 4817211 h 7458372"/>
              <a:gd name="connsiteX15362" fmla="*/ 9399599 w 10505529"/>
              <a:gd name="connsiteY15362" fmla="*/ 4812020 h 7458372"/>
              <a:gd name="connsiteX15363" fmla="*/ 9396937 w 10505529"/>
              <a:gd name="connsiteY15363" fmla="*/ 4807893 h 7458372"/>
              <a:gd name="connsiteX15364" fmla="*/ 9392943 w 10505529"/>
              <a:gd name="connsiteY15364" fmla="*/ 4805230 h 7458372"/>
              <a:gd name="connsiteX15365" fmla="*/ 9387885 w 10505529"/>
              <a:gd name="connsiteY15365" fmla="*/ 4804299 h 7458372"/>
              <a:gd name="connsiteX15366" fmla="*/ 9170374 w 10505529"/>
              <a:gd name="connsiteY15366" fmla="*/ 4804299 h 7458372"/>
              <a:gd name="connsiteX15367" fmla="*/ 9160389 w 10505529"/>
              <a:gd name="connsiteY15367" fmla="*/ 4807893 h 7458372"/>
              <a:gd name="connsiteX15368" fmla="*/ 9156795 w 10505529"/>
              <a:gd name="connsiteY15368" fmla="*/ 4817344 h 7458372"/>
              <a:gd name="connsiteX15369" fmla="*/ 9160389 w 10505529"/>
              <a:gd name="connsiteY15369" fmla="*/ 4826795 h 7458372"/>
              <a:gd name="connsiteX15370" fmla="*/ 9170374 w 10505529"/>
              <a:gd name="connsiteY15370" fmla="*/ 4830257 h 7458372"/>
              <a:gd name="connsiteX15371" fmla="*/ 9175698 w 10505529"/>
              <a:gd name="connsiteY15371" fmla="*/ 4829325 h 7458372"/>
              <a:gd name="connsiteX15372" fmla="*/ 9179425 w 10505529"/>
              <a:gd name="connsiteY15372" fmla="*/ 4826928 h 7458372"/>
              <a:gd name="connsiteX15373" fmla="*/ 9182088 w 10505529"/>
              <a:gd name="connsiteY15373" fmla="*/ 4822669 h 7458372"/>
              <a:gd name="connsiteX15374" fmla="*/ 9183152 w 10505529"/>
              <a:gd name="connsiteY15374" fmla="*/ 4817211 h 7458372"/>
              <a:gd name="connsiteX15375" fmla="*/ 9182088 w 10505529"/>
              <a:gd name="connsiteY15375" fmla="*/ 4812020 h 7458372"/>
              <a:gd name="connsiteX15376" fmla="*/ 9179425 w 10505529"/>
              <a:gd name="connsiteY15376" fmla="*/ 4807893 h 7458372"/>
              <a:gd name="connsiteX15377" fmla="*/ 9175432 w 10505529"/>
              <a:gd name="connsiteY15377" fmla="*/ 4805230 h 7458372"/>
              <a:gd name="connsiteX15378" fmla="*/ 9170374 w 10505529"/>
              <a:gd name="connsiteY15378" fmla="*/ 4804299 h 7458372"/>
              <a:gd name="connsiteX15379" fmla="*/ 8952728 w 10505529"/>
              <a:gd name="connsiteY15379" fmla="*/ 4804299 h 7458372"/>
              <a:gd name="connsiteX15380" fmla="*/ 8942743 w 10505529"/>
              <a:gd name="connsiteY15380" fmla="*/ 4807893 h 7458372"/>
              <a:gd name="connsiteX15381" fmla="*/ 8939150 w 10505529"/>
              <a:gd name="connsiteY15381" fmla="*/ 4817344 h 7458372"/>
              <a:gd name="connsiteX15382" fmla="*/ 8942743 w 10505529"/>
              <a:gd name="connsiteY15382" fmla="*/ 4826795 h 7458372"/>
              <a:gd name="connsiteX15383" fmla="*/ 8952728 w 10505529"/>
              <a:gd name="connsiteY15383" fmla="*/ 4830257 h 7458372"/>
              <a:gd name="connsiteX15384" fmla="*/ 8958053 w 10505529"/>
              <a:gd name="connsiteY15384" fmla="*/ 4829325 h 7458372"/>
              <a:gd name="connsiteX15385" fmla="*/ 8961780 w 10505529"/>
              <a:gd name="connsiteY15385" fmla="*/ 4826928 h 7458372"/>
              <a:gd name="connsiteX15386" fmla="*/ 8964442 w 10505529"/>
              <a:gd name="connsiteY15386" fmla="*/ 4822669 h 7458372"/>
              <a:gd name="connsiteX15387" fmla="*/ 8965507 w 10505529"/>
              <a:gd name="connsiteY15387" fmla="*/ 4817211 h 7458372"/>
              <a:gd name="connsiteX15388" fmla="*/ 8964442 w 10505529"/>
              <a:gd name="connsiteY15388" fmla="*/ 4812020 h 7458372"/>
              <a:gd name="connsiteX15389" fmla="*/ 8961780 w 10505529"/>
              <a:gd name="connsiteY15389" fmla="*/ 4807893 h 7458372"/>
              <a:gd name="connsiteX15390" fmla="*/ 8957786 w 10505529"/>
              <a:gd name="connsiteY15390" fmla="*/ 4805230 h 7458372"/>
              <a:gd name="connsiteX15391" fmla="*/ 8952728 w 10505529"/>
              <a:gd name="connsiteY15391" fmla="*/ 4804299 h 7458372"/>
              <a:gd name="connsiteX15392" fmla="*/ 8735083 w 10505529"/>
              <a:gd name="connsiteY15392" fmla="*/ 4804299 h 7458372"/>
              <a:gd name="connsiteX15393" fmla="*/ 8725098 w 10505529"/>
              <a:gd name="connsiteY15393" fmla="*/ 4807893 h 7458372"/>
              <a:gd name="connsiteX15394" fmla="*/ 8721504 w 10505529"/>
              <a:gd name="connsiteY15394" fmla="*/ 4817344 h 7458372"/>
              <a:gd name="connsiteX15395" fmla="*/ 8725098 w 10505529"/>
              <a:gd name="connsiteY15395" fmla="*/ 4826795 h 7458372"/>
              <a:gd name="connsiteX15396" fmla="*/ 8735083 w 10505529"/>
              <a:gd name="connsiteY15396" fmla="*/ 4830257 h 7458372"/>
              <a:gd name="connsiteX15397" fmla="*/ 8740407 w 10505529"/>
              <a:gd name="connsiteY15397" fmla="*/ 4829325 h 7458372"/>
              <a:gd name="connsiteX15398" fmla="*/ 8744134 w 10505529"/>
              <a:gd name="connsiteY15398" fmla="*/ 4826928 h 7458372"/>
              <a:gd name="connsiteX15399" fmla="*/ 8746797 w 10505529"/>
              <a:gd name="connsiteY15399" fmla="*/ 4822669 h 7458372"/>
              <a:gd name="connsiteX15400" fmla="*/ 8747862 w 10505529"/>
              <a:gd name="connsiteY15400" fmla="*/ 4817211 h 7458372"/>
              <a:gd name="connsiteX15401" fmla="*/ 8746797 w 10505529"/>
              <a:gd name="connsiteY15401" fmla="*/ 4812020 h 7458372"/>
              <a:gd name="connsiteX15402" fmla="*/ 8744134 w 10505529"/>
              <a:gd name="connsiteY15402" fmla="*/ 4807893 h 7458372"/>
              <a:gd name="connsiteX15403" fmla="*/ 8740141 w 10505529"/>
              <a:gd name="connsiteY15403" fmla="*/ 4805230 h 7458372"/>
              <a:gd name="connsiteX15404" fmla="*/ 8735083 w 10505529"/>
              <a:gd name="connsiteY15404" fmla="*/ 4804299 h 7458372"/>
              <a:gd name="connsiteX15405" fmla="*/ 8517438 w 10505529"/>
              <a:gd name="connsiteY15405" fmla="*/ 4804299 h 7458372"/>
              <a:gd name="connsiteX15406" fmla="*/ 8507453 w 10505529"/>
              <a:gd name="connsiteY15406" fmla="*/ 4807893 h 7458372"/>
              <a:gd name="connsiteX15407" fmla="*/ 8503860 w 10505529"/>
              <a:gd name="connsiteY15407" fmla="*/ 4817344 h 7458372"/>
              <a:gd name="connsiteX15408" fmla="*/ 8507453 w 10505529"/>
              <a:gd name="connsiteY15408" fmla="*/ 4826795 h 7458372"/>
              <a:gd name="connsiteX15409" fmla="*/ 8517438 w 10505529"/>
              <a:gd name="connsiteY15409" fmla="*/ 4830257 h 7458372"/>
              <a:gd name="connsiteX15410" fmla="*/ 8522763 w 10505529"/>
              <a:gd name="connsiteY15410" fmla="*/ 4829325 h 7458372"/>
              <a:gd name="connsiteX15411" fmla="*/ 8526490 w 10505529"/>
              <a:gd name="connsiteY15411" fmla="*/ 4826928 h 7458372"/>
              <a:gd name="connsiteX15412" fmla="*/ 8529152 w 10505529"/>
              <a:gd name="connsiteY15412" fmla="*/ 4822669 h 7458372"/>
              <a:gd name="connsiteX15413" fmla="*/ 8530084 w 10505529"/>
              <a:gd name="connsiteY15413" fmla="*/ 4817211 h 7458372"/>
              <a:gd name="connsiteX15414" fmla="*/ 8529152 w 10505529"/>
              <a:gd name="connsiteY15414" fmla="*/ 4812020 h 7458372"/>
              <a:gd name="connsiteX15415" fmla="*/ 8526490 w 10505529"/>
              <a:gd name="connsiteY15415" fmla="*/ 4807893 h 7458372"/>
              <a:gd name="connsiteX15416" fmla="*/ 8522496 w 10505529"/>
              <a:gd name="connsiteY15416" fmla="*/ 4805230 h 7458372"/>
              <a:gd name="connsiteX15417" fmla="*/ 8517438 w 10505529"/>
              <a:gd name="connsiteY15417" fmla="*/ 4804299 h 7458372"/>
              <a:gd name="connsiteX15418" fmla="*/ 8299793 w 10505529"/>
              <a:gd name="connsiteY15418" fmla="*/ 4804299 h 7458372"/>
              <a:gd name="connsiteX15419" fmla="*/ 8289809 w 10505529"/>
              <a:gd name="connsiteY15419" fmla="*/ 4807893 h 7458372"/>
              <a:gd name="connsiteX15420" fmla="*/ 8286215 w 10505529"/>
              <a:gd name="connsiteY15420" fmla="*/ 4817344 h 7458372"/>
              <a:gd name="connsiteX15421" fmla="*/ 8289809 w 10505529"/>
              <a:gd name="connsiteY15421" fmla="*/ 4826795 h 7458372"/>
              <a:gd name="connsiteX15422" fmla="*/ 8299793 w 10505529"/>
              <a:gd name="connsiteY15422" fmla="*/ 4830257 h 7458372"/>
              <a:gd name="connsiteX15423" fmla="*/ 8305118 w 10505529"/>
              <a:gd name="connsiteY15423" fmla="*/ 4829325 h 7458372"/>
              <a:gd name="connsiteX15424" fmla="*/ 8308844 w 10505529"/>
              <a:gd name="connsiteY15424" fmla="*/ 4826928 h 7458372"/>
              <a:gd name="connsiteX15425" fmla="*/ 8311507 w 10505529"/>
              <a:gd name="connsiteY15425" fmla="*/ 4822669 h 7458372"/>
              <a:gd name="connsiteX15426" fmla="*/ 8312439 w 10505529"/>
              <a:gd name="connsiteY15426" fmla="*/ 4817211 h 7458372"/>
              <a:gd name="connsiteX15427" fmla="*/ 8311507 w 10505529"/>
              <a:gd name="connsiteY15427" fmla="*/ 4812020 h 7458372"/>
              <a:gd name="connsiteX15428" fmla="*/ 8308844 w 10505529"/>
              <a:gd name="connsiteY15428" fmla="*/ 4807893 h 7458372"/>
              <a:gd name="connsiteX15429" fmla="*/ 8304851 w 10505529"/>
              <a:gd name="connsiteY15429" fmla="*/ 4805230 h 7458372"/>
              <a:gd name="connsiteX15430" fmla="*/ 8299793 w 10505529"/>
              <a:gd name="connsiteY15430" fmla="*/ 4804299 h 7458372"/>
              <a:gd name="connsiteX15431" fmla="*/ 8082281 w 10505529"/>
              <a:gd name="connsiteY15431" fmla="*/ 4804299 h 7458372"/>
              <a:gd name="connsiteX15432" fmla="*/ 8072297 w 10505529"/>
              <a:gd name="connsiteY15432" fmla="*/ 4807893 h 7458372"/>
              <a:gd name="connsiteX15433" fmla="*/ 8068703 w 10505529"/>
              <a:gd name="connsiteY15433" fmla="*/ 4817344 h 7458372"/>
              <a:gd name="connsiteX15434" fmla="*/ 8072297 w 10505529"/>
              <a:gd name="connsiteY15434" fmla="*/ 4826795 h 7458372"/>
              <a:gd name="connsiteX15435" fmla="*/ 8082281 w 10505529"/>
              <a:gd name="connsiteY15435" fmla="*/ 4830257 h 7458372"/>
              <a:gd name="connsiteX15436" fmla="*/ 8087605 w 10505529"/>
              <a:gd name="connsiteY15436" fmla="*/ 4829325 h 7458372"/>
              <a:gd name="connsiteX15437" fmla="*/ 8091332 w 10505529"/>
              <a:gd name="connsiteY15437" fmla="*/ 4826928 h 7458372"/>
              <a:gd name="connsiteX15438" fmla="*/ 8093994 w 10505529"/>
              <a:gd name="connsiteY15438" fmla="*/ 4822669 h 7458372"/>
              <a:gd name="connsiteX15439" fmla="*/ 8094926 w 10505529"/>
              <a:gd name="connsiteY15439" fmla="*/ 4817211 h 7458372"/>
              <a:gd name="connsiteX15440" fmla="*/ 8093994 w 10505529"/>
              <a:gd name="connsiteY15440" fmla="*/ 4812020 h 7458372"/>
              <a:gd name="connsiteX15441" fmla="*/ 8091332 w 10505529"/>
              <a:gd name="connsiteY15441" fmla="*/ 4807893 h 7458372"/>
              <a:gd name="connsiteX15442" fmla="*/ 8087338 w 10505529"/>
              <a:gd name="connsiteY15442" fmla="*/ 4805230 h 7458372"/>
              <a:gd name="connsiteX15443" fmla="*/ 8082281 w 10505529"/>
              <a:gd name="connsiteY15443" fmla="*/ 4804299 h 7458372"/>
              <a:gd name="connsiteX15444" fmla="*/ 7864636 w 10505529"/>
              <a:gd name="connsiteY15444" fmla="*/ 4804299 h 7458372"/>
              <a:gd name="connsiteX15445" fmla="*/ 7854652 w 10505529"/>
              <a:gd name="connsiteY15445" fmla="*/ 4807893 h 7458372"/>
              <a:gd name="connsiteX15446" fmla="*/ 7851058 w 10505529"/>
              <a:gd name="connsiteY15446" fmla="*/ 4817344 h 7458372"/>
              <a:gd name="connsiteX15447" fmla="*/ 7854652 w 10505529"/>
              <a:gd name="connsiteY15447" fmla="*/ 4826795 h 7458372"/>
              <a:gd name="connsiteX15448" fmla="*/ 7864636 w 10505529"/>
              <a:gd name="connsiteY15448" fmla="*/ 4830257 h 7458372"/>
              <a:gd name="connsiteX15449" fmla="*/ 7869961 w 10505529"/>
              <a:gd name="connsiteY15449" fmla="*/ 4829325 h 7458372"/>
              <a:gd name="connsiteX15450" fmla="*/ 7873687 w 10505529"/>
              <a:gd name="connsiteY15450" fmla="*/ 4826928 h 7458372"/>
              <a:gd name="connsiteX15451" fmla="*/ 7876350 w 10505529"/>
              <a:gd name="connsiteY15451" fmla="*/ 4822669 h 7458372"/>
              <a:gd name="connsiteX15452" fmla="*/ 7877282 w 10505529"/>
              <a:gd name="connsiteY15452" fmla="*/ 4817211 h 7458372"/>
              <a:gd name="connsiteX15453" fmla="*/ 7876350 w 10505529"/>
              <a:gd name="connsiteY15453" fmla="*/ 4812020 h 7458372"/>
              <a:gd name="connsiteX15454" fmla="*/ 7873687 w 10505529"/>
              <a:gd name="connsiteY15454" fmla="*/ 4807893 h 7458372"/>
              <a:gd name="connsiteX15455" fmla="*/ 7869694 w 10505529"/>
              <a:gd name="connsiteY15455" fmla="*/ 4805230 h 7458372"/>
              <a:gd name="connsiteX15456" fmla="*/ 7864636 w 10505529"/>
              <a:gd name="connsiteY15456" fmla="*/ 4804299 h 7458372"/>
              <a:gd name="connsiteX15457" fmla="*/ 7646991 w 10505529"/>
              <a:gd name="connsiteY15457" fmla="*/ 4804299 h 7458372"/>
              <a:gd name="connsiteX15458" fmla="*/ 7637007 w 10505529"/>
              <a:gd name="connsiteY15458" fmla="*/ 4807893 h 7458372"/>
              <a:gd name="connsiteX15459" fmla="*/ 7633413 w 10505529"/>
              <a:gd name="connsiteY15459" fmla="*/ 4817344 h 7458372"/>
              <a:gd name="connsiteX15460" fmla="*/ 7637007 w 10505529"/>
              <a:gd name="connsiteY15460" fmla="*/ 4826795 h 7458372"/>
              <a:gd name="connsiteX15461" fmla="*/ 7646991 w 10505529"/>
              <a:gd name="connsiteY15461" fmla="*/ 4830257 h 7458372"/>
              <a:gd name="connsiteX15462" fmla="*/ 7652315 w 10505529"/>
              <a:gd name="connsiteY15462" fmla="*/ 4829325 h 7458372"/>
              <a:gd name="connsiteX15463" fmla="*/ 7656042 w 10505529"/>
              <a:gd name="connsiteY15463" fmla="*/ 4826928 h 7458372"/>
              <a:gd name="connsiteX15464" fmla="*/ 7658705 w 10505529"/>
              <a:gd name="connsiteY15464" fmla="*/ 4822669 h 7458372"/>
              <a:gd name="connsiteX15465" fmla="*/ 7659769 w 10505529"/>
              <a:gd name="connsiteY15465" fmla="*/ 4817211 h 7458372"/>
              <a:gd name="connsiteX15466" fmla="*/ 7658705 w 10505529"/>
              <a:gd name="connsiteY15466" fmla="*/ 4812020 h 7458372"/>
              <a:gd name="connsiteX15467" fmla="*/ 7656042 w 10505529"/>
              <a:gd name="connsiteY15467" fmla="*/ 4807893 h 7458372"/>
              <a:gd name="connsiteX15468" fmla="*/ 7652049 w 10505529"/>
              <a:gd name="connsiteY15468" fmla="*/ 4805230 h 7458372"/>
              <a:gd name="connsiteX15469" fmla="*/ 7646991 w 10505529"/>
              <a:gd name="connsiteY15469" fmla="*/ 4804299 h 7458372"/>
              <a:gd name="connsiteX15470" fmla="*/ 7429345 w 10505529"/>
              <a:gd name="connsiteY15470" fmla="*/ 4804299 h 7458372"/>
              <a:gd name="connsiteX15471" fmla="*/ 7419361 w 10505529"/>
              <a:gd name="connsiteY15471" fmla="*/ 4807893 h 7458372"/>
              <a:gd name="connsiteX15472" fmla="*/ 7415768 w 10505529"/>
              <a:gd name="connsiteY15472" fmla="*/ 4817344 h 7458372"/>
              <a:gd name="connsiteX15473" fmla="*/ 7419361 w 10505529"/>
              <a:gd name="connsiteY15473" fmla="*/ 4826795 h 7458372"/>
              <a:gd name="connsiteX15474" fmla="*/ 7429345 w 10505529"/>
              <a:gd name="connsiteY15474" fmla="*/ 4830257 h 7458372"/>
              <a:gd name="connsiteX15475" fmla="*/ 7434670 w 10505529"/>
              <a:gd name="connsiteY15475" fmla="*/ 4829325 h 7458372"/>
              <a:gd name="connsiteX15476" fmla="*/ 7438397 w 10505529"/>
              <a:gd name="connsiteY15476" fmla="*/ 4826928 h 7458372"/>
              <a:gd name="connsiteX15477" fmla="*/ 7441059 w 10505529"/>
              <a:gd name="connsiteY15477" fmla="*/ 4822669 h 7458372"/>
              <a:gd name="connsiteX15478" fmla="*/ 7442124 w 10505529"/>
              <a:gd name="connsiteY15478" fmla="*/ 4817211 h 7458372"/>
              <a:gd name="connsiteX15479" fmla="*/ 7441059 w 10505529"/>
              <a:gd name="connsiteY15479" fmla="*/ 4812020 h 7458372"/>
              <a:gd name="connsiteX15480" fmla="*/ 7438397 w 10505529"/>
              <a:gd name="connsiteY15480" fmla="*/ 4807893 h 7458372"/>
              <a:gd name="connsiteX15481" fmla="*/ 7434403 w 10505529"/>
              <a:gd name="connsiteY15481" fmla="*/ 4805230 h 7458372"/>
              <a:gd name="connsiteX15482" fmla="*/ 7429345 w 10505529"/>
              <a:gd name="connsiteY15482" fmla="*/ 4804299 h 7458372"/>
              <a:gd name="connsiteX15483" fmla="*/ 7211701 w 10505529"/>
              <a:gd name="connsiteY15483" fmla="*/ 4804299 h 7458372"/>
              <a:gd name="connsiteX15484" fmla="*/ 7201717 w 10505529"/>
              <a:gd name="connsiteY15484" fmla="*/ 4807893 h 7458372"/>
              <a:gd name="connsiteX15485" fmla="*/ 7198123 w 10505529"/>
              <a:gd name="connsiteY15485" fmla="*/ 4817344 h 7458372"/>
              <a:gd name="connsiteX15486" fmla="*/ 7201717 w 10505529"/>
              <a:gd name="connsiteY15486" fmla="*/ 4826795 h 7458372"/>
              <a:gd name="connsiteX15487" fmla="*/ 7211701 w 10505529"/>
              <a:gd name="connsiteY15487" fmla="*/ 4830257 h 7458372"/>
              <a:gd name="connsiteX15488" fmla="*/ 7217026 w 10505529"/>
              <a:gd name="connsiteY15488" fmla="*/ 4829325 h 7458372"/>
              <a:gd name="connsiteX15489" fmla="*/ 7220752 w 10505529"/>
              <a:gd name="connsiteY15489" fmla="*/ 4826928 h 7458372"/>
              <a:gd name="connsiteX15490" fmla="*/ 7223415 w 10505529"/>
              <a:gd name="connsiteY15490" fmla="*/ 4822669 h 7458372"/>
              <a:gd name="connsiteX15491" fmla="*/ 7224480 w 10505529"/>
              <a:gd name="connsiteY15491" fmla="*/ 4817211 h 7458372"/>
              <a:gd name="connsiteX15492" fmla="*/ 7223415 w 10505529"/>
              <a:gd name="connsiteY15492" fmla="*/ 4812020 h 7458372"/>
              <a:gd name="connsiteX15493" fmla="*/ 7220752 w 10505529"/>
              <a:gd name="connsiteY15493" fmla="*/ 4807893 h 7458372"/>
              <a:gd name="connsiteX15494" fmla="*/ 7216759 w 10505529"/>
              <a:gd name="connsiteY15494" fmla="*/ 4805230 h 7458372"/>
              <a:gd name="connsiteX15495" fmla="*/ 7211701 w 10505529"/>
              <a:gd name="connsiteY15495" fmla="*/ 4804299 h 7458372"/>
              <a:gd name="connsiteX15496" fmla="*/ 6994056 w 10505529"/>
              <a:gd name="connsiteY15496" fmla="*/ 4804299 h 7458372"/>
              <a:gd name="connsiteX15497" fmla="*/ 6984072 w 10505529"/>
              <a:gd name="connsiteY15497" fmla="*/ 4807893 h 7458372"/>
              <a:gd name="connsiteX15498" fmla="*/ 6980478 w 10505529"/>
              <a:gd name="connsiteY15498" fmla="*/ 4817344 h 7458372"/>
              <a:gd name="connsiteX15499" fmla="*/ 6984072 w 10505529"/>
              <a:gd name="connsiteY15499" fmla="*/ 4826795 h 7458372"/>
              <a:gd name="connsiteX15500" fmla="*/ 6994056 w 10505529"/>
              <a:gd name="connsiteY15500" fmla="*/ 4830257 h 7458372"/>
              <a:gd name="connsiteX15501" fmla="*/ 6999380 w 10505529"/>
              <a:gd name="connsiteY15501" fmla="*/ 4829325 h 7458372"/>
              <a:gd name="connsiteX15502" fmla="*/ 7003107 w 10505529"/>
              <a:gd name="connsiteY15502" fmla="*/ 4826928 h 7458372"/>
              <a:gd name="connsiteX15503" fmla="*/ 7005769 w 10505529"/>
              <a:gd name="connsiteY15503" fmla="*/ 4822669 h 7458372"/>
              <a:gd name="connsiteX15504" fmla="*/ 7006834 w 10505529"/>
              <a:gd name="connsiteY15504" fmla="*/ 4817211 h 7458372"/>
              <a:gd name="connsiteX15505" fmla="*/ 7005769 w 10505529"/>
              <a:gd name="connsiteY15505" fmla="*/ 4812020 h 7458372"/>
              <a:gd name="connsiteX15506" fmla="*/ 7003107 w 10505529"/>
              <a:gd name="connsiteY15506" fmla="*/ 4807893 h 7458372"/>
              <a:gd name="connsiteX15507" fmla="*/ 6999113 w 10505529"/>
              <a:gd name="connsiteY15507" fmla="*/ 4805230 h 7458372"/>
              <a:gd name="connsiteX15508" fmla="*/ 6994056 w 10505529"/>
              <a:gd name="connsiteY15508" fmla="*/ 4804299 h 7458372"/>
              <a:gd name="connsiteX15509" fmla="*/ 6776544 w 10505529"/>
              <a:gd name="connsiteY15509" fmla="*/ 4804299 h 7458372"/>
              <a:gd name="connsiteX15510" fmla="*/ 6766560 w 10505529"/>
              <a:gd name="connsiteY15510" fmla="*/ 4807893 h 7458372"/>
              <a:gd name="connsiteX15511" fmla="*/ 6762966 w 10505529"/>
              <a:gd name="connsiteY15511" fmla="*/ 4817344 h 7458372"/>
              <a:gd name="connsiteX15512" fmla="*/ 6766560 w 10505529"/>
              <a:gd name="connsiteY15512" fmla="*/ 4826795 h 7458372"/>
              <a:gd name="connsiteX15513" fmla="*/ 6776544 w 10505529"/>
              <a:gd name="connsiteY15513" fmla="*/ 4830257 h 7458372"/>
              <a:gd name="connsiteX15514" fmla="*/ 6781869 w 10505529"/>
              <a:gd name="connsiteY15514" fmla="*/ 4829325 h 7458372"/>
              <a:gd name="connsiteX15515" fmla="*/ 6785595 w 10505529"/>
              <a:gd name="connsiteY15515" fmla="*/ 4826928 h 7458372"/>
              <a:gd name="connsiteX15516" fmla="*/ 6788258 w 10505529"/>
              <a:gd name="connsiteY15516" fmla="*/ 4822669 h 7458372"/>
              <a:gd name="connsiteX15517" fmla="*/ 6789323 w 10505529"/>
              <a:gd name="connsiteY15517" fmla="*/ 4817211 h 7458372"/>
              <a:gd name="connsiteX15518" fmla="*/ 6788258 w 10505529"/>
              <a:gd name="connsiteY15518" fmla="*/ 4812020 h 7458372"/>
              <a:gd name="connsiteX15519" fmla="*/ 6785595 w 10505529"/>
              <a:gd name="connsiteY15519" fmla="*/ 4807893 h 7458372"/>
              <a:gd name="connsiteX15520" fmla="*/ 6781602 w 10505529"/>
              <a:gd name="connsiteY15520" fmla="*/ 4805230 h 7458372"/>
              <a:gd name="connsiteX15521" fmla="*/ 6776544 w 10505529"/>
              <a:gd name="connsiteY15521" fmla="*/ 4804299 h 7458372"/>
              <a:gd name="connsiteX15522" fmla="*/ 6558899 w 10505529"/>
              <a:gd name="connsiteY15522" fmla="*/ 4804299 h 7458372"/>
              <a:gd name="connsiteX15523" fmla="*/ 6548915 w 10505529"/>
              <a:gd name="connsiteY15523" fmla="*/ 4807893 h 7458372"/>
              <a:gd name="connsiteX15524" fmla="*/ 6545321 w 10505529"/>
              <a:gd name="connsiteY15524" fmla="*/ 4817344 h 7458372"/>
              <a:gd name="connsiteX15525" fmla="*/ 6548915 w 10505529"/>
              <a:gd name="connsiteY15525" fmla="*/ 4826795 h 7458372"/>
              <a:gd name="connsiteX15526" fmla="*/ 6558899 w 10505529"/>
              <a:gd name="connsiteY15526" fmla="*/ 4830257 h 7458372"/>
              <a:gd name="connsiteX15527" fmla="*/ 6564223 w 10505529"/>
              <a:gd name="connsiteY15527" fmla="*/ 4829325 h 7458372"/>
              <a:gd name="connsiteX15528" fmla="*/ 6567950 w 10505529"/>
              <a:gd name="connsiteY15528" fmla="*/ 4826928 h 7458372"/>
              <a:gd name="connsiteX15529" fmla="*/ 6570612 w 10505529"/>
              <a:gd name="connsiteY15529" fmla="*/ 4822669 h 7458372"/>
              <a:gd name="connsiteX15530" fmla="*/ 6571677 w 10505529"/>
              <a:gd name="connsiteY15530" fmla="*/ 4817211 h 7458372"/>
              <a:gd name="connsiteX15531" fmla="*/ 6570612 w 10505529"/>
              <a:gd name="connsiteY15531" fmla="*/ 4812020 h 7458372"/>
              <a:gd name="connsiteX15532" fmla="*/ 6567950 w 10505529"/>
              <a:gd name="connsiteY15532" fmla="*/ 4807893 h 7458372"/>
              <a:gd name="connsiteX15533" fmla="*/ 6563956 w 10505529"/>
              <a:gd name="connsiteY15533" fmla="*/ 4805230 h 7458372"/>
              <a:gd name="connsiteX15534" fmla="*/ 6558899 w 10505529"/>
              <a:gd name="connsiteY15534" fmla="*/ 4804299 h 7458372"/>
              <a:gd name="connsiteX15535" fmla="*/ 6341253 w 10505529"/>
              <a:gd name="connsiteY15535" fmla="*/ 4804299 h 7458372"/>
              <a:gd name="connsiteX15536" fmla="*/ 6331270 w 10505529"/>
              <a:gd name="connsiteY15536" fmla="*/ 4807893 h 7458372"/>
              <a:gd name="connsiteX15537" fmla="*/ 6327675 w 10505529"/>
              <a:gd name="connsiteY15537" fmla="*/ 4817344 h 7458372"/>
              <a:gd name="connsiteX15538" fmla="*/ 6331270 w 10505529"/>
              <a:gd name="connsiteY15538" fmla="*/ 4826795 h 7458372"/>
              <a:gd name="connsiteX15539" fmla="*/ 6341253 w 10505529"/>
              <a:gd name="connsiteY15539" fmla="*/ 4830257 h 7458372"/>
              <a:gd name="connsiteX15540" fmla="*/ 6346578 w 10505529"/>
              <a:gd name="connsiteY15540" fmla="*/ 4829325 h 7458372"/>
              <a:gd name="connsiteX15541" fmla="*/ 6350305 w 10505529"/>
              <a:gd name="connsiteY15541" fmla="*/ 4826928 h 7458372"/>
              <a:gd name="connsiteX15542" fmla="*/ 6352968 w 10505529"/>
              <a:gd name="connsiteY15542" fmla="*/ 4822669 h 7458372"/>
              <a:gd name="connsiteX15543" fmla="*/ 6354033 w 10505529"/>
              <a:gd name="connsiteY15543" fmla="*/ 4817211 h 7458372"/>
              <a:gd name="connsiteX15544" fmla="*/ 6352968 w 10505529"/>
              <a:gd name="connsiteY15544" fmla="*/ 4812020 h 7458372"/>
              <a:gd name="connsiteX15545" fmla="*/ 6350305 w 10505529"/>
              <a:gd name="connsiteY15545" fmla="*/ 4807893 h 7458372"/>
              <a:gd name="connsiteX15546" fmla="*/ 6346312 w 10505529"/>
              <a:gd name="connsiteY15546" fmla="*/ 4805230 h 7458372"/>
              <a:gd name="connsiteX15547" fmla="*/ 6341253 w 10505529"/>
              <a:gd name="connsiteY15547" fmla="*/ 4804299 h 7458372"/>
              <a:gd name="connsiteX15548" fmla="*/ 6123608 w 10505529"/>
              <a:gd name="connsiteY15548" fmla="*/ 4804299 h 7458372"/>
              <a:gd name="connsiteX15549" fmla="*/ 6113624 w 10505529"/>
              <a:gd name="connsiteY15549" fmla="*/ 4807893 h 7458372"/>
              <a:gd name="connsiteX15550" fmla="*/ 6110030 w 10505529"/>
              <a:gd name="connsiteY15550" fmla="*/ 4817344 h 7458372"/>
              <a:gd name="connsiteX15551" fmla="*/ 6113624 w 10505529"/>
              <a:gd name="connsiteY15551" fmla="*/ 4826795 h 7458372"/>
              <a:gd name="connsiteX15552" fmla="*/ 6123608 w 10505529"/>
              <a:gd name="connsiteY15552" fmla="*/ 4830257 h 7458372"/>
              <a:gd name="connsiteX15553" fmla="*/ 6128932 w 10505529"/>
              <a:gd name="connsiteY15553" fmla="*/ 4829325 h 7458372"/>
              <a:gd name="connsiteX15554" fmla="*/ 6132659 w 10505529"/>
              <a:gd name="connsiteY15554" fmla="*/ 4826928 h 7458372"/>
              <a:gd name="connsiteX15555" fmla="*/ 6135322 w 10505529"/>
              <a:gd name="connsiteY15555" fmla="*/ 4822669 h 7458372"/>
              <a:gd name="connsiteX15556" fmla="*/ 6136387 w 10505529"/>
              <a:gd name="connsiteY15556" fmla="*/ 4817211 h 7458372"/>
              <a:gd name="connsiteX15557" fmla="*/ 6135322 w 10505529"/>
              <a:gd name="connsiteY15557" fmla="*/ 4812020 h 7458372"/>
              <a:gd name="connsiteX15558" fmla="*/ 6132659 w 10505529"/>
              <a:gd name="connsiteY15558" fmla="*/ 4807893 h 7458372"/>
              <a:gd name="connsiteX15559" fmla="*/ 6128666 w 10505529"/>
              <a:gd name="connsiteY15559" fmla="*/ 4805230 h 7458372"/>
              <a:gd name="connsiteX15560" fmla="*/ 6123608 w 10505529"/>
              <a:gd name="connsiteY15560" fmla="*/ 4804299 h 7458372"/>
              <a:gd name="connsiteX15561" fmla="*/ 5905963 w 10505529"/>
              <a:gd name="connsiteY15561" fmla="*/ 4804299 h 7458372"/>
              <a:gd name="connsiteX15562" fmla="*/ 5895979 w 10505529"/>
              <a:gd name="connsiteY15562" fmla="*/ 4807893 h 7458372"/>
              <a:gd name="connsiteX15563" fmla="*/ 5892385 w 10505529"/>
              <a:gd name="connsiteY15563" fmla="*/ 4817344 h 7458372"/>
              <a:gd name="connsiteX15564" fmla="*/ 5895979 w 10505529"/>
              <a:gd name="connsiteY15564" fmla="*/ 4826795 h 7458372"/>
              <a:gd name="connsiteX15565" fmla="*/ 5905963 w 10505529"/>
              <a:gd name="connsiteY15565" fmla="*/ 4830257 h 7458372"/>
              <a:gd name="connsiteX15566" fmla="*/ 5911287 w 10505529"/>
              <a:gd name="connsiteY15566" fmla="*/ 4829325 h 7458372"/>
              <a:gd name="connsiteX15567" fmla="*/ 5915014 w 10505529"/>
              <a:gd name="connsiteY15567" fmla="*/ 4826928 h 7458372"/>
              <a:gd name="connsiteX15568" fmla="*/ 5917677 w 10505529"/>
              <a:gd name="connsiteY15568" fmla="*/ 4822669 h 7458372"/>
              <a:gd name="connsiteX15569" fmla="*/ 5918742 w 10505529"/>
              <a:gd name="connsiteY15569" fmla="*/ 4817211 h 7458372"/>
              <a:gd name="connsiteX15570" fmla="*/ 5917677 w 10505529"/>
              <a:gd name="connsiteY15570" fmla="*/ 4812020 h 7458372"/>
              <a:gd name="connsiteX15571" fmla="*/ 5915014 w 10505529"/>
              <a:gd name="connsiteY15571" fmla="*/ 4807893 h 7458372"/>
              <a:gd name="connsiteX15572" fmla="*/ 5911021 w 10505529"/>
              <a:gd name="connsiteY15572" fmla="*/ 4805230 h 7458372"/>
              <a:gd name="connsiteX15573" fmla="*/ 5905963 w 10505529"/>
              <a:gd name="connsiteY15573" fmla="*/ 4804299 h 7458372"/>
              <a:gd name="connsiteX15574" fmla="*/ 5688451 w 10505529"/>
              <a:gd name="connsiteY15574" fmla="*/ 4804299 h 7458372"/>
              <a:gd name="connsiteX15575" fmla="*/ 5678467 w 10505529"/>
              <a:gd name="connsiteY15575" fmla="*/ 4807893 h 7458372"/>
              <a:gd name="connsiteX15576" fmla="*/ 5674873 w 10505529"/>
              <a:gd name="connsiteY15576" fmla="*/ 4817344 h 7458372"/>
              <a:gd name="connsiteX15577" fmla="*/ 5678467 w 10505529"/>
              <a:gd name="connsiteY15577" fmla="*/ 4826795 h 7458372"/>
              <a:gd name="connsiteX15578" fmla="*/ 5688451 w 10505529"/>
              <a:gd name="connsiteY15578" fmla="*/ 4830257 h 7458372"/>
              <a:gd name="connsiteX15579" fmla="*/ 5693775 w 10505529"/>
              <a:gd name="connsiteY15579" fmla="*/ 4829325 h 7458372"/>
              <a:gd name="connsiteX15580" fmla="*/ 5697502 w 10505529"/>
              <a:gd name="connsiteY15580" fmla="*/ 4826928 h 7458372"/>
              <a:gd name="connsiteX15581" fmla="*/ 5700165 w 10505529"/>
              <a:gd name="connsiteY15581" fmla="*/ 4822669 h 7458372"/>
              <a:gd name="connsiteX15582" fmla="*/ 5701230 w 10505529"/>
              <a:gd name="connsiteY15582" fmla="*/ 4817211 h 7458372"/>
              <a:gd name="connsiteX15583" fmla="*/ 5700165 w 10505529"/>
              <a:gd name="connsiteY15583" fmla="*/ 4812020 h 7458372"/>
              <a:gd name="connsiteX15584" fmla="*/ 5697502 w 10505529"/>
              <a:gd name="connsiteY15584" fmla="*/ 4807893 h 7458372"/>
              <a:gd name="connsiteX15585" fmla="*/ 5693509 w 10505529"/>
              <a:gd name="connsiteY15585" fmla="*/ 4805230 h 7458372"/>
              <a:gd name="connsiteX15586" fmla="*/ 5688451 w 10505529"/>
              <a:gd name="connsiteY15586" fmla="*/ 4804299 h 7458372"/>
              <a:gd name="connsiteX15587" fmla="*/ 5470806 w 10505529"/>
              <a:gd name="connsiteY15587" fmla="*/ 4804299 h 7458372"/>
              <a:gd name="connsiteX15588" fmla="*/ 5460822 w 10505529"/>
              <a:gd name="connsiteY15588" fmla="*/ 4807893 h 7458372"/>
              <a:gd name="connsiteX15589" fmla="*/ 5457228 w 10505529"/>
              <a:gd name="connsiteY15589" fmla="*/ 4817344 h 7458372"/>
              <a:gd name="connsiteX15590" fmla="*/ 5460822 w 10505529"/>
              <a:gd name="connsiteY15590" fmla="*/ 4826795 h 7458372"/>
              <a:gd name="connsiteX15591" fmla="*/ 5470806 w 10505529"/>
              <a:gd name="connsiteY15591" fmla="*/ 4830257 h 7458372"/>
              <a:gd name="connsiteX15592" fmla="*/ 5476130 w 10505529"/>
              <a:gd name="connsiteY15592" fmla="*/ 4829325 h 7458372"/>
              <a:gd name="connsiteX15593" fmla="*/ 5479857 w 10505529"/>
              <a:gd name="connsiteY15593" fmla="*/ 4826928 h 7458372"/>
              <a:gd name="connsiteX15594" fmla="*/ 5482520 w 10505529"/>
              <a:gd name="connsiteY15594" fmla="*/ 4822669 h 7458372"/>
              <a:gd name="connsiteX15595" fmla="*/ 5483585 w 10505529"/>
              <a:gd name="connsiteY15595" fmla="*/ 4817211 h 7458372"/>
              <a:gd name="connsiteX15596" fmla="*/ 5482520 w 10505529"/>
              <a:gd name="connsiteY15596" fmla="*/ 4812020 h 7458372"/>
              <a:gd name="connsiteX15597" fmla="*/ 5479857 w 10505529"/>
              <a:gd name="connsiteY15597" fmla="*/ 4807893 h 7458372"/>
              <a:gd name="connsiteX15598" fmla="*/ 5475864 w 10505529"/>
              <a:gd name="connsiteY15598" fmla="*/ 4805230 h 7458372"/>
              <a:gd name="connsiteX15599" fmla="*/ 5470806 w 10505529"/>
              <a:gd name="connsiteY15599" fmla="*/ 4804299 h 7458372"/>
              <a:gd name="connsiteX15600" fmla="*/ 5253160 w 10505529"/>
              <a:gd name="connsiteY15600" fmla="*/ 4804299 h 7458372"/>
              <a:gd name="connsiteX15601" fmla="*/ 5243177 w 10505529"/>
              <a:gd name="connsiteY15601" fmla="*/ 4807893 h 7458372"/>
              <a:gd name="connsiteX15602" fmla="*/ 5239583 w 10505529"/>
              <a:gd name="connsiteY15602" fmla="*/ 4817344 h 7458372"/>
              <a:gd name="connsiteX15603" fmla="*/ 5243177 w 10505529"/>
              <a:gd name="connsiteY15603" fmla="*/ 4826795 h 7458372"/>
              <a:gd name="connsiteX15604" fmla="*/ 5253160 w 10505529"/>
              <a:gd name="connsiteY15604" fmla="*/ 4830257 h 7458372"/>
              <a:gd name="connsiteX15605" fmla="*/ 5258485 w 10505529"/>
              <a:gd name="connsiteY15605" fmla="*/ 4829325 h 7458372"/>
              <a:gd name="connsiteX15606" fmla="*/ 5262212 w 10505529"/>
              <a:gd name="connsiteY15606" fmla="*/ 4826928 h 7458372"/>
              <a:gd name="connsiteX15607" fmla="*/ 5264875 w 10505529"/>
              <a:gd name="connsiteY15607" fmla="*/ 4822669 h 7458372"/>
              <a:gd name="connsiteX15608" fmla="*/ 5265939 w 10505529"/>
              <a:gd name="connsiteY15608" fmla="*/ 4817211 h 7458372"/>
              <a:gd name="connsiteX15609" fmla="*/ 5264875 w 10505529"/>
              <a:gd name="connsiteY15609" fmla="*/ 4812020 h 7458372"/>
              <a:gd name="connsiteX15610" fmla="*/ 5262212 w 10505529"/>
              <a:gd name="connsiteY15610" fmla="*/ 4807893 h 7458372"/>
              <a:gd name="connsiteX15611" fmla="*/ 5258219 w 10505529"/>
              <a:gd name="connsiteY15611" fmla="*/ 4805230 h 7458372"/>
              <a:gd name="connsiteX15612" fmla="*/ 5253160 w 10505529"/>
              <a:gd name="connsiteY15612" fmla="*/ 4804299 h 7458372"/>
              <a:gd name="connsiteX15613" fmla="*/ 5035515 w 10505529"/>
              <a:gd name="connsiteY15613" fmla="*/ 4804299 h 7458372"/>
              <a:gd name="connsiteX15614" fmla="*/ 5025532 w 10505529"/>
              <a:gd name="connsiteY15614" fmla="*/ 4807893 h 7458372"/>
              <a:gd name="connsiteX15615" fmla="*/ 5021938 w 10505529"/>
              <a:gd name="connsiteY15615" fmla="*/ 4817344 h 7458372"/>
              <a:gd name="connsiteX15616" fmla="*/ 5025532 w 10505529"/>
              <a:gd name="connsiteY15616" fmla="*/ 4826795 h 7458372"/>
              <a:gd name="connsiteX15617" fmla="*/ 5035515 w 10505529"/>
              <a:gd name="connsiteY15617" fmla="*/ 4830257 h 7458372"/>
              <a:gd name="connsiteX15618" fmla="*/ 5040840 w 10505529"/>
              <a:gd name="connsiteY15618" fmla="*/ 4829325 h 7458372"/>
              <a:gd name="connsiteX15619" fmla="*/ 5044567 w 10505529"/>
              <a:gd name="connsiteY15619" fmla="*/ 4826928 h 7458372"/>
              <a:gd name="connsiteX15620" fmla="*/ 5047230 w 10505529"/>
              <a:gd name="connsiteY15620" fmla="*/ 4822669 h 7458372"/>
              <a:gd name="connsiteX15621" fmla="*/ 5048294 w 10505529"/>
              <a:gd name="connsiteY15621" fmla="*/ 4817211 h 7458372"/>
              <a:gd name="connsiteX15622" fmla="*/ 5047230 w 10505529"/>
              <a:gd name="connsiteY15622" fmla="*/ 4812020 h 7458372"/>
              <a:gd name="connsiteX15623" fmla="*/ 5044567 w 10505529"/>
              <a:gd name="connsiteY15623" fmla="*/ 4807893 h 7458372"/>
              <a:gd name="connsiteX15624" fmla="*/ 5040574 w 10505529"/>
              <a:gd name="connsiteY15624" fmla="*/ 4805230 h 7458372"/>
              <a:gd name="connsiteX15625" fmla="*/ 5035515 w 10505529"/>
              <a:gd name="connsiteY15625" fmla="*/ 4804299 h 7458372"/>
              <a:gd name="connsiteX15626" fmla="*/ 4817870 w 10505529"/>
              <a:gd name="connsiteY15626" fmla="*/ 4804299 h 7458372"/>
              <a:gd name="connsiteX15627" fmla="*/ 4807887 w 10505529"/>
              <a:gd name="connsiteY15627" fmla="*/ 4807893 h 7458372"/>
              <a:gd name="connsiteX15628" fmla="*/ 4804293 w 10505529"/>
              <a:gd name="connsiteY15628" fmla="*/ 4817344 h 7458372"/>
              <a:gd name="connsiteX15629" fmla="*/ 4807887 w 10505529"/>
              <a:gd name="connsiteY15629" fmla="*/ 4826795 h 7458372"/>
              <a:gd name="connsiteX15630" fmla="*/ 4817870 w 10505529"/>
              <a:gd name="connsiteY15630" fmla="*/ 4830257 h 7458372"/>
              <a:gd name="connsiteX15631" fmla="*/ 4823195 w 10505529"/>
              <a:gd name="connsiteY15631" fmla="*/ 4829325 h 7458372"/>
              <a:gd name="connsiteX15632" fmla="*/ 4826922 w 10505529"/>
              <a:gd name="connsiteY15632" fmla="*/ 4826928 h 7458372"/>
              <a:gd name="connsiteX15633" fmla="*/ 4829585 w 10505529"/>
              <a:gd name="connsiteY15633" fmla="*/ 4822669 h 7458372"/>
              <a:gd name="connsiteX15634" fmla="*/ 4830650 w 10505529"/>
              <a:gd name="connsiteY15634" fmla="*/ 4817211 h 7458372"/>
              <a:gd name="connsiteX15635" fmla="*/ 4829585 w 10505529"/>
              <a:gd name="connsiteY15635" fmla="*/ 4812020 h 7458372"/>
              <a:gd name="connsiteX15636" fmla="*/ 4826922 w 10505529"/>
              <a:gd name="connsiteY15636" fmla="*/ 4807893 h 7458372"/>
              <a:gd name="connsiteX15637" fmla="*/ 4822929 w 10505529"/>
              <a:gd name="connsiteY15637" fmla="*/ 4805230 h 7458372"/>
              <a:gd name="connsiteX15638" fmla="*/ 4817870 w 10505529"/>
              <a:gd name="connsiteY15638" fmla="*/ 4804299 h 7458372"/>
              <a:gd name="connsiteX15639" fmla="*/ 4600226 w 10505529"/>
              <a:gd name="connsiteY15639" fmla="*/ 4804299 h 7458372"/>
              <a:gd name="connsiteX15640" fmla="*/ 4590242 w 10505529"/>
              <a:gd name="connsiteY15640" fmla="*/ 4807893 h 7458372"/>
              <a:gd name="connsiteX15641" fmla="*/ 4586648 w 10505529"/>
              <a:gd name="connsiteY15641" fmla="*/ 4817344 h 7458372"/>
              <a:gd name="connsiteX15642" fmla="*/ 4590242 w 10505529"/>
              <a:gd name="connsiteY15642" fmla="*/ 4826795 h 7458372"/>
              <a:gd name="connsiteX15643" fmla="*/ 4600226 w 10505529"/>
              <a:gd name="connsiteY15643" fmla="*/ 4830257 h 7458372"/>
              <a:gd name="connsiteX15644" fmla="*/ 4605550 w 10505529"/>
              <a:gd name="connsiteY15644" fmla="*/ 4829325 h 7458372"/>
              <a:gd name="connsiteX15645" fmla="*/ 4609277 w 10505529"/>
              <a:gd name="connsiteY15645" fmla="*/ 4826928 h 7458372"/>
              <a:gd name="connsiteX15646" fmla="*/ 4611940 w 10505529"/>
              <a:gd name="connsiteY15646" fmla="*/ 4822669 h 7458372"/>
              <a:gd name="connsiteX15647" fmla="*/ 4613005 w 10505529"/>
              <a:gd name="connsiteY15647" fmla="*/ 4817211 h 7458372"/>
              <a:gd name="connsiteX15648" fmla="*/ 4611940 w 10505529"/>
              <a:gd name="connsiteY15648" fmla="*/ 4812020 h 7458372"/>
              <a:gd name="connsiteX15649" fmla="*/ 4609277 w 10505529"/>
              <a:gd name="connsiteY15649" fmla="*/ 4807893 h 7458372"/>
              <a:gd name="connsiteX15650" fmla="*/ 4605284 w 10505529"/>
              <a:gd name="connsiteY15650" fmla="*/ 4805230 h 7458372"/>
              <a:gd name="connsiteX15651" fmla="*/ 4600226 w 10505529"/>
              <a:gd name="connsiteY15651" fmla="*/ 4804299 h 7458372"/>
              <a:gd name="connsiteX15652" fmla="*/ 4382713 w 10505529"/>
              <a:gd name="connsiteY15652" fmla="*/ 4804299 h 7458372"/>
              <a:gd name="connsiteX15653" fmla="*/ 4372730 w 10505529"/>
              <a:gd name="connsiteY15653" fmla="*/ 4807893 h 7458372"/>
              <a:gd name="connsiteX15654" fmla="*/ 4369136 w 10505529"/>
              <a:gd name="connsiteY15654" fmla="*/ 4817344 h 7458372"/>
              <a:gd name="connsiteX15655" fmla="*/ 4372730 w 10505529"/>
              <a:gd name="connsiteY15655" fmla="*/ 4826795 h 7458372"/>
              <a:gd name="connsiteX15656" fmla="*/ 4382713 w 10505529"/>
              <a:gd name="connsiteY15656" fmla="*/ 4830257 h 7458372"/>
              <a:gd name="connsiteX15657" fmla="*/ 4388038 w 10505529"/>
              <a:gd name="connsiteY15657" fmla="*/ 4829325 h 7458372"/>
              <a:gd name="connsiteX15658" fmla="*/ 4391765 w 10505529"/>
              <a:gd name="connsiteY15658" fmla="*/ 4826928 h 7458372"/>
              <a:gd name="connsiteX15659" fmla="*/ 4394428 w 10505529"/>
              <a:gd name="connsiteY15659" fmla="*/ 4822669 h 7458372"/>
              <a:gd name="connsiteX15660" fmla="*/ 4395493 w 10505529"/>
              <a:gd name="connsiteY15660" fmla="*/ 4817211 h 7458372"/>
              <a:gd name="connsiteX15661" fmla="*/ 4394428 w 10505529"/>
              <a:gd name="connsiteY15661" fmla="*/ 4812020 h 7458372"/>
              <a:gd name="connsiteX15662" fmla="*/ 4391765 w 10505529"/>
              <a:gd name="connsiteY15662" fmla="*/ 4807893 h 7458372"/>
              <a:gd name="connsiteX15663" fmla="*/ 4387772 w 10505529"/>
              <a:gd name="connsiteY15663" fmla="*/ 4805230 h 7458372"/>
              <a:gd name="connsiteX15664" fmla="*/ 4382713 w 10505529"/>
              <a:gd name="connsiteY15664" fmla="*/ 4804299 h 7458372"/>
              <a:gd name="connsiteX15665" fmla="*/ 4165068 w 10505529"/>
              <a:gd name="connsiteY15665" fmla="*/ 4804299 h 7458372"/>
              <a:gd name="connsiteX15666" fmla="*/ 4155084 w 10505529"/>
              <a:gd name="connsiteY15666" fmla="*/ 4807893 h 7458372"/>
              <a:gd name="connsiteX15667" fmla="*/ 4151490 w 10505529"/>
              <a:gd name="connsiteY15667" fmla="*/ 4817344 h 7458372"/>
              <a:gd name="connsiteX15668" fmla="*/ 4155084 w 10505529"/>
              <a:gd name="connsiteY15668" fmla="*/ 4826795 h 7458372"/>
              <a:gd name="connsiteX15669" fmla="*/ 4165068 w 10505529"/>
              <a:gd name="connsiteY15669" fmla="*/ 4830257 h 7458372"/>
              <a:gd name="connsiteX15670" fmla="*/ 4170392 w 10505529"/>
              <a:gd name="connsiteY15670" fmla="*/ 4829325 h 7458372"/>
              <a:gd name="connsiteX15671" fmla="*/ 4174119 w 10505529"/>
              <a:gd name="connsiteY15671" fmla="*/ 4826928 h 7458372"/>
              <a:gd name="connsiteX15672" fmla="*/ 4176782 w 10505529"/>
              <a:gd name="connsiteY15672" fmla="*/ 4822669 h 7458372"/>
              <a:gd name="connsiteX15673" fmla="*/ 4177847 w 10505529"/>
              <a:gd name="connsiteY15673" fmla="*/ 4817211 h 7458372"/>
              <a:gd name="connsiteX15674" fmla="*/ 4176782 w 10505529"/>
              <a:gd name="connsiteY15674" fmla="*/ 4812020 h 7458372"/>
              <a:gd name="connsiteX15675" fmla="*/ 4174119 w 10505529"/>
              <a:gd name="connsiteY15675" fmla="*/ 4807893 h 7458372"/>
              <a:gd name="connsiteX15676" fmla="*/ 4170126 w 10505529"/>
              <a:gd name="connsiteY15676" fmla="*/ 4805230 h 7458372"/>
              <a:gd name="connsiteX15677" fmla="*/ 4165068 w 10505529"/>
              <a:gd name="connsiteY15677" fmla="*/ 4804299 h 7458372"/>
              <a:gd name="connsiteX15678" fmla="*/ 3947686 w 10505529"/>
              <a:gd name="connsiteY15678" fmla="*/ 4804299 h 7458372"/>
              <a:gd name="connsiteX15679" fmla="*/ 3937703 w 10505529"/>
              <a:gd name="connsiteY15679" fmla="*/ 4807893 h 7458372"/>
              <a:gd name="connsiteX15680" fmla="*/ 3934108 w 10505529"/>
              <a:gd name="connsiteY15680" fmla="*/ 4817344 h 7458372"/>
              <a:gd name="connsiteX15681" fmla="*/ 3937703 w 10505529"/>
              <a:gd name="connsiteY15681" fmla="*/ 4826795 h 7458372"/>
              <a:gd name="connsiteX15682" fmla="*/ 3947686 w 10505529"/>
              <a:gd name="connsiteY15682" fmla="*/ 4830257 h 7458372"/>
              <a:gd name="connsiteX15683" fmla="*/ 3953014 w 10505529"/>
              <a:gd name="connsiteY15683" fmla="*/ 4829325 h 7458372"/>
              <a:gd name="connsiteX15684" fmla="*/ 3956741 w 10505529"/>
              <a:gd name="connsiteY15684" fmla="*/ 4826928 h 7458372"/>
              <a:gd name="connsiteX15685" fmla="*/ 3959404 w 10505529"/>
              <a:gd name="connsiteY15685" fmla="*/ 4822669 h 7458372"/>
              <a:gd name="connsiteX15686" fmla="*/ 3960469 w 10505529"/>
              <a:gd name="connsiteY15686" fmla="*/ 4817211 h 7458372"/>
              <a:gd name="connsiteX15687" fmla="*/ 3959404 w 10505529"/>
              <a:gd name="connsiteY15687" fmla="*/ 4812020 h 7458372"/>
              <a:gd name="connsiteX15688" fmla="*/ 3956741 w 10505529"/>
              <a:gd name="connsiteY15688" fmla="*/ 4807893 h 7458372"/>
              <a:gd name="connsiteX15689" fmla="*/ 3952747 w 10505529"/>
              <a:gd name="connsiteY15689" fmla="*/ 4805230 h 7458372"/>
              <a:gd name="connsiteX15690" fmla="*/ 3947686 w 10505529"/>
              <a:gd name="connsiteY15690" fmla="*/ 4804299 h 7458372"/>
              <a:gd name="connsiteX15691" fmla="*/ 3730029 w 10505529"/>
              <a:gd name="connsiteY15691" fmla="*/ 4804299 h 7458372"/>
              <a:gd name="connsiteX15692" fmla="*/ 3720042 w 10505529"/>
              <a:gd name="connsiteY15692" fmla="*/ 4807893 h 7458372"/>
              <a:gd name="connsiteX15693" fmla="*/ 3716450 w 10505529"/>
              <a:gd name="connsiteY15693" fmla="*/ 4817344 h 7458372"/>
              <a:gd name="connsiteX15694" fmla="*/ 3720042 w 10505529"/>
              <a:gd name="connsiteY15694" fmla="*/ 4826795 h 7458372"/>
              <a:gd name="connsiteX15695" fmla="*/ 3730029 w 10505529"/>
              <a:gd name="connsiteY15695" fmla="*/ 4830257 h 7458372"/>
              <a:gd name="connsiteX15696" fmla="*/ 3735354 w 10505529"/>
              <a:gd name="connsiteY15696" fmla="*/ 4829325 h 7458372"/>
              <a:gd name="connsiteX15697" fmla="*/ 3739081 w 10505529"/>
              <a:gd name="connsiteY15697" fmla="*/ 4826928 h 7458372"/>
              <a:gd name="connsiteX15698" fmla="*/ 3741745 w 10505529"/>
              <a:gd name="connsiteY15698" fmla="*/ 4822669 h 7458372"/>
              <a:gd name="connsiteX15699" fmla="*/ 3742809 w 10505529"/>
              <a:gd name="connsiteY15699" fmla="*/ 4817211 h 7458372"/>
              <a:gd name="connsiteX15700" fmla="*/ 3741745 w 10505529"/>
              <a:gd name="connsiteY15700" fmla="*/ 4812020 h 7458372"/>
              <a:gd name="connsiteX15701" fmla="*/ 3739081 w 10505529"/>
              <a:gd name="connsiteY15701" fmla="*/ 4807893 h 7458372"/>
              <a:gd name="connsiteX15702" fmla="*/ 3735088 w 10505529"/>
              <a:gd name="connsiteY15702" fmla="*/ 4805230 h 7458372"/>
              <a:gd name="connsiteX15703" fmla="*/ 3730029 w 10505529"/>
              <a:gd name="connsiteY15703" fmla="*/ 4804299 h 7458372"/>
              <a:gd name="connsiteX15704" fmla="*/ 3512370 w 10505529"/>
              <a:gd name="connsiteY15704" fmla="*/ 4804299 h 7458372"/>
              <a:gd name="connsiteX15705" fmla="*/ 3502382 w 10505529"/>
              <a:gd name="connsiteY15705" fmla="*/ 4807893 h 7458372"/>
              <a:gd name="connsiteX15706" fmla="*/ 3498789 w 10505529"/>
              <a:gd name="connsiteY15706" fmla="*/ 4817344 h 7458372"/>
              <a:gd name="connsiteX15707" fmla="*/ 3502382 w 10505529"/>
              <a:gd name="connsiteY15707" fmla="*/ 4826795 h 7458372"/>
              <a:gd name="connsiteX15708" fmla="*/ 3512370 w 10505529"/>
              <a:gd name="connsiteY15708" fmla="*/ 4830257 h 7458372"/>
              <a:gd name="connsiteX15709" fmla="*/ 3517695 w 10505529"/>
              <a:gd name="connsiteY15709" fmla="*/ 4829325 h 7458372"/>
              <a:gd name="connsiteX15710" fmla="*/ 3521423 w 10505529"/>
              <a:gd name="connsiteY15710" fmla="*/ 4826928 h 7458372"/>
              <a:gd name="connsiteX15711" fmla="*/ 3524086 w 10505529"/>
              <a:gd name="connsiteY15711" fmla="*/ 4822669 h 7458372"/>
              <a:gd name="connsiteX15712" fmla="*/ 3525151 w 10505529"/>
              <a:gd name="connsiteY15712" fmla="*/ 4817211 h 7458372"/>
              <a:gd name="connsiteX15713" fmla="*/ 3524086 w 10505529"/>
              <a:gd name="connsiteY15713" fmla="*/ 4812020 h 7458372"/>
              <a:gd name="connsiteX15714" fmla="*/ 3521423 w 10505529"/>
              <a:gd name="connsiteY15714" fmla="*/ 4807893 h 7458372"/>
              <a:gd name="connsiteX15715" fmla="*/ 3517430 w 10505529"/>
              <a:gd name="connsiteY15715" fmla="*/ 4805230 h 7458372"/>
              <a:gd name="connsiteX15716" fmla="*/ 3512370 w 10505529"/>
              <a:gd name="connsiteY15716" fmla="*/ 4804299 h 7458372"/>
              <a:gd name="connsiteX15717" fmla="*/ 3294845 w 10505529"/>
              <a:gd name="connsiteY15717" fmla="*/ 4804299 h 7458372"/>
              <a:gd name="connsiteX15718" fmla="*/ 3284859 w 10505529"/>
              <a:gd name="connsiteY15718" fmla="*/ 4807893 h 7458372"/>
              <a:gd name="connsiteX15719" fmla="*/ 3281264 w 10505529"/>
              <a:gd name="connsiteY15719" fmla="*/ 4817344 h 7458372"/>
              <a:gd name="connsiteX15720" fmla="*/ 3284859 w 10505529"/>
              <a:gd name="connsiteY15720" fmla="*/ 4826795 h 7458372"/>
              <a:gd name="connsiteX15721" fmla="*/ 3294845 w 10505529"/>
              <a:gd name="connsiteY15721" fmla="*/ 4830257 h 7458372"/>
              <a:gd name="connsiteX15722" fmla="*/ 3300170 w 10505529"/>
              <a:gd name="connsiteY15722" fmla="*/ 4829325 h 7458372"/>
              <a:gd name="connsiteX15723" fmla="*/ 3303897 w 10505529"/>
              <a:gd name="connsiteY15723" fmla="*/ 4826928 h 7458372"/>
              <a:gd name="connsiteX15724" fmla="*/ 3306560 w 10505529"/>
              <a:gd name="connsiteY15724" fmla="*/ 4822669 h 7458372"/>
              <a:gd name="connsiteX15725" fmla="*/ 3307624 w 10505529"/>
              <a:gd name="connsiteY15725" fmla="*/ 4817211 h 7458372"/>
              <a:gd name="connsiteX15726" fmla="*/ 3306560 w 10505529"/>
              <a:gd name="connsiteY15726" fmla="*/ 4812020 h 7458372"/>
              <a:gd name="connsiteX15727" fmla="*/ 3303897 w 10505529"/>
              <a:gd name="connsiteY15727" fmla="*/ 4807893 h 7458372"/>
              <a:gd name="connsiteX15728" fmla="*/ 3299904 w 10505529"/>
              <a:gd name="connsiteY15728" fmla="*/ 4805230 h 7458372"/>
              <a:gd name="connsiteX15729" fmla="*/ 3294845 w 10505529"/>
              <a:gd name="connsiteY15729" fmla="*/ 4804299 h 7458372"/>
              <a:gd name="connsiteX15730" fmla="*/ 3077319 w 10505529"/>
              <a:gd name="connsiteY15730" fmla="*/ 4804299 h 7458372"/>
              <a:gd name="connsiteX15731" fmla="*/ 3067336 w 10505529"/>
              <a:gd name="connsiteY15731" fmla="*/ 4807893 h 7458372"/>
              <a:gd name="connsiteX15732" fmla="*/ 3063605 w 10505529"/>
              <a:gd name="connsiteY15732" fmla="*/ 4817344 h 7458372"/>
              <a:gd name="connsiteX15733" fmla="*/ 3067201 w 10505529"/>
              <a:gd name="connsiteY15733" fmla="*/ 4826795 h 7458372"/>
              <a:gd name="connsiteX15734" fmla="*/ 3077186 w 10505529"/>
              <a:gd name="connsiteY15734" fmla="*/ 4830257 h 7458372"/>
              <a:gd name="connsiteX15735" fmla="*/ 3082644 w 10505529"/>
              <a:gd name="connsiteY15735" fmla="*/ 4829325 h 7458372"/>
              <a:gd name="connsiteX15736" fmla="*/ 3086371 w 10505529"/>
              <a:gd name="connsiteY15736" fmla="*/ 4826928 h 7458372"/>
              <a:gd name="connsiteX15737" fmla="*/ 3089034 w 10505529"/>
              <a:gd name="connsiteY15737" fmla="*/ 4822669 h 7458372"/>
              <a:gd name="connsiteX15738" fmla="*/ 3089966 w 10505529"/>
              <a:gd name="connsiteY15738" fmla="*/ 4817211 h 7458372"/>
              <a:gd name="connsiteX15739" fmla="*/ 3089034 w 10505529"/>
              <a:gd name="connsiteY15739" fmla="*/ 4812020 h 7458372"/>
              <a:gd name="connsiteX15740" fmla="*/ 3086371 w 10505529"/>
              <a:gd name="connsiteY15740" fmla="*/ 4807893 h 7458372"/>
              <a:gd name="connsiteX15741" fmla="*/ 3082378 w 10505529"/>
              <a:gd name="connsiteY15741" fmla="*/ 4805230 h 7458372"/>
              <a:gd name="connsiteX15742" fmla="*/ 3077319 w 10505529"/>
              <a:gd name="connsiteY15742" fmla="*/ 4804299 h 7458372"/>
              <a:gd name="connsiteX15743" fmla="*/ 2859527 w 10505529"/>
              <a:gd name="connsiteY15743" fmla="*/ 4804299 h 7458372"/>
              <a:gd name="connsiteX15744" fmla="*/ 2849541 w 10505529"/>
              <a:gd name="connsiteY15744" fmla="*/ 4807893 h 7458372"/>
              <a:gd name="connsiteX15745" fmla="*/ 2845944 w 10505529"/>
              <a:gd name="connsiteY15745" fmla="*/ 4817344 h 7458372"/>
              <a:gd name="connsiteX15746" fmla="*/ 2849541 w 10505529"/>
              <a:gd name="connsiteY15746" fmla="*/ 4826795 h 7458372"/>
              <a:gd name="connsiteX15747" fmla="*/ 2859527 w 10505529"/>
              <a:gd name="connsiteY15747" fmla="*/ 4830257 h 7458372"/>
              <a:gd name="connsiteX15748" fmla="*/ 2864852 w 10505529"/>
              <a:gd name="connsiteY15748" fmla="*/ 4829325 h 7458372"/>
              <a:gd name="connsiteX15749" fmla="*/ 2868579 w 10505529"/>
              <a:gd name="connsiteY15749" fmla="*/ 4826928 h 7458372"/>
              <a:gd name="connsiteX15750" fmla="*/ 2871242 w 10505529"/>
              <a:gd name="connsiteY15750" fmla="*/ 4822669 h 7458372"/>
              <a:gd name="connsiteX15751" fmla="*/ 2872173 w 10505529"/>
              <a:gd name="connsiteY15751" fmla="*/ 4817211 h 7458372"/>
              <a:gd name="connsiteX15752" fmla="*/ 2871242 w 10505529"/>
              <a:gd name="connsiteY15752" fmla="*/ 4812020 h 7458372"/>
              <a:gd name="connsiteX15753" fmla="*/ 2868579 w 10505529"/>
              <a:gd name="connsiteY15753" fmla="*/ 4807893 h 7458372"/>
              <a:gd name="connsiteX15754" fmla="*/ 2864587 w 10505529"/>
              <a:gd name="connsiteY15754" fmla="*/ 4805230 h 7458372"/>
              <a:gd name="connsiteX15755" fmla="*/ 2859527 w 10505529"/>
              <a:gd name="connsiteY15755" fmla="*/ 4804299 h 7458372"/>
              <a:gd name="connsiteX15756" fmla="*/ 2641868 w 10505529"/>
              <a:gd name="connsiteY15756" fmla="*/ 4804299 h 7458372"/>
              <a:gd name="connsiteX15757" fmla="*/ 2631885 w 10505529"/>
              <a:gd name="connsiteY15757" fmla="*/ 4807893 h 7458372"/>
              <a:gd name="connsiteX15758" fmla="*/ 2628290 w 10505529"/>
              <a:gd name="connsiteY15758" fmla="*/ 4817344 h 7458372"/>
              <a:gd name="connsiteX15759" fmla="*/ 2631885 w 10505529"/>
              <a:gd name="connsiteY15759" fmla="*/ 4826795 h 7458372"/>
              <a:gd name="connsiteX15760" fmla="*/ 2641868 w 10505529"/>
              <a:gd name="connsiteY15760" fmla="*/ 4830257 h 7458372"/>
              <a:gd name="connsiteX15761" fmla="*/ 2647194 w 10505529"/>
              <a:gd name="connsiteY15761" fmla="*/ 4829325 h 7458372"/>
              <a:gd name="connsiteX15762" fmla="*/ 2650920 w 10505529"/>
              <a:gd name="connsiteY15762" fmla="*/ 4826928 h 7458372"/>
              <a:gd name="connsiteX15763" fmla="*/ 2653584 w 10505529"/>
              <a:gd name="connsiteY15763" fmla="*/ 4822669 h 7458372"/>
              <a:gd name="connsiteX15764" fmla="*/ 2654514 w 10505529"/>
              <a:gd name="connsiteY15764" fmla="*/ 4817211 h 7458372"/>
              <a:gd name="connsiteX15765" fmla="*/ 2653584 w 10505529"/>
              <a:gd name="connsiteY15765" fmla="*/ 4812020 h 7458372"/>
              <a:gd name="connsiteX15766" fmla="*/ 2650920 w 10505529"/>
              <a:gd name="connsiteY15766" fmla="*/ 4807893 h 7458372"/>
              <a:gd name="connsiteX15767" fmla="*/ 2646927 w 10505529"/>
              <a:gd name="connsiteY15767" fmla="*/ 4805230 h 7458372"/>
              <a:gd name="connsiteX15768" fmla="*/ 2641868 w 10505529"/>
              <a:gd name="connsiteY15768" fmla="*/ 4804299 h 7458372"/>
              <a:gd name="connsiteX15769" fmla="*/ 2424209 w 10505529"/>
              <a:gd name="connsiteY15769" fmla="*/ 4804299 h 7458372"/>
              <a:gd name="connsiteX15770" fmla="*/ 2414226 w 10505529"/>
              <a:gd name="connsiteY15770" fmla="*/ 4807893 h 7458372"/>
              <a:gd name="connsiteX15771" fmla="*/ 2410632 w 10505529"/>
              <a:gd name="connsiteY15771" fmla="*/ 4817344 h 7458372"/>
              <a:gd name="connsiteX15772" fmla="*/ 2414226 w 10505529"/>
              <a:gd name="connsiteY15772" fmla="*/ 4826795 h 7458372"/>
              <a:gd name="connsiteX15773" fmla="*/ 2424209 w 10505529"/>
              <a:gd name="connsiteY15773" fmla="*/ 4830257 h 7458372"/>
              <a:gd name="connsiteX15774" fmla="*/ 2429534 w 10505529"/>
              <a:gd name="connsiteY15774" fmla="*/ 4829325 h 7458372"/>
              <a:gd name="connsiteX15775" fmla="*/ 2433261 w 10505529"/>
              <a:gd name="connsiteY15775" fmla="*/ 4826928 h 7458372"/>
              <a:gd name="connsiteX15776" fmla="*/ 2435924 w 10505529"/>
              <a:gd name="connsiteY15776" fmla="*/ 4822669 h 7458372"/>
              <a:gd name="connsiteX15777" fmla="*/ 2436856 w 10505529"/>
              <a:gd name="connsiteY15777" fmla="*/ 4817211 h 7458372"/>
              <a:gd name="connsiteX15778" fmla="*/ 2435924 w 10505529"/>
              <a:gd name="connsiteY15778" fmla="*/ 4812020 h 7458372"/>
              <a:gd name="connsiteX15779" fmla="*/ 2433261 w 10505529"/>
              <a:gd name="connsiteY15779" fmla="*/ 4807893 h 7458372"/>
              <a:gd name="connsiteX15780" fmla="*/ 2429268 w 10505529"/>
              <a:gd name="connsiteY15780" fmla="*/ 4805230 h 7458372"/>
              <a:gd name="connsiteX15781" fmla="*/ 2424209 w 10505529"/>
              <a:gd name="connsiteY15781" fmla="*/ 4804299 h 7458372"/>
              <a:gd name="connsiteX15782" fmla="*/ 2206550 w 10505529"/>
              <a:gd name="connsiteY15782" fmla="*/ 4804299 h 7458372"/>
              <a:gd name="connsiteX15783" fmla="*/ 2196567 w 10505529"/>
              <a:gd name="connsiteY15783" fmla="*/ 4807893 h 7458372"/>
              <a:gd name="connsiteX15784" fmla="*/ 2192973 w 10505529"/>
              <a:gd name="connsiteY15784" fmla="*/ 4817344 h 7458372"/>
              <a:gd name="connsiteX15785" fmla="*/ 2196567 w 10505529"/>
              <a:gd name="connsiteY15785" fmla="*/ 4826795 h 7458372"/>
              <a:gd name="connsiteX15786" fmla="*/ 2206550 w 10505529"/>
              <a:gd name="connsiteY15786" fmla="*/ 4830257 h 7458372"/>
              <a:gd name="connsiteX15787" fmla="*/ 2211875 w 10505529"/>
              <a:gd name="connsiteY15787" fmla="*/ 4829325 h 7458372"/>
              <a:gd name="connsiteX15788" fmla="*/ 2215602 w 10505529"/>
              <a:gd name="connsiteY15788" fmla="*/ 4826928 h 7458372"/>
              <a:gd name="connsiteX15789" fmla="*/ 2218265 w 10505529"/>
              <a:gd name="connsiteY15789" fmla="*/ 4822669 h 7458372"/>
              <a:gd name="connsiteX15790" fmla="*/ 2219196 w 10505529"/>
              <a:gd name="connsiteY15790" fmla="*/ 4817211 h 7458372"/>
              <a:gd name="connsiteX15791" fmla="*/ 2218265 w 10505529"/>
              <a:gd name="connsiteY15791" fmla="*/ 4812020 h 7458372"/>
              <a:gd name="connsiteX15792" fmla="*/ 2215602 w 10505529"/>
              <a:gd name="connsiteY15792" fmla="*/ 4807893 h 7458372"/>
              <a:gd name="connsiteX15793" fmla="*/ 2211609 w 10505529"/>
              <a:gd name="connsiteY15793" fmla="*/ 4805230 h 7458372"/>
              <a:gd name="connsiteX15794" fmla="*/ 2206550 w 10505529"/>
              <a:gd name="connsiteY15794" fmla="*/ 4804299 h 7458372"/>
              <a:gd name="connsiteX15795" fmla="*/ 1989024 w 10505529"/>
              <a:gd name="connsiteY15795" fmla="*/ 4804299 h 7458372"/>
              <a:gd name="connsiteX15796" fmla="*/ 1979041 w 10505529"/>
              <a:gd name="connsiteY15796" fmla="*/ 4807893 h 7458372"/>
              <a:gd name="connsiteX15797" fmla="*/ 1975447 w 10505529"/>
              <a:gd name="connsiteY15797" fmla="*/ 4817344 h 7458372"/>
              <a:gd name="connsiteX15798" fmla="*/ 1979041 w 10505529"/>
              <a:gd name="connsiteY15798" fmla="*/ 4826795 h 7458372"/>
              <a:gd name="connsiteX15799" fmla="*/ 1989024 w 10505529"/>
              <a:gd name="connsiteY15799" fmla="*/ 4830257 h 7458372"/>
              <a:gd name="connsiteX15800" fmla="*/ 1994349 w 10505529"/>
              <a:gd name="connsiteY15800" fmla="*/ 4829325 h 7458372"/>
              <a:gd name="connsiteX15801" fmla="*/ 1998077 w 10505529"/>
              <a:gd name="connsiteY15801" fmla="*/ 4826928 h 7458372"/>
              <a:gd name="connsiteX15802" fmla="*/ 2000740 w 10505529"/>
              <a:gd name="connsiteY15802" fmla="*/ 4822669 h 7458372"/>
              <a:gd name="connsiteX15803" fmla="*/ 2001670 w 10505529"/>
              <a:gd name="connsiteY15803" fmla="*/ 4817211 h 7458372"/>
              <a:gd name="connsiteX15804" fmla="*/ 2000740 w 10505529"/>
              <a:gd name="connsiteY15804" fmla="*/ 4812020 h 7458372"/>
              <a:gd name="connsiteX15805" fmla="*/ 1998077 w 10505529"/>
              <a:gd name="connsiteY15805" fmla="*/ 4807893 h 7458372"/>
              <a:gd name="connsiteX15806" fmla="*/ 1994083 w 10505529"/>
              <a:gd name="connsiteY15806" fmla="*/ 4805230 h 7458372"/>
              <a:gd name="connsiteX15807" fmla="*/ 1989024 w 10505529"/>
              <a:gd name="connsiteY15807" fmla="*/ 4804299 h 7458372"/>
              <a:gd name="connsiteX15808" fmla="*/ 1771389 w 10505529"/>
              <a:gd name="connsiteY15808" fmla="*/ 4804299 h 7458372"/>
              <a:gd name="connsiteX15809" fmla="*/ 1761407 w 10505529"/>
              <a:gd name="connsiteY15809" fmla="*/ 4807893 h 7458372"/>
              <a:gd name="connsiteX15810" fmla="*/ 1757813 w 10505529"/>
              <a:gd name="connsiteY15810" fmla="*/ 4817344 h 7458372"/>
              <a:gd name="connsiteX15811" fmla="*/ 1761407 w 10505529"/>
              <a:gd name="connsiteY15811" fmla="*/ 4826795 h 7458372"/>
              <a:gd name="connsiteX15812" fmla="*/ 1771389 w 10505529"/>
              <a:gd name="connsiteY15812" fmla="*/ 4830257 h 7458372"/>
              <a:gd name="connsiteX15813" fmla="*/ 1776714 w 10505529"/>
              <a:gd name="connsiteY15813" fmla="*/ 4829325 h 7458372"/>
              <a:gd name="connsiteX15814" fmla="*/ 1780440 w 10505529"/>
              <a:gd name="connsiteY15814" fmla="*/ 4826928 h 7458372"/>
              <a:gd name="connsiteX15815" fmla="*/ 1783103 w 10505529"/>
              <a:gd name="connsiteY15815" fmla="*/ 4822669 h 7458372"/>
              <a:gd name="connsiteX15816" fmla="*/ 1784168 w 10505529"/>
              <a:gd name="connsiteY15816" fmla="*/ 4817211 h 7458372"/>
              <a:gd name="connsiteX15817" fmla="*/ 1783103 w 10505529"/>
              <a:gd name="connsiteY15817" fmla="*/ 4812020 h 7458372"/>
              <a:gd name="connsiteX15818" fmla="*/ 1780440 w 10505529"/>
              <a:gd name="connsiteY15818" fmla="*/ 4807893 h 7458372"/>
              <a:gd name="connsiteX15819" fmla="*/ 1776448 w 10505529"/>
              <a:gd name="connsiteY15819" fmla="*/ 4805230 h 7458372"/>
              <a:gd name="connsiteX15820" fmla="*/ 1771389 w 10505529"/>
              <a:gd name="connsiteY15820" fmla="*/ 4804299 h 7458372"/>
              <a:gd name="connsiteX15821" fmla="*/ 1553751 w 10505529"/>
              <a:gd name="connsiteY15821" fmla="*/ 4804299 h 7458372"/>
              <a:gd name="connsiteX15822" fmla="*/ 1543768 w 10505529"/>
              <a:gd name="connsiteY15822" fmla="*/ 4807893 h 7458372"/>
              <a:gd name="connsiteX15823" fmla="*/ 1540174 w 10505529"/>
              <a:gd name="connsiteY15823" fmla="*/ 4817344 h 7458372"/>
              <a:gd name="connsiteX15824" fmla="*/ 1543768 w 10505529"/>
              <a:gd name="connsiteY15824" fmla="*/ 4826795 h 7458372"/>
              <a:gd name="connsiteX15825" fmla="*/ 1553751 w 10505529"/>
              <a:gd name="connsiteY15825" fmla="*/ 4830257 h 7458372"/>
              <a:gd name="connsiteX15826" fmla="*/ 1559076 w 10505529"/>
              <a:gd name="connsiteY15826" fmla="*/ 4829325 h 7458372"/>
              <a:gd name="connsiteX15827" fmla="*/ 1562803 w 10505529"/>
              <a:gd name="connsiteY15827" fmla="*/ 4826928 h 7458372"/>
              <a:gd name="connsiteX15828" fmla="*/ 1565466 w 10505529"/>
              <a:gd name="connsiteY15828" fmla="*/ 4822669 h 7458372"/>
              <a:gd name="connsiteX15829" fmla="*/ 1566531 w 10505529"/>
              <a:gd name="connsiteY15829" fmla="*/ 4817211 h 7458372"/>
              <a:gd name="connsiteX15830" fmla="*/ 1565466 w 10505529"/>
              <a:gd name="connsiteY15830" fmla="*/ 4812020 h 7458372"/>
              <a:gd name="connsiteX15831" fmla="*/ 1562803 w 10505529"/>
              <a:gd name="connsiteY15831" fmla="*/ 4807893 h 7458372"/>
              <a:gd name="connsiteX15832" fmla="*/ 1558810 w 10505529"/>
              <a:gd name="connsiteY15832" fmla="*/ 4805230 h 7458372"/>
              <a:gd name="connsiteX15833" fmla="*/ 1553751 w 10505529"/>
              <a:gd name="connsiteY15833" fmla="*/ 4804299 h 7458372"/>
              <a:gd name="connsiteX15834" fmla="*/ 1336107 w 10505529"/>
              <a:gd name="connsiteY15834" fmla="*/ 4804299 h 7458372"/>
              <a:gd name="connsiteX15835" fmla="*/ 1326123 w 10505529"/>
              <a:gd name="connsiteY15835" fmla="*/ 4807893 h 7458372"/>
              <a:gd name="connsiteX15836" fmla="*/ 1322529 w 10505529"/>
              <a:gd name="connsiteY15836" fmla="*/ 4817344 h 7458372"/>
              <a:gd name="connsiteX15837" fmla="*/ 1326123 w 10505529"/>
              <a:gd name="connsiteY15837" fmla="*/ 4826795 h 7458372"/>
              <a:gd name="connsiteX15838" fmla="*/ 1336107 w 10505529"/>
              <a:gd name="connsiteY15838" fmla="*/ 4830257 h 7458372"/>
              <a:gd name="connsiteX15839" fmla="*/ 1341434 w 10505529"/>
              <a:gd name="connsiteY15839" fmla="*/ 4829325 h 7458372"/>
              <a:gd name="connsiteX15840" fmla="*/ 1345161 w 10505529"/>
              <a:gd name="connsiteY15840" fmla="*/ 4826928 h 7458372"/>
              <a:gd name="connsiteX15841" fmla="*/ 1347823 w 10505529"/>
              <a:gd name="connsiteY15841" fmla="*/ 4822669 h 7458372"/>
              <a:gd name="connsiteX15842" fmla="*/ 1348890 w 10505529"/>
              <a:gd name="connsiteY15842" fmla="*/ 4817211 h 7458372"/>
              <a:gd name="connsiteX15843" fmla="*/ 1347823 w 10505529"/>
              <a:gd name="connsiteY15843" fmla="*/ 4812020 h 7458372"/>
              <a:gd name="connsiteX15844" fmla="*/ 1345161 w 10505529"/>
              <a:gd name="connsiteY15844" fmla="*/ 4807893 h 7458372"/>
              <a:gd name="connsiteX15845" fmla="*/ 1341166 w 10505529"/>
              <a:gd name="connsiteY15845" fmla="*/ 4805230 h 7458372"/>
              <a:gd name="connsiteX15846" fmla="*/ 1336107 w 10505529"/>
              <a:gd name="connsiteY15846" fmla="*/ 4804299 h 7458372"/>
              <a:gd name="connsiteX15847" fmla="*/ 1118595 w 10505529"/>
              <a:gd name="connsiteY15847" fmla="*/ 4804299 h 7458372"/>
              <a:gd name="connsiteX15848" fmla="*/ 1108610 w 10505529"/>
              <a:gd name="connsiteY15848" fmla="*/ 4807893 h 7458372"/>
              <a:gd name="connsiteX15849" fmla="*/ 1104883 w 10505529"/>
              <a:gd name="connsiteY15849" fmla="*/ 4817344 h 7458372"/>
              <a:gd name="connsiteX15850" fmla="*/ 1108477 w 10505529"/>
              <a:gd name="connsiteY15850" fmla="*/ 4826795 h 7458372"/>
              <a:gd name="connsiteX15851" fmla="*/ 1118462 w 10505529"/>
              <a:gd name="connsiteY15851" fmla="*/ 4830257 h 7458372"/>
              <a:gd name="connsiteX15852" fmla="*/ 1123919 w 10505529"/>
              <a:gd name="connsiteY15852" fmla="*/ 4829325 h 7458372"/>
              <a:gd name="connsiteX15853" fmla="*/ 1127649 w 10505529"/>
              <a:gd name="connsiteY15853" fmla="*/ 4826928 h 7458372"/>
              <a:gd name="connsiteX15854" fmla="*/ 1130312 w 10505529"/>
              <a:gd name="connsiteY15854" fmla="*/ 4822669 h 7458372"/>
              <a:gd name="connsiteX15855" fmla="*/ 1131377 w 10505529"/>
              <a:gd name="connsiteY15855" fmla="*/ 4817211 h 7458372"/>
              <a:gd name="connsiteX15856" fmla="*/ 1130312 w 10505529"/>
              <a:gd name="connsiteY15856" fmla="*/ 4812020 h 7458372"/>
              <a:gd name="connsiteX15857" fmla="*/ 1127649 w 10505529"/>
              <a:gd name="connsiteY15857" fmla="*/ 4807893 h 7458372"/>
              <a:gd name="connsiteX15858" fmla="*/ 1123654 w 10505529"/>
              <a:gd name="connsiteY15858" fmla="*/ 4805230 h 7458372"/>
              <a:gd name="connsiteX15859" fmla="*/ 1118595 w 10505529"/>
              <a:gd name="connsiteY15859" fmla="*/ 4804299 h 7458372"/>
              <a:gd name="connsiteX15860" fmla="*/ 901083 w 10505529"/>
              <a:gd name="connsiteY15860" fmla="*/ 4804299 h 7458372"/>
              <a:gd name="connsiteX15861" fmla="*/ 891099 w 10505529"/>
              <a:gd name="connsiteY15861" fmla="*/ 4807893 h 7458372"/>
              <a:gd name="connsiteX15862" fmla="*/ 887372 w 10505529"/>
              <a:gd name="connsiteY15862" fmla="*/ 4817344 h 7458372"/>
              <a:gd name="connsiteX15863" fmla="*/ 890966 w 10505529"/>
              <a:gd name="connsiteY15863" fmla="*/ 4826795 h 7458372"/>
              <a:gd name="connsiteX15864" fmla="*/ 900949 w 10505529"/>
              <a:gd name="connsiteY15864" fmla="*/ 4830257 h 7458372"/>
              <a:gd name="connsiteX15865" fmla="*/ 906407 w 10505529"/>
              <a:gd name="connsiteY15865" fmla="*/ 4829325 h 7458372"/>
              <a:gd name="connsiteX15866" fmla="*/ 910135 w 10505529"/>
              <a:gd name="connsiteY15866" fmla="*/ 4826928 h 7458372"/>
              <a:gd name="connsiteX15867" fmla="*/ 912797 w 10505529"/>
              <a:gd name="connsiteY15867" fmla="*/ 4822669 h 7458372"/>
              <a:gd name="connsiteX15868" fmla="*/ 913862 w 10505529"/>
              <a:gd name="connsiteY15868" fmla="*/ 4817211 h 7458372"/>
              <a:gd name="connsiteX15869" fmla="*/ 912797 w 10505529"/>
              <a:gd name="connsiteY15869" fmla="*/ 4812020 h 7458372"/>
              <a:gd name="connsiteX15870" fmla="*/ 910135 w 10505529"/>
              <a:gd name="connsiteY15870" fmla="*/ 4807893 h 7458372"/>
              <a:gd name="connsiteX15871" fmla="*/ 906141 w 10505529"/>
              <a:gd name="connsiteY15871" fmla="*/ 4805230 h 7458372"/>
              <a:gd name="connsiteX15872" fmla="*/ 901083 w 10505529"/>
              <a:gd name="connsiteY15872" fmla="*/ 4804299 h 7458372"/>
              <a:gd name="connsiteX15873" fmla="*/ 683308 w 10505529"/>
              <a:gd name="connsiteY15873" fmla="*/ 4804299 h 7458372"/>
              <a:gd name="connsiteX15874" fmla="*/ 673325 w 10505529"/>
              <a:gd name="connsiteY15874" fmla="*/ 4807893 h 7458372"/>
              <a:gd name="connsiteX15875" fmla="*/ 669731 w 10505529"/>
              <a:gd name="connsiteY15875" fmla="*/ 4817344 h 7458372"/>
              <a:gd name="connsiteX15876" fmla="*/ 673325 w 10505529"/>
              <a:gd name="connsiteY15876" fmla="*/ 4826795 h 7458372"/>
              <a:gd name="connsiteX15877" fmla="*/ 683308 w 10505529"/>
              <a:gd name="connsiteY15877" fmla="*/ 4830257 h 7458372"/>
              <a:gd name="connsiteX15878" fmla="*/ 688633 w 10505529"/>
              <a:gd name="connsiteY15878" fmla="*/ 4829325 h 7458372"/>
              <a:gd name="connsiteX15879" fmla="*/ 692360 w 10505529"/>
              <a:gd name="connsiteY15879" fmla="*/ 4826928 h 7458372"/>
              <a:gd name="connsiteX15880" fmla="*/ 695023 w 10505529"/>
              <a:gd name="connsiteY15880" fmla="*/ 4822669 h 7458372"/>
              <a:gd name="connsiteX15881" fmla="*/ 696089 w 10505529"/>
              <a:gd name="connsiteY15881" fmla="*/ 4817211 h 7458372"/>
              <a:gd name="connsiteX15882" fmla="*/ 695023 w 10505529"/>
              <a:gd name="connsiteY15882" fmla="*/ 4812020 h 7458372"/>
              <a:gd name="connsiteX15883" fmla="*/ 692360 w 10505529"/>
              <a:gd name="connsiteY15883" fmla="*/ 4807893 h 7458372"/>
              <a:gd name="connsiteX15884" fmla="*/ 688367 w 10505529"/>
              <a:gd name="connsiteY15884" fmla="*/ 4805230 h 7458372"/>
              <a:gd name="connsiteX15885" fmla="*/ 683308 w 10505529"/>
              <a:gd name="connsiteY15885" fmla="*/ 4804299 h 7458372"/>
              <a:gd name="connsiteX15886" fmla="*/ 465666 w 10505529"/>
              <a:gd name="connsiteY15886" fmla="*/ 4804299 h 7458372"/>
              <a:gd name="connsiteX15887" fmla="*/ 455683 w 10505529"/>
              <a:gd name="connsiteY15887" fmla="*/ 4807893 h 7458372"/>
              <a:gd name="connsiteX15888" fmla="*/ 452089 w 10505529"/>
              <a:gd name="connsiteY15888" fmla="*/ 4817344 h 7458372"/>
              <a:gd name="connsiteX15889" fmla="*/ 455683 w 10505529"/>
              <a:gd name="connsiteY15889" fmla="*/ 4826795 h 7458372"/>
              <a:gd name="connsiteX15890" fmla="*/ 465666 w 10505529"/>
              <a:gd name="connsiteY15890" fmla="*/ 4830257 h 7458372"/>
              <a:gd name="connsiteX15891" fmla="*/ 470992 w 10505529"/>
              <a:gd name="connsiteY15891" fmla="*/ 4829325 h 7458372"/>
              <a:gd name="connsiteX15892" fmla="*/ 474719 w 10505529"/>
              <a:gd name="connsiteY15892" fmla="*/ 4826928 h 7458372"/>
              <a:gd name="connsiteX15893" fmla="*/ 477382 w 10505529"/>
              <a:gd name="connsiteY15893" fmla="*/ 4822669 h 7458372"/>
              <a:gd name="connsiteX15894" fmla="*/ 478447 w 10505529"/>
              <a:gd name="connsiteY15894" fmla="*/ 4817211 h 7458372"/>
              <a:gd name="connsiteX15895" fmla="*/ 477382 w 10505529"/>
              <a:gd name="connsiteY15895" fmla="*/ 4812020 h 7458372"/>
              <a:gd name="connsiteX15896" fmla="*/ 474719 w 10505529"/>
              <a:gd name="connsiteY15896" fmla="*/ 4807893 h 7458372"/>
              <a:gd name="connsiteX15897" fmla="*/ 470726 w 10505529"/>
              <a:gd name="connsiteY15897" fmla="*/ 4805230 h 7458372"/>
              <a:gd name="connsiteX15898" fmla="*/ 465666 w 10505529"/>
              <a:gd name="connsiteY15898" fmla="*/ 4804299 h 7458372"/>
              <a:gd name="connsiteX15899" fmla="*/ 248024 w 10505529"/>
              <a:gd name="connsiteY15899" fmla="*/ 4804299 h 7458372"/>
              <a:gd name="connsiteX15900" fmla="*/ 238042 w 10505529"/>
              <a:gd name="connsiteY15900" fmla="*/ 4807893 h 7458372"/>
              <a:gd name="connsiteX15901" fmla="*/ 234448 w 10505529"/>
              <a:gd name="connsiteY15901" fmla="*/ 4817344 h 7458372"/>
              <a:gd name="connsiteX15902" fmla="*/ 238042 w 10505529"/>
              <a:gd name="connsiteY15902" fmla="*/ 4826795 h 7458372"/>
              <a:gd name="connsiteX15903" fmla="*/ 248024 w 10505529"/>
              <a:gd name="connsiteY15903" fmla="*/ 4830257 h 7458372"/>
              <a:gd name="connsiteX15904" fmla="*/ 253349 w 10505529"/>
              <a:gd name="connsiteY15904" fmla="*/ 4829325 h 7458372"/>
              <a:gd name="connsiteX15905" fmla="*/ 257076 w 10505529"/>
              <a:gd name="connsiteY15905" fmla="*/ 4826928 h 7458372"/>
              <a:gd name="connsiteX15906" fmla="*/ 259739 w 10505529"/>
              <a:gd name="connsiteY15906" fmla="*/ 4822669 h 7458372"/>
              <a:gd name="connsiteX15907" fmla="*/ 260804 w 10505529"/>
              <a:gd name="connsiteY15907" fmla="*/ 4817211 h 7458372"/>
              <a:gd name="connsiteX15908" fmla="*/ 259739 w 10505529"/>
              <a:gd name="connsiteY15908" fmla="*/ 4812020 h 7458372"/>
              <a:gd name="connsiteX15909" fmla="*/ 257076 w 10505529"/>
              <a:gd name="connsiteY15909" fmla="*/ 4807893 h 7458372"/>
              <a:gd name="connsiteX15910" fmla="*/ 253083 w 10505529"/>
              <a:gd name="connsiteY15910" fmla="*/ 4805230 h 7458372"/>
              <a:gd name="connsiteX15911" fmla="*/ 248024 w 10505529"/>
              <a:gd name="connsiteY15911" fmla="*/ 4804299 h 7458372"/>
              <a:gd name="connsiteX15912" fmla="*/ 30383 w 10505529"/>
              <a:gd name="connsiteY15912" fmla="*/ 4804299 h 7458372"/>
              <a:gd name="connsiteX15913" fmla="*/ 20399 w 10505529"/>
              <a:gd name="connsiteY15913" fmla="*/ 4807893 h 7458372"/>
              <a:gd name="connsiteX15914" fmla="*/ 16806 w 10505529"/>
              <a:gd name="connsiteY15914" fmla="*/ 4817344 h 7458372"/>
              <a:gd name="connsiteX15915" fmla="*/ 20399 w 10505529"/>
              <a:gd name="connsiteY15915" fmla="*/ 4826795 h 7458372"/>
              <a:gd name="connsiteX15916" fmla="*/ 30383 w 10505529"/>
              <a:gd name="connsiteY15916" fmla="*/ 4830257 h 7458372"/>
              <a:gd name="connsiteX15917" fmla="*/ 35708 w 10505529"/>
              <a:gd name="connsiteY15917" fmla="*/ 4829325 h 7458372"/>
              <a:gd name="connsiteX15918" fmla="*/ 39435 w 10505529"/>
              <a:gd name="connsiteY15918" fmla="*/ 4826928 h 7458372"/>
              <a:gd name="connsiteX15919" fmla="*/ 42098 w 10505529"/>
              <a:gd name="connsiteY15919" fmla="*/ 4822669 h 7458372"/>
              <a:gd name="connsiteX15920" fmla="*/ 43029 w 10505529"/>
              <a:gd name="connsiteY15920" fmla="*/ 4817211 h 7458372"/>
              <a:gd name="connsiteX15921" fmla="*/ 42098 w 10505529"/>
              <a:gd name="connsiteY15921" fmla="*/ 4812020 h 7458372"/>
              <a:gd name="connsiteX15922" fmla="*/ 39435 w 10505529"/>
              <a:gd name="connsiteY15922" fmla="*/ 4807893 h 7458372"/>
              <a:gd name="connsiteX15923" fmla="*/ 35442 w 10505529"/>
              <a:gd name="connsiteY15923" fmla="*/ 4805230 h 7458372"/>
              <a:gd name="connsiteX15924" fmla="*/ 30383 w 10505529"/>
              <a:gd name="connsiteY15924" fmla="*/ 4804299 h 7458372"/>
              <a:gd name="connsiteX15925" fmla="*/ 10475977 w 10505529"/>
              <a:gd name="connsiteY15925" fmla="*/ 4787659 h 7458372"/>
              <a:gd name="connsiteX15926" fmla="*/ 10487824 w 10505529"/>
              <a:gd name="connsiteY15926" fmla="*/ 4790321 h 7458372"/>
              <a:gd name="connsiteX15927" fmla="*/ 10497143 w 10505529"/>
              <a:gd name="connsiteY15927" fmla="*/ 4796711 h 7458372"/>
              <a:gd name="connsiteX15928" fmla="*/ 10503266 w 10505529"/>
              <a:gd name="connsiteY15928" fmla="*/ 4806029 h 7458372"/>
              <a:gd name="connsiteX15929" fmla="*/ 10505529 w 10505529"/>
              <a:gd name="connsiteY15929" fmla="*/ 4817477 h 7458372"/>
              <a:gd name="connsiteX15930" fmla="*/ 10503266 w 10505529"/>
              <a:gd name="connsiteY15930" fmla="*/ 4829192 h 7458372"/>
              <a:gd name="connsiteX15931" fmla="*/ 10497143 w 10505529"/>
              <a:gd name="connsiteY15931" fmla="*/ 4838511 h 7458372"/>
              <a:gd name="connsiteX15932" fmla="*/ 10487824 w 10505529"/>
              <a:gd name="connsiteY15932" fmla="*/ 4844767 h 7458372"/>
              <a:gd name="connsiteX15933" fmla="*/ 10475977 w 10505529"/>
              <a:gd name="connsiteY15933" fmla="*/ 4847030 h 7458372"/>
              <a:gd name="connsiteX15934" fmla="*/ 10454145 w 10505529"/>
              <a:gd name="connsiteY15934" fmla="*/ 4838511 h 7458372"/>
              <a:gd name="connsiteX15935" fmla="*/ 10445759 w 10505529"/>
              <a:gd name="connsiteY15935" fmla="*/ 4817344 h 7458372"/>
              <a:gd name="connsiteX15936" fmla="*/ 10454145 w 10505529"/>
              <a:gd name="connsiteY15936" fmla="*/ 4796312 h 7458372"/>
              <a:gd name="connsiteX15937" fmla="*/ 10475977 w 10505529"/>
              <a:gd name="connsiteY15937" fmla="*/ 4787659 h 7458372"/>
              <a:gd name="connsiteX15938" fmla="*/ 10258466 w 10505529"/>
              <a:gd name="connsiteY15938" fmla="*/ 4787659 h 7458372"/>
              <a:gd name="connsiteX15939" fmla="*/ 10270313 w 10505529"/>
              <a:gd name="connsiteY15939" fmla="*/ 4790321 h 7458372"/>
              <a:gd name="connsiteX15940" fmla="*/ 10279631 w 10505529"/>
              <a:gd name="connsiteY15940" fmla="*/ 4796711 h 7458372"/>
              <a:gd name="connsiteX15941" fmla="*/ 10285754 w 10505529"/>
              <a:gd name="connsiteY15941" fmla="*/ 4806029 h 7458372"/>
              <a:gd name="connsiteX15942" fmla="*/ 10288017 w 10505529"/>
              <a:gd name="connsiteY15942" fmla="*/ 4817477 h 7458372"/>
              <a:gd name="connsiteX15943" fmla="*/ 10285754 w 10505529"/>
              <a:gd name="connsiteY15943" fmla="*/ 4829192 h 7458372"/>
              <a:gd name="connsiteX15944" fmla="*/ 10279631 w 10505529"/>
              <a:gd name="connsiteY15944" fmla="*/ 4838511 h 7458372"/>
              <a:gd name="connsiteX15945" fmla="*/ 10270313 w 10505529"/>
              <a:gd name="connsiteY15945" fmla="*/ 4844767 h 7458372"/>
              <a:gd name="connsiteX15946" fmla="*/ 10258466 w 10505529"/>
              <a:gd name="connsiteY15946" fmla="*/ 4847030 h 7458372"/>
              <a:gd name="connsiteX15947" fmla="*/ 10236633 w 10505529"/>
              <a:gd name="connsiteY15947" fmla="*/ 4838511 h 7458372"/>
              <a:gd name="connsiteX15948" fmla="*/ 10228247 w 10505529"/>
              <a:gd name="connsiteY15948" fmla="*/ 4817344 h 7458372"/>
              <a:gd name="connsiteX15949" fmla="*/ 10236633 w 10505529"/>
              <a:gd name="connsiteY15949" fmla="*/ 4796312 h 7458372"/>
              <a:gd name="connsiteX15950" fmla="*/ 10258466 w 10505529"/>
              <a:gd name="connsiteY15950" fmla="*/ 4787659 h 7458372"/>
              <a:gd name="connsiteX15951" fmla="*/ 10040820 w 10505529"/>
              <a:gd name="connsiteY15951" fmla="*/ 4787659 h 7458372"/>
              <a:gd name="connsiteX15952" fmla="*/ 10052534 w 10505529"/>
              <a:gd name="connsiteY15952" fmla="*/ 4790321 h 7458372"/>
              <a:gd name="connsiteX15953" fmla="*/ 10061852 w 10505529"/>
              <a:gd name="connsiteY15953" fmla="*/ 4796711 h 7458372"/>
              <a:gd name="connsiteX15954" fmla="*/ 10067976 w 10505529"/>
              <a:gd name="connsiteY15954" fmla="*/ 4806029 h 7458372"/>
              <a:gd name="connsiteX15955" fmla="*/ 10070239 w 10505529"/>
              <a:gd name="connsiteY15955" fmla="*/ 4817477 h 7458372"/>
              <a:gd name="connsiteX15956" fmla="*/ 10067976 w 10505529"/>
              <a:gd name="connsiteY15956" fmla="*/ 4829192 h 7458372"/>
              <a:gd name="connsiteX15957" fmla="*/ 10061852 w 10505529"/>
              <a:gd name="connsiteY15957" fmla="*/ 4838511 h 7458372"/>
              <a:gd name="connsiteX15958" fmla="*/ 10052534 w 10505529"/>
              <a:gd name="connsiteY15958" fmla="*/ 4844767 h 7458372"/>
              <a:gd name="connsiteX15959" fmla="*/ 10040820 w 10505529"/>
              <a:gd name="connsiteY15959" fmla="*/ 4847030 h 7458372"/>
              <a:gd name="connsiteX15960" fmla="*/ 10018988 w 10505529"/>
              <a:gd name="connsiteY15960" fmla="*/ 4838511 h 7458372"/>
              <a:gd name="connsiteX15961" fmla="*/ 10010602 w 10505529"/>
              <a:gd name="connsiteY15961" fmla="*/ 4817344 h 7458372"/>
              <a:gd name="connsiteX15962" fmla="*/ 10018988 w 10505529"/>
              <a:gd name="connsiteY15962" fmla="*/ 4796312 h 7458372"/>
              <a:gd name="connsiteX15963" fmla="*/ 10040820 w 10505529"/>
              <a:gd name="connsiteY15963" fmla="*/ 4787659 h 7458372"/>
              <a:gd name="connsiteX15964" fmla="*/ 9823176 w 10505529"/>
              <a:gd name="connsiteY15964" fmla="*/ 4787659 h 7458372"/>
              <a:gd name="connsiteX15965" fmla="*/ 9834890 w 10505529"/>
              <a:gd name="connsiteY15965" fmla="*/ 4790321 h 7458372"/>
              <a:gd name="connsiteX15966" fmla="*/ 9844208 w 10505529"/>
              <a:gd name="connsiteY15966" fmla="*/ 4796711 h 7458372"/>
              <a:gd name="connsiteX15967" fmla="*/ 9850331 w 10505529"/>
              <a:gd name="connsiteY15967" fmla="*/ 4806029 h 7458372"/>
              <a:gd name="connsiteX15968" fmla="*/ 9852595 w 10505529"/>
              <a:gd name="connsiteY15968" fmla="*/ 4817477 h 7458372"/>
              <a:gd name="connsiteX15969" fmla="*/ 9850331 w 10505529"/>
              <a:gd name="connsiteY15969" fmla="*/ 4829192 h 7458372"/>
              <a:gd name="connsiteX15970" fmla="*/ 9844208 w 10505529"/>
              <a:gd name="connsiteY15970" fmla="*/ 4838511 h 7458372"/>
              <a:gd name="connsiteX15971" fmla="*/ 9834890 w 10505529"/>
              <a:gd name="connsiteY15971" fmla="*/ 4844767 h 7458372"/>
              <a:gd name="connsiteX15972" fmla="*/ 9823176 w 10505529"/>
              <a:gd name="connsiteY15972" fmla="*/ 4847030 h 7458372"/>
              <a:gd name="connsiteX15973" fmla="*/ 9801343 w 10505529"/>
              <a:gd name="connsiteY15973" fmla="*/ 4838511 h 7458372"/>
              <a:gd name="connsiteX15974" fmla="*/ 9792957 w 10505529"/>
              <a:gd name="connsiteY15974" fmla="*/ 4817344 h 7458372"/>
              <a:gd name="connsiteX15975" fmla="*/ 9801343 w 10505529"/>
              <a:gd name="connsiteY15975" fmla="*/ 4796312 h 7458372"/>
              <a:gd name="connsiteX15976" fmla="*/ 9823176 w 10505529"/>
              <a:gd name="connsiteY15976" fmla="*/ 4787659 h 7458372"/>
              <a:gd name="connsiteX15977" fmla="*/ 9605531 w 10505529"/>
              <a:gd name="connsiteY15977" fmla="*/ 4787659 h 7458372"/>
              <a:gd name="connsiteX15978" fmla="*/ 9617245 w 10505529"/>
              <a:gd name="connsiteY15978" fmla="*/ 4790321 h 7458372"/>
              <a:gd name="connsiteX15979" fmla="*/ 9626562 w 10505529"/>
              <a:gd name="connsiteY15979" fmla="*/ 4796711 h 7458372"/>
              <a:gd name="connsiteX15980" fmla="*/ 9632686 w 10505529"/>
              <a:gd name="connsiteY15980" fmla="*/ 4806029 h 7458372"/>
              <a:gd name="connsiteX15981" fmla="*/ 9634949 w 10505529"/>
              <a:gd name="connsiteY15981" fmla="*/ 4817477 h 7458372"/>
              <a:gd name="connsiteX15982" fmla="*/ 9632686 w 10505529"/>
              <a:gd name="connsiteY15982" fmla="*/ 4829192 h 7458372"/>
              <a:gd name="connsiteX15983" fmla="*/ 9626562 w 10505529"/>
              <a:gd name="connsiteY15983" fmla="*/ 4838511 h 7458372"/>
              <a:gd name="connsiteX15984" fmla="*/ 9617245 w 10505529"/>
              <a:gd name="connsiteY15984" fmla="*/ 4844767 h 7458372"/>
              <a:gd name="connsiteX15985" fmla="*/ 9605531 w 10505529"/>
              <a:gd name="connsiteY15985" fmla="*/ 4847030 h 7458372"/>
              <a:gd name="connsiteX15986" fmla="*/ 9583698 w 10505529"/>
              <a:gd name="connsiteY15986" fmla="*/ 4838511 h 7458372"/>
              <a:gd name="connsiteX15987" fmla="*/ 9575312 w 10505529"/>
              <a:gd name="connsiteY15987" fmla="*/ 4817344 h 7458372"/>
              <a:gd name="connsiteX15988" fmla="*/ 9583698 w 10505529"/>
              <a:gd name="connsiteY15988" fmla="*/ 4796312 h 7458372"/>
              <a:gd name="connsiteX15989" fmla="*/ 9605531 w 10505529"/>
              <a:gd name="connsiteY15989" fmla="*/ 4787659 h 7458372"/>
              <a:gd name="connsiteX15990" fmla="*/ 9387885 w 10505529"/>
              <a:gd name="connsiteY15990" fmla="*/ 4787659 h 7458372"/>
              <a:gd name="connsiteX15991" fmla="*/ 9399599 w 10505529"/>
              <a:gd name="connsiteY15991" fmla="*/ 4790321 h 7458372"/>
              <a:gd name="connsiteX15992" fmla="*/ 9408917 w 10505529"/>
              <a:gd name="connsiteY15992" fmla="*/ 4796711 h 7458372"/>
              <a:gd name="connsiteX15993" fmla="*/ 9415041 w 10505529"/>
              <a:gd name="connsiteY15993" fmla="*/ 4806029 h 7458372"/>
              <a:gd name="connsiteX15994" fmla="*/ 9417304 w 10505529"/>
              <a:gd name="connsiteY15994" fmla="*/ 4817477 h 7458372"/>
              <a:gd name="connsiteX15995" fmla="*/ 9415041 w 10505529"/>
              <a:gd name="connsiteY15995" fmla="*/ 4829192 h 7458372"/>
              <a:gd name="connsiteX15996" fmla="*/ 9408917 w 10505529"/>
              <a:gd name="connsiteY15996" fmla="*/ 4838511 h 7458372"/>
              <a:gd name="connsiteX15997" fmla="*/ 9399599 w 10505529"/>
              <a:gd name="connsiteY15997" fmla="*/ 4844767 h 7458372"/>
              <a:gd name="connsiteX15998" fmla="*/ 9387885 w 10505529"/>
              <a:gd name="connsiteY15998" fmla="*/ 4847030 h 7458372"/>
              <a:gd name="connsiteX15999" fmla="*/ 9366053 w 10505529"/>
              <a:gd name="connsiteY15999" fmla="*/ 4838511 h 7458372"/>
              <a:gd name="connsiteX16000" fmla="*/ 9357667 w 10505529"/>
              <a:gd name="connsiteY16000" fmla="*/ 4817344 h 7458372"/>
              <a:gd name="connsiteX16001" fmla="*/ 9366053 w 10505529"/>
              <a:gd name="connsiteY16001" fmla="*/ 4796312 h 7458372"/>
              <a:gd name="connsiteX16002" fmla="*/ 9387885 w 10505529"/>
              <a:gd name="connsiteY16002" fmla="*/ 4787659 h 7458372"/>
              <a:gd name="connsiteX16003" fmla="*/ 9170374 w 10505529"/>
              <a:gd name="connsiteY16003" fmla="*/ 4787659 h 7458372"/>
              <a:gd name="connsiteX16004" fmla="*/ 9182088 w 10505529"/>
              <a:gd name="connsiteY16004" fmla="*/ 4790321 h 7458372"/>
              <a:gd name="connsiteX16005" fmla="*/ 9191405 w 10505529"/>
              <a:gd name="connsiteY16005" fmla="*/ 4796711 h 7458372"/>
              <a:gd name="connsiteX16006" fmla="*/ 9197529 w 10505529"/>
              <a:gd name="connsiteY16006" fmla="*/ 4806029 h 7458372"/>
              <a:gd name="connsiteX16007" fmla="*/ 9199792 w 10505529"/>
              <a:gd name="connsiteY16007" fmla="*/ 4817477 h 7458372"/>
              <a:gd name="connsiteX16008" fmla="*/ 9197529 w 10505529"/>
              <a:gd name="connsiteY16008" fmla="*/ 4829192 h 7458372"/>
              <a:gd name="connsiteX16009" fmla="*/ 9191405 w 10505529"/>
              <a:gd name="connsiteY16009" fmla="*/ 4838511 h 7458372"/>
              <a:gd name="connsiteX16010" fmla="*/ 9182088 w 10505529"/>
              <a:gd name="connsiteY16010" fmla="*/ 4844767 h 7458372"/>
              <a:gd name="connsiteX16011" fmla="*/ 9170374 w 10505529"/>
              <a:gd name="connsiteY16011" fmla="*/ 4847030 h 7458372"/>
              <a:gd name="connsiteX16012" fmla="*/ 9148541 w 10505529"/>
              <a:gd name="connsiteY16012" fmla="*/ 4838511 h 7458372"/>
              <a:gd name="connsiteX16013" fmla="*/ 9140155 w 10505529"/>
              <a:gd name="connsiteY16013" fmla="*/ 4817344 h 7458372"/>
              <a:gd name="connsiteX16014" fmla="*/ 9148541 w 10505529"/>
              <a:gd name="connsiteY16014" fmla="*/ 4796312 h 7458372"/>
              <a:gd name="connsiteX16015" fmla="*/ 9170374 w 10505529"/>
              <a:gd name="connsiteY16015" fmla="*/ 4787659 h 7458372"/>
              <a:gd name="connsiteX16016" fmla="*/ 8952728 w 10505529"/>
              <a:gd name="connsiteY16016" fmla="*/ 4787659 h 7458372"/>
              <a:gd name="connsiteX16017" fmla="*/ 8964442 w 10505529"/>
              <a:gd name="connsiteY16017" fmla="*/ 4790321 h 7458372"/>
              <a:gd name="connsiteX16018" fmla="*/ 8973760 w 10505529"/>
              <a:gd name="connsiteY16018" fmla="*/ 4796711 h 7458372"/>
              <a:gd name="connsiteX16019" fmla="*/ 8979884 w 10505529"/>
              <a:gd name="connsiteY16019" fmla="*/ 4806029 h 7458372"/>
              <a:gd name="connsiteX16020" fmla="*/ 8982147 w 10505529"/>
              <a:gd name="connsiteY16020" fmla="*/ 4817477 h 7458372"/>
              <a:gd name="connsiteX16021" fmla="*/ 8979884 w 10505529"/>
              <a:gd name="connsiteY16021" fmla="*/ 4829192 h 7458372"/>
              <a:gd name="connsiteX16022" fmla="*/ 8973760 w 10505529"/>
              <a:gd name="connsiteY16022" fmla="*/ 4838511 h 7458372"/>
              <a:gd name="connsiteX16023" fmla="*/ 8964442 w 10505529"/>
              <a:gd name="connsiteY16023" fmla="*/ 4844767 h 7458372"/>
              <a:gd name="connsiteX16024" fmla="*/ 8952728 w 10505529"/>
              <a:gd name="connsiteY16024" fmla="*/ 4847030 h 7458372"/>
              <a:gd name="connsiteX16025" fmla="*/ 8930896 w 10505529"/>
              <a:gd name="connsiteY16025" fmla="*/ 4838511 h 7458372"/>
              <a:gd name="connsiteX16026" fmla="*/ 8922510 w 10505529"/>
              <a:gd name="connsiteY16026" fmla="*/ 4817344 h 7458372"/>
              <a:gd name="connsiteX16027" fmla="*/ 8930896 w 10505529"/>
              <a:gd name="connsiteY16027" fmla="*/ 4796312 h 7458372"/>
              <a:gd name="connsiteX16028" fmla="*/ 8952728 w 10505529"/>
              <a:gd name="connsiteY16028" fmla="*/ 4787659 h 7458372"/>
              <a:gd name="connsiteX16029" fmla="*/ 8735083 w 10505529"/>
              <a:gd name="connsiteY16029" fmla="*/ 4787659 h 7458372"/>
              <a:gd name="connsiteX16030" fmla="*/ 8746797 w 10505529"/>
              <a:gd name="connsiteY16030" fmla="*/ 4790321 h 7458372"/>
              <a:gd name="connsiteX16031" fmla="*/ 8756115 w 10505529"/>
              <a:gd name="connsiteY16031" fmla="*/ 4796711 h 7458372"/>
              <a:gd name="connsiteX16032" fmla="*/ 8762238 w 10505529"/>
              <a:gd name="connsiteY16032" fmla="*/ 4806029 h 7458372"/>
              <a:gd name="connsiteX16033" fmla="*/ 8764502 w 10505529"/>
              <a:gd name="connsiteY16033" fmla="*/ 4817477 h 7458372"/>
              <a:gd name="connsiteX16034" fmla="*/ 8762238 w 10505529"/>
              <a:gd name="connsiteY16034" fmla="*/ 4829192 h 7458372"/>
              <a:gd name="connsiteX16035" fmla="*/ 8756115 w 10505529"/>
              <a:gd name="connsiteY16035" fmla="*/ 4838511 h 7458372"/>
              <a:gd name="connsiteX16036" fmla="*/ 8746797 w 10505529"/>
              <a:gd name="connsiteY16036" fmla="*/ 4844767 h 7458372"/>
              <a:gd name="connsiteX16037" fmla="*/ 8735083 w 10505529"/>
              <a:gd name="connsiteY16037" fmla="*/ 4847030 h 7458372"/>
              <a:gd name="connsiteX16038" fmla="*/ 8713250 w 10505529"/>
              <a:gd name="connsiteY16038" fmla="*/ 4838511 h 7458372"/>
              <a:gd name="connsiteX16039" fmla="*/ 8704864 w 10505529"/>
              <a:gd name="connsiteY16039" fmla="*/ 4817344 h 7458372"/>
              <a:gd name="connsiteX16040" fmla="*/ 8713250 w 10505529"/>
              <a:gd name="connsiteY16040" fmla="*/ 4796312 h 7458372"/>
              <a:gd name="connsiteX16041" fmla="*/ 8735083 w 10505529"/>
              <a:gd name="connsiteY16041" fmla="*/ 4787659 h 7458372"/>
              <a:gd name="connsiteX16042" fmla="*/ 8517438 w 10505529"/>
              <a:gd name="connsiteY16042" fmla="*/ 4787659 h 7458372"/>
              <a:gd name="connsiteX16043" fmla="*/ 8529152 w 10505529"/>
              <a:gd name="connsiteY16043" fmla="*/ 4790321 h 7458372"/>
              <a:gd name="connsiteX16044" fmla="*/ 8538470 w 10505529"/>
              <a:gd name="connsiteY16044" fmla="*/ 4796711 h 7458372"/>
              <a:gd name="connsiteX16045" fmla="*/ 8544594 w 10505529"/>
              <a:gd name="connsiteY16045" fmla="*/ 4806029 h 7458372"/>
              <a:gd name="connsiteX16046" fmla="*/ 8546857 w 10505529"/>
              <a:gd name="connsiteY16046" fmla="*/ 4817477 h 7458372"/>
              <a:gd name="connsiteX16047" fmla="*/ 8544594 w 10505529"/>
              <a:gd name="connsiteY16047" fmla="*/ 4829192 h 7458372"/>
              <a:gd name="connsiteX16048" fmla="*/ 8538470 w 10505529"/>
              <a:gd name="connsiteY16048" fmla="*/ 4838511 h 7458372"/>
              <a:gd name="connsiteX16049" fmla="*/ 8529152 w 10505529"/>
              <a:gd name="connsiteY16049" fmla="*/ 4844767 h 7458372"/>
              <a:gd name="connsiteX16050" fmla="*/ 8517438 w 10505529"/>
              <a:gd name="connsiteY16050" fmla="*/ 4847030 h 7458372"/>
              <a:gd name="connsiteX16051" fmla="*/ 8495606 w 10505529"/>
              <a:gd name="connsiteY16051" fmla="*/ 4838511 h 7458372"/>
              <a:gd name="connsiteX16052" fmla="*/ 8487220 w 10505529"/>
              <a:gd name="connsiteY16052" fmla="*/ 4817344 h 7458372"/>
              <a:gd name="connsiteX16053" fmla="*/ 8495606 w 10505529"/>
              <a:gd name="connsiteY16053" fmla="*/ 4796312 h 7458372"/>
              <a:gd name="connsiteX16054" fmla="*/ 8517438 w 10505529"/>
              <a:gd name="connsiteY16054" fmla="*/ 4787659 h 7458372"/>
              <a:gd name="connsiteX16055" fmla="*/ 8299793 w 10505529"/>
              <a:gd name="connsiteY16055" fmla="*/ 4787659 h 7458372"/>
              <a:gd name="connsiteX16056" fmla="*/ 8311507 w 10505529"/>
              <a:gd name="connsiteY16056" fmla="*/ 4790321 h 7458372"/>
              <a:gd name="connsiteX16057" fmla="*/ 8320825 w 10505529"/>
              <a:gd name="connsiteY16057" fmla="*/ 4796711 h 7458372"/>
              <a:gd name="connsiteX16058" fmla="*/ 8326948 w 10505529"/>
              <a:gd name="connsiteY16058" fmla="*/ 4806029 h 7458372"/>
              <a:gd name="connsiteX16059" fmla="*/ 8329212 w 10505529"/>
              <a:gd name="connsiteY16059" fmla="*/ 4817477 h 7458372"/>
              <a:gd name="connsiteX16060" fmla="*/ 8326948 w 10505529"/>
              <a:gd name="connsiteY16060" fmla="*/ 4829192 h 7458372"/>
              <a:gd name="connsiteX16061" fmla="*/ 8320825 w 10505529"/>
              <a:gd name="connsiteY16061" fmla="*/ 4838511 h 7458372"/>
              <a:gd name="connsiteX16062" fmla="*/ 8311507 w 10505529"/>
              <a:gd name="connsiteY16062" fmla="*/ 4844767 h 7458372"/>
              <a:gd name="connsiteX16063" fmla="*/ 8299793 w 10505529"/>
              <a:gd name="connsiteY16063" fmla="*/ 4847030 h 7458372"/>
              <a:gd name="connsiteX16064" fmla="*/ 8277960 w 10505529"/>
              <a:gd name="connsiteY16064" fmla="*/ 4838511 h 7458372"/>
              <a:gd name="connsiteX16065" fmla="*/ 8269574 w 10505529"/>
              <a:gd name="connsiteY16065" fmla="*/ 4817344 h 7458372"/>
              <a:gd name="connsiteX16066" fmla="*/ 8277960 w 10505529"/>
              <a:gd name="connsiteY16066" fmla="*/ 4796312 h 7458372"/>
              <a:gd name="connsiteX16067" fmla="*/ 8299793 w 10505529"/>
              <a:gd name="connsiteY16067" fmla="*/ 4787659 h 7458372"/>
              <a:gd name="connsiteX16068" fmla="*/ 8082281 w 10505529"/>
              <a:gd name="connsiteY16068" fmla="*/ 4787659 h 7458372"/>
              <a:gd name="connsiteX16069" fmla="*/ 8094127 w 10505529"/>
              <a:gd name="connsiteY16069" fmla="*/ 4790321 h 7458372"/>
              <a:gd name="connsiteX16070" fmla="*/ 8103446 w 10505529"/>
              <a:gd name="connsiteY16070" fmla="*/ 4796711 h 7458372"/>
              <a:gd name="connsiteX16071" fmla="*/ 8109569 w 10505529"/>
              <a:gd name="connsiteY16071" fmla="*/ 4806029 h 7458372"/>
              <a:gd name="connsiteX16072" fmla="*/ 8111832 w 10505529"/>
              <a:gd name="connsiteY16072" fmla="*/ 4817477 h 7458372"/>
              <a:gd name="connsiteX16073" fmla="*/ 8109569 w 10505529"/>
              <a:gd name="connsiteY16073" fmla="*/ 4829192 h 7458372"/>
              <a:gd name="connsiteX16074" fmla="*/ 8103446 w 10505529"/>
              <a:gd name="connsiteY16074" fmla="*/ 4838511 h 7458372"/>
              <a:gd name="connsiteX16075" fmla="*/ 8094127 w 10505529"/>
              <a:gd name="connsiteY16075" fmla="*/ 4844767 h 7458372"/>
              <a:gd name="connsiteX16076" fmla="*/ 8082281 w 10505529"/>
              <a:gd name="connsiteY16076" fmla="*/ 4847030 h 7458372"/>
              <a:gd name="connsiteX16077" fmla="*/ 8060448 w 10505529"/>
              <a:gd name="connsiteY16077" fmla="*/ 4838511 h 7458372"/>
              <a:gd name="connsiteX16078" fmla="*/ 8052062 w 10505529"/>
              <a:gd name="connsiteY16078" fmla="*/ 4817344 h 7458372"/>
              <a:gd name="connsiteX16079" fmla="*/ 8060448 w 10505529"/>
              <a:gd name="connsiteY16079" fmla="*/ 4796312 h 7458372"/>
              <a:gd name="connsiteX16080" fmla="*/ 8082281 w 10505529"/>
              <a:gd name="connsiteY16080" fmla="*/ 4787659 h 7458372"/>
              <a:gd name="connsiteX16081" fmla="*/ 7864636 w 10505529"/>
              <a:gd name="connsiteY16081" fmla="*/ 4787659 h 7458372"/>
              <a:gd name="connsiteX16082" fmla="*/ 7876483 w 10505529"/>
              <a:gd name="connsiteY16082" fmla="*/ 4790321 h 7458372"/>
              <a:gd name="connsiteX16083" fmla="*/ 7885802 w 10505529"/>
              <a:gd name="connsiteY16083" fmla="*/ 4796711 h 7458372"/>
              <a:gd name="connsiteX16084" fmla="*/ 7891924 w 10505529"/>
              <a:gd name="connsiteY16084" fmla="*/ 4806029 h 7458372"/>
              <a:gd name="connsiteX16085" fmla="*/ 7894188 w 10505529"/>
              <a:gd name="connsiteY16085" fmla="*/ 4817477 h 7458372"/>
              <a:gd name="connsiteX16086" fmla="*/ 7891924 w 10505529"/>
              <a:gd name="connsiteY16086" fmla="*/ 4829192 h 7458372"/>
              <a:gd name="connsiteX16087" fmla="*/ 7885802 w 10505529"/>
              <a:gd name="connsiteY16087" fmla="*/ 4838511 h 7458372"/>
              <a:gd name="connsiteX16088" fmla="*/ 7876483 w 10505529"/>
              <a:gd name="connsiteY16088" fmla="*/ 4844767 h 7458372"/>
              <a:gd name="connsiteX16089" fmla="*/ 7864636 w 10505529"/>
              <a:gd name="connsiteY16089" fmla="*/ 4847030 h 7458372"/>
              <a:gd name="connsiteX16090" fmla="*/ 7842803 w 10505529"/>
              <a:gd name="connsiteY16090" fmla="*/ 4838511 h 7458372"/>
              <a:gd name="connsiteX16091" fmla="*/ 7834417 w 10505529"/>
              <a:gd name="connsiteY16091" fmla="*/ 4817344 h 7458372"/>
              <a:gd name="connsiteX16092" fmla="*/ 7842803 w 10505529"/>
              <a:gd name="connsiteY16092" fmla="*/ 4796312 h 7458372"/>
              <a:gd name="connsiteX16093" fmla="*/ 7864636 w 10505529"/>
              <a:gd name="connsiteY16093" fmla="*/ 4787659 h 7458372"/>
              <a:gd name="connsiteX16094" fmla="*/ 7646991 w 10505529"/>
              <a:gd name="connsiteY16094" fmla="*/ 4787659 h 7458372"/>
              <a:gd name="connsiteX16095" fmla="*/ 7658705 w 10505529"/>
              <a:gd name="connsiteY16095" fmla="*/ 4790321 h 7458372"/>
              <a:gd name="connsiteX16096" fmla="*/ 7668022 w 10505529"/>
              <a:gd name="connsiteY16096" fmla="*/ 4796711 h 7458372"/>
              <a:gd name="connsiteX16097" fmla="*/ 7674146 w 10505529"/>
              <a:gd name="connsiteY16097" fmla="*/ 4806029 h 7458372"/>
              <a:gd name="connsiteX16098" fmla="*/ 7676409 w 10505529"/>
              <a:gd name="connsiteY16098" fmla="*/ 4817477 h 7458372"/>
              <a:gd name="connsiteX16099" fmla="*/ 7674146 w 10505529"/>
              <a:gd name="connsiteY16099" fmla="*/ 4829192 h 7458372"/>
              <a:gd name="connsiteX16100" fmla="*/ 7668022 w 10505529"/>
              <a:gd name="connsiteY16100" fmla="*/ 4838511 h 7458372"/>
              <a:gd name="connsiteX16101" fmla="*/ 7658705 w 10505529"/>
              <a:gd name="connsiteY16101" fmla="*/ 4844767 h 7458372"/>
              <a:gd name="connsiteX16102" fmla="*/ 7646991 w 10505529"/>
              <a:gd name="connsiteY16102" fmla="*/ 4847030 h 7458372"/>
              <a:gd name="connsiteX16103" fmla="*/ 7625158 w 10505529"/>
              <a:gd name="connsiteY16103" fmla="*/ 4838511 h 7458372"/>
              <a:gd name="connsiteX16104" fmla="*/ 7616772 w 10505529"/>
              <a:gd name="connsiteY16104" fmla="*/ 4817344 h 7458372"/>
              <a:gd name="connsiteX16105" fmla="*/ 7625158 w 10505529"/>
              <a:gd name="connsiteY16105" fmla="*/ 4796312 h 7458372"/>
              <a:gd name="connsiteX16106" fmla="*/ 7646991 w 10505529"/>
              <a:gd name="connsiteY16106" fmla="*/ 4787659 h 7458372"/>
              <a:gd name="connsiteX16107" fmla="*/ 7429345 w 10505529"/>
              <a:gd name="connsiteY16107" fmla="*/ 4787659 h 7458372"/>
              <a:gd name="connsiteX16108" fmla="*/ 7441059 w 10505529"/>
              <a:gd name="connsiteY16108" fmla="*/ 4790321 h 7458372"/>
              <a:gd name="connsiteX16109" fmla="*/ 7450377 w 10505529"/>
              <a:gd name="connsiteY16109" fmla="*/ 4796711 h 7458372"/>
              <a:gd name="connsiteX16110" fmla="*/ 7456501 w 10505529"/>
              <a:gd name="connsiteY16110" fmla="*/ 4806029 h 7458372"/>
              <a:gd name="connsiteX16111" fmla="*/ 7458764 w 10505529"/>
              <a:gd name="connsiteY16111" fmla="*/ 4817477 h 7458372"/>
              <a:gd name="connsiteX16112" fmla="*/ 7456501 w 10505529"/>
              <a:gd name="connsiteY16112" fmla="*/ 4829192 h 7458372"/>
              <a:gd name="connsiteX16113" fmla="*/ 7450377 w 10505529"/>
              <a:gd name="connsiteY16113" fmla="*/ 4838511 h 7458372"/>
              <a:gd name="connsiteX16114" fmla="*/ 7441059 w 10505529"/>
              <a:gd name="connsiteY16114" fmla="*/ 4844767 h 7458372"/>
              <a:gd name="connsiteX16115" fmla="*/ 7429345 w 10505529"/>
              <a:gd name="connsiteY16115" fmla="*/ 4847030 h 7458372"/>
              <a:gd name="connsiteX16116" fmla="*/ 7407513 w 10505529"/>
              <a:gd name="connsiteY16116" fmla="*/ 4838511 h 7458372"/>
              <a:gd name="connsiteX16117" fmla="*/ 7399127 w 10505529"/>
              <a:gd name="connsiteY16117" fmla="*/ 4817344 h 7458372"/>
              <a:gd name="connsiteX16118" fmla="*/ 7407513 w 10505529"/>
              <a:gd name="connsiteY16118" fmla="*/ 4796312 h 7458372"/>
              <a:gd name="connsiteX16119" fmla="*/ 7429345 w 10505529"/>
              <a:gd name="connsiteY16119" fmla="*/ 4787659 h 7458372"/>
              <a:gd name="connsiteX16120" fmla="*/ 7211701 w 10505529"/>
              <a:gd name="connsiteY16120" fmla="*/ 4787659 h 7458372"/>
              <a:gd name="connsiteX16121" fmla="*/ 7223415 w 10505529"/>
              <a:gd name="connsiteY16121" fmla="*/ 4790321 h 7458372"/>
              <a:gd name="connsiteX16122" fmla="*/ 7232733 w 10505529"/>
              <a:gd name="connsiteY16122" fmla="*/ 4796711 h 7458372"/>
              <a:gd name="connsiteX16123" fmla="*/ 7238856 w 10505529"/>
              <a:gd name="connsiteY16123" fmla="*/ 4806029 h 7458372"/>
              <a:gd name="connsiteX16124" fmla="*/ 7241120 w 10505529"/>
              <a:gd name="connsiteY16124" fmla="*/ 4817477 h 7458372"/>
              <a:gd name="connsiteX16125" fmla="*/ 7238856 w 10505529"/>
              <a:gd name="connsiteY16125" fmla="*/ 4829192 h 7458372"/>
              <a:gd name="connsiteX16126" fmla="*/ 7232733 w 10505529"/>
              <a:gd name="connsiteY16126" fmla="*/ 4838511 h 7458372"/>
              <a:gd name="connsiteX16127" fmla="*/ 7223415 w 10505529"/>
              <a:gd name="connsiteY16127" fmla="*/ 4844767 h 7458372"/>
              <a:gd name="connsiteX16128" fmla="*/ 7211701 w 10505529"/>
              <a:gd name="connsiteY16128" fmla="*/ 4847030 h 7458372"/>
              <a:gd name="connsiteX16129" fmla="*/ 7189868 w 10505529"/>
              <a:gd name="connsiteY16129" fmla="*/ 4838511 h 7458372"/>
              <a:gd name="connsiteX16130" fmla="*/ 7181482 w 10505529"/>
              <a:gd name="connsiteY16130" fmla="*/ 4817344 h 7458372"/>
              <a:gd name="connsiteX16131" fmla="*/ 7189868 w 10505529"/>
              <a:gd name="connsiteY16131" fmla="*/ 4796312 h 7458372"/>
              <a:gd name="connsiteX16132" fmla="*/ 7211701 w 10505529"/>
              <a:gd name="connsiteY16132" fmla="*/ 4787659 h 7458372"/>
              <a:gd name="connsiteX16133" fmla="*/ 6994056 w 10505529"/>
              <a:gd name="connsiteY16133" fmla="*/ 4787659 h 7458372"/>
              <a:gd name="connsiteX16134" fmla="*/ 7005769 w 10505529"/>
              <a:gd name="connsiteY16134" fmla="*/ 4790321 h 7458372"/>
              <a:gd name="connsiteX16135" fmla="*/ 7015087 w 10505529"/>
              <a:gd name="connsiteY16135" fmla="*/ 4796711 h 7458372"/>
              <a:gd name="connsiteX16136" fmla="*/ 7021211 w 10505529"/>
              <a:gd name="connsiteY16136" fmla="*/ 4806029 h 7458372"/>
              <a:gd name="connsiteX16137" fmla="*/ 7023474 w 10505529"/>
              <a:gd name="connsiteY16137" fmla="*/ 4817477 h 7458372"/>
              <a:gd name="connsiteX16138" fmla="*/ 7021211 w 10505529"/>
              <a:gd name="connsiteY16138" fmla="*/ 4829192 h 7458372"/>
              <a:gd name="connsiteX16139" fmla="*/ 7015087 w 10505529"/>
              <a:gd name="connsiteY16139" fmla="*/ 4838511 h 7458372"/>
              <a:gd name="connsiteX16140" fmla="*/ 7005769 w 10505529"/>
              <a:gd name="connsiteY16140" fmla="*/ 4844767 h 7458372"/>
              <a:gd name="connsiteX16141" fmla="*/ 6994056 w 10505529"/>
              <a:gd name="connsiteY16141" fmla="*/ 4847030 h 7458372"/>
              <a:gd name="connsiteX16142" fmla="*/ 6972223 w 10505529"/>
              <a:gd name="connsiteY16142" fmla="*/ 4838511 h 7458372"/>
              <a:gd name="connsiteX16143" fmla="*/ 6963837 w 10505529"/>
              <a:gd name="connsiteY16143" fmla="*/ 4817344 h 7458372"/>
              <a:gd name="connsiteX16144" fmla="*/ 6972223 w 10505529"/>
              <a:gd name="connsiteY16144" fmla="*/ 4796312 h 7458372"/>
              <a:gd name="connsiteX16145" fmla="*/ 6994056 w 10505529"/>
              <a:gd name="connsiteY16145" fmla="*/ 4787659 h 7458372"/>
              <a:gd name="connsiteX16146" fmla="*/ 6776544 w 10505529"/>
              <a:gd name="connsiteY16146" fmla="*/ 4787659 h 7458372"/>
              <a:gd name="connsiteX16147" fmla="*/ 6788258 w 10505529"/>
              <a:gd name="connsiteY16147" fmla="*/ 4790321 h 7458372"/>
              <a:gd name="connsiteX16148" fmla="*/ 6797576 w 10505529"/>
              <a:gd name="connsiteY16148" fmla="*/ 4796711 h 7458372"/>
              <a:gd name="connsiteX16149" fmla="*/ 6803699 w 10505529"/>
              <a:gd name="connsiteY16149" fmla="*/ 4806029 h 7458372"/>
              <a:gd name="connsiteX16150" fmla="*/ 6805963 w 10505529"/>
              <a:gd name="connsiteY16150" fmla="*/ 4817477 h 7458372"/>
              <a:gd name="connsiteX16151" fmla="*/ 6803699 w 10505529"/>
              <a:gd name="connsiteY16151" fmla="*/ 4829192 h 7458372"/>
              <a:gd name="connsiteX16152" fmla="*/ 6797576 w 10505529"/>
              <a:gd name="connsiteY16152" fmla="*/ 4838511 h 7458372"/>
              <a:gd name="connsiteX16153" fmla="*/ 6788258 w 10505529"/>
              <a:gd name="connsiteY16153" fmla="*/ 4844767 h 7458372"/>
              <a:gd name="connsiteX16154" fmla="*/ 6776544 w 10505529"/>
              <a:gd name="connsiteY16154" fmla="*/ 4847030 h 7458372"/>
              <a:gd name="connsiteX16155" fmla="*/ 6754711 w 10505529"/>
              <a:gd name="connsiteY16155" fmla="*/ 4838511 h 7458372"/>
              <a:gd name="connsiteX16156" fmla="*/ 6746325 w 10505529"/>
              <a:gd name="connsiteY16156" fmla="*/ 4817344 h 7458372"/>
              <a:gd name="connsiteX16157" fmla="*/ 6754711 w 10505529"/>
              <a:gd name="connsiteY16157" fmla="*/ 4796312 h 7458372"/>
              <a:gd name="connsiteX16158" fmla="*/ 6776544 w 10505529"/>
              <a:gd name="connsiteY16158" fmla="*/ 4787659 h 7458372"/>
              <a:gd name="connsiteX16159" fmla="*/ 6558899 w 10505529"/>
              <a:gd name="connsiteY16159" fmla="*/ 4787659 h 7458372"/>
              <a:gd name="connsiteX16160" fmla="*/ 6570612 w 10505529"/>
              <a:gd name="connsiteY16160" fmla="*/ 4790321 h 7458372"/>
              <a:gd name="connsiteX16161" fmla="*/ 6579930 w 10505529"/>
              <a:gd name="connsiteY16161" fmla="*/ 4796711 h 7458372"/>
              <a:gd name="connsiteX16162" fmla="*/ 6586054 w 10505529"/>
              <a:gd name="connsiteY16162" fmla="*/ 4806029 h 7458372"/>
              <a:gd name="connsiteX16163" fmla="*/ 6588317 w 10505529"/>
              <a:gd name="connsiteY16163" fmla="*/ 4817477 h 7458372"/>
              <a:gd name="connsiteX16164" fmla="*/ 6586054 w 10505529"/>
              <a:gd name="connsiteY16164" fmla="*/ 4829192 h 7458372"/>
              <a:gd name="connsiteX16165" fmla="*/ 6579930 w 10505529"/>
              <a:gd name="connsiteY16165" fmla="*/ 4838511 h 7458372"/>
              <a:gd name="connsiteX16166" fmla="*/ 6570612 w 10505529"/>
              <a:gd name="connsiteY16166" fmla="*/ 4844767 h 7458372"/>
              <a:gd name="connsiteX16167" fmla="*/ 6558899 w 10505529"/>
              <a:gd name="connsiteY16167" fmla="*/ 4847030 h 7458372"/>
              <a:gd name="connsiteX16168" fmla="*/ 6537066 w 10505529"/>
              <a:gd name="connsiteY16168" fmla="*/ 4838511 h 7458372"/>
              <a:gd name="connsiteX16169" fmla="*/ 6528680 w 10505529"/>
              <a:gd name="connsiteY16169" fmla="*/ 4817344 h 7458372"/>
              <a:gd name="connsiteX16170" fmla="*/ 6537066 w 10505529"/>
              <a:gd name="connsiteY16170" fmla="*/ 4796312 h 7458372"/>
              <a:gd name="connsiteX16171" fmla="*/ 6558899 w 10505529"/>
              <a:gd name="connsiteY16171" fmla="*/ 4787659 h 7458372"/>
              <a:gd name="connsiteX16172" fmla="*/ 6341253 w 10505529"/>
              <a:gd name="connsiteY16172" fmla="*/ 4787659 h 7458372"/>
              <a:gd name="connsiteX16173" fmla="*/ 6352968 w 10505529"/>
              <a:gd name="connsiteY16173" fmla="*/ 4790321 h 7458372"/>
              <a:gd name="connsiteX16174" fmla="*/ 6362286 w 10505529"/>
              <a:gd name="connsiteY16174" fmla="*/ 4796711 h 7458372"/>
              <a:gd name="connsiteX16175" fmla="*/ 6368409 w 10505529"/>
              <a:gd name="connsiteY16175" fmla="*/ 4806029 h 7458372"/>
              <a:gd name="connsiteX16176" fmla="*/ 6370672 w 10505529"/>
              <a:gd name="connsiteY16176" fmla="*/ 4817477 h 7458372"/>
              <a:gd name="connsiteX16177" fmla="*/ 6368409 w 10505529"/>
              <a:gd name="connsiteY16177" fmla="*/ 4829192 h 7458372"/>
              <a:gd name="connsiteX16178" fmla="*/ 6362286 w 10505529"/>
              <a:gd name="connsiteY16178" fmla="*/ 4838511 h 7458372"/>
              <a:gd name="connsiteX16179" fmla="*/ 6352968 w 10505529"/>
              <a:gd name="connsiteY16179" fmla="*/ 4844767 h 7458372"/>
              <a:gd name="connsiteX16180" fmla="*/ 6341253 w 10505529"/>
              <a:gd name="connsiteY16180" fmla="*/ 4847030 h 7458372"/>
              <a:gd name="connsiteX16181" fmla="*/ 6319421 w 10505529"/>
              <a:gd name="connsiteY16181" fmla="*/ 4838511 h 7458372"/>
              <a:gd name="connsiteX16182" fmla="*/ 6311035 w 10505529"/>
              <a:gd name="connsiteY16182" fmla="*/ 4817344 h 7458372"/>
              <a:gd name="connsiteX16183" fmla="*/ 6319421 w 10505529"/>
              <a:gd name="connsiteY16183" fmla="*/ 4796312 h 7458372"/>
              <a:gd name="connsiteX16184" fmla="*/ 6341253 w 10505529"/>
              <a:gd name="connsiteY16184" fmla="*/ 4787659 h 7458372"/>
              <a:gd name="connsiteX16185" fmla="*/ 6123608 w 10505529"/>
              <a:gd name="connsiteY16185" fmla="*/ 4787659 h 7458372"/>
              <a:gd name="connsiteX16186" fmla="*/ 6135322 w 10505529"/>
              <a:gd name="connsiteY16186" fmla="*/ 4790321 h 7458372"/>
              <a:gd name="connsiteX16187" fmla="*/ 6144640 w 10505529"/>
              <a:gd name="connsiteY16187" fmla="*/ 4796711 h 7458372"/>
              <a:gd name="connsiteX16188" fmla="*/ 6150763 w 10505529"/>
              <a:gd name="connsiteY16188" fmla="*/ 4806029 h 7458372"/>
              <a:gd name="connsiteX16189" fmla="*/ 6153026 w 10505529"/>
              <a:gd name="connsiteY16189" fmla="*/ 4817477 h 7458372"/>
              <a:gd name="connsiteX16190" fmla="*/ 6150763 w 10505529"/>
              <a:gd name="connsiteY16190" fmla="*/ 4829192 h 7458372"/>
              <a:gd name="connsiteX16191" fmla="*/ 6144640 w 10505529"/>
              <a:gd name="connsiteY16191" fmla="*/ 4838511 h 7458372"/>
              <a:gd name="connsiteX16192" fmla="*/ 6135322 w 10505529"/>
              <a:gd name="connsiteY16192" fmla="*/ 4844767 h 7458372"/>
              <a:gd name="connsiteX16193" fmla="*/ 6123608 w 10505529"/>
              <a:gd name="connsiteY16193" fmla="*/ 4847030 h 7458372"/>
              <a:gd name="connsiteX16194" fmla="*/ 6101775 w 10505529"/>
              <a:gd name="connsiteY16194" fmla="*/ 4838511 h 7458372"/>
              <a:gd name="connsiteX16195" fmla="*/ 6093389 w 10505529"/>
              <a:gd name="connsiteY16195" fmla="*/ 4817344 h 7458372"/>
              <a:gd name="connsiteX16196" fmla="*/ 6101775 w 10505529"/>
              <a:gd name="connsiteY16196" fmla="*/ 4796312 h 7458372"/>
              <a:gd name="connsiteX16197" fmla="*/ 6123608 w 10505529"/>
              <a:gd name="connsiteY16197" fmla="*/ 4787659 h 7458372"/>
              <a:gd name="connsiteX16198" fmla="*/ 5905963 w 10505529"/>
              <a:gd name="connsiteY16198" fmla="*/ 4787659 h 7458372"/>
              <a:gd name="connsiteX16199" fmla="*/ 5917677 w 10505529"/>
              <a:gd name="connsiteY16199" fmla="*/ 4790321 h 7458372"/>
              <a:gd name="connsiteX16200" fmla="*/ 5926995 w 10505529"/>
              <a:gd name="connsiteY16200" fmla="*/ 4796711 h 7458372"/>
              <a:gd name="connsiteX16201" fmla="*/ 5933118 w 10505529"/>
              <a:gd name="connsiteY16201" fmla="*/ 4806029 h 7458372"/>
              <a:gd name="connsiteX16202" fmla="*/ 5935381 w 10505529"/>
              <a:gd name="connsiteY16202" fmla="*/ 4817477 h 7458372"/>
              <a:gd name="connsiteX16203" fmla="*/ 5933118 w 10505529"/>
              <a:gd name="connsiteY16203" fmla="*/ 4829192 h 7458372"/>
              <a:gd name="connsiteX16204" fmla="*/ 5926995 w 10505529"/>
              <a:gd name="connsiteY16204" fmla="*/ 4838511 h 7458372"/>
              <a:gd name="connsiteX16205" fmla="*/ 5917677 w 10505529"/>
              <a:gd name="connsiteY16205" fmla="*/ 4844767 h 7458372"/>
              <a:gd name="connsiteX16206" fmla="*/ 5905963 w 10505529"/>
              <a:gd name="connsiteY16206" fmla="*/ 4847030 h 7458372"/>
              <a:gd name="connsiteX16207" fmla="*/ 5884130 w 10505529"/>
              <a:gd name="connsiteY16207" fmla="*/ 4838511 h 7458372"/>
              <a:gd name="connsiteX16208" fmla="*/ 5875744 w 10505529"/>
              <a:gd name="connsiteY16208" fmla="*/ 4817344 h 7458372"/>
              <a:gd name="connsiteX16209" fmla="*/ 5884130 w 10505529"/>
              <a:gd name="connsiteY16209" fmla="*/ 4796312 h 7458372"/>
              <a:gd name="connsiteX16210" fmla="*/ 5905963 w 10505529"/>
              <a:gd name="connsiteY16210" fmla="*/ 4787659 h 7458372"/>
              <a:gd name="connsiteX16211" fmla="*/ 5688451 w 10505529"/>
              <a:gd name="connsiteY16211" fmla="*/ 4787659 h 7458372"/>
              <a:gd name="connsiteX16212" fmla="*/ 5700165 w 10505529"/>
              <a:gd name="connsiteY16212" fmla="*/ 4790321 h 7458372"/>
              <a:gd name="connsiteX16213" fmla="*/ 5709483 w 10505529"/>
              <a:gd name="connsiteY16213" fmla="*/ 4796711 h 7458372"/>
              <a:gd name="connsiteX16214" fmla="*/ 5715606 w 10505529"/>
              <a:gd name="connsiteY16214" fmla="*/ 4806029 h 7458372"/>
              <a:gd name="connsiteX16215" fmla="*/ 5717869 w 10505529"/>
              <a:gd name="connsiteY16215" fmla="*/ 4817477 h 7458372"/>
              <a:gd name="connsiteX16216" fmla="*/ 5715606 w 10505529"/>
              <a:gd name="connsiteY16216" fmla="*/ 4829192 h 7458372"/>
              <a:gd name="connsiteX16217" fmla="*/ 5709483 w 10505529"/>
              <a:gd name="connsiteY16217" fmla="*/ 4838511 h 7458372"/>
              <a:gd name="connsiteX16218" fmla="*/ 5700165 w 10505529"/>
              <a:gd name="connsiteY16218" fmla="*/ 4844767 h 7458372"/>
              <a:gd name="connsiteX16219" fmla="*/ 5688451 w 10505529"/>
              <a:gd name="connsiteY16219" fmla="*/ 4847030 h 7458372"/>
              <a:gd name="connsiteX16220" fmla="*/ 5666618 w 10505529"/>
              <a:gd name="connsiteY16220" fmla="*/ 4838511 h 7458372"/>
              <a:gd name="connsiteX16221" fmla="*/ 5658232 w 10505529"/>
              <a:gd name="connsiteY16221" fmla="*/ 4817344 h 7458372"/>
              <a:gd name="connsiteX16222" fmla="*/ 5666618 w 10505529"/>
              <a:gd name="connsiteY16222" fmla="*/ 4796312 h 7458372"/>
              <a:gd name="connsiteX16223" fmla="*/ 5688451 w 10505529"/>
              <a:gd name="connsiteY16223" fmla="*/ 4787659 h 7458372"/>
              <a:gd name="connsiteX16224" fmla="*/ 5470806 w 10505529"/>
              <a:gd name="connsiteY16224" fmla="*/ 4787659 h 7458372"/>
              <a:gd name="connsiteX16225" fmla="*/ 5482520 w 10505529"/>
              <a:gd name="connsiteY16225" fmla="*/ 4790321 h 7458372"/>
              <a:gd name="connsiteX16226" fmla="*/ 5491838 w 10505529"/>
              <a:gd name="connsiteY16226" fmla="*/ 4796711 h 7458372"/>
              <a:gd name="connsiteX16227" fmla="*/ 5497961 w 10505529"/>
              <a:gd name="connsiteY16227" fmla="*/ 4806029 h 7458372"/>
              <a:gd name="connsiteX16228" fmla="*/ 5500224 w 10505529"/>
              <a:gd name="connsiteY16228" fmla="*/ 4817477 h 7458372"/>
              <a:gd name="connsiteX16229" fmla="*/ 5497961 w 10505529"/>
              <a:gd name="connsiteY16229" fmla="*/ 4829192 h 7458372"/>
              <a:gd name="connsiteX16230" fmla="*/ 5491838 w 10505529"/>
              <a:gd name="connsiteY16230" fmla="*/ 4838511 h 7458372"/>
              <a:gd name="connsiteX16231" fmla="*/ 5482520 w 10505529"/>
              <a:gd name="connsiteY16231" fmla="*/ 4844767 h 7458372"/>
              <a:gd name="connsiteX16232" fmla="*/ 5470806 w 10505529"/>
              <a:gd name="connsiteY16232" fmla="*/ 4847030 h 7458372"/>
              <a:gd name="connsiteX16233" fmla="*/ 5448973 w 10505529"/>
              <a:gd name="connsiteY16233" fmla="*/ 4838511 h 7458372"/>
              <a:gd name="connsiteX16234" fmla="*/ 5440587 w 10505529"/>
              <a:gd name="connsiteY16234" fmla="*/ 4817344 h 7458372"/>
              <a:gd name="connsiteX16235" fmla="*/ 5448973 w 10505529"/>
              <a:gd name="connsiteY16235" fmla="*/ 4796312 h 7458372"/>
              <a:gd name="connsiteX16236" fmla="*/ 5470806 w 10505529"/>
              <a:gd name="connsiteY16236" fmla="*/ 4787659 h 7458372"/>
              <a:gd name="connsiteX16237" fmla="*/ 5253160 w 10505529"/>
              <a:gd name="connsiteY16237" fmla="*/ 4787659 h 7458372"/>
              <a:gd name="connsiteX16238" fmla="*/ 5264875 w 10505529"/>
              <a:gd name="connsiteY16238" fmla="*/ 4790321 h 7458372"/>
              <a:gd name="connsiteX16239" fmla="*/ 5274192 w 10505529"/>
              <a:gd name="connsiteY16239" fmla="*/ 4796711 h 7458372"/>
              <a:gd name="connsiteX16240" fmla="*/ 5280316 w 10505529"/>
              <a:gd name="connsiteY16240" fmla="*/ 4806029 h 7458372"/>
              <a:gd name="connsiteX16241" fmla="*/ 5282579 w 10505529"/>
              <a:gd name="connsiteY16241" fmla="*/ 4817477 h 7458372"/>
              <a:gd name="connsiteX16242" fmla="*/ 5280316 w 10505529"/>
              <a:gd name="connsiteY16242" fmla="*/ 4829192 h 7458372"/>
              <a:gd name="connsiteX16243" fmla="*/ 5274192 w 10505529"/>
              <a:gd name="connsiteY16243" fmla="*/ 4838511 h 7458372"/>
              <a:gd name="connsiteX16244" fmla="*/ 5264875 w 10505529"/>
              <a:gd name="connsiteY16244" fmla="*/ 4844767 h 7458372"/>
              <a:gd name="connsiteX16245" fmla="*/ 5253160 w 10505529"/>
              <a:gd name="connsiteY16245" fmla="*/ 4847030 h 7458372"/>
              <a:gd name="connsiteX16246" fmla="*/ 5231328 w 10505529"/>
              <a:gd name="connsiteY16246" fmla="*/ 4838511 h 7458372"/>
              <a:gd name="connsiteX16247" fmla="*/ 5222942 w 10505529"/>
              <a:gd name="connsiteY16247" fmla="*/ 4817344 h 7458372"/>
              <a:gd name="connsiteX16248" fmla="*/ 5231328 w 10505529"/>
              <a:gd name="connsiteY16248" fmla="*/ 4796312 h 7458372"/>
              <a:gd name="connsiteX16249" fmla="*/ 5253160 w 10505529"/>
              <a:gd name="connsiteY16249" fmla="*/ 4787659 h 7458372"/>
              <a:gd name="connsiteX16250" fmla="*/ 5035515 w 10505529"/>
              <a:gd name="connsiteY16250" fmla="*/ 4787659 h 7458372"/>
              <a:gd name="connsiteX16251" fmla="*/ 5047230 w 10505529"/>
              <a:gd name="connsiteY16251" fmla="*/ 4790321 h 7458372"/>
              <a:gd name="connsiteX16252" fmla="*/ 5056548 w 10505529"/>
              <a:gd name="connsiteY16252" fmla="*/ 4796711 h 7458372"/>
              <a:gd name="connsiteX16253" fmla="*/ 5062671 w 10505529"/>
              <a:gd name="connsiteY16253" fmla="*/ 4806029 h 7458372"/>
              <a:gd name="connsiteX16254" fmla="*/ 5064934 w 10505529"/>
              <a:gd name="connsiteY16254" fmla="*/ 4817477 h 7458372"/>
              <a:gd name="connsiteX16255" fmla="*/ 5062671 w 10505529"/>
              <a:gd name="connsiteY16255" fmla="*/ 4829192 h 7458372"/>
              <a:gd name="connsiteX16256" fmla="*/ 5056548 w 10505529"/>
              <a:gd name="connsiteY16256" fmla="*/ 4838511 h 7458372"/>
              <a:gd name="connsiteX16257" fmla="*/ 5047230 w 10505529"/>
              <a:gd name="connsiteY16257" fmla="*/ 4844767 h 7458372"/>
              <a:gd name="connsiteX16258" fmla="*/ 5035515 w 10505529"/>
              <a:gd name="connsiteY16258" fmla="*/ 4847030 h 7458372"/>
              <a:gd name="connsiteX16259" fmla="*/ 5013683 w 10505529"/>
              <a:gd name="connsiteY16259" fmla="*/ 4838511 h 7458372"/>
              <a:gd name="connsiteX16260" fmla="*/ 5005297 w 10505529"/>
              <a:gd name="connsiteY16260" fmla="*/ 4817344 h 7458372"/>
              <a:gd name="connsiteX16261" fmla="*/ 5013683 w 10505529"/>
              <a:gd name="connsiteY16261" fmla="*/ 4796312 h 7458372"/>
              <a:gd name="connsiteX16262" fmla="*/ 5035515 w 10505529"/>
              <a:gd name="connsiteY16262" fmla="*/ 4787659 h 7458372"/>
              <a:gd name="connsiteX16263" fmla="*/ 4817870 w 10505529"/>
              <a:gd name="connsiteY16263" fmla="*/ 4787659 h 7458372"/>
              <a:gd name="connsiteX16264" fmla="*/ 4829585 w 10505529"/>
              <a:gd name="connsiteY16264" fmla="*/ 4790321 h 7458372"/>
              <a:gd name="connsiteX16265" fmla="*/ 4838903 w 10505529"/>
              <a:gd name="connsiteY16265" fmla="*/ 4796711 h 7458372"/>
              <a:gd name="connsiteX16266" fmla="*/ 4845026 w 10505529"/>
              <a:gd name="connsiteY16266" fmla="*/ 4806029 h 7458372"/>
              <a:gd name="connsiteX16267" fmla="*/ 4847289 w 10505529"/>
              <a:gd name="connsiteY16267" fmla="*/ 4817477 h 7458372"/>
              <a:gd name="connsiteX16268" fmla="*/ 4845026 w 10505529"/>
              <a:gd name="connsiteY16268" fmla="*/ 4829192 h 7458372"/>
              <a:gd name="connsiteX16269" fmla="*/ 4838903 w 10505529"/>
              <a:gd name="connsiteY16269" fmla="*/ 4838511 h 7458372"/>
              <a:gd name="connsiteX16270" fmla="*/ 4829585 w 10505529"/>
              <a:gd name="connsiteY16270" fmla="*/ 4844767 h 7458372"/>
              <a:gd name="connsiteX16271" fmla="*/ 4817870 w 10505529"/>
              <a:gd name="connsiteY16271" fmla="*/ 4847030 h 7458372"/>
              <a:gd name="connsiteX16272" fmla="*/ 4796038 w 10505529"/>
              <a:gd name="connsiteY16272" fmla="*/ 4838511 h 7458372"/>
              <a:gd name="connsiteX16273" fmla="*/ 4787652 w 10505529"/>
              <a:gd name="connsiteY16273" fmla="*/ 4817344 h 7458372"/>
              <a:gd name="connsiteX16274" fmla="*/ 4796038 w 10505529"/>
              <a:gd name="connsiteY16274" fmla="*/ 4796312 h 7458372"/>
              <a:gd name="connsiteX16275" fmla="*/ 4817870 w 10505529"/>
              <a:gd name="connsiteY16275" fmla="*/ 4787659 h 7458372"/>
              <a:gd name="connsiteX16276" fmla="*/ 4600226 w 10505529"/>
              <a:gd name="connsiteY16276" fmla="*/ 4787659 h 7458372"/>
              <a:gd name="connsiteX16277" fmla="*/ 4612073 w 10505529"/>
              <a:gd name="connsiteY16277" fmla="*/ 4790321 h 7458372"/>
              <a:gd name="connsiteX16278" fmla="*/ 4621391 w 10505529"/>
              <a:gd name="connsiteY16278" fmla="*/ 4796711 h 7458372"/>
              <a:gd name="connsiteX16279" fmla="*/ 4627514 w 10505529"/>
              <a:gd name="connsiteY16279" fmla="*/ 4806029 h 7458372"/>
              <a:gd name="connsiteX16280" fmla="*/ 4629777 w 10505529"/>
              <a:gd name="connsiteY16280" fmla="*/ 4817477 h 7458372"/>
              <a:gd name="connsiteX16281" fmla="*/ 4627514 w 10505529"/>
              <a:gd name="connsiteY16281" fmla="*/ 4829192 h 7458372"/>
              <a:gd name="connsiteX16282" fmla="*/ 4621391 w 10505529"/>
              <a:gd name="connsiteY16282" fmla="*/ 4838511 h 7458372"/>
              <a:gd name="connsiteX16283" fmla="*/ 4612073 w 10505529"/>
              <a:gd name="connsiteY16283" fmla="*/ 4844767 h 7458372"/>
              <a:gd name="connsiteX16284" fmla="*/ 4600226 w 10505529"/>
              <a:gd name="connsiteY16284" fmla="*/ 4847030 h 7458372"/>
              <a:gd name="connsiteX16285" fmla="*/ 4578393 w 10505529"/>
              <a:gd name="connsiteY16285" fmla="*/ 4838511 h 7458372"/>
              <a:gd name="connsiteX16286" fmla="*/ 4570007 w 10505529"/>
              <a:gd name="connsiteY16286" fmla="*/ 4817344 h 7458372"/>
              <a:gd name="connsiteX16287" fmla="*/ 4578393 w 10505529"/>
              <a:gd name="connsiteY16287" fmla="*/ 4796312 h 7458372"/>
              <a:gd name="connsiteX16288" fmla="*/ 4600226 w 10505529"/>
              <a:gd name="connsiteY16288" fmla="*/ 4787659 h 7458372"/>
              <a:gd name="connsiteX16289" fmla="*/ 4382713 w 10505529"/>
              <a:gd name="connsiteY16289" fmla="*/ 4787659 h 7458372"/>
              <a:gd name="connsiteX16290" fmla="*/ 4394428 w 10505529"/>
              <a:gd name="connsiteY16290" fmla="*/ 4790321 h 7458372"/>
              <a:gd name="connsiteX16291" fmla="*/ 4403746 w 10505529"/>
              <a:gd name="connsiteY16291" fmla="*/ 4796711 h 7458372"/>
              <a:gd name="connsiteX16292" fmla="*/ 4409869 w 10505529"/>
              <a:gd name="connsiteY16292" fmla="*/ 4806029 h 7458372"/>
              <a:gd name="connsiteX16293" fmla="*/ 4412132 w 10505529"/>
              <a:gd name="connsiteY16293" fmla="*/ 4817477 h 7458372"/>
              <a:gd name="connsiteX16294" fmla="*/ 4409869 w 10505529"/>
              <a:gd name="connsiteY16294" fmla="*/ 4829192 h 7458372"/>
              <a:gd name="connsiteX16295" fmla="*/ 4403746 w 10505529"/>
              <a:gd name="connsiteY16295" fmla="*/ 4838511 h 7458372"/>
              <a:gd name="connsiteX16296" fmla="*/ 4394428 w 10505529"/>
              <a:gd name="connsiteY16296" fmla="*/ 4844767 h 7458372"/>
              <a:gd name="connsiteX16297" fmla="*/ 4382713 w 10505529"/>
              <a:gd name="connsiteY16297" fmla="*/ 4847030 h 7458372"/>
              <a:gd name="connsiteX16298" fmla="*/ 4360881 w 10505529"/>
              <a:gd name="connsiteY16298" fmla="*/ 4838511 h 7458372"/>
              <a:gd name="connsiteX16299" fmla="*/ 4352495 w 10505529"/>
              <a:gd name="connsiteY16299" fmla="*/ 4817344 h 7458372"/>
              <a:gd name="connsiteX16300" fmla="*/ 4360881 w 10505529"/>
              <a:gd name="connsiteY16300" fmla="*/ 4796312 h 7458372"/>
              <a:gd name="connsiteX16301" fmla="*/ 4382713 w 10505529"/>
              <a:gd name="connsiteY16301" fmla="*/ 4787659 h 7458372"/>
              <a:gd name="connsiteX16302" fmla="*/ 4165068 w 10505529"/>
              <a:gd name="connsiteY16302" fmla="*/ 4787659 h 7458372"/>
              <a:gd name="connsiteX16303" fmla="*/ 4176782 w 10505529"/>
              <a:gd name="connsiteY16303" fmla="*/ 4790321 h 7458372"/>
              <a:gd name="connsiteX16304" fmla="*/ 4186100 w 10505529"/>
              <a:gd name="connsiteY16304" fmla="*/ 4796711 h 7458372"/>
              <a:gd name="connsiteX16305" fmla="*/ 4192223 w 10505529"/>
              <a:gd name="connsiteY16305" fmla="*/ 4806029 h 7458372"/>
              <a:gd name="connsiteX16306" fmla="*/ 4194486 w 10505529"/>
              <a:gd name="connsiteY16306" fmla="*/ 4817477 h 7458372"/>
              <a:gd name="connsiteX16307" fmla="*/ 4192223 w 10505529"/>
              <a:gd name="connsiteY16307" fmla="*/ 4829192 h 7458372"/>
              <a:gd name="connsiteX16308" fmla="*/ 4186100 w 10505529"/>
              <a:gd name="connsiteY16308" fmla="*/ 4838511 h 7458372"/>
              <a:gd name="connsiteX16309" fmla="*/ 4176782 w 10505529"/>
              <a:gd name="connsiteY16309" fmla="*/ 4844767 h 7458372"/>
              <a:gd name="connsiteX16310" fmla="*/ 4165068 w 10505529"/>
              <a:gd name="connsiteY16310" fmla="*/ 4847030 h 7458372"/>
              <a:gd name="connsiteX16311" fmla="*/ 4143235 w 10505529"/>
              <a:gd name="connsiteY16311" fmla="*/ 4838511 h 7458372"/>
              <a:gd name="connsiteX16312" fmla="*/ 4134849 w 10505529"/>
              <a:gd name="connsiteY16312" fmla="*/ 4817344 h 7458372"/>
              <a:gd name="connsiteX16313" fmla="*/ 4143235 w 10505529"/>
              <a:gd name="connsiteY16313" fmla="*/ 4796312 h 7458372"/>
              <a:gd name="connsiteX16314" fmla="*/ 4165068 w 10505529"/>
              <a:gd name="connsiteY16314" fmla="*/ 4787659 h 7458372"/>
              <a:gd name="connsiteX16315" fmla="*/ 3947686 w 10505529"/>
              <a:gd name="connsiteY16315" fmla="*/ 4787659 h 7458372"/>
              <a:gd name="connsiteX16316" fmla="*/ 3959404 w 10505529"/>
              <a:gd name="connsiteY16316" fmla="*/ 4790321 h 7458372"/>
              <a:gd name="connsiteX16317" fmla="*/ 3968722 w 10505529"/>
              <a:gd name="connsiteY16317" fmla="*/ 4796711 h 7458372"/>
              <a:gd name="connsiteX16318" fmla="*/ 3974846 w 10505529"/>
              <a:gd name="connsiteY16318" fmla="*/ 4806029 h 7458372"/>
              <a:gd name="connsiteX16319" fmla="*/ 3977109 w 10505529"/>
              <a:gd name="connsiteY16319" fmla="*/ 4817477 h 7458372"/>
              <a:gd name="connsiteX16320" fmla="*/ 3974846 w 10505529"/>
              <a:gd name="connsiteY16320" fmla="*/ 4829192 h 7458372"/>
              <a:gd name="connsiteX16321" fmla="*/ 3968722 w 10505529"/>
              <a:gd name="connsiteY16321" fmla="*/ 4838511 h 7458372"/>
              <a:gd name="connsiteX16322" fmla="*/ 3959404 w 10505529"/>
              <a:gd name="connsiteY16322" fmla="*/ 4844767 h 7458372"/>
              <a:gd name="connsiteX16323" fmla="*/ 3947686 w 10505529"/>
              <a:gd name="connsiteY16323" fmla="*/ 4847030 h 7458372"/>
              <a:gd name="connsiteX16324" fmla="*/ 3925854 w 10505529"/>
              <a:gd name="connsiteY16324" fmla="*/ 4838511 h 7458372"/>
              <a:gd name="connsiteX16325" fmla="*/ 3917467 w 10505529"/>
              <a:gd name="connsiteY16325" fmla="*/ 4817344 h 7458372"/>
              <a:gd name="connsiteX16326" fmla="*/ 3925854 w 10505529"/>
              <a:gd name="connsiteY16326" fmla="*/ 4796312 h 7458372"/>
              <a:gd name="connsiteX16327" fmla="*/ 3947686 w 10505529"/>
              <a:gd name="connsiteY16327" fmla="*/ 4787659 h 7458372"/>
              <a:gd name="connsiteX16328" fmla="*/ 3730029 w 10505529"/>
              <a:gd name="connsiteY16328" fmla="*/ 4787659 h 7458372"/>
              <a:gd name="connsiteX16329" fmla="*/ 3741745 w 10505529"/>
              <a:gd name="connsiteY16329" fmla="*/ 4790321 h 7458372"/>
              <a:gd name="connsiteX16330" fmla="*/ 3751063 w 10505529"/>
              <a:gd name="connsiteY16330" fmla="*/ 4796711 h 7458372"/>
              <a:gd name="connsiteX16331" fmla="*/ 3757186 w 10505529"/>
              <a:gd name="connsiteY16331" fmla="*/ 4806029 h 7458372"/>
              <a:gd name="connsiteX16332" fmla="*/ 3759449 w 10505529"/>
              <a:gd name="connsiteY16332" fmla="*/ 4817477 h 7458372"/>
              <a:gd name="connsiteX16333" fmla="*/ 3757186 w 10505529"/>
              <a:gd name="connsiteY16333" fmla="*/ 4829192 h 7458372"/>
              <a:gd name="connsiteX16334" fmla="*/ 3751063 w 10505529"/>
              <a:gd name="connsiteY16334" fmla="*/ 4838511 h 7458372"/>
              <a:gd name="connsiteX16335" fmla="*/ 3741745 w 10505529"/>
              <a:gd name="connsiteY16335" fmla="*/ 4844767 h 7458372"/>
              <a:gd name="connsiteX16336" fmla="*/ 3730029 w 10505529"/>
              <a:gd name="connsiteY16336" fmla="*/ 4847030 h 7458372"/>
              <a:gd name="connsiteX16337" fmla="*/ 3708190 w 10505529"/>
              <a:gd name="connsiteY16337" fmla="*/ 4838511 h 7458372"/>
              <a:gd name="connsiteX16338" fmla="*/ 3699804 w 10505529"/>
              <a:gd name="connsiteY16338" fmla="*/ 4817344 h 7458372"/>
              <a:gd name="connsiteX16339" fmla="*/ 3708190 w 10505529"/>
              <a:gd name="connsiteY16339" fmla="*/ 4796312 h 7458372"/>
              <a:gd name="connsiteX16340" fmla="*/ 3730029 w 10505529"/>
              <a:gd name="connsiteY16340" fmla="*/ 4787659 h 7458372"/>
              <a:gd name="connsiteX16341" fmla="*/ 3512370 w 10505529"/>
              <a:gd name="connsiteY16341" fmla="*/ 4787659 h 7458372"/>
              <a:gd name="connsiteX16342" fmla="*/ 3524086 w 10505529"/>
              <a:gd name="connsiteY16342" fmla="*/ 4790321 h 7458372"/>
              <a:gd name="connsiteX16343" fmla="*/ 3533404 w 10505529"/>
              <a:gd name="connsiteY16343" fmla="*/ 4796711 h 7458372"/>
              <a:gd name="connsiteX16344" fmla="*/ 3539527 w 10505529"/>
              <a:gd name="connsiteY16344" fmla="*/ 4806029 h 7458372"/>
              <a:gd name="connsiteX16345" fmla="*/ 3541790 w 10505529"/>
              <a:gd name="connsiteY16345" fmla="*/ 4817477 h 7458372"/>
              <a:gd name="connsiteX16346" fmla="*/ 3539527 w 10505529"/>
              <a:gd name="connsiteY16346" fmla="*/ 4829192 h 7458372"/>
              <a:gd name="connsiteX16347" fmla="*/ 3533404 w 10505529"/>
              <a:gd name="connsiteY16347" fmla="*/ 4838511 h 7458372"/>
              <a:gd name="connsiteX16348" fmla="*/ 3524086 w 10505529"/>
              <a:gd name="connsiteY16348" fmla="*/ 4844767 h 7458372"/>
              <a:gd name="connsiteX16349" fmla="*/ 3512370 w 10505529"/>
              <a:gd name="connsiteY16349" fmla="*/ 4847030 h 7458372"/>
              <a:gd name="connsiteX16350" fmla="*/ 3490534 w 10505529"/>
              <a:gd name="connsiteY16350" fmla="*/ 4838511 h 7458372"/>
              <a:gd name="connsiteX16351" fmla="*/ 3482147 w 10505529"/>
              <a:gd name="connsiteY16351" fmla="*/ 4817344 h 7458372"/>
              <a:gd name="connsiteX16352" fmla="*/ 3490534 w 10505529"/>
              <a:gd name="connsiteY16352" fmla="*/ 4796312 h 7458372"/>
              <a:gd name="connsiteX16353" fmla="*/ 3512370 w 10505529"/>
              <a:gd name="connsiteY16353" fmla="*/ 4787659 h 7458372"/>
              <a:gd name="connsiteX16354" fmla="*/ 3294845 w 10505529"/>
              <a:gd name="connsiteY16354" fmla="*/ 4787659 h 7458372"/>
              <a:gd name="connsiteX16355" fmla="*/ 3306560 w 10505529"/>
              <a:gd name="connsiteY16355" fmla="*/ 4790321 h 7458372"/>
              <a:gd name="connsiteX16356" fmla="*/ 3315878 w 10505529"/>
              <a:gd name="connsiteY16356" fmla="*/ 4796711 h 7458372"/>
              <a:gd name="connsiteX16357" fmla="*/ 3322002 w 10505529"/>
              <a:gd name="connsiteY16357" fmla="*/ 4806029 h 7458372"/>
              <a:gd name="connsiteX16358" fmla="*/ 3324265 w 10505529"/>
              <a:gd name="connsiteY16358" fmla="*/ 4817477 h 7458372"/>
              <a:gd name="connsiteX16359" fmla="*/ 3322002 w 10505529"/>
              <a:gd name="connsiteY16359" fmla="*/ 4829192 h 7458372"/>
              <a:gd name="connsiteX16360" fmla="*/ 3315878 w 10505529"/>
              <a:gd name="connsiteY16360" fmla="*/ 4838511 h 7458372"/>
              <a:gd name="connsiteX16361" fmla="*/ 3306560 w 10505529"/>
              <a:gd name="connsiteY16361" fmla="*/ 4844767 h 7458372"/>
              <a:gd name="connsiteX16362" fmla="*/ 3294845 w 10505529"/>
              <a:gd name="connsiteY16362" fmla="*/ 4847030 h 7458372"/>
              <a:gd name="connsiteX16363" fmla="*/ 3273007 w 10505529"/>
              <a:gd name="connsiteY16363" fmla="*/ 4838511 h 7458372"/>
              <a:gd name="connsiteX16364" fmla="*/ 3264620 w 10505529"/>
              <a:gd name="connsiteY16364" fmla="*/ 4817344 h 7458372"/>
              <a:gd name="connsiteX16365" fmla="*/ 3273007 w 10505529"/>
              <a:gd name="connsiteY16365" fmla="*/ 4796312 h 7458372"/>
              <a:gd name="connsiteX16366" fmla="*/ 3294845 w 10505529"/>
              <a:gd name="connsiteY16366" fmla="*/ 4787659 h 7458372"/>
              <a:gd name="connsiteX16367" fmla="*/ 3077186 w 10505529"/>
              <a:gd name="connsiteY16367" fmla="*/ 4787659 h 7458372"/>
              <a:gd name="connsiteX16368" fmla="*/ 3088901 w 10505529"/>
              <a:gd name="connsiteY16368" fmla="*/ 4790321 h 7458372"/>
              <a:gd name="connsiteX16369" fmla="*/ 3098219 w 10505529"/>
              <a:gd name="connsiteY16369" fmla="*/ 4796711 h 7458372"/>
              <a:gd name="connsiteX16370" fmla="*/ 3104342 w 10505529"/>
              <a:gd name="connsiteY16370" fmla="*/ 4806029 h 7458372"/>
              <a:gd name="connsiteX16371" fmla="*/ 3106605 w 10505529"/>
              <a:gd name="connsiteY16371" fmla="*/ 4817477 h 7458372"/>
              <a:gd name="connsiteX16372" fmla="*/ 3104342 w 10505529"/>
              <a:gd name="connsiteY16372" fmla="*/ 4829192 h 7458372"/>
              <a:gd name="connsiteX16373" fmla="*/ 3098219 w 10505529"/>
              <a:gd name="connsiteY16373" fmla="*/ 4838511 h 7458372"/>
              <a:gd name="connsiteX16374" fmla="*/ 3088901 w 10505529"/>
              <a:gd name="connsiteY16374" fmla="*/ 4844767 h 7458372"/>
              <a:gd name="connsiteX16375" fmla="*/ 3077186 w 10505529"/>
              <a:gd name="connsiteY16375" fmla="*/ 4847030 h 7458372"/>
              <a:gd name="connsiteX16376" fmla="*/ 3055349 w 10505529"/>
              <a:gd name="connsiteY16376" fmla="*/ 4838511 h 7458372"/>
              <a:gd name="connsiteX16377" fmla="*/ 3046962 w 10505529"/>
              <a:gd name="connsiteY16377" fmla="*/ 4817344 h 7458372"/>
              <a:gd name="connsiteX16378" fmla="*/ 3055349 w 10505529"/>
              <a:gd name="connsiteY16378" fmla="*/ 4796312 h 7458372"/>
              <a:gd name="connsiteX16379" fmla="*/ 3077186 w 10505529"/>
              <a:gd name="connsiteY16379" fmla="*/ 4787659 h 7458372"/>
              <a:gd name="connsiteX16380" fmla="*/ 2859527 w 10505529"/>
              <a:gd name="connsiteY16380" fmla="*/ 4787659 h 7458372"/>
              <a:gd name="connsiteX16381" fmla="*/ 2871375 w 10505529"/>
              <a:gd name="connsiteY16381" fmla="*/ 4790321 h 7458372"/>
              <a:gd name="connsiteX16382" fmla="*/ 2880693 w 10505529"/>
              <a:gd name="connsiteY16382" fmla="*/ 4796711 h 7458372"/>
              <a:gd name="connsiteX16383" fmla="*/ 2886817 w 10505529"/>
              <a:gd name="connsiteY16383" fmla="*/ 4806029 h 7458372"/>
              <a:gd name="connsiteX16384" fmla="*/ 2889080 w 10505529"/>
              <a:gd name="connsiteY16384" fmla="*/ 4817477 h 7458372"/>
              <a:gd name="connsiteX16385" fmla="*/ 2886817 w 10505529"/>
              <a:gd name="connsiteY16385" fmla="*/ 4829192 h 7458372"/>
              <a:gd name="connsiteX16386" fmla="*/ 2880693 w 10505529"/>
              <a:gd name="connsiteY16386" fmla="*/ 4838511 h 7458372"/>
              <a:gd name="connsiteX16387" fmla="*/ 2871375 w 10505529"/>
              <a:gd name="connsiteY16387" fmla="*/ 4844767 h 7458372"/>
              <a:gd name="connsiteX16388" fmla="*/ 2859527 w 10505529"/>
              <a:gd name="connsiteY16388" fmla="*/ 4847030 h 7458372"/>
              <a:gd name="connsiteX16389" fmla="*/ 2837690 w 10505529"/>
              <a:gd name="connsiteY16389" fmla="*/ 4838511 h 7458372"/>
              <a:gd name="connsiteX16390" fmla="*/ 2829303 w 10505529"/>
              <a:gd name="connsiteY16390" fmla="*/ 4817344 h 7458372"/>
              <a:gd name="connsiteX16391" fmla="*/ 2837690 w 10505529"/>
              <a:gd name="connsiteY16391" fmla="*/ 4796312 h 7458372"/>
              <a:gd name="connsiteX16392" fmla="*/ 2859527 w 10505529"/>
              <a:gd name="connsiteY16392" fmla="*/ 4787659 h 7458372"/>
              <a:gd name="connsiteX16393" fmla="*/ 2641868 w 10505529"/>
              <a:gd name="connsiteY16393" fmla="*/ 4787659 h 7458372"/>
              <a:gd name="connsiteX16394" fmla="*/ 2653584 w 10505529"/>
              <a:gd name="connsiteY16394" fmla="*/ 4790321 h 7458372"/>
              <a:gd name="connsiteX16395" fmla="*/ 2662902 w 10505529"/>
              <a:gd name="connsiteY16395" fmla="*/ 4796711 h 7458372"/>
              <a:gd name="connsiteX16396" fmla="*/ 2669025 w 10505529"/>
              <a:gd name="connsiteY16396" fmla="*/ 4806029 h 7458372"/>
              <a:gd name="connsiteX16397" fmla="*/ 2671288 w 10505529"/>
              <a:gd name="connsiteY16397" fmla="*/ 4817477 h 7458372"/>
              <a:gd name="connsiteX16398" fmla="*/ 2669025 w 10505529"/>
              <a:gd name="connsiteY16398" fmla="*/ 4829192 h 7458372"/>
              <a:gd name="connsiteX16399" fmla="*/ 2662902 w 10505529"/>
              <a:gd name="connsiteY16399" fmla="*/ 4838511 h 7458372"/>
              <a:gd name="connsiteX16400" fmla="*/ 2653584 w 10505529"/>
              <a:gd name="connsiteY16400" fmla="*/ 4844767 h 7458372"/>
              <a:gd name="connsiteX16401" fmla="*/ 2641868 w 10505529"/>
              <a:gd name="connsiteY16401" fmla="*/ 4847030 h 7458372"/>
              <a:gd name="connsiteX16402" fmla="*/ 2620035 w 10505529"/>
              <a:gd name="connsiteY16402" fmla="*/ 4838511 h 7458372"/>
              <a:gd name="connsiteX16403" fmla="*/ 2611645 w 10505529"/>
              <a:gd name="connsiteY16403" fmla="*/ 4817344 h 7458372"/>
              <a:gd name="connsiteX16404" fmla="*/ 2620035 w 10505529"/>
              <a:gd name="connsiteY16404" fmla="*/ 4796312 h 7458372"/>
              <a:gd name="connsiteX16405" fmla="*/ 2641868 w 10505529"/>
              <a:gd name="connsiteY16405" fmla="*/ 4787659 h 7458372"/>
              <a:gd name="connsiteX16406" fmla="*/ 2424209 w 10505529"/>
              <a:gd name="connsiteY16406" fmla="*/ 4787659 h 7458372"/>
              <a:gd name="connsiteX16407" fmla="*/ 2435924 w 10505529"/>
              <a:gd name="connsiteY16407" fmla="*/ 4790321 h 7458372"/>
              <a:gd name="connsiteX16408" fmla="*/ 2445242 w 10505529"/>
              <a:gd name="connsiteY16408" fmla="*/ 4796711 h 7458372"/>
              <a:gd name="connsiteX16409" fmla="*/ 2451366 w 10505529"/>
              <a:gd name="connsiteY16409" fmla="*/ 4806029 h 7458372"/>
              <a:gd name="connsiteX16410" fmla="*/ 2453629 w 10505529"/>
              <a:gd name="connsiteY16410" fmla="*/ 4817477 h 7458372"/>
              <a:gd name="connsiteX16411" fmla="*/ 2451366 w 10505529"/>
              <a:gd name="connsiteY16411" fmla="*/ 4829192 h 7458372"/>
              <a:gd name="connsiteX16412" fmla="*/ 2445242 w 10505529"/>
              <a:gd name="connsiteY16412" fmla="*/ 4838511 h 7458372"/>
              <a:gd name="connsiteX16413" fmla="*/ 2435924 w 10505529"/>
              <a:gd name="connsiteY16413" fmla="*/ 4844767 h 7458372"/>
              <a:gd name="connsiteX16414" fmla="*/ 2424209 w 10505529"/>
              <a:gd name="connsiteY16414" fmla="*/ 4847030 h 7458372"/>
              <a:gd name="connsiteX16415" fmla="*/ 2402377 w 10505529"/>
              <a:gd name="connsiteY16415" fmla="*/ 4838511 h 7458372"/>
              <a:gd name="connsiteX16416" fmla="*/ 2393988 w 10505529"/>
              <a:gd name="connsiteY16416" fmla="*/ 4817344 h 7458372"/>
              <a:gd name="connsiteX16417" fmla="*/ 2402377 w 10505529"/>
              <a:gd name="connsiteY16417" fmla="*/ 4796312 h 7458372"/>
              <a:gd name="connsiteX16418" fmla="*/ 2424209 w 10505529"/>
              <a:gd name="connsiteY16418" fmla="*/ 4787659 h 7458372"/>
              <a:gd name="connsiteX16419" fmla="*/ 2206550 w 10505529"/>
              <a:gd name="connsiteY16419" fmla="*/ 4787659 h 7458372"/>
              <a:gd name="connsiteX16420" fmla="*/ 2218265 w 10505529"/>
              <a:gd name="connsiteY16420" fmla="*/ 4790321 h 7458372"/>
              <a:gd name="connsiteX16421" fmla="*/ 2227584 w 10505529"/>
              <a:gd name="connsiteY16421" fmla="*/ 4796711 h 7458372"/>
              <a:gd name="connsiteX16422" fmla="*/ 2233707 w 10505529"/>
              <a:gd name="connsiteY16422" fmla="*/ 4806029 h 7458372"/>
              <a:gd name="connsiteX16423" fmla="*/ 2235970 w 10505529"/>
              <a:gd name="connsiteY16423" fmla="*/ 4817477 h 7458372"/>
              <a:gd name="connsiteX16424" fmla="*/ 2233707 w 10505529"/>
              <a:gd name="connsiteY16424" fmla="*/ 4829192 h 7458372"/>
              <a:gd name="connsiteX16425" fmla="*/ 2227584 w 10505529"/>
              <a:gd name="connsiteY16425" fmla="*/ 4838511 h 7458372"/>
              <a:gd name="connsiteX16426" fmla="*/ 2218265 w 10505529"/>
              <a:gd name="connsiteY16426" fmla="*/ 4844767 h 7458372"/>
              <a:gd name="connsiteX16427" fmla="*/ 2206550 w 10505529"/>
              <a:gd name="connsiteY16427" fmla="*/ 4847030 h 7458372"/>
              <a:gd name="connsiteX16428" fmla="*/ 2184717 w 10505529"/>
              <a:gd name="connsiteY16428" fmla="*/ 4838511 h 7458372"/>
              <a:gd name="connsiteX16429" fmla="*/ 2176330 w 10505529"/>
              <a:gd name="connsiteY16429" fmla="*/ 4817344 h 7458372"/>
              <a:gd name="connsiteX16430" fmla="*/ 2184717 w 10505529"/>
              <a:gd name="connsiteY16430" fmla="*/ 4796312 h 7458372"/>
              <a:gd name="connsiteX16431" fmla="*/ 2206550 w 10505529"/>
              <a:gd name="connsiteY16431" fmla="*/ 4787659 h 7458372"/>
              <a:gd name="connsiteX16432" fmla="*/ 1989024 w 10505529"/>
              <a:gd name="connsiteY16432" fmla="*/ 4787659 h 7458372"/>
              <a:gd name="connsiteX16433" fmla="*/ 2000740 w 10505529"/>
              <a:gd name="connsiteY16433" fmla="*/ 4790321 h 7458372"/>
              <a:gd name="connsiteX16434" fmla="*/ 2010058 w 10505529"/>
              <a:gd name="connsiteY16434" fmla="*/ 4796711 h 7458372"/>
              <a:gd name="connsiteX16435" fmla="*/ 2016181 w 10505529"/>
              <a:gd name="connsiteY16435" fmla="*/ 4806029 h 7458372"/>
              <a:gd name="connsiteX16436" fmla="*/ 2018444 w 10505529"/>
              <a:gd name="connsiteY16436" fmla="*/ 4817477 h 7458372"/>
              <a:gd name="connsiteX16437" fmla="*/ 2016181 w 10505529"/>
              <a:gd name="connsiteY16437" fmla="*/ 4829192 h 7458372"/>
              <a:gd name="connsiteX16438" fmla="*/ 2010058 w 10505529"/>
              <a:gd name="connsiteY16438" fmla="*/ 4838511 h 7458372"/>
              <a:gd name="connsiteX16439" fmla="*/ 2000740 w 10505529"/>
              <a:gd name="connsiteY16439" fmla="*/ 4844767 h 7458372"/>
              <a:gd name="connsiteX16440" fmla="*/ 1989024 w 10505529"/>
              <a:gd name="connsiteY16440" fmla="*/ 4847030 h 7458372"/>
              <a:gd name="connsiteX16441" fmla="*/ 1967193 w 10505529"/>
              <a:gd name="connsiteY16441" fmla="*/ 4838511 h 7458372"/>
              <a:gd name="connsiteX16442" fmla="*/ 1958807 w 10505529"/>
              <a:gd name="connsiteY16442" fmla="*/ 4817344 h 7458372"/>
              <a:gd name="connsiteX16443" fmla="*/ 1967193 w 10505529"/>
              <a:gd name="connsiteY16443" fmla="*/ 4796312 h 7458372"/>
              <a:gd name="connsiteX16444" fmla="*/ 1989024 w 10505529"/>
              <a:gd name="connsiteY16444" fmla="*/ 4787659 h 7458372"/>
              <a:gd name="connsiteX16445" fmla="*/ 1771389 w 10505529"/>
              <a:gd name="connsiteY16445" fmla="*/ 4787659 h 7458372"/>
              <a:gd name="connsiteX16446" fmla="*/ 1783103 w 10505529"/>
              <a:gd name="connsiteY16446" fmla="*/ 4790321 h 7458372"/>
              <a:gd name="connsiteX16447" fmla="*/ 1792421 w 10505529"/>
              <a:gd name="connsiteY16447" fmla="*/ 4796711 h 7458372"/>
              <a:gd name="connsiteX16448" fmla="*/ 1798544 w 10505529"/>
              <a:gd name="connsiteY16448" fmla="*/ 4806029 h 7458372"/>
              <a:gd name="connsiteX16449" fmla="*/ 1800806 w 10505529"/>
              <a:gd name="connsiteY16449" fmla="*/ 4817477 h 7458372"/>
              <a:gd name="connsiteX16450" fmla="*/ 1798544 w 10505529"/>
              <a:gd name="connsiteY16450" fmla="*/ 4829192 h 7458372"/>
              <a:gd name="connsiteX16451" fmla="*/ 1792421 w 10505529"/>
              <a:gd name="connsiteY16451" fmla="*/ 4838511 h 7458372"/>
              <a:gd name="connsiteX16452" fmla="*/ 1783103 w 10505529"/>
              <a:gd name="connsiteY16452" fmla="*/ 4844767 h 7458372"/>
              <a:gd name="connsiteX16453" fmla="*/ 1771389 w 10505529"/>
              <a:gd name="connsiteY16453" fmla="*/ 4847030 h 7458372"/>
              <a:gd name="connsiteX16454" fmla="*/ 1749560 w 10505529"/>
              <a:gd name="connsiteY16454" fmla="*/ 4838511 h 7458372"/>
              <a:gd name="connsiteX16455" fmla="*/ 1741176 w 10505529"/>
              <a:gd name="connsiteY16455" fmla="*/ 4817344 h 7458372"/>
              <a:gd name="connsiteX16456" fmla="*/ 1749560 w 10505529"/>
              <a:gd name="connsiteY16456" fmla="*/ 4796312 h 7458372"/>
              <a:gd name="connsiteX16457" fmla="*/ 1771389 w 10505529"/>
              <a:gd name="connsiteY16457" fmla="*/ 4787659 h 7458372"/>
              <a:gd name="connsiteX16458" fmla="*/ 1553751 w 10505529"/>
              <a:gd name="connsiteY16458" fmla="*/ 4787659 h 7458372"/>
              <a:gd name="connsiteX16459" fmla="*/ 1565466 w 10505529"/>
              <a:gd name="connsiteY16459" fmla="*/ 4790321 h 7458372"/>
              <a:gd name="connsiteX16460" fmla="*/ 1574784 w 10505529"/>
              <a:gd name="connsiteY16460" fmla="*/ 4796711 h 7458372"/>
              <a:gd name="connsiteX16461" fmla="*/ 1580907 w 10505529"/>
              <a:gd name="connsiteY16461" fmla="*/ 4806029 h 7458372"/>
              <a:gd name="connsiteX16462" fmla="*/ 1583170 w 10505529"/>
              <a:gd name="connsiteY16462" fmla="*/ 4817477 h 7458372"/>
              <a:gd name="connsiteX16463" fmla="*/ 1580907 w 10505529"/>
              <a:gd name="connsiteY16463" fmla="*/ 4829192 h 7458372"/>
              <a:gd name="connsiteX16464" fmla="*/ 1574784 w 10505529"/>
              <a:gd name="connsiteY16464" fmla="*/ 4838511 h 7458372"/>
              <a:gd name="connsiteX16465" fmla="*/ 1565466 w 10505529"/>
              <a:gd name="connsiteY16465" fmla="*/ 4844767 h 7458372"/>
              <a:gd name="connsiteX16466" fmla="*/ 1553751 w 10505529"/>
              <a:gd name="connsiteY16466" fmla="*/ 4847030 h 7458372"/>
              <a:gd name="connsiteX16467" fmla="*/ 1531921 w 10505529"/>
              <a:gd name="connsiteY16467" fmla="*/ 4838511 h 7458372"/>
              <a:gd name="connsiteX16468" fmla="*/ 1523535 w 10505529"/>
              <a:gd name="connsiteY16468" fmla="*/ 4817344 h 7458372"/>
              <a:gd name="connsiteX16469" fmla="*/ 1531921 w 10505529"/>
              <a:gd name="connsiteY16469" fmla="*/ 4796312 h 7458372"/>
              <a:gd name="connsiteX16470" fmla="*/ 1553751 w 10505529"/>
              <a:gd name="connsiteY16470" fmla="*/ 4787659 h 7458372"/>
              <a:gd name="connsiteX16471" fmla="*/ 1336107 w 10505529"/>
              <a:gd name="connsiteY16471" fmla="*/ 4787659 h 7458372"/>
              <a:gd name="connsiteX16472" fmla="*/ 1347823 w 10505529"/>
              <a:gd name="connsiteY16472" fmla="*/ 4790321 h 7458372"/>
              <a:gd name="connsiteX16473" fmla="*/ 1357141 w 10505529"/>
              <a:gd name="connsiteY16473" fmla="*/ 4796711 h 7458372"/>
              <a:gd name="connsiteX16474" fmla="*/ 1363264 w 10505529"/>
              <a:gd name="connsiteY16474" fmla="*/ 4806029 h 7458372"/>
              <a:gd name="connsiteX16475" fmla="*/ 1365526 w 10505529"/>
              <a:gd name="connsiteY16475" fmla="*/ 4817477 h 7458372"/>
              <a:gd name="connsiteX16476" fmla="*/ 1363264 w 10505529"/>
              <a:gd name="connsiteY16476" fmla="*/ 4829192 h 7458372"/>
              <a:gd name="connsiteX16477" fmla="*/ 1357141 w 10505529"/>
              <a:gd name="connsiteY16477" fmla="*/ 4838511 h 7458372"/>
              <a:gd name="connsiteX16478" fmla="*/ 1347823 w 10505529"/>
              <a:gd name="connsiteY16478" fmla="*/ 4844767 h 7458372"/>
              <a:gd name="connsiteX16479" fmla="*/ 1336107 w 10505529"/>
              <a:gd name="connsiteY16479" fmla="*/ 4847030 h 7458372"/>
              <a:gd name="connsiteX16480" fmla="*/ 1314275 w 10505529"/>
              <a:gd name="connsiteY16480" fmla="*/ 4838511 h 7458372"/>
              <a:gd name="connsiteX16481" fmla="*/ 1305889 w 10505529"/>
              <a:gd name="connsiteY16481" fmla="*/ 4817344 h 7458372"/>
              <a:gd name="connsiteX16482" fmla="*/ 1314275 w 10505529"/>
              <a:gd name="connsiteY16482" fmla="*/ 4796312 h 7458372"/>
              <a:gd name="connsiteX16483" fmla="*/ 1336107 w 10505529"/>
              <a:gd name="connsiteY16483" fmla="*/ 4787659 h 7458372"/>
              <a:gd name="connsiteX16484" fmla="*/ 1118462 w 10505529"/>
              <a:gd name="connsiteY16484" fmla="*/ 4787659 h 7458372"/>
              <a:gd name="connsiteX16485" fmla="*/ 1130180 w 10505529"/>
              <a:gd name="connsiteY16485" fmla="*/ 4790321 h 7458372"/>
              <a:gd name="connsiteX16486" fmla="*/ 1139495 w 10505529"/>
              <a:gd name="connsiteY16486" fmla="*/ 4796711 h 7458372"/>
              <a:gd name="connsiteX16487" fmla="*/ 1145615 w 10505529"/>
              <a:gd name="connsiteY16487" fmla="*/ 4806029 h 7458372"/>
              <a:gd name="connsiteX16488" fmla="*/ 1147878 w 10505529"/>
              <a:gd name="connsiteY16488" fmla="*/ 4817477 h 7458372"/>
              <a:gd name="connsiteX16489" fmla="*/ 1145615 w 10505529"/>
              <a:gd name="connsiteY16489" fmla="*/ 4829192 h 7458372"/>
              <a:gd name="connsiteX16490" fmla="*/ 1139495 w 10505529"/>
              <a:gd name="connsiteY16490" fmla="*/ 4838511 h 7458372"/>
              <a:gd name="connsiteX16491" fmla="*/ 1130180 w 10505529"/>
              <a:gd name="connsiteY16491" fmla="*/ 4844767 h 7458372"/>
              <a:gd name="connsiteX16492" fmla="*/ 1118462 w 10505529"/>
              <a:gd name="connsiteY16492" fmla="*/ 4847030 h 7458372"/>
              <a:gd name="connsiteX16493" fmla="*/ 1096627 w 10505529"/>
              <a:gd name="connsiteY16493" fmla="*/ 4838511 h 7458372"/>
              <a:gd name="connsiteX16494" fmla="*/ 1088243 w 10505529"/>
              <a:gd name="connsiteY16494" fmla="*/ 4817344 h 7458372"/>
              <a:gd name="connsiteX16495" fmla="*/ 1096627 w 10505529"/>
              <a:gd name="connsiteY16495" fmla="*/ 4796312 h 7458372"/>
              <a:gd name="connsiteX16496" fmla="*/ 1118462 w 10505529"/>
              <a:gd name="connsiteY16496" fmla="*/ 4787659 h 7458372"/>
              <a:gd name="connsiteX16497" fmla="*/ 900949 w 10505529"/>
              <a:gd name="connsiteY16497" fmla="*/ 4787659 h 7458372"/>
              <a:gd name="connsiteX16498" fmla="*/ 912664 w 10505529"/>
              <a:gd name="connsiteY16498" fmla="*/ 4790321 h 7458372"/>
              <a:gd name="connsiteX16499" fmla="*/ 921982 w 10505529"/>
              <a:gd name="connsiteY16499" fmla="*/ 4796711 h 7458372"/>
              <a:gd name="connsiteX16500" fmla="*/ 928105 w 10505529"/>
              <a:gd name="connsiteY16500" fmla="*/ 4806029 h 7458372"/>
              <a:gd name="connsiteX16501" fmla="*/ 930368 w 10505529"/>
              <a:gd name="connsiteY16501" fmla="*/ 4817477 h 7458372"/>
              <a:gd name="connsiteX16502" fmla="*/ 928105 w 10505529"/>
              <a:gd name="connsiteY16502" fmla="*/ 4829192 h 7458372"/>
              <a:gd name="connsiteX16503" fmla="*/ 921982 w 10505529"/>
              <a:gd name="connsiteY16503" fmla="*/ 4838511 h 7458372"/>
              <a:gd name="connsiteX16504" fmla="*/ 912664 w 10505529"/>
              <a:gd name="connsiteY16504" fmla="*/ 4844767 h 7458372"/>
              <a:gd name="connsiteX16505" fmla="*/ 900949 w 10505529"/>
              <a:gd name="connsiteY16505" fmla="*/ 4847030 h 7458372"/>
              <a:gd name="connsiteX16506" fmla="*/ 879118 w 10505529"/>
              <a:gd name="connsiteY16506" fmla="*/ 4838511 h 7458372"/>
              <a:gd name="connsiteX16507" fmla="*/ 870733 w 10505529"/>
              <a:gd name="connsiteY16507" fmla="*/ 4817344 h 7458372"/>
              <a:gd name="connsiteX16508" fmla="*/ 879118 w 10505529"/>
              <a:gd name="connsiteY16508" fmla="*/ 4796312 h 7458372"/>
              <a:gd name="connsiteX16509" fmla="*/ 900949 w 10505529"/>
              <a:gd name="connsiteY16509" fmla="*/ 4787659 h 7458372"/>
              <a:gd name="connsiteX16510" fmla="*/ 683308 w 10505529"/>
              <a:gd name="connsiteY16510" fmla="*/ 4787659 h 7458372"/>
              <a:gd name="connsiteX16511" fmla="*/ 695023 w 10505529"/>
              <a:gd name="connsiteY16511" fmla="*/ 4790321 h 7458372"/>
              <a:gd name="connsiteX16512" fmla="*/ 704341 w 10505529"/>
              <a:gd name="connsiteY16512" fmla="*/ 4796711 h 7458372"/>
              <a:gd name="connsiteX16513" fmla="*/ 710464 w 10505529"/>
              <a:gd name="connsiteY16513" fmla="*/ 4806029 h 7458372"/>
              <a:gd name="connsiteX16514" fmla="*/ 712727 w 10505529"/>
              <a:gd name="connsiteY16514" fmla="*/ 4817477 h 7458372"/>
              <a:gd name="connsiteX16515" fmla="*/ 710464 w 10505529"/>
              <a:gd name="connsiteY16515" fmla="*/ 4829192 h 7458372"/>
              <a:gd name="connsiteX16516" fmla="*/ 704341 w 10505529"/>
              <a:gd name="connsiteY16516" fmla="*/ 4838511 h 7458372"/>
              <a:gd name="connsiteX16517" fmla="*/ 695023 w 10505529"/>
              <a:gd name="connsiteY16517" fmla="*/ 4844767 h 7458372"/>
              <a:gd name="connsiteX16518" fmla="*/ 683308 w 10505529"/>
              <a:gd name="connsiteY16518" fmla="*/ 4847030 h 7458372"/>
              <a:gd name="connsiteX16519" fmla="*/ 661477 w 10505529"/>
              <a:gd name="connsiteY16519" fmla="*/ 4838511 h 7458372"/>
              <a:gd name="connsiteX16520" fmla="*/ 653091 w 10505529"/>
              <a:gd name="connsiteY16520" fmla="*/ 4817344 h 7458372"/>
              <a:gd name="connsiteX16521" fmla="*/ 661477 w 10505529"/>
              <a:gd name="connsiteY16521" fmla="*/ 4796312 h 7458372"/>
              <a:gd name="connsiteX16522" fmla="*/ 683308 w 10505529"/>
              <a:gd name="connsiteY16522" fmla="*/ 4787659 h 7458372"/>
              <a:gd name="connsiteX16523" fmla="*/ 465666 w 10505529"/>
              <a:gd name="connsiteY16523" fmla="*/ 4787659 h 7458372"/>
              <a:gd name="connsiteX16524" fmla="*/ 477382 w 10505529"/>
              <a:gd name="connsiteY16524" fmla="*/ 4790321 h 7458372"/>
              <a:gd name="connsiteX16525" fmla="*/ 486699 w 10505529"/>
              <a:gd name="connsiteY16525" fmla="*/ 4796711 h 7458372"/>
              <a:gd name="connsiteX16526" fmla="*/ 492822 w 10505529"/>
              <a:gd name="connsiteY16526" fmla="*/ 4806029 h 7458372"/>
              <a:gd name="connsiteX16527" fmla="*/ 495085 w 10505529"/>
              <a:gd name="connsiteY16527" fmla="*/ 4817477 h 7458372"/>
              <a:gd name="connsiteX16528" fmla="*/ 492822 w 10505529"/>
              <a:gd name="connsiteY16528" fmla="*/ 4829192 h 7458372"/>
              <a:gd name="connsiteX16529" fmla="*/ 486699 w 10505529"/>
              <a:gd name="connsiteY16529" fmla="*/ 4838511 h 7458372"/>
              <a:gd name="connsiteX16530" fmla="*/ 477382 w 10505529"/>
              <a:gd name="connsiteY16530" fmla="*/ 4844767 h 7458372"/>
              <a:gd name="connsiteX16531" fmla="*/ 465666 w 10505529"/>
              <a:gd name="connsiteY16531" fmla="*/ 4847030 h 7458372"/>
              <a:gd name="connsiteX16532" fmla="*/ 443835 w 10505529"/>
              <a:gd name="connsiteY16532" fmla="*/ 4838511 h 7458372"/>
              <a:gd name="connsiteX16533" fmla="*/ 435449 w 10505529"/>
              <a:gd name="connsiteY16533" fmla="*/ 4817344 h 7458372"/>
              <a:gd name="connsiteX16534" fmla="*/ 443835 w 10505529"/>
              <a:gd name="connsiteY16534" fmla="*/ 4796312 h 7458372"/>
              <a:gd name="connsiteX16535" fmla="*/ 465666 w 10505529"/>
              <a:gd name="connsiteY16535" fmla="*/ 4787659 h 7458372"/>
              <a:gd name="connsiteX16536" fmla="*/ 248024 w 10505529"/>
              <a:gd name="connsiteY16536" fmla="*/ 4787659 h 7458372"/>
              <a:gd name="connsiteX16537" fmla="*/ 259739 w 10505529"/>
              <a:gd name="connsiteY16537" fmla="*/ 4790321 h 7458372"/>
              <a:gd name="connsiteX16538" fmla="*/ 269057 w 10505529"/>
              <a:gd name="connsiteY16538" fmla="*/ 4796711 h 7458372"/>
              <a:gd name="connsiteX16539" fmla="*/ 275180 w 10505529"/>
              <a:gd name="connsiteY16539" fmla="*/ 4806029 h 7458372"/>
              <a:gd name="connsiteX16540" fmla="*/ 277443 w 10505529"/>
              <a:gd name="connsiteY16540" fmla="*/ 4817477 h 7458372"/>
              <a:gd name="connsiteX16541" fmla="*/ 275180 w 10505529"/>
              <a:gd name="connsiteY16541" fmla="*/ 4829192 h 7458372"/>
              <a:gd name="connsiteX16542" fmla="*/ 269057 w 10505529"/>
              <a:gd name="connsiteY16542" fmla="*/ 4838511 h 7458372"/>
              <a:gd name="connsiteX16543" fmla="*/ 259739 w 10505529"/>
              <a:gd name="connsiteY16543" fmla="*/ 4844767 h 7458372"/>
              <a:gd name="connsiteX16544" fmla="*/ 248024 w 10505529"/>
              <a:gd name="connsiteY16544" fmla="*/ 4847030 h 7458372"/>
              <a:gd name="connsiteX16545" fmla="*/ 226195 w 10505529"/>
              <a:gd name="connsiteY16545" fmla="*/ 4838511 h 7458372"/>
              <a:gd name="connsiteX16546" fmla="*/ 217809 w 10505529"/>
              <a:gd name="connsiteY16546" fmla="*/ 4817344 h 7458372"/>
              <a:gd name="connsiteX16547" fmla="*/ 226195 w 10505529"/>
              <a:gd name="connsiteY16547" fmla="*/ 4796312 h 7458372"/>
              <a:gd name="connsiteX16548" fmla="*/ 248024 w 10505529"/>
              <a:gd name="connsiteY16548" fmla="*/ 4787659 h 7458372"/>
              <a:gd name="connsiteX16549" fmla="*/ 30383 w 10505529"/>
              <a:gd name="connsiteY16549" fmla="*/ 4787659 h 7458372"/>
              <a:gd name="connsiteX16550" fmla="*/ 42098 w 10505529"/>
              <a:gd name="connsiteY16550" fmla="*/ 4790321 h 7458372"/>
              <a:gd name="connsiteX16551" fmla="*/ 51416 w 10505529"/>
              <a:gd name="connsiteY16551" fmla="*/ 4796711 h 7458372"/>
              <a:gd name="connsiteX16552" fmla="*/ 57539 w 10505529"/>
              <a:gd name="connsiteY16552" fmla="*/ 4806029 h 7458372"/>
              <a:gd name="connsiteX16553" fmla="*/ 59802 w 10505529"/>
              <a:gd name="connsiteY16553" fmla="*/ 4817477 h 7458372"/>
              <a:gd name="connsiteX16554" fmla="*/ 57539 w 10505529"/>
              <a:gd name="connsiteY16554" fmla="*/ 4829192 h 7458372"/>
              <a:gd name="connsiteX16555" fmla="*/ 51416 w 10505529"/>
              <a:gd name="connsiteY16555" fmla="*/ 4838511 h 7458372"/>
              <a:gd name="connsiteX16556" fmla="*/ 42098 w 10505529"/>
              <a:gd name="connsiteY16556" fmla="*/ 4844767 h 7458372"/>
              <a:gd name="connsiteX16557" fmla="*/ 30383 w 10505529"/>
              <a:gd name="connsiteY16557" fmla="*/ 4847030 h 7458372"/>
              <a:gd name="connsiteX16558" fmla="*/ 8554 w 10505529"/>
              <a:gd name="connsiteY16558" fmla="*/ 4838511 h 7458372"/>
              <a:gd name="connsiteX16559" fmla="*/ 168 w 10505529"/>
              <a:gd name="connsiteY16559" fmla="*/ 4817344 h 7458372"/>
              <a:gd name="connsiteX16560" fmla="*/ 8554 w 10505529"/>
              <a:gd name="connsiteY16560" fmla="*/ 4796312 h 7458372"/>
              <a:gd name="connsiteX16561" fmla="*/ 30383 w 10505529"/>
              <a:gd name="connsiteY16561" fmla="*/ 4787659 h 7458372"/>
              <a:gd name="connsiteX16562" fmla="*/ 10475977 w 10505529"/>
              <a:gd name="connsiteY16562" fmla="*/ 4586655 h 7458372"/>
              <a:gd name="connsiteX16563" fmla="*/ 10465992 w 10505529"/>
              <a:gd name="connsiteY16563" fmla="*/ 4590249 h 7458372"/>
              <a:gd name="connsiteX16564" fmla="*/ 10462399 w 10505529"/>
              <a:gd name="connsiteY16564" fmla="*/ 4599700 h 7458372"/>
              <a:gd name="connsiteX16565" fmla="*/ 10465992 w 10505529"/>
              <a:gd name="connsiteY16565" fmla="*/ 4609151 h 7458372"/>
              <a:gd name="connsiteX16566" fmla="*/ 10475977 w 10505529"/>
              <a:gd name="connsiteY16566" fmla="*/ 4612613 h 7458372"/>
              <a:gd name="connsiteX16567" fmla="*/ 10481302 w 10505529"/>
              <a:gd name="connsiteY16567" fmla="*/ 4611681 h 7458372"/>
              <a:gd name="connsiteX16568" fmla="*/ 10485029 w 10505529"/>
              <a:gd name="connsiteY16568" fmla="*/ 4609284 h 7458372"/>
              <a:gd name="connsiteX16569" fmla="*/ 10487691 w 10505529"/>
              <a:gd name="connsiteY16569" fmla="*/ 4605024 h 7458372"/>
              <a:gd name="connsiteX16570" fmla="*/ 10488623 w 10505529"/>
              <a:gd name="connsiteY16570" fmla="*/ 4599566 h 7458372"/>
              <a:gd name="connsiteX16571" fmla="*/ 10487691 w 10505529"/>
              <a:gd name="connsiteY16571" fmla="*/ 4594375 h 7458372"/>
              <a:gd name="connsiteX16572" fmla="*/ 10485029 w 10505529"/>
              <a:gd name="connsiteY16572" fmla="*/ 4590249 h 7458372"/>
              <a:gd name="connsiteX16573" fmla="*/ 10481035 w 10505529"/>
              <a:gd name="connsiteY16573" fmla="*/ 4587586 h 7458372"/>
              <a:gd name="connsiteX16574" fmla="*/ 10475977 w 10505529"/>
              <a:gd name="connsiteY16574" fmla="*/ 4586655 h 7458372"/>
              <a:gd name="connsiteX16575" fmla="*/ 10258466 w 10505529"/>
              <a:gd name="connsiteY16575" fmla="*/ 4586655 h 7458372"/>
              <a:gd name="connsiteX16576" fmla="*/ 10248481 w 10505529"/>
              <a:gd name="connsiteY16576" fmla="*/ 4590249 h 7458372"/>
              <a:gd name="connsiteX16577" fmla="*/ 10244887 w 10505529"/>
              <a:gd name="connsiteY16577" fmla="*/ 4599700 h 7458372"/>
              <a:gd name="connsiteX16578" fmla="*/ 10248481 w 10505529"/>
              <a:gd name="connsiteY16578" fmla="*/ 4609151 h 7458372"/>
              <a:gd name="connsiteX16579" fmla="*/ 10258466 w 10505529"/>
              <a:gd name="connsiteY16579" fmla="*/ 4612613 h 7458372"/>
              <a:gd name="connsiteX16580" fmla="*/ 10263790 w 10505529"/>
              <a:gd name="connsiteY16580" fmla="*/ 4611681 h 7458372"/>
              <a:gd name="connsiteX16581" fmla="*/ 10267517 w 10505529"/>
              <a:gd name="connsiteY16581" fmla="*/ 4609284 h 7458372"/>
              <a:gd name="connsiteX16582" fmla="*/ 10270180 w 10505529"/>
              <a:gd name="connsiteY16582" fmla="*/ 4605024 h 7458372"/>
              <a:gd name="connsiteX16583" fmla="*/ 10271112 w 10505529"/>
              <a:gd name="connsiteY16583" fmla="*/ 4599566 h 7458372"/>
              <a:gd name="connsiteX16584" fmla="*/ 10270180 w 10505529"/>
              <a:gd name="connsiteY16584" fmla="*/ 4594375 h 7458372"/>
              <a:gd name="connsiteX16585" fmla="*/ 10267517 w 10505529"/>
              <a:gd name="connsiteY16585" fmla="*/ 4590249 h 7458372"/>
              <a:gd name="connsiteX16586" fmla="*/ 10263524 w 10505529"/>
              <a:gd name="connsiteY16586" fmla="*/ 4587586 h 7458372"/>
              <a:gd name="connsiteX16587" fmla="*/ 10258466 w 10505529"/>
              <a:gd name="connsiteY16587" fmla="*/ 4586655 h 7458372"/>
              <a:gd name="connsiteX16588" fmla="*/ 10040820 w 10505529"/>
              <a:gd name="connsiteY16588" fmla="*/ 4586655 h 7458372"/>
              <a:gd name="connsiteX16589" fmla="*/ 10030835 w 10505529"/>
              <a:gd name="connsiteY16589" fmla="*/ 4590249 h 7458372"/>
              <a:gd name="connsiteX16590" fmla="*/ 10027242 w 10505529"/>
              <a:gd name="connsiteY16590" fmla="*/ 4599700 h 7458372"/>
              <a:gd name="connsiteX16591" fmla="*/ 10030835 w 10505529"/>
              <a:gd name="connsiteY16591" fmla="*/ 4609151 h 7458372"/>
              <a:gd name="connsiteX16592" fmla="*/ 10040820 w 10505529"/>
              <a:gd name="connsiteY16592" fmla="*/ 4612613 h 7458372"/>
              <a:gd name="connsiteX16593" fmla="*/ 10046145 w 10505529"/>
              <a:gd name="connsiteY16593" fmla="*/ 4611681 h 7458372"/>
              <a:gd name="connsiteX16594" fmla="*/ 10049872 w 10505529"/>
              <a:gd name="connsiteY16594" fmla="*/ 4609284 h 7458372"/>
              <a:gd name="connsiteX16595" fmla="*/ 10052534 w 10505529"/>
              <a:gd name="connsiteY16595" fmla="*/ 4605024 h 7458372"/>
              <a:gd name="connsiteX16596" fmla="*/ 10053599 w 10505529"/>
              <a:gd name="connsiteY16596" fmla="*/ 4599566 h 7458372"/>
              <a:gd name="connsiteX16597" fmla="*/ 10052534 w 10505529"/>
              <a:gd name="connsiteY16597" fmla="*/ 4594375 h 7458372"/>
              <a:gd name="connsiteX16598" fmla="*/ 10049872 w 10505529"/>
              <a:gd name="connsiteY16598" fmla="*/ 4590249 h 7458372"/>
              <a:gd name="connsiteX16599" fmla="*/ 10045878 w 10505529"/>
              <a:gd name="connsiteY16599" fmla="*/ 4587586 h 7458372"/>
              <a:gd name="connsiteX16600" fmla="*/ 10040820 w 10505529"/>
              <a:gd name="connsiteY16600" fmla="*/ 4586655 h 7458372"/>
              <a:gd name="connsiteX16601" fmla="*/ 9823176 w 10505529"/>
              <a:gd name="connsiteY16601" fmla="*/ 4586655 h 7458372"/>
              <a:gd name="connsiteX16602" fmla="*/ 9813191 w 10505529"/>
              <a:gd name="connsiteY16602" fmla="*/ 4590249 h 7458372"/>
              <a:gd name="connsiteX16603" fmla="*/ 9809597 w 10505529"/>
              <a:gd name="connsiteY16603" fmla="*/ 4599700 h 7458372"/>
              <a:gd name="connsiteX16604" fmla="*/ 9813191 w 10505529"/>
              <a:gd name="connsiteY16604" fmla="*/ 4609151 h 7458372"/>
              <a:gd name="connsiteX16605" fmla="*/ 9823176 w 10505529"/>
              <a:gd name="connsiteY16605" fmla="*/ 4612613 h 7458372"/>
              <a:gd name="connsiteX16606" fmla="*/ 9828501 w 10505529"/>
              <a:gd name="connsiteY16606" fmla="*/ 4611681 h 7458372"/>
              <a:gd name="connsiteX16607" fmla="*/ 9832227 w 10505529"/>
              <a:gd name="connsiteY16607" fmla="*/ 4609284 h 7458372"/>
              <a:gd name="connsiteX16608" fmla="*/ 9834890 w 10505529"/>
              <a:gd name="connsiteY16608" fmla="*/ 4605024 h 7458372"/>
              <a:gd name="connsiteX16609" fmla="*/ 9835955 w 10505529"/>
              <a:gd name="connsiteY16609" fmla="*/ 4599566 h 7458372"/>
              <a:gd name="connsiteX16610" fmla="*/ 9834890 w 10505529"/>
              <a:gd name="connsiteY16610" fmla="*/ 4594375 h 7458372"/>
              <a:gd name="connsiteX16611" fmla="*/ 9832227 w 10505529"/>
              <a:gd name="connsiteY16611" fmla="*/ 4590249 h 7458372"/>
              <a:gd name="connsiteX16612" fmla="*/ 9828234 w 10505529"/>
              <a:gd name="connsiteY16612" fmla="*/ 4587586 h 7458372"/>
              <a:gd name="connsiteX16613" fmla="*/ 9823176 w 10505529"/>
              <a:gd name="connsiteY16613" fmla="*/ 4586655 h 7458372"/>
              <a:gd name="connsiteX16614" fmla="*/ 9605531 w 10505529"/>
              <a:gd name="connsiteY16614" fmla="*/ 4586655 h 7458372"/>
              <a:gd name="connsiteX16615" fmla="*/ 9595546 w 10505529"/>
              <a:gd name="connsiteY16615" fmla="*/ 4590249 h 7458372"/>
              <a:gd name="connsiteX16616" fmla="*/ 9591952 w 10505529"/>
              <a:gd name="connsiteY16616" fmla="*/ 4599700 h 7458372"/>
              <a:gd name="connsiteX16617" fmla="*/ 9595546 w 10505529"/>
              <a:gd name="connsiteY16617" fmla="*/ 4609151 h 7458372"/>
              <a:gd name="connsiteX16618" fmla="*/ 9605531 w 10505529"/>
              <a:gd name="connsiteY16618" fmla="*/ 4612613 h 7458372"/>
              <a:gd name="connsiteX16619" fmla="*/ 9610855 w 10505529"/>
              <a:gd name="connsiteY16619" fmla="*/ 4611681 h 7458372"/>
              <a:gd name="connsiteX16620" fmla="*/ 9614582 w 10505529"/>
              <a:gd name="connsiteY16620" fmla="*/ 4609284 h 7458372"/>
              <a:gd name="connsiteX16621" fmla="*/ 9617245 w 10505529"/>
              <a:gd name="connsiteY16621" fmla="*/ 4605024 h 7458372"/>
              <a:gd name="connsiteX16622" fmla="*/ 9618309 w 10505529"/>
              <a:gd name="connsiteY16622" fmla="*/ 4599566 h 7458372"/>
              <a:gd name="connsiteX16623" fmla="*/ 9617245 w 10505529"/>
              <a:gd name="connsiteY16623" fmla="*/ 4594375 h 7458372"/>
              <a:gd name="connsiteX16624" fmla="*/ 9614582 w 10505529"/>
              <a:gd name="connsiteY16624" fmla="*/ 4590249 h 7458372"/>
              <a:gd name="connsiteX16625" fmla="*/ 9610589 w 10505529"/>
              <a:gd name="connsiteY16625" fmla="*/ 4587586 h 7458372"/>
              <a:gd name="connsiteX16626" fmla="*/ 9605531 w 10505529"/>
              <a:gd name="connsiteY16626" fmla="*/ 4586655 h 7458372"/>
              <a:gd name="connsiteX16627" fmla="*/ 9387885 w 10505529"/>
              <a:gd name="connsiteY16627" fmla="*/ 4586655 h 7458372"/>
              <a:gd name="connsiteX16628" fmla="*/ 9377900 w 10505529"/>
              <a:gd name="connsiteY16628" fmla="*/ 4590249 h 7458372"/>
              <a:gd name="connsiteX16629" fmla="*/ 9374307 w 10505529"/>
              <a:gd name="connsiteY16629" fmla="*/ 4599700 h 7458372"/>
              <a:gd name="connsiteX16630" fmla="*/ 9377900 w 10505529"/>
              <a:gd name="connsiteY16630" fmla="*/ 4609151 h 7458372"/>
              <a:gd name="connsiteX16631" fmla="*/ 9387885 w 10505529"/>
              <a:gd name="connsiteY16631" fmla="*/ 4612613 h 7458372"/>
              <a:gd name="connsiteX16632" fmla="*/ 9393210 w 10505529"/>
              <a:gd name="connsiteY16632" fmla="*/ 4611681 h 7458372"/>
              <a:gd name="connsiteX16633" fmla="*/ 9396937 w 10505529"/>
              <a:gd name="connsiteY16633" fmla="*/ 4609284 h 7458372"/>
              <a:gd name="connsiteX16634" fmla="*/ 9399599 w 10505529"/>
              <a:gd name="connsiteY16634" fmla="*/ 4605024 h 7458372"/>
              <a:gd name="connsiteX16635" fmla="*/ 9400664 w 10505529"/>
              <a:gd name="connsiteY16635" fmla="*/ 4599566 h 7458372"/>
              <a:gd name="connsiteX16636" fmla="*/ 9399599 w 10505529"/>
              <a:gd name="connsiteY16636" fmla="*/ 4594375 h 7458372"/>
              <a:gd name="connsiteX16637" fmla="*/ 9396937 w 10505529"/>
              <a:gd name="connsiteY16637" fmla="*/ 4590249 h 7458372"/>
              <a:gd name="connsiteX16638" fmla="*/ 9392943 w 10505529"/>
              <a:gd name="connsiteY16638" fmla="*/ 4587586 h 7458372"/>
              <a:gd name="connsiteX16639" fmla="*/ 9387885 w 10505529"/>
              <a:gd name="connsiteY16639" fmla="*/ 4586655 h 7458372"/>
              <a:gd name="connsiteX16640" fmla="*/ 9170374 w 10505529"/>
              <a:gd name="connsiteY16640" fmla="*/ 4586655 h 7458372"/>
              <a:gd name="connsiteX16641" fmla="*/ 9160389 w 10505529"/>
              <a:gd name="connsiteY16641" fmla="*/ 4590249 h 7458372"/>
              <a:gd name="connsiteX16642" fmla="*/ 9156795 w 10505529"/>
              <a:gd name="connsiteY16642" fmla="*/ 4599700 h 7458372"/>
              <a:gd name="connsiteX16643" fmla="*/ 9160389 w 10505529"/>
              <a:gd name="connsiteY16643" fmla="*/ 4609151 h 7458372"/>
              <a:gd name="connsiteX16644" fmla="*/ 9170374 w 10505529"/>
              <a:gd name="connsiteY16644" fmla="*/ 4612613 h 7458372"/>
              <a:gd name="connsiteX16645" fmla="*/ 9175698 w 10505529"/>
              <a:gd name="connsiteY16645" fmla="*/ 4611681 h 7458372"/>
              <a:gd name="connsiteX16646" fmla="*/ 9179425 w 10505529"/>
              <a:gd name="connsiteY16646" fmla="*/ 4609284 h 7458372"/>
              <a:gd name="connsiteX16647" fmla="*/ 9182088 w 10505529"/>
              <a:gd name="connsiteY16647" fmla="*/ 4605024 h 7458372"/>
              <a:gd name="connsiteX16648" fmla="*/ 9183152 w 10505529"/>
              <a:gd name="connsiteY16648" fmla="*/ 4599566 h 7458372"/>
              <a:gd name="connsiteX16649" fmla="*/ 9182088 w 10505529"/>
              <a:gd name="connsiteY16649" fmla="*/ 4594375 h 7458372"/>
              <a:gd name="connsiteX16650" fmla="*/ 9179425 w 10505529"/>
              <a:gd name="connsiteY16650" fmla="*/ 4590249 h 7458372"/>
              <a:gd name="connsiteX16651" fmla="*/ 9175432 w 10505529"/>
              <a:gd name="connsiteY16651" fmla="*/ 4587586 h 7458372"/>
              <a:gd name="connsiteX16652" fmla="*/ 9170374 w 10505529"/>
              <a:gd name="connsiteY16652" fmla="*/ 4586655 h 7458372"/>
              <a:gd name="connsiteX16653" fmla="*/ 8952728 w 10505529"/>
              <a:gd name="connsiteY16653" fmla="*/ 4586655 h 7458372"/>
              <a:gd name="connsiteX16654" fmla="*/ 8942743 w 10505529"/>
              <a:gd name="connsiteY16654" fmla="*/ 4590249 h 7458372"/>
              <a:gd name="connsiteX16655" fmla="*/ 8939150 w 10505529"/>
              <a:gd name="connsiteY16655" fmla="*/ 4599700 h 7458372"/>
              <a:gd name="connsiteX16656" fmla="*/ 8942743 w 10505529"/>
              <a:gd name="connsiteY16656" fmla="*/ 4609151 h 7458372"/>
              <a:gd name="connsiteX16657" fmla="*/ 8952728 w 10505529"/>
              <a:gd name="connsiteY16657" fmla="*/ 4612613 h 7458372"/>
              <a:gd name="connsiteX16658" fmla="*/ 8958053 w 10505529"/>
              <a:gd name="connsiteY16658" fmla="*/ 4611681 h 7458372"/>
              <a:gd name="connsiteX16659" fmla="*/ 8961780 w 10505529"/>
              <a:gd name="connsiteY16659" fmla="*/ 4609284 h 7458372"/>
              <a:gd name="connsiteX16660" fmla="*/ 8964442 w 10505529"/>
              <a:gd name="connsiteY16660" fmla="*/ 4605024 h 7458372"/>
              <a:gd name="connsiteX16661" fmla="*/ 8965507 w 10505529"/>
              <a:gd name="connsiteY16661" fmla="*/ 4599566 h 7458372"/>
              <a:gd name="connsiteX16662" fmla="*/ 8964442 w 10505529"/>
              <a:gd name="connsiteY16662" fmla="*/ 4594375 h 7458372"/>
              <a:gd name="connsiteX16663" fmla="*/ 8961780 w 10505529"/>
              <a:gd name="connsiteY16663" fmla="*/ 4590249 h 7458372"/>
              <a:gd name="connsiteX16664" fmla="*/ 8957786 w 10505529"/>
              <a:gd name="connsiteY16664" fmla="*/ 4587586 h 7458372"/>
              <a:gd name="connsiteX16665" fmla="*/ 8952728 w 10505529"/>
              <a:gd name="connsiteY16665" fmla="*/ 4586655 h 7458372"/>
              <a:gd name="connsiteX16666" fmla="*/ 8735083 w 10505529"/>
              <a:gd name="connsiteY16666" fmla="*/ 4586655 h 7458372"/>
              <a:gd name="connsiteX16667" fmla="*/ 8725098 w 10505529"/>
              <a:gd name="connsiteY16667" fmla="*/ 4590249 h 7458372"/>
              <a:gd name="connsiteX16668" fmla="*/ 8721504 w 10505529"/>
              <a:gd name="connsiteY16668" fmla="*/ 4599700 h 7458372"/>
              <a:gd name="connsiteX16669" fmla="*/ 8725098 w 10505529"/>
              <a:gd name="connsiteY16669" fmla="*/ 4609151 h 7458372"/>
              <a:gd name="connsiteX16670" fmla="*/ 8735083 w 10505529"/>
              <a:gd name="connsiteY16670" fmla="*/ 4612613 h 7458372"/>
              <a:gd name="connsiteX16671" fmla="*/ 8740407 w 10505529"/>
              <a:gd name="connsiteY16671" fmla="*/ 4611681 h 7458372"/>
              <a:gd name="connsiteX16672" fmla="*/ 8744134 w 10505529"/>
              <a:gd name="connsiteY16672" fmla="*/ 4609284 h 7458372"/>
              <a:gd name="connsiteX16673" fmla="*/ 8746797 w 10505529"/>
              <a:gd name="connsiteY16673" fmla="*/ 4605024 h 7458372"/>
              <a:gd name="connsiteX16674" fmla="*/ 8747862 w 10505529"/>
              <a:gd name="connsiteY16674" fmla="*/ 4599566 h 7458372"/>
              <a:gd name="connsiteX16675" fmla="*/ 8746797 w 10505529"/>
              <a:gd name="connsiteY16675" fmla="*/ 4594375 h 7458372"/>
              <a:gd name="connsiteX16676" fmla="*/ 8744134 w 10505529"/>
              <a:gd name="connsiteY16676" fmla="*/ 4590249 h 7458372"/>
              <a:gd name="connsiteX16677" fmla="*/ 8740141 w 10505529"/>
              <a:gd name="connsiteY16677" fmla="*/ 4587586 h 7458372"/>
              <a:gd name="connsiteX16678" fmla="*/ 8735083 w 10505529"/>
              <a:gd name="connsiteY16678" fmla="*/ 4586655 h 7458372"/>
              <a:gd name="connsiteX16679" fmla="*/ 8517438 w 10505529"/>
              <a:gd name="connsiteY16679" fmla="*/ 4586655 h 7458372"/>
              <a:gd name="connsiteX16680" fmla="*/ 8507453 w 10505529"/>
              <a:gd name="connsiteY16680" fmla="*/ 4590249 h 7458372"/>
              <a:gd name="connsiteX16681" fmla="*/ 8503860 w 10505529"/>
              <a:gd name="connsiteY16681" fmla="*/ 4599700 h 7458372"/>
              <a:gd name="connsiteX16682" fmla="*/ 8507453 w 10505529"/>
              <a:gd name="connsiteY16682" fmla="*/ 4609151 h 7458372"/>
              <a:gd name="connsiteX16683" fmla="*/ 8517438 w 10505529"/>
              <a:gd name="connsiteY16683" fmla="*/ 4612613 h 7458372"/>
              <a:gd name="connsiteX16684" fmla="*/ 8522763 w 10505529"/>
              <a:gd name="connsiteY16684" fmla="*/ 4611681 h 7458372"/>
              <a:gd name="connsiteX16685" fmla="*/ 8526490 w 10505529"/>
              <a:gd name="connsiteY16685" fmla="*/ 4609284 h 7458372"/>
              <a:gd name="connsiteX16686" fmla="*/ 8529152 w 10505529"/>
              <a:gd name="connsiteY16686" fmla="*/ 4605024 h 7458372"/>
              <a:gd name="connsiteX16687" fmla="*/ 8530084 w 10505529"/>
              <a:gd name="connsiteY16687" fmla="*/ 4599566 h 7458372"/>
              <a:gd name="connsiteX16688" fmla="*/ 8529152 w 10505529"/>
              <a:gd name="connsiteY16688" fmla="*/ 4594375 h 7458372"/>
              <a:gd name="connsiteX16689" fmla="*/ 8526490 w 10505529"/>
              <a:gd name="connsiteY16689" fmla="*/ 4590249 h 7458372"/>
              <a:gd name="connsiteX16690" fmla="*/ 8522496 w 10505529"/>
              <a:gd name="connsiteY16690" fmla="*/ 4587586 h 7458372"/>
              <a:gd name="connsiteX16691" fmla="*/ 8517438 w 10505529"/>
              <a:gd name="connsiteY16691" fmla="*/ 4586655 h 7458372"/>
              <a:gd name="connsiteX16692" fmla="*/ 8299793 w 10505529"/>
              <a:gd name="connsiteY16692" fmla="*/ 4586655 h 7458372"/>
              <a:gd name="connsiteX16693" fmla="*/ 8289809 w 10505529"/>
              <a:gd name="connsiteY16693" fmla="*/ 4590249 h 7458372"/>
              <a:gd name="connsiteX16694" fmla="*/ 8286215 w 10505529"/>
              <a:gd name="connsiteY16694" fmla="*/ 4599700 h 7458372"/>
              <a:gd name="connsiteX16695" fmla="*/ 8289809 w 10505529"/>
              <a:gd name="connsiteY16695" fmla="*/ 4609151 h 7458372"/>
              <a:gd name="connsiteX16696" fmla="*/ 8299793 w 10505529"/>
              <a:gd name="connsiteY16696" fmla="*/ 4612613 h 7458372"/>
              <a:gd name="connsiteX16697" fmla="*/ 8305118 w 10505529"/>
              <a:gd name="connsiteY16697" fmla="*/ 4611681 h 7458372"/>
              <a:gd name="connsiteX16698" fmla="*/ 8308844 w 10505529"/>
              <a:gd name="connsiteY16698" fmla="*/ 4609284 h 7458372"/>
              <a:gd name="connsiteX16699" fmla="*/ 8311507 w 10505529"/>
              <a:gd name="connsiteY16699" fmla="*/ 4605024 h 7458372"/>
              <a:gd name="connsiteX16700" fmla="*/ 8312439 w 10505529"/>
              <a:gd name="connsiteY16700" fmla="*/ 4599566 h 7458372"/>
              <a:gd name="connsiteX16701" fmla="*/ 8311507 w 10505529"/>
              <a:gd name="connsiteY16701" fmla="*/ 4594375 h 7458372"/>
              <a:gd name="connsiteX16702" fmla="*/ 8308844 w 10505529"/>
              <a:gd name="connsiteY16702" fmla="*/ 4590249 h 7458372"/>
              <a:gd name="connsiteX16703" fmla="*/ 8304851 w 10505529"/>
              <a:gd name="connsiteY16703" fmla="*/ 4587586 h 7458372"/>
              <a:gd name="connsiteX16704" fmla="*/ 8299793 w 10505529"/>
              <a:gd name="connsiteY16704" fmla="*/ 4586655 h 7458372"/>
              <a:gd name="connsiteX16705" fmla="*/ 8082281 w 10505529"/>
              <a:gd name="connsiteY16705" fmla="*/ 4586655 h 7458372"/>
              <a:gd name="connsiteX16706" fmla="*/ 8072297 w 10505529"/>
              <a:gd name="connsiteY16706" fmla="*/ 4590249 h 7458372"/>
              <a:gd name="connsiteX16707" fmla="*/ 8068703 w 10505529"/>
              <a:gd name="connsiteY16707" fmla="*/ 4599700 h 7458372"/>
              <a:gd name="connsiteX16708" fmla="*/ 8072297 w 10505529"/>
              <a:gd name="connsiteY16708" fmla="*/ 4609151 h 7458372"/>
              <a:gd name="connsiteX16709" fmla="*/ 8082281 w 10505529"/>
              <a:gd name="connsiteY16709" fmla="*/ 4612613 h 7458372"/>
              <a:gd name="connsiteX16710" fmla="*/ 8087605 w 10505529"/>
              <a:gd name="connsiteY16710" fmla="*/ 4611681 h 7458372"/>
              <a:gd name="connsiteX16711" fmla="*/ 8091332 w 10505529"/>
              <a:gd name="connsiteY16711" fmla="*/ 4609284 h 7458372"/>
              <a:gd name="connsiteX16712" fmla="*/ 8093994 w 10505529"/>
              <a:gd name="connsiteY16712" fmla="*/ 4605024 h 7458372"/>
              <a:gd name="connsiteX16713" fmla="*/ 8094926 w 10505529"/>
              <a:gd name="connsiteY16713" fmla="*/ 4599566 h 7458372"/>
              <a:gd name="connsiteX16714" fmla="*/ 8093994 w 10505529"/>
              <a:gd name="connsiteY16714" fmla="*/ 4594375 h 7458372"/>
              <a:gd name="connsiteX16715" fmla="*/ 8091332 w 10505529"/>
              <a:gd name="connsiteY16715" fmla="*/ 4590249 h 7458372"/>
              <a:gd name="connsiteX16716" fmla="*/ 8087338 w 10505529"/>
              <a:gd name="connsiteY16716" fmla="*/ 4587586 h 7458372"/>
              <a:gd name="connsiteX16717" fmla="*/ 8082281 w 10505529"/>
              <a:gd name="connsiteY16717" fmla="*/ 4586655 h 7458372"/>
              <a:gd name="connsiteX16718" fmla="*/ 7864636 w 10505529"/>
              <a:gd name="connsiteY16718" fmla="*/ 4586655 h 7458372"/>
              <a:gd name="connsiteX16719" fmla="*/ 7854652 w 10505529"/>
              <a:gd name="connsiteY16719" fmla="*/ 4590249 h 7458372"/>
              <a:gd name="connsiteX16720" fmla="*/ 7851058 w 10505529"/>
              <a:gd name="connsiteY16720" fmla="*/ 4599700 h 7458372"/>
              <a:gd name="connsiteX16721" fmla="*/ 7854652 w 10505529"/>
              <a:gd name="connsiteY16721" fmla="*/ 4609151 h 7458372"/>
              <a:gd name="connsiteX16722" fmla="*/ 7864636 w 10505529"/>
              <a:gd name="connsiteY16722" fmla="*/ 4612613 h 7458372"/>
              <a:gd name="connsiteX16723" fmla="*/ 7869961 w 10505529"/>
              <a:gd name="connsiteY16723" fmla="*/ 4611681 h 7458372"/>
              <a:gd name="connsiteX16724" fmla="*/ 7873687 w 10505529"/>
              <a:gd name="connsiteY16724" fmla="*/ 4609284 h 7458372"/>
              <a:gd name="connsiteX16725" fmla="*/ 7876350 w 10505529"/>
              <a:gd name="connsiteY16725" fmla="*/ 4605024 h 7458372"/>
              <a:gd name="connsiteX16726" fmla="*/ 7877282 w 10505529"/>
              <a:gd name="connsiteY16726" fmla="*/ 4599566 h 7458372"/>
              <a:gd name="connsiteX16727" fmla="*/ 7876350 w 10505529"/>
              <a:gd name="connsiteY16727" fmla="*/ 4594375 h 7458372"/>
              <a:gd name="connsiteX16728" fmla="*/ 7873687 w 10505529"/>
              <a:gd name="connsiteY16728" fmla="*/ 4590249 h 7458372"/>
              <a:gd name="connsiteX16729" fmla="*/ 7869694 w 10505529"/>
              <a:gd name="connsiteY16729" fmla="*/ 4587586 h 7458372"/>
              <a:gd name="connsiteX16730" fmla="*/ 7864636 w 10505529"/>
              <a:gd name="connsiteY16730" fmla="*/ 4586655 h 7458372"/>
              <a:gd name="connsiteX16731" fmla="*/ 7646991 w 10505529"/>
              <a:gd name="connsiteY16731" fmla="*/ 4586655 h 7458372"/>
              <a:gd name="connsiteX16732" fmla="*/ 7637007 w 10505529"/>
              <a:gd name="connsiteY16732" fmla="*/ 4590249 h 7458372"/>
              <a:gd name="connsiteX16733" fmla="*/ 7633413 w 10505529"/>
              <a:gd name="connsiteY16733" fmla="*/ 4599700 h 7458372"/>
              <a:gd name="connsiteX16734" fmla="*/ 7637007 w 10505529"/>
              <a:gd name="connsiteY16734" fmla="*/ 4609151 h 7458372"/>
              <a:gd name="connsiteX16735" fmla="*/ 7646991 w 10505529"/>
              <a:gd name="connsiteY16735" fmla="*/ 4612613 h 7458372"/>
              <a:gd name="connsiteX16736" fmla="*/ 7652315 w 10505529"/>
              <a:gd name="connsiteY16736" fmla="*/ 4611681 h 7458372"/>
              <a:gd name="connsiteX16737" fmla="*/ 7656042 w 10505529"/>
              <a:gd name="connsiteY16737" fmla="*/ 4609284 h 7458372"/>
              <a:gd name="connsiteX16738" fmla="*/ 7658705 w 10505529"/>
              <a:gd name="connsiteY16738" fmla="*/ 4605024 h 7458372"/>
              <a:gd name="connsiteX16739" fmla="*/ 7659769 w 10505529"/>
              <a:gd name="connsiteY16739" fmla="*/ 4599566 h 7458372"/>
              <a:gd name="connsiteX16740" fmla="*/ 7658705 w 10505529"/>
              <a:gd name="connsiteY16740" fmla="*/ 4594375 h 7458372"/>
              <a:gd name="connsiteX16741" fmla="*/ 7656042 w 10505529"/>
              <a:gd name="connsiteY16741" fmla="*/ 4590249 h 7458372"/>
              <a:gd name="connsiteX16742" fmla="*/ 7652049 w 10505529"/>
              <a:gd name="connsiteY16742" fmla="*/ 4587586 h 7458372"/>
              <a:gd name="connsiteX16743" fmla="*/ 7646991 w 10505529"/>
              <a:gd name="connsiteY16743" fmla="*/ 4586655 h 7458372"/>
              <a:gd name="connsiteX16744" fmla="*/ 7429345 w 10505529"/>
              <a:gd name="connsiteY16744" fmla="*/ 4586655 h 7458372"/>
              <a:gd name="connsiteX16745" fmla="*/ 7419361 w 10505529"/>
              <a:gd name="connsiteY16745" fmla="*/ 4590249 h 7458372"/>
              <a:gd name="connsiteX16746" fmla="*/ 7415768 w 10505529"/>
              <a:gd name="connsiteY16746" fmla="*/ 4599700 h 7458372"/>
              <a:gd name="connsiteX16747" fmla="*/ 7419361 w 10505529"/>
              <a:gd name="connsiteY16747" fmla="*/ 4609151 h 7458372"/>
              <a:gd name="connsiteX16748" fmla="*/ 7429345 w 10505529"/>
              <a:gd name="connsiteY16748" fmla="*/ 4612613 h 7458372"/>
              <a:gd name="connsiteX16749" fmla="*/ 7434670 w 10505529"/>
              <a:gd name="connsiteY16749" fmla="*/ 4611681 h 7458372"/>
              <a:gd name="connsiteX16750" fmla="*/ 7438397 w 10505529"/>
              <a:gd name="connsiteY16750" fmla="*/ 4609284 h 7458372"/>
              <a:gd name="connsiteX16751" fmla="*/ 7441059 w 10505529"/>
              <a:gd name="connsiteY16751" fmla="*/ 4605024 h 7458372"/>
              <a:gd name="connsiteX16752" fmla="*/ 7442124 w 10505529"/>
              <a:gd name="connsiteY16752" fmla="*/ 4599566 h 7458372"/>
              <a:gd name="connsiteX16753" fmla="*/ 7441059 w 10505529"/>
              <a:gd name="connsiteY16753" fmla="*/ 4594375 h 7458372"/>
              <a:gd name="connsiteX16754" fmla="*/ 7438397 w 10505529"/>
              <a:gd name="connsiteY16754" fmla="*/ 4590249 h 7458372"/>
              <a:gd name="connsiteX16755" fmla="*/ 7434403 w 10505529"/>
              <a:gd name="connsiteY16755" fmla="*/ 4587586 h 7458372"/>
              <a:gd name="connsiteX16756" fmla="*/ 7429345 w 10505529"/>
              <a:gd name="connsiteY16756" fmla="*/ 4586655 h 7458372"/>
              <a:gd name="connsiteX16757" fmla="*/ 7211701 w 10505529"/>
              <a:gd name="connsiteY16757" fmla="*/ 4586655 h 7458372"/>
              <a:gd name="connsiteX16758" fmla="*/ 7201717 w 10505529"/>
              <a:gd name="connsiteY16758" fmla="*/ 4590249 h 7458372"/>
              <a:gd name="connsiteX16759" fmla="*/ 7198123 w 10505529"/>
              <a:gd name="connsiteY16759" fmla="*/ 4599700 h 7458372"/>
              <a:gd name="connsiteX16760" fmla="*/ 7201717 w 10505529"/>
              <a:gd name="connsiteY16760" fmla="*/ 4609151 h 7458372"/>
              <a:gd name="connsiteX16761" fmla="*/ 7211701 w 10505529"/>
              <a:gd name="connsiteY16761" fmla="*/ 4612613 h 7458372"/>
              <a:gd name="connsiteX16762" fmla="*/ 7217026 w 10505529"/>
              <a:gd name="connsiteY16762" fmla="*/ 4611681 h 7458372"/>
              <a:gd name="connsiteX16763" fmla="*/ 7220752 w 10505529"/>
              <a:gd name="connsiteY16763" fmla="*/ 4609284 h 7458372"/>
              <a:gd name="connsiteX16764" fmla="*/ 7223415 w 10505529"/>
              <a:gd name="connsiteY16764" fmla="*/ 4605024 h 7458372"/>
              <a:gd name="connsiteX16765" fmla="*/ 7224480 w 10505529"/>
              <a:gd name="connsiteY16765" fmla="*/ 4599566 h 7458372"/>
              <a:gd name="connsiteX16766" fmla="*/ 7223415 w 10505529"/>
              <a:gd name="connsiteY16766" fmla="*/ 4594375 h 7458372"/>
              <a:gd name="connsiteX16767" fmla="*/ 7220752 w 10505529"/>
              <a:gd name="connsiteY16767" fmla="*/ 4590249 h 7458372"/>
              <a:gd name="connsiteX16768" fmla="*/ 7216759 w 10505529"/>
              <a:gd name="connsiteY16768" fmla="*/ 4587586 h 7458372"/>
              <a:gd name="connsiteX16769" fmla="*/ 7211701 w 10505529"/>
              <a:gd name="connsiteY16769" fmla="*/ 4586655 h 7458372"/>
              <a:gd name="connsiteX16770" fmla="*/ 6994056 w 10505529"/>
              <a:gd name="connsiteY16770" fmla="*/ 4586655 h 7458372"/>
              <a:gd name="connsiteX16771" fmla="*/ 6984072 w 10505529"/>
              <a:gd name="connsiteY16771" fmla="*/ 4590249 h 7458372"/>
              <a:gd name="connsiteX16772" fmla="*/ 6980478 w 10505529"/>
              <a:gd name="connsiteY16772" fmla="*/ 4599700 h 7458372"/>
              <a:gd name="connsiteX16773" fmla="*/ 6984072 w 10505529"/>
              <a:gd name="connsiteY16773" fmla="*/ 4609151 h 7458372"/>
              <a:gd name="connsiteX16774" fmla="*/ 6994056 w 10505529"/>
              <a:gd name="connsiteY16774" fmla="*/ 4612613 h 7458372"/>
              <a:gd name="connsiteX16775" fmla="*/ 6999380 w 10505529"/>
              <a:gd name="connsiteY16775" fmla="*/ 4611681 h 7458372"/>
              <a:gd name="connsiteX16776" fmla="*/ 7003107 w 10505529"/>
              <a:gd name="connsiteY16776" fmla="*/ 4609284 h 7458372"/>
              <a:gd name="connsiteX16777" fmla="*/ 7005769 w 10505529"/>
              <a:gd name="connsiteY16777" fmla="*/ 4605024 h 7458372"/>
              <a:gd name="connsiteX16778" fmla="*/ 7006834 w 10505529"/>
              <a:gd name="connsiteY16778" fmla="*/ 4599566 h 7458372"/>
              <a:gd name="connsiteX16779" fmla="*/ 7005769 w 10505529"/>
              <a:gd name="connsiteY16779" fmla="*/ 4594375 h 7458372"/>
              <a:gd name="connsiteX16780" fmla="*/ 7003107 w 10505529"/>
              <a:gd name="connsiteY16780" fmla="*/ 4590249 h 7458372"/>
              <a:gd name="connsiteX16781" fmla="*/ 6999113 w 10505529"/>
              <a:gd name="connsiteY16781" fmla="*/ 4587586 h 7458372"/>
              <a:gd name="connsiteX16782" fmla="*/ 6994056 w 10505529"/>
              <a:gd name="connsiteY16782" fmla="*/ 4586655 h 7458372"/>
              <a:gd name="connsiteX16783" fmla="*/ 6776544 w 10505529"/>
              <a:gd name="connsiteY16783" fmla="*/ 4586655 h 7458372"/>
              <a:gd name="connsiteX16784" fmla="*/ 6766560 w 10505529"/>
              <a:gd name="connsiteY16784" fmla="*/ 4590249 h 7458372"/>
              <a:gd name="connsiteX16785" fmla="*/ 6762966 w 10505529"/>
              <a:gd name="connsiteY16785" fmla="*/ 4599700 h 7458372"/>
              <a:gd name="connsiteX16786" fmla="*/ 6766560 w 10505529"/>
              <a:gd name="connsiteY16786" fmla="*/ 4609151 h 7458372"/>
              <a:gd name="connsiteX16787" fmla="*/ 6776544 w 10505529"/>
              <a:gd name="connsiteY16787" fmla="*/ 4612613 h 7458372"/>
              <a:gd name="connsiteX16788" fmla="*/ 6781869 w 10505529"/>
              <a:gd name="connsiteY16788" fmla="*/ 4611681 h 7458372"/>
              <a:gd name="connsiteX16789" fmla="*/ 6785595 w 10505529"/>
              <a:gd name="connsiteY16789" fmla="*/ 4609284 h 7458372"/>
              <a:gd name="connsiteX16790" fmla="*/ 6788258 w 10505529"/>
              <a:gd name="connsiteY16790" fmla="*/ 4605024 h 7458372"/>
              <a:gd name="connsiteX16791" fmla="*/ 6789323 w 10505529"/>
              <a:gd name="connsiteY16791" fmla="*/ 4599566 h 7458372"/>
              <a:gd name="connsiteX16792" fmla="*/ 6788258 w 10505529"/>
              <a:gd name="connsiteY16792" fmla="*/ 4594375 h 7458372"/>
              <a:gd name="connsiteX16793" fmla="*/ 6785595 w 10505529"/>
              <a:gd name="connsiteY16793" fmla="*/ 4590249 h 7458372"/>
              <a:gd name="connsiteX16794" fmla="*/ 6781602 w 10505529"/>
              <a:gd name="connsiteY16794" fmla="*/ 4587586 h 7458372"/>
              <a:gd name="connsiteX16795" fmla="*/ 6776544 w 10505529"/>
              <a:gd name="connsiteY16795" fmla="*/ 4586655 h 7458372"/>
              <a:gd name="connsiteX16796" fmla="*/ 6558899 w 10505529"/>
              <a:gd name="connsiteY16796" fmla="*/ 4586655 h 7458372"/>
              <a:gd name="connsiteX16797" fmla="*/ 6548915 w 10505529"/>
              <a:gd name="connsiteY16797" fmla="*/ 4590249 h 7458372"/>
              <a:gd name="connsiteX16798" fmla="*/ 6545321 w 10505529"/>
              <a:gd name="connsiteY16798" fmla="*/ 4599700 h 7458372"/>
              <a:gd name="connsiteX16799" fmla="*/ 6548915 w 10505529"/>
              <a:gd name="connsiteY16799" fmla="*/ 4609151 h 7458372"/>
              <a:gd name="connsiteX16800" fmla="*/ 6558899 w 10505529"/>
              <a:gd name="connsiteY16800" fmla="*/ 4612613 h 7458372"/>
              <a:gd name="connsiteX16801" fmla="*/ 6564223 w 10505529"/>
              <a:gd name="connsiteY16801" fmla="*/ 4611681 h 7458372"/>
              <a:gd name="connsiteX16802" fmla="*/ 6567950 w 10505529"/>
              <a:gd name="connsiteY16802" fmla="*/ 4609284 h 7458372"/>
              <a:gd name="connsiteX16803" fmla="*/ 6570612 w 10505529"/>
              <a:gd name="connsiteY16803" fmla="*/ 4605024 h 7458372"/>
              <a:gd name="connsiteX16804" fmla="*/ 6571677 w 10505529"/>
              <a:gd name="connsiteY16804" fmla="*/ 4599566 h 7458372"/>
              <a:gd name="connsiteX16805" fmla="*/ 6570612 w 10505529"/>
              <a:gd name="connsiteY16805" fmla="*/ 4594375 h 7458372"/>
              <a:gd name="connsiteX16806" fmla="*/ 6567950 w 10505529"/>
              <a:gd name="connsiteY16806" fmla="*/ 4590249 h 7458372"/>
              <a:gd name="connsiteX16807" fmla="*/ 6563956 w 10505529"/>
              <a:gd name="connsiteY16807" fmla="*/ 4587586 h 7458372"/>
              <a:gd name="connsiteX16808" fmla="*/ 6558899 w 10505529"/>
              <a:gd name="connsiteY16808" fmla="*/ 4586655 h 7458372"/>
              <a:gd name="connsiteX16809" fmla="*/ 6341253 w 10505529"/>
              <a:gd name="connsiteY16809" fmla="*/ 4586655 h 7458372"/>
              <a:gd name="connsiteX16810" fmla="*/ 6331270 w 10505529"/>
              <a:gd name="connsiteY16810" fmla="*/ 4590249 h 7458372"/>
              <a:gd name="connsiteX16811" fmla="*/ 6327675 w 10505529"/>
              <a:gd name="connsiteY16811" fmla="*/ 4599700 h 7458372"/>
              <a:gd name="connsiteX16812" fmla="*/ 6331270 w 10505529"/>
              <a:gd name="connsiteY16812" fmla="*/ 4609151 h 7458372"/>
              <a:gd name="connsiteX16813" fmla="*/ 6341253 w 10505529"/>
              <a:gd name="connsiteY16813" fmla="*/ 4612613 h 7458372"/>
              <a:gd name="connsiteX16814" fmla="*/ 6346578 w 10505529"/>
              <a:gd name="connsiteY16814" fmla="*/ 4611681 h 7458372"/>
              <a:gd name="connsiteX16815" fmla="*/ 6350305 w 10505529"/>
              <a:gd name="connsiteY16815" fmla="*/ 4609284 h 7458372"/>
              <a:gd name="connsiteX16816" fmla="*/ 6352968 w 10505529"/>
              <a:gd name="connsiteY16816" fmla="*/ 4605024 h 7458372"/>
              <a:gd name="connsiteX16817" fmla="*/ 6354033 w 10505529"/>
              <a:gd name="connsiteY16817" fmla="*/ 4599566 h 7458372"/>
              <a:gd name="connsiteX16818" fmla="*/ 6352968 w 10505529"/>
              <a:gd name="connsiteY16818" fmla="*/ 4594375 h 7458372"/>
              <a:gd name="connsiteX16819" fmla="*/ 6350305 w 10505529"/>
              <a:gd name="connsiteY16819" fmla="*/ 4590249 h 7458372"/>
              <a:gd name="connsiteX16820" fmla="*/ 6346312 w 10505529"/>
              <a:gd name="connsiteY16820" fmla="*/ 4587586 h 7458372"/>
              <a:gd name="connsiteX16821" fmla="*/ 6341253 w 10505529"/>
              <a:gd name="connsiteY16821" fmla="*/ 4586655 h 7458372"/>
              <a:gd name="connsiteX16822" fmla="*/ 6123608 w 10505529"/>
              <a:gd name="connsiteY16822" fmla="*/ 4586655 h 7458372"/>
              <a:gd name="connsiteX16823" fmla="*/ 6113624 w 10505529"/>
              <a:gd name="connsiteY16823" fmla="*/ 4590249 h 7458372"/>
              <a:gd name="connsiteX16824" fmla="*/ 6110030 w 10505529"/>
              <a:gd name="connsiteY16824" fmla="*/ 4599700 h 7458372"/>
              <a:gd name="connsiteX16825" fmla="*/ 6113624 w 10505529"/>
              <a:gd name="connsiteY16825" fmla="*/ 4609151 h 7458372"/>
              <a:gd name="connsiteX16826" fmla="*/ 6123608 w 10505529"/>
              <a:gd name="connsiteY16826" fmla="*/ 4612613 h 7458372"/>
              <a:gd name="connsiteX16827" fmla="*/ 6128932 w 10505529"/>
              <a:gd name="connsiteY16827" fmla="*/ 4611681 h 7458372"/>
              <a:gd name="connsiteX16828" fmla="*/ 6132659 w 10505529"/>
              <a:gd name="connsiteY16828" fmla="*/ 4609284 h 7458372"/>
              <a:gd name="connsiteX16829" fmla="*/ 6135322 w 10505529"/>
              <a:gd name="connsiteY16829" fmla="*/ 4605024 h 7458372"/>
              <a:gd name="connsiteX16830" fmla="*/ 6136387 w 10505529"/>
              <a:gd name="connsiteY16830" fmla="*/ 4599566 h 7458372"/>
              <a:gd name="connsiteX16831" fmla="*/ 6135322 w 10505529"/>
              <a:gd name="connsiteY16831" fmla="*/ 4594375 h 7458372"/>
              <a:gd name="connsiteX16832" fmla="*/ 6132659 w 10505529"/>
              <a:gd name="connsiteY16832" fmla="*/ 4590249 h 7458372"/>
              <a:gd name="connsiteX16833" fmla="*/ 6128666 w 10505529"/>
              <a:gd name="connsiteY16833" fmla="*/ 4587586 h 7458372"/>
              <a:gd name="connsiteX16834" fmla="*/ 6123608 w 10505529"/>
              <a:gd name="connsiteY16834" fmla="*/ 4586655 h 7458372"/>
              <a:gd name="connsiteX16835" fmla="*/ 5905963 w 10505529"/>
              <a:gd name="connsiteY16835" fmla="*/ 4586655 h 7458372"/>
              <a:gd name="connsiteX16836" fmla="*/ 5895979 w 10505529"/>
              <a:gd name="connsiteY16836" fmla="*/ 4590249 h 7458372"/>
              <a:gd name="connsiteX16837" fmla="*/ 5892385 w 10505529"/>
              <a:gd name="connsiteY16837" fmla="*/ 4599700 h 7458372"/>
              <a:gd name="connsiteX16838" fmla="*/ 5895979 w 10505529"/>
              <a:gd name="connsiteY16838" fmla="*/ 4609151 h 7458372"/>
              <a:gd name="connsiteX16839" fmla="*/ 5905963 w 10505529"/>
              <a:gd name="connsiteY16839" fmla="*/ 4612613 h 7458372"/>
              <a:gd name="connsiteX16840" fmla="*/ 5911287 w 10505529"/>
              <a:gd name="connsiteY16840" fmla="*/ 4611681 h 7458372"/>
              <a:gd name="connsiteX16841" fmla="*/ 5915014 w 10505529"/>
              <a:gd name="connsiteY16841" fmla="*/ 4609284 h 7458372"/>
              <a:gd name="connsiteX16842" fmla="*/ 5917677 w 10505529"/>
              <a:gd name="connsiteY16842" fmla="*/ 4605024 h 7458372"/>
              <a:gd name="connsiteX16843" fmla="*/ 5918742 w 10505529"/>
              <a:gd name="connsiteY16843" fmla="*/ 4599566 h 7458372"/>
              <a:gd name="connsiteX16844" fmla="*/ 5917677 w 10505529"/>
              <a:gd name="connsiteY16844" fmla="*/ 4594375 h 7458372"/>
              <a:gd name="connsiteX16845" fmla="*/ 5915014 w 10505529"/>
              <a:gd name="connsiteY16845" fmla="*/ 4590249 h 7458372"/>
              <a:gd name="connsiteX16846" fmla="*/ 5911021 w 10505529"/>
              <a:gd name="connsiteY16846" fmla="*/ 4587586 h 7458372"/>
              <a:gd name="connsiteX16847" fmla="*/ 5905963 w 10505529"/>
              <a:gd name="connsiteY16847" fmla="*/ 4586655 h 7458372"/>
              <a:gd name="connsiteX16848" fmla="*/ 5688451 w 10505529"/>
              <a:gd name="connsiteY16848" fmla="*/ 4586655 h 7458372"/>
              <a:gd name="connsiteX16849" fmla="*/ 5678467 w 10505529"/>
              <a:gd name="connsiteY16849" fmla="*/ 4590249 h 7458372"/>
              <a:gd name="connsiteX16850" fmla="*/ 5674873 w 10505529"/>
              <a:gd name="connsiteY16850" fmla="*/ 4599700 h 7458372"/>
              <a:gd name="connsiteX16851" fmla="*/ 5678467 w 10505529"/>
              <a:gd name="connsiteY16851" fmla="*/ 4609151 h 7458372"/>
              <a:gd name="connsiteX16852" fmla="*/ 5688451 w 10505529"/>
              <a:gd name="connsiteY16852" fmla="*/ 4612613 h 7458372"/>
              <a:gd name="connsiteX16853" fmla="*/ 5693775 w 10505529"/>
              <a:gd name="connsiteY16853" fmla="*/ 4611681 h 7458372"/>
              <a:gd name="connsiteX16854" fmla="*/ 5697502 w 10505529"/>
              <a:gd name="connsiteY16854" fmla="*/ 4609284 h 7458372"/>
              <a:gd name="connsiteX16855" fmla="*/ 5700165 w 10505529"/>
              <a:gd name="connsiteY16855" fmla="*/ 4605024 h 7458372"/>
              <a:gd name="connsiteX16856" fmla="*/ 5701230 w 10505529"/>
              <a:gd name="connsiteY16856" fmla="*/ 4599566 h 7458372"/>
              <a:gd name="connsiteX16857" fmla="*/ 5700165 w 10505529"/>
              <a:gd name="connsiteY16857" fmla="*/ 4594375 h 7458372"/>
              <a:gd name="connsiteX16858" fmla="*/ 5697502 w 10505529"/>
              <a:gd name="connsiteY16858" fmla="*/ 4590249 h 7458372"/>
              <a:gd name="connsiteX16859" fmla="*/ 5693509 w 10505529"/>
              <a:gd name="connsiteY16859" fmla="*/ 4587586 h 7458372"/>
              <a:gd name="connsiteX16860" fmla="*/ 5688451 w 10505529"/>
              <a:gd name="connsiteY16860" fmla="*/ 4586655 h 7458372"/>
              <a:gd name="connsiteX16861" fmla="*/ 5470806 w 10505529"/>
              <a:gd name="connsiteY16861" fmla="*/ 4586655 h 7458372"/>
              <a:gd name="connsiteX16862" fmla="*/ 5460822 w 10505529"/>
              <a:gd name="connsiteY16862" fmla="*/ 4590249 h 7458372"/>
              <a:gd name="connsiteX16863" fmla="*/ 5457228 w 10505529"/>
              <a:gd name="connsiteY16863" fmla="*/ 4599700 h 7458372"/>
              <a:gd name="connsiteX16864" fmla="*/ 5460822 w 10505529"/>
              <a:gd name="connsiteY16864" fmla="*/ 4609151 h 7458372"/>
              <a:gd name="connsiteX16865" fmla="*/ 5470806 w 10505529"/>
              <a:gd name="connsiteY16865" fmla="*/ 4612613 h 7458372"/>
              <a:gd name="connsiteX16866" fmla="*/ 5476130 w 10505529"/>
              <a:gd name="connsiteY16866" fmla="*/ 4611681 h 7458372"/>
              <a:gd name="connsiteX16867" fmla="*/ 5479857 w 10505529"/>
              <a:gd name="connsiteY16867" fmla="*/ 4609284 h 7458372"/>
              <a:gd name="connsiteX16868" fmla="*/ 5482520 w 10505529"/>
              <a:gd name="connsiteY16868" fmla="*/ 4605024 h 7458372"/>
              <a:gd name="connsiteX16869" fmla="*/ 5483585 w 10505529"/>
              <a:gd name="connsiteY16869" fmla="*/ 4599566 h 7458372"/>
              <a:gd name="connsiteX16870" fmla="*/ 5482520 w 10505529"/>
              <a:gd name="connsiteY16870" fmla="*/ 4594375 h 7458372"/>
              <a:gd name="connsiteX16871" fmla="*/ 5479857 w 10505529"/>
              <a:gd name="connsiteY16871" fmla="*/ 4590249 h 7458372"/>
              <a:gd name="connsiteX16872" fmla="*/ 5475864 w 10505529"/>
              <a:gd name="connsiteY16872" fmla="*/ 4587586 h 7458372"/>
              <a:gd name="connsiteX16873" fmla="*/ 5470806 w 10505529"/>
              <a:gd name="connsiteY16873" fmla="*/ 4586655 h 7458372"/>
              <a:gd name="connsiteX16874" fmla="*/ 5253160 w 10505529"/>
              <a:gd name="connsiteY16874" fmla="*/ 4586655 h 7458372"/>
              <a:gd name="connsiteX16875" fmla="*/ 5243177 w 10505529"/>
              <a:gd name="connsiteY16875" fmla="*/ 4590249 h 7458372"/>
              <a:gd name="connsiteX16876" fmla="*/ 5239583 w 10505529"/>
              <a:gd name="connsiteY16876" fmla="*/ 4599700 h 7458372"/>
              <a:gd name="connsiteX16877" fmla="*/ 5243177 w 10505529"/>
              <a:gd name="connsiteY16877" fmla="*/ 4609151 h 7458372"/>
              <a:gd name="connsiteX16878" fmla="*/ 5253160 w 10505529"/>
              <a:gd name="connsiteY16878" fmla="*/ 4612613 h 7458372"/>
              <a:gd name="connsiteX16879" fmla="*/ 5258485 w 10505529"/>
              <a:gd name="connsiteY16879" fmla="*/ 4611681 h 7458372"/>
              <a:gd name="connsiteX16880" fmla="*/ 5262212 w 10505529"/>
              <a:gd name="connsiteY16880" fmla="*/ 4609284 h 7458372"/>
              <a:gd name="connsiteX16881" fmla="*/ 5264875 w 10505529"/>
              <a:gd name="connsiteY16881" fmla="*/ 4605024 h 7458372"/>
              <a:gd name="connsiteX16882" fmla="*/ 5265939 w 10505529"/>
              <a:gd name="connsiteY16882" fmla="*/ 4599566 h 7458372"/>
              <a:gd name="connsiteX16883" fmla="*/ 5264875 w 10505529"/>
              <a:gd name="connsiteY16883" fmla="*/ 4594375 h 7458372"/>
              <a:gd name="connsiteX16884" fmla="*/ 5262212 w 10505529"/>
              <a:gd name="connsiteY16884" fmla="*/ 4590249 h 7458372"/>
              <a:gd name="connsiteX16885" fmla="*/ 5258219 w 10505529"/>
              <a:gd name="connsiteY16885" fmla="*/ 4587586 h 7458372"/>
              <a:gd name="connsiteX16886" fmla="*/ 5253160 w 10505529"/>
              <a:gd name="connsiteY16886" fmla="*/ 4586655 h 7458372"/>
              <a:gd name="connsiteX16887" fmla="*/ 5035515 w 10505529"/>
              <a:gd name="connsiteY16887" fmla="*/ 4586655 h 7458372"/>
              <a:gd name="connsiteX16888" fmla="*/ 5025532 w 10505529"/>
              <a:gd name="connsiteY16888" fmla="*/ 4590249 h 7458372"/>
              <a:gd name="connsiteX16889" fmla="*/ 5021938 w 10505529"/>
              <a:gd name="connsiteY16889" fmla="*/ 4599700 h 7458372"/>
              <a:gd name="connsiteX16890" fmla="*/ 5025532 w 10505529"/>
              <a:gd name="connsiteY16890" fmla="*/ 4609151 h 7458372"/>
              <a:gd name="connsiteX16891" fmla="*/ 5035515 w 10505529"/>
              <a:gd name="connsiteY16891" fmla="*/ 4612613 h 7458372"/>
              <a:gd name="connsiteX16892" fmla="*/ 5040840 w 10505529"/>
              <a:gd name="connsiteY16892" fmla="*/ 4611681 h 7458372"/>
              <a:gd name="connsiteX16893" fmla="*/ 5044567 w 10505529"/>
              <a:gd name="connsiteY16893" fmla="*/ 4609284 h 7458372"/>
              <a:gd name="connsiteX16894" fmla="*/ 5047230 w 10505529"/>
              <a:gd name="connsiteY16894" fmla="*/ 4605024 h 7458372"/>
              <a:gd name="connsiteX16895" fmla="*/ 5048294 w 10505529"/>
              <a:gd name="connsiteY16895" fmla="*/ 4599566 h 7458372"/>
              <a:gd name="connsiteX16896" fmla="*/ 5047230 w 10505529"/>
              <a:gd name="connsiteY16896" fmla="*/ 4594375 h 7458372"/>
              <a:gd name="connsiteX16897" fmla="*/ 5044567 w 10505529"/>
              <a:gd name="connsiteY16897" fmla="*/ 4590249 h 7458372"/>
              <a:gd name="connsiteX16898" fmla="*/ 5040574 w 10505529"/>
              <a:gd name="connsiteY16898" fmla="*/ 4587586 h 7458372"/>
              <a:gd name="connsiteX16899" fmla="*/ 5035515 w 10505529"/>
              <a:gd name="connsiteY16899" fmla="*/ 4586655 h 7458372"/>
              <a:gd name="connsiteX16900" fmla="*/ 4817870 w 10505529"/>
              <a:gd name="connsiteY16900" fmla="*/ 4586655 h 7458372"/>
              <a:gd name="connsiteX16901" fmla="*/ 4807887 w 10505529"/>
              <a:gd name="connsiteY16901" fmla="*/ 4590249 h 7458372"/>
              <a:gd name="connsiteX16902" fmla="*/ 4804293 w 10505529"/>
              <a:gd name="connsiteY16902" fmla="*/ 4599700 h 7458372"/>
              <a:gd name="connsiteX16903" fmla="*/ 4807887 w 10505529"/>
              <a:gd name="connsiteY16903" fmla="*/ 4609151 h 7458372"/>
              <a:gd name="connsiteX16904" fmla="*/ 4817870 w 10505529"/>
              <a:gd name="connsiteY16904" fmla="*/ 4612613 h 7458372"/>
              <a:gd name="connsiteX16905" fmla="*/ 4823195 w 10505529"/>
              <a:gd name="connsiteY16905" fmla="*/ 4611681 h 7458372"/>
              <a:gd name="connsiteX16906" fmla="*/ 4826922 w 10505529"/>
              <a:gd name="connsiteY16906" fmla="*/ 4609284 h 7458372"/>
              <a:gd name="connsiteX16907" fmla="*/ 4829585 w 10505529"/>
              <a:gd name="connsiteY16907" fmla="*/ 4605024 h 7458372"/>
              <a:gd name="connsiteX16908" fmla="*/ 4830650 w 10505529"/>
              <a:gd name="connsiteY16908" fmla="*/ 4599566 h 7458372"/>
              <a:gd name="connsiteX16909" fmla="*/ 4829585 w 10505529"/>
              <a:gd name="connsiteY16909" fmla="*/ 4594375 h 7458372"/>
              <a:gd name="connsiteX16910" fmla="*/ 4826922 w 10505529"/>
              <a:gd name="connsiteY16910" fmla="*/ 4590249 h 7458372"/>
              <a:gd name="connsiteX16911" fmla="*/ 4822929 w 10505529"/>
              <a:gd name="connsiteY16911" fmla="*/ 4587586 h 7458372"/>
              <a:gd name="connsiteX16912" fmla="*/ 4817870 w 10505529"/>
              <a:gd name="connsiteY16912" fmla="*/ 4586655 h 7458372"/>
              <a:gd name="connsiteX16913" fmla="*/ 4600226 w 10505529"/>
              <a:gd name="connsiteY16913" fmla="*/ 4586655 h 7458372"/>
              <a:gd name="connsiteX16914" fmla="*/ 4590242 w 10505529"/>
              <a:gd name="connsiteY16914" fmla="*/ 4590249 h 7458372"/>
              <a:gd name="connsiteX16915" fmla="*/ 4586648 w 10505529"/>
              <a:gd name="connsiteY16915" fmla="*/ 4599700 h 7458372"/>
              <a:gd name="connsiteX16916" fmla="*/ 4590242 w 10505529"/>
              <a:gd name="connsiteY16916" fmla="*/ 4609151 h 7458372"/>
              <a:gd name="connsiteX16917" fmla="*/ 4600226 w 10505529"/>
              <a:gd name="connsiteY16917" fmla="*/ 4612613 h 7458372"/>
              <a:gd name="connsiteX16918" fmla="*/ 4605550 w 10505529"/>
              <a:gd name="connsiteY16918" fmla="*/ 4611681 h 7458372"/>
              <a:gd name="connsiteX16919" fmla="*/ 4609277 w 10505529"/>
              <a:gd name="connsiteY16919" fmla="*/ 4609284 h 7458372"/>
              <a:gd name="connsiteX16920" fmla="*/ 4611940 w 10505529"/>
              <a:gd name="connsiteY16920" fmla="*/ 4605024 h 7458372"/>
              <a:gd name="connsiteX16921" fmla="*/ 4613005 w 10505529"/>
              <a:gd name="connsiteY16921" fmla="*/ 4599566 h 7458372"/>
              <a:gd name="connsiteX16922" fmla="*/ 4611940 w 10505529"/>
              <a:gd name="connsiteY16922" fmla="*/ 4594375 h 7458372"/>
              <a:gd name="connsiteX16923" fmla="*/ 4609277 w 10505529"/>
              <a:gd name="connsiteY16923" fmla="*/ 4590249 h 7458372"/>
              <a:gd name="connsiteX16924" fmla="*/ 4605284 w 10505529"/>
              <a:gd name="connsiteY16924" fmla="*/ 4587586 h 7458372"/>
              <a:gd name="connsiteX16925" fmla="*/ 4600226 w 10505529"/>
              <a:gd name="connsiteY16925" fmla="*/ 4586655 h 7458372"/>
              <a:gd name="connsiteX16926" fmla="*/ 4382713 w 10505529"/>
              <a:gd name="connsiteY16926" fmla="*/ 4586655 h 7458372"/>
              <a:gd name="connsiteX16927" fmla="*/ 4372730 w 10505529"/>
              <a:gd name="connsiteY16927" fmla="*/ 4590249 h 7458372"/>
              <a:gd name="connsiteX16928" fmla="*/ 4369136 w 10505529"/>
              <a:gd name="connsiteY16928" fmla="*/ 4599700 h 7458372"/>
              <a:gd name="connsiteX16929" fmla="*/ 4372730 w 10505529"/>
              <a:gd name="connsiteY16929" fmla="*/ 4609151 h 7458372"/>
              <a:gd name="connsiteX16930" fmla="*/ 4382713 w 10505529"/>
              <a:gd name="connsiteY16930" fmla="*/ 4612613 h 7458372"/>
              <a:gd name="connsiteX16931" fmla="*/ 4388038 w 10505529"/>
              <a:gd name="connsiteY16931" fmla="*/ 4611681 h 7458372"/>
              <a:gd name="connsiteX16932" fmla="*/ 4391765 w 10505529"/>
              <a:gd name="connsiteY16932" fmla="*/ 4609284 h 7458372"/>
              <a:gd name="connsiteX16933" fmla="*/ 4394428 w 10505529"/>
              <a:gd name="connsiteY16933" fmla="*/ 4605024 h 7458372"/>
              <a:gd name="connsiteX16934" fmla="*/ 4395493 w 10505529"/>
              <a:gd name="connsiteY16934" fmla="*/ 4599566 h 7458372"/>
              <a:gd name="connsiteX16935" fmla="*/ 4394428 w 10505529"/>
              <a:gd name="connsiteY16935" fmla="*/ 4594375 h 7458372"/>
              <a:gd name="connsiteX16936" fmla="*/ 4391765 w 10505529"/>
              <a:gd name="connsiteY16936" fmla="*/ 4590249 h 7458372"/>
              <a:gd name="connsiteX16937" fmla="*/ 4387772 w 10505529"/>
              <a:gd name="connsiteY16937" fmla="*/ 4587586 h 7458372"/>
              <a:gd name="connsiteX16938" fmla="*/ 4382713 w 10505529"/>
              <a:gd name="connsiteY16938" fmla="*/ 4586655 h 7458372"/>
              <a:gd name="connsiteX16939" fmla="*/ 4165068 w 10505529"/>
              <a:gd name="connsiteY16939" fmla="*/ 4586655 h 7458372"/>
              <a:gd name="connsiteX16940" fmla="*/ 4155084 w 10505529"/>
              <a:gd name="connsiteY16940" fmla="*/ 4590249 h 7458372"/>
              <a:gd name="connsiteX16941" fmla="*/ 4151490 w 10505529"/>
              <a:gd name="connsiteY16941" fmla="*/ 4599700 h 7458372"/>
              <a:gd name="connsiteX16942" fmla="*/ 4155084 w 10505529"/>
              <a:gd name="connsiteY16942" fmla="*/ 4609151 h 7458372"/>
              <a:gd name="connsiteX16943" fmla="*/ 4165068 w 10505529"/>
              <a:gd name="connsiteY16943" fmla="*/ 4612613 h 7458372"/>
              <a:gd name="connsiteX16944" fmla="*/ 4170392 w 10505529"/>
              <a:gd name="connsiteY16944" fmla="*/ 4611681 h 7458372"/>
              <a:gd name="connsiteX16945" fmla="*/ 4174119 w 10505529"/>
              <a:gd name="connsiteY16945" fmla="*/ 4609284 h 7458372"/>
              <a:gd name="connsiteX16946" fmla="*/ 4176782 w 10505529"/>
              <a:gd name="connsiteY16946" fmla="*/ 4605024 h 7458372"/>
              <a:gd name="connsiteX16947" fmla="*/ 4177847 w 10505529"/>
              <a:gd name="connsiteY16947" fmla="*/ 4599566 h 7458372"/>
              <a:gd name="connsiteX16948" fmla="*/ 4176782 w 10505529"/>
              <a:gd name="connsiteY16948" fmla="*/ 4594375 h 7458372"/>
              <a:gd name="connsiteX16949" fmla="*/ 4174119 w 10505529"/>
              <a:gd name="connsiteY16949" fmla="*/ 4590249 h 7458372"/>
              <a:gd name="connsiteX16950" fmla="*/ 4170126 w 10505529"/>
              <a:gd name="connsiteY16950" fmla="*/ 4587586 h 7458372"/>
              <a:gd name="connsiteX16951" fmla="*/ 4165068 w 10505529"/>
              <a:gd name="connsiteY16951" fmla="*/ 4586655 h 7458372"/>
              <a:gd name="connsiteX16952" fmla="*/ 3947674 w 10505529"/>
              <a:gd name="connsiteY16952" fmla="*/ 4586655 h 7458372"/>
              <a:gd name="connsiteX16953" fmla="*/ 3937691 w 10505529"/>
              <a:gd name="connsiteY16953" fmla="*/ 4590249 h 7458372"/>
              <a:gd name="connsiteX16954" fmla="*/ 3934097 w 10505529"/>
              <a:gd name="connsiteY16954" fmla="*/ 4599700 h 7458372"/>
              <a:gd name="connsiteX16955" fmla="*/ 3937691 w 10505529"/>
              <a:gd name="connsiteY16955" fmla="*/ 4609151 h 7458372"/>
              <a:gd name="connsiteX16956" fmla="*/ 3947674 w 10505529"/>
              <a:gd name="connsiteY16956" fmla="*/ 4612613 h 7458372"/>
              <a:gd name="connsiteX16957" fmla="*/ 3953002 w 10505529"/>
              <a:gd name="connsiteY16957" fmla="*/ 4611681 h 7458372"/>
              <a:gd name="connsiteX16958" fmla="*/ 3956729 w 10505529"/>
              <a:gd name="connsiteY16958" fmla="*/ 4609284 h 7458372"/>
              <a:gd name="connsiteX16959" fmla="*/ 3959392 w 10505529"/>
              <a:gd name="connsiteY16959" fmla="*/ 4605024 h 7458372"/>
              <a:gd name="connsiteX16960" fmla="*/ 3960457 w 10505529"/>
              <a:gd name="connsiteY16960" fmla="*/ 4599566 h 7458372"/>
              <a:gd name="connsiteX16961" fmla="*/ 3959392 w 10505529"/>
              <a:gd name="connsiteY16961" fmla="*/ 4594375 h 7458372"/>
              <a:gd name="connsiteX16962" fmla="*/ 3956729 w 10505529"/>
              <a:gd name="connsiteY16962" fmla="*/ 4590249 h 7458372"/>
              <a:gd name="connsiteX16963" fmla="*/ 3952735 w 10505529"/>
              <a:gd name="connsiteY16963" fmla="*/ 4587586 h 7458372"/>
              <a:gd name="connsiteX16964" fmla="*/ 3947674 w 10505529"/>
              <a:gd name="connsiteY16964" fmla="*/ 4586655 h 7458372"/>
              <a:gd name="connsiteX16965" fmla="*/ 3730018 w 10505529"/>
              <a:gd name="connsiteY16965" fmla="*/ 4586655 h 7458372"/>
              <a:gd name="connsiteX16966" fmla="*/ 3720031 w 10505529"/>
              <a:gd name="connsiteY16966" fmla="*/ 4590249 h 7458372"/>
              <a:gd name="connsiteX16967" fmla="*/ 3716439 w 10505529"/>
              <a:gd name="connsiteY16967" fmla="*/ 4599700 h 7458372"/>
              <a:gd name="connsiteX16968" fmla="*/ 3720031 w 10505529"/>
              <a:gd name="connsiteY16968" fmla="*/ 4609151 h 7458372"/>
              <a:gd name="connsiteX16969" fmla="*/ 3730018 w 10505529"/>
              <a:gd name="connsiteY16969" fmla="*/ 4612613 h 7458372"/>
              <a:gd name="connsiteX16970" fmla="*/ 3735343 w 10505529"/>
              <a:gd name="connsiteY16970" fmla="*/ 4611681 h 7458372"/>
              <a:gd name="connsiteX16971" fmla="*/ 3739070 w 10505529"/>
              <a:gd name="connsiteY16971" fmla="*/ 4609284 h 7458372"/>
              <a:gd name="connsiteX16972" fmla="*/ 3741733 w 10505529"/>
              <a:gd name="connsiteY16972" fmla="*/ 4605024 h 7458372"/>
              <a:gd name="connsiteX16973" fmla="*/ 3742798 w 10505529"/>
              <a:gd name="connsiteY16973" fmla="*/ 4599566 h 7458372"/>
              <a:gd name="connsiteX16974" fmla="*/ 3741733 w 10505529"/>
              <a:gd name="connsiteY16974" fmla="*/ 4594375 h 7458372"/>
              <a:gd name="connsiteX16975" fmla="*/ 3739070 w 10505529"/>
              <a:gd name="connsiteY16975" fmla="*/ 4590249 h 7458372"/>
              <a:gd name="connsiteX16976" fmla="*/ 3735077 w 10505529"/>
              <a:gd name="connsiteY16976" fmla="*/ 4587586 h 7458372"/>
              <a:gd name="connsiteX16977" fmla="*/ 3730018 w 10505529"/>
              <a:gd name="connsiteY16977" fmla="*/ 4586655 h 7458372"/>
              <a:gd name="connsiteX16978" fmla="*/ 3512359 w 10505529"/>
              <a:gd name="connsiteY16978" fmla="*/ 4586655 h 7458372"/>
              <a:gd name="connsiteX16979" fmla="*/ 3502372 w 10505529"/>
              <a:gd name="connsiteY16979" fmla="*/ 4590249 h 7458372"/>
              <a:gd name="connsiteX16980" fmla="*/ 3498778 w 10505529"/>
              <a:gd name="connsiteY16980" fmla="*/ 4599700 h 7458372"/>
              <a:gd name="connsiteX16981" fmla="*/ 3502372 w 10505529"/>
              <a:gd name="connsiteY16981" fmla="*/ 4609151 h 7458372"/>
              <a:gd name="connsiteX16982" fmla="*/ 3512359 w 10505529"/>
              <a:gd name="connsiteY16982" fmla="*/ 4612613 h 7458372"/>
              <a:gd name="connsiteX16983" fmla="*/ 3517685 w 10505529"/>
              <a:gd name="connsiteY16983" fmla="*/ 4611681 h 7458372"/>
              <a:gd name="connsiteX16984" fmla="*/ 3521412 w 10505529"/>
              <a:gd name="connsiteY16984" fmla="*/ 4609284 h 7458372"/>
              <a:gd name="connsiteX16985" fmla="*/ 3524075 w 10505529"/>
              <a:gd name="connsiteY16985" fmla="*/ 4605024 h 7458372"/>
              <a:gd name="connsiteX16986" fmla="*/ 3525141 w 10505529"/>
              <a:gd name="connsiteY16986" fmla="*/ 4599566 h 7458372"/>
              <a:gd name="connsiteX16987" fmla="*/ 3524075 w 10505529"/>
              <a:gd name="connsiteY16987" fmla="*/ 4594375 h 7458372"/>
              <a:gd name="connsiteX16988" fmla="*/ 3521412 w 10505529"/>
              <a:gd name="connsiteY16988" fmla="*/ 4590249 h 7458372"/>
              <a:gd name="connsiteX16989" fmla="*/ 3517419 w 10505529"/>
              <a:gd name="connsiteY16989" fmla="*/ 4587586 h 7458372"/>
              <a:gd name="connsiteX16990" fmla="*/ 3512359 w 10505529"/>
              <a:gd name="connsiteY16990" fmla="*/ 4586655 h 7458372"/>
              <a:gd name="connsiteX16991" fmla="*/ 3294835 w 10505529"/>
              <a:gd name="connsiteY16991" fmla="*/ 4586655 h 7458372"/>
              <a:gd name="connsiteX16992" fmla="*/ 3284849 w 10505529"/>
              <a:gd name="connsiteY16992" fmla="*/ 4590249 h 7458372"/>
              <a:gd name="connsiteX16993" fmla="*/ 3281255 w 10505529"/>
              <a:gd name="connsiteY16993" fmla="*/ 4599700 h 7458372"/>
              <a:gd name="connsiteX16994" fmla="*/ 3284849 w 10505529"/>
              <a:gd name="connsiteY16994" fmla="*/ 4609151 h 7458372"/>
              <a:gd name="connsiteX16995" fmla="*/ 3294835 w 10505529"/>
              <a:gd name="connsiteY16995" fmla="*/ 4612613 h 7458372"/>
              <a:gd name="connsiteX16996" fmla="*/ 3300160 w 10505529"/>
              <a:gd name="connsiteY16996" fmla="*/ 4611681 h 7458372"/>
              <a:gd name="connsiteX16997" fmla="*/ 3303887 w 10505529"/>
              <a:gd name="connsiteY16997" fmla="*/ 4609284 h 7458372"/>
              <a:gd name="connsiteX16998" fmla="*/ 3306550 w 10505529"/>
              <a:gd name="connsiteY16998" fmla="*/ 4605024 h 7458372"/>
              <a:gd name="connsiteX16999" fmla="*/ 3307614 w 10505529"/>
              <a:gd name="connsiteY16999" fmla="*/ 4599566 h 7458372"/>
              <a:gd name="connsiteX17000" fmla="*/ 3306550 w 10505529"/>
              <a:gd name="connsiteY17000" fmla="*/ 4594375 h 7458372"/>
              <a:gd name="connsiteX17001" fmla="*/ 3303887 w 10505529"/>
              <a:gd name="connsiteY17001" fmla="*/ 4590249 h 7458372"/>
              <a:gd name="connsiteX17002" fmla="*/ 3299894 w 10505529"/>
              <a:gd name="connsiteY17002" fmla="*/ 4587586 h 7458372"/>
              <a:gd name="connsiteX17003" fmla="*/ 3294835 w 10505529"/>
              <a:gd name="connsiteY17003" fmla="*/ 4586655 h 7458372"/>
              <a:gd name="connsiteX17004" fmla="*/ 3077310 w 10505529"/>
              <a:gd name="connsiteY17004" fmla="*/ 4586655 h 7458372"/>
              <a:gd name="connsiteX17005" fmla="*/ 3067327 w 10505529"/>
              <a:gd name="connsiteY17005" fmla="*/ 4590249 h 7458372"/>
              <a:gd name="connsiteX17006" fmla="*/ 3063595 w 10505529"/>
              <a:gd name="connsiteY17006" fmla="*/ 4599700 h 7458372"/>
              <a:gd name="connsiteX17007" fmla="*/ 3067192 w 10505529"/>
              <a:gd name="connsiteY17007" fmla="*/ 4609151 h 7458372"/>
              <a:gd name="connsiteX17008" fmla="*/ 3077176 w 10505529"/>
              <a:gd name="connsiteY17008" fmla="*/ 4612613 h 7458372"/>
              <a:gd name="connsiteX17009" fmla="*/ 3082635 w 10505529"/>
              <a:gd name="connsiteY17009" fmla="*/ 4611681 h 7458372"/>
              <a:gd name="connsiteX17010" fmla="*/ 3086362 w 10505529"/>
              <a:gd name="connsiteY17010" fmla="*/ 4609284 h 7458372"/>
              <a:gd name="connsiteX17011" fmla="*/ 3089025 w 10505529"/>
              <a:gd name="connsiteY17011" fmla="*/ 4605024 h 7458372"/>
              <a:gd name="connsiteX17012" fmla="*/ 3089957 w 10505529"/>
              <a:gd name="connsiteY17012" fmla="*/ 4599566 h 7458372"/>
              <a:gd name="connsiteX17013" fmla="*/ 3089025 w 10505529"/>
              <a:gd name="connsiteY17013" fmla="*/ 4594375 h 7458372"/>
              <a:gd name="connsiteX17014" fmla="*/ 3086362 w 10505529"/>
              <a:gd name="connsiteY17014" fmla="*/ 4590249 h 7458372"/>
              <a:gd name="connsiteX17015" fmla="*/ 3082369 w 10505529"/>
              <a:gd name="connsiteY17015" fmla="*/ 4587586 h 7458372"/>
              <a:gd name="connsiteX17016" fmla="*/ 3077310 w 10505529"/>
              <a:gd name="connsiteY17016" fmla="*/ 4586655 h 7458372"/>
              <a:gd name="connsiteX17017" fmla="*/ 2859518 w 10505529"/>
              <a:gd name="connsiteY17017" fmla="*/ 4586655 h 7458372"/>
              <a:gd name="connsiteX17018" fmla="*/ 2849532 w 10505529"/>
              <a:gd name="connsiteY17018" fmla="*/ 4590249 h 7458372"/>
              <a:gd name="connsiteX17019" fmla="*/ 2845935 w 10505529"/>
              <a:gd name="connsiteY17019" fmla="*/ 4599700 h 7458372"/>
              <a:gd name="connsiteX17020" fmla="*/ 2849532 w 10505529"/>
              <a:gd name="connsiteY17020" fmla="*/ 4609151 h 7458372"/>
              <a:gd name="connsiteX17021" fmla="*/ 2859518 w 10505529"/>
              <a:gd name="connsiteY17021" fmla="*/ 4612613 h 7458372"/>
              <a:gd name="connsiteX17022" fmla="*/ 2864843 w 10505529"/>
              <a:gd name="connsiteY17022" fmla="*/ 4611681 h 7458372"/>
              <a:gd name="connsiteX17023" fmla="*/ 2868570 w 10505529"/>
              <a:gd name="connsiteY17023" fmla="*/ 4609284 h 7458372"/>
              <a:gd name="connsiteX17024" fmla="*/ 2871233 w 10505529"/>
              <a:gd name="connsiteY17024" fmla="*/ 4605024 h 7458372"/>
              <a:gd name="connsiteX17025" fmla="*/ 2872164 w 10505529"/>
              <a:gd name="connsiteY17025" fmla="*/ 4599566 h 7458372"/>
              <a:gd name="connsiteX17026" fmla="*/ 2871233 w 10505529"/>
              <a:gd name="connsiteY17026" fmla="*/ 4594375 h 7458372"/>
              <a:gd name="connsiteX17027" fmla="*/ 2868570 w 10505529"/>
              <a:gd name="connsiteY17027" fmla="*/ 4590249 h 7458372"/>
              <a:gd name="connsiteX17028" fmla="*/ 2864578 w 10505529"/>
              <a:gd name="connsiteY17028" fmla="*/ 4587586 h 7458372"/>
              <a:gd name="connsiteX17029" fmla="*/ 2859518 w 10505529"/>
              <a:gd name="connsiteY17029" fmla="*/ 4586655 h 7458372"/>
              <a:gd name="connsiteX17030" fmla="*/ 2641860 w 10505529"/>
              <a:gd name="connsiteY17030" fmla="*/ 4586655 h 7458372"/>
              <a:gd name="connsiteX17031" fmla="*/ 2631877 w 10505529"/>
              <a:gd name="connsiteY17031" fmla="*/ 4590249 h 7458372"/>
              <a:gd name="connsiteX17032" fmla="*/ 2628282 w 10505529"/>
              <a:gd name="connsiteY17032" fmla="*/ 4599700 h 7458372"/>
              <a:gd name="connsiteX17033" fmla="*/ 2631877 w 10505529"/>
              <a:gd name="connsiteY17033" fmla="*/ 4609151 h 7458372"/>
              <a:gd name="connsiteX17034" fmla="*/ 2641860 w 10505529"/>
              <a:gd name="connsiteY17034" fmla="*/ 4612613 h 7458372"/>
              <a:gd name="connsiteX17035" fmla="*/ 2647185 w 10505529"/>
              <a:gd name="connsiteY17035" fmla="*/ 4611681 h 7458372"/>
              <a:gd name="connsiteX17036" fmla="*/ 2650912 w 10505529"/>
              <a:gd name="connsiteY17036" fmla="*/ 4609284 h 7458372"/>
              <a:gd name="connsiteX17037" fmla="*/ 2653576 w 10505529"/>
              <a:gd name="connsiteY17037" fmla="*/ 4605024 h 7458372"/>
              <a:gd name="connsiteX17038" fmla="*/ 2654506 w 10505529"/>
              <a:gd name="connsiteY17038" fmla="*/ 4599566 h 7458372"/>
              <a:gd name="connsiteX17039" fmla="*/ 2653576 w 10505529"/>
              <a:gd name="connsiteY17039" fmla="*/ 4594375 h 7458372"/>
              <a:gd name="connsiteX17040" fmla="*/ 2650912 w 10505529"/>
              <a:gd name="connsiteY17040" fmla="*/ 4590249 h 7458372"/>
              <a:gd name="connsiteX17041" fmla="*/ 2646919 w 10505529"/>
              <a:gd name="connsiteY17041" fmla="*/ 4587586 h 7458372"/>
              <a:gd name="connsiteX17042" fmla="*/ 2641860 w 10505529"/>
              <a:gd name="connsiteY17042" fmla="*/ 4586655 h 7458372"/>
              <a:gd name="connsiteX17043" fmla="*/ 2424201 w 10505529"/>
              <a:gd name="connsiteY17043" fmla="*/ 4586655 h 7458372"/>
              <a:gd name="connsiteX17044" fmla="*/ 2414218 w 10505529"/>
              <a:gd name="connsiteY17044" fmla="*/ 4590249 h 7458372"/>
              <a:gd name="connsiteX17045" fmla="*/ 2410624 w 10505529"/>
              <a:gd name="connsiteY17045" fmla="*/ 4599700 h 7458372"/>
              <a:gd name="connsiteX17046" fmla="*/ 2414218 w 10505529"/>
              <a:gd name="connsiteY17046" fmla="*/ 4609151 h 7458372"/>
              <a:gd name="connsiteX17047" fmla="*/ 2424201 w 10505529"/>
              <a:gd name="connsiteY17047" fmla="*/ 4612613 h 7458372"/>
              <a:gd name="connsiteX17048" fmla="*/ 2429527 w 10505529"/>
              <a:gd name="connsiteY17048" fmla="*/ 4611681 h 7458372"/>
              <a:gd name="connsiteX17049" fmla="*/ 2433254 w 10505529"/>
              <a:gd name="connsiteY17049" fmla="*/ 4609284 h 7458372"/>
              <a:gd name="connsiteX17050" fmla="*/ 2435917 w 10505529"/>
              <a:gd name="connsiteY17050" fmla="*/ 4605024 h 7458372"/>
              <a:gd name="connsiteX17051" fmla="*/ 2436848 w 10505529"/>
              <a:gd name="connsiteY17051" fmla="*/ 4599566 h 7458372"/>
              <a:gd name="connsiteX17052" fmla="*/ 2435917 w 10505529"/>
              <a:gd name="connsiteY17052" fmla="*/ 4594375 h 7458372"/>
              <a:gd name="connsiteX17053" fmla="*/ 2433254 w 10505529"/>
              <a:gd name="connsiteY17053" fmla="*/ 4590249 h 7458372"/>
              <a:gd name="connsiteX17054" fmla="*/ 2429261 w 10505529"/>
              <a:gd name="connsiteY17054" fmla="*/ 4587586 h 7458372"/>
              <a:gd name="connsiteX17055" fmla="*/ 2424201 w 10505529"/>
              <a:gd name="connsiteY17055" fmla="*/ 4586655 h 7458372"/>
              <a:gd name="connsiteX17056" fmla="*/ 2206544 w 10505529"/>
              <a:gd name="connsiteY17056" fmla="*/ 4586655 h 7458372"/>
              <a:gd name="connsiteX17057" fmla="*/ 2196560 w 10505529"/>
              <a:gd name="connsiteY17057" fmla="*/ 4590249 h 7458372"/>
              <a:gd name="connsiteX17058" fmla="*/ 2192966 w 10505529"/>
              <a:gd name="connsiteY17058" fmla="*/ 4599700 h 7458372"/>
              <a:gd name="connsiteX17059" fmla="*/ 2196560 w 10505529"/>
              <a:gd name="connsiteY17059" fmla="*/ 4609151 h 7458372"/>
              <a:gd name="connsiteX17060" fmla="*/ 2206544 w 10505529"/>
              <a:gd name="connsiteY17060" fmla="*/ 4612613 h 7458372"/>
              <a:gd name="connsiteX17061" fmla="*/ 2211868 w 10505529"/>
              <a:gd name="connsiteY17061" fmla="*/ 4611681 h 7458372"/>
              <a:gd name="connsiteX17062" fmla="*/ 2215595 w 10505529"/>
              <a:gd name="connsiteY17062" fmla="*/ 4609284 h 7458372"/>
              <a:gd name="connsiteX17063" fmla="*/ 2218259 w 10505529"/>
              <a:gd name="connsiteY17063" fmla="*/ 4605024 h 7458372"/>
              <a:gd name="connsiteX17064" fmla="*/ 2219190 w 10505529"/>
              <a:gd name="connsiteY17064" fmla="*/ 4599566 h 7458372"/>
              <a:gd name="connsiteX17065" fmla="*/ 2218259 w 10505529"/>
              <a:gd name="connsiteY17065" fmla="*/ 4594375 h 7458372"/>
              <a:gd name="connsiteX17066" fmla="*/ 2215595 w 10505529"/>
              <a:gd name="connsiteY17066" fmla="*/ 4590249 h 7458372"/>
              <a:gd name="connsiteX17067" fmla="*/ 2211602 w 10505529"/>
              <a:gd name="connsiteY17067" fmla="*/ 4587586 h 7458372"/>
              <a:gd name="connsiteX17068" fmla="*/ 2206544 w 10505529"/>
              <a:gd name="connsiteY17068" fmla="*/ 4586655 h 7458372"/>
              <a:gd name="connsiteX17069" fmla="*/ 1989018 w 10505529"/>
              <a:gd name="connsiteY17069" fmla="*/ 4586655 h 7458372"/>
              <a:gd name="connsiteX17070" fmla="*/ 1979035 w 10505529"/>
              <a:gd name="connsiteY17070" fmla="*/ 4590249 h 7458372"/>
              <a:gd name="connsiteX17071" fmla="*/ 1975441 w 10505529"/>
              <a:gd name="connsiteY17071" fmla="*/ 4599700 h 7458372"/>
              <a:gd name="connsiteX17072" fmla="*/ 1979035 w 10505529"/>
              <a:gd name="connsiteY17072" fmla="*/ 4609151 h 7458372"/>
              <a:gd name="connsiteX17073" fmla="*/ 1989018 w 10505529"/>
              <a:gd name="connsiteY17073" fmla="*/ 4612613 h 7458372"/>
              <a:gd name="connsiteX17074" fmla="*/ 1994343 w 10505529"/>
              <a:gd name="connsiteY17074" fmla="*/ 4611681 h 7458372"/>
              <a:gd name="connsiteX17075" fmla="*/ 1998070 w 10505529"/>
              <a:gd name="connsiteY17075" fmla="*/ 4609284 h 7458372"/>
              <a:gd name="connsiteX17076" fmla="*/ 2000733 w 10505529"/>
              <a:gd name="connsiteY17076" fmla="*/ 4605024 h 7458372"/>
              <a:gd name="connsiteX17077" fmla="*/ 2001664 w 10505529"/>
              <a:gd name="connsiteY17077" fmla="*/ 4599566 h 7458372"/>
              <a:gd name="connsiteX17078" fmla="*/ 2000733 w 10505529"/>
              <a:gd name="connsiteY17078" fmla="*/ 4594375 h 7458372"/>
              <a:gd name="connsiteX17079" fmla="*/ 1998070 w 10505529"/>
              <a:gd name="connsiteY17079" fmla="*/ 4590249 h 7458372"/>
              <a:gd name="connsiteX17080" fmla="*/ 1994077 w 10505529"/>
              <a:gd name="connsiteY17080" fmla="*/ 4587586 h 7458372"/>
              <a:gd name="connsiteX17081" fmla="*/ 1989018 w 10505529"/>
              <a:gd name="connsiteY17081" fmla="*/ 4586655 h 7458372"/>
              <a:gd name="connsiteX17082" fmla="*/ 1771382 w 10505529"/>
              <a:gd name="connsiteY17082" fmla="*/ 4586655 h 7458372"/>
              <a:gd name="connsiteX17083" fmla="*/ 1761400 w 10505529"/>
              <a:gd name="connsiteY17083" fmla="*/ 4590249 h 7458372"/>
              <a:gd name="connsiteX17084" fmla="*/ 1757806 w 10505529"/>
              <a:gd name="connsiteY17084" fmla="*/ 4599700 h 7458372"/>
              <a:gd name="connsiteX17085" fmla="*/ 1761400 w 10505529"/>
              <a:gd name="connsiteY17085" fmla="*/ 4609151 h 7458372"/>
              <a:gd name="connsiteX17086" fmla="*/ 1771382 w 10505529"/>
              <a:gd name="connsiteY17086" fmla="*/ 4612613 h 7458372"/>
              <a:gd name="connsiteX17087" fmla="*/ 1776707 w 10505529"/>
              <a:gd name="connsiteY17087" fmla="*/ 4611681 h 7458372"/>
              <a:gd name="connsiteX17088" fmla="*/ 1780434 w 10505529"/>
              <a:gd name="connsiteY17088" fmla="*/ 4609284 h 7458372"/>
              <a:gd name="connsiteX17089" fmla="*/ 1783096 w 10505529"/>
              <a:gd name="connsiteY17089" fmla="*/ 4605024 h 7458372"/>
              <a:gd name="connsiteX17090" fmla="*/ 1784161 w 10505529"/>
              <a:gd name="connsiteY17090" fmla="*/ 4599566 h 7458372"/>
              <a:gd name="connsiteX17091" fmla="*/ 1783096 w 10505529"/>
              <a:gd name="connsiteY17091" fmla="*/ 4594375 h 7458372"/>
              <a:gd name="connsiteX17092" fmla="*/ 1780434 w 10505529"/>
              <a:gd name="connsiteY17092" fmla="*/ 4590249 h 7458372"/>
              <a:gd name="connsiteX17093" fmla="*/ 1776441 w 10505529"/>
              <a:gd name="connsiteY17093" fmla="*/ 4587586 h 7458372"/>
              <a:gd name="connsiteX17094" fmla="*/ 1771382 w 10505529"/>
              <a:gd name="connsiteY17094" fmla="*/ 4586655 h 7458372"/>
              <a:gd name="connsiteX17095" fmla="*/ 1553744 w 10505529"/>
              <a:gd name="connsiteY17095" fmla="*/ 4586655 h 7458372"/>
              <a:gd name="connsiteX17096" fmla="*/ 1543761 w 10505529"/>
              <a:gd name="connsiteY17096" fmla="*/ 4590249 h 7458372"/>
              <a:gd name="connsiteX17097" fmla="*/ 1540167 w 10505529"/>
              <a:gd name="connsiteY17097" fmla="*/ 4599700 h 7458372"/>
              <a:gd name="connsiteX17098" fmla="*/ 1543761 w 10505529"/>
              <a:gd name="connsiteY17098" fmla="*/ 4609151 h 7458372"/>
              <a:gd name="connsiteX17099" fmla="*/ 1553744 w 10505529"/>
              <a:gd name="connsiteY17099" fmla="*/ 4612613 h 7458372"/>
              <a:gd name="connsiteX17100" fmla="*/ 1559069 w 10505529"/>
              <a:gd name="connsiteY17100" fmla="*/ 4611681 h 7458372"/>
              <a:gd name="connsiteX17101" fmla="*/ 1562796 w 10505529"/>
              <a:gd name="connsiteY17101" fmla="*/ 4609284 h 7458372"/>
              <a:gd name="connsiteX17102" fmla="*/ 1565459 w 10505529"/>
              <a:gd name="connsiteY17102" fmla="*/ 4605024 h 7458372"/>
              <a:gd name="connsiteX17103" fmla="*/ 1566524 w 10505529"/>
              <a:gd name="connsiteY17103" fmla="*/ 4599566 h 7458372"/>
              <a:gd name="connsiteX17104" fmla="*/ 1565459 w 10505529"/>
              <a:gd name="connsiteY17104" fmla="*/ 4594375 h 7458372"/>
              <a:gd name="connsiteX17105" fmla="*/ 1562796 w 10505529"/>
              <a:gd name="connsiteY17105" fmla="*/ 4590249 h 7458372"/>
              <a:gd name="connsiteX17106" fmla="*/ 1558803 w 10505529"/>
              <a:gd name="connsiteY17106" fmla="*/ 4587586 h 7458372"/>
              <a:gd name="connsiteX17107" fmla="*/ 1553744 w 10505529"/>
              <a:gd name="connsiteY17107" fmla="*/ 4586655 h 7458372"/>
              <a:gd name="connsiteX17108" fmla="*/ 1336100 w 10505529"/>
              <a:gd name="connsiteY17108" fmla="*/ 4586655 h 7458372"/>
              <a:gd name="connsiteX17109" fmla="*/ 1326117 w 10505529"/>
              <a:gd name="connsiteY17109" fmla="*/ 4590249 h 7458372"/>
              <a:gd name="connsiteX17110" fmla="*/ 1322522 w 10505529"/>
              <a:gd name="connsiteY17110" fmla="*/ 4599700 h 7458372"/>
              <a:gd name="connsiteX17111" fmla="*/ 1326117 w 10505529"/>
              <a:gd name="connsiteY17111" fmla="*/ 4609151 h 7458372"/>
              <a:gd name="connsiteX17112" fmla="*/ 1336100 w 10505529"/>
              <a:gd name="connsiteY17112" fmla="*/ 4612613 h 7458372"/>
              <a:gd name="connsiteX17113" fmla="*/ 1341426 w 10505529"/>
              <a:gd name="connsiteY17113" fmla="*/ 4611681 h 7458372"/>
              <a:gd name="connsiteX17114" fmla="*/ 1345154 w 10505529"/>
              <a:gd name="connsiteY17114" fmla="*/ 4609284 h 7458372"/>
              <a:gd name="connsiteX17115" fmla="*/ 1347816 w 10505529"/>
              <a:gd name="connsiteY17115" fmla="*/ 4605024 h 7458372"/>
              <a:gd name="connsiteX17116" fmla="*/ 1348882 w 10505529"/>
              <a:gd name="connsiteY17116" fmla="*/ 4599566 h 7458372"/>
              <a:gd name="connsiteX17117" fmla="*/ 1347816 w 10505529"/>
              <a:gd name="connsiteY17117" fmla="*/ 4594375 h 7458372"/>
              <a:gd name="connsiteX17118" fmla="*/ 1345154 w 10505529"/>
              <a:gd name="connsiteY17118" fmla="*/ 4590249 h 7458372"/>
              <a:gd name="connsiteX17119" fmla="*/ 1341159 w 10505529"/>
              <a:gd name="connsiteY17119" fmla="*/ 4587586 h 7458372"/>
              <a:gd name="connsiteX17120" fmla="*/ 1336100 w 10505529"/>
              <a:gd name="connsiteY17120" fmla="*/ 4586655 h 7458372"/>
              <a:gd name="connsiteX17121" fmla="*/ 1118588 w 10505529"/>
              <a:gd name="connsiteY17121" fmla="*/ 4586655 h 7458372"/>
              <a:gd name="connsiteX17122" fmla="*/ 1108603 w 10505529"/>
              <a:gd name="connsiteY17122" fmla="*/ 4590249 h 7458372"/>
              <a:gd name="connsiteX17123" fmla="*/ 1104876 w 10505529"/>
              <a:gd name="connsiteY17123" fmla="*/ 4599700 h 7458372"/>
              <a:gd name="connsiteX17124" fmla="*/ 1108470 w 10505529"/>
              <a:gd name="connsiteY17124" fmla="*/ 4609151 h 7458372"/>
              <a:gd name="connsiteX17125" fmla="*/ 1118455 w 10505529"/>
              <a:gd name="connsiteY17125" fmla="*/ 4612613 h 7458372"/>
              <a:gd name="connsiteX17126" fmla="*/ 1123912 w 10505529"/>
              <a:gd name="connsiteY17126" fmla="*/ 4611681 h 7458372"/>
              <a:gd name="connsiteX17127" fmla="*/ 1127642 w 10505529"/>
              <a:gd name="connsiteY17127" fmla="*/ 4609284 h 7458372"/>
              <a:gd name="connsiteX17128" fmla="*/ 1130305 w 10505529"/>
              <a:gd name="connsiteY17128" fmla="*/ 4605024 h 7458372"/>
              <a:gd name="connsiteX17129" fmla="*/ 1131370 w 10505529"/>
              <a:gd name="connsiteY17129" fmla="*/ 4599566 h 7458372"/>
              <a:gd name="connsiteX17130" fmla="*/ 1130305 w 10505529"/>
              <a:gd name="connsiteY17130" fmla="*/ 4594375 h 7458372"/>
              <a:gd name="connsiteX17131" fmla="*/ 1127642 w 10505529"/>
              <a:gd name="connsiteY17131" fmla="*/ 4590249 h 7458372"/>
              <a:gd name="connsiteX17132" fmla="*/ 1123646 w 10505529"/>
              <a:gd name="connsiteY17132" fmla="*/ 4587586 h 7458372"/>
              <a:gd name="connsiteX17133" fmla="*/ 1118588 w 10505529"/>
              <a:gd name="connsiteY17133" fmla="*/ 4586655 h 7458372"/>
              <a:gd name="connsiteX17134" fmla="*/ 901076 w 10505529"/>
              <a:gd name="connsiteY17134" fmla="*/ 4586655 h 7458372"/>
              <a:gd name="connsiteX17135" fmla="*/ 891092 w 10505529"/>
              <a:gd name="connsiteY17135" fmla="*/ 4590249 h 7458372"/>
              <a:gd name="connsiteX17136" fmla="*/ 887365 w 10505529"/>
              <a:gd name="connsiteY17136" fmla="*/ 4599700 h 7458372"/>
              <a:gd name="connsiteX17137" fmla="*/ 890959 w 10505529"/>
              <a:gd name="connsiteY17137" fmla="*/ 4609151 h 7458372"/>
              <a:gd name="connsiteX17138" fmla="*/ 900942 w 10505529"/>
              <a:gd name="connsiteY17138" fmla="*/ 4612613 h 7458372"/>
              <a:gd name="connsiteX17139" fmla="*/ 906400 w 10505529"/>
              <a:gd name="connsiteY17139" fmla="*/ 4611681 h 7458372"/>
              <a:gd name="connsiteX17140" fmla="*/ 910128 w 10505529"/>
              <a:gd name="connsiteY17140" fmla="*/ 4609284 h 7458372"/>
              <a:gd name="connsiteX17141" fmla="*/ 912790 w 10505529"/>
              <a:gd name="connsiteY17141" fmla="*/ 4605024 h 7458372"/>
              <a:gd name="connsiteX17142" fmla="*/ 913855 w 10505529"/>
              <a:gd name="connsiteY17142" fmla="*/ 4599566 h 7458372"/>
              <a:gd name="connsiteX17143" fmla="*/ 912790 w 10505529"/>
              <a:gd name="connsiteY17143" fmla="*/ 4594375 h 7458372"/>
              <a:gd name="connsiteX17144" fmla="*/ 910128 w 10505529"/>
              <a:gd name="connsiteY17144" fmla="*/ 4590249 h 7458372"/>
              <a:gd name="connsiteX17145" fmla="*/ 906134 w 10505529"/>
              <a:gd name="connsiteY17145" fmla="*/ 4587586 h 7458372"/>
              <a:gd name="connsiteX17146" fmla="*/ 901076 w 10505529"/>
              <a:gd name="connsiteY17146" fmla="*/ 4586655 h 7458372"/>
              <a:gd name="connsiteX17147" fmla="*/ 683301 w 10505529"/>
              <a:gd name="connsiteY17147" fmla="*/ 4586655 h 7458372"/>
              <a:gd name="connsiteX17148" fmla="*/ 673318 w 10505529"/>
              <a:gd name="connsiteY17148" fmla="*/ 4590249 h 7458372"/>
              <a:gd name="connsiteX17149" fmla="*/ 669724 w 10505529"/>
              <a:gd name="connsiteY17149" fmla="*/ 4599700 h 7458372"/>
              <a:gd name="connsiteX17150" fmla="*/ 673318 w 10505529"/>
              <a:gd name="connsiteY17150" fmla="*/ 4609151 h 7458372"/>
              <a:gd name="connsiteX17151" fmla="*/ 683301 w 10505529"/>
              <a:gd name="connsiteY17151" fmla="*/ 4612613 h 7458372"/>
              <a:gd name="connsiteX17152" fmla="*/ 688626 w 10505529"/>
              <a:gd name="connsiteY17152" fmla="*/ 4611681 h 7458372"/>
              <a:gd name="connsiteX17153" fmla="*/ 692353 w 10505529"/>
              <a:gd name="connsiteY17153" fmla="*/ 4609284 h 7458372"/>
              <a:gd name="connsiteX17154" fmla="*/ 695016 w 10505529"/>
              <a:gd name="connsiteY17154" fmla="*/ 4605024 h 7458372"/>
              <a:gd name="connsiteX17155" fmla="*/ 696081 w 10505529"/>
              <a:gd name="connsiteY17155" fmla="*/ 4599566 h 7458372"/>
              <a:gd name="connsiteX17156" fmla="*/ 695016 w 10505529"/>
              <a:gd name="connsiteY17156" fmla="*/ 4594375 h 7458372"/>
              <a:gd name="connsiteX17157" fmla="*/ 692353 w 10505529"/>
              <a:gd name="connsiteY17157" fmla="*/ 4590249 h 7458372"/>
              <a:gd name="connsiteX17158" fmla="*/ 688360 w 10505529"/>
              <a:gd name="connsiteY17158" fmla="*/ 4587586 h 7458372"/>
              <a:gd name="connsiteX17159" fmla="*/ 683301 w 10505529"/>
              <a:gd name="connsiteY17159" fmla="*/ 4586655 h 7458372"/>
              <a:gd name="connsiteX17160" fmla="*/ 465659 w 10505529"/>
              <a:gd name="connsiteY17160" fmla="*/ 4586655 h 7458372"/>
              <a:gd name="connsiteX17161" fmla="*/ 455676 w 10505529"/>
              <a:gd name="connsiteY17161" fmla="*/ 4590249 h 7458372"/>
              <a:gd name="connsiteX17162" fmla="*/ 452082 w 10505529"/>
              <a:gd name="connsiteY17162" fmla="*/ 4599700 h 7458372"/>
              <a:gd name="connsiteX17163" fmla="*/ 455676 w 10505529"/>
              <a:gd name="connsiteY17163" fmla="*/ 4609151 h 7458372"/>
              <a:gd name="connsiteX17164" fmla="*/ 465659 w 10505529"/>
              <a:gd name="connsiteY17164" fmla="*/ 4612613 h 7458372"/>
              <a:gd name="connsiteX17165" fmla="*/ 470984 w 10505529"/>
              <a:gd name="connsiteY17165" fmla="*/ 4611681 h 7458372"/>
              <a:gd name="connsiteX17166" fmla="*/ 474711 w 10505529"/>
              <a:gd name="connsiteY17166" fmla="*/ 4609284 h 7458372"/>
              <a:gd name="connsiteX17167" fmla="*/ 477375 w 10505529"/>
              <a:gd name="connsiteY17167" fmla="*/ 4605024 h 7458372"/>
              <a:gd name="connsiteX17168" fmla="*/ 478439 w 10505529"/>
              <a:gd name="connsiteY17168" fmla="*/ 4599566 h 7458372"/>
              <a:gd name="connsiteX17169" fmla="*/ 477375 w 10505529"/>
              <a:gd name="connsiteY17169" fmla="*/ 4594375 h 7458372"/>
              <a:gd name="connsiteX17170" fmla="*/ 474711 w 10505529"/>
              <a:gd name="connsiteY17170" fmla="*/ 4590249 h 7458372"/>
              <a:gd name="connsiteX17171" fmla="*/ 470718 w 10505529"/>
              <a:gd name="connsiteY17171" fmla="*/ 4587586 h 7458372"/>
              <a:gd name="connsiteX17172" fmla="*/ 465659 w 10505529"/>
              <a:gd name="connsiteY17172" fmla="*/ 4586655 h 7458372"/>
              <a:gd name="connsiteX17173" fmla="*/ 248017 w 10505529"/>
              <a:gd name="connsiteY17173" fmla="*/ 4586655 h 7458372"/>
              <a:gd name="connsiteX17174" fmla="*/ 238035 w 10505529"/>
              <a:gd name="connsiteY17174" fmla="*/ 4590249 h 7458372"/>
              <a:gd name="connsiteX17175" fmla="*/ 234441 w 10505529"/>
              <a:gd name="connsiteY17175" fmla="*/ 4599700 h 7458372"/>
              <a:gd name="connsiteX17176" fmla="*/ 238035 w 10505529"/>
              <a:gd name="connsiteY17176" fmla="*/ 4609151 h 7458372"/>
              <a:gd name="connsiteX17177" fmla="*/ 248017 w 10505529"/>
              <a:gd name="connsiteY17177" fmla="*/ 4612613 h 7458372"/>
              <a:gd name="connsiteX17178" fmla="*/ 253342 w 10505529"/>
              <a:gd name="connsiteY17178" fmla="*/ 4611681 h 7458372"/>
              <a:gd name="connsiteX17179" fmla="*/ 257069 w 10505529"/>
              <a:gd name="connsiteY17179" fmla="*/ 4609284 h 7458372"/>
              <a:gd name="connsiteX17180" fmla="*/ 259732 w 10505529"/>
              <a:gd name="connsiteY17180" fmla="*/ 4605024 h 7458372"/>
              <a:gd name="connsiteX17181" fmla="*/ 260797 w 10505529"/>
              <a:gd name="connsiteY17181" fmla="*/ 4599566 h 7458372"/>
              <a:gd name="connsiteX17182" fmla="*/ 259732 w 10505529"/>
              <a:gd name="connsiteY17182" fmla="*/ 4594375 h 7458372"/>
              <a:gd name="connsiteX17183" fmla="*/ 257069 w 10505529"/>
              <a:gd name="connsiteY17183" fmla="*/ 4590249 h 7458372"/>
              <a:gd name="connsiteX17184" fmla="*/ 253076 w 10505529"/>
              <a:gd name="connsiteY17184" fmla="*/ 4587586 h 7458372"/>
              <a:gd name="connsiteX17185" fmla="*/ 248017 w 10505529"/>
              <a:gd name="connsiteY17185" fmla="*/ 4586655 h 7458372"/>
              <a:gd name="connsiteX17186" fmla="*/ 30375 w 10505529"/>
              <a:gd name="connsiteY17186" fmla="*/ 4586655 h 7458372"/>
              <a:gd name="connsiteX17187" fmla="*/ 20392 w 10505529"/>
              <a:gd name="connsiteY17187" fmla="*/ 4590249 h 7458372"/>
              <a:gd name="connsiteX17188" fmla="*/ 16799 w 10505529"/>
              <a:gd name="connsiteY17188" fmla="*/ 4599700 h 7458372"/>
              <a:gd name="connsiteX17189" fmla="*/ 20392 w 10505529"/>
              <a:gd name="connsiteY17189" fmla="*/ 4609151 h 7458372"/>
              <a:gd name="connsiteX17190" fmla="*/ 30375 w 10505529"/>
              <a:gd name="connsiteY17190" fmla="*/ 4612613 h 7458372"/>
              <a:gd name="connsiteX17191" fmla="*/ 35700 w 10505529"/>
              <a:gd name="connsiteY17191" fmla="*/ 4611681 h 7458372"/>
              <a:gd name="connsiteX17192" fmla="*/ 39427 w 10505529"/>
              <a:gd name="connsiteY17192" fmla="*/ 4609284 h 7458372"/>
              <a:gd name="connsiteX17193" fmla="*/ 42090 w 10505529"/>
              <a:gd name="connsiteY17193" fmla="*/ 4605024 h 7458372"/>
              <a:gd name="connsiteX17194" fmla="*/ 43021 w 10505529"/>
              <a:gd name="connsiteY17194" fmla="*/ 4599566 h 7458372"/>
              <a:gd name="connsiteX17195" fmla="*/ 42090 w 10505529"/>
              <a:gd name="connsiteY17195" fmla="*/ 4594375 h 7458372"/>
              <a:gd name="connsiteX17196" fmla="*/ 39427 w 10505529"/>
              <a:gd name="connsiteY17196" fmla="*/ 4590249 h 7458372"/>
              <a:gd name="connsiteX17197" fmla="*/ 35434 w 10505529"/>
              <a:gd name="connsiteY17197" fmla="*/ 4587586 h 7458372"/>
              <a:gd name="connsiteX17198" fmla="*/ 30375 w 10505529"/>
              <a:gd name="connsiteY17198" fmla="*/ 4586655 h 7458372"/>
              <a:gd name="connsiteX17199" fmla="*/ 10475977 w 10505529"/>
              <a:gd name="connsiteY17199" fmla="*/ 4570015 h 7458372"/>
              <a:gd name="connsiteX17200" fmla="*/ 10487824 w 10505529"/>
              <a:gd name="connsiteY17200" fmla="*/ 4572677 h 7458372"/>
              <a:gd name="connsiteX17201" fmla="*/ 10497143 w 10505529"/>
              <a:gd name="connsiteY17201" fmla="*/ 4579067 h 7458372"/>
              <a:gd name="connsiteX17202" fmla="*/ 10503266 w 10505529"/>
              <a:gd name="connsiteY17202" fmla="*/ 4588385 h 7458372"/>
              <a:gd name="connsiteX17203" fmla="*/ 10505529 w 10505529"/>
              <a:gd name="connsiteY17203" fmla="*/ 4599833 h 7458372"/>
              <a:gd name="connsiteX17204" fmla="*/ 10503266 w 10505529"/>
              <a:gd name="connsiteY17204" fmla="*/ 4611548 h 7458372"/>
              <a:gd name="connsiteX17205" fmla="*/ 10497143 w 10505529"/>
              <a:gd name="connsiteY17205" fmla="*/ 4620866 h 7458372"/>
              <a:gd name="connsiteX17206" fmla="*/ 10487824 w 10505529"/>
              <a:gd name="connsiteY17206" fmla="*/ 4627123 h 7458372"/>
              <a:gd name="connsiteX17207" fmla="*/ 10475977 w 10505529"/>
              <a:gd name="connsiteY17207" fmla="*/ 4629386 h 7458372"/>
              <a:gd name="connsiteX17208" fmla="*/ 10454145 w 10505529"/>
              <a:gd name="connsiteY17208" fmla="*/ 4620866 h 7458372"/>
              <a:gd name="connsiteX17209" fmla="*/ 10445759 w 10505529"/>
              <a:gd name="connsiteY17209" fmla="*/ 4599700 h 7458372"/>
              <a:gd name="connsiteX17210" fmla="*/ 10454145 w 10505529"/>
              <a:gd name="connsiteY17210" fmla="*/ 4578667 h 7458372"/>
              <a:gd name="connsiteX17211" fmla="*/ 10475977 w 10505529"/>
              <a:gd name="connsiteY17211" fmla="*/ 4570015 h 7458372"/>
              <a:gd name="connsiteX17212" fmla="*/ 10258466 w 10505529"/>
              <a:gd name="connsiteY17212" fmla="*/ 4570015 h 7458372"/>
              <a:gd name="connsiteX17213" fmla="*/ 10270313 w 10505529"/>
              <a:gd name="connsiteY17213" fmla="*/ 4572677 h 7458372"/>
              <a:gd name="connsiteX17214" fmla="*/ 10279631 w 10505529"/>
              <a:gd name="connsiteY17214" fmla="*/ 4579067 h 7458372"/>
              <a:gd name="connsiteX17215" fmla="*/ 10285754 w 10505529"/>
              <a:gd name="connsiteY17215" fmla="*/ 4588385 h 7458372"/>
              <a:gd name="connsiteX17216" fmla="*/ 10288017 w 10505529"/>
              <a:gd name="connsiteY17216" fmla="*/ 4599833 h 7458372"/>
              <a:gd name="connsiteX17217" fmla="*/ 10285754 w 10505529"/>
              <a:gd name="connsiteY17217" fmla="*/ 4611548 h 7458372"/>
              <a:gd name="connsiteX17218" fmla="*/ 10279631 w 10505529"/>
              <a:gd name="connsiteY17218" fmla="*/ 4620866 h 7458372"/>
              <a:gd name="connsiteX17219" fmla="*/ 10270313 w 10505529"/>
              <a:gd name="connsiteY17219" fmla="*/ 4627123 h 7458372"/>
              <a:gd name="connsiteX17220" fmla="*/ 10258466 w 10505529"/>
              <a:gd name="connsiteY17220" fmla="*/ 4629386 h 7458372"/>
              <a:gd name="connsiteX17221" fmla="*/ 10236633 w 10505529"/>
              <a:gd name="connsiteY17221" fmla="*/ 4620866 h 7458372"/>
              <a:gd name="connsiteX17222" fmla="*/ 10228247 w 10505529"/>
              <a:gd name="connsiteY17222" fmla="*/ 4599700 h 7458372"/>
              <a:gd name="connsiteX17223" fmla="*/ 10236633 w 10505529"/>
              <a:gd name="connsiteY17223" fmla="*/ 4578667 h 7458372"/>
              <a:gd name="connsiteX17224" fmla="*/ 10258466 w 10505529"/>
              <a:gd name="connsiteY17224" fmla="*/ 4570015 h 7458372"/>
              <a:gd name="connsiteX17225" fmla="*/ 10040820 w 10505529"/>
              <a:gd name="connsiteY17225" fmla="*/ 4570015 h 7458372"/>
              <a:gd name="connsiteX17226" fmla="*/ 10052534 w 10505529"/>
              <a:gd name="connsiteY17226" fmla="*/ 4572677 h 7458372"/>
              <a:gd name="connsiteX17227" fmla="*/ 10061852 w 10505529"/>
              <a:gd name="connsiteY17227" fmla="*/ 4579067 h 7458372"/>
              <a:gd name="connsiteX17228" fmla="*/ 10067976 w 10505529"/>
              <a:gd name="connsiteY17228" fmla="*/ 4588385 h 7458372"/>
              <a:gd name="connsiteX17229" fmla="*/ 10070239 w 10505529"/>
              <a:gd name="connsiteY17229" fmla="*/ 4599833 h 7458372"/>
              <a:gd name="connsiteX17230" fmla="*/ 10067976 w 10505529"/>
              <a:gd name="connsiteY17230" fmla="*/ 4611548 h 7458372"/>
              <a:gd name="connsiteX17231" fmla="*/ 10061852 w 10505529"/>
              <a:gd name="connsiteY17231" fmla="*/ 4620866 h 7458372"/>
              <a:gd name="connsiteX17232" fmla="*/ 10052534 w 10505529"/>
              <a:gd name="connsiteY17232" fmla="*/ 4627123 h 7458372"/>
              <a:gd name="connsiteX17233" fmla="*/ 10040820 w 10505529"/>
              <a:gd name="connsiteY17233" fmla="*/ 4629386 h 7458372"/>
              <a:gd name="connsiteX17234" fmla="*/ 10018988 w 10505529"/>
              <a:gd name="connsiteY17234" fmla="*/ 4620866 h 7458372"/>
              <a:gd name="connsiteX17235" fmla="*/ 10010602 w 10505529"/>
              <a:gd name="connsiteY17235" fmla="*/ 4599700 h 7458372"/>
              <a:gd name="connsiteX17236" fmla="*/ 10018988 w 10505529"/>
              <a:gd name="connsiteY17236" fmla="*/ 4578667 h 7458372"/>
              <a:gd name="connsiteX17237" fmla="*/ 10040820 w 10505529"/>
              <a:gd name="connsiteY17237" fmla="*/ 4570015 h 7458372"/>
              <a:gd name="connsiteX17238" fmla="*/ 9823176 w 10505529"/>
              <a:gd name="connsiteY17238" fmla="*/ 4570015 h 7458372"/>
              <a:gd name="connsiteX17239" fmla="*/ 9834890 w 10505529"/>
              <a:gd name="connsiteY17239" fmla="*/ 4572677 h 7458372"/>
              <a:gd name="connsiteX17240" fmla="*/ 9844208 w 10505529"/>
              <a:gd name="connsiteY17240" fmla="*/ 4579067 h 7458372"/>
              <a:gd name="connsiteX17241" fmla="*/ 9850331 w 10505529"/>
              <a:gd name="connsiteY17241" fmla="*/ 4588385 h 7458372"/>
              <a:gd name="connsiteX17242" fmla="*/ 9852595 w 10505529"/>
              <a:gd name="connsiteY17242" fmla="*/ 4599833 h 7458372"/>
              <a:gd name="connsiteX17243" fmla="*/ 9850331 w 10505529"/>
              <a:gd name="connsiteY17243" fmla="*/ 4611548 h 7458372"/>
              <a:gd name="connsiteX17244" fmla="*/ 9844208 w 10505529"/>
              <a:gd name="connsiteY17244" fmla="*/ 4620866 h 7458372"/>
              <a:gd name="connsiteX17245" fmla="*/ 9834890 w 10505529"/>
              <a:gd name="connsiteY17245" fmla="*/ 4627123 h 7458372"/>
              <a:gd name="connsiteX17246" fmla="*/ 9823176 w 10505529"/>
              <a:gd name="connsiteY17246" fmla="*/ 4629386 h 7458372"/>
              <a:gd name="connsiteX17247" fmla="*/ 9801343 w 10505529"/>
              <a:gd name="connsiteY17247" fmla="*/ 4620866 h 7458372"/>
              <a:gd name="connsiteX17248" fmla="*/ 9792957 w 10505529"/>
              <a:gd name="connsiteY17248" fmla="*/ 4599700 h 7458372"/>
              <a:gd name="connsiteX17249" fmla="*/ 9801343 w 10505529"/>
              <a:gd name="connsiteY17249" fmla="*/ 4578667 h 7458372"/>
              <a:gd name="connsiteX17250" fmla="*/ 9823176 w 10505529"/>
              <a:gd name="connsiteY17250" fmla="*/ 4570015 h 7458372"/>
              <a:gd name="connsiteX17251" fmla="*/ 9605531 w 10505529"/>
              <a:gd name="connsiteY17251" fmla="*/ 4570015 h 7458372"/>
              <a:gd name="connsiteX17252" fmla="*/ 9617245 w 10505529"/>
              <a:gd name="connsiteY17252" fmla="*/ 4572677 h 7458372"/>
              <a:gd name="connsiteX17253" fmla="*/ 9626562 w 10505529"/>
              <a:gd name="connsiteY17253" fmla="*/ 4579067 h 7458372"/>
              <a:gd name="connsiteX17254" fmla="*/ 9632686 w 10505529"/>
              <a:gd name="connsiteY17254" fmla="*/ 4588385 h 7458372"/>
              <a:gd name="connsiteX17255" fmla="*/ 9634949 w 10505529"/>
              <a:gd name="connsiteY17255" fmla="*/ 4599833 h 7458372"/>
              <a:gd name="connsiteX17256" fmla="*/ 9632686 w 10505529"/>
              <a:gd name="connsiteY17256" fmla="*/ 4611548 h 7458372"/>
              <a:gd name="connsiteX17257" fmla="*/ 9626562 w 10505529"/>
              <a:gd name="connsiteY17257" fmla="*/ 4620866 h 7458372"/>
              <a:gd name="connsiteX17258" fmla="*/ 9617245 w 10505529"/>
              <a:gd name="connsiteY17258" fmla="*/ 4627123 h 7458372"/>
              <a:gd name="connsiteX17259" fmla="*/ 9605531 w 10505529"/>
              <a:gd name="connsiteY17259" fmla="*/ 4629386 h 7458372"/>
              <a:gd name="connsiteX17260" fmla="*/ 9583698 w 10505529"/>
              <a:gd name="connsiteY17260" fmla="*/ 4620866 h 7458372"/>
              <a:gd name="connsiteX17261" fmla="*/ 9575312 w 10505529"/>
              <a:gd name="connsiteY17261" fmla="*/ 4599700 h 7458372"/>
              <a:gd name="connsiteX17262" fmla="*/ 9583698 w 10505529"/>
              <a:gd name="connsiteY17262" fmla="*/ 4578667 h 7458372"/>
              <a:gd name="connsiteX17263" fmla="*/ 9605531 w 10505529"/>
              <a:gd name="connsiteY17263" fmla="*/ 4570015 h 7458372"/>
              <a:gd name="connsiteX17264" fmla="*/ 9387885 w 10505529"/>
              <a:gd name="connsiteY17264" fmla="*/ 4570015 h 7458372"/>
              <a:gd name="connsiteX17265" fmla="*/ 9399599 w 10505529"/>
              <a:gd name="connsiteY17265" fmla="*/ 4572677 h 7458372"/>
              <a:gd name="connsiteX17266" fmla="*/ 9408917 w 10505529"/>
              <a:gd name="connsiteY17266" fmla="*/ 4579067 h 7458372"/>
              <a:gd name="connsiteX17267" fmla="*/ 9415041 w 10505529"/>
              <a:gd name="connsiteY17267" fmla="*/ 4588385 h 7458372"/>
              <a:gd name="connsiteX17268" fmla="*/ 9417304 w 10505529"/>
              <a:gd name="connsiteY17268" fmla="*/ 4599833 h 7458372"/>
              <a:gd name="connsiteX17269" fmla="*/ 9415041 w 10505529"/>
              <a:gd name="connsiteY17269" fmla="*/ 4611548 h 7458372"/>
              <a:gd name="connsiteX17270" fmla="*/ 9408917 w 10505529"/>
              <a:gd name="connsiteY17270" fmla="*/ 4620866 h 7458372"/>
              <a:gd name="connsiteX17271" fmla="*/ 9399599 w 10505529"/>
              <a:gd name="connsiteY17271" fmla="*/ 4627123 h 7458372"/>
              <a:gd name="connsiteX17272" fmla="*/ 9387885 w 10505529"/>
              <a:gd name="connsiteY17272" fmla="*/ 4629386 h 7458372"/>
              <a:gd name="connsiteX17273" fmla="*/ 9366053 w 10505529"/>
              <a:gd name="connsiteY17273" fmla="*/ 4620866 h 7458372"/>
              <a:gd name="connsiteX17274" fmla="*/ 9357667 w 10505529"/>
              <a:gd name="connsiteY17274" fmla="*/ 4599700 h 7458372"/>
              <a:gd name="connsiteX17275" fmla="*/ 9366053 w 10505529"/>
              <a:gd name="connsiteY17275" fmla="*/ 4578667 h 7458372"/>
              <a:gd name="connsiteX17276" fmla="*/ 9387885 w 10505529"/>
              <a:gd name="connsiteY17276" fmla="*/ 4570015 h 7458372"/>
              <a:gd name="connsiteX17277" fmla="*/ 9170374 w 10505529"/>
              <a:gd name="connsiteY17277" fmla="*/ 4570015 h 7458372"/>
              <a:gd name="connsiteX17278" fmla="*/ 9182088 w 10505529"/>
              <a:gd name="connsiteY17278" fmla="*/ 4572677 h 7458372"/>
              <a:gd name="connsiteX17279" fmla="*/ 9191405 w 10505529"/>
              <a:gd name="connsiteY17279" fmla="*/ 4579067 h 7458372"/>
              <a:gd name="connsiteX17280" fmla="*/ 9197529 w 10505529"/>
              <a:gd name="connsiteY17280" fmla="*/ 4588385 h 7458372"/>
              <a:gd name="connsiteX17281" fmla="*/ 9199792 w 10505529"/>
              <a:gd name="connsiteY17281" fmla="*/ 4599833 h 7458372"/>
              <a:gd name="connsiteX17282" fmla="*/ 9197529 w 10505529"/>
              <a:gd name="connsiteY17282" fmla="*/ 4611548 h 7458372"/>
              <a:gd name="connsiteX17283" fmla="*/ 9191405 w 10505529"/>
              <a:gd name="connsiteY17283" fmla="*/ 4620866 h 7458372"/>
              <a:gd name="connsiteX17284" fmla="*/ 9182088 w 10505529"/>
              <a:gd name="connsiteY17284" fmla="*/ 4627123 h 7458372"/>
              <a:gd name="connsiteX17285" fmla="*/ 9170374 w 10505529"/>
              <a:gd name="connsiteY17285" fmla="*/ 4629386 h 7458372"/>
              <a:gd name="connsiteX17286" fmla="*/ 9148541 w 10505529"/>
              <a:gd name="connsiteY17286" fmla="*/ 4620866 h 7458372"/>
              <a:gd name="connsiteX17287" fmla="*/ 9140155 w 10505529"/>
              <a:gd name="connsiteY17287" fmla="*/ 4599700 h 7458372"/>
              <a:gd name="connsiteX17288" fmla="*/ 9148541 w 10505529"/>
              <a:gd name="connsiteY17288" fmla="*/ 4578667 h 7458372"/>
              <a:gd name="connsiteX17289" fmla="*/ 9170374 w 10505529"/>
              <a:gd name="connsiteY17289" fmla="*/ 4570015 h 7458372"/>
              <a:gd name="connsiteX17290" fmla="*/ 8952728 w 10505529"/>
              <a:gd name="connsiteY17290" fmla="*/ 4570015 h 7458372"/>
              <a:gd name="connsiteX17291" fmla="*/ 8964442 w 10505529"/>
              <a:gd name="connsiteY17291" fmla="*/ 4572677 h 7458372"/>
              <a:gd name="connsiteX17292" fmla="*/ 8973760 w 10505529"/>
              <a:gd name="connsiteY17292" fmla="*/ 4579067 h 7458372"/>
              <a:gd name="connsiteX17293" fmla="*/ 8979884 w 10505529"/>
              <a:gd name="connsiteY17293" fmla="*/ 4588385 h 7458372"/>
              <a:gd name="connsiteX17294" fmla="*/ 8982147 w 10505529"/>
              <a:gd name="connsiteY17294" fmla="*/ 4599833 h 7458372"/>
              <a:gd name="connsiteX17295" fmla="*/ 8979884 w 10505529"/>
              <a:gd name="connsiteY17295" fmla="*/ 4611548 h 7458372"/>
              <a:gd name="connsiteX17296" fmla="*/ 8973760 w 10505529"/>
              <a:gd name="connsiteY17296" fmla="*/ 4620866 h 7458372"/>
              <a:gd name="connsiteX17297" fmla="*/ 8964442 w 10505529"/>
              <a:gd name="connsiteY17297" fmla="*/ 4627123 h 7458372"/>
              <a:gd name="connsiteX17298" fmla="*/ 8952728 w 10505529"/>
              <a:gd name="connsiteY17298" fmla="*/ 4629386 h 7458372"/>
              <a:gd name="connsiteX17299" fmla="*/ 8930896 w 10505529"/>
              <a:gd name="connsiteY17299" fmla="*/ 4620866 h 7458372"/>
              <a:gd name="connsiteX17300" fmla="*/ 8922510 w 10505529"/>
              <a:gd name="connsiteY17300" fmla="*/ 4599700 h 7458372"/>
              <a:gd name="connsiteX17301" fmla="*/ 8930896 w 10505529"/>
              <a:gd name="connsiteY17301" fmla="*/ 4578667 h 7458372"/>
              <a:gd name="connsiteX17302" fmla="*/ 8952728 w 10505529"/>
              <a:gd name="connsiteY17302" fmla="*/ 4570015 h 7458372"/>
              <a:gd name="connsiteX17303" fmla="*/ 8735083 w 10505529"/>
              <a:gd name="connsiteY17303" fmla="*/ 4570015 h 7458372"/>
              <a:gd name="connsiteX17304" fmla="*/ 8746797 w 10505529"/>
              <a:gd name="connsiteY17304" fmla="*/ 4572677 h 7458372"/>
              <a:gd name="connsiteX17305" fmla="*/ 8756115 w 10505529"/>
              <a:gd name="connsiteY17305" fmla="*/ 4579067 h 7458372"/>
              <a:gd name="connsiteX17306" fmla="*/ 8762238 w 10505529"/>
              <a:gd name="connsiteY17306" fmla="*/ 4588385 h 7458372"/>
              <a:gd name="connsiteX17307" fmla="*/ 8764502 w 10505529"/>
              <a:gd name="connsiteY17307" fmla="*/ 4599833 h 7458372"/>
              <a:gd name="connsiteX17308" fmla="*/ 8762238 w 10505529"/>
              <a:gd name="connsiteY17308" fmla="*/ 4611548 h 7458372"/>
              <a:gd name="connsiteX17309" fmla="*/ 8756115 w 10505529"/>
              <a:gd name="connsiteY17309" fmla="*/ 4620866 h 7458372"/>
              <a:gd name="connsiteX17310" fmla="*/ 8746797 w 10505529"/>
              <a:gd name="connsiteY17310" fmla="*/ 4627123 h 7458372"/>
              <a:gd name="connsiteX17311" fmla="*/ 8735083 w 10505529"/>
              <a:gd name="connsiteY17311" fmla="*/ 4629386 h 7458372"/>
              <a:gd name="connsiteX17312" fmla="*/ 8713250 w 10505529"/>
              <a:gd name="connsiteY17312" fmla="*/ 4620866 h 7458372"/>
              <a:gd name="connsiteX17313" fmla="*/ 8704864 w 10505529"/>
              <a:gd name="connsiteY17313" fmla="*/ 4599700 h 7458372"/>
              <a:gd name="connsiteX17314" fmla="*/ 8713250 w 10505529"/>
              <a:gd name="connsiteY17314" fmla="*/ 4578667 h 7458372"/>
              <a:gd name="connsiteX17315" fmla="*/ 8735083 w 10505529"/>
              <a:gd name="connsiteY17315" fmla="*/ 4570015 h 7458372"/>
              <a:gd name="connsiteX17316" fmla="*/ 8517438 w 10505529"/>
              <a:gd name="connsiteY17316" fmla="*/ 4570015 h 7458372"/>
              <a:gd name="connsiteX17317" fmla="*/ 8529152 w 10505529"/>
              <a:gd name="connsiteY17317" fmla="*/ 4572677 h 7458372"/>
              <a:gd name="connsiteX17318" fmla="*/ 8538470 w 10505529"/>
              <a:gd name="connsiteY17318" fmla="*/ 4579067 h 7458372"/>
              <a:gd name="connsiteX17319" fmla="*/ 8544594 w 10505529"/>
              <a:gd name="connsiteY17319" fmla="*/ 4588385 h 7458372"/>
              <a:gd name="connsiteX17320" fmla="*/ 8546857 w 10505529"/>
              <a:gd name="connsiteY17320" fmla="*/ 4599833 h 7458372"/>
              <a:gd name="connsiteX17321" fmla="*/ 8544594 w 10505529"/>
              <a:gd name="connsiteY17321" fmla="*/ 4611548 h 7458372"/>
              <a:gd name="connsiteX17322" fmla="*/ 8538470 w 10505529"/>
              <a:gd name="connsiteY17322" fmla="*/ 4620866 h 7458372"/>
              <a:gd name="connsiteX17323" fmla="*/ 8529152 w 10505529"/>
              <a:gd name="connsiteY17323" fmla="*/ 4627123 h 7458372"/>
              <a:gd name="connsiteX17324" fmla="*/ 8517438 w 10505529"/>
              <a:gd name="connsiteY17324" fmla="*/ 4629386 h 7458372"/>
              <a:gd name="connsiteX17325" fmla="*/ 8495606 w 10505529"/>
              <a:gd name="connsiteY17325" fmla="*/ 4620866 h 7458372"/>
              <a:gd name="connsiteX17326" fmla="*/ 8487220 w 10505529"/>
              <a:gd name="connsiteY17326" fmla="*/ 4599700 h 7458372"/>
              <a:gd name="connsiteX17327" fmla="*/ 8495606 w 10505529"/>
              <a:gd name="connsiteY17327" fmla="*/ 4578667 h 7458372"/>
              <a:gd name="connsiteX17328" fmla="*/ 8517438 w 10505529"/>
              <a:gd name="connsiteY17328" fmla="*/ 4570015 h 7458372"/>
              <a:gd name="connsiteX17329" fmla="*/ 8299793 w 10505529"/>
              <a:gd name="connsiteY17329" fmla="*/ 4570015 h 7458372"/>
              <a:gd name="connsiteX17330" fmla="*/ 8311507 w 10505529"/>
              <a:gd name="connsiteY17330" fmla="*/ 4572677 h 7458372"/>
              <a:gd name="connsiteX17331" fmla="*/ 8320825 w 10505529"/>
              <a:gd name="connsiteY17331" fmla="*/ 4579067 h 7458372"/>
              <a:gd name="connsiteX17332" fmla="*/ 8326948 w 10505529"/>
              <a:gd name="connsiteY17332" fmla="*/ 4588385 h 7458372"/>
              <a:gd name="connsiteX17333" fmla="*/ 8329212 w 10505529"/>
              <a:gd name="connsiteY17333" fmla="*/ 4599833 h 7458372"/>
              <a:gd name="connsiteX17334" fmla="*/ 8326948 w 10505529"/>
              <a:gd name="connsiteY17334" fmla="*/ 4611548 h 7458372"/>
              <a:gd name="connsiteX17335" fmla="*/ 8320825 w 10505529"/>
              <a:gd name="connsiteY17335" fmla="*/ 4620866 h 7458372"/>
              <a:gd name="connsiteX17336" fmla="*/ 8311507 w 10505529"/>
              <a:gd name="connsiteY17336" fmla="*/ 4627123 h 7458372"/>
              <a:gd name="connsiteX17337" fmla="*/ 8299793 w 10505529"/>
              <a:gd name="connsiteY17337" fmla="*/ 4629386 h 7458372"/>
              <a:gd name="connsiteX17338" fmla="*/ 8277960 w 10505529"/>
              <a:gd name="connsiteY17338" fmla="*/ 4620866 h 7458372"/>
              <a:gd name="connsiteX17339" fmla="*/ 8269574 w 10505529"/>
              <a:gd name="connsiteY17339" fmla="*/ 4599700 h 7458372"/>
              <a:gd name="connsiteX17340" fmla="*/ 8277960 w 10505529"/>
              <a:gd name="connsiteY17340" fmla="*/ 4578667 h 7458372"/>
              <a:gd name="connsiteX17341" fmla="*/ 8299793 w 10505529"/>
              <a:gd name="connsiteY17341" fmla="*/ 4570015 h 7458372"/>
              <a:gd name="connsiteX17342" fmla="*/ 8082281 w 10505529"/>
              <a:gd name="connsiteY17342" fmla="*/ 4570015 h 7458372"/>
              <a:gd name="connsiteX17343" fmla="*/ 8094127 w 10505529"/>
              <a:gd name="connsiteY17343" fmla="*/ 4572677 h 7458372"/>
              <a:gd name="connsiteX17344" fmla="*/ 8103446 w 10505529"/>
              <a:gd name="connsiteY17344" fmla="*/ 4579067 h 7458372"/>
              <a:gd name="connsiteX17345" fmla="*/ 8109569 w 10505529"/>
              <a:gd name="connsiteY17345" fmla="*/ 4588385 h 7458372"/>
              <a:gd name="connsiteX17346" fmla="*/ 8111832 w 10505529"/>
              <a:gd name="connsiteY17346" fmla="*/ 4599833 h 7458372"/>
              <a:gd name="connsiteX17347" fmla="*/ 8109569 w 10505529"/>
              <a:gd name="connsiteY17347" fmla="*/ 4611548 h 7458372"/>
              <a:gd name="connsiteX17348" fmla="*/ 8103446 w 10505529"/>
              <a:gd name="connsiteY17348" fmla="*/ 4620866 h 7458372"/>
              <a:gd name="connsiteX17349" fmla="*/ 8094127 w 10505529"/>
              <a:gd name="connsiteY17349" fmla="*/ 4627123 h 7458372"/>
              <a:gd name="connsiteX17350" fmla="*/ 8082281 w 10505529"/>
              <a:gd name="connsiteY17350" fmla="*/ 4629386 h 7458372"/>
              <a:gd name="connsiteX17351" fmla="*/ 8060448 w 10505529"/>
              <a:gd name="connsiteY17351" fmla="*/ 4620866 h 7458372"/>
              <a:gd name="connsiteX17352" fmla="*/ 8052062 w 10505529"/>
              <a:gd name="connsiteY17352" fmla="*/ 4599700 h 7458372"/>
              <a:gd name="connsiteX17353" fmla="*/ 8060448 w 10505529"/>
              <a:gd name="connsiteY17353" fmla="*/ 4578667 h 7458372"/>
              <a:gd name="connsiteX17354" fmla="*/ 8082281 w 10505529"/>
              <a:gd name="connsiteY17354" fmla="*/ 4570015 h 7458372"/>
              <a:gd name="connsiteX17355" fmla="*/ 7864636 w 10505529"/>
              <a:gd name="connsiteY17355" fmla="*/ 4570015 h 7458372"/>
              <a:gd name="connsiteX17356" fmla="*/ 7876483 w 10505529"/>
              <a:gd name="connsiteY17356" fmla="*/ 4572677 h 7458372"/>
              <a:gd name="connsiteX17357" fmla="*/ 7885802 w 10505529"/>
              <a:gd name="connsiteY17357" fmla="*/ 4579067 h 7458372"/>
              <a:gd name="connsiteX17358" fmla="*/ 7891924 w 10505529"/>
              <a:gd name="connsiteY17358" fmla="*/ 4588385 h 7458372"/>
              <a:gd name="connsiteX17359" fmla="*/ 7894188 w 10505529"/>
              <a:gd name="connsiteY17359" fmla="*/ 4599833 h 7458372"/>
              <a:gd name="connsiteX17360" fmla="*/ 7891924 w 10505529"/>
              <a:gd name="connsiteY17360" fmla="*/ 4611548 h 7458372"/>
              <a:gd name="connsiteX17361" fmla="*/ 7885802 w 10505529"/>
              <a:gd name="connsiteY17361" fmla="*/ 4620866 h 7458372"/>
              <a:gd name="connsiteX17362" fmla="*/ 7876483 w 10505529"/>
              <a:gd name="connsiteY17362" fmla="*/ 4627123 h 7458372"/>
              <a:gd name="connsiteX17363" fmla="*/ 7864636 w 10505529"/>
              <a:gd name="connsiteY17363" fmla="*/ 4629386 h 7458372"/>
              <a:gd name="connsiteX17364" fmla="*/ 7842803 w 10505529"/>
              <a:gd name="connsiteY17364" fmla="*/ 4620866 h 7458372"/>
              <a:gd name="connsiteX17365" fmla="*/ 7834417 w 10505529"/>
              <a:gd name="connsiteY17365" fmla="*/ 4599700 h 7458372"/>
              <a:gd name="connsiteX17366" fmla="*/ 7842803 w 10505529"/>
              <a:gd name="connsiteY17366" fmla="*/ 4578667 h 7458372"/>
              <a:gd name="connsiteX17367" fmla="*/ 7864636 w 10505529"/>
              <a:gd name="connsiteY17367" fmla="*/ 4570015 h 7458372"/>
              <a:gd name="connsiteX17368" fmla="*/ 7646991 w 10505529"/>
              <a:gd name="connsiteY17368" fmla="*/ 4570015 h 7458372"/>
              <a:gd name="connsiteX17369" fmla="*/ 7658705 w 10505529"/>
              <a:gd name="connsiteY17369" fmla="*/ 4572677 h 7458372"/>
              <a:gd name="connsiteX17370" fmla="*/ 7668022 w 10505529"/>
              <a:gd name="connsiteY17370" fmla="*/ 4579067 h 7458372"/>
              <a:gd name="connsiteX17371" fmla="*/ 7674146 w 10505529"/>
              <a:gd name="connsiteY17371" fmla="*/ 4588385 h 7458372"/>
              <a:gd name="connsiteX17372" fmla="*/ 7676409 w 10505529"/>
              <a:gd name="connsiteY17372" fmla="*/ 4599833 h 7458372"/>
              <a:gd name="connsiteX17373" fmla="*/ 7674146 w 10505529"/>
              <a:gd name="connsiteY17373" fmla="*/ 4611548 h 7458372"/>
              <a:gd name="connsiteX17374" fmla="*/ 7668022 w 10505529"/>
              <a:gd name="connsiteY17374" fmla="*/ 4620866 h 7458372"/>
              <a:gd name="connsiteX17375" fmla="*/ 7658705 w 10505529"/>
              <a:gd name="connsiteY17375" fmla="*/ 4627123 h 7458372"/>
              <a:gd name="connsiteX17376" fmla="*/ 7646991 w 10505529"/>
              <a:gd name="connsiteY17376" fmla="*/ 4629386 h 7458372"/>
              <a:gd name="connsiteX17377" fmla="*/ 7625158 w 10505529"/>
              <a:gd name="connsiteY17377" fmla="*/ 4620866 h 7458372"/>
              <a:gd name="connsiteX17378" fmla="*/ 7616772 w 10505529"/>
              <a:gd name="connsiteY17378" fmla="*/ 4599700 h 7458372"/>
              <a:gd name="connsiteX17379" fmla="*/ 7625158 w 10505529"/>
              <a:gd name="connsiteY17379" fmla="*/ 4578667 h 7458372"/>
              <a:gd name="connsiteX17380" fmla="*/ 7646991 w 10505529"/>
              <a:gd name="connsiteY17380" fmla="*/ 4570015 h 7458372"/>
              <a:gd name="connsiteX17381" fmla="*/ 7429345 w 10505529"/>
              <a:gd name="connsiteY17381" fmla="*/ 4570015 h 7458372"/>
              <a:gd name="connsiteX17382" fmla="*/ 7441059 w 10505529"/>
              <a:gd name="connsiteY17382" fmla="*/ 4572677 h 7458372"/>
              <a:gd name="connsiteX17383" fmla="*/ 7450377 w 10505529"/>
              <a:gd name="connsiteY17383" fmla="*/ 4579067 h 7458372"/>
              <a:gd name="connsiteX17384" fmla="*/ 7456501 w 10505529"/>
              <a:gd name="connsiteY17384" fmla="*/ 4588385 h 7458372"/>
              <a:gd name="connsiteX17385" fmla="*/ 7458764 w 10505529"/>
              <a:gd name="connsiteY17385" fmla="*/ 4599833 h 7458372"/>
              <a:gd name="connsiteX17386" fmla="*/ 7456501 w 10505529"/>
              <a:gd name="connsiteY17386" fmla="*/ 4611548 h 7458372"/>
              <a:gd name="connsiteX17387" fmla="*/ 7450377 w 10505529"/>
              <a:gd name="connsiteY17387" fmla="*/ 4620866 h 7458372"/>
              <a:gd name="connsiteX17388" fmla="*/ 7441059 w 10505529"/>
              <a:gd name="connsiteY17388" fmla="*/ 4627123 h 7458372"/>
              <a:gd name="connsiteX17389" fmla="*/ 7429345 w 10505529"/>
              <a:gd name="connsiteY17389" fmla="*/ 4629386 h 7458372"/>
              <a:gd name="connsiteX17390" fmla="*/ 7407513 w 10505529"/>
              <a:gd name="connsiteY17390" fmla="*/ 4620866 h 7458372"/>
              <a:gd name="connsiteX17391" fmla="*/ 7399127 w 10505529"/>
              <a:gd name="connsiteY17391" fmla="*/ 4599700 h 7458372"/>
              <a:gd name="connsiteX17392" fmla="*/ 7407513 w 10505529"/>
              <a:gd name="connsiteY17392" fmla="*/ 4578667 h 7458372"/>
              <a:gd name="connsiteX17393" fmla="*/ 7429345 w 10505529"/>
              <a:gd name="connsiteY17393" fmla="*/ 4570015 h 7458372"/>
              <a:gd name="connsiteX17394" fmla="*/ 7211701 w 10505529"/>
              <a:gd name="connsiteY17394" fmla="*/ 4570015 h 7458372"/>
              <a:gd name="connsiteX17395" fmla="*/ 7223415 w 10505529"/>
              <a:gd name="connsiteY17395" fmla="*/ 4572677 h 7458372"/>
              <a:gd name="connsiteX17396" fmla="*/ 7232733 w 10505529"/>
              <a:gd name="connsiteY17396" fmla="*/ 4579067 h 7458372"/>
              <a:gd name="connsiteX17397" fmla="*/ 7238856 w 10505529"/>
              <a:gd name="connsiteY17397" fmla="*/ 4588385 h 7458372"/>
              <a:gd name="connsiteX17398" fmla="*/ 7241120 w 10505529"/>
              <a:gd name="connsiteY17398" fmla="*/ 4599833 h 7458372"/>
              <a:gd name="connsiteX17399" fmla="*/ 7238856 w 10505529"/>
              <a:gd name="connsiteY17399" fmla="*/ 4611548 h 7458372"/>
              <a:gd name="connsiteX17400" fmla="*/ 7232733 w 10505529"/>
              <a:gd name="connsiteY17400" fmla="*/ 4620866 h 7458372"/>
              <a:gd name="connsiteX17401" fmla="*/ 7223415 w 10505529"/>
              <a:gd name="connsiteY17401" fmla="*/ 4627123 h 7458372"/>
              <a:gd name="connsiteX17402" fmla="*/ 7211701 w 10505529"/>
              <a:gd name="connsiteY17402" fmla="*/ 4629386 h 7458372"/>
              <a:gd name="connsiteX17403" fmla="*/ 7189868 w 10505529"/>
              <a:gd name="connsiteY17403" fmla="*/ 4620866 h 7458372"/>
              <a:gd name="connsiteX17404" fmla="*/ 7181482 w 10505529"/>
              <a:gd name="connsiteY17404" fmla="*/ 4599700 h 7458372"/>
              <a:gd name="connsiteX17405" fmla="*/ 7189868 w 10505529"/>
              <a:gd name="connsiteY17405" fmla="*/ 4578667 h 7458372"/>
              <a:gd name="connsiteX17406" fmla="*/ 7211701 w 10505529"/>
              <a:gd name="connsiteY17406" fmla="*/ 4570015 h 7458372"/>
              <a:gd name="connsiteX17407" fmla="*/ 6994056 w 10505529"/>
              <a:gd name="connsiteY17407" fmla="*/ 4570015 h 7458372"/>
              <a:gd name="connsiteX17408" fmla="*/ 7005769 w 10505529"/>
              <a:gd name="connsiteY17408" fmla="*/ 4572677 h 7458372"/>
              <a:gd name="connsiteX17409" fmla="*/ 7015087 w 10505529"/>
              <a:gd name="connsiteY17409" fmla="*/ 4579067 h 7458372"/>
              <a:gd name="connsiteX17410" fmla="*/ 7021211 w 10505529"/>
              <a:gd name="connsiteY17410" fmla="*/ 4588385 h 7458372"/>
              <a:gd name="connsiteX17411" fmla="*/ 7023474 w 10505529"/>
              <a:gd name="connsiteY17411" fmla="*/ 4599833 h 7458372"/>
              <a:gd name="connsiteX17412" fmla="*/ 7021211 w 10505529"/>
              <a:gd name="connsiteY17412" fmla="*/ 4611548 h 7458372"/>
              <a:gd name="connsiteX17413" fmla="*/ 7015087 w 10505529"/>
              <a:gd name="connsiteY17413" fmla="*/ 4620866 h 7458372"/>
              <a:gd name="connsiteX17414" fmla="*/ 7005769 w 10505529"/>
              <a:gd name="connsiteY17414" fmla="*/ 4627123 h 7458372"/>
              <a:gd name="connsiteX17415" fmla="*/ 6994056 w 10505529"/>
              <a:gd name="connsiteY17415" fmla="*/ 4629386 h 7458372"/>
              <a:gd name="connsiteX17416" fmla="*/ 6972223 w 10505529"/>
              <a:gd name="connsiteY17416" fmla="*/ 4620866 h 7458372"/>
              <a:gd name="connsiteX17417" fmla="*/ 6963837 w 10505529"/>
              <a:gd name="connsiteY17417" fmla="*/ 4599700 h 7458372"/>
              <a:gd name="connsiteX17418" fmla="*/ 6972223 w 10505529"/>
              <a:gd name="connsiteY17418" fmla="*/ 4578667 h 7458372"/>
              <a:gd name="connsiteX17419" fmla="*/ 6994056 w 10505529"/>
              <a:gd name="connsiteY17419" fmla="*/ 4570015 h 7458372"/>
              <a:gd name="connsiteX17420" fmla="*/ 6776544 w 10505529"/>
              <a:gd name="connsiteY17420" fmla="*/ 4570015 h 7458372"/>
              <a:gd name="connsiteX17421" fmla="*/ 6788258 w 10505529"/>
              <a:gd name="connsiteY17421" fmla="*/ 4572677 h 7458372"/>
              <a:gd name="connsiteX17422" fmla="*/ 6797576 w 10505529"/>
              <a:gd name="connsiteY17422" fmla="*/ 4579067 h 7458372"/>
              <a:gd name="connsiteX17423" fmla="*/ 6803699 w 10505529"/>
              <a:gd name="connsiteY17423" fmla="*/ 4588385 h 7458372"/>
              <a:gd name="connsiteX17424" fmla="*/ 6805963 w 10505529"/>
              <a:gd name="connsiteY17424" fmla="*/ 4599833 h 7458372"/>
              <a:gd name="connsiteX17425" fmla="*/ 6803699 w 10505529"/>
              <a:gd name="connsiteY17425" fmla="*/ 4611548 h 7458372"/>
              <a:gd name="connsiteX17426" fmla="*/ 6797576 w 10505529"/>
              <a:gd name="connsiteY17426" fmla="*/ 4620866 h 7458372"/>
              <a:gd name="connsiteX17427" fmla="*/ 6788258 w 10505529"/>
              <a:gd name="connsiteY17427" fmla="*/ 4627123 h 7458372"/>
              <a:gd name="connsiteX17428" fmla="*/ 6776544 w 10505529"/>
              <a:gd name="connsiteY17428" fmla="*/ 4629386 h 7458372"/>
              <a:gd name="connsiteX17429" fmla="*/ 6754711 w 10505529"/>
              <a:gd name="connsiteY17429" fmla="*/ 4620866 h 7458372"/>
              <a:gd name="connsiteX17430" fmla="*/ 6746325 w 10505529"/>
              <a:gd name="connsiteY17430" fmla="*/ 4599700 h 7458372"/>
              <a:gd name="connsiteX17431" fmla="*/ 6754711 w 10505529"/>
              <a:gd name="connsiteY17431" fmla="*/ 4578667 h 7458372"/>
              <a:gd name="connsiteX17432" fmla="*/ 6776544 w 10505529"/>
              <a:gd name="connsiteY17432" fmla="*/ 4570015 h 7458372"/>
              <a:gd name="connsiteX17433" fmla="*/ 6558899 w 10505529"/>
              <a:gd name="connsiteY17433" fmla="*/ 4570015 h 7458372"/>
              <a:gd name="connsiteX17434" fmla="*/ 6570612 w 10505529"/>
              <a:gd name="connsiteY17434" fmla="*/ 4572677 h 7458372"/>
              <a:gd name="connsiteX17435" fmla="*/ 6579930 w 10505529"/>
              <a:gd name="connsiteY17435" fmla="*/ 4579067 h 7458372"/>
              <a:gd name="connsiteX17436" fmla="*/ 6586054 w 10505529"/>
              <a:gd name="connsiteY17436" fmla="*/ 4588385 h 7458372"/>
              <a:gd name="connsiteX17437" fmla="*/ 6588317 w 10505529"/>
              <a:gd name="connsiteY17437" fmla="*/ 4599833 h 7458372"/>
              <a:gd name="connsiteX17438" fmla="*/ 6586054 w 10505529"/>
              <a:gd name="connsiteY17438" fmla="*/ 4611548 h 7458372"/>
              <a:gd name="connsiteX17439" fmla="*/ 6579930 w 10505529"/>
              <a:gd name="connsiteY17439" fmla="*/ 4620866 h 7458372"/>
              <a:gd name="connsiteX17440" fmla="*/ 6570612 w 10505529"/>
              <a:gd name="connsiteY17440" fmla="*/ 4627123 h 7458372"/>
              <a:gd name="connsiteX17441" fmla="*/ 6558899 w 10505529"/>
              <a:gd name="connsiteY17441" fmla="*/ 4629386 h 7458372"/>
              <a:gd name="connsiteX17442" fmla="*/ 6537066 w 10505529"/>
              <a:gd name="connsiteY17442" fmla="*/ 4620866 h 7458372"/>
              <a:gd name="connsiteX17443" fmla="*/ 6528680 w 10505529"/>
              <a:gd name="connsiteY17443" fmla="*/ 4599700 h 7458372"/>
              <a:gd name="connsiteX17444" fmla="*/ 6537066 w 10505529"/>
              <a:gd name="connsiteY17444" fmla="*/ 4578667 h 7458372"/>
              <a:gd name="connsiteX17445" fmla="*/ 6558899 w 10505529"/>
              <a:gd name="connsiteY17445" fmla="*/ 4570015 h 7458372"/>
              <a:gd name="connsiteX17446" fmla="*/ 6341253 w 10505529"/>
              <a:gd name="connsiteY17446" fmla="*/ 4570015 h 7458372"/>
              <a:gd name="connsiteX17447" fmla="*/ 6352968 w 10505529"/>
              <a:gd name="connsiteY17447" fmla="*/ 4572677 h 7458372"/>
              <a:gd name="connsiteX17448" fmla="*/ 6362286 w 10505529"/>
              <a:gd name="connsiteY17448" fmla="*/ 4579067 h 7458372"/>
              <a:gd name="connsiteX17449" fmla="*/ 6368409 w 10505529"/>
              <a:gd name="connsiteY17449" fmla="*/ 4588385 h 7458372"/>
              <a:gd name="connsiteX17450" fmla="*/ 6370672 w 10505529"/>
              <a:gd name="connsiteY17450" fmla="*/ 4599833 h 7458372"/>
              <a:gd name="connsiteX17451" fmla="*/ 6368409 w 10505529"/>
              <a:gd name="connsiteY17451" fmla="*/ 4611548 h 7458372"/>
              <a:gd name="connsiteX17452" fmla="*/ 6362286 w 10505529"/>
              <a:gd name="connsiteY17452" fmla="*/ 4620866 h 7458372"/>
              <a:gd name="connsiteX17453" fmla="*/ 6352968 w 10505529"/>
              <a:gd name="connsiteY17453" fmla="*/ 4627123 h 7458372"/>
              <a:gd name="connsiteX17454" fmla="*/ 6341253 w 10505529"/>
              <a:gd name="connsiteY17454" fmla="*/ 4629386 h 7458372"/>
              <a:gd name="connsiteX17455" fmla="*/ 6319421 w 10505529"/>
              <a:gd name="connsiteY17455" fmla="*/ 4620866 h 7458372"/>
              <a:gd name="connsiteX17456" fmla="*/ 6311035 w 10505529"/>
              <a:gd name="connsiteY17456" fmla="*/ 4599700 h 7458372"/>
              <a:gd name="connsiteX17457" fmla="*/ 6319421 w 10505529"/>
              <a:gd name="connsiteY17457" fmla="*/ 4578667 h 7458372"/>
              <a:gd name="connsiteX17458" fmla="*/ 6341253 w 10505529"/>
              <a:gd name="connsiteY17458" fmla="*/ 4570015 h 7458372"/>
              <a:gd name="connsiteX17459" fmla="*/ 6123608 w 10505529"/>
              <a:gd name="connsiteY17459" fmla="*/ 4570015 h 7458372"/>
              <a:gd name="connsiteX17460" fmla="*/ 6135322 w 10505529"/>
              <a:gd name="connsiteY17460" fmla="*/ 4572677 h 7458372"/>
              <a:gd name="connsiteX17461" fmla="*/ 6144640 w 10505529"/>
              <a:gd name="connsiteY17461" fmla="*/ 4579067 h 7458372"/>
              <a:gd name="connsiteX17462" fmla="*/ 6150763 w 10505529"/>
              <a:gd name="connsiteY17462" fmla="*/ 4588385 h 7458372"/>
              <a:gd name="connsiteX17463" fmla="*/ 6153026 w 10505529"/>
              <a:gd name="connsiteY17463" fmla="*/ 4599833 h 7458372"/>
              <a:gd name="connsiteX17464" fmla="*/ 6150763 w 10505529"/>
              <a:gd name="connsiteY17464" fmla="*/ 4611548 h 7458372"/>
              <a:gd name="connsiteX17465" fmla="*/ 6144640 w 10505529"/>
              <a:gd name="connsiteY17465" fmla="*/ 4620866 h 7458372"/>
              <a:gd name="connsiteX17466" fmla="*/ 6135322 w 10505529"/>
              <a:gd name="connsiteY17466" fmla="*/ 4627123 h 7458372"/>
              <a:gd name="connsiteX17467" fmla="*/ 6123608 w 10505529"/>
              <a:gd name="connsiteY17467" fmla="*/ 4629386 h 7458372"/>
              <a:gd name="connsiteX17468" fmla="*/ 6101775 w 10505529"/>
              <a:gd name="connsiteY17468" fmla="*/ 4620866 h 7458372"/>
              <a:gd name="connsiteX17469" fmla="*/ 6093389 w 10505529"/>
              <a:gd name="connsiteY17469" fmla="*/ 4599700 h 7458372"/>
              <a:gd name="connsiteX17470" fmla="*/ 6101775 w 10505529"/>
              <a:gd name="connsiteY17470" fmla="*/ 4578667 h 7458372"/>
              <a:gd name="connsiteX17471" fmla="*/ 6123608 w 10505529"/>
              <a:gd name="connsiteY17471" fmla="*/ 4570015 h 7458372"/>
              <a:gd name="connsiteX17472" fmla="*/ 5905963 w 10505529"/>
              <a:gd name="connsiteY17472" fmla="*/ 4570015 h 7458372"/>
              <a:gd name="connsiteX17473" fmla="*/ 5917677 w 10505529"/>
              <a:gd name="connsiteY17473" fmla="*/ 4572677 h 7458372"/>
              <a:gd name="connsiteX17474" fmla="*/ 5926995 w 10505529"/>
              <a:gd name="connsiteY17474" fmla="*/ 4579067 h 7458372"/>
              <a:gd name="connsiteX17475" fmla="*/ 5933118 w 10505529"/>
              <a:gd name="connsiteY17475" fmla="*/ 4588385 h 7458372"/>
              <a:gd name="connsiteX17476" fmla="*/ 5935381 w 10505529"/>
              <a:gd name="connsiteY17476" fmla="*/ 4599833 h 7458372"/>
              <a:gd name="connsiteX17477" fmla="*/ 5933118 w 10505529"/>
              <a:gd name="connsiteY17477" fmla="*/ 4611548 h 7458372"/>
              <a:gd name="connsiteX17478" fmla="*/ 5926995 w 10505529"/>
              <a:gd name="connsiteY17478" fmla="*/ 4620866 h 7458372"/>
              <a:gd name="connsiteX17479" fmla="*/ 5917677 w 10505529"/>
              <a:gd name="connsiteY17479" fmla="*/ 4627123 h 7458372"/>
              <a:gd name="connsiteX17480" fmla="*/ 5905963 w 10505529"/>
              <a:gd name="connsiteY17480" fmla="*/ 4629386 h 7458372"/>
              <a:gd name="connsiteX17481" fmla="*/ 5884130 w 10505529"/>
              <a:gd name="connsiteY17481" fmla="*/ 4620866 h 7458372"/>
              <a:gd name="connsiteX17482" fmla="*/ 5875744 w 10505529"/>
              <a:gd name="connsiteY17482" fmla="*/ 4599700 h 7458372"/>
              <a:gd name="connsiteX17483" fmla="*/ 5884130 w 10505529"/>
              <a:gd name="connsiteY17483" fmla="*/ 4578667 h 7458372"/>
              <a:gd name="connsiteX17484" fmla="*/ 5905963 w 10505529"/>
              <a:gd name="connsiteY17484" fmla="*/ 4570015 h 7458372"/>
              <a:gd name="connsiteX17485" fmla="*/ 5688451 w 10505529"/>
              <a:gd name="connsiteY17485" fmla="*/ 4570015 h 7458372"/>
              <a:gd name="connsiteX17486" fmla="*/ 5700165 w 10505529"/>
              <a:gd name="connsiteY17486" fmla="*/ 4572677 h 7458372"/>
              <a:gd name="connsiteX17487" fmla="*/ 5709483 w 10505529"/>
              <a:gd name="connsiteY17487" fmla="*/ 4579067 h 7458372"/>
              <a:gd name="connsiteX17488" fmla="*/ 5715606 w 10505529"/>
              <a:gd name="connsiteY17488" fmla="*/ 4588385 h 7458372"/>
              <a:gd name="connsiteX17489" fmla="*/ 5717869 w 10505529"/>
              <a:gd name="connsiteY17489" fmla="*/ 4599833 h 7458372"/>
              <a:gd name="connsiteX17490" fmla="*/ 5715606 w 10505529"/>
              <a:gd name="connsiteY17490" fmla="*/ 4611548 h 7458372"/>
              <a:gd name="connsiteX17491" fmla="*/ 5709483 w 10505529"/>
              <a:gd name="connsiteY17491" fmla="*/ 4620866 h 7458372"/>
              <a:gd name="connsiteX17492" fmla="*/ 5700165 w 10505529"/>
              <a:gd name="connsiteY17492" fmla="*/ 4627123 h 7458372"/>
              <a:gd name="connsiteX17493" fmla="*/ 5688451 w 10505529"/>
              <a:gd name="connsiteY17493" fmla="*/ 4629386 h 7458372"/>
              <a:gd name="connsiteX17494" fmla="*/ 5666618 w 10505529"/>
              <a:gd name="connsiteY17494" fmla="*/ 4620866 h 7458372"/>
              <a:gd name="connsiteX17495" fmla="*/ 5658232 w 10505529"/>
              <a:gd name="connsiteY17495" fmla="*/ 4599700 h 7458372"/>
              <a:gd name="connsiteX17496" fmla="*/ 5666618 w 10505529"/>
              <a:gd name="connsiteY17496" fmla="*/ 4578667 h 7458372"/>
              <a:gd name="connsiteX17497" fmla="*/ 5688451 w 10505529"/>
              <a:gd name="connsiteY17497" fmla="*/ 4570015 h 7458372"/>
              <a:gd name="connsiteX17498" fmla="*/ 5470806 w 10505529"/>
              <a:gd name="connsiteY17498" fmla="*/ 4570015 h 7458372"/>
              <a:gd name="connsiteX17499" fmla="*/ 5482520 w 10505529"/>
              <a:gd name="connsiteY17499" fmla="*/ 4572677 h 7458372"/>
              <a:gd name="connsiteX17500" fmla="*/ 5491838 w 10505529"/>
              <a:gd name="connsiteY17500" fmla="*/ 4579067 h 7458372"/>
              <a:gd name="connsiteX17501" fmla="*/ 5497961 w 10505529"/>
              <a:gd name="connsiteY17501" fmla="*/ 4588385 h 7458372"/>
              <a:gd name="connsiteX17502" fmla="*/ 5500224 w 10505529"/>
              <a:gd name="connsiteY17502" fmla="*/ 4599833 h 7458372"/>
              <a:gd name="connsiteX17503" fmla="*/ 5497961 w 10505529"/>
              <a:gd name="connsiteY17503" fmla="*/ 4611548 h 7458372"/>
              <a:gd name="connsiteX17504" fmla="*/ 5491838 w 10505529"/>
              <a:gd name="connsiteY17504" fmla="*/ 4620866 h 7458372"/>
              <a:gd name="connsiteX17505" fmla="*/ 5482520 w 10505529"/>
              <a:gd name="connsiteY17505" fmla="*/ 4627123 h 7458372"/>
              <a:gd name="connsiteX17506" fmla="*/ 5470806 w 10505529"/>
              <a:gd name="connsiteY17506" fmla="*/ 4629386 h 7458372"/>
              <a:gd name="connsiteX17507" fmla="*/ 5448973 w 10505529"/>
              <a:gd name="connsiteY17507" fmla="*/ 4620866 h 7458372"/>
              <a:gd name="connsiteX17508" fmla="*/ 5440587 w 10505529"/>
              <a:gd name="connsiteY17508" fmla="*/ 4599700 h 7458372"/>
              <a:gd name="connsiteX17509" fmla="*/ 5448973 w 10505529"/>
              <a:gd name="connsiteY17509" fmla="*/ 4578667 h 7458372"/>
              <a:gd name="connsiteX17510" fmla="*/ 5470806 w 10505529"/>
              <a:gd name="connsiteY17510" fmla="*/ 4570015 h 7458372"/>
              <a:gd name="connsiteX17511" fmla="*/ 5253160 w 10505529"/>
              <a:gd name="connsiteY17511" fmla="*/ 4570015 h 7458372"/>
              <a:gd name="connsiteX17512" fmla="*/ 5264875 w 10505529"/>
              <a:gd name="connsiteY17512" fmla="*/ 4572677 h 7458372"/>
              <a:gd name="connsiteX17513" fmla="*/ 5274192 w 10505529"/>
              <a:gd name="connsiteY17513" fmla="*/ 4579067 h 7458372"/>
              <a:gd name="connsiteX17514" fmla="*/ 5280316 w 10505529"/>
              <a:gd name="connsiteY17514" fmla="*/ 4588385 h 7458372"/>
              <a:gd name="connsiteX17515" fmla="*/ 5282579 w 10505529"/>
              <a:gd name="connsiteY17515" fmla="*/ 4599833 h 7458372"/>
              <a:gd name="connsiteX17516" fmla="*/ 5280316 w 10505529"/>
              <a:gd name="connsiteY17516" fmla="*/ 4611548 h 7458372"/>
              <a:gd name="connsiteX17517" fmla="*/ 5274192 w 10505529"/>
              <a:gd name="connsiteY17517" fmla="*/ 4620866 h 7458372"/>
              <a:gd name="connsiteX17518" fmla="*/ 5264875 w 10505529"/>
              <a:gd name="connsiteY17518" fmla="*/ 4627123 h 7458372"/>
              <a:gd name="connsiteX17519" fmla="*/ 5253160 w 10505529"/>
              <a:gd name="connsiteY17519" fmla="*/ 4629386 h 7458372"/>
              <a:gd name="connsiteX17520" fmla="*/ 5231328 w 10505529"/>
              <a:gd name="connsiteY17520" fmla="*/ 4620866 h 7458372"/>
              <a:gd name="connsiteX17521" fmla="*/ 5222942 w 10505529"/>
              <a:gd name="connsiteY17521" fmla="*/ 4599700 h 7458372"/>
              <a:gd name="connsiteX17522" fmla="*/ 5231328 w 10505529"/>
              <a:gd name="connsiteY17522" fmla="*/ 4578667 h 7458372"/>
              <a:gd name="connsiteX17523" fmla="*/ 5253160 w 10505529"/>
              <a:gd name="connsiteY17523" fmla="*/ 4570015 h 7458372"/>
              <a:gd name="connsiteX17524" fmla="*/ 5035515 w 10505529"/>
              <a:gd name="connsiteY17524" fmla="*/ 4570015 h 7458372"/>
              <a:gd name="connsiteX17525" fmla="*/ 5047230 w 10505529"/>
              <a:gd name="connsiteY17525" fmla="*/ 4572677 h 7458372"/>
              <a:gd name="connsiteX17526" fmla="*/ 5056548 w 10505529"/>
              <a:gd name="connsiteY17526" fmla="*/ 4579067 h 7458372"/>
              <a:gd name="connsiteX17527" fmla="*/ 5062671 w 10505529"/>
              <a:gd name="connsiteY17527" fmla="*/ 4588385 h 7458372"/>
              <a:gd name="connsiteX17528" fmla="*/ 5064934 w 10505529"/>
              <a:gd name="connsiteY17528" fmla="*/ 4599833 h 7458372"/>
              <a:gd name="connsiteX17529" fmla="*/ 5062671 w 10505529"/>
              <a:gd name="connsiteY17529" fmla="*/ 4611548 h 7458372"/>
              <a:gd name="connsiteX17530" fmla="*/ 5056548 w 10505529"/>
              <a:gd name="connsiteY17530" fmla="*/ 4620866 h 7458372"/>
              <a:gd name="connsiteX17531" fmla="*/ 5047230 w 10505529"/>
              <a:gd name="connsiteY17531" fmla="*/ 4627123 h 7458372"/>
              <a:gd name="connsiteX17532" fmla="*/ 5035515 w 10505529"/>
              <a:gd name="connsiteY17532" fmla="*/ 4629386 h 7458372"/>
              <a:gd name="connsiteX17533" fmla="*/ 5013683 w 10505529"/>
              <a:gd name="connsiteY17533" fmla="*/ 4620866 h 7458372"/>
              <a:gd name="connsiteX17534" fmla="*/ 5005297 w 10505529"/>
              <a:gd name="connsiteY17534" fmla="*/ 4599700 h 7458372"/>
              <a:gd name="connsiteX17535" fmla="*/ 5013683 w 10505529"/>
              <a:gd name="connsiteY17535" fmla="*/ 4578667 h 7458372"/>
              <a:gd name="connsiteX17536" fmla="*/ 5035515 w 10505529"/>
              <a:gd name="connsiteY17536" fmla="*/ 4570015 h 7458372"/>
              <a:gd name="connsiteX17537" fmla="*/ 4817870 w 10505529"/>
              <a:gd name="connsiteY17537" fmla="*/ 4570015 h 7458372"/>
              <a:gd name="connsiteX17538" fmla="*/ 4829585 w 10505529"/>
              <a:gd name="connsiteY17538" fmla="*/ 4572677 h 7458372"/>
              <a:gd name="connsiteX17539" fmla="*/ 4838903 w 10505529"/>
              <a:gd name="connsiteY17539" fmla="*/ 4579067 h 7458372"/>
              <a:gd name="connsiteX17540" fmla="*/ 4845026 w 10505529"/>
              <a:gd name="connsiteY17540" fmla="*/ 4588385 h 7458372"/>
              <a:gd name="connsiteX17541" fmla="*/ 4847289 w 10505529"/>
              <a:gd name="connsiteY17541" fmla="*/ 4599833 h 7458372"/>
              <a:gd name="connsiteX17542" fmla="*/ 4845026 w 10505529"/>
              <a:gd name="connsiteY17542" fmla="*/ 4611548 h 7458372"/>
              <a:gd name="connsiteX17543" fmla="*/ 4838903 w 10505529"/>
              <a:gd name="connsiteY17543" fmla="*/ 4620866 h 7458372"/>
              <a:gd name="connsiteX17544" fmla="*/ 4829585 w 10505529"/>
              <a:gd name="connsiteY17544" fmla="*/ 4627123 h 7458372"/>
              <a:gd name="connsiteX17545" fmla="*/ 4817870 w 10505529"/>
              <a:gd name="connsiteY17545" fmla="*/ 4629386 h 7458372"/>
              <a:gd name="connsiteX17546" fmla="*/ 4796038 w 10505529"/>
              <a:gd name="connsiteY17546" fmla="*/ 4620866 h 7458372"/>
              <a:gd name="connsiteX17547" fmla="*/ 4787652 w 10505529"/>
              <a:gd name="connsiteY17547" fmla="*/ 4599700 h 7458372"/>
              <a:gd name="connsiteX17548" fmla="*/ 4796038 w 10505529"/>
              <a:gd name="connsiteY17548" fmla="*/ 4578667 h 7458372"/>
              <a:gd name="connsiteX17549" fmla="*/ 4817870 w 10505529"/>
              <a:gd name="connsiteY17549" fmla="*/ 4570015 h 7458372"/>
              <a:gd name="connsiteX17550" fmla="*/ 4600226 w 10505529"/>
              <a:gd name="connsiteY17550" fmla="*/ 4570015 h 7458372"/>
              <a:gd name="connsiteX17551" fmla="*/ 4612073 w 10505529"/>
              <a:gd name="connsiteY17551" fmla="*/ 4572677 h 7458372"/>
              <a:gd name="connsiteX17552" fmla="*/ 4621391 w 10505529"/>
              <a:gd name="connsiteY17552" fmla="*/ 4579067 h 7458372"/>
              <a:gd name="connsiteX17553" fmla="*/ 4627514 w 10505529"/>
              <a:gd name="connsiteY17553" fmla="*/ 4588385 h 7458372"/>
              <a:gd name="connsiteX17554" fmla="*/ 4629777 w 10505529"/>
              <a:gd name="connsiteY17554" fmla="*/ 4599833 h 7458372"/>
              <a:gd name="connsiteX17555" fmla="*/ 4627514 w 10505529"/>
              <a:gd name="connsiteY17555" fmla="*/ 4611548 h 7458372"/>
              <a:gd name="connsiteX17556" fmla="*/ 4621391 w 10505529"/>
              <a:gd name="connsiteY17556" fmla="*/ 4620866 h 7458372"/>
              <a:gd name="connsiteX17557" fmla="*/ 4612073 w 10505529"/>
              <a:gd name="connsiteY17557" fmla="*/ 4627123 h 7458372"/>
              <a:gd name="connsiteX17558" fmla="*/ 4600226 w 10505529"/>
              <a:gd name="connsiteY17558" fmla="*/ 4629386 h 7458372"/>
              <a:gd name="connsiteX17559" fmla="*/ 4578393 w 10505529"/>
              <a:gd name="connsiteY17559" fmla="*/ 4620866 h 7458372"/>
              <a:gd name="connsiteX17560" fmla="*/ 4570007 w 10505529"/>
              <a:gd name="connsiteY17560" fmla="*/ 4599700 h 7458372"/>
              <a:gd name="connsiteX17561" fmla="*/ 4578393 w 10505529"/>
              <a:gd name="connsiteY17561" fmla="*/ 4578667 h 7458372"/>
              <a:gd name="connsiteX17562" fmla="*/ 4600226 w 10505529"/>
              <a:gd name="connsiteY17562" fmla="*/ 4570015 h 7458372"/>
              <a:gd name="connsiteX17563" fmla="*/ 4382713 w 10505529"/>
              <a:gd name="connsiteY17563" fmla="*/ 4570015 h 7458372"/>
              <a:gd name="connsiteX17564" fmla="*/ 4394428 w 10505529"/>
              <a:gd name="connsiteY17564" fmla="*/ 4572677 h 7458372"/>
              <a:gd name="connsiteX17565" fmla="*/ 4403746 w 10505529"/>
              <a:gd name="connsiteY17565" fmla="*/ 4579067 h 7458372"/>
              <a:gd name="connsiteX17566" fmla="*/ 4409869 w 10505529"/>
              <a:gd name="connsiteY17566" fmla="*/ 4588385 h 7458372"/>
              <a:gd name="connsiteX17567" fmla="*/ 4412132 w 10505529"/>
              <a:gd name="connsiteY17567" fmla="*/ 4599833 h 7458372"/>
              <a:gd name="connsiteX17568" fmla="*/ 4409869 w 10505529"/>
              <a:gd name="connsiteY17568" fmla="*/ 4611548 h 7458372"/>
              <a:gd name="connsiteX17569" fmla="*/ 4403746 w 10505529"/>
              <a:gd name="connsiteY17569" fmla="*/ 4620866 h 7458372"/>
              <a:gd name="connsiteX17570" fmla="*/ 4394428 w 10505529"/>
              <a:gd name="connsiteY17570" fmla="*/ 4627123 h 7458372"/>
              <a:gd name="connsiteX17571" fmla="*/ 4382713 w 10505529"/>
              <a:gd name="connsiteY17571" fmla="*/ 4629386 h 7458372"/>
              <a:gd name="connsiteX17572" fmla="*/ 4360881 w 10505529"/>
              <a:gd name="connsiteY17572" fmla="*/ 4620866 h 7458372"/>
              <a:gd name="connsiteX17573" fmla="*/ 4352495 w 10505529"/>
              <a:gd name="connsiteY17573" fmla="*/ 4599700 h 7458372"/>
              <a:gd name="connsiteX17574" fmla="*/ 4360881 w 10505529"/>
              <a:gd name="connsiteY17574" fmla="*/ 4578667 h 7458372"/>
              <a:gd name="connsiteX17575" fmla="*/ 4382713 w 10505529"/>
              <a:gd name="connsiteY17575" fmla="*/ 4570015 h 7458372"/>
              <a:gd name="connsiteX17576" fmla="*/ 4165068 w 10505529"/>
              <a:gd name="connsiteY17576" fmla="*/ 4570015 h 7458372"/>
              <a:gd name="connsiteX17577" fmla="*/ 4176782 w 10505529"/>
              <a:gd name="connsiteY17577" fmla="*/ 4572677 h 7458372"/>
              <a:gd name="connsiteX17578" fmla="*/ 4186100 w 10505529"/>
              <a:gd name="connsiteY17578" fmla="*/ 4579067 h 7458372"/>
              <a:gd name="connsiteX17579" fmla="*/ 4192223 w 10505529"/>
              <a:gd name="connsiteY17579" fmla="*/ 4588385 h 7458372"/>
              <a:gd name="connsiteX17580" fmla="*/ 4194486 w 10505529"/>
              <a:gd name="connsiteY17580" fmla="*/ 4599833 h 7458372"/>
              <a:gd name="connsiteX17581" fmla="*/ 4192223 w 10505529"/>
              <a:gd name="connsiteY17581" fmla="*/ 4611548 h 7458372"/>
              <a:gd name="connsiteX17582" fmla="*/ 4186100 w 10505529"/>
              <a:gd name="connsiteY17582" fmla="*/ 4620866 h 7458372"/>
              <a:gd name="connsiteX17583" fmla="*/ 4176782 w 10505529"/>
              <a:gd name="connsiteY17583" fmla="*/ 4627123 h 7458372"/>
              <a:gd name="connsiteX17584" fmla="*/ 4165068 w 10505529"/>
              <a:gd name="connsiteY17584" fmla="*/ 4629386 h 7458372"/>
              <a:gd name="connsiteX17585" fmla="*/ 4143235 w 10505529"/>
              <a:gd name="connsiteY17585" fmla="*/ 4620866 h 7458372"/>
              <a:gd name="connsiteX17586" fmla="*/ 4134849 w 10505529"/>
              <a:gd name="connsiteY17586" fmla="*/ 4599700 h 7458372"/>
              <a:gd name="connsiteX17587" fmla="*/ 4143235 w 10505529"/>
              <a:gd name="connsiteY17587" fmla="*/ 4578667 h 7458372"/>
              <a:gd name="connsiteX17588" fmla="*/ 4165068 w 10505529"/>
              <a:gd name="connsiteY17588" fmla="*/ 4570015 h 7458372"/>
              <a:gd name="connsiteX17589" fmla="*/ 3947674 w 10505529"/>
              <a:gd name="connsiteY17589" fmla="*/ 4570015 h 7458372"/>
              <a:gd name="connsiteX17590" fmla="*/ 3959392 w 10505529"/>
              <a:gd name="connsiteY17590" fmla="*/ 4572677 h 7458372"/>
              <a:gd name="connsiteX17591" fmla="*/ 3968710 w 10505529"/>
              <a:gd name="connsiteY17591" fmla="*/ 4579067 h 7458372"/>
              <a:gd name="connsiteX17592" fmla="*/ 3974834 w 10505529"/>
              <a:gd name="connsiteY17592" fmla="*/ 4588385 h 7458372"/>
              <a:gd name="connsiteX17593" fmla="*/ 3977097 w 10505529"/>
              <a:gd name="connsiteY17593" fmla="*/ 4599833 h 7458372"/>
              <a:gd name="connsiteX17594" fmla="*/ 3974834 w 10505529"/>
              <a:gd name="connsiteY17594" fmla="*/ 4611548 h 7458372"/>
              <a:gd name="connsiteX17595" fmla="*/ 3968710 w 10505529"/>
              <a:gd name="connsiteY17595" fmla="*/ 4620866 h 7458372"/>
              <a:gd name="connsiteX17596" fmla="*/ 3959392 w 10505529"/>
              <a:gd name="connsiteY17596" fmla="*/ 4627123 h 7458372"/>
              <a:gd name="connsiteX17597" fmla="*/ 3947674 w 10505529"/>
              <a:gd name="connsiteY17597" fmla="*/ 4629386 h 7458372"/>
              <a:gd name="connsiteX17598" fmla="*/ 3925842 w 10505529"/>
              <a:gd name="connsiteY17598" fmla="*/ 4620866 h 7458372"/>
              <a:gd name="connsiteX17599" fmla="*/ 3917456 w 10505529"/>
              <a:gd name="connsiteY17599" fmla="*/ 4599700 h 7458372"/>
              <a:gd name="connsiteX17600" fmla="*/ 3925842 w 10505529"/>
              <a:gd name="connsiteY17600" fmla="*/ 4578667 h 7458372"/>
              <a:gd name="connsiteX17601" fmla="*/ 3947674 w 10505529"/>
              <a:gd name="connsiteY17601" fmla="*/ 4570015 h 7458372"/>
              <a:gd name="connsiteX17602" fmla="*/ 3730018 w 10505529"/>
              <a:gd name="connsiteY17602" fmla="*/ 4570015 h 7458372"/>
              <a:gd name="connsiteX17603" fmla="*/ 3741733 w 10505529"/>
              <a:gd name="connsiteY17603" fmla="*/ 4572677 h 7458372"/>
              <a:gd name="connsiteX17604" fmla="*/ 3751052 w 10505529"/>
              <a:gd name="connsiteY17604" fmla="*/ 4579067 h 7458372"/>
              <a:gd name="connsiteX17605" fmla="*/ 3757175 w 10505529"/>
              <a:gd name="connsiteY17605" fmla="*/ 4588385 h 7458372"/>
              <a:gd name="connsiteX17606" fmla="*/ 3759438 w 10505529"/>
              <a:gd name="connsiteY17606" fmla="*/ 4599833 h 7458372"/>
              <a:gd name="connsiteX17607" fmla="*/ 3757175 w 10505529"/>
              <a:gd name="connsiteY17607" fmla="*/ 4611548 h 7458372"/>
              <a:gd name="connsiteX17608" fmla="*/ 3751052 w 10505529"/>
              <a:gd name="connsiteY17608" fmla="*/ 4620866 h 7458372"/>
              <a:gd name="connsiteX17609" fmla="*/ 3741733 w 10505529"/>
              <a:gd name="connsiteY17609" fmla="*/ 4627123 h 7458372"/>
              <a:gd name="connsiteX17610" fmla="*/ 3730018 w 10505529"/>
              <a:gd name="connsiteY17610" fmla="*/ 4629386 h 7458372"/>
              <a:gd name="connsiteX17611" fmla="*/ 3708180 w 10505529"/>
              <a:gd name="connsiteY17611" fmla="*/ 4620866 h 7458372"/>
              <a:gd name="connsiteX17612" fmla="*/ 3699793 w 10505529"/>
              <a:gd name="connsiteY17612" fmla="*/ 4599700 h 7458372"/>
              <a:gd name="connsiteX17613" fmla="*/ 3708180 w 10505529"/>
              <a:gd name="connsiteY17613" fmla="*/ 4578667 h 7458372"/>
              <a:gd name="connsiteX17614" fmla="*/ 3730018 w 10505529"/>
              <a:gd name="connsiteY17614" fmla="*/ 4570015 h 7458372"/>
              <a:gd name="connsiteX17615" fmla="*/ 3512359 w 10505529"/>
              <a:gd name="connsiteY17615" fmla="*/ 4570015 h 7458372"/>
              <a:gd name="connsiteX17616" fmla="*/ 3524075 w 10505529"/>
              <a:gd name="connsiteY17616" fmla="*/ 4572677 h 7458372"/>
              <a:gd name="connsiteX17617" fmla="*/ 3533393 w 10505529"/>
              <a:gd name="connsiteY17617" fmla="*/ 4579067 h 7458372"/>
              <a:gd name="connsiteX17618" fmla="*/ 3539517 w 10505529"/>
              <a:gd name="connsiteY17618" fmla="*/ 4588385 h 7458372"/>
              <a:gd name="connsiteX17619" fmla="*/ 3541780 w 10505529"/>
              <a:gd name="connsiteY17619" fmla="*/ 4599833 h 7458372"/>
              <a:gd name="connsiteX17620" fmla="*/ 3539517 w 10505529"/>
              <a:gd name="connsiteY17620" fmla="*/ 4611548 h 7458372"/>
              <a:gd name="connsiteX17621" fmla="*/ 3533393 w 10505529"/>
              <a:gd name="connsiteY17621" fmla="*/ 4620866 h 7458372"/>
              <a:gd name="connsiteX17622" fmla="*/ 3524075 w 10505529"/>
              <a:gd name="connsiteY17622" fmla="*/ 4627123 h 7458372"/>
              <a:gd name="connsiteX17623" fmla="*/ 3512359 w 10505529"/>
              <a:gd name="connsiteY17623" fmla="*/ 4629386 h 7458372"/>
              <a:gd name="connsiteX17624" fmla="*/ 3490524 w 10505529"/>
              <a:gd name="connsiteY17624" fmla="*/ 4620866 h 7458372"/>
              <a:gd name="connsiteX17625" fmla="*/ 3482137 w 10505529"/>
              <a:gd name="connsiteY17625" fmla="*/ 4599700 h 7458372"/>
              <a:gd name="connsiteX17626" fmla="*/ 3490524 w 10505529"/>
              <a:gd name="connsiteY17626" fmla="*/ 4578667 h 7458372"/>
              <a:gd name="connsiteX17627" fmla="*/ 3512359 w 10505529"/>
              <a:gd name="connsiteY17627" fmla="*/ 4570015 h 7458372"/>
              <a:gd name="connsiteX17628" fmla="*/ 3294835 w 10505529"/>
              <a:gd name="connsiteY17628" fmla="*/ 4570015 h 7458372"/>
              <a:gd name="connsiteX17629" fmla="*/ 3306550 w 10505529"/>
              <a:gd name="connsiteY17629" fmla="*/ 4572677 h 7458372"/>
              <a:gd name="connsiteX17630" fmla="*/ 3315868 w 10505529"/>
              <a:gd name="connsiteY17630" fmla="*/ 4579067 h 7458372"/>
              <a:gd name="connsiteX17631" fmla="*/ 3321992 w 10505529"/>
              <a:gd name="connsiteY17631" fmla="*/ 4588385 h 7458372"/>
              <a:gd name="connsiteX17632" fmla="*/ 3324255 w 10505529"/>
              <a:gd name="connsiteY17632" fmla="*/ 4599833 h 7458372"/>
              <a:gd name="connsiteX17633" fmla="*/ 3321992 w 10505529"/>
              <a:gd name="connsiteY17633" fmla="*/ 4611548 h 7458372"/>
              <a:gd name="connsiteX17634" fmla="*/ 3315868 w 10505529"/>
              <a:gd name="connsiteY17634" fmla="*/ 4620866 h 7458372"/>
              <a:gd name="connsiteX17635" fmla="*/ 3306550 w 10505529"/>
              <a:gd name="connsiteY17635" fmla="*/ 4627123 h 7458372"/>
              <a:gd name="connsiteX17636" fmla="*/ 3294835 w 10505529"/>
              <a:gd name="connsiteY17636" fmla="*/ 4629386 h 7458372"/>
              <a:gd name="connsiteX17637" fmla="*/ 3272997 w 10505529"/>
              <a:gd name="connsiteY17637" fmla="*/ 4620866 h 7458372"/>
              <a:gd name="connsiteX17638" fmla="*/ 3264610 w 10505529"/>
              <a:gd name="connsiteY17638" fmla="*/ 4599700 h 7458372"/>
              <a:gd name="connsiteX17639" fmla="*/ 3272997 w 10505529"/>
              <a:gd name="connsiteY17639" fmla="*/ 4578667 h 7458372"/>
              <a:gd name="connsiteX17640" fmla="*/ 3294835 w 10505529"/>
              <a:gd name="connsiteY17640" fmla="*/ 4570015 h 7458372"/>
              <a:gd name="connsiteX17641" fmla="*/ 3077176 w 10505529"/>
              <a:gd name="connsiteY17641" fmla="*/ 4570015 h 7458372"/>
              <a:gd name="connsiteX17642" fmla="*/ 3088892 w 10505529"/>
              <a:gd name="connsiteY17642" fmla="*/ 4572677 h 7458372"/>
              <a:gd name="connsiteX17643" fmla="*/ 3098210 w 10505529"/>
              <a:gd name="connsiteY17643" fmla="*/ 4579067 h 7458372"/>
              <a:gd name="connsiteX17644" fmla="*/ 3104333 w 10505529"/>
              <a:gd name="connsiteY17644" fmla="*/ 4588385 h 7458372"/>
              <a:gd name="connsiteX17645" fmla="*/ 3106596 w 10505529"/>
              <a:gd name="connsiteY17645" fmla="*/ 4599833 h 7458372"/>
              <a:gd name="connsiteX17646" fmla="*/ 3104333 w 10505529"/>
              <a:gd name="connsiteY17646" fmla="*/ 4611548 h 7458372"/>
              <a:gd name="connsiteX17647" fmla="*/ 3098210 w 10505529"/>
              <a:gd name="connsiteY17647" fmla="*/ 4620866 h 7458372"/>
              <a:gd name="connsiteX17648" fmla="*/ 3088892 w 10505529"/>
              <a:gd name="connsiteY17648" fmla="*/ 4627123 h 7458372"/>
              <a:gd name="connsiteX17649" fmla="*/ 3077176 w 10505529"/>
              <a:gd name="connsiteY17649" fmla="*/ 4629386 h 7458372"/>
              <a:gd name="connsiteX17650" fmla="*/ 3055339 w 10505529"/>
              <a:gd name="connsiteY17650" fmla="*/ 4620866 h 7458372"/>
              <a:gd name="connsiteX17651" fmla="*/ 3046953 w 10505529"/>
              <a:gd name="connsiteY17651" fmla="*/ 4599700 h 7458372"/>
              <a:gd name="connsiteX17652" fmla="*/ 3055339 w 10505529"/>
              <a:gd name="connsiteY17652" fmla="*/ 4578667 h 7458372"/>
              <a:gd name="connsiteX17653" fmla="*/ 3077176 w 10505529"/>
              <a:gd name="connsiteY17653" fmla="*/ 4570015 h 7458372"/>
              <a:gd name="connsiteX17654" fmla="*/ 2859518 w 10505529"/>
              <a:gd name="connsiteY17654" fmla="*/ 4570015 h 7458372"/>
              <a:gd name="connsiteX17655" fmla="*/ 2871367 w 10505529"/>
              <a:gd name="connsiteY17655" fmla="*/ 4572677 h 7458372"/>
              <a:gd name="connsiteX17656" fmla="*/ 2880685 w 10505529"/>
              <a:gd name="connsiteY17656" fmla="*/ 4579067 h 7458372"/>
              <a:gd name="connsiteX17657" fmla="*/ 2886808 w 10505529"/>
              <a:gd name="connsiteY17657" fmla="*/ 4588385 h 7458372"/>
              <a:gd name="connsiteX17658" fmla="*/ 2889071 w 10505529"/>
              <a:gd name="connsiteY17658" fmla="*/ 4599833 h 7458372"/>
              <a:gd name="connsiteX17659" fmla="*/ 2886808 w 10505529"/>
              <a:gd name="connsiteY17659" fmla="*/ 4611548 h 7458372"/>
              <a:gd name="connsiteX17660" fmla="*/ 2880685 w 10505529"/>
              <a:gd name="connsiteY17660" fmla="*/ 4620866 h 7458372"/>
              <a:gd name="connsiteX17661" fmla="*/ 2871367 w 10505529"/>
              <a:gd name="connsiteY17661" fmla="*/ 4627123 h 7458372"/>
              <a:gd name="connsiteX17662" fmla="*/ 2859518 w 10505529"/>
              <a:gd name="connsiteY17662" fmla="*/ 4629386 h 7458372"/>
              <a:gd name="connsiteX17663" fmla="*/ 2837682 w 10505529"/>
              <a:gd name="connsiteY17663" fmla="*/ 4620866 h 7458372"/>
              <a:gd name="connsiteX17664" fmla="*/ 2829294 w 10505529"/>
              <a:gd name="connsiteY17664" fmla="*/ 4599700 h 7458372"/>
              <a:gd name="connsiteX17665" fmla="*/ 2837682 w 10505529"/>
              <a:gd name="connsiteY17665" fmla="*/ 4578667 h 7458372"/>
              <a:gd name="connsiteX17666" fmla="*/ 2859518 w 10505529"/>
              <a:gd name="connsiteY17666" fmla="*/ 4570015 h 7458372"/>
              <a:gd name="connsiteX17667" fmla="*/ 2641860 w 10505529"/>
              <a:gd name="connsiteY17667" fmla="*/ 4570015 h 7458372"/>
              <a:gd name="connsiteX17668" fmla="*/ 2653576 w 10505529"/>
              <a:gd name="connsiteY17668" fmla="*/ 4572677 h 7458372"/>
              <a:gd name="connsiteX17669" fmla="*/ 2662893 w 10505529"/>
              <a:gd name="connsiteY17669" fmla="*/ 4579067 h 7458372"/>
              <a:gd name="connsiteX17670" fmla="*/ 2669017 w 10505529"/>
              <a:gd name="connsiteY17670" fmla="*/ 4588385 h 7458372"/>
              <a:gd name="connsiteX17671" fmla="*/ 2671280 w 10505529"/>
              <a:gd name="connsiteY17671" fmla="*/ 4599833 h 7458372"/>
              <a:gd name="connsiteX17672" fmla="*/ 2669017 w 10505529"/>
              <a:gd name="connsiteY17672" fmla="*/ 4611548 h 7458372"/>
              <a:gd name="connsiteX17673" fmla="*/ 2662893 w 10505529"/>
              <a:gd name="connsiteY17673" fmla="*/ 4620866 h 7458372"/>
              <a:gd name="connsiteX17674" fmla="*/ 2653576 w 10505529"/>
              <a:gd name="connsiteY17674" fmla="*/ 4627123 h 7458372"/>
              <a:gd name="connsiteX17675" fmla="*/ 2641860 w 10505529"/>
              <a:gd name="connsiteY17675" fmla="*/ 4629386 h 7458372"/>
              <a:gd name="connsiteX17676" fmla="*/ 2620027 w 10505529"/>
              <a:gd name="connsiteY17676" fmla="*/ 4620866 h 7458372"/>
              <a:gd name="connsiteX17677" fmla="*/ 2611637 w 10505529"/>
              <a:gd name="connsiteY17677" fmla="*/ 4599700 h 7458372"/>
              <a:gd name="connsiteX17678" fmla="*/ 2620027 w 10505529"/>
              <a:gd name="connsiteY17678" fmla="*/ 4578667 h 7458372"/>
              <a:gd name="connsiteX17679" fmla="*/ 2641860 w 10505529"/>
              <a:gd name="connsiteY17679" fmla="*/ 4570015 h 7458372"/>
              <a:gd name="connsiteX17680" fmla="*/ 2424201 w 10505529"/>
              <a:gd name="connsiteY17680" fmla="*/ 4570015 h 7458372"/>
              <a:gd name="connsiteX17681" fmla="*/ 2435917 w 10505529"/>
              <a:gd name="connsiteY17681" fmla="*/ 4572677 h 7458372"/>
              <a:gd name="connsiteX17682" fmla="*/ 2445235 w 10505529"/>
              <a:gd name="connsiteY17682" fmla="*/ 4579067 h 7458372"/>
              <a:gd name="connsiteX17683" fmla="*/ 2451358 w 10505529"/>
              <a:gd name="connsiteY17683" fmla="*/ 4588385 h 7458372"/>
              <a:gd name="connsiteX17684" fmla="*/ 2453621 w 10505529"/>
              <a:gd name="connsiteY17684" fmla="*/ 4599833 h 7458372"/>
              <a:gd name="connsiteX17685" fmla="*/ 2451358 w 10505529"/>
              <a:gd name="connsiteY17685" fmla="*/ 4611548 h 7458372"/>
              <a:gd name="connsiteX17686" fmla="*/ 2445235 w 10505529"/>
              <a:gd name="connsiteY17686" fmla="*/ 4620866 h 7458372"/>
              <a:gd name="connsiteX17687" fmla="*/ 2435917 w 10505529"/>
              <a:gd name="connsiteY17687" fmla="*/ 4627123 h 7458372"/>
              <a:gd name="connsiteX17688" fmla="*/ 2424201 w 10505529"/>
              <a:gd name="connsiteY17688" fmla="*/ 4629386 h 7458372"/>
              <a:gd name="connsiteX17689" fmla="*/ 2402370 w 10505529"/>
              <a:gd name="connsiteY17689" fmla="*/ 4620866 h 7458372"/>
              <a:gd name="connsiteX17690" fmla="*/ 2393981 w 10505529"/>
              <a:gd name="connsiteY17690" fmla="*/ 4599700 h 7458372"/>
              <a:gd name="connsiteX17691" fmla="*/ 2402370 w 10505529"/>
              <a:gd name="connsiteY17691" fmla="*/ 4578667 h 7458372"/>
              <a:gd name="connsiteX17692" fmla="*/ 2424201 w 10505529"/>
              <a:gd name="connsiteY17692" fmla="*/ 4570015 h 7458372"/>
              <a:gd name="connsiteX17693" fmla="*/ 2206544 w 10505529"/>
              <a:gd name="connsiteY17693" fmla="*/ 4570015 h 7458372"/>
              <a:gd name="connsiteX17694" fmla="*/ 2218259 w 10505529"/>
              <a:gd name="connsiteY17694" fmla="*/ 4572677 h 7458372"/>
              <a:gd name="connsiteX17695" fmla="*/ 2227577 w 10505529"/>
              <a:gd name="connsiteY17695" fmla="*/ 4579067 h 7458372"/>
              <a:gd name="connsiteX17696" fmla="*/ 2233700 w 10505529"/>
              <a:gd name="connsiteY17696" fmla="*/ 4588385 h 7458372"/>
              <a:gd name="connsiteX17697" fmla="*/ 2235963 w 10505529"/>
              <a:gd name="connsiteY17697" fmla="*/ 4599833 h 7458372"/>
              <a:gd name="connsiteX17698" fmla="*/ 2233700 w 10505529"/>
              <a:gd name="connsiteY17698" fmla="*/ 4611548 h 7458372"/>
              <a:gd name="connsiteX17699" fmla="*/ 2227577 w 10505529"/>
              <a:gd name="connsiteY17699" fmla="*/ 4620866 h 7458372"/>
              <a:gd name="connsiteX17700" fmla="*/ 2218259 w 10505529"/>
              <a:gd name="connsiteY17700" fmla="*/ 4627123 h 7458372"/>
              <a:gd name="connsiteX17701" fmla="*/ 2206544 w 10505529"/>
              <a:gd name="connsiteY17701" fmla="*/ 4629386 h 7458372"/>
              <a:gd name="connsiteX17702" fmla="*/ 2184710 w 10505529"/>
              <a:gd name="connsiteY17702" fmla="*/ 4620866 h 7458372"/>
              <a:gd name="connsiteX17703" fmla="*/ 2176323 w 10505529"/>
              <a:gd name="connsiteY17703" fmla="*/ 4599700 h 7458372"/>
              <a:gd name="connsiteX17704" fmla="*/ 2184710 w 10505529"/>
              <a:gd name="connsiteY17704" fmla="*/ 4578667 h 7458372"/>
              <a:gd name="connsiteX17705" fmla="*/ 2206544 w 10505529"/>
              <a:gd name="connsiteY17705" fmla="*/ 4570015 h 7458372"/>
              <a:gd name="connsiteX17706" fmla="*/ 1989018 w 10505529"/>
              <a:gd name="connsiteY17706" fmla="*/ 4570015 h 7458372"/>
              <a:gd name="connsiteX17707" fmla="*/ 2000733 w 10505529"/>
              <a:gd name="connsiteY17707" fmla="*/ 4572677 h 7458372"/>
              <a:gd name="connsiteX17708" fmla="*/ 2010051 w 10505529"/>
              <a:gd name="connsiteY17708" fmla="*/ 4579067 h 7458372"/>
              <a:gd name="connsiteX17709" fmla="*/ 2016175 w 10505529"/>
              <a:gd name="connsiteY17709" fmla="*/ 4588385 h 7458372"/>
              <a:gd name="connsiteX17710" fmla="*/ 2018438 w 10505529"/>
              <a:gd name="connsiteY17710" fmla="*/ 4599833 h 7458372"/>
              <a:gd name="connsiteX17711" fmla="*/ 2016175 w 10505529"/>
              <a:gd name="connsiteY17711" fmla="*/ 4611548 h 7458372"/>
              <a:gd name="connsiteX17712" fmla="*/ 2010051 w 10505529"/>
              <a:gd name="connsiteY17712" fmla="*/ 4620866 h 7458372"/>
              <a:gd name="connsiteX17713" fmla="*/ 2000733 w 10505529"/>
              <a:gd name="connsiteY17713" fmla="*/ 4627123 h 7458372"/>
              <a:gd name="connsiteX17714" fmla="*/ 1989018 w 10505529"/>
              <a:gd name="connsiteY17714" fmla="*/ 4629386 h 7458372"/>
              <a:gd name="connsiteX17715" fmla="*/ 1967187 w 10505529"/>
              <a:gd name="connsiteY17715" fmla="*/ 4620866 h 7458372"/>
              <a:gd name="connsiteX17716" fmla="*/ 1958801 w 10505529"/>
              <a:gd name="connsiteY17716" fmla="*/ 4599700 h 7458372"/>
              <a:gd name="connsiteX17717" fmla="*/ 1967187 w 10505529"/>
              <a:gd name="connsiteY17717" fmla="*/ 4578667 h 7458372"/>
              <a:gd name="connsiteX17718" fmla="*/ 1989018 w 10505529"/>
              <a:gd name="connsiteY17718" fmla="*/ 4570015 h 7458372"/>
              <a:gd name="connsiteX17719" fmla="*/ 1771382 w 10505529"/>
              <a:gd name="connsiteY17719" fmla="*/ 4570015 h 7458372"/>
              <a:gd name="connsiteX17720" fmla="*/ 1783096 w 10505529"/>
              <a:gd name="connsiteY17720" fmla="*/ 4572677 h 7458372"/>
              <a:gd name="connsiteX17721" fmla="*/ 1792414 w 10505529"/>
              <a:gd name="connsiteY17721" fmla="*/ 4579067 h 7458372"/>
              <a:gd name="connsiteX17722" fmla="*/ 1798538 w 10505529"/>
              <a:gd name="connsiteY17722" fmla="*/ 4588385 h 7458372"/>
              <a:gd name="connsiteX17723" fmla="*/ 1800800 w 10505529"/>
              <a:gd name="connsiteY17723" fmla="*/ 4599833 h 7458372"/>
              <a:gd name="connsiteX17724" fmla="*/ 1798538 w 10505529"/>
              <a:gd name="connsiteY17724" fmla="*/ 4611548 h 7458372"/>
              <a:gd name="connsiteX17725" fmla="*/ 1792414 w 10505529"/>
              <a:gd name="connsiteY17725" fmla="*/ 4620866 h 7458372"/>
              <a:gd name="connsiteX17726" fmla="*/ 1783096 w 10505529"/>
              <a:gd name="connsiteY17726" fmla="*/ 4627123 h 7458372"/>
              <a:gd name="connsiteX17727" fmla="*/ 1771382 w 10505529"/>
              <a:gd name="connsiteY17727" fmla="*/ 4629386 h 7458372"/>
              <a:gd name="connsiteX17728" fmla="*/ 1749553 w 10505529"/>
              <a:gd name="connsiteY17728" fmla="*/ 4620866 h 7458372"/>
              <a:gd name="connsiteX17729" fmla="*/ 1741169 w 10505529"/>
              <a:gd name="connsiteY17729" fmla="*/ 4599700 h 7458372"/>
              <a:gd name="connsiteX17730" fmla="*/ 1749553 w 10505529"/>
              <a:gd name="connsiteY17730" fmla="*/ 4578667 h 7458372"/>
              <a:gd name="connsiteX17731" fmla="*/ 1771382 w 10505529"/>
              <a:gd name="connsiteY17731" fmla="*/ 4570015 h 7458372"/>
              <a:gd name="connsiteX17732" fmla="*/ 1553744 w 10505529"/>
              <a:gd name="connsiteY17732" fmla="*/ 4570015 h 7458372"/>
              <a:gd name="connsiteX17733" fmla="*/ 1565459 w 10505529"/>
              <a:gd name="connsiteY17733" fmla="*/ 4572677 h 7458372"/>
              <a:gd name="connsiteX17734" fmla="*/ 1574777 w 10505529"/>
              <a:gd name="connsiteY17734" fmla="*/ 4579067 h 7458372"/>
              <a:gd name="connsiteX17735" fmla="*/ 1580900 w 10505529"/>
              <a:gd name="connsiteY17735" fmla="*/ 4588385 h 7458372"/>
              <a:gd name="connsiteX17736" fmla="*/ 1583163 w 10505529"/>
              <a:gd name="connsiteY17736" fmla="*/ 4599833 h 7458372"/>
              <a:gd name="connsiteX17737" fmla="*/ 1580900 w 10505529"/>
              <a:gd name="connsiteY17737" fmla="*/ 4611548 h 7458372"/>
              <a:gd name="connsiteX17738" fmla="*/ 1574777 w 10505529"/>
              <a:gd name="connsiteY17738" fmla="*/ 4620866 h 7458372"/>
              <a:gd name="connsiteX17739" fmla="*/ 1565459 w 10505529"/>
              <a:gd name="connsiteY17739" fmla="*/ 4627123 h 7458372"/>
              <a:gd name="connsiteX17740" fmla="*/ 1553744 w 10505529"/>
              <a:gd name="connsiteY17740" fmla="*/ 4629386 h 7458372"/>
              <a:gd name="connsiteX17741" fmla="*/ 1531914 w 10505529"/>
              <a:gd name="connsiteY17741" fmla="*/ 4620866 h 7458372"/>
              <a:gd name="connsiteX17742" fmla="*/ 1523528 w 10505529"/>
              <a:gd name="connsiteY17742" fmla="*/ 4599700 h 7458372"/>
              <a:gd name="connsiteX17743" fmla="*/ 1531914 w 10505529"/>
              <a:gd name="connsiteY17743" fmla="*/ 4578667 h 7458372"/>
              <a:gd name="connsiteX17744" fmla="*/ 1553744 w 10505529"/>
              <a:gd name="connsiteY17744" fmla="*/ 4570015 h 7458372"/>
              <a:gd name="connsiteX17745" fmla="*/ 1336100 w 10505529"/>
              <a:gd name="connsiteY17745" fmla="*/ 4570015 h 7458372"/>
              <a:gd name="connsiteX17746" fmla="*/ 1347816 w 10505529"/>
              <a:gd name="connsiteY17746" fmla="*/ 4572677 h 7458372"/>
              <a:gd name="connsiteX17747" fmla="*/ 1357134 w 10505529"/>
              <a:gd name="connsiteY17747" fmla="*/ 4579067 h 7458372"/>
              <a:gd name="connsiteX17748" fmla="*/ 1363257 w 10505529"/>
              <a:gd name="connsiteY17748" fmla="*/ 4588385 h 7458372"/>
              <a:gd name="connsiteX17749" fmla="*/ 1365519 w 10505529"/>
              <a:gd name="connsiteY17749" fmla="*/ 4599833 h 7458372"/>
              <a:gd name="connsiteX17750" fmla="*/ 1363257 w 10505529"/>
              <a:gd name="connsiteY17750" fmla="*/ 4611548 h 7458372"/>
              <a:gd name="connsiteX17751" fmla="*/ 1357134 w 10505529"/>
              <a:gd name="connsiteY17751" fmla="*/ 4620866 h 7458372"/>
              <a:gd name="connsiteX17752" fmla="*/ 1347816 w 10505529"/>
              <a:gd name="connsiteY17752" fmla="*/ 4627123 h 7458372"/>
              <a:gd name="connsiteX17753" fmla="*/ 1336100 w 10505529"/>
              <a:gd name="connsiteY17753" fmla="*/ 4629386 h 7458372"/>
              <a:gd name="connsiteX17754" fmla="*/ 1314268 w 10505529"/>
              <a:gd name="connsiteY17754" fmla="*/ 4620866 h 7458372"/>
              <a:gd name="connsiteX17755" fmla="*/ 1305882 w 10505529"/>
              <a:gd name="connsiteY17755" fmla="*/ 4599700 h 7458372"/>
              <a:gd name="connsiteX17756" fmla="*/ 1314268 w 10505529"/>
              <a:gd name="connsiteY17756" fmla="*/ 4578667 h 7458372"/>
              <a:gd name="connsiteX17757" fmla="*/ 1336100 w 10505529"/>
              <a:gd name="connsiteY17757" fmla="*/ 4570015 h 7458372"/>
              <a:gd name="connsiteX17758" fmla="*/ 1118455 w 10505529"/>
              <a:gd name="connsiteY17758" fmla="*/ 4570015 h 7458372"/>
              <a:gd name="connsiteX17759" fmla="*/ 1130172 w 10505529"/>
              <a:gd name="connsiteY17759" fmla="*/ 4572677 h 7458372"/>
              <a:gd name="connsiteX17760" fmla="*/ 1139488 w 10505529"/>
              <a:gd name="connsiteY17760" fmla="*/ 4579067 h 7458372"/>
              <a:gd name="connsiteX17761" fmla="*/ 1145608 w 10505529"/>
              <a:gd name="connsiteY17761" fmla="*/ 4588385 h 7458372"/>
              <a:gd name="connsiteX17762" fmla="*/ 1147872 w 10505529"/>
              <a:gd name="connsiteY17762" fmla="*/ 4599833 h 7458372"/>
              <a:gd name="connsiteX17763" fmla="*/ 1145608 w 10505529"/>
              <a:gd name="connsiteY17763" fmla="*/ 4611548 h 7458372"/>
              <a:gd name="connsiteX17764" fmla="*/ 1139488 w 10505529"/>
              <a:gd name="connsiteY17764" fmla="*/ 4620866 h 7458372"/>
              <a:gd name="connsiteX17765" fmla="*/ 1130172 w 10505529"/>
              <a:gd name="connsiteY17765" fmla="*/ 4627123 h 7458372"/>
              <a:gd name="connsiteX17766" fmla="*/ 1118455 w 10505529"/>
              <a:gd name="connsiteY17766" fmla="*/ 4629386 h 7458372"/>
              <a:gd name="connsiteX17767" fmla="*/ 1096620 w 10505529"/>
              <a:gd name="connsiteY17767" fmla="*/ 4620866 h 7458372"/>
              <a:gd name="connsiteX17768" fmla="*/ 1088236 w 10505529"/>
              <a:gd name="connsiteY17768" fmla="*/ 4599700 h 7458372"/>
              <a:gd name="connsiteX17769" fmla="*/ 1096620 w 10505529"/>
              <a:gd name="connsiteY17769" fmla="*/ 4578667 h 7458372"/>
              <a:gd name="connsiteX17770" fmla="*/ 1118455 w 10505529"/>
              <a:gd name="connsiteY17770" fmla="*/ 4570015 h 7458372"/>
              <a:gd name="connsiteX17771" fmla="*/ 900942 w 10505529"/>
              <a:gd name="connsiteY17771" fmla="*/ 4570015 h 7458372"/>
              <a:gd name="connsiteX17772" fmla="*/ 912657 w 10505529"/>
              <a:gd name="connsiteY17772" fmla="*/ 4572677 h 7458372"/>
              <a:gd name="connsiteX17773" fmla="*/ 921975 w 10505529"/>
              <a:gd name="connsiteY17773" fmla="*/ 4579067 h 7458372"/>
              <a:gd name="connsiteX17774" fmla="*/ 928098 w 10505529"/>
              <a:gd name="connsiteY17774" fmla="*/ 4588385 h 7458372"/>
              <a:gd name="connsiteX17775" fmla="*/ 930361 w 10505529"/>
              <a:gd name="connsiteY17775" fmla="*/ 4599833 h 7458372"/>
              <a:gd name="connsiteX17776" fmla="*/ 928098 w 10505529"/>
              <a:gd name="connsiteY17776" fmla="*/ 4611548 h 7458372"/>
              <a:gd name="connsiteX17777" fmla="*/ 921975 w 10505529"/>
              <a:gd name="connsiteY17777" fmla="*/ 4620866 h 7458372"/>
              <a:gd name="connsiteX17778" fmla="*/ 912657 w 10505529"/>
              <a:gd name="connsiteY17778" fmla="*/ 4627123 h 7458372"/>
              <a:gd name="connsiteX17779" fmla="*/ 900942 w 10505529"/>
              <a:gd name="connsiteY17779" fmla="*/ 4629386 h 7458372"/>
              <a:gd name="connsiteX17780" fmla="*/ 879111 w 10505529"/>
              <a:gd name="connsiteY17780" fmla="*/ 4620866 h 7458372"/>
              <a:gd name="connsiteX17781" fmla="*/ 870726 w 10505529"/>
              <a:gd name="connsiteY17781" fmla="*/ 4599700 h 7458372"/>
              <a:gd name="connsiteX17782" fmla="*/ 879111 w 10505529"/>
              <a:gd name="connsiteY17782" fmla="*/ 4578667 h 7458372"/>
              <a:gd name="connsiteX17783" fmla="*/ 900942 w 10505529"/>
              <a:gd name="connsiteY17783" fmla="*/ 4570015 h 7458372"/>
              <a:gd name="connsiteX17784" fmla="*/ 683301 w 10505529"/>
              <a:gd name="connsiteY17784" fmla="*/ 4570015 h 7458372"/>
              <a:gd name="connsiteX17785" fmla="*/ 695016 w 10505529"/>
              <a:gd name="connsiteY17785" fmla="*/ 4572677 h 7458372"/>
              <a:gd name="connsiteX17786" fmla="*/ 704333 w 10505529"/>
              <a:gd name="connsiteY17786" fmla="*/ 4579067 h 7458372"/>
              <a:gd name="connsiteX17787" fmla="*/ 710457 w 10505529"/>
              <a:gd name="connsiteY17787" fmla="*/ 4588385 h 7458372"/>
              <a:gd name="connsiteX17788" fmla="*/ 712720 w 10505529"/>
              <a:gd name="connsiteY17788" fmla="*/ 4599833 h 7458372"/>
              <a:gd name="connsiteX17789" fmla="*/ 710457 w 10505529"/>
              <a:gd name="connsiteY17789" fmla="*/ 4611548 h 7458372"/>
              <a:gd name="connsiteX17790" fmla="*/ 704333 w 10505529"/>
              <a:gd name="connsiteY17790" fmla="*/ 4620866 h 7458372"/>
              <a:gd name="connsiteX17791" fmla="*/ 695016 w 10505529"/>
              <a:gd name="connsiteY17791" fmla="*/ 4627123 h 7458372"/>
              <a:gd name="connsiteX17792" fmla="*/ 683301 w 10505529"/>
              <a:gd name="connsiteY17792" fmla="*/ 4629386 h 7458372"/>
              <a:gd name="connsiteX17793" fmla="*/ 661470 w 10505529"/>
              <a:gd name="connsiteY17793" fmla="*/ 4620866 h 7458372"/>
              <a:gd name="connsiteX17794" fmla="*/ 653084 w 10505529"/>
              <a:gd name="connsiteY17794" fmla="*/ 4599700 h 7458372"/>
              <a:gd name="connsiteX17795" fmla="*/ 661470 w 10505529"/>
              <a:gd name="connsiteY17795" fmla="*/ 4578667 h 7458372"/>
              <a:gd name="connsiteX17796" fmla="*/ 683301 w 10505529"/>
              <a:gd name="connsiteY17796" fmla="*/ 4570015 h 7458372"/>
              <a:gd name="connsiteX17797" fmla="*/ 465659 w 10505529"/>
              <a:gd name="connsiteY17797" fmla="*/ 4570015 h 7458372"/>
              <a:gd name="connsiteX17798" fmla="*/ 477375 w 10505529"/>
              <a:gd name="connsiteY17798" fmla="*/ 4572677 h 7458372"/>
              <a:gd name="connsiteX17799" fmla="*/ 486692 w 10505529"/>
              <a:gd name="connsiteY17799" fmla="*/ 4579067 h 7458372"/>
              <a:gd name="connsiteX17800" fmla="*/ 492815 w 10505529"/>
              <a:gd name="connsiteY17800" fmla="*/ 4588385 h 7458372"/>
              <a:gd name="connsiteX17801" fmla="*/ 495078 w 10505529"/>
              <a:gd name="connsiteY17801" fmla="*/ 4599833 h 7458372"/>
              <a:gd name="connsiteX17802" fmla="*/ 492815 w 10505529"/>
              <a:gd name="connsiteY17802" fmla="*/ 4611548 h 7458372"/>
              <a:gd name="connsiteX17803" fmla="*/ 486692 w 10505529"/>
              <a:gd name="connsiteY17803" fmla="*/ 4620866 h 7458372"/>
              <a:gd name="connsiteX17804" fmla="*/ 477375 w 10505529"/>
              <a:gd name="connsiteY17804" fmla="*/ 4627123 h 7458372"/>
              <a:gd name="connsiteX17805" fmla="*/ 465659 w 10505529"/>
              <a:gd name="connsiteY17805" fmla="*/ 4629386 h 7458372"/>
              <a:gd name="connsiteX17806" fmla="*/ 443828 w 10505529"/>
              <a:gd name="connsiteY17806" fmla="*/ 4620866 h 7458372"/>
              <a:gd name="connsiteX17807" fmla="*/ 435442 w 10505529"/>
              <a:gd name="connsiteY17807" fmla="*/ 4599700 h 7458372"/>
              <a:gd name="connsiteX17808" fmla="*/ 443828 w 10505529"/>
              <a:gd name="connsiteY17808" fmla="*/ 4578667 h 7458372"/>
              <a:gd name="connsiteX17809" fmla="*/ 465659 w 10505529"/>
              <a:gd name="connsiteY17809" fmla="*/ 4570015 h 7458372"/>
              <a:gd name="connsiteX17810" fmla="*/ 248017 w 10505529"/>
              <a:gd name="connsiteY17810" fmla="*/ 4570015 h 7458372"/>
              <a:gd name="connsiteX17811" fmla="*/ 259732 w 10505529"/>
              <a:gd name="connsiteY17811" fmla="*/ 4572677 h 7458372"/>
              <a:gd name="connsiteX17812" fmla="*/ 269050 w 10505529"/>
              <a:gd name="connsiteY17812" fmla="*/ 4579067 h 7458372"/>
              <a:gd name="connsiteX17813" fmla="*/ 275173 w 10505529"/>
              <a:gd name="connsiteY17813" fmla="*/ 4588385 h 7458372"/>
              <a:gd name="connsiteX17814" fmla="*/ 277436 w 10505529"/>
              <a:gd name="connsiteY17814" fmla="*/ 4599833 h 7458372"/>
              <a:gd name="connsiteX17815" fmla="*/ 275173 w 10505529"/>
              <a:gd name="connsiteY17815" fmla="*/ 4611548 h 7458372"/>
              <a:gd name="connsiteX17816" fmla="*/ 269050 w 10505529"/>
              <a:gd name="connsiteY17816" fmla="*/ 4620866 h 7458372"/>
              <a:gd name="connsiteX17817" fmla="*/ 259732 w 10505529"/>
              <a:gd name="connsiteY17817" fmla="*/ 4627123 h 7458372"/>
              <a:gd name="connsiteX17818" fmla="*/ 248017 w 10505529"/>
              <a:gd name="connsiteY17818" fmla="*/ 4629386 h 7458372"/>
              <a:gd name="connsiteX17819" fmla="*/ 226187 w 10505529"/>
              <a:gd name="connsiteY17819" fmla="*/ 4620866 h 7458372"/>
              <a:gd name="connsiteX17820" fmla="*/ 217802 w 10505529"/>
              <a:gd name="connsiteY17820" fmla="*/ 4599700 h 7458372"/>
              <a:gd name="connsiteX17821" fmla="*/ 226187 w 10505529"/>
              <a:gd name="connsiteY17821" fmla="*/ 4578667 h 7458372"/>
              <a:gd name="connsiteX17822" fmla="*/ 248017 w 10505529"/>
              <a:gd name="connsiteY17822" fmla="*/ 4570015 h 7458372"/>
              <a:gd name="connsiteX17823" fmla="*/ 30375 w 10505529"/>
              <a:gd name="connsiteY17823" fmla="*/ 4570015 h 7458372"/>
              <a:gd name="connsiteX17824" fmla="*/ 42090 w 10505529"/>
              <a:gd name="connsiteY17824" fmla="*/ 4572677 h 7458372"/>
              <a:gd name="connsiteX17825" fmla="*/ 51408 w 10505529"/>
              <a:gd name="connsiteY17825" fmla="*/ 4579067 h 7458372"/>
              <a:gd name="connsiteX17826" fmla="*/ 57531 w 10505529"/>
              <a:gd name="connsiteY17826" fmla="*/ 4588385 h 7458372"/>
              <a:gd name="connsiteX17827" fmla="*/ 59794 w 10505529"/>
              <a:gd name="connsiteY17827" fmla="*/ 4599833 h 7458372"/>
              <a:gd name="connsiteX17828" fmla="*/ 57531 w 10505529"/>
              <a:gd name="connsiteY17828" fmla="*/ 4611548 h 7458372"/>
              <a:gd name="connsiteX17829" fmla="*/ 51408 w 10505529"/>
              <a:gd name="connsiteY17829" fmla="*/ 4620866 h 7458372"/>
              <a:gd name="connsiteX17830" fmla="*/ 42090 w 10505529"/>
              <a:gd name="connsiteY17830" fmla="*/ 4627123 h 7458372"/>
              <a:gd name="connsiteX17831" fmla="*/ 30375 w 10505529"/>
              <a:gd name="connsiteY17831" fmla="*/ 4629386 h 7458372"/>
              <a:gd name="connsiteX17832" fmla="*/ 8547 w 10505529"/>
              <a:gd name="connsiteY17832" fmla="*/ 4620866 h 7458372"/>
              <a:gd name="connsiteX17833" fmla="*/ 161 w 10505529"/>
              <a:gd name="connsiteY17833" fmla="*/ 4599700 h 7458372"/>
              <a:gd name="connsiteX17834" fmla="*/ 8547 w 10505529"/>
              <a:gd name="connsiteY17834" fmla="*/ 4578667 h 7458372"/>
              <a:gd name="connsiteX17835" fmla="*/ 30375 w 10505529"/>
              <a:gd name="connsiteY17835" fmla="*/ 4570015 h 7458372"/>
              <a:gd name="connsiteX17836" fmla="*/ 10475977 w 10505529"/>
              <a:gd name="connsiteY17836" fmla="*/ 4369009 h 7458372"/>
              <a:gd name="connsiteX17837" fmla="*/ 10465992 w 10505529"/>
              <a:gd name="connsiteY17837" fmla="*/ 4372603 h 7458372"/>
              <a:gd name="connsiteX17838" fmla="*/ 10462399 w 10505529"/>
              <a:gd name="connsiteY17838" fmla="*/ 4382054 h 7458372"/>
              <a:gd name="connsiteX17839" fmla="*/ 10465992 w 10505529"/>
              <a:gd name="connsiteY17839" fmla="*/ 4391505 h 7458372"/>
              <a:gd name="connsiteX17840" fmla="*/ 10475977 w 10505529"/>
              <a:gd name="connsiteY17840" fmla="*/ 4394967 h 7458372"/>
              <a:gd name="connsiteX17841" fmla="*/ 10481302 w 10505529"/>
              <a:gd name="connsiteY17841" fmla="*/ 4394035 h 7458372"/>
              <a:gd name="connsiteX17842" fmla="*/ 10485029 w 10505529"/>
              <a:gd name="connsiteY17842" fmla="*/ 4391638 h 7458372"/>
              <a:gd name="connsiteX17843" fmla="*/ 10487691 w 10505529"/>
              <a:gd name="connsiteY17843" fmla="*/ 4387379 h 7458372"/>
              <a:gd name="connsiteX17844" fmla="*/ 10488623 w 10505529"/>
              <a:gd name="connsiteY17844" fmla="*/ 4381921 h 7458372"/>
              <a:gd name="connsiteX17845" fmla="*/ 10487691 w 10505529"/>
              <a:gd name="connsiteY17845" fmla="*/ 4376729 h 7458372"/>
              <a:gd name="connsiteX17846" fmla="*/ 10485029 w 10505529"/>
              <a:gd name="connsiteY17846" fmla="*/ 4372603 h 7458372"/>
              <a:gd name="connsiteX17847" fmla="*/ 10481035 w 10505529"/>
              <a:gd name="connsiteY17847" fmla="*/ 4369940 h 7458372"/>
              <a:gd name="connsiteX17848" fmla="*/ 10475977 w 10505529"/>
              <a:gd name="connsiteY17848" fmla="*/ 4369009 h 7458372"/>
              <a:gd name="connsiteX17849" fmla="*/ 10258466 w 10505529"/>
              <a:gd name="connsiteY17849" fmla="*/ 4369009 h 7458372"/>
              <a:gd name="connsiteX17850" fmla="*/ 10248481 w 10505529"/>
              <a:gd name="connsiteY17850" fmla="*/ 4372603 h 7458372"/>
              <a:gd name="connsiteX17851" fmla="*/ 10244887 w 10505529"/>
              <a:gd name="connsiteY17851" fmla="*/ 4382054 h 7458372"/>
              <a:gd name="connsiteX17852" fmla="*/ 10248481 w 10505529"/>
              <a:gd name="connsiteY17852" fmla="*/ 4391505 h 7458372"/>
              <a:gd name="connsiteX17853" fmla="*/ 10258466 w 10505529"/>
              <a:gd name="connsiteY17853" fmla="*/ 4394967 h 7458372"/>
              <a:gd name="connsiteX17854" fmla="*/ 10263790 w 10505529"/>
              <a:gd name="connsiteY17854" fmla="*/ 4394035 h 7458372"/>
              <a:gd name="connsiteX17855" fmla="*/ 10267517 w 10505529"/>
              <a:gd name="connsiteY17855" fmla="*/ 4391638 h 7458372"/>
              <a:gd name="connsiteX17856" fmla="*/ 10270180 w 10505529"/>
              <a:gd name="connsiteY17856" fmla="*/ 4387379 h 7458372"/>
              <a:gd name="connsiteX17857" fmla="*/ 10271112 w 10505529"/>
              <a:gd name="connsiteY17857" fmla="*/ 4381921 h 7458372"/>
              <a:gd name="connsiteX17858" fmla="*/ 10270180 w 10505529"/>
              <a:gd name="connsiteY17858" fmla="*/ 4376729 h 7458372"/>
              <a:gd name="connsiteX17859" fmla="*/ 10267517 w 10505529"/>
              <a:gd name="connsiteY17859" fmla="*/ 4372603 h 7458372"/>
              <a:gd name="connsiteX17860" fmla="*/ 10263524 w 10505529"/>
              <a:gd name="connsiteY17860" fmla="*/ 4369940 h 7458372"/>
              <a:gd name="connsiteX17861" fmla="*/ 10258466 w 10505529"/>
              <a:gd name="connsiteY17861" fmla="*/ 4369009 h 7458372"/>
              <a:gd name="connsiteX17862" fmla="*/ 10040820 w 10505529"/>
              <a:gd name="connsiteY17862" fmla="*/ 4369009 h 7458372"/>
              <a:gd name="connsiteX17863" fmla="*/ 10030835 w 10505529"/>
              <a:gd name="connsiteY17863" fmla="*/ 4372603 h 7458372"/>
              <a:gd name="connsiteX17864" fmla="*/ 10027242 w 10505529"/>
              <a:gd name="connsiteY17864" fmla="*/ 4382054 h 7458372"/>
              <a:gd name="connsiteX17865" fmla="*/ 10030835 w 10505529"/>
              <a:gd name="connsiteY17865" fmla="*/ 4391505 h 7458372"/>
              <a:gd name="connsiteX17866" fmla="*/ 10040820 w 10505529"/>
              <a:gd name="connsiteY17866" fmla="*/ 4394967 h 7458372"/>
              <a:gd name="connsiteX17867" fmla="*/ 10046145 w 10505529"/>
              <a:gd name="connsiteY17867" fmla="*/ 4394035 h 7458372"/>
              <a:gd name="connsiteX17868" fmla="*/ 10049872 w 10505529"/>
              <a:gd name="connsiteY17868" fmla="*/ 4391638 h 7458372"/>
              <a:gd name="connsiteX17869" fmla="*/ 10052534 w 10505529"/>
              <a:gd name="connsiteY17869" fmla="*/ 4387379 h 7458372"/>
              <a:gd name="connsiteX17870" fmla="*/ 10053599 w 10505529"/>
              <a:gd name="connsiteY17870" fmla="*/ 4381921 h 7458372"/>
              <a:gd name="connsiteX17871" fmla="*/ 10052534 w 10505529"/>
              <a:gd name="connsiteY17871" fmla="*/ 4376729 h 7458372"/>
              <a:gd name="connsiteX17872" fmla="*/ 10049872 w 10505529"/>
              <a:gd name="connsiteY17872" fmla="*/ 4372603 h 7458372"/>
              <a:gd name="connsiteX17873" fmla="*/ 10045878 w 10505529"/>
              <a:gd name="connsiteY17873" fmla="*/ 4369940 h 7458372"/>
              <a:gd name="connsiteX17874" fmla="*/ 10040820 w 10505529"/>
              <a:gd name="connsiteY17874" fmla="*/ 4369009 h 7458372"/>
              <a:gd name="connsiteX17875" fmla="*/ 9823176 w 10505529"/>
              <a:gd name="connsiteY17875" fmla="*/ 4369009 h 7458372"/>
              <a:gd name="connsiteX17876" fmla="*/ 9813191 w 10505529"/>
              <a:gd name="connsiteY17876" fmla="*/ 4372603 h 7458372"/>
              <a:gd name="connsiteX17877" fmla="*/ 9809597 w 10505529"/>
              <a:gd name="connsiteY17877" fmla="*/ 4382054 h 7458372"/>
              <a:gd name="connsiteX17878" fmla="*/ 9813191 w 10505529"/>
              <a:gd name="connsiteY17878" fmla="*/ 4391505 h 7458372"/>
              <a:gd name="connsiteX17879" fmla="*/ 9823176 w 10505529"/>
              <a:gd name="connsiteY17879" fmla="*/ 4394967 h 7458372"/>
              <a:gd name="connsiteX17880" fmla="*/ 9828501 w 10505529"/>
              <a:gd name="connsiteY17880" fmla="*/ 4394035 h 7458372"/>
              <a:gd name="connsiteX17881" fmla="*/ 9832227 w 10505529"/>
              <a:gd name="connsiteY17881" fmla="*/ 4391638 h 7458372"/>
              <a:gd name="connsiteX17882" fmla="*/ 9834890 w 10505529"/>
              <a:gd name="connsiteY17882" fmla="*/ 4387379 h 7458372"/>
              <a:gd name="connsiteX17883" fmla="*/ 9835955 w 10505529"/>
              <a:gd name="connsiteY17883" fmla="*/ 4381921 h 7458372"/>
              <a:gd name="connsiteX17884" fmla="*/ 9834890 w 10505529"/>
              <a:gd name="connsiteY17884" fmla="*/ 4376729 h 7458372"/>
              <a:gd name="connsiteX17885" fmla="*/ 9832227 w 10505529"/>
              <a:gd name="connsiteY17885" fmla="*/ 4372603 h 7458372"/>
              <a:gd name="connsiteX17886" fmla="*/ 9828234 w 10505529"/>
              <a:gd name="connsiteY17886" fmla="*/ 4369940 h 7458372"/>
              <a:gd name="connsiteX17887" fmla="*/ 9823176 w 10505529"/>
              <a:gd name="connsiteY17887" fmla="*/ 4369009 h 7458372"/>
              <a:gd name="connsiteX17888" fmla="*/ 9605531 w 10505529"/>
              <a:gd name="connsiteY17888" fmla="*/ 4369009 h 7458372"/>
              <a:gd name="connsiteX17889" fmla="*/ 9595546 w 10505529"/>
              <a:gd name="connsiteY17889" fmla="*/ 4372603 h 7458372"/>
              <a:gd name="connsiteX17890" fmla="*/ 9591952 w 10505529"/>
              <a:gd name="connsiteY17890" fmla="*/ 4382054 h 7458372"/>
              <a:gd name="connsiteX17891" fmla="*/ 9595546 w 10505529"/>
              <a:gd name="connsiteY17891" fmla="*/ 4391505 h 7458372"/>
              <a:gd name="connsiteX17892" fmla="*/ 9605531 w 10505529"/>
              <a:gd name="connsiteY17892" fmla="*/ 4394967 h 7458372"/>
              <a:gd name="connsiteX17893" fmla="*/ 9610855 w 10505529"/>
              <a:gd name="connsiteY17893" fmla="*/ 4394035 h 7458372"/>
              <a:gd name="connsiteX17894" fmla="*/ 9614582 w 10505529"/>
              <a:gd name="connsiteY17894" fmla="*/ 4391638 h 7458372"/>
              <a:gd name="connsiteX17895" fmla="*/ 9617245 w 10505529"/>
              <a:gd name="connsiteY17895" fmla="*/ 4387379 h 7458372"/>
              <a:gd name="connsiteX17896" fmla="*/ 9618309 w 10505529"/>
              <a:gd name="connsiteY17896" fmla="*/ 4381921 h 7458372"/>
              <a:gd name="connsiteX17897" fmla="*/ 9617245 w 10505529"/>
              <a:gd name="connsiteY17897" fmla="*/ 4376729 h 7458372"/>
              <a:gd name="connsiteX17898" fmla="*/ 9614582 w 10505529"/>
              <a:gd name="connsiteY17898" fmla="*/ 4372603 h 7458372"/>
              <a:gd name="connsiteX17899" fmla="*/ 9610589 w 10505529"/>
              <a:gd name="connsiteY17899" fmla="*/ 4369940 h 7458372"/>
              <a:gd name="connsiteX17900" fmla="*/ 9605531 w 10505529"/>
              <a:gd name="connsiteY17900" fmla="*/ 4369009 h 7458372"/>
              <a:gd name="connsiteX17901" fmla="*/ 9387885 w 10505529"/>
              <a:gd name="connsiteY17901" fmla="*/ 4369009 h 7458372"/>
              <a:gd name="connsiteX17902" fmla="*/ 9377900 w 10505529"/>
              <a:gd name="connsiteY17902" fmla="*/ 4372603 h 7458372"/>
              <a:gd name="connsiteX17903" fmla="*/ 9374307 w 10505529"/>
              <a:gd name="connsiteY17903" fmla="*/ 4382054 h 7458372"/>
              <a:gd name="connsiteX17904" fmla="*/ 9377900 w 10505529"/>
              <a:gd name="connsiteY17904" fmla="*/ 4391505 h 7458372"/>
              <a:gd name="connsiteX17905" fmla="*/ 9387885 w 10505529"/>
              <a:gd name="connsiteY17905" fmla="*/ 4394967 h 7458372"/>
              <a:gd name="connsiteX17906" fmla="*/ 9393210 w 10505529"/>
              <a:gd name="connsiteY17906" fmla="*/ 4394035 h 7458372"/>
              <a:gd name="connsiteX17907" fmla="*/ 9396937 w 10505529"/>
              <a:gd name="connsiteY17907" fmla="*/ 4391638 h 7458372"/>
              <a:gd name="connsiteX17908" fmla="*/ 9399599 w 10505529"/>
              <a:gd name="connsiteY17908" fmla="*/ 4387379 h 7458372"/>
              <a:gd name="connsiteX17909" fmla="*/ 9400664 w 10505529"/>
              <a:gd name="connsiteY17909" fmla="*/ 4381921 h 7458372"/>
              <a:gd name="connsiteX17910" fmla="*/ 9399599 w 10505529"/>
              <a:gd name="connsiteY17910" fmla="*/ 4376729 h 7458372"/>
              <a:gd name="connsiteX17911" fmla="*/ 9396937 w 10505529"/>
              <a:gd name="connsiteY17911" fmla="*/ 4372603 h 7458372"/>
              <a:gd name="connsiteX17912" fmla="*/ 9392943 w 10505529"/>
              <a:gd name="connsiteY17912" fmla="*/ 4369940 h 7458372"/>
              <a:gd name="connsiteX17913" fmla="*/ 9387885 w 10505529"/>
              <a:gd name="connsiteY17913" fmla="*/ 4369009 h 7458372"/>
              <a:gd name="connsiteX17914" fmla="*/ 9170374 w 10505529"/>
              <a:gd name="connsiteY17914" fmla="*/ 4369009 h 7458372"/>
              <a:gd name="connsiteX17915" fmla="*/ 9160389 w 10505529"/>
              <a:gd name="connsiteY17915" fmla="*/ 4372603 h 7458372"/>
              <a:gd name="connsiteX17916" fmla="*/ 9156795 w 10505529"/>
              <a:gd name="connsiteY17916" fmla="*/ 4382054 h 7458372"/>
              <a:gd name="connsiteX17917" fmla="*/ 9160389 w 10505529"/>
              <a:gd name="connsiteY17917" fmla="*/ 4391505 h 7458372"/>
              <a:gd name="connsiteX17918" fmla="*/ 9170374 w 10505529"/>
              <a:gd name="connsiteY17918" fmla="*/ 4394967 h 7458372"/>
              <a:gd name="connsiteX17919" fmla="*/ 9175698 w 10505529"/>
              <a:gd name="connsiteY17919" fmla="*/ 4394035 h 7458372"/>
              <a:gd name="connsiteX17920" fmla="*/ 9179425 w 10505529"/>
              <a:gd name="connsiteY17920" fmla="*/ 4391638 h 7458372"/>
              <a:gd name="connsiteX17921" fmla="*/ 9182088 w 10505529"/>
              <a:gd name="connsiteY17921" fmla="*/ 4387379 h 7458372"/>
              <a:gd name="connsiteX17922" fmla="*/ 9183152 w 10505529"/>
              <a:gd name="connsiteY17922" fmla="*/ 4381921 h 7458372"/>
              <a:gd name="connsiteX17923" fmla="*/ 9182088 w 10505529"/>
              <a:gd name="connsiteY17923" fmla="*/ 4376729 h 7458372"/>
              <a:gd name="connsiteX17924" fmla="*/ 9179425 w 10505529"/>
              <a:gd name="connsiteY17924" fmla="*/ 4372603 h 7458372"/>
              <a:gd name="connsiteX17925" fmla="*/ 9175432 w 10505529"/>
              <a:gd name="connsiteY17925" fmla="*/ 4369940 h 7458372"/>
              <a:gd name="connsiteX17926" fmla="*/ 9170374 w 10505529"/>
              <a:gd name="connsiteY17926" fmla="*/ 4369009 h 7458372"/>
              <a:gd name="connsiteX17927" fmla="*/ 8952728 w 10505529"/>
              <a:gd name="connsiteY17927" fmla="*/ 4369009 h 7458372"/>
              <a:gd name="connsiteX17928" fmla="*/ 8942743 w 10505529"/>
              <a:gd name="connsiteY17928" fmla="*/ 4372603 h 7458372"/>
              <a:gd name="connsiteX17929" fmla="*/ 8939150 w 10505529"/>
              <a:gd name="connsiteY17929" fmla="*/ 4382054 h 7458372"/>
              <a:gd name="connsiteX17930" fmla="*/ 8942743 w 10505529"/>
              <a:gd name="connsiteY17930" fmla="*/ 4391505 h 7458372"/>
              <a:gd name="connsiteX17931" fmla="*/ 8952728 w 10505529"/>
              <a:gd name="connsiteY17931" fmla="*/ 4394967 h 7458372"/>
              <a:gd name="connsiteX17932" fmla="*/ 8958053 w 10505529"/>
              <a:gd name="connsiteY17932" fmla="*/ 4394035 h 7458372"/>
              <a:gd name="connsiteX17933" fmla="*/ 8961780 w 10505529"/>
              <a:gd name="connsiteY17933" fmla="*/ 4391638 h 7458372"/>
              <a:gd name="connsiteX17934" fmla="*/ 8964442 w 10505529"/>
              <a:gd name="connsiteY17934" fmla="*/ 4387379 h 7458372"/>
              <a:gd name="connsiteX17935" fmla="*/ 8965507 w 10505529"/>
              <a:gd name="connsiteY17935" fmla="*/ 4381921 h 7458372"/>
              <a:gd name="connsiteX17936" fmla="*/ 8964442 w 10505529"/>
              <a:gd name="connsiteY17936" fmla="*/ 4376729 h 7458372"/>
              <a:gd name="connsiteX17937" fmla="*/ 8961780 w 10505529"/>
              <a:gd name="connsiteY17937" fmla="*/ 4372603 h 7458372"/>
              <a:gd name="connsiteX17938" fmla="*/ 8957786 w 10505529"/>
              <a:gd name="connsiteY17938" fmla="*/ 4369940 h 7458372"/>
              <a:gd name="connsiteX17939" fmla="*/ 8952728 w 10505529"/>
              <a:gd name="connsiteY17939" fmla="*/ 4369009 h 7458372"/>
              <a:gd name="connsiteX17940" fmla="*/ 8735083 w 10505529"/>
              <a:gd name="connsiteY17940" fmla="*/ 4369009 h 7458372"/>
              <a:gd name="connsiteX17941" fmla="*/ 8725098 w 10505529"/>
              <a:gd name="connsiteY17941" fmla="*/ 4372603 h 7458372"/>
              <a:gd name="connsiteX17942" fmla="*/ 8721504 w 10505529"/>
              <a:gd name="connsiteY17942" fmla="*/ 4382054 h 7458372"/>
              <a:gd name="connsiteX17943" fmla="*/ 8725098 w 10505529"/>
              <a:gd name="connsiteY17943" fmla="*/ 4391505 h 7458372"/>
              <a:gd name="connsiteX17944" fmla="*/ 8735083 w 10505529"/>
              <a:gd name="connsiteY17944" fmla="*/ 4394967 h 7458372"/>
              <a:gd name="connsiteX17945" fmla="*/ 8740407 w 10505529"/>
              <a:gd name="connsiteY17945" fmla="*/ 4394035 h 7458372"/>
              <a:gd name="connsiteX17946" fmla="*/ 8744134 w 10505529"/>
              <a:gd name="connsiteY17946" fmla="*/ 4391638 h 7458372"/>
              <a:gd name="connsiteX17947" fmla="*/ 8746797 w 10505529"/>
              <a:gd name="connsiteY17947" fmla="*/ 4387379 h 7458372"/>
              <a:gd name="connsiteX17948" fmla="*/ 8747862 w 10505529"/>
              <a:gd name="connsiteY17948" fmla="*/ 4381921 h 7458372"/>
              <a:gd name="connsiteX17949" fmla="*/ 8746797 w 10505529"/>
              <a:gd name="connsiteY17949" fmla="*/ 4376729 h 7458372"/>
              <a:gd name="connsiteX17950" fmla="*/ 8744134 w 10505529"/>
              <a:gd name="connsiteY17950" fmla="*/ 4372603 h 7458372"/>
              <a:gd name="connsiteX17951" fmla="*/ 8740141 w 10505529"/>
              <a:gd name="connsiteY17951" fmla="*/ 4369940 h 7458372"/>
              <a:gd name="connsiteX17952" fmla="*/ 8735083 w 10505529"/>
              <a:gd name="connsiteY17952" fmla="*/ 4369009 h 7458372"/>
              <a:gd name="connsiteX17953" fmla="*/ 8517438 w 10505529"/>
              <a:gd name="connsiteY17953" fmla="*/ 4369009 h 7458372"/>
              <a:gd name="connsiteX17954" fmla="*/ 8507453 w 10505529"/>
              <a:gd name="connsiteY17954" fmla="*/ 4372603 h 7458372"/>
              <a:gd name="connsiteX17955" fmla="*/ 8503860 w 10505529"/>
              <a:gd name="connsiteY17955" fmla="*/ 4382054 h 7458372"/>
              <a:gd name="connsiteX17956" fmla="*/ 8507453 w 10505529"/>
              <a:gd name="connsiteY17956" fmla="*/ 4391505 h 7458372"/>
              <a:gd name="connsiteX17957" fmla="*/ 8517438 w 10505529"/>
              <a:gd name="connsiteY17957" fmla="*/ 4394967 h 7458372"/>
              <a:gd name="connsiteX17958" fmla="*/ 8522763 w 10505529"/>
              <a:gd name="connsiteY17958" fmla="*/ 4394035 h 7458372"/>
              <a:gd name="connsiteX17959" fmla="*/ 8526490 w 10505529"/>
              <a:gd name="connsiteY17959" fmla="*/ 4391638 h 7458372"/>
              <a:gd name="connsiteX17960" fmla="*/ 8529152 w 10505529"/>
              <a:gd name="connsiteY17960" fmla="*/ 4387379 h 7458372"/>
              <a:gd name="connsiteX17961" fmla="*/ 8530084 w 10505529"/>
              <a:gd name="connsiteY17961" fmla="*/ 4381921 h 7458372"/>
              <a:gd name="connsiteX17962" fmla="*/ 8529152 w 10505529"/>
              <a:gd name="connsiteY17962" fmla="*/ 4376729 h 7458372"/>
              <a:gd name="connsiteX17963" fmla="*/ 8526490 w 10505529"/>
              <a:gd name="connsiteY17963" fmla="*/ 4372603 h 7458372"/>
              <a:gd name="connsiteX17964" fmla="*/ 8522496 w 10505529"/>
              <a:gd name="connsiteY17964" fmla="*/ 4369940 h 7458372"/>
              <a:gd name="connsiteX17965" fmla="*/ 8517438 w 10505529"/>
              <a:gd name="connsiteY17965" fmla="*/ 4369009 h 7458372"/>
              <a:gd name="connsiteX17966" fmla="*/ 8299793 w 10505529"/>
              <a:gd name="connsiteY17966" fmla="*/ 4369009 h 7458372"/>
              <a:gd name="connsiteX17967" fmla="*/ 8289809 w 10505529"/>
              <a:gd name="connsiteY17967" fmla="*/ 4372603 h 7458372"/>
              <a:gd name="connsiteX17968" fmla="*/ 8286215 w 10505529"/>
              <a:gd name="connsiteY17968" fmla="*/ 4382054 h 7458372"/>
              <a:gd name="connsiteX17969" fmla="*/ 8289809 w 10505529"/>
              <a:gd name="connsiteY17969" fmla="*/ 4391505 h 7458372"/>
              <a:gd name="connsiteX17970" fmla="*/ 8299793 w 10505529"/>
              <a:gd name="connsiteY17970" fmla="*/ 4394967 h 7458372"/>
              <a:gd name="connsiteX17971" fmla="*/ 8305118 w 10505529"/>
              <a:gd name="connsiteY17971" fmla="*/ 4394035 h 7458372"/>
              <a:gd name="connsiteX17972" fmla="*/ 8308844 w 10505529"/>
              <a:gd name="connsiteY17972" fmla="*/ 4391638 h 7458372"/>
              <a:gd name="connsiteX17973" fmla="*/ 8311507 w 10505529"/>
              <a:gd name="connsiteY17973" fmla="*/ 4387379 h 7458372"/>
              <a:gd name="connsiteX17974" fmla="*/ 8312439 w 10505529"/>
              <a:gd name="connsiteY17974" fmla="*/ 4381921 h 7458372"/>
              <a:gd name="connsiteX17975" fmla="*/ 8311507 w 10505529"/>
              <a:gd name="connsiteY17975" fmla="*/ 4376729 h 7458372"/>
              <a:gd name="connsiteX17976" fmla="*/ 8308844 w 10505529"/>
              <a:gd name="connsiteY17976" fmla="*/ 4372603 h 7458372"/>
              <a:gd name="connsiteX17977" fmla="*/ 8304851 w 10505529"/>
              <a:gd name="connsiteY17977" fmla="*/ 4369940 h 7458372"/>
              <a:gd name="connsiteX17978" fmla="*/ 8299793 w 10505529"/>
              <a:gd name="connsiteY17978" fmla="*/ 4369009 h 7458372"/>
              <a:gd name="connsiteX17979" fmla="*/ 8082281 w 10505529"/>
              <a:gd name="connsiteY17979" fmla="*/ 4369009 h 7458372"/>
              <a:gd name="connsiteX17980" fmla="*/ 8072297 w 10505529"/>
              <a:gd name="connsiteY17980" fmla="*/ 4372603 h 7458372"/>
              <a:gd name="connsiteX17981" fmla="*/ 8068703 w 10505529"/>
              <a:gd name="connsiteY17981" fmla="*/ 4382054 h 7458372"/>
              <a:gd name="connsiteX17982" fmla="*/ 8072297 w 10505529"/>
              <a:gd name="connsiteY17982" fmla="*/ 4391505 h 7458372"/>
              <a:gd name="connsiteX17983" fmla="*/ 8082281 w 10505529"/>
              <a:gd name="connsiteY17983" fmla="*/ 4394967 h 7458372"/>
              <a:gd name="connsiteX17984" fmla="*/ 8087605 w 10505529"/>
              <a:gd name="connsiteY17984" fmla="*/ 4394035 h 7458372"/>
              <a:gd name="connsiteX17985" fmla="*/ 8091332 w 10505529"/>
              <a:gd name="connsiteY17985" fmla="*/ 4391638 h 7458372"/>
              <a:gd name="connsiteX17986" fmla="*/ 8093994 w 10505529"/>
              <a:gd name="connsiteY17986" fmla="*/ 4387379 h 7458372"/>
              <a:gd name="connsiteX17987" fmla="*/ 8094926 w 10505529"/>
              <a:gd name="connsiteY17987" fmla="*/ 4381921 h 7458372"/>
              <a:gd name="connsiteX17988" fmla="*/ 8093994 w 10505529"/>
              <a:gd name="connsiteY17988" fmla="*/ 4376729 h 7458372"/>
              <a:gd name="connsiteX17989" fmla="*/ 8091332 w 10505529"/>
              <a:gd name="connsiteY17989" fmla="*/ 4372603 h 7458372"/>
              <a:gd name="connsiteX17990" fmla="*/ 8087338 w 10505529"/>
              <a:gd name="connsiteY17990" fmla="*/ 4369940 h 7458372"/>
              <a:gd name="connsiteX17991" fmla="*/ 8082281 w 10505529"/>
              <a:gd name="connsiteY17991" fmla="*/ 4369009 h 7458372"/>
              <a:gd name="connsiteX17992" fmla="*/ 7864636 w 10505529"/>
              <a:gd name="connsiteY17992" fmla="*/ 4369009 h 7458372"/>
              <a:gd name="connsiteX17993" fmla="*/ 7854652 w 10505529"/>
              <a:gd name="connsiteY17993" fmla="*/ 4372603 h 7458372"/>
              <a:gd name="connsiteX17994" fmla="*/ 7851058 w 10505529"/>
              <a:gd name="connsiteY17994" fmla="*/ 4382054 h 7458372"/>
              <a:gd name="connsiteX17995" fmla="*/ 7854652 w 10505529"/>
              <a:gd name="connsiteY17995" fmla="*/ 4391505 h 7458372"/>
              <a:gd name="connsiteX17996" fmla="*/ 7864636 w 10505529"/>
              <a:gd name="connsiteY17996" fmla="*/ 4394967 h 7458372"/>
              <a:gd name="connsiteX17997" fmla="*/ 7869961 w 10505529"/>
              <a:gd name="connsiteY17997" fmla="*/ 4394035 h 7458372"/>
              <a:gd name="connsiteX17998" fmla="*/ 7873687 w 10505529"/>
              <a:gd name="connsiteY17998" fmla="*/ 4391638 h 7458372"/>
              <a:gd name="connsiteX17999" fmla="*/ 7876350 w 10505529"/>
              <a:gd name="connsiteY17999" fmla="*/ 4387379 h 7458372"/>
              <a:gd name="connsiteX18000" fmla="*/ 7877282 w 10505529"/>
              <a:gd name="connsiteY18000" fmla="*/ 4381921 h 7458372"/>
              <a:gd name="connsiteX18001" fmla="*/ 7876350 w 10505529"/>
              <a:gd name="connsiteY18001" fmla="*/ 4376729 h 7458372"/>
              <a:gd name="connsiteX18002" fmla="*/ 7873687 w 10505529"/>
              <a:gd name="connsiteY18002" fmla="*/ 4372603 h 7458372"/>
              <a:gd name="connsiteX18003" fmla="*/ 7869694 w 10505529"/>
              <a:gd name="connsiteY18003" fmla="*/ 4369940 h 7458372"/>
              <a:gd name="connsiteX18004" fmla="*/ 7864636 w 10505529"/>
              <a:gd name="connsiteY18004" fmla="*/ 4369009 h 7458372"/>
              <a:gd name="connsiteX18005" fmla="*/ 7646991 w 10505529"/>
              <a:gd name="connsiteY18005" fmla="*/ 4369009 h 7458372"/>
              <a:gd name="connsiteX18006" fmla="*/ 7637007 w 10505529"/>
              <a:gd name="connsiteY18006" fmla="*/ 4372603 h 7458372"/>
              <a:gd name="connsiteX18007" fmla="*/ 7633413 w 10505529"/>
              <a:gd name="connsiteY18007" fmla="*/ 4382054 h 7458372"/>
              <a:gd name="connsiteX18008" fmla="*/ 7637007 w 10505529"/>
              <a:gd name="connsiteY18008" fmla="*/ 4391505 h 7458372"/>
              <a:gd name="connsiteX18009" fmla="*/ 7646991 w 10505529"/>
              <a:gd name="connsiteY18009" fmla="*/ 4394967 h 7458372"/>
              <a:gd name="connsiteX18010" fmla="*/ 7652315 w 10505529"/>
              <a:gd name="connsiteY18010" fmla="*/ 4394035 h 7458372"/>
              <a:gd name="connsiteX18011" fmla="*/ 7656042 w 10505529"/>
              <a:gd name="connsiteY18011" fmla="*/ 4391638 h 7458372"/>
              <a:gd name="connsiteX18012" fmla="*/ 7658705 w 10505529"/>
              <a:gd name="connsiteY18012" fmla="*/ 4387379 h 7458372"/>
              <a:gd name="connsiteX18013" fmla="*/ 7659769 w 10505529"/>
              <a:gd name="connsiteY18013" fmla="*/ 4381921 h 7458372"/>
              <a:gd name="connsiteX18014" fmla="*/ 7658705 w 10505529"/>
              <a:gd name="connsiteY18014" fmla="*/ 4376729 h 7458372"/>
              <a:gd name="connsiteX18015" fmla="*/ 7656042 w 10505529"/>
              <a:gd name="connsiteY18015" fmla="*/ 4372603 h 7458372"/>
              <a:gd name="connsiteX18016" fmla="*/ 7652049 w 10505529"/>
              <a:gd name="connsiteY18016" fmla="*/ 4369940 h 7458372"/>
              <a:gd name="connsiteX18017" fmla="*/ 7646991 w 10505529"/>
              <a:gd name="connsiteY18017" fmla="*/ 4369009 h 7458372"/>
              <a:gd name="connsiteX18018" fmla="*/ 7429345 w 10505529"/>
              <a:gd name="connsiteY18018" fmla="*/ 4369009 h 7458372"/>
              <a:gd name="connsiteX18019" fmla="*/ 7419361 w 10505529"/>
              <a:gd name="connsiteY18019" fmla="*/ 4372603 h 7458372"/>
              <a:gd name="connsiteX18020" fmla="*/ 7415768 w 10505529"/>
              <a:gd name="connsiteY18020" fmla="*/ 4382054 h 7458372"/>
              <a:gd name="connsiteX18021" fmla="*/ 7419361 w 10505529"/>
              <a:gd name="connsiteY18021" fmla="*/ 4391505 h 7458372"/>
              <a:gd name="connsiteX18022" fmla="*/ 7429345 w 10505529"/>
              <a:gd name="connsiteY18022" fmla="*/ 4394967 h 7458372"/>
              <a:gd name="connsiteX18023" fmla="*/ 7434670 w 10505529"/>
              <a:gd name="connsiteY18023" fmla="*/ 4394035 h 7458372"/>
              <a:gd name="connsiteX18024" fmla="*/ 7438397 w 10505529"/>
              <a:gd name="connsiteY18024" fmla="*/ 4391638 h 7458372"/>
              <a:gd name="connsiteX18025" fmla="*/ 7441059 w 10505529"/>
              <a:gd name="connsiteY18025" fmla="*/ 4387379 h 7458372"/>
              <a:gd name="connsiteX18026" fmla="*/ 7442124 w 10505529"/>
              <a:gd name="connsiteY18026" fmla="*/ 4381921 h 7458372"/>
              <a:gd name="connsiteX18027" fmla="*/ 7441059 w 10505529"/>
              <a:gd name="connsiteY18027" fmla="*/ 4376729 h 7458372"/>
              <a:gd name="connsiteX18028" fmla="*/ 7438397 w 10505529"/>
              <a:gd name="connsiteY18028" fmla="*/ 4372603 h 7458372"/>
              <a:gd name="connsiteX18029" fmla="*/ 7434403 w 10505529"/>
              <a:gd name="connsiteY18029" fmla="*/ 4369940 h 7458372"/>
              <a:gd name="connsiteX18030" fmla="*/ 7429345 w 10505529"/>
              <a:gd name="connsiteY18030" fmla="*/ 4369009 h 7458372"/>
              <a:gd name="connsiteX18031" fmla="*/ 7211701 w 10505529"/>
              <a:gd name="connsiteY18031" fmla="*/ 4369009 h 7458372"/>
              <a:gd name="connsiteX18032" fmla="*/ 7201717 w 10505529"/>
              <a:gd name="connsiteY18032" fmla="*/ 4372603 h 7458372"/>
              <a:gd name="connsiteX18033" fmla="*/ 7198123 w 10505529"/>
              <a:gd name="connsiteY18033" fmla="*/ 4382054 h 7458372"/>
              <a:gd name="connsiteX18034" fmla="*/ 7201717 w 10505529"/>
              <a:gd name="connsiteY18034" fmla="*/ 4391505 h 7458372"/>
              <a:gd name="connsiteX18035" fmla="*/ 7211701 w 10505529"/>
              <a:gd name="connsiteY18035" fmla="*/ 4394967 h 7458372"/>
              <a:gd name="connsiteX18036" fmla="*/ 7217026 w 10505529"/>
              <a:gd name="connsiteY18036" fmla="*/ 4394035 h 7458372"/>
              <a:gd name="connsiteX18037" fmla="*/ 7220752 w 10505529"/>
              <a:gd name="connsiteY18037" fmla="*/ 4391638 h 7458372"/>
              <a:gd name="connsiteX18038" fmla="*/ 7223415 w 10505529"/>
              <a:gd name="connsiteY18038" fmla="*/ 4387379 h 7458372"/>
              <a:gd name="connsiteX18039" fmla="*/ 7224480 w 10505529"/>
              <a:gd name="connsiteY18039" fmla="*/ 4381921 h 7458372"/>
              <a:gd name="connsiteX18040" fmla="*/ 7223415 w 10505529"/>
              <a:gd name="connsiteY18040" fmla="*/ 4376729 h 7458372"/>
              <a:gd name="connsiteX18041" fmla="*/ 7220752 w 10505529"/>
              <a:gd name="connsiteY18041" fmla="*/ 4372603 h 7458372"/>
              <a:gd name="connsiteX18042" fmla="*/ 7216759 w 10505529"/>
              <a:gd name="connsiteY18042" fmla="*/ 4369940 h 7458372"/>
              <a:gd name="connsiteX18043" fmla="*/ 7211701 w 10505529"/>
              <a:gd name="connsiteY18043" fmla="*/ 4369009 h 7458372"/>
              <a:gd name="connsiteX18044" fmla="*/ 6994056 w 10505529"/>
              <a:gd name="connsiteY18044" fmla="*/ 4369009 h 7458372"/>
              <a:gd name="connsiteX18045" fmla="*/ 6984072 w 10505529"/>
              <a:gd name="connsiteY18045" fmla="*/ 4372603 h 7458372"/>
              <a:gd name="connsiteX18046" fmla="*/ 6980478 w 10505529"/>
              <a:gd name="connsiteY18046" fmla="*/ 4382054 h 7458372"/>
              <a:gd name="connsiteX18047" fmla="*/ 6984072 w 10505529"/>
              <a:gd name="connsiteY18047" fmla="*/ 4391505 h 7458372"/>
              <a:gd name="connsiteX18048" fmla="*/ 6994056 w 10505529"/>
              <a:gd name="connsiteY18048" fmla="*/ 4394967 h 7458372"/>
              <a:gd name="connsiteX18049" fmla="*/ 6999380 w 10505529"/>
              <a:gd name="connsiteY18049" fmla="*/ 4394035 h 7458372"/>
              <a:gd name="connsiteX18050" fmla="*/ 7003107 w 10505529"/>
              <a:gd name="connsiteY18050" fmla="*/ 4391638 h 7458372"/>
              <a:gd name="connsiteX18051" fmla="*/ 7005769 w 10505529"/>
              <a:gd name="connsiteY18051" fmla="*/ 4387379 h 7458372"/>
              <a:gd name="connsiteX18052" fmla="*/ 7006834 w 10505529"/>
              <a:gd name="connsiteY18052" fmla="*/ 4381921 h 7458372"/>
              <a:gd name="connsiteX18053" fmla="*/ 7005769 w 10505529"/>
              <a:gd name="connsiteY18053" fmla="*/ 4376729 h 7458372"/>
              <a:gd name="connsiteX18054" fmla="*/ 7003107 w 10505529"/>
              <a:gd name="connsiteY18054" fmla="*/ 4372603 h 7458372"/>
              <a:gd name="connsiteX18055" fmla="*/ 6999113 w 10505529"/>
              <a:gd name="connsiteY18055" fmla="*/ 4369940 h 7458372"/>
              <a:gd name="connsiteX18056" fmla="*/ 6994056 w 10505529"/>
              <a:gd name="connsiteY18056" fmla="*/ 4369009 h 7458372"/>
              <a:gd name="connsiteX18057" fmla="*/ 6776544 w 10505529"/>
              <a:gd name="connsiteY18057" fmla="*/ 4369009 h 7458372"/>
              <a:gd name="connsiteX18058" fmla="*/ 6766560 w 10505529"/>
              <a:gd name="connsiteY18058" fmla="*/ 4372603 h 7458372"/>
              <a:gd name="connsiteX18059" fmla="*/ 6762966 w 10505529"/>
              <a:gd name="connsiteY18059" fmla="*/ 4382054 h 7458372"/>
              <a:gd name="connsiteX18060" fmla="*/ 6766560 w 10505529"/>
              <a:gd name="connsiteY18060" fmla="*/ 4391505 h 7458372"/>
              <a:gd name="connsiteX18061" fmla="*/ 6776544 w 10505529"/>
              <a:gd name="connsiteY18061" fmla="*/ 4394967 h 7458372"/>
              <a:gd name="connsiteX18062" fmla="*/ 6781869 w 10505529"/>
              <a:gd name="connsiteY18062" fmla="*/ 4394035 h 7458372"/>
              <a:gd name="connsiteX18063" fmla="*/ 6785595 w 10505529"/>
              <a:gd name="connsiteY18063" fmla="*/ 4391638 h 7458372"/>
              <a:gd name="connsiteX18064" fmla="*/ 6788258 w 10505529"/>
              <a:gd name="connsiteY18064" fmla="*/ 4387379 h 7458372"/>
              <a:gd name="connsiteX18065" fmla="*/ 6789323 w 10505529"/>
              <a:gd name="connsiteY18065" fmla="*/ 4381921 h 7458372"/>
              <a:gd name="connsiteX18066" fmla="*/ 6788258 w 10505529"/>
              <a:gd name="connsiteY18066" fmla="*/ 4376729 h 7458372"/>
              <a:gd name="connsiteX18067" fmla="*/ 6785595 w 10505529"/>
              <a:gd name="connsiteY18067" fmla="*/ 4372603 h 7458372"/>
              <a:gd name="connsiteX18068" fmla="*/ 6781602 w 10505529"/>
              <a:gd name="connsiteY18068" fmla="*/ 4369940 h 7458372"/>
              <a:gd name="connsiteX18069" fmla="*/ 6776544 w 10505529"/>
              <a:gd name="connsiteY18069" fmla="*/ 4369009 h 7458372"/>
              <a:gd name="connsiteX18070" fmla="*/ 6558899 w 10505529"/>
              <a:gd name="connsiteY18070" fmla="*/ 4369009 h 7458372"/>
              <a:gd name="connsiteX18071" fmla="*/ 6548915 w 10505529"/>
              <a:gd name="connsiteY18071" fmla="*/ 4372603 h 7458372"/>
              <a:gd name="connsiteX18072" fmla="*/ 6545321 w 10505529"/>
              <a:gd name="connsiteY18072" fmla="*/ 4382054 h 7458372"/>
              <a:gd name="connsiteX18073" fmla="*/ 6548915 w 10505529"/>
              <a:gd name="connsiteY18073" fmla="*/ 4391505 h 7458372"/>
              <a:gd name="connsiteX18074" fmla="*/ 6558899 w 10505529"/>
              <a:gd name="connsiteY18074" fmla="*/ 4394967 h 7458372"/>
              <a:gd name="connsiteX18075" fmla="*/ 6564223 w 10505529"/>
              <a:gd name="connsiteY18075" fmla="*/ 4394035 h 7458372"/>
              <a:gd name="connsiteX18076" fmla="*/ 6567950 w 10505529"/>
              <a:gd name="connsiteY18076" fmla="*/ 4391638 h 7458372"/>
              <a:gd name="connsiteX18077" fmla="*/ 6570612 w 10505529"/>
              <a:gd name="connsiteY18077" fmla="*/ 4387379 h 7458372"/>
              <a:gd name="connsiteX18078" fmla="*/ 6571677 w 10505529"/>
              <a:gd name="connsiteY18078" fmla="*/ 4381921 h 7458372"/>
              <a:gd name="connsiteX18079" fmla="*/ 6570612 w 10505529"/>
              <a:gd name="connsiteY18079" fmla="*/ 4376729 h 7458372"/>
              <a:gd name="connsiteX18080" fmla="*/ 6567950 w 10505529"/>
              <a:gd name="connsiteY18080" fmla="*/ 4372603 h 7458372"/>
              <a:gd name="connsiteX18081" fmla="*/ 6563956 w 10505529"/>
              <a:gd name="connsiteY18081" fmla="*/ 4369940 h 7458372"/>
              <a:gd name="connsiteX18082" fmla="*/ 6558899 w 10505529"/>
              <a:gd name="connsiteY18082" fmla="*/ 4369009 h 7458372"/>
              <a:gd name="connsiteX18083" fmla="*/ 6341253 w 10505529"/>
              <a:gd name="connsiteY18083" fmla="*/ 4369009 h 7458372"/>
              <a:gd name="connsiteX18084" fmla="*/ 6331270 w 10505529"/>
              <a:gd name="connsiteY18084" fmla="*/ 4372603 h 7458372"/>
              <a:gd name="connsiteX18085" fmla="*/ 6327675 w 10505529"/>
              <a:gd name="connsiteY18085" fmla="*/ 4382054 h 7458372"/>
              <a:gd name="connsiteX18086" fmla="*/ 6331270 w 10505529"/>
              <a:gd name="connsiteY18086" fmla="*/ 4391505 h 7458372"/>
              <a:gd name="connsiteX18087" fmla="*/ 6341253 w 10505529"/>
              <a:gd name="connsiteY18087" fmla="*/ 4394967 h 7458372"/>
              <a:gd name="connsiteX18088" fmla="*/ 6346578 w 10505529"/>
              <a:gd name="connsiteY18088" fmla="*/ 4394035 h 7458372"/>
              <a:gd name="connsiteX18089" fmla="*/ 6350305 w 10505529"/>
              <a:gd name="connsiteY18089" fmla="*/ 4391638 h 7458372"/>
              <a:gd name="connsiteX18090" fmla="*/ 6352968 w 10505529"/>
              <a:gd name="connsiteY18090" fmla="*/ 4387379 h 7458372"/>
              <a:gd name="connsiteX18091" fmla="*/ 6354033 w 10505529"/>
              <a:gd name="connsiteY18091" fmla="*/ 4381921 h 7458372"/>
              <a:gd name="connsiteX18092" fmla="*/ 6352968 w 10505529"/>
              <a:gd name="connsiteY18092" fmla="*/ 4376729 h 7458372"/>
              <a:gd name="connsiteX18093" fmla="*/ 6350305 w 10505529"/>
              <a:gd name="connsiteY18093" fmla="*/ 4372603 h 7458372"/>
              <a:gd name="connsiteX18094" fmla="*/ 6346312 w 10505529"/>
              <a:gd name="connsiteY18094" fmla="*/ 4369940 h 7458372"/>
              <a:gd name="connsiteX18095" fmla="*/ 6341253 w 10505529"/>
              <a:gd name="connsiteY18095" fmla="*/ 4369009 h 7458372"/>
              <a:gd name="connsiteX18096" fmla="*/ 6123608 w 10505529"/>
              <a:gd name="connsiteY18096" fmla="*/ 4369009 h 7458372"/>
              <a:gd name="connsiteX18097" fmla="*/ 6113624 w 10505529"/>
              <a:gd name="connsiteY18097" fmla="*/ 4372603 h 7458372"/>
              <a:gd name="connsiteX18098" fmla="*/ 6110030 w 10505529"/>
              <a:gd name="connsiteY18098" fmla="*/ 4382054 h 7458372"/>
              <a:gd name="connsiteX18099" fmla="*/ 6113624 w 10505529"/>
              <a:gd name="connsiteY18099" fmla="*/ 4391505 h 7458372"/>
              <a:gd name="connsiteX18100" fmla="*/ 6123608 w 10505529"/>
              <a:gd name="connsiteY18100" fmla="*/ 4394967 h 7458372"/>
              <a:gd name="connsiteX18101" fmla="*/ 6128932 w 10505529"/>
              <a:gd name="connsiteY18101" fmla="*/ 4394035 h 7458372"/>
              <a:gd name="connsiteX18102" fmla="*/ 6132659 w 10505529"/>
              <a:gd name="connsiteY18102" fmla="*/ 4391638 h 7458372"/>
              <a:gd name="connsiteX18103" fmla="*/ 6135322 w 10505529"/>
              <a:gd name="connsiteY18103" fmla="*/ 4387379 h 7458372"/>
              <a:gd name="connsiteX18104" fmla="*/ 6136387 w 10505529"/>
              <a:gd name="connsiteY18104" fmla="*/ 4381921 h 7458372"/>
              <a:gd name="connsiteX18105" fmla="*/ 6135322 w 10505529"/>
              <a:gd name="connsiteY18105" fmla="*/ 4376729 h 7458372"/>
              <a:gd name="connsiteX18106" fmla="*/ 6132659 w 10505529"/>
              <a:gd name="connsiteY18106" fmla="*/ 4372603 h 7458372"/>
              <a:gd name="connsiteX18107" fmla="*/ 6128666 w 10505529"/>
              <a:gd name="connsiteY18107" fmla="*/ 4369940 h 7458372"/>
              <a:gd name="connsiteX18108" fmla="*/ 6123608 w 10505529"/>
              <a:gd name="connsiteY18108" fmla="*/ 4369009 h 7458372"/>
              <a:gd name="connsiteX18109" fmla="*/ 5905963 w 10505529"/>
              <a:gd name="connsiteY18109" fmla="*/ 4369009 h 7458372"/>
              <a:gd name="connsiteX18110" fmla="*/ 5895979 w 10505529"/>
              <a:gd name="connsiteY18110" fmla="*/ 4372603 h 7458372"/>
              <a:gd name="connsiteX18111" fmla="*/ 5892385 w 10505529"/>
              <a:gd name="connsiteY18111" fmla="*/ 4382054 h 7458372"/>
              <a:gd name="connsiteX18112" fmla="*/ 5895979 w 10505529"/>
              <a:gd name="connsiteY18112" fmla="*/ 4391505 h 7458372"/>
              <a:gd name="connsiteX18113" fmla="*/ 5905963 w 10505529"/>
              <a:gd name="connsiteY18113" fmla="*/ 4394967 h 7458372"/>
              <a:gd name="connsiteX18114" fmla="*/ 5911287 w 10505529"/>
              <a:gd name="connsiteY18114" fmla="*/ 4394035 h 7458372"/>
              <a:gd name="connsiteX18115" fmla="*/ 5915014 w 10505529"/>
              <a:gd name="connsiteY18115" fmla="*/ 4391638 h 7458372"/>
              <a:gd name="connsiteX18116" fmla="*/ 5917677 w 10505529"/>
              <a:gd name="connsiteY18116" fmla="*/ 4387379 h 7458372"/>
              <a:gd name="connsiteX18117" fmla="*/ 5918742 w 10505529"/>
              <a:gd name="connsiteY18117" fmla="*/ 4381921 h 7458372"/>
              <a:gd name="connsiteX18118" fmla="*/ 5917677 w 10505529"/>
              <a:gd name="connsiteY18118" fmla="*/ 4376729 h 7458372"/>
              <a:gd name="connsiteX18119" fmla="*/ 5915014 w 10505529"/>
              <a:gd name="connsiteY18119" fmla="*/ 4372603 h 7458372"/>
              <a:gd name="connsiteX18120" fmla="*/ 5911021 w 10505529"/>
              <a:gd name="connsiteY18120" fmla="*/ 4369940 h 7458372"/>
              <a:gd name="connsiteX18121" fmla="*/ 5905963 w 10505529"/>
              <a:gd name="connsiteY18121" fmla="*/ 4369009 h 7458372"/>
              <a:gd name="connsiteX18122" fmla="*/ 5688451 w 10505529"/>
              <a:gd name="connsiteY18122" fmla="*/ 4369009 h 7458372"/>
              <a:gd name="connsiteX18123" fmla="*/ 5678467 w 10505529"/>
              <a:gd name="connsiteY18123" fmla="*/ 4372603 h 7458372"/>
              <a:gd name="connsiteX18124" fmla="*/ 5674873 w 10505529"/>
              <a:gd name="connsiteY18124" fmla="*/ 4382054 h 7458372"/>
              <a:gd name="connsiteX18125" fmla="*/ 5678467 w 10505529"/>
              <a:gd name="connsiteY18125" fmla="*/ 4391505 h 7458372"/>
              <a:gd name="connsiteX18126" fmla="*/ 5688451 w 10505529"/>
              <a:gd name="connsiteY18126" fmla="*/ 4394967 h 7458372"/>
              <a:gd name="connsiteX18127" fmla="*/ 5693775 w 10505529"/>
              <a:gd name="connsiteY18127" fmla="*/ 4394035 h 7458372"/>
              <a:gd name="connsiteX18128" fmla="*/ 5697502 w 10505529"/>
              <a:gd name="connsiteY18128" fmla="*/ 4391638 h 7458372"/>
              <a:gd name="connsiteX18129" fmla="*/ 5700165 w 10505529"/>
              <a:gd name="connsiteY18129" fmla="*/ 4387379 h 7458372"/>
              <a:gd name="connsiteX18130" fmla="*/ 5701230 w 10505529"/>
              <a:gd name="connsiteY18130" fmla="*/ 4381921 h 7458372"/>
              <a:gd name="connsiteX18131" fmla="*/ 5700165 w 10505529"/>
              <a:gd name="connsiteY18131" fmla="*/ 4376729 h 7458372"/>
              <a:gd name="connsiteX18132" fmla="*/ 5697502 w 10505529"/>
              <a:gd name="connsiteY18132" fmla="*/ 4372603 h 7458372"/>
              <a:gd name="connsiteX18133" fmla="*/ 5693509 w 10505529"/>
              <a:gd name="connsiteY18133" fmla="*/ 4369940 h 7458372"/>
              <a:gd name="connsiteX18134" fmla="*/ 5688451 w 10505529"/>
              <a:gd name="connsiteY18134" fmla="*/ 4369009 h 7458372"/>
              <a:gd name="connsiteX18135" fmla="*/ 5470806 w 10505529"/>
              <a:gd name="connsiteY18135" fmla="*/ 4369009 h 7458372"/>
              <a:gd name="connsiteX18136" fmla="*/ 5460822 w 10505529"/>
              <a:gd name="connsiteY18136" fmla="*/ 4372603 h 7458372"/>
              <a:gd name="connsiteX18137" fmla="*/ 5457228 w 10505529"/>
              <a:gd name="connsiteY18137" fmla="*/ 4382054 h 7458372"/>
              <a:gd name="connsiteX18138" fmla="*/ 5460822 w 10505529"/>
              <a:gd name="connsiteY18138" fmla="*/ 4391505 h 7458372"/>
              <a:gd name="connsiteX18139" fmla="*/ 5470806 w 10505529"/>
              <a:gd name="connsiteY18139" fmla="*/ 4394967 h 7458372"/>
              <a:gd name="connsiteX18140" fmla="*/ 5476130 w 10505529"/>
              <a:gd name="connsiteY18140" fmla="*/ 4394035 h 7458372"/>
              <a:gd name="connsiteX18141" fmla="*/ 5479857 w 10505529"/>
              <a:gd name="connsiteY18141" fmla="*/ 4391638 h 7458372"/>
              <a:gd name="connsiteX18142" fmla="*/ 5482520 w 10505529"/>
              <a:gd name="connsiteY18142" fmla="*/ 4387379 h 7458372"/>
              <a:gd name="connsiteX18143" fmla="*/ 5483585 w 10505529"/>
              <a:gd name="connsiteY18143" fmla="*/ 4381921 h 7458372"/>
              <a:gd name="connsiteX18144" fmla="*/ 5482520 w 10505529"/>
              <a:gd name="connsiteY18144" fmla="*/ 4376729 h 7458372"/>
              <a:gd name="connsiteX18145" fmla="*/ 5479857 w 10505529"/>
              <a:gd name="connsiteY18145" fmla="*/ 4372603 h 7458372"/>
              <a:gd name="connsiteX18146" fmla="*/ 5475864 w 10505529"/>
              <a:gd name="connsiteY18146" fmla="*/ 4369940 h 7458372"/>
              <a:gd name="connsiteX18147" fmla="*/ 5470806 w 10505529"/>
              <a:gd name="connsiteY18147" fmla="*/ 4369009 h 7458372"/>
              <a:gd name="connsiteX18148" fmla="*/ 5253160 w 10505529"/>
              <a:gd name="connsiteY18148" fmla="*/ 4369009 h 7458372"/>
              <a:gd name="connsiteX18149" fmla="*/ 5243177 w 10505529"/>
              <a:gd name="connsiteY18149" fmla="*/ 4372603 h 7458372"/>
              <a:gd name="connsiteX18150" fmla="*/ 5239583 w 10505529"/>
              <a:gd name="connsiteY18150" fmla="*/ 4382054 h 7458372"/>
              <a:gd name="connsiteX18151" fmla="*/ 5243177 w 10505529"/>
              <a:gd name="connsiteY18151" fmla="*/ 4391505 h 7458372"/>
              <a:gd name="connsiteX18152" fmla="*/ 5253160 w 10505529"/>
              <a:gd name="connsiteY18152" fmla="*/ 4394967 h 7458372"/>
              <a:gd name="connsiteX18153" fmla="*/ 5258485 w 10505529"/>
              <a:gd name="connsiteY18153" fmla="*/ 4394035 h 7458372"/>
              <a:gd name="connsiteX18154" fmla="*/ 5262212 w 10505529"/>
              <a:gd name="connsiteY18154" fmla="*/ 4391638 h 7458372"/>
              <a:gd name="connsiteX18155" fmla="*/ 5264875 w 10505529"/>
              <a:gd name="connsiteY18155" fmla="*/ 4387379 h 7458372"/>
              <a:gd name="connsiteX18156" fmla="*/ 5265939 w 10505529"/>
              <a:gd name="connsiteY18156" fmla="*/ 4381921 h 7458372"/>
              <a:gd name="connsiteX18157" fmla="*/ 5264875 w 10505529"/>
              <a:gd name="connsiteY18157" fmla="*/ 4376729 h 7458372"/>
              <a:gd name="connsiteX18158" fmla="*/ 5262212 w 10505529"/>
              <a:gd name="connsiteY18158" fmla="*/ 4372603 h 7458372"/>
              <a:gd name="connsiteX18159" fmla="*/ 5258219 w 10505529"/>
              <a:gd name="connsiteY18159" fmla="*/ 4369940 h 7458372"/>
              <a:gd name="connsiteX18160" fmla="*/ 5253160 w 10505529"/>
              <a:gd name="connsiteY18160" fmla="*/ 4369009 h 7458372"/>
              <a:gd name="connsiteX18161" fmla="*/ 5035515 w 10505529"/>
              <a:gd name="connsiteY18161" fmla="*/ 4369009 h 7458372"/>
              <a:gd name="connsiteX18162" fmla="*/ 5025532 w 10505529"/>
              <a:gd name="connsiteY18162" fmla="*/ 4372603 h 7458372"/>
              <a:gd name="connsiteX18163" fmla="*/ 5021938 w 10505529"/>
              <a:gd name="connsiteY18163" fmla="*/ 4382054 h 7458372"/>
              <a:gd name="connsiteX18164" fmla="*/ 5025532 w 10505529"/>
              <a:gd name="connsiteY18164" fmla="*/ 4391505 h 7458372"/>
              <a:gd name="connsiteX18165" fmla="*/ 5035515 w 10505529"/>
              <a:gd name="connsiteY18165" fmla="*/ 4394967 h 7458372"/>
              <a:gd name="connsiteX18166" fmla="*/ 5040840 w 10505529"/>
              <a:gd name="connsiteY18166" fmla="*/ 4394035 h 7458372"/>
              <a:gd name="connsiteX18167" fmla="*/ 5044567 w 10505529"/>
              <a:gd name="connsiteY18167" fmla="*/ 4391638 h 7458372"/>
              <a:gd name="connsiteX18168" fmla="*/ 5047230 w 10505529"/>
              <a:gd name="connsiteY18168" fmla="*/ 4387379 h 7458372"/>
              <a:gd name="connsiteX18169" fmla="*/ 5048294 w 10505529"/>
              <a:gd name="connsiteY18169" fmla="*/ 4381921 h 7458372"/>
              <a:gd name="connsiteX18170" fmla="*/ 5047230 w 10505529"/>
              <a:gd name="connsiteY18170" fmla="*/ 4376729 h 7458372"/>
              <a:gd name="connsiteX18171" fmla="*/ 5044567 w 10505529"/>
              <a:gd name="connsiteY18171" fmla="*/ 4372603 h 7458372"/>
              <a:gd name="connsiteX18172" fmla="*/ 5040574 w 10505529"/>
              <a:gd name="connsiteY18172" fmla="*/ 4369940 h 7458372"/>
              <a:gd name="connsiteX18173" fmla="*/ 5035515 w 10505529"/>
              <a:gd name="connsiteY18173" fmla="*/ 4369009 h 7458372"/>
              <a:gd name="connsiteX18174" fmla="*/ 4817870 w 10505529"/>
              <a:gd name="connsiteY18174" fmla="*/ 4369009 h 7458372"/>
              <a:gd name="connsiteX18175" fmla="*/ 4807887 w 10505529"/>
              <a:gd name="connsiteY18175" fmla="*/ 4372603 h 7458372"/>
              <a:gd name="connsiteX18176" fmla="*/ 4804293 w 10505529"/>
              <a:gd name="connsiteY18176" fmla="*/ 4382054 h 7458372"/>
              <a:gd name="connsiteX18177" fmla="*/ 4807887 w 10505529"/>
              <a:gd name="connsiteY18177" fmla="*/ 4391505 h 7458372"/>
              <a:gd name="connsiteX18178" fmla="*/ 4817870 w 10505529"/>
              <a:gd name="connsiteY18178" fmla="*/ 4394967 h 7458372"/>
              <a:gd name="connsiteX18179" fmla="*/ 4823195 w 10505529"/>
              <a:gd name="connsiteY18179" fmla="*/ 4394035 h 7458372"/>
              <a:gd name="connsiteX18180" fmla="*/ 4826922 w 10505529"/>
              <a:gd name="connsiteY18180" fmla="*/ 4391638 h 7458372"/>
              <a:gd name="connsiteX18181" fmla="*/ 4829585 w 10505529"/>
              <a:gd name="connsiteY18181" fmla="*/ 4387379 h 7458372"/>
              <a:gd name="connsiteX18182" fmla="*/ 4830650 w 10505529"/>
              <a:gd name="connsiteY18182" fmla="*/ 4381921 h 7458372"/>
              <a:gd name="connsiteX18183" fmla="*/ 4829585 w 10505529"/>
              <a:gd name="connsiteY18183" fmla="*/ 4376729 h 7458372"/>
              <a:gd name="connsiteX18184" fmla="*/ 4826922 w 10505529"/>
              <a:gd name="connsiteY18184" fmla="*/ 4372603 h 7458372"/>
              <a:gd name="connsiteX18185" fmla="*/ 4822929 w 10505529"/>
              <a:gd name="connsiteY18185" fmla="*/ 4369940 h 7458372"/>
              <a:gd name="connsiteX18186" fmla="*/ 4817870 w 10505529"/>
              <a:gd name="connsiteY18186" fmla="*/ 4369009 h 7458372"/>
              <a:gd name="connsiteX18187" fmla="*/ 4600226 w 10505529"/>
              <a:gd name="connsiteY18187" fmla="*/ 4369009 h 7458372"/>
              <a:gd name="connsiteX18188" fmla="*/ 4590242 w 10505529"/>
              <a:gd name="connsiteY18188" fmla="*/ 4372603 h 7458372"/>
              <a:gd name="connsiteX18189" fmla="*/ 4586648 w 10505529"/>
              <a:gd name="connsiteY18189" fmla="*/ 4382054 h 7458372"/>
              <a:gd name="connsiteX18190" fmla="*/ 4590242 w 10505529"/>
              <a:gd name="connsiteY18190" fmla="*/ 4391505 h 7458372"/>
              <a:gd name="connsiteX18191" fmla="*/ 4600226 w 10505529"/>
              <a:gd name="connsiteY18191" fmla="*/ 4394967 h 7458372"/>
              <a:gd name="connsiteX18192" fmla="*/ 4605550 w 10505529"/>
              <a:gd name="connsiteY18192" fmla="*/ 4394035 h 7458372"/>
              <a:gd name="connsiteX18193" fmla="*/ 4609277 w 10505529"/>
              <a:gd name="connsiteY18193" fmla="*/ 4391638 h 7458372"/>
              <a:gd name="connsiteX18194" fmla="*/ 4611940 w 10505529"/>
              <a:gd name="connsiteY18194" fmla="*/ 4387379 h 7458372"/>
              <a:gd name="connsiteX18195" fmla="*/ 4613005 w 10505529"/>
              <a:gd name="connsiteY18195" fmla="*/ 4381921 h 7458372"/>
              <a:gd name="connsiteX18196" fmla="*/ 4611940 w 10505529"/>
              <a:gd name="connsiteY18196" fmla="*/ 4376729 h 7458372"/>
              <a:gd name="connsiteX18197" fmla="*/ 4609277 w 10505529"/>
              <a:gd name="connsiteY18197" fmla="*/ 4372603 h 7458372"/>
              <a:gd name="connsiteX18198" fmla="*/ 4605284 w 10505529"/>
              <a:gd name="connsiteY18198" fmla="*/ 4369940 h 7458372"/>
              <a:gd name="connsiteX18199" fmla="*/ 4600226 w 10505529"/>
              <a:gd name="connsiteY18199" fmla="*/ 4369009 h 7458372"/>
              <a:gd name="connsiteX18200" fmla="*/ 4382713 w 10505529"/>
              <a:gd name="connsiteY18200" fmla="*/ 4369009 h 7458372"/>
              <a:gd name="connsiteX18201" fmla="*/ 4372730 w 10505529"/>
              <a:gd name="connsiteY18201" fmla="*/ 4372603 h 7458372"/>
              <a:gd name="connsiteX18202" fmla="*/ 4369136 w 10505529"/>
              <a:gd name="connsiteY18202" fmla="*/ 4382054 h 7458372"/>
              <a:gd name="connsiteX18203" fmla="*/ 4372730 w 10505529"/>
              <a:gd name="connsiteY18203" fmla="*/ 4391505 h 7458372"/>
              <a:gd name="connsiteX18204" fmla="*/ 4382713 w 10505529"/>
              <a:gd name="connsiteY18204" fmla="*/ 4394967 h 7458372"/>
              <a:gd name="connsiteX18205" fmla="*/ 4388038 w 10505529"/>
              <a:gd name="connsiteY18205" fmla="*/ 4394035 h 7458372"/>
              <a:gd name="connsiteX18206" fmla="*/ 4391765 w 10505529"/>
              <a:gd name="connsiteY18206" fmla="*/ 4391638 h 7458372"/>
              <a:gd name="connsiteX18207" fmla="*/ 4394428 w 10505529"/>
              <a:gd name="connsiteY18207" fmla="*/ 4387379 h 7458372"/>
              <a:gd name="connsiteX18208" fmla="*/ 4395493 w 10505529"/>
              <a:gd name="connsiteY18208" fmla="*/ 4381921 h 7458372"/>
              <a:gd name="connsiteX18209" fmla="*/ 4394428 w 10505529"/>
              <a:gd name="connsiteY18209" fmla="*/ 4376729 h 7458372"/>
              <a:gd name="connsiteX18210" fmla="*/ 4391765 w 10505529"/>
              <a:gd name="connsiteY18210" fmla="*/ 4372603 h 7458372"/>
              <a:gd name="connsiteX18211" fmla="*/ 4387772 w 10505529"/>
              <a:gd name="connsiteY18211" fmla="*/ 4369940 h 7458372"/>
              <a:gd name="connsiteX18212" fmla="*/ 4382713 w 10505529"/>
              <a:gd name="connsiteY18212" fmla="*/ 4369009 h 7458372"/>
              <a:gd name="connsiteX18213" fmla="*/ 4165068 w 10505529"/>
              <a:gd name="connsiteY18213" fmla="*/ 4369009 h 7458372"/>
              <a:gd name="connsiteX18214" fmla="*/ 4155084 w 10505529"/>
              <a:gd name="connsiteY18214" fmla="*/ 4372603 h 7458372"/>
              <a:gd name="connsiteX18215" fmla="*/ 4151490 w 10505529"/>
              <a:gd name="connsiteY18215" fmla="*/ 4382054 h 7458372"/>
              <a:gd name="connsiteX18216" fmla="*/ 4155084 w 10505529"/>
              <a:gd name="connsiteY18216" fmla="*/ 4391505 h 7458372"/>
              <a:gd name="connsiteX18217" fmla="*/ 4165068 w 10505529"/>
              <a:gd name="connsiteY18217" fmla="*/ 4394967 h 7458372"/>
              <a:gd name="connsiteX18218" fmla="*/ 4170392 w 10505529"/>
              <a:gd name="connsiteY18218" fmla="*/ 4394035 h 7458372"/>
              <a:gd name="connsiteX18219" fmla="*/ 4174119 w 10505529"/>
              <a:gd name="connsiteY18219" fmla="*/ 4391638 h 7458372"/>
              <a:gd name="connsiteX18220" fmla="*/ 4176782 w 10505529"/>
              <a:gd name="connsiteY18220" fmla="*/ 4387379 h 7458372"/>
              <a:gd name="connsiteX18221" fmla="*/ 4177847 w 10505529"/>
              <a:gd name="connsiteY18221" fmla="*/ 4381921 h 7458372"/>
              <a:gd name="connsiteX18222" fmla="*/ 4176782 w 10505529"/>
              <a:gd name="connsiteY18222" fmla="*/ 4376729 h 7458372"/>
              <a:gd name="connsiteX18223" fmla="*/ 4174119 w 10505529"/>
              <a:gd name="connsiteY18223" fmla="*/ 4372603 h 7458372"/>
              <a:gd name="connsiteX18224" fmla="*/ 4170126 w 10505529"/>
              <a:gd name="connsiteY18224" fmla="*/ 4369940 h 7458372"/>
              <a:gd name="connsiteX18225" fmla="*/ 4165068 w 10505529"/>
              <a:gd name="connsiteY18225" fmla="*/ 4369009 h 7458372"/>
              <a:gd name="connsiteX18226" fmla="*/ 3947663 w 10505529"/>
              <a:gd name="connsiteY18226" fmla="*/ 4369009 h 7458372"/>
              <a:gd name="connsiteX18227" fmla="*/ 3937680 w 10505529"/>
              <a:gd name="connsiteY18227" fmla="*/ 4372603 h 7458372"/>
              <a:gd name="connsiteX18228" fmla="*/ 3934085 w 10505529"/>
              <a:gd name="connsiteY18228" fmla="*/ 4382054 h 7458372"/>
              <a:gd name="connsiteX18229" fmla="*/ 3937680 w 10505529"/>
              <a:gd name="connsiteY18229" fmla="*/ 4391505 h 7458372"/>
              <a:gd name="connsiteX18230" fmla="*/ 3947663 w 10505529"/>
              <a:gd name="connsiteY18230" fmla="*/ 4394967 h 7458372"/>
              <a:gd name="connsiteX18231" fmla="*/ 3952991 w 10505529"/>
              <a:gd name="connsiteY18231" fmla="*/ 4394035 h 7458372"/>
              <a:gd name="connsiteX18232" fmla="*/ 3956717 w 10505529"/>
              <a:gd name="connsiteY18232" fmla="*/ 4391638 h 7458372"/>
              <a:gd name="connsiteX18233" fmla="*/ 3959380 w 10505529"/>
              <a:gd name="connsiteY18233" fmla="*/ 4387379 h 7458372"/>
              <a:gd name="connsiteX18234" fmla="*/ 3960445 w 10505529"/>
              <a:gd name="connsiteY18234" fmla="*/ 4381921 h 7458372"/>
              <a:gd name="connsiteX18235" fmla="*/ 3959380 w 10505529"/>
              <a:gd name="connsiteY18235" fmla="*/ 4376729 h 7458372"/>
              <a:gd name="connsiteX18236" fmla="*/ 3956717 w 10505529"/>
              <a:gd name="connsiteY18236" fmla="*/ 4372603 h 7458372"/>
              <a:gd name="connsiteX18237" fmla="*/ 3952723 w 10505529"/>
              <a:gd name="connsiteY18237" fmla="*/ 4369940 h 7458372"/>
              <a:gd name="connsiteX18238" fmla="*/ 3947663 w 10505529"/>
              <a:gd name="connsiteY18238" fmla="*/ 4369009 h 7458372"/>
              <a:gd name="connsiteX18239" fmla="*/ 3730007 w 10505529"/>
              <a:gd name="connsiteY18239" fmla="*/ 4369009 h 7458372"/>
              <a:gd name="connsiteX18240" fmla="*/ 3720020 w 10505529"/>
              <a:gd name="connsiteY18240" fmla="*/ 4372603 h 7458372"/>
              <a:gd name="connsiteX18241" fmla="*/ 3716428 w 10505529"/>
              <a:gd name="connsiteY18241" fmla="*/ 4382054 h 7458372"/>
              <a:gd name="connsiteX18242" fmla="*/ 3720020 w 10505529"/>
              <a:gd name="connsiteY18242" fmla="*/ 4391505 h 7458372"/>
              <a:gd name="connsiteX18243" fmla="*/ 3730007 w 10505529"/>
              <a:gd name="connsiteY18243" fmla="*/ 4394967 h 7458372"/>
              <a:gd name="connsiteX18244" fmla="*/ 3735332 w 10505529"/>
              <a:gd name="connsiteY18244" fmla="*/ 4394035 h 7458372"/>
              <a:gd name="connsiteX18245" fmla="*/ 3739059 w 10505529"/>
              <a:gd name="connsiteY18245" fmla="*/ 4391638 h 7458372"/>
              <a:gd name="connsiteX18246" fmla="*/ 3741722 w 10505529"/>
              <a:gd name="connsiteY18246" fmla="*/ 4387379 h 7458372"/>
              <a:gd name="connsiteX18247" fmla="*/ 3742787 w 10505529"/>
              <a:gd name="connsiteY18247" fmla="*/ 4381921 h 7458372"/>
              <a:gd name="connsiteX18248" fmla="*/ 3741722 w 10505529"/>
              <a:gd name="connsiteY18248" fmla="*/ 4376729 h 7458372"/>
              <a:gd name="connsiteX18249" fmla="*/ 3739059 w 10505529"/>
              <a:gd name="connsiteY18249" fmla="*/ 4372603 h 7458372"/>
              <a:gd name="connsiteX18250" fmla="*/ 3735066 w 10505529"/>
              <a:gd name="connsiteY18250" fmla="*/ 4369940 h 7458372"/>
              <a:gd name="connsiteX18251" fmla="*/ 3730007 w 10505529"/>
              <a:gd name="connsiteY18251" fmla="*/ 4369009 h 7458372"/>
              <a:gd name="connsiteX18252" fmla="*/ 3512349 w 10505529"/>
              <a:gd name="connsiteY18252" fmla="*/ 4369009 h 7458372"/>
              <a:gd name="connsiteX18253" fmla="*/ 3502361 w 10505529"/>
              <a:gd name="connsiteY18253" fmla="*/ 4372603 h 7458372"/>
              <a:gd name="connsiteX18254" fmla="*/ 3498768 w 10505529"/>
              <a:gd name="connsiteY18254" fmla="*/ 4382054 h 7458372"/>
              <a:gd name="connsiteX18255" fmla="*/ 3502361 w 10505529"/>
              <a:gd name="connsiteY18255" fmla="*/ 4391505 h 7458372"/>
              <a:gd name="connsiteX18256" fmla="*/ 3512349 w 10505529"/>
              <a:gd name="connsiteY18256" fmla="*/ 4394967 h 7458372"/>
              <a:gd name="connsiteX18257" fmla="*/ 3517674 w 10505529"/>
              <a:gd name="connsiteY18257" fmla="*/ 4394035 h 7458372"/>
              <a:gd name="connsiteX18258" fmla="*/ 3521402 w 10505529"/>
              <a:gd name="connsiteY18258" fmla="*/ 4391638 h 7458372"/>
              <a:gd name="connsiteX18259" fmla="*/ 3524065 w 10505529"/>
              <a:gd name="connsiteY18259" fmla="*/ 4387379 h 7458372"/>
              <a:gd name="connsiteX18260" fmla="*/ 3525130 w 10505529"/>
              <a:gd name="connsiteY18260" fmla="*/ 4381921 h 7458372"/>
              <a:gd name="connsiteX18261" fmla="*/ 3524065 w 10505529"/>
              <a:gd name="connsiteY18261" fmla="*/ 4376729 h 7458372"/>
              <a:gd name="connsiteX18262" fmla="*/ 3521402 w 10505529"/>
              <a:gd name="connsiteY18262" fmla="*/ 4372603 h 7458372"/>
              <a:gd name="connsiteX18263" fmla="*/ 3517409 w 10505529"/>
              <a:gd name="connsiteY18263" fmla="*/ 4369940 h 7458372"/>
              <a:gd name="connsiteX18264" fmla="*/ 3512349 w 10505529"/>
              <a:gd name="connsiteY18264" fmla="*/ 4369009 h 7458372"/>
              <a:gd name="connsiteX18265" fmla="*/ 3294825 w 10505529"/>
              <a:gd name="connsiteY18265" fmla="*/ 4369009 h 7458372"/>
              <a:gd name="connsiteX18266" fmla="*/ 3284839 w 10505529"/>
              <a:gd name="connsiteY18266" fmla="*/ 4372603 h 7458372"/>
              <a:gd name="connsiteX18267" fmla="*/ 3281245 w 10505529"/>
              <a:gd name="connsiteY18267" fmla="*/ 4382054 h 7458372"/>
              <a:gd name="connsiteX18268" fmla="*/ 3284839 w 10505529"/>
              <a:gd name="connsiteY18268" fmla="*/ 4391505 h 7458372"/>
              <a:gd name="connsiteX18269" fmla="*/ 3294825 w 10505529"/>
              <a:gd name="connsiteY18269" fmla="*/ 4394967 h 7458372"/>
              <a:gd name="connsiteX18270" fmla="*/ 3300150 w 10505529"/>
              <a:gd name="connsiteY18270" fmla="*/ 4394035 h 7458372"/>
              <a:gd name="connsiteX18271" fmla="*/ 3303877 w 10505529"/>
              <a:gd name="connsiteY18271" fmla="*/ 4391638 h 7458372"/>
              <a:gd name="connsiteX18272" fmla="*/ 3306540 w 10505529"/>
              <a:gd name="connsiteY18272" fmla="*/ 4387379 h 7458372"/>
              <a:gd name="connsiteX18273" fmla="*/ 3307604 w 10505529"/>
              <a:gd name="connsiteY18273" fmla="*/ 4381921 h 7458372"/>
              <a:gd name="connsiteX18274" fmla="*/ 3306540 w 10505529"/>
              <a:gd name="connsiteY18274" fmla="*/ 4376729 h 7458372"/>
              <a:gd name="connsiteX18275" fmla="*/ 3303877 w 10505529"/>
              <a:gd name="connsiteY18275" fmla="*/ 4372603 h 7458372"/>
              <a:gd name="connsiteX18276" fmla="*/ 3299884 w 10505529"/>
              <a:gd name="connsiteY18276" fmla="*/ 4369940 h 7458372"/>
              <a:gd name="connsiteX18277" fmla="*/ 3294825 w 10505529"/>
              <a:gd name="connsiteY18277" fmla="*/ 4369009 h 7458372"/>
              <a:gd name="connsiteX18278" fmla="*/ 3077300 w 10505529"/>
              <a:gd name="connsiteY18278" fmla="*/ 4369009 h 7458372"/>
              <a:gd name="connsiteX18279" fmla="*/ 3067317 w 10505529"/>
              <a:gd name="connsiteY18279" fmla="*/ 4372603 h 7458372"/>
              <a:gd name="connsiteX18280" fmla="*/ 3063587 w 10505529"/>
              <a:gd name="connsiteY18280" fmla="*/ 4382054 h 7458372"/>
              <a:gd name="connsiteX18281" fmla="*/ 3067183 w 10505529"/>
              <a:gd name="connsiteY18281" fmla="*/ 4391505 h 7458372"/>
              <a:gd name="connsiteX18282" fmla="*/ 3077167 w 10505529"/>
              <a:gd name="connsiteY18282" fmla="*/ 4394967 h 7458372"/>
              <a:gd name="connsiteX18283" fmla="*/ 3082625 w 10505529"/>
              <a:gd name="connsiteY18283" fmla="*/ 4394035 h 7458372"/>
              <a:gd name="connsiteX18284" fmla="*/ 3086353 w 10505529"/>
              <a:gd name="connsiteY18284" fmla="*/ 4391638 h 7458372"/>
              <a:gd name="connsiteX18285" fmla="*/ 3089015 w 10505529"/>
              <a:gd name="connsiteY18285" fmla="*/ 4387379 h 7458372"/>
              <a:gd name="connsiteX18286" fmla="*/ 3089948 w 10505529"/>
              <a:gd name="connsiteY18286" fmla="*/ 4381921 h 7458372"/>
              <a:gd name="connsiteX18287" fmla="*/ 3089015 w 10505529"/>
              <a:gd name="connsiteY18287" fmla="*/ 4376729 h 7458372"/>
              <a:gd name="connsiteX18288" fmla="*/ 3086353 w 10505529"/>
              <a:gd name="connsiteY18288" fmla="*/ 4372603 h 7458372"/>
              <a:gd name="connsiteX18289" fmla="*/ 3082360 w 10505529"/>
              <a:gd name="connsiteY18289" fmla="*/ 4369940 h 7458372"/>
              <a:gd name="connsiteX18290" fmla="*/ 3077300 w 10505529"/>
              <a:gd name="connsiteY18290" fmla="*/ 4369009 h 7458372"/>
              <a:gd name="connsiteX18291" fmla="*/ 2859510 w 10505529"/>
              <a:gd name="connsiteY18291" fmla="*/ 4369009 h 7458372"/>
              <a:gd name="connsiteX18292" fmla="*/ 2849524 w 10505529"/>
              <a:gd name="connsiteY18292" fmla="*/ 4372603 h 7458372"/>
              <a:gd name="connsiteX18293" fmla="*/ 2845927 w 10505529"/>
              <a:gd name="connsiteY18293" fmla="*/ 4382054 h 7458372"/>
              <a:gd name="connsiteX18294" fmla="*/ 2849524 w 10505529"/>
              <a:gd name="connsiteY18294" fmla="*/ 4391505 h 7458372"/>
              <a:gd name="connsiteX18295" fmla="*/ 2859510 w 10505529"/>
              <a:gd name="connsiteY18295" fmla="*/ 4394967 h 7458372"/>
              <a:gd name="connsiteX18296" fmla="*/ 2864835 w 10505529"/>
              <a:gd name="connsiteY18296" fmla="*/ 4394035 h 7458372"/>
              <a:gd name="connsiteX18297" fmla="*/ 2868562 w 10505529"/>
              <a:gd name="connsiteY18297" fmla="*/ 4391638 h 7458372"/>
              <a:gd name="connsiteX18298" fmla="*/ 2871225 w 10505529"/>
              <a:gd name="connsiteY18298" fmla="*/ 4387379 h 7458372"/>
              <a:gd name="connsiteX18299" fmla="*/ 2872156 w 10505529"/>
              <a:gd name="connsiteY18299" fmla="*/ 4381921 h 7458372"/>
              <a:gd name="connsiteX18300" fmla="*/ 2871225 w 10505529"/>
              <a:gd name="connsiteY18300" fmla="*/ 4376729 h 7458372"/>
              <a:gd name="connsiteX18301" fmla="*/ 2868562 w 10505529"/>
              <a:gd name="connsiteY18301" fmla="*/ 4372603 h 7458372"/>
              <a:gd name="connsiteX18302" fmla="*/ 2864569 w 10505529"/>
              <a:gd name="connsiteY18302" fmla="*/ 4369940 h 7458372"/>
              <a:gd name="connsiteX18303" fmla="*/ 2859510 w 10505529"/>
              <a:gd name="connsiteY18303" fmla="*/ 4369009 h 7458372"/>
              <a:gd name="connsiteX18304" fmla="*/ 2641852 w 10505529"/>
              <a:gd name="connsiteY18304" fmla="*/ 4369009 h 7458372"/>
              <a:gd name="connsiteX18305" fmla="*/ 2631869 w 10505529"/>
              <a:gd name="connsiteY18305" fmla="*/ 4372603 h 7458372"/>
              <a:gd name="connsiteX18306" fmla="*/ 2628274 w 10505529"/>
              <a:gd name="connsiteY18306" fmla="*/ 4382054 h 7458372"/>
              <a:gd name="connsiteX18307" fmla="*/ 2631869 w 10505529"/>
              <a:gd name="connsiteY18307" fmla="*/ 4391505 h 7458372"/>
              <a:gd name="connsiteX18308" fmla="*/ 2641852 w 10505529"/>
              <a:gd name="connsiteY18308" fmla="*/ 4394967 h 7458372"/>
              <a:gd name="connsiteX18309" fmla="*/ 2647177 w 10505529"/>
              <a:gd name="connsiteY18309" fmla="*/ 4394035 h 7458372"/>
              <a:gd name="connsiteX18310" fmla="*/ 2650904 w 10505529"/>
              <a:gd name="connsiteY18310" fmla="*/ 4391638 h 7458372"/>
              <a:gd name="connsiteX18311" fmla="*/ 2653567 w 10505529"/>
              <a:gd name="connsiteY18311" fmla="*/ 4387379 h 7458372"/>
              <a:gd name="connsiteX18312" fmla="*/ 2654498 w 10505529"/>
              <a:gd name="connsiteY18312" fmla="*/ 4381921 h 7458372"/>
              <a:gd name="connsiteX18313" fmla="*/ 2653567 w 10505529"/>
              <a:gd name="connsiteY18313" fmla="*/ 4376729 h 7458372"/>
              <a:gd name="connsiteX18314" fmla="*/ 2650904 w 10505529"/>
              <a:gd name="connsiteY18314" fmla="*/ 4372603 h 7458372"/>
              <a:gd name="connsiteX18315" fmla="*/ 2646911 w 10505529"/>
              <a:gd name="connsiteY18315" fmla="*/ 4369940 h 7458372"/>
              <a:gd name="connsiteX18316" fmla="*/ 2641852 w 10505529"/>
              <a:gd name="connsiteY18316" fmla="*/ 4369009 h 7458372"/>
              <a:gd name="connsiteX18317" fmla="*/ 2424194 w 10505529"/>
              <a:gd name="connsiteY18317" fmla="*/ 4369009 h 7458372"/>
              <a:gd name="connsiteX18318" fmla="*/ 2414211 w 10505529"/>
              <a:gd name="connsiteY18318" fmla="*/ 4372603 h 7458372"/>
              <a:gd name="connsiteX18319" fmla="*/ 2410617 w 10505529"/>
              <a:gd name="connsiteY18319" fmla="*/ 4382054 h 7458372"/>
              <a:gd name="connsiteX18320" fmla="*/ 2414211 w 10505529"/>
              <a:gd name="connsiteY18320" fmla="*/ 4391505 h 7458372"/>
              <a:gd name="connsiteX18321" fmla="*/ 2424194 w 10505529"/>
              <a:gd name="connsiteY18321" fmla="*/ 4394967 h 7458372"/>
              <a:gd name="connsiteX18322" fmla="*/ 2429520 w 10505529"/>
              <a:gd name="connsiteY18322" fmla="*/ 4394035 h 7458372"/>
              <a:gd name="connsiteX18323" fmla="*/ 2433246 w 10505529"/>
              <a:gd name="connsiteY18323" fmla="*/ 4391638 h 7458372"/>
              <a:gd name="connsiteX18324" fmla="*/ 2435910 w 10505529"/>
              <a:gd name="connsiteY18324" fmla="*/ 4387379 h 7458372"/>
              <a:gd name="connsiteX18325" fmla="*/ 2436841 w 10505529"/>
              <a:gd name="connsiteY18325" fmla="*/ 4381921 h 7458372"/>
              <a:gd name="connsiteX18326" fmla="*/ 2435910 w 10505529"/>
              <a:gd name="connsiteY18326" fmla="*/ 4376729 h 7458372"/>
              <a:gd name="connsiteX18327" fmla="*/ 2433246 w 10505529"/>
              <a:gd name="connsiteY18327" fmla="*/ 4372603 h 7458372"/>
              <a:gd name="connsiteX18328" fmla="*/ 2429253 w 10505529"/>
              <a:gd name="connsiteY18328" fmla="*/ 4369940 h 7458372"/>
              <a:gd name="connsiteX18329" fmla="*/ 2424194 w 10505529"/>
              <a:gd name="connsiteY18329" fmla="*/ 4369009 h 7458372"/>
              <a:gd name="connsiteX18330" fmla="*/ 2206537 w 10505529"/>
              <a:gd name="connsiteY18330" fmla="*/ 4369009 h 7458372"/>
              <a:gd name="connsiteX18331" fmla="*/ 2196553 w 10505529"/>
              <a:gd name="connsiteY18331" fmla="*/ 4372603 h 7458372"/>
              <a:gd name="connsiteX18332" fmla="*/ 2192959 w 10505529"/>
              <a:gd name="connsiteY18332" fmla="*/ 4382054 h 7458372"/>
              <a:gd name="connsiteX18333" fmla="*/ 2196553 w 10505529"/>
              <a:gd name="connsiteY18333" fmla="*/ 4391505 h 7458372"/>
              <a:gd name="connsiteX18334" fmla="*/ 2206537 w 10505529"/>
              <a:gd name="connsiteY18334" fmla="*/ 4394967 h 7458372"/>
              <a:gd name="connsiteX18335" fmla="*/ 2211862 w 10505529"/>
              <a:gd name="connsiteY18335" fmla="*/ 4394035 h 7458372"/>
              <a:gd name="connsiteX18336" fmla="*/ 2215589 w 10505529"/>
              <a:gd name="connsiteY18336" fmla="*/ 4391638 h 7458372"/>
              <a:gd name="connsiteX18337" fmla="*/ 2218252 w 10505529"/>
              <a:gd name="connsiteY18337" fmla="*/ 4387379 h 7458372"/>
              <a:gd name="connsiteX18338" fmla="*/ 2219183 w 10505529"/>
              <a:gd name="connsiteY18338" fmla="*/ 4381921 h 7458372"/>
              <a:gd name="connsiteX18339" fmla="*/ 2218252 w 10505529"/>
              <a:gd name="connsiteY18339" fmla="*/ 4376729 h 7458372"/>
              <a:gd name="connsiteX18340" fmla="*/ 2215589 w 10505529"/>
              <a:gd name="connsiteY18340" fmla="*/ 4372603 h 7458372"/>
              <a:gd name="connsiteX18341" fmla="*/ 2211596 w 10505529"/>
              <a:gd name="connsiteY18341" fmla="*/ 4369940 h 7458372"/>
              <a:gd name="connsiteX18342" fmla="*/ 2206537 w 10505529"/>
              <a:gd name="connsiteY18342" fmla="*/ 4369009 h 7458372"/>
              <a:gd name="connsiteX18343" fmla="*/ 1989012 w 10505529"/>
              <a:gd name="connsiteY18343" fmla="*/ 4369009 h 7458372"/>
              <a:gd name="connsiteX18344" fmla="*/ 1979029 w 10505529"/>
              <a:gd name="connsiteY18344" fmla="*/ 4372603 h 7458372"/>
              <a:gd name="connsiteX18345" fmla="*/ 1975435 w 10505529"/>
              <a:gd name="connsiteY18345" fmla="*/ 4382054 h 7458372"/>
              <a:gd name="connsiteX18346" fmla="*/ 1979029 w 10505529"/>
              <a:gd name="connsiteY18346" fmla="*/ 4391505 h 7458372"/>
              <a:gd name="connsiteX18347" fmla="*/ 1989012 w 10505529"/>
              <a:gd name="connsiteY18347" fmla="*/ 4394967 h 7458372"/>
              <a:gd name="connsiteX18348" fmla="*/ 1994337 w 10505529"/>
              <a:gd name="connsiteY18348" fmla="*/ 4394035 h 7458372"/>
              <a:gd name="connsiteX18349" fmla="*/ 1998064 w 10505529"/>
              <a:gd name="connsiteY18349" fmla="*/ 4391638 h 7458372"/>
              <a:gd name="connsiteX18350" fmla="*/ 2000727 w 10505529"/>
              <a:gd name="connsiteY18350" fmla="*/ 4387379 h 7458372"/>
              <a:gd name="connsiteX18351" fmla="*/ 2001658 w 10505529"/>
              <a:gd name="connsiteY18351" fmla="*/ 4381921 h 7458372"/>
              <a:gd name="connsiteX18352" fmla="*/ 2000727 w 10505529"/>
              <a:gd name="connsiteY18352" fmla="*/ 4376729 h 7458372"/>
              <a:gd name="connsiteX18353" fmla="*/ 1998064 w 10505529"/>
              <a:gd name="connsiteY18353" fmla="*/ 4372603 h 7458372"/>
              <a:gd name="connsiteX18354" fmla="*/ 1994071 w 10505529"/>
              <a:gd name="connsiteY18354" fmla="*/ 4369940 h 7458372"/>
              <a:gd name="connsiteX18355" fmla="*/ 1989012 w 10505529"/>
              <a:gd name="connsiteY18355" fmla="*/ 4369009 h 7458372"/>
              <a:gd name="connsiteX18356" fmla="*/ 1771376 w 10505529"/>
              <a:gd name="connsiteY18356" fmla="*/ 4369009 h 7458372"/>
              <a:gd name="connsiteX18357" fmla="*/ 1761394 w 10505529"/>
              <a:gd name="connsiteY18357" fmla="*/ 4372603 h 7458372"/>
              <a:gd name="connsiteX18358" fmla="*/ 1757800 w 10505529"/>
              <a:gd name="connsiteY18358" fmla="*/ 4382054 h 7458372"/>
              <a:gd name="connsiteX18359" fmla="*/ 1761394 w 10505529"/>
              <a:gd name="connsiteY18359" fmla="*/ 4391505 h 7458372"/>
              <a:gd name="connsiteX18360" fmla="*/ 1771376 w 10505529"/>
              <a:gd name="connsiteY18360" fmla="*/ 4394967 h 7458372"/>
              <a:gd name="connsiteX18361" fmla="*/ 1776701 w 10505529"/>
              <a:gd name="connsiteY18361" fmla="*/ 4394035 h 7458372"/>
              <a:gd name="connsiteX18362" fmla="*/ 1780427 w 10505529"/>
              <a:gd name="connsiteY18362" fmla="*/ 4391638 h 7458372"/>
              <a:gd name="connsiteX18363" fmla="*/ 1783090 w 10505529"/>
              <a:gd name="connsiteY18363" fmla="*/ 4387379 h 7458372"/>
              <a:gd name="connsiteX18364" fmla="*/ 1784155 w 10505529"/>
              <a:gd name="connsiteY18364" fmla="*/ 4381921 h 7458372"/>
              <a:gd name="connsiteX18365" fmla="*/ 1783090 w 10505529"/>
              <a:gd name="connsiteY18365" fmla="*/ 4376729 h 7458372"/>
              <a:gd name="connsiteX18366" fmla="*/ 1780427 w 10505529"/>
              <a:gd name="connsiteY18366" fmla="*/ 4372603 h 7458372"/>
              <a:gd name="connsiteX18367" fmla="*/ 1776435 w 10505529"/>
              <a:gd name="connsiteY18367" fmla="*/ 4369940 h 7458372"/>
              <a:gd name="connsiteX18368" fmla="*/ 1771376 w 10505529"/>
              <a:gd name="connsiteY18368" fmla="*/ 4369009 h 7458372"/>
              <a:gd name="connsiteX18369" fmla="*/ 1553737 w 10505529"/>
              <a:gd name="connsiteY18369" fmla="*/ 4369009 h 7458372"/>
              <a:gd name="connsiteX18370" fmla="*/ 1543754 w 10505529"/>
              <a:gd name="connsiteY18370" fmla="*/ 4372603 h 7458372"/>
              <a:gd name="connsiteX18371" fmla="*/ 1540160 w 10505529"/>
              <a:gd name="connsiteY18371" fmla="*/ 4382054 h 7458372"/>
              <a:gd name="connsiteX18372" fmla="*/ 1543754 w 10505529"/>
              <a:gd name="connsiteY18372" fmla="*/ 4391505 h 7458372"/>
              <a:gd name="connsiteX18373" fmla="*/ 1553737 w 10505529"/>
              <a:gd name="connsiteY18373" fmla="*/ 4394967 h 7458372"/>
              <a:gd name="connsiteX18374" fmla="*/ 1559062 w 10505529"/>
              <a:gd name="connsiteY18374" fmla="*/ 4394035 h 7458372"/>
              <a:gd name="connsiteX18375" fmla="*/ 1562789 w 10505529"/>
              <a:gd name="connsiteY18375" fmla="*/ 4391638 h 7458372"/>
              <a:gd name="connsiteX18376" fmla="*/ 1565452 w 10505529"/>
              <a:gd name="connsiteY18376" fmla="*/ 4387379 h 7458372"/>
              <a:gd name="connsiteX18377" fmla="*/ 1566517 w 10505529"/>
              <a:gd name="connsiteY18377" fmla="*/ 4381921 h 7458372"/>
              <a:gd name="connsiteX18378" fmla="*/ 1565452 w 10505529"/>
              <a:gd name="connsiteY18378" fmla="*/ 4376729 h 7458372"/>
              <a:gd name="connsiteX18379" fmla="*/ 1562789 w 10505529"/>
              <a:gd name="connsiteY18379" fmla="*/ 4372603 h 7458372"/>
              <a:gd name="connsiteX18380" fmla="*/ 1558796 w 10505529"/>
              <a:gd name="connsiteY18380" fmla="*/ 4369940 h 7458372"/>
              <a:gd name="connsiteX18381" fmla="*/ 1553737 w 10505529"/>
              <a:gd name="connsiteY18381" fmla="*/ 4369009 h 7458372"/>
              <a:gd name="connsiteX18382" fmla="*/ 1336093 w 10505529"/>
              <a:gd name="connsiteY18382" fmla="*/ 4369009 h 7458372"/>
              <a:gd name="connsiteX18383" fmla="*/ 1326110 w 10505529"/>
              <a:gd name="connsiteY18383" fmla="*/ 4372603 h 7458372"/>
              <a:gd name="connsiteX18384" fmla="*/ 1322515 w 10505529"/>
              <a:gd name="connsiteY18384" fmla="*/ 4382054 h 7458372"/>
              <a:gd name="connsiteX18385" fmla="*/ 1326110 w 10505529"/>
              <a:gd name="connsiteY18385" fmla="*/ 4391505 h 7458372"/>
              <a:gd name="connsiteX18386" fmla="*/ 1336093 w 10505529"/>
              <a:gd name="connsiteY18386" fmla="*/ 4394967 h 7458372"/>
              <a:gd name="connsiteX18387" fmla="*/ 1341419 w 10505529"/>
              <a:gd name="connsiteY18387" fmla="*/ 4394035 h 7458372"/>
              <a:gd name="connsiteX18388" fmla="*/ 1345147 w 10505529"/>
              <a:gd name="connsiteY18388" fmla="*/ 4391638 h 7458372"/>
              <a:gd name="connsiteX18389" fmla="*/ 1347809 w 10505529"/>
              <a:gd name="connsiteY18389" fmla="*/ 4387379 h 7458372"/>
              <a:gd name="connsiteX18390" fmla="*/ 1348875 w 10505529"/>
              <a:gd name="connsiteY18390" fmla="*/ 4381921 h 7458372"/>
              <a:gd name="connsiteX18391" fmla="*/ 1347809 w 10505529"/>
              <a:gd name="connsiteY18391" fmla="*/ 4376729 h 7458372"/>
              <a:gd name="connsiteX18392" fmla="*/ 1345147 w 10505529"/>
              <a:gd name="connsiteY18392" fmla="*/ 4372603 h 7458372"/>
              <a:gd name="connsiteX18393" fmla="*/ 1341152 w 10505529"/>
              <a:gd name="connsiteY18393" fmla="*/ 4369940 h 7458372"/>
              <a:gd name="connsiteX18394" fmla="*/ 1336093 w 10505529"/>
              <a:gd name="connsiteY18394" fmla="*/ 4369009 h 7458372"/>
              <a:gd name="connsiteX18395" fmla="*/ 1118581 w 10505529"/>
              <a:gd name="connsiteY18395" fmla="*/ 4369009 h 7458372"/>
              <a:gd name="connsiteX18396" fmla="*/ 1108596 w 10505529"/>
              <a:gd name="connsiteY18396" fmla="*/ 4372603 h 7458372"/>
              <a:gd name="connsiteX18397" fmla="*/ 1104869 w 10505529"/>
              <a:gd name="connsiteY18397" fmla="*/ 4382054 h 7458372"/>
              <a:gd name="connsiteX18398" fmla="*/ 1108463 w 10505529"/>
              <a:gd name="connsiteY18398" fmla="*/ 4391505 h 7458372"/>
              <a:gd name="connsiteX18399" fmla="*/ 1118448 w 10505529"/>
              <a:gd name="connsiteY18399" fmla="*/ 4394967 h 7458372"/>
              <a:gd name="connsiteX18400" fmla="*/ 1123905 w 10505529"/>
              <a:gd name="connsiteY18400" fmla="*/ 4394035 h 7458372"/>
              <a:gd name="connsiteX18401" fmla="*/ 1127635 w 10505529"/>
              <a:gd name="connsiteY18401" fmla="*/ 4391638 h 7458372"/>
              <a:gd name="connsiteX18402" fmla="*/ 1130298 w 10505529"/>
              <a:gd name="connsiteY18402" fmla="*/ 4387379 h 7458372"/>
              <a:gd name="connsiteX18403" fmla="*/ 1131363 w 10505529"/>
              <a:gd name="connsiteY18403" fmla="*/ 4381921 h 7458372"/>
              <a:gd name="connsiteX18404" fmla="*/ 1130298 w 10505529"/>
              <a:gd name="connsiteY18404" fmla="*/ 4376729 h 7458372"/>
              <a:gd name="connsiteX18405" fmla="*/ 1127635 w 10505529"/>
              <a:gd name="connsiteY18405" fmla="*/ 4372603 h 7458372"/>
              <a:gd name="connsiteX18406" fmla="*/ 1123639 w 10505529"/>
              <a:gd name="connsiteY18406" fmla="*/ 4369940 h 7458372"/>
              <a:gd name="connsiteX18407" fmla="*/ 1118581 w 10505529"/>
              <a:gd name="connsiteY18407" fmla="*/ 4369009 h 7458372"/>
              <a:gd name="connsiteX18408" fmla="*/ 901069 w 10505529"/>
              <a:gd name="connsiteY18408" fmla="*/ 4369009 h 7458372"/>
              <a:gd name="connsiteX18409" fmla="*/ 891085 w 10505529"/>
              <a:gd name="connsiteY18409" fmla="*/ 4372603 h 7458372"/>
              <a:gd name="connsiteX18410" fmla="*/ 887358 w 10505529"/>
              <a:gd name="connsiteY18410" fmla="*/ 4382054 h 7458372"/>
              <a:gd name="connsiteX18411" fmla="*/ 890952 w 10505529"/>
              <a:gd name="connsiteY18411" fmla="*/ 4391505 h 7458372"/>
              <a:gd name="connsiteX18412" fmla="*/ 900935 w 10505529"/>
              <a:gd name="connsiteY18412" fmla="*/ 4394967 h 7458372"/>
              <a:gd name="connsiteX18413" fmla="*/ 906393 w 10505529"/>
              <a:gd name="connsiteY18413" fmla="*/ 4394035 h 7458372"/>
              <a:gd name="connsiteX18414" fmla="*/ 910121 w 10505529"/>
              <a:gd name="connsiteY18414" fmla="*/ 4391638 h 7458372"/>
              <a:gd name="connsiteX18415" fmla="*/ 912783 w 10505529"/>
              <a:gd name="connsiteY18415" fmla="*/ 4387379 h 7458372"/>
              <a:gd name="connsiteX18416" fmla="*/ 913848 w 10505529"/>
              <a:gd name="connsiteY18416" fmla="*/ 4381921 h 7458372"/>
              <a:gd name="connsiteX18417" fmla="*/ 912783 w 10505529"/>
              <a:gd name="connsiteY18417" fmla="*/ 4376729 h 7458372"/>
              <a:gd name="connsiteX18418" fmla="*/ 910121 w 10505529"/>
              <a:gd name="connsiteY18418" fmla="*/ 4372603 h 7458372"/>
              <a:gd name="connsiteX18419" fmla="*/ 906127 w 10505529"/>
              <a:gd name="connsiteY18419" fmla="*/ 4369940 h 7458372"/>
              <a:gd name="connsiteX18420" fmla="*/ 901069 w 10505529"/>
              <a:gd name="connsiteY18420" fmla="*/ 4369009 h 7458372"/>
              <a:gd name="connsiteX18421" fmla="*/ 683294 w 10505529"/>
              <a:gd name="connsiteY18421" fmla="*/ 4369009 h 7458372"/>
              <a:gd name="connsiteX18422" fmla="*/ 673311 w 10505529"/>
              <a:gd name="connsiteY18422" fmla="*/ 4372603 h 7458372"/>
              <a:gd name="connsiteX18423" fmla="*/ 669717 w 10505529"/>
              <a:gd name="connsiteY18423" fmla="*/ 4382054 h 7458372"/>
              <a:gd name="connsiteX18424" fmla="*/ 673311 w 10505529"/>
              <a:gd name="connsiteY18424" fmla="*/ 4391505 h 7458372"/>
              <a:gd name="connsiteX18425" fmla="*/ 683294 w 10505529"/>
              <a:gd name="connsiteY18425" fmla="*/ 4394967 h 7458372"/>
              <a:gd name="connsiteX18426" fmla="*/ 688619 w 10505529"/>
              <a:gd name="connsiteY18426" fmla="*/ 4394035 h 7458372"/>
              <a:gd name="connsiteX18427" fmla="*/ 692346 w 10505529"/>
              <a:gd name="connsiteY18427" fmla="*/ 4391638 h 7458372"/>
              <a:gd name="connsiteX18428" fmla="*/ 695009 w 10505529"/>
              <a:gd name="connsiteY18428" fmla="*/ 4387379 h 7458372"/>
              <a:gd name="connsiteX18429" fmla="*/ 696074 w 10505529"/>
              <a:gd name="connsiteY18429" fmla="*/ 4381921 h 7458372"/>
              <a:gd name="connsiteX18430" fmla="*/ 695009 w 10505529"/>
              <a:gd name="connsiteY18430" fmla="*/ 4376729 h 7458372"/>
              <a:gd name="connsiteX18431" fmla="*/ 692346 w 10505529"/>
              <a:gd name="connsiteY18431" fmla="*/ 4372603 h 7458372"/>
              <a:gd name="connsiteX18432" fmla="*/ 688353 w 10505529"/>
              <a:gd name="connsiteY18432" fmla="*/ 4369940 h 7458372"/>
              <a:gd name="connsiteX18433" fmla="*/ 683294 w 10505529"/>
              <a:gd name="connsiteY18433" fmla="*/ 4369009 h 7458372"/>
              <a:gd name="connsiteX18434" fmla="*/ 465652 w 10505529"/>
              <a:gd name="connsiteY18434" fmla="*/ 4369009 h 7458372"/>
              <a:gd name="connsiteX18435" fmla="*/ 455669 w 10505529"/>
              <a:gd name="connsiteY18435" fmla="*/ 4372603 h 7458372"/>
              <a:gd name="connsiteX18436" fmla="*/ 452075 w 10505529"/>
              <a:gd name="connsiteY18436" fmla="*/ 4382054 h 7458372"/>
              <a:gd name="connsiteX18437" fmla="*/ 455669 w 10505529"/>
              <a:gd name="connsiteY18437" fmla="*/ 4391505 h 7458372"/>
              <a:gd name="connsiteX18438" fmla="*/ 465652 w 10505529"/>
              <a:gd name="connsiteY18438" fmla="*/ 4394967 h 7458372"/>
              <a:gd name="connsiteX18439" fmla="*/ 470977 w 10505529"/>
              <a:gd name="connsiteY18439" fmla="*/ 4394035 h 7458372"/>
              <a:gd name="connsiteX18440" fmla="*/ 474704 w 10505529"/>
              <a:gd name="connsiteY18440" fmla="*/ 4391638 h 7458372"/>
              <a:gd name="connsiteX18441" fmla="*/ 477367 w 10505529"/>
              <a:gd name="connsiteY18441" fmla="*/ 4387379 h 7458372"/>
              <a:gd name="connsiteX18442" fmla="*/ 478432 w 10505529"/>
              <a:gd name="connsiteY18442" fmla="*/ 4381921 h 7458372"/>
              <a:gd name="connsiteX18443" fmla="*/ 477367 w 10505529"/>
              <a:gd name="connsiteY18443" fmla="*/ 4376729 h 7458372"/>
              <a:gd name="connsiteX18444" fmla="*/ 474704 w 10505529"/>
              <a:gd name="connsiteY18444" fmla="*/ 4372603 h 7458372"/>
              <a:gd name="connsiteX18445" fmla="*/ 470711 w 10505529"/>
              <a:gd name="connsiteY18445" fmla="*/ 4369940 h 7458372"/>
              <a:gd name="connsiteX18446" fmla="*/ 465652 w 10505529"/>
              <a:gd name="connsiteY18446" fmla="*/ 4369009 h 7458372"/>
              <a:gd name="connsiteX18447" fmla="*/ 248010 w 10505529"/>
              <a:gd name="connsiteY18447" fmla="*/ 4369009 h 7458372"/>
              <a:gd name="connsiteX18448" fmla="*/ 238027 w 10505529"/>
              <a:gd name="connsiteY18448" fmla="*/ 4372603 h 7458372"/>
              <a:gd name="connsiteX18449" fmla="*/ 234433 w 10505529"/>
              <a:gd name="connsiteY18449" fmla="*/ 4382054 h 7458372"/>
              <a:gd name="connsiteX18450" fmla="*/ 238027 w 10505529"/>
              <a:gd name="connsiteY18450" fmla="*/ 4391505 h 7458372"/>
              <a:gd name="connsiteX18451" fmla="*/ 248010 w 10505529"/>
              <a:gd name="connsiteY18451" fmla="*/ 4394967 h 7458372"/>
              <a:gd name="connsiteX18452" fmla="*/ 253334 w 10505529"/>
              <a:gd name="connsiteY18452" fmla="*/ 4394035 h 7458372"/>
              <a:gd name="connsiteX18453" fmla="*/ 257061 w 10505529"/>
              <a:gd name="connsiteY18453" fmla="*/ 4391638 h 7458372"/>
              <a:gd name="connsiteX18454" fmla="*/ 259724 w 10505529"/>
              <a:gd name="connsiteY18454" fmla="*/ 4387379 h 7458372"/>
              <a:gd name="connsiteX18455" fmla="*/ 260789 w 10505529"/>
              <a:gd name="connsiteY18455" fmla="*/ 4381921 h 7458372"/>
              <a:gd name="connsiteX18456" fmla="*/ 259724 w 10505529"/>
              <a:gd name="connsiteY18456" fmla="*/ 4376729 h 7458372"/>
              <a:gd name="connsiteX18457" fmla="*/ 257061 w 10505529"/>
              <a:gd name="connsiteY18457" fmla="*/ 4372603 h 7458372"/>
              <a:gd name="connsiteX18458" fmla="*/ 253068 w 10505529"/>
              <a:gd name="connsiteY18458" fmla="*/ 4369940 h 7458372"/>
              <a:gd name="connsiteX18459" fmla="*/ 248010 w 10505529"/>
              <a:gd name="connsiteY18459" fmla="*/ 4369009 h 7458372"/>
              <a:gd name="connsiteX18460" fmla="*/ 30368 w 10505529"/>
              <a:gd name="connsiteY18460" fmla="*/ 4369009 h 7458372"/>
              <a:gd name="connsiteX18461" fmla="*/ 20384 w 10505529"/>
              <a:gd name="connsiteY18461" fmla="*/ 4372603 h 7458372"/>
              <a:gd name="connsiteX18462" fmla="*/ 16791 w 10505529"/>
              <a:gd name="connsiteY18462" fmla="*/ 4382054 h 7458372"/>
              <a:gd name="connsiteX18463" fmla="*/ 20384 w 10505529"/>
              <a:gd name="connsiteY18463" fmla="*/ 4391505 h 7458372"/>
              <a:gd name="connsiteX18464" fmla="*/ 30368 w 10505529"/>
              <a:gd name="connsiteY18464" fmla="*/ 4394967 h 7458372"/>
              <a:gd name="connsiteX18465" fmla="*/ 35693 w 10505529"/>
              <a:gd name="connsiteY18465" fmla="*/ 4394035 h 7458372"/>
              <a:gd name="connsiteX18466" fmla="*/ 39420 w 10505529"/>
              <a:gd name="connsiteY18466" fmla="*/ 4391638 h 7458372"/>
              <a:gd name="connsiteX18467" fmla="*/ 42083 w 10505529"/>
              <a:gd name="connsiteY18467" fmla="*/ 4387379 h 7458372"/>
              <a:gd name="connsiteX18468" fmla="*/ 43014 w 10505529"/>
              <a:gd name="connsiteY18468" fmla="*/ 4381921 h 7458372"/>
              <a:gd name="connsiteX18469" fmla="*/ 42083 w 10505529"/>
              <a:gd name="connsiteY18469" fmla="*/ 4376729 h 7458372"/>
              <a:gd name="connsiteX18470" fmla="*/ 39420 w 10505529"/>
              <a:gd name="connsiteY18470" fmla="*/ 4372603 h 7458372"/>
              <a:gd name="connsiteX18471" fmla="*/ 35427 w 10505529"/>
              <a:gd name="connsiteY18471" fmla="*/ 4369940 h 7458372"/>
              <a:gd name="connsiteX18472" fmla="*/ 30368 w 10505529"/>
              <a:gd name="connsiteY18472" fmla="*/ 4369009 h 7458372"/>
              <a:gd name="connsiteX18473" fmla="*/ 10475977 w 10505529"/>
              <a:gd name="connsiteY18473" fmla="*/ 4352369 h 7458372"/>
              <a:gd name="connsiteX18474" fmla="*/ 10487824 w 10505529"/>
              <a:gd name="connsiteY18474" fmla="*/ 4355031 h 7458372"/>
              <a:gd name="connsiteX18475" fmla="*/ 10497143 w 10505529"/>
              <a:gd name="connsiteY18475" fmla="*/ 4361421 h 7458372"/>
              <a:gd name="connsiteX18476" fmla="*/ 10503266 w 10505529"/>
              <a:gd name="connsiteY18476" fmla="*/ 4370739 h 7458372"/>
              <a:gd name="connsiteX18477" fmla="*/ 10505529 w 10505529"/>
              <a:gd name="connsiteY18477" fmla="*/ 4382187 h 7458372"/>
              <a:gd name="connsiteX18478" fmla="*/ 10503266 w 10505529"/>
              <a:gd name="connsiteY18478" fmla="*/ 4393902 h 7458372"/>
              <a:gd name="connsiteX18479" fmla="*/ 10497143 w 10505529"/>
              <a:gd name="connsiteY18479" fmla="*/ 4403220 h 7458372"/>
              <a:gd name="connsiteX18480" fmla="*/ 10487824 w 10505529"/>
              <a:gd name="connsiteY18480" fmla="*/ 4409477 h 7458372"/>
              <a:gd name="connsiteX18481" fmla="*/ 10475977 w 10505529"/>
              <a:gd name="connsiteY18481" fmla="*/ 4411740 h 7458372"/>
              <a:gd name="connsiteX18482" fmla="*/ 10454145 w 10505529"/>
              <a:gd name="connsiteY18482" fmla="*/ 4403220 h 7458372"/>
              <a:gd name="connsiteX18483" fmla="*/ 10445759 w 10505529"/>
              <a:gd name="connsiteY18483" fmla="*/ 4382054 h 7458372"/>
              <a:gd name="connsiteX18484" fmla="*/ 10454145 w 10505529"/>
              <a:gd name="connsiteY18484" fmla="*/ 4361021 h 7458372"/>
              <a:gd name="connsiteX18485" fmla="*/ 10475977 w 10505529"/>
              <a:gd name="connsiteY18485" fmla="*/ 4352369 h 7458372"/>
              <a:gd name="connsiteX18486" fmla="*/ 10258466 w 10505529"/>
              <a:gd name="connsiteY18486" fmla="*/ 4352369 h 7458372"/>
              <a:gd name="connsiteX18487" fmla="*/ 10270313 w 10505529"/>
              <a:gd name="connsiteY18487" fmla="*/ 4355031 h 7458372"/>
              <a:gd name="connsiteX18488" fmla="*/ 10279631 w 10505529"/>
              <a:gd name="connsiteY18488" fmla="*/ 4361421 h 7458372"/>
              <a:gd name="connsiteX18489" fmla="*/ 10285754 w 10505529"/>
              <a:gd name="connsiteY18489" fmla="*/ 4370739 h 7458372"/>
              <a:gd name="connsiteX18490" fmla="*/ 10288017 w 10505529"/>
              <a:gd name="connsiteY18490" fmla="*/ 4382187 h 7458372"/>
              <a:gd name="connsiteX18491" fmla="*/ 10285754 w 10505529"/>
              <a:gd name="connsiteY18491" fmla="*/ 4393902 h 7458372"/>
              <a:gd name="connsiteX18492" fmla="*/ 10279631 w 10505529"/>
              <a:gd name="connsiteY18492" fmla="*/ 4403220 h 7458372"/>
              <a:gd name="connsiteX18493" fmla="*/ 10270313 w 10505529"/>
              <a:gd name="connsiteY18493" fmla="*/ 4409477 h 7458372"/>
              <a:gd name="connsiteX18494" fmla="*/ 10258466 w 10505529"/>
              <a:gd name="connsiteY18494" fmla="*/ 4411740 h 7458372"/>
              <a:gd name="connsiteX18495" fmla="*/ 10236633 w 10505529"/>
              <a:gd name="connsiteY18495" fmla="*/ 4403220 h 7458372"/>
              <a:gd name="connsiteX18496" fmla="*/ 10228247 w 10505529"/>
              <a:gd name="connsiteY18496" fmla="*/ 4382054 h 7458372"/>
              <a:gd name="connsiteX18497" fmla="*/ 10236633 w 10505529"/>
              <a:gd name="connsiteY18497" fmla="*/ 4361021 h 7458372"/>
              <a:gd name="connsiteX18498" fmla="*/ 10258466 w 10505529"/>
              <a:gd name="connsiteY18498" fmla="*/ 4352369 h 7458372"/>
              <a:gd name="connsiteX18499" fmla="*/ 10040820 w 10505529"/>
              <a:gd name="connsiteY18499" fmla="*/ 4352369 h 7458372"/>
              <a:gd name="connsiteX18500" fmla="*/ 10052534 w 10505529"/>
              <a:gd name="connsiteY18500" fmla="*/ 4355031 h 7458372"/>
              <a:gd name="connsiteX18501" fmla="*/ 10061852 w 10505529"/>
              <a:gd name="connsiteY18501" fmla="*/ 4361421 h 7458372"/>
              <a:gd name="connsiteX18502" fmla="*/ 10067976 w 10505529"/>
              <a:gd name="connsiteY18502" fmla="*/ 4370739 h 7458372"/>
              <a:gd name="connsiteX18503" fmla="*/ 10070239 w 10505529"/>
              <a:gd name="connsiteY18503" fmla="*/ 4382187 h 7458372"/>
              <a:gd name="connsiteX18504" fmla="*/ 10067976 w 10505529"/>
              <a:gd name="connsiteY18504" fmla="*/ 4393902 h 7458372"/>
              <a:gd name="connsiteX18505" fmla="*/ 10061852 w 10505529"/>
              <a:gd name="connsiteY18505" fmla="*/ 4403220 h 7458372"/>
              <a:gd name="connsiteX18506" fmla="*/ 10052534 w 10505529"/>
              <a:gd name="connsiteY18506" fmla="*/ 4409477 h 7458372"/>
              <a:gd name="connsiteX18507" fmla="*/ 10040820 w 10505529"/>
              <a:gd name="connsiteY18507" fmla="*/ 4411740 h 7458372"/>
              <a:gd name="connsiteX18508" fmla="*/ 10018988 w 10505529"/>
              <a:gd name="connsiteY18508" fmla="*/ 4403220 h 7458372"/>
              <a:gd name="connsiteX18509" fmla="*/ 10010602 w 10505529"/>
              <a:gd name="connsiteY18509" fmla="*/ 4382054 h 7458372"/>
              <a:gd name="connsiteX18510" fmla="*/ 10018988 w 10505529"/>
              <a:gd name="connsiteY18510" fmla="*/ 4361021 h 7458372"/>
              <a:gd name="connsiteX18511" fmla="*/ 10040820 w 10505529"/>
              <a:gd name="connsiteY18511" fmla="*/ 4352369 h 7458372"/>
              <a:gd name="connsiteX18512" fmla="*/ 9823176 w 10505529"/>
              <a:gd name="connsiteY18512" fmla="*/ 4352369 h 7458372"/>
              <a:gd name="connsiteX18513" fmla="*/ 9834890 w 10505529"/>
              <a:gd name="connsiteY18513" fmla="*/ 4355031 h 7458372"/>
              <a:gd name="connsiteX18514" fmla="*/ 9844208 w 10505529"/>
              <a:gd name="connsiteY18514" fmla="*/ 4361421 h 7458372"/>
              <a:gd name="connsiteX18515" fmla="*/ 9850331 w 10505529"/>
              <a:gd name="connsiteY18515" fmla="*/ 4370739 h 7458372"/>
              <a:gd name="connsiteX18516" fmla="*/ 9852595 w 10505529"/>
              <a:gd name="connsiteY18516" fmla="*/ 4382187 h 7458372"/>
              <a:gd name="connsiteX18517" fmla="*/ 9850331 w 10505529"/>
              <a:gd name="connsiteY18517" fmla="*/ 4393902 h 7458372"/>
              <a:gd name="connsiteX18518" fmla="*/ 9844208 w 10505529"/>
              <a:gd name="connsiteY18518" fmla="*/ 4403220 h 7458372"/>
              <a:gd name="connsiteX18519" fmla="*/ 9834890 w 10505529"/>
              <a:gd name="connsiteY18519" fmla="*/ 4409477 h 7458372"/>
              <a:gd name="connsiteX18520" fmla="*/ 9823176 w 10505529"/>
              <a:gd name="connsiteY18520" fmla="*/ 4411740 h 7458372"/>
              <a:gd name="connsiteX18521" fmla="*/ 9801343 w 10505529"/>
              <a:gd name="connsiteY18521" fmla="*/ 4403220 h 7458372"/>
              <a:gd name="connsiteX18522" fmla="*/ 9792957 w 10505529"/>
              <a:gd name="connsiteY18522" fmla="*/ 4382054 h 7458372"/>
              <a:gd name="connsiteX18523" fmla="*/ 9801343 w 10505529"/>
              <a:gd name="connsiteY18523" fmla="*/ 4361021 h 7458372"/>
              <a:gd name="connsiteX18524" fmla="*/ 9823176 w 10505529"/>
              <a:gd name="connsiteY18524" fmla="*/ 4352369 h 7458372"/>
              <a:gd name="connsiteX18525" fmla="*/ 9605531 w 10505529"/>
              <a:gd name="connsiteY18525" fmla="*/ 4352369 h 7458372"/>
              <a:gd name="connsiteX18526" fmla="*/ 9617245 w 10505529"/>
              <a:gd name="connsiteY18526" fmla="*/ 4355031 h 7458372"/>
              <a:gd name="connsiteX18527" fmla="*/ 9626562 w 10505529"/>
              <a:gd name="connsiteY18527" fmla="*/ 4361421 h 7458372"/>
              <a:gd name="connsiteX18528" fmla="*/ 9632686 w 10505529"/>
              <a:gd name="connsiteY18528" fmla="*/ 4370739 h 7458372"/>
              <a:gd name="connsiteX18529" fmla="*/ 9634949 w 10505529"/>
              <a:gd name="connsiteY18529" fmla="*/ 4382187 h 7458372"/>
              <a:gd name="connsiteX18530" fmla="*/ 9632686 w 10505529"/>
              <a:gd name="connsiteY18530" fmla="*/ 4393902 h 7458372"/>
              <a:gd name="connsiteX18531" fmla="*/ 9626562 w 10505529"/>
              <a:gd name="connsiteY18531" fmla="*/ 4403220 h 7458372"/>
              <a:gd name="connsiteX18532" fmla="*/ 9617245 w 10505529"/>
              <a:gd name="connsiteY18532" fmla="*/ 4409477 h 7458372"/>
              <a:gd name="connsiteX18533" fmla="*/ 9605531 w 10505529"/>
              <a:gd name="connsiteY18533" fmla="*/ 4411740 h 7458372"/>
              <a:gd name="connsiteX18534" fmla="*/ 9583698 w 10505529"/>
              <a:gd name="connsiteY18534" fmla="*/ 4403220 h 7458372"/>
              <a:gd name="connsiteX18535" fmla="*/ 9575312 w 10505529"/>
              <a:gd name="connsiteY18535" fmla="*/ 4382054 h 7458372"/>
              <a:gd name="connsiteX18536" fmla="*/ 9583698 w 10505529"/>
              <a:gd name="connsiteY18536" fmla="*/ 4361021 h 7458372"/>
              <a:gd name="connsiteX18537" fmla="*/ 9605531 w 10505529"/>
              <a:gd name="connsiteY18537" fmla="*/ 4352369 h 7458372"/>
              <a:gd name="connsiteX18538" fmla="*/ 9387885 w 10505529"/>
              <a:gd name="connsiteY18538" fmla="*/ 4352369 h 7458372"/>
              <a:gd name="connsiteX18539" fmla="*/ 9399599 w 10505529"/>
              <a:gd name="connsiteY18539" fmla="*/ 4355031 h 7458372"/>
              <a:gd name="connsiteX18540" fmla="*/ 9408917 w 10505529"/>
              <a:gd name="connsiteY18540" fmla="*/ 4361421 h 7458372"/>
              <a:gd name="connsiteX18541" fmla="*/ 9415041 w 10505529"/>
              <a:gd name="connsiteY18541" fmla="*/ 4370739 h 7458372"/>
              <a:gd name="connsiteX18542" fmla="*/ 9417304 w 10505529"/>
              <a:gd name="connsiteY18542" fmla="*/ 4382187 h 7458372"/>
              <a:gd name="connsiteX18543" fmla="*/ 9415041 w 10505529"/>
              <a:gd name="connsiteY18543" fmla="*/ 4393902 h 7458372"/>
              <a:gd name="connsiteX18544" fmla="*/ 9408917 w 10505529"/>
              <a:gd name="connsiteY18544" fmla="*/ 4403220 h 7458372"/>
              <a:gd name="connsiteX18545" fmla="*/ 9399599 w 10505529"/>
              <a:gd name="connsiteY18545" fmla="*/ 4409477 h 7458372"/>
              <a:gd name="connsiteX18546" fmla="*/ 9387885 w 10505529"/>
              <a:gd name="connsiteY18546" fmla="*/ 4411740 h 7458372"/>
              <a:gd name="connsiteX18547" fmla="*/ 9366053 w 10505529"/>
              <a:gd name="connsiteY18547" fmla="*/ 4403220 h 7458372"/>
              <a:gd name="connsiteX18548" fmla="*/ 9357667 w 10505529"/>
              <a:gd name="connsiteY18548" fmla="*/ 4382054 h 7458372"/>
              <a:gd name="connsiteX18549" fmla="*/ 9366053 w 10505529"/>
              <a:gd name="connsiteY18549" fmla="*/ 4361021 h 7458372"/>
              <a:gd name="connsiteX18550" fmla="*/ 9387885 w 10505529"/>
              <a:gd name="connsiteY18550" fmla="*/ 4352369 h 7458372"/>
              <a:gd name="connsiteX18551" fmla="*/ 9170374 w 10505529"/>
              <a:gd name="connsiteY18551" fmla="*/ 4352369 h 7458372"/>
              <a:gd name="connsiteX18552" fmla="*/ 9182088 w 10505529"/>
              <a:gd name="connsiteY18552" fmla="*/ 4355031 h 7458372"/>
              <a:gd name="connsiteX18553" fmla="*/ 9191405 w 10505529"/>
              <a:gd name="connsiteY18553" fmla="*/ 4361421 h 7458372"/>
              <a:gd name="connsiteX18554" fmla="*/ 9197529 w 10505529"/>
              <a:gd name="connsiteY18554" fmla="*/ 4370739 h 7458372"/>
              <a:gd name="connsiteX18555" fmla="*/ 9199792 w 10505529"/>
              <a:gd name="connsiteY18555" fmla="*/ 4382187 h 7458372"/>
              <a:gd name="connsiteX18556" fmla="*/ 9197529 w 10505529"/>
              <a:gd name="connsiteY18556" fmla="*/ 4393902 h 7458372"/>
              <a:gd name="connsiteX18557" fmla="*/ 9191405 w 10505529"/>
              <a:gd name="connsiteY18557" fmla="*/ 4403220 h 7458372"/>
              <a:gd name="connsiteX18558" fmla="*/ 9182088 w 10505529"/>
              <a:gd name="connsiteY18558" fmla="*/ 4409477 h 7458372"/>
              <a:gd name="connsiteX18559" fmla="*/ 9170374 w 10505529"/>
              <a:gd name="connsiteY18559" fmla="*/ 4411740 h 7458372"/>
              <a:gd name="connsiteX18560" fmla="*/ 9148541 w 10505529"/>
              <a:gd name="connsiteY18560" fmla="*/ 4403220 h 7458372"/>
              <a:gd name="connsiteX18561" fmla="*/ 9140155 w 10505529"/>
              <a:gd name="connsiteY18561" fmla="*/ 4382054 h 7458372"/>
              <a:gd name="connsiteX18562" fmla="*/ 9148541 w 10505529"/>
              <a:gd name="connsiteY18562" fmla="*/ 4361021 h 7458372"/>
              <a:gd name="connsiteX18563" fmla="*/ 9170374 w 10505529"/>
              <a:gd name="connsiteY18563" fmla="*/ 4352369 h 7458372"/>
              <a:gd name="connsiteX18564" fmla="*/ 8952728 w 10505529"/>
              <a:gd name="connsiteY18564" fmla="*/ 4352369 h 7458372"/>
              <a:gd name="connsiteX18565" fmla="*/ 8964442 w 10505529"/>
              <a:gd name="connsiteY18565" fmla="*/ 4355031 h 7458372"/>
              <a:gd name="connsiteX18566" fmla="*/ 8973760 w 10505529"/>
              <a:gd name="connsiteY18566" fmla="*/ 4361421 h 7458372"/>
              <a:gd name="connsiteX18567" fmla="*/ 8979884 w 10505529"/>
              <a:gd name="connsiteY18567" fmla="*/ 4370739 h 7458372"/>
              <a:gd name="connsiteX18568" fmla="*/ 8982147 w 10505529"/>
              <a:gd name="connsiteY18568" fmla="*/ 4382187 h 7458372"/>
              <a:gd name="connsiteX18569" fmla="*/ 8979884 w 10505529"/>
              <a:gd name="connsiteY18569" fmla="*/ 4393902 h 7458372"/>
              <a:gd name="connsiteX18570" fmla="*/ 8973760 w 10505529"/>
              <a:gd name="connsiteY18570" fmla="*/ 4403220 h 7458372"/>
              <a:gd name="connsiteX18571" fmla="*/ 8964442 w 10505529"/>
              <a:gd name="connsiteY18571" fmla="*/ 4409477 h 7458372"/>
              <a:gd name="connsiteX18572" fmla="*/ 8952728 w 10505529"/>
              <a:gd name="connsiteY18572" fmla="*/ 4411740 h 7458372"/>
              <a:gd name="connsiteX18573" fmla="*/ 8930896 w 10505529"/>
              <a:gd name="connsiteY18573" fmla="*/ 4403220 h 7458372"/>
              <a:gd name="connsiteX18574" fmla="*/ 8922510 w 10505529"/>
              <a:gd name="connsiteY18574" fmla="*/ 4382054 h 7458372"/>
              <a:gd name="connsiteX18575" fmla="*/ 8930896 w 10505529"/>
              <a:gd name="connsiteY18575" fmla="*/ 4361021 h 7458372"/>
              <a:gd name="connsiteX18576" fmla="*/ 8952728 w 10505529"/>
              <a:gd name="connsiteY18576" fmla="*/ 4352369 h 7458372"/>
              <a:gd name="connsiteX18577" fmla="*/ 8735083 w 10505529"/>
              <a:gd name="connsiteY18577" fmla="*/ 4352369 h 7458372"/>
              <a:gd name="connsiteX18578" fmla="*/ 8746797 w 10505529"/>
              <a:gd name="connsiteY18578" fmla="*/ 4355031 h 7458372"/>
              <a:gd name="connsiteX18579" fmla="*/ 8756115 w 10505529"/>
              <a:gd name="connsiteY18579" fmla="*/ 4361421 h 7458372"/>
              <a:gd name="connsiteX18580" fmla="*/ 8762238 w 10505529"/>
              <a:gd name="connsiteY18580" fmla="*/ 4370739 h 7458372"/>
              <a:gd name="connsiteX18581" fmla="*/ 8764502 w 10505529"/>
              <a:gd name="connsiteY18581" fmla="*/ 4382187 h 7458372"/>
              <a:gd name="connsiteX18582" fmla="*/ 8762238 w 10505529"/>
              <a:gd name="connsiteY18582" fmla="*/ 4393902 h 7458372"/>
              <a:gd name="connsiteX18583" fmla="*/ 8756115 w 10505529"/>
              <a:gd name="connsiteY18583" fmla="*/ 4403220 h 7458372"/>
              <a:gd name="connsiteX18584" fmla="*/ 8746797 w 10505529"/>
              <a:gd name="connsiteY18584" fmla="*/ 4409477 h 7458372"/>
              <a:gd name="connsiteX18585" fmla="*/ 8735083 w 10505529"/>
              <a:gd name="connsiteY18585" fmla="*/ 4411740 h 7458372"/>
              <a:gd name="connsiteX18586" fmla="*/ 8713250 w 10505529"/>
              <a:gd name="connsiteY18586" fmla="*/ 4403220 h 7458372"/>
              <a:gd name="connsiteX18587" fmla="*/ 8704864 w 10505529"/>
              <a:gd name="connsiteY18587" fmla="*/ 4382054 h 7458372"/>
              <a:gd name="connsiteX18588" fmla="*/ 8713250 w 10505529"/>
              <a:gd name="connsiteY18588" fmla="*/ 4361021 h 7458372"/>
              <a:gd name="connsiteX18589" fmla="*/ 8735083 w 10505529"/>
              <a:gd name="connsiteY18589" fmla="*/ 4352369 h 7458372"/>
              <a:gd name="connsiteX18590" fmla="*/ 8517438 w 10505529"/>
              <a:gd name="connsiteY18590" fmla="*/ 4352369 h 7458372"/>
              <a:gd name="connsiteX18591" fmla="*/ 8529152 w 10505529"/>
              <a:gd name="connsiteY18591" fmla="*/ 4355031 h 7458372"/>
              <a:gd name="connsiteX18592" fmla="*/ 8538470 w 10505529"/>
              <a:gd name="connsiteY18592" fmla="*/ 4361421 h 7458372"/>
              <a:gd name="connsiteX18593" fmla="*/ 8544594 w 10505529"/>
              <a:gd name="connsiteY18593" fmla="*/ 4370739 h 7458372"/>
              <a:gd name="connsiteX18594" fmla="*/ 8546857 w 10505529"/>
              <a:gd name="connsiteY18594" fmla="*/ 4382187 h 7458372"/>
              <a:gd name="connsiteX18595" fmla="*/ 8544594 w 10505529"/>
              <a:gd name="connsiteY18595" fmla="*/ 4393902 h 7458372"/>
              <a:gd name="connsiteX18596" fmla="*/ 8538470 w 10505529"/>
              <a:gd name="connsiteY18596" fmla="*/ 4403220 h 7458372"/>
              <a:gd name="connsiteX18597" fmla="*/ 8529152 w 10505529"/>
              <a:gd name="connsiteY18597" fmla="*/ 4409477 h 7458372"/>
              <a:gd name="connsiteX18598" fmla="*/ 8517438 w 10505529"/>
              <a:gd name="connsiteY18598" fmla="*/ 4411740 h 7458372"/>
              <a:gd name="connsiteX18599" fmla="*/ 8495606 w 10505529"/>
              <a:gd name="connsiteY18599" fmla="*/ 4403220 h 7458372"/>
              <a:gd name="connsiteX18600" fmla="*/ 8487220 w 10505529"/>
              <a:gd name="connsiteY18600" fmla="*/ 4382054 h 7458372"/>
              <a:gd name="connsiteX18601" fmla="*/ 8495606 w 10505529"/>
              <a:gd name="connsiteY18601" fmla="*/ 4361021 h 7458372"/>
              <a:gd name="connsiteX18602" fmla="*/ 8517438 w 10505529"/>
              <a:gd name="connsiteY18602" fmla="*/ 4352369 h 7458372"/>
              <a:gd name="connsiteX18603" fmla="*/ 8299793 w 10505529"/>
              <a:gd name="connsiteY18603" fmla="*/ 4352369 h 7458372"/>
              <a:gd name="connsiteX18604" fmla="*/ 8311507 w 10505529"/>
              <a:gd name="connsiteY18604" fmla="*/ 4355031 h 7458372"/>
              <a:gd name="connsiteX18605" fmla="*/ 8320825 w 10505529"/>
              <a:gd name="connsiteY18605" fmla="*/ 4361421 h 7458372"/>
              <a:gd name="connsiteX18606" fmla="*/ 8326948 w 10505529"/>
              <a:gd name="connsiteY18606" fmla="*/ 4370739 h 7458372"/>
              <a:gd name="connsiteX18607" fmla="*/ 8329212 w 10505529"/>
              <a:gd name="connsiteY18607" fmla="*/ 4382187 h 7458372"/>
              <a:gd name="connsiteX18608" fmla="*/ 8326948 w 10505529"/>
              <a:gd name="connsiteY18608" fmla="*/ 4393902 h 7458372"/>
              <a:gd name="connsiteX18609" fmla="*/ 8320825 w 10505529"/>
              <a:gd name="connsiteY18609" fmla="*/ 4403220 h 7458372"/>
              <a:gd name="connsiteX18610" fmla="*/ 8311507 w 10505529"/>
              <a:gd name="connsiteY18610" fmla="*/ 4409477 h 7458372"/>
              <a:gd name="connsiteX18611" fmla="*/ 8299793 w 10505529"/>
              <a:gd name="connsiteY18611" fmla="*/ 4411740 h 7458372"/>
              <a:gd name="connsiteX18612" fmla="*/ 8277960 w 10505529"/>
              <a:gd name="connsiteY18612" fmla="*/ 4403220 h 7458372"/>
              <a:gd name="connsiteX18613" fmla="*/ 8269574 w 10505529"/>
              <a:gd name="connsiteY18613" fmla="*/ 4382054 h 7458372"/>
              <a:gd name="connsiteX18614" fmla="*/ 8277960 w 10505529"/>
              <a:gd name="connsiteY18614" fmla="*/ 4361021 h 7458372"/>
              <a:gd name="connsiteX18615" fmla="*/ 8299793 w 10505529"/>
              <a:gd name="connsiteY18615" fmla="*/ 4352369 h 7458372"/>
              <a:gd name="connsiteX18616" fmla="*/ 8082281 w 10505529"/>
              <a:gd name="connsiteY18616" fmla="*/ 4352369 h 7458372"/>
              <a:gd name="connsiteX18617" fmla="*/ 8094127 w 10505529"/>
              <a:gd name="connsiteY18617" fmla="*/ 4355031 h 7458372"/>
              <a:gd name="connsiteX18618" fmla="*/ 8103446 w 10505529"/>
              <a:gd name="connsiteY18618" fmla="*/ 4361421 h 7458372"/>
              <a:gd name="connsiteX18619" fmla="*/ 8109569 w 10505529"/>
              <a:gd name="connsiteY18619" fmla="*/ 4370739 h 7458372"/>
              <a:gd name="connsiteX18620" fmla="*/ 8111832 w 10505529"/>
              <a:gd name="connsiteY18620" fmla="*/ 4382187 h 7458372"/>
              <a:gd name="connsiteX18621" fmla="*/ 8109569 w 10505529"/>
              <a:gd name="connsiteY18621" fmla="*/ 4393902 h 7458372"/>
              <a:gd name="connsiteX18622" fmla="*/ 8103446 w 10505529"/>
              <a:gd name="connsiteY18622" fmla="*/ 4403220 h 7458372"/>
              <a:gd name="connsiteX18623" fmla="*/ 8094127 w 10505529"/>
              <a:gd name="connsiteY18623" fmla="*/ 4409477 h 7458372"/>
              <a:gd name="connsiteX18624" fmla="*/ 8082281 w 10505529"/>
              <a:gd name="connsiteY18624" fmla="*/ 4411740 h 7458372"/>
              <a:gd name="connsiteX18625" fmla="*/ 8060448 w 10505529"/>
              <a:gd name="connsiteY18625" fmla="*/ 4403220 h 7458372"/>
              <a:gd name="connsiteX18626" fmla="*/ 8052062 w 10505529"/>
              <a:gd name="connsiteY18626" fmla="*/ 4382054 h 7458372"/>
              <a:gd name="connsiteX18627" fmla="*/ 8060448 w 10505529"/>
              <a:gd name="connsiteY18627" fmla="*/ 4361021 h 7458372"/>
              <a:gd name="connsiteX18628" fmla="*/ 8082281 w 10505529"/>
              <a:gd name="connsiteY18628" fmla="*/ 4352369 h 7458372"/>
              <a:gd name="connsiteX18629" fmla="*/ 7864636 w 10505529"/>
              <a:gd name="connsiteY18629" fmla="*/ 4352369 h 7458372"/>
              <a:gd name="connsiteX18630" fmla="*/ 7876483 w 10505529"/>
              <a:gd name="connsiteY18630" fmla="*/ 4355031 h 7458372"/>
              <a:gd name="connsiteX18631" fmla="*/ 7885802 w 10505529"/>
              <a:gd name="connsiteY18631" fmla="*/ 4361421 h 7458372"/>
              <a:gd name="connsiteX18632" fmla="*/ 7891924 w 10505529"/>
              <a:gd name="connsiteY18632" fmla="*/ 4370739 h 7458372"/>
              <a:gd name="connsiteX18633" fmla="*/ 7894188 w 10505529"/>
              <a:gd name="connsiteY18633" fmla="*/ 4382187 h 7458372"/>
              <a:gd name="connsiteX18634" fmla="*/ 7891924 w 10505529"/>
              <a:gd name="connsiteY18634" fmla="*/ 4393902 h 7458372"/>
              <a:gd name="connsiteX18635" fmla="*/ 7885802 w 10505529"/>
              <a:gd name="connsiteY18635" fmla="*/ 4403220 h 7458372"/>
              <a:gd name="connsiteX18636" fmla="*/ 7876483 w 10505529"/>
              <a:gd name="connsiteY18636" fmla="*/ 4409477 h 7458372"/>
              <a:gd name="connsiteX18637" fmla="*/ 7864636 w 10505529"/>
              <a:gd name="connsiteY18637" fmla="*/ 4411740 h 7458372"/>
              <a:gd name="connsiteX18638" fmla="*/ 7842803 w 10505529"/>
              <a:gd name="connsiteY18638" fmla="*/ 4403220 h 7458372"/>
              <a:gd name="connsiteX18639" fmla="*/ 7834417 w 10505529"/>
              <a:gd name="connsiteY18639" fmla="*/ 4382054 h 7458372"/>
              <a:gd name="connsiteX18640" fmla="*/ 7842803 w 10505529"/>
              <a:gd name="connsiteY18640" fmla="*/ 4361021 h 7458372"/>
              <a:gd name="connsiteX18641" fmla="*/ 7864636 w 10505529"/>
              <a:gd name="connsiteY18641" fmla="*/ 4352369 h 7458372"/>
              <a:gd name="connsiteX18642" fmla="*/ 7646991 w 10505529"/>
              <a:gd name="connsiteY18642" fmla="*/ 4352369 h 7458372"/>
              <a:gd name="connsiteX18643" fmla="*/ 7658705 w 10505529"/>
              <a:gd name="connsiteY18643" fmla="*/ 4355031 h 7458372"/>
              <a:gd name="connsiteX18644" fmla="*/ 7668022 w 10505529"/>
              <a:gd name="connsiteY18644" fmla="*/ 4361421 h 7458372"/>
              <a:gd name="connsiteX18645" fmla="*/ 7674146 w 10505529"/>
              <a:gd name="connsiteY18645" fmla="*/ 4370739 h 7458372"/>
              <a:gd name="connsiteX18646" fmla="*/ 7676409 w 10505529"/>
              <a:gd name="connsiteY18646" fmla="*/ 4382187 h 7458372"/>
              <a:gd name="connsiteX18647" fmla="*/ 7674146 w 10505529"/>
              <a:gd name="connsiteY18647" fmla="*/ 4393902 h 7458372"/>
              <a:gd name="connsiteX18648" fmla="*/ 7668022 w 10505529"/>
              <a:gd name="connsiteY18648" fmla="*/ 4403220 h 7458372"/>
              <a:gd name="connsiteX18649" fmla="*/ 7658705 w 10505529"/>
              <a:gd name="connsiteY18649" fmla="*/ 4409477 h 7458372"/>
              <a:gd name="connsiteX18650" fmla="*/ 7646991 w 10505529"/>
              <a:gd name="connsiteY18650" fmla="*/ 4411740 h 7458372"/>
              <a:gd name="connsiteX18651" fmla="*/ 7625158 w 10505529"/>
              <a:gd name="connsiteY18651" fmla="*/ 4403220 h 7458372"/>
              <a:gd name="connsiteX18652" fmla="*/ 7616772 w 10505529"/>
              <a:gd name="connsiteY18652" fmla="*/ 4382054 h 7458372"/>
              <a:gd name="connsiteX18653" fmla="*/ 7625158 w 10505529"/>
              <a:gd name="connsiteY18653" fmla="*/ 4361021 h 7458372"/>
              <a:gd name="connsiteX18654" fmla="*/ 7646991 w 10505529"/>
              <a:gd name="connsiteY18654" fmla="*/ 4352369 h 7458372"/>
              <a:gd name="connsiteX18655" fmla="*/ 7429345 w 10505529"/>
              <a:gd name="connsiteY18655" fmla="*/ 4352369 h 7458372"/>
              <a:gd name="connsiteX18656" fmla="*/ 7441059 w 10505529"/>
              <a:gd name="connsiteY18656" fmla="*/ 4355031 h 7458372"/>
              <a:gd name="connsiteX18657" fmla="*/ 7450377 w 10505529"/>
              <a:gd name="connsiteY18657" fmla="*/ 4361421 h 7458372"/>
              <a:gd name="connsiteX18658" fmla="*/ 7456501 w 10505529"/>
              <a:gd name="connsiteY18658" fmla="*/ 4370739 h 7458372"/>
              <a:gd name="connsiteX18659" fmla="*/ 7458764 w 10505529"/>
              <a:gd name="connsiteY18659" fmla="*/ 4382187 h 7458372"/>
              <a:gd name="connsiteX18660" fmla="*/ 7456501 w 10505529"/>
              <a:gd name="connsiteY18660" fmla="*/ 4393902 h 7458372"/>
              <a:gd name="connsiteX18661" fmla="*/ 7450377 w 10505529"/>
              <a:gd name="connsiteY18661" fmla="*/ 4403220 h 7458372"/>
              <a:gd name="connsiteX18662" fmla="*/ 7441059 w 10505529"/>
              <a:gd name="connsiteY18662" fmla="*/ 4409477 h 7458372"/>
              <a:gd name="connsiteX18663" fmla="*/ 7429345 w 10505529"/>
              <a:gd name="connsiteY18663" fmla="*/ 4411740 h 7458372"/>
              <a:gd name="connsiteX18664" fmla="*/ 7407513 w 10505529"/>
              <a:gd name="connsiteY18664" fmla="*/ 4403220 h 7458372"/>
              <a:gd name="connsiteX18665" fmla="*/ 7399127 w 10505529"/>
              <a:gd name="connsiteY18665" fmla="*/ 4382054 h 7458372"/>
              <a:gd name="connsiteX18666" fmla="*/ 7407513 w 10505529"/>
              <a:gd name="connsiteY18666" fmla="*/ 4361021 h 7458372"/>
              <a:gd name="connsiteX18667" fmla="*/ 7429345 w 10505529"/>
              <a:gd name="connsiteY18667" fmla="*/ 4352369 h 7458372"/>
              <a:gd name="connsiteX18668" fmla="*/ 7211701 w 10505529"/>
              <a:gd name="connsiteY18668" fmla="*/ 4352369 h 7458372"/>
              <a:gd name="connsiteX18669" fmla="*/ 7223415 w 10505529"/>
              <a:gd name="connsiteY18669" fmla="*/ 4355031 h 7458372"/>
              <a:gd name="connsiteX18670" fmla="*/ 7232733 w 10505529"/>
              <a:gd name="connsiteY18670" fmla="*/ 4361421 h 7458372"/>
              <a:gd name="connsiteX18671" fmla="*/ 7238856 w 10505529"/>
              <a:gd name="connsiteY18671" fmla="*/ 4370739 h 7458372"/>
              <a:gd name="connsiteX18672" fmla="*/ 7241120 w 10505529"/>
              <a:gd name="connsiteY18672" fmla="*/ 4382187 h 7458372"/>
              <a:gd name="connsiteX18673" fmla="*/ 7238856 w 10505529"/>
              <a:gd name="connsiteY18673" fmla="*/ 4393902 h 7458372"/>
              <a:gd name="connsiteX18674" fmla="*/ 7232733 w 10505529"/>
              <a:gd name="connsiteY18674" fmla="*/ 4403220 h 7458372"/>
              <a:gd name="connsiteX18675" fmla="*/ 7223415 w 10505529"/>
              <a:gd name="connsiteY18675" fmla="*/ 4409477 h 7458372"/>
              <a:gd name="connsiteX18676" fmla="*/ 7211701 w 10505529"/>
              <a:gd name="connsiteY18676" fmla="*/ 4411740 h 7458372"/>
              <a:gd name="connsiteX18677" fmla="*/ 7189868 w 10505529"/>
              <a:gd name="connsiteY18677" fmla="*/ 4403220 h 7458372"/>
              <a:gd name="connsiteX18678" fmla="*/ 7181482 w 10505529"/>
              <a:gd name="connsiteY18678" fmla="*/ 4382054 h 7458372"/>
              <a:gd name="connsiteX18679" fmla="*/ 7189868 w 10505529"/>
              <a:gd name="connsiteY18679" fmla="*/ 4361021 h 7458372"/>
              <a:gd name="connsiteX18680" fmla="*/ 7211701 w 10505529"/>
              <a:gd name="connsiteY18680" fmla="*/ 4352369 h 7458372"/>
              <a:gd name="connsiteX18681" fmla="*/ 6994056 w 10505529"/>
              <a:gd name="connsiteY18681" fmla="*/ 4352369 h 7458372"/>
              <a:gd name="connsiteX18682" fmla="*/ 7005769 w 10505529"/>
              <a:gd name="connsiteY18682" fmla="*/ 4355031 h 7458372"/>
              <a:gd name="connsiteX18683" fmla="*/ 7015087 w 10505529"/>
              <a:gd name="connsiteY18683" fmla="*/ 4361421 h 7458372"/>
              <a:gd name="connsiteX18684" fmla="*/ 7021211 w 10505529"/>
              <a:gd name="connsiteY18684" fmla="*/ 4370739 h 7458372"/>
              <a:gd name="connsiteX18685" fmla="*/ 7023474 w 10505529"/>
              <a:gd name="connsiteY18685" fmla="*/ 4382187 h 7458372"/>
              <a:gd name="connsiteX18686" fmla="*/ 7021211 w 10505529"/>
              <a:gd name="connsiteY18686" fmla="*/ 4393902 h 7458372"/>
              <a:gd name="connsiteX18687" fmla="*/ 7015087 w 10505529"/>
              <a:gd name="connsiteY18687" fmla="*/ 4403220 h 7458372"/>
              <a:gd name="connsiteX18688" fmla="*/ 7005769 w 10505529"/>
              <a:gd name="connsiteY18688" fmla="*/ 4409477 h 7458372"/>
              <a:gd name="connsiteX18689" fmla="*/ 6994056 w 10505529"/>
              <a:gd name="connsiteY18689" fmla="*/ 4411740 h 7458372"/>
              <a:gd name="connsiteX18690" fmla="*/ 6972223 w 10505529"/>
              <a:gd name="connsiteY18690" fmla="*/ 4403220 h 7458372"/>
              <a:gd name="connsiteX18691" fmla="*/ 6963837 w 10505529"/>
              <a:gd name="connsiteY18691" fmla="*/ 4382054 h 7458372"/>
              <a:gd name="connsiteX18692" fmla="*/ 6972223 w 10505529"/>
              <a:gd name="connsiteY18692" fmla="*/ 4361021 h 7458372"/>
              <a:gd name="connsiteX18693" fmla="*/ 6994056 w 10505529"/>
              <a:gd name="connsiteY18693" fmla="*/ 4352369 h 7458372"/>
              <a:gd name="connsiteX18694" fmla="*/ 6776544 w 10505529"/>
              <a:gd name="connsiteY18694" fmla="*/ 4352369 h 7458372"/>
              <a:gd name="connsiteX18695" fmla="*/ 6788258 w 10505529"/>
              <a:gd name="connsiteY18695" fmla="*/ 4355031 h 7458372"/>
              <a:gd name="connsiteX18696" fmla="*/ 6797576 w 10505529"/>
              <a:gd name="connsiteY18696" fmla="*/ 4361421 h 7458372"/>
              <a:gd name="connsiteX18697" fmla="*/ 6803699 w 10505529"/>
              <a:gd name="connsiteY18697" fmla="*/ 4370739 h 7458372"/>
              <a:gd name="connsiteX18698" fmla="*/ 6805963 w 10505529"/>
              <a:gd name="connsiteY18698" fmla="*/ 4382187 h 7458372"/>
              <a:gd name="connsiteX18699" fmla="*/ 6803699 w 10505529"/>
              <a:gd name="connsiteY18699" fmla="*/ 4393902 h 7458372"/>
              <a:gd name="connsiteX18700" fmla="*/ 6797576 w 10505529"/>
              <a:gd name="connsiteY18700" fmla="*/ 4403220 h 7458372"/>
              <a:gd name="connsiteX18701" fmla="*/ 6788258 w 10505529"/>
              <a:gd name="connsiteY18701" fmla="*/ 4409477 h 7458372"/>
              <a:gd name="connsiteX18702" fmla="*/ 6776544 w 10505529"/>
              <a:gd name="connsiteY18702" fmla="*/ 4411740 h 7458372"/>
              <a:gd name="connsiteX18703" fmla="*/ 6754711 w 10505529"/>
              <a:gd name="connsiteY18703" fmla="*/ 4403220 h 7458372"/>
              <a:gd name="connsiteX18704" fmla="*/ 6746325 w 10505529"/>
              <a:gd name="connsiteY18704" fmla="*/ 4382054 h 7458372"/>
              <a:gd name="connsiteX18705" fmla="*/ 6754711 w 10505529"/>
              <a:gd name="connsiteY18705" fmla="*/ 4361021 h 7458372"/>
              <a:gd name="connsiteX18706" fmla="*/ 6776544 w 10505529"/>
              <a:gd name="connsiteY18706" fmla="*/ 4352369 h 7458372"/>
              <a:gd name="connsiteX18707" fmla="*/ 6558899 w 10505529"/>
              <a:gd name="connsiteY18707" fmla="*/ 4352369 h 7458372"/>
              <a:gd name="connsiteX18708" fmla="*/ 6570612 w 10505529"/>
              <a:gd name="connsiteY18708" fmla="*/ 4355031 h 7458372"/>
              <a:gd name="connsiteX18709" fmla="*/ 6579930 w 10505529"/>
              <a:gd name="connsiteY18709" fmla="*/ 4361421 h 7458372"/>
              <a:gd name="connsiteX18710" fmla="*/ 6586054 w 10505529"/>
              <a:gd name="connsiteY18710" fmla="*/ 4370739 h 7458372"/>
              <a:gd name="connsiteX18711" fmla="*/ 6588317 w 10505529"/>
              <a:gd name="connsiteY18711" fmla="*/ 4382187 h 7458372"/>
              <a:gd name="connsiteX18712" fmla="*/ 6586054 w 10505529"/>
              <a:gd name="connsiteY18712" fmla="*/ 4393902 h 7458372"/>
              <a:gd name="connsiteX18713" fmla="*/ 6579930 w 10505529"/>
              <a:gd name="connsiteY18713" fmla="*/ 4403220 h 7458372"/>
              <a:gd name="connsiteX18714" fmla="*/ 6570612 w 10505529"/>
              <a:gd name="connsiteY18714" fmla="*/ 4409477 h 7458372"/>
              <a:gd name="connsiteX18715" fmla="*/ 6558899 w 10505529"/>
              <a:gd name="connsiteY18715" fmla="*/ 4411740 h 7458372"/>
              <a:gd name="connsiteX18716" fmla="*/ 6537066 w 10505529"/>
              <a:gd name="connsiteY18716" fmla="*/ 4403220 h 7458372"/>
              <a:gd name="connsiteX18717" fmla="*/ 6528680 w 10505529"/>
              <a:gd name="connsiteY18717" fmla="*/ 4382054 h 7458372"/>
              <a:gd name="connsiteX18718" fmla="*/ 6537066 w 10505529"/>
              <a:gd name="connsiteY18718" fmla="*/ 4361021 h 7458372"/>
              <a:gd name="connsiteX18719" fmla="*/ 6558899 w 10505529"/>
              <a:gd name="connsiteY18719" fmla="*/ 4352369 h 7458372"/>
              <a:gd name="connsiteX18720" fmla="*/ 6341253 w 10505529"/>
              <a:gd name="connsiteY18720" fmla="*/ 4352369 h 7458372"/>
              <a:gd name="connsiteX18721" fmla="*/ 6352968 w 10505529"/>
              <a:gd name="connsiteY18721" fmla="*/ 4355031 h 7458372"/>
              <a:gd name="connsiteX18722" fmla="*/ 6362286 w 10505529"/>
              <a:gd name="connsiteY18722" fmla="*/ 4361421 h 7458372"/>
              <a:gd name="connsiteX18723" fmla="*/ 6368409 w 10505529"/>
              <a:gd name="connsiteY18723" fmla="*/ 4370739 h 7458372"/>
              <a:gd name="connsiteX18724" fmla="*/ 6370672 w 10505529"/>
              <a:gd name="connsiteY18724" fmla="*/ 4382187 h 7458372"/>
              <a:gd name="connsiteX18725" fmla="*/ 6368409 w 10505529"/>
              <a:gd name="connsiteY18725" fmla="*/ 4393902 h 7458372"/>
              <a:gd name="connsiteX18726" fmla="*/ 6362286 w 10505529"/>
              <a:gd name="connsiteY18726" fmla="*/ 4403220 h 7458372"/>
              <a:gd name="connsiteX18727" fmla="*/ 6352968 w 10505529"/>
              <a:gd name="connsiteY18727" fmla="*/ 4409477 h 7458372"/>
              <a:gd name="connsiteX18728" fmla="*/ 6341253 w 10505529"/>
              <a:gd name="connsiteY18728" fmla="*/ 4411740 h 7458372"/>
              <a:gd name="connsiteX18729" fmla="*/ 6319421 w 10505529"/>
              <a:gd name="connsiteY18729" fmla="*/ 4403220 h 7458372"/>
              <a:gd name="connsiteX18730" fmla="*/ 6311035 w 10505529"/>
              <a:gd name="connsiteY18730" fmla="*/ 4382054 h 7458372"/>
              <a:gd name="connsiteX18731" fmla="*/ 6319421 w 10505529"/>
              <a:gd name="connsiteY18731" fmla="*/ 4361021 h 7458372"/>
              <a:gd name="connsiteX18732" fmla="*/ 6341253 w 10505529"/>
              <a:gd name="connsiteY18732" fmla="*/ 4352369 h 7458372"/>
              <a:gd name="connsiteX18733" fmla="*/ 6123608 w 10505529"/>
              <a:gd name="connsiteY18733" fmla="*/ 4352369 h 7458372"/>
              <a:gd name="connsiteX18734" fmla="*/ 6135322 w 10505529"/>
              <a:gd name="connsiteY18734" fmla="*/ 4355031 h 7458372"/>
              <a:gd name="connsiteX18735" fmla="*/ 6144640 w 10505529"/>
              <a:gd name="connsiteY18735" fmla="*/ 4361421 h 7458372"/>
              <a:gd name="connsiteX18736" fmla="*/ 6150763 w 10505529"/>
              <a:gd name="connsiteY18736" fmla="*/ 4370739 h 7458372"/>
              <a:gd name="connsiteX18737" fmla="*/ 6153026 w 10505529"/>
              <a:gd name="connsiteY18737" fmla="*/ 4382187 h 7458372"/>
              <a:gd name="connsiteX18738" fmla="*/ 6150763 w 10505529"/>
              <a:gd name="connsiteY18738" fmla="*/ 4393902 h 7458372"/>
              <a:gd name="connsiteX18739" fmla="*/ 6144640 w 10505529"/>
              <a:gd name="connsiteY18739" fmla="*/ 4403220 h 7458372"/>
              <a:gd name="connsiteX18740" fmla="*/ 6135322 w 10505529"/>
              <a:gd name="connsiteY18740" fmla="*/ 4409477 h 7458372"/>
              <a:gd name="connsiteX18741" fmla="*/ 6123608 w 10505529"/>
              <a:gd name="connsiteY18741" fmla="*/ 4411740 h 7458372"/>
              <a:gd name="connsiteX18742" fmla="*/ 6101775 w 10505529"/>
              <a:gd name="connsiteY18742" fmla="*/ 4403220 h 7458372"/>
              <a:gd name="connsiteX18743" fmla="*/ 6093389 w 10505529"/>
              <a:gd name="connsiteY18743" fmla="*/ 4382054 h 7458372"/>
              <a:gd name="connsiteX18744" fmla="*/ 6101775 w 10505529"/>
              <a:gd name="connsiteY18744" fmla="*/ 4361021 h 7458372"/>
              <a:gd name="connsiteX18745" fmla="*/ 6123608 w 10505529"/>
              <a:gd name="connsiteY18745" fmla="*/ 4352369 h 7458372"/>
              <a:gd name="connsiteX18746" fmla="*/ 5905963 w 10505529"/>
              <a:gd name="connsiteY18746" fmla="*/ 4352369 h 7458372"/>
              <a:gd name="connsiteX18747" fmla="*/ 5917677 w 10505529"/>
              <a:gd name="connsiteY18747" fmla="*/ 4355031 h 7458372"/>
              <a:gd name="connsiteX18748" fmla="*/ 5926995 w 10505529"/>
              <a:gd name="connsiteY18748" fmla="*/ 4361421 h 7458372"/>
              <a:gd name="connsiteX18749" fmla="*/ 5933118 w 10505529"/>
              <a:gd name="connsiteY18749" fmla="*/ 4370739 h 7458372"/>
              <a:gd name="connsiteX18750" fmla="*/ 5935381 w 10505529"/>
              <a:gd name="connsiteY18750" fmla="*/ 4382187 h 7458372"/>
              <a:gd name="connsiteX18751" fmla="*/ 5933118 w 10505529"/>
              <a:gd name="connsiteY18751" fmla="*/ 4393902 h 7458372"/>
              <a:gd name="connsiteX18752" fmla="*/ 5926995 w 10505529"/>
              <a:gd name="connsiteY18752" fmla="*/ 4403220 h 7458372"/>
              <a:gd name="connsiteX18753" fmla="*/ 5917677 w 10505529"/>
              <a:gd name="connsiteY18753" fmla="*/ 4409477 h 7458372"/>
              <a:gd name="connsiteX18754" fmla="*/ 5905963 w 10505529"/>
              <a:gd name="connsiteY18754" fmla="*/ 4411740 h 7458372"/>
              <a:gd name="connsiteX18755" fmla="*/ 5884130 w 10505529"/>
              <a:gd name="connsiteY18755" fmla="*/ 4403220 h 7458372"/>
              <a:gd name="connsiteX18756" fmla="*/ 5875744 w 10505529"/>
              <a:gd name="connsiteY18756" fmla="*/ 4382054 h 7458372"/>
              <a:gd name="connsiteX18757" fmla="*/ 5884130 w 10505529"/>
              <a:gd name="connsiteY18757" fmla="*/ 4361021 h 7458372"/>
              <a:gd name="connsiteX18758" fmla="*/ 5905963 w 10505529"/>
              <a:gd name="connsiteY18758" fmla="*/ 4352369 h 7458372"/>
              <a:gd name="connsiteX18759" fmla="*/ 5688451 w 10505529"/>
              <a:gd name="connsiteY18759" fmla="*/ 4352369 h 7458372"/>
              <a:gd name="connsiteX18760" fmla="*/ 5700165 w 10505529"/>
              <a:gd name="connsiteY18760" fmla="*/ 4355031 h 7458372"/>
              <a:gd name="connsiteX18761" fmla="*/ 5709483 w 10505529"/>
              <a:gd name="connsiteY18761" fmla="*/ 4361421 h 7458372"/>
              <a:gd name="connsiteX18762" fmla="*/ 5715606 w 10505529"/>
              <a:gd name="connsiteY18762" fmla="*/ 4370739 h 7458372"/>
              <a:gd name="connsiteX18763" fmla="*/ 5717869 w 10505529"/>
              <a:gd name="connsiteY18763" fmla="*/ 4382187 h 7458372"/>
              <a:gd name="connsiteX18764" fmla="*/ 5715606 w 10505529"/>
              <a:gd name="connsiteY18764" fmla="*/ 4393902 h 7458372"/>
              <a:gd name="connsiteX18765" fmla="*/ 5709483 w 10505529"/>
              <a:gd name="connsiteY18765" fmla="*/ 4403220 h 7458372"/>
              <a:gd name="connsiteX18766" fmla="*/ 5700165 w 10505529"/>
              <a:gd name="connsiteY18766" fmla="*/ 4409477 h 7458372"/>
              <a:gd name="connsiteX18767" fmla="*/ 5688451 w 10505529"/>
              <a:gd name="connsiteY18767" fmla="*/ 4411740 h 7458372"/>
              <a:gd name="connsiteX18768" fmla="*/ 5666618 w 10505529"/>
              <a:gd name="connsiteY18768" fmla="*/ 4403220 h 7458372"/>
              <a:gd name="connsiteX18769" fmla="*/ 5658232 w 10505529"/>
              <a:gd name="connsiteY18769" fmla="*/ 4382054 h 7458372"/>
              <a:gd name="connsiteX18770" fmla="*/ 5666618 w 10505529"/>
              <a:gd name="connsiteY18770" fmla="*/ 4361021 h 7458372"/>
              <a:gd name="connsiteX18771" fmla="*/ 5688451 w 10505529"/>
              <a:gd name="connsiteY18771" fmla="*/ 4352369 h 7458372"/>
              <a:gd name="connsiteX18772" fmla="*/ 5470806 w 10505529"/>
              <a:gd name="connsiteY18772" fmla="*/ 4352369 h 7458372"/>
              <a:gd name="connsiteX18773" fmla="*/ 5482520 w 10505529"/>
              <a:gd name="connsiteY18773" fmla="*/ 4355031 h 7458372"/>
              <a:gd name="connsiteX18774" fmla="*/ 5491838 w 10505529"/>
              <a:gd name="connsiteY18774" fmla="*/ 4361421 h 7458372"/>
              <a:gd name="connsiteX18775" fmla="*/ 5497961 w 10505529"/>
              <a:gd name="connsiteY18775" fmla="*/ 4370739 h 7458372"/>
              <a:gd name="connsiteX18776" fmla="*/ 5500224 w 10505529"/>
              <a:gd name="connsiteY18776" fmla="*/ 4382187 h 7458372"/>
              <a:gd name="connsiteX18777" fmla="*/ 5497961 w 10505529"/>
              <a:gd name="connsiteY18777" fmla="*/ 4393902 h 7458372"/>
              <a:gd name="connsiteX18778" fmla="*/ 5491838 w 10505529"/>
              <a:gd name="connsiteY18778" fmla="*/ 4403220 h 7458372"/>
              <a:gd name="connsiteX18779" fmla="*/ 5482520 w 10505529"/>
              <a:gd name="connsiteY18779" fmla="*/ 4409477 h 7458372"/>
              <a:gd name="connsiteX18780" fmla="*/ 5470806 w 10505529"/>
              <a:gd name="connsiteY18780" fmla="*/ 4411740 h 7458372"/>
              <a:gd name="connsiteX18781" fmla="*/ 5448973 w 10505529"/>
              <a:gd name="connsiteY18781" fmla="*/ 4403220 h 7458372"/>
              <a:gd name="connsiteX18782" fmla="*/ 5440587 w 10505529"/>
              <a:gd name="connsiteY18782" fmla="*/ 4382054 h 7458372"/>
              <a:gd name="connsiteX18783" fmla="*/ 5448973 w 10505529"/>
              <a:gd name="connsiteY18783" fmla="*/ 4361021 h 7458372"/>
              <a:gd name="connsiteX18784" fmla="*/ 5470806 w 10505529"/>
              <a:gd name="connsiteY18784" fmla="*/ 4352369 h 7458372"/>
              <a:gd name="connsiteX18785" fmla="*/ 5253160 w 10505529"/>
              <a:gd name="connsiteY18785" fmla="*/ 4352369 h 7458372"/>
              <a:gd name="connsiteX18786" fmla="*/ 5264875 w 10505529"/>
              <a:gd name="connsiteY18786" fmla="*/ 4355031 h 7458372"/>
              <a:gd name="connsiteX18787" fmla="*/ 5274192 w 10505529"/>
              <a:gd name="connsiteY18787" fmla="*/ 4361421 h 7458372"/>
              <a:gd name="connsiteX18788" fmla="*/ 5280316 w 10505529"/>
              <a:gd name="connsiteY18788" fmla="*/ 4370739 h 7458372"/>
              <a:gd name="connsiteX18789" fmla="*/ 5282579 w 10505529"/>
              <a:gd name="connsiteY18789" fmla="*/ 4382187 h 7458372"/>
              <a:gd name="connsiteX18790" fmla="*/ 5280316 w 10505529"/>
              <a:gd name="connsiteY18790" fmla="*/ 4393902 h 7458372"/>
              <a:gd name="connsiteX18791" fmla="*/ 5274192 w 10505529"/>
              <a:gd name="connsiteY18791" fmla="*/ 4403220 h 7458372"/>
              <a:gd name="connsiteX18792" fmla="*/ 5264875 w 10505529"/>
              <a:gd name="connsiteY18792" fmla="*/ 4409477 h 7458372"/>
              <a:gd name="connsiteX18793" fmla="*/ 5253160 w 10505529"/>
              <a:gd name="connsiteY18793" fmla="*/ 4411740 h 7458372"/>
              <a:gd name="connsiteX18794" fmla="*/ 5231328 w 10505529"/>
              <a:gd name="connsiteY18794" fmla="*/ 4403220 h 7458372"/>
              <a:gd name="connsiteX18795" fmla="*/ 5222942 w 10505529"/>
              <a:gd name="connsiteY18795" fmla="*/ 4382054 h 7458372"/>
              <a:gd name="connsiteX18796" fmla="*/ 5231328 w 10505529"/>
              <a:gd name="connsiteY18796" fmla="*/ 4361021 h 7458372"/>
              <a:gd name="connsiteX18797" fmla="*/ 5253160 w 10505529"/>
              <a:gd name="connsiteY18797" fmla="*/ 4352369 h 7458372"/>
              <a:gd name="connsiteX18798" fmla="*/ 5035515 w 10505529"/>
              <a:gd name="connsiteY18798" fmla="*/ 4352369 h 7458372"/>
              <a:gd name="connsiteX18799" fmla="*/ 5047230 w 10505529"/>
              <a:gd name="connsiteY18799" fmla="*/ 4355031 h 7458372"/>
              <a:gd name="connsiteX18800" fmla="*/ 5056548 w 10505529"/>
              <a:gd name="connsiteY18800" fmla="*/ 4361421 h 7458372"/>
              <a:gd name="connsiteX18801" fmla="*/ 5062671 w 10505529"/>
              <a:gd name="connsiteY18801" fmla="*/ 4370739 h 7458372"/>
              <a:gd name="connsiteX18802" fmla="*/ 5064934 w 10505529"/>
              <a:gd name="connsiteY18802" fmla="*/ 4382187 h 7458372"/>
              <a:gd name="connsiteX18803" fmla="*/ 5062671 w 10505529"/>
              <a:gd name="connsiteY18803" fmla="*/ 4393902 h 7458372"/>
              <a:gd name="connsiteX18804" fmla="*/ 5056548 w 10505529"/>
              <a:gd name="connsiteY18804" fmla="*/ 4403220 h 7458372"/>
              <a:gd name="connsiteX18805" fmla="*/ 5047230 w 10505529"/>
              <a:gd name="connsiteY18805" fmla="*/ 4409477 h 7458372"/>
              <a:gd name="connsiteX18806" fmla="*/ 5035515 w 10505529"/>
              <a:gd name="connsiteY18806" fmla="*/ 4411740 h 7458372"/>
              <a:gd name="connsiteX18807" fmla="*/ 5013683 w 10505529"/>
              <a:gd name="connsiteY18807" fmla="*/ 4403220 h 7458372"/>
              <a:gd name="connsiteX18808" fmla="*/ 5005297 w 10505529"/>
              <a:gd name="connsiteY18808" fmla="*/ 4382054 h 7458372"/>
              <a:gd name="connsiteX18809" fmla="*/ 5013683 w 10505529"/>
              <a:gd name="connsiteY18809" fmla="*/ 4361021 h 7458372"/>
              <a:gd name="connsiteX18810" fmla="*/ 5035515 w 10505529"/>
              <a:gd name="connsiteY18810" fmla="*/ 4352369 h 7458372"/>
              <a:gd name="connsiteX18811" fmla="*/ 4817870 w 10505529"/>
              <a:gd name="connsiteY18811" fmla="*/ 4352369 h 7458372"/>
              <a:gd name="connsiteX18812" fmla="*/ 4829585 w 10505529"/>
              <a:gd name="connsiteY18812" fmla="*/ 4355031 h 7458372"/>
              <a:gd name="connsiteX18813" fmla="*/ 4838903 w 10505529"/>
              <a:gd name="connsiteY18813" fmla="*/ 4361421 h 7458372"/>
              <a:gd name="connsiteX18814" fmla="*/ 4845026 w 10505529"/>
              <a:gd name="connsiteY18814" fmla="*/ 4370739 h 7458372"/>
              <a:gd name="connsiteX18815" fmla="*/ 4847289 w 10505529"/>
              <a:gd name="connsiteY18815" fmla="*/ 4382187 h 7458372"/>
              <a:gd name="connsiteX18816" fmla="*/ 4845026 w 10505529"/>
              <a:gd name="connsiteY18816" fmla="*/ 4393902 h 7458372"/>
              <a:gd name="connsiteX18817" fmla="*/ 4838903 w 10505529"/>
              <a:gd name="connsiteY18817" fmla="*/ 4403220 h 7458372"/>
              <a:gd name="connsiteX18818" fmla="*/ 4829585 w 10505529"/>
              <a:gd name="connsiteY18818" fmla="*/ 4409477 h 7458372"/>
              <a:gd name="connsiteX18819" fmla="*/ 4817870 w 10505529"/>
              <a:gd name="connsiteY18819" fmla="*/ 4411740 h 7458372"/>
              <a:gd name="connsiteX18820" fmla="*/ 4796038 w 10505529"/>
              <a:gd name="connsiteY18820" fmla="*/ 4403220 h 7458372"/>
              <a:gd name="connsiteX18821" fmla="*/ 4787652 w 10505529"/>
              <a:gd name="connsiteY18821" fmla="*/ 4382054 h 7458372"/>
              <a:gd name="connsiteX18822" fmla="*/ 4796038 w 10505529"/>
              <a:gd name="connsiteY18822" fmla="*/ 4361021 h 7458372"/>
              <a:gd name="connsiteX18823" fmla="*/ 4817870 w 10505529"/>
              <a:gd name="connsiteY18823" fmla="*/ 4352369 h 7458372"/>
              <a:gd name="connsiteX18824" fmla="*/ 4600226 w 10505529"/>
              <a:gd name="connsiteY18824" fmla="*/ 4352369 h 7458372"/>
              <a:gd name="connsiteX18825" fmla="*/ 4612073 w 10505529"/>
              <a:gd name="connsiteY18825" fmla="*/ 4355031 h 7458372"/>
              <a:gd name="connsiteX18826" fmla="*/ 4621391 w 10505529"/>
              <a:gd name="connsiteY18826" fmla="*/ 4361421 h 7458372"/>
              <a:gd name="connsiteX18827" fmla="*/ 4627514 w 10505529"/>
              <a:gd name="connsiteY18827" fmla="*/ 4370739 h 7458372"/>
              <a:gd name="connsiteX18828" fmla="*/ 4629777 w 10505529"/>
              <a:gd name="connsiteY18828" fmla="*/ 4382187 h 7458372"/>
              <a:gd name="connsiteX18829" fmla="*/ 4627514 w 10505529"/>
              <a:gd name="connsiteY18829" fmla="*/ 4393902 h 7458372"/>
              <a:gd name="connsiteX18830" fmla="*/ 4621391 w 10505529"/>
              <a:gd name="connsiteY18830" fmla="*/ 4403220 h 7458372"/>
              <a:gd name="connsiteX18831" fmla="*/ 4612073 w 10505529"/>
              <a:gd name="connsiteY18831" fmla="*/ 4409477 h 7458372"/>
              <a:gd name="connsiteX18832" fmla="*/ 4600226 w 10505529"/>
              <a:gd name="connsiteY18832" fmla="*/ 4411740 h 7458372"/>
              <a:gd name="connsiteX18833" fmla="*/ 4578393 w 10505529"/>
              <a:gd name="connsiteY18833" fmla="*/ 4403220 h 7458372"/>
              <a:gd name="connsiteX18834" fmla="*/ 4570007 w 10505529"/>
              <a:gd name="connsiteY18834" fmla="*/ 4382054 h 7458372"/>
              <a:gd name="connsiteX18835" fmla="*/ 4578393 w 10505529"/>
              <a:gd name="connsiteY18835" fmla="*/ 4361021 h 7458372"/>
              <a:gd name="connsiteX18836" fmla="*/ 4600226 w 10505529"/>
              <a:gd name="connsiteY18836" fmla="*/ 4352369 h 7458372"/>
              <a:gd name="connsiteX18837" fmla="*/ 4382713 w 10505529"/>
              <a:gd name="connsiteY18837" fmla="*/ 4352369 h 7458372"/>
              <a:gd name="connsiteX18838" fmla="*/ 4394428 w 10505529"/>
              <a:gd name="connsiteY18838" fmla="*/ 4355031 h 7458372"/>
              <a:gd name="connsiteX18839" fmla="*/ 4403746 w 10505529"/>
              <a:gd name="connsiteY18839" fmla="*/ 4361421 h 7458372"/>
              <a:gd name="connsiteX18840" fmla="*/ 4409869 w 10505529"/>
              <a:gd name="connsiteY18840" fmla="*/ 4370739 h 7458372"/>
              <a:gd name="connsiteX18841" fmla="*/ 4412132 w 10505529"/>
              <a:gd name="connsiteY18841" fmla="*/ 4382187 h 7458372"/>
              <a:gd name="connsiteX18842" fmla="*/ 4409869 w 10505529"/>
              <a:gd name="connsiteY18842" fmla="*/ 4393902 h 7458372"/>
              <a:gd name="connsiteX18843" fmla="*/ 4403746 w 10505529"/>
              <a:gd name="connsiteY18843" fmla="*/ 4403220 h 7458372"/>
              <a:gd name="connsiteX18844" fmla="*/ 4394428 w 10505529"/>
              <a:gd name="connsiteY18844" fmla="*/ 4409477 h 7458372"/>
              <a:gd name="connsiteX18845" fmla="*/ 4382713 w 10505529"/>
              <a:gd name="connsiteY18845" fmla="*/ 4411740 h 7458372"/>
              <a:gd name="connsiteX18846" fmla="*/ 4360881 w 10505529"/>
              <a:gd name="connsiteY18846" fmla="*/ 4403220 h 7458372"/>
              <a:gd name="connsiteX18847" fmla="*/ 4352495 w 10505529"/>
              <a:gd name="connsiteY18847" fmla="*/ 4382054 h 7458372"/>
              <a:gd name="connsiteX18848" fmla="*/ 4360881 w 10505529"/>
              <a:gd name="connsiteY18848" fmla="*/ 4361021 h 7458372"/>
              <a:gd name="connsiteX18849" fmla="*/ 4382713 w 10505529"/>
              <a:gd name="connsiteY18849" fmla="*/ 4352369 h 7458372"/>
              <a:gd name="connsiteX18850" fmla="*/ 4165068 w 10505529"/>
              <a:gd name="connsiteY18850" fmla="*/ 4352369 h 7458372"/>
              <a:gd name="connsiteX18851" fmla="*/ 4176782 w 10505529"/>
              <a:gd name="connsiteY18851" fmla="*/ 4355031 h 7458372"/>
              <a:gd name="connsiteX18852" fmla="*/ 4186100 w 10505529"/>
              <a:gd name="connsiteY18852" fmla="*/ 4361421 h 7458372"/>
              <a:gd name="connsiteX18853" fmla="*/ 4192223 w 10505529"/>
              <a:gd name="connsiteY18853" fmla="*/ 4370739 h 7458372"/>
              <a:gd name="connsiteX18854" fmla="*/ 4194486 w 10505529"/>
              <a:gd name="connsiteY18854" fmla="*/ 4382187 h 7458372"/>
              <a:gd name="connsiteX18855" fmla="*/ 4192223 w 10505529"/>
              <a:gd name="connsiteY18855" fmla="*/ 4393902 h 7458372"/>
              <a:gd name="connsiteX18856" fmla="*/ 4186100 w 10505529"/>
              <a:gd name="connsiteY18856" fmla="*/ 4403220 h 7458372"/>
              <a:gd name="connsiteX18857" fmla="*/ 4176782 w 10505529"/>
              <a:gd name="connsiteY18857" fmla="*/ 4409477 h 7458372"/>
              <a:gd name="connsiteX18858" fmla="*/ 4165068 w 10505529"/>
              <a:gd name="connsiteY18858" fmla="*/ 4411740 h 7458372"/>
              <a:gd name="connsiteX18859" fmla="*/ 4143235 w 10505529"/>
              <a:gd name="connsiteY18859" fmla="*/ 4403220 h 7458372"/>
              <a:gd name="connsiteX18860" fmla="*/ 4134849 w 10505529"/>
              <a:gd name="connsiteY18860" fmla="*/ 4382054 h 7458372"/>
              <a:gd name="connsiteX18861" fmla="*/ 4143235 w 10505529"/>
              <a:gd name="connsiteY18861" fmla="*/ 4361021 h 7458372"/>
              <a:gd name="connsiteX18862" fmla="*/ 4165068 w 10505529"/>
              <a:gd name="connsiteY18862" fmla="*/ 4352369 h 7458372"/>
              <a:gd name="connsiteX18863" fmla="*/ 3947663 w 10505529"/>
              <a:gd name="connsiteY18863" fmla="*/ 4352369 h 7458372"/>
              <a:gd name="connsiteX18864" fmla="*/ 3959380 w 10505529"/>
              <a:gd name="connsiteY18864" fmla="*/ 4355031 h 7458372"/>
              <a:gd name="connsiteX18865" fmla="*/ 3968698 w 10505529"/>
              <a:gd name="connsiteY18865" fmla="*/ 4361421 h 7458372"/>
              <a:gd name="connsiteX18866" fmla="*/ 3974822 w 10505529"/>
              <a:gd name="connsiteY18866" fmla="*/ 4370739 h 7458372"/>
              <a:gd name="connsiteX18867" fmla="*/ 3977086 w 10505529"/>
              <a:gd name="connsiteY18867" fmla="*/ 4382187 h 7458372"/>
              <a:gd name="connsiteX18868" fmla="*/ 3974822 w 10505529"/>
              <a:gd name="connsiteY18868" fmla="*/ 4393902 h 7458372"/>
              <a:gd name="connsiteX18869" fmla="*/ 3968698 w 10505529"/>
              <a:gd name="connsiteY18869" fmla="*/ 4403220 h 7458372"/>
              <a:gd name="connsiteX18870" fmla="*/ 3959380 w 10505529"/>
              <a:gd name="connsiteY18870" fmla="*/ 4409477 h 7458372"/>
              <a:gd name="connsiteX18871" fmla="*/ 3947663 w 10505529"/>
              <a:gd name="connsiteY18871" fmla="*/ 4411740 h 7458372"/>
              <a:gd name="connsiteX18872" fmla="*/ 3925830 w 10505529"/>
              <a:gd name="connsiteY18872" fmla="*/ 4403220 h 7458372"/>
              <a:gd name="connsiteX18873" fmla="*/ 3917444 w 10505529"/>
              <a:gd name="connsiteY18873" fmla="*/ 4382054 h 7458372"/>
              <a:gd name="connsiteX18874" fmla="*/ 3925830 w 10505529"/>
              <a:gd name="connsiteY18874" fmla="*/ 4361021 h 7458372"/>
              <a:gd name="connsiteX18875" fmla="*/ 3947663 w 10505529"/>
              <a:gd name="connsiteY18875" fmla="*/ 4352369 h 7458372"/>
              <a:gd name="connsiteX18876" fmla="*/ 3730007 w 10505529"/>
              <a:gd name="connsiteY18876" fmla="*/ 4352369 h 7458372"/>
              <a:gd name="connsiteX18877" fmla="*/ 3741722 w 10505529"/>
              <a:gd name="connsiteY18877" fmla="*/ 4355031 h 7458372"/>
              <a:gd name="connsiteX18878" fmla="*/ 3751041 w 10505529"/>
              <a:gd name="connsiteY18878" fmla="*/ 4361421 h 7458372"/>
              <a:gd name="connsiteX18879" fmla="*/ 3757163 w 10505529"/>
              <a:gd name="connsiteY18879" fmla="*/ 4370739 h 7458372"/>
              <a:gd name="connsiteX18880" fmla="*/ 3759426 w 10505529"/>
              <a:gd name="connsiteY18880" fmla="*/ 4382187 h 7458372"/>
              <a:gd name="connsiteX18881" fmla="*/ 3757163 w 10505529"/>
              <a:gd name="connsiteY18881" fmla="*/ 4393902 h 7458372"/>
              <a:gd name="connsiteX18882" fmla="*/ 3751041 w 10505529"/>
              <a:gd name="connsiteY18882" fmla="*/ 4403220 h 7458372"/>
              <a:gd name="connsiteX18883" fmla="*/ 3741722 w 10505529"/>
              <a:gd name="connsiteY18883" fmla="*/ 4409477 h 7458372"/>
              <a:gd name="connsiteX18884" fmla="*/ 3730007 w 10505529"/>
              <a:gd name="connsiteY18884" fmla="*/ 4411740 h 7458372"/>
              <a:gd name="connsiteX18885" fmla="*/ 3708169 w 10505529"/>
              <a:gd name="connsiteY18885" fmla="*/ 4403220 h 7458372"/>
              <a:gd name="connsiteX18886" fmla="*/ 3699782 w 10505529"/>
              <a:gd name="connsiteY18886" fmla="*/ 4382054 h 7458372"/>
              <a:gd name="connsiteX18887" fmla="*/ 3708169 w 10505529"/>
              <a:gd name="connsiteY18887" fmla="*/ 4361021 h 7458372"/>
              <a:gd name="connsiteX18888" fmla="*/ 3730007 w 10505529"/>
              <a:gd name="connsiteY18888" fmla="*/ 4352369 h 7458372"/>
              <a:gd name="connsiteX18889" fmla="*/ 3512349 w 10505529"/>
              <a:gd name="connsiteY18889" fmla="*/ 4352369 h 7458372"/>
              <a:gd name="connsiteX18890" fmla="*/ 3524065 w 10505529"/>
              <a:gd name="connsiteY18890" fmla="*/ 4355031 h 7458372"/>
              <a:gd name="connsiteX18891" fmla="*/ 3533383 w 10505529"/>
              <a:gd name="connsiteY18891" fmla="*/ 4361421 h 7458372"/>
              <a:gd name="connsiteX18892" fmla="*/ 3539506 w 10505529"/>
              <a:gd name="connsiteY18892" fmla="*/ 4370739 h 7458372"/>
              <a:gd name="connsiteX18893" fmla="*/ 3541769 w 10505529"/>
              <a:gd name="connsiteY18893" fmla="*/ 4382187 h 7458372"/>
              <a:gd name="connsiteX18894" fmla="*/ 3539506 w 10505529"/>
              <a:gd name="connsiteY18894" fmla="*/ 4393902 h 7458372"/>
              <a:gd name="connsiteX18895" fmla="*/ 3533383 w 10505529"/>
              <a:gd name="connsiteY18895" fmla="*/ 4403220 h 7458372"/>
              <a:gd name="connsiteX18896" fmla="*/ 3524065 w 10505529"/>
              <a:gd name="connsiteY18896" fmla="*/ 4409477 h 7458372"/>
              <a:gd name="connsiteX18897" fmla="*/ 3512349 w 10505529"/>
              <a:gd name="connsiteY18897" fmla="*/ 4411740 h 7458372"/>
              <a:gd name="connsiteX18898" fmla="*/ 3490513 w 10505529"/>
              <a:gd name="connsiteY18898" fmla="*/ 4403220 h 7458372"/>
              <a:gd name="connsiteX18899" fmla="*/ 3482127 w 10505529"/>
              <a:gd name="connsiteY18899" fmla="*/ 4382054 h 7458372"/>
              <a:gd name="connsiteX18900" fmla="*/ 3490513 w 10505529"/>
              <a:gd name="connsiteY18900" fmla="*/ 4361021 h 7458372"/>
              <a:gd name="connsiteX18901" fmla="*/ 3512349 w 10505529"/>
              <a:gd name="connsiteY18901" fmla="*/ 4352369 h 7458372"/>
              <a:gd name="connsiteX18902" fmla="*/ 3294825 w 10505529"/>
              <a:gd name="connsiteY18902" fmla="*/ 4352369 h 7458372"/>
              <a:gd name="connsiteX18903" fmla="*/ 3306540 w 10505529"/>
              <a:gd name="connsiteY18903" fmla="*/ 4355031 h 7458372"/>
              <a:gd name="connsiteX18904" fmla="*/ 3315858 w 10505529"/>
              <a:gd name="connsiteY18904" fmla="*/ 4361421 h 7458372"/>
              <a:gd name="connsiteX18905" fmla="*/ 3321982 w 10505529"/>
              <a:gd name="connsiteY18905" fmla="*/ 4370739 h 7458372"/>
              <a:gd name="connsiteX18906" fmla="*/ 3324245 w 10505529"/>
              <a:gd name="connsiteY18906" fmla="*/ 4382187 h 7458372"/>
              <a:gd name="connsiteX18907" fmla="*/ 3321982 w 10505529"/>
              <a:gd name="connsiteY18907" fmla="*/ 4393902 h 7458372"/>
              <a:gd name="connsiteX18908" fmla="*/ 3315858 w 10505529"/>
              <a:gd name="connsiteY18908" fmla="*/ 4403220 h 7458372"/>
              <a:gd name="connsiteX18909" fmla="*/ 3306540 w 10505529"/>
              <a:gd name="connsiteY18909" fmla="*/ 4409477 h 7458372"/>
              <a:gd name="connsiteX18910" fmla="*/ 3294825 w 10505529"/>
              <a:gd name="connsiteY18910" fmla="*/ 4411740 h 7458372"/>
              <a:gd name="connsiteX18911" fmla="*/ 3272988 w 10505529"/>
              <a:gd name="connsiteY18911" fmla="*/ 4403220 h 7458372"/>
              <a:gd name="connsiteX18912" fmla="*/ 3264601 w 10505529"/>
              <a:gd name="connsiteY18912" fmla="*/ 4382054 h 7458372"/>
              <a:gd name="connsiteX18913" fmla="*/ 3272988 w 10505529"/>
              <a:gd name="connsiteY18913" fmla="*/ 4361021 h 7458372"/>
              <a:gd name="connsiteX18914" fmla="*/ 3294825 w 10505529"/>
              <a:gd name="connsiteY18914" fmla="*/ 4352369 h 7458372"/>
              <a:gd name="connsiteX18915" fmla="*/ 3077167 w 10505529"/>
              <a:gd name="connsiteY18915" fmla="*/ 4352369 h 7458372"/>
              <a:gd name="connsiteX18916" fmla="*/ 3088883 w 10505529"/>
              <a:gd name="connsiteY18916" fmla="*/ 4355031 h 7458372"/>
              <a:gd name="connsiteX18917" fmla="*/ 3098201 w 10505529"/>
              <a:gd name="connsiteY18917" fmla="*/ 4361421 h 7458372"/>
              <a:gd name="connsiteX18918" fmla="*/ 3104324 w 10505529"/>
              <a:gd name="connsiteY18918" fmla="*/ 4370739 h 7458372"/>
              <a:gd name="connsiteX18919" fmla="*/ 3106587 w 10505529"/>
              <a:gd name="connsiteY18919" fmla="*/ 4382187 h 7458372"/>
              <a:gd name="connsiteX18920" fmla="*/ 3104324 w 10505529"/>
              <a:gd name="connsiteY18920" fmla="*/ 4393902 h 7458372"/>
              <a:gd name="connsiteX18921" fmla="*/ 3098201 w 10505529"/>
              <a:gd name="connsiteY18921" fmla="*/ 4403220 h 7458372"/>
              <a:gd name="connsiteX18922" fmla="*/ 3088883 w 10505529"/>
              <a:gd name="connsiteY18922" fmla="*/ 4409477 h 7458372"/>
              <a:gd name="connsiteX18923" fmla="*/ 3077167 w 10505529"/>
              <a:gd name="connsiteY18923" fmla="*/ 4411740 h 7458372"/>
              <a:gd name="connsiteX18924" fmla="*/ 3055331 w 10505529"/>
              <a:gd name="connsiteY18924" fmla="*/ 4403220 h 7458372"/>
              <a:gd name="connsiteX18925" fmla="*/ 3046944 w 10505529"/>
              <a:gd name="connsiteY18925" fmla="*/ 4382054 h 7458372"/>
              <a:gd name="connsiteX18926" fmla="*/ 3055331 w 10505529"/>
              <a:gd name="connsiteY18926" fmla="*/ 4361021 h 7458372"/>
              <a:gd name="connsiteX18927" fmla="*/ 3077167 w 10505529"/>
              <a:gd name="connsiteY18927" fmla="*/ 4352369 h 7458372"/>
              <a:gd name="connsiteX18928" fmla="*/ 2859510 w 10505529"/>
              <a:gd name="connsiteY18928" fmla="*/ 4352369 h 7458372"/>
              <a:gd name="connsiteX18929" fmla="*/ 2871358 w 10505529"/>
              <a:gd name="connsiteY18929" fmla="*/ 4355031 h 7458372"/>
              <a:gd name="connsiteX18930" fmla="*/ 2880676 w 10505529"/>
              <a:gd name="connsiteY18930" fmla="*/ 4361421 h 7458372"/>
              <a:gd name="connsiteX18931" fmla="*/ 2886799 w 10505529"/>
              <a:gd name="connsiteY18931" fmla="*/ 4370739 h 7458372"/>
              <a:gd name="connsiteX18932" fmla="*/ 2889062 w 10505529"/>
              <a:gd name="connsiteY18932" fmla="*/ 4382187 h 7458372"/>
              <a:gd name="connsiteX18933" fmla="*/ 2886799 w 10505529"/>
              <a:gd name="connsiteY18933" fmla="*/ 4393902 h 7458372"/>
              <a:gd name="connsiteX18934" fmla="*/ 2880676 w 10505529"/>
              <a:gd name="connsiteY18934" fmla="*/ 4403220 h 7458372"/>
              <a:gd name="connsiteX18935" fmla="*/ 2871358 w 10505529"/>
              <a:gd name="connsiteY18935" fmla="*/ 4409477 h 7458372"/>
              <a:gd name="connsiteX18936" fmla="*/ 2859510 w 10505529"/>
              <a:gd name="connsiteY18936" fmla="*/ 4411740 h 7458372"/>
              <a:gd name="connsiteX18937" fmla="*/ 2837673 w 10505529"/>
              <a:gd name="connsiteY18937" fmla="*/ 4403220 h 7458372"/>
              <a:gd name="connsiteX18938" fmla="*/ 2829286 w 10505529"/>
              <a:gd name="connsiteY18938" fmla="*/ 4382054 h 7458372"/>
              <a:gd name="connsiteX18939" fmla="*/ 2837673 w 10505529"/>
              <a:gd name="connsiteY18939" fmla="*/ 4361021 h 7458372"/>
              <a:gd name="connsiteX18940" fmla="*/ 2859510 w 10505529"/>
              <a:gd name="connsiteY18940" fmla="*/ 4352369 h 7458372"/>
              <a:gd name="connsiteX18941" fmla="*/ 2641852 w 10505529"/>
              <a:gd name="connsiteY18941" fmla="*/ 4352369 h 7458372"/>
              <a:gd name="connsiteX18942" fmla="*/ 2653567 w 10505529"/>
              <a:gd name="connsiteY18942" fmla="*/ 4355031 h 7458372"/>
              <a:gd name="connsiteX18943" fmla="*/ 2662885 w 10505529"/>
              <a:gd name="connsiteY18943" fmla="*/ 4361421 h 7458372"/>
              <a:gd name="connsiteX18944" fmla="*/ 2669009 w 10505529"/>
              <a:gd name="connsiteY18944" fmla="*/ 4370739 h 7458372"/>
              <a:gd name="connsiteX18945" fmla="*/ 2671272 w 10505529"/>
              <a:gd name="connsiteY18945" fmla="*/ 4382187 h 7458372"/>
              <a:gd name="connsiteX18946" fmla="*/ 2669009 w 10505529"/>
              <a:gd name="connsiteY18946" fmla="*/ 4393902 h 7458372"/>
              <a:gd name="connsiteX18947" fmla="*/ 2662885 w 10505529"/>
              <a:gd name="connsiteY18947" fmla="*/ 4403220 h 7458372"/>
              <a:gd name="connsiteX18948" fmla="*/ 2653567 w 10505529"/>
              <a:gd name="connsiteY18948" fmla="*/ 4409477 h 7458372"/>
              <a:gd name="connsiteX18949" fmla="*/ 2641852 w 10505529"/>
              <a:gd name="connsiteY18949" fmla="*/ 4411740 h 7458372"/>
              <a:gd name="connsiteX18950" fmla="*/ 2620019 w 10505529"/>
              <a:gd name="connsiteY18950" fmla="*/ 4403220 h 7458372"/>
              <a:gd name="connsiteX18951" fmla="*/ 2611630 w 10505529"/>
              <a:gd name="connsiteY18951" fmla="*/ 4382054 h 7458372"/>
              <a:gd name="connsiteX18952" fmla="*/ 2620019 w 10505529"/>
              <a:gd name="connsiteY18952" fmla="*/ 4361021 h 7458372"/>
              <a:gd name="connsiteX18953" fmla="*/ 2641852 w 10505529"/>
              <a:gd name="connsiteY18953" fmla="*/ 4352369 h 7458372"/>
              <a:gd name="connsiteX18954" fmla="*/ 2424194 w 10505529"/>
              <a:gd name="connsiteY18954" fmla="*/ 4352369 h 7458372"/>
              <a:gd name="connsiteX18955" fmla="*/ 2435910 w 10505529"/>
              <a:gd name="connsiteY18955" fmla="*/ 4355031 h 7458372"/>
              <a:gd name="connsiteX18956" fmla="*/ 2445228 w 10505529"/>
              <a:gd name="connsiteY18956" fmla="*/ 4361421 h 7458372"/>
              <a:gd name="connsiteX18957" fmla="*/ 2451351 w 10505529"/>
              <a:gd name="connsiteY18957" fmla="*/ 4370739 h 7458372"/>
              <a:gd name="connsiteX18958" fmla="*/ 2453614 w 10505529"/>
              <a:gd name="connsiteY18958" fmla="*/ 4382187 h 7458372"/>
              <a:gd name="connsiteX18959" fmla="*/ 2451351 w 10505529"/>
              <a:gd name="connsiteY18959" fmla="*/ 4393902 h 7458372"/>
              <a:gd name="connsiteX18960" fmla="*/ 2445228 w 10505529"/>
              <a:gd name="connsiteY18960" fmla="*/ 4403220 h 7458372"/>
              <a:gd name="connsiteX18961" fmla="*/ 2435910 w 10505529"/>
              <a:gd name="connsiteY18961" fmla="*/ 4409477 h 7458372"/>
              <a:gd name="connsiteX18962" fmla="*/ 2424194 w 10505529"/>
              <a:gd name="connsiteY18962" fmla="*/ 4411740 h 7458372"/>
              <a:gd name="connsiteX18963" fmla="*/ 2402362 w 10505529"/>
              <a:gd name="connsiteY18963" fmla="*/ 4403220 h 7458372"/>
              <a:gd name="connsiteX18964" fmla="*/ 2393974 w 10505529"/>
              <a:gd name="connsiteY18964" fmla="*/ 4382054 h 7458372"/>
              <a:gd name="connsiteX18965" fmla="*/ 2402362 w 10505529"/>
              <a:gd name="connsiteY18965" fmla="*/ 4361021 h 7458372"/>
              <a:gd name="connsiteX18966" fmla="*/ 2424194 w 10505529"/>
              <a:gd name="connsiteY18966" fmla="*/ 4352369 h 7458372"/>
              <a:gd name="connsiteX18967" fmla="*/ 2206537 w 10505529"/>
              <a:gd name="connsiteY18967" fmla="*/ 4352369 h 7458372"/>
              <a:gd name="connsiteX18968" fmla="*/ 2218252 w 10505529"/>
              <a:gd name="connsiteY18968" fmla="*/ 4355031 h 7458372"/>
              <a:gd name="connsiteX18969" fmla="*/ 2227570 w 10505529"/>
              <a:gd name="connsiteY18969" fmla="*/ 4361421 h 7458372"/>
              <a:gd name="connsiteX18970" fmla="*/ 2233693 w 10505529"/>
              <a:gd name="connsiteY18970" fmla="*/ 4370739 h 7458372"/>
              <a:gd name="connsiteX18971" fmla="*/ 2235956 w 10505529"/>
              <a:gd name="connsiteY18971" fmla="*/ 4382187 h 7458372"/>
              <a:gd name="connsiteX18972" fmla="*/ 2233693 w 10505529"/>
              <a:gd name="connsiteY18972" fmla="*/ 4393902 h 7458372"/>
              <a:gd name="connsiteX18973" fmla="*/ 2227570 w 10505529"/>
              <a:gd name="connsiteY18973" fmla="*/ 4403220 h 7458372"/>
              <a:gd name="connsiteX18974" fmla="*/ 2218252 w 10505529"/>
              <a:gd name="connsiteY18974" fmla="*/ 4409477 h 7458372"/>
              <a:gd name="connsiteX18975" fmla="*/ 2206537 w 10505529"/>
              <a:gd name="connsiteY18975" fmla="*/ 4411740 h 7458372"/>
              <a:gd name="connsiteX18976" fmla="*/ 2184704 w 10505529"/>
              <a:gd name="connsiteY18976" fmla="*/ 4403220 h 7458372"/>
              <a:gd name="connsiteX18977" fmla="*/ 2176317 w 10505529"/>
              <a:gd name="connsiteY18977" fmla="*/ 4382054 h 7458372"/>
              <a:gd name="connsiteX18978" fmla="*/ 2184704 w 10505529"/>
              <a:gd name="connsiteY18978" fmla="*/ 4361021 h 7458372"/>
              <a:gd name="connsiteX18979" fmla="*/ 2206537 w 10505529"/>
              <a:gd name="connsiteY18979" fmla="*/ 4352369 h 7458372"/>
              <a:gd name="connsiteX18980" fmla="*/ 1989012 w 10505529"/>
              <a:gd name="connsiteY18980" fmla="*/ 4352369 h 7458372"/>
              <a:gd name="connsiteX18981" fmla="*/ 2000727 w 10505529"/>
              <a:gd name="connsiteY18981" fmla="*/ 4355031 h 7458372"/>
              <a:gd name="connsiteX18982" fmla="*/ 2010045 w 10505529"/>
              <a:gd name="connsiteY18982" fmla="*/ 4361421 h 7458372"/>
              <a:gd name="connsiteX18983" fmla="*/ 2016168 w 10505529"/>
              <a:gd name="connsiteY18983" fmla="*/ 4370739 h 7458372"/>
              <a:gd name="connsiteX18984" fmla="*/ 2018431 w 10505529"/>
              <a:gd name="connsiteY18984" fmla="*/ 4382187 h 7458372"/>
              <a:gd name="connsiteX18985" fmla="*/ 2016168 w 10505529"/>
              <a:gd name="connsiteY18985" fmla="*/ 4393902 h 7458372"/>
              <a:gd name="connsiteX18986" fmla="*/ 2010045 w 10505529"/>
              <a:gd name="connsiteY18986" fmla="*/ 4403220 h 7458372"/>
              <a:gd name="connsiteX18987" fmla="*/ 2000727 w 10505529"/>
              <a:gd name="connsiteY18987" fmla="*/ 4409477 h 7458372"/>
              <a:gd name="connsiteX18988" fmla="*/ 1989012 w 10505529"/>
              <a:gd name="connsiteY18988" fmla="*/ 4411740 h 7458372"/>
              <a:gd name="connsiteX18989" fmla="*/ 1967181 w 10505529"/>
              <a:gd name="connsiteY18989" fmla="*/ 4403220 h 7458372"/>
              <a:gd name="connsiteX18990" fmla="*/ 1958794 w 10505529"/>
              <a:gd name="connsiteY18990" fmla="*/ 4382054 h 7458372"/>
              <a:gd name="connsiteX18991" fmla="*/ 1967181 w 10505529"/>
              <a:gd name="connsiteY18991" fmla="*/ 4361021 h 7458372"/>
              <a:gd name="connsiteX18992" fmla="*/ 1989012 w 10505529"/>
              <a:gd name="connsiteY18992" fmla="*/ 4352369 h 7458372"/>
              <a:gd name="connsiteX18993" fmla="*/ 1771376 w 10505529"/>
              <a:gd name="connsiteY18993" fmla="*/ 4352369 h 7458372"/>
              <a:gd name="connsiteX18994" fmla="*/ 1783090 w 10505529"/>
              <a:gd name="connsiteY18994" fmla="*/ 4355031 h 7458372"/>
              <a:gd name="connsiteX18995" fmla="*/ 1792407 w 10505529"/>
              <a:gd name="connsiteY18995" fmla="*/ 4361421 h 7458372"/>
              <a:gd name="connsiteX18996" fmla="*/ 1798531 w 10505529"/>
              <a:gd name="connsiteY18996" fmla="*/ 4370739 h 7458372"/>
              <a:gd name="connsiteX18997" fmla="*/ 1800793 w 10505529"/>
              <a:gd name="connsiteY18997" fmla="*/ 4382187 h 7458372"/>
              <a:gd name="connsiteX18998" fmla="*/ 1798531 w 10505529"/>
              <a:gd name="connsiteY18998" fmla="*/ 4393902 h 7458372"/>
              <a:gd name="connsiteX18999" fmla="*/ 1792407 w 10505529"/>
              <a:gd name="connsiteY18999" fmla="*/ 4403220 h 7458372"/>
              <a:gd name="connsiteX19000" fmla="*/ 1783090 w 10505529"/>
              <a:gd name="connsiteY19000" fmla="*/ 4409477 h 7458372"/>
              <a:gd name="connsiteX19001" fmla="*/ 1771376 w 10505529"/>
              <a:gd name="connsiteY19001" fmla="*/ 4411740 h 7458372"/>
              <a:gd name="connsiteX19002" fmla="*/ 1749546 w 10505529"/>
              <a:gd name="connsiteY19002" fmla="*/ 4403220 h 7458372"/>
              <a:gd name="connsiteX19003" fmla="*/ 1741162 w 10505529"/>
              <a:gd name="connsiteY19003" fmla="*/ 4382054 h 7458372"/>
              <a:gd name="connsiteX19004" fmla="*/ 1749546 w 10505529"/>
              <a:gd name="connsiteY19004" fmla="*/ 4361021 h 7458372"/>
              <a:gd name="connsiteX19005" fmla="*/ 1771376 w 10505529"/>
              <a:gd name="connsiteY19005" fmla="*/ 4352369 h 7458372"/>
              <a:gd name="connsiteX19006" fmla="*/ 1553737 w 10505529"/>
              <a:gd name="connsiteY19006" fmla="*/ 4352369 h 7458372"/>
              <a:gd name="connsiteX19007" fmla="*/ 1565452 w 10505529"/>
              <a:gd name="connsiteY19007" fmla="*/ 4355031 h 7458372"/>
              <a:gd name="connsiteX19008" fmla="*/ 1574770 w 10505529"/>
              <a:gd name="connsiteY19008" fmla="*/ 4361421 h 7458372"/>
              <a:gd name="connsiteX19009" fmla="*/ 1580893 w 10505529"/>
              <a:gd name="connsiteY19009" fmla="*/ 4370739 h 7458372"/>
              <a:gd name="connsiteX19010" fmla="*/ 1583156 w 10505529"/>
              <a:gd name="connsiteY19010" fmla="*/ 4382187 h 7458372"/>
              <a:gd name="connsiteX19011" fmla="*/ 1580893 w 10505529"/>
              <a:gd name="connsiteY19011" fmla="*/ 4393902 h 7458372"/>
              <a:gd name="connsiteX19012" fmla="*/ 1574770 w 10505529"/>
              <a:gd name="connsiteY19012" fmla="*/ 4403220 h 7458372"/>
              <a:gd name="connsiteX19013" fmla="*/ 1565452 w 10505529"/>
              <a:gd name="connsiteY19013" fmla="*/ 4409477 h 7458372"/>
              <a:gd name="connsiteX19014" fmla="*/ 1553737 w 10505529"/>
              <a:gd name="connsiteY19014" fmla="*/ 4411740 h 7458372"/>
              <a:gd name="connsiteX19015" fmla="*/ 1531907 w 10505529"/>
              <a:gd name="connsiteY19015" fmla="*/ 4403220 h 7458372"/>
              <a:gd name="connsiteX19016" fmla="*/ 1523521 w 10505529"/>
              <a:gd name="connsiteY19016" fmla="*/ 4382054 h 7458372"/>
              <a:gd name="connsiteX19017" fmla="*/ 1531907 w 10505529"/>
              <a:gd name="connsiteY19017" fmla="*/ 4361021 h 7458372"/>
              <a:gd name="connsiteX19018" fmla="*/ 1553737 w 10505529"/>
              <a:gd name="connsiteY19018" fmla="*/ 4352369 h 7458372"/>
              <a:gd name="connsiteX19019" fmla="*/ 1336093 w 10505529"/>
              <a:gd name="connsiteY19019" fmla="*/ 4352369 h 7458372"/>
              <a:gd name="connsiteX19020" fmla="*/ 1347809 w 10505529"/>
              <a:gd name="connsiteY19020" fmla="*/ 4355031 h 7458372"/>
              <a:gd name="connsiteX19021" fmla="*/ 1357127 w 10505529"/>
              <a:gd name="connsiteY19021" fmla="*/ 4361421 h 7458372"/>
              <a:gd name="connsiteX19022" fmla="*/ 1363250 w 10505529"/>
              <a:gd name="connsiteY19022" fmla="*/ 4370739 h 7458372"/>
              <a:gd name="connsiteX19023" fmla="*/ 1365512 w 10505529"/>
              <a:gd name="connsiteY19023" fmla="*/ 4382187 h 7458372"/>
              <a:gd name="connsiteX19024" fmla="*/ 1363250 w 10505529"/>
              <a:gd name="connsiteY19024" fmla="*/ 4393902 h 7458372"/>
              <a:gd name="connsiteX19025" fmla="*/ 1357127 w 10505529"/>
              <a:gd name="connsiteY19025" fmla="*/ 4403220 h 7458372"/>
              <a:gd name="connsiteX19026" fmla="*/ 1347809 w 10505529"/>
              <a:gd name="connsiteY19026" fmla="*/ 4409477 h 7458372"/>
              <a:gd name="connsiteX19027" fmla="*/ 1336093 w 10505529"/>
              <a:gd name="connsiteY19027" fmla="*/ 4411740 h 7458372"/>
              <a:gd name="connsiteX19028" fmla="*/ 1314261 w 10505529"/>
              <a:gd name="connsiteY19028" fmla="*/ 4403220 h 7458372"/>
              <a:gd name="connsiteX19029" fmla="*/ 1305875 w 10505529"/>
              <a:gd name="connsiteY19029" fmla="*/ 4382054 h 7458372"/>
              <a:gd name="connsiteX19030" fmla="*/ 1314261 w 10505529"/>
              <a:gd name="connsiteY19030" fmla="*/ 4361021 h 7458372"/>
              <a:gd name="connsiteX19031" fmla="*/ 1336093 w 10505529"/>
              <a:gd name="connsiteY19031" fmla="*/ 4352369 h 7458372"/>
              <a:gd name="connsiteX19032" fmla="*/ 1118448 w 10505529"/>
              <a:gd name="connsiteY19032" fmla="*/ 4352369 h 7458372"/>
              <a:gd name="connsiteX19033" fmla="*/ 1130165 w 10505529"/>
              <a:gd name="connsiteY19033" fmla="*/ 4355031 h 7458372"/>
              <a:gd name="connsiteX19034" fmla="*/ 1139481 w 10505529"/>
              <a:gd name="connsiteY19034" fmla="*/ 4361421 h 7458372"/>
              <a:gd name="connsiteX19035" fmla="*/ 1145602 w 10505529"/>
              <a:gd name="connsiteY19035" fmla="*/ 4370739 h 7458372"/>
              <a:gd name="connsiteX19036" fmla="*/ 1147865 w 10505529"/>
              <a:gd name="connsiteY19036" fmla="*/ 4382187 h 7458372"/>
              <a:gd name="connsiteX19037" fmla="*/ 1145602 w 10505529"/>
              <a:gd name="connsiteY19037" fmla="*/ 4393902 h 7458372"/>
              <a:gd name="connsiteX19038" fmla="*/ 1139481 w 10505529"/>
              <a:gd name="connsiteY19038" fmla="*/ 4403220 h 7458372"/>
              <a:gd name="connsiteX19039" fmla="*/ 1130165 w 10505529"/>
              <a:gd name="connsiteY19039" fmla="*/ 4409477 h 7458372"/>
              <a:gd name="connsiteX19040" fmla="*/ 1118448 w 10505529"/>
              <a:gd name="connsiteY19040" fmla="*/ 4411740 h 7458372"/>
              <a:gd name="connsiteX19041" fmla="*/ 1096614 w 10505529"/>
              <a:gd name="connsiteY19041" fmla="*/ 4403220 h 7458372"/>
              <a:gd name="connsiteX19042" fmla="*/ 1088229 w 10505529"/>
              <a:gd name="connsiteY19042" fmla="*/ 4382054 h 7458372"/>
              <a:gd name="connsiteX19043" fmla="*/ 1096614 w 10505529"/>
              <a:gd name="connsiteY19043" fmla="*/ 4361021 h 7458372"/>
              <a:gd name="connsiteX19044" fmla="*/ 1118448 w 10505529"/>
              <a:gd name="connsiteY19044" fmla="*/ 4352369 h 7458372"/>
              <a:gd name="connsiteX19045" fmla="*/ 900935 w 10505529"/>
              <a:gd name="connsiteY19045" fmla="*/ 4352369 h 7458372"/>
              <a:gd name="connsiteX19046" fmla="*/ 912650 w 10505529"/>
              <a:gd name="connsiteY19046" fmla="*/ 4355031 h 7458372"/>
              <a:gd name="connsiteX19047" fmla="*/ 921968 w 10505529"/>
              <a:gd name="connsiteY19047" fmla="*/ 4361421 h 7458372"/>
              <a:gd name="connsiteX19048" fmla="*/ 928091 w 10505529"/>
              <a:gd name="connsiteY19048" fmla="*/ 4370739 h 7458372"/>
              <a:gd name="connsiteX19049" fmla="*/ 930354 w 10505529"/>
              <a:gd name="connsiteY19049" fmla="*/ 4382187 h 7458372"/>
              <a:gd name="connsiteX19050" fmla="*/ 928091 w 10505529"/>
              <a:gd name="connsiteY19050" fmla="*/ 4393902 h 7458372"/>
              <a:gd name="connsiteX19051" fmla="*/ 921968 w 10505529"/>
              <a:gd name="connsiteY19051" fmla="*/ 4403220 h 7458372"/>
              <a:gd name="connsiteX19052" fmla="*/ 912650 w 10505529"/>
              <a:gd name="connsiteY19052" fmla="*/ 4409477 h 7458372"/>
              <a:gd name="connsiteX19053" fmla="*/ 900935 w 10505529"/>
              <a:gd name="connsiteY19053" fmla="*/ 4411740 h 7458372"/>
              <a:gd name="connsiteX19054" fmla="*/ 879104 w 10505529"/>
              <a:gd name="connsiteY19054" fmla="*/ 4403220 h 7458372"/>
              <a:gd name="connsiteX19055" fmla="*/ 870719 w 10505529"/>
              <a:gd name="connsiteY19055" fmla="*/ 4382054 h 7458372"/>
              <a:gd name="connsiteX19056" fmla="*/ 879104 w 10505529"/>
              <a:gd name="connsiteY19056" fmla="*/ 4361021 h 7458372"/>
              <a:gd name="connsiteX19057" fmla="*/ 900935 w 10505529"/>
              <a:gd name="connsiteY19057" fmla="*/ 4352369 h 7458372"/>
              <a:gd name="connsiteX19058" fmla="*/ 683294 w 10505529"/>
              <a:gd name="connsiteY19058" fmla="*/ 4352369 h 7458372"/>
              <a:gd name="connsiteX19059" fmla="*/ 695009 w 10505529"/>
              <a:gd name="connsiteY19059" fmla="*/ 4355031 h 7458372"/>
              <a:gd name="connsiteX19060" fmla="*/ 704326 w 10505529"/>
              <a:gd name="connsiteY19060" fmla="*/ 4361421 h 7458372"/>
              <a:gd name="connsiteX19061" fmla="*/ 710450 w 10505529"/>
              <a:gd name="connsiteY19061" fmla="*/ 4370739 h 7458372"/>
              <a:gd name="connsiteX19062" fmla="*/ 712713 w 10505529"/>
              <a:gd name="connsiteY19062" fmla="*/ 4382187 h 7458372"/>
              <a:gd name="connsiteX19063" fmla="*/ 710450 w 10505529"/>
              <a:gd name="connsiteY19063" fmla="*/ 4393902 h 7458372"/>
              <a:gd name="connsiteX19064" fmla="*/ 704326 w 10505529"/>
              <a:gd name="connsiteY19064" fmla="*/ 4403220 h 7458372"/>
              <a:gd name="connsiteX19065" fmla="*/ 695009 w 10505529"/>
              <a:gd name="connsiteY19065" fmla="*/ 4409477 h 7458372"/>
              <a:gd name="connsiteX19066" fmla="*/ 683294 w 10505529"/>
              <a:gd name="connsiteY19066" fmla="*/ 4411740 h 7458372"/>
              <a:gd name="connsiteX19067" fmla="*/ 661462 w 10505529"/>
              <a:gd name="connsiteY19067" fmla="*/ 4403220 h 7458372"/>
              <a:gd name="connsiteX19068" fmla="*/ 653077 w 10505529"/>
              <a:gd name="connsiteY19068" fmla="*/ 4382054 h 7458372"/>
              <a:gd name="connsiteX19069" fmla="*/ 661462 w 10505529"/>
              <a:gd name="connsiteY19069" fmla="*/ 4361021 h 7458372"/>
              <a:gd name="connsiteX19070" fmla="*/ 683294 w 10505529"/>
              <a:gd name="connsiteY19070" fmla="*/ 4352369 h 7458372"/>
              <a:gd name="connsiteX19071" fmla="*/ 465652 w 10505529"/>
              <a:gd name="connsiteY19071" fmla="*/ 4352369 h 7458372"/>
              <a:gd name="connsiteX19072" fmla="*/ 477367 w 10505529"/>
              <a:gd name="connsiteY19072" fmla="*/ 4355031 h 7458372"/>
              <a:gd name="connsiteX19073" fmla="*/ 486685 w 10505529"/>
              <a:gd name="connsiteY19073" fmla="*/ 4361421 h 7458372"/>
              <a:gd name="connsiteX19074" fmla="*/ 492808 w 10505529"/>
              <a:gd name="connsiteY19074" fmla="*/ 4370739 h 7458372"/>
              <a:gd name="connsiteX19075" fmla="*/ 495071 w 10505529"/>
              <a:gd name="connsiteY19075" fmla="*/ 4382187 h 7458372"/>
              <a:gd name="connsiteX19076" fmla="*/ 492808 w 10505529"/>
              <a:gd name="connsiteY19076" fmla="*/ 4393902 h 7458372"/>
              <a:gd name="connsiteX19077" fmla="*/ 486685 w 10505529"/>
              <a:gd name="connsiteY19077" fmla="*/ 4403220 h 7458372"/>
              <a:gd name="connsiteX19078" fmla="*/ 477367 w 10505529"/>
              <a:gd name="connsiteY19078" fmla="*/ 4409477 h 7458372"/>
              <a:gd name="connsiteX19079" fmla="*/ 465652 w 10505529"/>
              <a:gd name="connsiteY19079" fmla="*/ 4411740 h 7458372"/>
              <a:gd name="connsiteX19080" fmla="*/ 443821 w 10505529"/>
              <a:gd name="connsiteY19080" fmla="*/ 4403220 h 7458372"/>
              <a:gd name="connsiteX19081" fmla="*/ 435435 w 10505529"/>
              <a:gd name="connsiteY19081" fmla="*/ 4382054 h 7458372"/>
              <a:gd name="connsiteX19082" fmla="*/ 443821 w 10505529"/>
              <a:gd name="connsiteY19082" fmla="*/ 4361021 h 7458372"/>
              <a:gd name="connsiteX19083" fmla="*/ 465652 w 10505529"/>
              <a:gd name="connsiteY19083" fmla="*/ 4352369 h 7458372"/>
              <a:gd name="connsiteX19084" fmla="*/ 248010 w 10505529"/>
              <a:gd name="connsiteY19084" fmla="*/ 4352369 h 7458372"/>
              <a:gd name="connsiteX19085" fmla="*/ 259724 w 10505529"/>
              <a:gd name="connsiteY19085" fmla="*/ 4355031 h 7458372"/>
              <a:gd name="connsiteX19086" fmla="*/ 269042 w 10505529"/>
              <a:gd name="connsiteY19086" fmla="*/ 4361421 h 7458372"/>
              <a:gd name="connsiteX19087" fmla="*/ 275166 w 10505529"/>
              <a:gd name="connsiteY19087" fmla="*/ 4370739 h 7458372"/>
              <a:gd name="connsiteX19088" fmla="*/ 277429 w 10505529"/>
              <a:gd name="connsiteY19088" fmla="*/ 4382187 h 7458372"/>
              <a:gd name="connsiteX19089" fmla="*/ 275166 w 10505529"/>
              <a:gd name="connsiteY19089" fmla="*/ 4393902 h 7458372"/>
              <a:gd name="connsiteX19090" fmla="*/ 269042 w 10505529"/>
              <a:gd name="connsiteY19090" fmla="*/ 4403220 h 7458372"/>
              <a:gd name="connsiteX19091" fmla="*/ 259724 w 10505529"/>
              <a:gd name="connsiteY19091" fmla="*/ 4409477 h 7458372"/>
              <a:gd name="connsiteX19092" fmla="*/ 248010 w 10505529"/>
              <a:gd name="connsiteY19092" fmla="*/ 4411740 h 7458372"/>
              <a:gd name="connsiteX19093" fmla="*/ 226180 w 10505529"/>
              <a:gd name="connsiteY19093" fmla="*/ 4403220 h 7458372"/>
              <a:gd name="connsiteX19094" fmla="*/ 217794 w 10505529"/>
              <a:gd name="connsiteY19094" fmla="*/ 4382054 h 7458372"/>
              <a:gd name="connsiteX19095" fmla="*/ 226180 w 10505529"/>
              <a:gd name="connsiteY19095" fmla="*/ 4361021 h 7458372"/>
              <a:gd name="connsiteX19096" fmla="*/ 248010 w 10505529"/>
              <a:gd name="connsiteY19096" fmla="*/ 4352369 h 7458372"/>
              <a:gd name="connsiteX19097" fmla="*/ 30368 w 10505529"/>
              <a:gd name="connsiteY19097" fmla="*/ 4352369 h 7458372"/>
              <a:gd name="connsiteX19098" fmla="*/ 42083 w 10505529"/>
              <a:gd name="connsiteY19098" fmla="*/ 4355031 h 7458372"/>
              <a:gd name="connsiteX19099" fmla="*/ 51401 w 10505529"/>
              <a:gd name="connsiteY19099" fmla="*/ 4361421 h 7458372"/>
              <a:gd name="connsiteX19100" fmla="*/ 57524 w 10505529"/>
              <a:gd name="connsiteY19100" fmla="*/ 4370739 h 7458372"/>
              <a:gd name="connsiteX19101" fmla="*/ 59787 w 10505529"/>
              <a:gd name="connsiteY19101" fmla="*/ 4382187 h 7458372"/>
              <a:gd name="connsiteX19102" fmla="*/ 57524 w 10505529"/>
              <a:gd name="connsiteY19102" fmla="*/ 4393902 h 7458372"/>
              <a:gd name="connsiteX19103" fmla="*/ 51401 w 10505529"/>
              <a:gd name="connsiteY19103" fmla="*/ 4403220 h 7458372"/>
              <a:gd name="connsiteX19104" fmla="*/ 42083 w 10505529"/>
              <a:gd name="connsiteY19104" fmla="*/ 4409477 h 7458372"/>
              <a:gd name="connsiteX19105" fmla="*/ 30368 w 10505529"/>
              <a:gd name="connsiteY19105" fmla="*/ 4411740 h 7458372"/>
              <a:gd name="connsiteX19106" fmla="*/ 8539 w 10505529"/>
              <a:gd name="connsiteY19106" fmla="*/ 4403220 h 7458372"/>
              <a:gd name="connsiteX19107" fmla="*/ 153 w 10505529"/>
              <a:gd name="connsiteY19107" fmla="*/ 4382054 h 7458372"/>
              <a:gd name="connsiteX19108" fmla="*/ 8539 w 10505529"/>
              <a:gd name="connsiteY19108" fmla="*/ 4361021 h 7458372"/>
              <a:gd name="connsiteX19109" fmla="*/ 30368 w 10505529"/>
              <a:gd name="connsiteY19109" fmla="*/ 4352369 h 7458372"/>
              <a:gd name="connsiteX19110" fmla="*/ 10475977 w 10505529"/>
              <a:gd name="connsiteY19110" fmla="*/ 4151497 h 7458372"/>
              <a:gd name="connsiteX19111" fmla="*/ 10465992 w 10505529"/>
              <a:gd name="connsiteY19111" fmla="*/ 4155091 h 7458372"/>
              <a:gd name="connsiteX19112" fmla="*/ 10462399 w 10505529"/>
              <a:gd name="connsiteY19112" fmla="*/ 4164542 h 7458372"/>
              <a:gd name="connsiteX19113" fmla="*/ 10465992 w 10505529"/>
              <a:gd name="connsiteY19113" fmla="*/ 4173993 h 7458372"/>
              <a:gd name="connsiteX19114" fmla="*/ 10475977 w 10505529"/>
              <a:gd name="connsiteY19114" fmla="*/ 4177455 h 7458372"/>
              <a:gd name="connsiteX19115" fmla="*/ 10481302 w 10505529"/>
              <a:gd name="connsiteY19115" fmla="*/ 4176657 h 7458372"/>
              <a:gd name="connsiteX19116" fmla="*/ 10485029 w 10505529"/>
              <a:gd name="connsiteY19116" fmla="*/ 4174260 h 7458372"/>
              <a:gd name="connsiteX19117" fmla="*/ 10487691 w 10505529"/>
              <a:gd name="connsiteY19117" fmla="*/ 4170000 h 7458372"/>
              <a:gd name="connsiteX19118" fmla="*/ 10488623 w 10505529"/>
              <a:gd name="connsiteY19118" fmla="*/ 4164542 h 7458372"/>
              <a:gd name="connsiteX19119" fmla="*/ 10487691 w 10505529"/>
              <a:gd name="connsiteY19119" fmla="*/ 4159351 h 7458372"/>
              <a:gd name="connsiteX19120" fmla="*/ 10485029 w 10505529"/>
              <a:gd name="connsiteY19120" fmla="*/ 4155091 h 7458372"/>
              <a:gd name="connsiteX19121" fmla="*/ 10481035 w 10505529"/>
              <a:gd name="connsiteY19121" fmla="*/ 4152428 h 7458372"/>
              <a:gd name="connsiteX19122" fmla="*/ 10475977 w 10505529"/>
              <a:gd name="connsiteY19122" fmla="*/ 4151497 h 7458372"/>
              <a:gd name="connsiteX19123" fmla="*/ 10258466 w 10505529"/>
              <a:gd name="connsiteY19123" fmla="*/ 4151497 h 7458372"/>
              <a:gd name="connsiteX19124" fmla="*/ 10248481 w 10505529"/>
              <a:gd name="connsiteY19124" fmla="*/ 4155091 h 7458372"/>
              <a:gd name="connsiteX19125" fmla="*/ 10244887 w 10505529"/>
              <a:gd name="connsiteY19125" fmla="*/ 4164542 h 7458372"/>
              <a:gd name="connsiteX19126" fmla="*/ 10248481 w 10505529"/>
              <a:gd name="connsiteY19126" fmla="*/ 4173993 h 7458372"/>
              <a:gd name="connsiteX19127" fmla="*/ 10258466 w 10505529"/>
              <a:gd name="connsiteY19127" fmla="*/ 4177455 h 7458372"/>
              <a:gd name="connsiteX19128" fmla="*/ 10263790 w 10505529"/>
              <a:gd name="connsiteY19128" fmla="*/ 4176657 h 7458372"/>
              <a:gd name="connsiteX19129" fmla="*/ 10267517 w 10505529"/>
              <a:gd name="connsiteY19129" fmla="*/ 4174260 h 7458372"/>
              <a:gd name="connsiteX19130" fmla="*/ 10270180 w 10505529"/>
              <a:gd name="connsiteY19130" fmla="*/ 4170000 h 7458372"/>
              <a:gd name="connsiteX19131" fmla="*/ 10271112 w 10505529"/>
              <a:gd name="connsiteY19131" fmla="*/ 4164542 h 7458372"/>
              <a:gd name="connsiteX19132" fmla="*/ 10270180 w 10505529"/>
              <a:gd name="connsiteY19132" fmla="*/ 4159351 h 7458372"/>
              <a:gd name="connsiteX19133" fmla="*/ 10267517 w 10505529"/>
              <a:gd name="connsiteY19133" fmla="*/ 4155091 h 7458372"/>
              <a:gd name="connsiteX19134" fmla="*/ 10263524 w 10505529"/>
              <a:gd name="connsiteY19134" fmla="*/ 4152428 h 7458372"/>
              <a:gd name="connsiteX19135" fmla="*/ 10258466 w 10505529"/>
              <a:gd name="connsiteY19135" fmla="*/ 4151497 h 7458372"/>
              <a:gd name="connsiteX19136" fmla="*/ 10040820 w 10505529"/>
              <a:gd name="connsiteY19136" fmla="*/ 4151497 h 7458372"/>
              <a:gd name="connsiteX19137" fmla="*/ 10030835 w 10505529"/>
              <a:gd name="connsiteY19137" fmla="*/ 4155091 h 7458372"/>
              <a:gd name="connsiteX19138" fmla="*/ 10027242 w 10505529"/>
              <a:gd name="connsiteY19138" fmla="*/ 4164542 h 7458372"/>
              <a:gd name="connsiteX19139" fmla="*/ 10030835 w 10505529"/>
              <a:gd name="connsiteY19139" fmla="*/ 4173993 h 7458372"/>
              <a:gd name="connsiteX19140" fmla="*/ 10040820 w 10505529"/>
              <a:gd name="connsiteY19140" fmla="*/ 4177455 h 7458372"/>
              <a:gd name="connsiteX19141" fmla="*/ 10046145 w 10505529"/>
              <a:gd name="connsiteY19141" fmla="*/ 4176657 h 7458372"/>
              <a:gd name="connsiteX19142" fmla="*/ 10049872 w 10505529"/>
              <a:gd name="connsiteY19142" fmla="*/ 4174260 h 7458372"/>
              <a:gd name="connsiteX19143" fmla="*/ 10052534 w 10505529"/>
              <a:gd name="connsiteY19143" fmla="*/ 4170000 h 7458372"/>
              <a:gd name="connsiteX19144" fmla="*/ 10053599 w 10505529"/>
              <a:gd name="connsiteY19144" fmla="*/ 4164542 h 7458372"/>
              <a:gd name="connsiteX19145" fmla="*/ 10052534 w 10505529"/>
              <a:gd name="connsiteY19145" fmla="*/ 4159351 h 7458372"/>
              <a:gd name="connsiteX19146" fmla="*/ 10049872 w 10505529"/>
              <a:gd name="connsiteY19146" fmla="*/ 4155091 h 7458372"/>
              <a:gd name="connsiteX19147" fmla="*/ 10045878 w 10505529"/>
              <a:gd name="connsiteY19147" fmla="*/ 4152428 h 7458372"/>
              <a:gd name="connsiteX19148" fmla="*/ 10040820 w 10505529"/>
              <a:gd name="connsiteY19148" fmla="*/ 4151497 h 7458372"/>
              <a:gd name="connsiteX19149" fmla="*/ 9823176 w 10505529"/>
              <a:gd name="connsiteY19149" fmla="*/ 4151497 h 7458372"/>
              <a:gd name="connsiteX19150" fmla="*/ 9813191 w 10505529"/>
              <a:gd name="connsiteY19150" fmla="*/ 4155091 h 7458372"/>
              <a:gd name="connsiteX19151" fmla="*/ 9809597 w 10505529"/>
              <a:gd name="connsiteY19151" fmla="*/ 4164542 h 7458372"/>
              <a:gd name="connsiteX19152" fmla="*/ 9813191 w 10505529"/>
              <a:gd name="connsiteY19152" fmla="*/ 4173993 h 7458372"/>
              <a:gd name="connsiteX19153" fmla="*/ 9823176 w 10505529"/>
              <a:gd name="connsiteY19153" fmla="*/ 4177455 h 7458372"/>
              <a:gd name="connsiteX19154" fmla="*/ 9828501 w 10505529"/>
              <a:gd name="connsiteY19154" fmla="*/ 4176657 h 7458372"/>
              <a:gd name="connsiteX19155" fmla="*/ 9832227 w 10505529"/>
              <a:gd name="connsiteY19155" fmla="*/ 4174260 h 7458372"/>
              <a:gd name="connsiteX19156" fmla="*/ 9834890 w 10505529"/>
              <a:gd name="connsiteY19156" fmla="*/ 4170000 h 7458372"/>
              <a:gd name="connsiteX19157" fmla="*/ 9835955 w 10505529"/>
              <a:gd name="connsiteY19157" fmla="*/ 4164542 h 7458372"/>
              <a:gd name="connsiteX19158" fmla="*/ 9834890 w 10505529"/>
              <a:gd name="connsiteY19158" fmla="*/ 4159351 h 7458372"/>
              <a:gd name="connsiteX19159" fmla="*/ 9832227 w 10505529"/>
              <a:gd name="connsiteY19159" fmla="*/ 4155091 h 7458372"/>
              <a:gd name="connsiteX19160" fmla="*/ 9828234 w 10505529"/>
              <a:gd name="connsiteY19160" fmla="*/ 4152428 h 7458372"/>
              <a:gd name="connsiteX19161" fmla="*/ 9823176 w 10505529"/>
              <a:gd name="connsiteY19161" fmla="*/ 4151497 h 7458372"/>
              <a:gd name="connsiteX19162" fmla="*/ 9605531 w 10505529"/>
              <a:gd name="connsiteY19162" fmla="*/ 4151497 h 7458372"/>
              <a:gd name="connsiteX19163" fmla="*/ 9595546 w 10505529"/>
              <a:gd name="connsiteY19163" fmla="*/ 4155091 h 7458372"/>
              <a:gd name="connsiteX19164" fmla="*/ 9591952 w 10505529"/>
              <a:gd name="connsiteY19164" fmla="*/ 4164542 h 7458372"/>
              <a:gd name="connsiteX19165" fmla="*/ 9595546 w 10505529"/>
              <a:gd name="connsiteY19165" fmla="*/ 4173993 h 7458372"/>
              <a:gd name="connsiteX19166" fmla="*/ 9605531 w 10505529"/>
              <a:gd name="connsiteY19166" fmla="*/ 4177455 h 7458372"/>
              <a:gd name="connsiteX19167" fmla="*/ 9610855 w 10505529"/>
              <a:gd name="connsiteY19167" fmla="*/ 4176657 h 7458372"/>
              <a:gd name="connsiteX19168" fmla="*/ 9614582 w 10505529"/>
              <a:gd name="connsiteY19168" fmla="*/ 4174260 h 7458372"/>
              <a:gd name="connsiteX19169" fmla="*/ 9617245 w 10505529"/>
              <a:gd name="connsiteY19169" fmla="*/ 4170000 h 7458372"/>
              <a:gd name="connsiteX19170" fmla="*/ 9618309 w 10505529"/>
              <a:gd name="connsiteY19170" fmla="*/ 4164542 h 7458372"/>
              <a:gd name="connsiteX19171" fmla="*/ 9617245 w 10505529"/>
              <a:gd name="connsiteY19171" fmla="*/ 4159351 h 7458372"/>
              <a:gd name="connsiteX19172" fmla="*/ 9614582 w 10505529"/>
              <a:gd name="connsiteY19172" fmla="*/ 4155091 h 7458372"/>
              <a:gd name="connsiteX19173" fmla="*/ 9610589 w 10505529"/>
              <a:gd name="connsiteY19173" fmla="*/ 4152428 h 7458372"/>
              <a:gd name="connsiteX19174" fmla="*/ 9605531 w 10505529"/>
              <a:gd name="connsiteY19174" fmla="*/ 4151497 h 7458372"/>
              <a:gd name="connsiteX19175" fmla="*/ 9387885 w 10505529"/>
              <a:gd name="connsiteY19175" fmla="*/ 4151497 h 7458372"/>
              <a:gd name="connsiteX19176" fmla="*/ 9377900 w 10505529"/>
              <a:gd name="connsiteY19176" fmla="*/ 4155091 h 7458372"/>
              <a:gd name="connsiteX19177" fmla="*/ 9374307 w 10505529"/>
              <a:gd name="connsiteY19177" fmla="*/ 4164542 h 7458372"/>
              <a:gd name="connsiteX19178" fmla="*/ 9377900 w 10505529"/>
              <a:gd name="connsiteY19178" fmla="*/ 4173993 h 7458372"/>
              <a:gd name="connsiteX19179" fmla="*/ 9387885 w 10505529"/>
              <a:gd name="connsiteY19179" fmla="*/ 4177455 h 7458372"/>
              <a:gd name="connsiteX19180" fmla="*/ 9393210 w 10505529"/>
              <a:gd name="connsiteY19180" fmla="*/ 4176657 h 7458372"/>
              <a:gd name="connsiteX19181" fmla="*/ 9396937 w 10505529"/>
              <a:gd name="connsiteY19181" fmla="*/ 4174260 h 7458372"/>
              <a:gd name="connsiteX19182" fmla="*/ 9399599 w 10505529"/>
              <a:gd name="connsiteY19182" fmla="*/ 4170000 h 7458372"/>
              <a:gd name="connsiteX19183" fmla="*/ 9400664 w 10505529"/>
              <a:gd name="connsiteY19183" fmla="*/ 4164542 h 7458372"/>
              <a:gd name="connsiteX19184" fmla="*/ 9399599 w 10505529"/>
              <a:gd name="connsiteY19184" fmla="*/ 4159351 h 7458372"/>
              <a:gd name="connsiteX19185" fmla="*/ 9396937 w 10505529"/>
              <a:gd name="connsiteY19185" fmla="*/ 4155091 h 7458372"/>
              <a:gd name="connsiteX19186" fmla="*/ 9392943 w 10505529"/>
              <a:gd name="connsiteY19186" fmla="*/ 4152428 h 7458372"/>
              <a:gd name="connsiteX19187" fmla="*/ 9387885 w 10505529"/>
              <a:gd name="connsiteY19187" fmla="*/ 4151497 h 7458372"/>
              <a:gd name="connsiteX19188" fmla="*/ 9170374 w 10505529"/>
              <a:gd name="connsiteY19188" fmla="*/ 4151497 h 7458372"/>
              <a:gd name="connsiteX19189" fmla="*/ 9160389 w 10505529"/>
              <a:gd name="connsiteY19189" fmla="*/ 4155091 h 7458372"/>
              <a:gd name="connsiteX19190" fmla="*/ 9156795 w 10505529"/>
              <a:gd name="connsiteY19190" fmla="*/ 4164542 h 7458372"/>
              <a:gd name="connsiteX19191" fmla="*/ 9160389 w 10505529"/>
              <a:gd name="connsiteY19191" fmla="*/ 4173993 h 7458372"/>
              <a:gd name="connsiteX19192" fmla="*/ 9170374 w 10505529"/>
              <a:gd name="connsiteY19192" fmla="*/ 4177455 h 7458372"/>
              <a:gd name="connsiteX19193" fmla="*/ 9175698 w 10505529"/>
              <a:gd name="connsiteY19193" fmla="*/ 4176657 h 7458372"/>
              <a:gd name="connsiteX19194" fmla="*/ 9179425 w 10505529"/>
              <a:gd name="connsiteY19194" fmla="*/ 4174260 h 7458372"/>
              <a:gd name="connsiteX19195" fmla="*/ 9182088 w 10505529"/>
              <a:gd name="connsiteY19195" fmla="*/ 4170000 h 7458372"/>
              <a:gd name="connsiteX19196" fmla="*/ 9183152 w 10505529"/>
              <a:gd name="connsiteY19196" fmla="*/ 4164542 h 7458372"/>
              <a:gd name="connsiteX19197" fmla="*/ 9182088 w 10505529"/>
              <a:gd name="connsiteY19197" fmla="*/ 4159351 h 7458372"/>
              <a:gd name="connsiteX19198" fmla="*/ 9179425 w 10505529"/>
              <a:gd name="connsiteY19198" fmla="*/ 4155091 h 7458372"/>
              <a:gd name="connsiteX19199" fmla="*/ 9175432 w 10505529"/>
              <a:gd name="connsiteY19199" fmla="*/ 4152428 h 7458372"/>
              <a:gd name="connsiteX19200" fmla="*/ 9170374 w 10505529"/>
              <a:gd name="connsiteY19200" fmla="*/ 4151497 h 7458372"/>
              <a:gd name="connsiteX19201" fmla="*/ 8952728 w 10505529"/>
              <a:gd name="connsiteY19201" fmla="*/ 4151497 h 7458372"/>
              <a:gd name="connsiteX19202" fmla="*/ 8942743 w 10505529"/>
              <a:gd name="connsiteY19202" fmla="*/ 4155091 h 7458372"/>
              <a:gd name="connsiteX19203" fmla="*/ 8939150 w 10505529"/>
              <a:gd name="connsiteY19203" fmla="*/ 4164542 h 7458372"/>
              <a:gd name="connsiteX19204" fmla="*/ 8942743 w 10505529"/>
              <a:gd name="connsiteY19204" fmla="*/ 4173993 h 7458372"/>
              <a:gd name="connsiteX19205" fmla="*/ 8952728 w 10505529"/>
              <a:gd name="connsiteY19205" fmla="*/ 4177455 h 7458372"/>
              <a:gd name="connsiteX19206" fmla="*/ 8958053 w 10505529"/>
              <a:gd name="connsiteY19206" fmla="*/ 4176657 h 7458372"/>
              <a:gd name="connsiteX19207" fmla="*/ 8961780 w 10505529"/>
              <a:gd name="connsiteY19207" fmla="*/ 4174260 h 7458372"/>
              <a:gd name="connsiteX19208" fmla="*/ 8964442 w 10505529"/>
              <a:gd name="connsiteY19208" fmla="*/ 4170000 h 7458372"/>
              <a:gd name="connsiteX19209" fmla="*/ 8965507 w 10505529"/>
              <a:gd name="connsiteY19209" fmla="*/ 4164542 h 7458372"/>
              <a:gd name="connsiteX19210" fmla="*/ 8964442 w 10505529"/>
              <a:gd name="connsiteY19210" fmla="*/ 4159351 h 7458372"/>
              <a:gd name="connsiteX19211" fmla="*/ 8961780 w 10505529"/>
              <a:gd name="connsiteY19211" fmla="*/ 4155091 h 7458372"/>
              <a:gd name="connsiteX19212" fmla="*/ 8957786 w 10505529"/>
              <a:gd name="connsiteY19212" fmla="*/ 4152428 h 7458372"/>
              <a:gd name="connsiteX19213" fmla="*/ 8952728 w 10505529"/>
              <a:gd name="connsiteY19213" fmla="*/ 4151497 h 7458372"/>
              <a:gd name="connsiteX19214" fmla="*/ 8735083 w 10505529"/>
              <a:gd name="connsiteY19214" fmla="*/ 4151497 h 7458372"/>
              <a:gd name="connsiteX19215" fmla="*/ 8725098 w 10505529"/>
              <a:gd name="connsiteY19215" fmla="*/ 4155091 h 7458372"/>
              <a:gd name="connsiteX19216" fmla="*/ 8721504 w 10505529"/>
              <a:gd name="connsiteY19216" fmla="*/ 4164542 h 7458372"/>
              <a:gd name="connsiteX19217" fmla="*/ 8725098 w 10505529"/>
              <a:gd name="connsiteY19217" fmla="*/ 4173993 h 7458372"/>
              <a:gd name="connsiteX19218" fmla="*/ 8735083 w 10505529"/>
              <a:gd name="connsiteY19218" fmla="*/ 4177455 h 7458372"/>
              <a:gd name="connsiteX19219" fmla="*/ 8740407 w 10505529"/>
              <a:gd name="connsiteY19219" fmla="*/ 4176657 h 7458372"/>
              <a:gd name="connsiteX19220" fmla="*/ 8744134 w 10505529"/>
              <a:gd name="connsiteY19220" fmla="*/ 4174260 h 7458372"/>
              <a:gd name="connsiteX19221" fmla="*/ 8746797 w 10505529"/>
              <a:gd name="connsiteY19221" fmla="*/ 4170000 h 7458372"/>
              <a:gd name="connsiteX19222" fmla="*/ 8747862 w 10505529"/>
              <a:gd name="connsiteY19222" fmla="*/ 4164542 h 7458372"/>
              <a:gd name="connsiteX19223" fmla="*/ 8746797 w 10505529"/>
              <a:gd name="connsiteY19223" fmla="*/ 4159351 h 7458372"/>
              <a:gd name="connsiteX19224" fmla="*/ 8744134 w 10505529"/>
              <a:gd name="connsiteY19224" fmla="*/ 4155091 h 7458372"/>
              <a:gd name="connsiteX19225" fmla="*/ 8740141 w 10505529"/>
              <a:gd name="connsiteY19225" fmla="*/ 4152428 h 7458372"/>
              <a:gd name="connsiteX19226" fmla="*/ 8735083 w 10505529"/>
              <a:gd name="connsiteY19226" fmla="*/ 4151497 h 7458372"/>
              <a:gd name="connsiteX19227" fmla="*/ 8517438 w 10505529"/>
              <a:gd name="connsiteY19227" fmla="*/ 4151497 h 7458372"/>
              <a:gd name="connsiteX19228" fmla="*/ 8507453 w 10505529"/>
              <a:gd name="connsiteY19228" fmla="*/ 4155091 h 7458372"/>
              <a:gd name="connsiteX19229" fmla="*/ 8503860 w 10505529"/>
              <a:gd name="connsiteY19229" fmla="*/ 4164542 h 7458372"/>
              <a:gd name="connsiteX19230" fmla="*/ 8507453 w 10505529"/>
              <a:gd name="connsiteY19230" fmla="*/ 4173993 h 7458372"/>
              <a:gd name="connsiteX19231" fmla="*/ 8517438 w 10505529"/>
              <a:gd name="connsiteY19231" fmla="*/ 4177455 h 7458372"/>
              <a:gd name="connsiteX19232" fmla="*/ 8522763 w 10505529"/>
              <a:gd name="connsiteY19232" fmla="*/ 4176657 h 7458372"/>
              <a:gd name="connsiteX19233" fmla="*/ 8526490 w 10505529"/>
              <a:gd name="connsiteY19233" fmla="*/ 4174260 h 7458372"/>
              <a:gd name="connsiteX19234" fmla="*/ 8529152 w 10505529"/>
              <a:gd name="connsiteY19234" fmla="*/ 4170000 h 7458372"/>
              <a:gd name="connsiteX19235" fmla="*/ 8530084 w 10505529"/>
              <a:gd name="connsiteY19235" fmla="*/ 4164542 h 7458372"/>
              <a:gd name="connsiteX19236" fmla="*/ 8529152 w 10505529"/>
              <a:gd name="connsiteY19236" fmla="*/ 4159351 h 7458372"/>
              <a:gd name="connsiteX19237" fmla="*/ 8526490 w 10505529"/>
              <a:gd name="connsiteY19237" fmla="*/ 4155091 h 7458372"/>
              <a:gd name="connsiteX19238" fmla="*/ 8522496 w 10505529"/>
              <a:gd name="connsiteY19238" fmla="*/ 4152428 h 7458372"/>
              <a:gd name="connsiteX19239" fmla="*/ 8517438 w 10505529"/>
              <a:gd name="connsiteY19239" fmla="*/ 4151497 h 7458372"/>
              <a:gd name="connsiteX19240" fmla="*/ 8299793 w 10505529"/>
              <a:gd name="connsiteY19240" fmla="*/ 4151497 h 7458372"/>
              <a:gd name="connsiteX19241" fmla="*/ 8289809 w 10505529"/>
              <a:gd name="connsiteY19241" fmla="*/ 4155091 h 7458372"/>
              <a:gd name="connsiteX19242" fmla="*/ 8286215 w 10505529"/>
              <a:gd name="connsiteY19242" fmla="*/ 4164542 h 7458372"/>
              <a:gd name="connsiteX19243" fmla="*/ 8289809 w 10505529"/>
              <a:gd name="connsiteY19243" fmla="*/ 4173993 h 7458372"/>
              <a:gd name="connsiteX19244" fmla="*/ 8299793 w 10505529"/>
              <a:gd name="connsiteY19244" fmla="*/ 4177455 h 7458372"/>
              <a:gd name="connsiteX19245" fmla="*/ 8305118 w 10505529"/>
              <a:gd name="connsiteY19245" fmla="*/ 4176657 h 7458372"/>
              <a:gd name="connsiteX19246" fmla="*/ 8308844 w 10505529"/>
              <a:gd name="connsiteY19246" fmla="*/ 4174260 h 7458372"/>
              <a:gd name="connsiteX19247" fmla="*/ 8311507 w 10505529"/>
              <a:gd name="connsiteY19247" fmla="*/ 4170000 h 7458372"/>
              <a:gd name="connsiteX19248" fmla="*/ 8312439 w 10505529"/>
              <a:gd name="connsiteY19248" fmla="*/ 4164542 h 7458372"/>
              <a:gd name="connsiteX19249" fmla="*/ 8311507 w 10505529"/>
              <a:gd name="connsiteY19249" fmla="*/ 4159351 h 7458372"/>
              <a:gd name="connsiteX19250" fmla="*/ 8308844 w 10505529"/>
              <a:gd name="connsiteY19250" fmla="*/ 4155091 h 7458372"/>
              <a:gd name="connsiteX19251" fmla="*/ 8304851 w 10505529"/>
              <a:gd name="connsiteY19251" fmla="*/ 4152428 h 7458372"/>
              <a:gd name="connsiteX19252" fmla="*/ 8299793 w 10505529"/>
              <a:gd name="connsiteY19252" fmla="*/ 4151497 h 7458372"/>
              <a:gd name="connsiteX19253" fmla="*/ 8082281 w 10505529"/>
              <a:gd name="connsiteY19253" fmla="*/ 4151497 h 7458372"/>
              <a:gd name="connsiteX19254" fmla="*/ 8072297 w 10505529"/>
              <a:gd name="connsiteY19254" fmla="*/ 4155091 h 7458372"/>
              <a:gd name="connsiteX19255" fmla="*/ 8068703 w 10505529"/>
              <a:gd name="connsiteY19255" fmla="*/ 4164542 h 7458372"/>
              <a:gd name="connsiteX19256" fmla="*/ 8072297 w 10505529"/>
              <a:gd name="connsiteY19256" fmla="*/ 4173993 h 7458372"/>
              <a:gd name="connsiteX19257" fmla="*/ 8082281 w 10505529"/>
              <a:gd name="connsiteY19257" fmla="*/ 4177455 h 7458372"/>
              <a:gd name="connsiteX19258" fmla="*/ 8087605 w 10505529"/>
              <a:gd name="connsiteY19258" fmla="*/ 4176657 h 7458372"/>
              <a:gd name="connsiteX19259" fmla="*/ 8091332 w 10505529"/>
              <a:gd name="connsiteY19259" fmla="*/ 4174260 h 7458372"/>
              <a:gd name="connsiteX19260" fmla="*/ 8093994 w 10505529"/>
              <a:gd name="connsiteY19260" fmla="*/ 4170000 h 7458372"/>
              <a:gd name="connsiteX19261" fmla="*/ 8094926 w 10505529"/>
              <a:gd name="connsiteY19261" fmla="*/ 4164542 h 7458372"/>
              <a:gd name="connsiteX19262" fmla="*/ 8093994 w 10505529"/>
              <a:gd name="connsiteY19262" fmla="*/ 4159351 h 7458372"/>
              <a:gd name="connsiteX19263" fmla="*/ 8091332 w 10505529"/>
              <a:gd name="connsiteY19263" fmla="*/ 4155091 h 7458372"/>
              <a:gd name="connsiteX19264" fmla="*/ 8087338 w 10505529"/>
              <a:gd name="connsiteY19264" fmla="*/ 4152428 h 7458372"/>
              <a:gd name="connsiteX19265" fmla="*/ 8082281 w 10505529"/>
              <a:gd name="connsiteY19265" fmla="*/ 4151497 h 7458372"/>
              <a:gd name="connsiteX19266" fmla="*/ 7864636 w 10505529"/>
              <a:gd name="connsiteY19266" fmla="*/ 4151497 h 7458372"/>
              <a:gd name="connsiteX19267" fmla="*/ 7854652 w 10505529"/>
              <a:gd name="connsiteY19267" fmla="*/ 4155091 h 7458372"/>
              <a:gd name="connsiteX19268" fmla="*/ 7851058 w 10505529"/>
              <a:gd name="connsiteY19268" fmla="*/ 4164542 h 7458372"/>
              <a:gd name="connsiteX19269" fmla="*/ 7854652 w 10505529"/>
              <a:gd name="connsiteY19269" fmla="*/ 4173993 h 7458372"/>
              <a:gd name="connsiteX19270" fmla="*/ 7864636 w 10505529"/>
              <a:gd name="connsiteY19270" fmla="*/ 4177455 h 7458372"/>
              <a:gd name="connsiteX19271" fmla="*/ 7869961 w 10505529"/>
              <a:gd name="connsiteY19271" fmla="*/ 4176657 h 7458372"/>
              <a:gd name="connsiteX19272" fmla="*/ 7873687 w 10505529"/>
              <a:gd name="connsiteY19272" fmla="*/ 4174260 h 7458372"/>
              <a:gd name="connsiteX19273" fmla="*/ 7876350 w 10505529"/>
              <a:gd name="connsiteY19273" fmla="*/ 4170000 h 7458372"/>
              <a:gd name="connsiteX19274" fmla="*/ 7877282 w 10505529"/>
              <a:gd name="connsiteY19274" fmla="*/ 4164542 h 7458372"/>
              <a:gd name="connsiteX19275" fmla="*/ 7876350 w 10505529"/>
              <a:gd name="connsiteY19275" fmla="*/ 4159351 h 7458372"/>
              <a:gd name="connsiteX19276" fmla="*/ 7873687 w 10505529"/>
              <a:gd name="connsiteY19276" fmla="*/ 4155091 h 7458372"/>
              <a:gd name="connsiteX19277" fmla="*/ 7869694 w 10505529"/>
              <a:gd name="connsiteY19277" fmla="*/ 4152428 h 7458372"/>
              <a:gd name="connsiteX19278" fmla="*/ 7864636 w 10505529"/>
              <a:gd name="connsiteY19278" fmla="*/ 4151497 h 7458372"/>
              <a:gd name="connsiteX19279" fmla="*/ 7646991 w 10505529"/>
              <a:gd name="connsiteY19279" fmla="*/ 4151497 h 7458372"/>
              <a:gd name="connsiteX19280" fmla="*/ 7637007 w 10505529"/>
              <a:gd name="connsiteY19280" fmla="*/ 4155091 h 7458372"/>
              <a:gd name="connsiteX19281" fmla="*/ 7633413 w 10505529"/>
              <a:gd name="connsiteY19281" fmla="*/ 4164542 h 7458372"/>
              <a:gd name="connsiteX19282" fmla="*/ 7637007 w 10505529"/>
              <a:gd name="connsiteY19282" fmla="*/ 4173993 h 7458372"/>
              <a:gd name="connsiteX19283" fmla="*/ 7646991 w 10505529"/>
              <a:gd name="connsiteY19283" fmla="*/ 4177455 h 7458372"/>
              <a:gd name="connsiteX19284" fmla="*/ 7652315 w 10505529"/>
              <a:gd name="connsiteY19284" fmla="*/ 4176657 h 7458372"/>
              <a:gd name="connsiteX19285" fmla="*/ 7656042 w 10505529"/>
              <a:gd name="connsiteY19285" fmla="*/ 4174260 h 7458372"/>
              <a:gd name="connsiteX19286" fmla="*/ 7658705 w 10505529"/>
              <a:gd name="connsiteY19286" fmla="*/ 4170000 h 7458372"/>
              <a:gd name="connsiteX19287" fmla="*/ 7659769 w 10505529"/>
              <a:gd name="connsiteY19287" fmla="*/ 4164542 h 7458372"/>
              <a:gd name="connsiteX19288" fmla="*/ 7658705 w 10505529"/>
              <a:gd name="connsiteY19288" fmla="*/ 4159351 h 7458372"/>
              <a:gd name="connsiteX19289" fmla="*/ 7656042 w 10505529"/>
              <a:gd name="connsiteY19289" fmla="*/ 4155091 h 7458372"/>
              <a:gd name="connsiteX19290" fmla="*/ 7652049 w 10505529"/>
              <a:gd name="connsiteY19290" fmla="*/ 4152428 h 7458372"/>
              <a:gd name="connsiteX19291" fmla="*/ 7646991 w 10505529"/>
              <a:gd name="connsiteY19291" fmla="*/ 4151497 h 7458372"/>
              <a:gd name="connsiteX19292" fmla="*/ 7429345 w 10505529"/>
              <a:gd name="connsiteY19292" fmla="*/ 4151497 h 7458372"/>
              <a:gd name="connsiteX19293" fmla="*/ 7419361 w 10505529"/>
              <a:gd name="connsiteY19293" fmla="*/ 4155091 h 7458372"/>
              <a:gd name="connsiteX19294" fmla="*/ 7415768 w 10505529"/>
              <a:gd name="connsiteY19294" fmla="*/ 4164542 h 7458372"/>
              <a:gd name="connsiteX19295" fmla="*/ 7419361 w 10505529"/>
              <a:gd name="connsiteY19295" fmla="*/ 4173993 h 7458372"/>
              <a:gd name="connsiteX19296" fmla="*/ 7429345 w 10505529"/>
              <a:gd name="connsiteY19296" fmla="*/ 4177455 h 7458372"/>
              <a:gd name="connsiteX19297" fmla="*/ 7434670 w 10505529"/>
              <a:gd name="connsiteY19297" fmla="*/ 4176657 h 7458372"/>
              <a:gd name="connsiteX19298" fmla="*/ 7438397 w 10505529"/>
              <a:gd name="connsiteY19298" fmla="*/ 4174260 h 7458372"/>
              <a:gd name="connsiteX19299" fmla="*/ 7441059 w 10505529"/>
              <a:gd name="connsiteY19299" fmla="*/ 4170000 h 7458372"/>
              <a:gd name="connsiteX19300" fmla="*/ 7442124 w 10505529"/>
              <a:gd name="connsiteY19300" fmla="*/ 4164542 h 7458372"/>
              <a:gd name="connsiteX19301" fmla="*/ 7441059 w 10505529"/>
              <a:gd name="connsiteY19301" fmla="*/ 4159351 h 7458372"/>
              <a:gd name="connsiteX19302" fmla="*/ 7438397 w 10505529"/>
              <a:gd name="connsiteY19302" fmla="*/ 4155091 h 7458372"/>
              <a:gd name="connsiteX19303" fmla="*/ 7434403 w 10505529"/>
              <a:gd name="connsiteY19303" fmla="*/ 4152428 h 7458372"/>
              <a:gd name="connsiteX19304" fmla="*/ 7429345 w 10505529"/>
              <a:gd name="connsiteY19304" fmla="*/ 4151497 h 7458372"/>
              <a:gd name="connsiteX19305" fmla="*/ 7211701 w 10505529"/>
              <a:gd name="connsiteY19305" fmla="*/ 4151497 h 7458372"/>
              <a:gd name="connsiteX19306" fmla="*/ 7201717 w 10505529"/>
              <a:gd name="connsiteY19306" fmla="*/ 4155091 h 7458372"/>
              <a:gd name="connsiteX19307" fmla="*/ 7198123 w 10505529"/>
              <a:gd name="connsiteY19307" fmla="*/ 4164542 h 7458372"/>
              <a:gd name="connsiteX19308" fmla="*/ 7201717 w 10505529"/>
              <a:gd name="connsiteY19308" fmla="*/ 4173993 h 7458372"/>
              <a:gd name="connsiteX19309" fmla="*/ 7211701 w 10505529"/>
              <a:gd name="connsiteY19309" fmla="*/ 4177455 h 7458372"/>
              <a:gd name="connsiteX19310" fmla="*/ 7217026 w 10505529"/>
              <a:gd name="connsiteY19310" fmla="*/ 4176657 h 7458372"/>
              <a:gd name="connsiteX19311" fmla="*/ 7220752 w 10505529"/>
              <a:gd name="connsiteY19311" fmla="*/ 4174260 h 7458372"/>
              <a:gd name="connsiteX19312" fmla="*/ 7223415 w 10505529"/>
              <a:gd name="connsiteY19312" fmla="*/ 4170000 h 7458372"/>
              <a:gd name="connsiteX19313" fmla="*/ 7224480 w 10505529"/>
              <a:gd name="connsiteY19313" fmla="*/ 4164542 h 7458372"/>
              <a:gd name="connsiteX19314" fmla="*/ 7223415 w 10505529"/>
              <a:gd name="connsiteY19314" fmla="*/ 4159351 h 7458372"/>
              <a:gd name="connsiteX19315" fmla="*/ 7220752 w 10505529"/>
              <a:gd name="connsiteY19315" fmla="*/ 4155091 h 7458372"/>
              <a:gd name="connsiteX19316" fmla="*/ 7216759 w 10505529"/>
              <a:gd name="connsiteY19316" fmla="*/ 4152428 h 7458372"/>
              <a:gd name="connsiteX19317" fmla="*/ 7211701 w 10505529"/>
              <a:gd name="connsiteY19317" fmla="*/ 4151497 h 7458372"/>
              <a:gd name="connsiteX19318" fmla="*/ 6994056 w 10505529"/>
              <a:gd name="connsiteY19318" fmla="*/ 4151497 h 7458372"/>
              <a:gd name="connsiteX19319" fmla="*/ 6984072 w 10505529"/>
              <a:gd name="connsiteY19319" fmla="*/ 4155091 h 7458372"/>
              <a:gd name="connsiteX19320" fmla="*/ 6980478 w 10505529"/>
              <a:gd name="connsiteY19320" fmla="*/ 4164542 h 7458372"/>
              <a:gd name="connsiteX19321" fmla="*/ 6984072 w 10505529"/>
              <a:gd name="connsiteY19321" fmla="*/ 4173993 h 7458372"/>
              <a:gd name="connsiteX19322" fmla="*/ 6994056 w 10505529"/>
              <a:gd name="connsiteY19322" fmla="*/ 4177455 h 7458372"/>
              <a:gd name="connsiteX19323" fmla="*/ 6999380 w 10505529"/>
              <a:gd name="connsiteY19323" fmla="*/ 4176657 h 7458372"/>
              <a:gd name="connsiteX19324" fmla="*/ 7003107 w 10505529"/>
              <a:gd name="connsiteY19324" fmla="*/ 4174260 h 7458372"/>
              <a:gd name="connsiteX19325" fmla="*/ 7005769 w 10505529"/>
              <a:gd name="connsiteY19325" fmla="*/ 4170000 h 7458372"/>
              <a:gd name="connsiteX19326" fmla="*/ 7006834 w 10505529"/>
              <a:gd name="connsiteY19326" fmla="*/ 4164542 h 7458372"/>
              <a:gd name="connsiteX19327" fmla="*/ 7005769 w 10505529"/>
              <a:gd name="connsiteY19327" fmla="*/ 4159351 h 7458372"/>
              <a:gd name="connsiteX19328" fmla="*/ 7003107 w 10505529"/>
              <a:gd name="connsiteY19328" fmla="*/ 4155091 h 7458372"/>
              <a:gd name="connsiteX19329" fmla="*/ 6999113 w 10505529"/>
              <a:gd name="connsiteY19329" fmla="*/ 4152428 h 7458372"/>
              <a:gd name="connsiteX19330" fmla="*/ 6994056 w 10505529"/>
              <a:gd name="connsiteY19330" fmla="*/ 4151497 h 7458372"/>
              <a:gd name="connsiteX19331" fmla="*/ 6776544 w 10505529"/>
              <a:gd name="connsiteY19331" fmla="*/ 4151497 h 7458372"/>
              <a:gd name="connsiteX19332" fmla="*/ 6766560 w 10505529"/>
              <a:gd name="connsiteY19332" fmla="*/ 4155091 h 7458372"/>
              <a:gd name="connsiteX19333" fmla="*/ 6762966 w 10505529"/>
              <a:gd name="connsiteY19333" fmla="*/ 4164542 h 7458372"/>
              <a:gd name="connsiteX19334" fmla="*/ 6766560 w 10505529"/>
              <a:gd name="connsiteY19334" fmla="*/ 4173993 h 7458372"/>
              <a:gd name="connsiteX19335" fmla="*/ 6776544 w 10505529"/>
              <a:gd name="connsiteY19335" fmla="*/ 4177455 h 7458372"/>
              <a:gd name="connsiteX19336" fmla="*/ 6781869 w 10505529"/>
              <a:gd name="connsiteY19336" fmla="*/ 4176657 h 7458372"/>
              <a:gd name="connsiteX19337" fmla="*/ 6785595 w 10505529"/>
              <a:gd name="connsiteY19337" fmla="*/ 4174260 h 7458372"/>
              <a:gd name="connsiteX19338" fmla="*/ 6788258 w 10505529"/>
              <a:gd name="connsiteY19338" fmla="*/ 4170000 h 7458372"/>
              <a:gd name="connsiteX19339" fmla="*/ 6789323 w 10505529"/>
              <a:gd name="connsiteY19339" fmla="*/ 4164542 h 7458372"/>
              <a:gd name="connsiteX19340" fmla="*/ 6788258 w 10505529"/>
              <a:gd name="connsiteY19340" fmla="*/ 4159351 h 7458372"/>
              <a:gd name="connsiteX19341" fmla="*/ 6785595 w 10505529"/>
              <a:gd name="connsiteY19341" fmla="*/ 4155091 h 7458372"/>
              <a:gd name="connsiteX19342" fmla="*/ 6781602 w 10505529"/>
              <a:gd name="connsiteY19342" fmla="*/ 4152428 h 7458372"/>
              <a:gd name="connsiteX19343" fmla="*/ 6776544 w 10505529"/>
              <a:gd name="connsiteY19343" fmla="*/ 4151497 h 7458372"/>
              <a:gd name="connsiteX19344" fmla="*/ 6558899 w 10505529"/>
              <a:gd name="connsiteY19344" fmla="*/ 4151497 h 7458372"/>
              <a:gd name="connsiteX19345" fmla="*/ 6548915 w 10505529"/>
              <a:gd name="connsiteY19345" fmla="*/ 4155091 h 7458372"/>
              <a:gd name="connsiteX19346" fmla="*/ 6545321 w 10505529"/>
              <a:gd name="connsiteY19346" fmla="*/ 4164542 h 7458372"/>
              <a:gd name="connsiteX19347" fmla="*/ 6548915 w 10505529"/>
              <a:gd name="connsiteY19347" fmla="*/ 4173993 h 7458372"/>
              <a:gd name="connsiteX19348" fmla="*/ 6558899 w 10505529"/>
              <a:gd name="connsiteY19348" fmla="*/ 4177455 h 7458372"/>
              <a:gd name="connsiteX19349" fmla="*/ 6564223 w 10505529"/>
              <a:gd name="connsiteY19349" fmla="*/ 4176657 h 7458372"/>
              <a:gd name="connsiteX19350" fmla="*/ 6567950 w 10505529"/>
              <a:gd name="connsiteY19350" fmla="*/ 4174260 h 7458372"/>
              <a:gd name="connsiteX19351" fmla="*/ 6570612 w 10505529"/>
              <a:gd name="connsiteY19351" fmla="*/ 4170000 h 7458372"/>
              <a:gd name="connsiteX19352" fmla="*/ 6571677 w 10505529"/>
              <a:gd name="connsiteY19352" fmla="*/ 4164542 h 7458372"/>
              <a:gd name="connsiteX19353" fmla="*/ 6570612 w 10505529"/>
              <a:gd name="connsiteY19353" fmla="*/ 4159351 h 7458372"/>
              <a:gd name="connsiteX19354" fmla="*/ 6567950 w 10505529"/>
              <a:gd name="connsiteY19354" fmla="*/ 4155091 h 7458372"/>
              <a:gd name="connsiteX19355" fmla="*/ 6563956 w 10505529"/>
              <a:gd name="connsiteY19355" fmla="*/ 4152428 h 7458372"/>
              <a:gd name="connsiteX19356" fmla="*/ 6558899 w 10505529"/>
              <a:gd name="connsiteY19356" fmla="*/ 4151497 h 7458372"/>
              <a:gd name="connsiteX19357" fmla="*/ 6341253 w 10505529"/>
              <a:gd name="connsiteY19357" fmla="*/ 4151497 h 7458372"/>
              <a:gd name="connsiteX19358" fmla="*/ 6331270 w 10505529"/>
              <a:gd name="connsiteY19358" fmla="*/ 4155091 h 7458372"/>
              <a:gd name="connsiteX19359" fmla="*/ 6327675 w 10505529"/>
              <a:gd name="connsiteY19359" fmla="*/ 4164542 h 7458372"/>
              <a:gd name="connsiteX19360" fmla="*/ 6331270 w 10505529"/>
              <a:gd name="connsiteY19360" fmla="*/ 4173993 h 7458372"/>
              <a:gd name="connsiteX19361" fmla="*/ 6341253 w 10505529"/>
              <a:gd name="connsiteY19361" fmla="*/ 4177455 h 7458372"/>
              <a:gd name="connsiteX19362" fmla="*/ 6346578 w 10505529"/>
              <a:gd name="connsiteY19362" fmla="*/ 4176657 h 7458372"/>
              <a:gd name="connsiteX19363" fmla="*/ 6350305 w 10505529"/>
              <a:gd name="connsiteY19363" fmla="*/ 4174260 h 7458372"/>
              <a:gd name="connsiteX19364" fmla="*/ 6352968 w 10505529"/>
              <a:gd name="connsiteY19364" fmla="*/ 4170000 h 7458372"/>
              <a:gd name="connsiteX19365" fmla="*/ 6354033 w 10505529"/>
              <a:gd name="connsiteY19365" fmla="*/ 4164542 h 7458372"/>
              <a:gd name="connsiteX19366" fmla="*/ 6352968 w 10505529"/>
              <a:gd name="connsiteY19366" fmla="*/ 4159351 h 7458372"/>
              <a:gd name="connsiteX19367" fmla="*/ 6350305 w 10505529"/>
              <a:gd name="connsiteY19367" fmla="*/ 4155091 h 7458372"/>
              <a:gd name="connsiteX19368" fmla="*/ 6346312 w 10505529"/>
              <a:gd name="connsiteY19368" fmla="*/ 4152428 h 7458372"/>
              <a:gd name="connsiteX19369" fmla="*/ 6341253 w 10505529"/>
              <a:gd name="connsiteY19369" fmla="*/ 4151497 h 7458372"/>
              <a:gd name="connsiteX19370" fmla="*/ 6123608 w 10505529"/>
              <a:gd name="connsiteY19370" fmla="*/ 4151497 h 7458372"/>
              <a:gd name="connsiteX19371" fmla="*/ 6113624 w 10505529"/>
              <a:gd name="connsiteY19371" fmla="*/ 4155091 h 7458372"/>
              <a:gd name="connsiteX19372" fmla="*/ 6110030 w 10505529"/>
              <a:gd name="connsiteY19372" fmla="*/ 4164542 h 7458372"/>
              <a:gd name="connsiteX19373" fmla="*/ 6113624 w 10505529"/>
              <a:gd name="connsiteY19373" fmla="*/ 4173993 h 7458372"/>
              <a:gd name="connsiteX19374" fmla="*/ 6123608 w 10505529"/>
              <a:gd name="connsiteY19374" fmla="*/ 4177455 h 7458372"/>
              <a:gd name="connsiteX19375" fmla="*/ 6128932 w 10505529"/>
              <a:gd name="connsiteY19375" fmla="*/ 4176657 h 7458372"/>
              <a:gd name="connsiteX19376" fmla="*/ 6132659 w 10505529"/>
              <a:gd name="connsiteY19376" fmla="*/ 4174260 h 7458372"/>
              <a:gd name="connsiteX19377" fmla="*/ 6135322 w 10505529"/>
              <a:gd name="connsiteY19377" fmla="*/ 4170000 h 7458372"/>
              <a:gd name="connsiteX19378" fmla="*/ 6136387 w 10505529"/>
              <a:gd name="connsiteY19378" fmla="*/ 4164542 h 7458372"/>
              <a:gd name="connsiteX19379" fmla="*/ 6135322 w 10505529"/>
              <a:gd name="connsiteY19379" fmla="*/ 4159351 h 7458372"/>
              <a:gd name="connsiteX19380" fmla="*/ 6132659 w 10505529"/>
              <a:gd name="connsiteY19380" fmla="*/ 4155091 h 7458372"/>
              <a:gd name="connsiteX19381" fmla="*/ 6128666 w 10505529"/>
              <a:gd name="connsiteY19381" fmla="*/ 4152428 h 7458372"/>
              <a:gd name="connsiteX19382" fmla="*/ 6123608 w 10505529"/>
              <a:gd name="connsiteY19382" fmla="*/ 4151497 h 7458372"/>
              <a:gd name="connsiteX19383" fmla="*/ 5905963 w 10505529"/>
              <a:gd name="connsiteY19383" fmla="*/ 4151497 h 7458372"/>
              <a:gd name="connsiteX19384" fmla="*/ 5895979 w 10505529"/>
              <a:gd name="connsiteY19384" fmla="*/ 4155091 h 7458372"/>
              <a:gd name="connsiteX19385" fmla="*/ 5892385 w 10505529"/>
              <a:gd name="connsiteY19385" fmla="*/ 4164542 h 7458372"/>
              <a:gd name="connsiteX19386" fmla="*/ 5895979 w 10505529"/>
              <a:gd name="connsiteY19386" fmla="*/ 4173993 h 7458372"/>
              <a:gd name="connsiteX19387" fmla="*/ 5905963 w 10505529"/>
              <a:gd name="connsiteY19387" fmla="*/ 4177455 h 7458372"/>
              <a:gd name="connsiteX19388" fmla="*/ 5911287 w 10505529"/>
              <a:gd name="connsiteY19388" fmla="*/ 4176657 h 7458372"/>
              <a:gd name="connsiteX19389" fmla="*/ 5915014 w 10505529"/>
              <a:gd name="connsiteY19389" fmla="*/ 4174260 h 7458372"/>
              <a:gd name="connsiteX19390" fmla="*/ 5917677 w 10505529"/>
              <a:gd name="connsiteY19390" fmla="*/ 4170000 h 7458372"/>
              <a:gd name="connsiteX19391" fmla="*/ 5918742 w 10505529"/>
              <a:gd name="connsiteY19391" fmla="*/ 4164542 h 7458372"/>
              <a:gd name="connsiteX19392" fmla="*/ 5917677 w 10505529"/>
              <a:gd name="connsiteY19392" fmla="*/ 4159351 h 7458372"/>
              <a:gd name="connsiteX19393" fmla="*/ 5915014 w 10505529"/>
              <a:gd name="connsiteY19393" fmla="*/ 4155091 h 7458372"/>
              <a:gd name="connsiteX19394" fmla="*/ 5911021 w 10505529"/>
              <a:gd name="connsiteY19394" fmla="*/ 4152428 h 7458372"/>
              <a:gd name="connsiteX19395" fmla="*/ 5905963 w 10505529"/>
              <a:gd name="connsiteY19395" fmla="*/ 4151497 h 7458372"/>
              <a:gd name="connsiteX19396" fmla="*/ 5688451 w 10505529"/>
              <a:gd name="connsiteY19396" fmla="*/ 4151497 h 7458372"/>
              <a:gd name="connsiteX19397" fmla="*/ 5678467 w 10505529"/>
              <a:gd name="connsiteY19397" fmla="*/ 4155091 h 7458372"/>
              <a:gd name="connsiteX19398" fmla="*/ 5674873 w 10505529"/>
              <a:gd name="connsiteY19398" fmla="*/ 4164542 h 7458372"/>
              <a:gd name="connsiteX19399" fmla="*/ 5678467 w 10505529"/>
              <a:gd name="connsiteY19399" fmla="*/ 4173993 h 7458372"/>
              <a:gd name="connsiteX19400" fmla="*/ 5688451 w 10505529"/>
              <a:gd name="connsiteY19400" fmla="*/ 4177455 h 7458372"/>
              <a:gd name="connsiteX19401" fmla="*/ 5693775 w 10505529"/>
              <a:gd name="connsiteY19401" fmla="*/ 4176657 h 7458372"/>
              <a:gd name="connsiteX19402" fmla="*/ 5697502 w 10505529"/>
              <a:gd name="connsiteY19402" fmla="*/ 4174260 h 7458372"/>
              <a:gd name="connsiteX19403" fmla="*/ 5700165 w 10505529"/>
              <a:gd name="connsiteY19403" fmla="*/ 4170000 h 7458372"/>
              <a:gd name="connsiteX19404" fmla="*/ 5701230 w 10505529"/>
              <a:gd name="connsiteY19404" fmla="*/ 4164542 h 7458372"/>
              <a:gd name="connsiteX19405" fmla="*/ 5700165 w 10505529"/>
              <a:gd name="connsiteY19405" fmla="*/ 4159351 h 7458372"/>
              <a:gd name="connsiteX19406" fmla="*/ 5697502 w 10505529"/>
              <a:gd name="connsiteY19406" fmla="*/ 4155091 h 7458372"/>
              <a:gd name="connsiteX19407" fmla="*/ 5693509 w 10505529"/>
              <a:gd name="connsiteY19407" fmla="*/ 4152428 h 7458372"/>
              <a:gd name="connsiteX19408" fmla="*/ 5688451 w 10505529"/>
              <a:gd name="connsiteY19408" fmla="*/ 4151497 h 7458372"/>
              <a:gd name="connsiteX19409" fmla="*/ 5470806 w 10505529"/>
              <a:gd name="connsiteY19409" fmla="*/ 4151497 h 7458372"/>
              <a:gd name="connsiteX19410" fmla="*/ 5460822 w 10505529"/>
              <a:gd name="connsiteY19410" fmla="*/ 4155091 h 7458372"/>
              <a:gd name="connsiteX19411" fmla="*/ 5457228 w 10505529"/>
              <a:gd name="connsiteY19411" fmla="*/ 4164542 h 7458372"/>
              <a:gd name="connsiteX19412" fmla="*/ 5460822 w 10505529"/>
              <a:gd name="connsiteY19412" fmla="*/ 4173993 h 7458372"/>
              <a:gd name="connsiteX19413" fmla="*/ 5470806 w 10505529"/>
              <a:gd name="connsiteY19413" fmla="*/ 4177455 h 7458372"/>
              <a:gd name="connsiteX19414" fmla="*/ 5476130 w 10505529"/>
              <a:gd name="connsiteY19414" fmla="*/ 4176657 h 7458372"/>
              <a:gd name="connsiteX19415" fmla="*/ 5479857 w 10505529"/>
              <a:gd name="connsiteY19415" fmla="*/ 4174260 h 7458372"/>
              <a:gd name="connsiteX19416" fmla="*/ 5482520 w 10505529"/>
              <a:gd name="connsiteY19416" fmla="*/ 4170000 h 7458372"/>
              <a:gd name="connsiteX19417" fmla="*/ 5483585 w 10505529"/>
              <a:gd name="connsiteY19417" fmla="*/ 4164542 h 7458372"/>
              <a:gd name="connsiteX19418" fmla="*/ 5482520 w 10505529"/>
              <a:gd name="connsiteY19418" fmla="*/ 4159351 h 7458372"/>
              <a:gd name="connsiteX19419" fmla="*/ 5479857 w 10505529"/>
              <a:gd name="connsiteY19419" fmla="*/ 4155091 h 7458372"/>
              <a:gd name="connsiteX19420" fmla="*/ 5475864 w 10505529"/>
              <a:gd name="connsiteY19420" fmla="*/ 4152428 h 7458372"/>
              <a:gd name="connsiteX19421" fmla="*/ 5470806 w 10505529"/>
              <a:gd name="connsiteY19421" fmla="*/ 4151497 h 7458372"/>
              <a:gd name="connsiteX19422" fmla="*/ 5253160 w 10505529"/>
              <a:gd name="connsiteY19422" fmla="*/ 4151497 h 7458372"/>
              <a:gd name="connsiteX19423" fmla="*/ 5243177 w 10505529"/>
              <a:gd name="connsiteY19423" fmla="*/ 4155091 h 7458372"/>
              <a:gd name="connsiteX19424" fmla="*/ 5239583 w 10505529"/>
              <a:gd name="connsiteY19424" fmla="*/ 4164542 h 7458372"/>
              <a:gd name="connsiteX19425" fmla="*/ 5243177 w 10505529"/>
              <a:gd name="connsiteY19425" fmla="*/ 4173993 h 7458372"/>
              <a:gd name="connsiteX19426" fmla="*/ 5253160 w 10505529"/>
              <a:gd name="connsiteY19426" fmla="*/ 4177455 h 7458372"/>
              <a:gd name="connsiteX19427" fmla="*/ 5258485 w 10505529"/>
              <a:gd name="connsiteY19427" fmla="*/ 4176657 h 7458372"/>
              <a:gd name="connsiteX19428" fmla="*/ 5262212 w 10505529"/>
              <a:gd name="connsiteY19428" fmla="*/ 4174260 h 7458372"/>
              <a:gd name="connsiteX19429" fmla="*/ 5264875 w 10505529"/>
              <a:gd name="connsiteY19429" fmla="*/ 4170000 h 7458372"/>
              <a:gd name="connsiteX19430" fmla="*/ 5265939 w 10505529"/>
              <a:gd name="connsiteY19430" fmla="*/ 4164542 h 7458372"/>
              <a:gd name="connsiteX19431" fmla="*/ 5264875 w 10505529"/>
              <a:gd name="connsiteY19431" fmla="*/ 4159351 h 7458372"/>
              <a:gd name="connsiteX19432" fmla="*/ 5262212 w 10505529"/>
              <a:gd name="connsiteY19432" fmla="*/ 4155091 h 7458372"/>
              <a:gd name="connsiteX19433" fmla="*/ 5258219 w 10505529"/>
              <a:gd name="connsiteY19433" fmla="*/ 4152428 h 7458372"/>
              <a:gd name="connsiteX19434" fmla="*/ 5253160 w 10505529"/>
              <a:gd name="connsiteY19434" fmla="*/ 4151497 h 7458372"/>
              <a:gd name="connsiteX19435" fmla="*/ 5035515 w 10505529"/>
              <a:gd name="connsiteY19435" fmla="*/ 4151497 h 7458372"/>
              <a:gd name="connsiteX19436" fmla="*/ 5025532 w 10505529"/>
              <a:gd name="connsiteY19436" fmla="*/ 4155091 h 7458372"/>
              <a:gd name="connsiteX19437" fmla="*/ 5021938 w 10505529"/>
              <a:gd name="connsiteY19437" fmla="*/ 4164542 h 7458372"/>
              <a:gd name="connsiteX19438" fmla="*/ 5025532 w 10505529"/>
              <a:gd name="connsiteY19438" fmla="*/ 4173993 h 7458372"/>
              <a:gd name="connsiteX19439" fmla="*/ 5035515 w 10505529"/>
              <a:gd name="connsiteY19439" fmla="*/ 4177455 h 7458372"/>
              <a:gd name="connsiteX19440" fmla="*/ 5040840 w 10505529"/>
              <a:gd name="connsiteY19440" fmla="*/ 4176657 h 7458372"/>
              <a:gd name="connsiteX19441" fmla="*/ 5044567 w 10505529"/>
              <a:gd name="connsiteY19441" fmla="*/ 4174260 h 7458372"/>
              <a:gd name="connsiteX19442" fmla="*/ 5047230 w 10505529"/>
              <a:gd name="connsiteY19442" fmla="*/ 4170000 h 7458372"/>
              <a:gd name="connsiteX19443" fmla="*/ 5048294 w 10505529"/>
              <a:gd name="connsiteY19443" fmla="*/ 4164542 h 7458372"/>
              <a:gd name="connsiteX19444" fmla="*/ 5047230 w 10505529"/>
              <a:gd name="connsiteY19444" fmla="*/ 4159351 h 7458372"/>
              <a:gd name="connsiteX19445" fmla="*/ 5044567 w 10505529"/>
              <a:gd name="connsiteY19445" fmla="*/ 4155091 h 7458372"/>
              <a:gd name="connsiteX19446" fmla="*/ 5040574 w 10505529"/>
              <a:gd name="connsiteY19446" fmla="*/ 4152428 h 7458372"/>
              <a:gd name="connsiteX19447" fmla="*/ 5035515 w 10505529"/>
              <a:gd name="connsiteY19447" fmla="*/ 4151497 h 7458372"/>
              <a:gd name="connsiteX19448" fmla="*/ 4817870 w 10505529"/>
              <a:gd name="connsiteY19448" fmla="*/ 4151497 h 7458372"/>
              <a:gd name="connsiteX19449" fmla="*/ 4807887 w 10505529"/>
              <a:gd name="connsiteY19449" fmla="*/ 4155091 h 7458372"/>
              <a:gd name="connsiteX19450" fmla="*/ 4804293 w 10505529"/>
              <a:gd name="connsiteY19450" fmla="*/ 4164542 h 7458372"/>
              <a:gd name="connsiteX19451" fmla="*/ 4807887 w 10505529"/>
              <a:gd name="connsiteY19451" fmla="*/ 4173993 h 7458372"/>
              <a:gd name="connsiteX19452" fmla="*/ 4817870 w 10505529"/>
              <a:gd name="connsiteY19452" fmla="*/ 4177455 h 7458372"/>
              <a:gd name="connsiteX19453" fmla="*/ 4823195 w 10505529"/>
              <a:gd name="connsiteY19453" fmla="*/ 4176657 h 7458372"/>
              <a:gd name="connsiteX19454" fmla="*/ 4826922 w 10505529"/>
              <a:gd name="connsiteY19454" fmla="*/ 4174260 h 7458372"/>
              <a:gd name="connsiteX19455" fmla="*/ 4829585 w 10505529"/>
              <a:gd name="connsiteY19455" fmla="*/ 4170000 h 7458372"/>
              <a:gd name="connsiteX19456" fmla="*/ 4830650 w 10505529"/>
              <a:gd name="connsiteY19456" fmla="*/ 4164542 h 7458372"/>
              <a:gd name="connsiteX19457" fmla="*/ 4829585 w 10505529"/>
              <a:gd name="connsiteY19457" fmla="*/ 4159351 h 7458372"/>
              <a:gd name="connsiteX19458" fmla="*/ 4826922 w 10505529"/>
              <a:gd name="connsiteY19458" fmla="*/ 4155091 h 7458372"/>
              <a:gd name="connsiteX19459" fmla="*/ 4822929 w 10505529"/>
              <a:gd name="connsiteY19459" fmla="*/ 4152428 h 7458372"/>
              <a:gd name="connsiteX19460" fmla="*/ 4817870 w 10505529"/>
              <a:gd name="connsiteY19460" fmla="*/ 4151497 h 7458372"/>
              <a:gd name="connsiteX19461" fmla="*/ 4600226 w 10505529"/>
              <a:gd name="connsiteY19461" fmla="*/ 4151497 h 7458372"/>
              <a:gd name="connsiteX19462" fmla="*/ 4590242 w 10505529"/>
              <a:gd name="connsiteY19462" fmla="*/ 4155091 h 7458372"/>
              <a:gd name="connsiteX19463" fmla="*/ 4586648 w 10505529"/>
              <a:gd name="connsiteY19463" fmla="*/ 4164542 h 7458372"/>
              <a:gd name="connsiteX19464" fmla="*/ 4590242 w 10505529"/>
              <a:gd name="connsiteY19464" fmla="*/ 4173993 h 7458372"/>
              <a:gd name="connsiteX19465" fmla="*/ 4600226 w 10505529"/>
              <a:gd name="connsiteY19465" fmla="*/ 4177455 h 7458372"/>
              <a:gd name="connsiteX19466" fmla="*/ 4605550 w 10505529"/>
              <a:gd name="connsiteY19466" fmla="*/ 4176657 h 7458372"/>
              <a:gd name="connsiteX19467" fmla="*/ 4609277 w 10505529"/>
              <a:gd name="connsiteY19467" fmla="*/ 4174260 h 7458372"/>
              <a:gd name="connsiteX19468" fmla="*/ 4611940 w 10505529"/>
              <a:gd name="connsiteY19468" fmla="*/ 4170000 h 7458372"/>
              <a:gd name="connsiteX19469" fmla="*/ 4613005 w 10505529"/>
              <a:gd name="connsiteY19469" fmla="*/ 4164542 h 7458372"/>
              <a:gd name="connsiteX19470" fmla="*/ 4611940 w 10505529"/>
              <a:gd name="connsiteY19470" fmla="*/ 4159351 h 7458372"/>
              <a:gd name="connsiteX19471" fmla="*/ 4609277 w 10505529"/>
              <a:gd name="connsiteY19471" fmla="*/ 4155091 h 7458372"/>
              <a:gd name="connsiteX19472" fmla="*/ 4605284 w 10505529"/>
              <a:gd name="connsiteY19472" fmla="*/ 4152428 h 7458372"/>
              <a:gd name="connsiteX19473" fmla="*/ 4600226 w 10505529"/>
              <a:gd name="connsiteY19473" fmla="*/ 4151497 h 7458372"/>
              <a:gd name="connsiteX19474" fmla="*/ 4382713 w 10505529"/>
              <a:gd name="connsiteY19474" fmla="*/ 4151497 h 7458372"/>
              <a:gd name="connsiteX19475" fmla="*/ 4372730 w 10505529"/>
              <a:gd name="connsiteY19475" fmla="*/ 4155091 h 7458372"/>
              <a:gd name="connsiteX19476" fmla="*/ 4369136 w 10505529"/>
              <a:gd name="connsiteY19476" fmla="*/ 4164542 h 7458372"/>
              <a:gd name="connsiteX19477" fmla="*/ 4372730 w 10505529"/>
              <a:gd name="connsiteY19477" fmla="*/ 4173993 h 7458372"/>
              <a:gd name="connsiteX19478" fmla="*/ 4382713 w 10505529"/>
              <a:gd name="connsiteY19478" fmla="*/ 4177455 h 7458372"/>
              <a:gd name="connsiteX19479" fmla="*/ 4388038 w 10505529"/>
              <a:gd name="connsiteY19479" fmla="*/ 4176657 h 7458372"/>
              <a:gd name="connsiteX19480" fmla="*/ 4391765 w 10505529"/>
              <a:gd name="connsiteY19480" fmla="*/ 4174260 h 7458372"/>
              <a:gd name="connsiteX19481" fmla="*/ 4394428 w 10505529"/>
              <a:gd name="connsiteY19481" fmla="*/ 4170000 h 7458372"/>
              <a:gd name="connsiteX19482" fmla="*/ 4395493 w 10505529"/>
              <a:gd name="connsiteY19482" fmla="*/ 4164542 h 7458372"/>
              <a:gd name="connsiteX19483" fmla="*/ 4394428 w 10505529"/>
              <a:gd name="connsiteY19483" fmla="*/ 4159351 h 7458372"/>
              <a:gd name="connsiteX19484" fmla="*/ 4391765 w 10505529"/>
              <a:gd name="connsiteY19484" fmla="*/ 4155091 h 7458372"/>
              <a:gd name="connsiteX19485" fmla="*/ 4387772 w 10505529"/>
              <a:gd name="connsiteY19485" fmla="*/ 4152428 h 7458372"/>
              <a:gd name="connsiteX19486" fmla="*/ 4382713 w 10505529"/>
              <a:gd name="connsiteY19486" fmla="*/ 4151497 h 7458372"/>
              <a:gd name="connsiteX19487" fmla="*/ 4165068 w 10505529"/>
              <a:gd name="connsiteY19487" fmla="*/ 4151497 h 7458372"/>
              <a:gd name="connsiteX19488" fmla="*/ 4155084 w 10505529"/>
              <a:gd name="connsiteY19488" fmla="*/ 4155091 h 7458372"/>
              <a:gd name="connsiteX19489" fmla="*/ 4151490 w 10505529"/>
              <a:gd name="connsiteY19489" fmla="*/ 4164542 h 7458372"/>
              <a:gd name="connsiteX19490" fmla="*/ 4155084 w 10505529"/>
              <a:gd name="connsiteY19490" fmla="*/ 4173993 h 7458372"/>
              <a:gd name="connsiteX19491" fmla="*/ 4165068 w 10505529"/>
              <a:gd name="connsiteY19491" fmla="*/ 4177455 h 7458372"/>
              <a:gd name="connsiteX19492" fmla="*/ 4170392 w 10505529"/>
              <a:gd name="connsiteY19492" fmla="*/ 4176657 h 7458372"/>
              <a:gd name="connsiteX19493" fmla="*/ 4174119 w 10505529"/>
              <a:gd name="connsiteY19493" fmla="*/ 4174260 h 7458372"/>
              <a:gd name="connsiteX19494" fmla="*/ 4176782 w 10505529"/>
              <a:gd name="connsiteY19494" fmla="*/ 4170000 h 7458372"/>
              <a:gd name="connsiteX19495" fmla="*/ 4177847 w 10505529"/>
              <a:gd name="connsiteY19495" fmla="*/ 4164542 h 7458372"/>
              <a:gd name="connsiteX19496" fmla="*/ 4176782 w 10505529"/>
              <a:gd name="connsiteY19496" fmla="*/ 4159351 h 7458372"/>
              <a:gd name="connsiteX19497" fmla="*/ 4174119 w 10505529"/>
              <a:gd name="connsiteY19497" fmla="*/ 4155091 h 7458372"/>
              <a:gd name="connsiteX19498" fmla="*/ 4170126 w 10505529"/>
              <a:gd name="connsiteY19498" fmla="*/ 4152428 h 7458372"/>
              <a:gd name="connsiteX19499" fmla="*/ 4165068 w 10505529"/>
              <a:gd name="connsiteY19499" fmla="*/ 4151497 h 7458372"/>
              <a:gd name="connsiteX19500" fmla="*/ 3947651 w 10505529"/>
              <a:gd name="connsiteY19500" fmla="*/ 4151497 h 7458372"/>
              <a:gd name="connsiteX19501" fmla="*/ 3937668 w 10505529"/>
              <a:gd name="connsiteY19501" fmla="*/ 4155091 h 7458372"/>
              <a:gd name="connsiteX19502" fmla="*/ 3934074 w 10505529"/>
              <a:gd name="connsiteY19502" fmla="*/ 4164542 h 7458372"/>
              <a:gd name="connsiteX19503" fmla="*/ 3937668 w 10505529"/>
              <a:gd name="connsiteY19503" fmla="*/ 4173993 h 7458372"/>
              <a:gd name="connsiteX19504" fmla="*/ 3947651 w 10505529"/>
              <a:gd name="connsiteY19504" fmla="*/ 4177455 h 7458372"/>
              <a:gd name="connsiteX19505" fmla="*/ 3952979 w 10505529"/>
              <a:gd name="connsiteY19505" fmla="*/ 4176657 h 7458372"/>
              <a:gd name="connsiteX19506" fmla="*/ 3956705 w 10505529"/>
              <a:gd name="connsiteY19506" fmla="*/ 4174260 h 7458372"/>
              <a:gd name="connsiteX19507" fmla="*/ 3959368 w 10505529"/>
              <a:gd name="connsiteY19507" fmla="*/ 4170000 h 7458372"/>
              <a:gd name="connsiteX19508" fmla="*/ 3960433 w 10505529"/>
              <a:gd name="connsiteY19508" fmla="*/ 4164542 h 7458372"/>
              <a:gd name="connsiteX19509" fmla="*/ 3959368 w 10505529"/>
              <a:gd name="connsiteY19509" fmla="*/ 4159351 h 7458372"/>
              <a:gd name="connsiteX19510" fmla="*/ 3956705 w 10505529"/>
              <a:gd name="connsiteY19510" fmla="*/ 4155091 h 7458372"/>
              <a:gd name="connsiteX19511" fmla="*/ 3952712 w 10505529"/>
              <a:gd name="connsiteY19511" fmla="*/ 4152428 h 7458372"/>
              <a:gd name="connsiteX19512" fmla="*/ 3947651 w 10505529"/>
              <a:gd name="connsiteY19512" fmla="*/ 4151497 h 7458372"/>
              <a:gd name="connsiteX19513" fmla="*/ 3729995 w 10505529"/>
              <a:gd name="connsiteY19513" fmla="*/ 4151497 h 7458372"/>
              <a:gd name="connsiteX19514" fmla="*/ 3720009 w 10505529"/>
              <a:gd name="connsiteY19514" fmla="*/ 4155091 h 7458372"/>
              <a:gd name="connsiteX19515" fmla="*/ 3716416 w 10505529"/>
              <a:gd name="connsiteY19515" fmla="*/ 4164542 h 7458372"/>
              <a:gd name="connsiteX19516" fmla="*/ 3720009 w 10505529"/>
              <a:gd name="connsiteY19516" fmla="*/ 4173993 h 7458372"/>
              <a:gd name="connsiteX19517" fmla="*/ 3729995 w 10505529"/>
              <a:gd name="connsiteY19517" fmla="*/ 4177455 h 7458372"/>
              <a:gd name="connsiteX19518" fmla="*/ 3735320 w 10505529"/>
              <a:gd name="connsiteY19518" fmla="*/ 4176657 h 7458372"/>
              <a:gd name="connsiteX19519" fmla="*/ 3739048 w 10505529"/>
              <a:gd name="connsiteY19519" fmla="*/ 4174260 h 7458372"/>
              <a:gd name="connsiteX19520" fmla="*/ 3741711 w 10505529"/>
              <a:gd name="connsiteY19520" fmla="*/ 4170000 h 7458372"/>
              <a:gd name="connsiteX19521" fmla="*/ 3742776 w 10505529"/>
              <a:gd name="connsiteY19521" fmla="*/ 4164542 h 7458372"/>
              <a:gd name="connsiteX19522" fmla="*/ 3741711 w 10505529"/>
              <a:gd name="connsiteY19522" fmla="*/ 4159351 h 7458372"/>
              <a:gd name="connsiteX19523" fmla="*/ 3739048 w 10505529"/>
              <a:gd name="connsiteY19523" fmla="*/ 4155091 h 7458372"/>
              <a:gd name="connsiteX19524" fmla="*/ 3735055 w 10505529"/>
              <a:gd name="connsiteY19524" fmla="*/ 4152428 h 7458372"/>
              <a:gd name="connsiteX19525" fmla="*/ 3729995 w 10505529"/>
              <a:gd name="connsiteY19525" fmla="*/ 4151497 h 7458372"/>
              <a:gd name="connsiteX19526" fmla="*/ 3512338 w 10505529"/>
              <a:gd name="connsiteY19526" fmla="*/ 4151497 h 7458372"/>
              <a:gd name="connsiteX19527" fmla="*/ 3502351 w 10505529"/>
              <a:gd name="connsiteY19527" fmla="*/ 4155091 h 7458372"/>
              <a:gd name="connsiteX19528" fmla="*/ 3498758 w 10505529"/>
              <a:gd name="connsiteY19528" fmla="*/ 4164542 h 7458372"/>
              <a:gd name="connsiteX19529" fmla="*/ 3502351 w 10505529"/>
              <a:gd name="connsiteY19529" fmla="*/ 4173993 h 7458372"/>
              <a:gd name="connsiteX19530" fmla="*/ 3512338 w 10505529"/>
              <a:gd name="connsiteY19530" fmla="*/ 4177455 h 7458372"/>
              <a:gd name="connsiteX19531" fmla="*/ 3517664 w 10505529"/>
              <a:gd name="connsiteY19531" fmla="*/ 4176657 h 7458372"/>
              <a:gd name="connsiteX19532" fmla="*/ 3521391 w 10505529"/>
              <a:gd name="connsiteY19532" fmla="*/ 4174260 h 7458372"/>
              <a:gd name="connsiteX19533" fmla="*/ 3524054 w 10505529"/>
              <a:gd name="connsiteY19533" fmla="*/ 4170000 h 7458372"/>
              <a:gd name="connsiteX19534" fmla="*/ 3525119 w 10505529"/>
              <a:gd name="connsiteY19534" fmla="*/ 4164542 h 7458372"/>
              <a:gd name="connsiteX19535" fmla="*/ 3524054 w 10505529"/>
              <a:gd name="connsiteY19535" fmla="*/ 4159351 h 7458372"/>
              <a:gd name="connsiteX19536" fmla="*/ 3521391 w 10505529"/>
              <a:gd name="connsiteY19536" fmla="*/ 4155091 h 7458372"/>
              <a:gd name="connsiteX19537" fmla="*/ 3517398 w 10505529"/>
              <a:gd name="connsiteY19537" fmla="*/ 4152428 h 7458372"/>
              <a:gd name="connsiteX19538" fmla="*/ 3512338 w 10505529"/>
              <a:gd name="connsiteY19538" fmla="*/ 4151497 h 7458372"/>
              <a:gd name="connsiteX19539" fmla="*/ 3294815 w 10505529"/>
              <a:gd name="connsiteY19539" fmla="*/ 4151497 h 7458372"/>
              <a:gd name="connsiteX19540" fmla="*/ 3284829 w 10505529"/>
              <a:gd name="connsiteY19540" fmla="*/ 4155091 h 7458372"/>
              <a:gd name="connsiteX19541" fmla="*/ 3281235 w 10505529"/>
              <a:gd name="connsiteY19541" fmla="*/ 4164542 h 7458372"/>
              <a:gd name="connsiteX19542" fmla="*/ 3284829 w 10505529"/>
              <a:gd name="connsiteY19542" fmla="*/ 4173993 h 7458372"/>
              <a:gd name="connsiteX19543" fmla="*/ 3294815 w 10505529"/>
              <a:gd name="connsiteY19543" fmla="*/ 4177455 h 7458372"/>
              <a:gd name="connsiteX19544" fmla="*/ 3300140 w 10505529"/>
              <a:gd name="connsiteY19544" fmla="*/ 4176657 h 7458372"/>
              <a:gd name="connsiteX19545" fmla="*/ 3303867 w 10505529"/>
              <a:gd name="connsiteY19545" fmla="*/ 4174260 h 7458372"/>
              <a:gd name="connsiteX19546" fmla="*/ 3306531 w 10505529"/>
              <a:gd name="connsiteY19546" fmla="*/ 4170000 h 7458372"/>
              <a:gd name="connsiteX19547" fmla="*/ 3307594 w 10505529"/>
              <a:gd name="connsiteY19547" fmla="*/ 4164542 h 7458372"/>
              <a:gd name="connsiteX19548" fmla="*/ 3306531 w 10505529"/>
              <a:gd name="connsiteY19548" fmla="*/ 4159351 h 7458372"/>
              <a:gd name="connsiteX19549" fmla="*/ 3303867 w 10505529"/>
              <a:gd name="connsiteY19549" fmla="*/ 4155091 h 7458372"/>
              <a:gd name="connsiteX19550" fmla="*/ 3299874 w 10505529"/>
              <a:gd name="connsiteY19550" fmla="*/ 4152428 h 7458372"/>
              <a:gd name="connsiteX19551" fmla="*/ 3294815 w 10505529"/>
              <a:gd name="connsiteY19551" fmla="*/ 4151497 h 7458372"/>
              <a:gd name="connsiteX19552" fmla="*/ 3077291 w 10505529"/>
              <a:gd name="connsiteY19552" fmla="*/ 4151497 h 7458372"/>
              <a:gd name="connsiteX19553" fmla="*/ 3067308 w 10505529"/>
              <a:gd name="connsiteY19553" fmla="*/ 4155091 h 7458372"/>
              <a:gd name="connsiteX19554" fmla="*/ 3063577 w 10505529"/>
              <a:gd name="connsiteY19554" fmla="*/ 4164542 h 7458372"/>
              <a:gd name="connsiteX19555" fmla="*/ 3067173 w 10505529"/>
              <a:gd name="connsiteY19555" fmla="*/ 4173993 h 7458372"/>
              <a:gd name="connsiteX19556" fmla="*/ 3077158 w 10505529"/>
              <a:gd name="connsiteY19556" fmla="*/ 4177455 h 7458372"/>
              <a:gd name="connsiteX19557" fmla="*/ 3082616 w 10505529"/>
              <a:gd name="connsiteY19557" fmla="*/ 4176657 h 7458372"/>
              <a:gd name="connsiteX19558" fmla="*/ 3086344 w 10505529"/>
              <a:gd name="connsiteY19558" fmla="*/ 4174260 h 7458372"/>
              <a:gd name="connsiteX19559" fmla="*/ 3089006 w 10505529"/>
              <a:gd name="connsiteY19559" fmla="*/ 4170000 h 7458372"/>
              <a:gd name="connsiteX19560" fmla="*/ 3089938 w 10505529"/>
              <a:gd name="connsiteY19560" fmla="*/ 4164542 h 7458372"/>
              <a:gd name="connsiteX19561" fmla="*/ 3089006 w 10505529"/>
              <a:gd name="connsiteY19561" fmla="*/ 4159351 h 7458372"/>
              <a:gd name="connsiteX19562" fmla="*/ 3086344 w 10505529"/>
              <a:gd name="connsiteY19562" fmla="*/ 4155091 h 7458372"/>
              <a:gd name="connsiteX19563" fmla="*/ 3082350 w 10505529"/>
              <a:gd name="connsiteY19563" fmla="*/ 4152428 h 7458372"/>
              <a:gd name="connsiteX19564" fmla="*/ 3077291 w 10505529"/>
              <a:gd name="connsiteY19564" fmla="*/ 4151497 h 7458372"/>
              <a:gd name="connsiteX19565" fmla="*/ 2859501 w 10505529"/>
              <a:gd name="connsiteY19565" fmla="*/ 4151497 h 7458372"/>
              <a:gd name="connsiteX19566" fmla="*/ 2849515 w 10505529"/>
              <a:gd name="connsiteY19566" fmla="*/ 4155091 h 7458372"/>
              <a:gd name="connsiteX19567" fmla="*/ 2845918 w 10505529"/>
              <a:gd name="connsiteY19567" fmla="*/ 4164542 h 7458372"/>
              <a:gd name="connsiteX19568" fmla="*/ 2849515 w 10505529"/>
              <a:gd name="connsiteY19568" fmla="*/ 4173993 h 7458372"/>
              <a:gd name="connsiteX19569" fmla="*/ 2859501 w 10505529"/>
              <a:gd name="connsiteY19569" fmla="*/ 4177455 h 7458372"/>
              <a:gd name="connsiteX19570" fmla="*/ 2864826 w 10505529"/>
              <a:gd name="connsiteY19570" fmla="*/ 4176657 h 7458372"/>
              <a:gd name="connsiteX19571" fmla="*/ 2868553 w 10505529"/>
              <a:gd name="connsiteY19571" fmla="*/ 4174260 h 7458372"/>
              <a:gd name="connsiteX19572" fmla="*/ 2871216 w 10505529"/>
              <a:gd name="connsiteY19572" fmla="*/ 4170000 h 7458372"/>
              <a:gd name="connsiteX19573" fmla="*/ 2872147 w 10505529"/>
              <a:gd name="connsiteY19573" fmla="*/ 4164542 h 7458372"/>
              <a:gd name="connsiteX19574" fmla="*/ 2871216 w 10505529"/>
              <a:gd name="connsiteY19574" fmla="*/ 4159351 h 7458372"/>
              <a:gd name="connsiteX19575" fmla="*/ 2868553 w 10505529"/>
              <a:gd name="connsiteY19575" fmla="*/ 4155091 h 7458372"/>
              <a:gd name="connsiteX19576" fmla="*/ 2864560 w 10505529"/>
              <a:gd name="connsiteY19576" fmla="*/ 4152428 h 7458372"/>
              <a:gd name="connsiteX19577" fmla="*/ 2859501 w 10505529"/>
              <a:gd name="connsiteY19577" fmla="*/ 4151497 h 7458372"/>
              <a:gd name="connsiteX19578" fmla="*/ 2641844 w 10505529"/>
              <a:gd name="connsiteY19578" fmla="*/ 4151497 h 7458372"/>
              <a:gd name="connsiteX19579" fmla="*/ 2631861 w 10505529"/>
              <a:gd name="connsiteY19579" fmla="*/ 4155091 h 7458372"/>
              <a:gd name="connsiteX19580" fmla="*/ 2628266 w 10505529"/>
              <a:gd name="connsiteY19580" fmla="*/ 4164542 h 7458372"/>
              <a:gd name="connsiteX19581" fmla="*/ 2631861 w 10505529"/>
              <a:gd name="connsiteY19581" fmla="*/ 4173993 h 7458372"/>
              <a:gd name="connsiteX19582" fmla="*/ 2641844 w 10505529"/>
              <a:gd name="connsiteY19582" fmla="*/ 4177455 h 7458372"/>
              <a:gd name="connsiteX19583" fmla="*/ 2647169 w 10505529"/>
              <a:gd name="connsiteY19583" fmla="*/ 4176657 h 7458372"/>
              <a:gd name="connsiteX19584" fmla="*/ 2650896 w 10505529"/>
              <a:gd name="connsiteY19584" fmla="*/ 4174260 h 7458372"/>
              <a:gd name="connsiteX19585" fmla="*/ 2653559 w 10505529"/>
              <a:gd name="connsiteY19585" fmla="*/ 4170000 h 7458372"/>
              <a:gd name="connsiteX19586" fmla="*/ 2654490 w 10505529"/>
              <a:gd name="connsiteY19586" fmla="*/ 4164542 h 7458372"/>
              <a:gd name="connsiteX19587" fmla="*/ 2653559 w 10505529"/>
              <a:gd name="connsiteY19587" fmla="*/ 4159351 h 7458372"/>
              <a:gd name="connsiteX19588" fmla="*/ 2650896 w 10505529"/>
              <a:gd name="connsiteY19588" fmla="*/ 4155091 h 7458372"/>
              <a:gd name="connsiteX19589" fmla="*/ 2646903 w 10505529"/>
              <a:gd name="connsiteY19589" fmla="*/ 4152428 h 7458372"/>
              <a:gd name="connsiteX19590" fmla="*/ 2641844 w 10505529"/>
              <a:gd name="connsiteY19590" fmla="*/ 4151497 h 7458372"/>
              <a:gd name="connsiteX19591" fmla="*/ 2424187 w 10505529"/>
              <a:gd name="connsiteY19591" fmla="*/ 4151497 h 7458372"/>
              <a:gd name="connsiteX19592" fmla="*/ 2414204 w 10505529"/>
              <a:gd name="connsiteY19592" fmla="*/ 4155091 h 7458372"/>
              <a:gd name="connsiteX19593" fmla="*/ 2410609 w 10505529"/>
              <a:gd name="connsiteY19593" fmla="*/ 4164542 h 7458372"/>
              <a:gd name="connsiteX19594" fmla="*/ 2414204 w 10505529"/>
              <a:gd name="connsiteY19594" fmla="*/ 4173993 h 7458372"/>
              <a:gd name="connsiteX19595" fmla="*/ 2424187 w 10505529"/>
              <a:gd name="connsiteY19595" fmla="*/ 4177455 h 7458372"/>
              <a:gd name="connsiteX19596" fmla="*/ 2429512 w 10505529"/>
              <a:gd name="connsiteY19596" fmla="*/ 4176657 h 7458372"/>
              <a:gd name="connsiteX19597" fmla="*/ 2433239 w 10505529"/>
              <a:gd name="connsiteY19597" fmla="*/ 4174260 h 7458372"/>
              <a:gd name="connsiteX19598" fmla="*/ 2435902 w 10505529"/>
              <a:gd name="connsiteY19598" fmla="*/ 4170000 h 7458372"/>
              <a:gd name="connsiteX19599" fmla="*/ 2436833 w 10505529"/>
              <a:gd name="connsiteY19599" fmla="*/ 4164542 h 7458372"/>
              <a:gd name="connsiteX19600" fmla="*/ 2435902 w 10505529"/>
              <a:gd name="connsiteY19600" fmla="*/ 4159351 h 7458372"/>
              <a:gd name="connsiteX19601" fmla="*/ 2433239 w 10505529"/>
              <a:gd name="connsiteY19601" fmla="*/ 4155091 h 7458372"/>
              <a:gd name="connsiteX19602" fmla="*/ 2429246 w 10505529"/>
              <a:gd name="connsiteY19602" fmla="*/ 4152428 h 7458372"/>
              <a:gd name="connsiteX19603" fmla="*/ 2424187 w 10505529"/>
              <a:gd name="connsiteY19603" fmla="*/ 4151497 h 7458372"/>
              <a:gd name="connsiteX19604" fmla="*/ 2206530 w 10505529"/>
              <a:gd name="connsiteY19604" fmla="*/ 4151497 h 7458372"/>
              <a:gd name="connsiteX19605" fmla="*/ 2196546 w 10505529"/>
              <a:gd name="connsiteY19605" fmla="*/ 4155091 h 7458372"/>
              <a:gd name="connsiteX19606" fmla="*/ 2192952 w 10505529"/>
              <a:gd name="connsiteY19606" fmla="*/ 4164542 h 7458372"/>
              <a:gd name="connsiteX19607" fmla="*/ 2196546 w 10505529"/>
              <a:gd name="connsiteY19607" fmla="*/ 4173993 h 7458372"/>
              <a:gd name="connsiteX19608" fmla="*/ 2206530 w 10505529"/>
              <a:gd name="connsiteY19608" fmla="*/ 4177455 h 7458372"/>
              <a:gd name="connsiteX19609" fmla="*/ 2211855 w 10505529"/>
              <a:gd name="connsiteY19609" fmla="*/ 4176657 h 7458372"/>
              <a:gd name="connsiteX19610" fmla="*/ 2215582 w 10505529"/>
              <a:gd name="connsiteY19610" fmla="*/ 4174260 h 7458372"/>
              <a:gd name="connsiteX19611" fmla="*/ 2218245 w 10505529"/>
              <a:gd name="connsiteY19611" fmla="*/ 4170000 h 7458372"/>
              <a:gd name="connsiteX19612" fmla="*/ 2219176 w 10505529"/>
              <a:gd name="connsiteY19612" fmla="*/ 4164542 h 7458372"/>
              <a:gd name="connsiteX19613" fmla="*/ 2218245 w 10505529"/>
              <a:gd name="connsiteY19613" fmla="*/ 4159351 h 7458372"/>
              <a:gd name="connsiteX19614" fmla="*/ 2215582 w 10505529"/>
              <a:gd name="connsiteY19614" fmla="*/ 4155091 h 7458372"/>
              <a:gd name="connsiteX19615" fmla="*/ 2211589 w 10505529"/>
              <a:gd name="connsiteY19615" fmla="*/ 4152428 h 7458372"/>
              <a:gd name="connsiteX19616" fmla="*/ 2206530 w 10505529"/>
              <a:gd name="connsiteY19616" fmla="*/ 4151497 h 7458372"/>
              <a:gd name="connsiteX19617" fmla="*/ 1989006 w 10505529"/>
              <a:gd name="connsiteY19617" fmla="*/ 4151497 h 7458372"/>
              <a:gd name="connsiteX19618" fmla="*/ 1979023 w 10505529"/>
              <a:gd name="connsiteY19618" fmla="*/ 4155091 h 7458372"/>
              <a:gd name="connsiteX19619" fmla="*/ 1975428 w 10505529"/>
              <a:gd name="connsiteY19619" fmla="*/ 4164542 h 7458372"/>
              <a:gd name="connsiteX19620" fmla="*/ 1979023 w 10505529"/>
              <a:gd name="connsiteY19620" fmla="*/ 4173993 h 7458372"/>
              <a:gd name="connsiteX19621" fmla="*/ 1989006 w 10505529"/>
              <a:gd name="connsiteY19621" fmla="*/ 4177455 h 7458372"/>
              <a:gd name="connsiteX19622" fmla="*/ 1994330 w 10505529"/>
              <a:gd name="connsiteY19622" fmla="*/ 4176657 h 7458372"/>
              <a:gd name="connsiteX19623" fmla="*/ 1998058 w 10505529"/>
              <a:gd name="connsiteY19623" fmla="*/ 4174260 h 7458372"/>
              <a:gd name="connsiteX19624" fmla="*/ 2000721 w 10505529"/>
              <a:gd name="connsiteY19624" fmla="*/ 4170000 h 7458372"/>
              <a:gd name="connsiteX19625" fmla="*/ 2001651 w 10505529"/>
              <a:gd name="connsiteY19625" fmla="*/ 4164542 h 7458372"/>
              <a:gd name="connsiteX19626" fmla="*/ 2000721 w 10505529"/>
              <a:gd name="connsiteY19626" fmla="*/ 4159351 h 7458372"/>
              <a:gd name="connsiteX19627" fmla="*/ 1998058 w 10505529"/>
              <a:gd name="connsiteY19627" fmla="*/ 4155091 h 7458372"/>
              <a:gd name="connsiteX19628" fmla="*/ 1994064 w 10505529"/>
              <a:gd name="connsiteY19628" fmla="*/ 4152428 h 7458372"/>
              <a:gd name="connsiteX19629" fmla="*/ 1989006 w 10505529"/>
              <a:gd name="connsiteY19629" fmla="*/ 4151497 h 7458372"/>
              <a:gd name="connsiteX19630" fmla="*/ 1771369 w 10505529"/>
              <a:gd name="connsiteY19630" fmla="*/ 4151497 h 7458372"/>
              <a:gd name="connsiteX19631" fmla="*/ 1761387 w 10505529"/>
              <a:gd name="connsiteY19631" fmla="*/ 4155091 h 7458372"/>
              <a:gd name="connsiteX19632" fmla="*/ 1757793 w 10505529"/>
              <a:gd name="connsiteY19632" fmla="*/ 4164542 h 7458372"/>
              <a:gd name="connsiteX19633" fmla="*/ 1761387 w 10505529"/>
              <a:gd name="connsiteY19633" fmla="*/ 4173993 h 7458372"/>
              <a:gd name="connsiteX19634" fmla="*/ 1771369 w 10505529"/>
              <a:gd name="connsiteY19634" fmla="*/ 4177455 h 7458372"/>
              <a:gd name="connsiteX19635" fmla="*/ 1776694 w 10505529"/>
              <a:gd name="connsiteY19635" fmla="*/ 4176657 h 7458372"/>
              <a:gd name="connsiteX19636" fmla="*/ 1780421 w 10505529"/>
              <a:gd name="connsiteY19636" fmla="*/ 4174260 h 7458372"/>
              <a:gd name="connsiteX19637" fmla="*/ 1783083 w 10505529"/>
              <a:gd name="connsiteY19637" fmla="*/ 4170000 h 7458372"/>
              <a:gd name="connsiteX19638" fmla="*/ 1784148 w 10505529"/>
              <a:gd name="connsiteY19638" fmla="*/ 4164542 h 7458372"/>
              <a:gd name="connsiteX19639" fmla="*/ 1783083 w 10505529"/>
              <a:gd name="connsiteY19639" fmla="*/ 4159351 h 7458372"/>
              <a:gd name="connsiteX19640" fmla="*/ 1780421 w 10505529"/>
              <a:gd name="connsiteY19640" fmla="*/ 4155091 h 7458372"/>
              <a:gd name="connsiteX19641" fmla="*/ 1776428 w 10505529"/>
              <a:gd name="connsiteY19641" fmla="*/ 4152428 h 7458372"/>
              <a:gd name="connsiteX19642" fmla="*/ 1771369 w 10505529"/>
              <a:gd name="connsiteY19642" fmla="*/ 4151497 h 7458372"/>
              <a:gd name="connsiteX19643" fmla="*/ 1553730 w 10505529"/>
              <a:gd name="connsiteY19643" fmla="*/ 4151497 h 7458372"/>
              <a:gd name="connsiteX19644" fmla="*/ 1543747 w 10505529"/>
              <a:gd name="connsiteY19644" fmla="*/ 4155091 h 7458372"/>
              <a:gd name="connsiteX19645" fmla="*/ 1540153 w 10505529"/>
              <a:gd name="connsiteY19645" fmla="*/ 4164542 h 7458372"/>
              <a:gd name="connsiteX19646" fmla="*/ 1543747 w 10505529"/>
              <a:gd name="connsiteY19646" fmla="*/ 4173993 h 7458372"/>
              <a:gd name="connsiteX19647" fmla="*/ 1553730 w 10505529"/>
              <a:gd name="connsiteY19647" fmla="*/ 4177455 h 7458372"/>
              <a:gd name="connsiteX19648" fmla="*/ 1559055 w 10505529"/>
              <a:gd name="connsiteY19648" fmla="*/ 4176657 h 7458372"/>
              <a:gd name="connsiteX19649" fmla="*/ 1562782 w 10505529"/>
              <a:gd name="connsiteY19649" fmla="*/ 4174260 h 7458372"/>
              <a:gd name="connsiteX19650" fmla="*/ 1565445 w 10505529"/>
              <a:gd name="connsiteY19650" fmla="*/ 4170000 h 7458372"/>
              <a:gd name="connsiteX19651" fmla="*/ 1566510 w 10505529"/>
              <a:gd name="connsiteY19651" fmla="*/ 4164542 h 7458372"/>
              <a:gd name="connsiteX19652" fmla="*/ 1565445 w 10505529"/>
              <a:gd name="connsiteY19652" fmla="*/ 4159351 h 7458372"/>
              <a:gd name="connsiteX19653" fmla="*/ 1562782 w 10505529"/>
              <a:gd name="connsiteY19653" fmla="*/ 4155091 h 7458372"/>
              <a:gd name="connsiteX19654" fmla="*/ 1558789 w 10505529"/>
              <a:gd name="connsiteY19654" fmla="*/ 4152428 h 7458372"/>
              <a:gd name="connsiteX19655" fmla="*/ 1553730 w 10505529"/>
              <a:gd name="connsiteY19655" fmla="*/ 4151497 h 7458372"/>
              <a:gd name="connsiteX19656" fmla="*/ 1336086 w 10505529"/>
              <a:gd name="connsiteY19656" fmla="*/ 4151497 h 7458372"/>
              <a:gd name="connsiteX19657" fmla="*/ 1326103 w 10505529"/>
              <a:gd name="connsiteY19657" fmla="*/ 4155091 h 7458372"/>
              <a:gd name="connsiteX19658" fmla="*/ 1322508 w 10505529"/>
              <a:gd name="connsiteY19658" fmla="*/ 4164542 h 7458372"/>
              <a:gd name="connsiteX19659" fmla="*/ 1326103 w 10505529"/>
              <a:gd name="connsiteY19659" fmla="*/ 4173993 h 7458372"/>
              <a:gd name="connsiteX19660" fmla="*/ 1336086 w 10505529"/>
              <a:gd name="connsiteY19660" fmla="*/ 4177455 h 7458372"/>
              <a:gd name="connsiteX19661" fmla="*/ 1341413 w 10505529"/>
              <a:gd name="connsiteY19661" fmla="*/ 4176657 h 7458372"/>
              <a:gd name="connsiteX19662" fmla="*/ 1345140 w 10505529"/>
              <a:gd name="connsiteY19662" fmla="*/ 4174260 h 7458372"/>
              <a:gd name="connsiteX19663" fmla="*/ 1347802 w 10505529"/>
              <a:gd name="connsiteY19663" fmla="*/ 4170000 h 7458372"/>
              <a:gd name="connsiteX19664" fmla="*/ 1348868 w 10505529"/>
              <a:gd name="connsiteY19664" fmla="*/ 4164542 h 7458372"/>
              <a:gd name="connsiteX19665" fmla="*/ 1347802 w 10505529"/>
              <a:gd name="connsiteY19665" fmla="*/ 4159351 h 7458372"/>
              <a:gd name="connsiteX19666" fmla="*/ 1345140 w 10505529"/>
              <a:gd name="connsiteY19666" fmla="*/ 4155091 h 7458372"/>
              <a:gd name="connsiteX19667" fmla="*/ 1341145 w 10505529"/>
              <a:gd name="connsiteY19667" fmla="*/ 4152428 h 7458372"/>
              <a:gd name="connsiteX19668" fmla="*/ 1336086 w 10505529"/>
              <a:gd name="connsiteY19668" fmla="*/ 4151497 h 7458372"/>
              <a:gd name="connsiteX19669" fmla="*/ 1118574 w 10505529"/>
              <a:gd name="connsiteY19669" fmla="*/ 4151497 h 7458372"/>
              <a:gd name="connsiteX19670" fmla="*/ 1108589 w 10505529"/>
              <a:gd name="connsiteY19670" fmla="*/ 4155091 h 7458372"/>
              <a:gd name="connsiteX19671" fmla="*/ 1104862 w 10505529"/>
              <a:gd name="connsiteY19671" fmla="*/ 4164542 h 7458372"/>
              <a:gd name="connsiteX19672" fmla="*/ 1108456 w 10505529"/>
              <a:gd name="connsiteY19672" fmla="*/ 4173993 h 7458372"/>
              <a:gd name="connsiteX19673" fmla="*/ 1118441 w 10505529"/>
              <a:gd name="connsiteY19673" fmla="*/ 4177455 h 7458372"/>
              <a:gd name="connsiteX19674" fmla="*/ 1123898 w 10505529"/>
              <a:gd name="connsiteY19674" fmla="*/ 4176657 h 7458372"/>
              <a:gd name="connsiteX19675" fmla="*/ 1127627 w 10505529"/>
              <a:gd name="connsiteY19675" fmla="*/ 4174260 h 7458372"/>
              <a:gd name="connsiteX19676" fmla="*/ 1130291 w 10505529"/>
              <a:gd name="connsiteY19676" fmla="*/ 4170000 h 7458372"/>
              <a:gd name="connsiteX19677" fmla="*/ 1131356 w 10505529"/>
              <a:gd name="connsiteY19677" fmla="*/ 4164542 h 7458372"/>
              <a:gd name="connsiteX19678" fmla="*/ 1130291 w 10505529"/>
              <a:gd name="connsiteY19678" fmla="*/ 4159351 h 7458372"/>
              <a:gd name="connsiteX19679" fmla="*/ 1127627 w 10505529"/>
              <a:gd name="connsiteY19679" fmla="*/ 4155091 h 7458372"/>
              <a:gd name="connsiteX19680" fmla="*/ 1123632 w 10505529"/>
              <a:gd name="connsiteY19680" fmla="*/ 4152428 h 7458372"/>
              <a:gd name="connsiteX19681" fmla="*/ 1118574 w 10505529"/>
              <a:gd name="connsiteY19681" fmla="*/ 4151497 h 7458372"/>
              <a:gd name="connsiteX19682" fmla="*/ 901062 w 10505529"/>
              <a:gd name="connsiteY19682" fmla="*/ 4151497 h 7458372"/>
              <a:gd name="connsiteX19683" fmla="*/ 891078 w 10505529"/>
              <a:gd name="connsiteY19683" fmla="*/ 4155091 h 7458372"/>
              <a:gd name="connsiteX19684" fmla="*/ 887351 w 10505529"/>
              <a:gd name="connsiteY19684" fmla="*/ 4164542 h 7458372"/>
              <a:gd name="connsiteX19685" fmla="*/ 890945 w 10505529"/>
              <a:gd name="connsiteY19685" fmla="*/ 4173993 h 7458372"/>
              <a:gd name="connsiteX19686" fmla="*/ 900928 w 10505529"/>
              <a:gd name="connsiteY19686" fmla="*/ 4177455 h 7458372"/>
              <a:gd name="connsiteX19687" fmla="*/ 906386 w 10505529"/>
              <a:gd name="connsiteY19687" fmla="*/ 4176657 h 7458372"/>
              <a:gd name="connsiteX19688" fmla="*/ 910114 w 10505529"/>
              <a:gd name="connsiteY19688" fmla="*/ 4174260 h 7458372"/>
              <a:gd name="connsiteX19689" fmla="*/ 912776 w 10505529"/>
              <a:gd name="connsiteY19689" fmla="*/ 4170000 h 7458372"/>
              <a:gd name="connsiteX19690" fmla="*/ 913841 w 10505529"/>
              <a:gd name="connsiteY19690" fmla="*/ 4164542 h 7458372"/>
              <a:gd name="connsiteX19691" fmla="*/ 912776 w 10505529"/>
              <a:gd name="connsiteY19691" fmla="*/ 4159351 h 7458372"/>
              <a:gd name="connsiteX19692" fmla="*/ 910114 w 10505529"/>
              <a:gd name="connsiteY19692" fmla="*/ 4155091 h 7458372"/>
              <a:gd name="connsiteX19693" fmla="*/ 906120 w 10505529"/>
              <a:gd name="connsiteY19693" fmla="*/ 4152428 h 7458372"/>
              <a:gd name="connsiteX19694" fmla="*/ 901062 w 10505529"/>
              <a:gd name="connsiteY19694" fmla="*/ 4151497 h 7458372"/>
              <a:gd name="connsiteX19695" fmla="*/ 683287 w 10505529"/>
              <a:gd name="connsiteY19695" fmla="*/ 4151497 h 7458372"/>
              <a:gd name="connsiteX19696" fmla="*/ 673304 w 10505529"/>
              <a:gd name="connsiteY19696" fmla="*/ 4155091 h 7458372"/>
              <a:gd name="connsiteX19697" fmla="*/ 669710 w 10505529"/>
              <a:gd name="connsiteY19697" fmla="*/ 4164542 h 7458372"/>
              <a:gd name="connsiteX19698" fmla="*/ 673304 w 10505529"/>
              <a:gd name="connsiteY19698" fmla="*/ 4173993 h 7458372"/>
              <a:gd name="connsiteX19699" fmla="*/ 683287 w 10505529"/>
              <a:gd name="connsiteY19699" fmla="*/ 4177455 h 7458372"/>
              <a:gd name="connsiteX19700" fmla="*/ 688612 w 10505529"/>
              <a:gd name="connsiteY19700" fmla="*/ 4176657 h 7458372"/>
              <a:gd name="connsiteX19701" fmla="*/ 692339 w 10505529"/>
              <a:gd name="connsiteY19701" fmla="*/ 4174260 h 7458372"/>
              <a:gd name="connsiteX19702" fmla="*/ 695002 w 10505529"/>
              <a:gd name="connsiteY19702" fmla="*/ 4170000 h 7458372"/>
              <a:gd name="connsiteX19703" fmla="*/ 696067 w 10505529"/>
              <a:gd name="connsiteY19703" fmla="*/ 4164542 h 7458372"/>
              <a:gd name="connsiteX19704" fmla="*/ 695002 w 10505529"/>
              <a:gd name="connsiteY19704" fmla="*/ 4159351 h 7458372"/>
              <a:gd name="connsiteX19705" fmla="*/ 692339 w 10505529"/>
              <a:gd name="connsiteY19705" fmla="*/ 4155091 h 7458372"/>
              <a:gd name="connsiteX19706" fmla="*/ 688346 w 10505529"/>
              <a:gd name="connsiteY19706" fmla="*/ 4152428 h 7458372"/>
              <a:gd name="connsiteX19707" fmla="*/ 683287 w 10505529"/>
              <a:gd name="connsiteY19707" fmla="*/ 4151497 h 7458372"/>
              <a:gd name="connsiteX19708" fmla="*/ 465645 w 10505529"/>
              <a:gd name="connsiteY19708" fmla="*/ 4151497 h 7458372"/>
              <a:gd name="connsiteX19709" fmla="*/ 455662 w 10505529"/>
              <a:gd name="connsiteY19709" fmla="*/ 4155091 h 7458372"/>
              <a:gd name="connsiteX19710" fmla="*/ 452068 w 10505529"/>
              <a:gd name="connsiteY19710" fmla="*/ 4164542 h 7458372"/>
              <a:gd name="connsiteX19711" fmla="*/ 455662 w 10505529"/>
              <a:gd name="connsiteY19711" fmla="*/ 4173993 h 7458372"/>
              <a:gd name="connsiteX19712" fmla="*/ 465645 w 10505529"/>
              <a:gd name="connsiteY19712" fmla="*/ 4177455 h 7458372"/>
              <a:gd name="connsiteX19713" fmla="*/ 470970 w 10505529"/>
              <a:gd name="connsiteY19713" fmla="*/ 4176657 h 7458372"/>
              <a:gd name="connsiteX19714" fmla="*/ 474697 w 10505529"/>
              <a:gd name="connsiteY19714" fmla="*/ 4174260 h 7458372"/>
              <a:gd name="connsiteX19715" fmla="*/ 477360 w 10505529"/>
              <a:gd name="connsiteY19715" fmla="*/ 4170000 h 7458372"/>
              <a:gd name="connsiteX19716" fmla="*/ 478425 w 10505529"/>
              <a:gd name="connsiteY19716" fmla="*/ 4164542 h 7458372"/>
              <a:gd name="connsiteX19717" fmla="*/ 477360 w 10505529"/>
              <a:gd name="connsiteY19717" fmla="*/ 4159351 h 7458372"/>
              <a:gd name="connsiteX19718" fmla="*/ 474697 w 10505529"/>
              <a:gd name="connsiteY19718" fmla="*/ 4155091 h 7458372"/>
              <a:gd name="connsiteX19719" fmla="*/ 470704 w 10505529"/>
              <a:gd name="connsiteY19719" fmla="*/ 4152428 h 7458372"/>
              <a:gd name="connsiteX19720" fmla="*/ 465645 w 10505529"/>
              <a:gd name="connsiteY19720" fmla="*/ 4151497 h 7458372"/>
              <a:gd name="connsiteX19721" fmla="*/ 248002 w 10505529"/>
              <a:gd name="connsiteY19721" fmla="*/ 4151497 h 7458372"/>
              <a:gd name="connsiteX19722" fmla="*/ 238020 w 10505529"/>
              <a:gd name="connsiteY19722" fmla="*/ 4155091 h 7458372"/>
              <a:gd name="connsiteX19723" fmla="*/ 234426 w 10505529"/>
              <a:gd name="connsiteY19723" fmla="*/ 4164542 h 7458372"/>
              <a:gd name="connsiteX19724" fmla="*/ 238020 w 10505529"/>
              <a:gd name="connsiteY19724" fmla="*/ 4173993 h 7458372"/>
              <a:gd name="connsiteX19725" fmla="*/ 248002 w 10505529"/>
              <a:gd name="connsiteY19725" fmla="*/ 4177455 h 7458372"/>
              <a:gd name="connsiteX19726" fmla="*/ 253327 w 10505529"/>
              <a:gd name="connsiteY19726" fmla="*/ 4176657 h 7458372"/>
              <a:gd name="connsiteX19727" fmla="*/ 257054 w 10505529"/>
              <a:gd name="connsiteY19727" fmla="*/ 4174260 h 7458372"/>
              <a:gd name="connsiteX19728" fmla="*/ 259717 w 10505529"/>
              <a:gd name="connsiteY19728" fmla="*/ 4170000 h 7458372"/>
              <a:gd name="connsiteX19729" fmla="*/ 260782 w 10505529"/>
              <a:gd name="connsiteY19729" fmla="*/ 4164542 h 7458372"/>
              <a:gd name="connsiteX19730" fmla="*/ 259717 w 10505529"/>
              <a:gd name="connsiteY19730" fmla="*/ 4159351 h 7458372"/>
              <a:gd name="connsiteX19731" fmla="*/ 257054 w 10505529"/>
              <a:gd name="connsiteY19731" fmla="*/ 4155091 h 7458372"/>
              <a:gd name="connsiteX19732" fmla="*/ 253061 w 10505529"/>
              <a:gd name="connsiteY19732" fmla="*/ 4152428 h 7458372"/>
              <a:gd name="connsiteX19733" fmla="*/ 248002 w 10505529"/>
              <a:gd name="connsiteY19733" fmla="*/ 4151497 h 7458372"/>
              <a:gd name="connsiteX19734" fmla="*/ 30360 w 10505529"/>
              <a:gd name="connsiteY19734" fmla="*/ 4151497 h 7458372"/>
              <a:gd name="connsiteX19735" fmla="*/ 20377 w 10505529"/>
              <a:gd name="connsiteY19735" fmla="*/ 4155091 h 7458372"/>
              <a:gd name="connsiteX19736" fmla="*/ 16783 w 10505529"/>
              <a:gd name="connsiteY19736" fmla="*/ 4164542 h 7458372"/>
              <a:gd name="connsiteX19737" fmla="*/ 20377 w 10505529"/>
              <a:gd name="connsiteY19737" fmla="*/ 4173993 h 7458372"/>
              <a:gd name="connsiteX19738" fmla="*/ 30360 w 10505529"/>
              <a:gd name="connsiteY19738" fmla="*/ 4177455 h 7458372"/>
              <a:gd name="connsiteX19739" fmla="*/ 35685 w 10505529"/>
              <a:gd name="connsiteY19739" fmla="*/ 4176657 h 7458372"/>
              <a:gd name="connsiteX19740" fmla="*/ 39412 w 10505529"/>
              <a:gd name="connsiteY19740" fmla="*/ 4174260 h 7458372"/>
              <a:gd name="connsiteX19741" fmla="*/ 42075 w 10505529"/>
              <a:gd name="connsiteY19741" fmla="*/ 4170000 h 7458372"/>
              <a:gd name="connsiteX19742" fmla="*/ 43006 w 10505529"/>
              <a:gd name="connsiteY19742" fmla="*/ 4164542 h 7458372"/>
              <a:gd name="connsiteX19743" fmla="*/ 42075 w 10505529"/>
              <a:gd name="connsiteY19743" fmla="*/ 4159351 h 7458372"/>
              <a:gd name="connsiteX19744" fmla="*/ 39412 w 10505529"/>
              <a:gd name="connsiteY19744" fmla="*/ 4155091 h 7458372"/>
              <a:gd name="connsiteX19745" fmla="*/ 35419 w 10505529"/>
              <a:gd name="connsiteY19745" fmla="*/ 4152428 h 7458372"/>
              <a:gd name="connsiteX19746" fmla="*/ 30360 w 10505529"/>
              <a:gd name="connsiteY19746" fmla="*/ 4151497 h 7458372"/>
              <a:gd name="connsiteX19747" fmla="*/ 10475977 w 10505529"/>
              <a:gd name="connsiteY19747" fmla="*/ 4134724 h 7458372"/>
              <a:gd name="connsiteX19748" fmla="*/ 10487824 w 10505529"/>
              <a:gd name="connsiteY19748" fmla="*/ 4137253 h 7458372"/>
              <a:gd name="connsiteX19749" fmla="*/ 10497143 w 10505529"/>
              <a:gd name="connsiteY19749" fmla="*/ 4143643 h 7458372"/>
              <a:gd name="connsiteX19750" fmla="*/ 10503266 w 10505529"/>
              <a:gd name="connsiteY19750" fmla="*/ 4153094 h 7458372"/>
              <a:gd name="connsiteX19751" fmla="*/ 10505529 w 10505529"/>
              <a:gd name="connsiteY19751" fmla="*/ 4164542 h 7458372"/>
              <a:gd name="connsiteX19752" fmla="*/ 10503266 w 10505529"/>
              <a:gd name="connsiteY19752" fmla="*/ 4176257 h 7458372"/>
              <a:gd name="connsiteX19753" fmla="*/ 10497143 w 10505529"/>
              <a:gd name="connsiteY19753" fmla="*/ 4185576 h 7458372"/>
              <a:gd name="connsiteX19754" fmla="*/ 10487824 w 10505529"/>
              <a:gd name="connsiteY19754" fmla="*/ 4191832 h 7458372"/>
              <a:gd name="connsiteX19755" fmla="*/ 10475977 w 10505529"/>
              <a:gd name="connsiteY19755" fmla="*/ 4194095 h 7458372"/>
              <a:gd name="connsiteX19756" fmla="*/ 10454145 w 10505529"/>
              <a:gd name="connsiteY19756" fmla="*/ 4185576 h 7458372"/>
              <a:gd name="connsiteX19757" fmla="*/ 10445759 w 10505529"/>
              <a:gd name="connsiteY19757" fmla="*/ 4164409 h 7458372"/>
              <a:gd name="connsiteX19758" fmla="*/ 10454145 w 10505529"/>
              <a:gd name="connsiteY19758" fmla="*/ 4143376 h 7458372"/>
              <a:gd name="connsiteX19759" fmla="*/ 10475977 w 10505529"/>
              <a:gd name="connsiteY19759" fmla="*/ 4134724 h 7458372"/>
              <a:gd name="connsiteX19760" fmla="*/ 10258466 w 10505529"/>
              <a:gd name="connsiteY19760" fmla="*/ 4134724 h 7458372"/>
              <a:gd name="connsiteX19761" fmla="*/ 10270313 w 10505529"/>
              <a:gd name="connsiteY19761" fmla="*/ 4137253 h 7458372"/>
              <a:gd name="connsiteX19762" fmla="*/ 10279631 w 10505529"/>
              <a:gd name="connsiteY19762" fmla="*/ 4143643 h 7458372"/>
              <a:gd name="connsiteX19763" fmla="*/ 10285754 w 10505529"/>
              <a:gd name="connsiteY19763" fmla="*/ 4153094 h 7458372"/>
              <a:gd name="connsiteX19764" fmla="*/ 10288017 w 10505529"/>
              <a:gd name="connsiteY19764" fmla="*/ 4164542 h 7458372"/>
              <a:gd name="connsiteX19765" fmla="*/ 10285754 w 10505529"/>
              <a:gd name="connsiteY19765" fmla="*/ 4176257 h 7458372"/>
              <a:gd name="connsiteX19766" fmla="*/ 10279631 w 10505529"/>
              <a:gd name="connsiteY19766" fmla="*/ 4185576 h 7458372"/>
              <a:gd name="connsiteX19767" fmla="*/ 10270313 w 10505529"/>
              <a:gd name="connsiteY19767" fmla="*/ 4191832 h 7458372"/>
              <a:gd name="connsiteX19768" fmla="*/ 10258466 w 10505529"/>
              <a:gd name="connsiteY19768" fmla="*/ 4194095 h 7458372"/>
              <a:gd name="connsiteX19769" fmla="*/ 10236633 w 10505529"/>
              <a:gd name="connsiteY19769" fmla="*/ 4185576 h 7458372"/>
              <a:gd name="connsiteX19770" fmla="*/ 10228247 w 10505529"/>
              <a:gd name="connsiteY19770" fmla="*/ 4164409 h 7458372"/>
              <a:gd name="connsiteX19771" fmla="*/ 10236633 w 10505529"/>
              <a:gd name="connsiteY19771" fmla="*/ 4143376 h 7458372"/>
              <a:gd name="connsiteX19772" fmla="*/ 10258466 w 10505529"/>
              <a:gd name="connsiteY19772" fmla="*/ 4134724 h 7458372"/>
              <a:gd name="connsiteX19773" fmla="*/ 10040820 w 10505529"/>
              <a:gd name="connsiteY19773" fmla="*/ 4134724 h 7458372"/>
              <a:gd name="connsiteX19774" fmla="*/ 10052534 w 10505529"/>
              <a:gd name="connsiteY19774" fmla="*/ 4137253 h 7458372"/>
              <a:gd name="connsiteX19775" fmla="*/ 10061852 w 10505529"/>
              <a:gd name="connsiteY19775" fmla="*/ 4143643 h 7458372"/>
              <a:gd name="connsiteX19776" fmla="*/ 10067976 w 10505529"/>
              <a:gd name="connsiteY19776" fmla="*/ 4153094 h 7458372"/>
              <a:gd name="connsiteX19777" fmla="*/ 10070239 w 10505529"/>
              <a:gd name="connsiteY19777" fmla="*/ 4164542 h 7458372"/>
              <a:gd name="connsiteX19778" fmla="*/ 10067976 w 10505529"/>
              <a:gd name="connsiteY19778" fmla="*/ 4176257 h 7458372"/>
              <a:gd name="connsiteX19779" fmla="*/ 10061852 w 10505529"/>
              <a:gd name="connsiteY19779" fmla="*/ 4185576 h 7458372"/>
              <a:gd name="connsiteX19780" fmla="*/ 10052534 w 10505529"/>
              <a:gd name="connsiteY19780" fmla="*/ 4191832 h 7458372"/>
              <a:gd name="connsiteX19781" fmla="*/ 10040820 w 10505529"/>
              <a:gd name="connsiteY19781" fmla="*/ 4194095 h 7458372"/>
              <a:gd name="connsiteX19782" fmla="*/ 10018988 w 10505529"/>
              <a:gd name="connsiteY19782" fmla="*/ 4185576 h 7458372"/>
              <a:gd name="connsiteX19783" fmla="*/ 10010602 w 10505529"/>
              <a:gd name="connsiteY19783" fmla="*/ 4164409 h 7458372"/>
              <a:gd name="connsiteX19784" fmla="*/ 10018988 w 10505529"/>
              <a:gd name="connsiteY19784" fmla="*/ 4143376 h 7458372"/>
              <a:gd name="connsiteX19785" fmla="*/ 10040820 w 10505529"/>
              <a:gd name="connsiteY19785" fmla="*/ 4134724 h 7458372"/>
              <a:gd name="connsiteX19786" fmla="*/ 9823176 w 10505529"/>
              <a:gd name="connsiteY19786" fmla="*/ 4134724 h 7458372"/>
              <a:gd name="connsiteX19787" fmla="*/ 9834890 w 10505529"/>
              <a:gd name="connsiteY19787" fmla="*/ 4137253 h 7458372"/>
              <a:gd name="connsiteX19788" fmla="*/ 9844208 w 10505529"/>
              <a:gd name="connsiteY19788" fmla="*/ 4143643 h 7458372"/>
              <a:gd name="connsiteX19789" fmla="*/ 9850331 w 10505529"/>
              <a:gd name="connsiteY19789" fmla="*/ 4153094 h 7458372"/>
              <a:gd name="connsiteX19790" fmla="*/ 9852595 w 10505529"/>
              <a:gd name="connsiteY19790" fmla="*/ 4164542 h 7458372"/>
              <a:gd name="connsiteX19791" fmla="*/ 9850331 w 10505529"/>
              <a:gd name="connsiteY19791" fmla="*/ 4176257 h 7458372"/>
              <a:gd name="connsiteX19792" fmla="*/ 9844208 w 10505529"/>
              <a:gd name="connsiteY19792" fmla="*/ 4185576 h 7458372"/>
              <a:gd name="connsiteX19793" fmla="*/ 9834890 w 10505529"/>
              <a:gd name="connsiteY19793" fmla="*/ 4191832 h 7458372"/>
              <a:gd name="connsiteX19794" fmla="*/ 9823176 w 10505529"/>
              <a:gd name="connsiteY19794" fmla="*/ 4194095 h 7458372"/>
              <a:gd name="connsiteX19795" fmla="*/ 9801343 w 10505529"/>
              <a:gd name="connsiteY19795" fmla="*/ 4185576 h 7458372"/>
              <a:gd name="connsiteX19796" fmla="*/ 9792957 w 10505529"/>
              <a:gd name="connsiteY19796" fmla="*/ 4164409 h 7458372"/>
              <a:gd name="connsiteX19797" fmla="*/ 9801343 w 10505529"/>
              <a:gd name="connsiteY19797" fmla="*/ 4143376 h 7458372"/>
              <a:gd name="connsiteX19798" fmla="*/ 9823176 w 10505529"/>
              <a:gd name="connsiteY19798" fmla="*/ 4134724 h 7458372"/>
              <a:gd name="connsiteX19799" fmla="*/ 9605531 w 10505529"/>
              <a:gd name="connsiteY19799" fmla="*/ 4134724 h 7458372"/>
              <a:gd name="connsiteX19800" fmla="*/ 9617245 w 10505529"/>
              <a:gd name="connsiteY19800" fmla="*/ 4137253 h 7458372"/>
              <a:gd name="connsiteX19801" fmla="*/ 9626562 w 10505529"/>
              <a:gd name="connsiteY19801" fmla="*/ 4143643 h 7458372"/>
              <a:gd name="connsiteX19802" fmla="*/ 9632686 w 10505529"/>
              <a:gd name="connsiteY19802" fmla="*/ 4153094 h 7458372"/>
              <a:gd name="connsiteX19803" fmla="*/ 9634949 w 10505529"/>
              <a:gd name="connsiteY19803" fmla="*/ 4164542 h 7458372"/>
              <a:gd name="connsiteX19804" fmla="*/ 9632686 w 10505529"/>
              <a:gd name="connsiteY19804" fmla="*/ 4176257 h 7458372"/>
              <a:gd name="connsiteX19805" fmla="*/ 9626562 w 10505529"/>
              <a:gd name="connsiteY19805" fmla="*/ 4185576 h 7458372"/>
              <a:gd name="connsiteX19806" fmla="*/ 9617245 w 10505529"/>
              <a:gd name="connsiteY19806" fmla="*/ 4191832 h 7458372"/>
              <a:gd name="connsiteX19807" fmla="*/ 9605531 w 10505529"/>
              <a:gd name="connsiteY19807" fmla="*/ 4194095 h 7458372"/>
              <a:gd name="connsiteX19808" fmla="*/ 9583698 w 10505529"/>
              <a:gd name="connsiteY19808" fmla="*/ 4185576 h 7458372"/>
              <a:gd name="connsiteX19809" fmla="*/ 9575312 w 10505529"/>
              <a:gd name="connsiteY19809" fmla="*/ 4164409 h 7458372"/>
              <a:gd name="connsiteX19810" fmla="*/ 9583698 w 10505529"/>
              <a:gd name="connsiteY19810" fmla="*/ 4143376 h 7458372"/>
              <a:gd name="connsiteX19811" fmla="*/ 9605531 w 10505529"/>
              <a:gd name="connsiteY19811" fmla="*/ 4134724 h 7458372"/>
              <a:gd name="connsiteX19812" fmla="*/ 9387885 w 10505529"/>
              <a:gd name="connsiteY19812" fmla="*/ 4134724 h 7458372"/>
              <a:gd name="connsiteX19813" fmla="*/ 9399599 w 10505529"/>
              <a:gd name="connsiteY19813" fmla="*/ 4137253 h 7458372"/>
              <a:gd name="connsiteX19814" fmla="*/ 9408917 w 10505529"/>
              <a:gd name="connsiteY19814" fmla="*/ 4143643 h 7458372"/>
              <a:gd name="connsiteX19815" fmla="*/ 9415041 w 10505529"/>
              <a:gd name="connsiteY19815" fmla="*/ 4153094 h 7458372"/>
              <a:gd name="connsiteX19816" fmla="*/ 9417304 w 10505529"/>
              <a:gd name="connsiteY19816" fmla="*/ 4164542 h 7458372"/>
              <a:gd name="connsiteX19817" fmla="*/ 9415041 w 10505529"/>
              <a:gd name="connsiteY19817" fmla="*/ 4176257 h 7458372"/>
              <a:gd name="connsiteX19818" fmla="*/ 9408917 w 10505529"/>
              <a:gd name="connsiteY19818" fmla="*/ 4185576 h 7458372"/>
              <a:gd name="connsiteX19819" fmla="*/ 9399599 w 10505529"/>
              <a:gd name="connsiteY19819" fmla="*/ 4191832 h 7458372"/>
              <a:gd name="connsiteX19820" fmla="*/ 9387885 w 10505529"/>
              <a:gd name="connsiteY19820" fmla="*/ 4194095 h 7458372"/>
              <a:gd name="connsiteX19821" fmla="*/ 9366053 w 10505529"/>
              <a:gd name="connsiteY19821" fmla="*/ 4185576 h 7458372"/>
              <a:gd name="connsiteX19822" fmla="*/ 9357667 w 10505529"/>
              <a:gd name="connsiteY19822" fmla="*/ 4164409 h 7458372"/>
              <a:gd name="connsiteX19823" fmla="*/ 9366053 w 10505529"/>
              <a:gd name="connsiteY19823" fmla="*/ 4143376 h 7458372"/>
              <a:gd name="connsiteX19824" fmla="*/ 9387885 w 10505529"/>
              <a:gd name="connsiteY19824" fmla="*/ 4134724 h 7458372"/>
              <a:gd name="connsiteX19825" fmla="*/ 9170374 w 10505529"/>
              <a:gd name="connsiteY19825" fmla="*/ 4134724 h 7458372"/>
              <a:gd name="connsiteX19826" fmla="*/ 9182088 w 10505529"/>
              <a:gd name="connsiteY19826" fmla="*/ 4137253 h 7458372"/>
              <a:gd name="connsiteX19827" fmla="*/ 9191405 w 10505529"/>
              <a:gd name="connsiteY19827" fmla="*/ 4143643 h 7458372"/>
              <a:gd name="connsiteX19828" fmla="*/ 9197529 w 10505529"/>
              <a:gd name="connsiteY19828" fmla="*/ 4153094 h 7458372"/>
              <a:gd name="connsiteX19829" fmla="*/ 9199792 w 10505529"/>
              <a:gd name="connsiteY19829" fmla="*/ 4164542 h 7458372"/>
              <a:gd name="connsiteX19830" fmla="*/ 9197529 w 10505529"/>
              <a:gd name="connsiteY19830" fmla="*/ 4176257 h 7458372"/>
              <a:gd name="connsiteX19831" fmla="*/ 9191405 w 10505529"/>
              <a:gd name="connsiteY19831" fmla="*/ 4185576 h 7458372"/>
              <a:gd name="connsiteX19832" fmla="*/ 9182088 w 10505529"/>
              <a:gd name="connsiteY19832" fmla="*/ 4191832 h 7458372"/>
              <a:gd name="connsiteX19833" fmla="*/ 9170374 w 10505529"/>
              <a:gd name="connsiteY19833" fmla="*/ 4194095 h 7458372"/>
              <a:gd name="connsiteX19834" fmla="*/ 9148541 w 10505529"/>
              <a:gd name="connsiteY19834" fmla="*/ 4185576 h 7458372"/>
              <a:gd name="connsiteX19835" fmla="*/ 9140155 w 10505529"/>
              <a:gd name="connsiteY19835" fmla="*/ 4164409 h 7458372"/>
              <a:gd name="connsiteX19836" fmla="*/ 9148541 w 10505529"/>
              <a:gd name="connsiteY19836" fmla="*/ 4143376 h 7458372"/>
              <a:gd name="connsiteX19837" fmla="*/ 9170374 w 10505529"/>
              <a:gd name="connsiteY19837" fmla="*/ 4134724 h 7458372"/>
              <a:gd name="connsiteX19838" fmla="*/ 8952728 w 10505529"/>
              <a:gd name="connsiteY19838" fmla="*/ 4134724 h 7458372"/>
              <a:gd name="connsiteX19839" fmla="*/ 8964442 w 10505529"/>
              <a:gd name="connsiteY19839" fmla="*/ 4137253 h 7458372"/>
              <a:gd name="connsiteX19840" fmla="*/ 8973760 w 10505529"/>
              <a:gd name="connsiteY19840" fmla="*/ 4143643 h 7458372"/>
              <a:gd name="connsiteX19841" fmla="*/ 8979884 w 10505529"/>
              <a:gd name="connsiteY19841" fmla="*/ 4153094 h 7458372"/>
              <a:gd name="connsiteX19842" fmla="*/ 8982147 w 10505529"/>
              <a:gd name="connsiteY19842" fmla="*/ 4164542 h 7458372"/>
              <a:gd name="connsiteX19843" fmla="*/ 8979884 w 10505529"/>
              <a:gd name="connsiteY19843" fmla="*/ 4176257 h 7458372"/>
              <a:gd name="connsiteX19844" fmla="*/ 8973760 w 10505529"/>
              <a:gd name="connsiteY19844" fmla="*/ 4185576 h 7458372"/>
              <a:gd name="connsiteX19845" fmla="*/ 8964442 w 10505529"/>
              <a:gd name="connsiteY19845" fmla="*/ 4191832 h 7458372"/>
              <a:gd name="connsiteX19846" fmla="*/ 8952728 w 10505529"/>
              <a:gd name="connsiteY19846" fmla="*/ 4194095 h 7458372"/>
              <a:gd name="connsiteX19847" fmla="*/ 8930896 w 10505529"/>
              <a:gd name="connsiteY19847" fmla="*/ 4185576 h 7458372"/>
              <a:gd name="connsiteX19848" fmla="*/ 8922510 w 10505529"/>
              <a:gd name="connsiteY19848" fmla="*/ 4164409 h 7458372"/>
              <a:gd name="connsiteX19849" fmla="*/ 8930896 w 10505529"/>
              <a:gd name="connsiteY19849" fmla="*/ 4143376 h 7458372"/>
              <a:gd name="connsiteX19850" fmla="*/ 8952728 w 10505529"/>
              <a:gd name="connsiteY19850" fmla="*/ 4134724 h 7458372"/>
              <a:gd name="connsiteX19851" fmla="*/ 8735083 w 10505529"/>
              <a:gd name="connsiteY19851" fmla="*/ 4134724 h 7458372"/>
              <a:gd name="connsiteX19852" fmla="*/ 8746797 w 10505529"/>
              <a:gd name="connsiteY19852" fmla="*/ 4137253 h 7458372"/>
              <a:gd name="connsiteX19853" fmla="*/ 8756115 w 10505529"/>
              <a:gd name="connsiteY19853" fmla="*/ 4143643 h 7458372"/>
              <a:gd name="connsiteX19854" fmla="*/ 8762238 w 10505529"/>
              <a:gd name="connsiteY19854" fmla="*/ 4153094 h 7458372"/>
              <a:gd name="connsiteX19855" fmla="*/ 8764502 w 10505529"/>
              <a:gd name="connsiteY19855" fmla="*/ 4164542 h 7458372"/>
              <a:gd name="connsiteX19856" fmla="*/ 8762238 w 10505529"/>
              <a:gd name="connsiteY19856" fmla="*/ 4176257 h 7458372"/>
              <a:gd name="connsiteX19857" fmla="*/ 8756115 w 10505529"/>
              <a:gd name="connsiteY19857" fmla="*/ 4185576 h 7458372"/>
              <a:gd name="connsiteX19858" fmla="*/ 8746797 w 10505529"/>
              <a:gd name="connsiteY19858" fmla="*/ 4191832 h 7458372"/>
              <a:gd name="connsiteX19859" fmla="*/ 8735083 w 10505529"/>
              <a:gd name="connsiteY19859" fmla="*/ 4194095 h 7458372"/>
              <a:gd name="connsiteX19860" fmla="*/ 8713250 w 10505529"/>
              <a:gd name="connsiteY19860" fmla="*/ 4185576 h 7458372"/>
              <a:gd name="connsiteX19861" fmla="*/ 8704864 w 10505529"/>
              <a:gd name="connsiteY19861" fmla="*/ 4164409 h 7458372"/>
              <a:gd name="connsiteX19862" fmla="*/ 8713250 w 10505529"/>
              <a:gd name="connsiteY19862" fmla="*/ 4143376 h 7458372"/>
              <a:gd name="connsiteX19863" fmla="*/ 8735083 w 10505529"/>
              <a:gd name="connsiteY19863" fmla="*/ 4134724 h 7458372"/>
              <a:gd name="connsiteX19864" fmla="*/ 8517438 w 10505529"/>
              <a:gd name="connsiteY19864" fmla="*/ 4134724 h 7458372"/>
              <a:gd name="connsiteX19865" fmla="*/ 8529152 w 10505529"/>
              <a:gd name="connsiteY19865" fmla="*/ 4137253 h 7458372"/>
              <a:gd name="connsiteX19866" fmla="*/ 8538470 w 10505529"/>
              <a:gd name="connsiteY19866" fmla="*/ 4143643 h 7458372"/>
              <a:gd name="connsiteX19867" fmla="*/ 8544594 w 10505529"/>
              <a:gd name="connsiteY19867" fmla="*/ 4153094 h 7458372"/>
              <a:gd name="connsiteX19868" fmla="*/ 8546857 w 10505529"/>
              <a:gd name="connsiteY19868" fmla="*/ 4164542 h 7458372"/>
              <a:gd name="connsiteX19869" fmla="*/ 8544594 w 10505529"/>
              <a:gd name="connsiteY19869" fmla="*/ 4176257 h 7458372"/>
              <a:gd name="connsiteX19870" fmla="*/ 8538470 w 10505529"/>
              <a:gd name="connsiteY19870" fmla="*/ 4185576 h 7458372"/>
              <a:gd name="connsiteX19871" fmla="*/ 8529152 w 10505529"/>
              <a:gd name="connsiteY19871" fmla="*/ 4191832 h 7458372"/>
              <a:gd name="connsiteX19872" fmla="*/ 8517438 w 10505529"/>
              <a:gd name="connsiteY19872" fmla="*/ 4194095 h 7458372"/>
              <a:gd name="connsiteX19873" fmla="*/ 8495606 w 10505529"/>
              <a:gd name="connsiteY19873" fmla="*/ 4185576 h 7458372"/>
              <a:gd name="connsiteX19874" fmla="*/ 8487220 w 10505529"/>
              <a:gd name="connsiteY19874" fmla="*/ 4164409 h 7458372"/>
              <a:gd name="connsiteX19875" fmla="*/ 8495606 w 10505529"/>
              <a:gd name="connsiteY19875" fmla="*/ 4143376 h 7458372"/>
              <a:gd name="connsiteX19876" fmla="*/ 8517438 w 10505529"/>
              <a:gd name="connsiteY19876" fmla="*/ 4134724 h 7458372"/>
              <a:gd name="connsiteX19877" fmla="*/ 8299793 w 10505529"/>
              <a:gd name="connsiteY19877" fmla="*/ 4134724 h 7458372"/>
              <a:gd name="connsiteX19878" fmla="*/ 8311507 w 10505529"/>
              <a:gd name="connsiteY19878" fmla="*/ 4137253 h 7458372"/>
              <a:gd name="connsiteX19879" fmla="*/ 8320825 w 10505529"/>
              <a:gd name="connsiteY19879" fmla="*/ 4143643 h 7458372"/>
              <a:gd name="connsiteX19880" fmla="*/ 8326948 w 10505529"/>
              <a:gd name="connsiteY19880" fmla="*/ 4153094 h 7458372"/>
              <a:gd name="connsiteX19881" fmla="*/ 8329212 w 10505529"/>
              <a:gd name="connsiteY19881" fmla="*/ 4164542 h 7458372"/>
              <a:gd name="connsiteX19882" fmla="*/ 8326948 w 10505529"/>
              <a:gd name="connsiteY19882" fmla="*/ 4176257 h 7458372"/>
              <a:gd name="connsiteX19883" fmla="*/ 8320825 w 10505529"/>
              <a:gd name="connsiteY19883" fmla="*/ 4185576 h 7458372"/>
              <a:gd name="connsiteX19884" fmla="*/ 8311507 w 10505529"/>
              <a:gd name="connsiteY19884" fmla="*/ 4191832 h 7458372"/>
              <a:gd name="connsiteX19885" fmla="*/ 8299793 w 10505529"/>
              <a:gd name="connsiteY19885" fmla="*/ 4194095 h 7458372"/>
              <a:gd name="connsiteX19886" fmla="*/ 8277960 w 10505529"/>
              <a:gd name="connsiteY19886" fmla="*/ 4185576 h 7458372"/>
              <a:gd name="connsiteX19887" fmla="*/ 8269574 w 10505529"/>
              <a:gd name="connsiteY19887" fmla="*/ 4164409 h 7458372"/>
              <a:gd name="connsiteX19888" fmla="*/ 8277960 w 10505529"/>
              <a:gd name="connsiteY19888" fmla="*/ 4143376 h 7458372"/>
              <a:gd name="connsiteX19889" fmla="*/ 8299793 w 10505529"/>
              <a:gd name="connsiteY19889" fmla="*/ 4134724 h 7458372"/>
              <a:gd name="connsiteX19890" fmla="*/ 8082281 w 10505529"/>
              <a:gd name="connsiteY19890" fmla="*/ 4134724 h 7458372"/>
              <a:gd name="connsiteX19891" fmla="*/ 8094127 w 10505529"/>
              <a:gd name="connsiteY19891" fmla="*/ 4137253 h 7458372"/>
              <a:gd name="connsiteX19892" fmla="*/ 8103446 w 10505529"/>
              <a:gd name="connsiteY19892" fmla="*/ 4143643 h 7458372"/>
              <a:gd name="connsiteX19893" fmla="*/ 8109569 w 10505529"/>
              <a:gd name="connsiteY19893" fmla="*/ 4153094 h 7458372"/>
              <a:gd name="connsiteX19894" fmla="*/ 8111832 w 10505529"/>
              <a:gd name="connsiteY19894" fmla="*/ 4164542 h 7458372"/>
              <a:gd name="connsiteX19895" fmla="*/ 8109569 w 10505529"/>
              <a:gd name="connsiteY19895" fmla="*/ 4176257 h 7458372"/>
              <a:gd name="connsiteX19896" fmla="*/ 8103446 w 10505529"/>
              <a:gd name="connsiteY19896" fmla="*/ 4185576 h 7458372"/>
              <a:gd name="connsiteX19897" fmla="*/ 8094127 w 10505529"/>
              <a:gd name="connsiteY19897" fmla="*/ 4191832 h 7458372"/>
              <a:gd name="connsiteX19898" fmla="*/ 8082281 w 10505529"/>
              <a:gd name="connsiteY19898" fmla="*/ 4194095 h 7458372"/>
              <a:gd name="connsiteX19899" fmla="*/ 8060448 w 10505529"/>
              <a:gd name="connsiteY19899" fmla="*/ 4185576 h 7458372"/>
              <a:gd name="connsiteX19900" fmla="*/ 8052062 w 10505529"/>
              <a:gd name="connsiteY19900" fmla="*/ 4164409 h 7458372"/>
              <a:gd name="connsiteX19901" fmla="*/ 8060448 w 10505529"/>
              <a:gd name="connsiteY19901" fmla="*/ 4143376 h 7458372"/>
              <a:gd name="connsiteX19902" fmla="*/ 8082281 w 10505529"/>
              <a:gd name="connsiteY19902" fmla="*/ 4134724 h 7458372"/>
              <a:gd name="connsiteX19903" fmla="*/ 7864636 w 10505529"/>
              <a:gd name="connsiteY19903" fmla="*/ 4134724 h 7458372"/>
              <a:gd name="connsiteX19904" fmla="*/ 7876483 w 10505529"/>
              <a:gd name="connsiteY19904" fmla="*/ 4137253 h 7458372"/>
              <a:gd name="connsiteX19905" fmla="*/ 7885802 w 10505529"/>
              <a:gd name="connsiteY19905" fmla="*/ 4143643 h 7458372"/>
              <a:gd name="connsiteX19906" fmla="*/ 7891924 w 10505529"/>
              <a:gd name="connsiteY19906" fmla="*/ 4153094 h 7458372"/>
              <a:gd name="connsiteX19907" fmla="*/ 7894188 w 10505529"/>
              <a:gd name="connsiteY19907" fmla="*/ 4164542 h 7458372"/>
              <a:gd name="connsiteX19908" fmla="*/ 7891924 w 10505529"/>
              <a:gd name="connsiteY19908" fmla="*/ 4176257 h 7458372"/>
              <a:gd name="connsiteX19909" fmla="*/ 7885802 w 10505529"/>
              <a:gd name="connsiteY19909" fmla="*/ 4185576 h 7458372"/>
              <a:gd name="connsiteX19910" fmla="*/ 7876483 w 10505529"/>
              <a:gd name="connsiteY19910" fmla="*/ 4191832 h 7458372"/>
              <a:gd name="connsiteX19911" fmla="*/ 7864636 w 10505529"/>
              <a:gd name="connsiteY19911" fmla="*/ 4194095 h 7458372"/>
              <a:gd name="connsiteX19912" fmla="*/ 7842803 w 10505529"/>
              <a:gd name="connsiteY19912" fmla="*/ 4185576 h 7458372"/>
              <a:gd name="connsiteX19913" fmla="*/ 7834417 w 10505529"/>
              <a:gd name="connsiteY19913" fmla="*/ 4164409 h 7458372"/>
              <a:gd name="connsiteX19914" fmla="*/ 7842803 w 10505529"/>
              <a:gd name="connsiteY19914" fmla="*/ 4143376 h 7458372"/>
              <a:gd name="connsiteX19915" fmla="*/ 7864636 w 10505529"/>
              <a:gd name="connsiteY19915" fmla="*/ 4134724 h 7458372"/>
              <a:gd name="connsiteX19916" fmla="*/ 7646991 w 10505529"/>
              <a:gd name="connsiteY19916" fmla="*/ 4134724 h 7458372"/>
              <a:gd name="connsiteX19917" fmla="*/ 7658705 w 10505529"/>
              <a:gd name="connsiteY19917" fmla="*/ 4137253 h 7458372"/>
              <a:gd name="connsiteX19918" fmla="*/ 7668022 w 10505529"/>
              <a:gd name="connsiteY19918" fmla="*/ 4143643 h 7458372"/>
              <a:gd name="connsiteX19919" fmla="*/ 7674146 w 10505529"/>
              <a:gd name="connsiteY19919" fmla="*/ 4153094 h 7458372"/>
              <a:gd name="connsiteX19920" fmla="*/ 7676409 w 10505529"/>
              <a:gd name="connsiteY19920" fmla="*/ 4164542 h 7458372"/>
              <a:gd name="connsiteX19921" fmla="*/ 7674146 w 10505529"/>
              <a:gd name="connsiteY19921" fmla="*/ 4176257 h 7458372"/>
              <a:gd name="connsiteX19922" fmla="*/ 7668022 w 10505529"/>
              <a:gd name="connsiteY19922" fmla="*/ 4185576 h 7458372"/>
              <a:gd name="connsiteX19923" fmla="*/ 7658705 w 10505529"/>
              <a:gd name="connsiteY19923" fmla="*/ 4191832 h 7458372"/>
              <a:gd name="connsiteX19924" fmla="*/ 7646991 w 10505529"/>
              <a:gd name="connsiteY19924" fmla="*/ 4194095 h 7458372"/>
              <a:gd name="connsiteX19925" fmla="*/ 7625158 w 10505529"/>
              <a:gd name="connsiteY19925" fmla="*/ 4185576 h 7458372"/>
              <a:gd name="connsiteX19926" fmla="*/ 7616772 w 10505529"/>
              <a:gd name="connsiteY19926" fmla="*/ 4164409 h 7458372"/>
              <a:gd name="connsiteX19927" fmla="*/ 7625158 w 10505529"/>
              <a:gd name="connsiteY19927" fmla="*/ 4143376 h 7458372"/>
              <a:gd name="connsiteX19928" fmla="*/ 7646991 w 10505529"/>
              <a:gd name="connsiteY19928" fmla="*/ 4134724 h 7458372"/>
              <a:gd name="connsiteX19929" fmla="*/ 7429345 w 10505529"/>
              <a:gd name="connsiteY19929" fmla="*/ 4134724 h 7458372"/>
              <a:gd name="connsiteX19930" fmla="*/ 7441059 w 10505529"/>
              <a:gd name="connsiteY19930" fmla="*/ 4137253 h 7458372"/>
              <a:gd name="connsiteX19931" fmla="*/ 7450377 w 10505529"/>
              <a:gd name="connsiteY19931" fmla="*/ 4143643 h 7458372"/>
              <a:gd name="connsiteX19932" fmla="*/ 7456501 w 10505529"/>
              <a:gd name="connsiteY19932" fmla="*/ 4153094 h 7458372"/>
              <a:gd name="connsiteX19933" fmla="*/ 7458764 w 10505529"/>
              <a:gd name="connsiteY19933" fmla="*/ 4164542 h 7458372"/>
              <a:gd name="connsiteX19934" fmla="*/ 7456501 w 10505529"/>
              <a:gd name="connsiteY19934" fmla="*/ 4176257 h 7458372"/>
              <a:gd name="connsiteX19935" fmla="*/ 7450377 w 10505529"/>
              <a:gd name="connsiteY19935" fmla="*/ 4185576 h 7458372"/>
              <a:gd name="connsiteX19936" fmla="*/ 7441059 w 10505529"/>
              <a:gd name="connsiteY19936" fmla="*/ 4191832 h 7458372"/>
              <a:gd name="connsiteX19937" fmla="*/ 7429345 w 10505529"/>
              <a:gd name="connsiteY19937" fmla="*/ 4194095 h 7458372"/>
              <a:gd name="connsiteX19938" fmla="*/ 7407513 w 10505529"/>
              <a:gd name="connsiteY19938" fmla="*/ 4185576 h 7458372"/>
              <a:gd name="connsiteX19939" fmla="*/ 7399127 w 10505529"/>
              <a:gd name="connsiteY19939" fmla="*/ 4164409 h 7458372"/>
              <a:gd name="connsiteX19940" fmla="*/ 7407513 w 10505529"/>
              <a:gd name="connsiteY19940" fmla="*/ 4143376 h 7458372"/>
              <a:gd name="connsiteX19941" fmla="*/ 7429345 w 10505529"/>
              <a:gd name="connsiteY19941" fmla="*/ 4134724 h 7458372"/>
              <a:gd name="connsiteX19942" fmla="*/ 7211701 w 10505529"/>
              <a:gd name="connsiteY19942" fmla="*/ 4134724 h 7458372"/>
              <a:gd name="connsiteX19943" fmla="*/ 7223415 w 10505529"/>
              <a:gd name="connsiteY19943" fmla="*/ 4137253 h 7458372"/>
              <a:gd name="connsiteX19944" fmla="*/ 7232733 w 10505529"/>
              <a:gd name="connsiteY19944" fmla="*/ 4143643 h 7458372"/>
              <a:gd name="connsiteX19945" fmla="*/ 7238856 w 10505529"/>
              <a:gd name="connsiteY19945" fmla="*/ 4153094 h 7458372"/>
              <a:gd name="connsiteX19946" fmla="*/ 7241120 w 10505529"/>
              <a:gd name="connsiteY19946" fmla="*/ 4164542 h 7458372"/>
              <a:gd name="connsiteX19947" fmla="*/ 7238856 w 10505529"/>
              <a:gd name="connsiteY19947" fmla="*/ 4176257 h 7458372"/>
              <a:gd name="connsiteX19948" fmla="*/ 7232733 w 10505529"/>
              <a:gd name="connsiteY19948" fmla="*/ 4185576 h 7458372"/>
              <a:gd name="connsiteX19949" fmla="*/ 7223415 w 10505529"/>
              <a:gd name="connsiteY19949" fmla="*/ 4191832 h 7458372"/>
              <a:gd name="connsiteX19950" fmla="*/ 7211701 w 10505529"/>
              <a:gd name="connsiteY19950" fmla="*/ 4194095 h 7458372"/>
              <a:gd name="connsiteX19951" fmla="*/ 7189868 w 10505529"/>
              <a:gd name="connsiteY19951" fmla="*/ 4185576 h 7458372"/>
              <a:gd name="connsiteX19952" fmla="*/ 7181482 w 10505529"/>
              <a:gd name="connsiteY19952" fmla="*/ 4164409 h 7458372"/>
              <a:gd name="connsiteX19953" fmla="*/ 7189868 w 10505529"/>
              <a:gd name="connsiteY19953" fmla="*/ 4143376 h 7458372"/>
              <a:gd name="connsiteX19954" fmla="*/ 7211701 w 10505529"/>
              <a:gd name="connsiteY19954" fmla="*/ 4134724 h 7458372"/>
              <a:gd name="connsiteX19955" fmla="*/ 6994056 w 10505529"/>
              <a:gd name="connsiteY19955" fmla="*/ 4134724 h 7458372"/>
              <a:gd name="connsiteX19956" fmla="*/ 7005769 w 10505529"/>
              <a:gd name="connsiteY19956" fmla="*/ 4137253 h 7458372"/>
              <a:gd name="connsiteX19957" fmla="*/ 7015087 w 10505529"/>
              <a:gd name="connsiteY19957" fmla="*/ 4143643 h 7458372"/>
              <a:gd name="connsiteX19958" fmla="*/ 7021211 w 10505529"/>
              <a:gd name="connsiteY19958" fmla="*/ 4153094 h 7458372"/>
              <a:gd name="connsiteX19959" fmla="*/ 7023474 w 10505529"/>
              <a:gd name="connsiteY19959" fmla="*/ 4164542 h 7458372"/>
              <a:gd name="connsiteX19960" fmla="*/ 7021211 w 10505529"/>
              <a:gd name="connsiteY19960" fmla="*/ 4176257 h 7458372"/>
              <a:gd name="connsiteX19961" fmla="*/ 7015087 w 10505529"/>
              <a:gd name="connsiteY19961" fmla="*/ 4185576 h 7458372"/>
              <a:gd name="connsiteX19962" fmla="*/ 7005769 w 10505529"/>
              <a:gd name="connsiteY19962" fmla="*/ 4191832 h 7458372"/>
              <a:gd name="connsiteX19963" fmla="*/ 6994056 w 10505529"/>
              <a:gd name="connsiteY19963" fmla="*/ 4194095 h 7458372"/>
              <a:gd name="connsiteX19964" fmla="*/ 6972223 w 10505529"/>
              <a:gd name="connsiteY19964" fmla="*/ 4185576 h 7458372"/>
              <a:gd name="connsiteX19965" fmla="*/ 6963837 w 10505529"/>
              <a:gd name="connsiteY19965" fmla="*/ 4164409 h 7458372"/>
              <a:gd name="connsiteX19966" fmla="*/ 6972223 w 10505529"/>
              <a:gd name="connsiteY19966" fmla="*/ 4143376 h 7458372"/>
              <a:gd name="connsiteX19967" fmla="*/ 6994056 w 10505529"/>
              <a:gd name="connsiteY19967" fmla="*/ 4134724 h 7458372"/>
              <a:gd name="connsiteX19968" fmla="*/ 6776544 w 10505529"/>
              <a:gd name="connsiteY19968" fmla="*/ 4134724 h 7458372"/>
              <a:gd name="connsiteX19969" fmla="*/ 6788258 w 10505529"/>
              <a:gd name="connsiteY19969" fmla="*/ 4137253 h 7458372"/>
              <a:gd name="connsiteX19970" fmla="*/ 6797576 w 10505529"/>
              <a:gd name="connsiteY19970" fmla="*/ 4143643 h 7458372"/>
              <a:gd name="connsiteX19971" fmla="*/ 6803699 w 10505529"/>
              <a:gd name="connsiteY19971" fmla="*/ 4153094 h 7458372"/>
              <a:gd name="connsiteX19972" fmla="*/ 6805963 w 10505529"/>
              <a:gd name="connsiteY19972" fmla="*/ 4164542 h 7458372"/>
              <a:gd name="connsiteX19973" fmla="*/ 6803699 w 10505529"/>
              <a:gd name="connsiteY19973" fmla="*/ 4176257 h 7458372"/>
              <a:gd name="connsiteX19974" fmla="*/ 6797576 w 10505529"/>
              <a:gd name="connsiteY19974" fmla="*/ 4185576 h 7458372"/>
              <a:gd name="connsiteX19975" fmla="*/ 6788258 w 10505529"/>
              <a:gd name="connsiteY19975" fmla="*/ 4191832 h 7458372"/>
              <a:gd name="connsiteX19976" fmla="*/ 6776544 w 10505529"/>
              <a:gd name="connsiteY19976" fmla="*/ 4194095 h 7458372"/>
              <a:gd name="connsiteX19977" fmla="*/ 6754711 w 10505529"/>
              <a:gd name="connsiteY19977" fmla="*/ 4185576 h 7458372"/>
              <a:gd name="connsiteX19978" fmla="*/ 6746325 w 10505529"/>
              <a:gd name="connsiteY19978" fmla="*/ 4164409 h 7458372"/>
              <a:gd name="connsiteX19979" fmla="*/ 6754711 w 10505529"/>
              <a:gd name="connsiteY19979" fmla="*/ 4143376 h 7458372"/>
              <a:gd name="connsiteX19980" fmla="*/ 6776544 w 10505529"/>
              <a:gd name="connsiteY19980" fmla="*/ 4134724 h 7458372"/>
              <a:gd name="connsiteX19981" fmla="*/ 6558899 w 10505529"/>
              <a:gd name="connsiteY19981" fmla="*/ 4134724 h 7458372"/>
              <a:gd name="connsiteX19982" fmla="*/ 6570612 w 10505529"/>
              <a:gd name="connsiteY19982" fmla="*/ 4137253 h 7458372"/>
              <a:gd name="connsiteX19983" fmla="*/ 6579930 w 10505529"/>
              <a:gd name="connsiteY19983" fmla="*/ 4143643 h 7458372"/>
              <a:gd name="connsiteX19984" fmla="*/ 6586054 w 10505529"/>
              <a:gd name="connsiteY19984" fmla="*/ 4153094 h 7458372"/>
              <a:gd name="connsiteX19985" fmla="*/ 6588317 w 10505529"/>
              <a:gd name="connsiteY19985" fmla="*/ 4164542 h 7458372"/>
              <a:gd name="connsiteX19986" fmla="*/ 6586054 w 10505529"/>
              <a:gd name="connsiteY19986" fmla="*/ 4176257 h 7458372"/>
              <a:gd name="connsiteX19987" fmla="*/ 6579930 w 10505529"/>
              <a:gd name="connsiteY19987" fmla="*/ 4185576 h 7458372"/>
              <a:gd name="connsiteX19988" fmla="*/ 6570612 w 10505529"/>
              <a:gd name="connsiteY19988" fmla="*/ 4191832 h 7458372"/>
              <a:gd name="connsiteX19989" fmla="*/ 6558899 w 10505529"/>
              <a:gd name="connsiteY19989" fmla="*/ 4194095 h 7458372"/>
              <a:gd name="connsiteX19990" fmla="*/ 6537066 w 10505529"/>
              <a:gd name="connsiteY19990" fmla="*/ 4185576 h 7458372"/>
              <a:gd name="connsiteX19991" fmla="*/ 6528680 w 10505529"/>
              <a:gd name="connsiteY19991" fmla="*/ 4164409 h 7458372"/>
              <a:gd name="connsiteX19992" fmla="*/ 6537066 w 10505529"/>
              <a:gd name="connsiteY19992" fmla="*/ 4143376 h 7458372"/>
              <a:gd name="connsiteX19993" fmla="*/ 6558899 w 10505529"/>
              <a:gd name="connsiteY19993" fmla="*/ 4134724 h 7458372"/>
              <a:gd name="connsiteX19994" fmla="*/ 6341253 w 10505529"/>
              <a:gd name="connsiteY19994" fmla="*/ 4134724 h 7458372"/>
              <a:gd name="connsiteX19995" fmla="*/ 6352968 w 10505529"/>
              <a:gd name="connsiteY19995" fmla="*/ 4137253 h 7458372"/>
              <a:gd name="connsiteX19996" fmla="*/ 6362286 w 10505529"/>
              <a:gd name="connsiteY19996" fmla="*/ 4143643 h 7458372"/>
              <a:gd name="connsiteX19997" fmla="*/ 6368409 w 10505529"/>
              <a:gd name="connsiteY19997" fmla="*/ 4153094 h 7458372"/>
              <a:gd name="connsiteX19998" fmla="*/ 6370672 w 10505529"/>
              <a:gd name="connsiteY19998" fmla="*/ 4164542 h 7458372"/>
              <a:gd name="connsiteX19999" fmla="*/ 6368409 w 10505529"/>
              <a:gd name="connsiteY19999" fmla="*/ 4176257 h 7458372"/>
              <a:gd name="connsiteX20000" fmla="*/ 6362286 w 10505529"/>
              <a:gd name="connsiteY20000" fmla="*/ 4185576 h 7458372"/>
              <a:gd name="connsiteX20001" fmla="*/ 6352968 w 10505529"/>
              <a:gd name="connsiteY20001" fmla="*/ 4191832 h 7458372"/>
              <a:gd name="connsiteX20002" fmla="*/ 6341253 w 10505529"/>
              <a:gd name="connsiteY20002" fmla="*/ 4194095 h 7458372"/>
              <a:gd name="connsiteX20003" fmla="*/ 6319421 w 10505529"/>
              <a:gd name="connsiteY20003" fmla="*/ 4185576 h 7458372"/>
              <a:gd name="connsiteX20004" fmla="*/ 6311035 w 10505529"/>
              <a:gd name="connsiteY20004" fmla="*/ 4164409 h 7458372"/>
              <a:gd name="connsiteX20005" fmla="*/ 6319421 w 10505529"/>
              <a:gd name="connsiteY20005" fmla="*/ 4143376 h 7458372"/>
              <a:gd name="connsiteX20006" fmla="*/ 6341253 w 10505529"/>
              <a:gd name="connsiteY20006" fmla="*/ 4134724 h 7458372"/>
              <a:gd name="connsiteX20007" fmla="*/ 6123608 w 10505529"/>
              <a:gd name="connsiteY20007" fmla="*/ 4134724 h 7458372"/>
              <a:gd name="connsiteX20008" fmla="*/ 6135322 w 10505529"/>
              <a:gd name="connsiteY20008" fmla="*/ 4137253 h 7458372"/>
              <a:gd name="connsiteX20009" fmla="*/ 6144640 w 10505529"/>
              <a:gd name="connsiteY20009" fmla="*/ 4143643 h 7458372"/>
              <a:gd name="connsiteX20010" fmla="*/ 6150763 w 10505529"/>
              <a:gd name="connsiteY20010" fmla="*/ 4153094 h 7458372"/>
              <a:gd name="connsiteX20011" fmla="*/ 6153026 w 10505529"/>
              <a:gd name="connsiteY20011" fmla="*/ 4164542 h 7458372"/>
              <a:gd name="connsiteX20012" fmla="*/ 6150763 w 10505529"/>
              <a:gd name="connsiteY20012" fmla="*/ 4176257 h 7458372"/>
              <a:gd name="connsiteX20013" fmla="*/ 6144640 w 10505529"/>
              <a:gd name="connsiteY20013" fmla="*/ 4185576 h 7458372"/>
              <a:gd name="connsiteX20014" fmla="*/ 6135322 w 10505529"/>
              <a:gd name="connsiteY20014" fmla="*/ 4191832 h 7458372"/>
              <a:gd name="connsiteX20015" fmla="*/ 6123608 w 10505529"/>
              <a:gd name="connsiteY20015" fmla="*/ 4194095 h 7458372"/>
              <a:gd name="connsiteX20016" fmla="*/ 6101775 w 10505529"/>
              <a:gd name="connsiteY20016" fmla="*/ 4185576 h 7458372"/>
              <a:gd name="connsiteX20017" fmla="*/ 6093389 w 10505529"/>
              <a:gd name="connsiteY20017" fmla="*/ 4164409 h 7458372"/>
              <a:gd name="connsiteX20018" fmla="*/ 6101775 w 10505529"/>
              <a:gd name="connsiteY20018" fmla="*/ 4143376 h 7458372"/>
              <a:gd name="connsiteX20019" fmla="*/ 6123608 w 10505529"/>
              <a:gd name="connsiteY20019" fmla="*/ 4134724 h 7458372"/>
              <a:gd name="connsiteX20020" fmla="*/ 5905963 w 10505529"/>
              <a:gd name="connsiteY20020" fmla="*/ 4134724 h 7458372"/>
              <a:gd name="connsiteX20021" fmla="*/ 5917677 w 10505529"/>
              <a:gd name="connsiteY20021" fmla="*/ 4137253 h 7458372"/>
              <a:gd name="connsiteX20022" fmla="*/ 5926995 w 10505529"/>
              <a:gd name="connsiteY20022" fmla="*/ 4143643 h 7458372"/>
              <a:gd name="connsiteX20023" fmla="*/ 5933118 w 10505529"/>
              <a:gd name="connsiteY20023" fmla="*/ 4153094 h 7458372"/>
              <a:gd name="connsiteX20024" fmla="*/ 5935381 w 10505529"/>
              <a:gd name="connsiteY20024" fmla="*/ 4164542 h 7458372"/>
              <a:gd name="connsiteX20025" fmla="*/ 5933118 w 10505529"/>
              <a:gd name="connsiteY20025" fmla="*/ 4176257 h 7458372"/>
              <a:gd name="connsiteX20026" fmla="*/ 5926995 w 10505529"/>
              <a:gd name="connsiteY20026" fmla="*/ 4185576 h 7458372"/>
              <a:gd name="connsiteX20027" fmla="*/ 5917677 w 10505529"/>
              <a:gd name="connsiteY20027" fmla="*/ 4191832 h 7458372"/>
              <a:gd name="connsiteX20028" fmla="*/ 5905963 w 10505529"/>
              <a:gd name="connsiteY20028" fmla="*/ 4194095 h 7458372"/>
              <a:gd name="connsiteX20029" fmla="*/ 5884130 w 10505529"/>
              <a:gd name="connsiteY20029" fmla="*/ 4185576 h 7458372"/>
              <a:gd name="connsiteX20030" fmla="*/ 5875744 w 10505529"/>
              <a:gd name="connsiteY20030" fmla="*/ 4164409 h 7458372"/>
              <a:gd name="connsiteX20031" fmla="*/ 5884130 w 10505529"/>
              <a:gd name="connsiteY20031" fmla="*/ 4143376 h 7458372"/>
              <a:gd name="connsiteX20032" fmla="*/ 5905963 w 10505529"/>
              <a:gd name="connsiteY20032" fmla="*/ 4134724 h 7458372"/>
              <a:gd name="connsiteX20033" fmla="*/ 5688451 w 10505529"/>
              <a:gd name="connsiteY20033" fmla="*/ 4134724 h 7458372"/>
              <a:gd name="connsiteX20034" fmla="*/ 5700165 w 10505529"/>
              <a:gd name="connsiteY20034" fmla="*/ 4137253 h 7458372"/>
              <a:gd name="connsiteX20035" fmla="*/ 5709483 w 10505529"/>
              <a:gd name="connsiteY20035" fmla="*/ 4143643 h 7458372"/>
              <a:gd name="connsiteX20036" fmla="*/ 5715606 w 10505529"/>
              <a:gd name="connsiteY20036" fmla="*/ 4153094 h 7458372"/>
              <a:gd name="connsiteX20037" fmla="*/ 5717869 w 10505529"/>
              <a:gd name="connsiteY20037" fmla="*/ 4164542 h 7458372"/>
              <a:gd name="connsiteX20038" fmla="*/ 5715606 w 10505529"/>
              <a:gd name="connsiteY20038" fmla="*/ 4176257 h 7458372"/>
              <a:gd name="connsiteX20039" fmla="*/ 5709483 w 10505529"/>
              <a:gd name="connsiteY20039" fmla="*/ 4185576 h 7458372"/>
              <a:gd name="connsiteX20040" fmla="*/ 5700165 w 10505529"/>
              <a:gd name="connsiteY20040" fmla="*/ 4191832 h 7458372"/>
              <a:gd name="connsiteX20041" fmla="*/ 5688451 w 10505529"/>
              <a:gd name="connsiteY20041" fmla="*/ 4194095 h 7458372"/>
              <a:gd name="connsiteX20042" fmla="*/ 5666618 w 10505529"/>
              <a:gd name="connsiteY20042" fmla="*/ 4185576 h 7458372"/>
              <a:gd name="connsiteX20043" fmla="*/ 5658232 w 10505529"/>
              <a:gd name="connsiteY20043" fmla="*/ 4164409 h 7458372"/>
              <a:gd name="connsiteX20044" fmla="*/ 5666618 w 10505529"/>
              <a:gd name="connsiteY20044" fmla="*/ 4143376 h 7458372"/>
              <a:gd name="connsiteX20045" fmla="*/ 5688451 w 10505529"/>
              <a:gd name="connsiteY20045" fmla="*/ 4134724 h 7458372"/>
              <a:gd name="connsiteX20046" fmla="*/ 5470806 w 10505529"/>
              <a:gd name="connsiteY20046" fmla="*/ 4134724 h 7458372"/>
              <a:gd name="connsiteX20047" fmla="*/ 5482520 w 10505529"/>
              <a:gd name="connsiteY20047" fmla="*/ 4137253 h 7458372"/>
              <a:gd name="connsiteX20048" fmla="*/ 5491838 w 10505529"/>
              <a:gd name="connsiteY20048" fmla="*/ 4143643 h 7458372"/>
              <a:gd name="connsiteX20049" fmla="*/ 5497961 w 10505529"/>
              <a:gd name="connsiteY20049" fmla="*/ 4153094 h 7458372"/>
              <a:gd name="connsiteX20050" fmla="*/ 5500224 w 10505529"/>
              <a:gd name="connsiteY20050" fmla="*/ 4164542 h 7458372"/>
              <a:gd name="connsiteX20051" fmla="*/ 5497961 w 10505529"/>
              <a:gd name="connsiteY20051" fmla="*/ 4176257 h 7458372"/>
              <a:gd name="connsiteX20052" fmla="*/ 5491838 w 10505529"/>
              <a:gd name="connsiteY20052" fmla="*/ 4185576 h 7458372"/>
              <a:gd name="connsiteX20053" fmla="*/ 5482520 w 10505529"/>
              <a:gd name="connsiteY20053" fmla="*/ 4191832 h 7458372"/>
              <a:gd name="connsiteX20054" fmla="*/ 5470806 w 10505529"/>
              <a:gd name="connsiteY20054" fmla="*/ 4194095 h 7458372"/>
              <a:gd name="connsiteX20055" fmla="*/ 5448973 w 10505529"/>
              <a:gd name="connsiteY20055" fmla="*/ 4185576 h 7458372"/>
              <a:gd name="connsiteX20056" fmla="*/ 5440587 w 10505529"/>
              <a:gd name="connsiteY20056" fmla="*/ 4164409 h 7458372"/>
              <a:gd name="connsiteX20057" fmla="*/ 5448973 w 10505529"/>
              <a:gd name="connsiteY20057" fmla="*/ 4143376 h 7458372"/>
              <a:gd name="connsiteX20058" fmla="*/ 5470806 w 10505529"/>
              <a:gd name="connsiteY20058" fmla="*/ 4134724 h 7458372"/>
              <a:gd name="connsiteX20059" fmla="*/ 5253160 w 10505529"/>
              <a:gd name="connsiteY20059" fmla="*/ 4134724 h 7458372"/>
              <a:gd name="connsiteX20060" fmla="*/ 5264875 w 10505529"/>
              <a:gd name="connsiteY20060" fmla="*/ 4137253 h 7458372"/>
              <a:gd name="connsiteX20061" fmla="*/ 5274192 w 10505529"/>
              <a:gd name="connsiteY20061" fmla="*/ 4143643 h 7458372"/>
              <a:gd name="connsiteX20062" fmla="*/ 5280316 w 10505529"/>
              <a:gd name="connsiteY20062" fmla="*/ 4153094 h 7458372"/>
              <a:gd name="connsiteX20063" fmla="*/ 5282579 w 10505529"/>
              <a:gd name="connsiteY20063" fmla="*/ 4164542 h 7458372"/>
              <a:gd name="connsiteX20064" fmla="*/ 5280316 w 10505529"/>
              <a:gd name="connsiteY20064" fmla="*/ 4176257 h 7458372"/>
              <a:gd name="connsiteX20065" fmla="*/ 5274192 w 10505529"/>
              <a:gd name="connsiteY20065" fmla="*/ 4185576 h 7458372"/>
              <a:gd name="connsiteX20066" fmla="*/ 5264875 w 10505529"/>
              <a:gd name="connsiteY20066" fmla="*/ 4191832 h 7458372"/>
              <a:gd name="connsiteX20067" fmla="*/ 5253160 w 10505529"/>
              <a:gd name="connsiteY20067" fmla="*/ 4194095 h 7458372"/>
              <a:gd name="connsiteX20068" fmla="*/ 5231328 w 10505529"/>
              <a:gd name="connsiteY20068" fmla="*/ 4185576 h 7458372"/>
              <a:gd name="connsiteX20069" fmla="*/ 5222942 w 10505529"/>
              <a:gd name="connsiteY20069" fmla="*/ 4164409 h 7458372"/>
              <a:gd name="connsiteX20070" fmla="*/ 5231328 w 10505529"/>
              <a:gd name="connsiteY20070" fmla="*/ 4143376 h 7458372"/>
              <a:gd name="connsiteX20071" fmla="*/ 5253160 w 10505529"/>
              <a:gd name="connsiteY20071" fmla="*/ 4134724 h 7458372"/>
              <a:gd name="connsiteX20072" fmla="*/ 5035515 w 10505529"/>
              <a:gd name="connsiteY20072" fmla="*/ 4134724 h 7458372"/>
              <a:gd name="connsiteX20073" fmla="*/ 5047230 w 10505529"/>
              <a:gd name="connsiteY20073" fmla="*/ 4137253 h 7458372"/>
              <a:gd name="connsiteX20074" fmla="*/ 5056548 w 10505529"/>
              <a:gd name="connsiteY20074" fmla="*/ 4143643 h 7458372"/>
              <a:gd name="connsiteX20075" fmla="*/ 5062671 w 10505529"/>
              <a:gd name="connsiteY20075" fmla="*/ 4153094 h 7458372"/>
              <a:gd name="connsiteX20076" fmla="*/ 5064934 w 10505529"/>
              <a:gd name="connsiteY20076" fmla="*/ 4164542 h 7458372"/>
              <a:gd name="connsiteX20077" fmla="*/ 5062671 w 10505529"/>
              <a:gd name="connsiteY20077" fmla="*/ 4176257 h 7458372"/>
              <a:gd name="connsiteX20078" fmla="*/ 5056548 w 10505529"/>
              <a:gd name="connsiteY20078" fmla="*/ 4185576 h 7458372"/>
              <a:gd name="connsiteX20079" fmla="*/ 5047230 w 10505529"/>
              <a:gd name="connsiteY20079" fmla="*/ 4191832 h 7458372"/>
              <a:gd name="connsiteX20080" fmla="*/ 5035515 w 10505529"/>
              <a:gd name="connsiteY20080" fmla="*/ 4194095 h 7458372"/>
              <a:gd name="connsiteX20081" fmla="*/ 5013683 w 10505529"/>
              <a:gd name="connsiteY20081" fmla="*/ 4185576 h 7458372"/>
              <a:gd name="connsiteX20082" fmla="*/ 5005297 w 10505529"/>
              <a:gd name="connsiteY20082" fmla="*/ 4164409 h 7458372"/>
              <a:gd name="connsiteX20083" fmla="*/ 5013683 w 10505529"/>
              <a:gd name="connsiteY20083" fmla="*/ 4143376 h 7458372"/>
              <a:gd name="connsiteX20084" fmla="*/ 5035515 w 10505529"/>
              <a:gd name="connsiteY20084" fmla="*/ 4134724 h 7458372"/>
              <a:gd name="connsiteX20085" fmla="*/ 4817870 w 10505529"/>
              <a:gd name="connsiteY20085" fmla="*/ 4134724 h 7458372"/>
              <a:gd name="connsiteX20086" fmla="*/ 4829585 w 10505529"/>
              <a:gd name="connsiteY20086" fmla="*/ 4137253 h 7458372"/>
              <a:gd name="connsiteX20087" fmla="*/ 4838903 w 10505529"/>
              <a:gd name="connsiteY20087" fmla="*/ 4143643 h 7458372"/>
              <a:gd name="connsiteX20088" fmla="*/ 4845026 w 10505529"/>
              <a:gd name="connsiteY20088" fmla="*/ 4153094 h 7458372"/>
              <a:gd name="connsiteX20089" fmla="*/ 4847289 w 10505529"/>
              <a:gd name="connsiteY20089" fmla="*/ 4164542 h 7458372"/>
              <a:gd name="connsiteX20090" fmla="*/ 4845026 w 10505529"/>
              <a:gd name="connsiteY20090" fmla="*/ 4176257 h 7458372"/>
              <a:gd name="connsiteX20091" fmla="*/ 4838903 w 10505529"/>
              <a:gd name="connsiteY20091" fmla="*/ 4185576 h 7458372"/>
              <a:gd name="connsiteX20092" fmla="*/ 4829585 w 10505529"/>
              <a:gd name="connsiteY20092" fmla="*/ 4191832 h 7458372"/>
              <a:gd name="connsiteX20093" fmla="*/ 4817870 w 10505529"/>
              <a:gd name="connsiteY20093" fmla="*/ 4194095 h 7458372"/>
              <a:gd name="connsiteX20094" fmla="*/ 4796038 w 10505529"/>
              <a:gd name="connsiteY20094" fmla="*/ 4185576 h 7458372"/>
              <a:gd name="connsiteX20095" fmla="*/ 4787652 w 10505529"/>
              <a:gd name="connsiteY20095" fmla="*/ 4164409 h 7458372"/>
              <a:gd name="connsiteX20096" fmla="*/ 4796038 w 10505529"/>
              <a:gd name="connsiteY20096" fmla="*/ 4143376 h 7458372"/>
              <a:gd name="connsiteX20097" fmla="*/ 4817870 w 10505529"/>
              <a:gd name="connsiteY20097" fmla="*/ 4134724 h 7458372"/>
              <a:gd name="connsiteX20098" fmla="*/ 4600226 w 10505529"/>
              <a:gd name="connsiteY20098" fmla="*/ 4134724 h 7458372"/>
              <a:gd name="connsiteX20099" fmla="*/ 4612073 w 10505529"/>
              <a:gd name="connsiteY20099" fmla="*/ 4137253 h 7458372"/>
              <a:gd name="connsiteX20100" fmla="*/ 4621391 w 10505529"/>
              <a:gd name="connsiteY20100" fmla="*/ 4143643 h 7458372"/>
              <a:gd name="connsiteX20101" fmla="*/ 4627514 w 10505529"/>
              <a:gd name="connsiteY20101" fmla="*/ 4153094 h 7458372"/>
              <a:gd name="connsiteX20102" fmla="*/ 4629777 w 10505529"/>
              <a:gd name="connsiteY20102" fmla="*/ 4164542 h 7458372"/>
              <a:gd name="connsiteX20103" fmla="*/ 4627514 w 10505529"/>
              <a:gd name="connsiteY20103" fmla="*/ 4176257 h 7458372"/>
              <a:gd name="connsiteX20104" fmla="*/ 4621391 w 10505529"/>
              <a:gd name="connsiteY20104" fmla="*/ 4185576 h 7458372"/>
              <a:gd name="connsiteX20105" fmla="*/ 4612073 w 10505529"/>
              <a:gd name="connsiteY20105" fmla="*/ 4191832 h 7458372"/>
              <a:gd name="connsiteX20106" fmla="*/ 4600226 w 10505529"/>
              <a:gd name="connsiteY20106" fmla="*/ 4194095 h 7458372"/>
              <a:gd name="connsiteX20107" fmla="*/ 4578393 w 10505529"/>
              <a:gd name="connsiteY20107" fmla="*/ 4185576 h 7458372"/>
              <a:gd name="connsiteX20108" fmla="*/ 4570007 w 10505529"/>
              <a:gd name="connsiteY20108" fmla="*/ 4164409 h 7458372"/>
              <a:gd name="connsiteX20109" fmla="*/ 4578393 w 10505529"/>
              <a:gd name="connsiteY20109" fmla="*/ 4143376 h 7458372"/>
              <a:gd name="connsiteX20110" fmla="*/ 4600226 w 10505529"/>
              <a:gd name="connsiteY20110" fmla="*/ 4134724 h 7458372"/>
              <a:gd name="connsiteX20111" fmla="*/ 4382713 w 10505529"/>
              <a:gd name="connsiteY20111" fmla="*/ 4134724 h 7458372"/>
              <a:gd name="connsiteX20112" fmla="*/ 4394428 w 10505529"/>
              <a:gd name="connsiteY20112" fmla="*/ 4137253 h 7458372"/>
              <a:gd name="connsiteX20113" fmla="*/ 4403746 w 10505529"/>
              <a:gd name="connsiteY20113" fmla="*/ 4143643 h 7458372"/>
              <a:gd name="connsiteX20114" fmla="*/ 4409869 w 10505529"/>
              <a:gd name="connsiteY20114" fmla="*/ 4153094 h 7458372"/>
              <a:gd name="connsiteX20115" fmla="*/ 4412132 w 10505529"/>
              <a:gd name="connsiteY20115" fmla="*/ 4164542 h 7458372"/>
              <a:gd name="connsiteX20116" fmla="*/ 4409869 w 10505529"/>
              <a:gd name="connsiteY20116" fmla="*/ 4176257 h 7458372"/>
              <a:gd name="connsiteX20117" fmla="*/ 4403746 w 10505529"/>
              <a:gd name="connsiteY20117" fmla="*/ 4185576 h 7458372"/>
              <a:gd name="connsiteX20118" fmla="*/ 4394428 w 10505529"/>
              <a:gd name="connsiteY20118" fmla="*/ 4191832 h 7458372"/>
              <a:gd name="connsiteX20119" fmla="*/ 4382713 w 10505529"/>
              <a:gd name="connsiteY20119" fmla="*/ 4194095 h 7458372"/>
              <a:gd name="connsiteX20120" fmla="*/ 4360881 w 10505529"/>
              <a:gd name="connsiteY20120" fmla="*/ 4185576 h 7458372"/>
              <a:gd name="connsiteX20121" fmla="*/ 4352495 w 10505529"/>
              <a:gd name="connsiteY20121" fmla="*/ 4164409 h 7458372"/>
              <a:gd name="connsiteX20122" fmla="*/ 4360881 w 10505529"/>
              <a:gd name="connsiteY20122" fmla="*/ 4143376 h 7458372"/>
              <a:gd name="connsiteX20123" fmla="*/ 4382713 w 10505529"/>
              <a:gd name="connsiteY20123" fmla="*/ 4134724 h 7458372"/>
              <a:gd name="connsiteX20124" fmla="*/ 4165068 w 10505529"/>
              <a:gd name="connsiteY20124" fmla="*/ 4134724 h 7458372"/>
              <a:gd name="connsiteX20125" fmla="*/ 4176782 w 10505529"/>
              <a:gd name="connsiteY20125" fmla="*/ 4137253 h 7458372"/>
              <a:gd name="connsiteX20126" fmla="*/ 4186100 w 10505529"/>
              <a:gd name="connsiteY20126" fmla="*/ 4143643 h 7458372"/>
              <a:gd name="connsiteX20127" fmla="*/ 4192223 w 10505529"/>
              <a:gd name="connsiteY20127" fmla="*/ 4153094 h 7458372"/>
              <a:gd name="connsiteX20128" fmla="*/ 4194486 w 10505529"/>
              <a:gd name="connsiteY20128" fmla="*/ 4164542 h 7458372"/>
              <a:gd name="connsiteX20129" fmla="*/ 4192223 w 10505529"/>
              <a:gd name="connsiteY20129" fmla="*/ 4176257 h 7458372"/>
              <a:gd name="connsiteX20130" fmla="*/ 4186100 w 10505529"/>
              <a:gd name="connsiteY20130" fmla="*/ 4185576 h 7458372"/>
              <a:gd name="connsiteX20131" fmla="*/ 4176782 w 10505529"/>
              <a:gd name="connsiteY20131" fmla="*/ 4191832 h 7458372"/>
              <a:gd name="connsiteX20132" fmla="*/ 4165068 w 10505529"/>
              <a:gd name="connsiteY20132" fmla="*/ 4194095 h 7458372"/>
              <a:gd name="connsiteX20133" fmla="*/ 4143235 w 10505529"/>
              <a:gd name="connsiteY20133" fmla="*/ 4185576 h 7458372"/>
              <a:gd name="connsiteX20134" fmla="*/ 4134849 w 10505529"/>
              <a:gd name="connsiteY20134" fmla="*/ 4164409 h 7458372"/>
              <a:gd name="connsiteX20135" fmla="*/ 4143235 w 10505529"/>
              <a:gd name="connsiteY20135" fmla="*/ 4143376 h 7458372"/>
              <a:gd name="connsiteX20136" fmla="*/ 4165068 w 10505529"/>
              <a:gd name="connsiteY20136" fmla="*/ 4134724 h 7458372"/>
              <a:gd name="connsiteX20137" fmla="*/ 3947651 w 10505529"/>
              <a:gd name="connsiteY20137" fmla="*/ 4134724 h 7458372"/>
              <a:gd name="connsiteX20138" fmla="*/ 3959368 w 10505529"/>
              <a:gd name="connsiteY20138" fmla="*/ 4137253 h 7458372"/>
              <a:gd name="connsiteX20139" fmla="*/ 3968686 w 10505529"/>
              <a:gd name="connsiteY20139" fmla="*/ 4143643 h 7458372"/>
              <a:gd name="connsiteX20140" fmla="*/ 3974810 w 10505529"/>
              <a:gd name="connsiteY20140" fmla="*/ 4153094 h 7458372"/>
              <a:gd name="connsiteX20141" fmla="*/ 3977074 w 10505529"/>
              <a:gd name="connsiteY20141" fmla="*/ 4164542 h 7458372"/>
              <a:gd name="connsiteX20142" fmla="*/ 3974810 w 10505529"/>
              <a:gd name="connsiteY20142" fmla="*/ 4176257 h 7458372"/>
              <a:gd name="connsiteX20143" fmla="*/ 3968686 w 10505529"/>
              <a:gd name="connsiteY20143" fmla="*/ 4185576 h 7458372"/>
              <a:gd name="connsiteX20144" fmla="*/ 3959368 w 10505529"/>
              <a:gd name="connsiteY20144" fmla="*/ 4191832 h 7458372"/>
              <a:gd name="connsiteX20145" fmla="*/ 3947651 w 10505529"/>
              <a:gd name="connsiteY20145" fmla="*/ 4194095 h 7458372"/>
              <a:gd name="connsiteX20146" fmla="*/ 3925819 w 10505529"/>
              <a:gd name="connsiteY20146" fmla="*/ 4185576 h 7458372"/>
              <a:gd name="connsiteX20147" fmla="*/ 3917432 w 10505529"/>
              <a:gd name="connsiteY20147" fmla="*/ 4164409 h 7458372"/>
              <a:gd name="connsiteX20148" fmla="*/ 3925819 w 10505529"/>
              <a:gd name="connsiteY20148" fmla="*/ 4143376 h 7458372"/>
              <a:gd name="connsiteX20149" fmla="*/ 3947651 w 10505529"/>
              <a:gd name="connsiteY20149" fmla="*/ 4134724 h 7458372"/>
              <a:gd name="connsiteX20150" fmla="*/ 3729995 w 10505529"/>
              <a:gd name="connsiteY20150" fmla="*/ 4134724 h 7458372"/>
              <a:gd name="connsiteX20151" fmla="*/ 3741711 w 10505529"/>
              <a:gd name="connsiteY20151" fmla="*/ 4137253 h 7458372"/>
              <a:gd name="connsiteX20152" fmla="*/ 3751030 w 10505529"/>
              <a:gd name="connsiteY20152" fmla="*/ 4143643 h 7458372"/>
              <a:gd name="connsiteX20153" fmla="*/ 3757152 w 10505529"/>
              <a:gd name="connsiteY20153" fmla="*/ 4153094 h 7458372"/>
              <a:gd name="connsiteX20154" fmla="*/ 3759415 w 10505529"/>
              <a:gd name="connsiteY20154" fmla="*/ 4164542 h 7458372"/>
              <a:gd name="connsiteX20155" fmla="*/ 3757152 w 10505529"/>
              <a:gd name="connsiteY20155" fmla="*/ 4176257 h 7458372"/>
              <a:gd name="connsiteX20156" fmla="*/ 3751030 w 10505529"/>
              <a:gd name="connsiteY20156" fmla="*/ 4185576 h 7458372"/>
              <a:gd name="connsiteX20157" fmla="*/ 3741711 w 10505529"/>
              <a:gd name="connsiteY20157" fmla="*/ 4191832 h 7458372"/>
              <a:gd name="connsiteX20158" fmla="*/ 3729995 w 10505529"/>
              <a:gd name="connsiteY20158" fmla="*/ 4194095 h 7458372"/>
              <a:gd name="connsiteX20159" fmla="*/ 3708158 w 10505529"/>
              <a:gd name="connsiteY20159" fmla="*/ 4185576 h 7458372"/>
              <a:gd name="connsiteX20160" fmla="*/ 3699772 w 10505529"/>
              <a:gd name="connsiteY20160" fmla="*/ 4164409 h 7458372"/>
              <a:gd name="connsiteX20161" fmla="*/ 3708158 w 10505529"/>
              <a:gd name="connsiteY20161" fmla="*/ 4143376 h 7458372"/>
              <a:gd name="connsiteX20162" fmla="*/ 3729995 w 10505529"/>
              <a:gd name="connsiteY20162" fmla="*/ 4134724 h 7458372"/>
              <a:gd name="connsiteX20163" fmla="*/ 3512338 w 10505529"/>
              <a:gd name="connsiteY20163" fmla="*/ 4134724 h 7458372"/>
              <a:gd name="connsiteX20164" fmla="*/ 3524054 w 10505529"/>
              <a:gd name="connsiteY20164" fmla="*/ 4137253 h 7458372"/>
              <a:gd name="connsiteX20165" fmla="*/ 3533372 w 10505529"/>
              <a:gd name="connsiteY20165" fmla="*/ 4143643 h 7458372"/>
              <a:gd name="connsiteX20166" fmla="*/ 3539496 w 10505529"/>
              <a:gd name="connsiteY20166" fmla="*/ 4153094 h 7458372"/>
              <a:gd name="connsiteX20167" fmla="*/ 3541759 w 10505529"/>
              <a:gd name="connsiteY20167" fmla="*/ 4164542 h 7458372"/>
              <a:gd name="connsiteX20168" fmla="*/ 3539496 w 10505529"/>
              <a:gd name="connsiteY20168" fmla="*/ 4176257 h 7458372"/>
              <a:gd name="connsiteX20169" fmla="*/ 3533372 w 10505529"/>
              <a:gd name="connsiteY20169" fmla="*/ 4185576 h 7458372"/>
              <a:gd name="connsiteX20170" fmla="*/ 3524054 w 10505529"/>
              <a:gd name="connsiteY20170" fmla="*/ 4191832 h 7458372"/>
              <a:gd name="connsiteX20171" fmla="*/ 3512338 w 10505529"/>
              <a:gd name="connsiteY20171" fmla="*/ 4194095 h 7458372"/>
              <a:gd name="connsiteX20172" fmla="*/ 3490503 w 10505529"/>
              <a:gd name="connsiteY20172" fmla="*/ 4185576 h 7458372"/>
              <a:gd name="connsiteX20173" fmla="*/ 3482117 w 10505529"/>
              <a:gd name="connsiteY20173" fmla="*/ 4164409 h 7458372"/>
              <a:gd name="connsiteX20174" fmla="*/ 3490503 w 10505529"/>
              <a:gd name="connsiteY20174" fmla="*/ 4143376 h 7458372"/>
              <a:gd name="connsiteX20175" fmla="*/ 3512338 w 10505529"/>
              <a:gd name="connsiteY20175" fmla="*/ 4134724 h 7458372"/>
              <a:gd name="connsiteX20176" fmla="*/ 3294815 w 10505529"/>
              <a:gd name="connsiteY20176" fmla="*/ 4134724 h 7458372"/>
              <a:gd name="connsiteX20177" fmla="*/ 3306531 w 10505529"/>
              <a:gd name="connsiteY20177" fmla="*/ 4137253 h 7458372"/>
              <a:gd name="connsiteX20178" fmla="*/ 3315848 w 10505529"/>
              <a:gd name="connsiteY20178" fmla="*/ 4143643 h 7458372"/>
              <a:gd name="connsiteX20179" fmla="*/ 3321972 w 10505529"/>
              <a:gd name="connsiteY20179" fmla="*/ 4153094 h 7458372"/>
              <a:gd name="connsiteX20180" fmla="*/ 3324235 w 10505529"/>
              <a:gd name="connsiteY20180" fmla="*/ 4164542 h 7458372"/>
              <a:gd name="connsiteX20181" fmla="*/ 3321972 w 10505529"/>
              <a:gd name="connsiteY20181" fmla="*/ 4176257 h 7458372"/>
              <a:gd name="connsiteX20182" fmla="*/ 3315848 w 10505529"/>
              <a:gd name="connsiteY20182" fmla="*/ 4185576 h 7458372"/>
              <a:gd name="connsiteX20183" fmla="*/ 3306531 w 10505529"/>
              <a:gd name="connsiteY20183" fmla="*/ 4191832 h 7458372"/>
              <a:gd name="connsiteX20184" fmla="*/ 3294815 w 10505529"/>
              <a:gd name="connsiteY20184" fmla="*/ 4194095 h 7458372"/>
              <a:gd name="connsiteX20185" fmla="*/ 3272979 w 10505529"/>
              <a:gd name="connsiteY20185" fmla="*/ 4185576 h 7458372"/>
              <a:gd name="connsiteX20186" fmla="*/ 3264591 w 10505529"/>
              <a:gd name="connsiteY20186" fmla="*/ 4164409 h 7458372"/>
              <a:gd name="connsiteX20187" fmla="*/ 3272979 w 10505529"/>
              <a:gd name="connsiteY20187" fmla="*/ 4143376 h 7458372"/>
              <a:gd name="connsiteX20188" fmla="*/ 3294815 w 10505529"/>
              <a:gd name="connsiteY20188" fmla="*/ 4134724 h 7458372"/>
              <a:gd name="connsiteX20189" fmla="*/ 3077158 w 10505529"/>
              <a:gd name="connsiteY20189" fmla="*/ 4134724 h 7458372"/>
              <a:gd name="connsiteX20190" fmla="*/ 3088873 w 10505529"/>
              <a:gd name="connsiteY20190" fmla="*/ 4137253 h 7458372"/>
              <a:gd name="connsiteX20191" fmla="*/ 3098191 w 10505529"/>
              <a:gd name="connsiteY20191" fmla="*/ 4143643 h 7458372"/>
              <a:gd name="connsiteX20192" fmla="*/ 3104315 w 10505529"/>
              <a:gd name="connsiteY20192" fmla="*/ 4153094 h 7458372"/>
              <a:gd name="connsiteX20193" fmla="*/ 3106577 w 10505529"/>
              <a:gd name="connsiteY20193" fmla="*/ 4164542 h 7458372"/>
              <a:gd name="connsiteX20194" fmla="*/ 3104315 w 10505529"/>
              <a:gd name="connsiteY20194" fmla="*/ 4176257 h 7458372"/>
              <a:gd name="connsiteX20195" fmla="*/ 3098191 w 10505529"/>
              <a:gd name="connsiteY20195" fmla="*/ 4185576 h 7458372"/>
              <a:gd name="connsiteX20196" fmla="*/ 3088873 w 10505529"/>
              <a:gd name="connsiteY20196" fmla="*/ 4191832 h 7458372"/>
              <a:gd name="connsiteX20197" fmla="*/ 3077158 w 10505529"/>
              <a:gd name="connsiteY20197" fmla="*/ 4194095 h 7458372"/>
              <a:gd name="connsiteX20198" fmla="*/ 3055321 w 10505529"/>
              <a:gd name="connsiteY20198" fmla="*/ 4185576 h 7458372"/>
              <a:gd name="connsiteX20199" fmla="*/ 3046935 w 10505529"/>
              <a:gd name="connsiteY20199" fmla="*/ 4164409 h 7458372"/>
              <a:gd name="connsiteX20200" fmla="*/ 3055321 w 10505529"/>
              <a:gd name="connsiteY20200" fmla="*/ 4143376 h 7458372"/>
              <a:gd name="connsiteX20201" fmla="*/ 3077158 w 10505529"/>
              <a:gd name="connsiteY20201" fmla="*/ 4134724 h 7458372"/>
              <a:gd name="connsiteX20202" fmla="*/ 2859501 w 10505529"/>
              <a:gd name="connsiteY20202" fmla="*/ 4134724 h 7458372"/>
              <a:gd name="connsiteX20203" fmla="*/ 2871349 w 10505529"/>
              <a:gd name="connsiteY20203" fmla="*/ 4137253 h 7458372"/>
              <a:gd name="connsiteX20204" fmla="*/ 2880667 w 10505529"/>
              <a:gd name="connsiteY20204" fmla="*/ 4143643 h 7458372"/>
              <a:gd name="connsiteX20205" fmla="*/ 2886791 w 10505529"/>
              <a:gd name="connsiteY20205" fmla="*/ 4153094 h 7458372"/>
              <a:gd name="connsiteX20206" fmla="*/ 2889054 w 10505529"/>
              <a:gd name="connsiteY20206" fmla="*/ 4164542 h 7458372"/>
              <a:gd name="connsiteX20207" fmla="*/ 2886791 w 10505529"/>
              <a:gd name="connsiteY20207" fmla="*/ 4176257 h 7458372"/>
              <a:gd name="connsiteX20208" fmla="*/ 2880667 w 10505529"/>
              <a:gd name="connsiteY20208" fmla="*/ 4185576 h 7458372"/>
              <a:gd name="connsiteX20209" fmla="*/ 2871349 w 10505529"/>
              <a:gd name="connsiteY20209" fmla="*/ 4191832 h 7458372"/>
              <a:gd name="connsiteX20210" fmla="*/ 2859501 w 10505529"/>
              <a:gd name="connsiteY20210" fmla="*/ 4194095 h 7458372"/>
              <a:gd name="connsiteX20211" fmla="*/ 2837665 w 10505529"/>
              <a:gd name="connsiteY20211" fmla="*/ 4185576 h 7458372"/>
              <a:gd name="connsiteX20212" fmla="*/ 2829278 w 10505529"/>
              <a:gd name="connsiteY20212" fmla="*/ 4164409 h 7458372"/>
              <a:gd name="connsiteX20213" fmla="*/ 2837665 w 10505529"/>
              <a:gd name="connsiteY20213" fmla="*/ 4143376 h 7458372"/>
              <a:gd name="connsiteX20214" fmla="*/ 2859501 w 10505529"/>
              <a:gd name="connsiteY20214" fmla="*/ 4134724 h 7458372"/>
              <a:gd name="connsiteX20215" fmla="*/ 2641844 w 10505529"/>
              <a:gd name="connsiteY20215" fmla="*/ 4134724 h 7458372"/>
              <a:gd name="connsiteX20216" fmla="*/ 2653559 w 10505529"/>
              <a:gd name="connsiteY20216" fmla="*/ 4137253 h 7458372"/>
              <a:gd name="connsiteX20217" fmla="*/ 2662877 w 10505529"/>
              <a:gd name="connsiteY20217" fmla="*/ 4143643 h 7458372"/>
              <a:gd name="connsiteX20218" fmla="*/ 2669001 w 10505529"/>
              <a:gd name="connsiteY20218" fmla="*/ 4153094 h 7458372"/>
              <a:gd name="connsiteX20219" fmla="*/ 2671264 w 10505529"/>
              <a:gd name="connsiteY20219" fmla="*/ 4164542 h 7458372"/>
              <a:gd name="connsiteX20220" fmla="*/ 2669001 w 10505529"/>
              <a:gd name="connsiteY20220" fmla="*/ 4176257 h 7458372"/>
              <a:gd name="connsiteX20221" fmla="*/ 2662877 w 10505529"/>
              <a:gd name="connsiteY20221" fmla="*/ 4185576 h 7458372"/>
              <a:gd name="connsiteX20222" fmla="*/ 2653559 w 10505529"/>
              <a:gd name="connsiteY20222" fmla="*/ 4191832 h 7458372"/>
              <a:gd name="connsiteX20223" fmla="*/ 2641844 w 10505529"/>
              <a:gd name="connsiteY20223" fmla="*/ 4194095 h 7458372"/>
              <a:gd name="connsiteX20224" fmla="*/ 2620011 w 10505529"/>
              <a:gd name="connsiteY20224" fmla="*/ 4185576 h 7458372"/>
              <a:gd name="connsiteX20225" fmla="*/ 2611622 w 10505529"/>
              <a:gd name="connsiteY20225" fmla="*/ 4164409 h 7458372"/>
              <a:gd name="connsiteX20226" fmla="*/ 2620011 w 10505529"/>
              <a:gd name="connsiteY20226" fmla="*/ 4143376 h 7458372"/>
              <a:gd name="connsiteX20227" fmla="*/ 2641844 w 10505529"/>
              <a:gd name="connsiteY20227" fmla="*/ 4134724 h 7458372"/>
              <a:gd name="connsiteX20228" fmla="*/ 2424187 w 10505529"/>
              <a:gd name="connsiteY20228" fmla="*/ 4134724 h 7458372"/>
              <a:gd name="connsiteX20229" fmla="*/ 2435902 w 10505529"/>
              <a:gd name="connsiteY20229" fmla="*/ 4137253 h 7458372"/>
              <a:gd name="connsiteX20230" fmla="*/ 2445220 w 10505529"/>
              <a:gd name="connsiteY20230" fmla="*/ 4143643 h 7458372"/>
              <a:gd name="connsiteX20231" fmla="*/ 2451343 w 10505529"/>
              <a:gd name="connsiteY20231" fmla="*/ 4153094 h 7458372"/>
              <a:gd name="connsiteX20232" fmla="*/ 2453606 w 10505529"/>
              <a:gd name="connsiteY20232" fmla="*/ 4164542 h 7458372"/>
              <a:gd name="connsiteX20233" fmla="*/ 2451343 w 10505529"/>
              <a:gd name="connsiteY20233" fmla="*/ 4176257 h 7458372"/>
              <a:gd name="connsiteX20234" fmla="*/ 2445220 w 10505529"/>
              <a:gd name="connsiteY20234" fmla="*/ 4185576 h 7458372"/>
              <a:gd name="connsiteX20235" fmla="*/ 2435902 w 10505529"/>
              <a:gd name="connsiteY20235" fmla="*/ 4191832 h 7458372"/>
              <a:gd name="connsiteX20236" fmla="*/ 2424187 w 10505529"/>
              <a:gd name="connsiteY20236" fmla="*/ 4194095 h 7458372"/>
              <a:gd name="connsiteX20237" fmla="*/ 2402355 w 10505529"/>
              <a:gd name="connsiteY20237" fmla="*/ 4185576 h 7458372"/>
              <a:gd name="connsiteX20238" fmla="*/ 2393967 w 10505529"/>
              <a:gd name="connsiteY20238" fmla="*/ 4164409 h 7458372"/>
              <a:gd name="connsiteX20239" fmla="*/ 2402355 w 10505529"/>
              <a:gd name="connsiteY20239" fmla="*/ 4143376 h 7458372"/>
              <a:gd name="connsiteX20240" fmla="*/ 2424187 w 10505529"/>
              <a:gd name="connsiteY20240" fmla="*/ 4134724 h 7458372"/>
              <a:gd name="connsiteX20241" fmla="*/ 2206530 w 10505529"/>
              <a:gd name="connsiteY20241" fmla="*/ 4134724 h 7458372"/>
              <a:gd name="connsiteX20242" fmla="*/ 2218245 w 10505529"/>
              <a:gd name="connsiteY20242" fmla="*/ 4137253 h 7458372"/>
              <a:gd name="connsiteX20243" fmla="*/ 2227563 w 10505529"/>
              <a:gd name="connsiteY20243" fmla="*/ 4143643 h 7458372"/>
              <a:gd name="connsiteX20244" fmla="*/ 2233686 w 10505529"/>
              <a:gd name="connsiteY20244" fmla="*/ 4153094 h 7458372"/>
              <a:gd name="connsiteX20245" fmla="*/ 2235949 w 10505529"/>
              <a:gd name="connsiteY20245" fmla="*/ 4164542 h 7458372"/>
              <a:gd name="connsiteX20246" fmla="*/ 2233686 w 10505529"/>
              <a:gd name="connsiteY20246" fmla="*/ 4176257 h 7458372"/>
              <a:gd name="connsiteX20247" fmla="*/ 2227563 w 10505529"/>
              <a:gd name="connsiteY20247" fmla="*/ 4185576 h 7458372"/>
              <a:gd name="connsiteX20248" fmla="*/ 2218245 w 10505529"/>
              <a:gd name="connsiteY20248" fmla="*/ 4191832 h 7458372"/>
              <a:gd name="connsiteX20249" fmla="*/ 2206530 w 10505529"/>
              <a:gd name="connsiteY20249" fmla="*/ 4194095 h 7458372"/>
              <a:gd name="connsiteX20250" fmla="*/ 2184697 w 10505529"/>
              <a:gd name="connsiteY20250" fmla="*/ 4185576 h 7458372"/>
              <a:gd name="connsiteX20251" fmla="*/ 2176310 w 10505529"/>
              <a:gd name="connsiteY20251" fmla="*/ 4164409 h 7458372"/>
              <a:gd name="connsiteX20252" fmla="*/ 2184697 w 10505529"/>
              <a:gd name="connsiteY20252" fmla="*/ 4143376 h 7458372"/>
              <a:gd name="connsiteX20253" fmla="*/ 2206530 w 10505529"/>
              <a:gd name="connsiteY20253" fmla="*/ 4134724 h 7458372"/>
              <a:gd name="connsiteX20254" fmla="*/ 1989006 w 10505529"/>
              <a:gd name="connsiteY20254" fmla="*/ 4134724 h 7458372"/>
              <a:gd name="connsiteX20255" fmla="*/ 2000721 w 10505529"/>
              <a:gd name="connsiteY20255" fmla="*/ 4137253 h 7458372"/>
              <a:gd name="connsiteX20256" fmla="*/ 2010039 w 10505529"/>
              <a:gd name="connsiteY20256" fmla="*/ 4143643 h 7458372"/>
              <a:gd name="connsiteX20257" fmla="*/ 2016162 w 10505529"/>
              <a:gd name="connsiteY20257" fmla="*/ 4153094 h 7458372"/>
              <a:gd name="connsiteX20258" fmla="*/ 2018425 w 10505529"/>
              <a:gd name="connsiteY20258" fmla="*/ 4164542 h 7458372"/>
              <a:gd name="connsiteX20259" fmla="*/ 2016162 w 10505529"/>
              <a:gd name="connsiteY20259" fmla="*/ 4176257 h 7458372"/>
              <a:gd name="connsiteX20260" fmla="*/ 2010039 w 10505529"/>
              <a:gd name="connsiteY20260" fmla="*/ 4185576 h 7458372"/>
              <a:gd name="connsiteX20261" fmla="*/ 2000721 w 10505529"/>
              <a:gd name="connsiteY20261" fmla="*/ 4191832 h 7458372"/>
              <a:gd name="connsiteX20262" fmla="*/ 1989006 w 10505529"/>
              <a:gd name="connsiteY20262" fmla="*/ 4194095 h 7458372"/>
              <a:gd name="connsiteX20263" fmla="*/ 1967174 w 10505529"/>
              <a:gd name="connsiteY20263" fmla="*/ 4185576 h 7458372"/>
              <a:gd name="connsiteX20264" fmla="*/ 1958788 w 10505529"/>
              <a:gd name="connsiteY20264" fmla="*/ 4164409 h 7458372"/>
              <a:gd name="connsiteX20265" fmla="*/ 1967174 w 10505529"/>
              <a:gd name="connsiteY20265" fmla="*/ 4143376 h 7458372"/>
              <a:gd name="connsiteX20266" fmla="*/ 1989006 w 10505529"/>
              <a:gd name="connsiteY20266" fmla="*/ 4134724 h 7458372"/>
              <a:gd name="connsiteX20267" fmla="*/ 1771369 w 10505529"/>
              <a:gd name="connsiteY20267" fmla="*/ 4134724 h 7458372"/>
              <a:gd name="connsiteX20268" fmla="*/ 1783083 w 10505529"/>
              <a:gd name="connsiteY20268" fmla="*/ 4137253 h 7458372"/>
              <a:gd name="connsiteX20269" fmla="*/ 1792401 w 10505529"/>
              <a:gd name="connsiteY20269" fmla="*/ 4143643 h 7458372"/>
              <a:gd name="connsiteX20270" fmla="*/ 1798524 w 10505529"/>
              <a:gd name="connsiteY20270" fmla="*/ 4153094 h 7458372"/>
              <a:gd name="connsiteX20271" fmla="*/ 1800787 w 10505529"/>
              <a:gd name="connsiteY20271" fmla="*/ 4164542 h 7458372"/>
              <a:gd name="connsiteX20272" fmla="*/ 1798524 w 10505529"/>
              <a:gd name="connsiteY20272" fmla="*/ 4176257 h 7458372"/>
              <a:gd name="connsiteX20273" fmla="*/ 1792401 w 10505529"/>
              <a:gd name="connsiteY20273" fmla="*/ 4185576 h 7458372"/>
              <a:gd name="connsiteX20274" fmla="*/ 1783083 w 10505529"/>
              <a:gd name="connsiteY20274" fmla="*/ 4191832 h 7458372"/>
              <a:gd name="connsiteX20275" fmla="*/ 1771369 w 10505529"/>
              <a:gd name="connsiteY20275" fmla="*/ 4194095 h 7458372"/>
              <a:gd name="connsiteX20276" fmla="*/ 1749539 w 10505529"/>
              <a:gd name="connsiteY20276" fmla="*/ 4185576 h 7458372"/>
              <a:gd name="connsiteX20277" fmla="*/ 1741156 w 10505529"/>
              <a:gd name="connsiteY20277" fmla="*/ 4164409 h 7458372"/>
              <a:gd name="connsiteX20278" fmla="*/ 1749539 w 10505529"/>
              <a:gd name="connsiteY20278" fmla="*/ 4143376 h 7458372"/>
              <a:gd name="connsiteX20279" fmla="*/ 1771369 w 10505529"/>
              <a:gd name="connsiteY20279" fmla="*/ 4134724 h 7458372"/>
              <a:gd name="connsiteX20280" fmla="*/ 1553730 w 10505529"/>
              <a:gd name="connsiteY20280" fmla="*/ 4134724 h 7458372"/>
              <a:gd name="connsiteX20281" fmla="*/ 1565445 w 10505529"/>
              <a:gd name="connsiteY20281" fmla="*/ 4137253 h 7458372"/>
              <a:gd name="connsiteX20282" fmla="*/ 1574763 w 10505529"/>
              <a:gd name="connsiteY20282" fmla="*/ 4143643 h 7458372"/>
              <a:gd name="connsiteX20283" fmla="*/ 1580886 w 10505529"/>
              <a:gd name="connsiteY20283" fmla="*/ 4153094 h 7458372"/>
              <a:gd name="connsiteX20284" fmla="*/ 1583149 w 10505529"/>
              <a:gd name="connsiteY20284" fmla="*/ 4164542 h 7458372"/>
              <a:gd name="connsiteX20285" fmla="*/ 1580886 w 10505529"/>
              <a:gd name="connsiteY20285" fmla="*/ 4176257 h 7458372"/>
              <a:gd name="connsiteX20286" fmla="*/ 1574763 w 10505529"/>
              <a:gd name="connsiteY20286" fmla="*/ 4185576 h 7458372"/>
              <a:gd name="connsiteX20287" fmla="*/ 1565445 w 10505529"/>
              <a:gd name="connsiteY20287" fmla="*/ 4191832 h 7458372"/>
              <a:gd name="connsiteX20288" fmla="*/ 1553730 w 10505529"/>
              <a:gd name="connsiteY20288" fmla="*/ 4194095 h 7458372"/>
              <a:gd name="connsiteX20289" fmla="*/ 1531900 w 10505529"/>
              <a:gd name="connsiteY20289" fmla="*/ 4185576 h 7458372"/>
              <a:gd name="connsiteX20290" fmla="*/ 1523514 w 10505529"/>
              <a:gd name="connsiteY20290" fmla="*/ 4164409 h 7458372"/>
              <a:gd name="connsiteX20291" fmla="*/ 1531900 w 10505529"/>
              <a:gd name="connsiteY20291" fmla="*/ 4143376 h 7458372"/>
              <a:gd name="connsiteX20292" fmla="*/ 1553730 w 10505529"/>
              <a:gd name="connsiteY20292" fmla="*/ 4134724 h 7458372"/>
              <a:gd name="connsiteX20293" fmla="*/ 1336086 w 10505529"/>
              <a:gd name="connsiteY20293" fmla="*/ 4134724 h 7458372"/>
              <a:gd name="connsiteX20294" fmla="*/ 1347802 w 10505529"/>
              <a:gd name="connsiteY20294" fmla="*/ 4137253 h 7458372"/>
              <a:gd name="connsiteX20295" fmla="*/ 1357120 w 10505529"/>
              <a:gd name="connsiteY20295" fmla="*/ 4143643 h 7458372"/>
              <a:gd name="connsiteX20296" fmla="*/ 1363243 w 10505529"/>
              <a:gd name="connsiteY20296" fmla="*/ 4153094 h 7458372"/>
              <a:gd name="connsiteX20297" fmla="*/ 1365505 w 10505529"/>
              <a:gd name="connsiteY20297" fmla="*/ 4164542 h 7458372"/>
              <a:gd name="connsiteX20298" fmla="*/ 1363243 w 10505529"/>
              <a:gd name="connsiteY20298" fmla="*/ 4176257 h 7458372"/>
              <a:gd name="connsiteX20299" fmla="*/ 1357120 w 10505529"/>
              <a:gd name="connsiteY20299" fmla="*/ 4185576 h 7458372"/>
              <a:gd name="connsiteX20300" fmla="*/ 1347802 w 10505529"/>
              <a:gd name="connsiteY20300" fmla="*/ 4191832 h 7458372"/>
              <a:gd name="connsiteX20301" fmla="*/ 1336086 w 10505529"/>
              <a:gd name="connsiteY20301" fmla="*/ 4194095 h 7458372"/>
              <a:gd name="connsiteX20302" fmla="*/ 1314253 w 10505529"/>
              <a:gd name="connsiteY20302" fmla="*/ 4185576 h 7458372"/>
              <a:gd name="connsiteX20303" fmla="*/ 1305868 w 10505529"/>
              <a:gd name="connsiteY20303" fmla="*/ 4164409 h 7458372"/>
              <a:gd name="connsiteX20304" fmla="*/ 1314253 w 10505529"/>
              <a:gd name="connsiteY20304" fmla="*/ 4143376 h 7458372"/>
              <a:gd name="connsiteX20305" fmla="*/ 1336086 w 10505529"/>
              <a:gd name="connsiteY20305" fmla="*/ 4134724 h 7458372"/>
              <a:gd name="connsiteX20306" fmla="*/ 1118441 w 10505529"/>
              <a:gd name="connsiteY20306" fmla="*/ 4134724 h 7458372"/>
              <a:gd name="connsiteX20307" fmla="*/ 1130158 w 10505529"/>
              <a:gd name="connsiteY20307" fmla="*/ 4137253 h 7458372"/>
              <a:gd name="connsiteX20308" fmla="*/ 1139474 w 10505529"/>
              <a:gd name="connsiteY20308" fmla="*/ 4143643 h 7458372"/>
              <a:gd name="connsiteX20309" fmla="*/ 1145595 w 10505529"/>
              <a:gd name="connsiteY20309" fmla="*/ 4153094 h 7458372"/>
              <a:gd name="connsiteX20310" fmla="*/ 1147858 w 10505529"/>
              <a:gd name="connsiteY20310" fmla="*/ 4164542 h 7458372"/>
              <a:gd name="connsiteX20311" fmla="*/ 1145595 w 10505529"/>
              <a:gd name="connsiteY20311" fmla="*/ 4176257 h 7458372"/>
              <a:gd name="connsiteX20312" fmla="*/ 1139474 w 10505529"/>
              <a:gd name="connsiteY20312" fmla="*/ 4185576 h 7458372"/>
              <a:gd name="connsiteX20313" fmla="*/ 1130158 w 10505529"/>
              <a:gd name="connsiteY20313" fmla="*/ 4191832 h 7458372"/>
              <a:gd name="connsiteX20314" fmla="*/ 1118441 w 10505529"/>
              <a:gd name="connsiteY20314" fmla="*/ 4194095 h 7458372"/>
              <a:gd name="connsiteX20315" fmla="*/ 1096607 w 10505529"/>
              <a:gd name="connsiteY20315" fmla="*/ 4185576 h 7458372"/>
              <a:gd name="connsiteX20316" fmla="*/ 1088222 w 10505529"/>
              <a:gd name="connsiteY20316" fmla="*/ 4164409 h 7458372"/>
              <a:gd name="connsiteX20317" fmla="*/ 1096607 w 10505529"/>
              <a:gd name="connsiteY20317" fmla="*/ 4143376 h 7458372"/>
              <a:gd name="connsiteX20318" fmla="*/ 1118441 w 10505529"/>
              <a:gd name="connsiteY20318" fmla="*/ 4134724 h 7458372"/>
              <a:gd name="connsiteX20319" fmla="*/ 900928 w 10505529"/>
              <a:gd name="connsiteY20319" fmla="*/ 4134724 h 7458372"/>
              <a:gd name="connsiteX20320" fmla="*/ 912643 w 10505529"/>
              <a:gd name="connsiteY20320" fmla="*/ 4137253 h 7458372"/>
              <a:gd name="connsiteX20321" fmla="*/ 921961 w 10505529"/>
              <a:gd name="connsiteY20321" fmla="*/ 4143643 h 7458372"/>
              <a:gd name="connsiteX20322" fmla="*/ 928084 w 10505529"/>
              <a:gd name="connsiteY20322" fmla="*/ 4153094 h 7458372"/>
              <a:gd name="connsiteX20323" fmla="*/ 930347 w 10505529"/>
              <a:gd name="connsiteY20323" fmla="*/ 4164542 h 7458372"/>
              <a:gd name="connsiteX20324" fmla="*/ 928084 w 10505529"/>
              <a:gd name="connsiteY20324" fmla="*/ 4176257 h 7458372"/>
              <a:gd name="connsiteX20325" fmla="*/ 921961 w 10505529"/>
              <a:gd name="connsiteY20325" fmla="*/ 4185576 h 7458372"/>
              <a:gd name="connsiteX20326" fmla="*/ 912643 w 10505529"/>
              <a:gd name="connsiteY20326" fmla="*/ 4191832 h 7458372"/>
              <a:gd name="connsiteX20327" fmla="*/ 900928 w 10505529"/>
              <a:gd name="connsiteY20327" fmla="*/ 4194095 h 7458372"/>
              <a:gd name="connsiteX20328" fmla="*/ 879097 w 10505529"/>
              <a:gd name="connsiteY20328" fmla="*/ 4185576 h 7458372"/>
              <a:gd name="connsiteX20329" fmla="*/ 870712 w 10505529"/>
              <a:gd name="connsiteY20329" fmla="*/ 4164409 h 7458372"/>
              <a:gd name="connsiteX20330" fmla="*/ 879097 w 10505529"/>
              <a:gd name="connsiteY20330" fmla="*/ 4143376 h 7458372"/>
              <a:gd name="connsiteX20331" fmla="*/ 900928 w 10505529"/>
              <a:gd name="connsiteY20331" fmla="*/ 4134724 h 7458372"/>
              <a:gd name="connsiteX20332" fmla="*/ 683287 w 10505529"/>
              <a:gd name="connsiteY20332" fmla="*/ 4134724 h 7458372"/>
              <a:gd name="connsiteX20333" fmla="*/ 695002 w 10505529"/>
              <a:gd name="connsiteY20333" fmla="*/ 4137253 h 7458372"/>
              <a:gd name="connsiteX20334" fmla="*/ 704319 w 10505529"/>
              <a:gd name="connsiteY20334" fmla="*/ 4143643 h 7458372"/>
              <a:gd name="connsiteX20335" fmla="*/ 710442 w 10505529"/>
              <a:gd name="connsiteY20335" fmla="*/ 4153094 h 7458372"/>
              <a:gd name="connsiteX20336" fmla="*/ 712705 w 10505529"/>
              <a:gd name="connsiteY20336" fmla="*/ 4164542 h 7458372"/>
              <a:gd name="connsiteX20337" fmla="*/ 710442 w 10505529"/>
              <a:gd name="connsiteY20337" fmla="*/ 4176257 h 7458372"/>
              <a:gd name="connsiteX20338" fmla="*/ 704319 w 10505529"/>
              <a:gd name="connsiteY20338" fmla="*/ 4185576 h 7458372"/>
              <a:gd name="connsiteX20339" fmla="*/ 695002 w 10505529"/>
              <a:gd name="connsiteY20339" fmla="*/ 4191832 h 7458372"/>
              <a:gd name="connsiteX20340" fmla="*/ 683287 w 10505529"/>
              <a:gd name="connsiteY20340" fmla="*/ 4194095 h 7458372"/>
              <a:gd name="connsiteX20341" fmla="*/ 661455 w 10505529"/>
              <a:gd name="connsiteY20341" fmla="*/ 4185576 h 7458372"/>
              <a:gd name="connsiteX20342" fmla="*/ 653069 w 10505529"/>
              <a:gd name="connsiteY20342" fmla="*/ 4164409 h 7458372"/>
              <a:gd name="connsiteX20343" fmla="*/ 661455 w 10505529"/>
              <a:gd name="connsiteY20343" fmla="*/ 4143376 h 7458372"/>
              <a:gd name="connsiteX20344" fmla="*/ 683287 w 10505529"/>
              <a:gd name="connsiteY20344" fmla="*/ 4134724 h 7458372"/>
              <a:gd name="connsiteX20345" fmla="*/ 465645 w 10505529"/>
              <a:gd name="connsiteY20345" fmla="*/ 4134724 h 7458372"/>
              <a:gd name="connsiteX20346" fmla="*/ 477360 w 10505529"/>
              <a:gd name="connsiteY20346" fmla="*/ 4137253 h 7458372"/>
              <a:gd name="connsiteX20347" fmla="*/ 486677 w 10505529"/>
              <a:gd name="connsiteY20347" fmla="*/ 4143643 h 7458372"/>
              <a:gd name="connsiteX20348" fmla="*/ 492801 w 10505529"/>
              <a:gd name="connsiteY20348" fmla="*/ 4153094 h 7458372"/>
              <a:gd name="connsiteX20349" fmla="*/ 495063 w 10505529"/>
              <a:gd name="connsiteY20349" fmla="*/ 4164542 h 7458372"/>
              <a:gd name="connsiteX20350" fmla="*/ 492801 w 10505529"/>
              <a:gd name="connsiteY20350" fmla="*/ 4176257 h 7458372"/>
              <a:gd name="connsiteX20351" fmla="*/ 486677 w 10505529"/>
              <a:gd name="connsiteY20351" fmla="*/ 4185576 h 7458372"/>
              <a:gd name="connsiteX20352" fmla="*/ 477360 w 10505529"/>
              <a:gd name="connsiteY20352" fmla="*/ 4191832 h 7458372"/>
              <a:gd name="connsiteX20353" fmla="*/ 465645 w 10505529"/>
              <a:gd name="connsiteY20353" fmla="*/ 4194095 h 7458372"/>
              <a:gd name="connsiteX20354" fmla="*/ 443813 w 10505529"/>
              <a:gd name="connsiteY20354" fmla="*/ 4185576 h 7458372"/>
              <a:gd name="connsiteX20355" fmla="*/ 435427 w 10505529"/>
              <a:gd name="connsiteY20355" fmla="*/ 4164409 h 7458372"/>
              <a:gd name="connsiteX20356" fmla="*/ 443813 w 10505529"/>
              <a:gd name="connsiteY20356" fmla="*/ 4143376 h 7458372"/>
              <a:gd name="connsiteX20357" fmla="*/ 465645 w 10505529"/>
              <a:gd name="connsiteY20357" fmla="*/ 4134724 h 7458372"/>
              <a:gd name="connsiteX20358" fmla="*/ 248002 w 10505529"/>
              <a:gd name="connsiteY20358" fmla="*/ 4134724 h 7458372"/>
              <a:gd name="connsiteX20359" fmla="*/ 259717 w 10505529"/>
              <a:gd name="connsiteY20359" fmla="*/ 4137253 h 7458372"/>
              <a:gd name="connsiteX20360" fmla="*/ 269035 w 10505529"/>
              <a:gd name="connsiteY20360" fmla="*/ 4143643 h 7458372"/>
              <a:gd name="connsiteX20361" fmla="*/ 275158 w 10505529"/>
              <a:gd name="connsiteY20361" fmla="*/ 4153094 h 7458372"/>
              <a:gd name="connsiteX20362" fmla="*/ 277421 w 10505529"/>
              <a:gd name="connsiteY20362" fmla="*/ 4164542 h 7458372"/>
              <a:gd name="connsiteX20363" fmla="*/ 275158 w 10505529"/>
              <a:gd name="connsiteY20363" fmla="*/ 4176257 h 7458372"/>
              <a:gd name="connsiteX20364" fmla="*/ 269035 w 10505529"/>
              <a:gd name="connsiteY20364" fmla="*/ 4185576 h 7458372"/>
              <a:gd name="connsiteX20365" fmla="*/ 259717 w 10505529"/>
              <a:gd name="connsiteY20365" fmla="*/ 4191832 h 7458372"/>
              <a:gd name="connsiteX20366" fmla="*/ 248002 w 10505529"/>
              <a:gd name="connsiteY20366" fmla="*/ 4194095 h 7458372"/>
              <a:gd name="connsiteX20367" fmla="*/ 226172 w 10505529"/>
              <a:gd name="connsiteY20367" fmla="*/ 4185576 h 7458372"/>
              <a:gd name="connsiteX20368" fmla="*/ 217787 w 10505529"/>
              <a:gd name="connsiteY20368" fmla="*/ 4164409 h 7458372"/>
              <a:gd name="connsiteX20369" fmla="*/ 226172 w 10505529"/>
              <a:gd name="connsiteY20369" fmla="*/ 4143376 h 7458372"/>
              <a:gd name="connsiteX20370" fmla="*/ 248002 w 10505529"/>
              <a:gd name="connsiteY20370" fmla="*/ 4134724 h 7458372"/>
              <a:gd name="connsiteX20371" fmla="*/ 30360 w 10505529"/>
              <a:gd name="connsiteY20371" fmla="*/ 4134724 h 7458372"/>
              <a:gd name="connsiteX20372" fmla="*/ 42075 w 10505529"/>
              <a:gd name="connsiteY20372" fmla="*/ 4137253 h 7458372"/>
              <a:gd name="connsiteX20373" fmla="*/ 51393 w 10505529"/>
              <a:gd name="connsiteY20373" fmla="*/ 4143643 h 7458372"/>
              <a:gd name="connsiteX20374" fmla="*/ 57516 w 10505529"/>
              <a:gd name="connsiteY20374" fmla="*/ 4153094 h 7458372"/>
              <a:gd name="connsiteX20375" fmla="*/ 59779 w 10505529"/>
              <a:gd name="connsiteY20375" fmla="*/ 4164542 h 7458372"/>
              <a:gd name="connsiteX20376" fmla="*/ 57516 w 10505529"/>
              <a:gd name="connsiteY20376" fmla="*/ 4176257 h 7458372"/>
              <a:gd name="connsiteX20377" fmla="*/ 51393 w 10505529"/>
              <a:gd name="connsiteY20377" fmla="*/ 4185576 h 7458372"/>
              <a:gd name="connsiteX20378" fmla="*/ 42075 w 10505529"/>
              <a:gd name="connsiteY20378" fmla="*/ 4191832 h 7458372"/>
              <a:gd name="connsiteX20379" fmla="*/ 30360 w 10505529"/>
              <a:gd name="connsiteY20379" fmla="*/ 4194095 h 7458372"/>
              <a:gd name="connsiteX20380" fmla="*/ 8531 w 10505529"/>
              <a:gd name="connsiteY20380" fmla="*/ 4185576 h 7458372"/>
              <a:gd name="connsiteX20381" fmla="*/ 145 w 10505529"/>
              <a:gd name="connsiteY20381" fmla="*/ 4164409 h 7458372"/>
              <a:gd name="connsiteX20382" fmla="*/ 8531 w 10505529"/>
              <a:gd name="connsiteY20382" fmla="*/ 4143376 h 7458372"/>
              <a:gd name="connsiteX20383" fmla="*/ 30360 w 10505529"/>
              <a:gd name="connsiteY20383" fmla="*/ 4134724 h 7458372"/>
              <a:gd name="connsiteX20384" fmla="*/ 10475977 w 10505529"/>
              <a:gd name="connsiteY20384" fmla="*/ 3933852 h 7458372"/>
              <a:gd name="connsiteX20385" fmla="*/ 10465992 w 10505529"/>
              <a:gd name="connsiteY20385" fmla="*/ 3937447 h 7458372"/>
              <a:gd name="connsiteX20386" fmla="*/ 10462399 w 10505529"/>
              <a:gd name="connsiteY20386" fmla="*/ 3946897 h 7458372"/>
              <a:gd name="connsiteX20387" fmla="*/ 10465992 w 10505529"/>
              <a:gd name="connsiteY20387" fmla="*/ 3956349 h 7458372"/>
              <a:gd name="connsiteX20388" fmla="*/ 10475977 w 10505529"/>
              <a:gd name="connsiteY20388" fmla="*/ 3959810 h 7458372"/>
              <a:gd name="connsiteX20389" fmla="*/ 10481302 w 10505529"/>
              <a:gd name="connsiteY20389" fmla="*/ 3959011 h 7458372"/>
              <a:gd name="connsiteX20390" fmla="*/ 10485029 w 10505529"/>
              <a:gd name="connsiteY20390" fmla="*/ 3956615 h 7458372"/>
              <a:gd name="connsiteX20391" fmla="*/ 10487691 w 10505529"/>
              <a:gd name="connsiteY20391" fmla="*/ 3952355 h 7458372"/>
              <a:gd name="connsiteX20392" fmla="*/ 10488623 w 10505529"/>
              <a:gd name="connsiteY20392" fmla="*/ 3946897 h 7458372"/>
              <a:gd name="connsiteX20393" fmla="*/ 10487691 w 10505529"/>
              <a:gd name="connsiteY20393" fmla="*/ 3941706 h 7458372"/>
              <a:gd name="connsiteX20394" fmla="*/ 10485029 w 10505529"/>
              <a:gd name="connsiteY20394" fmla="*/ 3937447 h 7458372"/>
              <a:gd name="connsiteX20395" fmla="*/ 10481035 w 10505529"/>
              <a:gd name="connsiteY20395" fmla="*/ 3934784 h 7458372"/>
              <a:gd name="connsiteX20396" fmla="*/ 10475977 w 10505529"/>
              <a:gd name="connsiteY20396" fmla="*/ 3933852 h 7458372"/>
              <a:gd name="connsiteX20397" fmla="*/ 10258466 w 10505529"/>
              <a:gd name="connsiteY20397" fmla="*/ 3933852 h 7458372"/>
              <a:gd name="connsiteX20398" fmla="*/ 10248481 w 10505529"/>
              <a:gd name="connsiteY20398" fmla="*/ 3937447 h 7458372"/>
              <a:gd name="connsiteX20399" fmla="*/ 10244887 w 10505529"/>
              <a:gd name="connsiteY20399" fmla="*/ 3946897 h 7458372"/>
              <a:gd name="connsiteX20400" fmla="*/ 10248481 w 10505529"/>
              <a:gd name="connsiteY20400" fmla="*/ 3956349 h 7458372"/>
              <a:gd name="connsiteX20401" fmla="*/ 10258466 w 10505529"/>
              <a:gd name="connsiteY20401" fmla="*/ 3959810 h 7458372"/>
              <a:gd name="connsiteX20402" fmla="*/ 10263790 w 10505529"/>
              <a:gd name="connsiteY20402" fmla="*/ 3959011 h 7458372"/>
              <a:gd name="connsiteX20403" fmla="*/ 10267517 w 10505529"/>
              <a:gd name="connsiteY20403" fmla="*/ 3956615 h 7458372"/>
              <a:gd name="connsiteX20404" fmla="*/ 10270180 w 10505529"/>
              <a:gd name="connsiteY20404" fmla="*/ 3952355 h 7458372"/>
              <a:gd name="connsiteX20405" fmla="*/ 10271112 w 10505529"/>
              <a:gd name="connsiteY20405" fmla="*/ 3946897 h 7458372"/>
              <a:gd name="connsiteX20406" fmla="*/ 10270180 w 10505529"/>
              <a:gd name="connsiteY20406" fmla="*/ 3941706 h 7458372"/>
              <a:gd name="connsiteX20407" fmla="*/ 10267517 w 10505529"/>
              <a:gd name="connsiteY20407" fmla="*/ 3937447 h 7458372"/>
              <a:gd name="connsiteX20408" fmla="*/ 10263524 w 10505529"/>
              <a:gd name="connsiteY20408" fmla="*/ 3934784 h 7458372"/>
              <a:gd name="connsiteX20409" fmla="*/ 10258466 w 10505529"/>
              <a:gd name="connsiteY20409" fmla="*/ 3933852 h 7458372"/>
              <a:gd name="connsiteX20410" fmla="*/ 10040820 w 10505529"/>
              <a:gd name="connsiteY20410" fmla="*/ 3933852 h 7458372"/>
              <a:gd name="connsiteX20411" fmla="*/ 10030835 w 10505529"/>
              <a:gd name="connsiteY20411" fmla="*/ 3937447 h 7458372"/>
              <a:gd name="connsiteX20412" fmla="*/ 10027242 w 10505529"/>
              <a:gd name="connsiteY20412" fmla="*/ 3946897 h 7458372"/>
              <a:gd name="connsiteX20413" fmla="*/ 10030835 w 10505529"/>
              <a:gd name="connsiteY20413" fmla="*/ 3956349 h 7458372"/>
              <a:gd name="connsiteX20414" fmla="*/ 10040820 w 10505529"/>
              <a:gd name="connsiteY20414" fmla="*/ 3959810 h 7458372"/>
              <a:gd name="connsiteX20415" fmla="*/ 10046145 w 10505529"/>
              <a:gd name="connsiteY20415" fmla="*/ 3959011 h 7458372"/>
              <a:gd name="connsiteX20416" fmla="*/ 10049872 w 10505529"/>
              <a:gd name="connsiteY20416" fmla="*/ 3956615 h 7458372"/>
              <a:gd name="connsiteX20417" fmla="*/ 10052534 w 10505529"/>
              <a:gd name="connsiteY20417" fmla="*/ 3952355 h 7458372"/>
              <a:gd name="connsiteX20418" fmla="*/ 10053599 w 10505529"/>
              <a:gd name="connsiteY20418" fmla="*/ 3946897 h 7458372"/>
              <a:gd name="connsiteX20419" fmla="*/ 10052534 w 10505529"/>
              <a:gd name="connsiteY20419" fmla="*/ 3941706 h 7458372"/>
              <a:gd name="connsiteX20420" fmla="*/ 10049872 w 10505529"/>
              <a:gd name="connsiteY20420" fmla="*/ 3937447 h 7458372"/>
              <a:gd name="connsiteX20421" fmla="*/ 10045878 w 10505529"/>
              <a:gd name="connsiteY20421" fmla="*/ 3934784 h 7458372"/>
              <a:gd name="connsiteX20422" fmla="*/ 10040820 w 10505529"/>
              <a:gd name="connsiteY20422" fmla="*/ 3933852 h 7458372"/>
              <a:gd name="connsiteX20423" fmla="*/ 9823176 w 10505529"/>
              <a:gd name="connsiteY20423" fmla="*/ 3933852 h 7458372"/>
              <a:gd name="connsiteX20424" fmla="*/ 9813191 w 10505529"/>
              <a:gd name="connsiteY20424" fmla="*/ 3937447 h 7458372"/>
              <a:gd name="connsiteX20425" fmla="*/ 9809597 w 10505529"/>
              <a:gd name="connsiteY20425" fmla="*/ 3946897 h 7458372"/>
              <a:gd name="connsiteX20426" fmla="*/ 9813191 w 10505529"/>
              <a:gd name="connsiteY20426" fmla="*/ 3956349 h 7458372"/>
              <a:gd name="connsiteX20427" fmla="*/ 9823176 w 10505529"/>
              <a:gd name="connsiteY20427" fmla="*/ 3959810 h 7458372"/>
              <a:gd name="connsiteX20428" fmla="*/ 9828501 w 10505529"/>
              <a:gd name="connsiteY20428" fmla="*/ 3959011 h 7458372"/>
              <a:gd name="connsiteX20429" fmla="*/ 9832227 w 10505529"/>
              <a:gd name="connsiteY20429" fmla="*/ 3956615 h 7458372"/>
              <a:gd name="connsiteX20430" fmla="*/ 9834890 w 10505529"/>
              <a:gd name="connsiteY20430" fmla="*/ 3952355 h 7458372"/>
              <a:gd name="connsiteX20431" fmla="*/ 9835955 w 10505529"/>
              <a:gd name="connsiteY20431" fmla="*/ 3946897 h 7458372"/>
              <a:gd name="connsiteX20432" fmla="*/ 9834890 w 10505529"/>
              <a:gd name="connsiteY20432" fmla="*/ 3941706 h 7458372"/>
              <a:gd name="connsiteX20433" fmla="*/ 9832227 w 10505529"/>
              <a:gd name="connsiteY20433" fmla="*/ 3937447 h 7458372"/>
              <a:gd name="connsiteX20434" fmla="*/ 9828234 w 10505529"/>
              <a:gd name="connsiteY20434" fmla="*/ 3934784 h 7458372"/>
              <a:gd name="connsiteX20435" fmla="*/ 9823176 w 10505529"/>
              <a:gd name="connsiteY20435" fmla="*/ 3933852 h 7458372"/>
              <a:gd name="connsiteX20436" fmla="*/ 9605531 w 10505529"/>
              <a:gd name="connsiteY20436" fmla="*/ 3933852 h 7458372"/>
              <a:gd name="connsiteX20437" fmla="*/ 9595546 w 10505529"/>
              <a:gd name="connsiteY20437" fmla="*/ 3937447 h 7458372"/>
              <a:gd name="connsiteX20438" fmla="*/ 9591952 w 10505529"/>
              <a:gd name="connsiteY20438" fmla="*/ 3946897 h 7458372"/>
              <a:gd name="connsiteX20439" fmla="*/ 9595546 w 10505529"/>
              <a:gd name="connsiteY20439" fmla="*/ 3956349 h 7458372"/>
              <a:gd name="connsiteX20440" fmla="*/ 9605531 w 10505529"/>
              <a:gd name="connsiteY20440" fmla="*/ 3959810 h 7458372"/>
              <a:gd name="connsiteX20441" fmla="*/ 9610855 w 10505529"/>
              <a:gd name="connsiteY20441" fmla="*/ 3959011 h 7458372"/>
              <a:gd name="connsiteX20442" fmla="*/ 9614582 w 10505529"/>
              <a:gd name="connsiteY20442" fmla="*/ 3956615 h 7458372"/>
              <a:gd name="connsiteX20443" fmla="*/ 9617245 w 10505529"/>
              <a:gd name="connsiteY20443" fmla="*/ 3952355 h 7458372"/>
              <a:gd name="connsiteX20444" fmla="*/ 9618309 w 10505529"/>
              <a:gd name="connsiteY20444" fmla="*/ 3946897 h 7458372"/>
              <a:gd name="connsiteX20445" fmla="*/ 9617245 w 10505529"/>
              <a:gd name="connsiteY20445" fmla="*/ 3941706 h 7458372"/>
              <a:gd name="connsiteX20446" fmla="*/ 9614582 w 10505529"/>
              <a:gd name="connsiteY20446" fmla="*/ 3937447 h 7458372"/>
              <a:gd name="connsiteX20447" fmla="*/ 9610589 w 10505529"/>
              <a:gd name="connsiteY20447" fmla="*/ 3934784 h 7458372"/>
              <a:gd name="connsiteX20448" fmla="*/ 9605531 w 10505529"/>
              <a:gd name="connsiteY20448" fmla="*/ 3933852 h 7458372"/>
              <a:gd name="connsiteX20449" fmla="*/ 9387885 w 10505529"/>
              <a:gd name="connsiteY20449" fmla="*/ 3933852 h 7458372"/>
              <a:gd name="connsiteX20450" fmla="*/ 9377900 w 10505529"/>
              <a:gd name="connsiteY20450" fmla="*/ 3937447 h 7458372"/>
              <a:gd name="connsiteX20451" fmla="*/ 9374307 w 10505529"/>
              <a:gd name="connsiteY20451" fmla="*/ 3946897 h 7458372"/>
              <a:gd name="connsiteX20452" fmla="*/ 9377900 w 10505529"/>
              <a:gd name="connsiteY20452" fmla="*/ 3956349 h 7458372"/>
              <a:gd name="connsiteX20453" fmla="*/ 9387885 w 10505529"/>
              <a:gd name="connsiteY20453" fmla="*/ 3959810 h 7458372"/>
              <a:gd name="connsiteX20454" fmla="*/ 9393210 w 10505529"/>
              <a:gd name="connsiteY20454" fmla="*/ 3959011 h 7458372"/>
              <a:gd name="connsiteX20455" fmla="*/ 9396937 w 10505529"/>
              <a:gd name="connsiteY20455" fmla="*/ 3956615 h 7458372"/>
              <a:gd name="connsiteX20456" fmla="*/ 9399599 w 10505529"/>
              <a:gd name="connsiteY20456" fmla="*/ 3952355 h 7458372"/>
              <a:gd name="connsiteX20457" fmla="*/ 9400664 w 10505529"/>
              <a:gd name="connsiteY20457" fmla="*/ 3946897 h 7458372"/>
              <a:gd name="connsiteX20458" fmla="*/ 9399599 w 10505529"/>
              <a:gd name="connsiteY20458" fmla="*/ 3941706 h 7458372"/>
              <a:gd name="connsiteX20459" fmla="*/ 9396937 w 10505529"/>
              <a:gd name="connsiteY20459" fmla="*/ 3937447 h 7458372"/>
              <a:gd name="connsiteX20460" fmla="*/ 9392943 w 10505529"/>
              <a:gd name="connsiteY20460" fmla="*/ 3934784 h 7458372"/>
              <a:gd name="connsiteX20461" fmla="*/ 9387885 w 10505529"/>
              <a:gd name="connsiteY20461" fmla="*/ 3933852 h 7458372"/>
              <a:gd name="connsiteX20462" fmla="*/ 9170374 w 10505529"/>
              <a:gd name="connsiteY20462" fmla="*/ 3933852 h 7458372"/>
              <a:gd name="connsiteX20463" fmla="*/ 9160389 w 10505529"/>
              <a:gd name="connsiteY20463" fmla="*/ 3937447 h 7458372"/>
              <a:gd name="connsiteX20464" fmla="*/ 9156795 w 10505529"/>
              <a:gd name="connsiteY20464" fmla="*/ 3946897 h 7458372"/>
              <a:gd name="connsiteX20465" fmla="*/ 9160389 w 10505529"/>
              <a:gd name="connsiteY20465" fmla="*/ 3956349 h 7458372"/>
              <a:gd name="connsiteX20466" fmla="*/ 9170374 w 10505529"/>
              <a:gd name="connsiteY20466" fmla="*/ 3959810 h 7458372"/>
              <a:gd name="connsiteX20467" fmla="*/ 9175698 w 10505529"/>
              <a:gd name="connsiteY20467" fmla="*/ 3959011 h 7458372"/>
              <a:gd name="connsiteX20468" fmla="*/ 9179425 w 10505529"/>
              <a:gd name="connsiteY20468" fmla="*/ 3956615 h 7458372"/>
              <a:gd name="connsiteX20469" fmla="*/ 9182088 w 10505529"/>
              <a:gd name="connsiteY20469" fmla="*/ 3952355 h 7458372"/>
              <a:gd name="connsiteX20470" fmla="*/ 9183152 w 10505529"/>
              <a:gd name="connsiteY20470" fmla="*/ 3946897 h 7458372"/>
              <a:gd name="connsiteX20471" fmla="*/ 9182088 w 10505529"/>
              <a:gd name="connsiteY20471" fmla="*/ 3941706 h 7458372"/>
              <a:gd name="connsiteX20472" fmla="*/ 9179425 w 10505529"/>
              <a:gd name="connsiteY20472" fmla="*/ 3937447 h 7458372"/>
              <a:gd name="connsiteX20473" fmla="*/ 9175432 w 10505529"/>
              <a:gd name="connsiteY20473" fmla="*/ 3934784 h 7458372"/>
              <a:gd name="connsiteX20474" fmla="*/ 9170374 w 10505529"/>
              <a:gd name="connsiteY20474" fmla="*/ 3933852 h 7458372"/>
              <a:gd name="connsiteX20475" fmla="*/ 8952728 w 10505529"/>
              <a:gd name="connsiteY20475" fmla="*/ 3933852 h 7458372"/>
              <a:gd name="connsiteX20476" fmla="*/ 8942743 w 10505529"/>
              <a:gd name="connsiteY20476" fmla="*/ 3937447 h 7458372"/>
              <a:gd name="connsiteX20477" fmla="*/ 8939150 w 10505529"/>
              <a:gd name="connsiteY20477" fmla="*/ 3946897 h 7458372"/>
              <a:gd name="connsiteX20478" fmla="*/ 8942743 w 10505529"/>
              <a:gd name="connsiteY20478" fmla="*/ 3956349 h 7458372"/>
              <a:gd name="connsiteX20479" fmla="*/ 8952728 w 10505529"/>
              <a:gd name="connsiteY20479" fmla="*/ 3959810 h 7458372"/>
              <a:gd name="connsiteX20480" fmla="*/ 8958053 w 10505529"/>
              <a:gd name="connsiteY20480" fmla="*/ 3959011 h 7458372"/>
              <a:gd name="connsiteX20481" fmla="*/ 8961780 w 10505529"/>
              <a:gd name="connsiteY20481" fmla="*/ 3956615 h 7458372"/>
              <a:gd name="connsiteX20482" fmla="*/ 8964442 w 10505529"/>
              <a:gd name="connsiteY20482" fmla="*/ 3952355 h 7458372"/>
              <a:gd name="connsiteX20483" fmla="*/ 8965507 w 10505529"/>
              <a:gd name="connsiteY20483" fmla="*/ 3946897 h 7458372"/>
              <a:gd name="connsiteX20484" fmla="*/ 8964442 w 10505529"/>
              <a:gd name="connsiteY20484" fmla="*/ 3941706 h 7458372"/>
              <a:gd name="connsiteX20485" fmla="*/ 8961780 w 10505529"/>
              <a:gd name="connsiteY20485" fmla="*/ 3937447 h 7458372"/>
              <a:gd name="connsiteX20486" fmla="*/ 8957786 w 10505529"/>
              <a:gd name="connsiteY20486" fmla="*/ 3934784 h 7458372"/>
              <a:gd name="connsiteX20487" fmla="*/ 8952728 w 10505529"/>
              <a:gd name="connsiteY20487" fmla="*/ 3933852 h 7458372"/>
              <a:gd name="connsiteX20488" fmla="*/ 8735083 w 10505529"/>
              <a:gd name="connsiteY20488" fmla="*/ 3933852 h 7458372"/>
              <a:gd name="connsiteX20489" fmla="*/ 8725098 w 10505529"/>
              <a:gd name="connsiteY20489" fmla="*/ 3937447 h 7458372"/>
              <a:gd name="connsiteX20490" fmla="*/ 8721504 w 10505529"/>
              <a:gd name="connsiteY20490" fmla="*/ 3946897 h 7458372"/>
              <a:gd name="connsiteX20491" fmla="*/ 8725098 w 10505529"/>
              <a:gd name="connsiteY20491" fmla="*/ 3956349 h 7458372"/>
              <a:gd name="connsiteX20492" fmla="*/ 8735083 w 10505529"/>
              <a:gd name="connsiteY20492" fmla="*/ 3959810 h 7458372"/>
              <a:gd name="connsiteX20493" fmla="*/ 8740407 w 10505529"/>
              <a:gd name="connsiteY20493" fmla="*/ 3959011 h 7458372"/>
              <a:gd name="connsiteX20494" fmla="*/ 8744134 w 10505529"/>
              <a:gd name="connsiteY20494" fmla="*/ 3956615 h 7458372"/>
              <a:gd name="connsiteX20495" fmla="*/ 8746797 w 10505529"/>
              <a:gd name="connsiteY20495" fmla="*/ 3952355 h 7458372"/>
              <a:gd name="connsiteX20496" fmla="*/ 8747862 w 10505529"/>
              <a:gd name="connsiteY20496" fmla="*/ 3946897 h 7458372"/>
              <a:gd name="connsiteX20497" fmla="*/ 8746797 w 10505529"/>
              <a:gd name="connsiteY20497" fmla="*/ 3941706 h 7458372"/>
              <a:gd name="connsiteX20498" fmla="*/ 8744134 w 10505529"/>
              <a:gd name="connsiteY20498" fmla="*/ 3937447 h 7458372"/>
              <a:gd name="connsiteX20499" fmla="*/ 8740141 w 10505529"/>
              <a:gd name="connsiteY20499" fmla="*/ 3934784 h 7458372"/>
              <a:gd name="connsiteX20500" fmla="*/ 8735083 w 10505529"/>
              <a:gd name="connsiteY20500" fmla="*/ 3933852 h 7458372"/>
              <a:gd name="connsiteX20501" fmla="*/ 8517438 w 10505529"/>
              <a:gd name="connsiteY20501" fmla="*/ 3933852 h 7458372"/>
              <a:gd name="connsiteX20502" fmla="*/ 8507453 w 10505529"/>
              <a:gd name="connsiteY20502" fmla="*/ 3937447 h 7458372"/>
              <a:gd name="connsiteX20503" fmla="*/ 8503860 w 10505529"/>
              <a:gd name="connsiteY20503" fmla="*/ 3946897 h 7458372"/>
              <a:gd name="connsiteX20504" fmla="*/ 8507453 w 10505529"/>
              <a:gd name="connsiteY20504" fmla="*/ 3956349 h 7458372"/>
              <a:gd name="connsiteX20505" fmla="*/ 8517438 w 10505529"/>
              <a:gd name="connsiteY20505" fmla="*/ 3959810 h 7458372"/>
              <a:gd name="connsiteX20506" fmla="*/ 8522763 w 10505529"/>
              <a:gd name="connsiteY20506" fmla="*/ 3959011 h 7458372"/>
              <a:gd name="connsiteX20507" fmla="*/ 8526490 w 10505529"/>
              <a:gd name="connsiteY20507" fmla="*/ 3956615 h 7458372"/>
              <a:gd name="connsiteX20508" fmla="*/ 8529152 w 10505529"/>
              <a:gd name="connsiteY20508" fmla="*/ 3952355 h 7458372"/>
              <a:gd name="connsiteX20509" fmla="*/ 8530084 w 10505529"/>
              <a:gd name="connsiteY20509" fmla="*/ 3946897 h 7458372"/>
              <a:gd name="connsiteX20510" fmla="*/ 8529152 w 10505529"/>
              <a:gd name="connsiteY20510" fmla="*/ 3941706 h 7458372"/>
              <a:gd name="connsiteX20511" fmla="*/ 8526490 w 10505529"/>
              <a:gd name="connsiteY20511" fmla="*/ 3937447 h 7458372"/>
              <a:gd name="connsiteX20512" fmla="*/ 8522496 w 10505529"/>
              <a:gd name="connsiteY20512" fmla="*/ 3934784 h 7458372"/>
              <a:gd name="connsiteX20513" fmla="*/ 8517438 w 10505529"/>
              <a:gd name="connsiteY20513" fmla="*/ 3933852 h 7458372"/>
              <a:gd name="connsiteX20514" fmla="*/ 8299793 w 10505529"/>
              <a:gd name="connsiteY20514" fmla="*/ 3933852 h 7458372"/>
              <a:gd name="connsiteX20515" fmla="*/ 8289809 w 10505529"/>
              <a:gd name="connsiteY20515" fmla="*/ 3937447 h 7458372"/>
              <a:gd name="connsiteX20516" fmla="*/ 8286215 w 10505529"/>
              <a:gd name="connsiteY20516" fmla="*/ 3946897 h 7458372"/>
              <a:gd name="connsiteX20517" fmla="*/ 8289809 w 10505529"/>
              <a:gd name="connsiteY20517" fmla="*/ 3956349 h 7458372"/>
              <a:gd name="connsiteX20518" fmla="*/ 8299793 w 10505529"/>
              <a:gd name="connsiteY20518" fmla="*/ 3959810 h 7458372"/>
              <a:gd name="connsiteX20519" fmla="*/ 8305118 w 10505529"/>
              <a:gd name="connsiteY20519" fmla="*/ 3959011 h 7458372"/>
              <a:gd name="connsiteX20520" fmla="*/ 8308844 w 10505529"/>
              <a:gd name="connsiteY20520" fmla="*/ 3956615 h 7458372"/>
              <a:gd name="connsiteX20521" fmla="*/ 8311507 w 10505529"/>
              <a:gd name="connsiteY20521" fmla="*/ 3952355 h 7458372"/>
              <a:gd name="connsiteX20522" fmla="*/ 8312439 w 10505529"/>
              <a:gd name="connsiteY20522" fmla="*/ 3946897 h 7458372"/>
              <a:gd name="connsiteX20523" fmla="*/ 8311507 w 10505529"/>
              <a:gd name="connsiteY20523" fmla="*/ 3941706 h 7458372"/>
              <a:gd name="connsiteX20524" fmla="*/ 8308844 w 10505529"/>
              <a:gd name="connsiteY20524" fmla="*/ 3937447 h 7458372"/>
              <a:gd name="connsiteX20525" fmla="*/ 8304851 w 10505529"/>
              <a:gd name="connsiteY20525" fmla="*/ 3934784 h 7458372"/>
              <a:gd name="connsiteX20526" fmla="*/ 8299793 w 10505529"/>
              <a:gd name="connsiteY20526" fmla="*/ 3933852 h 7458372"/>
              <a:gd name="connsiteX20527" fmla="*/ 8082281 w 10505529"/>
              <a:gd name="connsiteY20527" fmla="*/ 3933852 h 7458372"/>
              <a:gd name="connsiteX20528" fmla="*/ 8072297 w 10505529"/>
              <a:gd name="connsiteY20528" fmla="*/ 3937447 h 7458372"/>
              <a:gd name="connsiteX20529" fmla="*/ 8068703 w 10505529"/>
              <a:gd name="connsiteY20529" fmla="*/ 3946897 h 7458372"/>
              <a:gd name="connsiteX20530" fmla="*/ 8072297 w 10505529"/>
              <a:gd name="connsiteY20530" fmla="*/ 3956349 h 7458372"/>
              <a:gd name="connsiteX20531" fmla="*/ 8082281 w 10505529"/>
              <a:gd name="connsiteY20531" fmla="*/ 3959810 h 7458372"/>
              <a:gd name="connsiteX20532" fmla="*/ 8087605 w 10505529"/>
              <a:gd name="connsiteY20532" fmla="*/ 3959011 h 7458372"/>
              <a:gd name="connsiteX20533" fmla="*/ 8091332 w 10505529"/>
              <a:gd name="connsiteY20533" fmla="*/ 3956615 h 7458372"/>
              <a:gd name="connsiteX20534" fmla="*/ 8093994 w 10505529"/>
              <a:gd name="connsiteY20534" fmla="*/ 3952355 h 7458372"/>
              <a:gd name="connsiteX20535" fmla="*/ 8094926 w 10505529"/>
              <a:gd name="connsiteY20535" fmla="*/ 3946897 h 7458372"/>
              <a:gd name="connsiteX20536" fmla="*/ 8093994 w 10505529"/>
              <a:gd name="connsiteY20536" fmla="*/ 3941706 h 7458372"/>
              <a:gd name="connsiteX20537" fmla="*/ 8091332 w 10505529"/>
              <a:gd name="connsiteY20537" fmla="*/ 3937447 h 7458372"/>
              <a:gd name="connsiteX20538" fmla="*/ 8087338 w 10505529"/>
              <a:gd name="connsiteY20538" fmla="*/ 3934784 h 7458372"/>
              <a:gd name="connsiteX20539" fmla="*/ 8082281 w 10505529"/>
              <a:gd name="connsiteY20539" fmla="*/ 3933852 h 7458372"/>
              <a:gd name="connsiteX20540" fmla="*/ 7864636 w 10505529"/>
              <a:gd name="connsiteY20540" fmla="*/ 3933852 h 7458372"/>
              <a:gd name="connsiteX20541" fmla="*/ 7854652 w 10505529"/>
              <a:gd name="connsiteY20541" fmla="*/ 3937447 h 7458372"/>
              <a:gd name="connsiteX20542" fmla="*/ 7851058 w 10505529"/>
              <a:gd name="connsiteY20542" fmla="*/ 3946897 h 7458372"/>
              <a:gd name="connsiteX20543" fmla="*/ 7854652 w 10505529"/>
              <a:gd name="connsiteY20543" fmla="*/ 3956349 h 7458372"/>
              <a:gd name="connsiteX20544" fmla="*/ 7864636 w 10505529"/>
              <a:gd name="connsiteY20544" fmla="*/ 3959810 h 7458372"/>
              <a:gd name="connsiteX20545" fmla="*/ 7869961 w 10505529"/>
              <a:gd name="connsiteY20545" fmla="*/ 3959011 h 7458372"/>
              <a:gd name="connsiteX20546" fmla="*/ 7873687 w 10505529"/>
              <a:gd name="connsiteY20546" fmla="*/ 3956615 h 7458372"/>
              <a:gd name="connsiteX20547" fmla="*/ 7876350 w 10505529"/>
              <a:gd name="connsiteY20547" fmla="*/ 3952355 h 7458372"/>
              <a:gd name="connsiteX20548" fmla="*/ 7877282 w 10505529"/>
              <a:gd name="connsiteY20548" fmla="*/ 3946897 h 7458372"/>
              <a:gd name="connsiteX20549" fmla="*/ 7876350 w 10505529"/>
              <a:gd name="connsiteY20549" fmla="*/ 3941706 h 7458372"/>
              <a:gd name="connsiteX20550" fmla="*/ 7873687 w 10505529"/>
              <a:gd name="connsiteY20550" fmla="*/ 3937447 h 7458372"/>
              <a:gd name="connsiteX20551" fmla="*/ 7869694 w 10505529"/>
              <a:gd name="connsiteY20551" fmla="*/ 3934784 h 7458372"/>
              <a:gd name="connsiteX20552" fmla="*/ 7864636 w 10505529"/>
              <a:gd name="connsiteY20552" fmla="*/ 3933852 h 7458372"/>
              <a:gd name="connsiteX20553" fmla="*/ 7646991 w 10505529"/>
              <a:gd name="connsiteY20553" fmla="*/ 3933852 h 7458372"/>
              <a:gd name="connsiteX20554" fmla="*/ 7637007 w 10505529"/>
              <a:gd name="connsiteY20554" fmla="*/ 3937447 h 7458372"/>
              <a:gd name="connsiteX20555" fmla="*/ 7633413 w 10505529"/>
              <a:gd name="connsiteY20555" fmla="*/ 3946897 h 7458372"/>
              <a:gd name="connsiteX20556" fmla="*/ 7637007 w 10505529"/>
              <a:gd name="connsiteY20556" fmla="*/ 3956349 h 7458372"/>
              <a:gd name="connsiteX20557" fmla="*/ 7646991 w 10505529"/>
              <a:gd name="connsiteY20557" fmla="*/ 3959810 h 7458372"/>
              <a:gd name="connsiteX20558" fmla="*/ 7652315 w 10505529"/>
              <a:gd name="connsiteY20558" fmla="*/ 3959011 h 7458372"/>
              <a:gd name="connsiteX20559" fmla="*/ 7656042 w 10505529"/>
              <a:gd name="connsiteY20559" fmla="*/ 3956615 h 7458372"/>
              <a:gd name="connsiteX20560" fmla="*/ 7658705 w 10505529"/>
              <a:gd name="connsiteY20560" fmla="*/ 3952355 h 7458372"/>
              <a:gd name="connsiteX20561" fmla="*/ 7659769 w 10505529"/>
              <a:gd name="connsiteY20561" fmla="*/ 3946897 h 7458372"/>
              <a:gd name="connsiteX20562" fmla="*/ 7658705 w 10505529"/>
              <a:gd name="connsiteY20562" fmla="*/ 3941706 h 7458372"/>
              <a:gd name="connsiteX20563" fmla="*/ 7656042 w 10505529"/>
              <a:gd name="connsiteY20563" fmla="*/ 3937447 h 7458372"/>
              <a:gd name="connsiteX20564" fmla="*/ 7652049 w 10505529"/>
              <a:gd name="connsiteY20564" fmla="*/ 3934784 h 7458372"/>
              <a:gd name="connsiteX20565" fmla="*/ 7646991 w 10505529"/>
              <a:gd name="connsiteY20565" fmla="*/ 3933852 h 7458372"/>
              <a:gd name="connsiteX20566" fmla="*/ 7429345 w 10505529"/>
              <a:gd name="connsiteY20566" fmla="*/ 3933852 h 7458372"/>
              <a:gd name="connsiteX20567" fmla="*/ 7419361 w 10505529"/>
              <a:gd name="connsiteY20567" fmla="*/ 3937447 h 7458372"/>
              <a:gd name="connsiteX20568" fmla="*/ 7415768 w 10505529"/>
              <a:gd name="connsiteY20568" fmla="*/ 3946897 h 7458372"/>
              <a:gd name="connsiteX20569" fmla="*/ 7419361 w 10505529"/>
              <a:gd name="connsiteY20569" fmla="*/ 3956349 h 7458372"/>
              <a:gd name="connsiteX20570" fmla="*/ 7429345 w 10505529"/>
              <a:gd name="connsiteY20570" fmla="*/ 3959810 h 7458372"/>
              <a:gd name="connsiteX20571" fmla="*/ 7434670 w 10505529"/>
              <a:gd name="connsiteY20571" fmla="*/ 3959011 h 7458372"/>
              <a:gd name="connsiteX20572" fmla="*/ 7438397 w 10505529"/>
              <a:gd name="connsiteY20572" fmla="*/ 3956615 h 7458372"/>
              <a:gd name="connsiteX20573" fmla="*/ 7441059 w 10505529"/>
              <a:gd name="connsiteY20573" fmla="*/ 3952355 h 7458372"/>
              <a:gd name="connsiteX20574" fmla="*/ 7442124 w 10505529"/>
              <a:gd name="connsiteY20574" fmla="*/ 3946897 h 7458372"/>
              <a:gd name="connsiteX20575" fmla="*/ 7441059 w 10505529"/>
              <a:gd name="connsiteY20575" fmla="*/ 3941706 h 7458372"/>
              <a:gd name="connsiteX20576" fmla="*/ 7438397 w 10505529"/>
              <a:gd name="connsiteY20576" fmla="*/ 3937447 h 7458372"/>
              <a:gd name="connsiteX20577" fmla="*/ 7434403 w 10505529"/>
              <a:gd name="connsiteY20577" fmla="*/ 3934784 h 7458372"/>
              <a:gd name="connsiteX20578" fmla="*/ 7429345 w 10505529"/>
              <a:gd name="connsiteY20578" fmla="*/ 3933852 h 7458372"/>
              <a:gd name="connsiteX20579" fmla="*/ 7211701 w 10505529"/>
              <a:gd name="connsiteY20579" fmla="*/ 3933852 h 7458372"/>
              <a:gd name="connsiteX20580" fmla="*/ 7201717 w 10505529"/>
              <a:gd name="connsiteY20580" fmla="*/ 3937447 h 7458372"/>
              <a:gd name="connsiteX20581" fmla="*/ 7198123 w 10505529"/>
              <a:gd name="connsiteY20581" fmla="*/ 3946897 h 7458372"/>
              <a:gd name="connsiteX20582" fmla="*/ 7201717 w 10505529"/>
              <a:gd name="connsiteY20582" fmla="*/ 3956349 h 7458372"/>
              <a:gd name="connsiteX20583" fmla="*/ 7211701 w 10505529"/>
              <a:gd name="connsiteY20583" fmla="*/ 3959810 h 7458372"/>
              <a:gd name="connsiteX20584" fmla="*/ 7217026 w 10505529"/>
              <a:gd name="connsiteY20584" fmla="*/ 3959011 h 7458372"/>
              <a:gd name="connsiteX20585" fmla="*/ 7220752 w 10505529"/>
              <a:gd name="connsiteY20585" fmla="*/ 3956615 h 7458372"/>
              <a:gd name="connsiteX20586" fmla="*/ 7223415 w 10505529"/>
              <a:gd name="connsiteY20586" fmla="*/ 3952355 h 7458372"/>
              <a:gd name="connsiteX20587" fmla="*/ 7224480 w 10505529"/>
              <a:gd name="connsiteY20587" fmla="*/ 3946897 h 7458372"/>
              <a:gd name="connsiteX20588" fmla="*/ 7223415 w 10505529"/>
              <a:gd name="connsiteY20588" fmla="*/ 3941706 h 7458372"/>
              <a:gd name="connsiteX20589" fmla="*/ 7220752 w 10505529"/>
              <a:gd name="connsiteY20589" fmla="*/ 3937447 h 7458372"/>
              <a:gd name="connsiteX20590" fmla="*/ 7216759 w 10505529"/>
              <a:gd name="connsiteY20590" fmla="*/ 3934784 h 7458372"/>
              <a:gd name="connsiteX20591" fmla="*/ 7211701 w 10505529"/>
              <a:gd name="connsiteY20591" fmla="*/ 3933852 h 7458372"/>
              <a:gd name="connsiteX20592" fmla="*/ 6994056 w 10505529"/>
              <a:gd name="connsiteY20592" fmla="*/ 3933852 h 7458372"/>
              <a:gd name="connsiteX20593" fmla="*/ 6984072 w 10505529"/>
              <a:gd name="connsiteY20593" fmla="*/ 3937447 h 7458372"/>
              <a:gd name="connsiteX20594" fmla="*/ 6980478 w 10505529"/>
              <a:gd name="connsiteY20594" fmla="*/ 3946897 h 7458372"/>
              <a:gd name="connsiteX20595" fmla="*/ 6984072 w 10505529"/>
              <a:gd name="connsiteY20595" fmla="*/ 3956349 h 7458372"/>
              <a:gd name="connsiteX20596" fmla="*/ 6994056 w 10505529"/>
              <a:gd name="connsiteY20596" fmla="*/ 3959810 h 7458372"/>
              <a:gd name="connsiteX20597" fmla="*/ 6999380 w 10505529"/>
              <a:gd name="connsiteY20597" fmla="*/ 3959011 h 7458372"/>
              <a:gd name="connsiteX20598" fmla="*/ 7003107 w 10505529"/>
              <a:gd name="connsiteY20598" fmla="*/ 3956615 h 7458372"/>
              <a:gd name="connsiteX20599" fmla="*/ 7005769 w 10505529"/>
              <a:gd name="connsiteY20599" fmla="*/ 3952355 h 7458372"/>
              <a:gd name="connsiteX20600" fmla="*/ 7006834 w 10505529"/>
              <a:gd name="connsiteY20600" fmla="*/ 3946897 h 7458372"/>
              <a:gd name="connsiteX20601" fmla="*/ 7005769 w 10505529"/>
              <a:gd name="connsiteY20601" fmla="*/ 3941706 h 7458372"/>
              <a:gd name="connsiteX20602" fmla="*/ 7003107 w 10505529"/>
              <a:gd name="connsiteY20602" fmla="*/ 3937447 h 7458372"/>
              <a:gd name="connsiteX20603" fmla="*/ 6999113 w 10505529"/>
              <a:gd name="connsiteY20603" fmla="*/ 3934784 h 7458372"/>
              <a:gd name="connsiteX20604" fmla="*/ 6994056 w 10505529"/>
              <a:gd name="connsiteY20604" fmla="*/ 3933852 h 7458372"/>
              <a:gd name="connsiteX20605" fmla="*/ 6776544 w 10505529"/>
              <a:gd name="connsiteY20605" fmla="*/ 3933852 h 7458372"/>
              <a:gd name="connsiteX20606" fmla="*/ 6766560 w 10505529"/>
              <a:gd name="connsiteY20606" fmla="*/ 3937447 h 7458372"/>
              <a:gd name="connsiteX20607" fmla="*/ 6762966 w 10505529"/>
              <a:gd name="connsiteY20607" fmla="*/ 3946897 h 7458372"/>
              <a:gd name="connsiteX20608" fmla="*/ 6766560 w 10505529"/>
              <a:gd name="connsiteY20608" fmla="*/ 3956349 h 7458372"/>
              <a:gd name="connsiteX20609" fmla="*/ 6776544 w 10505529"/>
              <a:gd name="connsiteY20609" fmla="*/ 3959810 h 7458372"/>
              <a:gd name="connsiteX20610" fmla="*/ 6781869 w 10505529"/>
              <a:gd name="connsiteY20610" fmla="*/ 3959011 h 7458372"/>
              <a:gd name="connsiteX20611" fmla="*/ 6785595 w 10505529"/>
              <a:gd name="connsiteY20611" fmla="*/ 3956615 h 7458372"/>
              <a:gd name="connsiteX20612" fmla="*/ 6788258 w 10505529"/>
              <a:gd name="connsiteY20612" fmla="*/ 3952355 h 7458372"/>
              <a:gd name="connsiteX20613" fmla="*/ 6789323 w 10505529"/>
              <a:gd name="connsiteY20613" fmla="*/ 3946897 h 7458372"/>
              <a:gd name="connsiteX20614" fmla="*/ 6788258 w 10505529"/>
              <a:gd name="connsiteY20614" fmla="*/ 3941706 h 7458372"/>
              <a:gd name="connsiteX20615" fmla="*/ 6785595 w 10505529"/>
              <a:gd name="connsiteY20615" fmla="*/ 3937447 h 7458372"/>
              <a:gd name="connsiteX20616" fmla="*/ 6781602 w 10505529"/>
              <a:gd name="connsiteY20616" fmla="*/ 3934784 h 7458372"/>
              <a:gd name="connsiteX20617" fmla="*/ 6776544 w 10505529"/>
              <a:gd name="connsiteY20617" fmla="*/ 3933852 h 7458372"/>
              <a:gd name="connsiteX20618" fmla="*/ 6558899 w 10505529"/>
              <a:gd name="connsiteY20618" fmla="*/ 3933852 h 7458372"/>
              <a:gd name="connsiteX20619" fmla="*/ 6548915 w 10505529"/>
              <a:gd name="connsiteY20619" fmla="*/ 3937447 h 7458372"/>
              <a:gd name="connsiteX20620" fmla="*/ 6545321 w 10505529"/>
              <a:gd name="connsiteY20620" fmla="*/ 3946897 h 7458372"/>
              <a:gd name="connsiteX20621" fmla="*/ 6548915 w 10505529"/>
              <a:gd name="connsiteY20621" fmla="*/ 3956349 h 7458372"/>
              <a:gd name="connsiteX20622" fmla="*/ 6558899 w 10505529"/>
              <a:gd name="connsiteY20622" fmla="*/ 3959810 h 7458372"/>
              <a:gd name="connsiteX20623" fmla="*/ 6564223 w 10505529"/>
              <a:gd name="connsiteY20623" fmla="*/ 3959011 h 7458372"/>
              <a:gd name="connsiteX20624" fmla="*/ 6567950 w 10505529"/>
              <a:gd name="connsiteY20624" fmla="*/ 3956615 h 7458372"/>
              <a:gd name="connsiteX20625" fmla="*/ 6570612 w 10505529"/>
              <a:gd name="connsiteY20625" fmla="*/ 3952355 h 7458372"/>
              <a:gd name="connsiteX20626" fmla="*/ 6571677 w 10505529"/>
              <a:gd name="connsiteY20626" fmla="*/ 3946897 h 7458372"/>
              <a:gd name="connsiteX20627" fmla="*/ 6570612 w 10505529"/>
              <a:gd name="connsiteY20627" fmla="*/ 3941706 h 7458372"/>
              <a:gd name="connsiteX20628" fmla="*/ 6567950 w 10505529"/>
              <a:gd name="connsiteY20628" fmla="*/ 3937447 h 7458372"/>
              <a:gd name="connsiteX20629" fmla="*/ 6563956 w 10505529"/>
              <a:gd name="connsiteY20629" fmla="*/ 3934784 h 7458372"/>
              <a:gd name="connsiteX20630" fmla="*/ 6558899 w 10505529"/>
              <a:gd name="connsiteY20630" fmla="*/ 3933852 h 7458372"/>
              <a:gd name="connsiteX20631" fmla="*/ 6341253 w 10505529"/>
              <a:gd name="connsiteY20631" fmla="*/ 3933852 h 7458372"/>
              <a:gd name="connsiteX20632" fmla="*/ 6331270 w 10505529"/>
              <a:gd name="connsiteY20632" fmla="*/ 3937447 h 7458372"/>
              <a:gd name="connsiteX20633" fmla="*/ 6327675 w 10505529"/>
              <a:gd name="connsiteY20633" fmla="*/ 3946897 h 7458372"/>
              <a:gd name="connsiteX20634" fmla="*/ 6331270 w 10505529"/>
              <a:gd name="connsiteY20634" fmla="*/ 3956349 h 7458372"/>
              <a:gd name="connsiteX20635" fmla="*/ 6341253 w 10505529"/>
              <a:gd name="connsiteY20635" fmla="*/ 3959810 h 7458372"/>
              <a:gd name="connsiteX20636" fmla="*/ 6346578 w 10505529"/>
              <a:gd name="connsiteY20636" fmla="*/ 3959011 h 7458372"/>
              <a:gd name="connsiteX20637" fmla="*/ 6350305 w 10505529"/>
              <a:gd name="connsiteY20637" fmla="*/ 3956615 h 7458372"/>
              <a:gd name="connsiteX20638" fmla="*/ 6352968 w 10505529"/>
              <a:gd name="connsiteY20638" fmla="*/ 3952355 h 7458372"/>
              <a:gd name="connsiteX20639" fmla="*/ 6354033 w 10505529"/>
              <a:gd name="connsiteY20639" fmla="*/ 3946897 h 7458372"/>
              <a:gd name="connsiteX20640" fmla="*/ 6352968 w 10505529"/>
              <a:gd name="connsiteY20640" fmla="*/ 3941706 h 7458372"/>
              <a:gd name="connsiteX20641" fmla="*/ 6350305 w 10505529"/>
              <a:gd name="connsiteY20641" fmla="*/ 3937447 h 7458372"/>
              <a:gd name="connsiteX20642" fmla="*/ 6346312 w 10505529"/>
              <a:gd name="connsiteY20642" fmla="*/ 3934784 h 7458372"/>
              <a:gd name="connsiteX20643" fmla="*/ 6341253 w 10505529"/>
              <a:gd name="connsiteY20643" fmla="*/ 3933852 h 7458372"/>
              <a:gd name="connsiteX20644" fmla="*/ 6123608 w 10505529"/>
              <a:gd name="connsiteY20644" fmla="*/ 3933852 h 7458372"/>
              <a:gd name="connsiteX20645" fmla="*/ 6113624 w 10505529"/>
              <a:gd name="connsiteY20645" fmla="*/ 3937447 h 7458372"/>
              <a:gd name="connsiteX20646" fmla="*/ 6110030 w 10505529"/>
              <a:gd name="connsiteY20646" fmla="*/ 3946897 h 7458372"/>
              <a:gd name="connsiteX20647" fmla="*/ 6113624 w 10505529"/>
              <a:gd name="connsiteY20647" fmla="*/ 3956349 h 7458372"/>
              <a:gd name="connsiteX20648" fmla="*/ 6123608 w 10505529"/>
              <a:gd name="connsiteY20648" fmla="*/ 3959810 h 7458372"/>
              <a:gd name="connsiteX20649" fmla="*/ 6128932 w 10505529"/>
              <a:gd name="connsiteY20649" fmla="*/ 3959011 h 7458372"/>
              <a:gd name="connsiteX20650" fmla="*/ 6132659 w 10505529"/>
              <a:gd name="connsiteY20650" fmla="*/ 3956615 h 7458372"/>
              <a:gd name="connsiteX20651" fmla="*/ 6135322 w 10505529"/>
              <a:gd name="connsiteY20651" fmla="*/ 3952355 h 7458372"/>
              <a:gd name="connsiteX20652" fmla="*/ 6136387 w 10505529"/>
              <a:gd name="connsiteY20652" fmla="*/ 3946897 h 7458372"/>
              <a:gd name="connsiteX20653" fmla="*/ 6135322 w 10505529"/>
              <a:gd name="connsiteY20653" fmla="*/ 3941706 h 7458372"/>
              <a:gd name="connsiteX20654" fmla="*/ 6132659 w 10505529"/>
              <a:gd name="connsiteY20654" fmla="*/ 3937447 h 7458372"/>
              <a:gd name="connsiteX20655" fmla="*/ 6128666 w 10505529"/>
              <a:gd name="connsiteY20655" fmla="*/ 3934784 h 7458372"/>
              <a:gd name="connsiteX20656" fmla="*/ 6123608 w 10505529"/>
              <a:gd name="connsiteY20656" fmla="*/ 3933852 h 7458372"/>
              <a:gd name="connsiteX20657" fmla="*/ 5905963 w 10505529"/>
              <a:gd name="connsiteY20657" fmla="*/ 3933852 h 7458372"/>
              <a:gd name="connsiteX20658" fmla="*/ 5895979 w 10505529"/>
              <a:gd name="connsiteY20658" fmla="*/ 3937447 h 7458372"/>
              <a:gd name="connsiteX20659" fmla="*/ 5892385 w 10505529"/>
              <a:gd name="connsiteY20659" fmla="*/ 3946897 h 7458372"/>
              <a:gd name="connsiteX20660" fmla="*/ 5895979 w 10505529"/>
              <a:gd name="connsiteY20660" fmla="*/ 3956349 h 7458372"/>
              <a:gd name="connsiteX20661" fmla="*/ 5905963 w 10505529"/>
              <a:gd name="connsiteY20661" fmla="*/ 3959810 h 7458372"/>
              <a:gd name="connsiteX20662" fmla="*/ 5911287 w 10505529"/>
              <a:gd name="connsiteY20662" fmla="*/ 3959011 h 7458372"/>
              <a:gd name="connsiteX20663" fmla="*/ 5915014 w 10505529"/>
              <a:gd name="connsiteY20663" fmla="*/ 3956615 h 7458372"/>
              <a:gd name="connsiteX20664" fmla="*/ 5917677 w 10505529"/>
              <a:gd name="connsiteY20664" fmla="*/ 3952355 h 7458372"/>
              <a:gd name="connsiteX20665" fmla="*/ 5918742 w 10505529"/>
              <a:gd name="connsiteY20665" fmla="*/ 3946897 h 7458372"/>
              <a:gd name="connsiteX20666" fmla="*/ 5917677 w 10505529"/>
              <a:gd name="connsiteY20666" fmla="*/ 3941706 h 7458372"/>
              <a:gd name="connsiteX20667" fmla="*/ 5915014 w 10505529"/>
              <a:gd name="connsiteY20667" fmla="*/ 3937447 h 7458372"/>
              <a:gd name="connsiteX20668" fmla="*/ 5911021 w 10505529"/>
              <a:gd name="connsiteY20668" fmla="*/ 3934784 h 7458372"/>
              <a:gd name="connsiteX20669" fmla="*/ 5905963 w 10505529"/>
              <a:gd name="connsiteY20669" fmla="*/ 3933852 h 7458372"/>
              <a:gd name="connsiteX20670" fmla="*/ 5688451 w 10505529"/>
              <a:gd name="connsiteY20670" fmla="*/ 3933852 h 7458372"/>
              <a:gd name="connsiteX20671" fmla="*/ 5678467 w 10505529"/>
              <a:gd name="connsiteY20671" fmla="*/ 3937447 h 7458372"/>
              <a:gd name="connsiteX20672" fmla="*/ 5674873 w 10505529"/>
              <a:gd name="connsiteY20672" fmla="*/ 3946897 h 7458372"/>
              <a:gd name="connsiteX20673" fmla="*/ 5678467 w 10505529"/>
              <a:gd name="connsiteY20673" fmla="*/ 3956349 h 7458372"/>
              <a:gd name="connsiteX20674" fmla="*/ 5688451 w 10505529"/>
              <a:gd name="connsiteY20674" fmla="*/ 3959810 h 7458372"/>
              <a:gd name="connsiteX20675" fmla="*/ 5693775 w 10505529"/>
              <a:gd name="connsiteY20675" fmla="*/ 3959011 h 7458372"/>
              <a:gd name="connsiteX20676" fmla="*/ 5697502 w 10505529"/>
              <a:gd name="connsiteY20676" fmla="*/ 3956615 h 7458372"/>
              <a:gd name="connsiteX20677" fmla="*/ 5700165 w 10505529"/>
              <a:gd name="connsiteY20677" fmla="*/ 3952355 h 7458372"/>
              <a:gd name="connsiteX20678" fmla="*/ 5701230 w 10505529"/>
              <a:gd name="connsiteY20678" fmla="*/ 3946897 h 7458372"/>
              <a:gd name="connsiteX20679" fmla="*/ 5700165 w 10505529"/>
              <a:gd name="connsiteY20679" fmla="*/ 3941706 h 7458372"/>
              <a:gd name="connsiteX20680" fmla="*/ 5697502 w 10505529"/>
              <a:gd name="connsiteY20680" fmla="*/ 3937447 h 7458372"/>
              <a:gd name="connsiteX20681" fmla="*/ 5693509 w 10505529"/>
              <a:gd name="connsiteY20681" fmla="*/ 3934784 h 7458372"/>
              <a:gd name="connsiteX20682" fmla="*/ 5688451 w 10505529"/>
              <a:gd name="connsiteY20682" fmla="*/ 3933852 h 7458372"/>
              <a:gd name="connsiteX20683" fmla="*/ 5470806 w 10505529"/>
              <a:gd name="connsiteY20683" fmla="*/ 3933852 h 7458372"/>
              <a:gd name="connsiteX20684" fmla="*/ 5460822 w 10505529"/>
              <a:gd name="connsiteY20684" fmla="*/ 3937447 h 7458372"/>
              <a:gd name="connsiteX20685" fmla="*/ 5457228 w 10505529"/>
              <a:gd name="connsiteY20685" fmla="*/ 3946897 h 7458372"/>
              <a:gd name="connsiteX20686" fmla="*/ 5460822 w 10505529"/>
              <a:gd name="connsiteY20686" fmla="*/ 3956349 h 7458372"/>
              <a:gd name="connsiteX20687" fmla="*/ 5470806 w 10505529"/>
              <a:gd name="connsiteY20687" fmla="*/ 3959810 h 7458372"/>
              <a:gd name="connsiteX20688" fmla="*/ 5476130 w 10505529"/>
              <a:gd name="connsiteY20688" fmla="*/ 3959011 h 7458372"/>
              <a:gd name="connsiteX20689" fmla="*/ 5479857 w 10505529"/>
              <a:gd name="connsiteY20689" fmla="*/ 3956615 h 7458372"/>
              <a:gd name="connsiteX20690" fmla="*/ 5482520 w 10505529"/>
              <a:gd name="connsiteY20690" fmla="*/ 3952355 h 7458372"/>
              <a:gd name="connsiteX20691" fmla="*/ 5483585 w 10505529"/>
              <a:gd name="connsiteY20691" fmla="*/ 3946897 h 7458372"/>
              <a:gd name="connsiteX20692" fmla="*/ 5482520 w 10505529"/>
              <a:gd name="connsiteY20692" fmla="*/ 3941706 h 7458372"/>
              <a:gd name="connsiteX20693" fmla="*/ 5479857 w 10505529"/>
              <a:gd name="connsiteY20693" fmla="*/ 3937447 h 7458372"/>
              <a:gd name="connsiteX20694" fmla="*/ 5475864 w 10505529"/>
              <a:gd name="connsiteY20694" fmla="*/ 3934784 h 7458372"/>
              <a:gd name="connsiteX20695" fmla="*/ 5470806 w 10505529"/>
              <a:gd name="connsiteY20695" fmla="*/ 3933852 h 7458372"/>
              <a:gd name="connsiteX20696" fmla="*/ 5253160 w 10505529"/>
              <a:gd name="connsiteY20696" fmla="*/ 3933852 h 7458372"/>
              <a:gd name="connsiteX20697" fmla="*/ 5243177 w 10505529"/>
              <a:gd name="connsiteY20697" fmla="*/ 3937447 h 7458372"/>
              <a:gd name="connsiteX20698" fmla="*/ 5239583 w 10505529"/>
              <a:gd name="connsiteY20698" fmla="*/ 3946897 h 7458372"/>
              <a:gd name="connsiteX20699" fmla="*/ 5243177 w 10505529"/>
              <a:gd name="connsiteY20699" fmla="*/ 3956349 h 7458372"/>
              <a:gd name="connsiteX20700" fmla="*/ 5253160 w 10505529"/>
              <a:gd name="connsiteY20700" fmla="*/ 3959810 h 7458372"/>
              <a:gd name="connsiteX20701" fmla="*/ 5258485 w 10505529"/>
              <a:gd name="connsiteY20701" fmla="*/ 3959011 h 7458372"/>
              <a:gd name="connsiteX20702" fmla="*/ 5262212 w 10505529"/>
              <a:gd name="connsiteY20702" fmla="*/ 3956615 h 7458372"/>
              <a:gd name="connsiteX20703" fmla="*/ 5264875 w 10505529"/>
              <a:gd name="connsiteY20703" fmla="*/ 3952355 h 7458372"/>
              <a:gd name="connsiteX20704" fmla="*/ 5265939 w 10505529"/>
              <a:gd name="connsiteY20704" fmla="*/ 3946897 h 7458372"/>
              <a:gd name="connsiteX20705" fmla="*/ 5264875 w 10505529"/>
              <a:gd name="connsiteY20705" fmla="*/ 3941706 h 7458372"/>
              <a:gd name="connsiteX20706" fmla="*/ 5262212 w 10505529"/>
              <a:gd name="connsiteY20706" fmla="*/ 3937447 h 7458372"/>
              <a:gd name="connsiteX20707" fmla="*/ 5258219 w 10505529"/>
              <a:gd name="connsiteY20707" fmla="*/ 3934784 h 7458372"/>
              <a:gd name="connsiteX20708" fmla="*/ 5253160 w 10505529"/>
              <a:gd name="connsiteY20708" fmla="*/ 3933852 h 7458372"/>
              <a:gd name="connsiteX20709" fmla="*/ 5035515 w 10505529"/>
              <a:gd name="connsiteY20709" fmla="*/ 3933852 h 7458372"/>
              <a:gd name="connsiteX20710" fmla="*/ 5025532 w 10505529"/>
              <a:gd name="connsiteY20710" fmla="*/ 3937447 h 7458372"/>
              <a:gd name="connsiteX20711" fmla="*/ 5021938 w 10505529"/>
              <a:gd name="connsiteY20711" fmla="*/ 3946897 h 7458372"/>
              <a:gd name="connsiteX20712" fmla="*/ 5025532 w 10505529"/>
              <a:gd name="connsiteY20712" fmla="*/ 3956349 h 7458372"/>
              <a:gd name="connsiteX20713" fmla="*/ 5035515 w 10505529"/>
              <a:gd name="connsiteY20713" fmla="*/ 3959810 h 7458372"/>
              <a:gd name="connsiteX20714" fmla="*/ 5040840 w 10505529"/>
              <a:gd name="connsiteY20714" fmla="*/ 3959011 h 7458372"/>
              <a:gd name="connsiteX20715" fmla="*/ 5044567 w 10505529"/>
              <a:gd name="connsiteY20715" fmla="*/ 3956615 h 7458372"/>
              <a:gd name="connsiteX20716" fmla="*/ 5047230 w 10505529"/>
              <a:gd name="connsiteY20716" fmla="*/ 3952355 h 7458372"/>
              <a:gd name="connsiteX20717" fmla="*/ 5048294 w 10505529"/>
              <a:gd name="connsiteY20717" fmla="*/ 3946897 h 7458372"/>
              <a:gd name="connsiteX20718" fmla="*/ 5047230 w 10505529"/>
              <a:gd name="connsiteY20718" fmla="*/ 3941706 h 7458372"/>
              <a:gd name="connsiteX20719" fmla="*/ 5044567 w 10505529"/>
              <a:gd name="connsiteY20719" fmla="*/ 3937447 h 7458372"/>
              <a:gd name="connsiteX20720" fmla="*/ 5040574 w 10505529"/>
              <a:gd name="connsiteY20720" fmla="*/ 3934784 h 7458372"/>
              <a:gd name="connsiteX20721" fmla="*/ 5035515 w 10505529"/>
              <a:gd name="connsiteY20721" fmla="*/ 3933852 h 7458372"/>
              <a:gd name="connsiteX20722" fmla="*/ 4817870 w 10505529"/>
              <a:gd name="connsiteY20722" fmla="*/ 3933852 h 7458372"/>
              <a:gd name="connsiteX20723" fmla="*/ 4807887 w 10505529"/>
              <a:gd name="connsiteY20723" fmla="*/ 3937447 h 7458372"/>
              <a:gd name="connsiteX20724" fmla="*/ 4804293 w 10505529"/>
              <a:gd name="connsiteY20724" fmla="*/ 3946897 h 7458372"/>
              <a:gd name="connsiteX20725" fmla="*/ 4807887 w 10505529"/>
              <a:gd name="connsiteY20725" fmla="*/ 3956349 h 7458372"/>
              <a:gd name="connsiteX20726" fmla="*/ 4817870 w 10505529"/>
              <a:gd name="connsiteY20726" fmla="*/ 3959810 h 7458372"/>
              <a:gd name="connsiteX20727" fmla="*/ 4823195 w 10505529"/>
              <a:gd name="connsiteY20727" fmla="*/ 3959011 h 7458372"/>
              <a:gd name="connsiteX20728" fmla="*/ 4826922 w 10505529"/>
              <a:gd name="connsiteY20728" fmla="*/ 3956615 h 7458372"/>
              <a:gd name="connsiteX20729" fmla="*/ 4829585 w 10505529"/>
              <a:gd name="connsiteY20729" fmla="*/ 3952355 h 7458372"/>
              <a:gd name="connsiteX20730" fmla="*/ 4830650 w 10505529"/>
              <a:gd name="connsiteY20730" fmla="*/ 3946897 h 7458372"/>
              <a:gd name="connsiteX20731" fmla="*/ 4829585 w 10505529"/>
              <a:gd name="connsiteY20731" fmla="*/ 3941706 h 7458372"/>
              <a:gd name="connsiteX20732" fmla="*/ 4826922 w 10505529"/>
              <a:gd name="connsiteY20732" fmla="*/ 3937447 h 7458372"/>
              <a:gd name="connsiteX20733" fmla="*/ 4822929 w 10505529"/>
              <a:gd name="connsiteY20733" fmla="*/ 3934784 h 7458372"/>
              <a:gd name="connsiteX20734" fmla="*/ 4817870 w 10505529"/>
              <a:gd name="connsiteY20734" fmla="*/ 3933852 h 7458372"/>
              <a:gd name="connsiteX20735" fmla="*/ 4600226 w 10505529"/>
              <a:gd name="connsiteY20735" fmla="*/ 3933852 h 7458372"/>
              <a:gd name="connsiteX20736" fmla="*/ 4590242 w 10505529"/>
              <a:gd name="connsiteY20736" fmla="*/ 3937447 h 7458372"/>
              <a:gd name="connsiteX20737" fmla="*/ 4586648 w 10505529"/>
              <a:gd name="connsiteY20737" fmla="*/ 3946897 h 7458372"/>
              <a:gd name="connsiteX20738" fmla="*/ 4590242 w 10505529"/>
              <a:gd name="connsiteY20738" fmla="*/ 3956349 h 7458372"/>
              <a:gd name="connsiteX20739" fmla="*/ 4600226 w 10505529"/>
              <a:gd name="connsiteY20739" fmla="*/ 3959810 h 7458372"/>
              <a:gd name="connsiteX20740" fmla="*/ 4605550 w 10505529"/>
              <a:gd name="connsiteY20740" fmla="*/ 3959011 h 7458372"/>
              <a:gd name="connsiteX20741" fmla="*/ 4609277 w 10505529"/>
              <a:gd name="connsiteY20741" fmla="*/ 3956615 h 7458372"/>
              <a:gd name="connsiteX20742" fmla="*/ 4611940 w 10505529"/>
              <a:gd name="connsiteY20742" fmla="*/ 3952355 h 7458372"/>
              <a:gd name="connsiteX20743" fmla="*/ 4613005 w 10505529"/>
              <a:gd name="connsiteY20743" fmla="*/ 3946897 h 7458372"/>
              <a:gd name="connsiteX20744" fmla="*/ 4611940 w 10505529"/>
              <a:gd name="connsiteY20744" fmla="*/ 3941706 h 7458372"/>
              <a:gd name="connsiteX20745" fmla="*/ 4609277 w 10505529"/>
              <a:gd name="connsiteY20745" fmla="*/ 3937447 h 7458372"/>
              <a:gd name="connsiteX20746" fmla="*/ 4605284 w 10505529"/>
              <a:gd name="connsiteY20746" fmla="*/ 3934784 h 7458372"/>
              <a:gd name="connsiteX20747" fmla="*/ 4600226 w 10505529"/>
              <a:gd name="connsiteY20747" fmla="*/ 3933852 h 7458372"/>
              <a:gd name="connsiteX20748" fmla="*/ 4382713 w 10505529"/>
              <a:gd name="connsiteY20748" fmla="*/ 3933852 h 7458372"/>
              <a:gd name="connsiteX20749" fmla="*/ 4372730 w 10505529"/>
              <a:gd name="connsiteY20749" fmla="*/ 3937447 h 7458372"/>
              <a:gd name="connsiteX20750" fmla="*/ 4369136 w 10505529"/>
              <a:gd name="connsiteY20750" fmla="*/ 3946897 h 7458372"/>
              <a:gd name="connsiteX20751" fmla="*/ 4372730 w 10505529"/>
              <a:gd name="connsiteY20751" fmla="*/ 3956349 h 7458372"/>
              <a:gd name="connsiteX20752" fmla="*/ 4382713 w 10505529"/>
              <a:gd name="connsiteY20752" fmla="*/ 3959810 h 7458372"/>
              <a:gd name="connsiteX20753" fmla="*/ 4388038 w 10505529"/>
              <a:gd name="connsiteY20753" fmla="*/ 3959011 h 7458372"/>
              <a:gd name="connsiteX20754" fmla="*/ 4391765 w 10505529"/>
              <a:gd name="connsiteY20754" fmla="*/ 3956615 h 7458372"/>
              <a:gd name="connsiteX20755" fmla="*/ 4394428 w 10505529"/>
              <a:gd name="connsiteY20755" fmla="*/ 3952355 h 7458372"/>
              <a:gd name="connsiteX20756" fmla="*/ 4395493 w 10505529"/>
              <a:gd name="connsiteY20756" fmla="*/ 3946897 h 7458372"/>
              <a:gd name="connsiteX20757" fmla="*/ 4394428 w 10505529"/>
              <a:gd name="connsiteY20757" fmla="*/ 3941706 h 7458372"/>
              <a:gd name="connsiteX20758" fmla="*/ 4391765 w 10505529"/>
              <a:gd name="connsiteY20758" fmla="*/ 3937447 h 7458372"/>
              <a:gd name="connsiteX20759" fmla="*/ 4387772 w 10505529"/>
              <a:gd name="connsiteY20759" fmla="*/ 3934784 h 7458372"/>
              <a:gd name="connsiteX20760" fmla="*/ 4382713 w 10505529"/>
              <a:gd name="connsiteY20760" fmla="*/ 3933852 h 7458372"/>
              <a:gd name="connsiteX20761" fmla="*/ 4165068 w 10505529"/>
              <a:gd name="connsiteY20761" fmla="*/ 3933852 h 7458372"/>
              <a:gd name="connsiteX20762" fmla="*/ 4155084 w 10505529"/>
              <a:gd name="connsiteY20762" fmla="*/ 3937447 h 7458372"/>
              <a:gd name="connsiteX20763" fmla="*/ 4151490 w 10505529"/>
              <a:gd name="connsiteY20763" fmla="*/ 3946897 h 7458372"/>
              <a:gd name="connsiteX20764" fmla="*/ 4155084 w 10505529"/>
              <a:gd name="connsiteY20764" fmla="*/ 3956349 h 7458372"/>
              <a:gd name="connsiteX20765" fmla="*/ 4165068 w 10505529"/>
              <a:gd name="connsiteY20765" fmla="*/ 3959810 h 7458372"/>
              <a:gd name="connsiteX20766" fmla="*/ 4170392 w 10505529"/>
              <a:gd name="connsiteY20766" fmla="*/ 3959011 h 7458372"/>
              <a:gd name="connsiteX20767" fmla="*/ 4174119 w 10505529"/>
              <a:gd name="connsiteY20767" fmla="*/ 3956615 h 7458372"/>
              <a:gd name="connsiteX20768" fmla="*/ 4176782 w 10505529"/>
              <a:gd name="connsiteY20768" fmla="*/ 3952355 h 7458372"/>
              <a:gd name="connsiteX20769" fmla="*/ 4177847 w 10505529"/>
              <a:gd name="connsiteY20769" fmla="*/ 3946897 h 7458372"/>
              <a:gd name="connsiteX20770" fmla="*/ 4176782 w 10505529"/>
              <a:gd name="connsiteY20770" fmla="*/ 3941706 h 7458372"/>
              <a:gd name="connsiteX20771" fmla="*/ 4174119 w 10505529"/>
              <a:gd name="connsiteY20771" fmla="*/ 3937447 h 7458372"/>
              <a:gd name="connsiteX20772" fmla="*/ 4170126 w 10505529"/>
              <a:gd name="connsiteY20772" fmla="*/ 3934784 h 7458372"/>
              <a:gd name="connsiteX20773" fmla="*/ 4165068 w 10505529"/>
              <a:gd name="connsiteY20773" fmla="*/ 3933852 h 7458372"/>
              <a:gd name="connsiteX20774" fmla="*/ 3947640 w 10505529"/>
              <a:gd name="connsiteY20774" fmla="*/ 3933852 h 7458372"/>
              <a:gd name="connsiteX20775" fmla="*/ 3937657 w 10505529"/>
              <a:gd name="connsiteY20775" fmla="*/ 3937447 h 7458372"/>
              <a:gd name="connsiteX20776" fmla="*/ 3934062 w 10505529"/>
              <a:gd name="connsiteY20776" fmla="*/ 3946897 h 7458372"/>
              <a:gd name="connsiteX20777" fmla="*/ 3937657 w 10505529"/>
              <a:gd name="connsiteY20777" fmla="*/ 3956349 h 7458372"/>
              <a:gd name="connsiteX20778" fmla="*/ 3947640 w 10505529"/>
              <a:gd name="connsiteY20778" fmla="*/ 3959810 h 7458372"/>
              <a:gd name="connsiteX20779" fmla="*/ 3952967 w 10505529"/>
              <a:gd name="connsiteY20779" fmla="*/ 3959011 h 7458372"/>
              <a:gd name="connsiteX20780" fmla="*/ 3956693 w 10505529"/>
              <a:gd name="connsiteY20780" fmla="*/ 3956615 h 7458372"/>
              <a:gd name="connsiteX20781" fmla="*/ 3959356 w 10505529"/>
              <a:gd name="connsiteY20781" fmla="*/ 3952355 h 7458372"/>
              <a:gd name="connsiteX20782" fmla="*/ 3960422 w 10505529"/>
              <a:gd name="connsiteY20782" fmla="*/ 3946897 h 7458372"/>
              <a:gd name="connsiteX20783" fmla="*/ 3959356 w 10505529"/>
              <a:gd name="connsiteY20783" fmla="*/ 3941706 h 7458372"/>
              <a:gd name="connsiteX20784" fmla="*/ 3956693 w 10505529"/>
              <a:gd name="connsiteY20784" fmla="*/ 3937447 h 7458372"/>
              <a:gd name="connsiteX20785" fmla="*/ 3952700 w 10505529"/>
              <a:gd name="connsiteY20785" fmla="*/ 3934784 h 7458372"/>
              <a:gd name="connsiteX20786" fmla="*/ 3947640 w 10505529"/>
              <a:gd name="connsiteY20786" fmla="*/ 3933852 h 7458372"/>
              <a:gd name="connsiteX20787" fmla="*/ 3729984 w 10505529"/>
              <a:gd name="connsiteY20787" fmla="*/ 3933852 h 7458372"/>
              <a:gd name="connsiteX20788" fmla="*/ 3719998 w 10505529"/>
              <a:gd name="connsiteY20788" fmla="*/ 3937447 h 7458372"/>
              <a:gd name="connsiteX20789" fmla="*/ 3716405 w 10505529"/>
              <a:gd name="connsiteY20789" fmla="*/ 3946897 h 7458372"/>
              <a:gd name="connsiteX20790" fmla="*/ 3719998 w 10505529"/>
              <a:gd name="connsiteY20790" fmla="*/ 3956349 h 7458372"/>
              <a:gd name="connsiteX20791" fmla="*/ 3729984 w 10505529"/>
              <a:gd name="connsiteY20791" fmla="*/ 3959810 h 7458372"/>
              <a:gd name="connsiteX20792" fmla="*/ 3735309 w 10505529"/>
              <a:gd name="connsiteY20792" fmla="*/ 3959011 h 7458372"/>
              <a:gd name="connsiteX20793" fmla="*/ 3739037 w 10505529"/>
              <a:gd name="connsiteY20793" fmla="*/ 3956615 h 7458372"/>
              <a:gd name="connsiteX20794" fmla="*/ 3741700 w 10505529"/>
              <a:gd name="connsiteY20794" fmla="*/ 3952355 h 7458372"/>
              <a:gd name="connsiteX20795" fmla="*/ 3742764 w 10505529"/>
              <a:gd name="connsiteY20795" fmla="*/ 3946897 h 7458372"/>
              <a:gd name="connsiteX20796" fmla="*/ 3741700 w 10505529"/>
              <a:gd name="connsiteY20796" fmla="*/ 3941706 h 7458372"/>
              <a:gd name="connsiteX20797" fmla="*/ 3739037 w 10505529"/>
              <a:gd name="connsiteY20797" fmla="*/ 3937447 h 7458372"/>
              <a:gd name="connsiteX20798" fmla="*/ 3735044 w 10505529"/>
              <a:gd name="connsiteY20798" fmla="*/ 3934784 h 7458372"/>
              <a:gd name="connsiteX20799" fmla="*/ 3729984 w 10505529"/>
              <a:gd name="connsiteY20799" fmla="*/ 3933852 h 7458372"/>
              <a:gd name="connsiteX20800" fmla="*/ 3512328 w 10505529"/>
              <a:gd name="connsiteY20800" fmla="*/ 3933852 h 7458372"/>
              <a:gd name="connsiteX20801" fmla="*/ 3502341 w 10505529"/>
              <a:gd name="connsiteY20801" fmla="*/ 3937447 h 7458372"/>
              <a:gd name="connsiteX20802" fmla="*/ 3498747 w 10505529"/>
              <a:gd name="connsiteY20802" fmla="*/ 3946897 h 7458372"/>
              <a:gd name="connsiteX20803" fmla="*/ 3502341 w 10505529"/>
              <a:gd name="connsiteY20803" fmla="*/ 3956349 h 7458372"/>
              <a:gd name="connsiteX20804" fmla="*/ 3512328 w 10505529"/>
              <a:gd name="connsiteY20804" fmla="*/ 3959810 h 7458372"/>
              <a:gd name="connsiteX20805" fmla="*/ 3517653 w 10505529"/>
              <a:gd name="connsiteY20805" fmla="*/ 3959011 h 7458372"/>
              <a:gd name="connsiteX20806" fmla="*/ 3521381 w 10505529"/>
              <a:gd name="connsiteY20806" fmla="*/ 3956615 h 7458372"/>
              <a:gd name="connsiteX20807" fmla="*/ 3524044 w 10505529"/>
              <a:gd name="connsiteY20807" fmla="*/ 3952355 h 7458372"/>
              <a:gd name="connsiteX20808" fmla="*/ 3525109 w 10505529"/>
              <a:gd name="connsiteY20808" fmla="*/ 3946897 h 7458372"/>
              <a:gd name="connsiteX20809" fmla="*/ 3524044 w 10505529"/>
              <a:gd name="connsiteY20809" fmla="*/ 3941706 h 7458372"/>
              <a:gd name="connsiteX20810" fmla="*/ 3521381 w 10505529"/>
              <a:gd name="connsiteY20810" fmla="*/ 3937447 h 7458372"/>
              <a:gd name="connsiteX20811" fmla="*/ 3517388 w 10505529"/>
              <a:gd name="connsiteY20811" fmla="*/ 3934784 h 7458372"/>
              <a:gd name="connsiteX20812" fmla="*/ 3512328 w 10505529"/>
              <a:gd name="connsiteY20812" fmla="*/ 3933852 h 7458372"/>
              <a:gd name="connsiteX20813" fmla="*/ 3294805 w 10505529"/>
              <a:gd name="connsiteY20813" fmla="*/ 3933852 h 7458372"/>
              <a:gd name="connsiteX20814" fmla="*/ 3284820 w 10505529"/>
              <a:gd name="connsiteY20814" fmla="*/ 3937447 h 7458372"/>
              <a:gd name="connsiteX20815" fmla="*/ 3281226 w 10505529"/>
              <a:gd name="connsiteY20815" fmla="*/ 3946897 h 7458372"/>
              <a:gd name="connsiteX20816" fmla="*/ 3284820 w 10505529"/>
              <a:gd name="connsiteY20816" fmla="*/ 3956349 h 7458372"/>
              <a:gd name="connsiteX20817" fmla="*/ 3294805 w 10505529"/>
              <a:gd name="connsiteY20817" fmla="*/ 3959810 h 7458372"/>
              <a:gd name="connsiteX20818" fmla="*/ 3300131 w 10505529"/>
              <a:gd name="connsiteY20818" fmla="*/ 3959011 h 7458372"/>
              <a:gd name="connsiteX20819" fmla="*/ 3303858 w 10505529"/>
              <a:gd name="connsiteY20819" fmla="*/ 3956615 h 7458372"/>
              <a:gd name="connsiteX20820" fmla="*/ 3306521 w 10505529"/>
              <a:gd name="connsiteY20820" fmla="*/ 3952355 h 7458372"/>
              <a:gd name="connsiteX20821" fmla="*/ 3307584 w 10505529"/>
              <a:gd name="connsiteY20821" fmla="*/ 3946897 h 7458372"/>
              <a:gd name="connsiteX20822" fmla="*/ 3306521 w 10505529"/>
              <a:gd name="connsiteY20822" fmla="*/ 3941706 h 7458372"/>
              <a:gd name="connsiteX20823" fmla="*/ 3303858 w 10505529"/>
              <a:gd name="connsiteY20823" fmla="*/ 3937447 h 7458372"/>
              <a:gd name="connsiteX20824" fmla="*/ 3299864 w 10505529"/>
              <a:gd name="connsiteY20824" fmla="*/ 3934784 h 7458372"/>
              <a:gd name="connsiteX20825" fmla="*/ 3294805 w 10505529"/>
              <a:gd name="connsiteY20825" fmla="*/ 3933852 h 7458372"/>
              <a:gd name="connsiteX20826" fmla="*/ 3077282 w 10505529"/>
              <a:gd name="connsiteY20826" fmla="*/ 3933852 h 7458372"/>
              <a:gd name="connsiteX20827" fmla="*/ 3067299 w 10505529"/>
              <a:gd name="connsiteY20827" fmla="*/ 3937447 h 7458372"/>
              <a:gd name="connsiteX20828" fmla="*/ 3063569 w 10505529"/>
              <a:gd name="connsiteY20828" fmla="*/ 3946897 h 7458372"/>
              <a:gd name="connsiteX20829" fmla="*/ 3067164 w 10505529"/>
              <a:gd name="connsiteY20829" fmla="*/ 3956349 h 7458372"/>
              <a:gd name="connsiteX20830" fmla="*/ 3077148 w 10505529"/>
              <a:gd name="connsiteY20830" fmla="*/ 3959810 h 7458372"/>
              <a:gd name="connsiteX20831" fmla="*/ 3082607 w 10505529"/>
              <a:gd name="connsiteY20831" fmla="*/ 3959011 h 7458372"/>
              <a:gd name="connsiteX20832" fmla="*/ 3086334 w 10505529"/>
              <a:gd name="connsiteY20832" fmla="*/ 3956615 h 7458372"/>
              <a:gd name="connsiteX20833" fmla="*/ 3088997 w 10505529"/>
              <a:gd name="connsiteY20833" fmla="*/ 3952355 h 7458372"/>
              <a:gd name="connsiteX20834" fmla="*/ 3089929 w 10505529"/>
              <a:gd name="connsiteY20834" fmla="*/ 3946897 h 7458372"/>
              <a:gd name="connsiteX20835" fmla="*/ 3088997 w 10505529"/>
              <a:gd name="connsiteY20835" fmla="*/ 3941706 h 7458372"/>
              <a:gd name="connsiteX20836" fmla="*/ 3086334 w 10505529"/>
              <a:gd name="connsiteY20836" fmla="*/ 3937447 h 7458372"/>
              <a:gd name="connsiteX20837" fmla="*/ 3082341 w 10505529"/>
              <a:gd name="connsiteY20837" fmla="*/ 3934784 h 7458372"/>
              <a:gd name="connsiteX20838" fmla="*/ 3077282 w 10505529"/>
              <a:gd name="connsiteY20838" fmla="*/ 3933852 h 7458372"/>
              <a:gd name="connsiteX20839" fmla="*/ 2859492 w 10505529"/>
              <a:gd name="connsiteY20839" fmla="*/ 3933852 h 7458372"/>
              <a:gd name="connsiteX20840" fmla="*/ 2849506 w 10505529"/>
              <a:gd name="connsiteY20840" fmla="*/ 3937447 h 7458372"/>
              <a:gd name="connsiteX20841" fmla="*/ 2845910 w 10505529"/>
              <a:gd name="connsiteY20841" fmla="*/ 3946897 h 7458372"/>
              <a:gd name="connsiteX20842" fmla="*/ 2849506 w 10505529"/>
              <a:gd name="connsiteY20842" fmla="*/ 3956349 h 7458372"/>
              <a:gd name="connsiteX20843" fmla="*/ 2859492 w 10505529"/>
              <a:gd name="connsiteY20843" fmla="*/ 3959810 h 7458372"/>
              <a:gd name="connsiteX20844" fmla="*/ 2864817 w 10505529"/>
              <a:gd name="connsiteY20844" fmla="*/ 3959011 h 7458372"/>
              <a:gd name="connsiteX20845" fmla="*/ 2868544 w 10505529"/>
              <a:gd name="connsiteY20845" fmla="*/ 3956615 h 7458372"/>
              <a:gd name="connsiteX20846" fmla="*/ 2871207 w 10505529"/>
              <a:gd name="connsiteY20846" fmla="*/ 3952355 h 7458372"/>
              <a:gd name="connsiteX20847" fmla="*/ 2872138 w 10505529"/>
              <a:gd name="connsiteY20847" fmla="*/ 3946897 h 7458372"/>
              <a:gd name="connsiteX20848" fmla="*/ 2871207 w 10505529"/>
              <a:gd name="connsiteY20848" fmla="*/ 3941706 h 7458372"/>
              <a:gd name="connsiteX20849" fmla="*/ 2868544 w 10505529"/>
              <a:gd name="connsiteY20849" fmla="*/ 3937447 h 7458372"/>
              <a:gd name="connsiteX20850" fmla="*/ 2864552 w 10505529"/>
              <a:gd name="connsiteY20850" fmla="*/ 3934784 h 7458372"/>
              <a:gd name="connsiteX20851" fmla="*/ 2859492 w 10505529"/>
              <a:gd name="connsiteY20851" fmla="*/ 3933852 h 7458372"/>
              <a:gd name="connsiteX20852" fmla="*/ 2641836 w 10505529"/>
              <a:gd name="connsiteY20852" fmla="*/ 3933852 h 7458372"/>
              <a:gd name="connsiteX20853" fmla="*/ 2631853 w 10505529"/>
              <a:gd name="connsiteY20853" fmla="*/ 3937447 h 7458372"/>
              <a:gd name="connsiteX20854" fmla="*/ 2628258 w 10505529"/>
              <a:gd name="connsiteY20854" fmla="*/ 3946897 h 7458372"/>
              <a:gd name="connsiteX20855" fmla="*/ 2631853 w 10505529"/>
              <a:gd name="connsiteY20855" fmla="*/ 3956349 h 7458372"/>
              <a:gd name="connsiteX20856" fmla="*/ 2641836 w 10505529"/>
              <a:gd name="connsiteY20856" fmla="*/ 3959810 h 7458372"/>
              <a:gd name="connsiteX20857" fmla="*/ 2647161 w 10505529"/>
              <a:gd name="connsiteY20857" fmla="*/ 3959011 h 7458372"/>
              <a:gd name="connsiteX20858" fmla="*/ 2650888 w 10505529"/>
              <a:gd name="connsiteY20858" fmla="*/ 3956615 h 7458372"/>
              <a:gd name="connsiteX20859" fmla="*/ 2653551 w 10505529"/>
              <a:gd name="connsiteY20859" fmla="*/ 3952355 h 7458372"/>
              <a:gd name="connsiteX20860" fmla="*/ 2654482 w 10505529"/>
              <a:gd name="connsiteY20860" fmla="*/ 3946897 h 7458372"/>
              <a:gd name="connsiteX20861" fmla="*/ 2653551 w 10505529"/>
              <a:gd name="connsiteY20861" fmla="*/ 3941706 h 7458372"/>
              <a:gd name="connsiteX20862" fmla="*/ 2650888 w 10505529"/>
              <a:gd name="connsiteY20862" fmla="*/ 3937447 h 7458372"/>
              <a:gd name="connsiteX20863" fmla="*/ 2646895 w 10505529"/>
              <a:gd name="connsiteY20863" fmla="*/ 3934784 h 7458372"/>
              <a:gd name="connsiteX20864" fmla="*/ 2641836 w 10505529"/>
              <a:gd name="connsiteY20864" fmla="*/ 3933852 h 7458372"/>
              <a:gd name="connsiteX20865" fmla="*/ 2424179 w 10505529"/>
              <a:gd name="connsiteY20865" fmla="*/ 3933852 h 7458372"/>
              <a:gd name="connsiteX20866" fmla="*/ 2414196 w 10505529"/>
              <a:gd name="connsiteY20866" fmla="*/ 3937447 h 7458372"/>
              <a:gd name="connsiteX20867" fmla="*/ 2410602 w 10505529"/>
              <a:gd name="connsiteY20867" fmla="*/ 3946897 h 7458372"/>
              <a:gd name="connsiteX20868" fmla="*/ 2414196 w 10505529"/>
              <a:gd name="connsiteY20868" fmla="*/ 3956349 h 7458372"/>
              <a:gd name="connsiteX20869" fmla="*/ 2424179 w 10505529"/>
              <a:gd name="connsiteY20869" fmla="*/ 3959810 h 7458372"/>
              <a:gd name="connsiteX20870" fmla="*/ 2429505 w 10505529"/>
              <a:gd name="connsiteY20870" fmla="*/ 3959011 h 7458372"/>
              <a:gd name="connsiteX20871" fmla="*/ 2433232 w 10505529"/>
              <a:gd name="connsiteY20871" fmla="*/ 3956615 h 7458372"/>
              <a:gd name="connsiteX20872" fmla="*/ 2435895 w 10505529"/>
              <a:gd name="connsiteY20872" fmla="*/ 3952355 h 7458372"/>
              <a:gd name="connsiteX20873" fmla="*/ 2436826 w 10505529"/>
              <a:gd name="connsiteY20873" fmla="*/ 3946897 h 7458372"/>
              <a:gd name="connsiteX20874" fmla="*/ 2435895 w 10505529"/>
              <a:gd name="connsiteY20874" fmla="*/ 3941706 h 7458372"/>
              <a:gd name="connsiteX20875" fmla="*/ 2433232 w 10505529"/>
              <a:gd name="connsiteY20875" fmla="*/ 3937447 h 7458372"/>
              <a:gd name="connsiteX20876" fmla="*/ 2429239 w 10505529"/>
              <a:gd name="connsiteY20876" fmla="*/ 3934784 h 7458372"/>
              <a:gd name="connsiteX20877" fmla="*/ 2424179 w 10505529"/>
              <a:gd name="connsiteY20877" fmla="*/ 3933852 h 7458372"/>
              <a:gd name="connsiteX20878" fmla="*/ 2206523 w 10505529"/>
              <a:gd name="connsiteY20878" fmla="*/ 3933852 h 7458372"/>
              <a:gd name="connsiteX20879" fmla="*/ 2196540 w 10505529"/>
              <a:gd name="connsiteY20879" fmla="*/ 3937447 h 7458372"/>
              <a:gd name="connsiteX20880" fmla="*/ 2192945 w 10505529"/>
              <a:gd name="connsiteY20880" fmla="*/ 3946897 h 7458372"/>
              <a:gd name="connsiteX20881" fmla="*/ 2196540 w 10505529"/>
              <a:gd name="connsiteY20881" fmla="*/ 3956349 h 7458372"/>
              <a:gd name="connsiteX20882" fmla="*/ 2206523 w 10505529"/>
              <a:gd name="connsiteY20882" fmla="*/ 3959810 h 7458372"/>
              <a:gd name="connsiteX20883" fmla="*/ 2211848 w 10505529"/>
              <a:gd name="connsiteY20883" fmla="*/ 3959011 h 7458372"/>
              <a:gd name="connsiteX20884" fmla="*/ 2215575 w 10505529"/>
              <a:gd name="connsiteY20884" fmla="*/ 3956615 h 7458372"/>
              <a:gd name="connsiteX20885" fmla="*/ 2218238 w 10505529"/>
              <a:gd name="connsiteY20885" fmla="*/ 3952355 h 7458372"/>
              <a:gd name="connsiteX20886" fmla="*/ 2219169 w 10505529"/>
              <a:gd name="connsiteY20886" fmla="*/ 3946897 h 7458372"/>
              <a:gd name="connsiteX20887" fmla="*/ 2218238 w 10505529"/>
              <a:gd name="connsiteY20887" fmla="*/ 3941706 h 7458372"/>
              <a:gd name="connsiteX20888" fmla="*/ 2215575 w 10505529"/>
              <a:gd name="connsiteY20888" fmla="*/ 3937447 h 7458372"/>
              <a:gd name="connsiteX20889" fmla="*/ 2211582 w 10505529"/>
              <a:gd name="connsiteY20889" fmla="*/ 3934784 h 7458372"/>
              <a:gd name="connsiteX20890" fmla="*/ 2206523 w 10505529"/>
              <a:gd name="connsiteY20890" fmla="*/ 3933852 h 7458372"/>
              <a:gd name="connsiteX20891" fmla="*/ 1988999 w 10505529"/>
              <a:gd name="connsiteY20891" fmla="*/ 3933852 h 7458372"/>
              <a:gd name="connsiteX20892" fmla="*/ 1979016 w 10505529"/>
              <a:gd name="connsiteY20892" fmla="*/ 3937447 h 7458372"/>
              <a:gd name="connsiteX20893" fmla="*/ 1975422 w 10505529"/>
              <a:gd name="connsiteY20893" fmla="*/ 3946897 h 7458372"/>
              <a:gd name="connsiteX20894" fmla="*/ 1979016 w 10505529"/>
              <a:gd name="connsiteY20894" fmla="*/ 3956349 h 7458372"/>
              <a:gd name="connsiteX20895" fmla="*/ 1988999 w 10505529"/>
              <a:gd name="connsiteY20895" fmla="*/ 3959810 h 7458372"/>
              <a:gd name="connsiteX20896" fmla="*/ 1994324 w 10505529"/>
              <a:gd name="connsiteY20896" fmla="*/ 3959011 h 7458372"/>
              <a:gd name="connsiteX20897" fmla="*/ 1998052 w 10505529"/>
              <a:gd name="connsiteY20897" fmla="*/ 3956615 h 7458372"/>
              <a:gd name="connsiteX20898" fmla="*/ 2000715 w 10505529"/>
              <a:gd name="connsiteY20898" fmla="*/ 3952355 h 7458372"/>
              <a:gd name="connsiteX20899" fmla="*/ 2001645 w 10505529"/>
              <a:gd name="connsiteY20899" fmla="*/ 3946897 h 7458372"/>
              <a:gd name="connsiteX20900" fmla="*/ 2000715 w 10505529"/>
              <a:gd name="connsiteY20900" fmla="*/ 3941706 h 7458372"/>
              <a:gd name="connsiteX20901" fmla="*/ 1998052 w 10505529"/>
              <a:gd name="connsiteY20901" fmla="*/ 3937447 h 7458372"/>
              <a:gd name="connsiteX20902" fmla="*/ 1994058 w 10505529"/>
              <a:gd name="connsiteY20902" fmla="*/ 3934784 h 7458372"/>
              <a:gd name="connsiteX20903" fmla="*/ 1988999 w 10505529"/>
              <a:gd name="connsiteY20903" fmla="*/ 3933852 h 7458372"/>
              <a:gd name="connsiteX20904" fmla="*/ 1771363 w 10505529"/>
              <a:gd name="connsiteY20904" fmla="*/ 3933852 h 7458372"/>
              <a:gd name="connsiteX20905" fmla="*/ 1761380 w 10505529"/>
              <a:gd name="connsiteY20905" fmla="*/ 3937447 h 7458372"/>
              <a:gd name="connsiteX20906" fmla="*/ 1757786 w 10505529"/>
              <a:gd name="connsiteY20906" fmla="*/ 3946897 h 7458372"/>
              <a:gd name="connsiteX20907" fmla="*/ 1761380 w 10505529"/>
              <a:gd name="connsiteY20907" fmla="*/ 3956349 h 7458372"/>
              <a:gd name="connsiteX20908" fmla="*/ 1771363 w 10505529"/>
              <a:gd name="connsiteY20908" fmla="*/ 3959810 h 7458372"/>
              <a:gd name="connsiteX20909" fmla="*/ 1776687 w 10505529"/>
              <a:gd name="connsiteY20909" fmla="*/ 3959011 h 7458372"/>
              <a:gd name="connsiteX20910" fmla="*/ 1780414 w 10505529"/>
              <a:gd name="connsiteY20910" fmla="*/ 3956615 h 7458372"/>
              <a:gd name="connsiteX20911" fmla="*/ 1783077 w 10505529"/>
              <a:gd name="connsiteY20911" fmla="*/ 3952355 h 7458372"/>
              <a:gd name="connsiteX20912" fmla="*/ 1784142 w 10505529"/>
              <a:gd name="connsiteY20912" fmla="*/ 3946897 h 7458372"/>
              <a:gd name="connsiteX20913" fmla="*/ 1783077 w 10505529"/>
              <a:gd name="connsiteY20913" fmla="*/ 3941706 h 7458372"/>
              <a:gd name="connsiteX20914" fmla="*/ 1780414 w 10505529"/>
              <a:gd name="connsiteY20914" fmla="*/ 3937447 h 7458372"/>
              <a:gd name="connsiteX20915" fmla="*/ 1776422 w 10505529"/>
              <a:gd name="connsiteY20915" fmla="*/ 3934784 h 7458372"/>
              <a:gd name="connsiteX20916" fmla="*/ 1771363 w 10505529"/>
              <a:gd name="connsiteY20916" fmla="*/ 3933852 h 7458372"/>
              <a:gd name="connsiteX20917" fmla="*/ 1553723 w 10505529"/>
              <a:gd name="connsiteY20917" fmla="*/ 3933852 h 7458372"/>
              <a:gd name="connsiteX20918" fmla="*/ 1543740 w 10505529"/>
              <a:gd name="connsiteY20918" fmla="*/ 3937447 h 7458372"/>
              <a:gd name="connsiteX20919" fmla="*/ 1540146 w 10505529"/>
              <a:gd name="connsiteY20919" fmla="*/ 3946897 h 7458372"/>
              <a:gd name="connsiteX20920" fmla="*/ 1543740 w 10505529"/>
              <a:gd name="connsiteY20920" fmla="*/ 3956349 h 7458372"/>
              <a:gd name="connsiteX20921" fmla="*/ 1553723 w 10505529"/>
              <a:gd name="connsiteY20921" fmla="*/ 3959810 h 7458372"/>
              <a:gd name="connsiteX20922" fmla="*/ 1559048 w 10505529"/>
              <a:gd name="connsiteY20922" fmla="*/ 3959011 h 7458372"/>
              <a:gd name="connsiteX20923" fmla="*/ 1562775 w 10505529"/>
              <a:gd name="connsiteY20923" fmla="*/ 3956615 h 7458372"/>
              <a:gd name="connsiteX20924" fmla="*/ 1565438 w 10505529"/>
              <a:gd name="connsiteY20924" fmla="*/ 3952355 h 7458372"/>
              <a:gd name="connsiteX20925" fmla="*/ 1566503 w 10505529"/>
              <a:gd name="connsiteY20925" fmla="*/ 3946897 h 7458372"/>
              <a:gd name="connsiteX20926" fmla="*/ 1565438 w 10505529"/>
              <a:gd name="connsiteY20926" fmla="*/ 3941706 h 7458372"/>
              <a:gd name="connsiteX20927" fmla="*/ 1562775 w 10505529"/>
              <a:gd name="connsiteY20927" fmla="*/ 3937447 h 7458372"/>
              <a:gd name="connsiteX20928" fmla="*/ 1558782 w 10505529"/>
              <a:gd name="connsiteY20928" fmla="*/ 3934784 h 7458372"/>
              <a:gd name="connsiteX20929" fmla="*/ 1553723 w 10505529"/>
              <a:gd name="connsiteY20929" fmla="*/ 3933852 h 7458372"/>
              <a:gd name="connsiteX20930" fmla="*/ 1336079 w 10505529"/>
              <a:gd name="connsiteY20930" fmla="*/ 3933852 h 7458372"/>
              <a:gd name="connsiteX20931" fmla="*/ 1326096 w 10505529"/>
              <a:gd name="connsiteY20931" fmla="*/ 3937447 h 7458372"/>
              <a:gd name="connsiteX20932" fmla="*/ 1322501 w 10505529"/>
              <a:gd name="connsiteY20932" fmla="*/ 3946897 h 7458372"/>
              <a:gd name="connsiteX20933" fmla="*/ 1326096 w 10505529"/>
              <a:gd name="connsiteY20933" fmla="*/ 3956349 h 7458372"/>
              <a:gd name="connsiteX20934" fmla="*/ 1336079 w 10505529"/>
              <a:gd name="connsiteY20934" fmla="*/ 3959810 h 7458372"/>
              <a:gd name="connsiteX20935" fmla="*/ 1341405 w 10505529"/>
              <a:gd name="connsiteY20935" fmla="*/ 3959011 h 7458372"/>
              <a:gd name="connsiteX20936" fmla="*/ 1345133 w 10505529"/>
              <a:gd name="connsiteY20936" fmla="*/ 3956615 h 7458372"/>
              <a:gd name="connsiteX20937" fmla="*/ 1347795 w 10505529"/>
              <a:gd name="connsiteY20937" fmla="*/ 3952355 h 7458372"/>
              <a:gd name="connsiteX20938" fmla="*/ 1348861 w 10505529"/>
              <a:gd name="connsiteY20938" fmla="*/ 3946897 h 7458372"/>
              <a:gd name="connsiteX20939" fmla="*/ 1347795 w 10505529"/>
              <a:gd name="connsiteY20939" fmla="*/ 3941706 h 7458372"/>
              <a:gd name="connsiteX20940" fmla="*/ 1345133 w 10505529"/>
              <a:gd name="connsiteY20940" fmla="*/ 3937447 h 7458372"/>
              <a:gd name="connsiteX20941" fmla="*/ 1341138 w 10505529"/>
              <a:gd name="connsiteY20941" fmla="*/ 3934784 h 7458372"/>
              <a:gd name="connsiteX20942" fmla="*/ 1336079 w 10505529"/>
              <a:gd name="connsiteY20942" fmla="*/ 3933852 h 7458372"/>
              <a:gd name="connsiteX20943" fmla="*/ 1118567 w 10505529"/>
              <a:gd name="connsiteY20943" fmla="*/ 3933852 h 7458372"/>
              <a:gd name="connsiteX20944" fmla="*/ 1108582 w 10505529"/>
              <a:gd name="connsiteY20944" fmla="*/ 3937447 h 7458372"/>
              <a:gd name="connsiteX20945" fmla="*/ 1104855 w 10505529"/>
              <a:gd name="connsiteY20945" fmla="*/ 3946897 h 7458372"/>
              <a:gd name="connsiteX20946" fmla="*/ 1108449 w 10505529"/>
              <a:gd name="connsiteY20946" fmla="*/ 3956349 h 7458372"/>
              <a:gd name="connsiteX20947" fmla="*/ 1118434 w 10505529"/>
              <a:gd name="connsiteY20947" fmla="*/ 3959810 h 7458372"/>
              <a:gd name="connsiteX20948" fmla="*/ 1123891 w 10505529"/>
              <a:gd name="connsiteY20948" fmla="*/ 3959011 h 7458372"/>
              <a:gd name="connsiteX20949" fmla="*/ 1127620 w 10505529"/>
              <a:gd name="connsiteY20949" fmla="*/ 3956615 h 7458372"/>
              <a:gd name="connsiteX20950" fmla="*/ 1130284 w 10505529"/>
              <a:gd name="connsiteY20950" fmla="*/ 3952355 h 7458372"/>
              <a:gd name="connsiteX20951" fmla="*/ 1131349 w 10505529"/>
              <a:gd name="connsiteY20951" fmla="*/ 3946897 h 7458372"/>
              <a:gd name="connsiteX20952" fmla="*/ 1130284 w 10505529"/>
              <a:gd name="connsiteY20952" fmla="*/ 3941706 h 7458372"/>
              <a:gd name="connsiteX20953" fmla="*/ 1127620 w 10505529"/>
              <a:gd name="connsiteY20953" fmla="*/ 3937447 h 7458372"/>
              <a:gd name="connsiteX20954" fmla="*/ 1123625 w 10505529"/>
              <a:gd name="connsiteY20954" fmla="*/ 3934784 h 7458372"/>
              <a:gd name="connsiteX20955" fmla="*/ 1118567 w 10505529"/>
              <a:gd name="connsiteY20955" fmla="*/ 3933852 h 7458372"/>
              <a:gd name="connsiteX20956" fmla="*/ 901055 w 10505529"/>
              <a:gd name="connsiteY20956" fmla="*/ 3933852 h 7458372"/>
              <a:gd name="connsiteX20957" fmla="*/ 891071 w 10505529"/>
              <a:gd name="connsiteY20957" fmla="*/ 3937447 h 7458372"/>
              <a:gd name="connsiteX20958" fmla="*/ 887344 w 10505529"/>
              <a:gd name="connsiteY20958" fmla="*/ 3946897 h 7458372"/>
              <a:gd name="connsiteX20959" fmla="*/ 890938 w 10505529"/>
              <a:gd name="connsiteY20959" fmla="*/ 3956349 h 7458372"/>
              <a:gd name="connsiteX20960" fmla="*/ 900921 w 10505529"/>
              <a:gd name="connsiteY20960" fmla="*/ 3959810 h 7458372"/>
              <a:gd name="connsiteX20961" fmla="*/ 906379 w 10505529"/>
              <a:gd name="connsiteY20961" fmla="*/ 3959011 h 7458372"/>
              <a:gd name="connsiteX20962" fmla="*/ 910107 w 10505529"/>
              <a:gd name="connsiteY20962" fmla="*/ 3956615 h 7458372"/>
              <a:gd name="connsiteX20963" fmla="*/ 912769 w 10505529"/>
              <a:gd name="connsiteY20963" fmla="*/ 3952355 h 7458372"/>
              <a:gd name="connsiteX20964" fmla="*/ 913834 w 10505529"/>
              <a:gd name="connsiteY20964" fmla="*/ 3946897 h 7458372"/>
              <a:gd name="connsiteX20965" fmla="*/ 912769 w 10505529"/>
              <a:gd name="connsiteY20965" fmla="*/ 3941706 h 7458372"/>
              <a:gd name="connsiteX20966" fmla="*/ 910107 w 10505529"/>
              <a:gd name="connsiteY20966" fmla="*/ 3937447 h 7458372"/>
              <a:gd name="connsiteX20967" fmla="*/ 906113 w 10505529"/>
              <a:gd name="connsiteY20967" fmla="*/ 3934784 h 7458372"/>
              <a:gd name="connsiteX20968" fmla="*/ 901055 w 10505529"/>
              <a:gd name="connsiteY20968" fmla="*/ 3933852 h 7458372"/>
              <a:gd name="connsiteX20969" fmla="*/ 683280 w 10505529"/>
              <a:gd name="connsiteY20969" fmla="*/ 3933852 h 7458372"/>
              <a:gd name="connsiteX20970" fmla="*/ 673296 w 10505529"/>
              <a:gd name="connsiteY20970" fmla="*/ 3937447 h 7458372"/>
              <a:gd name="connsiteX20971" fmla="*/ 669703 w 10505529"/>
              <a:gd name="connsiteY20971" fmla="*/ 3946897 h 7458372"/>
              <a:gd name="connsiteX20972" fmla="*/ 673296 w 10505529"/>
              <a:gd name="connsiteY20972" fmla="*/ 3956349 h 7458372"/>
              <a:gd name="connsiteX20973" fmla="*/ 683280 w 10505529"/>
              <a:gd name="connsiteY20973" fmla="*/ 3959810 h 7458372"/>
              <a:gd name="connsiteX20974" fmla="*/ 688605 w 10505529"/>
              <a:gd name="connsiteY20974" fmla="*/ 3959011 h 7458372"/>
              <a:gd name="connsiteX20975" fmla="*/ 692332 w 10505529"/>
              <a:gd name="connsiteY20975" fmla="*/ 3956615 h 7458372"/>
              <a:gd name="connsiteX20976" fmla="*/ 694995 w 10505529"/>
              <a:gd name="connsiteY20976" fmla="*/ 3952355 h 7458372"/>
              <a:gd name="connsiteX20977" fmla="*/ 696060 w 10505529"/>
              <a:gd name="connsiteY20977" fmla="*/ 3946897 h 7458372"/>
              <a:gd name="connsiteX20978" fmla="*/ 694995 w 10505529"/>
              <a:gd name="connsiteY20978" fmla="*/ 3941706 h 7458372"/>
              <a:gd name="connsiteX20979" fmla="*/ 692332 w 10505529"/>
              <a:gd name="connsiteY20979" fmla="*/ 3937447 h 7458372"/>
              <a:gd name="connsiteX20980" fmla="*/ 688339 w 10505529"/>
              <a:gd name="connsiteY20980" fmla="*/ 3934784 h 7458372"/>
              <a:gd name="connsiteX20981" fmla="*/ 683280 w 10505529"/>
              <a:gd name="connsiteY20981" fmla="*/ 3933852 h 7458372"/>
              <a:gd name="connsiteX20982" fmla="*/ 465637 w 10505529"/>
              <a:gd name="connsiteY20982" fmla="*/ 3933852 h 7458372"/>
              <a:gd name="connsiteX20983" fmla="*/ 455654 w 10505529"/>
              <a:gd name="connsiteY20983" fmla="*/ 3937447 h 7458372"/>
              <a:gd name="connsiteX20984" fmla="*/ 452060 w 10505529"/>
              <a:gd name="connsiteY20984" fmla="*/ 3946897 h 7458372"/>
              <a:gd name="connsiteX20985" fmla="*/ 455654 w 10505529"/>
              <a:gd name="connsiteY20985" fmla="*/ 3956349 h 7458372"/>
              <a:gd name="connsiteX20986" fmla="*/ 465637 w 10505529"/>
              <a:gd name="connsiteY20986" fmla="*/ 3959810 h 7458372"/>
              <a:gd name="connsiteX20987" fmla="*/ 470962 w 10505529"/>
              <a:gd name="connsiteY20987" fmla="*/ 3959011 h 7458372"/>
              <a:gd name="connsiteX20988" fmla="*/ 474689 w 10505529"/>
              <a:gd name="connsiteY20988" fmla="*/ 3956615 h 7458372"/>
              <a:gd name="connsiteX20989" fmla="*/ 477353 w 10505529"/>
              <a:gd name="connsiteY20989" fmla="*/ 3952355 h 7458372"/>
              <a:gd name="connsiteX20990" fmla="*/ 478418 w 10505529"/>
              <a:gd name="connsiteY20990" fmla="*/ 3946897 h 7458372"/>
              <a:gd name="connsiteX20991" fmla="*/ 477353 w 10505529"/>
              <a:gd name="connsiteY20991" fmla="*/ 3941706 h 7458372"/>
              <a:gd name="connsiteX20992" fmla="*/ 474689 w 10505529"/>
              <a:gd name="connsiteY20992" fmla="*/ 3937447 h 7458372"/>
              <a:gd name="connsiteX20993" fmla="*/ 470697 w 10505529"/>
              <a:gd name="connsiteY20993" fmla="*/ 3934784 h 7458372"/>
              <a:gd name="connsiteX20994" fmla="*/ 465637 w 10505529"/>
              <a:gd name="connsiteY20994" fmla="*/ 3933852 h 7458372"/>
              <a:gd name="connsiteX20995" fmla="*/ 247995 w 10505529"/>
              <a:gd name="connsiteY20995" fmla="*/ 3933852 h 7458372"/>
              <a:gd name="connsiteX20996" fmla="*/ 238012 w 10505529"/>
              <a:gd name="connsiteY20996" fmla="*/ 3937447 h 7458372"/>
              <a:gd name="connsiteX20997" fmla="*/ 234419 w 10505529"/>
              <a:gd name="connsiteY20997" fmla="*/ 3946897 h 7458372"/>
              <a:gd name="connsiteX20998" fmla="*/ 238012 w 10505529"/>
              <a:gd name="connsiteY20998" fmla="*/ 3956349 h 7458372"/>
              <a:gd name="connsiteX20999" fmla="*/ 247995 w 10505529"/>
              <a:gd name="connsiteY20999" fmla="*/ 3959810 h 7458372"/>
              <a:gd name="connsiteX21000" fmla="*/ 253320 w 10505529"/>
              <a:gd name="connsiteY21000" fmla="*/ 3959011 h 7458372"/>
              <a:gd name="connsiteX21001" fmla="*/ 257046 w 10505529"/>
              <a:gd name="connsiteY21001" fmla="*/ 3956615 h 7458372"/>
              <a:gd name="connsiteX21002" fmla="*/ 259710 w 10505529"/>
              <a:gd name="connsiteY21002" fmla="*/ 3952355 h 7458372"/>
              <a:gd name="connsiteX21003" fmla="*/ 260775 w 10505529"/>
              <a:gd name="connsiteY21003" fmla="*/ 3946897 h 7458372"/>
              <a:gd name="connsiteX21004" fmla="*/ 259710 w 10505529"/>
              <a:gd name="connsiteY21004" fmla="*/ 3941706 h 7458372"/>
              <a:gd name="connsiteX21005" fmla="*/ 257046 w 10505529"/>
              <a:gd name="connsiteY21005" fmla="*/ 3937447 h 7458372"/>
              <a:gd name="connsiteX21006" fmla="*/ 253054 w 10505529"/>
              <a:gd name="connsiteY21006" fmla="*/ 3934784 h 7458372"/>
              <a:gd name="connsiteX21007" fmla="*/ 247995 w 10505529"/>
              <a:gd name="connsiteY21007" fmla="*/ 3933852 h 7458372"/>
              <a:gd name="connsiteX21008" fmla="*/ 30352 w 10505529"/>
              <a:gd name="connsiteY21008" fmla="*/ 3933852 h 7458372"/>
              <a:gd name="connsiteX21009" fmla="*/ 20369 w 10505529"/>
              <a:gd name="connsiteY21009" fmla="*/ 3937447 h 7458372"/>
              <a:gd name="connsiteX21010" fmla="*/ 16776 w 10505529"/>
              <a:gd name="connsiteY21010" fmla="*/ 3946897 h 7458372"/>
              <a:gd name="connsiteX21011" fmla="*/ 20369 w 10505529"/>
              <a:gd name="connsiteY21011" fmla="*/ 3956349 h 7458372"/>
              <a:gd name="connsiteX21012" fmla="*/ 30352 w 10505529"/>
              <a:gd name="connsiteY21012" fmla="*/ 3959810 h 7458372"/>
              <a:gd name="connsiteX21013" fmla="*/ 35677 w 10505529"/>
              <a:gd name="connsiteY21013" fmla="*/ 3959011 h 7458372"/>
              <a:gd name="connsiteX21014" fmla="*/ 39405 w 10505529"/>
              <a:gd name="connsiteY21014" fmla="*/ 3956615 h 7458372"/>
              <a:gd name="connsiteX21015" fmla="*/ 42068 w 10505529"/>
              <a:gd name="connsiteY21015" fmla="*/ 3952355 h 7458372"/>
              <a:gd name="connsiteX21016" fmla="*/ 42999 w 10505529"/>
              <a:gd name="connsiteY21016" fmla="*/ 3946897 h 7458372"/>
              <a:gd name="connsiteX21017" fmla="*/ 42068 w 10505529"/>
              <a:gd name="connsiteY21017" fmla="*/ 3941706 h 7458372"/>
              <a:gd name="connsiteX21018" fmla="*/ 39405 w 10505529"/>
              <a:gd name="connsiteY21018" fmla="*/ 3937447 h 7458372"/>
              <a:gd name="connsiteX21019" fmla="*/ 35412 w 10505529"/>
              <a:gd name="connsiteY21019" fmla="*/ 3934784 h 7458372"/>
              <a:gd name="connsiteX21020" fmla="*/ 30352 w 10505529"/>
              <a:gd name="connsiteY21020" fmla="*/ 3933852 h 7458372"/>
              <a:gd name="connsiteX21021" fmla="*/ 10475977 w 10505529"/>
              <a:gd name="connsiteY21021" fmla="*/ 3917212 h 7458372"/>
              <a:gd name="connsiteX21022" fmla="*/ 10487824 w 10505529"/>
              <a:gd name="connsiteY21022" fmla="*/ 3919741 h 7458372"/>
              <a:gd name="connsiteX21023" fmla="*/ 10497143 w 10505529"/>
              <a:gd name="connsiteY21023" fmla="*/ 3926131 h 7458372"/>
              <a:gd name="connsiteX21024" fmla="*/ 10503266 w 10505529"/>
              <a:gd name="connsiteY21024" fmla="*/ 3935582 h 7458372"/>
              <a:gd name="connsiteX21025" fmla="*/ 10505529 w 10505529"/>
              <a:gd name="connsiteY21025" fmla="*/ 3947031 h 7458372"/>
              <a:gd name="connsiteX21026" fmla="*/ 10503266 w 10505529"/>
              <a:gd name="connsiteY21026" fmla="*/ 3958745 h 7458372"/>
              <a:gd name="connsiteX21027" fmla="*/ 10497143 w 10505529"/>
              <a:gd name="connsiteY21027" fmla="*/ 3968064 h 7458372"/>
              <a:gd name="connsiteX21028" fmla="*/ 10487824 w 10505529"/>
              <a:gd name="connsiteY21028" fmla="*/ 3974320 h 7458372"/>
              <a:gd name="connsiteX21029" fmla="*/ 10475977 w 10505529"/>
              <a:gd name="connsiteY21029" fmla="*/ 3976583 h 7458372"/>
              <a:gd name="connsiteX21030" fmla="*/ 10454145 w 10505529"/>
              <a:gd name="connsiteY21030" fmla="*/ 3968064 h 7458372"/>
              <a:gd name="connsiteX21031" fmla="*/ 10445759 w 10505529"/>
              <a:gd name="connsiteY21031" fmla="*/ 3946897 h 7458372"/>
              <a:gd name="connsiteX21032" fmla="*/ 10454145 w 10505529"/>
              <a:gd name="connsiteY21032" fmla="*/ 3925864 h 7458372"/>
              <a:gd name="connsiteX21033" fmla="*/ 10475977 w 10505529"/>
              <a:gd name="connsiteY21033" fmla="*/ 3917212 h 7458372"/>
              <a:gd name="connsiteX21034" fmla="*/ 10258466 w 10505529"/>
              <a:gd name="connsiteY21034" fmla="*/ 3917212 h 7458372"/>
              <a:gd name="connsiteX21035" fmla="*/ 10270313 w 10505529"/>
              <a:gd name="connsiteY21035" fmla="*/ 3919741 h 7458372"/>
              <a:gd name="connsiteX21036" fmla="*/ 10279631 w 10505529"/>
              <a:gd name="connsiteY21036" fmla="*/ 3926131 h 7458372"/>
              <a:gd name="connsiteX21037" fmla="*/ 10285754 w 10505529"/>
              <a:gd name="connsiteY21037" fmla="*/ 3935582 h 7458372"/>
              <a:gd name="connsiteX21038" fmla="*/ 10288017 w 10505529"/>
              <a:gd name="connsiteY21038" fmla="*/ 3947031 h 7458372"/>
              <a:gd name="connsiteX21039" fmla="*/ 10285754 w 10505529"/>
              <a:gd name="connsiteY21039" fmla="*/ 3958745 h 7458372"/>
              <a:gd name="connsiteX21040" fmla="*/ 10279631 w 10505529"/>
              <a:gd name="connsiteY21040" fmla="*/ 3968064 h 7458372"/>
              <a:gd name="connsiteX21041" fmla="*/ 10270313 w 10505529"/>
              <a:gd name="connsiteY21041" fmla="*/ 3974320 h 7458372"/>
              <a:gd name="connsiteX21042" fmla="*/ 10258466 w 10505529"/>
              <a:gd name="connsiteY21042" fmla="*/ 3976583 h 7458372"/>
              <a:gd name="connsiteX21043" fmla="*/ 10236633 w 10505529"/>
              <a:gd name="connsiteY21043" fmla="*/ 3968064 h 7458372"/>
              <a:gd name="connsiteX21044" fmla="*/ 10228247 w 10505529"/>
              <a:gd name="connsiteY21044" fmla="*/ 3946897 h 7458372"/>
              <a:gd name="connsiteX21045" fmla="*/ 10236633 w 10505529"/>
              <a:gd name="connsiteY21045" fmla="*/ 3925864 h 7458372"/>
              <a:gd name="connsiteX21046" fmla="*/ 10258466 w 10505529"/>
              <a:gd name="connsiteY21046" fmla="*/ 3917212 h 7458372"/>
              <a:gd name="connsiteX21047" fmla="*/ 10040820 w 10505529"/>
              <a:gd name="connsiteY21047" fmla="*/ 3917212 h 7458372"/>
              <a:gd name="connsiteX21048" fmla="*/ 10052534 w 10505529"/>
              <a:gd name="connsiteY21048" fmla="*/ 3919741 h 7458372"/>
              <a:gd name="connsiteX21049" fmla="*/ 10061852 w 10505529"/>
              <a:gd name="connsiteY21049" fmla="*/ 3926131 h 7458372"/>
              <a:gd name="connsiteX21050" fmla="*/ 10067976 w 10505529"/>
              <a:gd name="connsiteY21050" fmla="*/ 3935582 h 7458372"/>
              <a:gd name="connsiteX21051" fmla="*/ 10070239 w 10505529"/>
              <a:gd name="connsiteY21051" fmla="*/ 3947031 h 7458372"/>
              <a:gd name="connsiteX21052" fmla="*/ 10067976 w 10505529"/>
              <a:gd name="connsiteY21052" fmla="*/ 3958745 h 7458372"/>
              <a:gd name="connsiteX21053" fmla="*/ 10061852 w 10505529"/>
              <a:gd name="connsiteY21053" fmla="*/ 3968064 h 7458372"/>
              <a:gd name="connsiteX21054" fmla="*/ 10052534 w 10505529"/>
              <a:gd name="connsiteY21054" fmla="*/ 3974320 h 7458372"/>
              <a:gd name="connsiteX21055" fmla="*/ 10040820 w 10505529"/>
              <a:gd name="connsiteY21055" fmla="*/ 3976583 h 7458372"/>
              <a:gd name="connsiteX21056" fmla="*/ 10018988 w 10505529"/>
              <a:gd name="connsiteY21056" fmla="*/ 3968064 h 7458372"/>
              <a:gd name="connsiteX21057" fmla="*/ 10010602 w 10505529"/>
              <a:gd name="connsiteY21057" fmla="*/ 3946897 h 7458372"/>
              <a:gd name="connsiteX21058" fmla="*/ 10018988 w 10505529"/>
              <a:gd name="connsiteY21058" fmla="*/ 3925864 h 7458372"/>
              <a:gd name="connsiteX21059" fmla="*/ 10040820 w 10505529"/>
              <a:gd name="connsiteY21059" fmla="*/ 3917212 h 7458372"/>
              <a:gd name="connsiteX21060" fmla="*/ 9823176 w 10505529"/>
              <a:gd name="connsiteY21060" fmla="*/ 3917212 h 7458372"/>
              <a:gd name="connsiteX21061" fmla="*/ 9834890 w 10505529"/>
              <a:gd name="connsiteY21061" fmla="*/ 3919741 h 7458372"/>
              <a:gd name="connsiteX21062" fmla="*/ 9844208 w 10505529"/>
              <a:gd name="connsiteY21062" fmla="*/ 3926131 h 7458372"/>
              <a:gd name="connsiteX21063" fmla="*/ 9850331 w 10505529"/>
              <a:gd name="connsiteY21063" fmla="*/ 3935582 h 7458372"/>
              <a:gd name="connsiteX21064" fmla="*/ 9852595 w 10505529"/>
              <a:gd name="connsiteY21064" fmla="*/ 3947031 h 7458372"/>
              <a:gd name="connsiteX21065" fmla="*/ 9850331 w 10505529"/>
              <a:gd name="connsiteY21065" fmla="*/ 3958745 h 7458372"/>
              <a:gd name="connsiteX21066" fmla="*/ 9844208 w 10505529"/>
              <a:gd name="connsiteY21066" fmla="*/ 3968064 h 7458372"/>
              <a:gd name="connsiteX21067" fmla="*/ 9834890 w 10505529"/>
              <a:gd name="connsiteY21067" fmla="*/ 3974320 h 7458372"/>
              <a:gd name="connsiteX21068" fmla="*/ 9823176 w 10505529"/>
              <a:gd name="connsiteY21068" fmla="*/ 3976583 h 7458372"/>
              <a:gd name="connsiteX21069" fmla="*/ 9801343 w 10505529"/>
              <a:gd name="connsiteY21069" fmla="*/ 3968064 h 7458372"/>
              <a:gd name="connsiteX21070" fmla="*/ 9792957 w 10505529"/>
              <a:gd name="connsiteY21070" fmla="*/ 3946897 h 7458372"/>
              <a:gd name="connsiteX21071" fmla="*/ 9801343 w 10505529"/>
              <a:gd name="connsiteY21071" fmla="*/ 3925864 h 7458372"/>
              <a:gd name="connsiteX21072" fmla="*/ 9823176 w 10505529"/>
              <a:gd name="connsiteY21072" fmla="*/ 3917212 h 7458372"/>
              <a:gd name="connsiteX21073" fmla="*/ 9605531 w 10505529"/>
              <a:gd name="connsiteY21073" fmla="*/ 3917212 h 7458372"/>
              <a:gd name="connsiteX21074" fmla="*/ 9617245 w 10505529"/>
              <a:gd name="connsiteY21074" fmla="*/ 3919741 h 7458372"/>
              <a:gd name="connsiteX21075" fmla="*/ 9626562 w 10505529"/>
              <a:gd name="connsiteY21075" fmla="*/ 3926131 h 7458372"/>
              <a:gd name="connsiteX21076" fmla="*/ 9632686 w 10505529"/>
              <a:gd name="connsiteY21076" fmla="*/ 3935582 h 7458372"/>
              <a:gd name="connsiteX21077" fmla="*/ 9634949 w 10505529"/>
              <a:gd name="connsiteY21077" fmla="*/ 3947031 h 7458372"/>
              <a:gd name="connsiteX21078" fmla="*/ 9632686 w 10505529"/>
              <a:gd name="connsiteY21078" fmla="*/ 3958745 h 7458372"/>
              <a:gd name="connsiteX21079" fmla="*/ 9626562 w 10505529"/>
              <a:gd name="connsiteY21079" fmla="*/ 3968064 h 7458372"/>
              <a:gd name="connsiteX21080" fmla="*/ 9617245 w 10505529"/>
              <a:gd name="connsiteY21080" fmla="*/ 3974320 h 7458372"/>
              <a:gd name="connsiteX21081" fmla="*/ 9605531 w 10505529"/>
              <a:gd name="connsiteY21081" fmla="*/ 3976583 h 7458372"/>
              <a:gd name="connsiteX21082" fmla="*/ 9583698 w 10505529"/>
              <a:gd name="connsiteY21082" fmla="*/ 3968064 h 7458372"/>
              <a:gd name="connsiteX21083" fmla="*/ 9575312 w 10505529"/>
              <a:gd name="connsiteY21083" fmla="*/ 3946897 h 7458372"/>
              <a:gd name="connsiteX21084" fmla="*/ 9583698 w 10505529"/>
              <a:gd name="connsiteY21084" fmla="*/ 3925864 h 7458372"/>
              <a:gd name="connsiteX21085" fmla="*/ 9605531 w 10505529"/>
              <a:gd name="connsiteY21085" fmla="*/ 3917212 h 7458372"/>
              <a:gd name="connsiteX21086" fmla="*/ 9387885 w 10505529"/>
              <a:gd name="connsiteY21086" fmla="*/ 3917212 h 7458372"/>
              <a:gd name="connsiteX21087" fmla="*/ 9399599 w 10505529"/>
              <a:gd name="connsiteY21087" fmla="*/ 3919741 h 7458372"/>
              <a:gd name="connsiteX21088" fmla="*/ 9408917 w 10505529"/>
              <a:gd name="connsiteY21088" fmla="*/ 3926131 h 7458372"/>
              <a:gd name="connsiteX21089" fmla="*/ 9415041 w 10505529"/>
              <a:gd name="connsiteY21089" fmla="*/ 3935582 h 7458372"/>
              <a:gd name="connsiteX21090" fmla="*/ 9417304 w 10505529"/>
              <a:gd name="connsiteY21090" fmla="*/ 3947031 h 7458372"/>
              <a:gd name="connsiteX21091" fmla="*/ 9415041 w 10505529"/>
              <a:gd name="connsiteY21091" fmla="*/ 3958745 h 7458372"/>
              <a:gd name="connsiteX21092" fmla="*/ 9408917 w 10505529"/>
              <a:gd name="connsiteY21092" fmla="*/ 3968064 h 7458372"/>
              <a:gd name="connsiteX21093" fmla="*/ 9399599 w 10505529"/>
              <a:gd name="connsiteY21093" fmla="*/ 3974320 h 7458372"/>
              <a:gd name="connsiteX21094" fmla="*/ 9387885 w 10505529"/>
              <a:gd name="connsiteY21094" fmla="*/ 3976583 h 7458372"/>
              <a:gd name="connsiteX21095" fmla="*/ 9366053 w 10505529"/>
              <a:gd name="connsiteY21095" fmla="*/ 3968064 h 7458372"/>
              <a:gd name="connsiteX21096" fmla="*/ 9357667 w 10505529"/>
              <a:gd name="connsiteY21096" fmla="*/ 3946897 h 7458372"/>
              <a:gd name="connsiteX21097" fmla="*/ 9366053 w 10505529"/>
              <a:gd name="connsiteY21097" fmla="*/ 3925864 h 7458372"/>
              <a:gd name="connsiteX21098" fmla="*/ 9387885 w 10505529"/>
              <a:gd name="connsiteY21098" fmla="*/ 3917212 h 7458372"/>
              <a:gd name="connsiteX21099" fmla="*/ 9170374 w 10505529"/>
              <a:gd name="connsiteY21099" fmla="*/ 3917212 h 7458372"/>
              <a:gd name="connsiteX21100" fmla="*/ 9182088 w 10505529"/>
              <a:gd name="connsiteY21100" fmla="*/ 3919741 h 7458372"/>
              <a:gd name="connsiteX21101" fmla="*/ 9191405 w 10505529"/>
              <a:gd name="connsiteY21101" fmla="*/ 3926131 h 7458372"/>
              <a:gd name="connsiteX21102" fmla="*/ 9197529 w 10505529"/>
              <a:gd name="connsiteY21102" fmla="*/ 3935582 h 7458372"/>
              <a:gd name="connsiteX21103" fmla="*/ 9199792 w 10505529"/>
              <a:gd name="connsiteY21103" fmla="*/ 3947031 h 7458372"/>
              <a:gd name="connsiteX21104" fmla="*/ 9197529 w 10505529"/>
              <a:gd name="connsiteY21104" fmla="*/ 3958745 h 7458372"/>
              <a:gd name="connsiteX21105" fmla="*/ 9191405 w 10505529"/>
              <a:gd name="connsiteY21105" fmla="*/ 3968064 h 7458372"/>
              <a:gd name="connsiteX21106" fmla="*/ 9182088 w 10505529"/>
              <a:gd name="connsiteY21106" fmla="*/ 3974320 h 7458372"/>
              <a:gd name="connsiteX21107" fmla="*/ 9170374 w 10505529"/>
              <a:gd name="connsiteY21107" fmla="*/ 3976583 h 7458372"/>
              <a:gd name="connsiteX21108" fmla="*/ 9148541 w 10505529"/>
              <a:gd name="connsiteY21108" fmla="*/ 3968064 h 7458372"/>
              <a:gd name="connsiteX21109" fmla="*/ 9140155 w 10505529"/>
              <a:gd name="connsiteY21109" fmla="*/ 3946897 h 7458372"/>
              <a:gd name="connsiteX21110" fmla="*/ 9148541 w 10505529"/>
              <a:gd name="connsiteY21110" fmla="*/ 3925864 h 7458372"/>
              <a:gd name="connsiteX21111" fmla="*/ 9170374 w 10505529"/>
              <a:gd name="connsiteY21111" fmla="*/ 3917212 h 7458372"/>
              <a:gd name="connsiteX21112" fmla="*/ 8952728 w 10505529"/>
              <a:gd name="connsiteY21112" fmla="*/ 3917212 h 7458372"/>
              <a:gd name="connsiteX21113" fmla="*/ 8964442 w 10505529"/>
              <a:gd name="connsiteY21113" fmla="*/ 3919741 h 7458372"/>
              <a:gd name="connsiteX21114" fmla="*/ 8973760 w 10505529"/>
              <a:gd name="connsiteY21114" fmla="*/ 3926131 h 7458372"/>
              <a:gd name="connsiteX21115" fmla="*/ 8979884 w 10505529"/>
              <a:gd name="connsiteY21115" fmla="*/ 3935582 h 7458372"/>
              <a:gd name="connsiteX21116" fmla="*/ 8982147 w 10505529"/>
              <a:gd name="connsiteY21116" fmla="*/ 3947031 h 7458372"/>
              <a:gd name="connsiteX21117" fmla="*/ 8979884 w 10505529"/>
              <a:gd name="connsiteY21117" fmla="*/ 3958745 h 7458372"/>
              <a:gd name="connsiteX21118" fmla="*/ 8973760 w 10505529"/>
              <a:gd name="connsiteY21118" fmla="*/ 3968064 h 7458372"/>
              <a:gd name="connsiteX21119" fmla="*/ 8964442 w 10505529"/>
              <a:gd name="connsiteY21119" fmla="*/ 3974320 h 7458372"/>
              <a:gd name="connsiteX21120" fmla="*/ 8952728 w 10505529"/>
              <a:gd name="connsiteY21120" fmla="*/ 3976583 h 7458372"/>
              <a:gd name="connsiteX21121" fmla="*/ 8930896 w 10505529"/>
              <a:gd name="connsiteY21121" fmla="*/ 3968064 h 7458372"/>
              <a:gd name="connsiteX21122" fmla="*/ 8922510 w 10505529"/>
              <a:gd name="connsiteY21122" fmla="*/ 3946897 h 7458372"/>
              <a:gd name="connsiteX21123" fmla="*/ 8930896 w 10505529"/>
              <a:gd name="connsiteY21123" fmla="*/ 3925864 h 7458372"/>
              <a:gd name="connsiteX21124" fmla="*/ 8952728 w 10505529"/>
              <a:gd name="connsiteY21124" fmla="*/ 3917212 h 7458372"/>
              <a:gd name="connsiteX21125" fmla="*/ 8735083 w 10505529"/>
              <a:gd name="connsiteY21125" fmla="*/ 3917212 h 7458372"/>
              <a:gd name="connsiteX21126" fmla="*/ 8746797 w 10505529"/>
              <a:gd name="connsiteY21126" fmla="*/ 3919741 h 7458372"/>
              <a:gd name="connsiteX21127" fmla="*/ 8756115 w 10505529"/>
              <a:gd name="connsiteY21127" fmla="*/ 3926131 h 7458372"/>
              <a:gd name="connsiteX21128" fmla="*/ 8762238 w 10505529"/>
              <a:gd name="connsiteY21128" fmla="*/ 3935582 h 7458372"/>
              <a:gd name="connsiteX21129" fmla="*/ 8764502 w 10505529"/>
              <a:gd name="connsiteY21129" fmla="*/ 3947031 h 7458372"/>
              <a:gd name="connsiteX21130" fmla="*/ 8762238 w 10505529"/>
              <a:gd name="connsiteY21130" fmla="*/ 3958745 h 7458372"/>
              <a:gd name="connsiteX21131" fmla="*/ 8756115 w 10505529"/>
              <a:gd name="connsiteY21131" fmla="*/ 3968064 h 7458372"/>
              <a:gd name="connsiteX21132" fmla="*/ 8746797 w 10505529"/>
              <a:gd name="connsiteY21132" fmla="*/ 3974320 h 7458372"/>
              <a:gd name="connsiteX21133" fmla="*/ 8735083 w 10505529"/>
              <a:gd name="connsiteY21133" fmla="*/ 3976583 h 7458372"/>
              <a:gd name="connsiteX21134" fmla="*/ 8713250 w 10505529"/>
              <a:gd name="connsiteY21134" fmla="*/ 3968064 h 7458372"/>
              <a:gd name="connsiteX21135" fmla="*/ 8704864 w 10505529"/>
              <a:gd name="connsiteY21135" fmla="*/ 3946897 h 7458372"/>
              <a:gd name="connsiteX21136" fmla="*/ 8713250 w 10505529"/>
              <a:gd name="connsiteY21136" fmla="*/ 3925864 h 7458372"/>
              <a:gd name="connsiteX21137" fmla="*/ 8735083 w 10505529"/>
              <a:gd name="connsiteY21137" fmla="*/ 3917212 h 7458372"/>
              <a:gd name="connsiteX21138" fmla="*/ 8517438 w 10505529"/>
              <a:gd name="connsiteY21138" fmla="*/ 3917212 h 7458372"/>
              <a:gd name="connsiteX21139" fmla="*/ 8529152 w 10505529"/>
              <a:gd name="connsiteY21139" fmla="*/ 3919741 h 7458372"/>
              <a:gd name="connsiteX21140" fmla="*/ 8538470 w 10505529"/>
              <a:gd name="connsiteY21140" fmla="*/ 3926131 h 7458372"/>
              <a:gd name="connsiteX21141" fmla="*/ 8544594 w 10505529"/>
              <a:gd name="connsiteY21141" fmla="*/ 3935582 h 7458372"/>
              <a:gd name="connsiteX21142" fmla="*/ 8546857 w 10505529"/>
              <a:gd name="connsiteY21142" fmla="*/ 3947031 h 7458372"/>
              <a:gd name="connsiteX21143" fmla="*/ 8544594 w 10505529"/>
              <a:gd name="connsiteY21143" fmla="*/ 3958745 h 7458372"/>
              <a:gd name="connsiteX21144" fmla="*/ 8538470 w 10505529"/>
              <a:gd name="connsiteY21144" fmla="*/ 3968064 h 7458372"/>
              <a:gd name="connsiteX21145" fmla="*/ 8529152 w 10505529"/>
              <a:gd name="connsiteY21145" fmla="*/ 3974320 h 7458372"/>
              <a:gd name="connsiteX21146" fmla="*/ 8517438 w 10505529"/>
              <a:gd name="connsiteY21146" fmla="*/ 3976583 h 7458372"/>
              <a:gd name="connsiteX21147" fmla="*/ 8495606 w 10505529"/>
              <a:gd name="connsiteY21147" fmla="*/ 3968064 h 7458372"/>
              <a:gd name="connsiteX21148" fmla="*/ 8487220 w 10505529"/>
              <a:gd name="connsiteY21148" fmla="*/ 3946897 h 7458372"/>
              <a:gd name="connsiteX21149" fmla="*/ 8495606 w 10505529"/>
              <a:gd name="connsiteY21149" fmla="*/ 3925864 h 7458372"/>
              <a:gd name="connsiteX21150" fmla="*/ 8517438 w 10505529"/>
              <a:gd name="connsiteY21150" fmla="*/ 3917212 h 7458372"/>
              <a:gd name="connsiteX21151" fmla="*/ 8299793 w 10505529"/>
              <a:gd name="connsiteY21151" fmla="*/ 3917212 h 7458372"/>
              <a:gd name="connsiteX21152" fmla="*/ 8311507 w 10505529"/>
              <a:gd name="connsiteY21152" fmla="*/ 3919741 h 7458372"/>
              <a:gd name="connsiteX21153" fmla="*/ 8320825 w 10505529"/>
              <a:gd name="connsiteY21153" fmla="*/ 3926131 h 7458372"/>
              <a:gd name="connsiteX21154" fmla="*/ 8326948 w 10505529"/>
              <a:gd name="connsiteY21154" fmla="*/ 3935582 h 7458372"/>
              <a:gd name="connsiteX21155" fmla="*/ 8329212 w 10505529"/>
              <a:gd name="connsiteY21155" fmla="*/ 3947031 h 7458372"/>
              <a:gd name="connsiteX21156" fmla="*/ 8326948 w 10505529"/>
              <a:gd name="connsiteY21156" fmla="*/ 3958745 h 7458372"/>
              <a:gd name="connsiteX21157" fmla="*/ 8320825 w 10505529"/>
              <a:gd name="connsiteY21157" fmla="*/ 3968064 h 7458372"/>
              <a:gd name="connsiteX21158" fmla="*/ 8311507 w 10505529"/>
              <a:gd name="connsiteY21158" fmla="*/ 3974320 h 7458372"/>
              <a:gd name="connsiteX21159" fmla="*/ 8299793 w 10505529"/>
              <a:gd name="connsiteY21159" fmla="*/ 3976583 h 7458372"/>
              <a:gd name="connsiteX21160" fmla="*/ 8277960 w 10505529"/>
              <a:gd name="connsiteY21160" fmla="*/ 3968064 h 7458372"/>
              <a:gd name="connsiteX21161" fmla="*/ 8269574 w 10505529"/>
              <a:gd name="connsiteY21161" fmla="*/ 3946897 h 7458372"/>
              <a:gd name="connsiteX21162" fmla="*/ 8277960 w 10505529"/>
              <a:gd name="connsiteY21162" fmla="*/ 3925864 h 7458372"/>
              <a:gd name="connsiteX21163" fmla="*/ 8299793 w 10505529"/>
              <a:gd name="connsiteY21163" fmla="*/ 3917212 h 7458372"/>
              <a:gd name="connsiteX21164" fmla="*/ 8082281 w 10505529"/>
              <a:gd name="connsiteY21164" fmla="*/ 3917212 h 7458372"/>
              <a:gd name="connsiteX21165" fmla="*/ 8094127 w 10505529"/>
              <a:gd name="connsiteY21165" fmla="*/ 3919741 h 7458372"/>
              <a:gd name="connsiteX21166" fmla="*/ 8103446 w 10505529"/>
              <a:gd name="connsiteY21166" fmla="*/ 3926131 h 7458372"/>
              <a:gd name="connsiteX21167" fmla="*/ 8109569 w 10505529"/>
              <a:gd name="connsiteY21167" fmla="*/ 3935582 h 7458372"/>
              <a:gd name="connsiteX21168" fmla="*/ 8111832 w 10505529"/>
              <a:gd name="connsiteY21168" fmla="*/ 3947031 h 7458372"/>
              <a:gd name="connsiteX21169" fmla="*/ 8109569 w 10505529"/>
              <a:gd name="connsiteY21169" fmla="*/ 3958745 h 7458372"/>
              <a:gd name="connsiteX21170" fmla="*/ 8103446 w 10505529"/>
              <a:gd name="connsiteY21170" fmla="*/ 3968064 h 7458372"/>
              <a:gd name="connsiteX21171" fmla="*/ 8094127 w 10505529"/>
              <a:gd name="connsiteY21171" fmla="*/ 3974320 h 7458372"/>
              <a:gd name="connsiteX21172" fmla="*/ 8082281 w 10505529"/>
              <a:gd name="connsiteY21172" fmla="*/ 3976583 h 7458372"/>
              <a:gd name="connsiteX21173" fmla="*/ 8060448 w 10505529"/>
              <a:gd name="connsiteY21173" fmla="*/ 3968064 h 7458372"/>
              <a:gd name="connsiteX21174" fmla="*/ 8052062 w 10505529"/>
              <a:gd name="connsiteY21174" fmla="*/ 3946897 h 7458372"/>
              <a:gd name="connsiteX21175" fmla="*/ 8060448 w 10505529"/>
              <a:gd name="connsiteY21175" fmla="*/ 3925864 h 7458372"/>
              <a:gd name="connsiteX21176" fmla="*/ 8082281 w 10505529"/>
              <a:gd name="connsiteY21176" fmla="*/ 3917212 h 7458372"/>
              <a:gd name="connsiteX21177" fmla="*/ 7864636 w 10505529"/>
              <a:gd name="connsiteY21177" fmla="*/ 3917212 h 7458372"/>
              <a:gd name="connsiteX21178" fmla="*/ 7876483 w 10505529"/>
              <a:gd name="connsiteY21178" fmla="*/ 3919741 h 7458372"/>
              <a:gd name="connsiteX21179" fmla="*/ 7885802 w 10505529"/>
              <a:gd name="connsiteY21179" fmla="*/ 3926131 h 7458372"/>
              <a:gd name="connsiteX21180" fmla="*/ 7891924 w 10505529"/>
              <a:gd name="connsiteY21180" fmla="*/ 3935582 h 7458372"/>
              <a:gd name="connsiteX21181" fmla="*/ 7894188 w 10505529"/>
              <a:gd name="connsiteY21181" fmla="*/ 3947031 h 7458372"/>
              <a:gd name="connsiteX21182" fmla="*/ 7891924 w 10505529"/>
              <a:gd name="connsiteY21182" fmla="*/ 3958745 h 7458372"/>
              <a:gd name="connsiteX21183" fmla="*/ 7885802 w 10505529"/>
              <a:gd name="connsiteY21183" fmla="*/ 3968064 h 7458372"/>
              <a:gd name="connsiteX21184" fmla="*/ 7876483 w 10505529"/>
              <a:gd name="connsiteY21184" fmla="*/ 3974320 h 7458372"/>
              <a:gd name="connsiteX21185" fmla="*/ 7864636 w 10505529"/>
              <a:gd name="connsiteY21185" fmla="*/ 3976583 h 7458372"/>
              <a:gd name="connsiteX21186" fmla="*/ 7842803 w 10505529"/>
              <a:gd name="connsiteY21186" fmla="*/ 3968064 h 7458372"/>
              <a:gd name="connsiteX21187" fmla="*/ 7834417 w 10505529"/>
              <a:gd name="connsiteY21187" fmla="*/ 3946897 h 7458372"/>
              <a:gd name="connsiteX21188" fmla="*/ 7842803 w 10505529"/>
              <a:gd name="connsiteY21188" fmla="*/ 3925864 h 7458372"/>
              <a:gd name="connsiteX21189" fmla="*/ 7864636 w 10505529"/>
              <a:gd name="connsiteY21189" fmla="*/ 3917212 h 7458372"/>
              <a:gd name="connsiteX21190" fmla="*/ 7646991 w 10505529"/>
              <a:gd name="connsiteY21190" fmla="*/ 3917212 h 7458372"/>
              <a:gd name="connsiteX21191" fmla="*/ 7658705 w 10505529"/>
              <a:gd name="connsiteY21191" fmla="*/ 3919741 h 7458372"/>
              <a:gd name="connsiteX21192" fmla="*/ 7668022 w 10505529"/>
              <a:gd name="connsiteY21192" fmla="*/ 3926131 h 7458372"/>
              <a:gd name="connsiteX21193" fmla="*/ 7674146 w 10505529"/>
              <a:gd name="connsiteY21193" fmla="*/ 3935582 h 7458372"/>
              <a:gd name="connsiteX21194" fmla="*/ 7676409 w 10505529"/>
              <a:gd name="connsiteY21194" fmla="*/ 3947031 h 7458372"/>
              <a:gd name="connsiteX21195" fmla="*/ 7674146 w 10505529"/>
              <a:gd name="connsiteY21195" fmla="*/ 3958745 h 7458372"/>
              <a:gd name="connsiteX21196" fmla="*/ 7668022 w 10505529"/>
              <a:gd name="connsiteY21196" fmla="*/ 3968064 h 7458372"/>
              <a:gd name="connsiteX21197" fmla="*/ 7658705 w 10505529"/>
              <a:gd name="connsiteY21197" fmla="*/ 3974320 h 7458372"/>
              <a:gd name="connsiteX21198" fmla="*/ 7646991 w 10505529"/>
              <a:gd name="connsiteY21198" fmla="*/ 3976583 h 7458372"/>
              <a:gd name="connsiteX21199" fmla="*/ 7625158 w 10505529"/>
              <a:gd name="connsiteY21199" fmla="*/ 3968064 h 7458372"/>
              <a:gd name="connsiteX21200" fmla="*/ 7616772 w 10505529"/>
              <a:gd name="connsiteY21200" fmla="*/ 3946897 h 7458372"/>
              <a:gd name="connsiteX21201" fmla="*/ 7625158 w 10505529"/>
              <a:gd name="connsiteY21201" fmla="*/ 3925864 h 7458372"/>
              <a:gd name="connsiteX21202" fmla="*/ 7646991 w 10505529"/>
              <a:gd name="connsiteY21202" fmla="*/ 3917212 h 7458372"/>
              <a:gd name="connsiteX21203" fmla="*/ 7429345 w 10505529"/>
              <a:gd name="connsiteY21203" fmla="*/ 3917212 h 7458372"/>
              <a:gd name="connsiteX21204" fmla="*/ 7441059 w 10505529"/>
              <a:gd name="connsiteY21204" fmla="*/ 3919741 h 7458372"/>
              <a:gd name="connsiteX21205" fmla="*/ 7450377 w 10505529"/>
              <a:gd name="connsiteY21205" fmla="*/ 3926131 h 7458372"/>
              <a:gd name="connsiteX21206" fmla="*/ 7456501 w 10505529"/>
              <a:gd name="connsiteY21206" fmla="*/ 3935582 h 7458372"/>
              <a:gd name="connsiteX21207" fmla="*/ 7458764 w 10505529"/>
              <a:gd name="connsiteY21207" fmla="*/ 3947031 h 7458372"/>
              <a:gd name="connsiteX21208" fmla="*/ 7456501 w 10505529"/>
              <a:gd name="connsiteY21208" fmla="*/ 3958745 h 7458372"/>
              <a:gd name="connsiteX21209" fmla="*/ 7450377 w 10505529"/>
              <a:gd name="connsiteY21209" fmla="*/ 3968064 h 7458372"/>
              <a:gd name="connsiteX21210" fmla="*/ 7441059 w 10505529"/>
              <a:gd name="connsiteY21210" fmla="*/ 3974320 h 7458372"/>
              <a:gd name="connsiteX21211" fmla="*/ 7429345 w 10505529"/>
              <a:gd name="connsiteY21211" fmla="*/ 3976583 h 7458372"/>
              <a:gd name="connsiteX21212" fmla="*/ 7407513 w 10505529"/>
              <a:gd name="connsiteY21212" fmla="*/ 3968064 h 7458372"/>
              <a:gd name="connsiteX21213" fmla="*/ 7399127 w 10505529"/>
              <a:gd name="connsiteY21213" fmla="*/ 3946897 h 7458372"/>
              <a:gd name="connsiteX21214" fmla="*/ 7407513 w 10505529"/>
              <a:gd name="connsiteY21214" fmla="*/ 3925864 h 7458372"/>
              <a:gd name="connsiteX21215" fmla="*/ 7429345 w 10505529"/>
              <a:gd name="connsiteY21215" fmla="*/ 3917212 h 7458372"/>
              <a:gd name="connsiteX21216" fmla="*/ 7211701 w 10505529"/>
              <a:gd name="connsiteY21216" fmla="*/ 3917212 h 7458372"/>
              <a:gd name="connsiteX21217" fmla="*/ 7223415 w 10505529"/>
              <a:gd name="connsiteY21217" fmla="*/ 3919741 h 7458372"/>
              <a:gd name="connsiteX21218" fmla="*/ 7232733 w 10505529"/>
              <a:gd name="connsiteY21218" fmla="*/ 3926131 h 7458372"/>
              <a:gd name="connsiteX21219" fmla="*/ 7238856 w 10505529"/>
              <a:gd name="connsiteY21219" fmla="*/ 3935582 h 7458372"/>
              <a:gd name="connsiteX21220" fmla="*/ 7241120 w 10505529"/>
              <a:gd name="connsiteY21220" fmla="*/ 3947031 h 7458372"/>
              <a:gd name="connsiteX21221" fmla="*/ 7238856 w 10505529"/>
              <a:gd name="connsiteY21221" fmla="*/ 3958745 h 7458372"/>
              <a:gd name="connsiteX21222" fmla="*/ 7232733 w 10505529"/>
              <a:gd name="connsiteY21222" fmla="*/ 3968064 h 7458372"/>
              <a:gd name="connsiteX21223" fmla="*/ 7223415 w 10505529"/>
              <a:gd name="connsiteY21223" fmla="*/ 3974320 h 7458372"/>
              <a:gd name="connsiteX21224" fmla="*/ 7211701 w 10505529"/>
              <a:gd name="connsiteY21224" fmla="*/ 3976583 h 7458372"/>
              <a:gd name="connsiteX21225" fmla="*/ 7189868 w 10505529"/>
              <a:gd name="connsiteY21225" fmla="*/ 3968064 h 7458372"/>
              <a:gd name="connsiteX21226" fmla="*/ 7181482 w 10505529"/>
              <a:gd name="connsiteY21226" fmla="*/ 3946897 h 7458372"/>
              <a:gd name="connsiteX21227" fmla="*/ 7189868 w 10505529"/>
              <a:gd name="connsiteY21227" fmla="*/ 3925864 h 7458372"/>
              <a:gd name="connsiteX21228" fmla="*/ 7211701 w 10505529"/>
              <a:gd name="connsiteY21228" fmla="*/ 3917212 h 7458372"/>
              <a:gd name="connsiteX21229" fmla="*/ 6994056 w 10505529"/>
              <a:gd name="connsiteY21229" fmla="*/ 3917212 h 7458372"/>
              <a:gd name="connsiteX21230" fmla="*/ 7005769 w 10505529"/>
              <a:gd name="connsiteY21230" fmla="*/ 3919741 h 7458372"/>
              <a:gd name="connsiteX21231" fmla="*/ 7015087 w 10505529"/>
              <a:gd name="connsiteY21231" fmla="*/ 3926131 h 7458372"/>
              <a:gd name="connsiteX21232" fmla="*/ 7021211 w 10505529"/>
              <a:gd name="connsiteY21232" fmla="*/ 3935582 h 7458372"/>
              <a:gd name="connsiteX21233" fmla="*/ 7023474 w 10505529"/>
              <a:gd name="connsiteY21233" fmla="*/ 3947031 h 7458372"/>
              <a:gd name="connsiteX21234" fmla="*/ 7021211 w 10505529"/>
              <a:gd name="connsiteY21234" fmla="*/ 3958745 h 7458372"/>
              <a:gd name="connsiteX21235" fmla="*/ 7015087 w 10505529"/>
              <a:gd name="connsiteY21235" fmla="*/ 3968064 h 7458372"/>
              <a:gd name="connsiteX21236" fmla="*/ 7005769 w 10505529"/>
              <a:gd name="connsiteY21236" fmla="*/ 3974320 h 7458372"/>
              <a:gd name="connsiteX21237" fmla="*/ 6994056 w 10505529"/>
              <a:gd name="connsiteY21237" fmla="*/ 3976583 h 7458372"/>
              <a:gd name="connsiteX21238" fmla="*/ 6972223 w 10505529"/>
              <a:gd name="connsiteY21238" fmla="*/ 3968064 h 7458372"/>
              <a:gd name="connsiteX21239" fmla="*/ 6963837 w 10505529"/>
              <a:gd name="connsiteY21239" fmla="*/ 3946897 h 7458372"/>
              <a:gd name="connsiteX21240" fmla="*/ 6972223 w 10505529"/>
              <a:gd name="connsiteY21240" fmla="*/ 3925864 h 7458372"/>
              <a:gd name="connsiteX21241" fmla="*/ 6994056 w 10505529"/>
              <a:gd name="connsiteY21241" fmla="*/ 3917212 h 7458372"/>
              <a:gd name="connsiteX21242" fmla="*/ 6776544 w 10505529"/>
              <a:gd name="connsiteY21242" fmla="*/ 3917212 h 7458372"/>
              <a:gd name="connsiteX21243" fmla="*/ 6788258 w 10505529"/>
              <a:gd name="connsiteY21243" fmla="*/ 3919741 h 7458372"/>
              <a:gd name="connsiteX21244" fmla="*/ 6797576 w 10505529"/>
              <a:gd name="connsiteY21244" fmla="*/ 3926131 h 7458372"/>
              <a:gd name="connsiteX21245" fmla="*/ 6803699 w 10505529"/>
              <a:gd name="connsiteY21245" fmla="*/ 3935582 h 7458372"/>
              <a:gd name="connsiteX21246" fmla="*/ 6805963 w 10505529"/>
              <a:gd name="connsiteY21246" fmla="*/ 3947031 h 7458372"/>
              <a:gd name="connsiteX21247" fmla="*/ 6803699 w 10505529"/>
              <a:gd name="connsiteY21247" fmla="*/ 3958745 h 7458372"/>
              <a:gd name="connsiteX21248" fmla="*/ 6797576 w 10505529"/>
              <a:gd name="connsiteY21248" fmla="*/ 3968064 h 7458372"/>
              <a:gd name="connsiteX21249" fmla="*/ 6788258 w 10505529"/>
              <a:gd name="connsiteY21249" fmla="*/ 3974320 h 7458372"/>
              <a:gd name="connsiteX21250" fmla="*/ 6776544 w 10505529"/>
              <a:gd name="connsiteY21250" fmla="*/ 3976583 h 7458372"/>
              <a:gd name="connsiteX21251" fmla="*/ 6754711 w 10505529"/>
              <a:gd name="connsiteY21251" fmla="*/ 3968064 h 7458372"/>
              <a:gd name="connsiteX21252" fmla="*/ 6746325 w 10505529"/>
              <a:gd name="connsiteY21252" fmla="*/ 3946897 h 7458372"/>
              <a:gd name="connsiteX21253" fmla="*/ 6754711 w 10505529"/>
              <a:gd name="connsiteY21253" fmla="*/ 3925864 h 7458372"/>
              <a:gd name="connsiteX21254" fmla="*/ 6776544 w 10505529"/>
              <a:gd name="connsiteY21254" fmla="*/ 3917212 h 7458372"/>
              <a:gd name="connsiteX21255" fmla="*/ 6558899 w 10505529"/>
              <a:gd name="connsiteY21255" fmla="*/ 3917212 h 7458372"/>
              <a:gd name="connsiteX21256" fmla="*/ 6570612 w 10505529"/>
              <a:gd name="connsiteY21256" fmla="*/ 3919741 h 7458372"/>
              <a:gd name="connsiteX21257" fmla="*/ 6579930 w 10505529"/>
              <a:gd name="connsiteY21257" fmla="*/ 3926131 h 7458372"/>
              <a:gd name="connsiteX21258" fmla="*/ 6586054 w 10505529"/>
              <a:gd name="connsiteY21258" fmla="*/ 3935582 h 7458372"/>
              <a:gd name="connsiteX21259" fmla="*/ 6588317 w 10505529"/>
              <a:gd name="connsiteY21259" fmla="*/ 3947031 h 7458372"/>
              <a:gd name="connsiteX21260" fmla="*/ 6586054 w 10505529"/>
              <a:gd name="connsiteY21260" fmla="*/ 3958745 h 7458372"/>
              <a:gd name="connsiteX21261" fmla="*/ 6579930 w 10505529"/>
              <a:gd name="connsiteY21261" fmla="*/ 3968064 h 7458372"/>
              <a:gd name="connsiteX21262" fmla="*/ 6570612 w 10505529"/>
              <a:gd name="connsiteY21262" fmla="*/ 3974320 h 7458372"/>
              <a:gd name="connsiteX21263" fmla="*/ 6558899 w 10505529"/>
              <a:gd name="connsiteY21263" fmla="*/ 3976583 h 7458372"/>
              <a:gd name="connsiteX21264" fmla="*/ 6537066 w 10505529"/>
              <a:gd name="connsiteY21264" fmla="*/ 3968064 h 7458372"/>
              <a:gd name="connsiteX21265" fmla="*/ 6528680 w 10505529"/>
              <a:gd name="connsiteY21265" fmla="*/ 3946897 h 7458372"/>
              <a:gd name="connsiteX21266" fmla="*/ 6537066 w 10505529"/>
              <a:gd name="connsiteY21266" fmla="*/ 3925864 h 7458372"/>
              <a:gd name="connsiteX21267" fmla="*/ 6558899 w 10505529"/>
              <a:gd name="connsiteY21267" fmla="*/ 3917212 h 7458372"/>
              <a:gd name="connsiteX21268" fmla="*/ 6341253 w 10505529"/>
              <a:gd name="connsiteY21268" fmla="*/ 3917212 h 7458372"/>
              <a:gd name="connsiteX21269" fmla="*/ 6352968 w 10505529"/>
              <a:gd name="connsiteY21269" fmla="*/ 3919741 h 7458372"/>
              <a:gd name="connsiteX21270" fmla="*/ 6362286 w 10505529"/>
              <a:gd name="connsiteY21270" fmla="*/ 3926131 h 7458372"/>
              <a:gd name="connsiteX21271" fmla="*/ 6368409 w 10505529"/>
              <a:gd name="connsiteY21271" fmla="*/ 3935582 h 7458372"/>
              <a:gd name="connsiteX21272" fmla="*/ 6370672 w 10505529"/>
              <a:gd name="connsiteY21272" fmla="*/ 3947031 h 7458372"/>
              <a:gd name="connsiteX21273" fmla="*/ 6368409 w 10505529"/>
              <a:gd name="connsiteY21273" fmla="*/ 3958745 h 7458372"/>
              <a:gd name="connsiteX21274" fmla="*/ 6362286 w 10505529"/>
              <a:gd name="connsiteY21274" fmla="*/ 3968064 h 7458372"/>
              <a:gd name="connsiteX21275" fmla="*/ 6352968 w 10505529"/>
              <a:gd name="connsiteY21275" fmla="*/ 3974320 h 7458372"/>
              <a:gd name="connsiteX21276" fmla="*/ 6341253 w 10505529"/>
              <a:gd name="connsiteY21276" fmla="*/ 3976583 h 7458372"/>
              <a:gd name="connsiteX21277" fmla="*/ 6319421 w 10505529"/>
              <a:gd name="connsiteY21277" fmla="*/ 3968064 h 7458372"/>
              <a:gd name="connsiteX21278" fmla="*/ 6311035 w 10505529"/>
              <a:gd name="connsiteY21278" fmla="*/ 3946897 h 7458372"/>
              <a:gd name="connsiteX21279" fmla="*/ 6319421 w 10505529"/>
              <a:gd name="connsiteY21279" fmla="*/ 3925864 h 7458372"/>
              <a:gd name="connsiteX21280" fmla="*/ 6341253 w 10505529"/>
              <a:gd name="connsiteY21280" fmla="*/ 3917212 h 7458372"/>
              <a:gd name="connsiteX21281" fmla="*/ 6123608 w 10505529"/>
              <a:gd name="connsiteY21281" fmla="*/ 3917212 h 7458372"/>
              <a:gd name="connsiteX21282" fmla="*/ 6135322 w 10505529"/>
              <a:gd name="connsiteY21282" fmla="*/ 3919741 h 7458372"/>
              <a:gd name="connsiteX21283" fmla="*/ 6144640 w 10505529"/>
              <a:gd name="connsiteY21283" fmla="*/ 3926131 h 7458372"/>
              <a:gd name="connsiteX21284" fmla="*/ 6150763 w 10505529"/>
              <a:gd name="connsiteY21284" fmla="*/ 3935582 h 7458372"/>
              <a:gd name="connsiteX21285" fmla="*/ 6153026 w 10505529"/>
              <a:gd name="connsiteY21285" fmla="*/ 3947031 h 7458372"/>
              <a:gd name="connsiteX21286" fmla="*/ 6150763 w 10505529"/>
              <a:gd name="connsiteY21286" fmla="*/ 3958745 h 7458372"/>
              <a:gd name="connsiteX21287" fmla="*/ 6144640 w 10505529"/>
              <a:gd name="connsiteY21287" fmla="*/ 3968064 h 7458372"/>
              <a:gd name="connsiteX21288" fmla="*/ 6135322 w 10505529"/>
              <a:gd name="connsiteY21288" fmla="*/ 3974320 h 7458372"/>
              <a:gd name="connsiteX21289" fmla="*/ 6123608 w 10505529"/>
              <a:gd name="connsiteY21289" fmla="*/ 3976583 h 7458372"/>
              <a:gd name="connsiteX21290" fmla="*/ 6101775 w 10505529"/>
              <a:gd name="connsiteY21290" fmla="*/ 3968064 h 7458372"/>
              <a:gd name="connsiteX21291" fmla="*/ 6093389 w 10505529"/>
              <a:gd name="connsiteY21291" fmla="*/ 3946897 h 7458372"/>
              <a:gd name="connsiteX21292" fmla="*/ 6101775 w 10505529"/>
              <a:gd name="connsiteY21292" fmla="*/ 3925864 h 7458372"/>
              <a:gd name="connsiteX21293" fmla="*/ 6123608 w 10505529"/>
              <a:gd name="connsiteY21293" fmla="*/ 3917212 h 7458372"/>
              <a:gd name="connsiteX21294" fmla="*/ 5905963 w 10505529"/>
              <a:gd name="connsiteY21294" fmla="*/ 3917212 h 7458372"/>
              <a:gd name="connsiteX21295" fmla="*/ 5917677 w 10505529"/>
              <a:gd name="connsiteY21295" fmla="*/ 3919741 h 7458372"/>
              <a:gd name="connsiteX21296" fmla="*/ 5926995 w 10505529"/>
              <a:gd name="connsiteY21296" fmla="*/ 3926131 h 7458372"/>
              <a:gd name="connsiteX21297" fmla="*/ 5933118 w 10505529"/>
              <a:gd name="connsiteY21297" fmla="*/ 3935582 h 7458372"/>
              <a:gd name="connsiteX21298" fmla="*/ 5935381 w 10505529"/>
              <a:gd name="connsiteY21298" fmla="*/ 3947031 h 7458372"/>
              <a:gd name="connsiteX21299" fmla="*/ 5933118 w 10505529"/>
              <a:gd name="connsiteY21299" fmla="*/ 3958745 h 7458372"/>
              <a:gd name="connsiteX21300" fmla="*/ 5926995 w 10505529"/>
              <a:gd name="connsiteY21300" fmla="*/ 3968064 h 7458372"/>
              <a:gd name="connsiteX21301" fmla="*/ 5917677 w 10505529"/>
              <a:gd name="connsiteY21301" fmla="*/ 3974320 h 7458372"/>
              <a:gd name="connsiteX21302" fmla="*/ 5905963 w 10505529"/>
              <a:gd name="connsiteY21302" fmla="*/ 3976583 h 7458372"/>
              <a:gd name="connsiteX21303" fmla="*/ 5884130 w 10505529"/>
              <a:gd name="connsiteY21303" fmla="*/ 3968064 h 7458372"/>
              <a:gd name="connsiteX21304" fmla="*/ 5875744 w 10505529"/>
              <a:gd name="connsiteY21304" fmla="*/ 3946897 h 7458372"/>
              <a:gd name="connsiteX21305" fmla="*/ 5884130 w 10505529"/>
              <a:gd name="connsiteY21305" fmla="*/ 3925864 h 7458372"/>
              <a:gd name="connsiteX21306" fmla="*/ 5905963 w 10505529"/>
              <a:gd name="connsiteY21306" fmla="*/ 3917212 h 7458372"/>
              <a:gd name="connsiteX21307" fmla="*/ 5688451 w 10505529"/>
              <a:gd name="connsiteY21307" fmla="*/ 3917212 h 7458372"/>
              <a:gd name="connsiteX21308" fmla="*/ 5700165 w 10505529"/>
              <a:gd name="connsiteY21308" fmla="*/ 3919741 h 7458372"/>
              <a:gd name="connsiteX21309" fmla="*/ 5709483 w 10505529"/>
              <a:gd name="connsiteY21309" fmla="*/ 3926131 h 7458372"/>
              <a:gd name="connsiteX21310" fmla="*/ 5715606 w 10505529"/>
              <a:gd name="connsiteY21310" fmla="*/ 3935582 h 7458372"/>
              <a:gd name="connsiteX21311" fmla="*/ 5717869 w 10505529"/>
              <a:gd name="connsiteY21311" fmla="*/ 3947031 h 7458372"/>
              <a:gd name="connsiteX21312" fmla="*/ 5715606 w 10505529"/>
              <a:gd name="connsiteY21312" fmla="*/ 3958745 h 7458372"/>
              <a:gd name="connsiteX21313" fmla="*/ 5709483 w 10505529"/>
              <a:gd name="connsiteY21313" fmla="*/ 3968064 h 7458372"/>
              <a:gd name="connsiteX21314" fmla="*/ 5700165 w 10505529"/>
              <a:gd name="connsiteY21314" fmla="*/ 3974320 h 7458372"/>
              <a:gd name="connsiteX21315" fmla="*/ 5688451 w 10505529"/>
              <a:gd name="connsiteY21315" fmla="*/ 3976583 h 7458372"/>
              <a:gd name="connsiteX21316" fmla="*/ 5666618 w 10505529"/>
              <a:gd name="connsiteY21316" fmla="*/ 3968064 h 7458372"/>
              <a:gd name="connsiteX21317" fmla="*/ 5658232 w 10505529"/>
              <a:gd name="connsiteY21317" fmla="*/ 3946897 h 7458372"/>
              <a:gd name="connsiteX21318" fmla="*/ 5666618 w 10505529"/>
              <a:gd name="connsiteY21318" fmla="*/ 3925864 h 7458372"/>
              <a:gd name="connsiteX21319" fmla="*/ 5688451 w 10505529"/>
              <a:gd name="connsiteY21319" fmla="*/ 3917212 h 7458372"/>
              <a:gd name="connsiteX21320" fmla="*/ 5470806 w 10505529"/>
              <a:gd name="connsiteY21320" fmla="*/ 3917212 h 7458372"/>
              <a:gd name="connsiteX21321" fmla="*/ 5482520 w 10505529"/>
              <a:gd name="connsiteY21321" fmla="*/ 3919741 h 7458372"/>
              <a:gd name="connsiteX21322" fmla="*/ 5491838 w 10505529"/>
              <a:gd name="connsiteY21322" fmla="*/ 3926131 h 7458372"/>
              <a:gd name="connsiteX21323" fmla="*/ 5497961 w 10505529"/>
              <a:gd name="connsiteY21323" fmla="*/ 3935582 h 7458372"/>
              <a:gd name="connsiteX21324" fmla="*/ 5500224 w 10505529"/>
              <a:gd name="connsiteY21324" fmla="*/ 3947031 h 7458372"/>
              <a:gd name="connsiteX21325" fmla="*/ 5497961 w 10505529"/>
              <a:gd name="connsiteY21325" fmla="*/ 3958745 h 7458372"/>
              <a:gd name="connsiteX21326" fmla="*/ 5491838 w 10505529"/>
              <a:gd name="connsiteY21326" fmla="*/ 3968064 h 7458372"/>
              <a:gd name="connsiteX21327" fmla="*/ 5482520 w 10505529"/>
              <a:gd name="connsiteY21327" fmla="*/ 3974320 h 7458372"/>
              <a:gd name="connsiteX21328" fmla="*/ 5470806 w 10505529"/>
              <a:gd name="connsiteY21328" fmla="*/ 3976583 h 7458372"/>
              <a:gd name="connsiteX21329" fmla="*/ 5448973 w 10505529"/>
              <a:gd name="connsiteY21329" fmla="*/ 3968064 h 7458372"/>
              <a:gd name="connsiteX21330" fmla="*/ 5440587 w 10505529"/>
              <a:gd name="connsiteY21330" fmla="*/ 3946897 h 7458372"/>
              <a:gd name="connsiteX21331" fmla="*/ 5448973 w 10505529"/>
              <a:gd name="connsiteY21331" fmla="*/ 3925864 h 7458372"/>
              <a:gd name="connsiteX21332" fmla="*/ 5470806 w 10505529"/>
              <a:gd name="connsiteY21332" fmla="*/ 3917212 h 7458372"/>
              <a:gd name="connsiteX21333" fmla="*/ 5253160 w 10505529"/>
              <a:gd name="connsiteY21333" fmla="*/ 3917212 h 7458372"/>
              <a:gd name="connsiteX21334" fmla="*/ 5264875 w 10505529"/>
              <a:gd name="connsiteY21334" fmla="*/ 3919741 h 7458372"/>
              <a:gd name="connsiteX21335" fmla="*/ 5274192 w 10505529"/>
              <a:gd name="connsiteY21335" fmla="*/ 3926131 h 7458372"/>
              <a:gd name="connsiteX21336" fmla="*/ 5280316 w 10505529"/>
              <a:gd name="connsiteY21336" fmla="*/ 3935582 h 7458372"/>
              <a:gd name="connsiteX21337" fmla="*/ 5282579 w 10505529"/>
              <a:gd name="connsiteY21337" fmla="*/ 3947031 h 7458372"/>
              <a:gd name="connsiteX21338" fmla="*/ 5280316 w 10505529"/>
              <a:gd name="connsiteY21338" fmla="*/ 3958745 h 7458372"/>
              <a:gd name="connsiteX21339" fmla="*/ 5274192 w 10505529"/>
              <a:gd name="connsiteY21339" fmla="*/ 3968064 h 7458372"/>
              <a:gd name="connsiteX21340" fmla="*/ 5264875 w 10505529"/>
              <a:gd name="connsiteY21340" fmla="*/ 3974320 h 7458372"/>
              <a:gd name="connsiteX21341" fmla="*/ 5253160 w 10505529"/>
              <a:gd name="connsiteY21341" fmla="*/ 3976583 h 7458372"/>
              <a:gd name="connsiteX21342" fmla="*/ 5231328 w 10505529"/>
              <a:gd name="connsiteY21342" fmla="*/ 3968064 h 7458372"/>
              <a:gd name="connsiteX21343" fmla="*/ 5222942 w 10505529"/>
              <a:gd name="connsiteY21343" fmla="*/ 3946897 h 7458372"/>
              <a:gd name="connsiteX21344" fmla="*/ 5231328 w 10505529"/>
              <a:gd name="connsiteY21344" fmla="*/ 3925864 h 7458372"/>
              <a:gd name="connsiteX21345" fmla="*/ 5253160 w 10505529"/>
              <a:gd name="connsiteY21345" fmla="*/ 3917212 h 7458372"/>
              <a:gd name="connsiteX21346" fmla="*/ 5035515 w 10505529"/>
              <a:gd name="connsiteY21346" fmla="*/ 3917212 h 7458372"/>
              <a:gd name="connsiteX21347" fmla="*/ 5047230 w 10505529"/>
              <a:gd name="connsiteY21347" fmla="*/ 3919741 h 7458372"/>
              <a:gd name="connsiteX21348" fmla="*/ 5056548 w 10505529"/>
              <a:gd name="connsiteY21348" fmla="*/ 3926131 h 7458372"/>
              <a:gd name="connsiteX21349" fmla="*/ 5062671 w 10505529"/>
              <a:gd name="connsiteY21349" fmla="*/ 3935582 h 7458372"/>
              <a:gd name="connsiteX21350" fmla="*/ 5064934 w 10505529"/>
              <a:gd name="connsiteY21350" fmla="*/ 3947031 h 7458372"/>
              <a:gd name="connsiteX21351" fmla="*/ 5062671 w 10505529"/>
              <a:gd name="connsiteY21351" fmla="*/ 3958745 h 7458372"/>
              <a:gd name="connsiteX21352" fmla="*/ 5056548 w 10505529"/>
              <a:gd name="connsiteY21352" fmla="*/ 3968064 h 7458372"/>
              <a:gd name="connsiteX21353" fmla="*/ 5047230 w 10505529"/>
              <a:gd name="connsiteY21353" fmla="*/ 3974320 h 7458372"/>
              <a:gd name="connsiteX21354" fmla="*/ 5035515 w 10505529"/>
              <a:gd name="connsiteY21354" fmla="*/ 3976583 h 7458372"/>
              <a:gd name="connsiteX21355" fmla="*/ 5013683 w 10505529"/>
              <a:gd name="connsiteY21355" fmla="*/ 3968064 h 7458372"/>
              <a:gd name="connsiteX21356" fmla="*/ 5005297 w 10505529"/>
              <a:gd name="connsiteY21356" fmla="*/ 3946897 h 7458372"/>
              <a:gd name="connsiteX21357" fmla="*/ 5013683 w 10505529"/>
              <a:gd name="connsiteY21357" fmla="*/ 3925864 h 7458372"/>
              <a:gd name="connsiteX21358" fmla="*/ 5035515 w 10505529"/>
              <a:gd name="connsiteY21358" fmla="*/ 3917212 h 7458372"/>
              <a:gd name="connsiteX21359" fmla="*/ 4817870 w 10505529"/>
              <a:gd name="connsiteY21359" fmla="*/ 3917212 h 7458372"/>
              <a:gd name="connsiteX21360" fmla="*/ 4829585 w 10505529"/>
              <a:gd name="connsiteY21360" fmla="*/ 3919741 h 7458372"/>
              <a:gd name="connsiteX21361" fmla="*/ 4838903 w 10505529"/>
              <a:gd name="connsiteY21361" fmla="*/ 3926131 h 7458372"/>
              <a:gd name="connsiteX21362" fmla="*/ 4845026 w 10505529"/>
              <a:gd name="connsiteY21362" fmla="*/ 3935582 h 7458372"/>
              <a:gd name="connsiteX21363" fmla="*/ 4847289 w 10505529"/>
              <a:gd name="connsiteY21363" fmla="*/ 3947031 h 7458372"/>
              <a:gd name="connsiteX21364" fmla="*/ 4845026 w 10505529"/>
              <a:gd name="connsiteY21364" fmla="*/ 3958745 h 7458372"/>
              <a:gd name="connsiteX21365" fmla="*/ 4838903 w 10505529"/>
              <a:gd name="connsiteY21365" fmla="*/ 3968064 h 7458372"/>
              <a:gd name="connsiteX21366" fmla="*/ 4829585 w 10505529"/>
              <a:gd name="connsiteY21366" fmla="*/ 3974320 h 7458372"/>
              <a:gd name="connsiteX21367" fmla="*/ 4817870 w 10505529"/>
              <a:gd name="connsiteY21367" fmla="*/ 3976583 h 7458372"/>
              <a:gd name="connsiteX21368" fmla="*/ 4796038 w 10505529"/>
              <a:gd name="connsiteY21368" fmla="*/ 3968064 h 7458372"/>
              <a:gd name="connsiteX21369" fmla="*/ 4787652 w 10505529"/>
              <a:gd name="connsiteY21369" fmla="*/ 3946897 h 7458372"/>
              <a:gd name="connsiteX21370" fmla="*/ 4796038 w 10505529"/>
              <a:gd name="connsiteY21370" fmla="*/ 3925864 h 7458372"/>
              <a:gd name="connsiteX21371" fmla="*/ 4817870 w 10505529"/>
              <a:gd name="connsiteY21371" fmla="*/ 3917212 h 7458372"/>
              <a:gd name="connsiteX21372" fmla="*/ 4600226 w 10505529"/>
              <a:gd name="connsiteY21372" fmla="*/ 3917212 h 7458372"/>
              <a:gd name="connsiteX21373" fmla="*/ 4612073 w 10505529"/>
              <a:gd name="connsiteY21373" fmla="*/ 3919741 h 7458372"/>
              <a:gd name="connsiteX21374" fmla="*/ 4621391 w 10505529"/>
              <a:gd name="connsiteY21374" fmla="*/ 3926131 h 7458372"/>
              <a:gd name="connsiteX21375" fmla="*/ 4627514 w 10505529"/>
              <a:gd name="connsiteY21375" fmla="*/ 3935582 h 7458372"/>
              <a:gd name="connsiteX21376" fmla="*/ 4629777 w 10505529"/>
              <a:gd name="connsiteY21376" fmla="*/ 3947031 h 7458372"/>
              <a:gd name="connsiteX21377" fmla="*/ 4627514 w 10505529"/>
              <a:gd name="connsiteY21377" fmla="*/ 3958745 h 7458372"/>
              <a:gd name="connsiteX21378" fmla="*/ 4621391 w 10505529"/>
              <a:gd name="connsiteY21378" fmla="*/ 3968064 h 7458372"/>
              <a:gd name="connsiteX21379" fmla="*/ 4612073 w 10505529"/>
              <a:gd name="connsiteY21379" fmla="*/ 3974320 h 7458372"/>
              <a:gd name="connsiteX21380" fmla="*/ 4600226 w 10505529"/>
              <a:gd name="connsiteY21380" fmla="*/ 3976583 h 7458372"/>
              <a:gd name="connsiteX21381" fmla="*/ 4578393 w 10505529"/>
              <a:gd name="connsiteY21381" fmla="*/ 3968064 h 7458372"/>
              <a:gd name="connsiteX21382" fmla="*/ 4570007 w 10505529"/>
              <a:gd name="connsiteY21382" fmla="*/ 3946897 h 7458372"/>
              <a:gd name="connsiteX21383" fmla="*/ 4578393 w 10505529"/>
              <a:gd name="connsiteY21383" fmla="*/ 3925864 h 7458372"/>
              <a:gd name="connsiteX21384" fmla="*/ 4600226 w 10505529"/>
              <a:gd name="connsiteY21384" fmla="*/ 3917212 h 7458372"/>
              <a:gd name="connsiteX21385" fmla="*/ 4382713 w 10505529"/>
              <a:gd name="connsiteY21385" fmla="*/ 3917212 h 7458372"/>
              <a:gd name="connsiteX21386" fmla="*/ 4394428 w 10505529"/>
              <a:gd name="connsiteY21386" fmla="*/ 3919741 h 7458372"/>
              <a:gd name="connsiteX21387" fmla="*/ 4403746 w 10505529"/>
              <a:gd name="connsiteY21387" fmla="*/ 3926131 h 7458372"/>
              <a:gd name="connsiteX21388" fmla="*/ 4409869 w 10505529"/>
              <a:gd name="connsiteY21388" fmla="*/ 3935582 h 7458372"/>
              <a:gd name="connsiteX21389" fmla="*/ 4412132 w 10505529"/>
              <a:gd name="connsiteY21389" fmla="*/ 3947031 h 7458372"/>
              <a:gd name="connsiteX21390" fmla="*/ 4409869 w 10505529"/>
              <a:gd name="connsiteY21390" fmla="*/ 3958745 h 7458372"/>
              <a:gd name="connsiteX21391" fmla="*/ 4403746 w 10505529"/>
              <a:gd name="connsiteY21391" fmla="*/ 3968064 h 7458372"/>
              <a:gd name="connsiteX21392" fmla="*/ 4394428 w 10505529"/>
              <a:gd name="connsiteY21392" fmla="*/ 3974320 h 7458372"/>
              <a:gd name="connsiteX21393" fmla="*/ 4382713 w 10505529"/>
              <a:gd name="connsiteY21393" fmla="*/ 3976583 h 7458372"/>
              <a:gd name="connsiteX21394" fmla="*/ 4360881 w 10505529"/>
              <a:gd name="connsiteY21394" fmla="*/ 3968064 h 7458372"/>
              <a:gd name="connsiteX21395" fmla="*/ 4352495 w 10505529"/>
              <a:gd name="connsiteY21395" fmla="*/ 3946897 h 7458372"/>
              <a:gd name="connsiteX21396" fmla="*/ 4360881 w 10505529"/>
              <a:gd name="connsiteY21396" fmla="*/ 3925864 h 7458372"/>
              <a:gd name="connsiteX21397" fmla="*/ 4382713 w 10505529"/>
              <a:gd name="connsiteY21397" fmla="*/ 3917212 h 7458372"/>
              <a:gd name="connsiteX21398" fmla="*/ 4165068 w 10505529"/>
              <a:gd name="connsiteY21398" fmla="*/ 3917212 h 7458372"/>
              <a:gd name="connsiteX21399" fmla="*/ 4176782 w 10505529"/>
              <a:gd name="connsiteY21399" fmla="*/ 3919741 h 7458372"/>
              <a:gd name="connsiteX21400" fmla="*/ 4186100 w 10505529"/>
              <a:gd name="connsiteY21400" fmla="*/ 3926131 h 7458372"/>
              <a:gd name="connsiteX21401" fmla="*/ 4192223 w 10505529"/>
              <a:gd name="connsiteY21401" fmla="*/ 3935582 h 7458372"/>
              <a:gd name="connsiteX21402" fmla="*/ 4194486 w 10505529"/>
              <a:gd name="connsiteY21402" fmla="*/ 3947031 h 7458372"/>
              <a:gd name="connsiteX21403" fmla="*/ 4192223 w 10505529"/>
              <a:gd name="connsiteY21403" fmla="*/ 3958745 h 7458372"/>
              <a:gd name="connsiteX21404" fmla="*/ 4186100 w 10505529"/>
              <a:gd name="connsiteY21404" fmla="*/ 3968064 h 7458372"/>
              <a:gd name="connsiteX21405" fmla="*/ 4176782 w 10505529"/>
              <a:gd name="connsiteY21405" fmla="*/ 3974320 h 7458372"/>
              <a:gd name="connsiteX21406" fmla="*/ 4165068 w 10505529"/>
              <a:gd name="connsiteY21406" fmla="*/ 3976583 h 7458372"/>
              <a:gd name="connsiteX21407" fmla="*/ 4143235 w 10505529"/>
              <a:gd name="connsiteY21407" fmla="*/ 3968064 h 7458372"/>
              <a:gd name="connsiteX21408" fmla="*/ 4134849 w 10505529"/>
              <a:gd name="connsiteY21408" fmla="*/ 3946897 h 7458372"/>
              <a:gd name="connsiteX21409" fmla="*/ 4143235 w 10505529"/>
              <a:gd name="connsiteY21409" fmla="*/ 3925864 h 7458372"/>
              <a:gd name="connsiteX21410" fmla="*/ 4165068 w 10505529"/>
              <a:gd name="connsiteY21410" fmla="*/ 3917212 h 7458372"/>
              <a:gd name="connsiteX21411" fmla="*/ 3947640 w 10505529"/>
              <a:gd name="connsiteY21411" fmla="*/ 3917212 h 7458372"/>
              <a:gd name="connsiteX21412" fmla="*/ 3959356 w 10505529"/>
              <a:gd name="connsiteY21412" fmla="*/ 3919741 h 7458372"/>
              <a:gd name="connsiteX21413" fmla="*/ 3968674 w 10505529"/>
              <a:gd name="connsiteY21413" fmla="*/ 3926131 h 7458372"/>
              <a:gd name="connsiteX21414" fmla="*/ 3974798 w 10505529"/>
              <a:gd name="connsiteY21414" fmla="*/ 3935582 h 7458372"/>
              <a:gd name="connsiteX21415" fmla="*/ 3977062 w 10505529"/>
              <a:gd name="connsiteY21415" fmla="*/ 3947031 h 7458372"/>
              <a:gd name="connsiteX21416" fmla="*/ 3974798 w 10505529"/>
              <a:gd name="connsiteY21416" fmla="*/ 3958745 h 7458372"/>
              <a:gd name="connsiteX21417" fmla="*/ 3968674 w 10505529"/>
              <a:gd name="connsiteY21417" fmla="*/ 3968064 h 7458372"/>
              <a:gd name="connsiteX21418" fmla="*/ 3959356 w 10505529"/>
              <a:gd name="connsiteY21418" fmla="*/ 3974320 h 7458372"/>
              <a:gd name="connsiteX21419" fmla="*/ 3947640 w 10505529"/>
              <a:gd name="connsiteY21419" fmla="*/ 3976583 h 7458372"/>
              <a:gd name="connsiteX21420" fmla="*/ 3925807 w 10505529"/>
              <a:gd name="connsiteY21420" fmla="*/ 3968064 h 7458372"/>
              <a:gd name="connsiteX21421" fmla="*/ 3917421 w 10505529"/>
              <a:gd name="connsiteY21421" fmla="*/ 3946897 h 7458372"/>
              <a:gd name="connsiteX21422" fmla="*/ 3925807 w 10505529"/>
              <a:gd name="connsiteY21422" fmla="*/ 3925864 h 7458372"/>
              <a:gd name="connsiteX21423" fmla="*/ 3947640 w 10505529"/>
              <a:gd name="connsiteY21423" fmla="*/ 3917212 h 7458372"/>
              <a:gd name="connsiteX21424" fmla="*/ 3729984 w 10505529"/>
              <a:gd name="connsiteY21424" fmla="*/ 3917212 h 7458372"/>
              <a:gd name="connsiteX21425" fmla="*/ 3741700 w 10505529"/>
              <a:gd name="connsiteY21425" fmla="*/ 3919741 h 7458372"/>
              <a:gd name="connsiteX21426" fmla="*/ 3751018 w 10505529"/>
              <a:gd name="connsiteY21426" fmla="*/ 3926131 h 7458372"/>
              <a:gd name="connsiteX21427" fmla="*/ 3757141 w 10505529"/>
              <a:gd name="connsiteY21427" fmla="*/ 3935582 h 7458372"/>
              <a:gd name="connsiteX21428" fmla="*/ 3759404 w 10505529"/>
              <a:gd name="connsiteY21428" fmla="*/ 3947031 h 7458372"/>
              <a:gd name="connsiteX21429" fmla="*/ 3757141 w 10505529"/>
              <a:gd name="connsiteY21429" fmla="*/ 3958745 h 7458372"/>
              <a:gd name="connsiteX21430" fmla="*/ 3751018 w 10505529"/>
              <a:gd name="connsiteY21430" fmla="*/ 3968064 h 7458372"/>
              <a:gd name="connsiteX21431" fmla="*/ 3741700 w 10505529"/>
              <a:gd name="connsiteY21431" fmla="*/ 3974320 h 7458372"/>
              <a:gd name="connsiteX21432" fmla="*/ 3729984 w 10505529"/>
              <a:gd name="connsiteY21432" fmla="*/ 3976583 h 7458372"/>
              <a:gd name="connsiteX21433" fmla="*/ 3708147 w 10505529"/>
              <a:gd name="connsiteY21433" fmla="*/ 3968064 h 7458372"/>
              <a:gd name="connsiteX21434" fmla="*/ 3699761 w 10505529"/>
              <a:gd name="connsiteY21434" fmla="*/ 3946897 h 7458372"/>
              <a:gd name="connsiteX21435" fmla="*/ 3708147 w 10505529"/>
              <a:gd name="connsiteY21435" fmla="*/ 3925864 h 7458372"/>
              <a:gd name="connsiteX21436" fmla="*/ 3729984 w 10505529"/>
              <a:gd name="connsiteY21436" fmla="*/ 3917212 h 7458372"/>
              <a:gd name="connsiteX21437" fmla="*/ 3512328 w 10505529"/>
              <a:gd name="connsiteY21437" fmla="*/ 3917212 h 7458372"/>
              <a:gd name="connsiteX21438" fmla="*/ 3524044 w 10505529"/>
              <a:gd name="connsiteY21438" fmla="*/ 3919741 h 7458372"/>
              <a:gd name="connsiteX21439" fmla="*/ 3533362 w 10505529"/>
              <a:gd name="connsiteY21439" fmla="*/ 3926131 h 7458372"/>
              <a:gd name="connsiteX21440" fmla="*/ 3539485 w 10505529"/>
              <a:gd name="connsiteY21440" fmla="*/ 3935582 h 7458372"/>
              <a:gd name="connsiteX21441" fmla="*/ 3541748 w 10505529"/>
              <a:gd name="connsiteY21441" fmla="*/ 3947031 h 7458372"/>
              <a:gd name="connsiteX21442" fmla="*/ 3539485 w 10505529"/>
              <a:gd name="connsiteY21442" fmla="*/ 3958745 h 7458372"/>
              <a:gd name="connsiteX21443" fmla="*/ 3533362 w 10505529"/>
              <a:gd name="connsiteY21443" fmla="*/ 3968064 h 7458372"/>
              <a:gd name="connsiteX21444" fmla="*/ 3524044 w 10505529"/>
              <a:gd name="connsiteY21444" fmla="*/ 3974320 h 7458372"/>
              <a:gd name="connsiteX21445" fmla="*/ 3512328 w 10505529"/>
              <a:gd name="connsiteY21445" fmla="*/ 3976583 h 7458372"/>
              <a:gd name="connsiteX21446" fmla="*/ 3490493 w 10505529"/>
              <a:gd name="connsiteY21446" fmla="*/ 3968064 h 7458372"/>
              <a:gd name="connsiteX21447" fmla="*/ 3482106 w 10505529"/>
              <a:gd name="connsiteY21447" fmla="*/ 3946897 h 7458372"/>
              <a:gd name="connsiteX21448" fmla="*/ 3490493 w 10505529"/>
              <a:gd name="connsiteY21448" fmla="*/ 3925864 h 7458372"/>
              <a:gd name="connsiteX21449" fmla="*/ 3512328 w 10505529"/>
              <a:gd name="connsiteY21449" fmla="*/ 3917212 h 7458372"/>
              <a:gd name="connsiteX21450" fmla="*/ 3294805 w 10505529"/>
              <a:gd name="connsiteY21450" fmla="*/ 3917212 h 7458372"/>
              <a:gd name="connsiteX21451" fmla="*/ 3306521 w 10505529"/>
              <a:gd name="connsiteY21451" fmla="*/ 3919741 h 7458372"/>
              <a:gd name="connsiteX21452" fmla="*/ 3315839 w 10505529"/>
              <a:gd name="connsiteY21452" fmla="*/ 3926131 h 7458372"/>
              <a:gd name="connsiteX21453" fmla="*/ 3321962 w 10505529"/>
              <a:gd name="connsiteY21453" fmla="*/ 3935582 h 7458372"/>
              <a:gd name="connsiteX21454" fmla="*/ 3324225 w 10505529"/>
              <a:gd name="connsiteY21454" fmla="*/ 3947031 h 7458372"/>
              <a:gd name="connsiteX21455" fmla="*/ 3321962 w 10505529"/>
              <a:gd name="connsiteY21455" fmla="*/ 3958745 h 7458372"/>
              <a:gd name="connsiteX21456" fmla="*/ 3315839 w 10505529"/>
              <a:gd name="connsiteY21456" fmla="*/ 3968064 h 7458372"/>
              <a:gd name="connsiteX21457" fmla="*/ 3306521 w 10505529"/>
              <a:gd name="connsiteY21457" fmla="*/ 3974320 h 7458372"/>
              <a:gd name="connsiteX21458" fmla="*/ 3294805 w 10505529"/>
              <a:gd name="connsiteY21458" fmla="*/ 3976583 h 7458372"/>
              <a:gd name="connsiteX21459" fmla="*/ 3272969 w 10505529"/>
              <a:gd name="connsiteY21459" fmla="*/ 3968064 h 7458372"/>
              <a:gd name="connsiteX21460" fmla="*/ 3264581 w 10505529"/>
              <a:gd name="connsiteY21460" fmla="*/ 3946897 h 7458372"/>
              <a:gd name="connsiteX21461" fmla="*/ 3272969 w 10505529"/>
              <a:gd name="connsiteY21461" fmla="*/ 3925864 h 7458372"/>
              <a:gd name="connsiteX21462" fmla="*/ 3294805 w 10505529"/>
              <a:gd name="connsiteY21462" fmla="*/ 3917212 h 7458372"/>
              <a:gd name="connsiteX21463" fmla="*/ 3077148 w 10505529"/>
              <a:gd name="connsiteY21463" fmla="*/ 3917212 h 7458372"/>
              <a:gd name="connsiteX21464" fmla="*/ 3088864 w 10505529"/>
              <a:gd name="connsiteY21464" fmla="*/ 3919741 h 7458372"/>
              <a:gd name="connsiteX21465" fmla="*/ 3098182 w 10505529"/>
              <a:gd name="connsiteY21465" fmla="*/ 3926131 h 7458372"/>
              <a:gd name="connsiteX21466" fmla="*/ 3104305 w 10505529"/>
              <a:gd name="connsiteY21466" fmla="*/ 3935582 h 7458372"/>
              <a:gd name="connsiteX21467" fmla="*/ 3106568 w 10505529"/>
              <a:gd name="connsiteY21467" fmla="*/ 3947031 h 7458372"/>
              <a:gd name="connsiteX21468" fmla="*/ 3104305 w 10505529"/>
              <a:gd name="connsiteY21468" fmla="*/ 3958745 h 7458372"/>
              <a:gd name="connsiteX21469" fmla="*/ 3098182 w 10505529"/>
              <a:gd name="connsiteY21469" fmla="*/ 3968064 h 7458372"/>
              <a:gd name="connsiteX21470" fmla="*/ 3088864 w 10505529"/>
              <a:gd name="connsiteY21470" fmla="*/ 3974320 h 7458372"/>
              <a:gd name="connsiteX21471" fmla="*/ 3077148 w 10505529"/>
              <a:gd name="connsiteY21471" fmla="*/ 3976583 h 7458372"/>
              <a:gd name="connsiteX21472" fmla="*/ 3055312 w 10505529"/>
              <a:gd name="connsiteY21472" fmla="*/ 3968064 h 7458372"/>
              <a:gd name="connsiteX21473" fmla="*/ 3046926 w 10505529"/>
              <a:gd name="connsiteY21473" fmla="*/ 3946897 h 7458372"/>
              <a:gd name="connsiteX21474" fmla="*/ 3055312 w 10505529"/>
              <a:gd name="connsiteY21474" fmla="*/ 3925864 h 7458372"/>
              <a:gd name="connsiteX21475" fmla="*/ 3077148 w 10505529"/>
              <a:gd name="connsiteY21475" fmla="*/ 3917212 h 7458372"/>
              <a:gd name="connsiteX21476" fmla="*/ 2859492 w 10505529"/>
              <a:gd name="connsiteY21476" fmla="*/ 3917212 h 7458372"/>
              <a:gd name="connsiteX21477" fmla="*/ 2871341 w 10505529"/>
              <a:gd name="connsiteY21477" fmla="*/ 3919741 h 7458372"/>
              <a:gd name="connsiteX21478" fmla="*/ 2880659 w 10505529"/>
              <a:gd name="connsiteY21478" fmla="*/ 3926131 h 7458372"/>
              <a:gd name="connsiteX21479" fmla="*/ 2886782 w 10505529"/>
              <a:gd name="connsiteY21479" fmla="*/ 3935582 h 7458372"/>
              <a:gd name="connsiteX21480" fmla="*/ 2889045 w 10505529"/>
              <a:gd name="connsiteY21480" fmla="*/ 3947031 h 7458372"/>
              <a:gd name="connsiteX21481" fmla="*/ 2886782 w 10505529"/>
              <a:gd name="connsiteY21481" fmla="*/ 3958745 h 7458372"/>
              <a:gd name="connsiteX21482" fmla="*/ 2880659 w 10505529"/>
              <a:gd name="connsiteY21482" fmla="*/ 3968064 h 7458372"/>
              <a:gd name="connsiteX21483" fmla="*/ 2871341 w 10505529"/>
              <a:gd name="connsiteY21483" fmla="*/ 3974320 h 7458372"/>
              <a:gd name="connsiteX21484" fmla="*/ 2859492 w 10505529"/>
              <a:gd name="connsiteY21484" fmla="*/ 3976583 h 7458372"/>
              <a:gd name="connsiteX21485" fmla="*/ 2837657 w 10505529"/>
              <a:gd name="connsiteY21485" fmla="*/ 3968064 h 7458372"/>
              <a:gd name="connsiteX21486" fmla="*/ 2829269 w 10505529"/>
              <a:gd name="connsiteY21486" fmla="*/ 3946897 h 7458372"/>
              <a:gd name="connsiteX21487" fmla="*/ 2837657 w 10505529"/>
              <a:gd name="connsiteY21487" fmla="*/ 3925864 h 7458372"/>
              <a:gd name="connsiteX21488" fmla="*/ 2859492 w 10505529"/>
              <a:gd name="connsiteY21488" fmla="*/ 3917212 h 7458372"/>
              <a:gd name="connsiteX21489" fmla="*/ 2641836 w 10505529"/>
              <a:gd name="connsiteY21489" fmla="*/ 3917212 h 7458372"/>
              <a:gd name="connsiteX21490" fmla="*/ 2653551 w 10505529"/>
              <a:gd name="connsiteY21490" fmla="*/ 3919741 h 7458372"/>
              <a:gd name="connsiteX21491" fmla="*/ 2662869 w 10505529"/>
              <a:gd name="connsiteY21491" fmla="*/ 3926131 h 7458372"/>
              <a:gd name="connsiteX21492" fmla="*/ 2668993 w 10505529"/>
              <a:gd name="connsiteY21492" fmla="*/ 3935582 h 7458372"/>
              <a:gd name="connsiteX21493" fmla="*/ 2671256 w 10505529"/>
              <a:gd name="connsiteY21493" fmla="*/ 3947031 h 7458372"/>
              <a:gd name="connsiteX21494" fmla="*/ 2668993 w 10505529"/>
              <a:gd name="connsiteY21494" fmla="*/ 3958745 h 7458372"/>
              <a:gd name="connsiteX21495" fmla="*/ 2662869 w 10505529"/>
              <a:gd name="connsiteY21495" fmla="*/ 3968064 h 7458372"/>
              <a:gd name="connsiteX21496" fmla="*/ 2653551 w 10505529"/>
              <a:gd name="connsiteY21496" fmla="*/ 3974320 h 7458372"/>
              <a:gd name="connsiteX21497" fmla="*/ 2641836 w 10505529"/>
              <a:gd name="connsiteY21497" fmla="*/ 3976583 h 7458372"/>
              <a:gd name="connsiteX21498" fmla="*/ 2620003 w 10505529"/>
              <a:gd name="connsiteY21498" fmla="*/ 3968064 h 7458372"/>
              <a:gd name="connsiteX21499" fmla="*/ 2611614 w 10505529"/>
              <a:gd name="connsiteY21499" fmla="*/ 3946897 h 7458372"/>
              <a:gd name="connsiteX21500" fmla="*/ 2620003 w 10505529"/>
              <a:gd name="connsiteY21500" fmla="*/ 3925864 h 7458372"/>
              <a:gd name="connsiteX21501" fmla="*/ 2641836 w 10505529"/>
              <a:gd name="connsiteY21501" fmla="*/ 3917212 h 7458372"/>
              <a:gd name="connsiteX21502" fmla="*/ 2424179 w 10505529"/>
              <a:gd name="connsiteY21502" fmla="*/ 3917212 h 7458372"/>
              <a:gd name="connsiteX21503" fmla="*/ 2435895 w 10505529"/>
              <a:gd name="connsiteY21503" fmla="*/ 3919741 h 7458372"/>
              <a:gd name="connsiteX21504" fmla="*/ 2445213 w 10505529"/>
              <a:gd name="connsiteY21504" fmla="*/ 3926131 h 7458372"/>
              <a:gd name="connsiteX21505" fmla="*/ 2451336 w 10505529"/>
              <a:gd name="connsiteY21505" fmla="*/ 3935582 h 7458372"/>
              <a:gd name="connsiteX21506" fmla="*/ 2453599 w 10505529"/>
              <a:gd name="connsiteY21506" fmla="*/ 3947031 h 7458372"/>
              <a:gd name="connsiteX21507" fmla="*/ 2451336 w 10505529"/>
              <a:gd name="connsiteY21507" fmla="*/ 3958745 h 7458372"/>
              <a:gd name="connsiteX21508" fmla="*/ 2445213 w 10505529"/>
              <a:gd name="connsiteY21508" fmla="*/ 3968064 h 7458372"/>
              <a:gd name="connsiteX21509" fmla="*/ 2435895 w 10505529"/>
              <a:gd name="connsiteY21509" fmla="*/ 3974320 h 7458372"/>
              <a:gd name="connsiteX21510" fmla="*/ 2424179 w 10505529"/>
              <a:gd name="connsiteY21510" fmla="*/ 3976583 h 7458372"/>
              <a:gd name="connsiteX21511" fmla="*/ 2402347 w 10505529"/>
              <a:gd name="connsiteY21511" fmla="*/ 3968064 h 7458372"/>
              <a:gd name="connsiteX21512" fmla="*/ 2393959 w 10505529"/>
              <a:gd name="connsiteY21512" fmla="*/ 3946897 h 7458372"/>
              <a:gd name="connsiteX21513" fmla="*/ 2402347 w 10505529"/>
              <a:gd name="connsiteY21513" fmla="*/ 3925864 h 7458372"/>
              <a:gd name="connsiteX21514" fmla="*/ 2424179 w 10505529"/>
              <a:gd name="connsiteY21514" fmla="*/ 3917212 h 7458372"/>
              <a:gd name="connsiteX21515" fmla="*/ 2206523 w 10505529"/>
              <a:gd name="connsiteY21515" fmla="*/ 3917212 h 7458372"/>
              <a:gd name="connsiteX21516" fmla="*/ 2218238 w 10505529"/>
              <a:gd name="connsiteY21516" fmla="*/ 3919741 h 7458372"/>
              <a:gd name="connsiteX21517" fmla="*/ 2227557 w 10505529"/>
              <a:gd name="connsiteY21517" fmla="*/ 3926131 h 7458372"/>
              <a:gd name="connsiteX21518" fmla="*/ 2233679 w 10505529"/>
              <a:gd name="connsiteY21518" fmla="*/ 3935582 h 7458372"/>
              <a:gd name="connsiteX21519" fmla="*/ 2235942 w 10505529"/>
              <a:gd name="connsiteY21519" fmla="*/ 3947031 h 7458372"/>
              <a:gd name="connsiteX21520" fmla="*/ 2233679 w 10505529"/>
              <a:gd name="connsiteY21520" fmla="*/ 3958745 h 7458372"/>
              <a:gd name="connsiteX21521" fmla="*/ 2227557 w 10505529"/>
              <a:gd name="connsiteY21521" fmla="*/ 3968064 h 7458372"/>
              <a:gd name="connsiteX21522" fmla="*/ 2218238 w 10505529"/>
              <a:gd name="connsiteY21522" fmla="*/ 3974320 h 7458372"/>
              <a:gd name="connsiteX21523" fmla="*/ 2206523 w 10505529"/>
              <a:gd name="connsiteY21523" fmla="*/ 3976583 h 7458372"/>
              <a:gd name="connsiteX21524" fmla="*/ 2184690 w 10505529"/>
              <a:gd name="connsiteY21524" fmla="*/ 3968064 h 7458372"/>
              <a:gd name="connsiteX21525" fmla="*/ 2176303 w 10505529"/>
              <a:gd name="connsiteY21525" fmla="*/ 3946897 h 7458372"/>
              <a:gd name="connsiteX21526" fmla="*/ 2184690 w 10505529"/>
              <a:gd name="connsiteY21526" fmla="*/ 3925864 h 7458372"/>
              <a:gd name="connsiteX21527" fmla="*/ 2206523 w 10505529"/>
              <a:gd name="connsiteY21527" fmla="*/ 3917212 h 7458372"/>
              <a:gd name="connsiteX21528" fmla="*/ 1988999 w 10505529"/>
              <a:gd name="connsiteY21528" fmla="*/ 3917212 h 7458372"/>
              <a:gd name="connsiteX21529" fmla="*/ 2000715 w 10505529"/>
              <a:gd name="connsiteY21529" fmla="*/ 3919741 h 7458372"/>
              <a:gd name="connsiteX21530" fmla="*/ 2010033 w 10505529"/>
              <a:gd name="connsiteY21530" fmla="*/ 3926131 h 7458372"/>
              <a:gd name="connsiteX21531" fmla="*/ 2016156 w 10505529"/>
              <a:gd name="connsiteY21531" fmla="*/ 3935582 h 7458372"/>
              <a:gd name="connsiteX21532" fmla="*/ 2018419 w 10505529"/>
              <a:gd name="connsiteY21532" fmla="*/ 3947031 h 7458372"/>
              <a:gd name="connsiteX21533" fmla="*/ 2016156 w 10505529"/>
              <a:gd name="connsiteY21533" fmla="*/ 3958745 h 7458372"/>
              <a:gd name="connsiteX21534" fmla="*/ 2010033 w 10505529"/>
              <a:gd name="connsiteY21534" fmla="*/ 3968064 h 7458372"/>
              <a:gd name="connsiteX21535" fmla="*/ 2000715 w 10505529"/>
              <a:gd name="connsiteY21535" fmla="*/ 3974320 h 7458372"/>
              <a:gd name="connsiteX21536" fmla="*/ 1988999 w 10505529"/>
              <a:gd name="connsiteY21536" fmla="*/ 3976583 h 7458372"/>
              <a:gd name="connsiteX21537" fmla="*/ 1967168 w 10505529"/>
              <a:gd name="connsiteY21537" fmla="*/ 3968064 h 7458372"/>
              <a:gd name="connsiteX21538" fmla="*/ 1958782 w 10505529"/>
              <a:gd name="connsiteY21538" fmla="*/ 3946897 h 7458372"/>
              <a:gd name="connsiteX21539" fmla="*/ 1967168 w 10505529"/>
              <a:gd name="connsiteY21539" fmla="*/ 3925864 h 7458372"/>
              <a:gd name="connsiteX21540" fmla="*/ 1988999 w 10505529"/>
              <a:gd name="connsiteY21540" fmla="*/ 3917212 h 7458372"/>
              <a:gd name="connsiteX21541" fmla="*/ 1771363 w 10505529"/>
              <a:gd name="connsiteY21541" fmla="*/ 3917212 h 7458372"/>
              <a:gd name="connsiteX21542" fmla="*/ 1783077 w 10505529"/>
              <a:gd name="connsiteY21542" fmla="*/ 3919741 h 7458372"/>
              <a:gd name="connsiteX21543" fmla="*/ 1792394 w 10505529"/>
              <a:gd name="connsiteY21543" fmla="*/ 3926131 h 7458372"/>
              <a:gd name="connsiteX21544" fmla="*/ 1798518 w 10505529"/>
              <a:gd name="connsiteY21544" fmla="*/ 3935582 h 7458372"/>
              <a:gd name="connsiteX21545" fmla="*/ 1800780 w 10505529"/>
              <a:gd name="connsiteY21545" fmla="*/ 3947031 h 7458372"/>
              <a:gd name="connsiteX21546" fmla="*/ 1798518 w 10505529"/>
              <a:gd name="connsiteY21546" fmla="*/ 3958745 h 7458372"/>
              <a:gd name="connsiteX21547" fmla="*/ 1792394 w 10505529"/>
              <a:gd name="connsiteY21547" fmla="*/ 3968064 h 7458372"/>
              <a:gd name="connsiteX21548" fmla="*/ 1783077 w 10505529"/>
              <a:gd name="connsiteY21548" fmla="*/ 3974320 h 7458372"/>
              <a:gd name="connsiteX21549" fmla="*/ 1771363 w 10505529"/>
              <a:gd name="connsiteY21549" fmla="*/ 3976583 h 7458372"/>
              <a:gd name="connsiteX21550" fmla="*/ 1749533 w 10505529"/>
              <a:gd name="connsiteY21550" fmla="*/ 3968064 h 7458372"/>
              <a:gd name="connsiteX21551" fmla="*/ 1741149 w 10505529"/>
              <a:gd name="connsiteY21551" fmla="*/ 3946897 h 7458372"/>
              <a:gd name="connsiteX21552" fmla="*/ 1749533 w 10505529"/>
              <a:gd name="connsiteY21552" fmla="*/ 3925864 h 7458372"/>
              <a:gd name="connsiteX21553" fmla="*/ 1771363 w 10505529"/>
              <a:gd name="connsiteY21553" fmla="*/ 3917212 h 7458372"/>
              <a:gd name="connsiteX21554" fmla="*/ 1553723 w 10505529"/>
              <a:gd name="connsiteY21554" fmla="*/ 3917212 h 7458372"/>
              <a:gd name="connsiteX21555" fmla="*/ 1565438 w 10505529"/>
              <a:gd name="connsiteY21555" fmla="*/ 3919741 h 7458372"/>
              <a:gd name="connsiteX21556" fmla="*/ 1574756 w 10505529"/>
              <a:gd name="connsiteY21556" fmla="*/ 3926131 h 7458372"/>
              <a:gd name="connsiteX21557" fmla="*/ 1580879 w 10505529"/>
              <a:gd name="connsiteY21557" fmla="*/ 3935582 h 7458372"/>
              <a:gd name="connsiteX21558" fmla="*/ 1583142 w 10505529"/>
              <a:gd name="connsiteY21558" fmla="*/ 3947031 h 7458372"/>
              <a:gd name="connsiteX21559" fmla="*/ 1580879 w 10505529"/>
              <a:gd name="connsiteY21559" fmla="*/ 3958745 h 7458372"/>
              <a:gd name="connsiteX21560" fmla="*/ 1574756 w 10505529"/>
              <a:gd name="connsiteY21560" fmla="*/ 3968064 h 7458372"/>
              <a:gd name="connsiteX21561" fmla="*/ 1565438 w 10505529"/>
              <a:gd name="connsiteY21561" fmla="*/ 3974320 h 7458372"/>
              <a:gd name="connsiteX21562" fmla="*/ 1553723 w 10505529"/>
              <a:gd name="connsiteY21562" fmla="*/ 3976583 h 7458372"/>
              <a:gd name="connsiteX21563" fmla="*/ 1531893 w 10505529"/>
              <a:gd name="connsiteY21563" fmla="*/ 3968064 h 7458372"/>
              <a:gd name="connsiteX21564" fmla="*/ 1523507 w 10505529"/>
              <a:gd name="connsiteY21564" fmla="*/ 3946897 h 7458372"/>
              <a:gd name="connsiteX21565" fmla="*/ 1531893 w 10505529"/>
              <a:gd name="connsiteY21565" fmla="*/ 3925864 h 7458372"/>
              <a:gd name="connsiteX21566" fmla="*/ 1553723 w 10505529"/>
              <a:gd name="connsiteY21566" fmla="*/ 3917212 h 7458372"/>
              <a:gd name="connsiteX21567" fmla="*/ 1336079 w 10505529"/>
              <a:gd name="connsiteY21567" fmla="*/ 3917212 h 7458372"/>
              <a:gd name="connsiteX21568" fmla="*/ 1347795 w 10505529"/>
              <a:gd name="connsiteY21568" fmla="*/ 3919741 h 7458372"/>
              <a:gd name="connsiteX21569" fmla="*/ 1357113 w 10505529"/>
              <a:gd name="connsiteY21569" fmla="*/ 3926131 h 7458372"/>
              <a:gd name="connsiteX21570" fmla="*/ 1363236 w 10505529"/>
              <a:gd name="connsiteY21570" fmla="*/ 3935582 h 7458372"/>
              <a:gd name="connsiteX21571" fmla="*/ 1365498 w 10505529"/>
              <a:gd name="connsiteY21571" fmla="*/ 3947031 h 7458372"/>
              <a:gd name="connsiteX21572" fmla="*/ 1363236 w 10505529"/>
              <a:gd name="connsiteY21572" fmla="*/ 3958745 h 7458372"/>
              <a:gd name="connsiteX21573" fmla="*/ 1357113 w 10505529"/>
              <a:gd name="connsiteY21573" fmla="*/ 3968064 h 7458372"/>
              <a:gd name="connsiteX21574" fmla="*/ 1347795 w 10505529"/>
              <a:gd name="connsiteY21574" fmla="*/ 3974320 h 7458372"/>
              <a:gd name="connsiteX21575" fmla="*/ 1336079 w 10505529"/>
              <a:gd name="connsiteY21575" fmla="*/ 3976583 h 7458372"/>
              <a:gd name="connsiteX21576" fmla="*/ 1314246 w 10505529"/>
              <a:gd name="connsiteY21576" fmla="*/ 3968064 h 7458372"/>
              <a:gd name="connsiteX21577" fmla="*/ 1305861 w 10505529"/>
              <a:gd name="connsiteY21577" fmla="*/ 3946897 h 7458372"/>
              <a:gd name="connsiteX21578" fmla="*/ 1314246 w 10505529"/>
              <a:gd name="connsiteY21578" fmla="*/ 3925864 h 7458372"/>
              <a:gd name="connsiteX21579" fmla="*/ 1336079 w 10505529"/>
              <a:gd name="connsiteY21579" fmla="*/ 3917212 h 7458372"/>
              <a:gd name="connsiteX21580" fmla="*/ 1118434 w 10505529"/>
              <a:gd name="connsiteY21580" fmla="*/ 3917212 h 7458372"/>
              <a:gd name="connsiteX21581" fmla="*/ 1130151 w 10505529"/>
              <a:gd name="connsiteY21581" fmla="*/ 3919741 h 7458372"/>
              <a:gd name="connsiteX21582" fmla="*/ 1139467 w 10505529"/>
              <a:gd name="connsiteY21582" fmla="*/ 3926131 h 7458372"/>
              <a:gd name="connsiteX21583" fmla="*/ 1145588 w 10505529"/>
              <a:gd name="connsiteY21583" fmla="*/ 3935582 h 7458372"/>
              <a:gd name="connsiteX21584" fmla="*/ 1147851 w 10505529"/>
              <a:gd name="connsiteY21584" fmla="*/ 3947031 h 7458372"/>
              <a:gd name="connsiteX21585" fmla="*/ 1145588 w 10505529"/>
              <a:gd name="connsiteY21585" fmla="*/ 3958745 h 7458372"/>
              <a:gd name="connsiteX21586" fmla="*/ 1139467 w 10505529"/>
              <a:gd name="connsiteY21586" fmla="*/ 3968064 h 7458372"/>
              <a:gd name="connsiteX21587" fmla="*/ 1130151 w 10505529"/>
              <a:gd name="connsiteY21587" fmla="*/ 3974320 h 7458372"/>
              <a:gd name="connsiteX21588" fmla="*/ 1118434 w 10505529"/>
              <a:gd name="connsiteY21588" fmla="*/ 3976583 h 7458372"/>
              <a:gd name="connsiteX21589" fmla="*/ 1096600 w 10505529"/>
              <a:gd name="connsiteY21589" fmla="*/ 3968064 h 7458372"/>
              <a:gd name="connsiteX21590" fmla="*/ 1088215 w 10505529"/>
              <a:gd name="connsiteY21590" fmla="*/ 3946897 h 7458372"/>
              <a:gd name="connsiteX21591" fmla="*/ 1096600 w 10505529"/>
              <a:gd name="connsiteY21591" fmla="*/ 3925864 h 7458372"/>
              <a:gd name="connsiteX21592" fmla="*/ 1118434 w 10505529"/>
              <a:gd name="connsiteY21592" fmla="*/ 3917212 h 7458372"/>
              <a:gd name="connsiteX21593" fmla="*/ 900921 w 10505529"/>
              <a:gd name="connsiteY21593" fmla="*/ 3917212 h 7458372"/>
              <a:gd name="connsiteX21594" fmla="*/ 912636 w 10505529"/>
              <a:gd name="connsiteY21594" fmla="*/ 3919741 h 7458372"/>
              <a:gd name="connsiteX21595" fmla="*/ 921955 w 10505529"/>
              <a:gd name="connsiteY21595" fmla="*/ 3926131 h 7458372"/>
              <a:gd name="connsiteX21596" fmla="*/ 928077 w 10505529"/>
              <a:gd name="connsiteY21596" fmla="*/ 3935582 h 7458372"/>
              <a:gd name="connsiteX21597" fmla="*/ 930340 w 10505529"/>
              <a:gd name="connsiteY21597" fmla="*/ 3947031 h 7458372"/>
              <a:gd name="connsiteX21598" fmla="*/ 928077 w 10505529"/>
              <a:gd name="connsiteY21598" fmla="*/ 3958745 h 7458372"/>
              <a:gd name="connsiteX21599" fmla="*/ 921955 w 10505529"/>
              <a:gd name="connsiteY21599" fmla="*/ 3968064 h 7458372"/>
              <a:gd name="connsiteX21600" fmla="*/ 912636 w 10505529"/>
              <a:gd name="connsiteY21600" fmla="*/ 3974320 h 7458372"/>
              <a:gd name="connsiteX21601" fmla="*/ 900921 w 10505529"/>
              <a:gd name="connsiteY21601" fmla="*/ 3976583 h 7458372"/>
              <a:gd name="connsiteX21602" fmla="*/ 879090 w 10505529"/>
              <a:gd name="connsiteY21602" fmla="*/ 3968064 h 7458372"/>
              <a:gd name="connsiteX21603" fmla="*/ 870705 w 10505529"/>
              <a:gd name="connsiteY21603" fmla="*/ 3946897 h 7458372"/>
              <a:gd name="connsiteX21604" fmla="*/ 879090 w 10505529"/>
              <a:gd name="connsiteY21604" fmla="*/ 3925864 h 7458372"/>
              <a:gd name="connsiteX21605" fmla="*/ 900921 w 10505529"/>
              <a:gd name="connsiteY21605" fmla="*/ 3917212 h 7458372"/>
              <a:gd name="connsiteX21606" fmla="*/ 683280 w 10505529"/>
              <a:gd name="connsiteY21606" fmla="*/ 3917212 h 7458372"/>
              <a:gd name="connsiteX21607" fmla="*/ 694995 w 10505529"/>
              <a:gd name="connsiteY21607" fmla="*/ 3919741 h 7458372"/>
              <a:gd name="connsiteX21608" fmla="*/ 704312 w 10505529"/>
              <a:gd name="connsiteY21608" fmla="*/ 3926131 h 7458372"/>
              <a:gd name="connsiteX21609" fmla="*/ 710435 w 10505529"/>
              <a:gd name="connsiteY21609" fmla="*/ 3935582 h 7458372"/>
              <a:gd name="connsiteX21610" fmla="*/ 712698 w 10505529"/>
              <a:gd name="connsiteY21610" fmla="*/ 3947031 h 7458372"/>
              <a:gd name="connsiteX21611" fmla="*/ 710435 w 10505529"/>
              <a:gd name="connsiteY21611" fmla="*/ 3958745 h 7458372"/>
              <a:gd name="connsiteX21612" fmla="*/ 704312 w 10505529"/>
              <a:gd name="connsiteY21612" fmla="*/ 3968064 h 7458372"/>
              <a:gd name="connsiteX21613" fmla="*/ 694995 w 10505529"/>
              <a:gd name="connsiteY21613" fmla="*/ 3974320 h 7458372"/>
              <a:gd name="connsiteX21614" fmla="*/ 683280 w 10505529"/>
              <a:gd name="connsiteY21614" fmla="*/ 3976583 h 7458372"/>
              <a:gd name="connsiteX21615" fmla="*/ 661448 w 10505529"/>
              <a:gd name="connsiteY21615" fmla="*/ 3968064 h 7458372"/>
              <a:gd name="connsiteX21616" fmla="*/ 653062 w 10505529"/>
              <a:gd name="connsiteY21616" fmla="*/ 3946897 h 7458372"/>
              <a:gd name="connsiteX21617" fmla="*/ 661448 w 10505529"/>
              <a:gd name="connsiteY21617" fmla="*/ 3925864 h 7458372"/>
              <a:gd name="connsiteX21618" fmla="*/ 683280 w 10505529"/>
              <a:gd name="connsiteY21618" fmla="*/ 3917212 h 7458372"/>
              <a:gd name="connsiteX21619" fmla="*/ 465637 w 10505529"/>
              <a:gd name="connsiteY21619" fmla="*/ 3917212 h 7458372"/>
              <a:gd name="connsiteX21620" fmla="*/ 477353 w 10505529"/>
              <a:gd name="connsiteY21620" fmla="*/ 3919741 h 7458372"/>
              <a:gd name="connsiteX21621" fmla="*/ 486670 w 10505529"/>
              <a:gd name="connsiteY21621" fmla="*/ 3926131 h 7458372"/>
              <a:gd name="connsiteX21622" fmla="*/ 492793 w 10505529"/>
              <a:gd name="connsiteY21622" fmla="*/ 3935582 h 7458372"/>
              <a:gd name="connsiteX21623" fmla="*/ 495056 w 10505529"/>
              <a:gd name="connsiteY21623" fmla="*/ 3947031 h 7458372"/>
              <a:gd name="connsiteX21624" fmla="*/ 492793 w 10505529"/>
              <a:gd name="connsiteY21624" fmla="*/ 3958745 h 7458372"/>
              <a:gd name="connsiteX21625" fmla="*/ 486670 w 10505529"/>
              <a:gd name="connsiteY21625" fmla="*/ 3968064 h 7458372"/>
              <a:gd name="connsiteX21626" fmla="*/ 477353 w 10505529"/>
              <a:gd name="connsiteY21626" fmla="*/ 3974320 h 7458372"/>
              <a:gd name="connsiteX21627" fmla="*/ 465637 w 10505529"/>
              <a:gd name="connsiteY21627" fmla="*/ 3976583 h 7458372"/>
              <a:gd name="connsiteX21628" fmla="*/ 443806 w 10505529"/>
              <a:gd name="connsiteY21628" fmla="*/ 3968064 h 7458372"/>
              <a:gd name="connsiteX21629" fmla="*/ 435420 w 10505529"/>
              <a:gd name="connsiteY21629" fmla="*/ 3946897 h 7458372"/>
              <a:gd name="connsiteX21630" fmla="*/ 443806 w 10505529"/>
              <a:gd name="connsiteY21630" fmla="*/ 3925864 h 7458372"/>
              <a:gd name="connsiteX21631" fmla="*/ 465637 w 10505529"/>
              <a:gd name="connsiteY21631" fmla="*/ 3917212 h 7458372"/>
              <a:gd name="connsiteX21632" fmla="*/ 247995 w 10505529"/>
              <a:gd name="connsiteY21632" fmla="*/ 3917212 h 7458372"/>
              <a:gd name="connsiteX21633" fmla="*/ 259710 w 10505529"/>
              <a:gd name="connsiteY21633" fmla="*/ 3919741 h 7458372"/>
              <a:gd name="connsiteX21634" fmla="*/ 269028 w 10505529"/>
              <a:gd name="connsiteY21634" fmla="*/ 3926131 h 7458372"/>
              <a:gd name="connsiteX21635" fmla="*/ 275151 w 10505529"/>
              <a:gd name="connsiteY21635" fmla="*/ 3935582 h 7458372"/>
              <a:gd name="connsiteX21636" fmla="*/ 277414 w 10505529"/>
              <a:gd name="connsiteY21636" fmla="*/ 3947031 h 7458372"/>
              <a:gd name="connsiteX21637" fmla="*/ 275151 w 10505529"/>
              <a:gd name="connsiteY21637" fmla="*/ 3958745 h 7458372"/>
              <a:gd name="connsiteX21638" fmla="*/ 269028 w 10505529"/>
              <a:gd name="connsiteY21638" fmla="*/ 3968064 h 7458372"/>
              <a:gd name="connsiteX21639" fmla="*/ 259710 w 10505529"/>
              <a:gd name="connsiteY21639" fmla="*/ 3974320 h 7458372"/>
              <a:gd name="connsiteX21640" fmla="*/ 247995 w 10505529"/>
              <a:gd name="connsiteY21640" fmla="*/ 3976583 h 7458372"/>
              <a:gd name="connsiteX21641" fmla="*/ 226165 w 10505529"/>
              <a:gd name="connsiteY21641" fmla="*/ 3968064 h 7458372"/>
              <a:gd name="connsiteX21642" fmla="*/ 217779 w 10505529"/>
              <a:gd name="connsiteY21642" fmla="*/ 3946897 h 7458372"/>
              <a:gd name="connsiteX21643" fmla="*/ 226165 w 10505529"/>
              <a:gd name="connsiteY21643" fmla="*/ 3925864 h 7458372"/>
              <a:gd name="connsiteX21644" fmla="*/ 247995 w 10505529"/>
              <a:gd name="connsiteY21644" fmla="*/ 3917212 h 7458372"/>
              <a:gd name="connsiteX21645" fmla="*/ 30352 w 10505529"/>
              <a:gd name="connsiteY21645" fmla="*/ 3917212 h 7458372"/>
              <a:gd name="connsiteX21646" fmla="*/ 42068 w 10505529"/>
              <a:gd name="connsiteY21646" fmla="*/ 3919741 h 7458372"/>
              <a:gd name="connsiteX21647" fmla="*/ 51386 w 10505529"/>
              <a:gd name="connsiteY21647" fmla="*/ 3926131 h 7458372"/>
              <a:gd name="connsiteX21648" fmla="*/ 57509 w 10505529"/>
              <a:gd name="connsiteY21648" fmla="*/ 3935582 h 7458372"/>
              <a:gd name="connsiteX21649" fmla="*/ 59772 w 10505529"/>
              <a:gd name="connsiteY21649" fmla="*/ 3947031 h 7458372"/>
              <a:gd name="connsiteX21650" fmla="*/ 57509 w 10505529"/>
              <a:gd name="connsiteY21650" fmla="*/ 3958745 h 7458372"/>
              <a:gd name="connsiteX21651" fmla="*/ 51386 w 10505529"/>
              <a:gd name="connsiteY21651" fmla="*/ 3968064 h 7458372"/>
              <a:gd name="connsiteX21652" fmla="*/ 42068 w 10505529"/>
              <a:gd name="connsiteY21652" fmla="*/ 3974320 h 7458372"/>
              <a:gd name="connsiteX21653" fmla="*/ 30352 w 10505529"/>
              <a:gd name="connsiteY21653" fmla="*/ 3976583 h 7458372"/>
              <a:gd name="connsiteX21654" fmla="*/ 8524 w 10505529"/>
              <a:gd name="connsiteY21654" fmla="*/ 3968064 h 7458372"/>
              <a:gd name="connsiteX21655" fmla="*/ 138 w 10505529"/>
              <a:gd name="connsiteY21655" fmla="*/ 3946897 h 7458372"/>
              <a:gd name="connsiteX21656" fmla="*/ 8524 w 10505529"/>
              <a:gd name="connsiteY21656" fmla="*/ 3925864 h 7458372"/>
              <a:gd name="connsiteX21657" fmla="*/ 30352 w 10505529"/>
              <a:gd name="connsiteY21657" fmla="*/ 3917212 h 7458372"/>
              <a:gd name="connsiteX21658" fmla="*/ 10475977 w 10505529"/>
              <a:gd name="connsiteY21658" fmla="*/ 3716208 h 7458372"/>
              <a:gd name="connsiteX21659" fmla="*/ 10465992 w 10505529"/>
              <a:gd name="connsiteY21659" fmla="*/ 3719802 h 7458372"/>
              <a:gd name="connsiteX21660" fmla="*/ 10462399 w 10505529"/>
              <a:gd name="connsiteY21660" fmla="*/ 3729253 h 7458372"/>
              <a:gd name="connsiteX21661" fmla="*/ 10465992 w 10505529"/>
              <a:gd name="connsiteY21661" fmla="*/ 3738705 h 7458372"/>
              <a:gd name="connsiteX21662" fmla="*/ 10475977 w 10505529"/>
              <a:gd name="connsiteY21662" fmla="*/ 3742165 h 7458372"/>
              <a:gd name="connsiteX21663" fmla="*/ 10481302 w 10505529"/>
              <a:gd name="connsiteY21663" fmla="*/ 3741367 h 7458372"/>
              <a:gd name="connsiteX21664" fmla="*/ 10485029 w 10505529"/>
              <a:gd name="connsiteY21664" fmla="*/ 3738970 h 7458372"/>
              <a:gd name="connsiteX21665" fmla="*/ 10487691 w 10505529"/>
              <a:gd name="connsiteY21665" fmla="*/ 3734711 h 7458372"/>
              <a:gd name="connsiteX21666" fmla="*/ 10488623 w 10505529"/>
              <a:gd name="connsiteY21666" fmla="*/ 3729253 h 7458372"/>
              <a:gd name="connsiteX21667" fmla="*/ 10487691 w 10505529"/>
              <a:gd name="connsiteY21667" fmla="*/ 3724061 h 7458372"/>
              <a:gd name="connsiteX21668" fmla="*/ 10485029 w 10505529"/>
              <a:gd name="connsiteY21668" fmla="*/ 3719802 h 7458372"/>
              <a:gd name="connsiteX21669" fmla="*/ 10481035 w 10505529"/>
              <a:gd name="connsiteY21669" fmla="*/ 3717139 h 7458372"/>
              <a:gd name="connsiteX21670" fmla="*/ 10475977 w 10505529"/>
              <a:gd name="connsiteY21670" fmla="*/ 3716208 h 7458372"/>
              <a:gd name="connsiteX21671" fmla="*/ 10258466 w 10505529"/>
              <a:gd name="connsiteY21671" fmla="*/ 3716208 h 7458372"/>
              <a:gd name="connsiteX21672" fmla="*/ 10248481 w 10505529"/>
              <a:gd name="connsiteY21672" fmla="*/ 3719802 h 7458372"/>
              <a:gd name="connsiteX21673" fmla="*/ 10244887 w 10505529"/>
              <a:gd name="connsiteY21673" fmla="*/ 3729253 h 7458372"/>
              <a:gd name="connsiteX21674" fmla="*/ 10248481 w 10505529"/>
              <a:gd name="connsiteY21674" fmla="*/ 3738705 h 7458372"/>
              <a:gd name="connsiteX21675" fmla="*/ 10258466 w 10505529"/>
              <a:gd name="connsiteY21675" fmla="*/ 3742165 h 7458372"/>
              <a:gd name="connsiteX21676" fmla="*/ 10263790 w 10505529"/>
              <a:gd name="connsiteY21676" fmla="*/ 3741367 h 7458372"/>
              <a:gd name="connsiteX21677" fmla="*/ 10267517 w 10505529"/>
              <a:gd name="connsiteY21677" fmla="*/ 3738970 h 7458372"/>
              <a:gd name="connsiteX21678" fmla="*/ 10270180 w 10505529"/>
              <a:gd name="connsiteY21678" fmla="*/ 3734711 h 7458372"/>
              <a:gd name="connsiteX21679" fmla="*/ 10271112 w 10505529"/>
              <a:gd name="connsiteY21679" fmla="*/ 3729253 h 7458372"/>
              <a:gd name="connsiteX21680" fmla="*/ 10270180 w 10505529"/>
              <a:gd name="connsiteY21680" fmla="*/ 3724061 h 7458372"/>
              <a:gd name="connsiteX21681" fmla="*/ 10267517 w 10505529"/>
              <a:gd name="connsiteY21681" fmla="*/ 3719802 h 7458372"/>
              <a:gd name="connsiteX21682" fmla="*/ 10263524 w 10505529"/>
              <a:gd name="connsiteY21682" fmla="*/ 3717139 h 7458372"/>
              <a:gd name="connsiteX21683" fmla="*/ 10258466 w 10505529"/>
              <a:gd name="connsiteY21683" fmla="*/ 3716208 h 7458372"/>
              <a:gd name="connsiteX21684" fmla="*/ 10040820 w 10505529"/>
              <a:gd name="connsiteY21684" fmla="*/ 3716208 h 7458372"/>
              <a:gd name="connsiteX21685" fmla="*/ 10030835 w 10505529"/>
              <a:gd name="connsiteY21685" fmla="*/ 3719802 h 7458372"/>
              <a:gd name="connsiteX21686" fmla="*/ 10027242 w 10505529"/>
              <a:gd name="connsiteY21686" fmla="*/ 3729253 h 7458372"/>
              <a:gd name="connsiteX21687" fmla="*/ 10030835 w 10505529"/>
              <a:gd name="connsiteY21687" fmla="*/ 3738705 h 7458372"/>
              <a:gd name="connsiteX21688" fmla="*/ 10040820 w 10505529"/>
              <a:gd name="connsiteY21688" fmla="*/ 3742165 h 7458372"/>
              <a:gd name="connsiteX21689" fmla="*/ 10046145 w 10505529"/>
              <a:gd name="connsiteY21689" fmla="*/ 3741367 h 7458372"/>
              <a:gd name="connsiteX21690" fmla="*/ 10049872 w 10505529"/>
              <a:gd name="connsiteY21690" fmla="*/ 3738970 h 7458372"/>
              <a:gd name="connsiteX21691" fmla="*/ 10052534 w 10505529"/>
              <a:gd name="connsiteY21691" fmla="*/ 3734711 h 7458372"/>
              <a:gd name="connsiteX21692" fmla="*/ 10053599 w 10505529"/>
              <a:gd name="connsiteY21692" fmla="*/ 3729253 h 7458372"/>
              <a:gd name="connsiteX21693" fmla="*/ 10052534 w 10505529"/>
              <a:gd name="connsiteY21693" fmla="*/ 3724061 h 7458372"/>
              <a:gd name="connsiteX21694" fmla="*/ 10049872 w 10505529"/>
              <a:gd name="connsiteY21694" fmla="*/ 3719802 h 7458372"/>
              <a:gd name="connsiteX21695" fmla="*/ 10045878 w 10505529"/>
              <a:gd name="connsiteY21695" fmla="*/ 3717139 h 7458372"/>
              <a:gd name="connsiteX21696" fmla="*/ 10040820 w 10505529"/>
              <a:gd name="connsiteY21696" fmla="*/ 3716208 h 7458372"/>
              <a:gd name="connsiteX21697" fmla="*/ 9823176 w 10505529"/>
              <a:gd name="connsiteY21697" fmla="*/ 3716208 h 7458372"/>
              <a:gd name="connsiteX21698" fmla="*/ 9813191 w 10505529"/>
              <a:gd name="connsiteY21698" fmla="*/ 3719802 h 7458372"/>
              <a:gd name="connsiteX21699" fmla="*/ 9809597 w 10505529"/>
              <a:gd name="connsiteY21699" fmla="*/ 3729253 h 7458372"/>
              <a:gd name="connsiteX21700" fmla="*/ 9813191 w 10505529"/>
              <a:gd name="connsiteY21700" fmla="*/ 3738705 h 7458372"/>
              <a:gd name="connsiteX21701" fmla="*/ 9823176 w 10505529"/>
              <a:gd name="connsiteY21701" fmla="*/ 3742165 h 7458372"/>
              <a:gd name="connsiteX21702" fmla="*/ 9828501 w 10505529"/>
              <a:gd name="connsiteY21702" fmla="*/ 3741367 h 7458372"/>
              <a:gd name="connsiteX21703" fmla="*/ 9832227 w 10505529"/>
              <a:gd name="connsiteY21703" fmla="*/ 3738970 h 7458372"/>
              <a:gd name="connsiteX21704" fmla="*/ 9834890 w 10505529"/>
              <a:gd name="connsiteY21704" fmla="*/ 3734711 h 7458372"/>
              <a:gd name="connsiteX21705" fmla="*/ 9835955 w 10505529"/>
              <a:gd name="connsiteY21705" fmla="*/ 3729253 h 7458372"/>
              <a:gd name="connsiteX21706" fmla="*/ 9834890 w 10505529"/>
              <a:gd name="connsiteY21706" fmla="*/ 3724061 h 7458372"/>
              <a:gd name="connsiteX21707" fmla="*/ 9832227 w 10505529"/>
              <a:gd name="connsiteY21707" fmla="*/ 3719802 h 7458372"/>
              <a:gd name="connsiteX21708" fmla="*/ 9828234 w 10505529"/>
              <a:gd name="connsiteY21708" fmla="*/ 3717139 h 7458372"/>
              <a:gd name="connsiteX21709" fmla="*/ 9823176 w 10505529"/>
              <a:gd name="connsiteY21709" fmla="*/ 3716208 h 7458372"/>
              <a:gd name="connsiteX21710" fmla="*/ 9605531 w 10505529"/>
              <a:gd name="connsiteY21710" fmla="*/ 3716208 h 7458372"/>
              <a:gd name="connsiteX21711" fmla="*/ 9595546 w 10505529"/>
              <a:gd name="connsiteY21711" fmla="*/ 3719802 h 7458372"/>
              <a:gd name="connsiteX21712" fmla="*/ 9591952 w 10505529"/>
              <a:gd name="connsiteY21712" fmla="*/ 3729253 h 7458372"/>
              <a:gd name="connsiteX21713" fmla="*/ 9595546 w 10505529"/>
              <a:gd name="connsiteY21713" fmla="*/ 3738705 h 7458372"/>
              <a:gd name="connsiteX21714" fmla="*/ 9605531 w 10505529"/>
              <a:gd name="connsiteY21714" fmla="*/ 3742165 h 7458372"/>
              <a:gd name="connsiteX21715" fmla="*/ 9610855 w 10505529"/>
              <a:gd name="connsiteY21715" fmla="*/ 3741367 h 7458372"/>
              <a:gd name="connsiteX21716" fmla="*/ 9614582 w 10505529"/>
              <a:gd name="connsiteY21716" fmla="*/ 3738970 h 7458372"/>
              <a:gd name="connsiteX21717" fmla="*/ 9617245 w 10505529"/>
              <a:gd name="connsiteY21717" fmla="*/ 3734711 h 7458372"/>
              <a:gd name="connsiteX21718" fmla="*/ 9618309 w 10505529"/>
              <a:gd name="connsiteY21718" fmla="*/ 3729253 h 7458372"/>
              <a:gd name="connsiteX21719" fmla="*/ 9617245 w 10505529"/>
              <a:gd name="connsiteY21719" fmla="*/ 3724061 h 7458372"/>
              <a:gd name="connsiteX21720" fmla="*/ 9614582 w 10505529"/>
              <a:gd name="connsiteY21720" fmla="*/ 3719802 h 7458372"/>
              <a:gd name="connsiteX21721" fmla="*/ 9610589 w 10505529"/>
              <a:gd name="connsiteY21721" fmla="*/ 3717139 h 7458372"/>
              <a:gd name="connsiteX21722" fmla="*/ 9605531 w 10505529"/>
              <a:gd name="connsiteY21722" fmla="*/ 3716208 h 7458372"/>
              <a:gd name="connsiteX21723" fmla="*/ 9387885 w 10505529"/>
              <a:gd name="connsiteY21723" fmla="*/ 3716208 h 7458372"/>
              <a:gd name="connsiteX21724" fmla="*/ 9377900 w 10505529"/>
              <a:gd name="connsiteY21724" fmla="*/ 3719802 h 7458372"/>
              <a:gd name="connsiteX21725" fmla="*/ 9374307 w 10505529"/>
              <a:gd name="connsiteY21725" fmla="*/ 3729253 h 7458372"/>
              <a:gd name="connsiteX21726" fmla="*/ 9377900 w 10505529"/>
              <a:gd name="connsiteY21726" fmla="*/ 3738705 h 7458372"/>
              <a:gd name="connsiteX21727" fmla="*/ 9387885 w 10505529"/>
              <a:gd name="connsiteY21727" fmla="*/ 3742165 h 7458372"/>
              <a:gd name="connsiteX21728" fmla="*/ 9393210 w 10505529"/>
              <a:gd name="connsiteY21728" fmla="*/ 3741367 h 7458372"/>
              <a:gd name="connsiteX21729" fmla="*/ 9396937 w 10505529"/>
              <a:gd name="connsiteY21729" fmla="*/ 3738970 h 7458372"/>
              <a:gd name="connsiteX21730" fmla="*/ 9399599 w 10505529"/>
              <a:gd name="connsiteY21730" fmla="*/ 3734711 h 7458372"/>
              <a:gd name="connsiteX21731" fmla="*/ 9400664 w 10505529"/>
              <a:gd name="connsiteY21731" fmla="*/ 3729253 h 7458372"/>
              <a:gd name="connsiteX21732" fmla="*/ 9399599 w 10505529"/>
              <a:gd name="connsiteY21732" fmla="*/ 3724061 h 7458372"/>
              <a:gd name="connsiteX21733" fmla="*/ 9396937 w 10505529"/>
              <a:gd name="connsiteY21733" fmla="*/ 3719802 h 7458372"/>
              <a:gd name="connsiteX21734" fmla="*/ 9392943 w 10505529"/>
              <a:gd name="connsiteY21734" fmla="*/ 3717139 h 7458372"/>
              <a:gd name="connsiteX21735" fmla="*/ 9387885 w 10505529"/>
              <a:gd name="connsiteY21735" fmla="*/ 3716208 h 7458372"/>
              <a:gd name="connsiteX21736" fmla="*/ 9170374 w 10505529"/>
              <a:gd name="connsiteY21736" fmla="*/ 3716208 h 7458372"/>
              <a:gd name="connsiteX21737" fmla="*/ 9160389 w 10505529"/>
              <a:gd name="connsiteY21737" fmla="*/ 3719802 h 7458372"/>
              <a:gd name="connsiteX21738" fmla="*/ 9156795 w 10505529"/>
              <a:gd name="connsiteY21738" fmla="*/ 3729253 h 7458372"/>
              <a:gd name="connsiteX21739" fmla="*/ 9160389 w 10505529"/>
              <a:gd name="connsiteY21739" fmla="*/ 3738705 h 7458372"/>
              <a:gd name="connsiteX21740" fmla="*/ 9170374 w 10505529"/>
              <a:gd name="connsiteY21740" fmla="*/ 3742165 h 7458372"/>
              <a:gd name="connsiteX21741" fmla="*/ 9175698 w 10505529"/>
              <a:gd name="connsiteY21741" fmla="*/ 3741367 h 7458372"/>
              <a:gd name="connsiteX21742" fmla="*/ 9179425 w 10505529"/>
              <a:gd name="connsiteY21742" fmla="*/ 3738970 h 7458372"/>
              <a:gd name="connsiteX21743" fmla="*/ 9182088 w 10505529"/>
              <a:gd name="connsiteY21743" fmla="*/ 3734711 h 7458372"/>
              <a:gd name="connsiteX21744" fmla="*/ 9183152 w 10505529"/>
              <a:gd name="connsiteY21744" fmla="*/ 3729253 h 7458372"/>
              <a:gd name="connsiteX21745" fmla="*/ 9182088 w 10505529"/>
              <a:gd name="connsiteY21745" fmla="*/ 3724061 h 7458372"/>
              <a:gd name="connsiteX21746" fmla="*/ 9179425 w 10505529"/>
              <a:gd name="connsiteY21746" fmla="*/ 3719802 h 7458372"/>
              <a:gd name="connsiteX21747" fmla="*/ 9175432 w 10505529"/>
              <a:gd name="connsiteY21747" fmla="*/ 3717139 h 7458372"/>
              <a:gd name="connsiteX21748" fmla="*/ 9170374 w 10505529"/>
              <a:gd name="connsiteY21748" fmla="*/ 3716208 h 7458372"/>
              <a:gd name="connsiteX21749" fmla="*/ 8952728 w 10505529"/>
              <a:gd name="connsiteY21749" fmla="*/ 3716208 h 7458372"/>
              <a:gd name="connsiteX21750" fmla="*/ 8942743 w 10505529"/>
              <a:gd name="connsiteY21750" fmla="*/ 3719802 h 7458372"/>
              <a:gd name="connsiteX21751" fmla="*/ 8939150 w 10505529"/>
              <a:gd name="connsiteY21751" fmla="*/ 3729253 h 7458372"/>
              <a:gd name="connsiteX21752" fmla="*/ 8942743 w 10505529"/>
              <a:gd name="connsiteY21752" fmla="*/ 3738705 h 7458372"/>
              <a:gd name="connsiteX21753" fmla="*/ 8952728 w 10505529"/>
              <a:gd name="connsiteY21753" fmla="*/ 3742165 h 7458372"/>
              <a:gd name="connsiteX21754" fmla="*/ 8958053 w 10505529"/>
              <a:gd name="connsiteY21754" fmla="*/ 3741367 h 7458372"/>
              <a:gd name="connsiteX21755" fmla="*/ 8961780 w 10505529"/>
              <a:gd name="connsiteY21755" fmla="*/ 3738970 h 7458372"/>
              <a:gd name="connsiteX21756" fmla="*/ 8964442 w 10505529"/>
              <a:gd name="connsiteY21756" fmla="*/ 3734711 h 7458372"/>
              <a:gd name="connsiteX21757" fmla="*/ 8965507 w 10505529"/>
              <a:gd name="connsiteY21757" fmla="*/ 3729253 h 7458372"/>
              <a:gd name="connsiteX21758" fmla="*/ 8964442 w 10505529"/>
              <a:gd name="connsiteY21758" fmla="*/ 3724061 h 7458372"/>
              <a:gd name="connsiteX21759" fmla="*/ 8961780 w 10505529"/>
              <a:gd name="connsiteY21759" fmla="*/ 3719802 h 7458372"/>
              <a:gd name="connsiteX21760" fmla="*/ 8957786 w 10505529"/>
              <a:gd name="connsiteY21760" fmla="*/ 3717139 h 7458372"/>
              <a:gd name="connsiteX21761" fmla="*/ 8952728 w 10505529"/>
              <a:gd name="connsiteY21761" fmla="*/ 3716208 h 7458372"/>
              <a:gd name="connsiteX21762" fmla="*/ 8735083 w 10505529"/>
              <a:gd name="connsiteY21762" fmla="*/ 3716208 h 7458372"/>
              <a:gd name="connsiteX21763" fmla="*/ 8725098 w 10505529"/>
              <a:gd name="connsiteY21763" fmla="*/ 3719802 h 7458372"/>
              <a:gd name="connsiteX21764" fmla="*/ 8721504 w 10505529"/>
              <a:gd name="connsiteY21764" fmla="*/ 3729253 h 7458372"/>
              <a:gd name="connsiteX21765" fmla="*/ 8725098 w 10505529"/>
              <a:gd name="connsiteY21765" fmla="*/ 3738705 h 7458372"/>
              <a:gd name="connsiteX21766" fmla="*/ 8735083 w 10505529"/>
              <a:gd name="connsiteY21766" fmla="*/ 3742165 h 7458372"/>
              <a:gd name="connsiteX21767" fmla="*/ 8740407 w 10505529"/>
              <a:gd name="connsiteY21767" fmla="*/ 3741367 h 7458372"/>
              <a:gd name="connsiteX21768" fmla="*/ 8744134 w 10505529"/>
              <a:gd name="connsiteY21768" fmla="*/ 3738970 h 7458372"/>
              <a:gd name="connsiteX21769" fmla="*/ 8746797 w 10505529"/>
              <a:gd name="connsiteY21769" fmla="*/ 3734711 h 7458372"/>
              <a:gd name="connsiteX21770" fmla="*/ 8747862 w 10505529"/>
              <a:gd name="connsiteY21770" fmla="*/ 3729253 h 7458372"/>
              <a:gd name="connsiteX21771" fmla="*/ 8746797 w 10505529"/>
              <a:gd name="connsiteY21771" fmla="*/ 3724061 h 7458372"/>
              <a:gd name="connsiteX21772" fmla="*/ 8744134 w 10505529"/>
              <a:gd name="connsiteY21772" fmla="*/ 3719802 h 7458372"/>
              <a:gd name="connsiteX21773" fmla="*/ 8740141 w 10505529"/>
              <a:gd name="connsiteY21773" fmla="*/ 3717139 h 7458372"/>
              <a:gd name="connsiteX21774" fmla="*/ 8735083 w 10505529"/>
              <a:gd name="connsiteY21774" fmla="*/ 3716208 h 7458372"/>
              <a:gd name="connsiteX21775" fmla="*/ 8517438 w 10505529"/>
              <a:gd name="connsiteY21775" fmla="*/ 3716208 h 7458372"/>
              <a:gd name="connsiteX21776" fmla="*/ 8507453 w 10505529"/>
              <a:gd name="connsiteY21776" fmla="*/ 3719802 h 7458372"/>
              <a:gd name="connsiteX21777" fmla="*/ 8503860 w 10505529"/>
              <a:gd name="connsiteY21777" fmla="*/ 3729253 h 7458372"/>
              <a:gd name="connsiteX21778" fmla="*/ 8507453 w 10505529"/>
              <a:gd name="connsiteY21778" fmla="*/ 3738705 h 7458372"/>
              <a:gd name="connsiteX21779" fmla="*/ 8517438 w 10505529"/>
              <a:gd name="connsiteY21779" fmla="*/ 3742165 h 7458372"/>
              <a:gd name="connsiteX21780" fmla="*/ 8522763 w 10505529"/>
              <a:gd name="connsiteY21780" fmla="*/ 3741367 h 7458372"/>
              <a:gd name="connsiteX21781" fmla="*/ 8526490 w 10505529"/>
              <a:gd name="connsiteY21781" fmla="*/ 3738970 h 7458372"/>
              <a:gd name="connsiteX21782" fmla="*/ 8529152 w 10505529"/>
              <a:gd name="connsiteY21782" fmla="*/ 3734711 h 7458372"/>
              <a:gd name="connsiteX21783" fmla="*/ 8530084 w 10505529"/>
              <a:gd name="connsiteY21783" fmla="*/ 3729253 h 7458372"/>
              <a:gd name="connsiteX21784" fmla="*/ 8529152 w 10505529"/>
              <a:gd name="connsiteY21784" fmla="*/ 3724061 h 7458372"/>
              <a:gd name="connsiteX21785" fmla="*/ 8526490 w 10505529"/>
              <a:gd name="connsiteY21785" fmla="*/ 3719802 h 7458372"/>
              <a:gd name="connsiteX21786" fmla="*/ 8522496 w 10505529"/>
              <a:gd name="connsiteY21786" fmla="*/ 3717139 h 7458372"/>
              <a:gd name="connsiteX21787" fmla="*/ 8517438 w 10505529"/>
              <a:gd name="connsiteY21787" fmla="*/ 3716208 h 7458372"/>
              <a:gd name="connsiteX21788" fmla="*/ 8299793 w 10505529"/>
              <a:gd name="connsiteY21788" fmla="*/ 3716208 h 7458372"/>
              <a:gd name="connsiteX21789" fmla="*/ 8289809 w 10505529"/>
              <a:gd name="connsiteY21789" fmla="*/ 3719802 h 7458372"/>
              <a:gd name="connsiteX21790" fmla="*/ 8286215 w 10505529"/>
              <a:gd name="connsiteY21790" fmla="*/ 3729253 h 7458372"/>
              <a:gd name="connsiteX21791" fmla="*/ 8289809 w 10505529"/>
              <a:gd name="connsiteY21791" fmla="*/ 3738705 h 7458372"/>
              <a:gd name="connsiteX21792" fmla="*/ 8299793 w 10505529"/>
              <a:gd name="connsiteY21792" fmla="*/ 3742165 h 7458372"/>
              <a:gd name="connsiteX21793" fmla="*/ 8305118 w 10505529"/>
              <a:gd name="connsiteY21793" fmla="*/ 3741367 h 7458372"/>
              <a:gd name="connsiteX21794" fmla="*/ 8308844 w 10505529"/>
              <a:gd name="connsiteY21794" fmla="*/ 3738970 h 7458372"/>
              <a:gd name="connsiteX21795" fmla="*/ 8311507 w 10505529"/>
              <a:gd name="connsiteY21795" fmla="*/ 3734711 h 7458372"/>
              <a:gd name="connsiteX21796" fmla="*/ 8312439 w 10505529"/>
              <a:gd name="connsiteY21796" fmla="*/ 3729253 h 7458372"/>
              <a:gd name="connsiteX21797" fmla="*/ 8311507 w 10505529"/>
              <a:gd name="connsiteY21797" fmla="*/ 3724061 h 7458372"/>
              <a:gd name="connsiteX21798" fmla="*/ 8308844 w 10505529"/>
              <a:gd name="connsiteY21798" fmla="*/ 3719802 h 7458372"/>
              <a:gd name="connsiteX21799" fmla="*/ 8304851 w 10505529"/>
              <a:gd name="connsiteY21799" fmla="*/ 3717139 h 7458372"/>
              <a:gd name="connsiteX21800" fmla="*/ 8299793 w 10505529"/>
              <a:gd name="connsiteY21800" fmla="*/ 3716208 h 7458372"/>
              <a:gd name="connsiteX21801" fmla="*/ 8082281 w 10505529"/>
              <a:gd name="connsiteY21801" fmla="*/ 3716208 h 7458372"/>
              <a:gd name="connsiteX21802" fmla="*/ 8072297 w 10505529"/>
              <a:gd name="connsiteY21802" fmla="*/ 3719802 h 7458372"/>
              <a:gd name="connsiteX21803" fmla="*/ 8068703 w 10505529"/>
              <a:gd name="connsiteY21803" fmla="*/ 3729253 h 7458372"/>
              <a:gd name="connsiteX21804" fmla="*/ 8072297 w 10505529"/>
              <a:gd name="connsiteY21804" fmla="*/ 3738705 h 7458372"/>
              <a:gd name="connsiteX21805" fmla="*/ 8082281 w 10505529"/>
              <a:gd name="connsiteY21805" fmla="*/ 3742165 h 7458372"/>
              <a:gd name="connsiteX21806" fmla="*/ 8087605 w 10505529"/>
              <a:gd name="connsiteY21806" fmla="*/ 3741367 h 7458372"/>
              <a:gd name="connsiteX21807" fmla="*/ 8091332 w 10505529"/>
              <a:gd name="connsiteY21807" fmla="*/ 3738970 h 7458372"/>
              <a:gd name="connsiteX21808" fmla="*/ 8093994 w 10505529"/>
              <a:gd name="connsiteY21808" fmla="*/ 3734711 h 7458372"/>
              <a:gd name="connsiteX21809" fmla="*/ 8094926 w 10505529"/>
              <a:gd name="connsiteY21809" fmla="*/ 3729253 h 7458372"/>
              <a:gd name="connsiteX21810" fmla="*/ 8093994 w 10505529"/>
              <a:gd name="connsiteY21810" fmla="*/ 3724061 h 7458372"/>
              <a:gd name="connsiteX21811" fmla="*/ 8091332 w 10505529"/>
              <a:gd name="connsiteY21811" fmla="*/ 3719802 h 7458372"/>
              <a:gd name="connsiteX21812" fmla="*/ 8087338 w 10505529"/>
              <a:gd name="connsiteY21812" fmla="*/ 3717139 h 7458372"/>
              <a:gd name="connsiteX21813" fmla="*/ 8082281 w 10505529"/>
              <a:gd name="connsiteY21813" fmla="*/ 3716208 h 7458372"/>
              <a:gd name="connsiteX21814" fmla="*/ 7864636 w 10505529"/>
              <a:gd name="connsiteY21814" fmla="*/ 3716208 h 7458372"/>
              <a:gd name="connsiteX21815" fmla="*/ 7854652 w 10505529"/>
              <a:gd name="connsiteY21815" fmla="*/ 3719802 h 7458372"/>
              <a:gd name="connsiteX21816" fmla="*/ 7851058 w 10505529"/>
              <a:gd name="connsiteY21816" fmla="*/ 3729253 h 7458372"/>
              <a:gd name="connsiteX21817" fmla="*/ 7854652 w 10505529"/>
              <a:gd name="connsiteY21817" fmla="*/ 3738705 h 7458372"/>
              <a:gd name="connsiteX21818" fmla="*/ 7864636 w 10505529"/>
              <a:gd name="connsiteY21818" fmla="*/ 3742165 h 7458372"/>
              <a:gd name="connsiteX21819" fmla="*/ 7869961 w 10505529"/>
              <a:gd name="connsiteY21819" fmla="*/ 3741367 h 7458372"/>
              <a:gd name="connsiteX21820" fmla="*/ 7873687 w 10505529"/>
              <a:gd name="connsiteY21820" fmla="*/ 3738970 h 7458372"/>
              <a:gd name="connsiteX21821" fmla="*/ 7876350 w 10505529"/>
              <a:gd name="connsiteY21821" fmla="*/ 3734711 h 7458372"/>
              <a:gd name="connsiteX21822" fmla="*/ 7877282 w 10505529"/>
              <a:gd name="connsiteY21822" fmla="*/ 3729253 h 7458372"/>
              <a:gd name="connsiteX21823" fmla="*/ 7876350 w 10505529"/>
              <a:gd name="connsiteY21823" fmla="*/ 3724061 h 7458372"/>
              <a:gd name="connsiteX21824" fmla="*/ 7873687 w 10505529"/>
              <a:gd name="connsiteY21824" fmla="*/ 3719802 h 7458372"/>
              <a:gd name="connsiteX21825" fmla="*/ 7869694 w 10505529"/>
              <a:gd name="connsiteY21825" fmla="*/ 3717139 h 7458372"/>
              <a:gd name="connsiteX21826" fmla="*/ 7864636 w 10505529"/>
              <a:gd name="connsiteY21826" fmla="*/ 3716208 h 7458372"/>
              <a:gd name="connsiteX21827" fmla="*/ 7646991 w 10505529"/>
              <a:gd name="connsiteY21827" fmla="*/ 3716208 h 7458372"/>
              <a:gd name="connsiteX21828" fmla="*/ 7637007 w 10505529"/>
              <a:gd name="connsiteY21828" fmla="*/ 3719802 h 7458372"/>
              <a:gd name="connsiteX21829" fmla="*/ 7633413 w 10505529"/>
              <a:gd name="connsiteY21829" fmla="*/ 3729253 h 7458372"/>
              <a:gd name="connsiteX21830" fmla="*/ 7637007 w 10505529"/>
              <a:gd name="connsiteY21830" fmla="*/ 3738705 h 7458372"/>
              <a:gd name="connsiteX21831" fmla="*/ 7646991 w 10505529"/>
              <a:gd name="connsiteY21831" fmla="*/ 3742165 h 7458372"/>
              <a:gd name="connsiteX21832" fmla="*/ 7652315 w 10505529"/>
              <a:gd name="connsiteY21832" fmla="*/ 3741367 h 7458372"/>
              <a:gd name="connsiteX21833" fmla="*/ 7656042 w 10505529"/>
              <a:gd name="connsiteY21833" fmla="*/ 3738970 h 7458372"/>
              <a:gd name="connsiteX21834" fmla="*/ 7658705 w 10505529"/>
              <a:gd name="connsiteY21834" fmla="*/ 3734711 h 7458372"/>
              <a:gd name="connsiteX21835" fmla="*/ 7659769 w 10505529"/>
              <a:gd name="connsiteY21835" fmla="*/ 3729253 h 7458372"/>
              <a:gd name="connsiteX21836" fmla="*/ 7658705 w 10505529"/>
              <a:gd name="connsiteY21836" fmla="*/ 3724061 h 7458372"/>
              <a:gd name="connsiteX21837" fmla="*/ 7656042 w 10505529"/>
              <a:gd name="connsiteY21837" fmla="*/ 3719802 h 7458372"/>
              <a:gd name="connsiteX21838" fmla="*/ 7652049 w 10505529"/>
              <a:gd name="connsiteY21838" fmla="*/ 3717139 h 7458372"/>
              <a:gd name="connsiteX21839" fmla="*/ 7646991 w 10505529"/>
              <a:gd name="connsiteY21839" fmla="*/ 3716208 h 7458372"/>
              <a:gd name="connsiteX21840" fmla="*/ 7429345 w 10505529"/>
              <a:gd name="connsiteY21840" fmla="*/ 3716208 h 7458372"/>
              <a:gd name="connsiteX21841" fmla="*/ 7419361 w 10505529"/>
              <a:gd name="connsiteY21841" fmla="*/ 3719802 h 7458372"/>
              <a:gd name="connsiteX21842" fmla="*/ 7415768 w 10505529"/>
              <a:gd name="connsiteY21842" fmla="*/ 3729253 h 7458372"/>
              <a:gd name="connsiteX21843" fmla="*/ 7419361 w 10505529"/>
              <a:gd name="connsiteY21843" fmla="*/ 3738705 h 7458372"/>
              <a:gd name="connsiteX21844" fmla="*/ 7429345 w 10505529"/>
              <a:gd name="connsiteY21844" fmla="*/ 3742165 h 7458372"/>
              <a:gd name="connsiteX21845" fmla="*/ 7434670 w 10505529"/>
              <a:gd name="connsiteY21845" fmla="*/ 3741367 h 7458372"/>
              <a:gd name="connsiteX21846" fmla="*/ 7438397 w 10505529"/>
              <a:gd name="connsiteY21846" fmla="*/ 3738970 h 7458372"/>
              <a:gd name="connsiteX21847" fmla="*/ 7441059 w 10505529"/>
              <a:gd name="connsiteY21847" fmla="*/ 3734711 h 7458372"/>
              <a:gd name="connsiteX21848" fmla="*/ 7442124 w 10505529"/>
              <a:gd name="connsiteY21848" fmla="*/ 3729253 h 7458372"/>
              <a:gd name="connsiteX21849" fmla="*/ 7441059 w 10505529"/>
              <a:gd name="connsiteY21849" fmla="*/ 3724061 h 7458372"/>
              <a:gd name="connsiteX21850" fmla="*/ 7438397 w 10505529"/>
              <a:gd name="connsiteY21850" fmla="*/ 3719802 h 7458372"/>
              <a:gd name="connsiteX21851" fmla="*/ 7434403 w 10505529"/>
              <a:gd name="connsiteY21851" fmla="*/ 3717139 h 7458372"/>
              <a:gd name="connsiteX21852" fmla="*/ 7429345 w 10505529"/>
              <a:gd name="connsiteY21852" fmla="*/ 3716208 h 7458372"/>
              <a:gd name="connsiteX21853" fmla="*/ 7211701 w 10505529"/>
              <a:gd name="connsiteY21853" fmla="*/ 3716208 h 7458372"/>
              <a:gd name="connsiteX21854" fmla="*/ 7201717 w 10505529"/>
              <a:gd name="connsiteY21854" fmla="*/ 3719802 h 7458372"/>
              <a:gd name="connsiteX21855" fmla="*/ 7198123 w 10505529"/>
              <a:gd name="connsiteY21855" fmla="*/ 3729253 h 7458372"/>
              <a:gd name="connsiteX21856" fmla="*/ 7201717 w 10505529"/>
              <a:gd name="connsiteY21856" fmla="*/ 3738705 h 7458372"/>
              <a:gd name="connsiteX21857" fmla="*/ 7211701 w 10505529"/>
              <a:gd name="connsiteY21857" fmla="*/ 3742165 h 7458372"/>
              <a:gd name="connsiteX21858" fmla="*/ 7217026 w 10505529"/>
              <a:gd name="connsiteY21858" fmla="*/ 3741367 h 7458372"/>
              <a:gd name="connsiteX21859" fmla="*/ 7220752 w 10505529"/>
              <a:gd name="connsiteY21859" fmla="*/ 3738970 h 7458372"/>
              <a:gd name="connsiteX21860" fmla="*/ 7223415 w 10505529"/>
              <a:gd name="connsiteY21860" fmla="*/ 3734711 h 7458372"/>
              <a:gd name="connsiteX21861" fmla="*/ 7224480 w 10505529"/>
              <a:gd name="connsiteY21861" fmla="*/ 3729253 h 7458372"/>
              <a:gd name="connsiteX21862" fmla="*/ 7223415 w 10505529"/>
              <a:gd name="connsiteY21862" fmla="*/ 3724061 h 7458372"/>
              <a:gd name="connsiteX21863" fmla="*/ 7220752 w 10505529"/>
              <a:gd name="connsiteY21863" fmla="*/ 3719802 h 7458372"/>
              <a:gd name="connsiteX21864" fmla="*/ 7216759 w 10505529"/>
              <a:gd name="connsiteY21864" fmla="*/ 3717139 h 7458372"/>
              <a:gd name="connsiteX21865" fmla="*/ 7211701 w 10505529"/>
              <a:gd name="connsiteY21865" fmla="*/ 3716208 h 7458372"/>
              <a:gd name="connsiteX21866" fmla="*/ 6994056 w 10505529"/>
              <a:gd name="connsiteY21866" fmla="*/ 3716208 h 7458372"/>
              <a:gd name="connsiteX21867" fmla="*/ 6984072 w 10505529"/>
              <a:gd name="connsiteY21867" fmla="*/ 3719802 h 7458372"/>
              <a:gd name="connsiteX21868" fmla="*/ 6980478 w 10505529"/>
              <a:gd name="connsiteY21868" fmla="*/ 3729253 h 7458372"/>
              <a:gd name="connsiteX21869" fmla="*/ 6984072 w 10505529"/>
              <a:gd name="connsiteY21869" fmla="*/ 3738705 h 7458372"/>
              <a:gd name="connsiteX21870" fmla="*/ 6994056 w 10505529"/>
              <a:gd name="connsiteY21870" fmla="*/ 3742165 h 7458372"/>
              <a:gd name="connsiteX21871" fmla="*/ 6999380 w 10505529"/>
              <a:gd name="connsiteY21871" fmla="*/ 3741367 h 7458372"/>
              <a:gd name="connsiteX21872" fmla="*/ 7003107 w 10505529"/>
              <a:gd name="connsiteY21872" fmla="*/ 3738970 h 7458372"/>
              <a:gd name="connsiteX21873" fmla="*/ 7005769 w 10505529"/>
              <a:gd name="connsiteY21873" fmla="*/ 3734711 h 7458372"/>
              <a:gd name="connsiteX21874" fmla="*/ 7006834 w 10505529"/>
              <a:gd name="connsiteY21874" fmla="*/ 3729253 h 7458372"/>
              <a:gd name="connsiteX21875" fmla="*/ 7005769 w 10505529"/>
              <a:gd name="connsiteY21875" fmla="*/ 3724061 h 7458372"/>
              <a:gd name="connsiteX21876" fmla="*/ 7003107 w 10505529"/>
              <a:gd name="connsiteY21876" fmla="*/ 3719802 h 7458372"/>
              <a:gd name="connsiteX21877" fmla="*/ 6999113 w 10505529"/>
              <a:gd name="connsiteY21877" fmla="*/ 3717139 h 7458372"/>
              <a:gd name="connsiteX21878" fmla="*/ 6994056 w 10505529"/>
              <a:gd name="connsiteY21878" fmla="*/ 3716208 h 7458372"/>
              <a:gd name="connsiteX21879" fmla="*/ 6776544 w 10505529"/>
              <a:gd name="connsiteY21879" fmla="*/ 3716208 h 7458372"/>
              <a:gd name="connsiteX21880" fmla="*/ 6766560 w 10505529"/>
              <a:gd name="connsiteY21880" fmla="*/ 3719802 h 7458372"/>
              <a:gd name="connsiteX21881" fmla="*/ 6762966 w 10505529"/>
              <a:gd name="connsiteY21881" fmla="*/ 3729253 h 7458372"/>
              <a:gd name="connsiteX21882" fmla="*/ 6766560 w 10505529"/>
              <a:gd name="connsiteY21882" fmla="*/ 3738705 h 7458372"/>
              <a:gd name="connsiteX21883" fmla="*/ 6776544 w 10505529"/>
              <a:gd name="connsiteY21883" fmla="*/ 3742165 h 7458372"/>
              <a:gd name="connsiteX21884" fmla="*/ 6781869 w 10505529"/>
              <a:gd name="connsiteY21884" fmla="*/ 3741367 h 7458372"/>
              <a:gd name="connsiteX21885" fmla="*/ 6785595 w 10505529"/>
              <a:gd name="connsiteY21885" fmla="*/ 3738970 h 7458372"/>
              <a:gd name="connsiteX21886" fmla="*/ 6788258 w 10505529"/>
              <a:gd name="connsiteY21886" fmla="*/ 3734711 h 7458372"/>
              <a:gd name="connsiteX21887" fmla="*/ 6789323 w 10505529"/>
              <a:gd name="connsiteY21887" fmla="*/ 3729253 h 7458372"/>
              <a:gd name="connsiteX21888" fmla="*/ 6788258 w 10505529"/>
              <a:gd name="connsiteY21888" fmla="*/ 3724061 h 7458372"/>
              <a:gd name="connsiteX21889" fmla="*/ 6785595 w 10505529"/>
              <a:gd name="connsiteY21889" fmla="*/ 3719802 h 7458372"/>
              <a:gd name="connsiteX21890" fmla="*/ 6781602 w 10505529"/>
              <a:gd name="connsiteY21890" fmla="*/ 3717139 h 7458372"/>
              <a:gd name="connsiteX21891" fmla="*/ 6776544 w 10505529"/>
              <a:gd name="connsiteY21891" fmla="*/ 3716208 h 7458372"/>
              <a:gd name="connsiteX21892" fmla="*/ 6558899 w 10505529"/>
              <a:gd name="connsiteY21892" fmla="*/ 3716208 h 7458372"/>
              <a:gd name="connsiteX21893" fmla="*/ 6548915 w 10505529"/>
              <a:gd name="connsiteY21893" fmla="*/ 3719802 h 7458372"/>
              <a:gd name="connsiteX21894" fmla="*/ 6545321 w 10505529"/>
              <a:gd name="connsiteY21894" fmla="*/ 3729253 h 7458372"/>
              <a:gd name="connsiteX21895" fmla="*/ 6548915 w 10505529"/>
              <a:gd name="connsiteY21895" fmla="*/ 3738705 h 7458372"/>
              <a:gd name="connsiteX21896" fmla="*/ 6558899 w 10505529"/>
              <a:gd name="connsiteY21896" fmla="*/ 3742165 h 7458372"/>
              <a:gd name="connsiteX21897" fmla="*/ 6564223 w 10505529"/>
              <a:gd name="connsiteY21897" fmla="*/ 3741367 h 7458372"/>
              <a:gd name="connsiteX21898" fmla="*/ 6567950 w 10505529"/>
              <a:gd name="connsiteY21898" fmla="*/ 3738970 h 7458372"/>
              <a:gd name="connsiteX21899" fmla="*/ 6570612 w 10505529"/>
              <a:gd name="connsiteY21899" fmla="*/ 3734711 h 7458372"/>
              <a:gd name="connsiteX21900" fmla="*/ 6571677 w 10505529"/>
              <a:gd name="connsiteY21900" fmla="*/ 3729253 h 7458372"/>
              <a:gd name="connsiteX21901" fmla="*/ 6570612 w 10505529"/>
              <a:gd name="connsiteY21901" fmla="*/ 3724061 h 7458372"/>
              <a:gd name="connsiteX21902" fmla="*/ 6567950 w 10505529"/>
              <a:gd name="connsiteY21902" fmla="*/ 3719802 h 7458372"/>
              <a:gd name="connsiteX21903" fmla="*/ 6563956 w 10505529"/>
              <a:gd name="connsiteY21903" fmla="*/ 3717139 h 7458372"/>
              <a:gd name="connsiteX21904" fmla="*/ 6558899 w 10505529"/>
              <a:gd name="connsiteY21904" fmla="*/ 3716208 h 7458372"/>
              <a:gd name="connsiteX21905" fmla="*/ 6341253 w 10505529"/>
              <a:gd name="connsiteY21905" fmla="*/ 3716208 h 7458372"/>
              <a:gd name="connsiteX21906" fmla="*/ 6331270 w 10505529"/>
              <a:gd name="connsiteY21906" fmla="*/ 3719802 h 7458372"/>
              <a:gd name="connsiteX21907" fmla="*/ 6327675 w 10505529"/>
              <a:gd name="connsiteY21907" fmla="*/ 3729253 h 7458372"/>
              <a:gd name="connsiteX21908" fmla="*/ 6331270 w 10505529"/>
              <a:gd name="connsiteY21908" fmla="*/ 3738705 h 7458372"/>
              <a:gd name="connsiteX21909" fmla="*/ 6341253 w 10505529"/>
              <a:gd name="connsiteY21909" fmla="*/ 3742165 h 7458372"/>
              <a:gd name="connsiteX21910" fmla="*/ 6346578 w 10505529"/>
              <a:gd name="connsiteY21910" fmla="*/ 3741367 h 7458372"/>
              <a:gd name="connsiteX21911" fmla="*/ 6350305 w 10505529"/>
              <a:gd name="connsiteY21911" fmla="*/ 3738970 h 7458372"/>
              <a:gd name="connsiteX21912" fmla="*/ 6352968 w 10505529"/>
              <a:gd name="connsiteY21912" fmla="*/ 3734711 h 7458372"/>
              <a:gd name="connsiteX21913" fmla="*/ 6354033 w 10505529"/>
              <a:gd name="connsiteY21913" fmla="*/ 3729253 h 7458372"/>
              <a:gd name="connsiteX21914" fmla="*/ 6352968 w 10505529"/>
              <a:gd name="connsiteY21914" fmla="*/ 3724061 h 7458372"/>
              <a:gd name="connsiteX21915" fmla="*/ 6350305 w 10505529"/>
              <a:gd name="connsiteY21915" fmla="*/ 3719802 h 7458372"/>
              <a:gd name="connsiteX21916" fmla="*/ 6346312 w 10505529"/>
              <a:gd name="connsiteY21916" fmla="*/ 3717139 h 7458372"/>
              <a:gd name="connsiteX21917" fmla="*/ 6341253 w 10505529"/>
              <a:gd name="connsiteY21917" fmla="*/ 3716208 h 7458372"/>
              <a:gd name="connsiteX21918" fmla="*/ 6123608 w 10505529"/>
              <a:gd name="connsiteY21918" fmla="*/ 3716208 h 7458372"/>
              <a:gd name="connsiteX21919" fmla="*/ 6113624 w 10505529"/>
              <a:gd name="connsiteY21919" fmla="*/ 3719802 h 7458372"/>
              <a:gd name="connsiteX21920" fmla="*/ 6110030 w 10505529"/>
              <a:gd name="connsiteY21920" fmla="*/ 3729253 h 7458372"/>
              <a:gd name="connsiteX21921" fmla="*/ 6113624 w 10505529"/>
              <a:gd name="connsiteY21921" fmla="*/ 3738705 h 7458372"/>
              <a:gd name="connsiteX21922" fmla="*/ 6123608 w 10505529"/>
              <a:gd name="connsiteY21922" fmla="*/ 3742165 h 7458372"/>
              <a:gd name="connsiteX21923" fmla="*/ 6128932 w 10505529"/>
              <a:gd name="connsiteY21923" fmla="*/ 3741367 h 7458372"/>
              <a:gd name="connsiteX21924" fmla="*/ 6132659 w 10505529"/>
              <a:gd name="connsiteY21924" fmla="*/ 3738970 h 7458372"/>
              <a:gd name="connsiteX21925" fmla="*/ 6135322 w 10505529"/>
              <a:gd name="connsiteY21925" fmla="*/ 3734711 h 7458372"/>
              <a:gd name="connsiteX21926" fmla="*/ 6136387 w 10505529"/>
              <a:gd name="connsiteY21926" fmla="*/ 3729253 h 7458372"/>
              <a:gd name="connsiteX21927" fmla="*/ 6135322 w 10505529"/>
              <a:gd name="connsiteY21927" fmla="*/ 3724061 h 7458372"/>
              <a:gd name="connsiteX21928" fmla="*/ 6132659 w 10505529"/>
              <a:gd name="connsiteY21928" fmla="*/ 3719802 h 7458372"/>
              <a:gd name="connsiteX21929" fmla="*/ 6128666 w 10505529"/>
              <a:gd name="connsiteY21929" fmla="*/ 3717139 h 7458372"/>
              <a:gd name="connsiteX21930" fmla="*/ 6123608 w 10505529"/>
              <a:gd name="connsiteY21930" fmla="*/ 3716208 h 7458372"/>
              <a:gd name="connsiteX21931" fmla="*/ 5905963 w 10505529"/>
              <a:gd name="connsiteY21931" fmla="*/ 3716208 h 7458372"/>
              <a:gd name="connsiteX21932" fmla="*/ 5895979 w 10505529"/>
              <a:gd name="connsiteY21932" fmla="*/ 3719802 h 7458372"/>
              <a:gd name="connsiteX21933" fmla="*/ 5892385 w 10505529"/>
              <a:gd name="connsiteY21933" fmla="*/ 3729253 h 7458372"/>
              <a:gd name="connsiteX21934" fmla="*/ 5895979 w 10505529"/>
              <a:gd name="connsiteY21934" fmla="*/ 3738705 h 7458372"/>
              <a:gd name="connsiteX21935" fmla="*/ 5905963 w 10505529"/>
              <a:gd name="connsiteY21935" fmla="*/ 3742165 h 7458372"/>
              <a:gd name="connsiteX21936" fmla="*/ 5911287 w 10505529"/>
              <a:gd name="connsiteY21936" fmla="*/ 3741367 h 7458372"/>
              <a:gd name="connsiteX21937" fmla="*/ 5915014 w 10505529"/>
              <a:gd name="connsiteY21937" fmla="*/ 3738970 h 7458372"/>
              <a:gd name="connsiteX21938" fmla="*/ 5917677 w 10505529"/>
              <a:gd name="connsiteY21938" fmla="*/ 3734711 h 7458372"/>
              <a:gd name="connsiteX21939" fmla="*/ 5918742 w 10505529"/>
              <a:gd name="connsiteY21939" fmla="*/ 3729253 h 7458372"/>
              <a:gd name="connsiteX21940" fmla="*/ 5917677 w 10505529"/>
              <a:gd name="connsiteY21940" fmla="*/ 3724061 h 7458372"/>
              <a:gd name="connsiteX21941" fmla="*/ 5915014 w 10505529"/>
              <a:gd name="connsiteY21941" fmla="*/ 3719802 h 7458372"/>
              <a:gd name="connsiteX21942" fmla="*/ 5911021 w 10505529"/>
              <a:gd name="connsiteY21942" fmla="*/ 3717139 h 7458372"/>
              <a:gd name="connsiteX21943" fmla="*/ 5905963 w 10505529"/>
              <a:gd name="connsiteY21943" fmla="*/ 3716208 h 7458372"/>
              <a:gd name="connsiteX21944" fmla="*/ 5688451 w 10505529"/>
              <a:gd name="connsiteY21944" fmla="*/ 3716208 h 7458372"/>
              <a:gd name="connsiteX21945" fmla="*/ 5678467 w 10505529"/>
              <a:gd name="connsiteY21945" fmla="*/ 3719802 h 7458372"/>
              <a:gd name="connsiteX21946" fmla="*/ 5674873 w 10505529"/>
              <a:gd name="connsiteY21946" fmla="*/ 3729253 h 7458372"/>
              <a:gd name="connsiteX21947" fmla="*/ 5678467 w 10505529"/>
              <a:gd name="connsiteY21947" fmla="*/ 3738705 h 7458372"/>
              <a:gd name="connsiteX21948" fmla="*/ 5688451 w 10505529"/>
              <a:gd name="connsiteY21948" fmla="*/ 3742165 h 7458372"/>
              <a:gd name="connsiteX21949" fmla="*/ 5693775 w 10505529"/>
              <a:gd name="connsiteY21949" fmla="*/ 3741367 h 7458372"/>
              <a:gd name="connsiteX21950" fmla="*/ 5697502 w 10505529"/>
              <a:gd name="connsiteY21950" fmla="*/ 3738970 h 7458372"/>
              <a:gd name="connsiteX21951" fmla="*/ 5700165 w 10505529"/>
              <a:gd name="connsiteY21951" fmla="*/ 3734711 h 7458372"/>
              <a:gd name="connsiteX21952" fmla="*/ 5701230 w 10505529"/>
              <a:gd name="connsiteY21952" fmla="*/ 3729253 h 7458372"/>
              <a:gd name="connsiteX21953" fmla="*/ 5700165 w 10505529"/>
              <a:gd name="connsiteY21953" fmla="*/ 3724061 h 7458372"/>
              <a:gd name="connsiteX21954" fmla="*/ 5697502 w 10505529"/>
              <a:gd name="connsiteY21954" fmla="*/ 3719802 h 7458372"/>
              <a:gd name="connsiteX21955" fmla="*/ 5693509 w 10505529"/>
              <a:gd name="connsiteY21955" fmla="*/ 3717139 h 7458372"/>
              <a:gd name="connsiteX21956" fmla="*/ 5688451 w 10505529"/>
              <a:gd name="connsiteY21956" fmla="*/ 3716208 h 7458372"/>
              <a:gd name="connsiteX21957" fmla="*/ 5470806 w 10505529"/>
              <a:gd name="connsiteY21957" fmla="*/ 3716208 h 7458372"/>
              <a:gd name="connsiteX21958" fmla="*/ 5460822 w 10505529"/>
              <a:gd name="connsiteY21958" fmla="*/ 3719802 h 7458372"/>
              <a:gd name="connsiteX21959" fmla="*/ 5457228 w 10505529"/>
              <a:gd name="connsiteY21959" fmla="*/ 3729253 h 7458372"/>
              <a:gd name="connsiteX21960" fmla="*/ 5460822 w 10505529"/>
              <a:gd name="connsiteY21960" fmla="*/ 3738705 h 7458372"/>
              <a:gd name="connsiteX21961" fmla="*/ 5470806 w 10505529"/>
              <a:gd name="connsiteY21961" fmla="*/ 3742165 h 7458372"/>
              <a:gd name="connsiteX21962" fmla="*/ 5476130 w 10505529"/>
              <a:gd name="connsiteY21962" fmla="*/ 3741367 h 7458372"/>
              <a:gd name="connsiteX21963" fmla="*/ 5479857 w 10505529"/>
              <a:gd name="connsiteY21963" fmla="*/ 3738970 h 7458372"/>
              <a:gd name="connsiteX21964" fmla="*/ 5482520 w 10505529"/>
              <a:gd name="connsiteY21964" fmla="*/ 3734711 h 7458372"/>
              <a:gd name="connsiteX21965" fmla="*/ 5483585 w 10505529"/>
              <a:gd name="connsiteY21965" fmla="*/ 3729253 h 7458372"/>
              <a:gd name="connsiteX21966" fmla="*/ 5482520 w 10505529"/>
              <a:gd name="connsiteY21966" fmla="*/ 3724061 h 7458372"/>
              <a:gd name="connsiteX21967" fmla="*/ 5479857 w 10505529"/>
              <a:gd name="connsiteY21967" fmla="*/ 3719802 h 7458372"/>
              <a:gd name="connsiteX21968" fmla="*/ 5475864 w 10505529"/>
              <a:gd name="connsiteY21968" fmla="*/ 3717139 h 7458372"/>
              <a:gd name="connsiteX21969" fmla="*/ 5470806 w 10505529"/>
              <a:gd name="connsiteY21969" fmla="*/ 3716208 h 7458372"/>
              <a:gd name="connsiteX21970" fmla="*/ 5253160 w 10505529"/>
              <a:gd name="connsiteY21970" fmla="*/ 3716208 h 7458372"/>
              <a:gd name="connsiteX21971" fmla="*/ 5243177 w 10505529"/>
              <a:gd name="connsiteY21971" fmla="*/ 3719802 h 7458372"/>
              <a:gd name="connsiteX21972" fmla="*/ 5239583 w 10505529"/>
              <a:gd name="connsiteY21972" fmla="*/ 3729253 h 7458372"/>
              <a:gd name="connsiteX21973" fmla="*/ 5243177 w 10505529"/>
              <a:gd name="connsiteY21973" fmla="*/ 3738705 h 7458372"/>
              <a:gd name="connsiteX21974" fmla="*/ 5253160 w 10505529"/>
              <a:gd name="connsiteY21974" fmla="*/ 3742165 h 7458372"/>
              <a:gd name="connsiteX21975" fmla="*/ 5258485 w 10505529"/>
              <a:gd name="connsiteY21975" fmla="*/ 3741367 h 7458372"/>
              <a:gd name="connsiteX21976" fmla="*/ 5262212 w 10505529"/>
              <a:gd name="connsiteY21976" fmla="*/ 3738970 h 7458372"/>
              <a:gd name="connsiteX21977" fmla="*/ 5264875 w 10505529"/>
              <a:gd name="connsiteY21977" fmla="*/ 3734711 h 7458372"/>
              <a:gd name="connsiteX21978" fmla="*/ 5265939 w 10505529"/>
              <a:gd name="connsiteY21978" fmla="*/ 3729253 h 7458372"/>
              <a:gd name="connsiteX21979" fmla="*/ 5264875 w 10505529"/>
              <a:gd name="connsiteY21979" fmla="*/ 3724061 h 7458372"/>
              <a:gd name="connsiteX21980" fmla="*/ 5262212 w 10505529"/>
              <a:gd name="connsiteY21980" fmla="*/ 3719802 h 7458372"/>
              <a:gd name="connsiteX21981" fmla="*/ 5258219 w 10505529"/>
              <a:gd name="connsiteY21981" fmla="*/ 3717139 h 7458372"/>
              <a:gd name="connsiteX21982" fmla="*/ 5253160 w 10505529"/>
              <a:gd name="connsiteY21982" fmla="*/ 3716208 h 7458372"/>
              <a:gd name="connsiteX21983" fmla="*/ 5035515 w 10505529"/>
              <a:gd name="connsiteY21983" fmla="*/ 3716208 h 7458372"/>
              <a:gd name="connsiteX21984" fmla="*/ 5025532 w 10505529"/>
              <a:gd name="connsiteY21984" fmla="*/ 3719802 h 7458372"/>
              <a:gd name="connsiteX21985" fmla="*/ 5021938 w 10505529"/>
              <a:gd name="connsiteY21985" fmla="*/ 3729253 h 7458372"/>
              <a:gd name="connsiteX21986" fmla="*/ 5025532 w 10505529"/>
              <a:gd name="connsiteY21986" fmla="*/ 3738705 h 7458372"/>
              <a:gd name="connsiteX21987" fmla="*/ 5035515 w 10505529"/>
              <a:gd name="connsiteY21987" fmla="*/ 3742165 h 7458372"/>
              <a:gd name="connsiteX21988" fmla="*/ 5040840 w 10505529"/>
              <a:gd name="connsiteY21988" fmla="*/ 3741367 h 7458372"/>
              <a:gd name="connsiteX21989" fmla="*/ 5044567 w 10505529"/>
              <a:gd name="connsiteY21989" fmla="*/ 3738970 h 7458372"/>
              <a:gd name="connsiteX21990" fmla="*/ 5047230 w 10505529"/>
              <a:gd name="connsiteY21990" fmla="*/ 3734711 h 7458372"/>
              <a:gd name="connsiteX21991" fmla="*/ 5048294 w 10505529"/>
              <a:gd name="connsiteY21991" fmla="*/ 3729253 h 7458372"/>
              <a:gd name="connsiteX21992" fmla="*/ 5047230 w 10505529"/>
              <a:gd name="connsiteY21992" fmla="*/ 3724061 h 7458372"/>
              <a:gd name="connsiteX21993" fmla="*/ 5044567 w 10505529"/>
              <a:gd name="connsiteY21993" fmla="*/ 3719802 h 7458372"/>
              <a:gd name="connsiteX21994" fmla="*/ 5040574 w 10505529"/>
              <a:gd name="connsiteY21994" fmla="*/ 3717139 h 7458372"/>
              <a:gd name="connsiteX21995" fmla="*/ 5035515 w 10505529"/>
              <a:gd name="connsiteY21995" fmla="*/ 3716208 h 7458372"/>
              <a:gd name="connsiteX21996" fmla="*/ 4817870 w 10505529"/>
              <a:gd name="connsiteY21996" fmla="*/ 3716208 h 7458372"/>
              <a:gd name="connsiteX21997" fmla="*/ 4807887 w 10505529"/>
              <a:gd name="connsiteY21997" fmla="*/ 3719802 h 7458372"/>
              <a:gd name="connsiteX21998" fmla="*/ 4804293 w 10505529"/>
              <a:gd name="connsiteY21998" fmla="*/ 3729253 h 7458372"/>
              <a:gd name="connsiteX21999" fmla="*/ 4807887 w 10505529"/>
              <a:gd name="connsiteY21999" fmla="*/ 3738705 h 7458372"/>
              <a:gd name="connsiteX22000" fmla="*/ 4817870 w 10505529"/>
              <a:gd name="connsiteY22000" fmla="*/ 3742165 h 7458372"/>
              <a:gd name="connsiteX22001" fmla="*/ 4823195 w 10505529"/>
              <a:gd name="connsiteY22001" fmla="*/ 3741367 h 7458372"/>
              <a:gd name="connsiteX22002" fmla="*/ 4826922 w 10505529"/>
              <a:gd name="connsiteY22002" fmla="*/ 3738970 h 7458372"/>
              <a:gd name="connsiteX22003" fmla="*/ 4829585 w 10505529"/>
              <a:gd name="connsiteY22003" fmla="*/ 3734711 h 7458372"/>
              <a:gd name="connsiteX22004" fmla="*/ 4830650 w 10505529"/>
              <a:gd name="connsiteY22004" fmla="*/ 3729253 h 7458372"/>
              <a:gd name="connsiteX22005" fmla="*/ 4829585 w 10505529"/>
              <a:gd name="connsiteY22005" fmla="*/ 3724061 h 7458372"/>
              <a:gd name="connsiteX22006" fmla="*/ 4826922 w 10505529"/>
              <a:gd name="connsiteY22006" fmla="*/ 3719802 h 7458372"/>
              <a:gd name="connsiteX22007" fmla="*/ 4822929 w 10505529"/>
              <a:gd name="connsiteY22007" fmla="*/ 3717139 h 7458372"/>
              <a:gd name="connsiteX22008" fmla="*/ 4817870 w 10505529"/>
              <a:gd name="connsiteY22008" fmla="*/ 3716208 h 7458372"/>
              <a:gd name="connsiteX22009" fmla="*/ 4600226 w 10505529"/>
              <a:gd name="connsiteY22009" fmla="*/ 3716208 h 7458372"/>
              <a:gd name="connsiteX22010" fmla="*/ 4590242 w 10505529"/>
              <a:gd name="connsiteY22010" fmla="*/ 3719802 h 7458372"/>
              <a:gd name="connsiteX22011" fmla="*/ 4586648 w 10505529"/>
              <a:gd name="connsiteY22011" fmla="*/ 3729253 h 7458372"/>
              <a:gd name="connsiteX22012" fmla="*/ 4590242 w 10505529"/>
              <a:gd name="connsiteY22012" fmla="*/ 3738705 h 7458372"/>
              <a:gd name="connsiteX22013" fmla="*/ 4600226 w 10505529"/>
              <a:gd name="connsiteY22013" fmla="*/ 3742165 h 7458372"/>
              <a:gd name="connsiteX22014" fmla="*/ 4605550 w 10505529"/>
              <a:gd name="connsiteY22014" fmla="*/ 3741367 h 7458372"/>
              <a:gd name="connsiteX22015" fmla="*/ 4609277 w 10505529"/>
              <a:gd name="connsiteY22015" fmla="*/ 3738970 h 7458372"/>
              <a:gd name="connsiteX22016" fmla="*/ 4611940 w 10505529"/>
              <a:gd name="connsiteY22016" fmla="*/ 3734711 h 7458372"/>
              <a:gd name="connsiteX22017" fmla="*/ 4613005 w 10505529"/>
              <a:gd name="connsiteY22017" fmla="*/ 3729253 h 7458372"/>
              <a:gd name="connsiteX22018" fmla="*/ 4611940 w 10505529"/>
              <a:gd name="connsiteY22018" fmla="*/ 3724061 h 7458372"/>
              <a:gd name="connsiteX22019" fmla="*/ 4609277 w 10505529"/>
              <a:gd name="connsiteY22019" fmla="*/ 3719802 h 7458372"/>
              <a:gd name="connsiteX22020" fmla="*/ 4605284 w 10505529"/>
              <a:gd name="connsiteY22020" fmla="*/ 3717139 h 7458372"/>
              <a:gd name="connsiteX22021" fmla="*/ 4600226 w 10505529"/>
              <a:gd name="connsiteY22021" fmla="*/ 3716208 h 7458372"/>
              <a:gd name="connsiteX22022" fmla="*/ 4382713 w 10505529"/>
              <a:gd name="connsiteY22022" fmla="*/ 3716208 h 7458372"/>
              <a:gd name="connsiteX22023" fmla="*/ 4372730 w 10505529"/>
              <a:gd name="connsiteY22023" fmla="*/ 3719802 h 7458372"/>
              <a:gd name="connsiteX22024" fmla="*/ 4369136 w 10505529"/>
              <a:gd name="connsiteY22024" fmla="*/ 3729253 h 7458372"/>
              <a:gd name="connsiteX22025" fmla="*/ 4372730 w 10505529"/>
              <a:gd name="connsiteY22025" fmla="*/ 3738705 h 7458372"/>
              <a:gd name="connsiteX22026" fmla="*/ 4382713 w 10505529"/>
              <a:gd name="connsiteY22026" fmla="*/ 3742165 h 7458372"/>
              <a:gd name="connsiteX22027" fmla="*/ 4388038 w 10505529"/>
              <a:gd name="connsiteY22027" fmla="*/ 3741367 h 7458372"/>
              <a:gd name="connsiteX22028" fmla="*/ 4391765 w 10505529"/>
              <a:gd name="connsiteY22028" fmla="*/ 3738970 h 7458372"/>
              <a:gd name="connsiteX22029" fmla="*/ 4394428 w 10505529"/>
              <a:gd name="connsiteY22029" fmla="*/ 3734711 h 7458372"/>
              <a:gd name="connsiteX22030" fmla="*/ 4395493 w 10505529"/>
              <a:gd name="connsiteY22030" fmla="*/ 3729253 h 7458372"/>
              <a:gd name="connsiteX22031" fmla="*/ 4394428 w 10505529"/>
              <a:gd name="connsiteY22031" fmla="*/ 3724061 h 7458372"/>
              <a:gd name="connsiteX22032" fmla="*/ 4391765 w 10505529"/>
              <a:gd name="connsiteY22032" fmla="*/ 3719802 h 7458372"/>
              <a:gd name="connsiteX22033" fmla="*/ 4387772 w 10505529"/>
              <a:gd name="connsiteY22033" fmla="*/ 3717139 h 7458372"/>
              <a:gd name="connsiteX22034" fmla="*/ 4382713 w 10505529"/>
              <a:gd name="connsiteY22034" fmla="*/ 3716208 h 7458372"/>
              <a:gd name="connsiteX22035" fmla="*/ 4165068 w 10505529"/>
              <a:gd name="connsiteY22035" fmla="*/ 3716208 h 7458372"/>
              <a:gd name="connsiteX22036" fmla="*/ 4155084 w 10505529"/>
              <a:gd name="connsiteY22036" fmla="*/ 3719802 h 7458372"/>
              <a:gd name="connsiteX22037" fmla="*/ 4151490 w 10505529"/>
              <a:gd name="connsiteY22037" fmla="*/ 3729253 h 7458372"/>
              <a:gd name="connsiteX22038" fmla="*/ 4155084 w 10505529"/>
              <a:gd name="connsiteY22038" fmla="*/ 3738705 h 7458372"/>
              <a:gd name="connsiteX22039" fmla="*/ 4165068 w 10505529"/>
              <a:gd name="connsiteY22039" fmla="*/ 3742165 h 7458372"/>
              <a:gd name="connsiteX22040" fmla="*/ 4170392 w 10505529"/>
              <a:gd name="connsiteY22040" fmla="*/ 3741367 h 7458372"/>
              <a:gd name="connsiteX22041" fmla="*/ 4174119 w 10505529"/>
              <a:gd name="connsiteY22041" fmla="*/ 3738970 h 7458372"/>
              <a:gd name="connsiteX22042" fmla="*/ 4176782 w 10505529"/>
              <a:gd name="connsiteY22042" fmla="*/ 3734711 h 7458372"/>
              <a:gd name="connsiteX22043" fmla="*/ 4177847 w 10505529"/>
              <a:gd name="connsiteY22043" fmla="*/ 3729253 h 7458372"/>
              <a:gd name="connsiteX22044" fmla="*/ 4176782 w 10505529"/>
              <a:gd name="connsiteY22044" fmla="*/ 3724061 h 7458372"/>
              <a:gd name="connsiteX22045" fmla="*/ 4174119 w 10505529"/>
              <a:gd name="connsiteY22045" fmla="*/ 3719802 h 7458372"/>
              <a:gd name="connsiteX22046" fmla="*/ 4170126 w 10505529"/>
              <a:gd name="connsiteY22046" fmla="*/ 3717139 h 7458372"/>
              <a:gd name="connsiteX22047" fmla="*/ 4165068 w 10505529"/>
              <a:gd name="connsiteY22047" fmla="*/ 3716208 h 7458372"/>
              <a:gd name="connsiteX22048" fmla="*/ 3947628 w 10505529"/>
              <a:gd name="connsiteY22048" fmla="*/ 3716208 h 7458372"/>
              <a:gd name="connsiteX22049" fmla="*/ 3937645 w 10505529"/>
              <a:gd name="connsiteY22049" fmla="*/ 3719802 h 7458372"/>
              <a:gd name="connsiteX22050" fmla="*/ 3934050 w 10505529"/>
              <a:gd name="connsiteY22050" fmla="*/ 3729253 h 7458372"/>
              <a:gd name="connsiteX22051" fmla="*/ 3937645 w 10505529"/>
              <a:gd name="connsiteY22051" fmla="*/ 3738705 h 7458372"/>
              <a:gd name="connsiteX22052" fmla="*/ 3947628 w 10505529"/>
              <a:gd name="connsiteY22052" fmla="*/ 3742165 h 7458372"/>
              <a:gd name="connsiteX22053" fmla="*/ 3952955 w 10505529"/>
              <a:gd name="connsiteY22053" fmla="*/ 3741367 h 7458372"/>
              <a:gd name="connsiteX22054" fmla="*/ 3956682 w 10505529"/>
              <a:gd name="connsiteY22054" fmla="*/ 3738970 h 7458372"/>
              <a:gd name="connsiteX22055" fmla="*/ 3959345 w 10505529"/>
              <a:gd name="connsiteY22055" fmla="*/ 3734711 h 7458372"/>
              <a:gd name="connsiteX22056" fmla="*/ 3960410 w 10505529"/>
              <a:gd name="connsiteY22056" fmla="*/ 3729253 h 7458372"/>
              <a:gd name="connsiteX22057" fmla="*/ 3959345 w 10505529"/>
              <a:gd name="connsiteY22057" fmla="*/ 3724061 h 7458372"/>
              <a:gd name="connsiteX22058" fmla="*/ 3956682 w 10505529"/>
              <a:gd name="connsiteY22058" fmla="*/ 3719802 h 7458372"/>
              <a:gd name="connsiteX22059" fmla="*/ 3952688 w 10505529"/>
              <a:gd name="connsiteY22059" fmla="*/ 3717139 h 7458372"/>
              <a:gd name="connsiteX22060" fmla="*/ 3947628 w 10505529"/>
              <a:gd name="connsiteY22060" fmla="*/ 3716208 h 7458372"/>
              <a:gd name="connsiteX22061" fmla="*/ 3729973 w 10505529"/>
              <a:gd name="connsiteY22061" fmla="*/ 3716208 h 7458372"/>
              <a:gd name="connsiteX22062" fmla="*/ 3719987 w 10505529"/>
              <a:gd name="connsiteY22062" fmla="*/ 3719802 h 7458372"/>
              <a:gd name="connsiteX22063" fmla="*/ 3716395 w 10505529"/>
              <a:gd name="connsiteY22063" fmla="*/ 3729253 h 7458372"/>
              <a:gd name="connsiteX22064" fmla="*/ 3719987 w 10505529"/>
              <a:gd name="connsiteY22064" fmla="*/ 3738705 h 7458372"/>
              <a:gd name="connsiteX22065" fmla="*/ 3729973 w 10505529"/>
              <a:gd name="connsiteY22065" fmla="*/ 3742165 h 7458372"/>
              <a:gd name="connsiteX22066" fmla="*/ 3735298 w 10505529"/>
              <a:gd name="connsiteY22066" fmla="*/ 3741367 h 7458372"/>
              <a:gd name="connsiteX22067" fmla="*/ 3739026 w 10505529"/>
              <a:gd name="connsiteY22067" fmla="*/ 3738970 h 7458372"/>
              <a:gd name="connsiteX22068" fmla="*/ 3741689 w 10505529"/>
              <a:gd name="connsiteY22068" fmla="*/ 3734711 h 7458372"/>
              <a:gd name="connsiteX22069" fmla="*/ 3742753 w 10505529"/>
              <a:gd name="connsiteY22069" fmla="*/ 3729253 h 7458372"/>
              <a:gd name="connsiteX22070" fmla="*/ 3741689 w 10505529"/>
              <a:gd name="connsiteY22070" fmla="*/ 3724061 h 7458372"/>
              <a:gd name="connsiteX22071" fmla="*/ 3739026 w 10505529"/>
              <a:gd name="connsiteY22071" fmla="*/ 3719802 h 7458372"/>
              <a:gd name="connsiteX22072" fmla="*/ 3735033 w 10505529"/>
              <a:gd name="connsiteY22072" fmla="*/ 3717139 h 7458372"/>
              <a:gd name="connsiteX22073" fmla="*/ 3729973 w 10505529"/>
              <a:gd name="connsiteY22073" fmla="*/ 3716208 h 7458372"/>
              <a:gd name="connsiteX22074" fmla="*/ 3512318 w 10505529"/>
              <a:gd name="connsiteY22074" fmla="*/ 3716208 h 7458372"/>
              <a:gd name="connsiteX22075" fmla="*/ 3502330 w 10505529"/>
              <a:gd name="connsiteY22075" fmla="*/ 3719802 h 7458372"/>
              <a:gd name="connsiteX22076" fmla="*/ 3498737 w 10505529"/>
              <a:gd name="connsiteY22076" fmla="*/ 3729253 h 7458372"/>
              <a:gd name="connsiteX22077" fmla="*/ 3502330 w 10505529"/>
              <a:gd name="connsiteY22077" fmla="*/ 3738705 h 7458372"/>
              <a:gd name="connsiteX22078" fmla="*/ 3512318 w 10505529"/>
              <a:gd name="connsiteY22078" fmla="*/ 3742165 h 7458372"/>
              <a:gd name="connsiteX22079" fmla="*/ 3517643 w 10505529"/>
              <a:gd name="connsiteY22079" fmla="*/ 3741367 h 7458372"/>
              <a:gd name="connsiteX22080" fmla="*/ 3521370 w 10505529"/>
              <a:gd name="connsiteY22080" fmla="*/ 3738970 h 7458372"/>
              <a:gd name="connsiteX22081" fmla="*/ 3524033 w 10505529"/>
              <a:gd name="connsiteY22081" fmla="*/ 3734711 h 7458372"/>
              <a:gd name="connsiteX22082" fmla="*/ 3525098 w 10505529"/>
              <a:gd name="connsiteY22082" fmla="*/ 3729253 h 7458372"/>
              <a:gd name="connsiteX22083" fmla="*/ 3524033 w 10505529"/>
              <a:gd name="connsiteY22083" fmla="*/ 3724061 h 7458372"/>
              <a:gd name="connsiteX22084" fmla="*/ 3521370 w 10505529"/>
              <a:gd name="connsiteY22084" fmla="*/ 3719802 h 7458372"/>
              <a:gd name="connsiteX22085" fmla="*/ 3517377 w 10505529"/>
              <a:gd name="connsiteY22085" fmla="*/ 3717139 h 7458372"/>
              <a:gd name="connsiteX22086" fmla="*/ 3512318 w 10505529"/>
              <a:gd name="connsiteY22086" fmla="*/ 3716208 h 7458372"/>
              <a:gd name="connsiteX22087" fmla="*/ 3294795 w 10505529"/>
              <a:gd name="connsiteY22087" fmla="*/ 3716208 h 7458372"/>
              <a:gd name="connsiteX22088" fmla="*/ 3284810 w 10505529"/>
              <a:gd name="connsiteY22088" fmla="*/ 3719802 h 7458372"/>
              <a:gd name="connsiteX22089" fmla="*/ 3281216 w 10505529"/>
              <a:gd name="connsiteY22089" fmla="*/ 3729253 h 7458372"/>
              <a:gd name="connsiteX22090" fmla="*/ 3284810 w 10505529"/>
              <a:gd name="connsiteY22090" fmla="*/ 3738705 h 7458372"/>
              <a:gd name="connsiteX22091" fmla="*/ 3294795 w 10505529"/>
              <a:gd name="connsiteY22091" fmla="*/ 3742165 h 7458372"/>
              <a:gd name="connsiteX22092" fmla="*/ 3300121 w 10505529"/>
              <a:gd name="connsiteY22092" fmla="*/ 3741367 h 7458372"/>
              <a:gd name="connsiteX22093" fmla="*/ 3303848 w 10505529"/>
              <a:gd name="connsiteY22093" fmla="*/ 3738970 h 7458372"/>
              <a:gd name="connsiteX22094" fmla="*/ 3306511 w 10505529"/>
              <a:gd name="connsiteY22094" fmla="*/ 3734711 h 7458372"/>
              <a:gd name="connsiteX22095" fmla="*/ 3307575 w 10505529"/>
              <a:gd name="connsiteY22095" fmla="*/ 3729253 h 7458372"/>
              <a:gd name="connsiteX22096" fmla="*/ 3306511 w 10505529"/>
              <a:gd name="connsiteY22096" fmla="*/ 3724061 h 7458372"/>
              <a:gd name="connsiteX22097" fmla="*/ 3303848 w 10505529"/>
              <a:gd name="connsiteY22097" fmla="*/ 3719802 h 7458372"/>
              <a:gd name="connsiteX22098" fmla="*/ 3299855 w 10505529"/>
              <a:gd name="connsiteY22098" fmla="*/ 3717139 h 7458372"/>
              <a:gd name="connsiteX22099" fmla="*/ 3294795 w 10505529"/>
              <a:gd name="connsiteY22099" fmla="*/ 3716208 h 7458372"/>
              <a:gd name="connsiteX22100" fmla="*/ 3077272 w 10505529"/>
              <a:gd name="connsiteY22100" fmla="*/ 3716208 h 7458372"/>
              <a:gd name="connsiteX22101" fmla="*/ 3067289 w 10505529"/>
              <a:gd name="connsiteY22101" fmla="*/ 3719802 h 7458372"/>
              <a:gd name="connsiteX22102" fmla="*/ 3063559 w 10505529"/>
              <a:gd name="connsiteY22102" fmla="*/ 3729253 h 7458372"/>
              <a:gd name="connsiteX22103" fmla="*/ 3067155 w 10505529"/>
              <a:gd name="connsiteY22103" fmla="*/ 3738705 h 7458372"/>
              <a:gd name="connsiteX22104" fmla="*/ 3077139 w 10505529"/>
              <a:gd name="connsiteY22104" fmla="*/ 3742165 h 7458372"/>
              <a:gd name="connsiteX22105" fmla="*/ 3082597 w 10505529"/>
              <a:gd name="connsiteY22105" fmla="*/ 3741367 h 7458372"/>
              <a:gd name="connsiteX22106" fmla="*/ 3086325 w 10505529"/>
              <a:gd name="connsiteY22106" fmla="*/ 3738970 h 7458372"/>
              <a:gd name="connsiteX22107" fmla="*/ 3088987 w 10505529"/>
              <a:gd name="connsiteY22107" fmla="*/ 3734711 h 7458372"/>
              <a:gd name="connsiteX22108" fmla="*/ 3089920 w 10505529"/>
              <a:gd name="connsiteY22108" fmla="*/ 3729253 h 7458372"/>
              <a:gd name="connsiteX22109" fmla="*/ 3088987 w 10505529"/>
              <a:gd name="connsiteY22109" fmla="*/ 3724061 h 7458372"/>
              <a:gd name="connsiteX22110" fmla="*/ 3086325 w 10505529"/>
              <a:gd name="connsiteY22110" fmla="*/ 3719802 h 7458372"/>
              <a:gd name="connsiteX22111" fmla="*/ 3082332 w 10505529"/>
              <a:gd name="connsiteY22111" fmla="*/ 3717139 h 7458372"/>
              <a:gd name="connsiteX22112" fmla="*/ 3077272 w 10505529"/>
              <a:gd name="connsiteY22112" fmla="*/ 3716208 h 7458372"/>
              <a:gd name="connsiteX22113" fmla="*/ 2859484 w 10505529"/>
              <a:gd name="connsiteY22113" fmla="*/ 3716208 h 7458372"/>
              <a:gd name="connsiteX22114" fmla="*/ 2849498 w 10505529"/>
              <a:gd name="connsiteY22114" fmla="*/ 3719802 h 7458372"/>
              <a:gd name="connsiteX22115" fmla="*/ 2845902 w 10505529"/>
              <a:gd name="connsiteY22115" fmla="*/ 3729253 h 7458372"/>
              <a:gd name="connsiteX22116" fmla="*/ 2849498 w 10505529"/>
              <a:gd name="connsiteY22116" fmla="*/ 3738705 h 7458372"/>
              <a:gd name="connsiteX22117" fmla="*/ 2859484 w 10505529"/>
              <a:gd name="connsiteY22117" fmla="*/ 3742165 h 7458372"/>
              <a:gd name="connsiteX22118" fmla="*/ 2864809 w 10505529"/>
              <a:gd name="connsiteY22118" fmla="*/ 3741367 h 7458372"/>
              <a:gd name="connsiteX22119" fmla="*/ 2868536 w 10505529"/>
              <a:gd name="connsiteY22119" fmla="*/ 3738970 h 7458372"/>
              <a:gd name="connsiteX22120" fmla="*/ 2871199 w 10505529"/>
              <a:gd name="connsiteY22120" fmla="*/ 3734711 h 7458372"/>
              <a:gd name="connsiteX22121" fmla="*/ 2872130 w 10505529"/>
              <a:gd name="connsiteY22121" fmla="*/ 3729253 h 7458372"/>
              <a:gd name="connsiteX22122" fmla="*/ 2871199 w 10505529"/>
              <a:gd name="connsiteY22122" fmla="*/ 3724061 h 7458372"/>
              <a:gd name="connsiteX22123" fmla="*/ 2868536 w 10505529"/>
              <a:gd name="connsiteY22123" fmla="*/ 3719802 h 7458372"/>
              <a:gd name="connsiteX22124" fmla="*/ 2864543 w 10505529"/>
              <a:gd name="connsiteY22124" fmla="*/ 3717139 h 7458372"/>
              <a:gd name="connsiteX22125" fmla="*/ 2859484 w 10505529"/>
              <a:gd name="connsiteY22125" fmla="*/ 3716208 h 7458372"/>
              <a:gd name="connsiteX22126" fmla="*/ 2641828 w 10505529"/>
              <a:gd name="connsiteY22126" fmla="*/ 3716208 h 7458372"/>
              <a:gd name="connsiteX22127" fmla="*/ 2631845 w 10505529"/>
              <a:gd name="connsiteY22127" fmla="*/ 3719802 h 7458372"/>
              <a:gd name="connsiteX22128" fmla="*/ 2628250 w 10505529"/>
              <a:gd name="connsiteY22128" fmla="*/ 3729253 h 7458372"/>
              <a:gd name="connsiteX22129" fmla="*/ 2631845 w 10505529"/>
              <a:gd name="connsiteY22129" fmla="*/ 3738705 h 7458372"/>
              <a:gd name="connsiteX22130" fmla="*/ 2641828 w 10505529"/>
              <a:gd name="connsiteY22130" fmla="*/ 3742165 h 7458372"/>
              <a:gd name="connsiteX22131" fmla="*/ 2647153 w 10505529"/>
              <a:gd name="connsiteY22131" fmla="*/ 3741367 h 7458372"/>
              <a:gd name="connsiteX22132" fmla="*/ 2650880 w 10505529"/>
              <a:gd name="connsiteY22132" fmla="*/ 3738970 h 7458372"/>
              <a:gd name="connsiteX22133" fmla="*/ 2653543 w 10505529"/>
              <a:gd name="connsiteY22133" fmla="*/ 3734711 h 7458372"/>
              <a:gd name="connsiteX22134" fmla="*/ 2654474 w 10505529"/>
              <a:gd name="connsiteY22134" fmla="*/ 3729253 h 7458372"/>
              <a:gd name="connsiteX22135" fmla="*/ 2653543 w 10505529"/>
              <a:gd name="connsiteY22135" fmla="*/ 3724061 h 7458372"/>
              <a:gd name="connsiteX22136" fmla="*/ 2650880 w 10505529"/>
              <a:gd name="connsiteY22136" fmla="*/ 3719802 h 7458372"/>
              <a:gd name="connsiteX22137" fmla="*/ 2646887 w 10505529"/>
              <a:gd name="connsiteY22137" fmla="*/ 3717139 h 7458372"/>
              <a:gd name="connsiteX22138" fmla="*/ 2641828 w 10505529"/>
              <a:gd name="connsiteY22138" fmla="*/ 3716208 h 7458372"/>
              <a:gd name="connsiteX22139" fmla="*/ 2424172 w 10505529"/>
              <a:gd name="connsiteY22139" fmla="*/ 3716208 h 7458372"/>
              <a:gd name="connsiteX22140" fmla="*/ 2414189 w 10505529"/>
              <a:gd name="connsiteY22140" fmla="*/ 3719802 h 7458372"/>
              <a:gd name="connsiteX22141" fmla="*/ 2410594 w 10505529"/>
              <a:gd name="connsiteY22141" fmla="*/ 3729253 h 7458372"/>
              <a:gd name="connsiteX22142" fmla="*/ 2414189 w 10505529"/>
              <a:gd name="connsiteY22142" fmla="*/ 3738705 h 7458372"/>
              <a:gd name="connsiteX22143" fmla="*/ 2424172 w 10505529"/>
              <a:gd name="connsiteY22143" fmla="*/ 3742165 h 7458372"/>
              <a:gd name="connsiteX22144" fmla="*/ 2429497 w 10505529"/>
              <a:gd name="connsiteY22144" fmla="*/ 3741367 h 7458372"/>
              <a:gd name="connsiteX22145" fmla="*/ 2433224 w 10505529"/>
              <a:gd name="connsiteY22145" fmla="*/ 3738970 h 7458372"/>
              <a:gd name="connsiteX22146" fmla="*/ 2435887 w 10505529"/>
              <a:gd name="connsiteY22146" fmla="*/ 3734711 h 7458372"/>
              <a:gd name="connsiteX22147" fmla="*/ 2436818 w 10505529"/>
              <a:gd name="connsiteY22147" fmla="*/ 3729253 h 7458372"/>
              <a:gd name="connsiteX22148" fmla="*/ 2435887 w 10505529"/>
              <a:gd name="connsiteY22148" fmla="*/ 3724061 h 7458372"/>
              <a:gd name="connsiteX22149" fmla="*/ 2433224 w 10505529"/>
              <a:gd name="connsiteY22149" fmla="*/ 3719802 h 7458372"/>
              <a:gd name="connsiteX22150" fmla="*/ 2429231 w 10505529"/>
              <a:gd name="connsiteY22150" fmla="*/ 3717139 h 7458372"/>
              <a:gd name="connsiteX22151" fmla="*/ 2424172 w 10505529"/>
              <a:gd name="connsiteY22151" fmla="*/ 3716208 h 7458372"/>
              <a:gd name="connsiteX22152" fmla="*/ 2206516 w 10505529"/>
              <a:gd name="connsiteY22152" fmla="*/ 3716208 h 7458372"/>
              <a:gd name="connsiteX22153" fmla="*/ 2196533 w 10505529"/>
              <a:gd name="connsiteY22153" fmla="*/ 3719802 h 7458372"/>
              <a:gd name="connsiteX22154" fmla="*/ 2192938 w 10505529"/>
              <a:gd name="connsiteY22154" fmla="*/ 3729253 h 7458372"/>
              <a:gd name="connsiteX22155" fmla="*/ 2196533 w 10505529"/>
              <a:gd name="connsiteY22155" fmla="*/ 3738705 h 7458372"/>
              <a:gd name="connsiteX22156" fmla="*/ 2206516 w 10505529"/>
              <a:gd name="connsiteY22156" fmla="*/ 3742165 h 7458372"/>
              <a:gd name="connsiteX22157" fmla="*/ 2211841 w 10505529"/>
              <a:gd name="connsiteY22157" fmla="*/ 3741367 h 7458372"/>
              <a:gd name="connsiteX22158" fmla="*/ 2215568 w 10505529"/>
              <a:gd name="connsiteY22158" fmla="*/ 3738970 h 7458372"/>
              <a:gd name="connsiteX22159" fmla="*/ 2218231 w 10505529"/>
              <a:gd name="connsiteY22159" fmla="*/ 3734711 h 7458372"/>
              <a:gd name="connsiteX22160" fmla="*/ 2219162 w 10505529"/>
              <a:gd name="connsiteY22160" fmla="*/ 3729253 h 7458372"/>
              <a:gd name="connsiteX22161" fmla="*/ 2218231 w 10505529"/>
              <a:gd name="connsiteY22161" fmla="*/ 3724061 h 7458372"/>
              <a:gd name="connsiteX22162" fmla="*/ 2215568 w 10505529"/>
              <a:gd name="connsiteY22162" fmla="*/ 3719802 h 7458372"/>
              <a:gd name="connsiteX22163" fmla="*/ 2211575 w 10505529"/>
              <a:gd name="connsiteY22163" fmla="*/ 3717139 h 7458372"/>
              <a:gd name="connsiteX22164" fmla="*/ 2206516 w 10505529"/>
              <a:gd name="connsiteY22164" fmla="*/ 3716208 h 7458372"/>
              <a:gd name="connsiteX22165" fmla="*/ 1988993 w 10505529"/>
              <a:gd name="connsiteY22165" fmla="*/ 3716208 h 7458372"/>
              <a:gd name="connsiteX22166" fmla="*/ 1979010 w 10505529"/>
              <a:gd name="connsiteY22166" fmla="*/ 3719802 h 7458372"/>
              <a:gd name="connsiteX22167" fmla="*/ 1975416 w 10505529"/>
              <a:gd name="connsiteY22167" fmla="*/ 3729253 h 7458372"/>
              <a:gd name="connsiteX22168" fmla="*/ 1979010 w 10505529"/>
              <a:gd name="connsiteY22168" fmla="*/ 3738705 h 7458372"/>
              <a:gd name="connsiteX22169" fmla="*/ 1988993 w 10505529"/>
              <a:gd name="connsiteY22169" fmla="*/ 3742165 h 7458372"/>
              <a:gd name="connsiteX22170" fmla="*/ 1994318 w 10505529"/>
              <a:gd name="connsiteY22170" fmla="*/ 3741367 h 7458372"/>
              <a:gd name="connsiteX22171" fmla="*/ 1998046 w 10505529"/>
              <a:gd name="connsiteY22171" fmla="*/ 3738970 h 7458372"/>
              <a:gd name="connsiteX22172" fmla="*/ 2000709 w 10505529"/>
              <a:gd name="connsiteY22172" fmla="*/ 3734711 h 7458372"/>
              <a:gd name="connsiteX22173" fmla="*/ 2001639 w 10505529"/>
              <a:gd name="connsiteY22173" fmla="*/ 3729253 h 7458372"/>
              <a:gd name="connsiteX22174" fmla="*/ 2000709 w 10505529"/>
              <a:gd name="connsiteY22174" fmla="*/ 3724061 h 7458372"/>
              <a:gd name="connsiteX22175" fmla="*/ 1998046 w 10505529"/>
              <a:gd name="connsiteY22175" fmla="*/ 3719802 h 7458372"/>
              <a:gd name="connsiteX22176" fmla="*/ 1994052 w 10505529"/>
              <a:gd name="connsiteY22176" fmla="*/ 3717139 h 7458372"/>
              <a:gd name="connsiteX22177" fmla="*/ 1988993 w 10505529"/>
              <a:gd name="connsiteY22177" fmla="*/ 3716208 h 7458372"/>
              <a:gd name="connsiteX22178" fmla="*/ 1771356 w 10505529"/>
              <a:gd name="connsiteY22178" fmla="*/ 3716208 h 7458372"/>
              <a:gd name="connsiteX22179" fmla="*/ 1761374 w 10505529"/>
              <a:gd name="connsiteY22179" fmla="*/ 3719802 h 7458372"/>
              <a:gd name="connsiteX22180" fmla="*/ 1757780 w 10505529"/>
              <a:gd name="connsiteY22180" fmla="*/ 3729253 h 7458372"/>
              <a:gd name="connsiteX22181" fmla="*/ 1761374 w 10505529"/>
              <a:gd name="connsiteY22181" fmla="*/ 3738705 h 7458372"/>
              <a:gd name="connsiteX22182" fmla="*/ 1771356 w 10505529"/>
              <a:gd name="connsiteY22182" fmla="*/ 3742165 h 7458372"/>
              <a:gd name="connsiteX22183" fmla="*/ 1776681 w 10505529"/>
              <a:gd name="connsiteY22183" fmla="*/ 3741367 h 7458372"/>
              <a:gd name="connsiteX22184" fmla="*/ 1780407 w 10505529"/>
              <a:gd name="connsiteY22184" fmla="*/ 3738970 h 7458372"/>
              <a:gd name="connsiteX22185" fmla="*/ 1783070 w 10505529"/>
              <a:gd name="connsiteY22185" fmla="*/ 3734711 h 7458372"/>
              <a:gd name="connsiteX22186" fmla="*/ 1784135 w 10505529"/>
              <a:gd name="connsiteY22186" fmla="*/ 3729253 h 7458372"/>
              <a:gd name="connsiteX22187" fmla="*/ 1783070 w 10505529"/>
              <a:gd name="connsiteY22187" fmla="*/ 3724061 h 7458372"/>
              <a:gd name="connsiteX22188" fmla="*/ 1780407 w 10505529"/>
              <a:gd name="connsiteY22188" fmla="*/ 3719802 h 7458372"/>
              <a:gd name="connsiteX22189" fmla="*/ 1776415 w 10505529"/>
              <a:gd name="connsiteY22189" fmla="*/ 3717139 h 7458372"/>
              <a:gd name="connsiteX22190" fmla="*/ 1771356 w 10505529"/>
              <a:gd name="connsiteY22190" fmla="*/ 3716208 h 7458372"/>
              <a:gd name="connsiteX22191" fmla="*/ 1553716 w 10505529"/>
              <a:gd name="connsiteY22191" fmla="*/ 3716208 h 7458372"/>
              <a:gd name="connsiteX22192" fmla="*/ 1543733 w 10505529"/>
              <a:gd name="connsiteY22192" fmla="*/ 3719802 h 7458372"/>
              <a:gd name="connsiteX22193" fmla="*/ 1540138 w 10505529"/>
              <a:gd name="connsiteY22193" fmla="*/ 3729253 h 7458372"/>
              <a:gd name="connsiteX22194" fmla="*/ 1543733 w 10505529"/>
              <a:gd name="connsiteY22194" fmla="*/ 3738705 h 7458372"/>
              <a:gd name="connsiteX22195" fmla="*/ 1553716 w 10505529"/>
              <a:gd name="connsiteY22195" fmla="*/ 3742165 h 7458372"/>
              <a:gd name="connsiteX22196" fmla="*/ 1559041 w 10505529"/>
              <a:gd name="connsiteY22196" fmla="*/ 3741367 h 7458372"/>
              <a:gd name="connsiteX22197" fmla="*/ 1562768 w 10505529"/>
              <a:gd name="connsiteY22197" fmla="*/ 3738970 h 7458372"/>
              <a:gd name="connsiteX22198" fmla="*/ 1565431 w 10505529"/>
              <a:gd name="connsiteY22198" fmla="*/ 3734711 h 7458372"/>
              <a:gd name="connsiteX22199" fmla="*/ 1566496 w 10505529"/>
              <a:gd name="connsiteY22199" fmla="*/ 3729253 h 7458372"/>
              <a:gd name="connsiteX22200" fmla="*/ 1565431 w 10505529"/>
              <a:gd name="connsiteY22200" fmla="*/ 3724061 h 7458372"/>
              <a:gd name="connsiteX22201" fmla="*/ 1562768 w 10505529"/>
              <a:gd name="connsiteY22201" fmla="*/ 3719802 h 7458372"/>
              <a:gd name="connsiteX22202" fmla="*/ 1558775 w 10505529"/>
              <a:gd name="connsiteY22202" fmla="*/ 3717139 h 7458372"/>
              <a:gd name="connsiteX22203" fmla="*/ 1553716 w 10505529"/>
              <a:gd name="connsiteY22203" fmla="*/ 3716208 h 7458372"/>
              <a:gd name="connsiteX22204" fmla="*/ 1336072 w 10505529"/>
              <a:gd name="connsiteY22204" fmla="*/ 3716208 h 7458372"/>
              <a:gd name="connsiteX22205" fmla="*/ 1326089 w 10505529"/>
              <a:gd name="connsiteY22205" fmla="*/ 3719802 h 7458372"/>
              <a:gd name="connsiteX22206" fmla="*/ 1322494 w 10505529"/>
              <a:gd name="connsiteY22206" fmla="*/ 3729253 h 7458372"/>
              <a:gd name="connsiteX22207" fmla="*/ 1326089 w 10505529"/>
              <a:gd name="connsiteY22207" fmla="*/ 3738705 h 7458372"/>
              <a:gd name="connsiteX22208" fmla="*/ 1336072 w 10505529"/>
              <a:gd name="connsiteY22208" fmla="*/ 3742165 h 7458372"/>
              <a:gd name="connsiteX22209" fmla="*/ 1341398 w 10505529"/>
              <a:gd name="connsiteY22209" fmla="*/ 3741367 h 7458372"/>
              <a:gd name="connsiteX22210" fmla="*/ 1345126 w 10505529"/>
              <a:gd name="connsiteY22210" fmla="*/ 3738970 h 7458372"/>
              <a:gd name="connsiteX22211" fmla="*/ 1347788 w 10505529"/>
              <a:gd name="connsiteY22211" fmla="*/ 3734711 h 7458372"/>
              <a:gd name="connsiteX22212" fmla="*/ 1348854 w 10505529"/>
              <a:gd name="connsiteY22212" fmla="*/ 3729253 h 7458372"/>
              <a:gd name="connsiteX22213" fmla="*/ 1347788 w 10505529"/>
              <a:gd name="connsiteY22213" fmla="*/ 3724061 h 7458372"/>
              <a:gd name="connsiteX22214" fmla="*/ 1345126 w 10505529"/>
              <a:gd name="connsiteY22214" fmla="*/ 3719802 h 7458372"/>
              <a:gd name="connsiteX22215" fmla="*/ 1341131 w 10505529"/>
              <a:gd name="connsiteY22215" fmla="*/ 3717139 h 7458372"/>
              <a:gd name="connsiteX22216" fmla="*/ 1336072 w 10505529"/>
              <a:gd name="connsiteY22216" fmla="*/ 3716208 h 7458372"/>
              <a:gd name="connsiteX22217" fmla="*/ 1118560 w 10505529"/>
              <a:gd name="connsiteY22217" fmla="*/ 3716208 h 7458372"/>
              <a:gd name="connsiteX22218" fmla="*/ 1108575 w 10505529"/>
              <a:gd name="connsiteY22218" fmla="*/ 3719802 h 7458372"/>
              <a:gd name="connsiteX22219" fmla="*/ 1104848 w 10505529"/>
              <a:gd name="connsiteY22219" fmla="*/ 3729253 h 7458372"/>
              <a:gd name="connsiteX22220" fmla="*/ 1108442 w 10505529"/>
              <a:gd name="connsiteY22220" fmla="*/ 3738705 h 7458372"/>
              <a:gd name="connsiteX22221" fmla="*/ 1118427 w 10505529"/>
              <a:gd name="connsiteY22221" fmla="*/ 3742165 h 7458372"/>
              <a:gd name="connsiteX22222" fmla="*/ 1123884 w 10505529"/>
              <a:gd name="connsiteY22222" fmla="*/ 3741367 h 7458372"/>
              <a:gd name="connsiteX22223" fmla="*/ 1127613 w 10505529"/>
              <a:gd name="connsiteY22223" fmla="*/ 3738970 h 7458372"/>
              <a:gd name="connsiteX22224" fmla="*/ 1130277 w 10505529"/>
              <a:gd name="connsiteY22224" fmla="*/ 3734711 h 7458372"/>
              <a:gd name="connsiteX22225" fmla="*/ 1131342 w 10505529"/>
              <a:gd name="connsiteY22225" fmla="*/ 3729253 h 7458372"/>
              <a:gd name="connsiteX22226" fmla="*/ 1130277 w 10505529"/>
              <a:gd name="connsiteY22226" fmla="*/ 3724061 h 7458372"/>
              <a:gd name="connsiteX22227" fmla="*/ 1127613 w 10505529"/>
              <a:gd name="connsiteY22227" fmla="*/ 3719802 h 7458372"/>
              <a:gd name="connsiteX22228" fmla="*/ 1123618 w 10505529"/>
              <a:gd name="connsiteY22228" fmla="*/ 3717139 h 7458372"/>
              <a:gd name="connsiteX22229" fmla="*/ 1118560 w 10505529"/>
              <a:gd name="connsiteY22229" fmla="*/ 3716208 h 7458372"/>
              <a:gd name="connsiteX22230" fmla="*/ 901048 w 10505529"/>
              <a:gd name="connsiteY22230" fmla="*/ 3716208 h 7458372"/>
              <a:gd name="connsiteX22231" fmla="*/ 891064 w 10505529"/>
              <a:gd name="connsiteY22231" fmla="*/ 3719802 h 7458372"/>
              <a:gd name="connsiteX22232" fmla="*/ 887337 w 10505529"/>
              <a:gd name="connsiteY22232" fmla="*/ 3729253 h 7458372"/>
              <a:gd name="connsiteX22233" fmla="*/ 890931 w 10505529"/>
              <a:gd name="connsiteY22233" fmla="*/ 3738705 h 7458372"/>
              <a:gd name="connsiteX22234" fmla="*/ 900914 w 10505529"/>
              <a:gd name="connsiteY22234" fmla="*/ 3742165 h 7458372"/>
              <a:gd name="connsiteX22235" fmla="*/ 906372 w 10505529"/>
              <a:gd name="connsiteY22235" fmla="*/ 3741367 h 7458372"/>
              <a:gd name="connsiteX22236" fmla="*/ 910100 w 10505529"/>
              <a:gd name="connsiteY22236" fmla="*/ 3738970 h 7458372"/>
              <a:gd name="connsiteX22237" fmla="*/ 912762 w 10505529"/>
              <a:gd name="connsiteY22237" fmla="*/ 3734711 h 7458372"/>
              <a:gd name="connsiteX22238" fmla="*/ 913828 w 10505529"/>
              <a:gd name="connsiteY22238" fmla="*/ 3729253 h 7458372"/>
              <a:gd name="connsiteX22239" fmla="*/ 912762 w 10505529"/>
              <a:gd name="connsiteY22239" fmla="*/ 3724061 h 7458372"/>
              <a:gd name="connsiteX22240" fmla="*/ 910100 w 10505529"/>
              <a:gd name="connsiteY22240" fmla="*/ 3719802 h 7458372"/>
              <a:gd name="connsiteX22241" fmla="*/ 906106 w 10505529"/>
              <a:gd name="connsiteY22241" fmla="*/ 3717139 h 7458372"/>
              <a:gd name="connsiteX22242" fmla="*/ 901048 w 10505529"/>
              <a:gd name="connsiteY22242" fmla="*/ 3716208 h 7458372"/>
              <a:gd name="connsiteX22243" fmla="*/ 683273 w 10505529"/>
              <a:gd name="connsiteY22243" fmla="*/ 3716208 h 7458372"/>
              <a:gd name="connsiteX22244" fmla="*/ 673289 w 10505529"/>
              <a:gd name="connsiteY22244" fmla="*/ 3719802 h 7458372"/>
              <a:gd name="connsiteX22245" fmla="*/ 669695 w 10505529"/>
              <a:gd name="connsiteY22245" fmla="*/ 3729253 h 7458372"/>
              <a:gd name="connsiteX22246" fmla="*/ 673289 w 10505529"/>
              <a:gd name="connsiteY22246" fmla="*/ 3738705 h 7458372"/>
              <a:gd name="connsiteX22247" fmla="*/ 683273 w 10505529"/>
              <a:gd name="connsiteY22247" fmla="*/ 3742165 h 7458372"/>
              <a:gd name="connsiteX22248" fmla="*/ 688598 w 10505529"/>
              <a:gd name="connsiteY22248" fmla="*/ 3741367 h 7458372"/>
              <a:gd name="connsiteX22249" fmla="*/ 692325 w 10505529"/>
              <a:gd name="connsiteY22249" fmla="*/ 3738970 h 7458372"/>
              <a:gd name="connsiteX22250" fmla="*/ 694988 w 10505529"/>
              <a:gd name="connsiteY22250" fmla="*/ 3734711 h 7458372"/>
              <a:gd name="connsiteX22251" fmla="*/ 696053 w 10505529"/>
              <a:gd name="connsiteY22251" fmla="*/ 3729253 h 7458372"/>
              <a:gd name="connsiteX22252" fmla="*/ 694988 w 10505529"/>
              <a:gd name="connsiteY22252" fmla="*/ 3724061 h 7458372"/>
              <a:gd name="connsiteX22253" fmla="*/ 692325 w 10505529"/>
              <a:gd name="connsiteY22253" fmla="*/ 3719802 h 7458372"/>
              <a:gd name="connsiteX22254" fmla="*/ 688332 w 10505529"/>
              <a:gd name="connsiteY22254" fmla="*/ 3717139 h 7458372"/>
              <a:gd name="connsiteX22255" fmla="*/ 683273 w 10505529"/>
              <a:gd name="connsiteY22255" fmla="*/ 3716208 h 7458372"/>
              <a:gd name="connsiteX22256" fmla="*/ 465630 w 10505529"/>
              <a:gd name="connsiteY22256" fmla="*/ 3716208 h 7458372"/>
              <a:gd name="connsiteX22257" fmla="*/ 455647 w 10505529"/>
              <a:gd name="connsiteY22257" fmla="*/ 3719802 h 7458372"/>
              <a:gd name="connsiteX22258" fmla="*/ 452053 w 10505529"/>
              <a:gd name="connsiteY22258" fmla="*/ 3729253 h 7458372"/>
              <a:gd name="connsiteX22259" fmla="*/ 455647 w 10505529"/>
              <a:gd name="connsiteY22259" fmla="*/ 3738705 h 7458372"/>
              <a:gd name="connsiteX22260" fmla="*/ 465630 w 10505529"/>
              <a:gd name="connsiteY22260" fmla="*/ 3742165 h 7458372"/>
              <a:gd name="connsiteX22261" fmla="*/ 470955 w 10505529"/>
              <a:gd name="connsiteY22261" fmla="*/ 3741367 h 7458372"/>
              <a:gd name="connsiteX22262" fmla="*/ 474682 w 10505529"/>
              <a:gd name="connsiteY22262" fmla="*/ 3738970 h 7458372"/>
              <a:gd name="connsiteX22263" fmla="*/ 477345 w 10505529"/>
              <a:gd name="connsiteY22263" fmla="*/ 3734711 h 7458372"/>
              <a:gd name="connsiteX22264" fmla="*/ 478410 w 10505529"/>
              <a:gd name="connsiteY22264" fmla="*/ 3729253 h 7458372"/>
              <a:gd name="connsiteX22265" fmla="*/ 477345 w 10505529"/>
              <a:gd name="connsiteY22265" fmla="*/ 3724061 h 7458372"/>
              <a:gd name="connsiteX22266" fmla="*/ 474682 w 10505529"/>
              <a:gd name="connsiteY22266" fmla="*/ 3719802 h 7458372"/>
              <a:gd name="connsiteX22267" fmla="*/ 470689 w 10505529"/>
              <a:gd name="connsiteY22267" fmla="*/ 3717139 h 7458372"/>
              <a:gd name="connsiteX22268" fmla="*/ 465630 w 10505529"/>
              <a:gd name="connsiteY22268" fmla="*/ 3716208 h 7458372"/>
              <a:gd name="connsiteX22269" fmla="*/ 247987 w 10505529"/>
              <a:gd name="connsiteY22269" fmla="*/ 3716208 h 7458372"/>
              <a:gd name="connsiteX22270" fmla="*/ 238005 w 10505529"/>
              <a:gd name="connsiteY22270" fmla="*/ 3719802 h 7458372"/>
              <a:gd name="connsiteX22271" fmla="*/ 234411 w 10505529"/>
              <a:gd name="connsiteY22271" fmla="*/ 3729253 h 7458372"/>
              <a:gd name="connsiteX22272" fmla="*/ 238005 w 10505529"/>
              <a:gd name="connsiteY22272" fmla="*/ 3738705 h 7458372"/>
              <a:gd name="connsiteX22273" fmla="*/ 247987 w 10505529"/>
              <a:gd name="connsiteY22273" fmla="*/ 3742165 h 7458372"/>
              <a:gd name="connsiteX22274" fmla="*/ 253312 w 10505529"/>
              <a:gd name="connsiteY22274" fmla="*/ 3741367 h 7458372"/>
              <a:gd name="connsiteX22275" fmla="*/ 257039 w 10505529"/>
              <a:gd name="connsiteY22275" fmla="*/ 3738970 h 7458372"/>
              <a:gd name="connsiteX22276" fmla="*/ 259702 w 10505529"/>
              <a:gd name="connsiteY22276" fmla="*/ 3734711 h 7458372"/>
              <a:gd name="connsiteX22277" fmla="*/ 260767 w 10505529"/>
              <a:gd name="connsiteY22277" fmla="*/ 3729253 h 7458372"/>
              <a:gd name="connsiteX22278" fmla="*/ 259702 w 10505529"/>
              <a:gd name="connsiteY22278" fmla="*/ 3724061 h 7458372"/>
              <a:gd name="connsiteX22279" fmla="*/ 257039 w 10505529"/>
              <a:gd name="connsiteY22279" fmla="*/ 3719802 h 7458372"/>
              <a:gd name="connsiteX22280" fmla="*/ 253046 w 10505529"/>
              <a:gd name="connsiteY22280" fmla="*/ 3717139 h 7458372"/>
              <a:gd name="connsiteX22281" fmla="*/ 247987 w 10505529"/>
              <a:gd name="connsiteY22281" fmla="*/ 3716208 h 7458372"/>
              <a:gd name="connsiteX22282" fmla="*/ 30345 w 10505529"/>
              <a:gd name="connsiteY22282" fmla="*/ 3716208 h 7458372"/>
              <a:gd name="connsiteX22283" fmla="*/ 20362 w 10505529"/>
              <a:gd name="connsiteY22283" fmla="*/ 3719802 h 7458372"/>
              <a:gd name="connsiteX22284" fmla="*/ 16768 w 10505529"/>
              <a:gd name="connsiteY22284" fmla="*/ 3729253 h 7458372"/>
              <a:gd name="connsiteX22285" fmla="*/ 20362 w 10505529"/>
              <a:gd name="connsiteY22285" fmla="*/ 3738705 h 7458372"/>
              <a:gd name="connsiteX22286" fmla="*/ 30345 w 10505529"/>
              <a:gd name="connsiteY22286" fmla="*/ 3742165 h 7458372"/>
              <a:gd name="connsiteX22287" fmla="*/ 35670 w 10505529"/>
              <a:gd name="connsiteY22287" fmla="*/ 3741367 h 7458372"/>
              <a:gd name="connsiteX22288" fmla="*/ 39397 w 10505529"/>
              <a:gd name="connsiteY22288" fmla="*/ 3738970 h 7458372"/>
              <a:gd name="connsiteX22289" fmla="*/ 42060 w 10505529"/>
              <a:gd name="connsiteY22289" fmla="*/ 3734711 h 7458372"/>
              <a:gd name="connsiteX22290" fmla="*/ 42991 w 10505529"/>
              <a:gd name="connsiteY22290" fmla="*/ 3729253 h 7458372"/>
              <a:gd name="connsiteX22291" fmla="*/ 42060 w 10505529"/>
              <a:gd name="connsiteY22291" fmla="*/ 3724061 h 7458372"/>
              <a:gd name="connsiteX22292" fmla="*/ 39397 w 10505529"/>
              <a:gd name="connsiteY22292" fmla="*/ 3719802 h 7458372"/>
              <a:gd name="connsiteX22293" fmla="*/ 35404 w 10505529"/>
              <a:gd name="connsiteY22293" fmla="*/ 3717139 h 7458372"/>
              <a:gd name="connsiteX22294" fmla="*/ 30345 w 10505529"/>
              <a:gd name="connsiteY22294" fmla="*/ 3716208 h 7458372"/>
              <a:gd name="connsiteX22295" fmla="*/ 10475977 w 10505529"/>
              <a:gd name="connsiteY22295" fmla="*/ 3699567 h 7458372"/>
              <a:gd name="connsiteX22296" fmla="*/ 10487824 w 10505529"/>
              <a:gd name="connsiteY22296" fmla="*/ 3702096 h 7458372"/>
              <a:gd name="connsiteX22297" fmla="*/ 10497143 w 10505529"/>
              <a:gd name="connsiteY22297" fmla="*/ 3708486 h 7458372"/>
              <a:gd name="connsiteX22298" fmla="*/ 10503266 w 10505529"/>
              <a:gd name="connsiteY22298" fmla="*/ 3717937 h 7458372"/>
              <a:gd name="connsiteX22299" fmla="*/ 10505529 w 10505529"/>
              <a:gd name="connsiteY22299" fmla="*/ 3729385 h 7458372"/>
              <a:gd name="connsiteX22300" fmla="*/ 10503266 w 10505529"/>
              <a:gd name="connsiteY22300" fmla="*/ 3741100 h 7458372"/>
              <a:gd name="connsiteX22301" fmla="*/ 10497143 w 10505529"/>
              <a:gd name="connsiteY22301" fmla="*/ 3750419 h 7458372"/>
              <a:gd name="connsiteX22302" fmla="*/ 10487824 w 10505529"/>
              <a:gd name="connsiteY22302" fmla="*/ 3756675 h 7458372"/>
              <a:gd name="connsiteX22303" fmla="*/ 10475977 w 10505529"/>
              <a:gd name="connsiteY22303" fmla="*/ 3758938 h 7458372"/>
              <a:gd name="connsiteX22304" fmla="*/ 10454145 w 10505529"/>
              <a:gd name="connsiteY22304" fmla="*/ 3750419 h 7458372"/>
              <a:gd name="connsiteX22305" fmla="*/ 10445759 w 10505529"/>
              <a:gd name="connsiteY22305" fmla="*/ 3729253 h 7458372"/>
              <a:gd name="connsiteX22306" fmla="*/ 10454145 w 10505529"/>
              <a:gd name="connsiteY22306" fmla="*/ 3708220 h 7458372"/>
              <a:gd name="connsiteX22307" fmla="*/ 10475977 w 10505529"/>
              <a:gd name="connsiteY22307" fmla="*/ 3699567 h 7458372"/>
              <a:gd name="connsiteX22308" fmla="*/ 10258466 w 10505529"/>
              <a:gd name="connsiteY22308" fmla="*/ 3699567 h 7458372"/>
              <a:gd name="connsiteX22309" fmla="*/ 10270313 w 10505529"/>
              <a:gd name="connsiteY22309" fmla="*/ 3702096 h 7458372"/>
              <a:gd name="connsiteX22310" fmla="*/ 10279631 w 10505529"/>
              <a:gd name="connsiteY22310" fmla="*/ 3708486 h 7458372"/>
              <a:gd name="connsiteX22311" fmla="*/ 10285754 w 10505529"/>
              <a:gd name="connsiteY22311" fmla="*/ 3717937 h 7458372"/>
              <a:gd name="connsiteX22312" fmla="*/ 10288017 w 10505529"/>
              <a:gd name="connsiteY22312" fmla="*/ 3729385 h 7458372"/>
              <a:gd name="connsiteX22313" fmla="*/ 10285754 w 10505529"/>
              <a:gd name="connsiteY22313" fmla="*/ 3741100 h 7458372"/>
              <a:gd name="connsiteX22314" fmla="*/ 10279631 w 10505529"/>
              <a:gd name="connsiteY22314" fmla="*/ 3750419 h 7458372"/>
              <a:gd name="connsiteX22315" fmla="*/ 10270313 w 10505529"/>
              <a:gd name="connsiteY22315" fmla="*/ 3756675 h 7458372"/>
              <a:gd name="connsiteX22316" fmla="*/ 10258466 w 10505529"/>
              <a:gd name="connsiteY22316" fmla="*/ 3758938 h 7458372"/>
              <a:gd name="connsiteX22317" fmla="*/ 10236633 w 10505529"/>
              <a:gd name="connsiteY22317" fmla="*/ 3750419 h 7458372"/>
              <a:gd name="connsiteX22318" fmla="*/ 10228247 w 10505529"/>
              <a:gd name="connsiteY22318" fmla="*/ 3729253 h 7458372"/>
              <a:gd name="connsiteX22319" fmla="*/ 10236633 w 10505529"/>
              <a:gd name="connsiteY22319" fmla="*/ 3708220 h 7458372"/>
              <a:gd name="connsiteX22320" fmla="*/ 10258466 w 10505529"/>
              <a:gd name="connsiteY22320" fmla="*/ 3699567 h 7458372"/>
              <a:gd name="connsiteX22321" fmla="*/ 10040820 w 10505529"/>
              <a:gd name="connsiteY22321" fmla="*/ 3699567 h 7458372"/>
              <a:gd name="connsiteX22322" fmla="*/ 10052534 w 10505529"/>
              <a:gd name="connsiteY22322" fmla="*/ 3702096 h 7458372"/>
              <a:gd name="connsiteX22323" fmla="*/ 10061852 w 10505529"/>
              <a:gd name="connsiteY22323" fmla="*/ 3708486 h 7458372"/>
              <a:gd name="connsiteX22324" fmla="*/ 10067976 w 10505529"/>
              <a:gd name="connsiteY22324" fmla="*/ 3717937 h 7458372"/>
              <a:gd name="connsiteX22325" fmla="*/ 10070239 w 10505529"/>
              <a:gd name="connsiteY22325" fmla="*/ 3729385 h 7458372"/>
              <a:gd name="connsiteX22326" fmla="*/ 10067976 w 10505529"/>
              <a:gd name="connsiteY22326" fmla="*/ 3741100 h 7458372"/>
              <a:gd name="connsiteX22327" fmla="*/ 10061852 w 10505529"/>
              <a:gd name="connsiteY22327" fmla="*/ 3750419 h 7458372"/>
              <a:gd name="connsiteX22328" fmla="*/ 10052534 w 10505529"/>
              <a:gd name="connsiteY22328" fmla="*/ 3756675 h 7458372"/>
              <a:gd name="connsiteX22329" fmla="*/ 10040820 w 10505529"/>
              <a:gd name="connsiteY22329" fmla="*/ 3758938 h 7458372"/>
              <a:gd name="connsiteX22330" fmla="*/ 10018988 w 10505529"/>
              <a:gd name="connsiteY22330" fmla="*/ 3750419 h 7458372"/>
              <a:gd name="connsiteX22331" fmla="*/ 10010602 w 10505529"/>
              <a:gd name="connsiteY22331" fmla="*/ 3729253 h 7458372"/>
              <a:gd name="connsiteX22332" fmla="*/ 10018988 w 10505529"/>
              <a:gd name="connsiteY22332" fmla="*/ 3708220 h 7458372"/>
              <a:gd name="connsiteX22333" fmla="*/ 10040820 w 10505529"/>
              <a:gd name="connsiteY22333" fmla="*/ 3699567 h 7458372"/>
              <a:gd name="connsiteX22334" fmla="*/ 9823176 w 10505529"/>
              <a:gd name="connsiteY22334" fmla="*/ 3699567 h 7458372"/>
              <a:gd name="connsiteX22335" fmla="*/ 9834890 w 10505529"/>
              <a:gd name="connsiteY22335" fmla="*/ 3702096 h 7458372"/>
              <a:gd name="connsiteX22336" fmla="*/ 9844208 w 10505529"/>
              <a:gd name="connsiteY22336" fmla="*/ 3708486 h 7458372"/>
              <a:gd name="connsiteX22337" fmla="*/ 9850331 w 10505529"/>
              <a:gd name="connsiteY22337" fmla="*/ 3717937 h 7458372"/>
              <a:gd name="connsiteX22338" fmla="*/ 9852595 w 10505529"/>
              <a:gd name="connsiteY22338" fmla="*/ 3729385 h 7458372"/>
              <a:gd name="connsiteX22339" fmla="*/ 9850331 w 10505529"/>
              <a:gd name="connsiteY22339" fmla="*/ 3741100 h 7458372"/>
              <a:gd name="connsiteX22340" fmla="*/ 9844208 w 10505529"/>
              <a:gd name="connsiteY22340" fmla="*/ 3750419 h 7458372"/>
              <a:gd name="connsiteX22341" fmla="*/ 9834890 w 10505529"/>
              <a:gd name="connsiteY22341" fmla="*/ 3756675 h 7458372"/>
              <a:gd name="connsiteX22342" fmla="*/ 9823176 w 10505529"/>
              <a:gd name="connsiteY22342" fmla="*/ 3758938 h 7458372"/>
              <a:gd name="connsiteX22343" fmla="*/ 9801343 w 10505529"/>
              <a:gd name="connsiteY22343" fmla="*/ 3750419 h 7458372"/>
              <a:gd name="connsiteX22344" fmla="*/ 9792957 w 10505529"/>
              <a:gd name="connsiteY22344" fmla="*/ 3729253 h 7458372"/>
              <a:gd name="connsiteX22345" fmla="*/ 9801343 w 10505529"/>
              <a:gd name="connsiteY22345" fmla="*/ 3708220 h 7458372"/>
              <a:gd name="connsiteX22346" fmla="*/ 9823176 w 10505529"/>
              <a:gd name="connsiteY22346" fmla="*/ 3699567 h 7458372"/>
              <a:gd name="connsiteX22347" fmla="*/ 9605531 w 10505529"/>
              <a:gd name="connsiteY22347" fmla="*/ 3699567 h 7458372"/>
              <a:gd name="connsiteX22348" fmla="*/ 9617245 w 10505529"/>
              <a:gd name="connsiteY22348" fmla="*/ 3702096 h 7458372"/>
              <a:gd name="connsiteX22349" fmla="*/ 9626562 w 10505529"/>
              <a:gd name="connsiteY22349" fmla="*/ 3708486 h 7458372"/>
              <a:gd name="connsiteX22350" fmla="*/ 9632686 w 10505529"/>
              <a:gd name="connsiteY22350" fmla="*/ 3717937 h 7458372"/>
              <a:gd name="connsiteX22351" fmla="*/ 9634949 w 10505529"/>
              <a:gd name="connsiteY22351" fmla="*/ 3729385 h 7458372"/>
              <a:gd name="connsiteX22352" fmla="*/ 9632686 w 10505529"/>
              <a:gd name="connsiteY22352" fmla="*/ 3741100 h 7458372"/>
              <a:gd name="connsiteX22353" fmla="*/ 9626562 w 10505529"/>
              <a:gd name="connsiteY22353" fmla="*/ 3750419 h 7458372"/>
              <a:gd name="connsiteX22354" fmla="*/ 9617245 w 10505529"/>
              <a:gd name="connsiteY22354" fmla="*/ 3756675 h 7458372"/>
              <a:gd name="connsiteX22355" fmla="*/ 9605531 w 10505529"/>
              <a:gd name="connsiteY22355" fmla="*/ 3758938 h 7458372"/>
              <a:gd name="connsiteX22356" fmla="*/ 9583698 w 10505529"/>
              <a:gd name="connsiteY22356" fmla="*/ 3750419 h 7458372"/>
              <a:gd name="connsiteX22357" fmla="*/ 9575312 w 10505529"/>
              <a:gd name="connsiteY22357" fmla="*/ 3729253 h 7458372"/>
              <a:gd name="connsiteX22358" fmla="*/ 9583698 w 10505529"/>
              <a:gd name="connsiteY22358" fmla="*/ 3708220 h 7458372"/>
              <a:gd name="connsiteX22359" fmla="*/ 9605531 w 10505529"/>
              <a:gd name="connsiteY22359" fmla="*/ 3699567 h 7458372"/>
              <a:gd name="connsiteX22360" fmla="*/ 9387885 w 10505529"/>
              <a:gd name="connsiteY22360" fmla="*/ 3699567 h 7458372"/>
              <a:gd name="connsiteX22361" fmla="*/ 9399599 w 10505529"/>
              <a:gd name="connsiteY22361" fmla="*/ 3702096 h 7458372"/>
              <a:gd name="connsiteX22362" fmla="*/ 9408917 w 10505529"/>
              <a:gd name="connsiteY22362" fmla="*/ 3708486 h 7458372"/>
              <a:gd name="connsiteX22363" fmla="*/ 9415041 w 10505529"/>
              <a:gd name="connsiteY22363" fmla="*/ 3717937 h 7458372"/>
              <a:gd name="connsiteX22364" fmla="*/ 9417304 w 10505529"/>
              <a:gd name="connsiteY22364" fmla="*/ 3729385 h 7458372"/>
              <a:gd name="connsiteX22365" fmla="*/ 9415041 w 10505529"/>
              <a:gd name="connsiteY22365" fmla="*/ 3741100 h 7458372"/>
              <a:gd name="connsiteX22366" fmla="*/ 9408917 w 10505529"/>
              <a:gd name="connsiteY22366" fmla="*/ 3750419 h 7458372"/>
              <a:gd name="connsiteX22367" fmla="*/ 9399599 w 10505529"/>
              <a:gd name="connsiteY22367" fmla="*/ 3756675 h 7458372"/>
              <a:gd name="connsiteX22368" fmla="*/ 9387885 w 10505529"/>
              <a:gd name="connsiteY22368" fmla="*/ 3758938 h 7458372"/>
              <a:gd name="connsiteX22369" fmla="*/ 9366053 w 10505529"/>
              <a:gd name="connsiteY22369" fmla="*/ 3750419 h 7458372"/>
              <a:gd name="connsiteX22370" fmla="*/ 9357667 w 10505529"/>
              <a:gd name="connsiteY22370" fmla="*/ 3729253 h 7458372"/>
              <a:gd name="connsiteX22371" fmla="*/ 9366053 w 10505529"/>
              <a:gd name="connsiteY22371" fmla="*/ 3708220 h 7458372"/>
              <a:gd name="connsiteX22372" fmla="*/ 9387885 w 10505529"/>
              <a:gd name="connsiteY22372" fmla="*/ 3699567 h 7458372"/>
              <a:gd name="connsiteX22373" fmla="*/ 9170374 w 10505529"/>
              <a:gd name="connsiteY22373" fmla="*/ 3699567 h 7458372"/>
              <a:gd name="connsiteX22374" fmla="*/ 9182088 w 10505529"/>
              <a:gd name="connsiteY22374" fmla="*/ 3702096 h 7458372"/>
              <a:gd name="connsiteX22375" fmla="*/ 9191405 w 10505529"/>
              <a:gd name="connsiteY22375" fmla="*/ 3708486 h 7458372"/>
              <a:gd name="connsiteX22376" fmla="*/ 9197529 w 10505529"/>
              <a:gd name="connsiteY22376" fmla="*/ 3717937 h 7458372"/>
              <a:gd name="connsiteX22377" fmla="*/ 9199792 w 10505529"/>
              <a:gd name="connsiteY22377" fmla="*/ 3729385 h 7458372"/>
              <a:gd name="connsiteX22378" fmla="*/ 9197529 w 10505529"/>
              <a:gd name="connsiteY22378" fmla="*/ 3741100 h 7458372"/>
              <a:gd name="connsiteX22379" fmla="*/ 9191405 w 10505529"/>
              <a:gd name="connsiteY22379" fmla="*/ 3750419 h 7458372"/>
              <a:gd name="connsiteX22380" fmla="*/ 9182088 w 10505529"/>
              <a:gd name="connsiteY22380" fmla="*/ 3756675 h 7458372"/>
              <a:gd name="connsiteX22381" fmla="*/ 9170374 w 10505529"/>
              <a:gd name="connsiteY22381" fmla="*/ 3758938 h 7458372"/>
              <a:gd name="connsiteX22382" fmla="*/ 9148541 w 10505529"/>
              <a:gd name="connsiteY22382" fmla="*/ 3750419 h 7458372"/>
              <a:gd name="connsiteX22383" fmla="*/ 9140155 w 10505529"/>
              <a:gd name="connsiteY22383" fmla="*/ 3729253 h 7458372"/>
              <a:gd name="connsiteX22384" fmla="*/ 9148541 w 10505529"/>
              <a:gd name="connsiteY22384" fmla="*/ 3708220 h 7458372"/>
              <a:gd name="connsiteX22385" fmla="*/ 9170374 w 10505529"/>
              <a:gd name="connsiteY22385" fmla="*/ 3699567 h 7458372"/>
              <a:gd name="connsiteX22386" fmla="*/ 8952728 w 10505529"/>
              <a:gd name="connsiteY22386" fmla="*/ 3699567 h 7458372"/>
              <a:gd name="connsiteX22387" fmla="*/ 8964442 w 10505529"/>
              <a:gd name="connsiteY22387" fmla="*/ 3702096 h 7458372"/>
              <a:gd name="connsiteX22388" fmla="*/ 8973760 w 10505529"/>
              <a:gd name="connsiteY22388" fmla="*/ 3708486 h 7458372"/>
              <a:gd name="connsiteX22389" fmla="*/ 8979884 w 10505529"/>
              <a:gd name="connsiteY22389" fmla="*/ 3717937 h 7458372"/>
              <a:gd name="connsiteX22390" fmla="*/ 8982147 w 10505529"/>
              <a:gd name="connsiteY22390" fmla="*/ 3729385 h 7458372"/>
              <a:gd name="connsiteX22391" fmla="*/ 8979884 w 10505529"/>
              <a:gd name="connsiteY22391" fmla="*/ 3741100 h 7458372"/>
              <a:gd name="connsiteX22392" fmla="*/ 8973760 w 10505529"/>
              <a:gd name="connsiteY22392" fmla="*/ 3750419 h 7458372"/>
              <a:gd name="connsiteX22393" fmla="*/ 8964442 w 10505529"/>
              <a:gd name="connsiteY22393" fmla="*/ 3756675 h 7458372"/>
              <a:gd name="connsiteX22394" fmla="*/ 8952728 w 10505529"/>
              <a:gd name="connsiteY22394" fmla="*/ 3758938 h 7458372"/>
              <a:gd name="connsiteX22395" fmla="*/ 8930896 w 10505529"/>
              <a:gd name="connsiteY22395" fmla="*/ 3750419 h 7458372"/>
              <a:gd name="connsiteX22396" fmla="*/ 8922510 w 10505529"/>
              <a:gd name="connsiteY22396" fmla="*/ 3729253 h 7458372"/>
              <a:gd name="connsiteX22397" fmla="*/ 8930896 w 10505529"/>
              <a:gd name="connsiteY22397" fmla="*/ 3708220 h 7458372"/>
              <a:gd name="connsiteX22398" fmla="*/ 8952728 w 10505529"/>
              <a:gd name="connsiteY22398" fmla="*/ 3699567 h 7458372"/>
              <a:gd name="connsiteX22399" fmla="*/ 8735083 w 10505529"/>
              <a:gd name="connsiteY22399" fmla="*/ 3699567 h 7458372"/>
              <a:gd name="connsiteX22400" fmla="*/ 8746797 w 10505529"/>
              <a:gd name="connsiteY22400" fmla="*/ 3702096 h 7458372"/>
              <a:gd name="connsiteX22401" fmla="*/ 8756115 w 10505529"/>
              <a:gd name="connsiteY22401" fmla="*/ 3708486 h 7458372"/>
              <a:gd name="connsiteX22402" fmla="*/ 8762238 w 10505529"/>
              <a:gd name="connsiteY22402" fmla="*/ 3717937 h 7458372"/>
              <a:gd name="connsiteX22403" fmla="*/ 8764502 w 10505529"/>
              <a:gd name="connsiteY22403" fmla="*/ 3729385 h 7458372"/>
              <a:gd name="connsiteX22404" fmla="*/ 8762238 w 10505529"/>
              <a:gd name="connsiteY22404" fmla="*/ 3741100 h 7458372"/>
              <a:gd name="connsiteX22405" fmla="*/ 8756115 w 10505529"/>
              <a:gd name="connsiteY22405" fmla="*/ 3750419 h 7458372"/>
              <a:gd name="connsiteX22406" fmla="*/ 8746797 w 10505529"/>
              <a:gd name="connsiteY22406" fmla="*/ 3756675 h 7458372"/>
              <a:gd name="connsiteX22407" fmla="*/ 8735083 w 10505529"/>
              <a:gd name="connsiteY22407" fmla="*/ 3758938 h 7458372"/>
              <a:gd name="connsiteX22408" fmla="*/ 8713250 w 10505529"/>
              <a:gd name="connsiteY22408" fmla="*/ 3750419 h 7458372"/>
              <a:gd name="connsiteX22409" fmla="*/ 8704864 w 10505529"/>
              <a:gd name="connsiteY22409" fmla="*/ 3729253 h 7458372"/>
              <a:gd name="connsiteX22410" fmla="*/ 8713250 w 10505529"/>
              <a:gd name="connsiteY22410" fmla="*/ 3708220 h 7458372"/>
              <a:gd name="connsiteX22411" fmla="*/ 8735083 w 10505529"/>
              <a:gd name="connsiteY22411" fmla="*/ 3699567 h 7458372"/>
              <a:gd name="connsiteX22412" fmla="*/ 8517438 w 10505529"/>
              <a:gd name="connsiteY22412" fmla="*/ 3699567 h 7458372"/>
              <a:gd name="connsiteX22413" fmla="*/ 8529152 w 10505529"/>
              <a:gd name="connsiteY22413" fmla="*/ 3702096 h 7458372"/>
              <a:gd name="connsiteX22414" fmla="*/ 8538470 w 10505529"/>
              <a:gd name="connsiteY22414" fmla="*/ 3708486 h 7458372"/>
              <a:gd name="connsiteX22415" fmla="*/ 8544594 w 10505529"/>
              <a:gd name="connsiteY22415" fmla="*/ 3717937 h 7458372"/>
              <a:gd name="connsiteX22416" fmla="*/ 8546857 w 10505529"/>
              <a:gd name="connsiteY22416" fmla="*/ 3729385 h 7458372"/>
              <a:gd name="connsiteX22417" fmla="*/ 8544594 w 10505529"/>
              <a:gd name="connsiteY22417" fmla="*/ 3741100 h 7458372"/>
              <a:gd name="connsiteX22418" fmla="*/ 8538470 w 10505529"/>
              <a:gd name="connsiteY22418" fmla="*/ 3750419 h 7458372"/>
              <a:gd name="connsiteX22419" fmla="*/ 8529152 w 10505529"/>
              <a:gd name="connsiteY22419" fmla="*/ 3756675 h 7458372"/>
              <a:gd name="connsiteX22420" fmla="*/ 8517438 w 10505529"/>
              <a:gd name="connsiteY22420" fmla="*/ 3758938 h 7458372"/>
              <a:gd name="connsiteX22421" fmla="*/ 8495606 w 10505529"/>
              <a:gd name="connsiteY22421" fmla="*/ 3750419 h 7458372"/>
              <a:gd name="connsiteX22422" fmla="*/ 8487220 w 10505529"/>
              <a:gd name="connsiteY22422" fmla="*/ 3729253 h 7458372"/>
              <a:gd name="connsiteX22423" fmla="*/ 8495606 w 10505529"/>
              <a:gd name="connsiteY22423" fmla="*/ 3708220 h 7458372"/>
              <a:gd name="connsiteX22424" fmla="*/ 8517438 w 10505529"/>
              <a:gd name="connsiteY22424" fmla="*/ 3699567 h 7458372"/>
              <a:gd name="connsiteX22425" fmla="*/ 8299793 w 10505529"/>
              <a:gd name="connsiteY22425" fmla="*/ 3699567 h 7458372"/>
              <a:gd name="connsiteX22426" fmla="*/ 8311507 w 10505529"/>
              <a:gd name="connsiteY22426" fmla="*/ 3702096 h 7458372"/>
              <a:gd name="connsiteX22427" fmla="*/ 8320825 w 10505529"/>
              <a:gd name="connsiteY22427" fmla="*/ 3708486 h 7458372"/>
              <a:gd name="connsiteX22428" fmla="*/ 8326948 w 10505529"/>
              <a:gd name="connsiteY22428" fmla="*/ 3717937 h 7458372"/>
              <a:gd name="connsiteX22429" fmla="*/ 8329212 w 10505529"/>
              <a:gd name="connsiteY22429" fmla="*/ 3729385 h 7458372"/>
              <a:gd name="connsiteX22430" fmla="*/ 8326948 w 10505529"/>
              <a:gd name="connsiteY22430" fmla="*/ 3741100 h 7458372"/>
              <a:gd name="connsiteX22431" fmla="*/ 8320825 w 10505529"/>
              <a:gd name="connsiteY22431" fmla="*/ 3750419 h 7458372"/>
              <a:gd name="connsiteX22432" fmla="*/ 8311507 w 10505529"/>
              <a:gd name="connsiteY22432" fmla="*/ 3756675 h 7458372"/>
              <a:gd name="connsiteX22433" fmla="*/ 8299793 w 10505529"/>
              <a:gd name="connsiteY22433" fmla="*/ 3758938 h 7458372"/>
              <a:gd name="connsiteX22434" fmla="*/ 8277960 w 10505529"/>
              <a:gd name="connsiteY22434" fmla="*/ 3750419 h 7458372"/>
              <a:gd name="connsiteX22435" fmla="*/ 8269574 w 10505529"/>
              <a:gd name="connsiteY22435" fmla="*/ 3729253 h 7458372"/>
              <a:gd name="connsiteX22436" fmla="*/ 8277960 w 10505529"/>
              <a:gd name="connsiteY22436" fmla="*/ 3708220 h 7458372"/>
              <a:gd name="connsiteX22437" fmla="*/ 8299793 w 10505529"/>
              <a:gd name="connsiteY22437" fmla="*/ 3699567 h 7458372"/>
              <a:gd name="connsiteX22438" fmla="*/ 8082281 w 10505529"/>
              <a:gd name="connsiteY22438" fmla="*/ 3699567 h 7458372"/>
              <a:gd name="connsiteX22439" fmla="*/ 8094127 w 10505529"/>
              <a:gd name="connsiteY22439" fmla="*/ 3702096 h 7458372"/>
              <a:gd name="connsiteX22440" fmla="*/ 8103446 w 10505529"/>
              <a:gd name="connsiteY22440" fmla="*/ 3708486 h 7458372"/>
              <a:gd name="connsiteX22441" fmla="*/ 8109569 w 10505529"/>
              <a:gd name="connsiteY22441" fmla="*/ 3717937 h 7458372"/>
              <a:gd name="connsiteX22442" fmla="*/ 8111832 w 10505529"/>
              <a:gd name="connsiteY22442" fmla="*/ 3729385 h 7458372"/>
              <a:gd name="connsiteX22443" fmla="*/ 8109569 w 10505529"/>
              <a:gd name="connsiteY22443" fmla="*/ 3741100 h 7458372"/>
              <a:gd name="connsiteX22444" fmla="*/ 8103446 w 10505529"/>
              <a:gd name="connsiteY22444" fmla="*/ 3750419 h 7458372"/>
              <a:gd name="connsiteX22445" fmla="*/ 8094127 w 10505529"/>
              <a:gd name="connsiteY22445" fmla="*/ 3756675 h 7458372"/>
              <a:gd name="connsiteX22446" fmla="*/ 8082281 w 10505529"/>
              <a:gd name="connsiteY22446" fmla="*/ 3758938 h 7458372"/>
              <a:gd name="connsiteX22447" fmla="*/ 8060448 w 10505529"/>
              <a:gd name="connsiteY22447" fmla="*/ 3750419 h 7458372"/>
              <a:gd name="connsiteX22448" fmla="*/ 8052062 w 10505529"/>
              <a:gd name="connsiteY22448" fmla="*/ 3729253 h 7458372"/>
              <a:gd name="connsiteX22449" fmla="*/ 8060448 w 10505529"/>
              <a:gd name="connsiteY22449" fmla="*/ 3708220 h 7458372"/>
              <a:gd name="connsiteX22450" fmla="*/ 8082281 w 10505529"/>
              <a:gd name="connsiteY22450" fmla="*/ 3699567 h 7458372"/>
              <a:gd name="connsiteX22451" fmla="*/ 7864636 w 10505529"/>
              <a:gd name="connsiteY22451" fmla="*/ 3699567 h 7458372"/>
              <a:gd name="connsiteX22452" fmla="*/ 7876483 w 10505529"/>
              <a:gd name="connsiteY22452" fmla="*/ 3702096 h 7458372"/>
              <a:gd name="connsiteX22453" fmla="*/ 7885802 w 10505529"/>
              <a:gd name="connsiteY22453" fmla="*/ 3708486 h 7458372"/>
              <a:gd name="connsiteX22454" fmla="*/ 7891924 w 10505529"/>
              <a:gd name="connsiteY22454" fmla="*/ 3717937 h 7458372"/>
              <a:gd name="connsiteX22455" fmla="*/ 7894188 w 10505529"/>
              <a:gd name="connsiteY22455" fmla="*/ 3729385 h 7458372"/>
              <a:gd name="connsiteX22456" fmla="*/ 7891924 w 10505529"/>
              <a:gd name="connsiteY22456" fmla="*/ 3741100 h 7458372"/>
              <a:gd name="connsiteX22457" fmla="*/ 7885802 w 10505529"/>
              <a:gd name="connsiteY22457" fmla="*/ 3750419 h 7458372"/>
              <a:gd name="connsiteX22458" fmla="*/ 7876483 w 10505529"/>
              <a:gd name="connsiteY22458" fmla="*/ 3756675 h 7458372"/>
              <a:gd name="connsiteX22459" fmla="*/ 7864636 w 10505529"/>
              <a:gd name="connsiteY22459" fmla="*/ 3758938 h 7458372"/>
              <a:gd name="connsiteX22460" fmla="*/ 7842803 w 10505529"/>
              <a:gd name="connsiteY22460" fmla="*/ 3750419 h 7458372"/>
              <a:gd name="connsiteX22461" fmla="*/ 7834417 w 10505529"/>
              <a:gd name="connsiteY22461" fmla="*/ 3729253 h 7458372"/>
              <a:gd name="connsiteX22462" fmla="*/ 7842803 w 10505529"/>
              <a:gd name="connsiteY22462" fmla="*/ 3708220 h 7458372"/>
              <a:gd name="connsiteX22463" fmla="*/ 7864636 w 10505529"/>
              <a:gd name="connsiteY22463" fmla="*/ 3699567 h 7458372"/>
              <a:gd name="connsiteX22464" fmla="*/ 7646991 w 10505529"/>
              <a:gd name="connsiteY22464" fmla="*/ 3699567 h 7458372"/>
              <a:gd name="connsiteX22465" fmla="*/ 7658705 w 10505529"/>
              <a:gd name="connsiteY22465" fmla="*/ 3702096 h 7458372"/>
              <a:gd name="connsiteX22466" fmla="*/ 7668022 w 10505529"/>
              <a:gd name="connsiteY22466" fmla="*/ 3708486 h 7458372"/>
              <a:gd name="connsiteX22467" fmla="*/ 7674146 w 10505529"/>
              <a:gd name="connsiteY22467" fmla="*/ 3717937 h 7458372"/>
              <a:gd name="connsiteX22468" fmla="*/ 7676409 w 10505529"/>
              <a:gd name="connsiteY22468" fmla="*/ 3729385 h 7458372"/>
              <a:gd name="connsiteX22469" fmla="*/ 7674146 w 10505529"/>
              <a:gd name="connsiteY22469" fmla="*/ 3741100 h 7458372"/>
              <a:gd name="connsiteX22470" fmla="*/ 7668022 w 10505529"/>
              <a:gd name="connsiteY22470" fmla="*/ 3750419 h 7458372"/>
              <a:gd name="connsiteX22471" fmla="*/ 7658705 w 10505529"/>
              <a:gd name="connsiteY22471" fmla="*/ 3756675 h 7458372"/>
              <a:gd name="connsiteX22472" fmla="*/ 7646991 w 10505529"/>
              <a:gd name="connsiteY22472" fmla="*/ 3758938 h 7458372"/>
              <a:gd name="connsiteX22473" fmla="*/ 7625158 w 10505529"/>
              <a:gd name="connsiteY22473" fmla="*/ 3750419 h 7458372"/>
              <a:gd name="connsiteX22474" fmla="*/ 7616772 w 10505529"/>
              <a:gd name="connsiteY22474" fmla="*/ 3729253 h 7458372"/>
              <a:gd name="connsiteX22475" fmla="*/ 7625158 w 10505529"/>
              <a:gd name="connsiteY22475" fmla="*/ 3708220 h 7458372"/>
              <a:gd name="connsiteX22476" fmla="*/ 7646991 w 10505529"/>
              <a:gd name="connsiteY22476" fmla="*/ 3699567 h 7458372"/>
              <a:gd name="connsiteX22477" fmla="*/ 7429345 w 10505529"/>
              <a:gd name="connsiteY22477" fmla="*/ 3699567 h 7458372"/>
              <a:gd name="connsiteX22478" fmla="*/ 7441059 w 10505529"/>
              <a:gd name="connsiteY22478" fmla="*/ 3702096 h 7458372"/>
              <a:gd name="connsiteX22479" fmla="*/ 7450377 w 10505529"/>
              <a:gd name="connsiteY22479" fmla="*/ 3708486 h 7458372"/>
              <a:gd name="connsiteX22480" fmla="*/ 7456501 w 10505529"/>
              <a:gd name="connsiteY22480" fmla="*/ 3717937 h 7458372"/>
              <a:gd name="connsiteX22481" fmla="*/ 7458764 w 10505529"/>
              <a:gd name="connsiteY22481" fmla="*/ 3729385 h 7458372"/>
              <a:gd name="connsiteX22482" fmla="*/ 7456501 w 10505529"/>
              <a:gd name="connsiteY22482" fmla="*/ 3741100 h 7458372"/>
              <a:gd name="connsiteX22483" fmla="*/ 7450377 w 10505529"/>
              <a:gd name="connsiteY22483" fmla="*/ 3750419 h 7458372"/>
              <a:gd name="connsiteX22484" fmla="*/ 7441059 w 10505529"/>
              <a:gd name="connsiteY22484" fmla="*/ 3756675 h 7458372"/>
              <a:gd name="connsiteX22485" fmla="*/ 7429345 w 10505529"/>
              <a:gd name="connsiteY22485" fmla="*/ 3758938 h 7458372"/>
              <a:gd name="connsiteX22486" fmla="*/ 7407513 w 10505529"/>
              <a:gd name="connsiteY22486" fmla="*/ 3750419 h 7458372"/>
              <a:gd name="connsiteX22487" fmla="*/ 7399127 w 10505529"/>
              <a:gd name="connsiteY22487" fmla="*/ 3729253 h 7458372"/>
              <a:gd name="connsiteX22488" fmla="*/ 7407513 w 10505529"/>
              <a:gd name="connsiteY22488" fmla="*/ 3708220 h 7458372"/>
              <a:gd name="connsiteX22489" fmla="*/ 7429345 w 10505529"/>
              <a:gd name="connsiteY22489" fmla="*/ 3699567 h 7458372"/>
              <a:gd name="connsiteX22490" fmla="*/ 7211701 w 10505529"/>
              <a:gd name="connsiteY22490" fmla="*/ 3699567 h 7458372"/>
              <a:gd name="connsiteX22491" fmla="*/ 7223415 w 10505529"/>
              <a:gd name="connsiteY22491" fmla="*/ 3702096 h 7458372"/>
              <a:gd name="connsiteX22492" fmla="*/ 7232733 w 10505529"/>
              <a:gd name="connsiteY22492" fmla="*/ 3708486 h 7458372"/>
              <a:gd name="connsiteX22493" fmla="*/ 7238856 w 10505529"/>
              <a:gd name="connsiteY22493" fmla="*/ 3717937 h 7458372"/>
              <a:gd name="connsiteX22494" fmla="*/ 7241120 w 10505529"/>
              <a:gd name="connsiteY22494" fmla="*/ 3729385 h 7458372"/>
              <a:gd name="connsiteX22495" fmla="*/ 7238856 w 10505529"/>
              <a:gd name="connsiteY22495" fmla="*/ 3741100 h 7458372"/>
              <a:gd name="connsiteX22496" fmla="*/ 7232733 w 10505529"/>
              <a:gd name="connsiteY22496" fmla="*/ 3750419 h 7458372"/>
              <a:gd name="connsiteX22497" fmla="*/ 7223415 w 10505529"/>
              <a:gd name="connsiteY22497" fmla="*/ 3756675 h 7458372"/>
              <a:gd name="connsiteX22498" fmla="*/ 7211701 w 10505529"/>
              <a:gd name="connsiteY22498" fmla="*/ 3758938 h 7458372"/>
              <a:gd name="connsiteX22499" fmla="*/ 7189868 w 10505529"/>
              <a:gd name="connsiteY22499" fmla="*/ 3750419 h 7458372"/>
              <a:gd name="connsiteX22500" fmla="*/ 7181482 w 10505529"/>
              <a:gd name="connsiteY22500" fmla="*/ 3729253 h 7458372"/>
              <a:gd name="connsiteX22501" fmla="*/ 7189868 w 10505529"/>
              <a:gd name="connsiteY22501" fmla="*/ 3708220 h 7458372"/>
              <a:gd name="connsiteX22502" fmla="*/ 7211701 w 10505529"/>
              <a:gd name="connsiteY22502" fmla="*/ 3699567 h 7458372"/>
              <a:gd name="connsiteX22503" fmla="*/ 6994056 w 10505529"/>
              <a:gd name="connsiteY22503" fmla="*/ 3699567 h 7458372"/>
              <a:gd name="connsiteX22504" fmla="*/ 7005769 w 10505529"/>
              <a:gd name="connsiteY22504" fmla="*/ 3702096 h 7458372"/>
              <a:gd name="connsiteX22505" fmla="*/ 7015087 w 10505529"/>
              <a:gd name="connsiteY22505" fmla="*/ 3708486 h 7458372"/>
              <a:gd name="connsiteX22506" fmla="*/ 7021211 w 10505529"/>
              <a:gd name="connsiteY22506" fmla="*/ 3717937 h 7458372"/>
              <a:gd name="connsiteX22507" fmla="*/ 7023474 w 10505529"/>
              <a:gd name="connsiteY22507" fmla="*/ 3729385 h 7458372"/>
              <a:gd name="connsiteX22508" fmla="*/ 7021211 w 10505529"/>
              <a:gd name="connsiteY22508" fmla="*/ 3741100 h 7458372"/>
              <a:gd name="connsiteX22509" fmla="*/ 7015087 w 10505529"/>
              <a:gd name="connsiteY22509" fmla="*/ 3750419 h 7458372"/>
              <a:gd name="connsiteX22510" fmla="*/ 7005769 w 10505529"/>
              <a:gd name="connsiteY22510" fmla="*/ 3756675 h 7458372"/>
              <a:gd name="connsiteX22511" fmla="*/ 6994056 w 10505529"/>
              <a:gd name="connsiteY22511" fmla="*/ 3758938 h 7458372"/>
              <a:gd name="connsiteX22512" fmla="*/ 6972223 w 10505529"/>
              <a:gd name="connsiteY22512" fmla="*/ 3750419 h 7458372"/>
              <a:gd name="connsiteX22513" fmla="*/ 6963837 w 10505529"/>
              <a:gd name="connsiteY22513" fmla="*/ 3729253 h 7458372"/>
              <a:gd name="connsiteX22514" fmla="*/ 6972223 w 10505529"/>
              <a:gd name="connsiteY22514" fmla="*/ 3708220 h 7458372"/>
              <a:gd name="connsiteX22515" fmla="*/ 6994056 w 10505529"/>
              <a:gd name="connsiteY22515" fmla="*/ 3699567 h 7458372"/>
              <a:gd name="connsiteX22516" fmla="*/ 6776544 w 10505529"/>
              <a:gd name="connsiteY22516" fmla="*/ 3699567 h 7458372"/>
              <a:gd name="connsiteX22517" fmla="*/ 6788258 w 10505529"/>
              <a:gd name="connsiteY22517" fmla="*/ 3702096 h 7458372"/>
              <a:gd name="connsiteX22518" fmla="*/ 6797576 w 10505529"/>
              <a:gd name="connsiteY22518" fmla="*/ 3708486 h 7458372"/>
              <a:gd name="connsiteX22519" fmla="*/ 6803699 w 10505529"/>
              <a:gd name="connsiteY22519" fmla="*/ 3717937 h 7458372"/>
              <a:gd name="connsiteX22520" fmla="*/ 6805963 w 10505529"/>
              <a:gd name="connsiteY22520" fmla="*/ 3729385 h 7458372"/>
              <a:gd name="connsiteX22521" fmla="*/ 6803699 w 10505529"/>
              <a:gd name="connsiteY22521" fmla="*/ 3741100 h 7458372"/>
              <a:gd name="connsiteX22522" fmla="*/ 6797576 w 10505529"/>
              <a:gd name="connsiteY22522" fmla="*/ 3750419 h 7458372"/>
              <a:gd name="connsiteX22523" fmla="*/ 6788258 w 10505529"/>
              <a:gd name="connsiteY22523" fmla="*/ 3756675 h 7458372"/>
              <a:gd name="connsiteX22524" fmla="*/ 6776544 w 10505529"/>
              <a:gd name="connsiteY22524" fmla="*/ 3758938 h 7458372"/>
              <a:gd name="connsiteX22525" fmla="*/ 6754711 w 10505529"/>
              <a:gd name="connsiteY22525" fmla="*/ 3750419 h 7458372"/>
              <a:gd name="connsiteX22526" fmla="*/ 6746325 w 10505529"/>
              <a:gd name="connsiteY22526" fmla="*/ 3729253 h 7458372"/>
              <a:gd name="connsiteX22527" fmla="*/ 6754711 w 10505529"/>
              <a:gd name="connsiteY22527" fmla="*/ 3708220 h 7458372"/>
              <a:gd name="connsiteX22528" fmla="*/ 6776544 w 10505529"/>
              <a:gd name="connsiteY22528" fmla="*/ 3699567 h 7458372"/>
              <a:gd name="connsiteX22529" fmla="*/ 6558899 w 10505529"/>
              <a:gd name="connsiteY22529" fmla="*/ 3699567 h 7458372"/>
              <a:gd name="connsiteX22530" fmla="*/ 6570612 w 10505529"/>
              <a:gd name="connsiteY22530" fmla="*/ 3702096 h 7458372"/>
              <a:gd name="connsiteX22531" fmla="*/ 6579930 w 10505529"/>
              <a:gd name="connsiteY22531" fmla="*/ 3708486 h 7458372"/>
              <a:gd name="connsiteX22532" fmla="*/ 6586054 w 10505529"/>
              <a:gd name="connsiteY22532" fmla="*/ 3717937 h 7458372"/>
              <a:gd name="connsiteX22533" fmla="*/ 6588317 w 10505529"/>
              <a:gd name="connsiteY22533" fmla="*/ 3729385 h 7458372"/>
              <a:gd name="connsiteX22534" fmla="*/ 6586054 w 10505529"/>
              <a:gd name="connsiteY22534" fmla="*/ 3741100 h 7458372"/>
              <a:gd name="connsiteX22535" fmla="*/ 6579930 w 10505529"/>
              <a:gd name="connsiteY22535" fmla="*/ 3750419 h 7458372"/>
              <a:gd name="connsiteX22536" fmla="*/ 6570612 w 10505529"/>
              <a:gd name="connsiteY22536" fmla="*/ 3756675 h 7458372"/>
              <a:gd name="connsiteX22537" fmla="*/ 6558899 w 10505529"/>
              <a:gd name="connsiteY22537" fmla="*/ 3758938 h 7458372"/>
              <a:gd name="connsiteX22538" fmla="*/ 6537066 w 10505529"/>
              <a:gd name="connsiteY22538" fmla="*/ 3750419 h 7458372"/>
              <a:gd name="connsiteX22539" fmla="*/ 6528680 w 10505529"/>
              <a:gd name="connsiteY22539" fmla="*/ 3729253 h 7458372"/>
              <a:gd name="connsiteX22540" fmla="*/ 6537066 w 10505529"/>
              <a:gd name="connsiteY22540" fmla="*/ 3708220 h 7458372"/>
              <a:gd name="connsiteX22541" fmla="*/ 6558899 w 10505529"/>
              <a:gd name="connsiteY22541" fmla="*/ 3699567 h 7458372"/>
              <a:gd name="connsiteX22542" fmla="*/ 6341253 w 10505529"/>
              <a:gd name="connsiteY22542" fmla="*/ 3699567 h 7458372"/>
              <a:gd name="connsiteX22543" fmla="*/ 6352968 w 10505529"/>
              <a:gd name="connsiteY22543" fmla="*/ 3702096 h 7458372"/>
              <a:gd name="connsiteX22544" fmla="*/ 6362286 w 10505529"/>
              <a:gd name="connsiteY22544" fmla="*/ 3708486 h 7458372"/>
              <a:gd name="connsiteX22545" fmla="*/ 6368409 w 10505529"/>
              <a:gd name="connsiteY22545" fmla="*/ 3717937 h 7458372"/>
              <a:gd name="connsiteX22546" fmla="*/ 6370672 w 10505529"/>
              <a:gd name="connsiteY22546" fmla="*/ 3729385 h 7458372"/>
              <a:gd name="connsiteX22547" fmla="*/ 6368409 w 10505529"/>
              <a:gd name="connsiteY22547" fmla="*/ 3741100 h 7458372"/>
              <a:gd name="connsiteX22548" fmla="*/ 6362286 w 10505529"/>
              <a:gd name="connsiteY22548" fmla="*/ 3750419 h 7458372"/>
              <a:gd name="connsiteX22549" fmla="*/ 6352968 w 10505529"/>
              <a:gd name="connsiteY22549" fmla="*/ 3756675 h 7458372"/>
              <a:gd name="connsiteX22550" fmla="*/ 6341253 w 10505529"/>
              <a:gd name="connsiteY22550" fmla="*/ 3758938 h 7458372"/>
              <a:gd name="connsiteX22551" fmla="*/ 6319421 w 10505529"/>
              <a:gd name="connsiteY22551" fmla="*/ 3750419 h 7458372"/>
              <a:gd name="connsiteX22552" fmla="*/ 6311035 w 10505529"/>
              <a:gd name="connsiteY22552" fmla="*/ 3729253 h 7458372"/>
              <a:gd name="connsiteX22553" fmla="*/ 6319421 w 10505529"/>
              <a:gd name="connsiteY22553" fmla="*/ 3708220 h 7458372"/>
              <a:gd name="connsiteX22554" fmla="*/ 6341253 w 10505529"/>
              <a:gd name="connsiteY22554" fmla="*/ 3699567 h 7458372"/>
              <a:gd name="connsiteX22555" fmla="*/ 6123608 w 10505529"/>
              <a:gd name="connsiteY22555" fmla="*/ 3699567 h 7458372"/>
              <a:gd name="connsiteX22556" fmla="*/ 6135322 w 10505529"/>
              <a:gd name="connsiteY22556" fmla="*/ 3702096 h 7458372"/>
              <a:gd name="connsiteX22557" fmla="*/ 6144640 w 10505529"/>
              <a:gd name="connsiteY22557" fmla="*/ 3708486 h 7458372"/>
              <a:gd name="connsiteX22558" fmla="*/ 6150763 w 10505529"/>
              <a:gd name="connsiteY22558" fmla="*/ 3717937 h 7458372"/>
              <a:gd name="connsiteX22559" fmla="*/ 6153026 w 10505529"/>
              <a:gd name="connsiteY22559" fmla="*/ 3729385 h 7458372"/>
              <a:gd name="connsiteX22560" fmla="*/ 6150763 w 10505529"/>
              <a:gd name="connsiteY22560" fmla="*/ 3741100 h 7458372"/>
              <a:gd name="connsiteX22561" fmla="*/ 6144640 w 10505529"/>
              <a:gd name="connsiteY22561" fmla="*/ 3750419 h 7458372"/>
              <a:gd name="connsiteX22562" fmla="*/ 6135322 w 10505529"/>
              <a:gd name="connsiteY22562" fmla="*/ 3756675 h 7458372"/>
              <a:gd name="connsiteX22563" fmla="*/ 6123608 w 10505529"/>
              <a:gd name="connsiteY22563" fmla="*/ 3758938 h 7458372"/>
              <a:gd name="connsiteX22564" fmla="*/ 6101775 w 10505529"/>
              <a:gd name="connsiteY22564" fmla="*/ 3750419 h 7458372"/>
              <a:gd name="connsiteX22565" fmla="*/ 6093389 w 10505529"/>
              <a:gd name="connsiteY22565" fmla="*/ 3729253 h 7458372"/>
              <a:gd name="connsiteX22566" fmla="*/ 6101775 w 10505529"/>
              <a:gd name="connsiteY22566" fmla="*/ 3708220 h 7458372"/>
              <a:gd name="connsiteX22567" fmla="*/ 6123608 w 10505529"/>
              <a:gd name="connsiteY22567" fmla="*/ 3699567 h 7458372"/>
              <a:gd name="connsiteX22568" fmla="*/ 5905963 w 10505529"/>
              <a:gd name="connsiteY22568" fmla="*/ 3699567 h 7458372"/>
              <a:gd name="connsiteX22569" fmla="*/ 5917677 w 10505529"/>
              <a:gd name="connsiteY22569" fmla="*/ 3702096 h 7458372"/>
              <a:gd name="connsiteX22570" fmla="*/ 5926995 w 10505529"/>
              <a:gd name="connsiteY22570" fmla="*/ 3708486 h 7458372"/>
              <a:gd name="connsiteX22571" fmla="*/ 5933118 w 10505529"/>
              <a:gd name="connsiteY22571" fmla="*/ 3717937 h 7458372"/>
              <a:gd name="connsiteX22572" fmla="*/ 5935381 w 10505529"/>
              <a:gd name="connsiteY22572" fmla="*/ 3729385 h 7458372"/>
              <a:gd name="connsiteX22573" fmla="*/ 5933118 w 10505529"/>
              <a:gd name="connsiteY22573" fmla="*/ 3741100 h 7458372"/>
              <a:gd name="connsiteX22574" fmla="*/ 5926995 w 10505529"/>
              <a:gd name="connsiteY22574" fmla="*/ 3750419 h 7458372"/>
              <a:gd name="connsiteX22575" fmla="*/ 5917677 w 10505529"/>
              <a:gd name="connsiteY22575" fmla="*/ 3756675 h 7458372"/>
              <a:gd name="connsiteX22576" fmla="*/ 5905963 w 10505529"/>
              <a:gd name="connsiteY22576" fmla="*/ 3758938 h 7458372"/>
              <a:gd name="connsiteX22577" fmla="*/ 5884130 w 10505529"/>
              <a:gd name="connsiteY22577" fmla="*/ 3750419 h 7458372"/>
              <a:gd name="connsiteX22578" fmla="*/ 5875744 w 10505529"/>
              <a:gd name="connsiteY22578" fmla="*/ 3729253 h 7458372"/>
              <a:gd name="connsiteX22579" fmla="*/ 5884130 w 10505529"/>
              <a:gd name="connsiteY22579" fmla="*/ 3708220 h 7458372"/>
              <a:gd name="connsiteX22580" fmla="*/ 5905963 w 10505529"/>
              <a:gd name="connsiteY22580" fmla="*/ 3699567 h 7458372"/>
              <a:gd name="connsiteX22581" fmla="*/ 5688451 w 10505529"/>
              <a:gd name="connsiteY22581" fmla="*/ 3699567 h 7458372"/>
              <a:gd name="connsiteX22582" fmla="*/ 5700165 w 10505529"/>
              <a:gd name="connsiteY22582" fmla="*/ 3702096 h 7458372"/>
              <a:gd name="connsiteX22583" fmla="*/ 5709483 w 10505529"/>
              <a:gd name="connsiteY22583" fmla="*/ 3708486 h 7458372"/>
              <a:gd name="connsiteX22584" fmla="*/ 5715606 w 10505529"/>
              <a:gd name="connsiteY22584" fmla="*/ 3717937 h 7458372"/>
              <a:gd name="connsiteX22585" fmla="*/ 5717869 w 10505529"/>
              <a:gd name="connsiteY22585" fmla="*/ 3729385 h 7458372"/>
              <a:gd name="connsiteX22586" fmla="*/ 5715606 w 10505529"/>
              <a:gd name="connsiteY22586" fmla="*/ 3741100 h 7458372"/>
              <a:gd name="connsiteX22587" fmla="*/ 5709483 w 10505529"/>
              <a:gd name="connsiteY22587" fmla="*/ 3750419 h 7458372"/>
              <a:gd name="connsiteX22588" fmla="*/ 5700165 w 10505529"/>
              <a:gd name="connsiteY22588" fmla="*/ 3756675 h 7458372"/>
              <a:gd name="connsiteX22589" fmla="*/ 5688451 w 10505529"/>
              <a:gd name="connsiteY22589" fmla="*/ 3758938 h 7458372"/>
              <a:gd name="connsiteX22590" fmla="*/ 5666618 w 10505529"/>
              <a:gd name="connsiteY22590" fmla="*/ 3750419 h 7458372"/>
              <a:gd name="connsiteX22591" fmla="*/ 5658232 w 10505529"/>
              <a:gd name="connsiteY22591" fmla="*/ 3729253 h 7458372"/>
              <a:gd name="connsiteX22592" fmla="*/ 5666618 w 10505529"/>
              <a:gd name="connsiteY22592" fmla="*/ 3708220 h 7458372"/>
              <a:gd name="connsiteX22593" fmla="*/ 5688451 w 10505529"/>
              <a:gd name="connsiteY22593" fmla="*/ 3699567 h 7458372"/>
              <a:gd name="connsiteX22594" fmla="*/ 5470806 w 10505529"/>
              <a:gd name="connsiteY22594" fmla="*/ 3699567 h 7458372"/>
              <a:gd name="connsiteX22595" fmla="*/ 5482520 w 10505529"/>
              <a:gd name="connsiteY22595" fmla="*/ 3702096 h 7458372"/>
              <a:gd name="connsiteX22596" fmla="*/ 5491838 w 10505529"/>
              <a:gd name="connsiteY22596" fmla="*/ 3708486 h 7458372"/>
              <a:gd name="connsiteX22597" fmla="*/ 5497961 w 10505529"/>
              <a:gd name="connsiteY22597" fmla="*/ 3717937 h 7458372"/>
              <a:gd name="connsiteX22598" fmla="*/ 5500224 w 10505529"/>
              <a:gd name="connsiteY22598" fmla="*/ 3729385 h 7458372"/>
              <a:gd name="connsiteX22599" fmla="*/ 5497961 w 10505529"/>
              <a:gd name="connsiteY22599" fmla="*/ 3741100 h 7458372"/>
              <a:gd name="connsiteX22600" fmla="*/ 5491838 w 10505529"/>
              <a:gd name="connsiteY22600" fmla="*/ 3750419 h 7458372"/>
              <a:gd name="connsiteX22601" fmla="*/ 5482520 w 10505529"/>
              <a:gd name="connsiteY22601" fmla="*/ 3756675 h 7458372"/>
              <a:gd name="connsiteX22602" fmla="*/ 5470806 w 10505529"/>
              <a:gd name="connsiteY22602" fmla="*/ 3758938 h 7458372"/>
              <a:gd name="connsiteX22603" fmla="*/ 5448973 w 10505529"/>
              <a:gd name="connsiteY22603" fmla="*/ 3750419 h 7458372"/>
              <a:gd name="connsiteX22604" fmla="*/ 5440587 w 10505529"/>
              <a:gd name="connsiteY22604" fmla="*/ 3729253 h 7458372"/>
              <a:gd name="connsiteX22605" fmla="*/ 5448973 w 10505529"/>
              <a:gd name="connsiteY22605" fmla="*/ 3708220 h 7458372"/>
              <a:gd name="connsiteX22606" fmla="*/ 5470806 w 10505529"/>
              <a:gd name="connsiteY22606" fmla="*/ 3699567 h 7458372"/>
              <a:gd name="connsiteX22607" fmla="*/ 5253160 w 10505529"/>
              <a:gd name="connsiteY22607" fmla="*/ 3699567 h 7458372"/>
              <a:gd name="connsiteX22608" fmla="*/ 5264875 w 10505529"/>
              <a:gd name="connsiteY22608" fmla="*/ 3702096 h 7458372"/>
              <a:gd name="connsiteX22609" fmla="*/ 5274192 w 10505529"/>
              <a:gd name="connsiteY22609" fmla="*/ 3708486 h 7458372"/>
              <a:gd name="connsiteX22610" fmla="*/ 5280316 w 10505529"/>
              <a:gd name="connsiteY22610" fmla="*/ 3717937 h 7458372"/>
              <a:gd name="connsiteX22611" fmla="*/ 5282579 w 10505529"/>
              <a:gd name="connsiteY22611" fmla="*/ 3729385 h 7458372"/>
              <a:gd name="connsiteX22612" fmla="*/ 5280316 w 10505529"/>
              <a:gd name="connsiteY22612" fmla="*/ 3741100 h 7458372"/>
              <a:gd name="connsiteX22613" fmla="*/ 5274192 w 10505529"/>
              <a:gd name="connsiteY22613" fmla="*/ 3750419 h 7458372"/>
              <a:gd name="connsiteX22614" fmla="*/ 5264875 w 10505529"/>
              <a:gd name="connsiteY22614" fmla="*/ 3756675 h 7458372"/>
              <a:gd name="connsiteX22615" fmla="*/ 5253160 w 10505529"/>
              <a:gd name="connsiteY22615" fmla="*/ 3758938 h 7458372"/>
              <a:gd name="connsiteX22616" fmla="*/ 5231328 w 10505529"/>
              <a:gd name="connsiteY22616" fmla="*/ 3750419 h 7458372"/>
              <a:gd name="connsiteX22617" fmla="*/ 5222942 w 10505529"/>
              <a:gd name="connsiteY22617" fmla="*/ 3729253 h 7458372"/>
              <a:gd name="connsiteX22618" fmla="*/ 5231328 w 10505529"/>
              <a:gd name="connsiteY22618" fmla="*/ 3708220 h 7458372"/>
              <a:gd name="connsiteX22619" fmla="*/ 5253160 w 10505529"/>
              <a:gd name="connsiteY22619" fmla="*/ 3699567 h 7458372"/>
              <a:gd name="connsiteX22620" fmla="*/ 5035515 w 10505529"/>
              <a:gd name="connsiteY22620" fmla="*/ 3699567 h 7458372"/>
              <a:gd name="connsiteX22621" fmla="*/ 5047230 w 10505529"/>
              <a:gd name="connsiteY22621" fmla="*/ 3702096 h 7458372"/>
              <a:gd name="connsiteX22622" fmla="*/ 5056548 w 10505529"/>
              <a:gd name="connsiteY22622" fmla="*/ 3708486 h 7458372"/>
              <a:gd name="connsiteX22623" fmla="*/ 5062671 w 10505529"/>
              <a:gd name="connsiteY22623" fmla="*/ 3717937 h 7458372"/>
              <a:gd name="connsiteX22624" fmla="*/ 5064934 w 10505529"/>
              <a:gd name="connsiteY22624" fmla="*/ 3729385 h 7458372"/>
              <a:gd name="connsiteX22625" fmla="*/ 5062671 w 10505529"/>
              <a:gd name="connsiteY22625" fmla="*/ 3741100 h 7458372"/>
              <a:gd name="connsiteX22626" fmla="*/ 5056548 w 10505529"/>
              <a:gd name="connsiteY22626" fmla="*/ 3750419 h 7458372"/>
              <a:gd name="connsiteX22627" fmla="*/ 5047230 w 10505529"/>
              <a:gd name="connsiteY22627" fmla="*/ 3756675 h 7458372"/>
              <a:gd name="connsiteX22628" fmla="*/ 5035515 w 10505529"/>
              <a:gd name="connsiteY22628" fmla="*/ 3758938 h 7458372"/>
              <a:gd name="connsiteX22629" fmla="*/ 5013683 w 10505529"/>
              <a:gd name="connsiteY22629" fmla="*/ 3750419 h 7458372"/>
              <a:gd name="connsiteX22630" fmla="*/ 5005297 w 10505529"/>
              <a:gd name="connsiteY22630" fmla="*/ 3729253 h 7458372"/>
              <a:gd name="connsiteX22631" fmla="*/ 5013683 w 10505529"/>
              <a:gd name="connsiteY22631" fmla="*/ 3708220 h 7458372"/>
              <a:gd name="connsiteX22632" fmla="*/ 5035515 w 10505529"/>
              <a:gd name="connsiteY22632" fmla="*/ 3699567 h 7458372"/>
              <a:gd name="connsiteX22633" fmla="*/ 4817870 w 10505529"/>
              <a:gd name="connsiteY22633" fmla="*/ 3699567 h 7458372"/>
              <a:gd name="connsiteX22634" fmla="*/ 4829585 w 10505529"/>
              <a:gd name="connsiteY22634" fmla="*/ 3702096 h 7458372"/>
              <a:gd name="connsiteX22635" fmla="*/ 4838903 w 10505529"/>
              <a:gd name="connsiteY22635" fmla="*/ 3708486 h 7458372"/>
              <a:gd name="connsiteX22636" fmla="*/ 4845026 w 10505529"/>
              <a:gd name="connsiteY22636" fmla="*/ 3717937 h 7458372"/>
              <a:gd name="connsiteX22637" fmla="*/ 4847289 w 10505529"/>
              <a:gd name="connsiteY22637" fmla="*/ 3729385 h 7458372"/>
              <a:gd name="connsiteX22638" fmla="*/ 4845026 w 10505529"/>
              <a:gd name="connsiteY22638" fmla="*/ 3741100 h 7458372"/>
              <a:gd name="connsiteX22639" fmla="*/ 4838903 w 10505529"/>
              <a:gd name="connsiteY22639" fmla="*/ 3750419 h 7458372"/>
              <a:gd name="connsiteX22640" fmla="*/ 4829585 w 10505529"/>
              <a:gd name="connsiteY22640" fmla="*/ 3756675 h 7458372"/>
              <a:gd name="connsiteX22641" fmla="*/ 4817870 w 10505529"/>
              <a:gd name="connsiteY22641" fmla="*/ 3758938 h 7458372"/>
              <a:gd name="connsiteX22642" fmla="*/ 4796038 w 10505529"/>
              <a:gd name="connsiteY22642" fmla="*/ 3750419 h 7458372"/>
              <a:gd name="connsiteX22643" fmla="*/ 4787652 w 10505529"/>
              <a:gd name="connsiteY22643" fmla="*/ 3729253 h 7458372"/>
              <a:gd name="connsiteX22644" fmla="*/ 4796038 w 10505529"/>
              <a:gd name="connsiteY22644" fmla="*/ 3708220 h 7458372"/>
              <a:gd name="connsiteX22645" fmla="*/ 4817870 w 10505529"/>
              <a:gd name="connsiteY22645" fmla="*/ 3699567 h 7458372"/>
              <a:gd name="connsiteX22646" fmla="*/ 4600226 w 10505529"/>
              <a:gd name="connsiteY22646" fmla="*/ 3699567 h 7458372"/>
              <a:gd name="connsiteX22647" fmla="*/ 4612073 w 10505529"/>
              <a:gd name="connsiteY22647" fmla="*/ 3702096 h 7458372"/>
              <a:gd name="connsiteX22648" fmla="*/ 4621391 w 10505529"/>
              <a:gd name="connsiteY22648" fmla="*/ 3708486 h 7458372"/>
              <a:gd name="connsiteX22649" fmla="*/ 4627514 w 10505529"/>
              <a:gd name="connsiteY22649" fmla="*/ 3717937 h 7458372"/>
              <a:gd name="connsiteX22650" fmla="*/ 4629777 w 10505529"/>
              <a:gd name="connsiteY22650" fmla="*/ 3729385 h 7458372"/>
              <a:gd name="connsiteX22651" fmla="*/ 4627514 w 10505529"/>
              <a:gd name="connsiteY22651" fmla="*/ 3741100 h 7458372"/>
              <a:gd name="connsiteX22652" fmla="*/ 4621391 w 10505529"/>
              <a:gd name="connsiteY22652" fmla="*/ 3750419 h 7458372"/>
              <a:gd name="connsiteX22653" fmla="*/ 4612073 w 10505529"/>
              <a:gd name="connsiteY22653" fmla="*/ 3756675 h 7458372"/>
              <a:gd name="connsiteX22654" fmla="*/ 4600226 w 10505529"/>
              <a:gd name="connsiteY22654" fmla="*/ 3758938 h 7458372"/>
              <a:gd name="connsiteX22655" fmla="*/ 4578393 w 10505529"/>
              <a:gd name="connsiteY22655" fmla="*/ 3750419 h 7458372"/>
              <a:gd name="connsiteX22656" fmla="*/ 4570007 w 10505529"/>
              <a:gd name="connsiteY22656" fmla="*/ 3729253 h 7458372"/>
              <a:gd name="connsiteX22657" fmla="*/ 4578393 w 10505529"/>
              <a:gd name="connsiteY22657" fmla="*/ 3708220 h 7458372"/>
              <a:gd name="connsiteX22658" fmla="*/ 4600226 w 10505529"/>
              <a:gd name="connsiteY22658" fmla="*/ 3699567 h 7458372"/>
              <a:gd name="connsiteX22659" fmla="*/ 4382713 w 10505529"/>
              <a:gd name="connsiteY22659" fmla="*/ 3699567 h 7458372"/>
              <a:gd name="connsiteX22660" fmla="*/ 4394428 w 10505529"/>
              <a:gd name="connsiteY22660" fmla="*/ 3702096 h 7458372"/>
              <a:gd name="connsiteX22661" fmla="*/ 4403746 w 10505529"/>
              <a:gd name="connsiteY22661" fmla="*/ 3708486 h 7458372"/>
              <a:gd name="connsiteX22662" fmla="*/ 4409869 w 10505529"/>
              <a:gd name="connsiteY22662" fmla="*/ 3717937 h 7458372"/>
              <a:gd name="connsiteX22663" fmla="*/ 4412132 w 10505529"/>
              <a:gd name="connsiteY22663" fmla="*/ 3729385 h 7458372"/>
              <a:gd name="connsiteX22664" fmla="*/ 4409869 w 10505529"/>
              <a:gd name="connsiteY22664" fmla="*/ 3741100 h 7458372"/>
              <a:gd name="connsiteX22665" fmla="*/ 4403746 w 10505529"/>
              <a:gd name="connsiteY22665" fmla="*/ 3750419 h 7458372"/>
              <a:gd name="connsiteX22666" fmla="*/ 4394428 w 10505529"/>
              <a:gd name="connsiteY22666" fmla="*/ 3756675 h 7458372"/>
              <a:gd name="connsiteX22667" fmla="*/ 4382713 w 10505529"/>
              <a:gd name="connsiteY22667" fmla="*/ 3758938 h 7458372"/>
              <a:gd name="connsiteX22668" fmla="*/ 4360881 w 10505529"/>
              <a:gd name="connsiteY22668" fmla="*/ 3750419 h 7458372"/>
              <a:gd name="connsiteX22669" fmla="*/ 4352495 w 10505529"/>
              <a:gd name="connsiteY22669" fmla="*/ 3729253 h 7458372"/>
              <a:gd name="connsiteX22670" fmla="*/ 4360881 w 10505529"/>
              <a:gd name="connsiteY22670" fmla="*/ 3708220 h 7458372"/>
              <a:gd name="connsiteX22671" fmla="*/ 4382713 w 10505529"/>
              <a:gd name="connsiteY22671" fmla="*/ 3699567 h 7458372"/>
              <a:gd name="connsiteX22672" fmla="*/ 4165068 w 10505529"/>
              <a:gd name="connsiteY22672" fmla="*/ 3699567 h 7458372"/>
              <a:gd name="connsiteX22673" fmla="*/ 4176782 w 10505529"/>
              <a:gd name="connsiteY22673" fmla="*/ 3702096 h 7458372"/>
              <a:gd name="connsiteX22674" fmla="*/ 4186100 w 10505529"/>
              <a:gd name="connsiteY22674" fmla="*/ 3708486 h 7458372"/>
              <a:gd name="connsiteX22675" fmla="*/ 4192223 w 10505529"/>
              <a:gd name="connsiteY22675" fmla="*/ 3717937 h 7458372"/>
              <a:gd name="connsiteX22676" fmla="*/ 4194486 w 10505529"/>
              <a:gd name="connsiteY22676" fmla="*/ 3729385 h 7458372"/>
              <a:gd name="connsiteX22677" fmla="*/ 4192223 w 10505529"/>
              <a:gd name="connsiteY22677" fmla="*/ 3741100 h 7458372"/>
              <a:gd name="connsiteX22678" fmla="*/ 4186100 w 10505529"/>
              <a:gd name="connsiteY22678" fmla="*/ 3750419 h 7458372"/>
              <a:gd name="connsiteX22679" fmla="*/ 4176782 w 10505529"/>
              <a:gd name="connsiteY22679" fmla="*/ 3756675 h 7458372"/>
              <a:gd name="connsiteX22680" fmla="*/ 4165068 w 10505529"/>
              <a:gd name="connsiteY22680" fmla="*/ 3758938 h 7458372"/>
              <a:gd name="connsiteX22681" fmla="*/ 4143235 w 10505529"/>
              <a:gd name="connsiteY22681" fmla="*/ 3750419 h 7458372"/>
              <a:gd name="connsiteX22682" fmla="*/ 4134849 w 10505529"/>
              <a:gd name="connsiteY22682" fmla="*/ 3729253 h 7458372"/>
              <a:gd name="connsiteX22683" fmla="*/ 4143235 w 10505529"/>
              <a:gd name="connsiteY22683" fmla="*/ 3708220 h 7458372"/>
              <a:gd name="connsiteX22684" fmla="*/ 4165068 w 10505529"/>
              <a:gd name="connsiteY22684" fmla="*/ 3699567 h 7458372"/>
              <a:gd name="connsiteX22685" fmla="*/ 3947628 w 10505529"/>
              <a:gd name="connsiteY22685" fmla="*/ 3699567 h 7458372"/>
              <a:gd name="connsiteX22686" fmla="*/ 3959345 w 10505529"/>
              <a:gd name="connsiteY22686" fmla="*/ 3702096 h 7458372"/>
              <a:gd name="connsiteX22687" fmla="*/ 3968663 w 10505529"/>
              <a:gd name="connsiteY22687" fmla="*/ 3708486 h 7458372"/>
              <a:gd name="connsiteX22688" fmla="*/ 3974787 w 10505529"/>
              <a:gd name="connsiteY22688" fmla="*/ 3717937 h 7458372"/>
              <a:gd name="connsiteX22689" fmla="*/ 3977050 w 10505529"/>
              <a:gd name="connsiteY22689" fmla="*/ 3729385 h 7458372"/>
              <a:gd name="connsiteX22690" fmla="*/ 3974787 w 10505529"/>
              <a:gd name="connsiteY22690" fmla="*/ 3741100 h 7458372"/>
              <a:gd name="connsiteX22691" fmla="*/ 3968663 w 10505529"/>
              <a:gd name="connsiteY22691" fmla="*/ 3750419 h 7458372"/>
              <a:gd name="connsiteX22692" fmla="*/ 3959345 w 10505529"/>
              <a:gd name="connsiteY22692" fmla="*/ 3756675 h 7458372"/>
              <a:gd name="connsiteX22693" fmla="*/ 3947628 w 10505529"/>
              <a:gd name="connsiteY22693" fmla="*/ 3758938 h 7458372"/>
              <a:gd name="connsiteX22694" fmla="*/ 3925795 w 10505529"/>
              <a:gd name="connsiteY22694" fmla="*/ 3750419 h 7458372"/>
              <a:gd name="connsiteX22695" fmla="*/ 3917409 w 10505529"/>
              <a:gd name="connsiteY22695" fmla="*/ 3729253 h 7458372"/>
              <a:gd name="connsiteX22696" fmla="*/ 3925795 w 10505529"/>
              <a:gd name="connsiteY22696" fmla="*/ 3708220 h 7458372"/>
              <a:gd name="connsiteX22697" fmla="*/ 3947628 w 10505529"/>
              <a:gd name="connsiteY22697" fmla="*/ 3699567 h 7458372"/>
              <a:gd name="connsiteX22698" fmla="*/ 3729973 w 10505529"/>
              <a:gd name="connsiteY22698" fmla="*/ 3699567 h 7458372"/>
              <a:gd name="connsiteX22699" fmla="*/ 3741689 w 10505529"/>
              <a:gd name="connsiteY22699" fmla="*/ 3702096 h 7458372"/>
              <a:gd name="connsiteX22700" fmla="*/ 3751007 w 10505529"/>
              <a:gd name="connsiteY22700" fmla="*/ 3708486 h 7458372"/>
              <a:gd name="connsiteX22701" fmla="*/ 3757130 w 10505529"/>
              <a:gd name="connsiteY22701" fmla="*/ 3717937 h 7458372"/>
              <a:gd name="connsiteX22702" fmla="*/ 3759393 w 10505529"/>
              <a:gd name="connsiteY22702" fmla="*/ 3729385 h 7458372"/>
              <a:gd name="connsiteX22703" fmla="*/ 3757130 w 10505529"/>
              <a:gd name="connsiteY22703" fmla="*/ 3741100 h 7458372"/>
              <a:gd name="connsiteX22704" fmla="*/ 3751007 w 10505529"/>
              <a:gd name="connsiteY22704" fmla="*/ 3750419 h 7458372"/>
              <a:gd name="connsiteX22705" fmla="*/ 3741689 w 10505529"/>
              <a:gd name="connsiteY22705" fmla="*/ 3756675 h 7458372"/>
              <a:gd name="connsiteX22706" fmla="*/ 3729973 w 10505529"/>
              <a:gd name="connsiteY22706" fmla="*/ 3758938 h 7458372"/>
              <a:gd name="connsiteX22707" fmla="*/ 3708136 w 10505529"/>
              <a:gd name="connsiteY22707" fmla="*/ 3750419 h 7458372"/>
              <a:gd name="connsiteX22708" fmla="*/ 3699750 w 10505529"/>
              <a:gd name="connsiteY22708" fmla="*/ 3729253 h 7458372"/>
              <a:gd name="connsiteX22709" fmla="*/ 3708136 w 10505529"/>
              <a:gd name="connsiteY22709" fmla="*/ 3708220 h 7458372"/>
              <a:gd name="connsiteX22710" fmla="*/ 3729973 w 10505529"/>
              <a:gd name="connsiteY22710" fmla="*/ 3699567 h 7458372"/>
              <a:gd name="connsiteX22711" fmla="*/ 3512318 w 10505529"/>
              <a:gd name="connsiteY22711" fmla="*/ 3699567 h 7458372"/>
              <a:gd name="connsiteX22712" fmla="*/ 3524033 w 10505529"/>
              <a:gd name="connsiteY22712" fmla="*/ 3702096 h 7458372"/>
              <a:gd name="connsiteX22713" fmla="*/ 3533351 w 10505529"/>
              <a:gd name="connsiteY22713" fmla="*/ 3708486 h 7458372"/>
              <a:gd name="connsiteX22714" fmla="*/ 3539475 w 10505529"/>
              <a:gd name="connsiteY22714" fmla="*/ 3717937 h 7458372"/>
              <a:gd name="connsiteX22715" fmla="*/ 3541738 w 10505529"/>
              <a:gd name="connsiteY22715" fmla="*/ 3729385 h 7458372"/>
              <a:gd name="connsiteX22716" fmla="*/ 3539475 w 10505529"/>
              <a:gd name="connsiteY22716" fmla="*/ 3741100 h 7458372"/>
              <a:gd name="connsiteX22717" fmla="*/ 3533351 w 10505529"/>
              <a:gd name="connsiteY22717" fmla="*/ 3750419 h 7458372"/>
              <a:gd name="connsiteX22718" fmla="*/ 3524033 w 10505529"/>
              <a:gd name="connsiteY22718" fmla="*/ 3756675 h 7458372"/>
              <a:gd name="connsiteX22719" fmla="*/ 3512318 w 10505529"/>
              <a:gd name="connsiteY22719" fmla="*/ 3758938 h 7458372"/>
              <a:gd name="connsiteX22720" fmla="*/ 3490482 w 10505529"/>
              <a:gd name="connsiteY22720" fmla="*/ 3750419 h 7458372"/>
              <a:gd name="connsiteX22721" fmla="*/ 3482096 w 10505529"/>
              <a:gd name="connsiteY22721" fmla="*/ 3729253 h 7458372"/>
              <a:gd name="connsiteX22722" fmla="*/ 3490482 w 10505529"/>
              <a:gd name="connsiteY22722" fmla="*/ 3708220 h 7458372"/>
              <a:gd name="connsiteX22723" fmla="*/ 3512318 w 10505529"/>
              <a:gd name="connsiteY22723" fmla="*/ 3699567 h 7458372"/>
              <a:gd name="connsiteX22724" fmla="*/ 3294795 w 10505529"/>
              <a:gd name="connsiteY22724" fmla="*/ 3699567 h 7458372"/>
              <a:gd name="connsiteX22725" fmla="*/ 3306511 w 10505529"/>
              <a:gd name="connsiteY22725" fmla="*/ 3702096 h 7458372"/>
              <a:gd name="connsiteX22726" fmla="*/ 3315829 w 10505529"/>
              <a:gd name="connsiteY22726" fmla="*/ 3708486 h 7458372"/>
              <a:gd name="connsiteX22727" fmla="*/ 3321952 w 10505529"/>
              <a:gd name="connsiteY22727" fmla="*/ 3717937 h 7458372"/>
              <a:gd name="connsiteX22728" fmla="*/ 3324215 w 10505529"/>
              <a:gd name="connsiteY22728" fmla="*/ 3729385 h 7458372"/>
              <a:gd name="connsiteX22729" fmla="*/ 3321952 w 10505529"/>
              <a:gd name="connsiteY22729" fmla="*/ 3741100 h 7458372"/>
              <a:gd name="connsiteX22730" fmla="*/ 3315829 w 10505529"/>
              <a:gd name="connsiteY22730" fmla="*/ 3750419 h 7458372"/>
              <a:gd name="connsiteX22731" fmla="*/ 3306511 w 10505529"/>
              <a:gd name="connsiteY22731" fmla="*/ 3756675 h 7458372"/>
              <a:gd name="connsiteX22732" fmla="*/ 3294795 w 10505529"/>
              <a:gd name="connsiteY22732" fmla="*/ 3758938 h 7458372"/>
              <a:gd name="connsiteX22733" fmla="*/ 3272959 w 10505529"/>
              <a:gd name="connsiteY22733" fmla="*/ 3750419 h 7458372"/>
              <a:gd name="connsiteX22734" fmla="*/ 3264572 w 10505529"/>
              <a:gd name="connsiteY22734" fmla="*/ 3729253 h 7458372"/>
              <a:gd name="connsiteX22735" fmla="*/ 3272959 w 10505529"/>
              <a:gd name="connsiteY22735" fmla="*/ 3708220 h 7458372"/>
              <a:gd name="connsiteX22736" fmla="*/ 3294795 w 10505529"/>
              <a:gd name="connsiteY22736" fmla="*/ 3699567 h 7458372"/>
              <a:gd name="connsiteX22737" fmla="*/ 3077139 w 10505529"/>
              <a:gd name="connsiteY22737" fmla="*/ 3699567 h 7458372"/>
              <a:gd name="connsiteX22738" fmla="*/ 3088855 w 10505529"/>
              <a:gd name="connsiteY22738" fmla="*/ 3702096 h 7458372"/>
              <a:gd name="connsiteX22739" fmla="*/ 3098173 w 10505529"/>
              <a:gd name="connsiteY22739" fmla="*/ 3708486 h 7458372"/>
              <a:gd name="connsiteX22740" fmla="*/ 3104296 w 10505529"/>
              <a:gd name="connsiteY22740" fmla="*/ 3717937 h 7458372"/>
              <a:gd name="connsiteX22741" fmla="*/ 3106559 w 10505529"/>
              <a:gd name="connsiteY22741" fmla="*/ 3729385 h 7458372"/>
              <a:gd name="connsiteX22742" fmla="*/ 3104296 w 10505529"/>
              <a:gd name="connsiteY22742" fmla="*/ 3741100 h 7458372"/>
              <a:gd name="connsiteX22743" fmla="*/ 3098173 w 10505529"/>
              <a:gd name="connsiteY22743" fmla="*/ 3750419 h 7458372"/>
              <a:gd name="connsiteX22744" fmla="*/ 3088855 w 10505529"/>
              <a:gd name="connsiteY22744" fmla="*/ 3756675 h 7458372"/>
              <a:gd name="connsiteX22745" fmla="*/ 3077139 w 10505529"/>
              <a:gd name="connsiteY22745" fmla="*/ 3758938 h 7458372"/>
              <a:gd name="connsiteX22746" fmla="*/ 3055303 w 10505529"/>
              <a:gd name="connsiteY22746" fmla="*/ 3750419 h 7458372"/>
              <a:gd name="connsiteX22747" fmla="*/ 3046917 w 10505529"/>
              <a:gd name="connsiteY22747" fmla="*/ 3729253 h 7458372"/>
              <a:gd name="connsiteX22748" fmla="*/ 3055303 w 10505529"/>
              <a:gd name="connsiteY22748" fmla="*/ 3708220 h 7458372"/>
              <a:gd name="connsiteX22749" fmla="*/ 3077139 w 10505529"/>
              <a:gd name="connsiteY22749" fmla="*/ 3699567 h 7458372"/>
              <a:gd name="connsiteX22750" fmla="*/ 2859484 w 10505529"/>
              <a:gd name="connsiteY22750" fmla="*/ 3699567 h 7458372"/>
              <a:gd name="connsiteX22751" fmla="*/ 2871332 w 10505529"/>
              <a:gd name="connsiteY22751" fmla="*/ 3702096 h 7458372"/>
              <a:gd name="connsiteX22752" fmla="*/ 2880650 w 10505529"/>
              <a:gd name="connsiteY22752" fmla="*/ 3708486 h 7458372"/>
              <a:gd name="connsiteX22753" fmla="*/ 2886773 w 10505529"/>
              <a:gd name="connsiteY22753" fmla="*/ 3717937 h 7458372"/>
              <a:gd name="connsiteX22754" fmla="*/ 2889036 w 10505529"/>
              <a:gd name="connsiteY22754" fmla="*/ 3729385 h 7458372"/>
              <a:gd name="connsiteX22755" fmla="*/ 2886773 w 10505529"/>
              <a:gd name="connsiteY22755" fmla="*/ 3741100 h 7458372"/>
              <a:gd name="connsiteX22756" fmla="*/ 2880650 w 10505529"/>
              <a:gd name="connsiteY22756" fmla="*/ 3750419 h 7458372"/>
              <a:gd name="connsiteX22757" fmla="*/ 2871332 w 10505529"/>
              <a:gd name="connsiteY22757" fmla="*/ 3756675 h 7458372"/>
              <a:gd name="connsiteX22758" fmla="*/ 2859484 w 10505529"/>
              <a:gd name="connsiteY22758" fmla="*/ 3758938 h 7458372"/>
              <a:gd name="connsiteX22759" fmla="*/ 2837648 w 10505529"/>
              <a:gd name="connsiteY22759" fmla="*/ 3750419 h 7458372"/>
              <a:gd name="connsiteX22760" fmla="*/ 2829261 w 10505529"/>
              <a:gd name="connsiteY22760" fmla="*/ 3729253 h 7458372"/>
              <a:gd name="connsiteX22761" fmla="*/ 2837648 w 10505529"/>
              <a:gd name="connsiteY22761" fmla="*/ 3708220 h 7458372"/>
              <a:gd name="connsiteX22762" fmla="*/ 2859484 w 10505529"/>
              <a:gd name="connsiteY22762" fmla="*/ 3699567 h 7458372"/>
              <a:gd name="connsiteX22763" fmla="*/ 2641828 w 10505529"/>
              <a:gd name="connsiteY22763" fmla="*/ 3699567 h 7458372"/>
              <a:gd name="connsiteX22764" fmla="*/ 2653543 w 10505529"/>
              <a:gd name="connsiteY22764" fmla="*/ 3702096 h 7458372"/>
              <a:gd name="connsiteX22765" fmla="*/ 2662861 w 10505529"/>
              <a:gd name="connsiteY22765" fmla="*/ 3708486 h 7458372"/>
              <a:gd name="connsiteX22766" fmla="*/ 2668985 w 10505529"/>
              <a:gd name="connsiteY22766" fmla="*/ 3717937 h 7458372"/>
              <a:gd name="connsiteX22767" fmla="*/ 2671247 w 10505529"/>
              <a:gd name="connsiteY22767" fmla="*/ 3729385 h 7458372"/>
              <a:gd name="connsiteX22768" fmla="*/ 2668985 w 10505529"/>
              <a:gd name="connsiteY22768" fmla="*/ 3741100 h 7458372"/>
              <a:gd name="connsiteX22769" fmla="*/ 2662861 w 10505529"/>
              <a:gd name="connsiteY22769" fmla="*/ 3750419 h 7458372"/>
              <a:gd name="connsiteX22770" fmla="*/ 2653543 w 10505529"/>
              <a:gd name="connsiteY22770" fmla="*/ 3756675 h 7458372"/>
              <a:gd name="connsiteX22771" fmla="*/ 2641828 w 10505529"/>
              <a:gd name="connsiteY22771" fmla="*/ 3758938 h 7458372"/>
              <a:gd name="connsiteX22772" fmla="*/ 2619995 w 10505529"/>
              <a:gd name="connsiteY22772" fmla="*/ 3750419 h 7458372"/>
              <a:gd name="connsiteX22773" fmla="*/ 2611606 w 10505529"/>
              <a:gd name="connsiteY22773" fmla="*/ 3729253 h 7458372"/>
              <a:gd name="connsiteX22774" fmla="*/ 2619995 w 10505529"/>
              <a:gd name="connsiteY22774" fmla="*/ 3708220 h 7458372"/>
              <a:gd name="connsiteX22775" fmla="*/ 2641828 w 10505529"/>
              <a:gd name="connsiteY22775" fmla="*/ 3699567 h 7458372"/>
              <a:gd name="connsiteX22776" fmla="*/ 2424172 w 10505529"/>
              <a:gd name="connsiteY22776" fmla="*/ 3699567 h 7458372"/>
              <a:gd name="connsiteX22777" fmla="*/ 2435887 w 10505529"/>
              <a:gd name="connsiteY22777" fmla="*/ 3702096 h 7458372"/>
              <a:gd name="connsiteX22778" fmla="*/ 2445205 w 10505529"/>
              <a:gd name="connsiteY22778" fmla="*/ 3708486 h 7458372"/>
              <a:gd name="connsiteX22779" fmla="*/ 2451329 w 10505529"/>
              <a:gd name="connsiteY22779" fmla="*/ 3717937 h 7458372"/>
              <a:gd name="connsiteX22780" fmla="*/ 2453591 w 10505529"/>
              <a:gd name="connsiteY22780" fmla="*/ 3729385 h 7458372"/>
              <a:gd name="connsiteX22781" fmla="*/ 2451329 w 10505529"/>
              <a:gd name="connsiteY22781" fmla="*/ 3741100 h 7458372"/>
              <a:gd name="connsiteX22782" fmla="*/ 2445205 w 10505529"/>
              <a:gd name="connsiteY22782" fmla="*/ 3750419 h 7458372"/>
              <a:gd name="connsiteX22783" fmla="*/ 2435887 w 10505529"/>
              <a:gd name="connsiteY22783" fmla="*/ 3756675 h 7458372"/>
              <a:gd name="connsiteX22784" fmla="*/ 2424172 w 10505529"/>
              <a:gd name="connsiteY22784" fmla="*/ 3758938 h 7458372"/>
              <a:gd name="connsiteX22785" fmla="*/ 2402340 w 10505529"/>
              <a:gd name="connsiteY22785" fmla="*/ 3750419 h 7458372"/>
              <a:gd name="connsiteX22786" fmla="*/ 2393952 w 10505529"/>
              <a:gd name="connsiteY22786" fmla="*/ 3729253 h 7458372"/>
              <a:gd name="connsiteX22787" fmla="*/ 2402340 w 10505529"/>
              <a:gd name="connsiteY22787" fmla="*/ 3708220 h 7458372"/>
              <a:gd name="connsiteX22788" fmla="*/ 2424172 w 10505529"/>
              <a:gd name="connsiteY22788" fmla="*/ 3699567 h 7458372"/>
              <a:gd name="connsiteX22789" fmla="*/ 2206516 w 10505529"/>
              <a:gd name="connsiteY22789" fmla="*/ 3699567 h 7458372"/>
              <a:gd name="connsiteX22790" fmla="*/ 2218231 w 10505529"/>
              <a:gd name="connsiteY22790" fmla="*/ 3702096 h 7458372"/>
              <a:gd name="connsiteX22791" fmla="*/ 2227550 w 10505529"/>
              <a:gd name="connsiteY22791" fmla="*/ 3708486 h 7458372"/>
              <a:gd name="connsiteX22792" fmla="*/ 2233672 w 10505529"/>
              <a:gd name="connsiteY22792" fmla="*/ 3717937 h 7458372"/>
              <a:gd name="connsiteX22793" fmla="*/ 2235935 w 10505529"/>
              <a:gd name="connsiteY22793" fmla="*/ 3729385 h 7458372"/>
              <a:gd name="connsiteX22794" fmla="*/ 2233672 w 10505529"/>
              <a:gd name="connsiteY22794" fmla="*/ 3741100 h 7458372"/>
              <a:gd name="connsiteX22795" fmla="*/ 2227550 w 10505529"/>
              <a:gd name="connsiteY22795" fmla="*/ 3750419 h 7458372"/>
              <a:gd name="connsiteX22796" fmla="*/ 2218231 w 10505529"/>
              <a:gd name="connsiteY22796" fmla="*/ 3756675 h 7458372"/>
              <a:gd name="connsiteX22797" fmla="*/ 2206516 w 10505529"/>
              <a:gd name="connsiteY22797" fmla="*/ 3758938 h 7458372"/>
              <a:gd name="connsiteX22798" fmla="*/ 2184684 w 10505529"/>
              <a:gd name="connsiteY22798" fmla="*/ 3750419 h 7458372"/>
              <a:gd name="connsiteX22799" fmla="*/ 2176296 w 10505529"/>
              <a:gd name="connsiteY22799" fmla="*/ 3729253 h 7458372"/>
              <a:gd name="connsiteX22800" fmla="*/ 2184684 w 10505529"/>
              <a:gd name="connsiteY22800" fmla="*/ 3708220 h 7458372"/>
              <a:gd name="connsiteX22801" fmla="*/ 2206516 w 10505529"/>
              <a:gd name="connsiteY22801" fmla="*/ 3699567 h 7458372"/>
              <a:gd name="connsiteX22802" fmla="*/ 1988993 w 10505529"/>
              <a:gd name="connsiteY22802" fmla="*/ 3699567 h 7458372"/>
              <a:gd name="connsiteX22803" fmla="*/ 2000709 w 10505529"/>
              <a:gd name="connsiteY22803" fmla="*/ 3702096 h 7458372"/>
              <a:gd name="connsiteX22804" fmla="*/ 2010027 w 10505529"/>
              <a:gd name="connsiteY22804" fmla="*/ 3708486 h 7458372"/>
              <a:gd name="connsiteX22805" fmla="*/ 2016150 w 10505529"/>
              <a:gd name="connsiteY22805" fmla="*/ 3717937 h 7458372"/>
              <a:gd name="connsiteX22806" fmla="*/ 2018413 w 10505529"/>
              <a:gd name="connsiteY22806" fmla="*/ 3729385 h 7458372"/>
              <a:gd name="connsiteX22807" fmla="*/ 2016150 w 10505529"/>
              <a:gd name="connsiteY22807" fmla="*/ 3741100 h 7458372"/>
              <a:gd name="connsiteX22808" fmla="*/ 2010027 w 10505529"/>
              <a:gd name="connsiteY22808" fmla="*/ 3750419 h 7458372"/>
              <a:gd name="connsiteX22809" fmla="*/ 2000709 w 10505529"/>
              <a:gd name="connsiteY22809" fmla="*/ 3756675 h 7458372"/>
              <a:gd name="connsiteX22810" fmla="*/ 1988993 w 10505529"/>
              <a:gd name="connsiteY22810" fmla="*/ 3758938 h 7458372"/>
              <a:gd name="connsiteX22811" fmla="*/ 1967162 w 10505529"/>
              <a:gd name="connsiteY22811" fmla="*/ 3750419 h 7458372"/>
              <a:gd name="connsiteX22812" fmla="*/ 1958776 w 10505529"/>
              <a:gd name="connsiteY22812" fmla="*/ 3729253 h 7458372"/>
              <a:gd name="connsiteX22813" fmla="*/ 1967162 w 10505529"/>
              <a:gd name="connsiteY22813" fmla="*/ 3708220 h 7458372"/>
              <a:gd name="connsiteX22814" fmla="*/ 1988993 w 10505529"/>
              <a:gd name="connsiteY22814" fmla="*/ 3699567 h 7458372"/>
              <a:gd name="connsiteX22815" fmla="*/ 1771356 w 10505529"/>
              <a:gd name="connsiteY22815" fmla="*/ 3699567 h 7458372"/>
              <a:gd name="connsiteX22816" fmla="*/ 1783070 w 10505529"/>
              <a:gd name="connsiteY22816" fmla="*/ 3702096 h 7458372"/>
              <a:gd name="connsiteX22817" fmla="*/ 1792388 w 10505529"/>
              <a:gd name="connsiteY22817" fmla="*/ 3708486 h 7458372"/>
              <a:gd name="connsiteX22818" fmla="*/ 1798511 w 10505529"/>
              <a:gd name="connsiteY22818" fmla="*/ 3717937 h 7458372"/>
              <a:gd name="connsiteX22819" fmla="*/ 1800773 w 10505529"/>
              <a:gd name="connsiteY22819" fmla="*/ 3729385 h 7458372"/>
              <a:gd name="connsiteX22820" fmla="*/ 1798511 w 10505529"/>
              <a:gd name="connsiteY22820" fmla="*/ 3741100 h 7458372"/>
              <a:gd name="connsiteX22821" fmla="*/ 1792388 w 10505529"/>
              <a:gd name="connsiteY22821" fmla="*/ 3750419 h 7458372"/>
              <a:gd name="connsiteX22822" fmla="*/ 1783070 w 10505529"/>
              <a:gd name="connsiteY22822" fmla="*/ 3756675 h 7458372"/>
              <a:gd name="connsiteX22823" fmla="*/ 1771356 w 10505529"/>
              <a:gd name="connsiteY22823" fmla="*/ 3758938 h 7458372"/>
              <a:gd name="connsiteX22824" fmla="*/ 1749526 w 10505529"/>
              <a:gd name="connsiteY22824" fmla="*/ 3750419 h 7458372"/>
              <a:gd name="connsiteX22825" fmla="*/ 1741142 w 10505529"/>
              <a:gd name="connsiteY22825" fmla="*/ 3729253 h 7458372"/>
              <a:gd name="connsiteX22826" fmla="*/ 1749526 w 10505529"/>
              <a:gd name="connsiteY22826" fmla="*/ 3708220 h 7458372"/>
              <a:gd name="connsiteX22827" fmla="*/ 1771356 w 10505529"/>
              <a:gd name="connsiteY22827" fmla="*/ 3699567 h 7458372"/>
              <a:gd name="connsiteX22828" fmla="*/ 1553716 w 10505529"/>
              <a:gd name="connsiteY22828" fmla="*/ 3699567 h 7458372"/>
              <a:gd name="connsiteX22829" fmla="*/ 1565431 w 10505529"/>
              <a:gd name="connsiteY22829" fmla="*/ 3702096 h 7458372"/>
              <a:gd name="connsiteX22830" fmla="*/ 1574749 w 10505529"/>
              <a:gd name="connsiteY22830" fmla="*/ 3708486 h 7458372"/>
              <a:gd name="connsiteX22831" fmla="*/ 1580872 w 10505529"/>
              <a:gd name="connsiteY22831" fmla="*/ 3717937 h 7458372"/>
              <a:gd name="connsiteX22832" fmla="*/ 1583135 w 10505529"/>
              <a:gd name="connsiteY22832" fmla="*/ 3729385 h 7458372"/>
              <a:gd name="connsiteX22833" fmla="*/ 1580872 w 10505529"/>
              <a:gd name="connsiteY22833" fmla="*/ 3741100 h 7458372"/>
              <a:gd name="connsiteX22834" fmla="*/ 1574749 w 10505529"/>
              <a:gd name="connsiteY22834" fmla="*/ 3750419 h 7458372"/>
              <a:gd name="connsiteX22835" fmla="*/ 1565431 w 10505529"/>
              <a:gd name="connsiteY22835" fmla="*/ 3756675 h 7458372"/>
              <a:gd name="connsiteX22836" fmla="*/ 1553716 w 10505529"/>
              <a:gd name="connsiteY22836" fmla="*/ 3758938 h 7458372"/>
              <a:gd name="connsiteX22837" fmla="*/ 1531886 w 10505529"/>
              <a:gd name="connsiteY22837" fmla="*/ 3750419 h 7458372"/>
              <a:gd name="connsiteX22838" fmla="*/ 1523500 w 10505529"/>
              <a:gd name="connsiteY22838" fmla="*/ 3729253 h 7458372"/>
              <a:gd name="connsiteX22839" fmla="*/ 1531886 w 10505529"/>
              <a:gd name="connsiteY22839" fmla="*/ 3708220 h 7458372"/>
              <a:gd name="connsiteX22840" fmla="*/ 1553716 w 10505529"/>
              <a:gd name="connsiteY22840" fmla="*/ 3699567 h 7458372"/>
              <a:gd name="connsiteX22841" fmla="*/ 1336072 w 10505529"/>
              <a:gd name="connsiteY22841" fmla="*/ 3699567 h 7458372"/>
              <a:gd name="connsiteX22842" fmla="*/ 1347788 w 10505529"/>
              <a:gd name="connsiteY22842" fmla="*/ 3702096 h 7458372"/>
              <a:gd name="connsiteX22843" fmla="*/ 1357106 w 10505529"/>
              <a:gd name="connsiteY22843" fmla="*/ 3708486 h 7458372"/>
              <a:gd name="connsiteX22844" fmla="*/ 1363229 w 10505529"/>
              <a:gd name="connsiteY22844" fmla="*/ 3717937 h 7458372"/>
              <a:gd name="connsiteX22845" fmla="*/ 1365491 w 10505529"/>
              <a:gd name="connsiteY22845" fmla="*/ 3729385 h 7458372"/>
              <a:gd name="connsiteX22846" fmla="*/ 1363229 w 10505529"/>
              <a:gd name="connsiteY22846" fmla="*/ 3741100 h 7458372"/>
              <a:gd name="connsiteX22847" fmla="*/ 1357106 w 10505529"/>
              <a:gd name="connsiteY22847" fmla="*/ 3750419 h 7458372"/>
              <a:gd name="connsiteX22848" fmla="*/ 1347788 w 10505529"/>
              <a:gd name="connsiteY22848" fmla="*/ 3756675 h 7458372"/>
              <a:gd name="connsiteX22849" fmla="*/ 1336072 w 10505529"/>
              <a:gd name="connsiteY22849" fmla="*/ 3758938 h 7458372"/>
              <a:gd name="connsiteX22850" fmla="*/ 1314239 w 10505529"/>
              <a:gd name="connsiteY22850" fmla="*/ 3750419 h 7458372"/>
              <a:gd name="connsiteX22851" fmla="*/ 1305854 w 10505529"/>
              <a:gd name="connsiteY22851" fmla="*/ 3729253 h 7458372"/>
              <a:gd name="connsiteX22852" fmla="*/ 1314239 w 10505529"/>
              <a:gd name="connsiteY22852" fmla="*/ 3708220 h 7458372"/>
              <a:gd name="connsiteX22853" fmla="*/ 1336072 w 10505529"/>
              <a:gd name="connsiteY22853" fmla="*/ 3699567 h 7458372"/>
              <a:gd name="connsiteX22854" fmla="*/ 1118427 w 10505529"/>
              <a:gd name="connsiteY22854" fmla="*/ 3699567 h 7458372"/>
              <a:gd name="connsiteX22855" fmla="*/ 1130144 w 10505529"/>
              <a:gd name="connsiteY22855" fmla="*/ 3702096 h 7458372"/>
              <a:gd name="connsiteX22856" fmla="*/ 1139460 w 10505529"/>
              <a:gd name="connsiteY22856" fmla="*/ 3708486 h 7458372"/>
              <a:gd name="connsiteX22857" fmla="*/ 1145581 w 10505529"/>
              <a:gd name="connsiteY22857" fmla="*/ 3717937 h 7458372"/>
              <a:gd name="connsiteX22858" fmla="*/ 1147844 w 10505529"/>
              <a:gd name="connsiteY22858" fmla="*/ 3729385 h 7458372"/>
              <a:gd name="connsiteX22859" fmla="*/ 1145581 w 10505529"/>
              <a:gd name="connsiteY22859" fmla="*/ 3741100 h 7458372"/>
              <a:gd name="connsiteX22860" fmla="*/ 1139460 w 10505529"/>
              <a:gd name="connsiteY22860" fmla="*/ 3750419 h 7458372"/>
              <a:gd name="connsiteX22861" fmla="*/ 1130144 w 10505529"/>
              <a:gd name="connsiteY22861" fmla="*/ 3756675 h 7458372"/>
              <a:gd name="connsiteX22862" fmla="*/ 1118427 w 10505529"/>
              <a:gd name="connsiteY22862" fmla="*/ 3758938 h 7458372"/>
              <a:gd name="connsiteX22863" fmla="*/ 1096593 w 10505529"/>
              <a:gd name="connsiteY22863" fmla="*/ 3750419 h 7458372"/>
              <a:gd name="connsiteX22864" fmla="*/ 1088208 w 10505529"/>
              <a:gd name="connsiteY22864" fmla="*/ 3729253 h 7458372"/>
              <a:gd name="connsiteX22865" fmla="*/ 1096593 w 10505529"/>
              <a:gd name="connsiteY22865" fmla="*/ 3708220 h 7458372"/>
              <a:gd name="connsiteX22866" fmla="*/ 1118427 w 10505529"/>
              <a:gd name="connsiteY22866" fmla="*/ 3699567 h 7458372"/>
              <a:gd name="connsiteX22867" fmla="*/ 900914 w 10505529"/>
              <a:gd name="connsiteY22867" fmla="*/ 3699567 h 7458372"/>
              <a:gd name="connsiteX22868" fmla="*/ 912629 w 10505529"/>
              <a:gd name="connsiteY22868" fmla="*/ 3702096 h 7458372"/>
              <a:gd name="connsiteX22869" fmla="*/ 921948 w 10505529"/>
              <a:gd name="connsiteY22869" fmla="*/ 3708486 h 7458372"/>
              <a:gd name="connsiteX22870" fmla="*/ 928070 w 10505529"/>
              <a:gd name="connsiteY22870" fmla="*/ 3717937 h 7458372"/>
              <a:gd name="connsiteX22871" fmla="*/ 930333 w 10505529"/>
              <a:gd name="connsiteY22871" fmla="*/ 3729385 h 7458372"/>
              <a:gd name="connsiteX22872" fmla="*/ 928070 w 10505529"/>
              <a:gd name="connsiteY22872" fmla="*/ 3741100 h 7458372"/>
              <a:gd name="connsiteX22873" fmla="*/ 921948 w 10505529"/>
              <a:gd name="connsiteY22873" fmla="*/ 3750419 h 7458372"/>
              <a:gd name="connsiteX22874" fmla="*/ 912629 w 10505529"/>
              <a:gd name="connsiteY22874" fmla="*/ 3756675 h 7458372"/>
              <a:gd name="connsiteX22875" fmla="*/ 900914 w 10505529"/>
              <a:gd name="connsiteY22875" fmla="*/ 3758938 h 7458372"/>
              <a:gd name="connsiteX22876" fmla="*/ 879083 w 10505529"/>
              <a:gd name="connsiteY22876" fmla="*/ 3750419 h 7458372"/>
              <a:gd name="connsiteX22877" fmla="*/ 870698 w 10505529"/>
              <a:gd name="connsiteY22877" fmla="*/ 3729253 h 7458372"/>
              <a:gd name="connsiteX22878" fmla="*/ 879083 w 10505529"/>
              <a:gd name="connsiteY22878" fmla="*/ 3708220 h 7458372"/>
              <a:gd name="connsiteX22879" fmla="*/ 900914 w 10505529"/>
              <a:gd name="connsiteY22879" fmla="*/ 3699567 h 7458372"/>
              <a:gd name="connsiteX22880" fmla="*/ 683273 w 10505529"/>
              <a:gd name="connsiteY22880" fmla="*/ 3699567 h 7458372"/>
              <a:gd name="connsiteX22881" fmla="*/ 694988 w 10505529"/>
              <a:gd name="connsiteY22881" fmla="*/ 3702096 h 7458372"/>
              <a:gd name="connsiteX22882" fmla="*/ 704305 w 10505529"/>
              <a:gd name="connsiteY22882" fmla="*/ 3708486 h 7458372"/>
              <a:gd name="connsiteX22883" fmla="*/ 710428 w 10505529"/>
              <a:gd name="connsiteY22883" fmla="*/ 3717937 h 7458372"/>
              <a:gd name="connsiteX22884" fmla="*/ 712691 w 10505529"/>
              <a:gd name="connsiteY22884" fmla="*/ 3729385 h 7458372"/>
              <a:gd name="connsiteX22885" fmla="*/ 710428 w 10505529"/>
              <a:gd name="connsiteY22885" fmla="*/ 3741100 h 7458372"/>
              <a:gd name="connsiteX22886" fmla="*/ 704305 w 10505529"/>
              <a:gd name="connsiteY22886" fmla="*/ 3750419 h 7458372"/>
              <a:gd name="connsiteX22887" fmla="*/ 694988 w 10505529"/>
              <a:gd name="connsiteY22887" fmla="*/ 3756675 h 7458372"/>
              <a:gd name="connsiteX22888" fmla="*/ 683273 w 10505529"/>
              <a:gd name="connsiteY22888" fmla="*/ 3758938 h 7458372"/>
              <a:gd name="connsiteX22889" fmla="*/ 661441 w 10505529"/>
              <a:gd name="connsiteY22889" fmla="*/ 3750419 h 7458372"/>
              <a:gd name="connsiteX22890" fmla="*/ 653055 w 10505529"/>
              <a:gd name="connsiteY22890" fmla="*/ 3729253 h 7458372"/>
              <a:gd name="connsiteX22891" fmla="*/ 661441 w 10505529"/>
              <a:gd name="connsiteY22891" fmla="*/ 3708220 h 7458372"/>
              <a:gd name="connsiteX22892" fmla="*/ 683273 w 10505529"/>
              <a:gd name="connsiteY22892" fmla="*/ 3699567 h 7458372"/>
              <a:gd name="connsiteX22893" fmla="*/ 465630 w 10505529"/>
              <a:gd name="connsiteY22893" fmla="*/ 3699567 h 7458372"/>
              <a:gd name="connsiteX22894" fmla="*/ 477345 w 10505529"/>
              <a:gd name="connsiteY22894" fmla="*/ 3702096 h 7458372"/>
              <a:gd name="connsiteX22895" fmla="*/ 486663 w 10505529"/>
              <a:gd name="connsiteY22895" fmla="*/ 3708486 h 7458372"/>
              <a:gd name="connsiteX22896" fmla="*/ 492786 w 10505529"/>
              <a:gd name="connsiteY22896" fmla="*/ 3717937 h 7458372"/>
              <a:gd name="connsiteX22897" fmla="*/ 495049 w 10505529"/>
              <a:gd name="connsiteY22897" fmla="*/ 3729385 h 7458372"/>
              <a:gd name="connsiteX22898" fmla="*/ 492786 w 10505529"/>
              <a:gd name="connsiteY22898" fmla="*/ 3741100 h 7458372"/>
              <a:gd name="connsiteX22899" fmla="*/ 486663 w 10505529"/>
              <a:gd name="connsiteY22899" fmla="*/ 3750419 h 7458372"/>
              <a:gd name="connsiteX22900" fmla="*/ 477345 w 10505529"/>
              <a:gd name="connsiteY22900" fmla="*/ 3756675 h 7458372"/>
              <a:gd name="connsiteX22901" fmla="*/ 465630 w 10505529"/>
              <a:gd name="connsiteY22901" fmla="*/ 3758938 h 7458372"/>
              <a:gd name="connsiteX22902" fmla="*/ 443799 w 10505529"/>
              <a:gd name="connsiteY22902" fmla="*/ 3750419 h 7458372"/>
              <a:gd name="connsiteX22903" fmla="*/ 435413 w 10505529"/>
              <a:gd name="connsiteY22903" fmla="*/ 3729253 h 7458372"/>
              <a:gd name="connsiteX22904" fmla="*/ 443799 w 10505529"/>
              <a:gd name="connsiteY22904" fmla="*/ 3708220 h 7458372"/>
              <a:gd name="connsiteX22905" fmla="*/ 465630 w 10505529"/>
              <a:gd name="connsiteY22905" fmla="*/ 3699567 h 7458372"/>
              <a:gd name="connsiteX22906" fmla="*/ 247987 w 10505529"/>
              <a:gd name="connsiteY22906" fmla="*/ 3699567 h 7458372"/>
              <a:gd name="connsiteX22907" fmla="*/ 259702 w 10505529"/>
              <a:gd name="connsiteY22907" fmla="*/ 3702096 h 7458372"/>
              <a:gd name="connsiteX22908" fmla="*/ 269020 w 10505529"/>
              <a:gd name="connsiteY22908" fmla="*/ 3708486 h 7458372"/>
              <a:gd name="connsiteX22909" fmla="*/ 275143 w 10505529"/>
              <a:gd name="connsiteY22909" fmla="*/ 3717937 h 7458372"/>
              <a:gd name="connsiteX22910" fmla="*/ 277406 w 10505529"/>
              <a:gd name="connsiteY22910" fmla="*/ 3729385 h 7458372"/>
              <a:gd name="connsiteX22911" fmla="*/ 275143 w 10505529"/>
              <a:gd name="connsiteY22911" fmla="*/ 3741100 h 7458372"/>
              <a:gd name="connsiteX22912" fmla="*/ 269020 w 10505529"/>
              <a:gd name="connsiteY22912" fmla="*/ 3750419 h 7458372"/>
              <a:gd name="connsiteX22913" fmla="*/ 259702 w 10505529"/>
              <a:gd name="connsiteY22913" fmla="*/ 3756675 h 7458372"/>
              <a:gd name="connsiteX22914" fmla="*/ 247987 w 10505529"/>
              <a:gd name="connsiteY22914" fmla="*/ 3758938 h 7458372"/>
              <a:gd name="connsiteX22915" fmla="*/ 226157 w 10505529"/>
              <a:gd name="connsiteY22915" fmla="*/ 3750419 h 7458372"/>
              <a:gd name="connsiteX22916" fmla="*/ 217772 w 10505529"/>
              <a:gd name="connsiteY22916" fmla="*/ 3729253 h 7458372"/>
              <a:gd name="connsiteX22917" fmla="*/ 226157 w 10505529"/>
              <a:gd name="connsiteY22917" fmla="*/ 3708220 h 7458372"/>
              <a:gd name="connsiteX22918" fmla="*/ 247987 w 10505529"/>
              <a:gd name="connsiteY22918" fmla="*/ 3699567 h 7458372"/>
              <a:gd name="connsiteX22919" fmla="*/ 30345 w 10505529"/>
              <a:gd name="connsiteY22919" fmla="*/ 3699567 h 7458372"/>
              <a:gd name="connsiteX22920" fmla="*/ 42060 w 10505529"/>
              <a:gd name="connsiteY22920" fmla="*/ 3702096 h 7458372"/>
              <a:gd name="connsiteX22921" fmla="*/ 51378 w 10505529"/>
              <a:gd name="connsiteY22921" fmla="*/ 3708486 h 7458372"/>
              <a:gd name="connsiteX22922" fmla="*/ 57501 w 10505529"/>
              <a:gd name="connsiteY22922" fmla="*/ 3717937 h 7458372"/>
              <a:gd name="connsiteX22923" fmla="*/ 59764 w 10505529"/>
              <a:gd name="connsiteY22923" fmla="*/ 3729385 h 7458372"/>
              <a:gd name="connsiteX22924" fmla="*/ 57501 w 10505529"/>
              <a:gd name="connsiteY22924" fmla="*/ 3741100 h 7458372"/>
              <a:gd name="connsiteX22925" fmla="*/ 51378 w 10505529"/>
              <a:gd name="connsiteY22925" fmla="*/ 3750419 h 7458372"/>
              <a:gd name="connsiteX22926" fmla="*/ 42060 w 10505529"/>
              <a:gd name="connsiteY22926" fmla="*/ 3756675 h 7458372"/>
              <a:gd name="connsiteX22927" fmla="*/ 30345 w 10505529"/>
              <a:gd name="connsiteY22927" fmla="*/ 3758938 h 7458372"/>
              <a:gd name="connsiteX22928" fmla="*/ 8516 w 10505529"/>
              <a:gd name="connsiteY22928" fmla="*/ 3750419 h 7458372"/>
              <a:gd name="connsiteX22929" fmla="*/ 130 w 10505529"/>
              <a:gd name="connsiteY22929" fmla="*/ 3729253 h 7458372"/>
              <a:gd name="connsiteX22930" fmla="*/ 8516 w 10505529"/>
              <a:gd name="connsiteY22930" fmla="*/ 3708220 h 7458372"/>
              <a:gd name="connsiteX22931" fmla="*/ 30345 w 10505529"/>
              <a:gd name="connsiteY22931" fmla="*/ 3699567 h 7458372"/>
              <a:gd name="connsiteX22932" fmla="*/ 10475977 w 10505529"/>
              <a:gd name="connsiteY22932" fmla="*/ 3498563 h 7458372"/>
              <a:gd name="connsiteX22933" fmla="*/ 10465992 w 10505529"/>
              <a:gd name="connsiteY22933" fmla="*/ 3502157 h 7458372"/>
              <a:gd name="connsiteX22934" fmla="*/ 10462399 w 10505529"/>
              <a:gd name="connsiteY22934" fmla="*/ 3511608 h 7458372"/>
              <a:gd name="connsiteX22935" fmla="*/ 10465992 w 10505529"/>
              <a:gd name="connsiteY22935" fmla="*/ 3521059 h 7458372"/>
              <a:gd name="connsiteX22936" fmla="*/ 10475977 w 10505529"/>
              <a:gd name="connsiteY22936" fmla="*/ 3524520 h 7458372"/>
              <a:gd name="connsiteX22937" fmla="*/ 10481302 w 10505529"/>
              <a:gd name="connsiteY22937" fmla="*/ 3523722 h 7458372"/>
              <a:gd name="connsiteX22938" fmla="*/ 10485029 w 10505529"/>
              <a:gd name="connsiteY22938" fmla="*/ 3521325 h 7458372"/>
              <a:gd name="connsiteX22939" fmla="*/ 10487691 w 10505529"/>
              <a:gd name="connsiteY22939" fmla="*/ 3517066 h 7458372"/>
              <a:gd name="connsiteX22940" fmla="*/ 10488623 w 10505529"/>
              <a:gd name="connsiteY22940" fmla="*/ 3511608 h 7458372"/>
              <a:gd name="connsiteX22941" fmla="*/ 10487691 w 10505529"/>
              <a:gd name="connsiteY22941" fmla="*/ 3506416 h 7458372"/>
              <a:gd name="connsiteX22942" fmla="*/ 10485029 w 10505529"/>
              <a:gd name="connsiteY22942" fmla="*/ 3502157 h 7458372"/>
              <a:gd name="connsiteX22943" fmla="*/ 10481035 w 10505529"/>
              <a:gd name="connsiteY22943" fmla="*/ 3499495 h 7458372"/>
              <a:gd name="connsiteX22944" fmla="*/ 10475977 w 10505529"/>
              <a:gd name="connsiteY22944" fmla="*/ 3498563 h 7458372"/>
              <a:gd name="connsiteX22945" fmla="*/ 10258466 w 10505529"/>
              <a:gd name="connsiteY22945" fmla="*/ 3498563 h 7458372"/>
              <a:gd name="connsiteX22946" fmla="*/ 10248481 w 10505529"/>
              <a:gd name="connsiteY22946" fmla="*/ 3502157 h 7458372"/>
              <a:gd name="connsiteX22947" fmla="*/ 10244887 w 10505529"/>
              <a:gd name="connsiteY22947" fmla="*/ 3511608 h 7458372"/>
              <a:gd name="connsiteX22948" fmla="*/ 10248481 w 10505529"/>
              <a:gd name="connsiteY22948" fmla="*/ 3521059 h 7458372"/>
              <a:gd name="connsiteX22949" fmla="*/ 10258466 w 10505529"/>
              <a:gd name="connsiteY22949" fmla="*/ 3524520 h 7458372"/>
              <a:gd name="connsiteX22950" fmla="*/ 10263790 w 10505529"/>
              <a:gd name="connsiteY22950" fmla="*/ 3523722 h 7458372"/>
              <a:gd name="connsiteX22951" fmla="*/ 10267517 w 10505529"/>
              <a:gd name="connsiteY22951" fmla="*/ 3521325 h 7458372"/>
              <a:gd name="connsiteX22952" fmla="*/ 10270180 w 10505529"/>
              <a:gd name="connsiteY22952" fmla="*/ 3517066 h 7458372"/>
              <a:gd name="connsiteX22953" fmla="*/ 10271112 w 10505529"/>
              <a:gd name="connsiteY22953" fmla="*/ 3511608 h 7458372"/>
              <a:gd name="connsiteX22954" fmla="*/ 10270180 w 10505529"/>
              <a:gd name="connsiteY22954" fmla="*/ 3506416 h 7458372"/>
              <a:gd name="connsiteX22955" fmla="*/ 10267517 w 10505529"/>
              <a:gd name="connsiteY22955" fmla="*/ 3502157 h 7458372"/>
              <a:gd name="connsiteX22956" fmla="*/ 10263524 w 10505529"/>
              <a:gd name="connsiteY22956" fmla="*/ 3499495 h 7458372"/>
              <a:gd name="connsiteX22957" fmla="*/ 10258466 w 10505529"/>
              <a:gd name="connsiteY22957" fmla="*/ 3498563 h 7458372"/>
              <a:gd name="connsiteX22958" fmla="*/ 10040820 w 10505529"/>
              <a:gd name="connsiteY22958" fmla="*/ 3498563 h 7458372"/>
              <a:gd name="connsiteX22959" fmla="*/ 10030835 w 10505529"/>
              <a:gd name="connsiteY22959" fmla="*/ 3502157 h 7458372"/>
              <a:gd name="connsiteX22960" fmla="*/ 10027242 w 10505529"/>
              <a:gd name="connsiteY22960" fmla="*/ 3511608 h 7458372"/>
              <a:gd name="connsiteX22961" fmla="*/ 10030835 w 10505529"/>
              <a:gd name="connsiteY22961" fmla="*/ 3521059 h 7458372"/>
              <a:gd name="connsiteX22962" fmla="*/ 10040820 w 10505529"/>
              <a:gd name="connsiteY22962" fmla="*/ 3524520 h 7458372"/>
              <a:gd name="connsiteX22963" fmla="*/ 10046145 w 10505529"/>
              <a:gd name="connsiteY22963" fmla="*/ 3523722 h 7458372"/>
              <a:gd name="connsiteX22964" fmla="*/ 10049872 w 10505529"/>
              <a:gd name="connsiteY22964" fmla="*/ 3521325 h 7458372"/>
              <a:gd name="connsiteX22965" fmla="*/ 10052534 w 10505529"/>
              <a:gd name="connsiteY22965" fmla="*/ 3517066 h 7458372"/>
              <a:gd name="connsiteX22966" fmla="*/ 10053599 w 10505529"/>
              <a:gd name="connsiteY22966" fmla="*/ 3511608 h 7458372"/>
              <a:gd name="connsiteX22967" fmla="*/ 10052534 w 10505529"/>
              <a:gd name="connsiteY22967" fmla="*/ 3506416 h 7458372"/>
              <a:gd name="connsiteX22968" fmla="*/ 10049872 w 10505529"/>
              <a:gd name="connsiteY22968" fmla="*/ 3502157 h 7458372"/>
              <a:gd name="connsiteX22969" fmla="*/ 10045878 w 10505529"/>
              <a:gd name="connsiteY22969" fmla="*/ 3499495 h 7458372"/>
              <a:gd name="connsiteX22970" fmla="*/ 10040820 w 10505529"/>
              <a:gd name="connsiteY22970" fmla="*/ 3498563 h 7458372"/>
              <a:gd name="connsiteX22971" fmla="*/ 9823176 w 10505529"/>
              <a:gd name="connsiteY22971" fmla="*/ 3498563 h 7458372"/>
              <a:gd name="connsiteX22972" fmla="*/ 9813191 w 10505529"/>
              <a:gd name="connsiteY22972" fmla="*/ 3502157 h 7458372"/>
              <a:gd name="connsiteX22973" fmla="*/ 9809597 w 10505529"/>
              <a:gd name="connsiteY22973" fmla="*/ 3511608 h 7458372"/>
              <a:gd name="connsiteX22974" fmla="*/ 9813191 w 10505529"/>
              <a:gd name="connsiteY22974" fmla="*/ 3521059 h 7458372"/>
              <a:gd name="connsiteX22975" fmla="*/ 9823176 w 10505529"/>
              <a:gd name="connsiteY22975" fmla="*/ 3524520 h 7458372"/>
              <a:gd name="connsiteX22976" fmla="*/ 9828501 w 10505529"/>
              <a:gd name="connsiteY22976" fmla="*/ 3523722 h 7458372"/>
              <a:gd name="connsiteX22977" fmla="*/ 9832227 w 10505529"/>
              <a:gd name="connsiteY22977" fmla="*/ 3521325 h 7458372"/>
              <a:gd name="connsiteX22978" fmla="*/ 9834890 w 10505529"/>
              <a:gd name="connsiteY22978" fmla="*/ 3517066 h 7458372"/>
              <a:gd name="connsiteX22979" fmla="*/ 9835955 w 10505529"/>
              <a:gd name="connsiteY22979" fmla="*/ 3511608 h 7458372"/>
              <a:gd name="connsiteX22980" fmla="*/ 9834890 w 10505529"/>
              <a:gd name="connsiteY22980" fmla="*/ 3506416 h 7458372"/>
              <a:gd name="connsiteX22981" fmla="*/ 9832227 w 10505529"/>
              <a:gd name="connsiteY22981" fmla="*/ 3502157 h 7458372"/>
              <a:gd name="connsiteX22982" fmla="*/ 9828234 w 10505529"/>
              <a:gd name="connsiteY22982" fmla="*/ 3499495 h 7458372"/>
              <a:gd name="connsiteX22983" fmla="*/ 9823176 w 10505529"/>
              <a:gd name="connsiteY22983" fmla="*/ 3498563 h 7458372"/>
              <a:gd name="connsiteX22984" fmla="*/ 9605531 w 10505529"/>
              <a:gd name="connsiteY22984" fmla="*/ 3498563 h 7458372"/>
              <a:gd name="connsiteX22985" fmla="*/ 9595546 w 10505529"/>
              <a:gd name="connsiteY22985" fmla="*/ 3502157 h 7458372"/>
              <a:gd name="connsiteX22986" fmla="*/ 9591952 w 10505529"/>
              <a:gd name="connsiteY22986" fmla="*/ 3511608 h 7458372"/>
              <a:gd name="connsiteX22987" fmla="*/ 9595546 w 10505529"/>
              <a:gd name="connsiteY22987" fmla="*/ 3521059 h 7458372"/>
              <a:gd name="connsiteX22988" fmla="*/ 9605531 w 10505529"/>
              <a:gd name="connsiteY22988" fmla="*/ 3524520 h 7458372"/>
              <a:gd name="connsiteX22989" fmla="*/ 9610855 w 10505529"/>
              <a:gd name="connsiteY22989" fmla="*/ 3523722 h 7458372"/>
              <a:gd name="connsiteX22990" fmla="*/ 9614582 w 10505529"/>
              <a:gd name="connsiteY22990" fmla="*/ 3521325 h 7458372"/>
              <a:gd name="connsiteX22991" fmla="*/ 9617245 w 10505529"/>
              <a:gd name="connsiteY22991" fmla="*/ 3517066 h 7458372"/>
              <a:gd name="connsiteX22992" fmla="*/ 9618309 w 10505529"/>
              <a:gd name="connsiteY22992" fmla="*/ 3511608 h 7458372"/>
              <a:gd name="connsiteX22993" fmla="*/ 9617245 w 10505529"/>
              <a:gd name="connsiteY22993" fmla="*/ 3506416 h 7458372"/>
              <a:gd name="connsiteX22994" fmla="*/ 9614582 w 10505529"/>
              <a:gd name="connsiteY22994" fmla="*/ 3502157 h 7458372"/>
              <a:gd name="connsiteX22995" fmla="*/ 9610589 w 10505529"/>
              <a:gd name="connsiteY22995" fmla="*/ 3499495 h 7458372"/>
              <a:gd name="connsiteX22996" fmla="*/ 9605531 w 10505529"/>
              <a:gd name="connsiteY22996" fmla="*/ 3498563 h 7458372"/>
              <a:gd name="connsiteX22997" fmla="*/ 9387885 w 10505529"/>
              <a:gd name="connsiteY22997" fmla="*/ 3498563 h 7458372"/>
              <a:gd name="connsiteX22998" fmla="*/ 9377900 w 10505529"/>
              <a:gd name="connsiteY22998" fmla="*/ 3502157 h 7458372"/>
              <a:gd name="connsiteX22999" fmla="*/ 9374307 w 10505529"/>
              <a:gd name="connsiteY22999" fmla="*/ 3511608 h 7458372"/>
              <a:gd name="connsiteX23000" fmla="*/ 9377900 w 10505529"/>
              <a:gd name="connsiteY23000" fmla="*/ 3521059 h 7458372"/>
              <a:gd name="connsiteX23001" fmla="*/ 9387885 w 10505529"/>
              <a:gd name="connsiteY23001" fmla="*/ 3524520 h 7458372"/>
              <a:gd name="connsiteX23002" fmla="*/ 9393210 w 10505529"/>
              <a:gd name="connsiteY23002" fmla="*/ 3523722 h 7458372"/>
              <a:gd name="connsiteX23003" fmla="*/ 9396937 w 10505529"/>
              <a:gd name="connsiteY23003" fmla="*/ 3521325 h 7458372"/>
              <a:gd name="connsiteX23004" fmla="*/ 9399599 w 10505529"/>
              <a:gd name="connsiteY23004" fmla="*/ 3517066 h 7458372"/>
              <a:gd name="connsiteX23005" fmla="*/ 9400664 w 10505529"/>
              <a:gd name="connsiteY23005" fmla="*/ 3511608 h 7458372"/>
              <a:gd name="connsiteX23006" fmla="*/ 9399599 w 10505529"/>
              <a:gd name="connsiteY23006" fmla="*/ 3506416 h 7458372"/>
              <a:gd name="connsiteX23007" fmla="*/ 9396937 w 10505529"/>
              <a:gd name="connsiteY23007" fmla="*/ 3502157 h 7458372"/>
              <a:gd name="connsiteX23008" fmla="*/ 9392943 w 10505529"/>
              <a:gd name="connsiteY23008" fmla="*/ 3499495 h 7458372"/>
              <a:gd name="connsiteX23009" fmla="*/ 9387885 w 10505529"/>
              <a:gd name="connsiteY23009" fmla="*/ 3498563 h 7458372"/>
              <a:gd name="connsiteX23010" fmla="*/ 9170374 w 10505529"/>
              <a:gd name="connsiteY23010" fmla="*/ 3498563 h 7458372"/>
              <a:gd name="connsiteX23011" fmla="*/ 9160389 w 10505529"/>
              <a:gd name="connsiteY23011" fmla="*/ 3502157 h 7458372"/>
              <a:gd name="connsiteX23012" fmla="*/ 9156795 w 10505529"/>
              <a:gd name="connsiteY23012" fmla="*/ 3511608 h 7458372"/>
              <a:gd name="connsiteX23013" fmla="*/ 9160389 w 10505529"/>
              <a:gd name="connsiteY23013" fmla="*/ 3521059 h 7458372"/>
              <a:gd name="connsiteX23014" fmla="*/ 9170374 w 10505529"/>
              <a:gd name="connsiteY23014" fmla="*/ 3524520 h 7458372"/>
              <a:gd name="connsiteX23015" fmla="*/ 9175698 w 10505529"/>
              <a:gd name="connsiteY23015" fmla="*/ 3523722 h 7458372"/>
              <a:gd name="connsiteX23016" fmla="*/ 9179425 w 10505529"/>
              <a:gd name="connsiteY23016" fmla="*/ 3521325 h 7458372"/>
              <a:gd name="connsiteX23017" fmla="*/ 9182088 w 10505529"/>
              <a:gd name="connsiteY23017" fmla="*/ 3517066 h 7458372"/>
              <a:gd name="connsiteX23018" fmla="*/ 9183152 w 10505529"/>
              <a:gd name="connsiteY23018" fmla="*/ 3511608 h 7458372"/>
              <a:gd name="connsiteX23019" fmla="*/ 9182088 w 10505529"/>
              <a:gd name="connsiteY23019" fmla="*/ 3506416 h 7458372"/>
              <a:gd name="connsiteX23020" fmla="*/ 9179425 w 10505529"/>
              <a:gd name="connsiteY23020" fmla="*/ 3502157 h 7458372"/>
              <a:gd name="connsiteX23021" fmla="*/ 9175432 w 10505529"/>
              <a:gd name="connsiteY23021" fmla="*/ 3499495 h 7458372"/>
              <a:gd name="connsiteX23022" fmla="*/ 9170374 w 10505529"/>
              <a:gd name="connsiteY23022" fmla="*/ 3498563 h 7458372"/>
              <a:gd name="connsiteX23023" fmla="*/ 8952728 w 10505529"/>
              <a:gd name="connsiteY23023" fmla="*/ 3498563 h 7458372"/>
              <a:gd name="connsiteX23024" fmla="*/ 8942743 w 10505529"/>
              <a:gd name="connsiteY23024" fmla="*/ 3502157 h 7458372"/>
              <a:gd name="connsiteX23025" fmla="*/ 8939150 w 10505529"/>
              <a:gd name="connsiteY23025" fmla="*/ 3511608 h 7458372"/>
              <a:gd name="connsiteX23026" fmla="*/ 8942743 w 10505529"/>
              <a:gd name="connsiteY23026" fmla="*/ 3521059 h 7458372"/>
              <a:gd name="connsiteX23027" fmla="*/ 8952728 w 10505529"/>
              <a:gd name="connsiteY23027" fmla="*/ 3524520 h 7458372"/>
              <a:gd name="connsiteX23028" fmla="*/ 8958053 w 10505529"/>
              <a:gd name="connsiteY23028" fmla="*/ 3523722 h 7458372"/>
              <a:gd name="connsiteX23029" fmla="*/ 8961780 w 10505529"/>
              <a:gd name="connsiteY23029" fmla="*/ 3521325 h 7458372"/>
              <a:gd name="connsiteX23030" fmla="*/ 8964442 w 10505529"/>
              <a:gd name="connsiteY23030" fmla="*/ 3517066 h 7458372"/>
              <a:gd name="connsiteX23031" fmla="*/ 8965507 w 10505529"/>
              <a:gd name="connsiteY23031" fmla="*/ 3511608 h 7458372"/>
              <a:gd name="connsiteX23032" fmla="*/ 8964442 w 10505529"/>
              <a:gd name="connsiteY23032" fmla="*/ 3506416 h 7458372"/>
              <a:gd name="connsiteX23033" fmla="*/ 8961780 w 10505529"/>
              <a:gd name="connsiteY23033" fmla="*/ 3502157 h 7458372"/>
              <a:gd name="connsiteX23034" fmla="*/ 8957786 w 10505529"/>
              <a:gd name="connsiteY23034" fmla="*/ 3499495 h 7458372"/>
              <a:gd name="connsiteX23035" fmla="*/ 8952728 w 10505529"/>
              <a:gd name="connsiteY23035" fmla="*/ 3498563 h 7458372"/>
              <a:gd name="connsiteX23036" fmla="*/ 8735083 w 10505529"/>
              <a:gd name="connsiteY23036" fmla="*/ 3498563 h 7458372"/>
              <a:gd name="connsiteX23037" fmla="*/ 8725098 w 10505529"/>
              <a:gd name="connsiteY23037" fmla="*/ 3502157 h 7458372"/>
              <a:gd name="connsiteX23038" fmla="*/ 8721504 w 10505529"/>
              <a:gd name="connsiteY23038" fmla="*/ 3511608 h 7458372"/>
              <a:gd name="connsiteX23039" fmla="*/ 8725098 w 10505529"/>
              <a:gd name="connsiteY23039" fmla="*/ 3521059 h 7458372"/>
              <a:gd name="connsiteX23040" fmla="*/ 8735083 w 10505529"/>
              <a:gd name="connsiteY23040" fmla="*/ 3524520 h 7458372"/>
              <a:gd name="connsiteX23041" fmla="*/ 8740407 w 10505529"/>
              <a:gd name="connsiteY23041" fmla="*/ 3523722 h 7458372"/>
              <a:gd name="connsiteX23042" fmla="*/ 8744134 w 10505529"/>
              <a:gd name="connsiteY23042" fmla="*/ 3521325 h 7458372"/>
              <a:gd name="connsiteX23043" fmla="*/ 8746797 w 10505529"/>
              <a:gd name="connsiteY23043" fmla="*/ 3517066 h 7458372"/>
              <a:gd name="connsiteX23044" fmla="*/ 8747862 w 10505529"/>
              <a:gd name="connsiteY23044" fmla="*/ 3511608 h 7458372"/>
              <a:gd name="connsiteX23045" fmla="*/ 8746797 w 10505529"/>
              <a:gd name="connsiteY23045" fmla="*/ 3506416 h 7458372"/>
              <a:gd name="connsiteX23046" fmla="*/ 8744134 w 10505529"/>
              <a:gd name="connsiteY23046" fmla="*/ 3502157 h 7458372"/>
              <a:gd name="connsiteX23047" fmla="*/ 8740141 w 10505529"/>
              <a:gd name="connsiteY23047" fmla="*/ 3499495 h 7458372"/>
              <a:gd name="connsiteX23048" fmla="*/ 8735083 w 10505529"/>
              <a:gd name="connsiteY23048" fmla="*/ 3498563 h 7458372"/>
              <a:gd name="connsiteX23049" fmla="*/ 8517438 w 10505529"/>
              <a:gd name="connsiteY23049" fmla="*/ 3498563 h 7458372"/>
              <a:gd name="connsiteX23050" fmla="*/ 8507453 w 10505529"/>
              <a:gd name="connsiteY23050" fmla="*/ 3502157 h 7458372"/>
              <a:gd name="connsiteX23051" fmla="*/ 8503860 w 10505529"/>
              <a:gd name="connsiteY23051" fmla="*/ 3511608 h 7458372"/>
              <a:gd name="connsiteX23052" fmla="*/ 8507453 w 10505529"/>
              <a:gd name="connsiteY23052" fmla="*/ 3521059 h 7458372"/>
              <a:gd name="connsiteX23053" fmla="*/ 8517438 w 10505529"/>
              <a:gd name="connsiteY23053" fmla="*/ 3524520 h 7458372"/>
              <a:gd name="connsiteX23054" fmla="*/ 8522763 w 10505529"/>
              <a:gd name="connsiteY23054" fmla="*/ 3523722 h 7458372"/>
              <a:gd name="connsiteX23055" fmla="*/ 8526490 w 10505529"/>
              <a:gd name="connsiteY23055" fmla="*/ 3521325 h 7458372"/>
              <a:gd name="connsiteX23056" fmla="*/ 8529152 w 10505529"/>
              <a:gd name="connsiteY23056" fmla="*/ 3517066 h 7458372"/>
              <a:gd name="connsiteX23057" fmla="*/ 8530084 w 10505529"/>
              <a:gd name="connsiteY23057" fmla="*/ 3511608 h 7458372"/>
              <a:gd name="connsiteX23058" fmla="*/ 8529152 w 10505529"/>
              <a:gd name="connsiteY23058" fmla="*/ 3506416 h 7458372"/>
              <a:gd name="connsiteX23059" fmla="*/ 8526490 w 10505529"/>
              <a:gd name="connsiteY23059" fmla="*/ 3502157 h 7458372"/>
              <a:gd name="connsiteX23060" fmla="*/ 8522496 w 10505529"/>
              <a:gd name="connsiteY23060" fmla="*/ 3499495 h 7458372"/>
              <a:gd name="connsiteX23061" fmla="*/ 8517438 w 10505529"/>
              <a:gd name="connsiteY23061" fmla="*/ 3498563 h 7458372"/>
              <a:gd name="connsiteX23062" fmla="*/ 8299793 w 10505529"/>
              <a:gd name="connsiteY23062" fmla="*/ 3498563 h 7458372"/>
              <a:gd name="connsiteX23063" fmla="*/ 8289809 w 10505529"/>
              <a:gd name="connsiteY23063" fmla="*/ 3502157 h 7458372"/>
              <a:gd name="connsiteX23064" fmla="*/ 8286215 w 10505529"/>
              <a:gd name="connsiteY23064" fmla="*/ 3511608 h 7458372"/>
              <a:gd name="connsiteX23065" fmla="*/ 8289809 w 10505529"/>
              <a:gd name="connsiteY23065" fmla="*/ 3521059 h 7458372"/>
              <a:gd name="connsiteX23066" fmla="*/ 8299793 w 10505529"/>
              <a:gd name="connsiteY23066" fmla="*/ 3524520 h 7458372"/>
              <a:gd name="connsiteX23067" fmla="*/ 8305118 w 10505529"/>
              <a:gd name="connsiteY23067" fmla="*/ 3523722 h 7458372"/>
              <a:gd name="connsiteX23068" fmla="*/ 8308844 w 10505529"/>
              <a:gd name="connsiteY23068" fmla="*/ 3521325 h 7458372"/>
              <a:gd name="connsiteX23069" fmla="*/ 8311507 w 10505529"/>
              <a:gd name="connsiteY23069" fmla="*/ 3517066 h 7458372"/>
              <a:gd name="connsiteX23070" fmla="*/ 8312439 w 10505529"/>
              <a:gd name="connsiteY23070" fmla="*/ 3511608 h 7458372"/>
              <a:gd name="connsiteX23071" fmla="*/ 8311507 w 10505529"/>
              <a:gd name="connsiteY23071" fmla="*/ 3506416 h 7458372"/>
              <a:gd name="connsiteX23072" fmla="*/ 8308844 w 10505529"/>
              <a:gd name="connsiteY23072" fmla="*/ 3502157 h 7458372"/>
              <a:gd name="connsiteX23073" fmla="*/ 8304851 w 10505529"/>
              <a:gd name="connsiteY23073" fmla="*/ 3499495 h 7458372"/>
              <a:gd name="connsiteX23074" fmla="*/ 8299793 w 10505529"/>
              <a:gd name="connsiteY23074" fmla="*/ 3498563 h 7458372"/>
              <a:gd name="connsiteX23075" fmla="*/ 8082281 w 10505529"/>
              <a:gd name="connsiteY23075" fmla="*/ 3498563 h 7458372"/>
              <a:gd name="connsiteX23076" fmla="*/ 8072297 w 10505529"/>
              <a:gd name="connsiteY23076" fmla="*/ 3502157 h 7458372"/>
              <a:gd name="connsiteX23077" fmla="*/ 8068703 w 10505529"/>
              <a:gd name="connsiteY23077" fmla="*/ 3511608 h 7458372"/>
              <a:gd name="connsiteX23078" fmla="*/ 8072297 w 10505529"/>
              <a:gd name="connsiteY23078" fmla="*/ 3521059 h 7458372"/>
              <a:gd name="connsiteX23079" fmla="*/ 8082281 w 10505529"/>
              <a:gd name="connsiteY23079" fmla="*/ 3524520 h 7458372"/>
              <a:gd name="connsiteX23080" fmla="*/ 8087605 w 10505529"/>
              <a:gd name="connsiteY23080" fmla="*/ 3523722 h 7458372"/>
              <a:gd name="connsiteX23081" fmla="*/ 8091332 w 10505529"/>
              <a:gd name="connsiteY23081" fmla="*/ 3521325 h 7458372"/>
              <a:gd name="connsiteX23082" fmla="*/ 8093994 w 10505529"/>
              <a:gd name="connsiteY23082" fmla="*/ 3517066 h 7458372"/>
              <a:gd name="connsiteX23083" fmla="*/ 8094926 w 10505529"/>
              <a:gd name="connsiteY23083" fmla="*/ 3511608 h 7458372"/>
              <a:gd name="connsiteX23084" fmla="*/ 8093994 w 10505529"/>
              <a:gd name="connsiteY23084" fmla="*/ 3506416 h 7458372"/>
              <a:gd name="connsiteX23085" fmla="*/ 8091332 w 10505529"/>
              <a:gd name="connsiteY23085" fmla="*/ 3502157 h 7458372"/>
              <a:gd name="connsiteX23086" fmla="*/ 8087338 w 10505529"/>
              <a:gd name="connsiteY23086" fmla="*/ 3499495 h 7458372"/>
              <a:gd name="connsiteX23087" fmla="*/ 8082281 w 10505529"/>
              <a:gd name="connsiteY23087" fmla="*/ 3498563 h 7458372"/>
              <a:gd name="connsiteX23088" fmla="*/ 7864636 w 10505529"/>
              <a:gd name="connsiteY23088" fmla="*/ 3498563 h 7458372"/>
              <a:gd name="connsiteX23089" fmla="*/ 7854652 w 10505529"/>
              <a:gd name="connsiteY23089" fmla="*/ 3502157 h 7458372"/>
              <a:gd name="connsiteX23090" fmla="*/ 7851058 w 10505529"/>
              <a:gd name="connsiteY23090" fmla="*/ 3511608 h 7458372"/>
              <a:gd name="connsiteX23091" fmla="*/ 7854652 w 10505529"/>
              <a:gd name="connsiteY23091" fmla="*/ 3521059 h 7458372"/>
              <a:gd name="connsiteX23092" fmla="*/ 7864636 w 10505529"/>
              <a:gd name="connsiteY23092" fmla="*/ 3524520 h 7458372"/>
              <a:gd name="connsiteX23093" fmla="*/ 7869961 w 10505529"/>
              <a:gd name="connsiteY23093" fmla="*/ 3523722 h 7458372"/>
              <a:gd name="connsiteX23094" fmla="*/ 7873687 w 10505529"/>
              <a:gd name="connsiteY23094" fmla="*/ 3521325 h 7458372"/>
              <a:gd name="connsiteX23095" fmla="*/ 7876350 w 10505529"/>
              <a:gd name="connsiteY23095" fmla="*/ 3517066 h 7458372"/>
              <a:gd name="connsiteX23096" fmla="*/ 7877282 w 10505529"/>
              <a:gd name="connsiteY23096" fmla="*/ 3511608 h 7458372"/>
              <a:gd name="connsiteX23097" fmla="*/ 7876350 w 10505529"/>
              <a:gd name="connsiteY23097" fmla="*/ 3506416 h 7458372"/>
              <a:gd name="connsiteX23098" fmla="*/ 7873687 w 10505529"/>
              <a:gd name="connsiteY23098" fmla="*/ 3502157 h 7458372"/>
              <a:gd name="connsiteX23099" fmla="*/ 7869694 w 10505529"/>
              <a:gd name="connsiteY23099" fmla="*/ 3499495 h 7458372"/>
              <a:gd name="connsiteX23100" fmla="*/ 7864636 w 10505529"/>
              <a:gd name="connsiteY23100" fmla="*/ 3498563 h 7458372"/>
              <a:gd name="connsiteX23101" fmla="*/ 7646991 w 10505529"/>
              <a:gd name="connsiteY23101" fmla="*/ 3498563 h 7458372"/>
              <a:gd name="connsiteX23102" fmla="*/ 7637007 w 10505529"/>
              <a:gd name="connsiteY23102" fmla="*/ 3502157 h 7458372"/>
              <a:gd name="connsiteX23103" fmla="*/ 7633413 w 10505529"/>
              <a:gd name="connsiteY23103" fmla="*/ 3511608 h 7458372"/>
              <a:gd name="connsiteX23104" fmla="*/ 7637007 w 10505529"/>
              <a:gd name="connsiteY23104" fmla="*/ 3521059 h 7458372"/>
              <a:gd name="connsiteX23105" fmla="*/ 7646991 w 10505529"/>
              <a:gd name="connsiteY23105" fmla="*/ 3524520 h 7458372"/>
              <a:gd name="connsiteX23106" fmla="*/ 7652315 w 10505529"/>
              <a:gd name="connsiteY23106" fmla="*/ 3523722 h 7458372"/>
              <a:gd name="connsiteX23107" fmla="*/ 7656042 w 10505529"/>
              <a:gd name="connsiteY23107" fmla="*/ 3521325 h 7458372"/>
              <a:gd name="connsiteX23108" fmla="*/ 7658705 w 10505529"/>
              <a:gd name="connsiteY23108" fmla="*/ 3517066 h 7458372"/>
              <a:gd name="connsiteX23109" fmla="*/ 7659769 w 10505529"/>
              <a:gd name="connsiteY23109" fmla="*/ 3511608 h 7458372"/>
              <a:gd name="connsiteX23110" fmla="*/ 7658705 w 10505529"/>
              <a:gd name="connsiteY23110" fmla="*/ 3506416 h 7458372"/>
              <a:gd name="connsiteX23111" fmla="*/ 7656042 w 10505529"/>
              <a:gd name="connsiteY23111" fmla="*/ 3502157 h 7458372"/>
              <a:gd name="connsiteX23112" fmla="*/ 7652049 w 10505529"/>
              <a:gd name="connsiteY23112" fmla="*/ 3499495 h 7458372"/>
              <a:gd name="connsiteX23113" fmla="*/ 7646991 w 10505529"/>
              <a:gd name="connsiteY23113" fmla="*/ 3498563 h 7458372"/>
              <a:gd name="connsiteX23114" fmla="*/ 7429345 w 10505529"/>
              <a:gd name="connsiteY23114" fmla="*/ 3498563 h 7458372"/>
              <a:gd name="connsiteX23115" fmla="*/ 7419361 w 10505529"/>
              <a:gd name="connsiteY23115" fmla="*/ 3502157 h 7458372"/>
              <a:gd name="connsiteX23116" fmla="*/ 7415768 w 10505529"/>
              <a:gd name="connsiteY23116" fmla="*/ 3511608 h 7458372"/>
              <a:gd name="connsiteX23117" fmla="*/ 7419361 w 10505529"/>
              <a:gd name="connsiteY23117" fmla="*/ 3521059 h 7458372"/>
              <a:gd name="connsiteX23118" fmla="*/ 7429345 w 10505529"/>
              <a:gd name="connsiteY23118" fmla="*/ 3524520 h 7458372"/>
              <a:gd name="connsiteX23119" fmla="*/ 7434670 w 10505529"/>
              <a:gd name="connsiteY23119" fmla="*/ 3523722 h 7458372"/>
              <a:gd name="connsiteX23120" fmla="*/ 7438397 w 10505529"/>
              <a:gd name="connsiteY23120" fmla="*/ 3521325 h 7458372"/>
              <a:gd name="connsiteX23121" fmla="*/ 7441059 w 10505529"/>
              <a:gd name="connsiteY23121" fmla="*/ 3517066 h 7458372"/>
              <a:gd name="connsiteX23122" fmla="*/ 7442124 w 10505529"/>
              <a:gd name="connsiteY23122" fmla="*/ 3511608 h 7458372"/>
              <a:gd name="connsiteX23123" fmla="*/ 7441059 w 10505529"/>
              <a:gd name="connsiteY23123" fmla="*/ 3506416 h 7458372"/>
              <a:gd name="connsiteX23124" fmla="*/ 7438397 w 10505529"/>
              <a:gd name="connsiteY23124" fmla="*/ 3502157 h 7458372"/>
              <a:gd name="connsiteX23125" fmla="*/ 7434403 w 10505529"/>
              <a:gd name="connsiteY23125" fmla="*/ 3499495 h 7458372"/>
              <a:gd name="connsiteX23126" fmla="*/ 7429345 w 10505529"/>
              <a:gd name="connsiteY23126" fmla="*/ 3498563 h 7458372"/>
              <a:gd name="connsiteX23127" fmla="*/ 7211701 w 10505529"/>
              <a:gd name="connsiteY23127" fmla="*/ 3498563 h 7458372"/>
              <a:gd name="connsiteX23128" fmla="*/ 7201717 w 10505529"/>
              <a:gd name="connsiteY23128" fmla="*/ 3502157 h 7458372"/>
              <a:gd name="connsiteX23129" fmla="*/ 7198123 w 10505529"/>
              <a:gd name="connsiteY23129" fmla="*/ 3511608 h 7458372"/>
              <a:gd name="connsiteX23130" fmla="*/ 7201717 w 10505529"/>
              <a:gd name="connsiteY23130" fmla="*/ 3521059 h 7458372"/>
              <a:gd name="connsiteX23131" fmla="*/ 7211701 w 10505529"/>
              <a:gd name="connsiteY23131" fmla="*/ 3524520 h 7458372"/>
              <a:gd name="connsiteX23132" fmla="*/ 7217026 w 10505529"/>
              <a:gd name="connsiteY23132" fmla="*/ 3523722 h 7458372"/>
              <a:gd name="connsiteX23133" fmla="*/ 7220752 w 10505529"/>
              <a:gd name="connsiteY23133" fmla="*/ 3521325 h 7458372"/>
              <a:gd name="connsiteX23134" fmla="*/ 7223415 w 10505529"/>
              <a:gd name="connsiteY23134" fmla="*/ 3517066 h 7458372"/>
              <a:gd name="connsiteX23135" fmla="*/ 7224480 w 10505529"/>
              <a:gd name="connsiteY23135" fmla="*/ 3511608 h 7458372"/>
              <a:gd name="connsiteX23136" fmla="*/ 7223415 w 10505529"/>
              <a:gd name="connsiteY23136" fmla="*/ 3506416 h 7458372"/>
              <a:gd name="connsiteX23137" fmla="*/ 7220752 w 10505529"/>
              <a:gd name="connsiteY23137" fmla="*/ 3502157 h 7458372"/>
              <a:gd name="connsiteX23138" fmla="*/ 7216759 w 10505529"/>
              <a:gd name="connsiteY23138" fmla="*/ 3499495 h 7458372"/>
              <a:gd name="connsiteX23139" fmla="*/ 7211701 w 10505529"/>
              <a:gd name="connsiteY23139" fmla="*/ 3498563 h 7458372"/>
              <a:gd name="connsiteX23140" fmla="*/ 6994056 w 10505529"/>
              <a:gd name="connsiteY23140" fmla="*/ 3498563 h 7458372"/>
              <a:gd name="connsiteX23141" fmla="*/ 6984072 w 10505529"/>
              <a:gd name="connsiteY23141" fmla="*/ 3502157 h 7458372"/>
              <a:gd name="connsiteX23142" fmla="*/ 6980478 w 10505529"/>
              <a:gd name="connsiteY23142" fmla="*/ 3511608 h 7458372"/>
              <a:gd name="connsiteX23143" fmla="*/ 6984072 w 10505529"/>
              <a:gd name="connsiteY23143" fmla="*/ 3521059 h 7458372"/>
              <a:gd name="connsiteX23144" fmla="*/ 6994056 w 10505529"/>
              <a:gd name="connsiteY23144" fmla="*/ 3524520 h 7458372"/>
              <a:gd name="connsiteX23145" fmla="*/ 6999380 w 10505529"/>
              <a:gd name="connsiteY23145" fmla="*/ 3523722 h 7458372"/>
              <a:gd name="connsiteX23146" fmla="*/ 7003107 w 10505529"/>
              <a:gd name="connsiteY23146" fmla="*/ 3521325 h 7458372"/>
              <a:gd name="connsiteX23147" fmla="*/ 7005769 w 10505529"/>
              <a:gd name="connsiteY23147" fmla="*/ 3517066 h 7458372"/>
              <a:gd name="connsiteX23148" fmla="*/ 7006834 w 10505529"/>
              <a:gd name="connsiteY23148" fmla="*/ 3511608 h 7458372"/>
              <a:gd name="connsiteX23149" fmla="*/ 7005769 w 10505529"/>
              <a:gd name="connsiteY23149" fmla="*/ 3506416 h 7458372"/>
              <a:gd name="connsiteX23150" fmla="*/ 7003107 w 10505529"/>
              <a:gd name="connsiteY23150" fmla="*/ 3502157 h 7458372"/>
              <a:gd name="connsiteX23151" fmla="*/ 6999113 w 10505529"/>
              <a:gd name="connsiteY23151" fmla="*/ 3499495 h 7458372"/>
              <a:gd name="connsiteX23152" fmla="*/ 6994056 w 10505529"/>
              <a:gd name="connsiteY23152" fmla="*/ 3498563 h 7458372"/>
              <a:gd name="connsiteX23153" fmla="*/ 6776544 w 10505529"/>
              <a:gd name="connsiteY23153" fmla="*/ 3498563 h 7458372"/>
              <a:gd name="connsiteX23154" fmla="*/ 6766560 w 10505529"/>
              <a:gd name="connsiteY23154" fmla="*/ 3502157 h 7458372"/>
              <a:gd name="connsiteX23155" fmla="*/ 6762966 w 10505529"/>
              <a:gd name="connsiteY23155" fmla="*/ 3511608 h 7458372"/>
              <a:gd name="connsiteX23156" fmla="*/ 6766560 w 10505529"/>
              <a:gd name="connsiteY23156" fmla="*/ 3521059 h 7458372"/>
              <a:gd name="connsiteX23157" fmla="*/ 6776544 w 10505529"/>
              <a:gd name="connsiteY23157" fmla="*/ 3524520 h 7458372"/>
              <a:gd name="connsiteX23158" fmla="*/ 6781869 w 10505529"/>
              <a:gd name="connsiteY23158" fmla="*/ 3523722 h 7458372"/>
              <a:gd name="connsiteX23159" fmla="*/ 6785595 w 10505529"/>
              <a:gd name="connsiteY23159" fmla="*/ 3521325 h 7458372"/>
              <a:gd name="connsiteX23160" fmla="*/ 6788258 w 10505529"/>
              <a:gd name="connsiteY23160" fmla="*/ 3517066 h 7458372"/>
              <a:gd name="connsiteX23161" fmla="*/ 6789323 w 10505529"/>
              <a:gd name="connsiteY23161" fmla="*/ 3511608 h 7458372"/>
              <a:gd name="connsiteX23162" fmla="*/ 6788258 w 10505529"/>
              <a:gd name="connsiteY23162" fmla="*/ 3506416 h 7458372"/>
              <a:gd name="connsiteX23163" fmla="*/ 6785595 w 10505529"/>
              <a:gd name="connsiteY23163" fmla="*/ 3502157 h 7458372"/>
              <a:gd name="connsiteX23164" fmla="*/ 6781602 w 10505529"/>
              <a:gd name="connsiteY23164" fmla="*/ 3499495 h 7458372"/>
              <a:gd name="connsiteX23165" fmla="*/ 6776544 w 10505529"/>
              <a:gd name="connsiteY23165" fmla="*/ 3498563 h 7458372"/>
              <a:gd name="connsiteX23166" fmla="*/ 6558899 w 10505529"/>
              <a:gd name="connsiteY23166" fmla="*/ 3498563 h 7458372"/>
              <a:gd name="connsiteX23167" fmla="*/ 6548915 w 10505529"/>
              <a:gd name="connsiteY23167" fmla="*/ 3502157 h 7458372"/>
              <a:gd name="connsiteX23168" fmla="*/ 6545321 w 10505529"/>
              <a:gd name="connsiteY23168" fmla="*/ 3511608 h 7458372"/>
              <a:gd name="connsiteX23169" fmla="*/ 6548915 w 10505529"/>
              <a:gd name="connsiteY23169" fmla="*/ 3521059 h 7458372"/>
              <a:gd name="connsiteX23170" fmla="*/ 6558899 w 10505529"/>
              <a:gd name="connsiteY23170" fmla="*/ 3524520 h 7458372"/>
              <a:gd name="connsiteX23171" fmla="*/ 6564223 w 10505529"/>
              <a:gd name="connsiteY23171" fmla="*/ 3523722 h 7458372"/>
              <a:gd name="connsiteX23172" fmla="*/ 6567950 w 10505529"/>
              <a:gd name="connsiteY23172" fmla="*/ 3521325 h 7458372"/>
              <a:gd name="connsiteX23173" fmla="*/ 6570612 w 10505529"/>
              <a:gd name="connsiteY23173" fmla="*/ 3517066 h 7458372"/>
              <a:gd name="connsiteX23174" fmla="*/ 6571677 w 10505529"/>
              <a:gd name="connsiteY23174" fmla="*/ 3511608 h 7458372"/>
              <a:gd name="connsiteX23175" fmla="*/ 6570612 w 10505529"/>
              <a:gd name="connsiteY23175" fmla="*/ 3506416 h 7458372"/>
              <a:gd name="connsiteX23176" fmla="*/ 6567950 w 10505529"/>
              <a:gd name="connsiteY23176" fmla="*/ 3502157 h 7458372"/>
              <a:gd name="connsiteX23177" fmla="*/ 6563956 w 10505529"/>
              <a:gd name="connsiteY23177" fmla="*/ 3499495 h 7458372"/>
              <a:gd name="connsiteX23178" fmla="*/ 6558899 w 10505529"/>
              <a:gd name="connsiteY23178" fmla="*/ 3498563 h 7458372"/>
              <a:gd name="connsiteX23179" fmla="*/ 6341253 w 10505529"/>
              <a:gd name="connsiteY23179" fmla="*/ 3498563 h 7458372"/>
              <a:gd name="connsiteX23180" fmla="*/ 6331270 w 10505529"/>
              <a:gd name="connsiteY23180" fmla="*/ 3502157 h 7458372"/>
              <a:gd name="connsiteX23181" fmla="*/ 6327675 w 10505529"/>
              <a:gd name="connsiteY23181" fmla="*/ 3511608 h 7458372"/>
              <a:gd name="connsiteX23182" fmla="*/ 6331270 w 10505529"/>
              <a:gd name="connsiteY23182" fmla="*/ 3521059 h 7458372"/>
              <a:gd name="connsiteX23183" fmla="*/ 6341253 w 10505529"/>
              <a:gd name="connsiteY23183" fmla="*/ 3524520 h 7458372"/>
              <a:gd name="connsiteX23184" fmla="*/ 6346578 w 10505529"/>
              <a:gd name="connsiteY23184" fmla="*/ 3523722 h 7458372"/>
              <a:gd name="connsiteX23185" fmla="*/ 6350305 w 10505529"/>
              <a:gd name="connsiteY23185" fmla="*/ 3521325 h 7458372"/>
              <a:gd name="connsiteX23186" fmla="*/ 6352968 w 10505529"/>
              <a:gd name="connsiteY23186" fmla="*/ 3517066 h 7458372"/>
              <a:gd name="connsiteX23187" fmla="*/ 6354033 w 10505529"/>
              <a:gd name="connsiteY23187" fmla="*/ 3511608 h 7458372"/>
              <a:gd name="connsiteX23188" fmla="*/ 6352968 w 10505529"/>
              <a:gd name="connsiteY23188" fmla="*/ 3506416 h 7458372"/>
              <a:gd name="connsiteX23189" fmla="*/ 6350305 w 10505529"/>
              <a:gd name="connsiteY23189" fmla="*/ 3502157 h 7458372"/>
              <a:gd name="connsiteX23190" fmla="*/ 6346312 w 10505529"/>
              <a:gd name="connsiteY23190" fmla="*/ 3499495 h 7458372"/>
              <a:gd name="connsiteX23191" fmla="*/ 6341253 w 10505529"/>
              <a:gd name="connsiteY23191" fmla="*/ 3498563 h 7458372"/>
              <a:gd name="connsiteX23192" fmla="*/ 6123608 w 10505529"/>
              <a:gd name="connsiteY23192" fmla="*/ 3498563 h 7458372"/>
              <a:gd name="connsiteX23193" fmla="*/ 6113624 w 10505529"/>
              <a:gd name="connsiteY23193" fmla="*/ 3502157 h 7458372"/>
              <a:gd name="connsiteX23194" fmla="*/ 6110030 w 10505529"/>
              <a:gd name="connsiteY23194" fmla="*/ 3511608 h 7458372"/>
              <a:gd name="connsiteX23195" fmla="*/ 6113624 w 10505529"/>
              <a:gd name="connsiteY23195" fmla="*/ 3521059 h 7458372"/>
              <a:gd name="connsiteX23196" fmla="*/ 6123608 w 10505529"/>
              <a:gd name="connsiteY23196" fmla="*/ 3524520 h 7458372"/>
              <a:gd name="connsiteX23197" fmla="*/ 6128932 w 10505529"/>
              <a:gd name="connsiteY23197" fmla="*/ 3523722 h 7458372"/>
              <a:gd name="connsiteX23198" fmla="*/ 6132659 w 10505529"/>
              <a:gd name="connsiteY23198" fmla="*/ 3521325 h 7458372"/>
              <a:gd name="connsiteX23199" fmla="*/ 6135322 w 10505529"/>
              <a:gd name="connsiteY23199" fmla="*/ 3517066 h 7458372"/>
              <a:gd name="connsiteX23200" fmla="*/ 6136387 w 10505529"/>
              <a:gd name="connsiteY23200" fmla="*/ 3511608 h 7458372"/>
              <a:gd name="connsiteX23201" fmla="*/ 6135322 w 10505529"/>
              <a:gd name="connsiteY23201" fmla="*/ 3506416 h 7458372"/>
              <a:gd name="connsiteX23202" fmla="*/ 6132659 w 10505529"/>
              <a:gd name="connsiteY23202" fmla="*/ 3502157 h 7458372"/>
              <a:gd name="connsiteX23203" fmla="*/ 6128666 w 10505529"/>
              <a:gd name="connsiteY23203" fmla="*/ 3499495 h 7458372"/>
              <a:gd name="connsiteX23204" fmla="*/ 6123608 w 10505529"/>
              <a:gd name="connsiteY23204" fmla="*/ 3498563 h 7458372"/>
              <a:gd name="connsiteX23205" fmla="*/ 5905963 w 10505529"/>
              <a:gd name="connsiteY23205" fmla="*/ 3498563 h 7458372"/>
              <a:gd name="connsiteX23206" fmla="*/ 5895979 w 10505529"/>
              <a:gd name="connsiteY23206" fmla="*/ 3502157 h 7458372"/>
              <a:gd name="connsiteX23207" fmla="*/ 5892385 w 10505529"/>
              <a:gd name="connsiteY23207" fmla="*/ 3511608 h 7458372"/>
              <a:gd name="connsiteX23208" fmla="*/ 5895979 w 10505529"/>
              <a:gd name="connsiteY23208" fmla="*/ 3521059 h 7458372"/>
              <a:gd name="connsiteX23209" fmla="*/ 5905963 w 10505529"/>
              <a:gd name="connsiteY23209" fmla="*/ 3524520 h 7458372"/>
              <a:gd name="connsiteX23210" fmla="*/ 5911287 w 10505529"/>
              <a:gd name="connsiteY23210" fmla="*/ 3523722 h 7458372"/>
              <a:gd name="connsiteX23211" fmla="*/ 5915014 w 10505529"/>
              <a:gd name="connsiteY23211" fmla="*/ 3521325 h 7458372"/>
              <a:gd name="connsiteX23212" fmla="*/ 5917677 w 10505529"/>
              <a:gd name="connsiteY23212" fmla="*/ 3517066 h 7458372"/>
              <a:gd name="connsiteX23213" fmla="*/ 5918742 w 10505529"/>
              <a:gd name="connsiteY23213" fmla="*/ 3511608 h 7458372"/>
              <a:gd name="connsiteX23214" fmla="*/ 5917677 w 10505529"/>
              <a:gd name="connsiteY23214" fmla="*/ 3506416 h 7458372"/>
              <a:gd name="connsiteX23215" fmla="*/ 5915014 w 10505529"/>
              <a:gd name="connsiteY23215" fmla="*/ 3502157 h 7458372"/>
              <a:gd name="connsiteX23216" fmla="*/ 5911021 w 10505529"/>
              <a:gd name="connsiteY23216" fmla="*/ 3499495 h 7458372"/>
              <a:gd name="connsiteX23217" fmla="*/ 5905963 w 10505529"/>
              <a:gd name="connsiteY23217" fmla="*/ 3498563 h 7458372"/>
              <a:gd name="connsiteX23218" fmla="*/ 5688451 w 10505529"/>
              <a:gd name="connsiteY23218" fmla="*/ 3498563 h 7458372"/>
              <a:gd name="connsiteX23219" fmla="*/ 5678467 w 10505529"/>
              <a:gd name="connsiteY23219" fmla="*/ 3502157 h 7458372"/>
              <a:gd name="connsiteX23220" fmla="*/ 5674873 w 10505529"/>
              <a:gd name="connsiteY23220" fmla="*/ 3511608 h 7458372"/>
              <a:gd name="connsiteX23221" fmla="*/ 5678467 w 10505529"/>
              <a:gd name="connsiteY23221" fmla="*/ 3521059 h 7458372"/>
              <a:gd name="connsiteX23222" fmla="*/ 5688451 w 10505529"/>
              <a:gd name="connsiteY23222" fmla="*/ 3524520 h 7458372"/>
              <a:gd name="connsiteX23223" fmla="*/ 5693775 w 10505529"/>
              <a:gd name="connsiteY23223" fmla="*/ 3523722 h 7458372"/>
              <a:gd name="connsiteX23224" fmla="*/ 5697502 w 10505529"/>
              <a:gd name="connsiteY23224" fmla="*/ 3521325 h 7458372"/>
              <a:gd name="connsiteX23225" fmla="*/ 5700165 w 10505529"/>
              <a:gd name="connsiteY23225" fmla="*/ 3517066 h 7458372"/>
              <a:gd name="connsiteX23226" fmla="*/ 5701230 w 10505529"/>
              <a:gd name="connsiteY23226" fmla="*/ 3511608 h 7458372"/>
              <a:gd name="connsiteX23227" fmla="*/ 5700165 w 10505529"/>
              <a:gd name="connsiteY23227" fmla="*/ 3506416 h 7458372"/>
              <a:gd name="connsiteX23228" fmla="*/ 5697502 w 10505529"/>
              <a:gd name="connsiteY23228" fmla="*/ 3502157 h 7458372"/>
              <a:gd name="connsiteX23229" fmla="*/ 5693509 w 10505529"/>
              <a:gd name="connsiteY23229" fmla="*/ 3499495 h 7458372"/>
              <a:gd name="connsiteX23230" fmla="*/ 5688451 w 10505529"/>
              <a:gd name="connsiteY23230" fmla="*/ 3498563 h 7458372"/>
              <a:gd name="connsiteX23231" fmla="*/ 5470806 w 10505529"/>
              <a:gd name="connsiteY23231" fmla="*/ 3498563 h 7458372"/>
              <a:gd name="connsiteX23232" fmla="*/ 5460822 w 10505529"/>
              <a:gd name="connsiteY23232" fmla="*/ 3502157 h 7458372"/>
              <a:gd name="connsiteX23233" fmla="*/ 5457228 w 10505529"/>
              <a:gd name="connsiteY23233" fmla="*/ 3511608 h 7458372"/>
              <a:gd name="connsiteX23234" fmla="*/ 5460822 w 10505529"/>
              <a:gd name="connsiteY23234" fmla="*/ 3521059 h 7458372"/>
              <a:gd name="connsiteX23235" fmla="*/ 5470806 w 10505529"/>
              <a:gd name="connsiteY23235" fmla="*/ 3524520 h 7458372"/>
              <a:gd name="connsiteX23236" fmla="*/ 5476130 w 10505529"/>
              <a:gd name="connsiteY23236" fmla="*/ 3523722 h 7458372"/>
              <a:gd name="connsiteX23237" fmla="*/ 5479857 w 10505529"/>
              <a:gd name="connsiteY23237" fmla="*/ 3521325 h 7458372"/>
              <a:gd name="connsiteX23238" fmla="*/ 5482520 w 10505529"/>
              <a:gd name="connsiteY23238" fmla="*/ 3517066 h 7458372"/>
              <a:gd name="connsiteX23239" fmla="*/ 5483585 w 10505529"/>
              <a:gd name="connsiteY23239" fmla="*/ 3511608 h 7458372"/>
              <a:gd name="connsiteX23240" fmla="*/ 5482520 w 10505529"/>
              <a:gd name="connsiteY23240" fmla="*/ 3506416 h 7458372"/>
              <a:gd name="connsiteX23241" fmla="*/ 5479857 w 10505529"/>
              <a:gd name="connsiteY23241" fmla="*/ 3502157 h 7458372"/>
              <a:gd name="connsiteX23242" fmla="*/ 5475864 w 10505529"/>
              <a:gd name="connsiteY23242" fmla="*/ 3499495 h 7458372"/>
              <a:gd name="connsiteX23243" fmla="*/ 5470806 w 10505529"/>
              <a:gd name="connsiteY23243" fmla="*/ 3498563 h 7458372"/>
              <a:gd name="connsiteX23244" fmla="*/ 5253160 w 10505529"/>
              <a:gd name="connsiteY23244" fmla="*/ 3498563 h 7458372"/>
              <a:gd name="connsiteX23245" fmla="*/ 5243177 w 10505529"/>
              <a:gd name="connsiteY23245" fmla="*/ 3502157 h 7458372"/>
              <a:gd name="connsiteX23246" fmla="*/ 5239583 w 10505529"/>
              <a:gd name="connsiteY23246" fmla="*/ 3511608 h 7458372"/>
              <a:gd name="connsiteX23247" fmla="*/ 5243177 w 10505529"/>
              <a:gd name="connsiteY23247" fmla="*/ 3521059 h 7458372"/>
              <a:gd name="connsiteX23248" fmla="*/ 5253160 w 10505529"/>
              <a:gd name="connsiteY23248" fmla="*/ 3524520 h 7458372"/>
              <a:gd name="connsiteX23249" fmla="*/ 5258485 w 10505529"/>
              <a:gd name="connsiteY23249" fmla="*/ 3523722 h 7458372"/>
              <a:gd name="connsiteX23250" fmla="*/ 5262212 w 10505529"/>
              <a:gd name="connsiteY23250" fmla="*/ 3521325 h 7458372"/>
              <a:gd name="connsiteX23251" fmla="*/ 5264875 w 10505529"/>
              <a:gd name="connsiteY23251" fmla="*/ 3517066 h 7458372"/>
              <a:gd name="connsiteX23252" fmla="*/ 5265939 w 10505529"/>
              <a:gd name="connsiteY23252" fmla="*/ 3511608 h 7458372"/>
              <a:gd name="connsiteX23253" fmla="*/ 5264875 w 10505529"/>
              <a:gd name="connsiteY23253" fmla="*/ 3506416 h 7458372"/>
              <a:gd name="connsiteX23254" fmla="*/ 5262212 w 10505529"/>
              <a:gd name="connsiteY23254" fmla="*/ 3502157 h 7458372"/>
              <a:gd name="connsiteX23255" fmla="*/ 5258219 w 10505529"/>
              <a:gd name="connsiteY23255" fmla="*/ 3499495 h 7458372"/>
              <a:gd name="connsiteX23256" fmla="*/ 5253160 w 10505529"/>
              <a:gd name="connsiteY23256" fmla="*/ 3498563 h 7458372"/>
              <a:gd name="connsiteX23257" fmla="*/ 5035515 w 10505529"/>
              <a:gd name="connsiteY23257" fmla="*/ 3498563 h 7458372"/>
              <a:gd name="connsiteX23258" fmla="*/ 5025532 w 10505529"/>
              <a:gd name="connsiteY23258" fmla="*/ 3502157 h 7458372"/>
              <a:gd name="connsiteX23259" fmla="*/ 5021938 w 10505529"/>
              <a:gd name="connsiteY23259" fmla="*/ 3511608 h 7458372"/>
              <a:gd name="connsiteX23260" fmla="*/ 5025532 w 10505529"/>
              <a:gd name="connsiteY23260" fmla="*/ 3521059 h 7458372"/>
              <a:gd name="connsiteX23261" fmla="*/ 5035515 w 10505529"/>
              <a:gd name="connsiteY23261" fmla="*/ 3524520 h 7458372"/>
              <a:gd name="connsiteX23262" fmla="*/ 5040840 w 10505529"/>
              <a:gd name="connsiteY23262" fmla="*/ 3523722 h 7458372"/>
              <a:gd name="connsiteX23263" fmla="*/ 5044567 w 10505529"/>
              <a:gd name="connsiteY23263" fmla="*/ 3521325 h 7458372"/>
              <a:gd name="connsiteX23264" fmla="*/ 5047230 w 10505529"/>
              <a:gd name="connsiteY23264" fmla="*/ 3517066 h 7458372"/>
              <a:gd name="connsiteX23265" fmla="*/ 5048294 w 10505529"/>
              <a:gd name="connsiteY23265" fmla="*/ 3511608 h 7458372"/>
              <a:gd name="connsiteX23266" fmla="*/ 5047230 w 10505529"/>
              <a:gd name="connsiteY23266" fmla="*/ 3506416 h 7458372"/>
              <a:gd name="connsiteX23267" fmla="*/ 5044567 w 10505529"/>
              <a:gd name="connsiteY23267" fmla="*/ 3502157 h 7458372"/>
              <a:gd name="connsiteX23268" fmla="*/ 5040574 w 10505529"/>
              <a:gd name="connsiteY23268" fmla="*/ 3499495 h 7458372"/>
              <a:gd name="connsiteX23269" fmla="*/ 5035515 w 10505529"/>
              <a:gd name="connsiteY23269" fmla="*/ 3498563 h 7458372"/>
              <a:gd name="connsiteX23270" fmla="*/ 4817870 w 10505529"/>
              <a:gd name="connsiteY23270" fmla="*/ 3498563 h 7458372"/>
              <a:gd name="connsiteX23271" fmla="*/ 4807887 w 10505529"/>
              <a:gd name="connsiteY23271" fmla="*/ 3502157 h 7458372"/>
              <a:gd name="connsiteX23272" fmla="*/ 4804293 w 10505529"/>
              <a:gd name="connsiteY23272" fmla="*/ 3511608 h 7458372"/>
              <a:gd name="connsiteX23273" fmla="*/ 4807887 w 10505529"/>
              <a:gd name="connsiteY23273" fmla="*/ 3521059 h 7458372"/>
              <a:gd name="connsiteX23274" fmla="*/ 4817870 w 10505529"/>
              <a:gd name="connsiteY23274" fmla="*/ 3524520 h 7458372"/>
              <a:gd name="connsiteX23275" fmla="*/ 4823195 w 10505529"/>
              <a:gd name="connsiteY23275" fmla="*/ 3523722 h 7458372"/>
              <a:gd name="connsiteX23276" fmla="*/ 4826922 w 10505529"/>
              <a:gd name="connsiteY23276" fmla="*/ 3521325 h 7458372"/>
              <a:gd name="connsiteX23277" fmla="*/ 4829585 w 10505529"/>
              <a:gd name="connsiteY23277" fmla="*/ 3517066 h 7458372"/>
              <a:gd name="connsiteX23278" fmla="*/ 4830650 w 10505529"/>
              <a:gd name="connsiteY23278" fmla="*/ 3511608 h 7458372"/>
              <a:gd name="connsiteX23279" fmla="*/ 4829585 w 10505529"/>
              <a:gd name="connsiteY23279" fmla="*/ 3506416 h 7458372"/>
              <a:gd name="connsiteX23280" fmla="*/ 4826922 w 10505529"/>
              <a:gd name="connsiteY23280" fmla="*/ 3502157 h 7458372"/>
              <a:gd name="connsiteX23281" fmla="*/ 4822929 w 10505529"/>
              <a:gd name="connsiteY23281" fmla="*/ 3499495 h 7458372"/>
              <a:gd name="connsiteX23282" fmla="*/ 4817870 w 10505529"/>
              <a:gd name="connsiteY23282" fmla="*/ 3498563 h 7458372"/>
              <a:gd name="connsiteX23283" fmla="*/ 4600226 w 10505529"/>
              <a:gd name="connsiteY23283" fmla="*/ 3498563 h 7458372"/>
              <a:gd name="connsiteX23284" fmla="*/ 4590242 w 10505529"/>
              <a:gd name="connsiteY23284" fmla="*/ 3502157 h 7458372"/>
              <a:gd name="connsiteX23285" fmla="*/ 4586648 w 10505529"/>
              <a:gd name="connsiteY23285" fmla="*/ 3511608 h 7458372"/>
              <a:gd name="connsiteX23286" fmla="*/ 4590242 w 10505529"/>
              <a:gd name="connsiteY23286" fmla="*/ 3521059 h 7458372"/>
              <a:gd name="connsiteX23287" fmla="*/ 4600226 w 10505529"/>
              <a:gd name="connsiteY23287" fmla="*/ 3524520 h 7458372"/>
              <a:gd name="connsiteX23288" fmla="*/ 4605550 w 10505529"/>
              <a:gd name="connsiteY23288" fmla="*/ 3523722 h 7458372"/>
              <a:gd name="connsiteX23289" fmla="*/ 4609277 w 10505529"/>
              <a:gd name="connsiteY23289" fmla="*/ 3521325 h 7458372"/>
              <a:gd name="connsiteX23290" fmla="*/ 4611940 w 10505529"/>
              <a:gd name="connsiteY23290" fmla="*/ 3517066 h 7458372"/>
              <a:gd name="connsiteX23291" fmla="*/ 4613005 w 10505529"/>
              <a:gd name="connsiteY23291" fmla="*/ 3511608 h 7458372"/>
              <a:gd name="connsiteX23292" fmla="*/ 4611940 w 10505529"/>
              <a:gd name="connsiteY23292" fmla="*/ 3506416 h 7458372"/>
              <a:gd name="connsiteX23293" fmla="*/ 4609277 w 10505529"/>
              <a:gd name="connsiteY23293" fmla="*/ 3502157 h 7458372"/>
              <a:gd name="connsiteX23294" fmla="*/ 4605284 w 10505529"/>
              <a:gd name="connsiteY23294" fmla="*/ 3499495 h 7458372"/>
              <a:gd name="connsiteX23295" fmla="*/ 4600226 w 10505529"/>
              <a:gd name="connsiteY23295" fmla="*/ 3498563 h 7458372"/>
              <a:gd name="connsiteX23296" fmla="*/ 4382713 w 10505529"/>
              <a:gd name="connsiteY23296" fmla="*/ 3498563 h 7458372"/>
              <a:gd name="connsiteX23297" fmla="*/ 4372730 w 10505529"/>
              <a:gd name="connsiteY23297" fmla="*/ 3502157 h 7458372"/>
              <a:gd name="connsiteX23298" fmla="*/ 4369136 w 10505529"/>
              <a:gd name="connsiteY23298" fmla="*/ 3511608 h 7458372"/>
              <a:gd name="connsiteX23299" fmla="*/ 4372730 w 10505529"/>
              <a:gd name="connsiteY23299" fmla="*/ 3521059 h 7458372"/>
              <a:gd name="connsiteX23300" fmla="*/ 4382713 w 10505529"/>
              <a:gd name="connsiteY23300" fmla="*/ 3524520 h 7458372"/>
              <a:gd name="connsiteX23301" fmla="*/ 4388038 w 10505529"/>
              <a:gd name="connsiteY23301" fmla="*/ 3523722 h 7458372"/>
              <a:gd name="connsiteX23302" fmla="*/ 4391765 w 10505529"/>
              <a:gd name="connsiteY23302" fmla="*/ 3521325 h 7458372"/>
              <a:gd name="connsiteX23303" fmla="*/ 4394428 w 10505529"/>
              <a:gd name="connsiteY23303" fmla="*/ 3517066 h 7458372"/>
              <a:gd name="connsiteX23304" fmla="*/ 4395493 w 10505529"/>
              <a:gd name="connsiteY23304" fmla="*/ 3511608 h 7458372"/>
              <a:gd name="connsiteX23305" fmla="*/ 4394428 w 10505529"/>
              <a:gd name="connsiteY23305" fmla="*/ 3506416 h 7458372"/>
              <a:gd name="connsiteX23306" fmla="*/ 4391765 w 10505529"/>
              <a:gd name="connsiteY23306" fmla="*/ 3502157 h 7458372"/>
              <a:gd name="connsiteX23307" fmla="*/ 4387772 w 10505529"/>
              <a:gd name="connsiteY23307" fmla="*/ 3499495 h 7458372"/>
              <a:gd name="connsiteX23308" fmla="*/ 4382713 w 10505529"/>
              <a:gd name="connsiteY23308" fmla="*/ 3498563 h 7458372"/>
              <a:gd name="connsiteX23309" fmla="*/ 4165068 w 10505529"/>
              <a:gd name="connsiteY23309" fmla="*/ 3498563 h 7458372"/>
              <a:gd name="connsiteX23310" fmla="*/ 4155084 w 10505529"/>
              <a:gd name="connsiteY23310" fmla="*/ 3502157 h 7458372"/>
              <a:gd name="connsiteX23311" fmla="*/ 4151490 w 10505529"/>
              <a:gd name="connsiteY23311" fmla="*/ 3511608 h 7458372"/>
              <a:gd name="connsiteX23312" fmla="*/ 4155084 w 10505529"/>
              <a:gd name="connsiteY23312" fmla="*/ 3521059 h 7458372"/>
              <a:gd name="connsiteX23313" fmla="*/ 4165068 w 10505529"/>
              <a:gd name="connsiteY23313" fmla="*/ 3524520 h 7458372"/>
              <a:gd name="connsiteX23314" fmla="*/ 4170392 w 10505529"/>
              <a:gd name="connsiteY23314" fmla="*/ 3523722 h 7458372"/>
              <a:gd name="connsiteX23315" fmla="*/ 4174119 w 10505529"/>
              <a:gd name="connsiteY23315" fmla="*/ 3521325 h 7458372"/>
              <a:gd name="connsiteX23316" fmla="*/ 4176782 w 10505529"/>
              <a:gd name="connsiteY23316" fmla="*/ 3517066 h 7458372"/>
              <a:gd name="connsiteX23317" fmla="*/ 4177847 w 10505529"/>
              <a:gd name="connsiteY23317" fmla="*/ 3511608 h 7458372"/>
              <a:gd name="connsiteX23318" fmla="*/ 4176782 w 10505529"/>
              <a:gd name="connsiteY23318" fmla="*/ 3506416 h 7458372"/>
              <a:gd name="connsiteX23319" fmla="*/ 4174119 w 10505529"/>
              <a:gd name="connsiteY23319" fmla="*/ 3502157 h 7458372"/>
              <a:gd name="connsiteX23320" fmla="*/ 4170126 w 10505529"/>
              <a:gd name="connsiteY23320" fmla="*/ 3499495 h 7458372"/>
              <a:gd name="connsiteX23321" fmla="*/ 4165068 w 10505529"/>
              <a:gd name="connsiteY23321" fmla="*/ 3498563 h 7458372"/>
              <a:gd name="connsiteX23322" fmla="*/ 3947617 w 10505529"/>
              <a:gd name="connsiteY23322" fmla="*/ 3498563 h 7458372"/>
              <a:gd name="connsiteX23323" fmla="*/ 3937633 w 10505529"/>
              <a:gd name="connsiteY23323" fmla="*/ 3502157 h 7458372"/>
              <a:gd name="connsiteX23324" fmla="*/ 3934039 w 10505529"/>
              <a:gd name="connsiteY23324" fmla="*/ 3511608 h 7458372"/>
              <a:gd name="connsiteX23325" fmla="*/ 3937633 w 10505529"/>
              <a:gd name="connsiteY23325" fmla="*/ 3521059 h 7458372"/>
              <a:gd name="connsiteX23326" fmla="*/ 3947617 w 10505529"/>
              <a:gd name="connsiteY23326" fmla="*/ 3524520 h 7458372"/>
              <a:gd name="connsiteX23327" fmla="*/ 3952944 w 10505529"/>
              <a:gd name="connsiteY23327" fmla="*/ 3523722 h 7458372"/>
              <a:gd name="connsiteX23328" fmla="*/ 3956670 w 10505529"/>
              <a:gd name="connsiteY23328" fmla="*/ 3521325 h 7458372"/>
              <a:gd name="connsiteX23329" fmla="*/ 3959333 w 10505529"/>
              <a:gd name="connsiteY23329" fmla="*/ 3517066 h 7458372"/>
              <a:gd name="connsiteX23330" fmla="*/ 3960398 w 10505529"/>
              <a:gd name="connsiteY23330" fmla="*/ 3511608 h 7458372"/>
              <a:gd name="connsiteX23331" fmla="*/ 3959333 w 10505529"/>
              <a:gd name="connsiteY23331" fmla="*/ 3506416 h 7458372"/>
              <a:gd name="connsiteX23332" fmla="*/ 3956670 w 10505529"/>
              <a:gd name="connsiteY23332" fmla="*/ 3502157 h 7458372"/>
              <a:gd name="connsiteX23333" fmla="*/ 3952676 w 10505529"/>
              <a:gd name="connsiteY23333" fmla="*/ 3499495 h 7458372"/>
              <a:gd name="connsiteX23334" fmla="*/ 3947617 w 10505529"/>
              <a:gd name="connsiteY23334" fmla="*/ 3498563 h 7458372"/>
              <a:gd name="connsiteX23335" fmla="*/ 3729962 w 10505529"/>
              <a:gd name="connsiteY23335" fmla="*/ 3498563 h 7458372"/>
              <a:gd name="connsiteX23336" fmla="*/ 3719976 w 10505529"/>
              <a:gd name="connsiteY23336" fmla="*/ 3502157 h 7458372"/>
              <a:gd name="connsiteX23337" fmla="*/ 3716384 w 10505529"/>
              <a:gd name="connsiteY23337" fmla="*/ 3511608 h 7458372"/>
              <a:gd name="connsiteX23338" fmla="*/ 3719976 w 10505529"/>
              <a:gd name="connsiteY23338" fmla="*/ 3521059 h 7458372"/>
              <a:gd name="connsiteX23339" fmla="*/ 3729962 w 10505529"/>
              <a:gd name="connsiteY23339" fmla="*/ 3524520 h 7458372"/>
              <a:gd name="connsiteX23340" fmla="*/ 3735287 w 10505529"/>
              <a:gd name="connsiteY23340" fmla="*/ 3523722 h 7458372"/>
              <a:gd name="connsiteX23341" fmla="*/ 3739014 w 10505529"/>
              <a:gd name="connsiteY23341" fmla="*/ 3521325 h 7458372"/>
              <a:gd name="connsiteX23342" fmla="*/ 3741678 w 10505529"/>
              <a:gd name="connsiteY23342" fmla="*/ 3517066 h 7458372"/>
              <a:gd name="connsiteX23343" fmla="*/ 3742742 w 10505529"/>
              <a:gd name="connsiteY23343" fmla="*/ 3511608 h 7458372"/>
              <a:gd name="connsiteX23344" fmla="*/ 3741678 w 10505529"/>
              <a:gd name="connsiteY23344" fmla="*/ 3506416 h 7458372"/>
              <a:gd name="connsiteX23345" fmla="*/ 3739014 w 10505529"/>
              <a:gd name="connsiteY23345" fmla="*/ 3502157 h 7458372"/>
              <a:gd name="connsiteX23346" fmla="*/ 3735021 w 10505529"/>
              <a:gd name="connsiteY23346" fmla="*/ 3499495 h 7458372"/>
              <a:gd name="connsiteX23347" fmla="*/ 3729962 w 10505529"/>
              <a:gd name="connsiteY23347" fmla="*/ 3498563 h 7458372"/>
              <a:gd name="connsiteX23348" fmla="*/ 3512307 w 10505529"/>
              <a:gd name="connsiteY23348" fmla="*/ 3498563 h 7458372"/>
              <a:gd name="connsiteX23349" fmla="*/ 3502320 w 10505529"/>
              <a:gd name="connsiteY23349" fmla="*/ 3502157 h 7458372"/>
              <a:gd name="connsiteX23350" fmla="*/ 3498727 w 10505529"/>
              <a:gd name="connsiteY23350" fmla="*/ 3511608 h 7458372"/>
              <a:gd name="connsiteX23351" fmla="*/ 3502320 w 10505529"/>
              <a:gd name="connsiteY23351" fmla="*/ 3521059 h 7458372"/>
              <a:gd name="connsiteX23352" fmla="*/ 3512307 w 10505529"/>
              <a:gd name="connsiteY23352" fmla="*/ 3524520 h 7458372"/>
              <a:gd name="connsiteX23353" fmla="*/ 3517632 w 10505529"/>
              <a:gd name="connsiteY23353" fmla="*/ 3523722 h 7458372"/>
              <a:gd name="connsiteX23354" fmla="*/ 3521360 w 10505529"/>
              <a:gd name="connsiteY23354" fmla="*/ 3521325 h 7458372"/>
              <a:gd name="connsiteX23355" fmla="*/ 3524023 w 10505529"/>
              <a:gd name="connsiteY23355" fmla="*/ 3517066 h 7458372"/>
              <a:gd name="connsiteX23356" fmla="*/ 3525088 w 10505529"/>
              <a:gd name="connsiteY23356" fmla="*/ 3511608 h 7458372"/>
              <a:gd name="connsiteX23357" fmla="*/ 3524023 w 10505529"/>
              <a:gd name="connsiteY23357" fmla="*/ 3506416 h 7458372"/>
              <a:gd name="connsiteX23358" fmla="*/ 3521360 w 10505529"/>
              <a:gd name="connsiteY23358" fmla="*/ 3502157 h 7458372"/>
              <a:gd name="connsiteX23359" fmla="*/ 3517367 w 10505529"/>
              <a:gd name="connsiteY23359" fmla="*/ 3499495 h 7458372"/>
              <a:gd name="connsiteX23360" fmla="*/ 3512307 w 10505529"/>
              <a:gd name="connsiteY23360" fmla="*/ 3498563 h 7458372"/>
              <a:gd name="connsiteX23361" fmla="*/ 3294785 w 10505529"/>
              <a:gd name="connsiteY23361" fmla="*/ 3498563 h 7458372"/>
              <a:gd name="connsiteX23362" fmla="*/ 3284800 w 10505529"/>
              <a:gd name="connsiteY23362" fmla="*/ 3502157 h 7458372"/>
              <a:gd name="connsiteX23363" fmla="*/ 3281206 w 10505529"/>
              <a:gd name="connsiteY23363" fmla="*/ 3511608 h 7458372"/>
              <a:gd name="connsiteX23364" fmla="*/ 3284800 w 10505529"/>
              <a:gd name="connsiteY23364" fmla="*/ 3521059 h 7458372"/>
              <a:gd name="connsiteX23365" fmla="*/ 3294785 w 10505529"/>
              <a:gd name="connsiteY23365" fmla="*/ 3524520 h 7458372"/>
              <a:gd name="connsiteX23366" fmla="*/ 3300111 w 10505529"/>
              <a:gd name="connsiteY23366" fmla="*/ 3523722 h 7458372"/>
              <a:gd name="connsiteX23367" fmla="*/ 3303838 w 10505529"/>
              <a:gd name="connsiteY23367" fmla="*/ 3521325 h 7458372"/>
              <a:gd name="connsiteX23368" fmla="*/ 3306501 w 10505529"/>
              <a:gd name="connsiteY23368" fmla="*/ 3517066 h 7458372"/>
              <a:gd name="connsiteX23369" fmla="*/ 3307565 w 10505529"/>
              <a:gd name="connsiteY23369" fmla="*/ 3511608 h 7458372"/>
              <a:gd name="connsiteX23370" fmla="*/ 3306501 w 10505529"/>
              <a:gd name="connsiteY23370" fmla="*/ 3506416 h 7458372"/>
              <a:gd name="connsiteX23371" fmla="*/ 3303838 w 10505529"/>
              <a:gd name="connsiteY23371" fmla="*/ 3502157 h 7458372"/>
              <a:gd name="connsiteX23372" fmla="*/ 3299845 w 10505529"/>
              <a:gd name="connsiteY23372" fmla="*/ 3499495 h 7458372"/>
              <a:gd name="connsiteX23373" fmla="*/ 3294785 w 10505529"/>
              <a:gd name="connsiteY23373" fmla="*/ 3498563 h 7458372"/>
              <a:gd name="connsiteX23374" fmla="*/ 3077263 w 10505529"/>
              <a:gd name="connsiteY23374" fmla="*/ 3498563 h 7458372"/>
              <a:gd name="connsiteX23375" fmla="*/ 3067280 w 10505529"/>
              <a:gd name="connsiteY23375" fmla="*/ 3502157 h 7458372"/>
              <a:gd name="connsiteX23376" fmla="*/ 3063551 w 10505529"/>
              <a:gd name="connsiteY23376" fmla="*/ 3511608 h 7458372"/>
              <a:gd name="connsiteX23377" fmla="*/ 3067146 w 10505529"/>
              <a:gd name="connsiteY23377" fmla="*/ 3521059 h 7458372"/>
              <a:gd name="connsiteX23378" fmla="*/ 3077130 w 10505529"/>
              <a:gd name="connsiteY23378" fmla="*/ 3524520 h 7458372"/>
              <a:gd name="connsiteX23379" fmla="*/ 3082588 w 10505529"/>
              <a:gd name="connsiteY23379" fmla="*/ 3523722 h 7458372"/>
              <a:gd name="connsiteX23380" fmla="*/ 3086316 w 10505529"/>
              <a:gd name="connsiteY23380" fmla="*/ 3521325 h 7458372"/>
              <a:gd name="connsiteX23381" fmla="*/ 3088978 w 10505529"/>
              <a:gd name="connsiteY23381" fmla="*/ 3517066 h 7458372"/>
              <a:gd name="connsiteX23382" fmla="*/ 3089910 w 10505529"/>
              <a:gd name="connsiteY23382" fmla="*/ 3511608 h 7458372"/>
              <a:gd name="connsiteX23383" fmla="*/ 3088978 w 10505529"/>
              <a:gd name="connsiteY23383" fmla="*/ 3506416 h 7458372"/>
              <a:gd name="connsiteX23384" fmla="*/ 3086316 w 10505529"/>
              <a:gd name="connsiteY23384" fmla="*/ 3502157 h 7458372"/>
              <a:gd name="connsiteX23385" fmla="*/ 3082323 w 10505529"/>
              <a:gd name="connsiteY23385" fmla="*/ 3499495 h 7458372"/>
              <a:gd name="connsiteX23386" fmla="*/ 3077263 w 10505529"/>
              <a:gd name="connsiteY23386" fmla="*/ 3498563 h 7458372"/>
              <a:gd name="connsiteX23387" fmla="*/ 2859475 w 10505529"/>
              <a:gd name="connsiteY23387" fmla="*/ 3498563 h 7458372"/>
              <a:gd name="connsiteX23388" fmla="*/ 2849489 w 10505529"/>
              <a:gd name="connsiteY23388" fmla="*/ 3502157 h 7458372"/>
              <a:gd name="connsiteX23389" fmla="*/ 2845893 w 10505529"/>
              <a:gd name="connsiteY23389" fmla="*/ 3511608 h 7458372"/>
              <a:gd name="connsiteX23390" fmla="*/ 2849489 w 10505529"/>
              <a:gd name="connsiteY23390" fmla="*/ 3521059 h 7458372"/>
              <a:gd name="connsiteX23391" fmla="*/ 2859475 w 10505529"/>
              <a:gd name="connsiteY23391" fmla="*/ 3524520 h 7458372"/>
              <a:gd name="connsiteX23392" fmla="*/ 2864800 w 10505529"/>
              <a:gd name="connsiteY23392" fmla="*/ 3523722 h 7458372"/>
              <a:gd name="connsiteX23393" fmla="*/ 2868527 w 10505529"/>
              <a:gd name="connsiteY23393" fmla="*/ 3521325 h 7458372"/>
              <a:gd name="connsiteX23394" fmla="*/ 2871190 w 10505529"/>
              <a:gd name="connsiteY23394" fmla="*/ 3517066 h 7458372"/>
              <a:gd name="connsiteX23395" fmla="*/ 2872121 w 10505529"/>
              <a:gd name="connsiteY23395" fmla="*/ 3511608 h 7458372"/>
              <a:gd name="connsiteX23396" fmla="*/ 2871190 w 10505529"/>
              <a:gd name="connsiteY23396" fmla="*/ 3506416 h 7458372"/>
              <a:gd name="connsiteX23397" fmla="*/ 2868527 w 10505529"/>
              <a:gd name="connsiteY23397" fmla="*/ 3502157 h 7458372"/>
              <a:gd name="connsiteX23398" fmla="*/ 2864534 w 10505529"/>
              <a:gd name="connsiteY23398" fmla="*/ 3499495 h 7458372"/>
              <a:gd name="connsiteX23399" fmla="*/ 2859475 w 10505529"/>
              <a:gd name="connsiteY23399" fmla="*/ 3498563 h 7458372"/>
              <a:gd name="connsiteX23400" fmla="*/ 2641820 w 10505529"/>
              <a:gd name="connsiteY23400" fmla="*/ 3498563 h 7458372"/>
              <a:gd name="connsiteX23401" fmla="*/ 2631837 w 10505529"/>
              <a:gd name="connsiteY23401" fmla="*/ 3502157 h 7458372"/>
              <a:gd name="connsiteX23402" fmla="*/ 2628242 w 10505529"/>
              <a:gd name="connsiteY23402" fmla="*/ 3511608 h 7458372"/>
              <a:gd name="connsiteX23403" fmla="*/ 2631837 w 10505529"/>
              <a:gd name="connsiteY23403" fmla="*/ 3521059 h 7458372"/>
              <a:gd name="connsiteX23404" fmla="*/ 2641820 w 10505529"/>
              <a:gd name="connsiteY23404" fmla="*/ 3524520 h 7458372"/>
              <a:gd name="connsiteX23405" fmla="*/ 2647145 w 10505529"/>
              <a:gd name="connsiteY23405" fmla="*/ 3523722 h 7458372"/>
              <a:gd name="connsiteX23406" fmla="*/ 2650872 w 10505529"/>
              <a:gd name="connsiteY23406" fmla="*/ 3521325 h 7458372"/>
              <a:gd name="connsiteX23407" fmla="*/ 2653535 w 10505529"/>
              <a:gd name="connsiteY23407" fmla="*/ 3517066 h 7458372"/>
              <a:gd name="connsiteX23408" fmla="*/ 2654466 w 10505529"/>
              <a:gd name="connsiteY23408" fmla="*/ 3511608 h 7458372"/>
              <a:gd name="connsiteX23409" fmla="*/ 2653535 w 10505529"/>
              <a:gd name="connsiteY23409" fmla="*/ 3506416 h 7458372"/>
              <a:gd name="connsiteX23410" fmla="*/ 2650872 w 10505529"/>
              <a:gd name="connsiteY23410" fmla="*/ 3502157 h 7458372"/>
              <a:gd name="connsiteX23411" fmla="*/ 2646879 w 10505529"/>
              <a:gd name="connsiteY23411" fmla="*/ 3499495 h 7458372"/>
              <a:gd name="connsiteX23412" fmla="*/ 2641820 w 10505529"/>
              <a:gd name="connsiteY23412" fmla="*/ 3498563 h 7458372"/>
              <a:gd name="connsiteX23413" fmla="*/ 2424164 w 10505529"/>
              <a:gd name="connsiteY23413" fmla="*/ 3498563 h 7458372"/>
              <a:gd name="connsiteX23414" fmla="*/ 2414181 w 10505529"/>
              <a:gd name="connsiteY23414" fmla="*/ 3502157 h 7458372"/>
              <a:gd name="connsiteX23415" fmla="*/ 2410587 w 10505529"/>
              <a:gd name="connsiteY23415" fmla="*/ 3511608 h 7458372"/>
              <a:gd name="connsiteX23416" fmla="*/ 2414181 w 10505529"/>
              <a:gd name="connsiteY23416" fmla="*/ 3521059 h 7458372"/>
              <a:gd name="connsiteX23417" fmla="*/ 2424164 w 10505529"/>
              <a:gd name="connsiteY23417" fmla="*/ 3524520 h 7458372"/>
              <a:gd name="connsiteX23418" fmla="*/ 2429490 w 10505529"/>
              <a:gd name="connsiteY23418" fmla="*/ 3523722 h 7458372"/>
              <a:gd name="connsiteX23419" fmla="*/ 2433217 w 10505529"/>
              <a:gd name="connsiteY23419" fmla="*/ 3521325 h 7458372"/>
              <a:gd name="connsiteX23420" fmla="*/ 2435880 w 10505529"/>
              <a:gd name="connsiteY23420" fmla="*/ 3517066 h 7458372"/>
              <a:gd name="connsiteX23421" fmla="*/ 2436811 w 10505529"/>
              <a:gd name="connsiteY23421" fmla="*/ 3511608 h 7458372"/>
              <a:gd name="connsiteX23422" fmla="*/ 2435880 w 10505529"/>
              <a:gd name="connsiteY23422" fmla="*/ 3506416 h 7458372"/>
              <a:gd name="connsiteX23423" fmla="*/ 2433217 w 10505529"/>
              <a:gd name="connsiteY23423" fmla="*/ 3502157 h 7458372"/>
              <a:gd name="connsiteX23424" fmla="*/ 2429224 w 10505529"/>
              <a:gd name="connsiteY23424" fmla="*/ 3499495 h 7458372"/>
              <a:gd name="connsiteX23425" fmla="*/ 2424164 w 10505529"/>
              <a:gd name="connsiteY23425" fmla="*/ 3498563 h 7458372"/>
              <a:gd name="connsiteX23426" fmla="*/ 2206509 w 10505529"/>
              <a:gd name="connsiteY23426" fmla="*/ 3498563 h 7458372"/>
              <a:gd name="connsiteX23427" fmla="*/ 2196526 w 10505529"/>
              <a:gd name="connsiteY23427" fmla="*/ 3502157 h 7458372"/>
              <a:gd name="connsiteX23428" fmla="*/ 2192932 w 10505529"/>
              <a:gd name="connsiteY23428" fmla="*/ 3511608 h 7458372"/>
              <a:gd name="connsiteX23429" fmla="*/ 2196526 w 10505529"/>
              <a:gd name="connsiteY23429" fmla="*/ 3521059 h 7458372"/>
              <a:gd name="connsiteX23430" fmla="*/ 2206509 w 10505529"/>
              <a:gd name="connsiteY23430" fmla="*/ 3524520 h 7458372"/>
              <a:gd name="connsiteX23431" fmla="*/ 2211834 w 10505529"/>
              <a:gd name="connsiteY23431" fmla="*/ 3523722 h 7458372"/>
              <a:gd name="connsiteX23432" fmla="*/ 2215561 w 10505529"/>
              <a:gd name="connsiteY23432" fmla="*/ 3521325 h 7458372"/>
              <a:gd name="connsiteX23433" fmla="*/ 2218224 w 10505529"/>
              <a:gd name="connsiteY23433" fmla="*/ 3517066 h 7458372"/>
              <a:gd name="connsiteX23434" fmla="*/ 2219156 w 10505529"/>
              <a:gd name="connsiteY23434" fmla="*/ 3511608 h 7458372"/>
              <a:gd name="connsiteX23435" fmla="*/ 2218224 w 10505529"/>
              <a:gd name="connsiteY23435" fmla="*/ 3506416 h 7458372"/>
              <a:gd name="connsiteX23436" fmla="*/ 2215561 w 10505529"/>
              <a:gd name="connsiteY23436" fmla="*/ 3502157 h 7458372"/>
              <a:gd name="connsiteX23437" fmla="*/ 2211568 w 10505529"/>
              <a:gd name="connsiteY23437" fmla="*/ 3499495 h 7458372"/>
              <a:gd name="connsiteX23438" fmla="*/ 2206509 w 10505529"/>
              <a:gd name="connsiteY23438" fmla="*/ 3498563 h 7458372"/>
              <a:gd name="connsiteX23439" fmla="*/ 1988987 w 10505529"/>
              <a:gd name="connsiteY23439" fmla="*/ 3498563 h 7458372"/>
              <a:gd name="connsiteX23440" fmla="*/ 1979004 w 10505529"/>
              <a:gd name="connsiteY23440" fmla="*/ 3502157 h 7458372"/>
              <a:gd name="connsiteX23441" fmla="*/ 1975410 w 10505529"/>
              <a:gd name="connsiteY23441" fmla="*/ 3511608 h 7458372"/>
              <a:gd name="connsiteX23442" fmla="*/ 1979004 w 10505529"/>
              <a:gd name="connsiteY23442" fmla="*/ 3521059 h 7458372"/>
              <a:gd name="connsiteX23443" fmla="*/ 1988987 w 10505529"/>
              <a:gd name="connsiteY23443" fmla="*/ 3524520 h 7458372"/>
              <a:gd name="connsiteX23444" fmla="*/ 1994312 w 10505529"/>
              <a:gd name="connsiteY23444" fmla="*/ 3523722 h 7458372"/>
              <a:gd name="connsiteX23445" fmla="*/ 1998039 w 10505529"/>
              <a:gd name="connsiteY23445" fmla="*/ 3521325 h 7458372"/>
              <a:gd name="connsiteX23446" fmla="*/ 2000702 w 10505529"/>
              <a:gd name="connsiteY23446" fmla="*/ 3517066 h 7458372"/>
              <a:gd name="connsiteX23447" fmla="*/ 2001633 w 10505529"/>
              <a:gd name="connsiteY23447" fmla="*/ 3511608 h 7458372"/>
              <a:gd name="connsiteX23448" fmla="*/ 2000702 w 10505529"/>
              <a:gd name="connsiteY23448" fmla="*/ 3506416 h 7458372"/>
              <a:gd name="connsiteX23449" fmla="*/ 1998039 w 10505529"/>
              <a:gd name="connsiteY23449" fmla="*/ 3502157 h 7458372"/>
              <a:gd name="connsiteX23450" fmla="*/ 1994046 w 10505529"/>
              <a:gd name="connsiteY23450" fmla="*/ 3499495 h 7458372"/>
              <a:gd name="connsiteX23451" fmla="*/ 1988987 w 10505529"/>
              <a:gd name="connsiteY23451" fmla="*/ 3498563 h 7458372"/>
              <a:gd name="connsiteX23452" fmla="*/ 1771349 w 10505529"/>
              <a:gd name="connsiteY23452" fmla="*/ 3498563 h 7458372"/>
              <a:gd name="connsiteX23453" fmla="*/ 1761367 w 10505529"/>
              <a:gd name="connsiteY23453" fmla="*/ 3502157 h 7458372"/>
              <a:gd name="connsiteX23454" fmla="*/ 1757773 w 10505529"/>
              <a:gd name="connsiteY23454" fmla="*/ 3511608 h 7458372"/>
              <a:gd name="connsiteX23455" fmla="*/ 1761367 w 10505529"/>
              <a:gd name="connsiteY23455" fmla="*/ 3521059 h 7458372"/>
              <a:gd name="connsiteX23456" fmla="*/ 1771349 w 10505529"/>
              <a:gd name="connsiteY23456" fmla="*/ 3524520 h 7458372"/>
              <a:gd name="connsiteX23457" fmla="*/ 1776674 w 10505529"/>
              <a:gd name="connsiteY23457" fmla="*/ 3523722 h 7458372"/>
              <a:gd name="connsiteX23458" fmla="*/ 1780401 w 10505529"/>
              <a:gd name="connsiteY23458" fmla="*/ 3521325 h 7458372"/>
              <a:gd name="connsiteX23459" fmla="*/ 1783063 w 10505529"/>
              <a:gd name="connsiteY23459" fmla="*/ 3517066 h 7458372"/>
              <a:gd name="connsiteX23460" fmla="*/ 1784129 w 10505529"/>
              <a:gd name="connsiteY23460" fmla="*/ 3511608 h 7458372"/>
              <a:gd name="connsiteX23461" fmla="*/ 1783063 w 10505529"/>
              <a:gd name="connsiteY23461" fmla="*/ 3506416 h 7458372"/>
              <a:gd name="connsiteX23462" fmla="*/ 1780401 w 10505529"/>
              <a:gd name="connsiteY23462" fmla="*/ 3502157 h 7458372"/>
              <a:gd name="connsiteX23463" fmla="*/ 1776408 w 10505529"/>
              <a:gd name="connsiteY23463" fmla="*/ 3499495 h 7458372"/>
              <a:gd name="connsiteX23464" fmla="*/ 1771349 w 10505529"/>
              <a:gd name="connsiteY23464" fmla="*/ 3498563 h 7458372"/>
              <a:gd name="connsiteX23465" fmla="*/ 1553709 w 10505529"/>
              <a:gd name="connsiteY23465" fmla="*/ 3498563 h 7458372"/>
              <a:gd name="connsiteX23466" fmla="*/ 1543726 w 10505529"/>
              <a:gd name="connsiteY23466" fmla="*/ 3502157 h 7458372"/>
              <a:gd name="connsiteX23467" fmla="*/ 1540131 w 10505529"/>
              <a:gd name="connsiteY23467" fmla="*/ 3511608 h 7458372"/>
              <a:gd name="connsiteX23468" fmla="*/ 1543726 w 10505529"/>
              <a:gd name="connsiteY23468" fmla="*/ 3521059 h 7458372"/>
              <a:gd name="connsiteX23469" fmla="*/ 1553709 w 10505529"/>
              <a:gd name="connsiteY23469" fmla="*/ 3524520 h 7458372"/>
              <a:gd name="connsiteX23470" fmla="*/ 1559034 w 10505529"/>
              <a:gd name="connsiteY23470" fmla="*/ 3523722 h 7458372"/>
              <a:gd name="connsiteX23471" fmla="*/ 1562761 w 10505529"/>
              <a:gd name="connsiteY23471" fmla="*/ 3521325 h 7458372"/>
              <a:gd name="connsiteX23472" fmla="*/ 1565424 w 10505529"/>
              <a:gd name="connsiteY23472" fmla="*/ 3517066 h 7458372"/>
              <a:gd name="connsiteX23473" fmla="*/ 1566489 w 10505529"/>
              <a:gd name="connsiteY23473" fmla="*/ 3511608 h 7458372"/>
              <a:gd name="connsiteX23474" fmla="*/ 1565424 w 10505529"/>
              <a:gd name="connsiteY23474" fmla="*/ 3506416 h 7458372"/>
              <a:gd name="connsiteX23475" fmla="*/ 1562761 w 10505529"/>
              <a:gd name="connsiteY23475" fmla="*/ 3502157 h 7458372"/>
              <a:gd name="connsiteX23476" fmla="*/ 1558768 w 10505529"/>
              <a:gd name="connsiteY23476" fmla="*/ 3499495 h 7458372"/>
              <a:gd name="connsiteX23477" fmla="*/ 1553709 w 10505529"/>
              <a:gd name="connsiteY23477" fmla="*/ 3498563 h 7458372"/>
              <a:gd name="connsiteX23478" fmla="*/ 1336065 w 10505529"/>
              <a:gd name="connsiteY23478" fmla="*/ 3498563 h 7458372"/>
              <a:gd name="connsiteX23479" fmla="*/ 1326082 w 10505529"/>
              <a:gd name="connsiteY23479" fmla="*/ 3502157 h 7458372"/>
              <a:gd name="connsiteX23480" fmla="*/ 1322487 w 10505529"/>
              <a:gd name="connsiteY23480" fmla="*/ 3511608 h 7458372"/>
              <a:gd name="connsiteX23481" fmla="*/ 1326082 w 10505529"/>
              <a:gd name="connsiteY23481" fmla="*/ 3521059 h 7458372"/>
              <a:gd name="connsiteX23482" fmla="*/ 1336065 w 10505529"/>
              <a:gd name="connsiteY23482" fmla="*/ 3524520 h 7458372"/>
              <a:gd name="connsiteX23483" fmla="*/ 1341391 w 10505529"/>
              <a:gd name="connsiteY23483" fmla="*/ 3523722 h 7458372"/>
              <a:gd name="connsiteX23484" fmla="*/ 1345118 w 10505529"/>
              <a:gd name="connsiteY23484" fmla="*/ 3521325 h 7458372"/>
              <a:gd name="connsiteX23485" fmla="*/ 1347781 w 10505529"/>
              <a:gd name="connsiteY23485" fmla="*/ 3517066 h 7458372"/>
              <a:gd name="connsiteX23486" fmla="*/ 1348847 w 10505529"/>
              <a:gd name="connsiteY23486" fmla="*/ 3511608 h 7458372"/>
              <a:gd name="connsiteX23487" fmla="*/ 1347781 w 10505529"/>
              <a:gd name="connsiteY23487" fmla="*/ 3506416 h 7458372"/>
              <a:gd name="connsiteX23488" fmla="*/ 1345118 w 10505529"/>
              <a:gd name="connsiteY23488" fmla="*/ 3502157 h 7458372"/>
              <a:gd name="connsiteX23489" fmla="*/ 1341124 w 10505529"/>
              <a:gd name="connsiteY23489" fmla="*/ 3499495 h 7458372"/>
              <a:gd name="connsiteX23490" fmla="*/ 1336065 w 10505529"/>
              <a:gd name="connsiteY23490" fmla="*/ 3498563 h 7458372"/>
              <a:gd name="connsiteX23491" fmla="*/ 1118553 w 10505529"/>
              <a:gd name="connsiteY23491" fmla="*/ 3498563 h 7458372"/>
              <a:gd name="connsiteX23492" fmla="*/ 1108568 w 10505529"/>
              <a:gd name="connsiteY23492" fmla="*/ 3502157 h 7458372"/>
              <a:gd name="connsiteX23493" fmla="*/ 1104841 w 10505529"/>
              <a:gd name="connsiteY23493" fmla="*/ 3511608 h 7458372"/>
              <a:gd name="connsiteX23494" fmla="*/ 1108436 w 10505529"/>
              <a:gd name="connsiteY23494" fmla="*/ 3521059 h 7458372"/>
              <a:gd name="connsiteX23495" fmla="*/ 1118420 w 10505529"/>
              <a:gd name="connsiteY23495" fmla="*/ 3524520 h 7458372"/>
              <a:gd name="connsiteX23496" fmla="*/ 1123877 w 10505529"/>
              <a:gd name="connsiteY23496" fmla="*/ 3523722 h 7458372"/>
              <a:gd name="connsiteX23497" fmla="*/ 1127606 w 10505529"/>
              <a:gd name="connsiteY23497" fmla="*/ 3521325 h 7458372"/>
              <a:gd name="connsiteX23498" fmla="*/ 1130270 w 10505529"/>
              <a:gd name="connsiteY23498" fmla="*/ 3517066 h 7458372"/>
              <a:gd name="connsiteX23499" fmla="*/ 1131335 w 10505529"/>
              <a:gd name="connsiteY23499" fmla="*/ 3511608 h 7458372"/>
              <a:gd name="connsiteX23500" fmla="*/ 1130270 w 10505529"/>
              <a:gd name="connsiteY23500" fmla="*/ 3506416 h 7458372"/>
              <a:gd name="connsiteX23501" fmla="*/ 1127606 w 10505529"/>
              <a:gd name="connsiteY23501" fmla="*/ 3502157 h 7458372"/>
              <a:gd name="connsiteX23502" fmla="*/ 1123611 w 10505529"/>
              <a:gd name="connsiteY23502" fmla="*/ 3499495 h 7458372"/>
              <a:gd name="connsiteX23503" fmla="*/ 1118553 w 10505529"/>
              <a:gd name="connsiteY23503" fmla="*/ 3498563 h 7458372"/>
              <a:gd name="connsiteX23504" fmla="*/ 901041 w 10505529"/>
              <a:gd name="connsiteY23504" fmla="*/ 3498563 h 7458372"/>
              <a:gd name="connsiteX23505" fmla="*/ 891057 w 10505529"/>
              <a:gd name="connsiteY23505" fmla="*/ 3502157 h 7458372"/>
              <a:gd name="connsiteX23506" fmla="*/ 887330 w 10505529"/>
              <a:gd name="connsiteY23506" fmla="*/ 3511608 h 7458372"/>
              <a:gd name="connsiteX23507" fmla="*/ 890924 w 10505529"/>
              <a:gd name="connsiteY23507" fmla="*/ 3521059 h 7458372"/>
              <a:gd name="connsiteX23508" fmla="*/ 900907 w 10505529"/>
              <a:gd name="connsiteY23508" fmla="*/ 3524520 h 7458372"/>
              <a:gd name="connsiteX23509" fmla="*/ 906365 w 10505529"/>
              <a:gd name="connsiteY23509" fmla="*/ 3523722 h 7458372"/>
              <a:gd name="connsiteX23510" fmla="*/ 910093 w 10505529"/>
              <a:gd name="connsiteY23510" fmla="*/ 3521325 h 7458372"/>
              <a:gd name="connsiteX23511" fmla="*/ 912755 w 10505529"/>
              <a:gd name="connsiteY23511" fmla="*/ 3517066 h 7458372"/>
              <a:gd name="connsiteX23512" fmla="*/ 913821 w 10505529"/>
              <a:gd name="connsiteY23512" fmla="*/ 3511608 h 7458372"/>
              <a:gd name="connsiteX23513" fmla="*/ 912755 w 10505529"/>
              <a:gd name="connsiteY23513" fmla="*/ 3506416 h 7458372"/>
              <a:gd name="connsiteX23514" fmla="*/ 910093 w 10505529"/>
              <a:gd name="connsiteY23514" fmla="*/ 3502157 h 7458372"/>
              <a:gd name="connsiteX23515" fmla="*/ 906099 w 10505529"/>
              <a:gd name="connsiteY23515" fmla="*/ 3499495 h 7458372"/>
              <a:gd name="connsiteX23516" fmla="*/ 901041 w 10505529"/>
              <a:gd name="connsiteY23516" fmla="*/ 3498563 h 7458372"/>
              <a:gd name="connsiteX23517" fmla="*/ 683265 w 10505529"/>
              <a:gd name="connsiteY23517" fmla="*/ 3498563 h 7458372"/>
              <a:gd name="connsiteX23518" fmla="*/ 673282 w 10505529"/>
              <a:gd name="connsiteY23518" fmla="*/ 3502157 h 7458372"/>
              <a:gd name="connsiteX23519" fmla="*/ 669688 w 10505529"/>
              <a:gd name="connsiteY23519" fmla="*/ 3511608 h 7458372"/>
              <a:gd name="connsiteX23520" fmla="*/ 673282 w 10505529"/>
              <a:gd name="connsiteY23520" fmla="*/ 3521059 h 7458372"/>
              <a:gd name="connsiteX23521" fmla="*/ 683265 w 10505529"/>
              <a:gd name="connsiteY23521" fmla="*/ 3524520 h 7458372"/>
              <a:gd name="connsiteX23522" fmla="*/ 688591 w 10505529"/>
              <a:gd name="connsiteY23522" fmla="*/ 3523722 h 7458372"/>
              <a:gd name="connsiteX23523" fmla="*/ 692318 w 10505529"/>
              <a:gd name="connsiteY23523" fmla="*/ 3521325 h 7458372"/>
              <a:gd name="connsiteX23524" fmla="*/ 694981 w 10505529"/>
              <a:gd name="connsiteY23524" fmla="*/ 3517066 h 7458372"/>
              <a:gd name="connsiteX23525" fmla="*/ 696046 w 10505529"/>
              <a:gd name="connsiteY23525" fmla="*/ 3511608 h 7458372"/>
              <a:gd name="connsiteX23526" fmla="*/ 694981 w 10505529"/>
              <a:gd name="connsiteY23526" fmla="*/ 3506416 h 7458372"/>
              <a:gd name="connsiteX23527" fmla="*/ 692318 w 10505529"/>
              <a:gd name="connsiteY23527" fmla="*/ 3502157 h 7458372"/>
              <a:gd name="connsiteX23528" fmla="*/ 688325 w 10505529"/>
              <a:gd name="connsiteY23528" fmla="*/ 3499495 h 7458372"/>
              <a:gd name="connsiteX23529" fmla="*/ 683265 w 10505529"/>
              <a:gd name="connsiteY23529" fmla="*/ 3498563 h 7458372"/>
              <a:gd name="connsiteX23530" fmla="*/ 465623 w 10505529"/>
              <a:gd name="connsiteY23530" fmla="*/ 3498563 h 7458372"/>
              <a:gd name="connsiteX23531" fmla="*/ 455640 w 10505529"/>
              <a:gd name="connsiteY23531" fmla="*/ 3502157 h 7458372"/>
              <a:gd name="connsiteX23532" fmla="*/ 452046 w 10505529"/>
              <a:gd name="connsiteY23532" fmla="*/ 3511608 h 7458372"/>
              <a:gd name="connsiteX23533" fmla="*/ 455640 w 10505529"/>
              <a:gd name="connsiteY23533" fmla="*/ 3521059 h 7458372"/>
              <a:gd name="connsiteX23534" fmla="*/ 465623 w 10505529"/>
              <a:gd name="connsiteY23534" fmla="*/ 3524520 h 7458372"/>
              <a:gd name="connsiteX23535" fmla="*/ 470948 w 10505529"/>
              <a:gd name="connsiteY23535" fmla="*/ 3523722 h 7458372"/>
              <a:gd name="connsiteX23536" fmla="*/ 474675 w 10505529"/>
              <a:gd name="connsiteY23536" fmla="*/ 3521325 h 7458372"/>
              <a:gd name="connsiteX23537" fmla="*/ 477338 w 10505529"/>
              <a:gd name="connsiteY23537" fmla="*/ 3517066 h 7458372"/>
              <a:gd name="connsiteX23538" fmla="*/ 478403 w 10505529"/>
              <a:gd name="connsiteY23538" fmla="*/ 3511608 h 7458372"/>
              <a:gd name="connsiteX23539" fmla="*/ 477338 w 10505529"/>
              <a:gd name="connsiteY23539" fmla="*/ 3506416 h 7458372"/>
              <a:gd name="connsiteX23540" fmla="*/ 474675 w 10505529"/>
              <a:gd name="connsiteY23540" fmla="*/ 3502157 h 7458372"/>
              <a:gd name="connsiteX23541" fmla="*/ 470682 w 10505529"/>
              <a:gd name="connsiteY23541" fmla="*/ 3499495 h 7458372"/>
              <a:gd name="connsiteX23542" fmla="*/ 465623 w 10505529"/>
              <a:gd name="connsiteY23542" fmla="*/ 3498563 h 7458372"/>
              <a:gd name="connsiteX23543" fmla="*/ 247980 w 10505529"/>
              <a:gd name="connsiteY23543" fmla="*/ 3498563 h 7458372"/>
              <a:gd name="connsiteX23544" fmla="*/ 237997 w 10505529"/>
              <a:gd name="connsiteY23544" fmla="*/ 3502157 h 7458372"/>
              <a:gd name="connsiteX23545" fmla="*/ 234404 w 10505529"/>
              <a:gd name="connsiteY23545" fmla="*/ 3511608 h 7458372"/>
              <a:gd name="connsiteX23546" fmla="*/ 237997 w 10505529"/>
              <a:gd name="connsiteY23546" fmla="*/ 3521059 h 7458372"/>
              <a:gd name="connsiteX23547" fmla="*/ 247980 w 10505529"/>
              <a:gd name="connsiteY23547" fmla="*/ 3524520 h 7458372"/>
              <a:gd name="connsiteX23548" fmla="*/ 253305 w 10505529"/>
              <a:gd name="connsiteY23548" fmla="*/ 3523722 h 7458372"/>
              <a:gd name="connsiteX23549" fmla="*/ 257032 w 10505529"/>
              <a:gd name="connsiteY23549" fmla="*/ 3521325 h 7458372"/>
              <a:gd name="connsiteX23550" fmla="*/ 259695 w 10505529"/>
              <a:gd name="connsiteY23550" fmla="*/ 3517066 h 7458372"/>
              <a:gd name="connsiteX23551" fmla="*/ 260760 w 10505529"/>
              <a:gd name="connsiteY23551" fmla="*/ 3511608 h 7458372"/>
              <a:gd name="connsiteX23552" fmla="*/ 259695 w 10505529"/>
              <a:gd name="connsiteY23552" fmla="*/ 3506416 h 7458372"/>
              <a:gd name="connsiteX23553" fmla="*/ 257032 w 10505529"/>
              <a:gd name="connsiteY23553" fmla="*/ 3502157 h 7458372"/>
              <a:gd name="connsiteX23554" fmla="*/ 253039 w 10505529"/>
              <a:gd name="connsiteY23554" fmla="*/ 3499495 h 7458372"/>
              <a:gd name="connsiteX23555" fmla="*/ 247980 w 10505529"/>
              <a:gd name="connsiteY23555" fmla="*/ 3498563 h 7458372"/>
              <a:gd name="connsiteX23556" fmla="*/ 30337 w 10505529"/>
              <a:gd name="connsiteY23556" fmla="*/ 3498563 h 7458372"/>
              <a:gd name="connsiteX23557" fmla="*/ 20354 w 10505529"/>
              <a:gd name="connsiteY23557" fmla="*/ 3502157 h 7458372"/>
              <a:gd name="connsiteX23558" fmla="*/ 16761 w 10505529"/>
              <a:gd name="connsiteY23558" fmla="*/ 3511608 h 7458372"/>
              <a:gd name="connsiteX23559" fmla="*/ 20354 w 10505529"/>
              <a:gd name="connsiteY23559" fmla="*/ 3521059 h 7458372"/>
              <a:gd name="connsiteX23560" fmla="*/ 30337 w 10505529"/>
              <a:gd name="connsiteY23560" fmla="*/ 3524520 h 7458372"/>
              <a:gd name="connsiteX23561" fmla="*/ 35662 w 10505529"/>
              <a:gd name="connsiteY23561" fmla="*/ 3523722 h 7458372"/>
              <a:gd name="connsiteX23562" fmla="*/ 39389 w 10505529"/>
              <a:gd name="connsiteY23562" fmla="*/ 3521325 h 7458372"/>
              <a:gd name="connsiteX23563" fmla="*/ 42053 w 10505529"/>
              <a:gd name="connsiteY23563" fmla="*/ 3517066 h 7458372"/>
              <a:gd name="connsiteX23564" fmla="*/ 42984 w 10505529"/>
              <a:gd name="connsiteY23564" fmla="*/ 3511608 h 7458372"/>
              <a:gd name="connsiteX23565" fmla="*/ 42053 w 10505529"/>
              <a:gd name="connsiteY23565" fmla="*/ 3506416 h 7458372"/>
              <a:gd name="connsiteX23566" fmla="*/ 39389 w 10505529"/>
              <a:gd name="connsiteY23566" fmla="*/ 3502157 h 7458372"/>
              <a:gd name="connsiteX23567" fmla="*/ 35397 w 10505529"/>
              <a:gd name="connsiteY23567" fmla="*/ 3499495 h 7458372"/>
              <a:gd name="connsiteX23568" fmla="*/ 30337 w 10505529"/>
              <a:gd name="connsiteY23568" fmla="*/ 3498563 h 7458372"/>
              <a:gd name="connsiteX23569" fmla="*/ 10475977 w 10505529"/>
              <a:gd name="connsiteY23569" fmla="*/ 3481923 h 7458372"/>
              <a:gd name="connsiteX23570" fmla="*/ 10487824 w 10505529"/>
              <a:gd name="connsiteY23570" fmla="*/ 3484451 h 7458372"/>
              <a:gd name="connsiteX23571" fmla="*/ 10497143 w 10505529"/>
              <a:gd name="connsiteY23571" fmla="*/ 3490842 h 7458372"/>
              <a:gd name="connsiteX23572" fmla="*/ 10503266 w 10505529"/>
              <a:gd name="connsiteY23572" fmla="*/ 3500292 h 7458372"/>
              <a:gd name="connsiteX23573" fmla="*/ 10505529 w 10505529"/>
              <a:gd name="connsiteY23573" fmla="*/ 3511741 h 7458372"/>
              <a:gd name="connsiteX23574" fmla="*/ 10503266 w 10505529"/>
              <a:gd name="connsiteY23574" fmla="*/ 3523456 h 7458372"/>
              <a:gd name="connsiteX23575" fmla="*/ 10497143 w 10505529"/>
              <a:gd name="connsiteY23575" fmla="*/ 3532774 h 7458372"/>
              <a:gd name="connsiteX23576" fmla="*/ 10487824 w 10505529"/>
              <a:gd name="connsiteY23576" fmla="*/ 3539030 h 7458372"/>
              <a:gd name="connsiteX23577" fmla="*/ 10475977 w 10505529"/>
              <a:gd name="connsiteY23577" fmla="*/ 3541293 h 7458372"/>
              <a:gd name="connsiteX23578" fmla="*/ 10454145 w 10505529"/>
              <a:gd name="connsiteY23578" fmla="*/ 3532774 h 7458372"/>
              <a:gd name="connsiteX23579" fmla="*/ 10445759 w 10505529"/>
              <a:gd name="connsiteY23579" fmla="*/ 3511608 h 7458372"/>
              <a:gd name="connsiteX23580" fmla="*/ 10454145 w 10505529"/>
              <a:gd name="connsiteY23580" fmla="*/ 3490575 h 7458372"/>
              <a:gd name="connsiteX23581" fmla="*/ 10475977 w 10505529"/>
              <a:gd name="connsiteY23581" fmla="*/ 3481923 h 7458372"/>
              <a:gd name="connsiteX23582" fmla="*/ 10258466 w 10505529"/>
              <a:gd name="connsiteY23582" fmla="*/ 3481923 h 7458372"/>
              <a:gd name="connsiteX23583" fmla="*/ 10270313 w 10505529"/>
              <a:gd name="connsiteY23583" fmla="*/ 3484451 h 7458372"/>
              <a:gd name="connsiteX23584" fmla="*/ 10279631 w 10505529"/>
              <a:gd name="connsiteY23584" fmla="*/ 3490842 h 7458372"/>
              <a:gd name="connsiteX23585" fmla="*/ 10285754 w 10505529"/>
              <a:gd name="connsiteY23585" fmla="*/ 3500292 h 7458372"/>
              <a:gd name="connsiteX23586" fmla="*/ 10288017 w 10505529"/>
              <a:gd name="connsiteY23586" fmla="*/ 3511741 h 7458372"/>
              <a:gd name="connsiteX23587" fmla="*/ 10285754 w 10505529"/>
              <a:gd name="connsiteY23587" fmla="*/ 3523456 h 7458372"/>
              <a:gd name="connsiteX23588" fmla="*/ 10279631 w 10505529"/>
              <a:gd name="connsiteY23588" fmla="*/ 3532774 h 7458372"/>
              <a:gd name="connsiteX23589" fmla="*/ 10270313 w 10505529"/>
              <a:gd name="connsiteY23589" fmla="*/ 3539030 h 7458372"/>
              <a:gd name="connsiteX23590" fmla="*/ 10258466 w 10505529"/>
              <a:gd name="connsiteY23590" fmla="*/ 3541293 h 7458372"/>
              <a:gd name="connsiteX23591" fmla="*/ 10236633 w 10505529"/>
              <a:gd name="connsiteY23591" fmla="*/ 3532774 h 7458372"/>
              <a:gd name="connsiteX23592" fmla="*/ 10228247 w 10505529"/>
              <a:gd name="connsiteY23592" fmla="*/ 3511608 h 7458372"/>
              <a:gd name="connsiteX23593" fmla="*/ 10236633 w 10505529"/>
              <a:gd name="connsiteY23593" fmla="*/ 3490575 h 7458372"/>
              <a:gd name="connsiteX23594" fmla="*/ 10258466 w 10505529"/>
              <a:gd name="connsiteY23594" fmla="*/ 3481923 h 7458372"/>
              <a:gd name="connsiteX23595" fmla="*/ 10040820 w 10505529"/>
              <a:gd name="connsiteY23595" fmla="*/ 3481923 h 7458372"/>
              <a:gd name="connsiteX23596" fmla="*/ 10052534 w 10505529"/>
              <a:gd name="connsiteY23596" fmla="*/ 3484451 h 7458372"/>
              <a:gd name="connsiteX23597" fmla="*/ 10061852 w 10505529"/>
              <a:gd name="connsiteY23597" fmla="*/ 3490842 h 7458372"/>
              <a:gd name="connsiteX23598" fmla="*/ 10067976 w 10505529"/>
              <a:gd name="connsiteY23598" fmla="*/ 3500292 h 7458372"/>
              <a:gd name="connsiteX23599" fmla="*/ 10070239 w 10505529"/>
              <a:gd name="connsiteY23599" fmla="*/ 3511741 h 7458372"/>
              <a:gd name="connsiteX23600" fmla="*/ 10067976 w 10505529"/>
              <a:gd name="connsiteY23600" fmla="*/ 3523456 h 7458372"/>
              <a:gd name="connsiteX23601" fmla="*/ 10061852 w 10505529"/>
              <a:gd name="connsiteY23601" fmla="*/ 3532774 h 7458372"/>
              <a:gd name="connsiteX23602" fmla="*/ 10052534 w 10505529"/>
              <a:gd name="connsiteY23602" fmla="*/ 3539030 h 7458372"/>
              <a:gd name="connsiteX23603" fmla="*/ 10040820 w 10505529"/>
              <a:gd name="connsiteY23603" fmla="*/ 3541293 h 7458372"/>
              <a:gd name="connsiteX23604" fmla="*/ 10018988 w 10505529"/>
              <a:gd name="connsiteY23604" fmla="*/ 3532774 h 7458372"/>
              <a:gd name="connsiteX23605" fmla="*/ 10010602 w 10505529"/>
              <a:gd name="connsiteY23605" fmla="*/ 3511608 h 7458372"/>
              <a:gd name="connsiteX23606" fmla="*/ 10018988 w 10505529"/>
              <a:gd name="connsiteY23606" fmla="*/ 3490575 h 7458372"/>
              <a:gd name="connsiteX23607" fmla="*/ 10040820 w 10505529"/>
              <a:gd name="connsiteY23607" fmla="*/ 3481923 h 7458372"/>
              <a:gd name="connsiteX23608" fmla="*/ 9823176 w 10505529"/>
              <a:gd name="connsiteY23608" fmla="*/ 3481923 h 7458372"/>
              <a:gd name="connsiteX23609" fmla="*/ 9834890 w 10505529"/>
              <a:gd name="connsiteY23609" fmla="*/ 3484451 h 7458372"/>
              <a:gd name="connsiteX23610" fmla="*/ 9844208 w 10505529"/>
              <a:gd name="connsiteY23610" fmla="*/ 3490842 h 7458372"/>
              <a:gd name="connsiteX23611" fmla="*/ 9850331 w 10505529"/>
              <a:gd name="connsiteY23611" fmla="*/ 3500292 h 7458372"/>
              <a:gd name="connsiteX23612" fmla="*/ 9852595 w 10505529"/>
              <a:gd name="connsiteY23612" fmla="*/ 3511741 h 7458372"/>
              <a:gd name="connsiteX23613" fmla="*/ 9850331 w 10505529"/>
              <a:gd name="connsiteY23613" fmla="*/ 3523456 h 7458372"/>
              <a:gd name="connsiteX23614" fmla="*/ 9844208 w 10505529"/>
              <a:gd name="connsiteY23614" fmla="*/ 3532774 h 7458372"/>
              <a:gd name="connsiteX23615" fmla="*/ 9834890 w 10505529"/>
              <a:gd name="connsiteY23615" fmla="*/ 3539030 h 7458372"/>
              <a:gd name="connsiteX23616" fmla="*/ 9823176 w 10505529"/>
              <a:gd name="connsiteY23616" fmla="*/ 3541293 h 7458372"/>
              <a:gd name="connsiteX23617" fmla="*/ 9801343 w 10505529"/>
              <a:gd name="connsiteY23617" fmla="*/ 3532774 h 7458372"/>
              <a:gd name="connsiteX23618" fmla="*/ 9792957 w 10505529"/>
              <a:gd name="connsiteY23618" fmla="*/ 3511608 h 7458372"/>
              <a:gd name="connsiteX23619" fmla="*/ 9801343 w 10505529"/>
              <a:gd name="connsiteY23619" fmla="*/ 3490575 h 7458372"/>
              <a:gd name="connsiteX23620" fmla="*/ 9823176 w 10505529"/>
              <a:gd name="connsiteY23620" fmla="*/ 3481923 h 7458372"/>
              <a:gd name="connsiteX23621" fmla="*/ 9605531 w 10505529"/>
              <a:gd name="connsiteY23621" fmla="*/ 3481923 h 7458372"/>
              <a:gd name="connsiteX23622" fmla="*/ 9617245 w 10505529"/>
              <a:gd name="connsiteY23622" fmla="*/ 3484451 h 7458372"/>
              <a:gd name="connsiteX23623" fmla="*/ 9626562 w 10505529"/>
              <a:gd name="connsiteY23623" fmla="*/ 3490842 h 7458372"/>
              <a:gd name="connsiteX23624" fmla="*/ 9632686 w 10505529"/>
              <a:gd name="connsiteY23624" fmla="*/ 3500292 h 7458372"/>
              <a:gd name="connsiteX23625" fmla="*/ 9634949 w 10505529"/>
              <a:gd name="connsiteY23625" fmla="*/ 3511741 h 7458372"/>
              <a:gd name="connsiteX23626" fmla="*/ 9632686 w 10505529"/>
              <a:gd name="connsiteY23626" fmla="*/ 3523456 h 7458372"/>
              <a:gd name="connsiteX23627" fmla="*/ 9626562 w 10505529"/>
              <a:gd name="connsiteY23627" fmla="*/ 3532774 h 7458372"/>
              <a:gd name="connsiteX23628" fmla="*/ 9617245 w 10505529"/>
              <a:gd name="connsiteY23628" fmla="*/ 3539030 h 7458372"/>
              <a:gd name="connsiteX23629" fmla="*/ 9605531 w 10505529"/>
              <a:gd name="connsiteY23629" fmla="*/ 3541293 h 7458372"/>
              <a:gd name="connsiteX23630" fmla="*/ 9583698 w 10505529"/>
              <a:gd name="connsiteY23630" fmla="*/ 3532774 h 7458372"/>
              <a:gd name="connsiteX23631" fmla="*/ 9575312 w 10505529"/>
              <a:gd name="connsiteY23631" fmla="*/ 3511608 h 7458372"/>
              <a:gd name="connsiteX23632" fmla="*/ 9583698 w 10505529"/>
              <a:gd name="connsiteY23632" fmla="*/ 3490575 h 7458372"/>
              <a:gd name="connsiteX23633" fmla="*/ 9605531 w 10505529"/>
              <a:gd name="connsiteY23633" fmla="*/ 3481923 h 7458372"/>
              <a:gd name="connsiteX23634" fmla="*/ 9387885 w 10505529"/>
              <a:gd name="connsiteY23634" fmla="*/ 3481923 h 7458372"/>
              <a:gd name="connsiteX23635" fmla="*/ 9399599 w 10505529"/>
              <a:gd name="connsiteY23635" fmla="*/ 3484451 h 7458372"/>
              <a:gd name="connsiteX23636" fmla="*/ 9408917 w 10505529"/>
              <a:gd name="connsiteY23636" fmla="*/ 3490842 h 7458372"/>
              <a:gd name="connsiteX23637" fmla="*/ 9415041 w 10505529"/>
              <a:gd name="connsiteY23637" fmla="*/ 3500292 h 7458372"/>
              <a:gd name="connsiteX23638" fmla="*/ 9417304 w 10505529"/>
              <a:gd name="connsiteY23638" fmla="*/ 3511741 h 7458372"/>
              <a:gd name="connsiteX23639" fmla="*/ 9415041 w 10505529"/>
              <a:gd name="connsiteY23639" fmla="*/ 3523456 h 7458372"/>
              <a:gd name="connsiteX23640" fmla="*/ 9408917 w 10505529"/>
              <a:gd name="connsiteY23640" fmla="*/ 3532774 h 7458372"/>
              <a:gd name="connsiteX23641" fmla="*/ 9399599 w 10505529"/>
              <a:gd name="connsiteY23641" fmla="*/ 3539030 h 7458372"/>
              <a:gd name="connsiteX23642" fmla="*/ 9387885 w 10505529"/>
              <a:gd name="connsiteY23642" fmla="*/ 3541293 h 7458372"/>
              <a:gd name="connsiteX23643" fmla="*/ 9366053 w 10505529"/>
              <a:gd name="connsiteY23643" fmla="*/ 3532774 h 7458372"/>
              <a:gd name="connsiteX23644" fmla="*/ 9357667 w 10505529"/>
              <a:gd name="connsiteY23644" fmla="*/ 3511608 h 7458372"/>
              <a:gd name="connsiteX23645" fmla="*/ 9366053 w 10505529"/>
              <a:gd name="connsiteY23645" fmla="*/ 3490575 h 7458372"/>
              <a:gd name="connsiteX23646" fmla="*/ 9387885 w 10505529"/>
              <a:gd name="connsiteY23646" fmla="*/ 3481923 h 7458372"/>
              <a:gd name="connsiteX23647" fmla="*/ 9170374 w 10505529"/>
              <a:gd name="connsiteY23647" fmla="*/ 3481923 h 7458372"/>
              <a:gd name="connsiteX23648" fmla="*/ 9182088 w 10505529"/>
              <a:gd name="connsiteY23648" fmla="*/ 3484451 h 7458372"/>
              <a:gd name="connsiteX23649" fmla="*/ 9191405 w 10505529"/>
              <a:gd name="connsiteY23649" fmla="*/ 3490842 h 7458372"/>
              <a:gd name="connsiteX23650" fmla="*/ 9197529 w 10505529"/>
              <a:gd name="connsiteY23650" fmla="*/ 3500292 h 7458372"/>
              <a:gd name="connsiteX23651" fmla="*/ 9199792 w 10505529"/>
              <a:gd name="connsiteY23651" fmla="*/ 3511741 h 7458372"/>
              <a:gd name="connsiteX23652" fmla="*/ 9197529 w 10505529"/>
              <a:gd name="connsiteY23652" fmla="*/ 3523456 h 7458372"/>
              <a:gd name="connsiteX23653" fmla="*/ 9191405 w 10505529"/>
              <a:gd name="connsiteY23653" fmla="*/ 3532774 h 7458372"/>
              <a:gd name="connsiteX23654" fmla="*/ 9182088 w 10505529"/>
              <a:gd name="connsiteY23654" fmla="*/ 3539030 h 7458372"/>
              <a:gd name="connsiteX23655" fmla="*/ 9170374 w 10505529"/>
              <a:gd name="connsiteY23655" fmla="*/ 3541293 h 7458372"/>
              <a:gd name="connsiteX23656" fmla="*/ 9148541 w 10505529"/>
              <a:gd name="connsiteY23656" fmla="*/ 3532774 h 7458372"/>
              <a:gd name="connsiteX23657" fmla="*/ 9140155 w 10505529"/>
              <a:gd name="connsiteY23657" fmla="*/ 3511608 h 7458372"/>
              <a:gd name="connsiteX23658" fmla="*/ 9148541 w 10505529"/>
              <a:gd name="connsiteY23658" fmla="*/ 3490575 h 7458372"/>
              <a:gd name="connsiteX23659" fmla="*/ 9170374 w 10505529"/>
              <a:gd name="connsiteY23659" fmla="*/ 3481923 h 7458372"/>
              <a:gd name="connsiteX23660" fmla="*/ 8952728 w 10505529"/>
              <a:gd name="connsiteY23660" fmla="*/ 3481923 h 7458372"/>
              <a:gd name="connsiteX23661" fmla="*/ 8964442 w 10505529"/>
              <a:gd name="connsiteY23661" fmla="*/ 3484451 h 7458372"/>
              <a:gd name="connsiteX23662" fmla="*/ 8973760 w 10505529"/>
              <a:gd name="connsiteY23662" fmla="*/ 3490842 h 7458372"/>
              <a:gd name="connsiteX23663" fmla="*/ 8979884 w 10505529"/>
              <a:gd name="connsiteY23663" fmla="*/ 3500292 h 7458372"/>
              <a:gd name="connsiteX23664" fmla="*/ 8982147 w 10505529"/>
              <a:gd name="connsiteY23664" fmla="*/ 3511741 h 7458372"/>
              <a:gd name="connsiteX23665" fmla="*/ 8979884 w 10505529"/>
              <a:gd name="connsiteY23665" fmla="*/ 3523456 h 7458372"/>
              <a:gd name="connsiteX23666" fmla="*/ 8973760 w 10505529"/>
              <a:gd name="connsiteY23666" fmla="*/ 3532774 h 7458372"/>
              <a:gd name="connsiteX23667" fmla="*/ 8964442 w 10505529"/>
              <a:gd name="connsiteY23667" fmla="*/ 3539030 h 7458372"/>
              <a:gd name="connsiteX23668" fmla="*/ 8952728 w 10505529"/>
              <a:gd name="connsiteY23668" fmla="*/ 3541293 h 7458372"/>
              <a:gd name="connsiteX23669" fmla="*/ 8930896 w 10505529"/>
              <a:gd name="connsiteY23669" fmla="*/ 3532774 h 7458372"/>
              <a:gd name="connsiteX23670" fmla="*/ 8922510 w 10505529"/>
              <a:gd name="connsiteY23670" fmla="*/ 3511608 h 7458372"/>
              <a:gd name="connsiteX23671" fmla="*/ 8930896 w 10505529"/>
              <a:gd name="connsiteY23671" fmla="*/ 3490575 h 7458372"/>
              <a:gd name="connsiteX23672" fmla="*/ 8952728 w 10505529"/>
              <a:gd name="connsiteY23672" fmla="*/ 3481923 h 7458372"/>
              <a:gd name="connsiteX23673" fmla="*/ 8735083 w 10505529"/>
              <a:gd name="connsiteY23673" fmla="*/ 3481923 h 7458372"/>
              <a:gd name="connsiteX23674" fmla="*/ 8746797 w 10505529"/>
              <a:gd name="connsiteY23674" fmla="*/ 3484451 h 7458372"/>
              <a:gd name="connsiteX23675" fmla="*/ 8756115 w 10505529"/>
              <a:gd name="connsiteY23675" fmla="*/ 3490842 h 7458372"/>
              <a:gd name="connsiteX23676" fmla="*/ 8762238 w 10505529"/>
              <a:gd name="connsiteY23676" fmla="*/ 3500292 h 7458372"/>
              <a:gd name="connsiteX23677" fmla="*/ 8764502 w 10505529"/>
              <a:gd name="connsiteY23677" fmla="*/ 3511741 h 7458372"/>
              <a:gd name="connsiteX23678" fmla="*/ 8762238 w 10505529"/>
              <a:gd name="connsiteY23678" fmla="*/ 3523456 h 7458372"/>
              <a:gd name="connsiteX23679" fmla="*/ 8756115 w 10505529"/>
              <a:gd name="connsiteY23679" fmla="*/ 3532774 h 7458372"/>
              <a:gd name="connsiteX23680" fmla="*/ 8746797 w 10505529"/>
              <a:gd name="connsiteY23680" fmla="*/ 3539030 h 7458372"/>
              <a:gd name="connsiteX23681" fmla="*/ 8735083 w 10505529"/>
              <a:gd name="connsiteY23681" fmla="*/ 3541293 h 7458372"/>
              <a:gd name="connsiteX23682" fmla="*/ 8713250 w 10505529"/>
              <a:gd name="connsiteY23682" fmla="*/ 3532774 h 7458372"/>
              <a:gd name="connsiteX23683" fmla="*/ 8704864 w 10505529"/>
              <a:gd name="connsiteY23683" fmla="*/ 3511608 h 7458372"/>
              <a:gd name="connsiteX23684" fmla="*/ 8713250 w 10505529"/>
              <a:gd name="connsiteY23684" fmla="*/ 3490575 h 7458372"/>
              <a:gd name="connsiteX23685" fmla="*/ 8735083 w 10505529"/>
              <a:gd name="connsiteY23685" fmla="*/ 3481923 h 7458372"/>
              <a:gd name="connsiteX23686" fmla="*/ 8517438 w 10505529"/>
              <a:gd name="connsiteY23686" fmla="*/ 3481923 h 7458372"/>
              <a:gd name="connsiteX23687" fmla="*/ 8529152 w 10505529"/>
              <a:gd name="connsiteY23687" fmla="*/ 3484451 h 7458372"/>
              <a:gd name="connsiteX23688" fmla="*/ 8538470 w 10505529"/>
              <a:gd name="connsiteY23688" fmla="*/ 3490842 h 7458372"/>
              <a:gd name="connsiteX23689" fmla="*/ 8544594 w 10505529"/>
              <a:gd name="connsiteY23689" fmla="*/ 3500292 h 7458372"/>
              <a:gd name="connsiteX23690" fmla="*/ 8546857 w 10505529"/>
              <a:gd name="connsiteY23690" fmla="*/ 3511741 h 7458372"/>
              <a:gd name="connsiteX23691" fmla="*/ 8544594 w 10505529"/>
              <a:gd name="connsiteY23691" fmla="*/ 3523456 h 7458372"/>
              <a:gd name="connsiteX23692" fmla="*/ 8538470 w 10505529"/>
              <a:gd name="connsiteY23692" fmla="*/ 3532774 h 7458372"/>
              <a:gd name="connsiteX23693" fmla="*/ 8529152 w 10505529"/>
              <a:gd name="connsiteY23693" fmla="*/ 3539030 h 7458372"/>
              <a:gd name="connsiteX23694" fmla="*/ 8517438 w 10505529"/>
              <a:gd name="connsiteY23694" fmla="*/ 3541293 h 7458372"/>
              <a:gd name="connsiteX23695" fmla="*/ 8495606 w 10505529"/>
              <a:gd name="connsiteY23695" fmla="*/ 3532774 h 7458372"/>
              <a:gd name="connsiteX23696" fmla="*/ 8487220 w 10505529"/>
              <a:gd name="connsiteY23696" fmla="*/ 3511608 h 7458372"/>
              <a:gd name="connsiteX23697" fmla="*/ 8495606 w 10505529"/>
              <a:gd name="connsiteY23697" fmla="*/ 3490575 h 7458372"/>
              <a:gd name="connsiteX23698" fmla="*/ 8517438 w 10505529"/>
              <a:gd name="connsiteY23698" fmla="*/ 3481923 h 7458372"/>
              <a:gd name="connsiteX23699" fmla="*/ 8299793 w 10505529"/>
              <a:gd name="connsiteY23699" fmla="*/ 3481923 h 7458372"/>
              <a:gd name="connsiteX23700" fmla="*/ 8311507 w 10505529"/>
              <a:gd name="connsiteY23700" fmla="*/ 3484451 h 7458372"/>
              <a:gd name="connsiteX23701" fmla="*/ 8320825 w 10505529"/>
              <a:gd name="connsiteY23701" fmla="*/ 3490842 h 7458372"/>
              <a:gd name="connsiteX23702" fmla="*/ 8326948 w 10505529"/>
              <a:gd name="connsiteY23702" fmla="*/ 3500292 h 7458372"/>
              <a:gd name="connsiteX23703" fmla="*/ 8329212 w 10505529"/>
              <a:gd name="connsiteY23703" fmla="*/ 3511741 h 7458372"/>
              <a:gd name="connsiteX23704" fmla="*/ 8326948 w 10505529"/>
              <a:gd name="connsiteY23704" fmla="*/ 3523456 h 7458372"/>
              <a:gd name="connsiteX23705" fmla="*/ 8320825 w 10505529"/>
              <a:gd name="connsiteY23705" fmla="*/ 3532774 h 7458372"/>
              <a:gd name="connsiteX23706" fmla="*/ 8311507 w 10505529"/>
              <a:gd name="connsiteY23706" fmla="*/ 3539030 h 7458372"/>
              <a:gd name="connsiteX23707" fmla="*/ 8299793 w 10505529"/>
              <a:gd name="connsiteY23707" fmla="*/ 3541293 h 7458372"/>
              <a:gd name="connsiteX23708" fmla="*/ 8277960 w 10505529"/>
              <a:gd name="connsiteY23708" fmla="*/ 3532774 h 7458372"/>
              <a:gd name="connsiteX23709" fmla="*/ 8269574 w 10505529"/>
              <a:gd name="connsiteY23709" fmla="*/ 3511608 h 7458372"/>
              <a:gd name="connsiteX23710" fmla="*/ 8277960 w 10505529"/>
              <a:gd name="connsiteY23710" fmla="*/ 3490575 h 7458372"/>
              <a:gd name="connsiteX23711" fmla="*/ 8299793 w 10505529"/>
              <a:gd name="connsiteY23711" fmla="*/ 3481923 h 7458372"/>
              <a:gd name="connsiteX23712" fmla="*/ 8082281 w 10505529"/>
              <a:gd name="connsiteY23712" fmla="*/ 3481923 h 7458372"/>
              <a:gd name="connsiteX23713" fmla="*/ 8094127 w 10505529"/>
              <a:gd name="connsiteY23713" fmla="*/ 3484451 h 7458372"/>
              <a:gd name="connsiteX23714" fmla="*/ 8103446 w 10505529"/>
              <a:gd name="connsiteY23714" fmla="*/ 3490842 h 7458372"/>
              <a:gd name="connsiteX23715" fmla="*/ 8109569 w 10505529"/>
              <a:gd name="connsiteY23715" fmla="*/ 3500292 h 7458372"/>
              <a:gd name="connsiteX23716" fmla="*/ 8111832 w 10505529"/>
              <a:gd name="connsiteY23716" fmla="*/ 3511741 h 7458372"/>
              <a:gd name="connsiteX23717" fmla="*/ 8109569 w 10505529"/>
              <a:gd name="connsiteY23717" fmla="*/ 3523456 h 7458372"/>
              <a:gd name="connsiteX23718" fmla="*/ 8103446 w 10505529"/>
              <a:gd name="connsiteY23718" fmla="*/ 3532774 h 7458372"/>
              <a:gd name="connsiteX23719" fmla="*/ 8094127 w 10505529"/>
              <a:gd name="connsiteY23719" fmla="*/ 3539030 h 7458372"/>
              <a:gd name="connsiteX23720" fmla="*/ 8082281 w 10505529"/>
              <a:gd name="connsiteY23720" fmla="*/ 3541293 h 7458372"/>
              <a:gd name="connsiteX23721" fmla="*/ 8060448 w 10505529"/>
              <a:gd name="connsiteY23721" fmla="*/ 3532774 h 7458372"/>
              <a:gd name="connsiteX23722" fmla="*/ 8052062 w 10505529"/>
              <a:gd name="connsiteY23722" fmla="*/ 3511608 h 7458372"/>
              <a:gd name="connsiteX23723" fmla="*/ 8060448 w 10505529"/>
              <a:gd name="connsiteY23723" fmla="*/ 3490575 h 7458372"/>
              <a:gd name="connsiteX23724" fmla="*/ 8082281 w 10505529"/>
              <a:gd name="connsiteY23724" fmla="*/ 3481923 h 7458372"/>
              <a:gd name="connsiteX23725" fmla="*/ 7864636 w 10505529"/>
              <a:gd name="connsiteY23725" fmla="*/ 3481923 h 7458372"/>
              <a:gd name="connsiteX23726" fmla="*/ 7876483 w 10505529"/>
              <a:gd name="connsiteY23726" fmla="*/ 3484451 h 7458372"/>
              <a:gd name="connsiteX23727" fmla="*/ 7885802 w 10505529"/>
              <a:gd name="connsiteY23727" fmla="*/ 3490842 h 7458372"/>
              <a:gd name="connsiteX23728" fmla="*/ 7891924 w 10505529"/>
              <a:gd name="connsiteY23728" fmla="*/ 3500292 h 7458372"/>
              <a:gd name="connsiteX23729" fmla="*/ 7894188 w 10505529"/>
              <a:gd name="connsiteY23729" fmla="*/ 3511741 h 7458372"/>
              <a:gd name="connsiteX23730" fmla="*/ 7891924 w 10505529"/>
              <a:gd name="connsiteY23730" fmla="*/ 3523456 h 7458372"/>
              <a:gd name="connsiteX23731" fmla="*/ 7885802 w 10505529"/>
              <a:gd name="connsiteY23731" fmla="*/ 3532774 h 7458372"/>
              <a:gd name="connsiteX23732" fmla="*/ 7876483 w 10505529"/>
              <a:gd name="connsiteY23732" fmla="*/ 3539030 h 7458372"/>
              <a:gd name="connsiteX23733" fmla="*/ 7864636 w 10505529"/>
              <a:gd name="connsiteY23733" fmla="*/ 3541293 h 7458372"/>
              <a:gd name="connsiteX23734" fmla="*/ 7842803 w 10505529"/>
              <a:gd name="connsiteY23734" fmla="*/ 3532774 h 7458372"/>
              <a:gd name="connsiteX23735" fmla="*/ 7834417 w 10505529"/>
              <a:gd name="connsiteY23735" fmla="*/ 3511608 h 7458372"/>
              <a:gd name="connsiteX23736" fmla="*/ 7842803 w 10505529"/>
              <a:gd name="connsiteY23736" fmla="*/ 3490575 h 7458372"/>
              <a:gd name="connsiteX23737" fmla="*/ 7864636 w 10505529"/>
              <a:gd name="connsiteY23737" fmla="*/ 3481923 h 7458372"/>
              <a:gd name="connsiteX23738" fmla="*/ 7646991 w 10505529"/>
              <a:gd name="connsiteY23738" fmla="*/ 3481923 h 7458372"/>
              <a:gd name="connsiteX23739" fmla="*/ 7658705 w 10505529"/>
              <a:gd name="connsiteY23739" fmla="*/ 3484451 h 7458372"/>
              <a:gd name="connsiteX23740" fmla="*/ 7668022 w 10505529"/>
              <a:gd name="connsiteY23740" fmla="*/ 3490842 h 7458372"/>
              <a:gd name="connsiteX23741" fmla="*/ 7674146 w 10505529"/>
              <a:gd name="connsiteY23741" fmla="*/ 3500292 h 7458372"/>
              <a:gd name="connsiteX23742" fmla="*/ 7676409 w 10505529"/>
              <a:gd name="connsiteY23742" fmla="*/ 3511741 h 7458372"/>
              <a:gd name="connsiteX23743" fmla="*/ 7674146 w 10505529"/>
              <a:gd name="connsiteY23743" fmla="*/ 3523456 h 7458372"/>
              <a:gd name="connsiteX23744" fmla="*/ 7668022 w 10505529"/>
              <a:gd name="connsiteY23744" fmla="*/ 3532774 h 7458372"/>
              <a:gd name="connsiteX23745" fmla="*/ 7658705 w 10505529"/>
              <a:gd name="connsiteY23745" fmla="*/ 3539030 h 7458372"/>
              <a:gd name="connsiteX23746" fmla="*/ 7646991 w 10505529"/>
              <a:gd name="connsiteY23746" fmla="*/ 3541293 h 7458372"/>
              <a:gd name="connsiteX23747" fmla="*/ 7625158 w 10505529"/>
              <a:gd name="connsiteY23747" fmla="*/ 3532774 h 7458372"/>
              <a:gd name="connsiteX23748" fmla="*/ 7616772 w 10505529"/>
              <a:gd name="connsiteY23748" fmla="*/ 3511608 h 7458372"/>
              <a:gd name="connsiteX23749" fmla="*/ 7625158 w 10505529"/>
              <a:gd name="connsiteY23749" fmla="*/ 3490575 h 7458372"/>
              <a:gd name="connsiteX23750" fmla="*/ 7646991 w 10505529"/>
              <a:gd name="connsiteY23750" fmla="*/ 3481923 h 7458372"/>
              <a:gd name="connsiteX23751" fmla="*/ 7429345 w 10505529"/>
              <a:gd name="connsiteY23751" fmla="*/ 3481923 h 7458372"/>
              <a:gd name="connsiteX23752" fmla="*/ 7441059 w 10505529"/>
              <a:gd name="connsiteY23752" fmla="*/ 3484451 h 7458372"/>
              <a:gd name="connsiteX23753" fmla="*/ 7450377 w 10505529"/>
              <a:gd name="connsiteY23753" fmla="*/ 3490842 h 7458372"/>
              <a:gd name="connsiteX23754" fmla="*/ 7456501 w 10505529"/>
              <a:gd name="connsiteY23754" fmla="*/ 3500292 h 7458372"/>
              <a:gd name="connsiteX23755" fmla="*/ 7458764 w 10505529"/>
              <a:gd name="connsiteY23755" fmla="*/ 3511741 h 7458372"/>
              <a:gd name="connsiteX23756" fmla="*/ 7456501 w 10505529"/>
              <a:gd name="connsiteY23756" fmla="*/ 3523456 h 7458372"/>
              <a:gd name="connsiteX23757" fmla="*/ 7450377 w 10505529"/>
              <a:gd name="connsiteY23757" fmla="*/ 3532774 h 7458372"/>
              <a:gd name="connsiteX23758" fmla="*/ 7441059 w 10505529"/>
              <a:gd name="connsiteY23758" fmla="*/ 3539030 h 7458372"/>
              <a:gd name="connsiteX23759" fmla="*/ 7429345 w 10505529"/>
              <a:gd name="connsiteY23759" fmla="*/ 3541293 h 7458372"/>
              <a:gd name="connsiteX23760" fmla="*/ 7407513 w 10505529"/>
              <a:gd name="connsiteY23760" fmla="*/ 3532774 h 7458372"/>
              <a:gd name="connsiteX23761" fmla="*/ 7399127 w 10505529"/>
              <a:gd name="connsiteY23761" fmla="*/ 3511608 h 7458372"/>
              <a:gd name="connsiteX23762" fmla="*/ 7407513 w 10505529"/>
              <a:gd name="connsiteY23762" fmla="*/ 3490575 h 7458372"/>
              <a:gd name="connsiteX23763" fmla="*/ 7429345 w 10505529"/>
              <a:gd name="connsiteY23763" fmla="*/ 3481923 h 7458372"/>
              <a:gd name="connsiteX23764" fmla="*/ 7211701 w 10505529"/>
              <a:gd name="connsiteY23764" fmla="*/ 3481923 h 7458372"/>
              <a:gd name="connsiteX23765" fmla="*/ 7223415 w 10505529"/>
              <a:gd name="connsiteY23765" fmla="*/ 3484451 h 7458372"/>
              <a:gd name="connsiteX23766" fmla="*/ 7232733 w 10505529"/>
              <a:gd name="connsiteY23766" fmla="*/ 3490842 h 7458372"/>
              <a:gd name="connsiteX23767" fmla="*/ 7238856 w 10505529"/>
              <a:gd name="connsiteY23767" fmla="*/ 3500292 h 7458372"/>
              <a:gd name="connsiteX23768" fmla="*/ 7241120 w 10505529"/>
              <a:gd name="connsiteY23768" fmla="*/ 3511741 h 7458372"/>
              <a:gd name="connsiteX23769" fmla="*/ 7238856 w 10505529"/>
              <a:gd name="connsiteY23769" fmla="*/ 3523456 h 7458372"/>
              <a:gd name="connsiteX23770" fmla="*/ 7232733 w 10505529"/>
              <a:gd name="connsiteY23770" fmla="*/ 3532774 h 7458372"/>
              <a:gd name="connsiteX23771" fmla="*/ 7223415 w 10505529"/>
              <a:gd name="connsiteY23771" fmla="*/ 3539030 h 7458372"/>
              <a:gd name="connsiteX23772" fmla="*/ 7211701 w 10505529"/>
              <a:gd name="connsiteY23772" fmla="*/ 3541293 h 7458372"/>
              <a:gd name="connsiteX23773" fmla="*/ 7189868 w 10505529"/>
              <a:gd name="connsiteY23773" fmla="*/ 3532774 h 7458372"/>
              <a:gd name="connsiteX23774" fmla="*/ 7181482 w 10505529"/>
              <a:gd name="connsiteY23774" fmla="*/ 3511608 h 7458372"/>
              <a:gd name="connsiteX23775" fmla="*/ 7189868 w 10505529"/>
              <a:gd name="connsiteY23775" fmla="*/ 3490575 h 7458372"/>
              <a:gd name="connsiteX23776" fmla="*/ 7211701 w 10505529"/>
              <a:gd name="connsiteY23776" fmla="*/ 3481923 h 7458372"/>
              <a:gd name="connsiteX23777" fmla="*/ 6994056 w 10505529"/>
              <a:gd name="connsiteY23777" fmla="*/ 3481923 h 7458372"/>
              <a:gd name="connsiteX23778" fmla="*/ 7005769 w 10505529"/>
              <a:gd name="connsiteY23778" fmla="*/ 3484451 h 7458372"/>
              <a:gd name="connsiteX23779" fmla="*/ 7015087 w 10505529"/>
              <a:gd name="connsiteY23779" fmla="*/ 3490842 h 7458372"/>
              <a:gd name="connsiteX23780" fmla="*/ 7021211 w 10505529"/>
              <a:gd name="connsiteY23780" fmla="*/ 3500292 h 7458372"/>
              <a:gd name="connsiteX23781" fmla="*/ 7023474 w 10505529"/>
              <a:gd name="connsiteY23781" fmla="*/ 3511741 h 7458372"/>
              <a:gd name="connsiteX23782" fmla="*/ 7021211 w 10505529"/>
              <a:gd name="connsiteY23782" fmla="*/ 3523456 h 7458372"/>
              <a:gd name="connsiteX23783" fmla="*/ 7015087 w 10505529"/>
              <a:gd name="connsiteY23783" fmla="*/ 3532774 h 7458372"/>
              <a:gd name="connsiteX23784" fmla="*/ 7005769 w 10505529"/>
              <a:gd name="connsiteY23784" fmla="*/ 3539030 h 7458372"/>
              <a:gd name="connsiteX23785" fmla="*/ 6994056 w 10505529"/>
              <a:gd name="connsiteY23785" fmla="*/ 3541293 h 7458372"/>
              <a:gd name="connsiteX23786" fmla="*/ 6972223 w 10505529"/>
              <a:gd name="connsiteY23786" fmla="*/ 3532774 h 7458372"/>
              <a:gd name="connsiteX23787" fmla="*/ 6963837 w 10505529"/>
              <a:gd name="connsiteY23787" fmla="*/ 3511608 h 7458372"/>
              <a:gd name="connsiteX23788" fmla="*/ 6972223 w 10505529"/>
              <a:gd name="connsiteY23788" fmla="*/ 3490575 h 7458372"/>
              <a:gd name="connsiteX23789" fmla="*/ 6994056 w 10505529"/>
              <a:gd name="connsiteY23789" fmla="*/ 3481923 h 7458372"/>
              <a:gd name="connsiteX23790" fmla="*/ 6776544 w 10505529"/>
              <a:gd name="connsiteY23790" fmla="*/ 3481923 h 7458372"/>
              <a:gd name="connsiteX23791" fmla="*/ 6788258 w 10505529"/>
              <a:gd name="connsiteY23791" fmla="*/ 3484451 h 7458372"/>
              <a:gd name="connsiteX23792" fmla="*/ 6797576 w 10505529"/>
              <a:gd name="connsiteY23792" fmla="*/ 3490842 h 7458372"/>
              <a:gd name="connsiteX23793" fmla="*/ 6803699 w 10505529"/>
              <a:gd name="connsiteY23793" fmla="*/ 3500292 h 7458372"/>
              <a:gd name="connsiteX23794" fmla="*/ 6805963 w 10505529"/>
              <a:gd name="connsiteY23794" fmla="*/ 3511741 h 7458372"/>
              <a:gd name="connsiteX23795" fmla="*/ 6803699 w 10505529"/>
              <a:gd name="connsiteY23795" fmla="*/ 3523456 h 7458372"/>
              <a:gd name="connsiteX23796" fmla="*/ 6797576 w 10505529"/>
              <a:gd name="connsiteY23796" fmla="*/ 3532774 h 7458372"/>
              <a:gd name="connsiteX23797" fmla="*/ 6788258 w 10505529"/>
              <a:gd name="connsiteY23797" fmla="*/ 3539030 h 7458372"/>
              <a:gd name="connsiteX23798" fmla="*/ 6776544 w 10505529"/>
              <a:gd name="connsiteY23798" fmla="*/ 3541293 h 7458372"/>
              <a:gd name="connsiteX23799" fmla="*/ 6754711 w 10505529"/>
              <a:gd name="connsiteY23799" fmla="*/ 3532774 h 7458372"/>
              <a:gd name="connsiteX23800" fmla="*/ 6746325 w 10505529"/>
              <a:gd name="connsiteY23800" fmla="*/ 3511608 h 7458372"/>
              <a:gd name="connsiteX23801" fmla="*/ 6754711 w 10505529"/>
              <a:gd name="connsiteY23801" fmla="*/ 3490575 h 7458372"/>
              <a:gd name="connsiteX23802" fmla="*/ 6776544 w 10505529"/>
              <a:gd name="connsiteY23802" fmla="*/ 3481923 h 7458372"/>
              <a:gd name="connsiteX23803" fmla="*/ 6558899 w 10505529"/>
              <a:gd name="connsiteY23803" fmla="*/ 3481923 h 7458372"/>
              <a:gd name="connsiteX23804" fmla="*/ 6570612 w 10505529"/>
              <a:gd name="connsiteY23804" fmla="*/ 3484451 h 7458372"/>
              <a:gd name="connsiteX23805" fmla="*/ 6579930 w 10505529"/>
              <a:gd name="connsiteY23805" fmla="*/ 3490842 h 7458372"/>
              <a:gd name="connsiteX23806" fmla="*/ 6586054 w 10505529"/>
              <a:gd name="connsiteY23806" fmla="*/ 3500292 h 7458372"/>
              <a:gd name="connsiteX23807" fmla="*/ 6588317 w 10505529"/>
              <a:gd name="connsiteY23807" fmla="*/ 3511741 h 7458372"/>
              <a:gd name="connsiteX23808" fmla="*/ 6586054 w 10505529"/>
              <a:gd name="connsiteY23808" fmla="*/ 3523456 h 7458372"/>
              <a:gd name="connsiteX23809" fmla="*/ 6579930 w 10505529"/>
              <a:gd name="connsiteY23809" fmla="*/ 3532774 h 7458372"/>
              <a:gd name="connsiteX23810" fmla="*/ 6570612 w 10505529"/>
              <a:gd name="connsiteY23810" fmla="*/ 3539030 h 7458372"/>
              <a:gd name="connsiteX23811" fmla="*/ 6558899 w 10505529"/>
              <a:gd name="connsiteY23811" fmla="*/ 3541293 h 7458372"/>
              <a:gd name="connsiteX23812" fmla="*/ 6537066 w 10505529"/>
              <a:gd name="connsiteY23812" fmla="*/ 3532774 h 7458372"/>
              <a:gd name="connsiteX23813" fmla="*/ 6528680 w 10505529"/>
              <a:gd name="connsiteY23813" fmla="*/ 3511608 h 7458372"/>
              <a:gd name="connsiteX23814" fmla="*/ 6537066 w 10505529"/>
              <a:gd name="connsiteY23814" fmla="*/ 3490575 h 7458372"/>
              <a:gd name="connsiteX23815" fmla="*/ 6558899 w 10505529"/>
              <a:gd name="connsiteY23815" fmla="*/ 3481923 h 7458372"/>
              <a:gd name="connsiteX23816" fmla="*/ 6341253 w 10505529"/>
              <a:gd name="connsiteY23816" fmla="*/ 3481923 h 7458372"/>
              <a:gd name="connsiteX23817" fmla="*/ 6352968 w 10505529"/>
              <a:gd name="connsiteY23817" fmla="*/ 3484451 h 7458372"/>
              <a:gd name="connsiteX23818" fmla="*/ 6362286 w 10505529"/>
              <a:gd name="connsiteY23818" fmla="*/ 3490842 h 7458372"/>
              <a:gd name="connsiteX23819" fmla="*/ 6368409 w 10505529"/>
              <a:gd name="connsiteY23819" fmla="*/ 3500292 h 7458372"/>
              <a:gd name="connsiteX23820" fmla="*/ 6370672 w 10505529"/>
              <a:gd name="connsiteY23820" fmla="*/ 3511741 h 7458372"/>
              <a:gd name="connsiteX23821" fmla="*/ 6368409 w 10505529"/>
              <a:gd name="connsiteY23821" fmla="*/ 3523456 h 7458372"/>
              <a:gd name="connsiteX23822" fmla="*/ 6362286 w 10505529"/>
              <a:gd name="connsiteY23822" fmla="*/ 3532774 h 7458372"/>
              <a:gd name="connsiteX23823" fmla="*/ 6352968 w 10505529"/>
              <a:gd name="connsiteY23823" fmla="*/ 3539030 h 7458372"/>
              <a:gd name="connsiteX23824" fmla="*/ 6341253 w 10505529"/>
              <a:gd name="connsiteY23824" fmla="*/ 3541293 h 7458372"/>
              <a:gd name="connsiteX23825" fmla="*/ 6319421 w 10505529"/>
              <a:gd name="connsiteY23825" fmla="*/ 3532774 h 7458372"/>
              <a:gd name="connsiteX23826" fmla="*/ 6311035 w 10505529"/>
              <a:gd name="connsiteY23826" fmla="*/ 3511608 h 7458372"/>
              <a:gd name="connsiteX23827" fmla="*/ 6319421 w 10505529"/>
              <a:gd name="connsiteY23827" fmla="*/ 3490575 h 7458372"/>
              <a:gd name="connsiteX23828" fmla="*/ 6341253 w 10505529"/>
              <a:gd name="connsiteY23828" fmla="*/ 3481923 h 7458372"/>
              <a:gd name="connsiteX23829" fmla="*/ 6123608 w 10505529"/>
              <a:gd name="connsiteY23829" fmla="*/ 3481923 h 7458372"/>
              <a:gd name="connsiteX23830" fmla="*/ 6135322 w 10505529"/>
              <a:gd name="connsiteY23830" fmla="*/ 3484451 h 7458372"/>
              <a:gd name="connsiteX23831" fmla="*/ 6144640 w 10505529"/>
              <a:gd name="connsiteY23831" fmla="*/ 3490842 h 7458372"/>
              <a:gd name="connsiteX23832" fmla="*/ 6150763 w 10505529"/>
              <a:gd name="connsiteY23832" fmla="*/ 3500292 h 7458372"/>
              <a:gd name="connsiteX23833" fmla="*/ 6153026 w 10505529"/>
              <a:gd name="connsiteY23833" fmla="*/ 3511741 h 7458372"/>
              <a:gd name="connsiteX23834" fmla="*/ 6150763 w 10505529"/>
              <a:gd name="connsiteY23834" fmla="*/ 3523456 h 7458372"/>
              <a:gd name="connsiteX23835" fmla="*/ 6144640 w 10505529"/>
              <a:gd name="connsiteY23835" fmla="*/ 3532774 h 7458372"/>
              <a:gd name="connsiteX23836" fmla="*/ 6135322 w 10505529"/>
              <a:gd name="connsiteY23836" fmla="*/ 3539030 h 7458372"/>
              <a:gd name="connsiteX23837" fmla="*/ 6123608 w 10505529"/>
              <a:gd name="connsiteY23837" fmla="*/ 3541293 h 7458372"/>
              <a:gd name="connsiteX23838" fmla="*/ 6101775 w 10505529"/>
              <a:gd name="connsiteY23838" fmla="*/ 3532774 h 7458372"/>
              <a:gd name="connsiteX23839" fmla="*/ 6093389 w 10505529"/>
              <a:gd name="connsiteY23839" fmla="*/ 3511608 h 7458372"/>
              <a:gd name="connsiteX23840" fmla="*/ 6101775 w 10505529"/>
              <a:gd name="connsiteY23840" fmla="*/ 3490575 h 7458372"/>
              <a:gd name="connsiteX23841" fmla="*/ 6123608 w 10505529"/>
              <a:gd name="connsiteY23841" fmla="*/ 3481923 h 7458372"/>
              <a:gd name="connsiteX23842" fmla="*/ 5905963 w 10505529"/>
              <a:gd name="connsiteY23842" fmla="*/ 3481923 h 7458372"/>
              <a:gd name="connsiteX23843" fmla="*/ 5917677 w 10505529"/>
              <a:gd name="connsiteY23843" fmla="*/ 3484451 h 7458372"/>
              <a:gd name="connsiteX23844" fmla="*/ 5926995 w 10505529"/>
              <a:gd name="connsiteY23844" fmla="*/ 3490842 h 7458372"/>
              <a:gd name="connsiteX23845" fmla="*/ 5933118 w 10505529"/>
              <a:gd name="connsiteY23845" fmla="*/ 3500292 h 7458372"/>
              <a:gd name="connsiteX23846" fmla="*/ 5935381 w 10505529"/>
              <a:gd name="connsiteY23846" fmla="*/ 3511741 h 7458372"/>
              <a:gd name="connsiteX23847" fmla="*/ 5933118 w 10505529"/>
              <a:gd name="connsiteY23847" fmla="*/ 3523456 h 7458372"/>
              <a:gd name="connsiteX23848" fmla="*/ 5926995 w 10505529"/>
              <a:gd name="connsiteY23848" fmla="*/ 3532774 h 7458372"/>
              <a:gd name="connsiteX23849" fmla="*/ 5917677 w 10505529"/>
              <a:gd name="connsiteY23849" fmla="*/ 3539030 h 7458372"/>
              <a:gd name="connsiteX23850" fmla="*/ 5905963 w 10505529"/>
              <a:gd name="connsiteY23850" fmla="*/ 3541293 h 7458372"/>
              <a:gd name="connsiteX23851" fmla="*/ 5884130 w 10505529"/>
              <a:gd name="connsiteY23851" fmla="*/ 3532774 h 7458372"/>
              <a:gd name="connsiteX23852" fmla="*/ 5875744 w 10505529"/>
              <a:gd name="connsiteY23852" fmla="*/ 3511608 h 7458372"/>
              <a:gd name="connsiteX23853" fmla="*/ 5884130 w 10505529"/>
              <a:gd name="connsiteY23853" fmla="*/ 3490575 h 7458372"/>
              <a:gd name="connsiteX23854" fmla="*/ 5905963 w 10505529"/>
              <a:gd name="connsiteY23854" fmla="*/ 3481923 h 7458372"/>
              <a:gd name="connsiteX23855" fmla="*/ 5688451 w 10505529"/>
              <a:gd name="connsiteY23855" fmla="*/ 3481923 h 7458372"/>
              <a:gd name="connsiteX23856" fmla="*/ 5700165 w 10505529"/>
              <a:gd name="connsiteY23856" fmla="*/ 3484451 h 7458372"/>
              <a:gd name="connsiteX23857" fmla="*/ 5709483 w 10505529"/>
              <a:gd name="connsiteY23857" fmla="*/ 3490842 h 7458372"/>
              <a:gd name="connsiteX23858" fmla="*/ 5715606 w 10505529"/>
              <a:gd name="connsiteY23858" fmla="*/ 3500292 h 7458372"/>
              <a:gd name="connsiteX23859" fmla="*/ 5717869 w 10505529"/>
              <a:gd name="connsiteY23859" fmla="*/ 3511741 h 7458372"/>
              <a:gd name="connsiteX23860" fmla="*/ 5715606 w 10505529"/>
              <a:gd name="connsiteY23860" fmla="*/ 3523456 h 7458372"/>
              <a:gd name="connsiteX23861" fmla="*/ 5709483 w 10505529"/>
              <a:gd name="connsiteY23861" fmla="*/ 3532774 h 7458372"/>
              <a:gd name="connsiteX23862" fmla="*/ 5700165 w 10505529"/>
              <a:gd name="connsiteY23862" fmla="*/ 3539030 h 7458372"/>
              <a:gd name="connsiteX23863" fmla="*/ 5688451 w 10505529"/>
              <a:gd name="connsiteY23863" fmla="*/ 3541293 h 7458372"/>
              <a:gd name="connsiteX23864" fmla="*/ 5666618 w 10505529"/>
              <a:gd name="connsiteY23864" fmla="*/ 3532774 h 7458372"/>
              <a:gd name="connsiteX23865" fmla="*/ 5658232 w 10505529"/>
              <a:gd name="connsiteY23865" fmla="*/ 3511608 h 7458372"/>
              <a:gd name="connsiteX23866" fmla="*/ 5666618 w 10505529"/>
              <a:gd name="connsiteY23866" fmla="*/ 3490575 h 7458372"/>
              <a:gd name="connsiteX23867" fmla="*/ 5688451 w 10505529"/>
              <a:gd name="connsiteY23867" fmla="*/ 3481923 h 7458372"/>
              <a:gd name="connsiteX23868" fmla="*/ 5470806 w 10505529"/>
              <a:gd name="connsiteY23868" fmla="*/ 3481923 h 7458372"/>
              <a:gd name="connsiteX23869" fmla="*/ 5482520 w 10505529"/>
              <a:gd name="connsiteY23869" fmla="*/ 3484451 h 7458372"/>
              <a:gd name="connsiteX23870" fmla="*/ 5491838 w 10505529"/>
              <a:gd name="connsiteY23870" fmla="*/ 3490842 h 7458372"/>
              <a:gd name="connsiteX23871" fmla="*/ 5497961 w 10505529"/>
              <a:gd name="connsiteY23871" fmla="*/ 3500292 h 7458372"/>
              <a:gd name="connsiteX23872" fmla="*/ 5500224 w 10505529"/>
              <a:gd name="connsiteY23872" fmla="*/ 3511741 h 7458372"/>
              <a:gd name="connsiteX23873" fmla="*/ 5497961 w 10505529"/>
              <a:gd name="connsiteY23873" fmla="*/ 3523456 h 7458372"/>
              <a:gd name="connsiteX23874" fmla="*/ 5491838 w 10505529"/>
              <a:gd name="connsiteY23874" fmla="*/ 3532774 h 7458372"/>
              <a:gd name="connsiteX23875" fmla="*/ 5482520 w 10505529"/>
              <a:gd name="connsiteY23875" fmla="*/ 3539030 h 7458372"/>
              <a:gd name="connsiteX23876" fmla="*/ 5470806 w 10505529"/>
              <a:gd name="connsiteY23876" fmla="*/ 3541293 h 7458372"/>
              <a:gd name="connsiteX23877" fmla="*/ 5448973 w 10505529"/>
              <a:gd name="connsiteY23877" fmla="*/ 3532774 h 7458372"/>
              <a:gd name="connsiteX23878" fmla="*/ 5440587 w 10505529"/>
              <a:gd name="connsiteY23878" fmla="*/ 3511608 h 7458372"/>
              <a:gd name="connsiteX23879" fmla="*/ 5448973 w 10505529"/>
              <a:gd name="connsiteY23879" fmla="*/ 3490575 h 7458372"/>
              <a:gd name="connsiteX23880" fmla="*/ 5470806 w 10505529"/>
              <a:gd name="connsiteY23880" fmla="*/ 3481923 h 7458372"/>
              <a:gd name="connsiteX23881" fmla="*/ 5253160 w 10505529"/>
              <a:gd name="connsiteY23881" fmla="*/ 3481923 h 7458372"/>
              <a:gd name="connsiteX23882" fmla="*/ 5264875 w 10505529"/>
              <a:gd name="connsiteY23882" fmla="*/ 3484451 h 7458372"/>
              <a:gd name="connsiteX23883" fmla="*/ 5274192 w 10505529"/>
              <a:gd name="connsiteY23883" fmla="*/ 3490842 h 7458372"/>
              <a:gd name="connsiteX23884" fmla="*/ 5280316 w 10505529"/>
              <a:gd name="connsiteY23884" fmla="*/ 3500292 h 7458372"/>
              <a:gd name="connsiteX23885" fmla="*/ 5282579 w 10505529"/>
              <a:gd name="connsiteY23885" fmla="*/ 3511741 h 7458372"/>
              <a:gd name="connsiteX23886" fmla="*/ 5280316 w 10505529"/>
              <a:gd name="connsiteY23886" fmla="*/ 3523456 h 7458372"/>
              <a:gd name="connsiteX23887" fmla="*/ 5274192 w 10505529"/>
              <a:gd name="connsiteY23887" fmla="*/ 3532774 h 7458372"/>
              <a:gd name="connsiteX23888" fmla="*/ 5264875 w 10505529"/>
              <a:gd name="connsiteY23888" fmla="*/ 3539030 h 7458372"/>
              <a:gd name="connsiteX23889" fmla="*/ 5253160 w 10505529"/>
              <a:gd name="connsiteY23889" fmla="*/ 3541293 h 7458372"/>
              <a:gd name="connsiteX23890" fmla="*/ 5231328 w 10505529"/>
              <a:gd name="connsiteY23890" fmla="*/ 3532774 h 7458372"/>
              <a:gd name="connsiteX23891" fmla="*/ 5222942 w 10505529"/>
              <a:gd name="connsiteY23891" fmla="*/ 3511608 h 7458372"/>
              <a:gd name="connsiteX23892" fmla="*/ 5231328 w 10505529"/>
              <a:gd name="connsiteY23892" fmla="*/ 3490575 h 7458372"/>
              <a:gd name="connsiteX23893" fmla="*/ 5253160 w 10505529"/>
              <a:gd name="connsiteY23893" fmla="*/ 3481923 h 7458372"/>
              <a:gd name="connsiteX23894" fmla="*/ 5035515 w 10505529"/>
              <a:gd name="connsiteY23894" fmla="*/ 3481923 h 7458372"/>
              <a:gd name="connsiteX23895" fmla="*/ 5047230 w 10505529"/>
              <a:gd name="connsiteY23895" fmla="*/ 3484451 h 7458372"/>
              <a:gd name="connsiteX23896" fmla="*/ 5056548 w 10505529"/>
              <a:gd name="connsiteY23896" fmla="*/ 3490842 h 7458372"/>
              <a:gd name="connsiteX23897" fmla="*/ 5062671 w 10505529"/>
              <a:gd name="connsiteY23897" fmla="*/ 3500292 h 7458372"/>
              <a:gd name="connsiteX23898" fmla="*/ 5064934 w 10505529"/>
              <a:gd name="connsiteY23898" fmla="*/ 3511741 h 7458372"/>
              <a:gd name="connsiteX23899" fmla="*/ 5062671 w 10505529"/>
              <a:gd name="connsiteY23899" fmla="*/ 3523456 h 7458372"/>
              <a:gd name="connsiteX23900" fmla="*/ 5056548 w 10505529"/>
              <a:gd name="connsiteY23900" fmla="*/ 3532774 h 7458372"/>
              <a:gd name="connsiteX23901" fmla="*/ 5047230 w 10505529"/>
              <a:gd name="connsiteY23901" fmla="*/ 3539030 h 7458372"/>
              <a:gd name="connsiteX23902" fmla="*/ 5035515 w 10505529"/>
              <a:gd name="connsiteY23902" fmla="*/ 3541293 h 7458372"/>
              <a:gd name="connsiteX23903" fmla="*/ 5013683 w 10505529"/>
              <a:gd name="connsiteY23903" fmla="*/ 3532774 h 7458372"/>
              <a:gd name="connsiteX23904" fmla="*/ 5005297 w 10505529"/>
              <a:gd name="connsiteY23904" fmla="*/ 3511608 h 7458372"/>
              <a:gd name="connsiteX23905" fmla="*/ 5013683 w 10505529"/>
              <a:gd name="connsiteY23905" fmla="*/ 3490575 h 7458372"/>
              <a:gd name="connsiteX23906" fmla="*/ 5035515 w 10505529"/>
              <a:gd name="connsiteY23906" fmla="*/ 3481923 h 7458372"/>
              <a:gd name="connsiteX23907" fmla="*/ 4817870 w 10505529"/>
              <a:gd name="connsiteY23907" fmla="*/ 3481923 h 7458372"/>
              <a:gd name="connsiteX23908" fmla="*/ 4829585 w 10505529"/>
              <a:gd name="connsiteY23908" fmla="*/ 3484451 h 7458372"/>
              <a:gd name="connsiteX23909" fmla="*/ 4838903 w 10505529"/>
              <a:gd name="connsiteY23909" fmla="*/ 3490842 h 7458372"/>
              <a:gd name="connsiteX23910" fmla="*/ 4845026 w 10505529"/>
              <a:gd name="connsiteY23910" fmla="*/ 3500292 h 7458372"/>
              <a:gd name="connsiteX23911" fmla="*/ 4847289 w 10505529"/>
              <a:gd name="connsiteY23911" fmla="*/ 3511741 h 7458372"/>
              <a:gd name="connsiteX23912" fmla="*/ 4845026 w 10505529"/>
              <a:gd name="connsiteY23912" fmla="*/ 3523456 h 7458372"/>
              <a:gd name="connsiteX23913" fmla="*/ 4838903 w 10505529"/>
              <a:gd name="connsiteY23913" fmla="*/ 3532774 h 7458372"/>
              <a:gd name="connsiteX23914" fmla="*/ 4829585 w 10505529"/>
              <a:gd name="connsiteY23914" fmla="*/ 3539030 h 7458372"/>
              <a:gd name="connsiteX23915" fmla="*/ 4817870 w 10505529"/>
              <a:gd name="connsiteY23915" fmla="*/ 3541293 h 7458372"/>
              <a:gd name="connsiteX23916" fmla="*/ 4796038 w 10505529"/>
              <a:gd name="connsiteY23916" fmla="*/ 3532774 h 7458372"/>
              <a:gd name="connsiteX23917" fmla="*/ 4787652 w 10505529"/>
              <a:gd name="connsiteY23917" fmla="*/ 3511608 h 7458372"/>
              <a:gd name="connsiteX23918" fmla="*/ 4796038 w 10505529"/>
              <a:gd name="connsiteY23918" fmla="*/ 3490575 h 7458372"/>
              <a:gd name="connsiteX23919" fmla="*/ 4817870 w 10505529"/>
              <a:gd name="connsiteY23919" fmla="*/ 3481923 h 7458372"/>
              <a:gd name="connsiteX23920" fmla="*/ 4600226 w 10505529"/>
              <a:gd name="connsiteY23920" fmla="*/ 3481923 h 7458372"/>
              <a:gd name="connsiteX23921" fmla="*/ 4612073 w 10505529"/>
              <a:gd name="connsiteY23921" fmla="*/ 3484451 h 7458372"/>
              <a:gd name="connsiteX23922" fmla="*/ 4621391 w 10505529"/>
              <a:gd name="connsiteY23922" fmla="*/ 3490842 h 7458372"/>
              <a:gd name="connsiteX23923" fmla="*/ 4627514 w 10505529"/>
              <a:gd name="connsiteY23923" fmla="*/ 3500292 h 7458372"/>
              <a:gd name="connsiteX23924" fmla="*/ 4629777 w 10505529"/>
              <a:gd name="connsiteY23924" fmla="*/ 3511741 h 7458372"/>
              <a:gd name="connsiteX23925" fmla="*/ 4627514 w 10505529"/>
              <a:gd name="connsiteY23925" fmla="*/ 3523456 h 7458372"/>
              <a:gd name="connsiteX23926" fmla="*/ 4621391 w 10505529"/>
              <a:gd name="connsiteY23926" fmla="*/ 3532774 h 7458372"/>
              <a:gd name="connsiteX23927" fmla="*/ 4612073 w 10505529"/>
              <a:gd name="connsiteY23927" fmla="*/ 3539030 h 7458372"/>
              <a:gd name="connsiteX23928" fmla="*/ 4600226 w 10505529"/>
              <a:gd name="connsiteY23928" fmla="*/ 3541293 h 7458372"/>
              <a:gd name="connsiteX23929" fmla="*/ 4578393 w 10505529"/>
              <a:gd name="connsiteY23929" fmla="*/ 3532774 h 7458372"/>
              <a:gd name="connsiteX23930" fmla="*/ 4570007 w 10505529"/>
              <a:gd name="connsiteY23930" fmla="*/ 3511608 h 7458372"/>
              <a:gd name="connsiteX23931" fmla="*/ 4578393 w 10505529"/>
              <a:gd name="connsiteY23931" fmla="*/ 3490575 h 7458372"/>
              <a:gd name="connsiteX23932" fmla="*/ 4600226 w 10505529"/>
              <a:gd name="connsiteY23932" fmla="*/ 3481923 h 7458372"/>
              <a:gd name="connsiteX23933" fmla="*/ 4382713 w 10505529"/>
              <a:gd name="connsiteY23933" fmla="*/ 3481923 h 7458372"/>
              <a:gd name="connsiteX23934" fmla="*/ 4394428 w 10505529"/>
              <a:gd name="connsiteY23934" fmla="*/ 3484451 h 7458372"/>
              <a:gd name="connsiteX23935" fmla="*/ 4403746 w 10505529"/>
              <a:gd name="connsiteY23935" fmla="*/ 3490842 h 7458372"/>
              <a:gd name="connsiteX23936" fmla="*/ 4409869 w 10505529"/>
              <a:gd name="connsiteY23936" fmla="*/ 3500292 h 7458372"/>
              <a:gd name="connsiteX23937" fmla="*/ 4412132 w 10505529"/>
              <a:gd name="connsiteY23937" fmla="*/ 3511741 h 7458372"/>
              <a:gd name="connsiteX23938" fmla="*/ 4409869 w 10505529"/>
              <a:gd name="connsiteY23938" fmla="*/ 3523456 h 7458372"/>
              <a:gd name="connsiteX23939" fmla="*/ 4403746 w 10505529"/>
              <a:gd name="connsiteY23939" fmla="*/ 3532774 h 7458372"/>
              <a:gd name="connsiteX23940" fmla="*/ 4394428 w 10505529"/>
              <a:gd name="connsiteY23940" fmla="*/ 3539030 h 7458372"/>
              <a:gd name="connsiteX23941" fmla="*/ 4382713 w 10505529"/>
              <a:gd name="connsiteY23941" fmla="*/ 3541293 h 7458372"/>
              <a:gd name="connsiteX23942" fmla="*/ 4360881 w 10505529"/>
              <a:gd name="connsiteY23942" fmla="*/ 3532774 h 7458372"/>
              <a:gd name="connsiteX23943" fmla="*/ 4352495 w 10505529"/>
              <a:gd name="connsiteY23943" fmla="*/ 3511608 h 7458372"/>
              <a:gd name="connsiteX23944" fmla="*/ 4360881 w 10505529"/>
              <a:gd name="connsiteY23944" fmla="*/ 3490575 h 7458372"/>
              <a:gd name="connsiteX23945" fmla="*/ 4382713 w 10505529"/>
              <a:gd name="connsiteY23945" fmla="*/ 3481923 h 7458372"/>
              <a:gd name="connsiteX23946" fmla="*/ 4165068 w 10505529"/>
              <a:gd name="connsiteY23946" fmla="*/ 3481923 h 7458372"/>
              <a:gd name="connsiteX23947" fmla="*/ 4176782 w 10505529"/>
              <a:gd name="connsiteY23947" fmla="*/ 3484451 h 7458372"/>
              <a:gd name="connsiteX23948" fmla="*/ 4186100 w 10505529"/>
              <a:gd name="connsiteY23948" fmla="*/ 3490842 h 7458372"/>
              <a:gd name="connsiteX23949" fmla="*/ 4192223 w 10505529"/>
              <a:gd name="connsiteY23949" fmla="*/ 3500292 h 7458372"/>
              <a:gd name="connsiteX23950" fmla="*/ 4194486 w 10505529"/>
              <a:gd name="connsiteY23950" fmla="*/ 3511741 h 7458372"/>
              <a:gd name="connsiteX23951" fmla="*/ 4192223 w 10505529"/>
              <a:gd name="connsiteY23951" fmla="*/ 3523456 h 7458372"/>
              <a:gd name="connsiteX23952" fmla="*/ 4186100 w 10505529"/>
              <a:gd name="connsiteY23952" fmla="*/ 3532774 h 7458372"/>
              <a:gd name="connsiteX23953" fmla="*/ 4176782 w 10505529"/>
              <a:gd name="connsiteY23953" fmla="*/ 3539030 h 7458372"/>
              <a:gd name="connsiteX23954" fmla="*/ 4165068 w 10505529"/>
              <a:gd name="connsiteY23954" fmla="*/ 3541293 h 7458372"/>
              <a:gd name="connsiteX23955" fmla="*/ 4143235 w 10505529"/>
              <a:gd name="connsiteY23955" fmla="*/ 3532774 h 7458372"/>
              <a:gd name="connsiteX23956" fmla="*/ 4134849 w 10505529"/>
              <a:gd name="connsiteY23956" fmla="*/ 3511608 h 7458372"/>
              <a:gd name="connsiteX23957" fmla="*/ 4143235 w 10505529"/>
              <a:gd name="connsiteY23957" fmla="*/ 3490575 h 7458372"/>
              <a:gd name="connsiteX23958" fmla="*/ 4165068 w 10505529"/>
              <a:gd name="connsiteY23958" fmla="*/ 3481923 h 7458372"/>
              <a:gd name="connsiteX23959" fmla="*/ 3947617 w 10505529"/>
              <a:gd name="connsiteY23959" fmla="*/ 3481923 h 7458372"/>
              <a:gd name="connsiteX23960" fmla="*/ 3959333 w 10505529"/>
              <a:gd name="connsiteY23960" fmla="*/ 3484451 h 7458372"/>
              <a:gd name="connsiteX23961" fmla="*/ 3968651 w 10505529"/>
              <a:gd name="connsiteY23961" fmla="*/ 3490842 h 7458372"/>
              <a:gd name="connsiteX23962" fmla="*/ 3974775 w 10505529"/>
              <a:gd name="connsiteY23962" fmla="*/ 3500292 h 7458372"/>
              <a:gd name="connsiteX23963" fmla="*/ 3977038 w 10505529"/>
              <a:gd name="connsiteY23963" fmla="*/ 3511741 h 7458372"/>
              <a:gd name="connsiteX23964" fmla="*/ 3974775 w 10505529"/>
              <a:gd name="connsiteY23964" fmla="*/ 3523456 h 7458372"/>
              <a:gd name="connsiteX23965" fmla="*/ 3968651 w 10505529"/>
              <a:gd name="connsiteY23965" fmla="*/ 3532774 h 7458372"/>
              <a:gd name="connsiteX23966" fmla="*/ 3959333 w 10505529"/>
              <a:gd name="connsiteY23966" fmla="*/ 3539030 h 7458372"/>
              <a:gd name="connsiteX23967" fmla="*/ 3947617 w 10505529"/>
              <a:gd name="connsiteY23967" fmla="*/ 3541293 h 7458372"/>
              <a:gd name="connsiteX23968" fmla="*/ 3925784 w 10505529"/>
              <a:gd name="connsiteY23968" fmla="*/ 3532774 h 7458372"/>
              <a:gd name="connsiteX23969" fmla="*/ 3917397 w 10505529"/>
              <a:gd name="connsiteY23969" fmla="*/ 3511608 h 7458372"/>
              <a:gd name="connsiteX23970" fmla="*/ 3925784 w 10505529"/>
              <a:gd name="connsiteY23970" fmla="*/ 3490575 h 7458372"/>
              <a:gd name="connsiteX23971" fmla="*/ 3947617 w 10505529"/>
              <a:gd name="connsiteY23971" fmla="*/ 3481923 h 7458372"/>
              <a:gd name="connsiteX23972" fmla="*/ 3729962 w 10505529"/>
              <a:gd name="connsiteY23972" fmla="*/ 3481923 h 7458372"/>
              <a:gd name="connsiteX23973" fmla="*/ 3741678 w 10505529"/>
              <a:gd name="connsiteY23973" fmla="*/ 3484451 h 7458372"/>
              <a:gd name="connsiteX23974" fmla="*/ 3750996 w 10505529"/>
              <a:gd name="connsiteY23974" fmla="*/ 3490842 h 7458372"/>
              <a:gd name="connsiteX23975" fmla="*/ 3757119 w 10505529"/>
              <a:gd name="connsiteY23975" fmla="*/ 3500292 h 7458372"/>
              <a:gd name="connsiteX23976" fmla="*/ 3759382 w 10505529"/>
              <a:gd name="connsiteY23976" fmla="*/ 3511741 h 7458372"/>
              <a:gd name="connsiteX23977" fmla="*/ 3757119 w 10505529"/>
              <a:gd name="connsiteY23977" fmla="*/ 3523456 h 7458372"/>
              <a:gd name="connsiteX23978" fmla="*/ 3750996 w 10505529"/>
              <a:gd name="connsiteY23978" fmla="*/ 3532774 h 7458372"/>
              <a:gd name="connsiteX23979" fmla="*/ 3741678 w 10505529"/>
              <a:gd name="connsiteY23979" fmla="*/ 3539030 h 7458372"/>
              <a:gd name="connsiteX23980" fmla="*/ 3729962 w 10505529"/>
              <a:gd name="connsiteY23980" fmla="*/ 3541293 h 7458372"/>
              <a:gd name="connsiteX23981" fmla="*/ 3708126 w 10505529"/>
              <a:gd name="connsiteY23981" fmla="*/ 3532774 h 7458372"/>
              <a:gd name="connsiteX23982" fmla="*/ 3699739 w 10505529"/>
              <a:gd name="connsiteY23982" fmla="*/ 3511608 h 7458372"/>
              <a:gd name="connsiteX23983" fmla="*/ 3708126 w 10505529"/>
              <a:gd name="connsiteY23983" fmla="*/ 3490575 h 7458372"/>
              <a:gd name="connsiteX23984" fmla="*/ 3729962 w 10505529"/>
              <a:gd name="connsiteY23984" fmla="*/ 3481923 h 7458372"/>
              <a:gd name="connsiteX23985" fmla="*/ 3512307 w 10505529"/>
              <a:gd name="connsiteY23985" fmla="*/ 3481923 h 7458372"/>
              <a:gd name="connsiteX23986" fmla="*/ 3524023 w 10505529"/>
              <a:gd name="connsiteY23986" fmla="*/ 3484451 h 7458372"/>
              <a:gd name="connsiteX23987" fmla="*/ 3533341 w 10505529"/>
              <a:gd name="connsiteY23987" fmla="*/ 3490842 h 7458372"/>
              <a:gd name="connsiteX23988" fmla="*/ 3539464 w 10505529"/>
              <a:gd name="connsiteY23988" fmla="*/ 3500292 h 7458372"/>
              <a:gd name="connsiteX23989" fmla="*/ 3541727 w 10505529"/>
              <a:gd name="connsiteY23989" fmla="*/ 3511741 h 7458372"/>
              <a:gd name="connsiteX23990" fmla="*/ 3539464 w 10505529"/>
              <a:gd name="connsiteY23990" fmla="*/ 3523456 h 7458372"/>
              <a:gd name="connsiteX23991" fmla="*/ 3533341 w 10505529"/>
              <a:gd name="connsiteY23991" fmla="*/ 3532774 h 7458372"/>
              <a:gd name="connsiteX23992" fmla="*/ 3524023 w 10505529"/>
              <a:gd name="connsiteY23992" fmla="*/ 3539030 h 7458372"/>
              <a:gd name="connsiteX23993" fmla="*/ 3512307 w 10505529"/>
              <a:gd name="connsiteY23993" fmla="*/ 3541293 h 7458372"/>
              <a:gd name="connsiteX23994" fmla="*/ 3490472 w 10505529"/>
              <a:gd name="connsiteY23994" fmla="*/ 3532774 h 7458372"/>
              <a:gd name="connsiteX23995" fmla="*/ 3482086 w 10505529"/>
              <a:gd name="connsiteY23995" fmla="*/ 3511608 h 7458372"/>
              <a:gd name="connsiteX23996" fmla="*/ 3490472 w 10505529"/>
              <a:gd name="connsiteY23996" fmla="*/ 3490575 h 7458372"/>
              <a:gd name="connsiteX23997" fmla="*/ 3512307 w 10505529"/>
              <a:gd name="connsiteY23997" fmla="*/ 3481923 h 7458372"/>
              <a:gd name="connsiteX23998" fmla="*/ 3294785 w 10505529"/>
              <a:gd name="connsiteY23998" fmla="*/ 3481923 h 7458372"/>
              <a:gd name="connsiteX23999" fmla="*/ 3306501 w 10505529"/>
              <a:gd name="connsiteY23999" fmla="*/ 3484451 h 7458372"/>
              <a:gd name="connsiteX24000" fmla="*/ 3315819 w 10505529"/>
              <a:gd name="connsiteY24000" fmla="*/ 3490842 h 7458372"/>
              <a:gd name="connsiteX24001" fmla="*/ 3321942 w 10505529"/>
              <a:gd name="connsiteY24001" fmla="*/ 3500292 h 7458372"/>
              <a:gd name="connsiteX24002" fmla="*/ 3324205 w 10505529"/>
              <a:gd name="connsiteY24002" fmla="*/ 3511741 h 7458372"/>
              <a:gd name="connsiteX24003" fmla="*/ 3321942 w 10505529"/>
              <a:gd name="connsiteY24003" fmla="*/ 3523456 h 7458372"/>
              <a:gd name="connsiteX24004" fmla="*/ 3315819 w 10505529"/>
              <a:gd name="connsiteY24004" fmla="*/ 3532774 h 7458372"/>
              <a:gd name="connsiteX24005" fmla="*/ 3306501 w 10505529"/>
              <a:gd name="connsiteY24005" fmla="*/ 3539030 h 7458372"/>
              <a:gd name="connsiteX24006" fmla="*/ 3294785 w 10505529"/>
              <a:gd name="connsiteY24006" fmla="*/ 3541293 h 7458372"/>
              <a:gd name="connsiteX24007" fmla="*/ 3272950 w 10505529"/>
              <a:gd name="connsiteY24007" fmla="*/ 3532774 h 7458372"/>
              <a:gd name="connsiteX24008" fmla="*/ 3264562 w 10505529"/>
              <a:gd name="connsiteY24008" fmla="*/ 3511608 h 7458372"/>
              <a:gd name="connsiteX24009" fmla="*/ 3272950 w 10505529"/>
              <a:gd name="connsiteY24009" fmla="*/ 3490575 h 7458372"/>
              <a:gd name="connsiteX24010" fmla="*/ 3294785 w 10505529"/>
              <a:gd name="connsiteY24010" fmla="*/ 3481923 h 7458372"/>
              <a:gd name="connsiteX24011" fmla="*/ 3077130 w 10505529"/>
              <a:gd name="connsiteY24011" fmla="*/ 3481923 h 7458372"/>
              <a:gd name="connsiteX24012" fmla="*/ 3088845 w 10505529"/>
              <a:gd name="connsiteY24012" fmla="*/ 3484451 h 7458372"/>
              <a:gd name="connsiteX24013" fmla="*/ 3098163 w 10505529"/>
              <a:gd name="connsiteY24013" fmla="*/ 3490842 h 7458372"/>
              <a:gd name="connsiteX24014" fmla="*/ 3104287 w 10505529"/>
              <a:gd name="connsiteY24014" fmla="*/ 3500292 h 7458372"/>
              <a:gd name="connsiteX24015" fmla="*/ 3106550 w 10505529"/>
              <a:gd name="connsiteY24015" fmla="*/ 3511741 h 7458372"/>
              <a:gd name="connsiteX24016" fmla="*/ 3104287 w 10505529"/>
              <a:gd name="connsiteY24016" fmla="*/ 3523456 h 7458372"/>
              <a:gd name="connsiteX24017" fmla="*/ 3098163 w 10505529"/>
              <a:gd name="connsiteY24017" fmla="*/ 3532774 h 7458372"/>
              <a:gd name="connsiteX24018" fmla="*/ 3088845 w 10505529"/>
              <a:gd name="connsiteY24018" fmla="*/ 3539030 h 7458372"/>
              <a:gd name="connsiteX24019" fmla="*/ 3077130 w 10505529"/>
              <a:gd name="connsiteY24019" fmla="*/ 3541293 h 7458372"/>
              <a:gd name="connsiteX24020" fmla="*/ 3055294 w 10505529"/>
              <a:gd name="connsiteY24020" fmla="*/ 3532774 h 7458372"/>
              <a:gd name="connsiteX24021" fmla="*/ 3046908 w 10505529"/>
              <a:gd name="connsiteY24021" fmla="*/ 3511608 h 7458372"/>
              <a:gd name="connsiteX24022" fmla="*/ 3055294 w 10505529"/>
              <a:gd name="connsiteY24022" fmla="*/ 3490575 h 7458372"/>
              <a:gd name="connsiteX24023" fmla="*/ 3077130 w 10505529"/>
              <a:gd name="connsiteY24023" fmla="*/ 3481923 h 7458372"/>
              <a:gd name="connsiteX24024" fmla="*/ 2859475 w 10505529"/>
              <a:gd name="connsiteY24024" fmla="*/ 3481923 h 7458372"/>
              <a:gd name="connsiteX24025" fmla="*/ 2871323 w 10505529"/>
              <a:gd name="connsiteY24025" fmla="*/ 3484451 h 7458372"/>
              <a:gd name="connsiteX24026" fmla="*/ 2880641 w 10505529"/>
              <a:gd name="connsiteY24026" fmla="*/ 3490842 h 7458372"/>
              <a:gd name="connsiteX24027" fmla="*/ 2886765 w 10505529"/>
              <a:gd name="connsiteY24027" fmla="*/ 3500292 h 7458372"/>
              <a:gd name="connsiteX24028" fmla="*/ 2889028 w 10505529"/>
              <a:gd name="connsiteY24028" fmla="*/ 3511741 h 7458372"/>
              <a:gd name="connsiteX24029" fmla="*/ 2886765 w 10505529"/>
              <a:gd name="connsiteY24029" fmla="*/ 3523456 h 7458372"/>
              <a:gd name="connsiteX24030" fmla="*/ 2880641 w 10505529"/>
              <a:gd name="connsiteY24030" fmla="*/ 3532774 h 7458372"/>
              <a:gd name="connsiteX24031" fmla="*/ 2871323 w 10505529"/>
              <a:gd name="connsiteY24031" fmla="*/ 3539030 h 7458372"/>
              <a:gd name="connsiteX24032" fmla="*/ 2859475 w 10505529"/>
              <a:gd name="connsiteY24032" fmla="*/ 3541293 h 7458372"/>
              <a:gd name="connsiteX24033" fmla="*/ 2837640 w 10505529"/>
              <a:gd name="connsiteY24033" fmla="*/ 3532774 h 7458372"/>
              <a:gd name="connsiteX24034" fmla="*/ 2829253 w 10505529"/>
              <a:gd name="connsiteY24034" fmla="*/ 3511608 h 7458372"/>
              <a:gd name="connsiteX24035" fmla="*/ 2837640 w 10505529"/>
              <a:gd name="connsiteY24035" fmla="*/ 3490575 h 7458372"/>
              <a:gd name="connsiteX24036" fmla="*/ 2859475 w 10505529"/>
              <a:gd name="connsiteY24036" fmla="*/ 3481923 h 7458372"/>
              <a:gd name="connsiteX24037" fmla="*/ 2641820 w 10505529"/>
              <a:gd name="connsiteY24037" fmla="*/ 3481923 h 7458372"/>
              <a:gd name="connsiteX24038" fmla="*/ 2653535 w 10505529"/>
              <a:gd name="connsiteY24038" fmla="*/ 3484451 h 7458372"/>
              <a:gd name="connsiteX24039" fmla="*/ 2662853 w 10505529"/>
              <a:gd name="connsiteY24039" fmla="*/ 3490842 h 7458372"/>
              <a:gd name="connsiteX24040" fmla="*/ 2668976 w 10505529"/>
              <a:gd name="connsiteY24040" fmla="*/ 3500292 h 7458372"/>
              <a:gd name="connsiteX24041" fmla="*/ 2671239 w 10505529"/>
              <a:gd name="connsiteY24041" fmla="*/ 3511741 h 7458372"/>
              <a:gd name="connsiteX24042" fmla="*/ 2668976 w 10505529"/>
              <a:gd name="connsiteY24042" fmla="*/ 3523456 h 7458372"/>
              <a:gd name="connsiteX24043" fmla="*/ 2662853 w 10505529"/>
              <a:gd name="connsiteY24043" fmla="*/ 3532774 h 7458372"/>
              <a:gd name="connsiteX24044" fmla="*/ 2653535 w 10505529"/>
              <a:gd name="connsiteY24044" fmla="*/ 3539030 h 7458372"/>
              <a:gd name="connsiteX24045" fmla="*/ 2641820 w 10505529"/>
              <a:gd name="connsiteY24045" fmla="*/ 3541293 h 7458372"/>
              <a:gd name="connsiteX24046" fmla="*/ 2619987 w 10505529"/>
              <a:gd name="connsiteY24046" fmla="*/ 3532774 h 7458372"/>
              <a:gd name="connsiteX24047" fmla="*/ 2611599 w 10505529"/>
              <a:gd name="connsiteY24047" fmla="*/ 3511608 h 7458372"/>
              <a:gd name="connsiteX24048" fmla="*/ 2619987 w 10505529"/>
              <a:gd name="connsiteY24048" fmla="*/ 3490575 h 7458372"/>
              <a:gd name="connsiteX24049" fmla="*/ 2641820 w 10505529"/>
              <a:gd name="connsiteY24049" fmla="*/ 3481923 h 7458372"/>
              <a:gd name="connsiteX24050" fmla="*/ 2424164 w 10505529"/>
              <a:gd name="connsiteY24050" fmla="*/ 3481923 h 7458372"/>
              <a:gd name="connsiteX24051" fmla="*/ 2435880 w 10505529"/>
              <a:gd name="connsiteY24051" fmla="*/ 3484451 h 7458372"/>
              <a:gd name="connsiteX24052" fmla="*/ 2445198 w 10505529"/>
              <a:gd name="connsiteY24052" fmla="*/ 3490842 h 7458372"/>
              <a:gd name="connsiteX24053" fmla="*/ 2451321 w 10505529"/>
              <a:gd name="connsiteY24053" fmla="*/ 3500292 h 7458372"/>
              <a:gd name="connsiteX24054" fmla="*/ 2453584 w 10505529"/>
              <a:gd name="connsiteY24054" fmla="*/ 3511741 h 7458372"/>
              <a:gd name="connsiteX24055" fmla="*/ 2451321 w 10505529"/>
              <a:gd name="connsiteY24055" fmla="*/ 3523456 h 7458372"/>
              <a:gd name="connsiteX24056" fmla="*/ 2445198 w 10505529"/>
              <a:gd name="connsiteY24056" fmla="*/ 3532774 h 7458372"/>
              <a:gd name="connsiteX24057" fmla="*/ 2435880 w 10505529"/>
              <a:gd name="connsiteY24057" fmla="*/ 3539030 h 7458372"/>
              <a:gd name="connsiteX24058" fmla="*/ 2424164 w 10505529"/>
              <a:gd name="connsiteY24058" fmla="*/ 3541293 h 7458372"/>
              <a:gd name="connsiteX24059" fmla="*/ 2402332 w 10505529"/>
              <a:gd name="connsiteY24059" fmla="*/ 3532774 h 7458372"/>
              <a:gd name="connsiteX24060" fmla="*/ 2393944 w 10505529"/>
              <a:gd name="connsiteY24060" fmla="*/ 3511608 h 7458372"/>
              <a:gd name="connsiteX24061" fmla="*/ 2402332 w 10505529"/>
              <a:gd name="connsiteY24061" fmla="*/ 3490575 h 7458372"/>
              <a:gd name="connsiteX24062" fmla="*/ 2424164 w 10505529"/>
              <a:gd name="connsiteY24062" fmla="*/ 3481923 h 7458372"/>
              <a:gd name="connsiteX24063" fmla="*/ 2206509 w 10505529"/>
              <a:gd name="connsiteY24063" fmla="*/ 3481923 h 7458372"/>
              <a:gd name="connsiteX24064" fmla="*/ 2218224 w 10505529"/>
              <a:gd name="connsiteY24064" fmla="*/ 3484451 h 7458372"/>
              <a:gd name="connsiteX24065" fmla="*/ 2227543 w 10505529"/>
              <a:gd name="connsiteY24065" fmla="*/ 3490842 h 7458372"/>
              <a:gd name="connsiteX24066" fmla="*/ 2233666 w 10505529"/>
              <a:gd name="connsiteY24066" fmla="*/ 3500292 h 7458372"/>
              <a:gd name="connsiteX24067" fmla="*/ 2235929 w 10505529"/>
              <a:gd name="connsiteY24067" fmla="*/ 3511741 h 7458372"/>
              <a:gd name="connsiteX24068" fmla="*/ 2233666 w 10505529"/>
              <a:gd name="connsiteY24068" fmla="*/ 3523456 h 7458372"/>
              <a:gd name="connsiteX24069" fmla="*/ 2227543 w 10505529"/>
              <a:gd name="connsiteY24069" fmla="*/ 3532774 h 7458372"/>
              <a:gd name="connsiteX24070" fmla="*/ 2218224 w 10505529"/>
              <a:gd name="connsiteY24070" fmla="*/ 3539030 h 7458372"/>
              <a:gd name="connsiteX24071" fmla="*/ 2206509 w 10505529"/>
              <a:gd name="connsiteY24071" fmla="*/ 3541293 h 7458372"/>
              <a:gd name="connsiteX24072" fmla="*/ 2184677 w 10505529"/>
              <a:gd name="connsiteY24072" fmla="*/ 3532774 h 7458372"/>
              <a:gd name="connsiteX24073" fmla="*/ 2176289 w 10505529"/>
              <a:gd name="connsiteY24073" fmla="*/ 3511608 h 7458372"/>
              <a:gd name="connsiteX24074" fmla="*/ 2184677 w 10505529"/>
              <a:gd name="connsiteY24074" fmla="*/ 3490575 h 7458372"/>
              <a:gd name="connsiteX24075" fmla="*/ 2206509 w 10505529"/>
              <a:gd name="connsiteY24075" fmla="*/ 3481923 h 7458372"/>
              <a:gd name="connsiteX24076" fmla="*/ 1988987 w 10505529"/>
              <a:gd name="connsiteY24076" fmla="*/ 3481923 h 7458372"/>
              <a:gd name="connsiteX24077" fmla="*/ 2000702 w 10505529"/>
              <a:gd name="connsiteY24077" fmla="*/ 3484451 h 7458372"/>
              <a:gd name="connsiteX24078" fmla="*/ 2010020 w 10505529"/>
              <a:gd name="connsiteY24078" fmla="*/ 3490842 h 7458372"/>
              <a:gd name="connsiteX24079" fmla="*/ 2016144 w 10505529"/>
              <a:gd name="connsiteY24079" fmla="*/ 3500292 h 7458372"/>
              <a:gd name="connsiteX24080" fmla="*/ 2018407 w 10505529"/>
              <a:gd name="connsiteY24080" fmla="*/ 3511741 h 7458372"/>
              <a:gd name="connsiteX24081" fmla="*/ 2016144 w 10505529"/>
              <a:gd name="connsiteY24081" fmla="*/ 3523456 h 7458372"/>
              <a:gd name="connsiteX24082" fmla="*/ 2010020 w 10505529"/>
              <a:gd name="connsiteY24082" fmla="*/ 3532774 h 7458372"/>
              <a:gd name="connsiteX24083" fmla="*/ 2000702 w 10505529"/>
              <a:gd name="connsiteY24083" fmla="*/ 3539030 h 7458372"/>
              <a:gd name="connsiteX24084" fmla="*/ 1988987 w 10505529"/>
              <a:gd name="connsiteY24084" fmla="*/ 3541293 h 7458372"/>
              <a:gd name="connsiteX24085" fmla="*/ 1967156 w 10505529"/>
              <a:gd name="connsiteY24085" fmla="*/ 3532774 h 7458372"/>
              <a:gd name="connsiteX24086" fmla="*/ 1958770 w 10505529"/>
              <a:gd name="connsiteY24086" fmla="*/ 3511608 h 7458372"/>
              <a:gd name="connsiteX24087" fmla="*/ 1967156 w 10505529"/>
              <a:gd name="connsiteY24087" fmla="*/ 3490575 h 7458372"/>
              <a:gd name="connsiteX24088" fmla="*/ 1988987 w 10505529"/>
              <a:gd name="connsiteY24088" fmla="*/ 3481923 h 7458372"/>
              <a:gd name="connsiteX24089" fmla="*/ 1771349 w 10505529"/>
              <a:gd name="connsiteY24089" fmla="*/ 3481923 h 7458372"/>
              <a:gd name="connsiteX24090" fmla="*/ 1783063 w 10505529"/>
              <a:gd name="connsiteY24090" fmla="*/ 3484451 h 7458372"/>
              <a:gd name="connsiteX24091" fmla="*/ 1792381 w 10505529"/>
              <a:gd name="connsiteY24091" fmla="*/ 3490842 h 7458372"/>
              <a:gd name="connsiteX24092" fmla="*/ 1798505 w 10505529"/>
              <a:gd name="connsiteY24092" fmla="*/ 3500292 h 7458372"/>
              <a:gd name="connsiteX24093" fmla="*/ 1800767 w 10505529"/>
              <a:gd name="connsiteY24093" fmla="*/ 3511741 h 7458372"/>
              <a:gd name="connsiteX24094" fmla="*/ 1798505 w 10505529"/>
              <a:gd name="connsiteY24094" fmla="*/ 3523456 h 7458372"/>
              <a:gd name="connsiteX24095" fmla="*/ 1792381 w 10505529"/>
              <a:gd name="connsiteY24095" fmla="*/ 3532774 h 7458372"/>
              <a:gd name="connsiteX24096" fmla="*/ 1783063 w 10505529"/>
              <a:gd name="connsiteY24096" fmla="*/ 3539030 h 7458372"/>
              <a:gd name="connsiteX24097" fmla="*/ 1771349 w 10505529"/>
              <a:gd name="connsiteY24097" fmla="*/ 3541293 h 7458372"/>
              <a:gd name="connsiteX24098" fmla="*/ 1749519 w 10505529"/>
              <a:gd name="connsiteY24098" fmla="*/ 3532774 h 7458372"/>
              <a:gd name="connsiteX24099" fmla="*/ 1741135 w 10505529"/>
              <a:gd name="connsiteY24099" fmla="*/ 3511608 h 7458372"/>
              <a:gd name="connsiteX24100" fmla="*/ 1749519 w 10505529"/>
              <a:gd name="connsiteY24100" fmla="*/ 3490575 h 7458372"/>
              <a:gd name="connsiteX24101" fmla="*/ 1771349 w 10505529"/>
              <a:gd name="connsiteY24101" fmla="*/ 3481923 h 7458372"/>
              <a:gd name="connsiteX24102" fmla="*/ 1553709 w 10505529"/>
              <a:gd name="connsiteY24102" fmla="*/ 3481923 h 7458372"/>
              <a:gd name="connsiteX24103" fmla="*/ 1565424 w 10505529"/>
              <a:gd name="connsiteY24103" fmla="*/ 3484451 h 7458372"/>
              <a:gd name="connsiteX24104" fmla="*/ 1574742 w 10505529"/>
              <a:gd name="connsiteY24104" fmla="*/ 3490842 h 7458372"/>
              <a:gd name="connsiteX24105" fmla="*/ 1580865 w 10505529"/>
              <a:gd name="connsiteY24105" fmla="*/ 3500292 h 7458372"/>
              <a:gd name="connsiteX24106" fmla="*/ 1583128 w 10505529"/>
              <a:gd name="connsiteY24106" fmla="*/ 3511741 h 7458372"/>
              <a:gd name="connsiteX24107" fmla="*/ 1580865 w 10505529"/>
              <a:gd name="connsiteY24107" fmla="*/ 3523456 h 7458372"/>
              <a:gd name="connsiteX24108" fmla="*/ 1574742 w 10505529"/>
              <a:gd name="connsiteY24108" fmla="*/ 3532774 h 7458372"/>
              <a:gd name="connsiteX24109" fmla="*/ 1565424 w 10505529"/>
              <a:gd name="connsiteY24109" fmla="*/ 3539030 h 7458372"/>
              <a:gd name="connsiteX24110" fmla="*/ 1553709 w 10505529"/>
              <a:gd name="connsiteY24110" fmla="*/ 3541293 h 7458372"/>
              <a:gd name="connsiteX24111" fmla="*/ 1531878 w 10505529"/>
              <a:gd name="connsiteY24111" fmla="*/ 3532774 h 7458372"/>
              <a:gd name="connsiteX24112" fmla="*/ 1523493 w 10505529"/>
              <a:gd name="connsiteY24112" fmla="*/ 3511608 h 7458372"/>
              <a:gd name="connsiteX24113" fmla="*/ 1531878 w 10505529"/>
              <a:gd name="connsiteY24113" fmla="*/ 3490575 h 7458372"/>
              <a:gd name="connsiteX24114" fmla="*/ 1553709 w 10505529"/>
              <a:gd name="connsiteY24114" fmla="*/ 3481923 h 7458372"/>
              <a:gd name="connsiteX24115" fmla="*/ 1336065 w 10505529"/>
              <a:gd name="connsiteY24115" fmla="*/ 3481923 h 7458372"/>
              <a:gd name="connsiteX24116" fmla="*/ 1347781 w 10505529"/>
              <a:gd name="connsiteY24116" fmla="*/ 3484451 h 7458372"/>
              <a:gd name="connsiteX24117" fmla="*/ 1357099 w 10505529"/>
              <a:gd name="connsiteY24117" fmla="*/ 3490842 h 7458372"/>
              <a:gd name="connsiteX24118" fmla="*/ 1363222 w 10505529"/>
              <a:gd name="connsiteY24118" fmla="*/ 3500292 h 7458372"/>
              <a:gd name="connsiteX24119" fmla="*/ 1365484 w 10505529"/>
              <a:gd name="connsiteY24119" fmla="*/ 3511741 h 7458372"/>
              <a:gd name="connsiteX24120" fmla="*/ 1363222 w 10505529"/>
              <a:gd name="connsiteY24120" fmla="*/ 3523456 h 7458372"/>
              <a:gd name="connsiteX24121" fmla="*/ 1357099 w 10505529"/>
              <a:gd name="connsiteY24121" fmla="*/ 3532774 h 7458372"/>
              <a:gd name="connsiteX24122" fmla="*/ 1347781 w 10505529"/>
              <a:gd name="connsiteY24122" fmla="*/ 3539030 h 7458372"/>
              <a:gd name="connsiteX24123" fmla="*/ 1336065 w 10505529"/>
              <a:gd name="connsiteY24123" fmla="*/ 3541293 h 7458372"/>
              <a:gd name="connsiteX24124" fmla="*/ 1314232 w 10505529"/>
              <a:gd name="connsiteY24124" fmla="*/ 3532774 h 7458372"/>
              <a:gd name="connsiteX24125" fmla="*/ 1305847 w 10505529"/>
              <a:gd name="connsiteY24125" fmla="*/ 3511608 h 7458372"/>
              <a:gd name="connsiteX24126" fmla="*/ 1314232 w 10505529"/>
              <a:gd name="connsiteY24126" fmla="*/ 3490575 h 7458372"/>
              <a:gd name="connsiteX24127" fmla="*/ 1336065 w 10505529"/>
              <a:gd name="connsiteY24127" fmla="*/ 3481923 h 7458372"/>
              <a:gd name="connsiteX24128" fmla="*/ 1118420 w 10505529"/>
              <a:gd name="connsiteY24128" fmla="*/ 3481923 h 7458372"/>
              <a:gd name="connsiteX24129" fmla="*/ 1130137 w 10505529"/>
              <a:gd name="connsiteY24129" fmla="*/ 3484451 h 7458372"/>
              <a:gd name="connsiteX24130" fmla="*/ 1139453 w 10505529"/>
              <a:gd name="connsiteY24130" fmla="*/ 3490842 h 7458372"/>
              <a:gd name="connsiteX24131" fmla="*/ 1145574 w 10505529"/>
              <a:gd name="connsiteY24131" fmla="*/ 3500292 h 7458372"/>
              <a:gd name="connsiteX24132" fmla="*/ 1147837 w 10505529"/>
              <a:gd name="connsiteY24132" fmla="*/ 3511741 h 7458372"/>
              <a:gd name="connsiteX24133" fmla="*/ 1145574 w 10505529"/>
              <a:gd name="connsiteY24133" fmla="*/ 3523456 h 7458372"/>
              <a:gd name="connsiteX24134" fmla="*/ 1139453 w 10505529"/>
              <a:gd name="connsiteY24134" fmla="*/ 3532774 h 7458372"/>
              <a:gd name="connsiteX24135" fmla="*/ 1130137 w 10505529"/>
              <a:gd name="connsiteY24135" fmla="*/ 3539030 h 7458372"/>
              <a:gd name="connsiteX24136" fmla="*/ 1118420 w 10505529"/>
              <a:gd name="connsiteY24136" fmla="*/ 3541293 h 7458372"/>
              <a:gd name="connsiteX24137" fmla="*/ 1096586 w 10505529"/>
              <a:gd name="connsiteY24137" fmla="*/ 3532774 h 7458372"/>
              <a:gd name="connsiteX24138" fmla="*/ 1088201 w 10505529"/>
              <a:gd name="connsiteY24138" fmla="*/ 3511608 h 7458372"/>
              <a:gd name="connsiteX24139" fmla="*/ 1096586 w 10505529"/>
              <a:gd name="connsiteY24139" fmla="*/ 3490575 h 7458372"/>
              <a:gd name="connsiteX24140" fmla="*/ 1118420 w 10505529"/>
              <a:gd name="connsiteY24140" fmla="*/ 3481923 h 7458372"/>
              <a:gd name="connsiteX24141" fmla="*/ 900907 w 10505529"/>
              <a:gd name="connsiteY24141" fmla="*/ 3481923 h 7458372"/>
              <a:gd name="connsiteX24142" fmla="*/ 912622 w 10505529"/>
              <a:gd name="connsiteY24142" fmla="*/ 3484451 h 7458372"/>
              <a:gd name="connsiteX24143" fmla="*/ 921941 w 10505529"/>
              <a:gd name="connsiteY24143" fmla="*/ 3490842 h 7458372"/>
              <a:gd name="connsiteX24144" fmla="*/ 928063 w 10505529"/>
              <a:gd name="connsiteY24144" fmla="*/ 3500292 h 7458372"/>
              <a:gd name="connsiteX24145" fmla="*/ 930326 w 10505529"/>
              <a:gd name="connsiteY24145" fmla="*/ 3511741 h 7458372"/>
              <a:gd name="connsiteX24146" fmla="*/ 928063 w 10505529"/>
              <a:gd name="connsiteY24146" fmla="*/ 3523456 h 7458372"/>
              <a:gd name="connsiteX24147" fmla="*/ 921941 w 10505529"/>
              <a:gd name="connsiteY24147" fmla="*/ 3532774 h 7458372"/>
              <a:gd name="connsiteX24148" fmla="*/ 912622 w 10505529"/>
              <a:gd name="connsiteY24148" fmla="*/ 3539030 h 7458372"/>
              <a:gd name="connsiteX24149" fmla="*/ 900907 w 10505529"/>
              <a:gd name="connsiteY24149" fmla="*/ 3541293 h 7458372"/>
              <a:gd name="connsiteX24150" fmla="*/ 879076 w 10505529"/>
              <a:gd name="connsiteY24150" fmla="*/ 3532774 h 7458372"/>
              <a:gd name="connsiteX24151" fmla="*/ 870691 w 10505529"/>
              <a:gd name="connsiteY24151" fmla="*/ 3511608 h 7458372"/>
              <a:gd name="connsiteX24152" fmla="*/ 879076 w 10505529"/>
              <a:gd name="connsiteY24152" fmla="*/ 3490575 h 7458372"/>
              <a:gd name="connsiteX24153" fmla="*/ 900907 w 10505529"/>
              <a:gd name="connsiteY24153" fmla="*/ 3481923 h 7458372"/>
              <a:gd name="connsiteX24154" fmla="*/ 683265 w 10505529"/>
              <a:gd name="connsiteY24154" fmla="*/ 3481923 h 7458372"/>
              <a:gd name="connsiteX24155" fmla="*/ 694981 w 10505529"/>
              <a:gd name="connsiteY24155" fmla="*/ 3484451 h 7458372"/>
              <a:gd name="connsiteX24156" fmla="*/ 704298 w 10505529"/>
              <a:gd name="connsiteY24156" fmla="*/ 3490842 h 7458372"/>
              <a:gd name="connsiteX24157" fmla="*/ 710421 w 10505529"/>
              <a:gd name="connsiteY24157" fmla="*/ 3500292 h 7458372"/>
              <a:gd name="connsiteX24158" fmla="*/ 712684 w 10505529"/>
              <a:gd name="connsiteY24158" fmla="*/ 3511741 h 7458372"/>
              <a:gd name="connsiteX24159" fmla="*/ 710421 w 10505529"/>
              <a:gd name="connsiteY24159" fmla="*/ 3523456 h 7458372"/>
              <a:gd name="connsiteX24160" fmla="*/ 704298 w 10505529"/>
              <a:gd name="connsiteY24160" fmla="*/ 3532774 h 7458372"/>
              <a:gd name="connsiteX24161" fmla="*/ 694981 w 10505529"/>
              <a:gd name="connsiteY24161" fmla="*/ 3539030 h 7458372"/>
              <a:gd name="connsiteX24162" fmla="*/ 683265 w 10505529"/>
              <a:gd name="connsiteY24162" fmla="*/ 3541293 h 7458372"/>
              <a:gd name="connsiteX24163" fmla="*/ 661434 w 10505529"/>
              <a:gd name="connsiteY24163" fmla="*/ 3532774 h 7458372"/>
              <a:gd name="connsiteX24164" fmla="*/ 653048 w 10505529"/>
              <a:gd name="connsiteY24164" fmla="*/ 3511608 h 7458372"/>
              <a:gd name="connsiteX24165" fmla="*/ 661434 w 10505529"/>
              <a:gd name="connsiteY24165" fmla="*/ 3490575 h 7458372"/>
              <a:gd name="connsiteX24166" fmla="*/ 683265 w 10505529"/>
              <a:gd name="connsiteY24166" fmla="*/ 3481923 h 7458372"/>
              <a:gd name="connsiteX24167" fmla="*/ 465623 w 10505529"/>
              <a:gd name="connsiteY24167" fmla="*/ 3481923 h 7458372"/>
              <a:gd name="connsiteX24168" fmla="*/ 477338 w 10505529"/>
              <a:gd name="connsiteY24168" fmla="*/ 3484451 h 7458372"/>
              <a:gd name="connsiteX24169" fmla="*/ 486656 w 10505529"/>
              <a:gd name="connsiteY24169" fmla="*/ 3490842 h 7458372"/>
              <a:gd name="connsiteX24170" fmla="*/ 492779 w 10505529"/>
              <a:gd name="connsiteY24170" fmla="*/ 3500292 h 7458372"/>
              <a:gd name="connsiteX24171" fmla="*/ 495042 w 10505529"/>
              <a:gd name="connsiteY24171" fmla="*/ 3511741 h 7458372"/>
              <a:gd name="connsiteX24172" fmla="*/ 492779 w 10505529"/>
              <a:gd name="connsiteY24172" fmla="*/ 3523456 h 7458372"/>
              <a:gd name="connsiteX24173" fmla="*/ 486656 w 10505529"/>
              <a:gd name="connsiteY24173" fmla="*/ 3532774 h 7458372"/>
              <a:gd name="connsiteX24174" fmla="*/ 477338 w 10505529"/>
              <a:gd name="connsiteY24174" fmla="*/ 3539030 h 7458372"/>
              <a:gd name="connsiteX24175" fmla="*/ 465623 w 10505529"/>
              <a:gd name="connsiteY24175" fmla="*/ 3541293 h 7458372"/>
              <a:gd name="connsiteX24176" fmla="*/ 443792 w 10505529"/>
              <a:gd name="connsiteY24176" fmla="*/ 3532774 h 7458372"/>
              <a:gd name="connsiteX24177" fmla="*/ 435406 w 10505529"/>
              <a:gd name="connsiteY24177" fmla="*/ 3511608 h 7458372"/>
              <a:gd name="connsiteX24178" fmla="*/ 443792 w 10505529"/>
              <a:gd name="connsiteY24178" fmla="*/ 3490575 h 7458372"/>
              <a:gd name="connsiteX24179" fmla="*/ 465623 w 10505529"/>
              <a:gd name="connsiteY24179" fmla="*/ 3481923 h 7458372"/>
              <a:gd name="connsiteX24180" fmla="*/ 247980 w 10505529"/>
              <a:gd name="connsiteY24180" fmla="*/ 3481923 h 7458372"/>
              <a:gd name="connsiteX24181" fmla="*/ 259695 w 10505529"/>
              <a:gd name="connsiteY24181" fmla="*/ 3484451 h 7458372"/>
              <a:gd name="connsiteX24182" fmla="*/ 269013 w 10505529"/>
              <a:gd name="connsiteY24182" fmla="*/ 3490842 h 7458372"/>
              <a:gd name="connsiteX24183" fmla="*/ 275136 w 10505529"/>
              <a:gd name="connsiteY24183" fmla="*/ 3500292 h 7458372"/>
              <a:gd name="connsiteX24184" fmla="*/ 277399 w 10505529"/>
              <a:gd name="connsiteY24184" fmla="*/ 3511741 h 7458372"/>
              <a:gd name="connsiteX24185" fmla="*/ 275136 w 10505529"/>
              <a:gd name="connsiteY24185" fmla="*/ 3523456 h 7458372"/>
              <a:gd name="connsiteX24186" fmla="*/ 269013 w 10505529"/>
              <a:gd name="connsiteY24186" fmla="*/ 3532774 h 7458372"/>
              <a:gd name="connsiteX24187" fmla="*/ 259695 w 10505529"/>
              <a:gd name="connsiteY24187" fmla="*/ 3539030 h 7458372"/>
              <a:gd name="connsiteX24188" fmla="*/ 247980 w 10505529"/>
              <a:gd name="connsiteY24188" fmla="*/ 3541293 h 7458372"/>
              <a:gd name="connsiteX24189" fmla="*/ 226150 w 10505529"/>
              <a:gd name="connsiteY24189" fmla="*/ 3532774 h 7458372"/>
              <a:gd name="connsiteX24190" fmla="*/ 217764 w 10505529"/>
              <a:gd name="connsiteY24190" fmla="*/ 3511608 h 7458372"/>
              <a:gd name="connsiteX24191" fmla="*/ 226150 w 10505529"/>
              <a:gd name="connsiteY24191" fmla="*/ 3490575 h 7458372"/>
              <a:gd name="connsiteX24192" fmla="*/ 247980 w 10505529"/>
              <a:gd name="connsiteY24192" fmla="*/ 3481923 h 7458372"/>
              <a:gd name="connsiteX24193" fmla="*/ 30337 w 10505529"/>
              <a:gd name="connsiteY24193" fmla="*/ 3481923 h 7458372"/>
              <a:gd name="connsiteX24194" fmla="*/ 42053 w 10505529"/>
              <a:gd name="connsiteY24194" fmla="*/ 3484451 h 7458372"/>
              <a:gd name="connsiteX24195" fmla="*/ 51371 w 10505529"/>
              <a:gd name="connsiteY24195" fmla="*/ 3490842 h 7458372"/>
              <a:gd name="connsiteX24196" fmla="*/ 57494 w 10505529"/>
              <a:gd name="connsiteY24196" fmla="*/ 3500292 h 7458372"/>
              <a:gd name="connsiteX24197" fmla="*/ 59757 w 10505529"/>
              <a:gd name="connsiteY24197" fmla="*/ 3511741 h 7458372"/>
              <a:gd name="connsiteX24198" fmla="*/ 57494 w 10505529"/>
              <a:gd name="connsiteY24198" fmla="*/ 3523456 h 7458372"/>
              <a:gd name="connsiteX24199" fmla="*/ 51371 w 10505529"/>
              <a:gd name="connsiteY24199" fmla="*/ 3532774 h 7458372"/>
              <a:gd name="connsiteX24200" fmla="*/ 42053 w 10505529"/>
              <a:gd name="connsiteY24200" fmla="*/ 3539030 h 7458372"/>
              <a:gd name="connsiteX24201" fmla="*/ 30337 w 10505529"/>
              <a:gd name="connsiteY24201" fmla="*/ 3541293 h 7458372"/>
              <a:gd name="connsiteX24202" fmla="*/ 8508 w 10505529"/>
              <a:gd name="connsiteY24202" fmla="*/ 3532774 h 7458372"/>
              <a:gd name="connsiteX24203" fmla="*/ 122 w 10505529"/>
              <a:gd name="connsiteY24203" fmla="*/ 3511608 h 7458372"/>
              <a:gd name="connsiteX24204" fmla="*/ 8508 w 10505529"/>
              <a:gd name="connsiteY24204" fmla="*/ 3490575 h 7458372"/>
              <a:gd name="connsiteX24205" fmla="*/ 30337 w 10505529"/>
              <a:gd name="connsiteY24205" fmla="*/ 3481923 h 7458372"/>
              <a:gd name="connsiteX24206" fmla="*/ 10475977 w 10505529"/>
              <a:gd name="connsiteY24206" fmla="*/ 3280919 h 7458372"/>
              <a:gd name="connsiteX24207" fmla="*/ 10465992 w 10505529"/>
              <a:gd name="connsiteY24207" fmla="*/ 3284512 h 7458372"/>
              <a:gd name="connsiteX24208" fmla="*/ 10462399 w 10505529"/>
              <a:gd name="connsiteY24208" fmla="*/ 3293962 h 7458372"/>
              <a:gd name="connsiteX24209" fmla="*/ 10465992 w 10505529"/>
              <a:gd name="connsiteY24209" fmla="*/ 3303414 h 7458372"/>
              <a:gd name="connsiteX24210" fmla="*/ 10475977 w 10505529"/>
              <a:gd name="connsiteY24210" fmla="*/ 3306875 h 7458372"/>
              <a:gd name="connsiteX24211" fmla="*/ 10481302 w 10505529"/>
              <a:gd name="connsiteY24211" fmla="*/ 3305943 h 7458372"/>
              <a:gd name="connsiteX24212" fmla="*/ 10485029 w 10505529"/>
              <a:gd name="connsiteY24212" fmla="*/ 3303547 h 7458372"/>
              <a:gd name="connsiteX24213" fmla="*/ 10487691 w 10505529"/>
              <a:gd name="connsiteY24213" fmla="*/ 3299421 h 7458372"/>
              <a:gd name="connsiteX24214" fmla="*/ 10488623 w 10505529"/>
              <a:gd name="connsiteY24214" fmla="*/ 3293962 h 7458372"/>
              <a:gd name="connsiteX24215" fmla="*/ 10487691 w 10505529"/>
              <a:gd name="connsiteY24215" fmla="*/ 3288772 h 7458372"/>
              <a:gd name="connsiteX24216" fmla="*/ 10485029 w 10505529"/>
              <a:gd name="connsiteY24216" fmla="*/ 3284512 h 7458372"/>
              <a:gd name="connsiteX24217" fmla="*/ 10481035 w 10505529"/>
              <a:gd name="connsiteY24217" fmla="*/ 3281849 h 7458372"/>
              <a:gd name="connsiteX24218" fmla="*/ 10475977 w 10505529"/>
              <a:gd name="connsiteY24218" fmla="*/ 3280919 h 7458372"/>
              <a:gd name="connsiteX24219" fmla="*/ 10258466 w 10505529"/>
              <a:gd name="connsiteY24219" fmla="*/ 3280919 h 7458372"/>
              <a:gd name="connsiteX24220" fmla="*/ 10248481 w 10505529"/>
              <a:gd name="connsiteY24220" fmla="*/ 3284512 h 7458372"/>
              <a:gd name="connsiteX24221" fmla="*/ 10244887 w 10505529"/>
              <a:gd name="connsiteY24221" fmla="*/ 3293962 h 7458372"/>
              <a:gd name="connsiteX24222" fmla="*/ 10248481 w 10505529"/>
              <a:gd name="connsiteY24222" fmla="*/ 3303414 h 7458372"/>
              <a:gd name="connsiteX24223" fmla="*/ 10258466 w 10505529"/>
              <a:gd name="connsiteY24223" fmla="*/ 3306875 h 7458372"/>
              <a:gd name="connsiteX24224" fmla="*/ 10263790 w 10505529"/>
              <a:gd name="connsiteY24224" fmla="*/ 3305943 h 7458372"/>
              <a:gd name="connsiteX24225" fmla="*/ 10267517 w 10505529"/>
              <a:gd name="connsiteY24225" fmla="*/ 3303547 h 7458372"/>
              <a:gd name="connsiteX24226" fmla="*/ 10270180 w 10505529"/>
              <a:gd name="connsiteY24226" fmla="*/ 3299421 h 7458372"/>
              <a:gd name="connsiteX24227" fmla="*/ 10271112 w 10505529"/>
              <a:gd name="connsiteY24227" fmla="*/ 3293962 h 7458372"/>
              <a:gd name="connsiteX24228" fmla="*/ 10270180 w 10505529"/>
              <a:gd name="connsiteY24228" fmla="*/ 3288772 h 7458372"/>
              <a:gd name="connsiteX24229" fmla="*/ 10267517 w 10505529"/>
              <a:gd name="connsiteY24229" fmla="*/ 3284512 h 7458372"/>
              <a:gd name="connsiteX24230" fmla="*/ 10263524 w 10505529"/>
              <a:gd name="connsiteY24230" fmla="*/ 3281849 h 7458372"/>
              <a:gd name="connsiteX24231" fmla="*/ 10258466 w 10505529"/>
              <a:gd name="connsiteY24231" fmla="*/ 3280919 h 7458372"/>
              <a:gd name="connsiteX24232" fmla="*/ 10040820 w 10505529"/>
              <a:gd name="connsiteY24232" fmla="*/ 3280919 h 7458372"/>
              <a:gd name="connsiteX24233" fmla="*/ 10030835 w 10505529"/>
              <a:gd name="connsiteY24233" fmla="*/ 3284512 h 7458372"/>
              <a:gd name="connsiteX24234" fmla="*/ 10027242 w 10505529"/>
              <a:gd name="connsiteY24234" fmla="*/ 3293962 h 7458372"/>
              <a:gd name="connsiteX24235" fmla="*/ 10030835 w 10505529"/>
              <a:gd name="connsiteY24235" fmla="*/ 3303414 h 7458372"/>
              <a:gd name="connsiteX24236" fmla="*/ 10040820 w 10505529"/>
              <a:gd name="connsiteY24236" fmla="*/ 3306875 h 7458372"/>
              <a:gd name="connsiteX24237" fmla="*/ 10046145 w 10505529"/>
              <a:gd name="connsiteY24237" fmla="*/ 3305943 h 7458372"/>
              <a:gd name="connsiteX24238" fmla="*/ 10049872 w 10505529"/>
              <a:gd name="connsiteY24238" fmla="*/ 3303547 h 7458372"/>
              <a:gd name="connsiteX24239" fmla="*/ 10052534 w 10505529"/>
              <a:gd name="connsiteY24239" fmla="*/ 3299421 h 7458372"/>
              <a:gd name="connsiteX24240" fmla="*/ 10053599 w 10505529"/>
              <a:gd name="connsiteY24240" fmla="*/ 3293962 h 7458372"/>
              <a:gd name="connsiteX24241" fmla="*/ 10052534 w 10505529"/>
              <a:gd name="connsiteY24241" fmla="*/ 3288772 h 7458372"/>
              <a:gd name="connsiteX24242" fmla="*/ 10049872 w 10505529"/>
              <a:gd name="connsiteY24242" fmla="*/ 3284512 h 7458372"/>
              <a:gd name="connsiteX24243" fmla="*/ 10045878 w 10505529"/>
              <a:gd name="connsiteY24243" fmla="*/ 3281849 h 7458372"/>
              <a:gd name="connsiteX24244" fmla="*/ 10040820 w 10505529"/>
              <a:gd name="connsiteY24244" fmla="*/ 3280919 h 7458372"/>
              <a:gd name="connsiteX24245" fmla="*/ 9823176 w 10505529"/>
              <a:gd name="connsiteY24245" fmla="*/ 3280919 h 7458372"/>
              <a:gd name="connsiteX24246" fmla="*/ 9813191 w 10505529"/>
              <a:gd name="connsiteY24246" fmla="*/ 3284512 h 7458372"/>
              <a:gd name="connsiteX24247" fmla="*/ 9809597 w 10505529"/>
              <a:gd name="connsiteY24247" fmla="*/ 3293962 h 7458372"/>
              <a:gd name="connsiteX24248" fmla="*/ 9813191 w 10505529"/>
              <a:gd name="connsiteY24248" fmla="*/ 3303414 h 7458372"/>
              <a:gd name="connsiteX24249" fmla="*/ 9823176 w 10505529"/>
              <a:gd name="connsiteY24249" fmla="*/ 3306875 h 7458372"/>
              <a:gd name="connsiteX24250" fmla="*/ 9828501 w 10505529"/>
              <a:gd name="connsiteY24250" fmla="*/ 3305943 h 7458372"/>
              <a:gd name="connsiteX24251" fmla="*/ 9832227 w 10505529"/>
              <a:gd name="connsiteY24251" fmla="*/ 3303547 h 7458372"/>
              <a:gd name="connsiteX24252" fmla="*/ 9834890 w 10505529"/>
              <a:gd name="connsiteY24252" fmla="*/ 3299421 h 7458372"/>
              <a:gd name="connsiteX24253" fmla="*/ 9835955 w 10505529"/>
              <a:gd name="connsiteY24253" fmla="*/ 3293962 h 7458372"/>
              <a:gd name="connsiteX24254" fmla="*/ 9834890 w 10505529"/>
              <a:gd name="connsiteY24254" fmla="*/ 3288772 h 7458372"/>
              <a:gd name="connsiteX24255" fmla="*/ 9832227 w 10505529"/>
              <a:gd name="connsiteY24255" fmla="*/ 3284512 h 7458372"/>
              <a:gd name="connsiteX24256" fmla="*/ 9828234 w 10505529"/>
              <a:gd name="connsiteY24256" fmla="*/ 3281849 h 7458372"/>
              <a:gd name="connsiteX24257" fmla="*/ 9823176 w 10505529"/>
              <a:gd name="connsiteY24257" fmla="*/ 3280919 h 7458372"/>
              <a:gd name="connsiteX24258" fmla="*/ 9605531 w 10505529"/>
              <a:gd name="connsiteY24258" fmla="*/ 3280919 h 7458372"/>
              <a:gd name="connsiteX24259" fmla="*/ 9595546 w 10505529"/>
              <a:gd name="connsiteY24259" fmla="*/ 3284512 h 7458372"/>
              <a:gd name="connsiteX24260" fmla="*/ 9591952 w 10505529"/>
              <a:gd name="connsiteY24260" fmla="*/ 3293962 h 7458372"/>
              <a:gd name="connsiteX24261" fmla="*/ 9595546 w 10505529"/>
              <a:gd name="connsiteY24261" fmla="*/ 3303414 h 7458372"/>
              <a:gd name="connsiteX24262" fmla="*/ 9605531 w 10505529"/>
              <a:gd name="connsiteY24262" fmla="*/ 3306875 h 7458372"/>
              <a:gd name="connsiteX24263" fmla="*/ 9610855 w 10505529"/>
              <a:gd name="connsiteY24263" fmla="*/ 3305943 h 7458372"/>
              <a:gd name="connsiteX24264" fmla="*/ 9614582 w 10505529"/>
              <a:gd name="connsiteY24264" fmla="*/ 3303547 h 7458372"/>
              <a:gd name="connsiteX24265" fmla="*/ 9617245 w 10505529"/>
              <a:gd name="connsiteY24265" fmla="*/ 3299421 h 7458372"/>
              <a:gd name="connsiteX24266" fmla="*/ 9618309 w 10505529"/>
              <a:gd name="connsiteY24266" fmla="*/ 3293962 h 7458372"/>
              <a:gd name="connsiteX24267" fmla="*/ 9617245 w 10505529"/>
              <a:gd name="connsiteY24267" fmla="*/ 3288772 h 7458372"/>
              <a:gd name="connsiteX24268" fmla="*/ 9614582 w 10505529"/>
              <a:gd name="connsiteY24268" fmla="*/ 3284512 h 7458372"/>
              <a:gd name="connsiteX24269" fmla="*/ 9610589 w 10505529"/>
              <a:gd name="connsiteY24269" fmla="*/ 3281849 h 7458372"/>
              <a:gd name="connsiteX24270" fmla="*/ 9605531 w 10505529"/>
              <a:gd name="connsiteY24270" fmla="*/ 3280919 h 7458372"/>
              <a:gd name="connsiteX24271" fmla="*/ 9387885 w 10505529"/>
              <a:gd name="connsiteY24271" fmla="*/ 3280919 h 7458372"/>
              <a:gd name="connsiteX24272" fmla="*/ 9377900 w 10505529"/>
              <a:gd name="connsiteY24272" fmla="*/ 3284512 h 7458372"/>
              <a:gd name="connsiteX24273" fmla="*/ 9374307 w 10505529"/>
              <a:gd name="connsiteY24273" fmla="*/ 3293962 h 7458372"/>
              <a:gd name="connsiteX24274" fmla="*/ 9377900 w 10505529"/>
              <a:gd name="connsiteY24274" fmla="*/ 3303414 h 7458372"/>
              <a:gd name="connsiteX24275" fmla="*/ 9387885 w 10505529"/>
              <a:gd name="connsiteY24275" fmla="*/ 3306875 h 7458372"/>
              <a:gd name="connsiteX24276" fmla="*/ 9393210 w 10505529"/>
              <a:gd name="connsiteY24276" fmla="*/ 3305943 h 7458372"/>
              <a:gd name="connsiteX24277" fmla="*/ 9396937 w 10505529"/>
              <a:gd name="connsiteY24277" fmla="*/ 3303547 h 7458372"/>
              <a:gd name="connsiteX24278" fmla="*/ 9399599 w 10505529"/>
              <a:gd name="connsiteY24278" fmla="*/ 3299421 h 7458372"/>
              <a:gd name="connsiteX24279" fmla="*/ 9400664 w 10505529"/>
              <a:gd name="connsiteY24279" fmla="*/ 3293962 h 7458372"/>
              <a:gd name="connsiteX24280" fmla="*/ 9399599 w 10505529"/>
              <a:gd name="connsiteY24280" fmla="*/ 3288772 h 7458372"/>
              <a:gd name="connsiteX24281" fmla="*/ 9396937 w 10505529"/>
              <a:gd name="connsiteY24281" fmla="*/ 3284512 h 7458372"/>
              <a:gd name="connsiteX24282" fmla="*/ 9392943 w 10505529"/>
              <a:gd name="connsiteY24282" fmla="*/ 3281849 h 7458372"/>
              <a:gd name="connsiteX24283" fmla="*/ 9387885 w 10505529"/>
              <a:gd name="connsiteY24283" fmla="*/ 3280919 h 7458372"/>
              <a:gd name="connsiteX24284" fmla="*/ 9170374 w 10505529"/>
              <a:gd name="connsiteY24284" fmla="*/ 3280919 h 7458372"/>
              <a:gd name="connsiteX24285" fmla="*/ 9160389 w 10505529"/>
              <a:gd name="connsiteY24285" fmla="*/ 3284512 h 7458372"/>
              <a:gd name="connsiteX24286" fmla="*/ 9156795 w 10505529"/>
              <a:gd name="connsiteY24286" fmla="*/ 3293962 h 7458372"/>
              <a:gd name="connsiteX24287" fmla="*/ 9160389 w 10505529"/>
              <a:gd name="connsiteY24287" fmla="*/ 3303414 h 7458372"/>
              <a:gd name="connsiteX24288" fmla="*/ 9170374 w 10505529"/>
              <a:gd name="connsiteY24288" fmla="*/ 3306875 h 7458372"/>
              <a:gd name="connsiteX24289" fmla="*/ 9175698 w 10505529"/>
              <a:gd name="connsiteY24289" fmla="*/ 3305943 h 7458372"/>
              <a:gd name="connsiteX24290" fmla="*/ 9179425 w 10505529"/>
              <a:gd name="connsiteY24290" fmla="*/ 3303547 h 7458372"/>
              <a:gd name="connsiteX24291" fmla="*/ 9182088 w 10505529"/>
              <a:gd name="connsiteY24291" fmla="*/ 3299421 h 7458372"/>
              <a:gd name="connsiteX24292" fmla="*/ 9183152 w 10505529"/>
              <a:gd name="connsiteY24292" fmla="*/ 3293962 h 7458372"/>
              <a:gd name="connsiteX24293" fmla="*/ 9182088 w 10505529"/>
              <a:gd name="connsiteY24293" fmla="*/ 3288772 h 7458372"/>
              <a:gd name="connsiteX24294" fmla="*/ 9179425 w 10505529"/>
              <a:gd name="connsiteY24294" fmla="*/ 3284512 h 7458372"/>
              <a:gd name="connsiteX24295" fmla="*/ 9175432 w 10505529"/>
              <a:gd name="connsiteY24295" fmla="*/ 3281849 h 7458372"/>
              <a:gd name="connsiteX24296" fmla="*/ 9170374 w 10505529"/>
              <a:gd name="connsiteY24296" fmla="*/ 3280919 h 7458372"/>
              <a:gd name="connsiteX24297" fmla="*/ 8952728 w 10505529"/>
              <a:gd name="connsiteY24297" fmla="*/ 3280919 h 7458372"/>
              <a:gd name="connsiteX24298" fmla="*/ 8942743 w 10505529"/>
              <a:gd name="connsiteY24298" fmla="*/ 3284512 h 7458372"/>
              <a:gd name="connsiteX24299" fmla="*/ 8939150 w 10505529"/>
              <a:gd name="connsiteY24299" fmla="*/ 3293962 h 7458372"/>
              <a:gd name="connsiteX24300" fmla="*/ 8942743 w 10505529"/>
              <a:gd name="connsiteY24300" fmla="*/ 3303414 h 7458372"/>
              <a:gd name="connsiteX24301" fmla="*/ 8952728 w 10505529"/>
              <a:gd name="connsiteY24301" fmla="*/ 3306875 h 7458372"/>
              <a:gd name="connsiteX24302" fmla="*/ 8958053 w 10505529"/>
              <a:gd name="connsiteY24302" fmla="*/ 3305943 h 7458372"/>
              <a:gd name="connsiteX24303" fmla="*/ 8961780 w 10505529"/>
              <a:gd name="connsiteY24303" fmla="*/ 3303547 h 7458372"/>
              <a:gd name="connsiteX24304" fmla="*/ 8964442 w 10505529"/>
              <a:gd name="connsiteY24304" fmla="*/ 3299421 h 7458372"/>
              <a:gd name="connsiteX24305" fmla="*/ 8965507 w 10505529"/>
              <a:gd name="connsiteY24305" fmla="*/ 3293962 h 7458372"/>
              <a:gd name="connsiteX24306" fmla="*/ 8964442 w 10505529"/>
              <a:gd name="connsiteY24306" fmla="*/ 3288772 h 7458372"/>
              <a:gd name="connsiteX24307" fmla="*/ 8961780 w 10505529"/>
              <a:gd name="connsiteY24307" fmla="*/ 3284512 h 7458372"/>
              <a:gd name="connsiteX24308" fmla="*/ 8957786 w 10505529"/>
              <a:gd name="connsiteY24308" fmla="*/ 3281849 h 7458372"/>
              <a:gd name="connsiteX24309" fmla="*/ 8952728 w 10505529"/>
              <a:gd name="connsiteY24309" fmla="*/ 3280919 h 7458372"/>
              <a:gd name="connsiteX24310" fmla="*/ 8735083 w 10505529"/>
              <a:gd name="connsiteY24310" fmla="*/ 3280919 h 7458372"/>
              <a:gd name="connsiteX24311" fmla="*/ 8725098 w 10505529"/>
              <a:gd name="connsiteY24311" fmla="*/ 3284512 h 7458372"/>
              <a:gd name="connsiteX24312" fmla="*/ 8721504 w 10505529"/>
              <a:gd name="connsiteY24312" fmla="*/ 3293962 h 7458372"/>
              <a:gd name="connsiteX24313" fmla="*/ 8725098 w 10505529"/>
              <a:gd name="connsiteY24313" fmla="*/ 3303414 h 7458372"/>
              <a:gd name="connsiteX24314" fmla="*/ 8735083 w 10505529"/>
              <a:gd name="connsiteY24314" fmla="*/ 3306875 h 7458372"/>
              <a:gd name="connsiteX24315" fmla="*/ 8740407 w 10505529"/>
              <a:gd name="connsiteY24315" fmla="*/ 3305943 h 7458372"/>
              <a:gd name="connsiteX24316" fmla="*/ 8744134 w 10505529"/>
              <a:gd name="connsiteY24316" fmla="*/ 3303547 h 7458372"/>
              <a:gd name="connsiteX24317" fmla="*/ 8746797 w 10505529"/>
              <a:gd name="connsiteY24317" fmla="*/ 3299421 h 7458372"/>
              <a:gd name="connsiteX24318" fmla="*/ 8747862 w 10505529"/>
              <a:gd name="connsiteY24318" fmla="*/ 3293962 h 7458372"/>
              <a:gd name="connsiteX24319" fmla="*/ 8746797 w 10505529"/>
              <a:gd name="connsiteY24319" fmla="*/ 3288772 h 7458372"/>
              <a:gd name="connsiteX24320" fmla="*/ 8744134 w 10505529"/>
              <a:gd name="connsiteY24320" fmla="*/ 3284512 h 7458372"/>
              <a:gd name="connsiteX24321" fmla="*/ 8740141 w 10505529"/>
              <a:gd name="connsiteY24321" fmla="*/ 3281849 h 7458372"/>
              <a:gd name="connsiteX24322" fmla="*/ 8735083 w 10505529"/>
              <a:gd name="connsiteY24322" fmla="*/ 3280919 h 7458372"/>
              <a:gd name="connsiteX24323" fmla="*/ 8517438 w 10505529"/>
              <a:gd name="connsiteY24323" fmla="*/ 3280919 h 7458372"/>
              <a:gd name="connsiteX24324" fmla="*/ 8507453 w 10505529"/>
              <a:gd name="connsiteY24324" fmla="*/ 3284512 h 7458372"/>
              <a:gd name="connsiteX24325" fmla="*/ 8503860 w 10505529"/>
              <a:gd name="connsiteY24325" fmla="*/ 3293962 h 7458372"/>
              <a:gd name="connsiteX24326" fmla="*/ 8507453 w 10505529"/>
              <a:gd name="connsiteY24326" fmla="*/ 3303414 h 7458372"/>
              <a:gd name="connsiteX24327" fmla="*/ 8517438 w 10505529"/>
              <a:gd name="connsiteY24327" fmla="*/ 3306875 h 7458372"/>
              <a:gd name="connsiteX24328" fmla="*/ 8522763 w 10505529"/>
              <a:gd name="connsiteY24328" fmla="*/ 3305943 h 7458372"/>
              <a:gd name="connsiteX24329" fmla="*/ 8526490 w 10505529"/>
              <a:gd name="connsiteY24329" fmla="*/ 3303547 h 7458372"/>
              <a:gd name="connsiteX24330" fmla="*/ 8529152 w 10505529"/>
              <a:gd name="connsiteY24330" fmla="*/ 3299421 h 7458372"/>
              <a:gd name="connsiteX24331" fmla="*/ 8530084 w 10505529"/>
              <a:gd name="connsiteY24331" fmla="*/ 3293962 h 7458372"/>
              <a:gd name="connsiteX24332" fmla="*/ 8529152 w 10505529"/>
              <a:gd name="connsiteY24332" fmla="*/ 3288772 h 7458372"/>
              <a:gd name="connsiteX24333" fmla="*/ 8526490 w 10505529"/>
              <a:gd name="connsiteY24333" fmla="*/ 3284512 h 7458372"/>
              <a:gd name="connsiteX24334" fmla="*/ 8522496 w 10505529"/>
              <a:gd name="connsiteY24334" fmla="*/ 3281849 h 7458372"/>
              <a:gd name="connsiteX24335" fmla="*/ 8517438 w 10505529"/>
              <a:gd name="connsiteY24335" fmla="*/ 3280919 h 7458372"/>
              <a:gd name="connsiteX24336" fmla="*/ 8299793 w 10505529"/>
              <a:gd name="connsiteY24336" fmla="*/ 3280919 h 7458372"/>
              <a:gd name="connsiteX24337" fmla="*/ 8289809 w 10505529"/>
              <a:gd name="connsiteY24337" fmla="*/ 3284512 h 7458372"/>
              <a:gd name="connsiteX24338" fmla="*/ 8286215 w 10505529"/>
              <a:gd name="connsiteY24338" fmla="*/ 3293962 h 7458372"/>
              <a:gd name="connsiteX24339" fmla="*/ 8289809 w 10505529"/>
              <a:gd name="connsiteY24339" fmla="*/ 3303414 h 7458372"/>
              <a:gd name="connsiteX24340" fmla="*/ 8299793 w 10505529"/>
              <a:gd name="connsiteY24340" fmla="*/ 3306875 h 7458372"/>
              <a:gd name="connsiteX24341" fmla="*/ 8305118 w 10505529"/>
              <a:gd name="connsiteY24341" fmla="*/ 3305943 h 7458372"/>
              <a:gd name="connsiteX24342" fmla="*/ 8308844 w 10505529"/>
              <a:gd name="connsiteY24342" fmla="*/ 3303547 h 7458372"/>
              <a:gd name="connsiteX24343" fmla="*/ 8311507 w 10505529"/>
              <a:gd name="connsiteY24343" fmla="*/ 3299421 h 7458372"/>
              <a:gd name="connsiteX24344" fmla="*/ 8312439 w 10505529"/>
              <a:gd name="connsiteY24344" fmla="*/ 3293962 h 7458372"/>
              <a:gd name="connsiteX24345" fmla="*/ 8311507 w 10505529"/>
              <a:gd name="connsiteY24345" fmla="*/ 3288772 h 7458372"/>
              <a:gd name="connsiteX24346" fmla="*/ 8308844 w 10505529"/>
              <a:gd name="connsiteY24346" fmla="*/ 3284512 h 7458372"/>
              <a:gd name="connsiteX24347" fmla="*/ 8304851 w 10505529"/>
              <a:gd name="connsiteY24347" fmla="*/ 3281849 h 7458372"/>
              <a:gd name="connsiteX24348" fmla="*/ 8299793 w 10505529"/>
              <a:gd name="connsiteY24348" fmla="*/ 3280919 h 7458372"/>
              <a:gd name="connsiteX24349" fmla="*/ 8082281 w 10505529"/>
              <a:gd name="connsiteY24349" fmla="*/ 3280919 h 7458372"/>
              <a:gd name="connsiteX24350" fmla="*/ 8072297 w 10505529"/>
              <a:gd name="connsiteY24350" fmla="*/ 3284512 h 7458372"/>
              <a:gd name="connsiteX24351" fmla="*/ 8068703 w 10505529"/>
              <a:gd name="connsiteY24351" fmla="*/ 3293962 h 7458372"/>
              <a:gd name="connsiteX24352" fmla="*/ 8072297 w 10505529"/>
              <a:gd name="connsiteY24352" fmla="*/ 3303414 h 7458372"/>
              <a:gd name="connsiteX24353" fmla="*/ 8082281 w 10505529"/>
              <a:gd name="connsiteY24353" fmla="*/ 3306875 h 7458372"/>
              <a:gd name="connsiteX24354" fmla="*/ 8087605 w 10505529"/>
              <a:gd name="connsiteY24354" fmla="*/ 3305943 h 7458372"/>
              <a:gd name="connsiteX24355" fmla="*/ 8091332 w 10505529"/>
              <a:gd name="connsiteY24355" fmla="*/ 3303547 h 7458372"/>
              <a:gd name="connsiteX24356" fmla="*/ 8093994 w 10505529"/>
              <a:gd name="connsiteY24356" fmla="*/ 3299421 h 7458372"/>
              <a:gd name="connsiteX24357" fmla="*/ 8094926 w 10505529"/>
              <a:gd name="connsiteY24357" fmla="*/ 3293962 h 7458372"/>
              <a:gd name="connsiteX24358" fmla="*/ 8093994 w 10505529"/>
              <a:gd name="connsiteY24358" fmla="*/ 3288772 h 7458372"/>
              <a:gd name="connsiteX24359" fmla="*/ 8091332 w 10505529"/>
              <a:gd name="connsiteY24359" fmla="*/ 3284512 h 7458372"/>
              <a:gd name="connsiteX24360" fmla="*/ 8087338 w 10505529"/>
              <a:gd name="connsiteY24360" fmla="*/ 3281849 h 7458372"/>
              <a:gd name="connsiteX24361" fmla="*/ 8082281 w 10505529"/>
              <a:gd name="connsiteY24361" fmla="*/ 3280919 h 7458372"/>
              <a:gd name="connsiteX24362" fmla="*/ 7864636 w 10505529"/>
              <a:gd name="connsiteY24362" fmla="*/ 3280919 h 7458372"/>
              <a:gd name="connsiteX24363" fmla="*/ 7854652 w 10505529"/>
              <a:gd name="connsiteY24363" fmla="*/ 3284512 h 7458372"/>
              <a:gd name="connsiteX24364" fmla="*/ 7851058 w 10505529"/>
              <a:gd name="connsiteY24364" fmla="*/ 3293962 h 7458372"/>
              <a:gd name="connsiteX24365" fmla="*/ 7854652 w 10505529"/>
              <a:gd name="connsiteY24365" fmla="*/ 3303414 h 7458372"/>
              <a:gd name="connsiteX24366" fmla="*/ 7864636 w 10505529"/>
              <a:gd name="connsiteY24366" fmla="*/ 3306875 h 7458372"/>
              <a:gd name="connsiteX24367" fmla="*/ 7869961 w 10505529"/>
              <a:gd name="connsiteY24367" fmla="*/ 3305943 h 7458372"/>
              <a:gd name="connsiteX24368" fmla="*/ 7873687 w 10505529"/>
              <a:gd name="connsiteY24368" fmla="*/ 3303547 h 7458372"/>
              <a:gd name="connsiteX24369" fmla="*/ 7876350 w 10505529"/>
              <a:gd name="connsiteY24369" fmla="*/ 3299421 h 7458372"/>
              <a:gd name="connsiteX24370" fmla="*/ 7877282 w 10505529"/>
              <a:gd name="connsiteY24370" fmla="*/ 3293962 h 7458372"/>
              <a:gd name="connsiteX24371" fmla="*/ 7876350 w 10505529"/>
              <a:gd name="connsiteY24371" fmla="*/ 3288772 h 7458372"/>
              <a:gd name="connsiteX24372" fmla="*/ 7873687 w 10505529"/>
              <a:gd name="connsiteY24372" fmla="*/ 3284512 h 7458372"/>
              <a:gd name="connsiteX24373" fmla="*/ 7869694 w 10505529"/>
              <a:gd name="connsiteY24373" fmla="*/ 3281849 h 7458372"/>
              <a:gd name="connsiteX24374" fmla="*/ 7864636 w 10505529"/>
              <a:gd name="connsiteY24374" fmla="*/ 3280919 h 7458372"/>
              <a:gd name="connsiteX24375" fmla="*/ 7646991 w 10505529"/>
              <a:gd name="connsiteY24375" fmla="*/ 3280919 h 7458372"/>
              <a:gd name="connsiteX24376" fmla="*/ 7637007 w 10505529"/>
              <a:gd name="connsiteY24376" fmla="*/ 3284512 h 7458372"/>
              <a:gd name="connsiteX24377" fmla="*/ 7633413 w 10505529"/>
              <a:gd name="connsiteY24377" fmla="*/ 3293962 h 7458372"/>
              <a:gd name="connsiteX24378" fmla="*/ 7637007 w 10505529"/>
              <a:gd name="connsiteY24378" fmla="*/ 3303414 h 7458372"/>
              <a:gd name="connsiteX24379" fmla="*/ 7646991 w 10505529"/>
              <a:gd name="connsiteY24379" fmla="*/ 3306875 h 7458372"/>
              <a:gd name="connsiteX24380" fmla="*/ 7652315 w 10505529"/>
              <a:gd name="connsiteY24380" fmla="*/ 3305943 h 7458372"/>
              <a:gd name="connsiteX24381" fmla="*/ 7656042 w 10505529"/>
              <a:gd name="connsiteY24381" fmla="*/ 3303547 h 7458372"/>
              <a:gd name="connsiteX24382" fmla="*/ 7658705 w 10505529"/>
              <a:gd name="connsiteY24382" fmla="*/ 3299421 h 7458372"/>
              <a:gd name="connsiteX24383" fmla="*/ 7659769 w 10505529"/>
              <a:gd name="connsiteY24383" fmla="*/ 3293962 h 7458372"/>
              <a:gd name="connsiteX24384" fmla="*/ 7658705 w 10505529"/>
              <a:gd name="connsiteY24384" fmla="*/ 3288772 h 7458372"/>
              <a:gd name="connsiteX24385" fmla="*/ 7656042 w 10505529"/>
              <a:gd name="connsiteY24385" fmla="*/ 3284512 h 7458372"/>
              <a:gd name="connsiteX24386" fmla="*/ 7652049 w 10505529"/>
              <a:gd name="connsiteY24386" fmla="*/ 3281849 h 7458372"/>
              <a:gd name="connsiteX24387" fmla="*/ 7646991 w 10505529"/>
              <a:gd name="connsiteY24387" fmla="*/ 3280919 h 7458372"/>
              <a:gd name="connsiteX24388" fmla="*/ 7429345 w 10505529"/>
              <a:gd name="connsiteY24388" fmla="*/ 3280919 h 7458372"/>
              <a:gd name="connsiteX24389" fmla="*/ 7419361 w 10505529"/>
              <a:gd name="connsiteY24389" fmla="*/ 3284512 h 7458372"/>
              <a:gd name="connsiteX24390" fmla="*/ 7415768 w 10505529"/>
              <a:gd name="connsiteY24390" fmla="*/ 3293962 h 7458372"/>
              <a:gd name="connsiteX24391" fmla="*/ 7419361 w 10505529"/>
              <a:gd name="connsiteY24391" fmla="*/ 3303414 h 7458372"/>
              <a:gd name="connsiteX24392" fmla="*/ 7429345 w 10505529"/>
              <a:gd name="connsiteY24392" fmla="*/ 3306875 h 7458372"/>
              <a:gd name="connsiteX24393" fmla="*/ 7434670 w 10505529"/>
              <a:gd name="connsiteY24393" fmla="*/ 3305943 h 7458372"/>
              <a:gd name="connsiteX24394" fmla="*/ 7438397 w 10505529"/>
              <a:gd name="connsiteY24394" fmla="*/ 3303547 h 7458372"/>
              <a:gd name="connsiteX24395" fmla="*/ 7441059 w 10505529"/>
              <a:gd name="connsiteY24395" fmla="*/ 3299421 h 7458372"/>
              <a:gd name="connsiteX24396" fmla="*/ 7442124 w 10505529"/>
              <a:gd name="connsiteY24396" fmla="*/ 3293962 h 7458372"/>
              <a:gd name="connsiteX24397" fmla="*/ 7441059 w 10505529"/>
              <a:gd name="connsiteY24397" fmla="*/ 3288772 h 7458372"/>
              <a:gd name="connsiteX24398" fmla="*/ 7438397 w 10505529"/>
              <a:gd name="connsiteY24398" fmla="*/ 3284512 h 7458372"/>
              <a:gd name="connsiteX24399" fmla="*/ 7434403 w 10505529"/>
              <a:gd name="connsiteY24399" fmla="*/ 3281849 h 7458372"/>
              <a:gd name="connsiteX24400" fmla="*/ 7429345 w 10505529"/>
              <a:gd name="connsiteY24400" fmla="*/ 3280919 h 7458372"/>
              <a:gd name="connsiteX24401" fmla="*/ 7211701 w 10505529"/>
              <a:gd name="connsiteY24401" fmla="*/ 3280919 h 7458372"/>
              <a:gd name="connsiteX24402" fmla="*/ 7201717 w 10505529"/>
              <a:gd name="connsiteY24402" fmla="*/ 3284512 h 7458372"/>
              <a:gd name="connsiteX24403" fmla="*/ 7198123 w 10505529"/>
              <a:gd name="connsiteY24403" fmla="*/ 3293962 h 7458372"/>
              <a:gd name="connsiteX24404" fmla="*/ 7201717 w 10505529"/>
              <a:gd name="connsiteY24404" fmla="*/ 3303414 h 7458372"/>
              <a:gd name="connsiteX24405" fmla="*/ 7211701 w 10505529"/>
              <a:gd name="connsiteY24405" fmla="*/ 3306875 h 7458372"/>
              <a:gd name="connsiteX24406" fmla="*/ 7217026 w 10505529"/>
              <a:gd name="connsiteY24406" fmla="*/ 3305943 h 7458372"/>
              <a:gd name="connsiteX24407" fmla="*/ 7220752 w 10505529"/>
              <a:gd name="connsiteY24407" fmla="*/ 3303547 h 7458372"/>
              <a:gd name="connsiteX24408" fmla="*/ 7223415 w 10505529"/>
              <a:gd name="connsiteY24408" fmla="*/ 3299421 h 7458372"/>
              <a:gd name="connsiteX24409" fmla="*/ 7224480 w 10505529"/>
              <a:gd name="connsiteY24409" fmla="*/ 3293962 h 7458372"/>
              <a:gd name="connsiteX24410" fmla="*/ 7223415 w 10505529"/>
              <a:gd name="connsiteY24410" fmla="*/ 3288772 h 7458372"/>
              <a:gd name="connsiteX24411" fmla="*/ 7220752 w 10505529"/>
              <a:gd name="connsiteY24411" fmla="*/ 3284512 h 7458372"/>
              <a:gd name="connsiteX24412" fmla="*/ 7216759 w 10505529"/>
              <a:gd name="connsiteY24412" fmla="*/ 3281849 h 7458372"/>
              <a:gd name="connsiteX24413" fmla="*/ 7211701 w 10505529"/>
              <a:gd name="connsiteY24413" fmla="*/ 3280919 h 7458372"/>
              <a:gd name="connsiteX24414" fmla="*/ 6994056 w 10505529"/>
              <a:gd name="connsiteY24414" fmla="*/ 3280919 h 7458372"/>
              <a:gd name="connsiteX24415" fmla="*/ 6984072 w 10505529"/>
              <a:gd name="connsiteY24415" fmla="*/ 3284512 h 7458372"/>
              <a:gd name="connsiteX24416" fmla="*/ 6980478 w 10505529"/>
              <a:gd name="connsiteY24416" fmla="*/ 3293962 h 7458372"/>
              <a:gd name="connsiteX24417" fmla="*/ 6984072 w 10505529"/>
              <a:gd name="connsiteY24417" fmla="*/ 3303414 h 7458372"/>
              <a:gd name="connsiteX24418" fmla="*/ 6994056 w 10505529"/>
              <a:gd name="connsiteY24418" fmla="*/ 3306875 h 7458372"/>
              <a:gd name="connsiteX24419" fmla="*/ 6999380 w 10505529"/>
              <a:gd name="connsiteY24419" fmla="*/ 3305943 h 7458372"/>
              <a:gd name="connsiteX24420" fmla="*/ 7003107 w 10505529"/>
              <a:gd name="connsiteY24420" fmla="*/ 3303547 h 7458372"/>
              <a:gd name="connsiteX24421" fmla="*/ 7005769 w 10505529"/>
              <a:gd name="connsiteY24421" fmla="*/ 3299421 h 7458372"/>
              <a:gd name="connsiteX24422" fmla="*/ 7006834 w 10505529"/>
              <a:gd name="connsiteY24422" fmla="*/ 3293962 h 7458372"/>
              <a:gd name="connsiteX24423" fmla="*/ 7005769 w 10505529"/>
              <a:gd name="connsiteY24423" fmla="*/ 3288772 h 7458372"/>
              <a:gd name="connsiteX24424" fmla="*/ 7003107 w 10505529"/>
              <a:gd name="connsiteY24424" fmla="*/ 3284512 h 7458372"/>
              <a:gd name="connsiteX24425" fmla="*/ 6999113 w 10505529"/>
              <a:gd name="connsiteY24425" fmla="*/ 3281849 h 7458372"/>
              <a:gd name="connsiteX24426" fmla="*/ 6994056 w 10505529"/>
              <a:gd name="connsiteY24426" fmla="*/ 3280919 h 7458372"/>
              <a:gd name="connsiteX24427" fmla="*/ 6776544 w 10505529"/>
              <a:gd name="connsiteY24427" fmla="*/ 3280919 h 7458372"/>
              <a:gd name="connsiteX24428" fmla="*/ 6766560 w 10505529"/>
              <a:gd name="connsiteY24428" fmla="*/ 3284512 h 7458372"/>
              <a:gd name="connsiteX24429" fmla="*/ 6762966 w 10505529"/>
              <a:gd name="connsiteY24429" fmla="*/ 3293962 h 7458372"/>
              <a:gd name="connsiteX24430" fmla="*/ 6766560 w 10505529"/>
              <a:gd name="connsiteY24430" fmla="*/ 3303414 h 7458372"/>
              <a:gd name="connsiteX24431" fmla="*/ 6776544 w 10505529"/>
              <a:gd name="connsiteY24431" fmla="*/ 3306875 h 7458372"/>
              <a:gd name="connsiteX24432" fmla="*/ 6781869 w 10505529"/>
              <a:gd name="connsiteY24432" fmla="*/ 3305943 h 7458372"/>
              <a:gd name="connsiteX24433" fmla="*/ 6785595 w 10505529"/>
              <a:gd name="connsiteY24433" fmla="*/ 3303547 h 7458372"/>
              <a:gd name="connsiteX24434" fmla="*/ 6788258 w 10505529"/>
              <a:gd name="connsiteY24434" fmla="*/ 3299421 h 7458372"/>
              <a:gd name="connsiteX24435" fmla="*/ 6789323 w 10505529"/>
              <a:gd name="connsiteY24435" fmla="*/ 3293962 h 7458372"/>
              <a:gd name="connsiteX24436" fmla="*/ 6788258 w 10505529"/>
              <a:gd name="connsiteY24436" fmla="*/ 3288772 h 7458372"/>
              <a:gd name="connsiteX24437" fmla="*/ 6785595 w 10505529"/>
              <a:gd name="connsiteY24437" fmla="*/ 3284512 h 7458372"/>
              <a:gd name="connsiteX24438" fmla="*/ 6781602 w 10505529"/>
              <a:gd name="connsiteY24438" fmla="*/ 3281849 h 7458372"/>
              <a:gd name="connsiteX24439" fmla="*/ 6776544 w 10505529"/>
              <a:gd name="connsiteY24439" fmla="*/ 3280919 h 7458372"/>
              <a:gd name="connsiteX24440" fmla="*/ 6558899 w 10505529"/>
              <a:gd name="connsiteY24440" fmla="*/ 3280919 h 7458372"/>
              <a:gd name="connsiteX24441" fmla="*/ 6548915 w 10505529"/>
              <a:gd name="connsiteY24441" fmla="*/ 3284512 h 7458372"/>
              <a:gd name="connsiteX24442" fmla="*/ 6545321 w 10505529"/>
              <a:gd name="connsiteY24442" fmla="*/ 3293962 h 7458372"/>
              <a:gd name="connsiteX24443" fmla="*/ 6548915 w 10505529"/>
              <a:gd name="connsiteY24443" fmla="*/ 3303414 h 7458372"/>
              <a:gd name="connsiteX24444" fmla="*/ 6558899 w 10505529"/>
              <a:gd name="connsiteY24444" fmla="*/ 3306875 h 7458372"/>
              <a:gd name="connsiteX24445" fmla="*/ 6564223 w 10505529"/>
              <a:gd name="connsiteY24445" fmla="*/ 3305943 h 7458372"/>
              <a:gd name="connsiteX24446" fmla="*/ 6567950 w 10505529"/>
              <a:gd name="connsiteY24446" fmla="*/ 3303547 h 7458372"/>
              <a:gd name="connsiteX24447" fmla="*/ 6570612 w 10505529"/>
              <a:gd name="connsiteY24447" fmla="*/ 3299421 h 7458372"/>
              <a:gd name="connsiteX24448" fmla="*/ 6571677 w 10505529"/>
              <a:gd name="connsiteY24448" fmla="*/ 3293962 h 7458372"/>
              <a:gd name="connsiteX24449" fmla="*/ 6570612 w 10505529"/>
              <a:gd name="connsiteY24449" fmla="*/ 3288772 h 7458372"/>
              <a:gd name="connsiteX24450" fmla="*/ 6567950 w 10505529"/>
              <a:gd name="connsiteY24450" fmla="*/ 3284512 h 7458372"/>
              <a:gd name="connsiteX24451" fmla="*/ 6563956 w 10505529"/>
              <a:gd name="connsiteY24451" fmla="*/ 3281849 h 7458372"/>
              <a:gd name="connsiteX24452" fmla="*/ 6558899 w 10505529"/>
              <a:gd name="connsiteY24452" fmla="*/ 3280919 h 7458372"/>
              <a:gd name="connsiteX24453" fmla="*/ 6341253 w 10505529"/>
              <a:gd name="connsiteY24453" fmla="*/ 3280919 h 7458372"/>
              <a:gd name="connsiteX24454" fmla="*/ 6331270 w 10505529"/>
              <a:gd name="connsiteY24454" fmla="*/ 3284512 h 7458372"/>
              <a:gd name="connsiteX24455" fmla="*/ 6327675 w 10505529"/>
              <a:gd name="connsiteY24455" fmla="*/ 3293962 h 7458372"/>
              <a:gd name="connsiteX24456" fmla="*/ 6331270 w 10505529"/>
              <a:gd name="connsiteY24456" fmla="*/ 3303414 h 7458372"/>
              <a:gd name="connsiteX24457" fmla="*/ 6341253 w 10505529"/>
              <a:gd name="connsiteY24457" fmla="*/ 3306875 h 7458372"/>
              <a:gd name="connsiteX24458" fmla="*/ 6346578 w 10505529"/>
              <a:gd name="connsiteY24458" fmla="*/ 3305943 h 7458372"/>
              <a:gd name="connsiteX24459" fmla="*/ 6350305 w 10505529"/>
              <a:gd name="connsiteY24459" fmla="*/ 3303547 h 7458372"/>
              <a:gd name="connsiteX24460" fmla="*/ 6352968 w 10505529"/>
              <a:gd name="connsiteY24460" fmla="*/ 3299421 h 7458372"/>
              <a:gd name="connsiteX24461" fmla="*/ 6354033 w 10505529"/>
              <a:gd name="connsiteY24461" fmla="*/ 3293962 h 7458372"/>
              <a:gd name="connsiteX24462" fmla="*/ 6352968 w 10505529"/>
              <a:gd name="connsiteY24462" fmla="*/ 3288772 h 7458372"/>
              <a:gd name="connsiteX24463" fmla="*/ 6350305 w 10505529"/>
              <a:gd name="connsiteY24463" fmla="*/ 3284512 h 7458372"/>
              <a:gd name="connsiteX24464" fmla="*/ 6346312 w 10505529"/>
              <a:gd name="connsiteY24464" fmla="*/ 3281849 h 7458372"/>
              <a:gd name="connsiteX24465" fmla="*/ 6341253 w 10505529"/>
              <a:gd name="connsiteY24465" fmla="*/ 3280919 h 7458372"/>
              <a:gd name="connsiteX24466" fmla="*/ 6123608 w 10505529"/>
              <a:gd name="connsiteY24466" fmla="*/ 3280919 h 7458372"/>
              <a:gd name="connsiteX24467" fmla="*/ 6113624 w 10505529"/>
              <a:gd name="connsiteY24467" fmla="*/ 3284512 h 7458372"/>
              <a:gd name="connsiteX24468" fmla="*/ 6110030 w 10505529"/>
              <a:gd name="connsiteY24468" fmla="*/ 3293962 h 7458372"/>
              <a:gd name="connsiteX24469" fmla="*/ 6113624 w 10505529"/>
              <a:gd name="connsiteY24469" fmla="*/ 3303414 h 7458372"/>
              <a:gd name="connsiteX24470" fmla="*/ 6123608 w 10505529"/>
              <a:gd name="connsiteY24470" fmla="*/ 3306875 h 7458372"/>
              <a:gd name="connsiteX24471" fmla="*/ 6128932 w 10505529"/>
              <a:gd name="connsiteY24471" fmla="*/ 3305943 h 7458372"/>
              <a:gd name="connsiteX24472" fmla="*/ 6132659 w 10505529"/>
              <a:gd name="connsiteY24472" fmla="*/ 3303547 h 7458372"/>
              <a:gd name="connsiteX24473" fmla="*/ 6135322 w 10505529"/>
              <a:gd name="connsiteY24473" fmla="*/ 3299421 h 7458372"/>
              <a:gd name="connsiteX24474" fmla="*/ 6136387 w 10505529"/>
              <a:gd name="connsiteY24474" fmla="*/ 3293962 h 7458372"/>
              <a:gd name="connsiteX24475" fmla="*/ 6135322 w 10505529"/>
              <a:gd name="connsiteY24475" fmla="*/ 3288772 h 7458372"/>
              <a:gd name="connsiteX24476" fmla="*/ 6132659 w 10505529"/>
              <a:gd name="connsiteY24476" fmla="*/ 3284512 h 7458372"/>
              <a:gd name="connsiteX24477" fmla="*/ 6128666 w 10505529"/>
              <a:gd name="connsiteY24477" fmla="*/ 3281849 h 7458372"/>
              <a:gd name="connsiteX24478" fmla="*/ 6123608 w 10505529"/>
              <a:gd name="connsiteY24478" fmla="*/ 3280919 h 7458372"/>
              <a:gd name="connsiteX24479" fmla="*/ 5905963 w 10505529"/>
              <a:gd name="connsiteY24479" fmla="*/ 3280919 h 7458372"/>
              <a:gd name="connsiteX24480" fmla="*/ 5895979 w 10505529"/>
              <a:gd name="connsiteY24480" fmla="*/ 3284512 h 7458372"/>
              <a:gd name="connsiteX24481" fmla="*/ 5892385 w 10505529"/>
              <a:gd name="connsiteY24481" fmla="*/ 3293962 h 7458372"/>
              <a:gd name="connsiteX24482" fmla="*/ 5895979 w 10505529"/>
              <a:gd name="connsiteY24482" fmla="*/ 3303414 h 7458372"/>
              <a:gd name="connsiteX24483" fmla="*/ 5905963 w 10505529"/>
              <a:gd name="connsiteY24483" fmla="*/ 3306875 h 7458372"/>
              <a:gd name="connsiteX24484" fmla="*/ 5911287 w 10505529"/>
              <a:gd name="connsiteY24484" fmla="*/ 3305943 h 7458372"/>
              <a:gd name="connsiteX24485" fmla="*/ 5915014 w 10505529"/>
              <a:gd name="connsiteY24485" fmla="*/ 3303547 h 7458372"/>
              <a:gd name="connsiteX24486" fmla="*/ 5917677 w 10505529"/>
              <a:gd name="connsiteY24486" fmla="*/ 3299421 h 7458372"/>
              <a:gd name="connsiteX24487" fmla="*/ 5918742 w 10505529"/>
              <a:gd name="connsiteY24487" fmla="*/ 3293962 h 7458372"/>
              <a:gd name="connsiteX24488" fmla="*/ 5917677 w 10505529"/>
              <a:gd name="connsiteY24488" fmla="*/ 3288772 h 7458372"/>
              <a:gd name="connsiteX24489" fmla="*/ 5915014 w 10505529"/>
              <a:gd name="connsiteY24489" fmla="*/ 3284512 h 7458372"/>
              <a:gd name="connsiteX24490" fmla="*/ 5911021 w 10505529"/>
              <a:gd name="connsiteY24490" fmla="*/ 3281849 h 7458372"/>
              <a:gd name="connsiteX24491" fmla="*/ 5905963 w 10505529"/>
              <a:gd name="connsiteY24491" fmla="*/ 3280919 h 7458372"/>
              <a:gd name="connsiteX24492" fmla="*/ 5688451 w 10505529"/>
              <a:gd name="connsiteY24492" fmla="*/ 3280919 h 7458372"/>
              <a:gd name="connsiteX24493" fmla="*/ 5678467 w 10505529"/>
              <a:gd name="connsiteY24493" fmla="*/ 3284512 h 7458372"/>
              <a:gd name="connsiteX24494" fmla="*/ 5674873 w 10505529"/>
              <a:gd name="connsiteY24494" fmla="*/ 3293962 h 7458372"/>
              <a:gd name="connsiteX24495" fmla="*/ 5678467 w 10505529"/>
              <a:gd name="connsiteY24495" fmla="*/ 3303414 h 7458372"/>
              <a:gd name="connsiteX24496" fmla="*/ 5688451 w 10505529"/>
              <a:gd name="connsiteY24496" fmla="*/ 3306875 h 7458372"/>
              <a:gd name="connsiteX24497" fmla="*/ 5693775 w 10505529"/>
              <a:gd name="connsiteY24497" fmla="*/ 3305943 h 7458372"/>
              <a:gd name="connsiteX24498" fmla="*/ 5697502 w 10505529"/>
              <a:gd name="connsiteY24498" fmla="*/ 3303547 h 7458372"/>
              <a:gd name="connsiteX24499" fmla="*/ 5700165 w 10505529"/>
              <a:gd name="connsiteY24499" fmla="*/ 3299421 h 7458372"/>
              <a:gd name="connsiteX24500" fmla="*/ 5701230 w 10505529"/>
              <a:gd name="connsiteY24500" fmla="*/ 3293962 h 7458372"/>
              <a:gd name="connsiteX24501" fmla="*/ 5700165 w 10505529"/>
              <a:gd name="connsiteY24501" fmla="*/ 3288772 h 7458372"/>
              <a:gd name="connsiteX24502" fmla="*/ 5697502 w 10505529"/>
              <a:gd name="connsiteY24502" fmla="*/ 3284512 h 7458372"/>
              <a:gd name="connsiteX24503" fmla="*/ 5693509 w 10505529"/>
              <a:gd name="connsiteY24503" fmla="*/ 3281849 h 7458372"/>
              <a:gd name="connsiteX24504" fmla="*/ 5688451 w 10505529"/>
              <a:gd name="connsiteY24504" fmla="*/ 3280919 h 7458372"/>
              <a:gd name="connsiteX24505" fmla="*/ 5470806 w 10505529"/>
              <a:gd name="connsiteY24505" fmla="*/ 3280919 h 7458372"/>
              <a:gd name="connsiteX24506" fmla="*/ 5460822 w 10505529"/>
              <a:gd name="connsiteY24506" fmla="*/ 3284512 h 7458372"/>
              <a:gd name="connsiteX24507" fmla="*/ 5457228 w 10505529"/>
              <a:gd name="connsiteY24507" fmla="*/ 3293962 h 7458372"/>
              <a:gd name="connsiteX24508" fmla="*/ 5460822 w 10505529"/>
              <a:gd name="connsiteY24508" fmla="*/ 3303414 h 7458372"/>
              <a:gd name="connsiteX24509" fmla="*/ 5470806 w 10505529"/>
              <a:gd name="connsiteY24509" fmla="*/ 3306875 h 7458372"/>
              <a:gd name="connsiteX24510" fmla="*/ 5476130 w 10505529"/>
              <a:gd name="connsiteY24510" fmla="*/ 3305943 h 7458372"/>
              <a:gd name="connsiteX24511" fmla="*/ 5479857 w 10505529"/>
              <a:gd name="connsiteY24511" fmla="*/ 3303547 h 7458372"/>
              <a:gd name="connsiteX24512" fmla="*/ 5482520 w 10505529"/>
              <a:gd name="connsiteY24512" fmla="*/ 3299421 h 7458372"/>
              <a:gd name="connsiteX24513" fmla="*/ 5483585 w 10505529"/>
              <a:gd name="connsiteY24513" fmla="*/ 3293962 h 7458372"/>
              <a:gd name="connsiteX24514" fmla="*/ 5482520 w 10505529"/>
              <a:gd name="connsiteY24514" fmla="*/ 3288772 h 7458372"/>
              <a:gd name="connsiteX24515" fmla="*/ 5479857 w 10505529"/>
              <a:gd name="connsiteY24515" fmla="*/ 3284512 h 7458372"/>
              <a:gd name="connsiteX24516" fmla="*/ 5475864 w 10505529"/>
              <a:gd name="connsiteY24516" fmla="*/ 3281849 h 7458372"/>
              <a:gd name="connsiteX24517" fmla="*/ 5470806 w 10505529"/>
              <a:gd name="connsiteY24517" fmla="*/ 3280919 h 7458372"/>
              <a:gd name="connsiteX24518" fmla="*/ 5253160 w 10505529"/>
              <a:gd name="connsiteY24518" fmla="*/ 3280919 h 7458372"/>
              <a:gd name="connsiteX24519" fmla="*/ 5243177 w 10505529"/>
              <a:gd name="connsiteY24519" fmla="*/ 3284512 h 7458372"/>
              <a:gd name="connsiteX24520" fmla="*/ 5239583 w 10505529"/>
              <a:gd name="connsiteY24520" fmla="*/ 3293962 h 7458372"/>
              <a:gd name="connsiteX24521" fmla="*/ 5243177 w 10505529"/>
              <a:gd name="connsiteY24521" fmla="*/ 3303414 h 7458372"/>
              <a:gd name="connsiteX24522" fmla="*/ 5253160 w 10505529"/>
              <a:gd name="connsiteY24522" fmla="*/ 3306875 h 7458372"/>
              <a:gd name="connsiteX24523" fmla="*/ 5258485 w 10505529"/>
              <a:gd name="connsiteY24523" fmla="*/ 3305943 h 7458372"/>
              <a:gd name="connsiteX24524" fmla="*/ 5262212 w 10505529"/>
              <a:gd name="connsiteY24524" fmla="*/ 3303547 h 7458372"/>
              <a:gd name="connsiteX24525" fmla="*/ 5264875 w 10505529"/>
              <a:gd name="connsiteY24525" fmla="*/ 3299421 h 7458372"/>
              <a:gd name="connsiteX24526" fmla="*/ 5265939 w 10505529"/>
              <a:gd name="connsiteY24526" fmla="*/ 3293962 h 7458372"/>
              <a:gd name="connsiteX24527" fmla="*/ 5264875 w 10505529"/>
              <a:gd name="connsiteY24527" fmla="*/ 3288772 h 7458372"/>
              <a:gd name="connsiteX24528" fmla="*/ 5262212 w 10505529"/>
              <a:gd name="connsiteY24528" fmla="*/ 3284512 h 7458372"/>
              <a:gd name="connsiteX24529" fmla="*/ 5258219 w 10505529"/>
              <a:gd name="connsiteY24529" fmla="*/ 3281849 h 7458372"/>
              <a:gd name="connsiteX24530" fmla="*/ 5253160 w 10505529"/>
              <a:gd name="connsiteY24530" fmla="*/ 3280919 h 7458372"/>
              <a:gd name="connsiteX24531" fmla="*/ 5035515 w 10505529"/>
              <a:gd name="connsiteY24531" fmla="*/ 3280919 h 7458372"/>
              <a:gd name="connsiteX24532" fmla="*/ 5025532 w 10505529"/>
              <a:gd name="connsiteY24532" fmla="*/ 3284512 h 7458372"/>
              <a:gd name="connsiteX24533" fmla="*/ 5021938 w 10505529"/>
              <a:gd name="connsiteY24533" fmla="*/ 3293962 h 7458372"/>
              <a:gd name="connsiteX24534" fmla="*/ 5025532 w 10505529"/>
              <a:gd name="connsiteY24534" fmla="*/ 3303414 h 7458372"/>
              <a:gd name="connsiteX24535" fmla="*/ 5035515 w 10505529"/>
              <a:gd name="connsiteY24535" fmla="*/ 3306875 h 7458372"/>
              <a:gd name="connsiteX24536" fmla="*/ 5040840 w 10505529"/>
              <a:gd name="connsiteY24536" fmla="*/ 3305943 h 7458372"/>
              <a:gd name="connsiteX24537" fmla="*/ 5044567 w 10505529"/>
              <a:gd name="connsiteY24537" fmla="*/ 3303547 h 7458372"/>
              <a:gd name="connsiteX24538" fmla="*/ 5047230 w 10505529"/>
              <a:gd name="connsiteY24538" fmla="*/ 3299421 h 7458372"/>
              <a:gd name="connsiteX24539" fmla="*/ 5048294 w 10505529"/>
              <a:gd name="connsiteY24539" fmla="*/ 3293962 h 7458372"/>
              <a:gd name="connsiteX24540" fmla="*/ 5047230 w 10505529"/>
              <a:gd name="connsiteY24540" fmla="*/ 3288772 h 7458372"/>
              <a:gd name="connsiteX24541" fmla="*/ 5044567 w 10505529"/>
              <a:gd name="connsiteY24541" fmla="*/ 3284512 h 7458372"/>
              <a:gd name="connsiteX24542" fmla="*/ 5040574 w 10505529"/>
              <a:gd name="connsiteY24542" fmla="*/ 3281849 h 7458372"/>
              <a:gd name="connsiteX24543" fmla="*/ 5035515 w 10505529"/>
              <a:gd name="connsiteY24543" fmla="*/ 3280919 h 7458372"/>
              <a:gd name="connsiteX24544" fmla="*/ 4817870 w 10505529"/>
              <a:gd name="connsiteY24544" fmla="*/ 3280919 h 7458372"/>
              <a:gd name="connsiteX24545" fmla="*/ 4807887 w 10505529"/>
              <a:gd name="connsiteY24545" fmla="*/ 3284512 h 7458372"/>
              <a:gd name="connsiteX24546" fmla="*/ 4804293 w 10505529"/>
              <a:gd name="connsiteY24546" fmla="*/ 3293962 h 7458372"/>
              <a:gd name="connsiteX24547" fmla="*/ 4807887 w 10505529"/>
              <a:gd name="connsiteY24547" fmla="*/ 3303414 h 7458372"/>
              <a:gd name="connsiteX24548" fmla="*/ 4817870 w 10505529"/>
              <a:gd name="connsiteY24548" fmla="*/ 3306875 h 7458372"/>
              <a:gd name="connsiteX24549" fmla="*/ 4823195 w 10505529"/>
              <a:gd name="connsiteY24549" fmla="*/ 3305943 h 7458372"/>
              <a:gd name="connsiteX24550" fmla="*/ 4826922 w 10505529"/>
              <a:gd name="connsiteY24550" fmla="*/ 3303547 h 7458372"/>
              <a:gd name="connsiteX24551" fmla="*/ 4829585 w 10505529"/>
              <a:gd name="connsiteY24551" fmla="*/ 3299421 h 7458372"/>
              <a:gd name="connsiteX24552" fmla="*/ 4830650 w 10505529"/>
              <a:gd name="connsiteY24552" fmla="*/ 3293962 h 7458372"/>
              <a:gd name="connsiteX24553" fmla="*/ 4829585 w 10505529"/>
              <a:gd name="connsiteY24553" fmla="*/ 3288772 h 7458372"/>
              <a:gd name="connsiteX24554" fmla="*/ 4826922 w 10505529"/>
              <a:gd name="connsiteY24554" fmla="*/ 3284512 h 7458372"/>
              <a:gd name="connsiteX24555" fmla="*/ 4822929 w 10505529"/>
              <a:gd name="connsiteY24555" fmla="*/ 3281849 h 7458372"/>
              <a:gd name="connsiteX24556" fmla="*/ 4817870 w 10505529"/>
              <a:gd name="connsiteY24556" fmla="*/ 3280919 h 7458372"/>
              <a:gd name="connsiteX24557" fmla="*/ 4600226 w 10505529"/>
              <a:gd name="connsiteY24557" fmla="*/ 3280919 h 7458372"/>
              <a:gd name="connsiteX24558" fmla="*/ 4590242 w 10505529"/>
              <a:gd name="connsiteY24558" fmla="*/ 3284512 h 7458372"/>
              <a:gd name="connsiteX24559" fmla="*/ 4586648 w 10505529"/>
              <a:gd name="connsiteY24559" fmla="*/ 3293962 h 7458372"/>
              <a:gd name="connsiteX24560" fmla="*/ 4590242 w 10505529"/>
              <a:gd name="connsiteY24560" fmla="*/ 3303414 h 7458372"/>
              <a:gd name="connsiteX24561" fmla="*/ 4600226 w 10505529"/>
              <a:gd name="connsiteY24561" fmla="*/ 3306875 h 7458372"/>
              <a:gd name="connsiteX24562" fmla="*/ 4605550 w 10505529"/>
              <a:gd name="connsiteY24562" fmla="*/ 3305943 h 7458372"/>
              <a:gd name="connsiteX24563" fmla="*/ 4609277 w 10505529"/>
              <a:gd name="connsiteY24563" fmla="*/ 3303547 h 7458372"/>
              <a:gd name="connsiteX24564" fmla="*/ 4611940 w 10505529"/>
              <a:gd name="connsiteY24564" fmla="*/ 3299421 h 7458372"/>
              <a:gd name="connsiteX24565" fmla="*/ 4613005 w 10505529"/>
              <a:gd name="connsiteY24565" fmla="*/ 3293962 h 7458372"/>
              <a:gd name="connsiteX24566" fmla="*/ 4611940 w 10505529"/>
              <a:gd name="connsiteY24566" fmla="*/ 3288772 h 7458372"/>
              <a:gd name="connsiteX24567" fmla="*/ 4609277 w 10505529"/>
              <a:gd name="connsiteY24567" fmla="*/ 3284512 h 7458372"/>
              <a:gd name="connsiteX24568" fmla="*/ 4605284 w 10505529"/>
              <a:gd name="connsiteY24568" fmla="*/ 3281849 h 7458372"/>
              <a:gd name="connsiteX24569" fmla="*/ 4600226 w 10505529"/>
              <a:gd name="connsiteY24569" fmla="*/ 3280919 h 7458372"/>
              <a:gd name="connsiteX24570" fmla="*/ 4382713 w 10505529"/>
              <a:gd name="connsiteY24570" fmla="*/ 3280919 h 7458372"/>
              <a:gd name="connsiteX24571" fmla="*/ 4372730 w 10505529"/>
              <a:gd name="connsiteY24571" fmla="*/ 3284512 h 7458372"/>
              <a:gd name="connsiteX24572" fmla="*/ 4369136 w 10505529"/>
              <a:gd name="connsiteY24572" fmla="*/ 3293962 h 7458372"/>
              <a:gd name="connsiteX24573" fmla="*/ 4372730 w 10505529"/>
              <a:gd name="connsiteY24573" fmla="*/ 3303414 h 7458372"/>
              <a:gd name="connsiteX24574" fmla="*/ 4382713 w 10505529"/>
              <a:gd name="connsiteY24574" fmla="*/ 3306875 h 7458372"/>
              <a:gd name="connsiteX24575" fmla="*/ 4388038 w 10505529"/>
              <a:gd name="connsiteY24575" fmla="*/ 3305943 h 7458372"/>
              <a:gd name="connsiteX24576" fmla="*/ 4391765 w 10505529"/>
              <a:gd name="connsiteY24576" fmla="*/ 3303547 h 7458372"/>
              <a:gd name="connsiteX24577" fmla="*/ 4394428 w 10505529"/>
              <a:gd name="connsiteY24577" fmla="*/ 3299421 h 7458372"/>
              <a:gd name="connsiteX24578" fmla="*/ 4395493 w 10505529"/>
              <a:gd name="connsiteY24578" fmla="*/ 3293962 h 7458372"/>
              <a:gd name="connsiteX24579" fmla="*/ 4394428 w 10505529"/>
              <a:gd name="connsiteY24579" fmla="*/ 3288772 h 7458372"/>
              <a:gd name="connsiteX24580" fmla="*/ 4391765 w 10505529"/>
              <a:gd name="connsiteY24580" fmla="*/ 3284512 h 7458372"/>
              <a:gd name="connsiteX24581" fmla="*/ 4387772 w 10505529"/>
              <a:gd name="connsiteY24581" fmla="*/ 3281849 h 7458372"/>
              <a:gd name="connsiteX24582" fmla="*/ 4382713 w 10505529"/>
              <a:gd name="connsiteY24582" fmla="*/ 3280919 h 7458372"/>
              <a:gd name="connsiteX24583" fmla="*/ 4165068 w 10505529"/>
              <a:gd name="connsiteY24583" fmla="*/ 3280919 h 7458372"/>
              <a:gd name="connsiteX24584" fmla="*/ 4155084 w 10505529"/>
              <a:gd name="connsiteY24584" fmla="*/ 3284512 h 7458372"/>
              <a:gd name="connsiteX24585" fmla="*/ 4151490 w 10505529"/>
              <a:gd name="connsiteY24585" fmla="*/ 3293962 h 7458372"/>
              <a:gd name="connsiteX24586" fmla="*/ 4155084 w 10505529"/>
              <a:gd name="connsiteY24586" fmla="*/ 3303414 h 7458372"/>
              <a:gd name="connsiteX24587" fmla="*/ 4165068 w 10505529"/>
              <a:gd name="connsiteY24587" fmla="*/ 3306875 h 7458372"/>
              <a:gd name="connsiteX24588" fmla="*/ 4170392 w 10505529"/>
              <a:gd name="connsiteY24588" fmla="*/ 3305943 h 7458372"/>
              <a:gd name="connsiteX24589" fmla="*/ 4174119 w 10505529"/>
              <a:gd name="connsiteY24589" fmla="*/ 3303547 h 7458372"/>
              <a:gd name="connsiteX24590" fmla="*/ 4176782 w 10505529"/>
              <a:gd name="connsiteY24590" fmla="*/ 3299421 h 7458372"/>
              <a:gd name="connsiteX24591" fmla="*/ 4177847 w 10505529"/>
              <a:gd name="connsiteY24591" fmla="*/ 3293962 h 7458372"/>
              <a:gd name="connsiteX24592" fmla="*/ 4176782 w 10505529"/>
              <a:gd name="connsiteY24592" fmla="*/ 3288772 h 7458372"/>
              <a:gd name="connsiteX24593" fmla="*/ 4174119 w 10505529"/>
              <a:gd name="connsiteY24593" fmla="*/ 3284512 h 7458372"/>
              <a:gd name="connsiteX24594" fmla="*/ 4170126 w 10505529"/>
              <a:gd name="connsiteY24594" fmla="*/ 3281849 h 7458372"/>
              <a:gd name="connsiteX24595" fmla="*/ 4165068 w 10505529"/>
              <a:gd name="connsiteY24595" fmla="*/ 3280919 h 7458372"/>
              <a:gd name="connsiteX24596" fmla="*/ 3947605 w 10505529"/>
              <a:gd name="connsiteY24596" fmla="*/ 3280919 h 7458372"/>
              <a:gd name="connsiteX24597" fmla="*/ 3937622 w 10505529"/>
              <a:gd name="connsiteY24597" fmla="*/ 3284512 h 7458372"/>
              <a:gd name="connsiteX24598" fmla="*/ 3934027 w 10505529"/>
              <a:gd name="connsiteY24598" fmla="*/ 3293962 h 7458372"/>
              <a:gd name="connsiteX24599" fmla="*/ 3937622 w 10505529"/>
              <a:gd name="connsiteY24599" fmla="*/ 3303414 h 7458372"/>
              <a:gd name="connsiteX24600" fmla="*/ 3947605 w 10505529"/>
              <a:gd name="connsiteY24600" fmla="*/ 3306875 h 7458372"/>
              <a:gd name="connsiteX24601" fmla="*/ 3952932 w 10505529"/>
              <a:gd name="connsiteY24601" fmla="*/ 3305943 h 7458372"/>
              <a:gd name="connsiteX24602" fmla="*/ 3956658 w 10505529"/>
              <a:gd name="connsiteY24602" fmla="*/ 3303547 h 7458372"/>
              <a:gd name="connsiteX24603" fmla="*/ 3959321 w 10505529"/>
              <a:gd name="connsiteY24603" fmla="*/ 3299421 h 7458372"/>
              <a:gd name="connsiteX24604" fmla="*/ 3960386 w 10505529"/>
              <a:gd name="connsiteY24604" fmla="*/ 3293962 h 7458372"/>
              <a:gd name="connsiteX24605" fmla="*/ 3959321 w 10505529"/>
              <a:gd name="connsiteY24605" fmla="*/ 3288772 h 7458372"/>
              <a:gd name="connsiteX24606" fmla="*/ 3956658 w 10505529"/>
              <a:gd name="connsiteY24606" fmla="*/ 3284512 h 7458372"/>
              <a:gd name="connsiteX24607" fmla="*/ 3952664 w 10505529"/>
              <a:gd name="connsiteY24607" fmla="*/ 3281849 h 7458372"/>
              <a:gd name="connsiteX24608" fmla="*/ 3947605 w 10505529"/>
              <a:gd name="connsiteY24608" fmla="*/ 3280919 h 7458372"/>
              <a:gd name="connsiteX24609" fmla="*/ 3729951 w 10505529"/>
              <a:gd name="connsiteY24609" fmla="*/ 3280919 h 7458372"/>
              <a:gd name="connsiteX24610" fmla="*/ 3719965 w 10505529"/>
              <a:gd name="connsiteY24610" fmla="*/ 3284512 h 7458372"/>
              <a:gd name="connsiteX24611" fmla="*/ 3716373 w 10505529"/>
              <a:gd name="connsiteY24611" fmla="*/ 3293962 h 7458372"/>
              <a:gd name="connsiteX24612" fmla="*/ 3719965 w 10505529"/>
              <a:gd name="connsiteY24612" fmla="*/ 3303414 h 7458372"/>
              <a:gd name="connsiteX24613" fmla="*/ 3729951 w 10505529"/>
              <a:gd name="connsiteY24613" fmla="*/ 3306875 h 7458372"/>
              <a:gd name="connsiteX24614" fmla="*/ 3735276 w 10505529"/>
              <a:gd name="connsiteY24614" fmla="*/ 3305943 h 7458372"/>
              <a:gd name="connsiteX24615" fmla="*/ 3739003 w 10505529"/>
              <a:gd name="connsiteY24615" fmla="*/ 3303547 h 7458372"/>
              <a:gd name="connsiteX24616" fmla="*/ 3741666 w 10505529"/>
              <a:gd name="connsiteY24616" fmla="*/ 3299421 h 7458372"/>
              <a:gd name="connsiteX24617" fmla="*/ 3742731 w 10505529"/>
              <a:gd name="connsiteY24617" fmla="*/ 3293962 h 7458372"/>
              <a:gd name="connsiteX24618" fmla="*/ 3741666 w 10505529"/>
              <a:gd name="connsiteY24618" fmla="*/ 3288772 h 7458372"/>
              <a:gd name="connsiteX24619" fmla="*/ 3739003 w 10505529"/>
              <a:gd name="connsiteY24619" fmla="*/ 3284512 h 7458372"/>
              <a:gd name="connsiteX24620" fmla="*/ 3735010 w 10505529"/>
              <a:gd name="connsiteY24620" fmla="*/ 3281849 h 7458372"/>
              <a:gd name="connsiteX24621" fmla="*/ 3729951 w 10505529"/>
              <a:gd name="connsiteY24621" fmla="*/ 3280919 h 7458372"/>
              <a:gd name="connsiteX24622" fmla="*/ 3512297 w 10505529"/>
              <a:gd name="connsiteY24622" fmla="*/ 3280919 h 7458372"/>
              <a:gd name="connsiteX24623" fmla="*/ 3502310 w 10505529"/>
              <a:gd name="connsiteY24623" fmla="*/ 3284512 h 7458372"/>
              <a:gd name="connsiteX24624" fmla="*/ 3498717 w 10505529"/>
              <a:gd name="connsiteY24624" fmla="*/ 3293962 h 7458372"/>
              <a:gd name="connsiteX24625" fmla="*/ 3502310 w 10505529"/>
              <a:gd name="connsiteY24625" fmla="*/ 3303414 h 7458372"/>
              <a:gd name="connsiteX24626" fmla="*/ 3512297 w 10505529"/>
              <a:gd name="connsiteY24626" fmla="*/ 3306875 h 7458372"/>
              <a:gd name="connsiteX24627" fmla="*/ 3517622 w 10505529"/>
              <a:gd name="connsiteY24627" fmla="*/ 3305943 h 7458372"/>
              <a:gd name="connsiteX24628" fmla="*/ 3521349 w 10505529"/>
              <a:gd name="connsiteY24628" fmla="*/ 3303547 h 7458372"/>
              <a:gd name="connsiteX24629" fmla="*/ 3524012 w 10505529"/>
              <a:gd name="connsiteY24629" fmla="*/ 3299421 h 7458372"/>
              <a:gd name="connsiteX24630" fmla="*/ 3525077 w 10505529"/>
              <a:gd name="connsiteY24630" fmla="*/ 3293962 h 7458372"/>
              <a:gd name="connsiteX24631" fmla="*/ 3524012 w 10505529"/>
              <a:gd name="connsiteY24631" fmla="*/ 3288772 h 7458372"/>
              <a:gd name="connsiteX24632" fmla="*/ 3521349 w 10505529"/>
              <a:gd name="connsiteY24632" fmla="*/ 3284512 h 7458372"/>
              <a:gd name="connsiteX24633" fmla="*/ 3517356 w 10505529"/>
              <a:gd name="connsiteY24633" fmla="*/ 3281849 h 7458372"/>
              <a:gd name="connsiteX24634" fmla="*/ 3512297 w 10505529"/>
              <a:gd name="connsiteY24634" fmla="*/ 3280919 h 7458372"/>
              <a:gd name="connsiteX24635" fmla="*/ 3294775 w 10505529"/>
              <a:gd name="connsiteY24635" fmla="*/ 3280919 h 7458372"/>
              <a:gd name="connsiteX24636" fmla="*/ 3284790 w 10505529"/>
              <a:gd name="connsiteY24636" fmla="*/ 3284512 h 7458372"/>
              <a:gd name="connsiteX24637" fmla="*/ 3281196 w 10505529"/>
              <a:gd name="connsiteY24637" fmla="*/ 3293962 h 7458372"/>
              <a:gd name="connsiteX24638" fmla="*/ 3284790 w 10505529"/>
              <a:gd name="connsiteY24638" fmla="*/ 3303414 h 7458372"/>
              <a:gd name="connsiteX24639" fmla="*/ 3294775 w 10505529"/>
              <a:gd name="connsiteY24639" fmla="*/ 3306875 h 7458372"/>
              <a:gd name="connsiteX24640" fmla="*/ 3300101 w 10505529"/>
              <a:gd name="connsiteY24640" fmla="*/ 3305943 h 7458372"/>
              <a:gd name="connsiteX24641" fmla="*/ 3303828 w 10505529"/>
              <a:gd name="connsiteY24641" fmla="*/ 3303547 h 7458372"/>
              <a:gd name="connsiteX24642" fmla="*/ 3306491 w 10505529"/>
              <a:gd name="connsiteY24642" fmla="*/ 3299421 h 7458372"/>
              <a:gd name="connsiteX24643" fmla="*/ 3307555 w 10505529"/>
              <a:gd name="connsiteY24643" fmla="*/ 3293962 h 7458372"/>
              <a:gd name="connsiteX24644" fmla="*/ 3306491 w 10505529"/>
              <a:gd name="connsiteY24644" fmla="*/ 3288772 h 7458372"/>
              <a:gd name="connsiteX24645" fmla="*/ 3303828 w 10505529"/>
              <a:gd name="connsiteY24645" fmla="*/ 3284512 h 7458372"/>
              <a:gd name="connsiteX24646" fmla="*/ 3299835 w 10505529"/>
              <a:gd name="connsiteY24646" fmla="*/ 3281849 h 7458372"/>
              <a:gd name="connsiteX24647" fmla="*/ 3294775 w 10505529"/>
              <a:gd name="connsiteY24647" fmla="*/ 3280919 h 7458372"/>
              <a:gd name="connsiteX24648" fmla="*/ 3077254 w 10505529"/>
              <a:gd name="connsiteY24648" fmla="*/ 3280919 h 7458372"/>
              <a:gd name="connsiteX24649" fmla="*/ 3067271 w 10505529"/>
              <a:gd name="connsiteY24649" fmla="*/ 3284512 h 7458372"/>
              <a:gd name="connsiteX24650" fmla="*/ 3063541 w 10505529"/>
              <a:gd name="connsiteY24650" fmla="*/ 3293962 h 7458372"/>
              <a:gd name="connsiteX24651" fmla="*/ 3067136 w 10505529"/>
              <a:gd name="connsiteY24651" fmla="*/ 3303414 h 7458372"/>
              <a:gd name="connsiteX24652" fmla="*/ 3077120 w 10505529"/>
              <a:gd name="connsiteY24652" fmla="*/ 3306875 h 7458372"/>
              <a:gd name="connsiteX24653" fmla="*/ 3082579 w 10505529"/>
              <a:gd name="connsiteY24653" fmla="*/ 3305943 h 7458372"/>
              <a:gd name="connsiteX24654" fmla="*/ 3086306 w 10505529"/>
              <a:gd name="connsiteY24654" fmla="*/ 3303547 h 7458372"/>
              <a:gd name="connsiteX24655" fmla="*/ 3088969 w 10505529"/>
              <a:gd name="connsiteY24655" fmla="*/ 3299421 h 7458372"/>
              <a:gd name="connsiteX24656" fmla="*/ 3089901 w 10505529"/>
              <a:gd name="connsiteY24656" fmla="*/ 3293962 h 7458372"/>
              <a:gd name="connsiteX24657" fmla="*/ 3088969 w 10505529"/>
              <a:gd name="connsiteY24657" fmla="*/ 3288772 h 7458372"/>
              <a:gd name="connsiteX24658" fmla="*/ 3086306 w 10505529"/>
              <a:gd name="connsiteY24658" fmla="*/ 3284512 h 7458372"/>
              <a:gd name="connsiteX24659" fmla="*/ 3082313 w 10505529"/>
              <a:gd name="connsiteY24659" fmla="*/ 3281849 h 7458372"/>
              <a:gd name="connsiteX24660" fmla="*/ 3077254 w 10505529"/>
              <a:gd name="connsiteY24660" fmla="*/ 3280919 h 7458372"/>
              <a:gd name="connsiteX24661" fmla="*/ 2859466 w 10505529"/>
              <a:gd name="connsiteY24661" fmla="*/ 3280919 h 7458372"/>
              <a:gd name="connsiteX24662" fmla="*/ 2849480 w 10505529"/>
              <a:gd name="connsiteY24662" fmla="*/ 3284512 h 7458372"/>
              <a:gd name="connsiteX24663" fmla="*/ 2845885 w 10505529"/>
              <a:gd name="connsiteY24663" fmla="*/ 3293962 h 7458372"/>
              <a:gd name="connsiteX24664" fmla="*/ 2849480 w 10505529"/>
              <a:gd name="connsiteY24664" fmla="*/ 3303414 h 7458372"/>
              <a:gd name="connsiteX24665" fmla="*/ 2859466 w 10505529"/>
              <a:gd name="connsiteY24665" fmla="*/ 3306875 h 7458372"/>
              <a:gd name="connsiteX24666" fmla="*/ 2864791 w 10505529"/>
              <a:gd name="connsiteY24666" fmla="*/ 3305943 h 7458372"/>
              <a:gd name="connsiteX24667" fmla="*/ 2868518 w 10505529"/>
              <a:gd name="connsiteY24667" fmla="*/ 3303547 h 7458372"/>
              <a:gd name="connsiteX24668" fmla="*/ 2871181 w 10505529"/>
              <a:gd name="connsiteY24668" fmla="*/ 3299421 h 7458372"/>
              <a:gd name="connsiteX24669" fmla="*/ 2872112 w 10505529"/>
              <a:gd name="connsiteY24669" fmla="*/ 3293962 h 7458372"/>
              <a:gd name="connsiteX24670" fmla="*/ 2871181 w 10505529"/>
              <a:gd name="connsiteY24670" fmla="*/ 3288772 h 7458372"/>
              <a:gd name="connsiteX24671" fmla="*/ 2868518 w 10505529"/>
              <a:gd name="connsiteY24671" fmla="*/ 3284512 h 7458372"/>
              <a:gd name="connsiteX24672" fmla="*/ 2864526 w 10505529"/>
              <a:gd name="connsiteY24672" fmla="*/ 3281849 h 7458372"/>
              <a:gd name="connsiteX24673" fmla="*/ 2859466 w 10505529"/>
              <a:gd name="connsiteY24673" fmla="*/ 3280919 h 7458372"/>
              <a:gd name="connsiteX24674" fmla="*/ 2641812 w 10505529"/>
              <a:gd name="connsiteY24674" fmla="*/ 3280919 h 7458372"/>
              <a:gd name="connsiteX24675" fmla="*/ 2631829 w 10505529"/>
              <a:gd name="connsiteY24675" fmla="*/ 3284512 h 7458372"/>
              <a:gd name="connsiteX24676" fmla="*/ 2628234 w 10505529"/>
              <a:gd name="connsiteY24676" fmla="*/ 3293962 h 7458372"/>
              <a:gd name="connsiteX24677" fmla="*/ 2631829 w 10505529"/>
              <a:gd name="connsiteY24677" fmla="*/ 3303414 h 7458372"/>
              <a:gd name="connsiteX24678" fmla="*/ 2641812 w 10505529"/>
              <a:gd name="connsiteY24678" fmla="*/ 3306875 h 7458372"/>
              <a:gd name="connsiteX24679" fmla="*/ 2647137 w 10505529"/>
              <a:gd name="connsiteY24679" fmla="*/ 3305943 h 7458372"/>
              <a:gd name="connsiteX24680" fmla="*/ 2650864 w 10505529"/>
              <a:gd name="connsiteY24680" fmla="*/ 3303547 h 7458372"/>
              <a:gd name="connsiteX24681" fmla="*/ 2653527 w 10505529"/>
              <a:gd name="connsiteY24681" fmla="*/ 3299421 h 7458372"/>
              <a:gd name="connsiteX24682" fmla="*/ 2654458 w 10505529"/>
              <a:gd name="connsiteY24682" fmla="*/ 3293962 h 7458372"/>
              <a:gd name="connsiteX24683" fmla="*/ 2653527 w 10505529"/>
              <a:gd name="connsiteY24683" fmla="*/ 3288772 h 7458372"/>
              <a:gd name="connsiteX24684" fmla="*/ 2650864 w 10505529"/>
              <a:gd name="connsiteY24684" fmla="*/ 3284512 h 7458372"/>
              <a:gd name="connsiteX24685" fmla="*/ 2646871 w 10505529"/>
              <a:gd name="connsiteY24685" fmla="*/ 3281849 h 7458372"/>
              <a:gd name="connsiteX24686" fmla="*/ 2641812 w 10505529"/>
              <a:gd name="connsiteY24686" fmla="*/ 3280919 h 7458372"/>
              <a:gd name="connsiteX24687" fmla="*/ 2424157 w 10505529"/>
              <a:gd name="connsiteY24687" fmla="*/ 3280919 h 7458372"/>
              <a:gd name="connsiteX24688" fmla="*/ 2414174 w 10505529"/>
              <a:gd name="connsiteY24688" fmla="*/ 3284512 h 7458372"/>
              <a:gd name="connsiteX24689" fmla="*/ 2410580 w 10505529"/>
              <a:gd name="connsiteY24689" fmla="*/ 3293962 h 7458372"/>
              <a:gd name="connsiteX24690" fmla="*/ 2414174 w 10505529"/>
              <a:gd name="connsiteY24690" fmla="*/ 3303414 h 7458372"/>
              <a:gd name="connsiteX24691" fmla="*/ 2424157 w 10505529"/>
              <a:gd name="connsiteY24691" fmla="*/ 3306875 h 7458372"/>
              <a:gd name="connsiteX24692" fmla="*/ 2429482 w 10505529"/>
              <a:gd name="connsiteY24692" fmla="*/ 3305943 h 7458372"/>
              <a:gd name="connsiteX24693" fmla="*/ 2433209 w 10505529"/>
              <a:gd name="connsiteY24693" fmla="*/ 3303547 h 7458372"/>
              <a:gd name="connsiteX24694" fmla="*/ 2435872 w 10505529"/>
              <a:gd name="connsiteY24694" fmla="*/ 3299421 h 7458372"/>
              <a:gd name="connsiteX24695" fmla="*/ 2436803 w 10505529"/>
              <a:gd name="connsiteY24695" fmla="*/ 3293962 h 7458372"/>
              <a:gd name="connsiteX24696" fmla="*/ 2435872 w 10505529"/>
              <a:gd name="connsiteY24696" fmla="*/ 3288772 h 7458372"/>
              <a:gd name="connsiteX24697" fmla="*/ 2433209 w 10505529"/>
              <a:gd name="connsiteY24697" fmla="*/ 3284512 h 7458372"/>
              <a:gd name="connsiteX24698" fmla="*/ 2429216 w 10505529"/>
              <a:gd name="connsiteY24698" fmla="*/ 3281849 h 7458372"/>
              <a:gd name="connsiteX24699" fmla="*/ 2424157 w 10505529"/>
              <a:gd name="connsiteY24699" fmla="*/ 3280919 h 7458372"/>
              <a:gd name="connsiteX24700" fmla="*/ 2206503 w 10505529"/>
              <a:gd name="connsiteY24700" fmla="*/ 3280919 h 7458372"/>
              <a:gd name="connsiteX24701" fmla="*/ 2196519 w 10505529"/>
              <a:gd name="connsiteY24701" fmla="*/ 3284512 h 7458372"/>
              <a:gd name="connsiteX24702" fmla="*/ 2192925 w 10505529"/>
              <a:gd name="connsiteY24702" fmla="*/ 3293962 h 7458372"/>
              <a:gd name="connsiteX24703" fmla="*/ 2196519 w 10505529"/>
              <a:gd name="connsiteY24703" fmla="*/ 3303414 h 7458372"/>
              <a:gd name="connsiteX24704" fmla="*/ 2206503 w 10505529"/>
              <a:gd name="connsiteY24704" fmla="*/ 3306875 h 7458372"/>
              <a:gd name="connsiteX24705" fmla="*/ 2211828 w 10505529"/>
              <a:gd name="connsiteY24705" fmla="*/ 3305943 h 7458372"/>
              <a:gd name="connsiteX24706" fmla="*/ 2215554 w 10505529"/>
              <a:gd name="connsiteY24706" fmla="*/ 3303547 h 7458372"/>
              <a:gd name="connsiteX24707" fmla="*/ 2218218 w 10505529"/>
              <a:gd name="connsiteY24707" fmla="*/ 3299421 h 7458372"/>
              <a:gd name="connsiteX24708" fmla="*/ 2219149 w 10505529"/>
              <a:gd name="connsiteY24708" fmla="*/ 3293962 h 7458372"/>
              <a:gd name="connsiteX24709" fmla="*/ 2218218 w 10505529"/>
              <a:gd name="connsiteY24709" fmla="*/ 3288772 h 7458372"/>
              <a:gd name="connsiteX24710" fmla="*/ 2215554 w 10505529"/>
              <a:gd name="connsiteY24710" fmla="*/ 3284512 h 7458372"/>
              <a:gd name="connsiteX24711" fmla="*/ 2211561 w 10505529"/>
              <a:gd name="connsiteY24711" fmla="*/ 3281849 h 7458372"/>
              <a:gd name="connsiteX24712" fmla="*/ 2206503 w 10505529"/>
              <a:gd name="connsiteY24712" fmla="*/ 3280919 h 7458372"/>
              <a:gd name="connsiteX24713" fmla="*/ 1988981 w 10505529"/>
              <a:gd name="connsiteY24713" fmla="*/ 3280919 h 7458372"/>
              <a:gd name="connsiteX24714" fmla="*/ 1978998 w 10505529"/>
              <a:gd name="connsiteY24714" fmla="*/ 3284512 h 7458372"/>
              <a:gd name="connsiteX24715" fmla="*/ 1975404 w 10505529"/>
              <a:gd name="connsiteY24715" fmla="*/ 3293962 h 7458372"/>
              <a:gd name="connsiteX24716" fmla="*/ 1978998 w 10505529"/>
              <a:gd name="connsiteY24716" fmla="*/ 3303414 h 7458372"/>
              <a:gd name="connsiteX24717" fmla="*/ 1988981 w 10505529"/>
              <a:gd name="connsiteY24717" fmla="*/ 3306875 h 7458372"/>
              <a:gd name="connsiteX24718" fmla="*/ 1994306 w 10505529"/>
              <a:gd name="connsiteY24718" fmla="*/ 3305943 h 7458372"/>
              <a:gd name="connsiteX24719" fmla="*/ 1998033 w 10505529"/>
              <a:gd name="connsiteY24719" fmla="*/ 3303547 h 7458372"/>
              <a:gd name="connsiteX24720" fmla="*/ 2000696 w 10505529"/>
              <a:gd name="connsiteY24720" fmla="*/ 3299421 h 7458372"/>
              <a:gd name="connsiteX24721" fmla="*/ 2001627 w 10505529"/>
              <a:gd name="connsiteY24721" fmla="*/ 3293962 h 7458372"/>
              <a:gd name="connsiteX24722" fmla="*/ 2000696 w 10505529"/>
              <a:gd name="connsiteY24722" fmla="*/ 3288772 h 7458372"/>
              <a:gd name="connsiteX24723" fmla="*/ 1998033 w 10505529"/>
              <a:gd name="connsiteY24723" fmla="*/ 3284512 h 7458372"/>
              <a:gd name="connsiteX24724" fmla="*/ 1994040 w 10505529"/>
              <a:gd name="connsiteY24724" fmla="*/ 3281849 h 7458372"/>
              <a:gd name="connsiteX24725" fmla="*/ 1988981 w 10505529"/>
              <a:gd name="connsiteY24725" fmla="*/ 3280919 h 7458372"/>
              <a:gd name="connsiteX24726" fmla="*/ 1771343 w 10505529"/>
              <a:gd name="connsiteY24726" fmla="*/ 3280919 h 7458372"/>
              <a:gd name="connsiteX24727" fmla="*/ 1761360 w 10505529"/>
              <a:gd name="connsiteY24727" fmla="*/ 3284512 h 7458372"/>
              <a:gd name="connsiteX24728" fmla="*/ 1757766 w 10505529"/>
              <a:gd name="connsiteY24728" fmla="*/ 3293962 h 7458372"/>
              <a:gd name="connsiteX24729" fmla="*/ 1761360 w 10505529"/>
              <a:gd name="connsiteY24729" fmla="*/ 3303414 h 7458372"/>
              <a:gd name="connsiteX24730" fmla="*/ 1771343 w 10505529"/>
              <a:gd name="connsiteY24730" fmla="*/ 3306875 h 7458372"/>
              <a:gd name="connsiteX24731" fmla="*/ 1776668 w 10505529"/>
              <a:gd name="connsiteY24731" fmla="*/ 3305943 h 7458372"/>
              <a:gd name="connsiteX24732" fmla="*/ 1780394 w 10505529"/>
              <a:gd name="connsiteY24732" fmla="*/ 3303547 h 7458372"/>
              <a:gd name="connsiteX24733" fmla="*/ 1783057 w 10505529"/>
              <a:gd name="connsiteY24733" fmla="*/ 3299421 h 7458372"/>
              <a:gd name="connsiteX24734" fmla="*/ 1784122 w 10505529"/>
              <a:gd name="connsiteY24734" fmla="*/ 3293962 h 7458372"/>
              <a:gd name="connsiteX24735" fmla="*/ 1783057 w 10505529"/>
              <a:gd name="connsiteY24735" fmla="*/ 3288772 h 7458372"/>
              <a:gd name="connsiteX24736" fmla="*/ 1780394 w 10505529"/>
              <a:gd name="connsiteY24736" fmla="*/ 3284512 h 7458372"/>
              <a:gd name="connsiteX24737" fmla="*/ 1776402 w 10505529"/>
              <a:gd name="connsiteY24737" fmla="*/ 3281849 h 7458372"/>
              <a:gd name="connsiteX24738" fmla="*/ 1771343 w 10505529"/>
              <a:gd name="connsiteY24738" fmla="*/ 3280919 h 7458372"/>
              <a:gd name="connsiteX24739" fmla="*/ 1553702 w 10505529"/>
              <a:gd name="connsiteY24739" fmla="*/ 3280919 h 7458372"/>
              <a:gd name="connsiteX24740" fmla="*/ 1543719 w 10505529"/>
              <a:gd name="connsiteY24740" fmla="*/ 3284512 h 7458372"/>
              <a:gd name="connsiteX24741" fmla="*/ 1540125 w 10505529"/>
              <a:gd name="connsiteY24741" fmla="*/ 3293962 h 7458372"/>
              <a:gd name="connsiteX24742" fmla="*/ 1543719 w 10505529"/>
              <a:gd name="connsiteY24742" fmla="*/ 3303414 h 7458372"/>
              <a:gd name="connsiteX24743" fmla="*/ 1553702 w 10505529"/>
              <a:gd name="connsiteY24743" fmla="*/ 3306875 h 7458372"/>
              <a:gd name="connsiteX24744" fmla="*/ 1559027 w 10505529"/>
              <a:gd name="connsiteY24744" fmla="*/ 3305943 h 7458372"/>
              <a:gd name="connsiteX24745" fmla="*/ 1562754 w 10505529"/>
              <a:gd name="connsiteY24745" fmla="*/ 3303547 h 7458372"/>
              <a:gd name="connsiteX24746" fmla="*/ 1565417 w 10505529"/>
              <a:gd name="connsiteY24746" fmla="*/ 3299421 h 7458372"/>
              <a:gd name="connsiteX24747" fmla="*/ 1566482 w 10505529"/>
              <a:gd name="connsiteY24747" fmla="*/ 3293962 h 7458372"/>
              <a:gd name="connsiteX24748" fmla="*/ 1565417 w 10505529"/>
              <a:gd name="connsiteY24748" fmla="*/ 3288772 h 7458372"/>
              <a:gd name="connsiteX24749" fmla="*/ 1562754 w 10505529"/>
              <a:gd name="connsiteY24749" fmla="*/ 3284512 h 7458372"/>
              <a:gd name="connsiteX24750" fmla="*/ 1558761 w 10505529"/>
              <a:gd name="connsiteY24750" fmla="*/ 3281849 h 7458372"/>
              <a:gd name="connsiteX24751" fmla="*/ 1553702 w 10505529"/>
              <a:gd name="connsiteY24751" fmla="*/ 3280919 h 7458372"/>
              <a:gd name="connsiteX24752" fmla="*/ 1336057 w 10505529"/>
              <a:gd name="connsiteY24752" fmla="*/ 3280919 h 7458372"/>
              <a:gd name="connsiteX24753" fmla="*/ 1326075 w 10505529"/>
              <a:gd name="connsiteY24753" fmla="*/ 3284512 h 7458372"/>
              <a:gd name="connsiteX24754" fmla="*/ 1322480 w 10505529"/>
              <a:gd name="connsiteY24754" fmla="*/ 3293962 h 7458372"/>
              <a:gd name="connsiteX24755" fmla="*/ 1326075 w 10505529"/>
              <a:gd name="connsiteY24755" fmla="*/ 3303414 h 7458372"/>
              <a:gd name="connsiteX24756" fmla="*/ 1336057 w 10505529"/>
              <a:gd name="connsiteY24756" fmla="*/ 3306875 h 7458372"/>
              <a:gd name="connsiteX24757" fmla="*/ 1341384 w 10505529"/>
              <a:gd name="connsiteY24757" fmla="*/ 3305943 h 7458372"/>
              <a:gd name="connsiteX24758" fmla="*/ 1345111 w 10505529"/>
              <a:gd name="connsiteY24758" fmla="*/ 3303547 h 7458372"/>
              <a:gd name="connsiteX24759" fmla="*/ 1347774 w 10505529"/>
              <a:gd name="connsiteY24759" fmla="*/ 3299421 h 7458372"/>
              <a:gd name="connsiteX24760" fmla="*/ 1348840 w 10505529"/>
              <a:gd name="connsiteY24760" fmla="*/ 3293962 h 7458372"/>
              <a:gd name="connsiteX24761" fmla="*/ 1347774 w 10505529"/>
              <a:gd name="connsiteY24761" fmla="*/ 3288772 h 7458372"/>
              <a:gd name="connsiteX24762" fmla="*/ 1345111 w 10505529"/>
              <a:gd name="connsiteY24762" fmla="*/ 3284512 h 7458372"/>
              <a:gd name="connsiteX24763" fmla="*/ 1341117 w 10505529"/>
              <a:gd name="connsiteY24763" fmla="*/ 3281849 h 7458372"/>
              <a:gd name="connsiteX24764" fmla="*/ 1336057 w 10505529"/>
              <a:gd name="connsiteY24764" fmla="*/ 3280919 h 7458372"/>
              <a:gd name="connsiteX24765" fmla="*/ 1118546 w 10505529"/>
              <a:gd name="connsiteY24765" fmla="*/ 3280919 h 7458372"/>
              <a:gd name="connsiteX24766" fmla="*/ 1108561 w 10505529"/>
              <a:gd name="connsiteY24766" fmla="*/ 3284512 h 7458372"/>
              <a:gd name="connsiteX24767" fmla="*/ 1104834 w 10505529"/>
              <a:gd name="connsiteY24767" fmla="*/ 3293962 h 7458372"/>
              <a:gd name="connsiteX24768" fmla="*/ 1108429 w 10505529"/>
              <a:gd name="connsiteY24768" fmla="*/ 3303414 h 7458372"/>
              <a:gd name="connsiteX24769" fmla="*/ 1118413 w 10505529"/>
              <a:gd name="connsiteY24769" fmla="*/ 3306875 h 7458372"/>
              <a:gd name="connsiteX24770" fmla="*/ 1123870 w 10505529"/>
              <a:gd name="connsiteY24770" fmla="*/ 3305943 h 7458372"/>
              <a:gd name="connsiteX24771" fmla="*/ 1127599 w 10505529"/>
              <a:gd name="connsiteY24771" fmla="*/ 3303547 h 7458372"/>
              <a:gd name="connsiteX24772" fmla="*/ 1130262 w 10505529"/>
              <a:gd name="connsiteY24772" fmla="*/ 3299421 h 7458372"/>
              <a:gd name="connsiteX24773" fmla="*/ 1131328 w 10505529"/>
              <a:gd name="connsiteY24773" fmla="*/ 3293962 h 7458372"/>
              <a:gd name="connsiteX24774" fmla="*/ 1130262 w 10505529"/>
              <a:gd name="connsiteY24774" fmla="*/ 3288772 h 7458372"/>
              <a:gd name="connsiteX24775" fmla="*/ 1127599 w 10505529"/>
              <a:gd name="connsiteY24775" fmla="*/ 3284512 h 7458372"/>
              <a:gd name="connsiteX24776" fmla="*/ 1123604 w 10505529"/>
              <a:gd name="connsiteY24776" fmla="*/ 3281849 h 7458372"/>
              <a:gd name="connsiteX24777" fmla="*/ 1118546 w 10505529"/>
              <a:gd name="connsiteY24777" fmla="*/ 3280919 h 7458372"/>
              <a:gd name="connsiteX24778" fmla="*/ 901034 w 10505529"/>
              <a:gd name="connsiteY24778" fmla="*/ 3280919 h 7458372"/>
              <a:gd name="connsiteX24779" fmla="*/ 891050 w 10505529"/>
              <a:gd name="connsiteY24779" fmla="*/ 3284512 h 7458372"/>
              <a:gd name="connsiteX24780" fmla="*/ 887323 w 10505529"/>
              <a:gd name="connsiteY24780" fmla="*/ 3293962 h 7458372"/>
              <a:gd name="connsiteX24781" fmla="*/ 890917 w 10505529"/>
              <a:gd name="connsiteY24781" fmla="*/ 3303414 h 7458372"/>
              <a:gd name="connsiteX24782" fmla="*/ 900900 w 10505529"/>
              <a:gd name="connsiteY24782" fmla="*/ 3306875 h 7458372"/>
              <a:gd name="connsiteX24783" fmla="*/ 906358 w 10505529"/>
              <a:gd name="connsiteY24783" fmla="*/ 3305943 h 7458372"/>
              <a:gd name="connsiteX24784" fmla="*/ 910086 w 10505529"/>
              <a:gd name="connsiteY24784" fmla="*/ 3303547 h 7458372"/>
              <a:gd name="connsiteX24785" fmla="*/ 912748 w 10505529"/>
              <a:gd name="connsiteY24785" fmla="*/ 3299421 h 7458372"/>
              <a:gd name="connsiteX24786" fmla="*/ 913814 w 10505529"/>
              <a:gd name="connsiteY24786" fmla="*/ 3293962 h 7458372"/>
              <a:gd name="connsiteX24787" fmla="*/ 912748 w 10505529"/>
              <a:gd name="connsiteY24787" fmla="*/ 3288772 h 7458372"/>
              <a:gd name="connsiteX24788" fmla="*/ 910086 w 10505529"/>
              <a:gd name="connsiteY24788" fmla="*/ 3284512 h 7458372"/>
              <a:gd name="connsiteX24789" fmla="*/ 906092 w 10505529"/>
              <a:gd name="connsiteY24789" fmla="*/ 3281849 h 7458372"/>
              <a:gd name="connsiteX24790" fmla="*/ 901034 w 10505529"/>
              <a:gd name="connsiteY24790" fmla="*/ 3280919 h 7458372"/>
              <a:gd name="connsiteX24791" fmla="*/ 683258 w 10505529"/>
              <a:gd name="connsiteY24791" fmla="*/ 3280919 h 7458372"/>
              <a:gd name="connsiteX24792" fmla="*/ 673275 w 10505529"/>
              <a:gd name="connsiteY24792" fmla="*/ 3284512 h 7458372"/>
              <a:gd name="connsiteX24793" fmla="*/ 669681 w 10505529"/>
              <a:gd name="connsiteY24793" fmla="*/ 3293962 h 7458372"/>
              <a:gd name="connsiteX24794" fmla="*/ 673275 w 10505529"/>
              <a:gd name="connsiteY24794" fmla="*/ 3303414 h 7458372"/>
              <a:gd name="connsiteX24795" fmla="*/ 683258 w 10505529"/>
              <a:gd name="connsiteY24795" fmla="*/ 3306875 h 7458372"/>
              <a:gd name="connsiteX24796" fmla="*/ 688584 w 10505529"/>
              <a:gd name="connsiteY24796" fmla="*/ 3305943 h 7458372"/>
              <a:gd name="connsiteX24797" fmla="*/ 692310 w 10505529"/>
              <a:gd name="connsiteY24797" fmla="*/ 3303547 h 7458372"/>
              <a:gd name="connsiteX24798" fmla="*/ 694974 w 10505529"/>
              <a:gd name="connsiteY24798" fmla="*/ 3299421 h 7458372"/>
              <a:gd name="connsiteX24799" fmla="*/ 696039 w 10505529"/>
              <a:gd name="connsiteY24799" fmla="*/ 3293962 h 7458372"/>
              <a:gd name="connsiteX24800" fmla="*/ 694974 w 10505529"/>
              <a:gd name="connsiteY24800" fmla="*/ 3288772 h 7458372"/>
              <a:gd name="connsiteX24801" fmla="*/ 692310 w 10505529"/>
              <a:gd name="connsiteY24801" fmla="*/ 3284512 h 7458372"/>
              <a:gd name="connsiteX24802" fmla="*/ 688317 w 10505529"/>
              <a:gd name="connsiteY24802" fmla="*/ 3281849 h 7458372"/>
              <a:gd name="connsiteX24803" fmla="*/ 683258 w 10505529"/>
              <a:gd name="connsiteY24803" fmla="*/ 3280919 h 7458372"/>
              <a:gd name="connsiteX24804" fmla="*/ 465615 w 10505529"/>
              <a:gd name="connsiteY24804" fmla="*/ 3280919 h 7458372"/>
              <a:gd name="connsiteX24805" fmla="*/ 455632 w 10505529"/>
              <a:gd name="connsiteY24805" fmla="*/ 3284512 h 7458372"/>
              <a:gd name="connsiteX24806" fmla="*/ 452038 w 10505529"/>
              <a:gd name="connsiteY24806" fmla="*/ 3293962 h 7458372"/>
              <a:gd name="connsiteX24807" fmla="*/ 455632 w 10505529"/>
              <a:gd name="connsiteY24807" fmla="*/ 3303414 h 7458372"/>
              <a:gd name="connsiteX24808" fmla="*/ 465615 w 10505529"/>
              <a:gd name="connsiteY24808" fmla="*/ 3306875 h 7458372"/>
              <a:gd name="connsiteX24809" fmla="*/ 470941 w 10505529"/>
              <a:gd name="connsiteY24809" fmla="*/ 3305943 h 7458372"/>
              <a:gd name="connsiteX24810" fmla="*/ 474668 w 10505529"/>
              <a:gd name="connsiteY24810" fmla="*/ 3303547 h 7458372"/>
              <a:gd name="connsiteX24811" fmla="*/ 477331 w 10505529"/>
              <a:gd name="connsiteY24811" fmla="*/ 3299421 h 7458372"/>
              <a:gd name="connsiteX24812" fmla="*/ 478396 w 10505529"/>
              <a:gd name="connsiteY24812" fmla="*/ 3293962 h 7458372"/>
              <a:gd name="connsiteX24813" fmla="*/ 477331 w 10505529"/>
              <a:gd name="connsiteY24813" fmla="*/ 3288772 h 7458372"/>
              <a:gd name="connsiteX24814" fmla="*/ 474668 w 10505529"/>
              <a:gd name="connsiteY24814" fmla="*/ 3284512 h 7458372"/>
              <a:gd name="connsiteX24815" fmla="*/ 470675 w 10505529"/>
              <a:gd name="connsiteY24815" fmla="*/ 3281849 h 7458372"/>
              <a:gd name="connsiteX24816" fmla="*/ 465615 w 10505529"/>
              <a:gd name="connsiteY24816" fmla="*/ 3280919 h 7458372"/>
              <a:gd name="connsiteX24817" fmla="*/ 247973 w 10505529"/>
              <a:gd name="connsiteY24817" fmla="*/ 3280919 h 7458372"/>
              <a:gd name="connsiteX24818" fmla="*/ 237990 w 10505529"/>
              <a:gd name="connsiteY24818" fmla="*/ 3284512 h 7458372"/>
              <a:gd name="connsiteX24819" fmla="*/ 234396 w 10505529"/>
              <a:gd name="connsiteY24819" fmla="*/ 3293962 h 7458372"/>
              <a:gd name="connsiteX24820" fmla="*/ 237990 w 10505529"/>
              <a:gd name="connsiteY24820" fmla="*/ 3303414 h 7458372"/>
              <a:gd name="connsiteX24821" fmla="*/ 247973 w 10505529"/>
              <a:gd name="connsiteY24821" fmla="*/ 3306875 h 7458372"/>
              <a:gd name="connsiteX24822" fmla="*/ 253298 w 10505529"/>
              <a:gd name="connsiteY24822" fmla="*/ 3305943 h 7458372"/>
              <a:gd name="connsiteX24823" fmla="*/ 257024 w 10505529"/>
              <a:gd name="connsiteY24823" fmla="*/ 3303547 h 7458372"/>
              <a:gd name="connsiteX24824" fmla="*/ 259687 w 10505529"/>
              <a:gd name="connsiteY24824" fmla="*/ 3299421 h 7458372"/>
              <a:gd name="connsiteX24825" fmla="*/ 260752 w 10505529"/>
              <a:gd name="connsiteY24825" fmla="*/ 3293962 h 7458372"/>
              <a:gd name="connsiteX24826" fmla="*/ 259687 w 10505529"/>
              <a:gd name="connsiteY24826" fmla="*/ 3288772 h 7458372"/>
              <a:gd name="connsiteX24827" fmla="*/ 257024 w 10505529"/>
              <a:gd name="connsiteY24827" fmla="*/ 3284512 h 7458372"/>
              <a:gd name="connsiteX24828" fmla="*/ 253032 w 10505529"/>
              <a:gd name="connsiteY24828" fmla="*/ 3281849 h 7458372"/>
              <a:gd name="connsiteX24829" fmla="*/ 247973 w 10505529"/>
              <a:gd name="connsiteY24829" fmla="*/ 3280919 h 7458372"/>
              <a:gd name="connsiteX24830" fmla="*/ 30330 w 10505529"/>
              <a:gd name="connsiteY24830" fmla="*/ 3280919 h 7458372"/>
              <a:gd name="connsiteX24831" fmla="*/ 20347 w 10505529"/>
              <a:gd name="connsiteY24831" fmla="*/ 3284512 h 7458372"/>
              <a:gd name="connsiteX24832" fmla="*/ 16753 w 10505529"/>
              <a:gd name="connsiteY24832" fmla="*/ 3293962 h 7458372"/>
              <a:gd name="connsiteX24833" fmla="*/ 20347 w 10505529"/>
              <a:gd name="connsiteY24833" fmla="*/ 3303414 h 7458372"/>
              <a:gd name="connsiteX24834" fmla="*/ 30330 w 10505529"/>
              <a:gd name="connsiteY24834" fmla="*/ 3306875 h 7458372"/>
              <a:gd name="connsiteX24835" fmla="*/ 35655 w 10505529"/>
              <a:gd name="connsiteY24835" fmla="*/ 3305943 h 7458372"/>
              <a:gd name="connsiteX24836" fmla="*/ 39382 w 10505529"/>
              <a:gd name="connsiteY24836" fmla="*/ 3303547 h 7458372"/>
              <a:gd name="connsiteX24837" fmla="*/ 42045 w 10505529"/>
              <a:gd name="connsiteY24837" fmla="*/ 3299421 h 7458372"/>
              <a:gd name="connsiteX24838" fmla="*/ 42976 w 10505529"/>
              <a:gd name="connsiteY24838" fmla="*/ 3293962 h 7458372"/>
              <a:gd name="connsiteX24839" fmla="*/ 42045 w 10505529"/>
              <a:gd name="connsiteY24839" fmla="*/ 3288772 h 7458372"/>
              <a:gd name="connsiteX24840" fmla="*/ 39382 w 10505529"/>
              <a:gd name="connsiteY24840" fmla="*/ 3284512 h 7458372"/>
              <a:gd name="connsiteX24841" fmla="*/ 35389 w 10505529"/>
              <a:gd name="connsiteY24841" fmla="*/ 3281849 h 7458372"/>
              <a:gd name="connsiteX24842" fmla="*/ 30330 w 10505529"/>
              <a:gd name="connsiteY24842" fmla="*/ 3280919 h 7458372"/>
              <a:gd name="connsiteX24843" fmla="*/ 10475977 w 10505529"/>
              <a:gd name="connsiteY24843" fmla="*/ 3264278 h 7458372"/>
              <a:gd name="connsiteX24844" fmla="*/ 10487824 w 10505529"/>
              <a:gd name="connsiteY24844" fmla="*/ 3266807 h 7458372"/>
              <a:gd name="connsiteX24845" fmla="*/ 10497143 w 10505529"/>
              <a:gd name="connsiteY24845" fmla="*/ 3273196 h 7458372"/>
              <a:gd name="connsiteX24846" fmla="*/ 10503266 w 10505529"/>
              <a:gd name="connsiteY24846" fmla="*/ 3282648 h 7458372"/>
              <a:gd name="connsiteX24847" fmla="*/ 10505529 w 10505529"/>
              <a:gd name="connsiteY24847" fmla="*/ 3294096 h 7458372"/>
              <a:gd name="connsiteX24848" fmla="*/ 10503266 w 10505529"/>
              <a:gd name="connsiteY24848" fmla="*/ 3305811 h 7458372"/>
              <a:gd name="connsiteX24849" fmla="*/ 10497143 w 10505529"/>
              <a:gd name="connsiteY24849" fmla="*/ 3315129 h 7458372"/>
              <a:gd name="connsiteX24850" fmla="*/ 10487824 w 10505529"/>
              <a:gd name="connsiteY24850" fmla="*/ 3321385 h 7458372"/>
              <a:gd name="connsiteX24851" fmla="*/ 10475977 w 10505529"/>
              <a:gd name="connsiteY24851" fmla="*/ 3323648 h 7458372"/>
              <a:gd name="connsiteX24852" fmla="*/ 10454145 w 10505529"/>
              <a:gd name="connsiteY24852" fmla="*/ 3315129 h 7458372"/>
              <a:gd name="connsiteX24853" fmla="*/ 10445759 w 10505529"/>
              <a:gd name="connsiteY24853" fmla="*/ 3293962 h 7458372"/>
              <a:gd name="connsiteX24854" fmla="*/ 10454145 w 10505529"/>
              <a:gd name="connsiteY24854" fmla="*/ 3272931 h 7458372"/>
              <a:gd name="connsiteX24855" fmla="*/ 10475977 w 10505529"/>
              <a:gd name="connsiteY24855" fmla="*/ 3264278 h 7458372"/>
              <a:gd name="connsiteX24856" fmla="*/ 10258466 w 10505529"/>
              <a:gd name="connsiteY24856" fmla="*/ 3264278 h 7458372"/>
              <a:gd name="connsiteX24857" fmla="*/ 10270313 w 10505529"/>
              <a:gd name="connsiteY24857" fmla="*/ 3266807 h 7458372"/>
              <a:gd name="connsiteX24858" fmla="*/ 10279631 w 10505529"/>
              <a:gd name="connsiteY24858" fmla="*/ 3273196 h 7458372"/>
              <a:gd name="connsiteX24859" fmla="*/ 10285754 w 10505529"/>
              <a:gd name="connsiteY24859" fmla="*/ 3282648 h 7458372"/>
              <a:gd name="connsiteX24860" fmla="*/ 10288017 w 10505529"/>
              <a:gd name="connsiteY24860" fmla="*/ 3294096 h 7458372"/>
              <a:gd name="connsiteX24861" fmla="*/ 10285754 w 10505529"/>
              <a:gd name="connsiteY24861" fmla="*/ 3305811 h 7458372"/>
              <a:gd name="connsiteX24862" fmla="*/ 10279631 w 10505529"/>
              <a:gd name="connsiteY24862" fmla="*/ 3315129 h 7458372"/>
              <a:gd name="connsiteX24863" fmla="*/ 10270313 w 10505529"/>
              <a:gd name="connsiteY24863" fmla="*/ 3321385 h 7458372"/>
              <a:gd name="connsiteX24864" fmla="*/ 10258466 w 10505529"/>
              <a:gd name="connsiteY24864" fmla="*/ 3323648 h 7458372"/>
              <a:gd name="connsiteX24865" fmla="*/ 10236633 w 10505529"/>
              <a:gd name="connsiteY24865" fmla="*/ 3315129 h 7458372"/>
              <a:gd name="connsiteX24866" fmla="*/ 10228247 w 10505529"/>
              <a:gd name="connsiteY24866" fmla="*/ 3293962 h 7458372"/>
              <a:gd name="connsiteX24867" fmla="*/ 10236633 w 10505529"/>
              <a:gd name="connsiteY24867" fmla="*/ 3272931 h 7458372"/>
              <a:gd name="connsiteX24868" fmla="*/ 10258466 w 10505529"/>
              <a:gd name="connsiteY24868" fmla="*/ 3264278 h 7458372"/>
              <a:gd name="connsiteX24869" fmla="*/ 10040820 w 10505529"/>
              <a:gd name="connsiteY24869" fmla="*/ 3264278 h 7458372"/>
              <a:gd name="connsiteX24870" fmla="*/ 10052534 w 10505529"/>
              <a:gd name="connsiteY24870" fmla="*/ 3266807 h 7458372"/>
              <a:gd name="connsiteX24871" fmla="*/ 10061852 w 10505529"/>
              <a:gd name="connsiteY24871" fmla="*/ 3273196 h 7458372"/>
              <a:gd name="connsiteX24872" fmla="*/ 10067976 w 10505529"/>
              <a:gd name="connsiteY24872" fmla="*/ 3282648 h 7458372"/>
              <a:gd name="connsiteX24873" fmla="*/ 10070239 w 10505529"/>
              <a:gd name="connsiteY24873" fmla="*/ 3294096 h 7458372"/>
              <a:gd name="connsiteX24874" fmla="*/ 10067976 w 10505529"/>
              <a:gd name="connsiteY24874" fmla="*/ 3305811 h 7458372"/>
              <a:gd name="connsiteX24875" fmla="*/ 10061852 w 10505529"/>
              <a:gd name="connsiteY24875" fmla="*/ 3315129 h 7458372"/>
              <a:gd name="connsiteX24876" fmla="*/ 10052534 w 10505529"/>
              <a:gd name="connsiteY24876" fmla="*/ 3321385 h 7458372"/>
              <a:gd name="connsiteX24877" fmla="*/ 10040820 w 10505529"/>
              <a:gd name="connsiteY24877" fmla="*/ 3323648 h 7458372"/>
              <a:gd name="connsiteX24878" fmla="*/ 10018988 w 10505529"/>
              <a:gd name="connsiteY24878" fmla="*/ 3315129 h 7458372"/>
              <a:gd name="connsiteX24879" fmla="*/ 10010602 w 10505529"/>
              <a:gd name="connsiteY24879" fmla="*/ 3293962 h 7458372"/>
              <a:gd name="connsiteX24880" fmla="*/ 10018988 w 10505529"/>
              <a:gd name="connsiteY24880" fmla="*/ 3272931 h 7458372"/>
              <a:gd name="connsiteX24881" fmla="*/ 10040820 w 10505529"/>
              <a:gd name="connsiteY24881" fmla="*/ 3264278 h 7458372"/>
              <a:gd name="connsiteX24882" fmla="*/ 9823176 w 10505529"/>
              <a:gd name="connsiteY24882" fmla="*/ 3264278 h 7458372"/>
              <a:gd name="connsiteX24883" fmla="*/ 9834890 w 10505529"/>
              <a:gd name="connsiteY24883" fmla="*/ 3266807 h 7458372"/>
              <a:gd name="connsiteX24884" fmla="*/ 9844208 w 10505529"/>
              <a:gd name="connsiteY24884" fmla="*/ 3273196 h 7458372"/>
              <a:gd name="connsiteX24885" fmla="*/ 9850331 w 10505529"/>
              <a:gd name="connsiteY24885" fmla="*/ 3282648 h 7458372"/>
              <a:gd name="connsiteX24886" fmla="*/ 9852595 w 10505529"/>
              <a:gd name="connsiteY24886" fmla="*/ 3294096 h 7458372"/>
              <a:gd name="connsiteX24887" fmla="*/ 9850331 w 10505529"/>
              <a:gd name="connsiteY24887" fmla="*/ 3305811 h 7458372"/>
              <a:gd name="connsiteX24888" fmla="*/ 9844208 w 10505529"/>
              <a:gd name="connsiteY24888" fmla="*/ 3315129 h 7458372"/>
              <a:gd name="connsiteX24889" fmla="*/ 9834890 w 10505529"/>
              <a:gd name="connsiteY24889" fmla="*/ 3321385 h 7458372"/>
              <a:gd name="connsiteX24890" fmla="*/ 9823176 w 10505529"/>
              <a:gd name="connsiteY24890" fmla="*/ 3323648 h 7458372"/>
              <a:gd name="connsiteX24891" fmla="*/ 9801343 w 10505529"/>
              <a:gd name="connsiteY24891" fmla="*/ 3315129 h 7458372"/>
              <a:gd name="connsiteX24892" fmla="*/ 9792957 w 10505529"/>
              <a:gd name="connsiteY24892" fmla="*/ 3293962 h 7458372"/>
              <a:gd name="connsiteX24893" fmla="*/ 9801343 w 10505529"/>
              <a:gd name="connsiteY24893" fmla="*/ 3272931 h 7458372"/>
              <a:gd name="connsiteX24894" fmla="*/ 9823176 w 10505529"/>
              <a:gd name="connsiteY24894" fmla="*/ 3264278 h 7458372"/>
              <a:gd name="connsiteX24895" fmla="*/ 9605531 w 10505529"/>
              <a:gd name="connsiteY24895" fmla="*/ 3264278 h 7458372"/>
              <a:gd name="connsiteX24896" fmla="*/ 9617245 w 10505529"/>
              <a:gd name="connsiteY24896" fmla="*/ 3266807 h 7458372"/>
              <a:gd name="connsiteX24897" fmla="*/ 9626562 w 10505529"/>
              <a:gd name="connsiteY24897" fmla="*/ 3273196 h 7458372"/>
              <a:gd name="connsiteX24898" fmla="*/ 9632686 w 10505529"/>
              <a:gd name="connsiteY24898" fmla="*/ 3282648 h 7458372"/>
              <a:gd name="connsiteX24899" fmla="*/ 9634949 w 10505529"/>
              <a:gd name="connsiteY24899" fmla="*/ 3294096 h 7458372"/>
              <a:gd name="connsiteX24900" fmla="*/ 9632686 w 10505529"/>
              <a:gd name="connsiteY24900" fmla="*/ 3305811 h 7458372"/>
              <a:gd name="connsiteX24901" fmla="*/ 9626562 w 10505529"/>
              <a:gd name="connsiteY24901" fmla="*/ 3315129 h 7458372"/>
              <a:gd name="connsiteX24902" fmla="*/ 9617245 w 10505529"/>
              <a:gd name="connsiteY24902" fmla="*/ 3321385 h 7458372"/>
              <a:gd name="connsiteX24903" fmla="*/ 9605531 w 10505529"/>
              <a:gd name="connsiteY24903" fmla="*/ 3323648 h 7458372"/>
              <a:gd name="connsiteX24904" fmla="*/ 9583698 w 10505529"/>
              <a:gd name="connsiteY24904" fmla="*/ 3315129 h 7458372"/>
              <a:gd name="connsiteX24905" fmla="*/ 9575312 w 10505529"/>
              <a:gd name="connsiteY24905" fmla="*/ 3293962 h 7458372"/>
              <a:gd name="connsiteX24906" fmla="*/ 9583698 w 10505529"/>
              <a:gd name="connsiteY24906" fmla="*/ 3272931 h 7458372"/>
              <a:gd name="connsiteX24907" fmla="*/ 9605531 w 10505529"/>
              <a:gd name="connsiteY24907" fmla="*/ 3264278 h 7458372"/>
              <a:gd name="connsiteX24908" fmla="*/ 9387885 w 10505529"/>
              <a:gd name="connsiteY24908" fmla="*/ 3264278 h 7458372"/>
              <a:gd name="connsiteX24909" fmla="*/ 9399599 w 10505529"/>
              <a:gd name="connsiteY24909" fmla="*/ 3266807 h 7458372"/>
              <a:gd name="connsiteX24910" fmla="*/ 9408917 w 10505529"/>
              <a:gd name="connsiteY24910" fmla="*/ 3273196 h 7458372"/>
              <a:gd name="connsiteX24911" fmla="*/ 9415041 w 10505529"/>
              <a:gd name="connsiteY24911" fmla="*/ 3282648 h 7458372"/>
              <a:gd name="connsiteX24912" fmla="*/ 9417304 w 10505529"/>
              <a:gd name="connsiteY24912" fmla="*/ 3294096 h 7458372"/>
              <a:gd name="connsiteX24913" fmla="*/ 9415041 w 10505529"/>
              <a:gd name="connsiteY24913" fmla="*/ 3305811 h 7458372"/>
              <a:gd name="connsiteX24914" fmla="*/ 9408917 w 10505529"/>
              <a:gd name="connsiteY24914" fmla="*/ 3315129 h 7458372"/>
              <a:gd name="connsiteX24915" fmla="*/ 9399599 w 10505529"/>
              <a:gd name="connsiteY24915" fmla="*/ 3321385 h 7458372"/>
              <a:gd name="connsiteX24916" fmla="*/ 9387885 w 10505529"/>
              <a:gd name="connsiteY24916" fmla="*/ 3323648 h 7458372"/>
              <a:gd name="connsiteX24917" fmla="*/ 9366053 w 10505529"/>
              <a:gd name="connsiteY24917" fmla="*/ 3315129 h 7458372"/>
              <a:gd name="connsiteX24918" fmla="*/ 9357667 w 10505529"/>
              <a:gd name="connsiteY24918" fmla="*/ 3293962 h 7458372"/>
              <a:gd name="connsiteX24919" fmla="*/ 9366053 w 10505529"/>
              <a:gd name="connsiteY24919" fmla="*/ 3272931 h 7458372"/>
              <a:gd name="connsiteX24920" fmla="*/ 9387885 w 10505529"/>
              <a:gd name="connsiteY24920" fmla="*/ 3264278 h 7458372"/>
              <a:gd name="connsiteX24921" fmla="*/ 9170374 w 10505529"/>
              <a:gd name="connsiteY24921" fmla="*/ 3264278 h 7458372"/>
              <a:gd name="connsiteX24922" fmla="*/ 9182088 w 10505529"/>
              <a:gd name="connsiteY24922" fmla="*/ 3266807 h 7458372"/>
              <a:gd name="connsiteX24923" fmla="*/ 9191405 w 10505529"/>
              <a:gd name="connsiteY24923" fmla="*/ 3273196 h 7458372"/>
              <a:gd name="connsiteX24924" fmla="*/ 9197529 w 10505529"/>
              <a:gd name="connsiteY24924" fmla="*/ 3282648 h 7458372"/>
              <a:gd name="connsiteX24925" fmla="*/ 9199792 w 10505529"/>
              <a:gd name="connsiteY24925" fmla="*/ 3294096 h 7458372"/>
              <a:gd name="connsiteX24926" fmla="*/ 9197529 w 10505529"/>
              <a:gd name="connsiteY24926" fmla="*/ 3305811 h 7458372"/>
              <a:gd name="connsiteX24927" fmla="*/ 9191405 w 10505529"/>
              <a:gd name="connsiteY24927" fmla="*/ 3315129 h 7458372"/>
              <a:gd name="connsiteX24928" fmla="*/ 9182088 w 10505529"/>
              <a:gd name="connsiteY24928" fmla="*/ 3321385 h 7458372"/>
              <a:gd name="connsiteX24929" fmla="*/ 9170374 w 10505529"/>
              <a:gd name="connsiteY24929" fmla="*/ 3323648 h 7458372"/>
              <a:gd name="connsiteX24930" fmla="*/ 9148541 w 10505529"/>
              <a:gd name="connsiteY24930" fmla="*/ 3315129 h 7458372"/>
              <a:gd name="connsiteX24931" fmla="*/ 9140155 w 10505529"/>
              <a:gd name="connsiteY24931" fmla="*/ 3293962 h 7458372"/>
              <a:gd name="connsiteX24932" fmla="*/ 9148541 w 10505529"/>
              <a:gd name="connsiteY24932" fmla="*/ 3272931 h 7458372"/>
              <a:gd name="connsiteX24933" fmla="*/ 9170374 w 10505529"/>
              <a:gd name="connsiteY24933" fmla="*/ 3264278 h 7458372"/>
              <a:gd name="connsiteX24934" fmla="*/ 8952728 w 10505529"/>
              <a:gd name="connsiteY24934" fmla="*/ 3264278 h 7458372"/>
              <a:gd name="connsiteX24935" fmla="*/ 8964442 w 10505529"/>
              <a:gd name="connsiteY24935" fmla="*/ 3266807 h 7458372"/>
              <a:gd name="connsiteX24936" fmla="*/ 8973760 w 10505529"/>
              <a:gd name="connsiteY24936" fmla="*/ 3273196 h 7458372"/>
              <a:gd name="connsiteX24937" fmla="*/ 8979884 w 10505529"/>
              <a:gd name="connsiteY24937" fmla="*/ 3282648 h 7458372"/>
              <a:gd name="connsiteX24938" fmla="*/ 8982147 w 10505529"/>
              <a:gd name="connsiteY24938" fmla="*/ 3294096 h 7458372"/>
              <a:gd name="connsiteX24939" fmla="*/ 8979884 w 10505529"/>
              <a:gd name="connsiteY24939" fmla="*/ 3305811 h 7458372"/>
              <a:gd name="connsiteX24940" fmla="*/ 8973760 w 10505529"/>
              <a:gd name="connsiteY24940" fmla="*/ 3315129 h 7458372"/>
              <a:gd name="connsiteX24941" fmla="*/ 8964442 w 10505529"/>
              <a:gd name="connsiteY24941" fmla="*/ 3321385 h 7458372"/>
              <a:gd name="connsiteX24942" fmla="*/ 8952728 w 10505529"/>
              <a:gd name="connsiteY24942" fmla="*/ 3323648 h 7458372"/>
              <a:gd name="connsiteX24943" fmla="*/ 8930896 w 10505529"/>
              <a:gd name="connsiteY24943" fmla="*/ 3315129 h 7458372"/>
              <a:gd name="connsiteX24944" fmla="*/ 8922510 w 10505529"/>
              <a:gd name="connsiteY24944" fmla="*/ 3293962 h 7458372"/>
              <a:gd name="connsiteX24945" fmla="*/ 8930896 w 10505529"/>
              <a:gd name="connsiteY24945" fmla="*/ 3272931 h 7458372"/>
              <a:gd name="connsiteX24946" fmla="*/ 8952728 w 10505529"/>
              <a:gd name="connsiteY24946" fmla="*/ 3264278 h 7458372"/>
              <a:gd name="connsiteX24947" fmla="*/ 8735083 w 10505529"/>
              <a:gd name="connsiteY24947" fmla="*/ 3264278 h 7458372"/>
              <a:gd name="connsiteX24948" fmla="*/ 8746797 w 10505529"/>
              <a:gd name="connsiteY24948" fmla="*/ 3266807 h 7458372"/>
              <a:gd name="connsiteX24949" fmla="*/ 8756115 w 10505529"/>
              <a:gd name="connsiteY24949" fmla="*/ 3273196 h 7458372"/>
              <a:gd name="connsiteX24950" fmla="*/ 8762238 w 10505529"/>
              <a:gd name="connsiteY24950" fmla="*/ 3282648 h 7458372"/>
              <a:gd name="connsiteX24951" fmla="*/ 8764502 w 10505529"/>
              <a:gd name="connsiteY24951" fmla="*/ 3294096 h 7458372"/>
              <a:gd name="connsiteX24952" fmla="*/ 8762238 w 10505529"/>
              <a:gd name="connsiteY24952" fmla="*/ 3305811 h 7458372"/>
              <a:gd name="connsiteX24953" fmla="*/ 8756115 w 10505529"/>
              <a:gd name="connsiteY24953" fmla="*/ 3315129 h 7458372"/>
              <a:gd name="connsiteX24954" fmla="*/ 8746797 w 10505529"/>
              <a:gd name="connsiteY24954" fmla="*/ 3321385 h 7458372"/>
              <a:gd name="connsiteX24955" fmla="*/ 8735083 w 10505529"/>
              <a:gd name="connsiteY24955" fmla="*/ 3323648 h 7458372"/>
              <a:gd name="connsiteX24956" fmla="*/ 8713250 w 10505529"/>
              <a:gd name="connsiteY24956" fmla="*/ 3315129 h 7458372"/>
              <a:gd name="connsiteX24957" fmla="*/ 8704864 w 10505529"/>
              <a:gd name="connsiteY24957" fmla="*/ 3293962 h 7458372"/>
              <a:gd name="connsiteX24958" fmla="*/ 8713250 w 10505529"/>
              <a:gd name="connsiteY24958" fmla="*/ 3272931 h 7458372"/>
              <a:gd name="connsiteX24959" fmla="*/ 8735083 w 10505529"/>
              <a:gd name="connsiteY24959" fmla="*/ 3264278 h 7458372"/>
              <a:gd name="connsiteX24960" fmla="*/ 8517438 w 10505529"/>
              <a:gd name="connsiteY24960" fmla="*/ 3264278 h 7458372"/>
              <a:gd name="connsiteX24961" fmla="*/ 8529152 w 10505529"/>
              <a:gd name="connsiteY24961" fmla="*/ 3266807 h 7458372"/>
              <a:gd name="connsiteX24962" fmla="*/ 8538470 w 10505529"/>
              <a:gd name="connsiteY24962" fmla="*/ 3273196 h 7458372"/>
              <a:gd name="connsiteX24963" fmla="*/ 8544594 w 10505529"/>
              <a:gd name="connsiteY24963" fmla="*/ 3282648 h 7458372"/>
              <a:gd name="connsiteX24964" fmla="*/ 8546857 w 10505529"/>
              <a:gd name="connsiteY24964" fmla="*/ 3294096 h 7458372"/>
              <a:gd name="connsiteX24965" fmla="*/ 8544594 w 10505529"/>
              <a:gd name="connsiteY24965" fmla="*/ 3305811 h 7458372"/>
              <a:gd name="connsiteX24966" fmla="*/ 8538470 w 10505529"/>
              <a:gd name="connsiteY24966" fmla="*/ 3315129 h 7458372"/>
              <a:gd name="connsiteX24967" fmla="*/ 8529152 w 10505529"/>
              <a:gd name="connsiteY24967" fmla="*/ 3321385 h 7458372"/>
              <a:gd name="connsiteX24968" fmla="*/ 8517438 w 10505529"/>
              <a:gd name="connsiteY24968" fmla="*/ 3323648 h 7458372"/>
              <a:gd name="connsiteX24969" fmla="*/ 8495606 w 10505529"/>
              <a:gd name="connsiteY24969" fmla="*/ 3315129 h 7458372"/>
              <a:gd name="connsiteX24970" fmla="*/ 8487220 w 10505529"/>
              <a:gd name="connsiteY24970" fmla="*/ 3293962 h 7458372"/>
              <a:gd name="connsiteX24971" fmla="*/ 8495606 w 10505529"/>
              <a:gd name="connsiteY24971" fmla="*/ 3272931 h 7458372"/>
              <a:gd name="connsiteX24972" fmla="*/ 8517438 w 10505529"/>
              <a:gd name="connsiteY24972" fmla="*/ 3264278 h 7458372"/>
              <a:gd name="connsiteX24973" fmla="*/ 8299793 w 10505529"/>
              <a:gd name="connsiteY24973" fmla="*/ 3264278 h 7458372"/>
              <a:gd name="connsiteX24974" fmla="*/ 8311507 w 10505529"/>
              <a:gd name="connsiteY24974" fmla="*/ 3266807 h 7458372"/>
              <a:gd name="connsiteX24975" fmla="*/ 8320825 w 10505529"/>
              <a:gd name="connsiteY24975" fmla="*/ 3273196 h 7458372"/>
              <a:gd name="connsiteX24976" fmla="*/ 8326948 w 10505529"/>
              <a:gd name="connsiteY24976" fmla="*/ 3282648 h 7458372"/>
              <a:gd name="connsiteX24977" fmla="*/ 8329212 w 10505529"/>
              <a:gd name="connsiteY24977" fmla="*/ 3294096 h 7458372"/>
              <a:gd name="connsiteX24978" fmla="*/ 8326948 w 10505529"/>
              <a:gd name="connsiteY24978" fmla="*/ 3305811 h 7458372"/>
              <a:gd name="connsiteX24979" fmla="*/ 8320825 w 10505529"/>
              <a:gd name="connsiteY24979" fmla="*/ 3315129 h 7458372"/>
              <a:gd name="connsiteX24980" fmla="*/ 8311507 w 10505529"/>
              <a:gd name="connsiteY24980" fmla="*/ 3321385 h 7458372"/>
              <a:gd name="connsiteX24981" fmla="*/ 8299793 w 10505529"/>
              <a:gd name="connsiteY24981" fmla="*/ 3323648 h 7458372"/>
              <a:gd name="connsiteX24982" fmla="*/ 8277960 w 10505529"/>
              <a:gd name="connsiteY24982" fmla="*/ 3315129 h 7458372"/>
              <a:gd name="connsiteX24983" fmla="*/ 8269574 w 10505529"/>
              <a:gd name="connsiteY24983" fmla="*/ 3293962 h 7458372"/>
              <a:gd name="connsiteX24984" fmla="*/ 8277960 w 10505529"/>
              <a:gd name="connsiteY24984" fmla="*/ 3272931 h 7458372"/>
              <a:gd name="connsiteX24985" fmla="*/ 8299793 w 10505529"/>
              <a:gd name="connsiteY24985" fmla="*/ 3264278 h 7458372"/>
              <a:gd name="connsiteX24986" fmla="*/ 8082281 w 10505529"/>
              <a:gd name="connsiteY24986" fmla="*/ 3264278 h 7458372"/>
              <a:gd name="connsiteX24987" fmla="*/ 8094127 w 10505529"/>
              <a:gd name="connsiteY24987" fmla="*/ 3266807 h 7458372"/>
              <a:gd name="connsiteX24988" fmla="*/ 8103446 w 10505529"/>
              <a:gd name="connsiteY24988" fmla="*/ 3273196 h 7458372"/>
              <a:gd name="connsiteX24989" fmla="*/ 8109569 w 10505529"/>
              <a:gd name="connsiteY24989" fmla="*/ 3282648 h 7458372"/>
              <a:gd name="connsiteX24990" fmla="*/ 8111832 w 10505529"/>
              <a:gd name="connsiteY24990" fmla="*/ 3294096 h 7458372"/>
              <a:gd name="connsiteX24991" fmla="*/ 8109569 w 10505529"/>
              <a:gd name="connsiteY24991" fmla="*/ 3305811 h 7458372"/>
              <a:gd name="connsiteX24992" fmla="*/ 8103446 w 10505529"/>
              <a:gd name="connsiteY24992" fmla="*/ 3315129 h 7458372"/>
              <a:gd name="connsiteX24993" fmla="*/ 8094127 w 10505529"/>
              <a:gd name="connsiteY24993" fmla="*/ 3321385 h 7458372"/>
              <a:gd name="connsiteX24994" fmla="*/ 8082281 w 10505529"/>
              <a:gd name="connsiteY24994" fmla="*/ 3323648 h 7458372"/>
              <a:gd name="connsiteX24995" fmla="*/ 8060448 w 10505529"/>
              <a:gd name="connsiteY24995" fmla="*/ 3315129 h 7458372"/>
              <a:gd name="connsiteX24996" fmla="*/ 8052062 w 10505529"/>
              <a:gd name="connsiteY24996" fmla="*/ 3293962 h 7458372"/>
              <a:gd name="connsiteX24997" fmla="*/ 8060448 w 10505529"/>
              <a:gd name="connsiteY24997" fmla="*/ 3272931 h 7458372"/>
              <a:gd name="connsiteX24998" fmla="*/ 8082281 w 10505529"/>
              <a:gd name="connsiteY24998" fmla="*/ 3264278 h 7458372"/>
              <a:gd name="connsiteX24999" fmla="*/ 7864636 w 10505529"/>
              <a:gd name="connsiteY24999" fmla="*/ 3264278 h 7458372"/>
              <a:gd name="connsiteX25000" fmla="*/ 7876483 w 10505529"/>
              <a:gd name="connsiteY25000" fmla="*/ 3266807 h 7458372"/>
              <a:gd name="connsiteX25001" fmla="*/ 7885802 w 10505529"/>
              <a:gd name="connsiteY25001" fmla="*/ 3273196 h 7458372"/>
              <a:gd name="connsiteX25002" fmla="*/ 7891924 w 10505529"/>
              <a:gd name="connsiteY25002" fmla="*/ 3282648 h 7458372"/>
              <a:gd name="connsiteX25003" fmla="*/ 7894188 w 10505529"/>
              <a:gd name="connsiteY25003" fmla="*/ 3294096 h 7458372"/>
              <a:gd name="connsiteX25004" fmla="*/ 7891924 w 10505529"/>
              <a:gd name="connsiteY25004" fmla="*/ 3305811 h 7458372"/>
              <a:gd name="connsiteX25005" fmla="*/ 7885802 w 10505529"/>
              <a:gd name="connsiteY25005" fmla="*/ 3315129 h 7458372"/>
              <a:gd name="connsiteX25006" fmla="*/ 7876483 w 10505529"/>
              <a:gd name="connsiteY25006" fmla="*/ 3321385 h 7458372"/>
              <a:gd name="connsiteX25007" fmla="*/ 7864636 w 10505529"/>
              <a:gd name="connsiteY25007" fmla="*/ 3323648 h 7458372"/>
              <a:gd name="connsiteX25008" fmla="*/ 7842803 w 10505529"/>
              <a:gd name="connsiteY25008" fmla="*/ 3315129 h 7458372"/>
              <a:gd name="connsiteX25009" fmla="*/ 7834417 w 10505529"/>
              <a:gd name="connsiteY25009" fmla="*/ 3293962 h 7458372"/>
              <a:gd name="connsiteX25010" fmla="*/ 7842803 w 10505529"/>
              <a:gd name="connsiteY25010" fmla="*/ 3272931 h 7458372"/>
              <a:gd name="connsiteX25011" fmla="*/ 7864636 w 10505529"/>
              <a:gd name="connsiteY25011" fmla="*/ 3264278 h 7458372"/>
              <a:gd name="connsiteX25012" fmla="*/ 7646991 w 10505529"/>
              <a:gd name="connsiteY25012" fmla="*/ 3264278 h 7458372"/>
              <a:gd name="connsiteX25013" fmla="*/ 7658705 w 10505529"/>
              <a:gd name="connsiteY25013" fmla="*/ 3266807 h 7458372"/>
              <a:gd name="connsiteX25014" fmla="*/ 7668022 w 10505529"/>
              <a:gd name="connsiteY25014" fmla="*/ 3273196 h 7458372"/>
              <a:gd name="connsiteX25015" fmla="*/ 7674146 w 10505529"/>
              <a:gd name="connsiteY25015" fmla="*/ 3282648 h 7458372"/>
              <a:gd name="connsiteX25016" fmla="*/ 7676409 w 10505529"/>
              <a:gd name="connsiteY25016" fmla="*/ 3294096 h 7458372"/>
              <a:gd name="connsiteX25017" fmla="*/ 7674146 w 10505529"/>
              <a:gd name="connsiteY25017" fmla="*/ 3305811 h 7458372"/>
              <a:gd name="connsiteX25018" fmla="*/ 7668022 w 10505529"/>
              <a:gd name="connsiteY25018" fmla="*/ 3315129 h 7458372"/>
              <a:gd name="connsiteX25019" fmla="*/ 7658705 w 10505529"/>
              <a:gd name="connsiteY25019" fmla="*/ 3321385 h 7458372"/>
              <a:gd name="connsiteX25020" fmla="*/ 7646991 w 10505529"/>
              <a:gd name="connsiteY25020" fmla="*/ 3323648 h 7458372"/>
              <a:gd name="connsiteX25021" fmla="*/ 7625158 w 10505529"/>
              <a:gd name="connsiteY25021" fmla="*/ 3315129 h 7458372"/>
              <a:gd name="connsiteX25022" fmla="*/ 7616772 w 10505529"/>
              <a:gd name="connsiteY25022" fmla="*/ 3293962 h 7458372"/>
              <a:gd name="connsiteX25023" fmla="*/ 7625158 w 10505529"/>
              <a:gd name="connsiteY25023" fmla="*/ 3272931 h 7458372"/>
              <a:gd name="connsiteX25024" fmla="*/ 7646991 w 10505529"/>
              <a:gd name="connsiteY25024" fmla="*/ 3264278 h 7458372"/>
              <a:gd name="connsiteX25025" fmla="*/ 7429345 w 10505529"/>
              <a:gd name="connsiteY25025" fmla="*/ 3264278 h 7458372"/>
              <a:gd name="connsiteX25026" fmla="*/ 7441059 w 10505529"/>
              <a:gd name="connsiteY25026" fmla="*/ 3266807 h 7458372"/>
              <a:gd name="connsiteX25027" fmla="*/ 7450377 w 10505529"/>
              <a:gd name="connsiteY25027" fmla="*/ 3273196 h 7458372"/>
              <a:gd name="connsiteX25028" fmla="*/ 7456501 w 10505529"/>
              <a:gd name="connsiteY25028" fmla="*/ 3282648 h 7458372"/>
              <a:gd name="connsiteX25029" fmla="*/ 7458764 w 10505529"/>
              <a:gd name="connsiteY25029" fmla="*/ 3294096 h 7458372"/>
              <a:gd name="connsiteX25030" fmla="*/ 7456501 w 10505529"/>
              <a:gd name="connsiteY25030" fmla="*/ 3305811 h 7458372"/>
              <a:gd name="connsiteX25031" fmla="*/ 7450377 w 10505529"/>
              <a:gd name="connsiteY25031" fmla="*/ 3315129 h 7458372"/>
              <a:gd name="connsiteX25032" fmla="*/ 7441059 w 10505529"/>
              <a:gd name="connsiteY25032" fmla="*/ 3321385 h 7458372"/>
              <a:gd name="connsiteX25033" fmla="*/ 7429345 w 10505529"/>
              <a:gd name="connsiteY25033" fmla="*/ 3323648 h 7458372"/>
              <a:gd name="connsiteX25034" fmla="*/ 7407513 w 10505529"/>
              <a:gd name="connsiteY25034" fmla="*/ 3315129 h 7458372"/>
              <a:gd name="connsiteX25035" fmla="*/ 7399127 w 10505529"/>
              <a:gd name="connsiteY25035" fmla="*/ 3293962 h 7458372"/>
              <a:gd name="connsiteX25036" fmla="*/ 7407513 w 10505529"/>
              <a:gd name="connsiteY25036" fmla="*/ 3272931 h 7458372"/>
              <a:gd name="connsiteX25037" fmla="*/ 7429345 w 10505529"/>
              <a:gd name="connsiteY25037" fmla="*/ 3264278 h 7458372"/>
              <a:gd name="connsiteX25038" fmla="*/ 7211701 w 10505529"/>
              <a:gd name="connsiteY25038" fmla="*/ 3264278 h 7458372"/>
              <a:gd name="connsiteX25039" fmla="*/ 7223415 w 10505529"/>
              <a:gd name="connsiteY25039" fmla="*/ 3266807 h 7458372"/>
              <a:gd name="connsiteX25040" fmla="*/ 7232733 w 10505529"/>
              <a:gd name="connsiteY25040" fmla="*/ 3273196 h 7458372"/>
              <a:gd name="connsiteX25041" fmla="*/ 7238856 w 10505529"/>
              <a:gd name="connsiteY25041" fmla="*/ 3282648 h 7458372"/>
              <a:gd name="connsiteX25042" fmla="*/ 7241120 w 10505529"/>
              <a:gd name="connsiteY25042" fmla="*/ 3294096 h 7458372"/>
              <a:gd name="connsiteX25043" fmla="*/ 7238856 w 10505529"/>
              <a:gd name="connsiteY25043" fmla="*/ 3305811 h 7458372"/>
              <a:gd name="connsiteX25044" fmla="*/ 7232733 w 10505529"/>
              <a:gd name="connsiteY25044" fmla="*/ 3315129 h 7458372"/>
              <a:gd name="connsiteX25045" fmla="*/ 7223415 w 10505529"/>
              <a:gd name="connsiteY25045" fmla="*/ 3321385 h 7458372"/>
              <a:gd name="connsiteX25046" fmla="*/ 7211701 w 10505529"/>
              <a:gd name="connsiteY25046" fmla="*/ 3323648 h 7458372"/>
              <a:gd name="connsiteX25047" fmla="*/ 7189868 w 10505529"/>
              <a:gd name="connsiteY25047" fmla="*/ 3315129 h 7458372"/>
              <a:gd name="connsiteX25048" fmla="*/ 7181482 w 10505529"/>
              <a:gd name="connsiteY25048" fmla="*/ 3293962 h 7458372"/>
              <a:gd name="connsiteX25049" fmla="*/ 7189868 w 10505529"/>
              <a:gd name="connsiteY25049" fmla="*/ 3272931 h 7458372"/>
              <a:gd name="connsiteX25050" fmla="*/ 7211701 w 10505529"/>
              <a:gd name="connsiteY25050" fmla="*/ 3264278 h 7458372"/>
              <a:gd name="connsiteX25051" fmla="*/ 6994056 w 10505529"/>
              <a:gd name="connsiteY25051" fmla="*/ 3264278 h 7458372"/>
              <a:gd name="connsiteX25052" fmla="*/ 7005769 w 10505529"/>
              <a:gd name="connsiteY25052" fmla="*/ 3266807 h 7458372"/>
              <a:gd name="connsiteX25053" fmla="*/ 7015087 w 10505529"/>
              <a:gd name="connsiteY25053" fmla="*/ 3273196 h 7458372"/>
              <a:gd name="connsiteX25054" fmla="*/ 7021211 w 10505529"/>
              <a:gd name="connsiteY25054" fmla="*/ 3282648 h 7458372"/>
              <a:gd name="connsiteX25055" fmla="*/ 7023474 w 10505529"/>
              <a:gd name="connsiteY25055" fmla="*/ 3294096 h 7458372"/>
              <a:gd name="connsiteX25056" fmla="*/ 7021211 w 10505529"/>
              <a:gd name="connsiteY25056" fmla="*/ 3305811 h 7458372"/>
              <a:gd name="connsiteX25057" fmla="*/ 7015087 w 10505529"/>
              <a:gd name="connsiteY25057" fmla="*/ 3315129 h 7458372"/>
              <a:gd name="connsiteX25058" fmla="*/ 7005769 w 10505529"/>
              <a:gd name="connsiteY25058" fmla="*/ 3321385 h 7458372"/>
              <a:gd name="connsiteX25059" fmla="*/ 6994056 w 10505529"/>
              <a:gd name="connsiteY25059" fmla="*/ 3323648 h 7458372"/>
              <a:gd name="connsiteX25060" fmla="*/ 6972223 w 10505529"/>
              <a:gd name="connsiteY25060" fmla="*/ 3315129 h 7458372"/>
              <a:gd name="connsiteX25061" fmla="*/ 6963837 w 10505529"/>
              <a:gd name="connsiteY25061" fmla="*/ 3293962 h 7458372"/>
              <a:gd name="connsiteX25062" fmla="*/ 6972223 w 10505529"/>
              <a:gd name="connsiteY25062" fmla="*/ 3272931 h 7458372"/>
              <a:gd name="connsiteX25063" fmla="*/ 6994056 w 10505529"/>
              <a:gd name="connsiteY25063" fmla="*/ 3264278 h 7458372"/>
              <a:gd name="connsiteX25064" fmla="*/ 6776544 w 10505529"/>
              <a:gd name="connsiteY25064" fmla="*/ 3264278 h 7458372"/>
              <a:gd name="connsiteX25065" fmla="*/ 6788258 w 10505529"/>
              <a:gd name="connsiteY25065" fmla="*/ 3266807 h 7458372"/>
              <a:gd name="connsiteX25066" fmla="*/ 6797576 w 10505529"/>
              <a:gd name="connsiteY25066" fmla="*/ 3273196 h 7458372"/>
              <a:gd name="connsiteX25067" fmla="*/ 6803699 w 10505529"/>
              <a:gd name="connsiteY25067" fmla="*/ 3282648 h 7458372"/>
              <a:gd name="connsiteX25068" fmla="*/ 6805963 w 10505529"/>
              <a:gd name="connsiteY25068" fmla="*/ 3294096 h 7458372"/>
              <a:gd name="connsiteX25069" fmla="*/ 6803699 w 10505529"/>
              <a:gd name="connsiteY25069" fmla="*/ 3305811 h 7458372"/>
              <a:gd name="connsiteX25070" fmla="*/ 6797576 w 10505529"/>
              <a:gd name="connsiteY25070" fmla="*/ 3315129 h 7458372"/>
              <a:gd name="connsiteX25071" fmla="*/ 6788258 w 10505529"/>
              <a:gd name="connsiteY25071" fmla="*/ 3321385 h 7458372"/>
              <a:gd name="connsiteX25072" fmla="*/ 6776544 w 10505529"/>
              <a:gd name="connsiteY25072" fmla="*/ 3323648 h 7458372"/>
              <a:gd name="connsiteX25073" fmla="*/ 6754711 w 10505529"/>
              <a:gd name="connsiteY25073" fmla="*/ 3315129 h 7458372"/>
              <a:gd name="connsiteX25074" fmla="*/ 6746325 w 10505529"/>
              <a:gd name="connsiteY25074" fmla="*/ 3293962 h 7458372"/>
              <a:gd name="connsiteX25075" fmla="*/ 6754711 w 10505529"/>
              <a:gd name="connsiteY25075" fmla="*/ 3272931 h 7458372"/>
              <a:gd name="connsiteX25076" fmla="*/ 6776544 w 10505529"/>
              <a:gd name="connsiteY25076" fmla="*/ 3264278 h 7458372"/>
              <a:gd name="connsiteX25077" fmla="*/ 6558899 w 10505529"/>
              <a:gd name="connsiteY25077" fmla="*/ 3264278 h 7458372"/>
              <a:gd name="connsiteX25078" fmla="*/ 6570612 w 10505529"/>
              <a:gd name="connsiteY25078" fmla="*/ 3266807 h 7458372"/>
              <a:gd name="connsiteX25079" fmla="*/ 6579930 w 10505529"/>
              <a:gd name="connsiteY25079" fmla="*/ 3273196 h 7458372"/>
              <a:gd name="connsiteX25080" fmla="*/ 6586054 w 10505529"/>
              <a:gd name="connsiteY25080" fmla="*/ 3282648 h 7458372"/>
              <a:gd name="connsiteX25081" fmla="*/ 6588317 w 10505529"/>
              <a:gd name="connsiteY25081" fmla="*/ 3294096 h 7458372"/>
              <a:gd name="connsiteX25082" fmla="*/ 6586054 w 10505529"/>
              <a:gd name="connsiteY25082" fmla="*/ 3305811 h 7458372"/>
              <a:gd name="connsiteX25083" fmla="*/ 6579930 w 10505529"/>
              <a:gd name="connsiteY25083" fmla="*/ 3315129 h 7458372"/>
              <a:gd name="connsiteX25084" fmla="*/ 6570612 w 10505529"/>
              <a:gd name="connsiteY25084" fmla="*/ 3321385 h 7458372"/>
              <a:gd name="connsiteX25085" fmla="*/ 6558899 w 10505529"/>
              <a:gd name="connsiteY25085" fmla="*/ 3323648 h 7458372"/>
              <a:gd name="connsiteX25086" fmla="*/ 6537066 w 10505529"/>
              <a:gd name="connsiteY25086" fmla="*/ 3315129 h 7458372"/>
              <a:gd name="connsiteX25087" fmla="*/ 6528680 w 10505529"/>
              <a:gd name="connsiteY25087" fmla="*/ 3293962 h 7458372"/>
              <a:gd name="connsiteX25088" fmla="*/ 6537066 w 10505529"/>
              <a:gd name="connsiteY25088" fmla="*/ 3272931 h 7458372"/>
              <a:gd name="connsiteX25089" fmla="*/ 6558899 w 10505529"/>
              <a:gd name="connsiteY25089" fmla="*/ 3264278 h 7458372"/>
              <a:gd name="connsiteX25090" fmla="*/ 6341253 w 10505529"/>
              <a:gd name="connsiteY25090" fmla="*/ 3264278 h 7458372"/>
              <a:gd name="connsiteX25091" fmla="*/ 6352968 w 10505529"/>
              <a:gd name="connsiteY25091" fmla="*/ 3266807 h 7458372"/>
              <a:gd name="connsiteX25092" fmla="*/ 6362286 w 10505529"/>
              <a:gd name="connsiteY25092" fmla="*/ 3273196 h 7458372"/>
              <a:gd name="connsiteX25093" fmla="*/ 6368409 w 10505529"/>
              <a:gd name="connsiteY25093" fmla="*/ 3282648 h 7458372"/>
              <a:gd name="connsiteX25094" fmla="*/ 6370672 w 10505529"/>
              <a:gd name="connsiteY25094" fmla="*/ 3294096 h 7458372"/>
              <a:gd name="connsiteX25095" fmla="*/ 6368409 w 10505529"/>
              <a:gd name="connsiteY25095" fmla="*/ 3305811 h 7458372"/>
              <a:gd name="connsiteX25096" fmla="*/ 6362286 w 10505529"/>
              <a:gd name="connsiteY25096" fmla="*/ 3315129 h 7458372"/>
              <a:gd name="connsiteX25097" fmla="*/ 6352968 w 10505529"/>
              <a:gd name="connsiteY25097" fmla="*/ 3321385 h 7458372"/>
              <a:gd name="connsiteX25098" fmla="*/ 6341253 w 10505529"/>
              <a:gd name="connsiteY25098" fmla="*/ 3323648 h 7458372"/>
              <a:gd name="connsiteX25099" fmla="*/ 6319421 w 10505529"/>
              <a:gd name="connsiteY25099" fmla="*/ 3315129 h 7458372"/>
              <a:gd name="connsiteX25100" fmla="*/ 6311035 w 10505529"/>
              <a:gd name="connsiteY25100" fmla="*/ 3293962 h 7458372"/>
              <a:gd name="connsiteX25101" fmla="*/ 6319421 w 10505529"/>
              <a:gd name="connsiteY25101" fmla="*/ 3272931 h 7458372"/>
              <a:gd name="connsiteX25102" fmla="*/ 6341253 w 10505529"/>
              <a:gd name="connsiteY25102" fmla="*/ 3264278 h 7458372"/>
              <a:gd name="connsiteX25103" fmla="*/ 6123608 w 10505529"/>
              <a:gd name="connsiteY25103" fmla="*/ 3264278 h 7458372"/>
              <a:gd name="connsiteX25104" fmla="*/ 6135322 w 10505529"/>
              <a:gd name="connsiteY25104" fmla="*/ 3266807 h 7458372"/>
              <a:gd name="connsiteX25105" fmla="*/ 6144640 w 10505529"/>
              <a:gd name="connsiteY25105" fmla="*/ 3273196 h 7458372"/>
              <a:gd name="connsiteX25106" fmla="*/ 6150763 w 10505529"/>
              <a:gd name="connsiteY25106" fmla="*/ 3282648 h 7458372"/>
              <a:gd name="connsiteX25107" fmla="*/ 6153026 w 10505529"/>
              <a:gd name="connsiteY25107" fmla="*/ 3294096 h 7458372"/>
              <a:gd name="connsiteX25108" fmla="*/ 6150763 w 10505529"/>
              <a:gd name="connsiteY25108" fmla="*/ 3305811 h 7458372"/>
              <a:gd name="connsiteX25109" fmla="*/ 6144640 w 10505529"/>
              <a:gd name="connsiteY25109" fmla="*/ 3315129 h 7458372"/>
              <a:gd name="connsiteX25110" fmla="*/ 6135322 w 10505529"/>
              <a:gd name="connsiteY25110" fmla="*/ 3321385 h 7458372"/>
              <a:gd name="connsiteX25111" fmla="*/ 6123608 w 10505529"/>
              <a:gd name="connsiteY25111" fmla="*/ 3323648 h 7458372"/>
              <a:gd name="connsiteX25112" fmla="*/ 6101775 w 10505529"/>
              <a:gd name="connsiteY25112" fmla="*/ 3315129 h 7458372"/>
              <a:gd name="connsiteX25113" fmla="*/ 6093389 w 10505529"/>
              <a:gd name="connsiteY25113" fmla="*/ 3293962 h 7458372"/>
              <a:gd name="connsiteX25114" fmla="*/ 6101775 w 10505529"/>
              <a:gd name="connsiteY25114" fmla="*/ 3272931 h 7458372"/>
              <a:gd name="connsiteX25115" fmla="*/ 6123608 w 10505529"/>
              <a:gd name="connsiteY25115" fmla="*/ 3264278 h 7458372"/>
              <a:gd name="connsiteX25116" fmla="*/ 5905963 w 10505529"/>
              <a:gd name="connsiteY25116" fmla="*/ 3264278 h 7458372"/>
              <a:gd name="connsiteX25117" fmla="*/ 5917677 w 10505529"/>
              <a:gd name="connsiteY25117" fmla="*/ 3266807 h 7458372"/>
              <a:gd name="connsiteX25118" fmla="*/ 5926995 w 10505529"/>
              <a:gd name="connsiteY25118" fmla="*/ 3273196 h 7458372"/>
              <a:gd name="connsiteX25119" fmla="*/ 5933118 w 10505529"/>
              <a:gd name="connsiteY25119" fmla="*/ 3282648 h 7458372"/>
              <a:gd name="connsiteX25120" fmla="*/ 5935381 w 10505529"/>
              <a:gd name="connsiteY25120" fmla="*/ 3294096 h 7458372"/>
              <a:gd name="connsiteX25121" fmla="*/ 5933118 w 10505529"/>
              <a:gd name="connsiteY25121" fmla="*/ 3305811 h 7458372"/>
              <a:gd name="connsiteX25122" fmla="*/ 5926995 w 10505529"/>
              <a:gd name="connsiteY25122" fmla="*/ 3315129 h 7458372"/>
              <a:gd name="connsiteX25123" fmla="*/ 5917677 w 10505529"/>
              <a:gd name="connsiteY25123" fmla="*/ 3321385 h 7458372"/>
              <a:gd name="connsiteX25124" fmla="*/ 5905963 w 10505529"/>
              <a:gd name="connsiteY25124" fmla="*/ 3323648 h 7458372"/>
              <a:gd name="connsiteX25125" fmla="*/ 5884130 w 10505529"/>
              <a:gd name="connsiteY25125" fmla="*/ 3315129 h 7458372"/>
              <a:gd name="connsiteX25126" fmla="*/ 5875744 w 10505529"/>
              <a:gd name="connsiteY25126" fmla="*/ 3293962 h 7458372"/>
              <a:gd name="connsiteX25127" fmla="*/ 5884130 w 10505529"/>
              <a:gd name="connsiteY25127" fmla="*/ 3272931 h 7458372"/>
              <a:gd name="connsiteX25128" fmla="*/ 5905963 w 10505529"/>
              <a:gd name="connsiteY25128" fmla="*/ 3264278 h 7458372"/>
              <a:gd name="connsiteX25129" fmla="*/ 5688451 w 10505529"/>
              <a:gd name="connsiteY25129" fmla="*/ 3264278 h 7458372"/>
              <a:gd name="connsiteX25130" fmla="*/ 5700165 w 10505529"/>
              <a:gd name="connsiteY25130" fmla="*/ 3266807 h 7458372"/>
              <a:gd name="connsiteX25131" fmla="*/ 5709483 w 10505529"/>
              <a:gd name="connsiteY25131" fmla="*/ 3273196 h 7458372"/>
              <a:gd name="connsiteX25132" fmla="*/ 5715606 w 10505529"/>
              <a:gd name="connsiteY25132" fmla="*/ 3282648 h 7458372"/>
              <a:gd name="connsiteX25133" fmla="*/ 5717869 w 10505529"/>
              <a:gd name="connsiteY25133" fmla="*/ 3294096 h 7458372"/>
              <a:gd name="connsiteX25134" fmla="*/ 5715606 w 10505529"/>
              <a:gd name="connsiteY25134" fmla="*/ 3305811 h 7458372"/>
              <a:gd name="connsiteX25135" fmla="*/ 5709483 w 10505529"/>
              <a:gd name="connsiteY25135" fmla="*/ 3315129 h 7458372"/>
              <a:gd name="connsiteX25136" fmla="*/ 5700165 w 10505529"/>
              <a:gd name="connsiteY25136" fmla="*/ 3321385 h 7458372"/>
              <a:gd name="connsiteX25137" fmla="*/ 5688451 w 10505529"/>
              <a:gd name="connsiteY25137" fmla="*/ 3323648 h 7458372"/>
              <a:gd name="connsiteX25138" fmla="*/ 5666618 w 10505529"/>
              <a:gd name="connsiteY25138" fmla="*/ 3315129 h 7458372"/>
              <a:gd name="connsiteX25139" fmla="*/ 5658232 w 10505529"/>
              <a:gd name="connsiteY25139" fmla="*/ 3293962 h 7458372"/>
              <a:gd name="connsiteX25140" fmla="*/ 5666618 w 10505529"/>
              <a:gd name="connsiteY25140" fmla="*/ 3272931 h 7458372"/>
              <a:gd name="connsiteX25141" fmla="*/ 5688451 w 10505529"/>
              <a:gd name="connsiteY25141" fmla="*/ 3264278 h 7458372"/>
              <a:gd name="connsiteX25142" fmla="*/ 5470806 w 10505529"/>
              <a:gd name="connsiteY25142" fmla="*/ 3264278 h 7458372"/>
              <a:gd name="connsiteX25143" fmla="*/ 5482520 w 10505529"/>
              <a:gd name="connsiteY25143" fmla="*/ 3266807 h 7458372"/>
              <a:gd name="connsiteX25144" fmla="*/ 5491838 w 10505529"/>
              <a:gd name="connsiteY25144" fmla="*/ 3273196 h 7458372"/>
              <a:gd name="connsiteX25145" fmla="*/ 5497961 w 10505529"/>
              <a:gd name="connsiteY25145" fmla="*/ 3282648 h 7458372"/>
              <a:gd name="connsiteX25146" fmla="*/ 5500224 w 10505529"/>
              <a:gd name="connsiteY25146" fmla="*/ 3294096 h 7458372"/>
              <a:gd name="connsiteX25147" fmla="*/ 5497961 w 10505529"/>
              <a:gd name="connsiteY25147" fmla="*/ 3305811 h 7458372"/>
              <a:gd name="connsiteX25148" fmla="*/ 5491838 w 10505529"/>
              <a:gd name="connsiteY25148" fmla="*/ 3315129 h 7458372"/>
              <a:gd name="connsiteX25149" fmla="*/ 5482520 w 10505529"/>
              <a:gd name="connsiteY25149" fmla="*/ 3321385 h 7458372"/>
              <a:gd name="connsiteX25150" fmla="*/ 5470806 w 10505529"/>
              <a:gd name="connsiteY25150" fmla="*/ 3323648 h 7458372"/>
              <a:gd name="connsiteX25151" fmla="*/ 5448973 w 10505529"/>
              <a:gd name="connsiteY25151" fmla="*/ 3315129 h 7458372"/>
              <a:gd name="connsiteX25152" fmla="*/ 5440587 w 10505529"/>
              <a:gd name="connsiteY25152" fmla="*/ 3293962 h 7458372"/>
              <a:gd name="connsiteX25153" fmla="*/ 5448973 w 10505529"/>
              <a:gd name="connsiteY25153" fmla="*/ 3272931 h 7458372"/>
              <a:gd name="connsiteX25154" fmla="*/ 5470806 w 10505529"/>
              <a:gd name="connsiteY25154" fmla="*/ 3264278 h 7458372"/>
              <a:gd name="connsiteX25155" fmla="*/ 5253160 w 10505529"/>
              <a:gd name="connsiteY25155" fmla="*/ 3264278 h 7458372"/>
              <a:gd name="connsiteX25156" fmla="*/ 5264875 w 10505529"/>
              <a:gd name="connsiteY25156" fmla="*/ 3266807 h 7458372"/>
              <a:gd name="connsiteX25157" fmla="*/ 5274192 w 10505529"/>
              <a:gd name="connsiteY25157" fmla="*/ 3273196 h 7458372"/>
              <a:gd name="connsiteX25158" fmla="*/ 5280316 w 10505529"/>
              <a:gd name="connsiteY25158" fmla="*/ 3282648 h 7458372"/>
              <a:gd name="connsiteX25159" fmla="*/ 5282579 w 10505529"/>
              <a:gd name="connsiteY25159" fmla="*/ 3294096 h 7458372"/>
              <a:gd name="connsiteX25160" fmla="*/ 5280316 w 10505529"/>
              <a:gd name="connsiteY25160" fmla="*/ 3305811 h 7458372"/>
              <a:gd name="connsiteX25161" fmla="*/ 5274192 w 10505529"/>
              <a:gd name="connsiteY25161" fmla="*/ 3315129 h 7458372"/>
              <a:gd name="connsiteX25162" fmla="*/ 5264875 w 10505529"/>
              <a:gd name="connsiteY25162" fmla="*/ 3321385 h 7458372"/>
              <a:gd name="connsiteX25163" fmla="*/ 5253160 w 10505529"/>
              <a:gd name="connsiteY25163" fmla="*/ 3323648 h 7458372"/>
              <a:gd name="connsiteX25164" fmla="*/ 5231328 w 10505529"/>
              <a:gd name="connsiteY25164" fmla="*/ 3315129 h 7458372"/>
              <a:gd name="connsiteX25165" fmla="*/ 5222942 w 10505529"/>
              <a:gd name="connsiteY25165" fmla="*/ 3293962 h 7458372"/>
              <a:gd name="connsiteX25166" fmla="*/ 5231328 w 10505529"/>
              <a:gd name="connsiteY25166" fmla="*/ 3272931 h 7458372"/>
              <a:gd name="connsiteX25167" fmla="*/ 5253160 w 10505529"/>
              <a:gd name="connsiteY25167" fmla="*/ 3264278 h 7458372"/>
              <a:gd name="connsiteX25168" fmla="*/ 5035515 w 10505529"/>
              <a:gd name="connsiteY25168" fmla="*/ 3264278 h 7458372"/>
              <a:gd name="connsiteX25169" fmla="*/ 5047230 w 10505529"/>
              <a:gd name="connsiteY25169" fmla="*/ 3266807 h 7458372"/>
              <a:gd name="connsiteX25170" fmla="*/ 5056548 w 10505529"/>
              <a:gd name="connsiteY25170" fmla="*/ 3273196 h 7458372"/>
              <a:gd name="connsiteX25171" fmla="*/ 5062671 w 10505529"/>
              <a:gd name="connsiteY25171" fmla="*/ 3282648 h 7458372"/>
              <a:gd name="connsiteX25172" fmla="*/ 5064934 w 10505529"/>
              <a:gd name="connsiteY25172" fmla="*/ 3294096 h 7458372"/>
              <a:gd name="connsiteX25173" fmla="*/ 5062671 w 10505529"/>
              <a:gd name="connsiteY25173" fmla="*/ 3305811 h 7458372"/>
              <a:gd name="connsiteX25174" fmla="*/ 5056548 w 10505529"/>
              <a:gd name="connsiteY25174" fmla="*/ 3315129 h 7458372"/>
              <a:gd name="connsiteX25175" fmla="*/ 5047230 w 10505529"/>
              <a:gd name="connsiteY25175" fmla="*/ 3321385 h 7458372"/>
              <a:gd name="connsiteX25176" fmla="*/ 5035515 w 10505529"/>
              <a:gd name="connsiteY25176" fmla="*/ 3323648 h 7458372"/>
              <a:gd name="connsiteX25177" fmla="*/ 5013683 w 10505529"/>
              <a:gd name="connsiteY25177" fmla="*/ 3315129 h 7458372"/>
              <a:gd name="connsiteX25178" fmla="*/ 5005297 w 10505529"/>
              <a:gd name="connsiteY25178" fmla="*/ 3293962 h 7458372"/>
              <a:gd name="connsiteX25179" fmla="*/ 5013683 w 10505529"/>
              <a:gd name="connsiteY25179" fmla="*/ 3272931 h 7458372"/>
              <a:gd name="connsiteX25180" fmla="*/ 5035515 w 10505529"/>
              <a:gd name="connsiteY25180" fmla="*/ 3264278 h 7458372"/>
              <a:gd name="connsiteX25181" fmla="*/ 4817870 w 10505529"/>
              <a:gd name="connsiteY25181" fmla="*/ 3264278 h 7458372"/>
              <a:gd name="connsiteX25182" fmla="*/ 4829585 w 10505529"/>
              <a:gd name="connsiteY25182" fmla="*/ 3266807 h 7458372"/>
              <a:gd name="connsiteX25183" fmla="*/ 4838903 w 10505529"/>
              <a:gd name="connsiteY25183" fmla="*/ 3273196 h 7458372"/>
              <a:gd name="connsiteX25184" fmla="*/ 4845026 w 10505529"/>
              <a:gd name="connsiteY25184" fmla="*/ 3282648 h 7458372"/>
              <a:gd name="connsiteX25185" fmla="*/ 4847289 w 10505529"/>
              <a:gd name="connsiteY25185" fmla="*/ 3294096 h 7458372"/>
              <a:gd name="connsiteX25186" fmla="*/ 4845026 w 10505529"/>
              <a:gd name="connsiteY25186" fmla="*/ 3305811 h 7458372"/>
              <a:gd name="connsiteX25187" fmla="*/ 4838903 w 10505529"/>
              <a:gd name="connsiteY25187" fmla="*/ 3315129 h 7458372"/>
              <a:gd name="connsiteX25188" fmla="*/ 4829585 w 10505529"/>
              <a:gd name="connsiteY25188" fmla="*/ 3321385 h 7458372"/>
              <a:gd name="connsiteX25189" fmla="*/ 4817870 w 10505529"/>
              <a:gd name="connsiteY25189" fmla="*/ 3323648 h 7458372"/>
              <a:gd name="connsiteX25190" fmla="*/ 4796038 w 10505529"/>
              <a:gd name="connsiteY25190" fmla="*/ 3315129 h 7458372"/>
              <a:gd name="connsiteX25191" fmla="*/ 4787652 w 10505529"/>
              <a:gd name="connsiteY25191" fmla="*/ 3293962 h 7458372"/>
              <a:gd name="connsiteX25192" fmla="*/ 4796038 w 10505529"/>
              <a:gd name="connsiteY25192" fmla="*/ 3272931 h 7458372"/>
              <a:gd name="connsiteX25193" fmla="*/ 4817870 w 10505529"/>
              <a:gd name="connsiteY25193" fmla="*/ 3264278 h 7458372"/>
              <a:gd name="connsiteX25194" fmla="*/ 4600226 w 10505529"/>
              <a:gd name="connsiteY25194" fmla="*/ 3264278 h 7458372"/>
              <a:gd name="connsiteX25195" fmla="*/ 4612073 w 10505529"/>
              <a:gd name="connsiteY25195" fmla="*/ 3266807 h 7458372"/>
              <a:gd name="connsiteX25196" fmla="*/ 4621391 w 10505529"/>
              <a:gd name="connsiteY25196" fmla="*/ 3273196 h 7458372"/>
              <a:gd name="connsiteX25197" fmla="*/ 4627514 w 10505529"/>
              <a:gd name="connsiteY25197" fmla="*/ 3282648 h 7458372"/>
              <a:gd name="connsiteX25198" fmla="*/ 4629777 w 10505529"/>
              <a:gd name="connsiteY25198" fmla="*/ 3294096 h 7458372"/>
              <a:gd name="connsiteX25199" fmla="*/ 4627514 w 10505529"/>
              <a:gd name="connsiteY25199" fmla="*/ 3305811 h 7458372"/>
              <a:gd name="connsiteX25200" fmla="*/ 4621391 w 10505529"/>
              <a:gd name="connsiteY25200" fmla="*/ 3315129 h 7458372"/>
              <a:gd name="connsiteX25201" fmla="*/ 4612073 w 10505529"/>
              <a:gd name="connsiteY25201" fmla="*/ 3321385 h 7458372"/>
              <a:gd name="connsiteX25202" fmla="*/ 4600226 w 10505529"/>
              <a:gd name="connsiteY25202" fmla="*/ 3323648 h 7458372"/>
              <a:gd name="connsiteX25203" fmla="*/ 4578393 w 10505529"/>
              <a:gd name="connsiteY25203" fmla="*/ 3315129 h 7458372"/>
              <a:gd name="connsiteX25204" fmla="*/ 4570007 w 10505529"/>
              <a:gd name="connsiteY25204" fmla="*/ 3293962 h 7458372"/>
              <a:gd name="connsiteX25205" fmla="*/ 4578393 w 10505529"/>
              <a:gd name="connsiteY25205" fmla="*/ 3272931 h 7458372"/>
              <a:gd name="connsiteX25206" fmla="*/ 4600226 w 10505529"/>
              <a:gd name="connsiteY25206" fmla="*/ 3264278 h 7458372"/>
              <a:gd name="connsiteX25207" fmla="*/ 4382713 w 10505529"/>
              <a:gd name="connsiteY25207" fmla="*/ 3264278 h 7458372"/>
              <a:gd name="connsiteX25208" fmla="*/ 4394428 w 10505529"/>
              <a:gd name="connsiteY25208" fmla="*/ 3266807 h 7458372"/>
              <a:gd name="connsiteX25209" fmla="*/ 4403746 w 10505529"/>
              <a:gd name="connsiteY25209" fmla="*/ 3273196 h 7458372"/>
              <a:gd name="connsiteX25210" fmla="*/ 4409869 w 10505529"/>
              <a:gd name="connsiteY25210" fmla="*/ 3282648 h 7458372"/>
              <a:gd name="connsiteX25211" fmla="*/ 4412132 w 10505529"/>
              <a:gd name="connsiteY25211" fmla="*/ 3294096 h 7458372"/>
              <a:gd name="connsiteX25212" fmla="*/ 4409869 w 10505529"/>
              <a:gd name="connsiteY25212" fmla="*/ 3305811 h 7458372"/>
              <a:gd name="connsiteX25213" fmla="*/ 4403746 w 10505529"/>
              <a:gd name="connsiteY25213" fmla="*/ 3315129 h 7458372"/>
              <a:gd name="connsiteX25214" fmla="*/ 4394428 w 10505529"/>
              <a:gd name="connsiteY25214" fmla="*/ 3321385 h 7458372"/>
              <a:gd name="connsiteX25215" fmla="*/ 4382713 w 10505529"/>
              <a:gd name="connsiteY25215" fmla="*/ 3323648 h 7458372"/>
              <a:gd name="connsiteX25216" fmla="*/ 4360881 w 10505529"/>
              <a:gd name="connsiteY25216" fmla="*/ 3315129 h 7458372"/>
              <a:gd name="connsiteX25217" fmla="*/ 4352495 w 10505529"/>
              <a:gd name="connsiteY25217" fmla="*/ 3293962 h 7458372"/>
              <a:gd name="connsiteX25218" fmla="*/ 4360881 w 10505529"/>
              <a:gd name="connsiteY25218" fmla="*/ 3272931 h 7458372"/>
              <a:gd name="connsiteX25219" fmla="*/ 4382713 w 10505529"/>
              <a:gd name="connsiteY25219" fmla="*/ 3264278 h 7458372"/>
              <a:gd name="connsiteX25220" fmla="*/ 4165068 w 10505529"/>
              <a:gd name="connsiteY25220" fmla="*/ 3264278 h 7458372"/>
              <a:gd name="connsiteX25221" fmla="*/ 4176782 w 10505529"/>
              <a:gd name="connsiteY25221" fmla="*/ 3266807 h 7458372"/>
              <a:gd name="connsiteX25222" fmla="*/ 4186100 w 10505529"/>
              <a:gd name="connsiteY25222" fmla="*/ 3273196 h 7458372"/>
              <a:gd name="connsiteX25223" fmla="*/ 4192223 w 10505529"/>
              <a:gd name="connsiteY25223" fmla="*/ 3282648 h 7458372"/>
              <a:gd name="connsiteX25224" fmla="*/ 4194486 w 10505529"/>
              <a:gd name="connsiteY25224" fmla="*/ 3294096 h 7458372"/>
              <a:gd name="connsiteX25225" fmla="*/ 4192223 w 10505529"/>
              <a:gd name="connsiteY25225" fmla="*/ 3305811 h 7458372"/>
              <a:gd name="connsiteX25226" fmla="*/ 4186100 w 10505529"/>
              <a:gd name="connsiteY25226" fmla="*/ 3315129 h 7458372"/>
              <a:gd name="connsiteX25227" fmla="*/ 4176782 w 10505529"/>
              <a:gd name="connsiteY25227" fmla="*/ 3321385 h 7458372"/>
              <a:gd name="connsiteX25228" fmla="*/ 4165068 w 10505529"/>
              <a:gd name="connsiteY25228" fmla="*/ 3323648 h 7458372"/>
              <a:gd name="connsiteX25229" fmla="*/ 4143235 w 10505529"/>
              <a:gd name="connsiteY25229" fmla="*/ 3315129 h 7458372"/>
              <a:gd name="connsiteX25230" fmla="*/ 4134849 w 10505529"/>
              <a:gd name="connsiteY25230" fmla="*/ 3293962 h 7458372"/>
              <a:gd name="connsiteX25231" fmla="*/ 4143235 w 10505529"/>
              <a:gd name="connsiteY25231" fmla="*/ 3272931 h 7458372"/>
              <a:gd name="connsiteX25232" fmla="*/ 4165068 w 10505529"/>
              <a:gd name="connsiteY25232" fmla="*/ 3264278 h 7458372"/>
              <a:gd name="connsiteX25233" fmla="*/ 3947605 w 10505529"/>
              <a:gd name="connsiteY25233" fmla="*/ 3264278 h 7458372"/>
              <a:gd name="connsiteX25234" fmla="*/ 3959321 w 10505529"/>
              <a:gd name="connsiteY25234" fmla="*/ 3266807 h 7458372"/>
              <a:gd name="connsiteX25235" fmla="*/ 3968639 w 10505529"/>
              <a:gd name="connsiteY25235" fmla="*/ 3273196 h 7458372"/>
              <a:gd name="connsiteX25236" fmla="*/ 3974763 w 10505529"/>
              <a:gd name="connsiteY25236" fmla="*/ 3282648 h 7458372"/>
              <a:gd name="connsiteX25237" fmla="*/ 3977027 w 10505529"/>
              <a:gd name="connsiteY25237" fmla="*/ 3294096 h 7458372"/>
              <a:gd name="connsiteX25238" fmla="*/ 3974763 w 10505529"/>
              <a:gd name="connsiteY25238" fmla="*/ 3305811 h 7458372"/>
              <a:gd name="connsiteX25239" fmla="*/ 3968639 w 10505529"/>
              <a:gd name="connsiteY25239" fmla="*/ 3315129 h 7458372"/>
              <a:gd name="connsiteX25240" fmla="*/ 3959321 w 10505529"/>
              <a:gd name="connsiteY25240" fmla="*/ 3321385 h 7458372"/>
              <a:gd name="connsiteX25241" fmla="*/ 3947605 w 10505529"/>
              <a:gd name="connsiteY25241" fmla="*/ 3323648 h 7458372"/>
              <a:gd name="connsiteX25242" fmla="*/ 3925772 w 10505529"/>
              <a:gd name="connsiteY25242" fmla="*/ 3315129 h 7458372"/>
              <a:gd name="connsiteX25243" fmla="*/ 3917386 w 10505529"/>
              <a:gd name="connsiteY25243" fmla="*/ 3293962 h 7458372"/>
              <a:gd name="connsiteX25244" fmla="*/ 3925772 w 10505529"/>
              <a:gd name="connsiteY25244" fmla="*/ 3272931 h 7458372"/>
              <a:gd name="connsiteX25245" fmla="*/ 3947605 w 10505529"/>
              <a:gd name="connsiteY25245" fmla="*/ 3264278 h 7458372"/>
              <a:gd name="connsiteX25246" fmla="*/ 3729951 w 10505529"/>
              <a:gd name="connsiteY25246" fmla="*/ 3264278 h 7458372"/>
              <a:gd name="connsiteX25247" fmla="*/ 3741666 w 10505529"/>
              <a:gd name="connsiteY25247" fmla="*/ 3266807 h 7458372"/>
              <a:gd name="connsiteX25248" fmla="*/ 3750985 w 10505529"/>
              <a:gd name="connsiteY25248" fmla="*/ 3273196 h 7458372"/>
              <a:gd name="connsiteX25249" fmla="*/ 3757108 w 10505529"/>
              <a:gd name="connsiteY25249" fmla="*/ 3282648 h 7458372"/>
              <a:gd name="connsiteX25250" fmla="*/ 3759371 w 10505529"/>
              <a:gd name="connsiteY25250" fmla="*/ 3294096 h 7458372"/>
              <a:gd name="connsiteX25251" fmla="*/ 3757108 w 10505529"/>
              <a:gd name="connsiteY25251" fmla="*/ 3305811 h 7458372"/>
              <a:gd name="connsiteX25252" fmla="*/ 3750985 w 10505529"/>
              <a:gd name="connsiteY25252" fmla="*/ 3315129 h 7458372"/>
              <a:gd name="connsiteX25253" fmla="*/ 3741666 w 10505529"/>
              <a:gd name="connsiteY25253" fmla="*/ 3321385 h 7458372"/>
              <a:gd name="connsiteX25254" fmla="*/ 3729951 w 10505529"/>
              <a:gd name="connsiteY25254" fmla="*/ 3323648 h 7458372"/>
              <a:gd name="connsiteX25255" fmla="*/ 3708115 w 10505529"/>
              <a:gd name="connsiteY25255" fmla="*/ 3315129 h 7458372"/>
              <a:gd name="connsiteX25256" fmla="*/ 3699728 w 10505529"/>
              <a:gd name="connsiteY25256" fmla="*/ 3293962 h 7458372"/>
              <a:gd name="connsiteX25257" fmla="*/ 3708115 w 10505529"/>
              <a:gd name="connsiteY25257" fmla="*/ 3272931 h 7458372"/>
              <a:gd name="connsiteX25258" fmla="*/ 3729951 w 10505529"/>
              <a:gd name="connsiteY25258" fmla="*/ 3264278 h 7458372"/>
              <a:gd name="connsiteX25259" fmla="*/ 3512297 w 10505529"/>
              <a:gd name="connsiteY25259" fmla="*/ 3264278 h 7458372"/>
              <a:gd name="connsiteX25260" fmla="*/ 3524012 w 10505529"/>
              <a:gd name="connsiteY25260" fmla="*/ 3266807 h 7458372"/>
              <a:gd name="connsiteX25261" fmla="*/ 3533330 w 10505529"/>
              <a:gd name="connsiteY25261" fmla="*/ 3273196 h 7458372"/>
              <a:gd name="connsiteX25262" fmla="*/ 3539453 w 10505529"/>
              <a:gd name="connsiteY25262" fmla="*/ 3282648 h 7458372"/>
              <a:gd name="connsiteX25263" fmla="*/ 3541716 w 10505529"/>
              <a:gd name="connsiteY25263" fmla="*/ 3294096 h 7458372"/>
              <a:gd name="connsiteX25264" fmla="*/ 3539453 w 10505529"/>
              <a:gd name="connsiteY25264" fmla="*/ 3305811 h 7458372"/>
              <a:gd name="connsiteX25265" fmla="*/ 3533330 w 10505529"/>
              <a:gd name="connsiteY25265" fmla="*/ 3315129 h 7458372"/>
              <a:gd name="connsiteX25266" fmla="*/ 3524012 w 10505529"/>
              <a:gd name="connsiteY25266" fmla="*/ 3321385 h 7458372"/>
              <a:gd name="connsiteX25267" fmla="*/ 3512297 w 10505529"/>
              <a:gd name="connsiteY25267" fmla="*/ 3323648 h 7458372"/>
              <a:gd name="connsiteX25268" fmla="*/ 3490462 w 10505529"/>
              <a:gd name="connsiteY25268" fmla="*/ 3315129 h 7458372"/>
              <a:gd name="connsiteX25269" fmla="*/ 3482075 w 10505529"/>
              <a:gd name="connsiteY25269" fmla="*/ 3293962 h 7458372"/>
              <a:gd name="connsiteX25270" fmla="*/ 3490462 w 10505529"/>
              <a:gd name="connsiteY25270" fmla="*/ 3272931 h 7458372"/>
              <a:gd name="connsiteX25271" fmla="*/ 3512297 w 10505529"/>
              <a:gd name="connsiteY25271" fmla="*/ 3264278 h 7458372"/>
              <a:gd name="connsiteX25272" fmla="*/ 3294775 w 10505529"/>
              <a:gd name="connsiteY25272" fmla="*/ 3264278 h 7458372"/>
              <a:gd name="connsiteX25273" fmla="*/ 3306491 w 10505529"/>
              <a:gd name="connsiteY25273" fmla="*/ 3266807 h 7458372"/>
              <a:gd name="connsiteX25274" fmla="*/ 3315809 w 10505529"/>
              <a:gd name="connsiteY25274" fmla="*/ 3273196 h 7458372"/>
              <a:gd name="connsiteX25275" fmla="*/ 3321932 w 10505529"/>
              <a:gd name="connsiteY25275" fmla="*/ 3282648 h 7458372"/>
              <a:gd name="connsiteX25276" fmla="*/ 3324195 w 10505529"/>
              <a:gd name="connsiteY25276" fmla="*/ 3294096 h 7458372"/>
              <a:gd name="connsiteX25277" fmla="*/ 3321932 w 10505529"/>
              <a:gd name="connsiteY25277" fmla="*/ 3305811 h 7458372"/>
              <a:gd name="connsiteX25278" fmla="*/ 3315809 w 10505529"/>
              <a:gd name="connsiteY25278" fmla="*/ 3315129 h 7458372"/>
              <a:gd name="connsiteX25279" fmla="*/ 3306491 w 10505529"/>
              <a:gd name="connsiteY25279" fmla="*/ 3321385 h 7458372"/>
              <a:gd name="connsiteX25280" fmla="*/ 3294775 w 10505529"/>
              <a:gd name="connsiteY25280" fmla="*/ 3323648 h 7458372"/>
              <a:gd name="connsiteX25281" fmla="*/ 3272940 w 10505529"/>
              <a:gd name="connsiteY25281" fmla="*/ 3315129 h 7458372"/>
              <a:gd name="connsiteX25282" fmla="*/ 3264553 w 10505529"/>
              <a:gd name="connsiteY25282" fmla="*/ 3293962 h 7458372"/>
              <a:gd name="connsiteX25283" fmla="*/ 3272940 w 10505529"/>
              <a:gd name="connsiteY25283" fmla="*/ 3272931 h 7458372"/>
              <a:gd name="connsiteX25284" fmla="*/ 3294775 w 10505529"/>
              <a:gd name="connsiteY25284" fmla="*/ 3264278 h 7458372"/>
              <a:gd name="connsiteX25285" fmla="*/ 3077120 w 10505529"/>
              <a:gd name="connsiteY25285" fmla="*/ 3264278 h 7458372"/>
              <a:gd name="connsiteX25286" fmla="*/ 3088836 w 10505529"/>
              <a:gd name="connsiteY25286" fmla="*/ 3266807 h 7458372"/>
              <a:gd name="connsiteX25287" fmla="*/ 3098154 w 10505529"/>
              <a:gd name="connsiteY25287" fmla="*/ 3273196 h 7458372"/>
              <a:gd name="connsiteX25288" fmla="*/ 3104277 w 10505529"/>
              <a:gd name="connsiteY25288" fmla="*/ 3282648 h 7458372"/>
              <a:gd name="connsiteX25289" fmla="*/ 3106540 w 10505529"/>
              <a:gd name="connsiteY25289" fmla="*/ 3294096 h 7458372"/>
              <a:gd name="connsiteX25290" fmla="*/ 3104277 w 10505529"/>
              <a:gd name="connsiteY25290" fmla="*/ 3305811 h 7458372"/>
              <a:gd name="connsiteX25291" fmla="*/ 3098154 w 10505529"/>
              <a:gd name="connsiteY25291" fmla="*/ 3315129 h 7458372"/>
              <a:gd name="connsiteX25292" fmla="*/ 3088836 w 10505529"/>
              <a:gd name="connsiteY25292" fmla="*/ 3321385 h 7458372"/>
              <a:gd name="connsiteX25293" fmla="*/ 3077120 w 10505529"/>
              <a:gd name="connsiteY25293" fmla="*/ 3323648 h 7458372"/>
              <a:gd name="connsiteX25294" fmla="*/ 3055285 w 10505529"/>
              <a:gd name="connsiteY25294" fmla="*/ 3315129 h 7458372"/>
              <a:gd name="connsiteX25295" fmla="*/ 3046899 w 10505529"/>
              <a:gd name="connsiteY25295" fmla="*/ 3293962 h 7458372"/>
              <a:gd name="connsiteX25296" fmla="*/ 3055285 w 10505529"/>
              <a:gd name="connsiteY25296" fmla="*/ 3272931 h 7458372"/>
              <a:gd name="connsiteX25297" fmla="*/ 3077120 w 10505529"/>
              <a:gd name="connsiteY25297" fmla="*/ 3264278 h 7458372"/>
              <a:gd name="connsiteX25298" fmla="*/ 2859466 w 10505529"/>
              <a:gd name="connsiteY25298" fmla="*/ 3264278 h 7458372"/>
              <a:gd name="connsiteX25299" fmla="*/ 2871315 w 10505529"/>
              <a:gd name="connsiteY25299" fmla="*/ 3266807 h 7458372"/>
              <a:gd name="connsiteX25300" fmla="*/ 2880633 w 10505529"/>
              <a:gd name="connsiteY25300" fmla="*/ 3273196 h 7458372"/>
              <a:gd name="connsiteX25301" fmla="*/ 2886756 w 10505529"/>
              <a:gd name="connsiteY25301" fmla="*/ 3282648 h 7458372"/>
              <a:gd name="connsiteX25302" fmla="*/ 2889019 w 10505529"/>
              <a:gd name="connsiteY25302" fmla="*/ 3294096 h 7458372"/>
              <a:gd name="connsiteX25303" fmla="*/ 2886756 w 10505529"/>
              <a:gd name="connsiteY25303" fmla="*/ 3305811 h 7458372"/>
              <a:gd name="connsiteX25304" fmla="*/ 2880633 w 10505529"/>
              <a:gd name="connsiteY25304" fmla="*/ 3315129 h 7458372"/>
              <a:gd name="connsiteX25305" fmla="*/ 2871315 w 10505529"/>
              <a:gd name="connsiteY25305" fmla="*/ 3321385 h 7458372"/>
              <a:gd name="connsiteX25306" fmla="*/ 2859466 w 10505529"/>
              <a:gd name="connsiteY25306" fmla="*/ 3323648 h 7458372"/>
              <a:gd name="connsiteX25307" fmla="*/ 2837631 w 10505529"/>
              <a:gd name="connsiteY25307" fmla="*/ 3315129 h 7458372"/>
              <a:gd name="connsiteX25308" fmla="*/ 2829244 w 10505529"/>
              <a:gd name="connsiteY25308" fmla="*/ 3293962 h 7458372"/>
              <a:gd name="connsiteX25309" fmla="*/ 2837631 w 10505529"/>
              <a:gd name="connsiteY25309" fmla="*/ 3272931 h 7458372"/>
              <a:gd name="connsiteX25310" fmla="*/ 2859466 w 10505529"/>
              <a:gd name="connsiteY25310" fmla="*/ 3264278 h 7458372"/>
              <a:gd name="connsiteX25311" fmla="*/ 2641812 w 10505529"/>
              <a:gd name="connsiteY25311" fmla="*/ 3264278 h 7458372"/>
              <a:gd name="connsiteX25312" fmla="*/ 2653527 w 10505529"/>
              <a:gd name="connsiteY25312" fmla="*/ 3266807 h 7458372"/>
              <a:gd name="connsiteX25313" fmla="*/ 2662845 w 10505529"/>
              <a:gd name="connsiteY25313" fmla="*/ 3273196 h 7458372"/>
              <a:gd name="connsiteX25314" fmla="*/ 2668968 w 10505529"/>
              <a:gd name="connsiteY25314" fmla="*/ 3282648 h 7458372"/>
              <a:gd name="connsiteX25315" fmla="*/ 2671231 w 10505529"/>
              <a:gd name="connsiteY25315" fmla="*/ 3294096 h 7458372"/>
              <a:gd name="connsiteX25316" fmla="*/ 2668968 w 10505529"/>
              <a:gd name="connsiteY25316" fmla="*/ 3305811 h 7458372"/>
              <a:gd name="connsiteX25317" fmla="*/ 2662845 w 10505529"/>
              <a:gd name="connsiteY25317" fmla="*/ 3315129 h 7458372"/>
              <a:gd name="connsiteX25318" fmla="*/ 2653527 w 10505529"/>
              <a:gd name="connsiteY25318" fmla="*/ 3321385 h 7458372"/>
              <a:gd name="connsiteX25319" fmla="*/ 2641812 w 10505529"/>
              <a:gd name="connsiteY25319" fmla="*/ 3323648 h 7458372"/>
              <a:gd name="connsiteX25320" fmla="*/ 2619979 w 10505529"/>
              <a:gd name="connsiteY25320" fmla="*/ 3315129 h 7458372"/>
              <a:gd name="connsiteX25321" fmla="*/ 2611591 w 10505529"/>
              <a:gd name="connsiteY25321" fmla="*/ 3293962 h 7458372"/>
              <a:gd name="connsiteX25322" fmla="*/ 2619979 w 10505529"/>
              <a:gd name="connsiteY25322" fmla="*/ 3272931 h 7458372"/>
              <a:gd name="connsiteX25323" fmla="*/ 2641812 w 10505529"/>
              <a:gd name="connsiteY25323" fmla="*/ 3264278 h 7458372"/>
              <a:gd name="connsiteX25324" fmla="*/ 2424157 w 10505529"/>
              <a:gd name="connsiteY25324" fmla="*/ 3264278 h 7458372"/>
              <a:gd name="connsiteX25325" fmla="*/ 2435872 w 10505529"/>
              <a:gd name="connsiteY25325" fmla="*/ 3266807 h 7458372"/>
              <a:gd name="connsiteX25326" fmla="*/ 2445190 w 10505529"/>
              <a:gd name="connsiteY25326" fmla="*/ 3273196 h 7458372"/>
              <a:gd name="connsiteX25327" fmla="*/ 2451314 w 10505529"/>
              <a:gd name="connsiteY25327" fmla="*/ 3282648 h 7458372"/>
              <a:gd name="connsiteX25328" fmla="*/ 2453577 w 10505529"/>
              <a:gd name="connsiteY25328" fmla="*/ 3294096 h 7458372"/>
              <a:gd name="connsiteX25329" fmla="*/ 2451314 w 10505529"/>
              <a:gd name="connsiteY25329" fmla="*/ 3305811 h 7458372"/>
              <a:gd name="connsiteX25330" fmla="*/ 2445190 w 10505529"/>
              <a:gd name="connsiteY25330" fmla="*/ 3315129 h 7458372"/>
              <a:gd name="connsiteX25331" fmla="*/ 2435872 w 10505529"/>
              <a:gd name="connsiteY25331" fmla="*/ 3321385 h 7458372"/>
              <a:gd name="connsiteX25332" fmla="*/ 2424157 w 10505529"/>
              <a:gd name="connsiteY25332" fmla="*/ 3323648 h 7458372"/>
              <a:gd name="connsiteX25333" fmla="*/ 2402325 w 10505529"/>
              <a:gd name="connsiteY25333" fmla="*/ 3315129 h 7458372"/>
              <a:gd name="connsiteX25334" fmla="*/ 2393937 w 10505529"/>
              <a:gd name="connsiteY25334" fmla="*/ 3293962 h 7458372"/>
              <a:gd name="connsiteX25335" fmla="*/ 2402325 w 10505529"/>
              <a:gd name="connsiteY25335" fmla="*/ 3272931 h 7458372"/>
              <a:gd name="connsiteX25336" fmla="*/ 2424157 w 10505529"/>
              <a:gd name="connsiteY25336" fmla="*/ 3264278 h 7458372"/>
              <a:gd name="connsiteX25337" fmla="*/ 2206503 w 10505529"/>
              <a:gd name="connsiteY25337" fmla="*/ 3264278 h 7458372"/>
              <a:gd name="connsiteX25338" fmla="*/ 2218218 w 10505529"/>
              <a:gd name="connsiteY25338" fmla="*/ 3266807 h 7458372"/>
              <a:gd name="connsiteX25339" fmla="*/ 2227536 w 10505529"/>
              <a:gd name="connsiteY25339" fmla="*/ 3273196 h 7458372"/>
              <a:gd name="connsiteX25340" fmla="*/ 2233659 w 10505529"/>
              <a:gd name="connsiteY25340" fmla="*/ 3282648 h 7458372"/>
              <a:gd name="connsiteX25341" fmla="*/ 2235922 w 10505529"/>
              <a:gd name="connsiteY25341" fmla="*/ 3294096 h 7458372"/>
              <a:gd name="connsiteX25342" fmla="*/ 2233659 w 10505529"/>
              <a:gd name="connsiteY25342" fmla="*/ 3305811 h 7458372"/>
              <a:gd name="connsiteX25343" fmla="*/ 2227536 w 10505529"/>
              <a:gd name="connsiteY25343" fmla="*/ 3315129 h 7458372"/>
              <a:gd name="connsiteX25344" fmla="*/ 2218218 w 10505529"/>
              <a:gd name="connsiteY25344" fmla="*/ 3321385 h 7458372"/>
              <a:gd name="connsiteX25345" fmla="*/ 2206503 w 10505529"/>
              <a:gd name="connsiteY25345" fmla="*/ 3323648 h 7458372"/>
              <a:gd name="connsiteX25346" fmla="*/ 2184670 w 10505529"/>
              <a:gd name="connsiteY25346" fmla="*/ 3315129 h 7458372"/>
              <a:gd name="connsiteX25347" fmla="*/ 2176283 w 10505529"/>
              <a:gd name="connsiteY25347" fmla="*/ 3293962 h 7458372"/>
              <a:gd name="connsiteX25348" fmla="*/ 2184670 w 10505529"/>
              <a:gd name="connsiteY25348" fmla="*/ 3272931 h 7458372"/>
              <a:gd name="connsiteX25349" fmla="*/ 2206503 w 10505529"/>
              <a:gd name="connsiteY25349" fmla="*/ 3264278 h 7458372"/>
              <a:gd name="connsiteX25350" fmla="*/ 1988981 w 10505529"/>
              <a:gd name="connsiteY25350" fmla="*/ 3264278 h 7458372"/>
              <a:gd name="connsiteX25351" fmla="*/ 2000696 w 10505529"/>
              <a:gd name="connsiteY25351" fmla="*/ 3266807 h 7458372"/>
              <a:gd name="connsiteX25352" fmla="*/ 2010014 w 10505529"/>
              <a:gd name="connsiteY25352" fmla="*/ 3273196 h 7458372"/>
              <a:gd name="connsiteX25353" fmla="*/ 2016137 w 10505529"/>
              <a:gd name="connsiteY25353" fmla="*/ 3282648 h 7458372"/>
              <a:gd name="connsiteX25354" fmla="*/ 2018400 w 10505529"/>
              <a:gd name="connsiteY25354" fmla="*/ 3294096 h 7458372"/>
              <a:gd name="connsiteX25355" fmla="*/ 2016137 w 10505529"/>
              <a:gd name="connsiteY25355" fmla="*/ 3305811 h 7458372"/>
              <a:gd name="connsiteX25356" fmla="*/ 2010014 w 10505529"/>
              <a:gd name="connsiteY25356" fmla="*/ 3315129 h 7458372"/>
              <a:gd name="connsiteX25357" fmla="*/ 2000696 w 10505529"/>
              <a:gd name="connsiteY25357" fmla="*/ 3321385 h 7458372"/>
              <a:gd name="connsiteX25358" fmla="*/ 1988981 w 10505529"/>
              <a:gd name="connsiteY25358" fmla="*/ 3323648 h 7458372"/>
              <a:gd name="connsiteX25359" fmla="*/ 1967150 w 10505529"/>
              <a:gd name="connsiteY25359" fmla="*/ 3315129 h 7458372"/>
              <a:gd name="connsiteX25360" fmla="*/ 1958763 w 10505529"/>
              <a:gd name="connsiteY25360" fmla="*/ 3293962 h 7458372"/>
              <a:gd name="connsiteX25361" fmla="*/ 1967150 w 10505529"/>
              <a:gd name="connsiteY25361" fmla="*/ 3272931 h 7458372"/>
              <a:gd name="connsiteX25362" fmla="*/ 1988981 w 10505529"/>
              <a:gd name="connsiteY25362" fmla="*/ 3264278 h 7458372"/>
              <a:gd name="connsiteX25363" fmla="*/ 1771343 w 10505529"/>
              <a:gd name="connsiteY25363" fmla="*/ 3264278 h 7458372"/>
              <a:gd name="connsiteX25364" fmla="*/ 1783057 w 10505529"/>
              <a:gd name="connsiteY25364" fmla="*/ 3266807 h 7458372"/>
              <a:gd name="connsiteX25365" fmla="*/ 1792375 w 10505529"/>
              <a:gd name="connsiteY25365" fmla="*/ 3273196 h 7458372"/>
              <a:gd name="connsiteX25366" fmla="*/ 1798498 w 10505529"/>
              <a:gd name="connsiteY25366" fmla="*/ 3282648 h 7458372"/>
              <a:gd name="connsiteX25367" fmla="*/ 1800760 w 10505529"/>
              <a:gd name="connsiteY25367" fmla="*/ 3294096 h 7458372"/>
              <a:gd name="connsiteX25368" fmla="*/ 1798498 w 10505529"/>
              <a:gd name="connsiteY25368" fmla="*/ 3305811 h 7458372"/>
              <a:gd name="connsiteX25369" fmla="*/ 1792375 w 10505529"/>
              <a:gd name="connsiteY25369" fmla="*/ 3315129 h 7458372"/>
              <a:gd name="connsiteX25370" fmla="*/ 1783057 w 10505529"/>
              <a:gd name="connsiteY25370" fmla="*/ 3321385 h 7458372"/>
              <a:gd name="connsiteX25371" fmla="*/ 1771343 w 10505529"/>
              <a:gd name="connsiteY25371" fmla="*/ 3323648 h 7458372"/>
              <a:gd name="connsiteX25372" fmla="*/ 1749513 w 10505529"/>
              <a:gd name="connsiteY25372" fmla="*/ 3315129 h 7458372"/>
              <a:gd name="connsiteX25373" fmla="*/ 1741128 w 10505529"/>
              <a:gd name="connsiteY25373" fmla="*/ 3293962 h 7458372"/>
              <a:gd name="connsiteX25374" fmla="*/ 1749513 w 10505529"/>
              <a:gd name="connsiteY25374" fmla="*/ 3272931 h 7458372"/>
              <a:gd name="connsiteX25375" fmla="*/ 1771343 w 10505529"/>
              <a:gd name="connsiteY25375" fmla="*/ 3264278 h 7458372"/>
              <a:gd name="connsiteX25376" fmla="*/ 1553702 w 10505529"/>
              <a:gd name="connsiteY25376" fmla="*/ 3264278 h 7458372"/>
              <a:gd name="connsiteX25377" fmla="*/ 1565417 w 10505529"/>
              <a:gd name="connsiteY25377" fmla="*/ 3266807 h 7458372"/>
              <a:gd name="connsiteX25378" fmla="*/ 1574735 w 10505529"/>
              <a:gd name="connsiteY25378" fmla="*/ 3273196 h 7458372"/>
              <a:gd name="connsiteX25379" fmla="*/ 1580858 w 10505529"/>
              <a:gd name="connsiteY25379" fmla="*/ 3282648 h 7458372"/>
              <a:gd name="connsiteX25380" fmla="*/ 1583121 w 10505529"/>
              <a:gd name="connsiteY25380" fmla="*/ 3294096 h 7458372"/>
              <a:gd name="connsiteX25381" fmla="*/ 1580858 w 10505529"/>
              <a:gd name="connsiteY25381" fmla="*/ 3305811 h 7458372"/>
              <a:gd name="connsiteX25382" fmla="*/ 1574735 w 10505529"/>
              <a:gd name="connsiteY25382" fmla="*/ 3315129 h 7458372"/>
              <a:gd name="connsiteX25383" fmla="*/ 1565417 w 10505529"/>
              <a:gd name="connsiteY25383" fmla="*/ 3321385 h 7458372"/>
              <a:gd name="connsiteX25384" fmla="*/ 1553702 w 10505529"/>
              <a:gd name="connsiteY25384" fmla="*/ 3323648 h 7458372"/>
              <a:gd name="connsiteX25385" fmla="*/ 1531871 w 10505529"/>
              <a:gd name="connsiteY25385" fmla="*/ 3315129 h 7458372"/>
              <a:gd name="connsiteX25386" fmla="*/ 1523486 w 10505529"/>
              <a:gd name="connsiteY25386" fmla="*/ 3293962 h 7458372"/>
              <a:gd name="connsiteX25387" fmla="*/ 1531871 w 10505529"/>
              <a:gd name="connsiteY25387" fmla="*/ 3272931 h 7458372"/>
              <a:gd name="connsiteX25388" fmla="*/ 1553702 w 10505529"/>
              <a:gd name="connsiteY25388" fmla="*/ 3264278 h 7458372"/>
              <a:gd name="connsiteX25389" fmla="*/ 1336057 w 10505529"/>
              <a:gd name="connsiteY25389" fmla="*/ 3264278 h 7458372"/>
              <a:gd name="connsiteX25390" fmla="*/ 1347774 w 10505529"/>
              <a:gd name="connsiteY25390" fmla="*/ 3266807 h 7458372"/>
              <a:gd name="connsiteX25391" fmla="*/ 1357092 w 10505529"/>
              <a:gd name="connsiteY25391" fmla="*/ 3273196 h 7458372"/>
              <a:gd name="connsiteX25392" fmla="*/ 1363214 w 10505529"/>
              <a:gd name="connsiteY25392" fmla="*/ 3282648 h 7458372"/>
              <a:gd name="connsiteX25393" fmla="*/ 1365477 w 10505529"/>
              <a:gd name="connsiteY25393" fmla="*/ 3294096 h 7458372"/>
              <a:gd name="connsiteX25394" fmla="*/ 1363214 w 10505529"/>
              <a:gd name="connsiteY25394" fmla="*/ 3305811 h 7458372"/>
              <a:gd name="connsiteX25395" fmla="*/ 1357092 w 10505529"/>
              <a:gd name="connsiteY25395" fmla="*/ 3315129 h 7458372"/>
              <a:gd name="connsiteX25396" fmla="*/ 1347774 w 10505529"/>
              <a:gd name="connsiteY25396" fmla="*/ 3321385 h 7458372"/>
              <a:gd name="connsiteX25397" fmla="*/ 1336057 w 10505529"/>
              <a:gd name="connsiteY25397" fmla="*/ 3323648 h 7458372"/>
              <a:gd name="connsiteX25398" fmla="*/ 1314226 w 10505529"/>
              <a:gd name="connsiteY25398" fmla="*/ 3315129 h 7458372"/>
              <a:gd name="connsiteX25399" fmla="*/ 1305840 w 10505529"/>
              <a:gd name="connsiteY25399" fmla="*/ 3293962 h 7458372"/>
              <a:gd name="connsiteX25400" fmla="*/ 1314226 w 10505529"/>
              <a:gd name="connsiteY25400" fmla="*/ 3272931 h 7458372"/>
              <a:gd name="connsiteX25401" fmla="*/ 1336057 w 10505529"/>
              <a:gd name="connsiteY25401" fmla="*/ 3264278 h 7458372"/>
              <a:gd name="connsiteX25402" fmla="*/ 1118413 w 10505529"/>
              <a:gd name="connsiteY25402" fmla="*/ 3264278 h 7458372"/>
              <a:gd name="connsiteX25403" fmla="*/ 1130130 w 10505529"/>
              <a:gd name="connsiteY25403" fmla="*/ 3266807 h 7458372"/>
              <a:gd name="connsiteX25404" fmla="*/ 1139446 w 10505529"/>
              <a:gd name="connsiteY25404" fmla="*/ 3273196 h 7458372"/>
              <a:gd name="connsiteX25405" fmla="*/ 1145567 w 10505529"/>
              <a:gd name="connsiteY25405" fmla="*/ 3282648 h 7458372"/>
              <a:gd name="connsiteX25406" fmla="*/ 1147830 w 10505529"/>
              <a:gd name="connsiteY25406" fmla="*/ 3294096 h 7458372"/>
              <a:gd name="connsiteX25407" fmla="*/ 1145567 w 10505529"/>
              <a:gd name="connsiteY25407" fmla="*/ 3305811 h 7458372"/>
              <a:gd name="connsiteX25408" fmla="*/ 1139446 w 10505529"/>
              <a:gd name="connsiteY25408" fmla="*/ 3315129 h 7458372"/>
              <a:gd name="connsiteX25409" fmla="*/ 1130130 w 10505529"/>
              <a:gd name="connsiteY25409" fmla="*/ 3321385 h 7458372"/>
              <a:gd name="connsiteX25410" fmla="*/ 1118413 w 10505529"/>
              <a:gd name="connsiteY25410" fmla="*/ 3323648 h 7458372"/>
              <a:gd name="connsiteX25411" fmla="*/ 1096579 w 10505529"/>
              <a:gd name="connsiteY25411" fmla="*/ 3315129 h 7458372"/>
              <a:gd name="connsiteX25412" fmla="*/ 1088194 w 10505529"/>
              <a:gd name="connsiteY25412" fmla="*/ 3293962 h 7458372"/>
              <a:gd name="connsiteX25413" fmla="*/ 1096579 w 10505529"/>
              <a:gd name="connsiteY25413" fmla="*/ 3272931 h 7458372"/>
              <a:gd name="connsiteX25414" fmla="*/ 1118413 w 10505529"/>
              <a:gd name="connsiteY25414" fmla="*/ 3264278 h 7458372"/>
              <a:gd name="connsiteX25415" fmla="*/ 900900 w 10505529"/>
              <a:gd name="connsiteY25415" fmla="*/ 3264278 h 7458372"/>
              <a:gd name="connsiteX25416" fmla="*/ 912615 w 10505529"/>
              <a:gd name="connsiteY25416" fmla="*/ 3266807 h 7458372"/>
              <a:gd name="connsiteX25417" fmla="*/ 921934 w 10505529"/>
              <a:gd name="connsiteY25417" fmla="*/ 3273196 h 7458372"/>
              <a:gd name="connsiteX25418" fmla="*/ 928056 w 10505529"/>
              <a:gd name="connsiteY25418" fmla="*/ 3282648 h 7458372"/>
              <a:gd name="connsiteX25419" fmla="*/ 930319 w 10505529"/>
              <a:gd name="connsiteY25419" fmla="*/ 3294096 h 7458372"/>
              <a:gd name="connsiteX25420" fmla="*/ 928056 w 10505529"/>
              <a:gd name="connsiteY25420" fmla="*/ 3305811 h 7458372"/>
              <a:gd name="connsiteX25421" fmla="*/ 921934 w 10505529"/>
              <a:gd name="connsiteY25421" fmla="*/ 3315129 h 7458372"/>
              <a:gd name="connsiteX25422" fmla="*/ 912615 w 10505529"/>
              <a:gd name="connsiteY25422" fmla="*/ 3321385 h 7458372"/>
              <a:gd name="connsiteX25423" fmla="*/ 900900 w 10505529"/>
              <a:gd name="connsiteY25423" fmla="*/ 3323648 h 7458372"/>
              <a:gd name="connsiteX25424" fmla="*/ 879069 w 10505529"/>
              <a:gd name="connsiteY25424" fmla="*/ 3315129 h 7458372"/>
              <a:gd name="connsiteX25425" fmla="*/ 870684 w 10505529"/>
              <a:gd name="connsiteY25425" fmla="*/ 3293962 h 7458372"/>
              <a:gd name="connsiteX25426" fmla="*/ 879069 w 10505529"/>
              <a:gd name="connsiteY25426" fmla="*/ 3272931 h 7458372"/>
              <a:gd name="connsiteX25427" fmla="*/ 900900 w 10505529"/>
              <a:gd name="connsiteY25427" fmla="*/ 3264278 h 7458372"/>
              <a:gd name="connsiteX25428" fmla="*/ 683258 w 10505529"/>
              <a:gd name="connsiteY25428" fmla="*/ 3264278 h 7458372"/>
              <a:gd name="connsiteX25429" fmla="*/ 694974 w 10505529"/>
              <a:gd name="connsiteY25429" fmla="*/ 3266807 h 7458372"/>
              <a:gd name="connsiteX25430" fmla="*/ 704291 w 10505529"/>
              <a:gd name="connsiteY25430" fmla="*/ 3273196 h 7458372"/>
              <a:gd name="connsiteX25431" fmla="*/ 710414 w 10505529"/>
              <a:gd name="connsiteY25431" fmla="*/ 3282648 h 7458372"/>
              <a:gd name="connsiteX25432" fmla="*/ 712677 w 10505529"/>
              <a:gd name="connsiteY25432" fmla="*/ 3294096 h 7458372"/>
              <a:gd name="connsiteX25433" fmla="*/ 710414 w 10505529"/>
              <a:gd name="connsiteY25433" fmla="*/ 3305811 h 7458372"/>
              <a:gd name="connsiteX25434" fmla="*/ 704291 w 10505529"/>
              <a:gd name="connsiteY25434" fmla="*/ 3315129 h 7458372"/>
              <a:gd name="connsiteX25435" fmla="*/ 694974 w 10505529"/>
              <a:gd name="connsiteY25435" fmla="*/ 3321385 h 7458372"/>
              <a:gd name="connsiteX25436" fmla="*/ 683258 w 10505529"/>
              <a:gd name="connsiteY25436" fmla="*/ 3323648 h 7458372"/>
              <a:gd name="connsiteX25437" fmla="*/ 661427 w 10505529"/>
              <a:gd name="connsiteY25437" fmla="*/ 3315129 h 7458372"/>
              <a:gd name="connsiteX25438" fmla="*/ 653041 w 10505529"/>
              <a:gd name="connsiteY25438" fmla="*/ 3293962 h 7458372"/>
              <a:gd name="connsiteX25439" fmla="*/ 661427 w 10505529"/>
              <a:gd name="connsiteY25439" fmla="*/ 3272931 h 7458372"/>
              <a:gd name="connsiteX25440" fmla="*/ 683258 w 10505529"/>
              <a:gd name="connsiteY25440" fmla="*/ 3264278 h 7458372"/>
              <a:gd name="connsiteX25441" fmla="*/ 465615 w 10505529"/>
              <a:gd name="connsiteY25441" fmla="*/ 3264278 h 7458372"/>
              <a:gd name="connsiteX25442" fmla="*/ 477331 w 10505529"/>
              <a:gd name="connsiteY25442" fmla="*/ 3266807 h 7458372"/>
              <a:gd name="connsiteX25443" fmla="*/ 486649 w 10505529"/>
              <a:gd name="connsiteY25443" fmla="*/ 3273196 h 7458372"/>
              <a:gd name="connsiteX25444" fmla="*/ 492772 w 10505529"/>
              <a:gd name="connsiteY25444" fmla="*/ 3282648 h 7458372"/>
              <a:gd name="connsiteX25445" fmla="*/ 495035 w 10505529"/>
              <a:gd name="connsiteY25445" fmla="*/ 3294096 h 7458372"/>
              <a:gd name="connsiteX25446" fmla="*/ 492772 w 10505529"/>
              <a:gd name="connsiteY25446" fmla="*/ 3305811 h 7458372"/>
              <a:gd name="connsiteX25447" fmla="*/ 486649 w 10505529"/>
              <a:gd name="connsiteY25447" fmla="*/ 3315129 h 7458372"/>
              <a:gd name="connsiteX25448" fmla="*/ 477331 w 10505529"/>
              <a:gd name="connsiteY25448" fmla="*/ 3321385 h 7458372"/>
              <a:gd name="connsiteX25449" fmla="*/ 465615 w 10505529"/>
              <a:gd name="connsiteY25449" fmla="*/ 3323648 h 7458372"/>
              <a:gd name="connsiteX25450" fmla="*/ 443784 w 10505529"/>
              <a:gd name="connsiteY25450" fmla="*/ 3315129 h 7458372"/>
              <a:gd name="connsiteX25451" fmla="*/ 435398 w 10505529"/>
              <a:gd name="connsiteY25451" fmla="*/ 3293962 h 7458372"/>
              <a:gd name="connsiteX25452" fmla="*/ 443784 w 10505529"/>
              <a:gd name="connsiteY25452" fmla="*/ 3272931 h 7458372"/>
              <a:gd name="connsiteX25453" fmla="*/ 465615 w 10505529"/>
              <a:gd name="connsiteY25453" fmla="*/ 3264278 h 7458372"/>
              <a:gd name="connsiteX25454" fmla="*/ 247973 w 10505529"/>
              <a:gd name="connsiteY25454" fmla="*/ 3264278 h 7458372"/>
              <a:gd name="connsiteX25455" fmla="*/ 259687 w 10505529"/>
              <a:gd name="connsiteY25455" fmla="*/ 3266807 h 7458372"/>
              <a:gd name="connsiteX25456" fmla="*/ 269006 w 10505529"/>
              <a:gd name="connsiteY25456" fmla="*/ 3273196 h 7458372"/>
              <a:gd name="connsiteX25457" fmla="*/ 275129 w 10505529"/>
              <a:gd name="connsiteY25457" fmla="*/ 3282648 h 7458372"/>
              <a:gd name="connsiteX25458" fmla="*/ 277392 w 10505529"/>
              <a:gd name="connsiteY25458" fmla="*/ 3294096 h 7458372"/>
              <a:gd name="connsiteX25459" fmla="*/ 275129 w 10505529"/>
              <a:gd name="connsiteY25459" fmla="*/ 3305811 h 7458372"/>
              <a:gd name="connsiteX25460" fmla="*/ 269006 w 10505529"/>
              <a:gd name="connsiteY25460" fmla="*/ 3315129 h 7458372"/>
              <a:gd name="connsiteX25461" fmla="*/ 259687 w 10505529"/>
              <a:gd name="connsiteY25461" fmla="*/ 3321385 h 7458372"/>
              <a:gd name="connsiteX25462" fmla="*/ 247973 w 10505529"/>
              <a:gd name="connsiteY25462" fmla="*/ 3323648 h 7458372"/>
              <a:gd name="connsiteX25463" fmla="*/ 226142 w 10505529"/>
              <a:gd name="connsiteY25463" fmla="*/ 3315129 h 7458372"/>
              <a:gd name="connsiteX25464" fmla="*/ 217757 w 10505529"/>
              <a:gd name="connsiteY25464" fmla="*/ 3293962 h 7458372"/>
              <a:gd name="connsiteX25465" fmla="*/ 226142 w 10505529"/>
              <a:gd name="connsiteY25465" fmla="*/ 3272931 h 7458372"/>
              <a:gd name="connsiteX25466" fmla="*/ 247973 w 10505529"/>
              <a:gd name="connsiteY25466" fmla="*/ 3264278 h 7458372"/>
              <a:gd name="connsiteX25467" fmla="*/ 30330 w 10505529"/>
              <a:gd name="connsiteY25467" fmla="*/ 3264278 h 7458372"/>
              <a:gd name="connsiteX25468" fmla="*/ 42045 w 10505529"/>
              <a:gd name="connsiteY25468" fmla="*/ 3266807 h 7458372"/>
              <a:gd name="connsiteX25469" fmla="*/ 51363 w 10505529"/>
              <a:gd name="connsiteY25469" fmla="*/ 3273196 h 7458372"/>
              <a:gd name="connsiteX25470" fmla="*/ 57486 w 10505529"/>
              <a:gd name="connsiteY25470" fmla="*/ 3282648 h 7458372"/>
              <a:gd name="connsiteX25471" fmla="*/ 59749 w 10505529"/>
              <a:gd name="connsiteY25471" fmla="*/ 3294096 h 7458372"/>
              <a:gd name="connsiteX25472" fmla="*/ 57486 w 10505529"/>
              <a:gd name="connsiteY25472" fmla="*/ 3305811 h 7458372"/>
              <a:gd name="connsiteX25473" fmla="*/ 51363 w 10505529"/>
              <a:gd name="connsiteY25473" fmla="*/ 3315129 h 7458372"/>
              <a:gd name="connsiteX25474" fmla="*/ 42045 w 10505529"/>
              <a:gd name="connsiteY25474" fmla="*/ 3321385 h 7458372"/>
              <a:gd name="connsiteX25475" fmla="*/ 30330 w 10505529"/>
              <a:gd name="connsiteY25475" fmla="*/ 3323648 h 7458372"/>
              <a:gd name="connsiteX25476" fmla="*/ 8501 w 10505529"/>
              <a:gd name="connsiteY25476" fmla="*/ 3315129 h 7458372"/>
              <a:gd name="connsiteX25477" fmla="*/ 115 w 10505529"/>
              <a:gd name="connsiteY25477" fmla="*/ 3293962 h 7458372"/>
              <a:gd name="connsiteX25478" fmla="*/ 8501 w 10505529"/>
              <a:gd name="connsiteY25478" fmla="*/ 3272931 h 7458372"/>
              <a:gd name="connsiteX25479" fmla="*/ 30330 w 10505529"/>
              <a:gd name="connsiteY25479" fmla="*/ 3264278 h 7458372"/>
              <a:gd name="connsiteX25480" fmla="*/ 10475977 w 10505529"/>
              <a:gd name="connsiteY25480" fmla="*/ 3063272 h 7458372"/>
              <a:gd name="connsiteX25481" fmla="*/ 10465992 w 10505529"/>
              <a:gd name="connsiteY25481" fmla="*/ 3066867 h 7458372"/>
              <a:gd name="connsiteX25482" fmla="*/ 10462399 w 10505529"/>
              <a:gd name="connsiteY25482" fmla="*/ 3076318 h 7458372"/>
              <a:gd name="connsiteX25483" fmla="*/ 10465992 w 10505529"/>
              <a:gd name="connsiteY25483" fmla="*/ 3085769 h 7458372"/>
              <a:gd name="connsiteX25484" fmla="*/ 10475977 w 10505529"/>
              <a:gd name="connsiteY25484" fmla="*/ 3089230 h 7458372"/>
              <a:gd name="connsiteX25485" fmla="*/ 10481302 w 10505529"/>
              <a:gd name="connsiteY25485" fmla="*/ 3088298 h 7458372"/>
              <a:gd name="connsiteX25486" fmla="*/ 10485029 w 10505529"/>
              <a:gd name="connsiteY25486" fmla="*/ 3085902 h 7458372"/>
              <a:gd name="connsiteX25487" fmla="*/ 10487691 w 10505529"/>
              <a:gd name="connsiteY25487" fmla="*/ 3081776 h 7458372"/>
              <a:gd name="connsiteX25488" fmla="*/ 10488623 w 10505529"/>
              <a:gd name="connsiteY25488" fmla="*/ 3076318 h 7458372"/>
              <a:gd name="connsiteX25489" fmla="*/ 10487691 w 10505529"/>
              <a:gd name="connsiteY25489" fmla="*/ 3071126 h 7458372"/>
              <a:gd name="connsiteX25490" fmla="*/ 10485029 w 10505529"/>
              <a:gd name="connsiteY25490" fmla="*/ 3066867 h 7458372"/>
              <a:gd name="connsiteX25491" fmla="*/ 10481035 w 10505529"/>
              <a:gd name="connsiteY25491" fmla="*/ 3064204 h 7458372"/>
              <a:gd name="connsiteX25492" fmla="*/ 10475977 w 10505529"/>
              <a:gd name="connsiteY25492" fmla="*/ 3063272 h 7458372"/>
              <a:gd name="connsiteX25493" fmla="*/ 10258466 w 10505529"/>
              <a:gd name="connsiteY25493" fmla="*/ 3063272 h 7458372"/>
              <a:gd name="connsiteX25494" fmla="*/ 10248481 w 10505529"/>
              <a:gd name="connsiteY25494" fmla="*/ 3066867 h 7458372"/>
              <a:gd name="connsiteX25495" fmla="*/ 10244887 w 10505529"/>
              <a:gd name="connsiteY25495" fmla="*/ 3076318 h 7458372"/>
              <a:gd name="connsiteX25496" fmla="*/ 10248481 w 10505529"/>
              <a:gd name="connsiteY25496" fmla="*/ 3085769 h 7458372"/>
              <a:gd name="connsiteX25497" fmla="*/ 10258466 w 10505529"/>
              <a:gd name="connsiteY25497" fmla="*/ 3089230 h 7458372"/>
              <a:gd name="connsiteX25498" fmla="*/ 10263790 w 10505529"/>
              <a:gd name="connsiteY25498" fmla="*/ 3088298 h 7458372"/>
              <a:gd name="connsiteX25499" fmla="*/ 10267517 w 10505529"/>
              <a:gd name="connsiteY25499" fmla="*/ 3085902 h 7458372"/>
              <a:gd name="connsiteX25500" fmla="*/ 10270180 w 10505529"/>
              <a:gd name="connsiteY25500" fmla="*/ 3081776 h 7458372"/>
              <a:gd name="connsiteX25501" fmla="*/ 10271112 w 10505529"/>
              <a:gd name="connsiteY25501" fmla="*/ 3076318 h 7458372"/>
              <a:gd name="connsiteX25502" fmla="*/ 10270180 w 10505529"/>
              <a:gd name="connsiteY25502" fmla="*/ 3071126 h 7458372"/>
              <a:gd name="connsiteX25503" fmla="*/ 10267517 w 10505529"/>
              <a:gd name="connsiteY25503" fmla="*/ 3066867 h 7458372"/>
              <a:gd name="connsiteX25504" fmla="*/ 10263524 w 10505529"/>
              <a:gd name="connsiteY25504" fmla="*/ 3064204 h 7458372"/>
              <a:gd name="connsiteX25505" fmla="*/ 10258466 w 10505529"/>
              <a:gd name="connsiteY25505" fmla="*/ 3063272 h 7458372"/>
              <a:gd name="connsiteX25506" fmla="*/ 10040820 w 10505529"/>
              <a:gd name="connsiteY25506" fmla="*/ 3063272 h 7458372"/>
              <a:gd name="connsiteX25507" fmla="*/ 10030835 w 10505529"/>
              <a:gd name="connsiteY25507" fmla="*/ 3066867 h 7458372"/>
              <a:gd name="connsiteX25508" fmla="*/ 10027242 w 10505529"/>
              <a:gd name="connsiteY25508" fmla="*/ 3076318 h 7458372"/>
              <a:gd name="connsiteX25509" fmla="*/ 10030835 w 10505529"/>
              <a:gd name="connsiteY25509" fmla="*/ 3085769 h 7458372"/>
              <a:gd name="connsiteX25510" fmla="*/ 10040820 w 10505529"/>
              <a:gd name="connsiteY25510" fmla="*/ 3089230 h 7458372"/>
              <a:gd name="connsiteX25511" fmla="*/ 10046145 w 10505529"/>
              <a:gd name="connsiteY25511" fmla="*/ 3088298 h 7458372"/>
              <a:gd name="connsiteX25512" fmla="*/ 10049872 w 10505529"/>
              <a:gd name="connsiteY25512" fmla="*/ 3085902 h 7458372"/>
              <a:gd name="connsiteX25513" fmla="*/ 10052534 w 10505529"/>
              <a:gd name="connsiteY25513" fmla="*/ 3081776 h 7458372"/>
              <a:gd name="connsiteX25514" fmla="*/ 10053599 w 10505529"/>
              <a:gd name="connsiteY25514" fmla="*/ 3076318 h 7458372"/>
              <a:gd name="connsiteX25515" fmla="*/ 10052534 w 10505529"/>
              <a:gd name="connsiteY25515" fmla="*/ 3071126 h 7458372"/>
              <a:gd name="connsiteX25516" fmla="*/ 10049872 w 10505529"/>
              <a:gd name="connsiteY25516" fmla="*/ 3066867 h 7458372"/>
              <a:gd name="connsiteX25517" fmla="*/ 10045878 w 10505529"/>
              <a:gd name="connsiteY25517" fmla="*/ 3064204 h 7458372"/>
              <a:gd name="connsiteX25518" fmla="*/ 10040820 w 10505529"/>
              <a:gd name="connsiteY25518" fmla="*/ 3063272 h 7458372"/>
              <a:gd name="connsiteX25519" fmla="*/ 9823176 w 10505529"/>
              <a:gd name="connsiteY25519" fmla="*/ 3063272 h 7458372"/>
              <a:gd name="connsiteX25520" fmla="*/ 9813191 w 10505529"/>
              <a:gd name="connsiteY25520" fmla="*/ 3066867 h 7458372"/>
              <a:gd name="connsiteX25521" fmla="*/ 9809597 w 10505529"/>
              <a:gd name="connsiteY25521" fmla="*/ 3076318 h 7458372"/>
              <a:gd name="connsiteX25522" fmla="*/ 9813191 w 10505529"/>
              <a:gd name="connsiteY25522" fmla="*/ 3085769 h 7458372"/>
              <a:gd name="connsiteX25523" fmla="*/ 9823176 w 10505529"/>
              <a:gd name="connsiteY25523" fmla="*/ 3089230 h 7458372"/>
              <a:gd name="connsiteX25524" fmla="*/ 9828501 w 10505529"/>
              <a:gd name="connsiteY25524" fmla="*/ 3088298 h 7458372"/>
              <a:gd name="connsiteX25525" fmla="*/ 9832227 w 10505529"/>
              <a:gd name="connsiteY25525" fmla="*/ 3085902 h 7458372"/>
              <a:gd name="connsiteX25526" fmla="*/ 9834890 w 10505529"/>
              <a:gd name="connsiteY25526" fmla="*/ 3081776 h 7458372"/>
              <a:gd name="connsiteX25527" fmla="*/ 9835955 w 10505529"/>
              <a:gd name="connsiteY25527" fmla="*/ 3076318 h 7458372"/>
              <a:gd name="connsiteX25528" fmla="*/ 9834890 w 10505529"/>
              <a:gd name="connsiteY25528" fmla="*/ 3071126 h 7458372"/>
              <a:gd name="connsiteX25529" fmla="*/ 9832227 w 10505529"/>
              <a:gd name="connsiteY25529" fmla="*/ 3066867 h 7458372"/>
              <a:gd name="connsiteX25530" fmla="*/ 9828234 w 10505529"/>
              <a:gd name="connsiteY25530" fmla="*/ 3064204 h 7458372"/>
              <a:gd name="connsiteX25531" fmla="*/ 9823176 w 10505529"/>
              <a:gd name="connsiteY25531" fmla="*/ 3063272 h 7458372"/>
              <a:gd name="connsiteX25532" fmla="*/ 9605531 w 10505529"/>
              <a:gd name="connsiteY25532" fmla="*/ 3063272 h 7458372"/>
              <a:gd name="connsiteX25533" fmla="*/ 9595546 w 10505529"/>
              <a:gd name="connsiteY25533" fmla="*/ 3066867 h 7458372"/>
              <a:gd name="connsiteX25534" fmla="*/ 9591952 w 10505529"/>
              <a:gd name="connsiteY25534" fmla="*/ 3076318 h 7458372"/>
              <a:gd name="connsiteX25535" fmla="*/ 9595546 w 10505529"/>
              <a:gd name="connsiteY25535" fmla="*/ 3085769 h 7458372"/>
              <a:gd name="connsiteX25536" fmla="*/ 9605531 w 10505529"/>
              <a:gd name="connsiteY25536" fmla="*/ 3089230 h 7458372"/>
              <a:gd name="connsiteX25537" fmla="*/ 9610855 w 10505529"/>
              <a:gd name="connsiteY25537" fmla="*/ 3088298 h 7458372"/>
              <a:gd name="connsiteX25538" fmla="*/ 9614582 w 10505529"/>
              <a:gd name="connsiteY25538" fmla="*/ 3085902 h 7458372"/>
              <a:gd name="connsiteX25539" fmla="*/ 9617245 w 10505529"/>
              <a:gd name="connsiteY25539" fmla="*/ 3081776 h 7458372"/>
              <a:gd name="connsiteX25540" fmla="*/ 9618309 w 10505529"/>
              <a:gd name="connsiteY25540" fmla="*/ 3076318 h 7458372"/>
              <a:gd name="connsiteX25541" fmla="*/ 9617245 w 10505529"/>
              <a:gd name="connsiteY25541" fmla="*/ 3071126 h 7458372"/>
              <a:gd name="connsiteX25542" fmla="*/ 9614582 w 10505529"/>
              <a:gd name="connsiteY25542" fmla="*/ 3066867 h 7458372"/>
              <a:gd name="connsiteX25543" fmla="*/ 9610589 w 10505529"/>
              <a:gd name="connsiteY25543" fmla="*/ 3064204 h 7458372"/>
              <a:gd name="connsiteX25544" fmla="*/ 9605531 w 10505529"/>
              <a:gd name="connsiteY25544" fmla="*/ 3063272 h 7458372"/>
              <a:gd name="connsiteX25545" fmla="*/ 9387885 w 10505529"/>
              <a:gd name="connsiteY25545" fmla="*/ 3063272 h 7458372"/>
              <a:gd name="connsiteX25546" fmla="*/ 9377900 w 10505529"/>
              <a:gd name="connsiteY25546" fmla="*/ 3066867 h 7458372"/>
              <a:gd name="connsiteX25547" fmla="*/ 9374307 w 10505529"/>
              <a:gd name="connsiteY25547" fmla="*/ 3076318 h 7458372"/>
              <a:gd name="connsiteX25548" fmla="*/ 9377900 w 10505529"/>
              <a:gd name="connsiteY25548" fmla="*/ 3085769 h 7458372"/>
              <a:gd name="connsiteX25549" fmla="*/ 9387885 w 10505529"/>
              <a:gd name="connsiteY25549" fmla="*/ 3089230 h 7458372"/>
              <a:gd name="connsiteX25550" fmla="*/ 9393210 w 10505529"/>
              <a:gd name="connsiteY25550" fmla="*/ 3088298 h 7458372"/>
              <a:gd name="connsiteX25551" fmla="*/ 9396937 w 10505529"/>
              <a:gd name="connsiteY25551" fmla="*/ 3085902 h 7458372"/>
              <a:gd name="connsiteX25552" fmla="*/ 9399599 w 10505529"/>
              <a:gd name="connsiteY25552" fmla="*/ 3081776 h 7458372"/>
              <a:gd name="connsiteX25553" fmla="*/ 9400664 w 10505529"/>
              <a:gd name="connsiteY25553" fmla="*/ 3076318 h 7458372"/>
              <a:gd name="connsiteX25554" fmla="*/ 9399599 w 10505529"/>
              <a:gd name="connsiteY25554" fmla="*/ 3071126 h 7458372"/>
              <a:gd name="connsiteX25555" fmla="*/ 9396937 w 10505529"/>
              <a:gd name="connsiteY25555" fmla="*/ 3066867 h 7458372"/>
              <a:gd name="connsiteX25556" fmla="*/ 9392943 w 10505529"/>
              <a:gd name="connsiteY25556" fmla="*/ 3064204 h 7458372"/>
              <a:gd name="connsiteX25557" fmla="*/ 9387885 w 10505529"/>
              <a:gd name="connsiteY25557" fmla="*/ 3063272 h 7458372"/>
              <a:gd name="connsiteX25558" fmla="*/ 9170374 w 10505529"/>
              <a:gd name="connsiteY25558" fmla="*/ 3063272 h 7458372"/>
              <a:gd name="connsiteX25559" fmla="*/ 9160389 w 10505529"/>
              <a:gd name="connsiteY25559" fmla="*/ 3066867 h 7458372"/>
              <a:gd name="connsiteX25560" fmla="*/ 9156795 w 10505529"/>
              <a:gd name="connsiteY25560" fmla="*/ 3076318 h 7458372"/>
              <a:gd name="connsiteX25561" fmla="*/ 9160389 w 10505529"/>
              <a:gd name="connsiteY25561" fmla="*/ 3085769 h 7458372"/>
              <a:gd name="connsiteX25562" fmla="*/ 9170374 w 10505529"/>
              <a:gd name="connsiteY25562" fmla="*/ 3089230 h 7458372"/>
              <a:gd name="connsiteX25563" fmla="*/ 9175698 w 10505529"/>
              <a:gd name="connsiteY25563" fmla="*/ 3088298 h 7458372"/>
              <a:gd name="connsiteX25564" fmla="*/ 9179425 w 10505529"/>
              <a:gd name="connsiteY25564" fmla="*/ 3085902 h 7458372"/>
              <a:gd name="connsiteX25565" fmla="*/ 9182088 w 10505529"/>
              <a:gd name="connsiteY25565" fmla="*/ 3081776 h 7458372"/>
              <a:gd name="connsiteX25566" fmla="*/ 9183152 w 10505529"/>
              <a:gd name="connsiteY25566" fmla="*/ 3076318 h 7458372"/>
              <a:gd name="connsiteX25567" fmla="*/ 9182088 w 10505529"/>
              <a:gd name="connsiteY25567" fmla="*/ 3071126 h 7458372"/>
              <a:gd name="connsiteX25568" fmla="*/ 9179425 w 10505529"/>
              <a:gd name="connsiteY25568" fmla="*/ 3066867 h 7458372"/>
              <a:gd name="connsiteX25569" fmla="*/ 9175432 w 10505529"/>
              <a:gd name="connsiteY25569" fmla="*/ 3064204 h 7458372"/>
              <a:gd name="connsiteX25570" fmla="*/ 9170374 w 10505529"/>
              <a:gd name="connsiteY25570" fmla="*/ 3063272 h 7458372"/>
              <a:gd name="connsiteX25571" fmla="*/ 8952728 w 10505529"/>
              <a:gd name="connsiteY25571" fmla="*/ 3063272 h 7458372"/>
              <a:gd name="connsiteX25572" fmla="*/ 8942743 w 10505529"/>
              <a:gd name="connsiteY25572" fmla="*/ 3066867 h 7458372"/>
              <a:gd name="connsiteX25573" fmla="*/ 8939150 w 10505529"/>
              <a:gd name="connsiteY25573" fmla="*/ 3076318 h 7458372"/>
              <a:gd name="connsiteX25574" fmla="*/ 8942743 w 10505529"/>
              <a:gd name="connsiteY25574" fmla="*/ 3085769 h 7458372"/>
              <a:gd name="connsiteX25575" fmla="*/ 8952728 w 10505529"/>
              <a:gd name="connsiteY25575" fmla="*/ 3089230 h 7458372"/>
              <a:gd name="connsiteX25576" fmla="*/ 8958053 w 10505529"/>
              <a:gd name="connsiteY25576" fmla="*/ 3088298 h 7458372"/>
              <a:gd name="connsiteX25577" fmla="*/ 8961780 w 10505529"/>
              <a:gd name="connsiteY25577" fmla="*/ 3085902 h 7458372"/>
              <a:gd name="connsiteX25578" fmla="*/ 8964442 w 10505529"/>
              <a:gd name="connsiteY25578" fmla="*/ 3081776 h 7458372"/>
              <a:gd name="connsiteX25579" fmla="*/ 8965507 w 10505529"/>
              <a:gd name="connsiteY25579" fmla="*/ 3076318 h 7458372"/>
              <a:gd name="connsiteX25580" fmla="*/ 8964442 w 10505529"/>
              <a:gd name="connsiteY25580" fmla="*/ 3071126 h 7458372"/>
              <a:gd name="connsiteX25581" fmla="*/ 8961780 w 10505529"/>
              <a:gd name="connsiteY25581" fmla="*/ 3066867 h 7458372"/>
              <a:gd name="connsiteX25582" fmla="*/ 8957786 w 10505529"/>
              <a:gd name="connsiteY25582" fmla="*/ 3064204 h 7458372"/>
              <a:gd name="connsiteX25583" fmla="*/ 8952728 w 10505529"/>
              <a:gd name="connsiteY25583" fmla="*/ 3063272 h 7458372"/>
              <a:gd name="connsiteX25584" fmla="*/ 8735083 w 10505529"/>
              <a:gd name="connsiteY25584" fmla="*/ 3063272 h 7458372"/>
              <a:gd name="connsiteX25585" fmla="*/ 8725098 w 10505529"/>
              <a:gd name="connsiteY25585" fmla="*/ 3066867 h 7458372"/>
              <a:gd name="connsiteX25586" fmla="*/ 8721504 w 10505529"/>
              <a:gd name="connsiteY25586" fmla="*/ 3076318 h 7458372"/>
              <a:gd name="connsiteX25587" fmla="*/ 8725098 w 10505529"/>
              <a:gd name="connsiteY25587" fmla="*/ 3085769 h 7458372"/>
              <a:gd name="connsiteX25588" fmla="*/ 8735083 w 10505529"/>
              <a:gd name="connsiteY25588" fmla="*/ 3089230 h 7458372"/>
              <a:gd name="connsiteX25589" fmla="*/ 8740407 w 10505529"/>
              <a:gd name="connsiteY25589" fmla="*/ 3088298 h 7458372"/>
              <a:gd name="connsiteX25590" fmla="*/ 8744134 w 10505529"/>
              <a:gd name="connsiteY25590" fmla="*/ 3085902 h 7458372"/>
              <a:gd name="connsiteX25591" fmla="*/ 8746797 w 10505529"/>
              <a:gd name="connsiteY25591" fmla="*/ 3081776 h 7458372"/>
              <a:gd name="connsiteX25592" fmla="*/ 8747862 w 10505529"/>
              <a:gd name="connsiteY25592" fmla="*/ 3076318 h 7458372"/>
              <a:gd name="connsiteX25593" fmla="*/ 8746797 w 10505529"/>
              <a:gd name="connsiteY25593" fmla="*/ 3071126 h 7458372"/>
              <a:gd name="connsiteX25594" fmla="*/ 8744134 w 10505529"/>
              <a:gd name="connsiteY25594" fmla="*/ 3066867 h 7458372"/>
              <a:gd name="connsiteX25595" fmla="*/ 8740141 w 10505529"/>
              <a:gd name="connsiteY25595" fmla="*/ 3064204 h 7458372"/>
              <a:gd name="connsiteX25596" fmla="*/ 8735083 w 10505529"/>
              <a:gd name="connsiteY25596" fmla="*/ 3063272 h 7458372"/>
              <a:gd name="connsiteX25597" fmla="*/ 8517438 w 10505529"/>
              <a:gd name="connsiteY25597" fmla="*/ 3063272 h 7458372"/>
              <a:gd name="connsiteX25598" fmla="*/ 8507453 w 10505529"/>
              <a:gd name="connsiteY25598" fmla="*/ 3066867 h 7458372"/>
              <a:gd name="connsiteX25599" fmla="*/ 8503860 w 10505529"/>
              <a:gd name="connsiteY25599" fmla="*/ 3076318 h 7458372"/>
              <a:gd name="connsiteX25600" fmla="*/ 8507453 w 10505529"/>
              <a:gd name="connsiteY25600" fmla="*/ 3085769 h 7458372"/>
              <a:gd name="connsiteX25601" fmla="*/ 8517438 w 10505529"/>
              <a:gd name="connsiteY25601" fmla="*/ 3089230 h 7458372"/>
              <a:gd name="connsiteX25602" fmla="*/ 8522763 w 10505529"/>
              <a:gd name="connsiteY25602" fmla="*/ 3088298 h 7458372"/>
              <a:gd name="connsiteX25603" fmla="*/ 8526490 w 10505529"/>
              <a:gd name="connsiteY25603" fmla="*/ 3085902 h 7458372"/>
              <a:gd name="connsiteX25604" fmla="*/ 8529152 w 10505529"/>
              <a:gd name="connsiteY25604" fmla="*/ 3081776 h 7458372"/>
              <a:gd name="connsiteX25605" fmla="*/ 8530084 w 10505529"/>
              <a:gd name="connsiteY25605" fmla="*/ 3076318 h 7458372"/>
              <a:gd name="connsiteX25606" fmla="*/ 8529152 w 10505529"/>
              <a:gd name="connsiteY25606" fmla="*/ 3071126 h 7458372"/>
              <a:gd name="connsiteX25607" fmla="*/ 8526490 w 10505529"/>
              <a:gd name="connsiteY25607" fmla="*/ 3066867 h 7458372"/>
              <a:gd name="connsiteX25608" fmla="*/ 8522496 w 10505529"/>
              <a:gd name="connsiteY25608" fmla="*/ 3064204 h 7458372"/>
              <a:gd name="connsiteX25609" fmla="*/ 8517438 w 10505529"/>
              <a:gd name="connsiteY25609" fmla="*/ 3063272 h 7458372"/>
              <a:gd name="connsiteX25610" fmla="*/ 8299793 w 10505529"/>
              <a:gd name="connsiteY25610" fmla="*/ 3063272 h 7458372"/>
              <a:gd name="connsiteX25611" fmla="*/ 8289809 w 10505529"/>
              <a:gd name="connsiteY25611" fmla="*/ 3066867 h 7458372"/>
              <a:gd name="connsiteX25612" fmla="*/ 8286215 w 10505529"/>
              <a:gd name="connsiteY25612" fmla="*/ 3076318 h 7458372"/>
              <a:gd name="connsiteX25613" fmla="*/ 8289809 w 10505529"/>
              <a:gd name="connsiteY25613" fmla="*/ 3085769 h 7458372"/>
              <a:gd name="connsiteX25614" fmla="*/ 8299793 w 10505529"/>
              <a:gd name="connsiteY25614" fmla="*/ 3089230 h 7458372"/>
              <a:gd name="connsiteX25615" fmla="*/ 8305118 w 10505529"/>
              <a:gd name="connsiteY25615" fmla="*/ 3088298 h 7458372"/>
              <a:gd name="connsiteX25616" fmla="*/ 8308844 w 10505529"/>
              <a:gd name="connsiteY25616" fmla="*/ 3085902 h 7458372"/>
              <a:gd name="connsiteX25617" fmla="*/ 8311507 w 10505529"/>
              <a:gd name="connsiteY25617" fmla="*/ 3081776 h 7458372"/>
              <a:gd name="connsiteX25618" fmla="*/ 8312439 w 10505529"/>
              <a:gd name="connsiteY25618" fmla="*/ 3076318 h 7458372"/>
              <a:gd name="connsiteX25619" fmla="*/ 8311507 w 10505529"/>
              <a:gd name="connsiteY25619" fmla="*/ 3071126 h 7458372"/>
              <a:gd name="connsiteX25620" fmla="*/ 8308844 w 10505529"/>
              <a:gd name="connsiteY25620" fmla="*/ 3066867 h 7458372"/>
              <a:gd name="connsiteX25621" fmla="*/ 8304851 w 10505529"/>
              <a:gd name="connsiteY25621" fmla="*/ 3064204 h 7458372"/>
              <a:gd name="connsiteX25622" fmla="*/ 8299793 w 10505529"/>
              <a:gd name="connsiteY25622" fmla="*/ 3063272 h 7458372"/>
              <a:gd name="connsiteX25623" fmla="*/ 8082281 w 10505529"/>
              <a:gd name="connsiteY25623" fmla="*/ 3063272 h 7458372"/>
              <a:gd name="connsiteX25624" fmla="*/ 8072297 w 10505529"/>
              <a:gd name="connsiteY25624" fmla="*/ 3066867 h 7458372"/>
              <a:gd name="connsiteX25625" fmla="*/ 8068703 w 10505529"/>
              <a:gd name="connsiteY25625" fmla="*/ 3076318 h 7458372"/>
              <a:gd name="connsiteX25626" fmla="*/ 8072297 w 10505529"/>
              <a:gd name="connsiteY25626" fmla="*/ 3085769 h 7458372"/>
              <a:gd name="connsiteX25627" fmla="*/ 8082281 w 10505529"/>
              <a:gd name="connsiteY25627" fmla="*/ 3089230 h 7458372"/>
              <a:gd name="connsiteX25628" fmla="*/ 8087605 w 10505529"/>
              <a:gd name="connsiteY25628" fmla="*/ 3088298 h 7458372"/>
              <a:gd name="connsiteX25629" fmla="*/ 8091332 w 10505529"/>
              <a:gd name="connsiteY25629" fmla="*/ 3085902 h 7458372"/>
              <a:gd name="connsiteX25630" fmla="*/ 8093994 w 10505529"/>
              <a:gd name="connsiteY25630" fmla="*/ 3081776 h 7458372"/>
              <a:gd name="connsiteX25631" fmla="*/ 8094926 w 10505529"/>
              <a:gd name="connsiteY25631" fmla="*/ 3076318 h 7458372"/>
              <a:gd name="connsiteX25632" fmla="*/ 8093994 w 10505529"/>
              <a:gd name="connsiteY25632" fmla="*/ 3071126 h 7458372"/>
              <a:gd name="connsiteX25633" fmla="*/ 8091332 w 10505529"/>
              <a:gd name="connsiteY25633" fmla="*/ 3066867 h 7458372"/>
              <a:gd name="connsiteX25634" fmla="*/ 8087338 w 10505529"/>
              <a:gd name="connsiteY25634" fmla="*/ 3064204 h 7458372"/>
              <a:gd name="connsiteX25635" fmla="*/ 8082281 w 10505529"/>
              <a:gd name="connsiteY25635" fmla="*/ 3063272 h 7458372"/>
              <a:gd name="connsiteX25636" fmla="*/ 7864636 w 10505529"/>
              <a:gd name="connsiteY25636" fmla="*/ 3063272 h 7458372"/>
              <a:gd name="connsiteX25637" fmla="*/ 7854652 w 10505529"/>
              <a:gd name="connsiteY25637" fmla="*/ 3066867 h 7458372"/>
              <a:gd name="connsiteX25638" fmla="*/ 7851058 w 10505529"/>
              <a:gd name="connsiteY25638" fmla="*/ 3076318 h 7458372"/>
              <a:gd name="connsiteX25639" fmla="*/ 7854652 w 10505529"/>
              <a:gd name="connsiteY25639" fmla="*/ 3085769 h 7458372"/>
              <a:gd name="connsiteX25640" fmla="*/ 7864636 w 10505529"/>
              <a:gd name="connsiteY25640" fmla="*/ 3089230 h 7458372"/>
              <a:gd name="connsiteX25641" fmla="*/ 7869961 w 10505529"/>
              <a:gd name="connsiteY25641" fmla="*/ 3088298 h 7458372"/>
              <a:gd name="connsiteX25642" fmla="*/ 7873687 w 10505529"/>
              <a:gd name="connsiteY25642" fmla="*/ 3085902 h 7458372"/>
              <a:gd name="connsiteX25643" fmla="*/ 7876350 w 10505529"/>
              <a:gd name="connsiteY25643" fmla="*/ 3081776 h 7458372"/>
              <a:gd name="connsiteX25644" fmla="*/ 7877282 w 10505529"/>
              <a:gd name="connsiteY25644" fmla="*/ 3076318 h 7458372"/>
              <a:gd name="connsiteX25645" fmla="*/ 7876350 w 10505529"/>
              <a:gd name="connsiteY25645" fmla="*/ 3071126 h 7458372"/>
              <a:gd name="connsiteX25646" fmla="*/ 7873687 w 10505529"/>
              <a:gd name="connsiteY25646" fmla="*/ 3066867 h 7458372"/>
              <a:gd name="connsiteX25647" fmla="*/ 7869694 w 10505529"/>
              <a:gd name="connsiteY25647" fmla="*/ 3064204 h 7458372"/>
              <a:gd name="connsiteX25648" fmla="*/ 7864636 w 10505529"/>
              <a:gd name="connsiteY25648" fmla="*/ 3063272 h 7458372"/>
              <a:gd name="connsiteX25649" fmla="*/ 7646991 w 10505529"/>
              <a:gd name="connsiteY25649" fmla="*/ 3063272 h 7458372"/>
              <a:gd name="connsiteX25650" fmla="*/ 7637007 w 10505529"/>
              <a:gd name="connsiteY25650" fmla="*/ 3066867 h 7458372"/>
              <a:gd name="connsiteX25651" fmla="*/ 7633413 w 10505529"/>
              <a:gd name="connsiteY25651" fmla="*/ 3076318 h 7458372"/>
              <a:gd name="connsiteX25652" fmla="*/ 7637007 w 10505529"/>
              <a:gd name="connsiteY25652" fmla="*/ 3085769 h 7458372"/>
              <a:gd name="connsiteX25653" fmla="*/ 7646991 w 10505529"/>
              <a:gd name="connsiteY25653" fmla="*/ 3089230 h 7458372"/>
              <a:gd name="connsiteX25654" fmla="*/ 7652315 w 10505529"/>
              <a:gd name="connsiteY25654" fmla="*/ 3088298 h 7458372"/>
              <a:gd name="connsiteX25655" fmla="*/ 7656042 w 10505529"/>
              <a:gd name="connsiteY25655" fmla="*/ 3085902 h 7458372"/>
              <a:gd name="connsiteX25656" fmla="*/ 7658705 w 10505529"/>
              <a:gd name="connsiteY25656" fmla="*/ 3081776 h 7458372"/>
              <a:gd name="connsiteX25657" fmla="*/ 7659769 w 10505529"/>
              <a:gd name="connsiteY25657" fmla="*/ 3076318 h 7458372"/>
              <a:gd name="connsiteX25658" fmla="*/ 7658705 w 10505529"/>
              <a:gd name="connsiteY25658" fmla="*/ 3071126 h 7458372"/>
              <a:gd name="connsiteX25659" fmla="*/ 7656042 w 10505529"/>
              <a:gd name="connsiteY25659" fmla="*/ 3066867 h 7458372"/>
              <a:gd name="connsiteX25660" fmla="*/ 7652049 w 10505529"/>
              <a:gd name="connsiteY25660" fmla="*/ 3064204 h 7458372"/>
              <a:gd name="connsiteX25661" fmla="*/ 7646991 w 10505529"/>
              <a:gd name="connsiteY25661" fmla="*/ 3063272 h 7458372"/>
              <a:gd name="connsiteX25662" fmla="*/ 7429345 w 10505529"/>
              <a:gd name="connsiteY25662" fmla="*/ 3063272 h 7458372"/>
              <a:gd name="connsiteX25663" fmla="*/ 7419361 w 10505529"/>
              <a:gd name="connsiteY25663" fmla="*/ 3066867 h 7458372"/>
              <a:gd name="connsiteX25664" fmla="*/ 7415768 w 10505529"/>
              <a:gd name="connsiteY25664" fmla="*/ 3076318 h 7458372"/>
              <a:gd name="connsiteX25665" fmla="*/ 7419361 w 10505529"/>
              <a:gd name="connsiteY25665" fmla="*/ 3085769 h 7458372"/>
              <a:gd name="connsiteX25666" fmla="*/ 7429345 w 10505529"/>
              <a:gd name="connsiteY25666" fmla="*/ 3089230 h 7458372"/>
              <a:gd name="connsiteX25667" fmla="*/ 7434670 w 10505529"/>
              <a:gd name="connsiteY25667" fmla="*/ 3088298 h 7458372"/>
              <a:gd name="connsiteX25668" fmla="*/ 7438397 w 10505529"/>
              <a:gd name="connsiteY25668" fmla="*/ 3085902 h 7458372"/>
              <a:gd name="connsiteX25669" fmla="*/ 7441059 w 10505529"/>
              <a:gd name="connsiteY25669" fmla="*/ 3081776 h 7458372"/>
              <a:gd name="connsiteX25670" fmla="*/ 7442124 w 10505529"/>
              <a:gd name="connsiteY25670" fmla="*/ 3076318 h 7458372"/>
              <a:gd name="connsiteX25671" fmla="*/ 7441059 w 10505529"/>
              <a:gd name="connsiteY25671" fmla="*/ 3071126 h 7458372"/>
              <a:gd name="connsiteX25672" fmla="*/ 7438397 w 10505529"/>
              <a:gd name="connsiteY25672" fmla="*/ 3066867 h 7458372"/>
              <a:gd name="connsiteX25673" fmla="*/ 7434403 w 10505529"/>
              <a:gd name="connsiteY25673" fmla="*/ 3064204 h 7458372"/>
              <a:gd name="connsiteX25674" fmla="*/ 7429345 w 10505529"/>
              <a:gd name="connsiteY25674" fmla="*/ 3063272 h 7458372"/>
              <a:gd name="connsiteX25675" fmla="*/ 7211701 w 10505529"/>
              <a:gd name="connsiteY25675" fmla="*/ 3063272 h 7458372"/>
              <a:gd name="connsiteX25676" fmla="*/ 7201717 w 10505529"/>
              <a:gd name="connsiteY25676" fmla="*/ 3066867 h 7458372"/>
              <a:gd name="connsiteX25677" fmla="*/ 7198123 w 10505529"/>
              <a:gd name="connsiteY25677" fmla="*/ 3076318 h 7458372"/>
              <a:gd name="connsiteX25678" fmla="*/ 7201717 w 10505529"/>
              <a:gd name="connsiteY25678" fmla="*/ 3085769 h 7458372"/>
              <a:gd name="connsiteX25679" fmla="*/ 7211701 w 10505529"/>
              <a:gd name="connsiteY25679" fmla="*/ 3089230 h 7458372"/>
              <a:gd name="connsiteX25680" fmla="*/ 7217026 w 10505529"/>
              <a:gd name="connsiteY25680" fmla="*/ 3088298 h 7458372"/>
              <a:gd name="connsiteX25681" fmla="*/ 7220752 w 10505529"/>
              <a:gd name="connsiteY25681" fmla="*/ 3085902 h 7458372"/>
              <a:gd name="connsiteX25682" fmla="*/ 7223415 w 10505529"/>
              <a:gd name="connsiteY25682" fmla="*/ 3081776 h 7458372"/>
              <a:gd name="connsiteX25683" fmla="*/ 7224480 w 10505529"/>
              <a:gd name="connsiteY25683" fmla="*/ 3076318 h 7458372"/>
              <a:gd name="connsiteX25684" fmla="*/ 7223415 w 10505529"/>
              <a:gd name="connsiteY25684" fmla="*/ 3071126 h 7458372"/>
              <a:gd name="connsiteX25685" fmla="*/ 7220752 w 10505529"/>
              <a:gd name="connsiteY25685" fmla="*/ 3066867 h 7458372"/>
              <a:gd name="connsiteX25686" fmla="*/ 7216759 w 10505529"/>
              <a:gd name="connsiteY25686" fmla="*/ 3064204 h 7458372"/>
              <a:gd name="connsiteX25687" fmla="*/ 7211701 w 10505529"/>
              <a:gd name="connsiteY25687" fmla="*/ 3063272 h 7458372"/>
              <a:gd name="connsiteX25688" fmla="*/ 6994056 w 10505529"/>
              <a:gd name="connsiteY25688" fmla="*/ 3063272 h 7458372"/>
              <a:gd name="connsiteX25689" fmla="*/ 6984072 w 10505529"/>
              <a:gd name="connsiteY25689" fmla="*/ 3066867 h 7458372"/>
              <a:gd name="connsiteX25690" fmla="*/ 6980478 w 10505529"/>
              <a:gd name="connsiteY25690" fmla="*/ 3076318 h 7458372"/>
              <a:gd name="connsiteX25691" fmla="*/ 6984072 w 10505529"/>
              <a:gd name="connsiteY25691" fmla="*/ 3085769 h 7458372"/>
              <a:gd name="connsiteX25692" fmla="*/ 6994056 w 10505529"/>
              <a:gd name="connsiteY25692" fmla="*/ 3089230 h 7458372"/>
              <a:gd name="connsiteX25693" fmla="*/ 6999380 w 10505529"/>
              <a:gd name="connsiteY25693" fmla="*/ 3088298 h 7458372"/>
              <a:gd name="connsiteX25694" fmla="*/ 7003107 w 10505529"/>
              <a:gd name="connsiteY25694" fmla="*/ 3085902 h 7458372"/>
              <a:gd name="connsiteX25695" fmla="*/ 7005769 w 10505529"/>
              <a:gd name="connsiteY25695" fmla="*/ 3081776 h 7458372"/>
              <a:gd name="connsiteX25696" fmla="*/ 7006834 w 10505529"/>
              <a:gd name="connsiteY25696" fmla="*/ 3076318 h 7458372"/>
              <a:gd name="connsiteX25697" fmla="*/ 7005769 w 10505529"/>
              <a:gd name="connsiteY25697" fmla="*/ 3071126 h 7458372"/>
              <a:gd name="connsiteX25698" fmla="*/ 7003107 w 10505529"/>
              <a:gd name="connsiteY25698" fmla="*/ 3066867 h 7458372"/>
              <a:gd name="connsiteX25699" fmla="*/ 6999113 w 10505529"/>
              <a:gd name="connsiteY25699" fmla="*/ 3064204 h 7458372"/>
              <a:gd name="connsiteX25700" fmla="*/ 6994056 w 10505529"/>
              <a:gd name="connsiteY25700" fmla="*/ 3063272 h 7458372"/>
              <a:gd name="connsiteX25701" fmla="*/ 6776544 w 10505529"/>
              <a:gd name="connsiteY25701" fmla="*/ 3063272 h 7458372"/>
              <a:gd name="connsiteX25702" fmla="*/ 6766560 w 10505529"/>
              <a:gd name="connsiteY25702" fmla="*/ 3066867 h 7458372"/>
              <a:gd name="connsiteX25703" fmla="*/ 6762966 w 10505529"/>
              <a:gd name="connsiteY25703" fmla="*/ 3076318 h 7458372"/>
              <a:gd name="connsiteX25704" fmla="*/ 6766560 w 10505529"/>
              <a:gd name="connsiteY25704" fmla="*/ 3085769 h 7458372"/>
              <a:gd name="connsiteX25705" fmla="*/ 6776544 w 10505529"/>
              <a:gd name="connsiteY25705" fmla="*/ 3089230 h 7458372"/>
              <a:gd name="connsiteX25706" fmla="*/ 6781869 w 10505529"/>
              <a:gd name="connsiteY25706" fmla="*/ 3088298 h 7458372"/>
              <a:gd name="connsiteX25707" fmla="*/ 6785595 w 10505529"/>
              <a:gd name="connsiteY25707" fmla="*/ 3085902 h 7458372"/>
              <a:gd name="connsiteX25708" fmla="*/ 6788258 w 10505529"/>
              <a:gd name="connsiteY25708" fmla="*/ 3081776 h 7458372"/>
              <a:gd name="connsiteX25709" fmla="*/ 6789323 w 10505529"/>
              <a:gd name="connsiteY25709" fmla="*/ 3076318 h 7458372"/>
              <a:gd name="connsiteX25710" fmla="*/ 6788258 w 10505529"/>
              <a:gd name="connsiteY25710" fmla="*/ 3071126 h 7458372"/>
              <a:gd name="connsiteX25711" fmla="*/ 6785595 w 10505529"/>
              <a:gd name="connsiteY25711" fmla="*/ 3066867 h 7458372"/>
              <a:gd name="connsiteX25712" fmla="*/ 6781602 w 10505529"/>
              <a:gd name="connsiteY25712" fmla="*/ 3064204 h 7458372"/>
              <a:gd name="connsiteX25713" fmla="*/ 6776544 w 10505529"/>
              <a:gd name="connsiteY25713" fmla="*/ 3063272 h 7458372"/>
              <a:gd name="connsiteX25714" fmla="*/ 6558899 w 10505529"/>
              <a:gd name="connsiteY25714" fmla="*/ 3063272 h 7458372"/>
              <a:gd name="connsiteX25715" fmla="*/ 6548915 w 10505529"/>
              <a:gd name="connsiteY25715" fmla="*/ 3066867 h 7458372"/>
              <a:gd name="connsiteX25716" fmla="*/ 6545321 w 10505529"/>
              <a:gd name="connsiteY25716" fmla="*/ 3076318 h 7458372"/>
              <a:gd name="connsiteX25717" fmla="*/ 6548915 w 10505529"/>
              <a:gd name="connsiteY25717" fmla="*/ 3085769 h 7458372"/>
              <a:gd name="connsiteX25718" fmla="*/ 6558899 w 10505529"/>
              <a:gd name="connsiteY25718" fmla="*/ 3089230 h 7458372"/>
              <a:gd name="connsiteX25719" fmla="*/ 6564223 w 10505529"/>
              <a:gd name="connsiteY25719" fmla="*/ 3088298 h 7458372"/>
              <a:gd name="connsiteX25720" fmla="*/ 6567950 w 10505529"/>
              <a:gd name="connsiteY25720" fmla="*/ 3085902 h 7458372"/>
              <a:gd name="connsiteX25721" fmla="*/ 6570612 w 10505529"/>
              <a:gd name="connsiteY25721" fmla="*/ 3081776 h 7458372"/>
              <a:gd name="connsiteX25722" fmla="*/ 6571677 w 10505529"/>
              <a:gd name="connsiteY25722" fmla="*/ 3076318 h 7458372"/>
              <a:gd name="connsiteX25723" fmla="*/ 6570612 w 10505529"/>
              <a:gd name="connsiteY25723" fmla="*/ 3071126 h 7458372"/>
              <a:gd name="connsiteX25724" fmla="*/ 6567950 w 10505529"/>
              <a:gd name="connsiteY25724" fmla="*/ 3066867 h 7458372"/>
              <a:gd name="connsiteX25725" fmla="*/ 6563956 w 10505529"/>
              <a:gd name="connsiteY25725" fmla="*/ 3064204 h 7458372"/>
              <a:gd name="connsiteX25726" fmla="*/ 6558899 w 10505529"/>
              <a:gd name="connsiteY25726" fmla="*/ 3063272 h 7458372"/>
              <a:gd name="connsiteX25727" fmla="*/ 6341253 w 10505529"/>
              <a:gd name="connsiteY25727" fmla="*/ 3063272 h 7458372"/>
              <a:gd name="connsiteX25728" fmla="*/ 6331270 w 10505529"/>
              <a:gd name="connsiteY25728" fmla="*/ 3066867 h 7458372"/>
              <a:gd name="connsiteX25729" fmla="*/ 6327675 w 10505529"/>
              <a:gd name="connsiteY25729" fmla="*/ 3076318 h 7458372"/>
              <a:gd name="connsiteX25730" fmla="*/ 6331270 w 10505529"/>
              <a:gd name="connsiteY25730" fmla="*/ 3085769 h 7458372"/>
              <a:gd name="connsiteX25731" fmla="*/ 6341253 w 10505529"/>
              <a:gd name="connsiteY25731" fmla="*/ 3089230 h 7458372"/>
              <a:gd name="connsiteX25732" fmla="*/ 6346578 w 10505529"/>
              <a:gd name="connsiteY25732" fmla="*/ 3088298 h 7458372"/>
              <a:gd name="connsiteX25733" fmla="*/ 6350305 w 10505529"/>
              <a:gd name="connsiteY25733" fmla="*/ 3085902 h 7458372"/>
              <a:gd name="connsiteX25734" fmla="*/ 6352968 w 10505529"/>
              <a:gd name="connsiteY25734" fmla="*/ 3081776 h 7458372"/>
              <a:gd name="connsiteX25735" fmla="*/ 6354033 w 10505529"/>
              <a:gd name="connsiteY25735" fmla="*/ 3076318 h 7458372"/>
              <a:gd name="connsiteX25736" fmla="*/ 6352968 w 10505529"/>
              <a:gd name="connsiteY25736" fmla="*/ 3071126 h 7458372"/>
              <a:gd name="connsiteX25737" fmla="*/ 6350305 w 10505529"/>
              <a:gd name="connsiteY25737" fmla="*/ 3066867 h 7458372"/>
              <a:gd name="connsiteX25738" fmla="*/ 6346312 w 10505529"/>
              <a:gd name="connsiteY25738" fmla="*/ 3064204 h 7458372"/>
              <a:gd name="connsiteX25739" fmla="*/ 6341253 w 10505529"/>
              <a:gd name="connsiteY25739" fmla="*/ 3063272 h 7458372"/>
              <a:gd name="connsiteX25740" fmla="*/ 6123608 w 10505529"/>
              <a:gd name="connsiteY25740" fmla="*/ 3063272 h 7458372"/>
              <a:gd name="connsiteX25741" fmla="*/ 6113624 w 10505529"/>
              <a:gd name="connsiteY25741" fmla="*/ 3066867 h 7458372"/>
              <a:gd name="connsiteX25742" fmla="*/ 6110030 w 10505529"/>
              <a:gd name="connsiteY25742" fmla="*/ 3076318 h 7458372"/>
              <a:gd name="connsiteX25743" fmla="*/ 6113624 w 10505529"/>
              <a:gd name="connsiteY25743" fmla="*/ 3085769 h 7458372"/>
              <a:gd name="connsiteX25744" fmla="*/ 6123608 w 10505529"/>
              <a:gd name="connsiteY25744" fmla="*/ 3089230 h 7458372"/>
              <a:gd name="connsiteX25745" fmla="*/ 6128932 w 10505529"/>
              <a:gd name="connsiteY25745" fmla="*/ 3088298 h 7458372"/>
              <a:gd name="connsiteX25746" fmla="*/ 6132659 w 10505529"/>
              <a:gd name="connsiteY25746" fmla="*/ 3085902 h 7458372"/>
              <a:gd name="connsiteX25747" fmla="*/ 6135322 w 10505529"/>
              <a:gd name="connsiteY25747" fmla="*/ 3081776 h 7458372"/>
              <a:gd name="connsiteX25748" fmla="*/ 6136387 w 10505529"/>
              <a:gd name="connsiteY25748" fmla="*/ 3076318 h 7458372"/>
              <a:gd name="connsiteX25749" fmla="*/ 6135322 w 10505529"/>
              <a:gd name="connsiteY25749" fmla="*/ 3071126 h 7458372"/>
              <a:gd name="connsiteX25750" fmla="*/ 6132659 w 10505529"/>
              <a:gd name="connsiteY25750" fmla="*/ 3066867 h 7458372"/>
              <a:gd name="connsiteX25751" fmla="*/ 6128666 w 10505529"/>
              <a:gd name="connsiteY25751" fmla="*/ 3064204 h 7458372"/>
              <a:gd name="connsiteX25752" fmla="*/ 6123608 w 10505529"/>
              <a:gd name="connsiteY25752" fmla="*/ 3063272 h 7458372"/>
              <a:gd name="connsiteX25753" fmla="*/ 5905963 w 10505529"/>
              <a:gd name="connsiteY25753" fmla="*/ 3063272 h 7458372"/>
              <a:gd name="connsiteX25754" fmla="*/ 5895979 w 10505529"/>
              <a:gd name="connsiteY25754" fmla="*/ 3066867 h 7458372"/>
              <a:gd name="connsiteX25755" fmla="*/ 5892385 w 10505529"/>
              <a:gd name="connsiteY25755" fmla="*/ 3076318 h 7458372"/>
              <a:gd name="connsiteX25756" fmla="*/ 5895979 w 10505529"/>
              <a:gd name="connsiteY25756" fmla="*/ 3085769 h 7458372"/>
              <a:gd name="connsiteX25757" fmla="*/ 5905963 w 10505529"/>
              <a:gd name="connsiteY25757" fmla="*/ 3089230 h 7458372"/>
              <a:gd name="connsiteX25758" fmla="*/ 5911287 w 10505529"/>
              <a:gd name="connsiteY25758" fmla="*/ 3088298 h 7458372"/>
              <a:gd name="connsiteX25759" fmla="*/ 5915014 w 10505529"/>
              <a:gd name="connsiteY25759" fmla="*/ 3085902 h 7458372"/>
              <a:gd name="connsiteX25760" fmla="*/ 5917677 w 10505529"/>
              <a:gd name="connsiteY25760" fmla="*/ 3081776 h 7458372"/>
              <a:gd name="connsiteX25761" fmla="*/ 5918742 w 10505529"/>
              <a:gd name="connsiteY25761" fmla="*/ 3076318 h 7458372"/>
              <a:gd name="connsiteX25762" fmla="*/ 5917677 w 10505529"/>
              <a:gd name="connsiteY25762" fmla="*/ 3071126 h 7458372"/>
              <a:gd name="connsiteX25763" fmla="*/ 5915014 w 10505529"/>
              <a:gd name="connsiteY25763" fmla="*/ 3066867 h 7458372"/>
              <a:gd name="connsiteX25764" fmla="*/ 5911021 w 10505529"/>
              <a:gd name="connsiteY25764" fmla="*/ 3064204 h 7458372"/>
              <a:gd name="connsiteX25765" fmla="*/ 5905963 w 10505529"/>
              <a:gd name="connsiteY25765" fmla="*/ 3063272 h 7458372"/>
              <a:gd name="connsiteX25766" fmla="*/ 5688451 w 10505529"/>
              <a:gd name="connsiteY25766" fmla="*/ 3063272 h 7458372"/>
              <a:gd name="connsiteX25767" fmla="*/ 5678467 w 10505529"/>
              <a:gd name="connsiteY25767" fmla="*/ 3066867 h 7458372"/>
              <a:gd name="connsiteX25768" fmla="*/ 5674873 w 10505529"/>
              <a:gd name="connsiteY25768" fmla="*/ 3076318 h 7458372"/>
              <a:gd name="connsiteX25769" fmla="*/ 5678467 w 10505529"/>
              <a:gd name="connsiteY25769" fmla="*/ 3085769 h 7458372"/>
              <a:gd name="connsiteX25770" fmla="*/ 5688451 w 10505529"/>
              <a:gd name="connsiteY25770" fmla="*/ 3089230 h 7458372"/>
              <a:gd name="connsiteX25771" fmla="*/ 5693775 w 10505529"/>
              <a:gd name="connsiteY25771" fmla="*/ 3088298 h 7458372"/>
              <a:gd name="connsiteX25772" fmla="*/ 5697502 w 10505529"/>
              <a:gd name="connsiteY25772" fmla="*/ 3085902 h 7458372"/>
              <a:gd name="connsiteX25773" fmla="*/ 5700165 w 10505529"/>
              <a:gd name="connsiteY25773" fmla="*/ 3081776 h 7458372"/>
              <a:gd name="connsiteX25774" fmla="*/ 5701230 w 10505529"/>
              <a:gd name="connsiteY25774" fmla="*/ 3076318 h 7458372"/>
              <a:gd name="connsiteX25775" fmla="*/ 5700165 w 10505529"/>
              <a:gd name="connsiteY25775" fmla="*/ 3071126 h 7458372"/>
              <a:gd name="connsiteX25776" fmla="*/ 5697502 w 10505529"/>
              <a:gd name="connsiteY25776" fmla="*/ 3066867 h 7458372"/>
              <a:gd name="connsiteX25777" fmla="*/ 5693509 w 10505529"/>
              <a:gd name="connsiteY25777" fmla="*/ 3064204 h 7458372"/>
              <a:gd name="connsiteX25778" fmla="*/ 5688451 w 10505529"/>
              <a:gd name="connsiteY25778" fmla="*/ 3063272 h 7458372"/>
              <a:gd name="connsiteX25779" fmla="*/ 5470806 w 10505529"/>
              <a:gd name="connsiteY25779" fmla="*/ 3063272 h 7458372"/>
              <a:gd name="connsiteX25780" fmla="*/ 5460822 w 10505529"/>
              <a:gd name="connsiteY25780" fmla="*/ 3066867 h 7458372"/>
              <a:gd name="connsiteX25781" fmla="*/ 5457228 w 10505529"/>
              <a:gd name="connsiteY25781" fmla="*/ 3076318 h 7458372"/>
              <a:gd name="connsiteX25782" fmla="*/ 5460822 w 10505529"/>
              <a:gd name="connsiteY25782" fmla="*/ 3085769 h 7458372"/>
              <a:gd name="connsiteX25783" fmla="*/ 5470806 w 10505529"/>
              <a:gd name="connsiteY25783" fmla="*/ 3089230 h 7458372"/>
              <a:gd name="connsiteX25784" fmla="*/ 5476130 w 10505529"/>
              <a:gd name="connsiteY25784" fmla="*/ 3088298 h 7458372"/>
              <a:gd name="connsiteX25785" fmla="*/ 5479857 w 10505529"/>
              <a:gd name="connsiteY25785" fmla="*/ 3085902 h 7458372"/>
              <a:gd name="connsiteX25786" fmla="*/ 5482520 w 10505529"/>
              <a:gd name="connsiteY25786" fmla="*/ 3081776 h 7458372"/>
              <a:gd name="connsiteX25787" fmla="*/ 5483585 w 10505529"/>
              <a:gd name="connsiteY25787" fmla="*/ 3076318 h 7458372"/>
              <a:gd name="connsiteX25788" fmla="*/ 5482520 w 10505529"/>
              <a:gd name="connsiteY25788" fmla="*/ 3071126 h 7458372"/>
              <a:gd name="connsiteX25789" fmla="*/ 5479857 w 10505529"/>
              <a:gd name="connsiteY25789" fmla="*/ 3066867 h 7458372"/>
              <a:gd name="connsiteX25790" fmla="*/ 5475864 w 10505529"/>
              <a:gd name="connsiteY25790" fmla="*/ 3064204 h 7458372"/>
              <a:gd name="connsiteX25791" fmla="*/ 5470806 w 10505529"/>
              <a:gd name="connsiteY25791" fmla="*/ 3063272 h 7458372"/>
              <a:gd name="connsiteX25792" fmla="*/ 5253160 w 10505529"/>
              <a:gd name="connsiteY25792" fmla="*/ 3063272 h 7458372"/>
              <a:gd name="connsiteX25793" fmla="*/ 5243177 w 10505529"/>
              <a:gd name="connsiteY25793" fmla="*/ 3066867 h 7458372"/>
              <a:gd name="connsiteX25794" fmla="*/ 5239583 w 10505529"/>
              <a:gd name="connsiteY25794" fmla="*/ 3076318 h 7458372"/>
              <a:gd name="connsiteX25795" fmla="*/ 5243177 w 10505529"/>
              <a:gd name="connsiteY25795" fmla="*/ 3085769 h 7458372"/>
              <a:gd name="connsiteX25796" fmla="*/ 5253160 w 10505529"/>
              <a:gd name="connsiteY25796" fmla="*/ 3089230 h 7458372"/>
              <a:gd name="connsiteX25797" fmla="*/ 5258485 w 10505529"/>
              <a:gd name="connsiteY25797" fmla="*/ 3088298 h 7458372"/>
              <a:gd name="connsiteX25798" fmla="*/ 5262212 w 10505529"/>
              <a:gd name="connsiteY25798" fmla="*/ 3085902 h 7458372"/>
              <a:gd name="connsiteX25799" fmla="*/ 5264875 w 10505529"/>
              <a:gd name="connsiteY25799" fmla="*/ 3081776 h 7458372"/>
              <a:gd name="connsiteX25800" fmla="*/ 5265939 w 10505529"/>
              <a:gd name="connsiteY25800" fmla="*/ 3076318 h 7458372"/>
              <a:gd name="connsiteX25801" fmla="*/ 5264875 w 10505529"/>
              <a:gd name="connsiteY25801" fmla="*/ 3071126 h 7458372"/>
              <a:gd name="connsiteX25802" fmla="*/ 5262212 w 10505529"/>
              <a:gd name="connsiteY25802" fmla="*/ 3066867 h 7458372"/>
              <a:gd name="connsiteX25803" fmla="*/ 5258219 w 10505529"/>
              <a:gd name="connsiteY25803" fmla="*/ 3064204 h 7458372"/>
              <a:gd name="connsiteX25804" fmla="*/ 5253160 w 10505529"/>
              <a:gd name="connsiteY25804" fmla="*/ 3063272 h 7458372"/>
              <a:gd name="connsiteX25805" fmla="*/ 5035515 w 10505529"/>
              <a:gd name="connsiteY25805" fmla="*/ 3063272 h 7458372"/>
              <a:gd name="connsiteX25806" fmla="*/ 5025532 w 10505529"/>
              <a:gd name="connsiteY25806" fmla="*/ 3066867 h 7458372"/>
              <a:gd name="connsiteX25807" fmla="*/ 5021938 w 10505529"/>
              <a:gd name="connsiteY25807" fmla="*/ 3076318 h 7458372"/>
              <a:gd name="connsiteX25808" fmla="*/ 5025532 w 10505529"/>
              <a:gd name="connsiteY25808" fmla="*/ 3085769 h 7458372"/>
              <a:gd name="connsiteX25809" fmla="*/ 5035515 w 10505529"/>
              <a:gd name="connsiteY25809" fmla="*/ 3089230 h 7458372"/>
              <a:gd name="connsiteX25810" fmla="*/ 5040840 w 10505529"/>
              <a:gd name="connsiteY25810" fmla="*/ 3088298 h 7458372"/>
              <a:gd name="connsiteX25811" fmla="*/ 5044567 w 10505529"/>
              <a:gd name="connsiteY25811" fmla="*/ 3085902 h 7458372"/>
              <a:gd name="connsiteX25812" fmla="*/ 5047230 w 10505529"/>
              <a:gd name="connsiteY25812" fmla="*/ 3081776 h 7458372"/>
              <a:gd name="connsiteX25813" fmla="*/ 5048294 w 10505529"/>
              <a:gd name="connsiteY25813" fmla="*/ 3076318 h 7458372"/>
              <a:gd name="connsiteX25814" fmla="*/ 5047230 w 10505529"/>
              <a:gd name="connsiteY25814" fmla="*/ 3071126 h 7458372"/>
              <a:gd name="connsiteX25815" fmla="*/ 5044567 w 10505529"/>
              <a:gd name="connsiteY25815" fmla="*/ 3066867 h 7458372"/>
              <a:gd name="connsiteX25816" fmla="*/ 5040574 w 10505529"/>
              <a:gd name="connsiteY25816" fmla="*/ 3064204 h 7458372"/>
              <a:gd name="connsiteX25817" fmla="*/ 5035515 w 10505529"/>
              <a:gd name="connsiteY25817" fmla="*/ 3063272 h 7458372"/>
              <a:gd name="connsiteX25818" fmla="*/ 4817870 w 10505529"/>
              <a:gd name="connsiteY25818" fmla="*/ 3063272 h 7458372"/>
              <a:gd name="connsiteX25819" fmla="*/ 4807887 w 10505529"/>
              <a:gd name="connsiteY25819" fmla="*/ 3066867 h 7458372"/>
              <a:gd name="connsiteX25820" fmla="*/ 4804293 w 10505529"/>
              <a:gd name="connsiteY25820" fmla="*/ 3076318 h 7458372"/>
              <a:gd name="connsiteX25821" fmla="*/ 4807887 w 10505529"/>
              <a:gd name="connsiteY25821" fmla="*/ 3085769 h 7458372"/>
              <a:gd name="connsiteX25822" fmla="*/ 4817870 w 10505529"/>
              <a:gd name="connsiteY25822" fmla="*/ 3089230 h 7458372"/>
              <a:gd name="connsiteX25823" fmla="*/ 4823195 w 10505529"/>
              <a:gd name="connsiteY25823" fmla="*/ 3088298 h 7458372"/>
              <a:gd name="connsiteX25824" fmla="*/ 4826922 w 10505529"/>
              <a:gd name="connsiteY25824" fmla="*/ 3085902 h 7458372"/>
              <a:gd name="connsiteX25825" fmla="*/ 4829585 w 10505529"/>
              <a:gd name="connsiteY25825" fmla="*/ 3081776 h 7458372"/>
              <a:gd name="connsiteX25826" fmla="*/ 4830650 w 10505529"/>
              <a:gd name="connsiteY25826" fmla="*/ 3076318 h 7458372"/>
              <a:gd name="connsiteX25827" fmla="*/ 4829585 w 10505529"/>
              <a:gd name="connsiteY25827" fmla="*/ 3071126 h 7458372"/>
              <a:gd name="connsiteX25828" fmla="*/ 4826922 w 10505529"/>
              <a:gd name="connsiteY25828" fmla="*/ 3066867 h 7458372"/>
              <a:gd name="connsiteX25829" fmla="*/ 4822929 w 10505529"/>
              <a:gd name="connsiteY25829" fmla="*/ 3064204 h 7458372"/>
              <a:gd name="connsiteX25830" fmla="*/ 4817870 w 10505529"/>
              <a:gd name="connsiteY25830" fmla="*/ 3063272 h 7458372"/>
              <a:gd name="connsiteX25831" fmla="*/ 4600226 w 10505529"/>
              <a:gd name="connsiteY25831" fmla="*/ 3063272 h 7458372"/>
              <a:gd name="connsiteX25832" fmla="*/ 4590242 w 10505529"/>
              <a:gd name="connsiteY25832" fmla="*/ 3066867 h 7458372"/>
              <a:gd name="connsiteX25833" fmla="*/ 4586648 w 10505529"/>
              <a:gd name="connsiteY25833" fmla="*/ 3076318 h 7458372"/>
              <a:gd name="connsiteX25834" fmla="*/ 4590242 w 10505529"/>
              <a:gd name="connsiteY25834" fmla="*/ 3085769 h 7458372"/>
              <a:gd name="connsiteX25835" fmla="*/ 4600226 w 10505529"/>
              <a:gd name="connsiteY25835" fmla="*/ 3089230 h 7458372"/>
              <a:gd name="connsiteX25836" fmla="*/ 4605550 w 10505529"/>
              <a:gd name="connsiteY25836" fmla="*/ 3088298 h 7458372"/>
              <a:gd name="connsiteX25837" fmla="*/ 4609277 w 10505529"/>
              <a:gd name="connsiteY25837" fmla="*/ 3085902 h 7458372"/>
              <a:gd name="connsiteX25838" fmla="*/ 4611940 w 10505529"/>
              <a:gd name="connsiteY25838" fmla="*/ 3081776 h 7458372"/>
              <a:gd name="connsiteX25839" fmla="*/ 4613005 w 10505529"/>
              <a:gd name="connsiteY25839" fmla="*/ 3076318 h 7458372"/>
              <a:gd name="connsiteX25840" fmla="*/ 4611940 w 10505529"/>
              <a:gd name="connsiteY25840" fmla="*/ 3071126 h 7458372"/>
              <a:gd name="connsiteX25841" fmla="*/ 4609277 w 10505529"/>
              <a:gd name="connsiteY25841" fmla="*/ 3066867 h 7458372"/>
              <a:gd name="connsiteX25842" fmla="*/ 4605284 w 10505529"/>
              <a:gd name="connsiteY25842" fmla="*/ 3064204 h 7458372"/>
              <a:gd name="connsiteX25843" fmla="*/ 4600226 w 10505529"/>
              <a:gd name="connsiteY25843" fmla="*/ 3063272 h 7458372"/>
              <a:gd name="connsiteX25844" fmla="*/ 4382713 w 10505529"/>
              <a:gd name="connsiteY25844" fmla="*/ 3063272 h 7458372"/>
              <a:gd name="connsiteX25845" fmla="*/ 4372730 w 10505529"/>
              <a:gd name="connsiteY25845" fmla="*/ 3066867 h 7458372"/>
              <a:gd name="connsiteX25846" fmla="*/ 4369136 w 10505529"/>
              <a:gd name="connsiteY25846" fmla="*/ 3076318 h 7458372"/>
              <a:gd name="connsiteX25847" fmla="*/ 4372730 w 10505529"/>
              <a:gd name="connsiteY25847" fmla="*/ 3085769 h 7458372"/>
              <a:gd name="connsiteX25848" fmla="*/ 4382713 w 10505529"/>
              <a:gd name="connsiteY25848" fmla="*/ 3089230 h 7458372"/>
              <a:gd name="connsiteX25849" fmla="*/ 4388038 w 10505529"/>
              <a:gd name="connsiteY25849" fmla="*/ 3088298 h 7458372"/>
              <a:gd name="connsiteX25850" fmla="*/ 4391765 w 10505529"/>
              <a:gd name="connsiteY25850" fmla="*/ 3085902 h 7458372"/>
              <a:gd name="connsiteX25851" fmla="*/ 4394428 w 10505529"/>
              <a:gd name="connsiteY25851" fmla="*/ 3081776 h 7458372"/>
              <a:gd name="connsiteX25852" fmla="*/ 4395493 w 10505529"/>
              <a:gd name="connsiteY25852" fmla="*/ 3076318 h 7458372"/>
              <a:gd name="connsiteX25853" fmla="*/ 4394428 w 10505529"/>
              <a:gd name="connsiteY25853" fmla="*/ 3071126 h 7458372"/>
              <a:gd name="connsiteX25854" fmla="*/ 4391765 w 10505529"/>
              <a:gd name="connsiteY25854" fmla="*/ 3066867 h 7458372"/>
              <a:gd name="connsiteX25855" fmla="*/ 4387772 w 10505529"/>
              <a:gd name="connsiteY25855" fmla="*/ 3064204 h 7458372"/>
              <a:gd name="connsiteX25856" fmla="*/ 4382713 w 10505529"/>
              <a:gd name="connsiteY25856" fmla="*/ 3063272 h 7458372"/>
              <a:gd name="connsiteX25857" fmla="*/ 4165068 w 10505529"/>
              <a:gd name="connsiteY25857" fmla="*/ 3063272 h 7458372"/>
              <a:gd name="connsiteX25858" fmla="*/ 4155084 w 10505529"/>
              <a:gd name="connsiteY25858" fmla="*/ 3066867 h 7458372"/>
              <a:gd name="connsiteX25859" fmla="*/ 4151490 w 10505529"/>
              <a:gd name="connsiteY25859" fmla="*/ 3076318 h 7458372"/>
              <a:gd name="connsiteX25860" fmla="*/ 4155084 w 10505529"/>
              <a:gd name="connsiteY25860" fmla="*/ 3085769 h 7458372"/>
              <a:gd name="connsiteX25861" fmla="*/ 4165068 w 10505529"/>
              <a:gd name="connsiteY25861" fmla="*/ 3089230 h 7458372"/>
              <a:gd name="connsiteX25862" fmla="*/ 4170392 w 10505529"/>
              <a:gd name="connsiteY25862" fmla="*/ 3088298 h 7458372"/>
              <a:gd name="connsiteX25863" fmla="*/ 4174119 w 10505529"/>
              <a:gd name="connsiteY25863" fmla="*/ 3085902 h 7458372"/>
              <a:gd name="connsiteX25864" fmla="*/ 4176782 w 10505529"/>
              <a:gd name="connsiteY25864" fmla="*/ 3081776 h 7458372"/>
              <a:gd name="connsiteX25865" fmla="*/ 4177847 w 10505529"/>
              <a:gd name="connsiteY25865" fmla="*/ 3076318 h 7458372"/>
              <a:gd name="connsiteX25866" fmla="*/ 4176782 w 10505529"/>
              <a:gd name="connsiteY25866" fmla="*/ 3071126 h 7458372"/>
              <a:gd name="connsiteX25867" fmla="*/ 4174119 w 10505529"/>
              <a:gd name="connsiteY25867" fmla="*/ 3066867 h 7458372"/>
              <a:gd name="connsiteX25868" fmla="*/ 4170126 w 10505529"/>
              <a:gd name="connsiteY25868" fmla="*/ 3064204 h 7458372"/>
              <a:gd name="connsiteX25869" fmla="*/ 4165068 w 10505529"/>
              <a:gd name="connsiteY25869" fmla="*/ 3063272 h 7458372"/>
              <a:gd name="connsiteX25870" fmla="*/ 3947593 w 10505529"/>
              <a:gd name="connsiteY25870" fmla="*/ 3063272 h 7458372"/>
              <a:gd name="connsiteX25871" fmla="*/ 3937610 w 10505529"/>
              <a:gd name="connsiteY25871" fmla="*/ 3066867 h 7458372"/>
              <a:gd name="connsiteX25872" fmla="*/ 3934015 w 10505529"/>
              <a:gd name="connsiteY25872" fmla="*/ 3076318 h 7458372"/>
              <a:gd name="connsiteX25873" fmla="*/ 3937610 w 10505529"/>
              <a:gd name="connsiteY25873" fmla="*/ 3085769 h 7458372"/>
              <a:gd name="connsiteX25874" fmla="*/ 3947593 w 10505529"/>
              <a:gd name="connsiteY25874" fmla="*/ 3089230 h 7458372"/>
              <a:gd name="connsiteX25875" fmla="*/ 3952920 w 10505529"/>
              <a:gd name="connsiteY25875" fmla="*/ 3088298 h 7458372"/>
              <a:gd name="connsiteX25876" fmla="*/ 3956646 w 10505529"/>
              <a:gd name="connsiteY25876" fmla="*/ 3085902 h 7458372"/>
              <a:gd name="connsiteX25877" fmla="*/ 3959309 w 10505529"/>
              <a:gd name="connsiteY25877" fmla="*/ 3081776 h 7458372"/>
              <a:gd name="connsiteX25878" fmla="*/ 3960374 w 10505529"/>
              <a:gd name="connsiteY25878" fmla="*/ 3076318 h 7458372"/>
              <a:gd name="connsiteX25879" fmla="*/ 3959309 w 10505529"/>
              <a:gd name="connsiteY25879" fmla="*/ 3071126 h 7458372"/>
              <a:gd name="connsiteX25880" fmla="*/ 3956646 w 10505529"/>
              <a:gd name="connsiteY25880" fmla="*/ 3066867 h 7458372"/>
              <a:gd name="connsiteX25881" fmla="*/ 3952653 w 10505529"/>
              <a:gd name="connsiteY25881" fmla="*/ 3064204 h 7458372"/>
              <a:gd name="connsiteX25882" fmla="*/ 3947593 w 10505529"/>
              <a:gd name="connsiteY25882" fmla="*/ 3063272 h 7458372"/>
              <a:gd name="connsiteX25883" fmla="*/ 3729940 w 10505529"/>
              <a:gd name="connsiteY25883" fmla="*/ 3063272 h 7458372"/>
              <a:gd name="connsiteX25884" fmla="*/ 3719954 w 10505529"/>
              <a:gd name="connsiteY25884" fmla="*/ 3066867 h 7458372"/>
              <a:gd name="connsiteX25885" fmla="*/ 3716362 w 10505529"/>
              <a:gd name="connsiteY25885" fmla="*/ 3076318 h 7458372"/>
              <a:gd name="connsiteX25886" fmla="*/ 3719954 w 10505529"/>
              <a:gd name="connsiteY25886" fmla="*/ 3085769 h 7458372"/>
              <a:gd name="connsiteX25887" fmla="*/ 3729940 w 10505529"/>
              <a:gd name="connsiteY25887" fmla="*/ 3089230 h 7458372"/>
              <a:gd name="connsiteX25888" fmla="*/ 3735265 w 10505529"/>
              <a:gd name="connsiteY25888" fmla="*/ 3088298 h 7458372"/>
              <a:gd name="connsiteX25889" fmla="*/ 3738992 w 10505529"/>
              <a:gd name="connsiteY25889" fmla="*/ 3085902 h 7458372"/>
              <a:gd name="connsiteX25890" fmla="*/ 3741655 w 10505529"/>
              <a:gd name="connsiteY25890" fmla="*/ 3081776 h 7458372"/>
              <a:gd name="connsiteX25891" fmla="*/ 3742720 w 10505529"/>
              <a:gd name="connsiteY25891" fmla="*/ 3076318 h 7458372"/>
              <a:gd name="connsiteX25892" fmla="*/ 3741655 w 10505529"/>
              <a:gd name="connsiteY25892" fmla="*/ 3071126 h 7458372"/>
              <a:gd name="connsiteX25893" fmla="*/ 3738992 w 10505529"/>
              <a:gd name="connsiteY25893" fmla="*/ 3066867 h 7458372"/>
              <a:gd name="connsiteX25894" fmla="*/ 3734999 w 10505529"/>
              <a:gd name="connsiteY25894" fmla="*/ 3064204 h 7458372"/>
              <a:gd name="connsiteX25895" fmla="*/ 3729940 w 10505529"/>
              <a:gd name="connsiteY25895" fmla="*/ 3063272 h 7458372"/>
              <a:gd name="connsiteX25896" fmla="*/ 3512286 w 10505529"/>
              <a:gd name="connsiteY25896" fmla="*/ 3063272 h 7458372"/>
              <a:gd name="connsiteX25897" fmla="*/ 3502299 w 10505529"/>
              <a:gd name="connsiteY25897" fmla="*/ 3066867 h 7458372"/>
              <a:gd name="connsiteX25898" fmla="*/ 3498706 w 10505529"/>
              <a:gd name="connsiteY25898" fmla="*/ 3076318 h 7458372"/>
              <a:gd name="connsiteX25899" fmla="*/ 3502299 w 10505529"/>
              <a:gd name="connsiteY25899" fmla="*/ 3085769 h 7458372"/>
              <a:gd name="connsiteX25900" fmla="*/ 3512286 w 10505529"/>
              <a:gd name="connsiteY25900" fmla="*/ 3089230 h 7458372"/>
              <a:gd name="connsiteX25901" fmla="*/ 3517611 w 10505529"/>
              <a:gd name="connsiteY25901" fmla="*/ 3088298 h 7458372"/>
              <a:gd name="connsiteX25902" fmla="*/ 3521339 w 10505529"/>
              <a:gd name="connsiteY25902" fmla="*/ 3085902 h 7458372"/>
              <a:gd name="connsiteX25903" fmla="*/ 3524002 w 10505529"/>
              <a:gd name="connsiteY25903" fmla="*/ 3081776 h 7458372"/>
              <a:gd name="connsiteX25904" fmla="*/ 3525067 w 10505529"/>
              <a:gd name="connsiteY25904" fmla="*/ 3076318 h 7458372"/>
              <a:gd name="connsiteX25905" fmla="*/ 3524002 w 10505529"/>
              <a:gd name="connsiteY25905" fmla="*/ 3071126 h 7458372"/>
              <a:gd name="connsiteX25906" fmla="*/ 3521339 w 10505529"/>
              <a:gd name="connsiteY25906" fmla="*/ 3066867 h 7458372"/>
              <a:gd name="connsiteX25907" fmla="*/ 3517346 w 10505529"/>
              <a:gd name="connsiteY25907" fmla="*/ 3064204 h 7458372"/>
              <a:gd name="connsiteX25908" fmla="*/ 3512286 w 10505529"/>
              <a:gd name="connsiteY25908" fmla="*/ 3063272 h 7458372"/>
              <a:gd name="connsiteX25909" fmla="*/ 3294765 w 10505529"/>
              <a:gd name="connsiteY25909" fmla="*/ 3063272 h 7458372"/>
              <a:gd name="connsiteX25910" fmla="*/ 3284780 w 10505529"/>
              <a:gd name="connsiteY25910" fmla="*/ 3066867 h 7458372"/>
              <a:gd name="connsiteX25911" fmla="*/ 3281186 w 10505529"/>
              <a:gd name="connsiteY25911" fmla="*/ 3076318 h 7458372"/>
              <a:gd name="connsiteX25912" fmla="*/ 3284780 w 10505529"/>
              <a:gd name="connsiteY25912" fmla="*/ 3085769 h 7458372"/>
              <a:gd name="connsiteX25913" fmla="*/ 3294765 w 10505529"/>
              <a:gd name="connsiteY25913" fmla="*/ 3089230 h 7458372"/>
              <a:gd name="connsiteX25914" fmla="*/ 3300091 w 10505529"/>
              <a:gd name="connsiteY25914" fmla="*/ 3088298 h 7458372"/>
              <a:gd name="connsiteX25915" fmla="*/ 3303818 w 10505529"/>
              <a:gd name="connsiteY25915" fmla="*/ 3085902 h 7458372"/>
              <a:gd name="connsiteX25916" fmla="*/ 3306481 w 10505529"/>
              <a:gd name="connsiteY25916" fmla="*/ 3081776 h 7458372"/>
              <a:gd name="connsiteX25917" fmla="*/ 3307545 w 10505529"/>
              <a:gd name="connsiteY25917" fmla="*/ 3076318 h 7458372"/>
              <a:gd name="connsiteX25918" fmla="*/ 3306481 w 10505529"/>
              <a:gd name="connsiteY25918" fmla="*/ 3071126 h 7458372"/>
              <a:gd name="connsiteX25919" fmla="*/ 3303818 w 10505529"/>
              <a:gd name="connsiteY25919" fmla="*/ 3066867 h 7458372"/>
              <a:gd name="connsiteX25920" fmla="*/ 3299825 w 10505529"/>
              <a:gd name="connsiteY25920" fmla="*/ 3064204 h 7458372"/>
              <a:gd name="connsiteX25921" fmla="*/ 3294765 w 10505529"/>
              <a:gd name="connsiteY25921" fmla="*/ 3063272 h 7458372"/>
              <a:gd name="connsiteX25922" fmla="*/ 3077245 w 10505529"/>
              <a:gd name="connsiteY25922" fmla="*/ 3063272 h 7458372"/>
              <a:gd name="connsiteX25923" fmla="*/ 3067262 w 10505529"/>
              <a:gd name="connsiteY25923" fmla="*/ 3066867 h 7458372"/>
              <a:gd name="connsiteX25924" fmla="*/ 3063532 w 10505529"/>
              <a:gd name="connsiteY25924" fmla="*/ 3076318 h 7458372"/>
              <a:gd name="connsiteX25925" fmla="*/ 3067127 w 10505529"/>
              <a:gd name="connsiteY25925" fmla="*/ 3085769 h 7458372"/>
              <a:gd name="connsiteX25926" fmla="*/ 3077111 w 10505529"/>
              <a:gd name="connsiteY25926" fmla="*/ 3089230 h 7458372"/>
              <a:gd name="connsiteX25927" fmla="*/ 3082569 w 10505529"/>
              <a:gd name="connsiteY25927" fmla="*/ 3088298 h 7458372"/>
              <a:gd name="connsiteX25928" fmla="*/ 3086297 w 10505529"/>
              <a:gd name="connsiteY25928" fmla="*/ 3085902 h 7458372"/>
              <a:gd name="connsiteX25929" fmla="*/ 3088959 w 10505529"/>
              <a:gd name="connsiteY25929" fmla="*/ 3081776 h 7458372"/>
              <a:gd name="connsiteX25930" fmla="*/ 3089892 w 10505529"/>
              <a:gd name="connsiteY25930" fmla="*/ 3076318 h 7458372"/>
              <a:gd name="connsiteX25931" fmla="*/ 3088959 w 10505529"/>
              <a:gd name="connsiteY25931" fmla="*/ 3071126 h 7458372"/>
              <a:gd name="connsiteX25932" fmla="*/ 3086297 w 10505529"/>
              <a:gd name="connsiteY25932" fmla="*/ 3066867 h 7458372"/>
              <a:gd name="connsiteX25933" fmla="*/ 3082304 w 10505529"/>
              <a:gd name="connsiteY25933" fmla="*/ 3064204 h 7458372"/>
              <a:gd name="connsiteX25934" fmla="*/ 3077245 w 10505529"/>
              <a:gd name="connsiteY25934" fmla="*/ 3063272 h 7458372"/>
              <a:gd name="connsiteX25935" fmla="*/ 2859458 w 10505529"/>
              <a:gd name="connsiteY25935" fmla="*/ 3063272 h 7458372"/>
              <a:gd name="connsiteX25936" fmla="*/ 2849472 w 10505529"/>
              <a:gd name="connsiteY25936" fmla="*/ 3066867 h 7458372"/>
              <a:gd name="connsiteX25937" fmla="*/ 2845877 w 10505529"/>
              <a:gd name="connsiteY25937" fmla="*/ 3076318 h 7458372"/>
              <a:gd name="connsiteX25938" fmla="*/ 2849472 w 10505529"/>
              <a:gd name="connsiteY25938" fmla="*/ 3085769 h 7458372"/>
              <a:gd name="connsiteX25939" fmla="*/ 2859458 w 10505529"/>
              <a:gd name="connsiteY25939" fmla="*/ 3089230 h 7458372"/>
              <a:gd name="connsiteX25940" fmla="*/ 2864783 w 10505529"/>
              <a:gd name="connsiteY25940" fmla="*/ 3088298 h 7458372"/>
              <a:gd name="connsiteX25941" fmla="*/ 2868510 w 10505529"/>
              <a:gd name="connsiteY25941" fmla="*/ 3085902 h 7458372"/>
              <a:gd name="connsiteX25942" fmla="*/ 2871173 w 10505529"/>
              <a:gd name="connsiteY25942" fmla="*/ 3081776 h 7458372"/>
              <a:gd name="connsiteX25943" fmla="*/ 2872104 w 10505529"/>
              <a:gd name="connsiteY25943" fmla="*/ 3076318 h 7458372"/>
              <a:gd name="connsiteX25944" fmla="*/ 2871173 w 10505529"/>
              <a:gd name="connsiteY25944" fmla="*/ 3071126 h 7458372"/>
              <a:gd name="connsiteX25945" fmla="*/ 2868510 w 10505529"/>
              <a:gd name="connsiteY25945" fmla="*/ 3066867 h 7458372"/>
              <a:gd name="connsiteX25946" fmla="*/ 2864517 w 10505529"/>
              <a:gd name="connsiteY25946" fmla="*/ 3064204 h 7458372"/>
              <a:gd name="connsiteX25947" fmla="*/ 2859458 w 10505529"/>
              <a:gd name="connsiteY25947" fmla="*/ 3063272 h 7458372"/>
              <a:gd name="connsiteX25948" fmla="*/ 2641803 w 10505529"/>
              <a:gd name="connsiteY25948" fmla="*/ 3063272 h 7458372"/>
              <a:gd name="connsiteX25949" fmla="*/ 2631821 w 10505529"/>
              <a:gd name="connsiteY25949" fmla="*/ 3066867 h 7458372"/>
              <a:gd name="connsiteX25950" fmla="*/ 2628226 w 10505529"/>
              <a:gd name="connsiteY25950" fmla="*/ 3076318 h 7458372"/>
              <a:gd name="connsiteX25951" fmla="*/ 2631821 w 10505529"/>
              <a:gd name="connsiteY25951" fmla="*/ 3085769 h 7458372"/>
              <a:gd name="connsiteX25952" fmla="*/ 2641803 w 10505529"/>
              <a:gd name="connsiteY25952" fmla="*/ 3089230 h 7458372"/>
              <a:gd name="connsiteX25953" fmla="*/ 2647129 w 10505529"/>
              <a:gd name="connsiteY25953" fmla="*/ 3088298 h 7458372"/>
              <a:gd name="connsiteX25954" fmla="*/ 2650856 w 10505529"/>
              <a:gd name="connsiteY25954" fmla="*/ 3085902 h 7458372"/>
              <a:gd name="connsiteX25955" fmla="*/ 2653519 w 10505529"/>
              <a:gd name="connsiteY25955" fmla="*/ 3081776 h 7458372"/>
              <a:gd name="connsiteX25956" fmla="*/ 2654450 w 10505529"/>
              <a:gd name="connsiteY25956" fmla="*/ 3076318 h 7458372"/>
              <a:gd name="connsiteX25957" fmla="*/ 2653519 w 10505529"/>
              <a:gd name="connsiteY25957" fmla="*/ 3071126 h 7458372"/>
              <a:gd name="connsiteX25958" fmla="*/ 2650856 w 10505529"/>
              <a:gd name="connsiteY25958" fmla="*/ 3066867 h 7458372"/>
              <a:gd name="connsiteX25959" fmla="*/ 2646863 w 10505529"/>
              <a:gd name="connsiteY25959" fmla="*/ 3064204 h 7458372"/>
              <a:gd name="connsiteX25960" fmla="*/ 2641803 w 10505529"/>
              <a:gd name="connsiteY25960" fmla="*/ 3063272 h 7458372"/>
              <a:gd name="connsiteX25961" fmla="*/ 2424149 w 10505529"/>
              <a:gd name="connsiteY25961" fmla="*/ 3063272 h 7458372"/>
              <a:gd name="connsiteX25962" fmla="*/ 2414166 w 10505529"/>
              <a:gd name="connsiteY25962" fmla="*/ 3066867 h 7458372"/>
              <a:gd name="connsiteX25963" fmla="*/ 2410572 w 10505529"/>
              <a:gd name="connsiteY25963" fmla="*/ 3076318 h 7458372"/>
              <a:gd name="connsiteX25964" fmla="*/ 2414166 w 10505529"/>
              <a:gd name="connsiteY25964" fmla="*/ 3085769 h 7458372"/>
              <a:gd name="connsiteX25965" fmla="*/ 2424149 w 10505529"/>
              <a:gd name="connsiteY25965" fmla="*/ 3089230 h 7458372"/>
              <a:gd name="connsiteX25966" fmla="*/ 2429475 w 10505529"/>
              <a:gd name="connsiteY25966" fmla="*/ 3088298 h 7458372"/>
              <a:gd name="connsiteX25967" fmla="*/ 2433202 w 10505529"/>
              <a:gd name="connsiteY25967" fmla="*/ 3085902 h 7458372"/>
              <a:gd name="connsiteX25968" fmla="*/ 2435865 w 10505529"/>
              <a:gd name="connsiteY25968" fmla="*/ 3081776 h 7458372"/>
              <a:gd name="connsiteX25969" fmla="*/ 2436796 w 10505529"/>
              <a:gd name="connsiteY25969" fmla="*/ 3076318 h 7458372"/>
              <a:gd name="connsiteX25970" fmla="*/ 2435865 w 10505529"/>
              <a:gd name="connsiteY25970" fmla="*/ 3071126 h 7458372"/>
              <a:gd name="connsiteX25971" fmla="*/ 2433202 w 10505529"/>
              <a:gd name="connsiteY25971" fmla="*/ 3066867 h 7458372"/>
              <a:gd name="connsiteX25972" fmla="*/ 2429209 w 10505529"/>
              <a:gd name="connsiteY25972" fmla="*/ 3064204 h 7458372"/>
              <a:gd name="connsiteX25973" fmla="*/ 2424149 w 10505529"/>
              <a:gd name="connsiteY25973" fmla="*/ 3063272 h 7458372"/>
              <a:gd name="connsiteX25974" fmla="*/ 2206496 w 10505529"/>
              <a:gd name="connsiteY25974" fmla="*/ 3063272 h 7458372"/>
              <a:gd name="connsiteX25975" fmla="*/ 2196512 w 10505529"/>
              <a:gd name="connsiteY25975" fmla="*/ 3066867 h 7458372"/>
              <a:gd name="connsiteX25976" fmla="*/ 2192918 w 10505529"/>
              <a:gd name="connsiteY25976" fmla="*/ 3076318 h 7458372"/>
              <a:gd name="connsiteX25977" fmla="*/ 2196512 w 10505529"/>
              <a:gd name="connsiteY25977" fmla="*/ 3085769 h 7458372"/>
              <a:gd name="connsiteX25978" fmla="*/ 2206496 w 10505529"/>
              <a:gd name="connsiteY25978" fmla="*/ 3089230 h 7458372"/>
              <a:gd name="connsiteX25979" fmla="*/ 2211821 w 10505529"/>
              <a:gd name="connsiteY25979" fmla="*/ 3088298 h 7458372"/>
              <a:gd name="connsiteX25980" fmla="*/ 2215548 w 10505529"/>
              <a:gd name="connsiteY25980" fmla="*/ 3085902 h 7458372"/>
              <a:gd name="connsiteX25981" fmla="*/ 2218211 w 10505529"/>
              <a:gd name="connsiteY25981" fmla="*/ 3081776 h 7458372"/>
              <a:gd name="connsiteX25982" fmla="*/ 2219142 w 10505529"/>
              <a:gd name="connsiteY25982" fmla="*/ 3076318 h 7458372"/>
              <a:gd name="connsiteX25983" fmla="*/ 2218211 w 10505529"/>
              <a:gd name="connsiteY25983" fmla="*/ 3071126 h 7458372"/>
              <a:gd name="connsiteX25984" fmla="*/ 2215548 w 10505529"/>
              <a:gd name="connsiteY25984" fmla="*/ 3066867 h 7458372"/>
              <a:gd name="connsiteX25985" fmla="*/ 2211555 w 10505529"/>
              <a:gd name="connsiteY25985" fmla="*/ 3064204 h 7458372"/>
              <a:gd name="connsiteX25986" fmla="*/ 2206496 w 10505529"/>
              <a:gd name="connsiteY25986" fmla="*/ 3063272 h 7458372"/>
              <a:gd name="connsiteX25987" fmla="*/ 1988975 w 10505529"/>
              <a:gd name="connsiteY25987" fmla="*/ 3063272 h 7458372"/>
              <a:gd name="connsiteX25988" fmla="*/ 1978992 w 10505529"/>
              <a:gd name="connsiteY25988" fmla="*/ 3066867 h 7458372"/>
              <a:gd name="connsiteX25989" fmla="*/ 1975397 w 10505529"/>
              <a:gd name="connsiteY25989" fmla="*/ 3076318 h 7458372"/>
              <a:gd name="connsiteX25990" fmla="*/ 1978992 w 10505529"/>
              <a:gd name="connsiteY25990" fmla="*/ 3085769 h 7458372"/>
              <a:gd name="connsiteX25991" fmla="*/ 1988975 w 10505529"/>
              <a:gd name="connsiteY25991" fmla="*/ 3089230 h 7458372"/>
              <a:gd name="connsiteX25992" fmla="*/ 1994299 w 10505529"/>
              <a:gd name="connsiteY25992" fmla="*/ 3088298 h 7458372"/>
              <a:gd name="connsiteX25993" fmla="*/ 1998027 w 10505529"/>
              <a:gd name="connsiteY25993" fmla="*/ 3085902 h 7458372"/>
              <a:gd name="connsiteX25994" fmla="*/ 2000690 w 10505529"/>
              <a:gd name="connsiteY25994" fmla="*/ 3081776 h 7458372"/>
              <a:gd name="connsiteX25995" fmla="*/ 2001620 w 10505529"/>
              <a:gd name="connsiteY25995" fmla="*/ 3076318 h 7458372"/>
              <a:gd name="connsiteX25996" fmla="*/ 2000690 w 10505529"/>
              <a:gd name="connsiteY25996" fmla="*/ 3071126 h 7458372"/>
              <a:gd name="connsiteX25997" fmla="*/ 1998027 w 10505529"/>
              <a:gd name="connsiteY25997" fmla="*/ 3066867 h 7458372"/>
              <a:gd name="connsiteX25998" fmla="*/ 1994033 w 10505529"/>
              <a:gd name="connsiteY25998" fmla="*/ 3064204 h 7458372"/>
              <a:gd name="connsiteX25999" fmla="*/ 1988975 w 10505529"/>
              <a:gd name="connsiteY25999" fmla="*/ 3063272 h 7458372"/>
              <a:gd name="connsiteX26000" fmla="*/ 1771336 w 10505529"/>
              <a:gd name="connsiteY26000" fmla="*/ 3063272 h 7458372"/>
              <a:gd name="connsiteX26001" fmla="*/ 1761353 w 10505529"/>
              <a:gd name="connsiteY26001" fmla="*/ 3066867 h 7458372"/>
              <a:gd name="connsiteX26002" fmla="*/ 1757759 w 10505529"/>
              <a:gd name="connsiteY26002" fmla="*/ 3076318 h 7458372"/>
              <a:gd name="connsiteX26003" fmla="*/ 1761353 w 10505529"/>
              <a:gd name="connsiteY26003" fmla="*/ 3085769 h 7458372"/>
              <a:gd name="connsiteX26004" fmla="*/ 1771336 w 10505529"/>
              <a:gd name="connsiteY26004" fmla="*/ 3089230 h 7458372"/>
              <a:gd name="connsiteX26005" fmla="*/ 1776661 w 10505529"/>
              <a:gd name="connsiteY26005" fmla="*/ 3088298 h 7458372"/>
              <a:gd name="connsiteX26006" fmla="*/ 1780388 w 10505529"/>
              <a:gd name="connsiteY26006" fmla="*/ 3085902 h 7458372"/>
              <a:gd name="connsiteX26007" fmla="*/ 1783050 w 10505529"/>
              <a:gd name="connsiteY26007" fmla="*/ 3081776 h 7458372"/>
              <a:gd name="connsiteX26008" fmla="*/ 1784115 w 10505529"/>
              <a:gd name="connsiteY26008" fmla="*/ 3076318 h 7458372"/>
              <a:gd name="connsiteX26009" fmla="*/ 1783050 w 10505529"/>
              <a:gd name="connsiteY26009" fmla="*/ 3071126 h 7458372"/>
              <a:gd name="connsiteX26010" fmla="*/ 1780388 w 10505529"/>
              <a:gd name="connsiteY26010" fmla="*/ 3066867 h 7458372"/>
              <a:gd name="connsiteX26011" fmla="*/ 1776395 w 10505529"/>
              <a:gd name="connsiteY26011" fmla="*/ 3064204 h 7458372"/>
              <a:gd name="connsiteX26012" fmla="*/ 1771336 w 10505529"/>
              <a:gd name="connsiteY26012" fmla="*/ 3063272 h 7458372"/>
              <a:gd name="connsiteX26013" fmla="*/ 1553695 w 10505529"/>
              <a:gd name="connsiteY26013" fmla="*/ 3063272 h 7458372"/>
              <a:gd name="connsiteX26014" fmla="*/ 1543712 w 10505529"/>
              <a:gd name="connsiteY26014" fmla="*/ 3066867 h 7458372"/>
              <a:gd name="connsiteX26015" fmla="*/ 1540118 w 10505529"/>
              <a:gd name="connsiteY26015" fmla="*/ 3076318 h 7458372"/>
              <a:gd name="connsiteX26016" fmla="*/ 1543712 w 10505529"/>
              <a:gd name="connsiteY26016" fmla="*/ 3085769 h 7458372"/>
              <a:gd name="connsiteX26017" fmla="*/ 1553695 w 10505529"/>
              <a:gd name="connsiteY26017" fmla="*/ 3089230 h 7458372"/>
              <a:gd name="connsiteX26018" fmla="*/ 1559020 w 10505529"/>
              <a:gd name="connsiteY26018" fmla="*/ 3088298 h 7458372"/>
              <a:gd name="connsiteX26019" fmla="*/ 1562747 w 10505529"/>
              <a:gd name="connsiteY26019" fmla="*/ 3085902 h 7458372"/>
              <a:gd name="connsiteX26020" fmla="*/ 1565410 w 10505529"/>
              <a:gd name="connsiteY26020" fmla="*/ 3081776 h 7458372"/>
              <a:gd name="connsiteX26021" fmla="*/ 1566475 w 10505529"/>
              <a:gd name="connsiteY26021" fmla="*/ 3076318 h 7458372"/>
              <a:gd name="connsiteX26022" fmla="*/ 1565410 w 10505529"/>
              <a:gd name="connsiteY26022" fmla="*/ 3071126 h 7458372"/>
              <a:gd name="connsiteX26023" fmla="*/ 1562747 w 10505529"/>
              <a:gd name="connsiteY26023" fmla="*/ 3066867 h 7458372"/>
              <a:gd name="connsiteX26024" fmla="*/ 1558754 w 10505529"/>
              <a:gd name="connsiteY26024" fmla="*/ 3064204 h 7458372"/>
              <a:gd name="connsiteX26025" fmla="*/ 1553695 w 10505529"/>
              <a:gd name="connsiteY26025" fmla="*/ 3063272 h 7458372"/>
              <a:gd name="connsiteX26026" fmla="*/ 1336051 w 10505529"/>
              <a:gd name="connsiteY26026" fmla="*/ 3063272 h 7458372"/>
              <a:gd name="connsiteX26027" fmla="*/ 1326068 w 10505529"/>
              <a:gd name="connsiteY26027" fmla="*/ 3066867 h 7458372"/>
              <a:gd name="connsiteX26028" fmla="*/ 1322473 w 10505529"/>
              <a:gd name="connsiteY26028" fmla="*/ 3076318 h 7458372"/>
              <a:gd name="connsiteX26029" fmla="*/ 1326068 w 10505529"/>
              <a:gd name="connsiteY26029" fmla="*/ 3085769 h 7458372"/>
              <a:gd name="connsiteX26030" fmla="*/ 1336051 w 10505529"/>
              <a:gd name="connsiteY26030" fmla="*/ 3089230 h 7458372"/>
              <a:gd name="connsiteX26031" fmla="*/ 1341377 w 10505529"/>
              <a:gd name="connsiteY26031" fmla="*/ 3088298 h 7458372"/>
              <a:gd name="connsiteX26032" fmla="*/ 1345104 w 10505529"/>
              <a:gd name="connsiteY26032" fmla="*/ 3085902 h 7458372"/>
              <a:gd name="connsiteX26033" fmla="*/ 1347767 w 10505529"/>
              <a:gd name="connsiteY26033" fmla="*/ 3081776 h 7458372"/>
              <a:gd name="connsiteX26034" fmla="*/ 1348833 w 10505529"/>
              <a:gd name="connsiteY26034" fmla="*/ 3076318 h 7458372"/>
              <a:gd name="connsiteX26035" fmla="*/ 1347767 w 10505529"/>
              <a:gd name="connsiteY26035" fmla="*/ 3071126 h 7458372"/>
              <a:gd name="connsiteX26036" fmla="*/ 1345104 w 10505529"/>
              <a:gd name="connsiteY26036" fmla="*/ 3066867 h 7458372"/>
              <a:gd name="connsiteX26037" fmla="*/ 1341110 w 10505529"/>
              <a:gd name="connsiteY26037" fmla="*/ 3064204 h 7458372"/>
              <a:gd name="connsiteX26038" fmla="*/ 1336051 w 10505529"/>
              <a:gd name="connsiteY26038" fmla="*/ 3063272 h 7458372"/>
              <a:gd name="connsiteX26039" fmla="*/ 1118539 w 10505529"/>
              <a:gd name="connsiteY26039" fmla="*/ 3063272 h 7458372"/>
              <a:gd name="connsiteX26040" fmla="*/ 1108554 w 10505529"/>
              <a:gd name="connsiteY26040" fmla="*/ 3066867 h 7458372"/>
              <a:gd name="connsiteX26041" fmla="*/ 1104827 w 10505529"/>
              <a:gd name="connsiteY26041" fmla="*/ 3076318 h 7458372"/>
              <a:gd name="connsiteX26042" fmla="*/ 1108422 w 10505529"/>
              <a:gd name="connsiteY26042" fmla="*/ 3085769 h 7458372"/>
              <a:gd name="connsiteX26043" fmla="*/ 1118406 w 10505529"/>
              <a:gd name="connsiteY26043" fmla="*/ 3089230 h 7458372"/>
              <a:gd name="connsiteX26044" fmla="*/ 1123863 w 10505529"/>
              <a:gd name="connsiteY26044" fmla="*/ 3088298 h 7458372"/>
              <a:gd name="connsiteX26045" fmla="*/ 1127592 w 10505529"/>
              <a:gd name="connsiteY26045" fmla="*/ 3085902 h 7458372"/>
              <a:gd name="connsiteX26046" fmla="*/ 1130255 w 10505529"/>
              <a:gd name="connsiteY26046" fmla="*/ 3081776 h 7458372"/>
              <a:gd name="connsiteX26047" fmla="*/ 1131321 w 10505529"/>
              <a:gd name="connsiteY26047" fmla="*/ 3076318 h 7458372"/>
              <a:gd name="connsiteX26048" fmla="*/ 1130255 w 10505529"/>
              <a:gd name="connsiteY26048" fmla="*/ 3071126 h 7458372"/>
              <a:gd name="connsiteX26049" fmla="*/ 1127592 w 10505529"/>
              <a:gd name="connsiteY26049" fmla="*/ 3066867 h 7458372"/>
              <a:gd name="connsiteX26050" fmla="*/ 1123597 w 10505529"/>
              <a:gd name="connsiteY26050" fmla="*/ 3064204 h 7458372"/>
              <a:gd name="connsiteX26051" fmla="*/ 1118539 w 10505529"/>
              <a:gd name="connsiteY26051" fmla="*/ 3063272 h 7458372"/>
              <a:gd name="connsiteX26052" fmla="*/ 901027 w 10505529"/>
              <a:gd name="connsiteY26052" fmla="*/ 3063272 h 7458372"/>
              <a:gd name="connsiteX26053" fmla="*/ 891043 w 10505529"/>
              <a:gd name="connsiteY26053" fmla="*/ 3066867 h 7458372"/>
              <a:gd name="connsiteX26054" fmla="*/ 887316 w 10505529"/>
              <a:gd name="connsiteY26054" fmla="*/ 3076318 h 7458372"/>
              <a:gd name="connsiteX26055" fmla="*/ 890910 w 10505529"/>
              <a:gd name="connsiteY26055" fmla="*/ 3085769 h 7458372"/>
              <a:gd name="connsiteX26056" fmla="*/ 900893 w 10505529"/>
              <a:gd name="connsiteY26056" fmla="*/ 3089230 h 7458372"/>
              <a:gd name="connsiteX26057" fmla="*/ 906351 w 10505529"/>
              <a:gd name="connsiteY26057" fmla="*/ 3088298 h 7458372"/>
              <a:gd name="connsiteX26058" fmla="*/ 910080 w 10505529"/>
              <a:gd name="connsiteY26058" fmla="*/ 3085902 h 7458372"/>
              <a:gd name="connsiteX26059" fmla="*/ 912741 w 10505529"/>
              <a:gd name="connsiteY26059" fmla="*/ 3081776 h 7458372"/>
              <a:gd name="connsiteX26060" fmla="*/ 913807 w 10505529"/>
              <a:gd name="connsiteY26060" fmla="*/ 3076318 h 7458372"/>
              <a:gd name="connsiteX26061" fmla="*/ 912741 w 10505529"/>
              <a:gd name="connsiteY26061" fmla="*/ 3071126 h 7458372"/>
              <a:gd name="connsiteX26062" fmla="*/ 910080 w 10505529"/>
              <a:gd name="connsiteY26062" fmla="*/ 3066867 h 7458372"/>
              <a:gd name="connsiteX26063" fmla="*/ 906085 w 10505529"/>
              <a:gd name="connsiteY26063" fmla="*/ 3064204 h 7458372"/>
              <a:gd name="connsiteX26064" fmla="*/ 901027 w 10505529"/>
              <a:gd name="connsiteY26064" fmla="*/ 3063272 h 7458372"/>
              <a:gd name="connsiteX26065" fmla="*/ 683251 w 10505529"/>
              <a:gd name="connsiteY26065" fmla="*/ 3063272 h 7458372"/>
              <a:gd name="connsiteX26066" fmla="*/ 673268 w 10505529"/>
              <a:gd name="connsiteY26066" fmla="*/ 3066867 h 7458372"/>
              <a:gd name="connsiteX26067" fmla="*/ 669674 w 10505529"/>
              <a:gd name="connsiteY26067" fmla="*/ 3076318 h 7458372"/>
              <a:gd name="connsiteX26068" fmla="*/ 673268 w 10505529"/>
              <a:gd name="connsiteY26068" fmla="*/ 3085769 h 7458372"/>
              <a:gd name="connsiteX26069" fmla="*/ 683251 w 10505529"/>
              <a:gd name="connsiteY26069" fmla="*/ 3089230 h 7458372"/>
              <a:gd name="connsiteX26070" fmla="*/ 688576 w 10505529"/>
              <a:gd name="connsiteY26070" fmla="*/ 3088298 h 7458372"/>
              <a:gd name="connsiteX26071" fmla="*/ 692303 w 10505529"/>
              <a:gd name="connsiteY26071" fmla="*/ 3085902 h 7458372"/>
              <a:gd name="connsiteX26072" fmla="*/ 694966 w 10505529"/>
              <a:gd name="connsiteY26072" fmla="*/ 3081776 h 7458372"/>
              <a:gd name="connsiteX26073" fmla="*/ 696031 w 10505529"/>
              <a:gd name="connsiteY26073" fmla="*/ 3076318 h 7458372"/>
              <a:gd name="connsiteX26074" fmla="*/ 694966 w 10505529"/>
              <a:gd name="connsiteY26074" fmla="*/ 3071126 h 7458372"/>
              <a:gd name="connsiteX26075" fmla="*/ 692303 w 10505529"/>
              <a:gd name="connsiteY26075" fmla="*/ 3066867 h 7458372"/>
              <a:gd name="connsiteX26076" fmla="*/ 688310 w 10505529"/>
              <a:gd name="connsiteY26076" fmla="*/ 3064204 h 7458372"/>
              <a:gd name="connsiteX26077" fmla="*/ 683251 w 10505529"/>
              <a:gd name="connsiteY26077" fmla="*/ 3063272 h 7458372"/>
              <a:gd name="connsiteX26078" fmla="*/ 465608 w 10505529"/>
              <a:gd name="connsiteY26078" fmla="*/ 3063272 h 7458372"/>
              <a:gd name="connsiteX26079" fmla="*/ 455625 w 10505529"/>
              <a:gd name="connsiteY26079" fmla="*/ 3066867 h 7458372"/>
              <a:gd name="connsiteX26080" fmla="*/ 452031 w 10505529"/>
              <a:gd name="connsiteY26080" fmla="*/ 3076318 h 7458372"/>
              <a:gd name="connsiteX26081" fmla="*/ 455625 w 10505529"/>
              <a:gd name="connsiteY26081" fmla="*/ 3085769 h 7458372"/>
              <a:gd name="connsiteX26082" fmla="*/ 465608 w 10505529"/>
              <a:gd name="connsiteY26082" fmla="*/ 3089230 h 7458372"/>
              <a:gd name="connsiteX26083" fmla="*/ 470933 w 10505529"/>
              <a:gd name="connsiteY26083" fmla="*/ 3088298 h 7458372"/>
              <a:gd name="connsiteX26084" fmla="*/ 474660 w 10505529"/>
              <a:gd name="connsiteY26084" fmla="*/ 3085902 h 7458372"/>
              <a:gd name="connsiteX26085" fmla="*/ 477324 w 10505529"/>
              <a:gd name="connsiteY26085" fmla="*/ 3081776 h 7458372"/>
              <a:gd name="connsiteX26086" fmla="*/ 478388 w 10505529"/>
              <a:gd name="connsiteY26086" fmla="*/ 3076318 h 7458372"/>
              <a:gd name="connsiteX26087" fmla="*/ 477324 w 10505529"/>
              <a:gd name="connsiteY26087" fmla="*/ 3071126 h 7458372"/>
              <a:gd name="connsiteX26088" fmla="*/ 474660 w 10505529"/>
              <a:gd name="connsiteY26088" fmla="*/ 3066867 h 7458372"/>
              <a:gd name="connsiteX26089" fmla="*/ 470668 w 10505529"/>
              <a:gd name="connsiteY26089" fmla="*/ 3064204 h 7458372"/>
              <a:gd name="connsiteX26090" fmla="*/ 465608 w 10505529"/>
              <a:gd name="connsiteY26090" fmla="*/ 3063272 h 7458372"/>
              <a:gd name="connsiteX26091" fmla="*/ 247965 w 10505529"/>
              <a:gd name="connsiteY26091" fmla="*/ 3063272 h 7458372"/>
              <a:gd name="connsiteX26092" fmla="*/ 237983 w 10505529"/>
              <a:gd name="connsiteY26092" fmla="*/ 3066867 h 7458372"/>
              <a:gd name="connsiteX26093" fmla="*/ 234389 w 10505529"/>
              <a:gd name="connsiteY26093" fmla="*/ 3076318 h 7458372"/>
              <a:gd name="connsiteX26094" fmla="*/ 237983 w 10505529"/>
              <a:gd name="connsiteY26094" fmla="*/ 3085769 h 7458372"/>
              <a:gd name="connsiteX26095" fmla="*/ 247965 w 10505529"/>
              <a:gd name="connsiteY26095" fmla="*/ 3089230 h 7458372"/>
              <a:gd name="connsiteX26096" fmla="*/ 253290 w 10505529"/>
              <a:gd name="connsiteY26096" fmla="*/ 3088298 h 7458372"/>
              <a:gd name="connsiteX26097" fmla="*/ 257017 w 10505529"/>
              <a:gd name="connsiteY26097" fmla="*/ 3085902 h 7458372"/>
              <a:gd name="connsiteX26098" fmla="*/ 259680 w 10505529"/>
              <a:gd name="connsiteY26098" fmla="*/ 3081776 h 7458372"/>
              <a:gd name="connsiteX26099" fmla="*/ 260745 w 10505529"/>
              <a:gd name="connsiteY26099" fmla="*/ 3076318 h 7458372"/>
              <a:gd name="connsiteX26100" fmla="*/ 259680 w 10505529"/>
              <a:gd name="connsiteY26100" fmla="*/ 3071126 h 7458372"/>
              <a:gd name="connsiteX26101" fmla="*/ 257017 w 10505529"/>
              <a:gd name="connsiteY26101" fmla="*/ 3066867 h 7458372"/>
              <a:gd name="connsiteX26102" fmla="*/ 253024 w 10505529"/>
              <a:gd name="connsiteY26102" fmla="*/ 3064204 h 7458372"/>
              <a:gd name="connsiteX26103" fmla="*/ 247965 w 10505529"/>
              <a:gd name="connsiteY26103" fmla="*/ 3063272 h 7458372"/>
              <a:gd name="connsiteX26104" fmla="*/ 30322 w 10505529"/>
              <a:gd name="connsiteY26104" fmla="*/ 3063272 h 7458372"/>
              <a:gd name="connsiteX26105" fmla="*/ 20339 w 10505529"/>
              <a:gd name="connsiteY26105" fmla="*/ 3066867 h 7458372"/>
              <a:gd name="connsiteX26106" fmla="*/ 16745 w 10505529"/>
              <a:gd name="connsiteY26106" fmla="*/ 3076318 h 7458372"/>
              <a:gd name="connsiteX26107" fmla="*/ 20339 w 10505529"/>
              <a:gd name="connsiteY26107" fmla="*/ 3085769 h 7458372"/>
              <a:gd name="connsiteX26108" fmla="*/ 30322 w 10505529"/>
              <a:gd name="connsiteY26108" fmla="*/ 3089230 h 7458372"/>
              <a:gd name="connsiteX26109" fmla="*/ 35647 w 10505529"/>
              <a:gd name="connsiteY26109" fmla="*/ 3088298 h 7458372"/>
              <a:gd name="connsiteX26110" fmla="*/ 39374 w 10505529"/>
              <a:gd name="connsiteY26110" fmla="*/ 3085902 h 7458372"/>
              <a:gd name="connsiteX26111" fmla="*/ 42038 w 10505529"/>
              <a:gd name="connsiteY26111" fmla="*/ 3081776 h 7458372"/>
              <a:gd name="connsiteX26112" fmla="*/ 42969 w 10505529"/>
              <a:gd name="connsiteY26112" fmla="*/ 3076318 h 7458372"/>
              <a:gd name="connsiteX26113" fmla="*/ 42038 w 10505529"/>
              <a:gd name="connsiteY26113" fmla="*/ 3071126 h 7458372"/>
              <a:gd name="connsiteX26114" fmla="*/ 39374 w 10505529"/>
              <a:gd name="connsiteY26114" fmla="*/ 3066867 h 7458372"/>
              <a:gd name="connsiteX26115" fmla="*/ 35381 w 10505529"/>
              <a:gd name="connsiteY26115" fmla="*/ 3064204 h 7458372"/>
              <a:gd name="connsiteX26116" fmla="*/ 30322 w 10505529"/>
              <a:gd name="connsiteY26116" fmla="*/ 3063272 h 7458372"/>
              <a:gd name="connsiteX26117" fmla="*/ 10475977 w 10505529"/>
              <a:gd name="connsiteY26117" fmla="*/ 3046633 h 7458372"/>
              <a:gd name="connsiteX26118" fmla="*/ 10487824 w 10505529"/>
              <a:gd name="connsiteY26118" fmla="*/ 3049161 h 7458372"/>
              <a:gd name="connsiteX26119" fmla="*/ 10497143 w 10505529"/>
              <a:gd name="connsiteY26119" fmla="*/ 3055552 h 7458372"/>
              <a:gd name="connsiteX26120" fmla="*/ 10503266 w 10505529"/>
              <a:gd name="connsiteY26120" fmla="*/ 3065002 h 7458372"/>
              <a:gd name="connsiteX26121" fmla="*/ 10505529 w 10505529"/>
              <a:gd name="connsiteY26121" fmla="*/ 3076451 h 7458372"/>
              <a:gd name="connsiteX26122" fmla="*/ 10503266 w 10505529"/>
              <a:gd name="connsiteY26122" fmla="*/ 3088165 h 7458372"/>
              <a:gd name="connsiteX26123" fmla="*/ 10497143 w 10505529"/>
              <a:gd name="connsiteY26123" fmla="*/ 3097485 h 7458372"/>
              <a:gd name="connsiteX26124" fmla="*/ 10487824 w 10505529"/>
              <a:gd name="connsiteY26124" fmla="*/ 3103740 h 7458372"/>
              <a:gd name="connsiteX26125" fmla="*/ 10475977 w 10505529"/>
              <a:gd name="connsiteY26125" fmla="*/ 3106003 h 7458372"/>
              <a:gd name="connsiteX26126" fmla="*/ 10454145 w 10505529"/>
              <a:gd name="connsiteY26126" fmla="*/ 3097485 h 7458372"/>
              <a:gd name="connsiteX26127" fmla="*/ 10445759 w 10505529"/>
              <a:gd name="connsiteY26127" fmla="*/ 3076318 h 7458372"/>
              <a:gd name="connsiteX26128" fmla="*/ 10454145 w 10505529"/>
              <a:gd name="connsiteY26128" fmla="*/ 3055286 h 7458372"/>
              <a:gd name="connsiteX26129" fmla="*/ 10475977 w 10505529"/>
              <a:gd name="connsiteY26129" fmla="*/ 3046633 h 7458372"/>
              <a:gd name="connsiteX26130" fmla="*/ 10258466 w 10505529"/>
              <a:gd name="connsiteY26130" fmla="*/ 3046633 h 7458372"/>
              <a:gd name="connsiteX26131" fmla="*/ 10270313 w 10505529"/>
              <a:gd name="connsiteY26131" fmla="*/ 3049161 h 7458372"/>
              <a:gd name="connsiteX26132" fmla="*/ 10279631 w 10505529"/>
              <a:gd name="connsiteY26132" fmla="*/ 3055552 h 7458372"/>
              <a:gd name="connsiteX26133" fmla="*/ 10285754 w 10505529"/>
              <a:gd name="connsiteY26133" fmla="*/ 3065002 h 7458372"/>
              <a:gd name="connsiteX26134" fmla="*/ 10288017 w 10505529"/>
              <a:gd name="connsiteY26134" fmla="*/ 3076451 h 7458372"/>
              <a:gd name="connsiteX26135" fmla="*/ 10285754 w 10505529"/>
              <a:gd name="connsiteY26135" fmla="*/ 3088165 h 7458372"/>
              <a:gd name="connsiteX26136" fmla="*/ 10279631 w 10505529"/>
              <a:gd name="connsiteY26136" fmla="*/ 3097485 h 7458372"/>
              <a:gd name="connsiteX26137" fmla="*/ 10270313 w 10505529"/>
              <a:gd name="connsiteY26137" fmla="*/ 3103740 h 7458372"/>
              <a:gd name="connsiteX26138" fmla="*/ 10258466 w 10505529"/>
              <a:gd name="connsiteY26138" fmla="*/ 3106003 h 7458372"/>
              <a:gd name="connsiteX26139" fmla="*/ 10236633 w 10505529"/>
              <a:gd name="connsiteY26139" fmla="*/ 3097485 h 7458372"/>
              <a:gd name="connsiteX26140" fmla="*/ 10228247 w 10505529"/>
              <a:gd name="connsiteY26140" fmla="*/ 3076318 h 7458372"/>
              <a:gd name="connsiteX26141" fmla="*/ 10236633 w 10505529"/>
              <a:gd name="connsiteY26141" fmla="*/ 3055286 h 7458372"/>
              <a:gd name="connsiteX26142" fmla="*/ 10258466 w 10505529"/>
              <a:gd name="connsiteY26142" fmla="*/ 3046633 h 7458372"/>
              <a:gd name="connsiteX26143" fmla="*/ 10040820 w 10505529"/>
              <a:gd name="connsiteY26143" fmla="*/ 3046633 h 7458372"/>
              <a:gd name="connsiteX26144" fmla="*/ 10052534 w 10505529"/>
              <a:gd name="connsiteY26144" fmla="*/ 3049161 h 7458372"/>
              <a:gd name="connsiteX26145" fmla="*/ 10061852 w 10505529"/>
              <a:gd name="connsiteY26145" fmla="*/ 3055552 h 7458372"/>
              <a:gd name="connsiteX26146" fmla="*/ 10067976 w 10505529"/>
              <a:gd name="connsiteY26146" fmla="*/ 3065002 h 7458372"/>
              <a:gd name="connsiteX26147" fmla="*/ 10070239 w 10505529"/>
              <a:gd name="connsiteY26147" fmla="*/ 3076451 h 7458372"/>
              <a:gd name="connsiteX26148" fmla="*/ 10067976 w 10505529"/>
              <a:gd name="connsiteY26148" fmla="*/ 3088165 h 7458372"/>
              <a:gd name="connsiteX26149" fmla="*/ 10061852 w 10505529"/>
              <a:gd name="connsiteY26149" fmla="*/ 3097485 h 7458372"/>
              <a:gd name="connsiteX26150" fmla="*/ 10052534 w 10505529"/>
              <a:gd name="connsiteY26150" fmla="*/ 3103740 h 7458372"/>
              <a:gd name="connsiteX26151" fmla="*/ 10040820 w 10505529"/>
              <a:gd name="connsiteY26151" fmla="*/ 3106003 h 7458372"/>
              <a:gd name="connsiteX26152" fmla="*/ 10018988 w 10505529"/>
              <a:gd name="connsiteY26152" fmla="*/ 3097485 h 7458372"/>
              <a:gd name="connsiteX26153" fmla="*/ 10010602 w 10505529"/>
              <a:gd name="connsiteY26153" fmla="*/ 3076318 h 7458372"/>
              <a:gd name="connsiteX26154" fmla="*/ 10018988 w 10505529"/>
              <a:gd name="connsiteY26154" fmla="*/ 3055286 h 7458372"/>
              <a:gd name="connsiteX26155" fmla="*/ 10040820 w 10505529"/>
              <a:gd name="connsiteY26155" fmla="*/ 3046633 h 7458372"/>
              <a:gd name="connsiteX26156" fmla="*/ 9823176 w 10505529"/>
              <a:gd name="connsiteY26156" fmla="*/ 3046633 h 7458372"/>
              <a:gd name="connsiteX26157" fmla="*/ 9834890 w 10505529"/>
              <a:gd name="connsiteY26157" fmla="*/ 3049161 h 7458372"/>
              <a:gd name="connsiteX26158" fmla="*/ 9844208 w 10505529"/>
              <a:gd name="connsiteY26158" fmla="*/ 3055552 h 7458372"/>
              <a:gd name="connsiteX26159" fmla="*/ 9850331 w 10505529"/>
              <a:gd name="connsiteY26159" fmla="*/ 3065002 h 7458372"/>
              <a:gd name="connsiteX26160" fmla="*/ 9852595 w 10505529"/>
              <a:gd name="connsiteY26160" fmla="*/ 3076451 h 7458372"/>
              <a:gd name="connsiteX26161" fmla="*/ 9850331 w 10505529"/>
              <a:gd name="connsiteY26161" fmla="*/ 3088165 h 7458372"/>
              <a:gd name="connsiteX26162" fmla="*/ 9844208 w 10505529"/>
              <a:gd name="connsiteY26162" fmla="*/ 3097485 h 7458372"/>
              <a:gd name="connsiteX26163" fmla="*/ 9834890 w 10505529"/>
              <a:gd name="connsiteY26163" fmla="*/ 3103740 h 7458372"/>
              <a:gd name="connsiteX26164" fmla="*/ 9823176 w 10505529"/>
              <a:gd name="connsiteY26164" fmla="*/ 3106003 h 7458372"/>
              <a:gd name="connsiteX26165" fmla="*/ 9801343 w 10505529"/>
              <a:gd name="connsiteY26165" fmla="*/ 3097485 h 7458372"/>
              <a:gd name="connsiteX26166" fmla="*/ 9792957 w 10505529"/>
              <a:gd name="connsiteY26166" fmla="*/ 3076318 h 7458372"/>
              <a:gd name="connsiteX26167" fmla="*/ 9801343 w 10505529"/>
              <a:gd name="connsiteY26167" fmla="*/ 3055286 h 7458372"/>
              <a:gd name="connsiteX26168" fmla="*/ 9823176 w 10505529"/>
              <a:gd name="connsiteY26168" fmla="*/ 3046633 h 7458372"/>
              <a:gd name="connsiteX26169" fmla="*/ 9605531 w 10505529"/>
              <a:gd name="connsiteY26169" fmla="*/ 3046633 h 7458372"/>
              <a:gd name="connsiteX26170" fmla="*/ 9617245 w 10505529"/>
              <a:gd name="connsiteY26170" fmla="*/ 3049161 h 7458372"/>
              <a:gd name="connsiteX26171" fmla="*/ 9626562 w 10505529"/>
              <a:gd name="connsiteY26171" fmla="*/ 3055552 h 7458372"/>
              <a:gd name="connsiteX26172" fmla="*/ 9632686 w 10505529"/>
              <a:gd name="connsiteY26172" fmla="*/ 3065002 h 7458372"/>
              <a:gd name="connsiteX26173" fmla="*/ 9634949 w 10505529"/>
              <a:gd name="connsiteY26173" fmla="*/ 3076451 h 7458372"/>
              <a:gd name="connsiteX26174" fmla="*/ 9632686 w 10505529"/>
              <a:gd name="connsiteY26174" fmla="*/ 3088165 h 7458372"/>
              <a:gd name="connsiteX26175" fmla="*/ 9626562 w 10505529"/>
              <a:gd name="connsiteY26175" fmla="*/ 3097485 h 7458372"/>
              <a:gd name="connsiteX26176" fmla="*/ 9617245 w 10505529"/>
              <a:gd name="connsiteY26176" fmla="*/ 3103740 h 7458372"/>
              <a:gd name="connsiteX26177" fmla="*/ 9605531 w 10505529"/>
              <a:gd name="connsiteY26177" fmla="*/ 3106003 h 7458372"/>
              <a:gd name="connsiteX26178" fmla="*/ 9583698 w 10505529"/>
              <a:gd name="connsiteY26178" fmla="*/ 3097485 h 7458372"/>
              <a:gd name="connsiteX26179" fmla="*/ 9575312 w 10505529"/>
              <a:gd name="connsiteY26179" fmla="*/ 3076318 h 7458372"/>
              <a:gd name="connsiteX26180" fmla="*/ 9583698 w 10505529"/>
              <a:gd name="connsiteY26180" fmla="*/ 3055286 h 7458372"/>
              <a:gd name="connsiteX26181" fmla="*/ 9605531 w 10505529"/>
              <a:gd name="connsiteY26181" fmla="*/ 3046633 h 7458372"/>
              <a:gd name="connsiteX26182" fmla="*/ 9387885 w 10505529"/>
              <a:gd name="connsiteY26182" fmla="*/ 3046633 h 7458372"/>
              <a:gd name="connsiteX26183" fmla="*/ 9399599 w 10505529"/>
              <a:gd name="connsiteY26183" fmla="*/ 3049161 h 7458372"/>
              <a:gd name="connsiteX26184" fmla="*/ 9408917 w 10505529"/>
              <a:gd name="connsiteY26184" fmla="*/ 3055552 h 7458372"/>
              <a:gd name="connsiteX26185" fmla="*/ 9415041 w 10505529"/>
              <a:gd name="connsiteY26185" fmla="*/ 3065002 h 7458372"/>
              <a:gd name="connsiteX26186" fmla="*/ 9417304 w 10505529"/>
              <a:gd name="connsiteY26186" fmla="*/ 3076451 h 7458372"/>
              <a:gd name="connsiteX26187" fmla="*/ 9415041 w 10505529"/>
              <a:gd name="connsiteY26187" fmla="*/ 3088165 h 7458372"/>
              <a:gd name="connsiteX26188" fmla="*/ 9408917 w 10505529"/>
              <a:gd name="connsiteY26188" fmla="*/ 3097485 h 7458372"/>
              <a:gd name="connsiteX26189" fmla="*/ 9399599 w 10505529"/>
              <a:gd name="connsiteY26189" fmla="*/ 3103740 h 7458372"/>
              <a:gd name="connsiteX26190" fmla="*/ 9387885 w 10505529"/>
              <a:gd name="connsiteY26190" fmla="*/ 3106003 h 7458372"/>
              <a:gd name="connsiteX26191" fmla="*/ 9366053 w 10505529"/>
              <a:gd name="connsiteY26191" fmla="*/ 3097485 h 7458372"/>
              <a:gd name="connsiteX26192" fmla="*/ 9357667 w 10505529"/>
              <a:gd name="connsiteY26192" fmla="*/ 3076318 h 7458372"/>
              <a:gd name="connsiteX26193" fmla="*/ 9366053 w 10505529"/>
              <a:gd name="connsiteY26193" fmla="*/ 3055286 h 7458372"/>
              <a:gd name="connsiteX26194" fmla="*/ 9387885 w 10505529"/>
              <a:gd name="connsiteY26194" fmla="*/ 3046633 h 7458372"/>
              <a:gd name="connsiteX26195" fmla="*/ 9170374 w 10505529"/>
              <a:gd name="connsiteY26195" fmla="*/ 3046633 h 7458372"/>
              <a:gd name="connsiteX26196" fmla="*/ 9182088 w 10505529"/>
              <a:gd name="connsiteY26196" fmla="*/ 3049161 h 7458372"/>
              <a:gd name="connsiteX26197" fmla="*/ 9191405 w 10505529"/>
              <a:gd name="connsiteY26197" fmla="*/ 3055552 h 7458372"/>
              <a:gd name="connsiteX26198" fmla="*/ 9197529 w 10505529"/>
              <a:gd name="connsiteY26198" fmla="*/ 3065002 h 7458372"/>
              <a:gd name="connsiteX26199" fmla="*/ 9199792 w 10505529"/>
              <a:gd name="connsiteY26199" fmla="*/ 3076451 h 7458372"/>
              <a:gd name="connsiteX26200" fmla="*/ 9197529 w 10505529"/>
              <a:gd name="connsiteY26200" fmla="*/ 3088165 h 7458372"/>
              <a:gd name="connsiteX26201" fmla="*/ 9191405 w 10505529"/>
              <a:gd name="connsiteY26201" fmla="*/ 3097485 h 7458372"/>
              <a:gd name="connsiteX26202" fmla="*/ 9182088 w 10505529"/>
              <a:gd name="connsiteY26202" fmla="*/ 3103740 h 7458372"/>
              <a:gd name="connsiteX26203" fmla="*/ 9170374 w 10505529"/>
              <a:gd name="connsiteY26203" fmla="*/ 3106003 h 7458372"/>
              <a:gd name="connsiteX26204" fmla="*/ 9148541 w 10505529"/>
              <a:gd name="connsiteY26204" fmla="*/ 3097485 h 7458372"/>
              <a:gd name="connsiteX26205" fmla="*/ 9140155 w 10505529"/>
              <a:gd name="connsiteY26205" fmla="*/ 3076318 h 7458372"/>
              <a:gd name="connsiteX26206" fmla="*/ 9148541 w 10505529"/>
              <a:gd name="connsiteY26206" fmla="*/ 3055286 h 7458372"/>
              <a:gd name="connsiteX26207" fmla="*/ 9170374 w 10505529"/>
              <a:gd name="connsiteY26207" fmla="*/ 3046633 h 7458372"/>
              <a:gd name="connsiteX26208" fmla="*/ 8952728 w 10505529"/>
              <a:gd name="connsiteY26208" fmla="*/ 3046633 h 7458372"/>
              <a:gd name="connsiteX26209" fmla="*/ 8964442 w 10505529"/>
              <a:gd name="connsiteY26209" fmla="*/ 3049161 h 7458372"/>
              <a:gd name="connsiteX26210" fmla="*/ 8973760 w 10505529"/>
              <a:gd name="connsiteY26210" fmla="*/ 3055552 h 7458372"/>
              <a:gd name="connsiteX26211" fmla="*/ 8979884 w 10505529"/>
              <a:gd name="connsiteY26211" fmla="*/ 3065002 h 7458372"/>
              <a:gd name="connsiteX26212" fmla="*/ 8982147 w 10505529"/>
              <a:gd name="connsiteY26212" fmla="*/ 3076451 h 7458372"/>
              <a:gd name="connsiteX26213" fmla="*/ 8979884 w 10505529"/>
              <a:gd name="connsiteY26213" fmla="*/ 3088165 h 7458372"/>
              <a:gd name="connsiteX26214" fmla="*/ 8973760 w 10505529"/>
              <a:gd name="connsiteY26214" fmla="*/ 3097485 h 7458372"/>
              <a:gd name="connsiteX26215" fmla="*/ 8964442 w 10505529"/>
              <a:gd name="connsiteY26215" fmla="*/ 3103740 h 7458372"/>
              <a:gd name="connsiteX26216" fmla="*/ 8952728 w 10505529"/>
              <a:gd name="connsiteY26216" fmla="*/ 3106003 h 7458372"/>
              <a:gd name="connsiteX26217" fmla="*/ 8930896 w 10505529"/>
              <a:gd name="connsiteY26217" fmla="*/ 3097485 h 7458372"/>
              <a:gd name="connsiteX26218" fmla="*/ 8922510 w 10505529"/>
              <a:gd name="connsiteY26218" fmla="*/ 3076318 h 7458372"/>
              <a:gd name="connsiteX26219" fmla="*/ 8930896 w 10505529"/>
              <a:gd name="connsiteY26219" fmla="*/ 3055286 h 7458372"/>
              <a:gd name="connsiteX26220" fmla="*/ 8952728 w 10505529"/>
              <a:gd name="connsiteY26220" fmla="*/ 3046633 h 7458372"/>
              <a:gd name="connsiteX26221" fmla="*/ 8735083 w 10505529"/>
              <a:gd name="connsiteY26221" fmla="*/ 3046633 h 7458372"/>
              <a:gd name="connsiteX26222" fmla="*/ 8746797 w 10505529"/>
              <a:gd name="connsiteY26222" fmla="*/ 3049161 h 7458372"/>
              <a:gd name="connsiteX26223" fmla="*/ 8756115 w 10505529"/>
              <a:gd name="connsiteY26223" fmla="*/ 3055552 h 7458372"/>
              <a:gd name="connsiteX26224" fmla="*/ 8762238 w 10505529"/>
              <a:gd name="connsiteY26224" fmla="*/ 3065002 h 7458372"/>
              <a:gd name="connsiteX26225" fmla="*/ 8764502 w 10505529"/>
              <a:gd name="connsiteY26225" fmla="*/ 3076451 h 7458372"/>
              <a:gd name="connsiteX26226" fmla="*/ 8762238 w 10505529"/>
              <a:gd name="connsiteY26226" fmla="*/ 3088165 h 7458372"/>
              <a:gd name="connsiteX26227" fmla="*/ 8756115 w 10505529"/>
              <a:gd name="connsiteY26227" fmla="*/ 3097485 h 7458372"/>
              <a:gd name="connsiteX26228" fmla="*/ 8746797 w 10505529"/>
              <a:gd name="connsiteY26228" fmla="*/ 3103740 h 7458372"/>
              <a:gd name="connsiteX26229" fmla="*/ 8735083 w 10505529"/>
              <a:gd name="connsiteY26229" fmla="*/ 3106003 h 7458372"/>
              <a:gd name="connsiteX26230" fmla="*/ 8713250 w 10505529"/>
              <a:gd name="connsiteY26230" fmla="*/ 3097485 h 7458372"/>
              <a:gd name="connsiteX26231" fmla="*/ 8704864 w 10505529"/>
              <a:gd name="connsiteY26231" fmla="*/ 3076318 h 7458372"/>
              <a:gd name="connsiteX26232" fmla="*/ 8713250 w 10505529"/>
              <a:gd name="connsiteY26232" fmla="*/ 3055286 h 7458372"/>
              <a:gd name="connsiteX26233" fmla="*/ 8735083 w 10505529"/>
              <a:gd name="connsiteY26233" fmla="*/ 3046633 h 7458372"/>
              <a:gd name="connsiteX26234" fmla="*/ 8517438 w 10505529"/>
              <a:gd name="connsiteY26234" fmla="*/ 3046633 h 7458372"/>
              <a:gd name="connsiteX26235" fmla="*/ 8529152 w 10505529"/>
              <a:gd name="connsiteY26235" fmla="*/ 3049161 h 7458372"/>
              <a:gd name="connsiteX26236" fmla="*/ 8538470 w 10505529"/>
              <a:gd name="connsiteY26236" fmla="*/ 3055552 h 7458372"/>
              <a:gd name="connsiteX26237" fmla="*/ 8544594 w 10505529"/>
              <a:gd name="connsiteY26237" fmla="*/ 3065002 h 7458372"/>
              <a:gd name="connsiteX26238" fmla="*/ 8546857 w 10505529"/>
              <a:gd name="connsiteY26238" fmla="*/ 3076451 h 7458372"/>
              <a:gd name="connsiteX26239" fmla="*/ 8544594 w 10505529"/>
              <a:gd name="connsiteY26239" fmla="*/ 3088165 h 7458372"/>
              <a:gd name="connsiteX26240" fmla="*/ 8538470 w 10505529"/>
              <a:gd name="connsiteY26240" fmla="*/ 3097485 h 7458372"/>
              <a:gd name="connsiteX26241" fmla="*/ 8529152 w 10505529"/>
              <a:gd name="connsiteY26241" fmla="*/ 3103740 h 7458372"/>
              <a:gd name="connsiteX26242" fmla="*/ 8517438 w 10505529"/>
              <a:gd name="connsiteY26242" fmla="*/ 3106003 h 7458372"/>
              <a:gd name="connsiteX26243" fmla="*/ 8495606 w 10505529"/>
              <a:gd name="connsiteY26243" fmla="*/ 3097485 h 7458372"/>
              <a:gd name="connsiteX26244" fmla="*/ 8487220 w 10505529"/>
              <a:gd name="connsiteY26244" fmla="*/ 3076318 h 7458372"/>
              <a:gd name="connsiteX26245" fmla="*/ 8495606 w 10505529"/>
              <a:gd name="connsiteY26245" fmla="*/ 3055286 h 7458372"/>
              <a:gd name="connsiteX26246" fmla="*/ 8517438 w 10505529"/>
              <a:gd name="connsiteY26246" fmla="*/ 3046633 h 7458372"/>
              <a:gd name="connsiteX26247" fmla="*/ 8299793 w 10505529"/>
              <a:gd name="connsiteY26247" fmla="*/ 3046633 h 7458372"/>
              <a:gd name="connsiteX26248" fmla="*/ 8311507 w 10505529"/>
              <a:gd name="connsiteY26248" fmla="*/ 3049161 h 7458372"/>
              <a:gd name="connsiteX26249" fmla="*/ 8320825 w 10505529"/>
              <a:gd name="connsiteY26249" fmla="*/ 3055552 h 7458372"/>
              <a:gd name="connsiteX26250" fmla="*/ 8326948 w 10505529"/>
              <a:gd name="connsiteY26250" fmla="*/ 3065002 h 7458372"/>
              <a:gd name="connsiteX26251" fmla="*/ 8329212 w 10505529"/>
              <a:gd name="connsiteY26251" fmla="*/ 3076451 h 7458372"/>
              <a:gd name="connsiteX26252" fmla="*/ 8326948 w 10505529"/>
              <a:gd name="connsiteY26252" fmla="*/ 3088165 h 7458372"/>
              <a:gd name="connsiteX26253" fmla="*/ 8320825 w 10505529"/>
              <a:gd name="connsiteY26253" fmla="*/ 3097485 h 7458372"/>
              <a:gd name="connsiteX26254" fmla="*/ 8311507 w 10505529"/>
              <a:gd name="connsiteY26254" fmla="*/ 3103740 h 7458372"/>
              <a:gd name="connsiteX26255" fmla="*/ 8299793 w 10505529"/>
              <a:gd name="connsiteY26255" fmla="*/ 3106003 h 7458372"/>
              <a:gd name="connsiteX26256" fmla="*/ 8277960 w 10505529"/>
              <a:gd name="connsiteY26256" fmla="*/ 3097485 h 7458372"/>
              <a:gd name="connsiteX26257" fmla="*/ 8269574 w 10505529"/>
              <a:gd name="connsiteY26257" fmla="*/ 3076318 h 7458372"/>
              <a:gd name="connsiteX26258" fmla="*/ 8277960 w 10505529"/>
              <a:gd name="connsiteY26258" fmla="*/ 3055286 h 7458372"/>
              <a:gd name="connsiteX26259" fmla="*/ 8299793 w 10505529"/>
              <a:gd name="connsiteY26259" fmla="*/ 3046633 h 7458372"/>
              <a:gd name="connsiteX26260" fmla="*/ 8082281 w 10505529"/>
              <a:gd name="connsiteY26260" fmla="*/ 3046633 h 7458372"/>
              <a:gd name="connsiteX26261" fmla="*/ 8094127 w 10505529"/>
              <a:gd name="connsiteY26261" fmla="*/ 3049161 h 7458372"/>
              <a:gd name="connsiteX26262" fmla="*/ 8103446 w 10505529"/>
              <a:gd name="connsiteY26262" fmla="*/ 3055552 h 7458372"/>
              <a:gd name="connsiteX26263" fmla="*/ 8109569 w 10505529"/>
              <a:gd name="connsiteY26263" fmla="*/ 3065002 h 7458372"/>
              <a:gd name="connsiteX26264" fmla="*/ 8111832 w 10505529"/>
              <a:gd name="connsiteY26264" fmla="*/ 3076451 h 7458372"/>
              <a:gd name="connsiteX26265" fmla="*/ 8109569 w 10505529"/>
              <a:gd name="connsiteY26265" fmla="*/ 3088165 h 7458372"/>
              <a:gd name="connsiteX26266" fmla="*/ 8103446 w 10505529"/>
              <a:gd name="connsiteY26266" fmla="*/ 3097485 h 7458372"/>
              <a:gd name="connsiteX26267" fmla="*/ 8094127 w 10505529"/>
              <a:gd name="connsiteY26267" fmla="*/ 3103740 h 7458372"/>
              <a:gd name="connsiteX26268" fmla="*/ 8082281 w 10505529"/>
              <a:gd name="connsiteY26268" fmla="*/ 3106003 h 7458372"/>
              <a:gd name="connsiteX26269" fmla="*/ 8060448 w 10505529"/>
              <a:gd name="connsiteY26269" fmla="*/ 3097485 h 7458372"/>
              <a:gd name="connsiteX26270" fmla="*/ 8052062 w 10505529"/>
              <a:gd name="connsiteY26270" fmla="*/ 3076318 h 7458372"/>
              <a:gd name="connsiteX26271" fmla="*/ 8060448 w 10505529"/>
              <a:gd name="connsiteY26271" fmla="*/ 3055286 h 7458372"/>
              <a:gd name="connsiteX26272" fmla="*/ 8082281 w 10505529"/>
              <a:gd name="connsiteY26272" fmla="*/ 3046633 h 7458372"/>
              <a:gd name="connsiteX26273" fmla="*/ 7864636 w 10505529"/>
              <a:gd name="connsiteY26273" fmla="*/ 3046633 h 7458372"/>
              <a:gd name="connsiteX26274" fmla="*/ 7876483 w 10505529"/>
              <a:gd name="connsiteY26274" fmla="*/ 3049161 h 7458372"/>
              <a:gd name="connsiteX26275" fmla="*/ 7885802 w 10505529"/>
              <a:gd name="connsiteY26275" fmla="*/ 3055552 h 7458372"/>
              <a:gd name="connsiteX26276" fmla="*/ 7891924 w 10505529"/>
              <a:gd name="connsiteY26276" fmla="*/ 3065002 h 7458372"/>
              <a:gd name="connsiteX26277" fmla="*/ 7894188 w 10505529"/>
              <a:gd name="connsiteY26277" fmla="*/ 3076451 h 7458372"/>
              <a:gd name="connsiteX26278" fmla="*/ 7891924 w 10505529"/>
              <a:gd name="connsiteY26278" fmla="*/ 3088165 h 7458372"/>
              <a:gd name="connsiteX26279" fmla="*/ 7885802 w 10505529"/>
              <a:gd name="connsiteY26279" fmla="*/ 3097485 h 7458372"/>
              <a:gd name="connsiteX26280" fmla="*/ 7876483 w 10505529"/>
              <a:gd name="connsiteY26280" fmla="*/ 3103740 h 7458372"/>
              <a:gd name="connsiteX26281" fmla="*/ 7864636 w 10505529"/>
              <a:gd name="connsiteY26281" fmla="*/ 3106003 h 7458372"/>
              <a:gd name="connsiteX26282" fmla="*/ 7842803 w 10505529"/>
              <a:gd name="connsiteY26282" fmla="*/ 3097485 h 7458372"/>
              <a:gd name="connsiteX26283" fmla="*/ 7834417 w 10505529"/>
              <a:gd name="connsiteY26283" fmla="*/ 3076318 h 7458372"/>
              <a:gd name="connsiteX26284" fmla="*/ 7842803 w 10505529"/>
              <a:gd name="connsiteY26284" fmla="*/ 3055286 h 7458372"/>
              <a:gd name="connsiteX26285" fmla="*/ 7864636 w 10505529"/>
              <a:gd name="connsiteY26285" fmla="*/ 3046633 h 7458372"/>
              <a:gd name="connsiteX26286" fmla="*/ 7646991 w 10505529"/>
              <a:gd name="connsiteY26286" fmla="*/ 3046633 h 7458372"/>
              <a:gd name="connsiteX26287" fmla="*/ 7658705 w 10505529"/>
              <a:gd name="connsiteY26287" fmla="*/ 3049161 h 7458372"/>
              <a:gd name="connsiteX26288" fmla="*/ 7668022 w 10505529"/>
              <a:gd name="connsiteY26288" fmla="*/ 3055552 h 7458372"/>
              <a:gd name="connsiteX26289" fmla="*/ 7674146 w 10505529"/>
              <a:gd name="connsiteY26289" fmla="*/ 3065002 h 7458372"/>
              <a:gd name="connsiteX26290" fmla="*/ 7676409 w 10505529"/>
              <a:gd name="connsiteY26290" fmla="*/ 3076451 h 7458372"/>
              <a:gd name="connsiteX26291" fmla="*/ 7674146 w 10505529"/>
              <a:gd name="connsiteY26291" fmla="*/ 3088165 h 7458372"/>
              <a:gd name="connsiteX26292" fmla="*/ 7668022 w 10505529"/>
              <a:gd name="connsiteY26292" fmla="*/ 3097485 h 7458372"/>
              <a:gd name="connsiteX26293" fmla="*/ 7658705 w 10505529"/>
              <a:gd name="connsiteY26293" fmla="*/ 3103740 h 7458372"/>
              <a:gd name="connsiteX26294" fmla="*/ 7646991 w 10505529"/>
              <a:gd name="connsiteY26294" fmla="*/ 3106003 h 7458372"/>
              <a:gd name="connsiteX26295" fmla="*/ 7625158 w 10505529"/>
              <a:gd name="connsiteY26295" fmla="*/ 3097485 h 7458372"/>
              <a:gd name="connsiteX26296" fmla="*/ 7616772 w 10505529"/>
              <a:gd name="connsiteY26296" fmla="*/ 3076318 h 7458372"/>
              <a:gd name="connsiteX26297" fmla="*/ 7625158 w 10505529"/>
              <a:gd name="connsiteY26297" fmla="*/ 3055286 h 7458372"/>
              <a:gd name="connsiteX26298" fmla="*/ 7646991 w 10505529"/>
              <a:gd name="connsiteY26298" fmla="*/ 3046633 h 7458372"/>
              <a:gd name="connsiteX26299" fmla="*/ 7429345 w 10505529"/>
              <a:gd name="connsiteY26299" fmla="*/ 3046633 h 7458372"/>
              <a:gd name="connsiteX26300" fmla="*/ 7441059 w 10505529"/>
              <a:gd name="connsiteY26300" fmla="*/ 3049161 h 7458372"/>
              <a:gd name="connsiteX26301" fmla="*/ 7450377 w 10505529"/>
              <a:gd name="connsiteY26301" fmla="*/ 3055552 h 7458372"/>
              <a:gd name="connsiteX26302" fmla="*/ 7456501 w 10505529"/>
              <a:gd name="connsiteY26302" fmla="*/ 3065002 h 7458372"/>
              <a:gd name="connsiteX26303" fmla="*/ 7458764 w 10505529"/>
              <a:gd name="connsiteY26303" fmla="*/ 3076451 h 7458372"/>
              <a:gd name="connsiteX26304" fmla="*/ 7456501 w 10505529"/>
              <a:gd name="connsiteY26304" fmla="*/ 3088165 h 7458372"/>
              <a:gd name="connsiteX26305" fmla="*/ 7450377 w 10505529"/>
              <a:gd name="connsiteY26305" fmla="*/ 3097485 h 7458372"/>
              <a:gd name="connsiteX26306" fmla="*/ 7441059 w 10505529"/>
              <a:gd name="connsiteY26306" fmla="*/ 3103740 h 7458372"/>
              <a:gd name="connsiteX26307" fmla="*/ 7429345 w 10505529"/>
              <a:gd name="connsiteY26307" fmla="*/ 3106003 h 7458372"/>
              <a:gd name="connsiteX26308" fmla="*/ 7407513 w 10505529"/>
              <a:gd name="connsiteY26308" fmla="*/ 3097485 h 7458372"/>
              <a:gd name="connsiteX26309" fmla="*/ 7399127 w 10505529"/>
              <a:gd name="connsiteY26309" fmla="*/ 3076318 h 7458372"/>
              <a:gd name="connsiteX26310" fmla="*/ 7407513 w 10505529"/>
              <a:gd name="connsiteY26310" fmla="*/ 3055286 h 7458372"/>
              <a:gd name="connsiteX26311" fmla="*/ 7429345 w 10505529"/>
              <a:gd name="connsiteY26311" fmla="*/ 3046633 h 7458372"/>
              <a:gd name="connsiteX26312" fmla="*/ 7211701 w 10505529"/>
              <a:gd name="connsiteY26312" fmla="*/ 3046633 h 7458372"/>
              <a:gd name="connsiteX26313" fmla="*/ 7223415 w 10505529"/>
              <a:gd name="connsiteY26313" fmla="*/ 3049161 h 7458372"/>
              <a:gd name="connsiteX26314" fmla="*/ 7232733 w 10505529"/>
              <a:gd name="connsiteY26314" fmla="*/ 3055552 h 7458372"/>
              <a:gd name="connsiteX26315" fmla="*/ 7238856 w 10505529"/>
              <a:gd name="connsiteY26315" fmla="*/ 3065002 h 7458372"/>
              <a:gd name="connsiteX26316" fmla="*/ 7241120 w 10505529"/>
              <a:gd name="connsiteY26316" fmla="*/ 3076451 h 7458372"/>
              <a:gd name="connsiteX26317" fmla="*/ 7238856 w 10505529"/>
              <a:gd name="connsiteY26317" fmla="*/ 3088165 h 7458372"/>
              <a:gd name="connsiteX26318" fmla="*/ 7232733 w 10505529"/>
              <a:gd name="connsiteY26318" fmla="*/ 3097485 h 7458372"/>
              <a:gd name="connsiteX26319" fmla="*/ 7223415 w 10505529"/>
              <a:gd name="connsiteY26319" fmla="*/ 3103740 h 7458372"/>
              <a:gd name="connsiteX26320" fmla="*/ 7211701 w 10505529"/>
              <a:gd name="connsiteY26320" fmla="*/ 3106003 h 7458372"/>
              <a:gd name="connsiteX26321" fmla="*/ 7189868 w 10505529"/>
              <a:gd name="connsiteY26321" fmla="*/ 3097485 h 7458372"/>
              <a:gd name="connsiteX26322" fmla="*/ 7181482 w 10505529"/>
              <a:gd name="connsiteY26322" fmla="*/ 3076318 h 7458372"/>
              <a:gd name="connsiteX26323" fmla="*/ 7189868 w 10505529"/>
              <a:gd name="connsiteY26323" fmla="*/ 3055286 h 7458372"/>
              <a:gd name="connsiteX26324" fmla="*/ 7211701 w 10505529"/>
              <a:gd name="connsiteY26324" fmla="*/ 3046633 h 7458372"/>
              <a:gd name="connsiteX26325" fmla="*/ 6994056 w 10505529"/>
              <a:gd name="connsiteY26325" fmla="*/ 3046633 h 7458372"/>
              <a:gd name="connsiteX26326" fmla="*/ 7005769 w 10505529"/>
              <a:gd name="connsiteY26326" fmla="*/ 3049161 h 7458372"/>
              <a:gd name="connsiteX26327" fmla="*/ 7015087 w 10505529"/>
              <a:gd name="connsiteY26327" fmla="*/ 3055552 h 7458372"/>
              <a:gd name="connsiteX26328" fmla="*/ 7021211 w 10505529"/>
              <a:gd name="connsiteY26328" fmla="*/ 3065002 h 7458372"/>
              <a:gd name="connsiteX26329" fmla="*/ 7023474 w 10505529"/>
              <a:gd name="connsiteY26329" fmla="*/ 3076451 h 7458372"/>
              <a:gd name="connsiteX26330" fmla="*/ 7021211 w 10505529"/>
              <a:gd name="connsiteY26330" fmla="*/ 3088165 h 7458372"/>
              <a:gd name="connsiteX26331" fmla="*/ 7015087 w 10505529"/>
              <a:gd name="connsiteY26331" fmla="*/ 3097485 h 7458372"/>
              <a:gd name="connsiteX26332" fmla="*/ 7005769 w 10505529"/>
              <a:gd name="connsiteY26332" fmla="*/ 3103740 h 7458372"/>
              <a:gd name="connsiteX26333" fmla="*/ 6994056 w 10505529"/>
              <a:gd name="connsiteY26333" fmla="*/ 3106003 h 7458372"/>
              <a:gd name="connsiteX26334" fmla="*/ 6972223 w 10505529"/>
              <a:gd name="connsiteY26334" fmla="*/ 3097485 h 7458372"/>
              <a:gd name="connsiteX26335" fmla="*/ 6963837 w 10505529"/>
              <a:gd name="connsiteY26335" fmla="*/ 3076318 h 7458372"/>
              <a:gd name="connsiteX26336" fmla="*/ 6972223 w 10505529"/>
              <a:gd name="connsiteY26336" fmla="*/ 3055286 h 7458372"/>
              <a:gd name="connsiteX26337" fmla="*/ 6994056 w 10505529"/>
              <a:gd name="connsiteY26337" fmla="*/ 3046633 h 7458372"/>
              <a:gd name="connsiteX26338" fmla="*/ 6776544 w 10505529"/>
              <a:gd name="connsiteY26338" fmla="*/ 3046633 h 7458372"/>
              <a:gd name="connsiteX26339" fmla="*/ 6788258 w 10505529"/>
              <a:gd name="connsiteY26339" fmla="*/ 3049161 h 7458372"/>
              <a:gd name="connsiteX26340" fmla="*/ 6797576 w 10505529"/>
              <a:gd name="connsiteY26340" fmla="*/ 3055552 h 7458372"/>
              <a:gd name="connsiteX26341" fmla="*/ 6803699 w 10505529"/>
              <a:gd name="connsiteY26341" fmla="*/ 3065002 h 7458372"/>
              <a:gd name="connsiteX26342" fmla="*/ 6805963 w 10505529"/>
              <a:gd name="connsiteY26342" fmla="*/ 3076451 h 7458372"/>
              <a:gd name="connsiteX26343" fmla="*/ 6803699 w 10505529"/>
              <a:gd name="connsiteY26343" fmla="*/ 3088165 h 7458372"/>
              <a:gd name="connsiteX26344" fmla="*/ 6797576 w 10505529"/>
              <a:gd name="connsiteY26344" fmla="*/ 3097485 h 7458372"/>
              <a:gd name="connsiteX26345" fmla="*/ 6788258 w 10505529"/>
              <a:gd name="connsiteY26345" fmla="*/ 3103740 h 7458372"/>
              <a:gd name="connsiteX26346" fmla="*/ 6776544 w 10505529"/>
              <a:gd name="connsiteY26346" fmla="*/ 3106003 h 7458372"/>
              <a:gd name="connsiteX26347" fmla="*/ 6754711 w 10505529"/>
              <a:gd name="connsiteY26347" fmla="*/ 3097485 h 7458372"/>
              <a:gd name="connsiteX26348" fmla="*/ 6746325 w 10505529"/>
              <a:gd name="connsiteY26348" fmla="*/ 3076318 h 7458372"/>
              <a:gd name="connsiteX26349" fmla="*/ 6754711 w 10505529"/>
              <a:gd name="connsiteY26349" fmla="*/ 3055286 h 7458372"/>
              <a:gd name="connsiteX26350" fmla="*/ 6776544 w 10505529"/>
              <a:gd name="connsiteY26350" fmla="*/ 3046633 h 7458372"/>
              <a:gd name="connsiteX26351" fmla="*/ 6558899 w 10505529"/>
              <a:gd name="connsiteY26351" fmla="*/ 3046633 h 7458372"/>
              <a:gd name="connsiteX26352" fmla="*/ 6570612 w 10505529"/>
              <a:gd name="connsiteY26352" fmla="*/ 3049161 h 7458372"/>
              <a:gd name="connsiteX26353" fmla="*/ 6579930 w 10505529"/>
              <a:gd name="connsiteY26353" fmla="*/ 3055552 h 7458372"/>
              <a:gd name="connsiteX26354" fmla="*/ 6586054 w 10505529"/>
              <a:gd name="connsiteY26354" fmla="*/ 3065002 h 7458372"/>
              <a:gd name="connsiteX26355" fmla="*/ 6588317 w 10505529"/>
              <a:gd name="connsiteY26355" fmla="*/ 3076451 h 7458372"/>
              <a:gd name="connsiteX26356" fmla="*/ 6586054 w 10505529"/>
              <a:gd name="connsiteY26356" fmla="*/ 3088165 h 7458372"/>
              <a:gd name="connsiteX26357" fmla="*/ 6579930 w 10505529"/>
              <a:gd name="connsiteY26357" fmla="*/ 3097485 h 7458372"/>
              <a:gd name="connsiteX26358" fmla="*/ 6570612 w 10505529"/>
              <a:gd name="connsiteY26358" fmla="*/ 3103740 h 7458372"/>
              <a:gd name="connsiteX26359" fmla="*/ 6558899 w 10505529"/>
              <a:gd name="connsiteY26359" fmla="*/ 3106003 h 7458372"/>
              <a:gd name="connsiteX26360" fmla="*/ 6537066 w 10505529"/>
              <a:gd name="connsiteY26360" fmla="*/ 3097485 h 7458372"/>
              <a:gd name="connsiteX26361" fmla="*/ 6528680 w 10505529"/>
              <a:gd name="connsiteY26361" fmla="*/ 3076318 h 7458372"/>
              <a:gd name="connsiteX26362" fmla="*/ 6537066 w 10505529"/>
              <a:gd name="connsiteY26362" fmla="*/ 3055286 h 7458372"/>
              <a:gd name="connsiteX26363" fmla="*/ 6558899 w 10505529"/>
              <a:gd name="connsiteY26363" fmla="*/ 3046633 h 7458372"/>
              <a:gd name="connsiteX26364" fmla="*/ 6341253 w 10505529"/>
              <a:gd name="connsiteY26364" fmla="*/ 3046633 h 7458372"/>
              <a:gd name="connsiteX26365" fmla="*/ 6352968 w 10505529"/>
              <a:gd name="connsiteY26365" fmla="*/ 3049161 h 7458372"/>
              <a:gd name="connsiteX26366" fmla="*/ 6362286 w 10505529"/>
              <a:gd name="connsiteY26366" fmla="*/ 3055552 h 7458372"/>
              <a:gd name="connsiteX26367" fmla="*/ 6368409 w 10505529"/>
              <a:gd name="connsiteY26367" fmla="*/ 3065002 h 7458372"/>
              <a:gd name="connsiteX26368" fmla="*/ 6370672 w 10505529"/>
              <a:gd name="connsiteY26368" fmla="*/ 3076451 h 7458372"/>
              <a:gd name="connsiteX26369" fmla="*/ 6368409 w 10505529"/>
              <a:gd name="connsiteY26369" fmla="*/ 3088165 h 7458372"/>
              <a:gd name="connsiteX26370" fmla="*/ 6362286 w 10505529"/>
              <a:gd name="connsiteY26370" fmla="*/ 3097485 h 7458372"/>
              <a:gd name="connsiteX26371" fmla="*/ 6352968 w 10505529"/>
              <a:gd name="connsiteY26371" fmla="*/ 3103740 h 7458372"/>
              <a:gd name="connsiteX26372" fmla="*/ 6341253 w 10505529"/>
              <a:gd name="connsiteY26372" fmla="*/ 3106003 h 7458372"/>
              <a:gd name="connsiteX26373" fmla="*/ 6319421 w 10505529"/>
              <a:gd name="connsiteY26373" fmla="*/ 3097485 h 7458372"/>
              <a:gd name="connsiteX26374" fmla="*/ 6311035 w 10505529"/>
              <a:gd name="connsiteY26374" fmla="*/ 3076318 h 7458372"/>
              <a:gd name="connsiteX26375" fmla="*/ 6319421 w 10505529"/>
              <a:gd name="connsiteY26375" fmla="*/ 3055286 h 7458372"/>
              <a:gd name="connsiteX26376" fmla="*/ 6341253 w 10505529"/>
              <a:gd name="connsiteY26376" fmla="*/ 3046633 h 7458372"/>
              <a:gd name="connsiteX26377" fmla="*/ 6123608 w 10505529"/>
              <a:gd name="connsiteY26377" fmla="*/ 3046633 h 7458372"/>
              <a:gd name="connsiteX26378" fmla="*/ 6135322 w 10505529"/>
              <a:gd name="connsiteY26378" fmla="*/ 3049161 h 7458372"/>
              <a:gd name="connsiteX26379" fmla="*/ 6144640 w 10505529"/>
              <a:gd name="connsiteY26379" fmla="*/ 3055552 h 7458372"/>
              <a:gd name="connsiteX26380" fmla="*/ 6150763 w 10505529"/>
              <a:gd name="connsiteY26380" fmla="*/ 3065002 h 7458372"/>
              <a:gd name="connsiteX26381" fmla="*/ 6153026 w 10505529"/>
              <a:gd name="connsiteY26381" fmla="*/ 3076451 h 7458372"/>
              <a:gd name="connsiteX26382" fmla="*/ 6150763 w 10505529"/>
              <a:gd name="connsiteY26382" fmla="*/ 3088165 h 7458372"/>
              <a:gd name="connsiteX26383" fmla="*/ 6144640 w 10505529"/>
              <a:gd name="connsiteY26383" fmla="*/ 3097485 h 7458372"/>
              <a:gd name="connsiteX26384" fmla="*/ 6135322 w 10505529"/>
              <a:gd name="connsiteY26384" fmla="*/ 3103740 h 7458372"/>
              <a:gd name="connsiteX26385" fmla="*/ 6123608 w 10505529"/>
              <a:gd name="connsiteY26385" fmla="*/ 3106003 h 7458372"/>
              <a:gd name="connsiteX26386" fmla="*/ 6101775 w 10505529"/>
              <a:gd name="connsiteY26386" fmla="*/ 3097485 h 7458372"/>
              <a:gd name="connsiteX26387" fmla="*/ 6093389 w 10505529"/>
              <a:gd name="connsiteY26387" fmla="*/ 3076318 h 7458372"/>
              <a:gd name="connsiteX26388" fmla="*/ 6101775 w 10505529"/>
              <a:gd name="connsiteY26388" fmla="*/ 3055286 h 7458372"/>
              <a:gd name="connsiteX26389" fmla="*/ 6123608 w 10505529"/>
              <a:gd name="connsiteY26389" fmla="*/ 3046633 h 7458372"/>
              <a:gd name="connsiteX26390" fmla="*/ 5905963 w 10505529"/>
              <a:gd name="connsiteY26390" fmla="*/ 3046633 h 7458372"/>
              <a:gd name="connsiteX26391" fmla="*/ 5917677 w 10505529"/>
              <a:gd name="connsiteY26391" fmla="*/ 3049161 h 7458372"/>
              <a:gd name="connsiteX26392" fmla="*/ 5926995 w 10505529"/>
              <a:gd name="connsiteY26392" fmla="*/ 3055552 h 7458372"/>
              <a:gd name="connsiteX26393" fmla="*/ 5933118 w 10505529"/>
              <a:gd name="connsiteY26393" fmla="*/ 3065002 h 7458372"/>
              <a:gd name="connsiteX26394" fmla="*/ 5935381 w 10505529"/>
              <a:gd name="connsiteY26394" fmla="*/ 3076451 h 7458372"/>
              <a:gd name="connsiteX26395" fmla="*/ 5933118 w 10505529"/>
              <a:gd name="connsiteY26395" fmla="*/ 3088165 h 7458372"/>
              <a:gd name="connsiteX26396" fmla="*/ 5926995 w 10505529"/>
              <a:gd name="connsiteY26396" fmla="*/ 3097485 h 7458372"/>
              <a:gd name="connsiteX26397" fmla="*/ 5917677 w 10505529"/>
              <a:gd name="connsiteY26397" fmla="*/ 3103740 h 7458372"/>
              <a:gd name="connsiteX26398" fmla="*/ 5905963 w 10505529"/>
              <a:gd name="connsiteY26398" fmla="*/ 3106003 h 7458372"/>
              <a:gd name="connsiteX26399" fmla="*/ 5884130 w 10505529"/>
              <a:gd name="connsiteY26399" fmla="*/ 3097485 h 7458372"/>
              <a:gd name="connsiteX26400" fmla="*/ 5875744 w 10505529"/>
              <a:gd name="connsiteY26400" fmla="*/ 3076318 h 7458372"/>
              <a:gd name="connsiteX26401" fmla="*/ 5884130 w 10505529"/>
              <a:gd name="connsiteY26401" fmla="*/ 3055286 h 7458372"/>
              <a:gd name="connsiteX26402" fmla="*/ 5905963 w 10505529"/>
              <a:gd name="connsiteY26402" fmla="*/ 3046633 h 7458372"/>
              <a:gd name="connsiteX26403" fmla="*/ 5688451 w 10505529"/>
              <a:gd name="connsiteY26403" fmla="*/ 3046633 h 7458372"/>
              <a:gd name="connsiteX26404" fmla="*/ 5700165 w 10505529"/>
              <a:gd name="connsiteY26404" fmla="*/ 3049161 h 7458372"/>
              <a:gd name="connsiteX26405" fmla="*/ 5709483 w 10505529"/>
              <a:gd name="connsiteY26405" fmla="*/ 3055552 h 7458372"/>
              <a:gd name="connsiteX26406" fmla="*/ 5715606 w 10505529"/>
              <a:gd name="connsiteY26406" fmla="*/ 3065002 h 7458372"/>
              <a:gd name="connsiteX26407" fmla="*/ 5717869 w 10505529"/>
              <a:gd name="connsiteY26407" fmla="*/ 3076451 h 7458372"/>
              <a:gd name="connsiteX26408" fmla="*/ 5715606 w 10505529"/>
              <a:gd name="connsiteY26408" fmla="*/ 3088165 h 7458372"/>
              <a:gd name="connsiteX26409" fmla="*/ 5709483 w 10505529"/>
              <a:gd name="connsiteY26409" fmla="*/ 3097485 h 7458372"/>
              <a:gd name="connsiteX26410" fmla="*/ 5700165 w 10505529"/>
              <a:gd name="connsiteY26410" fmla="*/ 3103740 h 7458372"/>
              <a:gd name="connsiteX26411" fmla="*/ 5688451 w 10505529"/>
              <a:gd name="connsiteY26411" fmla="*/ 3106003 h 7458372"/>
              <a:gd name="connsiteX26412" fmla="*/ 5666618 w 10505529"/>
              <a:gd name="connsiteY26412" fmla="*/ 3097485 h 7458372"/>
              <a:gd name="connsiteX26413" fmla="*/ 5658232 w 10505529"/>
              <a:gd name="connsiteY26413" fmla="*/ 3076318 h 7458372"/>
              <a:gd name="connsiteX26414" fmla="*/ 5666618 w 10505529"/>
              <a:gd name="connsiteY26414" fmla="*/ 3055286 h 7458372"/>
              <a:gd name="connsiteX26415" fmla="*/ 5688451 w 10505529"/>
              <a:gd name="connsiteY26415" fmla="*/ 3046633 h 7458372"/>
              <a:gd name="connsiteX26416" fmla="*/ 5470806 w 10505529"/>
              <a:gd name="connsiteY26416" fmla="*/ 3046633 h 7458372"/>
              <a:gd name="connsiteX26417" fmla="*/ 5482520 w 10505529"/>
              <a:gd name="connsiteY26417" fmla="*/ 3049161 h 7458372"/>
              <a:gd name="connsiteX26418" fmla="*/ 5491838 w 10505529"/>
              <a:gd name="connsiteY26418" fmla="*/ 3055552 h 7458372"/>
              <a:gd name="connsiteX26419" fmla="*/ 5497961 w 10505529"/>
              <a:gd name="connsiteY26419" fmla="*/ 3065002 h 7458372"/>
              <a:gd name="connsiteX26420" fmla="*/ 5500224 w 10505529"/>
              <a:gd name="connsiteY26420" fmla="*/ 3076451 h 7458372"/>
              <a:gd name="connsiteX26421" fmla="*/ 5497961 w 10505529"/>
              <a:gd name="connsiteY26421" fmla="*/ 3088165 h 7458372"/>
              <a:gd name="connsiteX26422" fmla="*/ 5491838 w 10505529"/>
              <a:gd name="connsiteY26422" fmla="*/ 3097485 h 7458372"/>
              <a:gd name="connsiteX26423" fmla="*/ 5482520 w 10505529"/>
              <a:gd name="connsiteY26423" fmla="*/ 3103740 h 7458372"/>
              <a:gd name="connsiteX26424" fmla="*/ 5470806 w 10505529"/>
              <a:gd name="connsiteY26424" fmla="*/ 3106003 h 7458372"/>
              <a:gd name="connsiteX26425" fmla="*/ 5448973 w 10505529"/>
              <a:gd name="connsiteY26425" fmla="*/ 3097485 h 7458372"/>
              <a:gd name="connsiteX26426" fmla="*/ 5440587 w 10505529"/>
              <a:gd name="connsiteY26426" fmla="*/ 3076318 h 7458372"/>
              <a:gd name="connsiteX26427" fmla="*/ 5448973 w 10505529"/>
              <a:gd name="connsiteY26427" fmla="*/ 3055286 h 7458372"/>
              <a:gd name="connsiteX26428" fmla="*/ 5470806 w 10505529"/>
              <a:gd name="connsiteY26428" fmla="*/ 3046633 h 7458372"/>
              <a:gd name="connsiteX26429" fmla="*/ 5253160 w 10505529"/>
              <a:gd name="connsiteY26429" fmla="*/ 3046633 h 7458372"/>
              <a:gd name="connsiteX26430" fmla="*/ 5264875 w 10505529"/>
              <a:gd name="connsiteY26430" fmla="*/ 3049161 h 7458372"/>
              <a:gd name="connsiteX26431" fmla="*/ 5274192 w 10505529"/>
              <a:gd name="connsiteY26431" fmla="*/ 3055552 h 7458372"/>
              <a:gd name="connsiteX26432" fmla="*/ 5280316 w 10505529"/>
              <a:gd name="connsiteY26432" fmla="*/ 3065002 h 7458372"/>
              <a:gd name="connsiteX26433" fmla="*/ 5282579 w 10505529"/>
              <a:gd name="connsiteY26433" fmla="*/ 3076451 h 7458372"/>
              <a:gd name="connsiteX26434" fmla="*/ 5280316 w 10505529"/>
              <a:gd name="connsiteY26434" fmla="*/ 3088165 h 7458372"/>
              <a:gd name="connsiteX26435" fmla="*/ 5274192 w 10505529"/>
              <a:gd name="connsiteY26435" fmla="*/ 3097485 h 7458372"/>
              <a:gd name="connsiteX26436" fmla="*/ 5264875 w 10505529"/>
              <a:gd name="connsiteY26436" fmla="*/ 3103740 h 7458372"/>
              <a:gd name="connsiteX26437" fmla="*/ 5253160 w 10505529"/>
              <a:gd name="connsiteY26437" fmla="*/ 3106003 h 7458372"/>
              <a:gd name="connsiteX26438" fmla="*/ 5231328 w 10505529"/>
              <a:gd name="connsiteY26438" fmla="*/ 3097485 h 7458372"/>
              <a:gd name="connsiteX26439" fmla="*/ 5222942 w 10505529"/>
              <a:gd name="connsiteY26439" fmla="*/ 3076318 h 7458372"/>
              <a:gd name="connsiteX26440" fmla="*/ 5231328 w 10505529"/>
              <a:gd name="connsiteY26440" fmla="*/ 3055286 h 7458372"/>
              <a:gd name="connsiteX26441" fmla="*/ 5253160 w 10505529"/>
              <a:gd name="connsiteY26441" fmla="*/ 3046633 h 7458372"/>
              <a:gd name="connsiteX26442" fmla="*/ 5035515 w 10505529"/>
              <a:gd name="connsiteY26442" fmla="*/ 3046633 h 7458372"/>
              <a:gd name="connsiteX26443" fmla="*/ 5047230 w 10505529"/>
              <a:gd name="connsiteY26443" fmla="*/ 3049161 h 7458372"/>
              <a:gd name="connsiteX26444" fmla="*/ 5056548 w 10505529"/>
              <a:gd name="connsiteY26444" fmla="*/ 3055552 h 7458372"/>
              <a:gd name="connsiteX26445" fmla="*/ 5062671 w 10505529"/>
              <a:gd name="connsiteY26445" fmla="*/ 3065002 h 7458372"/>
              <a:gd name="connsiteX26446" fmla="*/ 5064934 w 10505529"/>
              <a:gd name="connsiteY26446" fmla="*/ 3076451 h 7458372"/>
              <a:gd name="connsiteX26447" fmla="*/ 5062671 w 10505529"/>
              <a:gd name="connsiteY26447" fmla="*/ 3088165 h 7458372"/>
              <a:gd name="connsiteX26448" fmla="*/ 5056548 w 10505529"/>
              <a:gd name="connsiteY26448" fmla="*/ 3097485 h 7458372"/>
              <a:gd name="connsiteX26449" fmla="*/ 5047230 w 10505529"/>
              <a:gd name="connsiteY26449" fmla="*/ 3103740 h 7458372"/>
              <a:gd name="connsiteX26450" fmla="*/ 5035515 w 10505529"/>
              <a:gd name="connsiteY26450" fmla="*/ 3106003 h 7458372"/>
              <a:gd name="connsiteX26451" fmla="*/ 5013683 w 10505529"/>
              <a:gd name="connsiteY26451" fmla="*/ 3097485 h 7458372"/>
              <a:gd name="connsiteX26452" fmla="*/ 5005297 w 10505529"/>
              <a:gd name="connsiteY26452" fmla="*/ 3076318 h 7458372"/>
              <a:gd name="connsiteX26453" fmla="*/ 5013683 w 10505529"/>
              <a:gd name="connsiteY26453" fmla="*/ 3055286 h 7458372"/>
              <a:gd name="connsiteX26454" fmla="*/ 5035515 w 10505529"/>
              <a:gd name="connsiteY26454" fmla="*/ 3046633 h 7458372"/>
              <a:gd name="connsiteX26455" fmla="*/ 4817870 w 10505529"/>
              <a:gd name="connsiteY26455" fmla="*/ 3046633 h 7458372"/>
              <a:gd name="connsiteX26456" fmla="*/ 4829585 w 10505529"/>
              <a:gd name="connsiteY26456" fmla="*/ 3049161 h 7458372"/>
              <a:gd name="connsiteX26457" fmla="*/ 4838903 w 10505529"/>
              <a:gd name="connsiteY26457" fmla="*/ 3055552 h 7458372"/>
              <a:gd name="connsiteX26458" fmla="*/ 4845026 w 10505529"/>
              <a:gd name="connsiteY26458" fmla="*/ 3065002 h 7458372"/>
              <a:gd name="connsiteX26459" fmla="*/ 4847289 w 10505529"/>
              <a:gd name="connsiteY26459" fmla="*/ 3076451 h 7458372"/>
              <a:gd name="connsiteX26460" fmla="*/ 4845026 w 10505529"/>
              <a:gd name="connsiteY26460" fmla="*/ 3088165 h 7458372"/>
              <a:gd name="connsiteX26461" fmla="*/ 4838903 w 10505529"/>
              <a:gd name="connsiteY26461" fmla="*/ 3097485 h 7458372"/>
              <a:gd name="connsiteX26462" fmla="*/ 4829585 w 10505529"/>
              <a:gd name="connsiteY26462" fmla="*/ 3103740 h 7458372"/>
              <a:gd name="connsiteX26463" fmla="*/ 4817870 w 10505529"/>
              <a:gd name="connsiteY26463" fmla="*/ 3106003 h 7458372"/>
              <a:gd name="connsiteX26464" fmla="*/ 4796038 w 10505529"/>
              <a:gd name="connsiteY26464" fmla="*/ 3097485 h 7458372"/>
              <a:gd name="connsiteX26465" fmla="*/ 4787652 w 10505529"/>
              <a:gd name="connsiteY26465" fmla="*/ 3076318 h 7458372"/>
              <a:gd name="connsiteX26466" fmla="*/ 4796038 w 10505529"/>
              <a:gd name="connsiteY26466" fmla="*/ 3055286 h 7458372"/>
              <a:gd name="connsiteX26467" fmla="*/ 4817870 w 10505529"/>
              <a:gd name="connsiteY26467" fmla="*/ 3046633 h 7458372"/>
              <a:gd name="connsiteX26468" fmla="*/ 4600226 w 10505529"/>
              <a:gd name="connsiteY26468" fmla="*/ 3046633 h 7458372"/>
              <a:gd name="connsiteX26469" fmla="*/ 4612073 w 10505529"/>
              <a:gd name="connsiteY26469" fmla="*/ 3049161 h 7458372"/>
              <a:gd name="connsiteX26470" fmla="*/ 4621391 w 10505529"/>
              <a:gd name="connsiteY26470" fmla="*/ 3055552 h 7458372"/>
              <a:gd name="connsiteX26471" fmla="*/ 4627514 w 10505529"/>
              <a:gd name="connsiteY26471" fmla="*/ 3065002 h 7458372"/>
              <a:gd name="connsiteX26472" fmla="*/ 4629777 w 10505529"/>
              <a:gd name="connsiteY26472" fmla="*/ 3076451 h 7458372"/>
              <a:gd name="connsiteX26473" fmla="*/ 4627514 w 10505529"/>
              <a:gd name="connsiteY26473" fmla="*/ 3088165 h 7458372"/>
              <a:gd name="connsiteX26474" fmla="*/ 4621391 w 10505529"/>
              <a:gd name="connsiteY26474" fmla="*/ 3097485 h 7458372"/>
              <a:gd name="connsiteX26475" fmla="*/ 4612073 w 10505529"/>
              <a:gd name="connsiteY26475" fmla="*/ 3103740 h 7458372"/>
              <a:gd name="connsiteX26476" fmla="*/ 4600226 w 10505529"/>
              <a:gd name="connsiteY26476" fmla="*/ 3106003 h 7458372"/>
              <a:gd name="connsiteX26477" fmla="*/ 4578393 w 10505529"/>
              <a:gd name="connsiteY26477" fmla="*/ 3097485 h 7458372"/>
              <a:gd name="connsiteX26478" fmla="*/ 4570007 w 10505529"/>
              <a:gd name="connsiteY26478" fmla="*/ 3076318 h 7458372"/>
              <a:gd name="connsiteX26479" fmla="*/ 4578393 w 10505529"/>
              <a:gd name="connsiteY26479" fmla="*/ 3055286 h 7458372"/>
              <a:gd name="connsiteX26480" fmla="*/ 4600226 w 10505529"/>
              <a:gd name="connsiteY26480" fmla="*/ 3046633 h 7458372"/>
              <a:gd name="connsiteX26481" fmla="*/ 4382713 w 10505529"/>
              <a:gd name="connsiteY26481" fmla="*/ 3046633 h 7458372"/>
              <a:gd name="connsiteX26482" fmla="*/ 4394428 w 10505529"/>
              <a:gd name="connsiteY26482" fmla="*/ 3049161 h 7458372"/>
              <a:gd name="connsiteX26483" fmla="*/ 4403746 w 10505529"/>
              <a:gd name="connsiteY26483" fmla="*/ 3055552 h 7458372"/>
              <a:gd name="connsiteX26484" fmla="*/ 4409869 w 10505529"/>
              <a:gd name="connsiteY26484" fmla="*/ 3065002 h 7458372"/>
              <a:gd name="connsiteX26485" fmla="*/ 4412132 w 10505529"/>
              <a:gd name="connsiteY26485" fmla="*/ 3076451 h 7458372"/>
              <a:gd name="connsiteX26486" fmla="*/ 4409869 w 10505529"/>
              <a:gd name="connsiteY26486" fmla="*/ 3088165 h 7458372"/>
              <a:gd name="connsiteX26487" fmla="*/ 4403746 w 10505529"/>
              <a:gd name="connsiteY26487" fmla="*/ 3097485 h 7458372"/>
              <a:gd name="connsiteX26488" fmla="*/ 4394428 w 10505529"/>
              <a:gd name="connsiteY26488" fmla="*/ 3103740 h 7458372"/>
              <a:gd name="connsiteX26489" fmla="*/ 4382713 w 10505529"/>
              <a:gd name="connsiteY26489" fmla="*/ 3106003 h 7458372"/>
              <a:gd name="connsiteX26490" fmla="*/ 4360881 w 10505529"/>
              <a:gd name="connsiteY26490" fmla="*/ 3097485 h 7458372"/>
              <a:gd name="connsiteX26491" fmla="*/ 4352495 w 10505529"/>
              <a:gd name="connsiteY26491" fmla="*/ 3076318 h 7458372"/>
              <a:gd name="connsiteX26492" fmla="*/ 4360881 w 10505529"/>
              <a:gd name="connsiteY26492" fmla="*/ 3055286 h 7458372"/>
              <a:gd name="connsiteX26493" fmla="*/ 4382713 w 10505529"/>
              <a:gd name="connsiteY26493" fmla="*/ 3046633 h 7458372"/>
              <a:gd name="connsiteX26494" fmla="*/ 4165068 w 10505529"/>
              <a:gd name="connsiteY26494" fmla="*/ 3046633 h 7458372"/>
              <a:gd name="connsiteX26495" fmla="*/ 4176782 w 10505529"/>
              <a:gd name="connsiteY26495" fmla="*/ 3049161 h 7458372"/>
              <a:gd name="connsiteX26496" fmla="*/ 4186100 w 10505529"/>
              <a:gd name="connsiteY26496" fmla="*/ 3055552 h 7458372"/>
              <a:gd name="connsiteX26497" fmla="*/ 4192223 w 10505529"/>
              <a:gd name="connsiteY26497" fmla="*/ 3065002 h 7458372"/>
              <a:gd name="connsiteX26498" fmla="*/ 4194486 w 10505529"/>
              <a:gd name="connsiteY26498" fmla="*/ 3076451 h 7458372"/>
              <a:gd name="connsiteX26499" fmla="*/ 4192223 w 10505529"/>
              <a:gd name="connsiteY26499" fmla="*/ 3088165 h 7458372"/>
              <a:gd name="connsiteX26500" fmla="*/ 4186100 w 10505529"/>
              <a:gd name="connsiteY26500" fmla="*/ 3097485 h 7458372"/>
              <a:gd name="connsiteX26501" fmla="*/ 4176782 w 10505529"/>
              <a:gd name="connsiteY26501" fmla="*/ 3103740 h 7458372"/>
              <a:gd name="connsiteX26502" fmla="*/ 4165068 w 10505529"/>
              <a:gd name="connsiteY26502" fmla="*/ 3106003 h 7458372"/>
              <a:gd name="connsiteX26503" fmla="*/ 4143235 w 10505529"/>
              <a:gd name="connsiteY26503" fmla="*/ 3097485 h 7458372"/>
              <a:gd name="connsiteX26504" fmla="*/ 4134849 w 10505529"/>
              <a:gd name="connsiteY26504" fmla="*/ 3076318 h 7458372"/>
              <a:gd name="connsiteX26505" fmla="*/ 4143235 w 10505529"/>
              <a:gd name="connsiteY26505" fmla="*/ 3055286 h 7458372"/>
              <a:gd name="connsiteX26506" fmla="*/ 4165068 w 10505529"/>
              <a:gd name="connsiteY26506" fmla="*/ 3046633 h 7458372"/>
              <a:gd name="connsiteX26507" fmla="*/ 3947593 w 10505529"/>
              <a:gd name="connsiteY26507" fmla="*/ 3046633 h 7458372"/>
              <a:gd name="connsiteX26508" fmla="*/ 3959309 w 10505529"/>
              <a:gd name="connsiteY26508" fmla="*/ 3049161 h 7458372"/>
              <a:gd name="connsiteX26509" fmla="*/ 3968627 w 10505529"/>
              <a:gd name="connsiteY26509" fmla="*/ 3055552 h 7458372"/>
              <a:gd name="connsiteX26510" fmla="*/ 3974751 w 10505529"/>
              <a:gd name="connsiteY26510" fmla="*/ 3065002 h 7458372"/>
              <a:gd name="connsiteX26511" fmla="*/ 3977015 w 10505529"/>
              <a:gd name="connsiteY26511" fmla="*/ 3076451 h 7458372"/>
              <a:gd name="connsiteX26512" fmla="*/ 3974751 w 10505529"/>
              <a:gd name="connsiteY26512" fmla="*/ 3088165 h 7458372"/>
              <a:gd name="connsiteX26513" fmla="*/ 3968627 w 10505529"/>
              <a:gd name="connsiteY26513" fmla="*/ 3097485 h 7458372"/>
              <a:gd name="connsiteX26514" fmla="*/ 3959309 w 10505529"/>
              <a:gd name="connsiteY26514" fmla="*/ 3103740 h 7458372"/>
              <a:gd name="connsiteX26515" fmla="*/ 3947593 w 10505529"/>
              <a:gd name="connsiteY26515" fmla="*/ 3106003 h 7458372"/>
              <a:gd name="connsiteX26516" fmla="*/ 3925761 w 10505529"/>
              <a:gd name="connsiteY26516" fmla="*/ 3097485 h 7458372"/>
              <a:gd name="connsiteX26517" fmla="*/ 3917374 w 10505529"/>
              <a:gd name="connsiteY26517" fmla="*/ 3076318 h 7458372"/>
              <a:gd name="connsiteX26518" fmla="*/ 3925761 w 10505529"/>
              <a:gd name="connsiteY26518" fmla="*/ 3055286 h 7458372"/>
              <a:gd name="connsiteX26519" fmla="*/ 3947593 w 10505529"/>
              <a:gd name="connsiteY26519" fmla="*/ 3046633 h 7458372"/>
              <a:gd name="connsiteX26520" fmla="*/ 3729940 w 10505529"/>
              <a:gd name="connsiteY26520" fmla="*/ 3046633 h 7458372"/>
              <a:gd name="connsiteX26521" fmla="*/ 3741655 w 10505529"/>
              <a:gd name="connsiteY26521" fmla="*/ 3049161 h 7458372"/>
              <a:gd name="connsiteX26522" fmla="*/ 3750974 w 10505529"/>
              <a:gd name="connsiteY26522" fmla="*/ 3055552 h 7458372"/>
              <a:gd name="connsiteX26523" fmla="*/ 3757096 w 10505529"/>
              <a:gd name="connsiteY26523" fmla="*/ 3065002 h 7458372"/>
              <a:gd name="connsiteX26524" fmla="*/ 3759359 w 10505529"/>
              <a:gd name="connsiteY26524" fmla="*/ 3076451 h 7458372"/>
              <a:gd name="connsiteX26525" fmla="*/ 3757096 w 10505529"/>
              <a:gd name="connsiteY26525" fmla="*/ 3088165 h 7458372"/>
              <a:gd name="connsiteX26526" fmla="*/ 3750974 w 10505529"/>
              <a:gd name="connsiteY26526" fmla="*/ 3097485 h 7458372"/>
              <a:gd name="connsiteX26527" fmla="*/ 3741655 w 10505529"/>
              <a:gd name="connsiteY26527" fmla="*/ 3103740 h 7458372"/>
              <a:gd name="connsiteX26528" fmla="*/ 3729940 w 10505529"/>
              <a:gd name="connsiteY26528" fmla="*/ 3106003 h 7458372"/>
              <a:gd name="connsiteX26529" fmla="*/ 3708104 w 10505529"/>
              <a:gd name="connsiteY26529" fmla="*/ 3097485 h 7458372"/>
              <a:gd name="connsiteX26530" fmla="*/ 3699718 w 10505529"/>
              <a:gd name="connsiteY26530" fmla="*/ 3076318 h 7458372"/>
              <a:gd name="connsiteX26531" fmla="*/ 3708104 w 10505529"/>
              <a:gd name="connsiteY26531" fmla="*/ 3055286 h 7458372"/>
              <a:gd name="connsiteX26532" fmla="*/ 3729940 w 10505529"/>
              <a:gd name="connsiteY26532" fmla="*/ 3046633 h 7458372"/>
              <a:gd name="connsiteX26533" fmla="*/ 3512286 w 10505529"/>
              <a:gd name="connsiteY26533" fmla="*/ 3046633 h 7458372"/>
              <a:gd name="connsiteX26534" fmla="*/ 3524002 w 10505529"/>
              <a:gd name="connsiteY26534" fmla="*/ 3049161 h 7458372"/>
              <a:gd name="connsiteX26535" fmla="*/ 3533320 w 10505529"/>
              <a:gd name="connsiteY26535" fmla="*/ 3055552 h 7458372"/>
              <a:gd name="connsiteX26536" fmla="*/ 3539443 w 10505529"/>
              <a:gd name="connsiteY26536" fmla="*/ 3065002 h 7458372"/>
              <a:gd name="connsiteX26537" fmla="*/ 3541706 w 10505529"/>
              <a:gd name="connsiteY26537" fmla="*/ 3076451 h 7458372"/>
              <a:gd name="connsiteX26538" fmla="*/ 3539443 w 10505529"/>
              <a:gd name="connsiteY26538" fmla="*/ 3088165 h 7458372"/>
              <a:gd name="connsiteX26539" fmla="*/ 3533320 w 10505529"/>
              <a:gd name="connsiteY26539" fmla="*/ 3097485 h 7458372"/>
              <a:gd name="connsiteX26540" fmla="*/ 3524002 w 10505529"/>
              <a:gd name="connsiteY26540" fmla="*/ 3103740 h 7458372"/>
              <a:gd name="connsiteX26541" fmla="*/ 3512286 w 10505529"/>
              <a:gd name="connsiteY26541" fmla="*/ 3106003 h 7458372"/>
              <a:gd name="connsiteX26542" fmla="*/ 3490452 w 10505529"/>
              <a:gd name="connsiteY26542" fmla="*/ 3097485 h 7458372"/>
              <a:gd name="connsiteX26543" fmla="*/ 3482065 w 10505529"/>
              <a:gd name="connsiteY26543" fmla="*/ 3076318 h 7458372"/>
              <a:gd name="connsiteX26544" fmla="*/ 3490452 w 10505529"/>
              <a:gd name="connsiteY26544" fmla="*/ 3055286 h 7458372"/>
              <a:gd name="connsiteX26545" fmla="*/ 3512286 w 10505529"/>
              <a:gd name="connsiteY26545" fmla="*/ 3046633 h 7458372"/>
              <a:gd name="connsiteX26546" fmla="*/ 3294765 w 10505529"/>
              <a:gd name="connsiteY26546" fmla="*/ 3046633 h 7458372"/>
              <a:gd name="connsiteX26547" fmla="*/ 3306481 w 10505529"/>
              <a:gd name="connsiteY26547" fmla="*/ 3049161 h 7458372"/>
              <a:gd name="connsiteX26548" fmla="*/ 3315799 w 10505529"/>
              <a:gd name="connsiteY26548" fmla="*/ 3055552 h 7458372"/>
              <a:gd name="connsiteX26549" fmla="*/ 3321922 w 10505529"/>
              <a:gd name="connsiteY26549" fmla="*/ 3065002 h 7458372"/>
              <a:gd name="connsiteX26550" fmla="*/ 3324185 w 10505529"/>
              <a:gd name="connsiteY26550" fmla="*/ 3076451 h 7458372"/>
              <a:gd name="connsiteX26551" fmla="*/ 3321922 w 10505529"/>
              <a:gd name="connsiteY26551" fmla="*/ 3088165 h 7458372"/>
              <a:gd name="connsiteX26552" fmla="*/ 3315799 w 10505529"/>
              <a:gd name="connsiteY26552" fmla="*/ 3097485 h 7458372"/>
              <a:gd name="connsiteX26553" fmla="*/ 3306481 w 10505529"/>
              <a:gd name="connsiteY26553" fmla="*/ 3103740 h 7458372"/>
              <a:gd name="connsiteX26554" fmla="*/ 3294765 w 10505529"/>
              <a:gd name="connsiteY26554" fmla="*/ 3106003 h 7458372"/>
              <a:gd name="connsiteX26555" fmla="*/ 3272930 w 10505529"/>
              <a:gd name="connsiteY26555" fmla="*/ 3097485 h 7458372"/>
              <a:gd name="connsiteX26556" fmla="*/ 3264543 w 10505529"/>
              <a:gd name="connsiteY26556" fmla="*/ 3076318 h 7458372"/>
              <a:gd name="connsiteX26557" fmla="*/ 3272930 w 10505529"/>
              <a:gd name="connsiteY26557" fmla="*/ 3055286 h 7458372"/>
              <a:gd name="connsiteX26558" fmla="*/ 3294765 w 10505529"/>
              <a:gd name="connsiteY26558" fmla="*/ 3046633 h 7458372"/>
              <a:gd name="connsiteX26559" fmla="*/ 3077111 w 10505529"/>
              <a:gd name="connsiteY26559" fmla="*/ 3046633 h 7458372"/>
              <a:gd name="connsiteX26560" fmla="*/ 3088827 w 10505529"/>
              <a:gd name="connsiteY26560" fmla="*/ 3049161 h 7458372"/>
              <a:gd name="connsiteX26561" fmla="*/ 3098145 w 10505529"/>
              <a:gd name="connsiteY26561" fmla="*/ 3055552 h 7458372"/>
              <a:gd name="connsiteX26562" fmla="*/ 3104268 w 10505529"/>
              <a:gd name="connsiteY26562" fmla="*/ 3065002 h 7458372"/>
              <a:gd name="connsiteX26563" fmla="*/ 3106531 w 10505529"/>
              <a:gd name="connsiteY26563" fmla="*/ 3076451 h 7458372"/>
              <a:gd name="connsiteX26564" fmla="*/ 3104268 w 10505529"/>
              <a:gd name="connsiteY26564" fmla="*/ 3088165 h 7458372"/>
              <a:gd name="connsiteX26565" fmla="*/ 3098145 w 10505529"/>
              <a:gd name="connsiteY26565" fmla="*/ 3097485 h 7458372"/>
              <a:gd name="connsiteX26566" fmla="*/ 3088827 w 10505529"/>
              <a:gd name="connsiteY26566" fmla="*/ 3103740 h 7458372"/>
              <a:gd name="connsiteX26567" fmla="*/ 3077111 w 10505529"/>
              <a:gd name="connsiteY26567" fmla="*/ 3106003 h 7458372"/>
              <a:gd name="connsiteX26568" fmla="*/ 3055276 w 10505529"/>
              <a:gd name="connsiteY26568" fmla="*/ 3097485 h 7458372"/>
              <a:gd name="connsiteX26569" fmla="*/ 3046890 w 10505529"/>
              <a:gd name="connsiteY26569" fmla="*/ 3076318 h 7458372"/>
              <a:gd name="connsiteX26570" fmla="*/ 3055276 w 10505529"/>
              <a:gd name="connsiteY26570" fmla="*/ 3055286 h 7458372"/>
              <a:gd name="connsiteX26571" fmla="*/ 3077111 w 10505529"/>
              <a:gd name="connsiteY26571" fmla="*/ 3046633 h 7458372"/>
              <a:gd name="connsiteX26572" fmla="*/ 2859458 w 10505529"/>
              <a:gd name="connsiteY26572" fmla="*/ 3046633 h 7458372"/>
              <a:gd name="connsiteX26573" fmla="*/ 2871306 w 10505529"/>
              <a:gd name="connsiteY26573" fmla="*/ 3049161 h 7458372"/>
              <a:gd name="connsiteX26574" fmla="*/ 2880624 w 10505529"/>
              <a:gd name="connsiteY26574" fmla="*/ 3055552 h 7458372"/>
              <a:gd name="connsiteX26575" fmla="*/ 2886747 w 10505529"/>
              <a:gd name="connsiteY26575" fmla="*/ 3065002 h 7458372"/>
              <a:gd name="connsiteX26576" fmla="*/ 2889010 w 10505529"/>
              <a:gd name="connsiteY26576" fmla="*/ 3076451 h 7458372"/>
              <a:gd name="connsiteX26577" fmla="*/ 2886747 w 10505529"/>
              <a:gd name="connsiteY26577" fmla="*/ 3088165 h 7458372"/>
              <a:gd name="connsiteX26578" fmla="*/ 2880624 w 10505529"/>
              <a:gd name="connsiteY26578" fmla="*/ 3097485 h 7458372"/>
              <a:gd name="connsiteX26579" fmla="*/ 2871306 w 10505529"/>
              <a:gd name="connsiteY26579" fmla="*/ 3103740 h 7458372"/>
              <a:gd name="connsiteX26580" fmla="*/ 2859458 w 10505529"/>
              <a:gd name="connsiteY26580" fmla="*/ 3106003 h 7458372"/>
              <a:gd name="connsiteX26581" fmla="*/ 2837623 w 10505529"/>
              <a:gd name="connsiteY26581" fmla="*/ 3097485 h 7458372"/>
              <a:gd name="connsiteX26582" fmla="*/ 2829236 w 10505529"/>
              <a:gd name="connsiteY26582" fmla="*/ 3076318 h 7458372"/>
              <a:gd name="connsiteX26583" fmla="*/ 2837623 w 10505529"/>
              <a:gd name="connsiteY26583" fmla="*/ 3055286 h 7458372"/>
              <a:gd name="connsiteX26584" fmla="*/ 2859458 w 10505529"/>
              <a:gd name="connsiteY26584" fmla="*/ 3046633 h 7458372"/>
              <a:gd name="connsiteX26585" fmla="*/ 2641803 w 10505529"/>
              <a:gd name="connsiteY26585" fmla="*/ 3046633 h 7458372"/>
              <a:gd name="connsiteX26586" fmla="*/ 2653519 w 10505529"/>
              <a:gd name="connsiteY26586" fmla="*/ 3049161 h 7458372"/>
              <a:gd name="connsiteX26587" fmla="*/ 2662837 w 10505529"/>
              <a:gd name="connsiteY26587" fmla="*/ 3055552 h 7458372"/>
              <a:gd name="connsiteX26588" fmla="*/ 2668960 w 10505529"/>
              <a:gd name="connsiteY26588" fmla="*/ 3065002 h 7458372"/>
              <a:gd name="connsiteX26589" fmla="*/ 2671223 w 10505529"/>
              <a:gd name="connsiteY26589" fmla="*/ 3076451 h 7458372"/>
              <a:gd name="connsiteX26590" fmla="*/ 2668960 w 10505529"/>
              <a:gd name="connsiteY26590" fmla="*/ 3088165 h 7458372"/>
              <a:gd name="connsiteX26591" fmla="*/ 2662837 w 10505529"/>
              <a:gd name="connsiteY26591" fmla="*/ 3097485 h 7458372"/>
              <a:gd name="connsiteX26592" fmla="*/ 2653519 w 10505529"/>
              <a:gd name="connsiteY26592" fmla="*/ 3103740 h 7458372"/>
              <a:gd name="connsiteX26593" fmla="*/ 2641803 w 10505529"/>
              <a:gd name="connsiteY26593" fmla="*/ 3106003 h 7458372"/>
              <a:gd name="connsiteX26594" fmla="*/ 2619971 w 10505529"/>
              <a:gd name="connsiteY26594" fmla="*/ 3097485 h 7458372"/>
              <a:gd name="connsiteX26595" fmla="*/ 2611583 w 10505529"/>
              <a:gd name="connsiteY26595" fmla="*/ 3076318 h 7458372"/>
              <a:gd name="connsiteX26596" fmla="*/ 2619971 w 10505529"/>
              <a:gd name="connsiteY26596" fmla="*/ 3055286 h 7458372"/>
              <a:gd name="connsiteX26597" fmla="*/ 2641803 w 10505529"/>
              <a:gd name="connsiteY26597" fmla="*/ 3046633 h 7458372"/>
              <a:gd name="connsiteX26598" fmla="*/ 2424149 w 10505529"/>
              <a:gd name="connsiteY26598" fmla="*/ 3046633 h 7458372"/>
              <a:gd name="connsiteX26599" fmla="*/ 2435865 w 10505529"/>
              <a:gd name="connsiteY26599" fmla="*/ 3049161 h 7458372"/>
              <a:gd name="connsiteX26600" fmla="*/ 2445183 w 10505529"/>
              <a:gd name="connsiteY26600" fmla="*/ 3055552 h 7458372"/>
              <a:gd name="connsiteX26601" fmla="*/ 2451306 w 10505529"/>
              <a:gd name="connsiteY26601" fmla="*/ 3065002 h 7458372"/>
              <a:gd name="connsiteX26602" fmla="*/ 2453569 w 10505529"/>
              <a:gd name="connsiteY26602" fmla="*/ 3076451 h 7458372"/>
              <a:gd name="connsiteX26603" fmla="*/ 2451306 w 10505529"/>
              <a:gd name="connsiteY26603" fmla="*/ 3088165 h 7458372"/>
              <a:gd name="connsiteX26604" fmla="*/ 2445183 w 10505529"/>
              <a:gd name="connsiteY26604" fmla="*/ 3097485 h 7458372"/>
              <a:gd name="connsiteX26605" fmla="*/ 2435865 w 10505529"/>
              <a:gd name="connsiteY26605" fmla="*/ 3103740 h 7458372"/>
              <a:gd name="connsiteX26606" fmla="*/ 2424149 w 10505529"/>
              <a:gd name="connsiteY26606" fmla="*/ 3106003 h 7458372"/>
              <a:gd name="connsiteX26607" fmla="*/ 2402317 w 10505529"/>
              <a:gd name="connsiteY26607" fmla="*/ 3097485 h 7458372"/>
              <a:gd name="connsiteX26608" fmla="*/ 2393929 w 10505529"/>
              <a:gd name="connsiteY26608" fmla="*/ 3076318 h 7458372"/>
              <a:gd name="connsiteX26609" fmla="*/ 2402317 w 10505529"/>
              <a:gd name="connsiteY26609" fmla="*/ 3055286 h 7458372"/>
              <a:gd name="connsiteX26610" fmla="*/ 2424149 w 10505529"/>
              <a:gd name="connsiteY26610" fmla="*/ 3046633 h 7458372"/>
              <a:gd name="connsiteX26611" fmla="*/ 2206496 w 10505529"/>
              <a:gd name="connsiteY26611" fmla="*/ 3046633 h 7458372"/>
              <a:gd name="connsiteX26612" fmla="*/ 2218211 w 10505529"/>
              <a:gd name="connsiteY26612" fmla="*/ 3049161 h 7458372"/>
              <a:gd name="connsiteX26613" fmla="*/ 2227529 w 10505529"/>
              <a:gd name="connsiteY26613" fmla="*/ 3055552 h 7458372"/>
              <a:gd name="connsiteX26614" fmla="*/ 2233652 w 10505529"/>
              <a:gd name="connsiteY26614" fmla="*/ 3065002 h 7458372"/>
              <a:gd name="connsiteX26615" fmla="*/ 2235915 w 10505529"/>
              <a:gd name="connsiteY26615" fmla="*/ 3076451 h 7458372"/>
              <a:gd name="connsiteX26616" fmla="*/ 2233652 w 10505529"/>
              <a:gd name="connsiteY26616" fmla="*/ 3088165 h 7458372"/>
              <a:gd name="connsiteX26617" fmla="*/ 2227529 w 10505529"/>
              <a:gd name="connsiteY26617" fmla="*/ 3097485 h 7458372"/>
              <a:gd name="connsiteX26618" fmla="*/ 2218211 w 10505529"/>
              <a:gd name="connsiteY26618" fmla="*/ 3103740 h 7458372"/>
              <a:gd name="connsiteX26619" fmla="*/ 2206496 w 10505529"/>
              <a:gd name="connsiteY26619" fmla="*/ 3106003 h 7458372"/>
              <a:gd name="connsiteX26620" fmla="*/ 2184663 w 10505529"/>
              <a:gd name="connsiteY26620" fmla="*/ 3097485 h 7458372"/>
              <a:gd name="connsiteX26621" fmla="*/ 2176276 w 10505529"/>
              <a:gd name="connsiteY26621" fmla="*/ 3076318 h 7458372"/>
              <a:gd name="connsiteX26622" fmla="*/ 2184663 w 10505529"/>
              <a:gd name="connsiteY26622" fmla="*/ 3055286 h 7458372"/>
              <a:gd name="connsiteX26623" fmla="*/ 2206496 w 10505529"/>
              <a:gd name="connsiteY26623" fmla="*/ 3046633 h 7458372"/>
              <a:gd name="connsiteX26624" fmla="*/ 1988975 w 10505529"/>
              <a:gd name="connsiteY26624" fmla="*/ 3046633 h 7458372"/>
              <a:gd name="connsiteX26625" fmla="*/ 2000690 w 10505529"/>
              <a:gd name="connsiteY26625" fmla="*/ 3049161 h 7458372"/>
              <a:gd name="connsiteX26626" fmla="*/ 2010008 w 10505529"/>
              <a:gd name="connsiteY26626" fmla="*/ 3055552 h 7458372"/>
              <a:gd name="connsiteX26627" fmla="*/ 2016131 w 10505529"/>
              <a:gd name="connsiteY26627" fmla="*/ 3065002 h 7458372"/>
              <a:gd name="connsiteX26628" fmla="*/ 2018394 w 10505529"/>
              <a:gd name="connsiteY26628" fmla="*/ 3076451 h 7458372"/>
              <a:gd name="connsiteX26629" fmla="*/ 2016131 w 10505529"/>
              <a:gd name="connsiteY26629" fmla="*/ 3088165 h 7458372"/>
              <a:gd name="connsiteX26630" fmla="*/ 2010008 w 10505529"/>
              <a:gd name="connsiteY26630" fmla="*/ 3097485 h 7458372"/>
              <a:gd name="connsiteX26631" fmla="*/ 2000690 w 10505529"/>
              <a:gd name="connsiteY26631" fmla="*/ 3103740 h 7458372"/>
              <a:gd name="connsiteX26632" fmla="*/ 1988975 w 10505529"/>
              <a:gd name="connsiteY26632" fmla="*/ 3106003 h 7458372"/>
              <a:gd name="connsiteX26633" fmla="*/ 1967143 w 10505529"/>
              <a:gd name="connsiteY26633" fmla="*/ 3097485 h 7458372"/>
              <a:gd name="connsiteX26634" fmla="*/ 1958757 w 10505529"/>
              <a:gd name="connsiteY26634" fmla="*/ 3076318 h 7458372"/>
              <a:gd name="connsiteX26635" fmla="*/ 1967143 w 10505529"/>
              <a:gd name="connsiteY26635" fmla="*/ 3055286 h 7458372"/>
              <a:gd name="connsiteX26636" fmla="*/ 1988975 w 10505529"/>
              <a:gd name="connsiteY26636" fmla="*/ 3046633 h 7458372"/>
              <a:gd name="connsiteX26637" fmla="*/ 1771336 w 10505529"/>
              <a:gd name="connsiteY26637" fmla="*/ 3046633 h 7458372"/>
              <a:gd name="connsiteX26638" fmla="*/ 1783050 w 10505529"/>
              <a:gd name="connsiteY26638" fmla="*/ 3049161 h 7458372"/>
              <a:gd name="connsiteX26639" fmla="*/ 1792368 w 10505529"/>
              <a:gd name="connsiteY26639" fmla="*/ 3055552 h 7458372"/>
              <a:gd name="connsiteX26640" fmla="*/ 1798491 w 10505529"/>
              <a:gd name="connsiteY26640" fmla="*/ 3065002 h 7458372"/>
              <a:gd name="connsiteX26641" fmla="*/ 1800754 w 10505529"/>
              <a:gd name="connsiteY26641" fmla="*/ 3076451 h 7458372"/>
              <a:gd name="connsiteX26642" fmla="*/ 1798491 w 10505529"/>
              <a:gd name="connsiteY26642" fmla="*/ 3088165 h 7458372"/>
              <a:gd name="connsiteX26643" fmla="*/ 1792368 w 10505529"/>
              <a:gd name="connsiteY26643" fmla="*/ 3097485 h 7458372"/>
              <a:gd name="connsiteX26644" fmla="*/ 1783050 w 10505529"/>
              <a:gd name="connsiteY26644" fmla="*/ 3103740 h 7458372"/>
              <a:gd name="connsiteX26645" fmla="*/ 1771336 w 10505529"/>
              <a:gd name="connsiteY26645" fmla="*/ 3106003 h 7458372"/>
              <a:gd name="connsiteX26646" fmla="*/ 1749506 w 10505529"/>
              <a:gd name="connsiteY26646" fmla="*/ 3097485 h 7458372"/>
              <a:gd name="connsiteX26647" fmla="*/ 1741121 w 10505529"/>
              <a:gd name="connsiteY26647" fmla="*/ 3076318 h 7458372"/>
              <a:gd name="connsiteX26648" fmla="*/ 1749506 w 10505529"/>
              <a:gd name="connsiteY26648" fmla="*/ 3055286 h 7458372"/>
              <a:gd name="connsiteX26649" fmla="*/ 1771336 w 10505529"/>
              <a:gd name="connsiteY26649" fmla="*/ 3046633 h 7458372"/>
              <a:gd name="connsiteX26650" fmla="*/ 1553695 w 10505529"/>
              <a:gd name="connsiteY26650" fmla="*/ 3046633 h 7458372"/>
              <a:gd name="connsiteX26651" fmla="*/ 1565410 w 10505529"/>
              <a:gd name="connsiteY26651" fmla="*/ 3049161 h 7458372"/>
              <a:gd name="connsiteX26652" fmla="*/ 1574728 w 10505529"/>
              <a:gd name="connsiteY26652" fmla="*/ 3055552 h 7458372"/>
              <a:gd name="connsiteX26653" fmla="*/ 1580851 w 10505529"/>
              <a:gd name="connsiteY26653" fmla="*/ 3065002 h 7458372"/>
              <a:gd name="connsiteX26654" fmla="*/ 1583114 w 10505529"/>
              <a:gd name="connsiteY26654" fmla="*/ 3076451 h 7458372"/>
              <a:gd name="connsiteX26655" fmla="*/ 1580851 w 10505529"/>
              <a:gd name="connsiteY26655" fmla="*/ 3088165 h 7458372"/>
              <a:gd name="connsiteX26656" fmla="*/ 1574728 w 10505529"/>
              <a:gd name="connsiteY26656" fmla="*/ 3097485 h 7458372"/>
              <a:gd name="connsiteX26657" fmla="*/ 1565410 w 10505529"/>
              <a:gd name="connsiteY26657" fmla="*/ 3103740 h 7458372"/>
              <a:gd name="connsiteX26658" fmla="*/ 1553695 w 10505529"/>
              <a:gd name="connsiteY26658" fmla="*/ 3106003 h 7458372"/>
              <a:gd name="connsiteX26659" fmla="*/ 1531864 w 10505529"/>
              <a:gd name="connsiteY26659" fmla="*/ 3097485 h 7458372"/>
              <a:gd name="connsiteX26660" fmla="*/ 1523479 w 10505529"/>
              <a:gd name="connsiteY26660" fmla="*/ 3076318 h 7458372"/>
              <a:gd name="connsiteX26661" fmla="*/ 1531864 w 10505529"/>
              <a:gd name="connsiteY26661" fmla="*/ 3055286 h 7458372"/>
              <a:gd name="connsiteX26662" fmla="*/ 1553695 w 10505529"/>
              <a:gd name="connsiteY26662" fmla="*/ 3046633 h 7458372"/>
              <a:gd name="connsiteX26663" fmla="*/ 1336051 w 10505529"/>
              <a:gd name="connsiteY26663" fmla="*/ 3046633 h 7458372"/>
              <a:gd name="connsiteX26664" fmla="*/ 1347767 w 10505529"/>
              <a:gd name="connsiteY26664" fmla="*/ 3049161 h 7458372"/>
              <a:gd name="connsiteX26665" fmla="*/ 1357085 w 10505529"/>
              <a:gd name="connsiteY26665" fmla="*/ 3055552 h 7458372"/>
              <a:gd name="connsiteX26666" fmla="*/ 1363207 w 10505529"/>
              <a:gd name="connsiteY26666" fmla="*/ 3065002 h 7458372"/>
              <a:gd name="connsiteX26667" fmla="*/ 1365470 w 10505529"/>
              <a:gd name="connsiteY26667" fmla="*/ 3076451 h 7458372"/>
              <a:gd name="connsiteX26668" fmla="*/ 1363207 w 10505529"/>
              <a:gd name="connsiteY26668" fmla="*/ 3088165 h 7458372"/>
              <a:gd name="connsiteX26669" fmla="*/ 1357085 w 10505529"/>
              <a:gd name="connsiteY26669" fmla="*/ 3097485 h 7458372"/>
              <a:gd name="connsiteX26670" fmla="*/ 1347767 w 10505529"/>
              <a:gd name="connsiteY26670" fmla="*/ 3103740 h 7458372"/>
              <a:gd name="connsiteX26671" fmla="*/ 1336051 w 10505529"/>
              <a:gd name="connsiteY26671" fmla="*/ 3106003 h 7458372"/>
              <a:gd name="connsiteX26672" fmla="*/ 1314219 w 10505529"/>
              <a:gd name="connsiteY26672" fmla="*/ 3097485 h 7458372"/>
              <a:gd name="connsiteX26673" fmla="*/ 1305833 w 10505529"/>
              <a:gd name="connsiteY26673" fmla="*/ 3076318 h 7458372"/>
              <a:gd name="connsiteX26674" fmla="*/ 1314219 w 10505529"/>
              <a:gd name="connsiteY26674" fmla="*/ 3055286 h 7458372"/>
              <a:gd name="connsiteX26675" fmla="*/ 1336051 w 10505529"/>
              <a:gd name="connsiteY26675" fmla="*/ 3046633 h 7458372"/>
              <a:gd name="connsiteX26676" fmla="*/ 1118406 w 10505529"/>
              <a:gd name="connsiteY26676" fmla="*/ 3046633 h 7458372"/>
              <a:gd name="connsiteX26677" fmla="*/ 1130123 w 10505529"/>
              <a:gd name="connsiteY26677" fmla="*/ 3049161 h 7458372"/>
              <a:gd name="connsiteX26678" fmla="*/ 1139439 w 10505529"/>
              <a:gd name="connsiteY26678" fmla="*/ 3055552 h 7458372"/>
              <a:gd name="connsiteX26679" fmla="*/ 1145560 w 10505529"/>
              <a:gd name="connsiteY26679" fmla="*/ 3065002 h 7458372"/>
              <a:gd name="connsiteX26680" fmla="*/ 1147824 w 10505529"/>
              <a:gd name="connsiteY26680" fmla="*/ 3076451 h 7458372"/>
              <a:gd name="connsiteX26681" fmla="*/ 1145560 w 10505529"/>
              <a:gd name="connsiteY26681" fmla="*/ 3088165 h 7458372"/>
              <a:gd name="connsiteX26682" fmla="*/ 1139439 w 10505529"/>
              <a:gd name="connsiteY26682" fmla="*/ 3097485 h 7458372"/>
              <a:gd name="connsiteX26683" fmla="*/ 1130123 w 10505529"/>
              <a:gd name="connsiteY26683" fmla="*/ 3103740 h 7458372"/>
              <a:gd name="connsiteX26684" fmla="*/ 1118406 w 10505529"/>
              <a:gd name="connsiteY26684" fmla="*/ 3106003 h 7458372"/>
              <a:gd name="connsiteX26685" fmla="*/ 1096572 w 10505529"/>
              <a:gd name="connsiteY26685" fmla="*/ 3097485 h 7458372"/>
              <a:gd name="connsiteX26686" fmla="*/ 1088187 w 10505529"/>
              <a:gd name="connsiteY26686" fmla="*/ 3076318 h 7458372"/>
              <a:gd name="connsiteX26687" fmla="*/ 1096572 w 10505529"/>
              <a:gd name="connsiteY26687" fmla="*/ 3055286 h 7458372"/>
              <a:gd name="connsiteX26688" fmla="*/ 1118406 w 10505529"/>
              <a:gd name="connsiteY26688" fmla="*/ 3046633 h 7458372"/>
              <a:gd name="connsiteX26689" fmla="*/ 900893 w 10505529"/>
              <a:gd name="connsiteY26689" fmla="*/ 3046633 h 7458372"/>
              <a:gd name="connsiteX26690" fmla="*/ 912608 w 10505529"/>
              <a:gd name="connsiteY26690" fmla="*/ 3049161 h 7458372"/>
              <a:gd name="connsiteX26691" fmla="*/ 921927 w 10505529"/>
              <a:gd name="connsiteY26691" fmla="*/ 3055552 h 7458372"/>
              <a:gd name="connsiteX26692" fmla="*/ 928049 w 10505529"/>
              <a:gd name="connsiteY26692" fmla="*/ 3065002 h 7458372"/>
              <a:gd name="connsiteX26693" fmla="*/ 930312 w 10505529"/>
              <a:gd name="connsiteY26693" fmla="*/ 3076451 h 7458372"/>
              <a:gd name="connsiteX26694" fmla="*/ 928049 w 10505529"/>
              <a:gd name="connsiteY26694" fmla="*/ 3088165 h 7458372"/>
              <a:gd name="connsiteX26695" fmla="*/ 921927 w 10505529"/>
              <a:gd name="connsiteY26695" fmla="*/ 3097485 h 7458372"/>
              <a:gd name="connsiteX26696" fmla="*/ 912608 w 10505529"/>
              <a:gd name="connsiteY26696" fmla="*/ 3103740 h 7458372"/>
              <a:gd name="connsiteX26697" fmla="*/ 900893 w 10505529"/>
              <a:gd name="connsiteY26697" fmla="*/ 3106003 h 7458372"/>
              <a:gd name="connsiteX26698" fmla="*/ 879062 w 10505529"/>
              <a:gd name="connsiteY26698" fmla="*/ 3097485 h 7458372"/>
              <a:gd name="connsiteX26699" fmla="*/ 870677 w 10505529"/>
              <a:gd name="connsiteY26699" fmla="*/ 3076318 h 7458372"/>
              <a:gd name="connsiteX26700" fmla="*/ 879062 w 10505529"/>
              <a:gd name="connsiteY26700" fmla="*/ 3055286 h 7458372"/>
              <a:gd name="connsiteX26701" fmla="*/ 900893 w 10505529"/>
              <a:gd name="connsiteY26701" fmla="*/ 3046633 h 7458372"/>
              <a:gd name="connsiteX26702" fmla="*/ 683251 w 10505529"/>
              <a:gd name="connsiteY26702" fmla="*/ 3046633 h 7458372"/>
              <a:gd name="connsiteX26703" fmla="*/ 694966 w 10505529"/>
              <a:gd name="connsiteY26703" fmla="*/ 3049161 h 7458372"/>
              <a:gd name="connsiteX26704" fmla="*/ 704284 w 10505529"/>
              <a:gd name="connsiteY26704" fmla="*/ 3055552 h 7458372"/>
              <a:gd name="connsiteX26705" fmla="*/ 710407 w 10505529"/>
              <a:gd name="connsiteY26705" fmla="*/ 3065002 h 7458372"/>
              <a:gd name="connsiteX26706" fmla="*/ 712670 w 10505529"/>
              <a:gd name="connsiteY26706" fmla="*/ 3076451 h 7458372"/>
              <a:gd name="connsiteX26707" fmla="*/ 710407 w 10505529"/>
              <a:gd name="connsiteY26707" fmla="*/ 3088165 h 7458372"/>
              <a:gd name="connsiteX26708" fmla="*/ 704284 w 10505529"/>
              <a:gd name="connsiteY26708" fmla="*/ 3097485 h 7458372"/>
              <a:gd name="connsiteX26709" fmla="*/ 694966 w 10505529"/>
              <a:gd name="connsiteY26709" fmla="*/ 3103740 h 7458372"/>
              <a:gd name="connsiteX26710" fmla="*/ 683251 w 10505529"/>
              <a:gd name="connsiteY26710" fmla="*/ 3106003 h 7458372"/>
              <a:gd name="connsiteX26711" fmla="*/ 661420 w 10505529"/>
              <a:gd name="connsiteY26711" fmla="*/ 3097485 h 7458372"/>
              <a:gd name="connsiteX26712" fmla="*/ 653034 w 10505529"/>
              <a:gd name="connsiteY26712" fmla="*/ 3076318 h 7458372"/>
              <a:gd name="connsiteX26713" fmla="*/ 661420 w 10505529"/>
              <a:gd name="connsiteY26713" fmla="*/ 3055286 h 7458372"/>
              <a:gd name="connsiteX26714" fmla="*/ 683251 w 10505529"/>
              <a:gd name="connsiteY26714" fmla="*/ 3046633 h 7458372"/>
              <a:gd name="connsiteX26715" fmla="*/ 465608 w 10505529"/>
              <a:gd name="connsiteY26715" fmla="*/ 3046633 h 7458372"/>
              <a:gd name="connsiteX26716" fmla="*/ 477324 w 10505529"/>
              <a:gd name="connsiteY26716" fmla="*/ 3049161 h 7458372"/>
              <a:gd name="connsiteX26717" fmla="*/ 486641 w 10505529"/>
              <a:gd name="connsiteY26717" fmla="*/ 3055552 h 7458372"/>
              <a:gd name="connsiteX26718" fmla="*/ 492764 w 10505529"/>
              <a:gd name="connsiteY26718" fmla="*/ 3065002 h 7458372"/>
              <a:gd name="connsiteX26719" fmla="*/ 495027 w 10505529"/>
              <a:gd name="connsiteY26719" fmla="*/ 3076451 h 7458372"/>
              <a:gd name="connsiteX26720" fmla="*/ 492764 w 10505529"/>
              <a:gd name="connsiteY26720" fmla="*/ 3088165 h 7458372"/>
              <a:gd name="connsiteX26721" fmla="*/ 486641 w 10505529"/>
              <a:gd name="connsiteY26721" fmla="*/ 3097485 h 7458372"/>
              <a:gd name="connsiteX26722" fmla="*/ 477324 w 10505529"/>
              <a:gd name="connsiteY26722" fmla="*/ 3103740 h 7458372"/>
              <a:gd name="connsiteX26723" fmla="*/ 465608 w 10505529"/>
              <a:gd name="connsiteY26723" fmla="*/ 3106003 h 7458372"/>
              <a:gd name="connsiteX26724" fmla="*/ 443777 w 10505529"/>
              <a:gd name="connsiteY26724" fmla="*/ 3097485 h 7458372"/>
              <a:gd name="connsiteX26725" fmla="*/ 435391 w 10505529"/>
              <a:gd name="connsiteY26725" fmla="*/ 3076318 h 7458372"/>
              <a:gd name="connsiteX26726" fmla="*/ 443777 w 10505529"/>
              <a:gd name="connsiteY26726" fmla="*/ 3055286 h 7458372"/>
              <a:gd name="connsiteX26727" fmla="*/ 465608 w 10505529"/>
              <a:gd name="connsiteY26727" fmla="*/ 3046633 h 7458372"/>
              <a:gd name="connsiteX26728" fmla="*/ 247965 w 10505529"/>
              <a:gd name="connsiteY26728" fmla="*/ 3046633 h 7458372"/>
              <a:gd name="connsiteX26729" fmla="*/ 259680 w 10505529"/>
              <a:gd name="connsiteY26729" fmla="*/ 3049161 h 7458372"/>
              <a:gd name="connsiteX26730" fmla="*/ 268998 w 10505529"/>
              <a:gd name="connsiteY26730" fmla="*/ 3055552 h 7458372"/>
              <a:gd name="connsiteX26731" fmla="*/ 275121 w 10505529"/>
              <a:gd name="connsiteY26731" fmla="*/ 3065002 h 7458372"/>
              <a:gd name="connsiteX26732" fmla="*/ 277384 w 10505529"/>
              <a:gd name="connsiteY26732" fmla="*/ 3076451 h 7458372"/>
              <a:gd name="connsiteX26733" fmla="*/ 275121 w 10505529"/>
              <a:gd name="connsiteY26733" fmla="*/ 3088165 h 7458372"/>
              <a:gd name="connsiteX26734" fmla="*/ 268998 w 10505529"/>
              <a:gd name="connsiteY26734" fmla="*/ 3097485 h 7458372"/>
              <a:gd name="connsiteX26735" fmla="*/ 259680 w 10505529"/>
              <a:gd name="connsiteY26735" fmla="*/ 3103740 h 7458372"/>
              <a:gd name="connsiteX26736" fmla="*/ 247965 w 10505529"/>
              <a:gd name="connsiteY26736" fmla="*/ 3106003 h 7458372"/>
              <a:gd name="connsiteX26737" fmla="*/ 226135 w 10505529"/>
              <a:gd name="connsiteY26737" fmla="*/ 3097485 h 7458372"/>
              <a:gd name="connsiteX26738" fmla="*/ 217749 w 10505529"/>
              <a:gd name="connsiteY26738" fmla="*/ 3076318 h 7458372"/>
              <a:gd name="connsiteX26739" fmla="*/ 226135 w 10505529"/>
              <a:gd name="connsiteY26739" fmla="*/ 3055286 h 7458372"/>
              <a:gd name="connsiteX26740" fmla="*/ 247965 w 10505529"/>
              <a:gd name="connsiteY26740" fmla="*/ 3046633 h 7458372"/>
              <a:gd name="connsiteX26741" fmla="*/ 30322 w 10505529"/>
              <a:gd name="connsiteY26741" fmla="*/ 3046633 h 7458372"/>
              <a:gd name="connsiteX26742" fmla="*/ 42038 w 10505529"/>
              <a:gd name="connsiteY26742" fmla="*/ 3049161 h 7458372"/>
              <a:gd name="connsiteX26743" fmla="*/ 51356 w 10505529"/>
              <a:gd name="connsiteY26743" fmla="*/ 3055552 h 7458372"/>
              <a:gd name="connsiteX26744" fmla="*/ 57479 w 10505529"/>
              <a:gd name="connsiteY26744" fmla="*/ 3065002 h 7458372"/>
              <a:gd name="connsiteX26745" fmla="*/ 59742 w 10505529"/>
              <a:gd name="connsiteY26745" fmla="*/ 3076451 h 7458372"/>
              <a:gd name="connsiteX26746" fmla="*/ 57479 w 10505529"/>
              <a:gd name="connsiteY26746" fmla="*/ 3088165 h 7458372"/>
              <a:gd name="connsiteX26747" fmla="*/ 51356 w 10505529"/>
              <a:gd name="connsiteY26747" fmla="*/ 3097485 h 7458372"/>
              <a:gd name="connsiteX26748" fmla="*/ 42038 w 10505529"/>
              <a:gd name="connsiteY26748" fmla="*/ 3103740 h 7458372"/>
              <a:gd name="connsiteX26749" fmla="*/ 30322 w 10505529"/>
              <a:gd name="connsiteY26749" fmla="*/ 3106003 h 7458372"/>
              <a:gd name="connsiteX26750" fmla="*/ 8493 w 10505529"/>
              <a:gd name="connsiteY26750" fmla="*/ 3097485 h 7458372"/>
              <a:gd name="connsiteX26751" fmla="*/ 107 w 10505529"/>
              <a:gd name="connsiteY26751" fmla="*/ 3076318 h 7458372"/>
              <a:gd name="connsiteX26752" fmla="*/ 8493 w 10505529"/>
              <a:gd name="connsiteY26752" fmla="*/ 3055286 h 7458372"/>
              <a:gd name="connsiteX26753" fmla="*/ 30322 w 10505529"/>
              <a:gd name="connsiteY26753" fmla="*/ 3046633 h 7458372"/>
              <a:gd name="connsiteX26754" fmla="*/ 10475977 w 10505529"/>
              <a:gd name="connsiteY26754" fmla="*/ 2845761 h 7458372"/>
              <a:gd name="connsiteX26755" fmla="*/ 10465992 w 10505529"/>
              <a:gd name="connsiteY26755" fmla="*/ 2849355 h 7458372"/>
              <a:gd name="connsiteX26756" fmla="*/ 10462399 w 10505529"/>
              <a:gd name="connsiteY26756" fmla="*/ 2858806 h 7458372"/>
              <a:gd name="connsiteX26757" fmla="*/ 10465992 w 10505529"/>
              <a:gd name="connsiteY26757" fmla="*/ 2868257 h 7458372"/>
              <a:gd name="connsiteX26758" fmla="*/ 10475977 w 10505529"/>
              <a:gd name="connsiteY26758" fmla="*/ 2871718 h 7458372"/>
              <a:gd name="connsiteX26759" fmla="*/ 10481302 w 10505529"/>
              <a:gd name="connsiteY26759" fmla="*/ 2870787 h 7458372"/>
              <a:gd name="connsiteX26760" fmla="*/ 10485029 w 10505529"/>
              <a:gd name="connsiteY26760" fmla="*/ 2868390 h 7458372"/>
              <a:gd name="connsiteX26761" fmla="*/ 10487691 w 10505529"/>
              <a:gd name="connsiteY26761" fmla="*/ 2864264 h 7458372"/>
              <a:gd name="connsiteX26762" fmla="*/ 10488623 w 10505529"/>
              <a:gd name="connsiteY26762" fmla="*/ 2858806 h 7458372"/>
              <a:gd name="connsiteX26763" fmla="*/ 10487691 w 10505529"/>
              <a:gd name="connsiteY26763" fmla="*/ 2853614 h 7458372"/>
              <a:gd name="connsiteX26764" fmla="*/ 10485029 w 10505529"/>
              <a:gd name="connsiteY26764" fmla="*/ 2849355 h 7458372"/>
              <a:gd name="connsiteX26765" fmla="*/ 10481035 w 10505529"/>
              <a:gd name="connsiteY26765" fmla="*/ 2846692 h 7458372"/>
              <a:gd name="connsiteX26766" fmla="*/ 10475977 w 10505529"/>
              <a:gd name="connsiteY26766" fmla="*/ 2845761 h 7458372"/>
              <a:gd name="connsiteX26767" fmla="*/ 10258466 w 10505529"/>
              <a:gd name="connsiteY26767" fmla="*/ 2845761 h 7458372"/>
              <a:gd name="connsiteX26768" fmla="*/ 10248481 w 10505529"/>
              <a:gd name="connsiteY26768" fmla="*/ 2849355 h 7458372"/>
              <a:gd name="connsiteX26769" fmla="*/ 10244887 w 10505529"/>
              <a:gd name="connsiteY26769" fmla="*/ 2858806 h 7458372"/>
              <a:gd name="connsiteX26770" fmla="*/ 10248481 w 10505529"/>
              <a:gd name="connsiteY26770" fmla="*/ 2868257 h 7458372"/>
              <a:gd name="connsiteX26771" fmla="*/ 10258466 w 10505529"/>
              <a:gd name="connsiteY26771" fmla="*/ 2871718 h 7458372"/>
              <a:gd name="connsiteX26772" fmla="*/ 10263790 w 10505529"/>
              <a:gd name="connsiteY26772" fmla="*/ 2870787 h 7458372"/>
              <a:gd name="connsiteX26773" fmla="*/ 10267517 w 10505529"/>
              <a:gd name="connsiteY26773" fmla="*/ 2868390 h 7458372"/>
              <a:gd name="connsiteX26774" fmla="*/ 10270180 w 10505529"/>
              <a:gd name="connsiteY26774" fmla="*/ 2864264 h 7458372"/>
              <a:gd name="connsiteX26775" fmla="*/ 10271112 w 10505529"/>
              <a:gd name="connsiteY26775" fmla="*/ 2858806 h 7458372"/>
              <a:gd name="connsiteX26776" fmla="*/ 10270180 w 10505529"/>
              <a:gd name="connsiteY26776" fmla="*/ 2853614 h 7458372"/>
              <a:gd name="connsiteX26777" fmla="*/ 10267517 w 10505529"/>
              <a:gd name="connsiteY26777" fmla="*/ 2849355 h 7458372"/>
              <a:gd name="connsiteX26778" fmla="*/ 10263524 w 10505529"/>
              <a:gd name="connsiteY26778" fmla="*/ 2846692 h 7458372"/>
              <a:gd name="connsiteX26779" fmla="*/ 10258466 w 10505529"/>
              <a:gd name="connsiteY26779" fmla="*/ 2845761 h 7458372"/>
              <a:gd name="connsiteX26780" fmla="*/ 10040820 w 10505529"/>
              <a:gd name="connsiteY26780" fmla="*/ 2845761 h 7458372"/>
              <a:gd name="connsiteX26781" fmla="*/ 10030835 w 10505529"/>
              <a:gd name="connsiteY26781" fmla="*/ 2849355 h 7458372"/>
              <a:gd name="connsiteX26782" fmla="*/ 10027242 w 10505529"/>
              <a:gd name="connsiteY26782" fmla="*/ 2858806 h 7458372"/>
              <a:gd name="connsiteX26783" fmla="*/ 10030835 w 10505529"/>
              <a:gd name="connsiteY26783" fmla="*/ 2868257 h 7458372"/>
              <a:gd name="connsiteX26784" fmla="*/ 10040820 w 10505529"/>
              <a:gd name="connsiteY26784" fmla="*/ 2871718 h 7458372"/>
              <a:gd name="connsiteX26785" fmla="*/ 10046145 w 10505529"/>
              <a:gd name="connsiteY26785" fmla="*/ 2870787 h 7458372"/>
              <a:gd name="connsiteX26786" fmla="*/ 10049872 w 10505529"/>
              <a:gd name="connsiteY26786" fmla="*/ 2868390 h 7458372"/>
              <a:gd name="connsiteX26787" fmla="*/ 10052534 w 10505529"/>
              <a:gd name="connsiteY26787" fmla="*/ 2864264 h 7458372"/>
              <a:gd name="connsiteX26788" fmla="*/ 10053599 w 10505529"/>
              <a:gd name="connsiteY26788" fmla="*/ 2858806 h 7458372"/>
              <a:gd name="connsiteX26789" fmla="*/ 10052534 w 10505529"/>
              <a:gd name="connsiteY26789" fmla="*/ 2853614 h 7458372"/>
              <a:gd name="connsiteX26790" fmla="*/ 10049872 w 10505529"/>
              <a:gd name="connsiteY26790" fmla="*/ 2849355 h 7458372"/>
              <a:gd name="connsiteX26791" fmla="*/ 10045878 w 10505529"/>
              <a:gd name="connsiteY26791" fmla="*/ 2846692 h 7458372"/>
              <a:gd name="connsiteX26792" fmla="*/ 10040820 w 10505529"/>
              <a:gd name="connsiteY26792" fmla="*/ 2845761 h 7458372"/>
              <a:gd name="connsiteX26793" fmla="*/ 9823176 w 10505529"/>
              <a:gd name="connsiteY26793" fmla="*/ 2845761 h 7458372"/>
              <a:gd name="connsiteX26794" fmla="*/ 9813191 w 10505529"/>
              <a:gd name="connsiteY26794" fmla="*/ 2849355 h 7458372"/>
              <a:gd name="connsiteX26795" fmla="*/ 9809597 w 10505529"/>
              <a:gd name="connsiteY26795" fmla="*/ 2858806 h 7458372"/>
              <a:gd name="connsiteX26796" fmla="*/ 9813191 w 10505529"/>
              <a:gd name="connsiteY26796" fmla="*/ 2868257 h 7458372"/>
              <a:gd name="connsiteX26797" fmla="*/ 9823176 w 10505529"/>
              <a:gd name="connsiteY26797" fmla="*/ 2871718 h 7458372"/>
              <a:gd name="connsiteX26798" fmla="*/ 9828501 w 10505529"/>
              <a:gd name="connsiteY26798" fmla="*/ 2870787 h 7458372"/>
              <a:gd name="connsiteX26799" fmla="*/ 9832227 w 10505529"/>
              <a:gd name="connsiteY26799" fmla="*/ 2868390 h 7458372"/>
              <a:gd name="connsiteX26800" fmla="*/ 9834890 w 10505529"/>
              <a:gd name="connsiteY26800" fmla="*/ 2864264 h 7458372"/>
              <a:gd name="connsiteX26801" fmla="*/ 9835955 w 10505529"/>
              <a:gd name="connsiteY26801" fmla="*/ 2858806 h 7458372"/>
              <a:gd name="connsiteX26802" fmla="*/ 9834890 w 10505529"/>
              <a:gd name="connsiteY26802" fmla="*/ 2853614 h 7458372"/>
              <a:gd name="connsiteX26803" fmla="*/ 9832227 w 10505529"/>
              <a:gd name="connsiteY26803" fmla="*/ 2849355 h 7458372"/>
              <a:gd name="connsiteX26804" fmla="*/ 9828234 w 10505529"/>
              <a:gd name="connsiteY26804" fmla="*/ 2846692 h 7458372"/>
              <a:gd name="connsiteX26805" fmla="*/ 9823176 w 10505529"/>
              <a:gd name="connsiteY26805" fmla="*/ 2845761 h 7458372"/>
              <a:gd name="connsiteX26806" fmla="*/ 9605531 w 10505529"/>
              <a:gd name="connsiteY26806" fmla="*/ 2845761 h 7458372"/>
              <a:gd name="connsiteX26807" fmla="*/ 9595546 w 10505529"/>
              <a:gd name="connsiteY26807" fmla="*/ 2849355 h 7458372"/>
              <a:gd name="connsiteX26808" fmla="*/ 9591952 w 10505529"/>
              <a:gd name="connsiteY26808" fmla="*/ 2858806 h 7458372"/>
              <a:gd name="connsiteX26809" fmla="*/ 9595546 w 10505529"/>
              <a:gd name="connsiteY26809" fmla="*/ 2868257 h 7458372"/>
              <a:gd name="connsiteX26810" fmla="*/ 9605531 w 10505529"/>
              <a:gd name="connsiteY26810" fmla="*/ 2871718 h 7458372"/>
              <a:gd name="connsiteX26811" fmla="*/ 9610855 w 10505529"/>
              <a:gd name="connsiteY26811" fmla="*/ 2870787 h 7458372"/>
              <a:gd name="connsiteX26812" fmla="*/ 9614582 w 10505529"/>
              <a:gd name="connsiteY26812" fmla="*/ 2868390 h 7458372"/>
              <a:gd name="connsiteX26813" fmla="*/ 9617245 w 10505529"/>
              <a:gd name="connsiteY26813" fmla="*/ 2864264 h 7458372"/>
              <a:gd name="connsiteX26814" fmla="*/ 9618309 w 10505529"/>
              <a:gd name="connsiteY26814" fmla="*/ 2858806 h 7458372"/>
              <a:gd name="connsiteX26815" fmla="*/ 9617245 w 10505529"/>
              <a:gd name="connsiteY26815" fmla="*/ 2853614 h 7458372"/>
              <a:gd name="connsiteX26816" fmla="*/ 9614582 w 10505529"/>
              <a:gd name="connsiteY26816" fmla="*/ 2849355 h 7458372"/>
              <a:gd name="connsiteX26817" fmla="*/ 9610589 w 10505529"/>
              <a:gd name="connsiteY26817" fmla="*/ 2846692 h 7458372"/>
              <a:gd name="connsiteX26818" fmla="*/ 9605531 w 10505529"/>
              <a:gd name="connsiteY26818" fmla="*/ 2845761 h 7458372"/>
              <a:gd name="connsiteX26819" fmla="*/ 9387885 w 10505529"/>
              <a:gd name="connsiteY26819" fmla="*/ 2845761 h 7458372"/>
              <a:gd name="connsiteX26820" fmla="*/ 9377900 w 10505529"/>
              <a:gd name="connsiteY26820" fmla="*/ 2849355 h 7458372"/>
              <a:gd name="connsiteX26821" fmla="*/ 9374307 w 10505529"/>
              <a:gd name="connsiteY26821" fmla="*/ 2858806 h 7458372"/>
              <a:gd name="connsiteX26822" fmla="*/ 9377900 w 10505529"/>
              <a:gd name="connsiteY26822" fmla="*/ 2868257 h 7458372"/>
              <a:gd name="connsiteX26823" fmla="*/ 9387885 w 10505529"/>
              <a:gd name="connsiteY26823" fmla="*/ 2871718 h 7458372"/>
              <a:gd name="connsiteX26824" fmla="*/ 9393210 w 10505529"/>
              <a:gd name="connsiteY26824" fmla="*/ 2870787 h 7458372"/>
              <a:gd name="connsiteX26825" fmla="*/ 9396937 w 10505529"/>
              <a:gd name="connsiteY26825" fmla="*/ 2868390 h 7458372"/>
              <a:gd name="connsiteX26826" fmla="*/ 9399599 w 10505529"/>
              <a:gd name="connsiteY26826" fmla="*/ 2864264 h 7458372"/>
              <a:gd name="connsiteX26827" fmla="*/ 9400664 w 10505529"/>
              <a:gd name="connsiteY26827" fmla="*/ 2858806 h 7458372"/>
              <a:gd name="connsiteX26828" fmla="*/ 9399599 w 10505529"/>
              <a:gd name="connsiteY26828" fmla="*/ 2853614 h 7458372"/>
              <a:gd name="connsiteX26829" fmla="*/ 9396937 w 10505529"/>
              <a:gd name="connsiteY26829" fmla="*/ 2849355 h 7458372"/>
              <a:gd name="connsiteX26830" fmla="*/ 9392943 w 10505529"/>
              <a:gd name="connsiteY26830" fmla="*/ 2846692 h 7458372"/>
              <a:gd name="connsiteX26831" fmla="*/ 9387885 w 10505529"/>
              <a:gd name="connsiteY26831" fmla="*/ 2845761 h 7458372"/>
              <a:gd name="connsiteX26832" fmla="*/ 9170374 w 10505529"/>
              <a:gd name="connsiteY26832" fmla="*/ 2845761 h 7458372"/>
              <a:gd name="connsiteX26833" fmla="*/ 9160389 w 10505529"/>
              <a:gd name="connsiteY26833" fmla="*/ 2849355 h 7458372"/>
              <a:gd name="connsiteX26834" fmla="*/ 9156795 w 10505529"/>
              <a:gd name="connsiteY26834" fmla="*/ 2858806 h 7458372"/>
              <a:gd name="connsiteX26835" fmla="*/ 9160389 w 10505529"/>
              <a:gd name="connsiteY26835" fmla="*/ 2868257 h 7458372"/>
              <a:gd name="connsiteX26836" fmla="*/ 9170374 w 10505529"/>
              <a:gd name="connsiteY26836" fmla="*/ 2871718 h 7458372"/>
              <a:gd name="connsiteX26837" fmla="*/ 9175698 w 10505529"/>
              <a:gd name="connsiteY26837" fmla="*/ 2870787 h 7458372"/>
              <a:gd name="connsiteX26838" fmla="*/ 9179425 w 10505529"/>
              <a:gd name="connsiteY26838" fmla="*/ 2868390 h 7458372"/>
              <a:gd name="connsiteX26839" fmla="*/ 9182088 w 10505529"/>
              <a:gd name="connsiteY26839" fmla="*/ 2864264 h 7458372"/>
              <a:gd name="connsiteX26840" fmla="*/ 9183152 w 10505529"/>
              <a:gd name="connsiteY26840" fmla="*/ 2858806 h 7458372"/>
              <a:gd name="connsiteX26841" fmla="*/ 9182088 w 10505529"/>
              <a:gd name="connsiteY26841" fmla="*/ 2853614 h 7458372"/>
              <a:gd name="connsiteX26842" fmla="*/ 9179425 w 10505529"/>
              <a:gd name="connsiteY26842" fmla="*/ 2849355 h 7458372"/>
              <a:gd name="connsiteX26843" fmla="*/ 9175432 w 10505529"/>
              <a:gd name="connsiteY26843" fmla="*/ 2846692 h 7458372"/>
              <a:gd name="connsiteX26844" fmla="*/ 9170374 w 10505529"/>
              <a:gd name="connsiteY26844" fmla="*/ 2845761 h 7458372"/>
              <a:gd name="connsiteX26845" fmla="*/ 8952728 w 10505529"/>
              <a:gd name="connsiteY26845" fmla="*/ 2845761 h 7458372"/>
              <a:gd name="connsiteX26846" fmla="*/ 8942743 w 10505529"/>
              <a:gd name="connsiteY26846" fmla="*/ 2849355 h 7458372"/>
              <a:gd name="connsiteX26847" fmla="*/ 8939150 w 10505529"/>
              <a:gd name="connsiteY26847" fmla="*/ 2858806 h 7458372"/>
              <a:gd name="connsiteX26848" fmla="*/ 8942743 w 10505529"/>
              <a:gd name="connsiteY26848" fmla="*/ 2868257 h 7458372"/>
              <a:gd name="connsiteX26849" fmla="*/ 8952728 w 10505529"/>
              <a:gd name="connsiteY26849" fmla="*/ 2871718 h 7458372"/>
              <a:gd name="connsiteX26850" fmla="*/ 8958053 w 10505529"/>
              <a:gd name="connsiteY26850" fmla="*/ 2870787 h 7458372"/>
              <a:gd name="connsiteX26851" fmla="*/ 8961780 w 10505529"/>
              <a:gd name="connsiteY26851" fmla="*/ 2868390 h 7458372"/>
              <a:gd name="connsiteX26852" fmla="*/ 8964442 w 10505529"/>
              <a:gd name="connsiteY26852" fmla="*/ 2864264 h 7458372"/>
              <a:gd name="connsiteX26853" fmla="*/ 8965507 w 10505529"/>
              <a:gd name="connsiteY26853" fmla="*/ 2858806 h 7458372"/>
              <a:gd name="connsiteX26854" fmla="*/ 8964442 w 10505529"/>
              <a:gd name="connsiteY26854" fmla="*/ 2853614 h 7458372"/>
              <a:gd name="connsiteX26855" fmla="*/ 8961780 w 10505529"/>
              <a:gd name="connsiteY26855" fmla="*/ 2849355 h 7458372"/>
              <a:gd name="connsiteX26856" fmla="*/ 8957786 w 10505529"/>
              <a:gd name="connsiteY26856" fmla="*/ 2846692 h 7458372"/>
              <a:gd name="connsiteX26857" fmla="*/ 8952728 w 10505529"/>
              <a:gd name="connsiteY26857" fmla="*/ 2845761 h 7458372"/>
              <a:gd name="connsiteX26858" fmla="*/ 8735083 w 10505529"/>
              <a:gd name="connsiteY26858" fmla="*/ 2845761 h 7458372"/>
              <a:gd name="connsiteX26859" fmla="*/ 8725098 w 10505529"/>
              <a:gd name="connsiteY26859" fmla="*/ 2849355 h 7458372"/>
              <a:gd name="connsiteX26860" fmla="*/ 8721504 w 10505529"/>
              <a:gd name="connsiteY26860" fmla="*/ 2858806 h 7458372"/>
              <a:gd name="connsiteX26861" fmla="*/ 8725098 w 10505529"/>
              <a:gd name="connsiteY26861" fmla="*/ 2868257 h 7458372"/>
              <a:gd name="connsiteX26862" fmla="*/ 8735083 w 10505529"/>
              <a:gd name="connsiteY26862" fmla="*/ 2871718 h 7458372"/>
              <a:gd name="connsiteX26863" fmla="*/ 8740407 w 10505529"/>
              <a:gd name="connsiteY26863" fmla="*/ 2870787 h 7458372"/>
              <a:gd name="connsiteX26864" fmla="*/ 8744134 w 10505529"/>
              <a:gd name="connsiteY26864" fmla="*/ 2868390 h 7458372"/>
              <a:gd name="connsiteX26865" fmla="*/ 8746797 w 10505529"/>
              <a:gd name="connsiteY26865" fmla="*/ 2864264 h 7458372"/>
              <a:gd name="connsiteX26866" fmla="*/ 8747862 w 10505529"/>
              <a:gd name="connsiteY26866" fmla="*/ 2858806 h 7458372"/>
              <a:gd name="connsiteX26867" fmla="*/ 8746797 w 10505529"/>
              <a:gd name="connsiteY26867" fmla="*/ 2853614 h 7458372"/>
              <a:gd name="connsiteX26868" fmla="*/ 8744134 w 10505529"/>
              <a:gd name="connsiteY26868" fmla="*/ 2849355 h 7458372"/>
              <a:gd name="connsiteX26869" fmla="*/ 8740141 w 10505529"/>
              <a:gd name="connsiteY26869" fmla="*/ 2846692 h 7458372"/>
              <a:gd name="connsiteX26870" fmla="*/ 8735083 w 10505529"/>
              <a:gd name="connsiteY26870" fmla="*/ 2845761 h 7458372"/>
              <a:gd name="connsiteX26871" fmla="*/ 8517438 w 10505529"/>
              <a:gd name="connsiteY26871" fmla="*/ 2845761 h 7458372"/>
              <a:gd name="connsiteX26872" fmla="*/ 8507453 w 10505529"/>
              <a:gd name="connsiteY26872" fmla="*/ 2849355 h 7458372"/>
              <a:gd name="connsiteX26873" fmla="*/ 8503860 w 10505529"/>
              <a:gd name="connsiteY26873" fmla="*/ 2858806 h 7458372"/>
              <a:gd name="connsiteX26874" fmla="*/ 8507453 w 10505529"/>
              <a:gd name="connsiteY26874" fmla="*/ 2868257 h 7458372"/>
              <a:gd name="connsiteX26875" fmla="*/ 8517438 w 10505529"/>
              <a:gd name="connsiteY26875" fmla="*/ 2871718 h 7458372"/>
              <a:gd name="connsiteX26876" fmla="*/ 8522763 w 10505529"/>
              <a:gd name="connsiteY26876" fmla="*/ 2870787 h 7458372"/>
              <a:gd name="connsiteX26877" fmla="*/ 8526490 w 10505529"/>
              <a:gd name="connsiteY26877" fmla="*/ 2868390 h 7458372"/>
              <a:gd name="connsiteX26878" fmla="*/ 8529152 w 10505529"/>
              <a:gd name="connsiteY26878" fmla="*/ 2864264 h 7458372"/>
              <a:gd name="connsiteX26879" fmla="*/ 8530084 w 10505529"/>
              <a:gd name="connsiteY26879" fmla="*/ 2858806 h 7458372"/>
              <a:gd name="connsiteX26880" fmla="*/ 8529152 w 10505529"/>
              <a:gd name="connsiteY26880" fmla="*/ 2853614 h 7458372"/>
              <a:gd name="connsiteX26881" fmla="*/ 8526490 w 10505529"/>
              <a:gd name="connsiteY26881" fmla="*/ 2849355 h 7458372"/>
              <a:gd name="connsiteX26882" fmla="*/ 8522496 w 10505529"/>
              <a:gd name="connsiteY26882" fmla="*/ 2846692 h 7458372"/>
              <a:gd name="connsiteX26883" fmla="*/ 8517438 w 10505529"/>
              <a:gd name="connsiteY26883" fmla="*/ 2845761 h 7458372"/>
              <a:gd name="connsiteX26884" fmla="*/ 8299793 w 10505529"/>
              <a:gd name="connsiteY26884" fmla="*/ 2845761 h 7458372"/>
              <a:gd name="connsiteX26885" fmla="*/ 8289809 w 10505529"/>
              <a:gd name="connsiteY26885" fmla="*/ 2849355 h 7458372"/>
              <a:gd name="connsiteX26886" fmla="*/ 8286215 w 10505529"/>
              <a:gd name="connsiteY26886" fmla="*/ 2858806 h 7458372"/>
              <a:gd name="connsiteX26887" fmla="*/ 8289809 w 10505529"/>
              <a:gd name="connsiteY26887" fmla="*/ 2868257 h 7458372"/>
              <a:gd name="connsiteX26888" fmla="*/ 8299793 w 10505529"/>
              <a:gd name="connsiteY26888" fmla="*/ 2871718 h 7458372"/>
              <a:gd name="connsiteX26889" fmla="*/ 8305118 w 10505529"/>
              <a:gd name="connsiteY26889" fmla="*/ 2870787 h 7458372"/>
              <a:gd name="connsiteX26890" fmla="*/ 8308844 w 10505529"/>
              <a:gd name="connsiteY26890" fmla="*/ 2868390 h 7458372"/>
              <a:gd name="connsiteX26891" fmla="*/ 8311507 w 10505529"/>
              <a:gd name="connsiteY26891" fmla="*/ 2864264 h 7458372"/>
              <a:gd name="connsiteX26892" fmla="*/ 8312439 w 10505529"/>
              <a:gd name="connsiteY26892" fmla="*/ 2858806 h 7458372"/>
              <a:gd name="connsiteX26893" fmla="*/ 8311507 w 10505529"/>
              <a:gd name="connsiteY26893" fmla="*/ 2853614 h 7458372"/>
              <a:gd name="connsiteX26894" fmla="*/ 8308844 w 10505529"/>
              <a:gd name="connsiteY26894" fmla="*/ 2849355 h 7458372"/>
              <a:gd name="connsiteX26895" fmla="*/ 8304851 w 10505529"/>
              <a:gd name="connsiteY26895" fmla="*/ 2846692 h 7458372"/>
              <a:gd name="connsiteX26896" fmla="*/ 8299793 w 10505529"/>
              <a:gd name="connsiteY26896" fmla="*/ 2845761 h 7458372"/>
              <a:gd name="connsiteX26897" fmla="*/ 8082281 w 10505529"/>
              <a:gd name="connsiteY26897" fmla="*/ 2845761 h 7458372"/>
              <a:gd name="connsiteX26898" fmla="*/ 8072297 w 10505529"/>
              <a:gd name="connsiteY26898" fmla="*/ 2849355 h 7458372"/>
              <a:gd name="connsiteX26899" fmla="*/ 8068703 w 10505529"/>
              <a:gd name="connsiteY26899" fmla="*/ 2858806 h 7458372"/>
              <a:gd name="connsiteX26900" fmla="*/ 8072297 w 10505529"/>
              <a:gd name="connsiteY26900" fmla="*/ 2868257 h 7458372"/>
              <a:gd name="connsiteX26901" fmla="*/ 8082281 w 10505529"/>
              <a:gd name="connsiteY26901" fmla="*/ 2871718 h 7458372"/>
              <a:gd name="connsiteX26902" fmla="*/ 8087605 w 10505529"/>
              <a:gd name="connsiteY26902" fmla="*/ 2870787 h 7458372"/>
              <a:gd name="connsiteX26903" fmla="*/ 8091332 w 10505529"/>
              <a:gd name="connsiteY26903" fmla="*/ 2868390 h 7458372"/>
              <a:gd name="connsiteX26904" fmla="*/ 8093994 w 10505529"/>
              <a:gd name="connsiteY26904" fmla="*/ 2864264 h 7458372"/>
              <a:gd name="connsiteX26905" fmla="*/ 8094926 w 10505529"/>
              <a:gd name="connsiteY26905" fmla="*/ 2858806 h 7458372"/>
              <a:gd name="connsiteX26906" fmla="*/ 8093994 w 10505529"/>
              <a:gd name="connsiteY26906" fmla="*/ 2853614 h 7458372"/>
              <a:gd name="connsiteX26907" fmla="*/ 8091332 w 10505529"/>
              <a:gd name="connsiteY26907" fmla="*/ 2849355 h 7458372"/>
              <a:gd name="connsiteX26908" fmla="*/ 8087338 w 10505529"/>
              <a:gd name="connsiteY26908" fmla="*/ 2846692 h 7458372"/>
              <a:gd name="connsiteX26909" fmla="*/ 8082281 w 10505529"/>
              <a:gd name="connsiteY26909" fmla="*/ 2845761 h 7458372"/>
              <a:gd name="connsiteX26910" fmla="*/ 7864636 w 10505529"/>
              <a:gd name="connsiteY26910" fmla="*/ 2845761 h 7458372"/>
              <a:gd name="connsiteX26911" fmla="*/ 7854652 w 10505529"/>
              <a:gd name="connsiteY26911" fmla="*/ 2849355 h 7458372"/>
              <a:gd name="connsiteX26912" fmla="*/ 7851058 w 10505529"/>
              <a:gd name="connsiteY26912" fmla="*/ 2858806 h 7458372"/>
              <a:gd name="connsiteX26913" fmla="*/ 7854652 w 10505529"/>
              <a:gd name="connsiteY26913" fmla="*/ 2868257 h 7458372"/>
              <a:gd name="connsiteX26914" fmla="*/ 7864636 w 10505529"/>
              <a:gd name="connsiteY26914" fmla="*/ 2871718 h 7458372"/>
              <a:gd name="connsiteX26915" fmla="*/ 7869961 w 10505529"/>
              <a:gd name="connsiteY26915" fmla="*/ 2870787 h 7458372"/>
              <a:gd name="connsiteX26916" fmla="*/ 7873687 w 10505529"/>
              <a:gd name="connsiteY26916" fmla="*/ 2868390 h 7458372"/>
              <a:gd name="connsiteX26917" fmla="*/ 7876350 w 10505529"/>
              <a:gd name="connsiteY26917" fmla="*/ 2864264 h 7458372"/>
              <a:gd name="connsiteX26918" fmla="*/ 7877282 w 10505529"/>
              <a:gd name="connsiteY26918" fmla="*/ 2858806 h 7458372"/>
              <a:gd name="connsiteX26919" fmla="*/ 7876350 w 10505529"/>
              <a:gd name="connsiteY26919" fmla="*/ 2853614 h 7458372"/>
              <a:gd name="connsiteX26920" fmla="*/ 7873687 w 10505529"/>
              <a:gd name="connsiteY26920" fmla="*/ 2849355 h 7458372"/>
              <a:gd name="connsiteX26921" fmla="*/ 7869694 w 10505529"/>
              <a:gd name="connsiteY26921" fmla="*/ 2846692 h 7458372"/>
              <a:gd name="connsiteX26922" fmla="*/ 7864636 w 10505529"/>
              <a:gd name="connsiteY26922" fmla="*/ 2845761 h 7458372"/>
              <a:gd name="connsiteX26923" fmla="*/ 7646991 w 10505529"/>
              <a:gd name="connsiteY26923" fmla="*/ 2845761 h 7458372"/>
              <a:gd name="connsiteX26924" fmla="*/ 7637007 w 10505529"/>
              <a:gd name="connsiteY26924" fmla="*/ 2849355 h 7458372"/>
              <a:gd name="connsiteX26925" fmla="*/ 7633413 w 10505529"/>
              <a:gd name="connsiteY26925" fmla="*/ 2858806 h 7458372"/>
              <a:gd name="connsiteX26926" fmla="*/ 7637007 w 10505529"/>
              <a:gd name="connsiteY26926" fmla="*/ 2868257 h 7458372"/>
              <a:gd name="connsiteX26927" fmla="*/ 7646991 w 10505529"/>
              <a:gd name="connsiteY26927" fmla="*/ 2871718 h 7458372"/>
              <a:gd name="connsiteX26928" fmla="*/ 7652315 w 10505529"/>
              <a:gd name="connsiteY26928" fmla="*/ 2870787 h 7458372"/>
              <a:gd name="connsiteX26929" fmla="*/ 7656042 w 10505529"/>
              <a:gd name="connsiteY26929" fmla="*/ 2868390 h 7458372"/>
              <a:gd name="connsiteX26930" fmla="*/ 7658705 w 10505529"/>
              <a:gd name="connsiteY26930" fmla="*/ 2864264 h 7458372"/>
              <a:gd name="connsiteX26931" fmla="*/ 7659769 w 10505529"/>
              <a:gd name="connsiteY26931" fmla="*/ 2858806 h 7458372"/>
              <a:gd name="connsiteX26932" fmla="*/ 7658705 w 10505529"/>
              <a:gd name="connsiteY26932" fmla="*/ 2853614 h 7458372"/>
              <a:gd name="connsiteX26933" fmla="*/ 7656042 w 10505529"/>
              <a:gd name="connsiteY26933" fmla="*/ 2849355 h 7458372"/>
              <a:gd name="connsiteX26934" fmla="*/ 7652049 w 10505529"/>
              <a:gd name="connsiteY26934" fmla="*/ 2846692 h 7458372"/>
              <a:gd name="connsiteX26935" fmla="*/ 7646991 w 10505529"/>
              <a:gd name="connsiteY26935" fmla="*/ 2845761 h 7458372"/>
              <a:gd name="connsiteX26936" fmla="*/ 7429345 w 10505529"/>
              <a:gd name="connsiteY26936" fmla="*/ 2845761 h 7458372"/>
              <a:gd name="connsiteX26937" fmla="*/ 7419361 w 10505529"/>
              <a:gd name="connsiteY26937" fmla="*/ 2849355 h 7458372"/>
              <a:gd name="connsiteX26938" fmla="*/ 7415768 w 10505529"/>
              <a:gd name="connsiteY26938" fmla="*/ 2858806 h 7458372"/>
              <a:gd name="connsiteX26939" fmla="*/ 7419361 w 10505529"/>
              <a:gd name="connsiteY26939" fmla="*/ 2868257 h 7458372"/>
              <a:gd name="connsiteX26940" fmla="*/ 7429345 w 10505529"/>
              <a:gd name="connsiteY26940" fmla="*/ 2871718 h 7458372"/>
              <a:gd name="connsiteX26941" fmla="*/ 7434670 w 10505529"/>
              <a:gd name="connsiteY26941" fmla="*/ 2870787 h 7458372"/>
              <a:gd name="connsiteX26942" fmla="*/ 7438397 w 10505529"/>
              <a:gd name="connsiteY26942" fmla="*/ 2868390 h 7458372"/>
              <a:gd name="connsiteX26943" fmla="*/ 7441059 w 10505529"/>
              <a:gd name="connsiteY26943" fmla="*/ 2864264 h 7458372"/>
              <a:gd name="connsiteX26944" fmla="*/ 7442124 w 10505529"/>
              <a:gd name="connsiteY26944" fmla="*/ 2858806 h 7458372"/>
              <a:gd name="connsiteX26945" fmla="*/ 7441059 w 10505529"/>
              <a:gd name="connsiteY26945" fmla="*/ 2853614 h 7458372"/>
              <a:gd name="connsiteX26946" fmla="*/ 7438397 w 10505529"/>
              <a:gd name="connsiteY26946" fmla="*/ 2849355 h 7458372"/>
              <a:gd name="connsiteX26947" fmla="*/ 7434403 w 10505529"/>
              <a:gd name="connsiteY26947" fmla="*/ 2846692 h 7458372"/>
              <a:gd name="connsiteX26948" fmla="*/ 7429345 w 10505529"/>
              <a:gd name="connsiteY26948" fmla="*/ 2845761 h 7458372"/>
              <a:gd name="connsiteX26949" fmla="*/ 7211701 w 10505529"/>
              <a:gd name="connsiteY26949" fmla="*/ 2845761 h 7458372"/>
              <a:gd name="connsiteX26950" fmla="*/ 7201717 w 10505529"/>
              <a:gd name="connsiteY26950" fmla="*/ 2849355 h 7458372"/>
              <a:gd name="connsiteX26951" fmla="*/ 7198123 w 10505529"/>
              <a:gd name="connsiteY26951" fmla="*/ 2858806 h 7458372"/>
              <a:gd name="connsiteX26952" fmla="*/ 7201717 w 10505529"/>
              <a:gd name="connsiteY26952" fmla="*/ 2868257 h 7458372"/>
              <a:gd name="connsiteX26953" fmla="*/ 7211701 w 10505529"/>
              <a:gd name="connsiteY26953" fmla="*/ 2871718 h 7458372"/>
              <a:gd name="connsiteX26954" fmla="*/ 7217026 w 10505529"/>
              <a:gd name="connsiteY26954" fmla="*/ 2870787 h 7458372"/>
              <a:gd name="connsiteX26955" fmla="*/ 7220752 w 10505529"/>
              <a:gd name="connsiteY26955" fmla="*/ 2868390 h 7458372"/>
              <a:gd name="connsiteX26956" fmla="*/ 7223415 w 10505529"/>
              <a:gd name="connsiteY26956" fmla="*/ 2864264 h 7458372"/>
              <a:gd name="connsiteX26957" fmla="*/ 7224480 w 10505529"/>
              <a:gd name="connsiteY26957" fmla="*/ 2858806 h 7458372"/>
              <a:gd name="connsiteX26958" fmla="*/ 7223415 w 10505529"/>
              <a:gd name="connsiteY26958" fmla="*/ 2853614 h 7458372"/>
              <a:gd name="connsiteX26959" fmla="*/ 7220752 w 10505529"/>
              <a:gd name="connsiteY26959" fmla="*/ 2849355 h 7458372"/>
              <a:gd name="connsiteX26960" fmla="*/ 7216759 w 10505529"/>
              <a:gd name="connsiteY26960" fmla="*/ 2846692 h 7458372"/>
              <a:gd name="connsiteX26961" fmla="*/ 7211701 w 10505529"/>
              <a:gd name="connsiteY26961" fmla="*/ 2845761 h 7458372"/>
              <a:gd name="connsiteX26962" fmla="*/ 6994056 w 10505529"/>
              <a:gd name="connsiteY26962" fmla="*/ 2845761 h 7458372"/>
              <a:gd name="connsiteX26963" fmla="*/ 6984072 w 10505529"/>
              <a:gd name="connsiteY26963" fmla="*/ 2849355 h 7458372"/>
              <a:gd name="connsiteX26964" fmla="*/ 6980478 w 10505529"/>
              <a:gd name="connsiteY26964" fmla="*/ 2858806 h 7458372"/>
              <a:gd name="connsiteX26965" fmla="*/ 6984072 w 10505529"/>
              <a:gd name="connsiteY26965" fmla="*/ 2868257 h 7458372"/>
              <a:gd name="connsiteX26966" fmla="*/ 6994056 w 10505529"/>
              <a:gd name="connsiteY26966" fmla="*/ 2871718 h 7458372"/>
              <a:gd name="connsiteX26967" fmla="*/ 6999380 w 10505529"/>
              <a:gd name="connsiteY26967" fmla="*/ 2870787 h 7458372"/>
              <a:gd name="connsiteX26968" fmla="*/ 7003107 w 10505529"/>
              <a:gd name="connsiteY26968" fmla="*/ 2868390 h 7458372"/>
              <a:gd name="connsiteX26969" fmla="*/ 7005769 w 10505529"/>
              <a:gd name="connsiteY26969" fmla="*/ 2864264 h 7458372"/>
              <a:gd name="connsiteX26970" fmla="*/ 7006834 w 10505529"/>
              <a:gd name="connsiteY26970" fmla="*/ 2858806 h 7458372"/>
              <a:gd name="connsiteX26971" fmla="*/ 7005769 w 10505529"/>
              <a:gd name="connsiteY26971" fmla="*/ 2853614 h 7458372"/>
              <a:gd name="connsiteX26972" fmla="*/ 7003107 w 10505529"/>
              <a:gd name="connsiteY26972" fmla="*/ 2849355 h 7458372"/>
              <a:gd name="connsiteX26973" fmla="*/ 6999113 w 10505529"/>
              <a:gd name="connsiteY26973" fmla="*/ 2846692 h 7458372"/>
              <a:gd name="connsiteX26974" fmla="*/ 6994056 w 10505529"/>
              <a:gd name="connsiteY26974" fmla="*/ 2845761 h 7458372"/>
              <a:gd name="connsiteX26975" fmla="*/ 6776544 w 10505529"/>
              <a:gd name="connsiteY26975" fmla="*/ 2845761 h 7458372"/>
              <a:gd name="connsiteX26976" fmla="*/ 6766560 w 10505529"/>
              <a:gd name="connsiteY26976" fmla="*/ 2849355 h 7458372"/>
              <a:gd name="connsiteX26977" fmla="*/ 6762966 w 10505529"/>
              <a:gd name="connsiteY26977" fmla="*/ 2858806 h 7458372"/>
              <a:gd name="connsiteX26978" fmla="*/ 6766560 w 10505529"/>
              <a:gd name="connsiteY26978" fmla="*/ 2868257 h 7458372"/>
              <a:gd name="connsiteX26979" fmla="*/ 6776544 w 10505529"/>
              <a:gd name="connsiteY26979" fmla="*/ 2871718 h 7458372"/>
              <a:gd name="connsiteX26980" fmla="*/ 6781869 w 10505529"/>
              <a:gd name="connsiteY26980" fmla="*/ 2870787 h 7458372"/>
              <a:gd name="connsiteX26981" fmla="*/ 6785595 w 10505529"/>
              <a:gd name="connsiteY26981" fmla="*/ 2868390 h 7458372"/>
              <a:gd name="connsiteX26982" fmla="*/ 6788258 w 10505529"/>
              <a:gd name="connsiteY26982" fmla="*/ 2864264 h 7458372"/>
              <a:gd name="connsiteX26983" fmla="*/ 6789323 w 10505529"/>
              <a:gd name="connsiteY26983" fmla="*/ 2858806 h 7458372"/>
              <a:gd name="connsiteX26984" fmla="*/ 6788258 w 10505529"/>
              <a:gd name="connsiteY26984" fmla="*/ 2853614 h 7458372"/>
              <a:gd name="connsiteX26985" fmla="*/ 6785595 w 10505529"/>
              <a:gd name="connsiteY26985" fmla="*/ 2849355 h 7458372"/>
              <a:gd name="connsiteX26986" fmla="*/ 6781602 w 10505529"/>
              <a:gd name="connsiteY26986" fmla="*/ 2846692 h 7458372"/>
              <a:gd name="connsiteX26987" fmla="*/ 6776544 w 10505529"/>
              <a:gd name="connsiteY26987" fmla="*/ 2845761 h 7458372"/>
              <a:gd name="connsiteX26988" fmla="*/ 6558899 w 10505529"/>
              <a:gd name="connsiteY26988" fmla="*/ 2845761 h 7458372"/>
              <a:gd name="connsiteX26989" fmla="*/ 6548915 w 10505529"/>
              <a:gd name="connsiteY26989" fmla="*/ 2849355 h 7458372"/>
              <a:gd name="connsiteX26990" fmla="*/ 6545321 w 10505529"/>
              <a:gd name="connsiteY26990" fmla="*/ 2858806 h 7458372"/>
              <a:gd name="connsiteX26991" fmla="*/ 6548915 w 10505529"/>
              <a:gd name="connsiteY26991" fmla="*/ 2868257 h 7458372"/>
              <a:gd name="connsiteX26992" fmla="*/ 6558899 w 10505529"/>
              <a:gd name="connsiteY26992" fmla="*/ 2871718 h 7458372"/>
              <a:gd name="connsiteX26993" fmla="*/ 6564223 w 10505529"/>
              <a:gd name="connsiteY26993" fmla="*/ 2870787 h 7458372"/>
              <a:gd name="connsiteX26994" fmla="*/ 6567950 w 10505529"/>
              <a:gd name="connsiteY26994" fmla="*/ 2868390 h 7458372"/>
              <a:gd name="connsiteX26995" fmla="*/ 6570612 w 10505529"/>
              <a:gd name="connsiteY26995" fmla="*/ 2864264 h 7458372"/>
              <a:gd name="connsiteX26996" fmla="*/ 6571677 w 10505529"/>
              <a:gd name="connsiteY26996" fmla="*/ 2858806 h 7458372"/>
              <a:gd name="connsiteX26997" fmla="*/ 6570612 w 10505529"/>
              <a:gd name="connsiteY26997" fmla="*/ 2853614 h 7458372"/>
              <a:gd name="connsiteX26998" fmla="*/ 6567950 w 10505529"/>
              <a:gd name="connsiteY26998" fmla="*/ 2849355 h 7458372"/>
              <a:gd name="connsiteX26999" fmla="*/ 6563956 w 10505529"/>
              <a:gd name="connsiteY26999" fmla="*/ 2846692 h 7458372"/>
              <a:gd name="connsiteX27000" fmla="*/ 6558899 w 10505529"/>
              <a:gd name="connsiteY27000" fmla="*/ 2845761 h 7458372"/>
              <a:gd name="connsiteX27001" fmla="*/ 6341253 w 10505529"/>
              <a:gd name="connsiteY27001" fmla="*/ 2845761 h 7458372"/>
              <a:gd name="connsiteX27002" fmla="*/ 6331270 w 10505529"/>
              <a:gd name="connsiteY27002" fmla="*/ 2849355 h 7458372"/>
              <a:gd name="connsiteX27003" fmla="*/ 6327675 w 10505529"/>
              <a:gd name="connsiteY27003" fmla="*/ 2858806 h 7458372"/>
              <a:gd name="connsiteX27004" fmla="*/ 6331270 w 10505529"/>
              <a:gd name="connsiteY27004" fmla="*/ 2868257 h 7458372"/>
              <a:gd name="connsiteX27005" fmla="*/ 6341253 w 10505529"/>
              <a:gd name="connsiteY27005" fmla="*/ 2871718 h 7458372"/>
              <a:gd name="connsiteX27006" fmla="*/ 6346578 w 10505529"/>
              <a:gd name="connsiteY27006" fmla="*/ 2870787 h 7458372"/>
              <a:gd name="connsiteX27007" fmla="*/ 6350305 w 10505529"/>
              <a:gd name="connsiteY27007" fmla="*/ 2868390 h 7458372"/>
              <a:gd name="connsiteX27008" fmla="*/ 6352968 w 10505529"/>
              <a:gd name="connsiteY27008" fmla="*/ 2864264 h 7458372"/>
              <a:gd name="connsiteX27009" fmla="*/ 6354033 w 10505529"/>
              <a:gd name="connsiteY27009" fmla="*/ 2858806 h 7458372"/>
              <a:gd name="connsiteX27010" fmla="*/ 6352968 w 10505529"/>
              <a:gd name="connsiteY27010" fmla="*/ 2853614 h 7458372"/>
              <a:gd name="connsiteX27011" fmla="*/ 6350305 w 10505529"/>
              <a:gd name="connsiteY27011" fmla="*/ 2849355 h 7458372"/>
              <a:gd name="connsiteX27012" fmla="*/ 6346312 w 10505529"/>
              <a:gd name="connsiteY27012" fmla="*/ 2846692 h 7458372"/>
              <a:gd name="connsiteX27013" fmla="*/ 6341253 w 10505529"/>
              <a:gd name="connsiteY27013" fmla="*/ 2845761 h 7458372"/>
              <a:gd name="connsiteX27014" fmla="*/ 6123608 w 10505529"/>
              <a:gd name="connsiteY27014" fmla="*/ 2845761 h 7458372"/>
              <a:gd name="connsiteX27015" fmla="*/ 6113624 w 10505529"/>
              <a:gd name="connsiteY27015" fmla="*/ 2849355 h 7458372"/>
              <a:gd name="connsiteX27016" fmla="*/ 6110030 w 10505529"/>
              <a:gd name="connsiteY27016" fmla="*/ 2858806 h 7458372"/>
              <a:gd name="connsiteX27017" fmla="*/ 6113624 w 10505529"/>
              <a:gd name="connsiteY27017" fmla="*/ 2868257 h 7458372"/>
              <a:gd name="connsiteX27018" fmla="*/ 6123608 w 10505529"/>
              <a:gd name="connsiteY27018" fmla="*/ 2871718 h 7458372"/>
              <a:gd name="connsiteX27019" fmla="*/ 6128932 w 10505529"/>
              <a:gd name="connsiteY27019" fmla="*/ 2870787 h 7458372"/>
              <a:gd name="connsiteX27020" fmla="*/ 6132659 w 10505529"/>
              <a:gd name="connsiteY27020" fmla="*/ 2868390 h 7458372"/>
              <a:gd name="connsiteX27021" fmla="*/ 6135322 w 10505529"/>
              <a:gd name="connsiteY27021" fmla="*/ 2864264 h 7458372"/>
              <a:gd name="connsiteX27022" fmla="*/ 6136387 w 10505529"/>
              <a:gd name="connsiteY27022" fmla="*/ 2858806 h 7458372"/>
              <a:gd name="connsiteX27023" fmla="*/ 6135322 w 10505529"/>
              <a:gd name="connsiteY27023" fmla="*/ 2853614 h 7458372"/>
              <a:gd name="connsiteX27024" fmla="*/ 6132659 w 10505529"/>
              <a:gd name="connsiteY27024" fmla="*/ 2849355 h 7458372"/>
              <a:gd name="connsiteX27025" fmla="*/ 6128666 w 10505529"/>
              <a:gd name="connsiteY27025" fmla="*/ 2846692 h 7458372"/>
              <a:gd name="connsiteX27026" fmla="*/ 6123608 w 10505529"/>
              <a:gd name="connsiteY27026" fmla="*/ 2845761 h 7458372"/>
              <a:gd name="connsiteX27027" fmla="*/ 5905963 w 10505529"/>
              <a:gd name="connsiteY27027" fmla="*/ 2845761 h 7458372"/>
              <a:gd name="connsiteX27028" fmla="*/ 5895979 w 10505529"/>
              <a:gd name="connsiteY27028" fmla="*/ 2849355 h 7458372"/>
              <a:gd name="connsiteX27029" fmla="*/ 5892385 w 10505529"/>
              <a:gd name="connsiteY27029" fmla="*/ 2858806 h 7458372"/>
              <a:gd name="connsiteX27030" fmla="*/ 5895979 w 10505529"/>
              <a:gd name="connsiteY27030" fmla="*/ 2868257 h 7458372"/>
              <a:gd name="connsiteX27031" fmla="*/ 5905963 w 10505529"/>
              <a:gd name="connsiteY27031" fmla="*/ 2871718 h 7458372"/>
              <a:gd name="connsiteX27032" fmla="*/ 5911287 w 10505529"/>
              <a:gd name="connsiteY27032" fmla="*/ 2870787 h 7458372"/>
              <a:gd name="connsiteX27033" fmla="*/ 5915014 w 10505529"/>
              <a:gd name="connsiteY27033" fmla="*/ 2868390 h 7458372"/>
              <a:gd name="connsiteX27034" fmla="*/ 5917677 w 10505529"/>
              <a:gd name="connsiteY27034" fmla="*/ 2864264 h 7458372"/>
              <a:gd name="connsiteX27035" fmla="*/ 5918742 w 10505529"/>
              <a:gd name="connsiteY27035" fmla="*/ 2858806 h 7458372"/>
              <a:gd name="connsiteX27036" fmla="*/ 5917677 w 10505529"/>
              <a:gd name="connsiteY27036" fmla="*/ 2853614 h 7458372"/>
              <a:gd name="connsiteX27037" fmla="*/ 5915014 w 10505529"/>
              <a:gd name="connsiteY27037" fmla="*/ 2849355 h 7458372"/>
              <a:gd name="connsiteX27038" fmla="*/ 5911021 w 10505529"/>
              <a:gd name="connsiteY27038" fmla="*/ 2846692 h 7458372"/>
              <a:gd name="connsiteX27039" fmla="*/ 5905963 w 10505529"/>
              <a:gd name="connsiteY27039" fmla="*/ 2845761 h 7458372"/>
              <a:gd name="connsiteX27040" fmla="*/ 5688451 w 10505529"/>
              <a:gd name="connsiteY27040" fmla="*/ 2845761 h 7458372"/>
              <a:gd name="connsiteX27041" fmla="*/ 5678467 w 10505529"/>
              <a:gd name="connsiteY27041" fmla="*/ 2849355 h 7458372"/>
              <a:gd name="connsiteX27042" fmla="*/ 5674873 w 10505529"/>
              <a:gd name="connsiteY27042" fmla="*/ 2858806 h 7458372"/>
              <a:gd name="connsiteX27043" fmla="*/ 5678467 w 10505529"/>
              <a:gd name="connsiteY27043" fmla="*/ 2868257 h 7458372"/>
              <a:gd name="connsiteX27044" fmla="*/ 5688451 w 10505529"/>
              <a:gd name="connsiteY27044" fmla="*/ 2871718 h 7458372"/>
              <a:gd name="connsiteX27045" fmla="*/ 5693775 w 10505529"/>
              <a:gd name="connsiteY27045" fmla="*/ 2870787 h 7458372"/>
              <a:gd name="connsiteX27046" fmla="*/ 5697502 w 10505529"/>
              <a:gd name="connsiteY27046" fmla="*/ 2868390 h 7458372"/>
              <a:gd name="connsiteX27047" fmla="*/ 5700165 w 10505529"/>
              <a:gd name="connsiteY27047" fmla="*/ 2864264 h 7458372"/>
              <a:gd name="connsiteX27048" fmla="*/ 5701230 w 10505529"/>
              <a:gd name="connsiteY27048" fmla="*/ 2858806 h 7458372"/>
              <a:gd name="connsiteX27049" fmla="*/ 5700165 w 10505529"/>
              <a:gd name="connsiteY27049" fmla="*/ 2853614 h 7458372"/>
              <a:gd name="connsiteX27050" fmla="*/ 5697502 w 10505529"/>
              <a:gd name="connsiteY27050" fmla="*/ 2849355 h 7458372"/>
              <a:gd name="connsiteX27051" fmla="*/ 5693509 w 10505529"/>
              <a:gd name="connsiteY27051" fmla="*/ 2846692 h 7458372"/>
              <a:gd name="connsiteX27052" fmla="*/ 5688451 w 10505529"/>
              <a:gd name="connsiteY27052" fmla="*/ 2845761 h 7458372"/>
              <a:gd name="connsiteX27053" fmla="*/ 5470806 w 10505529"/>
              <a:gd name="connsiteY27053" fmla="*/ 2845761 h 7458372"/>
              <a:gd name="connsiteX27054" fmla="*/ 5460822 w 10505529"/>
              <a:gd name="connsiteY27054" fmla="*/ 2849355 h 7458372"/>
              <a:gd name="connsiteX27055" fmla="*/ 5457228 w 10505529"/>
              <a:gd name="connsiteY27055" fmla="*/ 2858806 h 7458372"/>
              <a:gd name="connsiteX27056" fmla="*/ 5460822 w 10505529"/>
              <a:gd name="connsiteY27056" fmla="*/ 2868257 h 7458372"/>
              <a:gd name="connsiteX27057" fmla="*/ 5470806 w 10505529"/>
              <a:gd name="connsiteY27057" fmla="*/ 2871718 h 7458372"/>
              <a:gd name="connsiteX27058" fmla="*/ 5476130 w 10505529"/>
              <a:gd name="connsiteY27058" fmla="*/ 2870787 h 7458372"/>
              <a:gd name="connsiteX27059" fmla="*/ 5479857 w 10505529"/>
              <a:gd name="connsiteY27059" fmla="*/ 2868390 h 7458372"/>
              <a:gd name="connsiteX27060" fmla="*/ 5482520 w 10505529"/>
              <a:gd name="connsiteY27060" fmla="*/ 2864264 h 7458372"/>
              <a:gd name="connsiteX27061" fmla="*/ 5483585 w 10505529"/>
              <a:gd name="connsiteY27061" fmla="*/ 2858806 h 7458372"/>
              <a:gd name="connsiteX27062" fmla="*/ 5482520 w 10505529"/>
              <a:gd name="connsiteY27062" fmla="*/ 2853614 h 7458372"/>
              <a:gd name="connsiteX27063" fmla="*/ 5479857 w 10505529"/>
              <a:gd name="connsiteY27063" fmla="*/ 2849355 h 7458372"/>
              <a:gd name="connsiteX27064" fmla="*/ 5475864 w 10505529"/>
              <a:gd name="connsiteY27064" fmla="*/ 2846692 h 7458372"/>
              <a:gd name="connsiteX27065" fmla="*/ 5470806 w 10505529"/>
              <a:gd name="connsiteY27065" fmla="*/ 2845761 h 7458372"/>
              <a:gd name="connsiteX27066" fmla="*/ 5253160 w 10505529"/>
              <a:gd name="connsiteY27066" fmla="*/ 2845761 h 7458372"/>
              <a:gd name="connsiteX27067" fmla="*/ 5243177 w 10505529"/>
              <a:gd name="connsiteY27067" fmla="*/ 2849355 h 7458372"/>
              <a:gd name="connsiteX27068" fmla="*/ 5239583 w 10505529"/>
              <a:gd name="connsiteY27068" fmla="*/ 2858806 h 7458372"/>
              <a:gd name="connsiteX27069" fmla="*/ 5243177 w 10505529"/>
              <a:gd name="connsiteY27069" fmla="*/ 2868257 h 7458372"/>
              <a:gd name="connsiteX27070" fmla="*/ 5253160 w 10505529"/>
              <a:gd name="connsiteY27070" fmla="*/ 2871718 h 7458372"/>
              <a:gd name="connsiteX27071" fmla="*/ 5258485 w 10505529"/>
              <a:gd name="connsiteY27071" fmla="*/ 2870787 h 7458372"/>
              <a:gd name="connsiteX27072" fmla="*/ 5262212 w 10505529"/>
              <a:gd name="connsiteY27072" fmla="*/ 2868390 h 7458372"/>
              <a:gd name="connsiteX27073" fmla="*/ 5264875 w 10505529"/>
              <a:gd name="connsiteY27073" fmla="*/ 2864264 h 7458372"/>
              <a:gd name="connsiteX27074" fmla="*/ 5265939 w 10505529"/>
              <a:gd name="connsiteY27074" fmla="*/ 2858806 h 7458372"/>
              <a:gd name="connsiteX27075" fmla="*/ 5264875 w 10505529"/>
              <a:gd name="connsiteY27075" fmla="*/ 2853614 h 7458372"/>
              <a:gd name="connsiteX27076" fmla="*/ 5262212 w 10505529"/>
              <a:gd name="connsiteY27076" fmla="*/ 2849355 h 7458372"/>
              <a:gd name="connsiteX27077" fmla="*/ 5258219 w 10505529"/>
              <a:gd name="connsiteY27077" fmla="*/ 2846692 h 7458372"/>
              <a:gd name="connsiteX27078" fmla="*/ 5253160 w 10505529"/>
              <a:gd name="connsiteY27078" fmla="*/ 2845761 h 7458372"/>
              <a:gd name="connsiteX27079" fmla="*/ 5035515 w 10505529"/>
              <a:gd name="connsiteY27079" fmla="*/ 2845761 h 7458372"/>
              <a:gd name="connsiteX27080" fmla="*/ 5025532 w 10505529"/>
              <a:gd name="connsiteY27080" fmla="*/ 2849355 h 7458372"/>
              <a:gd name="connsiteX27081" fmla="*/ 5021938 w 10505529"/>
              <a:gd name="connsiteY27081" fmla="*/ 2858806 h 7458372"/>
              <a:gd name="connsiteX27082" fmla="*/ 5025532 w 10505529"/>
              <a:gd name="connsiteY27082" fmla="*/ 2868257 h 7458372"/>
              <a:gd name="connsiteX27083" fmla="*/ 5035515 w 10505529"/>
              <a:gd name="connsiteY27083" fmla="*/ 2871718 h 7458372"/>
              <a:gd name="connsiteX27084" fmla="*/ 5040840 w 10505529"/>
              <a:gd name="connsiteY27084" fmla="*/ 2870787 h 7458372"/>
              <a:gd name="connsiteX27085" fmla="*/ 5044567 w 10505529"/>
              <a:gd name="connsiteY27085" fmla="*/ 2868390 h 7458372"/>
              <a:gd name="connsiteX27086" fmla="*/ 5047230 w 10505529"/>
              <a:gd name="connsiteY27086" fmla="*/ 2864264 h 7458372"/>
              <a:gd name="connsiteX27087" fmla="*/ 5048294 w 10505529"/>
              <a:gd name="connsiteY27087" fmla="*/ 2858806 h 7458372"/>
              <a:gd name="connsiteX27088" fmla="*/ 5047230 w 10505529"/>
              <a:gd name="connsiteY27088" fmla="*/ 2853614 h 7458372"/>
              <a:gd name="connsiteX27089" fmla="*/ 5044567 w 10505529"/>
              <a:gd name="connsiteY27089" fmla="*/ 2849355 h 7458372"/>
              <a:gd name="connsiteX27090" fmla="*/ 5040574 w 10505529"/>
              <a:gd name="connsiteY27090" fmla="*/ 2846692 h 7458372"/>
              <a:gd name="connsiteX27091" fmla="*/ 5035515 w 10505529"/>
              <a:gd name="connsiteY27091" fmla="*/ 2845761 h 7458372"/>
              <a:gd name="connsiteX27092" fmla="*/ 4817870 w 10505529"/>
              <a:gd name="connsiteY27092" fmla="*/ 2845761 h 7458372"/>
              <a:gd name="connsiteX27093" fmla="*/ 4807887 w 10505529"/>
              <a:gd name="connsiteY27093" fmla="*/ 2849355 h 7458372"/>
              <a:gd name="connsiteX27094" fmla="*/ 4804293 w 10505529"/>
              <a:gd name="connsiteY27094" fmla="*/ 2858806 h 7458372"/>
              <a:gd name="connsiteX27095" fmla="*/ 4807887 w 10505529"/>
              <a:gd name="connsiteY27095" fmla="*/ 2868257 h 7458372"/>
              <a:gd name="connsiteX27096" fmla="*/ 4817870 w 10505529"/>
              <a:gd name="connsiteY27096" fmla="*/ 2871718 h 7458372"/>
              <a:gd name="connsiteX27097" fmla="*/ 4823195 w 10505529"/>
              <a:gd name="connsiteY27097" fmla="*/ 2870787 h 7458372"/>
              <a:gd name="connsiteX27098" fmla="*/ 4826922 w 10505529"/>
              <a:gd name="connsiteY27098" fmla="*/ 2868390 h 7458372"/>
              <a:gd name="connsiteX27099" fmla="*/ 4829585 w 10505529"/>
              <a:gd name="connsiteY27099" fmla="*/ 2864264 h 7458372"/>
              <a:gd name="connsiteX27100" fmla="*/ 4830650 w 10505529"/>
              <a:gd name="connsiteY27100" fmla="*/ 2858806 h 7458372"/>
              <a:gd name="connsiteX27101" fmla="*/ 4829585 w 10505529"/>
              <a:gd name="connsiteY27101" fmla="*/ 2853614 h 7458372"/>
              <a:gd name="connsiteX27102" fmla="*/ 4826922 w 10505529"/>
              <a:gd name="connsiteY27102" fmla="*/ 2849355 h 7458372"/>
              <a:gd name="connsiteX27103" fmla="*/ 4822929 w 10505529"/>
              <a:gd name="connsiteY27103" fmla="*/ 2846692 h 7458372"/>
              <a:gd name="connsiteX27104" fmla="*/ 4817870 w 10505529"/>
              <a:gd name="connsiteY27104" fmla="*/ 2845761 h 7458372"/>
              <a:gd name="connsiteX27105" fmla="*/ 4600226 w 10505529"/>
              <a:gd name="connsiteY27105" fmla="*/ 2845761 h 7458372"/>
              <a:gd name="connsiteX27106" fmla="*/ 4590242 w 10505529"/>
              <a:gd name="connsiteY27106" fmla="*/ 2849355 h 7458372"/>
              <a:gd name="connsiteX27107" fmla="*/ 4586648 w 10505529"/>
              <a:gd name="connsiteY27107" fmla="*/ 2858806 h 7458372"/>
              <a:gd name="connsiteX27108" fmla="*/ 4590242 w 10505529"/>
              <a:gd name="connsiteY27108" fmla="*/ 2868257 h 7458372"/>
              <a:gd name="connsiteX27109" fmla="*/ 4600226 w 10505529"/>
              <a:gd name="connsiteY27109" fmla="*/ 2871718 h 7458372"/>
              <a:gd name="connsiteX27110" fmla="*/ 4605550 w 10505529"/>
              <a:gd name="connsiteY27110" fmla="*/ 2870787 h 7458372"/>
              <a:gd name="connsiteX27111" fmla="*/ 4609277 w 10505529"/>
              <a:gd name="connsiteY27111" fmla="*/ 2868390 h 7458372"/>
              <a:gd name="connsiteX27112" fmla="*/ 4611940 w 10505529"/>
              <a:gd name="connsiteY27112" fmla="*/ 2864264 h 7458372"/>
              <a:gd name="connsiteX27113" fmla="*/ 4613005 w 10505529"/>
              <a:gd name="connsiteY27113" fmla="*/ 2858806 h 7458372"/>
              <a:gd name="connsiteX27114" fmla="*/ 4611940 w 10505529"/>
              <a:gd name="connsiteY27114" fmla="*/ 2853614 h 7458372"/>
              <a:gd name="connsiteX27115" fmla="*/ 4609277 w 10505529"/>
              <a:gd name="connsiteY27115" fmla="*/ 2849355 h 7458372"/>
              <a:gd name="connsiteX27116" fmla="*/ 4605284 w 10505529"/>
              <a:gd name="connsiteY27116" fmla="*/ 2846692 h 7458372"/>
              <a:gd name="connsiteX27117" fmla="*/ 4600226 w 10505529"/>
              <a:gd name="connsiteY27117" fmla="*/ 2845761 h 7458372"/>
              <a:gd name="connsiteX27118" fmla="*/ 4382713 w 10505529"/>
              <a:gd name="connsiteY27118" fmla="*/ 2845761 h 7458372"/>
              <a:gd name="connsiteX27119" fmla="*/ 4372730 w 10505529"/>
              <a:gd name="connsiteY27119" fmla="*/ 2849355 h 7458372"/>
              <a:gd name="connsiteX27120" fmla="*/ 4369136 w 10505529"/>
              <a:gd name="connsiteY27120" fmla="*/ 2858806 h 7458372"/>
              <a:gd name="connsiteX27121" fmla="*/ 4372730 w 10505529"/>
              <a:gd name="connsiteY27121" fmla="*/ 2868257 h 7458372"/>
              <a:gd name="connsiteX27122" fmla="*/ 4382713 w 10505529"/>
              <a:gd name="connsiteY27122" fmla="*/ 2871718 h 7458372"/>
              <a:gd name="connsiteX27123" fmla="*/ 4388038 w 10505529"/>
              <a:gd name="connsiteY27123" fmla="*/ 2870787 h 7458372"/>
              <a:gd name="connsiteX27124" fmla="*/ 4391765 w 10505529"/>
              <a:gd name="connsiteY27124" fmla="*/ 2868390 h 7458372"/>
              <a:gd name="connsiteX27125" fmla="*/ 4394428 w 10505529"/>
              <a:gd name="connsiteY27125" fmla="*/ 2864264 h 7458372"/>
              <a:gd name="connsiteX27126" fmla="*/ 4395493 w 10505529"/>
              <a:gd name="connsiteY27126" fmla="*/ 2858806 h 7458372"/>
              <a:gd name="connsiteX27127" fmla="*/ 4394428 w 10505529"/>
              <a:gd name="connsiteY27127" fmla="*/ 2853614 h 7458372"/>
              <a:gd name="connsiteX27128" fmla="*/ 4391765 w 10505529"/>
              <a:gd name="connsiteY27128" fmla="*/ 2849355 h 7458372"/>
              <a:gd name="connsiteX27129" fmla="*/ 4387772 w 10505529"/>
              <a:gd name="connsiteY27129" fmla="*/ 2846692 h 7458372"/>
              <a:gd name="connsiteX27130" fmla="*/ 4382713 w 10505529"/>
              <a:gd name="connsiteY27130" fmla="*/ 2845761 h 7458372"/>
              <a:gd name="connsiteX27131" fmla="*/ 4165068 w 10505529"/>
              <a:gd name="connsiteY27131" fmla="*/ 2845761 h 7458372"/>
              <a:gd name="connsiteX27132" fmla="*/ 4155084 w 10505529"/>
              <a:gd name="connsiteY27132" fmla="*/ 2849355 h 7458372"/>
              <a:gd name="connsiteX27133" fmla="*/ 4151490 w 10505529"/>
              <a:gd name="connsiteY27133" fmla="*/ 2858806 h 7458372"/>
              <a:gd name="connsiteX27134" fmla="*/ 4155084 w 10505529"/>
              <a:gd name="connsiteY27134" fmla="*/ 2868257 h 7458372"/>
              <a:gd name="connsiteX27135" fmla="*/ 4165068 w 10505529"/>
              <a:gd name="connsiteY27135" fmla="*/ 2871718 h 7458372"/>
              <a:gd name="connsiteX27136" fmla="*/ 4170392 w 10505529"/>
              <a:gd name="connsiteY27136" fmla="*/ 2870787 h 7458372"/>
              <a:gd name="connsiteX27137" fmla="*/ 4174119 w 10505529"/>
              <a:gd name="connsiteY27137" fmla="*/ 2868390 h 7458372"/>
              <a:gd name="connsiteX27138" fmla="*/ 4176782 w 10505529"/>
              <a:gd name="connsiteY27138" fmla="*/ 2864264 h 7458372"/>
              <a:gd name="connsiteX27139" fmla="*/ 4177847 w 10505529"/>
              <a:gd name="connsiteY27139" fmla="*/ 2858806 h 7458372"/>
              <a:gd name="connsiteX27140" fmla="*/ 4176782 w 10505529"/>
              <a:gd name="connsiteY27140" fmla="*/ 2853614 h 7458372"/>
              <a:gd name="connsiteX27141" fmla="*/ 4174119 w 10505529"/>
              <a:gd name="connsiteY27141" fmla="*/ 2849355 h 7458372"/>
              <a:gd name="connsiteX27142" fmla="*/ 4170126 w 10505529"/>
              <a:gd name="connsiteY27142" fmla="*/ 2846692 h 7458372"/>
              <a:gd name="connsiteX27143" fmla="*/ 4165068 w 10505529"/>
              <a:gd name="connsiteY27143" fmla="*/ 2845761 h 7458372"/>
              <a:gd name="connsiteX27144" fmla="*/ 3947582 w 10505529"/>
              <a:gd name="connsiteY27144" fmla="*/ 2845761 h 7458372"/>
              <a:gd name="connsiteX27145" fmla="*/ 3937598 w 10505529"/>
              <a:gd name="connsiteY27145" fmla="*/ 2849355 h 7458372"/>
              <a:gd name="connsiteX27146" fmla="*/ 3934004 w 10505529"/>
              <a:gd name="connsiteY27146" fmla="*/ 2858806 h 7458372"/>
              <a:gd name="connsiteX27147" fmla="*/ 3937598 w 10505529"/>
              <a:gd name="connsiteY27147" fmla="*/ 2868257 h 7458372"/>
              <a:gd name="connsiteX27148" fmla="*/ 3947582 w 10505529"/>
              <a:gd name="connsiteY27148" fmla="*/ 2871718 h 7458372"/>
              <a:gd name="connsiteX27149" fmla="*/ 3952908 w 10505529"/>
              <a:gd name="connsiteY27149" fmla="*/ 2870787 h 7458372"/>
              <a:gd name="connsiteX27150" fmla="*/ 3956634 w 10505529"/>
              <a:gd name="connsiteY27150" fmla="*/ 2868390 h 7458372"/>
              <a:gd name="connsiteX27151" fmla="*/ 3959298 w 10505529"/>
              <a:gd name="connsiteY27151" fmla="*/ 2864264 h 7458372"/>
              <a:gd name="connsiteX27152" fmla="*/ 3960363 w 10505529"/>
              <a:gd name="connsiteY27152" fmla="*/ 2858806 h 7458372"/>
              <a:gd name="connsiteX27153" fmla="*/ 3959298 w 10505529"/>
              <a:gd name="connsiteY27153" fmla="*/ 2853614 h 7458372"/>
              <a:gd name="connsiteX27154" fmla="*/ 3956634 w 10505529"/>
              <a:gd name="connsiteY27154" fmla="*/ 2849355 h 7458372"/>
              <a:gd name="connsiteX27155" fmla="*/ 3952641 w 10505529"/>
              <a:gd name="connsiteY27155" fmla="*/ 2846692 h 7458372"/>
              <a:gd name="connsiteX27156" fmla="*/ 3947582 w 10505529"/>
              <a:gd name="connsiteY27156" fmla="*/ 2845761 h 7458372"/>
              <a:gd name="connsiteX27157" fmla="*/ 3729929 w 10505529"/>
              <a:gd name="connsiteY27157" fmla="*/ 2845761 h 7458372"/>
              <a:gd name="connsiteX27158" fmla="*/ 3719943 w 10505529"/>
              <a:gd name="connsiteY27158" fmla="*/ 2849355 h 7458372"/>
              <a:gd name="connsiteX27159" fmla="*/ 3716351 w 10505529"/>
              <a:gd name="connsiteY27159" fmla="*/ 2858806 h 7458372"/>
              <a:gd name="connsiteX27160" fmla="*/ 3719943 w 10505529"/>
              <a:gd name="connsiteY27160" fmla="*/ 2868257 h 7458372"/>
              <a:gd name="connsiteX27161" fmla="*/ 3729929 w 10505529"/>
              <a:gd name="connsiteY27161" fmla="*/ 2871718 h 7458372"/>
              <a:gd name="connsiteX27162" fmla="*/ 3735254 w 10505529"/>
              <a:gd name="connsiteY27162" fmla="*/ 2870787 h 7458372"/>
              <a:gd name="connsiteX27163" fmla="*/ 3738981 w 10505529"/>
              <a:gd name="connsiteY27163" fmla="*/ 2868390 h 7458372"/>
              <a:gd name="connsiteX27164" fmla="*/ 3741644 w 10505529"/>
              <a:gd name="connsiteY27164" fmla="*/ 2864264 h 7458372"/>
              <a:gd name="connsiteX27165" fmla="*/ 3742709 w 10505529"/>
              <a:gd name="connsiteY27165" fmla="*/ 2858806 h 7458372"/>
              <a:gd name="connsiteX27166" fmla="*/ 3741644 w 10505529"/>
              <a:gd name="connsiteY27166" fmla="*/ 2853614 h 7458372"/>
              <a:gd name="connsiteX27167" fmla="*/ 3738981 w 10505529"/>
              <a:gd name="connsiteY27167" fmla="*/ 2849355 h 7458372"/>
              <a:gd name="connsiteX27168" fmla="*/ 3734988 w 10505529"/>
              <a:gd name="connsiteY27168" fmla="*/ 2846692 h 7458372"/>
              <a:gd name="connsiteX27169" fmla="*/ 3729929 w 10505529"/>
              <a:gd name="connsiteY27169" fmla="*/ 2845761 h 7458372"/>
              <a:gd name="connsiteX27170" fmla="*/ 3512276 w 10505529"/>
              <a:gd name="connsiteY27170" fmla="*/ 2845761 h 7458372"/>
              <a:gd name="connsiteX27171" fmla="*/ 3502289 w 10505529"/>
              <a:gd name="connsiteY27171" fmla="*/ 2849355 h 7458372"/>
              <a:gd name="connsiteX27172" fmla="*/ 3498696 w 10505529"/>
              <a:gd name="connsiteY27172" fmla="*/ 2858806 h 7458372"/>
              <a:gd name="connsiteX27173" fmla="*/ 3502289 w 10505529"/>
              <a:gd name="connsiteY27173" fmla="*/ 2868257 h 7458372"/>
              <a:gd name="connsiteX27174" fmla="*/ 3512276 w 10505529"/>
              <a:gd name="connsiteY27174" fmla="*/ 2871718 h 7458372"/>
              <a:gd name="connsiteX27175" fmla="*/ 3517600 w 10505529"/>
              <a:gd name="connsiteY27175" fmla="*/ 2870787 h 7458372"/>
              <a:gd name="connsiteX27176" fmla="*/ 3521328 w 10505529"/>
              <a:gd name="connsiteY27176" fmla="*/ 2868390 h 7458372"/>
              <a:gd name="connsiteX27177" fmla="*/ 3523991 w 10505529"/>
              <a:gd name="connsiteY27177" fmla="*/ 2864264 h 7458372"/>
              <a:gd name="connsiteX27178" fmla="*/ 3525056 w 10505529"/>
              <a:gd name="connsiteY27178" fmla="*/ 2858806 h 7458372"/>
              <a:gd name="connsiteX27179" fmla="*/ 3523991 w 10505529"/>
              <a:gd name="connsiteY27179" fmla="*/ 2853614 h 7458372"/>
              <a:gd name="connsiteX27180" fmla="*/ 3521328 w 10505529"/>
              <a:gd name="connsiteY27180" fmla="*/ 2849355 h 7458372"/>
              <a:gd name="connsiteX27181" fmla="*/ 3517335 w 10505529"/>
              <a:gd name="connsiteY27181" fmla="*/ 2846692 h 7458372"/>
              <a:gd name="connsiteX27182" fmla="*/ 3512276 w 10505529"/>
              <a:gd name="connsiteY27182" fmla="*/ 2845761 h 7458372"/>
              <a:gd name="connsiteX27183" fmla="*/ 3294755 w 10505529"/>
              <a:gd name="connsiteY27183" fmla="*/ 2845761 h 7458372"/>
              <a:gd name="connsiteX27184" fmla="*/ 3284771 w 10505529"/>
              <a:gd name="connsiteY27184" fmla="*/ 2849355 h 7458372"/>
              <a:gd name="connsiteX27185" fmla="*/ 3281177 w 10505529"/>
              <a:gd name="connsiteY27185" fmla="*/ 2858806 h 7458372"/>
              <a:gd name="connsiteX27186" fmla="*/ 3284771 w 10505529"/>
              <a:gd name="connsiteY27186" fmla="*/ 2868257 h 7458372"/>
              <a:gd name="connsiteX27187" fmla="*/ 3294755 w 10505529"/>
              <a:gd name="connsiteY27187" fmla="*/ 2871718 h 7458372"/>
              <a:gd name="connsiteX27188" fmla="*/ 3300081 w 10505529"/>
              <a:gd name="connsiteY27188" fmla="*/ 2870787 h 7458372"/>
              <a:gd name="connsiteX27189" fmla="*/ 3303808 w 10505529"/>
              <a:gd name="connsiteY27189" fmla="*/ 2868390 h 7458372"/>
              <a:gd name="connsiteX27190" fmla="*/ 3306471 w 10505529"/>
              <a:gd name="connsiteY27190" fmla="*/ 2864264 h 7458372"/>
              <a:gd name="connsiteX27191" fmla="*/ 3307535 w 10505529"/>
              <a:gd name="connsiteY27191" fmla="*/ 2858806 h 7458372"/>
              <a:gd name="connsiteX27192" fmla="*/ 3306471 w 10505529"/>
              <a:gd name="connsiteY27192" fmla="*/ 2853614 h 7458372"/>
              <a:gd name="connsiteX27193" fmla="*/ 3303808 w 10505529"/>
              <a:gd name="connsiteY27193" fmla="*/ 2849355 h 7458372"/>
              <a:gd name="connsiteX27194" fmla="*/ 3299815 w 10505529"/>
              <a:gd name="connsiteY27194" fmla="*/ 2846692 h 7458372"/>
              <a:gd name="connsiteX27195" fmla="*/ 3294755 w 10505529"/>
              <a:gd name="connsiteY27195" fmla="*/ 2845761 h 7458372"/>
              <a:gd name="connsiteX27196" fmla="*/ 3077235 w 10505529"/>
              <a:gd name="connsiteY27196" fmla="*/ 2845761 h 7458372"/>
              <a:gd name="connsiteX27197" fmla="*/ 3067252 w 10505529"/>
              <a:gd name="connsiteY27197" fmla="*/ 2849355 h 7458372"/>
              <a:gd name="connsiteX27198" fmla="*/ 3063523 w 10505529"/>
              <a:gd name="connsiteY27198" fmla="*/ 2858806 h 7458372"/>
              <a:gd name="connsiteX27199" fmla="*/ 3067118 w 10505529"/>
              <a:gd name="connsiteY27199" fmla="*/ 2868257 h 7458372"/>
              <a:gd name="connsiteX27200" fmla="*/ 3077102 w 10505529"/>
              <a:gd name="connsiteY27200" fmla="*/ 2871718 h 7458372"/>
              <a:gd name="connsiteX27201" fmla="*/ 3082560 w 10505529"/>
              <a:gd name="connsiteY27201" fmla="*/ 2870787 h 7458372"/>
              <a:gd name="connsiteX27202" fmla="*/ 3086288 w 10505529"/>
              <a:gd name="connsiteY27202" fmla="*/ 2868390 h 7458372"/>
              <a:gd name="connsiteX27203" fmla="*/ 3088950 w 10505529"/>
              <a:gd name="connsiteY27203" fmla="*/ 2864264 h 7458372"/>
              <a:gd name="connsiteX27204" fmla="*/ 3089883 w 10505529"/>
              <a:gd name="connsiteY27204" fmla="*/ 2858806 h 7458372"/>
              <a:gd name="connsiteX27205" fmla="*/ 3088950 w 10505529"/>
              <a:gd name="connsiteY27205" fmla="*/ 2853614 h 7458372"/>
              <a:gd name="connsiteX27206" fmla="*/ 3086288 w 10505529"/>
              <a:gd name="connsiteY27206" fmla="*/ 2849355 h 7458372"/>
              <a:gd name="connsiteX27207" fmla="*/ 3082295 w 10505529"/>
              <a:gd name="connsiteY27207" fmla="*/ 2846692 h 7458372"/>
              <a:gd name="connsiteX27208" fmla="*/ 3077235 w 10505529"/>
              <a:gd name="connsiteY27208" fmla="*/ 2845761 h 7458372"/>
              <a:gd name="connsiteX27209" fmla="*/ 2859449 w 10505529"/>
              <a:gd name="connsiteY27209" fmla="*/ 2845761 h 7458372"/>
              <a:gd name="connsiteX27210" fmla="*/ 2849463 w 10505529"/>
              <a:gd name="connsiteY27210" fmla="*/ 2849355 h 7458372"/>
              <a:gd name="connsiteX27211" fmla="*/ 2845868 w 10505529"/>
              <a:gd name="connsiteY27211" fmla="*/ 2858806 h 7458372"/>
              <a:gd name="connsiteX27212" fmla="*/ 2849463 w 10505529"/>
              <a:gd name="connsiteY27212" fmla="*/ 2868257 h 7458372"/>
              <a:gd name="connsiteX27213" fmla="*/ 2859449 w 10505529"/>
              <a:gd name="connsiteY27213" fmla="*/ 2871718 h 7458372"/>
              <a:gd name="connsiteX27214" fmla="*/ 2864774 w 10505529"/>
              <a:gd name="connsiteY27214" fmla="*/ 2870787 h 7458372"/>
              <a:gd name="connsiteX27215" fmla="*/ 2868501 w 10505529"/>
              <a:gd name="connsiteY27215" fmla="*/ 2868390 h 7458372"/>
              <a:gd name="connsiteX27216" fmla="*/ 2871164 w 10505529"/>
              <a:gd name="connsiteY27216" fmla="*/ 2864264 h 7458372"/>
              <a:gd name="connsiteX27217" fmla="*/ 2872095 w 10505529"/>
              <a:gd name="connsiteY27217" fmla="*/ 2858806 h 7458372"/>
              <a:gd name="connsiteX27218" fmla="*/ 2871164 w 10505529"/>
              <a:gd name="connsiteY27218" fmla="*/ 2853614 h 7458372"/>
              <a:gd name="connsiteX27219" fmla="*/ 2868501 w 10505529"/>
              <a:gd name="connsiteY27219" fmla="*/ 2849355 h 7458372"/>
              <a:gd name="connsiteX27220" fmla="*/ 2864508 w 10505529"/>
              <a:gd name="connsiteY27220" fmla="*/ 2846692 h 7458372"/>
              <a:gd name="connsiteX27221" fmla="*/ 2859449 w 10505529"/>
              <a:gd name="connsiteY27221" fmla="*/ 2845761 h 7458372"/>
              <a:gd name="connsiteX27222" fmla="*/ 2641795 w 10505529"/>
              <a:gd name="connsiteY27222" fmla="*/ 2845761 h 7458372"/>
              <a:gd name="connsiteX27223" fmla="*/ 2631812 w 10505529"/>
              <a:gd name="connsiteY27223" fmla="*/ 2849355 h 7458372"/>
              <a:gd name="connsiteX27224" fmla="*/ 2628218 w 10505529"/>
              <a:gd name="connsiteY27224" fmla="*/ 2858806 h 7458372"/>
              <a:gd name="connsiteX27225" fmla="*/ 2631812 w 10505529"/>
              <a:gd name="connsiteY27225" fmla="*/ 2868257 h 7458372"/>
              <a:gd name="connsiteX27226" fmla="*/ 2641795 w 10505529"/>
              <a:gd name="connsiteY27226" fmla="*/ 2871718 h 7458372"/>
              <a:gd name="connsiteX27227" fmla="*/ 2647121 w 10505529"/>
              <a:gd name="connsiteY27227" fmla="*/ 2870787 h 7458372"/>
              <a:gd name="connsiteX27228" fmla="*/ 2650848 w 10505529"/>
              <a:gd name="connsiteY27228" fmla="*/ 2868390 h 7458372"/>
              <a:gd name="connsiteX27229" fmla="*/ 2653511 w 10505529"/>
              <a:gd name="connsiteY27229" fmla="*/ 2864264 h 7458372"/>
              <a:gd name="connsiteX27230" fmla="*/ 2654441 w 10505529"/>
              <a:gd name="connsiteY27230" fmla="*/ 2858806 h 7458372"/>
              <a:gd name="connsiteX27231" fmla="*/ 2653511 w 10505529"/>
              <a:gd name="connsiteY27231" fmla="*/ 2853614 h 7458372"/>
              <a:gd name="connsiteX27232" fmla="*/ 2650848 w 10505529"/>
              <a:gd name="connsiteY27232" fmla="*/ 2849355 h 7458372"/>
              <a:gd name="connsiteX27233" fmla="*/ 2646855 w 10505529"/>
              <a:gd name="connsiteY27233" fmla="*/ 2846692 h 7458372"/>
              <a:gd name="connsiteX27234" fmla="*/ 2641795 w 10505529"/>
              <a:gd name="connsiteY27234" fmla="*/ 2845761 h 7458372"/>
              <a:gd name="connsiteX27235" fmla="*/ 2424142 w 10505529"/>
              <a:gd name="connsiteY27235" fmla="*/ 2845761 h 7458372"/>
              <a:gd name="connsiteX27236" fmla="*/ 2414159 w 10505529"/>
              <a:gd name="connsiteY27236" fmla="*/ 2849355 h 7458372"/>
              <a:gd name="connsiteX27237" fmla="*/ 2410565 w 10505529"/>
              <a:gd name="connsiteY27237" fmla="*/ 2858806 h 7458372"/>
              <a:gd name="connsiteX27238" fmla="*/ 2414159 w 10505529"/>
              <a:gd name="connsiteY27238" fmla="*/ 2868257 h 7458372"/>
              <a:gd name="connsiteX27239" fmla="*/ 2424142 w 10505529"/>
              <a:gd name="connsiteY27239" fmla="*/ 2871718 h 7458372"/>
              <a:gd name="connsiteX27240" fmla="*/ 2429467 w 10505529"/>
              <a:gd name="connsiteY27240" fmla="*/ 2870787 h 7458372"/>
              <a:gd name="connsiteX27241" fmla="*/ 2433194 w 10505529"/>
              <a:gd name="connsiteY27241" fmla="*/ 2868390 h 7458372"/>
              <a:gd name="connsiteX27242" fmla="*/ 2435857 w 10505529"/>
              <a:gd name="connsiteY27242" fmla="*/ 2864264 h 7458372"/>
              <a:gd name="connsiteX27243" fmla="*/ 2436789 w 10505529"/>
              <a:gd name="connsiteY27243" fmla="*/ 2858806 h 7458372"/>
              <a:gd name="connsiteX27244" fmla="*/ 2435857 w 10505529"/>
              <a:gd name="connsiteY27244" fmla="*/ 2853614 h 7458372"/>
              <a:gd name="connsiteX27245" fmla="*/ 2433194 w 10505529"/>
              <a:gd name="connsiteY27245" fmla="*/ 2849355 h 7458372"/>
              <a:gd name="connsiteX27246" fmla="*/ 2429201 w 10505529"/>
              <a:gd name="connsiteY27246" fmla="*/ 2846692 h 7458372"/>
              <a:gd name="connsiteX27247" fmla="*/ 2424142 w 10505529"/>
              <a:gd name="connsiteY27247" fmla="*/ 2845761 h 7458372"/>
              <a:gd name="connsiteX27248" fmla="*/ 2206489 w 10505529"/>
              <a:gd name="connsiteY27248" fmla="*/ 2845761 h 7458372"/>
              <a:gd name="connsiteX27249" fmla="*/ 2196505 w 10505529"/>
              <a:gd name="connsiteY27249" fmla="*/ 2849355 h 7458372"/>
              <a:gd name="connsiteX27250" fmla="*/ 2192911 w 10505529"/>
              <a:gd name="connsiteY27250" fmla="*/ 2858806 h 7458372"/>
              <a:gd name="connsiteX27251" fmla="*/ 2196505 w 10505529"/>
              <a:gd name="connsiteY27251" fmla="*/ 2868257 h 7458372"/>
              <a:gd name="connsiteX27252" fmla="*/ 2206489 w 10505529"/>
              <a:gd name="connsiteY27252" fmla="*/ 2871718 h 7458372"/>
              <a:gd name="connsiteX27253" fmla="*/ 2211814 w 10505529"/>
              <a:gd name="connsiteY27253" fmla="*/ 2870787 h 7458372"/>
              <a:gd name="connsiteX27254" fmla="*/ 2215541 w 10505529"/>
              <a:gd name="connsiteY27254" fmla="*/ 2868390 h 7458372"/>
              <a:gd name="connsiteX27255" fmla="*/ 2218204 w 10505529"/>
              <a:gd name="connsiteY27255" fmla="*/ 2864264 h 7458372"/>
              <a:gd name="connsiteX27256" fmla="*/ 2219135 w 10505529"/>
              <a:gd name="connsiteY27256" fmla="*/ 2858806 h 7458372"/>
              <a:gd name="connsiteX27257" fmla="*/ 2218204 w 10505529"/>
              <a:gd name="connsiteY27257" fmla="*/ 2853614 h 7458372"/>
              <a:gd name="connsiteX27258" fmla="*/ 2215541 w 10505529"/>
              <a:gd name="connsiteY27258" fmla="*/ 2849355 h 7458372"/>
              <a:gd name="connsiteX27259" fmla="*/ 2211548 w 10505529"/>
              <a:gd name="connsiteY27259" fmla="*/ 2846692 h 7458372"/>
              <a:gd name="connsiteX27260" fmla="*/ 2206489 w 10505529"/>
              <a:gd name="connsiteY27260" fmla="*/ 2845761 h 7458372"/>
              <a:gd name="connsiteX27261" fmla="*/ 1988968 w 10505529"/>
              <a:gd name="connsiteY27261" fmla="*/ 2845761 h 7458372"/>
              <a:gd name="connsiteX27262" fmla="*/ 1978985 w 10505529"/>
              <a:gd name="connsiteY27262" fmla="*/ 2849355 h 7458372"/>
              <a:gd name="connsiteX27263" fmla="*/ 1975391 w 10505529"/>
              <a:gd name="connsiteY27263" fmla="*/ 2858806 h 7458372"/>
              <a:gd name="connsiteX27264" fmla="*/ 1978985 w 10505529"/>
              <a:gd name="connsiteY27264" fmla="*/ 2868257 h 7458372"/>
              <a:gd name="connsiteX27265" fmla="*/ 1988968 w 10505529"/>
              <a:gd name="connsiteY27265" fmla="*/ 2871718 h 7458372"/>
              <a:gd name="connsiteX27266" fmla="*/ 1994293 w 10505529"/>
              <a:gd name="connsiteY27266" fmla="*/ 2870787 h 7458372"/>
              <a:gd name="connsiteX27267" fmla="*/ 1998021 w 10505529"/>
              <a:gd name="connsiteY27267" fmla="*/ 2868390 h 7458372"/>
              <a:gd name="connsiteX27268" fmla="*/ 2000684 w 10505529"/>
              <a:gd name="connsiteY27268" fmla="*/ 2864264 h 7458372"/>
              <a:gd name="connsiteX27269" fmla="*/ 2001614 w 10505529"/>
              <a:gd name="connsiteY27269" fmla="*/ 2858806 h 7458372"/>
              <a:gd name="connsiteX27270" fmla="*/ 2000684 w 10505529"/>
              <a:gd name="connsiteY27270" fmla="*/ 2853614 h 7458372"/>
              <a:gd name="connsiteX27271" fmla="*/ 1998021 w 10505529"/>
              <a:gd name="connsiteY27271" fmla="*/ 2849355 h 7458372"/>
              <a:gd name="connsiteX27272" fmla="*/ 1994027 w 10505529"/>
              <a:gd name="connsiteY27272" fmla="*/ 2846692 h 7458372"/>
              <a:gd name="connsiteX27273" fmla="*/ 1988968 w 10505529"/>
              <a:gd name="connsiteY27273" fmla="*/ 2845761 h 7458372"/>
              <a:gd name="connsiteX27274" fmla="*/ 1771329 w 10505529"/>
              <a:gd name="connsiteY27274" fmla="*/ 2845761 h 7458372"/>
              <a:gd name="connsiteX27275" fmla="*/ 1761347 w 10505529"/>
              <a:gd name="connsiteY27275" fmla="*/ 2849355 h 7458372"/>
              <a:gd name="connsiteX27276" fmla="*/ 1757753 w 10505529"/>
              <a:gd name="connsiteY27276" fmla="*/ 2858806 h 7458372"/>
              <a:gd name="connsiteX27277" fmla="*/ 1761347 w 10505529"/>
              <a:gd name="connsiteY27277" fmla="*/ 2868257 h 7458372"/>
              <a:gd name="connsiteX27278" fmla="*/ 1771329 w 10505529"/>
              <a:gd name="connsiteY27278" fmla="*/ 2871718 h 7458372"/>
              <a:gd name="connsiteX27279" fmla="*/ 1776654 w 10505529"/>
              <a:gd name="connsiteY27279" fmla="*/ 2870787 h 7458372"/>
              <a:gd name="connsiteX27280" fmla="*/ 1780381 w 10505529"/>
              <a:gd name="connsiteY27280" fmla="*/ 2868390 h 7458372"/>
              <a:gd name="connsiteX27281" fmla="*/ 1783044 w 10505529"/>
              <a:gd name="connsiteY27281" fmla="*/ 2864264 h 7458372"/>
              <a:gd name="connsiteX27282" fmla="*/ 1784109 w 10505529"/>
              <a:gd name="connsiteY27282" fmla="*/ 2858806 h 7458372"/>
              <a:gd name="connsiteX27283" fmla="*/ 1783044 w 10505529"/>
              <a:gd name="connsiteY27283" fmla="*/ 2853614 h 7458372"/>
              <a:gd name="connsiteX27284" fmla="*/ 1780381 w 10505529"/>
              <a:gd name="connsiteY27284" fmla="*/ 2849355 h 7458372"/>
              <a:gd name="connsiteX27285" fmla="*/ 1776388 w 10505529"/>
              <a:gd name="connsiteY27285" fmla="*/ 2846692 h 7458372"/>
              <a:gd name="connsiteX27286" fmla="*/ 1771329 w 10505529"/>
              <a:gd name="connsiteY27286" fmla="*/ 2845761 h 7458372"/>
              <a:gd name="connsiteX27287" fmla="*/ 1553688 w 10505529"/>
              <a:gd name="connsiteY27287" fmla="*/ 2845761 h 7458372"/>
              <a:gd name="connsiteX27288" fmla="*/ 1543705 w 10505529"/>
              <a:gd name="connsiteY27288" fmla="*/ 2849355 h 7458372"/>
              <a:gd name="connsiteX27289" fmla="*/ 1540111 w 10505529"/>
              <a:gd name="connsiteY27289" fmla="*/ 2858806 h 7458372"/>
              <a:gd name="connsiteX27290" fmla="*/ 1543705 w 10505529"/>
              <a:gd name="connsiteY27290" fmla="*/ 2868257 h 7458372"/>
              <a:gd name="connsiteX27291" fmla="*/ 1553688 w 10505529"/>
              <a:gd name="connsiteY27291" fmla="*/ 2871718 h 7458372"/>
              <a:gd name="connsiteX27292" fmla="*/ 1559013 w 10505529"/>
              <a:gd name="connsiteY27292" fmla="*/ 2870787 h 7458372"/>
              <a:gd name="connsiteX27293" fmla="*/ 1562740 w 10505529"/>
              <a:gd name="connsiteY27293" fmla="*/ 2868390 h 7458372"/>
              <a:gd name="connsiteX27294" fmla="*/ 1565403 w 10505529"/>
              <a:gd name="connsiteY27294" fmla="*/ 2864264 h 7458372"/>
              <a:gd name="connsiteX27295" fmla="*/ 1566468 w 10505529"/>
              <a:gd name="connsiteY27295" fmla="*/ 2858806 h 7458372"/>
              <a:gd name="connsiteX27296" fmla="*/ 1565403 w 10505529"/>
              <a:gd name="connsiteY27296" fmla="*/ 2853614 h 7458372"/>
              <a:gd name="connsiteX27297" fmla="*/ 1562740 w 10505529"/>
              <a:gd name="connsiteY27297" fmla="*/ 2849355 h 7458372"/>
              <a:gd name="connsiteX27298" fmla="*/ 1558747 w 10505529"/>
              <a:gd name="connsiteY27298" fmla="*/ 2846692 h 7458372"/>
              <a:gd name="connsiteX27299" fmla="*/ 1553688 w 10505529"/>
              <a:gd name="connsiteY27299" fmla="*/ 2845761 h 7458372"/>
              <a:gd name="connsiteX27300" fmla="*/ 1336044 w 10505529"/>
              <a:gd name="connsiteY27300" fmla="*/ 2845761 h 7458372"/>
              <a:gd name="connsiteX27301" fmla="*/ 1326061 w 10505529"/>
              <a:gd name="connsiteY27301" fmla="*/ 2849355 h 7458372"/>
              <a:gd name="connsiteX27302" fmla="*/ 1322466 w 10505529"/>
              <a:gd name="connsiteY27302" fmla="*/ 2858806 h 7458372"/>
              <a:gd name="connsiteX27303" fmla="*/ 1326061 w 10505529"/>
              <a:gd name="connsiteY27303" fmla="*/ 2868257 h 7458372"/>
              <a:gd name="connsiteX27304" fmla="*/ 1336044 w 10505529"/>
              <a:gd name="connsiteY27304" fmla="*/ 2871718 h 7458372"/>
              <a:gd name="connsiteX27305" fmla="*/ 1341370 w 10505529"/>
              <a:gd name="connsiteY27305" fmla="*/ 2870787 h 7458372"/>
              <a:gd name="connsiteX27306" fmla="*/ 1345097 w 10505529"/>
              <a:gd name="connsiteY27306" fmla="*/ 2868390 h 7458372"/>
              <a:gd name="connsiteX27307" fmla="*/ 1347760 w 10505529"/>
              <a:gd name="connsiteY27307" fmla="*/ 2864264 h 7458372"/>
              <a:gd name="connsiteX27308" fmla="*/ 1348826 w 10505529"/>
              <a:gd name="connsiteY27308" fmla="*/ 2858806 h 7458372"/>
              <a:gd name="connsiteX27309" fmla="*/ 1347760 w 10505529"/>
              <a:gd name="connsiteY27309" fmla="*/ 2853614 h 7458372"/>
              <a:gd name="connsiteX27310" fmla="*/ 1345097 w 10505529"/>
              <a:gd name="connsiteY27310" fmla="*/ 2849355 h 7458372"/>
              <a:gd name="connsiteX27311" fmla="*/ 1341103 w 10505529"/>
              <a:gd name="connsiteY27311" fmla="*/ 2846692 h 7458372"/>
              <a:gd name="connsiteX27312" fmla="*/ 1336044 w 10505529"/>
              <a:gd name="connsiteY27312" fmla="*/ 2845761 h 7458372"/>
              <a:gd name="connsiteX27313" fmla="*/ 1118532 w 10505529"/>
              <a:gd name="connsiteY27313" fmla="*/ 2845761 h 7458372"/>
              <a:gd name="connsiteX27314" fmla="*/ 1108547 w 10505529"/>
              <a:gd name="connsiteY27314" fmla="*/ 2849355 h 7458372"/>
              <a:gd name="connsiteX27315" fmla="*/ 1104820 w 10505529"/>
              <a:gd name="connsiteY27315" fmla="*/ 2858806 h 7458372"/>
              <a:gd name="connsiteX27316" fmla="*/ 1108415 w 10505529"/>
              <a:gd name="connsiteY27316" fmla="*/ 2868257 h 7458372"/>
              <a:gd name="connsiteX27317" fmla="*/ 1118399 w 10505529"/>
              <a:gd name="connsiteY27317" fmla="*/ 2871718 h 7458372"/>
              <a:gd name="connsiteX27318" fmla="*/ 1123856 w 10505529"/>
              <a:gd name="connsiteY27318" fmla="*/ 2870787 h 7458372"/>
              <a:gd name="connsiteX27319" fmla="*/ 1127585 w 10505529"/>
              <a:gd name="connsiteY27319" fmla="*/ 2868390 h 7458372"/>
              <a:gd name="connsiteX27320" fmla="*/ 1130248 w 10505529"/>
              <a:gd name="connsiteY27320" fmla="*/ 2864264 h 7458372"/>
              <a:gd name="connsiteX27321" fmla="*/ 1131314 w 10505529"/>
              <a:gd name="connsiteY27321" fmla="*/ 2858806 h 7458372"/>
              <a:gd name="connsiteX27322" fmla="*/ 1130248 w 10505529"/>
              <a:gd name="connsiteY27322" fmla="*/ 2853614 h 7458372"/>
              <a:gd name="connsiteX27323" fmla="*/ 1127585 w 10505529"/>
              <a:gd name="connsiteY27323" fmla="*/ 2849355 h 7458372"/>
              <a:gd name="connsiteX27324" fmla="*/ 1123590 w 10505529"/>
              <a:gd name="connsiteY27324" fmla="*/ 2846692 h 7458372"/>
              <a:gd name="connsiteX27325" fmla="*/ 1118532 w 10505529"/>
              <a:gd name="connsiteY27325" fmla="*/ 2845761 h 7458372"/>
              <a:gd name="connsiteX27326" fmla="*/ 901020 w 10505529"/>
              <a:gd name="connsiteY27326" fmla="*/ 2845761 h 7458372"/>
              <a:gd name="connsiteX27327" fmla="*/ 891036 w 10505529"/>
              <a:gd name="connsiteY27327" fmla="*/ 2849355 h 7458372"/>
              <a:gd name="connsiteX27328" fmla="*/ 887309 w 10505529"/>
              <a:gd name="connsiteY27328" fmla="*/ 2858806 h 7458372"/>
              <a:gd name="connsiteX27329" fmla="*/ 890903 w 10505529"/>
              <a:gd name="connsiteY27329" fmla="*/ 2868257 h 7458372"/>
              <a:gd name="connsiteX27330" fmla="*/ 900886 w 10505529"/>
              <a:gd name="connsiteY27330" fmla="*/ 2871718 h 7458372"/>
              <a:gd name="connsiteX27331" fmla="*/ 906345 w 10505529"/>
              <a:gd name="connsiteY27331" fmla="*/ 2870787 h 7458372"/>
              <a:gd name="connsiteX27332" fmla="*/ 910073 w 10505529"/>
              <a:gd name="connsiteY27332" fmla="*/ 2868390 h 7458372"/>
              <a:gd name="connsiteX27333" fmla="*/ 912735 w 10505529"/>
              <a:gd name="connsiteY27333" fmla="*/ 2864264 h 7458372"/>
              <a:gd name="connsiteX27334" fmla="*/ 913800 w 10505529"/>
              <a:gd name="connsiteY27334" fmla="*/ 2858806 h 7458372"/>
              <a:gd name="connsiteX27335" fmla="*/ 912735 w 10505529"/>
              <a:gd name="connsiteY27335" fmla="*/ 2853614 h 7458372"/>
              <a:gd name="connsiteX27336" fmla="*/ 910073 w 10505529"/>
              <a:gd name="connsiteY27336" fmla="*/ 2849355 h 7458372"/>
              <a:gd name="connsiteX27337" fmla="*/ 906078 w 10505529"/>
              <a:gd name="connsiteY27337" fmla="*/ 2846692 h 7458372"/>
              <a:gd name="connsiteX27338" fmla="*/ 901020 w 10505529"/>
              <a:gd name="connsiteY27338" fmla="*/ 2845761 h 7458372"/>
              <a:gd name="connsiteX27339" fmla="*/ 683244 w 10505529"/>
              <a:gd name="connsiteY27339" fmla="*/ 2845761 h 7458372"/>
              <a:gd name="connsiteX27340" fmla="*/ 673261 w 10505529"/>
              <a:gd name="connsiteY27340" fmla="*/ 2849355 h 7458372"/>
              <a:gd name="connsiteX27341" fmla="*/ 669667 w 10505529"/>
              <a:gd name="connsiteY27341" fmla="*/ 2858806 h 7458372"/>
              <a:gd name="connsiteX27342" fmla="*/ 673261 w 10505529"/>
              <a:gd name="connsiteY27342" fmla="*/ 2868257 h 7458372"/>
              <a:gd name="connsiteX27343" fmla="*/ 683244 w 10505529"/>
              <a:gd name="connsiteY27343" fmla="*/ 2871718 h 7458372"/>
              <a:gd name="connsiteX27344" fmla="*/ 688569 w 10505529"/>
              <a:gd name="connsiteY27344" fmla="*/ 2870787 h 7458372"/>
              <a:gd name="connsiteX27345" fmla="*/ 692296 w 10505529"/>
              <a:gd name="connsiteY27345" fmla="*/ 2868390 h 7458372"/>
              <a:gd name="connsiteX27346" fmla="*/ 694959 w 10505529"/>
              <a:gd name="connsiteY27346" fmla="*/ 2864264 h 7458372"/>
              <a:gd name="connsiteX27347" fmla="*/ 696024 w 10505529"/>
              <a:gd name="connsiteY27347" fmla="*/ 2858806 h 7458372"/>
              <a:gd name="connsiteX27348" fmla="*/ 694959 w 10505529"/>
              <a:gd name="connsiteY27348" fmla="*/ 2853614 h 7458372"/>
              <a:gd name="connsiteX27349" fmla="*/ 692296 w 10505529"/>
              <a:gd name="connsiteY27349" fmla="*/ 2849355 h 7458372"/>
              <a:gd name="connsiteX27350" fmla="*/ 688303 w 10505529"/>
              <a:gd name="connsiteY27350" fmla="*/ 2846692 h 7458372"/>
              <a:gd name="connsiteX27351" fmla="*/ 683244 w 10505529"/>
              <a:gd name="connsiteY27351" fmla="*/ 2845761 h 7458372"/>
              <a:gd name="connsiteX27352" fmla="*/ 465601 w 10505529"/>
              <a:gd name="connsiteY27352" fmla="*/ 2845761 h 7458372"/>
              <a:gd name="connsiteX27353" fmla="*/ 455618 w 10505529"/>
              <a:gd name="connsiteY27353" fmla="*/ 2849355 h 7458372"/>
              <a:gd name="connsiteX27354" fmla="*/ 452024 w 10505529"/>
              <a:gd name="connsiteY27354" fmla="*/ 2858806 h 7458372"/>
              <a:gd name="connsiteX27355" fmla="*/ 455618 w 10505529"/>
              <a:gd name="connsiteY27355" fmla="*/ 2868257 h 7458372"/>
              <a:gd name="connsiteX27356" fmla="*/ 465601 w 10505529"/>
              <a:gd name="connsiteY27356" fmla="*/ 2871718 h 7458372"/>
              <a:gd name="connsiteX27357" fmla="*/ 470926 w 10505529"/>
              <a:gd name="connsiteY27357" fmla="*/ 2870787 h 7458372"/>
              <a:gd name="connsiteX27358" fmla="*/ 474653 w 10505529"/>
              <a:gd name="connsiteY27358" fmla="*/ 2868390 h 7458372"/>
              <a:gd name="connsiteX27359" fmla="*/ 477316 w 10505529"/>
              <a:gd name="connsiteY27359" fmla="*/ 2864264 h 7458372"/>
              <a:gd name="connsiteX27360" fmla="*/ 478381 w 10505529"/>
              <a:gd name="connsiteY27360" fmla="*/ 2858806 h 7458372"/>
              <a:gd name="connsiteX27361" fmla="*/ 477316 w 10505529"/>
              <a:gd name="connsiteY27361" fmla="*/ 2853614 h 7458372"/>
              <a:gd name="connsiteX27362" fmla="*/ 474653 w 10505529"/>
              <a:gd name="connsiteY27362" fmla="*/ 2849355 h 7458372"/>
              <a:gd name="connsiteX27363" fmla="*/ 470660 w 10505529"/>
              <a:gd name="connsiteY27363" fmla="*/ 2846692 h 7458372"/>
              <a:gd name="connsiteX27364" fmla="*/ 465601 w 10505529"/>
              <a:gd name="connsiteY27364" fmla="*/ 2845761 h 7458372"/>
              <a:gd name="connsiteX27365" fmla="*/ 247958 w 10505529"/>
              <a:gd name="connsiteY27365" fmla="*/ 2845761 h 7458372"/>
              <a:gd name="connsiteX27366" fmla="*/ 237975 w 10505529"/>
              <a:gd name="connsiteY27366" fmla="*/ 2849355 h 7458372"/>
              <a:gd name="connsiteX27367" fmla="*/ 234381 w 10505529"/>
              <a:gd name="connsiteY27367" fmla="*/ 2858806 h 7458372"/>
              <a:gd name="connsiteX27368" fmla="*/ 237975 w 10505529"/>
              <a:gd name="connsiteY27368" fmla="*/ 2868257 h 7458372"/>
              <a:gd name="connsiteX27369" fmla="*/ 247958 w 10505529"/>
              <a:gd name="connsiteY27369" fmla="*/ 2871718 h 7458372"/>
              <a:gd name="connsiteX27370" fmla="*/ 253283 w 10505529"/>
              <a:gd name="connsiteY27370" fmla="*/ 2870787 h 7458372"/>
              <a:gd name="connsiteX27371" fmla="*/ 257010 w 10505529"/>
              <a:gd name="connsiteY27371" fmla="*/ 2868390 h 7458372"/>
              <a:gd name="connsiteX27372" fmla="*/ 259673 w 10505529"/>
              <a:gd name="connsiteY27372" fmla="*/ 2864264 h 7458372"/>
              <a:gd name="connsiteX27373" fmla="*/ 260738 w 10505529"/>
              <a:gd name="connsiteY27373" fmla="*/ 2858806 h 7458372"/>
              <a:gd name="connsiteX27374" fmla="*/ 259673 w 10505529"/>
              <a:gd name="connsiteY27374" fmla="*/ 2853614 h 7458372"/>
              <a:gd name="connsiteX27375" fmla="*/ 257010 w 10505529"/>
              <a:gd name="connsiteY27375" fmla="*/ 2849355 h 7458372"/>
              <a:gd name="connsiteX27376" fmla="*/ 253017 w 10505529"/>
              <a:gd name="connsiteY27376" fmla="*/ 2846692 h 7458372"/>
              <a:gd name="connsiteX27377" fmla="*/ 247958 w 10505529"/>
              <a:gd name="connsiteY27377" fmla="*/ 2845761 h 7458372"/>
              <a:gd name="connsiteX27378" fmla="*/ 30315 w 10505529"/>
              <a:gd name="connsiteY27378" fmla="*/ 2845761 h 7458372"/>
              <a:gd name="connsiteX27379" fmla="*/ 20332 w 10505529"/>
              <a:gd name="connsiteY27379" fmla="*/ 2849355 h 7458372"/>
              <a:gd name="connsiteX27380" fmla="*/ 16738 w 10505529"/>
              <a:gd name="connsiteY27380" fmla="*/ 2858806 h 7458372"/>
              <a:gd name="connsiteX27381" fmla="*/ 20332 w 10505529"/>
              <a:gd name="connsiteY27381" fmla="*/ 2868257 h 7458372"/>
              <a:gd name="connsiteX27382" fmla="*/ 30315 w 10505529"/>
              <a:gd name="connsiteY27382" fmla="*/ 2871718 h 7458372"/>
              <a:gd name="connsiteX27383" fmla="*/ 35640 w 10505529"/>
              <a:gd name="connsiteY27383" fmla="*/ 2870787 h 7458372"/>
              <a:gd name="connsiteX27384" fmla="*/ 39367 w 10505529"/>
              <a:gd name="connsiteY27384" fmla="*/ 2868390 h 7458372"/>
              <a:gd name="connsiteX27385" fmla="*/ 42030 w 10505529"/>
              <a:gd name="connsiteY27385" fmla="*/ 2864264 h 7458372"/>
              <a:gd name="connsiteX27386" fmla="*/ 42961 w 10505529"/>
              <a:gd name="connsiteY27386" fmla="*/ 2858806 h 7458372"/>
              <a:gd name="connsiteX27387" fmla="*/ 42030 w 10505529"/>
              <a:gd name="connsiteY27387" fmla="*/ 2853614 h 7458372"/>
              <a:gd name="connsiteX27388" fmla="*/ 39367 w 10505529"/>
              <a:gd name="connsiteY27388" fmla="*/ 2849355 h 7458372"/>
              <a:gd name="connsiteX27389" fmla="*/ 35374 w 10505529"/>
              <a:gd name="connsiteY27389" fmla="*/ 2846692 h 7458372"/>
              <a:gd name="connsiteX27390" fmla="*/ 30315 w 10505529"/>
              <a:gd name="connsiteY27390" fmla="*/ 2845761 h 7458372"/>
              <a:gd name="connsiteX27391" fmla="*/ 10475977 w 10505529"/>
              <a:gd name="connsiteY27391" fmla="*/ 2828988 h 7458372"/>
              <a:gd name="connsiteX27392" fmla="*/ 10487824 w 10505529"/>
              <a:gd name="connsiteY27392" fmla="*/ 2831516 h 7458372"/>
              <a:gd name="connsiteX27393" fmla="*/ 10497143 w 10505529"/>
              <a:gd name="connsiteY27393" fmla="*/ 2837906 h 7458372"/>
              <a:gd name="connsiteX27394" fmla="*/ 10503266 w 10505529"/>
              <a:gd name="connsiteY27394" fmla="*/ 2847357 h 7458372"/>
              <a:gd name="connsiteX27395" fmla="*/ 10505529 w 10505529"/>
              <a:gd name="connsiteY27395" fmla="*/ 2858806 h 7458372"/>
              <a:gd name="connsiteX27396" fmla="*/ 10503266 w 10505529"/>
              <a:gd name="connsiteY27396" fmla="*/ 2870520 h 7458372"/>
              <a:gd name="connsiteX27397" fmla="*/ 10497143 w 10505529"/>
              <a:gd name="connsiteY27397" fmla="*/ 2879838 h 7458372"/>
              <a:gd name="connsiteX27398" fmla="*/ 10487824 w 10505529"/>
              <a:gd name="connsiteY27398" fmla="*/ 2886095 h 7458372"/>
              <a:gd name="connsiteX27399" fmla="*/ 10475977 w 10505529"/>
              <a:gd name="connsiteY27399" fmla="*/ 2888359 h 7458372"/>
              <a:gd name="connsiteX27400" fmla="*/ 10454145 w 10505529"/>
              <a:gd name="connsiteY27400" fmla="*/ 2879838 h 7458372"/>
              <a:gd name="connsiteX27401" fmla="*/ 10445759 w 10505529"/>
              <a:gd name="connsiteY27401" fmla="*/ 2858673 h 7458372"/>
              <a:gd name="connsiteX27402" fmla="*/ 10454145 w 10505529"/>
              <a:gd name="connsiteY27402" fmla="*/ 2837640 h 7458372"/>
              <a:gd name="connsiteX27403" fmla="*/ 10475977 w 10505529"/>
              <a:gd name="connsiteY27403" fmla="*/ 2828988 h 7458372"/>
              <a:gd name="connsiteX27404" fmla="*/ 10258466 w 10505529"/>
              <a:gd name="connsiteY27404" fmla="*/ 2828988 h 7458372"/>
              <a:gd name="connsiteX27405" fmla="*/ 10270313 w 10505529"/>
              <a:gd name="connsiteY27405" fmla="*/ 2831516 h 7458372"/>
              <a:gd name="connsiteX27406" fmla="*/ 10279631 w 10505529"/>
              <a:gd name="connsiteY27406" fmla="*/ 2837906 h 7458372"/>
              <a:gd name="connsiteX27407" fmla="*/ 10285754 w 10505529"/>
              <a:gd name="connsiteY27407" fmla="*/ 2847357 h 7458372"/>
              <a:gd name="connsiteX27408" fmla="*/ 10288017 w 10505529"/>
              <a:gd name="connsiteY27408" fmla="*/ 2858806 h 7458372"/>
              <a:gd name="connsiteX27409" fmla="*/ 10285754 w 10505529"/>
              <a:gd name="connsiteY27409" fmla="*/ 2870520 h 7458372"/>
              <a:gd name="connsiteX27410" fmla="*/ 10279631 w 10505529"/>
              <a:gd name="connsiteY27410" fmla="*/ 2879838 h 7458372"/>
              <a:gd name="connsiteX27411" fmla="*/ 10270313 w 10505529"/>
              <a:gd name="connsiteY27411" fmla="*/ 2886095 h 7458372"/>
              <a:gd name="connsiteX27412" fmla="*/ 10258466 w 10505529"/>
              <a:gd name="connsiteY27412" fmla="*/ 2888359 h 7458372"/>
              <a:gd name="connsiteX27413" fmla="*/ 10236633 w 10505529"/>
              <a:gd name="connsiteY27413" fmla="*/ 2879838 h 7458372"/>
              <a:gd name="connsiteX27414" fmla="*/ 10228247 w 10505529"/>
              <a:gd name="connsiteY27414" fmla="*/ 2858673 h 7458372"/>
              <a:gd name="connsiteX27415" fmla="*/ 10236633 w 10505529"/>
              <a:gd name="connsiteY27415" fmla="*/ 2837640 h 7458372"/>
              <a:gd name="connsiteX27416" fmla="*/ 10258466 w 10505529"/>
              <a:gd name="connsiteY27416" fmla="*/ 2828988 h 7458372"/>
              <a:gd name="connsiteX27417" fmla="*/ 10040820 w 10505529"/>
              <a:gd name="connsiteY27417" fmla="*/ 2828988 h 7458372"/>
              <a:gd name="connsiteX27418" fmla="*/ 10052534 w 10505529"/>
              <a:gd name="connsiteY27418" fmla="*/ 2831516 h 7458372"/>
              <a:gd name="connsiteX27419" fmla="*/ 10061852 w 10505529"/>
              <a:gd name="connsiteY27419" fmla="*/ 2837906 h 7458372"/>
              <a:gd name="connsiteX27420" fmla="*/ 10067976 w 10505529"/>
              <a:gd name="connsiteY27420" fmla="*/ 2847357 h 7458372"/>
              <a:gd name="connsiteX27421" fmla="*/ 10070239 w 10505529"/>
              <a:gd name="connsiteY27421" fmla="*/ 2858806 h 7458372"/>
              <a:gd name="connsiteX27422" fmla="*/ 10067976 w 10505529"/>
              <a:gd name="connsiteY27422" fmla="*/ 2870520 h 7458372"/>
              <a:gd name="connsiteX27423" fmla="*/ 10061852 w 10505529"/>
              <a:gd name="connsiteY27423" fmla="*/ 2879838 h 7458372"/>
              <a:gd name="connsiteX27424" fmla="*/ 10052534 w 10505529"/>
              <a:gd name="connsiteY27424" fmla="*/ 2886095 h 7458372"/>
              <a:gd name="connsiteX27425" fmla="*/ 10040820 w 10505529"/>
              <a:gd name="connsiteY27425" fmla="*/ 2888359 h 7458372"/>
              <a:gd name="connsiteX27426" fmla="*/ 10018988 w 10505529"/>
              <a:gd name="connsiteY27426" fmla="*/ 2879838 h 7458372"/>
              <a:gd name="connsiteX27427" fmla="*/ 10010602 w 10505529"/>
              <a:gd name="connsiteY27427" fmla="*/ 2858673 h 7458372"/>
              <a:gd name="connsiteX27428" fmla="*/ 10018988 w 10505529"/>
              <a:gd name="connsiteY27428" fmla="*/ 2837640 h 7458372"/>
              <a:gd name="connsiteX27429" fmla="*/ 10040820 w 10505529"/>
              <a:gd name="connsiteY27429" fmla="*/ 2828988 h 7458372"/>
              <a:gd name="connsiteX27430" fmla="*/ 9823176 w 10505529"/>
              <a:gd name="connsiteY27430" fmla="*/ 2828988 h 7458372"/>
              <a:gd name="connsiteX27431" fmla="*/ 9834890 w 10505529"/>
              <a:gd name="connsiteY27431" fmla="*/ 2831516 h 7458372"/>
              <a:gd name="connsiteX27432" fmla="*/ 9844208 w 10505529"/>
              <a:gd name="connsiteY27432" fmla="*/ 2837906 h 7458372"/>
              <a:gd name="connsiteX27433" fmla="*/ 9850331 w 10505529"/>
              <a:gd name="connsiteY27433" fmla="*/ 2847357 h 7458372"/>
              <a:gd name="connsiteX27434" fmla="*/ 9852595 w 10505529"/>
              <a:gd name="connsiteY27434" fmla="*/ 2858806 h 7458372"/>
              <a:gd name="connsiteX27435" fmla="*/ 9850331 w 10505529"/>
              <a:gd name="connsiteY27435" fmla="*/ 2870520 h 7458372"/>
              <a:gd name="connsiteX27436" fmla="*/ 9844208 w 10505529"/>
              <a:gd name="connsiteY27436" fmla="*/ 2879838 h 7458372"/>
              <a:gd name="connsiteX27437" fmla="*/ 9834890 w 10505529"/>
              <a:gd name="connsiteY27437" fmla="*/ 2886095 h 7458372"/>
              <a:gd name="connsiteX27438" fmla="*/ 9823176 w 10505529"/>
              <a:gd name="connsiteY27438" fmla="*/ 2888359 h 7458372"/>
              <a:gd name="connsiteX27439" fmla="*/ 9801343 w 10505529"/>
              <a:gd name="connsiteY27439" fmla="*/ 2879838 h 7458372"/>
              <a:gd name="connsiteX27440" fmla="*/ 9792957 w 10505529"/>
              <a:gd name="connsiteY27440" fmla="*/ 2858673 h 7458372"/>
              <a:gd name="connsiteX27441" fmla="*/ 9801343 w 10505529"/>
              <a:gd name="connsiteY27441" fmla="*/ 2837640 h 7458372"/>
              <a:gd name="connsiteX27442" fmla="*/ 9823176 w 10505529"/>
              <a:gd name="connsiteY27442" fmla="*/ 2828988 h 7458372"/>
              <a:gd name="connsiteX27443" fmla="*/ 9605531 w 10505529"/>
              <a:gd name="connsiteY27443" fmla="*/ 2828988 h 7458372"/>
              <a:gd name="connsiteX27444" fmla="*/ 9617245 w 10505529"/>
              <a:gd name="connsiteY27444" fmla="*/ 2831516 h 7458372"/>
              <a:gd name="connsiteX27445" fmla="*/ 9626562 w 10505529"/>
              <a:gd name="connsiteY27445" fmla="*/ 2837906 h 7458372"/>
              <a:gd name="connsiteX27446" fmla="*/ 9632686 w 10505529"/>
              <a:gd name="connsiteY27446" fmla="*/ 2847357 h 7458372"/>
              <a:gd name="connsiteX27447" fmla="*/ 9634949 w 10505529"/>
              <a:gd name="connsiteY27447" fmla="*/ 2858806 h 7458372"/>
              <a:gd name="connsiteX27448" fmla="*/ 9632686 w 10505529"/>
              <a:gd name="connsiteY27448" fmla="*/ 2870520 h 7458372"/>
              <a:gd name="connsiteX27449" fmla="*/ 9626562 w 10505529"/>
              <a:gd name="connsiteY27449" fmla="*/ 2879838 h 7458372"/>
              <a:gd name="connsiteX27450" fmla="*/ 9617245 w 10505529"/>
              <a:gd name="connsiteY27450" fmla="*/ 2886095 h 7458372"/>
              <a:gd name="connsiteX27451" fmla="*/ 9605531 w 10505529"/>
              <a:gd name="connsiteY27451" fmla="*/ 2888359 h 7458372"/>
              <a:gd name="connsiteX27452" fmla="*/ 9583698 w 10505529"/>
              <a:gd name="connsiteY27452" fmla="*/ 2879838 h 7458372"/>
              <a:gd name="connsiteX27453" fmla="*/ 9575312 w 10505529"/>
              <a:gd name="connsiteY27453" fmla="*/ 2858673 h 7458372"/>
              <a:gd name="connsiteX27454" fmla="*/ 9583698 w 10505529"/>
              <a:gd name="connsiteY27454" fmla="*/ 2837640 h 7458372"/>
              <a:gd name="connsiteX27455" fmla="*/ 9605531 w 10505529"/>
              <a:gd name="connsiteY27455" fmla="*/ 2828988 h 7458372"/>
              <a:gd name="connsiteX27456" fmla="*/ 9387885 w 10505529"/>
              <a:gd name="connsiteY27456" fmla="*/ 2828988 h 7458372"/>
              <a:gd name="connsiteX27457" fmla="*/ 9399599 w 10505529"/>
              <a:gd name="connsiteY27457" fmla="*/ 2831516 h 7458372"/>
              <a:gd name="connsiteX27458" fmla="*/ 9408917 w 10505529"/>
              <a:gd name="connsiteY27458" fmla="*/ 2837906 h 7458372"/>
              <a:gd name="connsiteX27459" fmla="*/ 9415041 w 10505529"/>
              <a:gd name="connsiteY27459" fmla="*/ 2847357 h 7458372"/>
              <a:gd name="connsiteX27460" fmla="*/ 9417304 w 10505529"/>
              <a:gd name="connsiteY27460" fmla="*/ 2858806 h 7458372"/>
              <a:gd name="connsiteX27461" fmla="*/ 9415041 w 10505529"/>
              <a:gd name="connsiteY27461" fmla="*/ 2870520 h 7458372"/>
              <a:gd name="connsiteX27462" fmla="*/ 9408917 w 10505529"/>
              <a:gd name="connsiteY27462" fmla="*/ 2879838 h 7458372"/>
              <a:gd name="connsiteX27463" fmla="*/ 9399599 w 10505529"/>
              <a:gd name="connsiteY27463" fmla="*/ 2886095 h 7458372"/>
              <a:gd name="connsiteX27464" fmla="*/ 9387885 w 10505529"/>
              <a:gd name="connsiteY27464" fmla="*/ 2888359 h 7458372"/>
              <a:gd name="connsiteX27465" fmla="*/ 9366053 w 10505529"/>
              <a:gd name="connsiteY27465" fmla="*/ 2879838 h 7458372"/>
              <a:gd name="connsiteX27466" fmla="*/ 9357667 w 10505529"/>
              <a:gd name="connsiteY27466" fmla="*/ 2858673 h 7458372"/>
              <a:gd name="connsiteX27467" fmla="*/ 9366053 w 10505529"/>
              <a:gd name="connsiteY27467" fmla="*/ 2837640 h 7458372"/>
              <a:gd name="connsiteX27468" fmla="*/ 9387885 w 10505529"/>
              <a:gd name="connsiteY27468" fmla="*/ 2828988 h 7458372"/>
              <a:gd name="connsiteX27469" fmla="*/ 9170374 w 10505529"/>
              <a:gd name="connsiteY27469" fmla="*/ 2828988 h 7458372"/>
              <a:gd name="connsiteX27470" fmla="*/ 9182088 w 10505529"/>
              <a:gd name="connsiteY27470" fmla="*/ 2831516 h 7458372"/>
              <a:gd name="connsiteX27471" fmla="*/ 9191405 w 10505529"/>
              <a:gd name="connsiteY27471" fmla="*/ 2837906 h 7458372"/>
              <a:gd name="connsiteX27472" fmla="*/ 9197529 w 10505529"/>
              <a:gd name="connsiteY27472" fmla="*/ 2847357 h 7458372"/>
              <a:gd name="connsiteX27473" fmla="*/ 9199792 w 10505529"/>
              <a:gd name="connsiteY27473" fmla="*/ 2858806 h 7458372"/>
              <a:gd name="connsiteX27474" fmla="*/ 9197529 w 10505529"/>
              <a:gd name="connsiteY27474" fmla="*/ 2870520 h 7458372"/>
              <a:gd name="connsiteX27475" fmla="*/ 9191405 w 10505529"/>
              <a:gd name="connsiteY27475" fmla="*/ 2879838 h 7458372"/>
              <a:gd name="connsiteX27476" fmla="*/ 9182088 w 10505529"/>
              <a:gd name="connsiteY27476" fmla="*/ 2886095 h 7458372"/>
              <a:gd name="connsiteX27477" fmla="*/ 9170374 w 10505529"/>
              <a:gd name="connsiteY27477" fmla="*/ 2888359 h 7458372"/>
              <a:gd name="connsiteX27478" fmla="*/ 9148541 w 10505529"/>
              <a:gd name="connsiteY27478" fmla="*/ 2879838 h 7458372"/>
              <a:gd name="connsiteX27479" fmla="*/ 9140155 w 10505529"/>
              <a:gd name="connsiteY27479" fmla="*/ 2858673 h 7458372"/>
              <a:gd name="connsiteX27480" fmla="*/ 9148541 w 10505529"/>
              <a:gd name="connsiteY27480" fmla="*/ 2837640 h 7458372"/>
              <a:gd name="connsiteX27481" fmla="*/ 9170374 w 10505529"/>
              <a:gd name="connsiteY27481" fmla="*/ 2828988 h 7458372"/>
              <a:gd name="connsiteX27482" fmla="*/ 8952728 w 10505529"/>
              <a:gd name="connsiteY27482" fmla="*/ 2828988 h 7458372"/>
              <a:gd name="connsiteX27483" fmla="*/ 8964442 w 10505529"/>
              <a:gd name="connsiteY27483" fmla="*/ 2831516 h 7458372"/>
              <a:gd name="connsiteX27484" fmla="*/ 8973760 w 10505529"/>
              <a:gd name="connsiteY27484" fmla="*/ 2837906 h 7458372"/>
              <a:gd name="connsiteX27485" fmla="*/ 8979884 w 10505529"/>
              <a:gd name="connsiteY27485" fmla="*/ 2847357 h 7458372"/>
              <a:gd name="connsiteX27486" fmla="*/ 8982147 w 10505529"/>
              <a:gd name="connsiteY27486" fmla="*/ 2858806 h 7458372"/>
              <a:gd name="connsiteX27487" fmla="*/ 8979884 w 10505529"/>
              <a:gd name="connsiteY27487" fmla="*/ 2870520 h 7458372"/>
              <a:gd name="connsiteX27488" fmla="*/ 8973760 w 10505529"/>
              <a:gd name="connsiteY27488" fmla="*/ 2879838 h 7458372"/>
              <a:gd name="connsiteX27489" fmla="*/ 8964442 w 10505529"/>
              <a:gd name="connsiteY27489" fmla="*/ 2886095 h 7458372"/>
              <a:gd name="connsiteX27490" fmla="*/ 8952728 w 10505529"/>
              <a:gd name="connsiteY27490" fmla="*/ 2888359 h 7458372"/>
              <a:gd name="connsiteX27491" fmla="*/ 8930896 w 10505529"/>
              <a:gd name="connsiteY27491" fmla="*/ 2879838 h 7458372"/>
              <a:gd name="connsiteX27492" fmla="*/ 8922510 w 10505529"/>
              <a:gd name="connsiteY27492" fmla="*/ 2858673 h 7458372"/>
              <a:gd name="connsiteX27493" fmla="*/ 8930896 w 10505529"/>
              <a:gd name="connsiteY27493" fmla="*/ 2837640 h 7458372"/>
              <a:gd name="connsiteX27494" fmla="*/ 8952728 w 10505529"/>
              <a:gd name="connsiteY27494" fmla="*/ 2828988 h 7458372"/>
              <a:gd name="connsiteX27495" fmla="*/ 8735083 w 10505529"/>
              <a:gd name="connsiteY27495" fmla="*/ 2828988 h 7458372"/>
              <a:gd name="connsiteX27496" fmla="*/ 8746797 w 10505529"/>
              <a:gd name="connsiteY27496" fmla="*/ 2831516 h 7458372"/>
              <a:gd name="connsiteX27497" fmla="*/ 8756115 w 10505529"/>
              <a:gd name="connsiteY27497" fmla="*/ 2837906 h 7458372"/>
              <a:gd name="connsiteX27498" fmla="*/ 8762238 w 10505529"/>
              <a:gd name="connsiteY27498" fmla="*/ 2847357 h 7458372"/>
              <a:gd name="connsiteX27499" fmla="*/ 8764502 w 10505529"/>
              <a:gd name="connsiteY27499" fmla="*/ 2858806 h 7458372"/>
              <a:gd name="connsiteX27500" fmla="*/ 8762238 w 10505529"/>
              <a:gd name="connsiteY27500" fmla="*/ 2870520 h 7458372"/>
              <a:gd name="connsiteX27501" fmla="*/ 8756115 w 10505529"/>
              <a:gd name="connsiteY27501" fmla="*/ 2879838 h 7458372"/>
              <a:gd name="connsiteX27502" fmla="*/ 8746797 w 10505529"/>
              <a:gd name="connsiteY27502" fmla="*/ 2886095 h 7458372"/>
              <a:gd name="connsiteX27503" fmla="*/ 8735083 w 10505529"/>
              <a:gd name="connsiteY27503" fmla="*/ 2888359 h 7458372"/>
              <a:gd name="connsiteX27504" fmla="*/ 8713250 w 10505529"/>
              <a:gd name="connsiteY27504" fmla="*/ 2879838 h 7458372"/>
              <a:gd name="connsiteX27505" fmla="*/ 8704864 w 10505529"/>
              <a:gd name="connsiteY27505" fmla="*/ 2858673 h 7458372"/>
              <a:gd name="connsiteX27506" fmla="*/ 8713250 w 10505529"/>
              <a:gd name="connsiteY27506" fmla="*/ 2837640 h 7458372"/>
              <a:gd name="connsiteX27507" fmla="*/ 8735083 w 10505529"/>
              <a:gd name="connsiteY27507" fmla="*/ 2828988 h 7458372"/>
              <a:gd name="connsiteX27508" fmla="*/ 8517438 w 10505529"/>
              <a:gd name="connsiteY27508" fmla="*/ 2828988 h 7458372"/>
              <a:gd name="connsiteX27509" fmla="*/ 8529152 w 10505529"/>
              <a:gd name="connsiteY27509" fmla="*/ 2831516 h 7458372"/>
              <a:gd name="connsiteX27510" fmla="*/ 8538470 w 10505529"/>
              <a:gd name="connsiteY27510" fmla="*/ 2837906 h 7458372"/>
              <a:gd name="connsiteX27511" fmla="*/ 8544594 w 10505529"/>
              <a:gd name="connsiteY27511" fmla="*/ 2847357 h 7458372"/>
              <a:gd name="connsiteX27512" fmla="*/ 8546857 w 10505529"/>
              <a:gd name="connsiteY27512" fmla="*/ 2858806 h 7458372"/>
              <a:gd name="connsiteX27513" fmla="*/ 8544594 w 10505529"/>
              <a:gd name="connsiteY27513" fmla="*/ 2870520 h 7458372"/>
              <a:gd name="connsiteX27514" fmla="*/ 8538470 w 10505529"/>
              <a:gd name="connsiteY27514" fmla="*/ 2879838 h 7458372"/>
              <a:gd name="connsiteX27515" fmla="*/ 8529152 w 10505529"/>
              <a:gd name="connsiteY27515" fmla="*/ 2886095 h 7458372"/>
              <a:gd name="connsiteX27516" fmla="*/ 8517438 w 10505529"/>
              <a:gd name="connsiteY27516" fmla="*/ 2888359 h 7458372"/>
              <a:gd name="connsiteX27517" fmla="*/ 8495606 w 10505529"/>
              <a:gd name="connsiteY27517" fmla="*/ 2879838 h 7458372"/>
              <a:gd name="connsiteX27518" fmla="*/ 8487220 w 10505529"/>
              <a:gd name="connsiteY27518" fmla="*/ 2858673 h 7458372"/>
              <a:gd name="connsiteX27519" fmla="*/ 8495606 w 10505529"/>
              <a:gd name="connsiteY27519" fmla="*/ 2837640 h 7458372"/>
              <a:gd name="connsiteX27520" fmla="*/ 8517438 w 10505529"/>
              <a:gd name="connsiteY27520" fmla="*/ 2828988 h 7458372"/>
              <a:gd name="connsiteX27521" fmla="*/ 8299793 w 10505529"/>
              <a:gd name="connsiteY27521" fmla="*/ 2828988 h 7458372"/>
              <a:gd name="connsiteX27522" fmla="*/ 8311507 w 10505529"/>
              <a:gd name="connsiteY27522" fmla="*/ 2831516 h 7458372"/>
              <a:gd name="connsiteX27523" fmla="*/ 8320825 w 10505529"/>
              <a:gd name="connsiteY27523" fmla="*/ 2837906 h 7458372"/>
              <a:gd name="connsiteX27524" fmla="*/ 8326948 w 10505529"/>
              <a:gd name="connsiteY27524" fmla="*/ 2847357 h 7458372"/>
              <a:gd name="connsiteX27525" fmla="*/ 8329212 w 10505529"/>
              <a:gd name="connsiteY27525" fmla="*/ 2858806 h 7458372"/>
              <a:gd name="connsiteX27526" fmla="*/ 8326948 w 10505529"/>
              <a:gd name="connsiteY27526" fmla="*/ 2870520 h 7458372"/>
              <a:gd name="connsiteX27527" fmla="*/ 8320825 w 10505529"/>
              <a:gd name="connsiteY27527" fmla="*/ 2879838 h 7458372"/>
              <a:gd name="connsiteX27528" fmla="*/ 8311507 w 10505529"/>
              <a:gd name="connsiteY27528" fmla="*/ 2886095 h 7458372"/>
              <a:gd name="connsiteX27529" fmla="*/ 8299793 w 10505529"/>
              <a:gd name="connsiteY27529" fmla="*/ 2888359 h 7458372"/>
              <a:gd name="connsiteX27530" fmla="*/ 8277960 w 10505529"/>
              <a:gd name="connsiteY27530" fmla="*/ 2879838 h 7458372"/>
              <a:gd name="connsiteX27531" fmla="*/ 8269574 w 10505529"/>
              <a:gd name="connsiteY27531" fmla="*/ 2858673 h 7458372"/>
              <a:gd name="connsiteX27532" fmla="*/ 8277960 w 10505529"/>
              <a:gd name="connsiteY27532" fmla="*/ 2837640 h 7458372"/>
              <a:gd name="connsiteX27533" fmla="*/ 8299793 w 10505529"/>
              <a:gd name="connsiteY27533" fmla="*/ 2828988 h 7458372"/>
              <a:gd name="connsiteX27534" fmla="*/ 8082281 w 10505529"/>
              <a:gd name="connsiteY27534" fmla="*/ 2828988 h 7458372"/>
              <a:gd name="connsiteX27535" fmla="*/ 8094127 w 10505529"/>
              <a:gd name="connsiteY27535" fmla="*/ 2831516 h 7458372"/>
              <a:gd name="connsiteX27536" fmla="*/ 8103446 w 10505529"/>
              <a:gd name="connsiteY27536" fmla="*/ 2837906 h 7458372"/>
              <a:gd name="connsiteX27537" fmla="*/ 8109569 w 10505529"/>
              <a:gd name="connsiteY27537" fmla="*/ 2847357 h 7458372"/>
              <a:gd name="connsiteX27538" fmla="*/ 8111832 w 10505529"/>
              <a:gd name="connsiteY27538" fmla="*/ 2858806 h 7458372"/>
              <a:gd name="connsiteX27539" fmla="*/ 8109569 w 10505529"/>
              <a:gd name="connsiteY27539" fmla="*/ 2870520 h 7458372"/>
              <a:gd name="connsiteX27540" fmla="*/ 8103446 w 10505529"/>
              <a:gd name="connsiteY27540" fmla="*/ 2879838 h 7458372"/>
              <a:gd name="connsiteX27541" fmla="*/ 8094127 w 10505529"/>
              <a:gd name="connsiteY27541" fmla="*/ 2886095 h 7458372"/>
              <a:gd name="connsiteX27542" fmla="*/ 8082281 w 10505529"/>
              <a:gd name="connsiteY27542" fmla="*/ 2888359 h 7458372"/>
              <a:gd name="connsiteX27543" fmla="*/ 8060448 w 10505529"/>
              <a:gd name="connsiteY27543" fmla="*/ 2879838 h 7458372"/>
              <a:gd name="connsiteX27544" fmla="*/ 8052062 w 10505529"/>
              <a:gd name="connsiteY27544" fmla="*/ 2858673 h 7458372"/>
              <a:gd name="connsiteX27545" fmla="*/ 8060448 w 10505529"/>
              <a:gd name="connsiteY27545" fmla="*/ 2837640 h 7458372"/>
              <a:gd name="connsiteX27546" fmla="*/ 8082281 w 10505529"/>
              <a:gd name="connsiteY27546" fmla="*/ 2828988 h 7458372"/>
              <a:gd name="connsiteX27547" fmla="*/ 7864636 w 10505529"/>
              <a:gd name="connsiteY27547" fmla="*/ 2828988 h 7458372"/>
              <a:gd name="connsiteX27548" fmla="*/ 7876483 w 10505529"/>
              <a:gd name="connsiteY27548" fmla="*/ 2831516 h 7458372"/>
              <a:gd name="connsiteX27549" fmla="*/ 7885802 w 10505529"/>
              <a:gd name="connsiteY27549" fmla="*/ 2837906 h 7458372"/>
              <a:gd name="connsiteX27550" fmla="*/ 7891924 w 10505529"/>
              <a:gd name="connsiteY27550" fmla="*/ 2847357 h 7458372"/>
              <a:gd name="connsiteX27551" fmla="*/ 7894188 w 10505529"/>
              <a:gd name="connsiteY27551" fmla="*/ 2858806 h 7458372"/>
              <a:gd name="connsiteX27552" fmla="*/ 7891924 w 10505529"/>
              <a:gd name="connsiteY27552" fmla="*/ 2870520 h 7458372"/>
              <a:gd name="connsiteX27553" fmla="*/ 7885802 w 10505529"/>
              <a:gd name="connsiteY27553" fmla="*/ 2879838 h 7458372"/>
              <a:gd name="connsiteX27554" fmla="*/ 7876483 w 10505529"/>
              <a:gd name="connsiteY27554" fmla="*/ 2886095 h 7458372"/>
              <a:gd name="connsiteX27555" fmla="*/ 7864636 w 10505529"/>
              <a:gd name="connsiteY27555" fmla="*/ 2888359 h 7458372"/>
              <a:gd name="connsiteX27556" fmla="*/ 7842803 w 10505529"/>
              <a:gd name="connsiteY27556" fmla="*/ 2879838 h 7458372"/>
              <a:gd name="connsiteX27557" fmla="*/ 7834417 w 10505529"/>
              <a:gd name="connsiteY27557" fmla="*/ 2858673 h 7458372"/>
              <a:gd name="connsiteX27558" fmla="*/ 7842803 w 10505529"/>
              <a:gd name="connsiteY27558" fmla="*/ 2837640 h 7458372"/>
              <a:gd name="connsiteX27559" fmla="*/ 7864636 w 10505529"/>
              <a:gd name="connsiteY27559" fmla="*/ 2828988 h 7458372"/>
              <a:gd name="connsiteX27560" fmla="*/ 7646991 w 10505529"/>
              <a:gd name="connsiteY27560" fmla="*/ 2828988 h 7458372"/>
              <a:gd name="connsiteX27561" fmla="*/ 7658705 w 10505529"/>
              <a:gd name="connsiteY27561" fmla="*/ 2831516 h 7458372"/>
              <a:gd name="connsiteX27562" fmla="*/ 7668022 w 10505529"/>
              <a:gd name="connsiteY27562" fmla="*/ 2837906 h 7458372"/>
              <a:gd name="connsiteX27563" fmla="*/ 7674146 w 10505529"/>
              <a:gd name="connsiteY27563" fmla="*/ 2847357 h 7458372"/>
              <a:gd name="connsiteX27564" fmla="*/ 7676409 w 10505529"/>
              <a:gd name="connsiteY27564" fmla="*/ 2858806 h 7458372"/>
              <a:gd name="connsiteX27565" fmla="*/ 7674146 w 10505529"/>
              <a:gd name="connsiteY27565" fmla="*/ 2870520 h 7458372"/>
              <a:gd name="connsiteX27566" fmla="*/ 7668022 w 10505529"/>
              <a:gd name="connsiteY27566" fmla="*/ 2879838 h 7458372"/>
              <a:gd name="connsiteX27567" fmla="*/ 7658705 w 10505529"/>
              <a:gd name="connsiteY27567" fmla="*/ 2886095 h 7458372"/>
              <a:gd name="connsiteX27568" fmla="*/ 7646991 w 10505529"/>
              <a:gd name="connsiteY27568" fmla="*/ 2888359 h 7458372"/>
              <a:gd name="connsiteX27569" fmla="*/ 7625158 w 10505529"/>
              <a:gd name="connsiteY27569" fmla="*/ 2879838 h 7458372"/>
              <a:gd name="connsiteX27570" fmla="*/ 7616772 w 10505529"/>
              <a:gd name="connsiteY27570" fmla="*/ 2858673 h 7458372"/>
              <a:gd name="connsiteX27571" fmla="*/ 7625158 w 10505529"/>
              <a:gd name="connsiteY27571" fmla="*/ 2837640 h 7458372"/>
              <a:gd name="connsiteX27572" fmla="*/ 7646991 w 10505529"/>
              <a:gd name="connsiteY27572" fmla="*/ 2828988 h 7458372"/>
              <a:gd name="connsiteX27573" fmla="*/ 7429345 w 10505529"/>
              <a:gd name="connsiteY27573" fmla="*/ 2828988 h 7458372"/>
              <a:gd name="connsiteX27574" fmla="*/ 7441059 w 10505529"/>
              <a:gd name="connsiteY27574" fmla="*/ 2831516 h 7458372"/>
              <a:gd name="connsiteX27575" fmla="*/ 7450377 w 10505529"/>
              <a:gd name="connsiteY27575" fmla="*/ 2837906 h 7458372"/>
              <a:gd name="connsiteX27576" fmla="*/ 7456501 w 10505529"/>
              <a:gd name="connsiteY27576" fmla="*/ 2847357 h 7458372"/>
              <a:gd name="connsiteX27577" fmla="*/ 7458764 w 10505529"/>
              <a:gd name="connsiteY27577" fmla="*/ 2858806 h 7458372"/>
              <a:gd name="connsiteX27578" fmla="*/ 7456501 w 10505529"/>
              <a:gd name="connsiteY27578" fmla="*/ 2870520 h 7458372"/>
              <a:gd name="connsiteX27579" fmla="*/ 7450377 w 10505529"/>
              <a:gd name="connsiteY27579" fmla="*/ 2879838 h 7458372"/>
              <a:gd name="connsiteX27580" fmla="*/ 7441059 w 10505529"/>
              <a:gd name="connsiteY27580" fmla="*/ 2886095 h 7458372"/>
              <a:gd name="connsiteX27581" fmla="*/ 7429345 w 10505529"/>
              <a:gd name="connsiteY27581" fmla="*/ 2888359 h 7458372"/>
              <a:gd name="connsiteX27582" fmla="*/ 7407513 w 10505529"/>
              <a:gd name="connsiteY27582" fmla="*/ 2879838 h 7458372"/>
              <a:gd name="connsiteX27583" fmla="*/ 7399127 w 10505529"/>
              <a:gd name="connsiteY27583" fmla="*/ 2858673 h 7458372"/>
              <a:gd name="connsiteX27584" fmla="*/ 7407513 w 10505529"/>
              <a:gd name="connsiteY27584" fmla="*/ 2837640 h 7458372"/>
              <a:gd name="connsiteX27585" fmla="*/ 7429345 w 10505529"/>
              <a:gd name="connsiteY27585" fmla="*/ 2828988 h 7458372"/>
              <a:gd name="connsiteX27586" fmla="*/ 7211701 w 10505529"/>
              <a:gd name="connsiteY27586" fmla="*/ 2828988 h 7458372"/>
              <a:gd name="connsiteX27587" fmla="*/ 7223415 w 10505529"/>
              <a:gd name="connsiteY27587" fmla="*/ 2831516 h 7458372"/>
              <a:gd name="connsiteX27588" fmla="*/ 7232733 w 10505529"/>
              <a:gd name="connsiteY27588" fmla="*/ 2837906 h 7458372"/>
              <a:gd name="connsiteX27589" fmla="*/ 7238856 w 10505529"/>
              <a:gd name="connsiteY27589" fmla="*/ 2847357 h 7458372"/>
              <a:gd name="connsiteX27590" fmla="*/ 7241120 w 10505529"/>
              <a:gd name="connsiteY27590" fmla="*/ 2858806 h 7458372"/>
              <a:gd name="connsiteX27591" fmla="*/ 7238856 w 10505529"/>
              <a:gd name="connsiteY27591" fmla="*/ 2870520 h 7458372"/>
              <a:gd name="connsiteX27592" fmla="*/ 7232733 w 10505529"/>
              <a:gd name="connsiteY27592" fmla="*/ 2879838 h 7458372"/>
              <a:gd name="connsiteX27593" fmla="*/ 7223415 w 10505529"/>
              <a:gd name="connsiteY27593" fmla="*/ 2886095 h 7458372"/>
              <a:gd name="connsiteX27594" fmla="*/ 7211701 w 10505529"/>
              <a:gd name="connsiteY27594" fmla="*/ 2888359 h 7458372"/>
              <a:gd name="connsiteX27595" fmla="*/ 7189868 w 10505529"/>
              <a:gd name="connsiteY27595" fmla="*/ 2879838 h 7458372"/>
              <a:gd name="connsiteX27596" fmla="*/ 7181482 w 10505529"/>
              <a:gd name="connsiteY27596" fmla="*/ 2858673 h 7458372"/>
              <a:gd name="connsiteX27597" fmla="*/ 7189868 w 10505529"/>
              <a:gd name="connsiteY27597" fmla="*/ 2837640 h 7458372"/>
              <a:gd name="connsiteX27598" fmla="*/ 7211701 w 10505529"/>
              <a:gd name="connsiteY27598" fmla="*/ 2828988 h 7458372"/>
              <a:gd name="connsiteX27599" fmla="*/ 6994056 w 10505529"/>
              <a:gd name="connsiteY27599" fmla="*/ 2828988 h 7458372"/>
              <a:gd name="connsiteX27600" fmla="*/ 7005769 w 10505529"/>
              <a:gd name="connsiteY27600" fmla="*/ 2831516 h 7458372"/>
              <a:gd name="connsiteX27601" fmla="*/ 7015087 w 10505529"/>
              <a:gd name="connsiteY27601" fmla="*/ 2837906 h 7458372"/>
              <a:gd name="connsiteX27602" fmla="*/ 7021211 w 10505529"/>
              <a:gd name="connsiteY27602" fmla="*/ 2847357 h 7458372"/>
              <a:gd name="connsiteX27603" fmla="*/ 7023474 w 10505529"/>
              <a:gd name="connsiteY27603" fmla="*/ 2858806 h 7458372"/>
              <a:gd name="connsiteX27604" fmla="*/ 7021211 w 10505529"/>
              <a:gd name="connsiteY27604" fmla="*/ 2870520 h 7458372"/>
              <a:gd name="connsiteX27605" fmla="*/ 7015087 w 10505529"/>
              <a:gd name="connsiteY27605" fmla="*/ 2879838 h 7458372"/>
              <a:gd name="connsiteX27606" fmla="*/ 7005769 w 10505529"/>
              <a:gd name="connsiteY27606" fmla="*/ 2886095 h 7458372"/>
              <a:gd name="connsiteX27607" fmla="*/ 6994056 w 10505529"/>
              <a:gd name="connsiteY27607" fmla="*/ 2888359 h 7458372"/>
              <a:gd name="connsiteX27608" fmla="*/ 6972223 w 10505529"/>
              <a:gd name="connsiteY27608" fmla="*/ 2879838 h 7458372"/>
              <a:gd name="connsiteX27609" fmla="*/ 6963837 w 10505529"/>
              <a:gd name="connsiteY27609" fmla="*/ 2858673 h 7458372"/>
              <a:gd name="connsiteX27610" fmla="*/ 6972223 w 10505529"/>
              <a:gd name="connsiteY27610" fmla="*/ 2837640 h 7458372"/>
              <a:gd name="connsiteX27611" fmla="*/ 6994056 w 10505529"/>
              <a:gd name="connsiteY27611" fmla="*/ 2828988 h 7458372"/>
              <a:gd name="connsiteX27612" fmla="*/ 6776544 w 10505529"/>
              <a:gd name="connsiteY27612" fmla="*/ 2828988 h 7458372"/>
              <a:gd name="connsiteX27613" fmla="*/ 6788258 w 10505529"/>
              <a:gd name="connsiteY27613" fmla="*/ 2831516 h 7458372"/>
              <a:gd name="connsiteX27614" fmla="*/ 6797576 w 10505529"/>
              <a:gd name="connsiteY27614" fmla="*/ 2837906 h 7458372"/>
              <a:gd name="connsiteX27615" fmla="*/ 6803699 w 10505529"/>
              <a:gd name="connsiteY27615" fmla="*/ 2847357 h 7458372"/>
              <a:gd name="connsiteX27616" fmla="*/ 6805963 w 10505529"/>
              <a:gd name="connsiteY27616" fmla="*/ 2858806 h 7458372"/>
              <a:gd name="connsiteX27617" fmla="*/ 6803699 w 10505529"/>
              <a:gd name="connsiteY27617" fmla="*/ 2870520 h 7458372"/>
              <a:gd name="connsiteX27618" fmla="*/ 6797576 w 10505529"/>
              <a:gd name="connsiteY27618" fmla="*/ 2879838 h 7458372"/>
              <a:gd name="connsiteX27619" fmla="*/ 6788258 w 10505529"/>
              <a:gd name="connsiteY27619" fmla="*/ 2886095 h 7458372"/>
              <a:gd name="connsiteX27620" fmla="*/ 6776544 w 10505529"/>
              <a:gd name="connsiteY27620" fmla="*/ 2888359 h 7458372"/>
              <a:gd name="connsiteX27621" fmla="*/ 6754711 w 10505529"/>
              <a:gd name="connsiteY27621" fmla="*/ 2879838 h 7458372"/>
              <a:gd name="connsiteX27622" fmla="*/ 6746325 w 10505529"/>
              <a:gd name="connsiteY27622" fmla="*/ 2858673 h 7458372"/>
              <a:gd name="connsiteX27623" fmla="*/ 6754711 w 10505529"/>
              <a:gd name="connsiteY27623" fmla="*/ 2837640 h 7458372"/>
              <a:gd name="connsiteX27624" fmla="*/ 6776544 w 10505529"/>
              <a:gd name="connsiteY27624" fmla="*/ 2828988 h 7458372"/>
              <a:gd name="connsiteX27625" fmla="*/ 6558899 w 10505529"/>
              <a:gd name="connsiteY27625" fmla="*/ 2828988 h 7458372"/>
              <a:gd name="connsiteX27626" fmla="*/ 6570612 w 10505529"/>
              <a:gd name="connsiteY27626" fmla="*/ 2831516 h 7458372"/>
              <a:gd name="connsiteX27627" fmla="*/ 6579930 w 10505529"/>
              <a:gd name="connsiteY27627" fmla="*/ 2837906 h 7458372"/>
              <a:gd name="connsiteX27628" fmla="*/ 6586054 w 10505529"/>
              <a:gd name="connsiteY27628" fmla="*/ 2847357 h 7458372"/>
              <a:gd name="connsiteX27629" fmla="*/ 6588317 w 10505529"/>
              <a:gd name="connsiteY27629" fmla="*/ 2858806 h 7458372"/>
              <a:gd name="connsiteX27630" fmla="*/ 6586054 w 10505529"/>
              <a:gd name="connsiteY27630" fmla="*/ 2870520 h 7458372"/>
              <a:gd name="connsiteX27631" fmla="*/ 6579930 w 10505529"/>
              <a:gd name="connsiteY27631" fmla="*/ 2879838 h 7458372"/>
              <a:gd name="connsiteX27632" fmla="*/ 6570612 w 10505529"/>
              <a:gd name="connsiteY27632" fmla="*/ 2886095 h 7458372"/>
              <a:gd name="connsiteX27633" fmla="*/ 6558899 w 10505529"/>
              <a:gd name="connsiteY27633" fmla="*/ 2888359 h 7458372"/>
              <a:gd name="connsiteX27634" fmla="*/ 6537066 w 10505529"/>
              <a:gd name="connsiteY27634" fmla="*/ 2879838 h 7458372"/>
              <a:gd name="connsiteX27635" fmla="*/ 6528680 w 10505529"/>
              <a:gd name="connsiteY27635" fmla="*/ 2858673 h 7458372"/>
              <a:gd name="connsiteX27636" fmla="*/ 6537066 w 10505529"/>
              <a:gd name="connsiteY27636" fmla="*/ 2837640 h 7458372"/>
              <a:gd name="connsiteX27637" fmla="*/ 6558899 w 10505529"/>
              <a:gd name="connsiteY27637" fmla="*/ 2828988 h 7458372"/>
              <a:gd name="connsiteX27638" fmla="*/ 6341253 w 10505529"/>
              <a:gd name="connsiteY27638" fmla="*/ 2828988 h 7458372"/>
              <a:gd name="connsiteX27639" fmla="*/ 6352968 w 10505529"/>
              <a:gd name="connsiteY27639" fmla="*/ 2831516 h 7458372"/>
              <a:gd name="connsiteX27640" fmla="*/ 6362286 w 10505529"/>
              <a:gd name="connsiteY27640" fmla="*/ 2837906 h 7458372"/>
              <a:gd name="connsiteX27641" fmla="*/ 6368409 w 10505529"/>
              <a:gd name="connsiteY27641" fmla="*/ 2847357 h 7458372"/>
              <a:gd name="connsiteX27642" fmla="*/ 6370672 w 10505529"/>
              <a:gd name="connsiteY27642" fmla="*/ 2858806 h 7458372"/>
              <a:gd name="connsiteX27643" fmla="*/ 6368409 w 10505529"/>
              <a:gd name="connsiteY27643" fmla="*/ 2870520 h 7458372"/>
              <a:gd name="connsiteX27644" fmla="*/ 6362286 w 10505529"/>
              <a:gd name="connsiteY27644" fmla="*/ 2879838 h 7458372"/>
              <a:gd name="connsiteX27645" fmla="*/ 6352968 w 10505529"/>
              <a:gd name="connsiteY27645" fmla="*/ 2886095 h 7458372"/>
              <a:gd name="connsiteX27646" fmla="*/ 6341253 w 10505529"/>
              <a:gd name="connsiteY27646" fmla="*/ 2888359 h 7458372"/>
              <a:gd name="connsiteX27647" fmla="*/ 6319421 w 10505529"/>
              <a:gd name="connsiteY27647" fmla="*/ 2879838 h 7458372"/>
              <a:gd name="connsiteX27648" fmla="*/ 6311035 w 10505529"/>
              <a:gd name="connsiteY27648" fmla="*/ 2858673 h 7458372"/>
              <a:gd name="connsiteX27649" fmla="*/ 6319421 w 10505529"/>
              <a:gd name="connsiteY27649" fmla="*/ 2837640 h 7458372"/>
              <a:gd name="connsiteX27650" fmla="*/ 6341253 w 10505529"/>
              <a:gd name="connsiteY27650" fmla="*/ 2828988 h 7458372"/>
              <a:gd name="connsiteX27651" fmla="*/ 6123608 w 10505529"/>
              <a:gd name="connsiteY27651" fmla="*/ 2828988 h 7458372"/>
              <a:gd name="connsiteX27652" fmla="*/ 6135322 w 10505529"/>
              <a:gd name="connsiteY27652" fmla="*/ 2831516 h 7458372"/>
              <a:gd name="connsiteX27653" fmla="*/ 6144640 w 10505529"/>
              <a:gd name="connsiteY27653" fmla="*/ 2837906 h 7458372"/>
              <a:gd name="connsiteX27654" fmla="*/ 6150763 w 10505529"/>
              <a:gd name="connsiteY27654" fmla="*/ 2847357 h 7458372"/>
              <a:gd name="connsiteX27655" fmla="*/ 6153026 w 10505529"/>
              <a:gd name="connsiteY27655" fmla="*/ 2858806 h 7458372"/>
              <a:gd name="connsiteX27656" fmla="*/ 6150763 w 10505529"/>
              <a:gd name="connsiteY27656" fmla="*/ 2870520 h 7458372"/>
              <a:gd name="connsiteX27657" fmla="*/ 6144640 w 10505529"/>
              <a:gd name="connsiteY27657" fmla="*/ 2879838 h 7458372"/>
              <a:gd name="connsiteX27658" fmla="*/ 6135322 w 10505529"/>
              <a:gd name="connsiteY27658" fmla="*/ 2886095 h 7458372"/>
              <a:gd name="connsiteX27659" fmla="*/ 6123608 w 10505529"/>
              <a:gd name="connsiteY27659" fmla="*/ 2888359 h 7458372"/>
              <a:gd name="connsiteX27660" fmla="*/ 6101775 w 10505529"/>
              <a:gd name="connsiteY27660" fmla="*/ 2879838 h 7458372"/>
              <a:gd name="connsiteX27661" fmla="*/ 6093389 w 10505529"/>
              <a:gd name="connsiteY27661" fmla="*/ 2858673 h 7458372"/>
              <a:gd name="connsiteX27662" fmla="*/ 6101775 w 10505529"/>
              <a:gd name="connsiteY27662" fmla="*/ 2837640 h 7458372"/>
              <a:gd name="connsiteX27663" fmla="*/ 6123608 w 10505529"/>
              <a:gd name="connsiteY27663" fmla="*/ 2828988 h 7458372"/>
              <a:gd name="connsiteX27664" fmla="*/ 5905963 w 10505529"/>
              <a:gd name="connsiteY27664" fmla="*/ 2828988 h 7458372"/>
              <a:gd name="connsiteX27665" fmla="*/ 5917677 w 10505529"/>
              <a:gd name="connsiteY27665" fmla="*/ 2831516 h 7458372"/>
              <a:gd name="connsiteX27666" fmla="*/ 5926995 w 10505529"/>
              <a:gd name="connsiteY27666" fmla="*/ 2837906 h 7458372"/>
              <a:gd name="connsiteX27667" fmla="*/ 5933118 w 10505529"/>
              <a:gd name="connsiteY27667" fmla="*/ 2847357 h 7458372"/>
              <a:gd name="connsiteX27668" fmla="*/ 5935381 w 10505529"/>
              <a:gd name="connsiteY27668" fmla="*/ 2858806 h 7458372"/>
              <a:gd name="connsiteX27669" fmla="*/ 5933118 w 10505529"/>
              <a:gd name="connsiteY27669" fmla="*/ 2870520 h 7458372"/>
              <a:gd name="connsiteX27670" fmla="*/ 5926995 w 10505529"/>
              <a:gd name="connsiteY27670" fmla="*/ 2879838 h 7458372"/>
              <a:gd name="connsiteX27671" fmla="*/ 5917677 w 10505529"/>
              <a:gd name="connsiteY27671" fmla="*/ 2886095 h 7458372"/>
              <a:gd name="connsiteX27672" fmla="*/ 5905963 w 10505529"/>
              <a:gd name="connsiteY27672" fmla="*/ 2888359 h 7458372"/>
              <a:gd name="connsiteX27673" fmla="*/ 5884130 w 10505529"/>
              <a:gd name="connsiteY27673" fmla="*/ 2879838 h 7458372"/>
              <a:gd name="connsiteX27674" fmla="*/ 5875744 w 10505529"/>
              <a:gd name="connsiteY27674" fmla="*/ 2858673 h 7458372"/>
              <a:gd name="connsiteX27675" fmla="*/ 5884130 w 10505529"/>
              <a:gd name="connsiteY27675" fmla="*/ 2837640 h 7458372"/>
              <a:gd name="connsiteX27676" fmla="*/ 5905963 w 10505529"/>
              <a:gd name="connsiteY27676" fmla="*/ 2828988 h 7458372"/>
              <a:gd name="connsiteX27677" fmla="*/ 5688451 w 10505529"/>
              <a:gd name="connsiteY27677" fmla="*/ 2828988 h 7458372"/>
              <a:gd name="connsiteX27678" fmla="*/ 5700165 w 10505529"/>
              <a:gd name="connsiteY27678" fmla="*/ 2831516 h 7458372"/>
              <a:gd name="connsiteX27679" fmla="*/ 5709483 w 10505529"/>
              <a:gd name="connsiteY27679" fmla="*/ 2837906 h 7458372"/>
              <a:gd name="connsiteX27680" fmla="*/ 5715606 w 10505529"/>
              <a:gd name="connsiteY27680" fmla="*/ 2847357 h 7458372"/>
              <a:gd name="connsiteX27681" fmla="*/ 5717869 w 10505529"/>
              <a:gd name="connsiteY27681" fmla="*/ 2858806 h 7458372"/>
              <a:gd name="connsiteX27682" fmla="*/ 5715606 w 10505529"/>
              <a:gd name="connsiteY27682" fmla="*/ 2870520 h 7458372"/>
              <a:gd name="connsiteX27683" fmla="*/ 5709483 w 10505529"/>
              <a:gd name="connsiteY27683" fmla="*/ 2879838 h 7458372"/>
              <a:gd name="connsiteX27684" fmla="*/ 5700165 w 10505529"/>
              <a:gd name="connsiteY27684" fmla="*/ 2886095 h 7458372"/>
              <a:gd name="connsiteX27685" fmla="*/ 5688451 w 10505529"/>
              <a:gd name="connsiteY27685" fmla="*/ 2888359 h 7458372"/>
              <a:gd name="connsiteX27686" fmla="*/ 5666618 w 10505529"/>
              <a:gd name="connsiteY27686" fmla="*/ 2879838 h 7458372"/>
              <a:gd name="connsiteX27687" fmla="*/ 5658232 w 10505529"/>
              <a:gd name="connsiteY27687" fmla="*/ 2858673 h 7458372"/>
              <a:gd name="connsiteX27688" fmla="*/ 5666618 w 10505529"/>
              <a:gd name="connsiteY27688" fmla="*/ 2837640 h 7458372"/>
              <a:gd name="connsiteX27689" fmla="*/ 5688451 w 10505529"/>
              <a:gd name="connsiteY27689" fmla="*/ 2828988 h 7458372"/>
              <a:gd name="connsiteX27690" fmla="*/ 5470806 w 10505529"/>
              <a:gd name="connsiteY27690" fmla="*/ 2828988 h 7458372"/>
              <a:gd name="connsiteX27691" fmla="*/ 5482520 w 10505529"/>
              <a:gd name="connsiteY27691" fmla="*/ 2831516 h 7458372"/>
              <a:gd name="connsiteX27692" fmla="*/ 5491838 w 10505529"/>
              <a:gd name="connsiteY27692" fmla="*/ 2837906 h 7458372"/>
              <a:gd name="connsiteX27693" fmla="*/ 5497961 w 10505529"/>
              <a:gd name="connsiteY27693" fmla="*/ 2847357 h 7458372"/>
              <a:gd name="connsiteX27694" fmla="*/ 5500224 w 10505529"/>
              <a:gd name="connsiteY27694" fmla="*/ 2858806 h 7458372"/>
              <a:gd name="connsiteX27695" fmla="*/ 5497961 w 10505529"/>
              <a:gd name="connsiteY27695" fmla="*/ 2870520 h 7458372"/>
              <a:gd name="connsiteX27696" fmla="*/ 5491838 w 10505529"/>
              <a:gd name="connsiteY27696" fmla="*/ 2879838 h 7458372"/>
              <a:gd name="connsiteX27697" fmla="*/ 5482520 w 10505529"/>
              <a:gd name="connsiteY27697" fmla="*/ 2886095 h 7458372"/>
              <a:gd name="connsiteX27698" fmla="*/ 5470806 w 10505529"/>
              <a:gd name="connsiteY27698" fmla="*/ 2888359 h 7458372"/>
              <a:gd name="connsiteX27699" fmla="*/ 5448973 w 10505529"/>
              <a:gd name="connsiteY27699" fmla="*/ 2879838 h 7458372"/>
              <a:gd name="connsiteX27700" fmla="*/ 5440587 w 10505529"/>
              <a:gd name="connsiteY27700" fmla="*/ 2858673 h 7458372"/>
              <a:gd name="connsiteX27701" fmla="*/ 5448973 w 10505529"/>
              <a:gd name="connsiteY27701" fmla="*/ 2837640 h 7458372"/>
              <a:gd name="connsiteX27702" fmla="*/ 5470806 w 10505529"/>
              <a:gd name="connsiteY27702" fmla="*/ 2828988 h 7458372"/>
              <a:gd name="connsiteX27703" fmla="*/ 5253160 w 10505529"/>
              <a:gd name="connsiteY27703" fmla="*/ 2828988 h 7458372"/>
              <a:gd name="connsiteX27704" fmla="*/ 5264875 w 10505529"/>
              <a:gd name="connsiteY27704" fmla="*/ 2831516 h 7458372"/>
              <a:gd name="connsiteX27705" fmla="*/ 5274192 w 10505529"/>
              <a:gd name="connsiteY27705" fmla="*/ 2837906 h 7458372"/>
              <a:gd name="connsiteX27706" fmla="*/ 5280316 w 10505529"/>
              <a:gd name="connsiteY27706" fmla="*/ 2847357 h 7458372"/>
              <a:gd name="connsiteX27707" fmla="*/ 5282579 w 10505529"/>
              <a:gd name="connsiteY27707" fmla="*/ 2858806 h 7458372"/>
              <a:gd name="connsiteX27708" fmla="*/ 5280316 w 10505529"/>
              <a:gd name="connsiteY27708" fmla="*/ 2870520 h 7458372"/>
              <a:gd name="connsiteX27709" fmla="*/ 5274192 w 10505529"/>
              <a:gd name="connsiteY27709" fmla="*/ 2879838 h 7458372"/>
              <a:gd name="connsiteX27710" fmla="*/ 5264875 w 10505529"/>
              <a:gd name="connsiteY27710" fmla="*/ 2886095 h 7458372"/>
              <a:gd name="connsiteX27711" fmla="*/ 5253160 w 10505529"/>
              <a:gd name="connsiteY27711" fmla="*/ 2888359 h 7458372"/>
              <a:gd name="connsiteX27712" fmla="*/ 5231328 w 10505529"/>
              <a:gd name="connsiteY27712" fmla="*/ 2879838 h 7458372"/>
              <a:gd name="connsiteX27713" fmla="*/ 5222942 w 10505529"/>
              <a:gd name="connsiteY27713" fmla="*/ 2858673 h 7458372"/>
              <a:gd name="connsiteX27714" fmla="*/ 5231328 w 10505529"/>
              <a:gd name="connsiteY27714" fmla="*/ 2837640 h 7458372"/>
              <a:gd name="connsiteX27715" fmla="*/ 5253160 w 10505529"/>
              <a:gd name="connsiteY27715" fmla="*/ 2828988 h 7458372"/>
              <a:gd name="connsiteX27716" fmla="*/ 5035515 w 10505529"/>
              <a:gd name="connsiteY27716" fmla="*/ 2828988 h 7458372"/>
              <a:gd name="connsiteX27717" fmla="*/ 5047230 w 10505529"/>
              <a:gd name="connsiteY27717" fmla="*/ 2831516 h 7458372"/>
              <a:gd name="connsiteX27718" fmla="*/ 5056548 w 10505529"/>
              <a:gd name="connsiteY27718" fmla="*/ 2837906 h 7458372"/>
              <a:gd name="connsiteX27719" fmla="*/ 5062671 w 10505529"/>
              <a:gd name="connsiteY27719" fmla="*/ 2847357 h 7458372"/>
              <a:gd name="connsiteX27720" fmla="*/ 5064934 w 10505529"/>
              <a:gd name="connsiteY27720" fmla="*/ 2858806 h 7458372"/>
              <a:gd name="connsiteX27721" fmla="*/ 5062671 w 10505529"/>
              <a:gd name="connsiteY27721" fmla="*/ 2870520 h 7458372"/>
              <a:gd name="connsiteX27722" fmla="*/ 5056548 w 10505529"/>
              <a:gd name="connsiteY27722" fmla="*/ 2879838 h 7458372"/>
              <a:gd name="connsiteX27723" fmla="*/ 5047230 w 10505529"/>
              <a:gd name="connsiteY27723" fmla="*/ 2886095 h 7458372"/>
              <a:gd name="connsiteX27724" fmla="*/ 5035515 w 10505529"/>
              <a:gd name="connsiteY27724" fmla="*/ 2888359 h 7458372"/>
              <a:gd name="connsiteX27725" fmla="*/ 5013683 w 10505529"/>
              <a:gd name="connsiteY27725" fmla="*/ 2879838 h 7458372"/>
              <a:gd name="connsiteX27726" fmla="*/ 5005297 w 10505529"/>
              <a:gd name="connsiteY27726" fmla="*/ 2858673 h 7458372"/>
              <a:gd name="connsiteX27727" fmla="*/ 5013683 w 10505529"/>
              <a:gd name="connsiteY27727" fmla="*/ 2837640 h 7458372"/>
              <a:gd name="connsiteX27728" fmla="*/ 5035515 w 10505529"/>
              <a:gd name="connsiteY27728" fmla="*/ 2828988 h 7458372"/>
              <a:gd name="connsiteX27729" fmla="*/ 4817870 w 10505529"/>
              <a:gd name="connsiteY27729" fmla="*/ 2828988 h 7458372"/>
              <a:gd name="connsiteX27730" fmla="*/ 4829585 w 10505529"/>
              <a:gd name="connsiteY27730" fmla="*/ 2831516 h 7458372"/>
              <a:gd name="connsiteX27731" fmla="*/ 4838903 w 10505529"/>
              <a:gd name="connsiteY27731" fmla="*/ 2837906 h 7458372"/>
              <a:gd name="connsiteX27732" fmla="*/ 4845026 w 10505529"/>
              <a:gd name="connsiteY27732" fmla="*/ 2847357 h 7458372"/>
              <a:gd name="connsiteX27733" fmla="*/ 4847289 w 10505529"/>
              <a:gd name="connsiteY27733" fmla="*/ 2858806 h 7458372"/>
              <a:gd name="connsiteX27734" fmla="*/ 4845026 w 10505529"/>
              <a:gd name="connsiteY27734" fmla="*/ 2870520 h 7458372"/>
              <a:gd name="connsiteX27735" fmla="*/ 4838903 w 10505529"/>
              <a:gd name="connsiteY27735" fmla="*/ 2879838 h 7458372"/>
              <a:gd name="connsiteX27736" fmla="*/ 4829585 w 10505529"/>
              <a:gd name="connsiteY27736" fmla="*/ 2886095 h 7458372"/>
              <a:gd name="connsiteX27737" fmla="*/ 4817870 w 10505529"/>
              <a:gd name="connsiteY27737" fmla="*/ 2888359 h 7458372"/>
              <a:gd name="connsiteX27738" fmla="*/ 4796038 w 10505529"/>
              <a:gd name="connsiteY27738" fmla="*/ 2879838 h 7458372"/>
              <a:gd name="connsiteX27739" fmla="*/ 4787652 w 10505529"/>
              <a:gd name="connsiteY27739" fmla="*/ 2858673 h 7458372"/>
              <a:gd name="connsiteX27740" fmla="*/ 4796038 w 10505529"/>
              <a:gd name="connsiteY27740" fmla="*/ 2837640 h 7458372"/>
              <a:gd name="connsiteX27741" fmla="*/ 4817870 w 10505529"/>
              <a:gd name="connsiteY27741" fmla="*/ 2828988 h 7458372"/>
              <a:gd name="connsiteX27742" fmla="*/ 4600226 w 10505529"/>
              <a:gd name="connsiteY27742" fmla="*/ 2828988 h 7458372"/>
              <a:gd name="connsiteX27743" fmla="*/ 4612073 w 10505529"/>
              <a:gd name="connsiteY27743" fmla="*/ 2831516 h 7458372"/>
              <a:gd name="connsiteX27744" fmla="*/ 4621391 w 10505529"/>
              <a:gd name="connsiteY27744" fmla="*/ 2837906 h 7458372"/>
              <a:gd name="connsiteX27745" fmla="*/ 4627514 w 10505529"/>
              <a:gd name="connsiteY27745" fmla="*/ 2847357 h 7458372"/>
              <a:gd name="connsiteX27746" fmla="*/ 4629777 w 10505529"/>
              <a:gd name="connsiteY27746" fmla="*/ 2858806 h 7458372"/>
              <a:gd name="connsiteX27747" fmla="*/ 4627514 w 10505529"/>
              <a:gd name="connsiteY27747" fmla="*/ 2870520 h 7458372"/>
              <a:gd name="connsiteX27748" fmla="*/ 4621391 w 10505529"/>
              <a:gd name="connsiteY27748" fmla="*/ 2879838 h 7458372"/>
              <a:gd name="connsiteX27749" fmla="*/ 4612073 w 10505529"/>
              <a:gd name="connsiteY27749" fmla="*/ 2886095 h 7458372"/>
              <a:gd name="connsiteX27750" fmla="*/ 4600226 w 10505529"/>
              <a:gd name="connsiteY27750" fmla="*/ 2888359 h 7458372"/>
              <a:gd name="connsiteX27751" fmla="*/ 4578393 w 10505529"/>
              <a:gd name="connsiteY27751" fmla="*/ 2879838 h 7458372"/>
              <a:gd name="connsiteX27752" fmla="*/ 4570007 w 10505529"/>
              <a:gd name="connsiteY27752" fmla="*/ 2858673 h 7458372"/>
              <a:gd name="connsiteX27753" fmla="*/ 4578393 w 10505529"/>
              <a:gd name="connsiteY27753" fmla="*/ 2837640 h 7458372"/>
              <a:gd name="connsiteX27754" fmla="*/ 4600226 w 10505529"/>
              <a:gd name="connsiteY27754" fmla="*/ 2828988 h 7458372"/>
              <a:gd name="connsiteX27755" fmla="*/ 4382713 w 10505529"/>
              <a:gd name="connsiteY27755" fmla="*/ 2828988 h 7458372"/>
              <a:gd name="connsiteX27756" fmla="*/ 4394428 w 10505529"/>
              <a:gd name="connsiteY27756" fmla="*/ 2831516 h 7458372"/>
              <a:gd name="connsiteX27757" fmla="*/ 4403746 w 10505529"/>
              <a:gd name="connsiteY27757" fmla="*/ 2837906 h 7458372"/>
              <a:gd name="connsiteX27758" fmla="*/ 4409869 w 10505529"/>
              <a:gd name="connsiteY27758" fmla="*/ 2847357 h 7458372"/>
              <a:gd name="connsiteX27759" fmla="*/ 4412132 w 10505529"/>
              <a:gd name="connsiteY27759" fmla="*/ 2858806 h 7458372"/>
              <a:gd name="connsiteX27760" fmla="*/ 4409869 w 10505529"/>
              <a:gd name="connsiteY27760" fmla="*/ 2870520 h 7458372"/>
              <a:gd name="connsiteX27761" fmla="*/ 4403746 w 10505529"/>
              <a:gd name="connsiteY27761" fmla="*/ 2879838 h 7458372"/>
              <a:gd name="connsiteX27762" fmla="*/ 4394428 w 10505529"/>
              <a:gd name="connsiteY27762" fmla="*/ 2886095 h 7458372"/>
              <a:gd name="connsiteX27763" fmla="*/ 4382713 w 10505529"/>
              <a:gd name="connsiteY27763" fmla="*/ 2888359 h 7458372"/>
              <a:gd name="connsiteX27764" fmla="*/ 4360881 w 10505529"/>
              <a:gd name="connsiteY27764" fmla="*/ 2879838 h 7458372"/>
              <a:gd name="connsiteX27765" fmla="*/ 4352495 w 10505529"/>
              <a:gd name="connsiteY27765" fmla="*/ 2858673 h 7458372"/>
              <a:gd name="connsiteX27766" fmla="*/ 4360881 w 10505529"/>
              <a:gd name="connsiteY27766" fmla="*/ 2837640 h 7458372"/>
              <a:gd name="connsiteX27767" fmla="*/ 4382713 w 10505529"/>
              <a:gd name="connsiteY27767" fmla="*/ 2828988 h 7458372"/>
              <a:gd name="connsiteX27768" fmla="*/ 4165068 w 10505529"/>
              <a:gd name="connsiteY27768" fmla="*/ 2828988 h 7458372"/>
              <a:gd name="connsiteX27769" fmla="*/ 4176782 w 10505529"/>
              <a:gd name="connsiteY27769" fmla="*/ 2831516 h 7458372"/>
              <a:gd name="connsiteX27770" fmla="*/ 4186100 w 10505529"/>
              <a:gd name="connsiteY27770" fmla="*/ 2837906 h 7458372"/>
              <a:gd name="connsiteX27771" fmla="*/ 4192223 w 10505529"/>
              <a:gd name="connsiteY27771" fmla="*/ 2847357 h 7458372"/>
              <a:gd name="connsiteX27772" fmla="*/ 4194486 w 10505529"/>
              <a:gd name="connsiteY27772" fmla="*/ 2858806 h 7458372"/>
              <a:gd name="connsiteX27773" fmla="*/ 4192223 w 10505529"/>
              <a:gd name="connsiteY27773" fmla="*/ 2870520 h 7458372"/>
              <a:gd name="connsiteX27774" fmla="*/ 4186100 w 10505529"/>
              <a:gd name="connsiteY27774" fmla="*/ 2879838 h 7458372"/>
              <a:gd name="connsiteX27775" fmla="*/ 4176782 w 10505529"/>
              <a:gd name="connsiteY27775" fmla="*/ 2886095 h 7458372"/>
              <a:gd name="connsiteX27776" fmla="*/ 4165068 w 10505529"/>
              <a:gd name="connsiteY27776" fmla="*/ 2888359 h 7458372"/>
              <a:gd name="connsiteX27777" fmla="*/ 4143235 w 10505529"/>
              <a:gd name="connsiteY27777" fmla="*/ 2879838 h 7458372"/>
              <a:gd name="connsiteX27778" fmla="*/ 4134849 w 10505529"/>
              <a:gd name="connsiteY27778" fmla="*/ 2858673 h 7458372"/>
              <a:gd name="connsiteX27779" fmla="*/ 4143235 w 10505529"/>
              <a:gd name="connsiteY27779" fmla="*/ 2837640 h 7458372"/>
              <a:gd name="connsiteX27780" fmla="*/ 4165068 w 10505529"/>
              <a:gd name="connsiteY27780" fmla="*/ 2828988 h 7458372"/>
              <a:gd name="connsiteX27781" fmla="*/ 3947582 w 10505529"/>
              <a:gd name="connsiteY27781" fmla="*/ 2828988 h 7458372"/>
              <a:gd name="connsiteX27782" fmla="*/ 3959298 w 10505529"/>
              <a:gd name="connsiteY27782" fmla="*/ 2831516 h 7458372"/>
              <a:gd name="connsiteX27783" fmla="*/ 3968616 w 10505529"/>
              <a:gd name="connsiteY27783" fmla="*/ 2837906 h 7458372"/>
              <a:gd name="connsiteX27784" fmla="*/ 3974739 w 10505529"/>
              <a:gd name="connsiteY27784" fmla="*/ 2847357 h 7458372"/>
              <a:gd name="connsiteX27785" fmla="*/ 3977003 w 10505529"/>
              <a:gd name="connsiteY27785" fmla="*/ 2858806 h 7458372"/>
              <a:gd name="connsiteX27786" fmla="*/ 3974739 w 10505529"/>
              <a:gd name="connsiteY27786" fmla="*/ 2870520 h 7458372"/>
              <a:gd name="connsiteX27787" fmla="*/ 3968616 w 10505529"/>
              <a:gd name="connsiteY27787" fmla="*/ 2879838 h 7458372"/>
              <a:gd name="connsiteX27788" fmla="*/ 3959298 w 10505529"/>
              <a:gd name="connsiteY27788" fmla="*/ 2886095 h 7458372"/>
              <a:gd name="connsiteX27789" fmla="*/ 3947582 w 10505529"/>
              <a:gd name="connsiteY27789" fmla="*/ 2888359 h 7458372"/>
              <a:gd name="connsiteX27790" fmla="*/ 3925749 w 10505529"/>
              <a:gd name="connsiteY27790" fmla="*/ 2879838 h 7458372"/>
              <a:gd name="connsiteX27791" fmla="*/ 3917363 w 10505529"/>
              <a:gd name="connsiteY27791" fmla="*/ 2858673 h 7458372"/>
              <a:gd name="connsiteX27792" fmla="*/ 3925749 w 10505529"/>
              <a:gd name="connsiteY27792" fmla="*/ 2837640 h 7458372"/>
              <a:gd name="connsiteX27793" fmla="*/ 3947582 w 10505529"/>
              <a:gd name="connsiteY27793" fmla="*/ 2828988 h 7458372"/>
              <a:gd name="connsiteX27794" fmla="*/ 3729929 w 10505529"/>
              <a:gd name="connsiteY27794" fmla="*/ 2828988 h 7458372"/>
              <a:gd name="connsiteX27795" fmla="*/ 3741644 w 10505529"/>
              <a:gd name="connsiteY27795" fmla="*/ 2831516 h 7458372"/>
              <a:gd name="connsiteX27796" fmla="*/ 3750963 w 10505529"/>
              <a:gd name="connsiteY27796" fmla="*/ 2837906 h 7458372"/>
              <a:gd name="connsiteX27797" fmla="*/ 3757085 w 10505529"/>
              <a:gd name="connsiteY27797" fmla="*/ 2847357 h 7458372"/>
              <a:gd name="connsiteX27798" fmla="*/ 3759348 w 10505529"/>
              <a:gd name="connsiteY27798" fmla="*/ 2858806 h 7458372"/>
              <a:gd name="connsiteX27799" fmla="*/ 3757085 w 10505529"/>
              <a:gd name="connsiteY27799" fmla="*/ 2870520 h 7458372"/>
              <a:gd name="connsiteX27800" fmla="*/ 3750963 w 10505529"/>
              <a:gd name="connsiteY27800" fmla="*/ 2879838 h 7458372"/>
              <a:gd name="connsiteX27801" fmla="*/ 3741644 w 10505529"/>
              <a:gd name="connsiteY27801" fmla="*/ 2886095 h 7458372"/>
              <a:gd name="connsiteX27802" fmla="*/ 3729929 w 10505529"/>
              <a:gd name="connsiteY27802" fmla="*/ 2888359 h 7458372"/>
              <a:gd name="connsiteX27803" fmla="*/ 3708093 w 10505529"/>
              <a:gd name="connsiteY27803" fmla="*/ 2879838 h 7458372"/>
              <a:gd name="connsiteX27804" fmla="*/ 3699707 w 10505529"/>
              <a:gd name="connsiteY27804" fmla="*/ 2858673 h 7458372"/>
              <a:gd name="connsiteX27805" fmla="*/ 3708093 w 10505529"/>
              <a:gd name="connsiteY27805" fmla="*/ 2837640 h 7458372"/>
              <a:gd name="connsiteX27806" fmla="*/ 3729929 w 10505529"/>
              <a:gd name="connsiteY27806" fmla="*/ 2828988 h 7458372"/>
              <a:gd name="connsiteX27807" fmla="*/ 3512276 w 10505529"/>
              <a:gd name="connsiteY27807" fmla="*/ 2828988 h 7458372"/>
              <a:gd name="connsiteX27808" fmla="*/ 3523991 w 10505529"/>
              <a:gd name="connsiteY27808" fmla="*/ 2831516 h 7458372"/>
              <a:gd name="connsiteX27809" fmla="*/ 3533309 w 10505529"/>
              <a:gd name="connsiteY27809" fmla="*/ 2837906 h 7458372"/>
              <a:gd name="connsiteX27810" fmla="*/ 3539432 w 10505529"/>
              <a:gd name="connsiteY27810" fmla="*/ 2847357 h 7458372"/>
              <a:gd name="connsiteX27811" fmla="*/ 3541695 w 10505529"/>
              <a:gd name="connsiteY27811" fmla="*/ 2858806 h 7458372"/>
              <a:gd name="connsiteX27812" fmla="*/ 3539432 w 10505529"/>
              <a:gd name="connsiteY27812" fmla="*/ 2870520 h 7458372"/>
              <a:gd name="connsiteX27813" fmla="*/ 3533309 w 10505529"/>
              <a:gd name="connsiteY27813" fmla="*/ 2879838 h 7458372"/>
              <a:gd name="connsiteX27814" fmla="*/ 3523991 w 10505529"/>
              <a:gd name="connsiteY27814" fmla="*/ 2886095 h 7458372"/>
              <a:gd name="connsiteX27815" fmla="*/ 3512276 w 10505529"/>
              <a:gd name="connsiteY27815" fmla="*/ 2888359 h 7458372"/>
              <a:gd name="connsiteX27816" fmla="*/ 3490441 w 10505529"/>
              <a:gd name="connsiteY27816" fmla="*/ 2879838 h 7458372"/>
              <a:gd name="connsiteX27817" fmla="*/ 3482055 w 10505529"/>
              <a:gd name="connsiteY27817" fmla="*/ 2858673 h 7458372"/>
              <a:gd name="connsiteX27818" fmla="*/ 3490441 w 10505529"/>
              <a:gd name="connsiteY27818" fmla="*/ 2837640 h 7458372"/>
              <a:gd name="connsiteX27819" fmla="*/ 3512276 w 10505529"/>
              <a:gd name="connsiteY27819" fmla="*/ 2828988 h 7458372"/>
              <a:gd name="connsiteX27820" fmla="*/ 3294755 w 10505529"/>
              <a:gd name="connsiteY27820" fmla="*/ 2828988 h 7458372"/>
              <a:gd name="connsiteX27821" fmla="*/ 3306471 w 10505529"/>
              <a:gd name="connsiteY27821" fmla="*/ 2831516 h 7458372"/>
              <a:gd name="connsiteX27822" fmla="*/ 3315789 w 10505529"/>
              <a:gd name="connsiteY27822" fmla="*/ 2837906 h 7458372"/>
              <a:gd name="connsiteX27823" fmla="*/ 3321912 w 10505529"/>
              <a:gd name="connsiteY27823" fmla="*/ 2847357 h 7458372"/>
              <a:gd name="connsiteX27824" fmla="*/ 3324175 w 10505529"/>
              <a:gd name="connsiteY27824" fmla="*/ 2858806 h 7458372"/>
              <a:gd name="connsiteX27825" fmla="*/ 3321912 w 10505529"/>
              <a:gd name="connsiteY27825" fmla="*/ 2870520 h 7458372"/>
              <a:gd name="connsiteX27826" fmla="*/ 3315789 w 10505529"/>
              <a:gd name="connsiteY27826" fmla="*/ 2879838 h 7458372"/>
              <a:gd name="connsiteX27827" fmla="*/ 3306471 w 10505529"/>
              <a:gd name="connsiteY27827" fmla="*/ 2886095 h 7458372"/>
              <a:gd name="connsiteX27828" fmla="*/ 3294755 w 10505529"/>
              <a:gd name="connsiteY27828" fmla="*/ 2888359 h 7458372"/>
              <a:gd name="connsiteX27829" fmla="*/ 3272920 w 10505529"/>
              <a:gd name="connsiteY27829" fmla="*/ 2879838 h 7458372"/>
              <a:gd name="connsiteX27830" fmla="*/ 3264534 w 10505529"/>
              <a:gd name="connsiteY27830" fmla="*/ 2858673 h 7458372"/>
              <a:gd name="connsiteX27831" fmla="*/ 3272920 w 10505529"/>
              <a:gd name="connsiteY27831" fmla="*/ 2837640 h 7458372"/>
              <a:gd name="connsiteX27832" fmla="*/ 3294755 w 10505529"/>
              <a:gd name="connsiteY27832" fmla="*/ 2828988 h 7458372"/>
              <a:gd name="connsiteX27833" fmla="*/ 3077102 w 10505529"/>
              <a:gd name="connsiteY27833" fmla="*/ 2828988 h 7458372"/>
              <a:gd name="connsiteX27834" fmla="*/ 3088817 w 10505529"/>
              <a:gd name="connsiteY27834" fmla="*/ 2831516 h 7458372"/>
              <a:gd name="connsiteX27835" fmla="*/ 3098135 w 10505529"/>
              <a:gd name="connsiteY27835" fmla="*/ 2837906 h 7458372"/>
              <a:gd name="connsiteX27836" fmla="*/ 3104259 w 10505529"/>
              <a:gd name="connsiteY27836" fmla="*/ 2847357 h 7458372"/>
              <a:gd name="connsiteX27837" fmla="*/ 3106522 w 10505529"/>
              <a:gd name="connsiteY27837" fmla="*/ 2858806 h 7458372"/>
              <a:gd name="connsiteX27838" fmla="*/ 3104259 w 10505529"/>
              <a:gd name="connsiteY27838" fmla="*/ 2870520 h 7458372"/>
              <a:gd name="connsiteX27839" fmla="*/ 3098135 w 10505529"/>
              <a:gd name="connsiteY27839" fmla="*/ 2879838 h 7458372"/>
              <a:gd name="connsiteX27840" fmla="*/ 3088817 w 10505529"/>
              <a:gd name="connsiteY27840" fmla="*/ 2886095 h 7458372"/>
              <a:gd name="connsiteX27841" fmla="*/ 3077102 w 10505529"/>
              <a:gd name="connsiteY27841" fmla="*/ 2888359 h 7458372"/>
              <a:gd name="connsiteX27842" fmla="*/ 3055267 w 10505529"/>
              <a:gd name="connsiteY27842" fmla="*/ 2879838 h 7458372"/>
              <a:gd name="connsiteX27843" fmla="*/ 3046881 w 10505529"/>
              <a:gd name="connsiteY27843" fmla="*/ 2858673 h 7458372"/>
              <a:gd name="connsiteX27844" fmla="*/ 3055267 w 10505529"/>
              <a:gd name="connsiteY27844" fmla="*/ 2837640 h 7458372"/>
              <a:gd name="connsiteX27845" fmla="*/ 3077102 w 10505529"/>
              <a:gd name="connsiteY27845" fmla="*/ 2828988 h 7458372"/>
              <a:gd name="connsiteX27846" fmla="*/ 2859449 w 10505529"/>
              <a:gd name="connsiteY27846" fmla="*/ 2828988 h 7458372"/>
              <a:gd name="connsiteX27847" fmla="*/ 2871297 w 10505529"/>
              <a:gd name="connsiteY27847" fmla="*/ 2831516 h 7458372"/>
              <a:gd name="connsiteX27848" fmla="*/ 2880615 w 10505529"/>
              <a:gd name="connsiteY27848" fmla="*/ 2837906 h 7458372"/>
              <a:gd name="connsiteX27849" fmla="*/ 2886739 w 10505529"/>
              <a:gd name="connsiteY27849" fmla="*/ 2847357 h 7458372"/>
              <a:gd name="connsiteX27850" fmla="*/ 2889002 w 10505529"/>
              <a:gd name="connsiteY27850" fmla="*/ 2858806 h 7458372"/>
              <a:gd name="connsiteX27851" fmla="*/ 2886739 w 10505529"/>
              <a:gd name="connsiteY27851" fmla="*/ 2870520 h 7458372"/>
              <a:gd name="connsiteX27852" fmla="*/ 2880615 w 10505529"/>
              <a:gd name="connsiteY27852" fmla="*/ 2879838 h 7458372"/>
              <a:gd name="connsiteX27853" fmla="*/ 2871297 w 10505529"/>
              <a:gd name="connsiteY27853" fmla="*/ 2886095 h 7458372"/>
              <a:gd name="connsiteX27854" fmla="*/ 2859449 w 10505529"/>
              <a:gd name="connsiteY27854" fmla="*/ 2888359 h 7458372"/>
              <a:gd name="connsiteX27855" fmla="*/ 2837615 w 10505529"/>
              <a:gd name="connsiteY27855" fmla="*/ 2879838 h 7458372"/>
              <a:gd name="connsiteX27856" fmla="*/ 2829228 w 10505529"/>
              <a:gd name="connsiteY27856" fmla="*/ 2858673 h 7458372"/>
              <a:gd name="connsiteX27857" fmla="*/ 2837615 w 10505529"/>
              <a:gd name="connsiteY27857" fmla="*/ 2837640 h 7458372"/>
              <a:gd name="connsiteX27858" fmla="*/ 2859449 w 10505529"/>
              <a:gd name="connsiteY27858" fmla="*/ 2828988 h 7458372"/>
              <a:gd name="connsiteX27859" fmla="*/ 2641795 w 10505529"/>
              <a:gd name="connsiteY27859" fmla="*/ 2828988 h 7458372"/>
              <a:gd name="connsiteX27860" fmla="*/ 2653511 w 10505529"/>
              <a:gd name="connsiteY27860" fmla="*/ 2831516 h 7458372"/>
              <a:gd name="connsiteX27861" fmla="*/ 2662829 w 10505529"/>
              <a:gd name="connsiteY27861" fmla="*/ 2837906 h 7458372"/>
              <a:gd name="connsiteX27862" fmla="*/ 2668952 w 10505529"/>
              <a:gd name="connsiteY27862" fmla="*/ 2847357 h 7458372"/>
              <a:gd name="connsiteX27863" fmla="*/ 2671215 w 10505529"/>
              <a:gd name="connsiteY27863" fmla="*/ 2858806 h 7458372"/>
              <a:gd name="connsiteX27864" fmla="*/ 2668952 w 10505529"/>
              <a:gd name="connsiteY27864" fmla="*/ 2870520 h 7458372"/>
              <a:gd name="connsiteX27865" fmla="*/ 2662829 w 10505529"/>
              <a:gd name="connsiteY27865" fmla="*/ 2879838 h 7458372"/>
              <a:gd name="connsiteX27866" fmla="*/ 2653511 w 10505529"/>
              <a:gd name="connsiteY27866" fmla="*/ 2886095 h 7458372"/>
              <a:gd name="connsiteX27867" fmla="*/ 2641795 w 10505529"/>
              <a:gd name="connsiteY27867" fmla="*/ 2888359 h 7458372"/>
              <a:gd name="connsiteX27868" fmla="*/ 2619963 w 10505529"/>
              <a:gd name="connsiteY27868" fmla="*/ 2879838 h 7458372"/>
              <a:gd name="connsiteX27869" fmla="*/ 2611575 w 10505529"/>
              <a:gd name="connsiteY27869" fmla="*/ 2858673 h 7458372"/>
              <a:gd name="connsiteX27870" fmla="*/ 2619963 w 10505529"/>
              <a:gd name="connsiteY27870" fmla="*/ 2837640 h 7458372"/>
              <a:gd name="connsiteX27871" fmla="*/ 2641795 w 10505529"/>
              <a:gd name="connsiteY27871" fmla="*/ 2828988 h 7458372"/>
              <a:gd name="connsiteX27872" fmla="*/ 2424142 w 10505529"/>
              <a:gd name="connsiteY27872" fmla="*/ 2828988 h 7458372"/>
              <a:gd name="connsiteX27873" fmla="*/ 2435857 w 10505529"/>
              <a:gd name="connsiteY27873" fmla="*/ 2831516 h 7458372"/>
              <a:gd name="connsiteX27874" fmla="*/ 2445175 w 10505529"/>
              <a:gd name="connsiteY27874" fmla="*/ 2837906 h 7458372"/>
              <a:gd name="connsiteX27875" fmla="*/ 2451299 w 10505529"/>
              <a:gd name="connsiteY27875" fmla="*/ 2847357 h 7458372"/>
              <a:gd name="connsiteX27876" fmla="*/ 2453562 w 10505529"/>
              <a:gd name="connsiteY27876" fmla="*/ 2858806 h 7458372"/>
              <a:gd name="connsiteX27877" fmla="*/ 2451299 w 10505529"/>
              <a:gd name="connsiteY27877" fmla="*/ 2870520 h 7458372"/>
              <a:gd name="connsiteX27878" fmla="*/ 2445175 w 10505529"/>
              <a:gd name="connsiteY27878" fmla="*/ 2879838 h 7458372"/>
              <a:gd name="connsiteX27879" fmla="*/ 2435857 w 10505529"/>
              <a:gd name="connsiteY27879" fmla="*/ 2886095 h 7458372"/>
              <a:gd name="connsiteX27880" fmla="*/ 2424142 w 10505529"/>
              <a:gd name="connsiteY27880" fmla="*/ 2888359 h 7458372"/>
              <a:gd name="connsiteX27881" fmla="*/ 2402310 w 10505529"/>
              <a:gd name="connsiteY27881" fmla="*/ 2879838 h 7458372"/>
              <a:gd name="connsiteX27882" fmla="*/ 2393922 w 10505529"/>
              <a:gd name="connsiteY27882" fmla="*/ 2858673 h 7458372"/>
              <a:gd name="connsiteX27883" fmla="*/ 2402310 w 10505529"/>
              <a:gd name="connsiteY27883" fmla="*/ 2837640 h 7458372"/>
              <a:gd name="connsiteX27884" fmla="*/ 2424142 w 10505529"/>
              <a:gd name="connsiteY27884" fmla="*/ 2828988 h 7458372"/>
              <a:gd name="connsiteX27885" fmla="*/ 2206489 w 10505529"/>
              <a:gd name="connsiteY27885" fmla="*/ 2828988 h 7458372"/>
              <a:gd name="connsiteX27886" fmla="*/ 2218204 w 10505529"/>
              <a:gd name="connsiteY27886" fmla="*/ 2831516 h 7458372"/>
              <a:gd name="connsiteX27887" fmla="*/ 2227523 w 10505529"/>
              <a:gd name="connsiteY27887" fmla="*/ 2837906 h 7458372"/>
              <a:gd name="connsiteX27888" fmla="*/ 2233645 w 10505529"/>
              <a:gd name="connsiteY27888" fmla="*/ 2847357 h 7458372"/>
              <a:gd name="connsiteX27889" fmla="*/ 2235908 w 10505529"/>
              <a:gd name="connsiteY27889" fmla="*/ 2858806 h 7458372"/>
              <a:gd name="connsiteX27890" fmla="*/ 2233645 w 10505529"/>
              <a:gd name="connsiteY27890" fmla="*/ 2870520 h 7458372"/>
              <a:gd name="connsiteX27891" fmla="*/ 2227523 w 10505529"/>
              <a:gd name="connsiteY27891" fmla="*/ 2879838 h 7458372"/>
              <a:gd name="connsiteX27892" fmla="*/ 2218204 w 10505529"/>
              <a:gd name="connsiteY27892" fmla="*/ 2886095 h 7458372"/>
              <a:gd name="connsiteX27893" fmla="*/ 2206489 w 10505529"/>
              <a:gd name="connsiteY27893" fmla="*/ 2888359 h 7458372"/>
              <a:gd name="connsiteX27894" fmla="*/ 2184656 w 10505529"/>
              <a:gd name="connsiteY27894" fmla="*/ 2879838 h 7458372"/>
              <a:gd name="connsiteX27895" fmla="*/ 2176270 w 10505529"/>
              <a:gd name="connsiteY27895" fmla="*/ 2858673 h 7458372"/>
              <a:gd name="connsiteX27896" fmla="*/ 2184656 w 10505529"/>
              <a:gd name="connsiteY27896" fmla="*/ 2837640 h 7458372"/>
              <a:gd name="connsiteX27897" fmla="*/ 2206489 w 10505529"/>
              <a:gd name="connsiteY27897" fmla="*/ 2828988 h 7458372"/>
              <a:gd name="connsiteX27898" fmla="*/ 1988968 w 10505529"/>
              <a:gd name="connsiteY27898" fmla="*/ 2828988 h 7458372"/>
              <a:gd name="connsiteX27899" fmla="*/ 2000684 w 10505529"/>
              <a:gd name="connsiteY27899" fmla="*/ 2831516 h 7458372"/>
              <a:gd name="connsiteX27900" fmla="*/ 2010002 w 10505529"/>
              <a:gd name="connsiteY27900" fmla="*/ 2837906 h 7458372"/>
              <a:gd name="connsiteX27901" fmla="*/ 2016125 w 10505529"/>
              <a:gd name="connsiteY27901" fmla="*/ 2847357 h 7458372"/>
              <a:gd name="connsiteX27902" fmla="*/ 2018388 w 10505529"/>
              <a:gd name="connsiteY27902" fmla="*/ 2858806 h 7458372"/>
              <a:gd name="connsiteX27903" fmla="*/ 2016125 w 10505529"/>
              <a:gd name="connsiteY27903" fmla="*/ 2870520 h 7458372"/>
              <a:gd name="connsiteX27904" fmla="*/ 2010002 w 10505529"/>
              <a:gd name="connsiteY27904" fmla="*/ 2879838 h 7458372"/>
              <a:gd name="connsiteX27905" fmla="*/ 2000684 w 10505529"/>
              <a:gd name="connsiteY27905" fmla="*/ 2886095 h 7458372"/>
              <a:gd name="connsiteX27906" fmla="*/ 1988968 w 10505529"/>
              <a:gd name="connsiteY27906" fmla="*/ 2888359 h 7458372"/>
              <a:gd name="connsiteX27907" fmla="*/ 1967137 w 10505529"/>
              <a:gd name="connsiteY27907" fmla="*/ 2879838 h 7458372"/>
              <a:gd name="connsiteX27908" fmla="*/ 1958751 w 10505529"/>
              <a:gd name="connsiteY27908" fmla="*/ 2858673 h 7458372"/>
              <a:gd name="connsiteX27909" fmla="*/ 1967137 w 10505529"/>
              <a:gd name="connsiteY27909" fmla="*/ 2837640 h 7458372"/>
              <a:gd name="connsiteX27910" fmla="*/ 1988968 w 10505529"/>
              <a:gd name="connsiteY27910" fmla="*/ 2828988 h 7458372"/>
              <a:gd name="connsiteX27911" fmla="*/ 1771329 w 10505529"/>
              <a:gd name="connsiteY27911" fmla="*/ 2828988 h 7458372"/>
              <a:gd name="connsiteX27912" fmla="*/ 1783044 w 10505529"/>
              <a:gd name="connsiteY27912" fmla="*/ 2831516 h 7458372"/>
              <a:gd name="connsiteX27913" fmla="*/ 1792362 w 10505529"/>
              <a:gd name="connsiteY27913" fmla="*/ 2837906 h 7458372"/>
              <a:gd name="connsiteX27914" fmla="*/ 1798485 w 10505529"/>
              <a:gd name="connsiteY27914" fmla="*/ 2847357 h 7458372"/>
              <a:gd name="connsiteX27915" fmla="*/ 1800747 w 10505529"/>
              <a:gd name="connsiteY27915" fmla="*/ 2858806 h 7458372"/>
              <a:gd name="connsiteX27916" fmla="*/ 1798485 w 10505529"/>
              <a:gd name="connsiteY27916" fmla="*/ 2870520 h 7458372"/>
              <a:gd name="connsiteX27917" fmla="*/ 1792362 w 10505529"/>
              <a:gd name="connsiteY27917" fmla="*/ 2879838 h 7458372"/>
              <a:gd name="connsiteX27918" fmla="*/ 1783044 w 10505529"/>
              <a:gd name="connsiteY27918" fmla="*/ 2886095 h 7458372"/>
              <a:gd name="connsiteX27919" fmla="*/ 1771329 w 10505529"/>
              <a:gd name="connsiteY27919" fmla="*/ 2888359 h 7458372"/>
              <a:gd name="connsiteX27920" fmla="*/ 1749499 w 10505529"/>
              <a:gd name="connsiteY27920" fmla="*/ 2879838 h 7458372"/>
              <a:gd name="connsiteX27921" fmla="*/ 1741115 w 10505529"/>
              <a:gd name="connsiteY27921" fmla="*/ 2858673 h 7458372"/>
              <a:gd name="connsiteX27922" fmla="*/ 1749499 w 10505529"/>
              <a:gd name="connsiteY27922" fmla="*/ 2837640 h 7458372"/>
              <a:gd name="connsiteX27923" fmla="*/ 1771329 w 10505529"/>
              <a:gd name="connsiteY27923" fmla="*/ 2828988 h 7458372"/>
              <a:gd name="connsiteX27924" fmla="*/ 1553688 w 10505529"/>
              <a:gd name="connsiteY27924" fmla="*/ 2828988 h 7458372"/>
              <a:gd name="connsiteX27925" fmla="*/ 1565403 w 10505529"/>
              <a:gd name="connsiteY27925" fmla="*/ 2831516 h 7458372"/>
              <a:gd name="connsiteX27926" fmla="*/ 1574722 w 10505529"/>
              <a:gd name="connsiteY27926" fmla="*/ 2837906 h 7458372"/>
              <a:gd name="connsiteX27927" fmla="*/ 1580844 w 10505529"/>
              <a:gd name="connsiteY27927" fmla="*/ 2847357 h 7458372"/>
              <a:gd name="connsiteX27928" fmla="*/ 1583107 w 10505529"/>
              <a:gd name="connsiteY27928" fmla="*/ 2858806 h 7458372"/>
              <a:gd name="connsiteX27929" fmla="*/ 1580844 w 10505529"/>
              <a:gd name="connsiteY27929" fmla="*/ 2870520 h 7458372"/>
              <a:gd name="connsiteX27930" fmla="*/ 1574722 w 10505529"/>
              <a:gd name="connsiteY27930" fmla="*/ 2879838 h 7458372"/>
              <a:gd name="connsiteX27931" fmla="*/ 1565403 w 10505529"/>
              <a:gd name="connsiteY27931" fmla="*/ 2886095 h 7458372"/>
              <a:gd name="connsiteX27932" fmla="*/ 1553688 w 10505529"/>
              <a:gd name="connsiteY27932" fmla="*/ 2888359 h 7458372"/>
              <a:gd name="connsiteX27933" fmla="*/ 1531857 w 10505529"/>
              <a:gd name="connsiteY27933" fmla="*/ 2879838 h 7458372"/>
              <a:gd name="connsiteX27934" fmla="*/ 1523472 w 10505529"/>
              <a:gd name="connsiteY27934" fmla="*/ 2858673 h 7458372"/>
              <a:gd name="connsiteX27935" fmla="*/ 1531857 w 10505529"/>
              <a:gd name="connsiteY27935" fmla="*/ 2837640 h 7458372"/>
              <a:gd name="connsiteX27936" fmla="*/ 1553688 w 10505529"/>
              <a:gd name="connsiteY27936" fmla="*/ 2828988 h 7458372"/>
              <a:gd name="connsiteX27937" fmla="*/ 1336044 w 10505529"/>
              <a:gd name="connsiteY27937" fmla="*/ 2828988 h 7458372"/>
              <a:gd name="connsiteX27938" fmla="*/ 1347760 w 10505529"/>
              <a:gd name="connsiteY27938" fmla="*/ 2831516 h 7458372"/>
              <a:gd name="connsiteX27939" fmla="*/ 1357078 w 10505529"/>
              <a:gd name="connsiteY27939" fmla="*/ 2837906 h 7458372"/>
              <a:gd name="connsiteX27940" fmla="*/ 1363200 w 10505529"/>
              <a:gd name="connsiteY27940" fmla="*/ 2847357 h 7458372"/>
              <a:gd name="connsiteX27941" fmla="*/ 1365463 w 10505529"/>
              <a:gd name="connsiteY27941" fmla="*/ 2858806 h 7458372"/>
              <a:gd name="connsiteX27942" fmla="*/ 1363200 w 10505529"/>
              <a:gd name="connsiteY27942" fmla="*/ 2870520 h 7458372"/>
              <a:gd name="connsiteX27943" fmla="*/ 1357078 w 10505529"/>
              <a:gd name="connsiteY27943" fmla="*/ 2879838 h 7458372"/>
              <a:gd name="connsiteX27944" fmla="*/ 1347760 w 10505529"/>
              <a:gd name="connsiteY27944" fmla="*/ 2886095 h 7458372"/>
              <a:gd name="connsiteX27945" fmla="*/ 1336044 w 10505529"/>
              <a:gd name="connsiteY27945" fmla="*/ 2888359 h 7458372"/>
              <a:gd name="connsiteX27946" fmla="*/ 1314212 w 10505529"/>
              <a:gd name="connsiteY27946" fmla="*/ 2879838 h 7458372"/>
              <a:gd name="connsiteX27947" fmla="*/ 1305826 w 10505529"/>
              <a:gd name="connsiteY27947" fmla="*/ 2858673 h 7458372"/>
              <a:gd name="connsiteX27948" fmla="*/ 1314212 w 10505529"/>
              <a:gd name="connsiteY27948" fmla="*/ 2837640 h 7458372"/>
              <a:gd name="connsiteX27949" fmla="*/ 1336044 w 10505529"/>
              <a:gd name="connsiteY27949" fmla="*/ 2828988 h 7458372"/>
              <a:gd name="connsiteX27950" fmla="*/ 1118399 w 10505529"/>
              <a:gd name="connsiteY27950" fmla="*/ 2828988 h 7458372"/>
              <a:gd name="connsiteX27951" fmla="*/ 1130116 w 10505529"/>
              <a:gd name="connsiteY27951" fmla="*/ 2831516 h 7458372"/>
              <a:gd name="connsiteX27952" fmla="*/ 1139433 w 10505529"/>
              <a:gd name="connsiteY27952" fmla="*/ 2837906 h 7458372"/>
              <a:gd name="connsiteX27953" fmla="*/ 1145553 w 10505529"/>
              <a:gd name="connsiteY27953" fmla="*/ 2847357 h 7458372"/>
              <a:gd name="connsiteX27954" fmla="*/ 1147817 w 10505529"/>
              <a:gd name="connsiteY27954" fmla="*/ 2858806 h 7458372"/>
              <a:gd name="connsiteX27955" fmla="*/ 1145553 w 10505529"/>
              <a:gd name="connsiteY27955" fmla="*/ 2870520 h 7458372"/>
              <a:gd name="connsiteX27956" fmla="*/ 1139433 w 10505529"/>
              <a:gd name="connsiteY27956" fmla="*/ 2879838 h 7458372"/>
              <a:gd name="connsiteX27957" fmla="*/ 1130116 w 10505529"/>
              <a:gd name="connsiteY27957" fmla="*/ 2886095 h 7458372"/>
              <a:gd name="connsiteX27958" fmla="*/ 1118399 w 10505529"/>
              <a:gd name="connsiteY27958" fmla="*/ 2888359 h 7458372"/>
              <a:gd name="connsiteX27959" fmla="*/ 1096565 w 10505529"/>
              <a:gd name="connsiteY27959" fmla="*/ 2879838 h 7458372"/>
              <a:gd name="connsiteX27960" fmla="*/ 1088180 w 10505529"/>
              <a:gd name="connsiteY27960" fmla="*/ 2858673 h 7458372"/>
              <a:gd name="connsiteX27961" fmla="*/ 1096565 w 10505529"/>
              <a:gd name="connsiteY27961" fmla="*/ 2837640 h 7458372"/>
              <a:gd name="connsiteX27962" fmla="*/ 1118399 w 10505529"/>
              <a:gd name="connsiteY27962" fmla="*/ 2828988 h 7458372"/>
              <a:gd name="connsiteX27963" fmla="*/ 900886 w 10505529"/>
              <a:gd name="connsiteY27963" fmla="*/ 2828988 h 7458372"/>
              <a:gd name="connsiteX27964" fmla="*/ 912601 w 10505529"/>
              <a:gd name="connsiteY27964" fmla="*/ 2831516 h 7458372"/>
              <a:gd name="connsiteX27965" fmla="*/ 921920 w 10505529"/>
              <a:gd name="connsiteY27965" fmla="*/ 2837906 h 7458372"/>
              <a:gd name="connsiteX27966" fmla="*/ 928042 w 10505529"/>
              <a:gd name="connsiteY27966" fmla="*/ 2847357 h 7458372"/>
              <a:gd name="connsiteX27967" fmla="*/ 930305 w 10505529"/>
              <a:gd name="connsiteY27967" fmla="*/ 2858806 h 7458372"/>
              <a:gd name="connsiteX27968" fmla="*/ 928042 w 10505529"/>
              <a:gd name="connsiteY27968" fmla="*/ 2870520 h 7458372"/>
              <a:gd name="connsiteX27969" fmla="*/ 921920 w 10505529"/>
              <a:gd name="connsiteY27969" fmla="*/ 2879838 h 7458372"/>
              <a:gd name="connsiteX27970" fmla="*/ 912601 w 10505529"/>
              <a:gd name="connsiteY27970" fmla="*/ 2886095 h 7458372"/>
              <a:gd name="connsiteX27971" fmla="*/ 900886 w 10505529"/>
              <a:gd name="connsiteY27971" fmla="*/ 2888359 h 7458372"/>
              <a:gd name="connsiteX27972" fmla="*/ 879056 w 10505529"/>
              <a:gd name="connsiteY27972" fmla="*/ 2879838 h 7458372"/>
              <a:gd name="connsiteX27973" fmla="*/ 870670 w 10505529"/>
              <a:gd name="connsiteY27973" fmla="*/ 2858673 h 7458372"/>
              <a:gd name="connsiteX27974" fmla="*/ 879056 w 10505529"/>
              <a:gd name="connsiteY27974" fmla="*/ 2837640 h 7458372"/>
              <a:gd name="connsiteX27975" fmla="*/ 900886 w 10505529"/>
              <a:gd name="connsiteY27975" fmla="*/ 2828988 h 7458372"/>
              <a:gd name="connsiteX27976" fmla="*/ 683244 w 10505529"/>
              <a:gd name="connsiteY27976" fmla="*/ 2828988 h 7458372"/>
              <a:gd name="connsiteX27977" fmla="*/ 694959 w 10505529"/>
              <a:gd name="connsiteY27977" fmla="*/ 2831516 h 7458372"/>
              <a:gd name="connsiteX27978" fmla="*/ 704277 w 10505529"/>
              <a:gd name="connsiteY27978" fmla="*/ 2837906 h 7458372"/>
              <a:gd name="connsiteX27979" fmla="*/ 710400 w 10505529"/>
              <a:gd name="connsiteY27979" fmla="*/ 2847357 h 7458372"/>
              <a:gd name="connsiteX27980" fmla="*/ 712663 w 10505529"/>
              <a:gd name="connsiteY27980" fmla="*/ 2858806 h 7458372"/>
              <a:gd name="connsiteX27981" fmla="*/ 710400 w 10505529"/>
              <a:gd name="connsiteY27981" fmla="*/ 2870520 h 7458372"/>
              <a:gd name="connsiteX27982" fmla="*/ 704277 w 10505529"/>
              <a:gd name="connsiteY27982" fmla="*/ 2879838 h 7458372"/>
              <a:gd name="connsiteX27983" fmla="*/ 694959 w 10505529"/>
              <a:gd name="connsiteY27983" fmla="*/ 2886095 h 7458372"/>
              <a:gd name="connsiteX27984" fmla="*/ 683244 w 10505529"/>
              <a:gd name="connsiteY27984" fmla="*/ 2888359 h 7458372"/>
              <a:gd name="connsiteX27985" fmla="*/ 661413 w 10505529"/>
              <a:gd name="connsiteY27985" fmla="*/ 2879838 h 7458372"/>
              <a:gd name="connsiteX27986" fmla="*/ 653027 w 10505529"/>
              <a:gd name="connsiteY27986" fmla="*/ 2858673 h 7458372"/>
              <a:gd name="connsiteX27987" fmla="*/ 661413 w 10505529"/>
              <a:gd name="connsiteY27987" fmla="*/ 2837640 h 7458372"/>
              <a:gd name="connsiteX27988" fmla="*/ 683244 w 10505529"/>
              <a:gd name="connsiteY27988" fmla="*/ 2828988 h 7458372"/>
              <a:gd name="connsiteX27989" fmla="*/ 465601 w 10505529"/>
              <a:gd name="connsiteY27989" fmla="*/ 2828988 h 7458372"/>
              <a:gd name="connsiteX27990" fmla="*/ 477316 w 10505529"/>
              <a:gd name="connsiteY27990" fmla="*/ 2831516 h 7458372"/>
              <a:gd name="connsiteX27991" fmla="*/ 486634 w 10505529"/>
              <a:gd name="connsiteY27991" fmla="*/ 2837906 h 7458372"/>
              <a:gd name="connsiteX27992" fmla="*/ 492757 w 10505529"/>
              <a:gd name="connsiteY27992" fmla="*/ 2847357 h 7458372"/>
              <a:gd name="connsiteX27993" fmla="*/ 495020 w 10505529"/>
              <a:gd name="connsiteY27993" fmla="*/ 2858806 h 7458372"/>
              <a:gd name="connsiteX27994" fmla="*/ 492757 w 10505529"/>
              <a:gd name="connsiteY27994" fmla="*/ 2870520 h 7458372"/>
              <a:gd name="connsiteX27995" fmla="*/ 486634 w 10505529"/>
              <a:gd name="connsiteY27995" fmla="*/ 2879838 h 7458372"/>
              <a:gd name="connsiteX27996" fmla="*/ 477316 w 10505529"/>
              <a:gd name="connsiteY27996" fmla="*/ 2886095 h 7458372"/>
              <a:gd name="connsiteX27997" fmla="*/ 465601 w 10505529"/>
              <a:gd name="connsiteY27997" fmla="*/ 2888359 h 7458372"/>
              <a:gd name="connsiteX27998" fmla="*/ 443770 w 10505529"/>
              <a:gd name="connsiteY27998" fmla="*/ 2879838 h 7458372"/>
              <a:gd name="connsiteX27999" fmla="*/ 435384 w 10505529"/>
              <a:gd name="connsiteY27999" fmla="*/ 2858673 h 7458372"/>
              <a:gd name="connsiteX28000" fmla="*/ 443770 w 10505529"/>
              <a:gd name="connsiteY28000" fmla="*/ 2837640 h 7458372"/>
              <a:gd name="connsiteX28001" fmla="*/ 465601 w 10505529"/>
              <a:gd name="connsiteY28001" fmla="*/ 2828988 h 7458372"/>
              <a:gd name="connsiteX28002" fmla="*/ 247958 w 10505529"/>
              <a:gd name="connsiteY28002" fmla="*/ 2828988 h 7458372"/>
              <a:gd name="connsiteX28003" fmla="*/ 259673 w 10505529"/>
              <a:gd name="connsiteY28003" fmla="*/ 2831516 h 7458372"/>
              <a:gd name="connsiteX28004" fmla="*/ 268991 w 10505529"/>
              <a:gd name="connsiteY28004" fmla="*/ 2837906 h 7458372"/>
              <a:gd name="connsiteX28005" fmla="*/ 275114 w 10505529"/>
              <a:gd name="connsiteY28005" fmla="*/ 2847357 h 7458372"/>
              <a:gd name="connsiteX28006" fmla="*/ 277377 w 10505529"/>
              <a:gd name="connsiteY28006" fmla="*/ 2858806 h 7458372"/>
              <a:gd name="connsiteX28007" fmla="*/ 275114 w 10505529"/>
              <a:gd name="connsiteY28007" fmla="*/ 2870520 h 7458372"/>
              <a:gd name="connsiteX28008" fmla="*/ 268991 w 10505529"/>
              <a:gd name="connsiteY28008" fmla="*/ 2879838 h 7458372"/>
              <a:gd name="connsiteX28009" fmla="*/ 259673 w 10505529"/>
              <a:gd name="connsiteY28009" fmla="*/ 2886095 h 7458372"/>
              <a:gd name="connsiteX28010" fmla="*/ 247958 w 10505529"/>
              <a:gd name="connsiteY28010" fmla="*/ 2888359 h 7458372"/>
              <a:gd name="connsiteX28011" fmla="*/ 226127 w 10505529"/>
              <a:gd name="connsiteY28011" fmla="*/ 2879838 h 7458372"/>
              <a:gd name="connsiteX28012" fmla="*/ 217742 w 10505529"/>
              <a:gd name="connsiteY28012" fmla="*/ 2858673 h 7458372"/>
              <a:gd name="connsiteX28013" fmla="*/ 226127 w 10505529"/>
              <a:gd name="connsiteY28013" fmla="*/ 2837640 h 7458372"/>
              <a:gd name="connsiteX28014" fmla="*/ 247958 w 10505529"/>
              <a:gd name="connsiteY28014" fmla="*/ 2828988 h 7458372"/>
              <a:gd name="connsiteX28015" fmla="*/ 30315 w 10505529"/>
              <a:gd name="connsiteY28015" fmla="*/ 2828988 h 7458372"/>
              <a:gd name="connsiteX28016" fmla="*/ 42030 w 10505529"/>
              <a:gd name="connsiteY28016" fmla="*/ 2831516 h 7458372"/>
              <a:gd name="connsiteX28017" fmla="*/ 51348 w 10505529"/>
              <a:gd name="connsiteY28017" fmla="*/ 2837906 h 7458372"/>
              <a:gd name="connsiteX28018" fmla="*/ 57471 w 10505529"/>
              <a:gd name="connsiteY28018" fmla="*/ 2847357 h 7458372"/>
              <a:gd name="connsiteX28019" fmla="*/ 59734 w 10505529"/>
              <a:gd name="connsiteY28019" fmla="*/ 2858806 h 7458372"/>
              <a:gd name="connsiteX28020" fmla="*/ 57471 w 10505529"/>
              <a:gd name="connsiteY28020" fmla="*/ 2870520 h 7458372"/>
              <a:gd name="connsiteX28021" fmla="*/ 51348 w 10505529"/>
              <a:gd name="connsiteY28021" fmla="*/ 2879838 h 7458372"/>
              <a:gd name="connsiteX28022" fmla="*/ 42030 w 10505529"/>
              <a:gd name="connsiteY28022" fmla="*/ 2886095 h 7458372"/>
              <a:gd name="connsiteX28023" fmla="*/ 30315 w 10505529"/>
              <a:gd name="connsiteY28023" fmla="*/ 2888359 h 7458372"/>
              <a:gd name="connsiteX28024" fmla="*/ 8485 w 10505529"/>
              <a:gd name="connsiteY28024" fmla="*/ 2879838 h 7458372"/>
              <a:gd name="connsiteX28025" fmla="*/ 99 w 10505529"/>
              <a:gd name="connsiteY28025" fmla="*/ 2858673 h 7458372"/>
              <a:gd name="connsiteX28026" fmla="*/ 8485 w 10505529"/>
              <a:gd name="connsiteY28026" fmla="*/ 2837640 h 7458372"/>
              <a:gd name="connsiteX28027" fmla="*/ 30315 w 10505529"/>
              <a:gd name="connsiteY28027" fmla="*/ 2828988 h 7458372"/>
              <a:gd name="connsiteX28028" fmla="*/ 10475977 w 10505529"/>
              <a:gd name="connsiteY28028" fmla="*/ 2628116 h 7458372"/>
              <a:gd name="connsiteX28029" fmla="*/ 10465992 w 10505529"/>
              <a:gd name="connsiteY28029" fmla="*/ 2631711 h 7458372"/>
              <a:gd name="connsiteX28030" fmla="*/ 10462399 w 10505529"/>
              <a:gd name="connsiteY28030" fmla="*/ 2641161 h 7458372"/>
              <a:gd name="connsiteX28031" fmla="*/ 10465992 w 10505529"/>
              <a:gd name="connsiteY28031" fmla="*/ 2650612 h 7458372"/>
              <a:gd name="connsiteX28032" fmla="*/ 10475977 w 10505529"/>
              <a:gd name="connsiteY28032" fmla="*/ 2654073 h 7458372"/>
              <a:gd name="connsiteX28033" fmla="*/ 10481302 w 10505529"/>
              <a:gd name="connsiteY28033" fmla="*/ 2653141 h 7458372"/>
              <a:gd name="connsiteX28034" fmla="*/ 10485029 w 10505529"/>
              <a:gd name="connsiteY28034" fmla="*/ 2650745 h 7458372"/>
              <a:gd name="connsiteX28035" fmla="*/ 10487691 w 10505529"/>
              <a:gd name="connsiteY28035" fmla="*/ 2646486 h 7458372"/>
              <a:gd name="connsiteX28036" fmla="*/ 10488623 w 10505529"/>
              <a:gd name="connsiteY28036" fmla="*/ 2641028 h 7458372"/>
              <a:gd name="connsiteX28037" fmla="*/ 10487691 w 10505529"/>
              <a:gd name="connsiteY28037" fmla="*/ 2635836 h 7458372"/>
              <a:gd name="connsiteX28038" fmla="*/ 10485029 w 10505529"/>
              <a:gd name="connsiteY28038" fmla="*/ 2631711 h 7458372"/>
              <a:gd name="connsiteX28039" fmla="*/ 10481035 w 10505529"/>
              <a:gd name="connsiteY28039" fmla="*/ 2629047 h 7458372"/>
              <a:gd name="connsiteX28040" fmla="*/ 10475977 w 10505529"/>
              <a:gd name="connsiteY28040" fmla="*/ 2628116 h 7458372"/>
              <a:gd name="connsiteX28041" fmla="*/ 10258466 w 10505529"/>
              <a:gd name="connsiteY28041" fmla="*/ 2628116 h 7458372"/>
              <a:gd name="connsiteX28042" fmla="*/ 10248481 w 10505529"/>
              <a:gd name="connsiteY28042" fmla="*/ 2631711 h 7458372"/>
              <a:gd name="connsiteX28043" fmla="*/ 10244887 w 10505529"/>
              <a:gd name="connsiteY28043" fmla="*/ 2641161 h 7458372"/>
              <a:gd name="connsiteX28044" fmla="*/ 10248481 w 10505529"/>
              <a:gd name="connsiteY28044" fmla="*/ 2650612 h 7458372"/>
              <a:gd name="connsiteX28045" fmla="*/ 10258466 w 10505529"/>
              <a:gd name="connsiteY28045" fmla="*/ 2654073 h 7458372"/>
              <a:gd name="connsiteX28046" fmla="*/ 10263790 w 10505529"/>
              <a:gd name="connsiteY28046" fmla="*/ 2653141 h 7458372"/>
              <a:gd name="connsiteX28047" fmla="*/ 10267517 w 10505529"/>
              <a:gd name="connsiteY28047" fmla="*/ 2650745 h 7458372"/>
              <a:gd name="connsiteX28048" fmla="*/ 10270180 w 10505529"/>
              <a:gd name="connsiteY28048" fmla="*/ 2646486 h 7458372"/>
              <a:gd name="connsiteX28049" fmla="*/ 10271112 w 10505529"/>
              <a:gd name="connsiteY28049" fmla="*/ 2641028 h 7458372"/>
              <a:gd name="connsiteX28050" fmla="*/ 10270180 w 10505529"/>
              <a:gd name="connsiteY28050" fmla="*/ 2635836 h 7458372"/>
              <a:gd name="connsiteX28051" fmla="*/ 10267517 w 10505529"/>
              <a:gd name="connsiteY28051" fmla="*/ 2631711 h 7458372"/>
              <a:gd name="connsiteX28052" fmla="*/ 10263524 w 10505529"/>
              <a:gd name="connsiteY28052" fmla="*/ 2629047 h 7458372"/>
              <a:gd name="connsiteX28053" fmla="*/ 10258466 w 10505529"/>
              <a:gd name="connsiteY28053" fmla="*/ 2628116 h 7458372"/>
              <a:gd name="connsiteX28054" fmla="*/ 10040820 w 10505529"/>
              <a:gd name="connsiteY28054" fmla="*/ 2628116 h 7458372"/>
              <a:gd name="connsiteX28055" fmla="*/ 10030835 w 10505529"/>
              <a:gd name="connsiteY28055" fmla="*/ 2631711 h 7458372"/>
              <a:gd name="connsiteX28056" fmla="*/ 10027242 w 10505529"/>
              <a:gd name="connsiteY28056" fmla="*/ 2641161 h 7458372"/>
              <a:gd name="connsiteX28057" fmla="*/ 10030835 w 10505529"/>
              <a:gd name="connsiteY28057" fmla="*/ 2650612 h 7458372"/>
              <a:gd name="connsiteX28058" fmla="*/ 10040820 w 10505529"/>
              <a:gd name="connsiteY28058" fmla="*/ 2654073 h 7458372"/>
              <a:gd name="connsiteX28059" fmla="*/ 10046145 w 10505529"/>
              <a:gd name="connsiteY28059" fmla="*/ 2653141 h 7458372"/>
              <a:gd name="connsiteX28060" fmla="*/ 10049872 w 10505529"/>
              <a:gd name="connsiteY28060" fmla="*/ 2650745 h 7458372"/>
              <a:gd name="connsiteX28061" fmla="*/ 10052534 w 10505529"/>
              <a:gd name="connsiteY28061" fmla="*/ 2646486 h 7458372"/>
              <a:gd name="connsiteX28062" fmla="*/ 10053599 w 10505529"/>
              <a:gd name="connsiteY28062" fmla="*/ 2641028 h 7458372"/>
              <a:gd name="connsiteX28063" fmla="*/ 10052534 w 10505529"/>
              <a:gd name="connsiteY28063" fmla="*/ 2635836 h 7458372"/>
              <a:gd name="connsiteX28064" fmla="*/ 10049872 w 10505529"/>
              <a:gd name="connsiteY28064" fmla="*/ 2631711 h 7458372"/>
              <a:gd name="connsiteX28065" fmla="*/ 10045878 w 10505529"/>
              <a:gd name="connsiteY28065" fmla="*/ 2629047 h 7458372"/>
              <a:gd name="connsiteX28066" fmla="*/ 10040820 w 10505529"/>
              <a:gd name="connsiteY28066" fmla="*/ 2628116 h 7458372"/>
              <a:gd name="connsiteX28067" fmla="*/ 9823176 w 10505529"/>
              <a:gd name="connsiteY28067" fmla="*/ 2628116 h 7458372"/>
              <a:gd name="connsiteX28068" fmla="*/ 9813191 w 10505529"/>
              <a:gd name="connsiteY28068" fmla="*/ 2631711 h 7458372"/>
              <a:gd name="connsiteX28069" fmla="*/ 9809597 w 10505529"/>
              <a:gd name="connsiteY28069" fmla="*/ 2641161 h 7458372"/>
              <a:gd name="connsiteX28070" fmla="*/ 9813191 w 10505529"/>
              <a:gd name="connsiteY28070" fmla="*/ 2650612 h 7458372"/>
              <a:gd name="connsiteX28071" fmla="*/ 9823176 w 10505529"/>
              <a:gd name="connsiteY28071" fmla="*/ 2654073 h 7458372"/>
              <a:gd name="connsiteX28072" fmla="*/ 9828501 w 10505529"/>
              <a:gd name="connsiteY28072" fmla="*/ 2653141 h 7458372"/>
              <a:gd name="connsiteX28073" fmla="*/ 9832227 w 10505529"/>
              <a:gd name="connsiteY28073" fmla="*/ 2650745 h 7458372"/>
              <a:gd name="connsiteX28074" fmla="*/ 9834890 w 10505529"/>
              <a:gd name="connsiteY28074" fmla="*/ 2646486 h 7458372"/>
              <a:gd name="connsiteX28075" fmla="*/ 9835955 w 10505529"/>
              <a:gd name="connsiteY28075" fmla="*/ 2641028 h 7458372"/>
              <a:gd name="connsiteX28076" fmla="*/ 9834890 w 10505529"/>
              <a:gd name="connsiteY28076" fmla="*/ 2635836 h 7458372"/>
              <a:gd name="connsiteX28077" fmla="*/ 9832227 w 10505529"/>
              <a:gd name="connsiteY28077" fmla="*/ 2631711 h 7458372"/>
              <a:gd name="connsiteX28078" fmla="*/ 9828234 w 10505529"/>
              <a:gd name="connsiteY28078" fmla="*/ 2629047 h 7458372"/>
              <a:gd name="connsiteX28079" fmla="*/ 9823176 w 10505529"/>
              <a:gd name="connsiteY28079" fmla="*/ 2628116 h 7458372"/>
              <a:gd name="connsiteX28080" fmla="*/ 9605531 w 10505529"/>
              <a:gd name="connsiteY28080" fmla="*/ 2628116 h 7458372"/>
              <a:gd name="connsiteX28081" fmla="*/ 9595546 w 10505529"/>
              <a:gd name="connsiteY28081" fmla="*/ 2631711 h 7458372"/>
              <a:gd name="connsiteX28082" fmla="*/ 9591952 w 10505529"/>
              <a:gd name="connsiteY28082" fmla="*/ 2641161 h 7458372"/>
              <a:gd name="connsiteX28083" fmla="*/ 9595546 w 10505529"/>
              <a:gd name="connsiteY28083" fmla="*/ 2650612 h 7458372"/>
              <a:gd name="connsiteX28084" fmla="*/ 9605531 w 10505529"/>
              <a:gd name="connsiteY28084" fmla="*/ 2654073 h 7458372"/>
              <a:gd name="connsiteX28085" fmla="*/ 9610855 w 10505529"/>
              <a:gd name="connsiteY28085" fmla="*/ 2653141 h 7458372"/>
              <a:gd name="connsiteX28086" fmla="*/ 9614582 w 10505529"/>
              <a:gd name="connsiteY28086" fmla="*/ 2650745 h 7458372"/>
              <a:gd name="connsiteX28087" fmla="*/ 9617245 w 10505529"/>
              <a:gd name="connsiteY28087" fmla="*/ 2646486 h 7458372"/>
              <a:gd name="connsiteX28088" fmla="*/ 9618309 w 10505529"/>
              <a:gd name="connsiteY28088" fmla="*/ 2641028 h 7458372"/>
              <a:gd name="connsiteX28089" fmla="*/ 9617245 w 10505529"/>
              <a:gd name="connsiteY28089" fmla="*/ 2635836 h 7458372"/>
              <a:gd name="connsiteX28090" fmla="*/ 9614582 w 10505529"/>
              <a:gd name="connsiteY28090" fmla="*/ 2631711 h 7458372"/>
              <a:gd name="connsiteX28091" fmla="*/ 9610589 w 10505529"/>
              <a:gd name="connsiteY28091" fmla="*/ 2629047 h 7458372"/>
              <a:gd name="connsiteX28092" fmla="*/ 9605531 w 10505529"/>
              <a:gd name="connsiteY28092" fmla="*/ 2628116 h 7458372"/>
              <a:gd name="connsiteX28093" fmla="*/ 9387885 w 10505529"/>
              <a:gd name="connsiteY28093" fmla="*/ 2628116 h 7458372"/>
              <a:gd name="connsiteX28094" fmla="*/ 9377900 w 10505529"/>
              <a:gd name="connsiteY28094" fmla="*/ 2631711 h 7458372"/>
              <a:gd name="connsiteX28095" fmla="*/ 9374307 w 10505529"/>
              <a:gd name="connsiteY28095" fmla="*/ 2641161 h 7458372"/>
              <a:gd name="connsiteX28096" fmla="*/ 9377900 w 10505529"/>
              <a:gd name="connsiteY28096" fmla="*/ 2650612 h 7458372"/>
              <a:gd name="connsiteX28097" fmla="*/ 9387885 w 10505529"/>
              <a:gd name="connsiteY28097" fmla="*/ 2654073 h 7458372"/>
              <a:gd name="connsiteX28098" fmla="*/ 9393210 w 10505529"/>
              <a:gd name="connsiteY28098" fmla="*/ 2653141 h 7458372"/>
              <a:gd name="connsiteX28099" fmla="*/ 9396937 w 10505529"/>
              <a:gd name="connsiteY28099" fmla="*/ 2650745 h 7458372"/>
              <a:gd name="connsiteX28100" fmla="*/ 9399599 w 10505529"/>
              <a:gd name="connsiteY28100" fmla="*/ 2646486 h 7458372"/>
              <a:gd name="connsiteX28101" fmla="*/ 9400664 w 10505529"/>
              <a:gd name="connsiteY28101" fmla="*/ 2641028 h 7458372"/>
              <a:gd name="connsiteX28102" fmla="*/ 9399599 w 10505529"/>
              <a:gd name="connsiteY28102" fmla="*/ 2635836 h 7458372"/>
              <a:gd name="connsiteX28103" fmla="*/ 9396937 w 10505529"/>
              <a:gd name="connsiteY28103" fmla="*/ 2631711 h 7458372"/>
              <a:gd name="connsiteX28104" fmla="*/ 9392943 w 10505529"/>
              <a:gd name="connsiteY28104" fmla="*/ 2629047 h 7458372"/>
              <a:gd name="connsiteX28105" fmla="*/ 9387885 w 10505529"/>
              <a:gd name="connsiteY28105" fmla="*/ 2628116 h 7458372"/>
              <a:gd name="connsiteX28106" fmla="*/ 9170374 w 10505529"/>
              <a:gd name="connsiteY28106" fmla="*/ 2628116 h 7458372"/>
              <a:gd name="connsiteX28107" fmla="*/ 9160389 w 10505529"/>
              <a:gd name="connsiteY28107" fmla="*/ 2631711 h 7458372"/>
              <a:gd name="connsiteX28108" fmla="*/ 9156795 w 10505529"/>
              <a:gd name="connsiteY28108" fmla="*/ 2641161 h 7458372"/>
              <a:gd name="connsiteX28109" fmla="*/ 9160389 w 10505529"/>
              <a:gd name="connsiteY28109" fmla="*/ 2650612 h 7458372"/>
              <a:gd name="connsiteX28110" fmla="*/ 9170374 w 10505529"/>
              <a:gd name="connsiteY28110" fmla="*/ 2654073 h 7458372"/>
              <a:gd name="connsiteX28111" fmla="*/ 9175698 w 10505529"/>
              <a:gd name="connsiteY28111" fmla="*/ 2653141 h 7458372"/>
              <a:gd name="connsiteX28112" fmla="*/ 9179425 w 10505529"/>
              <a:gd name="connsiteY28112" fmla="*/ 2650745 h 7458372"/>
              <a:gd name="connsiteX28113" fmla="*/ 9182088 w 10505529"/>
              <a:gd name="connsiteY28113" fmla="*/ 2646486 h 7458372"/>
              <a:gd name="connsiteX28114" fmla="*/ 9183152 w 10505529"/>
              <a:gd name="connsiteY28114" fmla="*/ 2641028 h 7458372"/>
              <a:gd name="connsiteX28115" fmla="*/ 9182088 w 10505529"/>
              <a:gd name="connsiteY28115" fmla="*/ 2635836 h 7458372"/>
              <a:gd name="connsiteX28116" fmla="*/ 9179425 w 10505529"/>
              <a:gd name="connsiteY28116" fmla="*/ 2631711 h 7458372"/>
              <a:gd name="connsiteX28117" fmla="*/ 9175432 w 10505529"/>
              <a:gd name="connsiteY28117" fmla="*/ 2629047 h 7458372"/>
              <a:gd name="connsiteX28118" fmla="*/ 9170374 w 10505529"/>
              <a:gd name="connsiteY28118" fmla="*/ 2628116 h 7458372"/>
              <a:gd name="connsiteX28119" fmla="*/ 8952728 w 10505529"/>
              <a:gd name="connsiteY28119" fmla="*/ 2628116 h 7458372"/>
              <a:gd name="connsiteX28120" fmla="*/ 8942743 w 10505529"/>
              <a:gd name="connsiteY28120" fmla="*/ 2631711 h 7458372"/>
              <a:gd name="connsiteX28121" fmla="*/ 8939150 w 10505529"/>
              <a:gd name="connsiteY28121" fmla="*/ 2641161 h 7458372"/>
              <a:gd name="connsiteX28122" fmla="*/ 8942743 w 10505529"/>
              <a:gd name="connsiteY28122" fmla="*/ 2650612 h 7458372"/>
              <a:gd name="connsiteX28123" fmla="*/ 8952728 w 10505529"/>
              <a:gd name="connsiteY28123" fmla="*/ 2654073 h 7458372"/>
              <a:gd name="connsiteX28124" fmla="*/ 8958053 w 10505529"/>
              <a:gd name="connsiteY28124" fmla="*/ 2653141 h 7458372"/>
              <a:gd name="connsiteX28125" fmla="*/ 8961780 w 10505529"/>
              <a:gd name="connsiteY28125" fmla="*/ 2650745 h 7458372"/>
              <a:gd name="connsiteX28126" fmla="*/ 8964442 w 10505529"/>
              <a:gd name="connsiteY28126" fmla="*/ 2646486 h 7458372"/>
              <a:gd name="connsiteX28127" fmla="*/ 8965507 w 10505529"/>
              <a:gd name="connsiteY28127" fmla="*/ 2641028 h 7458372"/>
              <a:gd name="connsiteX28128" fmla="*/ 8964442 w 10505529"/>
              <a:gd name="connsiteY28128" fmla="*/ 2635836 h 7458372"/>
              <a:gd name="connsiteX28129" fmla="*/ 8961780 w 10505529"/>
              <a:gd name="connsiteY28129" fmla="*/ 2631711 h 7458372"/>
              <a:gd name="connsiteX28130" fmla="*/ 8957786 w 10505529"/>
              <a:gd name="connsiteY28130" fmla="*/ 2629047 h 7458372"/>
              <a:gd name="connsiteX28131" fmla="*/ 8952728 w 10505529"/>
              <a:gd name="connsiteY28131" fmla="*/ 2628116 h 7458372"/>
              <a:gd name="connsiteX28132" fmla="*/ 8735083 w 10505529"/>
              <a:gd name="connsiteY28132" fmla="*/ 2628116 h 7458372"/>
              <a:gd name="connsiteX28133" fmla="*/ 8725098 w 10505529"/>
              <a:gd name="connsiteY28133" fmla="*/ 2631711 h 7458372"/>
              <a:gd name="connsiteX28134" fmla="*/ 8721504 w 10505529"/>
              <a:gd name="connsiteY28134" fmla="*/ 2641161 h 7458372"/>
              <a:gd name="connsiteX28135" fmla="*/ 8725098 w 10505529"/>
              <a:gd name="connsiteY28135" fmla="*/ 2650612 h 7458372"/>
              <a:gd name="connsiteX28136" fmla="*/ 8735083 w 10505529"/>
              <a:gd name="connsiteY28136" fmla="*/ 2654073 h 7458372"/>
              <a:gd name="connsiteX28137" fmla="*/ 8740407 w 10505529"/>
              <a:gd name="connsiteY28137" fmla="*/ 2653141 h 7458372"/>
              <a:gd name="connsiteX28138" fmla="*/ 8744134 w 10505529"/>
              <a:gd name="connsiteY28138" fmla="*/ 2650745 h 7458372"/>
              <a:gd name="connsiteX28139" fmla="*/ 8746797 w 10505529"/>
              <a:gd name="connsiteY28139" fmla="*/ 2646486 h 7458372"/>
              <a:gd name="connsiteX28140" fmla="*/ 8747862 w 10505529"/>
              <a:gd name="connsiteY28140" fmla="*/ 2641028 h 7458372"/>
              <a:gd name="connsiteX28141" fmla="*/ 8746797 w 10505529"/>
              <a:gd name="connsiteY28141" fmla="*/ 2635836 h 7458372"/>
              <a:gd name="connsiteX28142" fmla="*/ 8744134 w 10505529"/>
              <a:gd name="connsiteY28142" fmla="*/ 2631711 h 7458372"/>
              <a:gd name="connsiteX28143" fmla="*/ 8740141 w 10505529"/>
              <a:gd name="connsiteY28143" fmla="*/ 2629047 h 7458372"/>
              <a:gd name="connsiteX28144" fmla="*/ 8735083 w 10505529"/>
              <a:gd name="connsiteY28144" fmla="*/ 2628116 h 7458372"/>
              <a:gd name="connsiteX28145" fmla="*/ 8517438 w 10505529"/>
              <a:gd name="connsiteY28145" fmla="*/ 2628116 h 7458372"/>
              <a:gd name="connsiteX28146" fmla="*/ 8507453 w 10505529"/>
              <a:gd name="connsiteY28146" fmla="*/ 2631711 h 7458372"/>
              <a:gd name="connsiteX28147" fmla="*/ 8503860 w 10505529"/>
              <a:gd name="connsiteY28147" fmla="*/ 2641161 h 7458372"/>
              <a:gd name="connsiteX28148" fmla="*/ 8507453 w 10505529"/>
              <a:gd name="connsiteY28148" fmla="*/ 2650612 h 7458372"/>
              <a:gd name="connsiteX28149" fmla="*/ 8517438 w 10505529"/>
              <a:gd name="connsiteY28149" fmla="*/ 2654073 h 7458372"/>
              <a:gd name="connsiteX28150" fmla="*/ 8522763 w 10505529"/>
              <a:gd name="connsiteY28150" fmla="*/ 2653141 h 7458372"/>
              <a:gd name="connsiteX28151" fmla="*/ 8526490 w 10505529"/>
              <a:gd name="connsiteY28151" fmla="*/ 2650745 h 7458372"/>
              <a:gd name="connsiteX28152" fmla="*/ 8529152 w 10505529"/>
              <a:gd name="connsiteY28152" fmla="*/ 2646486 h 7458372"/>
              <a:gd name="connsiteX28153" fmla="*/ 8530084 w 10505529"/>
              <a:gd name="connsiteY28153" fmla="*/ 2641028 h 7458372"/>
              <a:gd name="connsiteX28154" fmla="*/ 8529152 w 10505529"/>
              <a:gd name="connsiteY28154" fmla="*/ 2635836 h 7458372"/>
              <a:gd name="connsiteX28155" fmla="*/ 8526490 w 10505529"/>
              <a:gd name="connsiteY28155" fmla="*/ 2631711 h 7458372"/>
              <a:gd name="connsiteX28156" fmla="*/ 8522496 w 10505529"/>
              <a:gd name="connsiteY28156" fmla="*/ 2629047 h 7458372"/>
              <a:gd name="connsiteX28157" fmla="*/ 8517438 w 10505529"/>
              <a:gd name="connsiteY28157" fmla="*/ 2628116 h 7458372"/>
              <a:gd name="connsiteX28158" fmla="*/ 8299793 w 10505529"/>
              <a:gd name="connsiteY28158" fmla="*/ 2628116 h 7458372"/>
              <a:gd name="connsiteX28159" fmla="*/ 8289809 w 10505529"/>
              <a:gd name="connsiteY28159" fmla="*/ 2631711 h 7458372"/>
              <a:gd name="connsiteX28160" fmla="*/ 8286215 w 10505529"/>
              <a:gd name="connsiteY28160" fmla="*/ 2641161 h 7458372"/>
              <a:gd name="connsiteX28161" fmla="*/ 8289809 w 10505529"/>
              <a:gd name="connsiteY28161" fmla="*/ 2650612 h 7458372"/>
              <a:gd name="connsiteX28162" fmla="*/ 8299793 w 10505529"/>
              <a:gd name="connsiteY28162" fmla="*/ 2654073 h 7458372"/>
              <a:gd name="connsiteX28163" fmla="*/ 8305118 w 10505529"/>
              <a:gd name="connsiteY28163" fmla="*/ 2653141 h 7458372"/>
              <a:gd name="connsiteX28164" fmla="*/ 8308844 w 10505529"/>
              <a:gd name="connsiteY28164" fmla="*/ 2650745 h 7458372"/>
              <a:gd name="connsiteX28165" fmla="*/ 8311507 w 10505529"/>
              <a:gd name="connsiteY28165" fmla="*/ 2646486 h 7458372"/>
              <a:gd name="connsiteX28166" fmla="*/ 8312439 w 10505529"/>
              <a:gd name="connsiteY28166" fmla="*/ 2641028 h 7458372"/>
              <a:gd name="connsiteX28167" fmla="*/ 8311507 w 10505529"/>
              <a:gd name="connsiteY28167" fmla="*/ 2635836 h 7458372"/>
              <a:gd name="connsiteX28168" fmla="*/ 8308844 w 10505529"/>
              <a:gd name="connsiteY28168" fmla="*/ 2631711 h 7458372"/>
              <a:gd name="connsiteX28169" fmla="*/ 8304851 w 10505529"/>
              <a:gd name="connsiteY28169" fmla="*/ 2629047 h 7458372"/>
              <a:gd name="connsiteX28170" fmla="*/ 8299793 w 10505529"/>
              <a:gd name="connsiteY28170" fmla="*/ 2628116 h 7458372"/>
              <a:gd name="connsiteX28171" fmla="*/ 8082281 w 10505529"/>
              <a:gd name="connsiteY28171" fmla="*/ 2628116 h 7458372"/>
              <a:gd name="connsiteX28172" fmla="*/ 8072297 w 10505529"/>
              <a:gd name="connsiteY28172" fmla="*/ 2631711 h 7458372"/>
              <a:gd name="connsiteX28173" fmla="*/ 8068703 w 10505529"/>
              <a:gd name="connsiteY28173" fmla="*/ 2641161 h 7458372"/>
              <a:gd name="connsiteX28174" fmla="*/ 8072297 w 10505529"/>
              <a:gd name="connsiteY28174" fmla="*/ 2650612 h 7458372"/>
              <a:gd name="connsiteX28175" fmla="*/ 8082281 w 10505529"/>
              <a:gd name="connsiteY28175" fmla="*/ 2654073 h 7458372"/>
              <a:gd name="connsiteX28176" fmla="*/ 8087605 w 10505529"/>
              <a:gd name="connsiteY28176" fmla="*/ 2653141 h 7458372"/>
              <a:gd name="connsiteX28177" fmla="*/ 8091332 w 10505529"/>
              <a:gd name="connsiteY28177" fmla="*/ 2650745 h 7458372"/>
              <a:gd name="connsiteX28178" fmla="*/ 8093994 w 10505529"/>
              <a:gd name="connsiteY28178" fmla="*/ 2646486 h 7458372"/>
              <a:gd name="connsiteX28179" fmla="*/ 8094926 w 10505529"/>
              <a:gd name="connsiteY28179" fmla="*/ 2641028 h 7458372"/>
              <a:gd name="connsiteX28180" fmla="*/ 8093994 w 10505529"/>
              <a:gd name="connsiteY28180" fmla="*/ 2635836 h 7458372"/>
              <a:gd name="connsiteX28181" fmla="*/ 8091332 w 10505529"/>
              <a:gd name="connsiteY28181" fmla="*/ 2631711 h 7458372"/>
              <a:gd name="connsiteX28182" fmla="*/ 8087338 w 10505529"/>
              <a:gd name="connsiteY28182" fmla="*/ 2629047 h 7458372"/>
              <a:gd name="connsiteX28183" fmla="*/ 8082281 w 10505529"/>
              <a:gd name="connsiteY28183" fmla="*/ 2628116 h 7458372"/>
              <a:gd name="connsiteX28184" fmla="*/ 7864636 w 10505529"/>
              <a:gd name="connsiteY28184" fmla="*/ 2628116 h 7458372"/>
              <a:gd name="connsiteX28185" fmla="*/ 7854652 w 10505529"/>
              <a:gd name="connsiteY28185" fmla="*/ 2631711 h 7458372"/>
              <a:gd name="connsiteX28186" fmla="*/ 7851058 w 10505529"/>
              <a:gd name="connsiteY28186" fmla="*/ 2641161 h 7458372"/>
              <a:gd name="connsiteX28187" fmla="*/ 7854652 w 10505529"/>
              <a:gd name="connsiteY28187" fmla="*/ 2650612 h 7458372"/>
              <a:gd name="connsiteX28188" fmla="*/ 7864636 w 10505529"/>
              <a:gd name="connsiteY28188" fmla="*/ 2654073 h 7458372"/>
              <a:gd name="connsiteX28189" fmla="*/ 7869961 w 10505529"/>
              <a:gd name="connsiteY28189" fmla="*/ 2653141 h 7458372"/>
              <a:gd name="connsiteX28190" fmla="*/ 7873687 w 10505529"/>
              <a:gd name="connsiteY28190" fmla="*/ 2650745 h 7458372"/>
              <a:gd name="connsiteX28191" fmla="*/ 7876350 w 10505529"/>
              <a:gd name="connsiteY28191" fmla="*/ 2646486 h 7458372"/>
              <a:gd name="connsiteX28192" fmla="*/ 7877282 w 10505529"/>
              <a:gd name="connsiteY28192" fmla="*/ 2641028 h 7458372"/>
              <a:gd name="connsiteX28193" fmla="*/ 7876350 w 10505529"/>
              <a:gd name="connsiteY28193" fmla="*/ 2635836 h 7458372"/>
              <a:gd name="connsiteX28194" fmla="*/ 7873687 w 10505529"/>
              <a:gd name="connsiteY28194" fmla="*/ 2631711 h 7458372"/>
              <a:gd name="connsiteX28195" fmla="*/ 7869694 w 10505529"/>
              <a:gd name="connsiteY28195" fmla="*/ 2629047 h 7458372"/>
              <a:gd name="connsiteX28196" fmla="*/ 7864636 w 10505529"/>
              <a:gd name="connsiteY28196" fmla="*/ 2628116 h 7458372"/>
              <a:gd name="connsiteX28197" fmla="*/ 7646991 w 10505529"/>
              <a:gd name="connsiteY28197" fmla="*/ 2628116 h 7458372"/>
              <a:gd name="connsiteX28198" fmla="*/ 7637007 w 10505529"/>
              <a:gd name="connsiteY28198" fmla="*/ 2631711 h 7458372"/>
              <a:gd name="connsiteX28199" fmla="*/ 7633413 w 10505529"/>
              <a:gd name="connsiteY28199" fmla="*/ 2641161 h 7458372"/>
              <a:gd name="connsiteX28200" fmla="*/ 7637007 w 10505529"/>
              <a:gd name="connsiteY28200" fmla="*/ 2650612 h 7458372"/>
              <a:gd name="connsiteX28201" fmla="*/ 7646991 w 10505529"/>
              <a:gd name="connsiteY28201" fmla="*/ 2654073 h 7458372"/>
              <a:gd name="connsiteX28202" fmla="*/ 7652315 w 10505529"/>
              <a:gd name="connsiteY28202" fmla="*/ 2653141 h 7458372"/>
              <a:gd name="connsiteX28203" fmla="*/ 7656042 w 10505529"/>
              <a:gd name="connsiteY28203" fmla="*/ 2650745 h 7458372"/>
              <a:gd name="connsiteX28204" fmla="*/ 7658705 w 10505529"/>
              <a:gd name="connsiteY28204" fmla="*/ 2646486 h 7458372"/>
              <a:gd name="connsiteX28205" fmla="*/ 7659769 w 10505529"/>
              <a:gd name="connsiteY28205" fmla="*/ 2641028 h 7458372"/>
              <a:gd name="connsiteX28206" fmla="*/ 7658705 w 10505529"/>
              <a:gd name="connsiteY28206" fmla="*/ 2635836 h 7458372"/>
              <a:gd name="connsiteX28207" fmla="*/ 7656042 w 10505529"/>
              <a:gd name="connsiteY28207" fmla="*/ 2631711 h 7458372"/>
              <a:gd name="connsiteX28208" fmla="*/ 7652049 w 10505529"/>
              <a:gd name="connsiteY28208" fmla="*/ 2629047 h 7458372"/>
              <a:gd name="connsiteX28209" fmla="*/ 7646991 w 10505529"/>
              <a:gd name="connsiteY28209" fmla="*/ 2628116 h 7458372"/>
              <a:gd name="connsiteX28210" fmla="*/ 7429345 w 10505529"/>
              <a:gd name="connsiteY28210" fmla="*/ 2628116 h 7458372"/>
              <a:gd name="connsiteX28211" fmla="*/ 7419361 w 10505529"/>
              <a:gd name="connsiteY28211" fmla="*/ 2631711 h 7458372"/>
              <a:gd name="connsiteX28212" fmla="*/ 7415768 w 10505529"/>
              <a:gd name="connsiteY28212" fmla="*/ 2641161 h 7458372"/>
              <a:gd name="connsiteX28213" fmla="*/ 7419361 w 10505529"/>
              <a:gd name="connsiteY28213" fmla="*/ 2650612 h 7458372"/>
              <a:gd name="connsiteX28214" fmla="*/ 7429345 w 10505529"/>
              <a:gd name="connsiteY28214" fmla="*/ 2654073 h 7458372"/>
              <a:gd name="connsiteX28215" fmla="*/ 7434670 w 10505529"/>
              <a:gd name="connsiteY28215" fmla="*/ 2653141 h 7458372"/>
              <a:gd name="connsiteX28216" fmla="*/ 7438397 w 10505529"/>
              <a:gd name="connsiteY28216" fmla="*/ 2650745 h 7458372"/>
              <a:gd name="connsiteX28217" fmla="*/ 7441059 w 10505529"/>
              <a:gd name="connsiteY28217" fmla="*/ 2646486 h 7458372"/>
              <a:gd name="connsiteX28218" fmla="*/ 7442124 w 10505529"/>
              <a:gd name="connsiteY28218" fmla="*/ 2641028 h 7458372"/>
              <a:gd name="connsiteX28219" fmla="*/ 7441059 w 10505529"/>
              <a:gd name="connsiteY28219" fmla="*/ 2635836 h 7458372"/>
              <a:gd name="connsiteX28220" fmla="*/ 7438397 w 10505529"/>
              <a:gd name="connsiteY28220" fmla="*/ 2631711 h 7458372"/>
              <a:gd name="connsiteX28221" fmla="*/ 7434403 w 10505529"/>
              <a:gd name="connsiteY28221" fmla="*/ 2629047 h 7458372"/>
              <a:gd name="connsiteX28222" fmla="*/ 7429345 w 10505529"/>
              <a:gd name="connsiteY28222" fmla="*/ 2628116 h 7458372"/>
              <a:gd name="connsiteX28223" fmla="*/ 7211701 w 10505529"/>
              <a:gd name="connsiteY28223" fmla="*/ 2628116 h 7458372"/>
              <a:gd name="connsiteX28224" fmla="*/ 7201717 w 10505529"/>
              <a:gd name="connsiteY28224" fmla="*/ 2631711 h 7458372"/>
              <a:gd name="connsiteX28225" fmla="*/ 7198123 w 10505529"/>
              <a:gd name="connsiteY28225" fmla="*/ 2641161 h 7458372"/>
              <a:gd name="connsiteX28226" fmla="*/ 7201717 w 10505529"/>
              <a:gd name="connsiteY28226" fmla="*/ 2650612 h 7458372"/>
              <a:gd name="connsiteX28227" fmla="*/ 7211701 w 10505529"/>
              <a:gd name="connsiteY28227" fmla="*/ 2654073 h 7458372"/>
              <a:gd name="connsiteX28228" fmla="*/ 7217026 w 10505529"/>
              <a:gd name="connsiteY28228" fmla="*/ 2653141 h 7458372"/>
              <a:gd name="connsiteX28229" fmla="*/ 7220752 w 10505529"/>
              <a:gd name="connsiteY28229" fmla="*/ 2650745 h 7458372"/>
              <a:gd name="connsiteX28230" fmla="*/ 7223415 w 10505529"/>
              <a:gd name="connsiteY28230" fmla="*/ 2646486 h 7458372"/>
              <a:gd name="connsiteX28231" fmla="*/ 7224480 w 10505529"/>
              <a:gd name="connsiteY28231" fmla="*/ 2641028 h 7458372"/>
              <a:gd name="connsiteX28232" fmla="*/ 7223415 w 10505529"/>
              <a:gd name="connsiteY28232" fmla="*/ 2635836 h 7458372"/>
              <a:gd name="connsiteX28233" fmla="*/ 7220752 w 10505529"/>
              <a:gd name="connsiteY28233" fmla="*/ 2631711 h 7458372"/>
              <a:gd name="connsiteX28234" fmla="*/ 7216759 w 10505529"/>
              <a:gd name="connsiteY28234" fmla="*/ 2629047 h 7458372"/>
              <a:gd name="connsiteX28235" fmla="*/ 7211701 w 10505529"/>
              <a:gd name="connsiteY28235" fmla="*/ 2628116 h 7458372"/>
              <a:gd name="connsiteX28236" fmla="*/ 6994056 w 10505529"/>
              <a:gd name="connsiteY28236" fmla="*/ 2628116 h 7458372"/>
              <a:gd name="connsiteX28237" fmla="*/ 6984072 w 10505529"/>
              <a:gd name="connsiteY28237" fmla="*/ 2631711 h 7458372"/>
              <a:gd name="connsiteX28238" fmla="*/ 6980478 w 10505529"/>
              <a:gd name="connsiteY28238" fmla="*/ 2641161 h 7458372"/>
              <a:gd name="connsiteX28239" fmla="*/ 6984072 w 10505529"/>
              <a:gd name="connsiteY28239" fmla="*/ 2650612 h 7458372"/>
              <a:gd name="connsiteX28240" fmla="*/ 6994056 w 10505529"/>
              <a:gd name="connsiteY28240" fmla="*/ 2654073 h 7458372"/>
              <a:gd name="connsiteX28241" fmla="*/ 6999380 w 10505529"/>
              <a:gd name="connsiteY28241" fmla="*/ 2653141 h 7458372"/>
              <a:gd name="connsiteX28242" fmla="*/ 7003107 w 10505529"/>
              <a:gd name="connsiteY28242" fmla="*/ 2650745 h 7458372"/>
              <a:gd name="connsiteX28243" fmla="*/ 7005769 w 10505529"/>
              <a:gd name="connsiteY28243" fmla="*/ 2646486 h 7458372"/>
              <a:gd name="connsiteX28244" fmla="*/ 7006834 w 10505529"/>
              <a:gd name="connsiteY28244" fmla="*/ 2641028 h 7458372"/>
              <a:gd name="connsiteX28245" fmla="*/ 7005769 w 10505529"/>
              <a:gd name="connsiteY28245" fmla="*/ 2635836 h 7458372"/>
              <a:gd name="connsiteX28246" fmla="*/ 7003107 w 10505529"/>
              <a:gd name="connsiteY28246" fmla="*/ 2631711 h 7458372"/>
              <a:gd name="connsiteX28247" fmla="*/ 6999113 w 10505529"/>
              <a:gd name="connsiteY28247" fmla="*/ 2629047 h 7458372"/>
              <a:gd name="connsiteX28248" fmla="*/ 6994056 w 10505529"/>
              <a:gd name="connsiteY28248" fmla="*/ 2628116 h 7458372"/>
              <a:gd name="connsiteX28249" fmla="*/ 6776544 w 10505529"/>
              <a:gd name="connsiteY28249" fmla="*/ 2628116 h 7458372"/>
              <a:gd name="connsiteX28250" fmla="*/ 6766560 w 10505529"/>
              <a:gd name="connsiteY28250" fmla="*/ 2631711 h 7458372"/>
              <a:gd name="connsiteX28251" fmla="*/ 6762966 w 10505529"/>
              <a:gd name="connsiteY28251" fmla="*/ 2641161 h 7458372"/>
              <a:gd name="connsiteX28252" fmla="*/ 6766560 w 10505529"/>
              <a:gd name="connsiteY28252" fmla="*/ 2650612 h 7458372"/>
              <a:gd name="connsiteX28253" fmla="*/ 6776544 w 10505529"/>
              <a:gd name="connsiteY28253" fmla="*/ 2654073 h 7458372"/>
              <a:gd name="connsiteX28254" fmla="*/ 6781869 w 10505529"/>
              <a:gd name="connsiteY28254" fmla="*/ 2653141 h 7458372"/>
              <a:gd name="connsiteX28255" fmla="*/ 6785595 w 10505529"/>
              <a:gd name="connsiteY28255" fmla="*/ 2650745 h 7458372"/>
              <a:gd name="connsiteX28256" fmla="*/ 6788258 w 10505529"/>
              <a:gd name="connsiteY28256" fmla="*/ 2646486 h 7458372"/>
              <a:gd name="connsiteX28257" fmla="*/ 6789323 w 10505529"/>
              <a:gd name="connsiteY28257" fmla="*/ 2641028 h 7458372"/>
              <a:gd name="connsiteX28258" fmla="*/ 6788258 w 10505529"/>
              <a:gd name="connsiteY28258" fmla="*/ 2635836 h 7458372"/>
              <a:gd name="connsiteX28259" fmla="*/ 6785595 w 10505529"/>
              <a:gd name="connsiteY28259" fmla="*/ 2631711 h 7458372"/>
              <a:gd name="connsiteX28260" fmla="*/ 6781602 w 10505529"/>
              <a:gd name="connsiteY28260" fmla="*/ 2629047 h 7458372"/>
              <a:gd name="connsiteX28261" fmla="*/ 6776544 w 10505529"/>
              <a:gd name="connsiteY28261" fmla="*/ 2628116 h 7458372"/>
              <a:gd name="connsiteX28262" fmla="*/ 6558899 w 10505529"/>
              <a:gd name="connsiteY28262" fmla="*/ 2628116 h 7458372"/>
              <a:gd name="connsiteX28263" fmla="*/ 6548915 w 10505529"/>
              <a:gd name="connsiteY28263" fmla="*/ 2631711 h 7458372"/>
              <a:gd name="connsiteX28264" fmla="*/ 6545321 w 10505529"/>
              <a:gd name="connsiteY28264" fmla="*/ 2641161 h 7458372"/>
              <a:gd name="connsiteX28265" fmla="*/ 6548915 w 10505529"/>
              <a:gd name="connsiteY28265" fmla="*/ 2650612 h 7458372"/>
              <a:gd name="connsiteX28266" fmla="*/ 6558899 w 10505529"/>
              <a:gd name="connsiteY28266" fmla="*/ 2654073 h 7458372"/>
              <a:gd name="connsiteX28267" fmla="*/ 6564223 w 10505529"/>
              <a:gd name="connsiteY28267" fmla="*/ 2653141 h 7458372"/>
              <a:gd name="connsiteX28268" fmla="*/ 6567950 w 10505529"/>
              <a:gd name="connsiteY28268" fmla="*/ 2650745 h 7458372"/>
              <a:gd name="connsiteX28269" fmla="*/ 6570612 w 10505529"/>
              <a:gd name="connsiteY28269" fmla="*/ 2646486 h 7458372"/>
              <a:gd name="connsiteX28270" fmla="*/ 6571677 w 10505529"/>
              <a:gd name="connsiteY28270" fmla="*/ 2641028 h 7458372"/>
              <a:gd name="connsiteX28271" fmla="*/ 6570612 w 10505529"/>
              <a:gd name="connsiteY28271" fmla="*/ 2635836 h 7458372"/>
              <a:gd name="connsiteX28272" fmla="*/ 6567950 w 10505529"/>
              <a:gd name="connsiteY28272" fmla="*/ 2631711 h 7458372"/>
              <a:gd name="connsiteX28273" fmla="*/ 6563956 w 10505529"/>
              <a:gd name="connsiteY28273" fmla="*/ 2629047 h 7458372"/>
              <a:gd name="connsiteX28274" fmla="*/ 6558899 w 10505529"/>
              <a:gd name="connsiteY28274" fmla="*/ 2628116 h 7458372"/>
              <a:gd name="connsiteX28275" fmla="*/ 6341253 w 10505529"/>
              <a:gd name="connsiteY28275" fmla="*/ 2628116 h 7458372"/>
              <a:gd name="connsiteX28276" fmla="*/ 6331270 w 10505529"/>
              <a:gd name="connsiteY28276" fmla="*/ 2631711 h 7458372"/>
              <a:gd name="connsiteX28277" fmla="*/ 6327675 w 10505529"/>
              <a:gd name="connsiteY28277" fmla="*/ 2641161 h 7458372"/>
              <a:gd name="connsiteX28278" fmla="*/ 6331270 w 10505529"/>
              <a:gd name="connsiteY28278" fmla="*/ 2650612 h 7458372"/>
              <a:gd name="connsiteX28279" fmla="*/ 6341253 w 10505529"/>
              <a:gd name="connsiteY28279" fmla="*/ 2654073 h 7458372"/>
              <a:gd name="connsiteX28280" fmla="*/ 6346578 w 10505529"/>
              <a:gd name="connsiteY28280" fmla="*/ 2653141 h 7458372"/>
              <a:gd name="connsiteX28281" fmla="*/ 6350305 w 10505529"/>
              <a:gd name="connsiteY28281" fmla="*/ 2650745 h 7458372"/>
              <a:gd name="connsiteX28282" fmla="*/ 6352968 w 10505529"/>
              <a:gd name="connsiteY28282" fmla="*/ 2646486 h 7458372"/>
              <a:gd name="connsiteX28283" fmla="*/ 6354033 w 10505529"/>
              <a:gd name="connsiteY28283" fmla="*/ 2641028 h 7458372"/>
              <a:gd name="connsiteX28284" fmla="*/ 6352968 w 10505529"/>
              <a:gd name="connsiteY28284" fmla="*/ 2635836 h 7458372"/>
              <a:gd name="connsiteX28285" fmla="*/ 6350305 w 10505529"/>
              <a:gd name="connsiteY28285" fmla="*/ 2631711 h 7458372"/>
              <a:gd name="connsiteX28286" fmla="*/ 6346312 w 10505529"/>
              <a:gd name="connsiteY28286" fmla="*/ 2629047 h 7458372"/>
              <a:gd name="connsiteX28287" fmla="*/ 6341253 w 10505529"/>
              <a:gd name="connsiteY28287" fmla="*/ 2628116 h 7458372"/>
              <a:gd name="connsiteX28288" fmla="*/ 6123608 w 10505529"/>
              <a:gd name="connsiteY28288" fmla="*/ 2628116 h 7458372"/>
              <a:gd name="connsiteX28289" fmla="*/ 6113624 w 10505529"/>
              <a:gd name="connsiteY28289" fmla="*/ 2631711 h 7458372"/>
              <a:gd name="connsiteX28290" fmla="*/ 6110030 w 10505529"/>
              <a:gd name="connsiteY28290" fmla="*/ 2641161 h 7458372"/>
              <a:gd name="connsiteX28291" fmla="*/ 6113624 w 10505529"/>
              <a:gd name="connsiteY28291" fmla="*/ 2650612 h 7458372"/>
              <a:gd name="connsiteX28292" fmla="*/ 6123608 w 10505529"/>
              <a:gd name="connsiteY28292" fmla="*/ 2654073 h 7458372"/>
              <a:gd name="connsiteX28293" fmla="*/ 6128932 w 10505529"/>
              <a:gd name="connsiteY28293" fmla="*/ 2653141 h 7458372"/>
              <a:gd name="connsiteX28294" fmla="*/ 6132659 w 10505529"/>
              <a:gd name="connsiteY28294" fmla="*/ 2650745 h 7458372"/>
              <a:gd name="connsiteX28295" fmla="*/ 6135322 w 10505529"/>
              <a:gd name="connsiteY28295" fmla="*/ 2646486 h 7458372"/>
              <a:gd name="connsiteX28296" fmla="*/ 6136387 w 10505529"/>
              <a:gd name="connsiteY28296" fmla="*/ 2641028 h 7458372"/>
              <a:gd name="connsiteX28297" fmla="*/ 6135322 w 10505529"/>
              <a:gd name="connsiteY28297" fmla="*/ 2635836 h 7458372"/>
              <a:gd name="connsiteX28298" fmla="*/ 6132659 w 10505529"/>
              <a:gd name="connsiteY28298" fmla="*/ 2631711 h 7458372"/>
              <a:gd name="connsiteX28299" fmla="*/ 6128666 w 10505529"/>
              <a:gd name="connsiteY28299" fmla="*/ 2629047 h 7458372"/>
              <a:gd name="connsiteX28300" fmla="*/ 6123608 w 10505529"/>
              <a:gd name="connsiteY28300" fmla="*/ 2628116 h 7458372"/>
              <a:gd name="connsiteX28301" fmla="*/ 5905963 w 10505529"/>
              <a:gd name="connsiteY28301" fmla="*/ 2628116 h 7458372"/>
              <a:gd name="connsiteX28302" fmla="*/ 5895979 w 10505529"/>
              <a:gd name="connsiteY28302" fmla="*/ 2631711 h 7458372"/>
              <a:gd name="connsiteX28303" fmla="*/ 5892385 w 10505529"/>
              <a:gd name="connsiteY28303" fmla="*/ 2641161 h 7458372"/>
              <a:gd name="connsiteX28304" fmla="*/ 5895979 w 10505529"/>
              <a:gd name="connsiteY28304" fmla="*/ 2650612 h 7458372"/>
              <a:gd name="connsiteX28305" fmla="*/ 5905963 w 10505529"/>
              <a:gd name="connsiteY28305" fmla="*/ 2654073 h 7458372"/>
              <a:gd name="connsiteX28306" fmla="*/ 5911287 w 10505529"/>
              <a:gd name="connsiteY28306" fmla="*/ 2653141 h 7458372"/>
              <a:gd name="connsiteX28307" fmla="*/ 5915014 w 10505529"/>
              <a:gd name="connsiteY28307" fmla="*/ 2650745 h 7458372"/>
              <a:gd name="connsiteX28308" fmla="*/ 5917677 w 10505529"/>
              <a:gd name="connsiteY28308" fmla="*/ 2646486 h 7458372"/>
              <a:gd name="connsiteX28309" fmla="*/ 5918742 w 10505529"/>
              <a:gd name="connsiteY28309" fmla="*/ 2641028 h 7458372"/>
              <a:gd name="connsiteX28310" fmla="*/ 5917677 w 10505529"/>
              <a:gd name="connsiteY28310" fmla="*/ 2635836 h 7458372"/>
              <a:gd name="connsiteX28311" fmla="*/ 5915014 w 10505529"/>
              <a:gd name="connsiteY28311" fmla="*/ 2631711 h 7458372"/>
              <a:gd name="connsiteX28312" fmla="*/ 5911021 w 10505529"/>
              <a:gd name="connsiteY28312" fmla="*/ 2629047 h 7458372"/>
              <a:gd name="connsiteX28313" fmla="*/ 5905963 w 10505529"/>
              <a:gd name="connsiteY28313" fmla="*/ 2628116 h 7458372"/>
              <a:gd name="connsiteX28314" fmla="*/ 5688451 w 10505529"/>
              <a:gd name="connsiteY28314" fmla="*/ 2628116 h 7458372"/>
              <a:gd name="connsiteX28315" fmla="*/ 5678467 w 10505529"/>
              <a:gd name="connsiteY28315" fmla="*/ 2631711 h 7458372"/>
              <a:gd name="connsiteX28316" fmla="*/ 5674873 w 10505529"/>
              <a:gd name="connsiteY28316" fmla="*/ 2641161 h 7458372"/>
              <a:gd name="connsiteX28317" fmla="*/ 5678467 w 10505529"/>
              <a:gd name="connsiteY28317" fmla="*/ 2650612 h 7458372"/>
              <a:gd name="connsiteX28318" fmla="*/ 5688451 w 10505529"/>
              <a:gd name="connsiteY28318" fmla="*/ 2654073 h 7458372"/>
              <a:gd name="connsiteX28319" fmla="*/ 5693775 w 10505529"/>
              <a:gd name="connsiteY28319" fmla="*/ 2653141 h 7458372"/>
              <a:gd name="connsiteX28320" fmla="*/ 5697502 w 10505529"/>
              <a:gd name="connsiteY28320" fmla="*/ 2650745 h 7458372"/>
              <a:gd name="connsiteX28321" fmla="*/ 5700165 w 10505529"/>
              <a:gd name="connsiteY28321" fmla="*/ 2646486 h 7458372"/>
              <a:gd name="connsiteX28322" fmla="*/ 5701230 w 10505529"/>
              <a:gd name="connsiteY28322" fmla="*/ 2641028 h 7458372"/>
              <a:gd name="connsiteX28323" fmla="*/ 5700165 w 10505529"/>
              <a:gd name="connsiteY28323" fmla="*/ 2635836 h 7458372"/>
              <a:gd name="connsiteX28324" fmla="*/ 5697502 w 10505529"/>
              <a:gd name="connsiteY28324" fmla="*/ 2631711 h 7458372"/>
              <a:gd name="connsiteX28325" fmla="*/ 5693509 w 10505529"/>
              <a:gd name="connsiteY28325" fmla="*/ 2629047 h 7458372"/>
              <a:gd name="connsiteX28326" fmla="*/ 5688451 w 10505529"/>
              <a:gd name="connsiteY28326" fmla="*/ 2628116 h 7458372"/>
              <a:gd name="connsiteX28327" fmla="*/ 5470806 w 10505529"/>
              <a:gd name="connsiteY28327" fmla="*/ 2628116 h 7458372"/>
              <a:gd name="connsiteX28328" fmla="*/ 5460822 w 10505529"/>
              <a:gd name="connsiteY28328" fmla="*/ 2631711 h 7458372"/>
              <a:gd name="connsiteX28329" fmla="*/ 5457228 w 10505529"/>
              <a:gd name="connsiteY28329" fmla="*/ 2641161 h 7458372"/>
              <a:gd name="connsiteX28330" fmla="*/ 5460822 w 10505529"/>
              <a:gd name="connsiteY28330" fmla="*/ 2650612 h 7458372"/>
              <a:gd name="connsiteX28331" fmla="*/ 5470806 w 10505529"/>
              <a:gd name="connsiteY28331" fmla="*/ 2654073 h 7458372"/>
              <a:gd name="connsiteX28332" fmla="*/ 5476130 w 10505529"/>
              <a:gd name="connsiteY28332" fmla="*/ 2653141 h 7458372"/>
              <a:gd name="connsiteX28333" fmla="*/ 5479857 w 10505529"/>
              <a:gd name="connsiteY28333" fmla="*/ 2650745 h 7458372"/>
              <a:gd name="connsiteX28334" fmla="*/ 5482520 w 10505529"/>
              <a:gd name="connsiteY28334" fmla="*/ 2646486 h 7458372"/>
              <a:gd name="connsiteX28335" fmla="*/ 5483585 w 10505529"/>
              <a:gd name="connsiteY28335" fmla="*/ 2641028 h 7458372"/>
              <a:gd name="connsiteX28336" fmla="*/ 5482520 w 10505529"/>
              <a:gd name="connsiteY28336" fmla="*/ 2635836 h 7458372"/>
              <a:gd name="connsiteX28337" fmla="*/ 5479857 w 10505529"/>
              <a:gd name="connsiteY28337" fmla="*/ 2631711 h 7458372"/>
              <a:gd name="connsiteX28338" fmla="*/ 5475864 w 10505529"/>
              <a:gd name="connsiteY28338" fmla="*/ 2629047 h 7458372"/>
              <a:gd name="connsiteX28339" fmla="*/ 5470806 w 10505529"/>
              <a:gd name="connsiteY28339" fmla="*/ 2628116 h 7458372"/>
              <a:gd name="connsiteX28340" fmla="*/ 5253160 w 10505529"/>
              <a:gd name="connsiteY28340" fmla="*/ 2628116 h 7458372"/>
              <a:gd name="connsiteX28341" fmla="*/ 5243177 w 10505529"/>
              <a:gd name="connsiteY28341" fmla="*/ 2631711 h 7458372"/>
              <a:gd name="connsiteX28342" fmla="*/ 5239583 w 10505529"/>
              <a:gd name="connsiteY28342" fmla="*/ 2641161 h 7458372"/>
              <a:gd name="connsiteX28343" fmla="*/ 5243177 w 10505529"/>
              <a:gd name="connsiteY28343" fmla="*/ 2650612 h 7458372"/>
              <a:gd name="connsiteX28344" fmla="*/ 5253160 w 10505529"/>
              <a:gd name="connsiteY28344" fmla="*/ 2654073 h 7458372"/>
              <a:gd name="connsiteX28345" fmla="*/ 5258485 w 10505529"/>
              <a:gd name="connsiteY28345" fmla="*/ 2653141 h 7458372"/>
              <a:gd name="connsiteX28346" fmla="*/ 5262212 w 10505529"/>
              <a:gd name="connsiteY28346" fmla="*/ 2650745 h 7458372"/>
              <a:gd name="connsiteX28347" fmla="*/ 5264875 w 10505529"/>
              <a:gd name="connsiteY28347" fmla="*/ 2646486 h 7458372"/>
              <a:gd name="connsiteX28348" fmla="*/ 5265939 w 10505529"/>
              <a:gd name="connsiteY28348" fmla="*/ 2641028 h 7458372"/>
              <a:gd name="connsiteX28349" fmla="*/ 5264875 w 10505529"/>
              <a:gd name="connsiteY28349" fmla="*/ 2635836 h 7458372"/>
              <a:gd name="connsiteX28350" fmla="*/ 5262212 w 10505529"/>
              <a:gd name="connsiteY28350" fmla="*/ 2631711 h 7458372"/>
              <a:gd name="connsiteX28351" fmla="*/ 5258219 w 10505529"/>
              <a:gd name="connsiteY28351" fmla="*/ 2629047 h 7458372"/>
              <a:gd name="connsiteX28352" fmla="*/ 5253160 w 10505529"/>
              <a:gd name="connsiteY28352" fmla="*/ 2628116 h 7458372"/>
              <a:gd name="connsiteX28353" fmla="*/ 5035515 w 10505529"/>
              <a:gd name="connsiteY28353" fmla="*/ 2628116 h 7458372"/>
              <a:gd name="connsiteX28354" fmla="*/ 5025532 w 10505529"/>
              <a:gd name="connsiteY28354" fmla="*/ 2631711 h 7458372"/>
              <a:gd name="connsiteX28355" fmla="*/ 5021938 w 10505529"/>
              <a:gd name="connsiteY28355" fmla="*/ 2641161 h 7458372"/>
              <a:gd name="connsiteX28356" fmla="*/ 5025532 w 10505529"/>
              <a:gd name="connsiteY28356" fmla="*/ 2650612 h 7458372"/>
              <a:gd name="connsiteX28357" fmla="*/ 5035515 w 10505529"/>
              <a:gd name="connsiteY28357" fmla="*/ 2654073 h 7458372"/>
              <a:gd name="connsiteX28358" fmla="*/ 5040840 w 10505529"/>
              <a:gd name="connsiteY28358" fmla="*/ 2653141 h 7458372"/>
              <a:gd name="connsiteX28359" fmla="*/ 5044567 w 10505529"/>
              <a:gd name="connsiteY28359" fmla="*/ 2650745 h 7458372"/>
              <a:gd name="connsiteX28360" fmla="*/ 5047230 w 10505529"/>
              <a:gd name="connsiteY28360" fmla="*/ 2646486 h 7458372"/>
              <a:gd name="connsiteX28361" fmla="*/ 5048294 w 10505529"/>
              <a:gd name="connsiteY28361" fmla="*/ 2641028 h 7458372"/>
              <a:gd name="connsiteX28362" fmla="*/ 5047230 w 10505529"/>
              <a:gd name="connsiteY28362" fmla="*/ 2635836 h 7458372"/>
              <a:gd name="connsiteX28363" fmla="*/ 5044567 w 10505529"/>
              <a:gd name="connsiteY28363" fmla="*/ 2631711 h 7458372"/>
              <a:gd name="connsiteX28364" fmla="*/ 5040574 w 10505529"/>
              <a:gd name="connsiteY28364" fmla="*/ 2629047 h 7458372"/>
              <a:gd name="connsiteX28365" fmla="*/ 5035515 w 10505529"/>
              <a:gd name="connsiteY28365" fmla="*/ 2628116 h 7458372"/>
              <a:gd name="connsiteX28366" fmla="*/ 4817870 w 10505529"/>
              <a:gd name="connsiteY28366" fmla="*/ 2628116 h 7458372"/>
              <a:gd name="connsiteX28367" fmla="*/ 4807887 w 10505529"/>
              <a:gd name="connsiteY28367" fmla="*/ 2631711 h 7458372"/>
              <a:gd name="connsiteX28368" fmla="*/ 4804293 w 10505529"/>
              <a:gd name="connsiteY28368" fmla="*/ 2641161 h 7458372"/>
              <a:gd name="connsiteX28369" fmla="*/ 4807887 w 10505529"/>
              <a:gd name="connsiteY28369" fmla="*/ 2650612 h 7458372"/>
              <a:gd name="connsiteX28370" fmla="*/ 4817870 w 10505529"/>
              <a:gd name="connsiteY28370" fmla="*/ 2654073 h 7458372"/>
              <a:gd name="connsiteX28371" fmla="*/ 4823195 w 10505529"/>
              <a:gd name="connsiteY28371" fmla="*/ 2653141 h 7458372"/>
              <a:gd name="connsiteX28372" fmla="*/ 4826922 w 10505529"/>
              <a:gd name="connsiteY28372" fmla="*/ 2650745 h 7458372"/>
              <a:gd name="connsiteX28373" fmla="*/ 4829585 w 10505529"/>
              <a:gd name="connsiteY28373" fmla="*/ 2646486 h 7458372"/>
              <a:gd name="connsiteX28374" fmla="*/ 4830650 w 10505529"/>
              <a:gd name="connsiteY28374" fmla="*/ 2641028 h 7458372"/>
              <a:gd name="connsiteX28375" fmla="*/ 4829585 w 10505529"/>
              <a:gd name="connsiteY28375" fmla="*/ 2635836 h 7458372"/>
              <a:gd name="connsiteX28376" fmla="*/ 4826922 w 10505529"/>
              <a:gd name="connsiteY28376" fmla="*/ 2631711 h 7458372"/>
              <a:gd name="connsiteX28377" fmla="*/ 4822929 w 10505529"/>
              <a:gd name="connsiteY28377" fmla="*/ 2629047 h 7458372"/>
              <a:gd name="connsiteX28378" fmla="*/ 4817870 w 10505529"/>
              <a:gd name="connsiteY28378" fmla="*/ 2628116 h 7458372"/>
              <a:gd name="connsiteX28379" fmla="*/ 4600226 w 10505529"/>
              <a:gd name="connsiteY28379" fmla="*/ 2628116 h 7458372"/>
              <a:gd name="connsiteX28380" fmla="*/ 4590242 w 10505529"/>
              <a:gd name="connsiteY28380" fmla="*/ 2631711 h 7458372"/>
              <a:gd name="connsiteX28381" fmla="*/ 4586648 w 10505529"/>
              <a:gd name="connsiteY28381" fmla="*/ 2641161 h 7458372"/>
              <a:gd name="connsiteX28382" fmla="*/ 4590242 w 10505529"/>
              <a:gd name="connsiteY28382" fmla="*/ 2650612 h 7458372"/>
              <a:gd name="connsiteX28383" fmla="*/ 4600226 w 10505529"/>
              <a:gd name="connsiteY28383" fmla="*/ 2654073 h 7458372"/>
              <a:gd name="connsiteX28384" fmla="*/ 4605550 w 10505529"/>
              <a:gd name="connsiteY28384" fmla="*/ 2653141 h 7458372"/>
              <a:gd name="connsiteX28385" fmla="*/ 4609277 w 10505529"/>
              <a:gd name="connsiteY28385" fmla="*/ 2650745 h 7458372"/>
              <a:gd name="connsiteX28386" fmla="*/ 4611940 w 10505529"/>
              <a:gd name="connsiteY28386" fmla="*/ 2646486 h 7458372"/>
              <a:gd name="connsiteX28387" fmla="*/ 4613005 w 10505529"/>
              <a:gd name="connsiteY28387" fmla="*/ 2641028 h 7458372"/>
              <a:gd name="connsiteX28388" fmla="*/ 4611940 w 10505529"/>
              <a:gd name="connsiteY28388" fmla="*/ 2635836 h 7458372"/>
              <a:gd name="connsiteX28389" fmla="*/ 4609277 w 10505529"/>
              <a:gd name="connsiteY28389" fmla="*/ 2631711 h 7458372"/>
              <a:gd name="connsiteX28390" fmla="*/ 4605284 w 10505529"/>
              <a:gd name="connsiteY28390" fmla="*/ 2629047 h 7458372"/>
              <a:gd name="connsiteX28391" fmla="*/ 4600226 w 10505529"/>
              <a:gd name="connsiteY28391" fmla="*/ 2628116 h 7458372"/>
              <a:gd name="connsiteX28392" fmla="*/ 4382713 w 10505529"/>
              <a:gd name="connsiteY28392" fmla="*/ 2628116 h 7458372"/>
              <a:gd name="connsiteX28393" fmla="*/ 4372730 w 10505529"/>
              <a:gd name="connsiteY28393" fmla="*/ 2631711 h 7458372"/>
              <a:gd name="connsiteX28394" fmla="*/ 4369136 w 10505529"/>
              <a:gd name="connsiteY28394" fmla="*/ 2641161 h 7458372"/>
              <a:gd name="connsiteX28395" fmla="*/ 4372730 w 10505529"/>
              <a:gd name="connsiteY28395" fmla="*/ 2650612 h 7458372"/>
              <a:gd name="connsiteX28396" fmla="*/ 4382713 w 10505529"/>
              <a:gd name="connsiteY28396" fmla="*/ 2654073 h 7458372"/>
              <a:gd name="connsiteX28397" fmla="*/ 4388038 w 10505529"/>
              <a:gd name="connsiteY28397" fmla="*/ 2653141 h 7458372"/>
              <a:gd name="connsiteX28398" fmla="*/ 4391765 w 10505529"/>
              <a:gd name="connsiteY28398" fmla="*/ 2650745 h 7458372"/>
              <a:gd name="connsiteX28399" fmla="*/ 4394428 w 10505529"/>
              <a:gd name="connsiteY28399" fmla="*/ 2646486 h 7458372"/>
              <a:gd name="connsiteX28400" fmla="*/ 4395493 w 10505529"/>
              <a:gd name="connsiteY28400" fmla="*/ 2641028 h 7458372"/>
              <a:gd name="connsiteX28401" fmla="*/ 4394428 w 10505529"/>
              <a:gd name="connsiteY28401" fmla="*/ 2635836 h 7458372"/>
              <a:gd name="connsiteX28402" fmla="*/ 4391765 w 10505529"/>
              <a:gd name="connsiteY28402" fmla="*/ 2631711 h 7458372"/>
              <a:gd name="connsiteX28403" fmla="*/ 4387772 w 10505529"/>
              <a:gd name="connsiteY28403" fmla="*/ 2629047 h 7458372"/>
              <a:gd name="connsiteX28404" fmla="*/ 4382713 w 10505529"/>
              <a:gd name="connsiteY28404" fmla="*/ 2628116 h 7458372"/>
              <a:gd name="connsiteX28405" fmla="*/ 4165068 w 10505529"/>
              <a:gd name="connsiteY28405" fmla="*/ 2628116 h 7458372"/>
              <a:gd name="connsiteX28406" fmla="*/ 4155084 w 10505529"/>
              <a:gd name="connsiteY28406" fmla="*/ 2631711 h 7458372"/>
              <a:gd name="connsiteX28407" fmla="*/ 4151490 w 10505529"/>
              <a:gd name="connsiteY28407" fmla="*/ 2641161 h 7458372"/>
              <a:gd name="connsiteX28408" fmla="*/ 4155084 w 10505529"/>
              <a:gd name="connsiteY28408" fmla="*/ 2650612 h 7458372"/>
              <a:gd name="connsiteX28409" fmla="*/ 4165068 w 10505529"/>
              <a:gd name="connsiteY28409" fmla="*/ 2654073 h 7458372"/>
              <a:gd name="connsiteX28410" fmla="*/ 4170392 w 10505529"/>
              <a:gd name="connsiteY28410" fmla="*/ 2653141 h 7458372"/>
              <a:gd name="connsiteX28411" fmla="*/ 4174119 w 10505529"/>
              <a:gd name="connsiteY28411" fmla="*/ 2650745 h 7458372"/>
              <a:gd name="connsiteX28412" fmla="*/ 4176782 w 10505529"/>
              <a:gd name="connsiteY28412" fmla="*/ 2646486 h 7458372"/>
              <a:gd name="connsiteX28413" fmla="*/ 4177847 w 10505529"/>
              <a:gd name="connsiteY28413" fmla="*/ 2641028 h 7458372"/>
              <a:gd name="connsiteX28414" fmla="*/ 4176782 w 10505529"/>
              <a:gd name="connsiteY28414" fmla="*/ 2635836 h 7458372"/>
              <a:gd name="connsiteX28415" fmla="*/ 4174119 w 10505529"/>
              <a:gd name="connsiteY28415" fmla="*/ 2631711 h 7458372"/>
              <a:gd name="connsiteX28416" fmla="*/ 4170126 w 10505529"/>
              <a:gd name="connsiteY28416" fmla="*/ 2629047 h 7458372"/>
              <a:gd name="connsiteX28417" fmla="*/ 4165068 w 10505529"/>
              <a:gd name="connsiteY28417" fmla="*/ 2628116 h 7458372"/>
              <a:gd name="connsiteX28418" fmla="*/ 3947570 w 10505529"/>
              <a:gd name="connsiteY28418" fmla="*/ 2628116 h 7458372"/>
              <a:gd name="connsiteX28419" fmla="*/ 3937587 w 10505529"/>
              <a:gd name="connsiteY28419" fmla="*/ 2631711 h 7458372"/>
              <a:gd name="connsiteX28420" fmla="*/ 3933992 w 10505529"/>
              <a:gd name="connsiteY28420" fmla="*/ 2641161 h 7458372"/>
              <a:gd name="connsiteX28421" fmla="*/ 3937587 w 10505529"/>
              <a:gd name="connsiteY28421" fmla="*/ 2650612 h 7458372"/>
              <a:gd name="connsiteX28422" fmla="*/ 3947570 w 10505529"/>
              <a:gd name="connsiteY28422" fmla="*/ 2654073 h 7458372"/>
              <a:gd name="connsiteX28423" fmla="*/ 3952896 w 10505529"/>
              <a:gd name="connsiteY28423" fmla="*/ 2653141 h 7458372"/>
              <a:gd name="connsiteX28424" fmla="*/ 3956623 w 10505529"/>
              <a:gd name="connsiteY28424" fmla="*/ 2650745 h 7458372"/>
              <a:gd name="connsiteX28425" fmla="*/ 3959286 w 10505529"/>
              <a:gd name="connsiteY28425" fmla="*/ 2646486 h 7458372"/>
              <a:gd name="connsiteX28426" fmla="*/ 3960351 w 10505529"/>
              <a:gd name="connsiteY28426" fmla="*/ 2641028 h 7458372"/>
              <a:gd name="connsiteX28427" fmla="*/ 3959286 w 10505529"/>
              <a:gd name="connsiteY28427" fmla="*/ 2635836 h 7458372"/>
              <a:gd name="connsiteX28428" fmla="*/ 3956623 w 10505529"/>
              <a:gd name="connsiteY28428" fmla="*/ 2631711 h 7458372"/>
              <a:gd name="connsiteX28429" fmla="*/ 3952629 w 10505529"/>
              <a:gd name="connsiteY28429" fmla="*/ 2629047 h 7458372"/>
              <a:gd name="connsiteX28430" fmla="*/ 3947570 w 10505529"/>
              <a:gd name="connsiteY28430" fmla="*/ 2628116 h 7458372"/>
              <a:gd name="connsiteX28431" fmla="*/ 3729918 w 10505529"/>
              <a:gd name="connsiteY28431" fmla="*/ 2628116 h 7458372"/>
              <a:gd name="connsiteX28432" fmla="*/ 3719932 w 10505529"/>
              <a:gd name="connsiteY28432" fmla="*/ 2631711 h 7458372"/>
              <a:gd name="connsiteX28433" fmla="*/ 3716340 w 10505529"/>
              <a:gd name="connsiteY28433" fmla="*/ 2641161 h 7458372"/>
              <a:gd name="connsiteX28434" fmla="*/ 3719932 w 10505529"/>
              <a:gd name="connsiteY28434" fmla="*/ 2650612 h 7458372"/>
              <a:gd name="connsiteX28435" fmla="*/ 3729918 w 10505529"/>
              <a:gd name="connsiteY28435" fmla="*/ 2654073 h 7458372"/>
              <a:gd name="connsiteX28436" fmla="*/ 3735243 w 10505529"/>
              <a:gd name="connsiteY28436" fmla="*/ 2653141 h 7458372"/>
              <a:gd name="connsiteX28437" fmla="*/ 3738970 w 10505529"/>
              <a:gd name="connsiteY28437" fmla="*/ 2650745 h 7458372"/>
              <a:gd name="connsiteX28438" fmla="*/ 3741633 w 10505529"/>
              <a:gd name="connsiteY28438" fmla="*/ 2646486 h 7458372"/>
              <a:gd name="connsiteX28439" fmla="*/ 3742697 w 10505529"/>
              <a:gd name="connsiteY28439" fmla="*/ 2641028 h 7458372"/>
              <a:gd name="connsiteX28440" fmla="*/ 3741633 w 10505529"/>
              <a:gd name="connsiteY28440" fmla="*/ 2635836 h 7458372"/>
              <a:gd name="connsiteX28441" fmla="*/ 3738970 w 10505529"/>
              <a:gd name="connsiteY28441" fmla="*/ 2631711 h 7458372"/>
              <a:gd name="connsiteX28442" fmla="*/ 3734977 w 10505529"/>
              <a:gd name="connsiteY28442" fmla="*/ 2629047 h 7458372"/>
              <a:gd name="connsiteX28443" fmla="*/ 3729918 w 10505529"/>
              <a:gd name="connsiteY28443" fmla="*/ 2628116 h 7458372"/>
              <a:gd name="connsiteX28444" fmla="*/ 3512265 w 10505529"/>
              <a:gd name="connsiteY28444" fmla="*/ 2628116 h 7458372"/>
              <a:gd name="connsiteX28445" fmla="*/ 3502279 w 10505529"/>
              <a:gd name="connsiteY28445" fmla="*/ 2631711 h 7458372"/>
              <a:gd name="connsiteX28446" fmla="*/ 3498686 w 10505529"/>
              <a:gd name="connsiteY28446" fmla="*/ 2641161 h 7458372"/>
              <a:gd name="connsiteX28447" fmla="*/ 3502279 w 10505529"/>
              <a:gd name="connsiteY28447" fmla="*/ 2650612 h 7458372"/>
              <a:gd name="connsiteX28448" fmla="*/ 3512265 w 10505529"/>
              <a:gd name="connsiteY28448" fmla="*/ 2654073 h 7458372"/>
              <a:gd name="connsiteX28449" fmla="*/ 3517590 w 10505529"/>
              <a:gd name="connsiteY28449" fmla="*/ 2653141 h 7458372"/>
              <a:gd name="connsiteX28450" fmla="*/ 3521317 w 10505529"/>
              <a:gd name="connsiteY28450" fmla="*/ 2650745 h 7458372"/>
              <a:gd name="connsiteX28451" fmla="*/ 3523981 w 10505529"/>
              <a:gd name="connsiteY28451" fmla="*/ 2646486 h 7458372"/>
              <a:gd name="connsiteX28452" fmla="*/ 3525046 w 10505529"/>
              <a:gd name="connsiteY28452" fmla="*/ 2641028 h 7458372"/>
              <a:gd name="connsiteX28453" fmla="*/ 3523981 w 10505529"/>
              <a:gd name="connsiteY28453" fmla="*/ 2635836 h 7458372"/>
              <a:gd name="connsiteX28454" fmla="*/ 3521317 w 10505529"/>
              <a:gd name="connsiteY28454" fmla="*/ 2631711 h 7458372"/>
              <a:gd name="connsiteX28455" fmla="*/ 3517324 w 10505529"/>
              <a:gd name="connsiteY28455" fmla="*/ 2629047 h 7458372"/>
              <a:gd name="connsiteX28456" fmla="*/ 3512265 w 10505529"/>
              <a:gd name="connsiteY28456" fmla="*/ 2628116 h 7458372"/>
              <a:gd name="connsiteX28457" fmla="*/ 3294745 w 10505529"/>
              <a:gd name="connsiteY28457" fmla="*/ 2628116 h 7458372"/>
              <a:gd name="connsiteX28458" fmla="*/ 3284761 w 10505529"/>
              <a:gd name="connsiteY28458" fmla="*/ 2631711 h 7458372"/>
              <a:gd name="connsiteX28459" fmla="*/ 3281167 w 10505529"/>
              <a:gd name="connsiteY28459" fmla="*/ 2641161 h 7458372"/>
              <a:gd name="connsiteX28460" fmla="*/ 3284761 w 10505529"/>
              <a:gd name="connsiteY28460" fmla="*/ 2650612 h 7458372"/>
              <a:gd name="connsiteX28461" fmla="*/ 3294745 w 10505529"/>
              <a:gd name="connsiteY28461" fmla="*/ 2654073 h 7458372"/>
              <a:gd name="connsiteX28462" fmla="*/ 3300071 w 10505529"/>
              <a:gd name="connsiteY28462" fmla="*/ 2653141 h 7458372"/>
              <a:gd name="connsiteX28463" fmla="*/ 3303798 w 10505529"/>
              <a:gd name="connsiteY28463" fmla="*/ 2650745 h 7458372"/>
              <a:gd name="connsiteX28464" fmla="*/ 3306461 w 10505529"/>
              <a:gd name="connsiteY28464" fmla="*/ 2646486 h 7458372"/>
              <a:gd name="connsiteX28465" fmla="*/ 3307525 w 10505529"/>
              <a:gd name="connsiteY28465" fmla="*/ 2641028 h 7458372"/>
              <a:gd name="connsiteX28466" fmla="*/ 3306461 w 10505529"/>
              <a:gd name="connsiteY28466" fmla="*/ 2635836 h 7458372"/>
              <a:gd name="connsiteX28467" fmla="*/ 3303798 w 10505529"/>
              <a:gd name="connsiteY28467" fmla="*/ 2631711 h 7458372"/>
              <a:gd name="connsiteX28468" fmla="*/ 3299805 w 10505529"/>
              <a:gd name="connsiteY28468" fmla="*/ 2629047 h 7458372"/>
              <a:gd name="connsiteX28469" fmla="*/ 3294745 w 10505529"/>
              <a:gd name="connsiteY28469" fmla="*/ 2628116 h 7458372"/>
              <a:gd name="connsiteX28470" fmla="*/ 3077226 w 10505529"/>
              <a:gd name="connsiteY28470" fmla="*/ 2628116 h 7458372"/>
              <a:gd name="connsiteX28471" fmla="*/ 3067243 w 10505529"/>
              <a:gd name="connsiteY28471" fmla="*/ 2631711 h 7458372"/>
              <a:gd name="connsiteX28472" fmla="*/ 3063514 w 10505529"/>
              <a:gd name="connsiteY28472" fmla="*/ 2641161 h 7458372"/>
              <a:gd name="connsiteX28473" fmla="*/ 3067108 w 10505529"/>
              <a:gd name="connsiteY28473" fmla="*/ 2650612 h 7458372"/>
              <a:gd name="connsiteX28474" fmla="*/ 3077093 w 10505529"/>
              <a:gd name="connsiteY28474" fmla="*/ 2654073 h 7458372"/>
              <a:gd name="connsiteX28475" fmla="*/ 3082551 w 10505529"/>
              <a:gd name="connsiteY28475" fmla="*/ 2653141 h 7458372"/>
              <a:gd name="connsiteX28476" fmla="*/ 3086278 w 10505529"/>
              <a:gd name="connsiteY28476" fmla="*/ 2650745 h 7458372"/>
              <a:gd name="connsiteX28477" fmla="*/ 3088941 w 10505529"/>
              <a:gd name="connsiteY28477" fmla="*/ 2646486 h 7458372"/>
              <a:gd name="connsiteX28478" fmla="*/ 3089873 w 10505529"/>
              <a:gd name="connsiteY28478" fmla="*/ 2641028 h 7458372"/>
              <a:gd name="connsiteX28479" fmla="*/ 3088941 w 10505529"/>
              <a:gd name="connsiteY28479" fmla="*/ 2635836 h 7458372"/>
              <a:gd name="connsiteX28480" fmla="*/ 3086278 w 10505529"/>
              <a:gd name="connsiteY28480" fmla="*/ 2631711 h 7458372"/>
              <a:gd name="connsiteX28481" fmla="*/ 3082285 w 10505529"/>
              <a:gd name="connsiteY28481" fmla="*/ 2629047 h 7458372"/>
              <a:gd name="connsiteX28482" fmla="*/ 3077226 w 10505529"/>
              <a:gd name="connsiteY28482" fmla="*/ 2628116 h 7458372"/>
              <a:gd name="connsiteX28483" fmla="*/ 2859440 w 10505529"/>
              <a:gd name="connsiteY28483" fmla="*/ 2628116 h 7458372"/>
              <a:gd name="connsiteX28484" fmla="*/ 2849455 w 10505529"/>
              <a:gd name="connsiteY28484" fmla="*/ 2631711 h 7458372"/>
              <a:gd name="connsiteX28485" fmla="*/ 2845860 w 10505529"/>
              <a:gd name="connsiteY28485" fmla="*/ 2641161 h 7458372"/>
              <a:gd name="connsiteX28486" fmla="*/ 2849455 w 10505529"/>
              <a:gd name="connsiteY28486" fmla="*/ 2650612 h 7458372"/>
              <a:gd name="connsiteX28487" fmla="*/ 2859440 w 10505529"/>
              <a:gd name="connsiteY28487" fmla="*/ 2654073 h 7458372"/>
              <a:gd name="connsiteX28488" fmla="*/ 2864765 w 10505529"/>
              <a:gd name="connsiteY28488" fmla="*/ 2653141 h 7458372"/>
              <a:gd name="connsiteX28489" fmla="*/ 2868492 w 10505529"/>
              <a:gd name="connsiteY28489" fmla="*/ 2650745 h 7458372"/>
              <a:gd name="connsiteX28490" fmla="*/ 2871155 w 10505529"/>
              <a:gd name="connsiteY28490" fmla="*/ 2646486 h 7458372"/>
              <a:gd name="connsiteX28491" fmla="*/ 2872086 w 10505529"/>
              <a:gd name="connsiteY28491" fmla="*/ 2641028 h 7458372"/>
              <a:gd name="connsiteX28492" fmla="*/ 2871155 w 10505529"/>
              <a:gd name="connsiteY28492" fmla="*/ 2635836 h 7458372"/>
              <a:gd name="connsiteX28493" fmla="*/ 2868492 w 10505529"/>
              <a:gd name="connsiteY28493" fmla="*/ 2631711 h 7458372"/>
              <a:gd name="connsiteX28494" fmla="*/ 2864500 w 10505529"/>
              <a:gd name="connsiteY28494" fmla="*/ 2629047 h 7458372"/>
              <a:gd name="connsiteX28495" fmla="*/ 2859440 w 10505529"/>
              <a:gd name="connsiteY28495" fmla="*/ 2628116 h 7458372"/>
              <a:gd name="connsiteX28496" fmla="*/ 2641787 w 10505529"/>
              <a:gd name="connsiteY28496" fmla="*/ 2628116 h 7458372"/>
              <a:gd name="connsiteX28497" fmla="*/ 2631804 w 10505529"/>
              <a:gd name="connsiteY28497" fmla="*/ 2631711 h 7458372"/>
              <a:gd name="connsiteX28498" fmla="*/ 2628210 w 10505529"/>
              <a:gd name="connsiteY28498" fmla="*/ 2641161 h 7458372"/>
              <a:gd name="connsiteX28499" fmla="*/ 2631804 w 10505529"/>
              <a:gd name="connsiteY28499" fmla="*/ 2650612 h 7458372"/>
              <a:gd name="connsiteX28500" fmla="*/ 2641787 w 10505529"/>
              <a:gd name="connsiteY28500" fmla="*/ 2654073 h 7458372"/>
              <a:gd name="connsiteX28501" fmla="*/ 2647113 w 10505529"/>
              <a:gd name="connsiteY28501" fmla="*/ 2653141 h 7458372"/>
              <a:gd name="connsiteX28502" fmla="*/ 2650840 w 10505529"/>
              <a:gd name="connsiteY28502" fmla="*/ 2650745 h 7458372"/>
              <a:gd name="connsiteX28503" fmla="*/ 2653503 w 10505529"/>
              <a:gd name="connsiteY28503" fmla="*/ 2646486 h 7458372"/>
              <a:gd name="connsiteX28504" fmla="*/ 2654433 w 10505529"/>
              <a:gd name="connsiteY28504" fmla="*/ 2641028 h 7458372"/>
              <a:gd name="connsiteX28505" fmla="*/ 2653503 w 10505529"/>
              <a:gd name="connsiteY28505" fmla="*/ 2635836 h 7458372"/>
              <a:gd name="connsiteX28506" fmla="*/ 2650840 w 10505529"/>
              <a:gd name="connsiteY28506" fmla="*/ 2631711 h 7458372"/>
              <a:gd name="connsiteX28507" fmla="*/ 2646847 w 10505529"/>
              <a:gd name="connsiteY28507" fmla="*/ 2629047 h 7458372"/>
              <a:gd name="connsiteX28508" fmla="*/ 2641787 w 10505529"/>
              <a:gd name="connsiteY28508" fmla="*/ 2628116 h 7458372"/>
              <a:gd name="connsiteX28509" fmla="*/ 2424134 w 10505529"/>
              <a:gd name="connsiteY28509" fmla="*/ 2628116 h 7458372"/>
              <a:gd name="connsiteX28510" fmla="*/ 2414151 w 10505529"/>
              <a:gd name="connsiteY28510" fmla="*/ 2631711 h 7458372"/>
              <a:gd name="connsiteX28511" fmla="*/ 2410557 w 10505529"/>
              <a:gd name="connsiteY28511" fmla="*/ 2641161 h 7458372"/>
              <a:gd name="connsiteX28512" fmla="*/ 2414151 w 10505529"/>
              <a:gd name="connsiteY28512" fmla="*/ 2650612 h 7458372"/>
              <a:gd name="connsiteX28513" fmla="*/ 2424134 w 10505529"/>
              <a:gd name="connsiteY28513" fmla="*/ 2654073 h 7458372"/>
              <a:gd name="connsiteX28514" fmla="*/ 2429460 w 10505529"/>
              <a:gd name="connsiteY28514" fmla="*/ 2653141 h 7458372"/>
              <a:gd name="connsiteX28515" fmla="*/ 2433187 w 10505529"/>
              <a:gd name="connsiteY28515" fmla="*/ 2650745 h 7458372"/>
              <a:gd name="connsiteX28516" fmla="*/ 2435850 w 10505529"/>
              <a:gd name="connsiteY28516" fmla="*/ 2646486 h 7458372"/>
              <a:gd name="connsiteX28517" fmla="*/ 2436781 w 10505529"/>
              <a:gd name="connsiteY28517" fmla="*/ 2641028 h 7458372"/>
              <a:gd name="connsiteX28518" fmla="*/ 2435850 w 10505529"/>
              <a:gd name="connsiteY28518" fmla="*/ 2635836 h 7458372"/>
              <a:gd name="connsiteX28519" fmla="*/ 2433187 w 10505529"/>
              <a:gd name="connsiteY28519" fmla="*/ 2631711 h 7458372"/>
              <a:gd name="connsiteX28520" fmla="*/ 2429194 w 10505529"/>
              <a:gd name="connsiteY28520" fmla="*/ 2629047 h 7458372"/>
              <a:gd name="connsiteX28521" fmla="*/ 2424134 w 10505529"/>
              <a:gd name="connsiteY28521" fmla="*/ 2628116 h 7458372"/>
              <a:gd name="connsiteX28522" fmla="*/ 2206482 w 10505529"/>
              <a:gd name="connsiteY28522" fmla="*/ 2628116 h 7458372"/>
              <a:gd name="connsiteX28523" fmla="*/ 2196499 w 10505529"/>
              <a:gd name="connsiteY28523" fmla="*/ 2631711 h 7458372"/>
              <a:gd name="connsiteX28524" fmla="*/ 2192904 w 10505529"/>
              <a:gd name="connsiteY28524" fmla="*/ 2641161 h 7458372"/>
              <a:gd name="connsiteX28525" fmla="*/ 2196499 w 10505529"/>
              <a:gd name="connsiteY28525" fmla="*/ 2650612 h 7458372"/>
              <a:gd name="connsiteX28526" fmla="*/ 2206482 w 10505529"/>
              <a:gd name="connsiteY28526" fmla="*/ 2654073 h 7458372"/>
              <a:gd name="connsiteX28527" fmla="*/ 2211807 w 10505529"/>
              <a:gd name="connsiteY28527" fmla="*/ 2653141 h 7458372"/>
              <a:gd name="connsiteX28528" fmla="*/ 2215534 w 10505529"/>
              <a:gd name="connsiteY28528" fmla="*/ 2650745 h 7458372"/>
              <a:gd name="connsiteX28529" fmla="*/ 2218197 w 10505529"/>
              <a:gd name="connsiteY28529" fmla="*/ 2646486 h 7458372"/>
              <a:gd name="connsiteX28530" fmla="*/ 2219128 w 10505529"/>
              <a:gd name="connsiteY28530" fmla="*/ 2641028 h 7458372"/>
              <a:gd name="connsiteX28531" fmla="*/ 2218197 w 10505529"/>
              <a:gd name="connsiteY28531" fmla="*/ 2635836 h 7458372"/>
              <a:gd name="connsiteX28532" fmla="*/ 2215534 w 10505529"/>
              <a:gd name="connsiteY28532" fmla="*/ 2631711 h 7458372"/>
              <a:gd name="connsiteX28533" fmla="*/ 2211541 w 10505529"/>
              <a:gd name="connsiteY28533" fmla="*/ 2629047 h 7458372"/>
              <a:gd name="connsiteX28534" fmla="*/ 2206482 w 10505529"/>
              <a:gd name="connsiteY28534" fmla="*/ 2628116 h 7458372"/>
              <a:gd name="connsiteX28535" fmla="*/ 1988962 w 10505529"/>
              <a:gd name="connsiteY28535" fmla="*/ 2628116 h 7458372"/>
              <a:gd name="connsiteX28536" fmla="*/ 1978979 w 10505529"/>
              <a:gd name="connsiteY28536" fmla="*/ 2631711 h 7458372"/>
              <a:gd name="connsiteX28537" fmla="*/ 1975385 w 10505529"/>
              <a:gd name="connsiteY28537" fmla="*/ 2641161 h 7458372"/>
              <a:gd name="connsiteX28538" fmla="*/ 1978979 w 10505529"/>
              <a:gd name="connsiteY28538" fmla="*/ 2650612 h 7458372"/>
              <a:gd name="connsiteX28539" fmla="*/ 1988962 w 10505529"/>
              <a:gd name="connsiteY28539" fmla="*/ 2654073 h 7458372"/>
              <a:gd name="connsiteX28540" fmla="*/ 1994287 w 10505529"/>
              <a:gd name="connsiteY28540" fmla="*/ 2653141 h 7458372"/>
              <a:gd name="connsiteX28541" fmla="*/ 1998015 w 10505529"/>
              <a:gd name="connsiteY28541" fmla="*/ 2650745 h 7458372"/>
              <a:gd name="connsiteX28542" fmla="*/ 2000678 w 10505529"/>
              <a:gd name="connsiteY28542" fmla="*/ 2646486 h 7458372"/>
              <a:gd name="connsiteX28543" fmla="*/ 2001608 w 10505529"/>
              <a:gd name="connsiteY28543" fmla="*/ 2641028 h 7458372"/>
              <a:gd name="connsiteX28544" fmla="*/ 2000678 w 10505529"/>
              <a:gd name="connsiteY28544" fmla="*/ 2635836 h 7458372"/>
              <a:gd name="connsiteX28545" fmla="*/ 1998015 w 10505529"/>
              <a:gd name="connsiteY28545" fmla="*/ 2631711 h 7458372"/>
              <a:gd name="connsiteX28546" fmla="*/ 1994021 w 10505529"/>
              <a:gd name="connsiteY28546" fmla="*/ 2629047 h 7458372"/>
              <a:gd name="connsiteX28547" fmla="*/ 1988962 w 10505529"/>
              <a:gd name="connsiteY28547" fmla="*/ 2628116 h 7458372"/>
              <a:gd name="connsiteX28548" fmla="*/ 1771323 w 10505529"/>
              <a:gd name="connsiteY28548" fmla="*/ 2628116 h 7458372"/>
              <a:gd name="connsiteX28549" fmla="*/ 1761340 w 10505529"/>
              <a:gd name="connsiteY28549" fmla="*/ 2631711 h 7458372"/>
              <a:gd name="connsiteX28550" fmla="*/ 1757746 w 10505529"/>
              <a:gd name="connsiteY28550" fmla="*/ 2641161 h 7458372"/>
              <a:gd name="connsiteX28551" fmla="*/ 1761340 w 10505529"/>
              <a:gd name="connsiteY28551" fmla="*/ 2650612 h 7458372"/>
              <a:gd name="connsiteX28552" fmla="*/ 1771323 w 10505529"/>
              <a:gd name="connsiteY28552" fmla="*/ 2654073 h 7458372"/>
              <a:gd name="connsiteX28553" fmla="*/ 1776648 w 10505529"/>
              <a:gd name="connsiteY28553" fmla="*/ 2653141 h 7458372"/>
              <a:gd name="connsiteX28554" fmla="*/ 1780374 w 10505529"/>
              <a:gd name="connsiteY28554" fmla="*/ 2650745 h 7458372"/>
              <a:gd name="connsiteX28555" fmla="*/ 1783037 w 10505529"/>
              <a:gd name="connsiteY28555" fmla="*/ 2646486 h 7458372"/>
              <a:gd name="connsiteX28556" fmla="*/ 1784102 w 10505529"/>
              <a:gd name="connsiteY28556" fmla="*/ 2641028 h 7458372"/>
              <a:gd name="connsiteX28557" fmla="*/ 1783037 w 10505529"/>
              <a:gd name="connsiteY28557" fmla="*/ 2635836 h 7458372"/>
              <a:gd name="connsiteX28558" fmla="*/ 1780374 w 10505529"/>
              <a:gd name="connsiteY28558" fmla="*/ 2631711 h 7458372"/>
              <a:gd name="connsiteX28559" fmla="*/ 1776382 w 10505529"/>
              <a:gd name="connsiteY28559" fmla="*/ 2629047 h 7458372"/>
              <a:gd name="connsiteX28560" fmla="*/ 1771323 w 10505529"/>
              <a:gd name="connsiteY28560" fmla="*/ 2628116 h 7458372"/>
              <a:gd name="connsiteX28561" fmla="*/ 1553681 w 10505529"/>
              <a:gd name="connsiteY28561" fmla="*/ 2628116 h 7458372"/>
              <a:gd name="connsiteX28562" fmla="*/ 1543698 w 10505529"/>
              <a:gd name="connsiteY28562" fmla="*/ 2631711 h 7458372"/>
              <a:gd name="connsiteX28563" fmla="*/ 1540104 w 10505529"/>
              <a:gd name="connsiteY28563" fmla="*/ 2641161 h 7458372"/>
              <a:gd name="connsiteX28564" fmla="*/ 1543698 w 10505529"/>
              <a:gd name="connsiteY28564" fmla="*/ 2650612 h 7458372"/>
              <a:gd name="connsiteX28565" fmla="*/ 1553681 w 10505529"/>
              <a:gd name="connsiteY28565" fmla="*/ 2654073 h 7458372"/>
              <a:gd name="connsiteX28566" fmla="*/ 1559006 w 10505529"/>
              <a:gd name="connsiteY28566" fmla="*/ 2653141 h 7458372"/>
              <a:gd name="connsiteX28567" fmla="*/ 1562733 w 10505529"/>
              <a:gd name="connsiteY28567" fmla="*/ 2650745 h 7458372"/>
              <a:gd name="connsiteX28568" fmla="*/ 1565396 w 10505529"/>
              <a:gd name="connsiteY28568" fmla="*/ 2646486 h 7458372"/>
              <a:gd name="connsiteX28569" fmla="*/ 1566461 w 10505529"/>
              <a:gd name="connsiteY28569" fmla="*/ 2641028 h 7458372"/>
              <a:gd name="connsiteX28570" fmla="*/ 1565396 w 10505529"/>
              <a:gd name="connsiteY28570" fmla="*/ 2635836 h 7458372"/>
              <a:gd name="connsiteX28571" fmla="*/ 1562733 w 10505529"/>
              <a:gd name="connsiteY28571" fmla="*/ 2631711 h 7458372"/>
              <a:gd name="connsiteX28572" fmla="*/ 1558740 w 10505529"/>
              <a:gd name="connsiteY28572" fmla="*/ 2629047 h 7458372"/>
              <a:gd name="connsiteX28573" fmla="*/ 1553681 w 10505529"/>
              <a:gd name="connsiteY28573" fmla="*/ 2628116 h 7458372"/>
              <a:gd name="connsiteX28574" fmla="*/ 1336036 w 10505529"/>
              <a:gd name="connsiteY28574" fmla="*/ 2628116 h 7458372"/>
              <a:gd name="connsiteX28575" fmla="*/ 1326054 w 10505529"/>
              <a:gd name="connsiteY28575" fmla="*/ 2631711 h 7458372"/>
              <a:gd name="connsiteX28576" fmla="*/ 1322459 w 10505529"/>
              <a:gd name="connsiteY28576" fmla="*/ 2641161 h 7458372"/>
              <a:gd name="connsiteX28577" fmla="*/ 1326054 w 10505529"/>
              <a:gd name="connsiteY28577" fmla="*/ 2650612 h 7458372"/>
              <a:gd name="connsiteX28578" fmla="*/ 1336036 w 10505529"/>
              <a:gd name="connsiteY28578" fmla="*/ 2654073 h 7458372"/>
              <a:gd name="connsiteX28579" fmla="*/ 1341363 w 10505529"/>
              <a:gd name="connsiteY28579" fmla="*/ 2653141 h 7458372"/>
              <a:gd name="connsiteX28580" fmla="*/ 1345090 w 10505529"/>
              <a:gd name="connsiteY28580" fmla="*/ 2650745 h 7458372"/>
              <a:gd name="connsiteX28581" fmla="*/ 1347753 w 10505529"/>
              <a:gd name="connsiteY28581" fmla="*/ 2646486 h 7458372"/>
              <a:gd name="connsiteX28582" fmla="*/ 1348818 w 10505529"/>
              <a:gd name="connsiteY28582" fmla="*/ 2641028 h 7458372"/>
              <a:gd name="connsiteX28583" fmla="*/ 1347753 w 10505529"/>
              <a:gd name="connsiteY28583" fmla="*/ 2635836 h 7458372"/>
              <a:gd name="connsiteX28584" fmla="*/ 1345090 w 10505529"/>
              <a:gd name="connsiteY28584" fmla="*/ 2631711 h 7458372"/>
              <a:gd name="connsiteX28585" fmla="*/ 1341096 w 10505529"/>
              <a:gd name="connsiteY28585" fmla="*/ 2629047 h 7458372"/>
              <a:gd name="connsiteX28586" fmla="*/ 1336036 w 10505529"/>
              <a:gd name="connsiteY28586" fmla="*/ 2628116 h 7458372"/>
              <a:gd name="connsiteX28587" fmla="*/ 1118525 w 10505529"/>
              <a:gd name="connsiteY28587" fmla="*/ 2628116 h 7458372"/>
              <a:gd name="connsiteX28588" fmla="*/ 1108541 w 10505529"/>
              <a:gd name="connsiteY28588" fmla="*/ 2631711 h 7458372"/>
              <a:gd name="connsiteX28589" fmla="*/ 1104814 w 10505529"/>
              <a:gd name="connsiteY28589" fmla="*/ 2641161 h 7458372"/>
              <a:gd name="connsiteX28590" fmla="*/ 1108408 w 10505529"/>
              <a:gd name="connsiteY28590" fmla="*/ 2650612 h 7458372"/>
              <a:gd name="connsiteX28591" fmla="*/ 1118392 w 10505529"/>
              <a:gd name="connsiteY28591" fmla="*/ 2654073 h 7458372"/>
              <a:gd name="connsiteX28592" fmla="*/ 1123849 w 10505529"/>
              <a:gd name="connsiteY28592" fmla="*/ 2653141 h 7458372"/>
              <a:gd name="connsiteX28593" fmla="*/ 1127578 w 10505529"/>
              <a:gd name="connsiteY28593" fmla="*/ 2650745 h 7458372"/>
              <a:gd name="connsiteX28594" fmla="*/ 1130241 w 10505529"/>
              <a:gd name="connsiteY28594" fmla="*/ 2646486 h 7458372"/>
              <a:gd name="connsiteX28595" fmla="*/ 1131307 w 10505529"/>
              <a:gd name="connsiteY28595" fmla="*/ 2641028 h 7458372"/>
              <a:gd name="connsiteX28596" fmla="*/ 1130241 w 10505529"/>
              <a:gd name="connsiteY28596" fmla="*/ 2635836 h 7458372"/>
              <a:gd name="connsiteX28597" fmla="*/ 1127578 w 10505529"/>
              <a:gd name="connsiteY28597" fmla="*/ 2631711 h 7458372"/>
              <a:gd name="connsiteX28598" fmla="*/ 1123583 w 10505529"/>
              <a:gd name="connsiteY28598" fmla="*/ 2629047 h 7458372"/>
              <a:gd name="connsiteX28599" fmla="*/ 1118525 w 10505529"/>
              <a:gd name="connsiteY28599" fmla="*/ 2628116 h 7458372"/>
              <a:gd name="connsiteX28600" fmla="*/ 901013 w 10505529"/>
              <a:gd name="connsiteY28600" fmla="*/ 2628116 h 7458372"/>
              <a:gd name="connsiteX28601" fmla="*/ 891029 w 10505529"/>
              <a:gd name="connsiteY28601" fmla="*/ 2631711 h 7458372"/>
              <a:gd name="connsiteX28602" fmla="*/ 887302 w 10505529"/>
              <a:gd name="connsiteY28602" fmla="*/ 2641161 h 7458372"/>
              <a:gd name="connsiteX28603" fmla="*/ 890896 w 10505529"/>
              <a:gd name="connsiteY28603" fmla="*/ 2650612 h 7458372"/>
              <a:gd name="connsiteX28604" fmla="*/ 900879 w 10505529"/>
              <a:gd name="connsiteY28604" fmla="*/ 2654073 h 7458372"/>
              <a:gd name="connsiteX28605" fmla="*/ 906338 w 10505529"/>
              <a:gd name="connsiteY28605" fmla="*/ 2653141 h 7458372"/>
              <a:gd name="connsiteX28606" fmla="*/ 910066 w 10505529"/>
              <a:gd name="connsiteY28606" fmla="*/ 2650745 h 7458372"/>
              <a:gd name="connsiteX28607" fmla="*/ 912728 w 10505529"/>
              <a:gd name="connsiteY28607" fmla="*/ 2646486 h 7458372"/>
              <a:gd name="connsiteX28608" fmla="*/ 913793 w 10505529"/>
              <a:gd name="connsiteY28608" fmla="*/ 2641028 h 7458372"/>
              <a:gd name="connsiteX28609" fmla="*/ 912728 w 10505529"/>
              <a:gd name="connsiteY28609" fmla="*/ 2635836 h 7458372"/>
              <a:gd name="connsiteX28610" fmla="*/ 910066 w 10505529"/>
              <a:gd name="connsiteY28610" fmla="*/ 2631711 h 7458372"/>
              <a:gd name="connsiteX28611" fmla="*/ 906072 w 10505529"/>
              <a:gd name="connsiteY28611" fmla="*/ 2629047 h 7458372"/>
              <a:gd name="connsiteX28612" fmla="*/ 901013 w 10505529"/>
              <a:gd name="connsiteY28612" fmla="*/ 2628116 h 7458372"/>
              <a:gd name="connsiteX28613" fmla="*/ 683237 w 10505529"/>
              <a:gd name="connsiteY28613" fmla="*/ 2628116 h 7458372"/>
              <a:gd name="connsiteX28614" fmla="*/ 673254 w 10505529"/>
              <a:gd name="connsiteY28614" fmla="*/ 2631711 h 7458372"/>
              <a:gd name="connsiteX28615" fmla="*/ 669660 w 10505529"/>
              <a:gd name="connsiteY28615" fmla="*/ 2641161 h 7458372"/>
              <a:gd name="connsiteX28616" fmla="*/ 673254 w 10505529"/>
              <a:gd name="connsiteY28616" fmla="*/ 2650612 h 7458372"/>
              <a:gd name="connsiteX28617" fmla="*/ 683237 w 10505529"/>
              <a:gd name="connsiteY28617" fmla="*/ 2654073 h 7458372"/>
              <a:gd name="connsiteX28618" fmla="*/ 688562 w 10505529"/>
              <a:gd name="connsiteY28618" fmla="*/ 2653141 h 7458372"/>
              <a:gd name="connsiteX28619" fmla="*/ 692289 w 10505529"/>
              <a:gd name="connsiteY28619" fmla="*/ 2650745 h 7458372"/>
              <a:gd name="connsiteX28620" fmla="*/ 694952 w 10505529"/>
              <a:gd name="connsiteY28620" fmla="*/ 2646486 h 7458372"/>
              <a:gd name="connsiteX28621" fmla="*/ 696017 w 10505529"/>
              <a:gd name="connsiteY28621" fmla="*/ 2641028 h 7458372"/>
              <a:gd name="connsiteX28622" fmla="*/ 694952 w 10505529"/>
              <a:gd name="connsiteY28622" fmla="*/ 2635836 h 7458372"/>
              <a:gd name="connsiteX28623" fmla="*/ 692289 w 10505529"/>
              <a:gd name="connsiteY28623" fmla="*/ 2631711 h 7458372"/>
              <a:gd name="connsiteX28624" fmla="*/ 688296 w 10505529"/>
              <a:gd name="connsiteY28624" fmla="*/ 2629047 h 7458372"/>
              <a:gd name="connsiteX28625" fmla="*/ 683237 w 10505529"/>
              <a:gd name="connsiteY28625" fmla="*/ 2628116 h 7458372"/>
              <a:gd name="connsiteX28626" fmla="*/ 465594 w 10505529"/>
              <a:gd name="connsiteY28626" fmla="*/ 2628116 h 7458372"/>
              <a:gd name="connsiteX28627" fmla="*/ 455611 w 10505529"/>
              <a:gd name="connsiteY28627" fmla="*/ 2631711 h 7458372"/>
              <a:gd name="connsiteX28628" fmla="*/ 452017 w 10505529"/>
              <a:gd name="connsiteY28628" fmla="*/ 2641161 h 7458372"/>
              <a:gd name="connsiteX28629" fmla="*/ 455611 w 10505529"/>
              <a:gd name="connsiteY28629" fmla="*/ 2650612 h 7458372"/>
              <a:gd name="connsiteX28630" fmla="*/ 465594 w 10505529"/>
              <a:gd name="connsiteY28630" fmla="*/ 2654073 h 7458372"/>
              <a:gd name="connsiteX28631" fmla="*/ 470919 w 10505529"/>
              <a:gd name="connsiteY28631" fmla="*/ 2653141 h 7458372"/>
              <a:gd name="connsiteX28632" fmla="*/ 474646 w 10505529"/>
              <a:gd name="connsiteY28632" fmla="*/ 2650745 h 7458372"/>
              <a:gd name="connsiteX28633" fmla="*/ 477309 w 10505529"/>
              <a:gd name="connsiteY28633" fmla="*/ 2646486 h 7458372"/>
              <a:gd name="connsiteX28634" fmla="*/ 478374 w 10505529"/>
              <a:gd name="connsiteY28634" fmla="*/ 2641028 h 7458372"/>
              <a:gd name="connsiteX28635" fmla="*/ 477309 w 10505529"/>
              <a:gd name="connsiteY28635" fmla="*/ 2635836 h 7458372"/>
              <a:gd name="connsiteX28636" fmla="*/ 474646 w 10505529"/>
              <a:gd name="connsiteY28636" fmla="*/ 2631711 h 7458372"/>
              <a:gd name="connsiteX28637" fmla="*/ 470653 w 10505529"/>
              <a:gd name="connsiteY28637" fmla="*/ 2629047 h 7458372"/>
              <a:gd name="connsiteX28638" fmla="*/ 465594 w 10505529"/>
              <a:gd name="connsiteY28638" fmla="*/ 2628116 h 7458372"/>
              <a:gd name="connsiteX28639" fmla="*/ 247951 w 10505529"/>
              <a:gd name="connsiteY28639" fmla="*/ 2628116 h 7458372"/>
              <a:gd name="connsiteX28640" fmla="*/ 237968 w 10505529"/>
              <a:gd name="connsiteY28640" fmla="*/ 2631711 h 7458372"/>
              <a:gd name="connsiteX28641" fmla="*/ 234374 w 10505529"/>
              <a:gd name="connsiteY28641" fmla="*/ 2641161 h 7458372"/>
              <a:gd name="connsiteX28642" fmla="*/ 237968 w 10505529"/>
              <a:gd name="connsiteY28642" fmla="*/ 2650612 h 7458372"/>
              <a:gd name="connsiteX28643" fmla="*/ 247951 w 10505529"/>
              <a:gd name="connsiteY28643" fmla="*/ 2654073 h 7458372"/>
              <a:gd name="connsiteX28644" fmla="*/ 253275 w 10505529"/>
              <a:gd name="connsiteY28644" fmla="*/ 2653141 h 7458372"/>
              <a:gd name="connsiteX28645" fmla="*/ 257002 w 10505529"/>
              <a:gd name="connsiteY28645" fmla="*/ 2650745 h 7458372"/>
              <a:gd name="connsiteX28646" fmla="*/ 259665 w 10505529"/>
              <a:gd name="connsiteY28646" fmla="*/ 2646486 h 7458372"/>
              <a:gd name="connsiteX28647" fmla="*/ 260730 w 10505529"/>
              <a:gd name="connsiteY28647" fmla="*/ 2641028 h 7458372"/>
              <a:gd name="connsiteX28648" fmla="*/ 259665 w 10505529"/>
              <a:gd name="connsiteY28648" fmla="*/ 2635836 h 7458372"/>
              <a:gd name="connsiteX28649" fmla="*/ 257002 w 10505529"/>
              <a:gd name="connsiteY28649" fmla="*/ 2631711 h 7458372"/>
              <a:gd name="connsiteX28650" fmla="*/ 253009 w 10505529"/>
              <a:gd name="connsiteY28650" fmla="*/ 2629047 h 7458372"/>
              <a:gd name="connsiteX28651" fmla="*/ 247951 w 10505529"/>
              <a:gd name="connsiteY28651" fmla="*/ 2628116 h 7458372"/>
              <a:gd name="connsiteX28652" fmla="*/ 30307 w 10505529"/>
              <a:gd name="connsiteY28652" fmla="*/ 2628116 h 7458372"/>
              <a:gd name="connsiteX28653" fmla="*/ 20324 w 10505529"/>
              <a:gd name="connsiteY28653" fmla="*/ 2631711 h 7458372"/>
              <a:gd name="connsiteX28654" fmla="*/ 16730 w 10505529"/>
              <a:gd name="connsiteY28654" fmla="*/ 2641161 h 7458372"/>
              <a:gd name="connsiteX28655" fmla="*/ 20324 w 10505529"/>
              <a:gd name="connsiteY28655" fmla="*/ 2650612 h 7458372"/>
              <a:gd name="connsiteX28656" fmla="*/ 30307 w 10505529"/>
              <a:gd name="connsiteY28656" fmla="*/ 2654073 h 7458372"/>
              <a:gd name="connsiteX28657" fmla="*/ 35632 w 10505529"/>
              <a:gd name="connsiteY28657" fmla="*/ 2653141 h 7458372"/>
              <a:gd name="connsiteX28658" fmla="*/ 39359 w 10505529"/>
              <a:gd name="connsiteY28658" fmla="*/ 2650745 h 7458372"/>
              <a:gd name="connsiteX28659" fmla="*/ 42023 w 10505529"/>
              <a:gd name="connsiteY28659" fmla="*/ 2646486 h 7458372"/>
              <a:gd name="connsiteX28660" fmla="*/ 42954 w 10505529"/>
              <a:gd name="connsiteY28660" fmla="*/ 2641028 h 7458372"/>
              <a:gd name="connsiteX28661" fmla="*/ 42023 w 10505529"/>
              <a:gd name="connsiteY28661" fmla="*/ 2635836 h 7458372"/>
              <a:gd name="connsiteX28662" fmla="*/ 39359 w 10505529"/>
              <a:gd name="connsiteY28662" fmla="*/ 2631711 h 7458372"/>
              <a:gd name="connsiteX28663" fmla="*/ 35366 w 10505529"/>
              <a:gd name="connsiteY28663" fmla="*/ 2629047 h 7458372"/>
              <a:gd name="connsiteX28664" fmla="*/ 30307 w 10505529"/>
              <a:gd name="connsiteY28664" fmla="*/ 2628116 h 7458372"/>
              <a:gd name="connsiteX28665" fmla="*/ 10475977 w 10505529"/>
              <a:gd name="connsiteY28665" fmla="*/ 2611475 h 7458372"/>
              <a:gd name="connsiteX28666" fmla="*/ 10487824 w 10505529"/>
              <a:gd name="connsiteY28666" fmla="*/ 2614137 h 7458372"/>
              <a:gd name="connsiteX28667" fmla="*/ 10497143 w 10505529"/>
              <a:gd name="connsiteY28667" fmla="*/ 2620528 h 7458372"/>
              <a:gd name="connsiteX28668" fmla="*/ 10503266 w 10505529"/>
              <a:gd name="connsiteY28668" fmla="*/ 2629846 h 7458372"/>
              <a:gd name="connsiteX28669" fmla="*/ 10505529 w 10505529"/>
              <a:gd name="connsiteY28669" fmla="*/ 2641294 h 7458372"/>
              <a:gd name="connsiteX28670" fmla="*/ 10503266 w 10505529"/>
              <a:gd name="connsiteY28670" fmla="*/ 2653009 h 7458372"/>
              <a:gd name="connsiteX28671" fmla="*/ 10497143 w 10505529"/>
              <a:gd name="connsiteY28671" fmla="*/ 2662328 h 7458372"/>
              <a:gd name="connsiteX28672" fmla="*/ 10487824 w 10505529"/>
              <a:gd name="connsiteY28672" fmla="*/ 2668583 h 7458372"/>
              <a:gd name="connsiteX28673" fmla="*/ 10475977 w 10505529"/>
              <a:gd name="connsiteY28673" fmla="*/ 2670846 h 7458372"/>
              <a:gd name="connsiteX28674" fmla="*/ 10454145 w 10505529"/>
              <a:gd name="connsiteY28674" fmla="*/ 2662328 h 7458372"/>
              <a:gd name="connsiteX28675" fmla="*/ 10445759 w 10505529"/>
              <a:gd name="connsiteY28675" fmla="*/ 2641161 h 7458372"/>
              <a:gd name="connsiteX28676" fmla="*/ 10454145 w 10505529"/>
              <a:gd name="connsiteY28676" fmla="*/ 2620128 h 7458372"/>
              <a:gd name="connsiteX28677" fmla="*/ 10475977 w 10505529"/>
              <a:gd name="connsiteY28677" fmla="*/ 2611475 h 7458372"/>
              <a:gd name="connsiteX28678" fmla="*/ 10258466 w 10505529"/>
              <a:gd name="connsiteY28678" fmla="*/ 2611475 h 7458372"/>
              <a:gd name="connsiteX28679" fmla="*/ 10270313 w 10505529"/>
              <a:gd name="connsiteY28679" fmla="*/ 2614137 h 7458372"/>
              <a:gd name="connsiteX28680" fmla="*/ 10279631 w 10505529"/>
              <a:gd name="connsiteY28680" fmla="*/ 2620528 h 7458372"/>
              <a:gd name="connsiteX28681" fmla="*/ 10285754 w 10505529"/>
              <a:gd name="connsiteY28681" fmla="*/ 2629846 h 7458372"/>
              <a:gd name="connsiteX28682" fmla="*/ 10288017 w 10505529"/>
              <a:gd name="connsiteY28682" fmla="*/ 2641294 h 7458372"/>
              <a:gd name="connsiteX28683" fmla="*/ 10285754 w 10505529"/>
              <a:gd name="connsiteY28683" fmla="*/ 2653009 h 7458372"/>
              <a:gd name="connsiteX28684" fmla="*/ 10279631 w 10505529"/>
              <a:gd name="connsiteY28684" fmla="*/ 2662328 h 7458372"/>
              <a:gd name="connsiteX28685" fmla="*/ 10270313 w 10505529"/>
              <a:gd name="connsiteY28685" fmla="*/ 2668583 h 7458372"/>
              <a:gd name="connsiteX28686" fmla="*/ 10258466 w 10505529"/>
              <a:gd name="connsiteY28686" fmla="*/ 2670846 h 7458372"/>
              <a:gd name="connsiteX28687" fmla="*/ 10236633 w 10505529"/>
              <a:gd name="connsiteY28687" fmla="*/ 2662328 h 7458372"/>
              <a:gd name="connsiteX28688" fmla="*/ 10228247 w 10505529"/>
              <a:gd name="connsiteY28688" fmla="*/ 2641161 h 7458372"/>
              <a:gd name="connsiteX28689" fmla="*/ 10236633 w 10505529"/>
              <a:gd name="connsiteY28689" fmla="*/ 2620128 h 7458372"/>
              <a:gd name="connsiteX28690" fmla="*/ 10258466 w 10505529"/>
              <a:gd name="connsiteY28690" fmla="*/ 2611475 h 7458372"/>
              <a:gd name="connsiteX28691" fmla="*/ 10040820 w 10505529"/>
              <a:gd name="connsiteY28691" fmla="*/ 2611475 h 7458372"/>
              <a:gd name="connsiteX28692" fmla="*/ 10052534 w 10505529"/>
              <a:gd name="connsiteY28692" fmla="*/ 2614137 h 7458372"/>
              <a:gd name="connsiteX28693" fmla="*/ 10061852 w 10505529"/>
              <a:gd name="connsiteY28693" fmla="*/ 2620528 h 7458372"/>
              <a:gd name="connsiteX28694" fmla="*/ 10067976 w 10505529"/>
              <a:gd name="connsiteY28694" fmla="*/ 2629846 h 7458372"/>
              <a:gd name="connsiteX28695" fmla="*/ 10070239 w 10505529"/>
              <a:gd name="connsiteY28695" fmla="*/ 2641294 h 7458372"/>
              <a:gd name="connsiteX28696" fmla="*/ 10067976 w 10505529"/>
              <a:gd name="connsiteY28696" fmla="*/ 2653009 h 7458372"/>
              <a:gd name="connsiteX28697" fmla="*/ 10061852 w 10505529"/>
              <a:gd name="connsiteY28697" fmla="*/ 2662328 h 7458372"/>
              <a:gd name="connsiteX28698" fmla="*/ 10052534 w 10505529"/>
              <a:gd name="connsiteY28698" fmla="*/ 2668583 h 7458372"/>
              <a:gd name="connsiteX28699" fmla="*/ 10040820 w 10505529"/>
              <a:gd name="connsiteY28699" fmla="*/ 2670846 h 7458372"/>
              <a:gd name="connsiteX28700" fmla="*/ 10018988 w 10505529"/>
              <a:gd name="connsiteY28700" fmla="*/ 2662328 h 7458372"/>
              <a:gd name="connsiteX28701" fmla="*/ 10010602 w 10505529"/>
              <a:gd name="connsiteY28701" fmla="*/ 2641161 h 7458372"/>
              <a:gd name="connsiteX28702" fmla="*/ 10018988 w 10505529"/>
              <a:gd name="connsiteY28702" fmla="*/ 2620128 h 7458372"/>
              <a:gd name="connsiteX28703" fmla="*/ 10040820 w 10505529"/>
              <a:gd name="connsiteY28703" fmla="*/ 2611475 h 7458372"/>
              <a:gd name="connsiteX28704" fmla="*/ 9823176 w 10505529"/>
              <a:gd name="connsiteY28704" fmla="*/ 2611475 h 7458372"/>
              <a:gd name="connsiteX28705" fmla="*/ 9834890 w 10505529"/>
              <a:gd name="connsiteY28705" fmla="*/ 2614137 h 7458372"/>
              <a:gd name="connsiteX28706" fmla="*/ 9844208 w 10505529"/>
              <a:gd name="connsiteY28706" fmla="*/ 2620528 h 7458372"/>
              <a:gd name="connsiteX28707" fmla="*/ 9850331 w 10505529"/>
              <a:gd name="connsiteY28707" fmla="*/ 2629846 h 7458372"/>
              <a:gd name="connsiteX28708" fmla="*/ 9852595 w 10505529"/>
              <a:gd name="connsiteY28708" fmla="*/ 2641294 h 7458372"/>
              <a:gd name="connsiteX28709" fmla="*/ 9850331 w 10505529"/>
              <a:gd name="connsiteY28709" fmla="*/ 2653009 h 7458372"/>
              <a:gd name="connsiteX28710" fmla="*/ 9844208 w 10505529"/>
              <a:gd name="connsiteY28710" fmla="*/ 2662328 h 7458372"/>
              <a:gd name="connsiteX28711" fmla="*/ 9834890 w 10505529"/>
              <a:gd name="connsiteY28711" fmla="*/ 2668583 h 7458372"/>
              <a:gd name="connsiteX28712" fmla="*/ 9823176 w 10505529"/>
              <a:gd name="connsiteY28712" fmla="*/ 2670846 h 7458372"/>
              <a:gd name="connsiteX28713" fmla="*/ 9801343 w 10505529"/>
              <a:gd name="connsiteY28713" fmla="*/ 2662328 h 7458372"/>
              <a:gd name="connsiteX28714" fmla="*/ 9792957 w 10505529"/>
              <a:gd name="connsiteY28714" fmla="*/ 2641161 h 7458372"/>
              <a:gd name="connsiteX28715" fmla="*/ 9801343 w 10505529"/>
              <a:gd name="connsiteY28715" fmla="*/ 2620128 h 7458372"/>
              <a:gd name="connsiteX28716" fmla="*/ 9823176 w 10505529"/>
              <a:gd name="connsiteY28716" fmla="*/ 2611475 h 7458372"/>
              <a:gd name="connsiteX28717" fmla="*/ 9605531 w 10505529"/>
              <a:gd name="connsiteY28717" fmla="*/ 2611475 h 7458372"/>
              <a:gd name="connsiteX28718" fmla="*/ 9617245 w 10505529"/>
              <a:gd name="connsiteY28718" fmla="*/ 2614137 h 7458372"/>
              <a:gd name="connsiteX28719" fmla="*/ 9626562 w 10505529"/>
              <a:gd name="connsiteY28719" fmla="*/ 2620528 h 7458372"/>
              <a:gd name="connsiteX28720" fmla="*/ 9632686 w 10505529"/>
              <a:gd name="connsiteY28720" fmla="*/ 2629846 h 7458372"/>
              <a:gd name="connsiteX28721" fmla="*/ 9634949 w 10505529"/>
              <a:gd name="connsiteY28721" fmla="*/ 2641294 h 7458372"/>
              <a:gd name="connsiteX28722" fmla="*/ 9632686 w 10505529"/>
              <a:gd name="connsiteY28722" fmla="*/ 2653009 h 7458372"/>
              <a:gd name="connsiteX28723" fmla="*/ 9626562 w 10505529"/>
              <a:gd name="connsiteY28723" fmla="*/ 2662328 h 7458372"/>
              <a:gd name="connsiteX28724" fmla="*/ 9617245 w 10505529"/>
              <a:gd name="connsiteY28724" fmla="*/ 2668583 h 7458372"/>
              <a:gd name="connsiteX28725" fmla="*/ 9605531 w 10505529"/>
              <a:gd name="connsiteY28725" fmla="*/ 2670846 h 7458372"/>
              <a:gd name="connsiteX28726" fmla="*/ 9583698 w 10505529"/>
              <a:gd name="connsiteY28726" fmla="*/ 2662328 h 7458372"/>
              <a:gd name="connsiteX28727" fmla="*/ 9575312 w 10505529"/>
              <a:gd name="connsiteY28727" fmla="*/ 2641161 h 7458372"/>
              <a:gd name="connsiteX28728" fmla="*/ 9583698 w 10505529"/>
              <a:gd name="connsiteY28728" fmla="*/ 2620128 h 7458372"/>
              <a:gd name="connsiteX28729" fmla="*/ 9605531 w 10505529"/>
              <a:gd name="connsiteY28729" fmla="*/ 2611475 h 7458372"/>
              <a:gd name="connsiteX28730" fmla="*/ 9387885 w 10505529"/>
              <a:gd name="connsiteY28730" fmla="*/ 2611475 h 7458372"/>
              <a:gd name="connsiteX28731" fmla="*/ 9399599 w 10505529"/>
              <a:gd name="connsiteY28731" fmla="*/ 2614137 h 7458372"/>
              <a:gd name="connsiteX28732" fmla="*/ 9408917 w 10505529"/>
              <a:gd name="connsiteY28732" fmla="*/ 2620528 h 7458372"/>
              <a:gd name="connsiteX28733" fmla="*/ 9415041 w 10505529"/>
              <a:gd name="connsiteY28733" fmla="*/ 2629846 h 7458372"/>
              <a:gd name="connsiteX28734" fmla="*/ 9417304 w 10505529"/>
              <a:gd name="connsiteY28734" fmla="*/ 2641294 h 7458372"/>
              <a:gd name="connsiteX28735" fmla="*/ 9415041 w 10505529"/>
              <a:gd name="connsiteY28735" fmla="*/ 2653009 h 7458372"/>
              <a:gd name="connsiteX28736" fmla="*/ 9408917 w 10505529"/>
              <a:gd name="connsiteY28736" fmla="*/ 2662328 h 7458372"/>
              <a:gd name="connsiteX28737" fmla="*/ 9399599 w 10505529"/>
              <a:gd name="connsiteY28737" fmla="*/ 2668583 h 7458372"/>
              <a:gd name="connsiteX28738" fmla="*/ 9387885 w 10505529"/>
              <a:gd name="connsiteY28738" fmla="*/ 2670846 h 7458372"/>
              <a:gd name="connsiteX28739" fmla="*/ 9366053 w 10505529"/>
              <a:gd name="connsiteY28739" fmla="*/ 2662328 h 7458372"/>
              <a:gd name="connsiteX28740" fmla="*/ 9357667 w 10505529"/>
              <a:gd name="connsiteY28740" fmla="*/ 2641161 h 7458372"/>
              <a:gd name="connsiteX28741" fmla="*/ 9366053 w 10505529"/>
              <a:gd name="connsiteY28741" fmla="*/ 2620128 h 7458372"/>
              <a:gd name="connsiteX28742" fmla="*/ 9387885 w 10505529"/>
              <a:gd name="connsiteY28742" fmla="*/ 2611475 h 7458372"/>
              <a:gd name="connsiteX28743" fmla="*/ 9170374 w 10505529"/>
              <a:gd name="connsiteY28743" fmla="*/ 2611475 h 7458372"/>
              <a:gd name="connsiteX28744" fmla="*/ 9182088 w 10505529"/>
              <a:gd name="connsiteY28744" fmla="*/ 2614137 h 7458372"/>
              <a:gd name="connsiteX28745" fmla="*/ 9191405 w 10505529"/>
              <a:gd name="connsiteY28745" fmla="*/ 2620528 h 7458372"/>
              <a:gd name="connsiteX28746" fmla="*/ 9197529 w 10505529"/>
              <a:gd name="connsiteY28746" fmla="*/ 2629846 h 7458372"/>
              <a:gd name="connsiteX28747" fmla="*/ 9199792 w 10505529"/>
              <a:gd name="connsiteY28747" fmla="*/ 2641294 h 7458372"/>
              <a:gd name="connsiteX28748" fmla="*/ 9197529 w 10505529"/>
              <a:gd name="connsiteY28748" fmla="*/ 2653009 h 7458372"/>
              <a:gd name="connsiteX28749" fmla="*/ 9191405 w 10505529"/>
              <a:gd name="connsiteY28749" fmla="*/ 2662328 h 7458372"/>
              <a:gd name="connsiteX28750" fmla="*/ 9182088 w 10505529"/>
              <a:gd name="connsiteY28750" fmla="*/ 2668583 h 7458372"/>
              <a:gd name="connsiteX28751" fmla="*/ 9170374 w 10505529"/>
              <a:gd name="connsiteY28751" fmla="*/ 2670846 h 7458372"/>
              <a:gd name="connsiteX28752" fmla="*/ 9148541 w 10505529"/>
              <a:gd name="connsiteY28752" fmla="*/ 2662328 h 7458372"/>
              <a:gd name="connsiteX28753" fmla="*/ 9140155 w 10505529"/>
              <a:gd name="connsiteY28753" fmla="*/ 2641161 h 7458372"/>
              <a:gd name="connsiteX28754" fmla="*/ 9148541 w 10505529"/>
              <a:gd name="connsiteY28754" fmla="*/ 2620128 h 7458372"/>
              <a:gd name="connsiteX28755" fmla="*/ 9170374 w 10505529"/>
              <a:gd name="connsiteY28755" fmla="*/ 2611475 h 7458372"/>
              <a:gd name="connsiteX28756" fmla="*/ 8952728 w 10505529"/>
              <a:gd name="connsiteY28756" fmla="*/ 2611475 h 7458372"/>
              <a:gd name="connsiteX28757" fmla="*/ 8964442 w 10505529"/>
              <a:gd name="connsiteY28757" fmla="*/ 2614137 h 7458372"/>
              <a:gd name="connsiteX28758" fmla="*/ 8973760 w 10505529"/>
              <a:gd name="connsiteY28758" fmla="*/ 2620528 h 7458372"/>
              <a:gd name="connsiteX28759" fmla="*/ 8979884 w 10505529"/>
              <a:gd name="connsiteY28759" fmla="*/ 2629846 h 7458372"/>
              <a:gd name="connsiteX28760" fmla="*/ 8982147 w 10505529"/>
              <a:gd name="connsiteY28760" fmla="*/ 2641294 h 7458372"/>
              <a:gd name="connsiteX28761" fmla="*/ 8979884 w 10505529"/>
              <a:gd name="connsiteY28761" fmla="*/ 2653009 h 7458372"/>
              <a:gd name="connsiteX28762" fmla="*/ 8973760 w 10505529"/>
              <a:gd name="connsiteY28762" fmla="*/ 2662328 h 7458372"/>
              <a:gd name="connsiteX28763" fmla="*/ 8964442 w 10505529"/>
              <a:gd name="connsiteY28763" fmla="*/ 2668583 h 7458372"/>
              <a:gd name="connsiteX28764" fmla="*/ 8952728 w 10505529"/>
              <a:gd name="connsiteY28764" fmla="*/ 2670846 h 7458372"/>
              <a:gd name="connsiteX28765" fmla="*/ 8930896 w 10505529"/>
              <a:gd name="connsiteY28765" fmla="*/ 2662328 h 7458372"/>
              <a:gd name="connsiteX28766" fmla="*/ 8922510 w 10505529"/>
              <a:gd name="connsiteY28766" fmla="*/ 2641161 h 7458372"/>
              <a:gd name="connsiteX28767" fmla="*/ 8930896 w 10505529"/>
              <a:gd name="connsiteY28767" fmla="*/ 2620128 h 7458372"/>
              <a:gd name="connsiteX28768" fmla="*/ 8952728 w 10505529"/>
              <a:gd name="connsiteY28768" fmla="*/ 2611475 h 7458372"/>
              <a:gd name="connsiteX28769" fmla="*/ 8735083 w 10505529"/>
              <a:gd name="connsiteY28769" fmla="*/ 2611475 h 7458372"/>
              <a:gd name="connsiteX28770" fmla="*/ 8746797 w 10505529"/>
              <a:gd name="connsiteY28770" fmla="*/ 2614137 h 7458372"/>
              <a:gd name="connsiteX28771" fmla="*/ 8756115 w 10505529"/>
              <a:gd name="connsiteY28771" fmla="*/ 2620528 h 7458372"/>
              <a:gd name="connsiteX28772" fmla="*/ 8762238 w 10505529"/>
              <a:gd name="connsiteY28772" fmla="*/ 2629846 h 7458372"/>
              <a:gd name="connsiteX28773" fmla="*/ 8764502 w 10505529"/>
              <a:gd name="connsiteY28773" fmla="*/ 2641294 h 7458372"/>
              <a:gd name="connsiteX28774" fmla="*/ 8762238 w 10505529"/>
              <a:gd name="connsiteY28774" fmla="*/ 2653009 h 7458372"/>
              <a:gd name="connsiteX28775" fmla="*/ 8756115 w 10505529"/>
              <a:gd name="connsiteY28775" fmla="*/ 2662328 h 7458372"/>
              <a:gd name="connsiteX28776" fmla="*/ 8746797 w 10505529"/>
              <a:gd name="connsiteY28776" fmla="*/ 2668583 h 7458372"/>
              <a:gd name="connsiteX28777" fmla="*/ 8735083 w 10505529"/>
              <a:gd name="connsiteY28777" fmla="*/ 2670846 h 7458372"/>
              <a:gd name="connsiteX28778" fmla="*/ 8713250 w 10505529"/>
              <a:gd name="connsiteY28778" fmla="*/ 2662328 h 7458372"/>
              <a:gd name="connsiteX28779" fmla="*/ 8704864 w 10505529"/>
              <a:gd name="connsiteY28779" fmla="*/ 2641161 h 7458372"/>
              <a:gd name="connsiteX28780" fmla="*/ 8713250 w 10505529"/>
              <a:gd name="connsiteY28780" fmla="*/ 2620128 h 7458372"/>
              <a:gd name="connsiteX28781" fmla="*/ 8735083 w 10505529"/>
              <a:gd name="connsiteY28781" fmla="*/ 2611475 h 7458372"/>
              <a:gd name="connsiteX28782" fmla="*/ 8517438 w 10505529"/>
              <a:gd name="connsiteY28782" fmla="*/ 2611475 h 7458372"/>
              <a:gd name="connsiteX28783" fmla="*/ 8529152 w 10505529"/>
              <a:gd name="connsiteY28783" fmla="*/ 2614137 h 7458372"/>
              <a:gd name="connsiteX28784" fmla="*/ 8538470 w 10505529"/>
              <a:gd name="connsiteY28784" fmla="*/ 2620528 h 7458372"/>
              <a:gd name="connsiteX28785" fmla="*/ 8544594 w 10505529"/>
              <a:gd name="connsiteY28785" fmla="*/ 2629846 h 7458372"/>
              <a:gd name="connsiteX28786" fmla="*/ 8546857 w 10505529"/>
              <a:gd name="connsiteY28786" fmla="*/ 2641294 h 7458372"/>
              <a:gd name="connsiteX28787" fmla="*/ 8544594 w 10505529"/>
              <a:gd name="connsiteY28787" fmla="*/ 2653009 h 7458372"/>
              <a:gd name="connsiteX28788" fmla="*/ 8538470 w 10505529"/>
              <a:gd name="connsiteY28788" fmla="*/ 2662328 h 7458372"/>
              <a:gd name="connsiteX28789" fmla="*/ 8529152 w 10505529"/>
              <a:gd name="connsiteY28789" fmla="*/ 2668583 h 7458372"/>
              <a:gd name="connsiteX28790" fmla="*/ 8517438 w 10505529"/>
              <a:gd name="connsiteY28790" fmla="*/ 2670846 h 7458372"/>
              <a:gd name="connsiteX28791" fmla="*/ 8495606 w 10505529"/>
              <a:gd name="connsiteY28791" fmla="*/ 2662328 h 7458372"/>
              <a:gd name="connsiteX28792" fmla="*/ 8487220 w 10505529"/>
              <a:gd name="connsiteY28792" fmla="*/ 2641161 h 7458372"/>
              <a:gd name="connsiteX28793" fmla="*/ 8495606 w 10505529"/>
              <a:gd name="connsiteY28793" fmla="*/ 2620128 h 7458372"/>
              <a:gd name="connsiteX28794" fmla="*/ 8517438 w 10505529"/>
              <a:gd name="connsiteY28794" fmla="*/ 2611475 h 7458372"/>
              <a:gd name="connsiteX28795" fmla="*/ 8299793 w 10505529"/>
              <a:gd name="connsiteY28795" fmla="*/ 2611475 h 7458372"/>
              <a:gd name="connsiteX28796" fmla="*/ 8311507 w 10505529"/>
              <a:gd name="connsiteY28796" fmla="*/ 2614137 h 7458372"/>
              <a:gd name="connsiteX28797" fmla="*/ 8320825 w 10505529"/>
              <a:gd name="connsiteY28797" fmla="*/ 2620528 h 7458372"/>
              <a:gd name="connsiteX28798" fmla="*/ 8326948 w 10505529"/>
              <a:gd name="connsiteY28798" fmla="*/ 2629846 h 7458372"/>
              <a:gd name="connsiteX28799" fmla="*/ 8329212 w 10505529"/>
              <a:gd name="connsiteY28799" fmla="*/ 2641294 h 7458372"/>
              <a:gd name="connsiteX28800" fmla="*/ 8326948 w 10505529"/>
              <a:gd name="connsiteY28800" fmla="*/ 2653009 h 7458372"/>
              <a:gd name="connsiteX28801" fmla="*/ 8320825 w 10505529"/>
              <a:gd name="connsiteY28801" fmla="*/ 2662328 h 7458372"/>
              <a:gd name="connsiteX28802" fmla="*/ 8311507 w 10505529"/>
              <a:gd name="connsiteY28802" fmla="*/ 2668583 h 7458372"/>
              <a:gd name="connsiteX28803" fmla="*/ 8299793 w 10505529"/>
              <a:gd name="connsiteY28803" fmla="*/ 2670846 h 7458372"/>
              <a:gd name="connsiteX28804" fmla="*/ 8277960 w 10505529"/>
              <a:gd name="connsiteY28804" fmla="*/ 2662328 h 7458372"/>
              <a:gd name="connsiteX28805" fmla="*/ 8269574 w 10505529"/>
              <a:gd name="connsiteY28805" fmla="*/ 2641161 h 7458372"/>
              <a:gd name="connsiteX28806" fmla="*/ 8277960 w 10505529"/>
              <a:gd name="connsiteY28806" fmla="*/ 2620128 h 7458372"/>
              <a:gd name="connsiteX28807" fmla="*/ 8299793 w 10505529"/>
              <a:gd name="connsiteY28807" fmla="*/ 2611475 h 7458372"/>
              <a:gd name="connsiteX28808" fmla="*/ 8082281 w 10505529"/>
              <a:gd name="connsiteY28808" fmla="*/ 2611475 h 7458372"/>
              <a:gd name="connsiteX28809" fmla="*/ 8094127 w 10505529"/>
              <a:gd name="connsiteY28809" fmla="*/ 2614137 h 7458372"/>
              <a:gd name="connsiteX28810" fmla="*/ 8103446 w 10505529"/>
              <a:gd name="connsiteY28810" fmla="*/ 2620528 h 7458372"/>
              <a:gd name="connsiteX28811" fmla="*/ 8109569 w 10505529"/>
              <a:gd name="connsiteY28811" fmla="*/ 2629846 h 7458372"/>
              <a:gd name="connsiteX28812" fmla="*/ 8111832 w 10505529"/>
              <a:gd name="connsiteY28812" fmla="*/ 2641294 h 7458372"/>
              <a:gd name="connsiteX28813" fmla="*/ 8109569 w 10505529"/>
              <a:gd name="connsiteY28813" fmla="*/ 2653009 h 7458372"/>
              <a:gd name="connsiteX28814" fmla="*/ 8103446 w 10505529"/>
              <a:gd name="connsiteY28814" fmla="*/ 2662328 h 7458372"/>
              <a:gd name="connsiteX28815" fmla="*/ 8094127 w 10505529"/>
              <a:gd name="connsiteY28815" fmla="*/ 2668583 h 7458372"/>
              <a:gd name="connsiteX28816" fmla="*/ 8082281 w 10505529"/>
              <a:gd name="connsiteY28816" fmla="*/ 2670846 h 7458372"/>
              <a:gd name="connsiteX28817" fmla="*/ 8060448 w 10505529"/>
              <a:gd name="connsiteY28817" fmla="*/ 2662328 h 7458372"/>
              <a:gd name="connsiteX28818" fmla="*/ 8052062 w 10505529"/>
              <a:gd name="connsiteY28818" fmla="*/ 2641161 h 7458372"/>
              <a:gd name="connsiteX28819" fmla="*/ 8060448 w 10505529"/>
              <a:gd name="connsiteY28819" fmla="*/ 2620128 h 7458372"/>
              <a:gd name="connsiteX28820" fmla="*/ 8082281 w 10505529"/>
              <a:gd name="connsiteY28820" fmla="*/ 2611475 h 7458372"/>
              <a:gd name="connsiteX28821" fmla="*/ 7864636 w 10505529"/>
              <a:gd name="connsiteY28821" fmla="*/ 2611475 h 7458372"/>
              <a:gd name="connsiteX28822" fmla="*/ 7876483 w 10505529"/>
              <a:gd name="connsiteY28822" fmla="*/ 2614137 h 7458372"/>
              <a:gd name="connsiteX28823" fmla="*/ 7885802 w 10505529"/>
              <a:gd name="connsiteY28823" fmla="*/ 2620528 h 7458372"/>
              <a:gd name="connsiteX28824" fmla="*/ 7891924 w 10505529"/>
              <a:gd name="connsiteY28824" fmla="*/ 2629846 h 7458372"/>
              <a:gd name="connsiteX28825" fmla="*/ 7894188 w 10505529"/>
              <a:gd name="connsiteY28825" fmla="*/ 2641294 h 7458372"/>
              <a:gd name="connsiteX28826" fmla="*/ 7891924 w 10505529"/>
              <a:gd name="connsiteY28826" fmla="*/ 2653009 h 7458372"/>
              <a:gd name="connsiteX28827" fmla="*/ 7885802 w 10505529"/>
              <a:gd name="connsiteY28827" fmla="*/ 2662328 h 7458372"/>
              <a:gd name="connsiteX28828" fmla="*/ 7876483 w 10505529"/>
              <a:gd name="connsiteY28828" fmla="*/ 2668583 h 7458372"/>
              <a:gd name="connsiteX28829" fmla="*/ 7864636 w 10505529"/>
              <a:gd name="connsiteY28829" fmla="*/ 2670846 h 7458372"/>
              <a:gd name="connsiteX28830" fmla="*/ 7842803 w 10505529"/>
              <a:gd name="connsiteY28830" fmla="*/ 2662328 h 7458372"/>
              <a:gd name="connsiteX28831" fmla="*/ 7834417 w 10505529"/>
              <a:gd name="connsiteY28831" fmla="*/ 2641161 h 7458372"/>
              <a:gd name="connsiteX28832" fmla="*/ 7842803 w 10505529"/>
              <a:gd name="connsiteY28832" fmla="*/ 2620128 h 7458372"/>
              <a:gd name="connsiteX28833" fmla="*/ 7864636 w 10505529"/>
              <a:gd name="connsiteY28833" fmla="*/ 2611475 h 7458372"/>
              <a:gd name="connsiteX28834" fmla="*/ 7646991 w 10505529"/>
              <a:gd name="connsiteY28834" fmla="*/ 2611475 h 7458372"/>
              <a:gd name="connsiteX28835" fmla="*/ 7658705 w 10505529"/>
              <a:gd name="connsiteY28835" fmla="*/ 2614137 h 7458372"/>
              <a:gd name="connsiteX28836" fmla="*/ 7668022 w 10505529"/>
              <a:gd name="connsiteY28836" fmla="*/ 2620528 h 7458372"/>
              <a:gd name="connsiteX28837" fmla="*/ 7674146 w 10505529"/>
              <a:gd name="connsiteY28837" fmla="*/ 2629846 h 7458372"/>
              <a:gd name="connsiteX28838" fmla="*/ 7676409 w 10505529"/>
              <a:gd name="connsiteY28838" fmla="*/ 2641294 h 7458372"/>
              <a:gd name="connsiteX28839" fmla="*/ 7674146 w 10505529"/>
              <a:gd name="connsiteY28839" fmla="*/ 2653009 h 7458372"/>
              <a:gd name="connsiteX28840" fmla="*/ 7668022 w 10505529"/>
              <a:gd name="connsiteY28840" fmla="*/ 2662328 h 7458372"/>
              <a:gd name="connsiteX28841" fmla="*/ 7658705 w 10505529"/>
              <a:gd name="connsiteY28841" fmla="*/ 2668583 h 7458372"/>
              <a:gd name="connsiteX28842" fmla="*/ 7646991 w 10505529"/>
              <a:gd name="connsiteY28842" fmla="*/ 2670846 h 7458372"/>
              <a:gd name="connsiteX28843" fmla="*/ 7625158 w 10505529"/>
              <a:gd name="connsiteY28843" fmla="*/ 2662328 h 7458372"/>
              <a:gd name="connsiteX28844" fmla="*/ 7616772 w 10505529"/>
              <a:gd name="connsiteY28844" fmla="*/ 2641161 h 7458372"/>
              <a:gd name="connsiteX28845" fmla="*/ 7625158 w 10505529"/>
              <a:gd name="connsiteY28845" fmla="*/ 2620128 h 7458372"/>
              <a:gd name="connsiteX28846" fmla="*/ 7646991 w 10505529"/>
              <a:gd name="connsiteY28846" fmla="*/ 2611475 h 7458372"/>
              <a:gd name="connsiteX28847" fmla="*/ 7429345 w 10505529"/>
              <a:gd name="connsiteY28847" fmla="*/ 2611475 h 7458372"/>
              <a:gd name="connsiteX28848" fmla="*/ 7441059 w 10505529"/>
              <a:gd name="connsiteY28848" fmla="*/ 2614137 h 7458372"/>
              <a:gd name="connsiteX28849" fmla="*/ 7450377 w 10505529"/>
              <a:gd name="connsiteY28849" fmla="*/ 2620528 h 7458372"/>
              <a:gd name="connsiteX28850" fmla="*/ 7456501 w 10505529"/>
              <a:gd name="connsiteY28850" fmla="*/ 2629846 h 7458372"/>
              <a:gd name="connsiteX28851" fmla="*/ 7458764 w 10505529"/>
              <a:gd name="connsiteY28851" fmla="*/ 2641294 h 7458372"/>
              <a:gd name="connsiteX28852" fmla="*/ 7456501 w 10505529"/>
              <a:gd name="connsiteY28852" fmla="*/ 2653009 h 7458372"/>
              <a:gd name="connsiteX28853" fmla="*/ 7450377 w 10505529"/>
              <a:gd name="connsiteY28853" fmla="*/ 2662328 h 7458372"/>
              <a:gd name="connsiteX28854" fmla="*/ 7441059 w 10505529"/>
              <a:gd name="connsiteY28854" fmla="*/ 2668583 h 7458372"/>
              <a:gd name="connsiteX28855" fmla="*/ 7429345 w 10505529"/>
              <a:gd name="connsiteY28855" fmla="*/ 2670846 h 7458372"/>
              <a:gd name="connsiteX28856" fmla="*/ 7407513 w 10505529"/>
              <a:gd name="connsiteY28856" fmla="*/ 2662328 h 7458372"/>
              <a:gd name="connsiteX28857" fmla="*/ 7399127 w 10505529"/>
              <a:gd name="connsiteY28857" fmla="*/ 2641161 h 7458372"/>
              <a:gd name="connsiteX28858" fmla="*/ 7407513 w 10505529"/>
              <a:gd name="connsiteY28858" fmla="*/ 2620128 h 7458372"/>
              <a:gd name="connsiteX28859" fmla="*/ 7429345 w 10505529"/>
              <a:gd name="connsiteY28859" fmla="*/ 2611475 h 7458372"/>
              <a:gd name="connsiteX28860" fmla="*/ 7211701 w 10505529"/>
              <a:gd name="connsiteY28860" fmla="*/ 2611475 h 7458372"/>
              <a:gd name="connsiteX28861" fmla="*/ 7223415 w 10505529"/>
              <a:gd name="connsiteY28861" fmla="*/ 2614137 h 7458372"/>
              <a:gd name="connsiteX28862" fmla="*/ 7232733 w 10505529"/>
              <a:gd name="connsiteY28862" fmla="*/ 2620528 h 7458372"/>
              <a:gd name="connsiteX28863" fmla="*/ 7238856 w 10505529"/>
              <a:gd name="connsiteY28863" fmla="*/ 2629846 h 7458372"/>
              <a:gd name="connsiteX28864" fmla="*/ 7241120 w 10505529"/>
              <a:gd name="connsiteY28864" fmla="*/ 2641294 h 7458372"/>
              <a:gd name="connsiteX28865" fmla="*/ 7238856 w 10505529"/>
              <a:gd name="connsiteY28865" fmla="*/ 2653009 h 7458372"/>
              <a:gd name="connsiteX28866" fmla="*/ 7232733 w 10505529"/>
              <a:gd name="connsiteY28866" fmla="*/ 2662328 h 7458372"/>
              <a:gd name="connsiteX28867" fmla="*/ 7223415 w 10505529"/>
              <a:gd name="connsiteY28867" fmla="*/ 2668583 h 7458372"/>
              <a:gd name="connsiteX28868" fmla="*/ 7211701 w 10505529"/>
              <a:gd name="connsiteY28868" fmla="*/ 2670846 h 7458372"/>
              <a:gd name="connsiteX28869" fmla="*/ 7189868 w 10505529"/>
              <a:gd name="connsiteY28869" fmla="*/ 2662328 h 7458372"/>
              <a:gd name="connsiteX28870" fmla="*/ 7181482 w 10505529"/>
              <a:gd name="connsiteY28870" fmla="*/ 2641161 h 7458372"/>
              <a:gd name="connsiteX28871" fmla="*/ 7189868 w 10505529"/>
              <a:gd name="connsiteY28871" fmla="*/ 2620128 h 7458372"/>
              <a:gd name="connsiteX28872" fmla="*/ 7211701 w 10505529"/>
              <a:gd name="connsiteY28872" fmla="*/ 2611475 h 7458372"/>
              <a:gd name="connsiteX28873" fmla="*/ 6994056 w 10505529"/>
              <a:gd name="connsiteY28873" fmla="*/ 2611475 h 7458372"/>
              <a:gd name="connsiteX28874" fmla="*/ 7005769 w 10505529"/>
              <a:gd name="connsiteY28874" fmla="*/ 2614137 h 7458372"/>
              <a:gd name="connsiteX28875" fmla="*/ 7015087 w 10505529"/>
              <a:gd name="connsiteY28875" fmla="*/ 2620528 h 7458372"/>
              <a:gd name="connsiteX28876" fmla="*/ 7021211 w 10505529"/>
              <a:gd name="connsiteY28876" fmla="*/ 2629846 h 7458372"/>
              <a:gd name="connsiteX28877" fmla="*/ 7023474 w 10505529"/>
              <a:gd name="connsiteY28877" fmla="*/ 2641294 h 7458372"/>
              <a:gd name="connsiteX28878" fmla="*/ 7021211 w 10505529"/>
              <a:gd name="connsiteY28878" fmla="*/ 2653009 h 7458372"/>
              <a:gd name="connsiteX28879" fmla="*/ 7015087 w 10505529"/>
              <a:gd name="connsiteY28879" fmla="*/ 2662328 h 7458372"/>
              <a:gd name="connsiteX28880" fmla="*/ 7005769 w 10505529"/>
              <a:gd name="connsiteY28880" fmla="*/ 2668583 h 7458372"/>
              <a:gd name="connsiteX28881" fmla="*/ 6994056 w 10505529"/>
              <a:gd name="connsiteY28881" fmla="*/ 2670846 h 7458372"/>
              <a:gd name="connsiteX28882" fmla="*/ 6972223 w 10505529"/>
              <a:gd name="connsiteY28882" fmla="*/ 2662328 h 7458372"/>
              <a:gd name="connsiteX28883" fmla="*/ 6963837 w 10505529"/>
              <a:gd name="connsiteY28883" fmla="*/ 2641161 h 7458372"/>
              <a:gd name="connsiteX28884" fmla="*/ 6972223 w 10505529"/>
              <a:gd name="connsiteY28884" fmla="*/ 2620128 h 7458372"/>
              <a:gd name="connsiteX28885" fmla="*/ 6994056 w 10505529"/>
              <a:gd name="connsiteY28885" fmla="*/ 2611475 h 7458372"/>
              <a:gd name="connsiteX28886" fmla="*/ 6776544 w 10505529"/>
              <a:gd name="connsiteY28886" fmla="*/ 2611475 h 7458372"/>
              <a:gd name="connsiteX28887" fmla="*/ 6788258 w 10505529"/>
              <a:gd name="connsiteY28887" fmla="*/ 2614137 h 7458372"/>
              <a:gd name="connsiteX28888" fmla="*/ 6797576 w 10505529"/>
              <a:gd name="connsiteY28888" fmla="*/ 2620528 h 7458372"/>
              <a:gd name="connsiteX28889" fmla="*/ 6803699 w 10505529"/>
              <a:gd name="connsiteY28889" fmla="*/ 2629846 h 7458372"/>
              <a:gd name="connsiteX28890" fmla="*/ 6805963 w 10505529"/>
              <a:gd name="connsiteY28890" fmla="*/ 2641294 h 7458372"/>
              <a:gd name="connsiteX28891" fmla="*/ 6803699 w 10505529"/>
              <a:gd name="connsiteY28891" fmla="*/ 2653009 h 7458372"/>
              <a:gd name="connsiteX28892" fmla="*/ 6797576 w 10505529"/>
              <a:gd name="connsiteY28892" fmla="*/ 2662328 h 7458372"/>
              <a:gd name="connsiteX28893" fmla="*/ 6788258 w 10505529"/>
              <a:gd name="connsiteY28893" fmla="*/ 2668583 h 7458372"/>
              <a:gd name="connsiteX28894" fmla="*/ 6776544 w 10505529"/>
              <a:gd name="connsiteY28894" fmla="*/ 2670846 h 7458372"/>
              <a:gd name="connsiteX28895" fmla="*/ 6754711 w 10505529"/>
              <a:gd name="connsiteY28895" fmla="*/ 2662328 h 7458372"/>
              <a:gd name="connsiteX28896" fmla="*/ 6746325 w 10505529"/>
              <a:gd name="connsiteY28896" fmla="*/ 2641161 h 7458372"/>
              <a:gd name="connsiteX28897" fmla="*/ 6754711 w 10505529"/>
              <a:gd name="connsiteY28897" fmla="*/ 2620128 h 7458372"/>
              <a:gd name="connsiteX28898" fmla="*/ 6776544 w 10505529"/>
              <a:gd name="connsiteY28898" fmla="*/ 2611475 h 7458372"/>
              <a:gd name="connsiteX28899" fmla="*/ 6558899 w 10505529"/>
              <a:gd name="connsiteY28899" fmla="*/ 2611475 h 7458372"/>
              <a:gd name="connsiteX28900" fmla="*/ 6570612 w 10505529"/>
              <a:gd name="connsiteY28900" fmla="*/ 2614137 h 7458372"/>
              <a:gd name="connsiteX28901" fmla="*/ 6579930 w 10505529"/>
              <a:gd name="connsiteY28901" fmla="*/ 2620528 h 7458372"/>
              <a:gd name="connsiteX28902" fmla="*/ 6586054 w 10505529"/>
              <a:gd name="connsiteY28902" fmla="*/ 2629846 h 7458372"/>
              <a:gd name="connsiteX28903" fmla="*/ 6588317 w 10505529"/>
              <a:gd name="connsiteY28903" fmla="*/ 2641294 h 7458372"/>
              <a:gd name="connsiteX28904" fmla="*/ 6586054 w 10505529"/>
              <a:gd name="connsiteY28904" fmla="*/ 2653009 h 7458372"/>
              <a:gd name="connsiteX28905" fmla="*/ 6579930 w 10505529"/>
              <a:gd name="connsiteY28905" fmla="*/ 2662328 h 7458372"/>
              <a:gd name="connsiteX28906" fmla="*/ 6570612 w 10505529"/>
              <a:gd name="connsiteY28906" fmla="*/ 2668583 h 7458372"/>
              <a:gd name="connsiteX28907" fmla="*/ 6558899 w 10505529"/>
              <a:gd name="connsiteY28907" fmla="*/ 2670846 h 7458372"/>
              <a:gd name="connsiteX28908" fmla="*/ 6537066 w 10505529"/>
              <a:gd name="connsiteY28908" fmla="*/ 2662328 h 7458372"/>
              <a:gd name="connsiteX28909" fmla="*/ 6528680 w 10505529"/>
              <a:gd name="connsiteY28909" fmla="*/ 2641161 h 7458372"/>
              <a:gd name="connsiteX28910" fmla="*/ 6537066 w 10505529"/>
              <a:gd name="connsiteY28910" fmla="*/ 2620128 h 7458372"/>
              <a:gd name="connsiteX28911" fmla="*/ 6558899 w 10505529"/>
              <a:gd name="connsiteY28911" fmla="*/ 2611475 h 7458372"/>
              <a:gd name="connsiteX28912" fmla="*/ 6341253 w 10505529"/>
              <a:gd name="connsiteY28912" fmla="*/ 2611475 h 7458372"/>
              <a:gd name="connsiteX28913" fmla="*/ 6352968 w 10505529"/>
              <a:gd name="connsiteY28913" fmla="*/ 2614137 h 7458372"/>
              <a:gd name="connsiteX28914" fmla="*/ 6362286 w 10505529"/>
              <a:gd name="connsiteY28914" fmla="*/ 2620528 h 7458372"/>
              <a:gd name="connsiteX28915" fmla="*/ 6368409 w 10505529"/>
              <a:gd name="connsiteY28915" fmla="*/ 2629846 h 7458372"/>
              <a:gd name="connsiteX28916" fmla="*/ 6370672 w 10505529"/>
              <a:gd name="connsiteY28916" fmla="*/ 2641294 h 7458372"/>
              <a:gd name="connsiteX28917" fmla="*/ 6368409 w 10505529"/>
              <a:gd name="connsiteY28917" fmla="*/ 2653009 h 7458372"/>
              <a:gd name="connsiteX28918" fmla="*/ 6362286 w 10505529"/>
              <a:gd name="connsiteY28918" fmla="*/ 2662328 h 7458372"/>
              <a:gd name="connsiteX28919" fmla="*/ 6352968 w 10505529"/>
              <a:gd name="connsiteY28919" fmla="*/ 2668583 h 7458372"/>
              <a:gd name="connsiteX28920" fmla="*/ 6341253 w 10505529"/>
              <a:gd name="connsiteY28920" fmla="*/ 2670846 h 7458372"/>
              <a:gd name="connsiteX28921" fmla="*/ 6319421 w 10505529"/>
              <a:gd name="connsiteY28921" fmla="*/ 2662328 h 7458372"/>
              <a:gd name="connsiteX28922" fmla="*/ 6311035 w 10505529"/>
              <a:gd name="connsiteY28922" fmla="*/ 2641161 h 7458372"/>
              <a:gd name="connsiteX28923" fmla="*/ 6319421 w 10505529"/>
              <a:gd name="connsiteY28923" fmla="*/ 2620128 h 7458372"/>
              <a:gd name="connsiteX28924" fmla="*/ 6341253 w 10505529"/>
              <a:gd name="connsiteY28924" fmla="*/ 2611475 h 7458372"/>
              <a:gd name="connsiteX28925" fmla="*/ 6123608 w 10505529"/>
              <a:gd name="connsiteY28925" fmla="*/ 2611475 h 7458372"/>
              <a:gd name="connsiteX28926" fmla="*/ 6135322 w 10505529"/>
              <a:gd name="connsiteY28926" fmla="*/ 2614137 h 7458372"/>
              <a:gd name="connsiteX28927" fmla="*/ 6144640 w 10505529"/>
              <a:gd name="connsiteY28927" fmla="*/ 2620528 h 7458372"/>
              <a:gd name="connsiteX28928" fmla="*/ 6150763 w 10505529"/>
              <a:gd name="connsiteY28928" fmla="*/ 2629846 h 7458372"/>
              <a:gd name="connsiteX28929" fmla="*/ 6153026 w 10505529"/>
              <a:gd name="connsiteY28929" fmla="*/ 2641294 h 7458372"/>
              <a:gd name="connsiteX28930" fmla="*/ 6150763 w 10505529"/>
              <a:gd name="connsiteY28930" fmla="*/ 2653009 h 7458372"/>
              <a:gd name="connsiteX28931" fmla="*/ 6144640 w 10505529"/>
              <a:gd name="connsiteY28931" fmla="*/ 2662328 h 7458372"/>
              <a:gd name="connsiteX28932" fmla="*/ 6135322 w 10505529"/>
              <a:gd name="connsiteY28932" fmla="*/ 2668583 h 7458372"/>
              <a:gd name="connsiteX28933" fmla="*/ 6123608 w 10505529"/>
              <a:gd name="connsiteY28933" fmla="*/ 2670846 h 7458372"/>
              <a:gd name="connsiteX28934" fmla="*/ 6101775 w 10505529"/>
              <a:gd name="connsiteY28934" fmla="*/ 2662328 h 7458372"/>
              <a:gd name="connsiteX28935" fmla="*/ 6093389 w 10505529"/>
              <a:gd name="connsiteY28935" fmla="*/ 2641161 h 7458372"/>
              <a:gd name="connsiteX28936" fmla="*/ 6101775 w 10505529"/>
              <a:gd name="connsiteY28936" fmla="*/ 2620128 h 7458372"/>
              <a:gd name="connsiteX28937" fmla="*/ 6123608 w 10505529"/>
              <a:gd name="connsiteY28937" fmla="*/ 2611475 h 7458372"/>
              <a:gd name="connsiteX28938" fmla="*/ 5905963 w 10505529"/>
              <a:gd name="connsiteY28938" fmla="*/ 2611475 h 7458372"/>
              <a:gd name="connsiteX28939" fmla="*/ 5917677 w 10505529"/>
              <a:gd name="connsiteY28939" fmla="*/ 2614137 h 7458372"/>
              <a:gd name="connsiteX28940" fmla="*/ 5926995 w 10505529"/>
              <a:gd name="connsiteY28940" fmla="*/ 2620528 h 7458372"/>
              <a:gd name="connsiteX28941" fmla="*/ 5933118 w 10505529"/>
              <a:gd name="connsiteY28941" fmla="*/ 2629846 h 7458372"/>
              <a:gd name="connsiteX28942" fmla="*/ 5935381 w 10505529"/>
              <a:gd name="connsiteY28942" fmla="*/ 2641294 h 7458372"/>
              <a:gd name="connsiteX28943" fmla="*/ 5933118 w 10505529"/>
              <a:gd name="connsiteY28943" fmla="*/ 2653009 h 7458372"/>
              <a:gd name="connsiteX28944" fmla="*/ 5926995 w 10505529"/>
              <a:gd name="connsiteY28944" fmla="*/ 2662328 h 7458372"/>
              <a:gd name="connsiteX28945" fmla="*/ 5917677 w 10505529"/>
              <a:gd name="connsiteY28945" fmla="*/ 2668583 h 7458372"/>
              <a:gd name="connsiteX28946" fmla="*/ 5905963 w 10505529"/>
              <a:gd name="connsiteY28946" fmla="*/ 2670846 h 7458372"/>
              <a:gd name="connsiteX28947" fmla="*/ 5884130 w 10505529"/>
              <a:gd name="connsiteY28947" fmla="*/ 2662328 h 7458372"/>
              <a:gd name="connsiteX28948" fmla="*/ 5875744 w 10505529"/>
              <a:gd name="connsiteY28948" fmla="*/ 2641161 h 7458372"/>
              <a:gd name="connsiteX28949" fmla="*/ 5884130 w 10505529"/>
              <a:gd name="connsiteY28949" fmla="*/ 2620128 h 7458372"/>
              <a:gd name="connsiteX28950" fmla="*/ 5905963 w 10505529"/>
              <a:gd name="connsiteY28950" fmla="*/ 2611475 h 7458372"/>
              <a:gd name="connsiteX28951" fmla="*/ 5688451 w 10505529"/>
              <a:gd name="connsiteY28951" fmla="*/ 2611475 h 7458372"/>
              <a:gd name="connsiteX28952" fmla="*/ 5700165 w 10505529"/>
              <a:gd name="connsiteY28952" fmla="*/ 2614137 h 7458372"/>
              <a:gd name="connsiteX28953" fmla="*/ 5709483 w 10505529"/>
              <a:gd name="connsiteY28953" fmla="*/ 2620528 h 7458372"/>
              <a:gd name="connsiteX28954" fmla="*/ 5715606 w 10505529"/>
              <a:gd name="connsiteY28954" fmla="*/ 2629846 h 7458372"/>
              <a:gd name="connsiteX28955" fmla="*/ 5717869 w 10505529"/>
              <a:gd name="connsiteY28955" fmla="*/ 2641294 h 7458372"/>
              <a:gd name="connsiteX28956" fmla="*/ 5715606 w 10505529"/>
              <a:gd name="connsiteY28956" fmla="*/ 2653009 h 7458372"/>
              <a:gd name="connsiteX28957" fmla="*/ 5709483 w 10505529"/>
              <a:gd name="connsiteY28957" fmla="*/ 2662328 h 7458372"/>
              <a:gd name="connsiteX28958" fmla="*/ 5700165 w 10505529"/>
              <a:gd name="connsiteY28958" fmla="*/ 2668583 h 7458372"/>
              <a:gd name="connsiteX28959" fmla="*/ 5688451 w 10505529"/>
              <a:gd name="connsiteY28959" fmla="*/ 2670846 h 7458372"/>
              <a:gd name="connsiteX28960" fmla="*/ 5666618 w 10505529"/>
              <a:gd name="connsiteY28960" fmla="*/ 2662328 h 7458372"/>
              <a:gd name="connsiteX28961" fmla="*/ 5658232 w 10505529"/>
              <a:gd name="connsiteY28961" fmla="*/ 2641161 h 7458372"/>
              <a:gd name="connsiteX28962" fmla="*/ 5666618 w 10505529"/>
              <a:gd name="connsiteY28962" fmla="*/ 2620128 h 7458372"/>
              <a:gd name="connsiteX28963" fmla="*/ 5688451 w 10505529"/>
              <a:gd name="connsiteY28963" fmla="*/ 2611475 h 7458372"/>
              <a:gd name="connsiteX28964" fmla="*/ 5470806 w 10505529"/>
              <a:gd name="connsiteY28964" fmla="*/ 2611475 h 7458372"/>
              <a:gd name="connsiteX28965" fmla="*/ 5482520 w 10505529"/>
              <a:gd name="connsiteY28965" fmla="*/ 2614137 h 7458372"/>
              <a:gd name="connsiteX28966" fmla="*/ 5491838 w 10505529"/>
              <a:gd name="connsiteY28966" fmla="*/ 2620528 h 7458372"/>
              <a:gd name="connsiteX28967" fmla="*/ 5497961 w 10505529"/>
              <a:gd name="connsiteY28967" fmla="*/ 2629846 h 7458372"/>
              <a:gd name="connsiteX28968" fmla="*/ 5500224 w 10505529"/>
              <a:gd name="connsiteY28968" fmla="*/ 2641294 h 7458372"/>
              <a:gd name="connsiteX28969" fmla="*/ 5497961 w 10505529"/>
              <a:gd name="connsiteY28969" fmla="*/ 2653009 h 7458372"/>
              <a:gd name="connsiteX28970" fmla="*/ 5491838 w 10505529"/>
              <a:gd name="connsiteY28970" fmla="*/ 2662328 h 7458372"/>
              <a:gd name="connsiteX28971" fmla="*/ 5482520 w 10505529"/>
              <a:gd name="connsiteY28971" fmla="*/ 2668583 h 7458372"/>
              <a:gd name="connsiteX28972" fmla="*/ 5470806 w 10505529"/>
              <a:gd name="connsiteY28972" fmla="*/ 2670846 h 7458372"/>
              <a:gd name="connsiteX28973" fmla="*/ 5448973 w 10505529"/>
              <a:gd name="connsiteY28973" fmla="*/ 2662328 h 7458372"/>
              <a:gd name="connsiteX28974" fmla="*/ 5440587 w 10505529"/>
              <a:gd name="connsiteY28974" fmla="*/ 2641161 h 7458372"/>
              <a:gd name="connsiteX28975" fmla="*/ 5448973 w 10505529"/>
              <a:gd name="connsiteY28975" fmla="*/ 2620128 h 7458372"/>
              <a:gd name="connsiteX28976" fmla="*/ 5470806 w 10505529"/>
              <a:gd name="connsiteY28976" fmla="*/ 2611475 h 7458372"/>
              <a:gd name="connsiteX28977" fmla="*/ 5253160 w 10505529"/>
              <a:gd name="connsiteY28977" fmla="*/ 2611475 h 7458372"/>
              <a:gd name="connsiteX28978" fmla="*/ 5264875 w 10505529"/>
              <a:gd name="connsiteY28978" fmla="*/ 2614137 h 7458372"/>
              <a:gd name="connsiteX28979" fmla="*/ 5274192 w 10505529"/>
              <a:gd name="connsiteY28979" fmla="*/ 2620528 h 7458372"/>
              <a:gd name="connsiteX28980" fmla="*/ 5280316 w 10505529"/>
              <a:gd name="connsiteY28980" fmla="*/ 2629846 h 7458372"/>
              <a:gd name="connsiteX28981" fmla="*/ 5282579 w 10505529"/>
              <a:gd name="connsiteY28981" fmla="*/ 2641294 h 7458372"/>
              <a:gd name="connsiteX28982" fmla="*/ 5280316 w 10505529"/>
              <a:gd name="connsiteY28982" fmla="*/ 2653009 h 7458372"/>
              <a:gd name="connsiteX28983" fmla="*/ 5274192 w 10505529"/>
              <a:gd name="connsiteY28983" fmla="*/ 2662328 h 7458372"/>
              <a:gd name="connsiteX28984" fmla="*/ 5264875 w 10505529"/>
              <a:gd name="connsiteY28984" fmla="*/ 2668583 h 7458372"/>
              <a:gd name="connsiteX28985" fmla="*/ 5253160 w 10505529"/>
              <a:gd name="connsiteY28985" fmla="*/ 2670846 h 7458372"/>
              <a:gd name="connsiteX28986" fmla="*/ 5231328 w 10505529"/>
              <a:gd name="connsiteY28986" fmla="*/ 2662328 h 7458372"/>
              <a:gd name="connsiteX28987" fmla="*/ 5222942 w 10505529"/>
              <a:gd name="connsiteY28987" fmla="*/ 2641161 h 7458372"/>
              <a:gd name="connsiteX28988" fmla="*/ 5231328 w 10505529"/>
              <a:gd name="connsiteY28988" fmla="*/ 2620128 h 7458372"/>
              <a:gd name="connsiteX28989" fmla="*/ 5253160 w 10505529"/>
              <a:gd name="connsiteY28989" fmla="*/ 2611475 h 7458372"/>
              <a:gd name="connsiteX28990" fmla="*/ 5035515 w 10505529"/>
              <a:gd name="connsiteY28990" fmla="*/ 2611475 h 7458372"/>
              <a:gd name="connsiteX28991" fmla="*/ 5047230 w 10505529"/>
              <a:gd name="connsiteY28991" fmla="*/ 2614137 h 7458372"/>
              <a:gd name="connsiteX28992" fmla="*/ 5056548 w 10505529"/>
              <a:gd name="connsiteY28992" fmla="*/ 2620528 h 7458372"/>
              <a:gd name="connsiteX28993" fmla="*/ 5062671 w 10505529"/>
              <a:gd name="connsiteY28993" fmla="*/ 2629846 h 7458372"/>
              <a:gd name="connsiteX28994" fmla="*/ 5064934 w 10505529"/>
              <a:gd name="connsiteY28994" fmla="*/ 2641294 h 7458372"/>
              <a:gd name="connsiteX28995" fmla="*/ 5062671 w 10505529"/>
              <a:gd name="connsiteY28995" fmla="*/ 2653009 h 7458372"/>
              <a:gd name="connsiteX28996" fmla="*/ 5056548 w 10505529"/>
              <a:gd name="connsiteY28996" fmla="*/ 2662328 h 7458372"/>
              <a:gd name="connsiteX28997" fmla="*/ 5047230 w 10505529"/>
              <a:gd name="connsiteY28997" fmla="*/ 2668583 h 7458372"/>
              <a:gd name="connsiteX28998" fmla="*/ 5035515 w 10505529"/>
              <a:gd name="connsiteY28998" fmla="*/ 2670846 h 7458372"/>
              <a:gd name="connsiteX28999" fmla="*/ 5013683 w 10505529"/>
              <a:gd name="connsiteY28999" fmla="*/ 2662328 h 7458372"/>
              <a:gd name="connsiteX29000" fmla="*/ 5005297 w 10505529"/>
              <a:gd name="connsiteY29000" fmla="*/ 2641161 h 7458372"/>
              <a:gd name="connsiteX29001" fmla="*/ 5013683 w 10505529"/>
              <a:gd name="connsiteY29001" fmla="*/ 2620128 h 7458372"/>
              <a:gd name="connsiteX29002" fmla="*/ 5035515 w 10505529"/>
              <a:gd name="connsiteY29002" fmla="*/ 2611475 h 7458372"/>
              <a:gd name="connsiteX29003" fmla="*/ 4817870 w 10505529"/>
              <a:gd name="connsiteY29003" fmla="*/ 2611475 h 7458372"/>
              <a:gd name="connsiteX29004" fmla="*/ 4829585 w 10505529"/>
              <a:gd name="connsiteY29004" fmla="*/ 2614137 h 7458372"/>
              <a:gd name="connsiteX29005" fmla="*/ 4838903 w 10505529"/>
              <a:gd name="connsiteY29005" fmla="*/ 2620528 h 7458372"/>
              <a:gd name="connsiteX29006" fmla="*/ 4845026 w 10505529"/>
              <a:gd name="connsiteY29006" fmla="*/ 2629846 h 7458372"/>
              <a:gd name="connsiteX29007" fmla="*/ 4847289 w 10505529"/>
              <a:gd name="connsiteY29007" fmla="*/ 2641294 h 7458372"/>
              <a:gd name="connsiteX29008" fmla="*/ 4845026 w 10505529"/>
              <a:gd name="connsiteY29008" fmla="*/ 2653009 h 7458372"/>
              <a:gd name="connsiteX29009" fmla="*/ 4838903 w 10505529"/>
              <a:gd name="connsiteY29009" fmla="*/ 2662328 h 7458372"/>
              <a:gd name="connsiteX29010" fmla="*/ 4829585 w 10505529"/>
              <a:gd name="connsiteY29010" fmla="*/ 2668583 h 7458372"/>
              <a:gd name="connsiteX29011" fmla="*/ 4817870 w 10505529"/>
              <a:gd name="connsiteY29011" fmla="*/ 2670846 h 7458372"/>
              <a:gd name="connsiteX29012" fmla="*/ 4796038 w 10505529"/>
              <a:gd name="connsiteY29012" fmla="*/ 2662328 h 7458372"/>
              <a:gd name="connsiteX29013" fmla="*/ 4787652 w 10505529"/>
              <a:gd name="connsiteY29013" fmla="*/ 2641161 h 7458372"/>
              <a:gd name="connsiteX29014" fmla="*/ 4796038 w 10505529"/>
              <a:gd name="connsiteY29014" fmla="*/ 2620128 h 7458372"/>
              <a:gd name="connsiteX29015" fmla="*/ 4817870 w 10505529"/>
              <a:gd name="connsiteY29015" fmla="*/ 2611475 h 7458372"/>
              <a:gd name="connsiteX29016" fmla="*/ 4600226 w 10505529"/>
              <a:gd name="connsiteY29016" fmla="*/ 2611475 h 7458372"/>
              <a:gd name="connsiteX29017" fmla="*/ 4612073 w 10505529"/>
              <a:gd name="connsiteY29017" fmla="*/ 2614137 h 7458372"/>
              <a:gd name="connsiteX29018" fmla="*/ 4621391 w 10505529"/>
              <a:gd name="connsiteY29018" fmla="*/ 2620528 h 7458372"/>
              <a:gd name="connsiteX29019" fmla="*/ 4627514 w 10505529"/>
              <a:gd name="connsiteY29019" fmla="*/ 2629846 h 7458372"/>
              <a:gd name="connsiteX29020" fmla="*/ 4629777 w 10505529"/>
              <a:gd name="connsiteY29020" fmla="*/ 2641294 h 7458372"/>
              <a:gd name="connsiteX29021" fmla="*/ 4627514 w 10505529"/>
              <a:gd name="connsiteY29021" fmla="*/ 2653009 h 7458372"/>
              <a:gd name="connsiteX29022" fmla="*/ 4621391 w 10505529"/>
              <a:gd name="connsiteY29022" fmla="*/ 2662328 h 7458372"/>
              <a:gd name="connsiteX29023" fmla="*/ 4612073 w 10505529"/>
              <a:gd name="connsiteY29023" fmla="*/ 2668583 h 7458372"/>
              <a:gd name="connsiteX29024" fmla="*/ 4600226 w 10505529"/>
              <a:gd name="connsiteY29024" fmla="*/ 2670846 h 7458372"/>
              <a:gd name="connsiteX29025" fmla="*/ 4578393 w 10505529"/>
              <a:gd name="connsiteY29025" fmla="*/ 2662328 h 7458372"/>
              <a:gd name="connsiteX29026" fmla="*/ 4570007 w 10505529"/>
              <a:gd name="connsiteY29026" fmla="*/ 2641161 h 7458372"/>
              <a:gd name="connsiteX29027" fmla="*/ 4578393 w 10505529"/>
              <a:gd name="connsiteY29027" fmla="*/ 2620128 h 7458372"/>
              <a:gd name="connsiteX29028" fmla="*/ 4600226 w 10505529"/>
              <a:gd name="connsiteY29028" fmla="*/ 2611475 h 7458372"/>
              <a:gd name="connsiteX29029" fmla="*/ 4382713 w 10505529"/>
              <a:gd name="connsiteY29029" fmla="*/ 2611475 h 7458372"/>
              <a:gd name="connsiteX29030" fmla="*/ 4394428 w 10505529"/>
              <a:gd name="connsiteY29030" fmla="*/ 2614137 h 7458372"/>
              <a:gd name="connsiteX29031" fmla="*/ 4403746 w 10505529"/>
              <a:gd name="connsiteY29031" fmla="*/ 2620528 h 7458372"/>
              <a:gd name="connsiteX29032" fmla="*/ 4409869 w 10505529"/>
              <a:gd name="connsiteY29032" fmla="*/ 2629846 h 7458372"/>
              <a:gd name="connsiteX29033" fmla="*/ 4412132 w 10505529"/>
              <a:gd name="connsiteY29033" fmla="*/ 2641294 h 7458372"/>
              <a:gd name="connsiteX29034" fmla="*/ 4409869 w 10505529"/>
              <a:gd name="connsiteY29034" fmla="*/ 2653009 h 7458372"/>
              <a:gd name="connsiteX29035" fmla="*/ 4403746 w 10505529"/>
              <a:gd name="connsiteY29035" fmla="*/ 2662328 h 7458372"/>
              <a:gd name="connsiteX29036" fmla="*/ 4394428 w 10505529"/>
              <a:gd name="connsiteY29036" fmla="*/ 2668583 h 7458372"/>
              <a:gd name="connsiteX29037" fmla="*/ 4382713 w 10505529"/>
              <a:gd name="connsiteY29037" fmla="*/ 2670846 h 7458372"/>
              <a:gd name="connsiteX29038" fmla="*/ 4360881 w 10505529"/>
              <a:gd name="connsiteY29038" fmla="*/ 2662328 h 7458372"/>
              <a:gd name="connsiteX29039" fmla="*/ 4352495 w 10505529"/>
              <a:gd name="connsiteY29039" fmla="*/ 2641161 h 7458372"/>
              <a:gd name="connsiteX29040" fmla="*/ 4360881 w 10505529"/>
              <a:gd name="connsiteY29040" fmla="*/ 2620128 h 7458372"/>
              <a:gd name="connsiteX29041" fmla="*/ 4382713 w 10505529"/>
              <a:gd name="connsiteY29041" fmla="*/ 2611475 h 7458372"/>
              <a:gd name="connsiteX29042" fmla="*/ 4165068 w 10505529"/>
              <a:gd name="connsiteY29042" fmla="*/ 2611475 h 7458372"/>
              <a:gd name="connsiteX29043" fmla="*/ 4176782 w 10505529"/>
              <a:gd name="connsiteY29043" fmla="*/ 2614137 h 7458372"/>
              <a:gd name="connsiteX29044" fmla="*/ 4186100 w 10505529"/>
              <a:gd name="connsiteY29044" fmla="*/ 2620528 h 7458372"/>
              <a:gd name="connsiteX29045" fmla="*/ 4192223 w 10505529"/>
              <a:gd name="connsiteY29045" fmla="*/ 2629846 h 7458372"/>
              <a:gd name="connsiteX29046" fmla="*/ 4194486 w 10505529"/>
              <a:gd name="connsiteY29046" fmla="*/ 2641294 h 7458372"/>
              <a:gd name="connsiteX29047" fmla="*/ 4192223 w 10505529"/>
              <a:gd name="connsiteY29047" fmla="*/ 2653009 h 7458372"/>
              <a:gd name="connsiteX29048" fmla="*/ 4186100 w 10505529"/>
              <a:gd name="connsiteY29048" fmla="*/ 2662328 h 7458372"/>
              <a:gd name="connsiteX29049" fmla="*/ 4176782 w 10505529"/>
              <a:gd name="connsiteY29049" fmla="*/ 2668583 h 7458372"/>
              <a:gd name="connsiteX29050" fmla="*/ 4165068 w 10505529"/>
              <a:gd name="connsiteY29050" fmla="*/ 2670846 h 7458372"/>
              <a:gd name="connsiteX29051" fmla="*/ 4143235 w 10505529"/>
              <a:gd name="connsiteY29051" fmla="*/ 2662328 h 7458372"/>
              <a:gd name="connsiteX29052" fmla="*/ 4134849 w 10505529"/>
              <a:gd name="connsiteY29052" fmla="*/ 2641161 h 7458372"/>
              <a:gd name="connsiteX29053" fmla="*/ 4143235 w 10505529"/>
              <a:gd name="connsiteY29053" fmla="*/ 2620128 h 7458372"/>
              <a:gd name="connsiteX29054" fmla="*/ 4165068 w 10505529"/>
              <a:gd name="connsiteY29054" fmla="*/ 2611475 h 7458372"/>
              <a:gd name="connsiteX29055" fmla="*/ 3947570 w 10505529"/>
              <a:gd name="connsiteY29055" fmla="*/ 2611475 h 7458372"/>
              <a:gd name="connsiteX29056" fmla="*/ 3959286 w 10505529"/>
              <a:gd name="connsiteY29056" fmla="*/ 2614137 h 7458372"/>
              <a:gd name="connsiteX29057" fmla="*/ 3968604 w 10505529"/>
              <a:gd name="connsiteY29057" fmla="*/ 2620528 h 7458372"/>
              <a:gd name="connsiteX29058" fmla="*/ 3974728 w 10505529"/>
              <a:gd name="connsiteY29058" fmla="*/ 2629846 h 7458372"/>
              <a:gd name="connsiteX29059" fmla="*/ 3976991 w 10505529"/>
              <a:gd name="connsiteY29059" fmla="*/ 2641294 h 7458372"/>
              <a:gd name="connsiteX29060" fmla="*/ 3974728 w 10505529"/>
              <a:gd name="connsiteY29060" fmla="*/ 2653009 h 7458372"/>
              <a:gd name="connsiteX29061" fmla="*/ 3968604 w 10505529"/>
              <a:gd name="connsiteY29061" fmla="*/ 2662328 h 7458372"/>
              <a:gd name="connsiteX29062" fmla="*/ 3959286 w 10505529"/>
              <a:gd name="connsiteY29062" fmla="*/ 2668583 h 7458372"/>
              <a:gd name="connsiteX29063" fmla="*/ 3947570 w 10505529"/>
              <a:gd name="connsiteY29063" fmla="*/ 2670846 h 7458372"/>
              <a:gd name="connsiteX29064" fmla="*/ 3925738 w 10505529"/>
              <a:gd name="connsiteY29064" fmla="*/ 2662328 h 7458372"/>
              <a:gd name="connsiteX29065" fmla="*/ 3917351 w 10505529"/>
              <a:gd name="connsiteY29065" fmla="*/ 2641161 h 7458372"/>
              <a:gd name="connsiteX29066" fmla="*/ 3925738 w 10505529"/>
              <a:gd name="connsiteY29066" fmla="*/ 2620128 h 7458372"/>
              <a:gd name="connsiteX29067" fmla="*/ 3947570 w 10505529"/>
              <a:gd name="connsiteY29067" fmla="*/ 2611475 h 7458372"/>
              <a:gd name="connsiteX29068" fmla="*/ 3729918 w 10505529"/>
              <a:gd name="connsiteY29068" fmla="*/ 2611475 h 7458372"/>
              <a:gd name="connsiteX29069" fmla="*/ 3741633 w 10505529"/>
              <a:gd name="connsiteY29069" fmla="*/ 2614137 h 7458372"/>
              <a:gd name="connsiteX29070" fmla="*/ 3750951 w 10505529"/>
              <a:gd name="connsiteY29070" fmla="*/ 2620528 h 7458372"/>
              <a:gd name="connsiteX29071" fmla="*/ 3757074 w 10505529"/>
              <a:gd name="connsiteY29071" fmla="*/ 2629846 h 7458372"/>
              <a:gd name="connsiteX29072" fmla="*/ 3759337 w 10505529"/>
              <a:gd name="connsiteY29072" fmla="*/ 2641294 h 7458372"/>
              <a:gd name="connsiteX29073" fmla="*/ 3757074 w 10505529"/>
              <a:gd name="connsiteY29073" fmla="*/ 2653009 h 7458372"/>
              <a:gd name="connsiteX29074" fmla="*/ 3750951 w 10505529"/>
              <a:gd name="connsiteY29074" fmla="*/ 2662328 h 7458372"/>
              <a:gd name="connsiteX29075" fmla="*/ 3741633 w 10505529"/>
              <a:gd name="connsiteY29075" fmla="*/ 2668583 h 7458372"/>
              <a:gd name="connsiteX29076" fmla="*/ 3729918 w 10505529"/>
              <a:gd name="connsiteY29076" fmla="*/ 2670846 h 7458372"/>
              <a:gd name="connsiteX29077" fmla="*/ 3708082 w 10505529"/>
              <a:gd name="connsiteY29077" fmla="*/ 2662328 h 7458372"/>
              <a:gd name="connsiteX29078" fmla="*/ 3699696 w 10505529"/>
              <a:gd name="connsiteY29078" fmla="*/ 2641161 h 7458372"/>
              <a:gd name="connsiteX29079" fmla="*/ 3708082 w 10505529"/>
              <a:gd name="connsiteY29079" fmla="*/ 2620128 h 7458372"/>
              <a:gd name="connsiteX29080" fmla="*/ 3729918 w 10505529"/>
              <a:gd name="connsiteY29080" fmla="*/ 2611475 h 7458372"/>
              <a:gd name="connsiteX29081" fmla="*/ 3512265 w 10505529"/>
              <a:gd name="connsiteY29081" fmla="*/ 2611475 h 7458372"/>
              <a:gd name="connsiteX29082" fmla="*/ 3523981 w 10505529"/>
              <a:gd name="connsiteY29082" fmla="*/ 2614137 h 7458372"/>
              <a:gd name="connsiteX29083" fmla="*/ 3533299 w 10505529"/>
              <a:gd name="connsiteY29083" fmla="*/ 2620528 h 7458372"/>
              <a:gd name="connsiteX29084" fmla="*/ 3539422 w 10505529"/>
              <a:gd name="connsiteY29084" fmla="*/ 2629846 h 7458372"/>
              <a:gd name="connsiteX29085" fmla="*/ 3541685 w 10505529"/>
              <a:gd name="connsiteY29085" fmla="*/ 2641294 h 7458372"/>
              <a:gd name="connsiteX29086" fmla="*/ 3539422 w 10505529"/>
              <a:gd name="connsiteY29086" fmla="*/ 2653009 h 7458372"/>
              <a:gd name="connsiteX29087" fmla="*/ 3533299 w 10505529"/>
              <a:gd name="connsiteY29087" fmla="*/ 2662328 h 7458372"/>
              <a:gd name="connsiteX29088" fmla="*/ 3523981 w 10505529"/>
              <a:gd name="connsiteY29088" fmla="*/ 2668583 h 7458372"/>
              <a:gd name="connsiteX29089" fmla="*/ 3512265 w 10505529"/>
              <a:gd name="connsiteY29089" fmla="*/ 2670846 h 7458372"/>
              <a:gd name="connsiteX29090" fmla="*/ 3490431 w 10505529"/>
              <a:gd name="connsiteY29090" fmla="*/ 2662328 h 7458372"/>
              <a:gd name="connsiteX29091" fmla="*/ 3482044 w 10505529"/>
              <a:gd name="connsiteY29091" fmla="*/ 2641161 h 7458372"/>
              <a:gd name="connsiteX29092" fmla="*/ 3490431 w 10505529"/>
              <a:gd name="connsiteY29092" fmla="*/ 2620128 h 7458372"/>
              <a:gd name="connsiteX29093" fmla="*/ 3512265 w 10505529"/>
              <a:gd name="connsiteY29093" fmla="*/ 2611475 h 7458372"/>
              <a:gd name="connsiteX29094" fmla="*/ 3294745 w 10505529"/>
              <a:gd name="connsiteY29094" fmla="*/ 2611475 h 7458372"/>
              <a:gd name="connsiteX29095" fmla="*/ 3306461 w 10505529"/>
              <a:gd name="connsiteY29095" fmla="*/ 2614137 h 7458372"/>
              <a:gd name="connsiteX29096" fmla="*/ 3315779 w 10505529"/>
              <a:gd name="connsiteY29096" fmla="*/ 2620528 h 7458372"/>
              <a:gd name="connsiteX29097" fmla="*/ 3321902 w 10505529"/>
              <a:gd name="connsiteY29097" fmla="*/ 2629846 h 7458372"/>
              <a:gd name="connsiteX29098" fmla="*/ 3324165 w 10505529"/>
              <a:gd name="connsiteY29098" fmla="*/ 2641294 h 7458372"/>
              <a:gd name="connsiteX29099" fmla="*/ 3321902 w 10505529"/>
              <a:gd name="connsiteY29099" fmla="*/ 2653009 h 7458372"/>
              <a:gd name="connsiteX29100" fmla="*/ 3315779 w 10505529"/>
              <a:gd name="connsiteY29100" fmla="*/ 2662328 h 7458372"/>
              <a:gd name="connsiteX29101" fmla="*/ 3306461 w 10505529"/>
              <a:gd name="connsiteY29101" fmla="*/ 2668583 h 7458372"/>
              <a:gd name="connsiteX29102" fmla="*/ 3294745 w 10505529"/>
              <a:gd name="connsiteY29102" fmla="*/ 2670846 h 7458372"/>
              <a:gd name="connsiteX29103" fmla="*/ 3272910 w 10505529"/>
              <a:gd name="connsiteY29103" fmla="*/ 2662328 h 7458372"/>
              <a:gd name="connsiteX29104" fmla="*/ 3264524 w 10505529"/>
              <a:gd name="connsiteY29104" fmla="*/ 2641161 h 7458372"/>
              <a:gd name="connsiteX29105" fmla="*/ 3272910 w 10505529"/>
              <a:gd name="connsiteY29105" fmla="*/ 2620128 h 7458372"/>
              <a:gd name="connsiteX29106" fmla="*/ 3294745 w 10505529"/>
              <a:gd name="connsiteY29106" fmla="*/ 2611475 h 7458372"/>
              <a:gd name="connsiteX29107" fmla="*/ 3077093 w 10505529"/>
              <a:gd name="connsiteY29107" fmla="*/ 2611475 h 7458372"/>
              <a:gd name="connsiteX29108" fmla="*/ 3088808 w 10505529"/>
              <a:gd name="connsiteY29108" fmla="*/ 2614137 h 7458372"/>
              <a:gd name="connsiteX29109" fmla="*/ 3098126 w 10505529"/>
              <a:gd name="connsiteY29109" fmla="*/ 2620528 h 7458372"/>
              <a:gd name="connsiteX29110" fmla="*/ 3104249 w 10505529"/>
              <a:gd name="connsiteY29110" fmla="*/ 2629846 h 7458372"/>
              <a:gd name="connsiteX29111" fmla="*/ 3106512 w 10505529"/>
              <a:gd name="connsiteY29111" fmla="*/ 2641294 h 7458372"/>
              <a:gd name="connsiteX29112" fmla="*/ 3104249 w 10505529"/>
              <a:gd name="connsiteY29112" fmla="*/ 2653009 h 7458372"/>
              <a:gd name="connsiteX29113" fmla="*/ 3098126 w 10505529"/>
              <a:gd name="connsiteY29113" fmla="*/ 2662328 h 7458372"/>
              <a:gd name="connsiteX29114" fmla="*/ 3088808 w 10505529"/>
              <a:gd name="connsiteY29114" fmla="*/ 2668583 h 7458372"/>
              <a:gd name="connsiteX29115" fmla="*/ 3077093 w 10505529"/>
              <a:gd name="connsiteY29115" fmla="*/ 2670846 h 7458372"/>
              <a:gd name="connsiteX29116" fmla="*/ 3055258 w 10505529"/>
              <a:gd name="connsiteY29116" fmla="*/ 2662328 h 7458372"/>
              <a:gd name="connsiteX29117" fmla="*/ 3046872 w 10505529"/>
              <a:gd name="connsiteY29117" fmla="*/ 2641161 h 7458372"/>
              <a:gd name="connsiteX29118" fmla="*/ 3055258 w 10505529"/>
              <a:gd name="connsiteY29118" fmla="*/ 2620128 h 7458372"/>
              <a:gd name="connsiteX29119" fmla="*/ 3077093 w 10505529"/>
              <a:gd name="connsiteY29119" fmla="*/ 2611475 h 7458372"/>
              <a:gd name="connsiteX29120" fmla="*/ 2859440 w 10505529"/>
              <a:gd name="connsiteY29120" fmla="*/ 2611475 h 7458372"/>
              <a:gd name="connsiteX29121" fmla="*/ 2871289 w 10505529"/>
              <a:gd name="connsiteY29121" fmla="*/ 2614137 h 7458372"/>
              <a:gd name="connsiteX29122" fmla="*/ 2880607 w 10505529"/>
              <a:gd name="connsiteY29122" fmla="*/ 2620528 h 7458372"/>
              <a:gd name="connsiteX29123" fmla="*/ 2886730 w 10505529"/>
              <a:gd name="connsiteY29123" fmla="*/ 2629846 h 7458372"/>
              <a:gd name="connsiteX29124" fmla="*/ 2888993 w 10505529"/>
              <a:gd name="connsiteY29124" fmla="*/ 2641294 h 7458372"/>
              <a:gd name="connsiteX29125" fmla="*/ 2886730 w 10505529"/>
              <a:gd name="connsiteY29125" fmla="*/ 2653009 h 7458372"/>
              <a:gd name="connsiteX29126" fmla="*/ 2880607 w 10505529"/>
              <a:gd name="connsiteY29126" fmla="*/ 2662328 h 7458372"/>
              <a:gd name="connsiteX29127" fmla="*/ 2871289 w 10505529"/>
              <a:gd name="connsiteY29127" fmla="*/ 2668583 h 7458372"/>
              <a:gd name="connsiteX29128" fmla="*/ 2859440 w 10505529"/>
              <a:gd name="connsiteY29128" fmla="*/ 2670846 h 7458372"/>
              <a:gd name="connsiteX29129" fmla="*/ 2837606 w 10505529"/>
              <a:gd name="connsiteY29129" fmla="*/ 2662328 h 7458372"/>
              <a:gd name="connsiteX29130" fmla="*/ 2829219 w 10505529"/>
              <a:gd name="connsiteY29130" fmla="*/ 2641161 h 7458372"/>
              <a:gd name="connsiteX29131" fmla="*/ 2837606 w 10505529"/>
              <a:gd name="connsiteY29131" fmla="*/ 2620128 h 7458372"/>
              <a:gd name="connsiteX29132" fmla="*/ 2859440 w 10505529"/>
              <a:gd name="connsiteY29132" fmla="*/ 2611475 h 7458372"/>
              <a:gd name="connsiteX29133" fmla="*/ 2641787 w 10505529"/>
              <a:gd name="connsiteY29133" fmla="*/ 2611475 h 7458372"/>
              <a:gd name="connsiteX29134" fmla="*/ 2653503 w 10505529"/>
              <a:gd name="connsiteY29134" fmla="*/ 2614137 h 7458372"/>
              <a:gd name="connsiteX29135" fmla="*/ 2662821 w 10505529"/>
              <a:gd name="connsiteY29135" fmla="*/ 2620528 h 7458372"/>
              <a:gd name="connsiteX29136" fmla="*/ 2668944 w 10505529"/>
              <a:gd name="connsiteY29136" fmla="*/ 2629846 h 7458372"/>
              <a:gd name="connsiteX29137" fmla="*/ 2671207 w 10505529"/>
              <a:gd name="connsiteY29137" fmla="*/ 2641294 h 7458372"/>
              <a:gd name="connsiteX29138" fmla="*/ 2668944 w 10505529"/>
              <a:gd name="connsiteY29138" fmla="*/ 2653009 h 7458372"/>
              <a:gd name="connsiteX29139" fmla="*/ 2662821 w 10505529"/>
              <a:gd name="connsiteY29139" fmla="*/ 2662328 h 7458372"/>
              <a:gd name="connsiteX29140" fmla="*/ 2653503 w 10505529"/>
              <a:gd name="connsiteY29140" fmla="*/ 2668583 h 7458372"/>
              <a:gd name="connsiteX29141" fmla="*/ 2641787 w 10505529"/>
              <a:gd name="connsiteY29141" fmla="*/ 2670846 h 7458372"/>
              <a:gd name="connsiteX29142" fmla="*/ 2619955 w 10505529"/>
              <a:gd name="connsiteY29142" fmla="*/ 2662328 h 7458372"/>
              <a:gd name="connsiteX29143" fmla="*/ 2611568 w 10505529"/>
              <a:gd name="connsiteY29143" fmla="*/ 2641161 h 7458372"/>
              <a:gd name="connsiteX29144" fmla="*/ 2619955 w 10505529"/>
              <a:gd name="connsiteY29144" fmla="*/ 2620128 h 7458372"/>
              <a:gd name="connsiteX29145" fmla="*/ 2641787 w 10505529"/>
              <a:gd name="connsiteY29145" fmla="*/ 2611475 h 7458372"/>
              <a:gd name="connsiteX29146" fmla="*/ 2424134 w 10505529"/>
              <a:gd name="connsiteY29146" fmla="*/ 2611475 h 7458372"/>
              <a:gd name="connsiteX29147" fmla="*/ 2435850 w 10505529"/>
              <a:gd name="connsiteY29147" fmla="*/ 2614137 h 7458372"/>
              <a:gd name="connsiteX29148" fmla="*/ 2445168 w 10505529"/>
              <a:gd name="connsiteY29148" fmla="*/ 2620528 h 7458372"/>
              <a:gd name="connsiteX29149" fmla="*/ 2451291 w 10505529"/>
              <a:gd name="connsiteY29149" fmla="*/ 2629846 h 7458372"/>
              <a:gd name="connsiteX29150" fmla="*/ 2453554 w 10505529"/>
              <a:gd name="connsiteY29150" fmla="*/ 2641294 h 7458372"/>
              <a:gd name="connsiteX29151" fmla="*/ 2451291 w 10505529"/>
              <a:gd name="connsiteY29151" fmla="*/ 2653009 h 7458372"/>
              <a:gd name="connsiteX29152" fmla="*/ 2445168 w 10505529"/>
              <a:gd name="connsiteY29152" fmla="*/ 2662328 h 7458372"/>
              <a:gd name="connsiteX29153" fmla="*/ 2435850 w 10505529"/>
              <a:gd name="connsiteY29153" fmla="*/ 2668583 h 7458372"/>
              <a:gd name="connsiteX29154" fmla="*/ 2424134 w 10505529"/>
              <a:gd name="connsiteY29154" fmla="*/ 2670846 h 7458372"/>
              <a:gd name="connsiteX29155" fmla="*/ 2402303 w 10505529"/>
              <a:gd name="connsiteY29155" fmla="*/ 2662328 h 7458372"/>
              <a:gd name="connsiteX29156" fmla="*/ 2393915 w 10505529"/>
              <a:gd name="connsiteY29156" fmla="*/ 2641161 h 7458372"/>
              <a:gd name="connsiteX29157" fmla="*/ 2402303 w 10505529"/>
              <a:gd name="connsiteY29157" fmla="*/ 2620128 h 7458372"/>
              <a:gd name="connsiteX29158" fmla="*/ 2424134 w 10505529"/>
              <a:gd name="connsiteY29158" fmla="*/ 2611475 h 7458372"/>
              <a:gd name="connsiteX29159" fmla="*/ 2206482 w 10505529"/>
              <a:gd name="connsiteY29159" fmla="*/ 2611475 h 7458372"/>
              <a:gd name="connsiteX29160" fmla="*/ 2218197 w 10505529"/>
              <a:gd name="connsiteY29160" fmla="*/ 2614137 h 7458372"/>
              <a:gd name="connsiteX29161" fmla="*/ 2227516 w 10505529"/>
              <a:gd name="connsiteY29161" fmla="*/ 2620528 h 7458372"/>
              <a:gd name="connsiteX29162" fmla="*/ 2233638 w 10505529"/>
              <a:gd name="connsiteY29162" fmla="*/ 2629846 h 7458372"/>
              <a:gd name="connsiteX29163" fmla="*/ 2235901 w 10505529"/>
              <a:gd name="connsiteY29163" fmla="*/ 2641294 h 7458372"/>
              <a:gd name="connsiteX29164" fmla="*/ 2233638 w 10505529"/>
              <a:gd name="connsiteY29164" fmla="*/ 2653009 h 7458372"/>
              <a:gd name="connsiteX29165" fmla="*/ 2227516 w 10505529"/>
              <a:gd name="connsiteY29165" fmla="*/ 2662328 h 7458372"/>
              <a:gd name="connsiteX29166" fmla="*/ 2218197 w 10505529"/>
              <a:gd name="connsiteY29166" fmla="*/ 2668583 h 7458372"/>
              <a:gd name="connsiteX29167" fmla="*/ 2206482 w 10505529"/>
              <a:gd name="connsiteY29167" fmla="*/ 2670846 h 7458372"/>
              <a:gd name="connsiteX29168" fmla="*/ 2184650 w 10505529"/>
              <a:gd name="connsiteY29168" fmla="*/ 2662328 h 7458372"/>
              <a:gd name="connsiteX29169" fmla="*/ 2176263 w 10505529"/>
              <a:gd name="connsiteY29169" fmla="*/ 2641161 h 7458372"/>
              <a:gd name="connsiteX29170" fmla="*/ 2184650 w 10505529"/>
              <a:gd name="connsiteY29170" fmla="*/ 2620128 h 7458372"/>
              <a:gd name="connsiteX29171" fmla="*/ 2206482 w 10505529"/>
              <a:gd name="connsiteY29171" fmla="*/ 2611475 h 7458372"/>
              <a:gd name="connsiteX29172" fmla="*/ 1988962 w 10505529"/>
              <a:gd name="connsiteY29172" fmla="*/ 2611475 h 7458372"/>
              <a:gd name="connsiteX29173" fmla="*/ 2000678 w 10505529"/>
              <a:gd name="connsiteY29173" fmla="*/ 2614137 h 7458372"/>
              <a:gd name="connsiteX29174" fmla="*/ 2009996 w 10505529"/>
              <a:gd name="connsiteY29174" fmla="*/ 2620528 h 7458372"/>
              <a:gd name="connsiteX29175" fmla="*/ 2016119 w 10505529"/>
              <a:gd name="connsiteY29175" fmla="*/ 2629846 h 7458372"/>
              <a:gd name="connsiteX29176" fmla="*/ 2018382 w 10505529"/>
              <a:gd name="connsiteY29176" fmla="*/ 2641294 h 7458372"/>
              <a:gd name="connsiteX29177" fmla="*/ 2016119 w 10505529"/>
              <a:gd name="connsiteY29177" fmla="*/ 2653009 h 7458372"/>
              <a:gd name="connsiteX29178" fmla="*/ 2009996 w 10505529"/>
              <a:gd name="connsiteY29178" fmla="*/ 2662328 h 7458372"/>
              <a:gd name="connsiteX29179" fmla="*/ 2000678 w 10505529"/>
              <a:gd name="connsiteY29179" fmla="*/ 2668583 h 7458372"/>
              <a:gd name="connsiteX29180" fmla="*/ 1988962 w 10505529"/>
              <a:gd name="connsiteY29180" fmla="*/ 2670846 h 7458372"/>
              <a:gd name="connsiteX29181" fmla="*/ 1967131 w 10505529"/>
              <a:gd name="connsiteY29181" fmla="*/ 2662328 h 7458372"/>
              <a:gd name="connsiteX29182" fmla="*/ 1958745 w 10505529"/>
              <a:gd name="connsiteY29182" fmla="*/ 2641161 h 7458372"/>
              <a:gd name="connsiteX29183" fmla="*/ 1967131 w 10505529"/>
              <a:gd name="connsiteY29183" fmla="*/ 2620128 h 7458372"/>
              <a:gd name="connsiteX29184" fmla="*/ 1988962 w 10505529"/>
              <a:gd name="connsiteY29184" fmla="*/ 2611475 h 7458372"/>
              <a:gd name="connsiteX29185" fmla="*/ 1771323 w 10505529"/>
              <a:gd name="connsiteY29185" fmla="*/ 2611475 h 7458372"/>
              <a:gd name="connsiteX29186" fmla="*/ 1783037 w 10505529"/>
              <a:gd name="connsiteY29186" fmla="*/ 2614137 h 7458372"/>
              <a:gd name="connsiteX29187" fmla="*/ 1792355 w 10505529"/>
              <a:gd name="connsiteY29187" fmla="*/ 2620528 h 7458372"/>
              <a:gd name="connsiteX29188" fmla="*/ 1798478 w 10505529"/>
              <a:gd name="connsiteY29188" fmla="*/ 2629846 h 7458372"/>
              <a:gd name="connsiteX29189" fmla="*/ 1800741 w 10505529"/>
              <a:gd name="connsiteY29189" fmla="*/ 2641294 h 7458372"/>
              <a:gd name="connsiteX29190" fmla="*/ 1798478 w 10505529"/>
              <a:gd name="connsiteY29190" fmla="*/ 2653009 h 7458372"/>
              <a:gd name="connsiteX29191" fmla="*/ 1792355 w 10505529"/>
              <a:gd name="connsiteY29191" fmla="*/ 2662328 h 7458372"/>
              <a:gd name="connsiteX29192" fmla="*/ 1783037 w 10505529"/>
              <a:gd name="connsiteY29192" fmla="*/ 2668583 h 7458372"/>
              <a:gd name="connsiteX29193" fmla="*/ 1771323 w 10505529"/>
              <a:gd name="connsiteY29193" fmla="*/ 2670846 h 7458372"/>
              <a:gd name="connsiteX29194" fmla="*/ 1749493 w 10505529"/>
              <a:gd name="connsiteY29194" fmla="*/ 2662328 h 7458372"/>
              <a:gd name="connsiteX29195" fmla="*/ 1741108 w 10505529"/>
              <a:gd name="connsiteY29195" fmla="*/ 2641161 h 7458372"/>
              <a:gd name="connsiteX29196" fmla="*/ 1749493 w 10505529"/>
              <a:gd name="connsiteY29196" fmla="*/ 2620128 h 7458372"/>
              <a:gd name="connsiteX29197" fmla="*/ 1771323 w 10505529"/>
              <a:gd name="connsiteY29197" fmla="*/ 2611475 h 7458372"/>
              <a:gd name="connsiteX29198" fmla="*/ 1553681 w 10505529"/>
              <a:gd name="connsiteY29198" fmla="*/ 2611475 h 7458372"/>
              <a:gd name="connsiteX29199" fmla="*/ 1565396 w 10505529"/>
              <a:gd name="connsiteY29199" fmla="*/ 2614137 h 7458372"/>
              <a:gd name="connsiteX29200" fmla="*/ 1574714 w 10505529"/>
              <a:gd name="connsiteY29200" fmla="*/ 2620528 h 7458372"/>
              <a:gd name="connsiteX29201" fmla="*/ 1580837 w 10505529"/>
              <a:gd name="connsiteY29201" fmla="*/ 2629846 h 7458372"/>
              <a:gd name="connsiteX29202" fmla="*/ 1583100 w 10505529"/>
              <a:gd name="connsiteY29202" fmla="*/ 2641294 h 7458372"/>
              <a:gd name="connsiteX29203" fmla="*/ 1580837 w 10505529"/>
              <a:gd name="connsiteY29203" fmla="*/ 2653009 h 7458372"/>
              <a:gd name="connsiteX29204" fmla="*/ 1574714 w 10505529"/>
              <a:gd name="connsiteY29204" fmla="*/ 2662328 h 7458372"/>
              <a:gd name="connsiteX29205" fmla="*/ 1565396 w 10505529"/>
              <a:gd name="connsiteY29205" fmla="*/ 2668583 h 7458372"/>
              <a:gd name="connsiteX29206" fmla="*/ 1553681 w 10505529"/>
              <a:gd name="connsiteY29206" fmla="*/ 2670846 h 7458372"/>
              <a:gd name="connsiteX29207" fmla="*/ 1531850 w 10505529"/>
              <a:gd name="connsiteY29207" fmla="*/ 2662328 h 7458372"/>
              <a:gd name="connsiteX29208" fmla="*/ 1523464 w 10505529"/>
              <a:gd name="connsiteY29208" fmla="*/ 2641161 h 7458372"/>
              <a:gd name="connsiteX29209" fmla="*/ 1531850 w 10505529"/>
              <a:gd name="connsiteY29209" fmla="*/ 2620128 h 7458372"/>
              <a:gd name="connsiteX29210" fmla="*/ 1553681 w 10505529"/>
              <a:gd name="connsiteY29210" fmla="*/ 2611475 h 7458372"/>
              <a:gd name="connsiteX29211" fmla="*/ 1336036 w 10505529"/>
              <a:gd name="connsiteY29211" fmla="*/ 2611475 h 7458372"/>
              <a:gd name="connsiteX29212" fmla="*/ 1347753 w 10505529"/>
              <a:gd name="connsiteY29212" fmla="*/ 2614137 h 7458372"/>
              <a:gd name="connsiteX29213" fmla="*/ 1357071 w 10505529"/>
              <a:gd name="connsiteY29213" fmla="*/ 2620528 h 7458372"/>
              <a:gd name="connsiteX29214" fmla="*/ 1363193 w 10505529"/>
              <a:gd name="connsiteY29214" fmla="*/ 2629846 h 7458372"/>
              <a:gd name="connsiteX29215" fmla="*/ 1365456 w 10505529"/>
              <a:gd name="connsiteY29215" fmla="*/ 2641294 h 7458372"/>
              <a:gd name="connsiteX29216" fmla="*/ 1363193 w 10505529"/>
              <a:gd name="connsiteY29216" fmla="*/ 2653009 h 7458372"/>
              <a:gd name="connsiteX29217" fmla="*/ 1357071 w 10505529"/>
              <a:gd name="connsiteY29217" fmla="*/ 2662328 h 7458372"/>
              <a:gd name="connsiteX29218" fmla="*/ 1347753 w 10505529"/>
              <a:gd name="connsiteY29218" fmla="*/ 2668583 h 7458372"/>
              <a:gd name="connsiteX29219" fmla="*/ 1336036 w 10505529"/>
              <a:gd name="connsiteY29219" fmla="*/ 2670846 h 7458372"/>
              <a:gd name="connsiteX29220" fmla="*/ 1314205 w 10505529"/>
              <a:gd name="connsiteY29220" fmla="*/ 2662328 h 7458372"/>
              <a:gd name="connsiteX29221" fmla="*/ 1305819 w 10505529"/>
              <a:gd name="connsiteY29221" fmla="*/ 2641161 h 7458372"/>
              <a:gd name="connsiteX29222" fmla="*/ 1314205 w 10505529"/>
              <a:gd name="connsiteY29222" fmla="*/ 2620128 h 7458372"/>
              <a:gd name="connsiteX29223" fmla="*/ 1336036 w 10505529"/>
              <a:gd name="connsiteY29223" fmla="*/ 2611475 h 7458372"/>
              <a:gd name="connsiteX29224" fmla="*/ 1118392 w 10505529"/>
              <a:gd name="connsiteY29224" fmla="*/ 2611475 h 7458372"/>
              <a:gd name="connsiteX29225" fmla="*/ 1130109 w 10505529"/>
              <a:gd name="connsiteY29225" fmla="*/ 2614137 h 7458372"/>
              <a:gd name="connsiteX29226" fmla="*/ 1139426 w 10505529"/>
              <a:gd name="connsiteY29226" fmla="*/ 2620528 h 7458372"/>
              <a:gd name="connsiteX29227" fmla="*/ 1145546 w 10505529"/>
              <a:gd name="connsiteY29227" fmla="*/ 2629846 h 7458372"/>
              <a:gd name="connsiteX29228" fmla="*/ 1147810 w 10505529"/>
              <a:gd name="connsiteY29228" fmla="*/ 2641294 h 7458372"/>
              <a:gd name="connsiteX29229" fmla="*/ 1145546 w 10505529"/>
              <a:gd name="connsiteY29229" fmla="*/ 2653009 h 7458372"/>
              <a:gd name="connsiteX29230" fmla="*/ 1139426 w 10505529"/>
              <a:gd name="connsiteY29230" fmla="*/ 2662328 h 7458372"/>
              <a:gd name="connsiteX29231" fmla="*/ 1130109 w 10505529"/>
              <a:gd name="connsiteY29231" fmla="*/ 2668583 h 7458372"/>
              <a:gd name="connsiteX29232" fmla="*/ 1118392 w 10505529"/>
              <a:gd name="connsiteY29232" fmla="*/ 2670846 h 7458372"/>
              <a:gd name="connsiteX29233" fmla="*/ 1096558 w 10505529"/>
              <a:gd name="connsiteY29233" fmla="*/ 2662328 h 7458372"/>
              <a:gd name="connsiteX29234" fmla="*/ 1088173 w 10505529"/>
              <a:gd name="connsiteY29234" fmla="*/ 2641161 h 7458372"/>
              <a:gd name="connsiteX29235" fmla="*/ 1096558 w 10505529"/>
              <a:gd name="connsiteY29235" fmla="*/ 2620128 h 7458372"/>
              <a:gd name="connsiteX29236" fmla="*/ 1118392 w 10505529"/>
              <a:gd name="connsiteY29236" fmla="*/ 2611475 h 7458372"/>
              <a:gd name="connsiteX29237" fmla="*/ 900879 w 10505529"/>
              <a:gd name="connsiteY29237" fmla="*/ 2611475 h 7458372"/>
              <a:gd name="connsiteX29238" fmla="*/ 912594 w 10505529"/>
              <a:gd name="connsiteY29238" fmla="*/ 2614137 h 7458372"/>
              <a:gd name="connsiteX29239" fmla="*/ 921913 w 10505529"/>
              <a:gd name="connsiteY29239" fmla="*/ 2620528 h 7458372"/>
              <a:gd name="connsiteX29240" fmla="*/ 928035 w 10505529"/>
              <a:gd name="connsiteY29240" fmla="*/ 2629846 h 7458372"/>
              <a:gd name="connsiteX29241" fmla="*/ 930299 w 10505529"/>
              <a:gd name="connsiteY29241" fmla="*/ 2641294 h 7458372"/>
              <a:gd name="connsiteX29242" fmla="*/ 928035 w 10505529"/>
              <a:gd name="connsiteY29242" fmla="*/ 2653009 h 7458372"/>
              <a:gd name="connsiteX29243" fmla="*/ 921913 w 10505529"/>
              <a:gd name="connsiteY29243" fmla="*/ 2662328 h 7458372"/>
              <a:gd name="connsiteX29244" fmla="*/ 912594 w 10505529"/>
              <a:gd name="connsiteY29244" fmla="*/ 2668583 h 7458372"/>
              <a:gd name="connsiteX29245" fmla="*/ 900879 w 10505529"/>
              <a:gd name="connsiteY29245" fmla="*/ 2670846 h 7458372"/>
              <a:gd name="connsiteX29246" fmla="*/ 879049 w 10505529"/>
              <a:gd name="connsiteY29246" fmla="*/ 2662328 h 7458372"/>
              <a:gd name="connsiteX29247" fmla="*/ 870663 w 10505529"/>
              <a:gd name="connsiteY29247" fmla="*/ 2641161 h 7458372"/>
              <a:gd name="connsiteX29248" fmla="*/ 879049 w 10505529"/>
              <a:gd name="connsiteY29248" fmla="*/ 2620128 h 7458372"/>
              <a:gd name="connsiteX29249" fmla="*/ 900879 w 10505529"/>
              <a:gd name="connsiteY29249" fmla="*/ 2611475 h 7458372"/>
              <a:gd name="connsiteX29250" fmla="*/ 683237 w 10505529"/>
              <a:gd name="connsiteY29250" fmla="*/ 2611475 h 7458372"/>
              <a:gd name="connsiteX29251" fmla="*/ 694952 w 10505529"/>
              <a:gd name="connsiteY29251" fmla="*/ 2614137 h 7458372"/>
              <a:gd name="connsiteX29252" fmla="*/ 704270 w 10505529"/>
              <a:gd name="connsiteY29252" fmla="*/ 2620528 h 7458372"/>
              <a:gd name="connsiteX29253" fmla="*/ 710393 w 10505529"/>
              <a:gd name="connsiteY29253" fmla="*/ 2629846 h 7458372"/>
              <a:gd name="connsiteX29254" fmla="*/ 712656 w 10505529"/>
              <a:gd name="connsiteY29254" fmla="*/ 2641294 h 7458372"/>
              <a:gd name="connsiteX29255" fmla="*/ 710393 w 10505529"/>
              <a:gd name="connsiteY29255" fmla="*/ 2653009 h 7458372"/>
              <a:gd name="connsiteX29256" fmla="*/ 704270 w 10505529"/>
              <a:gd name="connsiteY29256" fmla="*/ 2662328 h 7458372"/>
              <a:gd name="connsiteX29257" fmla="*/ 694952 w 10505529"/>
              <a:gd name="connsiteY29257" fmla="*/ 2668583 h 7458372"/>
              <a:gd name="connsiteX29258" fmla="*/ 683237 w 10505529"/>
              <a:gd name="connsiteY29258" fmla="*/ 2670846 h 7458372"/>
              <a:gd name="connsiteX29259" fmla="*/ 661405 w 10505529"/>
              <a:gd name="connsiteY29259" fmla="*/ 2662328 h 7458372"/>
              <a:gd name="connsiteX29260" fmla="*/ 653019 w 10505529"/>
              <a:gd name="connsiteY29260" fmla="*/ 2641161 h 7458372"/>
              <a:gd name="connsiteX29261" fmla="*/ 661405 w 10505529"/>
              <a:gd name="connsiteY29261" fmla="*/ 2620128 h 7458372"/>
              <a:gd name="connsiteX29262" fmla="*/ 683237 w 10505529"/>
              <a:gd name="connsiteY29262" fmla="*/ 2611475 h 7458372"/>
              <a:gd name="connsiteX29263" fmla="*/ 465594 w 10505529"/>
              <a:gd name="connsiteY29263" fmla="*/ 2611475 h 7458372"/>
              <a:gd name="connsiteX29264" fmla="*/ 477309 w 10505529"/>
              <a:gd name="connsiteY29264" fmla="*/ 2614137 h 7458372"/>
              <a:gd name="connsiteX29265" fmla="*/ 486627 w 10505529"/>
              <a:gd name="connsiteY29265" fmla="*/ 2620528 h 7458372"/>
              <a:gd name="connsiteX29266" fmla="*/ 492750 w 10505529"/>
              <a:gd name="connsiteY29266" fmla="*/ 2629846 h 7458372"/>
              <a:gd name="connsiteX29267" fmla="*/ 495013 w 10505529"/>
              <a:gd name="connsiteY29267" fmla="*/ 2641294 h 7458372"/>
              <a:gd name="connsiteX29268" fmla="*/ 492750 w 10505529"/>
              <a:gd name="connsiteY29268" fmla="*/ 2653009 h 7458372"/>
              <a:gd name="connsiteX29269" fmla="*/ 486627 w 10505529"/>
              <a:gd name="connsiteY29269" fmla="*/ 2662328 h 7458372"/>
              <a:gd name="connsiteX29270" fmla="*/ 477309 w 10505529"/>
              <a:gd name="connsiteY29270" fmla="*/ 2668583 h 7458372"/>
              <a:gd name="connsiteX29271" fmla="*/ 465594 w 10505529"/>
              <a:gd name="connsiteY29271" fmla="*/ 2670846 h 7458372"/>
              <a:gd name="connsiteX29272" fmla="*/ 443762 w 10505529"/>
              <a:gd name="connsiteY29272" fmla="*/ 2662328 h 7458372"/>
              <a:gd name="connsiteX29273" fmla="*/ 435377 w 10505529"/>
              <a:gd name="connsiteY29273" fmla="*/ 2641161 h 7458372"/>
              <a:gd name="connsiteX29274" fmla="*/ 443762 w 10505529"/>
              <a:gd name="connsiteY29274" fmla="*/ 2620128 h 7458372"/>
              <a:gd name="connsiteX29275" fmla="*/ 465594 w 10505529"/>
              <a:gd name="connsiteY29275" fmla="*/ 2611475 h 7458372"/>
              <a:gd name="connsiteX29276" fmla="*/ 247951 w 10505529"/>
              <a:gd name="connsiteY29276" fmla="*/ 2611475 h 7458372"/>
              <a:gd name="connsiteX29277" fmla="*/ 259665 w 10505529"/>
              <a:gd name="connsiteY29277" fmla="*/ 2614137 h 7458372"/>
              <a:gd name="connsiteX29278" fmla="*/ 268984 w 10505529"/>
              <a:gd name="connsiteY29278" fmla="*/ 2620528 h 7458372"/>
              <a:gd name="connsiteX29279" fmla="*/ 275107 w 10505529"/>
              <a:gd name="connsiteY29279" fmla="*/ 2629846 h 7458372"/>
              <a:gd name="connsiteX29280" fmla="*/ 277370 w 10505529"/>
              <a:gd name="connsiteY29280" fmla="*/ 2641294 h 7458372"/>
              <a:gd name="connsiteX29281" fmla="*/ 275107 w 10505529"/>
              <a:gd name="connsiteY29281" fmla="*/ 2653009 h 7458372"/>
              <a:gd name="connsiteX29282" fmla="*/ 268984 w 10505529"/>
              <a:gd name="connsiteY29282" fmla="*/ 2662328 h 7458372"/>
              <a:gd name="connsiteX29283" fmla="*/ 259665 w 10505529"/>
              <a:gd name="connsiteY29283" fmla="*/ 2668583 h 7458372"/>
              <a:gd name="connsiteX29284" fmla="*/ 247951 w 10505529"/>
              <a:gd name="connsiteY29284" fmla="*/ 2670846 h 7458372"/>
              <a:gd name="connsiteX29285" fmla="*/ 226120 w 10505529"/>
              <a:gd name="connsiteY29285" fmla="*/ 2662328 h 7458372"/>
              <a:gd name="connsiteX29286" fmla="*/ 217734 w 10505529"/>
              <a:gd name="connsiteY29286" fmla="*/ 2641161 h 7458372"/>
              <a:gd name="connsiteX29287" fmla="*/ 226120 w 10505529"/>
              <a:gd name="connsiteY29287" fmla="*/ 2620128 h 7458372"/>
              <a:gd name="connsiteX29288" fmla="*/ 247951 w 10505529"/>
              <a:gd name="connsiteY29288" fmla="*/ 2611475 h 7458372"/>
              <a:gd name="connsiteX29289" fmla="*/ 30307 w 10505529"/>
              <a:gd name="connsiteY29289" fmla="*/ 2611475 h 7458372"/>
              <a:gd name="connsiteX29290" fmla="*/ 42023 w 10505529"/>
              <a:gd name="connsiteY29290" fmla="*/ 2614137 h 7458372"/>
              <a:gd name="connsiteX29291" fmla="*/ 51341 w 10505529"/>
              <a:gd name="connsiteY29291" fmla="*/ 2620528 h 7458372"/>
              <a:gd name="connsiteX29292" fmla="*/ 57464 w 10505529"/>
              <a:gd name="connsiteY29292" fmla="*/ 2629846 h 7458372"/>
              <a:gd name="connsiteX29293" fmla="*/ 59727 w 10505529"/>
              <a:gd name="connsiteY29293" fmla="*/ 2641294 h 7458372"/>
              <a:gd name="connsiteX29294" fmla="*/ 57464 w 10505529"/>
              <a:gd name="connsiteY29294" fmla="*/ 2653009 h 7458372"/>
              <a:gd name="connsiteX29295" fmla="*/ 51341 w 10505529"/>
              <a:gd name="connsiteY29295" fmla="*/ 2662328 h 7458372"/>
              <a:gd name="connsiteX29296" fmla="*/ 42023 w 10505529"/>
              <a:gd name="connsiteY29296" fmla="*/ 2668583 h 7458372"/>
              <a:gd name="connsiteX29297" fmla="*/ 30307 w 10505529"/>
              <a:gd name="connsiteY29297" fmla="*/ 2670846 h 7458372"/>
              <a:gd name="connsiteX29298" fmla="*/ 8478 w 10505529"/>
              <a:gd name="connsiteY29298" fmla="*/ 2662328 h 7458372"/>
              <a:gd name="connsiteX29299" fmla="*/ 92 w 10505529"/>
              <a:gd name="connsiteY29299" fmla="*/ 2641161 h 7458372"/>
              <a:gd name="connsiteX29300" fmla="*/ 8478 w 10505529"/>
              <a:gd name="connsiteY29300" fmla="*/ 2620128 h 7458372"/>
              <a:gd name="connsiteX29301" fmla="*/ 30307 w 10505529"/>
              <a:gd name="connsiteY29301" fmla="*/ 2611475 h 7458372"/>
              <a:gd name="connsiteX29302" fmla="*/ 10475977 w 10505529"/>
              <a:gd name="connsiteY29302" fmla="*/ 2410471 h 7458372"/>
              <a:gd name="connsiteX29303" fmla="*/ 10465992 w 10505529"/>
              <a:gd name="connsiteY29303" fmla="*/ 2414065 h 7458372"/>
              <a:gd name="connsiteX29304" fmla="*/ 10462399 w 10505529"/>
              <a:gd name="connsiteY29304" fmla="*/ 2423515 h 7458372"/>
              <a:gd name="connsiteX29305" fmla="*/ 10465992 w 10505529"/>
              <a:gd name="connsiteY29305" fmla="*/ 2432967 h 7458372"/>
              <a:gd name="connsiteX29306" fmla="*/ 10475977 w 10505529"/>
              <a:gd name="connsiteY29306" fmla="*/ 2436428 h 7458372"/>
              <a:gd name="connsiteX29307" fmla="*/ 10481302 w 10505529"/>
              <a:gd name="connsiteY29307" fmla="*/ 2435496 h 7458372"/>
              <a:gd name="connsiteX29308" fmla="*/ 10485029 w 10505529"/>
              <a:gd name="connsiteY29308" fmla="*/ 2433101 h 7458372"/>
              <a:gd name="connsiteX29309" fmla="*/ 10487691 w 10505529"/>
              <a:gd name="connsiteY29309" fmla="*/ 2428974 h 7458372"/>
              <a:gd name="connsiteX29310" fmla="*/ 10488623 w 10505529"/>
              <a:gd name="connsiteY29310" fmla="*/ 2423515 h 7458372"/>
              <a:gd name="connsiteX29311" fmla="*/ 10487691 w 10505529"/>
              <a:gd name="connsiteY29311" fmla="*/ 2418324 h 7458372"/>
              <a:gd name="connsiteX29312" fmla="*/ 10485029 w 10505529"/>
              <a:gd name="connsiteY29312" fmla="*/ 2414065 h 7458372"/>
              <a:gd name="connsiteX29313" fmla="*/ 10481035 w 10505529"/>
              <a:gd name="connsiteY29313" fmla="*/ 2411402 h 7458372"/>
              <a:gd name="connsiteX29314" fmla="*/ 10475977 w 10505529"/>
              <a:gd name="connsiteY29314" fmla="*/ 2410471 h 7458372"/>
              <a:gd name="connsiteX29315" fmla="*/ 10258466 w 10505529"/>
              <a:gd name="connsiteY29315" fmla="*/ 2410471 h 7458372"/>
              <a:gd name="connsiteX29316" fmla="*/ 10248481 w 10505529"/>
              <a:gd name="connsiteY29316" fmla="*/ 2414065 h 7458372"/>
              <a:gd name="connsiteX29317" fmla="*/ 10244887 w 10505529"/>
              <a:gd name="connsiteY29317" fmla="*/ 2423515 h 7458372"/>
              <a:gd name="connsiteX29318" fmla="*/ 10248481 w 10505529"/>
              <a:gd name="connsiteY29318" fmla="*/ 2432967 h 7458372"/>
              <a:gd name="connsiteX29319" fmla="*/ 10258466 w 10505529"/>
              <a:gd name="connsiteY29319" fmla="*/ 2436428 h 7458372"/>
              <a:gd name="connsiteX29320" fmla="*/ 10263790 w 10505529"/>
              <a:gd name="connsiteY29320" fmla="*/ 2435496 h 7458372"/>
              <a:gd name="connsiteX29321" fmla="*/ 10267517 w 10505529"/>
              <a:gd name="connsiteY29321" fmla="*/ 2433101 h 7458372"/>
              <a:gd name="connsiteX29322" fmla="*/ 10270180 w 10505529"/>
              <a:gd name="connsiteY29322" fmla="*/ 2428974 h 7458372"/>
              <a:gd name="connsiteX29323" fmla="*/ 10271112 w 10505529"/>
              <a:gd name="connsiteY29323" fmla="*/ 2423515 h 7458372"/>
              <a:gd name="connsiteX29324" fmla="*/ 10270180 w 10505529"/>
              <a:gd name="connsiteY29324" fmla="*/ 2418324 h 7458372"/>
              <a:gd name="connsiteX29325" fmla="*/ 10267517 w 10505529"/>
              <a:gd name="connsiteY29325" fmla="*/ 2414065 h 7458372"/>
              <a:gd name="connsiteX29326" fmla="*/ 10263524 w 10505529"/>
              <a:gd name="connsiteY29326" fmla="*/ 2411402 h 7458372"/>
              <a:gd name="connsiteX29327" fmla="*/ 10258466 w 10505529"/>
              <a:gd name="connsiteY29327" fmla="*/ 2410471 h 7458372"/>
              <a:gd name="connsiteX29328" fmla="*/ 10040820 w 10505529"/>
              <a:gd name="connsiteY29328" fmla="*/ 2410471 h 7458372"/>
              <a:gd name="connsiteX29329" fmla="*/ 10030835 w 10505529"/>
              <a:gd name="connsiteY29329" fmla="*/ 2414065 h 7458372"/>
              <a:gd name="connsiteX29330" fmla="*/ 10027242 w 10505529"/>
              <a:gd name="connsiteY29330" fmla="*/ 2423515 h 7458372"/>
              <a:gd name="connsiteX29331" fmla="*/ 10030835 w 10505529"/>
              <a:gd name="connsiteY29331" fmla="*/ 2432967 h 7458372"/>
              <a:gd name="connsiteX29332" fmla="*/ 10040820 w 10505529"/>
              <a:gd name="connsiteY29332" fmla="*/ 2436428 h 7458372"/>
              <a:gd name="connsiteX29333" fmla="*/ 10046145 w 10505529"/>
              <a:gd name="connsiteY29333" fmla="*/ 2435496 h 7458372"/>
              <a:gd name="connsiteX29334" fmla="*/ 10049872 w 10505529"/>
              <a:gd name="connsiteY29334" fmla="*/ 2433101 h 7458372"/>
              <a:gd name="connsiteX29335" fmla="*/ 10052534 w 10505529"/>
              <a:gd name="connsiteY29335" fmla="*/ 2428974 h 7458372"/>
              <a:gd name="connsiteX29336" fmla="*/ 10053599 w 10505529"/>
              <a:gd name="connsiteY29336" fmla="*/ 2423515 h 7458372"/>
              <a:gd name="connsiteX29337" fmla="*/ 10052534 w 10505529"/>
              <a:gd name="connsiteY29337" fmla="*/ 2418324 h 7458372"/>
              <a:gd name="connsiteX29338" fmla="*/ 10049872 w 10505529"/>
              <a:gd name="connsiteY29338" fmla="*/ 2414065 h 7458372"/>
              <a:gd name="connsiteX29339" fmla="*/ 10045878 w 10505529"/>
              <a:gd name="connsiteY29339" fmla="*/ 2411402 h 7458372"/>
              <a:gd name="connsiteX29340" fmla="*/ 10040820 w 10505529"/>
              <a:gd name="connsiteY29340" fmla="*/ 2410471 h 7458372"/>
              <a:gd name="connsiteX29341" fmla="*/ 9823176 w 10505529"/>
              <a:gd name="connsiteY29341" fmla="*/ 2410471 h 7458372"/>
              <a:gd name="connsiteX29342" fmla="*/ 9813191 w 10505529"/>
              <a:gd name="connsiteY29342" fmla="*/ 2414065 h 7458372"/>
              <a:gd name="connsiteX29343" fmla="*/ 9809597 w 10505529"/>
              <a:gd name="connsiteY29343" fmla="*/ 2423515 h 7458372"/>
              <a:gd name="connsiteX29344" fmla="*/ 9813191 w 10505529"/>
              <a:gd name="connsiteY29344" fmla="*/ 2432967 h 7458372"/>
              <a:gd name="connsiteX29345" fmla="*/ 9823176 w 10505529"/>
              <a:gd name="connsiteY29345" fmla="*/ 2436428 h 7458372"/>
              <a:gd name="connsiteX29346" fmla="*/ 9828501 w 10505529"/>
              <a:gd name="connsiteY29346" fmla="*/ 2435496 h 7458372"/>
              <a:gd name="connsiteX29347" fmla="*/ 9832227 w 10505529"/>
              <a:gd name="connsiteY29347" fmla="*/ 2433101 h 7458372"/>
              <a:gd name="connsiteX29348" fmla="*/ 9834890 w 10505529"/>
              <a:gd name="connsiteY29348" fmla="*/ 2428974 h 7458372"/>
              <a:gd name="connsiteX29349" fmla="*/ 9835955 w 10505529"/>
              <a:gd name="connsiteY29349" fmla="*/ 2423515 h 7458372"/>
              <a:gd name="connsiteX29350" fmla="*/ 9834890 w 10505529"/>
              <a:gd name="connsiteY29350" fmla="*/ 2418324 h 7458372"/>
              <a:gd name="connsiteX29351" fmla="*/ 9832227 w 10505529"/>
              <a:gd name="connsiteY29351" fmla="*/ 2414065 h 7458372"/>
              <a:gd name="connsiteX29352" fmla="*/ 9828234 w 10505529"/>
              <a:gd name="connsiteY29352" fmla="*/ 2411402 h 7458372"/>
              <a:gd name="connsiteX29353" fmla="*/ 9823176 w 10505529"/>
              <a:gd name="connsiteY29353" fmla="*/ 2410471 h 7458372"/>
              <a:gd name="connsiteX29354" fmla="*/ 9605531 w 10505529"/>
              <a:gd name="connsiteY29354" fmla="*/ 2410471 h 7458372"/>
              <a:gd name="connsiteX29355" fmla="*/ 9595546 w 10505529"/>
              <a:gd name="connsiteY29355" fmla="*/ 2414065 h 7458372"/>
              <a:gd name="connsiteX29356" fmla="*/ 9591952 w 10505529"/>
              <a:gd name="connsiteY29356" fmla="*/ 2423515 h 7458372"/>
              <a:gd name="connsiteX29357" fmla="*/ 9595546 w 10505529"/>
              <a:gd name="connsiteY29357" fmla="*/ 2432967 h 7458372"/>
              <a:gd name="connsiteX29358" fmla="*/ 9605531 w 10505529"/>
              <a:gd name="connsiteY29358" fmla="*/ 2436428 h 7458372"/>
              <a:gd name="connsiteX29359" fmla="*/ 9610855 w 10505529"/>
              <a:gd name="connsiteY29359" fmla="*/ 2435496 h 7458372"/>
              <a:gd name="connsiteX29360" fmla="*/ 9614582 w 10505529"/>
              <a:gd name="connsiteY29360" fmla="*/ 2433101 h 7458372"/>
              <a:gd name="connsiteX29361" fmla="*/ 9617245 w 10505529"/>
              <a:gd name="connsiteY29361" fmla="*/ 2428974 h 7458372"/>
              <a:gd name="connsiteX29362" fmla="*/ 9618309 w 10505529"/>
              <a:gd name="connsiteY29362" fmla="*/ 2423515 h 7458372"/>
              <a:gd name="connsiteX29363" fmla="*/ 9617245 w 10505529"/>
              <a:gd name="connsiteY29363" fmla="*/ 2418324 h 7458372"/>
              <a:gd name="connsiteX29364" fmla="*/ 9614582 w 10505529"/>
              <a:gd name="connsiteY29364" fmla="*/ 2414065 h 7458372"/>
              <a:gd name="connsiteX29365" fmla="*/ 9610589 w 10505529"/>
              <a:gd name="connsiteY29365" fmla="*/ 2411402 h 7458372"/>
              <a:gd name="connsiteX29366" fmla="*/ 9605531 w 10505529"/>
              <a:gd name="connsiteY29366" fmla="*/ 2410471 h 7458372"/>
              <a:gd name="connsiteX29367" fmla="*/ 9387885 w 10505529"/>
              <a:gd name="connsiteY29367" fmla="*/ 2410471 h 7458372"/>
              <a:gd name="connsiteX29368" fmla="*/ 9377900 w 10505529"/>
              <a:gd name="connsiteY29368" fmla="*/ 2414065 h 7458372"/>
              <a:gd name="connsiteX29369" fmla="*/ 9374307 w 10505529"/>
              <a:gd name="connsiteY29369" fmla="*/ 2423515 h 7458372"/>
              <a:gd name="connsiteX29370" fmla="*/ 9377900 w 10505529"/>
              <a:gd name="connsiteY29370" fmla="*/ 2432967 h 7458372"/>
              <a:gd name="connsiteX29371" fmla="*/ 9387885 w 10505529"/>
              <a:gd name="connsiteY29371" fmla="*/ 2436428 h 7458372"/>
              <a:gd name="connsiteX29372" fmla="*/ 9393210 w 10505529"/>
              <a:gd name="connsiteY29372" fmla="*/ 2435496 h 7458372"/>
              <a:gd name="connsiteX29373" fmla="*/ 9396937 w 10505529"/>
              <a:gd name="connsiteY29373" fmla="*/ 2433101 h 7458372"/>
              <a:gd name="connsiteX29374" fmla="*/ 9399599 w 10505529"/>
              <a:gd name="connsiteY29374" fmla="*/ 2428974 h 7458372"/>
              <a:gd name="connsiteX29375" fmla="*/ 9400664 w 10505529"/>
              <a:gd name="connsiteY29375" fmla="*/ 2423515 h 7458372"/>
              <a:gd name="connsiteX29376" fmla="*/ 9399599 w 10505529"/>
              <a:gd name="connsiteY29376" fmla="*/ 2418324 h 7458372"/>
              <a:gd name="connsiteX29377" fmla="*/ 9396937 w 10505529"/>
              <a:gd name="connsiteY29377" fmla="*/ 2414065 h 7458372"/>
              <a:gd name="connsiteX29378" fmla="*/ 9392943 w 10505529"/>
              <a:gd name="connsiteY29378" fmla="*/ 2411402 h 7458372"/>
              <a:gd name="connsiteX29379" fmla="*/ 9387885 w 10505529"/>
              <a:gd name="connsiteY29379" fmla="*/ 2410471 h 7458372"/>
              <a:gd name="connsiteX29380" fmla="*/ 9170374 w 10505529"/>
              <a:gd name="connsiteY29380" fmla="*/ 2410471 h 7458372"/>
              <a:gd name="connsiteX29381" fmla="*/ 9160389 w 10505529"/>
              <a:gd name="connsiteY29381" fmla="*/ 2414065 h 7458372"/>
              <a:gd name="connsiteX29382" fmla="*/ 9156795 w 10505529"/>
              <a:gd name="connsiteY29382" fmla="*/ 2423515 h 7458372"/>
              <a:gd name="connsiteX29383" fmla="*/ 9160389 w 10505529"/>
              <a:gd name="connsiteY29383" fmla="*/ 2432967 h 7458372"/>
              <a:gd name="connsiteX29384" fmla="*/ 9170374 w 10505529"/>
              <a:gd name="connsiteY29384" fmla="*/ 2436428 h 7458372"/>
              <a:gd name="connsiteX29385" fmla="*/ 9175698 w 10505529"/>
              <a:gd name="connsiteY29385" fmla="*/ 2435496 h 7458372"/>
              <a:gd name="connsiteX29386" fmla="*/ 9179425 w 10505529"/>
              <a:gd name="connsiteY29386" fmla="*/ 2433101 h 7458372"/>
              <a:gd name="connsiteX29387" fmla="*/ 9182088 w 10505529"/>
              <a:gd name="connsiteY29387" fmla="*/ 2428974 h 7458372"/>
              <a:gd name="connsiteX29388" fmla="*/ 9183152 w 10505529"/>
              <a:gd name="connsiteY29388" fmla="*/ 2423515 h 7458372"/>
              <a:gd name="connsiteX29389" fmla="*/ 9182088 w 10505529"/>
              <a:gd name="connsiteY29389" fmla="*/ 2418324 h 7458372"/>
              <a:gd name="connsiteX29390" fmla="*/ 9179425 w 10505529"/>
              <a:gd name="connsiteY29390" fmla="*/ 2414065 h 7458372"/>
              <a:gd name="connsiteX29391" fmla="*/ 9175432 w 10505529"/>
              <a:gd name="connsiteY29391" fmla="*/ 2411402 h 7458372"/>
              <a:gd name="connsiteX29392" fmla="*/ 9170374 w 10505529"/>
              <a:gd name="connsiteY29392" fmla="*/ 2410471 h 7458372"/>
              <a:gd name="connsiteX29393" fmla="*/ 8952728 w 10505529"/>
              <a:gd name="connsiteY29393" fmla="*/ 2410471 h 7458372"/>
              <a:gd name="connsiteX29394" fmla="*/ 8942743 w 10505529"/>
              <a:gd name="connsiteY29394" fmla="*/ 2414065 h 7458372"/>
              <a:gd name="connsiteX29395" fmla="*/ 8939150 w 10505529"/>
              <a:gd name="connsiteY29395" fmla="*/ 2423515 h 7458372"/>
              <a:gd name="connsiteX29396" fmla="*/ 8942743 w 10505529"/>
              <a:gd name="connsiteY29396" fmla="*/ 2432967 h 7458372"/>
              <a:gd name="connsiteX29397" fmla="*/ 8952728 w 10505529"/>
              <a:gd name="connsiteY29397" fmla="*/ 2436428 h 7458372"/>
              <a:gd name="connsiteX29398" fmla="*/ 8958053 w 10505529"/>
              <a:gd name="connsiteY29398" fmla="*/ 2435496 h 7458372"/>
              <a:gd name="connsiteX29399" fmla="*/ 8961780 w 10505529"/>
              <a:gd name="connsiteY29399" fmla="*/ 2433101 h 7458372"/>
              <a:gd name="connsiteX29400" fmla="*/ 8964442 w 10505529"/>
              <a:gd name="connsiteY29400" fmla="*/ 2428974 h 7458372"/>
              <a:gd name="connsiteX29401" fmla="*/ 8965507 w 10505529"/>
              <a:gd name="connsiteY29401" fmla="*/ 2423515 h 7458372"/>
              <a:gd name="connsiteX29402" fmla="*/ 8964442 w 10505529"/>
              <a:gd name="connsiteY29402" fmla="*/ 2418324 h 7458372"/>
              <a:gd name="connsiteX29403" fmla="*/ 8961780 w 10505529"/>
              <a:gd name="connsiteY29403" fmla="*/ 2414065 h 7458372"/>
              <a:gd name="connsiteX29404" fmla="*/ 8957786 w 10505529"/>
              <a:gd name="connsiteY29404" fmla="*/ 2411402 h 7458372"/>
              <a:gd name="connsiteX29405" fmla="*/ 8952728 w 10505529"/>
              <a:gd name="connsiteY29405" fmla="*/ 2410471 h 7458372"/>
              <a:gd name="connsiteX29406" fmla="*/ 8735083 w 10505529"/>
              <a:gd name="connsiteY29406" fmla="*/ 2410471 h 7458372"/>
              <a:gd name="connsiteX29407" fmla="*/ 8725098 w 10505529"/>
              <a:gd name="connsiteY29407" fmla="*/ 2414065 h 7458372"/>
              <a:gd name="connsiteX29408" fmla="*/ 8721504 w 10505529"/>
              <a:gd name="connsiteY29408" fmla="*/ 2423515 h 7458372"/>
              <a:gd name="connsiteX29409" fmla="*/ 8725098 w 10505529"/>
              <a:gd name="connsiteY29409" fmla="*/ 2432967 h 7458372"/>
              <a:gd name="connsiteX29410" fmla="*/ 8735083 w 10505529"/>
              <a:gd name="connsiteY29410" fmla="*/ 2436428 h 7458372"/>
              <a:gd name="connsiteX29411" fmla="*/ 8740407 w 10505529"/>
              <a:gd name="connsiteY29411" fmla="*/ 2435496 h 7458372"/>
              <a:gd name="connsiteX29412" fmla="*/ 8744134 w 10505529"/>
              <a:gd name="connsiteY29412" fmla="*/ 2433101 h 7458372"/>
              <a:gd name="connsiteX29413" fmla="*/ 8746797 w 10505529"/>
              <a:gd name="connsiteY29413" fmla="*/ 2428974 h 7458372"/>
              <a:gd name="connsiteX29414" fmla="*/ 8747862 w 10505529"/>
              <a:gd name="connsiteY29414" fmla="*/ 2423515 h 7458372"/>
              <a:gd name="connsiteX29415" fmla="*/ 8746797 w 10505529"/>
              <a:gd name="connsiteY29415" fmla="*/ 2418324 h 7458372"/>
              <a:gd name="connsiteX29416" fmla="*/ 8744134 w 10505529"/>
              <a:gd name="connsiteY29416" fmla="*/ 2414065 h 7458372"/>
              <a:gd name="connsiteX29417" fmla="*/ 8740141 w 10505529"/>
              <a:gd name="connsiteY29417" fmla="*/ 2411402 h 7458372"/>
              <a:gd name="connsiteX29418" fmla="*/ 8735083 w 10505529"/>
              <a:gd name="connsiteY29418" fmla="*/ 2410471 h 7458372"/>
              <a:gd name="connsiteX29419" fmla="*/ 8517438 w 10505529"/>
              <a:gd name="connsiteY29419" fmla="*/ 2410471 h 7458372"/>
              <a:gd name="connsiteX29420" fmla="*/ 8507453 w 10505529"/>
              <a:gd name="connsiteY29420" fmla="*/ 2414065 h 7458372"/>
              <a:gd name="connsiteX29421" fmla="*/ 8503860 w 10505529"/>
              <a:gd name="connsiteY29421" fmla="*/ 2423515 h 7458372"/>
              <a:gd name="connsiteX29422" fmla="*/ 8507453 w 10505529"/>
              <a:gd name="connsiteY29422" fmla="*/ 2432967 h 7458372"/>
              <a:gd name="connsiteX29423" fmla="*/ 8517438 w 10505529"/>
              <a:gd name="connsiteY29423" fmla="*/ 2436428 h 7458372"/>
              <a:gd name="connsiteX29424" fmla="*/ 8522763 w 10505529"/>
              <a:gd name="connsiteY29424" fmla="*/ 2435496 h 7458372"/>
              <a:gd name="connsiteX29425" fmla="*/ 8526490 w 10505529"/>
              <a:gd name="connsiteY29425" fmla="*/ 2433101 h 7458372"/>
              <a:gd name="connsiteX29426" fmla="*/ 8529152 w 10505529"/>
              <a:gd name="connsiteY29426" fmla="*/ 2428974 h 7458372"/>
              <a:gd name="connsiteX29427" fmla="*/ 8530084 w 10505529"/>
              <a:gd name="connsiteY29427" fmla="*/ 2423515 h 7458372"/>
              <a:gd name="connsiteX29428" fmla="*/ 8529152 w 10505529"/>
              <a:gd name="connsiteY29428" fmla="*/ 2418324 h 7458372"/>
              <a:gd name="connsiteX29429" fmla="*/ 8526490 w 10505529"/>
              <a:gd name="connsiteY29429" fmla="*/ 2414065 h 7458372"/>
              <a:gd name="connsiteX29430" fmla="*/ 8522496 w 10505529"/>
              <a:gd name="connsiteY29430" fmla="*/ 2411402 h 7458372"/>
              <a:gd name="connsiteX29431" fmla="*/ 8517438 w 10505529"/>
              <a:gd name="connsiteY29431" fmla="*/ 2410471 h 7458372"/>
              <a:gd name="connsiteX29432" fmla="*/ 8299793 w 10505529"/>
              <a:gd name="connsiteY29432" fmla="*/ 2410471 h 7458372"/>
              <a:gd name="connsiteX29433" fmla="*/ 8289809 w 10505529"/>
              <a:gd name="connsiteY29433" fmla="*/ 2414065 h 7458372"/>
              <a:gd name="connsiteX29434" fmla="*/ 8286215 w 10505529"/>
              <a:gd name="connsiteY29434" fmla="*/ 2423515 h 7458372"/>
              <a:gd name="connsiteX29435" fmla="*/ 8289809 w 10505529"/>
              <a:gd name="connsiteY29435" fmla="*/ 2432967 h 7458372"/>
              <a:gd name="connsiteX29436" fmla="*/ 8299793 w 10505529"/>
              <a:gd name="connsiteY29436" fmla="*/ 2436428 h 7458372"/>
              <a:gd name="connsiteX29437" fmla="*/ 8305118 w 10505529"/>
              <a:gd name="connsiteY29437" fmla="*/ 2435496 h 7458372"/>
              <a:gd name="connsiteX29438" fmla="*/ 8308844 w 10505529"/>
              <a:gd name="connsiteY29438" fmla="*/ 2433101 h 7458372"/>
              <a:gd name="connsiteX29439" fmla="*/ 8311507 w 10505529"/>
              <a:gd name="connsiteY29439" fmla="*/ 2428974 h 7458372"/>
              <a:gd name="connsiteX29440" fmla="*/ 8312439 w 10505529"/>
              <a:gd name="connsiteY29440" fmla="*/ 2423515 h 7458372"/>
              <a:gd name="connsiteX29441" fmla="*/ 8311507 w 10505529"/>
              <a:gd name="connsiteY29441" fmla="*/ 2418324 h 7458372"/>
              <a:gd name="connsiteX29442" fmla="*/ 8308844 w 10505529"/>
              <a:gd name="connsiteY29442" fmla="*/ 2414065 h 7458372"/>
              <a:gd name="connsiteX29443" fmla="*/ 8304851 w 10505529"/>
              <a:gd name="connsiteY29443" fmla="*/ 2411402 h 7458372"/>
              <a:gd name="connsiteX29444" fmla="*/ 8299793 w 10505529"/>
              <a:gd name="connsiteY29444" fmla="*/ 2410471 h 7458372"/>
              <a:gd name="connsiteX29445" fmla="*/ 8082281 w 10505529"/>
              <a:gd name="connsiteY29445" fmla="*/ 2410471 h 7458372"/>
              <a:gd name="connsiteX29446" fmla="*/ 8072297 w 10505529"/>
              <a:gd name="connsiteY29446" fmla="*/ 2414065 h 7458372"/>
              <a:gd name="connsiteX29447" fmla="*/ 8068703 w 10505529"/>
              <a:gd name="connsiteY29447" fmla="*/ 2423515 h 7458372"/>
              <a:gd name="connsiteX29448" fmla="*/ 8072297 w 10505529"/>
              <a:gd name="connsiteY29448" fmla="*/ 2432967 h 7458372"/>
              <a:gd name="connsiteX29449" fmla="*/ 8082281 w 10505529"/>
              <a:gd name="connsiteY29449" fmla="*/ 2436428 h 7458372"/>
              <a:gd name="connsiteX29450" fmla="*/ 8087605 w 10505529"/>
              <a:gd name="connsiteY29450" fmla="*/ 2435496 h 7458372"/>
              <a:gd name="connsiteX29451" fmla="*/ 8091332 w 10505529"/>
              <a:gd name="connsiteY29451" fmla="*/ 2433101 h 7458372"/>
              <a:gd name="connsiteX29452" fmla="*/ 8093994 w 10505529"/>
              <a:gd name="connsiteY29452" fmla="*/ 2428974 h 7458372"/>
              <a:gd name="connsiteX29453" fmla="*/ 8094926 w 10505529"/>
              <a:gd name="connsiteY29453" fmla="*/ 2423515 h 7458372"/>
              <a:gd name="connsiteX29454" fmla="*/ 8093994 w 10505529"/>
              <a:gd name="connsiteY29454" fmla="*/ 2418324 h 7458372"/>
              <a:gd name="connsiteX29455" fmla="*/ 8091332 w 10505529"/>
              <a:gd name="connsiteY29455" fmla="*/ 2414065 h 7458372"/>
              <a:gd name="connsiteX29456" fmla="*/ 8087338 w 10505529"/>
              <a:gd name="connsiteY29456" fmla="*/ 2411402 h 7458372"/>
              <a:gd name="connsiteX29457" fmla="*/ 8082281 w 10505529"/>
              <a:gd name="connsiteY29457" fmla="*/ 2410471 h 7458372"/>
              <a:gd name="connsiteX29458" fmla="*/ 7864636 w 10505529"/>
              <a:gd name="connsiteY29458" fmla="*/ 2410471 h 7458372"/>
              <a:gd name="connsiteX29459" fmla="*/ 7854652 w 10505529"/>
              <a:gd name="connsiteY29459" fmla="*/ 2414065 h 7458372"/>
              <a:gd name="connsiteX29460" fmla="*/ 7851058 w 10505529"/>
              <a:gd name="connsiteY29460" fmla="*/ 2423515 h 7458372"/>
              <a:gd name="connsiteX29461" fmla="*/ 7854652 w 10505529"/>
              <a:gd name="connsiteY29461" fmla="*/ 2432967 h 7458372"/>
              <a:gd name="connsiteX29462" fmla="*/ 7864636 w 10505529"/>
              <a:gd name="connsiteY29462" fmla="*/ 2436428 h 7458372"/>
              <a:gd name="connsiteX29463" fmla="*/ 7869961 w 10505529"/>
              <a:gd name="connsiteY29463" fmla="*/ 2435496 h 7458372"/>
              <a:gd name="connsiteX29464" fmla="*/ 7873687 w 10505529"/>
              <a:gd name="connsiteY29464" fmla="*/ 2433101 h 7458372"/>
              <a:gd name="connsiteX29465" fmla="*/ 7876350 w 10505529"/>
              <a:gd name="connsiteY29465" fmla="*/ 2428974 h 7458372"/>
              <a:gd name="connsiteX29466" fmla="*/ 7877282 w 10505529"/>
              <a:gd name="connsiteY29466" fmla="*/ 2423515 h 7458372"/>
              <a:gd name="connsiteX29467" fmla="*/ 7876350 w 10505529"/>
              <a:gd name="connsiteY29467" fmla="*/ 2418324 h 7458372"/>
              <a:gd name="connsiteX29468" fmla="*/ 7873687 w 10505529"/>
              <a:gd name="connsiteY29468" fmla="*/ 2414065 h 7458372"/>
              <a:gd name="connsiteX29469" fmla="*/ 7869694 w 10505529"/>
              <a:gd name="connsiteY29469" fmla="*/ 2411402 h 7458372"/>
              <a:gd name="connsiteX29470" fmla="*/ 7864636 w 10505529"/>
              <a:gd name="connsiteY29470" fmla="*/ 2410471 h 7458372"/>
              <a:gd name="connsiteX29471" fmla="*/ 7646991 w 10505529"/>
              <a:gd name="connsiteY29471" fmla="*/ 2410471 h 7458372"/>
              <a:gd name="connsiteX29472" fmla="*/ 7637007 w 10505529"/>
              <a:gd name="connsiteY29472" fmla="*/ 2414065 h 7458372"/>
              <a:gd name="connsiteX29473" fmla="*/ 7633413 w 10505529"/>
              <a:gd name="connsiteY29473" fmla="*/ 2423515 h 7458372"/>
              <a:gd name="connsiteX29474" fmla="*/ 7637007 w 10505529"/>
              <a:gd name="connsiteY29474" fmla="*/ 2432967 h 7458372"/>
              <a:gd name="connsiteX29475" fmla="*/ 7646991 w 10505529"/>
              <a:gd name="connsiteY29475" fmla="*/ 2436428 h 7458372"/>
              <a:gd name="connsiteX29476" fmla="*/ 7652315 w 10505529"/>
              <a:gd name="connsiteY29476" fmla="*/ 2435496 h 7458372"/>
              <a:gd name="connsiteX29477" fmla="*/ 7656042 w 10505529"/>
              <a:gd name="connsiteY29477" fmla="*/ 2433101 h 7458372"/>
              <a:gd name="connsiteX29478" fmla="*/ 7658705 w 10505529"/>
              <a:gd name="connsiteY29478" fmla="*/ 2428974 h 7458372"/>
              <a:gd name="connsiteX29479" fmla="*/ 7659769 w 10505529"/>
              <a:gd name="connsiteY29479" fmla="*/ 2423515 h 7458372"/>
              <a:gd name="connsiteX29480" fmla="*/ 7658705 w 10505529"/>
              <a:gd name="connsiteY29480" fmla="*/ 2418324 h 7458372"/>
              <a:gd name="connsiteX29481" fmla="*/ 7656042 w 10505529"/>
              <a:gd name="connsiteY29481" fmla="*/ 2414065 h 7458372"/>
              <a:gd name="connsiteX29482" fmla="*/ 7652049 w 10505529"/>
              <a:gd name="connsiteY29482" fmla="*/ 2411402 h 7458372"/>
              <a:gd name="connsiteX29483" fmla="*/ 7646991 w 10505529"/>
              <a:gd name="connsiteY29483" fmla="*/ 2410471 h 7458372"/>
              <a:gd name="connsiteX29484" fmla="*/ 7429345 w 10505529"/>
              <a:gd name="connsiteY29484" fmla="*/ 2410471 h 7458372"/>
              <a:gd name="connsiteX29485" fmla="*/ 7419361 w 10505529"/>
              <a:gd name="connsiteY29485" fmla="*/ 2414065 h 7458372"/>
              <a:gd name="connsiteX29486" fmla="*/ 7415768 w 10505529"/>
              <a:gd name="connsiteY29486" fmla="*/ 2423515 h 7458372"/>
              <a:gd name="connsiteX29487" fmla="*/ 7419361 w 10505529"/>
              <a:gd name="connsiteY29487" fmla="*/ 2432967 h 7458372"/>
              <a:gd name="connsiteX29488" fmla="*/ 7429345 w 10505529"/>
              <a:gd name="connsiteY29488" fmla="*/ 2436428 h 7458372"/>
              <a:gd name="connsiteX29489" fmla="*/ 7434670 w 10505529"/>
              <a:gd name="connsiteY29489" fmla="*/ 2435496 h 7458372"/>
              <a:gd name="connsiteX29490" fmla="*/ 7438397 w 10505529"/>
              <a:gd name="connsiteY29490" fmla="*/ 2433101 h 7458372"/>
              <a:gd name="connsiteX29491" fmla="*/ 7441059 w 10505529"/>
              <a:gd name="connsiteY29491" fmla="*/ 2428974 h 7458372"/>
              <a:gd name="connsiteX29492" fmla="*/ 7442124 w 10505529"/>
              <a:gd name="connsiteY29492" fmla="*/ 2423515 h 7458372"/>
              <a:gd name="connsiteX29493" fmla="*/ 7441059 w 10505529"/>
              <a:gd name="connsiteY29493" fmla="*/ 2418324 h 7458372"/>
              <a:gd name="connsiteX29494" fmla="*/ 7438397 w 10505529"/>
              <a:gd name="connsiteY29494" fmla="*/ 2414065 h 7458372"/>
              <a:gd name="connsiteX29495" fmla="*/ 7434403 w 10505529"/>
              <a:gd name="connsiteY29495" fmla="*/ 2411402 h 7458372"/>
              <a:gd name="connsiteX29496" fmla="*/ 7429345 w 10505529"/>
              <a:gd name="connsiteY29496" fmla="*/ 2410471 h 7458372"/>
              <a:gd name="connsiteX29497" fmla="*/ 7211701 w 10505529"/>
              <a:gd name="connsiteY29497" fmla="*/ 2410471 h 7458372"/>
              <a:gd name="connsiteX29498" fmla="*/ 7201717 w 10505529"/>
              <a:gd name="connsiteY29498" fmla="*/ 2414065 h 7458372"/>
              <a:gd name="connsiteX29499" fmla="*/ 7198123 w 10505529"/>
              <a:gd name="connsiteY29499" fmla="*/ 2423515 h 7458372"/>
              <a:gd name="connsiteX29500" fmla="*/ 7201717 w 10505529"/>
              <a:gd name="connsiteY29500" fmla="*/ 2432967 h 7458372"/>
              <a:gd name="connsiteX29501" fmla="*/ 7211701 w 10505529"/>
              <a:gd name="connsiteY29501" fmla="*/ 2436428 h 7458372"/>
              <a:gd name="connsiteX29502" fmla="*/ 7217026 w 10505529"/>
              <a:gd name="connsiteY29502" fmla="*/ 2435496 h 7458372"/>
              <a:gd name="connsiteX29503" fmla="*/ 7220752 w 10505529"/>
              <a:gd name="connsiteY29503" fmla="*/ 2433101 h 7458372"/>
              <a:gd name="connsiteX29504" fmla="*/ 7223415 w 10505529"/>
              <a:gd name="connsiteY29504" fmla="*/ 2428974 h 7458372"/>
              <a:gd name="connsiteX29505" fmla="*/ 7224480 w 10505529"/>
              <a:gd name="connsiteY29505" fmla="*/ 2423515 h 7458372"/>
              <a:gd name="connsiteX29506" fmla="*/ 7223415 w 10505529"/>
              <a:gd name="connsiteY29506" fmla="*/ 2418324 h 7458372"/>
              <a:gd name="connsiteX29507" fmla="*/ 7220752 w 10505529"/>
              <a:gd name="connsiteY29507" fmla="*/ 2414065 h 7458372"/>
              <a:gd name="connsiteX29508" fmla="*/ 7216759 w 10505529"/>
              <a:gd name="connsiteY29508" fmla="*/ 2411402 h 7458372"/>
              <a:gd name="connsiteX29509" fmla="*/ 7211701 w 10505529"/>
              <a:gd name="connsiteY29509" fmla="*/ 2410471 h 7458372"/>
              <a:gd name="connsiteX29510" fmla="*/ 6994056 w 10505529"/>
              <a:gd name="connsiteY29510" fmla="*/ 2410471 h 7458372"/>
              <a:gd name="connsiteX29511" fmla="*/ 6984072 w 10505529"/>
              <a:gd name="connsiteY29511" fmla="*/ 2414065 h 7458372"/>
              <a:gd name="connsiteX29512" fmla="*/ 6980478 w 10505529"/>
              <a:gd name="connsiteY29512" fmla="*/ 2423515 h 7458372"/>
              <a:gd name="connsiteX29513" fmla="*/ 6984072 w 10505529"/>
              <a:gd name="connsiteY29513" fmla="*/ 2432967 h 7458372"/>
              <a:gd name="connsiteX29514" fmla="*/ 6994056 w 10505529"/>
              <a:gd name="connsiteY29514" fmla="*/ 2436428 h 7458372"/>
              <a:gd name="connsiteX29515" fmla="*/ 6999380 w 10505529"/>
              <a:gd name="connsiteY29515" fmla="*/ 2435496 h 7458372"/>
              <a:gd name="connsiteX29516" fmla="*/ 7003107 w 10505529"/>
              <a:gd name="connsiteY29516" fmla="*/ 2433101 h 7458372"/>
              <a:gd name="connsiteX29517" fmla="*/ 7005769 w 10505529"/>
              <a:gd name="connsiteY29517" fmla="*/ 2428974 h 7458372"/>
              <a:gd name="connsiteX29518" fmla="*/ 7006834 w 10505529"/>
              <a:gd name="connsiteY29518" fmla="*/ 2423515 h 7458372"/>
              <a:gd name="connsiteX29519" fmla="*/ 7005769 w 10505529"/>
              <a:gd name="connsiteY29519" fmla="*/ 2418324 h 7458372"/>
              <a:gd name="connsiteX29520" fmla="*/ 7003107 w 10505529"/>
              <a:gd name="connsiteY29520" fmla="*/ 2414065 h 7458372"/>
              <a:gd name="connsiteX29521" fmla="*/ 6999113 w 10505529"/>
              <a:gd name="connsiteY29521" fmla="*/ 2411402 h 7458372"/>
              <a:gd name="connsiteX29522" fmla="*/ 6994056 w 10505529"/>
              <a:gd name="connsiteY29522" fmla="*/ 2410471 h 7458372"/>
              <a:gd name="connsiteX29523" fmla="*/ 6776544 w 10505529"/>
              <a:gd name="connsiteY29523" fmla="*/ 2410471 h 7458372"/>
              <a:gd name="connsiteX29524" fmla="*/ 6766560 w 10505529"/>
              <a:gd name="connsiteY29524" fmla="*/ 2414065 h 7458372"/>
              <a:gd name="connsiteX29525" fmla="*/ 6762966 w 10505529"/>
              <a:gd name="connsiteY29525" fmla="*/ 2423515 h 7458372"/>
              <a:gd name="connsiteX29526" fmla="*/ 6766560 w 10505529"/>
              <a:gd name="connsiteY29526" fmla="*/ 2432967 h 7458372"/>
              <a:gd name="connsiteX29527" fmla="*/ 6776544 w 10505529"/>
              <a:gd name="connsiteY29527" fmla="*/ 2436428 h 7458372"/>
              <a:gd name="connsiteX29528" fmla="*/ 6781869 w 10505529"/>
              <a:gd name="connsiteY29528" fmla="*/ 2435496 h 7458372"/>
              <a:gd name="connsiteX29529" fmla="*/ 6785595 w 10505529"/>
              <a:gd name="connsiteY29529" fmla="*/ 2433101 h 7458372"/>
              <a:gd name="connsiteX29530" fmla="*/ 6788258 w 10505529"/>
              <a:gd name="connsiteY29530" fmla="*/ 2428974 h 7458372"/>
              <a:gd name="connsiteX29531" fmla="*/ 6789323 w 10505529"/>
              <a:gd name="connsiteY29531" fmla="*/ 2423515 h 7458372"/>
              <a:gd name="connsiteX29532" fmla="*/ 6788258 w 10505529"/>
              <a:gd name="connsiteY29532" fmla="*/ 2418324 h 7458372"/>
              <a:gd name="connsiteX29533" fmla="*/ 6785595 w 10505529"/>
              <a:gd name="connsiteY29533" fmla="*/ 2414065 h 7458372"/>
              <a:gd name="connsiteX29534" fmla="*/ 6781602 w 10505529"/>
              <a:gd name="connsiteY29534" fmla="*/ 2411402 h 7458372"/>
              <a:gd name="connsiteX29535" fmla="*/ 6776544 w 10505529"/>
              <a:gd name="connsiteY29535" fmla="*/ 2410471 h 7458372"/>
              <a:gd name="connsiteX29536" fmla="*/ 6558899 w 10505529"/>
              <a:gd name="connsiteY29536" fmla="*/ 2410471 h 7458372"/>
              <a:gd name="connsiteX29537" fmla="*/ 6548915 w 10505529"/>
              <a:gd name="connsiteY29537" fmla="*/ 2414065 h 7458372"/>
              <a:gd name="connsiteX29538" fmla="*/ 6545321 w 10505529"/>
              <a:gd name="connsiteY29538" fmla="*/ 2423515 h 7458372"/>
              <a:gd name="connsiteX29539" fmla="*/ 6548915 w 10505529"/>
              <a:gd name="connsiteY29539" fmla="*/ 2432967 h 7458372"/>
              <a:gd name="connsiteX29540" fmla="*/ 6558899 w 10505529"/>
              <a:gd name="connsiteY29540" fmla="*/ 2436428 h 7458372"/>
              <a:gd name="connsiteX29541" fmla="*/ 6564223 w 10505529"/>
              <a:gd name="connsiteY29541" fmla="*/ 2435496 h 7458372"/>
              <a:gd name="connsiteX29542" fmla="*/ 6567950 w 10505529"/>
              <a:gd name="connsiteY29542" fmla="*/ 2433101 h 7458372"/>
              <a:gd name="connsiteX29543" fmla="*/ 6570612 w 10505529"/>
              <a:gd name="connsiteY29543" fmla="*/ 2428974 h 7458372"/>
              <a:gd name="connsiteX29544" fmla="*/ 6571677 w 10505529"/>
              <a:gd name="connsiteY29544" fmla="*/ 2423515 h 7458372"/>
              <a:gd name="connsiteX29545" fmla="*/ 6570612 w 10505529"/>
              <a:gd name="connsiteY29545" fmla="*/ 2418324 h 7458372"/>
              <a:gd name="connsiteX29546" fmla="*/ 6567950 w 10505529"/>
              <a:gd name="connsiteY29546" fmla="*/ 2414065 h 7458372"/>
              <a:gd name="connsiteX29547" fmla="*/ 6563956 w 10505529"/>
              <a:gd name="connsiteY29547" fmla="*/ 2411402 h 7458372"/>
              <a:gd name="connsiteX29548" fmla="*/ 6558899 w 10505529"/>
              <a:gd name="connsiteY29548" fmla="*/ 2410471 h 7458372"/>
              <a:gd name="connsiteX29549" fmla="*/ 6341253 w 10505529"/>
              <a:gd name="connsiteY29549" fmla="*/ 2410471 h 7458372"/>
              <a:gd name="connsiteX29550" fmla="*/ 6331270 w 10505529"/>
              <a:gd name="connsiteY29550" fmla="*/ 2414065 h 7458372"/>
              <a:gd name="connsiteX29551" fmla="*/ 6327675 w 10505529"/>
              <a:gd name="connsiteY29551" fmla="*/ 2423515 h 7458372"/>
              <a:gd name="connsiteX29552" fmla="*/ 6331270 w 10505529"/>
              <a:gd name="connsiteY29552" fmla="*/ 2432967 h 7458372"/>
              <a:gd name="connsiteX29553" fmla="*/ 6341253 w 10505529"/>
              <a:gd name="connsiteY29553" fmla="*/ 2436428 h 7458372"/>
              <a:gd name="connsiteX29554" fmla="*/ 6346578 w 10505529"/>
              <a:gd name="connsiteY29554" fmla="*/ 2435496 h 7458372"/>
              <a:gd name="connsiteX29555" fmla="*/ 6350305 w 10505529"/>
              <a:gd name="connsiteY29555" fmla="*/ 2433101 h 7458372"/>
              <a:gd name="connsiteX29556" fmla="*/ 6352968 w 10505529"/>
              <a:gd name="connsiteY29556" fmla="*/ 2428974 h 7458372"/>
              <a:gd name="connsiteX29557" fmla="*/ 6354033 w 10505529"/>
              <a:gd name="connsiteY29557" fmla="*/ 2423515 h 7458372"/>
              <a:gd name="connsiteX29558" fmla="*/ 6352968 w 10505529"/>
              <a:gd name="connsiteY29558" fmla="*/ 2418324 h 7458372"/>
              <a:gd name="connsiteX29559" fmla="*/ 6350305 w 10505529"/>
              <a:gd name="connsiteY29559" fmla="*/ 2414065 h 7458372"/>
              <a:gd name="connsiteX29560" fmla="*/ 6346312 w 10505529"/>
              <a:gd name="connsiteY29560" fmla="*/ 2411402 h 7458372"/>
              <a:gd name="connsiteX29561" fmla="*/ 6341253 w 10505529"/>
              <a:gd name="connsiteY29561" fmla="*/ 2410471 h 7458372"/>
              <a:gd name="connsiteX29562" fmla="*/ 6123608 w 10505529"/>
              <a:gd name="connsiteY29562" fmla="*/ 2410471 h 7458372"/>
              <a:gd name="connsiteX29563" fmla="*/ 6113624 w 10505529"/>
              <a:gd name="connsiteY29563" fmla="*/ 2414065 h 7458372"/>
              <a:gd name="connsiteX29564" fmla="*/ 6110030 w 10505529"/>
              <a:gd name="connsiteY29564" fmla="*/ 2423515 h 7458372"/>
              <a:gd name="connsiteX29565" fmla="*/ 6113624 w 10505529"/>
              <a:gd name="connsiteY29565" fmla="*/ 2432967 h 7458372"/>
              <a:gd name="connsiteX29566" fmla="*/ 6123608 w 10505529"/>
              <a:gd name="connsiteY29566" fmla="*/ 2436428 h 7458372"/>
              <a:gd name="connsiteX29567" fmla="*/ 6128932 w 10505529"/>
              <a:gd name="connsiteY29567" fmla="*/ 2435496 h 7458372"/>
              <a:gd name="connsiteX29568" fmla="*/ 6132659 w 10505529"/>
              <a:gd name="connsiteY29568" fmla="*/ 2433101 h 7458372"/>
              <a:gd name="connsiteX29569" fmla="*/ 6135322 w 10505529"/>
              <a:gd name="connsiteY29569" fmla="*/ 2428974 h 7458372"/>
              <a:gd name="connsiteX29570" fmla="*/ 6136387 w 10505529"/>
              <a:gd name="connsiteY29570" fmla="*/ 2423515 h 7458372"/>
              <a:gd name="connsiteX29571" fmla="*/ 6135322 w 10505529"/>
              <a:gd name="connsiteY29571" fmla="*/ 2418324 h 7458372"/>
              <a:gd name="connsiteX29572" fmla="*/ 6132659 w 10505529"/>
              <a:gd name="connsiteY29572" fmla="*/ 2414065 h 7458372"/>
              <a:gd name="connsiteX29573" fmla="*/ 6128666 w 10505529"/>
              <a:gd name="connsiteY29573" fmla="*/ 2411402 h 7458372"/>
              <a:gd name="connsiteX29574" fmla="*/ 6123608 w 10505529"/>
              <a:gd name="connsiteY29574" fmla="*/ 2410471 h 7458372"/>
              <a:gd name="connsiteX29575" fmla="*/ 5905963 w 10505529"/>
              <a:gd name="connsiteY29575" fmla="*/ 2410471 h 7458372"/>
              <a:gd name="connsiteX29576" fmla="*/ 5895979 w 10505529"/>
              <a:gd name="connsiteY29576" fmla="*/ 2414065 h 7458372"/>
              <a:gd name="connsiteX29577" fmla="*/ 5892385 w 10505529"/>
              <a:gd name="connsiteY29577" fmla="*/ 2423515 h 7458372"/>
              <a:gd name="connsiteX29578" fmla="*/ 5895979 w 10505529"/>
              <a:gd name="connsiteY29578" fmla="*/ 2432967 h 7458372"/>
              <a:gd name="connsiteX29579" fmla="*/ 5905963 w 10505529"/>
              <a:gd name="connsiteY29579" fmla="*/ 2436428 h 7458372"/>
              <a:gd name="connsiteX29580" fmla="*/ 5911287 w 10505529"/>
              <a:gd name="connsiteY29580" fmla="*/ 2435496 h 7458372"/>
              <a:gd name="connsiteX29581" fmla="*/ 5915014 w 10505529"/>
              <a:gd name="connsiteY29581" fmla="*/ 2433101 h 7458372"/>
              <a:gd name="connsiteX29582" fmla="*/ 5917677 w 10505529"/>
              <a:gd name="connsiteY29582" fmla="*/ 2428974 h 7458372"/>
              <a:gd name="connsiteX29583" fmla="*/ 5918742 w 10505529"/>
              <a:gd name="connsiteY29583" fmla="*/ 2423515 h 7458372"/>
              <a:gd name="connsiteX29584" fmla="*/ 5917677 w 10505529"/>
              <a:gd name="connsiteY29584" fmla="*/ 2418324 h 7458372"/>
              <a:gd name="connsiteX29585" fmla="*/ 5915014 w 10505529"/>
              <a:gd name="connsiteY29585" fmla="*/ 2414065 h 7458372"/>
              <a:gd name="connsiteX29586" fmla="*/ 5911021 w 10505529"/>
              <a:gd name="connsiteY29586" fmla="*/ 2411402 h 7458372"/>
              <a:gd name="connsiteX29587" fmla="*/ 5905963 w 10505529"/>
              <a:gd name="connsiteY29587" fmla="*/ 2410471 h 7458372"/>
              <a:gd name="connsiteX29588" fmla="*/ 5688451 w 10505529"/>
              <a:gd name="connsiteY29588" fmla="*/ 2410471 h 7458372"/>
              <a:gd name="connsiteX29589" fmla="*/ 5678467 w 10505529"/>
              <a:gd name="connsiteY29589" fmla="*/ 2414065 h 7458372"/>
              <a:gd name="connsiteX29590" fmla="*/ 5674873 w 10505529"/>
              <a:gd name="connsiteY29590" fmla="*/ 2423515 h 7458372"/>
              <a:gd name="connsiteX29591" fmla="*/ 5678467 w 10505529"/>
              <a:gd name="connsiteY29591" fmla="*/ 2432967 h 7458372"/>
              <a:gd name="connsiteX29592" fmla="*/ 5688451 w 10505529"/>
              <a:gd name="connsiteY29592" fmla="*/ 2436428 h 7458372"/>
              <a:gd name="connsiteX29593" fmla="*/ 5693775 w 10505529"/>
              <a:gd name="connsiteY29593" fmla="*/ 2435496 h 7458372"/>
              <a:gd name="connsiteX29594" fmla="*/ 5697502 w 10505529"/>
              <a:gd name="connsiteY29594" fmla="*/ 2433101 h 7458372"/>
              <a:gd name="connsiteX29595" fmla="*/ 5700165 w 10505529"/>
              <a:gd name="connsiteY29595" fmla="*/ 2428974 h 7458372"/>
              <a:gd name="connsiteX29596" fmla="*/ 5701230 w 10505529"/>
              <a:gd name="connsiteY29596" fmla="*/ 2423515 h 7458372"/>
              <a:gd name="connsiteX29597" fmla="*/ 5700165 w 10505529"/>
              <a:gd name="connsiteY29597" fmla="*/ 2418324 h 7458372"/>
              <a:gd name="connsiteX29598" fmla="*/ 5697502 w 10505529"/>
              <a:gd name="connsiteY29598" fmla="*/ 2414065 h 7458372"/>
              <a:gd name="connsiteX29599" fmla="*/ 5693509 w 10505529"/>
              <a:gd name="connsiteY29599" fmla="*/ 2411402 h 7458372"/>
              <a:gd name="connsiteX29600" fmla="*/ 5688451 w 10505529"/>
              <a:gd name="connsiteY29600" fmla="*/ 2410471 h 7458372"/>
              <a:gd name="connsiteX29601" fmla="*/ 5470806 w 10505529"/>
              <a:gd name="connsiteY29601" fmla="*/ 2410471 h 7458372"/>
              <a:gd name="connsiteX29602" fmla="*/ 5460822 w 10505529"/>
              <a:gd name="connsiteY29602" fmla="*/ 2414065 h 7458372"/>
              <a:gd name="connsiteX29603" fmla="*/ 5457228 w 10505529"/>
              <a:gd name="connsiteY29603" fmla="*/ 2423515 h 7458372"/>
              <a:gd name="connsiteX29604" fmla="*/ 5460822 w 10505529"/>
              <a:gd name="connsiteY29604" fmla="*/ 2432967 h 7458372"/>
              <a:gd name="connsiteX29605" fmla="*/ 5470806 w 10505529"/>
              <a:gd name="connsiteY29605" fmla="*/ 2436428 h 7458372"/>
              <a:gd name="connsiteX29606" fmla="*/ 5476130 w 10505529"/>
              <a:gd name="connsiteY29606" fmla="*/ 2435496 h 7458372"/>
              <a:gd name="connsiteX29607" fmla="*/ 5479857 w 10505529"/>
              <a:gd name="connsiteY29607" fmla="*/ 2433101 h 7458372"/>
              <a:gd name="connsiteX29608" fmla="*/ 5482520 w 10505529"/>
              <a:gd name="connsiteY29608" fmla="*/ 2428974 h 7458372"/>
              <a:gd name="connsiteX29609" fmla="*/ 5483585 w 10505529"/>
              <a:gd name="connsiteY29609" fmla="*/ 2423515 h 7458372"/>
              <a:gd name="connsiteX29610" fmla="*/ 5482520 w 10505529"/>
              <a:gd name="connsiteY29610" fmla="*/ 2418324 h 7458372"/>
              <a:gd name="connsiteX29611" fmla="*/ 5479857 w 10505529"/>
              <a:gd name="connsiteY29611" fmla="*/ 2414065 h 7458372"/>
              <a:gd name="connsiteX29612" fmla="*/ 5475864 w 10505529"/>
              <a:gd name="connsiteY29612" fmla="*/ 2411402 h 7458372"/>
              <a:gd name="connsiteX29613" fmla="*/ 5470806 w 10505529"/>
              <a:gd name="connsiteY29613" fmla="*/ 2410471 h 7458372"/>
              <a:gd name="connsiteX29614" fmla="*/ 5253160 w 10505529"/>
              <a:gd name="connsiteY29614" fmla="*/ 2410471 h 7458372"/>
              <a:gd name="connsiteX29615" fmla="*/ 5243177 w 10505529"/>
              <a:gd name="connsiteY29615" fmla="*/ 2414065 h 7458372"/>
              <a:gd name="connsiteX29616" fmla="*/ 5239583 w 10505529"/>
              <a:gd name="connsiteY29616" fmla="*/ 2423515 h 7458372"/>
              <a:gd name="connsiteX29617" fmla="*/ 5243177 w 10505529"/>
              <a:gd name="connsiteY29617" fmla="*/ 2432967 h 7458372"/>
              <a:gd name="connsiteX29618" fmla="*/ 5253160 w 10505529"/>
              <a:gd name="connsiteY29618" fmla="*/ 2436428 h 7458372"/>
              <a:gd name="connsiteX29619" fmla="*/ 5258485 w 10505529"/>
              <a:gd name="connsiteY29619" fmla="*/ 2435496 h 7458372"/>
              <a:gd name="connsiteX29620" fmla="*/ 5262212 w 10505529"/>
              <a:gd name="connsiteY29620" fmla="*/ 2433101 h 7458372"/>
              <a:gd name="connsiteX29621" fmla="*/ 5264875 w 10505529"/>
              <a:gd name="connsiteY29621" fmla="*/ 2428974 h 7458372"/>
              <a:gd name="connsiteX29622" fmla="*/ 5265939 w 10505529"/>
              <a:gd name="connsiteY29622" fmla="*/ 2423515 h 7458372"/>
              <a:gd name="connsiteX29623" fmla="*/ 5264875 w 10505529"/>
              <a:gd name="connsiteY29623" fmla="*/ 2418324 h 7458372"/>
              <a:gd name="connsiteX29624" fmla="*/ 5262212 w 10505529"/>
              <a:gd name="connsiteY29624" fmla="*/ 2414065 h 7458372"/>
              <a:gd name="connsiteX29625" fmla="*/ 5258219 w 10505529"/>
              <a:gd name="connsiteY29625" fmla="*/ 2411402 h 7458372"/>
              <a:gd name="connsiteX29626" fmla="*/ 5253160 w 10505529"/>
              <a:gd name="connsiteY29626" fmla="*/ 2410471 h 7458372"/>
              <a:gd name="connsiteX29627" fmla="*/ 5035515 w 10505529"/>
              <a:gd name="connsiteY29627" fmla="*/ 2410471 h 7458372"/>
              <a:gd name="connsiteX29628" fmla="*/ 5025532 w 10505529"/>
              <a:gd name="connsiteY29628" fmla="*/ 2414065 h 7458372"/>
              <a:gd name="connsiteX29629" fmla="*/ 5021938 w 10505529"/>
              <a:gd name="connsiteY29629" fmla="*/ 2423515 h 7458372"/>
              <a:gd name="connsiteX29630" fmla="*/ 5025532 w 10505529"/>
              <a:gd name="connsiteY29630" fmla="*/ 2432967 h 7458372"/>
              <a:gd name="connsiteX29631" fmla="*/ 5035515 w 10505529"/>
              <a:gd name="connsiteY29631" fmla="*/ 2436428 h 7458372"/>
              <a:gd name="connsiteX29632" fmla="*/ 5040840 w 10505529"/>
              <a:gd name="connsiteY29632" fmla="*/ 2435496 h 7458372"/>
              <a:gd name="connsiteX29633" fmla="*/ 5044567 w 10505529"/>
              <a:gd name="connsiteY29633" fmla="*/ 2433101 h 7458372"/>
              <a:gd name="connsiteX29634" fmla="*/ 5047230 w 10505529"/>
              <a:gd name="connsiteY29634" fmla="*/ 2428974 h 7458372"/>
              <a:gd name="connsiteX29635" fmla="*/ 5048294 w 10505529"/>
              <a:gd name="connsiteY29635" fmla="*/ 2423515 h 7458372"/>
              <a:gd name="connsiteX29636" fmla="*/ 5047230 w 10505529"/>
              <a:gd name="connsiteY29636" fmla="*/ 2418324 h 7458372"/>
              <a:gd name="connsiteX29637" fmla="*/ 5044567 w 10505529"/>
              <a:gd name="connsiteY29637" fmla="*/ 2414065 h 7458372"/>
              <a:gd name="connsiteX29638" fmla="*/ 5040574 w 10505529"/>
              <a:gd name="connsiteY29638" fmla="*/ 2411402 h 7458372"/>
              <a:gd name="connsiteX29639" fmla="*/ 5035515 w 10505529"/>
              <a:gd name="connsiteY29639" fmla="*/ 2410471 h 7458372"/>
              <a:gd name="connsiteX29640" fmla="*/ 4817870 w 10505529"/>
              <a:gd name="connsiteY29640" fmla="*/ 2410471 h 7458372"/>
              <a:gd name="connsiteX29641" fmla="*/ 4807887 w 10505529"/>
              <a:gd name="connsiteY29641" fmla="*/ 2414065 h 7458372"/>
              <a:gd name="connsiteX29642" fmla="*/ 4804293 w 10505529"/>
              <a:gd name="connsiteY29642" fmla="*/ 2423515 h 7458372"/>
              <a:gd name="connsiteX29643" fmla="*/ 4807887 w 10505529"/>
              <a:gd name="connsiteY29643" fmla="*/ 2432967 h 7458372"/>
              <a:gd name="connsiteX29644" fmla="*/ 4817870 w 10505529"/>
              <a:gd name="connsiteY29644" fmla="*/ 2436428 h 7458372"/>
              <a:gd name="connsiteX29645" fmla="*/ 4823195 w 10505529"/>
              <a:gd name="connsiteY29645" fmla="*/ 2435496 h 7458372"/>
              <a:gd name="connsiteX29646" fmla="*/ 4826922 w 10505529"/>
              <a:gd name="connsiteY29646" fmla="*/ 2433101 h 7458372"/>
              <a:gd name="connsiteX29647" fmla="*/ 4829585 w 10505529"/>
              <a:gd name="connsiteY29647" fmla="*/ 2428974 h 7458372"/>
              <a:gd name="connsiteX29648" fmla="*/ 4830650 w 10505529"/>
              <a:gd name="connsiteY29648" fmla="*/ 2423515 h 7458372"/>
              <a:gd name="connsiteX29649" fmla="*/ 4829585 w 10505529"/>
              <a:gd name="connsiteY29649" fmla="*/ 2418324 h 7458372"/>
              <a:gd name="connsiteX29650" fmla="*/ 4826922 w 10505529"/>
              <a:gd name="connsiteY29650" fmla="*/ 2414065 h 7458372"/>
              <a:gd name="connsiteX29651" fmla="*/ 4822929 w 10505529"/>
              <a:gd name="connsiteY29651" fmla="*/ 2411402 h 7458372"/>
              <a:gd name="connsiteX29652" fmla="*/ 4817870 w 10505529"/>
              <a:gd name="connsiteY29652" fmla="*/ 2410471 h 7458372"/>
              <a:gd name="connsiteX29653" fmla="*/ 4600226 w 10505529"/>
              <a:gd name="connsiteY29653" fmla="*/ 2410471 h 7458372"/>
              <a:gd name="connsiteX29654" fmla="*/ 4590242 w 10505529"/>
              <a:gd name="connsiteY29654" fmla="*/ 2414065 h 7458372"/>
              <a:gd name="connsiteX29655" fmla="*/ 4586648 w 10505529"/>
              <a:gd name="connsiteY29655" fmla="*/ 2423515 h 7458372"/>
              <a:gd name="connsiteX29656" fmla="*/ 4590242 w 10505529"/>
              <a:gd name="connsiteY29656" fmla="*/ 2432967 h 7458372"/>
              <a:gd name="connsiteX29657" fmla="*/ 4600226 w 10505529"/>
              <a:gd name="connsiteY29657" fmla="*/ 2436428 h 7458372"/>
              <a:gd name="connsiteX29658" fmla="*/ 4605550 w 10505529"/>
              <a:gd name="connsiteY29658" fmla="*/ 2435496 h 7458372"/>
              <a:gd name="connsiteX29659" fmla="*/ 4609277 w 10505529"/>
              <a:gd name="connsiteY29659" fmla="*/ 2433101 h 7458372"/>
              <a:gd name="connsiteX29660" fmla="*/ 4611940 w 10505529"/>
              <a:gd name="connsiteY29660" fmla="*/ 2428974 h 7458372"/>
              <a:gd name="connsiteX29661" fmla="*/ 4613005 w 10505529"/>
              <a:gd name="connsiteY29661" fmla="*/ 2423515 h 7458372"/>
              <a:gd name="connsiteX29662" fmla="*/ 4611940 w 10505529"/>
              <a:gd name="connsiteY29662" fmla="*/ 2418324 h 7458372"/>
              <a:gd name="connsiteX29663" fmla="*/ 4609277 w 10505529"/>
              <a:gd name="connsiteY29663" fmla="*/ 2414065 h 7458372"/>
              <a:gd name="connsiteX29664" fmla="*/ 4605284 w 10505529"/>
              <a:gd name="connsiteY29664" fmla="*/ 2411402 h 7458372"/>
              <a:gd name="connsiteX29665" fmla="*/ 4600226 w 10505529"/>
              <a:gd name="connsiteY29665" fmla="*/ 2410471 h 7458372"/>
              <a:gd name="connsiteX29666" fmla="*/ 4382713 w 10505529"/>
              <a:gd name="connsiteY29666" fmla="*/ 2410471 h 7458372"/>
              <a:gd name="connsiteX29667" fmla="*/ 4372730 w 10505529"/>
              <a:gd name="connsiteY29667" fmla="*/ 2414065 h 7458372"/>
              <a:gd name="connsiteX29668" fmla="*/ 4369136 w 10505529"/>
              <a:gd name="connsiteY29668" fmla="*/ 2423515 h 7458372"/>
              <a:gd name="connsiteX29669" fmla="*/ 4372730 w 10505529"/>
              <a:gd name="connsiteY29669" fmla="*/ 2432967 h 7458372"/>
              <a:gd name="connsiteX29670" fmla="*/ 4382713 w 10505529"/>
              <a:gd name="connsiteY29670" fmla="*/ 2436428 h 7458372"/>
              <a:gd name="connsiteX29671" fmla="*/ 4388038 w 10505529"/>
              <a:gd name="connsiteY29671" fmla="*/ 2435496 h 7458372"/>
              <a:gd name="connsiteX29672" fmla="*/ 4391765 w 10505529"/>
              <a:gd name="connsiteY29672" fmla="*/ 2433101 h 7458372"/>
              <a:gd name="connsiteX29673" fmla="*/ 4394428 w 10505529"/>
              <a:gd name="connsiteY29673" fmla="*/ 2428974 h 7458372"/>
              <a:gd name="connsiteX29674" fmla="*/ 4395493 w 10505529"/>
              <a:gd name="connsiteY29674" fmla="*/ 2423515 h 7458372"/>
              <a:gd name="connsiteX29675" fmla="*/ 4394428 w 10505529"/>
              <a:gd name="connsiteY29675" fmla="*/ 2418324 h 7458372"/>
              <a:gd name="connsiteX29676" fmla="*/ 4391765 w 10505529"/>
              <a:gd name="connsiteY29676" fmla="*/ 2414065 h 7458372"/>
              <a:gd name="connsiteX29677" fmla="*/ 4387772 w 10505529"/>
              <a:gd name="connsiteY29677" fmla="*/ 2411402 h 7458372"/>
              <a:gd name="connsiteX29678" fmla="*/ 4382713 w 10505529"/>
              <a:gd name="connsiteY29678" fmla="*/ 2410471 h 7458372"/>
              <a:gd name="connsiteX29679" fmla="*/ 4165068 w 10505529"/>
              <a:gd name="connsiteY29679" fmla="*/ 2410471 h 7458372"/>
              <a:gd name="connsiteX29680" fmla="*/ 4155084 w 10505529"/>
              <a:gd name="connsiteY29680" fmla="*/ 2414065 h 7458372"/>
              <a:gd name="connsiteX29681" fmla="*/ 4151490 w 10505529"/>
              <a:gd name="connsiteY29681" fmla="*/ 2423515 h 7458372"/>
              <a:gd name="connsiteX29682" fmla="*/ 4155084 w 10505529"/>
              <a:gd name="connsiteY29682" fmla="*/ 2432967 h 7458372"/>
              <a:gd name="connsiteX29683" fmla="*/ 4165068 w 10505529"/>
              <a:gd name="connsiteY29683" fmla="*/ 2436428 h 7458372"/>
              <a:gd name="connsiteX29684" fmla="*/ 4170392 w 10505529"/>
              <a:gd name="connsiteY29684" fmla="*/ 2435496 h 7458372"/>
              <a:gd name="connsiteX29685" fmla="*/ 4174119 w 10505529"/>
              <a:gd name="connsiteY29685" fmla="*/ 2433101 h 7458372"/>
              <a:gd name="connsiteX29686" fmla="*/ 4176782 w 10505529"/>
              <a:gd name="connsiteY29686" fmla="*/ 2428974 h 7458372"/>
              <a:gd name="connsiteX29687" fmla="*/ 4177847 w 10505529"/>
              <a:gd name="connsiteY29687" fmla="*/ 2423515 h 7458372"/>
              <a:gd name="connsiteX29688" fmla="*/ 4176782 w 10505529"/>
              <a:gd name="connsiteY29688" fmla="*/ 2418324 h 7458372"/>
              <a:gd name="connsiteX29689" fmla="*/ 4174119 w 10505529"/>
              <a:gd name="connsiteY29689" fmla="*/ 2414065 h 7458372"/>
              <a:gd name="connsiteX29690" fmla="*/ 4170126 w 10505529"/>
              <a:gd name="connsiteY29690" fmla="*/ 2411402 h 7458372"/>
              <a:gd name="connsiteX29691" fmla="*/ 4165068 w 10505529"/>
              <a:gd name="connsiteY29691" fmla="*/ 2410471 h 7458372"/>
              <a:gd name="connsiteX29692" fmla="*/ 3947558 w 10505529"/>
              <a:gd name="connsiteY29692" fmla="*/ 2410471 h 7458372"/>
              <a:gd name="connsiteX29693" fmla="*/ 3937575 w 10505529"/>
              <a:gd name="connsiteY29693" fmla="*/ 2414065 h 7458372"/>
              <a:gd name="connsiteX29694" fmla="*/ 3933981 w 10505529"/>
              <a:gd name="connsiteY29694" fmla="*/ 2423515 h 7458372"/>
              <a:gd name="connsiteX29695" fmla="*/ 3937575 w 10505529"/>
              <a:gd name="connsiteY29695" fmla="*/ 2432967 h 7458372"/>
              <a:gd name="connsiteX29696" fmla="*/ 3947558 w 10505529"/>
              <a:gd name="connsiteY29696" fmla="*/ 2436428 h 7458372"/>
              <a:gd name="connsiteX29697" fmla="*/ 3952885 w 10505529"/>
              <a:gd name="connsiteY29697" fmla="*/ 2435496 h 7458372"/>
              <a:gd name="connsiteX29698" fmla="*/ 3956611 w 10505529"/>
              <a:gd name="connsiteY29698" fmla="*/ 2433101 h 7458372"/>
              <a:gd name="connsiteX29699" fmla="*/ 3959274 w 10505529"/>
              <a:gd name="connsiteY29699" fmla="*/ 2428974 h 7458372"/>
              <a:gd name="connsiteX29700" fmla="*/ 3960339 w 10505529"/>
              <a:gd name="connsiteY29700" fmla="*/ 2423515 h 7458372"/>
              <a:gd name="connsiteX29701" fmla="*/ 3959274 w 10505529"/>
              <a:gd name="connsiteY29701" fmla="*/ 2418324 h 7458372"/>
              <a:gd name="connsiteX29702" fmla="*/ 3956611 w 10505529"/>
              <a:gd name="connsiteY29702" fmla="*/ 2414065 h 7458372"/>
              <a:gd name="connsiteX29703" fmla="*/ 3952617 w 10505529"/>
              <a:gd name="connsiteY29703" fmla="*/ 2411402 h 7458372"/>
              <a:gd name="connsiteX29704" fmla="*/ 3947558 w 10505529"/>
              <a:gd name="connsiteY29704" fmla="*/ 2410471 h 7458372"/>
              <a:gd name="connsiteX29705" fmla="*/ 3729907 w 10505529"/>
              <a:gd name="connsiteY29705" fmla="*/ 2410471 h 7458372"/>
              <a:gd name="connsiteX29706" fmla="*/ 3719921 w 10505529"/>
              <a:gd name="connsiteY29706" fmla="*/ 2414065 h 7458372"/>
              <a:gd name="connsiteX29707" fmla="*/ 3716328 w 10505529"/>
              <a:gd name="connsiteY29707" fmla="*/ 2423515 h 7458372"/>
              <a:gd name="connsiteX29708" fmla="*/ 3719921 w 10505529"/>
              <a:gd name="connsiteY29708" fmla="*/ 2432967 h 7458372"/>
              <a:gd name="connsiteX29709" fmla="*/ 3729907 w 10505529"/>
              <a:gd name="connsiteY29709" fmla="*/ 2436428 h 7458372"/>
              <a:gd name="connsiteX29710" fmla="*/ 3735232 w 10505529"/>
              <a:gd name="connsiteY29710" fmla="*/ 2435496 h 7458372"/>
              <a:gd name="connsiteX29711" fmla="*/ 3738959 w 10505529"/>
              <a:gd name="connsiteY29711" fmla="*/ 2433101 h 7458372"/>
              <a:gd name="connsiteX29712" fmla="*/ 3741622 w 10505529"/>
              <a:gd name="connsiteY29712" fmla="*/ 2428974 h 7458372"/>
              <a:gd name="connsiteX29713" fmla="*/ 3742686 w 10505529"/>
              <a:gd name="connsiteY29713" fmla="*/ 2423515 h 7458372"/>
              <a:gd name="connsiteX29714" fmla="*/ 3741622 w 10505529"/>
              <a:gd name="connsiteY29714" fmla="*/ 2418324 h 7458372"/>
              <a:gd name="connsiteX29715" fmla="*/ 3738959 w 10505529"/>
              <a:gd name="connsiteY29715" fmla="*/ 2414065 h 7458372"/>
              <a:gd name="connsiteX29716" fmla="*/ 3734966 w 10505529"/>
              <a:gd name="connsiteY29716" fmla="*/ 2411402 h 7458372"/>
              <a:gd name="connsiteX29717" fmla="*/ 3729907 w 10505529"/>
              <a:gd name="connsiteY29717" fmla="*/ 2410471 h 7458372"/>
              <a:gd name="connsiteX29718" fmla="*/ 3512254 w 10505529"/>
              <a:gd name="connsiteY29718" fmla="*/ 2410471 h 7458372"/>
              <a:gd name="connsiteX29719" fmla="*/ 3502269 w 10505529"/>
              <a:gd name="connsiteY29719" fmla="*/ 2414065 h 7458372"/>
              <a:gd name="connsiteX29720" fmla="*/ 3498675 w 10505529"/>
              <a:gd name="connsiteY29720" fmla="*/ 2423515 h 7458372"/>
              <a:gd name="connsiteX29721" fmla="*/ 3502269 w 10505529"/>
              <a:gd name="connsiteY29721" fmla="*/ 2432967 h 7458372"/>
              <a:gd name="connsiteX29722" fmla="*/ 3512254 w 10505529"/>
              <a:gd name="connsiteY29722" fmla="*/ 2436428 h 7458372"/>
              <a:gd name="connsiteX29723" fmla="*/ 3517580 w 10505529"/>
              <a:gd name="connsiteY29723" fmla="*/ 2435496 h 7458372"/>
              <a:gd name="connsiteX29724" fmla="*/ 3521307 w 10505529"/>
              <a:gd name="connsiteY29724" fmla="*/ 2433101 h 7458372"/>
              <a:gd name="connsiteX29725" fmla="*/ 3523970 w 10505529"/>
              <a:gd name="connsiteY29725" fmla="*/ 2428974 h 7458372"/>
              <a:gd name="connsiteX29726" fmla="*/ 3525035 w 10505529"/>
              <a:gd name="connsiteY29726" fmla="*/ 2423515 h 7458372"/>
              <a:gd name="connsiteX29727" fmla="*/ 3523970 w 10505529"/>
              <a:gd name="connsiteY29727" fmla="*/ 2418324 h 7458372"/>
              <a:gd name="connsiteX29728" fmla="*/ 3521307 w 10505529"/>
              <a:gd name="connsiteY29728" fmla="*/ 2414065 h 7458372"/>
              <a:gd name="connsiteX29729" fmla="*/ 3517314 w 10505529"/>
              <a:gd name="connsiteY29729" fmla="*/ 2411402 h 7458372"/>
              <a:gd name="connsiteX29730" fmla="*/ 3512254 w 10505529"/>
              <a:gd name="connsiteY29730" fmla="*/ 2410471 h 7458372"/>
              <a:gd name="connsiteX29731" fmla="*/ 3294736 w 10505529"/>
              <a:gd name="connsiteY29731" fmla="*/ 2410471 h 7458372"/>
              <a:gd name="connsiteX29732" fmla="*/ 3284751 w 10505529"/>
              <a:gd name="connsiteY29732" fmla="*/ 2414065 h 7458372"/>
              <a:gd name="connsiteX29733" fmla="*/ 3281157 w 10505529"/>
              <a:gd name="connsiteY29733" fmla="*/ 2423515 h 7458372"/>
              <a:gd name="connsiteX29734" fmla="*/ 3284751 w 10505529"/>
              <a:gd name="connsiteY29734" fmla="*/ 2432967 h 7458372"/>
              <a:gd name="connsiteX29735" fmla="*/ 3294736 w 10505529"/>
              <a:gd name="connsiteY29735" fmla="*/ 2436428 h 7458372"/>
              <a:gd name="connsiteX29736" fmla="*/ 3300061 w 10505529"/>
              <a:gd name="connsiteY29736" fmla="*/ 2435496 h 7458372"/>
              <a:gd name="connsiteX29737" fmla="*/ 3303788 w 10505529"/>
              <a:gd name="connsiteY29737" fmla="*/ 2433101 h 7458372"/>
              <a:gd name="connsiteX29738" fmla="*/ 3306451 w 10505529"/>
              <a:gd name="connsiteY29738" fmla="*/ 2428974 h 7458372"/>
              <a:gd name="connsiteX29739" fmla="*/ 3307515 w 10505529"/>
              <a:gd name="connsiteY29739" fmla="*/ 2423515 h 7458372"/>
              <a:gd name="connsiteX29740" fmla="*/ 3306451 w 10505529"/>
              <a:gd name="connsiteY29740" fmla="*/ 2418324 h 7458372"/>
              <a:gd name="connsiteX29741" fmla="*/ 3303788 w 10505529"/>
              <a:gd name="connsiteY29741" fmla="*/ 2414065 h 7458372"/>
              <a:gd name="connsiteX29742" fmla="*/ 3299795 w 10505529"/>
              <a:gd name="connsiteY29742" fmla="*/ 2411402 h 7458372"/>
              <a:gd name="connsiteX29743" fmla="*/ 3294736 w 10505529"/>
              <a:gd name="connsiteY29743" fmla="*/ 2410471 h 7458372"/>
              <a:gd name="connsiteX29744" fmla="*/ 3077217 w 10505529"/>
              <a:gd name="connsiteY29744" fmla="*/ 2410471 h 7458372"/>
              <a:gd name="connsiteX29745" fmla="*/ 3067234 w 10505529"/>
              <a:gd name="connsiteY29745" fmla="*/ 2414065 h 7458372"/>
              <a:gd name="connsiteX29746" fmla="*/ 3063504 w 10505529"/>
              <a:gd name="connsiteY29746" fmla="*/ 2423515 h 7458372"/>
              <a:gd name="connsiteX29747" fmla="*/ 3067099 w 10505529"/>
              <a:gd name="connsiteY29747" fmla="*/ 2432967 h 7458372"/>
              <a:gd name="connsiteX29748" fmla="*/ 3077083 w 10505529"/>
              <a:gd name="connsiteY29748" fmla="*/ 2436428 h 7458372"/>
              <a:gd name="connsiteX29749" fmla="*/ 3082542 w 10505529"/>
              <a:gd name="connsiteY29749" fmla="*/ 2435496 h 7458372"/>
              <a:gd name="connsiteX29750" fmla="*/ 3086269 w 10505529"/>
              <a:gd name="connsiteY29750" fmla="*/ 2433101 h 7458372"/>
              <a:gd name="connsiteX29751" fmla="*/ 3088932 w 10505529"/>
              <a:gd name="connsiteY29751" fmla="*/ 2428974 h 7458372"/>
              <a:gd name="connsiteX29752" fmla="*/ 3089864 w 10505529"/>
              <a:gd name="connsiteY29752" fmla="*/ 2423515 h 7458372"/>
              <a:gd name="connsiteX29753" fmla="*/ 3088932 w 10505529"/>
              <a:gd name="connsiteY29753" fmla="*/ 2418324 h 7458372"/>
              <a:gd name="connsiteX29754" fmla="*/ 3086269 w 10505529"/>
              <a:gd name="connsiteY29754" fmla="*/ 2414065 h 7458372"/>
              <a:gd name="connsiteX29755" fmla="*/ 3082276 w 10505529"/>
              <a:gd name="connsiteY29755" fmla="*/ 2411402 h 7458372"/>
              <a:gd name="connsiteX29756" fmla="*/ 3077217 w 10505529"/>
              <a:gd name="connsiteY29756" fmla="*/ 2410471 h 7458372"/>
              <a:gd name="connsiteX29757" fmla="*/ 2859432 w 10505529"/>
              <a:gd name="connsiteY29757" fmla="*/ 2410471 h 7458372"/>
              <a:gd name="connsiteX29758" fmla="*/ 2849447 w 10505529"/>
              <a:gd name="connsiteY29758" fmla="*/ 2414065 h 7458372"/>
              <a:gd name="connsiteX29759" fmla="*/ 2845851 w 10505529"/>
              <a:gd name="connsiteY29759" fmla="*/ 2423515 h 7458372"/>
              <a:gd name="connsiteX29760" fmla="*/ 2849447 w 10505529"/>
              <a:gd name="connsiteY29760" fmla="*/ 2432967 h 7458372"/>
              <a:gd name="connsiteX29761" fmla="*/ 2859432 w 10505529"/>
              <a:gd name="connsiteY29761" fmla="*/ 2436428 h 7458372"/>
              <a:gd name="connsiteX29762" fmla="*/ 2864757 w 10505529"/>
              <a:gd name="connsiteY29762" fmla="*/ 2435496 h 7458372"/>
              <a:gd name="connsiteX29763" fmla="*/ 2868483 w 10505529"/>
              <a:gd name="connsiteY29763" fmla="*/ 2433101 h 7458372"/>
              <a:gd name="connsiteX29764" fmla="*/ 2871147 w 10505529"/>
              <a:gd name="connsiteY29764" fmla="*/ 2428974 h 7458372"/>
              <a:gd name="connsiteX29765" fmla="*/ 2872078 w 10505529"/>
              <a:gd name="connsiteY29765" fmla="*/ 2423515 h 7458372"/>
              <a:gd name="connsiteX29766" fmla="*/ 2871147 w 10505529"/>
              <a:gd name="connsiteY29766" fmla="*/ 2418324 h 7458372"/>
              <a:gd name="connsiteX29767" fmla="*/ 2868483 w 10505529"/>
              <a:gd name="connsiteY29767" fmla="*/ 2414065 h 7458372"/>
              <a:gd name="connsiteX29768" fmla="*/ 2864491 w 10505529"/>
              <a:gd name="connsiteY29768" fmla="*/ 2411402 h 7458372"/>
              <a:gd name="connsiteX29769" fmla="*/ 2859432 w 10505529"/>
              <a:gd name="connsiteY29769" fmla="*/ 2410471 h 7458372"/>
              <a:gd name="connsiteX29770" fmla="*/ 2641779 w 10505529"/>
              <a:gd name="connsiteY29770" fmla="*/ 2410471 h 7458372"/>
              <a:gd name="connsiteX29771" fmla="*/ 2631796 w 10505529"/>
              <a:gd name="connsiteY29771" fmla="*/ 2414065 h 7458372"/>
              <a:gd name="connsiteX29772" fmla="*/ 2628202 w 10505529"/>
              <a:gd name="connsiteY29772" fmla="*/ 2423515 h 7458372"/>
              <a:gd name="connsiteX29773" fmla="*/ 2631796 w 10505529"/>
              <a:gd name="connsiteY29773" fmla="*/ 2432967 h 7458372"/>
              <a:gd name="connsiteX29774" fmla="*/ 2641779 w 10505529"/>
              <a:gd name="connsiteY29774" fmla="*/ 2436428 h 7458372"/>
              <a:gd name="connsiteX29775" fmla="*/ 2647105 w 10505529"/>
              <a:gd name="connsiteY29775" fmla="*/ 2435496 h 7458372"/>
              <a:gd name="connsiteX29776" fmla="*/ 2650832 w 10505529"/>
              <a:gd name="connsiteY29776" fmla="*/ 2433101 h 7458372"/>
              <a:gd name="connsiteX29777" fmla="*/ 2653495 w 10505529"/>
              <a:gd name="connsiteY29777" fmla="*/ 2428974 h 7458372"/>
              <a:gd name="connsiteX29778" fmla="*/ 2654425 w 10505529"/>
              <a:gd name="connsiteY29778" fmla="*/ 2423515 h 7458372"/>
              <a:gd name="connsiteX29779" fmla="*/ 2653495 w 10505529"/>
              <a:gd name="connsiteY29779" fmla="*/ 2418324 h 7458372"/>
              <a:gd name="connsiteX29780" fmla="*/ 2650832 w 10505529"/>
              <a:gd name="connsiteY29780" fmla="*/ 2414065 h 7458372"/>
              <a:gd name="connsiteX29781" fmla="*/ 2646839 w 10505529"/>
              <a:gd name="connsiteY29781" fmla="*/ 2411402 h 7458372"/>
              <a:gd name="connsiteX29782" fmla="*/ 2641779 w 10505529"/>
              <a:gd name="connsiteY29782" fmla="*/ 2410471 h 7458372"/>
              <a:gd name="connsiteX29783" fmla="*/ 2424127 w 10505529"/>
              <a:gd name="connsiteY29783" fmla="*/ 2410471 h 7458372"/>
              <a:gd name="connsiteX29784" fmla="*/ 2414144 w 10505529"/>
              <a:gd name="connsiteY29784" fmla="*/ 2414065 h 7458372"/>
              <a:gd name="connsiteX29785" fmla="*/ 2410550 w 10505529"/>
              <a:gd name="connsiteY29785" fmla="*/ 2423515 h 7458372"/>
              <a:gd name="connsiteX29786" fmla="*/ 2414144 w 10505529"/>
              <a:gd name="connsiteY29786" fmla="*/ 2432967 h 7458372"/>
              <a:gd name="connsiteX29787" fmla="*/ 2424127 w 10505529"/>
              <a:gd name="connsiteY29787" fmla="*/ 2436428 h 7458372"/>
              <a:gd name="connsiteX29788" fmla="*/ 2429453 w 10505529"/>
              <a:gd name="connsiteY29788" fmla="*/ 2435496 h 7458372"/>
              <a:gd name="connsiteX29789" fmla="*/ 2433179 w 10505529"/>
              <a:gd name="connsiteY29789" fmla="*/ 2433101 h 7458372"/>
              <a:gd name="connsiteX29790" fmla="*/ 2435843 w 10505529"/>
              <a:gd name="connsiteY29790" fmla="*/ 2428974 h 7458372"/>
              <a:gd name="connsiteX29791" fmla="*/ 2436774 w 10505529"/>
              <a:gd name="connsiteY29791" fmla="*/ 2423515 h 7458372"/>
              <a:gd name="connsiteX29792" fmla="*/ 2435843 w 10505529"/>
              <a:gd name="connsiteY29792" fmla="*/ 2418324 h 7458372"/>
              <a:gd name="connsiteX29793" fmla="*/ 2433179 w 10505529"/>
              <a:gd name="connsiteY29793" fmla="*/ 2414065 h 7458372"/>
              <a:gd name="connsiteX29794" fmla="*/ 2429186 w 10505529"/>
              <a:gd name="connsiteY29794" fmla="*/ 2411402 h 7458372"/>
              <a:gd name="connsiteX29795" fmla="*/ 2424127 w 10505529"/>
              <a:gd name="connsiteY29795" fmla="*/ 2410471 h 7458372"/>
              <a:gd name="connsiteX29796" fmla="*/ 2206475 w 10505529"/>
              <a:gd name="connsiteY29796" fmla="*/ 2410471 h 7458372"/>
              <a:gd name="connsiteX29797" fmla="*/ 2196492 w 10505529"/>
              <a:gd name="connsiteY29797" fmla="*/ 2414065 h 7458372"/>
              <a:gd name="connsiteX29798" fmla="*/ 2192898 w 10505529"/>
              <a:gd name="connsiteY29798" fmla="*/ 2423515 h 7458372"/>
              <a:gd name="connsiteX29799" fmla="*/ 2196492 w 10505529"/>
              <a:gd name="connsiteY29799" fmla="*/ 2432967 h 7458372"/>
              <a:gd name="connsiteX29800" fmla="*/ 2206475 w 10505529"/>
              <a:gd name="connsiteY29800" fmla="*/ 2436428 h 7458372"/>
              <a:gd name="connsiteX29801" fmla="*/ 2211800 w 10505529"/>
              <a:gd name="connsiteY29801" fmla="*/ 2435496 h 7458372"/>
              <a:gd name="connsiteX29802" fmla="*/ 2215527 w 10505529"/>
              <a:gd name="connsiteY29802" fmla="*/ 2433101 h 7458372"/>
              <a:gd name="connsiteX29803" fmla="*/ 2218190 w 10505529"/>
              <a:gd name="connsiteY29803" fmla="*/ 2428974 h 7458372"/>
              <a:gd name="connsiteX29804" fmla="*/ 2219121 w 10505529"/>
              <a:gd name="connsiteY29804" fmla="*/ 2423515 h 7458372"/>
              <a:gd name="connsiteX29805" fmla="*/ 2218190 w 10505529"/>
              <a:gd name="connsiteY29805" fmla="*/ 2418324 h 7458372"/>
              <a:gd name="connsiteX29806" fmla="*/ 2215527 w 10505529"/>
              <a:gd name="connsiteY29806" fmla="*/ 2414065 h 7458372"/>
              <a:gd name="connsiteX29807" fmla="*/ 2211534 w 10505529"/>
              <a:gd name="connsiteY29807" fmla="*/ 2411402 h 7458372"/>
              <a:gd name="connsiteX29808" fmla="*/ 2206475 w 10505529"/>
              <a:gd name="connsiteY29808" fmla="*/ 2410471 h 7458372"/>
              <a:gd name="connsiteX29809" fmla="*/ 1988956 w 10505529"/>
              <a:gd name="connsiteY29809" fmla="*/ 2410471 h 7458372"/>
              <a:gd name="connsiteX29810" fmla="*/ 1978973 w 10505529"/>
              <a:gd name="connsiteY29810" fmla="*/ 2414065 h 7458372"/>
              <a:gd name="connsiteX29811" fmla="*/ 1975379 w 10505529"/>
              <a:gd name="connsiteY29811" fmla="*/ 2423515 h 7458372"/>
              <a:gd name="connsiteX29812" fmla="*/ 1978973 w 10505529"/>
              <a:gd name="connsiteY29812" fmla="*/ 2432967 h 7458372"/>
              <a:gd name="connsiteX29813" fmla="*/ 1988956 w 10505529"/>
              <a:gd name="connsiteY29813" fmla="*/ 2436428 h 7458372"/>
              <a:gd name="connsiteX29814" fmla="*/ 1994281 w 10505529"/>
              <a:gd name="connsiteY29814" fmla="*/ 2435496 h 7458372"/>
              <a:gd name="connsiteX29815" fmla="*/ 1998008 w 10505529"/>
              <a:gd name="connsiteY29815" fmla="*/ 2433101 h 7458372"/>
              <a:gd name="connsiteX29816" fmla="*/ 2000671 w 10505529"/>
              <a:gd name="connsiteY29816" fmla="*/ 2428974 h 7458372"/>
              <a:gd name="connsiteX29817" fmla="*/ 2001602 w 10505529"/>
              <a:gd name="connsiteY29817" fmla="*/ 2423515 h 7458372"/>
              <a:gd name="connsiteX29818" fmla="*/ 2000671 w 10505529"/>
              <a:gd name="connsiteY29818" fmla="*/ 2418324 h 7458372"/>
              <a:gd name="connsiteX29819" fmla="*/ 1998008 w 10505529"/>
              <a:gd name="connsiteY29819" fmla="*/ 2414065 h 7458372"/>
              <a:gd name="connsiteX29820" fmla="*/ 1994015 w 10505529"/>
              <a:gd name="connsiteY29820" fmla="*/ 2411402 h 7458372"/>
              <a:gd name="connsiteX29821" fmla="*/ 1988956 w 10505529"/>
              <a:gd name="connsiteY29821" fmla="*/ 2410471 h 7458372"/>
              <a:gd name="connsiteX29822" fmla="*/ 1771316 w 10505529"/>
              <a:gd name="connsiteY29822" fmla="*/ 2410471 h 7458372"/>
              <a:gd name="connsiteX29823" fmla="*/ 1761333 w 10505529"/>
              <a:gd name="connsiteY29823" fmla="*/ 2414065 h 7458372"/>
              <a:gd name="connsiteX29824" fmla="*/ 1757739 w 10505529"/>
              <a:gd name="connsiteY29824" fmla="*/ 2423515 h 7458372"/>
              <a:gd name="connsiteX29825" fmla="*/ 1761333 w 10505529"/>
              <a:gd name="connsiteY29825" fmla="*/ 2432967 h 7458372"/>
              <a:gd name="connsiteX29826" fmla="*/ 1771316 w 10505529"/>
              <a:gd name="connsiteY29826" fmla="*/ 2436428 h 7458372"/>
              <a:gd name="connsiteX29827" fmla="*/ 1776641 w 10505529"/>
              <a:gd name="connsiteY29827" fmla="*/ 2435496 h 7458372"/>
              <a:gd name="connsiteX29828" fmla="*/ 1780368 w 10505529"/>
              <a:gd name="connsiteY29828" fmla="*/ 2433101 h 7458372"/>
              <a:gd name="connsiteX29829" fmla="*/ 1783031 w 10505529"/>
              <a:gd name="connsiteY29829" fmla="*/ 2428974 h 7458372"/>
              <a:gd name="connsiteX29830" fmla="*/ 1784096 w 10505529"/>
              <a:gd name="connsiteY29830" fmla="*/ 2423515 h 7458372"/>
              <a:gd name="connsiteX29831" fmla="*/ 1783031 w 10505529"/>
              <a:gd name="connsiteY29831" fmla="*/ 2418324 h 7458372"/>
              <a:gd name="connsiteX29832" fmla="*/ 1780368 w 10505529"/>
              <a:gd name="connsiteY29832" fmla="*/ 2414065 h 7458372"/>
              <a:gd name="connsiteX29833" fmla="*/ 1776375 w 10505529"/>
              <a:gd name="connsiteY29833" fmla="*/ 2411402 h 7458372"/>
              <a:gd name="connsiteX29834" fmla="*/ 1771316 w 10505529"/>
              <a:gd name="connsiteY29834" fmla="*/ 2410471 h 7458372"/>
              <a:gd name="connsiteX29835" fmla="*/ 1553674 w 10505529"/>
              <a:gd name="connsiteY29835" fmla="*/ 2410471 h 7458372"/>
              <a:gd name="connsiteX29836" fmla="*/ 1543691 w 10505529"/>
              <a:gd name="connsiteY29836" fmla="*/ 2414065 h 7458372"/>
              <a:gd name="connsiteX29837" fmla="*/ 1540097 w 10505529"/>
              <a:gd name="connsiteY29837" fmla="*/ 2423515 h 7458372"/>
              <a:gd name="connsiteX29838" fmla="*/ 1543691 w 10505529"/>
              <a:gd name="connsiteY29838" fmla="*/ 2432967 h 7458372"/>
              <a:gd name="connsiteX29839" fmla="*/ 1553674 w 10505529"/>
              <a:gd name="connsiteY29839" fmla="*/ 2436428 h 7458372"/>
              <a:gd name="connsiteX29840" fmla="*/ 1558999 w 10505529"/>
              <a:gd name="connsiteY29840" fmla="*/ 2435496 h 7458372"/>
              <a:gd name="connsiteX29841" fmla="*/ 1562726 w 10505529"/>
              <a:gd name="connsiteY29841" fmla="*/ 2433101 h 7458372"/>
              <a:gd name="connsiteX29842" fmla="*/ 1565389 w 10505529"/>
              <a:gd name="connsiteY29842" fmla="*/ 2428974 h 7458372"/>
              <a:gd name="connsiteX29843" fmla="*/ 1566454 w 10505529"/>
              <a:gd name="connsiteY29843" fmla="*/ 2423515 h 7458372"/>
              <a:gd name="connsiteX29844" fmla="*/ 1565389 w 10505529"/>
              <a:gd name="connsiteY29844" fmla="*/ 2418324 h 7458372"/>
              <a:gd name="connsiteX29845" fmla="*/ 1562726 w 10505529"/>
              <a:gd name="connsiteY29845" fmla="*/ 2414065 h 7458372"/>
              <a:gd name="connsiteX29846" fmla="*/ 1558733 w 10505529"/>
              <a:gd name="connsiteY29846" fmla="*/ 2411402 h 7458372"/>
              <a:gd name="connsiteX29847" fmla="*/ 1553674 w 10505529"/>
              <a:gd name="connsiteY29847" fmla="*/ 2410471 h 7458372"/>
              <a:gd name="connsiteX29848" fmla="*/ 1336029 w 10505529"/>
              <a:gd name="connsiteY29848" fmla="*/ 2410471 h 7458372"/>
              <a:gd name="connsiteX29849" fmla="*/ 1326047 w 10505529"/>
              <a:gd name="connsiteY29849" fmla="*/ 2414065 h 7458372"/>
              <a:gd name="connsiteX29850" fmla="*/ 1322452 w 10505529"/>
              <a:gd name="connsiteY29850" fmla="*/ 2423515 h 7458372"/>
              <a:gd name="connsiteX29851" fmla="*/ 1326047 w 10505529"/>
              <a:gd name="connsiteY29851" fmla="*/ 2432967 h 7458372"/>
              <a:gd name="connsiteX29852" fmla="*/ 1336029 w 10505529"/>
              <a:gd name="connsiteY29852" fmla="*/ 2436428 h 7458372"/>
              <a:gd name="connsiteX29853" fmla="*/ 1341356 w 10505529"/>
              <a:gd name="connsiteY29853" fmla="*/ 2435496 h 7458372"/>
              <a:gd name="connsiteX29854" fmla="*/ 1345083 w 10505529"/>
              <a:gd name="connsiteY29854" fmla="*/ 2433101 h 7458372"/>
              <a:gd name="connsiteX29855" fmla="*/ 1347746 w 10505529"/>
              <a:gd name="connsiteY29855" fmla="*/ 2428974 h 7458372"/>
              <a:gd name="connsiteX29856" fmla="*/ 1348811 w 10505529"/>
              <a:gd name="connsiteY29856" fmla="*/ 2423515 h 7458372"/>
              <a:gd name="connsiteX29857" fmla="*/ 1347746 w 10505529"/>
              <a:gd name="connsiteY29857" fmla="*/ 2418324 h 7458372"/>
              <a:gd name="connsiteX29858" fmla="*/ 1345083 w 10505529"/>
              <a:gd name="connsiteY29858" fmla="*/ 2414065 h 7458372"/>
              <a:gd name="connsiteX29859" fmla="*/ 1341089 w 10505529"/>
              <a:gd name="connsiteY29859" fmla="*/ 2411402 h 7458372"/>
              <a:gd name="connsiteX29860" fmla="*/ 1336029 w 10505529"/>
              <a:gd name="connsiteY29860" fmla="*/ 2410471 h 7458372"/>
              <a:gd name="connsiteX29861" fmla="*/ 1118518 w 10505529"/>
              <a:gd name="connsiteY29861" fmla="*/ 2410471 h 7458372"/>
              <a:gd name="connsiteX29862" fmla="*/ 1108534 w 10505529"/>
              <a:gd name="connsiteY29862" fmla="*/ 2414065 h 7458372"/>
              <a:gd name="connsiteX29863" fmla="*/ 1104807 w 10505529"/>
              <a:gd name="connsiteY29863" fmla="*/ 2423515 h 7458372"/>
              <a:gd name="connsiteX29864" fmla="*/ 1108401 w 10505529"/>
              <a:gd name="connsiteY29864" fmla="*/ 2432967 h 7458372"/>
              <a:gd name="connsiteX29865" fmla="*/ 1118385 w 10505529"/>
              <a:gd name="connsiteY29865" fmla="*/ 2436428 h 7458372"/>
              <a:gd name="connsiteX29866" fmla="*/ 1123842 w 10505529"/>
              <a:gd name="connsiteY29866" fmla="*/ 2435496 h 7458372"/>
              <a:gd name="connsiteX29867" fmla="*/ 1127570 w 10505529"/>
              <a:gd name="connsiteY29867" fmla="*/ 2433101 h 7458372"/>
              <a:gd name="connsiteX29868" fmla="*/ 1130234 w 10505529"/>
              <a:gd name="connsiteY29868" fmla="*/ 2428974 h 7458372"/>
              <a:gd name="connsiteX29869" fmla="*/ 1131299 w 10505529"/>
              <a:gd name="connsiteY29869" fmla="*/ 2423515 h 7458372"/>
              <a:gd name="connsiteX29870" fmla="*/ 1130234 w 10505529"/>
              <a:gd name="connsiteY29870" fmla="*/ 2418324 h 7458372"/>
              <a:gd name="connsiteX29871" fmla="*/ 1127570 w 10505529"/>
              <a:gd name="connsiteY29871" fmla="*/ 2414065 h 7458372"/>
              <a:gd name="connsiteX29872" fmla="*/ 1123577 w 10505529"/>
              <a:gd name="connsiteY29872" fmla="*/ 2411402 h 7458372"/>
              <a:gd name="connsiteX29873" fmla="*/ 1118518 w 10505529"/>
              <a:gd name="connsiteY29873" fmla="*/ 2410471 h 7458372"/>
              <a:gd name="connsiteX29874" fmla="*/ 901007 w 10505529"/>
              <a:gd name="connsiteY29874" fmla="*/ 2410471 h 7458372"/>
              <a:gd name="connsiteX29875" fmla="*/ 891022 w 10505529"/>
              <a:gd name="connsiteY29875" fmla="*/ 2414065 h 7458372"/>
              <a:gd name="connsiteX29876" fmla="*/ 887295 w 10505529"/>
              <a:gd name="connsiteY29876" fmla="*/ 2423515 h 7458372"/>
              <a:gd name="connsiteX29877" fmla="*/ 890889 w 10505529"/>
              <a:gd name="connsiteY29877" fmla="*/ 2432967 h 7458372"/>
              <a:gd name="connsiteX29878" fmla="*/ 900873 w 10505529"/>
              <a:gd name="connsiteY29878" fmla="*/ 2436428 h 7458372"/>
              <a:gd name="connsiteX29879" fmla="*/ 906331 w 10505529"/>
              <a:gd name="connsiteY29879" fmla="*/ 2435496 h 7458372"/>
              <a:gd name="connsiteX29880" fmla="*/ 910059 w 10505529"/>
              <a:gd name="connsiteY29880" fmla="*/ 2433101 h 7458372"/>
              <a:gd name="connsiteX29881" fmla="*/ 912721 w 10505529"/>
              <a:gd name="connsiteY29881" fmla="*/ 2428974 h 7458372"/>
              <a:gd name="connsiteX29882" fmla="*/ 913786 w 10505529"/>
              <a:gd name="connsiteY29882" fmla="*/ 2423515 h 7458372"/>
              <a:gd name="connsiteX29883" fmla="*/ 912721 w 10505529"/>
              <a:gd name="connsiteY29883" fmla="*/ 2418324 h 7458372"/>
              <a:gd name="connsiteX29884" fmla="*/ 910059 w 10505529"/>
              <a:gd name="connsiteY29884" fmla="*/ 2414065 h 7458372"/>
              <a:gd name="connsiteX29885" fmla="*/ 906065 w 10505529"/>
              <a:gd name="connsiteY29885" fmla="*/ 2411402 h 7458372"/>
              <a:gd name="connsiteX29886" fmla="*/ 901007 w 10505529"/>
              <a:gd name="connsiteY29886" fmla="*/ 2410471 h 7458372"/>
              <a:gd name="connsiteX29887" fmla="*/ 683230 w 10505529"/>
              <a:gd name="connsiteY29887" fmla="*/ 2410471 h 7458372"/>
              <a:gd name="connsiteX29888" fmla="*/ 673247 w 10505529"/>
              <a:gd name="connsiteY29888" fmla="*/ 2414065 h 7458372"/>
              <a:gd name="connsiteX29889" fmla="*/ 669653 w 10505529"/>
              <a:gd name="connsiteY29889" fmla="*/ 2423515 h 7458372"/>
              <a:gd name="connsiteX29890" fmla="*/ 673247 w 10505529"/>
              <a:gd name="connsiteY29890" fmla="*/ 2432967 h 7458372"/>
              <a:gd name="connsiteX29891" fmla="*/ 683230 w 10505529"/>
              <a:gd name="connsiteY29891" fmla="*/ 2436428 h 7458372"/>
              <a:gd name="connsiteX29892" fmla="*/ 688555 w 10505529"/>
              <a:gd name="connsiteY29892" fmla="*/ 2435496 h 7458372"/>
              <a:gd name="connsiteX29893" fmla="*/ 692282 w 10505529"/>
              <a:gd name="connsiteY29893" fmla="*/ 2433101 h 7458372"/>
              <a:gd name="connsiteX29894" fmla="*/ 694945 w 10505529"/>
              <a:gd name="connsiteY29894" fmla="*/ 2428974 h 7458372"/>
              <a:gd name="connsiteX29895" fmla="*/ 696010 w 10505529"/>
              <a:gd name="connsiteY29895" fmla="*/ 2423515 h 7458372"/>
              <a:gd name="connsiteX29896" fmla="*/ 694945 w 10505529"/>
              <a:gd name="connsiteY29896" fmla="*/ 2418324 h 7458372"/>
              <a:gd name="connsiteX29897" fmla="*/ 692282 w 10505529"/>
              <a:gd name="connsiteY29897" fmla="*/ 2414065 h 7458372"/>
              <a:gd name="connsiteX29898" fmla="*/ 688289 w 10505529"/>
              <a:gd name="connsiteY29898" fmla="*/ 2411402 h 7458372"/>
              <a:gd name="connsiteX29899" fmla="*/ 683230 w 10505529"/>
              <a:gd name="connsiteY29899" fmla="*/ 2410471 h 7458372"/>
              <a:gd name="connsiteX29900" fmla="*/ 465586 w 10505529"/>
              <a:gd name="connsiteY29900" fmla="*/ 2410471 h 7458372"/>
              <a:gd name="connsiteX29901" fmla="*/ 455603 w 10505529"/>
              <a:gd name="connsiteY29901" fmla="*/ 2414065 h 7458372"/>
              <a:gd name="connsiteX29902" fmla="*/ 452009 w 10505529"/>
              <a:gd name="connsiteY29902" fmla="*/ 2423515 h 7458372"/>
              <a:gd name="connsiteX29903" fmla="*/ 455603 w 10505529"/>
              <a:gd name="connsiteY29903" fmla="*/ 2432967 h 7458372"/>
              <a:gd name="connsiteX29904" fmla="*/ 465586 w 10505529"/>
              <a:gd name="connsiteY29904" fmla="*/ 2436428 h 7458372"/>
              <a:gd name="connsiteX29905" fmla="*/ 470912 w 10505529"/>
              <a:gd name="connsiteY29905" fmla="*/ 2435496 h 7458372"/>
              <a:gd name="connsiteX29906" fmla="*/ 474639 w 10505529"/>
              <a:gd name="connsiteY29906" fmla="*/ 2433101 h 7458372"/>
              <a:gd name="connsiteX29907" fmla="*/ 477302 w 10505529"/>
              <a:gd name="connsiteY29907" fmla="*/ 2428974 h 7458372"/>
              <a:gd name="connsiteX29908" fmla="*/ 478367 w 10505529"/>
              <a:gd name="connsiteY29908" fmla="*/ 2423515 h 7458372"/>
              <a:gd name="connsiteX29909" fmla="*/ 477302 w 10505529"/>
              <a:gd name="connsiteY29909" fmla="*/ 2418324 h 7458372"/>
              <a:gd name="connsiteX29910" fmla="*/ 474639 w 10505529"/>
              <a:gd name="connsiteY29910" fmla="*/ 2414065 h 7458372"/>
              <a:gd name="connsiteX29911" fmla="*/ 470646 w 10505529"/>
              <a:gd name="connsiteY29911" fmla="*/ 2411402 h 7458372"/>
              <a:gd name="connsiteX29912" fmla="*/ 465586 w 10505529"/>
              <a:gd name="connsiteY29912" fmla="*/ 2410471 h 7458372"/>
              <a:gd name="connsiteX29913" fmla="*/ 247943 w 10505529"/>
              <a:gd name="connsiteY29913" fmla="*/ 2410471 h 7458372"/>
              <a:gd name="connsiteX29914" fmla="*/ 237960 w 10505529"/>
              <a:gd name="connsiteY29914" fmla="*/ 2414065 h 7458372"/>
              <a:gd name="connsiteX29915" fmla="*/ 234367 w 10505529"/>
              <a:gd name="connsiteY29915" fmla="*/ 2423515 h 7458372"/>
              <a:gd name="connsiteX29916" fmla="*/ 237960 w 10505529"/>
              <a:gd name="connsiteY29916" fmla="*/ 2432967 h 7458372"/>
              <a:gd name="connsiteX29917" fmla="*/ 247943 w 10505529"/>
              <a:gd name="connsiteY29917" fmla="*/ 2436428 h 7458372"/>
              <a:gd name="connsiteX29918" fmla="*/ 253268 w 10505529"/>
              <a:gd name="connsiteY29918" fmla="*/ 2435496 h 7458372"/>
              <a:gd name="connsiteX29919" fmla="*/ 256995 w 10505529"/>
              <a:gd name="connsiteY29919" fmla="*/ 2433101 h 7458372"/>
              <a:gd name="connsiteX29920" fmla="*/ 259658 w 10505529"/>
              <a:gd name="connsiteY29920" fmla="*/ 2428974 h 7458372"/>
              <a:gd name="connsiteX29921" fmla="*/ 260723 w 10505529"/>
              <a:gd name="connsiteY29921" fmla="*/ 2423515 h 7458372"/>
              <a:gd name="connsiteX29922" fmla="*/ 259658 w 10505529"/>
              <a:gd name="connsiteY29922" fmla="*/ 2418324 h 7458372"/>
              <a:gd name="connsiteX29923" fmla="*/ 256995 w 10505529"/>
              <a:gd name="connsiteY29923" fmla="*/ 2414065 h 7458372"/>
              <a:gd name="connsiteX29924" fmla="*/ 253002 w 10505529"/>
              <a:gd name="connsiteY29924" fmla="*/ 2411402 h 7458372"/>
              <a:gd name="connsiteX29925" fmla="*/ 247943 w 10505529"/>
              <a:gd name="connsiteY29925" fmla="*/ 2410471 h 7458372"/>
              <a:gd name="connsiteX29926" fmla="*/ 30300 w 10505529"/>
              <a:gd name="connsiteY29926" fmla="*/ 2410471 h 7458372"/>
              <a:gd name="connsiteX29927" fmla="*/ 20317 w 10505529"/>
              <a:gd name="connsiteY29927" fmla="*/ 2414065 h 7458372"/>
              <a:gd name="connsiteX29928" fmla="*/ 16723 w 10505529"/>
              <a:gd name="connsiteY29928" fmla="*/ 2423515 h 7458372"/>
              <a:gd name="connsiteX29929" fmla="*/ 20317 w 10505529"/>
              <a:gd name="connsiteY29929" fmla="*/ 2432967 h 7458372"/>
              <a:gd name="connsiteX29930" fmla="*/ 30300 w 10505529"/>
              <a:gd name="connsiteY29930" fmla="*/ 2436428 h 7458372"/>
              <a:gd name="connsiteX29931" fmla="*/ 35625 w 10505529"/>
              <a:gd name="connsiteY29931" fmla="*/ 2435496 h 7458372"/>
              <a:gd name="connsiteX29932" fmla="*/ 39352 w 10505529"/>
              <a:gd name="connsiteY29932" fmla="*/ 2433101 h 7458372"/>
              <a:gd name="connsiteX29933" fmla="*/ 42015 w 10505529"/>
              <a:gd name="connsiteY29933" fmla="*/ 2428974 h 7458372"/>
              <a:gd name="connsiteX29934" fmla="*/ 42946 w 10505529"/>
              <a:gd name="connsiteY29934" fmla="*/ 2423515 h 7458372"/>
              <a:gd name="connsiteX29935" fmla="*/ 42015 w 10505529"/>
              <a:gd name="connsiteY29935" fmla="*/ 2418324 h 7458372"/>
              <a:gd name="connsiteX29936" fmla="*/ 39352 w 10505529"/>
              <a:gd name="connsiteY29936" fmla="*/ 2414065 h 7458372"/>
              <a:gd name="connsiteX29937" fmla="*/ 35359 w 10505529"/>
              <a:gd name="connsiteY29937" fmla="*/ 2411402 h 7458372"/>
              <a:gd name="connsiteX29938" fmla="*/ 30300 w 10505529"/>
              <a:gd name="connsiteY29938" fmla="*/ 2410471 h 7458372"/>
              <a:gd name="connsiteX29939" fmla="*/ 10475977 w 10505529"/>
              <a:gd name="connsiteY29939" fmla="*/ 2393830 h 7458372"/>
              <a:gd name="connsiteX29940" fmla="*/ 10487824 w 10505529"/>
              <a:gd name="connsiteY29940" fmla="*/ 2396493 h 7458372"/>
              <a:gd name="connsiteX29941" fmla="*/ 10497143 w 10505529"/>
              <a:gd name="connsiteY29941" fmla="*/ 2402882 h 7458372"/>
              <a:gd name="connsiteX29942" fmla="*/ 10503266 w 10505529"/>
              <a:gd name="connsiteY29942" fmla="*/ 2412201 h 7458372"/>
              <a:gd name="connsiteX29943" fmla="*/ 10505529 w 10505529"/>
              <a:gd name="connsiteY29943" fmla="*/ 2423650 h 7458372"/>
              <a:gd name="connsiteX29944" fmla="*/ 10503266 w 10505529"/>
              <a:gd name="connsiteY29944" fmla="*/ 2435363 h 7458372"/>
              <a:gd name="connsiteX29945" fmla="*/ 10497143 w 10505529"/>
              <a:gd name="connsiteY29945" fmla="*/ 2444681 h 7458372"/>
              <a:gd name="connsiteX29946" fmla="*/ 10487824 w 10505529"/>
              <a:gd name="connsiteY29946" fmla="*/ 2450938 h 7458372"/>
              <a:gd name="connsiteX29947" fmla="*/ 10475977 w 10505529"/>
              <a:gd name="connsiteY29947" fmla="*/ 2453201 h 7458372"/>
              <a:gd name="connsiteX29948" fmla="*/ 10454145 w 10505529"/>
              <a:gd name="connsiteY29948" fmla="*/ 2444681 h 7458372"/>
              <a:gd name="connsiteX29949" fmla="*/ 10445759 w 10505529"/>
              <a:gd name="connsiteY29949" fmla="*/ 2423515 h 7458372"/>
              <a:gd name="connsiteX29950" fmla="*/ 10454145 w 10505529"/>
              <a:gd name="connsiteY29950" fmla="*/ 2402482 h 7458372"/>
              <a:gd name="connsiteX29951" fmla="*/ 10475977 w 10505529"/>
              <a:gd name="connsiteY29951" fmla="*/ 2393830 h 7458372"/>
              <a:gd name="connsiteX29952" fmla="*/ 10258466 w 10505529"/>
              <a:gd name="connsiteY29952" fmla="*/ 2393830 h 7458372"/>
              <a:gd name="connsiteX29953" fmla="*/ 10270313 w 10505529"/>
              <a:gd name="connsiteY29953" fmla="*/ 2396493 h 7458372"/>
              <a:gd name="connsiteX29954" fmla="*/ 10279631 w 10505529"/>
              <a:gd name="connsiteY29954" fmla="*/ 2402882 h 7458372"/>
              <a:gd name="connsiteX29955" fmla="*/ 10285754 w 10505529"/>
              <a:gd name="connsiteY29955" fmla="*/ 2412201 h 7458372"/>
              <a:gd name="connsiteX29956" fmla="*/ 10288017 w 10505529"/>
              <a:gd name="connsiteY29956" fmla="*/ 2423650 h 7458372"/>
              <a:gd name="connsiteX29957" fmla="*/ 10285754 w 10505529"/>
              <a:gd name="connsiteY29957" fmla="*/ 2435363 h 7458372"/>
              <a:gd name="connsiteX29958" fmla="*/ 10279631 w 10505529"/>
              <a:gd name="connsiteY29958" fmla="*/ 2444681 h 7458372"/>
              <a:gd name="connsiteX29959" fmla="*/ 10270313 w 10505529"/>
              <a:gd name="connsiteY29959" fmla="*/ 2450938 h 7458372"/>
              <a:gd name="connsiteX29960" fmla="*/ 10258466 w 10505529"/>
              <a:gd name="connsiteY29960" fmla="*/ 2453201 h 7458372"/>
              <a:gd name="connsiteX29961" fmla="*/ 10236633 w 10505529"/>
              <a:gd name="connsiteY29961" fmla="*/ 2444681 h 7458372"/>
              <a:gd name="connsiteX29962" fmla="*/ 10228247 w 10505529"/>
              <a:gd name="connsiteY29962" fmla="*/ 2423515 h 7458372"/>
              <a:gd name="connsiteX29963" fmla="*/ 10236633 w 10505529"/>
              <a:gd name="connsiteY29963" fmla="*/ 2402482 h 7458372"/>
              <a:gd name="connsiteX29964" fmla="*/ 10258466 w 10505529"/>
              <a:gd name="connsiteY29964" fmla="*/ 2393830 h 7458372"/>
              <a:gd name="connsiteX29965" fmla="*/ 10040820 w 10505529"/>
              <a:gd name="connsiteY29965" fmla="*/ 2393830 h 7458372"/>
              <a:gd name="connsiteX29966" fmla="*/ 10052534 w 10505529"/>
              <a:gd name="connsiteY29966" fmla="*/ 2396493 h 7458372"/>
              <a:gd name="connsiteX29967" fmla="*/ 10061852 w 10505529"/>
              <a:gd name="connsiteY29967" fmla="*/ 2402882 h 7458372"/>
              <a:gd name="connsiteX29968" fmla="*/ 10067976 w 10505529"/>
              <a:gd name="connsiteY29968" fmla="*/ 2412201 h 7458372"/>
              <a:gd name="connsiteX29969" fmla="*/ 10070239 w 10505529"/>
              <a:gd name="connsiteY29969" fmla="*/ 2423650 h 7458372"/>
              <a:gd name="connsiteX29970" fmla="*/ 10067976 w 10505529"/>
              <a:gd name="connsiteY29970" fmla="*/ 2435363 h 7458372"/>
              <a:gd name="connsiteX29971" fmla="*/ 10061852 w 10505529"/>
              <a:gd name="connsiteY29971" fmla="*/ 2444681 h 7458372"/>
              <a:gd name="connsiteX29972" fmla="*/ 10052534 w 10505529"/>
              <a:gd name="connsiteY29972" fmla="*/ 2450938 h 7458372"/>
              <a:gd name="connsiteX29973" fmla="*/ 10040820 w 10505529"/>
              <a:gd name="connsiteY29973" fmla="*/ 2453201 h 7458372"/>
              <a:gd name="connsiteX29974" fmla="*/ 10018988 w 10505529"/>
              <a:gd name="connsiteY29974" fmla="*/ 2444681 h 7458372"/>
              <a:gd name="connsiteX29975" fmla="*/ 10010602 w 10505529"/>
              <a:gd name="connsiteY29975" fmla="*/ 2423515 h 7458372"/>
              <a:gd name="connsiteX29976" fmla="*/ 10018988 w 10505529"/>
              <a:gd name="connsiteY29976" fmla="*/ 2402482 h 7458372"/>
              <a:gd name="connsiteX29977" fmla="*/ 10040820 w 10505529"/>
              <a:gd name="connsiteY29977" fmla="*/ 2393830 h 7458372"/>
              <a:gd name="connsiteX29978" fmla="*/ 9823176 w 10505529"/>
              <a:gd name="connsiteY29978" fmla="*/ 2393830 h 7458372"/>
              <a:gd name="connsiteX29979" fmla="*/ 9834890 w 10505529"/>
              <a:gd name="connsiteY29979" fmla="*/ 2396493 h 7458372"/>
              <a:gd name="connsiteX29980" fmla="*/ 9844208 w 10505529"/>
              <a:gd name="connsiteY29980" fmla="*/ 2402882 h 7458372"/>
              <a:gd name="connsiteX29981" fmla="*/ 9850331 w 10505529"/>
              <a:gd name="connsiteY29981" fmla="*/ 2412201 h 7458372"/>
              <a:gd name="connsiteX29982" fmla="*/ 9852595 w 10505529"/>
              <a:gd name="connsiteY29982" fmla="*/ 2423650 h 7458372"/>
              <a:gd name="connsiteX29983" fmla="*/ 9850331 w 10505529"/>
              <a:gd name="connsiteY29983" fmla="*/ 2435363 h 7458372"/>
              <a:gd name="connsiteX29984" fmla="*/ 9844208 w 10505529"/>
              <a:gd name="connsiteY29984" fmla="*/ 2444681 h 7458372"/>
              <a:gd name="connsiteX29985" fmla="*/ 9834890 w 10505529"/>
              <a:gd name="connsiteY29985" fmla="*/ 2450938 h 7458372"/>
              <a:gd name="connsiteX29986" fmla="*/ 9823176 w 10505529"/>
              <a:gd name="connsiteY29986" fmla="*/ 2453201 h 7458372"/>
              <a:gd name="connsiteX29987" fmla="*/ 9801343 w 10505529"/>
              <a:gd name="connsiteY29987" fmla="*/ 2444681 h 7458372"/>
              <a:gd name="connsiteX29988" fmla="*/ 9792957 w 10505529"/>
              <a:gd name="connsiteY29988" fmla="*/ 2423515 h 7458372"/>
              <a:gd name="connsiteX29989" fmla="*/ 9801343 w 10505529"/>
              <a:gd name="connsiteY29989" fmla="*/ 2402482 h 7458372"/>
              <a:gd name="connsiteX29990" fmla="*/ 9823176 w 10505529"/>
              <a:gd name="connsiteY29990" fmla="*/ 2393830 h 7458372"/>
              <a:gd name="connsiteX29991" fmla="*/ 9605531 w 10505529"/>
              <a:gd name="connsiteY29991" fmla="*/ 2393830 h 7458372"/>
              <a:gd name="connsiteX29992" fmla="*/ 9617245 w 10505529"/>
              <a:gd name="connsiteY29992" fmla="*/ 2396493 h 7458372"/>
              <a:gd name="connsiteX29993" fmla="*/ 9626562 w 10505529"/>
              <a:gd name="connsiteY29993" fmla="*/ 2402882 h 7458372"/>
              <a:gd name="connsiteX29994" fmla="*/ 9632686 w 10505529"/>
              <a:gd name="connsiteY29994" fmla="*/ 2412201 h 7458372"/>
              <a:gd name="connsiteX29995" fmla="*/ 9634949 w 10505529"/>
              <a:gd name="connsiteY29995" fmla="*/ 2423650 h 7458372"/>
              <a:gd name="connsiteX29996" fmla="*/ 9632686 w 10505529"/>
              <a:gd name="connsiteY29996" fmla="*/ 2435363 h 7458372"/>
              <a:gd name="connsiteX29997" fmla="*/ 9626562 w 10505529"/>
              <a:gd name="connsiteY29997" fmla="*/ 2444681 h 7458372"/>
              <a:gd name="connsiteX29998" fmla="*/ 9617245 w 10505529"/>
              <a:gd name="connsiteY29998" fmla="*/ 2450938 h 7458372"/>
              <a:gd name="connsiteX29999" fmla="*/ 9605531 w 10505529"/>
              <a:gd name="connsiteY29999" fmla="*/ 2453201 h 7458372"/>
              <a:gd name="connsiteX30000" fmla="*/ 9583698 w 10505529"/>
              <a:gd name="connsiteY30000" fmla="*/ 2444681 h 7458372"/>
              <a:gd name="connsiteX30001" fmla="*/ 9575312 w 10505529"/>
              <a:gd name="connsiteY30001" fmla="*/ 2423515 h 7458372"/>
              <a:gd name="connsiteX30002" fmla="*/ 9583698 w 10505529"/>
              <a:gd name="connsiteY30002" fmla="*/ 2402482 h 7458372"/>
              <a:gd name="connsiteX30003" fmla="*/ 9605531 w 10505529"/>
              <a:gd name="connsiteY30003" fmla="*/ 2393830 h 7458372"/>
              <a:gd name="connsiteX30004" fmla="*/ 9387885 w 10505529"/>
              <a:gd name="connsiteY30004" fmla="*/ 2393830 h 7458372"/>
              <a:gd name="connsiteX30005" fmla="*/ 9399599 w 10505529"/>
              <a:gd name="connsiteY30005" fmla="*/ 2396493 h 7458372"/>
              <a:gd name="connsiteX30006" fmla="*/ 9408917 w 10505529"/>
              <a:gd name="connsiteY30006" fmla="*/ 2402882 h 7458372"/>
              <a:gd name="connsiteX30007" fmla="*/ 9415041 w 10505529"/>
              <a:gd name="connsiteY30007" fmla="*/ 2412201 h 7458372"/>
              <a:gd name="connsiteX30008" fmla="*/ 9417304 w 10505529"/>
              <a:gd name="connsiteY30008" fmla="*/ 2423650 h 7458372"/>
              <a:gd name="connsiteX30009" fmla="*/ 9415041 w 10505529"/>
              <a:gd name="connsiteY30009" fmla="*/ 2435363 h 7458372"/>
              <a:gd name="connsiteX30010" fmla="*/ 9408917 w 10505529"/>
              <a:gd name="connsiteY30010" fmla="*/ 2444681 h 7458372"/>
              <a:gd name="connsiteX30011" fmla="*/ 9399599 w 10505529"/>
              <a:gd name="connsiteY30011" fmla="*/ 2450938 h 7458372"/>
              <a:gd name="connsiteX30012" fmla="*/ 9387885 w 10505529"/>
              <a:gd name="connsiteY30012" fmla="*/ 2453201 h 7458372"/>
              <a:gd name="connsiteX30013" fmla="*/ 9366053 w 10505529"/>
              <a:gd name="connsiteY30013" fmla="*/ 2444681 h 7458372"/>
              <a:gd name="connsiteX30014" fmla="*/ 9357667 w 10505529"/>
              <a:gd name="connsiteY30014" fmla="*/ 2423515 h 7458372"/>
              <a:gd name="connsiteX30015" fmla="*/ 9366053 w 10505529"/>
              <a:gd name="connsiteY30015" fmla="*/ 2402482 h 7458372"/>
              <a:gd name="connsiteX30016" fmla="*/ 9387885 w 10505529"/>
              <a:gd name="connsiteY30016" fmla="*/ 2393830 h 7458372"/>
              <a:gd name="connsiteX30017" fmla="*/ 9170374 w 10505529"/>
              <a:gd name="connsiteY30017" fmla="*/ 2393830 h 7458372"/>
              <a:gd name="connsiteX30018" fmla="*/ 9182088 w 10505529"/>
              <a:gd name="connsiteY30018" fmla="*/ 2396493 h 7458372"/>
              <a:gd name="connsiteX30019" fmla="*/ 9191405 w 10505529"/>
              <a:gd name="connsiteY30019" fmla="*/ 2402882 h 7458372"/>
              <a:gd name="connsiteX30020" fmla="*/ 9197529 w 10505529"/>
              <a:gd name="connsiteY30020" fmla="*/ 2412201 h 7458372"/>
              <a:gd name="connsiteX30021" fmla="*/ 9199792 w 10505529"/>
              <a:gd name="connsiteY30021" fmla="*/ 2423650 h 7458372"/>
              <a:gd name="connsiteX30022" fmla="*/ 9197529 w 10505529"/>
              <a:gd name="connsiteY30022" fmla="*/ 2435363 h 7458372"/>
              <a:gd name="connsiteX30023" fmla="*/ 9191405 w 10505529"/>
              <a:gd name="connsiteY30023" fmla="*/ 2444681 h 7458372"/>
              <a:gd name="connsiteX30024" fmla="*/ 9182088 w 10505529"/>
              <a:gd name="connsiteY30024" fmla="*/ 2450938 h 7458372"/>
              <a:gd name="connsiteX30025" fmla="*/ 9170374 w 10505529"/>
              <a:gd name="connsiteY30025" fmla="*/ 2453201 h 7458372"/>
              <a:gd name="connsiteX30026" fmla="*/ 9148541 w 10505529"/>
              <a:gd name="connsiteY30026" fmla="*/ 2444681 h 7458372"/>
              <a:gd name="connsiteX30027" fmla="*/ 9140155 w 10505529"/>
              <a:gd name="connsiteY30027" fmla="*/ 2423515 h 7458372"/>
              <a:gd name="connsiteX30028" fmla="*/ 9148541 w 10505529"/>
              <a:gd name="connsiteY30028" fmla="*/ 2402482 h 7458372"/>
              <a:gd name="connsiteX30029" fmla="*/ 9170374 w 10505529"/>
              <a:gd name="connsiteY30029" fmla="*/ 2393830 h 7458372"/>
              <a:gd name="connsiteX30030" fmla="*/ 8952728 w 10505529"/>
              <a:gd name="connsiteY30030" fmla="*/ 2393830 h 7458372"/>
              <a:gd name="connsiteX30031" fmla="*/ 8964442 w 10505529"/>
              <a:gd name="connsiteY30031" fmla="*/ 2396493 h 7458372"/>
              <a:gd name="connsiteX30032" fmla="*/ 8973760 w 10505529"/>
              <a:gd name="connsiteY30032" fmla="*/ 2402882 h 7458372"/>
              <a:gd name="connsiteX30033" fmla="*/ 8979884 w 10505529"/>
              <a:gd name="connsiteY30033" fmla="*/ 2412201 h 7458372"/>
              <a:gd name="connsiteX30034" fmla="*/ 8982147 w 10505529"/>
              <a:gd name="connsiteY30034" fmla="*/ 2423650 h 7458372"/>
              <a:gd name="connsiteX30035" fmla="*/ 8979884 w 10505529"/>
              <a:gd name="connsiteY30035" fmla="*/ 2435363 h 7458372"/>
              <a:gd name="connsiteX30036" fmla="*/ 8973760 w 10505529"/>
              <a:gd name="connsiteY30036" fmla="*/ 2444681 h 7458372"/>
              <a:gd name="connsiteX30037" fmla="*/ 8964442 w 10505529"/>
              <a:gd name="connsiteY30037" fmla="*/ 2450938 h 7458372"/>
              <a:gd name="connsiteX30038" fmla="*/ 8952728 w 10505529"/>
              <a:gd name="connsiteY30038" fmla="*/ 2453201 h 7458372"/>
              <a:gd name="connsiteX30039" fmla="*/ 8930896 w 10505529"/>
              <a:gd name="connsiteY30039" fmla="*/ 2444681 h 7458372"/>
              <a:gd name="connsiteX30040" fmla="*/ 8922510 w 10505529"/>
              <a:gd name="connsiteY30040" fmla="*/ 2423515 h 7458372"/>
              <a:gd name="connsiteX30041" fmla="*/ 8930896 w 10505529"/>
              <a:gd name="connsiteY30041" fmla="*/ 2402482 h 7458372"/>
              <a:gd name="connsiteX30042" fmla="*/ 8952728 w 10505529"/>
              <a:gd name="connsiteY30042" fmla="*/ 2393830 h 7458372"/>
              <a:gd name="connsiteX30043" fmla="*/ 8735083 w 10505529"/>
              <a:gd name="connsiteY30043" fmla="*/ 2393830 h 7458372"/>
              <a:gd name="connsiteX30044" fmla="*/ 8746797 w 10505529"/>
              <a:gd name="connsiteY30044" fmla="*/ 2396493 h 7458372"/>
              <a:gd name="connsiteX30045" fmla="*/ 8756115 w 10505529"/>
              <a:gd name="connsiteY30045" fmla="*/ 2402882 h 7458372"/>
              <a:gd name="connsiteX30046" fmla="*/ 8762238 w 10505529"/>
              <a:gd name="connsiteY30046" fmla="*/ 2412201 h 7458372"/>
              <a:gd name="connsiteX30047" fmla="*/ 8764502 w 10505529"/>
              <a:gd name="connsiteY30047" fmla="*/ 2423650 h 7458372"/>
              <a:gd name="connsiteX30048" fmla="*/ 8762238 w 10505529"/>
              <a:gd name="connsiteY30048" fmla="*/ 2435363 h 7458372"/>
              <a:gd name="connsiteX30049" fmla="*/ 8756115 w 10505529"/>
              <a:gd name="connsiteY30049" fmla="*/ 2444681 h 7458372"/>
              <a:gd name="connsiteX30050" fmla="*/ 8746797 w 10505529"/>
              <a:gd name="connsiteY30050" fmla="*/ 2450938 h 7458372"/>
              <a:gd name="connsiteX30051" fmla="*/ 8735083 w 10505529"/>
              <a:gd name="connsiteY30051" fmla="*/ 2453201 h 7458372"/>
              <a:gd name="connsiteX30052" fmla="*/ 8713250 w 10505529"/>
              <a:gd name="connsiteY30052" fmla="*/ 2444681 h 7458372"/>
              <a:gd name="connsiteX30053" fmla="*/ 8704864 w 10505529"/>
              <a:gd name="connsiteY30053" fmla="*/ 2423515 h 7458372"/>
              <a:gd name="connsiteX30054" fmla="*/ 8713250 w 10505529"/>
              <a:gd name="connsiteY30054" fmla="*/ 2402482 h 7458372"/>
              <a:gd name="connsiteX30055" fmla="*/ 8735083 w 10505529"/>
              <a:gd name="connsiteY30055" fmla="*/ 2393830 h 7458372"/>
              <a:gd name="connsiteX30056" fmla="*/ 8517438 w 10505529"/>
              <a:gd name="connsiteY30056" fmla="*/ 2393830 h 7458372"/>
              <a:gd name="connsiteX30057" fmla="*/ 8529152 w 10505529"/>
              <a:gd name="connsiteY30057" fmla="*/ 2396493 h 7458372"/>
              <a:gd name="connsiteX30058" fmla="*/ 8538470 w 10505529"/>
              <a:gd name="connsiteY30058" fmla="*/ 2402882 h 7458372"/>
              <a:gd name="connsiteX30059" fmla="*/ 8544594 w 10505529"/>
              <a:gd name="connsiteY30059" fmla="*/ 2412201 h 7458372"/>
              <a:gd name="connsiteX30060" fmla="*/ 8546857 w 10505529"/>
              <a:gd name="connsiteY30060" fmla="*/ 2423650 h 7458372"/>
              <a:gd name="connsiteX30061" fmla="*/ 8544594 w 10505529"/>
              <a:gd name="connsiteY30061" fmla="*/ 2435363 h 7458372"/>
              <a:gd name="connsiteX30062" fmla="*/ 8538470 w 10505529"/>
              <a:gd name="connsiteY30062" fmla="*/ 2444681 h 7458372"/>
              <a:gd name="connsiteX30063" fmla="*/ 8529152 w 10505529"/>
              <a:gd name="connsiteY30063" fmla="*/ 2450938 h 7458372"/>
              <a:gd name="connsiteX30064" fmla="*/ 8517438 w 10505529"/>
              <a:gd name="connsiteY30064" fmla="*/ 2453201 h 7458372"/>
              <a:gd name="connsiteX30065" fmla="*/ 8495606 w 10505529"/>
              <a:gd name="connsiteY30065" fmla="*/ 2444681 h 7458372"/>
              <a:gd name="connsiteX30066" fmla="*/ 8487220 w 10505529"/>
              <a:gd name="connsiteY30066" fmla="*/ 2423515 h 7458372"/>
              <a:gd name="connsiteX30067" fmla="*/ 8495606 w 10505529"/>
              <a:gd name="connsiteY30067" fmla="*/ 2402482 h 7458372"/>
              <a:gd name="connsiteX30068" fmla="*/ 8517438 w 10505529"/>
              <a:gd name="connsiteY30068" fmla="*/ 2393830 h 7458372"/>
              <a:gd name="connsiteX30069" fmla="*/ 8299793 w 10505529"/>
              <a:gd name="connsiteY30069" fmla="*/ 2393830 h 7458372"/>
              <a:gd name="connsiteX30070" fmla="*/ 8311507 w 10505529"/>
              <a:gd name="connsiteY30070" fmla="*/ 2396493 h 7458372"/>
              <a:gd name="connsiteX30071" fmla="*/ 8320825 w 10505529"/>
              <a:gd name="connsiteY30071" fmla="*/ 2402882 h 7458372"/>
              <a:gd name="connsiteX30072" fmla="*/ 8326948 w 10505529"/>
              <a:gd name="connsiteY30072" fmla="*/ 2412201 h 7458372"/>
              <a:gd name="connsiteX30073" fmla="*/ 8329212 w 10505529"/>
              <a:gd name="connsiteY30073" fmla="*/ 2423650 h 7458372"/>
              <a:gd name="connsiteX30074" fmla="*/ 8326948 w 10505529"/>
              <a:gd name="connsiteY30074" fmla="*/ 2435363 h 7458372"/>
              <a:gd name="connsiteX30075" fmla="*/ 8320825 w 10505529"/>
              <a:gd name="connsiteY30075" fmla="*/ 2444681 h 7458372"/>
              <a:gd name="connsiteX30076" fmla="*/ 8311507 w 10505529"/>
              <a:gd name="connsiteY30076" fmla="*/ 2450938 h 7458372"/>
              <a:gd name="connsiteX30077" fmla="*/ 8299793 w 10505529"/>
              <a:gd name="connsiteY30077" fmla="*/ 2453201 h 7458372"/>
              <a:gd name="connsiteX30078" fmla="*/ 8277960 w 10505529"/>
              <a:gd name="connsiteY30078" fmla="*/ 2444681 h 7458372"/>
              <a:gd name="connsiteX30079" fmla="*/ 8269574 w 10505529"/>
              <a:gd name="connsiteY30079" fmla="*/ 2423515 h 7458372"/>
              <a:gd name="connsiteX30080" fmla="*/ 8277960 w 10505529"/>
              <a:gd name="connsiteY30080" fmla="*/ 2402482 h 7458372"/>
              <a:gd name="connsiteX30081" fmla="*/ 8299793 w 10505529"/>
              <a:gd name="connsiteY30081" fmla="*/ 2393830 h 7458372"/>
              <a:gd name="connsiteX30082" fmla="*/ 8082281 w 10505529"/>
              <a:gd name="connsiteY30082" fmla="*/ 2393830 h 7458372"/>
              <a:gd name="connsiteX30083" fmla="*/ 8094127 w 10505529"/>
              <a:gd name="connsiteY30083" fmla="*/ 2396493 h 7458372"/>
              <a:gd name="connsiteX30084" fmla="*/ 8103446 w 10505529"/>
              <a:gd name="connsiteY30084" fmla="*/ 2402882 h 7458372"/>
              <a:gd name="connsiteX30085" fmla="*/ 8109569 w 10505529"/>
              <a:gd name="connsiteY30085" fmla="*/ 2412201 h 7458372"/>
              <a:gd name="connsiteX30086" fmla="*/ 8111832 w 10505529"/>
              <a:gd name="connsiteY30086" fmla="*/ 2423650 h 7458372"/>
              <a:gd name="connsiteX30087" fmla="*/ 8109569 w 10505529"/>
              <a:gd name="connsiteY30087" fmla="*/ 2435363 h 7458372"/>
              <a:gd name="connsiteX30088" fmla="*/ 8103446 w 10505529"/>
              <a:gd name="connsiteY30088" fmla="*/ 2444681 h 7458372"/>
              <a:gd name="connsiteX30089" fmla="*/ 8094127 w 10505529"/>
              <a:gd name="connsiteY30089" fmla="*/ 2450938 h 7458372"/>
              <a:gd name="connsiteX30090" fmla="*/ 8082281 w 10505529"/>
              <a:gd name="connsiteY30090" fmla="*/ 2453201 h 7458372"/>
              <a:gd name="connsiteX30091" fmla="*/ 8060448 w 10505529"/>
              <a:gd name="connsiteY30091" fmla="*/ 2444681 h 7458372"/>
              <a:gd name="connsiteX30092" fmla="*/ 8052062 w 10505529"/>
              <a:gd name="connsiteY30092" fmla="*/ 2423515 h 7458372"/>
              <a:gd name="connsiteX30093" fmla="*/ 8060448 w 10505529"/>
              <a:gd name="connsiteY30093" fmla="*/ 2402482 h 7458372"/>
              <a:gd name="connsiteX30094" fmla="*/ 8082281 w 10505529"/>
              <a:gd name="connsiteY30094" fmla="*/ 2393830 h 7458372"/>
              <a:gd name="connsiteX30095" fmla="*/ 7864636 w 10505529"/>
              <a:gd name="connsiteY30095" fmla="*/ 2393830 h 7458372"/>
              <a:gd name="connsiteX30096" fmla="*/ 7876483 w 10505529"/>
              <a:gd name="connsiteY30096" fmla="*/ 2396493 h 7458372"/>
              <a:gd name="connsiteX30097" fmla="*/ 7885802 w 10505529"/>
              <a:gd name="connsiteY30097" fmla="*/ 2402882 h 7458372"/>
              <a:gd name="connsiteX30098" fmla="*/ 7891924 w 10505529"/>
              <a:gd name="connsiteY30098" fmla="*/ 2412201 h 7458372"/>
              <a:gd name="connsiteX30099" fmla="*/ 7894188 w 10505529"/>
              <a:gd name="connsiteY30099" fmla="*/ 2423650 h 7458372"/>
              <a:gd name="connsiteX30100" fmla="*/ 7891924 w 10505529"/>
              <a:gd name="connsiteY30100" fmla="*/ 2435363 h 7458372"/>
              <a:gd name="connsiteX30101" fmla="*/ 7885802 w 10505529"/>
              <a:gd name="connsiteY30101" fmla="*/ 2444681 h 7458372"/>
              <a:gd name="connsiteX30102" fmla="*/ 7876483 w 10505529"/>
              <a:gd name="connsiteY30102" fmla="*/ 2450938 h 7458372"/>
              <a:gd name="connsiteX30103" fmla="*/ 7864636 w 10505529"/>
              <a:gd name="connsiteY30103" fmla="*/ 2453201 h 7458372"/>
              <a:gd name="connsiteX30104" fmla="*/ 7842803 w 10505529"/>
              <a:gd name="connsiteY30104" fmla="*/ 2444681 h 7458372"/>
              <a:gd name="connsiteX30105" fmla="*/ 7834417 w 10505529"/>
              <a:gd name="connsiteY30105" fmla="*/ 2423515 h 7458372"/>
              <a:gd name="connsiteX30106" fmla="*/ 7842803 w 10505529"/>
              <a:gd name="connsiteY30106" fmla="*/ 2402482 h 7458372"/>
              <a:gd name="connsiteX30107" fmla="*/ 7864636 w 10505529"/>
              <a:gd name="connsiteY30107" fmla="*/ 2393830 h 7458372"/>
              <a:gd name="connsiteX30108" fmla="*/ 7646991 w 10505529"/>
              <a:gd name="connsiteY30108" fmla="*/ 2393830 h 7458372"/>
              <a:gd name="connsiteX30109" fmla="*/ 7658705 w 10505529"/>
              <a:gd name="connsiteY30109" fmla="*/ 2396493 h 7458372"/>
              <a:gd name="connsiteX30110" fmla="*/ 7668022 w 10505529"/>
              <a:gd name="connsiteY30110" fmla="*/ 2402882 h 7458372"/>
              <a:gd name="connsiteX30111" fmla="*/ 7674146 w 10505529"/>
              <a:gd name="connsiteY30111" fmla="*/ 2412201 h 7458372"/>
              <a:gd name="connsiteX30112" fmla="*/ 7676409 w 10505529"/>
              <a:gd name="connsiteY30112" fmla="*/ 2423650 h 7458372"/>
              <a:gd name="connsiteX30113" fmla="*/ 7674146 w 10505529"/>
              <a:gd name="connsiteY30113" fmla="*/ 2435363 h 7458372"/>
              <a:gd name="connsiteX30114" fmla="*/ 7668022 w 10505529"/>
              <a:gd name="connsiteY30114" fmla="*/ 2444681 h 7458372"/>
              <a:gd name="connsiteX30115" fmla="*/ 7658705 w 10505529"/>
              <a:gd name="connsiteY30115" fmla="*/ 2450938 h 7458372"/>
              <a:gd name="connsiteX30116" fmla="*/ 7646991 w 10505529"/>
              <a:gd name="connsiteY30116" fmla="*/ 2453201 h 7458372"/>
              <a:gd name="connsiteX30117" fmla="*/ 7625158 w 10505529"/>
              <a:gd name="connsiteY30117" fmla="*/ 2444681 h 7458372"/>
              <a:gd name="connsiteX30118" fmla="*/ 7616772 w 10505529"/>
              <a:gd name="connsiteY30118" fmla="*/ 2423515 h 7458372"/>
              <a:gd name="connsiteX30119" fmla="*/ 7625158 w 10505529"/>
              <a:gd name="connsiteY30119" fmla="*/ 2402482 h 7458372"/>
              <a:gd name="connsiteX30120" fmla="*/ 7646991 w 10505529"/>
              <a:gd name="connsiteY30120" fmla="*/ 2393830 h 7458372"/>
              <a:gd name="connsiteX30121" fmla="*/ 7429345 w 10505529"/>
              <a:gd name="connsiteY30121" fmla="*/ 2393830 h 7458372"/>
              <a:gd name="connsiteX30122" fmla="*/ 7441059 w 10505529"/>
              <a:gd name="connsiteY30122" fmla="*/ 2396493 h 7458372"/>
              <a:gd name="connsiteX30123" fmla="*/ 7450377 w 10505529"/>
              <a:gd name="connsiteY30123" fmla="*/ 2402882 h 7458372"/>
              <a:gd name="connsiteX30124" fmla="*/ 7456501 w 10505529"/>
              <a:gd name="connsiteY30124" fmla="*/ 2412201 h 7458372"/>
              <a:gd name="connsiteX30125" fmla="*/ 7458764 w 10505529"/>
              <a:gd name="connsiteY30125" fmla="*/ 2423650 h 7458372"/>
              <a:gd name="connsiteX30126" fmla="*/ 7456501 w 10505529"/>
              <a:gd name="connsiteY30126" fmla="*/ 2435363 h 7458372"/>
              <a:gd name="connsiteX30127" fmla="*/ 7450377 w 10505529"/>
              <a:gd name="connsiteY30127" fmla="*/ 2444681 h 7458372"/>
              <a:gd name="connsiteX30128" fmla="*/ 7441059 w 10505529"/>
              <a:gd name="connsiteY30128" fmla="*/ 2450938 h 7458372"/>
              <a:gd name="connsiteX30129" fmla="*/ 7429345 w 10505529"/>
              <a:gd name="connsiteY30129" fmla="*/ 2453201 h 7458372"/>
              <a:gd name="connsiteX30130" fmla="*/ 7407513 w 10505529"/>
              <a:gd name="connsiteY30130" fmla="*/ 2444681 h 7458372"/>
              <a:gd name="connsiteX30131" fmla="*/ 7399127 w 10505529"/>
              <a:gd name="connsiteY30131" fmla="*/ 2423515 h 7458372"/>
              <a:gd name="connsiteX30132" fmla="*/ 7407513 w 10505529"/>
              <a:gd name="connsiteY30132" fmla="*/ 2402482 h 7458372"/>
              <a:gd name="connsiteX30133" fmla="*/ 7429345 w 10505529"/>
              <a:gd name="connsiteY30133" fmla="*/ 2393830 h 7458372"/>
              <a:gd name="connsiteX30134" fmla="*/ 7211701 w 10505529"/>
              <a:gd name="connsiteY30134" fmla="*/ 2393830 h 7458372"/>
              <a:gd name="connsiteX30135" fmla="*/ 7223415 w 10505529"/>
              <a:gd name="connsiteY30135" fmla="*/ 2396493 h 7458372"/>
              <a:gd name="connsiteX30136" fmla="*/ 7232733 w 10505529"/>
              <a:gd name="connsiteY30136" fmla="*/ 2402882 h 7458372"/>
              <a:gd name="connsiteX30137" fmla="*/ 7238856 w 10505529"/>
              <a:gd name="connsiteY30137" fmla="*/ 2412201 h 7458372"/>
              <a:gd name="connsiteX30138" fmla="*/ 7241120 w 10505529"/>
              <a:gd name="connsiteY30138" fmla="*/ 2423650 h 7458372"/>
              <a:gd name="connsiteX30139" fmla="*/ 7238856 w 10505529"/>
              <a:gd name="connsiteY30139" fmla="*/ 2435363 h 7458372"/>
              <a:gd name="connsiteX30140" fmla="*/ 7232733 w 10505529"/>
              <a:gd name="connsiteY30140" fmla="*/ 2444681 h 7458372"/>
              <a:gd name="connsiteX30141" fmla="*/ 7223415 w 10505529"/>
              <a:gd name="connsiteY30141" fmla="*/ 2450938 h 7458372"/>
              <a:gd name="connsiteX30142" fmla="*/ 7211701 w 10505529"/>
              <a:gd name="connsiteY30142" fmla="*/ 2453201 h 7458372"/>
              <a:gd name="connsiteX30143" fmla="*/ 7189868 w 10505529"/>
              <a:gd name="connsiteY30143" fmla="*/ 2444681 h 7458372"/>
              <a:gd name="connsiteX30144" fmla="*/ 7181482 w 10505529"/>
              <a:gd name="connsiteY30144" fmla="*/ 2423515 h 7458372"/>
              <a:gd name="connsiteX30145" fmla="*/ 7189868 w 10505529"/>
              <a:gd name="connsiteY30145" fmla="*/ 2402482 h 7458372"/>
              <a:gd name="connsiteX30146" fmla="*/ 7211701 w 10505529"/>
              <a:gd name="connsiteY30146" fmla="*/ 2393830 h 7458372"/>
              <a:gd name="connsiteX30147" fmla="*/ 6994056 w 10505529"/>
              <a:gd name="connsiteY30147" fmla="*/ 2393830 h 7458372"/>
              <a:gd name="connsiteX30148" fmla="*/ 7005769 w 10505529"/>
              <a:gd name="connsiteY30148" fmla="*/ 2396493 h 7458372"/>
              <a:gd name="connsiteX30149" fmla="*/ 7015087 w 10505529"/>
              <a:gd name="connsiteY30149" fmla="*/ 2402882 h 7458372"/>
              <a:gd name="connsiteX30150" fmla="*/ 7021211 w 10505529"/>
              <a:gd name="connsiteY30150" fmla="*/ 2412201 h 7458372"/>
              <a:gd name="connsiteX30151" fmla="*/ 7023474 w 10505529"/>
              <a:gd name="connsiteY30151" fmla="*/ 2423650 h 7458372"/>
              <a:gd name="connsiteX30152" fmla="*/ 7021211 w 10505529"/>
              <a:gd name="connsiteY30152" fmla="*/ 2435363 h 7458372"/>
              <a:gd name="connsiteX30153" fmla="*/ 7015087 w 10505529"/>
              <a:gd name="connsiteY30153" fmla="*/ 2444681 h 7458372"/>
              <a:gd name="connsiteX30154" fmla="*/ 7005769 w 10505529"/>
              <a:gd name="connsiteY30154" fmla="*/ 2450938 h 7458372"/>
              <a:gd name="connsiteX30155" fmla="*/ 6994056 w 10505529"/>
              <a:gd name="connsiteY30155" fmla="*/ 2453201 h 7458372"/>
              <a:gd name="connsiteX30156" fmla="*/ 6972223 w 10505529"/>
              <a:gd name="connsiteY30156" fmla="*/ 2444681 h 7458372"/>
              <a:gd name="connsiteX30157" fmla="*/ 6963837 w 10505529"/>
              <a:gd name="connsiteY30157" fmla="*/ 2423515 h 7458372"/>
              <a:gd name="connsiteX30158" fmla="*/ 6972223 w 10505529"/>
              <a:gd name="connsiteY30158" fmla="*/ 2402482 h 7458372"/>
              <a:gd name="connsiteX30159" fmla="*/ 6994056 w 10505529"/>
              <a:gd name="connsiteY30159" fmla="*/ 2393830 h 7458372"/>
              <a:gd name="connsiteX30160" fmla="*/ 6776544 w 10505529"/>
              <a:gd name="connsiteY30160" fmla="*/ 2393830 h 7458372"/>
              <a:gd name="connsiteX30161" fmla="*/ 6788258 w 10505529"/>
              <a:gd name="connsiteY30161" fmla="*/ 2396493 h 7458372"/>
              <a:gd name="connsiteX30162" fmla="*/ 6797576 w 10505529"/>
              <a:gd name="connsiteY30162" fmla="*/ 2402882 h 7458372"/>
              <a:gd name="connsiteX30163" fmla="*/ 6803699 w 10505529"/>
              <a:gd name="connsiteY30163" fmla="*/ 2412201 h 7458372"/>
              <a:gd name="connsiteX30164" fmla="*/ 6805963 w 10505529"/>
              <a:gd name="connsiteY30164" fmla="*/ 2423650 h 7458372"/>
              <a:gd name="connsiteX30165" fmla="*/ 6803699 w 10505529"/>
              <a:gd name="connsiteY30165" fmla="*/ 2435363 h 7458372"/>
              <a:gd name="connsiteX30166" fmla="*/ 6797576 w 10505529"/>
              <a:gd name="connsiteY30166" fmla="*/ 2444681 h 7458372"/>
              <a:gd name="connsiteX30167" fmla="*/ 6788258 w 10505529"/>
              <a:gd name="connsiteY30167" fmla="*/ 2450938 h 7458372"/>
              <a:gd name="connsiteX30168" fmla="*/ 6776544 w 10505529"/>
              <a:gd name="connsiteY30168" fmla="*/ 2453201 h 7458372"/>
              <a:gd name="connsiteX30169" fmla="*/ 6754711 w 10505529"/>
              <a:gd name="connsiteY30169" fmla="*/ 2444681 h 7458372"/>
              <a:gd name="connsiteX30170" fmla="*/ 6746325 w 10505529"/>
              <a:gd name="connsiteY30170" fmla="*/ 2423515 h 7458372"/>
              <a:gd name="connsiteX30171" fmla="*/ 6754711 w 10505529"/>
              <a:gd name="connsiteY30171" fmla="*/ 2402482 h 7458372"/>
              <a:gd name="connsiteX30172" fmla="*/ 6776544 w 10505529"/>
              <a:gd name="connsiteY30172" fmla="*/ 2393830 h 7458372"/>
              <a:gd name="connsiteX30173" fmla="*/ 6558899 w 10505529"/>
              <a:gd name="connsiteY30173" fmla="*/ 2393830 h 7458372"/>
              <a:gd name="connsiteX30174" fmla="*/ 6570612 w 10505529"/>
              <a:gd name="connsiteY30174" fmla="*/ 2396493 h 7458372"/>
              <a:gd name="connsiteX30175" fmla="*/ 6579930 w 10505529"/>
              <a:gd name="connsiteY30175" fmla="*/ 2402882 h 7458372"/>
              <a:gd name="connsiteX30176" fmla="*/ 6586054 w 10505529"/>
              <a:gd name="connsiteY30176" fmla="*/ 2412201 h 7458372"/>
              <a:gd name="connsiteX30177" fmla="*/ 6588317 w 10505529"/>
              <a:gd name="connsiteY30177" fmla="*/ 2423650 h 7458372"/>
              <a:gd name="connsiteX30178" fmla="*/ 6586054 w 10505529"/>
              <a:gd name="connsiteY30178" fmla="*/ 2435363 h 7458372"/>
              <a:gd name="connsiteX30179" fmla="*/ 6579930 w 10505529"/>
              <a:gd name="connsiteY30179" fmla="*/ 2444681 h 7458372"/>
              <a:gd name="connsiteX30180" fmla="*/ 6570612 w 10505529"/>
              <a:gd name="connsiteY30180" fmla="*/ 2450938 h 7458372"/>
              <a:gd name="connsiteX30181" fmla="*/ 6558899 w 10505529"/>
              <a:gd name="connsiteY30181" fmla="*/ 2453201 h 7458372"/>
              <a:gd name="connsiteX30182" fmla="*/ 6537066 w 10505529"/>
              <a:gd name="connsiteY30182" fmla="*/ 2444681 h 7458372"/>
              <a:gd name="connsiteX30183" fmla="*/ 6528680 w 10505529"/>
              <a:gd name="connsiteY30183" fmla="*/ 2423515 h 7458372"/>
              <a:gd name="connsiteX30184" fmla="*/ 6537066 w 10505529"/>
              <a:gd name="connsiteY30184" fmla="*/ 2402482 h 7458372"/>
              <a:gd name="connsiteX30185" fmla="*/ 6558899 w 10505529"/>
              <a:gd name="connsiteY30185" fmla="*/ 2393830 h 7458372"/>
              <a:gd name="connsiteX30186" fmla="*/ 6341253 w 10505529"/>
              <a:gd name="connsiteY30186" fmla="*/ 2393830 h 7458372"/>
              <a:gd name="connsiteX30187" fmla="*/ 6352968 w 10505529"/>
              <a:gd name="connsiteY30187" fmla="*/ 2396493 h 7458372"/>
              <a:gd name="connsiteX30188" fmla="*/ 6362286 w 10505529"/>
              <a:gd name="connsiteY30188" fmla="*/ 2402882 h 7458372"/>
              <a:gd name="connsiteX30189" fmla="*/ 6368409 w 10505529"/>
              <a:gd name="connsiteY30189" fmla="*/ 2412201 h 7458372"/>
              <a:gd name="connsiteX30190" fmla="*/ 6370672 w 10505529"/>
              <a:gd name="connsiteY30190" fmla="*/ 2423650 h 7458372"/>
              <a:gd name="connsiteX30191" fmla="*/ 6368409 w 10505529"/>
              <a:gd name="connsiteY30191" fmla="*/ 2435363 h 7458372"/>
              <a:gd name="connsiteX30192" fmla="*/ 6362286 w 10505529"/>
              <a:gd name="connsiteY30192" fmla="*/ 2444681 h 7458372"/>
              <a:gd name="connsiteX30193" fmla="*/ 6352968 w 10505529"/>
              <a:gd name="connsiteY30193" fmla="*/ 2450938 h 7458372"/>
              <a:gd name="connsiteX30194" fmla="*/ 6341253 w 10505529"/>
              <a:gd name="connsiteY30194" fmla="*/ 2453201 h 7458372"/>
              <a:gd name="connsiteX30195" fmla="*/ 6319421 w 10505529"/>
              <a:gd name="connsiteY30195" fmla="*/ 2444681 h 7458372"/>
              <a:gd name="connsiteX30196" fmla="*/ 6311035 w 10505529"/>
              <a:gd name="connsiteY30196" fmla="*/ 2423515 h 7458372"/>
              <a:gd name="connsiteX30197" fmla="*/ 6319421 w 10505529"/>
              <a:gd name="connsiteY30197" fmla="*/ 2402482 h 7458372"/>
              <a:gd name="connsiteX30198" fmla="*/ 6341253 w 10505529"/>
              <a:gd name="connsiteY30198" fmla="*/ 2393830 h 7458372"/>
              <a:gd name="connsiteX30199" fmla="*/ 6123608 w 10505529"/>
              <a:gd name="connsiteY30199" fmla="*/ 2393830 h 7458372"/>
              <a:gd name="connsiteX30200" fmla="*/ 6135322 w 10505529"/>
              <a:gd name="connsiteY30200" fmla="*/ 2396493 h 7458372"/>
              <a:gd name="connsiteX30201" fmla="*/ 6144640 w 10505529"/>
              <a:gd name="connsiteY30201" fmla="*/ 2402882 h 7458372"/>
              <a:gd name="connsiteX30202" fmla="*/ 6150763 w 10505529"/>
              <a:gd name="connsiteY30202" fmla="*/ 2412201 h 7458372"/>
              <a:gd name="connsiteX30203" fmla="*/ 6153026 w 10505529"/>
              <a:gd name="connsiteY30203" fmla="*/ 2423650 h 7458372"/>
              <a:gd name="connsiteX30204" fmla="*/ 6150763 w 10505529"/>
              <a:gd name="connsiteY30204" fmla="*/ 2435363 h 7458372"/>
              <a:gd name="connsiteX30205" fmla="*/ 6144640 w 10505529"/>
              <a:gd name="connsiteY30205" fmla="*/ 2444681 h 7458372"/>
              <a:gd name="connsiteX30206" fmla="*/ 6135322 w 10505529"/>
              <a:gd name="connsiteY30206" fmla="*/ 2450938 h 7458372"/>
              <a:gd name="connsiteX30207" fmla="*/ 6123608 w 10505529"/>
              <a:gd name="connsiteY30207" fmla="*/ 2453201 h 7458372"/>
              <a:gd name="connsiteX30208" fmla="*/ 6101775 w 10505529"/>
              <a:gd name="connsiteY30208" fmla="*/ 2444681 h 7458372"/>
              <a:gd name="connsiteX30209" fmla="*/ 6093389 w 10505529"/>
              <a:gd name="connsiteY30209" fmla="*/ 2423515 h 7458372"/>
              <a:gd name="connsiteX30210" fmla="*/ 6101775 w 10505529"/>
              <a:gd name="connsiteY30210" fmla="*/ 2402482 h 7458372"/>
              <a:gd name="connsiteX30211" fmla="*/ 6123608 w 10505529"/>
              <a:gd name="connsiteY30211" fmla="*/ 2393830 h 7458372"/>
              <a:gd name="connsiteX30212" fmla="*/ 5905963 w 10505529"/>
              <a:gd name="connsiteY30212" fmla="*/ 2393830 h 7458372"/>
              <a:gd name="connsiteX30213" fmla="*/ 5917677 w 10505529"/>
              <a:gd name="connsiteY30213" fmla="*/ 2396493 h 7458372"/>
              <a:gd name="connsiteX30214" fmla="*/ 5926995 w 10505529"/>
              <a:gd name="connsiteY30214" fmla="*/ 2402882 h 7458372"/>
              <a:gd name="connsiteX30215" fmla="*/ 5933118 w 10505529"/>
              <a:gd name="connsiteY30215" fmla="*/ 2412201 h 7458372"/>
              <a:gd name="connsiteX30216" fmla="*/ 5935381 w 10505529"/>
              <a:gd name="connsiteY30216" fmla="*/ 2423650 h 7458372"/>
              <a:gd name="connsiteX30217" fmla="*/ 5933118 w 10505529"/>
              <a:gd name="connsiteY30217" fmla="*/ 2435363 h 7458372"/>
              <a:gd name="connsiteX30218" fmla="*/ 5926995 w 10505529"/>
              <a:gd name="connsiteY30218" fmla="*/ 2444681 h 7458372"/>
              <a:gd name="connsiteX30219" fmla="*/ 5917677 w 10505529"/>
              <a:gd name="connsiteY30219" fmla="*/ 2450938 h 7458372"/>
              <a:gd name="connsiteX30220" fmla="*/ 5905963 w 10505529"/>
              <a:gd name="connsiteY30220" fmla="*/ 2453201 h 7458372"/>
              <a:gd name="connsiteX30221" fmla="*/ 5884130 w 10505529"/>
              <a:gd name="connsiteY30221" fmla="*/ 2444681 h 7458372"/>
              <a:gd name="connsiteX30222" fmla="*/ 5875744 w 10505529"/>
              <a:gd name="connsiteY30222" fmla="*/ 2423515 h 7458372"/>
              <a:gd name="connsiteX30223" fmla="*/ 5884130 w 10505529"/>
              <a:gd name="connsiteY30223" fmla="*/ 2402482 h 7458372"/>
              <a:gd name="connsiteX30224" fmla="*/ 5905963 w 10505529"/>
              <a:gd name="connsiteY30224" fmla="*/ 2393830 h 7458372"/>
              <a:gd name="connsiteX30225" fmla="*/ 5688451 w 10505529"/>
              <a:gd name="connsiteY30225" fmla="*/ 2393830 h 7458372"/>
              <a:gd name="connsiteX30226" fmla="*/ 5700165 w 10505529"/>
              <a:gd name="connsiteY30226" fmla="*/ 2396493 h 7458372"/>
              <a:gd name="connsiteX30227" fmla="*/ 5709483 w 10505529"/>
              <a:gd name="connsiteY30227" fmla="*/ 2402882 h 7458372"/>
              <a:gd name="connsiteX30228" fmla="*/ 5715606 w 10505529"/>
              <a:gd name="connsiteY30228" fmla="*/ 2412201 h 7458372"/>
              <a:gd name="connsiteX30229" fmla="*/ 5717869 w 10505529"/>
              <a:gd name="connsiteY30229" fmla="*/ 2423650 h 7458372"/>
              <a:gd name="connsiteX30230" fmla="*/ 5715606 w 10505529"/>
              <a:gd name="connsiteY30230" fmla="*/ 2435363 h 7458372"/>
              <a:gd name="connsiteX30231" fmla="*/ 5709483 w 10505529"/>
              <a:gd name="connsiteY30231" fmla="*/ 2444681 h 7458372"/>
              <a:gd name="connsiteX30232" fmla="*/ 5700165 w 10505529"/>
              <a:gd name="connsiteY30232" fmla="*/ 2450938 h 7458372"/>
              <a:gd name="connsiteX30233" fmla="*/ 5688451 w 10505529"/>
              <a:gd name="connsiteY30233" fmla="*/ 2453201 h 7458372"/>
              <a:gd name="connsiteX30234" fmla="*/ 5666618 w 10505529"/>
              <a:gd name="connsiteY30234" fmla="*/ 2444681 h 7458372"/>
              <a:gd name="connsiteX30235" fmla="*/ 5658232 w 10505529"/>
              <a:gd name="connsiteY30235" fmla="*/ 2423515 h 7458372"/>
              <a:gd name="connsiteX30236" fmla="*/ 5666618 w 10505529"/>
              <a:gd name="connsiteY30236" fmla="*/ 2402482 h 7458372"/>
              <a:gd name="connsiteX30237" fmla="*/ 5688451 w 10505529"/>
              <a:gd name="connsiteY30237" fmla="*/ 2393830 h 7458372"/>
              <a:gd name="connsiteX30238" fmla="*/ 5470806 w 10505529"/>
              <a:gd name="connsiteY30238" fmla="*/ 2393830 h 7458372"/>
              <a:gd name="connsiteX30239" fmla="*/ 5482520 w 10505529"/>
              <a:gd name="connsiteY30239" fmla="*/ 2396493 h 7458372"/>
              <a:gd name="connsiteX30240" fmla="*/ 5491838 w 10505529"/>
              <a:gd name="connsiteY30240" fmla="*/ 2402882 h 7458372"/>
              <a:gd name="connsiteX30241" fmla="*/ 5497961 w 10505529"/>
              <a:gd name="connsiteY30241" fmla="*/ 2412201 h 7458372"/>
              <a:gd name="connsiteX30242" fmla="*/ 5500224 w 10505529"/>
              <a:gd name="connsiteY30242" fmla="*/ 2423650 h 7458372"/>
              <a:gd name="connsiteX30243" fmla="*/ 5497961 w 10505529"/>
              <a:gd name="connsiteY30243" fmla="*/ 2435363 h 7458372"/>
              <a:gd name="connsiteX30244" fmla="*/ 5491838 w 10505529"/>
              <a:gd name="connsiteY30244" fmla="*/ 2444681 h 7458372"/>
              <a:gd name="connsiteX30245" fmla="*/ 5482520 w 10505529"/>
              <a:gd name="connsiteY30245" fmla="*/ 2450938 h 7458372"/>
              <a:gd name="connsiteX30246" fmla="*/ 5470806 w 10505529"/>
              <a:gd name="connsiteY30246" fmla="*/ 2453201 h 7458372"/>
              <a:gd name="connsiteX30247" fmla="*/ 5448973 w 10505529"/>
              <a:gd name="connsiteY30247" fmla="*/ 2444681 h 7458372"/>
              <a:gd name="connsiteX30248" fmla="*/ 5440587 w 10505529"/>
              <a:gd name="connsiteY30248" fmla="*/ 2423515 h 7458372"/>
              <a:gd name="connsiteX30249" fmla="*/ 5448973 w 10505529"/>
              <a:gd name="connsiteY30249" fmla="*/ 2402482 h 7458372"/>
              <a:gd name="connsiteX30250" fmla="*/ 5470806 w 10505529"/>
              <a:gd name="connsiteY30250" fmla="*/ 2393830 h 7458372"/>
              <a:gd name="connsiteX30251" fmla="*/ 5253160 w 10505529"/>
              <a:gd name="connsiteY30251" fmla="*/ 2393830 h 7458372"/>
              <a:gd name="connsiteX30252" fmla="*/ 5264875 w 10505529"/>
              <a:gd name="connsiteY30252" fmla="*/ 2396493 h 7458372"/>
              <a:gd name="connsiteX30253" fmla="*/ 5274192 w 10505529"/>
              <a:gd name="connsiteY30253" fmla="*/ 2402882 h 7458372"/>
              <a:gd name="connsiteX30254" fmla="*/ 5280316 w 10505529"/>
              <a:gd name="connsiteY30254" fmla="*/ 2412201 h 7458372"/>
              <a:gd name="connsiteX30255" fmla="*/ 5282579 w 10505529"/>
              <a:gd name="connsiteY30255" fmla="*/ 2423650 h 7458372"/>
              <a:gd name="connsiteX30256" fmla="*/ 5280316 w 10505529"/>
              <a:gd name="connsiteY30256" fmla="*/ 2435363 h 7458372"/>
              <a:gd name="connsiteX30257" fmla="*/ 5274192 w 10505529"/>
              <a:gd name="connsiteY30257" fmla="*/ 2444681 h 7458372"/>
              <a:gd name="connsiteX30258" fmla="*/ 5264875 w 10505529"/>
              <a:gd name="connsiteY30258" fmla="*/ 2450938 h 7458372"/>
              <a:gd name="connsiteX30259" fmla="*/ 5253160 w 10505529"/>
              <a:gd name="connsiteY30259" fmla="*/ 2453201 h 7458372"/>
              <a:gd name="connsiteX30260" fmla="*/ 5231328 w 10505529"/>
              <a:gd name="connsiteY30260" fmla="*/ 2444681 h 7458372"/>
              <a:gd name="connsiteX30261" fmla="*/ 5222942 w 10505529"/>
              <a:gd name="connsiteY30261" fmla="*/ 2423515 h 7458372"/>
              <a:gd name="connsiteX30262" fmla="*/ 5231328 w 10505529"/>
              <a:gd name="connsiteY30262" fmla="*/ 2402482 h 7458372"/>
              <a:gd name="connsiteX30263" fmla="*/ 5253160 w 10505529"/>
              <a:gd name="connsiteY30263" fmla="*/ 2393830 h 7458372"/>
              <a:gd name="connsiteX30264" fmla="*/ 5035515 w 10505529"/>
              <a:gd name="connsiteY30264" fmla="*/ 2393830 h 7458372"/>
              <a:gd name="connsiteX30265" fmla="*/ 5047230 w 10505529"/>
              <a:gd name="connsiteY30265" fmla="*/ 2396493 h 7458372"/>
              <a:gd name="connsiteX30266" fmla="*/ 5056548 w 10505529"/>
              <a:gd name="connsiteY30266" fmla="*/ 2402882 h 7458372"/>
              <a:gd name="connsiteX30267" fmla="*/ 5062671 w 10505529"/>
              <a:gd name="connsiteY30267" fmla="*/ 2412201 h 7458372"/>
              <a:gd name="connsiteX30268" fmla="*/ 5064934 w 10505529"/>
              <a:gd name="connsiteY30268" fmla="*/ 2423650 h 7458372"/>
              <a:gd name="connsiteX30269" fmla="*/ 5062671 w 10505529"/>
              <a:gd name="connsiteY30269" fmla="*/ 2435363 h 7458372"/>
              <a:gd name="connsiteX30270" fmla="*/ 5056548 w 10505529"/>
              <a:gd name="connsiteY30270" fmla="*/ 2444681 h 7458372"/>
              <a:gd name="connsiteX30271" fmla="*/ 5047230 w 10505529"/>
              <a:gd name="connsiteY30271" fmla="*/ 2450938 h 7458372"/>
              <a:gd name="connsiteX30272" fmla="*/ 5035515 w 10505529"/>
              <a:gd name="connsiteY30272" fmla="*/ 2453201 h 7458372"/>
              <a:gd name="connsiteX30273" fmla="*/ 5013683 w 10505529"/>
              <a:gd name="connsiteY30273" fmla="*/ 2444681 h 7458372"/>
              <a:gd name="connsiteX30274" fmla="*/ 5005297 w 10505529"/>
              <a:gd name="connsiteY30274" fmla="*/ 2423515 h 7458372"/>
              <a:gd name="connsiteX30275" fmla="*/ 5013683 w 10505529"/>
              <a:gd name="connsiteY30275" fmla="*/ 2402482 h 7458372"/>
              <a:gd name="connsiteX30276" fmla="*/ 5035515 w 10505529"/>
              <a:gd name="connsiteY30276" fmla="*/ 2393830 h 7458372"/>
              <a:gd name="connsiteX30277" fmla="*/ 4817870 w 10505529"/>
              <a:gd name="connsiteY30277" fmla="*/ 2393830 h 7458372"/>
              <a:gd name="connsiteX30278" fmla="*/ 4829585 w 10505529"/>
              <a:gd name="connsiteY30278" fmla="*/ 2396493 h 7458372"/>
              <a:gd name="connsiteX30279" fmla="*/ 4838903 w 10505529"/>
              <a:gd name="connsiteY30279" fmla="*/ 2402882 h 7458372"/>
              <a:gd name="connsiteX30280" fmla="*/ 4845026 w 10505529"/>
              <a:gd name="connsiteY30280" fmla="*/ 2412201 h 7458372"/>
              <a:gd name="connsiteX30281" fmla="*/ 4847289 w 10505529"/>
              <a:gd name="connsiteY30281" fmla="*/ 2423650 h 7458372"/>
              <a:gd name="connsiteX30282" fmla="*/ 4845026 w 10505529"/>
              <a:gd name="connsiteY30282" fmla="*/ 2435363 h 7458372"/>
              <a:gd name="connsiteX30283" fmla="*/ 4838903 w 10505529"/>
              <a:gd name="connsiteY30283" fmla="*/ 2444681 h 7458372"/>
              <a:gd name="connsiteX30284" fmla="*/ 4829585 w 10505529"/>
              <a:gd name="connsiteY30284" fmla="*/ 2450938 h 7458372"/>
              <a:gd name="connsiteX30285" fmla="*/ 4817870 w 10505529"/>
              <a:gd name="connsiteY30285" fmla="*/ 2453201 h 7458372"/>
              <a:gd name="connsiteX30286" fmla="*/ 4796038 w 10505529"/>
              <a:gd name="connsiteY30286" fmla="*/ 2444681 h 7458372"/>
              <a:gd name="connsiteX30287" fmla="*/ 4787652 w 10505529"/>
              <a:gd name="connsiteY30287" fmla="*/ 2423515 h 7458372"/>
              <a:gd name="connsiteX30288" fmla="*/ 4796038 w 10505529"/>
              <a:gd name="connsiteY30288" fmla="*/ 2402482 h 7458372"/>
              <a:gd name="connsiteX30289" fmla="*/ 4817870 w 10505529"/>
              <a:gd name="connsiteY30289" fmla="*/ 2393830 h 7458372"/>
              <a:gd name="connsiteX30290" fmla="*/ 4600226 w 10505529"/>
              <a:gd name="connsiteY30290" fmla="*/ 2393830 h 7458372"/>
              <a:gd name="connsiteX30291" fmla="*/ 4612073 w 10505529"/>
              <a:gd name="connsiteY30291" fmla="*/ 2396493 h 7458372"/>
              <a:gd name="connsiteX30292" fmla="*/ 4621391 w 10505529"/>
              <a:gd name="connsiteY30292" fmla="*/ 2402882 h 7458372"/>
              <a:gd name="connsiteX30293" fmla="*/ 4627514 w 10505529"/>
              <a:gd name="connsiteY30293" fmla="*/ 2412201 h 7458372"/>
              <a:gd name="connsiteX30294" fmla="*/ 4629777 w 10505529"/>
              <a:gd name="connsiteY30294" fmla="*/ 2423650 h 7458372"/>
              <a:gd name="connsiteX30295" fmla="*/ 4627514 w 10505529"/>
              <a:gd name="connsiteY30295" fmla="*/ 2435363 h 7458372"/>
              <a:gd name="connsiteX30296" fmla="*/ 4621391 w 10505529"/>
              <a:gd name="connsiteY30296" fmla="*/ 2444681 h 7458372"/>
              <a:gd name="connsiteX30297" fmla="*/ 4612073 w 10505529"/>
              <a:gd name="connsiteY30297" fmla="*/ 2450938 h 7458372"/>
              <a:gd name="connsiteX30298" fmla="*/ 4600226 w 10505529"/>
              <a:gd name="connsiteY30298" fmla="*/ 2453201 h 7458372"/>
              <a:gd name="connsiteX30299" fmla="*/ 4578393 w 10505529"/>
              <a:gd name="connsiteY30299" fmla="*/ 2444681 h 7458372"/>
              <a:gd name="connsiteX30300" fmla="*/ 4570007 w 10505529"/>
              <a:gd name="connsiteY30300" fmla="*/ 2423515 h 7458372"/>
              <a:gd name="connsiteX30301" fmla="*/ 4578393 w 10505529"/>
              <a:gd name="connsiteY30301" fmla="*/ 2402482 h 7458372"/>
              <a:gd name="connsiteX30302" fmla="*/ 4600226 w 10505529"/>
              <a:gd name="connsiteY30302" fmla="*/ 2393830 h 7458372"/>
              <a:gd name="connsiteX30303" fmla="*/ 4382713 w 10505529"/>
              <a:gd name="connsiteY30303" fmla="*/ 2393830 h 7458372"/>
              <a:gd name="connsiteX30304" fmla="*/ 4394428 w 10505529"/>
              <a:gd name="connsiteY30304" fmla="*/ 2396493 h 7458372"/>
              <a:gd name="connsiteX30305" fmla="*/ 4403746 w 10505529"/>
              <a:gd name="connsiteY30305" fmla="*/ 2402882 h 7458372"/>
              <a:gd name="connsiteX30306" fmla="*/ 4409869 w 10505529"/>
              <a:gd name="connsiteY30306" fmla="*/ 2412201 h 7458372"/>
              <a:gd name="connsiteX30307" fmla="*/ 4412132 w 10505529"/>
              <a:gd name="connsiteY30307" fmla="*/ 2423650 h 7458372"/>
              <a:gd name="connsiteX30308" fmla="*/ 4409869 w 10505529"/>
              <a:gd name="connsiteY30308" fmla="*/ 2435363 h 7458372"/>
              <a:gd name="connsiteX30309" fmla="*/ 4403746 w 10505529"/>
              <a:gd name="connsiteY30309" fmla="*/ 2444681 h 7458372"/>
              <a:gd name="connsiteX30310" fmla="*/ 4394428 w 10505529"/>
              <a:gd name="connsiteY30310" fmla="*/ 2450938 h 7458372"/>
              <a:gd name="connsiteX30311" fmla="*/ 4382713 w 10505529"/>
              <a:gd name="connsiteY30311" fmla="*/ 2453201 h 7458372"/>
              <a:gd name="connsiteX30312" fmla="*/ 4360881 w 10505529"/>
              <a:gd name="connsiteY30312" fmla="*/ 2444681 h 7458372"/>
              <a:gd name="connsiteX30313" fmla="*/ 4352495 w 10505529"/>
              <a:gd name="connsiteY30313" fmla="*/ 2423515 h 7458372"/>
              <a:gd name="connsiteX30314" fmla="*/ 4360881 w 10505529"/>
              <a:gd name="connsiteY30314" fmla="*/ 2402482 h 7458372"/>
              <a:gd name="connsiteX30315" fmla="*/ 4382713 w 10505529"/>
              <a:gd name="connsiteY30315" fmla="*/ 2393830 h 7458372"/>
              <a:gd name="connsiteX30316" fmla="*/ 4165068 w 10505529"/>
              <a:gd name="connsiteY30316" fmla="*/ 2393830 h 7458372"/>
              <a:gd name="connsiteX30317" fmla="*/ 4176782 w 10505529"/>
              <a:gd name="connsiteY30317" fmla="*/ 2396493 h 7458372"/>
              <a:gd name="connsiteX30318" fmla="*/ 4186100 w 10505529"/>
              <a:gd name="connsiteY30318" fmla="*/ 2402882 h 7458372"/>
              <a:gd name="connsiteX30319" fmla="*/ 4192223 w 10505529"/>
              <a:gd name="connsiteY30319" fmla="*/ 2412201 h 7458372"/>
              <a:gd name="connsiteX30320" fmla="*/ 4194486 w 10505529"/>
              <a:gd name="connsiteY30320" fmla="*/ 2423650 h 7458372"/>
              <a:gd name="connsiteX30321" fmla="*/ 4192223 w 10505529"/>
              <a:gd name="connsiteY30321" fmla="*/ 2435363 h 7458372"/>
              <a:gd name="connsiteX30322" fmla="*/ 4186100 w 10505529"/>
              <a:gd name="connsiteY30322" fmla="*/ 2444681 h 7458372"/>
              <a:gd name="connsiteX30323" fmla="*/ 4176782 w 10505529"/>
              <a:gd name="connsiteY30323" fmla="*/ 2450938 h 7458372"/>
              <a:gd name="connsiteX30324" fmla="*/ 4165068 w 10505529"/>
              <a:gd name="connsiteY30324" fmla="*/ 2453201 h 7458372"/>
              <a:gd name="connsiteX30325" fmla="*/ 4143235 w 10505529"/>
              <a:gd name="connsiteY30325" fmla="*/ 2444681 h 7458372"/>
              <a:gd name="connsiteX30326" fmla="*/ 4134849 w 10505529"/>
              <a:gd name="connsiteY30326" fmla="*/ 2423515 h 7458372"/>
              <a:gd name="connsiteX30327" fmla="*/ 4143235 w 10505529"/>
              <a:gd name="connsiteY30327" fmla="*/ 2402482 h 7458372"/>
              <a:gd name="connsiteX30328" fmla="*/ 4165068 w 10505529"/>
              <a:gd name="connsiteY30328" fmla="*/ 2393830 h 7458372"/>
              <a:gd name="connsiteX30329" fmla="*/ 3947558 w 10505529"/>
              <a:gd name="connsiteY30329" fmla="*/ 2393830 h 7458372"/>
              <a:gd name="connsiteX30330" fmla="*/ 3959274 w 10505529"/>
              <a:gd name="connsiteY30330" fmla="*/ 2396493 h 7458372"/>
              <a:gd name="connsiteX30331" fmla="*/ 3968592 w 10505529"/>
              <a:gd name="connsiteY30331" fmla="*/ 2402882 h 7458372"/>
              <a:gd name="connsiteX30332" fmla="*/ 3974716 w 10505529"/>
              <a:gd name="connsiteY30332" fmla="*/ 2412201 h 7458372"/>
              <a:gd name="connsiteX30333" fmla="*/ 3976979 w 10505529"/>
              <a:gd name="connsiteY30333" fmla="*/ 2423650 h 7458372"/>
              <a:gd name="connsiteX30334" fmla="*/ 3974716 w 10505529"/>
              <a:gd name="connsiteY30334" fmla="*/ 2435363 h 7458372"/>
              <a:gd name="connsiteX30335" fmla="*/ 3968592 w 10505529"/>
              <a:gd name="connsiteY30335" fmla="*/ 2444681 h 7458372"/>
              <a:gd name="connsiteX30336" fmla="*/ 3959274 w 10505529"/>
              <a:gd name="connsiteY30336" fmla="*/ 2450938 h 7458372"/>
              <a:gd name="connsiteX30337" fmla="*/ 3947558 w 10505529"/>
              <a:gd name="connsiteY30337" fmla="*/ 2453201 h 7458372"/>
              <a:gd name="connsiteX30338" fmla="*/ 3925726 w 10505529"/>
              <a:gd name="connsiteY30338" fmla="*/ 2444681 h 7458372"/>
              <a:gd name="connsiteX30339" fmla="*/ 3917340 w 10505529"/>
              <a:gd name="connsiteY30339" fmla="*/ 2423515 h 7458372"/>
              <a:gd name="connsiteX30340" fmla="*/ 3925726 w 10505529"/>
              <a:gd name="connsiteY30340" fmla="*/ 2402482 h 7458372"/>
              <a:gd name="connsiteX30341" fmla="*/ 3947558 w 10505529"/>
              <a:gd name="connsiteY30341" fmla="*/ 2393830 h 7458372"/>
              <a:gd name="connsiteX30342" fmla="*/ 3729907 w 10505529"/>
              <a:gd name="connsiteY30342" fmla="*/ 2393830 h 7458372"/>
              <a:gd name="connsiteX30343" fmla="*/ 3741622 w 10505529"/>
              <a:gd name="connsiteY30343" fmla="*/ 2396493 h 7458372"/>
              <a:gd name="connsiteX30344" fmla="*/ 3750940 w 10505529"/>
              <a:gd name="connsiteY30344" fmla="*/ 2402882 h 7458372"/>
              <a:gd name="connsiteX30345" fmla="*/ 3757063 w 10505529"/>
              <a:gd name="connsiteY30345" fmla="*/ 2412201 h 7458372"/>
              <a:gd name="connsiteX30346" fmla="*/ 3759326 w 10505529"/>
              <a:gd name="connsiteY30346" fmla="*/ 2423650 h 7458372"/>
              <a:gd name="connsiteX30347" fmla="*/ 3757063 w 10505529"/>
              <a:gd name="connsiteY30347" fmla="*/ 2435363 h 7458372"/>
              <a:gd name="connsiteX30348" fmla="*/ 3750940 w 10505529"/>
              <a:gd name="connsiteY30348" fmla="*/ 2444681 h 7458372"/>
              <a:gd name="connsiteX30349" fmla="*/ 3741622 w 10505529"/>
              <a:gd name="connsiteY30349" fmla="*/ 2450938 h 7458372"/>
              <a:gd name="connsiteX30350" fmla="*/ 3729907 w 10505529"/>
              <a:gd name="connsiteY30350" fmla="*/ 2453201 h 7458372"/>
              <a:gd name="connsiteX30351" fmla="*/ 3708072 w 10505529"/>
              <a:gd name="connsiteY30351" fmla="*/ 2444681 h 7458372"/>
              <a:gd name="connsiteX30352" fmla="*/ 3699685 w 10505529"/>
              <a:gd name="connsiteY30352" fmla="*/ 2423515 h 7458372"/>
              <a:gd name="connsiteX30353" fmla="*/ 3708072 w 10505529"/>
              <a:gd name="connsiteY30353" fmla="*/ 2402482 h 7458372"/>
              <a:gd name="connsiteX30354" fmla="*/ 3729907 w 10505529"/>
              <a:gd name="connsiteY30354" fmla="*/ 2393830 h 7458372"/>
              <a:gd name="connsiteX30355" fmla="*/ 3512254 w 10505529"/>
              <a:gd name="connsiteY30355" fmla="*/ 2393830 h 7458372"/>
              <a:gd name="connsiteX30356" fmla="*/ 3523970 w 10505529"/>
              <a:gd name="connsiteY30356" fmla="*/ 2396493 h 7458372"/>
              <a:gd name="connsiteX30357" fmla="*/ 3533288 w 10505529"/>
              <a:gd name="connsiteY30357" fmla="*/ 2402882 h 7458372"/>
              <a:gd name="connsiteX30358" fmla="*/ 3539411 w 10505529"/>
              <a:gd name="connsiteY30358" fmla="*/ 2412201 h 7458372"/>
              <a:gd name="connsiteX30359" fmla="*/ 3541674 w 10505529"/>
              <a:gd name="connsiteY30359" fmla="*/ 2423650 h 7458372"/>
              <a:gd name="connsiteX30360" fmla="*/ 3539411 w 10505529"/>
              <a:gd name="connsiteY30360" fmla="*/ 2435363 h 7458372"/>
              <a:gd name="connsiteX30361" fmla="*/ 3533288 w 10505529"/>
              <a:gd name="connsiteY30361" fmla="*/ 2444681 h 7458372"/>
              <a:gd name="connsiteX30362" fmla="*/ 3523970 w 10505529"/>
              <a:gd name="connsiteY30362" fmla="*/ 2450938 h 7458372"/>
              <a:gd name="connsiteX30363" fmla="*/ 3512254 w 10505529"/>
              <a:gd name="connsiteY30363" fmla="*/ 2453201 h 7458372"/>
              <a:gd name="connsiteX30364" fmla="*/ 3490421 w 10505529"/>
              <a:gd name="connsiteY30364" fmla="*/ 2444681 h 7458372"/>
              <a:gd name="connsiteX30365" fmla="*/ 3482034 w 10505529"/>
              <a:gd name="connsiteY30365" fmla="*/ 2423515 h 7458372"/>
              <a:gd name="connsiteX30366" fmla="*/ 3490421 w 10505529"/>
              <a:gd name="connsiteY30366" fmla="*/ 2402482 h 7458372"/>
              <a:gd name="connsiteX30367" fmla="*/ 3512254 w 10505529"/>
              <a:gd name="connsiteY30367" fmla="*/ 2393830 h 7458372"/>
              <a:gd name="connsiteX30368" fmla="*/ 3294736 w 10505529"/>
              <a:gd name="connsiteY30368" fmla="*/ 2393830 h 7458372"/>
              <a:gd name="connsiteX30369" fmla="*/ 3306451 w 10505529"/>
              <a:gd name="connsiteY30369" fmla="*/ 2396493 h 7458372"/>
              <a:gd name="connsiteX30370" fmla="*/ 3315769 w 10505529"/>
              <a:gd name="connsiteY30370" fmla="*/ 2402882 h 7458372"/>
              <a:gd name="connsiteX30371" fmla="*/ 3321892 w 10505529"/>
              <a:gd name="connsiteY30371" fmla="*/ 2412201 h 7458372"/>
              <a:gd name="connsiteX30372" fmla="*/ 3324155 w 10505529"/>
              <a:gd name="connsiteY30372" fmla="*/ 2423650 h 7458372"/>
              <a:gd name="connsiteX30373" fmla="*/ 3321892 w 10505529"/>
              <a:gd name="connsiteY30373" fmla="*/ 2435363 h 7458372"/>
              <a:gd name="connsiteX30374" fmla="*/ 3315769 w 10505529"/>
              <a:gd name="connsiteY30374" fmla="*/ 2444681 h 7458372"/>
              <a:gd name="connsiteX30375" fmla="*/ 3306451 w 10505529"/>
              <a:gd name="connsiteY30375" fmla="*/ 2450938 h 7458372"/>
              <a:gd name="connsiteX30376" fmla="*/ 3294736 w 10505529"/>
              <a:gd name="connsiteY30376" fmla="*/ 2453201 h 7458372"/>
              <a:gd name="connsiteX30377" fmla="*/ 3272901 w 10505529"/>
              <a:gd name="connsiteY30377" fmla="*/ 2444681 h 7458372"/>
              <a:gd name="connsiteX30378" fmla="*/ 3264514 w 10505529"/>
              <a:gd name="connsiteY30378" fmla="*/ 2423515 h 7458372"/>
              <a:gd name="connsiteX30379" fmla="*/ 3272901 w 10505529"/>
              <a:gd name="connsiteY30379" fmla="*/ 2402482 h 7458372"/>
              <a:gd name="connsiteX30380" fmla="*/ 3294736 w 10505529"/>
              <a:gd name="connsiteY30380" fmla="*/ 2393830 h 7458372"/>
              <a:gd name="connsiteX30381" fmla="*/ 3077083 w 10505529"/>
              <a:gd name="connsiteY30381" fmla="*/ 2393830 h 7458372"/>
              <a:gd name="connsiteX30382" fmla="*/ 3088799 w 10505529"/>
              <a:gd name="connsiteY30382" fmla="*/ 2396493 h 7458372"/>
              <a:gd name="connsiteX30383" fmla="*/ 3098117 w 10505529"/>
              <a:gd name="connsiteY30383" fmla="*/ 2402882 h 7458372"/>
              <a:gd name="connsiteX30384" fmla="*/ 3104240 w 10505529"/>
              <a:gd name="connsiteY30384" fmla="*/ 2412201 h 7458372"/>
              <a:gd name="connsiteX30385" fmla="*/ 3106503 w 10505529"/>
              <a:gd name="connsiteY30385" fmla="*/ 2423650 h 7458372"/>
              <a:gd name="connsiteX30386" fmla="*/ 3104240 w 10505529"/>
              <a:gd name="connsiteY30386" fmla="*/ 2435363 h 7458372"/>
              <a:gd name="connsiteX30387" fmla="*/ 3098117 w 10505529"/>
              <a:gd name="connsiteY30387" fmla="*/ 2444681 h 7458372"/>
              <a:gd name="connsiteX30388" fmla="*/ 3088799 w 10505529"/>
              <a:gd name="connsiteY30388" fmla="*/ 2450938 h 7458372"/>
              <a:gd name="connsiteX30389" fmla="*/ 3077083 w 10505529"/>
              <a:gd name="connsiteY30389" fmla="*/ 2453201 h 7458372"/>
              <a:gd name="connsiteX30390" fmla="*/ 3055249 w 10505529"/>
              <a:gd name="connsiteY30390" fmla="*/ 2444681 h 7458372"/>
              <a:gd name="connsiteX30391" fmla="*/ 3046863 w 10505529"/>
              <a:gd name="connsiteY30391" fmla="*/ 2423515 h 7458372"/>
              <a:gd name="connsiteX30392" fmla="*/ 3055249 w 10505529"/>
              <a:gd name="connsiteY30392" fmla="*/ 2402482 h 7458372"/>
              <a:gd name="connsiteX30393" fmla="*/ 3077083 w 10505529"/>
              <a:gd name="connsiteY30393" fmla="*/ 2393830 h 7458372"/>
              <a:gd name="connsiteX30394" fmla="*/ 2859432 w 10505529"/>
              <a:gd name="connsiteY30394" fmla="*/ 2393830 h 7458372"/>
              <a:gd name="connsiteX30395" fmla="*/ 2871280 w 10505529"/>
              <a:gd name="connsiteY30395" fmla="*/ 2396493 h 7458372"/>
              <a:gd name="connsiteX30396" fmla="*/ 2880598 w 10505529"/>
              <a:gd name="connsiteY30396" fmla="*/ 2402882 h 7458372"/>
              <a:gd name="connsiteX30397" fmla="*/ 2886721 w 10505529"/>
              <a:gd name="connsiteY30397" fmla="*/ 2412201 h 7458372"/>
              <a:gd name="connsiteX30398" fmla="*/ 2888984 w 10505529"/>
              <a:gd name="connsiteY30398" fmla="*/ 2423650 h 7458372"/>
              <a:gd name="connsiteX30399" fmla="*/ 2886721 w 10505529"/>
              <a:gd name="connsiteY30399" fmla="*/ 2435363 h 7458372"/>
              <a:gd name="connsiteX30400" fmla="*/ 2880598 w 10505529"/>
              <a:gd name="connsiteY30400" fmla="*/ 2444681 h 7458372"/>
              <a:gd name="connsiteX30401" fmla="*/ 2871280 w 10505529"/>
              <a:gd name="connsiteY30401" fmla="*/ 2450938 h 7458372"/>
              <a:gd name="connsiteX30402" fmla="*/ 2859432 w 10505529"/>
              <a:gd name="connsiteY30402" fmla="*/ 2453201 h 7458372"/>
              <a:gd name="connsiteX30403" fmla="*/ 2837598 w 10505529"/>
              <a:gd name="connsiteY30403" fmla="*/ 2444681 h 7458372"/>
              <a:gd name="connsiteX30404" fmla="*/ 2829211 w 10505529"/>
              <a:gd name="connsiteY30404" fmla="*/ 2423515 h 7458372"/>
              <a:gd name="connsiteX30405" fmla="*/ 2837598 w 10505529"/>
              <a:gd name="connsiteY30405" fmla="*/ 2402482 h 7458372"/>
              <a:gd name="connsiteX30406" fmla="*/ 2859432 w 10505529"/>
              <a:gd name="connsiteY30406" fmla="*/ 2393830 h 7458372"/>
              <a:gd name="connsiteX30407" fmla="*/ 2641779 w 10505529"/>
              <a:gd name="connsiteY30407" fmla="*/ 2393830 h 7458372"/>
              <a:gd name="connsiteX30408" fmla="*/ 2653495 w 10505529"/>
              <a:gd name="connsiteY30408" fmla="*/ 2396493 h 7458372"/>
              <a:gd name="connsiteX30409" fmla="*/ 2662813 w 10505529"/>
              <a:gd name="connsiteY30409" fmla="*/ 2402882 h 7458372"/>
              <a:gd name="connsiteX30410" fmla="*/ 2668936 w 10505529"/>
              <a:gd name="connsiteY30410" fmla="*/ 2412201 h 7458372"/>
              <a:gd name="connsiteX30411" fmla="*/ 2671199 w 10505529"/>
              <a:gd name="connsiteY30411" fmla="*/ 2423650 h 7458372"/>
              <a:gd name="connsiteX30412" fmla="*/ 2668936 w 10505529"/>
              <a:gd name="connsiteY30412" fmla="*/ 2435363 h 7458372"/>
              <a:gd name="connsiteX30413" fmla="*/ 2662813 w 10505529"/>
              <a:gd name="connsiteY30413" fmla="*/ 2444681 h 7458372"/>
              <a:gd name="connsiteX30414" fmla="*/ 2653495 w 10505529"/>
              <a:gd name="connsiteY30414" fmla="*/ 2450938 h 7458372"/>
              <a:gd name="connsiteX30415" fmla="*/ 2641779 w 10505529"/>
              <a:gd name="connsiteY30415" fmla="*/ 2453201 h 7458372"/>
              <a:gd name="connsiteX30416" fmla="*/ 2619947 w 10505529"/>
              <a:gd name="connsiteY30416" fmla="*/ 2444681 h 7458372"/>
              <a:gd name="connsiteX30417" fmla="*/ 2611560 w 10505529"/>
              <a:gd name="connsiteY30417" fmla="*/ 2423515 h 7458372"/>
              <a:gd name="connsiteX30418" fmla="*/ 2619947 w 10505529"/>
              <a:gd name="connsiteY30418" fmla="*/ 2402482 h 7458372"/>
              <a:gd name="connsiteX30419" fmla="*/ 2641779 w 10505529"/>
              <a:gd name="connsiteY30419" fmla="*/ 2393830 h 7458372"/>
              <a:gd name="connsiteX30420" fmla="*/ 2424127 w 10505529"/>
              <a:gd name="connsiteY30420" fmla="*/ 2393830 h 7458372"/>
              <a:gd name="connsiteX30421" fmla="*/ 2435843 w 10505529"/>
              <a:gd name="connsiteY30421" fmla="*/ 2396493 h 7458372"/>
              <a:gd name="connsiteX30422" fmla="*/ 2445161 w 10505529"/>
              <a:gd name="connsiteY30422" fmla="*/ 2402882 h 7458372"/>
              <a:gd name="connsiteX30423" fmla="*/ 2451284 w 10505529"/>
              <a:gd name="connsiteY30423" fmla="*/ 2412201 h 7458372"/>
              <a:gd name="connsiteX30424" fmla="*/ 2453547 w 10505529"/>
              <a:gd name="connsiteY30424" fmla="*/ 2423650 h 7458372"/>
              <a:gd name="connsiteX30425" fmla="*/ 2451284 w 10505529"/>
              <a:gd name="connsiteY30425" fmla="*/ 2435363 h 7458372"/>
              <a:gd name="connsiteX30426" fmla="*/ 2445161 w 10505529"/>
              <a:gd name="connsiteY30426" fmla="*/ 2444681 h 7458372"/>
              <a:gd name="connsiteX30427" fmla="*/ 2435843 w 10505529"/>
              <a:gd name="connsiteY30427" fmla="*/ 2450938 h 7458372"/>
              <a:gd name="connsiteX30428" fmla="*/ 2424127 w 10505529"/>
              <a:gd name="connsiteY30428" fmla="*/ 2453201 h 7458372"/>
              <a:gd name="connsiteX30429" fmla="*/ 2402295 w 10505529"/>
              <a:gd name="connsiteY30429" fmla="*/ 2444681 h 7458372"/>
              <a:gd name="connsiteX30430" fmla="*/ 2393908 w 10505529"/>
              <a:gd name="connsiteY30430" fmla="*/ 2423515 h 7458372"/>
              <a:gd name="connsiteX30431" fmla="*/ 2402295 w 10505529"/>
              <a:gd name="connsiteY30431" fmla="*/ 2402482 h 7458372"/>
              <a:gd name="connsiteX30432" fmla="*/ 2424127 w 10505529"/>
              <a:gd name="connsiteY30432" fmla="*/ 2393830 h 7458372"/>
              <a:gd name="connsiteX30433" fmla="*/ 2206475 w 10505529"/>
              <a:gd name="connsiteY30433" fmla="*/ 2393830 h 7458372"/>
              <a:gd name="connsiteX30434" fmla="*/ 2218190 w 10505529"/>
              <a:gd name="connsiteY30434" fmla="*/ 2396493 h 7458372"/>
              <a:gd name="connsiteX30435" fmla="*/ 2227509 w 10505529"/>
              <a:gd name="connsiteY30435" fmla="*/ 2402882 h 7458372"/>
              <a:gd name="connsiteX30436" fmla="*/ 2233632 w 10505529"/>
              <a:gd name="connsiteY30436" fmla="*/ 2412201 h 7458372"/>
              <a:gd name="connsiteX30437" fmla="*/ 2235895 w 10505529"/>
              <a:gd name="connsiteY30437" fmla="*/ 2423650 h 7458372"/>
              <a:gd name="connsiteX30438" fmla="*/ 2233632 w 10505529"/>
              <a:gd name="connsiteY30438" fmla="*/ 2435363 h 7458372"/>
              <a:gd name="connsiteX30439" fmla="*/ 2227509 w 10505529"/>
              <a:gd name="connsiteY30439" fmla="*/ 2444681 h 7458372"/>
              <a:gd name="connsiteX30440" fmla="*/ 2218190 w 10505529"/>
              <a:gd name="connsiteY30440" fmla="*/ 2450938 h 7458372"/>
              <a:gd name="connsiteX30441" fmla="*/ 2206475 w 10505529"/>
              <a:gd name="connsiteY30441" fmla="*/ 2453201 h 7458372"/>
              <a:gd name="connsiteX30442" fmla="*/ 2184643 w 10505529"/>
              <a:gd name="connsiteY30442" fmla="*/ 2444681 h 7458372"/>
              <a:gd name="connsiteX30443" fmla="*/ 2176256 w 10505529"/>
              <a:gd name="connsiteY30443" fmla="*/ 2423515 h 7458372"/>
              <a:gd name="connsiteX30444" fmla="*/ 2184643 w 10505529"/>
              <a:gd name="connsiteY30444" fmla="*/ 2402482 h 7458372"/>
              <a:gd name="connsiteX30445" fmla="*/ 2206475 w 10505529"/>
              <a:gd name="connsiteY30445" fmla="*/ 2393830 h 7458372"/>
              <a:gd name="connsiteX30446" fmla="*/ 1988956 w 10505529"/>
              <a:gd name="connsiteY30446" fmla="*/ 2393830 h 7458372"/>
              <a:gd name="connsiteX30447" fmla="*/ 2000671 w 10505529"/>
              <a:gd name="connsiteY30447" fmla="*/ 2396493 h 7458372"/>
              <a:gd name="connsiteX30448" fmla="*/ 2009989 w 10505529"/>
              <a:gd name="connsiteY30448" fmla="*/ 2402882 h 7458372"/>
              <a:gd name="connsiteX30449" fmla="*/ 2016113 w 10505529"/>
              <a:gd name="connsiteY30449" fmla="*/ 2412201 h 7458372"/>
              <a:gd name="connsiteX30450" fmla="*/ 2018376 w 10505529"/>
              <a:gd name="connsiteY30450" fmla="*/ 2423650 h 7458372"/>
              <a:gd name="connsiteX30451" fmla="*/ 2016113 w 10505529"/>
              <a:gd name="connsiteY30451" fmla="*/ 2435363 h 7458372"/>
              <a:gd name="connsiteX30452" fmla="*/ 2009989 w 10505529"/>
              <a:gd name="connsiteY30452" fmla="*/ 2444681 h 7458372"/>
              <a:gd name="connsiteX30453" fmla="*/ 2000671 w 10505529"/>
              <a:gd name="connsiteY30453" fmla="*/ 2450938 h 7458372"/>
              <a:gd name="connsiteX30454" fmla="*/ 1988956 w 10505529"/>
              <a:gd name="connsiteY30454" fmla="*/ 2453201 h 7458372"/>
              <a:gd name="connsiteX30455" fmla="*/ 1967125 w 10505529"/>
              <a:gd name="connsiteY30455" fmla="*/ 2444681 h 7458372"/>
              <a:gd name="connsiteX30456" fmla="*/ 1958739 w 10505529"/>
              <a:gd name="connsiteY30456" fmla="*/ 2423515 h 7458372"/>
              <a:gd name="connsiteX30457" fmla="*/ 1967125 w 10505529"/>
              <a:gd name="connsiteY30457" fmla="*/ 2402482 h 7458372"/>
              <a:gd name="connsiteX30458" fmla="*/ 1988956 w 10505529"/>
              <a:gd name="connsiteY30458" fmla="*/ 2393830 h 7458372"/>
              <a:gd name="connsiteX30459" fmla="*/ 1771316 w 10505529"/>
              <a:gd name="connsiteY30459" fmla="*/ 2393830 h 7458372"/>
              <a:gd name="connsiteX30460" fmla="*/ 1783031 w 10505529"/>
              <a:gd name="connsiteY30460" fmla="*/ 2396493 h 7458372"/>
              <a:gd name="connsiteX30461" fmla="*/ 1792348 w 10505529"/>
              <a:gd name="connsiteY30461" fmla="*/ 2402882 h 7458372"/>
              <a:gd name="connsiteX30462" fmla="*/ 1798472 w 10505529"/>
              <a:gd name="connsiteY30462" fmla="*/ 2412201 h 7458372"/>
              <a:gd name="connsiteX30463" fmla="*/ 1800734 w 10505529"/>
              <a:gd name="connsiteY30463" fmla="*/ 2423650 h 7458372"/>
              <a:gd name="connsiteX30464" fmla="*/ 1798472 w 10505529"/>
              <a:gd name="connsiteY30464" fmla="*/ 2435363 h 7458372"/>
              <a:gd name="connsiteX30465" fmla="*/ 1792348 w 10505529"/>
              <a:gd name="connsiteY30465" fmla="*/ 2444681 h 7458372"/>
              <a:gd name="connsiteX30466" fmla="*/ 1783031 w 10505529"/>
              <a:gd name="connsiteY30466" fmla="*/ 2450938 h 7458372"/>
              <a:gd name="connsiteX30467" fmla="*/ 1771316 w 10505529"/>
              <a:gd name="connsiteY30467" fmla="*/ 2453201 h 7458372"/>
              <a:gd name="connsiteX30468" fmla="*/ 1749486 w 10505529"/>
              <a:gd name="connsiteY30468" fmla="*/ 2444681 h 7458372"/>
              <a:gd name="connsiteX30469" fmla="*/ 1741101 w 10505529"/>
              <a:gd name="connsiteY30469" fmla="*/ 2423515 h 7458372"/>
              <a:gd name="connsiteX30470" fmla="*/ 1749486 w 10505529"/>
              <a:gd name="connsiteY30470" fmla="*/ 2402482 h 7458372"/>
              <a:gd name="connsiteX30471" fmla="*/ 1771316 w 10505529"/>
              <a:gd name="connsiteY30471" fmla="*/ 2393830 h 7458372"/>
              <a:gd name="connsiteX30472" fmla="*/ 1553674 w 10505529"/>
              <a:gd name="connsiteY30472" fmla="*/ 2393830 h 7458372"/>
              <a:gd name="connsiteX30473" fmla="*/ 1565389 w 10505529"/>
              <a:gd name="connsiteY30473" fmla="*/ 2396493 h 7458372"/>
              <a:gd name="connsiteX30474" fmla="*/ 1574707 w 10505529"/>
              <a:gd name="connsiteY30474" fmla="*/ 2402882 h 7458372"/>
              <a:gd name="connsiteX30475" fmla="*/ 1580831 w 10505529"/>
              <a:gd name="connsiteY30475" fmla="*/ 2412201 h 7458372"/>
              <a:gd name="connsiteX30476" fmla="*/ 1583094 w 10505529"/>
              <a:gd name="connsiteY30476" fmla="*/ 2423650 h 7458372"/>
              <a:gd name="connsiteX30477" fmla="*/ 1580831 w 10505529"/>
              <a:gd name="connsiteY30477" fmla="*/ 2435363 h 7458372"/>
              <a:gd name="connsiteX30478" fmla="*/ 1574707 w 10505529"/>
              <a:gd name="connsiteY30478" fmla="*/ 2444681 h 7458372"/>
              <a:gd name="connsiteX30479" fmla="*/ 1565389 w 10505529"/>
              <a:gd name="connsiteY30479" fmla="*/ 2450938 h 7458372"/>
              <a:gd name="connsiteX30480" fmla="*/ 1553674 w 10505529"/>
              <a:gd name="connsiteY30480" fmla="*/ 2453201 h 7458372"/>
              <a:gd name="connsiteX30481" fmla="*/ 1531843 w 10505529"/>
              <a:gd name="connsiteY30481" fmla="*/ 2444681 h 7458372"/>
              <a:gd name="connsiteX30482" fmla="*/ 1523457 w 10505529"/>
              <a:gd name="connsiteY30482" fmla="*/ 2423515 h 7458372"/>
              <a:gd name="connsiteX30483" fmla="*/ 1531843 w 10505529"/>
              <a:gd name="connsiteY30483" fmla="*/ 2402482 h 7458372"/>
              <a:gd name="connsiteX30484" fmla="*/ 1553674 w 10505529"/>
              <a:gd name="connsiteY30484" fmla="*/ 2393830 h 7458372"/>
              <a:gd name="connsiteX30485" fmla="*/ 1336029 w 10505529"/>
              <a:gd name="connsiteY30485" fmla="*/ 2393830 h 7458372"/>
              <a:gd name="connsiteX30486" fmla="*/ 1347746 w 10505529"/>
              <a:gd name="connsiteY30486" fmla="*/ 2396493 h 7458372"/>
              <a:gd name="connsiteX30487" fmla="*/ 1357064 w 10505529"/>
              <a:gd name="connsiteY30487" fmla="*/ 2402882 h 7458372"/>
              <a:gd name="connsiteX30488" fmla="*/ 1363186 w 10505529"/>
              <a:gd name="connsiteY30488" fmla="*/ 2412201 h 7458372"/>
              <a:gd name="connsiteX30489" fmla="*/ 1365449 w 10505529"/>
              <a:gd name="connsiteY30489" fmla="*/ 2423650 h 7458372"/>
              <a:gd name="connsiteX30490" fmla="*/ 1363186 w 10505529"/>
              <a:gd name="connsiteY30490" fmla="*/ 2435363 h 7458372"/>
              <a:gd name="connsiteX30491" fmla="*/ 1357064 w 10505529"/>
              <a:gd name="connsiteY30491" fmla="*/ 2444681 h 7458372"/>
              <a:gd name="connsiteX30492" fmla="*/ 1347746 w 10505529"/>
              <a:gd name="connsiteY30492" fmla="*/ 2450938 h 7458372"/>
              <a:gd name="connsiteX30493" fmla="*/ 1336029 w 10505529"/>
              <a:gd name="connsiteY30493" fmla="*/ 2453201 h 7458372"/>
              <a:gd name="connsiteX30494" fmla="*/ 1314198 w 10505529"/>
              <a:gd name="connsiteY30494" fmla="*/ 2444681 h 7458372"/>
              <a:gd name="connsiteX30495" fmla="*/ 1305812 w 10505529"/>
              <a:gd name="connsiteY30495" fmla="*/ 2423515 h 7458372"/>
              <a:gd name="connsiteX30496" fmla="*/ 1314198 w 10505529"/>
              <a:gd name="connsiteY30496" fmla="*/ 2402482 h 7458372"/>
              <a:gd name="connsiteX30497" fmla="*/ 1336029 w 10505529"/>
              <a:gd name="connsiteY30497" fmla="*/ 2393830 h 7458372"/>
              <a:gd name="connsiteX30498" fmla="*/ 1118385 w 10505529"/>
              <a:gd name="connsiteY30498" fmla="*/ 2393830 h 7458372"/>
              <a:gd name="connsiteX30499" fmla="*/ 1130102 w 10505529"/>
              <a:gd name="connsiteY30499" fmla="*/ 2396493 h 7458372"/>
              <a:gd name="connsiteX30500" fmla="*/ 1139419 w 10505529"/>
              <a:gd name="connsiteY30500" fmla="*/ 2402882 h 7458372"/>
              <a:gd name="connsiteX30501" fmla="*/ 1145540 w 10505529"/>
              <a:gd name="connsiteY30501" fmla="*/ 2412201 h 7458372"/>
              <a:gd name="connsiteX30502" fmla="*/ 1147803 w 10505529"/>
              <a:gd name="connsiteY30502" fmla="*/ 2423650 h 7458372"/>
              <a:gd name="connsiteX30503" fmla="*/ 1145540 w 10505529"/>
              <a:gd name="connsiteY30503" fmla="*/ 2435363 h 7458372"/>
              <a:gd name="connsiteX30504" fmla="*/ 1139419 w 10505529"/>
              <a:gd name="connsiteY30504" fmla="*/ 2444681 h 7458372"/>
              <a:gd name="connsiteX30505" fmla="*/ 1130102 w 10505529"/>
              <a:gd name="connsiteY30505" fmla="*/ 2450938 h 7458372"/>
              <a:gd name="connsiteX30506" fmla="*/ 1118385 w 10505529"/>
              <a:gd name="connsiteY30506" fmla="*/ 2453201 h 7458372"/>
              <a:gd name="connsiteX30507" fmla="*/ 1096552 w 10505529"/>
              <a:gd name="connsiteY30507" fmla="*/ 2444681 h 7458372"/>
              <a:gd name="connsiteX30508" fmla="*/ 1088167 w 10505529"/>
              <a:gd name="connsiteY30508" fmla="*/ 2423515 h 7458372"/>
              <a:gd name="connsiteX30509" fmla="*/ 1096552 w 10505529"/>
              <a:gd name="connsiteY30509" fmla="*/ 2402482 h 7458372"/>
              <a:gd name="connsiteX30510" fmla="*/ 1118385 w 10505529"/>
              <a:gd name="connsiteY30510" fmla="*/ 2393830 h 7458372"/>
              <a:gd name="connsiteX30511" fmla="*/ 900873 w 10505529"/>
              <a:gd name="connsiteY30511" fmla="*/ 2393830 h 7458372"/>
              <a:gd name="connsiteX30512" fmla="*/ 912588 w 10505529"/>
              <a:gd name="connsiteY30512" fmla="*/ 2396493 h 7458372"/>
              <a:gd name="connsiteX30513" fmla="*/ 921906 w 10505529"/>
              <a:gd name="connsiteY30513" fmla="*/ 2402882 h 7458372"/>
              <a:gd name="connsiteX30514" fmla="*/ 928028 w 10505529"/>
              <a:gd name="connsiteY30514" fmla="*/ 2412201 h 7458372"/>
              <a:gd name="connsiteX30515" fmla="*/ 930292 w 10505529"/>
              <a:gd name="connsiteY30515" fmla="*/ 2423650 h 7458372"/>
              <a:gd name="connsiteX30516" fmla="*/ 928028 w 10505529"/>
              <a:gd name="connsiteY30516" fmla="*/ 2435363 h 7458372"/>
              <a:gd name="connsiteX30517" fmla="*/ 921906 w 10505529"/>
              <a:gd name="connsiteY30517" fmla="*/ 2444681 h 7458372"/>
              <a:gd name="connsiteX30518" fmla="*/ 912588 w 10505529"/>
              <a:gd name="connsiteY30518" fmla="*/ 2450938 h 7458372"/>
              <a:gd name="connsiteX30519" fmla="*/ 900873 w 10505529"/>
              <a:gd name="connsiteY30519" fmla="*/ 2453201 h 7458372"/>
              <a:gd name="connsiteX30520" fmla="*/ 879042 w 10505529"/>
              <a:gd name="connsiteY30520" fmla="*/ 2444681 h 7458372"/>
              <a:gd name="connsiteX30521" fmla="*/ 870656 w 10505529"/>
              <a:gd name="connsiteY30521" fmla="*/ 2423515 h 7458372"/>
              <a:gd name="connsiteX30522" fmla="*/ 879042 w 10505529"/>
              <a:gd name="connsiteY30522" fmla="*/ 2402482 h 7458372"/>
              <a:gd name="connsiteX30523" fmla="*/ 900873 w 10505529"/>
              <a:gd name="connsiteY30523" fmla="*/ 2393830 h 7458372"/>
              <a:gd name="connsiteX30524" fmla="*/ 683230 w 10505529"/>
              <a:gd name="connsiteY30524" fmla="*/ 2393830 h 7458372"/>
              <a:gd name="connsiteX30525" fmla="*/ 694945 w 10505529"/>
              <a:gd name="connsiteY30525" fmla="*/ 2396493 h 7458372"/>
              <a:gd name="connsiteX30526" fmla="*/ 704263 w 10505529"/>
              <a:gd name="connsiteY30526" fmla="*/ 2402882 h 7458372"/>
              <a:gd name="connsiteX30527" fmla="*/ 710386 w 10505529"/>
              <a:gd name="connsiteY30527" fmla="*/ 2412201 h 7458372"/>
              <a:gd name="connsiteX30528" fmla="*/ 712649 w 10505529"/>
              <a:gd name="connsiteY30528" fmla="*/ 2423650 h 7458372"/>
              <a:gd name="connsiteX30529" fmla="*/ 710386 w 10505529"/>
              <a:gd name="connsiteY30529" fmla="*/ 2435363 h 7458372"/>
              <a:gd name="connsiteX30530" fmla="*/ 704263 w 10505529"/>
              <a:gd name="connsiteY30530" fmla="*/ 2444681 h 7458372"/>
              <a:gd name="connsiteX30531" fmla="*/ 694945 w 10505529"/>
              <a:gd name="connsiteY30531" fmla="*/ 2450938 h 7458372"/>
              <a:gd name="connsiteX30532" fmla="*/ 683230 w 10505529"/>
              <a:gd name="connsiteY30532" fmla="*/ 2453201 h 7458372"/>
              <a:gd name="connsiteX30533" fmla="*/ 661398 w 10505529"/>
              <a:gd name="connsiteY30533" fmla="*/ 2444681 h 7458372"/>
              <a:gd name="connsiteX30534" fmla="*/ 653012 w 10505529"/>
              <a:gd name="connsiteY30534" fmla="*/ 2423515 h 7458372"/>
              <a:gd name="connsiteX30535" fmla="*/ 661398 w 10505529"/>
              <a:gd name="connsiteY30535" fmla="*/ 2402482 h 7458372"/>
              <a:gd name="connsiteX30536" fmla="*/ 683230 w 10505529"/>
              <a:gd name="connsiteY30536" fmla="*/ 2393830 h 7458372"/>
              <a:gd name="connsiteX30537" fmla="*/ 465586 w 10505529"/>
              <a:gd name="connsiteY30537" fmla="*/ 2393830 h 7458372"/>
              <a:gd name="connsiteX30538" fmla="*/ 477302 w 10505529"/>
              <a:gd name="connsiteY30538" fmla="*/ 2396493 h 7458372"/>
              <a:gd name="connsiteX30539" fmla="*/ 486620 w 10505529"/>
              <a:gd name="connsiteY30539" fmla="*/ 2402882 h 7458372"/>
              <a:gd name="connsiteX30540" fmla="*/ 492743 w 10505529"/>
              <a:gd name="connsiteY30540" fmla="*/ 2412201 h 7458372"/>
              <a:gd name="connsiteX30541" fmla="*/ 495006 w 10505529"/>
              <a:gd name="connsiteY30541" fmla="*/ 2423650 h 7458372"/>
              <a:gd name="connsiteX30542" fmla="*/ 492743 w 10505529"/>
              <a:gd name="connsiteY30542" fmla="*/ 2435363 h 7458372"/>
              <a:gd name="connsiteX30543" fmla="*/ 486620 w 10505529"/>
              <a:gd name="connsiteY30543" fmla="*/ 2444681 h 7458372"/>
              <a:gd name="connsiteX30544" fmla="*/ 477302 w 10505529"/>
              <a:gd name="connsiteY30544" fmla="*/ 2450938 h 7458372"/>
              <a:gd name="connsiteX30545" fmla="*/ 465586 w 10505529"/>
              <a:gd name="connsiteY30545" fmla="*/ 2453201 h 7458372"/>
              <a:gd name="connsiteX30546" fmla="*/ 443755 w 10505529"/>
              <a:gd name="connsiteY30546" fmla="*/ 2444681 h 7458372"/>
              <a:gd name="connsiteX30547" fmla="*/ 435369 w 10505529"/>
              <a:gd name="connsiteY30547" fmla="*/ 2423515 h 7458372"/>
              <a:gd name="connsiteX30548" fmla="*/ 443755 w 10505529"/>
              <a:gd name="connsiteY30548" fmla="*/ 2402482 h 7458372"/>
              <a:gd name="connsiteX30549" fmla="*/ 465586 w 10505529"/>
              <a:gd name="connsiteY30549" fmla="*/ 2393830 h 7458372"/>
              <a:gd name="connsiteX30550" fmla="*/ 247943 w 10505529"/>
              <a:gd name="connsiteY30550" fmla="*/ 2393830 h 7458372"/>
              <a:gd name="connsiteX30551" fmla="*/ 259658 w 10505529"/>
              <a:gd name="connsiteY30551" fmla="*/ 2396493 h 7458372"/>
              <a:gd name="connsiteX30552" fmla="*/ 268976 w 10505529"/>
              <a:gd name="connsiteY30552" fmla="*/ 2402882 h 7458372"/>
              <a:gd name="connsiteX30553" fmla="*/ 275099 w 10505529"/>
              <a:gd name="connsiteY30553" fmla="*/ 2412201 h 7458372"/>
              <a:gd name="connsiteX30554" fmla="*/ 277362 w 10505529"/>
              <a:gd name="connsiteY30554" fmla="*/ 2423650 h 7458372"/>
              <a:gd name="connsiteX30555" fmla="*/ 275099 w 10505529"/>
              <a:gd name="connsiteY30555" fmla="*/ 2435363 h 7458372"/>
              <a:gd name="connsiteX30556" fmla="*/ 268976 w 10505529"/>
              <a:gd name="connsiteY30556" fmla="*/ 2444681 h 7458372"/>
              <a:gd name="connsiteX30557" fmla="*/ 259658 w 10505529"/>
              <a:gd name="connsiteY30557" fmla="*/ 2450938 h 7458372"/>
              <a:gd name="connsiteX30558" fmla="*/ 247943 w 10505529"/>
              <a:gd name="connsiteY30558" fmla="*/ 2453201 h 7458372"/>
              <a:gd name="connsiteX30559" fmla="*/ 226113 w 10505529"/>
              <a:gd name="connsiteY30559" fmla="*/ 2444681 h 7458372"/>
              <a:gd name="connsiteX30560" fmla="*/ 217727 w 10505529"/>
              <a:gd name="connsiteY30560" fmla="*/ 2423515 h 7458372"/>
              <a:gd name="connsiteX30561" fmla="*/ 226113 w 10505529"/>
              <a:gd name="connsiteY30561" fmla="*/ 2402482 h 7458372"/>
              <a:gd name="connsiteX30562" fmla="*/ 247943 w 10505529"/>
              <a:gd name="connsiteY30562" fmla="*/ 2393830 h 7458372"/>
              <a:gd name="connsiteX30563" fmla="*/ 30300 w 10505529"/>
              <a:gd name="connsiteY30563" fmla="*/ 2393830 h 7458372"/>
              <a:gd name="connsiteX30564" fmla="*/ 42015 w 10505529"/>
              <a:gd name="connsiteY30564" fmla="*/ 2396493 h 7458372"/>
              <a:gd name="connsiteX30565" fmla="*/ 51333 w 10505529"/>
              <a:gd name="connsiteY30565" fmla="*/ 2402882 h 7458372"/>
              <a:gd name="connsiteX30566" fmla="*/ 57456 w 10505529"/>
              <a:gd name="connsiteY30566" fmla="*/ 2412201 h 7458372"/>
              <a:gd name="connsiteX30567" fmla="*/ 59719 w 10505529"/>
              <a:gd name="connsiteY30567" fmla="*/ 2423650 h 7458372"/>
              <a:gd name="connsiteX30568" fmla="*/ 57456 w 10505529"/>
              <a:gd name="connsiteY30568" fmla="*/ 2435363 h 7458372"/>
              <a:gd name="connsiteX30569" fmla="*/ 51333 w 10505529"/>
              <a:gd name="connsiteY30569" fmla="*/ 2444681 h 7458372"/>
              <a:gd name="connsiteX30570" fmla="*/ 42015 w 10505529"/>
              <a:gd name="connsiteY30570" fmla="*/ 2450938 h 7458372"/>
              <a:gd name="connsiteX30571" fmla="*/ 30300 w 10505529"/>
              <a:gd name="connsiteY30571" fmla="*/ 2453201 h 7458372"/>
              <a:gd name="connsiteX30572" fmla="*/ 8470 w 10505529"/>
              <a:gd name="connsiteY30572" fmla="*/ 2444681 h 7458372"/>
              <a:gd name="connsiteX30573" fmla="*/ 84 w 10505529"/>
              <a:gd name="connsiteY30573" fmla="*/ 2423515 h 7458372"/>
              <a:gd name="connsiteX30574" fmla="*/ 8470 w 10505529"/>
              <a:gd name="connsiteY30574" fmla="*/ 2402482 h 7458372"/>
              <a:gd name="connsiteX30575" fmla="*/ 30300 w 10505529"/>
              <a:gd name="connsiteY30575" fmla="*/ 2393830 h 7458372"/>
              <a:gd name="connsiteX30576" fmla="*/ 10475977 w 10505529"/>
              <a:gd name="connsiteY30576" fmla="*/ 2192826 h 7458372"/>
              <a:gd name="connsiteX30577" fmla="*/ 10465992 w 10505529"/>
              <a:gd name="connsiteY30577" fmla="*/ 2196420 h 7458372"/>
              <a:gd name="connsiteX30578" fmla="*/ 10462399 w 10505529"/>
              <a:gd name="connsiteY30578" fmla="*/ 2205871 h 7458372"/>
              <a:gd name="connsiteX30579" fmla="*/ 10465992 w 10505529"/>
              <a:gd name="connsiteY30579" fmla="*/ 2215322 h 7458372"/>
              <a:gd name="connsiteX30580" fmla="*/ 10475977 w 10505529"/>
              <a:gd name="connsiteY30580" fmla="*/ 2218783 h 7458372"/>
              <a:gd name="connsiteX30581" fmla="*/ 10481302 w 10505529"/>
              <a:gd name="connsiteY30581" fmla="*/ 2217851 h 7458372"/>
              <a:gd name="connsiteX30582" fmla="*/ 10485029 w 10505529"/>
              <a:gd name="connsiteY30582" fmla="*/ 2215455 h 7458372"/>
              <a:gd name="connsiteX30583" fmla="*/ 10487691 w 10505529"/>
              <a:gd name="connsiteY30583" fmla="*/ 2211196 h 7458372"/>
              <a:gd name="connsiteX30584" fmla="*/ 10488623 w 10505529"/>
              <a:gd name="connsiteY30584" fmla="*/ 2205738 h 7458372"/>
              <a:gd name="connsiteX30585" fmla="*/ 10487691 w 10505529"/>
              <a:gd name="connsiteY30585" fmla="*/ 2200546 h 7458372"/>
              <a:gd name="connsiteX30586" fmla="*/ 10485029 w 10505529"/>
              <a:gd name="connsiteY30586" fmla="*/ 2196420 h 7458372"/>
              <a:gd name="connsiteX30587" fmla="*/ 10481035 w 10505529"/>
              <a:gd name="connsiteY30587" fmla="*/ 2193757 h 7458372"/>
              <a:gd name="connsiteX30588" fmla="*/ 10475977 w 10505529"/>
              <a:gd name="connsiteY30588" fmla="*/ 2192826 h 7458372"/>
              <a:gd name="connsiteX30589" fmla="*/ 10258466 w 10505529"/>
              <a:gd name="connsiteY30589" fmla="*/ 2192826 h 7458372"/>
              <a:gd name="connsiteX30590" fmla="*/ 10248481 w 10505529"/>
              <a:gd name="connsiteY30590" fmla="*/ 2196420 h 7458372"/>
              <a:gd name="connsiteX30591" fmla="*/ 10244887 w 10505529"/>
              <a:gd name="connsiteY30591" fmla="*/ 2205871 h 7458372"/>
              <a:gd name="connsiteX30592" fmla="*/ 10248481 w 10505529"/>
              <a:gd name="connsiteY30592" fmla="*/ 2215322 h 7458372"/>
              <a:gd name="connsiteX30593" fmla="*/ 10258466 w 10505529"/>
              <a:gd name="connsiteY30593" fmla="*/ 2218783 h 7458372"/>
              <a:gd name="connsiteX30594" fmla="*/ 10263790 w 10505529"/>
              <a:gd name="connsiteY30594" fmla="*/ 2217851 h 7458372"/>
              <a:gd name="connsiteX30595" fmla="*/ 10267517 w 10505529"/>
              <a:gd name="connsiteY30595" fmla="*/ 2215455 h 7458372"/>
              <a:gd name="connsiteX30596" fmla="*/ 10270180 w 10505529"/>
              <a:gd name="connsiteY30596" fmla="*/ 2211196 h 7458372"/>
              <a:gd name="connsiteX30597" fmla="*/ 10271112 w 10505529"/>
              <a:gd name="connsiteY30597" fmla="*/ 2205738 h 7458372"/>
              <a:gd name="connsiteX30598" fmla="*/ 10270180 w 10505529"/>
              <a:gd name="connsiteY30598" fmla="*/ 2200546 h 7458372"/>
              <a:gd name="connsiteX30599" fmla="*/ 10267517 w 10505529"/>
              <a:gd name="connsiteY30599" fmla="*/ 2196420 h 7458372"/>
              <a:gd name="connsiteX30600" fmla="*/ 10263524 w 10505529"/>
              <a:gd name="connsiteY30600" fmla="*/ 2193757 h 7458372"/>
              <a:gd name="connsiteX30601" fmla="*/ 10258466 w 10505529"/>
              <a:gd name="connsiteY30601" fmla="*/ 2192826 h 7458372"/>
              <a:gd name="connsiteX30602" fmla="*/ 10040820 w 10505529"/>
              <a:gd name="connsiteY30602" fmla="*/ 2192826 h 7458372"/>
              <a:gd name="connsiteX30603" fmla="*/ 10030835 w 10505529"/>
              <a:gd name="connsiteY30603" fmla="*/ 2196420 h 7458372"/>
              <a:gd name="connsiteX30604" fmla="*/ 10027242 w 10505529"/>
              <a:gd name="connsiteY30604" fmla="*/ 2205871 h 7458372"/>
              <a:gd name="connsiteX30605" fmla="*/ 10030835 w 10505529"/>
              <a:gd name="connsiteY30605" fmla="*/ 2215322 h 7458372"/>
              <a:gd name="connsiteX30606" fmla="*/ 10040820 w 10505529"/>
              <a:gd name="connsiteY30606" fmla="*/ 2218783 h 7458372"/>
              <a:gd name="connsiteX30607" fmla="*/ 10046145 w 10505529"/>
              <a:gd name="connsiteY30607" fmla="*/ 2217851 h 7458372"/>
              <a:gd name="connsiteX30608" fmla="*/ 10049872 w 10505529"/>
              <a:gd name="connsiteY30608" fmla="*/ 2215455 h 7458372"/>
              <a:gd name="connsiteX30609" fmla="*/ 10052534 w 10505529"/>
              <a:gd name="connsiteY30609" fmla="*/ 2211196 h 7458372"/>
              <a:gd name="connsiteX30610" fmla="*/ 10053599 w 10505529"/>
              <a:gd name="connsiteY30610" fmla="*/ 2205738 h 7458372"/>
              <a:gd name="connsiteX30611" fmla="*/ 10052534 w 10505529"/>
              <a:gd name="connsiteY30611" fmla="*/ 2200546 h 7458372"/>
              <a:gd name="connsiteX30612" fmla="*/ 10049872 w 10505529"/>
              <a:gd name="connsiteY30612" fmla="*/ 2196420 h 7458372"/>
              <a:gd name="connsiteX30613" fmla="*/ 10045878 w 10505529"/>
              <a:gd name="connsiteY30613" fmla="*/ 2193757 h 7458372"/>
              <a:gd name="connsiteX30614" fmla="*/ 10040820 w 10505529"/>
              <a:gd name="connsiteY30614" fmla="*/ 2192826 h 7458372"/>
              <a:gd name="connsiteX30615" fmla="*/ 9823176 w 10505529"/>
              <a:gd name="connsiteY30615" fmla="*/ 2192826 h 7458372"/>
              <a:gd name="connsiteX30616" fmla="*/ 9813191 w 10505529"/>
              <a:gd name="connsiteY30616" fmla="*/ 2196420 h 7458372"/>
              <a:gd name="connsiteX30617" fmla="*/ 9809597 w 10505529"/>
              <a:gd name="connsiteY30617" fmla="*/ 2205871 h 7458372"/>
              <a:gd name="connsiteX30618" fmla="*/ 9813191 w 10505529"/>
              <a:gd name="connsiteY30618" fmla="*/ 2215322 h 7458372"/>
              <a:gd name="connsiteX30619" fmla="*/ 9823176 w 10505529"/>
              <a:gd name="connsiteY30619" fmla="*/ 2218783 h 7458372"/>
              <a:gd name="connsiteX30620" fmla="*/ 9828501 w 10505529"/>
              <a:gd name="connsiteY30620" fmla="*/ 2217851 h 7458372"/>
              <a:gd name="connsiteX30621" fmla="*/ 9832227 w 10505529"/>
              <a:gd name="connsiteY30621" fmla="*/ 2215455 h 7458372"/>
              <a:gd name="connsiteX30622" fmla="*/ 9834890 w 10505529"/>
              <a:gd name="connsiteY30622" fmla="*/ 2211196 h 7458372"/>
              <a:gd name="connsiteX30623" fmla="*/ 9835955 w 10505529"/>
              <a:gd name="connsiteY30623" fmla="*/ 2205738 h 7458372"/>
              <a:gd name="connsiteX30624" fmla="*/ 9834890 w 10505529"/>
              <a:gd name="connsiteY30624" fmla="*/ 2200546 h 7458372"/>
              <a:gd name="connsiteX30625" fmla="*/ 9832227 w 10505529"/>
              <a:gd name="connsiteY30625" fmla="*/ 2196420 h 7458372"/>
              <a:gd name="connsiteX30626" fmla="*/ 9828234 w 10505529"/>
              <a:gd name="connsiteY30626" fmla="*/ 2193757 h 7458372"/>
              <a:gd name="connsiteX30627" fmla="*/ 9823176 w 10505529"/>
              <a:gd name="connsiteY30627" fmla="*/ 2192826 h 7458372"/>
              <a:gd name="connsiteX30628" fmla="*/ 9605531 w 10505529"/>
              <a:gd name="connsiteY30628" fmla="*/ 2192826 h 7458372"/>
              <a:gd name="connsiteX30629" fmla="*/ 9595546 w 10505529"/>
              <a:gd name="connsiteY30629" fmla="*/ 2196420 h 7458372"/>
              <a:gd name="connsiteX30630" fmla="*/ 9591952 w 10505529"/>
              <a:gd name="connsiteY30630" fmla="*/ 2205871 h 7458372"/>
              <a:gd name="connsiteX30631" fmla="*/ 9595546 w 10505529"/>
              <a:gd name="connsiteY30631" fmla="*/ 2215322 h 7458372"/>
              <a:gd name="connsiteX30632" fmla="*/ 9605531 w 10505529"/>
              <a:gd name="connsiteY30632" fmla="*/ 2218783 h 7458372"/>
              <a:gd name="connsiteX30633" fmla="*/ 9610855 w 10505529"/>
              <a:gd name="connsiteY30633" fmla="*/ 2217851 h 7458372"/>
              <a:gd name="connsiteX30634" fmla="*/ 9614582 w 10505529"/>
              <a:gd name="connsiteY30634" fmla="*/ 2215455 h 7458372"/>
              <a:gd name="connsiteX30635" fmla="*/ 9617245 w 10505529"/>
              <a:gd name="connsiteY30635" fmla="*/ 2211196 h 7458372"/>
              <a:gd name="connsiteX30636" fmla="*/ 9618309 w 10505529"/>
              <a:gd name="connsiteY30636" fmla="*/ 2205738 h 7458372"/>
              <a:gd name="connsiteX30637" fmla="*/ 9617245 w 10505529"/>
              <a:gd name="connsiteY30637" fmla="*/ 2200546 h 7458372"/>
              <a:gd name="connsiteX30638" fmla="*/ 9614582 w 10505529"/>
              <a:gd name="connsiteY30638" fmla="*/ 2196420 h 7458372"/>
              <a:gd name="connsiteX30639" fmla="*/ 9610589 w 10505529"/>
              <a:gd name="connsiteY30639" fmla="*/ 2193757 h 7458372"/>
              <a:gd name="connsiteX30640" fmla="*/ 9605531 w 10505529"/>
              <a:gd name="connsiteY30640" fmla="*/ 2192826 h 7458372"/>
              <a:gd name="connsiteX30641" fmla="*/ 9387885 w 10505529"/>
              <a:gd name="connsiteY30641" fmla="*/ 2192826 h 7458372"/>
              <a:gd name="connsiteX30642" fmla="*/ 9377900 w 10505529"/>
              <a:gd name="connsiteY30642" fmla="*/ 2196420 h 7458372"/>
              <a:gd name="connsiteX30643" fmla="*/ 9374307 w 10505529"/>
              <a:gd name="connsiteY30643" fmla="*/ 2205871 h 7458372"/>
              <a:gd name="connsiteX30644" fmla="*/ 9377900 w 10505529"/>
              <a:gd name="connsiteY30644" fmla="*/ 2215322 h 7458372"/>
              <a:gd name="connsiteX30645" fmla="*/ 9387885 w 10505529"/>
              <a:gd name="connsiteY30645" fmla="*/ 2218783 h 7458372"/>
              <a:gd name="connsiteX30646" fmla="*/ 9393210 w 10505529"/>
              <a:gd name="connsiteY30646" fmla="*/ 2217851 h 7458372"/>
              <a:gd name="connsiteX30647" fmla="*/ 9396937 w 10505529"/>
              <a:gd name="connsiteY30647" fmla="*/ 2215455 h 7458372"/>
              <a:gd name="connsiteX30648" fmla="*/ 9399599 w 10505529"/>
              <a:gd name="connsiteY30648" fmla="*/ 2211196 h 7458372"/>
              <a:gd name="connsiteX30649" fmla="*/ 9400664 w 10505529"/>
              <a:gd name="connsiteY30649" fmla="*/ 2205738 h 7458372"/>
              <a:gd name="connsiteX30650" fmla="*/ 9399599 w 10505529"/>
              <a:gd name="connsiteY30650" fmla="*/ 2200546 h 7458372"/>
              <a:gd name="connsiteX30651" fmla="*/ 9396937 w 10505529"/>
              <a:gd name="connsiteY30651" fmla="*/ 2196420 h 7458372"/>
              <a:gd name="connsiteX30652" fmla="*/ 9392943 w 10505529"/>
              <a:gd name="connsiteY30652" fmla="*/ 2193757 h 7458372"/>
              <a:gd name="connsiteX30653" fmla="*/ 9387885 w 10505529"/>
              <a:gd name="connsiteY30653" fmla="*/ 2192826 h 7458372"/>
              <a:gd name="connsiteX30654" fmla="*/ 9170374 w 10505529"/>
              <a:gd name="connsiteY30654" fmla="*/ 2192826 h 7458372"/>
              <a:gd name="connsiteX30655" fmla="*/ 9160389 w 10505529"/>
              <a:gd name="connsiteY30655" fmla="*/ 2196420 h 7458372"/>
              <a:gd name="connsiteX30656" fmla="*/ 9156795 w 10505529"/>
              <a:gd name="connsiteY30656" fmla="*/ 2205871 h 7458372"/>
              <a:gd name="connsiteX30657" fmla="*/ 9160389 w 10505529"/>
              <a:gd name="connsiteY30657" fmla="*/ 2215322 h 7458372"/>
              <a:gd name="connsiteX30658" fmla="*/ 9170374 w 10505529"/>
              <a:gd name="connsiteY30658" fmla="*/ 2218783 h 7458372"/>
              <a:gd name="connsiteX30659" fmla="*/ 9175698 w 10505529"/>
              <a:gd name="connsiteY30659" fmla="*/ 2217851 h 7458372"/>
              <a:gd name="connsiteX30660" fmla="*/ 9179425 w 10505529"/>
              <a:gd name="connsiteY30660" fmla="*/ 2215455 h 7458372"/>
              <a:gd name="connsiteX30661" fmla="*/ 9182088 w 10505529"/>
              <a:gd name="connsiteY30661" fmla="*/ 2211196 h 7458372"/>
              <a:gd name="connsiteX30662" fmla="*/ 9183152 w 10505529"/>
              <a:gd name="connsiteY30662" fmla="*/ 2205738 h 7458372"/>
              <a:gd name="connsiteX30663" fmla="*/ 9182088 w 10505529"/>
              <a:gd name="connsiteY30663" fmla="*/ 2200546 h 7458372"/>
              <a:gd name="connsiteX30664" fmla="*/ 9179425 w 10505529"/>
              <a:gd name="connsiteY30664" fmla="*/ 2196420 h 7458372"/>
              <a:gd name="connsiteX30665" fmla="*/ 9175432 w 10505529"/>
              <a:gd name="connsiteY30665" fmla="*/ 2193757 h 7458372"/>
              <a:gd name="connsiteX30666" fmla="*/ 9170374 w 10505529"/>
              <a:gd name="connsiteY30666" fmla="*/ 2192826 h 7458372"/>
              <a:gd name="connsiteX30667" fmla="*/ 8952728 w 10505529"/>
              <a:gd name="connsiteY30667" fmla="*/ 2192826 h 7458372"/>
              <a:gd name="connsiteX30668" fmla="*/ 8942743 w 10505529"/>
              <a:gd name="connsiteY30668" fmla="*/ 2196420 h 7458372"/>
              <a:gd name="connsiteX30669" fmla="*/ 8939150 w 10505529"/>
              <a:gd name="connsiteY30669" fmla="*/ 2205871 h 7458372"/>
              <a:gd name="connsiteX30670" fmla="*/ 8942743 w 10505529"/>
              <a:gd name="connsiteY30670" fmla="*/ 2215322 h 7458372"/>
              <a:gd name="connsiteX30671" fmla="*/ 8952728 w 10505529"/>
              <a:gd name="connsiteY30671" fmla="*/ 2218783 h 7458372"/>
              <a:gd name="connsiteX30672" fmla="*/ 8958053 w 10505529"/>
              <a:gd name="connsiteY30672" fmla="*/ 2217851 h 7458372"/>
              <a:gd name="connsiteX30673" fmla="*/ 8961780 w 10505529"/>
              <a:gd name="connsiteY30673" fmla="*/ 2215455 h 7458372"/>
              <a:gd name="connsiteX30674" fmla="*/ 8964442 w 10505529"/>
              <a:gd name="connsiteY30674" fmla="*/ 2211196 h 7458372"/>
              <a:gd name="connsiteX30675" fmla="*/ 8965507 w 10505529"/>
              <a:gd name="connsiteY30675" fmla="*/ 2205738 h 7458372"/>
              <a:gd name="connsiteX30676" fmla="*/ 8964442 w 10505529"/>
              <a:gd name="connsiteY30676" fmla="*/ 2200546 h 7458372"/>
              <a:gd name="connsiteX30677" fmla="*/ 8961780 w 10505529"/>
              <a:gd name="connsiteY30677" fmla="*/ 2196420 h 7458372"/>
              <a:gd name="connsiteX30678" fmla="*/ 8957786 w 10505529"/>
              <a:gd name="connsiteY30678" fmla="*/ 2193757 h 7458372"/>
              <a:gd name="connsiteX30679" fmla="*/ 8952728 w 10505529"/>
              <a:gd name="connsiteY30679" fmla="*/ 2192826 h 7458372"/>
              <a:gd name="connsiteX30680" fmla="*/ 8735083 w 10505529"/>
              <a:gd name="connsiteY30680" fmla="*/ 2192826 h 7458372"/>
              <a:gd name="connsiteX30681" fmla="*/ 8725098 w 10505529"/>
              <a:gd name="connsiteY30681" fmla="*/ 2196420 h 7458372"/>
              <a:gd name="connsiteX30682" fmla="*/ 8721504 w 10505529"/>
              <a:gd name="connsiteY30682" fmla="*/ 2205871 h 7458372"/>
              <a:gd name="connsiteX30683" fmla="*/ 8725098 w 10505529"/>
              <a:gd name="connsiteY30683" fmla="*/ 2215322 h 7458372"/>
              <a:gd name="connsiteX30684" fmla="*/ 8735083 w 10505529"/>
              <a:gd name="connsiteY30684" fmla="*/ 2218783 h 7458372"/>
              <a:gd name="connsiteX30685" fmla="*/ 8740407 w 10505529"/>
              <a:gd name="connsiteY30685" fmla="*/ 2217851 h 7458372"/>
              <a:gd name="connsiteX30686" fmla="*/ 8744134 w 10505529"/>
              <a:gd name="connsiteY30686" fmla="*/ 2215455 h 7458372"/>
              <a:gd name="connsiteX30687" fmla="*/ 8746797 w 10505529"/>
              <a:gd name="connsiteY30687" fmla="*/ 2211196 h 7458372"/>
              <a:gd name="connsiteX30688" fmla="*/ 8747862 w 10505529"/>
              <a:gd name="connsiteY30688" fmla="*/ 2205738 h 7458372"/>
              <a:gd name="connsiteX30689" fmla="*/ 8746797 w 10505529"/>
              <a:gd name="connsiteY30689" fmla="*/ 2200546 h 7458372"/>
              <a:gd name="connsiteX30690" fmla="*/ 8744134 w 10505529"/>
              <a:gd name="connsiteY30690" fmla="*/ 2196420 h 7458372"/>
              <a:gd name="connsiteX30691" fmla="*/ 8740141 w 10505529"/>
              <a:gd name="connsiteY30691" fmla="*/ 2193757 h 7458372"/>
              <a:gd name="connsiteX30692" fmla="*/ 8735083 w 10505529"/>
              <a:gd name="connsiteY30692" fmla="*/ 2192826 h 7458372"/>
              <a:gd name="connsiteX30693" fmla="*/ 8517438 w 10505529"/>
              <a:gd name="connsiteY30693" fmla="*/ 2192826 h 7458372"/>
              <a:gd name="connsiteX30694" fmla="*/ 8507453 w 10505529"/>
              <a:gd name="connsiteY30694" fmla="*/ 2196420 h 7458372"/>
              <a:gd name="connsiteX30695" fmla="*/ 8503860 w 10505529"/>
              <a:gd name="connsiteY30695" fmla="*/ 2205871 h 7458372"/>
              <a:gd name="connsiteX30696" fmla="*/ 8507453 w 10505529"/>
              <a:gd name="connsiteY30696" fmla="*/ 2215322 h 7458372"/>
              <a:gd name="connsiteX30697" fmla="*/ 8517438 w 10505529"/>
              <a:gd name="connsiteY30697" fmla="*/ 2218783 h 7458372"/>
              <a:gd name="connsiteX30698" fmla="*/ 8522763 w 10505529"/>
              <a:gd name="connsiteY30698" fmla="*/ 2217851 h 7458372"/>
              <a:gd name="connsiteX30699" fmla="*/ 8526490 w 10505529"/>
              <a:gd name="connsiteY30699" fmla="*/ 2215455 h 7458372"/>
              <a:gd name="connsiteX30700" fmla="*/ 8529152 w 10505529"/>
              <a:gd name="connsiteY30700" fmla="*/ 2211196 h 7458372"/>
              <a:gd name="connsiteX30701" fmla="*/ 8530084 w 10505529"/>
              <a:gd name="connsiteY30701" fmla="*/ 2205738 h 7458372"/>
              <a:gd name="connsiteX30702" fmla="*/ 8529152 w 10505529"/>
              <a:gd name="connsiteY30702" fmla="*/ 2200546 h 7458372"/>
              <a:gd name="connsiteX30703" fmla="*/ 8526490 w 10505529"/>
              <a:gd name="connsiteY30703" fmla="*/ 2196420 h 7458372"/>
              <a:gd name="connsiteX30704" fmla="*/ 8522496 w 10505529"/>
              <a:gd name="connsiteY30704" fmla="*/ 2193757 h 7458372"/>
              <a:gd name="connsiteX30705" fmla="*/ 8517438 w 10505529"/>
              <a:gd name="connsiteY30705" fmla="*/ 2192826 h 7458372"/>
              <a:gd name="connsiteX30706" fmla="*/ 8299793 w 10505529"/>
              <a:gd name="connsiteY30706" fmla="*/ 2192826 h 7458372"/>
              <a:gd name="connsiteX30707" fmla="*/ 8289809 w 10505529"/>
              <a:gd name="connsiteY30707" fmla="*/ 2196420 h 7458372"/>
              <a:gd name="connsiteX30708" fmla="*/ 8286215 w 10505529"/>
              <a:gd name="connsiteY30708" fmla="*/ 2205871 h 7458372"/>
              <a:gd name="connsiteX30709" fmla="*/ 8289809 w 10505529"/>
              <a:gd name="connsiteY30709" fmla="*/ 2215322 h 7458372"/>
              <a:gd name="connsiteX30710" fmla="*/ 8299793 w 10505529"/>
              <a:gd name="connsiteY30710" fmla="*/ 2218783 h 7458372"/>
              <a:gd name="connsiteX30711" fmla="*/ 8305118 w 10505529"/>
              <a:gd name="connsiteY30711" fmla="*/ 2217851 h 7458372"/>
              <a:gd name="connsiteX30712" fmla="*/ 8308844 w 10505529"/>
              <a:gd name="connsiteY30712" fmla="*/ 2215455 h 7458372"/>
              <a:gd name="connsiteX30713" fmla="*/ 8311507 w 10505529"/>
              <a:gd name="connsiteY30713" fmla="*/ 2211196 h 7458372"/>
              <a:gd name="connsiteX30714" fmla="*/ 8312439 w 10505529"/>
              <a:gd name="connsiteY30714" fmla="*/ 2205738 h 7458372"/>
              <a:gd name="connsiteX30715" fmla="*/ 8311507 w 10505529"/>
              <a:gd name="connsiteY30715" fmla="*/ 2200546 h 7458372"/>
              <a:gd name="connsiteX30716" fmla="*/ 8308844 w 10505529"/>
              <a:gd name="connsiteY30716" fmla="*/ 2196420 h 7458372"/>
              <a:gd name="connsiteX30717" fmla="*/ 8304851 w 10505529"/>
              <a:gd name="connsiteY30717" fmla="*/ 2193757 h 7458372"/>
              <a:gd name="connsiteX30718" fmla="*/ 8299793 w 10505529"/>
              <a:gd name="connsiteY30718" fmla="*/ 2192826 h 7458372"/>
              <a:gd name="connsiteX30719" fmla="*/ 8082281 w 10505529"/>
              <a:gd name="connsiteY30719" fmla="*/ 2192826 h 7458372"/>
              <a:gd name="connsiteX30720" fmla="*/ 8072297 w 10505529"/>
              <a:gd name="connsiteY30720" fmla="*/ 2196420 h 7458372"/>
              <a:gd name="connsiteX30721" fmla="*/ 8068703 w 10505529"/>
              <a:gd name="connsiteY30721" fmla="*/ 2205871 h 7458372"/>
              <a:gd name="connsiteX30722" fmla="*/ 8072297 w 10505529"/>
              <a:gd name="connsiteY30722" fmla="*/ 2215322 h 7458372"/>
              <a:gd name="connsiteX30723" fmla="*/ 8082281 w 10505529"/>
              <a:gd name="connsiteY30723" fmla="*/ 2218783 h 7458372"/>
              <a:gd name="connsiteX30724" fmla="*/ 8087605 w 10505529"/>
              <a:gd name="connsiteY30724" fmla="*/ 2217851 h 7458372"/>
              <a:gd name="connsiteX30725" fmla="*/ 8091332 w 10505529"/>
              <a:gd name="connsiteY30725" fmla="*/ 2215455 h 7458372"/>
              <a:gd name="connsiteX30726" fmla="*/ 8093994 w 10505529"/>
              <a:gd name="connsiteY30726" fmla="*/ 2211196 h 7458372"/>
              <a:gd name="connsiteX30727" fmla="*/ 8094926 w 10505529"/>
              <a:gd name="connsiteY30727" fmla="*/ 2205738 h 7458372"/>
              <a:gd name="connsiteX30728" fmla="*/ 8093994 w 10505529"/>
              <a:gd name="connsiteY30728" fmla="*/ 2200546 h 7458372"/>
              <a:gd name="connsiteX30729" fmla="*/ 8091332 w 10505529"/>
              <a:gd name="connsiteY30729" fmla="*/ 2196420 h 7458372"/>
              <a:gd name="connsiteX30730" fmla="*/ 8087338 w 10505529"/>
              <a:gd name="connsiteY30730" fmla="*/ 2193757 h 7458372"/>
              <a:gd name="connsiteX30731" fmla="*/ 8082281 w 10505529"/>
              <a:gd name="connsiteY30731" fmla="*/ 2192826 h 7458372"/>
              <a:gd name="connsiteX30732" fmla="*/ 7864636 w 10505529"/>
              <a:gd name="connsiteY30732" fmla="*/ 2192826 h 7458372"/>
              <a:gd name="connsiteX30733" fmla="*/ 7854652 w 10505529"/>
              <a:gd name="connsiteY30733" fmla="*/ 2196420 h 7458372"/>
              <a:gd name="connsiteX30734" fmla="*/ 7851058 w 10505529"/>
              <a:gd name="connsiteY30734" fmla="*/ 2205871 h 7458372"/>
              <a:gd name="connsiteX30735" fmla="*/ 7854652 w 10505529"/>
              <a:gd name="connsiteY30735" fmla="*/ 2215322 h 7458372"/>
              <a:gd name="connsiteX30736" fmla="*/ 7864636 w 10505529"/>
              <a:gd name="connsiteY30736" fmla="*/ 2218783 h 7458372"/>
              <a:gd name="connsiteX30737" fmla="*/ 7869961 w 10505529"/>
              <a:gd name="connsiteY30737" fmla="*/ 2217851 h 7458372"/>
              <a:gd name="connsiteX30738" fmla="*/ 7873687 w 10505529"/>
              <a:gd name="connsiteY30738" fmla="*/ 2215455 h 7458372"/>
              <a:gd name="connsiteX30739" fmla="*/ 7876350 w 10505529"/>
              <a:gd name="connsiteY30739" fmla="*/ 2211196 h 7458372"/>
              <a:gd name="connsiteX30740" fmla="*/ 7877282 w 10505529"/>
              <a:gd name="connsiteY30740" fmla="*/ 2205738 h 7458372"/>
              <a:gd name="connsiteX30741" fmla="*/ 7876350 w 10505529"/>
              <a:gd name="connsiteY30741" fmla="*/ 2200546 h 7458372"/>
              <a:gd name="connsiteX30742" fmla="*/ 7873687 w 10505529"/>
              <a:gd name="connsiteY30742" fmla="*/ 2196420 h 7458372"/>
              <a:gd name="connsiteX30743" fmla="*/ 7869694 w 10505529"/>
              <a:gd name="connsiteY30743" fmla="*/ 2193757 h 7458372"/>
              <a:gd name="connsiteX30744" fmla="*/ 7864636 w 10505529"/>
              <a:gd name="connsiteY30744" fmla="*/ 2192826 h 7458372"/>
              <a:gd name="connsiteX30745" fmla="*/ 7646991 w 10505529"/>
              <a:gd name="connsiteY30745" fmla="*/ 2192826 h 7458372"/>
              <a:gd name="connsiteX30746" fmla="*/ 7637007 w 10505529"/>
              <a:gd name="connsiteY30746" fmla="*/ 2196420 h 7458372"/>
              <a:gd name="connsiteX30747" fmla="*/ 7633413 w 10505529"/>
              <a:gd name="connsiteY30747" fmla="*/ 2205871 h 7458372"/>
              <a:gd name="connsiteX30748" fmla="*/ 7637007 w 10505529"/>
              <a:gd name="connsiteY30748" fmla="*/ 2215322 h 7458372"/>
              <a:gd name="connsiteX30749" fmla="*/ 7646991 w 10505529"/>
              <a:gd name="connsiteY30749" fmla="*/ 2218783 h 7458372"/>
              <a:gd name="connsiteX30750" fmla="*/ 7652315 w 10505529"/>
              <a:gd name="connsiteY30750" fmla="*/ 2217851 h 7458372"/>
              <a:gd name="connsiteX30751" fmla="*/ 7656042 w 10505529"/>
              <a:gd name="connsiteY30751" fmla="*/ 2215455 h 7458372"/>
              <a:gd name="connsiteX30752" fmla="*/ 7658705 w 10505529"/>
              <a:gd name="connsiteY30752" fmla="*/ 2211196 h 7458372"/>
              <a:gd name="connsiteX30753" fmla="*/ 7659769 w 10505529"/>
              <a:gd name="connsiteY30753" fmla="*/ 2205738 h 7458372"/>
              <a:gd name="connsiteX30754" fmla="*/ 7658705 w 10505529"/>
              <a:gd name="connsiteY30754" fmla="*/ 2200546 h 7458372"/>
              <a:gd name="connsiteX30755" fmla="*/ 7656042 w 10505529"/>
              <a:gd name="connsiteY30755" fmla="*/ 2196420 h 7458372"/>
              <a:gd name="connsiteX30756" fmla="*/ 7652049 w 10505529"/>
              <a:gd name="connsiteY30756" fmla="*/ 2193757 h 7458372"/>
              <a:gd name="connsiteX30757" fmla="*/ 7646991 w 10505529"/>
              <a:gd name="connsiteY30757" fmla="*/ 2192826 h 7458372"/>
              <a:gd name="connsiteX30758" fmla="*/ 7429345 w 10505529"/>
              <a:gd name="connsiteY30758" fmla="*/ 2192826 h 7458372"/>
              <a:gd name="connsiteX30759" fmla="*/ 7419361 w 10505529"/>
              <a:gd name="connsiteY30759" fmla="*/ 2196420 h 7458372"/>
              <a:gd name="connsiteX30760" fmla="*/ 7415768 w 10505529"/>
              <a:gd name="connsiteY30760" fmla="*/ 2205871 h 7458372"/>
              <a:gd name="connsiteX30761" fmla="*/ 7419361 w 10505529"/>
              <a:gd name="connsiteY30761" fmla="*/ 2215322 h 7458372"/>
              <a:gd name="connsiteX30762" fmla="*/ 7429345 w 10505529"/>
              <a:gd name="connsiteY30762" fmla="*/ 2218783 h 7458372"/>
              <a:gd name="connsiteX30763" fmla="*/ 7434670 w 10505529"/>
              <a:gd name="connsiteY30763" fmla="*/ 2217851 h 7458372"/>
              <a:gd name="connsiteX30764" fmla="*/ 7438397 w 10505529"/>
              <a:gd name="connsiteY30764" fmla="*/ 2215455 h 7458372"/>
              <a:gd name="connsiteX30765" fmla="*/ 7441059 w 10505529"/>
              <a:gd name="connsiteY30765" fmla="*/ 2211196 h 7458372"/>
              <a:gd name="connsiteX30766" fmla="*/ 7442124 w 10505529"/>
              <a:gd name="connsiteY30766" fmla="*/ 2205738 h 7458372"/>
              <a:gd name="connsiteX30767" fmla="*/ 7441059 w 10505529"/>
              <a:gd name="connsiteY30767" fmla="*/ 2200546 h 7458372"/>
              <a:gd name="connsiteX30768" fmla="*/ 7438397 w 10505529"/>
              <a:gd name="connsiteY30768" fmla="*/ 2196420 h 7458372"/>
              <a:gd name="connsiteX30769" fmla="*/ 7434403 w 10505529"/>
              <a:gd name="connsiteY30769" fmla="*/ 2193757 h 7458372"/>
              <a:gd name="connsiteX30770" fmla="*/ 7429345 w 10505529"/>
              <a:gd name="connsiteY30770" fmla="*/ 2192826 h 7458372"/>
              <a:gd name="connsiteX30771" fmla="*/ 7211701 w 10505529"/>
              <a:gd name="connsiteY30771" fmla="*/ 2192826 h 7458372"/>
              <a:gd name="connsiteX30772" fmla="*/ 7201717 w 10505529"/>
              <a:gd name="connsiteY30772" fmla="*/ 2196420 h 7458372"/>
              <a:gd name="connsiteX30773" fmla="*/ 7198123 w 10505529"/>
              <a:gd name="connsiteY30773" fmla="*/ 2205871 h 7458372"/>
              <a:gd name="connsiteX30774" fmla="*/ 7201717 w 10505529"/>
              <a:gd name="connsiteY30774" fmla="*/ 2215322 h 7458372"/>
              <a:gd name="connsiteX30775" fmla="*/ 7211701 w 10505529"/>
              <a:gd name="connsiteY30775" fmla="*/ 2218783 h 7458372"/>
              <a:gd name="connsiteX30776" fmla="*/ 7217026 w 10505529"/>
              <a:gd name="connsiteY30776" fmla="*/ 2217851 h 7458372"/>
              <a:gd name="connsiteX30777" fmla="*/ 7220752 w 10505529"/>
              <a:gd name="connsiteY30777" fmla="*/ 2215455 h 7458372"/>
              <a:gd name="connsiteX30778" fmla="*/ 7223415 w 10505529"/>
              <a:gd name="connsiteY30778" fmla="*/ 2211196 h 7458372"/>
              <a:gd name="connsiteX30779" fmla="*/ 7224480 w 10505529"/>
              <a:gd name="connsiteY30779" fmla="*/ 2205738 h 7458372"/>
              <a:gd name="connsiteX30780" fmla="*/ 7223415 w 10505529"/>
              <a:gd name="connsiteY30780" fmla="*/ 2200546 h 7458372"/>
              <a:gd name="connsiteX30781" fmla="*/ 7220752 w 10505529"/>
              <a:gd name="connsiteY30781" fmla="*/ 2196420 h 7458372"/>
              <a:gd name="connsiteX30782" fmla="*/ 7216759 w 10505529"/>
              <a:gd name="connsiteY30782" fmla="*/ 2193757 h 7458372"/>
              <a:gd name="connsiteX30783" fmla="*/ 7211701 w 10505529"/>
              <a:gd name="connsiteY30783" fmla="*/ 2192826 h 7458372"/>
              <a:gd name="connsiteX30784" fmla="*/ 6994056 w 10505529"/>
              <a:gd name="connsiteY30784" fmla="*/ 2192826 h 7458372"/>
              <a:gd name="connsiteX30785" fmla="*/ 6984072 w 10505529"/>
              <a:gd name="connsiteY30785" fmla="*/ 2196420 h 7458372"/>
              <a:gd name="connsiteX30786" fmla="*/ 6980478 w 10505529"/>
              <a:gd name="connsiteY30786" fmla="*/ 2205871 h 7458372"/>
              <a:gd name="connsiteX30787" fmla="*/ 6984072 w 10505529"/>
              <a:gd name="connsiteY30787" fmla="*/ 2215322 h 7458372"/>
              <a:gd name="connsiteX30788" fmla="*/ 6994056 w 10505529"/>
              <a:gd name="connsiteY30788" fmla="*/ 2218783 h 7458372"/>
              <a:gd name="connsiteX30789" fmla="*/ 6999380 w 10505529"/>
              <a:gd name="connsiteY30789" fmla="*/ 2217851 h 7458372"/>
              <a:gd name="connsiteX30790" fmla="*/ 7003107 w 10505529"/>
              <a:gd name="connsiteY30790" fmla="*/ 2215455 h 7458372"/>
              <a:gd name="connsiteX30791" fmla="*/ 7005769 w 10505529"/>
              <a:gd name="connsiteY30791" fmla="*/ 2211196 h 7458372"/>
              <a:gd name="connsiteX30792" fmla="*/ 7006834 w 10505529"/>
              <a:gd name="connsiteY30792" fmla="*/ 2205738 h 7458372"/>
              <a:gd name="connsiteX30793" fmla="*/ 7005769 w 10505529"/>
              <a:gd name="connsiteY30793" fmla="*/ 2200546 h 7458372"/>
              <a:gd name="connsiteX30794" fmla="*/ 7003107 w 10505529"/>
              <a:gd name="connsiteY30794" fmla="*/ 2196420 h 7458372"/>
              <a:gd name="connsiteX30795" fmla="*/ 6999113 w 10505529"/>
              <a:gd name="connsiteY30795" fmla="*/ 2193757 h 7458372"/>
              <a:gd name="connsiteX30796" fmla="*/ 6994056 w 10505529"/>
              <a:gd name="connsiteY30796" fmla="*/ 2192826 h 7458372"/>
              <a:gd name="connsiteX30797" fmla="*/ 6776544 w 10505529"/>
              <a:gd name="connsiteY30797" fmla="*/ 2192826 h 7458372"/>
              <a:gd name="connsiteX30798" fmla="*/ 6766560 w 10505529"/>
              <a:gd name="connsiteY30798" fmla="*/ 2196420 h 7458372"/>
              <a:gd name="connsiteX30799" fmla="*/ 6762966 w 10505529"/>
              <a:gd name="connsiteY30799" fmla="*/ 2205871 h 7458372"/>
              <a:gd name="connsiteX30800" fmla="*/ 6766560 w 10505529"/>
              <a:gd name="connsiteY30800" fmla="*/ 2215322 h 7458372"/>
              <a:gd name="connsiteX30801" fmla="*/ 6776544 w 10505529"/>
              <a:gd name="connsiteY30801" fmla="*/ 2218783 h 7458372"/>
              <a:gd name="connsiteX30802" fmla="*/ 6781869 w 10505529"/>
              <a:gd name="connsiteY30802" fmla="*/ 2217851 h 7458372"/>
              <a:gd name="connsiteX30803" fmla="*/ 6785595 w 10505529"/>
              <a:gd name="connsiteY30803" fmla="*/ 2215455 h 7458372"/>
              <a:gd name="connsiteX30804" fmla="*/ 6788258 w 10505529"/>
              <a:gd name="connsiteY30804" fmla="*/ 2211196 h 7458372"/>
              <a:gd name="connsiteX30805" fmla="*/ 6789323 w 10505529"/>
              <a:gd name="connsiteY30805" fmla="*/ 2205738 h 7458372"/>
              <a:gd name="connsiteX30806" fmla="*/ 6788258 w 10505529"/>
              <a:gd name="connsiteY30806" fmla="*/ 2200546 h 7458372"/>
              <a:gd name="connsiteX30807" fmla="*/ 6785595 w 10505529"/>
              <a:gd name="connsiteY30807" fmla="*/ 2196420 h 7458372"/>
              <a:gd name="connsiteX30808" fmla="*/ 6781602 w 10505529"/>
              <a:gd name="connsiteY30808" fmla="*/ 2193757 h 7458372"/>
              <a:gd name="connsiteX30809" fmla="*/ 6776544 w 10505529"/>
              <a:gd name="connsiteY30809" fmla="*/ 2192826 h 7458372"/>
              <a:gd name="connsiteX30810" fmla="*/ 6558899 w 10505529"/>
              <a:gd name="connsiteY30810" fmla="*/ 2192826 h 7458372"/>
              <a:gd name="connsiteX30811" fmla="*/ 6548915 w 10505529"/>
              <a:gd name="connsiteY30811" fmla="*/ 2196420 h 7458372"/>
              <a:gd name="connsiteX30812" fmla="*/ 6545321 w 10505529"/>
              <a:gd name="connsiteY30812" fmla="*/ 2205871 h 7458372"/>
              <a:gd name="connsiteX30813" fmla="*/ 6548915 w 10505529"/>
              <a:gd name="connsiteY30813" fmla="*/ 2215322 h 7458372"/>
              <a:gd name="connsiteX30814" fmla="*/ 6558899 w 10505529"/>
              <a:gd name="connsiteY30814" fmla="*/ 2218783 h 7458372"/>
              <a:gd name="connsiteX30815" fmla="*/ 6564223 w 10505529"/>
              <a:gd name="connsiteY30815" fmla="*/ 2217851 h 7458372"/>
              <a:gd name="connsiteX30816" fmla="*/ 6567950 w 10505529"/>
              <a:gd name="connsiteY30816" fmla="*/ 2215455 h 7458372"/>
              <a:gd name="connsiteX30817" fmla="*/ 6570612 w 10505529"/>
              <a:gd name="connsiteY30817" fmla="*/ 2211196 h 7458372"/>
              <a:gd name="connsiteX30818" fmla="*/ 6571677 w 10505529"/>
              <a:gd name="connsiteY30818" fmla="*/ 2205738 h 7458372"/>
              <a:gd name="connsiteX30819" fmla="*/ 6570612 w 10505529"/>
              <a:gd name="connsiteY30819" fmla="*/ 2200546 h 7458372"/>
              <a:gd name="connsiteX30820" fmla="*/ 6567950 w 10505529"/>
              <a:gd name="connsiteY30820" fmla="*/ 2196420 h 7458372"/>
              <a:gd name="connsiteX30821" fmla="*/ 6563956 w 10505529"/>
              <a:gd name="connsiteY30821" fmla="*/ 2193757 h 7458372"/>
              <a:gd name="connsiteX30822" fmla="*/ 6558899 w 10505529"/>
              <a:gd name="connsiteY30822" fmla="*/ 2192826 h 7458372"/>
              <a:gd name="connsiteX30823" fmla="*/ 6341253 w 10505529"/>
              <a:gd name="connsiteY30823" fmla="*/ 2192826 h 7458372"/>
              <a:gd name="connsiteX30824" fmla="*/ 6331270 w 10505529"/>
              <a:gd name="connsiteY30824" fmla="*/ 2196420 h 7458372"/>
              <a:gd name="connsiteX30825" fmla="*/ 6327675 w 10505529"/>
              <a:gd name="connsiteY30825" fmla="*/ 2205871 h 7458372"/>
              <a:gd name="connsiteX30826" fmla="*/ 6331270 w 10505529"/>
              <a:gd name="connsiteY30826" fmla="*/ 2215322 h 7458372"/>
              <a:gd name="connsiteX30827" fmla="*/ 6341253 w 10505529"/>
              <a:gd name="connsiteY30827" fmla="*/ 2218783 h 7458372"/>
              <a:gd name="connsiteX30828" fmla="*/ 6346578 w 10505529"/>
              <a:gd name="connsiteY30828" fmla="*/ 2217851 h 7458372"/>
              <a:gd name="connsiteX30829" fmla="*/ 6350305 w 10505529"/>
              <a:gd name="connsiteY30829" fmla="*/ 2215455 h 7458372"/>
              <a:gd name="connsiteX30830" fmla="*/ 6352968 w 10505529"/>
              <a:gd name="connsiteY30830" fmla="*/ 2211196 h 7458372"/>
              <a:gd name="connsiteX30831" fmla="*/ 6354033 w 10505529"/>
              <a:gd name="connsiteY30831" fmla="*/ 2205738 h 7458372"/>
              <a:gd name="connsiteX30832" fmla="*/ 6352968 w 10505529"/>
              <a:gd name="connsiteY30832" fmla="*/ 2200546 h 7458372"/>
              <a:gd name="connsiteX30833" fmla="*/ 6350305 w 10505529"/>
              <a:gd name="connsiteY30833" fmla="*/ 2196420 h 7458372"/>
              <a:gd name="connsiteX30834" fmla="*/ 6346312 w 10505529"/>
              <a:gd name="connsiteY30834" fmla="*/ 2193757 h 7458372"/>
              <a:gd name="connsiteX30835" fmla="*/ 6341253 w 10505529"/>
              <a:gd name="connsiteY30835" fmla="*/ 2192826 h 7458372"/>
              <a:gd name="connsiteX30836" fmla="*/ 6123608 w 10505529"/>
              <a:gd name="connsiteY30836" fmla="*/ 2192826 h 7458372"/>
              <a:gd name="connsiteX30837" fmla="*/ 6113624 w 10505529"/>
              <a:gd name="connsiteY30837" fmla="*/ 2196420 h 7458372"/>
              <a:gd name="connsiteX30838" fmla="*/ 6110030 w 10505529"/>
              <a:gd name="connsiteY30838" fmla="*/ 2205871 h 7458372"/>
              <a:gd name="connsiteX30839" fmla="*/ 6113624 w 10505529"/>
              <a:gd name="connsiteY30839" fmla="*/ 2215322 h 7458372"/>
              <a:gd name="connsiteX30840" fmla="*/ 6123608 w 10505529"/>
              <a:gd name="connsiteY30840" fmla="*/ 2218783 h 7458372"/>
              <a:gd name="connsiteX30841" fmla="*/ 6128932 w 10505529"/>
              <a:gd name="connsiteY30841" fmla="*/ 2217851 h 7458372"/>
              <a:gd name="connsiteX30842" fmla="*/ 6132659 w 10505529"/>
              <a:gd name="connsiteY30842" fmla="*/ 2215455 h 7458372"/>
              <a:gd name="connsiteX30843" fmla="*/ 6135322 w 10505529"/>
              <a:gd name="connsiteY30843" fmla="*/ 2211196 h 7458372"/>
              <a:gd name="connsiteX30844" fmla="*/ 6136387 w 10505529"/>
              <a:gd name="connsiteY30844" fmla="*/ 2205738 h 7458372"/>
              <a:gd name="connsiteX30845" fmla="*/ 6135322 w 10505529"/>
              <a:gd name="connsiteY30845" fmla="*/ 2200546 h 7458372"/>
              <a:gd name="connsiteX30846" fmla="*/ 6132659 w 10505529"/>
              <a:gd name="connsiteY30846" fmla="*/ 2196420 h 7458372"/>
              <a:gd name="connsiteX30847" fmla="*/ 6128666 w 10505529"/>
              <a:gd name="connsiteY30847" fmla="*/ 2193757 h 7458372"/>
              <a:gd name="connsiteX30848" fmla="*/ 6123608 w 10505529"/>
              <a:gd name="connsiteY30848" fmla="*/ 2192826 h 7458372"/>
              <a:gd name="connsiteX30849" fmla="*/ 5905963 w 10505529"/>
              <a:gd name="connsiteY30849" fmla="*/ 2192826 h 7458372"/>
              <a:gd name="connsiteX30850" fmla="*/ 5895979 w 10505529"/>
              <a:gd name="connsiteY30850" fmla="*/ 2196420 h 7458372"/>
              <a:gd name="connsiteX30851" fmla="*/ 5892385 w 10505529"/>
              <a:gd name="connsiteY30851" fmla="*/ 2205871 h 7458372"/>
              <a:gd name="connsiteX30852" fmla="*/ 5895979 w 10505529"/>
              <a:gd name="connsiteY30852" fmla="*/ 2215322 h 7458372"/>
              <a:gd name="connsiteX30853" fmla="*/ 5905963 w 10505529"/>
              <a:gd name="connsiteY30853" fmla="*/ 2218783 h 7458372"/>
              <a:gd name="connsiteX30854" fmla="*/ 5911287 w 10505529"/>
              <a:gd name="connsiteY30854" fmla="*/ 2217851 h 7458372"/>
              <a:gd name="connsiteX30855" fmla="*/ 5915014 w 10505529"/>
              <a:gd name="connsiteY30855" fmla="*/ 2215455 h 7458372"/>
              <a:gd name="connsiteX30856" fmla="*/ 5917677 w 10505529"/>
              <a:gd name="connsiteY30856" fmla="*/ 2211196 h 7458372"/>
              <a:gd name="connsiteX30857" fmla="*/ 5918742 w 10505529"/>
              <a:gd name="connsiteY30857" fmla="*/ 2205738 h 7458372"/>
              <a:gd name="connsiteX30858" fmla="*/ 5917677 w 10505529"/>
              <a:gd name="connsiteY30858" fmla="*/ 2200546 h 7458372"/>
              <a:gd name="connsiteX30859" fmla="*/ 5915014 w 10505529"/>
              <a:gd name="connsiteY30859" fmla="*/ 2196420 h 7458372"/>
              <a:gd name="connsiteX30860" fmla="*/ 5911021 w 10505529"/>
              <a:gd name="connsiteY30860" fmla="*/ 2193757 h 7458372"/>
              <a:gd name="connsiteX30861" fmla="*/ 5905963 w 10505529"/>
              <a:gd name="connsiteY30861" fmla="*/ 2192826 h 7458372"/>
              <a:gd name="connsiteX30862" fmla="*/ 5688451 w 10505529"/>
              <a:gd name="connsiteY30862" fmla="*/ 2192826 h 7458372"/>
              <a:gd name="connsiteX30863" fmla="*/ 5678467 w 10505529"/>
              <a:gd name="connsiteY30863" fmla="*/ 2196420 h 7458372"/>
              <a:gd name="connsiteX30864" fmla="*/ 5674873 w 10505529"/>
              <a:gd name="connsiteY30864" fmla="*/ 2205871 h 7458372"/>
              <a:gd name="connsiteX30865" fmla="*/ 5678467 w 10505529"/>
              <a:gd name="connsiteY30865" fmla="*/ 2215322 h 7458372"/>
              <a:gd name="connsiteX30866" fmla="*/ 5688451 w 10505529"/>
              <a:gd name="connsiteY30866" fmla="*/ 2218783 h 7458372"/>
              <a:gd name="connsiteX30867" fmla="*/ 5693775 w 10505529"/>
              <a:gd name="connsiteY30867" fmla="*/ 2217851 h 7458372"/>
              <a:gd name="connsiteX30868" fmla="*/ 5697502 w 10505529"/>
              <a:gd name="connsiteY30868" fmla="*/ 2215455 h 7458372"/>
              <a:gd name="connsiteX30869" fmla="*/ 5700165 w 10505529"/>
              <a:gd name="connsiteY30869" fmla="*/ 2211196 h 7458372"/>
              <a:gd name="connsiteX30870" fmla="*/ 5701230 w 10505529"/>
              <a:gd name="connsiteY30870" fmla="*/ 2205738 h 7458372"/>
              <a:gd name="connsiteX30871" fmla="*/ 5700165 w 10505529"/>
              <a:gd name="connsiteY30871" fmla="*/ 2200546 h 7458372"/>
              <a:gd name="connsiteX30872" fmla="*/ 5697502 w 10505529"/>
              <a:gd name="connsiteY30872" fmla="*/ 2196420 h 7458372"/>
              <a:gd name="connsiteX30873" fmla="*/ 5693509 w 10505529"/>
              <a:gd name="connsiteY30873" fmla="*/ 2193757 h 7458372"/>
              <a:gd name="connsiteX30874" fmla="*/ 5688451 w 10505529"/>
              <a:gd name="connsiteY30874" fmla="*/ 2192826 h 7458372"/>
              <a:gd name="connsiteX30875" fmla="*/ 5470806 w 10505529"/>
              <a:gd name="connsiteY30875" fmla="*/ 2192826 h 7458372"/>
              <a:gd name="connsiteX30876" fmla="*/ 5460822 w 10505529"/>
              <a:gd name="connsiteY30876" fmla="*/ 2196420 h 7458372"/>
              <a:gd name="connsiteX30877" fmla="*/ 5457228 w 10505529"/>
              <a:gd name="connsiteY30877" fmla="*/ 2205871 h 7458372"/>
              <a:gd name="connsiteX30878" fmla="*/ 5460822 w 10505529"/>
              <a:gd name="connsiteY30878" fmla="*/ 2215322 h 7458372"/>
              <a:gd name="connsiteX30879" fmla="*/ 5470806 w 10505529"/>
              <a:gd name="connsiteY30879" fmla="*/ 2218783 h 7458372"/>
              <a:gd name="connsiteX30880" fmla="*/ 5476130 w 10505529"/>
              <a:gd name="connsiteY30880" fmla="*/ 2217851 h 7458372"/>
              <a:gd name="connsiteX30881" fmla="*/ 5479857 w 10505529"/>
              <a:gd name="connsiteY30881" fmla="*/ 2215455 h 7458372"/>
              <a:gd name="connsiteX30882" fmla="*/ 5482520 w 10505529"/>
              <a:gd name="connsiteY30882" fmla="*/ 2211196 h 7458372"/>
              <a:gd name="connsiteX30883" fmla="*/ 5483585 w 10505529"/>
              <a:gd name="connsiteY30883" fmla="*/ 2205738 h 7458372"/>
              <a:gd name="connsiteX30884" fmla="*/ 5482520 w 10505529"/>
              <a:gd name="connsiteY30884" fmla="*/ 2200546 h 7458372"/>
              <a:gd name="connsiteX30885" fmla="*/ 5479857 w 10505529"/>
              <a:gd name="connsiteY30885" fmla="*/ 2196420 h 7458372"/>
              <a:gd name="connsiteX30886" fmla="*/ 5475864 w 10505529"/>
              <a:gd name="connsiteY30886" fmla="*/ 2193757 h 7458372"/>
              <a:gd name="connsiteX30887" fmla="*/ 5470806 w 10505529"/>
              <a:gd name="connsiteY30887" fmla="*/ 2192826 h 7458372"/>
              <a:gd name="connsiteX30888" fmla="*/ 5253160 w 10505529"/>
              <a:gd name="connsiteY30888" fmla="*/ 2192826 h 7458372"/>
              <a:gd name="connsiteX30889" fmla="*/ 5243177 w 10505529"/>
              <a:gd name="connsiteY30889" fmla="*/ 2196420 h 7458372"/>
              <a:gd name="connsiteX30890" fmla="*/ 5239583 w 10505529"/>
              <a:gd name="connsiteY30890" fmla="*/ 2205871 h 7458372"/>
              <a:gd name="connsiteX30891" fmla="*/ 5243177 w 10505529"/>
              <a:gd name="connsiteY30891" fmla="*/ 2215322 h 7458372"/>
              <a:gd name="connsiteX30892" fmla="*/ 5253160 w 10505529"/>
              <a:gd name="connsiteY30892" fmla="*/ 2218783 h 7458372"/>
              <a:gd name="connsiteX30893" fmla="*/ 5258485 w 10505529"/>
              <a:gd name="connsiteY30893" fmla="*/ 2217851 h 7458372"/>
              <a:gd name="connsiteX30894" fmla="*/ 5262212 w 10505529"/>
              <a:gd name="connsiteY30894" fmla="*/ 2215455 h 7458372"/>
              <a:gd name="connsiteX30895" fmla="*/ 5264875 w 10505529"/>
              <a:gd name="connsiteY30895" fmla="*/ 2211196 h 7458372"/>
              <a:gd name="connsiteX30896" fmla="*/ 5265939 w 10505529"/>
              <a:gd name="connsiteY30896" fmla="*/ 2205738 h 7458372"/>
              <a:gd name="connsiteX30897" fmla="*/ 5264875 w 10505529"/>
              <a:gd name="connsiteY30897" fmla="*/ 2200546 h 7458372"/>
              <a:gd name="connsiteX30898" fmla="*/ 5262212 w 10505529"/>
              <a:gd name="connsiteY30898" fmla="*/ 2196420 h 7458372"/>
              <a:gd name="connsiteX30899" fmla="*/ 5258219 w 10505529"/>
              <a:gd name="connsiteY30899" fmla="*/ 2193757 h 7458372"/>
              <a:gd name="connsiteX30900" fmla="*/ 5253160 w 10505529"/>
              <a:gd name="connsiteY30900" fmla="*/ 2192826 h 7458372"/>
              <a:gd name="connsiteX30901" fmla="*/ 5035515 w 10505529"/>
              <a:gd name="connsiteY30901" fmla="*/ 2192826 h 7458372"/>
              <a:gd name="connsiteX30902" fmla="*/ 5025532 w 10505529"/>
              <a:gd name="connsiteY30902" fmla="*/ 2196420 h 7458372"/>
              <a:gd name="connsiteX30903" fmla="*/ 5021938 w 10505529"/>
              <a:gd name="connsiteY30903" fmla="*/ 2205871 h 7458372"/>
              <a:gd name="connsiteX30904" fmla="*/ 5025532 w 10505529"/>
              <a:gd name="connsiteY30904" fmla="*/ 2215322 h 7458372"/>
              <a:gd name="connsiteX30905" fmla="*/ 5035515 w 10505529"/>
              <a:gd name="connsiteY30905" fmla="*/ 2218783 h 7458372"/>
              <a:gd name="connsiteX30906" fmla="*/ 5040840 w 10505529"/>
              <a:gd name="connsiteY30906" fmla="*/ 2217851 h 7458372"/>
              <a:gd name="connsiteX30907" fmla="*/ 5044567 w 10505529"/>
              <a:gd name="connsiteY30907" fmla="*/ 2215455 h 7458372"/>
              <a:gd name="connsiteX30908" fmla="*/ 5047230 w 10505529"/>
              <a:gd name="connsiteY30908" fmla="*/ 2211196 h 7458372"/>
              <a:gd name="connsiteX30909" fmla="*/ 5048294 w 10505529"/>
              <a:gd name="connsiteY30909" fmla="*/ 2205738 h 7458372"/>
              <a:gd name="connsiteX30910" fmla="*/ 5047230 w 10505529"/>
              <a:gd name="connsiteY30910" fmla="*/ 2200546 h 7458372"/>
              <a:gd name="connsiteX30911" fmla="*/ 5044567 w 10505529"/>
              <a:gd name="connsiteY30911" fmla="*/ 2196420 h 7458372"/>
              <a:gd name="connsiteX30912" fmla="*/ 5040574 w 10505529"/>
              <a:gd name="connsiteY30912" fmla="*/ 2193757 h 7458372"/>
              <a:gd name="connsiteX30913" fmla="*/ 5035515 w 10505529"/>
              <a:gd name="connsiteY30913" fmla="*/ 2192826 h 7458372"/>
              <a:gd name="connsiteX30914" fmla="*/ 4817870 w 10505529"/>
              <a:gd name="connsiteY30914" fmla="*/ 2192826 h 7458372"/>
              <a:gd name="connsiteX30915" fmla="*/ 4807887 w 10505529"/>
              <a:gd name="connsiteY30915" fmla="*/ 2196420 h 7458372"/>
              <a:gd name="connsiteX30916" fmla="*/ 4804293 w 10505529"/>
              <a:gd name="connsiteY30916" fmla="*/ 2205871 h 7458372"/>
              <a:gd name="connsiteX30917" fmla="*/ 4807887 w 10505529"/>
              <a:gd name="connsiteY30917" fmla="*/ 2215322 h 7458372"/>
              <a:gd name="connsiteX30918" fmla="*/ 4817870 w 10505529"/>
              <a:gd name="connsiteY30918" fmla="*/ 2218783 h 7458372"/>
              <a:gd name="connsiteX30919" fmla="*/ 4823195 w 10505529"/>
              <a:gd name="connsiteY30919" fmla="*/ 2217851 h 7458372"/>
              <a:gd name="connsiteX30920" fmla="*/ 4826922 w 10505529"/>
              <a:gd name="connsiteY30920" fmla="*/ 2215455 h 7458372"/>
              <a:gd name="connsiteX30921" fmla="*/ 4829585 w 10505529"/>
              <a:gd name="connsiteY30921" fmla="*/ 2211196 h 7458372"/>
              <a:gd name="connsiteX30922" fmla="*/ 4830650 w 10505529"/>
              <a:gd name="connsiteY30922" fmla="*/ 2205738 h 7458372"/>
              <a:gd name="connsiteX30923" fmla="*/ 4829585 w 10505529"/>
              <a:gd name="connsiteY30923" fmla="*/ 2200546 h 7458372"/>
              <a:gd name="connsiteX30924" fmla="*/ 4826922 w 10505529"/>
              <a:gd name="connsiteY30924" fmla="*/ 2196420 h 7458372"/>
              <a:gd name="connsiteX30925" fmla="*/ 4822929 w 10505529"/>
              <a:gd name="connsiteY30925" fmla="*/ 2193757 h 7458372"/>
              <a:gd name="connsiteX30926" fmla="*/ 4817870 w 10505529"/>
              <a:gd name="connsiteY30926" fmla="*/ 2192826 h 7458372"/>
              <a:gd name="connsiteX30927" fmla="*/ 4600226 w 10505529"/>
              <a:gd name="connsiteY30927" fmla="*/ 2192826 h 7458372"/>
              <a:gd name="connsiteX30928" fmla="*/ 4590242 w 10505529"/>
              <a:gd name="connsiteY30928" fmla="*/ 2196420 h 7458372"/>
              <a:gd name="connsiteX30929" fmla="*/ 4586648 w 10505529"/>
              <a:gd name="connsiteY30929" fmla="*/ 2205871 h 7458372"/>
              <a:gd name="connsiteX30930" fmla="*/ 4590242 w 10505529"/>
              <a:gd name="connsiteY30930" fmla="*/ 2215322 h 7458372"/>
              <a:gd name="connsiteX30931" fmla="*/ 4600226 w 10505529"/>
              <a:gd name="connsiteY30931" fmla="*/ 2218783 h 7458372"/>
              <a:gd name="connsiteX30932" fmla="*/ 4605550 w 10505529"/>
              <a:gd name="connsiteY30932" fmla="*/ 2217851 h 7458372"/>
              <a:gd name="connsiteX30933" fmla="*/ 4609277 w 10505529"/>
              <a:gd name="connsiteY30933" fmla="*/ 2215455 h 7458372"/>
              <a:gd name="connsiteX30934" fmla="*/ 4611940 w 10505529"/>
              <a:gd name="connsiteY30934" fmla="*/ 2211196 h 7458372"/>
              <a:gd name="connsiteX30935" fmla="*/ 4613005 w 10505529"/>
              <a:gd name="connsiteY30935" fmla="*/ 2205738 h 7458372"/>
              <a:gd name="connsiteX30936" fmla="*/ 4611940 w 10505529"/>
              <a:gd name="connsiteY30936" fmla="*/ 2200546 h 7458372"/>
              <a:gd name="connsiteX30937" fmla="*/ 4609277 w 10505529"/>
              <a:gd name="connsiteY30937" fmla="*/ 2196420 h 7458372"/>
              <a:gd name="connsiteX30938" fmla="*/ 4605284 w 10505529"/>
              <a:gd name="connsiteY30938" fmla="*/ 2193757 h 7458372"/>
              <a:gd name="connsiteX30939" fmla="*/ 4600226 w 10505529"/>
              <a:gd name="connsiteY30939" fmla="*/ 2192826 h 7458372"/>
              <a:gd name="connsiteX30940" fmla="*/ 4382713 w 10505529"/>
              <a:gd name="connsiteY30940" fmla="*/ 2192826 h 7458372"/>
              <a:gd name="connsiteX30941" fmla="*/ 4372730 w 10505529"/>
              <a:gd name="connsiteY30941" fmla="*/ 2196420 h 7458372"/>
              <a:gd name="connsiteX30942" fmla="*/ 4369136 w 10505529"/>
              <a:gd name="connsiteY30942" fmla="*/ 2205871 h 7458372"/>
              <a:gd name="connsiteX30943" fmla="*/ 4372730 w 10505529"/>
              <a:gd name="connsiteY30943" fmla="*/ 2215322 h 7458372"/>
              <a:gd name="connsiteX30944" fmla="*/ 4382713 w 10505529"/>
              <a:gd name="connsiteY30944" fmla="*/ 2218783 h 7458372"/>
              <a:gd name="connsiteX30945" fmla="*/ 4388038 w 10505529"/>
              <a:gd name="connsiteY30945" fmla="*/ 2217851 h 7458372"/>
              <a:gd name="connsiteX30946" fmla="*/ 4391765 w 10505529"/>
              <a:gd name="connsiteY30946" fmla="*/ 2215455 h 7458372"/>
              <a:gd name="connsiteX30947" fmla="*/ 4394428 w 10505529"/>
              <a:gd name="connsiteY30947" fmla="*/ 2211196 h 7458372"/>
              <a:gd name="connsiteX30948" fmla="*/ 4395493 w 10505529"/>
              <a:gd name="connsiteY30948" fmla="*/ 2205738 h 7458372"/>
              <a:gd name="connsiteX30949" fmla="*/ 4394428 w 10505529"/>
              <a:gd name="connsiteY30949" fmla="*/ 2200546 h 7458372"/>
              <a:gd name="connsiteX30950" fmla="*/ 4391765 w 10505529"/>
              <a:gd name="connsiteY30950" fmla="*/ 2196420 h 7458372"/>
              <a:gd name="connsiteX30951" fmla="*/ 4387772 w 10505529"/>
              <a:gd name="connsiteY30951" fmla="*/ 2193757 h 7458372"/>
              <a:gd name="connsiteX30952" fmla="*/ 4382713 w 10505529"/>
              <a:gd name="connsiteY30952" fmla="*/ 2192826 h 7458372"/>
              <a:gd name="connsiteX30953" fmla="*/ 4165068 w 10505529"/>
              <a:gd name="connsiteY30953" fmla="*/ 2192826 h 7458372"/>
              <a:gd name="connsiteX30954" fmla="*/ 4155084 w 10505529"/>
              <a:gd name="connsiteY30954" fmla="*/ 2196420 h 7458372"/>
              <a:gd name="connsiteX30955" fmla="*/ 4151490 w 10505529"/>
              <a:gd name="connsiteY30955" fmla="*/ 2205871 h 7458372"/>
              <a:gd name="connsiteX30956" fmla="*/ 4155084 w 10505529"/>
              <a:gd name="connsiteY30956" fmla="*/ 2215322 h 7458372"/>
              <a:gd name="connsiteX30957" fmla="*/ 4165068 w 10505529"/>
              <a:gd name="connsiteY30957" fmla="*/ 2218783 h 7458372"/>
              <a:gd name="connsiteX30958" fmla="*/ 4170392 w 10505529"/>
              <a:gd name="connsiteY30958" fmla="*/ 2217851 h 7458372"/>
              <a:gd name="connsiteX30959" fmla="*/ 4174119 w 10505529"/>
              <a:gd name="connsiteY30959" fmla="*/ 2215455 h 7458372"/>
              <a:gd name="connsiteX30960" fmla="*/ 4176782 w 10505529"/>
              <a:gd name="connsiteY30960" fmla="*/ 2211196 h 7458372"/>
              <a:gd name="connsiteX30961" fmla="*/ 4177847 w 10505529"/>
              <a:gd name="connsiteY30961" fmla="*/ 2205738 h 7458372"/>
              <a:gd name="connsiteX30962" fmla="*/ 4176782 w 10505529"/>
              <a:gd name="connsiteY30962" fmla="*/ 2200546 h 7458372"/>
              <a:gd name="connsiteX30963" fmla="*/ 4174119 w 10505529"/>
              <a:gd name="connsiteY30963" fmla="*/ 2196420 h 7458372"/>
              <a:gd name="connsiteX30964" fmla="*/ 4170126 w 10505529"/>
              <a:gd name="connsiteY30964" fmla="*/ 2193757 h 7458372"/>
              <a:gd name="connsiteX30965" fmla="*/ 4165068 w 10505529"/>
              <a:gd name="connsiteY30965" fmla="*/ 2192826 h 7458372"/>
              <a:gd name="connsiteX30966" fmla="*/ 3947547 w 10505529"/>
              <a:gd name="connsiteY30966" fmla="*/ 2192826 h 7458372"/>
              <a:gd name="connsiteX30967" fmla="*/ 3937564 w 10505529"/>
              <a:gd name="connsiteY30967" fmla="*/ 2196420 h 7458372"/>
              <a:gd name="connsiteX30968" fmla="*/ 3933969 w 10505529"/>
              <a:gd name="connsiteY30968" fmla="*/ 2205871 h 7458372"/>
              <a:gd name="connsiteX30969" fmla="*/ 3937564 w 10505529"/>
              <a:gd name="connsiteY30969" fmla="*/ 2215322 h 7458372"/>
              <a:gd name="connsiteX30970" fmla="*/ 3947547 w 10505529"/>
              <a:gd name="connsiteY30970" fmla="*/ 2218783 h 7458372"/>
              <a:gd name="connsiteX30971" fmla="*/ 3952873 w 10505529"/>
              <a:gd name="connsiteY30971" fmla="*/ 2217851 h 7458372"/>
              <a:gd name="connsiteX30972" fmla="*/ 3956600 w 10505529"/>
              <a:gd name="connsiteY30972" fmla="*/ 2215455 h 7458372"/>
              <a:gd name="connsiteX30973" fmla="*/ 3959262 w 10505529"/>
              <a:gd name="connsiteY30973" fmla="*/ 2211196 h 7458372"/>
              <a:gd name="connsiteX30974" fmla="*/ 3960327 w 10505529"/>
              <a:gd name="connsiteY30974" fmla="*/ 2205738 h 7458372"/>
              <a:gd name="connsiteX30975" fmla="*/ 3959262 w 10505529"/>
              <a:gd name="connsiteY30975" fmla="*/ 2200546 h 7458372"/>
              <a:gd name="connsiteX30976" fmla="*/ 3956600 w 10505529"/>
              <a:gd name="connsiteY30976" fmla="*/ 2196420 h 7458372"/>
              <a:gd name="connsiteX30977" fmla="*/ 3952605 w 10505529"/>
              <a:gd name="connsiteY30977" fmla="*/ 2193757 h 7458372"/>
              <a:gd name="connsiteX30978" fmla="*/ 3947547 w 10505529"/>
              <a:gd name="connsiteY30978" fmla="*/ 2192826 h 7458372"/>
              <a:gd name="connsiteX30979" fmla="*/ 3729896 w 10505529"/>
              <a:gd name="connsiteY30979" fmla="*/ 2192826 h 7458372"/>
              <a:gd name="connsiteX30980" fmla="*/ 3719910 w 10505529"/>
              <a:gd name="connsiteY30980" fmla="*/ 2196420 h 7458372"/>
              <a:gd name="connsiteX30981" fmla="*/ 3716317 w 10505529"/>
              <a:gd name="connsiteY30981" fmla="*/ 2205871 h 7458372"/>
              <a:gd name="connsiteX30982" fmla="*/ 3719910 w 10505529"/>
              <a:gd name="connsiteY30982" fmla="*/ 2215322 h 7458372"/>
              <a:gd name="connsiteX30983" fmla="*/ 3729896 w 10505529"/>
              <a:gd name="connsiteY30983" fmla="*/ 2218783 h 7458372"/>
              <a:gd name="connsiteX30984" fmla="*/ 3735221 w 10505529"/>
              <a:gd name="connsiteY30984" fmla="*/ 2217851 h 7458372"/>
              <a:gd name="connsiteX30985" fmla="*/ 3738947 w 10505529"/>
              <a:gd name="connsiteY30985" fmla="*/ 2215455 h 7458372"/>
              <a:gd name="connsiteX30986" fmla="*/ 3741611 w 10505529"/>
              <a:gd name="connsiteY30986" fmla="*/ 2211196 h 7458372"/>
              <a:gd name="connsiteX30987" fmla="*/ 3742675 w 10505529"/>
              <a:gd name="connsiteY30987" fmla="*/ 2205738 h 7458372"/>
              <a:gd name="connsiteX30988" fmla="*/ 3741611 w 10505529"/>
              <a:gd name="connsiteY30988" fmla="*/ 2200546 h 7458372"/>
              <a:gd name="connsiteX30989" fmla="*/ 3738947 w 10505529"/>
              <a:gd name="connsiteY30989" fmla="*/ 2196420 h 7458372"/>
              <a:gd name="connsiteX30990" fmla="*/ 3734955 w 10505529"/>
              <a:gd name="connsiteY30990" fmla="*/ 2193757 h 7458372"/>
              <a:gd name="connsiteX30991" fmla="*/ 3729896 w 10505529"/>
              <a:gd name="connsiteY30991" fmla="*/ 2192826 h 7458372"/>
              <a:gd name="connsiteX30992" fmla="*/ 3512244 w 10505529"/>
              <a:gd name="connsiteY30992" fmla="*/ 2192826 h 7458372"/>
              <a:gd name="connsiteX30993" fmla="*/ 3502258 w 10505529"/>
              <a:gd name="connsiteY30993" fmla="*/ 2196420 h 7458372"/>
              <a:gd name="connsiteX30994" fmla="*/ 3498665 w 10505529"/>
              <a:gd name="connsiteY30994" fmla="*/ 2205871 h 7458372"/>
              <a:gd name="connsiteX30995" fmla="*/ 3502258 w 10505529"/>
              <a:gd name="connsiteY30995" fmla="*/ 2215322 h 7458372"/>
              <a:gd name="connsiteX30996" fmla="*/ 3512244 w 10505529"/>
              <a:gd name="connsiteY30996" fmla="*/ 2218783 h 7458372"/>
              <a:gd name="connsiteX30997" fmla="*/ 3517569 w 10505529"/>
              <a:gd name="connsiteY30997" fmla="*/ 2217851 h 7458372"/>
              <a:gd name="connsiteX30998" fmla="*/ 3521296 w 10505529"/>
              <a:gd name="connsiteY30998" fmla="*/ 2215455 h 7458372"/>
              <a:gd name="connsiteX30999" fmla="*/ 3523959 w 10505529"/>
              <a:gd name="connsiteY30999" fmla="*/ 2211196 h 7458372"/>
              <a:gd name="connsiteX31000" fmla="*/ 3525025 w 10505529"/>
              <a:gd name="connsiteY31000" fmla="*/ 2205738 h 7458372"/>
              <a:gd name="connsiteX31001" fmla="*/ 3523959 w 10505529"/>
              <a:gd name="connsiteY31001" fmla="*/ 2200546 h 7458372"/>
              <a:gd name="connsiteX31002" fmla="*/ 3521296 w 10505529"/>
              <a:gd name="connsiteY31002" fmla="*/ 2196420 h 7458372"/>
              <a:gd name="connsiteX31003" fmla="*/ 3517303 w 10505529"/>
              <a:gd name="connsiteY31003" fmla="*/ 2193757 h 7458372"/>
              <a:gd name="connsiteX31004" fmla="*/ 3512244 w 10505529"/>
              <a:gd name="connsiteY31004" fmla="*/ 2192826 h 7458372"/>
              <a:gd name="connsiteX31005" fmla="*/ 3294726 w 10505529"/>
              <a:gd name="connsiteY31005" fmla="*/ 2192826 h 7458372"/>
              <a:gd name="connsiteX31006" fmla="*/ 3284741 w 10505529"/>
              <a:gd name="connsiteY31006" fmla="*/ 2196420 h 7458372"/>
              <a:gd name="connsiteX31007" fmla="*/ 3281147 w 10505529"/>
              <a:gd name="connsiteY31007" fmla="*/ 2205871 h 7458372"/>
              <a:gd name="connsiteX31008" fmla="*/ 3284741 w 10505529"/>
              <a:gd name="connsiteY31008" fmla="*/ 2215322 h 7458372"/>
              <a:gd name="connsiteX31009" fmla="*/ 3294726 w 10505529"/>
              <a:gd name="connsiteY31009" fmla="*/ 2218783 h 7458372"/>
              <a:gd name="connsiteX31010" fmla="*/ 3300051 w 10505529"/>
              <a:gd name="connsiteY31010" fmla="*/ 2217851 h 7458372"/>
              <a:gd name="connsiteX31011" fmla="*/ 3303778 w 10505529"/>
              <a:gd name="connsiteY31011" fmla="*/ 2215455 h 7458372"/>
              <a:gd name="connsiteX31012" fmla="*/ 3306441 w 10505529"/>
              <a:gd name="connsiteY31012" fmla="*/ 2211196 h 7458372"/>
              <a:gd name="connsiteX31013" fmla="*/ 3307505 w 10505529"/>
              <a:gd name="connsiteY31013" fmla="*/ 2205738 h 7458372"/>
              <a:gd name="connsiteX31014" fmla="*/ 3306441 w 10505529"/>
              <a:gd name="connsiteY31014" fmla="*/ 2200546 h 7458372"/>
              <a:gd name="connsiteX31015" fmla="*/ 3303778 w 10505529"/>
              <a:gd name="connsiteY31015" fmla="*/ 2196420 h 7458372"/>
              <a:gd name="connsiteX31016" fmla="*/ 3299785 w 10505529"/>
              <a:gd name="connsiteY31016" fmla="*/ 2193757 h 7458372"/>
              <a:gd name="connsiteX31017" fmla="*/ 3294726 w 10505529"/>
              <a:gd name="connsiteY31017" fmla="*/ 2192826 h 7458372"/>
              <a:gd name="connsiteX31018" fmla="*/ 3077207 w 10505529"/>
              <a:gd name="connsiteY31018" fmla="*/ 2192826 h 7458372"/>
              <a:gd name="connsiteX31019" fmla="*/ 3067224 w 10505529"/>
              <a:gd name="connsiteY31019" fmla="*/ 2196420 h 7458372"/>
              <a:gd name="connsiteX31020" fmla="*/ 3063495 w 10505529"/>
              <a:gd name="connsiteY31020" fmla="*/ 2205871 h 7458372"/>
              <a:gd name="connsiteX31021" fmla="*/ 3067090 w 10505529"/>
              <a:gd name="connsiteY31021" fmla="*/ 2215322 h 7458372"/>
              <a:gd name="connsiteX31022" fmla="*/ 3077074 w 10505529"/>
              <a:gd name="connsiteY31022" fmla="*/ 2218783 h 7458372"/>
              <a:gd name="connsiteX31023" fmla="*/ 3082532 w 10505529"/>
              <a:gd name="connsiteY31023" fmla="*/ 2217851 h 7458372"/>
              <a:gd name="connsiteX31024" fmla="*/ 3086260 w 10505529"/>
              <a:gd name="connsiteY31024" fmla="*/ 2215455 h 7458372"/>
              <a:gd name="connsiteX31025" fmla="*/ 3088922 w 10505529"/>
              <a:gd name="connsiteY31025" fmla="*/ 2211196 h 7458372"/>
              <a:gd name="connsiteX31026" fmla="*/ 3089855 w 10505529"/>
              <a:gd name="connsiteY31026" fmla="*/ 2205738 h 7458372"/>
              <a:gd name="connsiteX31027" fmla="*/ 3088922 w 10505529"/>
              <a:gd name="connsiteY31027" fmla="*/ 2200546 h 7458372"/>
              <a:gd name="connsiteX31028" fmla="*/ 3086260 w 10505529"/>
              <a:gd name="connsiteY31028" fmla="*/ 2196420 h 7458372"/>
              <a:gd name="connsiteX31029" fmla="*/ 3082267 w 10505529"/>
              <a:gd name="connsiteY31029" fmla="*/ 2193757 h 7458372"/>
              <a:gd name="connsiteX31030" fmla="*/ 3077207 w 10505529"/>
              <a:gd name="connsiteY31030" fmla="*/ 2192826 h 7458372"/>
              <a:gd name="connsiteX31031" fmla="*/ 2859423 w 10505529"/>
              <a:gd name="connsiteY31031" fmla="*/ 2192826 h 7458372"/>
              <a:gd name="connsiteX31032" fmla="*/ 2849438 w 10505529"/>
              <a:gd name="connsiteY31032" fmla="*/ 2196420 h 7458372"/>
              <a:gd name="connsiteX31033" fmla="*/ 2845843 w 10505529"/>
              <a:gd name="connsiteY31033" fmla="*/ 2205871 h 7458372"/>
              <a:gd name="connsiteX31034" fmla="*/ 2849438 w 10505529"/>
              <a:gd name="connsiteY31034" fmla="*/ 2215322 h 7458372"/>
              <a:gd name="connsiteX31035" fmla="*/ 2859423 w 10505529"/>
              <a:gd name="connsiteY31035" fmla="*/ 2218783 h 7458372"/>
              <a:gd name="connsiteX31036" fmla="*/ 2864748 w 10505529"/>
              <a:gd name="connsiteY31036" fmla="*/ 2217851 h 7458372"/>
              <a:gd name="connsiteX31037" fmla="*/ 2868475 w 10505529"/>
              <a:gd name="connsiteY31037" fmla="*/ 2215455 h 7458372"/>
              <a:gd name="connsiteX31038" fmla="*/ 2871138 w 10505529"/>
              <a:gd name="connsiteY31038" fmla="*/ 2211196 h 7458372"/>
              <a:gd name="connsiteX31039" fmla="*/ 2872069 w 10505529"/>
              <a:gd name="connsiteY31039" fmla="*/ 2205738 h 7458372"/>
              <a:gd name="connsiteX31040" fmla="*/ 2871138 w 10505529"/>
              <a:gd name="connsiteY31040" fmla="*/ 2200546 h 7458372"/>
              <a:gd name="connsiteX31041" fmla="*/ 2868475 w 10505529"/>
              <a:gd name="connsiteY31041" fmla="*/ 2196420 h 7458372"/>
              <a:gd name="connsiteX31042" fmla="*/ 2864482 w 10505529"/>
              <a:gd name="connsiteY31042" fmla="*/ 2193757 h 7458372"/>
              <a:gd name="connsiteX31043" fmla="*/ 2859423 w 10505529"/>
              <a:gd name="connsiteY31043" fmla="*/ 2192826 h 7458372"/>
              <a:gd name="connsiteX31044" fmla="*/ 2641771 w 10505529"/>
              <a:gd name="connsiteY31044" fmla="*/ 2192826 h 7458372"/>
              <a:gd name="connsiteX31045" fmla="*/ 2631788 w 10505529"/>
              <a:gd name="connsiteY31045" fmla="*/ 2196420 h 7458372"/>
              <a:gd name="connsiteX31046" fmla="*/ 2628194 w 10505529"/>
              <a:gd name="connsiteY31046" fmla="*/ 2205871 h 7458372"/>
              <a:gd name="connsiteX31047" fmla="*/ 2631788 w 10505529"/>
              <a:gd name="connsiteY31047" fmla="*/ 2215322 h 7458372"/>
              <a:gd name="connsiteX31048" fmla="*/ 2641771 w 10505529"/>
              <a:gd name="connsiteY31048" fmla="*/ 2218783 h 7458372"/>
              <a:gd name="connsiteX31049" fmla="*/ 2647097 w 10505529"/>
              <a:gd name="connsiteY31049" fmla="*/ 2217851 h 7458372"/>
              <a:gd name="connsiteX31050" fmla="*/ 2650824 w 10505529"/>
              <a:gd name="connsiteY31050" fmla="*/ 2215455 h 7458372"/>
              <a:gd name="connsiteX31051" fmla="*/ 2653487 w 10505529"/>
              <a:gd name="connsiteY31051" fmla="*/ 2211196 h 7458372"/>
              <a:gd name="connsiteX31052" fmla="*/ 2654417 w 10505529"/>
              <a:gd name="connsiteY31052" fmla="*/ 2205738 h 7458372"/>
              <a:gd name="connsiteX31053" fmla="*/ 2653487 w 10505529"/>
              <a:gd name="connsiteY31053" fmla="*/ 2200546 h 7458372"/>
              <a:gd name="connsiteX31054" fmla="*/ 2650824 w 10505529"/>
              <a:gd name="connsiteY31054" fmla="*/ 2196420 h 7458372"/>
              <a:gd name="connsiteX31055" fmla="*/ 2646831 w 10505529"/>
              <a:gd name="connsiteY31055" fmla="*/ 2193757 h 7458372"/>
              <a:gd name="connsiteX31056" fmla="*/ 2641771 w 10505529"/>
              <a:gd name="connsiteY31056" fmla="*/ 2192826 h 7458372"/>
              <a:gd name="connsiteX31057" fmla="*/ 2424120 w 10505529"/>
              <a:gd name="connsiteY31057" fmla="*/ 2192826 h 7458372"/>
              <a:gd name="connsiteX31058" fmla="*/ 2414137 w 10505529"/>
              <a:gd name="connsiteY31058" fmla="*/ 2196420 h 7458372"/>
              <a:gd name="connsiteX31059" fmla="*/ 2410542 w 10505529"/>
              <a:gd name="connsiteY31059" fmla="*/ 2205871 h 7458372"/>
              <a:gd name="connsiteX31060" fmla="*/ 2414137 w 10505529"/>
              <a:gd name="connsiteY31060" fmla="*/ 2215322 h 7458372"/>
              <a:gd name="connsiteX31061" fmla="*/ 2424120 w 10505529"/>
              <a:gd name="connsiteY31061" fmla="*/ 2218783 h 7458372"/>
              <a:gd name="connsiteX31062" fmla="*/ 2429445 w 10505529"/>
              <a:gd name="connsiteY31062" fmla="*/ 2217851 h 7458372"/>
              <a:gd name="connsiteX31063" fmla="*/ 2433172 w 10505529"/>
              <a:gd name="connsiteY31063" fmla="*/ 2215455 h 7458372"/>
              <a:gd name="connsiteX31064" fmla="*/ 2435835 w 10505529"/>
              <a:gd name="connsiteY31064" fmla="*/ 2211196 h 7458372"/>
              <a:gd name="connsiteX31065" fmla="*/ 2436766 w 10505529"/>
              <a:gd name="connsiteY31065" fmla="*/ 2205738 h 7458372"/>
              <a:gd name="connsiteX31066" fmla="*/ 2435835 w 10505529"/>
              <a:gd name="connsiteY31066" fmla="*/ 2200546 h 7458372"/>
              <a:gd name="connsiteX31067" fmla="*/ 2433172 w 10505529"/>
              <a:gd name="connsiteY31067" fmla="*/ 2196420 h 7458372"/>
              <a:gd name="connsiteX31068" fmla="*/ 2429179 w 10505529"/>
              <a:gd name="connsiteY31068" fmla="*/ 2193757 h 7458372"/>
              <a:gd name="connsiteX31069" fmla="*/ 2424120 w 10505529"/>
              <a:gd name="connsiteY31069" fmla="*/ 2192826 h 7458372"/>
              <a:gd name="connsiteX31070" fmla="*/ 2206469 w 10505529"/>
              <a:gd name="connsiteY31070" fmla="*/ 2192826 h 7458372"/>
              <a:gd name="connsiteX31071" fmla="*/ 2196485 w 10505529"/>
              <a:gd name="connsiteY31071" fmla="*/ 2196420 h 7458372"/>
              <a:gd name="connsiteX31072" fmla="*/ 2192891 w 10505529"/>
              <a:gd name="connsiteY31072" fmla="*/ 2205871 h 7458372"/>
              <a:gd name="connsiteX31073" fmla="*/ 2196485 w 10505529"/>
              <a:gd name="connsiteY31073" fmla="*/ 2215322 h 7458372"/>
              <a:gd name="connsiteX31074" fmla="*/ 2206469 w 10505529"/>
              <a:gd name="connsiteY31074" fmla="*/ 2218783 h 7458372"/>
              <a:gd name="connsiteX31075" fmla="*/ 2211793 w 10505529"/>
              <a:gd name="connsiteY31075" fmla="*/ 2217851 h 7458372"/>
              <a:gd name="connsiteX31076" fmla="*/ 2215520 w 10505529"/>
              <a:gd name="connsiteY31076" fmla="*/ 2215455 h 7458372"/>
              <a:gd name="connsiteX31077" fmla="*/ 2218183 w 10505529"/>
              <a:gd name="connsiteY31077" fmla="*/ 2211196 h 7458372"/>
              <a:gd name="connsiteX31078" fmla="*/ 2219115 w 10505529"/>
              <a:gd name="connsiteY31078" fmla="*/ 2205738 h 7458372"/>
              <a:gd name="connsiteX31079" fmla="*/ 2218183 w 10505529"/>
              <a:gd name="connsiteY31079" fmla="*/ 2200546 h 7458372"/>
              <a:gd name="connsiteX31080" fmla="*/ 2215520 w 10505529"/>
              <a:gd name="connsiteY31080" fmla="*/ 2196420 h 7458372"/>
              <a:gd name="connsiteX31081" fmla="*/ 2211527 w 10505529"/>
              <a:gd name="connsiteY31081" fmla="*/ 2193757 h 7458372"/>
              <a:gd name="connsiteX31082" fmla="*/ 2206469 w 10505529"/>
              <a:gd name="connsiteY31082" fmla="*/ 2192826 h 7458372"/>
              <a:gd name="connsiteX31083" fmla="*/ 1988950 w 10505529"/>
              <a:gd name="connsiteY31083" fmla="*/ 2192826 h 7458372"/>
              <a:gd name="connsiteX31084" fmla="*/ 1978967 w 10505529"/>
              <a:gd name="connsiteY31084" fmla="*/ 2196420 h 7458372"/>
              <a:gd name="connsiteX31085" fmla="*/ 1975373 w 10505529"/>
              <a:gd name="connsiteY31085" fmla="*/ 2205871 h 7458372"/>
              <a:gd name="connsiteX31086" fmla="*/ 1978967 w 10505529"/>
              <a:gd name="connsiteY31086" fmla="*/ 2215322 h 7458372"/>
              <a:gd name="connsiteX31087" fmla="*/ 1988950 w 10505529"/>
              <a:gd name="connsiteY31087" fmla="*/ 2218783 h 7458372"/>
              <a:gd name="connsiteX31088" fmla="*/ 1994275 w 10505529"/>
              <a:gd name="connsiteY31088" fmla="*/ 2217851 h 7458372"/>
              <a:gd name="connsiteX31089" fmla="*/ 1998002 w 10505529"/>
              <a:gd name="connsiteY31089" fmla="*/ 2215455 h 7458372"/>
              <a:gd name="connsiteX31090" fmla="*/ 2000665 w 10505529"/>
              <a:gd name="connsiteY31090" fmla="*/ 2211196 h 7458372"/>
              <a:gd name="connsiteX31091" fmla="*/ 2001596 w 10505529"/>
              <a:gd name="connsiteY31091" fmla="*/ 2205738 h 7458372"/>
              <a:gd name="connsiteX31092" fmla="*/ 2000665 w 10505529"/>
              <a:gd name="connsiteY31092" fmla="*/ 2200546 h 7458372"/>
              <a:gd name="connsiteX31093" fmla="*/ 1998002 w 10505529"/>
              <a:gd name="connsiteY31093" fmla="*/ 2196420 h 7458372"/>
              <a:gd name="connsiteX31094" fmla="*/ 1994009 w 10505529"/>
              <a:gd name="connsiteY31094" fmla="*/ 2193757 h 7458372"/>
              <a:gd name="connsiteX31095" fmla="*/ 1988950 w 10505529"/>
              <a:gd name="connsiteY31095" fmla="*/ 2192826 h 7458372"/>
              <a:gd name="connsiteX31096" fmla="*/ 1771309 w 10505529"/>
              <a:gd name="connsiteY31096" fmla="*/ 2192826 h 7458372"/>
              <a:gd name="connsiteX31097" fmla="*/ 1761327 w 10505529"/>
              <a:gd name="connsiteY31097" fmla="*/ 2196420 h 7458372"/>
              <a:gd name="connsiteX31098" fmla="*/ 1757733 w 10505529"/>
              <a:gd name="connsiteY31098" fmla="*/ 2205871 h 7458372"/>
              <a:gd name="connsiteX31099" fmla="*/ 1761327 w 10505529"/>
              <a:gd name="connsiteY31099" fmla="*/ 2215322 h 7458372"/>
              <a:gd name="connsiteX31100" fmla="*/ 1771309 w 10505529"/>
              <a:gd name="connsiteY31100" fmla="*/ 2218783 h 7458372"/>
              <a:gd name="connsiteX31101" fmla="*/ 1776634 w 10505529"/>
              <a:gd name="connsiteY31101" fmla="*/ 2217851 h 7458372"/>
              <a:gd name="connsiteX31102" fmla="*/ 1780361 w 10505529"/>
              <a:gd name="connsiteY31102" fmla="*/ 2215455 h 7458372"/>
              <a:gd name="connsiteX31103" fmla="*/ 1783024 w 10505529"/>
              <a:gd name="connsiteY31103" fmla="*/ 2211196 h 7458372"/>
              <a:gd name="connsiteX31104" fmla="*/ 1784089 w 10505529"/>
              <a:gd name="connsiteY31104" fmla="*/ 2205738 h 7458372"/>
              <a:gd name="connsiteX31105" fmla="*/ 1783024 w 10505529"/>
              <a:gd name="connsiteY31105" fmla="*/ 2200546 h 7458372"/>
              <a:gd name="connsiteX31106" fmla="*/ 1780361 w 10505529"/>
              <a:gd name="connsiteY31106" fmla="*/ 2196420 h 7458372"/>
              <a:gd name="connsiteX31107" fmla="*/ 1776369 w 10505529"/>
              <a:gd name="connsiteY31107" fmla="*/ 2193757 h 7458372"/>
              <a:gd name="connsiteX31108" fmla="*/ 1771309 w 10505529"/>
              <a:gd name="connsiteY31108" fmla="*/ 2192826 h 7458372"/>
              <a:gd name="connsiteX31109" fmla="*/ 1553668 w 10505529"/>
              <a:gd name="connsiteY31109" fmla="*/ 2192826 h 7458372"/>
              <a:gd name="connsiteX31110" fmla="*/ 1543684 w 10505529"/>
              <a:gd name="connsiteY31110" fmla="*/ 2196420 h 7458372"/>
              <a:gd name="connsiteX31111" fmla="*/ 1540090 w 10505529"/>
              <a:gd name="connsiteY31111" fmla="*/ 2205871 h 7458372"/>
              <a:gd name="connsiteX31112" fmla="*/ 1543684 w 10505529"/>
              <a:gd name="connsiteY31112" fmla="*/ 2215322 h 7458372"/>
              <a:gd name="connsiteX31113" fmla="*/ 1553668 w 10505529"/>
              <a:gd name="connsiteY31113" fmla="*/ 2218783 h 7458372"/>
              <a:gd name="connsiteX31114" fmla="*/ 1558992 w 10505529"/>
              <a:gd name="connsiteY31114" fmla="*/ 2217851 h 7458372"/>
              <a:gd name="connsiteX31115" fmla="*/ 1562719 w 10505529"/>
              <a:gd name="connsiteY31115" fmla="*/ 2215455 h 7458372"/>
              <a:gd name="connsiteX31116" fmla="*/ 1565382 w 10505529"/>
              <a:gd name="connsiteY31116" fmla="*/ 2211196 h 7458372"/>
              <a:gd name="connsiteX31117" fmla="*/ 1566447 w 10505529"/>
              <a:gd name="connsiteY31117" fmla="*/ 2205738 h 7458372"/>
              <a:gd name="connsiteX31118" fmla="*/ 1565382 w 10505529"/>
              <a:gd name="connsiteY31118" fmla="*/ 2200546 h 7458372"/>
              <a:gd name="connsiteX31119" fmla="*/ 1562719 w 10505529"/>
              <a:gd name="connsiteY31119" fmla="*/ 2196420 h 7458372"/>
              <a:gd name="connsiteX31120" fmla="*/ 1558726 w 10505529"/>
              <a:gd name="connsiteY31120" fmla="*/ 2193757 h 7458372"/>
              <a:gd name="connsiteX31121" fmla="*/ 1553668 w 10505529"/>
              <a:gd name="connsiteY31121" fmla="*/ 2192826 h 7458372"/>
              <a:gd name="connsiteX31122" fmla="*/ 1336023 w 10505529"/>
              <a:gd name="connsiteY31122" fmla="*/ 2192826 h 7458372"/>
              <a:gd name="connsiteX31123" fmla="*/ 1326040 w 10505529"/>
              <a:gd name="connsiteY31123" fmla="*/ 2196420 h 7458372"/>
              <a:gd name="connsiteX31124" fmla="*/ 1322445 w 10505529"/>
              <a:gd name="connsiteY31124" fmla="*/ 2205871 h 7458372"/>
              <a:gd name="connsiteX31125" fmla="*/ 1326040 w 10505529"/>
              <a:gd name="connsiteY31125" fmla="*/ 2215322 h 7458372"/>
              <a:gd name="connsiteX31126" fmla="*/ 1336023 w 10505529"/>
              <a:gd name="connsiteY31126" fmla="*/ 2218783 h 7458372"/>
              <a:gd name="connsiteX31127" fmla="*/ 1341349 w 10505529"/>
              <a:gd name="connsiteY31127" fmla="*/ 2217851 h 7458372"/>
              <a:gd name="connsiteX31128" fmla="*/ 1345076 w 10505529"/>
              <a:gd name="connsiteY31128" fmla="*/ 2215455 h 7458372"/>
              <a:gd name="connsiteX31129" fmla="*/ 1347739 w 10505529"/>
              <a:gd name="connsiteY31129" fmla="*/ 2211196 h 7458372"/>
              <a:gd name="connsiteX31130" fmla="*/ 1348804 w 10505529"/>
              <a:gd name="connsiteY31130" fmla="*/ 2205738 h 7458372"/>
              <a:gd name="connsiteX31131" fmla="*/ 1347739 w 10505529"/>
              <a:gd name="connsiteY31131" fmla="*/ 2200546 h 7458372"/>
              <a:gd name="connsiteX31132" fmla="*/ 1345076 w 10505529"/>
              <a:gd name="connsiteY31132" fmla="*/ 2196420 h 7458372"/>
              <a:gd name="connsiteX31133" fmla="*/ 1341082 w 10505529"/>
              <a:gd name="connsiteY31133" fmla="*/ 2193757 h 7458372"/>
              <a:gd name="connsiteX31134" fmla="*/ 1336023 w 10505529"/>
              <a:gd name="connsiteY31134" fmla="*/ 2192826 h 7458372"/>
              <a:gd name="connsiteX31135" fmla="*/ 1118511 w 10505529"/>
              <a:gd name="connsiteY31135" fmla="*/ 2192826 h 7458372"/>
              <a:gd name="connsiteX31136" fmla="*/ 1108527 w 10505529"/>
              <a:gd name="connsiteY31136" fmla="*/ 2196420 h 7458372"/>
              <a:gd name="connsiteX31137" fmla="*/ 1104800 w 10505529"/>
              <a:gd name="connsiteY31137" fmla="*/ 2205871 h 7458372"/>
              <a:gd name="connsiteX31138" fmla="*/ 1108394 w 10505529"/>
              <a:gd name="connsiteY31138" fmla="*/ 2215322 h 7458372"/>
              <a:gd name="connsiteX31139" fmla="*/ 1118378 w 10505529"/>
              <a:gd name="connsiteY31139" fmla="*/ 2218783 h 7458372"/>
              <a:gd name="connsiteX31140" fmla="*/ 1123836 w 10505529"/>
              <a:gd name="connsiteY31140" fmla="*/ 2217851 h 7458372"/>
              <a:gd name="connsiteX31141" fmla="*/ 1127563 w 10505529"/>
              <a:gd name="connsiteY31141" fmla="*/ 2215455 h 7458372"/>
              <a:gd name="connsiteX31142" fmla="*/ 1130227 w 10505529"/>
              <a:gd name="connsiteY31142" fmla="*/ 2211196 h 7458372"/>
              <a:gd name="connsiteX31143" fmla="*/ 1131292 w 10505529"/>
              <a:gd name="connsiteY31143" fmla="*/ 2205738 h 7458372"/>
              <a:gd name="connsiteX31144" fmla="*/ 1130227 w 10505529"/>
              <a:gd name="connsiteY31144" fmla="*/ 2200546 h 7458372"/>
              <a:gd name="connsiteX31145" fmla="*/ 1127563 w 10505529"/>
              <a:gd name="connsiteY31145" fmla="*/ 2196420 h 7458372"/>
              <a:gd name="connsiteX31146" fmla="*/ 1123569 w 10505529"/>
              <a:gd name="connsiteY31146" fmla="*/ 2193757 h 7458372"/>
              <a:gd name="connsiteX31147" fmla="*/ 1118511 w 10505529"/>
              <a:gd name="connsiteY31147" fmla="*/ 2192826 h 7458372"/>
              <a:gd name="connsiteX31148" fmla="*/ 901000 w 10505529"/>
              <a:gd name="connsiteY31148" fmla="*/ 2192826 h 7458372"/>
              <a:gd name="connsiteX31149" fmla="*/ 891015 w 10505529"/>
              <a:gd name="connsiteY31149" fmla="*/ 2196420 h 7458372"/>
              <a:gd name="connsiteX31150" fmla="*/ 887289 w 10505529"/>
              <a:gd name="connsiteY31150" fmla="*/ 2205871 h 7458372"/>
              <a:gd name="connsiteX31151" fmla="*/ 890882 w 10505529"/>
              <a:gd name="connsiteY31151" fmla="*/ 2215322 h 7458372"/>
              <a:gd name="connsiteX31152" fmla="*/ 900866 w 10505529"/>
              <a:gd name="connsiteY31152" fmla="*/ 2218783 h 7458372"/>
              <a:gd name="connsiteX31153" fmla="*/ 906324 w 10505529"/>
              <a:gd name="connsiteY31153" fmla="*/ 2217851 h 7458372"/>
              <a:gd name="connsiteX31154" fmla="*/ 910052 w 10505529"/>
              <a:gd name="connsiteY31154" fmla="*/ 2215455 h 7458372"/>
              <a:gd name="connsiteX31155" fmla="*/ 912714 w 10505529"/>
              <a:gd name="connsiteY31155" fmla="*/ 2211196 h 7458372"/>
              <a:gd name="connsiteX31156" fmla="*/ 913779 w 10505529"/>
              <a:gd name="connsiteY31156" fmla="*/ 2205738 h 7458372"/>
              <a:gd name="connsiteX31157" fmla="*/ 912714 w 10505529"/>
              <a:gd name="connsiteY31157" fmla="*/ 2200546 h 7458372"/>
              <a:gd name="connsiteX31158" fmla="*/ 910052 w 10505529"/>
              <a:gd name="connsiteY31158" fmla="*/ 2196420 h 7458372"/>
              <a:gd name="connsiteX31159" fmla="*/ 906058 w 10505529"/>
              <a:gd name="connsiteY31159" fmla="*/ 2193757 h 7458372"/>
              <a:gd name="connsiteX31160" fmla="*/ 901000 w 10505529"/>
              <a:gd name="connsiteY31160" fmla="*/ 2192826 h 7458372"/>
              <a:gd name="connsiteX31161" fmla="*/ 683223 w 10505529"/>
              <a:gd name="connsiteY31161" fmla="*/ 2192826 h 7458372"/>
              <a:gd name="connsiteX31162" fmla="*/ 673239 w 10505529"/>
              <a:gd name="connsiteY31162" fmla="*/ 2196420 h 7458372"/>
              <a:gd name="connsiteX31163" fmla="*/ 669646 w 10505529"/>
              <a:gd name="connsiteY31163" fmla="*/ 2205871 h 7458372"/>
              <a:gd name="connsiteX31164" fmla="*/ 673239 w 10505529"/>
              <a:gd name="connsiteY31164" fmla="*/ 2215322 h 7458372"/>
              <a:gd name="connsiteX31165" fmla="*/ 683223 w 10505529"/>
              <a:gd name="connsiteY31165" fmla="*/ 2218783 h 7458372"/>
              <a:gd name="connsiteX31166" fmla="*/ 688548 w 10505529"/>
              <a:gd name="connsiteY31166" fmla="*/ 2217851 h 7458372"/>
              <a:gd name="connsiteX31167" fmla="*/ 692275 w 10505529"/>
              <a:gd name="connsiteY31167" fmla="*/ 2215455 h 7458372"/>
              <a:gd name="connsiteX31168" fmla="*/ 694938 w 10505529"/>
              <a:gd name="connsiteY31168" fmla="*/ 2211196 h 7458372"/>
              <a:gd name="connsiteX31169" fmla="*/ 696003 w 10505529"/>
              <a:gd name="connsiteY31169" fmla="*/ 2205738 h 7458372"/>
              <a:gd name="connsiteX31170" fmla="*/ 694938 w 10505529"/>
              <a:gd name="connsiteY31170" fmla="*/ 2200546 h 7458372"/>
              <a:gd name="connsiteX31171" fmla="*/ 692275 w 10505529"/>
              <a:gd name="connsiteY31171" fmla="*/ 2196420 h 7458372"/>
              <a:gd name="connsiteX31172" fmla="*/ 688282 w 10505529"/>
              <a:gd name="connsiteY31172" fmla="*/ 2193757 h 7458372"/>
              <a:gd name="connsiteX31173" fmla="*/ 683223 w 10505529"/>
              <a:gd name="connsiteY31173" fmla="*/ 2192826 h 7458372"/>
              <a:gd name="connsiteX31174" fmla="*/ 465579 w 10505529"/>
              <a:gd name="connsiteY31174" fmla="*/ 2192826 h 7458372"/>
              <a:gd name="connsiteX31175" fmla="*/ 455596 w 10505529"/>
              <a:gd name="connsiteY31175" fmla="*/ 2196420 h 7458372"/>
              <a:gd name="connsiteX31176" fmla="*/ 452002 w 10505529"/>
              <a:gd name="connsiteY31176" fmla="*/ 2205871 h 7458372"/>
              <a:gd name="connsiteX31177" fmla="*/ 455596 w 10505529"/>
              <a:gd name="connsiteY31177" fmla="*/ 2215322 h 7458372"/>
              <a:gd name="connsiteX31178" fmla="*/ 465579 w 10505529"/>
              <a:gd name="connsiteY31178" fmla="*/ 2218783 h 7458372"/>
              <a:gd name="connsiteX31179" fmla="*/ 470904 w 10505529"/>
              <a:gd name="connsiteY31179" fmla="*/ 2217851 h 7458372"/>
              <a:gd name="connsiteX31180" fmla="*/ 474631 w 10505529"/>
              <a:gd name="connsiteY31180" fmla="*/ 2215455 h 7458372"/>
              <a:gd name="connsiteX31181" fmla="*/ 477295 w 10505529"/>
              <a:gd name="connsiteY31181" fmla="*/ 2211196 h 7458372"/>
              <a:gd name="connsiteX31182" fmla="*/ 478359 w 10505529"/>
              <a:gd name="connsiteY31182" fmla="*/ 2205738 h 7458372"/>
              <a:gd name="connsiteX31183" fmla="*/ 477295 w 10505529"/>
              <a:gd name="connsiteY31183" fmla="*/ 2200546 h 7458372"/>
              <a:gd name="connsiteX31184" fmla="*/ 474631 w 10505529"/>
              <a:gd name="connsiteY31184" fmla="*/ 2196420 h 7458372"/>
              <a:gd name="connsiteX31185" fmla="*/ 470638 w 10505529"/>
              <a:gd name="connsiteY31185" fmla="*/ 2193757 h 7458372"/>
              <a:gd name="connsiteX31186" fmla="*/ 465579 w 10505529"/>
              <a:gd name="connsiteY31186" fmla="*/ 2192826 h 7458372"/>
              <a:gd name="connsiteX31187" fmla="*/ 247936 w 10505529"/>
              <a:gd name="connsiteY31187" fmla="*/ 2192826 h 7458372"/>
              <a:gd name="connsiteX31188" fmla="*/ 237953 w 10505529"/>
              <a:gd name="connsiteY31188" fmla="*/ 2196420 h 7458372"/>
              <a:gd name="connsiteX31189" fmla="*/ 234359 w 10505529"/>
              <a:gd name="connsiteY31189" fmla="*/ 2205871 h 7458372"/>
              <a:gd name="connsiteX31190" fmla="*/ 237953 w 10505529"/>
              <a:gd name="connsiteY31190" fmla="*/ 2215322 h 7458372"/>
              <a:gd name="connsiteX31191" fmla="*/ 247936 w 10505529"/>
              <a:gd name="connsiteY31191" fmla="*/ 2218783 h 7458372"/>
              <a:gd name="connsiteX31192" fmla="*/ 253261 w 10505529"/>
              <a:gd name="connsiteY31192" fmla="*/ 2217851 h 7458372"/>
              <a:gd name="connsiteX31193" fmla="*/ 256988 w 10505529"/>
              <a:gd name="connsiteY31193" fmla="*/ 2215455 h 7458372"/>
              <a:gd name="connsiteX31194" fmla="*/ 259651 w 10505529"/>
              <a:gd name="connsiteY31194" fmla="*/ 2211196 h 7458372"/>
              <a:gd name="connsiteX31195" fmla="*/ 260716 w 10505529"/>
              <a:gd name="connsiteY31195" fmla="*/ 2205738 h 7458372"/>
              <a:gd name="connsiteX31196" fmla="*/ 259651 w 10505529"/>
              <a:gd name="connsiteY31196" fmla="*/ 2200546 h 7458372"/>
              <a:gd name="connsiteX31197" fmla="*/ 256988 w 10505529"/>
              <a:gd name="connsiteY31197" fmla="*/ 2196420 h 7458372"/>
              <a:gd name="connsiteX31198" fmla="*/ 252995 w 10505529"/>
              <a:gd name="connsiteY31198" fmla="*/ 2193757 h 7458372"/>
              <a:gd name="connsiteX31199" fmla="*/ 247936 w 10505529"/>
              <a:gd name="connsiteY31199" fmla="*/ 2192826 h 7458372"/>
              <a:gd name="connsiteX31200" fmla="*/ 30292 w 10505529"/>
              <a:gd name="connsiteY31200" fmla="*/ 2192826 h 7458372"/>
              <a:gd name="connsiteX31201" fmla="*/ 20309 w 10505529"/>
              <a:gd name="connsiteY31201" fmla="*/ 2196420 h 7458372"/>
              <a:gd name="connsiteX31202" fmla="*/ 16715 w 10505529"/>
              <a:gd name="connsiteY31202" fmla="*/ 2205871 h 7458372"/>
              <a:gd name="connsiteX31203" fmla="*/ 20309 w 10505529"/>
              <a:gd name="connsiteY31203" fmla="*/ 2215322 h 7458372"/>
              <a:gd name="connsiteX31204" fmla="*/ 30292 w 10505529"/>
              <a:gd name="connsiteY31204" fmla="*/ 2218783 h 7458372"/>
              <a:gd name="connsiteX31205" fmla="*/ 35617 w 10505529"/>
              <a:gd name="connsiteY31205" fmla="*/ 2217851 h 7458372"/>
              <a:gd name="connsiteX31206" fmla="*/ 39344 w 10505529"/>
              <a:gd name="connsiteY31206" fmla="*/ 2215455 h 7458372"/>
              <a:gd name="connsiteX31207" fmla="*/ 42008 w 10505529"/>
              <a:gd name="connsiteY31207" fmla="*/ 2211196 h 7458372"/>
              <a:gd name="connsiteX31208" fmla="*/ 42939 w 10505529"/>
              <a:gd name="connsiteY31208" fmla="*/ 2205738 h 7458372"/>
              <a:gd name="connsiteX31209" fmla="*/ 42008 w 10505529"/>
              <a:gd name="connsiteY31209" fmla="*/ 2200546 h 7458372"/>
              <a:gd name="connsiteX31210" fmla="*/ 39344 w 10505529"/>
              <a:gd name="connsiteY31210" fmla="*/ 2196420 h 7458372"/>
              <a:gd name="connsiteX31211" fmla="*/ 35351 w 10505529"/>
              <a:gd name="connsiteY31211" fmla="*/ 2193757 h 7458372"/>
              <a:gd name="connsiteX31212" fmla="*/ 30292 w 10505529"/>
              <a:gd name="connsiteY31212" fmla="*/ 2192826 h 7458372"/>
              <a:gd name="connsiteX31213" fmla="*/ 10475977 w 10505529"/>
              <a:gd name="connsiteY31213" fmla="*/ 2176186 h 7458372"/>
              <a:gd name="connsiteX31214" fmla="*/ 10487824 w 10505529"/>
              <a:gd name="connsiteY31214" fmla="*/ 2178848 h 7458372"/>
              <a:gd name="connsiteX31215" fmla="*/ 10497143 w 10505529"/>
              <a:gd name="connsiteY31215" fmla="*/ 2185238 h 7458372"/>
              <a:gd name="connsiteX31216" fmla="*/ 10503266 w 10505529"/>
              <a:gd name="connsiteY31216" fmla="*/ 2194555 h 7458372"/>
              <a:gd name="connsiteX31217" fmla="*/ 10505529 w 10505529"/>
              <a:gd name="connsiteY31217" fmla="*/ 2206004 h 7458372"/>
              <a:gd name="connsiteX31218" fmla="*/ 10503266 w 10505529"/>
              <a:gd name="connsiteY31218" fmla="*/ 2217718 h 7458372"/>
              <a:gd name="connsiteX31219" fmla="*/ 10497143 w 10505529"/>
              <a:gd name="connsiteY31219" fmla="*/ 2227037 h 7458372"/>
              <a:gd name="connsiteX31220" fmla="*/ 10487824 w 10505529"/>
              <a:gd name="connsiteY31220" fmla="*/ 2233293 h 7458372"/>
              <a:gd name="connsiteX31221" fmla="*/ 10475977 w 10505529"/>
              <a:gd name="connsiteY31221" fmla="*/ 2235556 h 7458372"/>
              <a:gd name="connsiteX31222" fmla="*/ 10454145 w 10505529"/>
              <a:gd name="connsiteY31222" fmla="*/ 2227037 h 7458372"/>
              <a:gd name="connsiteX31223" fmla="*/ 10445759 w 10505529"/>
              <a:gd name="connsiteY31223" fmla="*/ 2205871 h 7458372"/>
              <a:gd name="connsiteX31224" fmla="*/ 10454145 w 10505529"/>
              <a:gd name="connsiteY31224" fmla="*/ 2184838 h 7458372"/>
              <a:gd name="connsiteX31225" fmla="*/ 10475977 w 10505529"/>
              <a:gd name="connsiteY31225" fmla="*/ 2176186 h 7458372"/>
              <a:gd name="connsiteX31226" fmla="*/ 10258466 w 10505529"/>
              <a:gd name="connsiteY31226" fmla="*/ 2176186 h 7458372"/>
              <a:gd name="connsiteX31227" fmla="*/ 10270313 w 10505529"/>
              <a:gd name="connsiteY31227" fmla="*/ 2178848 h 7458372"/>
              <a:gd name="connsiteX31228" fmla="*/ 10279631 w 10505529"/>
              <a:gd name="connsiteY31228" fmla="*/ 2185238 h 7458372"/>
              <a:gd name="connsiteX31229" fmla="*/ 10285754 w 10505529"/>
              <a:gd name="connsiteY31229" fmla="*/ 2194555 h 7458372"/>
              <a:gd name="connsiteX31230" fmla="*/ 10288017 w 10505529"/>
              <a:gd name="connsiteY31230" fmla="*/ 2206004 h 7458372"/>
              <a:gd name="connsiteX31231" fmla="*/ 10285754 w 10505529"/>
              <a:gd name="connsiteY31231" fmla="*/ 2217718 h 7458372"/>
              <a:gd name="connsiteX31232" fmla="*/ 10279631 w 10505529"/>
              <a:gd name="connsiteY31232" fmla="*/ 2227037 h 7458372"/>
              <a:gd name="connsiteX31233" fmla="*/ 10270313 w 10505529"/>
              <a:gd name="connsiteY31233" fmla="*/ 2233293 h 7458372"/>
              <a:gd name="connsiteX31234" fmla="*/ 10258466 w 10505529"/>
              <a:gd name="connsiteY31234" fmla="*/ 2235556 h 7458372"/>
              <a:gd name="connsiteX31235" fmla="*/ 10236633 w 10505529"/>
              <a:gd name="connsiteY31235" fmla="*/ 2227037 h 7458372"/>
              <a:gd name="connsiteX31236" fmla="*/ 10228247 w 10505529"/>
              <a:gd name="connsiteY31236" fmla="*/ 2205871 h 7458372"/>
              <a:gd name="connsiteX31237" fmla="*/ 10236633 w 10505529"/>
              <a:gd name="connsiteY31237" fmla="*/ 2184838 h 7458372"/>
              <a:gd name="connsiteX31238" fmla="*/ 10258466 w 10505529"/>
              <a:gd name="connsiteY31238" fmla="*/ 2176186 h 7458372"/>
              <a:gd name="connsiteX31239" fmla="*/ 10040820 w 10505529"/>
              <a:gd name="connsiteY31239" fmla="*/ 2176186 h 7458372"/>
              <a:gd name="connsiteX31240" fmla="*/ 10052534 w 10505529"/>
              <a:gd name="connsiteY31240" fmla="*/ 2178848 h 7458372"/>
              <a:gd name="connsiteX31241" fmla="*/ 10061852 w 10505529"/>
              <a:gd name="connsiteY31241" fmla="*/ 2185238 h 7458372"/>
              <a:gd name="connsiteX31242" fmla="*/ 10067976 w 10505529"/>
              <a:gd name="connsiteY31242" fmla="*/ 2194555 h 7458372"/>
              <a:gd name="connsiteX31243" fmla="*/ 10070239 w 10505529"/>
              <a:gd name="connsiteY31243" fmla="*/ 2206004 h 7458372"/>
              <a:gd name="connsiteX31244" fmla="*/ 10067976 w 10505529"/>
              <a:gd name="connsiteY31244" fmla="*/ 2217718 h 7458372"/>
              <a:gd name="connsiteX31245" fmla="*/ 10061852 w 10505529"/>
              <a:gd name="connsiteY31245" fmla="*/ 2227037 h 7458372"/>
              <a:gd name="connsiteX31246" fmla="*/ 10052534 w 10505529"/>
              <a:gd name="connsiteY31246" fmla="*/ 2233293 h 7458372"/>
              <a:gd name="connsiteX31247" fmla="*/ 10040820 w 10505529"/>
              <a:gd name="connsiteY31247" fmla="*/ 2235556 h 7458372"/>
              <a:gd name="connsiteX31248" fmla="*/ 10018988 w 10505529"/>
              <a:gd name="connsiteY31248" fmla="*/ 2227037 h 7458372"/>
              <a:gd name="connsiteX31249" fmla="*/ 10010602 w 10505529"/>
              <a:gd name="connsiteY31249" fmla="*/ 2205871 h 7458372"/>
              <a:gd name="connsiteX31250" fmla="*/ 10018988 w 10505529"/>
              <a:gd name="connsiteY31250" fmla="*/ 2184838 h 7458372"/>
              <a:gd name="connsiteX31251" fmla="*/ 10040820 w 10505529"/>
              <a:gd name="connsiteY31251" fmla="*/ 2176186 h 7458372"/>
              <a:gd name="connsiteX31252" fmla="*/ 9823176 w 10505529"/>
              <a:gd name="connsiteY31252" fmla="*/ 2176186 h 7458372"/>
              <a:gd name="connsiteX31253" fmla="*/ 9834890 w 10505529"/>
              <a:gd name="connsiteY31253" fmla="*/ 2178848 h 7458372"/>
              <a:gd name="connsiteX31254" fmla="*/ 9844208 w 10505529"/>
              <a:gd name="connsiteY31254" fmla="*/ 2185238 h 7458372"/>
              <a:gd name="connsiteX31255" fmla="*/ 9850331 w 10505529"/>
              <a:gd name="connsiteY31255" fmla="*/ 2194555 h 7458372"/>
              <a:gd name="connsiteX31256" fmla="*/ 9852595 w 10505529"/>
              <a:gd name="connsiteY31256" fmla="*/ 2206004 h 7458372"/>
              <a:gd name="connsiteX31257" fmla="*/ 9850331 w 10505529"/>
              <a:gd name="connsiteY31257" fmla="*/ 2217718 h 7458372"/>
              <a:gd name="connsiteX31258" fmla="*/ 9844208 w 10505529"/>
              <a:gd name="connsiteY31258" fmla="*/ 2227037 h 7458372"/>
              <a:gd name="connsiteX31259" fmla="*/ 9834890 w 10505529"/>
              <a:gd name="connsiteY31259" fmla="*/ 2233293 h 7458372"/>
              <a:gd name="connsiteX31260" fmla="*/ 9823176 w 10505529"/>
              <a:gd name="connsiteY31260" fmla="*/ 2235556 h 7458372"/>
              <a:gd name="connsiteX31261" fmla="*/ 9801343 w 10505529"/>
              <a:gd name="connsiteY31261" fmla="*/ 2227037 h 7458372"/>
              <a:gd name="connsiteX31262" fmla="*/ 9792957 w 10505529"/>
              <a:gd name="connsiteY31262" fmla="*/ 2205871 h 7458372"/>
              <a:gd name="connsiteX31263" fmla="*/ 9801343 w 10505529"/>
              <a:gd name="connsiteY31263" fmla="*/ 2184838 h 7458372"/>
              <a:gd name="connsiteX31264" fmla="*/ 9823176 w 10505529"/>
              <a:gd name="connsiteY31264" fmla="*/ 2176186 h 7458372"/>
              <a:gd name="connsiteX31265" fmla="*/ 9605531 w 10505529"/>
              <a:gd name="connsiteY31265" fmla="*/ 2176186 h 7458372"/>
              <a:gd name="connsiteX31266" fmla="*/ 9617245 w 10505529"/>
              <a:gd name="connsiteY31266" fmla="*/ 2178848 h 7458372"/>
              <a:gd name="connsiteX31267" fmla="*/ 9626562 w 10505529"/>
              <a:gd name="connsiteY31267" fmla="*/ 2185238 h 7458372"/>
              <a:gd name="connsiteX31268" fmla="*/ 9632686 w 10505529"/>
              <a:gd name="connsiteY31268" fmla="*/ 2194555 h 7458372"/>
              <a:gd name="connsiteX31269" fmla="*/ 9634949 w 10505529"/>
              <a:gd name="connsiteY31269" fmla="*/ 2206004 h 7458372"/>
              <a:gd name="connsiteX31270" fmla="*/ 9632686 w 10505529"/>
              <a:gd name="connsiteY31270" fmla="*/ 2217718 h 7458372"/>
              <a:gd name="connsiteX31271" fmla="*/ 9626562 w 10505529"/>
              <a:gd name="connsiteY31271" fmla="*/ 2227037 h 7458372"/>
              <a:gd name="connsiteX31272" fmla="*/ 9617245 w 10505529"/>
              <a:gd name="connsiteY31272" fmla="*/ 2233293 h 7458372"/>
              <a:gd name="connsiteX31273" fmla="*/ 9605531 w 10505529"/>
              <a:gd name="connsiteY31273" fmla="*/ 2235556 h 7458372"/>
              <a:gd name="connsiteX31274" fmla="*/ 9583698 w 10505529"/>
              <a:gd name="connsiteY31274" fmla="*/ 2227037 h 7458372"/>
              <a:gd name="connsiteX31275" fmla="*/ 9575312 w 10505529"/>
              <a:gd name="connsiteY31275" fmla="*/ 2205871 h 7458372"/>
              <a:gd name="connsiteX31276" fmla="*/ 9583698 w 10505529"/>
              <a:gd name="connsiteY31276" fmla="*/ 2184838 h 7458372"/>
              <a:gd name="connsiteX31277" fmla="*/ 9605531 w 10505529"/>
              <a:gd name="connsiteY31277" fmla="*/ 2176186 h 7458372"/>
              <a:gd name="connsiteX31278" fmla="*/ 9387885 w 10505529"/>
              <a:gd name="connsiteY31278" fmla="*/ 2176186 h 7458372"/>
              <a:gd name="connsiteX31279" fmla="*/ 9399599 w 10505529"/>
              <a:gd name="connsiteY31279" fmla="*/ 2178848 h 7458372"/>
              <a:gd name="connsiteX31280" fmla="*/ 9408917 w 10505529"/>
              <a:gd name="connsiteY31280" fmla="*/ 2185238 h 7458372"/>
              <a:gd name="connsiteX31281" fmla="*/ 9415041 w 10505529"/>
              <a:gd name="connsiteY31281" fmla="*/ 2194555 h 7458372"/>
              <a:gd name="connsiteX31282" fmla="*/ 9417304 w 10505529"/>
              <a:gd name="connsiteY31282" fmla="*/ 2206004 h 7458372"/>
              <a:gd name="connsiteX31283" fmla="*/ 9415041 w 10505529"/>
              <a:gd name="connsiteY31283" fmla="*/ 2217718 h 7458372"/>
              <a:gd name="connsiteX31284" fmla="*/ 9408917 w 10505529"/>
              <a:gd name="connsiteY31284" fmla="*/ 2227037 h 7458372"/>
              <a:gd name="connsiteX31285" fmla="*/ 9399599 w 10505529"/>
              <a:gd name="connsiteY31285" fmla="*/ 2233293 h 7458372"/>
              <a:gd name="connsiteX31286" fmla="*/ 9387885 w 10505529"/>
              <a:gd name="connsiteY31286" fmla="*/ 2235556 h 7458372"/>
              <a:gd name="connsiteX31287" fmla="*/ 9366053 w 10505529"/>
              <a:gd name="connsiteY31287" fmla="*/ 2227037 h 7458372"/>
              <a:gd name="connsiteX31288" fmla="*/ 9357667 w 10505529"/>
              <a:gd name="connsiteY31288" fmla="*/ 2205871 h 7458372"/>
              <a:gd name="connsiteX31289" fmla="*/ 9366053 w 10505529"/>
              <a:gd name="connsiteY31289" fmla="*/ 2184838 h 7458372"/>
              <a:gd name="connsiteX31290" fmla="*/ 9387885 w 10505529"/>
              <a:gd name="connsiteY31290" fmla="*/ 2176186 h 7458372"/>
              <a:gd name="connsiteX31291" fmla="*/ 9170374 w 10505529"/>
              <a:gd name="connsiteY31291" fmla="*/ 2176186 h 7458372"/>
              <a:gd name="connsiteX31292" fmla="*/ 9182088 w 10505529"/>
              <a:gd name="connsiteY31292" fmla="*/ 2178848 h 7458372"/>
              <a:gd name="connsiteX31293" fmla="*/ 9191405 w 10505529"/>
              <a:gd name="connsiteY31293" fmla="*/ 2185238 h 7458372"/>
              <a:gd name="connsiteX31294" fmla="*/ 9197529 w 10505529"/>
              <a:gd name="connsiteY31294" fmla="*/ 2194555 h 7458372"/>
              <a:gd name="connsiteX31295" fmla="*/ 9199792 w 10505529"/>
              <a:gd name="connsiteY31295" fmla="*/ 2206004 h 7458372"/>
              <a:gd name="connsiteX31296" fmla="*/ 9197529 w 10505529"/>
              <a:gd name="connsiteY31296" fmla="*/ 2217718 h 7458372"/>
              <a:gd name="connsiteX31297" fmla="*/ 9191405 w 10505529"/>
              <a:gd name="connsiteY31297" fmla="*/ 2227037 h 7458372"/>
              <a:gd name="connsiteX31298" fmla="*/ 9182088 w 10505529"/>
              <a:gd name="connsiteY31298" fmla="*/ 2233293 h 7458372"/>
              <a:gd name="connsiteX31299" fmla="*/ 9170374 w 10505529"/>
              <a:gd name="connsiteY31299" fmla="*/ 2235556 h 7458372"/>
              <a:gd name="connsiteX31300" fmla="*/ 9148541 w 10505529"/>
              <a:gd name="connsiteY31300" fmla="*/ 2227037 h 7458372"/>
              <a:gd name="connsiteX31301" fmla="*/ 9140155 w 10505529"/>
              <a:gd name="connsiteY31301" fmla="*/ 2205871 h 7458372"/>
              <a:gd name="connsiteX31302" fmla="*/ 9148541 w 10505529"/>
              <a:gd name="connsiteY31302" fmla="*/ 2184838 h 7458372"/>
              <a:gd name="connsiteX31303" fmla="*/ 9170374 w 10505529"/>
              <a:gd name="connsiteY31303" fmla="*/ 2176186 h 7458372"/>
              <a:gd name="connsiteX31304" fmla="*/ 8952728 w 10505529"/>
              <a:gd name="connsiteY31304" fmla="*/ 2176186 h 7458372"/>
              <a:gd name="connsiteX31305" fmla="*/ 8964442 w 10505529"/>
              <a:gd name="connsiteY31305" fmla="*/ 2178848 h 7458372"/>
              <a:gd name="connsiteX31306" fmla="*/ 8973760 w 10505529"/>
              <a:gd name="connsiteY31306" fmla="*/ 2185238 h 7458372"/>
              <a:gd name="connsiteX31307" fmla="*/ 8979884 w 10505529"/>
              <a:gd name="connsiteY31307" fmla="*/ 2194555 h 7458372"/>
              <a:gd name="connsiteX31308" fmla="*/ 8982147 w 10505529"/>
              <a:gd name="connsiteY31308" fmla="*/ 2206004 h 7458372"/>
              <a:gd name="connsiteX31309" fmla="*/ 8979884 w 10505529"/>
              <a:gd name="connsiteY31309" fmla="*/ 2217718 h 7458372"/>
              <a:gd name="connsiteX31310" fmla="*/ 8973760 w 10505529"/>
              <a:gd name="connsiteY31310" fmla="*/ 2227037 h 7458372"/>
              <a:gd name="connsiteX31311" fmla="*/ 8964442 w 10505529"/>
              <a:gd name="connsiteY31311" fmla="*/ 2233293 h 7458372"/>
              <a:gd name="connsiteX31312" fmla="*/ 8952728 w 10505529"/>
              <a:gd name="connsiteY31312" fmla="*/ 2235556 h 7458372"/>
              <a:gd name="connsiteX31313" fmla="*/ 8930896 w 10505529"/>
              <a:gd name="connsiteY31313" fmla="*/ 2227037 h 7458372"/>
              <a:gd name="connsiteX31314" fmla="*/ 8922510 w 10505529"/>
              <a:gd name="connsiteY31314" fmla="*/ 2205871 h 7458372"/>
              <a:gd name="connsiteX31315" fmla="*/ 8930896 w 10505529"/>
              <a:gd name="connsiteY31315" fmla="*/ 2184838 h 7458372"/>
              <a:gd name="connsiteX31316" fmla="*/ 8952728 w 10505529"/>
              <a:gd name="connsiteY31316" fmla="*/ 2176186 h 7458372"/>
              <a:gd name="connsiteX31317" fmla="*/ 8735083 w 10505529"/>
              <a:gd name="connsiteY31317" fmla="*/ 2176186 h 7458372"/>
              <a:gd name="connsiteX31318" fmla="*/ 8746797 w 10505529"/>
              <a:gd name="connsiteY31318" fmla="*/ 2178848 h 7458372"/>
              <a:gd name="connsiteX31319" fmla="*/ 8756115 w 10505529"/>
              <a:gd name="connsiteY31319" fmla="*/ 2185238 h 7458372"/>
              <a:gd name="connsiteX31320" fmla="*/ 8762238 w 10505529"/>
              <a:gd name="connsiteY31320" fmla="*/ 2194555 h 7458372"/>
              <a:gd name="connsiteX31321" fmla="*/ 8764502 w 10505529"/>
              <a:gd name="connsiteY31321" fmla="*/ 2206004 h 7458372"/>
              <a:gd name="connsiteX31322" fmla="*/ 8762238 w 10505529"/>
              <a:gd name="connsiteY31322" fmla="*/ 2217718 h 7458372"/>
              <a:gd name="connsiteX31323" fmla="*/ 8756115 w 10505529"/>
              <a:gd name="connsiteY31323" fmla="*/ 2227037 h 7458372"/>
              <a:gd name="connsiteX31324" fmla="*/ 8746797 w 10505529"/>
              <a:gd name="connsiteY31324" fmla="*/ 2233293 h 7458372"/>
              <a:gd name="connsiteX31325" fmla="*/ 8735083 w 10505529"/>
              <a:gd name="connsiteY31325" fmla="*/ 2235556 h 7458372"/>
              <a:gd name="connsiteX31326" fmla="*/ 8713250 w 10505529"/>
              <a:gd name="connsiteY31326" fmla="*/ 2227037 h 7458372"/>
              <a:gd name="connsiteX31327" fmla="*/ 8704864 w 10505529"/>
              <a:gd name="connsiteY31327" fmla="*/ 2205871 h 7458372"/>
              <a:gd name="connsiteX31328" fmla="*/ 8713250 w 10505529"/>
              <a:gd name="connsiteY31328" fmla="*/ 2184838 h 7458372"/>
              <a:gd name="connsiteX31329" fmla="*/ 8735083 w 10505529"/>
              <a:gd name="connsiteY31329" fmla="*/ 2176186 h 7458372"/>
              <a:gd name="connsiteX31330" fmla="*/ 8517438 w 10505529"/>
              <a:gd name="connsiteY31330" fmla="*/ 2176186 h 7458372"/>
              <a:gd name="connsiteX31331" fmla="*/ 8529152 w 10505529"/>
              <a:gd name="connsiteY31331" fmla="*/ 2178848 h 7458372"/>
              <a:gd name="connsiteX31332" fmla="*/ 8538470 w 10505529"/>
              <a:gd name="connsiteY31332" fmla="*/ 2185238 h 7458372"/>
              <a:gd name="connsiteX31333" fmla="*/ 8544594 w 10505529"/>
              <a:gd name="connsiteY31333" fmla="*/ 2194555 h 7458372"/>
              <a:gd name="connsiteX31334" fmla="*/ 8546857 w 10505529"/>
              <a:gd name="connsiteY31334" fmla="*/ 2206004 h 7458372"/>
              <a:gd name="connsiteX31335" fmla="*/ 8544594 w 10505529"/>
              <a:gd name="connsiteY31335" fmla="*/ 2217718 h 7458372"/>
              <a:gd name="connsiteX31336" fmla="*/ 8538470 w 10505529"/>
              <a:gd name="connsiteY31336" fmla="*/ 2227037 h 7458372"/>
              <a:gd name="connsiteX31337" fmla="*/ 8529152 w 10505529"/>
              <a:gd name="connsiteY31337" fmla="*/ 2233293 h 7458372"/>
              <a:gd name="connsiteX31338" fmla="*/ 8517438 w 10505529"/>
              <a:gd name="connsiteY31338" fmla="*/ 2235556 h 7458372"/>
              <a:gd name="connsiteX31339" fmla="*/ 8495606 w 10505529"/>
              <a:gd name="connsiteY31339" fmla="*/ 2227037 h 7458372"/>
              <a:gd name="connsiteX31340" fmla="*/ 8487220 w 10505529"/>
              <a:gd name="connsiteY31340" fmla="*/ 2205871 h 7458372"/>
              <a:gd name="connsiteX31341" fmla="*/ 8495606 w 10505529"/>
              <a:gd name="connsiteY31341" fmla="*/ 2184838 h 7458372"/>
              <a:gd name="connsiteX31342" fmla="*/ 8517438 w 10505529"/>
              <a:gd name="connsiteY31342" fmla="*/ 2176186 h 7458372"/>
              <a:gd name="connsiteX31343" fmla="*/ 8299793 w 10505529"/>
              <a:gd name="connsiteY31343" fmla="*/ 2176186 h 7458372"/>
              <a:gd name="connsiteX31344" fmla="*/ 8311507 w 10505529"/>
              <a:gd name="connsiteY31344" fmla="*/ 2178848 h 7458372"/>
              <a:gd name="connsiteX31345" fmla="*/ 8320825 w 10505529"/>
              <a:gd name="connsiteY31345" fmla="*/ 2185238 h 7458372"/>
              <a:gd name="connsiteX31346" fmla="*/ 8326948 w 10505529"/>
              <a:gd name="connsiteY31346" fmla="*/ 2194555 h 7458372"/>
              <a:gd name="connsiteX31347" fmla="*/ 8329212 w 10505529"/>
              <a:gd name="connsiteY31347" fmla="*/ 2206004 h 7458372"/>
              <a:gd name="connsiteX31348" fmla="*/ 8326948 w 10505529"/>
              <a:gd name="connsiteY31348" fmla="*/ 2217718 h 7458372"/>
              <a:gd name="connsiteX31349" fmla="*/ 8320825 w 10505529"/>
              <a:gd name="connsiteY31349" fmla="*/ 2227037 h 7458372"/>
              <a:gd name="connsiteX31350" fmla="*/ 8311507 w 10505529"/>
              <a:gd name="connsiteY31350" fmla="*/ 2233293 h 7458372"/>
              <a:gd name="connsiteX31351" fmla="*/ 8299793 w 10505529"/>
              <a:gd name="connsiteY31351" fmla="*/ 2235556 h 7458372"/>
              <a:gd name="connsiteX31352" fmla="*/ 8277960 w 10505529"/>
              <a:gd name="connsiteY31352" fmla="*/ 2227037 h 7458372"/>
              <a:gd name="connsiteX31353" fmla="*/ 8269574 w 10505529"/>
              <a:gd name="connsiteY31353" fmla="*/ 2205871 h 7458372"/>
              <a:gd name="connsiteX31354" fmla="*/ 8277960 w 10505529"/>
              <a:gd name="connsiteY31354" fmla="*/ 2184838 h 7458372"/>
              <a:gd name="connsiteX31355" fmla="*/ 8299793 w 10505529"/>
              <a:gd name="connsiteY31355" fmla="*/ 2176186 h 7458372"/>
              <a:gd name="connsiteX31356" fmla="*/ 8082281 w 10505529"/>
              <a:gd name="connsiteY31356" fmla="*/ 2176186 h 7458372"/>
              <a:gd name="connsiteX31357" fmla="*/ 8094127 w 10505529"/>
              <a:gd name="connsiteY31357" fmla="*/ 2178848 h 7458372"/>
              <a:gd name="connsiteX31358" fmla="*/ 8103446 w 10505529"/>
              <a:gd name="connsiteY31358" fmla="*/ 2185238 h 7458372"/>
              <a:gd name="connsiteX31359" fmla="*/ 8109569 w 10505529"/>
              <a:gd name="connsiteY31359" fmla="*/ 2194555 h 7458372"/>
              <a:gd name="connsiteX31360" fmla="*/ 8111832 w 10505529"/>
              <a:gd name="connsiteY31360" fmla="*/ 2206004 h 7458372"/>
              <a:gd name="connsiteX31361" fmla="*/ 8109569 w 10505529"/>
              <a:gd name="connsiteY31361" fmla="*/ 2217718 h 7458372"/>
              <a:gd name="connsiteX31362" fmla="*/ 8103446 w 10505529"/>
              <a:gd name="connsiteY31362" fmla="*/ 2227037 h 7458372"/>
              <a:gd name="connsiteX31363" fmla="*/ 8094127 w 10505529"/>
              <a:gd name="connsiteY31363" fmla="*/ 2233293 h 7458372"/>
              <a:gd name="connsiteX31364" fmla="*/ 8082281 w 10505529"/>
              <a:gd name="connsiteY31364" fmla="*/ 2235556 h 7458372"/>
              <a:gd name="connsiteX31365" fmla="*/ 8060448 w 10505529"/>
              <a:gd name="connsiteY31365" fmla="*/ 2227037 h 7458372"/>
              <a:gd name="connsiteX31366" fmla="*/ 8052062 w 10505529"/>
              <a:gd name="connsiteY31366" fmla="*/ 2205871 h 7458372"/>
              <a:gd name="connsiteX31367" fmla="*/ 8060448 w 10505529"/>
              <a:gd name="connsiteY31367" fmla="*/ 2184838 h 7458372"/>
              <a:gd name="connsiteX31368" fmla="*/ 8082281 w 10505529"/>
              <a:gd name="connsiteY31368" fmla="*/ 2176186 h 7458372"/>
              <a:gd name="connsiteX31369" fmla="*/ 7864636 w 10505529"/>
              <a:gd name="connsiteY31369" fmla="*/ 2176186 h 7458372"/>
              <a:gd name="connsiteX31370" fmla="*/ 7876483 w 10505529"/>
              <a:gd name="connsiteY31370" fmla="*/ 2178848 h 7458372"/>
              <a:gd name="connsiteX31371" fmla="*/ 7885802 w 10505529"/>
              <a:gd name="connsiteY31371" fmla="*/ 2185238 h 7458372"/>
              <a:gd name="connsiteX31372" fmla="*/ 7891924 w 10505529"/>
              <a:gd name="connsiteY31372" fmla="*/ 2194555 h 7458372"/>
              <a:gd name="connsiteX31373" fmla="*/ 7894188 w 10505529"/>
              <a:gd name="connsiteY31373" fmla="*/ 2206004 h 7458372"/>
              <a:gd name="connsiteX31374" fmla="*/ 7891924 w 10505529"/>
              <a:gd name="connsiteY31374" fmla="*/ 2217718 h 7458372"/>
              <a:gd name="connsiteX31375" fmla="*/ 7885802 w 10505529"/>
              <a:gd name="connsiteY31375" fmla="*/ 2227037 h 7458372"/>
              <a:gd name="connsiteX31376" fmla="*/ 7876483 w 10505529"/>
              <a:gd name="connsiteY31376" fmla="*/ 2233293 h 7458372"/>
              <a:gd name="connsiteX31377" fmla="*/ 7864636 w 10505529"/>
              <a:gd name="connsiteY31377" fmla="*/ 2235556 h 7458372"/>
              <a:gd name="connsiteX31378" fmla="*/ 7842803 w 10505529"/>
              <a:gd name="connsiteY31378" fmla="*/ 2227037 h 7458372"/>
              <a:gd name="connsiteX31379" fmla="*/ 7834417 w 10505529"/>
              <a:gd name="connsiteY31379" fmla="*/ 2205871 h 7458372"/>
              <a:gd name="connsiteX31380" fmla="*/ 7842803 w 10505529"/>
              <a:gd name="connsiteY31380" fmla="*/ 2184838 h 7458372"/>
              <a:gd name="connsiteX31381" fmla="*/ 7864636 w 10505529"/>
              <a:gd name="connsiteY31381" fmla="*/ 2176186 h 7458372"/>
              <a:gd name="connsiteX31382" fmla="*/ 7646991 w 10505529"/>
              <a:gd name="connsiteY31382" fmla="*/ 2176186 h 7458372"/>
              <a:gd name="connsiteX31383" fmla="*/ 7658705 w 10505529"/>
              <a:gd name="connsiteY31383" fmla="*/ 2178848 h 7458372"/>
              <a:gd name="connsiteX31384" fmla="*/ 7668022 w 10505529"/>
              <a:gd name="connsiteY31384" fmla="*/ 2185238 h 7458372"/>
              <a:gd name="connsiteX31385" fmla="*/ 7674146 w 10505529"/>
              <a:gd name="connsiteY31385" fmla="*/ 2194555 h 7458372"/>
              <a:gd name="connsiteX31386" fmla="*/ 7676409 w 10505529"/>
              <a:gd name="connsiteY31386" fmla="*/ 2206004 h 7458372"/>
              <a:gd name="connsiteX31387" fmla="*/ 7674146 w 10505529"/>
              <a:gd name="connsiteY31387" fmla="*/ 2217718 h 7458372"/>
              <a:gd name="connsiteX31388" fmla="*/ 7668022 w 10505529"/>
              <a:gd name="connsiteY31388" fmla="*/ 2227037 h 7458372"/>
              <a:gd name="connsiteX31389" fmla="*/ 7658705 w 10505529"/>
              <a:gd name="connsiteY31389" fmla="*/ 2233293 h 7458372"/>
              <a:gd name="connsiteX31390" fmla="*/ 7646991 w 10505529"/>
              <a:gd name="connsiteY31390" fmla="*/ 2235556 h 7458372"/>
              <a:gd name="connsiteX31391" fmla="*/ 7625158 w 10505529"/>
              <a:gd name="connsiteY31391" fmla="*/ 2227037 h 7458372"/>
              <a:gd name="connsiteX31392" fmla="*/ 7616772 w 10505529"/>
              <a:gd name="connsiteY31392" fmla="*/ 2205871 h 7458372"/>
              <a:gd name="connsiteX31393" fmla="*/ 7625158 w 10505529"/>
              <a:gd name="connsiteY31393" fmla="*/ 2184838 h 7458372"/>
              <a:gd name="connsiteX31394" fmla="*/ 7646991 w 10505529"/>
              <a:gd name="connsiteY31394" fmla="*/ 2176186 h 7458372"/>
              <a:gd name="connsiteX31395" fmla="*/ 7429345 w 10505529"/>
              <a:gd name="connsiteY31395" fmla="*/ 2176186 h 7458372"/>
              <a:gd name="connsiteX31396" fmla="*/ 7441059 w 10505529"/>
              <a:gd name="connsiteY31396" fmla="*/ 2178848 h 7458372"/>
              <a:gd name="connsiteX31397" fmla="*/ 7450377 w 10505529"/>
              <a:gd name="connsiteY31397" fmla="*/ 2185238 h 7458372"/>
              <a:gd name="connsiteX31398" fmla="*/ 7456501 w 10505529"/>
              <a:gd name="connsiteY31398" fmla="*/ 2194555 h 7458372"/>
              <a:gd name="connsiteX31399" fmla="*/ 7458764 w 10505529"/>
              <a:gd name="connsiteY31399" fmla="*/ 2206004 h 7458372"/>
              <a:gd name="connsiteX31400" fmla="*/ 7456501 w 10505529"/>
              <a:gd name="connsiteY31400" fmla="*/ 2217718 h 7458372"/>
              <a:gd name="connsiteX31401" fmla="*/ 7450377 w 10505529"/>
              <a:gd name="connsiteY31401" fmla="*/ 2227037 h 7458372"/>
              <a:gd name="connsiteX31402" fmla="*/ 7441059 w 10505529"/>
              <a:gd name="connsiteY31402" fmla="*/ 2233293 h 7458372"/>
              <a:gd name="connsiteX31403" fmla="*/ 7429345 w 10505529"/>
              <a:gd name="connsiteY31403" fmla="*/ 2235556 h 7458372"/>
              <a:gd name="connsiteX31404" fmla="*/ 7407513 w 10505529"/>
              <a:gd name="connsiteY31404" fmla="*/ 2227037 h 7458372"/>
              <a:gd name="connsiteX31405" fmla="*/ 7399127 w 10505529"/>
              <a:gd name="connsiteY31405" fmla="*/ 2205871 h 7458372"/>
              <a:gd name="connsiteX31406" fmla="*/ 7407513 w 10505529"/>
              <a:gd name="connsiteY31406" fmla="*/ 2184838 h 7458372"/>
              <a:gd name="connsiteX31407" fmla="*/ 7429345 w 10505529"/>
              <a:gd name="connsiteY31407" fmla="*/ 2176186 h 7458372"/>
              <a:gd name="connsiteX31408" fmla="*/ 7211701 w 10505529"/>
              <a:gd name="connsiteY31408" fmla="*/ 2176186 h 7458372"/>
              <a:gd name="connsiteX31409" fmla="*/ 7223415 w 10505529"/>
              <a:gd name="connsiteY31409" fmla="*/ 2178848 h 7458372"/>
              <a:gd name="connsiteX31410" fmla="*/ 7232733 w 10505529"/>
              <a:gd name="connsiteY31410" fmla="*/ 2185238 h 7458372"/>
              <a:gd name="connsiteX31411" fmla="*/ 7238856 w 10505529"/>
              <a:gd name="connsiteY31411" fmla="*/ 2194555 h 7458372"/>
              <a:gd name="connsiteX31412" fmla="*/ 7241120 w 10505529"/>
              <a:gd name="connsiteY31412" fmla="*/ 2206004 h 7458372"/>
              <a:gd name="connsiteX31413" fmla="*/ 7238856 w 10505529"/>
              <a:gd name="connsiteY31413" fmla="*/ 2217718 h 7458372"/>
              <a:gd name="connsiteX31414" fmla="*/ 7232733 w 10505529"/>
              <a:gd name="connsiteY31414" fmla="*/ 2227037 h 7458372"/>
              <a:gd name="connsiteX31415" fmla="*/ 7223415 w 10505529"/>
              <a:gd name="connsiteY31415" fmla="*/ 2233293 h 7458372"/>
              <a:gd name="connsiteX31416" fmla="*/ 7211701 w 10505529"/>
              <a:gd name="connsiteY31416" fmla="*/ 2235556 h 7458372"/>
              <a:gd name="connsiteX31417" fmla="*/ 7189868 w 10505529"/>
              <a:gd name="connsiteY31417" fmla="*/ 2227037 h 7458372"/>
              <a:gd name="connsiteX31418" fmla="*/ 7181482 w 10505529"/>
              <a:gd name="connsiteY31418" fmla="*/ 2205871 h 7458372"/>
              <a:gd name="connsiteX31419" fmla="*/ 7189868 w 10505529"/>
              <a:gd name="connsiteY31419" fmla="*/ 2184838 h 7458372"/>
              <a:gd name="connsiteX31420" fmla="*/ 7211701 w 10505529"/>
              <a:gd name="connsiteY31420" fmla="*/ 2176186 h 7458372"/>
              <a:gd name="connsiteX31421" fmla="*/ 6994056 w 10505529"/>
              <a:gd name="connsiteY31421" fmla="*/ 2176186 h 7458372"/>
              <a:gd name="connsiteX31422" fmla="*/ 7005769 w 10505529"/>
              <a:gd name="connsiteY31422" fmla="*/ 2178848 h 7458372"/>
              <a:gd name="connsiteX31423" fmla="*/ 7015087 w 10505529"/>
              <a:gd name="connsiteY31423" fmla="*/ 2185238 h 7458372"/>
              <a:gd name="connsiteX31424" fmla="*/ 7021211 w 10505529"/>
              <a:gd name="connsiteY31424" fmla="*/ 2194555 h 7458372"/>
              <a:gd name="connsiteX31425" fmla="*/ 7023474 w 10505529"/>
              <a:gd name="connsiteY31425" fmla="*/ 2206004 h 7458372"/>
              <a:gd name="connsiteX31426" fmla="*/ 7021211 w 10505529"/>
              <a:gd name="connsiteY31426" fmla="*/ 2217718 h 7458372"/>
              <a:gd name="connsiteX31427" fmla="*/ 7015087 w 10505529"/>
              <a:gd name="connsiteY31427" fmla="*/ 2227037 h 7458372"/>
              <a:gd name="connsiteX31428" fmla="*/ 7005769 w 10505529"/>
              <a:gd name="connsiteY31428" fmla="*/ 2233293 h 7458372"/>
              <a:gd name="connsiteX31429" fmla="*/ 6994056 w 10505529"/>
              <a:gd name="connsiteY31429" fmla="*/ 2235556 h 7458372"/>
              <a:gd name="connsiteX31430" fmla="*/ 6972223 w 10505529"/>
              <a:gd name="connsiteY31430" fmla="*/ 2227037 h 7458372"/>
              <a:gd name="connsiteX31431" fmla="*/ 6963837 w 10505529"/>
              <a:gd name="connsiteY31431" fmla="*/ 2205871 h 7458372"/>
              <a:gd name="connsiteX31432" fmla="*/ 6972223 w 10505529"/>
              <a:gd name="connsiteY31432" fmla="*/ 2184838 h 7458372"/>
              <a:gd name="connsiteX31433" fmla="*/ 6994056 w 10505529"/>
              <a:gd name="connsiteY31433" fmla="*/ 2176186 h 7458372"/>
              <a:gd name="connsiteX31434" fmla="*/ 6776544 w 10505529"/>
              <a:gd name="connsiteY31434" fmla="*/ 2176186 h 7458372"/>
              <a:gd name="connsiteX31435" fmla="*/ 6788258 w 10505529"/>
              <a:gd name="connsiteY31435" fmla="*/ 2178848 h 7458372"/>
              <a:gd name="connsiteX31436" fmla="*/ 6797576 w 10505529"/>
              <a:gd name="connsiteY31436" fmla="*/ 2185238 h 7458372"/>
              <a:gd name="connsiteX31437" fmla="*/ 6803699 w 10505529"/>
              <a:gd name="connsiteY31437" fmla="*/ 2194555 h 7458372"/>
              <a:gd name="connsiteX31438" fmla="*/ 6805963 w 10505529"/>
              <a:gd name="connsiteY31438" fmla="*/ 2206004 h 7458372"/>
              <a:gd name="connsiteX31439" fmla="*/ 6803699 w 10505529"/>
              <a:gd name="connsiteY31439" fmla="*/ 2217718 h 7458372"/>
              <a:gd name="connsiteX31440" fmla="*/ 6797576 w 10505529"/>
              <a:gd name="connsiteY31440" fmla="*/ 2227037 h 7458372"/>
              <a:gd name="connsiteX31441" fmla="*/ 6788258 w 10505529"/>
              <a:gd name="connsiteY31441" fmla="*/ 2233293 h 7458372"/>
              <a:gd name="connsiteX31442" fmla="*/ 6776544 w 10505529"/>
              <a:gd name="connsiteY31442" fmla="*/ 2235556 h 7458372"/>
              <a:gd name="connsiteX31443" fmla="*/ 6754711 w 10505529"/>
              <a:gd name="connsiteY31443" fmla="*/ 2227037 h 7458372"/>
              <a:gd name="connsiteX31444" fmla="*/ 6746325 w 10505529"/>
              <a:gd name="connsiteY31444" fmla="*/ 2205871 h 7458372"/>
              <a:gd name="connsiteX31445" fmla="*/ 6754711 w 10505529"/>
              <a:gd name="connsiteY31445" fmla="*/ 2184838 h 7458372"/>
              <a:gd name="connsiteX31446" fmla="*/ 6776544 w 10505529"/>
              <a:gd name="connsiteY31446" fmla="*/ 2176186 h 7458372"/>
              <a:gd name="connsiteX31447" fmla="*/ 6558899 w 10505529"/>
              <a:gd name="connsiteY31447" fmla="*/ 2176186 h 7458372"/>
              <a:gd name="connsiteX31448" fmla="*/ 6570612 w 10505529"/>
              <a:gd name="connsiteY31448" fmla="*/ 2178848 h 7458372"/>
              <a:gd name="connsiteX31449" fmla="*/ 6579930 w 10505529"/>
              <a:gd name="connsiteY31449" fmla="*/ 2185238 h 7458372"/>
              <a:gd name="connsiteX31450" fmla="*/ 6586054 w 10505529"/>
              <a:gd name="connsiteY31450" fmla="*/ 2194555 h 7458372"/>
              <a:gd name="connsiteX31451" fmla="*/ 6588317 w 10505529"/>
              <a:gd name="connsiteY31451" fmla="*/ 2206004 h 7458372"/>
              <a:gd name="connsiteX31452" fmla="*/ 6586054 w 10505529"/>
              <a:gd name="connsiteY31452" fmla="*/ 2217718 h 7458372"/>
              <a:gd name="connsiteX31453" fmla="*/ 6579930 w 10505529"/>
              <a:gd name="connsiteY31453" fmla="*/ 2227037 h 7458372"/>
              <a:gd name="connsiteX31454" fmla="*/ 6570612 w 10505529"/>
              <a:gd name="connsiteY31454" fmla="*/ 2233293 h 7458372"/>
              <a:gd name="connsiteX31455" fmla="*/ 6558899 w 10505529"/>
              <a:gd name="connsiteY31455" fmla="*/ 2235556 h 7458372"/>
              <a:gd name="connsiteX31456" fmla="*/ 6537066 w 10505529"/>
              <a:gd name="connsiteY31456" fmla="*/ 2227037 h 7458372"/>
              <a:gd name="connsiteX31457" fmla="*/ 6528680 w 10505529"/>
              <a:gd name="connsiteY31457" fmla="*/ 2205871 h 7458372"/>
              <a:gd name="connsiteX31458" fmla="*/ 6537066 w 10505529"/>
              <a:gd name="connsiteY31458" fmla="*/ 2184838 h 7458372"/>
              <a:gd name="connsiteX31459" fmla="*/ 6558899 w 10505529"/>
              <a:gd name="connsiteY31459" fmla="*/ 2176186 h 7458372"/>
              <a:gd name="connsiteX31460" fmla="*/ 6341253 w 10505529"/>
              <a:gd name="connsiteY31460" fmla="*/ 2176186 h 7458372"/>
              <a:gd name="connsiteX31461" fmla="*/ 6352968 w 10505529"/>
              <a:gd name="connsiteY31461" fmla="*/ 2178848 h 7458372"/>
              <a:gd name="connsiteX31462" fmla="*/ 6362286 w 10505529"/>
              <a:gd name="connsiteY31462" fmla="*/ 2185238 h 7458372"/>
              <a:gd name="connsiteX31463" fmla="*/ 6368409 w 10505529"/>
              <a:gd name="connsiteY31463" fmla="*/ 2194555 h 7458372"/>
              <a:gd name="connsiteX31464" fmla="*/ 6370672 w 10505529"/>
              <a:gd name="connsiteY31464" fmla="*/ 2206004 h 7458372"/>
              <a:gd name="connsiteX31465" fmla="*/ 6368409 w 10505529"/>
              <a:gd name="connsiteY31465" fmla="*/ 2217718 h 7458372"/>
              <a:gd name="connsiteX31466" fmla="*/ 6362286 w 10505529"/>
              <a:gd name="connsiteY31466" fmla="*/ 2227037 h 7458372"/>
              <a:gd name="connsiteX31467" fmla="*/ 6352968 w 10505529"/>
              <a:gd name="connsiteY31467" fmla="*/ 2233293 h 7458372"/>
              <a:gd name="connsiteX31468" fmla="*/ 6341253 w 10505529"/>
              <a:gd name="connsiteY31468" fmla="*/ 2235556 h 7458372"/>
              <a:gd name="connsiteX31469" fmla="*/ 6319421 w 10505529"/>
              <a:gd name="connsiteY31469" fmla="*/ 2227037 h 7458372"/>
              <a:gd name="connsiteX31470" fmla="*/ 6311035 w 10505529"/>
              <a:gd name="connsiteY31470" fmla="*/ 2205871 h 7458372"/>
              <a:gd name="connsiteX31471" fmla="*/ 6319421 w 10505529"/>
              <a:gd name="connsiteY31471" fmla="*/ 2184838 h 7458372"/>
              <a:gd name="connsiteX31472" fmla="*/ 6341253 w 10505529"/>
              <a:gd name="connsiteY31472" fmla="*/ 2176186 h 7458372"/>
              <a:gd name="connsiteX31473" fmla="*/ 6123608 w 10505529"/>
              <a:gd name="connsiteY31473" fmla="*/ 2176186 h 7458372"/>
              <a:gd name="connsiteX31474" fmla="*/ 6135322 w 10505529"/>
              <a:gd name="connsiteY31474" fmla="*/ 2178848 h 7458372"/>
              <a:gd name="connsiteX31475" fmla="*/ 6144640 w 10505529"/>
              <a:gd name="connsiteY31475" fmla="*/ 2185238 h 7458372"/>
              <a:gd name="connsiteX31476" fmla="*/ 6150763 w 10505529"/>
              <a:gd name="connsiteY31476" fmla="*/ 2194555 h 7458372"/>
              <a:gd name="connsiteX31477" fmla="*/ 6153026 w 10505529"/>
              <a:gd name="connsiteY31477" fmla="*/ 2206004 h 7458372"/>
              <a:gd name="connsiteX31478" fmla="*/ 6150763 w 10505529"/>
              <a:gd name="connsiteY31478" fmla="*/ 2217718 h 7458372"/>
              <a:gd name="connsiteX31479" fmla="*/ 6144640 w 10505529"/>
              <a:gd name="connsiteY31479" fmla="*/ 2227037 h 7458372"/>
              <a:gd name="connsiteX31480" fmla="*/ 6135322 w 10505529"/>
              <a:gd name="connsiteY31480" fmla="*/ 2233293 h 7458372"/>
              <a:gd name="connsiteX31481" fmla="*/ 6123608 w 10505529"/>
              <a:gd name="connsiteY31481" fmla="*/ 2235556 h 7458372"/>
              <a:gd name="connsiteX31482" fmla="*/ 6101775 w 10505529"/>
              <a:gd name="connsiteY31482" fmla="*/ 2227037 h 7458372"/>
              <a:gd name="connsiteX31483" fmla="*/ 6093389 w 10505529"/>
              <a:gd name="connsiteY31483" fmla="*/ 2205871 h 7458372"/>
              <a:gd name="connsiteX31484" fmla="*/ 6101775 w 10505529"/>
              <a:gd name="connsiteY31484" fmla="*/ 2184838 h 7458372"/>
              <a:gd name="connsiteX31485" fmla="*/ 6123608 w 10505529"/>
              <a:gd name="connsiteY31485" fmla="*/ 2176186 h 7458372"/>
              <a:gd name="connsiteX31486" fmla="*/ 5905963 w 10505529"/>
              <a:gd name="connsiteY31486" fmla="*/ 2176186 h 7458372"/>
              <a:gd name="connsiteX31487" fmla="*/ 5917677 w 10505529"/>
              <a:gd name="connsiteY31487" fmla="*/ 2178848 h 7458372"/>
              <a:gd name="connsiteX31488" fmla="*/ 5926995 w 10505529"/>
              <a:gd name="connsiteY31488" fmla="*/ 2185238 h 7458372"/>
              <a:gd name="connsiteX31489" fmla="*/ 5933118 w 10505529"/>
              <a:gd name="connsiteY31489" fmla="*/ 2194555 h 7458372"/>
              <a:gd name="connsiteX31490" fmla="*/ 5935381 w 10505529"/>
              <a:gd name="connsiteY31490" fmla="*/ 2206004 h 7458372"/>
              <a:gd name="connsiteX31491" fmla="*/ 5933118 w 10505529"/>
              <a:gd name="connsiteY31491" fmla="*/ 2217718 h 7458372"/>
              <a:gd name="connsiteX31492" fmla="*/ 5926995 w 10505529"/>
              <a:gd name="connsiteY31492" fmla="*/ 2227037 h 7458372"/>
              <a:gd name="connsiteX31493" fmla="*/ 5917677 w 10505529"/>
              <a:gd name="connsiteY31493" fmla="*/ 2233293 h 7458372"/>
              <a:gd name="connsiteX31494" fmla="*/ 5905963 w 10505529"/>
              <a:gd name="connsiteY31494" fmla="*/ 2235556 h 7458372"/>
              <a:gd name="connsiteX31495" fmla="*/ 5884130 w 10505529"/>
              <a:gd name="connsiteY31495" fmla="*/ 2227037 h 7458372"/>
              <a:gd name="connsiteX31496" fmla="*/ 5875744 w 10505529"/>
              <a:gd name="connsiteY31496" fmla="*/ 2205871 h 7458372"/>
              <a:gd name="connsiteX31497" fmla="*/ 5884130 w 10505529"/>
              <a:gd name="connsiteY31497" fmla="*/ 2184838 h 7458372"/>
              <a:gd name="connsiteX31498" fmla="*/ 5905963 w 10505529"/>
              <a:gd name="connsiteY31498" fmla="*/ 2176186 h 7458372"/>
              <a:gd name="connsiteX31499" fmla="*/ 5688451 w 10505529"/>
              <a:gd name="connsiteY31499" fmla="*/ 2176186 h 7458372"/>
              <a:gd name="connsiteX31500" fmla="*/ 5700165 w 10505529"/>
              <a:gd name="connsiteY31500" fmla="*/ 2178848 h 7458372"/>
              <a:gd name="connsiteX31501" fmla="*/ 5709483 w 10505529"/>
              <a:gd name="connsiteY31501" fmla="*/ 2185238 h 7458372"/>
              <a:gd name="connsiteX31502" fmla="*/ 5715606 w 10505529"/>
              <a:gd name="connsiteY31502" fmla="*/ 2194555 h 7458372"/>
              <a:gd name="connsiteX31503" fmla="*/ 5717869 w 10505529"/>
              <a:gd name="connsiteY31503" fmla="*/ 2206004 h 7458372"/>
              <a:gd name="connsiteX31504" fmla="*/ 5715606 w 10505529"/>
              <a:gd name="connsiteY31504" fmla="*/ 2217718 h 7458372"/>
              <a:gd name="connsiteX31505" fmla="*/ 5709483 w 10505529"/>
              <a:gd name="connsiteY31505" fmla="*/ 2227037 h 7458372"/>
              <a:gd name="connsiteX31506" fmla="*/ 5700165 w 10505529"/>
              <a:gd name="connsiteY31506" fmla="*/ 2233293 h 7458372"/>
              <a:gd name="connsiteX31507" fmla="*/ 5688451 w 10505529"/>
              <a:gd name="connsiteY31507" fmla="*/ 2235556 h 7458372"/>
              <a:gd name="connsiteX31508" fmla="*/ 5666618 w 10505529"/>
              <a:gd name="connsiteY31508" fmla="*/ 2227037 h 7458372"/>
              <a:gd name="connsiteX31509" fmla="*/ 5658232 w 10505529"/>
              <a:gd name="connsiteY31509" fmla="*/ 2205871 h 7458372"/>
              <a:gd name="connsiteX31510" fmla="*/ 5666618 w 10505529"/>
              <a:gd name="connsiteY31510" fmla="*/ 2184838 h 7458372"/>
              <a:gd name="connsiteX31511" fmla="*/ 5688451 w 10505529"/>
              <a:gd name="connsiteY31511" fmla="*/ 2176186 h 7458372"/>
              <a:gd name="connsiteX31512" fmla="*/ 5470806 w 10505529"/>
              <a:gd name="connsiteY31512" fmla="*/ 2176186 h 7458372"/>
              <a:gd name="connsiteX31513" fmla="*/ 5482520 w 10505529"/>
              <a:gd name="connsiteY31513" fmla="*/ 2178848 h 7458372"/>
              <a:gd name="connsiteX31514" fmla="*/ 5491838 w 10505529"/>
              <a:gd name="connsiteY31514" fmla="*/ 2185238 h 7458372"/>
              <a:gd name="connsiteX31515" fmla="*/ 5497961 w 10505529"/>
              <a:gd name="connsiteY31515" fmla="*/ 2194555 h 7458372"/>
              <a:gd name="connsiteX31516" fmla="*/ 5500224 w 10505529"/>
              <a:gd name="connsiteY31516" fmla="*/ 2206004 h 7458372"/>
              <a:gd name="connsiteX31517" fmla="*/ 5497961 w 10505529"/>
              <a:gd name="connsiteY31517" fmla="*/ 2217718 h 7458372"/>
              <a:gd name="connsiteX31518" fmla="*/ 5491838 w 10505529"/>
              <a:gd name="connsiteY31518" fmla="*/ 2227037 h 7458372"/>
              <a:gd name="connsiteX31519" fmla="*/ 5482520 w 10505529"/>
              <a:gd name="connsiteY31519" fmla="*/ 2233293 h 7458372"/>
              <a:gd name="connsiteX31520" fmla="*/ 5470806 w 10505529"/>
              <a:gd name="connsiteY31520" fmla="*/ 2235556 h 7458372"/>
              <a:gd name="connsiteX31521" fmla="*/ 5448973 w 10505529"/>
              <a:gd name="connsiteY31521" fmla="*/ 2227037 h 7458372"/>
              <a:gd name="connsiteX31522" fmla="*/ 5440587 w 10505529"/>
              <a:gd name="connsiteY31522" fmla="*/ 2205871 h 7458372"/>
              <a:gd name="connsiteX31523" fmla="*/ 5448973 w 10505529"/>
              <a:gd name="connsiteY31523" fmla="*/ 2184838 h 7458372"/>
              <a:gd name="connsiteX31524" fmla="*/ 5470806 w 10505529"/>
              <a:gd name="connsiteY31524" fmla="*/ 2176186 h 7458372"/>
              <a:gd name="connsiteX31525" fmla="*/ 5253160 w 10505529"/>
              <a:gd name="connsiteY31525" fmla="*/ 2176186 h 7458372"/>
              <a:gd name="connsiteX31526" fmla="*/ 5264875 w 10505529"/>
              <a:gd name="connsiteY31526" fmla="*/ 2178848 h 7458372"/>
              <a:gd name="connsiteX31527" fmla="*/ 5274192 w 10505529"/>
              <a:gd name="connsiteY31527" fmla="*/ 2185238 h 7458372"/>
              <a:gd name="connsiteX31528" fmla="*/ 5280316 w 10505529"/>
              <a:gd name="connsiteY31528" fmla="*/ 2194555 h 7458372"/>
              <a:gd name="connsiteX31529" fmla="*/ 5282579 w 10505529"/>
              <a:gd name="connsiteY31529" fmla="*/ 2206004 h 7458372"/>
              <a:gd name="connsiteX31530" fmla="*/ 5280316 w 10505529"/>
              <a:gd name="connsiteY31530" fmla="*/ 2217718 h 7458372"/>
              <a:gd name="connsiteX31531" fmla="*/ 5274192 w 10505529"/>
              <a:gd name="connsiteY31531" fmla="*/ 2227037 h 7458372"/>
              <a:gd name="connsiteX31532" fmla="*/ 5264875 w 10505529"/>
              <a:gd name="connsiteY31532" fmla="*/ 2233293 h 7458372"/>
              <a:gd name="connsiteX31533" fmla="*/ 5253160 w 10505529"/>
              <a:gd name="connsiteY31533" fmla="*/ 2235556 h 7458372"/>
              <a:gd name="connsiteX31534" fmla="*/ 5231328 w 10505529"/>
              <a:gd name="connsiteY31534" fmla="*/ 2227037 h 7458372"/>
              <a:gd name="connsiteX31535" fmla="*/ 5222942 w 10505529"/>
              <a:gd name="connsiteY31535" fmla="*/ 2205871 h 7458372"/>
              <a:gd name="connsiteX31536" fmla="*/ 5231328 w 10505529"/>
              <a:gd name="connsiteY31536" fmla="*/ 2184838 h 7458372"/>
              <a:gd name="connsiteX31537" fmla="*/ 5253160 w 10505529"/>
              <a:gd name="connsiteY31537" fmla="*/ 2176186 h 7458372"/>
              <a:gd name="connsiteX31538" fmla="*/ 5035515 w 10505529"/>
              <a:gd name="connsiteY31538" fmla="*/ 2176186 h 7458372"/>
              <a:gd name="connsiteX31539" fmla="*/ 5047230 w 10505529"/>
              <a:gd name="connsiteY31539" fmla="*/ 2178848 h 7458372"/>
              <a:gd name="connsiteX31540" fmla="*/ 5056548 w 10505529"/>
              <a:gd name="connsiteY31540" fmla="*/ 2185238 h 7458372"/>
              <a:gd name="connsiteX31541" fmla="*/ 5062671 w 10505529"/>
              <a:gd name="connsiteY31541" fmla="*/ 2194555 h 7458372"/>
              <a:gd name="connsiteX31542" fmla="*/ 5064934 w 10505529"/>
              <a:gd name="connsiteY31542" fmla="*/ 2206004 h 7458372"/>
              <a:gd name="connsiteX31543" fmla="*/ 5062671 w 10505529"/>
              <a:gd name="connsiteY31543" fmla="*/ 2217718 h 7458372"/>
              <a:gd name="connsiteX31544" fmla="*/ 5056548 w 10505529"/>
              <a:gd name="connsiteY31544" fmla="*/ 2227037 h 7458372"/>
              <a:gd name="connsiteX31545" fmla="*/ 5047230 w 10505529"/>
              <a:gd name="connsiteY31545" fmla="*/ 2233293 h 7458372"/>
              <a:gd name="connsiteX31546" fmla="*/ 5035515 w 10505529"/>
              <a:gd name="connsiteY31546" fmla="*/ 2235556 h 7458372"/>
              <a:gd name="connsiteX31547" fmla="*/ 5013683 w 10505529"/>
              <a:gd name="connsiteY31547" fmla="*/ 2227037 h 7458372"/>
              <a:gd name="connsiteX31548" fmla="*/ 5005297 w 10505529"/>
              <a:gd name="connsiteY31548" fmla="*/ 2205871 h 7458372"/>
              <a:gd name="connsiteX31549" fmla="*/ 5013683 w 10505529"/>
              <a:gd name="connsiteY31549" fmla="*/ 2184838 h 7458372"/>
              <a:gd name="connsiteX31550" fmla="*/ 5035515 w 10505529"/>
              <a:gd name="connsiteY31550" fmla="*/ 2176186 h 7458372"/>
              <a:gd name="connsiteX31551" fmla="*/ 4817870 w 10505529"/>
              <a:gd name="connsiteY31551" fmla="*/ 2176186 h 7458372"/>
              <a:gd name="connsiteX31552" fmla="*/ 4829585 w 10505529"/>
              <a:gd name="connsiteY31552" fmla="*/ 2178848 h 7458372"/>
              <a:gd name="connsiteX31553" fmla="*/ 4838903 w 10505529"/>
              <a:gd name="connsiteY31553" fmla="*/ 2185238 h 7458372"/>
              <a:gd name="connsiteX31554" fmla="*/ 4845026 w 10505529"/>
              <a:gd name="connsiteY31554" fmla="*/ 2194555 h 7458372"/>
              <a:gd name="connsiteX31555" fmla="*/ 4847289 w 10505529"/>
              <a:gd name="connsiteY31555" fmla="*/ 2206004 h 7458372"/>
              <a:gd name="connsiteX31556" fmla="*/ 4845026 w 10505529"/>
              <a:gd name="connsiteY31556" fmla="*/ 2217718 h 7458372"/>
              <a:gd name="connsiteX31557" fmla="*/ 4838903 w 10505529"/>
              <a:gd name="connsiteY31557" fmla="*/ 2227037 h 7458372"/>
              <a:gd name="connsiteX31558" fmla="*/ 4829585 w 10505529"/>
              <a:gd name="connsiteY31558" fmla="*/ 2233293 h 7458372"/>
              <a:gd name="connsiteX31559" fmla="*/ 4817870 w 10505529"/>
              <a:gd name="connsiteY31559" fmla="*/ 2235556 h 7458372"/>
              <a:gd name="connsiteX31560" fmla="*/ 4796038 w 10505529"/>
              <a:gd name="connsiteY31560" fmla="*/ 2227037 h 7458372"/>
              <a:gd name="connsiteX31561" fmla="*/ 4787652 w 10505529"/>
              <a:gd name="connsiteY31561" fmla="*/ 2205871 h 7458372"/>
              <a:gd name="connsiteX31562" fmla="*/ 4796038 w 10505529"/>
              <a:gd name="connsiteY31562" fmla="*/ 2184838 h 7458372"/>
              <a:gd name="connsiteX31563" fmla="*/ 4817870 w 10505529"/>
              <a:gd name="connsiteY31563" fmla="*/ 2176186 h 7458372"/>
              <a:gd name="connsiteX31564" fmla="*/ 4600226 w 10505529"/>
              <a:gd name="connsiteY31564" fmla="*/ 2176186 h 7458372"/>
              <a:gd name="connsiteX31565" fmla="*/ 4612073 w 10505529"/>
              <a:gd name="connsiteY31565" fmla="*/ 2178848 h 7458372"/>
              <a:gd name="connsiteX31566" fmla="*/ 4621391 w 10505529"/>
              <a:gd name="connsiteY31566" fmla="*/ 2185238 h 7458372"/>
              <a:gd name="connsiteX31567" fmla="*/ 4627514 w 10505529"/>
              <a:gd name="connsiteY31567" fmla="*/ 2194555 h 7458372"/>
              <a:gd name="connsiteX31568" fmla="*/ 4629777 w 10505529"/>
              <a:gd name="connsiteY31568" fmla="*/ 2206004 h 7458372"/>
              <a:gd name="connsiteX31569" fmla="*/ 4627514 w 10505529"/>
              <a:gd name="connsiteY31569" fmla="*/ 2217718 h 7458372"/>
              <a:gd name="connsiteX31570" fmla="*/ 4621391 w 10505529"/>
              <a:gd name="connsiteY31570" fmla="*/ 2227037 h 7458372"/>
              <a:gd name="connsiteX31571" fmla="*/ 4612073 w 10505529"/>
              <a:gd name="connsiteY31571" fmla="*/ 2233293 h 7458372"/>
              <a:gd name="connsiteX31572" fmla="*/ 4600226 w 10505529"/>
              <a:gd name="connsiteY31572" fmla="*/ 2235556 h 7458372"/>
              <a:gd name="connsiteX31573" fmla="*/ 4578393 w 10505529"/>
              <a:gd name="connsiteY31573" fmla="*/ 2227037 h 7458372"/>
              <a:gd name="connsiteX31574" fmla="*/ 4570007 w 10505529"/>
              <a:gd name="connsiteY31574" fmla="*/ 2205871 h 7458372"/>
              <a:gd name="connsiteX31575" fmla="*/ 4578393 w 10505529"/>
              <a:gd name="connsiteY31575" fmla="*/ 2184838 h 7458372"/>
              <a:gd name="connsiteX31576" fmla="*/ 4600226 w 10505529"/>
              <a:gd name="connsiteY31576" fmla="*/ 2176186 h 7458372"/>
              <a:gd name="connsiteX31577" fmla="*/ 4382713 w 10505529"/>
              <a:gd name="connsiteY31577" fmla="*/ 2176186 h 7458372"/>
              <a:gd name="connsiteX31578" fmla="*/ 4394428 w 10505529"/>
              <a:gd name="connsiteY31578" fmla="*/ 2178848 h 7458372"/>
              <a:gd name="connsiteX31579" fmla="*/ 4403746 w 10505529"/>
              <a:gd name="connsiteY31579" fmla="*/ 2185238 h 7458372"/>
              <a:gd name="connsiteX31580" fmla="*/ 4409869 w 10505529"/>
              <a:gd name="connsiteY31580" fmla="*/ 2194555 h 7458372"/>
              <a:gd name="connsiteX31581" fmla="*/ 4412132 w 10505529"/>
              <a:gd name="connsiteY31581" fmla="*/ 2206004 h 7458372"/>
              <a:gd name="connsiteX31582" fmla="*/ 4409869 w 10505529"/>
              <a:gd name="connsiteY31582" fmla="*/ 2217718 h 7458372"/>
              <a:gd name="connsiteX31583" fmla="*/ 4403746 w 10505529"/>
              <a:gd name="connsiteY31583" fmla="*/ 2227037 h 7458372"/>
              <a:gd name="connsiteX31584" fmla="*/ 4394428 w 10505529"/>
              <a:gd name="connsiteY31584" fmla="*/ 2233293 h 7458372"/>
              <a:gd name="connsiteX31585" fmla="*/ 4382713 w 10505529"/>
              <a:gd name="connsiteY31585" fmla="*/ 2235556 h 7458372"/>
              <a:gd name="connsiteX31586" fmla="*/ 4360881 w 10505529"/>
              <a:gd name="connsiteY31586" fmla="*/ 2227037 h 7458372"/>
              <a:gd name="connsiteX31587" fmla="*/ 4352495 w 10505529"/>
              <a:gd name="connsiteY31587" fmla="*/ 2205871 h 7458372"/>
              <a:gd name="connsiteX31588" fmla="*/ 4360881 w 10505529"/>
              <a:gd name="connsiteY31588" fmla="*/ 2184838 h 7458372"/>
              <a:gd name="connsiteX31589" fmla="*/ 4382713 w 10505529"/>
              <a:gd name="connsiteY31589" fmla="*/ 2176186 h 7458372"/>
              <a:gd name="connsiteX31590" fmla="*/ 4165068 w 10505529"/>
              <a:gd name="connsiteY31590" fmla="*/ 2176186 h 7458372"/>
              <a:gd name="connsiteX31591" fmla="*/ 4176782 w 10505529"/>
              <a:gd name="connsiteY31591" fmla="*/ 2178848 h 7458372"/>
              <a:gd name="connsiteX31592" fmla="*/ 4186100 w 10505529"/>
              <a:gd name="connsiteY31592" fmla="*/ 2185238 h 7458372"/>
              <a:gd name="connsiteX31593" fmla="*/ 4192223 w 10505529"/>
              <a:gd name="connsiteY31593" fmla="*/ 2194555 h 7458372"/>
              <a:gd name="connsiteX31594" fmla="*/ 4194486 w 10505529"/>
              <a:gd name="connsiteY31594" fmla="*/ 2206004 h 7458372"/>
              <a:gd name="connsiteX31595" fmla="*/ 4192223 w 10505529"/>
              <a:gd name="connsiteY31595" fmla="*/ 2217718 h 7458372"/>
              <a:gd name="connsiteX31596" fmla="*/ 4186100 w 10505529"/>
              <a:gd name="connsiteY31596" fmla="*/ 2227037 h 7458372"/>
              <a:gd name="connsiteX31597" fmla="*/ 4176782 w 10505529"/>
              <a:gd name="connsiteY31597" fmla="*/ 2233293 h 7458372"/>
              <a:gd name="connsiteX31598" fmla="*/ 4165068 w 10505529"/>
              <a:gd name="connsiteY31598" fmla="*/ 2235556 h 7458372"/>
              <a:gd name="connsiteX31599" fmla="*/ 4143235 w 10505529"/>
              <a:gd name="connsiteY31599" fmla="*/ 2227037 h 7458372"/>
              <a:gd name="connsiteX31600" fmla="*/ 4134849 w 10505529"/>
              <a:gd name="connsiteY31600" fmla="*/ 2205871 h 7458372"/>
              <a:gd name="connsiteX31601" fmla="*/ 4143235 w 10505529"/>
              <a:gd name="connsiteY31601" fmla="*/ 2184838 h 7458372"/>
              <a:gd name="connsiteX31602" fmla="*/ 4165068 w 10505529"/>
              <a:gd name="connsiteY31602" fmla="*/ 2176186 h 7458372"/>
              <a:gd name="connsiteX31603" fmla="*/ 3947547 w 10505529"/>
              <a:gd name="connsiteY31603" fmla="*/ 2176186 h 7458372"/>
              <a:gd name="connsiteX31604" fmla="*/ 3959262 w 10505529"/>
              <a:gd name="connsiteY31604" fmla="*/ 2178848 h 7458372"/>
              <a:gd name="connsiteX31605" fmla="*/ 3968580 w 10505529"/>
              <a:gd name="connsiteY31605" fmla="*/ 2185238 h 7458372"/>
              <a:gd name="connsiteX31606" fmla="*/ 3974704 w 10505529"/>
              <a:gd name="connsiteY31606" fmla="*/ 2194555 h 7458372"/>
              <a:gd name="connsiteX31607" fmla="*/ 3976968 w 10505529"/>
              <a:gd name="connsiteY31607" fmla="*/ 2206004 h 7458372"/>
              <a:gd name="connsiteX31608" fmla="*/ 3974704 w 10505529"/>
              <a:gd name="connsiteY31608" fmla="*/ 2217718 h 7458372"/>
              <a:gd name="connsiteX31609" fmla="*/ 3968580 w 10505529"/>
              <a:gd name="connsiteY31609" fmla="*/ 2227037 h 7458372"/>
              <a:gd name="connsiteX31610" fmla="*/ 3959262 w 10505529"/>
              <a:gd name="connsiteY31610" fmla="*/ 2233293 h 7458372"/>
              <a:gd name="connsiteX31611" fmla="*/ 3947547 w 10505529"/>
              <a:gd name="connsiteY31611" fmla="*/ 2235556 h 7458372"/>
              <a:gd name="connsiteX31612" fmla="*/ 3925714 w 10505529"/>
              <a:gd name="connsiteY31612" fmla="*/ 2227037 h 7458372"/>
              <a:gd name="connsiteX31613" fmla="*/ 3917328 w 10505529"/>
              <a:gd name="connsiteY31613" fmla="*/ 2205871 h 7458372"/>
              <a:gd name="connsiteX31614" fmla="*/ 3925714 w 10505529"/>
              <a:gd name="connsiteY31614" fmla="*/ 2184838 h 7458372"/>
              <a:gd name="connsiteX31615" fmla="*/ 3947547 w 10505529"/>
              <a:gd name="connsiteY31615" fmla="*/ 2176186 h 7458372"/>
              <a:gd name="connsiteX31616" fmla="*/ 3729896 w 10505529"/>
              <a:gd name="connsiteY31616" fmla="*/ 2176186 h 7458372"/>
              <a:gd name="connsiteX31617" fmla="*/ 3741611 w 10505529"/>
              <a:gd name="connsiteY31617" fmla="*/ 2178848 h 7458372"/>
              <a:gd name="connsiteX31618" fmla="*/ 3750929 w 10505529"/>
              <a:gd name="connsiteY31618" fmla="*/ 2185238 h 7458372"/>
              <a:gd name="connsiteX31619" fmla="*/ 3757052 w 10505529"/>
              <a:gd name="connsiteY31619" fmla="*/ 2194555 h 7458372"/>
              <a:gd name="connsiteX31620" fmla="*/ 3759315 w 10505529"/>
              <a:gd name="connsiteY31620" fmla="*/ 2206004 h 7458372"/>
              <a:gd name="connsiteX31621" fmla="*/ 3757052 w 10505529"/>
              <a:gd name="connsiteY31621" fmla="*/ 2217718 h 7458372"/>
              <a:gd name="connsiteX31622" fmla="*/ 3750929 w 10505529"/>
              <a:gd name="connsiteY31622" fmla="*/ 2227037 h 7458372"/>
              <a:gd name="connsiteX31623" fmla="*/ 3741611 w 10505529"/>
              <a:gd name="connsiteY31623" fmla="*/ 2233293 h 7458372"/>
              <a:gd name="connsiteX31624" fmla="*/ 3729896 w 10505529"/>
              <a:gd name="connsiteY31624" fmla="*/ 2235556 h 7458372"/>
              <a:gd name="connsiteX31625" fmla="*/ 3708061 w 10505529"/>
              <a:gd name="connsiteY31625" fmla="*/ 2227037 h 7458372"/>
              <a:gd name="connsiteX31626" fmla="*/ 3699675 w 10505529"/>
              <a:gd name="connsiteY31626" fmla="*/ 2205871 h 7458372"/>
              <a:gd name="connsiteX31627" fmla="*/ 3708061 w 10505529"/>
              <a:gd name="connsiteY31627" fmla="*/ 2184838 h 7458372"/>
              <a:gd name="connsiteX31628" fmla="*/ 3729896 w 10505529"/>
              <a:gd name="connsiteY31628" fmla="*/ 2176186 h 7458372"/>
              <a:gd name="connsiteX31629" fmla="*/ 3512244 w 10505529"/>
              <a:gd name="connsiteY31629" fmla="*/ 2176186 h 7458372"/>
              <a:gd name="connsiteX31630" fmla="*/ 3523959 w 10505529"/>
              <a:gd name="connsiteY31630" fmla="*/ 2178848 h 7458372"/>
              <a:gd name="connsiteX31631" fmla="*/ 3533277 w 10505529"/>
              <a:gd name="connsiteY31631" fmla="*/ 2185238 h 7458372"/>
              <a:gd name="connsiteX31632" fmla="*/ 3539401 w 10505529"/>
              <a:gd name="connsiteY31632" fmla="*/ 2194555 h 7458372"/>
              <a:gd name="connsiteX31633" fmla="*/ 3541664 w 10505529"/>
              <a:gd name="connsiteY31633" fmla="*/ 2206004 h 7458372"/>
              <a:gd name="connsiteX31634" fmla="*/ 3539401 w 10505529"/>
              <a:gd name="connsiteY31634" fmla="*/ 2217718 h 7458372"/>
              <a:gd name="connsiteX31635" fmla="*/ 3533277 w 10505529"/>
              <a:gd name="connsiteY31635" fmla="*/ 2227037 h 7458372"/>
              <a:gd name="connsiteX31636" fmla="*/ 3523959 w 10505529"/>
              <a:gd name="connsiteY31636" fmla="*/ 2233293 h 7458372"/>
              <a:gd name="connsiteX31637" fmla="*/ 3512244 w 10505529"/>
              <a:gd name="connsiteY31637" fmla="*/ 2235556 h 7458372"/>
              <a:gd name="connsiteX31638" fmla="*/ 3490410 w 10505529"/>
              <a:gd name="connsiteY31638" fmla="*/ 2227037 h 7458372"/>
              <a:gd name="connsiteX31639" fmla="*/ 3482024 w 10505529"/>
              <a:gd name="connsiteY31639" fmla="*/ 2205871 h 7458372"/>
              <a:gd name="connsiteX31640" fmla="*/ 3490410 w 10505529"/>
              <a:gd name="connsiteY31640" fmla="*/ 2184838 h 7458372"/>
              <a:gd name="connsiteX31641" fmla="*/ 3512244 w 10505529"/>
              <a:gd name="connsiteY31641" fmla="*/ 2176186 h 7458372"/>
              <a:gd name="connsiteX31642" fmla="*/ 3294726 w 10505529"/>
              <a:gd name="connsiteY31642" fmla="*/ 2176186 h 7458372"/>
              <a:gd name="connsiteX31643" fmla="*/ 3306441 w 10505529"/>
              <a:gd name="connsiteY31643" fmla="*/ 2178848 h 7458372"/>
              <a:gd name="connsiteX31644" fmla="*/ 3315759 w 10505529"/>
              <a:gd name="connsiteY31644" fmla="*/ 2185238 h 7458372"/>
              <a:gd name="connsiteX31645" fmla="*/ 3321882 w 10505529"/>
              <a:gd name="connsiteY31645" fmla="*/ 2194555 h 7458372"/>
              <a:gd name="connsiteX31646" fmla="*/ 3324145 w 10505529"/>
              <a:gd name="connsiteY31646" fmla="*/ 2206004 h 7458372"/>
              <a:gd name="connsiteX31647" fmla="*/ 3321882 w 10505529"/>
              <a:gd name="connsiteY31647" fmla="*/ 2217718 h 7458372"/>
              <a:gd name="connsiteX31648" fmla="*/ 3315759 w 10505529"/>
              <a:gd name="connsiteY31648" fmla="*/ 2227037 h 7458372"/>
              <a:gd name="connsiteX31649" fmla="*/ 3306441 w 10505529"/>
              <a:gd name="connsiteY31649" fmla="*/ 2233293 h 7458372"/>
              <a:gd name="connsiteX31650" fmla="*/ 3294726 w 10505529"/>
              <a:gd name="connsiteY31650" fmla="*/ 2235556 h 7458372"/>
              <a:gd name="connsiteX31651" fmla="*/ 3272891 w 10505529"/>
              <a:gd name="connsiteY31651" fmla="*/ 2227037 h 7458372"/>
              <a:gd name="connsiteX31652" fmla="*/ 3264505 w 10505529"/>
              <a:gd name="connsiteY31652" fmla="*/ 2205871 h 7458372"/>
              <a:gd name="connsiteX31653" fmla="*/ 3272891 w 10505529"/>
              <a:gd name="connsiteY31653" fmla="*/ 2184838 h 7458372"/>
              <a:gd name="connsiteX31654" fmla="*/ 3294726 w 10505529"/>
              <a:gd name="connsiteY31654" fmla="*/ 2176186 h 7458372"/>
              <a:gd name="connsiteX31655" fmla="*/ 3077074 w 10505529"/>
              <a:gd name="connsiteY31655" fmla="*/ 2176186 h 7458372"/>
              <a:gd name="connsiteX31656" fmla="*/ 3088790 w 10505529"/>
              <a:gd name="connsiteY31656" fmla="*/ 2178848 h 7458372"/>
              <a:gd name="connsiteX31657" fmla="*/ 3098107 w 10505529"/>
              <a:gd name="connsiteY31657" fmla="*/ 2185238 h 7458372"/>
              <a:gd name="connsiteX31658" fmla="*/ 3104231 w 10505529"/>
              <a:gd name="connsiteY31658" fmla="*/ 2194555 h 7458372"/>
              <a:gd name="connsiteX31659" fmla="*/ 3106494 w 10505529"/>
              <a:gd name="connsiteY31659" fmla="*/ 2206004 h 7458372"/>
              <a:gd name="connsiteX31660" fmla="*/ 3104231 w 10505529"/>
              <a:gd name="connsiteY31660" fmla="*/ 2217718 h 7458372"/>
              <a:gd name="connsiteX31661" fmla="*/ 3098107 w 10505529"/>
              <a:gd name="connsiteY31661" fmla="*/ 2227037 h 7458372"/>
              <a:gd name="connsiteX31662" fmla="*/ 3088790 w 10505529"/>
              <a:gd name="connsiteY31662" fmla="*/ 2233293 h 7458372"/>
              <a:gd name="connsiteX31663" fmla="*/ 3077074 w 10505529"/>
              <a:gd name="connsiteY31663" fmla="*/ 2235556 h 7458372"/>
              <a:gd name="connsiteX31664" fmla="*/ 3055240 w 10505529"/>
              <a:gd name="connsiteY31664" fmla="*/ 2227037 h 7458372"/>
              <a:gd name="connsiteX31665" fmla="*/ 3046854 w 10505529"/>
              <a:gd name="connsiteY31665" fmla="*/ 2205871 h 7458372"/>
              <a:gd name="connsiteX31666" fmla="*/ 3055240 w 10505529"/>
              <a:gd name="connsiteY31666" fmla="*/ 2184838 h 7458372"/>
              <a:gd name="connsiteX31667" fmla="*/ 3077074 w 10505529"/>
              <a:gd name="connsiteY31667" fmla="*/ 2176186 h 7458372"/>
              <a:gd name="connsiteX31668" fmla="*/ 2859423 w 10505529"/>
              <a:gd name="connsiteY31668" fmla="*/ 2176186 h 7458372"/>
              <a:gd name="connsiteX31669" fmla="*/ 2871271 w 10505529"/>
              <a:gd name="connsiteY31669" fmla="*/ 2178848 h 7458372"/>
              <a:gd name="connsiteX31670" fmla="*/ 2880589 w 10505529"/>
              <a:gd name="connsiteY31670" fmla="*/ 2185238 h 7458372"/>
              <a:gd name="connsiteX31671" fmla="*/ 2886712 w 10505529"/>
              <a:gd name="connsiteY31671" fmla="*/ 2194555 h 7458372"/>
              <a:gd name="connsiteX31672" fmla="*/ 2888975 w 10505529"/>
              <a:gd name="connsiteY31672" fmla="*/ 2206004 h 7458372"/>
              <a:gd name="connsiteX31673" fmla="*/ 2886712 w 10505529"/>
              <a:gd name="connsiteY31673" fmla="*/ 2217718 h 7458372"/>
              <a:gd name="connsiteX31674" fmla="*/ 2880589 w 10505529"/>
              <a:gd name="connsiteY31674" fmla="*/ 2227037 h 7458372"/>
              <a:gd name="connsiteX31675" fmla="*/ 2871271 w 10505529"/>
              <a:gd name="connsiteY31675" fmla="*/ 2233293 h 7458372"/>
              <a:gd name="connsiteX31676" fmla="*/ 2859423 w 10505529"/>
              <a:gd name="connsiteY31676" fmla="*/ 2235556 h 7458372"/>
              <a:gd name="connsiteX31677" fmla="*/ 2837590 w 10505529"/>
              <a:gd name="connsiteY31677" fmla="*/ 2227037 h 7458372"/>
              <a:gd name="connsiteX31678" fmla="*/ 2829202 w 10505529"/>
              <a:gd name="connsiteY31678" fmla="*/ 2205871 h 7458372"/>
              <a:gd name="connsiteX31679" fmla="*/ 2837590 w 10505529"/>
              <a:gd name="connsiteY31679" fmla="*/ 2184838 h 7458372"/>
              <a:gd name="connsiteX31680" fmla="*/ 2859423 w 10505529"/>
              <a:gd name="connsiteY31680" fmla="*/ 2176186 h 7458372"/>
              <a:gd name="connsiteX31681" fmla="*/ 2641771 w 10505529"/>
              <a:gd name="connsiteY31681" fmla="*/ 2176186 h 7458372"/>
              <a:gd name="connsiteX31682" fmla="*/ 2653487 w 10505529"/>
              <a:gd name="connsiteY31682" fmla="*/ 2178848 h 7458372"/>
              <a:gd name="connsiteX31683" fmla="*/ 2662805 w 10505529"/>
              <a:gd name="connsiteY31683" fmla="*/ 2185238 h 7458372"/>
              <a:gd name="connsiteX31684" fmla="*/ 2668928 w 10505529"/>
              <a:gd name="connsiteY31684" fmla="*/ 2194555 h 7458372"/>
              <a:gd name="connsiteX31685" fmla="*/ 2671191 w 10505529"/>
              <a:gd name="connsiteY31685" fmla="*/ 2206004 h 7458372"/>
              <a:gd name="connsiteX31686" fmla="*/ 2668928 w 10505529"/>
              <a:gd name="connsiteY31686" fmla="*/ 2217718 h 7458372"/>
              <a:gd name="connsiteX31687" fmla="*/ 2662805 w 10505529"/>
              <a:gd name="connsiteY31687" fmla="*/ 2227037 h 7458372"/>
              <a:gd name="connsiteX31688" fmla="*/ 2653487 w 10505529"/>
              <a:gd name="connsiteY31688" fmla="*/ 2233293 h 7458372"/>
              <a:gd name="connsiteX31689" fmla="*/ 2641771 w 10505529"/>
              <a:gd name="connsiteY31689" fmla="*/ 2235556 h 7458372"/>
              <a:gd name="connsiteX31690" fmla="*/ 2619939 w 10505529"/>
              <a:gd name="connsiteY31690" fmla="*/ 2227037 h 7458372"/>
              <a:gd name="connsiteX31691" fmla="*/ 2611552 w 10505529"/>
              <a:gd name="connsiteY31691" fmla="*/ 2205871 h 7458372"/>
              <a:gd name="connsiteX31692" fmla="*/ 2619939 w 10505529"/>
              <a:gd name="connsiteY31692" fmla="*/ 2184838 h 7458372"/>
              <a:gd name="connsiteX31693" fmla="*/ 2641771 w 10505529"/>
              <a:gd name="connsiteY31693" fmla="*/ 2176186 h 7458372"/>
              <a:gd name="connsiteX31694" fmla="*/ 2424120 w 10505529"/>
              <a:gd name="connsiteY31694" fmla="*/ 2176186 h 7458372"/>
              <a:gd name="connsiteX31695" fmla="*/ 2435835 w 10505529"/>
              <a:gd name="connsiteY31695" fmla="*/ 2178848 h 7458372"/>
              <a:gd name="connsiteX31696" fmla="*/ 2445153 w 10505529"/>
              <a:gd name="connsiteY31696" fmla="*/ 2185238 h 7458372"/>
              <a:gd name="connsiteX31697" fmla="*/ 2451276 w 10505529"/>
              <a:gd name="connsiteY31697" fmla="*/ 2194555 h 7458372"/>
              <a:gd name="connsiteX31698" fmla="*/ 2453539 w 10505529"/>
              <a:gd name="connsiteY31698" fmla="*/ 2206004 h 7458372"/>
              <a:gd name="connsiteX31699" fmla="*/ 2451276 w 10505529"/>
              <a:gd name="connsiteY31699" fmla="*/ 2217718 h 7458372"/>
              <a:gd name="connsiteX31700" fmla="*/ 2445153 w 10505529"/>
              <a:gd name="connsiteY31700" fmla="*/ 2227037 h 7458372"/>
              <a:gd name="connsiteX31701" fmla="*/ 2435835 w 10505529"/>
              <a:gd name="connsiteY31701" fmla="*/ 2233293 h 7458372"/>
              <a:gd name="connsiteX31702" fmla="*/ 2424120 w 10505529"/>
              <a:gd name="connsiteY31702" fmla="*/ 2235556 h 7458372"/>
              <a:gd name="connsiteX31703" fmla="*/ 2402288 w 10505529"/>
              <a:gd name="connsiteY31703" fmla="*/ 2227037 h 7458372"/>
              <a:gd name="connsiteX31704" fmla="*/ 2393901 w 10505529"/>
              <a:gd name="connsiteY31704" fmla="*/ 2205871 h 7458372"/>
              <a:gd name="connsiteX31705" fmla="*/ 2402288 w 10505529"/>
              <a:gd name="connsiteY31705" fmla="*/ 2184838 h 7458372"/>
              <a:gd name="connsiteX31706" fmla="*/ 2424120 w 10505529"/>
              <a:gd name="connsiteY31706" fmla="*/ 2176186 h 7458372"/>
              <a:gd name="connsiteX31707" fmla="*/ 2206469 w 10505529"/>
              <a:gd name="connsiteY31707" fmla="*/ 2176186 h 7458372"/>
              <a:gd name="connsiteX31708" fmla="*/ 2218183 w 10505529"/>
              <a:gd name="connsiteY31708" fmla="*/ 2178848 h 7458372"/>
              <a:gd name="connsiteX31709" fmla="*/ 2227502 w 10505529"/>
              <a:gd name="connsiteY31709" fmla="*/ 2185238 h 7458372"/>
              <a:gd name="connsiteX31710" fmla="*/ 2233625 w 10505529"/>
              <a:gd name="connsiteY31710" fmla="*/ 2194555 h 7458372"/>
              <a:gd name="connsiteX31711" fmla="*/ 2235888 w 10505529"/>
              <a:gd name="connsiteY31711" fmla="*/ 2206004 h 7458372"/>
              <a:gd name="connsiteX31712" fmla="*/ 2233625 w 10505529"/>
              <a:gd name="connsiteY31712" fmla="*/ 2217718 h 7458372"/>
              <a:gd name="connsiteX31713" fmla="*/ 2227502 w 10505529"/>
              <a:gd name="connsiteY31713" fmla="*/ 2227037 h 7458372"/>
              <a:gd name="connsiteX31714" fmla="*/ 2218183 w 10505529"/>
              <a:gd name="connsiteY31714" fmla="*/ 2233293 h 7458372"/>
              <a:gd name="connsiteX31715" fmla="*/ 2206469 w 10505529"/>
              <a:gd name="connsiteY31715" fmla="*/ 2235556 h 7458372"/>
              <a:gd name="connsiteX31716" fmla="*/ 2184637 w 10505529"/>
              <a:gd name="connsiteY31716" fmla="*/ 2227037 h 7458372"/>
              <a:gd name="connsiteX31717" fmla="*/ 2176250 w 10505529"/>
              <a:gd name="connsiteY31717" fmla="*/ 2205871 h 7458372"/>
              <a:gd name="connsiteX31718" fmla="*/ 2184637 w 10505529"/>
              <a:gd name="connsiteY31718" fmla="*/ 2184838 h 7458372"/>
              <a:gd name="connsiteX31719" fmla="*/ 2206469 w 10505529"/>
              <a:gd name="connsiteY31719" fmla="*/ 2176186 h 7458372"/>
              <a:gd name="connsiteX31720" fmla="*/ 1988950 w 10505529"/>
              <a:gd name="connsiteY31720" fmla="*/ 2176186 h 7458372"/>
              <a:gd name="connsiteX31721" fmla="*/ 2000665 w 10505529"/>
              <a:gd name="connsiteY31721" fmla="*/ 2178848 h 7458372"/>
              <a:gd name="connsiteX31722" fmla="*/ 2009983 w 10505529"/>
              <a:gd name="connsiteY31722" fmla="*/ 2185238 h 7458372"/>
              <a:gd name="connsiteX31723" fmla="*/ 2016106 w 10505529"/>
              <a:gd name="connsiteY31723" fmla="*/ 2194555 h 7458372"/>
              <a:gd name="connsiteX31724" fmla="*/ 2018369 w 10505529"/>
              <a:gd name="connsiteY31724" fmla="*/ 2206004 h 7458372"/>
              <a:gd name="connsiteX31725" fmla="*/ 2016106 w 10505529"/>
              <a:gd name="connsiteY31725" fmla="*/ 2217718 h 7458372"/>
              <a:gd name="connsiteX31726" fmla="*/ 2009983 w 10505529"/>
              <a:gd name="connsiteY31726" fmla="*/ 2227037 h 7458372"/>
              <a:gd name="connsiteX31727" fmla="*/ 2000665 w 10505529"/>
              <a:gd name="connsiteY31727" fmla="*/ 2233293 h 7458372"/>
              <a:gd name="connsiteX31728" fmla="*/ 1988950 w 10505529"/>
              <a:gd name="connsiteY31728" fmla="*/ 2235556 h 7458372"/>
              <a:gd name="connsiteX31729" fmla="*/ 1967119 w 10505529"/>
              <a:gd name="connsiteY31729" fmla="*/ 2227037 h 7458372"/>
              <a:gd name="connsiteX31730" fmla="*/ 1958732 w 10505529"/>
              <a:gd name="connsiteY31730" fmla="*/ 2205871 h 7458372"/>
              <a:gd name="connsiteX31731" fmla="*/ 1967119 w 10505529"/>
              <a:gd name="connsiteY31731" fmla="*/ 2184838 h 7458372"/>
              <a:gd name="connsiteX31732" fmla="*/ 1988950 w 10505529"/>
              <a:gd name="connsiteY31732" fmla="*/ 2176186 h 7458372"/>
              <a:gd name="connsiteX31733" fmla="*/ 1771309 w 10505529"/>
              <a:gd name="connsiteY31733" fmla="*/ 2176186 h 7458372"/>
              <a:gd name="connsiteX31734" fmla="*/ 1783024 w 10505529"/>
              <a:gd name="connsiteY31734" fmla="*/ 2178848 h 7458372"/>
              <a:gd name="connsiteX31735" fmla="*/ 1792342 w 10505529"/>
              <a:gd name="connsiteY31735" fmla="*/ 2185238 h 7458372"/>
              <a:gd name="connsiteX31736" fmla="*/ 1798465 w 10505529"/>
              <a:gd name="connsiteY31736" fmla="*/ 2194555 h 7458372"/>
              <a:gd name="connsiteX31737" fmla="*/ 1800728 w 10505529"/>
              <a:gd name="connsiteY31737" fmla="*/ 2206004 h 7458372"/>
              <a:gd name="connsiteX31738" fmla="*/ 1798465 w 10505529"/>
              <a:gd name="connsiteY31738" fmla="*/ 2217718 h 7458372"/>
              <a:gd name="connsiteX31739" fmla="*/ 1792342 w 10505529"/>
              <a:gd name="connsiteY31739" fmla="*/ 2227037 h 7458372"/>
              <a:gd name="connsiteX31740" fmla="*/ 1783024 w 10505529"/>
              <a:gd name="connsiteY31740" fmla="*/ 2233293 h 7458372"/>
              <a:gd name="connsiteX31741" fmla="*/ 1771309 w 10505529"/>
              <a:gd name="connsiteY31741" fmla="*/ 2235556 h 7458372"/>
              <a:gd name="connsiteX31742" fmla="*/ 1749479 w 10505529"/>
              <a:gd name="connsiteY31742" fmla="*/ 2227037 h 7458372"/>
              <a:gd name="connsiteX31743" fmla="*/ 1741094 w 10505529"/>
              <a:gd name="connsiteY31743" fmla="*/ 2205871 h 7458372"/>
              <a:gd name="connsiteX31744" fmla="*/ 1749479 w 10505529"/>
              <a:gd name="connsiteY31744" fmla="*/ 2184838 h 7458372"/>
              <a:gd name="connsiteX31745" fmla="*/ 1771309 w 10505529"/>
              <a:gd name="connsiteY31745" fmla="*/ 2176186 h 7458372"/>
              <a:gd name="connsiteX31746" fmla="*/ 1553668 w 10505529"/>
              <a:gd name="connsiteY31746" fmla="*/ 2176186 h 7458372"/>
              <a:gd name="connsiteX31747" fmla="*/ 1565382 w 10505529"/>
              <a:gd name="connsiteY31747" fmla="*/ 2178848 h 7458372"/>
              <a:gd name="connsiteX31748" fmla="*/ 1574701 w 10505529"/>
              <a:gd name="connsiteY31748" fmla="*/ 2185238 h 7458372"/>
              <a:gd name="connsiteX31749" fmla="*/ 1580823 w 10505529"/>
              <a:gd name="connsiteY31749" fmla="*/ 2194555 h 7458372"/>
              <a:gd name="connsiteX31750" fmla="*/ 1583087 w 10505529"/>
              <a:gd name="connsiteY31750" fmla="*/ 2206004 h 7458372"/>
              <a:gd name="connsiteX31751" fmla="*/ 1580823 w 10505529"/>
              <a:gd name="connsiteY31751" fmla="*/ 2217718 h 7458372"/>
              <a:gd name="connsiteX31752" fmla="*/ 1574701 w 10505529"/>
              <a:gd name="connsiteY31752" fmla="*/ 2227037 h 7458372"/>
              <a:gd name="connsiteX31753" fmla="*/ 1565382 w 10505529"/>
              <a:gd name="connsiteY31753" fmla="*/ 2233293 h 7458372"/>
              <a:gd name="connsiteX31754" fmla="*/ 1553668 w 10505529"/>
              <a:gd name="connsiteY31754" fmla="*/ 2235556 h 7458372"/>
              <a:gd name="connsiteX31755" fmla="*/ 1531836 w 10505529"/>
              <a:gd name="connsiteY31755" fmla="*/ 2227037 h 7458372"/>
              <a:gd name="connsiteX31756" fmla="*/ 1523450 w 10505529"/>
              <a:gd name="connsiteY31756" fmla="*/ 2205871 h 7458372"/>
              <a:gd name="connsiteX31757" fmla="*/ 1531836 w 10505529"/>
              <a:gd name="connsiteY31757" fmla="*/ 2184838 h 7458372"/>
              <a:gd name="connsiteX31758" fmla="*/ 1553668 w 10505529"/>
              <a:gd name="connsiteY31758" fmla="*/ 2176186 h 7458372"/>
              <a:gd name="connsiteX31759" fmla="*/ 1336023 w 10505529"/>
              <a:gd name="connsiteY31759" fmla="*/ 2176186 h 7458372"/>
              <a:gd name="connsiteX31760" fmla="*/ 1347739 w 10505529"/>
              <a:gd name="connsiteY31760" fmla="*/ 2178848 h 7458372"/>
              <a:gd name="connsiteX31761" fmla="*/ 1357057 w 10505529"/>
              <a:gd name="connsiteY31761" fmla="*/ 2185238 h 7458372"/>
              <a:gd name="connsiteX31762" fmla="*/ 1363179 w 10505529"/>
              <a:gd name="connsiteY31762" fmla="*/ 2194555 h 7458372"/>
              <a:gd name="connsiteX31763" fmla="*/ 1365442 w 10505529"/>
              <a:gd name="connsiteY31763" fmla="*/ 2206004 h 7458372"/>
              <a:gd name="connsiteX31764" fmla="*/ 1363179 w 10505529"/>
              <a:gd name="connsiteY31764" fmla="*/ 2217718 h 7458372"/>
              <a:gd name="connsiteX31765" fmla="*/ 1357057 w 10505529"/>
              <a:gd name="connsiteY31765" fmla="*/ 2227037 h 7458372"/>
              <a:gd name="connsiteX31766" fmla="*/ 1347739 w 10505529"/>
              <a:gd name="connsiteY31766" fmla="*/ 2233293 h 7458372"/>
              <a:gd name="connsiteX31767" fmla="*/ 1336023 w 10505529"/>
              <a:gd name="connsiteY31767" fmla="*/ 2235556 h 7458372"/>
              <a:gd name="connsiteX31768" fmla="*/ 1314191 w 10505529"/>
              <a:gd name="connsiteY31768" fmla="*/ 2227037 h 7458372"/>
              <a:gd name="connsiteX31769" fmla="*/ 1305805 w 10505529"/>
              <a:gd name="connsiteY31769" fmla="*/ 2205871 h 7458372"/>
              <a:gd name="connsiteX31770" fmla="*/ 1314191 w 10505529"/>
              <a:gd name="connsiteY31770" fmla="*/ 2184838 h 7458372"/>
              <a:gd name="connsiteX31771" fmla="*/ 1336023 w 10505529"/>
              <a:gd name="connsiteY31771" fmla="*/ 2176186 h 7458372"/>
              <a:gd name="connsiteX31772" fmla="*/ 1118378 w 10505529"/>
              <a:gd name="connsiteY31772" fmla="*/ 2176186 h 7458372"/>
              <a:gd name="connsiteX31773" fmla="*/ 1130094 w 10505529"/>
              <a:gd name="connsiteY31773" fmla="*/ 2178848 h 7458372"/>
              <a:gd name="connsiteX31774" fmla="*/ 1139412 w 10505529"/>
              <a:gd name="connsiteY31774" fmla="*/ 2185238 h 7458372"/>
              <a:gd name="connsiteX31775" fmla="*/ 1145533 w 10505529"/>
              <a:gd name="connsiteY31775" fmla="*/ 2194555 h 7458372"/>
              <a:gd name="connsiteX31776" fmla="*/ 1147796 w 10505529"/>
              <a:gd name="connsiteY31776" fmla="*/ 2206004 h 7458372"/>
              <a:gd name="connsiteX31777" fmla="*/ 1145533 w 10505529"/>
              <a:gd name="connsiteY31777" fmla="*/ 2217718 h 7458372"/>
              <a:gd name="connsiteX31778" fmla="*/ 1139412 w 10505529"/>
              <a:gd name="connsiteY31778" fmla="*/ 2227037 h 7458372"/>
              <a:gd name="connsiteX31779" fmla="*/ 1130094 w 10505529"/>
              <a:gd name="connsiteY31779" fmla="*/ 2233293 h 7458372"/>
              <a:gd name="connsiteX31780" fmla="*/ 1118378 w 10505529"/>
              <a:gd name="connsiteY31780" fmla="*/ 2235556 h 7458372"/>
              <a:gd name="connsiteX31781" fmla="*/ 1096545 w 10505529"/>
              <a:gd name="connsiteY31781" fmla="*/ 2227037 h 7458372"/>
              <a:gd name="connsiteX31782" fmla="*/ 1088160 w 10505529"/>
              <a:gd name="connsiteY31782" fmla="*/ 2205871 h 7458372"/>
              <a:gd name="connsiteX31783" fmla="*/ 1096545 w 10505529"/>
              <a:gd name="connsiteY31783" fmla="*/ 2184838 h 7458372"/>
              <a:gd name="connsiteX31784" fmla="*/ 1118378 w 10505529"/>
              <a:gd name="connsiteY31784" fmla="*/ 2176186 h 7458372"/>
              <a:gd name="connsiteX31785" fmla="*/ 900866 w 10505529"/>
              <a:gd name="connsiteY31785" fmla="*/ 2176186 h 7458372"/>
              <a:gd name="connsiteX31786" fmla="*/ 912581 w 10505529"/>
              <a:gd name="connsiteY31786" fmla="*/ 2178848 h 7458372"/>
              <a:gd name="connsiteX31787" fmla="*/ 921899 w 10505529"/>
              <a:gd name="connsiteY31787" fmla="*/ 2185238 h 7458372"/>
              <a:gd name="connsiteX31788" fmla="*/ 928021 w 10505529"/>
              <a:gd name="connsiteY31788" fmla="*/ 2194555 h 7458372"/>
              <a:gd name="connsiteX31789" fmla="*/ 930285 w 10505529"/>
              <a:gd name="connsiteY31789" fmla="*/ 2206004 h 7458372"/>
              <a:gd name="connsiteX31790" fmla="*/ 928021 w 10505529"/>
              <a:gd name="connsiteY31790" fmla="*/ 2217718 h 7458372"/>
              <a:gd name="connsiteX31791" fmla="*/ 921899 w 10505529"/>
              <a:gd name="connsiteY31791" fmla="*/ 2227037 h 7458372"/>
              <a:gd name="connsiteX31792" fmla="*/ 912581 w 10505529"/>
              <a:gd name="connsiteY31792" fmla="*/ 2233293 h 7458372"/>
              <a:gd name="connsiteX31793" fmla="*/ 900866 w 10505529"/>
              <a:gd name="connsiteY31793" fmla="*/ 2235556 h 7458372"/>
              <a:gd name="connsiteX31794" fmla="*/ 879035 w 10505529"/>
              <a:gd name="connsiteY31794" fmla="*/ 2227037 h 7458372"/>
              <a:gd name="connsiteX31795" fmla="*/ 870649 w 10505529"/>
              <a:gd name="connsiteY31795" fmla="*/ 2205871 h 7458372"/>
              <a:gd name="connsiteX31796" fmla="*/ 879035 w 10505529"/>
              <a:gd name="connsiteY31796" fmla="*/ 2184838 h 7458372"/>
              <a:gd name="connsiteX31797" fmla="*/ 900866 w 10505529"/>
              <a:gd name="connsiteY31797" fmla="*/ 2176186 h 7458372"/>
              <a:gd name="connsiteX31798" fmla="*/ 683223 w 10505529"/>
              <a:gd name="connsiteY31798" fmla="*/ 2176186 h 7458372"/>
              <a:gd name="connsiteX31799" fmla="*/ 694938 w 10505529"/>
              <a:gd name="connsiteY31799" fmla="*/ 2178848 h 7458372"/>
              <a:gd name="connsiteX31800" fmla="*/ 704256 w 10505529"/>
              <a:gd name="connsiteY31800" fmla="*/ 2185238 h 7458372"/>
              <a:gd name="connsiteX31801" fmla="*/ 710378 w 10505529"/>
              <a:gd name="connsiteY31801" fmla="*/ 2194555 h 7458372"/>
              <a:gd name="connsiteX31802" fmla="*/ 712642 w 10505529"/>
              <a:gd name="connsiteY31802" fmla="*/ 2206004 h 7458372"/>
              <a:gd name="connsiteX31803" fmla="*/ 710378 w 10505529"/>
              <a:gd name="connsiteY31803" fmla="*/ 2217718 h 7458372"/>
              <a:gd name="connsiteX31804" fmla="*/ 704256 w 10505529"/>
              <a:gd name="connsiteY31804" fmla="*/ 2227037 h 7458372"/>
              <a:gd name="connsiteX31805" fmla="*/ 694938 w 10505529"/>
              <a:gd name="connsiteY31805" fmla="*/ 2233293 h 7458372"/>
              <a:gd name="connsiteX31806" fmla="*/ 683223 w 10505529"/>
              <a:gd name="connsiteY31806" fmla="*/ 2235556 h 7458372"/>
              <a:gd name="connsiteX31807" fmla="*/ 661391 w 10505529"/>
              <a:gd name="connsiteY31807" fmla="*/ 2227037 h 7458372"/>
              <a:gd name="connsiteX31808" fmla="*/ 653005 w 10505529"/>
              <a:gd name="connsiteY31808" fmla="*/ 2205871 h 7458372"/>
              <a:gd name="connsiteX31809" fmla="*/ 661391 w 10505529"/>
              <a:gd name="connsiteY31809" fmla="*/ 2184838 h 7458372"/>
              <a:gd name="connsiteX31810" fmla="*/ 683223 w 10505529"/>
              <a:gd name="connsiteY31810" fmla="*/ 2176186 h 7458372"/>
              <a:gd name="connsiteX31811" fmla="*/ 465579 w 10505529"/>
              <a:gd name="connsiteY31811" fmla="*/ 2176186 h 7458372"/>
              <a:gd name="connsiteX31812" fmla="*/ 477295 w 10505529"/>
              <a:gd name="connsiteY31812" fmla="*/ 2178848 h 7458372"/>
              <a:gd name="connsiteX31813" fmla="*/ 486612 w 10505529"/>
              <a:gd name="connsiteY31813" fmla="*/ 2185238 h 7458372"/>
              <a:gd name="connsiteX31814" fmla="*/ 492735 w 10505529"/>
              <a:gd name="connsiteY31814" fmla="*/ 2194555 h 7458372"/>
              <a:gd name="connsiteX31815" fmla="*/ 494998 w 10505529"/>
              <a:gd name="connsiteY31815" fmla="*/ 2206004 h 7458372"/>
              <a:gd name="connsiteX31816" fmla="*/ 492735 w 10505529"/>
              <a:gd name="connsiteY31816" fmla="*/ 2217718 h 7458372"/>
              <a:gd name="connsiteX31817" fmla="*/ 486612 w 10505529"/>
              <a:gd name="connsiteY31817" fmla="*/ 2227037 h 7458372"/>
              <a:gd name="connsiteX31818" fmla="*/ 477295 w 10505529"/>
              <a:gd name="connsiteY31818" fmla="*/ 2233293 h 7458372"/>
              <a:gd name="connsiteX31819" fmla="*/ 465579 w 10505529"/>
              <a:gd name="connsiteY31819" fmla="*/ 2235556 h 7458372"/>
              <a:gd name="connsiteX31820" fmla="*/ 443748 w 10505529"/>
              <a:gd name="connsiteY31820" fmla="*/ 2227037 h 7458372"/>
              <a:gd name="connsiteX31821" fmla="*/ 435362 w 10505529"/>
              <a:gd name="connsiteY31821" fmla="*/ 2205871 h 7458372"/>
              <a:gd name="connsiteX31822" fmla="*/ 443748 w 10505529"/>
              <a:gd name="connsiteY31822" fmla="*/ 2184838 h 7458372"/>
              <a:gd name="connsiteX31823" fmla="*/ 465579 w 10505529"/>
              <a:gd name="connsiteY31823" fmla="*/ 2176186 h 7458372"/>
              <a:gd name="connsiteX31824" fmla="*/ 247936 w 10505529"/>
              <a:gd name="connsiteY31824" fmla="*/ 2176186 h 7458372"/>
              <a:gd name="connsiteX31825" fmla="*/ 259651 w 10505529"/>
              <a:gd name="connsiteY31825" fmla="*/ 2178848 h 7458372"/>
              <a:gd name="connsiteX31826" fmla="*/ 268969 w 10505529"/>
              <a:gd name="connsiteY31826" fmla="*/ 2185238 h 7458372"/>
              <a:gd name="connsiteX31827" fmla="*/ 275092 w 10505529"/>
              <a:gd name="connsiteY31827" fmla="*/ 2194555 h 7458372"/>
              <a:gd name="connsiteX31828" fmla="*/ 277355 w 10505529"/>
              <a:gd name="connsiteY31828" fmla="*/ 2206004 h 7458372"/>
              <a:gd name="connsiteX31829" fmla="*/ 275092 w 10505529"/>
              <a:gd name="connsiteY31829" fmla="*/ 2217718 h 7458372"/>
              <a:gd name="connsiteX31830" fmla="*/ 268969 w 10505529"/>
              <a:gd name="connsiteY31830" fmla="*/ 2227037 h 7458372"/>
              <a:gd name="connsiteX31831" fmla="*/ 259651 w 10505529"/>
              <a:gd name="connsiteY31831" fmla="*/ 2233293 h 7458372"/>
              <a:gd name="connsiteX31832" fmla="*/ 247936 w 10505529"/>
              <a:gd name="connsiteY31832" fmla="*/ 2235556 h 7458372"/>
              <a:gd name="connsiteX31833" fmla="*/ 226105 w 10505529"/>
              <a:gd name="connsiteY31833" fmla="*/ 2227037 h 7458372"/>
              <a:gd name="connsiteX31834" fmla="*/ 217719 w 10505529"/>
              <a:gd name="connsiteY31834" fmla="*/ 2205871 h 7458372"/>
              <a:gd name="connsiteX31835" fmla="*/ 226105 w 10505529"/>
              <a:gd name="connsiteY31835" fmla="*/ 2184838 h 7458372"/>
              <a:gd name="connsiteX31836" fmla="*/ 247936 w 10505529"/>
              <a:gd name="connsiteY31836" fmla="*/ 2176186 h 7458372"/>
              <a:gd name="connsiteX31837" fmla="*/ 30292 w 10505529"/>
              <a:gd name="connsiteY31837" fmla="*/ 2176186 h 7458372"/>
              <a:gd name="connsiteX31838" fmla="*/ 42008 w 10505529"/>
              <a:gd name="connsiteY31838" fmla="*/ 2178848 h 7458372"/>
              <a:gd name="connsiteX31839" fmla="*/ 51326 w 10505529"/>
              <a:gd name="connsiteY31839" fmla="*/ 2185238 h 7458372"/>
              <a:gd name="connsiteX31840" fmla="*/ 57449 w 10505529"/>
              <a:gd name="connsiteY31840" fmla="*/ 2194555 h 7458372"/>
              <a:gd name="connsiteX31841" fmla="*/ 59712 w 10505529"/>
              <a:gd name="connsiteY31841" fmla="*/ 2206004 h 7458372"/>
              <a:gd name="connsiteX31842" fmla="*/ 57449 w 10505529"/>
              <a:gd name="connsiteY31842" fmla="*/ 2217718 h 7458372"/>
              <a:gd name="connsiteX31843" fmla="*/ 51326 w 10505529"/>
              <a:gd name="connsiteY31843" fmla="*/ 2227037 h 7458372"/>
              <a:gd name="connsiteX31844" fmla="*/ 42008 w 10505529"/>
              <a:gd name="connsiteY31844" fmla="*/ 2233293 h 7458372"/>
              <a:gd name="connsiteX31845" fmla="*/ 30292 w 10505529"/>
              <a:gd name="connsiteY31845" fmla="*/ 2235556 h 7458372"/>
              <a:gd name="connsiteX31846" fmla="*/ 8462 w 10505529"/>
              <a:gd name="connsiteY31846" fmla="*/ 2227037 h 7458372"/>
              <a:gd name="connsiteX31847" fmla="*/ 76 w 10505529"/>
              <a:gd name="connsiteY31847" fmla="*/ 2205871 h 7458372"/>
              <a:gd name="connsiteX31848" fmla="*/ 8462 w 10505529"/>
              <a:gd name="connsiteY31848" fmla="*/ 2184838 h 7458372"/>
              <a:gd name="connsiteX31849" fmla="*/ 30292 w 10505529"/>
              <a:gd name="connsiteY31849" fmla="*/ 2176186 h 7458372"/>
              <a:gd name="connsiteX31850" fmla="*/ 10475977 w 10505529"/>
              <a:gd name="connsiteY31850" fmla="*/ 1975188 h 7458372"/>
              <a:gd name="connsiteX31851" fmla="*/ 10465992 w 10505529"/>
              <a:gd name="connsiteY31851" fmla="*/ 1978785 h 7458372"/>
              <a:gd name="connsiteX31852" fmla="*/ 10462399 w 10505529"/>
              <a:gd name="connsiteY31852" fmla="*/ 1988232 h 7458372"/>
              <a:gd name="connsiteX31853" fmla="*/ 10465992 w 10505529"/>
              <a:gd name="connsiteY31853" fmla="*/ 1997689 h 7458372"/>
              <a:gd name="connsiteX31854" fmla="*/ 10475977 w 10505529"/>
              <a:gd name="connsiteY31854" fmla="*/ 2001146 h 7458372"/>
              <a:gd name="connsiteX31855" fmla="*/ 10481302 w 10505529"/>
              <a:gd name="connsiteY31855" fmla="*/ 2000210 h 7458372"/>
              <a:gd name="connsiteX31856" fmla="*/ 10485029 w 10505529"/>
              <a:gd name="connsiteY31856" fmla="*/ 1997817 h 7458372"/>
              <a:gd name="connsiteX31857" fmla="*/ 10487691 w 10505529"/>
              <a:gd name="connsiteY31857" fmla="*/ 1993688 h 7458372"/>
              <a:gd name="connsiteX31858" fmla="*/ 10488623 w 10505529"/>
              <a:gd name="connsiteY31858" fmla="*/ 1988232 h 7458372"/>
              <a:gd name="connsiteX31859" fmla="*/ 10487691 w 10505529"/>
              <a:gd name="connsiteY31859" fmla="*/ 1983046 h 7458372"/>
              <a:gd name="connsiteX31860" fmla="*/ 10485029 w 10505529"/>
              <a:gd name="connsiteY31860" fmla="*/ 1978785 h 7458372"/>
              <a:gd name="connsiteX31861" fmla="*/ 10481035 w 10505529"/>
              <a:gd name="connsiteY31861" fmla="*/ 1976116 h 7458372"/>
              <a:gd name="connsiteX31862" fmla="*/ 10475977 w 10505529"/>
              <a:gd name="connsiteY31862" fmla="*/ 1975188 h 7458372"/>
              <a:gd name="connsiteX31863" fmla="*/ 10258466 w 10505529"/>
              <a:gd name="connsiteY31863" fmla="*/ 1975188 h 7458372"/>
              <a:gd name="connsiteX31864" fmla="*/ 10248481 w 10505529"/>
              <a:gd name="connsiteY31864" fmla="*/ 1978785 h 7458372"/>
              <a:gd name="connsiteX31865" fmla="*/ 10244887 w 10505529"/>
              <a:gd name="connsiteY31865" fmla="*/ 1988237 h 7458372"/>
              <a:gd name="connsiteX31866" fmla="*/ 10248481 w 10505529"/>
              <a:gd name="connsiteY31866" fmla="*/ 1997689 h 7458372"/>
              <a:gd name="connsiteX31867" fmla="*/ 10258466 w 10505529"/>
              <a:gd name="connsiteY31867" fmla="*/ 2001146 h 7458372"/>
              <a:gd name="connsiteX31868" fmla="*/ 10263790 w 10505529"/>
              <a:gd name="connsiteY31868" fmla="*/ 2000210 h 7458372"/>
              <a:gd name="connsiteX31869" fmla="*/ 10267517 w 10505529"/>
              <a:gd name="connsiteY31869" fmla="*/ 1997817 h 7458372"/>
              <a:gd name="connsiteX31870" fmla="*/ 10270180 w 10505529"/>
              <a:gd name="connsiteY31870" fmla="*/ 1993688 h 7458372"/>
              <a:gd name="connsiteX31871" fmla="*/ 10271112 w 10505529"/>
              <a:gd name="connsiteY31871" fmla="*/ 1988237 h 7458372"/>
              <a:gd name="connsiteX31872" fmla="*/ 10270180 w 10505529"/>
              <a:gd name="connsiteY31872" fmla="*/ 1983046 h 7458372"/>
              <a:gd name="connsiteX31873" fmla="*/ 10267517 w 10505529"/>
              <a:gd name="connsiteY31873" fmla="*/ 1978785 h 7458372"/>
              <a:gd name="connsiteX31874" fmla="*/ 10263524 w 10505529"/>
              <a:gd name="connsiteY31874" fmla="*/ 1976116 h 7458372"/>
              <a:gd name="connsiteX31875" fmla="*/ 10258466 w 10505529"/>
              <a:gd name="connsiteY31875" fmla="*/ 1975188 h 7458372"/>
              <a:gd name="connsiteX31876" fmla="*/ 10040820 w 10505529"/>
              <a:gd name="connsiteY31876" fmla="*/ 1975188 h 7458372"/>
              <a:gd name="connsiteX31877" fmla="*/ 10030835 w 10505529"/>
              <a:gd name="connsiteY31877" fmla="*/ 1978785 h 7458372"/>
              <a:gd name="connsiteX31878" fmla="*/ 10027242 w 10505529"/>
              <a:gd name="connsiteY31878" fmla="*/ 1988237 h 7458372"/>
              <a:gd name="connsiteX31879" fmla="*/ 10030835 w 10505529"/>
              <a:gd name="connsiteY31879" fmla="*/ 1997689 h 7458372"/>
              <a:gd name="connsiteX31880" fmla="*/ 10040820 w 10505529"/>
              <a:gd name="connsiteY31880" fmla="*/ 2001146 h 7458372"/>
              <a:gd name="connsiteX31881" fmla="*/ 10046145 w 10505529"/>
              <a:gd name="connsiteY31881" fmla="*/ 2000210 h 7458372"/>
              <a:gd name="connsiteX31882" fmla="*/ 10049872 w 10505529"/>
              <a:gd name="connsiteY31882" fmla="*/ 1997817 h 7458372"/>
              <a:gd name="connsiteX31883" fmla="*/ 10052534 w 10505529"/>
              <a:gd name="connsiteY31883" fmla="*/ 1993688 h 7458372"/>
              <a:gd name="connsiteX31884" fmla="*/ 10053599 w 10505529"/>
              <a:gd name="connsiteY31884" fmla="*/ 1988237 h 7458372"/>
              <a:gd name="connsiteX31885" fmla="*/ 10052534 w 10505529"/>
              <a:gd name="connsiteY31885" fmla="*/ 1983046 h 7458372"/>
              <a:gd name="connsiteX31886" fmla="*/ 10049872 w 10505529"/>
              <a:gd name="connsiteY31886" fmla="*/ 1978785 h 7458372"/>
              <a:gd name="connsiteX31887" fmla="*/ 10045878 w 10505529"/>
              <a:gd name="connsiteY31887" fmla="*/ 1976116 h 7458372"/>
              <a:gd name="connsiteX31888" fmla="*/ 10040820 w 10505529"/>
              <a:gd name="connsiteY31888" fmla="*/ 1975188 h 7458372"/>
              <a:gd name="connsiteX31889" fmla="*/ 9823176 w 10505529"/>
              <a:gd name="connsiteY31889" fmla="*/ 1975188 h 7458372"/>
              <a:gd name="connsiteX31890" fmla="*/ 9813191 w 10505529"/>
              <a:gd name="connsiteY31890" fmla="*/ 1978785 h 7458372"/>
              <a:gd name="connsiteX31891" fmla="*/ 9809597 w 10505529"/>
              <a:gd name="connsiteY31891" fmla="*/ 1988237 h 7458372"/>
              <a:gd name="connsiteX31892" fmla="*/ 9813191 w 10505529"/>
              <a:gd name="connsiteY31892" fmla="*/ 1997689 h 7458372"/>
              <a:gd name="connsiteX31893" fmla="*/ 9823176 w 10505529"/>
              <a:gd name="connsiteY31893" fmla="*/ 2001146 h 7458372"/>
              <a:gd name="connsiteX31894" fmla="*/ 9828501 w 10505529"/>
              <a:gd name="connsiteY31894" fmla="*/ 2000210 h 7458372"/>
              <a:gd name="connsiteX31895" fmla="*/ 9832227 w 10505529"/>
              <a:gd name="connsiteY31895" fmla="*/ 1997817 h 7458372"/>
              <a:gd name="connsiteX31896" fmla="*/ 9834890 w 10505529"/>
              <a:gd name="connsiteY31896" fmla="*/ 1993688 h 7458372"/>
              <a:gd name="connsiteX31897" fmla="*/ 9835955 w 10505529"/>
              <a:gd name="connsiteY31897" fmla="*/ 1988237 h 7458372"/>
              <a:gd name="connsiteX31898" fmla="*/ 9834890 w 10505529"/>
              <a:gd name="connsiteY31898" fmla="*/ 1983046 h 7458372"/>
              <a:gd name="connsiteX31899" fmla="*/ 9832227 w 10505529"/>
              <a:gd name="connsiteY31899" fmla="*/ 1978785 h 7458372"/>
              <a:gd name="connsiteX31900" fmla="*/ 9828234 w 10505529"/>
              <a:gd name="connsiteY31900" fmla="*/ 1976116 h 7458372"/>
              <a:gd name="connsiteX31901" fmla="*/ 9823176 w 10505529"/>
              <a:gd name="connsiteY31901" fmla="*/ 1975188 h 7458372"/>
              <a:gd name="connsiteX31902" fmla="*/ 9605531 w 10505529"/>
              <a:gd name="connsiteY31902" fmla="*/ 1975188 h 7458372"/>
              <a:gd name="connsiteX31903" fmla="*/ 9595546 w 10505529"/>
              <a:gd name="connsiteY31903" fmla="*/ 1978785 h 7458372"/>
              <a:gd name="connsiteX31904" fmla="*/ 9591952 w 10505529"/>
              <a:gd name="connsiteY31904" fmla="*/ 1988237 h 7458372"/>
              <a:gd name="connsiteX31905" fmla="*/ 9595546 w 10505529"/>
              <a:gd name="connsiteY31905" fmla="*/ 1997689 h 7458372"/>
              <a:gd name="connsiteX31906" fmla="*/ 9605531 w 10505529"/>
              <a:gd name="connsiteY31906" fmla="*/ 2001146 h 7458372"/>
              <a:gd name="connsiteX31907" fmla="*/ 9610855 w 10505529"/>
              <a:gd name="connsiteY31907" fmla="*/ 2000210 h 7458372"/>
              <a:gd name="connsiteX31908" fmla="*/ 9614582 w 10505529"/>
              <a:gd name="connsiteY31908" fmla="*/ 1997817 h 7458372"/>
              <a:gd name="connsiteX31909" fmla="*/ 9617245 w 10505529"/>
              <a:gd name="connsiteY31909" fmla="*/ 1993688 h 7458372"/>
              <a:gd name="connsiteX31910" fmla="*/ 9618309 w 10505529"/>
              <a:gd name="connsiteY31910" fmla="*/ 1988237 h 7458372"/>
              <a:gd name="connsiteX31911" fmla="*/ 9617245 w 10505529"/>
              <a:gd name="connsiteY31911" fmla="*/ 1983046 h 7458372"/>
              <a:gd name="connsiteX31912" fmla="*/ 9614582 w 10505529"/>
              <a:gd name="connsiteY31912" fmla="*/ 1978785 h 7458372"/>
              <a:gd name="connsiteX31913" fmla="*/ 9610589 w 10505529"/>
              <a:gd name="connsiteY31913" fmla="*/ 1976116 h 7458372"/>
              <a:gd name="connsiteX31914" fmla="*/ 9605531 w 10505529"/>
              <a:gd name="connsiteY31914" fmla="*/ 1975188 h 7458372"/>
              <a:gd name="connsiteX31915" fmla="*/ 9387885 w 10505529"/>
              <a:gd name="connsiteY31915" fmla="*/ 1975188 h 7458372"/>
              <a:gd name="connsiteX31916" fmla="*/ 9377900 w 10505529"/>
              <a:gd name="connsiteY31916" fmla="*/ 1978785 h 7458372"/>
              <a:gd name="connsiteX31917" fmla="*/ 9374307 w 10505529"/>
              <a:gd name="connsiteY31917" fmla="*/ 1988237 h 7458372"/>
              <a:gd name="connsiteX31918" fmla="*/ 9377900 w 10505529"/>
              <a:gd name="connsiteY31918" fmla="*/ 1997689 h 7458372"/>
              <a:gd name="connsiteX31919" fmla="*/ 9387885 w 10505529"/>
              <a:gd name="connsiteY31919" fmla="*/ 2001146 h 7458372"/>
              <a:gd name="connsiteX31920" fmla="*/ 9393210 w 10505529"/>
              <a:gd name="connsiteY31920" fmla="*/ 2000210 h 7458372"/>
              <a:gd name="connsiteX31921" fmla="*/ 9396937 w 10505529"/>
              <a:gd name="connsiteY31921" fmla="*/ 1997817 h 7458372"/>
              <a:gd name="connsiteX31922" fmla="*/ 9399599 w 10505529"/>
              <a:gd name="connsiteY31922" fmla="*/ 1993688 h 7458372"/>
              <a:gd name="connsiteX31923" fmla="*/ 9400664 w 10505529"/>
              <a:gd name="connsiteY31923" fmla="*/ 1988237 h 7458372"/>
              <a:gd name="connsiteX31924" fmla="*/ 9399599 w 10505529"/>
              <a:gd name="connsiteY31924" fmla="*/ 1983046 h 7458372"/>
              <a:gd name="connsiteX31925" fmla="*/ 9396937 w 10505529"/>
              <a:gd name="connsiteY31925" fmla="*/ 1978785 h 7458372"/>
              <a:gd name="connsiteX31926" fmla="*/ 9392943 w 10505529"/>
              <a:gd name="connsiteY31926" fmla="*/ 1976116 h 7458372"/>
              <a:gd name="connsiteX31927" fmla="*/ 9387885 w 10505529"/>
              <a:gd name="connsiteY31927" fmla="*/ 1975188 h 7458372"/>
              <a:gd name="connsiteX31928" fmla="*/ 9170374 w 10505529"/>
              <a:gd name="connsiteY31928" fmla="*/ 1975188 h 7458372"/>
              <a:gd name="connsiteX31929" fmla="*/ 9160389 w 10505529"/>
              <a:gd name="connsiteY31929" fmla="*/ 1978785 h 7458372"/>
              <a:gd name="connsiteX31930" fmla="*/ 9156795 w 10505529"/>
              <a:gd name="connsiteY31930" fmla="*/ 1988237 h 7458372"/>
              <a:gd name="connsiteX31931" fmla="*/ 9160389 w 10505529"/>
              <a:gd name="connsiteY31931" fmla="*/ 1997689 h 7458372"/>
              <a:gd name="connsiteX31932" fmla="*/ 9170374 w 10505529"/>
              <a:gd name="connsiteY31932" fmla="*/ 2001146 h 7458372"/>
              <a:gd name="connsiteX31933" fmla="*/ 9175698 w 10505529"/>
              <a:gd name="connsiteY31933" fmla="*/ 2000210 h 7458372"/>
              <a:gd name="connsiteX31934" fmla="*/ 9179425 w 10505529"/>
              <a:gd name="connsiteY31934" fmla="*/ 1997817 h 7458372"/>
              <a:gd name="connsiteX31935" fmla="*/ 9182088 w 10505529"/>
              <a:gd name="connsiteY31935" fmla="*/ 1993688 h 7458372"/>
              <a:gd name="connsiteX31936" fmla="*/ 9183152 w 10505529"/>
              <a:gd name="connsiteY31936" fmla="*/ 1988237 h 7458372"/>
              <a:gd name="connsiteX31937" fmla="*/ 9182088 w 10505529"/>
              <a:gd name="connsiteY31937" fmla="*/ 1983046 h 7458372"/>
              <a:gd name="connsiteX31938" fmla="*/ 9179425 w 10505529"/>
              <a:gd name="connsiteY31938" fmla="*/ 1978785 h 7458372"/>
              <a:gd name="connsiteX31939" fmla="*/ 9175432 w 10505529"/>
              <a:gd name="connsiteY31939" fmla="*/ 1976116 h 7458372"/>
              <a:gd name="connsiteX31940" fmla="*/ 9170374 w 10505529"/>
              <a:gd name="connsiteY31940" fmla="*/ 1975188 h 7458372"/>
              <a:gd name="connsiteX31941" fmla="*/ 8952728 w 10505529"/>
              <a:gd name="connsiteY31941" fmla="*/ 1975188 h 7458372"/>
              <a:gd name="connsiteX31942" fmla="*/ 8942743 w 10505529"/>
              <a:gd name="connsiteY31942" fmla="*/ 1978785 h 7458372"/>
              <a:gd name="connsiteX31943" fmla="*/ 8939150 w 10505529"/>
              <a:gd name="connsiteY31943" fmla="*/ 1988237 h 7458372"/>
              <a:gd name="connsiteX31944" fmla="*/ 8942743 w 10505529"/>
              <a:gd name="connsiteY31944" fmla="*/ 1997689 h 7458372"/>
              <a:gd name="connsiteX31945" fmla="*/ 8952728 w 10505529"/>
              <a:gd name="connsiteY31945" fmla="*/ 2001146 h 7458372"/>
              <a:gd name="connsiteX31946" fmla="*/ 8958053 w 10505529"/>
              <a:gd name="connsiteY31946" fmla="*/ 2000210 h 7458372"/>
              <a:gd name="connsiteX31947" fmla="*/ 8961780 w 10505529"/>
              <a:gd name="connsiteY31947" fmla="*/ 1997817 h 7458372"/>
              <a:gd name="connsiteX31948" fmla="*/ 8964442 w 10505529"/>
              <a:gd name="connsiteY31948" fmla="*/ 1993688 h 7458372"/>
              <a:gd name="connsiteX31949" fmla="*/ 8965507 w 10505529"/>
              <a:gd name="connsiteY31949" fmla="*/ 1988237 h 7458372"/>
              <a:gd name="connsiteX31950" fmla="*/ 8964442 w 10505529"/>
              <a:gd name="connsiteY31950" fmla="*/ 1983046 h 7458372"/>
              <a:gd name="connsiteX31951" fmla="*/ 8961780 w 10505529"/>
              <a:gd name="connsiteY31951" fmla="*/ 1978785 h 7458372"/>
              <a:gd name="connsiteX31952" fmla="*/ 8957786 w 10505529"/>
              <a:gd name="connsiteY31952" fmla="*/ 1976116 h 7458372"/>
              <a:gd name="connsiteX31953" fmla="*/ 8952728 w 10505529"/>
              <a:gd name="connsiteY31953" fmla="*/ 1975188 h 7458372"/>
              <a:gd name="connsiteX31954" fmla="*/ 8735083 w 10505529"/>
              <a:gd name="connsiteY31954" fmla="*/ 1975188 h 7458372"/>
              <a:gd name="connsiteX31955" fmla="*/ 8725098 w 10505529"/>
              <a:gd name="connsiteY31955" fmla="*/ 1978785 h 7458372"/>
              <a:gd name="connsiteX31956" fmla="*/ 8721504 w 10505529"/>
              <a:gd name="connsiteY31956" fmla="*/ 1988237 h 7458372"/>
              <a:gd name="connsiteX31957" fmla="*/ 8725098 w 10505529"/>
              <a:gd name="connsiteY31957" fmla="*/ 1997689 h 7458372"/>
              <a:gd name="connsiteX31958" fmla="*/ 8735083 w 10505529"/>
              <a:gd name="connsiteY31958" fmla="*/ 2001146 h 7458372"/>
              <a:gd name="connsiteX31959" fmla="*/ 8740407 w 10505529"/>
              <a:gd name="connsiteY31959" fmla="*/ 2000210 h 7458372"/>
              <a:gd name="connsiteX31960" fmla="*/ 8744134 w 10505529"/>
              <a:gd name="connsiteY31960" fmla="*/ 1997817 h 7458372"/>
              <a:gd name="connsiteX31961" fmla="*/ 8746797 w 10505529"/>
              <a:gd name="connsiteY31961" fmla="*/ 1993688 h 7458372"/>
              <a:gd name="connsiteX31962" fmla="*/ 8747862 w 10505529"/>
              <a:gd name="connsiteY31962" fmla="*/ 1988237 h 7458372"/>
              <a:gd name="connsiteX31963" fmla="*/ 8746797 w 10505529"/>
              <a:gd name="connsiteY31963" fmla="*/ 1983046 h 7458372"/>
              <a:gd name="connsiteX31964" fmla="*/ 8744134 w 10505529"/>
              <a:gd name="connsiteY31964" fmla="*/ 1978785 h 7458372"/>
              <a:gd name="connsiteX31965" fmla="*/ 8740141 w 10505529"/>
              <a:gd name="connsiteY31965" fmla="*/ 1976116 h 7458372"/>
              <a:gd name="connsiteX31966" fmla="*/ 8735083 w 10505529"/>
              <a:gd name="connsiteY31966" fmla="*/ 1975188 h 7458372"/>
              <a:gd name="connsiteX31967" fmla="*/ 8517438 w 10505529"/>
              <a:gd name="connsiteY31967" fmla="*/ 1975188 h 7458372"/>
              <a:gd name="connsiteX31968" fmla="*/ 8507453 w 10505529"/>
              <a:gd name="connsiteY31968" fmla="*/ 1978785 h 7458372"/>
              <a:gd name="connsiteX31969" fmla="*/ 8503860 w 10505529"/>
              <a:gd name="connsiteY31969" fmla="*/ 1988237 h 7458372"/>
              <a:gd name="connsiteX31970" fmla="*/ 8507453 w 10505529"/>
              <a:gd name="connsiteY31970" fmla="*/ 1997689 h 7458372"/>
              <a:gd name="connsiteX31971" fmla="*/ 8517438 w 10505529"/>
              <a:gd name="connsiteY31971" fmla="*/ 2001146 h 7458372"/>
              <a:gd name="connsiteX31972" fmla="*/ 8522763 w 10505529"/>
              <a:gd name="connsiteY31972" fmla="*/ 2000210 h 7458372"/>
              <a:gd name="connsiteX31973" fmla="*/ 8526490 w 10505529"/>
              <a:gd name="connsiteY31973" fmla="*/ 1997817 h 7458372"/>
              <a:gd name="connsiteX31974" fmla="*/ 8529152 w 10505529"/>
              <a:gd name="connsiteY31974" fmla="*/ 1993688 h 7458372"/>
              <a:gd name="connsiteX31975" fmla="*/ 8530084 w 10505529"/>
              <a:gd name="connsiteY31975" fmla="*/ 1988237 h 7458372"/>
              <a:gd name="connsiteX31976" fmla="*/ 8529152 w 10505529"/>
              <a:gd name="connsiteY31976" fmla="*/ 1983046 h 7458372"/>
              <a:gd name="connsiteX31977" fmla="*/ 8526490 w 10505529"/>
              <a:gd name="connsiteY31977" fmla="*/ 1978785 h 7458372"/>
              <a:gd name="connsiteX31978" fmla="*/ 8522496 w 10505529"/>
              <a:gd name="connsiteY31978" fmla="*/ 1976116 h 7458372"/>
              <a:gd name="connsiteX31979" fmla="*/ 8517438 w 10505529"/>
              <a:gd name="connsiteY31979" fmla="*/ 1975188 h 7458372"/>
              <a:gd name="connsiteX31980" fmla="*/ 8299793 w 10505529"/>
              <a:gd name="connsiteY31980" fmla="*/ 1975188 h 7458372"/>
              <a:gd name="connsiteX31981" fmla="*/ 8289809 w 10505529"/>
              <a:gd name="connsiteY31981" fmla="*/ 1978785 h 7458372"/>
              <a:gd name="connsiteX31982" fmla="*/ 8286215 w 10505529"/>
              <a:gd name="connsiteY31982" fmla="*/ 1988237 h 7458372"/>
              <a:gd name="connsiteX31983" fmla="*/ 8289809 w 10505529"/>
              <a:gd name="connsiteY31983" fmla="*/ 1997689 h 7458372"/>
              <a:gd name="connsiteX31984" fmla="*/ 8299793 w 10505529"/>
              <a:gd name="connsiteY31984" fmla="*/ 2001146 h 7458372"/>
              <a:gd name="connsiteX31985" fmla="*/ 8305118 w 10505529"/>
              <a:gd name="connsiteY31985" fmla="*/ 2000210 h 7458372"/>
              <a:gd name="connsiteX31986" fmla="*/ 8308844 w 10505529"/>
              <a:gd name="connsiteY31986" fmla="*/ 1997817 h 7458372"/>
              <a:gd name="connsiteX31987" fmla="*/ 8311507 w 10505529"/>
              <a:gd name="connsiteY31987" fmla="*/ 1993688 h 7458372"/>
              <a:gd name="connsiteX31988" fmla="*/ 8312439 w 10505529"/>
              <a:gd name="connsiteY31988" fmla="*/ 1988237 h 7458372"/>
              <a:gd name="connsiteX31989" fmla="*/ 8311507 w 10505529"/>
              <a:gd name="connsiteY31989" fmla="*/ 1983046 h 7458372"/>
              <a:gd name="connsiteX31990" fmla="*/ 8308844 w 10505529"/>
              <a:gd name="connsiteY31990" fmla="*/ 1978785 h 7458372"/>
              <a:gd name="connsiteX31991" fmla="*/ 8304851 w 10505529"/>
              <a:gd name="connsiteY31991" fmla="*/ 1976116 h 7458372"/>
              <a:gd name="connsiteX31992" fmla="*/ 8299793 w 10505529"/>
              <a:gd name="connsiteY31992" fmla="*/ 1975188 h 7458372"/>
              <a:gd name="connsiteX31993" fmla="*/ 8082281 w 10505529"/>
              <a:gd name="connsiteY31993" fmla="*/ 1975188 h 7458372"/>
              <a:gd name="connsiteX31994" fmla="*/ 8072297 w 10505529"/>
              <a:gd name="connsiteY31994" fmla="*/ 1978785 h 7458372"/>
              <a:gd name="connsiteX31995" fmla="*/ 8068703 w 10505529"/>
              <a:gd name="connsiteY31995" fmla="*/ 1988237 h 7458372"/>
              <a:gd name="connsiteX31996" fmla="*/ 8072297 w 10505529"/>
              <a:gd name="connsiteY31996" fmla="*/ 1997689 h 7458372"/>
              <a:gd name="connsiteX31997" fmla="*/ 8082281 w 10505529"/>
              <a:gd name="connsiteY31997" fmla="*/ 2001146 h 7458372"/>
              <a:gd name="connsiteX31998" fmla="*/ 8087605 w 10505529"/>
              <a:gd name="connsiteY31998" fmla="*/ 2000210 h 7458372"/>
              <a:gd name="connsiteX31999" fmla="*/ 8091332 w 10505529"/>
              <a:gd name="connsiteY31999" fmla="*/ 1997817 h 7458372"/>
              <a:gd name="connsiteX32000" fmla="*/ 8093994 w 10505529"/>
              <a:gd name="connsiteY32000" fmla="*/ 1993688 h 7458372"/>
              <a:gd name="connsiteX32001" fmla="*/ 8094926 w 10505529"/>
              <a:gd name="connsiteY32001" fmla="*/ 1988237 h 7458372"/>
              <a:gd name="connsiteX32002" fmla="*/ 8093994 w 10505529"/>
              <a:gd name="connsiteY32002" fmla="*/ 1983046 h 7458372"/>
              <a:gd name="connsiteX32003" fmla="*/ 8091332 w 10505529"/>
              <a:gd name="connsiteY32003" fmla="*/ 1978785 h 7458372"/>
              <a:gd name="connsiteX32004" fmla="*/ 8087338 w 10505529"/>
              <a:gd name="connsiteY32004" fmla="*/ 1976116 h 7458372"/>
              <a:gd name="connsiteX32005" fmla="*/ 8082281 w 10505529"/>
              <a:gd name="connsiteY32005" fmla="*/ 1975188 h 7458372"/>
              <a:gd name="connsiteX32006" fmla="*/ 7864636 w 10505529"/>
              <a:gd name="connsiteY32006" fmla="*/ 1975188 h 7458372"/>
              <a:gd name="connsiteX32007" fmla="*/ 7854652 w 10505529"/>
              <a:gd name="connsiteY32007" fmla="*/ 1978785 h 7458372"/>
              <a:gd name="connsiteX32008" fmla="*/ 7851058 w 10505529"/>
              <a:gd name="connsiteY32008" fmla="*/ 1988237 h 7458372"/>
              <a:gd name="connsiteX32009" fmla="*/ 7854652 w 10505529"/>
              <a:gd name="connsiteY32009" fmla="*/ 1997689 h 7458372"/>
              <a:gd name="connsiteX32010" fmla="*/ 7864636 w 10505529"/>
              <a:gd name="connsiteY32010" fmla="*/ 2001146 h 7458372"/>
              <a:gd name="connsiteX32011" fmla="*/ 7869961 w 10505529"/>
              <a:gd name="connsiteY32011" fmla="*/ 2000210 h 7458372"/>
              <a:gd name="connsiteX32012" fmla="*/ 7873687 w 10505529"/>
              <a:gd name="connsiteY32012" fmla="*/ 1997817 h 7458372"/>
              <a:gd name="connsiteX32013" fmla="*/ 7876350 w 10505529"/>
              <a:gd name="connsiteY32013" fmla="*/ 1993688 h 7458372"/>
              <a:gd name="connsiteX32014" fmla="*/ 7877282 w 10505529"/>
              <a:gd name="connsiteY32014" fmla="*/ 1988237 h 7458372"/>
              <a:gd name="connsiteX32015" fmla="*/ 7876350 w 10505529"/>
              <a:gd name="connsiteY32015" fmla="*/ 1983046 h 7458372"/>
              <a:gd name="connsiteX32016" fmla="*/ 7873687 w 10505529"/>
              <a:gd name="connsiteY32016" fmla="*/ 1978785 h 7458372"/>
              <a:gd name="connsiteX32017" fmla="*/ 7869694 w 10505529"/>
              <a:gd name="connsiteY32017" fmla="*/ 1976116 h 7458372"/>
              <a:gd name="connsiteX32018" fmla="*/ 7864636 w 10505529"/>
              <a:gd name="connsiteY32018" fmla="*/ 1975188 h 7458372"/>
              <a:gd name="connsiteX32019" fmla="*/ 7646991 w 10505529"/>
              <a:gd name="connsiteY32019" fmla="*/ 1975188 h 7458372"/>
              <a:gd name="connsiteX32020" fmla="*/ 7637007 w 10505529"/>
              <a:gd name="connsiteY32020" fmla="*/ 1978785 h 7458372"/>
              <a:gd name="connsiteX32021" fmla="*/ 7633413 w 10505529"/>
              <a:gd name="connsiteY32021" fmla="*/ 1988237 h 7458372"/>
              <a:gd name="connsiteX32022" fmla="*/ 7637007 w 10505529"/>
              <a:gd name="connsiteY32022" fmla="*/ 1997689 h 7458372"/>
              <a:gd name="connsiteX32023" fmla="*/ 7646991 w 10505529"/>
              <a:gd name="connsiteY32023" fmla="*/ 2001146 h 7458372"/>
              <a:gd name="connsiteX32024" fmla="*/ 7652315 w 10505529"/>
              <a:gd name="connsiteY32024" fmla="*/ 2000210 h 7458372"/>
              <a:gd name="connsiteX32025" fmla="*/ 7656042 w 10505529"/>
              <a:gd name="connsiteY32025" fmla="*/ 1997817 h 7458372"/>
              <a:gd name="connsiteX32026" fmla="*/ 7658705 w 10505529"/>
              <a:gd name="connsiteY32026" fmla="*/ 1993688 h 7458372"/>
              <a:gd name="connsiteX32027" fmla="*/ 7659769 w 10505529"/>
              <a:gd name="connsiteY32027" fmla="*/ 1988237 h 7458372"/>
              <a:gd name="connsiteX32028" fmla="*/ 7658705 w 10505529"/>
              <a:gd name="connsiteY32028" fmla="*/ 1983046 h 7458372"/>
              <a:gd name="connsiteX32029" fmla="*/ 7656042 w 10505529"/>
              <a:gd name="connsiteY32029" fmla="*/ 1978785 h 7458372"/>
              <a:gd name="connsiteX32030" fmla="*/ 7652049 w 10505529"/>
              <a:gd name="connsiteY32030" fmla="*/ 1976116 h 7458372"/>
              <a:gd name="connsiteX32031" fmla="*/ 7646991 w 10505529"/>
              <a:gd name="connsiteY32031" fmla="*/ 1975188 h 7458372"/>
              <a:gd name="connsiteX32032" fmla="*/ 7429345 w 10505529"/>
              <a:gd name="connsiteY32032" fmla="*/ 1975188 h 7458372"/>
              <a:gd name="connsiteX32033" fmla="*/ 7419361 w 10505529"/>
              <a:gd name="connsiteY32033" fmla="*/ 1978785 h 7458372"/>
              <a:gd name="connsiteX32034" fmla="*/ 7415768 w 10505529"/>
              <a:gd name="connsiteY32034" fmla="*/ 1988237 h 7458372"/>
              <a:gd name="connsiteX32035" fmla="*/ 7419361 w 10505529"/>
              <a:gd name="connsiteY32035" fmla="*/ 1997689 h 7458372"/>
              <a:gd name="connsiteX32036" fmla="*/ 7429345 w 10505529"/>
              <a:gd name="connsiteY32036" fmla="*/ 2001146 h 7458372"/>
              <a:gd name="connsiteX32037" fmla="*/ 7434670 w 10505529"/>
              <a:gd name="connsiteY32037" fmla="*/ 2000210 h 7458372"/>
              <a:gd name="connsiteX32038" fmla="*/ 7438397 w 10505529"/>
              <a:gd name="connsiteY32038" fmla="*/ 1997817 h 7458372"/>
              <a:gd name="connsiteX32039" fmla="*/ 7441059 w 10505529"/>
              <a:gd name="connsiteY32039" fmla="*/ 1993688 h 7458372"/>
              <a:gd name="connsiteX32040" fmla="*/ 7442124 w 10505529"/>
              <a:gd name="connsiteY32040" fmla="*/ 1988237 h 7458372"/>
              <a:gd name="connsiteX32041" fmla="*/ 7441059 w 10505529"/>
              <a:gd name="connsiteY32041" fmla="*/ 1983046 h 7458372"/>
              <a:gd name="connsiteX32042" fmla="*/ 7438397 w 10505529"/>
              <a:gd name="connsiteY32042" fmla="*/ 1978785 h 7458372"/>
              <a:gd name="connsiteX32043" fmla="*/ 7434403 w 10505529"/>
              <a:gd name="connsiteY32043" fmla="*/ 1976116 h 7458372"/>
              <a:gd name="connsiteX32044" fmla="*/ 7429345 w 10505529"/>
              <a:gd name="connsiteY32044" fmla="*/ 1975188 h 7458372"/>
              <a:gd name="connsiteX32045" fmla="*/ 7211701 w 10505529"/>
              <a:gd name="connsiteY32045" fmla="*/ 1975188 h 7458372"/>
              <a:gd name="connsiteX32046" fmla="*/ 7201717 w 10505529"/>
              <a:gd name="connsiteY32046" fmla="*/ 1978785 h 7458372"/>
              <a:gd name="connsiteX32047" fmla="*/ 7198123 w 10505529"/>
              <a:gd name="connsiteY32047" fmla="*/ 1988237 h 7458372"/>
              <a:gd name="connsiteX32048" fmla="*/ 7201717 w 10505529"/>
              <a:gd name="connsiteY32048" fmla="*/ 1997689 h 7458372"/>
              <a:gd name="connsiteX32049" fmla="*/ 7211701 w 10505529"/>
              <a:gd name="connsiteY32049" fmla="*/ 2001146 h 7458372"/>
              <a:gd name="connsiteX32050" fmla="*/ 7217026 w 10505529"/>
              <a:gd name="connsiteY32050" fmla="*/ 2000210 h 7458372"/>
              <a:gd name="connsiteX32051" fmla="*/ 7220752 w 10505529"/>
              <a:gd name="connsiteY32051" fmla="*/ 1997817 h 7458372"/>
              <a:gd name="connsiteX32052" fmla="*/ 7223415 w 10505529"/>
              <a:gd name="connsiteY32052" fmla="*/ 1993688 h 7458372"/>
              <a:gd name="connsiteX32053" fmla="*/ 7224480 w 10505529"/>
              <a:gd name="connsiteY32053" fmla="*/ 1988237 h 7458372"/>
              <a:gd name="connsiteX32054" fmla="*/ 7223415 w 10505529"/>
              <a:gd name="connsiteY32054" fmla="*/ 1983046 h 7458372"/>
              <a:gd name="connsiteX32055" fmla="*/ 7220752 w 10505529"/>
              <a:gd name="connsiteY32055" fmla="*/ 1978785 h 7458372"/>
              <a:gd name="connsiteX32056" fmla="*/ 7216759 w 10505529"/>
              <a:gd name="connsiteY32056" fmla="*/ 1976116 h 7458372"/>
              <a:gd name="connsiteX32057" fmla="*/ 7211701 w 10505529"/>
              <a:gd name="connsiteY32057" fmla="*/ 1975188 h 7458372"/>
              <a:gd name="connsiteX32058" fmla="*/ 6994056 w 10505529"/>
              <a:gd name="connsiteY32058" fmla="*/ 1975188 h 7458372"/>
              <a:gd name="connsiteX32059" fmla="*/ 6984072 w 10505529"/>
              <a:gd name="connsiteY32059" fmla="*/ 1978785 h 7458372"/>
              <a:gd name="connsiteX32060" fmla="*/ 6980478 w 10505529"/>
              <a:gd name="connsiteY32060" fmla="*/ 1988237 h 7458372"/>
              <a:gd name="connsiteX32061" fmla="*/ 6984072 w 10505529"/>
              <a:gd name="connsiteY32061" fmla="*/ 1997689 h 7458372"/>
              <a:gd name="connsiteX32062" fmla="*/ 6994056 w 10505529"/>
              <a:gd name="connsiteY32062" fmla="*/ 2001146 h 7458372"/>
              <a:gd name="connsiteX32063" fmla="*/ 6999380 w 10505529"/>
              <a:gd name="connsiteY32063" fmla="*/ 2000210 h 7458372"/>
              <a:gd name="connsiteX32064" fmla="*/ 7003107 w 10505529"/>
              <a:gd name="connsiteY32064" fmla="*/ 1997817 h 7458372"/>
              <a:gd name="connsiteX32065" fmla="*/ 7005769 w 10505529"/>
              <a:gd name="connsiteY32065" fmla="*/ 1993688 h 7458372"/>
              <a:gd name="connsiteX32066" fmla="*/ 7006834 w 10505529"/>
              <a:gd name="connsiteY32066" fmla="*/ 1988237 h 7458372"/>
              <a:gd name="connsiteX32067" fmla="*/ 7005769 w 10505529"/>
              <a:gd name="connsiteY32067" fmla="*/ 1983046 h 7458372"/>
              <a:gd name="connsiteX32068" fmla="*/ 7003107 w 10505529"/>
              <a:gd name="connsiteY32068" fmla="*/ 1978785 h 7458372"/>
              <a:gd name="connsiteX32069" fmla="*/ 6999113 w 10505529"/>
              <a:gd name="connsiteY32069" fmla="*/ 1976116 h 7458372"/>
              <a:gd name="connsiteX32070" fmla="*/ 6994056 w 10505529"/>
              <a:gd name="connsiteY32070" fmla="*/ 1975188 h 7458372"/>
              <a:gd name="connsiteX32071" fmla="*/ 6776544 w 10505529"/>
              <a:gd name="connsiteY32071" fmla="*/ 1975188 h 7458372"/>
              <a:gd name="connsiteX32072" fmla="*/ 6766560 w 10505529"/>
              <a:gd name="connsiteY32072" fmla="*/ 1978785 h 7458372"/>
              <a:gd name="connsiteX32073" fmla="*/ 6762966 w 10505529"/>
              <a:gd name="connsiteY32073" fmla="*/ 1988237 h 7458372"/>
              <a:gd name="connsiteX32074" fmla="*/ 6766560 w 10505529"/>
              <a:gd name="connsiteY32074" fmla="*/ 1997689 h 7458372"/>
              <a:gd name="connsiteX32075" fmla="*/ 6776544 w 10505529"/>
              <a:gd name="connsiteY32075" fmla="*/ 2001146 h 7458372"/>
              <a:gd name="connsiteX32076" fmla="*/ 6781869 w 10505529"/>
              <a:gd name="connsiteY32076" fmla="*/ 2000210 h 7458372"/>
              <a:gd name="connsiteX32077" fmla="*/ 6785595 w 10505529"/>
              <a:gd name="connsiteY32077" fmla="*/ 1997817 h 7458372"/>
              <a:gd name="connsiteX32078" fmla="*/ 6788258 w 10505529"/>
              <a:gd name="connsiteY32078" fmla="*/ 1993688 h 7458372"/>
              <a:gd name="connsiteX32079" fmla="*/ 6789323 w 10505529"/>
              <a:gd name="connsiteY32079" fmla="*/ 1988237 h 7458372"/>
              <a:gd name="connsiteX32080" fmla="*/ 6788258 w 10505529"/>
              <a:gd name="connsiteY32080" fmla="*/ 1983046 h 7458372"/>
              <a:gd name="connsiteX32081" fmla="*/ 6785595 w 10505529"/>
              <a:gd name="connsiteY32081" fmla="*/ 1978785 h 7458372"/>
              <a:gd name="connsiteX32082" fmla="*/ 6781602 w 10505529"/>
              <a:gd name="connsiteY32082" fmla="*/ 1976116 h 7458372"/>
              <a:gd name="connsiteX32083" fmla="*/ 6776544 w 10505529"/>
              <a:gd name="connsiteY32083" fmla="*/ 1975188 h 7458372"/>
              <a:gd name="connsiteX32084" fmla="*/ 6558899 w 10505529"/>
              <a:gd name="connsiteY32084" fmla="*/ 1975188 h 7458372"/>
              <a:gd name="connsiteX32085" fmla="*/ 6548915 w 10505529"/>
              <a:gd name="connsiteY32085" fmla="*/ 1978785 h 7458372"/>
              <a:gd name="connsiteX32086" fmla="*/ 6545321 w 10505529"/>
              <a:gd name="connsiteY32086" fmla="*/ 1988237 h 7458372"/>
              <a:gd name="connsiteX32087" fmla="*/ 6548915 w 10505529"/>
              <a:gd name="connsiteY32087" fmla="*/ 1997689 h 7458372"/>
              <a:gd name="connsiteX32088" fmla="*/ 6558899 w 10505529"/>
              <a:gd name="connsiteY32088" fmla="*/ 2001146 h 7458372"/>
              <a:gd name="connsiteX32089" fmla="*/ 6564223 w 10505529"/>
              <a:gd name="connsiteY32089" fmla="*/ 2000210 h 7458372"/>
              <a:gd name="connsiteX32090" fmla="*/ 6567950 w 10505529"/>
              <a:gd name="connsiteY32090" fmla="*/ 1997817 h 7458372"/>
              <a:gd name="connsiteX32091" fmla="*/ 6570612 w 10505529"/>
              <a:gd name="connsiteY32091" fmla="*/ 1993688 h 7458372"/>
              <a:gd name="connsiteX32092" fmla="*/ 6571677 w 10505529"/>
              <a:gd name="connsiteY32092" fmla="*/ 1988237 h 7458372"/>
              <a:gd name="connsiteX32093" fmla="*/ 6570612 w 10505529"/>
              <a:gd name="connsiteY32093" fmla="*/ 1983046 h 7458372"/>
              <a:gd name="connsiteX32094" fmla="*/ 6567950 w 10505529"/>
              <a:gd name="connsiteY32094" fmla="*/ 1978785 h 7458372"/>
              <a:gd name="connsiteX32095" fmla="*/ 6563956 w 10505529"/>
              <a:gd name="connsiteY32095" fmla="*/ 1976116 h 7458372"/>
              <a:gd name="connsiteX32096" fmla="*/ 6558899 w 10505529"/>
              <a:gd name="connsiteY32096" fmla="*/ 1975188 h 7458372"/>
              <a:gd name="connsiteX32097" fmla="*/ 6341253 w 10505529"/>
              <a:gd name="connsiteY32097" fmla="*/ 1975188 h 7458372"/>
              <a:gd name="connsiteX32098" fmla="*/ 6331270 w 10505529"/>
              <a:gd name="connsiteY32098" fmla="*/ 1978785 h 7458372"/>
              <a:gd name="connsiteX32099" fmla="*/ 6327675 w 10505529"/>
              <a:gd name="connsiteY32099" fmla="*/ 1988237 h 7458372"/>
              <a:gd name="connsiteX32100" fmla="*/ 6331270 w 10505529"/>
              <a:gd name="connsiteY32100" fmla="*/ 1997689 h 7458372"/>
              <a:gd name="connsiteX32101" fmla="*/ 6341253 w 10505529"/>
              <a:gd name="connsiteY32101" fmla="*/ 2001146 h 7458372"/>
              <a:gd name="connsiteX32102" fmla="*/ 6346578 w 10505529"/>
              <a:gd name="connsiteY32102" fmla="*/ 2000210 h 7458372"/>
              <a:gd name="connsiteX32103" fmla="*/ 6350305 w 10505529"/>
              <a:gd name="connsiteY32103" fmla="*/ 1997817 h 7458372"/>
              <a:gd name="connsiteX32104" fmla="*/ 6352968 w 10505529"/>
              <a:gd name="connsiteY32104" fmla="*/ 1993688 h 7458372"/>
              <a:gd name="connsiteX32105" fmla="*/ 6354033 w 10505529"/>
              <a:gd name="connsiteY32105" fmla="*/ 1988237 h 7458372"/>
              <a:gd name="connsiteX32106" fmla="*/ 6352968 w 10505529"/>
              <a:gd name="connsiteY32106" fmla="*/ 1983046 h 7458372"/>
              <a:gd name="connsiteX32107" fmla="*/ 6350305 w 10505529"/>
              <a:gd name="connsiteY32107" fmla="*/ 1978785 h 7458372"/>
              <a:gd name="connsiteX32108" fmla="*/ 6346312 w 10505529"/>
              <a:gd name="connsiteY32108" fmla="*/ 1976116 h 7458372"/>
              <a:gd name="connsiteX32109" fmla="*/ 6341253 w 10505529"/>
              <a:gd name="connsiteY32109" fmla="*/ 1975188 h 7458372"/>
              <a:gd name="connsiteX32110" fmla="*/ 6123608 w 10505529"/>
              <a:gd name="connsiteY32110" fmla="*/ 1975188 h 7458372"/>
              <a:gd name="connsiteX32111" fmla="*/ 6113624 w 10505529"/>
              <a:gd name="connsiteY32111" fmla="*/ 1978785 h 7458372"/>
              <a:gd name="connsiteX32112" fmla="*/ 6110030 w 10505529"/>
              <a:gd name="connsiteY32112" fmla="*/ 1988237 h 7458372"/>
              <a:gd name="connsiteX32113" fmla="*/ 6113624 w 10505529"/>
              <a:gd name="connsiteY32113" fmla="*/ 1997689 h 7458372"/>
              <a:gd name="connsiteX32114" fmla="*/ 6123608 w 10505529"/>
              <a:gd name="connsiteY32114" fmla="*/ 2001146 h 7458372"/>
              <a:gd name="connsiteX32115" fmla="*/ 6128932 w 10505529"/>
              <a:gd name="connsiteY32115" fmla="*/ 2000210 h 7458372"/>
              <a:gd name="connsiteX32116" fmla="*/ 6132659 w 10505529"/>
              <a:gd name="connsiteY32116" fmla="*/ 1997817 h 7458372"/>
              <a:gd name="connsiteX32117" fmla="*/ 6135322 w 10505529"/>
              <a:gd name="connsiteY32117" fmla="*/ 1993688 h 7458372"/>
              <a:gd name="connsiteX32118" fmla="*/ 6136387 w 10505529"/>
              <a:gd name="connsiteY32118" fmla="*/ 1988237 h 7458372"/>
              <a:gd name="connsiteX32119" fmla="*/ 6135322 w 10505529"/>
              <a:gd name="connsiteY32119" fmla="*/ 1983046 h 7458372"/>
              <a:gd name="connsiteX32120" fmla="*/ 6132659 w 10505529"/>
              <a:gd name="connsiteY32120" fmla="*/ 1978785 h 7458372"/>
              <a:gd name="connsiteX32121" fmla="*/ 6128666 w 10505529"/>
              <a:gd name="connsiteY32121" fmla="*/ 1976116 h 7458372"/>
              <a:gd name="connsiteX32122" fmla="*/ 6123608 w 10505529"/>
              <a:gd name="connsiteY32122" fmla="*/ 1975188 h 7458372"/>
              <a:gd name="connsiteX32123" fmla="*/ 5905963 w 10505529"/>
              <a:gd name="connsiteY32123" fmla="*/ 1975188 h 7458372"/>
              <a:gd name="connsiteX32124" fmla="*/ 5895979 w 10505529"/>
              <a:gd name="connsiteY32124" fmla="*/ 1978785 h 7458372"/>
              <a:gd name="connsiteX32125" fmla="*/ 5892385 w 10505529"/>
              <a:gd name="connsiteY32125" fmla="*/ 1988237 h 7458372"/>
              <a:gd name="connsiteX32126" fmla="*/ 5895979 w 10505529"/>
              <a:gd name="connsiteY32126" fmla="*/ 1997689 h 7458372"/>
              <a:gd name="connsiteX32127" fmla="*/ 5905963 w 10505529"/>
              <a:gd name="connsiteY32127" fmla="*/ 2001146 h 7458372"/>
              <a:gd name="connsiteX32128" fmla="*/ 5911287 w 10505529"/>
              <a:gd name="connsiteY32128" fmla="*/ 2000210 h 7458372"/>
              <a:gd name="connsiteX32129" fmla="*/ 5915014 w 10505529"/>
              <a:gd name="connsiteY32129" fmla="*/ 1997817 h 7458372"/>
              <a:gd name="connsiteX32130" fmla="*/ 5917677 w 10505529"/>
              <a:gd name="connsiteY32130" fmla="*/ 1993688 h 7458372"/>
              <a:gd name="connsiteX32131" fmla="*/ 5918742 w 10505529"/>
              <a:gd name="connsiteY32131" fmla="*/ 1988237 h 7458372"/>
              <a:gd name="connsiteX32132" fmla="*/ 5917677 w 10505529"/>
              <a:gd name="connsiteY32132" fmla="*/ 1983046 h 7458372"/>
              <a:gd name="connsiteX32133" fmla="*/ 5915014 w 10505529"/>
              <a:gd name="connsiteY32133" fmla="*/ 1978785 h 7458372"/>
              <a:gd name="connsiteX32134" fmla="*/ 5911021 w 10505529"/>
              <a:gd name="connsiteY32134" fmla="*/ 1976116 h 7458372"/>
              <a:gd name="connsiteX32135" fmla="*/ 5905963 w 10505529"/>
              <a:gd name="connsiteY32135" fmla="*/ 1975188 h 7458372"/>
              <a:gd name="connsiteX32136" fmla="*/ 5688451 w 10505529"/>
              <a:gd name="connsiteY32136" fmla="*/ 1975188 h 7458372"/>
              <a:gd name="connsiteX32137" fmla="*/ 5678467 w 10505529"/>
              <a:gd name="connsiteY32137" fmla="*/ 1978785 h 7458372"/>
              <a:gd name="connsiteX32138" fmla="*/ 5674873 w 10505529"/>
              <a:gd name="connsiteY32138" fmla="*/ 1988237 h 7458372"/>
              <a:gd name="connsiteX32139" fmla="*/ 5678467 w 10505529"/>
              <a:gd name="connsiteY32139" fmla="*/ 1997689 h 7458372"/>
              <a:gd name="connsiteX32140" fmla="*/ 5688451 w 10505529"/>
              <a:gd name="connsiteY32140" fmla="*/ 2001146 h 7458372"/>
              <a:gd name="connsiteX32141" fmla="*/ 5693775 w 10505529"/>
              <a:gd name="connsiteY32141" fmla="*/ 2000210 h 7458372"/>
              <a:gd name="connsiteX32142" fmla="*/ 5697502 w 10505529"/>
              <a:gd name="connsiteY32142" fmla="*/ 1997817 h 7458372"/>
              <a:gd name="connsiteX32143" fmla="*/ 5700165 w 10505529"/>
              <a:gd name="connsiteY32143" fmla="*/ 1993688 h 7458372"/>
              <a:gd name="connsiteX32144" fmla="*/ 5701230 w 10505529"/>
              <a:gd name="connsiteY32144" fmla="*/ 1988237 h 7458372"/>
              <a:gd name="connsiteX32145" fmla="*/ 5700165 w 10505529"/>
              <a:gd name="connsiteY32145" fmla="*/ 1983046 h 7458372"/>
              <a:gd name="connsiteX32146" fmla="*/ 5697502 w 10505529"/>
              <a:gd name="connsiteY32146" fmla="*/ 1978785 h 7458372"/>
              <a:gd name="connsiteX32147" fmla="*/ 5693509 w 10505529"/>
              <a:gd name="connsiteY32147" fmla="*/ 1976116 h 7458372"/>
              <a:gd name="connsiteX32148" fmla="*/ 5688451 w 10505529"/>
              <a:gd name="connsiteY32148" fmla="*/ 1975188 h 7458372"/>
              <a:gd name="connsiteX32149" fmla="*/ 5470806 w 10505529"/>
              <a:gd name="connsiteY32149" fmla="*/ 1975188 h 7458372"/>
              <a:gd name="connsiteX32150" fmla="*/ 5460822 w 10505529"/>
              <a:gd name="connsiteY32150" fmla="*/ 1978785 h 7458372"/>
              <a:gd name="connsiteX32151" fmla="*/ 5457228 w 10505529"/>
              <a:gd name="connsiteY32151" fmla="*/ 1988237 h 7458372"/>
              <a:gd name="connsiteX32152" fmla="*/ 5460822 w 10505529"/>
              <a:gd name="connsiteY32152" fmla="*/ 1997689 h 7458372"/>
              <a:gd name="connsiteX32153" fmla="*/ 5470806 w 10505529"/>
              <a:gd name="connsiteY32153" fmla="*/ 2001146 h 7458372"/>
              <a:gd name="connsiteX32154" fmla="*/ 5476130 w 10505529"/>
              <a:gd name="connsiteY32154" fmla="*/ 2000210 h 7458372"/>
              <a:gd name="connsiteX32155" fmla="*/ 5479857 w 10505529"/>
              <a:gd name="connsiteY32155" fmla="*/ 1997817 h 7458372"/>
              <a:gd name="connsiteX32156" fmla="*/ 5482520 w 10505529"/>
              <a:gd name="connsiteY32156" fmla="*/ 1993688 h 7458372"/>
              <a:gd name="connsiteX32157" fmla="*/ 5483585 w 10505529"/>
              <a:gd name="connsiteY32157" fmla="*/ 1988237 h 7458372"/>
              <a:gd name="connsiteX32158" fmla="*/ 5482520 w 10505529"/>
              <a:gd name="connsiteY32158" fmla="*/ 1983046 h 7458372"/>
              <a:gd name="connsiteX32159" fmla="*/ 5479857 w 10505529"/>
              <a:gd name="connsiteY32159" fmla="*/ 1978785 h 7458372"/>
              <a:gd name="connsiteX32160" fmla="*/ 5475864 w 10505529"/>
              <a:gd name="connsiteY32160" fmla="*/ 1976116 h 7458372"/>
              <a:gd name="connsiteX32161" fmla="*/ 5470806 w 10505529"/>
              <a:gd name="connsiteY32161" fmla="*/ 1975188 h 7458372"/>
              <a:gd name="connsiteX32162" fmla="*/ 5253160 w 10505529"/>
              <a:gd name="connsiteY32162" fmla="*/ 1975188 h 7458372"/>
              <a:gd name="connsiteX32163" fmla="*/ 5243177 w 10505529"/>
              <a:gd name="connsiteY32163" fmla="*/ 1978785 h 7458372"/>
              <a:gd name="connsiteX32164" fmla="*/ 5239583 w 10505529"/>
              <a:gd name="connsiteY32164" fmla="*/ 1988237 h 7458372"/>
              <a:gd name="connsiteX32165" fmla="*/ 5243177 w 10505529"/>
              <a:gd name="connsiteY32165" fmla="*/ 1997689 h 7458372"/>
              <a:gd name="connsiteX32166" fmla="*/ 5253160 w 10505529"/>
              <a:gd name="connsiteY32166" fmla="*/ 2001146 h 7458372"/>
              <a:gd name="connsiteX32167" fmla="*/ 5258485 w 10505529"/>
              <a:gd name="connsiteY32167" fmla="*/ 2000210 h 7458372"/>
              <a:gd name="connsiteX32168" fmla="*/ 5262212 w 10505529"/>
              <a:gd name="connsiteY32168" fmla="*/ 1997817 h 7458372"/>
              <a:gd name="connsiteX32169" fmla="*/ 5264875 w 10505529"/>
              <a:gd name="connsiteY32169" fmla="*/ 1993688 h 7458372"/>
              <a:gd name="connsiteX32170" fmla="*/ 5265939 w 10505529"/>
              <a:gd name="connsiteY32170" fmla="*/ 1988237 h 7458372"/>
              <a:gd name="connsiteX32171" fmla="*/ 5264875 w 10505529"/>
              <a:gd name="connsiteY32171" fmla="*/ 1983046 h 7458372"/>
              <a:gd name="connsiteX32172" fmla="*/ 5262212 w 10505529"/>
              <a:gd name="connsiteY32172" fmla="*/ 1978785 h 7458372"/>
              <a:gd name="connsiteX32173" fmla="*/ 5258219 w 10505529"/>
              <a:gd name="connsiteY32173" fmla="*/ 1976116 h 7458372"/>
              <a:gd name="connsiteX32174" fmla="*/ 5253160 w 10505529"/>
              <a:gd name="connsiteY32174" fmla="*/ 1975188 h 7458372"/>
              <a:gd name="connsiteX32175" fmla="*/ 5035515 w 10505529"/>
              <a:gd name="connsiteY32175" fmla="*/ 1975188 h 7458372"/>
              <a:gd name="connsiteX32176" fmla="*/ 5025532 w 10505529"/>
              <a:gd name="connsiteY32176" fmla="*/ 1978785 h 7458372"/>
              <a:gd name="connsiteX32177" fmla="*/ 5021938 w 10505529"/>
              <a:gd name="connsiteY32177" fmla="*/ 1988237 h 7458372"/>
              <a:gd name="connsiteX32178" fmla="*/ 5025532 w 10505529"/>
              <a:gd name="connsiteY32178" fmla="*/ 1997689 h 7458372"/>
              <a:gd name="connsiteX32179" fmla="*/ 5035515 w 10505529"/>
              <a:gd name="connsiteY32179" fmla="*/ 2001146 h 7458372"/>
              <a:gd name="connsiteX32180" fmla="*/ 5040840 w 10505529"/>
              <a:gd name="connsiteY32180" fmla="*/ 2000210 h 7458372"/>
              <a:gd name="connsiteX32181" fmla="*/ 5044567 w 10505529"/>
              <a:gd name="connsiteY32181" fmla="*/ 1997817 h 7458372"/>
              <a:gd name="connsiteX32182" fmla="*/ 5047230 w 10505529"/>
              <a:gd name="connsiteY32182" fmla="*/ 1993688 h 7458372"/>
              <a:gd name="connsiteX32183" fmla="*/ 5048294 w 10505529"/>
              <a:gd name="connsiteY32183" fmla="*/ 1988237 h 7458372"/>
              <a:gd name="connsiteX32184" fmla="*/ 5047230 w 10505529"/>
              <a:gd name="connsiteY32184" fmla="*/ 1983046 h 7458372"/>
              <a:gd name="connsiteX32185" fmla="*/ 5044567 w 10505529"/>
              <a:gd name="connsiteY32185" fmla="*/ 1978785 h 7458372"/>
              <a:gd name="connsiteX32186" fmla="*/ 5040574 w 10505529"/>
              <a:gd name="connsiteY32186" fmla="*/ 1976116 h 7458372"/>
              <a:gd name="connsiteX32187" fmla="*/ 5035515 w 10505529"/>
              <a:gd name="connsiteY32187" fmla="*/ 1975188 h 7458372"/>
              <a:gd name="connsiteX32188" fmla="*/ 4817870 w 10505529"/>
              <a:gd name="connsiteY32188" fmla="*/ 1975188 h 7458372"/>
              <a:gd name="connsiteX32189" fmla="*/ 4807887 w 10505529"/>
              <a:gd name="connsiteY32189" fmla="*/ 1978785 h 7458372"/>
              <a:gd name="connsiteX32190" fmla="*/ 4804293 w 10505529"/>
              <a:gd name="connsiteY32190" fmla="*/ 1988237 h 7458372"/>
              <a:gd name="connsiteX32191" fmla="*/ 4807887 w 10505529"/>
              <a:gd name="connsiteY32191" fmla="*/ 1997689 h 7458372"/>
              <a:gd name="connsiteX32192" fmla="*/ 4817870 w 10505529"/>
              <a:gd name="connsiteY32192" fmla="*/ 2001146 h 7458372"/>
              <a:gd name="connsiteX32193" fmla="*/ 4823195 w 10505529"/>
              <a:gd name="connsiteY32193" fmla="*/ 2000210 h 7458372"/>
              <a:gd name="connsiteX32194" fmla="*/ 4826922 w 10505529"/>
              <a:gd name="connsiteY32194" fmla="*/ 1997817 h 7458372"/>
              <a:gd name="connsiteX32195" fmla="*/ 4829585 w 10505529"/>
              <a:gd name="connsiteY32195" fmla="*/ 1993688 h 7458372"/>
              <a:gd name="connsiteX32196" fmla="*/ 4830650 w 10505529"/>
              <a:gd name="connsiteY32196" fmla="*/ 1988237 h 7458372"/>
              <a:gd name="connsiteX32197" fmla="*/ 4829585 w 10505529"/>
              <a:gd name="connsiteY32197" fmla="*/ 1983046 h 7458372"/>
              <a:gd name="connsiteX32198" fmla="*/ 4826922 w 10505529"/>
              <a:gd name="connsiteY32198" fmla="*/ 1978785 h 7458372"/>
              <a:gd name="connsiteX32199" fmla="*/ 4822929 w 10505529"/>
              <a:gd name="connsiteY32199" fmla="*/ 1976116 h 7458372"/>
              <a:gd name="connsiteX32200" fmla="*/ 4817870 w 10505529"/>
              <a:gd name="connsiteY32200" fmla="*/ 1975188 h 7458372"/>
              <a:gd name="connsiteX32201" fmla="*/ 4600226 w 10505529"/>
              <a:gd name="connsiteY32201" fmla="*/ 1975188 h 7458372"/>
              <a:gd name="connsiteX32202" fmla="*/ 4590242 w 10505529"/>
              <a:gd name="connsiteY32202" fmla="*/ 1978785 h 7458372"/>
              <a:gd name="connsiteX32203" fmla="*/ 4586648 w 10505529"/>
              <a:gd name="connsiteY32203" fmla="*/ 1988237 h 7458372"/>
              <a:gd name="connsiteX32204" fmla="*/ 4590242 w 10505529"/>
              <a:gd name="connsiteY32204" fmla="*/ 1997689 h 7458372"/>
              <a:gd name="connsiteX32205" fmla="*/ 4600226 w 10505529"/>
              <a:gd name="connsiteY32205" fmla="*/ 2001146 h 7458372"/>
              <a:gd name="connsiteX32206" fmla="*/ 4605550 w 10505529"/>
              <a:gd name="connsiteY32206" fmla="*/ 2000210 h 7458372"/>
              <a:gd name="connsiteX32207" fmla="*/ 4609277 w 10505529"/>
              <a:gd name="connsiteY32207" fmla="*/ 1997817 h 7458372"/>
              <a:gd name="connsiteX32208" fmla="*/ 4611940 w 10505529"/>
              <a:gd name="connsiteY32208" fmla="*/ 1993688 h 7458372"/>
              <a:gd name="connsiteX32209" fmla="*/ 4613005 w 10505529"/>
              <a:gd name="connsiteY32209" fmla="*/ 1988237 h 7458372"/>
              <a:gd name="connsiteX32210" fmla="*/ 4611940 w 10505529"/>
              <a:gd name="connsiteY32210" fmla="*/ 1983046 h 7458372"/>
              <a:gd name="connsiteX32211" fmla="*/ 4609277 w 10505529"/>
              <a:gd name="connsiteY32211" fmla="*/ 1978785 h 7458372"/>
              <a:gd name="connsiteX32212" fmla="*/ 4605284 w 10505529"/>
              <a:gd name="connsiteY32212" fmla="*/ 1976116 h 7458372"/>
              <a:gd name="connsiteX32213" fmla="*/ 4600226 w 10505529"/>
              <a:gd name="connsiteY32213" fmla="*/ 1975188 h 7458372"/>
              <a:gd name="connsiteX32214" fmla="*/ 4382713 w 10505529"/>
              <a:gd name="connsiteY32214" fmla="*/ 1975188 h 7458372"/>
              <a:gd name="connsiteX32215" fmla="*/ 4372730 w 10505529"/>
              <a:gd name="connsiteY32215" fmla="*/ 1978785 h 7458372"/>
              <a:gd name="connsiteX32216" fmla="*/ 4369136 w 10505529"/>
              <a:gd name="connsiteY32216" fmla="*/ 1988237 h 7458372"/>
              <a:gd name="connsiteX32217" fmla="*/ 4372730 w 10505529"/>
              <a:gd name="connsiteY32217" fmla="*/ 1997689 h 7458372"/>
              <a:gd name="connsiteX32218" fmla="*/ 4382713 w 10505529"/>
              <a:gd name="connsiteY32218" fmla="*/ 2001146 h 7458372"/>
              <a:gd name="connsiteX32219" fmla="*/ 4388038 w 10505529"/>
              <a:gd name="connsiteY32219" fmla="*/ 2000210 h 7458372"/>
              <a:gd name="connsiteX32220" fmla="*/ 4391765 w 10505529"/>
              <a:gd name="connsiteY32220" fmla="*/ 1997817 h 7458372"/>
              <a:gd name="connsiteX32221" fmla="*/ 4394428 w 10505529"/>
              <a:gd name="connsiteY32221" fmla="*/ 1993688 h 7458372"/>
              <a:gd name="connsiteX32222" fmla="*/ 4395493 w 10505529"/>
              <a:gd name="connsiteY32222" fmla="*/ 1988237 h 7458372"/>
              <a:gd name="connsiteX32223" fmla="*/ 4394428 w 10505529"/>
              <a:gd name="connsiteY32223" fmla="*/ 1983046 h 7458372"/>
              <a:gd name="connsiteX32224" fmla="*/ 4391765 w 10505529"/>
              <a:gd name="connsiteY32224" fmla="*/ 1978785 h 7458372"/>
              <a:gd name="connsiteX32225" fmla="*/ 4387772 w 10505529"/>
              <a:gd name="connsiteY32225" fmla="*/ 1976116 h 7458372"/>
              <a:gd name="connsiteX32226" fmla="*/ 4382713 w 10505529"/>
              <a:gd name="connsiteY32226" fmla="*/ 1975188 h 7458372"/>
              <a:gd name="connsiteX32227" fmla="*/ 4165068 w 10505529"/>
              <a:gd name="connsiteY32227" fmla="*/ 1975188 h 7458372"/>
              <a:gd name="connsiteX32228" fmla="*/ 4155084 w 10505529"/>
              <a:gd name="connsiteY32228" fmla="*/ 1978785 h 7458372"/>
              <a:gd name="connsiteX32229" fmla="*/ 4151490 w 10505529"/>
              <a:gd name="connsiteY32229" fmla="*/ 1988237 h 7458372"/>
              <a:gd name="connsiteX32230" fmla="*/ 4155084 w 10505529"/>
              <a:gd name="connsiteY32230" fmla="*/ 1997689 h 7458372"/>
              <a:gd name="connsiteX32231" fmla="*/ 4165068 w 10505529"/>
              <a:gd name="connsiteY32231" fmla="*/ 2001146 h 7458372"/>
              <a:gd name="connsiteX32232" fmla="*/ 4170392 w 10505529"/>
              <a:gd name="connsiteY32232" fmla="*/ 2000210 h 7458372"/>
              <a:gd name="connsiteX32233" fmla="*/ 4174119 w 10505529"/>
              <a:gd name="connsiteY32233" fmla="*/ 1997817 h 7458372"/>
              <a:gd name="connsiteX32234" fmla="*/ 4176782 w 10505529"/>
              <a:gd name="connsiteY32234" fmla="*/ 1993688 h 7458372"/>
              <a:gd name="connsiteX32235" fmla="*/ 4177847 w 10505529"/>
              <a:gd name="connsiteY32235" fmla="*/ 1988237 h 7458372"/>
              <a:gd name="connsiteX32236" fmla="*/ 4176782 w 10505529"/>
              <a:gd name="connsiteY32236" fmla="*/ 1983046 h 7458372"/>
              <a:gd name="connsiteX32237" fmla="*/ 4174119 w 10505529"/>
              <a:gd name="connsiteY32237" fmla="*/ 1978785 h 7458372"/>
              <a:gd name="connsiteX32238" fmla="*/ 4170126 w 10505529"/>
              <a:gd name="connsiteY32238" fmla="*/ 1976116 h 7458372"/>
              <a:gd name="connsiteX32239" fmla="*/ 4165068 w 10505529"/>
              <a:gd name="connsiteY32239" fmla="*/ 1975188 h 7458372"/>
              <a:gd name="connsiteX32240" fmla="*/ 3947535 w 10505529"/>
              <a:gd name="connsiteY32240" fmla="*/ 1975188 h 7458372"/>
              <a:gd name="connsiteX32241" fmla="*/ 3937552 w 10505529"/>
              <a:gd name="connsiteY32241" fmla="*/ 1978785 h 7458372"/>
              <a:gd name="connsiteX32242" fmla="*/ 3933958 w 10505529"/>
              <a:gd name="connsiteY32242" fmla="*/ 1988237 h 7458372"/>
              <a:gd name="connsiteX32243" fmla="*/ 3937552 w 10505529"/>
              <a:gd name="connsiteY32243" fmla="*/ 1997689 h 7458372"/>
              <a:gd name="connsiteX32244" fmla="*/ 3947535 w 10505529"/>
              <a:gd name="connsiteY32244" fmla="*/ 2001146 h 7458372"/>
              <a:gd name="connsiteX32245" fmla="*/ 3952861 w 10505529"/>
              <a:gd name="connsiteY32245" fmla="*/ 2000210 h 7458372"/>
              <a:gd name="connsiteX32246" fmla="*/ 3956588 w 10505529"/>
              <a:gd name="connsiteY32246" fmla="*/ 1997817 h 7458372"/>
              <a:gd name="connsiteX32247" fmla="*/ 3959250 w 10505529"/>
              <a:gd name="connsiteY32247" fmla="*/ 1993688 h 7458372"/>
              <a:gd name="connsiteX32248" fmla="*/ 3960316 w 10505529"/>
              <a:gd name="connsiteY32248" fmla="*/ 1988237 h 7458372"/>
              <a:gd name="connsiteX32249" fmla="*/ 3959250 w 10505529"/>
              <a:gd name="connsiteY32249" fmla="*/ 1983046 h 7458372"/>
              <a:gd name="connsiteX32250" fmla="*/ 3956588 w 10505529"/>
              <a:gd name="connsiteY32250" fmla="*/ 1978785 h 7458372"/>
              <a:gd name="connsiteX32251" fmla="*/ 3952594 w 10505529"/>
              <a:gd name="connsiteY32251" fmla="*/ 1976116 h 7458372"/>
              <a:gd name="connsiteX32252" fmla="*/ 3947535 w 10505529"/>
              <a:gd name="connsiteY32252" fmla="*/ 1975188 h 7458372"/>
              <a:gd name="connsiteX32253" fmla="*/ 3729884 w 10505529"/>
              <a:gd name="connsiteY32253" fmla="*/ 1975188 h 7458372"/>
              <a:gd name="connsiteX32254" fmla="*/ 3719898 w 10505529"/>
              <a:gd name="connsiteY32254" fmla="*/ 1978785 h 7458372"/>
              <a:gd name="connsiteX32255" fmla="*/ 3716306 w 10505529"/>
              <a:gd name="connsiteY32255" fmla="*/ 1988237 h 7458372"/>
              <a:gd name="connsiteX32256" fmla="*/ 3719898 w 10505529"/>
              <a:gd name="connsiteY32256" fmla="*/ 1997689 h 7458372"/>
              <a:gd name="connsiteX32257" fmla="*/ 3729884 w 10505529"/>
              <a:gd name="connsiteY32257" fmla="*/ 2001146 h 7458372"/>
              <a:gd name="connsiteX32258" fmla="*/ 3735209 w 10505529"/>
              <a:gd name="connsiteY32258" fmla="*/ 2000210 h 7458372"/>
              <a:gd name="connsiteX32259" fmla="*/ 3738936 w 10505529"/>
              <a:gd name="connsiteY32259" fmla="*/ 1997817 h 7458372"/>
              <a:gd name="connsiteX32260" fmla="*/ 3741599 w 10505529"/>
              <a:gd name="connsiteY32260" fmla="*/ 1993688 h 7458372"/>
              <a:gd name="connsiteX32261" fmla="*/ 3742664 w 10505529"/>
              <a:gd name="connsiteY32261" fmla="*/ 1988237 h 7458372"/>
              <a:gd name="connsiteX32262" fmla="*/ 3741599 w 10505529"/>
              <a:gd name="connsiteY32262" fmla="*/ 1983046 h 7458372"/>
              <a:gd name="connsiteX32263" fmla="*/ 3738936 w 10505529"/>
              <a:gd name="connsiteY32263" fmla="*/ 1978785 h 7458372"/>
              <a:gd name="connsiteX32264" fmla="*/ 3734944 w 10505529"/>
              <a:gd name="connsiteY32264" fmla="*/ 1976116 h 7458372"/>
              <a:gd name="connsiteX32265" fmla="*/ 3729884 w 10505529"/>
              <a:gd name="connsiteY32265" fmla="*/ 1975188 h 7458372"/>
              <a:gd name="connsiteX32266" fmla="*/ 3512233 w 10505529"/>
              <a:gd name="connsiteY32266" fmla="*/ 1975188 h 7458372"/>
              <a:gd name="connsiteX32267" fmla="*/ 3502248 w 10505529"/>
              <a:gd name="connsiteY32267" fmla="*/ 1978785 h 7458372"/>
              <a:gd name="connsiteX32268" fmla="*/ 3498655 w 10505529"/>
              <a:gd name="connsiteY32268" fmla="*/ 1988237 h 7458372"/>
              <a:gd name="connsiteX32269" fmla="*/ 3502248 w 10505529"/>
              <a:gd name="connsiteY32269" fmla="*/ 1997689 h 7458372"/>
              <a:gd name="connsiteX32270" fmla="*/ 3512233 w 10505529"/>
              <a:gd name="connsiteY32270" fmla="*/ 2001146 h 7458372"/>
              <a:gd name="connsiteX32271" fmla="*/ 3517559 w 10505529"/>
              <a:gd name="connsiteY32271" fmla="*/ 2000210 h 7458372"/>
              <a:gd name="connsiteX32272" fmla="*/ 3521286 w 10505529"/>
              <a:gd name="connsiteY32272" fmla="*/ 1997817 h 7458372"/>
              <a:gd name="connsiteX32273" fmla="*/ 3523949 w 10505529"/>
              <a:gd name="connsiteY32273" fmla="*/ 1993688 h 7458372"/>
              <a:gd name="connsiteX32274" fmla="*/ 3525014 w 10505529"/>
              <a:gd name="connsiteY32274" fmla="*/ 1988237 h 7458372"/>
              <a:gd name="connsiteX32275" fmla="*/ 3523949 w 10505529"/>
              <a:gd name="connsiteY32275" fmla="*/ 1983046 h 7458372"/>
              <a:gd name="connsiteX32276" fmla="*/ 3521286 w 10505529"/>
              <a:gd name="connsiteY32276" fmla="*/ 1978785 h 7458372"/>
              <a:gd name="connsiteX32277" fmla="*/ 3517293 w 10505529"/>
              <a:gd name="connsiteY32277" fmla="*/ 1976116 h 7458372"/>
              <a:gd name="connsiteX32278" fmla="*/ 3512233 w 10505529"/>
              <a:gd name="connsiteY32278" fmla="*/ 1975188 h 7458372"/>
              <a:gd name="connsiteX32279" fmla="*/ 3294716 w 10505529"/>
              <a:gd name="connsiteY32279" fmla="*/ 1975188 h 7458372"/>
              <a:gd name="connsiteX32280" fmla="*/ 3284731 w 10505529"/>
              <a:gd name="connsiteY32280" fmla="*/ 1978785 h 7458372"/>
              <a:gd name="connsiteX32281" fmla="*/ 3281137 w 10505529"/>
              <a:gd name="connsiteY32281" fmla="*/ 1988237 h 7458372"/>
              <a:gd name="connsiteX32282" fmla="*/ 3284731 w 10505529"/>
              <a:gd name="connsiteY32282" fmla="*/ 1997689 h 7458372"/>
              <a:gd name="connsiteX32283" fmla="*/ 3294716 w 10505529"/>
              <a:gd name="connsiteY32283" fmla="*/ 2001146 h 7458372"/>
              <a:gd name="connsiteX32284" fmla="*/ 3300041 w 10505529"/>
              <a:gd name="connsiteY32284" fmla="*/ 2000210 h 7458372"/>
              <a:gd name="connsiteX32285" fmla="*/ 3303768 w 10505529"/>
              <a:gd name="connsiteY32285" fmla="*/ 1997817 h 7458372"/>
              <a:gd name="connsiteX32286" fmla="*/ 3306431 w 10505529"/>
              <a:gd name="connsiteY32286" fmla="*/ 1993688 h 7458372"/>
              <a:gd name="connsiteX32287" fmla="*/ 3307495 w 10505529"/>
              <a:gd name="connsiteY32287" fmla="*/ 1988237 h 7458372"/>
              <a:gd name="connsiteX32288" fmla="*/ 3306431 w 10505529"/>
              <a:gd name="connsiteY32288" fmla="*/ 1983046 h 7458372"/>
              <a:gd name="connsiteX32289" fmla="*/ 3303768 w 10505529"/>
              <a:gd name="connsiteY32289" fmla="*/ 1978785 h 7458372"/>
              <a:gd name="connsiteX32290" fmla="*/ 3299775 w 10505529"/>
              <a:gd name="connsiteY32290" fmla="*/ 1976116 h 7458372"/>
              <a:gd name="connsiteX32291" fmla="*/ 3294716 w 10505529"/>
              <a:gd name="connsiteY32291" fmla="*/ 1975188 h 7458372"/>
              <a:gd name="connsiteX32292" fmla="*/ 3077198 w 10505529"/>
              <a:gd name="connsiteY32292" fmla="*/ 1975188 h 7458372"/>
              <a:gd name="connsiteX32293" fmla="*/ 3067215 w 10505529"/>
              <a:gd name="connsiteY32293" fmla="*/ 1978785 h 7458372"/>
              <a:gd name="connsiteX32294" fmla="*/ 3063486 w 10505529"/>
              <a:gd name="connsiteY32294" fmla="*/ 1988237 h 7458372"/>
              <a:gd name="connsiteX32295" fmla="*/ 3067080 w 10505529"/>
              <a:gd name="connsiteY32295" fmla="*/ 1997689 h 7458372"/>
              <a:gd name="connsiteX32296" fmla="*/ 3077065 w 10505529"/>
              <a:gd name="connsiteY32296" fmla="*/ 2001146 h 7458372"/>
              <a:gd name="connsiteX32297" fmla="*/ 3082523 w 10505529"/>
              <a:gd name="connsiteY32297" fmla="*/ 2000210 h 7458372"/>
              <a:gd name="connsiteX32298" fmla="*/ 3086250 w 10505529"/>
              <a:gd name="connsiteY32298" fmla="*/ 1997817 h 7458372"/>
              <a:gd name="connsiteX32299" fmla="*/ 3088913 w 10505529"/>
              <a:gd name="connsiteY32299" fmla="*/ 1993688 h 7458372"/>
              <a:gd name="connsiteX32300" fmla="*/ 3089845 w 10505529"/>
              <a:gd name="connsiteY32300" fmla="*/ 1988237 h 7458372"/>
              <a:gd name="connsiteX32301" fmla="*/ 3088913 w 10505529"/>
              <a:gd name="connsiteY32301" fmla="*/ 1983046 h 7458372"/>
              <a:gd name="connsiteX32302" fmla="*/ 3086250 w 10505529"/>
              <a:gd name="connsiteY32302" fmla="*/ 1978785 h 7458372"/>
              <a:gd name="connsiteX32303" fmla="*/ 3082257 w 10505529"/>
              <a:gd name="connsiteY32303" fmla="*/ 1976116 h 7458372"/>
              <a:gd name="connsiteX32304" fmla="*/ 3077198 w 10505529"/>
              <a:gd name="connsiteY32304" fmla="*/ 1975188 h 7458372"/>
              <a:gd name="connsiteX32305" fmla="*/ 2859414 w 10505529"/>
              <a:gd name="connsiteY32305" fmla="*/ 1975188 h 7458372"/>
              <a:gd name="connsiteX32306" fmla="*/ 2849430 w 10505529"/>
              <a:gd name="connsiteY32306" fmla="*/ 1978785 h 7458372"/>
              <a:gd name="connsiteX32307" fmla="*/ 2845835 w 10505529"/>
              <a:gd name="connsiteY32307" fmla="*/ 1988237 h 7458372"/>
              <a:gd name="connsiteX32308" fmla="*/ 2849430 w 10505529"/>
              <a:gd name="connsiteY32308" fmla="*/ 1997689 h 7458372"/>
              <a:gd name="connsiteX32309" fmla="*/ 2859414 w 10505529"/>
              <a:gd name="connsiteY32309" fmla="*/ 2001146 h 7458372"/>
              <a:gd name="connsiteX32310" fmla="*/ 2864739 w 10505529"/>
              <a:gd name="connsiteY32310" fmla="*/ 2000210 h 7458372"/>
              <a:gd name="connsiteX32311" fmla="*/ 2868466 w 10505529"/>
              <a:gd name="connsiteY32311" fmla="*/ 1997817 h 7458372"/>
              <a:gd name="connsiteX32312" fmla="*/ 2871129 w 10505529"/>
              <a:gd name="connsiteY32312" fmla="*/ 1993688 h 7458372"/>
              <a:gd name="connsiteX32313" fmla="*/ 2872060 w 10505529"/>
              <a:gd name="connsiteY32313" fmla="*/ 1988237 h 7458372"/>
              <a:gd name="connsiteX32314" fmla="*/ 2871129 w 10505529"/>
              <a:gd name="connsiteY32314" fmla="*/ 1983046 h 7458372"/>
              <a:gd name="connsiteX32315" fmla="*/ 2868466 w 10505529"/>
              <a:gd name="connsiteY32315" fmla="*/ 1978785 h 7458372"/>
              <a:gd name="connsiteX32316" fmla="*/ 2864474 w 10505529"/>
              <a:gd name="connsiteY32316" fmla="*/ 1976116 h 7458372"/>
              <a:gd name="connsiteX32317" fmla="*/ 2859414 w 10505529"/>
              <a:gd name="connsiteY32317" fmla="*/ 1975188 h 7458372"/>
              <a:gd name="connsiteX32318" fmla="*/ 2641763 w 10505529"/>
              <a:gd name="connsiteY32318" fmla="*/ 1975188 h 7458372"/>
              <a:gd name="connsiteX32319" fmla="*/ 2631780 w 10505529"/>
              <a:gd name="connsiteY32319" fmla="*/ 1978785 h 7458372"/>
              <a:gd name="connsiteX32320" fmla="*/ 2628186 w 10505529"/>
              <a:gd name="connsiteY32320" fmla="*/ 1988237 h 7458372"/>
              <a:gd name="connsiteX32321" fmla="*/ 2631780 w 10505529"/>
              <a:gd name="connsiteY32321" fmla="*/ 1997689 h 7458372"/>
              <a:gd name="connsiteX32322" fmla="*/ 2641763 w 10505529"/>
              <a:gd name="connsiteY32322" fmla="*/ 2001146 h 7458372"/>
              <a:gd name="connsiteX32323" fmla="*/ 2647089 w 10505529"/>
              <a:gd name="connsiteY32323" fmla="*/ 2000210 h 7458372"/>
              <a:gd name="connsiteX32324" fmla="*/ 2650816 w 10505529"/>
              <a:gd name="connsiteY32324" fmla="*/ 1997817 h 7458372"/>
              <a:gd name="connsiteX32325" fmla="*/ 2653479 w 10505529"/>
              <a:gd name="connsiteY32325" fmla="*/ 1993688 h 7458372"/>
              <a:gd name="connsiteX32326" fmla="*/ 2654409 w 10505529"/>
              <a:gd name="connsiteY32326" fmla="*/ 1988237 h 7458372"/>
              <a:gd name="connsiteX32327" fmla="*/ 2653479 w 10505529"/>
              <a:gd name="connsiteY32327" fmla="*/ 1983046 h 7458372"/>
              <a:gd name="connsiteX32328" fmla="*/ 2650816 w 10505529"/>
              <a:gd name="connsiteY32328" fmla="*/ 1978785 h 7458372"/>
              <a:gd name="connsiteX32329" fmla="*/ 2646823 w 10505529"/>
              <a:gd name="connsiteY32329" fmla="*/ 1976116 h 7458372"/>
              <a:gd name="connsiteX32330" fmla="*/ 2641763 w 10505529"/>
              <a:gd name="connsiteY32330" fmla="*/ 1975188 h 7458372"/>
              <a:gd name="connsiteX32331" fmla="*/ 2424112 w 10505529"/>
              <a:gd name="connsiteY32331" fmla="*/ 1975188 h 7458372"/>
              <a:gd name="connsiteX32332" fmla="*/ 2414129 w 10505529"/>
              <a:gd name="connsiteY32332" fmla="*/ 1978785 h 7458372"/>
              <a:gd name="connsiteX32333" fmla="*/ 2410535 w 10505529"/>
              <a:gd name="connsiteY32333" fmla="*/ 1988237 h 7458372"/>
              <a:gd name="connsiteX32334" fmla="*/ 2414129 w 10505529"/>
              <a:gd name="connsiteY32334" fmla="*/ 1997689 h 7458372"/>
              <a:gd name="connsiteX32335" fmla="*/ 2424112 w 10505529"/>
              <a:gd name="connsiteY32335" fmla="*/ 2001146 h 7458372"/>
              <a:gd name="connsiteX32336" fmla="*/ 2429438 w 10505529"/>
              <a:gd name="connsiteY32336" fmla="*/ 2000210 h 7458372"/>
              <a:gd name="connsiteX32337" fmla="*/ 2433165 w 10505529"/>
              <a:gd name="connsiteY32337" fmla="*/ 1997817 h 7458372"/>
              <a:gd name="connsiteX32338" fmla="*/ 2435828 w 10505529"/>
              <a:gd name="connsiteY32338" fmla="*/ 1993688 h 7458372"/>
              <a:gd name="connsiteX32339" fmla="*/ 2436759 w 10505529"/>
              <a:gd name="connsiteY32339" fmla="*/ 1988237 h 7458372"/>
              <a:gd name="connsiteX32340" fmla="*/ 2435828 w 10505529"/>
              <a:gd name="connsiteY32340" fmla="*/ 1983046 h 7458372"/>
              <a:gd name="connsiteX32341" fmla="*/ 2433165 w 10505529"/>
              <a:gd name="connsiteY32341" fmla="*/ 1978785 h 7458372"/>
              <a:gd name="connsiteX32342" fmla="*/ 2429172 w 10505529"/>
              <a:gd name="connsiteY32342" fmla="*/ 1976116 h 7458372"/>
              <a:gd name="connsiteX32343" fmla="*/ 2424112 w 10505529"/>
              <a:gd name="connsiteY32343" fmla="*/ 1975188 h 7458372"/>
              <a:gd name="connsiteX32344" fmla="*/ 2206462 w 10505529"/>
              <a:gd name="connsiteY32344" fmla="*/ 1975188 h 7458372"/>
              <a:gd name="connsiteX32345" fmla="*/ 2196478 w 10505529"/>
              <a:gd name="connsiteY32345" fmla="*/ 1978785 h 7458372"/>
              <a:gd name="connsiteX32346" fmla="*/ 2192884 w 10505529"/>
              <a:gd name="connsiteY32346" fmla="*/ 1988237 h 7458372"/>
              <a:gd name="connsiteX32347" fmla="*/ 2196478 w 10505529"/>
              <a:gd name="connsiteY32347" fmla="*/ 1997689 h 7458372"/>
              <a:gd name="connsiteX32348" fmla="*/ 2206462 w 10505529"/>
              <a:gd name="connsiteY32348" fmla="*/ 2001146 h 7458372"/>
              <a:gd name="connsiteX32349" fmla="*/ 2211787 w 10505529"/>
              <a:gd name="connsiteY32349" fmla="*/ 2000210 h 7458372"/>
              <a:gd name="connsiteX32350" fmla="*/ 2215514 w 10505529"/>
              <a:gd name="connsiteY32350" fmla="*/ 1997817 h 7458372"/>
              <a:gd name="connsiteX32351" fmla="*/ 2218177 w 10505529"/>
              <a:gd name="connsiteY32351" fmla="*/ 1993688 h 7458372"/>
              <a:gd name="connsiteX32352" fmla="*/ 2219108 w 10505529"/>
              <a:gd name="connsiteY32352" fmla="*/ 1988237 h 7458372"/>
              <a:gd name="connsiteX32353" fmla="*/ 2218177 w 10505529"/>
              <a:gd name="connsiteY32353" fmla="*/ 1983046 h 7458372"/>
              <a:gd name="connsiteX32354" fmla="*/ 2215514 w 10505529"/>
              <a:gd name="connsiteY32354" fmla="*/ 1978785 h 7458372"/>
              <a:gd name="connsiteX32355" fmla="*/ 2211520 w 10505529"/>
              <a:gd name="connsiteY32355" fmla="*/ 1976116 h 7458372"/>
              <a:gd name="connsiteX32356" fmla="*/ 2206462 w 10505529"/>
              <a:gd name="connsiteY32356" fmla="*/ 1975188 h 7458372"/>
              <a:gd name="connsiteX32357" fmla="*/ 1988944 w 10505529"/>
              <a:gd name="connsiteY32357" fmla="*/ 1975188 h 7458372"/>
              <a:gd name="connsiteX32358" fmla="*/ 1978961 w 10505529"/>
              <a:gd name="connsiteY32358" fmla="*/ 1978785 h 7458372"/>
              <a:gd name="connsiteX32359" fmla="*/ 1975366 w 10505529"/>
              <a:gd name="connsiteY32359" fmla="*/ 1988237 h 7458372"/>
              <a:gd name="connsiteX32360" fmla="*/ 1978961 w 10505529"/>
              <a:gd name="connsiteY32360" fmla="*/ 1997689 h 7458372"/>
              <a:gd name="connsiteX32361" fmla="*/ 1988944 w 10505529"/>
              <a:gd name="connsiteY32361" fmla="*/ 2001146 h 7458372"/>
              <a:gd name="connsiteX32362" fmla="*/ 1994268 w 10505529"/>
              <a:gd name="connsiteY32362" fmla="*/ 2000210 h 7458372"/>
              <a:gd name="connsiteX32363" fmla="*/ 1997996 w 10505529"/>
              <a:gd name="connsiteY32363" fmla="*/ 1997817 h 7458372"/>
              <a:gd name="connsiteX32364" fmla="*/ 2000659 w 10505529"/>
              <a:gd name="connsiteY32364" fmla="*/ 1993688 h 7458372"/>
              <a:gd name="connsiteX32365" fmla="*/ 2001589 w 10505529"/>
              <a:gd name="connsiteY32365" fmla="*/ 1988237 h 7458372"/>
              <a:gd name="connsiteX32366" fmla="*/ 2000659 w 10505529"/>
              <a:gd name="connsiteY32366" fmla="*/ 1983046 h 7458372"/>
              <a:gd name="connsiteX32367" fmla="*/ 1997996 w 10505529"/>
              <a:gd name="connsiteY32367" fmla="*/ 1978785 h 7458372"/>
              <a:gd name="connsiteX32368" fmla="*/ 1994002 w 10505529"/>
              <a:gd name="connsiteY32368" fmla="*/ 1976116 h 7458372"/>
              <a:gd name="connsiteX32369" fmla="*/ 1988944 w 10505529"/>
              <a:gd name="connsiteY32369" fmla="*/ 1975188 h 7458372"/>
              <a:gd name="connsiteX32370" fmla="*/ 1771303 w 10505529"/>
              <a:gd name="connsiteY32370" fmla="*/ 1975188 h 7458372"/>
              <a:gd name="connsiteX32371" fmla="*/ 1761320 w 10505529"/>
              <a:gd name="connsiteY32371" fmla="*/ 1978785 h 7458372"/>
              <a:gd name="connsiteX32372" fmla="*/ 1757726 w 10505529"/>
              <a:gd name="connsiteY32372" fmla="*/ 1988237 h 7458372"/>
              <a:gd name="connsiteX32373" fmla="*/ 1761320 w 10505529"/>
              <a:gd name="connsiteY32373" fmla="*/ 1997689 h 7458372"/>
              <a:gd name="connsiteX32374" fmla="*/ 1771303 w 10505529"/>
              <a:gd name="connsiteY32374" fmla="*/ 2001146 h 7458372"/>
              <a:gd name="connsiteX32375" fmla="*/ 1776628 w 10505529"/>
              <a:gd name="connsiteY32375" fmla="*/ 2000210 h 7458372"/>
              <a:gd name="connsiteX32376" fmla="*/ 1780355 w 10505529"/>
              <a:gd name="connsiteY32376" fmla="*/ 1997817 h 7458372"/>
              <a:gd name="connsiteX32377" fmla="*/ 1783018 w 10505529"/>
              <a:gd name="connsiteY32377" fmla="*/ 1993688 h 7458372"/>
              <a:gd name="connsiteX32378" fmla="*/ 1784082 w 10505529"/>
              <a:gd name="connsiteY32378" fmla="*/ 1988237 h 7458372"/>
              <a:gd name="connsiteX32379" fmla="*/ 1783018 w 10505529"/>
              <a:gd name="connsiteY32379" fmla="*/ 1983046 h 7458372"/>
              <a:gd name="connsiteX32380" fmla="*/ 1780355 w 10505529"/>
              <a:gd name="connsiteY32380" fmla="*/ 1978785 h 7458372"/>
              <a:gd name="connsiteX32381" fmla="*/ 1776362 w 10505529"/>
              <a:gd name="connsiteY32381" fmla="*/ 1976116 h 7458372"/>
              <a:gd name="connsiteX32382" fmla="*/ 1771303 w 10505529"/>
              <a:gd name="connsiteY32382" fmla="*/ 1975188 h 7458372"/>
              <a:gd name="connsiteX32383" fmla="*/ 1553661 w 10505529"/>
              <a:gd name="connsiteY32383" fmla="*/ 1975188 h 7458372"/>
              <a:gd name="connsiteX32384" fmla="*/ 1543677 w 10505529"/>
              <a:gd name="connsiteY32384" fmla="*/ 1978785 h 7458372"/>
              <a:gd name="connsiteX32385" fmla="*/ 1540083 w 10505529"/>
              <a:gd name="connsiteY32385" fmla="*/ 1988237 h 7458372"/>
              <a:gd name="connsiteX32386" fmla="*/ 1543677 w 10505529"/>
              <a:gd name="connsiteY32386" fmla="*/ 1997689 h 7458372"/>
              <a:gd name="connsiteX32387" fmla="*/ 1553661 w 10505529"/>
              <a:gd name="connsiteY32387" fmla="*/ 2001146 h 7458372"/>
              <a:gd name="connsiteX32388" fmla="*/ 1558985 w 10505529"/>
              <a:gd name="connsiteY32388" fmla="*/ 2000210 h 7458372"/>
              <a:gd name="connsiteX32389" fmla="*/ 1562712 w 10505529"/>
              <a:gd name="connsiteY32389" fmla="*/ 1997817 h 7458372"/>
              <a:gd name="connsiteX32390" fmla="*/ 1565375 w 10505529"/>
              <a:gd name="connsiteY32390" fmla="*/ 1993688 h 7458372"/>
              <a:gd name="connsiteX32391" fmla="*/ 1566440 w 10505529"/>
              <a:gd name="connsiteY32391" fmla="*/ 1988237 h 7458372"/>
              <a:gd name="connsiteX32392" fmla="*/ 1565375 w 10505529"/>
              <a:gd name="connsiteY32392" fmla="*/ 1983046 h 7458372"/>
              <a:gd name="connsiteX32393" fmla="*/ 1562712 w 10505529"/>
              <a:gd name="connsiteY32393" fmla="*/ 1978785 h 7458372"/>
              <a:gd name="connsiteX32394" fmla="*/ 1558719 w 10505529"/>
              <a:gd name="connsiteY32394" fmla="*/ 1976116 h 7458372"/>
              <a:gd name="connsiteX32395" fmla="*/ 1553661 w 10505529"/>
              <a:gd name="connsiteY32395" fmla="*/ 1975188 h 7458372"/>
              <a:gd name="connsiteX32396" fmla="*/ 1336016 w 10505529"/>
              <a:gd name="connsiteY32396" fmla="*/ 1975188 h 7458372"/>
              <a:gd name="connsiteX32397" fmla="*/ 1326033 w 10505529"/>
              <a:gd name="connsiteY32397" fmla="*/ 1978785 h 7458372"/>
              <a:gd name="connsiteX32398" fmla="*/ 1322438 w 10505529"/>
              <a:gd name="connsiteY32398" fmla="*/ 1988237 h 7458372"/>
              <a:gd name="connsiteX32399" fmla="*/ 1326033 w 10505529"/>
              <a:gd name="connsiteY32399" fmla="*/ 1997689 h 7458372"/>
              <a:gd name="connsiteX32400" fmla="*/ 1336016 w 10505529"/>
              <a:gd name="connsiteY32400" fmla="*/ 2001146 h 7458372"/>
              <a:gd name="connsiteX32401" fmla="*/ 1341342 w 10505529"/>
              <a:gd name="connsiteY32401" fmla="*/ 2000210 h 7458372"/>
              <a:gd name="connsiteX32402" fmla="*/ 1345069 w 10505529"/>
              <a:gd name="connsiteY32402" fmla="*/ 1997817 h 7458372"/>
              <a:gd name="connsiteX32403" fmla="*/ 1347731 w 10505529"/>
              <a:gd name="connsiteY32403" fmla="*/ 1993688 h 7458372"/>
              <a:gd name="connsiteX32404" fmla="*/ 1348797 w 10505529"/>
              <a:gd name="connsiteY32404" fmla="*/ 1988237 h 7458372"/>
              <a:gd name="connsiteX32405" fmla="*/ 1347731 w 10505529"/>
              <a:gd name="connsiteY32405" fmla="*/ 1983046 h 7458372"/>
              <a:gd name="connsiteX32406" fmla="*/ 1345069 w 10505529"/>
              <a:gd name="connsiteY32406" fmla="*/ 1978785 h 7458372"/>
              <a:gd name="connsiteX32407" fmla="*/ 1341075 w 10505529"/>
              <a:gd name="connsiteY32407" fmla="*/ 1976116 h 7458372"/>
              <a:gd name="connsiteX32408" fmla="*/ 1336016 w 10505529"/>
              <a:gd name="connsiteY32408" fmla="*/ 1975188 h 7458372"/>
              <a:gd name="connsiteX32409" fmla="*/ 1118504 w 10505529"/>
              <a:gd name="connsiteY32409" fmla="*/ 1975188 h 7458372"/>
              <a:gd name="connsiteX32410" fmla="*/ 1108520 w 10505529"/>
              <a:gd name="connsiteY32410" fmla="*/ 1978785 h 7458372"/>
              <a:gd name="connsiteX32411" fmla="*/ 1104793 w 10505529"/>
              <a:gd name="connsiteY32411" fmla="*/ 1988237 h 7458372"/>
              <a:gd name="connsiteX32412" fmla="*/ 1108387 w 10505529"/>
              <a:gd name="connsiteY32412" fmla="*/ 1997689 h 7458372"/>
              <a:gd name="connsiteX32413" fmla="*/ 1118371 w 10505529"/>
              <a:gd name="connsiteY32413" fmla="*/ 2001146 h 7458372"/>
              <a:gd name="connsiteX32414" fmla="*/ 1123829 w 10505529"/>
              <a:gd name="connsiteY32414" fmla="*/ 2000210 h 7458372"/>
              <a:gd name="connsiteX32415" fmla="*/ 1127556 w 10505529"/>
              <a:gd name="connsiteY32415" fmla="*/ 1997817 h 7458372"/>
              <a:gd name="connsiteX32416" fmla="*/ 1130220 w 10505529"/>
              <a:gd name="connsiteY32416" fmla="*/ 1993688 h 7458372"/>
              <a:gd name="connsiteX32417" fmla="*/ 1131285 w 10505529"/>
              <a:gd name="connsiteY32417" fmla="*/ 1988237 h 7458372"/>
              <a:gd name="connsiteX32418" fmla="*/ 1130220 w 10505529"/>
              <a:gd name="connsiteY32418" fmla="*/ 1983046 h 7458372"/>
              <a:gd name="connsiteX32419" fmla="*/ 1127556 w 10505529"/>
              <a:gd name="connsiteY32419" fmla="*/ 1978785 h 7458372"/>
              <a:gd name="connsiteX32420" fmla="*/ 1123562 w 10505529"/>
              <a:gd name="connsiteY32420" fmla="*/ 1976116 h 7458372"/>
              <a:gd name="connsiteX32421" fmla="*/ 1118504 w 10505529"/>
              <a:gd name="connsiteY32421" fmla="*/ 1975188 h 7458372"/>
              <a:gd name="connsiteX32422" fmla="*/ 900993 w 10505529"/>
              <a:gd name="connsiteY32422" fmla="*/ 1975188 h 7458372"/>
              <a:gd name="connsiteX32423" fmla="*/ 891008 w 10505529"/>
              <a:gd name="connsiteY32423" fmla="*/ 1978785 h 7458372"/>
              <a:gd name="connsiteX32424" fmla="*/ 887282 w 10505529"/>
              <a:gd name="connsiteY32424" fmla="*/ 1988237 h 7458372"/>
              <a:gd name="connsiteX32425" fmla="*/ 890876 w 10505529"/>
              <a:gd name="connsiteY32425" fmla="*/ 1997689 h 7458372"/>
              <a:gd name="connsiteX32426" fmla="*/ 900859 w 10505529"/>
              <a:gd name="connsiteY32426" fmla="*/ 2001146 h 7458372"/>
              <a:gd name="connsiteX32427" fmla="*/ 906317 w 10505529"/>
              <a:gd name="connsiteY32427" fmla="*/ 2000210 h 7458372"/>
              <a:gd name="connsiteX32428" fmla="*/ 910045 w 10505529"/>
              <a:gd name="connsiteY32428" fmla="*/ 1997817 h 7458372"/>
              <a:gd name="connsiteX32429" fmla="*/ 912707 w 10505529"/>
              <a:gd name="connsiteY32429" fmla="*/ 1993688 h 7458372"/>
              <a:gd name="connsiteX32430" fmla="*/ 913772 w 10505529"/>
              <a:gd name="connsiteY32430" fmla="*/ 1988237 h 7458372"/>
              <a:gd name="connsiteX32431" fmla="*/ 912707 w 10505529"/>
              <a:gd name="connsiteY32431" fmla="*/ 1983046 h 7458372"/>
              <a:gd name="connsiteX32432" fmla="*/ 910045 w 10505529"/>
              <a:gd name="connsiteY32432" fmla="*/ 1978785 h 7458372"/>
              <a:gd name="connsiteX32433" fmla="*/ 906051 w 10505529"/>
              <a:gd name="connsiteY32433" fmla="*/ 1976116 h 7458372"/>
              <a:gd name="connsiteX32434" fmla="*/ 900993 w 10505529"/>
              <a:gd name="connsiteY32434" fmla="*/ 1975188 h 7458372"/>
              <a:gd name="connsiteX32435" fmla="*/ 683215 w 10505529"/>
              <a:gd name="connsiteY32435" fmla="*/ 1975188 h 7458372"/>
              <a:gd name="connsiteX32436" fmla="*/ 673232 w 10505529"/>
              <a:gd name="connsiteY32436" fmla="*/ 1978785 h 7458372"/>
              <a:gd name="connsiteX32437" fmla="*/ 669638 w 10505529"/>
              <a:gd name="connsiteY32437" fmla="*/ 1988237 h 7458372"/>
              <a:gd name="connsiteX32438" fmla="*/ 673232 w 10505529"/>
              <a:gd name="connsiteY32438" fmla="*/ 1997689 h 7458372"/>
              <a:gd name="connsiteX32439" fmla="*/ 683215 w 10505529"/>
              <a:gd name="connsiteY32439" fmla="*/ 2001146 h 7458372"/>
              <a:gd name="connsiteX32440" fmla="*/ 688541 w 10505529"/>
              <a:gd name="connsiteY32440" fmla="*/ 2000210 h 7458372"/>
              <a:gd name="connsiteX32441" fmla="*/ 692268 w 10505529"/>
              <a:gd name="connsiteY32441" fmla="*/ 1997817 h 7458372"/>
              <a:gd name="connsiteX32442" fmla="*/ 694931 w 10505529"/>
              <a:gd name="connsiteY32442" fmla="*/ 1993688 h 7458372"/>
              <a:gd name="connsiteX32443" fmla="*/ 695996 w 10505529"/>
              <a:gd name="connsiteY32443" fmla="*/ 1988237 h 7458372"/>
              <a:gd name="connsiteX32444" fmla="*/ 694931 w 10505529"/>
              <a:gd name="connsiteY32444" fmla="*/ 1983046 h 7458372"/>
              <a:gd name="connsiteX32445" fmla="*/ 692268 w 10505529"/>
              <a:gd name="connsiteY32445" fmla="*/ 1978785 h 7458372"/>
              <a:gd name="connsiteX32446" fmla="*/ 688275 w 10505529"/>
              <a:gd name="connsiteY32446" fmla="*/ 1976116 h 7458372"/>
              <a:gd name="connsiteX32447" fmla="*/ 683215 w 10505529"/>
              <a:gd name="connsiteY32447" fmla="*/ 1975188 h 7458372"/>
              <a:gd name="connsiteX32448" fmla="*/ 465572 w 10505529"/>
              <a:gd name="connsiteY32448" fmla="*/ 1975188 h 7458372"/>
              <a:gd name="connsiteX32449" fmla="*/ 455589 w 10505529"/>
              <a:gd name="connsiteY32449" fmla="*/ 1978785 h 7458372"/>
              <a:gd name="connsiteX32450" fmla="*/ 451995 w 10505529"/>
              <a:gd name="connsiteY32450" fmla="*/ 1988237 h 7458372"/>
              <a:gd name="connsiteX32451" fmla="*/ 455589 w 10505529"/>
              <a:gd name="connsiteY32451" fmla="*/ 1997689 h 7458372"/>
              <a:gd name="connsiteX32452" fmla="*/ 465572 w 10505529"/>
              <a:gd name="connsiteY32452" fmla="*/ 2001146 h 7458372"/>
              <a:gd name="connsiteX32453" fmla="*/ 470897 w 10505529"/>
              <a:gd name="connsiteY32453" fmla="*/ 2000210 h 7458372"/>
              <a:gd name="connsiteX32454" fmla="*/ 474624 w 10505529"/>
              <a:gd name="connsiteY32454" fmla="*/ 1997817 h 7458372"/>
              <a:gd name="connsiteX32455" fmla="*/ 477287 w 10505529"/>
              <a:gd name="connsiteY32455" fmla="*/ 1993688 h 7458372"/>
              <a:gd name="connsiteX32456" fmla="*/ 478352 w 10505529"/>
              <a:gd name="connsiteY32456" fmla="*/ 1988237 h 7458372"/>
              <a:gd name="connsiteX32457" fmla="*/ 477287 w 10505529"/>
              <a:gd name="connsiteY32457" fmla="*/ 1983046 h 7458372"/>
              <a:gd name="connsiteX32458" fmla="*/ 474624 w 10505529"/>
              <a:gd name="connsiteY32458" fmla="*/ 1978785 h 7458372"/>
              <a:gd name="connsiteX32459" fmla="*/ 470631 w 10505529"/>
              <a:gd name="connsiteY32459" fmla="*/ 1976116 h 7458372"/>
              <a:gd name="connsiteX32460" fmla="*/ 465572 w 10505529"/>
              <a:gd name="connsiteY32460" fmla="*/ 1975188 h 7458372"/>
              <a:gd name="connsiteX32461" fmla="*/ 247928 w 10505529"/>
              <a:gd name="connsiteY32461" fmla="*/ 1975188 h 7458372"/>
              <a:gd name="connsiteX32462" fmla="*/ 237945 w 10505529"/>
              <a:gd name="connsiteY32462" fmla="*/ 1978785 h 7458372"/>
              <a:gd name="connsiteX32463" fmla="*/ 234352 w 10505529"/>
              <a:gd name="connsiteY32463" fmla="*/ 1988237 h 7458372"/>
              <a:gd name="connsiteX32464" fmla="*/ 237945 w 10505529"/>
              <a:gd name="connsiteY32464" fmla="*/ 1997689 h 7458372"/>
              <a:gd name="connsiteX32465" fmla="*/ 247928 w 10505529"/>
              <a:gd name="connsiteY32465" fmla="*/ 2001146 h 7458372"/>
              <a:gd name="connsiteX32466" fmla="*/ 253253 w 10505529"/>
              <a:gd name="connsiteY32466" fmla="*/ 2000210 h 7458372"/>
              <a:gd name="connsiteX32467" fmla="*/ 256980 w 10505529"/>
              <a:gd name="connsiteY32467" fmla="*/ 1997817 h 7458372"/>
              <a:gd name="connsiteX32468" fmla="*/ 259643 w 10505529"/>
              <a:gd name="connsiteY32468" fmla="*/ 1993688 h 7458372"/>
              <a:gd name="connsiteX32469" fmla="*/ 260708 w 10505529"/>
              <a:gd name="connsiteY32469" fmla="*/ 1988237 h 7458372"/>
              <a:gd name="connsiteX32470" fmla="*/ 259643 w 10505529"/>
              <a:gd name="connsiteY32470" fmla="*/ 1983046 h 7458372"/>
              <a:gd name="connsiteX32471" fmla="*/ 256980 w 10505529"/>
              <a:gd name="connsiteY32471" fmla="*/ 1978785 h 7458372"/>
              <a:gd name="connsiteX32472" fmla="*/ 252987 w 10505529"/>
              <a:gd name="connsiteY32472" fmla="*/ 1976116 h 7458372"/>
              <a:gd name="connsiteX32473" fmla="*/ 247928 w 10505529"/>
              <a:gd name="connsiteY32473" fmla="*/ 1975188 h 7458372"/>
              <a:gd name="connsiteX32474" fmla="*/ 30285 w 10505529"/>
              <a:gd name="connsiteY32474" fmla="*/ 1975188 h 7458372"/>
              <a:gd name="connsiteX32475" fmla="*/ 20302 w 10505529"/>
              <a:gd name="connsiteY32475" fmla="*/ 1978785 h 7458372"/>
              <a:gd name="connsiteX32476" fmla="*/ 16708 w 10505529"/>
              <a:gd name="connsiteY32476" fmla="*/ 1988237 h 7458372"/>
              <a:gd name="connsiteX32477" fmla="*/ 20302 w 10505529"/>
              <a:gd name="connsiteY32477" fmla="*/ 1997689 h 7458372"/>
              <a:gd name="connsiteX32478" fmla="*/ 30285 w 10505529"/>
              <a:gd name="connsiteY32478" fmla="*/ 2001146 h 7458372"/>
              <a:gd name="connsiteX32479" fmla="*/ 35610 w 10505529"/>
              <a:gd name="connsiteY32479" fmla="*/ 2000210 h 7458372"/>
              <a:gd name="connsiteX32480" fmla="*/ 39337 w 10505529"/>
              <a:gd name="connsiteY32480" fmla="*/ 1997817 h 7458372"/>
              <a:gd name="connsiteX32481" fmla="*/ 42000 w 10505529"/>
              <a:gd name="connsiteY32481" fmla="*/ 1993688 h 7458372"/>
              <a:gd name="connsiteX32482" fmla="*/ 42931 w 10505529"/>
              <a:gd name="connsiteY32482" fmla="*/ 1988237 h 7458372"/>
              <a:gd name="connsiteX32483" fmla="*/ 42000 w 10505529"/>
              <a:gd name="connsiteY32483" fmla="*/ 1983046 h 7458372"/>
              <a:gd name="connsiteX32484" fmla="*/ 39337 w 10505529"/>
              <a:gd name="connsiteY32484" fmla="*/ 1978785 h 7458372"/>
              <a:gd name="connsiteX32485" fmla="*/ 35344 w 10505529"/>
              <a:gd name="connsiteY32485" fmla="*/ 1976116 h 7458372"/>
              <a:gd name="connsiteX32486" fmla="*/ 30285 w 10505529"/>
              <a:gd name="connsiteY32486" fmla="*/ 1975188 h 7458372"/>
              <a:gd name="connsiteX32487" fmla="*/ 10040820 w 10505529"/>
              <a:gd name="connsiteY32487" fmla="*/ 1958553 h 7458372"/>
              <a:gd name="connsiteX32488" fmla="*/ 10052534 w 10505529"/>
              <a:gd name="connsiteY32488" fmla="*/ 1961216 h 7458372"/>
              <a:gd name="connsiteX32489" fmla="*/ 10061852 w 10505529"/>
              <a:gd name="connsiteY32489" fmla="*/ 1967605 h 7458372"/>
              <a:gd name="connsiteX32490" fmla="*/ 10067976 w 10505529"/>
              <a:gd name="connsiteY32490" fmla="*/ 1976921 h 7458372"/>
              <a:gd name="connsiteX32491" fmla="*/ 10070239 w 10505529"/>
              <a:gd name="connsiteY32491" fmla="*/ 1988365 h 7458372"/>
              <a:gd name="connsiteX32492" fmla="*/ 10067976 w 10505529"/>
              <a:gd name="connsiteY32492" fmla="*/ 2000077 h 7458372"/>
              <a:gd name="connsiteX32493" fmla="*/ 10061852 w 10505529"/>
              <a:gd name="connsiteY32493" fmla="*/ 2009402 h 7458372"/>
              <a:gd name="connsiteX32494" fmla="*/ 10052534 w 10505529"/>
              <a:gd name="connsiteY32494" fmla="*/ 2015653 h 7458372"/>
              <a:gd name="connsiteX32495" fmla="*/ 10040820 w 10505529"/>
              <a:gd name="connsiteY32495" fmla="*/ 2017922 h 7458372"/>
              <a:gd name="connsiteX32496" fmla="*/ 10018988 w 10505529"/>
              <a:gd name="connsiteY32496" fmla="*/ 2009402 h 7458372"/>
              <a:gd name="connsiteX32497" fmla="*/ 10010602 w 10505529"/>
              <a:gd name="connsiteY32497" fmla="*/ 1988237 h 7458372"/>
              <a:gd name="connsiteX32498" fmla="*/ 10018988 w 10505529"/>
              <a:gd name="connsiteY32498" fmla="*/ 1967203 h 7458372"/>
              <a:gd name="connsiteX32499" fmla="*/ 10040820 w 10505529"/>
              <a:gd name="connsiteY32499" fmla="*/ 1958553 h 7458372"/>
              <a:gd name="connsiteX32500" fmla="*/ 9823176 w 10505529"/>
              <a:gd name="connsiteY32500" fmla="*/ 1958553 h 7458372"/>
              <a:gd name="connsiteX32501" fmla="*/ 9834890 w 10505529"/>
              <a:gd name="connsiteY32501" fmla="*/ 1961216 h 7458372"/>
              <a:gd name="connsiteX32502" fmla="*/ 9844208 w 10505529"/>
              <a:gd name="connsiteY32502" fmla="*/ 1967605 h 7458372"/>
              <a:gd name="connsiteX32503" fmla="*/ 9850331 w 10505529"/>
              <a:gd name="connsiteY32503" fmla="*/ 1976921 h 7458372"/>
              <a:gd name="connsiteX32504" fmla="*/ 9852595 w 10505529"/>
              <a:gd name="connsiteY32504" fmla="*/ 1988365 h 7458372"/>
              <a:gd name="connsiteX32505" fmla="*/ 9850331 w 10505529"/>
              <a:gd name="connsiteY32505" fmla="*/ 2000077 h 7458372"/>
              <a:gd name="connsiteX32506" fmla="*/ 9844208 w 10505529"/>
              <a:gd name="connsiteY32506" fmla="*/ 2009402 h 7458372"/>
              <a:gd name="connsiteX32507" fmla="*/ 9834890 w 10505529"/>
              <a:gd name="connsiteY32507" fmla="*/ 2015653 h 7458372"/>
              <a:gd name="connsiteX32508" fmla="*/ 9823176 w 10505529"/>
              <a:gd name="connsiteY32508" fmla="*/ 2017922 h 7458372"/>
              <a:gd name="connsiteX32509" fmla="*/ 9801343 w 10505529"/>
              <a:gd name="connsiteY32509" fmla="*/ 2009402 h 7458372"/>
              <a:gd name="connsiteX32510" fmla="*/ 9792957 w 10505529"/>
              <a:gd name="connsiteY32510" fmla="*/ 1988237 h 7458372"/>
              <a:gd name="connsiteX32511" fmla="*/ 9801343 w 10505529"/>
              <a:gd name="connsiteY32511" fmla="*/ 1967203 h 7458372"/>
              <a:gd name="connsiteX32512" fmla="*/ 9823176 w 10505529"/>
              <a:gd name="connsiteY32512" fmla="*/ 1958553 h 7458372"/>
              <a:gd name="connsiteX32513" fmla="*/ 9605531 w 10505529"/>
              <a:gd name="connsiteY32513" fmla="*/ 1958553 h 7458372"/>
              <a:gd name="connsiteX32514" fmla="*/ 9617245 w 10505529"/>
              <a:gd name="connsiteY32514" fmla="*/ 1961216 h 7458372"/>
              <a:gd name="connsiteX32515" fmla="*/ 9626562 w 10505529"/>
              <a:gd name="connsiteY32515" fmla="*/ 1967605 h 7458372"/>
              <a:gd name="connsiteX32516" fmla="*/ 9632686 w 10505529"/>
              <a:gd name="connsiteY32516" fmla="*/ 1976921 h 7458372"/>
              <a:gd name="connsiteX32517" fmla="*/ 9634949 w 10505529"/>
              <a:gd name="connsiteY32517" fmla="*/ 1988365 h 7458372"/>
              <a:gd name="connsiteX32518" fmla="*/ 9632686 w 10505529"/>
              <a:gd name="connsiteY32518" fmla="*/ 2000077 h 7458372"/>
              <a:gd name="connsiteX32519" fmla="*/ 9626562 w 10505529"/>
              <a:gd name="connsiteY32519" fmla="*/ 2009402 h 7458372"/>
              <a:gd name="connsiteX32520" fmla="*/ 9617245 w 10505529"/>
              <a:gd name="connsiteY32520" fmla="*/ 2015653 h 7458372"/>
              <a:gd name="connsiteX32521" fmla="*/ 9605531 w 10505529"/>
              <a:gd name="connsiteY32521" fmla="*/ 2017922 h 7458372"/>
              <a:gd name="connsiteX32522" fmla="*/ 9583698 w 10505529"/>
              <a:gd name="connsiteY32522" fmla="*/ 2009402 h 7458372"/>
              <a:gd name="connsiteX32523" fmla="*/ 9575312 w 10505529"/>
              <a:gd name="connsiteY32523" fmla="*/ 1988237 h 7458372"/>
              <a:gd name="connsiteX32524" fmla="*/ 9583698 w 10505529"/>
              <a:gd name="connsiteY32524" fmla="*/ 1967203 h 7458372"/>
              <a:gd name="connsiteX32525" fmla="*/ 9605531 w 10505529"/>
              <a:gd name="connsiteY32525" fmla="*/ 1958553 h 7458372"/>
              <a:gd name="connsiteX32526" fmla="*/ 9387885 w 10505529"/>
              <a:gd name="connsiteY32526" fmla="*/ 1958553 h 7458372"/>
              <a:gd name="connsiteX32527" fmla="*/ 9399599 w 10505529"/>
              <a:gd name="connsiteY32527" fmla="*/ 1961216 h 7458372"/>
              <a:gd name="connsiteX32528" fmla="*/ 9408917 w 10505529"/>
              <a:gd name="connsiteY32528" fmla="*/ 1967605 h 7458372"/>
              <a:gd name="connsiteX32529" fmla="*/ 9415041 w 10505529"/>
              <a:gd name="connsiteY32529" fmla="*/ 1976921 h 7458372"/>
              <a:gd name="connsiteX32530" fmla="*/ 9417304 w 10505529"/>
              <a:gd name="connsiteY32530" fmla="*/ 1988367 h 7458372"/>
              <a:gd name="connsiteX32531" fmla="*/ 9415041 w 10505529"/>
              <a:gd name="connsiteY32531" fmla="*/ 2000077 h 7458372"/>
              <a:gd name="connsiteX32532" fmla="*/ 9408917 w 10505529"/>
              <a:gd name="connsiteY32532" fmla="*/ 2009402 h 7458372"/>
              <a:gd name="connsiteX32533" fmla="*/ 9399599 w 10505529"/>
              <a:gd name="connsiteY32533" fmla="*/ 2015653 h 7458372"/>
              <a:gd name="connsiteX32534" fmla="*/ 9387885 w 10505529"/>
              <a:gd name="connsiteY32534" fmla="*/ 2017922 h 7458372"/>
              <a:gd name="connsiteX32535" fmla="*/ 9366053 w 10505529"/>
              <a:gd name="connsiteY32535" fmla="*/ 2009402 h 7458372"/>
              <a:gd name="connsiteX32536" fmla="*/ 9357667 w 10505529"/>
              <a:gd name="connsiteY32536" fmla="*/ 1988237 h 7458372"/>
              <a:gd name="connsiteX32537" fmla="*/ 9366053 w 10505529"/>
              <a:gd name="connsiteY32537" fmla="*/ 1967203 h 7458372"/>
              <a:gd name="connsiteX32538" fmla="*/ 9387885 w 10505529"/>
              <a:gd name="connsiteY32538" fmla="*/ 1958553 h 7458372"/>
              <a:gd name="connsiteX32539" fmla="*/ 9170374 w 10505529"/>
              <a:gd name="connsiteY32539" fmla="*/ 1958553 h 7458372"/>
              <a:gd name="connsiteX32540" fmla="*/ 9182088 w 10505529"/>
              <a:gd name="connsiteY32540" fmla="*/ 1961216 h 7458372"/>
              <a:gd name="connsiteX32541" fmla="*/ 9191405 w 10505529"/>
              <a:gd name="connsiteY32541" fmla="*/ 1967605 h 7458372"/>
              <a:gd name="connsiteX32542" fmla="*/ 9197529 w 10505529"/>
              <a:gd name="connsiteY32542" fmla="*/ 1976921 h 7458372"/>
              <a:gd name="connsiteX32543" fmla="*/ 9199792 w 10505529"/>
              <a:gd name="connsiteY32543" fmla="*/ 1988367 h 7458372"/>
              <a:gd name="connsiteX32544" fmla="*/ 9197529 w 10505529"/>
              <a:gd name="connsiteY32544" fmla="*/ 2000077 h 7458372"/>
              <a:gd name="connsiteX32545" fmla="*/ 9191405 w 10505529"/>
              <a:gd name="connsiteY32545" fmla="*/ 2009402 h 7458372"/>
              <a:gd name="connsiteX32546" fmla="*/ 9182088 w 10505529"/>
              <a:gd name="connsiteY32546" fmla="*/ 2015653 h 7458372"/>
              <a:gd name="connsiteX32547" fmla="*/ 9170374 w 10505529"/>
              <a:gd name="connsiteY32547" fmla="*/ 2017922 h 7458372"/>
              <a:gd name="connsiteX32548" fmla="*/ 9148541 w 10505529"/>
              <a:gd name="connsiteY32548" fmla="*/ 2009402 h 7458372"/>
              <a:gd name="connsiteX32549" fmla="*/ 9140155 w 10505529"/>
              <a:gd name="connsiteY32549" fmla="*/ 1988237 h 7458372"/>
              <a:gd name="connsiteX32550" fmla="*/ 9148541 w 10505529"/>
              <a:gd name="connsiteY32550" fmla="*/ 1967203 h 7458372"/>
              <a:gd name="connsiteX32551" fmla="*/ 9170374 w 10505529"/>
              <a:gd name="connsiteY32551" fmla="*/ 1958553 h 7458372"/>
              <a:gd name="connsiteX32552" fmla="*/ 8952728 w 10505529"/>
              <a:gd name="connsiteY32552" fmla="*/ 1958553 h 7458372"/>
              <a:gd name="connsiteX32553" fmla="*/ 8964442 w 10505529"/>
              <a:gd name="connsiteY32553" fmla="*/ 1961216 h 7458372"/>
              <a:gd name="connsiteX32554" fmla="*/ 8973760 w 10505529"/>
              <a:gd name="connsiteY32554" fmla="*/ 1967605 h 7458372"/>
              <a:gd name="connsiteX32555" fmla="*/ 8979884 w 10505529"/>
              <a:gd name="connsiteY32555" fmla="*/ 1976921 h 7458372"/>
              <a:gd name="connsiteX32556" fmla="*/ 8982147 w 10505529"/>
              <a:gd name="connsiteY32556" fmla="*/ 1988367 h 7458372"/>
              <a:gd name="connsiteX32557" fmla="*/ 8979884 w 10505529"/>
              <a:gd name="connsiteY32557" fmla="*/ 2000077 h 7458372"/>
              <a:gd name="connsiteX32558" fmla="*/ 8973760 w 10505529"/>
              <a:gd name="connsiteY32558" fmla="*/ 2009402 h 7458372"/>
              <a:gd name="connsiteX32559" fmla="*/ 8964442 w 10505529"/>
              <a:gd name="connsiteY32559" fmla="*/ 2015653 h 7458372"/>
              <a:gd name="connsiteX32560" fmla="*/ 8952728 w 10505529"/>
              <a:gd name="connsiteY32560" fmla="*/ 2017922 h 7458372"/>
              <a:gd name="connsiteX32561" fmla="*/ 8930896 w 10505529"/>
              <a:gd name="connsiteY32561" fmla="*/ 2009402 h 7458372"/>
              <a:gd name="connsiteX32562" fmla="*/ 8922510 w 10505529"/>
              <a:gd name="connsiteY32562" fmla="*/ 1988237 h 7458372"/>
              <a:gd name="connsiteX32563" fmla="*/ 8930896 w 10505529"/>
              <a:gd name="connsiteY32563" fmla="*/ 1967203 h 7458372"/>
              <a:gd name="connsiteX32564" fmla="*/ 8952728 w 10505529"/>
              <a:gd name="connsiteY32564" fmla="*/ 1958553 h 7458372"/>
              <a:gd name="connsiteX32565" fmla="*/ 8735083 w 10505529"/>
              <a:gd name="connsiteY32565" fmla="*/ 1958553 h 7458372"/>
              <a:gd name="connsiteX32566" fmla="*/ 8746797 w 10505529"/>
              <a:gd name="connsiteY32566" fmla="*/ 1961216 h 7458372"/>
              <a:gd name="connsiteX32567" fmla="*/ 8756115 w 10505529"/>
              <a:gd name="connsiteY32567" fmla="*/ 1967605 h 7458372"/>
              <a:gd name="connsiteX32568" fmla="*/ 8762238 w 10505529"/>
              <a:gd name="connsiteY32568" fmla="*/ 1976921 h 7458372"/>
              <a:gd name="connsiteX32569" fmla="*/ 8764502 w 10505529"/>
              <a:gd name="connsiteY32569" fmla="*/ 1988367 h 7458372"/>
              <a:gd name="connsiteX32570" fmla="*/ 8762238 w 10505529"/>
              <a:gd name="connsiteY32570" fmla="*/ 2000077 h 7458372"/>
              <a:gd name="connsiteX32571" fmla="*/ 8756115 w 10505529"/>
              <a:gd name="connsiteY32571" fmla="*/ 2009402 h 7458372"/>
              <a:gd name="connsiteX32572" fmla="*/ 8746797 w 10505529"/>
              <a:gd name="connsiteY32572" fmla="*/ 2015653 h 7458372"/>
              <a:gd name="connsiteX32573" fmla="*/ 8735083 w 10505529"/>
              <a:gd name="connsiteY32573" fmla="*/ 2017922 h 7458372"/>
              <a:gd name="connsiteX32574" fmla="*/ 8713250 w 10505529"/>
              <a:gd name="connsiteY32574" fmla="*/ 2009402 h 7458372"/>
              <a:gd name="connsiteX32575" fmla="*/ 8704864 w 10505529"/>
              <a:gd name="connsiteY32575" fmla="*/ 1988237 h 7458372"/>
              <a:gd name="connsiteX32576" fmla="*/ 8713250 w 10505529"/>
              <a:gd name="connsiteY32576" fmla="*/ 1967203 h 7458372"/>
              <a:gd name="connsiteX32577" fmla="*/ 8735083 w 10505529"/>
              <a:gd name="connsiteY32577" fmla="*/ 1958553 h 7458372"/>
              <a:gd name="connsiteX32578" fmla="*/ 8517438 w 10505529"/>
              <a:gd name="connsiteY32578" fmla="*/ 1958553 h 7458372"/>
              <a:gd name="connsiteX32579" fmla="*/ 8529152 w 10505529"/>
              <a:gd name="connsiteY32579" fmla="*/ 1961216 h 7458372"/>
              <a:gd name="connsiteX32580" fmla="*/ 8538470 w 10505529"/>
              <a:gd name="connsiteY32580" fmla="*/ 1967605 h 7458372"/>
              <a:gd name="connsiteX32581" fmla="*/ 8544594 w 10505529"/>
              <a:gd name="connsiteY32581" fmla="*/ 1976921 h 7458372"/>
              <a:gd name="connsiteX32582" fmla="*/ 8546857 w 10505529"/>
              <a:gd name="connsiteY32582" fmla="*/ 1988367 h 7458372"/>
              <a:gd name="connsiteX32583" fmla="*/ 8544594 w 10505529"/>
              <a:gd name="connsiteY32583" fmla="*/ 2000077 h 7458372"/>
              <a:gd name="connsiteX32584" fmla="*/ 8538470 w 10505529"/>
              <a:gd name="connsiteY32584" fmla="*/ 2009402 h 7458372"/>
              <a:gd name="connsiteX32585" fmla="*/ 8529152 w 10505529"/>
              <a:gd name="connsiteY32585" fmla="*/ 2015653 h 7458372"/>
              <a:gd name="connsiteX32586" fmla="*/ 8517438 w 10505529"/>
              <a:gd name="connsiteY32586" fmla="*/ 2017922 h 7458372"/>
              <a:gd name="connsiteX32587" fmla="*/ 8495606 w 10505529"/>
              <a:gd name="connsiteY32587" fmla="*/ 2009402 h 7458372"/>
              <a:gd name="connsiteX32588" fmla="*/ 8487220 w 10505529"/>
              <a:gd name="connsiteY32588" fmla="*/ 1988237 h 7458372"/>
              <a:gd name="connsiteX32589" fmla="*/ 8495606 w 10505529"/>
              <a:gd name="connsiteY32589" fmla="*/ 1967203 h 7458372"/>
              <a:gd name="connsiteX32590" fmla="*/ 8517438 w 10505529"/>
              <a:gd name="connsiteY32590" fmla="*/ 1958553 h 7458372"/>
              <a:gd name="connsiteX32591" fmla="*/ 8299793 w 10505529"/>
              <a:gd name="connsiteY32591" fmla="*/ 1958553 h 7458372"/>
              <a:gd name="connsiteX32592" fmla="*/ 8311507 w 10505529"/>
              <a:gd name="connsiteY32592" fmla="*/ 1961216 h 7458372"/>
              <a:gd name="connsiteX32593" fmla="*/ 8320825 w 10505529"/>
              <a:gd name="connsiteY32593" fmla="*/ 1967605 h 7458372"/>
              <a:gd name="connsiteX32594" fmla="*/ 8326948 w 10505529"/>
              <a:gd name="connsiteY32594" fmla="*/ 1976921 h 7458372"/>
              <a:gd name="connsiteX32595" fmla="*/ 8329212 w 10505529"/>
              <a:gd name="connsiteY32595" fmla="*/ 1988367 h 7458372"/>
              <a:gd name="connsiteX32596" fmla="*/ 8326948 w 10505529"/>
              <a:gd name="connsiteY32596" fmla="*/ 2000077 h 7458372"/>
              <a:gd name="connsiteX32597" fmla="*/ 8320825 w 10505529"/>
              <a:gd name="connsiteY32597" fmla="*/ 2009402 h 7458372"/>
              <a:gd name="connsiteX32598" fmla="*/ 8311507 w 10505529"/>
              <a:gd name="connsiteY32598" fmla="*/ 2015653 h 7458372"/>
              <a:gd name="connsiteX32599" fmla="*/ 8299793 w 10505529"/>
              <a:gd name="connsiteY32599" fmla="*/ 2017922 h 7458372"/>
              <a:gd name="connsiteX32600" fmla="*/ 8277960 w 10505529"/>
              <a:gd name="connsiteY32600" fmla="*/ 2009402 h 7458372"/>
              <a:gd name="connsiteX32601" fmla="*/ 8269574 w 10505529"/>
              <a:gd name="connsiteY32601" fmla="*/ 1988237 h 7458372"/>
              <a:gd name="connsiteX32602" fmla="*/ 8277960 w 10505529"/>
              <a:gd name="connsiteY32602" fmla="*/ 1967203 h 7458372"/>
              <a:gd name="connsiteX32603" fmla="*/ 8299793 w 10505529"/>
              <a:gd name="connsiteY32603" fmla="*/ 1958553 h 7458372"/>
              <a:gd name="connsiteX32604" fmla="*/ 8082281 w 10505529"/>
              <a:gd name="connsiteY32604" fmla="*/ 1958553 h 7458372"/>
              <a:gd name="connsiteX32605" fmla="*/ 8094127 w 10505529"/>
              <a:gd name="connsiteY32605" fmla="*/ 1961216 h 7458372"/>
              <a:gd name="connsiteX32606" fmla="*/ 8103446 w 10505529"/>
              <a:gd name="connsiteY32606" fmla="*/ 1967605 h 7458372"/>
              <a:gd name="connsiteX32607" fmla="*/ 8109569 w 10505529"/>
              <a:gd name="connsiteY32607" fmla="*/ 1976921 h 7458372"/>
              <a:gd name="connsiteX32608" fmla="*/ 8111832 w 10505529"/>
              <a:gd name="connsiteY32608" fmla="*/ 1988367 h 7458372"/>
              <a:gd name="connsiteX32609" fmla="*/ 8109569 w 10505529"/>
              <a:gd name="connsiteY32609" fmla="*/ 2000077 h 7458372"/>
              <a:gd name="connsiteX32610" fmla="*/ 8103446 w 10505529"/>
              <a:gd name="connsiteY32610" fmla="*/ 2009402 h 7458372"/>
              <a:gd name="connsiteX32611" fmla="*/ 8094127 w 10505529"/>
              <a:gd name="connsiteY32611" fmla="*/ 2015653 h 7458372"/>
              <a:gd name="connsiteX32612" fmla="*/ 8082281 w 10505529"/>
              <a:gd name="connsiteY32612" fmla="*/ 2017922 h 7458372"/>
              <a:gd name="connsiteX32613" fmla="*/ 8060448 w 10505529"/>
              <a:gd name="connsiteY32613" fmla="*/ 2009402 h 7458372"/>
              <a:gd name="connsiteX32614" fmla="*/ 8052062 w 10505529"/>
              <a:gd name="connsiteY32614" fmla="*/ 1988237 h 7458372"/>
              <a:gd name="connsiteX32615" fmla="*/ 8060448 w 10505529"/>
              <a:gd name="connsiteY32615" fmla="*/ 1967203 h 7458372"/>
              <a:gd name="connsiteX32616" fmla="*/ 8082281 w 10505529"/>
              <a:gd name="connsiteY32616" fmla="*/ 1958553 h 7458372"/>
              <a:gd name="connsiteX32617" fmla="*/ 7864636 w 10505529"/>
              <a:gd name="connsiteY32617" fmla="*/ 1958553 h 7458372"/>
              <a:gd name="connsiteX32618" fmla="*/ 7876483 w 10505529"/>
              <a:gd name="connsiteY32618" fmla="*/ 1961216 h 7458372"/>
              <a:gd name="connsiteX32619" fmla="*/ 7885802 w 10505529"/>
              <a:gd name="connsiteY32619" fmla="*/ 1967605 h 7458372"/>
              <a:gd name="connsiteX32620" fmla="*/ 7891924 w 10505529"/>
              <a:gd name="connsiteY32620" fmla="*/ 1976921 h 7458372"/>
              <a:gd name="connsiteX32621" fmla="*/ 7894188 w 10505529"/>
              <a:gd name="connsiteY32621" fmla="*/ 1988367 h 7458372"/>
              <a:gd name="connsiteX32622" fmla="*/ 7891924 w 10505529"/>
              <a:gd name="connsiteY32622" fmla="*/ 2000077 h 7458372"/>
              <a:gd name="connsiteX32623" fmla="*/ 7885802 w 10505529"/>
              <a:gd name="connsiteY32623" fmla="*/ 2009402 h 7458372"/>
              <a:gd name="connsiteX32624" fmla="*/ 7876483 w 10505529"/>
              <a:gd name="connsiteY32624" fmla="*/ 2015653 h 7458372"/>
              <a:gd name="connsiteX32625" fmla="*/ 7864636 w 10505529"/>
              <a:gd name="connsiteY32625" fmla="*/ 2017922 h 7458372"/>
              <a:gd name="connsiteX32626" fmla="*/ 7842803 w 10505529"/>
              <a:gd name="connsiteY32626" fmla="*/ 2009402 h 7458372"/>
              <a:gd name="connsiteX32627" fmla="*/ 7834417 w 10505529"/>
              <a:gd name="connsiteY32627" fmla="*/ 1988237 h 7458372"/>
              <a:gd name="connsiteX32628" fmla="*/ 7842803 w 10505529"/>
              <a:gd name="connsiteY32628" fmla="*/ 1967203 h 7458372"/>
              <a:gd name="connsiteX32629" fmla="*/ 7864636 w 10505529"/>
              <a:gd name="connsiteY32629" fmla="*/ 1958553 h 7458372"/>
              <a:gd name="connsiteX32630" fmla="*/ 7646991 w 10505529"/>
              <a:gd name="connsiteY32630" fmla="*/ 1958553 h 7458372"/>
              <a:gd name="connsiteX32631" fmla="*/ 7658705 w 10505529"/>
              <a:gd name="connsiteY32631" fmla="*/ 1961216 h 7458372"/>
              <a:gd name="connsiteX32632" fmla="*/ 7668022 w 10505529"/>
              <a:gd name="connsiteY32632" fmla="*/ 1967605 h 7458372"/>
              <a:gd name="connsiteX32633" fmla="*/ 7674146 w 10505529"/>
              <a:gd name="connsiteY32633" fmla="*/ 1976921 h 7458372"/>
              <a:gd name="connsiteX32634" fmla="*/ 7676409 w 10505529"/>
              <a:gd name="connsiteY32634" fmla="*/ 1988367 h 7458372"/>
              <a:gd name="connsiteX32635" fmla="*/ 7674146 w 10505529"/>
              <a:gd name="connsiteY32635" fmla="*/ 2000077 h 7458372"/>
              <a:gd name="connsiteX32636" fmla="*/ 7668022 w 10505529"/>
              <a:gd name="connsiteY32636" fmla="*/ 2009402 h 7458372"/>
              <a:gd name="connsiteX32637" fmla="*/ 7658705 w 10505529"/>
              <a:gd name="connsiteY32637" fmla="*/ 2015653 h 7458372"/>
              <a:gd name="connsiteX32638" fmla="*/ 7646991 w 10505529"/>
              <a:gd name="connsiteY32638" fmla="*/ 2017922 h 7458372"/>
              <a:gd name="connsiteX32639" fmla="*/ 7625158 w 10505529"/>
              <a:gd name="connsiteY32639" fmla="*/ 2009402 h 7458372"/>
              <a:gd name="connsiteX32640" fmla="*/ 7616772 w 10505529"/>
              <a:gd name="connsiteY32640" fmla="*/ 1988237 h 7458372"/>
              <a:gd name="connsiteX32641" fmla="*/ 7625158 w 10505529"/>
              <a:gd name="connsiteY32641" fmla="*/ 1967203 h 7458372"/>
              <a:gd name="connsiteX32642" fmla="*/ 7646991 w 10505529"/>
              <a:gd name="connsiteY32642" fmla="*/ 1958553 h 7458372"/>
              <a:gd name="connsiteX32643" fmla="*/ 7429345 w 10505529"/>
              <a:gd name="connsiteY32643" fmla="*/ 1958553 h 7458372"/>
              <a:gd name="connsiteX32644" fmla="*/ 7441059 w 10505529"/>
              <a:gd name="connsiteY32644" fmla="*/ 1961216 h 7458372"/>
              <a:gd name="connsiteX32645" fmla="*/ 7450377 w 10505529"/>
              <a:gd name="connsiteY32645" fmla="*/ 1967605 h 7458372"/>
              <a:gd name="connsiteX32646" fmla="*/ 7456501 w 10505529"/>
              <a:gd name="connsiteY32646" fmla="*/ 1976921 h 7458372"/>
              <a:gd name="connsiteX32647" fmla="*/ 7458764 w 10505529"/>
              <a:gd name="connsiteY32647" fmla="*/ 1988367 h 7458372"/>
              <a:gd name="connsiteX32648" fmla="*/ 7456501 w 10505529"/>
              <a:gd name="connsiteY32648" fmla="*/ 2000077 h 7458372"/>
              <a:gd name="connsiteX32649" fmla="*/ 7450377 w 10505529"/>
              <a:gd name="connsiteY32649" fmla="*/ 2009402 h 7458372"/>
              <a:gd name="connsiteX32650" fmla="*/ 7441059 w 10505529"/>
              <a:gd name="connsiteY32650" fmla="*/ 2015653 h 7458372"/>
              <a:gd name="connsiteX32651" fmla="*/ 7429345 w 10505529"/>
              <a:gd name="connsiteY32651" fmla="*/ 2017922 h 7458372"/>
              <a:gd name="connsiteX32652" fmla="*/ 7407513 w 10505529"/>
              <a:gd name="connsiteY32652" fmla="*/ 2009402 h 7458372"/>
              <a:gd name="connsiteX32653" fmla="*/ 7399127 w 10505529"/>
              <a:gd name="connsiteY32653" fmla="*/ 1988237 h 7458372"/>
              <a:gd name="connsiteX32654" fmla="*/ 7407513 w 10505529"/>
              <a:gd name="connsiteY32654" fmla="*/ 1967203 h 7458372"/>
              <a:gd name="connsiteX32655" fmla="*/ 7429345 w 10505529"/>
              <a:gd name="connsiteY32655" fmla="*/ 1958553 h 7458372"/>
              <a:gd name="connsiteX32656" fmla="*/ 7211701 w 10505529"/>
              <a:gd name="connsiteY32656" fmla="*/ 1958553 h 7458372"/>
              <a:gd name="connsiteX32657" fmla="*/ 7223415 w 10505529"/>
              <a:gd name="connsiteY32657" fmla="*/ 1961216 h 7458372"/>
              <a:gd name="connsiteX32658" fmla="*/ 7232733 w 10505529"/>
              <a:gd name="connsiteY32658" fmla="*/ 1967605 h 7458372"/>
              <a:gd name="connsiteX32659" fmla="*/ 7238856 w 10505529"/>
              <a:gd name="connsiteY32659" fmla="*/ 1976921 h 7458372"/>
              <a:gd name="connsiteX32660" fmla="*/ 7241120 w 10505529"/>
              <a:gd name="connsiteY32660" fmla="*/ 1988367 h 7458372"/>
              <a:gd name="connsiteX32661" fmla="*/ 7238856 w 10505529"/>
              <a:gd name="connsiteY32661" fmla="*/ 2000077 h 7458372"/>
              <a:gd name="connsiteX32662" fmla="*/ 7232733 w 10505529"/>
              <a:gd name="connsiteY32662" fmla="*/ 2009402 h 7458372"/>
              <a:gd name="connsiteX32663" fmla="*/ 7223415 w 10505529"/>
              <a:gd name="connsiteY32663" fmla="*/ 2015653 h 7458372"/>
              <a:gd name="connsiteX32664" fmla="*/ 7211701 w 10505529"/>
              <a:gd name="connsiteY32664" fmla="*/ 2017922 h 7458372"/>
              <a:gd name="connsiteX32665" fmla="*/ 7189868 w 10505529"/>
              <a:gd name="connsiteY32665" fmla="*/ 2009402 h 7458372"/>
              <a:gd name="connsiteX32666" fmla="*/ 7181482 w 10505529"/>
              <a:gd name="connsiteY32666" fmla="*/ 1988237 h 7458372"/>
              <a:gd name="connsiteX32667" fmla="*/ 7189868 w 10505529"/>
              <a:gd name="connsiteY32667" fmla="*/ 1967203 h 7458372"/>
              <a:gd name="connsiteX32668" fmla="*/ 7211701 w 10505529"/>
              <a:gd name="connsiteY32668" fmla="*/ 1958553 h 7458372"/>
              <a:gd name="connsiteX32669" fmla="*/ 6994056 w 10505529"/>
              <a:gd name="connsiteY32669" fmla="*/ 1958553 h 7458372"/>
              <a:gd name="connsiteX32670" fmla="*/ 7005769 w 10505529"/>
              <a:gd name="connsiteY32670" fmla="*/ 1961216 h 7458372"/>
              <a:gd name="connsiteX32671" fmla="*/ 7015087 w 10505529"/>
              <a:gd name="connsiteY32671" fmla="*/ 1967605 h 7458372"/>
              <a:gd name="connsiteX32672" fmla="*/ 7021211 w 10505529"/>
              <a:gd name="connsiteY32672" fmla="*/ 1976921 h 7458372"/>
              <a:gd name="connsiteX32673" fmla="*/ 7023474 w 10505529"/>
              <a:gd name="connsiteY32673" fmla="*/ 1988367 h 7458372"/>
              <a:gd name="connsiteX32674" fmla="*/ 7021211 w 10505529"/>
              <a:gd name="connsiteY32674" fmla="*/ 2000077 h 7458372"/>
              <a:gd name="connsiteX32675" fmla="*/ 7015087 w 10505529"/>
              <a:gd name="connsiteY32675" fmla="*/ 2009402 h 7458372"/>
              <a:gd name="connsiteX32676" fmla="*/ 7005769 w 10505529"/>
              <a:gd name="connsiteY32676" fmla="*/ 2015653 h 7458372"/>
              <a:gd name="connsiteX32677" fmla="*/ 6994056 w 10505529"/>
              <a:gd name="connsiteY32677" fmla="*/ 2017922 h 7458372"/>
              <a:gd name="connsiteX32678" fmla="*/ 6972223 w 10505529"/>
              <a:gd name="connsiteY32678" fmla="*/ 2009402 h 7458372"/>
              <a:gd name="connsiteX32679" fmla="*/ 6963837 w 10505529"/>
              <a:gd name="connsiteY32679" fmla="*/ 1988237 h 7458372"/>
              <a:gd name="connsiteX32680" fmla="*/ 6972223 w 10505529"/>
              <a:gd name="connsiteY32680" fmla="*/ 1967203 h 7458372"/>
              <a:gd name="connsiteX32681" fmla="*/ 6994056 w 10505529"/>
              <a:gd name="connsiteY32681" fmla="*/ 1958553 h 7458372"/>
              <a:gd name="connsiteX32682" fmla="*/ 6776544 w 10505529"/>
              <a:gd name="connsiteY32682" fmla="*/ 1958553 h 7458372"/>
              <a:gd name="connsiteX32683" fmla="*/ 6788258 w 10505529"/>
              <a:gd name="connsiteY32683" fmla="*/ 1961216 h 7458372"/>
              <a:gd name="connsiteX32684" fmla="*/ 6797576 w 10505529"/>
              <a:gd name="connsiteY32684" fmla="*/ 1967605 h 7458372"/>
              <a:gd name="connsiteX32685" fmla="*/ 6803699 w 10505529"/>
              <a:gd name="connsiteY32685" fmla="*/ 1976921 h 7458372"/>
              <a:gd name="connsiteX32686" fmla="*/ 6805963 w 10505529"/>
              <a:gd name="connsiteY32686" fmla="*/ 1988367 h 7458372"/>
              <a:gd name="connsiteX32687" fmla="*/ 6803699 w 10505529"/>
              <a:gd name="connsiteY32687" fmla="*/ 2000077 h 7458372"/>
              <a:gd name="connsiteX32688" fmla="*/ 6797576 w 10505529"/>
              <a:gd name="connsiteY32688" fmla="*/ 2009402 h 7458372"/>
              <a:gd name="connsiteX32689" fmla="*/ 6788258 w 10505529"/>
              <a:gd name="connsiteY32689" fmla="*/ 2015653 h 7458372"/>
              <a:gd name="connsiteX32690" fmla="*/ 6776544 w 10505529"/>
              <a:gd name="connsiteY32690" fmla="*/ 2017922 h 7458372"/>
              <a:gd name="connsiteX32691" fmla="*/ 6754711 w 10505529"/>
              <a:gd name="connsiteY32691" fmla="*/ 2009402 h 7458372"/>
              <a:gd name="connsiteX32692" fmla="*/ 6746325 w 10505529"/>
              <a:gd name="connsiteY32692" fmla="*/ 1988237 h 7458372"/>
              <a:gd name="connsiteX32693" fmla="*/ 6754711 w 10505529"/>
              <a:gd name="connsiteY32693" fmla="*/ 1967203 h 7458372"/>
              <a:gd name="connsiteX32694" fmla="*/ 6776544 w 10505529"/>
              <a:gd name="connsiteY32694" fmla="*/ 1958553 h 7458372"/>
              <a:gd name="connsiteX32695" fmla="*/ 6558899 w 10505529"/>
              <a:gd name="connsiteY32695" fmla="*/ 1958553 h 7458372"/>
              <a:gd name="connsiteX32696" fmla="*/ 6570612 w 10505529"/>
              <a:gd name="connsiteY32696" fmla="*/ 1961216 h 7458372"/>
              <a:gd name="connsiteX32697" fmla="*/ 6579930 w 10505529"/>
              <a:gd name="connsiteY32697" fmla="*/ 1967605 h 7458372"/>
              <a:gd name="connsiteX32698" fmla="*/ 6586054 w 10505529"/>
              <a:gd name="connsiteY32698" fmla="*/ 1976921 h 7458372"/>
              <a:gd name="connsiteX32699" fmla="*/ 6588317 w 10505529"/>
              <a:gd name="connsiteY32699" fmla="*/ 1988367 h 7458372"/>
              <a:gd name="connsiteX32700" fmla="*/ 6586054 w 10505529"/>
              <a:gd name="connsiteY32700" fmla="*/ 2000077 h 7458372"/>
              <a:gd name="connsiteX32701" fmla="*/ 6579930 w 10505529"/>
              <a:gd name="connsiteY32701" fmla="*/ 2009402 h 7458372"/>
              <a:gd name="connsiteX32702" fmla="*/ 6570612 w 10505529"/>
              <a:gd name="connsiteY32702" fmla="*/ 2015653 h 7458372"/>
              <a:gd name="connsiteX32703" fmla="*/ 6558899 w 10505529"/>
              <a:gd name="connsiteY32703" fmla="*/ 2017922 h 7458372"/>
              <a:gd name="connsiteX32704" fmla="*/ 6537066 w 10505529"/>
              <a:gd name="connsiteY32704" fmla="*/ 2009402 h 7458372"/>
              <a:gd name="connsiteX32705" fmla="*/ 6528680 w 10505529"/>
              <a:gd name="connsiteY32705" fmla="*/ 1988237 h 7458372"/>
              <a:gd name="connsiteX32706" fmla="*/ 6537066 w 10505529"/>
              <a:gd name="connsiteY32706" fmla="*/ 1967203 h 7458372"/>
              <a:gd name="connsiteX32707" fmla="*/ 6558899 w 10505529"/>
              <a:gd name="connsiteY32707" fmla="*/ 1958553 h 7458372"/>
              <a:gd name="connsiteX32708" fmla="*/ 6341253 w 10505529"/>
              <a:gd name="connsiteY32708" fmla="*/ 1958553 h 7458372"/>
              <a:gd name="connsiteX32709" fmla="*/ 6352968 w 10505529"/>
              <a:gd name="connsiteY32709" fmla="*/ 1961216 h 7458372"/>
              <a:gd name="connsiteX32710" fmla="*/ 6362286 w 10505529"/>
              <a:gd name="connsiteY32710" fmla="*/ 1967605 h 7458372"/>
              <a:gd name="connsiteX32711" fmla="*/ 6368409 w 10505529"/>
              <a:gd name="connsiteY32711" fmla="*/ 1976921 h 7458372"/>
              <a:gd name="connsiteX32712" fmla="*/ 6370672 w 10505529"/>
              <a:gd name="connsiteY32712" fmla="*/ 1988367 h 7458372"/>
              <a:gd name="connsiteX32713" fmla="*/ 6368409 w 10505529"/>
              <a:gd name="connsiteY32713" fmla="*/ 2000077 h 7458372"/>
              <a:gd name="connsiteX32714" fmla="*/ 6362286 w 10505529"/>
              <a:gd name="connsiteY32714" fmla="*/ 2009402 h 7458372"/>
              <a:gd name="connsiteX32715" fmla="*/ 6352968 w 10505529"/>
              <a:gd name="connsiteY32715" fmla="*/ 2015653 h 7458372"/>
              <a:gd name="connsiteX32716" fmla="*/ 6341253 w 10505529"/>
              <a:gd name="connsiteY32716" fmla="*/ 2017922 h 7458372"/>
              <a:gd name="connsiteX32717" fmla="*/ 6319421 w 10505529"/>
              <a:gd name="connsiteY32717" fmla="*/ 2009402 h 7458372"/>
              <a:gd name="connsiteX32718" fmla="*/ 6311035 w 10505529"/>
              <a:gd name="connsiteY32718" fmla="*/ 1988237 h 7458372"/>
              <a:gd name="connsiteX32719" fmla="*/ 6319421 w 10505529"/>
              <a:gd name="connsiteY32719" fmla="*/ 1967203 h 7458372"/>
              <a:gd name="connsiteX32720" fmla="*/ 6341253 w 10505529"/>
              <a:gd name="connsiteY32720" fmla="*/ 1958553 h 7458372"/>
              <a:gd name="connsiteX32721" fmla="*/ 6123608 w 10505529"/>
              <a:gd name="connsiteY32721" fmla="*/ 1958553 h 7458372"/>
              <a:gd name="connsiteX32722" fmla="*/ 6135322 w 10505529"/>
              <a:gd name="connsiteY32722" fmla="*/ 1961216 h 7458372"/>
              <a:gd name="connsiteX32723" fmla="*/ 6144640 w 10505529"/>
              <a:gd name="connsiteY32723" fmla="*/ 1967605 h 7458372"/>
              <a:gd name="connsiteX32724" fmla="*/ 6150763 w 10505529"/>
              <a:gd name="connsiteY32724" fmla="*/ 1976921 h 7458372"/>
              <a:gd name="connsiteX32725" fmla="*/ 6153026 w 10505529"/>
              <a:gd name="connsiteY32725" fmla="*/ 1988367 h 7458372"/>
              <a:gd name="connsiteX32726" fmla="*/ 6150763 w 10505529"/>
              <a:gd name="connsiteY32726" fmla="*/ 2000077 h 7458372"/>
              <a:gd name="connsiteX32727" fmla="*/ 6144640 w 10505529"/>
              <a:gd name="connsiteY32727" fmla="*/ 2009402 h 7458372"/>
              <a:gd name="connsiteX32728" fmla="*/ 6135322 w 10505529"/>
              <a:gd name="connsiteY32728" fmla="*/ 2015653 h 7458372"/>
              <a:gd name="connsiteX32729" fmla="*/ 6123608 w 10505529"/>
              <a:gd name="connsiteY32729" fmla="*/ 2017922 h 7458372"/>
              <a:gd name="connsiteX32730" fmla="*/ 6101775 w 10505529"/>
              <a:gd name="connsiteY32730" fmla="*/ 2009402 h 7458372"/>
              <a:gd name="connsiteX32731" fmla="*/ 6093389 w 10505529"/>
              <a:gd name="connsiteY32731" fmla="*/ 1988237 h 7458372"/>
              <a:gd name="connsiteX32732" fmla="*/ 6101775 w 10505529"/>
              <a:gd name="connsiteY32732" fmla="*/ 1967203 h 7458372"/>
              <a:gd name="connsiteX32733" fmla="*/ 6123608 w 10505529"/>
              <a:gd name="connsiteY32733" fmla="*/ 1958553 h 7458372"/>
              <a:gd name="connsiteX32734" fmla="*/ 5905963 w 10505529"/>
              <a:gd name="connsiteY32734" fmla="*/ 1958553 h 7458372"/>
              <a:gd name="connsiteX32735" fmla="*/ 5917677 w 10505529"/>
              <a:gd name="connsiteY32735" fmla="*/ 1961216 h 7458372"/>
              <a:gd name="connsiteX32736" fmla="*/ 5926995 w 10505529"/>
              <a:gd name="connsiteY32736" fmla="*/ 1967605 h 7458372"/>
              <a:gd name="connsiteX32737" fmla="*/ 5933118 w 10505529"/>
              <a:gd name="connsiteY32737" fmla="*/ 1976921 h 7458372"/>
              <a:gd name="connsiteX32738" fmla="*/ 5935381 w 10505529"/>
              <a:gd name="connsiteY32738" fmla="*/ 1988367 h 7458372"/>
              <a:gd name="connsiteX32739" fmla="*/ 5933118 w 10505529"/>
              <a:gd name="connsiteY32739" fmla="*/ 2000077 h 7458372"/>
              <a:gd name="connsiteX32740" fmla="*/ 5926995 w 10505529"/>
              <a:gd name="connsiteY32740" fmla="*/ 2009402 h 7458372"/>
              <a:gd name="connsiteX32741" fmla="*/ 5917677 w 10505529"/>
              <a:gd name="connsiteY32741" fmla="*/ 2015653 h 7458372"/>
              <a:gd name="connsiteX32742" fmla="*/ 5905963 w 10505529"/>
              <a:gd name="connsiteY32742" fmla="*/ 2017922 h 7458372"/>
              <a:gd name="connsiteX32743" fmla="*/ 5884130 w 10505529"/>
              <a:gd name="connsiteY32743" fmla="*/ 2009402 h 7458372"/>
              <a:gd name="connsiteX32744" fmla="*/ 5875744 w 10505529"/>
              <a:gd name="connsiteY32744" fmla="*/ 1988237 h 7458372"/>
              <a:gd name="connsiteX32745" fmla="*/ 5884130 w 10505529"/>
              <a:gd name="connsiteY32745" fmla="*/ 1967203 h 7458372"/>
              <a:gd name="connsiteX32746" fmla="*/ 5905963 w 10505529"/>
              <a:gd name="connsiteY32746" fmla="*/ 1958553 h 7458372"/>
              <a:gd name="connsiteX32747" fmla="*/ 5688451 w 10505529"/>
              <a:gd name="connsiteY32747" fmla="*/ 1958553 h 7458372"/>
              <a:gd name="connsiteX32748" fmla="*/ 5700165 w 10505529"/>
              <a:gd name="connsiteY32748" fmla="*/ 1961216 h 7458372"/>
              <a:gd name="connsiteX32749" fmla="*/ 5709483 w 10505529"/>
              <a:gd name="connsiteY32749" fmla="*/ 1967605 h 7458372"/>
              <a:gd name="connsiteX32750" fmla="*/ 5715606 w 10505529"/>
              <a:gd name="connsiteY32750" fmla="*/ 1976921 h 7458372"/>
              <a:gd name="connsiteX32751" fmla="*/ 5717869 w 10505529"/>
              <a:gd name="connsiteY32751" fmla="*/ 1988367 h 7458372"/>
              <a:gd name="connsiteX32752" fmla="*/ 5715606 w 10505529"/>
              <a:gd name="connsiteY32752" fmla="*/ 2000077 h 7458372"/>
              <a:gd name="connsiteX32753" fmla="*/ 5709483 w 10505529"/>
              <a:gd name="connsiteY32753" fmla="*/ 2009402 h 7458372"/>
              <a:gd name="connsiteX32754" fmla="*/ 5700165 w 10505529"/>
              <a:gd name="connsiteY32754" fmla="*/ 2015653 h 7458372"/>
              <a:gd name="connsiteX32755" fmla="*/ 5688451 w 10505529"/>
              <a:gd name="connsiteY32755" fmla="*/ 2017922 h 7458372"/>
              <a:gd name="connsiteX32756" fmla="*/ 5666618 w 10505529"/>
              <a:gd name="connsiteY32756" fmla="*/ 2009402 h 7458372"/>
              <a:gd name="connsiteX32757" fmla="*/ 5658232 w 10505529"/>
              <a:gd name="connsiteY32757" fmla="*/ 1988237 h 7458372"/>
              <a:gd name="connsiteX32758" fmla="*/ 5666618 w 10505529"/>
              <a:gd name="connsiteY32758" fmla="*/ 1967203 h 7458372"/>
              <a:gd name="connsiteX32759" fmla="*/ 5688451 w 10505529"/>
              <a:gd name="connsiteY32759" fmla="*/ 1958553 h 7458372"/>
              <a:gd name="connsiteX32760" fmla="*/ 5470806 w 10505529"/>
              <a:gd name="connsiteY32760" fmla="*/ 1958553 h 7458372"/>
              <a:gd name="connsiteX32761" fmla="*/ 5482520 w 10505529"/>
              <a:gd name="connsiteY32761" fmla="*/ 1961216 h 7458372"/>
              <a:gd name="connsiteX32762" fmla="*/ 5491838 w 10505529"/>
              <a:gd name="connsiteY32762" fmla="*/ 1967605 h 7458372"/>
              <a:gd name="connsiteX32763" fmla="*/ 5497961 w 10505529"/>
              <a:gd name="connsiteY32763" fmla="*/ 1976921 h 7458372"/>
              <a:gd name="connsiteX32764" fmla="*/ 5500224 w 10505529"/>
              <a:gd name="connsiteY32764" fmla="*/ 1988367 h 7458372"/>
              <a:gd name="connsiteX32765" fmla="*/ 5497961 w 10505529"/>
              <a:gd name="connsiteY32765" fmla="*/ 2000077 h 7458372"/>
              <a:gd name="connsiteX32766" fmla="*/ 5491838 w 10505529"/>
              <a:gd name="connsiteY32766" fmla="*/ 2009402 h 7458372"/>
              <a:gd name="connsiteX32767" fmla="*/ 5482520 w 10505529"/>
              <a:gd name="connsiteY32767" fmla="*/ 2015653 h 7458372"/>
              <a:gd name="connsiteX32768" fmla="*/ 5470806 w 10505529"/>
              <a:gd name="connsiteY32768" fmla="*/ 2017922 h 7458372"/>
              <a:gd name="connsiteX32769" fmla="*/ 5448973 w 10505529"/>
              <a:gd name="connsiteY32769" fmla="*/ 2009402 h 7458372"/>
              <a:gd name="connsiteX32770" fmla="*/ 5440587 w 10505529"/>
              <a:gd name="connsiteY32770" fmla="*/ 1988237 h 7458372"/>
              <a:gd name="connsiteX32771" fmla="*/ 5448973 w 10505529"/>
              <a:gd name="connsiteY32771" fmla="*/ 1967203 h 7458372"/>
              <a:gd name="connsiteX32772" fmla="*/ 5470806 w 10505529"/>
              <a:gd name="connsiteY32772" fmla="*/ 1958553 h 7458372"/>
              <a:gd name="connsiteX32773" fmla="*/ 5253160 w 10505529"/>
              <a:gd name="connsiteY32773" fmla="*/ 1958553 h 7458372"/>
              <a:gd name="connsiteX32774" fmla="*/ 5264875 w 10505529"/>
              <a:gd name="connsiteY32774" fmla="*/ 1961216 h 7458372"/>
              <a:gd name="connsiteX32775" fmla="*/ 5274192 w 10505529"/>
              <a:gd name="connsiteY32775" fmla="*/ 1967605 h 7458372"/>
              <a:gd name="connsiteX32776" fmla="*/ 5280316 w 10505529"/>
              <a:gd name="connsiteY32776" fmla="*/ 1976921 h 7458372"/>
              <a:gd name="connsiteX32777" fmla="*/ 5282579 w 10505529"/>
              <a:gd name="connsiteY32777" fmla="*/ 1988367 h 7458372"/>
              <a:gd name="connsiteX32778" fmla="*/ 5280316 w 10505529"/>
              <a:gd name="connsiteY32778" fmla="*/ 2000077 h 7458372"/>
              <a:gd name="connsiteX32779" fmla="*/ 5274192 w 10505529"/>
              <a:gd name="connsiteY32779" fmla="*/ 2009402 h 7458372"/>
              <a:gd name="connsiteX32780" fmla="*/ 5264875 w 10505529"/>
              <a:gd name="connsiteY32780" fmla="*/ 2015653 h 7458372"/>
              <a:gd name="connsiteX32781" fmla="*/ 5253160 w 10505529"/>
              <a:gd name="connsiteY32781" fmla="*/ 2017922 h 7458372"/>
              <a:gd name="connsiteX32782" fmla="*/ 5231328 w 10505529"/>
              <a:gd name="connsiteY32782" fmla="*/ 2009402 h 7458372"/>
              <a:gd name="connsiteX32783" fmla="*/ 5222942 w 10505529"/>
              <a:gd name="connsiteY32783" fmla="*/ 1988237 h 7458372"/>
              <a:gd name="connsiteX32784" fmla="*/ 5231328 w 10505529"/>
              <a:gd name="connsiteY32784" fmla="*/ 1967203 h 7458372"/>
              <a:gd name="connsiteX32785" fmla="*/ 5253160 w 10505529"/>
              <a:gd name="connsiteY32785" fmla="*/ 1958553 h 7458372"/>
              <a:gd name="connsiteX32786" fmla="*/ 5035515 w 10505529"/>
              <a:gd name="connsiteY32786" fmla="*/ 1958553 h 7458372"/>
              <a:gd name="connsiteX32787" fmla="*/ 5047230 w 10505529"/>
              <a:gd name="connsiteY32787" fmla="*/ 1961216 h 7458372"/>
              <a:gd name="connsiteX32788" fmla="*/ 5056548 w 10505529"/>
              <a:gd name="connsiteY32788" fmla="*/ 1967605 h 7458372"/>
              <a:gd name="connsiteX32789" fmla="*/ 5062671 w 10505529"/>
              <a:gd name="connsiteY32789" fmla="*/ 1976921 h 7458372"/>
              <a:gd name="connsiteX32790" fmla="*/ 5064934 w 10505529"/>
              <a:gd name="connsiteY32790" fmla="*/ 1988367 h 7458372"/>
              <a:gd name="connsiteX32791" fmla="*/ 5062671 w 10505529"/>
              <a:gd name="connsiteY32791" fmla="*/ 2000077 h 7458372"/>
              <a:gd name="connsiteX32792" fmla="*/ 5056548 w 10505529"/>
              <a:gd name="connsiteY32792" fmla="*/ 2009402 h 7458372"/>
              <a:gd name="connsiteX32793" fmla="*/ 5047230 w 10505529"/>
              <a:gd name="connsiteY32793" fmla="*/ 2015653 h 7458372"/>
              <a:gd name="connsiteX32794" fmla="*/ 5035515 w 10505529"/>
              <a:gd name="connsiteY32794" fmla="*/ 2017922 h 7458372"/>
              <a:gd name="connsiteX32795" fmla="*/ 5013683 w 10505529"/>
              <a:gd name="connsiteY32795" fmla="*/ 2009402 h 7458372"/>
              <a:gd name="connsiteX32796" fmla="*/ 5005297 w 10505529"/>
              <a:gd name="connsiteY32796" fmla="*/ 1988237 h 7458372"/>
              <a:gd name="connsiteX32797" fmla="*/ 5013683 w 10505529"/>
              <a:gd name="connsiteY32797" fmla="*/ 1967203 h 7458372"/>
              <a:gd name="connsiteX32798" fmla="*/ 5035515 w 10505529"/>
              <a:gd name="connsiteY32798" fmla="*/ 1958553 h 7458372"/>
              <a:gd name="connsiteX32799" fmla="*/ 4817870 w 10505529"/>
              <a:gd name="connsiteY32799" fmla="*/ 1958553 h 7458372"/>
              <a:gd name="connsiteX32800" fmla="*/ 4829585 w 10505529"/>
              <a:gd name="connsiteY32800" fmla="*/ 1961216 h 7458372"/>
              <a:gd name="connsiteX32801" fmla="*/ 4838903 w 10505529"/>
              <a:gd name="connsiteY32801" fmla="*/ 1967605 h 7458372"/>
              <a:gd name="connsiteX32802" fmla="*/ 4845026 w 10505529"/>
              <a:gd name="connsiteY32802" fmla="*/ 1976921 h 7458372"/>
              <a:gd name="connsiteX32803" fmla="*/ 4847289 w 10505529"/>
              <a:gd name="connsiteY32803" fmla="*/ 1988367 h 7458372"/>
              <a:gd name="connsiteX32804" fmla="*/ 4845026 w 10505529"/>
              <a:gd name="connsiteY32804" fmla="*/ 2000077 h 7458372"/>
              <a:gd name="connsiteX32805" fmla="*/ 4838903 w 10505529"/>
              <a:gd name="connsiteY32805" fmla="*/ 2009402 h 7458372"/>
              <a:gd name="connsiteX32806" fmla="*/ 4829585 w 10505529"/>
              <a:gd name="connsiteY32806" fmla="*/ 2015653 h 7458372"/>
              <a:gd name="connsiteX32807" fmla="*/ 4817870 w 10505529"/>
              <a:gd name="connsiteY32807" fmla="*/ 2017922 h 7458372"/>
              <a:gd name="connsiteX32808" fmla="*/ 4796038 w 10505529"/>
              <a:gd name="connsiteY32808" fmla="*/ 2009402 h 7458372"/>
              <a:gd name="connsiteX32809" fmla="*/ 4787652 w 10505529"/>
              <a:gd name="connsiteY32809" fmla="*/ 1988237 h 7458372"/>
              <a:gd name="connsiteX32810" fmla="*/ 4796038 w 10505529"/>
              <a:gd name="connsiteY32810" fmla="*/ 1967203 h 7458372"/>
              <a:gd name="connsiteX32811" fmla="*/ 4817870 w 10505529"/>
              <a:gd name="connsiteY32811" fmla="*/ 1958553 h 7458372"/>
              <a:gd name="connsiteX32812" fmla="*/ 4600226 w 10505529"/>
              <a:gd name="connsiteY32812" fmla="*/ 1958553 h 7458372"/>
              <a:gd name="connsiteX32813" fmla="*/ 4612073 w 10505529"/>
              <a:gd name="connsiteY32813" fmla="*/ 1961216 h 7458372"/>
              <a:gd name="connsiteX32814" fmla="*/ 4621391 w 10505529"/>
              <a:gd name="connsiteY32814" fmla="*/ 1967605 h 7458372"/>
              <a:gd name="connsiteX32815" fmla="*/ 4627514 w 10505529"/>
              <a:gd name="connsiteY32815" fmla="*/ 1976921 h 7458372"/>
              <a:gd name="connsiteX32816" fmla="*/ 4629777 w 10505529"/>
              <a:gd name="connsiteY32816" fmla="*/ 1988367 h 7458372"/>
              <a:gd name="connsiteX32817" fmla="*/ 4627514 w 10505529"/>
              <a:gd name="connsiteY32817" fmla="*/ 2000077 h 7458372"/>
              <a:gd name="connsiteX32818" fmla="*/ 4621391 w 10505529"/>
              <a:gd name="connsiteY32818" fmla="*/ 2009402 h 7458372"/>
              <a:gd name="connsiteX32819" fmla="*/ 4612073 w 10505529"/>
              <a:gd name="connsiteY32819" fmla="*/ 2015653 h 7458372"/>
              <a:gd name="connsiteX32820" fmla="*/ 4600226 w 10505529"/>
              <a:gd name="connsiteY32820" fmla="*/ 2017922 h 7458372"/>
              <a:gd name="connsiteX32821" fmla="*/ 4578393 w 10505529"/>
              <a:gd name="connsiteY32821" fmla="*/ 2009402 h 7458372"/>
              <a:gd name="connsiteX32822" fmla="*/ 4570007 w 10505529"/>
              <a:gd name="connsiteY32822" fmla="*/ 1988237 h 7458372"/>
              <a:gd name="connsiteX32823" fmla="*/ 4578393 w 10505529"/>
              <a:gd name="connsiteY32823" fmla="*/ 1967203 h 7458372"/>
              <a:gd name="connsiteX32824" fmla="*/ 4600226 w 10505529"/>
              <a:gd name="connsiteY32824" fmla="*/ 1958553 h 7458372"/>
              <a:gd name="connsiteX32825" fmla="*/ 4382713 w 10505529"/>
              <a:gd name="connsiteY32825" fmla="*/ 1958553 h 7458372"/>
              <a:gd name="connsiteX32826" fmla="*/ 4394428 w 10505529"/>
              <a:gd name="connsiteY32826" fmla="*/ 1961216 h 7458372"/>
              <a:gd name="connsiteX32827" fmla="*/ 4403746 w 10505529"/>
              <a:gd name="connsiteY32827" fmla="*/ 1967605 h 7458372"/>
              <a:gd name="connsiteX32828" fmla="*/ 4409869 w 10505529"/>
              <a:gd name="connsiteY32828" fmla="*/ 1976921 h 7458372"/>
              <a:gd name="connsiteX32829" fmla="*/ 4412132 w 10505529"/>
              <a:gd name="connsiteY32829" fmla="*/ 1988367 h 7458372"/>
              <a:gd name="connsiteX32830" fmla="*/ 4409869 w 10505529"/>
              <a:gd name="connsiteY32830" fmla="*/ 2000077 h 7458372"/>
              <a:gd name="connsiteX32831" fmla="*/ 4403746 w 10505529"/>
              <a:gd name="connsiteY32831" fmla="*/ 2009402 h 7458372"/>
              <a:gd name="connsiteX32832" fmla="*/ 4394428 w 10505529"/>
              <a:gd name="connsiteY32832" fmla="*/ 2015653 h 7458372"/>
              <a:gd name="connsiteX32833" fmla="*/ 4382713 w 10505529"/>
              <a:gd name="connsiteY32833" fmla="*/ 2017922 h 7458372"/>
              <a:gd name="connsiteX32834" fmla="*/ 4360881 w 10505529"/>
              <a:gd name="connsiteY32834" fmla="*/ 2009402 h 7458372"/>
              <a:gd name="connsiteX32835" fmla="*/ 4352495 w 10505529"/>
              <a:gd name="connsiteY32835" fmla="*/ 1988237 h 7458372"/>
              <a:gd name="connsiteX32836" fmla="*/ 4360881 w 10505529"/>
              <a:gd name="connsiteY32836" fmla="*/ 1967203 h 7458372"/>
              <a:gd name="connsiteX32837" fmla="*/ 4382713 w 10505529"/>
              <a:gd name="connsiteY32837" fmla="*/ 1958553 h 7458372"/>
              <a:gd name="connsiteX32838" fmla="*/ 4165068 w 10505529"/>
              <a:gd name="connsiteY32838" fmla="*/ 1958553 h 7458372"/>
              <a:gd name="connsiteX32839" fmla="*/ 4176782 w 10505529"/>
              <a:gd name="connsiteY32839" fmla="*/ 1961216 h 7458372"/>
              <a:gd name="connsiteX32840" fmla="*/ 4186100 w 10505529"/>
              <a:gd name="connsiteY32840" fmla="*/ 1967605 h 7458372"/>
              <a:gd name="connsiteX32841" fmla="*/ 4192223 w 10505529"/>
              <a:gd name="connsiteY32841" fmla="*/ 1976921 h 7458372"/>
              <a:gd name="connsiteX32842" fmla="*/ 4194486 w 10505529"/>
              <a:gd name="connsiteY32842" fmla="*/ 1988367 h 7458372"/>
              <a:gd name="connsiteX32843" fmla="*/ 4192223 w 10505529"/>
              <a:gd name="connsiteY32843" fmla="*/ 2000077 h 7458372"/>
              <a:gd name="connsiteX32844" fmla="*/ 4186100 w 10505529"/>
              <a:gd name="connsiteY32844" fmla="*/ 2009402 h 7458372"/>
              <a:gd name="connsiteX32845" fmla="*/ 4176782 w 10505529"/>
              <a:gd name="connsiteY32845" fmla="*/ 2015653 h 7458372"/>
              <a:gd name="connsiteX32846" fmla="*/ 4165068 w 10505529"/>
              <a:gd name="connsiteY32846" fmla="*/ 2017922 h 7458372"/>
              <a:gd name="connsiteX32847" fmla="*/ 4143235 w 10505529"/>
              <a:gd name="connsiteY32847" fmla="*/ 2009402 h 7458372"/>
              <a:gd name="connsiteX32848" fmla="*/ 4134849 w 10505529"/>
              <a:gd name="connsiteY32848" fmla="*/ 1988237 h 7458372"/>
              <a:gd name="connsiteX32849" fmla="*/ 4143235 w 10505529"/>
              <a:gd name="connsiteY32849" fmla="*/ 1967203 h 7458372"/>
              <a:gd name="connsiteX32850" fmla="*/ 4165068 w 10505529"/>
              <a:gd name="connsiteY32850" fmla="*/ 1958553 h 7458372"/>
              <a:gd name="connsiteX32851" fmla="*/ 3947535 w 10505529"/>
              <a:gd name="connsiteY32851" fmla="*/ 1958553 h 7458372"/>
              <a:gd name="connsiteX32852" fmla="*/ 3959250 w 10505529"/>
              <a:gd name="connsiteY32852" fmla="*/ 1961216 h 7458372"/>
              <a:gd name="connsiteX32853" fmla="*/ 3968568 w 10505529"/>
              <a:gd name="connsiteY32853" fmla="*/ 1967605 h 7458372"/>
              <a:gd name="connsiteX32854" fmla="*/ 3974692 w 10505529"/>
              <a:gd name="connsiteY32854" fmla="*/ 1976921 h 7458372"/>
              <a:gd name="connsiteX32855" fmla="*/ 3976956 w 10505529"/>
              <a:gd name="connsiteY32855" fmla="*/ 1988367 h 7458372"/>
              <a:gd name="connsiteX32856" fmla="*/ 3974692 w 10505529"/>
              <a:gd name="connsiteY32856" fmla="*/ 2000077 h 7458372"/>
              <a:gd name="connsiteX32857" fmla="*/ 3968568 w 10505529"/>
              <a:gd name="connsiteY32857" fmla="*/ 2009402 h 7458372"/>
              <a:gd name="connsiteX32858" fmla="*/ 3959250 w 10505529"/>
              <a:gd name="connsiteY32858" fmla="*/ 2015653 h 7458372"/>
              <a:gd name="connsiteX32859" fmla="*/ 3947535 w 10505529"/>
              <a:gd name="connsiteY32859" fmla="*/ 2017922 h 7458372"/>
              <a:gd name="connsiteX32860" fmla="*/ 3925703 w 10505529"/>
              <a:gd name="connsiteY32860" fmla="*/ 2009402 h 7458372"/>
              <a:gd name="connsiteX32861" fmla="*/ 3917316 w 10505529"/>
              <a:gd name="connsiteY32861" fmla="*/ 1988237 h 7458372"/>
              <a:gd name="connsiteX32862" fmla="*/ 3925703 w 10505529"/>
              <a:gd name="connsiteY32862" fmla="*/ 1967203 h 7458372"/>
              <a:gd name="connsiteX32863" fmla="*/ 3947535 w 10505529"/>
              <a:gd name="connsiteY32863" fmla="*/ 1958553 h 7458372"/>
              <a:gd name="connsiteX32864" fmla="*/ 3729884 w 10505529"/>
              <a:gd name="connsiteY32864" fmla="*/ 1958553 h 7458372"/>
              <a:gd name="connsiteX32865" fmla="*/ 3741599 w 10505529"/>
              <a:gd name="connsiteY32865" fmla="*/ 1961216 h 7458372"/>
              <a:gd name="connsiteX32866" fmla="*/ 3750918 w 10505529"/>
              <a:gd name="connsiteY32866" fmla="*/ 1967605 h 7458372"/>
              <a:gd name="connsiteX32867" fmla="*/ 3757041 w 10505529"/>
              <a:gd name="connsiteY32867" fmla="*/ 1976921 h 7458372"/>
              <a:gd name="connsiteX32868" fmla="*/ 3759304 w 10505529"/>
              <a:gd name="connsiteY32868" fmla="*/ 1988367 h 7458372"/>
              <a:gd name="connsiteX32869" fmla="*/ 3757041 w 10505529"/>
              <a:gd name="connsiteY32869" fmla="*/ 2000077 h 7458372"/>
              <a:gd name="connsiteX32870" fmla="*/ 3750918 w 10505529"/>
              <a:gd name="connsiteY32870" fmla="*/ 2009402 h 7458372"/>
              <a:gd name="connsiteX32871" fmla="*/ 3741599 w 10505529"/>
              <a:gd name="connsiteY32871" fmla="*/ 2015653 h 7458372"/>
              <a:gd name="connsiteX32872" fmla="*/ 3729884 w 10505529"/>
              <a:gd name="connsiteY32872" fmla="*/ 2017922 h 7458372"/>
              <a:gd name="connsiteX32873" fmla="*/ 3708050 w 10505529"/>
              <a:gd name="connsiteY32873" fmla="*/ 2009402 h 7458372"/>
              <a:gd name="connsiteX32874" fmla="*/ 3699664 w 10505529"/>
              <a:gd name="connsiteY32874" fmla="*/ 1988237 h 7458372"/>
              <a:gd name="connsiteX32875" fmla="*/ 3708050 w 10505529"/>
              <a:gd name="connsiteY32875" fmla="*/ 1967203 h 7458372"/>
              <a:gd name="connsiteX32876" fmla="*/ 3729884 w 10505529"/>
              <a:gd name="connsiteY32876" fmla="*/ 1958553 h 7458372"/>
              <a:gd name="connsiteX32877" fmla="*/ 3512233 w 10505529"/>
              <a:gd name="connsiteY32877" fmla="*/ 1958553 h 7458372"/>
              <a:gd name="connsiteX32878" fmla="*/ 3523949 w 10505529"/>
              <a:gd name="connsiteY32878" fmla="*/ 1961216 h 7458372"/>
              <a:gd name="connsiteX32879" fmla="*/ 3533267 w 10505529"/>
              <a:gd name="connsiteY32879" fmla="*/ 1967605 h 7458372"/>
              <a:gd name="connsiteX32880" fmla="*/ 3539390 w 10505529"/>
              <a:gd name="connsiteY32880" fmla="*/ 1976921 h 7458372"/>
              <a:gd name="connsiteX32881" fmla="*/ 3541653 w 10505529"/>
              <a:gd name="connsiteY32881" fmla="*/ 1988367 h 7458372"/>
              <a:gd name="connsiteX32882" fmla="*/ 3539390 w 10505529"/>
              <a:gd name="connsiteY32882" fmla="*/ 2000077 h 7458372"/>
              <a:gd name="connsiteX32883" fmla="*/ 3533267 w 10505529"/>
              <a:gd name="connsiteY32883" fmla="*/ 2009402 h 7458372"/>
              <a:gd name="connsiteX32884" fmla="*/ 3523949 w 10505529"/>
              <a:gd name="connsiteY32884" fmla="*/ 2015653 h 7458372"/>
              <a:gd name="connsiteX32885" fmla="*/ 3512233 w 10505529"/>
              <a:gd name="connsiteY32885" fmla="*/ 2017922 h 7458372"/>
              <a:gd name="connsiteX32886" fmla="*/ 3490400 w 10505529"/>
              <a:gd name="connsiteY32886" fmla="*/ 2009402 h 7458372"/>
              <a:gd name="connsiteX32887" fmla="*/ 3482013 w 10505529"/>
              <a:gd name="connsiteY32887" fmla="*/ 1988237 h 7458372"/>
              <a:gd name="connsiteX32888" fmla="*/ 3490400 w 10505529"/>
              <a:gd name="connsiteY32888" fmla="*/ 1967203 h 7458372"/>
              <a:gd name="connsiteX32889" fmla="*/ 3512233 w 10505529"/>
              <a:gd name="connsiteY32889" fmla="*/ 1958553 h 7458372"/>
              <a:gd name="connsiteX32890" fmla="*/ 3294716 w 10505529"/>
              <a:gd name="connsiteY32890" fmla="*/ 1958553 h 7458372"/>
              <a:gd name="connsiteX32891" fmla="*/ 3306431 w 10505529"/>
              <a:gd name="connsiteY32891" fmla="*/ 1961216 h 7458372"/>
              <a:gd name="connsiteX32892" fmla="*/ 3315749 w 10505529"/>
              <a:gd name="connsiteY32892" fmla="*/ 1967605 h 7458372"/>
              <a:gd name="connsiteX32893" fmla="*/ 3321873 w 10505529"/>
              <a:gd name="connsiteY32893" fmla="*/ 1976921 h 7458372"/>
              <a:gd name="connsiteX32894" fmla="*/ 3324135 w 10505529"/>
              <a:gd name="connsiteY32894" fmla="*/ 1988367 h 7458372"/>
              <a:gd name="connsiteX32895" fmla="*/ 3321873 w 10505529"/>
              <a:gd name="connsiteY32895" fmla="*/ 2000077 h 7458372"/>
              <a:gd name="connsiteX32896" fmla="*/ 3315749 w 10505529"/>
              <a:gd name="connsiteY32896" fmla="*/ 2009402 h 7458372"/>
              <a:gd name="connsiteX32897" fmla="*/ 3306431 w 10505529"/>
              <a:gd name="connsiteY32897" fmla="*/ 2015653 h 7458372"/>
              <a:gd name="connsiteX32898" fmla="*/ 3294716 w 10505529"/>
              <a:gd name="connsiteY32898" fmla="*/ 2017922 h 7458372"/>
              <a:gd name="connsiteX32899" fmla="*/ 3272881 w 10505529"/>
              <a:gd name="connsiteY32899" fmla="*/ 2009402 h 7458372"/>
              <a:gd name="connsiteX32900" fmla="*/ 3264495 w 10505529"/>
              <a:gd name="connsiteY32900" fmla="*/ 1988237 h 7458372"/>
              <a:gd name="connsiteX32901" fmla="*/ 3272881 w 10505529"/>
              <a:gd name="connsiteY32901" fmla="*/ 1967203 h 7458372"/>
              <a:gd name="connsiteX32902" fmla="*/ 3294716 w 10505529"/>
              <a:gd name="connsiteY32902" fmla="*/ 1958553 h 7458372"/>
              <a:gd name="connsiteX32903" fmla="*/ 3077065 w 10505529"/>
              <a:gd name="connsiteY32903" fmla="*/ 1958553 h 7458372"/>
              <a:gd name="connsiteX32904" fmla="*/ 3088780 w 10505529"/>
              <a:gd name="connsiteY32904" fmla="*/ 1961216 h 7458372"/>
              <a:gd name="connsiteX32905" fmla="*/ 3098098 w 10505529"/>
              <a:gd name="connsiteY32905" fmla="*/ 1967605 h 7458372"/>
              <a:gd name="connsiteX32906" fmla="*/ 3104221 w 10505529"/>
              <a:gd name="connsiteY32906" fmla="*/ 1976921 h 7458372"/>
              <a:gd name="connsiteX32907" fmla="*/ 3106484 w 10505529"/>
              <a:gd name="connsiteY32907" fmla="*/ 1988367 h 7458372"/>
              <a:gd name="connsiteX32908" fmla="*/ 3104221 w 10505529"/>
              <a:gd name="connsiteY32908" fmla="*/ 2000077 h 7458372"/>
              <a:gd name="connsiteX32909" fmla="*/ 3098098 w 10505529"/>
              <a:gd name="connsiteY32909" fmla="*/ 2009402 h 7458372"/>
              <a:gd name="connsiteX32910" fmla="*/ 3088780 w 10505529"/>
              <a:gd name="connsiteY32910" fmla="*/ 2015653 h 7458372"/>
              <a:gd name="connsiteX32911" fmla="*/ 3077065 w 10505529"/>
              <a:gd name="connsiteY32911" fmla="*/ 2017922 h 7458372"/>
              <a:gd name="connsiteX32912" fmla="*/ 3055231 w 10505529"/>
              <a:gd name="connsiteY32912" fmla="*/ 2009402 h 7458372"/>
              <a:gd name="connsiteX32913" fmla="*/ 3046845 w 10505529"/>
              <a:gd name="connsiteY32913" fmla="*/ 1988237 h 7458372"/>
              <a:gd name="connsiteX32914" fmla="*/ 3055231 w 10505529"/>
              <a:gd name="connsiteY32914" fmla="*/ 1967203 h 7458372"/>
              <a:gd name="connsiteX32915" fmla="*/ 3077065 w 10505529"/>
              <a:gd name="connsiteY32915" fmla="*/ 1958553 h 7458372"/>
              <a:gd name="connsiteX32916" fmla="*/ 2859414 w 10505529"/>
              <a:gd name="connsiteY32916" fmla="*/ 1958553 h 7458372"/>
              <a:gd name="connsiteX32917" fmla="*/ 2871263 w 10505529"/>
              <a:gd name="connsiteY32917" fmla="*/ 1961216 h 7458372"/>
              <a:gd name="connsiteX32918" fmla="*/ 2880581 w 10505529"/>
              <a:gd name="connsiteY32918" fmla="*/ 1967605 h 7458372"/>
              <a:gd name="connsiteX32919" fmla="*/ 2886704 w 10505529"/>
              <a:gd name="connsiteY32919" fmla="*/ 1976921 h 7458372"/>
              <a:gd name="connsiteX32920" fmla="*/ 2888967 w 10505529"/>
              <a:gd name="connsiteY32920" fmla="*/ 1988367 h 7458372"/>
              <a:gd name="connsiteX32921" fmla="*/ 2886704 w 10505529"/>
              <a:gd name="connsiteY32921" fmla="*/ 2000077 h 7458372"/>
              <a:gd name="connsiteX32922" fmla="*/ 2880581 w 10505529"/>
              <a:gd name="connsiteY32922" fmla="*/ 2009402 h 7458372"/>
              <a:gd name="connsiteX32923" fmla="*/ 2871263 w 10505529"/>
              <a:gd name="connsiteY32923" fmla="*/ 2015653 h 7458372"/>
              <a:gd name="connsiteX32924" fmla="*/ 2859414 w 10505529"/>
              <a:gd name="connsiteY32924" fmla="*/ 2017922 h 7458372"/>
              <a:gd name="connsiteX32925" fmla="*/ 2837581 w 10505529"/>
              <a:gd name="connsiteY32925" fmla="*/ 2009402 h 7458372"/>
              <a:gd name="connsiteX32926" fmla="*/ 2829194 w 10505529"/>
              <a:gd name="connsiteY32926" fmla="*/ 1988237 h 7458372"/>
              <a:gd name="connsiteX32927" fmla="*/ 2837581 w 10505529"/>
              <a:gd name="connsiteY32927" fmla="*/ 1967203 h 7458372"/>
              <a:gd name="connsiteX32928" fmla="*/ 2859414 w 10505529"/>
              <a:gd name="connsiteY32928" fmla="*/ 1958553 h 7458372"/>
              <a:gd name="connsiteX32929" fmla="*/ 2641763 w 10505529"/>
              <a:gd name="connsiteY32929" fmla="*/ 1958553 h 7458372"/>
              <a:gd name="connsiteX32930" fmla="*/ 2653479 w 10505529"/>
              <a:gd name="connsiteY32930" fmla="*/ 1961216 h 7458372"/>
              <a:gd name="connsiteX32931" fmla="*/ 2662797 w 10505529"/>
              <a:gd name="connsiteY32931" fmla="*/ 1967605 h 7458372"/>
              <a:gd name="connsiteX32932" fmla="*/ 2668920 w 10505529"/>
              <a:gd name="connsiteY32932" fmla="*/ 1976921 h 7458372"/>
              <a:gd name="connsiteX32933" fmla="*/ 2671183 w 10505529"/>
              <a:gd name="connsiteY32933" fmla="*/ 1988367 h 7458372"/>
              <a:gd name="connsiteX32934" fmla="*/ 2668920 w 10505529"/>
              <a:gd name="connsiteY32934" fmla="*/ 2000077 h 7458372"/>
              <a:gd name="connsiteX32935" fmla="*/ 2662797 w 10505529"/>
              <a:gd name="connsiteY32935" fmla="*/ 2009402 h 7458372"/>
              <a:gd name="connsiteX32936" fmla="*/ 2653479 w 10505529"/>
              <a:gd name="connsiteY32936" fmla="*/ 2015653 h 7458372"/>
              <a:gd name="connsiteX32937" fmla="*/ 2641763 w 10505529"/>
              <a:gd name="connsiteY32937" fmla="*/ 2017922 h 7458372"/>
              <a:gd name="connsiteX32938" fmla="*/ 2619931 w 10505529"/>
              <a:gd name="connsiteY32938" fmla="*/ 2009402 h 7458372"/>
              <a:gd name="connsiteX32939" fmla="*/ 2611544 w 10505529"/>
              <a:gd name="connsiteY32939" fmla="*/ 1988237 h 7458372"/>
              <a:gd name="connsiteX32940" fmla="*/ 2619931 w 10505529"/>
              <a:gd name="connsiteY32940" fmla="*/ 1967203 h 7458372"/>
              <a:gd name="connsiteX32941" fmla="*/ 2641763 w 10505529"/>
              <a:gd name="connsiteY32941" fmla="*/ 1958553 h 7458372"/>
              <a:gd name="connsiteX32942" fmla="*/ 2424112 w 10505529"/>
              <a:gd name="connsiteY32942" fmla="*/ 1958553 h 7458372"/>
              <a:gd name="connsiteX32943" fmla="*/ 2435828 w 10505529"/>
              <a:gd name="connsiteY32943" fmla="*/ 1961216 h 7458372"/>
              <a:gd name="connsiteX32944" fmla="*/ 2445146 w 10505529"/>
              <a:gd name="connsiteY32944" fmla="*/ 1967605 h 7458372"/>
              <a:gd name="connsiteX32945" fmla="*/ 2451269 w 10505529"/>
              <a:gd name="connsiteY32945" fmla="*/ 1976921 h 7458372"/>
              <a:gd name="connsiteX32946" fmla="*/ 2453532 w 10505529"/>
              <a:gd name="connsiteY32946" fmla="*/ 1988367 h 7458372"/>
              <a:gd name="connsiteX32947" fmla="*/ 2451269 w 10505529"/>
              <a:gd name="connsiteY32947" fmla="*/ 2000077 h 7458372"/>
              <a:gd name="connsiteX32948" fmla="*/ 2445146 w 10505529"/>
              <a:gd name="connsiteY32948" fmla="*/ 2009402 h 7458372"/>
              <a:gd name="connsiteX32949" fmla="*/ 2435828 w 10505529"/>
              <a:gd name="connsiteY32949" fmla="*/ 2015653 h 7458372"/>
              <a:gd name="connsiteX32950" fmla="*/ 2424112 w 10505529"/>
              <a:gd name="connsiteY32950" fmla="*/ 2017922 h 7458372"/>
              <a:gd name="connsiteX32951" fmla="*/ 2402280 w 10505529"/>
              <a:gd name="connsiteY32951" fmla="*/ 2009402 h 7458372"/>
              <a:gd name="connsiteX32952" fmla="*/ 2393893 w 10505529"/>
              <a:gd name="connsiteY32952" fmla="*/ 1988237 h 7458372"/>
              <a:gd name="connsiteX32953" fmla="*/ 2402280 w 10505529"/>
              <a:gd name="connsiteY32953" fmla="*/ 1967203 h 7458372"/>
              <a:gd name="connsiteX32954" fmla="*/ 2424112 w 10505529"/>
              <a:gd name="connsiteY32954" fmla="*/ 1958553 h 7458372"/>
              <a:gd name="connsiteX32955" fmla="*/ 2206462 w 10505529"/>
              <a:gd name="connsiteY32955" fmla="*/ 1958553 h 7458372"/>
              <a:gd name="connsiteX32956" fmla="*/ 2218177 w 10505529"/>
              <a:gd name="connsiteY32956" fmla="*/ 1961216 h 7458372"/>
              <a:gd name="connsiteX32957" fmla="*/ 2227495 w 10505529"/>
              <a:gd name="connsiteY32957" fmla="*/ 1967605 h 7458372"/>
              <a:gd name="connsiteX32958" fmla="*/ 2233618 w 10505529"/>
              <a:gd name="connsiteY32958" fmla="*/ 1976921 h 7458372"/>
              <a:gd name="connsiteX32959" fmla="*/ 2235881 w 10505529"/>
              <a:gd name="connsiteY32959" fmla="*/ 1988367 h 7458372"/>
              <a:gd name="connsiteX32960" fmla="*/ 2233618 w 10505529"/>
              <a:gd name="connsiteY32960" fmla="*/ 2000077 h 7458372"/>
              <a:gd name="connsiteX32961" fmla="*/ 2227495 w 10505529"/>
              <a:gd name="connsiteY32961" fmla="*/ 2009402 h 7458372"/>
              <a:gd name="connsiteX32962" fmla="*/ 2218177 w 10505529"/>
              <a:gd name="connsiteY32962" fmla="*/ 2015653 h 7458372"/>
              <a:gd name="connsiteX32963" fmla="*/ 2206462 w 10505529"/>
              <a:gd name="connsiteY32963" fmla="*/ 2017922 h 7458372"/>
              <a:gd name="connsiteX32964" fmla="*/ 2184630 w 10505529"/>
              <a:gd name="connsiteY32964" fmla="*/ 2009402 h 7458372"/>
              <a:gd name="connsiteX32965" fmla="*/ 2176243 w 10505529"/>
              <a:gd name="connsiteY32965" fmla="*/ 1988237 h 7458372"/>
              <a:gd name="connsiteX32966" fmla="*/ 2184630 w 10505529"/>
              <a:gd name="connsiteY32966" fmla="*/ 1967203 h 7458372"/>
              <a:gd name="connsiteX32967" fmla="*/ 2206462 w 10505529"/>
              <a:gd name="connsiteY32967" fmla="*/ 1958553 h 7458372"/>
              <a:gd name="connsiteX32968" fmla="*/ 1988944 w 10505529"/>
              <a:gd name="connsiteY32968" fmla="*/ 1958553 h 7458372"/>
              <a:gd name="connsiteX32969" fmla="*/ 2000659 w 10505529"/>
              <a:gd name="connsiteY32969" fmla="*/ 1961216 h 7458372"/>
              <a:gd name="connsiteX32970" fmla="*/ 2009977 w 10505529"/>
              <a:gd name="connsiteY32970" fmla="*/ 1967605 h 7458372"/>
              <a:gd name="connsiteX32971" fmla="*/ 2016100 w 10505529"/>
              <a:gd name="connsiteY32971" fmla="*/ 1976921 h 7458372"/>
              <a:gd name="connsiteX32972" fmla="*/ 2018363 w 10505529"/>
              <a:gd name="connsiteY32972" fmla="*/ 1988367 h 7458372"/>
              <a:gd name="connsiteX32973" fmla="*/ 2016100 w 10505529"/>
              <a:gd name="connsiteY32973" fmla="*/ 2000077 h 7458372"/>
              <a:gd name="connsiteX32974" fmla="*/ 2009977 w 10505529"/>
              <a:gd name="connsiteY32974" fmla="*/ 2009402 h 7458372"/>
              <a:gd name="connsiteX32975" fmla="*/ 2000659 w 10505529"/>
              <a:gd name="connsiteY32975" fmla="*/ 2015653 h 7458372"/>
              <a:gd name="connsiteX32976" fmla="*/ 1988944 w 10505529"/>
              <a:gd name="connsiteY32976" fmla="*/ 2017922 h 7458372"/>
              <a:gd name="connsiteX32977" fmla="*/ 1967112 w 10505529"/>
              <a:gd name="connsiteY32977" fmla="*/ 2009402 h 7458372"/>
              <a:gd name="connsiteX32978" fmla="*/ 1958726 w 10505529"/>
              <a:gd name="connsiteY32978" fmla="*/ 1988237 h 7458372"/>
              <a:gd name="connsiteX32979" fmla="*/ 1967112 w 10505529"/>
              <a:gd name="connsiteY32979" fmla="*/ 1967203 h 7458372"/>
              <a:gd name="connsiteX32980" fmla="*/ 1988944 w 10505529"/>
              <a:gd name="connsiteY32980" fmla="*/ 1958553 h 7458372"/>
              <a:gd name="connsiteX32981" fmla="*/ 1771303 w 10505529"/>
              <a:gd name="connsiteY32981" fmla="*/ 1958553 h 7458372"/>
              <a:gd name="connsiteX32982" fmla="*/ 1783018 w 10505529"/>
              <a:gd name="connsiteY32982" fmla="*/ 1961216 h 7458372"/>
              <a:gd name="connsiteX32983" fmla="*/ 1792335 w 10505529"/>
              <a:gd name="connsiteY32983" fmla="*/ 1967605 h 7458372"/>
              <a:gd name="connsiteX32984" fmla="*/ 1798459 w 10505529"/>
              <a:gd name="connsiteY32984" fmla="*/ 1976921 h 7458372"/>
              <a:gd name="connsiteX32985" fmla="*/ 1800721 w 10505529"/>
              <a:gd name="connsiteY32985" fmla="*/ 1988367 h 7458372"/>
              <a:gd name="connsiteX32986" fmla="*/ 1798459 w 10505529"/>
              <a:gd name="connsiteY32986" fmla="*/ 2000077 h 7458372"/>
              <a:gd name="connsiteX32987" fmla="*/ 1792335 w 10505529"/>
              <a:gd name="connsiteY32987" fmla="*/ 2009402 h 7458372"/>
              <a:gd name="connsiteX32988" fmla="*/ 1783018 w 10505529"/>
              <a:gd name="connsiteY32988" fmla="*/ 2015653 h 7458372"/>
              <a:gd name="connsiteX32989" fmla="*/ 1771303 w 10505529"/>
              <a:gd name="connsiteY32989" fmla="*/ 2017922 h 7458372"/>
              <a:gd name="connsiteX32990" fmla="*/ 1749472 w 10505529"/>
              <a:gd name="connsiteY32990" fmla="*/ 2009402 h 7458372"/>
              <a:gd name="connsiteX32991" fmla="*/ 1741087 w 10505529"/>
              <a:gd name="connsiteY32991" fmla="*/ 1988237 h 7458372"/>
              <a:gd name="connsiteX32992" fmla="*/ 1749472 w 10505529"/>
              <a:gd name="connsiteY32992" fmla="*/ 1967203 h 7458372"/>
              <a:gd name="connsiteX32993" fmla="*/ 1771303 w 10505529"/>
              <a:gd name="connsiteY32993" fmla="*/ 1958553 h 7458372"/>
              <a:gd name="connsiteX32994" fmla="*/ 1553661 w 10505529"/>
              <a:gd name="connsiteY32994" fmla="*/ 1958553 h 7458372"/>
              <a:gd name="connsiteX32995" fmla="*/ 1565375 w 10505529"/>
              <a:gd name="connsiteY32995" fmla="*/ 1961216 h 7458372"/>
              <a:gd name="connsiteX32996" fmla="*/ 1574694 w 10505529"/>
              <a:gd name="connsiteY32996" fmla="*/ 1967605 h 7458372"/>
              <a:gd name="connsiteX32997" fmla="*/ 1580816 w 10505529"/>
              <a:gd name="connsiteY32997" fmla="*/ 1976921 h 7458372"/>
              <a:gd name="connsiteX32998" fmla="*/ 1583079 w 10505529"/>
              <a:gd name="connsiteY32998" fmla="*/ 1988367 h 7458372"/>
              <a:gd name="connsiteX32999" fmla="*/ 1580816 w 10505529"/>
              <a:gd name="connsiteY32999" fmla="*/ 2000077 h 7458372"/>
              <a:gd name="connsiteX33000" fmla="*/ 1574694 w 10505529"/>
              <a:gd name="connsiteY33000" fmla="*/ 2009402 h 7458372"/>
              <a:gd name="connsiteX33001" fmla="*/ 1565375 w 10505529"/>
              <a:gd name="connsiteY33001" fmla="*/ 2015653 h 7458372"/>
              <a:gd name="connsiteX33002" fmla="*/ 1553661 w 10505529"/>
              <a:gd name="connsiteY33002" fmla="*/ 2017922 h 7458372"/>
              <a:gd name="connsiteX33003" fmla="*/ 1531829 w 10505529"/>
              <a:gd name="connsiteY33003" fmla="*/ 2009402 h 7458372"/>
              <a:gd name="connsiteX33004" fmla="*/ 1523443 w 10505529"/>
              <a:gd name="connsiteY33004" fmla="*/ 1988237 h 7458372"/>
              <a:gd name="connsiteX33005" fmla="*/ 1531829 w 10505529"/>
              <a:gd name="connsiteY33005" fmla="*/ 1967203 h 7458372"/>
              <a:gd name="connsiteX33006" fmla="*/ 1553661 w 10505529"/>
              <a:gd name="connsiteY33006" fmla="*/ 1958553 h 7458372"/>
              <a:gd name="connsiteX33007" fmla="*/ 1336016 w 10505529"/>
              <a:gd name="connsiteY33007" fmla="*/ 1958553 h 7458372"/>
              <a:gd name="connsiteX33008" fmla="*/ 1347731 w 10505529"/>
              <a:gd name="connsiteY33008" fmla="*/ 1961216 h 7458372"/>
              <a:gd name="connsiteX33009" fmla="*/ 1357050 w 10505529"/>
              <a:gd name="connsiteY33009" fmla="*/ 1967605 h 7458372"/>
              <a:gd name="connsiteX33010" fmla="*/ 1363172 w 10505529"/>
              <a:gd name="connsiteY33010" fmla="*/ 1976921 h 7458372"/>
              <a:gd name="connsiteX33011" fmla="*/ 1365435 w 10505529"/>
              <a:gd name="connsiteY33011" fmla="*/ 1988367 h 7458372"/>
              <a:gd name="connsiteX33012" fmla="*/ 1363172 w 10505529"/>
              <a:gd name="connsiteY33012" fmla="*/ 2000077 h 7458372"/>
              <a:gd name="connsiteX33013" fmla="*/ 1357050 w 10505529"/>
              <a:gd name="connsiteY33013" fmla="*/ 2009402 h 7458372"/>
              <a:gd name="connsiteX33014" fmla="*/ 1347731 w 10505529"/>
              <a:gd name="connsiteY33014" fmla="*/ 2015653 h 7458372"/>
              <a:gd name="connsiteX33015" fmla="*/ 1336016 w 10505529"/>
              <a:gd name="connsiteY33015" fmla="*/ 2017922 h 7458372"/>
              <a:gd name="connsiteX33016" fmla="*/ 1314184 w 10505529"/>
              <a:gd name="connsiteY33016" fmla="*/ 2009402 h 7458372"/>
              <a:gd name="connsiteX33017" fmla="*/ 1305798 w 10505529"/>
              <a:gd name="connsiteY33017" fmla="*/ 1988237 h 7458372"/>
              <a:gd name="connsiteX33018" fmla="*/ 1314184 w 10505529"/>
              <a:gd name="connsiteY33018" fmla="*/ 1967203 h 7458372"/>
              <a:gd name="connsiteX33019" fmla="*/ 1336016 w 10505529"/>
              <a:gd name="connsiteY33019" fmla="*/ 1958553 h 7458372"/>
              <a:gd name="connsiteX33020" fmla="*/ 1118371 w 10505529"/>
              <a:gd name="connsiteY33020" fmla="*/ 1958553 h 7458372"/>
              <a:gd name="connsiteX33021" fmla="*/ 1130087 w 10505529"/>
              <a:gd name="connsiteY33021" fmla="*/ 1961216 h 7458372"/>
              <a:gd name="connsiteX33022" fmla="*/ 1139404 w 10505529"/>
              <a:gd name="connsiteY33022" fmla="*/ 1967605 h 7458372"/>
              <a:gd name="connsiteX33023" fmla="*/ 1145526 w 10505529"/>
              <a:gd name="connsiteY33023" fmla="*/ 1976921 h 7458372"/>
              <a:gd name="connsiteX33024" fmla="*/ 1147789 w 10505529"/>
              <a:gd name="connsiteY33024" fmla="*/ 1988367 h 7458372"/>
              <a:gd name="connsiteX33025" fmla="*/ 1145526 w 10505529"/>
              <a:gd name="connsiteY33025" fmla="*/ 2000077 h 7458372"/>
              <a:gd name="connsiteX33026" fmla="*/ 1139404 w 10505529"/>
              <a:gd name="connsiteY33026" fmla="*/ 2009402 h 7458372"/>
              <a:gd name="connsiteX33027" fmla="*/ 1130087 w 10505529"/>
              <a:gd name="connsiteY33027" fmla="*/ 2015653 h 7458372"/>
              <a:gd name="connsiteX33028" fmla="*/ 1118371 w 10505529"/>
              <a:gd name="connsiteY33028" fmla="*/ 2017922 h 7458372"/>
              <a:gd name="connsiteX33029" fmla="*/ 1096538 w 10505529"/>
              <a:gd name="connsiteY33029" fmla="*/ 2009402 h 7458372"/>
              <a:gd name="connsiteX33030" fmla="*/ 1088153 w 10505529"/>
              <a:gd name="connsiteY33030" fmla="*/ 1988237 h 7458372"/>
              <a:gd name="connsiteX33031" fmla="*/ 1096538 w 10505529"/>
              <a:gd name="connsiteY33031" fmla="*/ 1967203 h 7458372"/>
              <a:gd name="connsiteX33032" fmla="*/ 1118371 w 10505529"/>
              <a:gd name="connsiteY33032" fmla="*/ 1958553 h 7458372"/>
              <a:gd name="connsiteX33033" fmla="*/ 900859 w 10505529"/>
              <a:gd name="connsiteY33033" fmla="*/ 1958553 h 7458372"/>
              <a:gd name="connsiteX33034" fmla="*/ 912574 w 10505529"/>
              <a:gd name="connsiteY33034" fmla="*/ 1961216 h 7458372"/>
              <a:gd name="connsiteX33035" fmla="*/ 921892 w 10505529"/>
              <a:gd name="connsiteY33035" fmla="*/ 1967605 h 7458372"/>
              <a:gd name="connsiteX33036" fmla="*/ 928015 w 10505529"/>
              <a:gd name="connsiteY33036" fmla="*/ 1976921 h 7458372"/>
              <a:gd name="connsiteX33037" fmla="*/ 930278 w 10505529"/>
              <a:gd name="connsiteY33037" fmla="*/ 1988367 h 7458372"/>
              <a:gd name="connsiteX33038" fmla="*/ 928015 w 10505529"/>
              <a:gd name="connsiteY33038" fmla="*/ 2000077 h 7458372"/>
              <a:gd name="connsiteX33039" fmla="*/ 921892 w 10505529"/>
              <a:gd name="connsiteY33039" fmla="*/ 2009402 h 7458372"/>
              <a:gd name="connsiteX33040" fmla="*/ 912574 w 10505529"/>
              <a:gd name="connsiteY33040" fmla="*/ 2015653 h 7458372"/>
              <a:gd name="connsiteX33041" fmla="*/ 900859 w 10505529"/>
              <a:gd name="connsiteY33041" fmla="*/ 2017922 h 7458372"/>
              <a:gd name="connsiteX33042" fmla="*/ 879028 w 10505529"/>
              <a:gd name="connsiteY33042" fmla="*/ 2009402 h 7458372"/>
              <a:gd name="connsiteX33043" fmla="*/ 870642 w 10505529"/>
              <a:gd name="connsiteY33043" fmla="*/ 1988237 h 7458372"/>
              <a:gd name="connsiteX33044" fmla="*/ 879028 w 10505529"/>
              <a:gd name="connsiteY33044" fmla="*/ 1967203 h 7458372"/>
              <a:gd name="connsiteX33045" fmla="*/ 900859 w 10505529"/>
              <a:gd name="connsiteY33045" fmla="*/ 1958553 h 7458372"/>
              <a:gd name="connsiteX33046" fmla="*/ 683215 w 10505529"/>
              <a:gd name="connsiteY33046" fmla="*/ 1958553 h 7458372"/>
              <a:gd name="connsiteX33047" fmla="*/ 694931 w 10505529"/>
              <a:gd name="connsiteY33047" fmla="*/ 1961216 h 7458372"/>
              <a:gd name="connsiteX33048" fmla="*/ 704248 w 10505529"/>
              <a:gd name="connsiteY33048" fmla="*/ 1967605 h 7458372"/>
              <a:gd name="connsiteX33049" fmla="*/ 710371 w 10505529"/>
              <a:gd name="connsiteY33049" fmla="*/ 1976921 h 7458372"/>
              <a:gd name="connsiteX33050" fmla="*/ 712635 w 10505529"/>
              <a:gd name="connsiteY33050" fmla="*/ 1988367 h 7458372"/>
              <a:gd name="connsiteX33051" fmla="*/ 710371 w 10505529"/>
              <a:gd name="connsiteY33051" fmla="*/ 2000077 h 7458372"/>
              <a:gd name="connsiteX33052" fmla="*/ 704248 w 10505529"/>
              <a:gd name="connsiteY33052" fmla="*/ 2009402 h 7458372"/>
              <a:gd name="connsiteX33053" fmla="*/ 694931 w 10505529"/>
              <a:gd name="connsiteY33053" fmla="*/ 2015653 h 7458372"/>
              <a:gd name="connsiteX33054" fmla="*/ 683215 w 10505529"/>
              <a:gd name="connsiteY33054" fmla="*/ 2017922 h 7458372"/>
              <a:gd name="connsiteX33055" fmla="*/ 661384 w 10505529"/>
              <a:gd name="connsiteY33055" fmla="*/ 2009402 h 7458372"/>
              <a:gd name="connsiteX33056" fmla="*/ 652998 w 10505529"/>
              <a:gd name="connsiteY33056" fmla="*/ 1988237 h 7458372"/>
              <a:gd name="connsiteX33057" fmla="*/ 661384 w 10505529"/>
              <a:gd name="connsiteY33057" fmla="*/ 1967203 h 7458372"/>
              <a:gd name="connsiteX33058" fmla="*/ 683215 w 10505529"/>
              <a:gd name="connsiteY33058" fmla="*/ 1958553 h 7458372"/>
              <a:gd name="connsiteX33059" fmla="*/ 465572 w 10505529"/>
              <a:gd name="connsiteY33059" fmla="*/ 1958553 h 7458372"/>
              <a:gd name="connsiteX33060" fmla="*/ 477287 w 10505529"/>
              <a:gd name="connsiteY33060" fmla="*/ 1961216 h 7458372"/>
              <a:gd name="connsiteX33061" fmla="*/ 486605 w 10505529"/>
              <a:gd name="connsiteY33061" fmla="*/ 1967605 h 7458372"/>
              <a:gd name="connsiteX33062" fmla="*/ 492728 w 10505529"/>
              <a:gd name="connsiteY33062" fmla="*/ 1976921 h 7458372"/>
              <a:gd name="connsiteX33063" fmla="*/ 494991 w 10505529"/>
              <a:gd name="connsiteY33063" fmla="*/ 1988367 h 7458372"/>
              <a:gd name="connsiteX33064" fmla="*/ 492728 w 10505529"/>
              <a:gd name="connsiteY33064" fmla="*/ 2000077 h 7458372"/>
              <a:gd name="connsiteX33065" fmla="*/ 486605 w 10505529"/>
              <a:gd name="connsiteY33065" fmla="*/ 2009402 h 7458372"/>
              <a:gd name="connsiteX33066" fmla="*/ 477287 w 10505529"/>
              <a:gd name="connsiteY33066" fmla="*/ 2015653 h 7458372"/>
              <a:gd name="connsiteX33067" fmla="*/ 465572 w 10505529"/>
              <a:gd name="connsiteY33067" fmla="*/ 2017922 h 7458372"/>
              <a:gd name="connsiteX33068" fmla="*/ 443741 w 10505529"/>
              <a:gd name="connsiteY33068" fmla="*/ 2009402 h 7458372"/>
              <a:gd name="connsiteX33069" fmla="*/ 435355 w 10505529"/>
              <a:gd name="connsiteY33069" fmla="*/ 1988237 h 7458372"/>
              <a:gd name="connsiteX33070" fmla="*/ 443741 w 10505529"/>
              <a:gd name="connsiteY33070" fmla="*/ 1967203 h 7458372"/>
              <a:gd name="connsiteX33071" fmla="*/ 465572 w 10505529"/>
              <a:gd name="connsiteY33071" fmla="*/ 1958553 h 7458372"/>
              <a:gd name="connsiteX33072" fmla="*/ 247928 w 10505529"/>
              <a:gd name="connsiteY33072" fmla="*/ 1958553 h 7458372"/>
              <a:gd name="connsiteX33073" fmla="*/ 259643 w 10505529"/>
              <a:gd name="connsiteY33073" fmla="*/ 1961216 h 7458372"/>
              <a:gd name="connsiteX33074" fmla="*/ 268962 w 10505529"/>
              <a:gd name="connsiteY33074" fmla="*/ 1967605 h 7458372"/>
              <a:gd name="connsiteX33075" fmla="*/ 275085 w 10505529"/>
              <a:gd name="connsiteY33075" fmla="*/ 1976921 h 7458372"/>
              <a:gd name="connsiteX33076" fmla="*/ 277348 w 10505529"/>
              <a:gd name="connsiteY33076" fmla="*/ 1988367 h 7458372"/>
              <a:gd name="connsiteX33077" fmla="*/ 275085 w 10505529"/>
              <a:gd name="connsiteY33077" fmla="*/ 2000077 h 7458372"/>
              <a:gd name="connsiteX33078" fmla="*/ 268962 w 10505529"/>
              <a:gd name="connsiteY33078" fmla="*/ 2009402 h 7458372"/>
              <a:gd name="connsiteX33079" fmla="*/ 259643 w 10505529"/>
              <a:gd name="connsiteY33079" fmla="*/ 2015653 h 7458372"/>
              <a:gd name="connsiteX33080" fmla="*/ 247928 w 10505529"/>
              <a:gd name="connsiteY33080" fmla="*/ 2017922 h 7458372"/>
              <a:gd name="connsiteX33081" fmla="*/ 226098 w 10505529"/>
              <a:gd name="connsiteY33081" fmla="*/ 2009402 h 7458372"/>
              <a:gd name="connsiteX33082" fmla="*/ 217712 w 10505529"/>
              <a:gd name="connsiteY33082" fmla="*/ 1988237 h 7458372"/>
              <a:gd name="connsiteX33083" fmla="*/ 226098 w 10505529"/>
              <a:gd name="connsiteY33083" fmla="*/ 1967203 h 7458372"/>
              <a:gd name="connsiteX33084" fmla="*/ 247928 w 10505529"/>
              <a:gd name="connsiteY33084" fmla="*/ 1958553 h 7458372"/>
              <a:gd name="connsiteX33085" fmla="*/ 30285 w 10505529"/>
              <a:gd name="connsiteY33085" fmla="*/ 1958553 h 7458372"/>
              <a:gd name="connsiteX33086" fmla="*/ 42000 w 10505529"/>
              <a:gd name="connsiteY33086" fmla="*/ 1961216 h 7458372"/>
              <a:gd name="connsiteX33087" fmla="*/ 51318 w 10505529"/>
              <a:gd name="connsiteY33087" fmla="*/ 1967605 h 7458372"/>
              <a:gd name="connsiteX33088" fmla="*/ 57441 w 10505529"/>
              <a:gd name="connsiteY33088" fmla="*/ 1976921 h 7458372"/>
              <a:gd name="connsiteX33089" fmla="*/ 59704 w 10505529"/>
              <a:gd name="connsiteY33089" fmla="*/ 1988367 h 7458372"/>
              <a:gd name="connsiteX33090" fmla="*/ 57441 w 10505529"/>
              <a:gd name="connsiteY33090" fmla="*/ 2000077 h 7458372"/>
              <a:gd name="connsiteX33091" fmla="*/ 51318 w 10505529"/>
              <a:gd name="connsiteY33091" fmla="*/ 2009402 h 7458372"/>
              <a:gd name="connsiteX33092" fmla="*/ 42000 w 10505529"/>
              <a:gd name="connsiteY33092" fmla="*/ 2015653 h 7458372"/>
              <a:gd name="connsiteX33093" fmla="*/ 30285 w 10505529"/>
              <a:gd name="connsiteY33093" fmla="*/ 2017922 h 7458372"/>
              <a:gd name="connsiteX33094" fmla="*/ 8455 w 10505529"/>
              <a:gd name="connsiteY33094" fmla="*/ 2009402 h 7458372"/>
              <a:gd name="connsiteX33095" fmla="*/ 69 w 10505529"/>
              <a:gd name="connsiteY33095" fmla="*/ 1988237 h 7458372"/>
              <a:gd name="connsiteX33096" fmla="*/ 8455 w 10505529"/>
              <a:gd name="connsiteY33096" fmla="*/ 1967203 h 7458372"/>
              <a:gd name="connsiteX33097" fmla="*/ 30285 w 10505529"/>
              <a:gd name="connsiteY33097" fmla="*/ 1958553 h 7458372"/>
              <a:gd name="connsiteX33098" fmla="*/ 10475977 w 10505529"/>
              <a:gd name="connsiteY33098" fmla="*/ 1958550 h 7458372"/>
              <a:gd name="connsiteX33099" fmla="*/ 10487824 w 10505529"/>
              <a:gd name="connsiteY33099" fmla="*/ 1961216 h 7458372"/>
              <a:gd name="connsiteX33100" fmla="*/ 10497143 w 10505529"/>
              <a:gd name="connsiteY33100" fmla="*/ 1967605 h 7458372"/>
              <a:gd name="connsiteX33101" fmla="*/ 10503266 w 10505529"/>
              <a:gd name="connsiteY33101" fmla="*/ 1976921 h 7458372"/>
              <a:gd name="connsiteX33102" fmla="*/ 10505529 w 10505529"/>
              <a:gd name="connsiteY33102" fmla="*/ 1988365 h 7458372"/>
              <a:gd name="connsiteX33103" fmla="*/ 10503266 w 10505529"/>
              <a:gd name="connsiteY33103" fmla="*/ 2000077 h 7458372"/>
              <a:gd name="connsiteX33104" fmla="*/ 10497143 w 10505529"/>
              <a:gd name="connsiteY33104" fmla="*/ 2009402 h 7458372"/>
              <a:gd name="connsiteX33105" fmla="*/ 10487824 w 10505529"/>
              <a:gd name="connsiteY33105" fmla="*/ 2015653 h 7458372"/>
              <a:gd name="connsiteX33106" fmla="*/ 10475977 w 10505529"/>
              <a:gd name="connsiteY33106" fmla="*/ 2017922 h 7458372"/>
              <a:gd name="connsiteX33107" fmla="*/ 10454145 w 10505529"/>
              <a:gd name="connsiteY33107" fmla="*/ 2009402 h 7458372"/>
              <a:gd name="connsiteX33108" fmla="*/ 10445759 w 10505529"/>
              <a:gd name="connsiteY33108" fmla="*/ 1988232 h 7458372"/>
              <a:gd name="connsiteX33109" fmla="*/ 10454145 w 10505529"/>
              <a:gd name="connsiteY33109" fmla="*/ 1967203 h 7458372"/>
              <a:gd name="connsiteX33110" fmla="*/ 10475977 w 10505529"/>
              <a:gd name="connsiteY33110" fmla="*/ 1958550 h 7458372"/>
              <a:gd name="connsiteX33111" fmla="*/ 10258466 w 10505529"/>
              <a:gd name="connsiteY33111" fmla="*/ 1958550 h 7458372"/>
              <a:gd name="connsiteX33112" fmla="*/ 10270313 w 10505529"/>
              <a:gd name="connsiteY33112" fmla="*/ 1961216 h 7458372"/>
              <a:gd name="connsiteX33113" fmla="*/ 10279631 w 10505529"/>
              <a:gd name="connsiteY33113" fmla="*/ 1967605 h 7458372"/>
              <a:gd name="connsiteX33114" fmla="*/ 10285754 w 10505529"/>
              <a:gd name="connsiteY33114" fmla="*/ 1976921 h 7458372"/>
              <a:gd name="connsiteX33115" fmla="*/ 10288017 w 10505529"/>
              <a:gd name="connsiteY33115" fmla="*/ 1988365 h 7458372"/>
              <a:gd name="connsiteX33116" fmla="*/ 10285754 w 10505529"/>
              <a:gd name="connsiteY33116" fmla="*/ 2000077 h 7458372"/>
              <a:gd name="connsiteX33117" fmla="*/ 10279631 w 10505529"/>
              <a:gd name="connsiteY33117" fmla="*/ 2009402 h 7458372"/>
              <a:gd name="connsiteX33118" fmla="*/ 10270313 w 10505529"/>
              <a:gd name="connsiteY33118" fmla="*/ 2015653 h 7458372"/>
              <a:gd name="connsiteX33119" fmla="*/ 10258466 w 10505529"/>
              <a:gd name="connsiteY33119" fmla="*/ 2017922 h 7458372"/>
              <a:gd name="connsiteX33120" fmla="*/ 10236633 w 10505529"/>
              <a:gd name="connsiteY33120" fmla="*/ 2009402 h 7458372"/>
              <a:gd name="connsiteX33121" fmla="*/ 10228247 w 10505529"/>
              <a:gd name="connsiteY33121" fmla="*/ 1988237 h 7458372"/>
              <a:gd name="connsiteX33122" fmla="*/ 10236633 w 10505529"/>
              <a:gd name="connsiteY33122" fmla="*/ 1967203 h 7458372"/>
              <a:gd name="connsiteX33123" fmla="*/ 10258466 w 10505529"/>
              <a:gd name="connsiteY33123" fmla="*/ 1958550 h 7458372"/>
              <a:gd name="connsiteX33124" fmla="*/ 10475977 w 10505529"/>
              <a:gd name="connsiteY33124" fmla="*/ 1757670 h 7458372"/>
              <a:gd name="connsiteX33125" fmla="*/ 10465992 w 10505529"/>
              <a:gd name="connsiteY33125" fmla="*/ 1761271 h 7458372"/>
              <a:gd name="connsiteX33126" fmla="*/ 10462399 w 10505529"/>
              <a:gd name="connsiteY33126" fmla="*/ 1770725 h 7458372"/>
              <a:gd name="connsiteX33127" fmla="*/ 10465992 w 10505529"/>
              <a:gd name="connsiteY33127" fmla="*/ 1780175 h 7458372"/>
              <a:gd name="connsiteX33128" fmla="*/ 10475977 w 10505529"/>
              <a:gd name="connsiteY33128" fmla="*/ 1783629 h 7458372"/>
              <a:gd name="connsiteX33129" fmla="*/ 10481302 w 10505529"/>
              <a:gd name="connsiteY33129" fmla="*/ 1782705 h 7458372"/>
              <a:gd name="connsiteX33130" fmla="*/ 10485029 w 10505529"/>
              <a:gd name="connsiteY33130" fmla="*/ 1780304 h 7458372"/>
              <a:gd name="connsiteX33131" fmla="*/ 10487691 w 10505529"/>
              <a:gd name="connsiteY33131" fmla="*/ 1776047 h 7458372"/>
              <a:gd name="connsiteX33132" fmla="*/ 10488623 w 10505529"/>
              <a:gd name="connsiteY33132" fmla="*/ 1770584 h 7458372"/>
              <a:gd name="connsiteX33133" fmla="*/ 10487691 w 10505529"/>
              <a:gd name="connsiteY33133" fmla="*/ 1765399 h 7458372"/>
              <a:gd name="connsiteX33134" fmla="*/ 10485029 w 10505529"/>
              <a:gd name="connsiteY33134" fmla="*/ 1761271 h 7458372"/>
              <a:gd name="connsiteX33135" fmla="*/ 10481035 w 10505529"/>
              <a:gd name="connsiteY33135" fmla="*/ 1758610 h 7458372"/>
              <a:gd name="connsiteX33136" fmla="*/ 10475977 w 10505529"/>
              <a:gd name="connsiteY33136" fmla="*/ 1757670 h 7458372"/>
              <a:gd name="connsiteX33137" fmla="*/ 10258466 w 10505529"/>
              <a:gd name="connsiteY33137" fmla="*/ 1757670 h 7458372"/>
              <a:gd name="connsiteX33138" fmla="*/ 10248481 w 10505529"/>
              <a:gd name="connsiteY33138" fmla="*/ 1761271 h 7458372"/>
              <a:gd name="connsiteX33139" fmla="*/ 10244887 w 10505529"/>
              <a:gd name="connsiteY33139" fmla="*/ 1770725 h 7458372"/>
              <a:gd name="connsiteX33140" fmla="*/ 10248481 w 10505529"/>
              <a:gd name="connsiteY33140" fmla="*/ 1780175 h 7458372"/>
              <a:gd name="connsiteX33141" fmla="*/ 10258466 w 10505529"/>
              <a:gd name="connsiteY33141" fmla="*/ 1783629 h 7458372"/>
              <a:gd name="connsiteX33142" fmla="*/ 10263790 w 10505529"/>
              <a:gd name="connsiteY33142" fmla="*/ 1782705 h 7458372"/>
              <a:gd name="connsiteX33143" fmla="*/ 10267517 w 10505529"/>
              <a:gd name="connsiteY33143" fmla="*/ 1780304 h 7458372"/>
              <a:gd name="connsiteX33144" fmla="*/ 10270180 w 10505529"/>
              <a:gd name="connsiteY33144" fmla="*/ 1776047 h 7458372"/>
              <a:gd name="connsiteX33145" fmla="*/ 10271112 w 10505529"/>
              <a:gd name="connsiteY33145" fmla="*/ 1770584 h 7458372"/>
              <a:gd name="connsiteX33146" fmla="*/ 10270180 w 10505529"/>
              <a:gd name="connsiteY33146" fmla="*/ 1765399 h 7458372"/>
              <a:gd name="connsiteX33147" fmla="*/ 10267517 w 10505529"/>
              <a:gd name="connsiteY33147" fmla="*/ 1761271 h 7458372"/>
              <a:gd name="connsiteX33148" fmla="*/ 10263524 w 10505529"/>
              <a:gd name="connsiteY33148" fmla="*/ 1758610 h 7458372"/>
              <a:gd name="connsiteX33149" fmla="*/ 10258466 w 10505529"/>
              <a:gd name="connsiteY33149" fmla="*/ 1757670 h 7458372"/>
              <a:gd name="connsiteX33150" fmla="*/ 10040820 w 10505529"/>
              <a:gd name="connsiteY33150" fmla="*/ 1757670 h 7458372"/>
              <a:gd name="connsiteX33151" fmla="*/ 10030835 w 10505529"/>
              <a:gd name="connsiteY33151" fmla="*/ 1761271 h 7458372"/>
              <a:gd name="connsiteX33152" fmla="*/ 10027242 w 10505529"/>
              <a:gd name="connsiteY33152" fmla="*/ 1770725 h 7458372"/>
              <a:gd name="connsiteX33153" fmla="*/ 10030835 w 10505529"/>
              <a:gd name="connsiteY33153" fmla="*/ 1780175 h 7458372"/>
              <a:gd name="connsiteX33154" fmla="*/ 10040820 w 10505529"/>
              <a:gd name="connsiteY33154" fmla="*/ 1783629 h 7458372"/>
              <a:gd name="connsiteX33155" fmla="*/ 10046145 w 10505529"/>
              <a:gd name="connsiteY33155" fmla="*/ 1782705 h 7458372"/>
              <a:gd name="connsiteX33156" fmla="*/ 10049872 w 10505529"/>
              <a:gd name="connsiteY33156" fmla="*/ 1780304 h 7458372"/>
              <a:gd name="connsiteX33157" fmla="*/ 10052534 w 10505529"/>
              <a:gd name="connsiteY33157" fmla="*/ 1776047 h 7458372"/>
              <a:gd name="connsiteX33158" fmla="*/ 10053599 w 10505529"/>
              <a:gd name="connsiteY33158" fmla="*/ 1770584 h 7458372"/>
              <a:gd name="connsiteX33159" fmla="*/ 10052534 w 10505529"/>
              <a:gd name="connsiteY33159" fmla="*/ 1765399 h 7458372"/>
              <a:gd name="connsiteX33160" fmla="*/ 10049872 w 10505529"/>
              <a:gd name="connsiteY33160" fmla="*/ 1761271 h 7458372"/>
              <a:gd name="connsiteX33161" fmla="*/ 10045878 w 10505529"/>
              <a:gd name="connsiteY33161" fmla="*/ 1758610 h 7458372"/>
              <a:gd name="connsiteX33162" fmla="*/ 10040820 w 10505529"/>
              <a:gd name="connsiteY33162" fmla="*/ 1757670 h 7458372"/>
              <a:gd name="connsiteX33163" fmla="*/ 9823176 w 10505529"/>
              <a:gd name="connsiteY33163" fmla="*/ 1757670 h 7458372"/>
              <a:gd name="connsiteX33164" fmla="*/ 9813191 w 10505529"/>
              <a:gd name="connsiteY33164" fmla="*/ 1761271 h 7458372"/>
              <a:gd name="connsiteX33165" fmla="*/ 9809597 w 10505529"/>
              <a:gd name="connsiteY33165" fmla="*/ 1770725 h 7458372"/>
              <a:gd name="connsiteX33166" fmla="*/ 9813191 w 10505529"/>
              <a:gd name="connsiteY33166" fmla="*/ 1780175 h 7458372"/>
              <a:gd name="connsiteX33167" fmla="*/ 9823176 w 10505529"/>
              <a:gd name="connsiteY33167" fmla="*/ 1783629 h 7458372"/>
              <a:gd name="connsiteX33168" fmla="*/ 9828501 w 10505529"/>
              <a:gd name="connsiteY33168" fmla="*/ 1782705 h 7458372"/>
              <a:gd name="connsiteX33169" fmla="*/ 9832227 w 10505529"/>
              <a:gd name="connsiteY33169" fmla="*/ 1780304 h 7458372"/>
              <a:gd name="connsiteX33170" fmla="*/ 9834890 w 10505529"/>
              <a:gd name="connsiteY33170" fmla="*/ 1776047 h 7458372"/>
              <a:gd name="connsiteX33171" fmla="*/ 9835955 w 10505529"/>
              <a:gd name="connsiteY33171" fmla="*/ 1770584 h 7458372"/>
              <a:gd name="connsiteX33172" fmla="*/ 9834890 w 10505529"/>
              <a:gd name="connsiteY33172" fmla="*/ 1765399 h 7458372"/>
              <a:gd name="connsiteX33173" fmla="*/ 9832227 w 10505529"/>
              <a:gd name="connsiteY33173" fmla="*/ 1761271 h 7458372"/>
              <a:gd name="connsiteX33174" fmla="*/ 9828234 w 10505529"/>
              <a:gd name="connsiteY33174" fmla="*/ 1758610 h 7458372"/>
              <a:gd name="connsiteX33175" fmla="*/ 9823176 w 10505529"/>
              <a:gd name="connsiteY33175" fmla="*/ 1757670 h 7458372"/>
              <a:gd name="connsiteX33176" fmla="*/ 9605531 w 10505529"/>
              <a:gd name="connsiteY33176" fmla="*/ 1757670 h 7458372"/>
              <a:gd name="connsiteX33177" fmla="*/ 9595546 w 10505529"/>
              <a:gd name="connsiteY33177" fmla="*/ 1761271 h 7458372"/>
              <a:gd name="connsiteX33178" fmla="*/ 9591952 w 10505529"/>
              <a:gd name="connsiteY33178" fmla="*/ 1770725 h 7458372"/>
              <a:gd name="connsiteX33179" fmla="*/ 9595546 w 10505529"/>
              <a:gd name="connsiteY33179" fmla="*/ 1780175 h 7458372"/>
              <a:gd name="connsiteX33180" fmla="*/ 9605531 w 10505529"/>
              <a:gd name="connsiteY33180" fmla="*/ 1783629 h 7458372"/>
              <a:gd name="connsiteX33181" fmla="*/ 9610855 w 10505529"/>
              <a:gd name="connsiteY33181" fmla="*/ 1782708 h 7458372"/>
              <a:gd name="connsiteX33182" fmla="*/ 9614582 w 10505529"/>
              <a:gd name="connsiteY33182" fmla="*/ 1780304 h 7458372"/>
              <a:gd name="connsiteX33183" fmla="*/ 9617245 w 10505529"/>
              <a:gd name="connsiteY33183" fmla="*/ 1776047 h 7458372"/>
              <a:gd name="connsiteX33184" fmla="*/ 9618309 w 10505529"/>
              <a:gd name="connsiteY33184" fmla="*/ 1770584 h 7458372"/>
              <a:gd name="connsiteX33185" fmla="*/ 9617245 w 10505529"/>
              <a:gd name="connsiteY33185" fmla="*/ 1765399 h 7458372"/>
              <a:gd name="connsiteX33186" fmla="*/ 9614582 w 10505529"/>
              <a:gd name="connsiteY33186" fmla="*/ 1761271 h 7458372"/>
              <a:gd name="connsiteX33187" fmla="*/ 9610589 w 10505529"/>
              <a:gd name="connsiteY33187" fmla="*/ 1758610 h 7458372"/>
              <a:gd name="connsiteX33188" fmla="*/ 9605531 w 10505529"/>
              <a:gd name="connsiteY33188" fmla="*/ 1757670 h 7458372"/>
              <a:gd name="connsiteX33189" fmla="*/ 9387885 w 10505529"/>
              <a:gd name="connsiteY33189" fmla="*/ 1757670 h 7458372"/>
              <a:gd name="connsiteX33190" fmla="*/ 9377900 w 10505529"/>
              <a:gd name="connsiteY33190" fmla="*/ 1761271 h 7458372"/>
              <a:gd name="connsiteX33191" fmla="*/ 9374307 w 10505529"/>
              <a:gd name="connsiteY33191" fmla="*/ 1770725 h 7458372"/>
              <a:gd name="connsiteX33192" fmla="*/ 9377900 w 10505529"/>
              <a:gd name="connsiteY33192" fmla="*/ 1780175 h 7458372"/>
              <a:gd name="connsiteX33193" fmla="*/ 9387885 w 10505529"/>
              <a:gd name="connsiteY33193" fmla="*/ 1783629 h 7458372"/>
              <a:gd name="connsiteX33194" fmla="*/ 9393210 w 10505529"/>
              <a:gd name="connsiteY33194" fmla="*/ 1782708 h 7458372"/>
              <a:gd name="connsiteX33195" fmla="*/ 9396937 w 10505529"/>
              <a:gd name="connsiteY33195" fmla="*/ 1780304 h 7458372"/>
              <a:gd name="connsiteX33196" fmla="*/ 9399599 w 10505529"/>
              <a:gd name="connsiteY33196" fmla="*/ 1776047 h 7458372"/>
              <a:gd name="connsiteX33197" fmla="*/ 9400664 w 10505529"/>
              <a:gd name="connsiteY33197" fmla="*/ 1770584 h 7458372"/>
              <a:gd name="connsiteX33198" fmla="*/ 9399599 w 10505529"/>
              <a:gd name="connsiteY33198" fmla="*/ 1765399 h 7458372"/>
              <a:gd name="connsiteX33199" fmla="*/ 9396937 w 10505529"/>
              <a:gd name="connsiteY33199" fmla="*/ 1761271 h 7458372"/>
              <a:gd name="connsiteX33200" fmla="*/ 9392943 w 10505529"/>
              <a:gd name="connsiteY33200" fmla="*/ 1758610 h 7458372"/>
              <a:gd name="connsiteX33201" fmla="*/ 9387885 w 10505529"/>
              <a:gd name="connsiteY33201" fmla="*/ 1757670 h 7458372"/>
              <a:gd name="connsiteX33202" fmla="*/ 9170374 w 10505529"/>
              <a:gd name="connsiteY33202" fmla="*/ 1757670 h 7458372"/>
              <a:gd name="connsiteX33203" fmla="*/ 9160389 w 10505529"/>
              <a:gd name="connsiteY33203" fmla="*/ 1761271 h 7458372"/>
              <a:gd name="connsiteX33204" fmla="*/ 9156795 w 10505529"/>
              <a:gd name="connsiteY33204" fmla="*/ 1770725 h 7458372"/>
              <a:gd name="connsiteX33205" fmla="*/ 9160389 w 10505529"/>
              <a:gd name="connsiteY33205" fmla="*/ 1780175 h 7458372"/>
              <a:gd name="connsiteX33206" fmla="*/ 9170374 w 10505529"/>
              <a:gd name="connsiteY33206" fmla="*/ 1783629 h 7458372"/>
              <a:gd name="connsiteX33207" fmla="*/ 9175698 w 10505529"/>
              <a:gd name="connsiteY33207" fmla="*/ 1782708 h 7458372"/>
              <a:gd name="connsiteX33208" fmla="*/ 9179425 w 10505529"/>
              <a:gd name="connsiteY33208" fmla="*/ 1780304 h 7458372"/>
              <a:gd name="connsiteX33209" fmla="*/ 9182088 w 10505529"/>
              <a:gd name="connsiteY33209" fmla="*/ 1776047 h 7458372"/>
              <a:gd name="connsiteX33210" fmla="*/ 9183152 w 10505529"/>
              <a:gd name="connsiteY33210" fmla="*/ 1770584 h 7458372"/>
              <a:gd name="connsiteX33211" fmla="*/ 9182088 w 10505529"/>
              <a:gd name="connsiteY33211" fmla="*/ 1765399 h 7458372"/>
              <a:gd name="connsiteX33212" fmla="*/ 9179425 w 10505529"/>
              <a:gd name="connsiteY33212" fmla="*/ 1761271 h 7458372"/>
              <a:gd name="connsiteX33213" fmla="*/ 9175432 w 10505529"/>
              <a:gd name="connsiteY33213" fmla="*/ 1758610 h 7458372"/>
              <a:gd name="connsiteX33214" fmla="*/ 9170374 w 10505529"/>
              <a:gd name="connsiteY33214" fmla="*/ 1757670 h 7458372"/>
              <a:gd name="connsiteX33215" fmla="*/ 8952728 w 10505529"/>
              <a:gd name="connsiteY33215" fmla="*/ 1757670 h 7458372"/>
              <a:gd name="connsiteX33216" fmla="*/ 8942743 w 10505529"/>
              <a:gd name="connsiteY33216" fmla="*/ 1761271 h 7458372"/>
              <a:gd name="connsiteX33217" fmla="*/ 8939150 w 10505529"/>
              <a:gd name="connsiteY33217" fmla="*/ 1770725 h 7458372"/>
              <a:gd name="connsiteX33218" fmla="*/ 8942743 w 10505529"/>
              <a:gd name="connsiteY33218" fmla="*/ 1780175 h 7458372"/>
              <a:gd name="connsiteX33219" fmla="*/ 8952728 w 10505529"/>
              <a:gd name="connsiteY33219" fmla="*/ 1783629 h 7458372"/>
              <a:gd name="connsiteX33220" fmla="*/ 8958053 w 10505529"/>
              <a:gd name="connsiteY33220" fmla="*/ 1782708 h 7458372"/>
              <a:gd name="connsiteX33221" fmla="*/ 8961780 w 10505529"/>
              <a:gd name="connsiteY33221" fmla="*/ 1780304 h 7458372"/>
              <a:gd name="connsiteX33222" fmla="*/ 8964442 w 10505529"/>
              <a:gd name="connsiteY33222" fmla="*/ 1776047 h 7458372"/>
              <a:gd name="connsiteX33223" fmla="*/ 8965507 w 10505529"/>
              <a:gd name="connsiteY33223" fmla="*/ 1770584 h 7458372"/>
              <a:gd name="connsiteX33224" fmla="*/ 8964442 w 10505529"/>
              <a:gd name="connsiteY33224" fmla="*/ 1765399 h 7458372"/>
              <a:gd name="connsiteX33225" fmla="*/ 8961780 w 10505529"/>
              <a:gd name="connsiteY33225" fmla="*/ 1761271 h 7458372"/>
              <a:gd name="connsiteX33226" fmla="*/ 8957786 w 10505529"/>
              <a:gd name="connsiteY33226" fmla="*/ 1758610 h 7458372"/>
              <a:gd name="connsiteX33227" fmla="*/ 8952728 w 10505529"/>
              <a:gd name="connsiteY33227" fmla="*/ 1757670 h 7458372"/>
              <a:gd name="connsiteX33228" fmla="*/ 8735083 w 10505529"/>
              <a:gd name="connsiteY33228" fmla="*/ 1757670 h 7458372"/>
              <a:gd name="connsiteX33229" fmla="*/ 8725098 w 10505529"/>
              <a:gd name="connsiteY33229" fmla="*/ 1761271 h 7458372"/>
              <a:gd name="connsiteX33230" fmla="*/ 8721504 w 10505529"/>
              <a:gd name="connsiteY33230" fmla="*/ 1770725 h 7458372"/>
              <a:gd name="connsiteX33231" fmla="*/ 8725098 w 10505529"/>
              <a:gd name="connsiteY33231" fmla="*/ 1780175 h 7458372"/>
              <a:gd name="connsiteX33232" fmla="*/ 8735083 w 10505529"/>
              <a:gd name="connsiteY33232" fmla="*/ 1783629 h 7458372"/>
              <a:gd name="connsiteX33233" fmla="*/ 8740407 w 10505529"/>
              <a:gd name="connsiteY33233" fmla="*/ 1782708 h 7458372"/>
              <a:gd name="connsiteX33234" fmla="*/ 8744134 w 10505529"/>
              <a:gd name="connsiteY33234" fmla="*/ 1780304 h 7458372"/>
              <a:gd name="connsiteX33235" fmla="*/ 8746797 w 10505529"/>
              <a:gd name="connsiteY33235" fmla="*/ 1776047 h 7458372"/>
              <a:gd name="connsiteX33236" fmla="*/ 8747862 w 10505529"/>
              <a:gd name="connsiteY33236" fmla="*/ 1770584 h 7458372"/>
              <a:gd name="connsiteX33237" fmla="*/ 8746797 w 10505529"/>
              <a:gd name="connsiteY33237" fmla="*/ 1765399 h 7458372"/>
              <a:gd name="connsiteX33238" fmla="*/ 8744134 w 10505529"/>
              <a:gd name="connsiteY33238" fmla="*/ 1761271 h 7458372"/>
              <a:gd name="connsiteX33239" fmla="*/ 8740141 w 10505529"/>
              <a:gd name="connsiteY33239" fmla="*/ 1758610 h 7458372"/>
              <a:gd name="connsiteX33240" fmla="*/ 8735083 w 10505529"/>
              <a:gd name="connsiteY33240" fmla="*/ 1757670 h 7458372"/>
              <a:gd name="connsiteX33241" fmla="*/ 8517438 w 10505529"/>
              <a:gd name="connsiteY33241" fmla="*/ 1757670 h 7458372"/>
              <a:gd name="connsiteX33242" fmla="*/ 8507453 w 10505529"/>
              <a:gd name="connsiteY33242" fmla="*/ 1761271 h 7458372"/>
              <a:gd name="connsiteX33243" fmla="*/ 8503860 w 10505529"/>
              <a:gd name="connsiteY33243" fmla="*/ 1770725 h 7458372"/>
              <a:gd name="connsiteX33244" fmla="*/ 8507453 w 10505529"/>
              <a:gd name="connsiteY33244" fmla="*/ 1780175 h 7458372"/>
              <a:gd name="connsiteX33245" fmla="*/ 8517438 w 10505529"/>
              <a:gd name="connsiteY33245" fmla="*/ 1783629 h 7458372"/>
              <a:gd name="connsiteX33246" fmla="*/ 8522763 w 10505529"/>
              <a:gd name="connsiteY33246" fmla="*/ 1782708 h 7458372"/>
              <a:gd name="connsiteX33247" fmla="*/ 8526490 w 10505529"/>
              <a:gd name="connsiteY33247" fmla="*/ 1780304 h 7458372"/>
              <a:gd name="connsiteX33248" fmla="*/ 8529152 w 10505529"/>
              <a:gd name="connsiteY33248" fmla="*/ 1776047 h 7458372"/>
              <a:gd name="connsiteX33249" fmla="*/ 8530084 w 10505529"/>
              <a:gd name="connsiteY33249" fmla="*/ 1770584 h 7458372"/>
              <a:gd name="connsiteX33250" fmla="*/ 8529152 w 10505529"/>
              <a:gd name="connsiteY33250" fmla="*/ 1765399 h 7458372"/>
              <a:gd name="connsiteX33251" fmla="*/ 8526490 w 10505529"/>
              <a:gd name="connsiteY33251" fmla="*/ 1761271 h 7458372"/>
              <a:gd name="connsiteX33252" fmla="*/ 8522496 w 10505529"/>
              <a:gd name="connsiteY33252" fmla="*/ 1758610 h 7458372"/>
              <a:gd name="connsiteX33253" fmla="*/ 8517438 w 10505529"/>
              <a:gd name="connsiteY33253" fmla="*/ 1757670 h 7458372"/>
              <a:gd name="connsiteX33254" fmla="*/ 8299793 w 10505529"/>
              <a:gd name="connsiteY33254" fmla="*/ 1757670 h 7458372"/>
              <a:gd name="connsiteX33255" fmla="*/ 8289809 w 10505529"/>
              <a:gd name="connsiteY33255" fmla="*/ 1761271 h 7458372"/>
              <a:gd name="connsiteX33256" fmla="*/ 8286215 w 10505529"/>
              <a:gd name="connsiteY33256" fmla="*/ 1770725 h 7458372"/>
              <a:gd name="connsiteX33257" fmla="*/ 8289809 w 10505529"/>
              <a:gd name="connsiteY33257" fmla="*/ 1780175 h 7458372"/>
              <a:gd name="connsiteX33258" fmla="*/ 8299793 w 10505529"/>
              <a:gd name="connsiteY33258" fmla="*/ 1783629 h 7458372"/>
              <a:gd name="connsiteX33259" fmla="*/ 8305118 w 10505529"/>
              <a:gd name="connsiteY33259" fmla="*/ 1782708 h 7458372"/>
              <a:gd name="connsiteX33260" fmla="*/ 8308844 w 10505529"/>
              <a:gd name="connsiteY33260" fmla="*/ 1780304 h 7458372"/>
              <a:gd name="connsiteX33261" fmla="*/ 8311507 w 10505529"/>
              <a:gd name="connsiteY33261" fmla="*/ 1776047 h 7458372"/>
              <a:gd name="connsiteX33262" fmla="*/ 8312439 w 10505529"/>
              <a:gd name="connsiteY33262" fmla="*/ 1770584 h 7458372"/>
              <a:gd name="connsiteX33263" fmla="*/ 8311507 w 10505529"/>
              <a:gd name="connsiteY33263" fmla="*/ 1765399 h 7458372"/>
              <a:gd name="connsiteX33264" fmla="*/ 8308844 w 10505529"/>
              <a:gd name="connsiteY33264" fmla="*/ 1761271 h 7458372"/>
              <a:gd name="connsiteX33265" fmla="*/ 8304851 w 10505529"/>
              <a:gd name="connsiteY33265" fmla="*/ 1758610 h 7458372"/>
              <a:gd name="connsiteX33266" fmla="*/ 8299793 w 10505529"/>
              <a:gd name="connsiteY33266" fmla="*/ 1757670 h 7458372"/>
              <a:gd name="connsiteX33267" fmla="*/ 8082281 w 10505529"/>
              <a:gd name="connsiteY33267" fmla="*/ 1757670 h 7458372"/>
              <a:gd name="connsiteX33268" fmla="*/ 8072297 w 10505529"/>
              <a:gd name="connsiteY33268" fmla="*/ 1761271 h 7458372"/>
              <a:gd name="connsiteX33269" fmla="*/ 8068703 w 10505529"/>
              <a:gd name="connsiteY33269" fmla="*/ 1770725 h 7458372"/>
              <a:gd name="connsiteX33270" fmla="*/ 8072297 w 10505529"/>
              <a:gd name="connsiteY33270" fmla="*/ 1780175 h 7458372"/>
              <a:gd name="connsiteX33271" fmla="*/ 8082281 w 10505529"/>
              <a:gd name="connsiteY33271" fmla="*/ 1783629 h 7458372"/>
              <a:gd name="connsiteX33272" fmla="*/ 8087605 w 10505529"/>
              <a:gd name="connsiteY33272" fmla="*/ 1782708 h 7458372"/>
              <a:gd name="connsiteX33273" fmla="*/ 8091332 w 10505529"/>
              <a:gd name="connsiteY33273" fmla="*/ 1780304 h 7458372"/>
              <a:gd name="connsiteX33274" fmla="*/ 8093994 w 10505529"/>
              <a:gd name="connsiteY33274" fmla="*/ 1776047 h 7458372"/>
              <a:gd name="connsiteX33275" fmla="*/ 8094926 w 10505529"/>
              <a:gd name="connsiteY33275" fmla="*/ 1770584 h 7458372"/>
              <a:gd name="connsiteX33276" fmla="*/ 8093994 w 10505529"/>
              <a:gd name="connsiteY33276" fmla="*/ 1765399 h 7458372"/>
              <a:gd name="connsiteX33277" fmla="*/ 8091332 w 10505529"/>
              <a:gd name="connsiteY33277" fmla="*/ 1761271 h 7458372"/>
              <a:gd name="connsiteX33278" fmla="*/ 8087338 w 10505529"/>
              <a:gd name="connsiteY33278" fmla="*/ 1758610 h 7458372"/>
              <a:gd name="connsiteX33279" fmla="*/ 8082281 w 10505529"/>
              <a:gd name="connsiteY33279" fmla="*/ 1757670 h 7458372"/>
              <a:gd name="connsiteX33280" fmla="*/ 7864636 w 10505529"/>
              <a:gd name="connsiteY33280" fmla="*/ 1757670 h 7458372"/>
              <a:gd name="connsiteX33281" fmla="*/ 7854652 w 10505529"/>
              <a:gd name="connsiteY33281" fmla="*/ 1761271 h 7458372"/>
              <a:gd name="connsiteX33282" fmla="*/ 7851058 w 10505529"/>
              <a:gd name="connsiteY33282" fmla="*/ 1770725 h 7458372"/>
              <a:gd name="connsiteX33283" fmla="*/ 7854652 w 10505529"/>
              <a:gd name="connsiteY33283" fmla="*/ 1780175 h 7458372"/>
              <a:gd name="connsiteX33284" fmla="*/ 7864636 w 10505529"/>
              <a:gd name="connsiteY33284" fmla="*/ 1783629 h 7458372"/>
              <a:gd name="connsiteX33285" fmla="*/ 7869961 w 10505529"/>
              <a:gd name="connsiteY33285" fmla="*/ 1782708 h 7458372"/>
              <a:gd name="connsiteX33286" fmla="*/ 7873687 w 10505529"/>
              <a:gd name="connsiteY33286" fmla="*/ 1780304 h 7458372"/>
              <a:gd name="connsiteX33287" fmla="*/ 7876350 w 10505529"/>
              <a:gd name="connsiteY33287" fmla="*/ 1776047 h 7458372"/>
              <a:gd name="connsiteX33288" fmla="*/ 7877282 w 10505529"/>
              <a:gd name="connsiteY33288" fmla="*/ 1770584 h 7458372"/>
              <a:gd name="connsiteX33289" fmla="*/ 7876350 w 10505529"/>
              <a:gd name="connsiteY33289" fmla="*/ 1765399 h 7458372"/>
              <a:gd name="connsiteX33290" fmla="*/ 7873687 w 10505529"/>
              <a:gd name="connsiteY33290" fmla="*/ 1761271 h 7458372"/>
              <a:gd name="connsiteX33291" fmla="*/ 7869694 w 10505529"/>
              <a:gd name="connsiteY33291" fmla="*/ 1758610 h 7458372"/>
              <a:gd name="connsiteX33292" fmla="*/ 7864636 w 10505529"/>
              <a:gd name="connsiteY33292" fmla="*/ 1757670 h 7458372"/>
              <a:gd name="connsiteX33293" fmla="*/ 7646991 w 10505529"/>
              <a:gd name="connsiteY33293" fmla="*/ 1757670 h 7458372"/>
              <a:gd name="connsiteX33294" fmla="*/ 7637007 w 10505529"/>
              <a:gd name="connsiteY33294" fmla="*/ 1761271 h 7458372"/>
              <a:gd name="connsiteX33295" fmla="*/ 7633413 w 10505529"/>
              <a:gd name="connsiteY33295" fmla="*/ 1770725 h 7458372"/>
              <a:gd name="connsiteX33296" fmla="*/ 7637007 w 10505529"/>
              <a:gd name="connsiteY33296" fmla="*/ 1780175 h 7458372"/>
              <a:gd name="connsiteX33297" fmla="*/ 7646991 w 10505529"/>
              <a:gd name="connsiteY33297" fmla="*/ 1783629 h 7458372"/>
              <a:gd name="connsiteX33298" fmla="*/ 7652315 w 10505529"/>
              <a:gd name="connsiteY33298" fmla="*/ 1782708 h 7458372"/>
              <a:gd name="connsiteX33299" fmla="*/ 7656042 w 10505529"/>
              <a:gd name="connsiteY33299" fmla="*/ 1780304 h 7458372"/>
              <a:gd name="connsiteX33300" fmla="*/ 7658705 w 10505529"/>
              <a:gd name="connsiteY33300" fmla="*/ 1776047 h 7458372"/>
              <a:gd name="connsiteX33301" fmla="*/ 7659769 w 10505529"/>
              <a:gd name="connsiteY33301" fmla="*/ 1770584 h 7458372"/>
              <a:gd name="connsiteX33302" fmla="*/ 7658705 w 10505529"/>
              <a:gd name="connsiteY33302" fmla="*/ 1765399 h 7458372"/>
              <a:gd name="connsiteX33303" fmla="*/ 7656042 w 10505529"/>
              <a:gd name="connsiteY33303" fmla="*/ 1761271 h 7458372"/>
              <a:gd name="connsiteX33304" fmla="*/ 7652049 w 10505529"/>
              <a:gd name="connsiteY33304" fmla="*/ 1758610 h 7458372"/>
              <a:gd name="connsiteX33305" fmla="*/ 7646991 w 10505529"/>
              <a:gd name="connsiteY33305" fmla="*/ 1757670 h 7458372"/>
              <a:gd name="connsiteX33306" fmla="*/ 7429345 w 10505529"/>
              <a:gd name="connsiteY33306" fmla="*/ 1757670 h 7458372"/>
              <a:gd name="connsiteX33307" fmla="*/ 7419361 w 10505529"/>
              <a:gd name="connsiteY33307" fmla="*/ 1761271 h 7458372"/>
              <a:gd name="connsiteX33308" fmla="*/ 7415768 w 10505529"/>
              <a:gd name="connsiteY33308" fmla="*/ 1770725 h 7458372"/>
              <a:gd name="connsiteX33309" fmla="*/ 7419361 w 10505529"/>
              <a:gd name="connsiteY33309" fmla="*/ 1780175 h 7458372"/>
              <a:gd name="connsiteX33310" fmla="*/ 7429345 w 10505529"/>
              <a:gd name="connsiteY33310" fmla="*/ 1783629 h 7458372"/>
              <a:gd name="connsiteX33311" fmla="*/ 7434670 w 10505529"/>
              <a:gd name="connsiteY33311" fmla="*/ 1782708 h 7458372"/>
              <a:gd name="connsiteX33312" fmla="*/ 7438397 w 10505529"/>
              <a:gd name="connsiteY33312" fmla="*/ 1780304 h 7458372"/>
              <a:gd name="connsiteX33313" fmla="*/ 7441059 w 10505529"/>
              <a:gd name="connsiteY33313" fmla="*/ 1776047 h 7458372"/>
              <a:gd name="connsiteX33314" fmla="*/ 7442124 w 10505529"/>
              <a:gd name="connsiteY33314" fmla="*/ 1770584 h 7458372"/>
              <a:gd name="connsiteX33315" fmla="*/ 7441059 w 10505529"/>
              <a:gd name="connsiteY33315" fmla="*/ 1765399 h 7458372"/>
              <a:gd name="connsiteX33316" fmla="*/ 7438397 w 10505529"/>
              <a:gd name="connsiteY33316" fmla="*/ 1761271 h 7458372"/>
              <a:gd name="connsiteX33317" fmla="*/ 7434403 w 10505529"/>
              <a:gd name="connsiteY33317" fmla="*/ 1758610 h 7458372"/>
              <a:gd name="connsiteX33318" fmla="*/ 7429345 w 10505529"/>
              <a:gd name="connsiteY33318" fmla="*/ 1757670 h 7458372"/>
              <a:gd name="connsiteX33319" fmla="*/ 7211701 w 10505529"/>
              <a:gd name="connsiteY33319" fmla="*/ 1757670 h 7458372"/>
              <a:gd name="connsiteX33320" fmla="*/ 7201717 w 10505529"/>
              <a:gd name="connsiteY33320" fmla="*/ 1761271 h 7458372"/>
              <a:gd name="connsiteX33321" fmla="*/ 7198123 w 10505529"/>
              <a:gd name="connsiteY33321" fmla="*/ 1770725 h 7458372"/>
              <a:gd name="connsiteX33322" fmla="*/ 7201717 w 10505529"/>
              <a:gd name="connsiteY33322" fmla="*/ 1780175 h 7458372"/>
              <a:gd name="connsiteX33323" fmla="*/ 7211701 w 10505529"/>
              <a:gd name="connsiteY33323" fmla="*/ 1783629 h 7458372"/>
              <a:gd name="connsiteX33324" fmla="*/ 7217026 w 10505529"/>
              <a:gd name="connsiteY33324" fmla="*/ 1782708 h 7458372"/>
              <a:gd name="connsiteX33325" fmla="*/ 7220752 w 10505529"/>
              <a:gd name="connsiteY33325" fmla="*/ 1780304 h 7458372"/>
              <a:gd name="connsiteX33326" fmla="*/ 7223415 w 10505529"/>
              <a:gd name="connsiteY33326" fmla="*/ 1776047 h 7458372"/>
              <a:gd name="connsiteX33327" fmla="*/ 7224480 w 10505529"/>
              <a:gd name="connsiteY33327" fmla="*/ 1770584 h 7458372"/>
              <a:gd name="connsiteX33328" fmla="*/ 7223415 w 10505529"/>
              <a:gd name="connsiteY33328" fmla="*/ 1765399 h 7458372"/>
              <a:gd name="connsiteX33329" fmla="*/ 7220752 w 10505529"/>
              <a:gd name="connsiteY33329" fmla="*/ 1761271 h 7458372"/>
              <a:gd name="connsiteX33330" fmla="*/ 7216759 w 10505529"/>
              <a:gd name="connsiteY33330" fmla="*/ 1758610 h 7458372"/>
              <a:gd name="connsiteX33331" fmla="*/ 7211701 w 10505529"/>
              <a:gd name="connsiteY33331" fmla="*/ 1757670 h 7458372"/>
              <a:gd name="connsiteX33332" fmla="*/ 6994056 w 10505529"/>
              <a:gd name="connsiteY33332" fmla="*/ 1757670 h 7458372"/>
              <a:gd name="connsiteX33333" fmla="*/ 6984072 w 10505529"/>
              <a:gd name="connsiteY33333" fmla="*/ 1761271 h 7458372"/>
              <a:gd name="connsiteX33334" fmla="*/ 6980478 w 10505529"/>
              <a:gd name="connsiteY33334" fmla="*/ 1770725 h 7458372"/>
              <a:gd name="connsiteX33335" fmla="*/ 6984072 w 10505529"/>
              <a:gd name="connsiteY33335" fmla="*/ 1780175 h 7458372"/>
              <a:gd name="connsiteX33336" fmla="*/ 6994056 w 10505529"/>
              <a:gd name="connsiteY33336" fmla="*/ 1783629 h 7458372"/>
              <a:gd name="connsiteX33337" fmla="*/ 6999380 w 10505529"/>
              <a:gd name="connsiteY33337" fmla="*/ 1782708 h 7458372"/>
              <a:gd name="connsiteX33338" fmla="*/ 7003107 w 10505529"/>
              <a:gd name="connsiteY33338" fmla="*/ 1780304 h 7458372"/>
              <a:gd name="connsiteX33339" fmla="*/ 7005769 w 10505529"/>
              <a:gd name="connsiteY33339" fmla="*/ 1776047 h 7458372"/>
              <a:gd name="connsiteX33340" fmla="*/ 7006834 w 10505529"/>
              <a:gd name="connsiteY33340" fmla="*/ 1770584 h 7458372"/>
              <a:gd name="connsiteX33341" fmla="*/ 7005769 w 10505529"/>
              <a:gd name="connsiteY33341" fmla="*/ 1765399 h 7458372"/>
              <a:gd name="connsiteX33342" fmla="*/ 7003107 w 10505529"/>
              <a:gd name="connsiteY33342" fmla="*/ 1761271 h 7458372"/>
              <a:gd name="connsiteX33343" fmla="*/ 6999113 w 10505529"/>
              <a:gd name="connsiteY33343" fmla="*/ 1758610 h 7458372"/>
              <a:gd name="connsiteX33344" fmla="*/ 6994056 w 10505529"/>
              <a:gd name="connsiteY33344" fmla="*/ 1757670 h 7458372"/>
              <a:gd name="connsiteX33345" fmla="*/ 6776544 w 10505529"/>
              <a:gd name="connsiteY33345" fmla="*/ 1757670 h 7458372"/>
              <a:gd name="connsiteX33346" fmla="*/ 6766560 w 10505529"/>
              <a:gd name="connsiteY33346" fmla="*/ 1761271 h 7458372"/>
              <a:gd name="connsiteX33347" fmla="*/ 6762966 w 10505529"/>
              <a:gd name="connsiteY33347" fmla="*/ 1770725 h 7458372"/>
              <a:gd name="connsiteX33348" fmla="*/ 6766560 w 10505529"/>
              <a:gd name="connsiteY33348" fmla="*/ 1780175 h 7458372"/>
              <a:gd name="connsiteX33349" fmla="*/ 6776544 w 10505529"/>
              <a:gd name="connsiteY33349" fmla="*/ 1783629 h 7458372"/>
              <a:gd name="connsiteX33350" fmla="*/ 6781869 w 10505529"/>
              <a:gd name="connsiteY33350" fmla="*/ 1782708 h 7458372"/>
              <a:gd name="connsiteX33351" fmla="*/ 6785595 w 10505529"/>
              <a:gd name="connsiteY33351" fmla="*/ 1780304 h 7458372"/>
              <a:gd name="connsiteX33352" fmla="*/ 6788258 w 10505529"/>
              <a:gd name="connsiteY33352" fmla="*/ 1776047 h 7458372"/>
              <a:gd name="connsiteX33353" fmla="*/ 6789323 w 10505529"/>
              <a:gd name="connsiteY33353" fmla="*/ 1770584 h 7458372"/>
              <a:gd name="connsiteX33354" fmla="*/ 6788258 w 10505529"/>
              <a:gd name="connsiteY33354" fmla="*/ 1765399 h 7458372"/>
              <a:gd name="connsiteX33355" fmla="*/ 6785595 w 10505529"/>
              <a:gd name="connsiteY33355" fmla="*/ 1761271 h 7458372"/>
              <a:gd name="connsiteX33356" fmla="*/ 6781602 w 10505529"/>
              <a:gd name="connsiteY33356" fmla="*/ 1758610 h 7458372"/>
              <a:gd name="connsiteX33357" fmla="*/ 6776544 w 10505529"/>
              <a:gd name="connsiteY33357" fmla="*/ 1757670 h 7458372"/>
              <a:gd name="connsiteX33358" fmla="*/ 6558899 w 10505529"/>
              <a:gd name="connsiteY33358" fmla="*/ 1757670 h 7458372"/>
              <a:gd name="connsiteX33359" fmla="*/ 6548915 w 10505529"/>
              <a:gd name="connsiteY33359" fmla="*/ 1761271 h 7458372"/>
              <a:gd name="connsiteX33360" fmla="*/ 6545321 w 10505529"/>
              <a:gd name="connsiteY33360" fmla="*/ 1770725 h 7458372"/>
              <a:gd name="connsiteX33361" fmla="*/ 6548915 w 10505529"/>
              <a:gd name="connsiteY33361" fmla="*/ 1780175 h 7458372"/>
              <a:gd name="connsiteX33362" fmla="*/ 6558899 w 10505529"/>
              <a:gd name="connsiteY33362" fmla="*/ 1783629 h 7458372"/>
              <a:gd name="connsiteX33363" fmla="*/ 6564223 w 10505529"/>
              <a:gd name="connsiteY33363" fmla="*/ 1782708 h 7458372"/>
              <a:gd name="connsiteX33364" fmla="*/ 6567950 w 10505529"/>
              <a:gd name="connsiteY33364" fmla="*/ 1780304 h 7458372"/>
              <a:gd name="connsiteX33365" fmla="*/ 6570612 w 10505529"/>
              <a:gd name="connsiteY33365" fmla="*/ 1776047 h 7458372"/>
              <a:gd name="connsiteX33366" fmla="*/ 6571677 w 10505529"/>
              <a:gd name="connsiteY33366" fmla="*/ 1770584 h 7458372"/>
              <a:gd name="connsiteX33367" fmla="*/ 6570612 w 10505529"/>
              <a:gd name="connsiteY33367" fmla="*/ 1765399 h 7458372"/>
              <a:gd name="connsiteX33368" fmla="*/ 6567950 w 10505529"/>
              <a:gd name="connsiteY33368" fmla="*/ 1761271 h 7458372"/>
              <a:gd name="connsiteX33369" fmla="*/ 6563956 w 10505529"/>
              <a:gd name="connsiteY33369" fmla="*/ 1758610 h 7458372"/>
              <a:gd name="connsiteX33370" fmla="*/ 6558899 w 10505529"/>
              <a:gd name="connsiteY33370" fmla="*/ 1757670 h 7458372"/>
              <a:gd name="connsiteX33371" fmla="*/ 6341253 w 10505529"/>
              <a:gd name="connsiteY33371" fmla="*/ 1757670 h 7458372"/>
              <a:gd name="connsiteX33372" fmla="*/ 6331270 w 10505529"/>
              <a:gd name="connsiteY33372" fmla="*/ 1761271 h 7458372"/>
              <a:gd name="connsiteX33373" fmla="*/ 6327675 w 10505529"/>
              <a:gd name="connsiteY33373" fmla="*/ 1770725 h 7458372"/>
              <a:gd name="connsiteX33374" fmla="*/ 6331270 w 10505529"/>
              <a:gd name="connsiteY33374" fmla="*/ 1780175 h 7458372"/>
              <a:gd name="connsiteX33375" fmla="*/ 6341253 w 10505529"/>
              <a:gd name="connsiteY33375" fmla="*/ 1783629 h 7458372"/>
              <a:gd name="connsiteX33376" fmla="*/ 6346578 w 10505529"/>
              <a:gd name="connsiteY33376" fmla="*/ 1782708 h 7458372"/>
              <a:gd name="connsiteX33377" fmla="*/ 6350305 w 10505529"/>
              <a:gd name="connsiteY33377" fmla="*/ 1780304 h 7458372"/>
              <a:gd name="connsiteX33378" fmla="*/ 6352968 w 10505529"/>
              <a:gd name="connsiteY33378" fmla="*/ 1776047 h 7458372"/>
              <a:gd name="connsiteX33379" fmla="*/ 6354033 w 10505529"/>
              <a:gd name="connsiteY33379" fmla="*/ 1770584 h 7458372"/>
              <a:gd name="connsiteX33380" fmla="*/ 6352968 w 10505529"/>
              <a:gd name="connsiteY33380" fmla="*/ 1765399 h 7458372"/>
              <a:gd name="connsiteX33381" fmla="*/ 6350305 w 10505529"/>
              <a:gd name="connsiteY33381" fmla="*/ 1761271 h 7458372"/>
              <a:gd name="connsiteX33382" fmla="*/ 6346312 w 10505529"/>
              <a:gd name="connsiteY33382" fmla="*/ 1758610 h 7458372"/>
              <a:gd name="connsiteX33383" fmla="*/ 6341253 w 10505529"/>
              <a:gd name="connsiteY33383" fmla="*/ 1757670 h 7458372"/>
              <a:gd name="connsiteX33384" fmla="*/ 6123608 w 10505529"/>
              <a:gd name="connsiteY33384" fmla="*/ 1757670 h 7458372"/>
              <a:gd name="connsiteX33385" fmla="*/ 6113624 w 10505529"/>
              <a:gd name="connsiteY33385" fmla="*/ 1761271 h 7458372"/>
              <a:gd name="connsiteX33386" fmla="*/ 6110030 w 10505529"/>
              <a:gd name="connsiteY33386" fmla="*/ 1770725 h 7458372"/>
              <a:gd name="connsiteX33387" fmla="*/ 6113624 w 10505529"/>
              <a:gd name="connsiteY33387" fmla="*/ 1780175 h 7458372"/>
              <a:gd name="connsiteX33388" fmla="*/ 6123608 w 10505529"/>
              <a:gd name="connsiteY33388" fmla="*/ 1783629 h 7458372"/>
              <a:gd name="connsiteX33389" fmla="*/ 6128932 w 10505529"/>
              <a:gd name="connsiteY33389" fmla="*/ 1782708 h 7458372"/>
              <a:gd name="connsiteX33390" fmla="*/ 6132659 w 10505529"/>
              <a:gd name="connsiteY33390" fmla="*/ 1780304 h 7458372"/>
              <a:gd name="connsiteX33391" fmla="*/ 6135322 w 10505529"/>
              <a:gd name="connsiteY33391" fmla="*/ 1776047 h 7458372"/>
              <a:gd name="connsiteX33392" fmla="*/ 6136387 w 10505529"/>
              <a:gd name="connsiteY33392" fmla="*/ 1770584 h 7458372"/>
              <a:gd name="connsiteX33393" fmla="*/ 6135322 w 10505529"/>
              <a:gd name="connsiteY33393" fmla="*/ 1765399 h 7458372"/>
              <a:gd name="connsiteX33394" fmla="*/ 6132659 w 10505529"/>
              <a:gd name="connsiteY33394" fmla="*/ 1761271 h 7458372"/>
              <a:gd name="connsiteX33395" fmla="*/ 6128666 w 10505529"/>
              <a:gd name="connsiteY33395" fmla="*/ 1758610 h 7458372"/>
              <a:gd name="connsiteX33396" fmla="*/ 6123608 w 10505529"/>
              <a:gd name="connsiteY33396" fmla="*/ 1757670 h 7458372"/>
              <a:gd name="connsiteX33397" fmla="*/ 5905963 w 10505529"/>
              <a:gd name="connsiteY33397" fmla="*/ 1757670 h 7458372"/>
              <a:gd name="connsiteX33398" fmla="*/ 5895979 w 10505529"/>
              <a:gd name="connsiteY33398" fmla="*/ 1761271 h 7458372"/>
              <a:gd name="connsiteX33399" fmla="*/ 5892385 w 10505529"/>
              <a:gd name="connsiteY33399" fmla="*/ 1770725 h 7458372"/>
              <a:gd name="connsiteX33400" fmla="*/ 5895979 w 10505529"/>
              <a:gd name="connsiteY33400" fmla="*/ 1780175 h 7458372"/>
              <a:gd name="connsiteX33401" fmla="*/ 5905963 w 10505529"/>
              <a:gd name="connsiteY33401" fmla="*/ 1783629 h 7458372"/>
              <a:gd name="connsiteX33402" fmla="*/ 5911287 w 10505529"/>
              <a:gd name="connsiteY33402" fmla="*/ 1782708 h 7458372"/>
              <a:gd name="connsiteX33403" fmla="*/ 5915014 w 10505529"/>
              <a:gd name="connsiteY33403" fmla="*/ 1780304 h 7458372"/>
              <a:gd name="connsiteX33404" fmla="*/ 5917677 w 10505529"/>
              <a:gd name="connsiteY33404" fmla="*/ 1776047 h 7458372"/>
              <a:gd name="connsiteX33405" fmla="*/ 5918742 w 10505529"/>
              <a:gd name="connsiteY33405" fmla="*/ 1770584 h 7458372"/>
              <a:gd name="connsiteX33406" fmla="*/ 5917677 w 10505529"/>
              <a:gd name="connsiteY33406" fmla="*/ 1765399 h 7458372"/>
              <a:gd name="connsiteX33407" fmla="*/ 5915014 w 10505529"/>
              <a:gd name="connsiteY33407" fmla="*/ 1761271 h 7458372"/>
              <a:gd name="connsiteX33408" fmla="*/ 5911021 w 10505529"/>
              <a:gd name="connsiteY33408" fmla="*/ 1758610 h 7458372"/>
              <a:gd name="connsiteX33409" fmla="*/ 5905963 w 10505529"/>
              <a:gd name="connsiteY33409" fmla="*/ 1757670 h 7458372"/>
              <a:gd name="connsiteX33410" fmla="*/ 5688451 w 10505529"/>
              <a:gd name="connsiteY33410" fmla="*/ 1757670 h 7458372"/>
              <a:gd name="connsiteX33411" fmla="*/ 5678467 w 10505529"/>
              <a:gd name="connsiteY33411" fmla="*/ 1761271 h 7458372"/>
              <a:gd name="connsiteX33412" fmla="*/ 5674873 w 10505529"/>
              <a:gd name="connsiteY33412" fmla="*/ 1770725 h 7458372"/>
              <a:gd name="connsiteX33413" fmla="*/ 5678467 w 10505529"/>
              <a:gd name="connsiteY33413" fmla="*/ 1780175 h 7458372"/>
              <a:gd name="connsiteX33414" fmla="*/ 5688451 w 10505529"/>
              <a:gd name="connsiteY33414" fmla="*/ 1783629 h 7458372"/>
              <a:gd name="connsiteX33415" fmla="*/ 5693775 w 10505529"/>
              <a:gd name="connsiteY33415" fmla="*/ 1782708 h 7458372"/>
              <a:gd name="connsiteX33416" fmla="*/ 5697502 w 10505529"/>
              <a:gd name="connsiteY33416" fmla="*/ 1780304 h 7458372"/>
              <a:gd name="connsiteX33417" fmla="*/ 5700165 w 10505529"/>
              <a:gd name="connsiteY33417" fmla="*/ 1776047 h 7458372"/>
              <a:gd name="connsiteX33418" fmla="*/ 5701230 w 10505529"/>
              <a:gd name="connsiteY33418" fmla="*/ 1770584 h 7458372"/>
              <a:gd name="connsiteX33419" fmla="*/ 5700165 w 10505529"/>
              <a:gd name="connsiteY33419" fmla="*/ 1765399 h 7458372"/>
              <a:gd name="connsiteX33420" fmla="*/ 5697502 w 10505529"/>
              <a:gd name="connsiteY33420" fmla="*/ 1761271 h 7458372"/>
              <a:gd name="connsiteX33421" fmla="*/ 5693509 w 10505529"/>
              <a:gd name="connsiteY33421" fmla="*/ 1758610 h 7458372"/>
              <a:gd name="connsiteX33422" fmla="*/ 5688451 w 10505529"/>
              <a:gd name="connsiteY33422" fmla="*/ 1757670 h 7458372"/>
              <a:gd name="connsiteX33423" fmla="*/ 5470806 w 10505529"/>
              <a:gd name="connsiteY33423" fmla="*/ 1757670 h 7458372"/>
              <a:gd name="connsiteX33424" fmla="*/ 5460822 w 10505529"/>
              <a:gd name="connsiteY33424" fmla="*/ 1761271 h 7458372"/>
              <a:gd name="connsiteX33425" fmla="*/ 5457228 w 10505529"/>
              <a:gd name="connsiteY33425" fmla="*/ 1770725 h 7458372"/>
              <a:gd name="connsiteX33426" fmla="*/ 5460822 w 10505529"/>
              <a:gd name="connsiteY33426" fmla="*/ 1780175 h 7458372"/>
              <a:gd name="connsiteX33427" fmla="*/ 5470806 w 10505529"/>
              <a:gd name="connsiteY33427" fmla="*/ 1783629 h 7458372"/>
              <a:gd name="connsiteX33428" fmla="*/ 5476130 w 10505529"/>
              <a:gd name="connsiteY33428" fmla="*/ 1782708 h 7458372"/>
              <a:gd name="connsiteX33429" fmla="*/ 5479857 w 10505529"/>
              <a:gd name="connsiteY33429" fmla="*/ 1780304 h 7458372"/>
              <a:gd name="connsiteX33430" fmla="*/ 5482520 w 10505529"/>
              <a:gd name="connsiteY33430" fmla="*/ 1776047 h 7458372"/>
              <a:gd name="connsiteX33431" fmla="*/ 5483585 w 10505529"/>
              <a:gd name="connsiteY33431" fmla="*/ 1770584 h 7458372"/>
              <a:gd name="connsiteX33432" fmla="*/ 5482520 w 10505529"/>
              <a:gd name="connsiteY33432" fmla="*/ 1765399 h 7458372"/>
              <a:gd name="connsiteX33433" fmla="*/ 5479857 w 10505529"/>
              <a:gd name="connsiteY33433" fmla="*/ 1761271 h 7458372"/>
              <a:gd name="connsiteX33434" fmla="*/ 5475864 w 10505529"/>
              <a:gd name="connsiteY33434" fmla="*/ 1758610 h 7458372"/>
              <a:gd name="connsiteX33435" fmla="*/ 5470806 w 10505529"/>
              <a:gd name="connsiteY33435" fmla="*/ 1757670 h 7458372"/>
              <a:gd name="connsiteX33436" fmla="*/ 5253160 w 10505529"/>
              <a:gd name="connsiteY33436" fmla="*/ 1757670 h 7458372"/>
              <a:gd name="connsiteX33437" fmla="*/ 5243177 w 10505529"/>
              <a:gd name="connsiteY33437" fmla="*/ 1761271 h 7458372"/>
              <a:gd name="connsiteX33438" fmla="*/ 5239583 w 10505529"/>
              <a:gd name="connsiteY33438" fmla="*/ 1770725 h 7458372"/>
              <a:gd name="connsiteX33439" fmla="*/ 5243177 w 10505529"/>
              <a:gd name="connsiteY33439" fmla="*/ 1780175 h 7458372"/>
              <a:gd name="connsiteX33440" fmla="*/ 5253160 w 10505529"/>
              <a:gd name="connsiteY33440" fmla="*/ 1783629 h 7458372"/>
              <a:gd name="connsiteX33441" fmla="*/ 5258485 w 10505529"/>
              <a:gd name="connsiteY33441" fmla="*/ 1782708 h 7458372"/>
              <a:gd name="connsiteX33442" fmla="*/ 5262212 w 10505529"/>
              <a:gd name="connsiteY33442" fmla="*/ 1780304 h 7458372"/>
              <a:gd name="connsiteX33443" fmla="*/ 5264875 w 10505529"/>
              <a:gd name="connsiteY33443" fmla="*/ 1776047 h 7458372"/>
              <a:gd name="connsiteX33444" fmla="*/ 5265939 w 10505529"/>
              <a:gd name="connsiteY33444" fmla="*/ 1770584 h 7458372"/>
              <a:gd name="connsiteX33445" fmla="*/ 5264875 w 10505529"/>
              <a:gd name="connsiteY33445" fmla="*/ 1765399 h 7458372"/>
              <a:gd name="connsiteX33446" fmla="*/ 5262212 w 10505529"/>
              <a:gd name="connsiteY33446" fmla="*/ 1761271 h 7458372"/>
              <a:gd name="connsiteX33447" fmla="*/ 5258219 w 10505529"/>
              <a:gd name="connsiteY33447" fmla="*/ 1758610 h 7458372"/>
              <a:gd name="connsiteX33448" fmla="*/ 5253160 w 10505529"/>
              <a:gd name="connsiteY33448" fmla="*/ 1757670 h 7458372"/>
              <a:gd name="connsiteX33449" fmla="*/ 5035515 w 10505529"/>
              <a:gd name="connsiteY33449" fmla="*/ 1757670 h 7458372"/>
              <a:gd name="connsiteX33450" fmla="*/ 5025532 w 10505529"/>
              <a:gd name="connsiteY33450" fmla="*/ 1761271 h 7458372"/>
              <a:gd name="connsiteX33451" fmla="*/ 5021938 w 10505529"/>
              <a:gd name="connsiteY33451" fmla="*/ 1770725 h 7458372"/>
              <a:gd name="connsiteX33452" fmla="*/ 5025532 w 10505529"/>
              <a:gd name="connsiteY33452" fmla="*/ 1780175 h 7458372"/>
              <a:gd name="connsiteX33453" fmla="*/ 5035515 w 10505529"/>
              <a:gd name="connsiteY33453" fmla="*/ 1783629 h 7458372"/>
              <a:gd name="connsiteX33454" fmla="*/ 5040840 w 10505529"/>
              <a:gd name="connsiteY33454" fmla="*/ 1782708 h 7458372"/>
              <a:gd name="connsiteX33455" fmla="*/ 5044567 w 10505529"/>
              <a:gd name="connsiteY33455" fmla="*/ 1780304 h 7458372"/>
              <a:gd name="connsiteX33456" fmla="*/ 5047230 w 10505529"/>
              <a:gd name="connsiteY33456" fmla="*/ 1776047 h 7458372"/>
              <a:gd name="connsiteX33457" fmla="*/ 5048294 w 10505529"/>
              <a:gd name="connsiteY33457" fmla="*/ 1770584 h 7458372"/>
              <a:gd name="connsiteX33458" fmla="*/ 5047230 w 10505529"/>
              <a:gd name="connsiteY33458" fmla="*/ 1765399 h 7458372"/>
              <a:gd name="connsiteX33459" fmla="*/ 5044567 w 10505529"/>
              <a:gd name="connsiteY33459" fmla="*/ 1761271 h 7458372"/>
              <a:gd name="connsiteX33460" fmla="*/ 5040574 w 10505529"/>
              <a:gd name="connsiteY33460" fmla="*/ 1758610 h 7458372"/>
              <a:gd name="connsiteX33461" fmla="*/ 5035515 w 10505529"/>
              <a:gd name="connsiteY33461" fmla="*/ 1757670 h 7458372"/>
              <a:gd name="connsiteX33462" fmla="*/ 4817870 w 10505529"/>
              <a:gd name="connsiteY33462" fmla="*/ 1757670 h 7458372"/>
              <a:gd name="connsiteX33463" fmla="*/ 4807887 w 10505529"/>
              <a:gd name="connsiteY33463" fmla="*/ 1761271 h 7458372"/>
              <a:gd name="connsiteX33464" fmla="*/ 4804293 w 10505529"/>
              <a:gd name="connsiteY33464" fmla="*/ 1770725 h 7458372"/>
              <a:gd name="connsiteX33465" fmla="*/ 4807887 w 10505529"/>
              <a:gd name="connsiteY33465" fmla="*/ 1780175 h 7458372"/>
              <a:gd name="connsiteX33466" fmla="*/ 4817870 w 10505529"/>
              <a:gd name="connsiteY33466" fmla="*/ 1783629 h 7458372"/>
              <a:gd name="connsiteX33467" fmla="*/ 4823195 w 10505529"/>
              <a:gd name="connsiteY33467" fmla="*/ 1782708 h 7458372"/>
              <a:gd name="connsiteX33468" fmla="*/ 4826922 w 10505529"/>
              <a:gd name="connsiteY33468" fmla="*/ 1780304 h 7458372"/>
              <a:gd name="connsiteX33469" fmla="*/ 4829585 w 10505529"/>
              <a:gd name="connsiteY33469" fmla="*/ 1776047 h 7458372"/>
              <a:gd name="connsiteX33470" fmla="*/ 4830650 w 10505529"/>
              <a:gd name="connsiteY33470" fmla="*/ 1770584 h 7458372"/>
              <a:gd name="connsiteX33471" fmla="*/ 4829585 w 10505529"/>
              <a:gd name="connsiteY33471" fmla="*/ 1765399 h 7458372"/>
              <a:gd name="connsiteX33472" fmla="*/ 4826922 w 10505529"/>
              <a:gd name="connsiteY33472" fmla="*/ 1761271 h 7458372"/>
              <a:gd name="connsiteX33473" fmla="*/ 4822929 w 10505529"/>
              <a:gd name="connsiteY33473" fmla="*/ 1758610 h 7458372"/>
              <a:gd name="connsiteX33474" fmla="*/ 4817870 w 10505529"/>
              <a:gd name="connsiteY33474" fmla="*/ 1757670 h 7458372"/>
              <a:gd name="connsiteX33475" fmla="*/ 4600226 w 10505529"/>
              <a:gd name="connsiteY33475" fmla="*/ 1757670 h 7458372"/>
              <a:gd name="connsiteX33476" fmla="*/ 4590242 w 10505529"/>
              <a:gd name="connsiteY33476" fmla="*/ 1761271 h 7458372"/>
              <a:gd name="connsiteX33477" fmla="*/ 4586648 w 10505529"/>
              <a:gd name="connsiteY33477" fmla="*/ 1770725 h 7458372"/>
              <a:gd name="connsiteX33478" fmla="*/ 4590242 w 10505529"/>
              <a:gd name="connsiteY33478" fmla="*/ 1780175 h 7458372"/>
              <a:gd name="connsiteX33479" fmla="*/ 4600226 w 10505529"/>
              <a:gd name="connsiteY33479" fmla="*/ 1783629 h 7458372"/>
              <a:gd name="connsiteX33480" fmla="*/ 4605550 w 10505529"/>
              <a:gd name="connsiteY33480" fmla="*/ 1782708 h 7458372"/>
              <a:gd name="connsiteX33481" fmla="*/ 4609277 w 10505529"/>
              <a:gd name="connsiteY33481" fmla="*/ 1780304 h 7458372"/>
              <a:gd name="connsiteX33482" fmla="*/ 4611940 w 10505529"/>
              <a:gd name="connsiteY33482" fmla="*/ 1776047 h 7458372"/>
              <a:gd name="connsiteX33483" fmla="*/ 4613005 w 10505529"/>
              <a:gd name="connsiteY33483" fmla="*/ 1770584 h 7458372"/>
              <a:gd name="connsiteX33484" fmla="*/ 4611940 w 10505529"/>
              <a:gd name="connsiteY33484" fmla="*/ 1765399 h 7458372"/>
              <a:gd name="connsiteX33485" fmla="*/ 4609277 w 10505529"/>
              <a:gd name="connsiteY33485" fmla="*/ 1761271 h 7458372"/>
              <a:gd name="connsiteX33486" fmla="*/ 4605284 w 10505529"/>
              <a:gd name="connsiteY33486" fmla="*/ 1758610 h 7458372"/>
              <a:gd name="connsiteX33487" fmla="*/ 4600226 w 10505529"/>
              <a:gd name="connsiteY33487" fmla="*/ 1757670 h 7458372"/>
              <a:gd name="connsiteX33488" fmla="*/ 4382713 w 10505529"/>
              <a:gd name="connsiteY33488" fmla="*/ 1757670 h 7458372"/>
              <a:gd name="connsiteX33489" fmla="*/ 4372730 w 10505529"/>
              <a:gd name="connsiteY33489" fmla="*/ 1761271 h 7458372"/>
              <a:gd name="connsiteX33490" fmla="*/ 4369136 w 10505529"/>
              <a:gd name="connsiteY33490" fmla="*/ 1770725 h 7458372"/>
              <a:gd name="connsiteX33491" fmla="*/ 4372730 w 10505529"/>
              <a:gd name="connsiteY33491" fmla="*/ 1780175 h 7458372"/>
              <a:gd name="connsiteX33492" fmla="*/ 4382713 w 10505529"/>
              <a:gd name="connsiteY33492" fmla="*/ 1783629 h 7458372"/>
              <a:gd name="connsiteX33493" fmla="*/ 4388038 w 10505529"/>
              <a:gd name="connsiteY33493" fmla="*/ 1782708 h 7458372"/>
              <a:gd name="connsiteX33494" fmla="*/ 4391765 w 10505529"/>
              <a:gd name="connsiteY33494" fmla="*/ 1780304 h 7458372"/>
              <a:gd name="connsiteX33495" fmla="*/ 4394428 w 10505529"/>
              <a:gd name="connsiteY33495" fmla="*/ 1776047 h 7458372"/>
              <a:gd name="connsiteX33496" fmla="*/ 4395493 w 10505529"/>
              <a:gd name="connsiteY33496" fmla="*/ 1770584 h 7458372"/>
              <a:gd name="connsiteX33497" fmla="*/ 4394428 w 10505529"/>
              <a:gd name="connsiteY33497" fmla="*/ 1765399 h 7458372"/>
              <a:gd name="connsiteX33498" fmla="*/ 4391765 w 10505529"/>
              <a:gd name="connsiteY33498" fmla="*/ 1761271 h 7458372"/>
              <a:gd name="connsiteX33499" fmla="*/ 4387772 w 10505529"/>
              <a:gd name="connsiteY33499" fmla="*/ 1758610 h 7458372"/>
              <a:gd name="connsiteX33500" fmla="*/ 4382713 w 10505529"/>
              <a:gd name="connsiteY33500" fmla="*/ 1757670 h 7458372"/>
              <a:gd name="connsiteX33501" fmla="*/ 4165068 w 10505529"/>
              <a:gd name="connsiteY33501" fmla="*/ 1757670 h 7458372"/>
              <a:gd name="connsiteX33502" fmla="*/ 4155084 w 10505529"/>
              <a:gd name="connsiteY33502" fmla="*/ 1761271 h 7458372"/>
              <a:gd name="connsiteX33503" fmla="*/ 4151490 w 10505529"/>
              <a:gd name="connsiteY33503" fmla="*/ 1770725 h 7458372"/>
              <a:gd name="connsiteX33504" fmla="*/ 4155084 w 10505529"/>
              <a:gd name="connsiteY33504" fmla="*/ 1780175 h 7458372"/>
              <a:gd name="connsiteX33505" fmla="*/ 4165068 w 10505529"/>
              <a:gd name="connsiteY33505" fmla="*/ 1783629 h 7458372"/>
              <a:gd name="connsiteX33506" fmla="*/ 4170392 w 10505529"/>
              <a:gd name="connsiteY33506" fmla="*/ 1782708 h 7458372"/>
              <a:gd name="connsiteX33507" fmla="*/ 4174119 w 10505529"/>
              <a:gd name="connsiteY33507" fmla="*/ 1780304 h 7458372"/>
              <a:gd name="connsiteX33508" fmla="*/ 4176782 w 10505529"/>
              <a:gd name="connsiteY33508" fmla="*/ 1776047 h 7458372"/>
              <a:gd name="connsiteX33509" fmla="*/ 4177847 w 10505529"/>
              <a:gd name="connsiteY33509" fmla="*/ 1770584 h 7458372"/>
              <a:gd name="connsiteX33510" fmla="*/ 4176782 w 10505529"/>
              <a:gd name="connsiteY33510" fmla="*/ 1765399 h 7458372"/>
              <a:gd name="connsiteX33511" fmla="*/ 4174119 w 10505529"/>
              <a:gd name="connsiteY33511" fmla="*/ 1761271 h 7458372"/>
              <a:gd name="connsiteX33512" fmla="*/ 4170126 w 10505529"/>
              <a:gd name="connsiteY33512" fmla="*/ 1758610 h 7458372"/>
              <a:gd name="connsiteX33513" fmla="*/ 4165068 w 10505529"/>
              <a:gd name="connsiteY33513" fmla="*/ 1757670 h 7458372"/>
              <a:gd name="connsiteX33514" fmla="*/ 3947524 w 10505529"/>
              <a:gd name="connsiteY33514" fmla="*/ 1757670 h 7458372"/>
              <a:gd name="connsiteX33515" fmla="*/ 3937541 w 10505529"/>
              <a:gd name="connsiteY33515" fmla="*/ 1761271 h 7458372"/>
              <a:gd name="connsiteX33516" fmla="*/ 3933946 w 10505529"/>
              <a:gd name="connsiteY33516" fmla="*/ 1770725 h 7458372"/>
              <a:gd name="connsiteX33517" fmla="*/ 3937541 w 10505529"/>
              <a:gd name="connsiteY33517" fmla="*/ 1780175 h 7458372"/>
              <a:gd name="connsiteX33518" fmla="*/ 3947524 w 10505529"/>
              <a:gd name="connsiteY33518" fmla="*/ 1783629 h 7458372"/>
              <a:gd name="connsiteX33519" fmla="*/ 3952849 w 10505529"/>
              <a:gd name="connsiteY33519" fmla="*/ 1782708 h 7458372"/>
              <a:gd name="connsiteX33520" fmla="*/ 3956576 w 10505529"/>
              <a:gd name="connsiteY33520" fmla="*/ 1780304 h 7458372"/>
              <a:gd name="connsiteX33521" fmla="*/ 3959239 w 10505529"/>
              <a:gd name="connsiteY33521" fmla="*/ 1776047 h 7458372"/>
              <a:gd name="connsiteX33522" fmla="*/ 3960304 w 10505529"/>
              <a:gd name="connsiteY33522" fmla="*/ 1770584 h 7458372"/>
              <a:gd name="connsiteX33523" fmla="*/ 3959239 w 10505529"/>
              <a:gd name="connsiteY33523" fmla="*/ 1765399 h 7458372"/>
              <a:gd name="connsiteX33524" fmla="*/ 3956576 w 10505529"/>
              <a:gd name="connsiteY33524" fmla="*/ 1761271 h 7458372"/>
              <a:gd name="connsiteX33525" fmla="*/ 3952582 w 10505529"/>
              <a:gd name="connsiteY33525" fmla="*/ 1758610 h 7458372"/>
              <a:gd name="connsiteX33526" fmla="*/ 3947524 w 10505529"/>
              <a:gd name="connsiteY33526" fmla="*/ 1757670 h 7458372"/>
              <a:gd name="connsiteX33527" fmla="*/ 3729873 w 10505529"/>
              <a:gd name="connsiteY33527" fmla="*/ 1757670 h 7458372"/>
              <a:gd name="connsiteX33528" fmla="*/ 3719887 w 10505529"/>
              <a:gd name="connsiteY33528" fmla="*/ 1761271 h 7458372"/>
              <a:gd name="connsiteX33529" fmla="*/ 3716295 w 10505529"/>
              <a:gd name="connsiteY33529" fmla="*/ 1770725 h 7458372"/>
              <a:gd name="connsiteX33530" fmla="*/ 3719887 w 10505529"/>
              <a:gd name="connsiteY33530" fmla="*/ 1780175 h 7458372"/>
              <a:gd name="connsiteX33531" fmla="*/ 3729873 w 10505529"/>
              <a:gd name="connsiteY33531" fmla="*/ 1783629 h 7458372"/>
              <a:gd name="connsiteX33532" fmla="*/ 3735198 w 10505529"/>
              <a:gd name="connsiteY33532" fmla="*/ 1782708 h 7458372"/>
              <a:gd name="connsiteX33533" fmla="*/ 3738925 w 10505529"/>
              <a:gd name="connsiteY33533" fmla="*/ 1780304 h 7458372"/>
              <a:gd name="connsiteX33534" fmla="*/ 3741588 w 10505529"/>
              <a:gd name="connsiteY33534" fmla="*/ 1776047 h 7458372"/>
              <a:gd name="connsiteX33535" fmla="*/ 3742653 w 10505529"/>
              <a:gd name="connsiteY33535" fmla="*/ 1770584 h 7458372"/>
              <a:gd name="connsiteX33536" fmla="*/ 3741588 w 10505529"/>
              <a:gd name="connsiteY33536" fmla="*/ 1765399 h 7458372"/>
              <a:gd name="connsiteX33537" fmla="*/ 3738925 w 10505529"/>
              <a:gd name="connsiteY33537" fmla="*/ 1761271 h 7458372"/>
              <a:gd name="connsiteX33538" fmla="*/ 3734933 w 10505529"/>
              <a:gd name="connsiteY33538" fmla="*/ 1758610 h 7458372"/>
              <a:gd name="connsiteX33539" fmla="*/ 3729873 w 10505529"/>
              <a:gd name="connsiteY33539" fmla="*/ 1757670 h 7458372"/>
              <a:gd name="connsiteX33540" fmla="*/ 3512223 w 10505529"/>
              <a:gd name="connsiteY33540" fmla="*/ 1757670 h 7458372"/>
              <a:gd name="connsiteX33541" fmla="*/ 3502238 w 10505529"/>
              <a:gd name="connsiteY33541" fmla="*/ 1761271 h 7458372"/>
              <a:gd name="connsiteX33542" fmla="*/ 3498644 w 10505529"/>
              <a:gd name="connsiteY33542" fmla="*/ 1770725 h 7458372"/>
              <a:gd name="connsiteX33543" fmla="*/ 3502238 w 10505529"/>
              <a:gd name="connsiteY33543" fmla="*/ 1780175 h 7458372"/>
              <a:gd name="connsiteX33544" fmla="*/ 3512223 w 10505529"/>
              <a:gd name="connsiteY33544" fmla="*/ 1783629 h 7458372"/>
              <a:gd name="connsiteX33545" fmla="*/ 3517548 w 10505529"/>
              <a:gd name="connsiteY33545" fmla="*/ 1782708 h 7458372"/>
              <a:gd name="connsiteX33546" fmla="*/ 3521275 w 10505529"/>
              <a:gd name="connsiteY33546" fmla="*/ 1780304 h 7458372"/>
              <a:gd name="connsiteX33547" fmla="*/ 3523938 w 10505529"/>
              <a:gd name="connsiteY33547" fmla="*/ 1776047 h 7458372"/>
              <a:gd name="connsiteX33548" fmla="*/ 3525003 w 10505529"/>
              <a:gd name="connsiteY33548" fmla="*/ 1770584 h 7458372"/>
              <a:gd name="connsiteX33549" fmla="*/ 3523938 w 10505529"/>
              <a:gd name="connsiteY33549" fmla="*/ 1765399 h 7458372"/>
              <a:gd name="connsiteX33550" fmla="*/ 3521275 w 10505529"/>
              <a:gd name="connsiteY33550" fmla="*/ 1761271 h 7458372"/>
              <a:gd name="connsiteX33551" fmla="*/ 3517282 w 10505529"/>
              <a:gd name="connsiteY33551" fmla="*/ 1758610 h 7458372"/>
              <a:gd name="connsiteX33552" fmla="*/ 3512223 w 10505529"/>
              <a:gd name="connsiteY33552" fmla="*/ 1757670 h 7458372"/>
              <a:gd name="connsiteX33553" fmla="*/ 3294706 w 10505529"/>
              <a:gd name="connsiteY33553" fmla="*/ 1757670 h 7458372"/>
              <a:gd name="connsiteX33554" fmla="*/ 3284722 w 10505529"/>
              <a:gd name="connsiteY33554" fmla="*/ 1761271 h 7458372"/>
              <a:gd name="connsiteX33555" fmla="*/ 3281128 w 10505529"/>
              <a:gd name="connsiteY33555" fmla="*/ 1770725 h 7458372"/>
              <a:gd name="connsiteX33556" fmla="*/ 3284722 w 10505529"/>
              <a:gd name="connsiteY33556" fmla="*/ 1780175 h 7458372"/>
              <a:gd name="connsiteX33557" fmla="*/ 3294706 w 10505529"/>
              <a:gd name="connsiteY33557" fmla="*/ 1783629 h 7458372"/>
              <a:gd name="connsiteX33558" fmla="*/ 3300031 w 10505529"/>
              <a:gd name="connsiteY33558" fmla="*/ 1782708 h 7458372"/>
              <a:gd name="connsiteX33559" fmla="*/ 3303758 w 10505529"/>
              <a:gd name="connsiteY33559" fmla="*/ 1780304 h 7458372"/>
              <a:gd name="connsiteX33560" fmla="*/ 3306421 w 10505529"/>
              <a:gd name="connsiteY33560" fmla="*/ 1776047 h 7458372"/>
              <a:gd name="connsiteX33561" fmla="*/ 3307485 w 10505529"/>
              <a:gd name="connsiteY33561" fmla="*/ 1770584 h 7458372"/>
              <a:gd name="connsiteX33562" fmla="*/ 3306421 w 10505529"/>
              <a:gd name="connsiteY33562" fmla="*/ 1765399 h 7458372"/>
              <a:gd name="connsiteX33563" fmla="*/ 3303758 w 10505529"/>
              <a:gd name="connsiteY33563" fmla="*/ 1761271 h 7458372"/>
              <a:gd name="connsiteX33564" fmla="*/ 3299765 w 10505529"/>
              <a:gd name="connsiteY33564" fmla="*/ 1758610 h 7458372"/>
              <a:gd name="connsiteX33565" fmla="*/ 3294706 w 10505529"/>
              <a:gd name="connsiteY33565" fmla="*/ 1757670 h 7458372"/>
              <a:gd name="connsiteX33566" fmla="*/ 3077189 w 10505529"/>
              <a:gd name="connsiteY33566" fmla="*/ 1757670 h 7458372"/>
              <a:gd name="connsiteX33567" fmla="*/ 3067206 w 10505529"/>
              <a:gd name="connsiteY33567" fmla="*/ 1761271 h 7458372"/>
              <a:gd name="connsiteX33568" fmla="*/ 3063477 w 10505529"/>
              <a:gd name="connsiteY33568" fmla="*/ 1770725 h 7458372"/>
              <a:gd name="connsiteX33569" fmla="*/ 3067072 w 10505529"/>
              <a:gd name="connsiteY33569" fmla="*/ 1780175 h 7458372"/>
              <a:gd name="connsiteX33570" fmla="*/ 3077055 w 10505529"/>
              <a:gd name="connsiteY33570" fmla="*/ 1783629 h 7458372"/>
              <a:gd name="connsiteX33571" fmla="*/ 3082514 w 10505529"/>
              <a:gd name="connsiteY33571" fmla="*/ 1782708 h 7458372"/>
              <a:gd name="connsiteX33572" fmla="*/ 3086241 w 10505529"/>
              <a:gd name="connsiteY33572" fmla="*/ 1780304 h 7458372"/>
              <a:gd name="connsiteX33573" fmla="*/ 3088904 w 10505529"/>
              <a:gd name="connsiteY33573" fmla="*/ 1776047 h 7458372"/>
              <a:gd name="connsiteX33574" fmla="*/ 3089836 w 10505529"/>
              <a:gd name="connsiteY33574" fmla="*/ 1770584 h 7458372"/>
              <a:gd name="connsiteX33575" fmla="*/ 3088904 w 10505529"/>
              <a:gd name="connsiteY33575" fmla="*/ 1765399 h 7458372"/>
              <a:gd name="connsiteX33576" fmla="*/ 3086241 w 10505529"/>
              <a:gd name="connsiteY33576" fmla="*/ 1761271 h 7458372"/>
              <a:gd name="connsiteX33577" fmla="*/ 3082248 w 10505529"/>
              <a:gd name="connsiteY33577" fmla="*/ 1758610 h 7458372"/>
              <a:gd name="connsiteX33578" fmla="*/ 3077189 w 10505529"/>
              <a:gd name="connsiteY33578" fmla="*/ 1757670 h 7458372"/>
              <a:gd name="connsiteX33579" fmla="*/ 2859406 w 10505529"/>
              <a:gd name="connsiteY33579" fmla="*/ 1757670 h 7458372"/>
              <a:gd name="connsiteX33580" fmla="*/ 2849421 w 10505529"/>
              <a:gd name="connsiteY33580" fmla="*/ 1761271 h 7458372"/>
              <a:gd name="connsiteX33581" fmla="*/ 2845826 w 10505529"/>
              <a:gd name="connsiteY33581" fmla="*/ 1770725 h 7458372"/>
              <a:gd name="connsiteX33582" fmla="*/ 2849421 w 10505529"/>
              <a:gd name="connsiteY33582" fmla="*/ 1780175 h 7458372"/>
              <a:gd name="connsiteX33583" fmla="*/ 2859406 w 10505529"/>
              <a:gd name="connsiteY33583" fmla="*/ 1783629 h 7458372"/>
              <a:gd name="connsiteX33584" fmla="*/ 2864730 w 10505529"/>
              <a:gd name="connsiteY33584" fmla="*/ 1782708 h 7458372"/>
              <a:gd name="connsiteX33585" fmla="*/ 2868457 w 10505529"/>
              <a:gd name="connsiteY33585" fmla="*/ 1780304 h 7458372"/>
              <a:gd name="connsiteX33586" fmla="*/ 2871120 w 10505529"/>
              <a:gd name="connsiteY33586" fmla="*/ 1776047 h 7458372"/>
              <a:gd name="connsiteX33587" fmla="*/ 2872052 w 10505529"/>
              <a:gd name="connsiteY33587" fmla="*/ 1770584 h 7458372"/>
              <a:gd name="connsiteX33588" fmla="*/ 2871120 w 10505529"/>
              <a:gd name="connsiteY33588" fmla="*/ 1765399 h 7458372"/>
              <a:gd name="connsiteX33589" fmla="*/ 2868457 w 10505529"/>
              <a:gd name="connsiteY33589" fmla="*/ 1761271 h 7458372"/>
              <a:gd name="connsiteX33590" fmla="*/ 2864465 w 10505529"/>
              <a:gd name="connsiteY33590" fmla="*/ 1758610 h 7458372"/>
              <a:gd name="connsiteX33591" fmla="*/ 2859406 w 10505529"/>
              <a:gd name="connsiteY33591" fmla="*/ 1757670 h 7458372"/>
              <a:gd name="connsiteX33592" fmla="*/ 2641755 w 10505529"/>
              <a:gd name="connsiteY33592" fmla="*/ 1757670 h 7458372"/>
              <a:gd name="connsiteX33593" fmla="*/ 2631772 w 10505529"/>
              <a:gd name="connsiteY33593" fmla="*/ 1761271 h 7458372"/>
              <a:gd name="connsiteX33594" fmla="*/ 2628178 w 10505529"/>
              <a:gd name="connsiteY33594" fmla="*/ 1770725 h 7458372"/>
              <a:gd name="connsiteX33595" fmla="*/ 2631772 w 10505529"/>
              <a:gd name="connsiteY33595" fmla="*/ 1780175 h 7458372"/>
              <a:gd name="connsiteX33596" fmla="*/ 2641755 w 10505529"/>
              <a:gd name="connsiteY33596" fmla="*/ 1783629 h 7458372"/>
              <a:gd name="connsiteX33597" fmla="*/ 2647081 w 10505529"/>
              <a:gd name="connsiteY33597" fmla="*/ 1782708 h 7458372"/>
              <a:gd name="connsiteX33598" fmla="*/ 2650808 w 10505529"/>
              <a:gd name="connsiteY33598" fmla="*/ 1780304 h 7458372"/>
              <a:gd name="connsiteX33599" fmla="*/ 2653471 w 10505529"/>
              <a:gd name="connsiteY33599" fmla="*/ 1776047 h 7458372"/>
              <a:gd name="connsiteX33600" fmla="*/ 2654401 w 10505529"/>
              <a:gd name="connsiteY33600" fmla="*/ 1770584 h 7458372"/>
              <a:gd name="connsiteX33601" fmla="*/ 2653471 w 10505529"/>
              <a:gd name="connsiteY33601" fmla="*/ 1765399 h 7458372"/>
              <a:gd name="connsiteX33602" fmla="*/ 2650808 w 10505529"/>
              <a:gd name="connsiteY33602" fmla="*/ 1761271 h 7458372"/>
              <a:gd name="connsiteX33603" fmla="*/ 2646815 w 10505529"/>
              <a:gd name="connsiteY33603" fmla="*/ 1758610 h 7458372"/>
              <a:gd name="connsiteX33604" fmla="*/ 2641755 w 10505529"/>
              <a:gd name="connsiteY33604" fmla="*/ 1757670 h 7458372"/>
              <a:gd name="connsiteX33605" fmla="*/ 2424105 w 10505529"/>
              <a:gd name="connsiteY33605" fmla="*/ 1757670 h 7458372"/>
              <a:gd name="connsiteX33606" fmla="*/ 2414122 w 10505529"/>
              <a:gd name="connsiteY33606" fmla="*/ 1761271 h 7458372"/>
              <a:gd name="connsiteX33607" fmla="*/ 2410527 w 10505529"/>
              <a:gd name="connsiteY33607" fmla="*/ 1770725 h 7458372"/>
              <a:gd name="connsiteX33608" fmla="*/ 2414122 w 10505529"/>
              <a:gd name="connsiteY33608" fmla="*/ 1780175 h 7458372"/>
              <a:gd name="connsiteX33609" fmla="*/ 2424105 w 10505529"/>
              <a:gd name="connsiteY33609" fmla="*/ 1783629 h 7458372"/>
              <a:gd name="connsiteX33610" fmla="*/ 2429430 w 10505529"/>
              <a:gd name="connsiteY33610" fmla="*/ 1782708 h 7458372"/>
              <a:gd name="connsiteX33611" fmla="*/ 2433157 w 10505529"/>
              <a:gd name="connsiteY33611" fmla="*/ 1780304 h 7458372"/>
              <a:gd name="connsiteX33612" fmla="*/ 2435820 w 10505529"/>
              <a:gd name="connsiteY33612" fmla="*/ 1776047 h 7458372"/>
              <a:gd name="connsiteX33613" fmla="*/ 2436751 w 10505529"/>
              <a:gd name="connsiteY33613" fmla="*/ 1770584 h 7458372"/>
              <a:gd name="connsiteX33614" fmla="*/ 2435820 w 10505529"/>
              <a:gd name="connsiteY33614" fmla="*/ 1765399 h 7458372"/>
              <a:gd name="connsiteX33615" fmla="*/ 2433157 w 10505529"/>
              <a:gd name="connsiteY33615" fmla="*/ 1761271 h 7458372"/>
              <a:gd name="connsiteX33616" fmla="*/ 2429164 w 10505529"/>
              <a:gd name="connsiteY33616" fmla="*/ 1758610 h 7458372"/>
              <a:gd name="connsiteX33617" fmla="*/ 2424105 w 10505529"/>
              <a:gd name="connsiteY33617" fmla="*/ 1757670 h 7458372"/>
              <a:gd name="connsiteX33618" fmla="*/ 2206455 w 10505529"/>
              <a:gd name="connsiteY33618" fmla="*/ 1757670 h 7458372"/>
              <a:gd name="connsiteX33619" fmla="*/ 2196471 w 10505529"/>
              <a:gd name="connsiteY33619" fmla="*/ 1761271 h 7458372"/>
              <a:gd name="connsiteX33620" fmla="*/ 2192877 w 10505529"/>
              <a:gd name="connsiteY33620" fmla="*/ 1770725 h 7458372"/>
              <a:gd name="connsiteX33621" fmla="*/ 2196471 w 10505529"/>
              <a:gd name="connsiteY33621" fmla="*/ 1780175 h 7458372"/>
              <a:gd name="connsiteX33622" fmla="*/ 2206455 w 10505529"/>
              <a:gd name="connsiteY33622" fmla="*/ 1783629 h 7458372"/>
              <a:gd name="connsiteX33623" fmla="*/ 2211780 w 10505529"/>
              <a:gd name="connsiteY33623" fmla="*/ 1782708 h 7458372"/>
              <a:gd name="connsiteX33624" fmla="*/ 2215507 w 10505529"/>
              <a:gd name="connsiteY33624" fmla="*/ 1780304 h 7458372"/>
              <a:gd name="connsiteX33625" fmla="*/ 2218170 w 10505529"/>
              <a:gd name="connsiteY33625" fmla="*/ 1776047 h 7458372"/>
              <a:gd name="connsiteX33626" fmla="*/ 2219101 w 10505529"/>
              <a:gd name="connsiteY33626" fmla="*/ 1770584 h 7458372"/>
              <a:gd name="connsiteX33627" fmla="*/ 2218170 w 10505529"/>
              <a:gd name="connsiteY33627" fmla="*/ 1765399 h 7458372"/>
              <a:gd name="connsiteX33628" fmla="*/ 2215507 w 10505529"/>
              <a:gd name="connsiteY33628" fmla="*/ 1761271 h 7458372"/>
              <a:gd name="connsiteX33629" fmla="*/ 2211514 w 10505529"/>
              <a:gd name="connsiteY33629" fmla="*/ 1758610 h 7458372"/>
              <a:gd name="connsiteX33630" fmla="*/ 2206455 w 10505529"/>
              <a:gd name="connsiteY33630" fmla="*/ 1757670 h 7458372"/>
              <a:gd name="connsiteX33631" fmla="*/ 1988937 w 10505529"/>
              <a:gd name="connsiteY33631" fmla="*/ 1757670 h 7458372"/>
              <a:gd name="connsiteX33632" fmla="*/ 1978954 w 10505529"/>
              <a:gd name="connsiteY33632" fmla="*/ 1761271 h 7458372"/>
              <a:gd name="connsiteX33633" fmla="*/ 1975360 w 10505529"/>
              <a:gd name="connsiteY33633" fmla="*/ 1770725 h 7458372"/>
              <a:gd name="connsiteX33634" fmla="*/ 1978954 w 10505529"/>
              <a:gd name="connsiteY33634" fmla="*/ 1780175 h 7458372"/>
              <a:gd name="connsiteX33635" fmla="*/ 1988937 w 10505529"/>
              <a:gd name="connsiteY33635" fmla="*/ 1783629 h 7458372"/>
              <a:gd name="connsiteX33636" fmla="*/ 1994262 w 10505529"/>
              <a:gd name="connsiteY33636" fmla="*/ 1782708 h 7458372"/>
              <a:gd name="connsiteX33637" fmla="*/ 1997990 w 10505529"/>
              <a:gd name="connsiteY33637" fmla="*/ 1780304 h 7458372"/>
              <a:gd name="connsiteX33638" fmla="*/ 2000653 w 10505529"/>
              <a:gd name="connsiteY33638" fmla="*/ 1776047 h 7458372"/>
              <a:gd name="connsiteX33639" fmla="*/ 2001583 w 10505529"/>
              <a:gd name="connsiteY33639" fmla="*/ 1770584 h 7458372"/>
              <a:gd name="connsiteX33640" fmla="*/ 2000653 w 10505529"/>
              <a:gd name="connsiteY33640" fmla="*/ 1765399 h 7458372"/>
              <a:gd name="connsiteX33641" fmla="*/ 1997990 w 10505529"/>
              <a:gd name="connsiteY33641" fmla="*/ 1761271 h 7458372"/>
              <a:gd name="connsiteX33642" fmla="*/ 1993996 w 10505529"/>
              <a:gd name="connsiteY33642" fmla="*/ 1758610 h 7458372"/>
              <a:gd name="connsiteX33643" fmla="*/ 1988937 w 10505529"/>
              <a:gd name="connsiteY33643" fmla="*/ 1757670 h 7458372"/>
              <a:gd name="connsiteX33644" fmla="*/ 1771296 w 10505529"/>
              <a:gd name="connsiteY33644" fmla="*/ 1757670 h 7458372"/>
              <a:gd name="connsiteX33645" fmla="*/ 1761313 w 10505529"/>
              <a:gd name="connsiteY33645" fmla="*/ 1761271 h 7458372"/>
              <a:gd name="connsiteX33646" fmla="*/ 1757719 w 10505529"/>
              <a:gd name="connsiteY33646" fmla="*/ 1770725 h 7458372"/>
              <a:gd name="connsiteX33647" fmla="*/ 1761313 w 10505529"/>
              <a:gd name="connsiteY33647" fmla="*/ 1780175 h 7458372"/>
              <a:gd name="connsiteX33648" fmla="*/ 1771296 w 10505529"/>
              <a:gd name="connsiteY33648" fmla="*/ 1783629 h 7458372"/>
              <a:gd name="connsiteX33649" fmla="*/ 1776621 w 10505529"/>
              <a:gd name="connsiteY33649" fmla="*/ 1782708 h 7458372"/>
              <a:gd name="connsiteX33650" fmla="*/ 1780348 w 10505529"/>
              <a:gd name="connsiteY33650" fmla="*/ 1780304 h 7458372"/>
              <a:gd name="connsiteX33651" fmla="*/ 1783011 w 10505529"/>
              <a:gd name="connsiteY33651" fmla="*/ 1776047 h 7458372"/>
              <a:gd name="connsiteX33652" fmla="*/ 1784076 w 10505529"/>
              <a:gd name="connsiteY33652" fmla="*/ 1770584 h 7458372"/>
              <a:gd name="connsiteX33653" fmla="*/ 1783011 w 10505529"/>
              <a:gd name="connsiteY33653" fmla="*/ 1765399 h 7458372"/>
              <a:gd name="connsiteX33654" fmla="*/ 1780348 w 10505529"/>
              <a:gd name="connsiteY33654" fmla="*/ 1761271 h 7458372"/>
              <a:gd name="connsiteX33655" fmla="*/ 1776355 w 10505529"/>
              <a:gd name="connsiteY33655" fmla="*/ 1758610 h 7458372"/>
              <a:gd name="connsiteX33656" fmla="*/ 1771296 w 10505529"/>
              <a:gd name="connsiteY33656" fmla="*/ 1757670 h 7458372"/>
              <a:gd name="connsiteX33657" fmla="*/ 1553653 w 10505529"/>
              <a:gd name="connsiteY33657" fmla="*/ 1757670 h 7458372"/>
              <a:gd name="connsiteX33658" fmla="*/ 1543670 w 10505529"/>
              <a:gd name="connsiteY33658" fmla="*/ 1761271 h 7458372"/>
              <a:gd name="connsiteX33659" fmla="*/ 1540076 w 10505529"/>
              <a:gd name="connsiteY33659" fmla="*/ 1770725 h 7458372"/>
              <a:gd name="connsiteX33660" fmla="*/ 1543670 w 10505529"/>
              <a:gd name="connsiteY33660" fmla="*/ 1780175 h 7458372"/>
              <a:gd name="connsiteX33661" fmla="*/ 1553653 w 10505529"/>
              <a:gd name="connsiteY33661" fmla="*/ 1783629 h 7458372"/>
              <a:gd name="connsiteX33662" fmla="*/ 1558978 w 10505529"/>
              <a:gd name="connsiteY33662" fmla="*/ 1782708 h 7458372"/>
              <a:gd name="connsiteX33663" fmla="*/ 1562705 w 10505529"/>
              <a:gd name="connsiteY33663" fmla="*/ 1780304 h 7458372"/>
              <a:gd name="connsiteX33664" fmla="*/ 1565368 w 10505529"/>
              <a:gd name="connsiteY33664" fmla="*/ 1776047 h 7458372"/>
              <a:gd name="connsiteX33665" fmla="*/ 1566433 w 10505529"/>
              <a:gd name="connsiteY33665" fmla="*/ 1770584 h 7458372"/>
              <a:gd name="connsiteX33666" fmla="*/ 1565368 w 10505529"/>
              <a:gd name="connsiteY33666" fmla="*/ 1765399 h 7458372"/>
              <a:gd name="connsiteX33667" fmla="*/ 1562705 w 10505529"/>
              <a:gd name="connsiteY33667" fmla="*/ 1761271 h 7458372"/>
              <a:gd name="connsiteX33668" fmla="*/ 1558712 w 10505529"/>
              <a:gd name="connsiteY33668" fmla="*/ 1758610 h 7458372"/>
              <a:gd name="connsiteX33669" fmla="*/ 1553653 w 10505529"/>
              <a:gd name="connsiteY33669" fmla="*/ 1757670 h 7458372"/>
              <a:gd name="connsiteX33670" fmla="*/ 1336008 w 10505529"/>
              <a:gd name="connsiteY33670" fmla="*/ 1757670 h 7458372"/>
              <a:gd name="connsiteX33671" fmla="*/ 1326026 w 10505529"/>
              <a:gd name="connsiteY33671" fmla="*/ 1761271 h 7458372"/>
              <a:gd name="connsiteX33672" fmla="*/ 1322431 w 10505529"/>
              <a:gd name="connsiteY33672" fmla="*/ 1770725 h 7458372"/>
              <a:gd name="connsiteX33673" fmla="*/ 1326026 w 10505529"/>
              <a:gd name="connsiteY33673" fmla="*/ 1780175 h 7458372"/>
              <a:gd name="connsiteX33674" fmla="*/ 1336008 w 10505529"/>
              <a:gd name="connsiteY33674" fmla="*/ 1783629 h 7458372"/>
              <a:gd name="connsiteX33675" fmla="*/ 1341335 w 10505529"/>
              <a:gd name="connsiteY33675" fmla="*/ 1782708 h 7458372"/>
              <a:gd name="connsiteX33676" fmla="*/ 1345061 w 10505529"/>
              <a:gd name="connsiteY33676" fmla="*/ 1780304 h 7458372"/>
              <a:gd name="connsiteX33677" fmla="*/ 1347724 w 10505529"/>
              <a:gd name="connsiteY33677" fmla="*/ 1776047 h 7458372"/>
              <a:gd name="connsiteX33678" fmla="*/ 1348790 w 10505529"/>
              <a:gd name="connsiteY33678" fmla="*/ 1770584 h 7458372"/>
              <a:gd name="connsiteX33679" fmla="*/ 1347724 w 10505529"/>
              <a:gd name="connsiteY33679" fmla="*/ 1765399 h 7458372"/>
              <a:gd name="connsiteX33680" fmla="*/ 1345061 w 10505529"/>
              <a:gd name="connsiteY33680" fmla="*/ 1761271 h 7458372"/>
              <a:gd name="connsiteX33681" fmla="*/ 1341068 w 10505529"/>
              <a:gd name="connsiteY33681" fmla="*/ 1758610 h 7458372"/>
              <a:gd name="connsiteX33682" fmla="*/ 1336008 w 10505529"/>
              <a:gd name="connsiteY33682" fmla="*/ 1757670 h 7458372"/>
              <a:gd name="connsiteX33683" fmla="*/ 1118497 w 10505529"/>
              <a:gd name="connsiteY33683" fmla="*/ 1757670 h 7458372"/>
              <a:gd name="connsiteX33684" fmla="*/ 1108513 w 10505529"/>
              <a:gd name="connsiteY33684" fmla="*/ 1761271 h 7458372"/>
              <a:gd name="connsiteX33685" fmla="*/ 1104786 w 10505529"/>
              <a:gd name="connsiteY33685" fmla="*/ 1770725 h 7458372"/>
              <a:gd name="connsiteX33686" fmla="*/ 1108380 w 10505529"/>
              <a:gd name="connsiteY33686" fmla="*/ 1780175 h 7458372"/>
              <a:gd name="connsiteX33687" fmla="*/ 1118364 w 10505529"/>
              <a:gd name="connsiteY33687" fmla="*/ 1783629 h 7458372"/>
              <a:gd name="connsiteX33688" fmla="*/ 1123822 w 10505529"/>
              <a:gd name="connsiteY33688" fmla="*/ 1782708 h 7458372"/>
              <a:gd name="connsiteX33689" fmla="*/ 1127549 w 10505529"/>
              <a:gd name="connsiteY33689" fmla="*/ 1780304 h 7458372"/>
              <a:gd name="connsiteX33690" fmla="*/ 1130213 w 10505529"/>
              <a:gd name="connsiteY33690" fmla="*/ 1776047 h 7458372"/>
              <a:gd name="connsiteX33691" fmla="*/ 1131278 w 10505529"/>
              <a:gd name="connsiteY33691" fmla="*/ 1770584 h 7458372"/>
              <a:gd name="connsiteX33692" fmla="*/ 1130213 w 10505529"/>
              <a:gd name="connsiteY33692" fmla="*/ 1765399 h 7458372"/>
              <a:gd name="connsiteX33693" fmla="*/ 1127549 w 10505529"/>
              <a:gd name="connsiteY33693" fmla="*/ 1761271 h 7458372"/>
              <a:gd name="connsiteX33694" fmla="*/ 1123555 w 10505529"/>
              <a:gd name="connsiteY33694" fmla="*/ 1758610 h 7458372"/>
              <a:gd name="connsiteX33695" fmla="*/ 1118497 w 10505529"/>
              <a:gd name="connsiteY33695" fmla="*/ 1757670 h 7458372"/>
              <a:gd name="connsiteX33696" fmla="*/ 900986 w 10505529"/>
              <a:gd name="connsiteY33696" fmla="*/ 1757670 h 7458372"/>
              <a:gd name="connsiteX33697" fmla="*/ 891001 w 10505529"/>
              <a:gd name="connsiteY33697" fmla="*/ 1761271 h 7458372"/>
              <a:gd name="connsiteX33698" fmla="*/ 887275 w 10505529"/>
              <a:gd name="connsiteY33698" fmla="*/ 1770725 h 7458372"/>
              <a:gd name="connsiteX33699" fmla="*/ 890869 w 10505529"/>
              <a:gd name="connsiteY33699" fmla="*/ 1780175 h 7458372"/>
              <a:gd name="connsiteX33700" fmla="*/ 900852 w 10505529"/>
              <a:gd name="connsiteY33700" fmla="*/ 1783629 h 7458372"/>
              <a:gd name="connsiteX33701" fmla="*/ 906310 w 10505529"/>
              <a:gd name="connsiteY33701" fmla="*/ 1782708 h 7458372"/>
              <a:gd name="connsiteX33702" fmla="*/ 910038 w 10505529"/>
              <a:gd name="connsiteY33702" fmla="*/ 1780304 h 7458372"/>
              <a:gd name="connsiteX33703" fmla="*/ 912700 w 10505529"/>
              <a:gd name="connsiteY33703" fmla="*/ 1776047 h 7458372"/>
              <a:gd name="connsiteX33704" fmla="*/ 913765 w 10505529"/>
              <a:gd name="connsiteY33704" fmla="*/ 1770584 h 7458372"/>
              <a:gd name="connsiteX33705" fmla="*/ 912700 w 10505529"/>
              <a:gd name="connsiteY33705" fmla="*/ 1765399 h 7458372"/>
              <a:gd name="connsiteX33706" fmla="*/ 910038 w 10505529"/>
              <a:gd name="connsiteY33706" fmla="*/ 1761271 h 7458372"/>
              <a:gd name="connsiteX33707" fmla="*/ 906044 w 10505529"/>
              <a:gd name="connsiteY33707" fmla="*/ 1758610 h 7458372"/>
              <a:gd name="connsiteX33708" fmla="*/ 900986 w 10505529"/>
              <a:gd name="connsiteY33708" fmla="*/ 1757670 h 7458372"/>
              <a:gd name="connsiteX33709" fmla="*/ 683208 w 10505529"/>
              <a:gd name="connsiteY33709" fmla="*/ 1757670 h 7458372"/>
              <a:gd name="connsiteX33710" fmla="*/ 673225 w 10505529"/>
              <a:gd name="connsiteY33710" fmla="*/ 1761271 h 7458372"/>
              <a:gd name="connsiteX33711" fmla="*/ 669631 w 10505529"/>
              <a:gd name="connsiteY33711" fmla="*/ 1770725 h 7458372"/>
              <a:gd name="connsiteX33712" fmla="*/ 673225 w 10505529"/>
              <a:gd name="connsiteY33712" fmla="*/ 1780175 h 7458372"/>
              <a:gd name="connsiteX33713" fmla="*/ 683208 w 10505529"/>
              <a:gd name="connsiteY33713" fmla="*/ 1783629 h 7458372"/>
              <a:gd name="connsiteX33714" fmla="*/ 688534 w 10505529"/>
              <a:gd name="connsiteY33714" fmla="*/ 1782708 h 7458372"/>
              <a:gd name="connsiteX33715" fmla="*/ 692260 w 10505529"/>
              <a:gd name="connsiteY33715" fmla="*/ 1780304 h 7458372"/>
              <a:gd name="connsiteX33716" fmla="*/ 694924 w 10505529"/>
              <a:gd name="connsiteY33716" fmla="*/ 1776047 h 7458372"/>
              <a:gd name="connsiteX33717" fmla="*/ 695989 w 10505529"/>
              <a:gd name="connsiteY33717" fmla="*/ 1770584 h 7458372"/>
              <a:gd name="connsiteX33718" fmla="*/ 694924 w 10505529"/>
              <a:gd name="connsiteY33718" fmla="*/ 1765399 h 7458372"/>
              <a:gd name="connsiteX33719" fmla="*/ 692260 w 10505529"/>
              <a:gd name="connsiteY33719" fmla="*/ 1761271 h 7458372"/>
              <a:gd name="connsiteX33720" fmla="*/ 688267 w 10505529"/>
              <a:gd name="connsiteY33720" fmla="*/ 1758610 h 7458372"/>
              <a:gd name="connsiteX33721" fmla="*/ 683208 w 10505529"/>
              <a:gd name="connsiteY33721" fmla="*/ 1757670 h 7458372"/>
              <a:gd name="connsiteX33722" fmla="*/ 465565 w 10505529"/>
              <a:gd name="connsiteY33722" fmla="*/ 1757670 h 7458372"/>
              <a:gd name="connsiteX33723" fmla="*/ 455582 w 10505529"/>
              <a:gd name="connsiteY33723" fmla="*/ 1761271 h 7458372"/>
              <a:gd name="connsiteX33724" fmla="*/ 451988 w 10505529"/>
              <a:gd name="connsiteY33724" fmla="*/ 1770725 h 7458372"/>
              <a:gd name="connsiteX33725" fmla="*/ 455582 w 10505529"/>
              <a:gd name="connsiteY33725" fmla="*/ 1780175 h 7458372"/>
              <a:gd name="connsiteX33726" fmla="*/ 465565 w 10505529"/>
              <a:gd name="connsiteY33726" fmla="*/ 1783629 h 7458372"/>
              <a:gd name="connsiteX33727" fmla="*/ 470890 w 10505529"/>
              <a:gd name="connsiteY33727" fmla="*/ 1782708 h 7458372"/>
              <a:gd name="connsiteX33728" fmla="*/ 474617 w 10505529"/>
              <a:gd name="connsiteY33728" fmla="*/ 1780304 h 7458372"/>
              <a:gd name="connsiteX33729" fmla="*/ 477280 w 10505529"/>
              <a:gd name="connsiteY33729" fmla="*/ 1776047 h 7458372"/>
              <a:gd name="connsiteX33730" fmla="*/ 478345 w 10505529"/>
              <a:gd name="connsiteY33730" fmla="*/ 1770584 h 7458372"/>
              <a:gd name="connsiteX33731" fmla="*/ 477280 w 10505529"/>
              <a:gd name="connsiteY33731" fmla="*/ 1765399 h 7458372"/>
              <a:gd name="connsiteX33732" fmla="*/ 474617 w 10505529"/>
              <a:gd name="connsiteY33732" fmla="*/ 1761271 h 7458372"/>
              <a:gd name="connsiteX33733" fmla="*/ 470624 w 10505529"/>
              <a:gd name="connsiteY33733" fmla="*/ 1758610 h 7458372"/>
              <a:gd name="connsiteX33734" fmla="*/ 465565 w 10505529"/>
              <a:gd name="connsiteY33734" fmla="*/ 1757670 h 7458372"/>
              <a:gd name="connsiteX33735" fmla="*/ 247921 w 10505529"/>
              <a:gd name="connsiteY33735" fmla="*/ 1757670 h 7458372"/>
              <a:gd name="connsiteX33736" fmla="*/ 237938 w 10505529"/>
              <a:gd name="connsiteY33736" fmla="*/ 1761271 h 7458372"/>
              <a:gd name="connsiteX33737" fmla="*/ 234344 w 10505529"/>
              <a:gd name="connsiteY33737" fmla="*/ 1770725 h 7458372"/>
              <a:gd name="connsiteX33738" fmla="*/ 237938 w 10505529"/>
              <a:gd name="connsiteY33738" fmla="*/ 1780175 h 7458372"/>
              <a:gd name="connsiteX33739" fmla="*/ 247921 w 10505529"/>
              <a:gd name="connsiteY33739" fmla="*/ 1783629 h 7458372"/>
              <a:gd name="connsiteX33740" fmla="*/ 253246 w 10505529"/>
              <a:gd name="connsiteY33740" fmla="*/ 1782708 h 7458372"/>
              <a:gd name="connsiteX33741" fmla="*/ 256973 w 10505529"/>
              <a:gd name="connsiteY33741" fmla="*/ 1780304 h 7458372"/>
              <a:gd name="connsiteX33742" fmla="*/ 259636 w 10505529"/>
              <a:gd name="connsiteY33742" fmla="*/ 1776047 h 7458372"/>
              <a:gd name="connsiteX33743" fmla="*/ 260701 w 10505529"/>
              <a:gd name="connsiteY33743" fmla="*/ 1770584 h 7458372"/>
              <a:gd name="connsiteX33744" fmla="*/ 259636 w 10505529"/>
              <a:gd name="connsiteY33744" fmla="*/ 1765399 h 7458372"/>
              <a:gd name="connsiteX33745" fmla="*/ 256973 w 10505529"/>
              <a:gd name="connsiteY33745" fmla="*/ 1761271 h 7458372"/>
              <a:gd name="connsiteX33746" fmla="*/ 252980 w 10505529"/>
              <a:gd name="connsiteY33746" fmla="*/ 1758610 h 7458372"/>
              <a:gd name="connsiteX33747" fmla="*/ 247921 w 10505529"/>
              <a:gd name="connsiteY33747" fmla="*/ 1757670 h 7458372"/>
              <a:gd name="connsiteX33748" fmla="*/ 30277 w 10505529"/>
              <a:gd name="connsiteY33748" fmla="*/ 1757670 h 7458372"/>
              <a:gd name="connsiteX33749" fmla="*/ 20294 w 10505529"/>
              <a:gd name="connsiteY33749" fmla="*/ 1761271 h 7458372"/>
              <a:gd name="connsiteX33750" fmla="*/ 16700 w 10505529"/>
              <a:gd name="connsiteY33750" fmla="*/ 1770725 h 7458372"/>
              <a:gd name="connsiteX33751" fmla="*/ 20294 w 10505529"/>
              <a:gd name="connsiteY33751" fmla="*/ 1780175 h 7458372"/>
              <a:gd name="connsiteX33752" fmla="*/ 30277 w 10505529"/>
              <a:gd name="connsiteY33752" fmla="*/ 1783629 h 7458372"/>
              <a:gd name="connsiteX33753" fmla="*/ 35602 w 10505529"/>
              <a:gd name="connsiteY33753" fmla="*/ 1782708 h 7458372"/>
              <a:gd name="connsiteX33754" fmla="*/ 39329 w 10505529"/>
              <a:gd name="connsiteY33754" fmla="*/ 1780304 h 7458372"/>
              <a:gd name="connsiteX33755" fmla="*/ 41993 w 10505529"/>
              <a:gd name="connsiteY33755" fmla="*/ 1776047 h 7458372"/>
              <a:gd name="connsiteX33756" fmla="*/ 42923 w 10505529"/>
              <a:gd name="connsiteY33756" fmla="*/ 1770584 h 7458372"/>
              <a:gd name="connsiteX33757" fmla="*/ 41993 w 10505529"/>
              <a:gd name="connsiteY33757" fmla="*/ 1765399 h 7458372"/>
              <a:gd name="connsiteX33758" fmla="*/ 39329 w 10505529"/>
              <a:gd name="connsiteY33758" fmla="*/ 1761271 h 7458372"/>
              <a:gd name="connsiteX33759" fmla="*/ 35336 w 10505529"/>
              <a:gd name="connsiteY33759" fmla="*/ 1758610 h 7458372"/>
              <a:gd name="connsiteX33760" fmla="*/ 30277 w 10505529"/>
              <a:gd name="connsiteY33760" fmla="*/ 1757670 h 7458372"/>
              <a:gd name="connsiteX33761" fmla="*/ 10475977 w 10505529"/>
              <a:gd name="connsiteY33761" fmla="*/ 1740905 h 7458372"/>
              <a:gd name="connsiteX33762" fmla="*/ 10487824 w 10505529"/>
              <a:gd name="connsiteY33762" fmla="*/ 1743568 h 7458372"/>
              <a:gd name="connsiteX33763" fmla="*/ 10497143 w 10505529"/>
              <a:gd name="connsiteY33763" fmla="*/ 1749955 h 7458372"/>
              <a:gd name="connsiteX33764" fmla="*/ 10503266 w 10505529"/>
              <a:gd name="connsiteY33764" fmla="*/ 1759266 h 7458372"/>
              <a:gd name="connsiteX33765" fmla="*/ 10505529 w 10505529"/>
              <a:gd name="connsiteY33765" fmla="*/ 1770725 h 7458372"/>
              <a:gd name="connsiteX33766" fmla="*/ 10503266 w 10505529"/>
              <a:gd name="connsiteY33766" fmla="*/ 1782434 h 7458372"/>
              <a:gd name="connsiteX33767" fmla="*/ 10497143 w 10505529"/>
              <a:gd name="connsiteY33767" fmla="*/ 1791754 h 7458372"/>
              <a:gd name="connsiteX33768" fmla="*/ 10487824 w 10505529"/>
              <a:gd name="connsiteY33768" fmla="*/ 1798008 h 7458372"/>
              <a:gd name="connsiteX33769" fmla="*/ 10475977 w 10505529"/>
              <a:gd name="connsiteY33769" fmla="*/ 1800269 h 7458372"/>
              <a:gd name="connsiteX33770" fmla="*/ 10454145 w 10505529"/>
              <a:gd name="connsiteY33770" fmla="*/ 1791754 h 7458372"/>
              <a:gd name="connsiteX33771" fmla="*/ 10445759 w 10505529"/>
              <a:gd name="connsiteY33771" fmla="*/ 1770584 h 7458372"/>
              <a:gd name="connsiteX33772" fmla="*/ 10454145 w 10505529"/>
              <a:gd name="connsiteY33772" fmla="*/ 1749560 h 7458372"/>
              <a:gd name="connsiteX33773" fmla="*/ 10475977 w 10505529"/>
              <a:gd name="connsiteY33773" fmla="*/ 1740905 h 7458372"/>
              <a:gd name="connsiteX33774" fmla="*/ 10258466 w 10505529"/>
              <a:gd name="connsiteY33774" fmla="*/ 1740905 h 7458372"/>
              <a:gd name="connsiteX33775" fmla="*/ 10270313 w 10505529"/>
              <a:gd name="connsiteY33775" fmla="*/ 1743568 h 7458372"/>
              <a:gd name="connsiteX33776" fmla="*/ 10279631 w 10505529"/>
              <a:gd name="connsiteY33776" fmla="*/ 1749955 h 7458372"/>
              <a:gd name="connsiteX33777" fmla="*/ 10285754 w 10505529"/>
              <a:gd name="connsiteY33777" fmla="*/ 1759266 h 7458372"/>
              <a:gd name="connsiteX33778" fmla="*/ 10288017 w 10505529"/>
              <a:gd name="connsiteY33778" fmla="*/ 1770725 h 7458372"/>
              <a:gd name="connsiteX33779" fmla="*/ 10285754 w 10505529"/>
              <a:gd name="connsiteY33779" fmla="*/ 1782434 h 7458372"/>
              <a:gd name="connsiteX33780" fmla="*/ 10279631 w 10505529"/>
              <a:gd name="connsiteY33780" fmla="*/ 1791754 h 7458372"/>
              <a:gd name="connsiteX33781" fmla="*/ 10270313 w 10505529"/>
              <a:gd name="connsiteY33781" fmla="*/ 1798008 h 7458372"/>
              <a:gd name="connsiteX33782" fmla="*/ 10258466 w 10505529"/>
              <a:gd name="connsiteY33782" fmla="*/ 1800269 h 7458372"/>
              <a:gd name="connsiteX33783" fmla="*/ 10236633 w 10505529"/>
              <a:gd name="connsiteY33783" fmla="*/ 1791754 h 7458372"/>
              <a:gd name="connsiteX33784" fmla="*/ 10228247 w 10505529"/>
              <a:gd name="connsiteY33784" fmla="*/ 1770584 h 7458372"/>
              <a:gd name="connsiteX33785" fmla="*/ 10236633 w 10505529"/>
              <a:gd name="connsiteY33785" fmla="*/ 1749560 h 7458372"/>
              <a:gd name="connsiteX33786" fmla="*/ 10258466 w 10505529"/>
              <a:gd name="connsiteY33786" fmla="*/ 1740905 h 7458372"/>
              <a:gd name="connsiteX33787" fmla="*/ 10040820 w 10505529"/>
              <a:gd name="connsiteY33787" fmla="*/ 1740905 h 7458372"/>
              <a:gd name="connsiteX33788" fmla="*/ 10052534 w 10505529"/>
              <a:gd name="connsiteY33788" fmla="*/ 1743568 h 7458372"/>
              <a:gd name="connsiteX33789" fmla="*/ 10061852 w 10505529"/>
              <a:gd name="connsiteY33789" fmla="*/ 1749957 h 7458372"/>
              <a:gd name="connsiteX33790" fmla="*/ 10067976 w 10505529"/>
              <a:gd name="connsiteY33790" fmla="*/ 1759266 h 7458372"/>
              <a:gd name="connsiteX33791" fmla="*/ 10070239 w 10505529"/>
              <a:gd name="connsiteY33791" fmla="*/ 1770725 h 7458372"/>
              <a:gd name="connsiteX33792" fmla="*/ 10067976 w 10505529"/>
              <a:gd name="connsiteY33792" fmla="*/ 1782434 h 7458372"/>
              <a:gd name="connsiteX33793" fmla="*/ 10061852 w 10505529"/>
              <a:gd name="connsiteY33793" fmla="*/ 1791754 h 7458372"/>
              <a:gd name="connsiteX33794" fmla="*/ 10052534 w 10505529"/>
              <a:gd name="connsiteY33794" fmla="*/ 1798008 h 7458372"/>
              <a:gd name="connsiteX33795" fmla="*/ 10040820 w 10505529"/>
              <a:gd name="connsiteY33795" fmla="*/ 1800269 h 7458372"/>
              <a:gd name="connsiteX33796" fmla="*/ 10018988 w 10505529"/>
              <a:gd name="connsiteY33796" fmla="*/ 1791754 h 7458372"/>
              <a:gd name="connsiteX33797" fmla="*/ 10010602 w 10505529"/>
              <a:gd name="connsiteY33797" fmla="*/ 1770584 h 7458372"/>
              <a:gd name="connsiteX33798" fmla="*/ 10018988 w 10505529"/>
              <a:gd name="connsiteY33798" fmla="*/ 1749560 h 7458372"/>
              <a:gd name="connsiteX33799" fmla="*/ 10040820 w 10505529"/>
              <a:gd name="connsiteY33799" fmla="*/ 1740905 h 7458372"/>
              <a:gd name="connsiteX33800" fmla="*/ 9823176 w 10505529"/>
              <a:gd name="connsiteY33800" fmla="*/ 1740905 h 7458372"/>
              <a:gd name="connsiteX33801" fmla="*/ 9834890 w 10505529"/>
              <a:gd name="connsiteY33801" fmla="*/ 1743568 h 7458372"/>
              <a:gd name="connsiteX33802" fmla="*/ 9844208 w 10505529"/>
              <a:gd name="connsiteY33802" fmla="*/ 1749957 h 7458372"/>
              <a:gd name="connsiteX33803" fmla="*/ 9850331 w 10505529"/>
              <a:gd name="connsiteY33803" fmla="*/ 1759266 h 7458372"/>
              <a:gd name="connsiteX33804" fmla="*/ 9852595 w 10505529"/>
              <a:gd name="connsiteY33804" fmla="*/ 1770725 h 7458372"/>
              <a:gd name="connsiteX33805" fmla="*/ 9850331 w 10505529"/>
              <a:gd name="connsiteY33805" fmla="*/ 1782434 h 7458372"/>
              <a:gd name="connsiteX33806" fmla="*/ 9844208 w 10505529"/>
              <a:gd name="connsiteY33806" fmla="*/ 1791754 h 7458372"/>
              <a:gd name="connsiteX33807" fmla="*/ 9834890 w 10505529"/>
              <a:gd name="connsiteY33807" fmla="*/ 1798008 h 7458372"/>
              <a:gd name="connsiteX33808" fmla="*/ 9823176 w 10505529"/>
              <a:gd name="connsiteY33808" fmla="*/ 1800269 h 7458372"/>
              <a:gd name="connsiteX33809" fmla="*/ 9801343 w 10505529"/>
              <a:gd name="connsiteY33809" fmla="*/ 1791754 h 7458372"/>
              <a:gd name="connsiteX33810" fmla="*/ 9792957 w 10505529"/>
              <a:gd name="connsiteY33810" fmla="*/ 1770584 h 7458372"/>
              <a:gd name="connsiteX33811" fmla="*/ 9801343 w 10505529"/>
              <a:gd name="connsiteY33811" fmla="*/ 1749560 h 7458372"/>
              <a:gd name="connsiteX33812" fmla="*/ 9823176 w 10505529"/>
              <a:gd name="connsiteY33812" fmla="*/ 1740905 h 7458372"/>
              <a:gd name="connsiteX33813" fmla="*/ 9605531 w 10505529"/>
              <a:gd name="connsiteY33813" fmla="*/ 1740905 h 7458372"/>
              <a:gd name="connsiteX33814" fmla="*/ 9617245 w 10505529"/>
              <a:gd name="connsiteY33814" fmla="*/ 1743568 h 7458372"/>
              <a:gd name="connsiteX33815" fmla="*/ 9626562 w 10505529"/>
              <a:gd name="connsiteY33815" fmla="*/ 1749957 h 7458372"/>
              <a:gd name="connsiteX33816" fmla="*/ 9632686 w 10505529"/>
              <a:gd name="connsiteY33816" fmla="*/ 1759266 h 7458372"/>
              <a:gd name="connsiteX33817" fmla="*/ 9634949 w 10505529"/>
              <a:gd name="connsiteY33817" fmla="*/ 1770725 h 7458372"/>
              <a:gd name="connsiteX33818" fmla="*/ 9632686 w 10505529"/>
              <a:gd name="connsiteY33818" fmla="*/ 1782434 h 7458372"/>
              <a:gd name="connsiteX33819" fmla="*/ 9626562 w 10505529"/>
              <a:gd name="connsiteY33819" fmla="*/ 1791754 h 7458372"/>
              <a:gd name="connsiteX33820" fmla="*/ 9617245 w 10505529"/>
              <a:gd name="connsiteY33820" fmla="*/ 1798008 h 7458372"/>
              <a:gd name="connsiteX33821" fmla="*/ 9605531 w 10505529"/>
              <a:gd name="connsiteY33821" fmla="*/ 1800269 h 7458372"/>
              <a:gd name="connsiteX33822" fmla="*/ 9583698 w 10505529"/>
              <a:gd name="connsiteY33822" fmla="*/ 1791754 h 7458372"/>
              <a:gd name="connsiteX33823" fmla="*/ 9575312 w 10505529"/>
              <a:gd name="connsiteY33823" fmla="*/ 1770584 h 7458372"/>
              <a:gd name="connsiteX33824" fmla="*/ 9583698 w 10505529"/>
              <a:gd name="connsiteY33824" fmla="*/ 1749560 h 7458372"/>
              <a:gd name="connsiteX33825" fmla="*/ 9605531 w 10505529"/>
              <a:gd name="connsiteY33825" fmla="*/ 1740905 h 7458372"/>
              <a:gd name="connsiteX33826" fmla="*/ 9387885 w 10505529"/>
              <a:gd name="connsiteY33826" fmla="*/ 1740905 h 7458372"/>
              <a:gd name="connsiteX33827" fmla="*/ 9399599 w 10505529"/>
              <a:gd name="connsiteY33827" fmla="*/ 1743568 h 7458372"/>
              <a:gd name="connsiteX33828" fmla="*/ 9408917 w 10505529"/>
              <a:gd name="connsiteY33828" fmla="*/ 1749957 h 7458372"/>
              <a:gd name="connsiteX33829" fmla="*/ 9415041 w 10505529"/>
              <a:gd name="connsiteY33829" fmla="*/ 1759266 h 7458372"/>
              <a:gd name="connsiteX33830" fmla="*/ 9417304 w 10505529"/>
              <a:gd name="connsiteY33830" fmla="*/ 1770725 h 7458372"/>
              <a:gd name="connsiteX33831" fmla="*/ 9415041 w 10505529"/>
              <a:gd name="connsiteY33831" fmla="*/ 1782434 h 7458372"/>
              <a:gd name="connsiteX33832" fmla="*/ 9408917 w 10505529"/>
              <a:gd name="connsiteY33832" fmla="*/ 1791754 h 7458372"/>
              <a:gd name="connsiteX33833" fmla="*/ 9399599 w 10505529"/>
              <a:gd name="connsiteY33833" fmla="*/ 1798008 h 7458372"/>
              <a:gd name="connsiteX33834" fmla="*/ 9387885 w 10505529"/>
              <a:gd name="connsiteY33834" fmla="*/ 1800269 h 7458372"/>
              <a:gd name="connsiteX33835" fmla="*/ 9366053 w 10505529"/>
              <a:gd name="connsiteY33835" fmla="*/ 1791754 h 7458372"/>
              <a:gd name="connsiteX33836" fmla="*/ 9357667 w 10505529"/>
              <a:gd name="connsiteY33836" fmla="*/ 1770584 h 7458372"/>
              <a:gd name="connsiteX33837" fmla="*/ 9366053 w 10505529"/>
              <a:gd name="connsiteY33837" fmla="*/ 1749560 h 7458372"/>
              <a:gd name="connsiteX33838" fmla="*/ 9387885 w 10505529"/>
              <a:gd name="connsiteY33838" fmla="*/ 1740905 h 7458372"/>
              <a:gd name="connsiteX33839" fmla="*/ 9170374 w 10505529"/>
              <a:gd name="connsiteY33839" fmla="*/ 1740905 h 7458372"/>
              <a:gd name="connsiteX33840" fmla="*/ 9182088 w 10505529"/>
              <a:gd name="connsiteY33840" fmla="*/ 1743568 h 7458372"/>
              <a:gd name="connsiteX33841" fmla="*/ 9191405 w 10505529"/>
              <a:gd name="connsiteY33841" fmla="*/ 1749957 h 7458372"/>
              <a:gd name="connsiteX33842" fmla="*/ 9197529 w 10505529"/>
              <a:gd name="connsiteY33842" fmla="*/ 1759266 h 7458372"/>
              <a:gd name="connsiteX33843" fmla="*/ 9199792 w 10505529"/>
              <a:gd name="connsiteY33843" fmla="*/ 1770725 h 7458372"/>
              <a:gd name="connsiteX33844" fmla="*/ 9197529 w 10505529"/>
              <a:gd name="connsiteY33844" fmla="*/ 1782434 h 7458372"/>
              <a:gd name="connsiteX33845" fmla="*/ 9191405 w 10505529"/>
              <a:gd name="connsiteY33845" fmla="*/ 1791754 h 7458372"/>
              <a:gd name="connsiteX33846" fmla="*/ 9182088 w 10505529"/>
              <a:gd name="connsiteY33846" fmla="*/ 1798008 h 7458372"/>
              <a:gd name="connsiteX33847" fmla="*/ 9170374 w 10505529"/>
              <a:gd name="connsiteY33847" fmla="*/ 1800269 h 7458372"/>
              <a:gd name="connsiteX33848" fmla="*/ 9148541 w 10505529"/>
              <a:gd name="connsiteY33848" fmla="*/ 1791754 h 7458372"/>
              <a:gd name="connsiteX33849" fmla="*/ 9140155 w 10505529"/>
              <a:gd name="connsiteY33849" fmla="*/ 1770584 h 7458372"/>
              <a:gd name="connsiteX33850" fmla="*/ 9148541 w 10505529"/>
              <a:gd name="connsiteY33850" fmla="*/ 1749560 h 7458372"/>
              <a:gd name="connsiteX33851" fmla="*/ 9170374 w 10505529"/>
              <a:gd name="connsiteY33851" fmla="*/ 1740905 h 7458372"/>
              <a:gd name="connsiteX33852" fmla="*/ 8952728 w 10505529"/>
              <a:gd name="connsiteY33852" fmla="*/ 1740905 h 7458372"/>
              <a:gd name="connsiteX33853" fmla="*/ 8964442 w 10505529"/>
              <a:gd name="connsiteY33853" fmla="*/ 1743568 h 7458372"/>
              <a:gd name="connsiteX33854" fmla="*/ 8973760 w 10505529"/>
              <a:gd name="connsiteY33854" fmla="*/ 1749957 h 7458372"/>
              <a:gd name="connsiteX33855" fmla="*/ 8979884 w 10505529"/>
              <a:gd name="connsiteY33855" fmla="*/ 1759266 h 7458372"/>
              <a:gd name="connsiteX33856" fmla="*/ 8982147 w 10505529"/>
              <a:gd name="connsiteY33856" fmla="*/ 1770725 h 7458372"/>
              <a:gd name="connsiteX33857" fmla="*/ 8979884 w 10505529"/>
              <a:gd name="connsiteY33857" fmla="*/ 1782434 h 7458372"/>
              <a:gd name="connsiteX33858" fmla="*/ 8973760 w 10505529"/>
              <a:gd name="connsiteY33858" fmla="*/ 1791754 h 7458372"/>
              <a:gd name="connsiteX33859" fmla="*/ 8964442 w 10505529"/>
              <a:gd name="connsiteY33859" fmla="*/ 1798008 h 7458372"/>
              <a:gd name="connsiteX33860" fmla="*/ 8952728 w 10505529"/>
              <a:gd name="connsiteY33860" fmla="*/ 1800269 h 7458372"/>
              <a:gd name="connsiteX33861" fmla="*/ 8930896 w 10505529"/>
              <a:gd name="connsiteY33861" fmla="*/ 1791754 h 7458372"/>
              <a:gd name="connsiteX33862" fmla="*/ 8922510 w 10505529"/>
              <a:gd name="connsiteY33862" fmla="*/ 1770584 h 7458372"/>
              <a:gd name="connsiteX33863" fmla="*/ 8930896 w 10505529"/>
              <a:gd name="connsiteY33863" fmla="*/ 1749560 h 7458372"/>
              <a:gd name="connsiteX33864" fmla="*/ 8952728 w 10505529"/>
              <a:gd name="connsiteY33864" fmla="*/ 1740905 h 7458372"/>
              <a:gd name="connsiteX33865" fmla="*/ 8735083 w 10505529"/>
              <a:gd name="connsiteY33865" fmla="*/ 1740905 h 7458372"/>
              <a:gd name="connsiteX33866" fmla="*/ 8746797 w 10505529"/>
              <a:gd name="connsiteY33866" fmla="*/ 1743568 h 7458372"/>
              <a:gd name="connsiteX33867" fmla="*/ 8756115 w 10505529"/>
              <a:gd name="connsiteY33867" fmla="*/ 1749957 h 7458372"/>
              <a:gd name="connsiteX33868" fmla="*/ 8762238 w 10505529"/>
              <a:gd name="connsiteY33868" fmla="*/ 1759266 h 7458372"/>
              <a:gd name="connsiteX33869" fmla="*/ 8764502 w 10505529"/>
              <a:gd name="connsiteY33869" fmla="*/ 1770725 h 7458372"/>
              <a:gd name="connsiteX33870" fmla="*/ 8762238 w 10505529"/>
              <a:gd name="connsiteY33870" fmla="*/ 1782434 h 7458372"/>
              <a:gd name="connsiteX33871" fmla="*/ 8756115 w 10505529"/>
              <a:gd name="connsiteY33871" fmla="*/ 1791754 h 7458372"/>
              <a:gd name="connsiteX33872" fmla="*/ 8746797 w 10505529"/>
              <a:gd name="connsiteY33872" fmla="*/ 1798008 h 7458372"/>
              <a:gd name="connsiteX33873" fmla="*/ 8735083 w 10505529"/>
              <a:gd name="connsiteY33873" fmla="*/ 1800269 h 7458372"/>
              <a:gd name="connsiteX33874" fmla="*/ 8713250 w 10505529"/>
              <a:gd name="connsiteY33874" fmla="*/ 1791754 h 7458372"/>
              <a:gd name="connsiteX33875" fmla="*/ 8704864 w 10505529"/>
              <a:gd name="connsiteY33875" fmla="*/ 1770584 h 7458372"/>
              <a:gd name="connsiteX33876" fmla="*/ 8713250 w 10505529"/>
              <a:gd name="connsiteY33876" fmla="*/ 1749560 h 7458372"/>
              <a:gd name="connsiteX33877" fmla="*/ 8735083 w 10505529"/>
              <a:gd name="connsiteY33877" fmla="*/ 1740905 h 7458372"/>
              <a:gd name="connsiteX33878" fmla="*/ 8517438 w 10505529"/>
              <a:gd name="connsiteY33878" fmla="*/ 1740905 h 7458372"/>
              <a:gd name="connsiteX33879" fmla="*/ 8529152 w 10505529"/>
              <a:gd name="connsiteY33879" fmla="*/ 1743568 h 7458372"/>
              <a:gd name="connsiteX33880" fmla="*/ 8538470 w 10505529"/>
              <a:gd name="connsiteY33880" fmla="*/ 1749957 h 7458372"/>
              <a:gd name="connsiteX33881" fmla="*/ 8544594 w 10505529"/>
              <a:gd name="connsiteY33881" fmla="*/ 1759266 h 7458372"/>
              <a:gd name="connsiteX33882" fmla="*/ 8546857 w 10505529"/>
              <a:gd name="connsiteY33882" fmla="*/ 1770725 h 7458372"/>
              <a:gd name="connsiteX33883" fmla="*/ 8544594 w 10505529"/>
              <a:gd name="connsiteY33883" fmla="*/ 1782434 h 7458372"/>
              <a:gd name="connsiteX33884" fmla="*/ 8538470 w 10505529"/>
              <a:gd name="connsiteY33884" fmla="*/ 1791754 h 7458372"/>
              <a:gd name="connsiteX33885" fmla="*/ 8529152 w 10505529"/>
              <a:gd name="connsiteY33885" fmla="*/ 1798008 h 7458372"/>
              <a:gd name="connsiteX33886" fmla="*/ 8517438 w 10505529"/>
              <a:gd name="connsiteY33886" fmla="*/ 1800269 h 7458372"/>
              <a:gd name="connsiteX33887" fmla="*/ 8495606 w 10505529"/>
              <a:gd name="connsiteY33887" fmla="*/ 1791754 h 7458372"/>
              <a:gd name="connsiteX33888" fmla="*/ 8487220 w 10505529"/>
              <a:gd name="connsiteY33888" fmla="*/ 1770584 h 7458372"/>
              <a:gd name="connsiteX33889" fmla="*/ 8495606 w 10505529"/>
              <a:gd name="connsiteY33889" fmla="*/ 1749560 h 7458372"/>
              <a:gd name="connsiteX33890" fmla="*/ 8517438 w 10505529"/>
              <a:gd name="connsiteY33890" fmla="*/ 1740905 h 7458372"/>
              <a:gd name="connsiteX33891" fmla="*/ 8299793 w 10505529"/>
              <a:gd name="connsiteY33891" fmla="*/ 1740905 h 7458372"/>
              <a:gd name="connsiteX33892" fmla="*/ 8311507 w 10505529"/>
              <a:gd name="connsiteY33892" fmla="*/ 1743568 h 7458372"/>
              <a:gd name="connsiteX33893" fmla="*/ 8320825 w 10505529"/>
              <a:gd name="connsiteY33893" fmla="*/ 1749957 h 7458372"/>
              <a:gd name="connsiteX33894" fmla="*/ 8326948 w 10505529"/>
              <a:gd name="connsiteY33894" fmla="*/ 1759266 h 7458372"/>
              <a:gd name="connsiteX33895" fmla="*/ 8329212 w 10505529"/>
              <a:gd name="connsiteY33895" fmla="*/ 1770725 h 7458372"/>
              <a:gd name="connsiteX33896" fmla="*/ 8326948 w 10505529"/>
              <a:gd name="connsiteY33896" fmla="*/ 1782434 h 7458372"/>
              <a:gd name="connsiteX33897" fmla="*/ 8320825 w 10505529"/>
              <a:gd name="connsiteY33897" fmla="*/ 1791754 h 7458372"/>
              <a:gd name="connsiteX33898" fmla="*/ 8311507 w 10505529"/>
              <a:gd name="connsiteY33898" fmla="*/ 1798008 h 7458372"/>
              <a:gd name="connsiteX33899" fmla="*/ 8299793 w 10505529"/>
              <a:gd name="connsiteY33899" fmla="*/ 1800269 h 7458372"/>
              <a:gd name="connsiteX33900" fmla="*/ 8277960 w 10505529"/>
              <a:gd name="connsiteY33900" fmla="*/ 1791754 h 7458372"/>
              <a:gd name="connsiteX33901" fmla="*/ 8269574 w 10505529"/>
              <a:gd name="connsiteY33901" fmla="*/ 1770584 h 7458372"/>
              <a:gd name="connsiteX33902" fmla="*/ 8277960 w 10505529"/>
              <a:gd name="connsiteY33902" fmla="*/ 1749560 h 7458372"/>
              <a:gd name="connsiteX33903" fmla="*/ 8299793 w 10505529"/>
              <a:gd name="connsiteY33903" fmla="*/ 1740905 h 7458372"/>
              <a:gd name="connsiteX33904" fmla="*/ 8082281 w 10505529"/>
              <a:gd name="connsiteY33904" fmla="*/ 1740905 h 7458372"/>
              <a:gd name="connsiteX33905" fmla="*/ 8094127 w 10505529"/>
              <a:gd name="connsiteY33905" fmla="*/ 1743568 h 7458372"/>
              <a:gd name="connsiteX33906" fmla="*/ 8103446 w 10505529"/>
              <a:gd name="connsiteY33906" fmla="*/ 1749957 h 7458372"/>
              <a:gd name="connsiteX33907" fmla="*/ 8109569 w 10505529"/>
              <a:gd name="connsiteY33907" fmla="*/ 1759266 h 7458372"/>
              <a:gd name="connsiteX33908" fmla="*/ 8111832 w 10505529"/>
              <a:gd name="connsiteY33908" fmla="*/ 1770725 h 7458372"/>
              <a:gd name="connsiteX33909" fmla="*/ 8109569 w 10505529"/>
              <a:gd name="connsiteY33909" fmla="*/ 1782434 h 7458372"/>
              <a:gd name="connsiteX33910" fmla="*/ 8103446 w 10505529"/>
              <a:gd name="connsiteY33910" fmla="*/ 1791754 h 7458372"/>
              <a:gd name="connsiteX33911" fmla="*/ 8094127 w 10505529"/>
              <a:gd name="connsiteY33911" fmla="*/ 1798008 h 7458372"/>
              <a:gd name="connsiteX33912" fmla="*/ 8082281 w 10505529"/>
              <a:gd name="connsiteY33912" fmla="*/ 1800269 h 7458372"/>
              <a:gd name="connsiteX33913" fmla="*/ 8060448 w 10505529"/>
              <a:gd name="connsiteY33913" fmla="*/ 1791754 h 7458372"/>
              <a:gd name="connsiteX33914" fmla="*/ 8052062 w 10505529"/>
              <a:gd name="connsiteY33914" fmla="*/ 1770584 h 7458372"/>
              <a:gd name="connsiteX33915" fmla="*/ 8060448 w 10505529"/>
              <a:gd name="connsiteY33915" fmla="*/ 1749560 h 7458372"/>
              <a:gd name="connsiteX33916" fmla="*/ 8082281 w 10505529"/>
              <a:gd name="connsiteY33916" fmla="*/ 1740905 h 7458372"/>
              <a:gd name="connsiteX33917" fmla="*/ 7864636 w 10505529"/>
              <a:gd name="connsiteY33917" fmla="*/ 1740905 h 7458372"/>
              <a:gd name="connsiteX33918" fmla="*/ 7876483 w 10505529"/>
              <a:gd name="connsiteY33918" fmla="*/ 1743568 h 7458372"/>
              <a:gd name="connsiteX33919" fmla="*/ 7885802 w 10505529"/>
              <a:gd name="connsiteY33919" fmla="*/ 1749957 h 7458372"/>
              <a:gd name="connsiteX33920" fmla="*/ 7891924 w 10505529"/>
              <a:gd name="connsiteY33920" fmla="*/ 1759266 h 7458372"/>
              <a:gd name="connsiteX33921" fmla="*/ 7894188 w 10505529"/>
              <a:gd name="connsiteY33921" fmla="*/ 1770725 h 7458372"/>
              <a:gd name="connsiteX33922" fmla="*/ 7891924 w 10505529"/>
              <a:gd name="connsiteY33922" fmla="*/ 1782434 h 7458372"/>
              <a:gd name="connsiteX33923" fmla="*/ 7885802 w 10505529"/>
              <a:gd name="connsiteY33923" fmla="*/ 1791754 h 7458372"/>
              <a:gd name="connsiteX33924" fmla="*/ 7876483 w 10505529"/>
              <a:gd name="connsiteY33924" fmla="*/ 1798008 h 7458372"/>
              <a:gd name="connsiteX33925" fmla="*/ 7864636 w 10505529"/>
              <a:gd name="connsiteY33925" fmla="*/ 1800269 h 7458372"/>
              <a:gd name="connsiteX33926" fmla="*/ 7842803 w 10505529"/>
              <a:gd name="connsiteY33926" fmla="*/ 1791754 h 7458372"/>
              <a:gd name="connsiteX33927" fmla="*/ 7834417 w 10505529"/>
              <a:gd name="connsiteY33927" fmla="*/ 1770584 h 7458372"/>
              <a:gd name="connsiteX33928" fmla="*/ 7842803 w 10505529"/>
              <a:gd name="connsiteY33928" fmla="*/ 1749560 h 7458372"/>
              <a:gd name="connsiteX33929" fmla="*/ 7864636 w 10505529"/>
              <a:gd name="connsiteY33929" fmla="*/ 1740905 h 7458372"/>
              <a:gd name="connsiteX33930" fmla="*/ 7646991 w 10505529"/>
              <a:gd name="connsiteY33930" fmla="*/ 1740905 h 7458372"/>
              <a:gd name="connsiteX33931" fmla="*/ 7658705 w 10505529"/>
              <a:gd name="connsiteY33931" fmla="*/ 1743568 h 7458372"/>
              <a:gd name="connsiteX33932" fmla="*/ 7668022 w 10505529"/>
              <a:gd name="connsiteY33932" fmla="*/ 1749957 h 7458372"/>
              <a:gd name="connsiteX33933" fmla="*/ 7674146 w 10505529"/>
              <a:gd name="connsiteY33933" fmla="*/ 1759266 h 7458372"/>
              <a:gd name="connsiteX33934" fmla="*/ 7676409 w 10505529"/>
              <a:gd name="connsiteY33934" fmla="*/ 1770725 h 7458372"/>
              <a:gd name="connsiteX33935" fmla="*/ 7674146 w 10505529"/>
              <a:gd name="connsiteY33935" fmla="*/ 1782434 h 7458372"/>
              <a:gd name="connsiteX33936" fmla="*/ 7668022 w 10505529"/>
              <a:gd name="connsiteY33936" fmla="*/ 1791754 h 7458372"/>
              <a:gd name="connsiteX33937" fmla="*/ 7658705 w 10505529"/>
              <a:gd name="connsiteY33937" fmla="*/ 1798008 h 7458372"/>
              <a:gd name="connsiteX33938" fmla="*/ 7646991 w 10505529"/>
              <a:gd name="connsiteY33938" fmla="*/ 1800269 h 7458372"/>
              <a:gd name="connsiteX33939" fmla="*/ 7625158 w 10505529"/>
              <a:gd name="connsiteY33939" fmla="*/ 1791754 h 7458372"/>
              <a:gd name="connsiteX33940" fmla="*/ 7616772 w 10505529"/>
              <a:gd name="connsiteY33940" fmla="*/ 1770584 h 7458372"/>
              <a:gd name="connsiteX33941" fmla="*/ 7625158 w 10505529"/>
              <a:gd name="connsiteY33941" fmla="*/ 1749560 h 7458372"/>
              <a:gd name="connsiteX33942" fmla="*/ 7646991 w 10505529"/>
              <a:gd name="connsiteY33942" fmla="*/ 1740905 h 7458372"/>
              <a:gd name="connsiteX33943" fmla="*/ 7429345 w 10505529"/>
              <a:gd name="connsiteY33943" fmla="*/ 1740905 h 7458372"/>
              <a:gd name="connsiteX33944" fmla="*/ 7441059 w 10505529"/>
              <a:gd name="connsiteY33944" fmla="*/ 1743568 h 7458372"/>
              <a:gd name="connsiteX33945" fmla="*/ 7450377 w 10505529"/>
              <a:gd name="connsiteY33945" fmla="*/ 1749957 h 7458372"/>
              <a:gd name="connsiteX33946" fmla="*/ 7456501 w 10505529"/>
              <a:gd name="connsiteY33946" fmla="*/ 1759266 h 7458372"/>
              <a:gd name="connsiteX33947" fmla="*/ 7458764 w 10505529"/>
              <a:gd name="connsiteY33947" fmla="*/ 1770725 h 7458372"/>
              <a:gd name="connsiteX33948" fmla="*/ 7456501 w 10505529"/>
              <a:gd name="connsiteY33948" fmla="*/ 1782434 h 7458372"/>
              <a:gd name="connsiteX33949" fmla="*/ 7450377 w 10505529"/>
              <a:gd name="connsiteY33949" fmla="*/ 1791754 h 7458372"/>
              <a:gd name="connsiteX33950" fmla="*/ 7441059 w 10505529"/>
              <a:gd name="connsiteY33950" fmla="*/ 1798008 h 7458372"/>
              <a:gd name="connsiteX33951" fmla="*/ 7429345 w 10505529"/>
              <a:gd name="connsiteY33951" fmla="*/ 1800269 h 7458372"/>
              <a:gd name="connsiteX33952" fmla="*/ 7407513 w 10505529"/>
              <a:gd name="connsiteY33952" fmla="*/ 1791754 h 7458372"/>
              <a:gd name="connsiteX33953" fmla="*/ 7399127 w 10505529"/>
              <a:gd name="connsiteY33953" fmla="*/ 1770584 h 7458372"/>
              <a:gd name="connsiteX33954" fmla="*/ 7407513 w 10505529"/>
              <a:gd name="connsiteY33954" fmla="*/ 1749560 h 7458372"/>
              <a:gd name="connsiteX33955" fmla="*/ 7429345 w 10505529"/>
              <a:gd name="connsiteY33955" fmla="*/ 1740905 h 7458372"/>
              <a:gd name="connsiteX33956" fmla="*/ 7211701 w 10505529"/>
              <a:gd name="connsiteY33956" fmla="*/ 1740905 h 7458372"/>
              <a:gd name="connsiteX33957" fmla="*/ 7223415 w 10505529"/>
              <a:gd name="connsiteY33957" fmla="*/ 1743568 h 7458372"/>
              <a:gd name="connsiteX33958" fmla="*/ 7232733 w 10505529"/>
              <a:gd name="connsiteY33958" fmla="*/ 1749957 h 7458372"/>
              <a:gd name="connsiteX33959" fmla="*/ 7238856 w 10505529"/>
              <a:gd name="connsiteY33959" fmla="*/ 1759266 h 7458372"/>
              <a:gd name="connsiteX33960" fmla="*/ 7241120 w 10505529"/>
              <a:gd name="connsiteY33960" fmla="*/ 1770725 h 7458372"/>
              <a:gd name="connsiteX33961" fmla="*/ 7238856 w 10505529"/>
              <a:gd name="connsiteY33961" fmla="*/ 1782434 h 7458372"/>
              <a:gd name="connsiteX33962" fmla="*/ 7232733 w 10505529"/>
              <a:gd name="connsiteY33962" fmla="*/ 1791754 h 7458372"/>
              <a:gd name="connsiteX33963" fmla="*/ 7223415 w 10505529"/>
              <a:gd name="connsiteY33963" fmla="*/ 1798008 h 7458372"/>
              <a:gd name="connsiteX33964" fmla="*/ 7211701 w 10505529"/>
              <a:gd name="connsiteY33964" fmla="*/ 1800269 h 7458372"/>
              <a:gd name="connsiteX33965" fmla="*/ 7189868 w 10505529"/>
              <a:gd name="connsiteY33965" fmla="*/ 1791754 h 7458372"/>
              <a:gd name="connsiteX33966" fmla="*/ 7181482 w 10505529"/>
              <a:gd name="connsiteY33966" fmla="*/ 1770584 h 7458372"/>
              <a:gd name="connsiteX33967" fmla="*/ 7189868 w 10505529"/>
              <a:gd name="connsiteY33967" fmla="*/ 1749560 h 7458372"/>
              <a:gd name="connsiteX33968" fmla="*/ 7211701 w 10505529"/>
              <a:gd name="connsiteY33968" fmla="*/ 1740905 h 7458372"/>
              <a:gd name="connsiteX33969" fmla="*/ 6994056 w 10505529"/>
              <a:gd name="connsiteY33969" fmla="*/ 1740905 h 7458372"/>
              <a:gd name="connsiteX33970" fmla="*/ 7005769 w 10505529"/>
              <a:gd name="connsiteY33970" fmla="*/ 1743568 h 7458372"/>
              <a:gd name="connsiteX33971" fmla="*/ 7015087 w 10505529"/>
              <a:gd name="connsiteY33971" fmla="*/ 1749957 h 7458372"/>
              <a:gd name="connsiteX33972" fmla="*/ 7021211 w 10505529"/>
              <a:gd name="connsiteY33972" fmla="*/ 1759266 h 7458372"/>
              <a:gd name="connsiteX33973" fmla="*/ 7023474 w 10505529"/>
              <a:gd name="connsiteY33973" fmla="*/ 1770725 h 7458372"/>
              <a:gd name="connsiteX33974" fmla="*/ 7021211 w 10505529"/>
              <a:gd name="connsiteY33974" fmla="*/ 1782434 h 7458372"/>
              <a:gd name="connsiteX33975" fmla="*/ 7015087 w 10505529"/>
              <a:gd name="connsiteY33975" fmla="*/ 1791754 h 7458372"/>
              <a:gd name="connsiteX33976" fmla="*/ 7005769 w 10505529"/>
              <a:gd name="connsiteY33976" fmla="*/ 1798008 h 7458372"/>
              <a:gd name="connsiteX33977" fmla="*/ 6994056 w 10505529"/>
              <a:gd name="connsiteY33977" fmla="*/ 1800269 h 7458372"/>
              <a:gd name="connsiteX33978" fmla="*/ 6972223 w 10505529"/>
              <a:gd name="connsiteY33978" fmla="*/ 1791754 h 7458372"/>
              <a:gd name="connsiteX33979" fmla="*/ 6963837 w 10505529"/>
              <a:gd name="connsiteY33979" fmla="*/ 1770584 h 7458372"/>
              <a:gd name="connsiteX33980" fmla="*/ 6972223 w 10505529"/>
              <a:gd name="connsiteY33980" fmla="*/ 1749560 h 7458372"/>
              <a:gd name="connsiteX33981" fmla="*/ 6994056 w 10505529"/>
              <a:gd name="connsiteY33981" fmla="*/ 1740905 h 7458372"/>
              <a:gd name="connsiteX33982" fmla="*/ 6776544 w 10505529"/>
              <a:gd name="connsiteY33982" fmla="*/ 1740905 h 7458372"/>
              <a:gd name="connsiteX33983" fmla="*/ 6788258 w 10505529"/>
              <a:gd name="connsiteY33983" fmla="*/ 1743568 h 7458372"/>
              <a:gd name="connsiteX33984" fmla="*/ 6797576 w 10505529"/>
              <a:gd name="connsiteY33984" fmla="*/ 1749957 h 7458372"/>
              <a:gd name="connsiteX33985" fmla="*/ 6803699 w 10505529"/>
              <a:gd name="connsiteY33985" fmla="*/ 1759266 h 7458372"/>
              <a:gd name="connsiteX33986" fmla="*/ 6805963 w 10505529"/>
              <a:gd name="connsiteY33986" fmla="*/ 1770725 h 7458372"/>
              <a:gd name="connsiteX33987" fmla="*/ 6803699 w 10505529"/>
              <a:gd name="connsiteY33987" fmla="*/ 1782434 h 7458372"/>
              <a:gd name="connsiteX33988" fmla="*/ 6797576 w 10505529"/>
              <a:gd name="connsiteY33988" fmla="*/ 1791754 h 7458372"/>
              <a:gd name="connsiteX33989" fmla="*/ 6788258 w 10505529"/>
              <a:gd name="connsiteY33989" fmla="*/ 1798008 h 7458372"/>
              <a:gd name="connsiteX33990" fmla="*/ 6776544 w 10505529"/>
              <a:gd name="connsiteY33990" fmla="*/ 1800269 h 7458372"/>
              <a:gd name="connsiteX33991" fmla="*/ 6754711 w 10505529"/>
              <a:gd name="connsiteY33991" fmla="*/ 1791754 h 7458372"/>
              <a:gd name="connsiteX33992" fmla="*/ 6746325 w 10505529"/>
              <a:gd name="connsiteY33992" fmla="*/ 1770584 h 7458372"/>
              <a:gd name="connsiteX33993" fmla="*/ 6754711 w 10505529"/>
              <a:gd name="connsiteY33993" fmla="*/ 1749560 h 7458372"/>
              <a:gd name="connsiteX33994" fmla="*/ 6776544 w 10505529"/>
              <a:gd name="connsiteY33994" fmla="*/ 1740905 h 7458372"/>
              <a:gd name="connsiteX33995" fmla="*/ 6558899 w 10505529"/>
              <a:gd name="connsiteY33995" fmla="*/ 1740905 h 7458372"/>
              <a:gd name="connsiteX33996" fmla="*/ 6570612 w 10505529"/>
              <a:gd name="connsiteY33996" fmla="*/ 1743568 h 7458372"/>
              <a:gd name="connsiteX33997" fmla="*/ 6579930 w 10505529"/>
              <a:gd name="connsiteY33997" fmla="*/ 1749957 h 7458372"/>
              <a:gd name="connsiteX33998" fmla="*/ 6586054 w 10505529"/>
              <a:gd name="connsiteY33998" fmla="*/ 1759266 h 7458372"/>
              <a:gd name="connsiteX33999" fmla="*/ 6588317 w 10505529"/>
              <a:gd name="connsiteY33999" fmla="*/ 1770725 h 7458372"/>
              <a:gd name="connsiteX34000" fmla="*/ 6586054 w 10505529"/>
              <a:gd name="connsiteY34000" fmla="*/ 1782434 h 7458372"/>
              <a:gd name="connsiteX34001" fmla="*/ 6579930 w 10505529"/>
              <a:gd name="connsiteY34001" fmla="*/ 1791754 h 7458372"/>
              <a:gd name="connsiteX34002" fmla="*/ 6570612 w 10505529"/>
              <a:gd name="connsiteY34002" fmla="*/ 1798008 h 7458372"/>
              <a:gd name="connsiteX34003" fmla="*/ 6558899 w 10505529"/>
              <a:gd name="connsiteY34003" fmla="*/ 1800269 h 7458372"/>
              <a:gd name="connsiteX34004" fmla="*/ 6537066 w 10505529"/>
              <a:gd name="connsiteY34004" fmla="*/ 1791754 h 7458372"/>
              <a:gd name="connsiteX34005" fmla="*/ 6528680 w 10505529"/>
              <a:gd name="connsiteY34005" fmla="*/ 1770584 h 7458372"/>
              <a:gd name="connsiteX34006" fmla="*/ 6537066 w 10505529"/>
              <a:gd name="connsiteY34006" fmla="*/ 1749560 h 7458372"/>
              <a:gd name="connsiteX34007" fmla="*/ 6558899 w 10505529"/>
              <a:gd name="connsiteY34007" fmla="*/ 1740905 h 7458372"/>
              <a:gd name="connsiteX34008" fmla="*/ 6341253 w 10505529"/>
              <a:gd name="connsiteY34008" fmla="*/ 1740905 h 7458372"/>
              <a:gd name="connsiteX34009" fmla="*/ 6352968 w 10505529"/>
              <a:gd name="connsiteY34009" fmla="*/ 1743568 h 7458372"/>
              <a:gd name="connsiteX34010" fmla="*/ 6362286 w 10505529"/>
              <a:gd name="connsiteY34010" fmla="*/ 1749957 h 7458372"/>
              <a:gd name="connsiteX34011" fmla="*/ 6368409 w 10505529"/>
              <a:gd name="connsiteY34011" fmla="*/ 1759266 h 7458372"/>
              <a:gd name="connsiteX34012" fmla="*/ 6370672 w 10505529"/>
              <a:gd name="connsiteY34012" fmla="*/ 1770725 h 7458372"/>
              <a:gd name="connsiteX34013" fmla="*/ 6368409 w 10505529"/>
              <a:gd name="connsiteY34013" fmla="*/ 1782434 h 7458372"/>
              <a:gd name="connsiteX34014" fmla="*/ 6362286 w 10505529"/>
              <a:gd name="connsiteY34014" fmla="*/ 1791754 h 7458372"/>
              <a:gd name="connsiteX34015" fmla="*/ 6352968 w 10505529"/>
              <a:gd name="connsiteY34015" fmla="*/ 1798008 h 7458372"/>
              <a:gd name="connsiteX34016" fmla="*/ 6341253 w 10505529"/>
              <a:gd name="connsiteY34016" fmla="*/ 1800269 h 7458372"/>
              <a:gd name="connsiteX34017" fmla="*/ 6319421 w 10505529"/>
              <a:gd name="connsiteY34017" fmla="*/ 1791754 h 7458372"/>
              <a:gd name="connsiteX34018" fmla="*/ 6311035 w 10505529"/>
              <a:gd name="connsiteY34018" fmla="*/ 1770584 h 7458372"/>
              <a:gd name="connsiteX34019" fmla="*/ 6319421 w 10505529"/>
              <a:gd name="connsiteY34019" fmla="*/ 1749560 h 7458372"/>
              <a:gd name="connsiteX34020" fmla="*/ 6341253 w 10505529"/>
              <a:gd name="connsiteY34020" fmla="*/ 1740905 h 7458372"/>
              <a:gd name="connsiteX34021" fmla="*/ 6123608 w 10505529"/>
              <a:gd name="connsiteY34021" fmla="*/ 1740905 h 7458372"/>
              <a:gd name="connsiteX34022" fmla="*/ 6135322 w 10505529"/>
              <a:gd name="connsiteY34022" fmla="*/ 1743568 h 7458372"/>
              <a:gd name="connsiteX34023" fmla="*/ 6144640 w 10505529"/>
              <a:gd name="connsiteY34023" fmla="*/ 1749957 h 7458372"/>
              <a:gd name="connsiteX34024" fmla="*/ 6150763 w 10505529"/>
              <a:gd name="connsiteY34024" fmla="*/ 1759266 h 7458372"/>
              <a:gd name="connsiteX34025" fmla="*/ 6153026 w 10505529"/>
              <a:gd name="connsiteY34025" fmla="*/ 1770725 h 7458372"/>
              <a:gd name="connsiteX34026" fmla="*/ 6150763 w 10505529"/>
              <a:gd name="connsiteY34026" fmla="*/ 1782434 h 7458372"/>
              <a:gd name="connsiteX34027" fmla="*/ 6144640 w 10505529"/>
              <a:gd name="connsiteY34027" fmla="*/ 1791754 h 7458372"/>
              <a:gd name="connsiteX34028" fmla="*/ 6135322 w 10505529"/>
              <a:gd name="connsiteY34028" fmla="*/ 1798008 h 7458372"/>
              <a:gd name="connsiteX34029" fmla="*/ 6123608 w 10505529"/>
              <a:gd name="connsiteY34029" fmla="*/ 1800269 h 7458372"/>
              <a:gd name="connsiteX34030" fmla="*/ 6101775 w 10505529"/>
              <a:gd name="connsiteY34030" fmla="*/ 1791754 h 7458372"/>
              <a:gd name="connsiteX34031" fmla="*/ 6093389 w 10505529"/>
              <a:gd name="connsiteY34031" fmla="*/ 1770584 h 7458372"/>
              <a:gd name="connsiteX34032" fmla="*/ 6101775 w 10505529"/>
              <a:gd name="connsiteY34032" fmla="*/ 1749560 h 7458372"/>
              <a:gd name="connsiteX34033" fmla="*/ 6123608 w 10505529"/>
              <a:gd name="connsiteY34033" fmla="*/ 1740905 h 7458372"/>
              <a:gd name="connsiteX34034" fmla="*/ 5905963 w 10505529"/>
              <a:gd name="connsiteY34034" fmla="*/ 1740905 h 7458372"/>
              <a:gd name="connsiteX34035" fmla="*/ 5917677 w 10505529"/>
              <a:gd name="connsiteY34035" fmla="*/ 1743568 h 7458372"/>
              <a:gd name="connsiteX34036" fmla="*/ 5926995 w 10505529"/>
              <a:gd name="connsiteY34036" fmla="*/ 1749957 h 7458372"/>
              <a:gd name="connsiteX34037" fmla="*/ 5933118 w 10505529"/>
              <a:gd name="connsiteY34037" fmla="*/ 1759266 h 7458372"/>
              <a:gd name="connsiteX34038" fmla="*/ 5935381 w 10505529"/>
              <a:gd name="connsiteY34038" fmla="*/ 1770725 h 7458372"/>
              <a:gd name="connsiteX34039" fmla="*/ 5933118 w 10505529"/>
              <a:gd name="connsiteY34039" fmla="*/ 1782434 h 7458372"/>
              <a:gd name="connsiteX34040" fmla="*/ 5926995 w 10505529"/>
              <a:gd name="connsiteY34040" fmla="*/ 1791754 h 7458372"/>
              <a:gd name="connsiteX34041" fmla="*/ 5917677 w 10505529"/>
              <a:gd name="connsiteY34041" fmla="*/ 1798008 h 7458372"/>
              <a:gd name="connsiteX34042" fmla="*/ 5905963 w 10505529"/>
              <a:gd name="connsiteY34042" fmla="*/ 1800269 h 7458372"/>
              <a:gd name="connsiteX34043" fmla="*/ 5884130 w 10505529"/>
              <a:gd name="connsiteY34043" fmla="*/ 1791754 h 7458372"/>
              <a:gd name="connsiteX34044" fmla="*/ 5875744 w 10505529"/>
              <a:gd name="connsiteY34044" fmla="*/ 1770584 h 7458372"/>
              <a:gd name="connsiteX34045" fmla="*/ 5884130 w 10505529"/>
              <a:gd name="connsiteY34045" fmla="*/ 1749560 h 7458372"/>
              <a:gd name="connsiteX34046" fmla="*/ 5905963 w 10505529"/>
              <a:gd name="connsiteY34046" fmla="*/ 1740905 h 7458372"/>
              <a:gd name="connsiteX34047" fmla="*/ 5688451 w 10505529"/>
              <a:gd name="connsiteY34047" fmla="*/ 1740905 h 7458372"/>
              <a:gd name="connsiteX34048" fmla="*/ 5700165 w 10505529"/>
              <a:gd name="connsiteY34048" fmla="*/ 1743568 h 7458372"/>
              <a:gd name="connsiteX34049" fmla="*/ 5709483 w 10505529"/>
              <a:gd name="connsiteY34049" fmla="*/ 1749957 h 7458372"/>
              <a:gd name="connsiteX34050" fmla="*/ 5715606 w 10505529"/>
              <a:gd name="connsiteY34050" fmla="*/ 1759266 h 7458372"/>
              <a:gd name="connsiteX34051" fmla="*/ 5717869 w 10505529"/>
              <a:gd name="connsiteY34051" fmla="*/ 1770725 h 7458372"/>
              <a:gd name="connsiteX34052" fmla="*/ 5715606 w 10505529"/>
              <a:gd name="connsiteY34052" fmla="*/ 1782434 h 7458372"/>
              <a:gd name="connsiteX34053" fmla="*/ 5709483 w 10505529"/>
              <a:gd name="connsiteY34053" fmla="*/ 1791754 h 7458372"/>
              <a:gd name="connsiteX34054" fmla="*/ 5700165 w 10505529"/>
              <a:gd name="connsiteY34054" fmla="*/ 1798008 h 7458372"/>
              <a:gd name="connsiteX34055" fmla="*/ 5688451 w 10505529"/>
              <a:gd name="connsiteY34055" fmla="*/ 1800269 h 7458372"/>
              <a:gd name="connsiteX34056" fmla="*/ 5666618 w 10505529"/>
              <a:gd name="connsiteY34056" fmla="*/ 1791754 h 7458372"/>
              <a:gd name="connsiteX34057" fmla="*/ 5658232 w 10505529"/>
              <a:gd name="connsiteY34057" fmla="*/ 1770584 h 7458372"/>
              <a:gd name="connsiteX34058" fmla="*/ 5666618 w 10505529"/>
              <a:gd name="connsiteY34058" fmla="*/ 1749560 h 7458372"/>
              <a:gd name="connsiteX34059" fmla="*/ 5688451 w 10505529"/>
              <a:gd name="connsiteY34059" fmla="*/ 1740905 h 7458372"/>
              <a:gd name="connsiteX34060" fmla="*/ 5470806 w 10505529"/>
              <a:gd name="connsiteY34060" fmla="*/ 1740905 h 7458372"/>
              <a:gd name="connsiteX34061" fmla="*/ 5482520 w 10505529"/>
              <a:gd name="connsiteY34061" fmla="*/ 1743568 h 7458372"/>
              <a:gd name="connsiteX34062" fmla="*/ 5491838 w 10505529"/>
              <a:gd name="connsiteY34062" fmla="*/ 1749957 h 7458372"/>
              <a:gd name="connsiteX34063" fmla="*/ 5497961 w 10505529"/>
              <a:gd name="connsiteY34063" fmla="*/ 1759266 h 7458372"/>
              <a:gd name="connsiteX34064" fmla="*/ 5500224 w 10505529"/>
              <a:gd name="connsiteY34064" fmla="*/ 1770725 h 7458372"/>
              <a:gd name="connsiteX34065" fmla="*/ 5497961 w 10505529"/>
              <a:gd name="connsiteY34065" fmla="*/ 1782434 h 7458372"/>
              <a:gd name="connsiteX34066" fmla="*/ 5491838 w 10505529"/>
              <a:gd name="connsiteY34066" fmla="*/ 1791754 h 7458372"/>
              <a:gd name="connsiteX34067" fmla="*/ 5482520 w 10505529"/>
              <a:gd name="connsiteY34067" fmla="*/ 1798008 h 7458372"/>
              <a:gd name="connsiteX34068" fmla="*/ 5470806 w 10505529"/>
              <a:gd name="connsiteY34068" fmla="*/ 1800269 h 7458372"/>
              <a:gd name="connsiteX34069" fmla="*/ 5448973 w 10505529"/>
              <a:gd name="connsiteY34069" fmla="*/ 1791754 h 7458372"/>
              <a:gd name="connsiteX34070" fmla="*/ 5440587 w 10505529"/>
              <a:gd name="connsiteY34070" fmla="*/ 1770584 h 7458372"/>
              <a:gd name="connsiteX34071" fmla="*/ 5448973 w 10505529"/>
              <a:gd name="connsiteY34071" fmla="*/ 1749560 h 7458372"/>
              <a:gd name="connsiteX34072" fmla="*/ 5470806 w 10505529"/>
              <a:gd name="connsiteY34072" fmla="*/ 1740905 h 7458372"/>
              <a:gd name="connsiteX34073" fmla="*/ 5253160 w 10505529"/>
              <a:gd name="connsiteY34073" fmla="*/ 1740905 h 7458372"/>
              <a:gd name="connsiteX34074" fmla="*/ 5264875 w 10505529"/>
              <a:gd name="connsiteY34074" fmla="*/ 1743568 h 7458372"/>
              <a:gd name="connsiteX34075" fmla="*/ 5274192 w 10505529"/>
              <a:gd name="connsiteY34075" fmla="*/ 1749957 h 7458372"/>
              <a:gd name="connsiteX34076" fmla="*/ 5280316 w 10505529"/>
              <a:gd name="connsiteY34076" fmla="*/ 1759266 h 7458372"/>
              <a:gd name="connsiteX34077" fmla="*/ 5282579 w 10505529"/>
              <a:gd name="connsiteY34077" fmla="*/ 1770725 h 7458372"/>
              <a:gd name="connsiteX34078" fmla="*/ 5280316 w 10505529"/>
              <a:gd name="connsiteY34078" fmla="*/ 1782434 h 7458372"/>
              <a:gd name="connsiteX34079" fmla="*/ 5274192 w 10505529"/>
              <a:gd name="connsiteY34079" fmla="*/ 1791754 h 7458372"/>
              <a:gd name="connsiteX34080" fmla="*/ 5264875 w 10505529"/>
              <a:gd name="connsiteY34080" fmla="*/ 1798008 h 7458372"/>
              <a:gd name="connsiteX34081" fmla="*/ 5253160 w 10505529"/>
              <a:gd name="connsiteY34081" fmla="*/ 1800269 h 7458372"/>
              <a:gd name="connsiteX34082" fmla="*/ 5231328 w 10505529"/>
              <a:gd name="connsiteY34082" fmla="*/ 1791754 h 7458372"/>
              <a:gd name="connsiteX34083" fmla="*/ 5222942 w 10505529"/>
              <a:gd name="connsiteY34083" fmla="*/ 1770584 h 7458372"/>
              <a:gd name="connsiteX34084" fmla="*/ 5231328 w 10505529"/>
              <a:gd name="connsiteY34084" fmla="*/ 1749560 h 7458372"/>
              <a:gd name="connsiteX34085" fmla="*/ 5253160 w 10505529"/>
              <a:gd name="connsiteY34085" fmla="*/ 1740905 h 7458372"/>
              <a:gd name="connsiteX34086" fmla="*/ 5035515 w 10505529"/>
              <a:gd name="connsiteY34086" fmla="*/ 1740905 h 7458372"/>
              <a:gd name="connsiteX34087" fmla="*/ 5047230 w 10505529"/>
              <a:gd name="connsiteY34087" fmla="*/ 1743568 h 7458372"/>
              <a:gd name="connsiteX34088" fmla="*/ 5056548 w 10505529"/>
              <a:gd name="connsiteY34088" fmla="*/ 1749957 h 7458372"/>
              <a:gd name="connsiteX34089" fmla="*/ 5062671 w 10505529"/>
              <a:gd name="connsiteY34089" fmla="*/ 1759266 h 7458372"/>
              <a:gd name="connsiteX34090" fmla="*/ 5064934 w 10505529"/>
              <a:gd name="connsiteY34090" fmla="*/ 1770725 h 7458372"/>
              <a:gd name="connsiteX34091" fmla="*/ 5062671 w 10505529"/>
              <a:gd name="connsiteY34091" fmla="*/ 1782434 h 7458372"/>
              <a:gd name="connsiteX34092" fmla="*/ 5056548 w 10505529"/>
              <a:gd name="connsiteY34092" fmla="*/ 1791754 h 7458372"/>
              <a:gd name="connsiteX34093" fmla="*/ 5047230 w 10505529"/>
              <a:gd name="connsiteY34093" fmla="*/ 1798008 h 7458372"/>
              <a:gd name="connsiteX34094" fmla="*/ 5035515 w 10505529"/>
              <a:gd name="connsiteY34094" fmla="*/ 1800269 h 7458372"/>
              <a:gd name="connsiteX34095" fmla="*/ 5013683 w 10505529"/>
              <a:gd name="connsiteY34095" fmla="*/ 1791754 h 7458372"/>
              <a:gd name="connsiteX34096" fmla="*/ 5005297 w 10505529"/>
              <a:gd name="connsiteY34096" fmla="*/ 1770584 h 7458372"/>
              <a:gd name="connsiteX34097" fmla="*/ 5013683 w 10505529"/>
              <a:gd name="connsiteY34097" fmla="*/ 1749560 h 7458372"/>
              <a:gd name="connsiteX34098" fmla="*/ 5035515 w 10505529"/>
              <a:gd name="connsiteY34098" fmla="*/ 1740905 h 7458372"/>
              <a:gd name="connsiteX34099" fmla="*/ 4817870 w 10505529"/>
              <a:gd name="connsiteY34099" fmla="*/ 1740905 h 7458372"/>
              <a:gd name="connsiteX34100" fmla="*/ 4829585 w 10505529"/>
              <a:gd name="connsiteY34100" fmla="*/ 1743568 h 7458372"/>
              <a:gd name="connsiteX34101" fmla="*/ 4838903 w 10505529"/>
              <a:gd name="connsiteY34101" fmla="*/ 1749957 h 7458372"/>
              <a:gd name="connsiteX34102" fmla="*/ 4845026 w 10505529"/>
              <a:gd name="connsiteY34102" fmla="*/ 1759266 h 7458372"/>
              <a:gd name="connsiteX34103" fmla="*/ 4847289 w 10505529"/>
              <a:gd name="connsiteY34103" fmla="*/ 1770725 h 7458372"/>
              <a:gd name="connsiteX34104" fmla="*/ 4845026 w 10505529"/>
              <a:gd name="connsiteY34104" fmla="*/ 1782434 h 7458372"/>
              <a:gd name="connsiteX34105" fmla="*/ 4838903 w 10505529"/>
              <a:gd name="connsiteY34105" fmla="*/ 1791754 h 7458372"/>
              <a:gd name="connsiteX34106" fmla="*/ 4829585 w 10505529"/>
              <a:gd name="connsiteY34106" fmla="*/ 1798008 h 7458372"/>
              <a:gd name="connsiteX34107" fmla="*/ 4817870 w 10505529"/>
              <a:gd name="connsiteY34107" fmla="*/ 1800269 h 7458372"/>
              <a:gd name="connsiteX34108" fmla="*/ 4796038 w 10505529"/>
              <a:gd name="connsiteY34108" fmla="*/ 1791754 h 7458372"/>
              <a:gd name="connsiteX34109" fmla="*/ 4787652 w 10505529"/>
              <a:gd name="connsiteY34109" fmla="*/ 1770584 h 7458372"/>
              <a:gd name="connsiteX34110" fmla="*/ 4796038 w 10505529"/>
              <a:gd name="connsiteY34110" fmla="*/ 1749560 h 7458372"/>
              <a:gd name="connsiteX34111" fmla="*/ 4817870 w 10505529"/>
              <a:gd name="connsiteY34111" fmla="*/ 1740905 h 7458372"/>
              <a:gd name="connsiteX34112" fmla="*/ 4600226 w 10505529"/>
              <a:gd name="connsiteY34112" fmla="*/ 1740905 h 7458372"/>
              <a:gd name="connsiteX34113" fmla="*/ 4612073 w 10505529"/>
              <a:gd name="connsiteY34113" fmla="*/ 1743568 h 7458372"/>
              <a:gd name="connsiteX34114" fmla="*/ 4621391 w 10505529"/>
              <a:gd name="connsiteY34114" fmla="*/ 1749957 h 7458372"/>
              <a:gd name="connsiteX34115" fmla="*/ 4627514 w 10505529"/>
              <a:gd name="connsiteY34115" fmla="*/ 1759266 h 7458372"/>
              <a:gd name="connsiteX34116" fmla="*/ 4629777 w 10505529"/>
              <a:gd name="connsiteY34116" fmla="*/ 1770725 h 7458372"/>
              <a:gd name="connsiteX34117" fmla="*/ 4627514 w 10505529"/>
              <a:gd name="connsiteY34117" fmla="*/ 1782434 h 7458372"/>
              <a:gd name="connsiteX34118" fmla="*/ 4621391 w 10505529"/>
              <a:gd name="connsiteY34118" fmla="*/ 1791754 h 7458372"/>
              <a:gd name="connsiteX34119" fmla="*/ 4612073 w 10505529"/>
              <a:gd name="connsiteY34119" fmla="*/ 1798008 h 7458372"/>
              <a:gd name="connsiteX34120" fmla="*/ 4600226 w 10505529"/>
              <a:gd name="connsiteY34120" fmla="*/ 1800269 h 7458372"/>
              <a:gd name="connsiteX34121" fmla="*/ 4578393 w 10505529"/>
              <a:gd name="connsiteY34121" fmla="*/ 1791754 h 7458372"/>
              <a:gd name="connsiteX34122" fmla="*/ 4570007 w 10505529"/>
              <a:gd name="connsiteY34122" fmla="*/ 1770584 h 7458372"/>
              <a:gd name="connsiteX34123" fmla="*/ 4578393 w 10505529"/>
              <a:gd name="connsiteY34123" fmla="*/ 1749560 h 7458372"/>
              <a:gd name="connsiteX34124" fmla="*/ 4600226 w 10505529"/>
              <a:gd name="connsiteY34124" fmla="*/ 1740905 h 7458372"/>
              <a:gd name="connsiteX34125" fmla="*/ 4382713 w 10505529"/>
              <a:gd name="connsiteY34125" fmla="*/ 1740905 h 7458372"/>
              <a:gd name="connsiteX34126" fmla="*/ 4394428 w 10505529"/>
              <a:gd name="connsiteY34126" fmla="*/ 1743568 h 7458372"/>
              <a:gd name="connsiteX34127" fmla="*/ 4403746 w 10505529"/>
              <a:gd name="connsiteY34127" fmla="*/ 1749957 h 7458372"/>
              <a:gd name="connsiteX34128" fmla="*/ 4409869 w 10505529"/>
              <a:gd name="connsiteY34128" fmla="*/ 1759266 h 7458372"/>
              <a:gd name="connsiteX34129" fmla="*/ 4412132 w 10505529"/>
              <a:gd name="connsiteY34129" fmla="*/ 1770725 h 7458372"/>
              <a:gd name="connsiteX34130" fmla="*/ 4409869 w 10505529"/>
              <a:gd name="connsiteY34130" fmla="*/ 1782434 h 7458372"/>
              <a:gd name="connsiteX34131" fmla="*/ 4403746 w 10505529"/>
              <a:gd name="connsiteY34131" fmla="*/ 1791754 h 7458372"/>
              <a:gd name="connsiteX34132" fmla="*/ 4394428 w 10505529"/>
              <a:gd name="connsiteY34132" fmla="*/ 1798008 h 7458372"/>
              <a:gd name="connsiteX34133" fmla="*/ 4382713 w 10505529"/>
              <a:gd name="connsiteY34133" fmla="*/ 1800269 h 7458372"/>
              <a:gd name="connsiteX34134" fmla="*/ 4360881 w 10505529"/>
              <a:gd name="connsiteY34134" fmla="*/ 1791754 h 7458372"/>
              <a:gd name="connsiteX34135" fmla="*/ 4352495 w 10505529"/>
              <a:gd name="connsiteY34135" fmla="*/ 1770584 h 7458372"/>
              <a:gd name="connsiteX34136" fmla="*/ 4360881 w 10505529"/>
              <a:gd name="connsiteY34136" fmla="*/ 1749560 h 7458372"/>
              <a:gd name="connsiteX34137" fmla="*/ 4382713 w 10505529"/>
              <a:gd name="connsiteY34137" fmla="*/ 1740905 h 7458372"/>
              <a:gd name="connsiteX34138" fmla="*/ 4165068 w 10505529"/>
              <a:gd name="connsiteY34138" fmla="*/ 1740905 h 7458372"/>
              <a:gd name="connsiteX34139" fmla="*/ 4176782 w 10505529"/>
              <a:gd name="connsiteY34139" fmla="*/ 1743568 h 7458372"/>
              <a:gd name="connsiteX34140" fmla="*/ 4186100 w 10505529"/>
              <a:gd name="connsiteY34140" fmla="*/ 1749957 h 7458372"/>
              <a:gd name="connsiteX34141" fmla="*/ 4192223 w 10505529"/>
              <a:gd name="connsiteY34141" fmla="*/ 1759266 h 7458372"/>
              <a:gd name="connsiteX34142" fmla="*/ 4194486 w 10505529"/>
              <a:gd name="connsiteY34142" fmla="*/ 1770725 h 7458372"/>
              <a:gd name="connsiteX34143" fmla="*/ 4192223 w 10505529"/>
              <a:gd name="connsiteY34143" fmla="*/ 1782434 h 7458372"/>
              <a:gd name="connsiteX34144" fmla="*/ 4186100 w 10505529"/>
              <a:gd name="connsiteY34144" fmla="*/ 1791754 h 7458372"/>
              <a:gd name="connsiteX34145" fmla="*/ 4176782 w 10505529"/>
              <a:gd name="connsiteY34145" fmla="*/ 1798008 h 7458372"/>
              <a:gd name="connsiteX34146" fmla="*/ 4165068 w 10505529"/>
              <a:gd name="connsiteY34146" fmla="*/ 1800269 h 7458372"/>
              <a:gd name="connsiteX34147" fmla="*/ 4143235 w 10505529"/>
              <a:gd name="connsiteY34147" fmla="*/ 1791754 h 7458372"/>
              <a:gd name="connsiteX34148" fmla="*/ 4134849 w 10505529"/>
              <a:gd name="connsiteY34148" fmla="*/ 1770584 h 7458372"/>
              <a:gd name="connsiteX34149" fmla="*/ 4143235 w 10505529"/>
              <a:gd name="connsiteY34149" fmla="*/ 1749560 h 7458372"/>
              <a:gd name="connsiteX34150" fmla="*/ 4165068 w 10505529"/>
              <a:gd name="connsiteY34150" fmla="*/ 1740905 h 7458372"/>
              <a:gd name="connsiteX34151" fmla="*/ 3947524 w 10505529"/>
              <a:gd name="connsiteY34151" fmla="*/ 1740905 h 7458372"/>
              <a:gd name="connsiteX34152" fmla="*/ 3959239 w 10505529"/>
              <a:gd name="connsiteY34152" fmla="*/ 1743568 h 7458372"/>
              <a:gd name="connsiteX34153" fmla="*/ 3968557 w 10505529"/>
              <a:gd name="connsiteY34153" fmla="*/ 1749957 h 7458372"/>
              <a:gd name="connsiteX34154" fmla="*/ 3974681 w 10505529"/>
              <a:gd name="connsiteY34154" fmla="*/ 1759266 h 7458372"/>
              <a:gd name="connsiteX34155" fmla="*/ 3976944 w 10505529"/>
              <a:gd name="connsiteY34155" fmla="*/ 1770725 h 7458372"/>
              <a:gd name="connsiteX34156" fmla="*/ 3974681 w 10505529"/>
              <a:gd name="connsiteY34156" fmla="*/ 1782434 h 7458372"/>
              <a:gd name="connsiteX34157" fmla="*/ 3968557 w 10505529"/>
              <a:gd name="connsiteY34157" fmla="*/ 1791754 h 7458372"/>
              <a:gd name="connsiteX34158" fmla="*/ 3959239 w 10505529"/>
              <a:gd name="connsiteY34158" fmla="*/ 1798008 h 7458372"/>
              <a:gd name="connsiteX34159" fmla="*/ 3947524 w 10505529"/>
              <a:gd name="connsiteY34159" fmla="*/ 1800269 h 7458372"/>
              <a:gd name="connsiteX34160" fmla="*/ 3925691 w 10505529"/>
              <a:gd name="connsiteY34160" fmla="*/ 1791754 h 7458372"/>
              <a:gd name="connsiteX34161" fmla="*/ 3917305 w 10505529"/>
              <a:gd name="connsiteY34161" fmla="*/ 1770584 h 7458372"/>
              <a:gd name="connsiteX34162" fmla="*/ 3925691 w 10505529"/>
              <a:gd name="connsiteY34162" fmla="*/ 1749560 h 7458372"/>
              <a:gd name="connsiteX34163" fmla="*/ 3947524 w 10505529"/>
              <a:gd name="connsiteY34163" fmla="*/ 1740905 h 7458372"/>
              <a:gd name="connsiteX34164" fmla="*/ 3729873 w 10505529"/>
              <a:gd name="connsiteY34164" fmla="*/ 1740905 h 7458372"/>
              <a:gd name="connsiteX34165" fmla="*/ 3741588 w 10505529"/>
              <a:gd name="connsiteY34165" fmla="*/ 1743568 h 7458372"/>
              <a:gd name="connsiteX34166" fmla="*/ 3750907 w 10505529"/>
              <a:gd name="connsiteY34166" fmla="*/ 1749957 h 7458372"/>
              <a:gd name="connsiteX34167" fmla="*/ 3757029 w 10505529"/>
              <a:gd name="connsiteY34167" fmla="*/ 1759266 h 7458372"/>
              <a:gd name="connsiteX34168" fmla="*/ 3759292 w 10505529"/>
              <a:gd name="connsiteY34168" fmla="*/ 1770725 h 7458372"/>
              <a:gd name="connsiteX34169" fmla="*/ 3757029 w 10505529"/>
              <a:gd name="connsiteY34169" fmla="*/ 1782434 h 7458372"/>
              <a:gd name="connsiteX34170" fmla="*/ 3750907 w 10505529"/>
              <a:gd name="connsiteY34170" fmla="*/ 1791754 h 7458372"/>
              <a:gd name="connsiteX34171" fmla="*/ 3741588 w 10505529"/>
              <a:gd name="connsiteY34171" fmla="*/ 1798008 h 7458372"/>
              <a:gd name="connsiteX34172" fmla="*/ 3729873 w 10505529"/>
              <a:gd name="connsiteY34172" fmla="*/ 1800269 h 7458372"/>
              <a:gd name="connsiteX34173" fmla="*/ 3708039 w 10505529"/>
              <a:gd name="connsiteY34173" fmla="*/ 1791754 h 7458372"/>
              <a:gd name="connsiteX34174" fmla="*/ 3699653 w 10505529"/>
              <a:gd name="connsiteY34174" fmla="*/ 1770584 h 7458372"/>
              <a:gd name="connsiteX34175" fmla="*/ 3708039 w 10505529"/>
              <a:gd name="connsiteY34175" fmla="*/ 1749560 h 7458372"/>
              <a:gd name="connsiteX34176" fmla="*/ 3729873 w 10505529"/>
              <a:gd name="connsiteY34176" fmla="*/ 1740905 h 7458372"/>
              <a:gd name="connsiteX34177" fmla="*/ 3512223 w 10505529"/>
              <a:gd name="connsiteY34177" fmla="*/ 1740905 h 7458372"/>
              <a:gd name="connsiteX34178" fmla="*/ 3523938 w 10505529"/>
              <a:gd name="connsiteY34178" fmla="*/ 1743568 h 7458372"/>
              <a:gd name="connsiteX34179" fmla="*/ 3533256 w 10505529"/>
              <a:gd name="connsiteY34179" fmla="*/ 1749957 h 7458372"/>
              <a:gd name="connsiteX34180" fmla="*/ 3539380 w 10505529"/>
              <a:gd name="connsiteY34180" fmla="*/ 1759266 h 7458372"/>
              <a:gd name="connsiteX34181" fmla="*/ 3541643 w 10505529"/>
              <a:gd name="connsiteY34181" fmla="*/ 1770725 h 7458372"/>
              <a:gd name="connsiteX34182" fmla="*/ 3539380 w 10505529"/>
              <a:gd name="connsiteY34182" fmla="*/ 1782434 h 7458372"/>
              <a:gd name="connsiteX34183" fmla="*/ 3533256 w 10505529"/>
              <a:gd name="connsiteY34183" fmla="*/ 1791754 h 7458372"/>
              <a:gd name="connsiteX34184" fmla="*/ 3523938 w 10505529"/>
              <a:gd name="connsiteY34184" fmla="*/ 1798008 h 7458372"/>
              <a:gd name="connsiteX34185" fmla="*/ 3512223 w 10505529"/>
              <a:gd name="connsiteY34185" fmla="*/ 1800269 h 7458372"/>
              <a:gd name="connsiteX34186" fmla="*/ 3490390 w 10505529"/>
              <a:gd name="connsiteY34186" fmla="*/ 1791754 h 7458372"/>
              <a:gd name="connsiteX34187" fmla="*/ 3482003 w 10505529"/>
              <a:gd name="connsiteY34187" fmla="*/ 1770584 h 7458372"/>
              <a:gd name="connsiteX34188" fmla="*/ 3490390 w 10505529"/>
              <a:gd name="connsiteY34188" fmla="*/ 1749560 h 7458372"/>
              <a:gd name="connsiteX34189" fmla="*/ 3512223 w 10505529"/>
              <a:gd name="connsiteY34189" fmla="*/ 1740905 h 7458372"/>
              <a:gd name="connsiteX34190" fmla="*/ 3294706 w 10505529"/>
              <a:gd name="connsiteY34190" fmla="*/ 1740905 h 7458372"/>
              <a:gd name="connsiteX34191" fmla="*/ 3306421 w 10505529"/>
              <a:gd name="connsiteY34191" fmla="*/ 1743568 h 7458372"/>
              <a:gd name="connsiteX34192" fmla="*/ 3315739 w 10505529"/>
              <a:gd name="connsiteY34192" fmla="*/ 1749957 h 7458372"/>
              <a:gd name="connsiteX34193" fmla="*/ 3321863 w 10505529"/>
              <a:gd name="connsiteY34193" fmla="*/ 1759266 h 7458372"/>
              <a:gd name="connsiteX34194" fmla="*/ 3324126 w 10505529"/>
              <a:gd name="connsiteY34194" fmla="*/ 1770725 h 7458372"/>
              <a:gd name="connsiteX34195" fmla="*/ 3321863 w 10505529"/>
              <a:gd name="connsiteY34195" fmla="*/ 1782434 h 7458372"/>
              <a:gd name="connsiteX34196" fmla="*/ 3315739 w 10505529"/>
              <a:gd name="connsiteY34196" fmla="*/ 1791754 h 7458372"/>
              <a:gd name="connsiteX34197" fmla="*/ 3306421 w 10505529"/>
              <a:gd name="connsiteY34197" fmla="*/ 1798008 h 7458372"/>
              <a:gd name="connsiteX34198" fmla="*/ 3294706 w 10505529"/>
              <a:gd name="connsiteY34198" fmla="*/ 1800269 h 7458372"/>
              <a:gd name="connsiteX34199" fmla="*/ 3272872 w 10505529"/>
              <a:gd name="connsiteY34199" fmla="*/ 1791754 h 7458372"/>
              <a:gd name="connsiteX34200" fmla="*/ 3264486 w 10505529"/>
              <a:gd name="connsiteY34200" fmla="*/ 1770584 h 7458372"/>
              <a:gd name="connsiteX34201" fmla="*/ 3272872 w 10505529"/>
              <a:gd name="connsiteY34201" fmla="*/ 1749560 h 7458372"/>
              <a:gd name="connsiteX34202" fmla="*/ 3294706 w 10505529"/>
              <a:gd name="connsiteY34202" fmla="*/ 1740905 h 7458372"/>
              <a:gd name="connsiteX34203" fmla="*/ 3077055 w 10505529"/>
              <a:gd name="connsiteY34203" fmla="*/ 1740905 h 7458372"/>
              <a:gd name="connsiteX34204" fmla="*/ 3088771 w 10505529"/>
              <a:gd name="connsiteY34204" fmla="*/ 1743568 h 7458372"/>
              <a:gd name="connsiteX34205" fmla="*/ 3098089 w 10505529"/>
              <a:gd name="connsiteY34205" fmla="*/ 1749957 h 7458372"/>
              <a:gd name="connsiteX34206" fmla="*/ 3104212 w 10505529"/>
              <a:gd name="connsiteY34206" fmla="*/ 1759266 h 7458372"/>
              <a:gd name="connsiteX34207" fmla="*/ 3106475 w 10505529"/>
              <a:gd name="connsiteY34207" fmla="*/ 1770725 h 7458372"/>
              <a:gd name="connsiteX34208" fmla="*/ 3104212 w 10505529"/>
              <a:gd name="connsiteY34208" fmla="*/ 1782434 h 7458372"/>
              <a:gd name="connsiteX34209" fmla="*/ 3098089 w 10505529"/>
              <a:gd name="connsiteY34209" fmla="*/ 1791754 h 7458372"/>
              <a:gd name="connsiteX34210" fmla="*/ 3088771 w 10505529"/>
              <a:gd name="connsiteY34210" fmla="*/ 1798008 h 7458372"/>
              <a:gd name="connsiteX34211" fmla="*/ 3077055 w 10505529"/>
              <a:gd name="connsiteY34211" fmla="*/ 1800269 h 7458372"/>
              <a:gd name="connsiteX34212" fmla="*/ 3055222 w 10505529"/>
              <a:gd name="connsiteY34212" fmla="*/ 1791754 h 7458372"/>
              <a:gd name="connsiteX34213" fmla="*/ 3046836 w 10505529"/>
              <a:gd name="connsiteY34213" fmla="*/ 1770584 h 7458372"/>
              <a:gd name="connsiteX34214" fmla="*/ 3055222 w 10505529"/>
              <a:gd name="connsiteY34214" fmla="*/ 1749560 h 7458372"/>
              <a:gd name="connsiteX34215" fmla="*/ 3077055 w 10505529"/>
              <a:gd name="connsiteY34215" fmla="*/ 1740905 h 7458372"/>
              <a:gd name="connsiteX34216" fmla="*/ 2859406 w 10505529"/>
              <a:gd name="connsiteY34216" fmla="*/ 1740905 h 7458372"/>
              <a:gd name="connsiteX34217" fmla="*/ 2871254 w 10505529"/>
              <a:gd name="connsiteY34217" fmla="*/ 1743568 h 7458372"/>
              <a:gd name="connsiteX34218" fmla="*/ 2880572 w 10505529"/>
              <a:gd name="connsiteY34218" fmla="*/ 1749957 h 7458372"/>
              <a:gd name="connsiteX34219" fmla="*/ 2886695 w 10505529"/>
              <a:gd name="connsiteY34219" fmla="*/ 1759266 h 7458372"/>
              <a:gd name="connsiteX34220" fmla="*/ 2888958 w 10505529"/>
              <a:gd name="connsiteY34220" fmla="*/ 1770725 h 7458372"/>
              <a:gd name="connsiteX34221" fmla="*/ 2886695 w 10505529"/>
              <a:gd name="connsiteY34221" fmla="*/ 1782434 h 7458372"/>
              <a:gd name="connsiteX34222" fmla="*/ 2880572 w 10505529"/>
              <a:gd name="connsiteY34222" fmla="*/ 1791754 h 7458372"/>
              <a:gd name="connsiteX34223" fmla="*/ 2871254 w 10505529"/>
              <a:gd name="connsiteY34223" fmla="*/ 1798008 h 7458372"/>
              <a:gd name="connsiteX34224" fmla="*/ 2859406 w 10505529"/>
              <a:gd name="connsiteY34224" fmla="*/ 1800269 h 7458372"/>
              <a:gd name="connsiteX34225" fmla="*/ 2837573 w 10505529"/>
              <a:gd name="connsiteY34225" fmla="*/ 1791754 h 7458372"/>
              <a:gd name="connsiteX34226" fmla="*/ 2829186 w 10505529"/>
              <a:gd name="connsiteY34226" fmla="*/ 1770584 h 7458372"/>
              <a:gd name="connsiteX34227" fmla="*/ 2837573 w 10505529"/>
              <a:gd name="connsiteY34227" fmla="*/ 1749560 h 7458372"/>
              <a:gd name="connsiteX34228" fmla="*/ 2859406 w 10505529"/>
              <a:gd name="connsiteY34228" fmla="*/ 1740905 h 7458372"/>
              <a:gd name="connsiteX34229" fmla="*/ 2641755 w 10505529"/>
              <a:gd name="connsiteY34229" fmla="*/ 1740905 h 7458372"/>
              <a:gd name="connsiteX34230" fmla="*/ 2653471 w 10505529"/>
              <a:gd name="connsiteY34230" fmla="*/ 1743568 h 7458372"/>
              <a:gd name="connsiteX34231" fmla="*/ 2662789 w 10505529"/>
              <a:gd name="connsiteY34231" fmla="*/ 1749957 h 7458372"/>
              <a:gd name="connsiteX34232" fmla="*/ 2668912 w 10505529"/>
              <a:gd name="connsiteY34232" fmla="*/ 1759266 h 7458372"/>
              <a:gd name="connsiteX34233" fmla="*/ 2671175 w 10505529"/>
              <a:gd name="connsiteY34233" fmla="*/ 1770725 h 7458372"/>
              <a:gd name="connsiteX34234" fmla="*/ 2668912 w 10505529"/>
              <a:gd name="connsiteY34234" fmla="*/ 1782434 h 7458372"/>
              <a:gd name="connsiteX34235" fmla="*/ 2662789 w 10505529"/>
              <a:gd name="connsiteY34235" fmla="*/ 1791754 h 7458372"/>
              <a:gd name="connsiteX34236" fmla="*/ 2653471 w 10505529"/>
              <a:gd name="connsiteY34236" fmla="*/ 1798008 h 7458372"/>
              <a:gd name="connsiteX34237" fmla="*/ 2641755 w 10505529"/>
              <a:gd name="connsiteY34237" fmla="*/ 1800269 h 7458372"/>
              <a:gd name="connsiteX34238" fmla="*/ 2619923 w 10505529"/>
              <a:gd name="connsiteY34238" fmla="*/ 1791754 h 7458372"/>
              <a:gd name="connsiteX34239" fmla="*/ 2611536 w 10505529"/>
              <a:gd name="connsiteY34239" fmla="*/ 1770584 h 7458372"/>
              <a:gd name="connsiteX34240" fmla="*/ 2619923 w 10505529"/>
              <a:gd name="connsiteY34240" fmla="*/ 1749560 h 7458372"/>
              <a:gd name="connsiteX34241" fmla="*/ 2641755 w 10505529"/>
              <a:gd name="connsiteY34241" fmla="*/ 1740905 h 7458372"/>
              <a:gd name="connsiteX34242" fmla="*/ 2424105 w 10505529"/>
              <a:gd name="connsiteY34242" fmla="*/ 1740905 h 7458372"/>
              <a:gd name="connsiteX34243" fmla="*/ 2435820 w 10505529"/>
              <a:gd name="connsiteY34243" fmla="*/ 1743568 h 7458372"/>
              <a:gd name="connsiteX34244" fmla="*/ 2445138 w 10505529"/>
              <a:gd name="connsiteY34244" fmla="*/ 1749957 h 7458372"/>
              <a:gd name="connsiteX34245" fmla="*/ 2451262 w 10505529"/>
              <a:gd name="connsiteY34245" fmla="*/ 1759266 h 7458372"/>
              <a:gd name="connsiteX34246" fmla="*/ 2453524 w 10505529"/>
              <a:gd name="connsiteY34246" fmla="*/ 1770725 h 7458372"/>
              <a:gd name="connsiteX34247" fmla="*/ 2451262 w 10505529"/>
              <a:gd name="connsiteY34247" fmla="*/ 1782434 h 7458372"/>
              <a:gd name="connsiteX34248" fmla="*/ 2445138 w 10505529"/>
              <a:gd name="connsiteY34248" fmla="*/ 1791754 h 7458372"/>
              <a:gd name="connsiteX34249" fmla="*/ 2435820 w 10505529"/>
              <a:gd name="connsiteY34249" fmla="*/ 1798008 h 7458372"/>
              <a:gd name="connsiteX34250" fmla="*/ 2424105 w 10505529"/>
              <a:gd name="connsiteY34250" fmla="*/ 1800269 h 7458372"/>
              <a:gd name="connsiteX34251" fmla="*/ 2402273 w 10505529"/>
              <a:gd name="connsiteY34251" fmla="*/ 1791754 h 7458372"/>
              <a:gd name="connsiteX34252" fmla="*/ 2393886 w 10505529"/>
              <a:gd name="connsiteY34252" fmla="*/ 1770584 h 7458372"/>
              <a:gd name="connsiteX34253" fmla="*/ 2402273 w 10505529"/>
              <a:gd name="connsiteY34253" fmla="*/ 1749560 h 7458372"/>
              <a:gd name="connsiteX34254" fmla="*/ 2424105 w 10505529"/>
              <a:gd name="connsiteY34254" fmla="*/ 1740905 h 7458372"/>
              <a:gd name="connsiteX34255" fmla="*/ 2206455 w 10505529"/>
              <a:gd name="connsiteY34255" fmla="*/ 1740905 h 7458372"/>
              <a:gd name="connsiteX34256" fmla="*/ 2218170 w 10505529"/>
              <a:gd name="connsiteY34256" fmla="*/ 1743568 h 7458372"/>
              <a:gd name="connsiteX34257" fmla="*/ 2227488 w 10505529"/>
              <a:gd name="connsiteY34257" fmla="*/ 1749957 h 7458372"/>
              <a:gd name="connsiteX34258" fmla="*/ 2233611 w 10505529"/>
              <a:gd name="connsiteY34258" fmla="*/ 1759266 h 7458372"/>
              <a:gd name="connsiteX34259" fmla="*/ 2235874 w 10505529"/>
              <a:gd name="connsiteY34259" fmla="*/ 1770725 h 7458372"/>
              <a:gd name="connsiteX34260" fmla="*/ 2233611 w 10505529"/>
              <a:gd name="connsiteY34260" fmla="*/ 1782434 h 7458372"/>
              <a:gd name="connsiteX34261" fmla="*/ 2227488 w 10505529"/>
              <a:gd name="connsiteY34261" fmla="*/ 1791754 h 7458372"/>
              <a:gd name="connsiteX34262" fmla="*/ 2218170 w 10505529"/>
              <a:gd name="connsiteY34262" fmla="*/ 1798008 h 7458372"/>
              <a:gd name="connsiteX34263" fmla="*/ 2206455 w 10505529"/>
              <a:gd name="connsiteY34263" fmla="*/ 1800269 h 7458372"/>
              <a:gd name="connsiteX34264" fmla="*/ 2184623 w 10505529"/>
              <a:gd name="connsiteY34264" fmla="*/ 1791754 h 7458372"/>
              <a:gd name="connsiteX34265" fmla="*/ 2176236 w 10505529"/>
              <a:gd name="connsiteY34265" fmla="*/ 1770584 h 7458372"/>
              <a:gd name="connsiteX34266" fmla="*/ 2184623 w 10505529"/>
              <a:gd name="connsiteY34266" fmla="*/ 1749560 h 7458372"/>
              <a:gd name="connsiteX34267" fmla="*/ 2206455 w 10505529"/>
              <a:gd name="connsiteY34267" fmla="*/ 1740905 h 7458372"/>
              <a:gd name="connsiteX34268" fmla="*/ 1988937 w 10505529"/>
              <a:gd name="connsiteY34268" fmla="*/ 1740905 h 7458372"/>
              <a:gd name="connsiteX34269" fmla="*/ 2000653 w 10505529"/>
              <a:gd name="connsiteY34269" fmla="*/ 1743568 h 7458372"/>
              <a:gd name="connsiteX34270" fmla="*/ 2009971 w 10505529"/>
              <a:gd name="connsiteY34270" fmla="*/ 1749957 h 7458372"/>
              <a:gd name="connsiteX34271" fmla="*/ 2016094 w 10505529"/>
              <a:gd name="connsiteY34271" fmla="*/ 1759266 h 7458372"/>
              <a:gd name="connsiteX34272" fmla="*/ 2018357 w 10505529"/>
              <a:gd name="connsiteY34272" fmla="*/ 1770725 h 7458372"/>
              <a:gd name="connsiteX34273" fmla="*/ 2016094 w 10505529"/>
              <a:gd name="connsiteY34273" fmla="*/ 1782434 h 7458372"/>
              <a:gd name="connsiteX34274" fmla="*/ 2009971 w 10505529"/>
              <a:gd name="connsiteY34274" fmla="*/ 1791754 h 7458372"/>
              <a:gd name="connsiteX34275" fmla="*/ 2000653 w 10505529"/>
              <a:gd name="connsiteY34275" fmla="*/ 1798008 h 7458372"/>
              <a:gd name="connsiteX34276" fmla="*/ 1988937 w 10505529"/>
              <a:gd name="connsiteY34276" fmla="*/ 1800269 h 7458372"/>
              <a:gd name="connsiteX34277" fmla="*/ 1967106 w 10505529"/>
              <a:gd name="connsiteY34277" fmla="*/ 1791754 h 7458372"/>
              <a:gd name="connsiteX34278" fmla="*/ 1958720 w 10505529"/>
              <a:gd name="connsiteY34278" fmla="*/ 1770584 h 7458372"/>
              <a:gd name="connsiteX34279" fmla="*/ 1967106 w 10505529"/>
              <a:gd name="connsiteY34279" fmla="*/ 1749560 h 7458372"/>
              <a:gd name="connsiteX34280" fmla="*/ 1988937 w 10505529"/>
              <a:gd name="connsiteY34280" fmla="*/ 1740905 h 7458372"/>
              <a:gd name="connsiteX34281" fmla="*/ 1771296 w 10505529"/>
              <a:gd name="connsiteY34281" fmla="*/ 1740905 h 7458372"/>
              <a:gd name="connsiteX34282" fmla="*/ 1783011 w 10505529"/>
              <a:gd name="connsiteY34282" fmla="*/ 1743568 h 7458372"/>
              <a:gd name="connsiteX34283" fmla="*/ 1792329 w 10505529"/>
              <a:gd name="connsiteY34283" fmla="*/ 1749957 h 7458372"/>
              <a:gd name="connsiteX34284" fmla="*/ 1798452 w 10505529"/>
              <a:gd name="connsiteY34284" fmla="*/ 1759266 h 7458372"/>
              <a:gd name="connsiteX34285" fmla="*/ 1800715 w 10505529"/>
              <a:gd name="connsiteY34285" fmla="*/ 1770725 h 7458372"/>
              <a:gd name="connsiteX34286" fmla="*/ 1798452 w 10505529"/>
              <a:gd name="connsiteY34286" fmla="*/ 1782434 h 7458372"/>
              <a:gd name="connsiteX34287" fmla="*/ 1792329 w 10505529"/>
              <a:gd name="connsiteY34287" fmla="*/ 1791754 h 7458372"/>
              <a:gd name="connsiteX34288" fmla="*/ 1783011 w 10505529"/>
              <a:gd name="connsiteY34288" fmla="*/ 1798008 h 7458372"/>
              <a:gd name="connsiteX34289" fmla="*/ 1771296 w 10505529"/>
              <a:gd name="connsiteY34289" fmla="*/ 1800269 h 7458372"/>
              <a:gd name="connsiteX34290" fmla="*/ 1749466 w 10505529"/>
              <a:gd name="connsiteY34290" fmla="*/ 1791754 h 7458372"/>
              <a:gd name="connsiteX34291" fmla="*/ 1741080 w 10505529"/>
              <a:gd name="connsiteY34291" fmla="*/ 1770584 h 7458372"/>
              <a:gd name="connsiteX34292" fmla="*/ 1749466 w 10505529"/>
              <a:gd name="connsiteY34292" fmla="*/ 1749560 h 7458372"/>
              <a:gd name="connsiteX34293" fmla="*/ 1771296 w 10505529"/>
              <a:gd name="connsiteY34293" fmla="*/ 1740905 h 7458372"/>
              <a:gd name="connsiteX34294" fmla="*/ 1553653 w 10505529"/>
              <a:gd name="connsiteY34294" fmla="*/ 1740905 h 7458372"/>
              <a:gd name="connsiteX34295" fmla="*/ 1565368 w 10505529"/>
              <a:gd name="connsiteY34295" fmla="*/ 1743568 h 7458372"/>
              <a:gd name="connsiteX34296" fmla="*/ 1574687 w 10505529"/>
              <a:gd name="connsiteY34296" fmla="*/ 1749957 h 7458372"/>
              <a:gd name="connsiteX34297" fmla="*/ 1580810 w 10505529"/>
              <a:gd name="connsiteY34297" fmla="*/ 1759266 h 7458372"/>
              <a:gd name="connsiteX34298" fmla="*/ 1583073 w 10505529"/>
              <a:gd name="connsiteY34298" fmla="*/ 1770725 h 7458372"/>
              <a:gd name="connsiteX34299" fmla="*/ 1580810 w 10505529"/>
              <a:gd name="connsiteY34299" fmla="*/ 1782434 h 7458372"/>
              <a:gd name="connsiteX34300" fmla="*/ 1574687 w 10505529"/>
              <a:gd name="connsiteY34300" fmla="*/ 1791754 h 7458372"/>
              <a:gd name="connsiteX34301" fmla="*/ 1565368 w 10505529"/>
              <a:gd name="connsiteY34301" fmla="*/ 1798008 h 7458372"/>
              <a:gd name="connsiteX34302" fmla="*/ 1553653 w 10505529"/>
              <a:gd name="connsiteY34302" fmla="*/ 1800269 h 7458372"/>
              <a:gd name="connsiteX34303" fmla="*/ 1531822 w 10505529"/>
              <a:gd name="connsiteY34303" fmla="*/ 1791754 h 7458372"/>
              <a:gd name="connsiteX34304" fmla="*/ 1523436 w 10505529"/>
              <a:gd name="connsiteY34304" fmla="*/ 1770584 h 7458372"/>
              <a:gd name="connsiteX34305" fmla="*/ 1531822 w 10505529"/>
              <a:gd name="connsiteY34305" fmla="*/ 1749560 h 7458372"/>
              <a:gd name="connsiteX34306" fmla="*/ 1553653 w 10505529"/>
              <a:gd name="connsiteY34306" fmla="*/ 1740905 h 7458372"/>
              <a:gd name="connsiteX34307" fmla="*/ 1336008 w 10505529"/>
              <a:gd name="connsiteY34307" fmla="*/ 1740905 h 7458372"/>
              <a:gd name="connsiteX34308" fmla="*/ 1347724 w 10505529"/>
              <a:gd name="connsiteY34308" fmla="*/ 1743568 h 7458372"/>
              <a:gd name="connsiteX34309" fmla="*/ 1357042 w 10505529"/>
              <a:gd name="connsiteY34309" fmla="*/ 1749957 h 7458372"/>
              <a:gd name="connsiteX34310" fmla="*/ 1363165 w 10505529"/>
              <a:gd name="connsiteY34310" fmla="*/ 1759266 h 7458372"/>
              <a:gd name="connsiteX34311" fmla="*/ 1365428 w 10505529"/>
              <a:gd name="connsiteY34311" fmla="*/ 1770725 h 7458372"/>
              <a:gd name="connsiteX34312" fmla="*/ 1363165 w 10505529"/>
              <a:gd name="connsiteY34312" fmla="*/ 1782434 h 7458372"/>
              <a:gd name="connsiteX34313" fmla="*/ 1357042 w 10505529"/>
              <a:gd name="connsiteY34313" fmla="*/ 1791754 h 7458372"/>
              <a:gd name="connsiteX34314" fmla="*/ 1347724 w 10505529"/>
              <a:gd name="connsiteY34314" fmla="*/ 1798008 h 7458372"/>
              <a:gd name="connsiteX34315" fmla="*/ 1336008 w 10505529"/>
              <a:gd name="connsiteY34315" fmla="*/ 1800269 h 7458372"/>
              <a:gd name="connsiteX34316" fmla="*/ 1314177 w 10505529"/>
              <a:gd name="connsiteY34316" fmla="*/ 1791754 h 7458372"/>
              <a:gd name="connsiteX34317" fmla="*/ 1305792 w 10505529"/>
              <a:gd name="connsiteY34317" fmla="*/ 1770584 h 7458372"/>
              <a:gd name="connsiteX34318" fmla="*/ 1314177 w 10505529"/>
              <a:gd name="connsiteY34318" fmla="*/ 1749560 h 7458372"/>
              <a:gd name="connsiteX34319" fmla="*/ 1336008 w 10505529"/>
              <a:gd name="connsiteY34319" fmla="*/ 1740905 h 7458372"/>
              <a:gd name="connsiteX34320" fmla="*/ 1118364 w 10505529"/>
              <a:gd name="connsiteY34320" fmla="*/ 1740905 h 7458372"/>
              <a:gd name="connsiteX34321" fmla="*/ 1130080 w 10505529"/>
              <a:gd name="connsiteY34321" fmla="*/ 1743568 h 7458372"/>
              <a:gd name="connsiteX34322" fmla="*/ 1139397 w 10505529"/>
              <a:gd name="connsiteY34322" fmla="*/ 1749957 h 7458372"/>
              <a:gd name="connsiteX34323" fmla="*/ 1145519 w 10505529"/>
              <a:gd name="connsiteY34323" fmla="*/ 1759266 h 7458372"/>
              <a:gd name="connsiteX34324" fmla="*/ 1147782 w 10505529"/>
              <a:gd name="connsiteY34324" fmla="*/ 1770725 h 7458372"/>
              <a:gd name="connsiteX34325" fmla="*/ 1145519 w 10505529"/>
              <a:gd name="connsiteY34325" fmla="*/ 1782434 h 7458372"/>
              <a:gd name="connsiteX34326" fmla="*/ 1139397 w 10505529"/>
              <a:gd name="connsiteY34326" fmla="*/ 1791754 h 7458372"/>
              <a:gd name="connsiteX34327" fmla="*/ 1130080 w 10505529"/>
              <a:gd name="connsiteY34327" fmla="*/ 1798008 h 7458372"/>
              <a:gd name="connsiteX34328" fmla="*/ 1118364 w 10505529"/>
              <a:gd name="connsiteY34328" fmla="*/ 1800269 h 7458372"/>
              <a:gd name="connsiteX34329" fmla="*/ 1096531 w 10505529"/>
              <a:gd name="connsiteY34329" fmla="*/ 1791754 h 7458372"/>
              <a:gd name="connsiteX34330" fmla="*/ 1088146 w 10505529"/>
              <a:gd name="connsiteY34330" fmla="*/ 1770584 h 7458372"/>
              <a:gd name="connsiteX34331" fmla="*/ 1096531 w 10505529"/>
              <a:gd name="connsiteY34331" fmla="*/ 1749560 h 7458372"/>
              <a:gd name="connsiteX34332" fmla="*/ 1118364 w 10505529"/>
              <a:gd name="connsiteY34332" fmla="*/ 1740905 h 7458372"/>
              <a:gd name="connsiteX34333" fmla="*/ 900852 w 10505529"/>
              <a:gd name="connsiteY34333" fmla="*/ 1740905 h 7458372"/>
              <a:gd name="connsiteX34334" fmla="*/ 912567 w 10505529"/>
              <a:gd name="connsiteY34334" fmla="*/ 1743568 h 7458372"/>
              <a:gd name="connsiteX34335" fmla="*/ 921885 w 10505529"/>
              <a:gd name="connsiteY34335" fmla="*/ 1749957 h 7458372"/>
              <a:gd name="connsiteX34336" fmla="*/ 928008 w 10505529"/>
              <a:gd name="connsiteY34336" fmla="*/ 1759266 h 7458372"/>
              <a:gd name="connsiteX34337" fmla="*/ 930271 w 10505529"/>
              <a:gd name="connsiteY34337" fmla="*/ 1770725 h 7458372"/>
              <a:gd name="connsiteX34338" fmla="*/ 928008 w 10505529"/>
              <a:gd name="connsiteY34338" fmla="*/ 1782434 h 7458372"/>
              <a:gd name="connsiteX34339" fmla="*/ 921885 w 10505529"/>
              <a:gd name="connsiteY34339" fmla="*/ 1791754 h 7458372"/>
              <a:gd name="connsiteX34340" fmla="*/ 912567 w 10505529"/>
              <a:gd name="connsiteY34340" fmla="*/ 1798008 h 7458372"/>
              <a:gd name="connsiteX34341" fmla="*/ 900852 w 10505529"/>
              <a:gd name="connsiteY34341" fmla="*/ 1800269 h 7458372"/>
              <a:gd name="connsiteX34342" fmla="*/ 879021 w 10505529"/>
              <a:gd name="connsiteY34342" fmla="*/ 1791754 h 7458372"/>
              <a:gd name="connsiteX34343" fmla="*/ 870635 w 10505529"/>
              <a:gd name="connsiteY34343" fmla="*/ 1770584 h 7458372"/>
              <a:gd name="connsiteX34344" fmla="*/ 879021 w 10505529"/>
              <a:gd name="connsiteY34344" fmla="*/ 1749560 h 7458372"/>
              <a:gd name="connsiteX34345" fmla="*/ 900852 w 10505529"/>
              <a:gd name="connsiteY34345" fmla="*/ 1740905 h 7458372"/>
              <a:gd name="connsiteX34346" fmla="*/ 683208 w 10505529"/>
              <a:gd name="connsiteY34346" fmla="*/ 1740905 h 7458372"/>
              <a:gd name="connsiteX34347" fmla="*/ 694924 w 10505529"/>
              <a:gd name="connsiteY34347" fmla="*/ 1743568 h 7458372"/>
              <a:gd name="connsiteX34348" fmla="*/ 704241 w 10505529"/>
              <a:gd name="connsiteY34348" fmla="*/ 1749957 h 7458372"/>
              <a:gd name="connsiteX34349" fmla="*/ 710364 w 10505529"/>
              <a:gd name="connsiteY34349" fmla="*/ 1759266 h 7458372"/>
              <a:gd name="connsiteX34350" fmla="*/ 712628 w 10505529"/>
              <a:gd name="connsiteY34350" fmla="*/ 1770725 h 7458372"/>
              <a:gd name="connsiteX34351" fmla="*/ 710364 w 10505529"/>
              <a:gd name="connsiteY34351" fmla="*/ 1782434 h 7458372"/>
              <a:gd name="connsiteX34352" fmla="*/ 704241 w 10505529"/>
              <a:gd name="connsiteY34352" fmla="*/ 1791754 h 7458372"/>
              <a:gd name="connsiteX34353" fmla="*/ 694924 w 10505529"/>
              <a:gd name="connsiteY34353" fmla="*/ 1798008 h 7458372"/>
              <a:gd name="connsiteX34354" fmla="*/ 683208 w 10505529"/>
              <a:gd name="connsiteY34354" fmla="*/ 1800269 h 7458372"/>
              <a:gd name="connsiteX34355" fmla="*/ 661377 w 10505529"/>
              <a:gd name="connsiteY34355" fmla="*/ 1791754 h 7458372"/>
              <a:gd name="connsiteX34356" fmla="*/ 652991 w 10505529"/>
              <a:gd name="connsiteY34356" fmla="*/ 1770584 h 7458372"/>
              <a:gd name="connsiteX34357" fmla="*/ 661377 w 10505529"/>
              <a:gd name="connsiteY34357" fmla="*/ 1749560 h 7458372"/>
              <a:gd name="connsiteX34358" fmla="*/ 683208 w 10505529"/>
              <a:gd name="connsiteY34358" fmla="*/ 1740905 h 7458372"/>
              <a:gd name="connsiteX34359" fmla="*/ 465565 w 10505529"/>
              <a:gd name="connsiteY34359" fmla="*/ 1740905 h 7458372"/>
              <a:gd name="connsiteX34360" fmla="*/ 477280 w 10505529"/>
              <a:gd name="connsiteY34360" fmla="*/ 1743568 h 7458372"/>
              <a:gd name="connsiteX34361" fmla="*/ 486598 w 10505529"/>
              <a:gd name="connsiteY34361" fmla="*/ 1749957 h 7458372"/>
              <a:gd name="connsiteX34362" fmla="*/ 492721 w 10505529"/>
              <a:gd name="connsiteY34362" fmla="*/ 1759266 h 7458372"/>
              <a:gd name="connsiteX34363" fmla="*/ 494984 w 10505529"/>
              <a:gd name="connsiteY34363" fmla="*/ 1770725 h 7458372"/>
              <a:gd name="connsiteX34364" fmla="*/ 492721 w 10505529"/>
              <a:gd name="connsiteY34364" fmla="*/ 1782434 h 7458372"/>
              <a:gd name="connsiteX34365" fmla="*/ 486598 w 10505529"/>
              <a:gd name="connsiteY34365" fmla="*/ 1791754 h 7458372"/>
              <a:gd name="connsiteX34366" fmla="*/ 477280 w 10505529"/>
              <a:gd name="connsiteY34366" fmla="*/ 1798008 h 7458372"/>
              <a:gd name="connsiteX34367" fmla="*/ 465565 w 10505529"/>
              <a:gd name="connsiteY34367" fmla="*/ 1800269 h 7458372"/>
              <a:gd name="connsiteX34368" fmla="*/ 443733 w 10505529"/>
              <a:gd name="connsiteY34368" fmla="*/ 1791754 h 7458372"/>
              <a:gd name="connsiteX34369" fmla="*/ 435347 w 10505529"/>
              <a:gd name="connsiteY34369" fmla="*/ 1770584 h 7458372"/>
              <a:gd name="connsiteX34370" fmla="*/ 443733 w 10505529"/>
              <a:gd name="connsiteY34370" fmla="*/ 1749560 h 7458372"/>
              <a:gd name="connsiteX34371" fmla="*/ 465565 w 10505529"/>
              <a:gd name="connsiteY34371" fmla="*/ 1740905 h 7458372"/>
              <a:gd name="connsiteX34372" fmla="*/ 247921 w 10505529"/>
              <a:gd name="connsiteY34372" fmla="*/ 1740905 h 7458372"/>
              <a:gd name="connsiteX34373" fmla="*/ 259636 w 10505529"/>
              <a:gd name="connsiteY34373" fmla="*/ 1743568 h 7458372"/>
              <a:gd name="connsiteX34374" fmla="*/ 268954 w 10505529"/>
              <a:gd name="connsiteY34374" fmla="*/ 1749957 h 7458372"/>
              <a:gd name="connsiteX34375" fmla="*/ 275077 w 10505529"/>
              <a:gd name="connsiteY34375" fmla="*/ 1759266 h 7458372"/>
              <a:gd name="connsiteX34376" fmla="*/ 277340 w 10505529"/>
              <a:gd name="connsiteY34376" fmla="*/ 1770725 h 7458372"/>
              <a:gd name="connsiteX34377" fmla="*/ 275077 w 10505529"/>
              <a:gd name="connsiteY34377" fmla="*/ 1782434 h 7458372"/>
              <a:gd name="connsiteX34378" fmla="*/ 268954 w 10505529"/>
              <a:gd name="connsiteY34378" fmla="*/ 1791754 h 7458372"/>
              <a:gd name="connsiteX34379" fmla="*/ 259636 w 10505529"/>
              <a:gd name="connsiteY34379" fmla="*/ 1798008 h 7458372"/>
              <a:gd name="connsiteX34380" fmla="*/ 247921 w 10505529"/>
              <a:gd name="connsiteY34380" fmla="*/ 1800269 h 7458372"/>
              <a:gd name="connsiteX34381" fmla="*/ 226090 w 10505529"/>
              <a:gd name="connsiteY34381" fmla="*/ 1791754 h 7458372"/>
              <a:gd name="connsiteX34382" fmla="*/ 217704 w 10505529"/>
              <a:gd name="connsiteY34382" fmla="*/ 1770584 h 7458372"/>
              <a:gd name="connsiteX34383" fmla="*/ 226090 w 10505529"/>
              <a:gd name="connsiteY34383" fmla="*/ 1749560 h 7458372"/>
              <a:gd name="connsiteX34384" fmla="*/ 247921 w 10505529"/>
              <a:gd name="connsiteY34384" fmla="*/ 1740905 h 7458372"/>
              <a:gd name="connsiteX34385" fmla="*/ 30277 w 10505529"/>
              <a:gd name="connsiteY34385" fmla="*/ 1740905 h 7458372"/>
              <a:gd name="connsiteX34386" fmla="*/ 41993 w 10505529"/>
              <a:gd name="connsiteY34386" fmla="*/ 1743568 h 7458372"/>
              <a:gd name="connsiteX34387" fmla="*/ 51311 w 10505529"/>
              <a:gd name="connsiteY34387" fmla="*/ 1749957 h 7458372"/>
              <a:gd name="connsiteX34388" fmla="*/ 57434 w 10505529"/>
              <a:gd name="connsiteY34388" fmla="*/ 1759266 h 7458372"/>
              <a:gd name="connsiteX34389" fmla="*/ 59697 w 10505529"/>
              <a:gd name="connsiteY34389" fmla="*/ 1770725 h 7458372"/>
              <a:gd name="connsiteX34390" fmla="*/ 57434 w 10505529"/>
              <a:gd name="connsiteY34390" fmla="*/ 1782434 h 7458372"/>
              <a:gd name="connsiteX34391" fmla="*/ 51311 w 10505529"/>
              <a:gd name="connsiteY34391" fmla="*/ 1791754 h 7458372"/>
              <a:gd name="connsiteX34392" fmla="*/ 41993 w 10505529"/>
              <a:gd name="connsiteY34392" fmla="*/ 1798008 h 7458372"/>
              <a:gd name="connsiteX34393" fmla="*/ 30277 w 10505529"/>
              <a:gd name="connsiteY34393" fmla="*/ 1800269 h 7458372"/>
              <a:gd name="connsiteX34394" fmla="*/ 8447 w 10505529"/>
              <a:gd name="connsiteY34394" fmla="*/ 1791754 h 7458372"/>
              <a:gd name="connsiteX34395" fmla="*/ 61 w 10505529"/>
              <a:gd name="connsiteY34395" fmla="*/ 1770584 h 7458372"/>
              <a:gd name="connsiteX34396" fmla="*/ 8447 w 10505529"/>
              <a:gd name="connsiteY34396" fmla="*/ 1749560 h 7458372"/>
              <a:gd name="connsiteX34397" fmla="*/ 30277 w 10505529"/>
              <a:gd name="connsiteY34397" fmla="*/ 1740905 h 7458372"/>
              <a:gd name="connsiteX34398" fmla="*/ 10475977 w 10505529"/>
              <a:gd name="connsiteY34398" fmla="*/ 1540033 h 7458372"/>
              <a:gd name="connsiteX34399" fmla="*/ 10465992 w 10505529"/>
              <a:gd name="connsiteY34399" fmla="*/ 1543620 h 7458372"/>
              <a:gd name="connsiteX34400" fmla="*/ 10462399 w 10505529"/>
              <a:gd name="connsiteY34400" fmla="*/ 1553078 h 7458372"/>
              <a:gd name="connsiteX34401" fmla="*/ 10465992 w 10505529"/>
              <a:gd name="connsiteY34401" fmla="*/ 1562528 h 7458372"/>
              <a:gd name="connsiteX34402" fmla="*/ 10475977 w 10505529"/>
              <a:gd name="connsiteY34402" fmla="*/ 1565990 h 7458372"/>
              <a:gd name="connsiteX34403" fmla="*/ 10481302 w 10505529"/>
              <a:gd name="connsiteY34403" fmla="*/ 1564919 h 7458372"/>
              <a:gd name="connsiteX34404" fmla="*/ 10485029 w 10505529"/>
              <a:gd name="connsiteY34404" fmla="*/ 1562528 h 7458372"/>
              <a:gd name="connsiteX34405" fmla="*/ 10487691 w 10505529"/>
              <a:gd name="connsiteY34405" fmla="*/ 1558402 h 7458372"/>
              <a:gd name="connsiteX34406" fmla="*/ 10488623 w 10505529"/>
              <a:gd name="connsiteY34406" fmla="*/ 1552940 h 7458372"/>
              <a:gd name="connsiteX34407" fmla="*/ 10487691 w 10505529"/>
              <a:gd name="connsiteY34407" fmla="*/ 1547746 h 7458372"/>
              <a:gd name="connsiteX34408" fmla="*/ 10485029 w 10505529"/>
              <a:gd name="connsiteY34408" fmla="*/ 1543620 h 7458372"/>
              <a:gd name="connsiteX34409" fmla="*/ 10481035 w 10505529"/>
              <a:gd name="connsiteY34409" fmla="*/ 1540957 h 7458372"/>
              <a:gd name="connsiteX34410" fmla="*/ 10475977 w 10505529"/>
              <a:gd name="connsiteY34410" fmla="*/ 1540033 h 7458372"/>
              <a:gd name="connsiteX34411" fmla="*/ 10258466 w 10505529"/>
              <a:gd name="connsiteY34411" fmla="*/ 1540033 h 7458372"/>
              <a:gd name="connsiteX34412" fmla="*/ 10248481 w 10505529"/>
              <a:gd name="connsiteY34412" fmla="*/ 1543620 h 7458372"/>
              <a:gd name="connsiteX34413" fmla="*/ 10244887 w 10505529"/>
              <a:gd name="connsiteY34413" fmla="*/ 1553078 h 7458372"/>
              <a:gd name="connsiteX34414" fmla="*/ 10248481 w 10505529"/>
              <a:gd name="connsiteY34414" fmla="*/ 1562528 h 7458372"/>
              <a:gd name="connsiteX34415" fmla="*/ 10258466 w 10505529"/>
              <a:gd name="connsiteY34415" fmla="*/ 1565990 h 7458372"/>
              <a:gd name="connsiteX34416" fmla="*/ 10263790 w 10505529"/>
              <a:gd name="connsiteY34416" fmla="*/ 1564919 h 7458372"/>
              <a:gd name="connsiteX34417" fmla="*/ 10267517 w 10505529"/>
              <a:gd name="connsiteY34417" fmla="*/ 1562528 h 7458372"/>
              <a:gd name="connsiteX34418" fmla="*/ 10270180 w 10505529"/>
              <a:gd name="connsiteY34418" fmla="*/ 1558402 h 7458372"/>
              <a:gd name="connsiteX34419" fmla="*/ 10271112 w 10505529"/>
              <a:gd name="connsiteY34419" fmla="*/ 1552940 h 7458372"/>
              <a:gd name="connsiteX34420" fmla="*/ 10270180 w 10505529"/>
              <a:gd name="connsiteY34420" fmla="*/ 1547746 h 7458372"/>
              <a:gd name="connsiteX34421" fmla="*/ 10267517 w 10505529"/>
              <a:gd name="connsiteY34421" fmla="*/ 1543620 h 7458372"/>
              <a:gd name="connsiteX34422" fmla="*/ 10263524 w 10505529"/>
              <a:gd name="connsiteY34422" fmla="*/ 1540957 h 7458372"/>
              <a:gd name="connsiteX34423" fmla="*/ 10258466 w 10505529"/>
              <a:gd name="connsiteY34423" fmla="*/ 1540033 h 7458372"/>
              <a:gd name="connsiteX34424" fmla="*/ 10040820 w 10505529"/>
              <a:gd name="connsiteY34424" fmla="*/ 1540033 h 7458372"/>
              <a:gd name="connsiteX34425" fmla="*/ 10030835 w 10505529"/>
              <a:gd name="connsiteY34425" fmla="*/ 1543620 h 7458372"/>
              <a:gd name="connsiteX34426" fmla="*/ 10027242 w 10505529"/>
              <a:gd name="connsiteY34426" fmla="*/ 1553078 h 7458372"/>
              <a:gd name="connsiteX34427" fmla="*/ 10030835 w 10505529"/>
              <a:gd name="connsiteY34427" fmla="*/ 1562528 h 7458372"/>
              <a:gd name="connsiteX34428" fmla="*/ 10040820 w 10505529"/>
              <a:gd name="connsiteY34428" fmla="*/ 1565990 h 7458372"/>
              <a:gd name="connsiteX34429" fmla="*/ 10046145 w 10505529"/>
              <a:gd name="connsiteY34429" fmla="*/ 1564919 h 7458372"/>
              <a:gd name="connsiteX34430" fmla="*/ 10049872 w 10505529"/>
              <a:gd name="connsiteY34430" fmla="*/ 1562528 h 7458372"/>
              <a:gd name="connsiteX34431" fmla="*/ 10052534 w 10505529"/>
              <a:gd name="connsiteY34431" fmla="*/ 1558402 h 7458372"/>
              <a:gd name="connsiteX34432" fmla="*/ 10053599 w 10505529"/>
              <a:gd name="connsiteY34432" fmla="*/ 1552940 h 7458372"/>
              <a:gd name="connsiteX34433" fmla="*/ 10052534 w 10505529"/>
              <a:gd name="connsiteY34433" fmla="*/ 1547746 h 7458372"/>
              <a:gd name="connsiteX34434" fmla="*/ 10049872 w 10505529"/>
              <a:gd name="connsiteY34434" fmla="*/ 1543620 h 7458372"/>
              <a:gd name="connsiteX34435" fmla="*/ 10045878 w 10505529"/>
              <a:gd name="connsiteY34435" fmla="*/ 1540957 h 7458372"/>
              <a:gd name="connsiteX34436" fmla="*/ 10040820 w 10505529"/>
              <a:gd name="connsiteY34436" fmla="*/ 1540033 h 7458372"/>
              <a:gd name="connsiteX34437" fmla="*/ 9823176 w 10505529"/>
              <a:gd name="connsiteY34437" fmla="*/ 1540033 h 7458372"/>
              <a:gd name="connsiteX34438" fmla="*/ 9813191 w 10505529"/>
              <a:gd name="connsiteY34438" fmla="*/ 1543620 h 7458372"/>
              <a:gd name="connsiteX34439" fmla="*/ 9809597 w 10505529"/>
              <a:gd name="connsiteY34439" fmla="*/ 1553078 h 7458372"/>
              <a:gd name="connsiteX34440" fmla="*/ 9813191 w 10505529"/>
              <a:gd name="connsiteY34440" fmla="*/ 1562528 h 7458372"/>
              <a:gd name="connsiteX34441" fmla="*/ 9823176 w 10505529"/>
              <a:gd name="connsiteY34441" fmla="*/ 1565990 h 7458372"/>
              <a:gd name="connsiteX34442" fmla="*/ 9828501 w 10505529"/>
              <a:gd name="connsiteY34442" fmla="*/ 1564919 h 7458372"/>
              <a:gd name="connsiteX34443" fmla="*/ 9832227 w 10505529"/>
              <a:gd name="connsiteY34443" fmla="*/ 1562528 h 7458372"/>
              <a:gd name="connsiteX34444" fmla="*/ 9834890 w 10505529"/>
              <a:gd name="connsiteY34444" fmla="*/ 1558402 h 7458372"/>
              <a:gd name="connsiteX34445" fmla="*/ 9835955 w 10505529"/>
              <a:gd name="connsiteY34445" fmla="*/ 1552940 h 7458372"/>
              <a:gd name="connsiteX34446" fmla="*/ 9834890 w 10505529"/>
              <a:gd name="connsiteY34446" fmla="*/ 1547746 h 7458372"/>
              <a:gd name="connsiteX34447" fmla="*/ 9832227 w 10505529"/>
              <a:gd name="connsiteY34447" fmla="*/ 1543620 h 7458372"/>
              <a:gd name="connsiteX34448" fmla="*/ 9828234 w 10505529"/>
              <a:gd name="connsiteY34448" fmla="*/ 1540957 h 7458372"/>
              <a:gd name="connsiteX34449" fmla="*/ 9823176 w 10505529"/>
              <a:gd name="connsiteY34449" fmla="*/ 1540033 h 7458372"/>
              <a:gd name="connsiteX34450" fmla="*/ 9605531 w 10505529"/>
              <a:gd name="connsiteY34450" fmla="*/ 1540033 h 7458372"/>
              <a:gd name="connsiteX34451" fmla="*/ 9595546 w 10505529"/>
              <a:gd name="connsiteY34451" fmla="*/ 1543620 h 7458372"/>
              <a:gd name="connsiteX34452" fmla="*/ 9591952 w 10505529"/>
              <a:gd name="connsiteY34452" fmla="*/ 1553078 h 7458372"/>
              <a:gd name="connsiteX34453" fmla="*/ 9595546 w 10505529"/>
              <a:gd name="connsiteY34453" fmla="*/ 1562528 h 7458372"/>
              <a:gd name="connsiteX34454" fmla="*/ 9605531 w 10505529"/>
              <a:gd name="connsiteY34454" fmla="*/ 1565990 h 7458372"/>
              <a:gd name="connsiteX34455" fmla="*/ 9610855 w 10505529"/>
              <a:gd name="connsiteY34455" fmla="*/ 1564919 h 7458372"/>
              <a:gd name="connsiteX34456" fmla="*/ 9614582 w 10505529"/>
              <a:gd name="connsiteY34456" fmla="*/ 1562528 h 7458372"/>
              <a:gd name="connsiteX34457" fmla="*/ 9617245 w 10505529"/>
              <a:gd name="connsiteY34457" fmla="*/ 1558402 h 7458372"/>
              <a:gd name="connsiteX34458" fmla="*/ 9618309 w 10505529"/>
              <a:gd name="connsiteY34458" fmla="*/ 1552940 h 7458372"/>
              <a:gd name="connsiteX34459" fmla="*/ 9617245 w 10505529"/>
              <a:gd name="connsiteY34459" fmla="*/ 1547746 h 7458372"/>
              <a:gd name="connsiteX34460" fmla="*/ 9614582 w 10505529"/>
              <a:gd name="connsiteY34460" fmla="*/ 1543620 h 7458372"/>
              <a:gd name="connsiteX34461" fmla="*/ 9610589 w 10505529"/>
              <a:gd name="connsiteY34461" fmla="*/ 1540957 h 7458372"/>
              <a:gd name="connsiteX34462" fmla="*/ 9605531 w 10505529"/>
              <a:gd name="connsiteY34462" fmla="*/ 1540033 h 7458372"/>
              <a:gd name="connsiteX34463" fmla="*/ 9387885 w 10505529"/>
              <a:gd name="connsiteY34463" fmla="*/ 1540033 h 7458372"/>
              <a:gd name="connsiteX34464" fmla="*/ 9377900 w 10505529"/>
              <a:gd name="connsiteY34464" fmla="*/ 1543620 h 7458372"/>
              <a:gd name="connsiteX34465" fmla="*/ 9374307 w 10505529"/>
              <a:gd name="connsiteY34465" fmla="*/ 1553078 h 7458372"/>
              <a:gd name="connsiteX34466" fmla="*/ 9377900 w 10505529"/>
              <a:gd name="connsiteY34466" fmla="*/ 1562528 h 7458372"/>
              <a:gd name="connsiteX34467" fmla="*/ 9387885 w 10505529"/>
              <a:gd name="connsiteY34467" fmla="*/ 1565990 h 7458372"/>
              <a:gd name="connsiteX34468" fmla="*/ 9393210 w 10505529"/>
              <a:gd name="connsiteY34468" fmla="*/ 1564919 h 7458372"/>
              <a:gd name="connsiteX34469" fmla="*/ 9396937 w 10505529"/>
              <a:gd name="connsiteY34469" fmla="*/ 1562528 h 7458372"/>
              <a:gd name="connsiteX34470" fmla="*/ 9399599 w 10505529"/>
              <a:gd name="connsiteY34470" fmla="*/ 1558402 h 7458372"/>
              <a:gd name="connsiteX34471" fmla="*/ 9400664 w 10505529"/>
              <a:gd name="connsiteY34471" fmla="*/ 1552940 h 7458372"/>
              <a:gd name="connsiteX34472" fmla="*/ 9399599 w 10505529"/>
              <a:gd name="connsiteY34472" fmla="*/ 1547746 h 7458372"/>
              <a:gd name="connsiteX34473" fmla="*/ 9396937 w 10505529"/>
              <a:gd name="connsiteY34473" fmla="*/ 1543620 h 7458372"/>
              <a:gd name="connsiteX34474" fmla="*/ 9392943 w 10505529"/>
              <a:gd name="connsiteY34474" fmla="*/ 1540957 h 7458372"/>
              <a:gd name="connsiteX34475" fmla="*/ 9387885 w 10505529"/>
              <a:gd name="connsiteY34475" fmla="*/ 1540033 h 7458372"/>
              <a:gd name="connsiteX34476" fmla="*/ 9170374 w 10505529"/>
              <a:gd name="connsiteY34476" fmla="*/ 1540033 h 7458372"/>
              <a:gd name="connsiteX34477" fmla="*/ 9160389 w 10505529"/>
              <a:gd name="connsiteY34477" fmla="*/ 1543620 h 7458372"/>
              <a:gd name="connsiteX34478" fmla="*/ 9156795 w 10505529"/>
              <a:gd name="connsiteY34478" fmla="*/ 1553078 h 7458372"/>
              <a:gd name="connsiteX34479" fmla="*/ 9160389 w 10505529"/>
              <a:gd name="connsiteY34479" fmla="*/ 1562528 h 7458372"/>
              <a:gd name="connsiteX34480" fmla="*/ 9170374 w 10505529"/>
              <a:gd name="connsiteY34480" fmla="*/ 1565990 h 7458372"/>
              <a:gd name="connsiteX34481" fmla="*/ 9175698 w 10505529"/>
              <a:gd name="connsiteY34481" fmla="*/ 1564919 h 7458372"/>
              <a:gd name="connsiteX34482" fmla="*/ 9179425 w 10505529"/>
              <a:gd name="connsiteY34482" fmla="*/ 1562528 h 7458372"/>
              <a:gd name="connsiteX34483" fmla="*/ 9182088 w 10505529"/>
              <a:gd name="connsiteY34483" fmla="*/ 1558402 h 7458372"/>
              <a:gd name="connsiteX34484" fmla="*/ 9183152 w 10505529"/>
              <a:gd name="connsiteY34484" fmla="*/ 1552940 h 7458372"/>
              <a:gd name="connsiteX34485" fmla="*/ 9182088 w 10505529"/>
              <a:gd name="connsiteY34485" fmla="*/ 1547746 h 7458372"/>
              <a:gd name="connsiteX34486" fmla="*/ 9179425 w 10505529"/>
              <a:gd name="connsiteY34486" fmla="*/ 1543620 h 7458372"/>
              <a:gd name="connsiteX34487" fmla="*/ 9175432 w 10505529"/>
              <a:gd name="connsiteY34487" fmla="*/ 1540957 h 7458372"/>
              <a:gd name="connsiteX34488" fmla="*/ 9170374 w 10505529"/>
              <a:gd name="connsiteY34488" fmla="*/ 1540033 h 7458372"/>
              <a:gd name="connsiteX34489" fmla="*/ 8952728 w 10505529"/>
              <a:gd name="connsiteY34489" fmla="*/ 1540033 h 7458372"/>
              <a:gd name="connsiteX34490" fmla="*/ 8942743 w 10505529"/>
              <a:gd name="connsiteY34490" fmla="*/ 1543620 h 7458372"/>
              <a:gd name="connsiteX34491" fmla="*/ 8939150 w 10505529"/>
              <a:gd name="connsiteY34491" fmla="*/ 1553078 h 7458372"/>
              <a:gd name="connsiteX34492" fmla="*/ 8942743 w 10505529"/>
              <a:gd name="connsiteY34492" fmla="*/ 1562528 h 7458372"/>
              <a:gd name="connsiteX34493" fmla="*/ 8952728 w 10505529"/>
              <a:gd name="connsiteY34493" fmla="*/ 1565990 h 7458372"/>
              <a:gd name="connsiteX34494" fmla="*/ 8958053 w 10505529"/>
              <a:gd name="connsiteY34494" fmla="*/ 1564919 h 7458372"/>
              <a:gd name="connsiteX34495" fmla="*/ 8961780 w 10505529"/>
              <a:gd name="connsiteY34495" fmla="*/ 1562528 h 7458372"/>
              <a:gd name="connsiteX34496" fmla="*/ 8964442 w 10505529"/>
              <a:gd name="connsiteY34496" fmla="*/ 1558402 h 7458372"/>
              <a:gd name="connsiteX34497" fmla="*/ 8965507 w 10505529"/>
              <a:gd name="connsiteY34497" fmla="*/ 1552940 h 7458372"/>
              <a:gd name="connsiteX34498" fmla="*/ 8964442 w 10505529"/>
              <a:gd name="connsiteY34498" fmla="*/ 1547746 h 7458372"/>
              <a:gd name="connsiteX34499" fmla="*/ 8961780 w 10505529"/>
              <a:gd name="connsiteY34499" fmla="*/ 1543620 h 7458372"/>
              <a:gd name="connsiteX34500" fmla="*/ 8957786 w 10505529"/>
              <a:gd name="connsiteY34500" fmla="*/ 1540957 h 7458372"/>
              <a:gd name="connsiteX34501" fmla="*/ 8952728 w 10505529"/>
              <a:gd name="connsiteY34501" fmla="*/ 1540033 h 7458372"/>
              <a:gd name="connsiteX34502" fmla="*/ 8735083 w 10505529"/>
              <a:gd name="connsiteY34502" fmla="*/ 1540033 h 7458372"/>
              <a:gd name="connsiteX34503" fmla="*/ 8725098 w 10505529"/>
              <a:gd name="connsiteY34503" fmla="*/ 1543620 h 7458372"/>
              <a:gd name="connsiteX34504" fmla="*/ 8721504 w 10505529"/>
              <a:gd name="connsiteY34504" fmla="*/ 1553078 h 7458372"/>
              <a:gd name="connsiteX34505" fmla="*/ 8725098 w 10505529"/>
              <a:gd name="connsiteY34505" fmla="*/ 1562528 h 7458372"/>
              <a:gd name="connsiteX34506" fmla="*/ 8735083 w 10505529"/>
              <a:gd name="connsiteY34506" fmla="*/ 1565990 h 7458372"/>
              <a:gd name="connsiteX34507" fmla="*/ 8740407 w 10505529"/>
              <a:gd name="connsiteY34507" fmla="*/ 1564919 h 7458372"/>
              <a:gd name="connsiteX34508" fmla="*/ 8744134 w 10505529"/>
              <a:gd name="connsiteY34508" fmla="*/ 1562528 h 7458372"/>
              <a:gd name="connsiteX34509" fmla="*/ 8746797 w 10505529"/>
              <a:gd name="connsiteY34509" fmla="*/ 1558402 h 7458372"/>
              <a:gd name="connsiteX34510" fmla="*/ 8747862 w 10505529"/>
              <a:gd name="connsiteY34510" fmla="*/ 1552940 h 7458372"/>
              <a:gd name="connsiteX34511" fmla="*/ 8746797 w 10505529"/>
              <a:gd name="connsiteY34511" fmla="*/ 1547746 h 7458372"/>
              <a:gd name="connsiteX34512" fmla="*/ 8744134 w 10505529"/>
              <a:gd name="connsiteY34512" fmla="*/ 1543620 h 7458372"/>
              <a:gd name="connsiteX34513" fmla="*/ 8740141 w 10505529"/>
              <a:gd name="connsiteY34513" fmla="*/ 1540957 h 7458372"/>
              <a:gd name="connsiteX34514" fmla="*/ 8735083 w 10505529"/>
              <a:gd name="connsiteY34514" fmla="*/ 1540033 h 7458372"/>
              <a:gd name="connsiteX34515" fmla="*/ 8517438 w 10505529"/>
              <a:gd name="connsiteY34515" fmla="*/ 1540033 h 7458372"/>
              <a:gd name="connsiteX34516" fmla="*/ 8507453 w 10505529"/>
              <a:gd name="connsiteY34516" fmla="*/ 1543620 h 7458372"/>
              <a:gd name="connsiteX34517" fmla="*/ 8503860 w 10505529"/>
              <a:gd name="connsiteY34517" fmla="*/ 1553078 h 7458372"/>
              <a:gd name="connsiteX34518" fmla="*/ 8507453 w 10505529"/>
              <a:gd name="connsiteY34518" fmla="*/ 1562528 h 7458372"/>
              <a:gd name="connsiteX34519" fmla="*/ 8517438 w 10505529"/>
              <a:gd name="connsiteY34519" fmla="*/ 1565990 h 7458372"/>
              <a:gd name="connsiteX34520" fmla="*/ 8522763 w 10505529"/>
              <a:gd name="connsiteY34520" fmla="*/ 1564919 h 7458372"/>
              <a:gd name="connsiteX34521" fmla="*/ 8526490 w 10505529"/>
              <a:gd name="connsiteY34521" fmla="*/ 1562528 h 7458372"/>
              <a:gd name="connsiteX34522" fmla="*/ 8529152 w 10505529"/>
              <a:gd name="connsiteY34522" fmla="*/ 1558402 h 7458372"/>
              <a:gd name="connsiteX34523" fmla="*/ 8530084 w 10505529"/>
              <a:gd name="connsiteY34523" fmla="*/ 1552940 h 7458372"/>
              <a:gd name="connsiteX34524" fmla="*/ 8529152 w 10505529"/>
              <a:gd name="connsiteY34524" fmla="*/ 1547746 h 7458372"/>
              <a:gd name="connsiteX34525" fmla="*/ 8526490 w 10505529"/>
              <a:gd name="connsiteY34525" fmla="*/ 1543620 h 7458372"/>
              <a:gd name="connsiteX34526" fmla="*/ 8522496 w 10505529"/>
              <a:gd name="connsiteY34526" fmla="*/ 1540957 h 7458372"/>
              <a:gd name="connsiteX34527" fmla="*/ 8517438 w 10505529"/>
              <a:gd name="connsiteY34527" fmla="*/ 1540033 h 7458372"/>
              <a:gd name="connsiteX34528" fmla="*/ 8299793 w 10505529"/>
              <a:gd name="connsiteY34528" fmla="*/ 1540033 h 7458372"/>
              <a:gd name="connsiteX34529" fmla="*/ 8289809 w 10505529"/>
              <a:gd name="connsiteY34529" fmla="*/ 1543620 h 7458372"/>
              <a:gd name="connsiteX34530" fmla="*/ 8286215 w 10505529"/>
              <a:gd name="connsiteY34530" fmla="*/ 1553078 h 7458372"/>
              <a:gd name="connsiteX34531" fmla="*/ 8289809 w 10505529"/>
              <a:gd name="connsiteY34531" fmla="*/ 1562528 h 7458372"/>
              <a:gd name="connsiteX34532" fmla="*/ 8299793 w 10505529"/>
              <a:gd name="connsiteY34532" fmla="*/ 1565990 h 7458372"/>
              <a:gd name="connsiteX34533" fmla="*/ 8305118 w 10505529"/>
              <a:gd name="connsiteY34533" fmla="*/ 1564919 h 7458372"/>
              <a:gd name="connsiteX34534" fmla="*/ 8308844 w 10505529"/>
              <a:gd name="connsiteY34534" fmla="*/ 1562528 h 7458372"/>
              <a:gd name="connsiteX34535" fmla="*/ 8311507 w 10505529"/>
              <a:gd name="connsiteY34535" fmla="*/ 1558402 h 7458372"/>
              <a:gd name="connsiteX34536" fmla="*/ 8312439 w 10505529"/>
              <a:gd name="connsiteY34536" fmla="*/ 1552940 h 7458372"/>
              <a:gd name="connsiteX34537" fmla="*/ 8311507 w 10505529"/>
              <a:gd name="connsiteY34537" fmla="*/ 1547746 h 7458372"/>
              <a:gd name="connsiteX34538" fmla="*/ 8308844 w 10505529"/>
              <a:gd name="connsiteY34538" fmla="*/ 1543620 h 7458372"/>
              <a:gd name="connsiteX34539" fmla="*/ 8304851 w 10505529"/>
              <a:gd name="connsiteY34539" fmla="*/ 1540957 h 7458372"/>
              <a:gd name="connsiteX34540" fmla="*/ 8299793 w 10505529"/>
              <a:gd name="connsiteY34540" fmla="*/ 1540033 h 7458372"/>
              <a:gd name="connsiteX34541" fmla="*/ 8082281 w 10505529"/>
              <a:gd name="connsiteY34541" fmla="*/ 1540033 h 7458372"/>
              <a:gd name="connsiteX34542" fmla="*/ 8072297 w 10505529"/>
              <a:gd name="connsiteY34542" fmla="*/ 1543620 h 7458372"/>
              <a:gd name="connsiteX34543" fmla="*/ 8068703 w 10505529"/>
              <a:gd name="connsiteY34543" fmla="*/ 1553078 h 7458372"/>
              <a:gd name="connsiteX34544" fmla="*/ 8072297 w 10505529"/>
              <a:gd name="connsiteY34544" fmla="*/ 1562528 h 7458372"/>
              <a:gd name="connsiteX34545" fmla="*/ 8082281 w 10505529"/>
              <a:gd name="connsiteY34545" fmla="*/ 1565990 h 7458372"/>
              <a:gd name="connsiteX34546" fmla="*/ 8087605 w 10505529"/>
              <a:gd name="connsiteY34546" fmla="*/ 1564919 h 7458372"/>
              <a:gd name="connsiteX34547" fmla="*/ 8091332 w 10505529"/>
              <a:gd name="connsiteY34547" fmla="*/ 1562528 h 7458372"/>
              <a:gd name="connsiteX34548" fmla="*/ 8093994 w 10505529"/>
              <a:gd name="connsiteY34548" fmla="*/ 1558402 h 7458372"/>
              <a:gd name="connsiteX34549" fmla="*/ 8094926 w 10505529"/>
              <a:gd name="connsiteY34549" fmla="*/ 1552940 h 7458372"/>
              <a:gd name="connsiteX34550" fmla="*/ 8093994 w 10505529"/>
              <a:gd name="connsiteY34550" fmla="*/ 1547746 h 7458372"/>
              <a:gd name="connsiteX34551" fmla="*/ 8091332 w 10505529"/>
              <a:gd name="connsiteY34551" fmla="*/ 1543620 h 7458372"/>
              <a:gd name="connsiteX34552" fmla="*/ 8087338 w 10505529"/>
              <a:gd name="connsiteY34552" fmla="*/ 1540957 h 7458372"/>
              <a:gd name="connsiteX34553" fmla="*/ 8082281 w 10505529"/>
              <a:gd name="connsiteY34553" fmla="*/ 1540033 h 7458372"/>
              <a:gd name="connsiteX34554" fmla="*/ 7864636 w 10505529"/>
              <a:gd name="connsiteY34554" fmla="*/ 1540033 h 7458372"/>
              <a:gd name="connsiteX34555" fmla="*/ 7854652 w 10505529"/>
              <a:gd name="connsiteY34555" fmla="*/ 1543620 h 7458372"/>
              <a:gd name="connsiteX34556" fmla="*/ 7851058 w 10505529"/>
              <a:gd name="connsiteY34556" fmla="*/ 1553078 h 7458372"/>
              <a:gd name="connsiteX34557" fmla="*/ 7854652 w 10505529"/>
              <a:gd name="connsiteY34557" fmla="*/ 1562528 h 7458372"/>
              <a:gd name="connsiteX34558" fmla="*/ 7864636 w 10505529"/>
              <a:gd name="connsiteY34558" fmla="*/ 1565990 h 7458372"/>
              <a:gd name="connsiteX34559" fmla="*/ 7869961 w 10505529"/>
              <a:gd name="connsiteY34559" fmla="*/ 1564919 h 7458372"/>
              <a:gd name="connsiteX34560" fmla="*/ 7873687 w 10505529"/>
              <a:gd name="connsiteY34560" fmla="*/ 1562528 h 7458372"/>
              <a:gd name="connsiteX34561" fmla="*/ 7876350 w 10505529"/>
              <a:gd name="connsiteY34561" fmla="*/ 1558402 h 7458372"/>
              <a:gd name="connsiteX34562" fmla="*/ 7877282 w 10505529"/>
              <a:gd name="connsiteY34562" fmla="*/ 1552940 h 7458372"/>
              <a:gd name="connsiteX34563" fmla="*/ 7876350 w 10505529"/>
              <a:gd name="connsiteY34563" fmla="*/ 1547746 h 7458372"/>
              <a:gd name="connsiteX34564" fmla="*/ 7873687 w 10505529"/>
              <a:gd name="connsiteY34564" fmla="*/ 1543620 h 7458372"/>
              <a:gd name="connsiteX34565" fmla="*/ 7869694 w 10505529"/>
              <a:gd name="connsiteY34565" fmla="*/ 1540957 h 7458372"/>
              <a:gd name="connsiteX34566" fmla="*/ 7864636 w 10505529"/>
              <a:gd name="connsiteY34566" fmla="*/ 1540033 h 7458372"/>
              <a:gd name="connsiteX34567" fmla="*/ 7646991 w 10505529"/>
              <a:gd name="connsiteY34567" fmla="*/ 1540033 h 7458372"/>
              <a:gd name="connsiteX34568" fmla="*/ 7637007 w 10505529"/>
              <a:gd name="connsiteY34568" fmla="*/ 1543620 h 7458372"/>
              <a:gd name="connsiteX34569" fmla="*/ 7633413 w 10505529"/>
              <a:gd name="connsiteY34569" fmla="*/ 1553078 h 7458372"/>
              <a:gd name="connsiteX34570" fmla="*/ 7637007 w 10505529"/>
              <a:gd name="connsiteY34570" fmla="*/ 1562528 h 7458372"/>
              <a:gd name="connsiteX34571" fmla="*/ 7646991 w 10505529"/>
              <a:gd name="connsiteY34571" fmla="*/ 1565990 h 7458372"/>
              <a:gd name="connsiteX34572" fmla="*/ 7652315 w 10505529"/>
              <a:gd name="connsiteY34572" fmla="*/ 1564919 h 7458372"/>
              <a:gd name="connsiteX34573" fmla="*/ 7656042 w 10505529"/>
              <a:gd name="connsiteY34573" fmla="*/ 1562528 h 7458372"/>
              <a:gd name="connsiteX34574" fmla="*/ 7658705 w 10505529"/>
              <a:gd name="connsiteY34574" fmla="*/ 1558402 h 7458372"/>
              <a:gd name="connsiteX34575" fmla="*/ 7659769 w 10505529"/>
              <a:gd name="connsiteY34575" fmla="*/ 1552940 h 7458372"/>
              <a:gd name="connsiteX34576" fmla="*/ 7658705 w 10505529"/>
              <a:gd name="connsiteY34576" fmla="*/ 1547746 h 7458372"/>
              <a:gd name="connsiteX34577" fmla="*/ 7656042 w 10505529"/>
              <a:gd name="connsiteY34577" fmla="*/ 1543620 h 7458372"/>
              <a:gd name="connsiteX34578" fmla="*/ 7652049 w 10505529"/>
              <a:gd name="connsiteY34578" fmla="*/ 1540957 h 7458372"/>
              <a:gd name="connsiteX34579" fmla="*/ 7646991 w 10505529"/>
              <a:gd name="connsiteY34579" fmla="*/ 1540033 h 7458372"/>
              <a:gd name="connsiteX34580" fmla="*/ 7429345 w 10505529"/>
              <a:gd name="connsiteY34580" fmla="*/ 1540033 h 7458372"/>
              <a:gd name="connsiteX34581" fmla="*/ 7419361 w 10505529"/>
              <a:gd name="connsiteY34581" fmla="*/ 1543620 h 7458372"/>
              <a:gd name="connsiteX34582" fmla="*/ 7415768 w 10505529"/>
              <a:gd name="connsiteY34582" fmla="*/ 1553078 h 7458372"/>
              <a:gd name="connsiteX34583" fmla="*/ 7419361 w 10505529"/>
              <a:gd name="connsiteY34583" fmla="*/ 1562528 h 7458372"/>
              <a:gd name="connsiteX34584" fmla="*/ 7429345 w 10505529"/>
              <a:gd name="connsiteY34584" fmla="*/ 1565990 h 7458372"/>
              <a:gd name="connsiteX34585" fmla="*/ 7434670 w 10505529"/>
              <a:gd name="connsiteY34585" fmla="*/ 1564919 h 7458372"/>
              <a:gd name="connsiteX34586" fmla="*/ 7438397 w 10505529"/>
              <a:gd name="connsiteY34586" fmla="*/ 1562528 h 7458372"/>
              <a:gd name="connsiteX34587" fmla="*/ 7441059 w 10505529"/>
              <a:gd name="connsiteY34587" fmla="*/ 1558402 h 7458372"/>
              <a:gd name="connsiteX34588" fmla="*/ 7442124 w 10505529"/>
              <a:gd name="connsiteY34588" fmla="*/ 1552940 h 7458372"/>
              <a:gd name="connsiteX34589" fmla="*/ 7441059 w 10505529"/>
              <a:gd name="connsiteY34589" fmla="*/ 1547746 h 7458372"/>
              <a:gd name="connsiteX34590" fmla="*/ 7438397 w 10505529"/>
              <a:gd name="connsiteY34590" fmla="*/ 1543620 h 7458372"/>
              <a:gd name="connsiteX34591" fmla="*/ 7434403 w 10505529"/>
              <a:gd name="connsiteY34591" fmla="*/ 1540957 h 7458372"/>
              <a:gd name="connsiteX34592" fmla="*/ 7429345 w 10505529"/>
              <a:gd name="connsiteY34592" fmla="*/ 1540033 h 7458372"/>
              <a:gd name="connsiteX34593" fmla="*/ 7211701 w 10505529"/>
              <a:gd name="connsiteY34593" fmla="*/ 1540033 h 7458372"/>
              <a:gd name="connsiteX34594" fmla="*/ 7201717 w 10505529"/>
              <a:gd name="connsiteY34594" fmla="*/ 1543620 h 7458372"/>
              <a:gd name="connsiteX34595" fmla="*/ 7198123 w 10505529"/>
              <a:gd name="connsiteY34595" fmla="*/ 1553078 h 7458372"/>
              <a:gd name="connsiteX34596" fmla="*/ 7201717 w 10505529"/>
              <a:gd name="connsiteY34596" fmla="*/ 1562528 h 7458372"/>
              <a:gd name="connsiteX34597" fmla="*/ 7211701 w 10505529"/>
              <a:gd name="connsiteY34597" fmla="*/ 1565990 h 7458372"/>
              <a:gd name="connsiteX34598" fmla="*/ 7217026 w 10505529"/>
              <a:gd name="connsiteY34598" fmla="*/ 1564919 h 7458372"/>
              <a:gd name="connsiteX34599" fmla="*/ 7220752 w 10505529"/>
              <a:gd name="connsiteY34599" fmla="*/ 1562528 h 7458372"/>
              <a:gd name="connsiteX34600" fmla="*/ 7223415 w 10505529"/>
              <a:gd name="connsiteY34600" fmla="*/ 1558402 h 7458372"/>
              <a:gd name="connsiteX34601" fmla="*/ 7224480 w 10505529"/>
              <a:gd name="connsiteY34601" fmla="*/ 1552940 h 7458372"/>
              <a:gd name="connsiteX34602" fmla="*/ 7223415 w 10505529"/>
              <a:gd name="connsiteY34602" fmla="*/ 1547746 h 7458372"/>
              <a:gd name="connsiteX34603" fmla="*/ 7220752 w 10505529"/>
              <a:gd name="connsiteY34603" fmla="*/ 1543620 h 7458372"/>
              <a:gd name="connsiteX34604" fmla="*/ 7216759 w 10505529"/>
              <a:gd name="connsiteY34604" fmla="*/ 1540957 h 7458372"/>
              <a:gd name="connsiteX34605" fmla="*/ 7211701 w 10505529"/>
              <a:gd name="connsiteY34605" fmla="*/ 1540033 h 7458372"/>
              <a:gd name="connsiteX34606" fmla="*/ 6994056 w 10505529"/>
              <a:gd name="connsiteY34606" fmla="*/ 1540033 h 7458372"/>
              <a:gd name="connsiteX34607" fmla="*/ 6984072 w 10505529"/>
              <a:gd name="connsiteY34607" fmla="*/ 1543620 h 7458372"/>
              <a:gd name="connsiteX34608" fmla="*/ 6980478 w 10505529"/>
              <a:gd name="connsiteY34608" fmla="*/ 1553078 h 7458372"/>
              <a:gd name="connsiteX34609" fmla="*/ 6984072 w 10505529"/>
              <a:gd name="connsiteY34609" fmla="*/ 1562528 h 7458372"/>
              <a:gd name="connsiteX34610" fmla="*/ 6994056 w 10505529"/>
              <a:gd name="connsiteY34610" fmla="*/ 1565990 h 7458372"/>
              <a:gd name="connsiteX34611" fmla="*/ 6999380 w 10505529"/>
              <a:gd name="connsiteY34611" fmla="*/ 1564919 h 7458372"/>
              <a:gd name="connsiteX34612" fmla="*/ 7003107 w 10505529"/>
              <a:gd name="connsiteY34612" fmla="*/ 1562528 h 7458372"/>
              <a:gd name="connsiteX34613" fmla="*/ 7005769 w 10505529"/>
              <a:gd name="connsiteY34613" fmla="*/ 1558402 h 7458372"/>
              <a:gd name="connsiteX34614" fmla="*/ 7006834 w 10505529"/>
              <a:gd name="connsiteY34614" fmla="*/ 1552940 h 7458372"/>
              <a:gd name="connsiteX34615" fmla="*/ 7005769 w 10505529"/>
              <a:gd name="connsiteY34615" fmla="*/ 1547746 h 7458372"/>
              <a:gd name="connsiteX34616" fmla="*/ 7003107 w 10505529"/>
              <a:gd name="connsiteY34616" fmla="*/ 1543620 h 7458372"/>
              <a:gd name="connsiteX34617" fmla="*/ 6999113 w 10505529"/>
              <a:gd name="connsiteY34617" fmla="*/ 1540957 h 7458372"/>
              <a:gd name="connsiteX34618" fmla="*/ 6994056 w 10505529"/>
              <a:gd name="connsiteY34618" fmla="*/ 1540033 h 7458372"/>
              <a:gd name="connsiteX34619" fmla="*/ 6776544 w 10505529"/>
              <a:gd name="connsiteY34619" fmla="*/ 1540033 h 7458372"/>
              <a:gd name="connsiteX34620" fmla="*/ 6766560 w 10505529"/>
              <a:gd name="connsiteY34620" fmla="*/ 1543620 h 7458372"/>
              <a:gd name="connsiteX34621" fmla="*/ 6762966 w 10505529"/>
              <a:gd name="connsiteY34621" fmla="*/ 1553078 h 7458372"/>
              <a:gd name="connsiteX34622" fmla="*/ 6766560 w 10505529"/>
              <a:gd name="connsiteY34622" fmla="*/ 1562528 h 7458372"/>
              <a:gd name="connsiteX34623" fmla="*/ 6776544 w 10505529"/>
              <a:gd name="connsiteY34623" fmla="*/ 1565990 h 7458372"/>
              <a:gd name="connsiteX34624" fmla="*/ 6781869 w 10505529"/>
              <a:gd name="connsiteY34624" fmla="*/ 1564919 h 7458372"/>
              <a:gd name="connsiteX34625" fmla="*/ 6785595 w 10505529"/>
              <a:gd name="connsiteY34625" fmla="*/ 1562528 h 7458372"/>
              <a:gd name="connsiteX34626" fmla="*/ 6788258 w 10505529"/>
              <a:gd name="connsiteY34626" fmla="*/ 1558402 h 7458372"/>
              <a:gd name="connsiteX34627" fmla="*/ 6789323 w 10505529"/>
              <a:gd name="connsiteY34627" fmla="*/ 1552940 h 7458372"/>
              <a:gd name="connsiteX34628" fmla="*/ 6788258 w 10505529"/>
              <a:gd name="connsiteY34628" fmla="*/ 1547746 h 7458372"/>
              <a:gd name="connsiteX34629" fmla="*/ 6785595 w 10505529"/>
              <a:gd name="connsiteY34629" fmla="*/ 1543620 h 7458372"/>
              <a:gd name="connsiteX34630" fmla="*/ 6781602 w 10505529"/>
              <a:gd name="connsiteY34630" fmla="*/ 1540957 h 7458372"/>
              <a:gd name="connsiteX34631" fmla="*/ 6776544 w 10505529"/>
              <a:gd name="connsiteY34631" fmla="*/ 1540033 h 7458372"/>
              <a:gd name="connsiteX34632" fmla="*/ 6558899 w 10505529"/>
              <a:gd name="connsiteY34632" fmla="*/ 1540033 h 7458372"/>
              <a:gd name="connsiteX34633" fmla="*/ 6548915 w 10505529"/>
              <a:gd name="connsiteY34633" fmla="*/ 1543620 h 7458372"/>
              <a:gd name="connsiteX34634" fmla="*/ 6545321 w 10505529"/>
              <a:gd name="connsiteY34634" fmla="*/ 1553078 h 7458372"/>
              <a:gd name="connsiteX34635" fmla="*/ 6548915 w 10505529"/>
              <a:gd name="connsiteY34635" fmla="*/ 1562528 h 7458372"/>
              <a:gd name="connsiteX34636" fmla="*/ 6558899 w 10505529"/>
              <a:gd name="connsiteY34636" fmla="*/ 1565990 h 7458372"/>
              <a:gd name="connsiteX34637" fmla="*/ 6564223 w 10505529"/>
              <a:gd name="connsiteY34637" fmla="*/ 1564919 h 7458372"/>
              <a:gd name="connsiteX34638" fmla="*/ 6567950 w 10505529"/>
              <a:gd name="connsiteY34638" fmla="*/ 1562528 h 7458372"/>
              <a:gd name="connsiteX34639" fmla="*/ 6570612 w 10505529"/>
              <a:gd name="connsiteY34639" fmla="*/ 1558402 h 7458372"/>
              <a:gd name="connsiteX34640" fmla="*/ 6571677 w 10505529"/>
              <a:gd name="connsiteY34640" fmla="*/ 1552940 h 7458372"/>
              <a:gd name="connsiteX34641" fmla="*/ 6570612 w 10505529"/>
              <a:gd name="connsiteY34641" fmla="*/ 1547746 h 7458372"/>
              <a:gd name="connsiteX34642" fmla="*/ 6567950 w 10505529"/>
              <a:gd name="connsiteY34642" fmla="*/ 1543620 h 7458372"/>
              <a:gd name="connsiteX34643" fmla="*/ 6563956 w 10505529"/>
              <a:gd name="connsiteY34643" fmla="*/ 1540957 h 7458372"/>
              <a:gd name="connsiteX34644" fmla="*/ 6558899 w 10505529"/>
              <a:gd name="connsiteY34644" fmla="*/ 1540033 h 7458372"/>
              <a:gd name="connsiteX34645" fmla="*/ 6341253 w 10505529"/>
              <a:gd name="connsiteY34645" fmla="*/ 1540033 h 7458372"/>
              <a:gd name="connsiteX34646" fmla="*/ 6331270 w 10505529"/>
              <a:gd name="connsiteY34646" fmla="*/ 1543620 h 7458372"/>
              <a:gd name="connsiteX34647" fmla="*/ 6327675 w 10505529"/>
              <a:gd name="connsiteY34647" fmla="*/ 1553078 h 7458372"/>
              <a:gd name="connsiteX34648" fmla="*/ 6331270 w 10505529"/>
              <a:gd name="connsiteY34648" fmla="*/ 1562528 h 7458372"/>
              <a:gd name="connsiteX34649" fmla="*/ 6341253 w 10505529"/>
              <a:gd name="connsiteY34649" fmla="*/ 1565990 h 7458372"/>
              <a:gd name="connsiteX34650" fmla="*/ 6346578 w 10505529"/>
              <a:gd name="connsiteY34650" fmla="*/ 1564919 h 7458372"/>
              <a:gd name="connsiteX34651" fmla="*/ 6350305 w 10505529"/>
              <a:gd name="connsiteY34651" fmla="*/ 1562528 h 7458372"/>
              <a:gd name="connsiteX34652" fmla="*/ 6352968 w 10505529"/>
              <a:gd name="connsiteY34652" fmla="*/ 1558402 h 7458372"/>
              <a:gd name="connsiteX34653" fmla="*/ 6354033 w 10505529"/>
              <a:gd name="connsiteY34653" fmla="*/ 1552940 h 7458372"/>
              <a:gd name="connsiteX34654" fmla="*/ 6352968 w 10505529"/>
              <a:gd name="connsiteY34654" fmla="*/ 1547746 h 7458372"/>
              <a:gd name="connsiteX34655" fmla="*/ 6350305 w 10505529"/>
              <a:gd name="connsiteY34655" fmla="*/ 1543620 h 7458372"/>
              <a:gd name="connsiteX34656" fmla="*/ 6346312 w 10505529"/>
              <a:gd name="connsiteY34656" fmla="*/ 1540957 h 7458372"/>
              <a:gd name="connsiteX34657" fmla="*/ 6341253 w 10505529"/>
              <a:gd name="connsiteY34657" fmla="*/ 1540033 h 7458372"/>
              <a:gd name="connsiteX34658" fmla="*/ 6123608 w 10505529"/>
              <a:gd name="connsiteY34658" fmla="*/ 1540033 h 7458372"/>
              <a:gd name="connsiteX34659" fmla="*/ 6113624 w 10505529"/>
              <a:gd name="connsiteY34659" fmla="*/ 1543620 h 7458372"/>
              <a:gd name="connsiteX34660" fmla="*/ 6110030 w 10505529"/>
              <a:gd name="connsiteY34660" fmla="*/ 1553078 h 7458372"/>
              <a:gd name="connsiteX34661" fmla="*/ 6113624 w 10505529"/>
              <a:gd name="connsiteY34661" fmla="*/ 1562528 h 7458372"/>
              <a:gd name="connsiteX34662" fmla="*/ 6123608 w 10505529"/>
              <a:gd name="connsiteY34662" fmla="*/ 1565990 h 7458372"/>
              <a:gd name="connsiteX34663" fmla="*/ 6128932 w 10505529"/>
              <a:gd name="connsiteY34663" fmla="*/ 1564919 h 7458372"/>
              <a:gd name="connsiteX34664" fmla="*/ 6132659 w 10505529"/>
              <a:gd name="connsiteY34664" fmla="*/ 1562528 h 7458372"/>
              <a:gd name="connsiteX34665" fmla="*/ 6135322 w 10505529"/>
              <a:gd name="connsiteY34665" fmla="*/ 1558402 h 7458372"/>
              <a:gd name="connsiteX34666" fmla="*/ 6136387 w 10505529"/>
              <a:gd name="connsiteY34666" fmla="*/ 1552940 h 7458372"/>
              <a:gd name="connsiteX34667" fmla="*/ 6135322 w 10505529"/>
              <a:gd name="connsiteY34667" fmla="*/ 1547746 h 7458372"/>
              <a:gd name="connsiteX34668" fmla="*/ 6132659 w 10505529"/>
              <a:gd name="connsiteY34668" fmla="*/ 1543620 h 7458372"/>
              <a:gd name="connsiteX34669" fmla="*/ 6128666 w 10505529"/>
              <a:gd name="connsiteY34669" fmla="*/ 1540957 h 7458372"/>
              <a:gd name="connsiteX34670" fmla="*/ 6123608 w 10505529"/>
              <a:gd name="connsiteY34670" fmla="*/ 1540033 h 7458372"/>
              <a:gd name="connsiteX34671" fmla="*/ 5905963 w 10505529"/>
              <a:gd name="connsiteY34671" fmla="*/ 1540033 h 7458372"/>
              <a:gd name="connsiteX34672" fmla="*/ 5895979 w 10505529"/>
              <a:gd name="connsiteY34672" fmla="*/ 1543620 h 7458372"/>
              <a:gd name="connsiteX34673" fmla="*/ 5892385 w 10505529"/>
              <a:gd name="connsiteY34673" fmla="*/ 1553078 h 7458372"/>
              <a:gd name="connsiteX34674" fmla="*/ 5895979 w 10505529"/>
              <a:gd name="connsiteY34674" fmla="*/ 1562528 h 7458372"/>
              <a:gd name="connsiteX34675" fmla="*/ 5905963 w 10505529"/>
              <a:gd name="connsiteY34675" fmla="*/ 1565990 h 7458372"/>
              <a:gd name="connsiteX34676" fmla="*/ 5911287 w 10505529"/>
              <a:gd name="connsiteY34676" fmla="*/ 1564919 h 7458372"/>
              <a:gd name="connsiteX34677" fmla="*/ 5915014 w 10505529"/>
              <a:gd name="connsiteY34677" fmla="*/ 1562528 h 7458372"/>
              <a:gd name="connsiteX34678" fmla="*/ 5917677 w 10505529"/>
              <a:gd name="connsiteY34678" fmla="*/ 1558402 h 7458372"/>
              <a:gd name="connsiteX34679" fmla="*/ 5918742 w 10505529"/>
              <a:gd name="connsiteY34679" fmla="*/ 1552940 h 7458372"/>
              <a:gd name="connsiteX34680" fmla="*/ 5917677 w 10505529"/>
              <a:gd name="connsiteY34680" fmla="*/ 1547746 h 7458372"/>
              <a:gd name="connsiteX34681" fmla="*/ 5915014 w 10505529"/>
              <a:gd name="connsiteY34681" fmla="*/ 1543620 h 7458372"/>
              <a:gd name="connsiteX34682" fmla="*/ 5911021 w 10505529"/>
              <a:gd name="connsiteY34682" fmla="*/ 1540957 h 7458372"/>
              <a:gd name="connsiteX34683" fmla="*/ 5905963 w 10505529"/>
              <a:gd name="connsiteY34683" fmla="*/ 1540033 h 7458372"/>
              <a:gd name="connsiteX34684" fmla="*/ 5688451 w 10505529"/>
              <a:gd name="connsiteY34684" fmla="*/ 1540033 h 7458372"/>
              <a:gd name="connsiteX34685" fmla="*/ 5678467 w 10505529"/>
              <a:gd name="connsiteY34685" fmla="*/ 1543620 h 7458372"/>
              <a:gd name="connsiteX34686" fmla="*/ 5674873 w 10505529"/>
              <a:gd name="connsiteY34686" fmla="*/ 1553078 h 7458372"/>
              <a:gd name="connsiteX34687" fmla="*/ 5678467 w 10505529"/>
              <a:gd name="connsiteY34687" fmla="*/ 1562528 h 7458372"/>
              <a:gd name="connsiteX34688" fmla="*/ 5688451 w 10505529"/>
              <a:gd name="connsiteY34688" fmla="*/ 1565990 h 7458372"/>
              <a:gd name="connsiteX34689" fmla="*/ 5693775 w 10505529"/>
              <a:gd name="connsiteY34689" fmla="*/ 1564919 h 7458372"/>
              <a:gd name="connsiteX34690" fmla="*/ 5697502 w 10505529"/>
              <a:gd name="connsiteY34690" fmla="*/ 1562528 h 7458372"/>
              <a:gd name="connsiteX34691" fmla="*/ 5700165 w 10505529"/>
              <a:gd name="connsiteY34691" fmla="*/ 1558402 h 7458372"/>
              <a:gd name="connsiteX34692" fmla="*/ 5701230 w 10505529"/>
              <a:gd name="connsiteY34692" fmla="*/ 1552940 h 7458372"/>
              <a:gd name="connsiteX34693" fmla="*/ 5700165 w 10505529"/>
              <a:gd name="connsiteY34693" fmla="*/ 1547746 h 7458372"/>
              <a:gd name="connsiteX34694" fmla="*/ 5697502 w 10505529"/>
              <a:gd name="connsiteY34694" fmla="*/ 1543620 h 7458372"/>
              <a:gd name="connsiteX34695" fmla="*/ 5693509 w 10505529"/>
              <a:gd name="connsiteY34695" fmla="*/ 1540957 h 7458372"/>
              <a:gd name="connsiteX34696" fmla="*/ 5688451 w 10505529"/>
              <a:gd name="connsiteY34696" fmla="*/ 1540033 h 7458372"/>
              <a:gd name="connsiteX34697" fmla="*/ 5470806 w 10505529"/>
              <a:gd name="connsiteY34697" fmla="*/ 1540033 h 7458372"/>
              <a:gd name="connsiteX34698" fmla="*/ 5460822 w 10505529"/>
              <a:gd name="connsiteY34698" fmla="*/ 1543620 h 7458372"/>
              <a:gd name="connsiteX34699" fmla="*/ 5457228 w 10505529"/>
              <a:gd name="connsiteY34699" fmla="*/ 1553078 h 7458372"/>
              <a:gd name="connsiteX34700" fmla="*/ 5460822 w 10505529"/>
              <a:gd name="connsiteY34700" fmla="*/ 1562528 h 7458372"/>
              <a:gd name="connsiteX34701" fmla="*/ 5470806 w 10505529"/>
              <a:gd name="connsiteY34701" fmla="*/ 1565990 h 7458372"/>
              <a:gd name="connsiteX34702" fmla="*/ 5476130 w 10505529"/>
              <a:gd name="connsiteY34702" fmla="*/ 1564919 h 7458372"/>
              <a:gd name="connsiteX34703" fmla="*/ 5479857 w 10505529"/>
              <a:gd name="connsiteY34703" fmla="*/ 1562528 h 7458372"/>
              <a:gd name="connsiteX34704" fmla="*/ 5482520 w 10505529"/>
              <a:gd name="connsiteY34704" fmla="*/ 1558402 h 7458372"/>
              <a:gd name="connsiteX34705" fmla="*/ 5483585 w 10505529"/>
              <a:gd name="connsiteY34705" fmla="*/ 1552940 h 7458372"/>
              <a:gd name="connsiteX34706" fmla="*/ 5482520 w 10505529"/>
              <a:gd name="connsiteY34706" fmla="*/ 1547746 h 7458372"/>
              <a:gd name="connsiteX34707" fmla="*/ 5479857 w 10505529"/>
              <a:gd name="connsiteY34707" fmla="*/ 1543620 h 7458372"/>
              <a:gd name="connsiteX34708" fmla="*/ 5475864 w 10505529"/>
              <a:gd name="connsiteY34708" fmla="*/ 1540957 h 7458372"/>
              <a:gd name="connsiteX34709" fmla="*/ 5470806 w 10505529"/>
              <a:gd name="connsiteY34709" fmla="*/ 1540033 h 7458372"/>
              <a:gd name="connsiteX34710" fmla="*/ 5253160 w 10505529"/>
              <a:gd name="connsiteY34710" fmla="*/ 1540033 h 7458372"/>
              <a:gd name="connsiteX34711" fmla="*/ 5243177 w 10505529"/>
              <a:gd name="connsiteY34711" fmla="*/ 1543620 h 7458372"/>
              <a:gd name="connsiteX34712" fmla="*/ 5239583 w 10505529"/>
              <a:gd name="connsiteY34712" fmla="*/ 1553078 h 7458372"/>
              <a:gd name="connsiteX34713" fmla="*/ 5243177 w 10505529"/>
              <a:gd name="connsiteY34713" fmla="*/ 1562528 h 7458372"/>
              <a:gd name="connsiteX34714" fmla="*/ 5253160 w 10505529"/>
              <a:gd name="connsiteY34714" fmla="*/ 1565990 h 7458372"/>
              <a:gd name="connsiteX34715" fmla="*/ 5258485 w 10505529"/>
              <a:gd name="connsiteY34715" fmla="*/ 1564919 h 7458372"/>
              <a:gd name="connsiteX34716" fmla="*/ 5262212 w 10505529"/>
              <a:gd name="connsiteY34716" fmla="*/ 1562528 h 7458372"/>
              <a:gd name="connsiteX34717" fmla="*/ 5264875 w 10505529"/>
              <a:gd name="connsiteY34717" fmla="*/ 1558402 h 7458372"/>
              <a:gd name="connsiteX34718" fmla="*/ 5265939 w 10505529"/>
              <a:gd name="connsiteY34718" fmla="*/ 1552940 h 7458372"/>
              <a:gd name="connsiteX34719" fmla="*/ 5264875 w 10505529"/>
              <a:gd name="connsiteY34719" fmla="*/ 1547746 h 7458372"/>
              <a:gd name="connsiteX34720" fmla="*/ 5262212 w 10505529"/>
              <a:gd name="connsiteY34720" fmla="*/ 1543620 h 7458372"/>
              <a:gd name="connsiteX34721" fmla="*/ 5258219 w 10505529"/>
              <a:gd name="connsiteY34721" fmla="*/ 1540957 h 7458372"/>
              <a:gd name="connsiteX34722" fmla="*/ 5253160 w 10505529"/>
              <a:gd name="connsiteY34722" fmla="*/ 1540033 h 7458372"/>
              <a:gd name="connsiteX34723" fmla="*/ 5035515 w 10505529"/>
              <a:gd name="connsiteY34723" fmla="*/ 1540033 h 7458372"/>
              <a:gd name="connsiteX34724" fmla="*/ 5025532 w 10505529"/>
              <a:gd name="connsiteY34724" fmla="*/ 1543620 h 7458372"/>
              <a:gd name="connsiteX34725" fmla="*/ 5021938 w 10505529"/>
              <a:gd name="connsiteY34725" fmla="*/ 1553078 h 7458372"/>
              <a:gd name="connsiteX34726" fmla="*/ 5025532 w 10505529"/>
              <a:gd name="connsiteY34726" fmla="*/ 1562528 h 7458372"/>
              <a:gd name="connsiteX34727" fmla="*/ 5035515 w 10505529"/>
              <a:gd name="connsiteY34727" fmla="*/ 1565990 h 7458372"/>
              <a:gd name="connsiteX34728" fmla="*/ 5040840 w 10505529"/>
              <a:gd name="connsiteY34728" fmla="*/ 1564919 h 7458372"/>
              <a:gd name="connsiteX34729" fmla="*/ 5044567 w 10505529"/>
              <a:gd name="connsiteY34729" fmla="*/ 1562528 h 7458372"/>
              <a:gd name="connsiteX34730" fmla="*/ 5047230 w 10505529"/>
              <a:gd name="connsiteY34730" fmla="*/ 1558402 h 7458372"/>
              <a:gd name="connsiteX34731" fmla="*/ 5048294 w 10505529"/>
              <a:gd name="connsiteY34731" fmla="*/ 1552940 h 7458372"/>
              <a:gd name="connsiteX34732" fmla="*/ 5047230 w 10505529"/>
              <a:gd name="connsiteY34732" fmla="*/ 1547746 h 7458372"/>
              <a:gd name="connsiteX34733" fmla="*/ 5044567 w 10505529"/>
              <a:gd name="connsiteY34733" fmla="*/ 1543620 h 7458372"/>
              <a:gd name="connsiteX34734" fmla="*/ 5040574 w 10505529"/>
              <a:gd name="connsiteY34734" fmla="*/ 1540957 h 7458372"/>
              <a:gd name="connsiteX34735" fmla="*/ 5035515 w 10505529"/>
              <a:gd name="connsiteY34735" fmla="*/ 1540033 h 7458372"/>
              <a:gd name="connsiteX34736" fmla="*/ 4817870 w 10505529"/>
              <a:gd name="connsiteY34736" fmla="*/ 1540033 h 7458372"/>
              <a:gd name="connsiteX34737" fmla="*/ 4807887 w 10505529"/>
              <a:gd name="connsiteY34737" fmla="*/ 1543620 h 7458372"/>
              <a:gd name="connsiteX34738" fmla="*/ 4804293 w 10505529"/>
              <a:gd name="connsiteY34738" fmla="*/ 1553078 h 7458372"/>
              <a:gd name="connsiteX34739" fmla="*/ 4807887 w 10505529"/>
              <a:gd name="connsiteY34739" fmla="*/ 1562528 h 7458372"/>
              <a:gd name="connsiteX34740" fmla="*/ 4817870 w 10505529"/>
              <a:gd name="connsiteY34740" fmla="*/ 1565990 h 7458372"/>
              <a:gd name="connsiteX34741" fmla="*/ 4823195 w 10505529"/>
              <a:gd name="connsiteY34741" fmla="*/ 1564919 h 7458372"/>
              <a:gd name="connsiteX34742" fmla="*/ 4826922 w 10505529"/>
              <a:gd name="connsiteY34742" fmla="*/ 1562528 h 7458372"/>
              <a:gd name="connsiteX34743" fmla="*/ 4829585 w 10505529"/>
              <a:gd name="connsiteY34743" fmla="*/ 1558402 h 7458372"/>
              <a:gd name="connsiteX34744" fmla="*/ 4830650 w 10505529"/>
              <a:gd name="connsiteY34744" fmla="*/ 1552940 h 7458372"/>
              <a:gd name="connsiteX34745" fmla="*/ 4829585 w 10505529"/>
              <a:gd name="connsiteY34745" fmla="*/ 1547746 h 7458372"/>
              <a:gd name="connsiteX34746" fmla="*/ 4826922 w 10505529"/>
              <a:gd name="connsiteY34746" fmla="*/ 1543620 h 7458372"/>
              <a:gd name="connsiteX34747" fmla="*/ 4822929 w 10505529"/>
              <a:gd name="connsiteY34747" fmla="*/ 1540957 h 7458372"/>
              <a:gd name="connsiteX34748" fmla="*/ 4817870 w 10505529"/>
              <a:gd name="connsiteY34748" fmla="*/ 1540033 h 7458372"/>
              <a:gd name="connsiteX34749" fmla="*/ 4600226 w 10505529"/>
              <a:gd name="connsiteY34749" fmla="*/ 1540033 h 7458372"/>
              <a:gd name="connsiteX34750" fmla="*/ 4590242 w 10505529"/>
              <a:gd name="connsiteY34750" fmla="*/ 1543620 h 7458372"/>
              <a:gd name="connsiteX34751" fmla="*/ 4586648 w 10505529"/>
              <a:gd name="connsiteY34751" fmla="*/ 1553078 h 7458372"/>
              <a:gd name="connsiteX34752" fmla="*/ 4590242 w 10505529"/>
              <a:gd name="connsiteY34752" fmla="*/ 1562528 h 7458372"/>
              <a:gd name="connsiteX34753" fmla="*/ 4600226 w 10505529"/>
              <a:gd name="connsiteY34753" fmla="*/ 1565990 h 7458372"/>
              <a:gd name="connsiteX34754" fmla="*/ 4605550 w 10505529"/>
              <a:gd name="connsiteY34754" fmla="*/ 1564919 h 7458372"/>
              <a:gd name="connsiteX34755" fmla="*/ 4609277 w 10505529"/>
              <a:gd name="connsiteY34755" fmla="*/ 1562528 h 7458372"/>
              <a:gd name="connsiteX34756" fmla="*/ 4611940 w 10505529"/>
              <a:gd name="connsiteY34756" fmla="*/ 1558402 h 7458372"/>
              <a:gd name="connsiteX34757" fmla="*/ 4613005 w 10505529"/>
              <a:gd name="connsiteY34757" fmla="*/ 1552940 h 7458372"/>
              <a:gd name="connsiteX34758" fmla="*/ 4611940 w 10505529"/>
              <a:gd name="connsiteY34758" fmla="*/ 1547746 h 7458372"/>
              <a:gd name="connsiteX34759" fmla="*/ 4609277 w 10505529"/>
              <a:gd name="connsiteY34759" fmla="*/ 1543620 h 7458372"/>
              <a:gd name="connsiteX34760" fmla="*/ 4605284 w 10505529"/>
              <a:gd name="connsiteY34760" fmla="*/ 1540957 h 7458372"/>
              <a:gd name="connsiteX34761" fmla="*/ 4600226 w 10505529"/>
              <a:gd name="connsiteY34761" fmla="*/ 1540033 h 7458372"/>
              <a:gd name="connsiteX34762" fmla="*/ 4382713 w 10505529"/>
              <a:gd name="connsiteY34762" fmla="*/ 1540033 h 7458372"/>
              <a:gd name="connsiteX34763" fmla="*/ 4372730 w 10505529"/>
              <a:gd name="connsiteY34763" fmla="*/ 1543620 h 7458372"/>
              <a:gd name="connsiteX34764" fmla="*/ 4369136 w 10505529"/>
              <a:gd name="connsiteY34764" fmla="*/ 1553078 h 7458372"/>
              <a:gd name="connsiteX34765" fmla="*/ 4372730 w 10505529"/>
              <a:gd name="connsiteY34765" fmla="*/ 1562528 h 7458372"/>
              <a:gd name="connsiteX34766" fmla="*/ 4382713 w 10505529"/>
              <a:gd name="connsiteY34766" fmla="*/ 1565990 h 7458372"/>
              <a:gd name="connsiteX34767" fmla="*/ 4388038 w 10505529"/>
              <a:gd name="connsiteY34767" fmla="*/ 1564919 h 7458372"/>
              <a:gd name="connsiteX34768" fmla="*/ 4391765 w 10505529"/>
              <a:gd name="connsiteY34768" fmla="*/ 1562528 h 7458372"/>
              <a:gd name="connsiteX34769" fmla="*/ 4394428 w 10505529"/>
              <a:gd name="connsiteY34769" fmla="*/ 1558402 h 7458372"/>
              <a:gd name="connsiteX34770" fmla="*/ 4395493 w 10505529"/>
              <a:gd name="connsiteY34770" fmla="*/ 1552940 h 7458372"/>
              <a:gd name="connsiteX34771" fmla="*/ 4394428 w 10505529"/>
              <a:gd name="connsiteY34771" fmla="*/ 1547746 h 7458372"/>
              <a:gd name="connsiteX34772" fmla="*/ 4391765 w 10505529"/>
              <a:gd name="connsiteY34772" fmla="*/ 1543620 h 7458372"/>
              <a:gd name="connsiteX34773" fmla="*/ 4387772 w 10505529"/>
              <a:gd name="connsiteY34773" fmla="*/ 1540957 h 7458372"/>
              <a:gd name="connsiteX34774" fmla="*/ 4382713 w 10505529"/>
              <a:gd name="connsiteY34774" fmla="*/ 1540033 h 7458372"/>
              <a:gd name="connsiteX34775" fmla="*/ 4165068 w 10505529"/>
              <a:gd name="connsiteY34775" fmla="*/ 1540033 h 7458372"/>
              <a:gd name="connsiteX34776" fmla="*/ 4155084 w 10505529"/>
              <a:gd name="connsiteY34776" fmla="*/ 1543620 h 7458372"/>
              <a:gd name="connsiteX34777" fmla="*/ 4151490 w 10505529"/>
              <a:gd name="connsiteY34777" fmla="*/ 1553078 h 7458372"/>
              <a:gd name="connsiteX34778" fmla="*/ 4155084 w 10505529"/>
              <a:gd name="connsiteY34778" fmla="*/ 1562528 h 7458372"/>
              <a:gd name="connsiteX34779" fmla="*/ 4165068 w 10505529"/>
              <a:gd name="connsiteY34779" fmla="*/ 1565990 h 7458372"/>
              <a:gd name="connsiteX34780" fmla="*/ 4170392 w 10505529"/>
              <a:gd name="connsiteY34780" fmla="*/ 1564919 h 7458372"/>
              <a:gd name="connsiteX34781" fmla="*/ 4174119 w 10505529"/>
              <a:gd name="connsiteY34781" fmla="*/ 1562528 h 7458372"/>
              <a:gd name="connsiteX34782" fmla="*/ 4176782 w 10505529"/>
              <a:gd name="connsiteY34782" fmla="*/ 1558402 h 7458372"/>
              <a:gd name="connsiteX34783" fmla="*/ 4177847 w 10505529"/>
              <a:gd name="connsiteY34783" fmla="*/ 1552940 h 7458372"/>
              <a:gd name="connsiteX34784" fmla="*/ 4176782 w 10505529"/>
              <a:gd name="connsiteY34784" fmla="*/ 1547746 h 7458372"/>
              <a:gd name="connsiteX34785" fmla="*/ 4174119 w 10505529"/>
              <a:gd name="connsiteY34785" fmla="*/ 1543620 h 7458372"/>
              <a:gd name="connsiteX34786" fmla="*/ 4170126 w 10505529"/>
              <a:gd name="connsiteY34786" fmla="*/ 1540957 h 7458372"/>
              <a:gd name="connsiteX34787" fmla="*/ 4165068 w 10505529"/>
              <a:gd name="connsiteY34787" fmla="*/ 1540033 h 7458372"/>
              <a:gd name="connsiteX34788" fmla="*/ 3947512 w 10505529"/>
              <a:gd name="connsiteY34788" fmla="*/ 1540033 h 7458372"/>
              <a:gd name="connsiteX34789" fmla="*/ 3937529 w 10505529"/>
              <a:gd name="connsiteY34789" fmla="*/ 1543620 h 7458372"/>
              <a:gd name="connsiteX34790" fmla="*/ 3933934 w 10505529"/>
              <a:gd name="connsiteY34790" fmla="*/ 1553078 h 7458372"/>
              <a:gd name="connsiteX34791" fmla="*/ 3937529 w 10505529"/>
              <a:gd name="connsiteY34791" fmla="*/ 1562528 h 7458372"/>
              <a:gd name="connsiteX34792" fmla="*/ 3947512 w 10505529"/>
              <a:gd name="connsiteY34792" fmla="*/ 1565990 h 7458372"/>
              <a:gd name="connsiteX34793" fmla="*/ 3952837 w 10505529"/>
              <a:gd name="connsiteY34793" fmla="*/ 1564919 h 7458372"/>
              <a:gd name="connsiteX34794" fmla="*/ 3956564 w 10505529"/>
              <a:gd name="connsiteY34794" fmla="*/ 1562528 h 7458372"/>
              <a:gd name="connsiteX34795" fmla="*/ 3959227 w 10505529"/>
              <a:gd name="connsiteY34795" fmla="*/ 1558402 h 7458372"/>
              <a:gd name="connsiteX34796" fmla="*/ 3960292 w 10505529"/>
              <a:gd name="connsiteY34796" fmla="*/ 1552940 h 7458372"/>
              <a:gd name="connsiteX34797" fmla="*/ 3959227 w 10505529"/>
              <a:gd name="connsiteY34797" fmla="*/ 1547746 h 7458372"/>
              <a:gd name="connsiteX34798" fmla="*/ 3956564 w 10505529"/>
              <a:gd name="connsiteY34798" fmla="*/ 1543620 h 7458372"/>
              <a:gd name="connsiteX34799" fmla="*/ 3952571 w 10505529"/>
              <a:gd name="connsiteY34799" fmla="*/ 1540957 h 7458372"/>
              <a:gd name="connsiteX34800" fmla="*/ 3947512 w 10505529"/>
              <a:gd name="connsiteY34800" fmla="*/ 1540033 h 7458372"/>
              <a:gd name="connsiteX34801" fmla="*/ 3729862 w 10505529"/>
              <a:gd name="connsiteY34801" fmla="*/ 1540033 h 7458372"/>
              <a:gd name="connsiteX34802" fmla="*/ 3719876 w 10505529"/>
              <a:gd name="connsiteY34802" fmla="*/ 1543620 h 7458372"/>
              <a:gd name="connsiteX34803" fmla="*/ 3716284 w 10505529"/>
              <a:gd name="connsiteY34803" fmla="*/ 1553078 h 7458372"/>
              <a:gd name="connsiteX34804" fmla="*/ 3719876 w 10505529"/>
              <a:gd name="connsiteY34804" fmla="*/ 1562528 h 7458372"/>
              <a:gd name="connsiteX34805" fmla="*/ 3729862 w 10505529"/>
              <a:gd name="connsiteY34805" fmla="*/ 1565990 h 7458372"/>
              <a:gd name="connsiteX34806" fmla="*/ 3735187 w 10505529"/>
              <a:gd name="connsiteY34806" fmla="*/ 1564919 h 7458372"/>
              <a:gd name="connsiteX34807" fmla="*/ 3738914 w 10505529"/>
              <a:gd name="connsiteY34807" fmla="*/ 1562528 h 7458372"/>
              <a:gd name="connsiteX34808" fmla="*/ 3741577 w 10505529"/>
              <a:gd name="connsiteY34808" fmla="*/ 1558402 h 7458372"/>
              <a:gd name="connsiteX34809" fmla="*/ 3742642 w 10505529"/>
              <a:gd name="connsiteY34809" fmla="*/ 1552940 h 7458372"/>
              <a:gd name="connsiteX34810" fmla="*/ 3741577 w 10505529"/>
              <a:gd name="connsiteY34810" fmla="*/ 1547746 h 7458372"/>
              <a:gd name="connsiteX34811" fmla="*/ 3738914 w 10505529"/>
              <a:gd name="connsiteY34811" fmla="*/ 1543620 h 7458372"/>
              <a:gd name="connsiteX34812" fmla="*/ 3734922 w 10505529"/>
              <a:gd name="connsiteY34812" fmla="*/ 1540957 h 7458372"/>
              <a:gd name="connsiteX34813" fmla="*/ 3729862 w 10505529"/>
              <a:gd name="connsiteY34813" fmla="*/ 1540033 h 7458372"/>
              <a:gd name="connsiteX34814" fmla="*/ 3512212 w 10505529"/>
              <a:gd name="connsiteY34814" fmla="*/ 1540033 h 7458372"/>
              <a:gd name="connsiteX34815" fmla="*/ 3502227 w 10505529"/>
              <a:gd name="connsiteY34815" fmla="*/ 1543620 h 7458372"/>
              <a:gd name="connsiteX34816" fmla="*/ 3498634 w 10505529"/>
              <a:gd name="connsiteY34816" fmla="*/ 1553078 h 7458372"/>
              <a:gd name="connsiteX34817" fmla="*/ 3502227 w 10505529"/>
              <a:gd name="connsiteY34817" fmla="*/ 1562528 h 7458372"/>
              <a:gd name="connsiteX34818" fmla="*/ 3512212 w 10505529"/>
              <a:gd name="connsiteY34818" fmla="*/ 1565990 h 7458372"/>
              <a:gd name="connsiteX34819" fmla="*/ 3517538 w 10505529"/>
              <a:gd name="connsiteY34819" fmla="*/ 1564919 h 7458372"/>
              <a:gd name="connsiteX34820" fmla="*/ 3521265 w 10505529"/>
              <a:gd name="connsiteY34820" fmla="*/ 1562528 h 7458372"/>
              <a:gd name="connsiteX34821" fmla="*/ 3523928 w 10505529"/>
              <a:gd name="connsiteY34821" fmla="*/ 1558402 h 7458372"/>
              <a:gd name="connsiteX34822" fmla="*/ 3524993 w 10505529"/>
              <a:gd name="connsiteY34822" fmla="*/ 1552940 h 7458372"/>
              <a:gd name="connsiteX34823" fmla="*/ 3523928 w 10505529"/>
              <a:gd name="connsiteY34823" fmla="*/ 1547746 h 7458372"/>
              <a:gd name="connsiteX34824" fmla="*/ 3521265 w 10505529"/>
              <a:gd name="connsiteY34824" fmla="*/ 1543620 h 7458372"/>
              <a:gd name="connsiteX34825" fmla="*/ 3517272 w 10505529"/>
              <a:gd name="connsiteY34825" fmla="*/ 1540957 h 7458372"/>
              <a:gd name="connsiteX34826" fmla="*/ 3512212 w 10505529"/>
              <a:gd name="connsiteY34826" fmla="*/ 1540033 h 7458372"/>
              <a:gd name="connsiteX34827" fmla="*/ 3294696 w 10505529"/>
              <a:gd name="connsiteY34827" fmla="*/ 1540033 h 7458372"/>
              <a:gd name="connsiteX34828" fmla="*/ 3284712 w 10505529"/>
              <a:gd name="connsiteY34828" fmla="*/ 1543620 h 7458372"/>
              <a:gd name="connsiteX34829" fmla="*/ 3281118 w 10505529"/>
              <a:gd name="connsiteY34829" fmla="*/ 1553078 h 7458372"/>
              <a:gd name="connsiteX34830" fmla="*/ 3284712 w 10505529"/>
              <a:gd name="connsiteY34830" fmla="*/ 1562528 h 7458372"/>
              <a:gd name="connsiteX34831" fmla="*/ 3294696 w 10505529"/>
              <a:gd name="connsiteY34831" fmla="*/ 1565990 h 7458372"/>
              <a:gd name="connsiteX34832" fmla="*/ 3300021 w 10505529"/>
              <a:gd name="connsiteY34832" fmla="*/ 1564919 h 7458372"/>
              <a:gd name="connsiteX34833" fmla="*/ 3303748 w 10505529"/>
              <a:gd name="connsiteY34833" fmla="*/ 1562528 h 7458372"/>
              <a:gd name="connsiteX34834" fmla="*/ 3306411 w 10505529"/>
              <a:gd name="connsiteY34834" fmla="*/ 1558402 h 7458372"/>
              <a:gd name="connsiteX34835" fmla="*/ 3307475 w 10505529"/>
              <a:gd name="connsiteY34835" fmla="*/ 1552940 h 7458372"/>
              <a:gd name="connsiteX34836" fmla="*/ 3306411 w 10505529"/>
              <a:gd name="connsiteY34836" fmla="*/ 1547746 h 7458372"/>
              <a:gd name="connsiteX34837" fmla="*/ 3303748 w 10505529"/>
              <a:gd name="connsiteY34837" fmla="*/ 1543620 h 7458372"/>
              <a:gd name="connsiteX34838" fmla="*/ 3299755 w 10505529"/>
              <a:gd name="connsiteY34838" fmla="*/ 1540957 h 7458372"/>
              <a:gd name="connsiteX34839" fmla="*/ 3294696 w 10505529"/>
              <a:gd name="connsiteY34839" fmla="*/ 1540033 h 7458372"/>
              <a:gd name="connsiteX34840" fmla="*/ 3077179 w 10505529"/>
              <a:gd name="connsiteY34840" fmla="*/ 1540033 h 7458372"/>
              <a:gd name="connsiteX34841" fmla="*/ 3067196 w 10505529"/>
              <a:gd name="connsiteY34841" fmla="*/ 1543620 h 7458372"/>
              <a:gd name="connsiteX34842" fmla="*/ 3063468 w 10505529"/>
              <a:gd name="connsiteY34842" fmla="*/ 1553078 h 7458372"/>
              <a:gd name="connsiteX34843" fmla="*/ 3067062 w 10505529"/>
              <a:gd name="connsiteY34843" fmla="*/ 1562528 h 7458372"/>
              <a:gd name="connsiteX34844" fmla="*/ 3077046 w 10505529"/>
              <a:gd name="connsiteY34844" fmla="*/ 1565990 h 7458372"/>
              <a:gd name="connsiteX34845" fmla="*/ 3082504 w 10505529"/>
              <a:gd name="connsiteY34845" fmla="*/ 1564919 h 7458372"/>
              <a:gd name="connsiteX34846" fmla="*/ 3086232 w 10505529"/>
              <a:gd name="connsiteY34846" fmla="*/ 1562528 h 7458372"/>
              <a:gd name="connsiteX34847" fmla="*/ 3088894 w 10505529"/>
              <a:gd name="connsiteY34847" fmla="*/ 1558402 h 7458372"/>
              <a:gd name="connsiteX34848" fmla="*/ 3089827 w 10505529"/>
              <a:gd name="connsiteY34848" fmla="*/ 1552940 h 7458372"/>
              <a:gd name="connsiteX34849" fmla="*/ 3088894 w 10505529"/>
              <a:gd name="connsiteY34849" fmla="*/ 1547746 h 7458372"/>
              <a:gd name="connsiteX34850" fmla="*/ 3086232 w 10505529"/>
              <a:gd name="connsiteY34850" fmla="*/ 1543620 h 7458372"/>
              <a:gd name="connsiteX34851" fmla="*/ 3082239 w 10505529"/>
              <a:gd name="connsiteY34851" fmla="*/ 1540957 h 7458372"/>
              <a:gd name="connsiteX34852" fmla="*/ 3077179 w 10505529"/>
              <a:gd name="connsiteY34852" fmla="*/ 1540033 h 7458372"/>
              <a:gd name="connsiteX34853" fmla="*/ 2859397 w 10505529"/>
              <a:gd name="connsiteY34853" fmla="*/ 1540033 h 7458372"/>
              <a:gd name="connsiteX34854" fmla="*/ 2849413 w 10505529"/>
              <a:gd name="connsiteY34854" fmla="*/ 1543620 h 7458372"/>
              <a:gd name="connsiteX34855" fmla="*/ 2845818 w 10505529"/>
              <a:gd name="connsiteY34855" fmla="*/ 1553078 h 7458372"/>
              <a:gd name="connsiteX34856" fmla="*/ 2849413 w 10505529"/>
              <a:gd name="connsiteY34856" fmla="*/ 1562528 h 7458372"/>
              <a:gd name="connsiteX34857" fmla="*/ 2859397 w 10505529"/>
              <a:gd name="connsiteY34857" fmla="*/ 1565990 h 7458372"/>
              <a:gd name="connsiteX34858" fmla="*/ 2864722 w 10505529"/>
              <a:gd name="connsiteY34858" fmla="*/ 1564919 h 7458372"/>
              <a:gd name="connsiteX34859" fmla="*/ 2868449 w 10505529"/>
              <a:gd name="connsiteY34859" fmla="*/ 1562528 h 7458372"/>
              <a:gd name="connsiteX34860" fmla="*/ 2871112 w 10505529"/>
              <a:gd name="connsiteY34860" fmla="*/ 1558402 h 7458372"/>
              <a:gd name="connsiteX34861" fmla="*/ 2872043 w 10505529"/>
              <a:gd name="connsiteY34861" fmla="*/ 1552940 h 7458372"/>
              <a:gd name="connsiteX34862" fmla="*/ 2871112 w 10505529"/>
              <a:gd name="connsiteY34862" fmla="*/ 1547746 h 7458372"/>
              <a:gd name="connsiteX34863" fmla="*/ 2868449 w 10505529"/>
              <a:gd name="connsiteY34863" fmla="*/ 1543620 h 7458372"/>
              <a:gd name="connsiteX34864" fmla="*/ 2864456 w 10505529"/>
              <a:gd name="connsiteY34864" fmla="*/ 1540957 h 7458372"/>
              <a:gd name="connsiteX34865" fmla="*/ 2859397 w 10505529"/>
              <a:gd name="connsiteY34865" fmla="*/ 1540033 h 7458372"/>
              <a:gd name="connsiteX34866" fmla="*/ 2641747 w 10505529"/>
              <a:gd name="connsiteY34866" fmla="*/ 1540033 h 7458372"/>
              <a:gd name="connsiteX34867" fmla="*/ 2631764 w 10505529"/>
              <a:gd name="connsiteY34867" fmla="*/ 1543620 h 7458372"/>
              <a:gd name="connsiteX34868" fmla="*/ 2628170 w 10505529"/>
              <a:gd name="connsiteY34868" fmla="*/ 1553078 h 7458372"/>
              <a:gd name="connsiteX34869" fmla="*/ 2631764 w 10505529"/>
              <a:gd name="connsiteY34869" fmla="*/ 1562528 h 7458372"/>
              <a:gd name="connsiteX34870" fmla="*/ 2641747 w 10505529"/>
              <a:gd name="connsiteY34870" fmla="*/ 1565990 h 7458372"/>
              <a:gd name="connsiteX34871" fmla="*/ 2647073 w 10505529"/>
              <a:gd name="connsiteY34871" fmla="*/ 1564919 h 7458372"/>
              <a:gd name="connsiteX34872" fmla="*/ 2650800 w 10505529"/>
              <a:gd name="connsiteY34872" fmla="*/ 1562528 h 7458372"/>
              <a:gd name="connsiteX34873" fmla="*/ 2653463 w 10505529"/>
              <a:gd name="connsiteY34873" fmla="*/ 1558402 h 7458372"/>
              <a:gd name="connsiteX34874" fmla="*/ 2654393 w 10505529"/>
              <a:gd name="connsiteY34874" fmla="*/ 1552940 h 7458372"/>
              <a:gd name="connsiteX34875" fmla="*/ 2653463 w 10505529"/>
              <a:gd name="connsiteY34875" fmla="*/ 1547746 h 7458372"/>
              <a:gd name="connsiteX34876" fmla="*/ 2650800 w 10505529"/>
              <a:gd name="connsiteY34876" fmla="*/ 1543620 h 7458372"/>
              <a:gd name="connsiteX34877" fmla="*/ 2646806 w 10505529"/>
              <a:gd name="connsiteY34877" fmla="*/ 1540957 h 7458372"/>
              <a:gd name="connsiteX34878" fmla="*/ 2641747 w 10505529"/>
              <a:gd name="connsiteY34878" fmla="*/ 1540033 h 7458372"/>
              <a:gd name="connsiteX34879" fmla="*/ 2424097 w 10505529"/>
              <a:gd name="connsiteY34879" fmla="*/ 1540033 h 7458372"/>
              <a:gd name="connsiteX34880" fmla="*/ 2414114 w 10505529"/>
              <a:gd name="connsiteY34880" fmla="*/ 1543620 h 7458372"/>
              <a:gd name="connsiteX34881" fmla="*/ 2410520 w 10505529"/>
              <a:gd name="connsiteY34881" fmla="*/ 1553078 h 7458372"/>
              <a:gd name="connsiteX34882" fmla="*/ 2414114 w 10505529"/>
              <a:gd name="connsiteY34882" fmla="*/ 1562528 h 7458372"/>
              <a:gd name="connsiteX34883" fmla="*/ 2424097 w 10505529"/>
              <a:gd name="connsiteY34883" fmla="*/ 1565990 h 7458372"/>
              <a:gd name="connsiteX34884" fmla="*/ 2429423 w 10505529"/>
              <a:gd name="connsiteY34884" fmla="*/ 1564919 h 7458372"/>
              <a:gd name="connsiteX34885" fmla="*/ 2433150 w 10505529"/>
              <a:gd name="connsiteY34885" fmla="*/ 1562528 h 7458372"/>
              <a:gd name="connsiteX34886" fmla="*/ 2435813 w 10505529"/>
              <a:gd name="connsiteY34886" fmla="*/ 1558402 h 7458372"/>
              <a:gd name="connsiteX34887" fmla="*/ 2436744 w 10505529"/>
              <a:gd name="connsiteY34887" fmla="*/ 1552940 h 7458372"/>
              <a:gd name="connsiteX34888" fmla="*/ 2435813 w 10505529"/>
              <a:gd name="connsiteY34888" fmla="*/ 1547746 h 7458372"/>
              <a:gd name="connsiteX34889" fmla="*/ 2433150 w 10505529"/>
              <a:gd name="connsiteY34889" fmla="*/ 1543620 h 7458372"/>
              <a:gd name="connsiteX34890" fmla="*/ 2429157 w 10505529"/>
              <a:gd name="connsiteY34890" fmla="*/ 1540957 h 7458372"/>
              <a:gd name="connsiteX34891" fmla="*/ 2424097 w 10505529"/>
              <a:gd name="connsiteY34891" fmla="*/ 1540033 h 7458372"/>
              <a:gd name="connsiteX34892" fmla="*/ 2206448 w 10505529"/>
              <a:gd name="connsiteY34892" fmla="*/ 1540033 h 7458372"/>
              <a:gd name="connsiteX34893" fmla="*/ 2196464 w 10505529"/>
              <a:gd name="connsiteY34893" fmla="*/ 1543620 h 7458372"/>
              <a:gd name="connsiteX34894" fmla="*/ 2192870 w 10505529"/>
              <a:gd name="connsiteY34894" fmla="*/ 1553078 h 7458372"/>
              <a:gd name="connsiteX34895" fmla="*/ 2196464 w 10505529"/>
              <a:gd name="connsiteY34895" fmla="*/ 1562528 h 7458372"/>
              <a:gd name="connsiteX34896" fmla="*/ 2206448 w 10505529"/>
              <a:gd name="connsiteY34896" fmla="*/ 1565990 h 7458372"/>
              <a:gd name="connsiteX34897" fmla="*/ 2211773 w 10505529"/>
              <a:gd name="connsiteY34897" fmla="*/ 1564919 h 7458372"/>
              <a:gd name="connsiteX34898" fmla="*/ 2215500 w 10505529"/>
              <a:gd name="connsiteY34898" fmla="*/ 1562528 h 7458372"/>
              <a:gd name="connsiteX34899" fmla="*/ 2218163 w 10505529"/>
              <a:gd name="connsiteY34899" fmla="*/ 1558402 h 7458372"/>
              <a:gd name="connsiteX34900" fmla="*/ 2219094 w 10505529"/>
              <a:gd name="connsiteY34900" fmla="*/ 1552940 h 7458372"/>
              <a:gd name="connsiteX34901" fmla="*/ 2218163 w 10505529"/>
              <a:gd name="connsiteY34901" fmla="*/ 1547746 h 7458372"/>
              <a:gd name="connsiteX34902" fmla="*/ 2215500 w 10505529"/>
              <a:gd name="connsiteY34902" fmla="*/ 1543620 h 7458372"/>
              <a:gd name="connsiteX34903" fmla="*/ 2211507 w 10505529"/>
              <a:gd name="connsiteY34903" fmla="*/ 1540957 h 7458372"/>
              <a:gd name="connsiteX34904" fmla="*/ 2206448 w 10505529"/>
              <a:gd name="connsiteY34904" fmla="*/ 1540033 h 7458372"/>
              <a:gd name="connsiteX34905" fmla="*/ 1988931 w 10505529"/>
              <a:gd name="connsiteY34905" fmla="*/ 1540033 h 7458372"/>
              <a:gd name="connsiteX34906" fmla="*/ 1978948 w 10505529"/>
              <a:gd name="connsiteY34906" fmla="*/ 1543620 h 7458372"/>
              <a:gd name="connsiteX34907" fmla="*/ 1975354 w 10505529"/>
              <a:gd name="connsiteY34907" fmla="*/ 1553078 h 7458372"/>
              <a:gd name="connsiteX34908" fmla="*/ 1978948 w 10505529"/>
              <a:gd name="connsiteY34908" fmla="*/ 1562528 h 7458372"/>
              <a:gd name="connsiteX34909" fmla="*/ 1988931 w 10505529"/>
              <a:gd name="connsiteY34909" fmla="*/ 1565990 h 7458372"/>
              <a:gd name="connsiteX34910" fmla="*/ 1994256 w 10505529"/>
              <a:gd name="connsiteY34910" fmla="*/ 1564919 h 7458372"/>
              <a:gd name="connsiteX34911" fmla="*/ 1997984 w 10505529"/>
              <a:gd name="connsiteY34911" fmla="*/ 1562528 h 7458372"/>
              <a:gd name="connsiteX34912" fmla="*/ 2000647 w 10505529"/>
              <a:gd name="connsiteY34912" fmla="*/ 1558402 h 7458372"/>
              <a:gd name="connsiteX34913" fmla="*/ 2001577 w 10505529"/>
              <a:gd name="connsiteY34913" fmla="*/ 1552940 h 7458372"/>
              <a:gd name="connsiteX34914" fmla="*/ 2000647 w 10505529"/>
              <a:gd name="connsiteY34914" fmla="*/ 1547746 h 7458372"/>
              <a:gd name="connsiteX34915" fmla="*/ 1997984 w 10505529"/>
              <a:gd name="connsiteY34915" fmla="*/ 1543620 h 7458372"/>
              <a:gd name="connsiteX34916" fmla="*/ 1993990 w 10505529"/>
              <a:gd name="connsiteY34916" fmla="*/ 1540957 h 7458372"/>
              <a:gd name="connsiteX34917" fmla="*/ 1988931 w 10505529"/>
              <a:gd name="connsiteY34917" fmla="*/ 1540033 h 7458372"/>
              <a:gd name="connsiteX34918" fmla="*/ 1771290 w 10505529"/>
              <a:gd name="connsiteY34918" fmla="*/ 1540033 h 7458372"/>
              <a:gd name="connsiteX34919" fmla="*/ 1761307 w 10505529"/>
              <a:gd name="connsiteY34919" fmla="*/ 1543620 h 7458372"/>
              <a:gd name="connsiteX34920" fmla="*/ 1757713 w 10505529"/>
              <a:gd name="connsiteY34920" fmla="*/ 1553078 h 7458372"/>
              <a:gd name="connsiteX34921" fmla="*/ 1761307 w 10505529"/>
              <a:gd name="connsiteY34921" fmla="*/ 1562528 h 7458372"/>
              <a:gd name="connsiteX34922" fmla="*/ 1771290 w 10505529"/>
              <a:gd name="connsiteY34922" fmla="*/ 1565990 h 7458372"/>
              <a:gd name="connsiteX34923" fmla="*/ 1776614 w 10505529"/>
              <a:gd name="connsiteY34923" fmla="*/ 1564919 h 7458372"/>
              <a:gd name="connsiteX34924" fmla="*/ 1780341 w 10505529"/>
              <a:gd name="connsiteY34924" fmla="*/ 1562528 h 7458372"/>
              <a:gd name="connsiteX34925" fmla="*/ 1783004 w 10505529"/>
              <a:gd name="connsiteY34925" fmla="*/ 1558402 h 7458372"/>
              <a:gd name="connsiteX34926" fmla="*/ 1784069 w 10505529"/>
              <a:gd name="connsiteY34926" fmla="*/ 1552940 h 7458372"/>
              <a:gd name="connsiteX34927" fmla="*/ 1783004 w 10505529"/>
              <a:gd name="connsiteY34927" fmla="*/ 1547746 h 7458372"/>
              <a:gd name="connsiteX34928" fmla="*/ 1780341 w 10505529"/>
              <a:gd name="connsiteY34928" fmla="*/ 1543620 h 7458372"/>
              <a:gd name="connsiteX34929" fmla="*/ 1776349 w 10505529"/>
              <a:gd name="connsiteY34929" fmla="*/ 1540957 h 7458372"/>
              <a:gd name="connsiteX34930" fmla="*/ 1771290 w 10505529"/>
              <a:gd name="connsiteY34930" fmla="*/ 1540033 h 7458372"/>
              <a:gd name="connsiteX34931" fmla="*/ 1553647 w 10505529"/>
              <a:gd name="connsiteY34931" fmla="*/ 1540033 h 7458372"/>
              <a:gd name="connsiteX34932" fmla="*/ 1543663 w 10505529"/>
              <a:gd name="connsiteY34932" fmla="*/ 1543620 h 7458372"/>
              <a:gd name="connsiteX34933" fmla="*/ 1540069 w 10505529"/>
              <a:gd name="connsiteY34933" fmla="*/ 1553078 h 7458372"/>
              <a:gd name="connsiteX34934" fmla="*/ 1543663 w 10505529"/>
              <a:gd name="connsiteY34934" fmla="*/ 1562528 h 7458372"/>
              <a:gd name="connsiteX34935" fmla="*/ 1553647 w 10505529"/>
              <a:gd name="connsiteY34935" fmla="*/ 1565990 h 7458372"/>
              <a:gd name="connsiteX34936" fmla="*/ 1558971 w 10505529"/>
              <a:gd name="connsiteY34936" fmla="*/ 1564919 h 7458372"/>
              <a:gd name="connsiteX34937" fmla="*/ 1562698 w 10505529"/>
              <a:gd name="connsiteY34937" fmla="*/ 1562528 h 7458372"/>
              <a:gd name="connsiteX34938" fmla="*/ 1565361 w 10505529"/>
              <a:gd name="connsiteY34938" fmla="*/ 1558402 h 7458372"/>
              <a:gd name="connsiteX34939" fmla="*/ 1566427 w 10505529"/>
              <a:gd name="connsiteY34939" fmla="*/ 1552940 h 7458372"/>
              <a:gd name="connsiteX34940" fmla="*/ 1565361 w 10505529"/>
              <a:gd name="connsiteY34940" fmla="*/ 1547746 h 7458372"/>
              <a:gd name="connsiteX34941" fmla="*/ 1562698 w 10505529"/>
              <a:gd name="connsiteY34941" fmla="*/ 1543620 h 7458372"/>
              <a:gd name="connsiteX34942" fmla="*/ 1558705 w 10505529"/>
              <a:gd name="connsiteY34942" fmla="*/ 1540957 h 7458372"/>
              <a:gd name="connsiteX34943" fmla="*/ 1553647 w 10505529"/>
              <a:gd name="connsiteY34943" fmla="*/ 1540033 h 7458372"/>
              <a:gd name="connsiteX34944" fmla="*/ 1336001 w 10505529"/>
              <a:gd name="connsiteY34944" fmla="*/ 1540033 h 7458372"/>
              <a:gd name="connsiteX34945" fmla="*/ 1326019 w 10505529"/>
              <a:gd name="connsiteY34945" fmla="*/ 1543620 h 7458372"/>
              <a:gd name="connsiteX34946" fmla="*/ 1322424 w 10505529"/>
              <a:gd name="connsiteY34946" fmla="*/ 1553078 h 7458372"/>
              <a:gd name="connsiteX34947" fmla="*/ 1326019 w 10505529"/>
              <a:gd name="connsiteY34947" fmla="*/ 1562528 h 7458372"/>
              <a:gd name="connsiteX34948" fmla="*/ 1336001 w 10505529"/>
              <a:gd name="connsiteY34948" fmla="*/ 1565990 h 7458372"/>
              <a:gd name="connsiteX34949" fmla="*/ 1341327 w 10505529"/>
              <a:gd name="connsiteY34949" fmla="*/ 1564919 h 7458372"/>
              <a:gd name="connsiteX34950" fmla="*/ 1345055 w 10505529"/>
              <a:gd name="connsiteY34950" fmla="*/ 1562528 h 7458372"/>
              <a:gd name="connsiteX34951" fmla="*/ 1347717 w 10505529"/>
              <a:gd name="connsiteY34951" fmla="*/ 1558402 h 7458372"/>
              <a:gd name="connsiteX34952" fmla="*/ 1348783 w 10505529"/>
              <a:gd name="connsiteY34952" fmla="*/ 1552940 h 7458372"/>
              <a:gd name="connsiteX34953" fmla="*/ 1347717 w 10505529"/>
              <a:gd name="connsiteY34953" fmla="*/ 1547746 h 7458372"/>
              <a:gd name="connsiteX34954" fmla="*/ 1345055 w 10505529"/>
              <a:gd name="connsiteY34954" fmla="*/ 1543620 h 7458372"/>
              <a:gd name="connsiteX34955" fmla="*/ 1341061 w 10505529"/>
              <a:gd name="connsiteY34955" fmla="*/ 1540957 h 7458372"/>
              <a:gd name="connsiteX34956" fmla="*/ 1336001 w 10505529"/>
              <a:gd name="connsiteY34956" fmla="*/ 1540033 h 7458372"/>
              <a:gd name="connsiteX34957" fmla="*/ 1118490 w 10505529"/>
              <a:gd name="connsiteY34957" fmla="*/ 1540033 h 7458372"/>
              <a:gd name="connsiteX34958" fmla="*/ 1108506 w 10505529"/>
              <a:gd name="connsiteY34958" fmla="*/ 1543620 h 7458372"/>
              <a:gd name="connsiteX34959" fmla="*/ 1104779 w 10505529"/>
              <a:gd name="connsiteY34959" fmla="*/ 1553078 h 7458372"/>
              <a:gd name="connsiteX34960" fmla="*/ 1108373 w 10505529"/>
              <a:gd name="connsiteY34960" fmla="*/ 1562528 h 7458372"/>
              <a:gd name="connsiteX34961" fmla="*/ 1118357 w 10505529"/>
              <a:gd name="connsiteY34961" fmla="*/ 1565990 h 7458372"/>
              <a:gd name="connsiteX34962" fmla="*/ 1123815 w 10505529"/>
              <a:gd name="connsiteY34962" fmla="*/ 1564919 h 7458372"/>
              <a:gd name="connsiteX34963" fmla="*/ 1127542 w 10505529"/>
              <a:gd name="connsiteY34963" fmla="*/ 1562528 h 7458372"/>
              <a:gd name="connsiteX34964" fmla="*/ 1130206 w 10505529"/>
              <a:gd name="connsiteY34964" fmla="*/ 1558402 h 7458372"/>
              <a:gd name="connsiteX34965" fmla="*/ 1131271 w 10505529"/>
              <a:gd name="connsiteY34965" fmla="*/ 1552940 h 7458372"/>
              <a:gd name="connsiteX34966" fmla="*/ 1130206 w 10505529"/>
              <a:gd name="connsiteY34966" fmla="*/ 1547746 h 7458372"/>
              <a:gd name="connsiteX34967" fmla="*/ 1127542 w 10505529"/>
              <a:gd name="connsiteY34967" fmla="*/ 1543620 h 7458372"/>
              <a:gd name="connsiteX34968" fmla="*/ 1123548 w 10505529"/>
              <a:gd name="connsiteY34968" fmla="*/ 1540957 h 7458372"/>
              <a:gd name="connsiteX34969" fmla="*/ 1118490 w 10505529"/>
              <a:gd name="connsiteY34969" fmla="*/ 1540033 h 7458372"/>
              <a:gd name="connsiteX34970" fmla="*/ 900979 w 10505529"/>
              <a:gd name="connsiteY34970" fmla="*/ 1540033 h 7458372"/>
              <a:gd name="connsiteX34971" fmla="*/ 890994 w 10505529"/>
              <a:gd name="connsiteY34971" fmla="*/ 1543620 h 7458372"/>
              <a:gd name="connsiteX34972" fmla="*/ 887268 w 10505529"/>
              <a:gd name="connsiteY34972" fmla="*/ 1553078 h 7458372"/>
              <a:gd name="connsiteX34973" fmla="*/ 890862 w 10505529"/>
              <a:gd name="connsiteY34973" fmla="*/ 1562528 h 7458372"/>
              <a:gd name="connsiteX34974" fmla="*/ 900845 w 10505529"/>
              <a:gd name="connsiteY34974" fmla="*/ 1565990 h 7458372"/>
              <a:gd name="connsiteX34975" fmla="*/ 906303 w 10505529"/>
              <a:gd name="connsiteY34975" fmla="*/ 1564919 h 7458372"/>
              <a:gd name="connsiteX34976" fmla="*/ 910031 w 10505529"/>
              <a:gd name="connsiteY34976" fmla="*/ 1562528 h 7458372"/>
              <a:gd name="connsiteX34977" fmla="*/ 912693 w 10505529"/>
              <a:gd name="connsiteY34977" fmla="*/ 1558402 h 7458372"/>
              <a:gd name="connsiteX34978" fmla="*/ 913758 w 10505529"/>
              <a:gd name="connsiteY34978" fmla="*/ 1552940 h 7458372"/>
              <a:gd name="connsiteX34979" fmla="*/ 912693 w 10505529"/>
              <a:gd name="connsiteY34979" fmla="*/ 1547746 h 7458372"/>
              <a:gd name="connsiteX34980" fmla="*/ 910031 w 10505529"/>
              <a:gd name="connsiteY34980" fmla="*/ 1543620 h 7458372"/>
              <a:gd name="connsiteX34981" fmla="*/ 906037 w 10505529"/>
              <a:gd name="connsiteY34981" fmla="*/ 1540957 h 7458372"/>
              <a:gd name="connsiteX34982" fmla="*/ 900979 w 10505529"/>
              <a:gd name="connsiteY34982" fmla="*/ 1540033 h 7458372"/>
              <a:gd name="connsiteX34983" fmla="*/ 683201 w 10505529"/>
              <a:gd name="connsiteY34983" fmla="*/ 1540033 h 7458372"/>
              <a:gd name="connsiteX34984" fmla="*/ 673218 w 10505529"/>
              <a:gd name="connsiteY34984" fmla="*/ 1543620 h 7458372"/>
              <a:gd name="connsiteX34985" fmla="*/ 669624 w 10505529"/>
              <a:gd name="connsiteY34985" fmla="*/ 1553078 h 7458372"/>
              <a:gd name="connsiteX34986" fmla="*/ 673218 w 10505529"/>
              <a:gd name="connsiteY34986" fmla="*/ 1562528 h 7458372"/>
              <a:gd name="connsiteX34987" fmla="*/ 683201 w 10505529"/>
              <a:gd name="connsiteY34987" fmla="*/ 1565990 h 7458372"/>
              <a:gd name="connsiteX34988" fmla="*/ 688526 w 10505529"/>
              <a:gd name="connsiteY34988" fmla="*/ 1564919 h 7458372"/>
              <a:gd name="connsiteX34989" fmla="*/ 692253 w 10505529"/>
              <a:gd name="connsiteY34989" fmla="*/ 1562528 h 7458372"/>
              <a:gd name="connsiteX34990" fmla="*/ 694916 w 10505529"/>
              <a:gd name="connsiteY34990" fmla="*/ 1558402 h 7458372"/>
              <a:gd name="connsiteX34991" fmla="*/ 695982 w 10505529"/>
              <a:gd name="connsiteY34991" fmla="*/ 1552940 h 7458372"/>
              <a:gd name="connsiteX34992" fmla="*/ 694916 w 10505529"/>
              <a:gd name="connsiteY34992" fmla="*/ 1547746 h 7458372"/>
              <a:gd name="connsiteX34993" fmla="*/ 692253 w 10505529"/>
              <a:gd name="connsiteY34993" fmla="*/ 1543620 h 7458372"/>
              <a:gd name="connsiteX34994" fmla="*/ 688260 w 10505529"/>
              <a:gd name="connsiteY34994" fmla="*/ 1540957 h 7458372"/>
              <a:gd name="connsiteX34995" fmla="*/ 683201 w 10505529"/>
              <a:gd name="connsiteY34995" fmla="*/ 1540033 h 7458372"/>
              <a:gd name="connsiteX34996" fmla="*/ 465557 w 10505529"/>
              <a:gd name="connsiteY34996" fmla="*/ 1540033 h 7458372"/>
              <a:gd name="connsiteX34997" fmla="*/ 455574 w 10505529"/>
              <a:gd name="connsiteY34997" fmla="*/ 1543620 h 7458372"/>
              <a:gd name="connsiteX34998" fmla="*/ 451980 w 10505529"/>
              <a:gd name="connsiteY34998" fmla="*/ 1553078 h 7458372"/>
              <a:gd name="connsiteX34999" fmla="*/ 455574 w 10505529"/>
              <a:gd name="connsiteY34999" fmla="*/ 1562528 h 7458372"/>
              <a:gd name="connsiteX35000" fmla="*/ 465557 w 10505529"/>
              <a:gd name="connsiteY35000" fmla="*/ 1565990 h 7458372"/>
              <a:gd name="connsiteX35001" fmla="*/ 470882 w 10505529"/>
              <a:gd name="connsiteY35001" fmla="*/ 1564919 h 7458372"/>
              <a:gd name="connsiteX35002" fmla="*/ 474610 w 10505529"/>
              <a:gd name="connsiteY35002" fmla="*/ 1562528 h 7458372"/>
              <a:gd name="connsiteX35003" fmla="*/ 477273 w 10505529"/>
              <a:gd name="connsiteY35003" fmla="*/ 1558402 h 7458372"/>
              <a:gd name="connsiteX35004" fmla="*/ 478338 w 10505529"/>
              <a:gd name="connsiteY35004" fmla="*/ 1552940 h 7458372"/>
              <a:gd name="connsiteX35005" fmla="*/ 477273 w 10505529"/>
              <a:gd name="connsiteY35005" fmla="*/ 1547746 h 7458372"/>
              <a:gd name="connsiteX35006" fmla="*/ 474610 w 10505529"/>
              <a:gd name="connsiteY35006" fmla="*/ 1543620 h 7458372"/>
              <a:gd name="connsiteX35007" fmla="*/ 470617 w 10505529"/>
              <a:gd name="connsiteY35007" fmla="*/ 1540957 h 7458372"/>
              <a:gd name="connsiteX35008" fmla="*/ 465557 w 10505529"/>
              <a:gd name="connsiteY35008" fmla="*/ 1540033 h 7458372"/>
              <a:gd name="connsiteX35009" fmla="*/ 247913 w 10505529"/>
              <a:gd name="connsiteY35009" fmla="*/ 1540033 h 7458372"/>
              <a:gd name="connsiteX35010" fmla="*/ 237931 w 10505529"/>
              <a:gd name="connsiteY35010" fmla="*/ 1543620 h 7458372"/>
              <a:gd name="connsiteX35011" fmla="*/ 234337 w 10505529"/>
              <a:gd name="connsiteY35011" fmla="*/ 1553078 h 7458372"/>
              <a:gd name="connsiteX35012" fmla="*/ 237931 w 10505529"/>
              <a:gd name="connsiteY35012" fmla="*/ 1562528 h 7458372"/>
              <a:gd name="connsiteX35013" fmla="*/ 247913 w 10505529"/>
              <a:gd name="connsiteY35013" fmla="*/ 1565990 h 7458372"/>
              <a:gd name="connsiteX35014" fmla="*/ 253239 w 10505529"/>
              <a:gd name="connsiteY35014" fmla="*/ 1564919 h 7458372"/>
              <a:gd name="connsiteX35015" fmla="*/ 256965 w 10505529"/>
              <a:gd name="connsiteY35015" fmla="*/ 1562528 h 7458372"/>
              <a:gd name="connsiteX35016" fmla="*/ 259629 w 10505529"/>
              <a:gd name="connsiteY35016" fmla="*/ 1558402 h 7458372"/>
              <a:gd name="connsiteX35017" fmla="*/ 260694 w 10505529"/>
              <a:gd name="connsiteY35017" fmla="*/ 1552940 h 7458372"/>
              <a:gd name="connsiteX35018" fmla="*/ 259629 w 10505529"/>
              <a:gd name="connsiteY35018" fmla="*/ 1547746 h 7458372"/>
              <a:gd name="connsiteX35019" fmla="*/ 256965 w 10505529"/>
              <a:gd name="connsiteY35019" fmla="*/ 1543620 h 7458372"/>
              <a:gd name="connsiteX35020" fmla="*/ 252973 w 10505529"/>
              <a:gd name="connsiteY35020" fmla="*/ 1540957 h 7458372"/>
              <a:gd name="connsiteX35021" fmla="*/ 247913 w 10505529"/>
              <a:gd name="connsiteY35021" fmla="*/ 1540033 h 7458372"/>
              <a:gd name="connsiteX35022" fmla="*/ 30270 w 10505529"/>
              <a:gd name="connsiteY35022" fmla="*/ 1540033 h 7458372"/>
              <a:gd name="connsiteX35023" fmla="*/ 20287 w 10505529"/>
              <a:gd name="connsiteY35023" fmla="*/ 1543620 h 7458372"/>
              <a:gd name="connsiteX35024" fmla="*/ 16693 w 10505529"/>
              <a:gd name="connsiteY35024" fmla="*/ 1553078 h 7458372"/>
              <a:gd name="connsiteX35025" fmla="*/ 20287 w 10505529"/>
              <a:gd name="connsiteY35025" fmla="*/ 1562528 h 7458372"/>
              <a:gd name="connsiteX35026" fmla="*/ 30270 w 10505529"/>
              <a:gd name="connsiteY35026" fmla="*/ 1565990 h 7458372"/>
              <a:gd name="connsiteX35027" fmla="*/ 35595 w 10505529"/>
              <a:gd name="connsiteY35027" fmla="*/ 1564919 h 7458372"/>
              <a:gd name="connsiteX35028" fmla="*/ 39322 w 10505529"/>
              <a:gd name="connsiteY35028" fmla="*/ 1562528 h 7458372"/>
              <a:gd name="connsiteX35029" fmla="*/ 41985 w 10505529"/>
              <a:gd name="connsiteY35029" fmla="*/ 1558402 h 7458372"/>
              <a:gd name="connsiteX35030" fmla="*/ 42916 w 10505529"/>
              <a:gd name="connsiteY35030" fmla="*/ 1552940 h 7458372"/>
              <a:gd name="connsiteX35031" fmla="*/ 41985 w 10505529"/>
              <a:gd name="connsiteY35031" fmla="*/ 1547746 h 7458372"/>
              <a:gd name="connsiteX35032" fmla="*/ 39322 w 10505529"/>
              <a:gd name="connsiteY35032" fmla="*/ 1543620 h 7458372"/>
              <a:gd name="connsiteX35033" fmla="*/ 35329 w 10505529"/>
              <a:gd name="connsiteY35033" fmla="*/ 1540957 h 7458372"/>
              <a:gd name="connsiteX35034" fmla="*/ 30270 w 10505529"/>
              <a:gd name="connsiteY35034" fmla="*/ 1540033 h 7458372"/>
              <a:gd name="connsiteX35035" fmla="*/ 10475977 w 10505529"/>
              <a:gd name="connsiteY35035" fmla="*/ 1523391 h 7458372"/>
              <a:gd name="connsiteX35036" fmla="*/ 10487824 w 10505529"/>
              <a:gd name="connsiteY35036" fmla="*/ 1525915 h 7458372"/>
              <a:gd name="connsiteX35037" fmla="*/ 10497143 w 10505529"/>
              <a:gd name="connsiteY35037" fmla="*/ 1532304 h 7458372"/>
              <a:gd name="connsiteX35038" fmla="*/ 10503266 w 10505529"/>
              <a:gd name="connsiteY35038" fmla="*/ 1541623 h 7458372"/>
              <a:gd name="connsiteX35039" fmla="*/ 10505529 w 10505529"/>
              <a:gd name="connsiteY35039" fmla="*/ 1553078 h 7458372"/>
              <a:gd name="connsiteX35040" fmla="*/ 10503266 w 10505529"/>
              <a:gd name="connsiteY35040" fmla="*/ 1564791 h 7458372"/>
              <a:gd name="connsiteX35041" fmla="*/ 10497143 w 10505529"/>
              <a:gd name="connsiteY35041" fmla="*/ 1574105 h 7458372"/>
              <a:gd name="connsiteX35042" fmla="*/ 10487824 w 10505529"/>
              <a:gd name="connsiteY35042" fmla="*/ 1580363 h 7458372"/>
              <a:gd name="connsiteX35043" fmla="*/ 10475977 w 10505529"/>
              <a:gd name="connsiteY35043" fmla="*/ 1582625 h 7458372"/>
              <a:gd name="connsiteX35044" fmla="*/ 10454145 w 10505529"/>
              <a:gd name="connsiteY35044" fmla="*/ 1574105 h 7458372"/>
              <a:gd name="connsiteX35045" fmla="*/ 10445759 w 10505529"/>
              <a:gd name="connsiteY35045" fmla="*/ 1552940 h 7458372"/>
              <a:gd name="connsiteX35046" fmla="*/ 10454145 w 10505529"/>
              <a:gd name="connsiteY35046" fmla="*/ 1531907 h 7458372"/>
              <a:gd name="connsiteX35047" fmla="*/ 10475977 w 10505529"/>
              <a:gd name="connsiteY35047" fmla="*/ 1523391 h 7458372"/>
              <a:gd name="connsiteX35048" fmla="*/ 10258466 w 10505529"/>
              <a:gd name="connsiteY35048" fmla="*/ 1523391 h 7458372"/>
              <a:gd name="connsiteX35049" fmla="*/ 10270313 w 10505529"/>
              <a:gd name="connsiteY35049" fmla="*/ 1525915 h 7458372"/>
              <a:gd name="connsiteX35050" fmla="*/ 10279631 w 10505529"/>
              <a:gd name="connsiteY35050" fmla="*/ 1532304 h 7458372"/>
              <a:gd name="connsiteX35051" fmla="*/ 10285754 w 10505529"/>
              <a:gd name="connsiteY35051" fmla="*/ 1541623 h 7458372"/>
              <a:gd name="connsiteX35052" fmla="*/ 10288017 w 10505529"/>
              <a:gd name="connsiteY35052" fmla="*/ 1553078 h 7458372"/>
              <a:gd name="connsiteX35053" fmla="*/ 10285754 w 10505529"/>
              <a:gd name="connsiteY35053" fmla="*/ 1564791 h 7458372"/>
              <a:gd name="connsiteX35054" fmla="*/ 10279631 w 10505529"/>
              <a:gd name="connsiteY35054" fmla="*/ 1574105 h 7458372"/>
              <a:gd name="connsiteX35055" fmla="*/ 10270313 w 10505529"/>
              <a:gd name="connsiteY35055" fmla="*/ 1580363 h 7458372"/>
              <a:gd name="connsiteX35056" fmla="*/ 10258466 w 10505529"/>
              <a:gd name="connsiteY35056" fmla="*/ 1582625 h 7458372"/>
              <a:gd name="connsiteX35057" fmla="*/ 10236633 w 10505529"/>
              <a:gd name="connsiteY35057" fmla="*/ 1574105 h 7458372"/>
              <a:gd name="connsiteX35058" fmla="*/ 10228247 w 10505529"/>
              <a:gd name="connsiteY35058" fmla="*/ 1552940 h 7458372"/>
              <a:gd name="connsiteX35059" fmla="*/ 10236633 w 10505529"/>
              <a:gd name="connsiteY35059" fmla="*/ 1531907 h 7458372"/>
              <a:gd name="connsiteX35060" fmla="*/ 10258466 w 10505529"/>
              <a:gd name="connsiteY35060" fmla="*/ 1523391 h 7458372"/>
              <a:gd name="connsiteX35061" fmla="*/ 10040820 w 10505529"/>
              <a:gd name="connsiteY35061" fmla="*/ 1523391 h 7458372"/>
              <a:gd name="connsiteX35062" fmla="*/ 10052534 w 10505529"/>
              <a:gd name="connsiteY35062" fmla="*/ 1525915 h 7458372"/>
              <a:gd name="connsiteX35063" fmla="*/ 10061852 w 10505529"/>
              <a:gd name="connsiteY35063" fmla="*/ 1532304 h 7458372"/>
              <a:gd name="connsiteX35064" fmla="*/ 10067976 w 10505529"/>
              <a:gd name="connsiteY35064" fmla="*/ 1541623 h 7458372"/>
              <a:gd name="connsiteX35065" fmla="*/ 10070239 w 10505529"/>
              <a:gd name="connsiteY35065" fmla="*/ 1553078 h 7458372"/>
              <a:gd name="connsiteX35066" fmla="*/ 10067976 w 10505529"/>
              <a:gd name="connsiteY35066" fmla="*/ 1564791 h 7458372"/>
              <a:gd name="connsiteX35067" fmla="*/ 10061852 w 10505529"/>
              <a:gd name="connsiteY35067" fmla="*/ 1574105 h 7458372"/>
              <a:gd name="connsiteX35068" fmla="*/ 10052534 w 10505529"/>
              <a:gd name="connsiteY35068" fmla="*/ 1580363 h 7458372"/>
              <a:gd name="connsiteX35069" fmla="*/ 10040820 w 10505529"/>
              <a:gd name="connsiteY35069" fmla="*/ 1582625 h 7458372"/>
              <a:gd name="connsiteX35070" fmla="*/ 10018988 w 10505529"/>
              <a:gd name="connsiteY35070" fmla="*/ 1574105 h 7458372"/>
              <a:gd name="connsiteX35071" fmla="*/ 10010602 w 10505529"/>
              <a:gd name="connsiteY35071" fmla="*/ 1552940 h 7458372"/>
              <a:gd name="connsiteX35072" fmla="*/ 10018988 w 10505529"/>
              <a:gd name="connsiteY35072" fmla="*/ 1531907 h 7458372"/>
              <a:gd name="connsiteX35073" fmla="*/ 10040820 w 10505529"/>
              <a:gd name="connsiteY35073" fmla="*/ 1523391 h 7458372"/>
              <a:gd name="connsiteX35074" fmla="*/ 9823176 w 10505529"/>
              <a:gd name="connsiteY35074" fmla="*/ 1523391 h 7458372"/>
              <a:gd name="connsiteX35075" fmla="*/ 9834890 w 10505529"/>
              <a:gd name="connsiteY35075" fmla="*/ 1525915 h 7458372"/>
              <a:gd name="connsiteX35076" fmla="*/ 9844208 w 10505529"/>
              <a:gd name="connsiteY35076" fmla="*/ 1532306 h 7458372"/>
              <a:gd name="connsiteX35077" fmla="*/ 9850331 w 10505529"/>
              <a:gd name="connsiteY35077" fmla="*/ 1541623 h 7458372"/>
              <a:gd name="connsiteX35078" fmla="*/ 9852595 w 10505529"/>
              <a:gd name="connsiteY35078" fmla="*/ 1553078 h 7458372"/>
              <a:gd name="connsiteX35079" fmla="*/ 9850331 w 10505529"/>
              <a:gd name="connsiteY35079" fmla="*/ 1564797 h 7458372"/>
              <a:gd name="connsiteX35080" fmla="*/ 9844208 w 10505529"/>
              <a:gd name="connsiteY35080" fmla="*/ 1574105 h 7458372"/>
              <a:gd name="connsiteX35081" fmla="*/ 9834890 w 10505529"/>
              <a:gd name="connsiteY35081" fmla="*/ 1580363 h 7458372"/>
              <a:gd name="connsiteX35082" fmla="*/ 9823176 w 10505529"/>
              <a:gd name="connsiteY35082" fmla="*/ 1582625 h 7458372"/>
              <a:gd name="connsiteX35083" fmla="*/ 9801343 w 10505529"/>
              <a:gd name="connsiteY35083" fmla="*/ 1574105 h 7458372"/>
              <a:gd name="connsiteX35084" fmla="*/ 9792957 w 10505529"/>
              <a:gd name="connsiteY35084" fmla="*/ 1552940 h 7458372"/>
              <a:gd name="connsiteX35085" fmla="*/ 9801343 w 10505529"/>
              <a:gd name="connsiteY35085" fmla="*/ 1531907 h 7458372"/>
              <a:gd name="connsiteX35086" fmla="*/ 9823176 w 10505529"/>
              <a:gd name="connsiteY35086" fmla="*/ 1523391 h 7458372"/>
              <a:gd name="connsiteX35087" fmla="*/ 9605531 w 10505529"/>
              <a:gd name="connsiteY35087" fmla="*/ 1523391 h 7458372"/>
              <a:gd name="connsiteX35088" fmla="*/ 9617245 w 10505529"/>
              <a:gd name="connsiteY35088" fmla="*/ 1525915 h 7458372"/>
              <a:gd name="connsiteX35089" fmla="*/ 9626562 w 10505529"/>
              <a:gd name="connsiteY35089" fmla="*/ 1532306 h 7458372"/>
              <a:gd name="connsiteX35090" fmla="*/ 9632686 w 10505529"/>
              <a:gd name="connsiteY35090" fmla="*/ 1541623 h 7458372"/>
              <a:gd name="connsiteX35091" fmla="*/ 9634949 w 10505529"/>
              <a:gd name="connsiteY35091" fmla="*/ 1553078 h 7458372"/>
              <a:gd name="connsiteX35092" fmla="*/ 9632686 w 10505529"/>
              <a:gd name="connsiteY35092" fmla="*/ 1564797 h 7458372"/>
              <a:gd name="connsiteX35093" fmla="*/ 9626562 w 10505529"/>
              <a:gd name="connsiteY35093" fmla="*/ 1574105 h 7458372"/>
              <a:gd name="connsiteX35094" fmla="*/ 9617245 w 10505529"/>
              <a:gd name="connsiteY35094" fmla="*/ 1580363 h 7458372"/>
              <a:gd name="connsiteX35095" fmla="*/ 9605531 w 10505529"/>
              <a:gd name="connsiteY35095" fmla="*/ 1582625 h 7458372"/>
              <a:gd name="connsiteX35096" fmla="*/ 9583698 w 10505529"/>
              <a:gd name="connsiteY35096" fmla="*/ 1574105 h 7458372"/>
              <a:gd name="connsiteX35097" fmla="*/ 9575312 w 10505529"/>
              <a:gd name="connsiteY35097" fmla="*/ 1552940 h 7458372"/>
              <a:gd name="connsiteX35098" fmla="*/ 9583698 w 10505529"/>
              <a:gd name="connsiteY35098" fmla="*/ 1531907 h 7458372"/>
              <a:gd name="connsiteX35099" fmla="*/ 9605531 w 10505529"/>
              <a:gd name="connsiteY35099" fmla="*/ 1523391 h 7458372"/>
              <a:gd name="connsiteX35100" fmla="*/ 9387885 w 10505529"/>
              <a:gd name="connsiteY35100" fmla="*/ 1523391 h 7458372"/>
              <a:gd name="connsiteX35101" fmla="*/ 9399599 w 10505529"/>
              <a:gd name="connsiteY35101" fmla="*/ 1525915 h 7458372"/>
              <a:gd name="connsiteX35102" fmla="*/ 9408917 w 10505529"/>
              <a:gd name="connsiteY35102" fmla="*/ 1532306 h 7458372"/>
              <a:gd name="connsiteX35103" fmla="*/ 9415041 w 10505529"/>
              <a:gd name="connsiteY35103" fmla="*/ 1541623 h 7458372"/>
              <a:gd name="connsiteX35104" fmla="*/ 9417304 w 10505529"/>
              <a:gd name="connsiteY35104" fmla="*/ 1553078 h 7458372"/>
              <a:gd name="connsiteX35105" fmla="*/ 9415041 w 10505529"/>
              <a:gd name="connsiteY35105" fmla="*/ 1564797 h 7458372"/>
              <a:gd name="connsiteX35106" fmla="*/ 9408917 w 10505529"/>
              <a:gd name="connsiteY35106" fmla="*/ 1574105 h 7458372"/>
              <a:gd name="connsiteX35107" fmla="*/ 9399599 w 10505529"/>
              <a:gd name="connsiteY35107" fmla="*/ 1580363 h 7458372"/>
              <a:gd name="connsiteX35108" fmla="*/ 9387885 w 10505529"/>
              <a:gd name="connsiteY35108" fmla="*/ 1582625 h 7458372"/>
              <a:gd name="connsiteX35109" fmla="*/ 9366053 w 10505529"/>
              <a:gd name="connsiteY35109" fmla="*/ 1574105 h 7458372"/>
              <a:gd name="connsiteX35110" fmla="*/ 9357667 w 10505529"/>
              <a:gd name="connsiteY35110" fmla="*/ 1552940 h 7458372"/>
              <a:gd name="connsiteX35111" fmla="*/ 9366053 w 10505529"/>
              <a:gd name="connsiteY35111" fmla="*/ 1531907 h 7458372"/>
              <a:gd name="connsiteX35112" fmla="*/ 9387885 w 10505529"/>
              <a:gd name="connsiteY35112" fmla="*/ 1523391 h 7458372"/>
              <a:gd name="connsiteX35113" fmla="*/ 9170374 w 10505529"/>
              <a:gd name="connsiteY35113" fmla="*/ 1523391 h 7458372"/>
              <a:gd name="connsiteX35114" fmla="*/ 9182088 w 10505529"/>
              <a:gd name="connsiteY35114" fmla="*/ 1525915 h 7458372"/>
              <a:gd name="connsiteX35115" fmla="*/ 9191405 w 10505529"/>
              <a:gd name="connsiteY35115" fmla="*/ 1532306 h 7458372"/>
              <a:gd name="connsiteX35116" fmla="*/ 9197529 w 10505529"/>
              <a:gd name="connsiteY35116" fmla="*/ 1541623 h 7458372"/>
              <a:gd name="connsiteX35117" fmla="*/ 9199792 w 10505529"/>
              <a:gd name="connsiteY35117" fmla="*/ 1553078 h 7458372"/>
              <a:gd name="connsiteX35118" fmla="*/ 9197529 w 10505529"/>
              <a:gd name="connsiteY35118" fmla="*/ 1564797 h 7458372"/>
              <a:gd name="connsiteX35119" fmla="*/ 9191405 w 10505529"/>
              <a:gd name="connsiteY35119" fmla="*/ 1574105 h 7458372"/>
              <a:gd name="connsiteX35120" fmla="*/ 9182088 w 10505529"/>
              <a:gd name="connsiteY35120" fmla="*/ 1580363 h 7458372"/>
              <a:gd name="connsiteX35121" fmla="*/ 9170374 w 10505529"/>
              <a:gd name="connsiteY35121" fmla="*/ 1582625 h 7458372"/>
              <a:gd name="connsiteX35122" fmla="*/ 9148541 w 10505529"/>
              <a:gd name="connsiteY35122" fmla="*/ 1574105 h 7458372"/>
              <a:gd name="connsiteX35123" fmla="*/ 9140155 w 10505529"/>
              <a:gd name="connsiteY35123" fmla="*/ 1552940 h 7458372"/>
              <a:gd name="connsiteX35124" fmla="*/ 9148541 w 10505529"/>
              <a:gd name="connsiteY35124" fmla="*/ 1531907 h 7458372"/>
              <a:gd name="connsiteX35125" fmla="*/ 9170374 w 10505529"/>
              <a:gd name="connsiteY35125" fmla="*/ 1523391 h 7458372"/>
              <a:gd name="connsiteX35126" fmla="*/ 8952728 w 10505529"/>
              <a:gd name="connsiteY35126" fmla="*/ 1523391 h 7458372"/>
              <a:gd name="connsiteX35127" fmla="*/ 8964442 w 10505529"/>
              <a:gd name="connsiteY35127" fmla="*/ 1525915 h 7458372"/>
              <a:gd name="connsiteX35128" fmla="*/ 8973760 w 10505529"/>
              <a:gd name="connsiteY35128" fmla="*/ 1532306 h 7458372"/>
              <a:gd name="connsiteX35129" fmla="*/ 8979884 w 10505529"/>
              <a:gd name="connsiteY35129" fmla="*/ 1541623 h 7458372"/>
              <a:gd name="connsiteX35130" fmla="*/ 8982147 w 10505529"/>
              <a:gd name="connsiteY35130" fmla="*/ 1553078 h 7458372"/>
              <a:gd name="connsiteX35131" fmla="*/ 8979884 w 10505529"/>
              <a:gd name="connsiteY35131" fmla="*/ 1564797 h 7458372"/>
              <a:gd name="connsiteX35132" fmla="*/ 8973760 w 10505529"/>
              <a:gd name="connsiteY35132" fmla="*/ 1574105 h 7458372"/>
              <a:gd name="connsiteX35133" fmla="*/ 8964442 w 10505529"/>
              <a:gd name="connsiteY35133" fmla="*/ 1580363 h 7458372"/>
              <a:gd name="connsiteX35134" fmla="*/ 8952728 w 10505529"/>
              <a:gd name="connsiteY35134" fmla="*/ 1582625 h 7458372"/>
              <a:gd name="connsiteX35135" fmla="*/ 8930896 w 10505529"/>
              <a:gd name="connsiteY35135" fmla="*/ 1574105 h 7458372"/>
              <a:gd name="connsiteX35136" fmla="*/ 8922510 w 10505529"/>
              <a:gd name="connsiteY35136" fmla="*/ 1552940 h 7458372"/>
              <a:gd name="connsiteX35137" fmla="*/ 8930896 w 10505529"/>
              <a:gd name="connsiteY35137" fmla="*/ 1531907 h 7458372"/>
              <a:gd name="connsiteX35138" fmla="*/ 8952728 w 10505529"/>
              <a:gd name="connsiteY35138" fmla="*/ 1523391 h 7458372"/>
              <a:gd name="connsiteX35139" fmla="*/ 8735083 w 10505529"/>
              <a:gd name="connsiteY35139" fmla="*/ 1523391 h 7458372"/>
              <a:gd name="connsiteX35140" fmla="*/ 8746797 w 10505529"/>
              <a:gd name="connsiteY35140" fmla="*/ 1525915 h 7458372"/>
              <a:gd name="connsiteX35141" fmla="*/ 8756115 w 10505529"/>
              <a:gd name="connsiteY35141" fmla="*/ 1532306 h 7458372"/>
              <a:gd name="connsiteX35142" fmla="*/ 8762238 w 10505529"/>
              <a:gd name="connsiteY35142" fmla="*/ 1541623 h 7458372"/>
              <a:gd name="connsiteX35143" fmla="*/ 8764502 w 10505529"/>
              <a:gd name="connsiteY35143" fmla="*/ 1553078 h 7458372"/>
              <a:gd name="connsiteX35144" fmla="*/ 8762238 w 10505529"/>
              <a:gd name="connsiteY35144" fmla="*/ 1564797 h 7458372"/>
              <a:gd name="connsiteX35145" fmla="*/ 8756115 w 10505529"/>
              <a:gd name="connsiteY35145" fmla="*/ 1574105 h 7458372"/>
              <a:gd name="connsiteX35146" fmla="*/ 8746797 w 10505529"/>
              <a:gd name="connsiteY35146" fmla="*/ 1580363 h 7458372"/>
              <a:gd name="connsiteX35147" fmla="*/ 8735083 w 10505529"/>
              <a:gd name="connsiteY35147" fmla="*/ 1582625 h 7458372"/>
              <a:gd name="connsiteX35148" fmla="*/ 8713250 w 10505529"/>
              <a:gd name="connsiteY35148" fmla="*/ 1574105 h 7458372"/>
              <a:gd name="connsiteX35149" fmla="*/ 8704864 w 10505529"/>
              <a:gd name="connsiteY35149" fmla="*/ 1552940 h 7458372"/>
              <a:gd name="connsiteX35150" fmla="*/ 8713250 w 10505529"/>
              <a:gd name="connsiteY35150" fmla="*/ 1531907 h 7458372"/>
              <a:gd name="connsiteX35151" fmla="*/ 8735083 w 10505529"/>
              <a:gd name="connsiteY35151" fmla="*/ 1523391 h 7458372"/>
              <a:gd name="connsiteX35152" fmla="*/ 8517438 w 10505529"/>
              <a:gd name="connsiteY35152" fmla="*/ 1523391 h 7458372"/>
              <a:gd name="connsiteX35153" fmla="*/ 8529152 w 10505529"/>
              <a:gd name="connsiteY35153" fmla="*/ 1525915 h 7458372"/>
              <a:gd name="connsiteX35154" fmla="*/ 8538470 w 10505529"/>
              <a:gd name="connsiteY35154" fmla="*/ 1532306 h 7458372"/>
              <a:gd name="connsiteX35155" fmla="*/ 8544594 w 10505529"/>
              <a:gd name="connsiteY35155" fmla="*/ 1541623 h 7458372"/>
              <a:gd name="connsiteX35156" fmla="*/ 8546857 w 10505529"/>
              <a:gd name="connsiteY35156" fmla="*/ 1553078 h 7458372"/>
              <a:gd name="connsiteX35157" fmla="*/ 8544594 w 10505529"/>
              <a:gd name="connsiteY35157" fmla="*/ 1564797 h 7458372"/>
              <a:gd name="connsiteX35158" fmla="*/ 8538470 w 10505529"/>
              <a:gd name="connsiteY35158" fmla="*/ 1574105 h 7458372"/>
              <a:gd name="connsiteX35159" fmla="*/ 8529152 w 10505529"/>
              <a:gd name="connsiteY35159" fmla="*/ 1580363 h 7458372"/>
              <a:gd name="connsiteX35160" fmla="*/ 8517438 w 10505529"/>
              <a:gd name="connsiteY35160" fmla="*/ 1582625 h 7458372"/>
              <a:gd name="connsiteX35161" fmla="*/ 8495606 w 10505529"/>
              <a:gd name="connsiteY35161" fmla="*/ 1574105 h 7458372"/>
              <a:gd name="connsiteX35162" fmla="*/ 8487220 w 10505529"/>
              <a:gd name="connsiteY35162" fmla="*/ 1552940 h 7458372"/>
              <a:gd name="connsiteX35163" fmla="*/ 8495606 w 10505529"/>
              <a:gd name="connsiteY35163" fmla="*/ 1531907 h 7458372"/>
              <a:gd name="connsiteX35164" fmla="*/ 8517438 w 10505529"/>
              <a:gd name="connsiteY35164" fmla="*/ 1523391 h 7458372"/>
              <a:gd name="connsiteX35165" fmla="*/ 8299793 w 10505529"/>
              <a:gd name="connsiteY35165" fmla="*/ 1523391 h 7458372"/>
              <a:gd name="connsiteX35166" fmla="*/ 8311507 w 10505529"/>
              <a:gd name="connsiteY35166" fmla="*/ 1525915 h 7458372"/>
              <a:gd name="connsiteX35167" fmla="*/ 8320825 w 10505529"/>
              <a:gd name="connsiteY35167" fmla="*/ 1532306 h 7458372"/>
              <a:gd name="connsiteX35168" fmla="*/ 8326948 w 10505529"/>
              <a:gd name="connsiteY35168" fmla="*/ 1541623 h 7458372"/>
              <a:gd name="connsiteX35169" fmla="*/ 8329212 w 10505529"/>
              <a:gd name="connsiteY35169" fmla="*/ 1553078 h 7458372"/>
              <a:gd name="connsiteX35170" fmla="*/ 8326948 w 10505529"/>
              <a:gd name="connsiteY35170" fmla="*/ 1564797 h 7458372"/>
              <a:gd name="connsiteX35171" fmla="*/ 8320825 w 10505529"/>
              <a:gd name="connsiteY35171" fmla="*/ 1574105 h 7458372"/>
              <a:gd name="connsiteX35172" fmla="*/ 8311507 w 10505529"/>
              <a:gd name="connsiteY35172" fmla="*/ 1580363 h 7458372"/>
              <a:gd name="connsiteX35173" fmla="*/ 8299793 w 10505529"/>
              <a:gd name="connsiteY35173" fmla="*/ 1582625 h 7458372"/>
              <a:gd name="connsiteX35174" fmla="*/ 8277960 w 10505529"/>
              <a:gd name="connsiteY35174" fmla="*/ 1574105 h 7458372"/>
              <a:gd name="connsiteX35175" fmla="*/ 8269574 w 10505529"/>
              <a:gd name="connsiteY35175" fmla="*/ 1552940 h 7458372"/>
              <a:gd name="connsiteX35176" fmla="*/ 8277960 w 10505529"/>
              <a:gd name="connsiteY35176" fmla="*/ 1531907 h 7458372"/>
              <a:gd name="connsiteX35177" fmla="*/ 8299793 w 10505529"/>
              <a:gd name="connsiteY35177" fmla="*/ 1523391 h 7458372"/>
              <a:gd name="connsiteX35178" fmla="*/ 8082281 w 10505529"/>
              <a:gd name="connsiteY35178" fmla="*/ 1523391 h 7458372"/>
              <a:gd name="connsiteX35179" fmla="*/ 8094127 w 10505529"/>
              <a:gd name="connsiteY35179" fmla="*/ 1525915 h 7458372"/>
              <a:gd name="connsiteX35180" fmla="*/ 8103446 w 10505529"/>
              <a:gd name="connsiteY35180" fmla="*/ 1532306 h 7458372"/>
              <a:gd name="connsiteX35181" fmla="*/ 8109569 w 10505529"/>
              <a:gd name="connsiteY35181" fmla="*/ 1541623 h 7458372"/>
              <a:gd name="connsiteX35182" fmla="*/ 8111832 w 10505529"/>
              <a:gd name="connsiteY35182" fmla="*/ 1553078 h 7458372"/>
              <a:gd name="connsiteX35183" fmla="*/ 8109569 w 10505529"/>
              <a:gd name="connsiteY35183" fmla="*/ 1564797 h 7458372"/>
              <a:gd name="connsiteX35184" fmla="*/ 8103446 w 10505529"/>
              <a:gd name="connsiteY35184" fmla="*/ 1574105 h 7458372"/>
              <a:gd name="connsiteX35185" fmla="*/ 8094127 w 10505529"/>
              <a:gd name="connsiteY35185" fmla="*/ 1580363 h 7458372"/>
              <a:gd name="connsiteX35186" fmla="*/ 8082281 w 10505529"/>
              <a:gd name="connsiteY35186" fmla="*/ 1582625 h 7458372"/>
              <a:gd name="connsiteX35187" fmla="*/ 8060448 w 10505529"/>
              <a:gd name="connsiteY35187" fmla="*/ 1574105 h 7458372"/>
              <a:gd name="connsiteX35188" fmla="*/ 8052062 w 10505529"/>
              <a:gd name="connsiteY35188" fmla="*/ 1552940 h 7458372"/>
              <a:gd name="connsiteX35189" fmla="*/ 8060448 w 10505529"/>
              <a:gd name="connsiteY35189" fmla="*/ 1531907 h 7458372"/>
              <a:gd name="connsiteX35190" fmla="*/ 8082281 w 10505529"/>
              <a:gd name="connsiteY35190" fmla="*/ 1523391 h 7458372"/>
              <a:gd name="connsiteX35191" fmla="*/ 7864636 w 10505529"/>
              <a:gd name="connsiteY35191" fmla="*/ 1523391 h 7458372"/>
              <a:gd name="connsiteX35192" fmla="*/ 7876483 w 10505529"/>
              <a:gd name="connsiteY35192" fmla="*/ 1525915 h 7458372"/>
              <a:gd name="connsiteX35193" fmla="*/ 7885802 w 10505529"/>
              <a:gd name="connsiteY35193" fmla="*/ 1532306 h 7458372"/>
              <a:gd name="connsiteX35194" fmla="*/ 7891924 w 10505529"/>
              <a:gd name="connsiteY35194" fmla="*/ 1541623 h 7458372"/>
              <a:gd name="connsiteX35195" fmla="*/ 7894188 w 10505529"/>
              <a:gd name="connsiteY35195" fmla="*/ 1553078 h 7458372"/>
              <a:gd name="connsiteX35196" fmla="*/ 7891924 w 10505529"/>
              <a:gd name="connsiteY35196" fmla="*/ 1564797 h 7458372"/>
              <a:gd name="connsiteX35197" fmla="*/ 7885802 w 10505529"/>
              <a:gd name="connsiteY35197" fmla="*/ 1574105 h 7458372"/>
              <a:gd name="connsiteX35198" fmla="*/ 7876483 w 10505529"/>
              <a:gd name="connsiteY35198" fmla="*/ 1580363 h 7458372"/>
              <a:gd name="connsiteX35199" fmla="*/ 7864636 w 10505529"/>
              <a:gd name="connsiteY35199" fmla="*/ 1582625 h 7458372"/>
              <a:gd name="connsiteX35200" fmla="*/ 7842803 w 10505529"/>
              <a:gd name="connsiteY35200" fmla="*/ 1574105 h 7458372"/>
              <a:gd name="connsiteX35201" fmla="*/ 7834417 w 10505529"/>
              <a:gd name="connsiteY35201" fmla="*/ 1552940 h 7458372"/>
              <a:gd name="connsiteX35202" fmla="*/ 7842803 w 10505529"/>
              <a:gd name="connsiteY35202" fmla="*/ 1531907 h 7458372"/>
              <a:gd name="connsiteX35203" fmla="*/ 7864636 w 10505529"/>
              <a:gd name="connsiteY35203" fmla="*/ 1523391 h 7458372"/>
              <a:gd name="connsiteX35204" fmla="*/ 7646991 w 10505529"/>
              <a:gd name="connsiteY35204" fmla="*/ 1523391 h 7458372"/>
              <a:gd name="connsiteX35205" fmla="*/ 7658705 w 10505529"/>
              <a:gd name="connsiteY35205" fmla="*/ 1525915 h 7458372"/>
              <a:gd name="connsiteX35206" fmla="*/ 7668022 w 10505529"/>
              <a:gd name="connsiteY35206" fmla="*/ 1532306 h 7458372"/>
              <a:gd name="connsiteX35207" fmla="*/ 7674146 w 10505529"/>
              <a:gd name="connsiteY35207" fmla="*/ 1541623 h 7458372"/>
              <a:gd name="connsiteX35208" fmla="*/ 7676409 w 10505529"/>
              <a:gd name="connsiteY35208" fmla="*/ 1553078 h 7458372"/>
              <a:gd name="connsiteX35209" fmla="*/ 7674146 w 10505529"/>
              <a:gd name="connsiteY35209" fmla="*/ 1564797 h 7458372"/>
              <a:gd name="connsiteX35210" fmla="*/ 7668022 w 10505529"/>
              <a:gd name="connsiteY35210" fmla="*/ 1574105 h 7458372"/>
              <a:gd name="connsiteX35211" fmla="*/ 7658705 w 10505529"/>
              <a:gd name="connsiteY35211" fmla="*/ 1580363 h 7458372"/>
              <a:gd name="connsiteX35212" fmla="*/ 7646991 w 10505529"/>
              <a:gd name="connsiteY35212" fmla="*/ 1582625 h 7458372"/>
              <a:gd name="connsiteX35213" fmla="*/ 7625158 w 10505529"/>
              <a:gd name="connsiteY35213" fmla="*/ 1574105 h 7458372"/>
              <a:gd name="connsiteX35214" fmla="*/ 7616772 w 10505529"/>
              <a:gd name="connsiteY35214" fmla="*/ 1552940 h 7458372"/>
              <a:gd name="connsiteX35215" fmla="*/ 7625158 w 10505529"/>
              <a:gd name="connsiteY35215" fmla="*/ 1531907 h 7458372"/>
              <a:gd name="connsiteX35216" fmla="*/ 7646991 w 10505529"/>
              <a:gd name="connsiteY35216" fmla="*/ 1523391 h 7458372"/>
              <a:gd name="connsiteX35217" fmla="*/ 7429345 w 10505529"/>
              <a:gd name="connsiteY35217" fmla="*/ 1523391 h 7458372"/>
              <a:gd name="connsiteX35218" fmla="*/ 7441059 w 10505529"/>
              <a:gd name="connsiteY35218" fmla="*/ 1525915 h 7458372"/>
              <a:gd name="connsiteX35219" fmla="*/ 7450377 w 10505529"/>
              <a:gd name="connsiteY35219" fmla="*/ 1532306 h 7458372"/>
              <a:gd name="connsiteX35220" fmla="*/ 7456501 w 10505529"/>
              <a:gd name="connsiteY35220" fmla="*/ 1541623 h 7458372"/>
              <a:gd name="connsiteX35221" fmla="*/ 7458764 w 10505529"/>
              <a:gd name="connsiteY35221" fmla="*/ 1553078 h 7458372"/>
              <a:gd name="connsiteX35222" fmla="*/ 7456501 w 10505529"/>
              <a:gd name="connsiteY35222" fmla="*/ 1564797 h 7458372"/>
              <a:gd name="connsiteX35223" fmla="*/ 7450377 w 10505529"/>
              <a:gd name="connsiteY35223" fmla="*/ 1574105 h 7458372"/>
              <a:gd name="connsiteX35224" fmla="*/ 7441059 w 10505529"/>
              <a:gd name="connsiteY35224" fmla="*/ 1580363 h 7458372"/>
              <a:gd name="connsiteX35225" fmla="*/ 7429345 w 10505529"/>
              <a:gd name="connsiteY35225" fmla="*/ 1582625 h 7458372"/>
              <a:gd name="connsiteX35226" fmla="*/ 7407513 w 10505529"/>
              <a:gd name="connsiteY35226" fmla="*/ 1574105 h 7458372"/>
              <a:gd name="connsiteX35227" fmla="*/ 7399127 w 10505529"/>
              <a:gd name="connsiteY35227" fmla="*/ 1552940 h 7458372"/>
              <a:gd name="connsiteX35228" fmla="*/ 7407513 w 10505529"/>
              <a:gd name="connsiteY35228" fmla="*/ 1531907 h 7458372"/>
              <a:gd name="connsiteX35229" fmla="*/ 7429345 w 10505529"/>
              <a:gd name="connsiteY35229" fmla="*/ 1523391 h 7458372"/>
              <a:gd name="connsiteX35230" fmla="*/ 7211701 w 10505529"/>
              <a:gd name="connsiteY35230" fmla="*/ 1523391 h 7458372"/>
              <a:gd name="connsiteX35231" fmla="*/ 7223415 w 10505529"/>
              <a:gd name="connsiteY35231" fmla="*/ 1525915 h 7458372"/>
              <a:gd name="connsiteX35232" fmla="*/ 7232733 w 10505529"/>
              <a:gd name="connsiteY35232" fmla="*/ 1532306 h 7458372"/>
              <a:gd name="connsiteX35233" fmla="*/ 7238856 w 10505529"/>
              <a:gd name="connsiteY35233" fmla="*/ 1541623 h 7458372"/>
              <a:gd name="connsiteX35234" fmla="*/ 7241120 w 10505529"/>
              <a:gd name="connsiteY35234" fmla="*/ 1553078 h 7458372"/>
              <a:gd name="connsiteX35235" fmla="*/ 7238856 w 10505529"/>
              <a:gd name="connsiteY35235" fmla="*/ 1564797 h 7458372"/>
              <a:gd name="connsiteX35236" fmla="*/ 7232733 w 10505529"/>
              <a:gd name="connsiteY35236" fmla="*/ 1574105 h 7458372"/>
              <a:gd name="connsiteX35237" fmla="*/ 7223415 w 10505529"/>
              <a:gd name="connsiteY35237" fmla="*/ 1580363 h 7458372"/>
              <a:gd name="connsiteX35238" fmla="*/ 7211701 w 10505529"/>
              <a:gd name="connsiteY35238" fmla="*/ 1582625 h 7458372"/>
              <a:gd name="connsiteX35239" fmla="*/ 7189868 w 10505529"/>
              <a:gd name="connsiteY35239" fmla="*/ 1574105 h 7458372"/>
              <a:gd name="connsiteX35240" fmla="*/ 7181482 w 10505529"/>
              <a:gd name="connsiteY35240" fmla="*/ 1552940 h 7458372"/>
              <a:gd name="connsiteX35241" fmla="*/ 7189868 w 10505529"/>
              <a:gd name="connsiteY35241" fmla="*/ 1531907 h 7458372"/>
              <a:gd name="connsiteX35242" fmla="*/ 7211701 w 10505529"/>
              <a:gd name="connsiteY35242" fmla="*/ 1523391 h 7458372"/>
              <a:gd name="connsiteX35243" fmla="*/ 6994056 w 10505529"/>
              <a:gd name="connsiteY35243" fmla="*/ 1523391 h 7458372"/>
              <a:gd name="connsiteX35244" fmla="*/ 7005769 w 10505529"/>
              <a:gd name="connsiteY35244" fmla="*/ 1525915 h 7458372"/>
              <a:gd name="connsiteX35245" fmla="*/ 7015087 w 10505529"/>
              <a:gd name="connsiteY35245" fmla="*/ 1532306 h 7458372"/>
              <a:gd name="connsiteX35246" fmla="*/ 7021211 w 10505529"/>
              <a:gd name="connsiteY35246" fmla="*/ 1541623 h 7458372"/>
              <a:gd name="connsiteX35247" fmla="*/ 7023474 w 10505529"/>
              <a:gd name="connsiteY35247" fmla="*/ 1553078 h 7458372"/>
              <a:gd name="connsiteX35248" fmla="*/ 7021211 w 10505529"/>
              <a:gd name="connsiteY35248" fmla="*/ 1564797 h 7458372"/>
              <a:gd name="connsiteX35249" fmla="*/ 7015087 w 10505529"/>
              <a:gd name="connsiteY35249" fmla="*/ 1574105 h 7458372"/>
              <a:gd name="connsiteX35250" fmla="*/ 7005769 w 10505529"/>
              <a:gd name="connsiteY35250" fmla="*/ 1580363 h 7458372"/>
              <a:gd name="connsiteX35251" fmla="*/ 6994056 w 10505529"/>
              <a:gd name="connsiteY35251" fmla="*/ 1582625 h 7458372"/>
              <a:gd name="connsiteX35252" fmla="*/ 6972223 w 10505529"/>
              <a:gd name="connsiteY35252" fmla="*/ 1574105 h 7458372"/>
              <a:gd name="connsiteX35253" fmla="*/ 6963837 w 10505529"/>
              <a:gd name="connsiteY35253" fmla="*/ 1552940 h 7458372"/>
              <a:gd name="connsiteX35254" fmla="*/ 6972223 w 10505529"/>
              <a:gd name="connsiteY35254" fmla="*/ 1531907 h 7458372"/>
              <a:gd name="connsiteX35255" fmla="*/ 6994056 w 10505529"/>
              <a:gd name="connsiteY35255" fmla="*/ 1523391 h 7458372"/>
              <a:gd name="connsiteX35256" fmla="*/ 6776544 w 10505529"/>
              <a:gd name="connsiteY35256" fmla="*/ 1523391 h 7458372"/>
              <a:gd name="connsiteX35257" fmla="*/ 6788258 w 10505529"/>
              <a:gd name="connsiteY35257" fmla="*/ 1525915 h 7458372"/>
              <a:gd name="connsiteX35258" fmla="*/ 6797576 w 10505529"/>
              <a:gd name="connsiteY35258" fmla="*/ 1532306 h 7458372"/>
              <a:gd name="connsiteX35259" fmla="*/ 6803699 w 10505529"/>
              <a:gd name="connsiteY35259" fmla="*/ 1541623 h 7458372"/>
              <a:gd name="connsiteX35260" fmla="*/ 6805963 w 10505529"/>
              <a:gd name="connsiteY35260" fmla="*/ 1553078 h 7458372"/>
              <a:gd name="connsiteX35261" fmla="*/ 6803699 w 10505529"/>
              <a:gd name="connsiteY35261" fmla="*/ 1564797 h 7458372"/>
              <a:gd name="connsiteX35262" fmla="*/ 6797576 w 10505529"/>
              <a:gd name="connsiteY35262" fmla="*/ 1574105 h 7458372"/>
              <a:gd name="connsiteX35263" fmla="*/ 6788258 w 10505529"/>
              <a:gd name="connsiteY35263" fmla="*/ 1580363 h 7458372"/>
              <a:gd name="connsiteX35264" fmla="*/ 6776544 w 10505529"/>
              <a:gd name="connsiteY35264" fmla="*/ 1582625 h 7458372"/>
              <a:gd name="connsiteX35265" fmla="*/ 6754711 w 10505529"/>
              <a:gd name="connsiteY35265" fmla="*/ 1574105 h 7458372"/>
              <a:gd name="connsiteX35266" fmla="*/ 6746325 w 10505529"/>
              <a:gd name="connsiteY35266" fmla="*/ 1552940 h 7458372"/>
              <a:gd name="connsiteX35267" fmla="*/ 6754711 w 10505529"/>
              <a:gd name="connsiteY35267" fmla="*/ 1531907 h 7458372"/>
              <a:gd name="connsiteX35268" fmla="*/ 6776544 w 10505529"/>
              <a:gd name="connsiteY35268" fmla="*/ 1523391 h 7458372"/>
              <a:gd name="connsiteX35269" fmla="*/ 6558899 w 10505529"/>
              <a:gd name="connsiteY35269" fmla="*/ 1523391 h 7458372"/>
              <a:gd name="connsiteX35270" fmla="*/ 6570612 w 10505529"/>
              <a:gd name="connsiteY35270" fmla="*/ 1525915 h 7458372"/>
              <a:gd name="connsiteX35271" fmla="*/ 6579930 w 10505529"/>
              <a:gd name="connsiteY35271" fmla="*/ 1532306 h 7458372"/>
              <a:gd name="connsiteX35272" fmla="*/ 6586054 w 10505529"/>
              <a:gd name="connsiteY35272" fmla="*/ 1541623 h 7458372"/>
              <a:gd name="connsiteX35273" fmla="*/ 6588317 w 10505529"/>
              <a:gd name="connsiteY35273" fmla="*/ 1553078 h 7458372"/>
              <a:gd name="connsiteX35274" fmla="*/ 6586054 w 10505529"/>
              <a:gd name="connsiteY35274" fmla="*/ 1564797 h 7458372"/>
              <a:gd name="connsiteX35275" fmla="*/ 6579930 w 10505529"/>
              <a:gd name="connsiteY35275" fmla="*/ 1574105 h 7458372"/>
              <a:gd name="connsiteX35276" fmla="*/ 6570612 w 10505529"/>
              <a:gd name="connsiteY35276" fmla="*/ 1580363 h 7458372"/>
              <a:gd name="connsiteX35277" fmla="*/ 6558899 w 10505529"/>
              <a:gd name="connsiteY35277" fmla="*/ 1582625 h 7458372"/>
              <a:gd name="connsiteX35278" fmla="*/ 6537066 w 10505529"/>
              <a:gd name="connsiteY35278" fmla="*/ 1574105 h 7458372"/>
              <a:gd name="connsiteX35279" fmla="*/ 6528680 w 10505529"/>
              <a:gd name="connsiteY35279" fmla="*/ 1552940 h 7458372"/>
              <a:gd name="connsiteX35280" fmla="*/ 6537066 w 10505529"/>
              <a:gd name="connsiteY35280" fmla="*/ 1531907 h 7458372"/>
              <a:gd name="connsiteX35281" fmla="*/ 6558899 w 10505529"/>
              <a:gd name="connsiteY35281" fmla="*/ 1523391 h 7458372"/>
              <a:gd name="connsiteX35282" fmla="*/ 6341253 w 10505529"/>
              <a:gd name="connsiteY35282" fmla="*/ 1523391 h 7458372"/>
              <a:gd name="connsiteX35283" fmla="*/ 6352968 w 10505529"/>
              <a:gd name="connsiteY35283" fmla="*/ 1525915 h 7458372"/>
              <a:gd name="connsiteX35284" fmla="*/ 6362286 w 10505529"/>
              <a:gd name="connsiteY35284" fmla="*/ 1532306 h 7458372"/>
              <a:gd name="connsiteX35285" fmla="*/ 6368409 w 10505529"/>
              <a:gd name="connsiteY35285" fmla="*/ 1541623 h 7458372"/>
              <a:gd name="connsiteX35286" fmla="*/ 6370672 w 10505529"/>
              <a:gd name="connsiteY35286" fmla="*/ 1553078 h 7458372"/>
              <a:gd name="connsiteX35287" fmla="*/ 6368409 w 10505529"/>
              <a:gd name="connsiteY35287" fmla="*/ 1564797 h 7458372"/>
              <a:gd name="connsiteX35288" fmla="*/ 6362286 w 10505529"/>
              <a:gd name="connsiteY35288" fmla="*/ 1574105 h 7458372"/>
              <a:gd name="connsiteX35289" fmla="*/ 6352968 w 10505529"/>
              <a:gd name="connsiteY35289" fmla="*/ 1580363 h 7458372"/>
              <a:gd name="connsiteX35290" fmla="*/ 6341253 w 10505529"/>
              <a:gd name="connsiteY35290" fmla="*/ 1582625 h 7458372"/>
              <a:gd name="connsiteX35291" fmla="*/ 6319421 w 10505529"/>
              <a:gd name="connsiteY35291" fmla="*/ 1574105 h 7458372"/>
              <a:gd name="connsiteX35292" fmla="*/ 6311035 w 10505529"/>
              <a:gd name="connsiteY35292" fmla="*/ 1552940 h 7458372"/>
              <a:gd name="connsiteX35293" fmla="*/ 6319421 w 10505529"/>
              <a:gd name="connsiteY35293" fmla="*/ 1531907 h 7458372"/>
              <a:gd name="connsiteX35294" fmla="*/ 6341253 w 10505529"/>
              <a:gd name="connsiteY35294" fmla="*/ 1523391 h 7458372"/>
              <a:gd name="connsiteX35295" fmla="*/ 6123608 w 10505529"/>
              <a:gd name="connsiteY35295" fmla="*/ 1523391 h 7458372"/>
              <a:gd name="connsiteX35296" fmla="*/ 6135322 w 10505529"/>
              <a:gd name="connsiteY35296" fmla="*/ 1525915 h 7458372"/>
              <a:gd name="connsiteX35297" fmla="*/ 6144640 w 10505529"/>
              <a:gd name="connsiteY35297" fmla="*/ 1532306 h 7458372"/>
              <a:gd name="connsiteX35298" fmla="*/ 6150763 w 10505529"/>
              <a:gd name="connsiteY35298" fmla="*/ 1541623 h 7458372"/>
              <a:gd name="connsiteX35299" fmla="*/ 6153026 w 10505529"/>
              <a:gd name="connsiteY35299" fmla="*/ 1553078 h 7458372"/>
              <a:gd name="connsiteX35300" fmla="*/ 6150763 w 10505529"/>
              <a:gd name="connsiteY35300" fmla="*/ 1564797 h 7458372"/>
              <a:gd name="connsiteX35301" fmla="*/ 6144640 w 10505529"/>
              <a:gd name="connsiteY35301" fmla="*/ 1574105 h 7458372"/>
              <a:gd name="connsiteX35302" fmla="*/ 6135322 w 10505529"/>
              <a:gd name="connsiteY35302" fmla="*/ 1580363 h 7458372"/>
              <a:gd name="connsiteX35303" fmla="*/ 6123608 w 10505529"/>
              <a:gd name="connsiteY35303" fmla="*/ 1582625 h 7458372"/>
              <a:gd name="connsiteX35304" fmla="*/ 6101775 w 10505529"/>
              <a:gd name="connsiteY35304" fmla="*/ 1574105 h 7458372"/>
              <a:gd name="connsiteX35305" fmla="*/ 6093389 w 10505529"/>
              <a:gd name="connsiteY35305" fmla="*/ 1552940 h 7458372"/>
              <a:gd name="connsiteX35306" fmla="*/ 6101775 w 10505529"/>
              <a:gd name="connsiteY35306" fmla="*/ 1531907 h 7458372"/>
              <a:gd name="connsiteX35307" fmla="*/ 6123608 w 10505529"/>
              <a:gd name="connsiteY35307" fmla="*/ 1523391 h 7458372"/>
              <a:gd name="connsiteX35308" fmla="*/ 5905963 w 10505529"/>
              <a:gd name="connsiteY35308" fmla="*/ 1523391 h 7458372"/>
              <a:gd name="connsiteX35309" fmla="*/ 5917677 w 10505529"/>
              <a:gd name="connsiteY35309" fmla="*/ 1525915 h 7458372"/>
              <a:gd name="connsiteX35310" fmla="*/ 5926995 w 10505529"/>
              <a:gd name="connsiteY35310" fmla="*/ 1532306 h 7458372"/>
              <a:gd name="connsiteX35311" fmla="*/ 5933118 w 10505529"/>
              <a:gd name="connsiteY35311" fmla="*/ 1541623 h 7458372"/>
              <a:gd name="connsiteX35312" fmla="*/ 5935381 w 10505529"/>
              <a:gd name="connsiteY35312" fmla="*/ 1553078 h 7458372"/>
              <a:gd name="connsiteX35313" fmla="*/ 5933118 w 10505529"/>
              <a:gd name="connsiteY35313" fmla="*/ 1564797 h 7458372"/>
              <a:gd name="connsiteX35314" fmla="*/ 5926995 w 10505529"/>
              <a:gd name="connsiteY35314" fmla="*/ 1574105 h 7458372"/>
              <a:gd name="connsiteX35315" fmla="*/ 5917677 w 10505529"/>
              <a:gd name="connsiteY35315" fmla="*/ 1580363 h 7458372"/>
              <a:gd name="connsiteX35316" fmla="*/ 5905963 w 10505529"/>
              <a:gd name="connsiteY35316" fmla="*/ 1582625 h 7458372"/>
              <a:gd name="connsiteX35317" fmla="*/ 5884130 w 10505529"/>
              <a:gd name="connsiteY35317" fmla="*/ 1574105 h 7458372"/>
              <a:gd name="connsiteX35318" fmla="*/ 5875744 w 10505529"/>
              <a:gd name="connsiteY35318" fmla="*/ 1552940 h 7458372"/>
              <a:gd name="connsiteX35319" fmla="*/ 5884130 w 10505529"/>
              <a:gd name="connsiteY35319" fmla="*/ 1531907 h 7458372"/>
              <a:gd name="connsiteX35320" fmla="*/ 5905963 w 10505529"/>
              <a:gd name="connsiteY35320" fmla="*/ 1523391 h 7458372"/>
              <a:gd name="connsiteX35321" fmla="*/ 5688451 w 10505529"/>
              <a:gd name="connsiteY35321" fmla="*/ 1523391 h 7458372"/>
              <a:gd name="connsiteX35322" fmla="*/ 5700165 w 10505529"/>
              <a:gd name="connsiteY35322" fmla="*/ 1525915 h 7458372"/>
              <a:gd name="connsiteX35323" fmla="*/ 5709483 w 10505529"/>
              <a:gd name="connsiteY35323" fmla="*/ 1532306 h 7458372"/>
              <a:gd name="connsiteX35324" fmla="*/ 5715606 w 10505529"/>
              <a:gd name="connsiteY35324" fmla="*/ 1541623 h 7458372"/>
              <a:gd name="connsiteX35325" fmla="*/ 5717869 w 10505529"/>
              <a:gd name="connsiteY35325" fmla="*/ 1553078 h 7458372"/>
              <a:gd name="connsiteX35326" fmla="*/ 5715606 w 10505529"/>
              <a:gd name="connsiteY35326" fmla="*/ 1564797 h 7458372"/>
              <a:gd name="connsiteX35327" fmla="*/ 5709483 w 10505529"/>
              <a:gd name="connsiteY35327" fmla="*/ 1574105 h 7458372"/>
              <a:gd name="connsiteX35328" fmla="*/ 5700165 w 10505529"/>
              <a:gd name="connsiteY35328" fmla="*/ 1580363 h 7458372"/>
              <a:gd name="connsiteX35329" fmla="*/ 5688451 w 10505529"/>
              <a:gd name="connsiteY35329" fmla="*/ 1582625 h 7458372"/>
              <a:gd name="connsiteX35330" fmla="*/ 5666618 w 10505529"/>
              <a:gd name="connsiteY35330" fmla="*/ 1574105 h 7458372"/>
              <a:gd name="connsiteX35331" fmla="*/ 5658232 w 10505529"/>
              <a:gd name="connsiteY35331" fmla="*/ 1552940 h 7458372"/>
              <a:gd name="connsiteX35332" fmla="*/ 5666618 w 10505529"/>
              <a:gd name="connsiteY35332" fmla="*/ 1531907 h 7458372"/>
              <a:gd name="connsiteX35333" fmla="*/ 5688451 w 10505529"/>
              <a:gd name="connsiteY35333" fmla="*/ 1523391 h 7458372"/>
              <a:gd name="connsiteX35334" fmla="*/ 5470806 w 10505529"/>
              <a:gd name="connsiteY35334" fmla="*/ 1523391 h 7458372"/>
              <a:gd name="connsiteX35335" fmla="*/ 5482520 w 10505529"/>
              <a:gd name="connsiteY35335" fmla="*/ 1525915 h 7458372"/>
              <a:gd name="connsiteX35336" fmla="*/ 5491838 w 10505529"/>
              <a:gd name="connsiteY35336" fmla="*/ 1532306 h 7458372"/>
              <a:gd name="connsiteX35337" fmla="*/ 5497961 w 10505529"/>
              <a:gd name="connsiteY35337" fmla="*/ 1541623 h 7458372"/>
              <a:gd name="connsiteX35338" fmla="*/ 5500224 w 10505529"/>
              <a:gd name="connsiteY35338" fmla="*/ 1553078 h 7458372"/>
              <a:gd name="connsiteX35339" fmla="*/ 5497961 w 10505529"/>
              <a:gd name="connsiteY35339" fmla="*/ 1564797 h 7458372"/>
              <a:gd name="connsiteX35340" fmla="*/ 5491838 w 10505529"/>
              <a:gd name="connsiteY35340" fmla="*/ 1574105 h 7458372"/>
              <a:gd name="connsiteX35341" fmla="*/ 5482520 w 10505529"/>
              <a:gd name="connsiteY35341" fmla="*/ 1580363 h 7458372"/>
              <a:gd name="connsiteX35342" fmla="*/ 5470806 w 10505529"/>
              <a:gd name="connsiteY35342" fmla="*/ 1582625 h 7458372"/>
              <a:gd name="connsiteX35343" fmla="*/ 5448973 w 10505529"/>
              <a:gd name="connsiteY35343" fmla="*/ 1574105 h 7458372"/>
              <a:gd name="connsiteX35344" fmla="*/ 5440587 w 10505529"/>
              <a:gd name="connsiteY35344" fmla="*/ 1552940 h 7458372"/>
              <a:gd name="connsiteX35345" fmla="*/ 5448973 w 10505529"/>
              <a:gd name="connsiteY35345" fmla="*/ 1531907 h 7458372"/>
              <a:gd name="connsiteX35346" fmla="*/ 5470806 w 10505529"/>
              <a:gd name="connsiteY35346" fmla="*/ 1523391 h 7458372"/>
              <a:gd name="connsiteX35347" fmla="*/ 5253160 w 10505529"/>
              <a:gd name="connsiteY35347" fmla="*/ 1523391 h 7458372"/>
              <a:gd name="connsiteX35348" fmla="*/ 5264875 w 10505529"/>
              <a:gd name="connsiteY35348" fmla="*/ 1525915 h 7458372"/>
              <a:gd name="connsiteX35349" fmla="*/ 5274192 w 10505529"/>
              <a:gd name="connsiteY35349" fmla="*/ 1532306 h 7458372"/>
              <a:gd name="connsiteX35350" fmla="*/ 5280316 w 10505529"/>
              <a:gd name="connsiteY35350" fmla="*/ 1541623 h 7458372"/>
              <a:gd name="connsiteX35351" fmla="*/ 5282579 w 10505529"/>
              <a:gd name="connsiteY35351" fmla="*/ 1553078 h 7458372"/>
              <a:gd name="connsiteX35352" fmla="*/ 5280316 w 10505529"/>
              <a:gd name="connsiteY35352" fmla="*/ 1564797 h 7458372"/>
              <a:gd name="connsiteX35353" fmla="*/ 5274192 w 10505529"/>
              <a:gd name="connsiteY35353" fmla="*/ 1574105 h 7458372"/>
              <a:gd name="connsiteX35354" fmla="*/ 5264875 w 10505529"/>
              <a:gd name="connsiteY35354" fmla="*/ 1580363 h 7458372"/>
              <a:gd name="connsiteX35355" fmla="*/ 5253160 w 10505529"/>
              <a:gd name="connsiteY35355" fmla="*/ 1582625 h 7458372"/>
              <a:gd name="connsiteX35356" fmla="*/ 5231328 w 10505529"/>
              <a:gd name="connsiteY35356" fmla="*/ 1574105 h 7458372"/>
              <a:gd name="connsiteX35357" fmla="*/ 5222942 w 10505529"/>
              <a:gd name="connsiteY35357" fmla="*/ 1552940 h 7458372"/>
              <a:gd name="connsiteX35358" fmla="*/ 5231328 w 10505529"/>
              <a:gd name="connsiteY35358" fmla="*/ 1531907 h 7458372"/>
              <a:gd name="connsiteX35359" fmla="*/ 5253160 w 10505529"/>
              <a:gd name="connsiteY35359" fmla="*/ 1523391 h 7458372"/>
              <a:gd name="connsiteX35360" fmla="*/ 5035515 w 10505529"/>
              <a:gd name="connsiteY35360" fmla="*/ 1523391 h 7458372"/>
              <a:gd name="connsiteX35361" fmla="*/ 5047230 w 10505529"/>
              <a:gd name="connsiteY35361" fmla="*/ 1525915 h 7458372"/>
              <a:gd name="connsiteX35362" fmla="*/ 5056548 w 10505529"/>
              <a:gd name="connsiteY35362" fmla="*/ 1532306 h 7458372"/>
              <a:gd name="connsiteX35363" fmla="*/ 5062671 w 10505529"/>
              <a:gd name="connsiteY35363" fmla="*/ 1541623 h 7458372"/>
              <a:gd name="connsiteX35364" fmla="*/ 5064934 w 10505529"/>
              <a:gd name="connsiteY35364" fmla="*/ 1553078 h 7458372"/>
              <a:gd name="connsiteX35365" fmla="*/ 5062671 w 10505529"/>
              <a:gd name="connsiteY35365" fmla="*/ 1564797 h 7458372"/>
              <a:gd name="connsiteX35366" fmla="*/ 5056548 w 10505529"/>
              <a:gd name="connsiteY35366" fmla="*/ 1574105 h 7458372"/>
              <a:gd name="connsiteX35367" fmla="*/ 5047230 w 10505529"/>
              <a:gd name="connsiteY35367" fmla="*/ 1580363 h 7458372"/>
              <a:gd name="connsiteX35368" fmla="*/ 5035515 w 10505529"/>
              <a:gd name="connsiteY35368" fmla="*/ 1582625 h 7458372"/>
              <a:gd name="connsiteX35369" fmla="*/ 5013683 w 10505529"/>
              <a:gd name="connsiteY35369" fmla="*/ 1574105 h 7458372"/>
              <a:gd name="connsiteX35370" fmla="*/ 5005297 w 10505529"/>
              <a:gd name="connsiteY35370" fmla="*/ 1552940 h 7458372"/>
              <a:gd name="connsiteX35371" fmla="*/ 5013683 w 10505529"/>
              <a:gd name="connsiteY35371" fmla="*/ 1531907 h 7458372"/>
              <a:gd name="connsiteX35372" fmla="*/ 5035515 w 10505529"/>
              <a:gd name="connsiteY35372" fmla="*/ 1523391 h 7458372"/>
              <a:gd name="connsiteX35373" fmla="*/ 4817870 w 10505529"/>
              <a:gd name="connsiteY35373" fmla="*/ 1523391 h 7458372"/>
              <a:gd name="connsiteX35374" fmla="*/ 4829585 w 10505529"/>
              <a:gd name="connsiteY35374" fmla="*/ 1525915 h 7458372"/>
              <a:gd name="connsiteX35375" fmla="*/ 4838903 w 10505529"/>
              <a:gd name="connsiteY35375" fmla="*/ 1532306 h 7458372"/>
              <a:gd name="connsiteX35376" fmla="*/ 4845026 w 10505529"/>
              <a:gd name="connsiteY35376" fmla="*/ 1541623 h 7458372"/>
              <a:gd name="connsiteX35377" fmla="*/ 4847289 w 10505529"/>
              <a:gd name="connsiteY35377" fmla="*/ 1553078 h 7458372"/>
              <a:gd name="connsiteX35378" fmla="*/ 4845026 w 10505529"/>
              <a:gd name="connsiteY35378" fmla="*/ 1564797 h 7458372"/>
              <a:gd name="connsiteX35379" fmla="*/ 4838903 w 10505529"/>
              <a:gd name="connsiteY35379" fmla="*/ 1574105 h 7458372"/>
              <a:gd name="connsiteX35380" fmla="*/ 4829585 w 10505529"/>
              <a:gd name="connsiteY35380" fmla="*/ 1580363 h 7458372"/>
              <a:gd name="connsiteX35381" fmla="*/ 4817870 w 10505529"/>
              <a:gd name="connsiteY35381" fmla="*/ 1582625 h 7458372"/>
              <a:gd name="connsiteX35382" fmla="*/ 4796038 w 10505529"/>
              <a:gd name="connsiteY35382" fmla="*/ 1574105 h 7458372"/>
              <a:gd name="connsiteX35383" fmla="*/ 4787652 w 10505529"/>
              <a:gd name="connsiteY35383" fmla="*/ 1552940 h 7458372"/>
              <a:gd name="connsiteX35384" fmla="*/ 4796038 w 10505529"/>
              <a:gd name="connsiteY35384" fmla="*/ 1531907 h 7458372"/>
              <a:gd name="connsiteX35385" fmla="*/ 4817870 w 10505529"/>
              <a:gd name="connsiteY35385" fmla="*/ 1523391 h 7458372"/>
              <a:gd name="connsiteX35386" fmla="*/ 4600226 w 10505529"/>
              <a:gd name="connsiteY35386" fmla="*/ 1523391 h 7458372"/>
              <a:gd name="connsiteX35387" fmla="*/ 4612073 w 10505529"/>
              <a:gd name="connsiteY35387" fmla="*/ 1525915 h 7458372"/>
              <a:gd name="connsiteX35388" fmla="*/ 4621391 w 10505529"/>
              <a:gd name="connsiteY35388" fmla="*/ 1532306 h 7458372"/>
              <a:gd name="connsiteX35389" fmla="*/ 4627514 w 10505529"/>
              <a:gd name="connsiteY35389" fmla="*/ 1541623 h 7458372"/>
              <a:gd name="connsiteX35390" fmla="*/ 4629777 w 10505529"/>
              <a:gd name="connsiteY35390" fmla="*/ 1553078 h 7458372"/>
              <a:gd name="connsiteX35391" fmla="*/ 4627514 w 10505529"/>
              <a:gd name="connsiteY35391" fmla="*/ 1564797 h 7458372"/>
              <a:gd name="connsiteX35392" fmla="*/ 4621391 w 10505529"/>
              <a:gd name="connsiteY35392" fmla="*/ 1574105 h 7458372"/>
              <a:gd name="connsiteX35393" fmla="*/ 4612073 w 10505529"/>
              <a:gd name="connsiteY35393" fmla="*/ 1580363 h 7458372"/>
              <a:gd name="connsiteX35394" fmla="*/ 4600226 w 10505529"/>
              <a:gd name="connsiteY35394" fmla="*/ 1582625 h 7458372"/>
              <a:gd name="connsiteX35395" fmla="*/ 4578393 w 10505529"/>
              <a:gd name="connsiteY35395" fmla="*/ 1574105 h 7458372"/>
              <a:gd name="connsiteX35396" fmla="*/ 4570007 w 10505529"/>
              <a:gd name="connsiteY35396" fmla="*/ 1552940 h 7458372"/>
              <a:gd name="connsiteX35397" fmla="*/ 4578393 w 10505529"/>
              <a:gd name="connsiteY35397" fmla="*/ 1531907 h 7458372"/>
              <a:gd name="connsiteX35398" fmla="*/ 4600226 w 10505529"/>
              <a:gd name="connsiteY35398" fmla="*/ 1523391 h 7458372"/>
              <a:gd name="connsiteX35399" fmla="*/ 4382713 w 10505529"/>
              <a:gd name="connsiteY35399" fmla="*/ 1523391 h 7458372"/>
              <a:gd name="connsiteX35400" fmla="*/ 4394428 w 10505529"/>
              <a:gd name="connsiteY35400" fmla="*/ 1525915 h 7458372"/>
              <a:gd name="connsiteX35401" fmla="*/ 4403746 w 10505529"/>
              <a:gd name="connsiteY35401" fmla="*/ 1532306 h 7458372"/>
              <a:gd name="connsiteX35402" fmla="*/ 4409869 w 10505529"/>
              <a:gd name="connsiteY35402" fmla="*/ 1541623 h 7458372"/>
              <a:gd name="connsiteX35403" fmla="*/ 4412132 w 10505529"/>
              <a:gd name="connsiteY35403" fmla="*/ 1553078 h 7458372"/>
              <a:gd name="connsiteX35404" fmla="*/ 4409869 w 10505529"/>
              <a:gd name="connsiteY35404" fmla="*/ 1564797 h 7458372"/>
              <a:gd name="connsiteX35405" fmla="*/ 4403746 w 10505529"/>
              <a:gd name="connsiteY35405" fmla="*/ 1574105 h 7458372"/>
              <a:gd name="connsiteX35406" fmla="*/ 4394428 w 10505529"/>
              <a:gd name="connsiteY35406" fmla="*/ 1580363 h 7458372"/>
              <a:gd name="connsiteX35407" fmla="*/ 4382713 w 10505529"/>
              <a:gd name="connsiteY35407" fmla="*/ 1582625 h 7458372"/>
              <a:gd name="connsiteX35408" fmla="*/ 4360881 w 10505529"/>
              <a:gd name="connsiteY35408" fmla="*/ 1574105 h 7458372"/>
              <a:gd name="connsiteX35409" fmla="*/ 4352495 w 10505529"/>
              <a:gd name="connsiteY35409" fmla="*/ 1552940 h 7458372"/>
              <a:gd name="connsiteX35410" fmla="*/ 4360881 w 10505529"/>
              <a:gd name="connsiteY35410" fmla="*/ 1531907 h 7458372"/>
              <a:gd name="connsiteX35411" fmla="*/ 4382713 w 10505529"/>
              <a:gd name="connsiteY35411" fmla="*/ 1523391 h 7458372"/>
              <a:gd name="connsiteX35412" fmla="*/ 4165068 w 10505529"/>
              <a:gd name="connsiteY35412" fmla="*/ 1523391 h 7458372"/>
              <a:gd name="connsiteX35413" fmla="*/ 4176782 w 10505529"/>
              <a:gd name="connsiteY35413" fmla="*/ 1525915 h 7458372"/>
              <a:gd name="connsiteX35414" fmla="*/ 4186100 w 10505529"/>
              <a:gd name="connsiteY35414" fmla="*/ 1532306 h 7458372"/>
              <a:gd name="connsiteX35415" fmla="*/ 4192223 w 10505529"/>
              <a:gd name="connsiteY35415" fmla="*/ 1541623 h 7458372"/>
              <a:gd name="connsiteX35416" fmla="*/ 4194486 w 10505529"/>
              <a:gd name="connsiteY35416" fmla="*/ 1553078 h 7458372"/>
              <a:gd name="connsiteX35417" fmla="*/ 4192223 w 10505529"/>
              <a:gd name="connsiteY35417" fmla="*/ 1564797 h 7458372"/>
              <a:gd name="connsiteX35418" fmla="*/ 4186100 w 10505529"/>
              <a:gd name="connsiteY35418" fmla="*/ 1574105 h 7458372"/>
              <a:gd name="connsiteX35419" fmla="*/ 4176782 w 10505529"/>
              <a:gd name="connsiteY35419" fmla="*/ 1580363 h 7458372"/>
              <a:gd name="connsiteX35420" fmla="*/ 4165068 w 10505529"/>
              <a:gd name="connsiteY35420" fmla="*/ 1582625 h 7458372"/>
              <a:gd name="connsiteX35421" fmla="*/ 4143235 w 10505529"/>
              <a:gd name="connsiteY35421" fmla="*/ 1574105 h 7458372"/>
              <a:gd name="connsiteX35422" fmla="*/ 4134849 w 10505529"/>
              <a:gd name="connsiteY35422" fmla="*/ 1552940 h 7458372"/>
              <a:gd name="connsiteX35423" fmla="*/ 4143235 w 10505529"/>
              <a:gd name="connsiteY35423" fmla="*/ 1531907 h 7458372"/>
              <a:gd name="connsiteX35424" fmla="*/ 4165068 w 10505529"/>
              <a:gd name="connsiteY35424" fmla="*/ 1523391 h 7458372"/>
              <a:gd name="connsiteX35425" fmla="*/ 3947512 w 10505529"/>
              <a:gd name="connsiteY35425" fmla="*/ 1523391 h 7458372"/>
              <a:gd name="connsiteX35426" fmla="*/ 3959227 w 10505529"/>
              <a:gd name="connsiteY35426" fmla="*/ 1525915 h 7458372"/>
              <a:gd name="connsiteX35427" fmla="*/ 3968545 w 10505529"/>
              <a:gd name="connsiteY35427" fmla="*/ 1532306 h 7458372"/>
              <a:gd name="connsiteX35428" fmla="*/ 3974669 w 10505529"/>
              <a:gd name="connsiteY35428" fmla="*/ 1541623 h 7458372"/>
              <a:gd name="connsiteX35429" fmla="*/ 3976932 w 10505529"/>
              <a:gd name="connsiteY35429" fmla="*/ 1553078 h 7458372"/>
              <a:gd name="connsiteX35430" fmla="*/ 3974669 w 10505529"/>
              <a:gd name="connsiteY35430" fmla="*/ 1564797 h 7458372"/>
              <a:gd name="connsiteX35431" fmla="*/ 3968545 w 10505529"/>
              <a:gd name="connsiteY35431" fmla="*/ 1574105 h 7458372"/>
              <a:gd name="connsiteX35432" fmla="*/ 3959227 w 10505529"/>
              <a:gd name="connsiteY35432" fmla="*/ 1580363 h 7458372"/>
              <a:gd name="connsiteX35433" fmla="*/ 3947512 w 10505529"/>
              <a:gd name="connsiteY35433" fmla="*/ 1582625 h 7458372"/>
              <a:gd name="connsiteX35434" fmla="*/ 3925679 w 10505529"/>
              <a:gd name="connsiteY35434" fmla="*/ 1574105 h 7458372"/>
              <a:gd name="connsiteX35435" fmla="*/ 3917293 w 10505529"/>
              <a:gd name="connsiteY35435" fmla="*/ 1552940 h 7458372"/>
              <a:gd name="connsiteX35436" fmla="*/ 3925679 w 10505529"/>
              <a:gd name="connsiteY35436" fmla="*/ 1531907 h 7458372"/>
              <a:gd name="connsiteX35437" fmla="*/ 3947512 w 10505529"/>
              <a:gd name="connsiteY35437" fmla="*/ 1523391 h 7458372"/>
              <a:gd name="connsiteX35438" fmla="*/ 3729862 w 10505529"/>
              <a:gd name="connsiteY35438" fmla="*/ 1523391 h 7458372"/>
              <a:gd name="connsiteX35439" fmla="*/ 3741577 w 10505529"/>
              <a:gd name="connsiteY35439" fmla="*/ 1525915 h 7458372"/>
              <a:gd name="connsiteX35440" fmla="*/ 3750896 w 10505529"/>
              <a:gd name="connsiteY35440" fmla="*/ 1532306 h 7458372"/>
              <a:gd name="connsiteX35441" fmla="*/ 3757018 w 10505529"/>
              <a:gd name="connsiteY35441" fmla="*/ 1541623 h 7458372"/>
              <a:gd name="connsiteX35442" fmla="*/ 3759281 w 10505529"/>
              <a:gd name="connsiteY35442" fmla="*/ 1553078 h 7458372"/>
              <a:gd name="connsiteX35443" fmla="*/ 3757018 w 10505529"/>
              <a:gd name="connsiteY35443" fmla="*/ 1564797 h 7458372"/>
              <a:gd name="connsiteX35444" fmla="*/ 3750896 w 10505529"/>
              <a:gd name="connsiteY35444" fmla="*/ 1574105 h 7458372"/>
              <a:gd name="connsiteX35445" fmla="*/ 3741577 w 10505529"/>
              <a:gd name="connsiteY35445" fmla="*/ 1580363 h 7458372"/>
              <a:gd name="connsiteX35446" fmla="*/ 3729862 w 10505529"/>
              <a:gd name="connsiteY35446" fmla="*/ 1582625 h 7458372"/>
              <a:gd name="connsiteX35447" fmla="*/ 3708029 w 10505529"/>
              <a:gd name="connsiteY35447" fmla="*/ 1574105 h 7458372"/>
              <a:gd name="connsiteX35448" fmla="*/ 3699643 w 10505529"/>
              <a:gd name="connsiteY35448" fmla="*/ 1552940 h 7458372"/>
              <a:gd name="connsiteX35449" fmla="*/ 3708029 w 10505529"/>
              <a:gd name="connsiteY35449" fmla="*/ 1531907 h 7458372"/>
              <a:gd name="connsiteX35450" fmla="*/ 3729862 w 10505529"/>
              <a:gd name="connsiteY35450" fmla="*/ 1523391 h 7458372"/>
              <a:gd name="connsiteX35451" fmla="*/ 3512212 w 10505529"/>
              <a:gd name="connsiteY35451" fmla="*/ 1523391 h 7458372"/>
              <a:gd name="connsiteX35452" fmla="*/ 3523928 w 10505529"/>
              <a:gd name="connsiteY35452" fmla="*/ 1525915 h 7458372"/>
              <a:gd name="connsiteX35453" fmla="*/ 3533246 w 10505529"/>
              <a:gd name="connsiteY35453" fmla="*/ 1532306 h 7458372"/>
              <a:gd name="connsiteX35454" fmla="*/ 3539369 w 10505529"/>
              <a:gd name="connsiteY35454" fmla="*/ 1541623 h 7458372"/>
              <a:gd name="connsiteX35455" fmla="*/ 3541632 w 10505529"/>
              <a:gd name="connsiteY35455" fmla="*/ 1553078 h 7458372"/>
              <a:gd name="connsiteX35456" fmla="*/ 3539369 w 10505529"/>
              <a:gd name="connsiteY35456" fmla="*/ 1564797 h 7458372"/>
              <a:gd name="connsiteX35457" fmla="*/ 3533246 w 10505529"/>
              <a:gd name="connsiteY35457" fmla="*/ 1574105 h 7458372"/>
              <a:gd name="connsiteX35458" fmla="*/ 3523928 w 10505529"/>
              <a:gd name="connsiteY35458" fmla="*/ 1580363 h 7458372"/>
              <a:gd name="connsiteX35459" fmla="*/ 3512212 w 10505529"/>
              <a:gd name="connsiteY35459" fmla="*/ 1582625 h 7458372"/>
              <a:gd name="connsiteX35460" fmla="*/ 3490379 w 10505529"/>
              <a:gd name="connsiteY35460" fmla="*/ 1574105 h 7458372"/>
              <a:gd name="connsiteX35461" fmla="*/ 3481993 w 10505529"/>
              <a:gd name="connsiteY35461" fmla="*/ 1552940 h 7458372"/>
              <a:gd name="connsiteX35462" fmla="*/ 3490379 w 10505529"/>
              <a:gd name="connsiteY35462" fmla="*/ 1531907 h 7458372"/>
              <a:gd name="connsiteX35463" fmla="*/ 3512212 w 10505529"/>
              <a:gd name="connsiteY35463" fmla="*/ 1523391 h 7458372"/>
              <a:gd name="connsiteX35464" fmla="*/ 3294696 w 10505529"/>
              <a:gd name="connsiteY35464" fmla="*/ 1523391 h 7458372"/>
              <a:gd name="connsiteX35465" fmla="*/ 3306411 w 10505529"/>
              <a:gd name="connsiteY35465" fmla="*/ 1525915 h 7458372"/>
              <a:gd name="connsiteX35466" fmla="*/ 3315729 w 10505529"/>
              <a:gd name="connsiteY35466" fmla="*/ 1532306 h 7458372"/>
              <a:gd name="connsiteX35467" fmla="*/ 3321853 w 10505529"/>
              <a:gd name="connsiteY35467" fmla="*/ 1541623 h 7458372"/>
              <a:gd name="connsiteX35468" fmla="*/ 3324116 w 10505529"/>
              <a:gd name="connsiteY35468" fmla="*/ 1553078 h 7458372"/>
              <a:gd name="connsiteX35469" fmla="*/ 3321853 w 10505529"/>
              <a:gd name="connsiteY35469" fmla="*/ 1564797 h 7458372"/>
              <a:gd name="connsiteX35470" fmla="*/ 3315729 w 10505529"/>
              <a:gd name="connsiteY35470" fmla="*/ 1574105 h 7458372"/>
              <a:gd name="connsiteX35471" fmla="*/ 3306411 w 10505529"/>
              <a:gd name="connsiteY35471" fmla="*/ 1580363 h 7458372"/>
              <a:gd name="connsiteX35472" fmla="*/ 3294696 w 10505529"/>
              <a:gd name="connsiteY35472" fmla="*/ 1582625 h 7458372"/>
              <a:gd name="connsiteX35473" fmla="*/ 3272863 w 10505529"/>
              <a:gd name="connsiteY35473" fmla="*/ 1574105 h 7458372"/>
              <a:gd name="connsiteX35474" fmla="*/ 3264476 w 10505529"/>
              <a:gd name="connsiteY35474" fmla="*/ 1552940 h 7458372"/>
              <a:gd name="connsiteX35475" fmla="*/ 3272863 w 10505529"/>
              <a:gd name="connsiteY35475" fmla="*/ 1531907 h 7458372"/>
              <a:gd name="connsiteX35476" fmla="*/ 3294696 w 10505529"/>
              <a:gd name="connsiteY35476" fmla="*/ 1523391 h 7458372"/>
              <a:gd name="connsiteX35477" fmla="*/ 3077046 w 10505529"/>
              <a:gd name="connsiteY35477" fmla="*/ 1523391 h 7458372"/>
              <a:gd name="connsiteX35478" fmla="*/ 3088762 w 10505529"/>
              <a:gd name="connsiteY35478" fmla="*/ 1525915 h 7458372"/>
              <a:gd name="connsiteX35479" fmla="*/ 3098080 w 10505529"/>
              <a:gd name="connsiteY35479" fmla="*/ 1532306 h 7458372"/>
              <a:gd name="connsiteX35480" fmla="*/ 3104203 w 10505529"/>
              <a:gd name="connsiteY35480" fmla="*/ 1541623 h 7458372"/>
              <a:gd name="connsiteX35481" fmla="*/ 3106466 w 10505529"/>
              <a:gd name="connsiteY35481" fmla="*/ 1553078 h 7458372"/>
              <a:gd name="connsiteX35482" fmla="*/ 3104203 w 10505529"/>
              <a:gd name="connsiteY35482" fmla="*/ 1564797 h 7458372"/>
              <a:gd name="connsiteX35483" fmla="*/ 3098080 w 10505529"/>
              <a:gd name="connsiteY35483" fmla="*/ 1574105 h 7458372"/>
              <a:gd name="connsiteX35484" fmla="*/ 3088762 w 10505529"/>
              <a:gd name="connsiteY35484" fmla="*/ 1580363 h 7458372"/>
              <a:gd name="connsiteX35485" fmla="*/ 3077046 w 10505529"/>
              <a:gd name="connsiteY35485" fmla="*/ 1582625 h 7458372"/>
              <a:gd name="connsiteX35486" fmla="*/ 3055213 w 10505529"/>
              <a:gd name="connsiteY35486" fmla="*/ 1574105 h 7458372"/>
              <a:gd name="connsiteX35487" fmla="*/ 3046827 w 10505529"/>
              <a:gd name="connsiteY35487" fmla="*/ 1552940 h 7458372"/>
              <a:gd name="connsiteX35488" fmla="*/ 3055213 w 10505529"/>
              <a:gd name="connsiteY35488" fmla="*/ 1531907 h 7458372"/>
              <a:gd name="connsiteX35489" fmla="*/ 3077046 w 10505529"/>
              <a:gd name="connsiteY35489" fmla="*/ 1523391 h 7458372"/>
              <a:gd name="connsiteX35490" fmla="*/ 2859397 w 10505529"/>
              <a:gd name="connsiteY35490" fmla="*/ 1523391 h 7458372"/>
              <a:gd name="connsiteX35491" fmla="*/ 2871245 w 10505529"/>
              <a:gd name="connsiteY35491" fmla="*/ 1525915 h 7458372"/>
              <a:gd name="connsiteX35492" fmla="*/ 2880563 w 10505529"/>
              <a:gd name="connsiteY35492" fmla="*/ 1532306 h 7458372"/>
              <a:gd name="connsiteX35493" fmla="*/ 2886686 w 10505529"/>
              <a:gd name="connsiteY35493" fmla="*/ 1541623 h 7458372"/>
              <a:gd name="connsiteX35494" fmla="*/ 2888949 w 10505529"/>
              <a:gd name="connsiteY35494" fmla="*/ 1553078 h 7458372"/>
              <a:gd name="connsiteX35495" fmla="*/ 2886686 w 10505529"/>
              <a:gd name="connsiteY35495" fmla="*/ 1564797 h 7458372"/>
              <a:gd name="connsiteX35496" fmla="*/ 2880563 w 10505529"/>
              <a:gd name="connsiteY35496" fmla="*/ 1574105 h 7458372"/>
              <a:gd name="connsiteX35497" fmla="*/ 2871245 w 10505529"/>
              <a:gd name="connsiteY35497" fmla="*/ 1580363 h 7458372"/>
              <a:gd name="connsiteX35498" fmla="*/ 2859397 w 10505529"/>
              <a:gd name="connsiteY35498" fmla="*/ 1582625 h 7458372"/>
              <a:gd name="connsiteX35499" fmla="*/ 2837564 w 10505529"/>
              <a:gd name="connsiteY35499" fmla="*/ 1574105 h 7458372"/>
              <a:gd name="connsiteX35500" fmla="*/ 2829177 w 10505529"/>
              <a:gd name="connsiteY35500" fmla="*/ 1552940 h 7458372"/>
              <a:gd name="connsiteX35501" fmla="*/ 2837564 w 10505529"/>
              <a:gd name="connsiteY35501" fmla="*/ 1531907 h 7458372"/>
              <a:gd name="connsiteX35502" fmla="*/ 2859397 w 10505529"/>
              <a:gd name="connsiteY35502" fmla="*/ 1523391 h 7458372"/>
              <a:gd name="connsiteX35503" fmla="*/ 2641747 w 10505529"/>
              <a:gd name="connsiteY35503" fmla="*/ 1523391 h 7458372"/>
              <a:gd name="connsiteX35504" fmla="*/ 2653463 w 10505529"/>
              <a:gd name="connsiteY35504" fmla="*/ 1525915 h 7458372"/>
              <a:gd name="connsiteX35505" fmla="*/ 2662781 w 10505529"/>
              <a:gd name="connsiteY35505" fmla="*/ 1532306 h 7458372"/>
              <a:gd name="connsiteX35506" fmla="*/ 2668904 w 10505529"/>
              <a:gd name="connsiteY35506" fmla="*/ 1541623 h 7458372"/>
              <a:gd name="connsiteX35507" fmla="*/ 2671167 w 10505529"/>
              <a:gd name="connsiteY35507" fmla="*/ 1553078 h 7458372"/>
              <a:gd name="connsiteX35508" fmla="*/ 2668904 w 10505529"/>
              <a:gd name="connsiteY35508" fmla="*/ 1564797 h 7458372"/>
              <a:gd name="connsiteX35509" fmla="*/ 2662781 w 10505529"/>
              <a:gd name="connsiteY35509" fmla="*/ 1574105 h 7458372"/>
              <a:gd name="connsiteX35510" fmla="*/ 2653463 w 10505529"/>
              <a:gd name="connsiteY35510" fmla="*/ 1580363 h 7458372"/>
              <a:gd name="connsiteX35511" fmla="*/ 2641747 w 10505529"/>
              <a:gd name="connsiteY35511" fmla="*/ 1582625 h 7458372"/>
              <a:gd name="connsiteX35512" fmla="*/ 2619915 w 10505529"/>
              <a:gd name="connsiteY35512" fmla="*/ 1574105 h 7458372"/>
              <a:gd name="connsiteX35513" fmla="*/ 2611528 w 10505529"/>
              <a:gd name="connsiteY35513" fmla="*/ 1552940 h 7458372"/>
              <a:gd name="connsiteX35514" fmla="*/ 2619915 w 10505529"/>
              <a:gd name="connsiteY35514" fmla="*/ 1531907 h 7458372"/>
              <a:gd name="connsiteX35515" fmla="*/ 2641747 w 10505529"/>
              <a:gd name="connsiteY35515" fmla="*/ 1523391 h 7458372"/>
              <a:gd name="connsiteX35516" fmla="*/ 2424097 w 10505529"/>
              <a:gd name="connsiteY35516" fmla="*/ 1523391 h 7458372"/>
              <a:gd name="connsiteX35517" fmla="*/ 2435813 w 10505529"/>
              <a:gd name="connsiteY35517" fmla="*/ 1525915 h 7458372"/>
              <a:gd name="connsiteX35518" fmla="*/ 2445131 w 10505529"/>
              <a:gd name="connsiteY35518" fmla="*/ 1532306 h 7458372"/>
              <a:gd name="connsiteX35519" fmla="*/ 2451254 w 10505529"/>
              <a:gd name="connsiteY35519" fmla="*/ 1541623 h 7458372"/>
              <a:gd name="connsiteX35520" fmla="*/ 2453517 w 10505529"/>
              <a:gd name="connsiteY35520" fmla="*/ 1553078 h 7458372"/>
              <a:gd name="connsiteX35521" fmla="*/ 2451254 w 10505529"/>
              <a:gd name="connsiteY35521" fmla="*/ 1564797 h 7458372"/>
              <a:gd name="connsiteX35522" fmla="*/ 2445131 w 10505529"/>
              <a:gd name="connsiteY35522" fmla="*/ 1574105 h 7458372"/>
              <a:gd name="connsiteX35523" fmla="*/ 2435813 w 10505529"/>
              <a:gd name="connsiteY35523" fmla="*/ 1580363 h 7458372"/>
              <a:gd name="connsiteX35524" fmla="*/ 2424097 w 10505529"/>
              <a:gd name="connsiteY35524" fmla="*/ 1582625 h 7458372"/>
              <a:gd name="connsiteX35525" fmla="*/ 2402265 w 10505529"/>
              <a:gd name="connsiteY35525" fmla="*/ 1574105 h 7458372"/>
              <a:gd name="connsiteX35526" fmla="*/ 2393878 w 10505529"/>
              <a:gd name="connsiteY35526" fmla="*/ 1552940 h 7458372"/>
              <a:gd name="connsiteX35527" fmla="*/ 2402265 w 10505529"/>
              <a:gd name="connsiteY35527" fmla="*/ 1531907 h 7458372"/>
              <a:gd name="connsiteX35528" fmla="*/ 2424097 w 10505529"/>
              <a:gd name="connsiteY35528" fmla="*/ 1523391 h 7458372"/>
              <a:gd name="connsiteX35529" fmla="*/ 2206448 w 10505529"/>
              <a:gd name="connsiteY35529" fmla="*/ 1523391 h 7458372"/>
              <a:gd name="connsiteX35530" fmla="*/ 2218163 w 10505529"/>
              <a:gd name="connsiteY35530" fmla="*/ 1525915 h 7458372"/>
              <a:gd name="connsiteX35531" fmla="*/ 2227482 w 10505529"/>
              <a:gd name="connsiteY35531" fmla="*/ 1532306 h 7458372"/>
              <a:gd name="connsiteX35532" fmla="*/ 2233604 w 10505529"/>
              <a:gd name="connsiteY35532" fmla="*/ 1541623 h 7458372"/>
              <a:gd name="connsiteX35533" fmla="*/ 2235867 w 10505529"/>
              <a:gd name="connsiteY35533" fmla="*/ 1553078 h 7458372"/>
              <a:gd name="connsiteX35534" fmla="*/ 2233604 w 10505529"/>
              <a:gd name="connsiteY35534" fmla="*/ 1564797 h 7458372"/>
              <a:gd name="connsiteX35535" fmla="*/ 2227482 w 10505529"/>
              <a:gd name="connsiteY35535" fmla="*/ 1574105 h 7458372"/>
              <a:gd name="connsiteX35536" fmla="*/ 2218163 w 10505529"/>
              <a:gd name="connsiteY35536" fmla="*/ 1580363 h 7458372"/>
              <a:gd name="connsiteX35537" fmla="*/ 2206448 w 10505529"/>
              <a:gd name="connsiteY35537" fmla="*/ 1582625 h 7458372"/>
              <a:gd name="connsiteX35538" fmla="*/ 2184617 w 10505529"/>
              <a:gd name="connsiteY35538" fmla="*/ 1574105 h 7458372"/>
              <a:gd name="connsiteX35539" fmla="*/ 2176229 w 10505529"/>
              <a:gd name="connsiteY35539" fmla="*/ 1552940 h 7458372"/>
              <a:gd name="connsiteX35540" fmla="*/ 2184617 w 10505529"/>
              <a:gd name="connsiteY35540" fmla="*/ 1531907 h 7458372"/>
              <a:gd name="connsiteX35541" fmla="*/ 2206448 w 10505529"/>
              <a:gd name="connsiteY35541" fmla="*/ 1523391 h 7458372"/>
              <a:gd name="connsiteX35542" fmla="*/ 1988931 w 10505529"/>
              <a:gd name="connsiteY35542" fmla="*/ 1523391 h 7458372"/>
              <a:gd name="connsiteX35543" fmla="*/ 2000647 w 10505529"/>
              <a:gd name="connsiteY35543" fmla="*/ 1525915 h 7458372"/>
              <a:gd name="connsiteX35544" fmla="*/ 2009965 w 10505529"/>
              <a:gd name="connsiteY35544" fmla="*/ 1532306 h 7458372"/>
              <a:gd name="connsiteX35545" fmla="*/ 2016088 w 10505529"/>
              <a:gd name="connsiteY35545" fmla="*/ 1541623 h 7458372"/>
              <a:gd name="connsiteX35546" fmla="*/ 2018351 w 10505529"/>
              <a:gd name="connsiteY35546" fmla="*/ 1553078 h 7458372"/>
              <a:gd name="connsiteX35547" fmla="*/ 2016088 w 10505529"/>
              <a:gd name="connsiteY35547" fmla="*/ 1564797 h 7458372"/>
              <a:gd name="connsiteX35548" fmla="*/ 2009965 w 10505529"/>
              <a:gd name="connsiteY35548" fmla="*/ 1574105 h 7458372"/>
              <a:gd name="connsiteX35549" fmla="*/ 2000647 w 10505529"/>
              <a:gd name="connsiteY35549" fmla="*/ 1580363 h 7458372"/>
              <a:gd name="connsiteX35550" fmla="*/ 1988931 w 10505529"/>
              <a:gd name="connsiteY35550" fmla="*/ 1582625 h 7458372"/>
              <a:gd name="connsiteX35551" fmla="*/ 1967100 w 10505529"/>
              <a:gd name="connsiteY35551" fmla="*/ 1574105 h 7458372"/>
              <a:gd name="connsiteX35552" fmla="*/ 1958714 w 10505529"/>
              <a:gd name="connsiteY35552" fmla="*/ 1552940 h 7458372"/>
              <a:gd name="connsiteX35553" fmla="*/ 1967100 w 10505529"/>
              <a:gd name="connsiteY35553" fmla="*/ 1531907 h 7458372"/>
              <a:gd name="connsiteX35554" fmla="*/ 1988931 w 10505529"/>
              <a:gd name="connsiteY35554" fmla="*/ 1523391 h 7458372"/>
              <a:gd name="connsiteX35555" fmla="*/ 1771290 w 10505529"/>
              <a:gd name="connsiteY35555" fmla="*/ 1523391 h 7458372"/>
              <a:gd name="connsiteX35556" fmla="*/ 1783004 w 10505529"/>
              <a:gd name="connsiteY35556" fmla="*/ 1525915 h 7458372"/>
              <a:gd name="connsiteX35557" fmla="*/ 1792322 w 10505529"/>
              <a:gd name="connsiteY35557" fmla="*/ 1532306 h 7458372"/>
              <a:gd name="connsiteX35558" fmla="*/ 1798446 w 10505529"/>
              <a:gd name="connsiteY35558" fmla="*/ 1541623 h 7458372"/>
              <a:gd name="connsiteX35559" fmla="*/ 1800708 w 10505529"/>
              <a:gd name="connsiteY35559" fmla="*/ 1553078 h 7458372"/>
              <a:gd name="connsiteX35560" fmla="*/ 1798446 w 10505529"/>
              <a:gd name="connsiteY35560" fmla="*/ 1564797 h 7458372"/>
              <a:gd name="connsiteX35561" fmla="*/ 1792322 w 10505529"/>
              <a:gd name="connsiteY35561" fmla="*/ 1574105 h 7458372"/>
              <a:gd name="connsiteX35562" fmla="*/ 1783004 w 10505529"/>
              <a:gd name="connsiteY35562" fmla="*/ 1580363 h 7458372"/>
              <a:gd name="connsiteX35563" fmla="*/ 1771290 w 10505529"/>
              <a:gd name="connsiteY35563" fmla="*/ 1582625 h 7458372"/>
              <a:gd name="connsiteX35564" fmla="*/ 1749459 w 10505529"/>
              <a:gd name="connsiteY35564" fmla="*/ 1574105 h 7458372"/>
              <a:gd name="connsiteX35565" fmla="*/ 1741074 w 10505529"/>
              <a:gd name="connsiteY35565" fmla="*/ 1552940 h 7458372"/>
              <a:gd name="connsiteX35566" fmla="*/ 1749459 w 10505529"/>
              <a:gd name="connsiteY35566" fmla="*/ 1531907 h 7458372"/>
              <a:gd name="connsiteX35567" fmla="*/ 1771290 w 10505529"/>
              <a:gd name="connsiteY35567" fmla="*/ 1523391 h 7458372"/>
              <a:gd name="connsiteX35568" fmla="*/ 1553647 w 10505529"/>
              <a:gd name="connsiteY35568" fmla="*/ 1523391 h 7458372"/>
              <a:gd name="connsiteX35569" fmla="*/ 1565361 w 10505529"/>
              <a:gd name="connsiteY35569" fmla="*/ 1525915 h 7458372"/>
              <a:gd name="connsiteX35570" fmla="*/ 1574680 w 10505529"/>
              <a:gd name="connsiteY35570" fmla="*/ 1532306 h 7458372"/>
              <a:gd name="connsiteX35571" fmla="*/ 1580803 w 10505529"/>
              <a:gd name="connsiteY35571" fmla="*/ 1541623 h 7458372"/>
              <a:gd name="connsiteX35572" fmla="*/ 1583066 w 10505529"/>
              <a:gd name="connsiteY35572" fmla="*/ 1553078 h 7458372"/>
              <a:gd name="connsiteX35573" fmla="*/ 1580803 w 10505529"/>
              <a:gd name="connsiteY35573" fmla="*/ 1564797 h 7458372"/>
              <a:gd name="connsiteX35574" fmla="*/ 1574680 w 10505529"/>
              <a:gd name="connsiteY35574" fmla="*/ 1574105 h 7458372"/>
              <a:gd name="connsiteX35575" fmla="*/ 1565361 w 10505529"/>
              <a:gd name="connsiteY35575" fmla="*/ 1580363 h 7458372"/>
              <a:gd name="connsiteX35576" fmla="*/ 1553647 w 10505529"/>
              <a:gd name="connsiteY35576" fmla="*/ 1582625 h 7458372"/>
              <a:gd name="connsiteX35577" fmla="*/ 1531815 w 10505529"/>
              <a:gd name="connsiteY35577" fmla="*/ 1574105 h 7458372"/>
              <a:gd name="connsiteX35578" fmla="*/ 1523429 w 10505529"/>
              <a:gd name="connsiteY35578" fmla="*/ 1552940 h 7458372"/>
              <a:gd name="connsiteX35579" fmla="*/ 1531815 w 10505529"/>
              <a:gd name="connsiteY35579" fmla="*/ 1531907 h 7458372"/>
              <a:gd name="connsiteX35580" fmla="*/ 1553647 w 10505529"/>
              <a:gd name="connsiteY35580" fmla="*/ 1523391 h 7458372"/>
              <a:gd name="connsiteX35581" fmla="*/ 1336001 w 10505529"/>
              <a:gd name="connsiteY35581" fmla="*/ 1523391 h 7458372"/>
              <a:gd name="connsiteX35582" fmla="*/ 1347717 w 10505529"/>
              <a:gd name="connsiteY35582" fmla="*/ 1525915 h 7458372"/>
              <a:gd name="connsiteX35583" fmla="*/ 1357035 w 10505529"/>
              <a:gd name="connsiteY35583" fmla="*/ 1532306 h 7458372"/>
              <a:gd name="connsiteX35584" fmla="*/ 1363158 w 10505529"/>
              <a:gd name="connsiteY35584" fmla="*/ 1541623 h 7458372"/>
              <a:gd name="connsiteX35585" fmla="*/ 1365421 w 10505529"/>
              <a:gd name="connsiteY35585" fmla="*/ 1553078 h 7458372"/>
              <a:gd name="connsiteX35586" fmla="*/ 1363158 w 10505529"/>
              <a:gd name="connsiteY35586" fmla="*/ 1564797 h 7458372"/>
              <a:gd name="connsiteX35587" fmla="*/ 1357035 w 10505529"/>
              <a:gd name="connsiteY35587" fmla="*/ 1574105 h 7458372"/>
              <a:gd name="connsiteX35588" fmla="*/ 1347717 w 10505529"/>
              <a:gd name="connsiteY35588" fmla="*/ 1580363 h 7458372"/>
              <a:gd name="connsiteX35589" fmla="*/ 1336001 w 10505529"/>
              <a:gd name="connsiteY35589" fmla="*/ 1582625 h 7458372"/>
              <a:gd name="connsiteX35590" fmla="*/ 1314170 w 10505529"/>
              <a:gd name="connsiteY35590" fmla="*/ 1574105 h 7458372"/>
              <a:gd name="connsiteX35591" fmla="*/ 1305785 w 10505529"/>
              <a:gd name="connsiteY35591" fmla="*/ 1552940 h 7458372"/>
              <a:gd name="connsiteX35592" fmla="*/ 1314170 w 10505529"/>
              <a:gd name="connsiteY35592" fmla="*/ 1531907 h 7458372"/>
              <a:gd name="connsiteX35593" fmla="*/ 1336001 w 10505529"/>
              <a:gd name="connsiteY35593" fmla="*/ 1523391 h 7458372"/>
              <a:gd name="connsiteX35594" fmla="*/ 1118357 w 10505529"/>
              <a:gd name="connsiteY35594" fmla="*/ 1523391 h 7458372"/>
              <a:gd name="connsiteX35595" fmla="*/ 1130073 w 10505529"/>
              <a:gd name="connsiteY35595" fmla="*/ 1525915 h 7458372"/>
              <a:gd name="connsiteX35596" fmla="*/ 1139390 w 10505529"/>
              <a:gd name="connsiteY35596" fmla="*/ 1532306 h 7458372"/>
              <a:gd name="connsiteX35597" fmla="*/ 1145512 w 10505529"/>
              <a:gd name="connsiteY35597" fmla="*/ 1541623 h 7458372"/>
              <a:gd name="connsiteX35598" fmla="*/ 1147775 w 10505529"/>
              <a:gd name="connsiteY35598" fmla="*/ 1553078 h 7458372"/>
              <a:gd name="connsiteX35599" fmla="*/ 1145512 w 10505529"/>
              <a:gd name="connsiteY35599" fmla="*/ 1564797 h 7458372"/>
              <a:gd name="connsiteX35600" fmla="*/ 1139390 w 10505529"/>
              <a:gd name="connsiteY35600" fmla="*/ 1574105 h 7458372"/>
              <a:gd name="connsiteX35601" fmla="*/ 1130073 w 10505529"/>
              <a:gd name="connsiteY35601" fmla="*/ 1580363 h 7458372"/>
              <a:gd name="connsiteX35602" fmla="*/ 1118357 w 10505529"/>
              <a:gd name="connsiteY35602" fmla="*/ 1582625 h 7458372"/>
              <a:gd name="connsiteX35603" fmla="*/ 1096524 w 10505529"/>
              <a:gd name="connsiteY35603" fmla="*/ 1574105 h 7458372"/>
              <a:gd name="connsiteX35604" fmla="*/ 1088139 w 10505529"/>
              <a:gd name="connsiteY35604" fmla="*/ 1552940 h 7458372"/>
              <a:gd name="connsiteX35605" fmla="*/ 1096524 w 10505529"/>
              <a:gd name="connsiteY35605" fmla="*/ 1531907 h 7458372"/>
              <a:gd name="connsiteX35606" fmla="*/ 1118357 w 10505529"/>
              <a:gd name="connsiteY35606" fmla="*/ 1523391 h 7458372"/>
              <a:gd name="connsiteX35607" fmla="*/ 900845 w 10505529"/>
              <a:gd name="connsiteY35607" fmla="*/ 1523391 h 7458372"/>
              <a:gd name="connsiteX35608" fmla="*/ 912560 w 10505529"/>
              <a:gd name="connsiteY35608" fmla="*/ 1525915 h 7458372"/>
              <a:gd name="connsiteX35609" fmla="*/ 921878 w 10505529"/>
              <a:gd name="connsiteY35609" fmla="*/ 1532306 h 7458372"/>
              <a:gd name="connsiteX35610" fmla="*/ 928001 w 10505529"/>
              <a:gd name="connsiteY35610" fmla="*/ 1541623 h 7458372"/>
              <a:gd name="connsiteX35611" fmla="*/ 930264 w 10505529"/>
              <a:gd name="connsiteY35611" fmla="*/ 1553078 h 7458372"/>
              <a:gd name="connsiteX35612" fmla="*/ 928001 w 10505529"/>
              <a:gd name="connsiteY35612" fmla="*/ 1564797 h 7458372"/>
              <a:gd name="connsiteX35613" fmla="*/ 921878 w 10505529"/>
              <a:gd name="connsiteY35613" fmla="*/ 1574105 h 7458372"/>
              <a:gd name="connsiteX35614" fmla="*/ 912560 w 10505529"/>
              <a:gd name="connsiteY35614" fmla="*/ 1580363 h 7458372"/>
              <a:gd name="connsiteX35615" fmla="*/ 900845 w 10505529"/>
              <a:gd name="connsiteY35615" fmla="*/ 1582625 h 7458372"/>
              <a:gd name="connsiteX35616" fmla="*/ 879014 w 10505529"/>
              <a:gd name="connsiteY35616" fmla="*/ 1574105 h 7458372"/>
              <a:gd name="connsiteX35617" fmla="*/ 870628 w 10505529"/>
              <a:gd name="connsiteY35617" fmla="*/ 1552940 h 7458372"/>
              <a:gd name="connsiteX35618" fmla="*/ 879014 w 10505529"/>
              <a:gd name="connsiteY35618" fmla="*/ 1531907 h 7458372"/>
              <a:gd name="connsiteX35619" fmla="*/ 900845 w 10505529"/>
              <a:gd name="connsiteY35619" fmla="*/ 1523391 h 7458372"/>
              <a:gd name="connsiteX35620" fmla="*/ 683201 w 10505529"/>
              <a:gd name="connsiteY35620" fmla="*/ 1523391 h 7458372"/>
              <a:gd name="connsiteX35621" fmla="*/ 694916 w 10505529"/>
              <a:gd name="connsiteY35621" fmla="*/ 1525915 h 7458372"/>
              <a:gd name="connsiteX35622" fmla="*/ 704234 w 10505529"/>
              <a:gd name="connsiteY35622" fmla="*/ 1532306 h 7458372"/>
              <a:gd name="connsiteX35623" fmla="*/ 710357 w 10505529"/>
              <a:gd name="connsiteY35623" fmla="*/ 1541623 h 7458372"/>
              <a:gd name="connsiteX35624" fmla="*/ 712620 w 10505529"/>
              <a:gd name="connsiteY35624" fmla="*/ 1553078 h 7458372"/>
              <a:gd name="connsiteX35625" fmla="*/ 710357 w 10505529"/>
              <a:gd name="connsiteY35625" fmla="*/ 1564797 h 7458372"/>
              <a:gd name="connsiteX35626" fmla="*/ 704234 w 10505529"/>
              <a:gd name="connsiteY35626" fmla="*/ 1574105 h 7458372"/>
              <a:gd name="connsiteX35627" fmla="*/ 694916 w 10505529"/>
              <a:gd name="connsiteY35627" fmla="*/ 1580363 h 7458372"/>
              <a:gd name="connsiteX35628" fmla="*/ 683201 w 10505529"/>
              <a:gd name="connsiteY35628" fmla="*/ 1582625 h 7458372"/>
              <a:gd name="connsiteX35629" fmla="*/ 661370 w 10505529"/>
              <a:gd name="connsiteY35629" fmla="*/ 1574105 h 7458372"/>
              <a:gd name="connsiteX35630" fmla="*/ 652984 w 10505529"/>
              <a:gd name="connsiteY35630" fmla="*/ 1552940 h 7458372"/>
              <a:gd name="connsiteX35631" fmla="*/ 661370 w 10505529"/>
              <a:gd name="connsiteY35631" fmla="*/ 1531907 h 7458372"/>
              <a:gd name="connsiteX35632" fmla="*/ 683201 w 10505529"/>
              <a:gd name="connsiteY35632" fmla="*/ 1523391 h 7458372"/>
              <a:gd name="connsiteX35633" fmla="*/ 465557 w 10505529"/>
              <a:gd name="connsiteY35633" fmla="*/ 1523391 h 7458372"/>
              <a:gd name="connsiteX35634" fmla="*/ 477273 w 10505529"/>
              <a:gd name="connsiteY35634" fmla="*/ 1525915 h 7458372"/>
              <a:gd name="connsiteX35635" fmla="*/ 486590 w 10505529"/>
              <a:gd name="connsiteY35635" fmla="*/ 1532306 h 7458372"/>
              <a:gd name="connsiteX35636" fmla="*/ 492714 w 10505529"/>
              <a:gd name="connsiteY35636" fmla="*/ 1541623 h 7458372"/>
              <a:gd name="connsiteX35637" fmla="*/ 494977 w 10505529"/>
              <a:gd name="connsiteY35637" fmla="*/ 1553078 h 7458372"/>
              <a:gd name="connsiteX35638" fmla="*/ 492714 w 10505529"/>
              <a:gd name="connsiteY35638" fmla="*/ 1564797 h 7458372"/>
              <a:gd name="connsiteX35639" fmla="*/ 486590 w 10505529"/>
              <a:gd name="connsiteY35639" fmla="*/ 1574105 h 7458372"/>
              <a:gd name="connsiteX35640" fmla="*/ 477273 w 10505529"/>
              <a:gd name="connsiteY35640" fmla="*/ 1580363 h 7458372"/>
              <a:gd name="connsiteX35641" fmla="*/ 465557 w 10505529"/>
              <a:gd name="connsiteY35641" fmla="*/ 1582625 h 7458372"/>
              <a:gd name="connsiteX35642" fmla="*/ 443726 w 10505529"/>
              <a:gd name="connsiteY35642" fmla="*/ 1574105 h 7458372"/>
              <a:gd name="connsiteX35643" fmla="*/ 435340 w 10505529"/>
              <a:gd name="connsiteY35643" fmla="*/ 1552940 h 7458372"/>
              <a:gd name="connsiteX35644" fmla="*/ 443726 w 10505529"/>
              <a:gd name="connsiteY35644" fmla="*/ 1531907 h 7458372"/>
              <a:gd name="connsiteX35645" fmla="*/ 465557 w 10505529"/>
              <a:gd name="connsiteY35645" fmla="*/ 1523391 h 7458372"/>
              <a:gd name="connsiteX35646" fmla="*/ 247913 w 10505529"/>
              <a:gd name="connsiteY35646" fmla="*/ 1523391 h 7458372"/>
              <a:gd name="connsiteX35647" fmla="*/ 259629 w 10505529"/>
              <a:gd name="connsiteY35647" fmla="*/ 1525915 h 7458372"/>
              <a:gd name="connsiteX35648" fmla="*/ 268947 w 10505529"/>
              <a:gd name="connsiteY35648" fmla="*/ 1532306 h 7458372"/>
              <a:gd name="connsiteX35649" fmla="*/ 275070 w 10505529"/>
              <a:gd name="connsiteY35649" fmla="*/ 1541623 h 7458372"/>
              <a:gd name="connsiteX35650" fmla="*/ 277333 w 10505529"/>
              <a:gd name="connsiteY35650" fmla="*/ 1553078 h 7458372"/>
              <a:gd name="connsiteX35651" fmla="*/ 275070 w 10505529"/>
              <a:gd name="connsiteY35651" fmla="*/ 1564797 h 7458372"/>
              <a:gd name="connsiteX35652" fmla="*/ 268947 w 10505529"/>
              <a:gd name="connsiteY35652" fmla="*/ 1574105 h 7458372"/>
              <a:gd name="connsiteX35653" fmla="*/ 259629 w 10505529"/>
              <a:gd name="connsiteY35653" fmla="*/ 1580363 h 7458372"/>
              <a:gd name="connsiteX35654" fmla="*/ 247913 w 10505529"/>
              <a:gd name="connsiteY35654" fmla="*/ 1582625 h 7458372"/>
              <a:gd name="connsiteX35655" fmla="*/ 226083 w 10505529"/>
              <a:gd name="connsiteY35655" fmla="*/ 1574105 h 7458372"/>
              <a:gd name="connsiteX35656" fmla="*/ 217697 w 10505529"/>
              <a:gd name="connsiteY35656" fmla="*/ 1552940 h 7458372"/>
              <a:gd name="connsiteX35657" fmla="*/ 226083 w 10505529"/>
              <a:gd name="connsiteY35657" fmla="*/ 1531907 h 7458372"/>
              <a:gd name="connsiteX35658" fmla="*/ 247913 w 10505529"/>
              <a:gd name="connsiteY35658" fmla="*/ 1523391 h 7458372"/>
              <a:gd name="connsiteX35659" fmla="*/ 30270 w 10505529"/>
              <a:gd name="connsiteY35659" fmla="*/ 1523391 h 7458372"/>
              <a:gd name="connsiteX35660" fmla="*/ 41985 w 10505529"/>
              <a:gd name="connsiteY35660" fmla="*/ 1525915 h 7458372"/>
              <a:gd name="connsiteX35661" fmla="*/ 51303 w 10505529"/>
              <a:gd name="connsiteY35661" fmla="*/ 1532306 h 7458372"/>
              <a:gd name="connsiteX35662" fmla="*/ 57426 w 10505529"/>
              <a:gd name="connsiteY35662" fmla="*/ 1541623 h 7458372"/>
              <a:gd name="connsiteX35663" fmla="*/ 59689 w 10505529"/>
              <a:gd name="connsiteY35663" fmla="*/ 1553078 h 7458372"/>
              <a:gd name="connsiteX35664" fmla="*/ 57426 w 10505529"/>
              <a:gd name="connsiteY35664" fmla="*/ 1564797 h 7458372"/>
              <a:gd name="connsiteX35665" fmla="*/ 51303 w 10505529"/>
              <a:gd name="connsiteY35665" fmla="*/ 1574105 h 7458372"/>
              <a:gd name="connsiteX35666" fmla="*/ 41985 w 10505529"/>
              <a:gd name="connsiteY35666" fmla="*/ 1580363 h 7458372"/>
              <a:gd name="connsiteX35667" fmla="*/ 30270 w 10505529"/>
              <a:gd name="connsiteY35667" fmla="*/ 1582625 h 7458372"/>
              <a:gd name="connsiteX35668" fmla="*/ 8439 w 10505529"/>
              <a:gd name="connsiteY35668" fmla="*/ 1574105 h 7458372"/>
              <a:gd name="connsiteX35669" fmla="*/ 53 w 10505529"/>
              <a:gd name="connsiteY35669" fmla="*/ 1552940 h 7458372"/>
              <a:gd name="connsiteX35670" fmla="*/ 8439 w 10505529"/>
              <a:gd name="connsiteY35670" fmla="*/ 1531907 h 7458372"/>
              <a:gd name="connsiteX35671" fmla="*/ 30270 w 10505529"/>
              <a:gd name="connsiteY35671" fmla="*/ 1523391 h 7458372"/>
              <a:gd name="connsiteX35672" fmla="*/ 10475977 w 10505529"/>
              <a:gd name="connsiteY35672" fmla="*/ 1322386 h 7458372"/>
              <a:gd name="connsiteX35673" fmla="*/ 10465992 w 10505529"/>
              <a:gd name="connsiteY35673" fmla="*/ 1325972 h 7458372"/>
              <a:gd name="connsiteX35674" fmla="*/ 10462399 w 10505529"/>
              <a:gd name="connsiteY35674" fmla="*/ 1335427 h 7458372"/>
              <a:gd name="connsiteX35675" fmla="*/ 10465992 w 10505529"/>
              <a:gd name="connsiteY35675" fmla="*/ 1344879 h 7458372"/>
              <a:gd name="connsiteX35676" fmla="*/ 10475977 w 10505529"/>
              <a:gd name="connsiteY35676" fmla="*/ 1348345 h 7458372"/>
              <a:gd name="connsiteX35677" fmla="*/ 10481302 w 10505529"/>
              <a:gd name="connsiteY35677" fmla="*/ 1347407 h 7458372"/>
              <a:gd name="connsiteX35678" fmla="*/ 10485029 w 10505529"/>
              <a:gd name="connsiteY35678" fmla="*/ 1345018 h 7458372"/>
              <a:gd name="connsiteX35679" fmla="*/ 10487691 w 10505529"/>
              <a:gd name="connsiteY35679" fmla="*/ 1340751 h 7458372"/>
              <a:gd name="connsiteX35680" fmla="*/ 10488623 w 10505529"/>
              <a:gd name="connsiteY35680" fmla="*/ 1335294 h 7458372"/>
              <a:gd name="connsiteX35681" fmla="*/ 10487691 w 10505529"/>
              <a:gd name="connsiteY35681" fmla="*/ 1330101 h 7458372"/>
              <a:gd name="connsiteX35682" fmla="*/ 10485029 w 10505529"/>
              <a:gd name="connsiteY35682" fmla="*/ 1325972 h 7458372"/>
              <a:gd name="connsiteX35683" fmla="*/ 10481035 w 10505529"/>
              <a:gd name="connsiteY35683" fmla="*/ 1323313 h 7458372"/>
              <a:gd name="connsiteX35684" fmla="*/ 10475977 w 10505529"/>
              <a:gd name="connsiteY35684" fmla="*/ 1322386 h 7458372"/>
              <a:gd name="connsiteX35685" fmla="*/ 10258466 w 10505529"/>
              <a:gd name="connsiteY35685" fmla="*/ 1322386 h 7458372"/>
              <a:gd name="connsiteX35686" fmla="*/ 10248481 w 10505529"/>
              <a:gd name="connsiteY35686" fmla="*/ 1325972 h 7458372"/>
              <a:gd name="connsiteX35687" fmla="*/ 10244887 w 10505529"/>
              <a:gd name="connsiteY35687" fmla="*/ 1335427 h 7458372"/>
              <a:gd name="connsiteX35688" fmla="*/ 10248481 w 10505529"/>
              <a:gd name="connsiteY35688" fmla="*/ 1344879 h 7458372"/>
              <a:gd name="connsiteX35689" fmla="*/ 10258466 w 10505529"/>
              <a:gd name="connsiteY35689" fmla="*/ 1348345 h 7458372"/>
              <a:gd name="connsiteX35690" fmla="*/ 10263790 w 10505529"/>
              <a:gd name="connsiteY35690" fmla="*/ 1347407 h 7458372"/>
              <a:gd name="connsiteX35691" fmla="*/ 10267517 w 10505529"/>
              <a:gd name="connsiteY35691" fmla="*/ 1345018 h 7458372"/>
              <a:gd name="connsiteX35692" fmla="*/ 10270180 w 10505529"/>
              <a:gd name="connsiteY35692" fmla="*/ 1340751 h 7458372"/>
              <a:gd name="connsiteX35693" fmla="*/ 10271112 w 10505529"/>
              <a:gd name="connsiteY35693" fmla="*/ 1335294 h 7458372"/>
              <a:gd name="connsiteX35694" fmla="*/ 10270180 w 10505529"/>
              <a:gd name="connsiteY35694" fmla="*/ 1330101 h 7458372"/>
              <a:gd name="connsiteX35695" fmla="*/ 10267517 w 10505529"/>
              <a:gd name="connsiteY35695" fmla="*/ 1325972 h 7458372"/>
              <a:gd name="connsiteX35696" fmla="*/ 10263524 w 10505529"/>
              <a:gd name="connsiteY35696" fmla="*/ 1323313 h 7458372"/>
              <a:gd name="connsiteX35697" fmla="*/ 10258466 w 10505529"/>
              <a:gd name="connsiteY35697" fmla="*/ 1322386 h 7458372"/>
              <a:gd name="connsiteX35698" fmla="*/ 10040820 w 10505529"/>
              <a:gd name="connsiteY35698" fmla="*/ 1322386 h 7458372"/>
              <a:gd name="connsiteX35699" fmla="*/ 10030835 w 10505529"/>
              <a:gd name="connsiteY35699" fmla="*/ 1325972 h 7458372"/>
              <a:gd name="connsiteX35700" fmla="*/ 10027242 w 10505529"/>
              <a:gd name="connsiteY35700" fmla="*/ 1335427 h 7458372"/>
              <a:gd name="connsiteX35701" fmla="*/ 10030835 w 10505529"/>
              <a:gd name="connsiteY35701" fmla="*/ 1344879 h 7458372"/>
              <a:gd name="connsiteX35702" fmla="*/ 10040820 w 10505529"/>
              <a:gd name="connsiteY35702" fmla="*/ 1348345 h 7458372"/>
              <a:gd name="connsiteX35703" fmla="*/ 10046145 w 10505529"/>
              <a:gd name="connsiteY35703" fmla="*/ 1347407 h 7458372"/>
              <a:gd name="connsiteX35704" fmla="*/ 10049872 w 10505529"/>
              <a:gd name="connsiteY35704" fmla="*/ 1345018 h 7458372"/>
              <a:gd name="connsiteX35705" fmla="*/ 10052534 w 10505529"/>
              <a:gd name="connsiteY35705" fmla="*/ 1340751 h 7458372"/>
              <a:gd name="connsiteX35706" fmla="*/ 10053599 w 10505529"/>
              <a:gd name="connsiteY35706" fmla="*/ 1335294 h 7458372"/>
              <a:gd name="connsiteX35707" fmla="*/ 10052534 w 10505529"/>
              <a:gd name="connsiteY35707" fmla="*/ 1330101 h 7458372"/>
              <a:gd name="connsiteX35708" fmla="*/ 10049872 w 10505529"/>
              <a:gd name="connsiteY35708" fmla="*/ 1325972 h 7458372"/>
              <a:gd name="connsiteX35709" fmla="*/ 10045878 w 10505529"/>
              <a:gd name="connsiteY35709" fmla="*/ 1323313 h 7458372"/>
              <a:gd name="connsiteX35710" fmla="*/ 10040820 w 10505529"/>
              <a:gd name="connsiteY35710" fmla="*/ 1322386 h 7458372"/>
              <a:gd name="connsiteX35711" fmla="*/ 9823176 w 10505529"/>
              <a:gd name="connsiteY35711" fmla="*/ 1322386 h 7458372"/>
              <a:gd name="connsiteX35712" fmla="*/ 9813191 w 10505529"/>
              <a:gd name="connsiteY35712" fmla="*/ 1325972 h 7458372"/>
              <a:gd name="connsiteX35713" fmla="*/ 9809597 w 10505529"/>
              <a:gd name="connsiteY35713" fmla="*/ 1335427 h 7458372"/>
              <a:gd name="connsiteX35714" fmla="*/ 9813191 w 10505529"/>
              <a:gd name="connsiteY35714" fmla="*/ 1344879 h 7458372"/>
              <a:gd name="connsiteX35715" fmla="*/ 9823176 w 10505529"/>
              <a:gd name="connsiteY35715" fmla="*/ 1348345 h 7458372"/>
              <a:gd name="connsiteX35716" fmla="*/ 9828501 w 10505529"/>
              <a:gd name="connsiteY35716" fmla="*/ 1347407 h 7458372"/>
              <a:gd name="connsiteX35717" fmla="*/ 9832227 w 10505529"/>
              <a:gd name="connsiteY35717" fmla="*/ 1345018 h 7458372"/>
              <a:gd name="connsiteX35718" fmla="*/ 9834890 w 10505529"/>
              <a:gd name="connsiteY35718" fmla="*/ 1340751 h 7458372"/>
              <a:gd name="connsiteX35719" fmla="*/ 9835955 w 10505529"/>
              <a:gd name="connsiteY35719" fmla="*/ 1335294 h 7458372"/>
              <a:gd name="connsiteX35720" fmla="*/ 9834890 w 10505529"/>
              <a:gd name="connsiteY35720" fmla="*/ 1330101 h 7458372"/>
              <a:gd name="connsiteX35721" fmla="*/ 9832227 w 10505529"/>
              <a:gd name="connsiteY35721" fmla="*/ 1325972 h 7458372"/>
              <a:gd name="connsiteX35722" fmla="*/ 9828234 w 10505529"/>
              <a:gd name="connsiteY35722" fmla="*/ 1323313 h 7458372"/>
              <a:gd name="connsiteX35723" fmla="*/ 9823176 w 10505529"/>
              <a:gd name="connsiteY35723" fmla="*/ 1322386 h 7458372"/>
              <a:gd name="connsiteX35724" fmla="*/ 9605531 w 10505529"/>
              <a:gd name="connsiteY35724" fmla="*/ 1322386 h 7458372"/>
              <a:gd name="connsiteX35725" fmla="*/ 9595546 w 10505529"/>
              <a:gd name="connsiteY35725" fmla="*/ 1325972 h 7458372"/>
              <a:gd name="connsiteX35726" fmla="*/ 9591952 w 10505529"/>
              <a:gd name="connsiteY35726" fmla="*/ 1335427 h 7458372"/>
              <a:gd name="connsiteX35727" fmla="*/ 9595546 w 10505529"/>
              <a:gd name="connsiteY35727" fmla="*/ 1344879 h 7458372"/>
              <a:gd name="connsiteX35728" fmla="*/ 9605531 w 10505529"/>
              <a:gd name="connsiteY35728" fmla="*/ 1348345 h 7458372"/>
              <a:gd name="connsiteX35729" fmla="*/ 9610855 w 10505529"/>
              <a:gd name="connsiteY35729" fmla="*/ 1347407 h 7458372"/>
              <a:gd name="connsiteX35730" fmla="*/ 9614582 w 10505529"/>
              <a:gd name="connsiteY35730" fmla="*/ 1345018 h 7458372"/>
              <a:gd name="connsiteX35731" fmla="*/ 9617245 w 10505529"/>
              <a:gd name="connsiteY35731" fmla="*/ 1340751 h 7458372"/>
              <a:gd name="connsiteX35732" fmla="*/ 9618309 w 10505529"/>
              <a:gd name="connsiteY35732" fmla="*/ 1335294 h 7458372"/>
              <a:gd name="connsiteX35733" fmla="*/ 9617245 w 10505529"/>
              <a:gd name="connsiteY35733" fmla="*/ 1330101 h 7458372"/>
              <a:gd name="connsiteX35734" fmla="*/ 9614582 w 10505529"/>
              <a:gd name="connsiteY35734" fmla="*/ 1325972 h 7458372"/>
              <a:gd name="connsiteX35735" fmla="*/ 9610589 w 10505529"/>
              <a:gd name="connsiteY35735" fmla="*/ 1323313 h 7458372"/>
              <a:gd name="connsiteX35736" fmla="*/ 9605531 w 10505529"/>
              <a:gd name="connsiteY35736" fmla="*/ 1322386 h 7458372"/>
              <a:gd name="connsiteX35737" fmla="*/ 9387885 w 10505529"/>
              <a:gd name="connsiteY35737" fmla="*/ 1322386 h 7458372"/>
              <a:gd name="connsiteX35738" fmla="*/ 9377900 w 10505529"/>
              <a:gd name="connsiteY35738" fmla="*/ 1325972 h 7458372"/>
              <a:gd name="connsiteX35739" fmla="*/ 9374307 w 10505529"/>
              <a:gd name="connsiteY35739" fmla="*/ 1335427 h 7458372"/>
              <a:gd name="connsiteX35740" fmla="*/ 9377900 w 10505529"/>
              <a:gd name="connsiteY35740" fmla="*/ 1344879 h 7458372"/>
              <a:gd name="connsiteX35741" fmla="*/ 9387885 w 10505529"/>
              <a:gd name="connsiteY35741" fmla="*/ 1348345 h 7458372"/>
              <a:gd name="connsiteX35742" fmla="*/ 9393210 w 10505529"/>
              <a:gd name="connsiteY35742" fmla="*/ 1347407 h 7458372"/>
              <a:gd name="connsiteX35743" fmla="*/ 9396937 w 10505529"/>
              <a:gd name="connsiteY35743" fmla="*/ 1345018 h 7458372"/>
              <a:gd name="connsiteX35744" fmla="*/ 9399599 w 10505529"/>
              <a:gd name="connsiteY35744" fmla="*/ 1340751 h 7458372"/>
              <a:gd name="connsiteX35745" fmla="*/ 9400664 w 10505529"/>
              <a:gd name="connsiteY35745" fmla="*/ 1335294 h 7458372"/>
              <a:gd name="connsiteX35746" fmla="*/ 9399599 w 10505529"/>
              <a:gd name="connsiteY35746" fmla="*/ 1330101 h 7458372"/>
              <a:gd name="connsiteX35747" fmla="*/ 9396937 w 10505529"/>
              <a:gd name="connsiteY35747" fmla="*/ 1325972 h 7458372"/>
              <a:gd name="connsiteX35748" fmla="*/ 9392943 w 10505529"/>
              <a:gd name="connsiteY35748" fmla="*/ 1323313 h 7458372"/>
              <a:gd name="connsiteX35749" fmla="*/ 9387885 w 10505529"/>
              <a:gd name="connsiteY35749" fmla="*/ 1322386 h 7458372"/>
              <a:gd name="connsiteX35750" fmla="*/ 9170374 w 10505529"/>
              <a:gd name="connsiteY35750" fmla="*/ 1322386 h 7458372"/>
              <a:gd name="connsiteX35751" fmla="*/ 9160389 w 10505529"/>
              <a:gd name="connsiteY35751" fmla="*/ 1325972 h 7458372"/>
              <a:gd name="connsiteX35752" fmla="*/ 9156795 w 10505529"/>
              <a:gd name="connsiteY35752" fmla="*/ 1335427 h 7458372"/>
              <a:gd name="connsiteX35753" fmla="*/ 9160389 w 10505529"/>
              <a:gd name="connsiteY35753" fmla="*/ 1344879 h 7458372"/>
              <a:gd name="connsiteX35754" fmla="*/ 9170374 w 10505529"/>
              <a:gd name="connsiteY35754" fmla="*/ 1348345 h 7458372"/>
              <a:gd name="connsiteX35755" fmla="*/ 9175698 w 10505529"/>
              <a:gd name="connsiteY35755" fmla="*/ 1347407 h 7458372"/>
              <a:gd name="connsiteX35756" fmla="*/ 9179425 w 10505529"/>
              <a:gd name="connsiteY35756" fmla="*/ 1345018 h 7458372"/>
              <a:gd name="connsiteX35757" fmla="*/ 9182088 w 10505529"/>
              <a:gd name="connsiteY35757" fmla="*/ 1340751 h 7458372"/>
              <a:gd name="connsiteX35758" fmla="*/ 9183152 w 10505529"/>
              <a:gd name="connsiteY35758" fmla="*/ 1335294 h 7458372"/>
              <a:gd name="connsiteX35759" fmla="*/ 9182088 w 10505529"/>
              <a:gd name="connsiteY35759" fmla="*/ 1330101 h 7458372"/>
              <a:gd name="connsiteX35760" fmla="*/ 9179425 w 10505529"/>
              <a:gd name="connsiteY35760" fmla="*/ 1325972 h 7458372"/>
              <a:gd name="connsiteX35761" fmla="*/ 9175432 w 10505529"/>
              <a:gd name="connsiteY35761" fmla="*/ 1323313 h 7458372"/>
              <a:gd name="connsiteX35762" fmla="*/ 9170374 w 10505529"/>
              <a:gd name="connsiteY35762" fmla="*/ 1322386 h 7458372"/>
              <a:gd name="connsiteX35763" fmla="*/ 8952728 w 10505529"/>
              <a:gd name="connsiteY35763" fmla="*/ 1322386 h 7458372"/>
              <a:gd name="connsiteX35764" fmla="*/ 8942743 w 10505529"/>
              <a:gd name="connsiteY35764" fmla="*/ 1325972 h 7458372"/>
              <a:gd name="connsiteX35765" fmla="*/ 8939150 w 10505529"/>
              <a:gd name="connsiteY35765" fmla="*/ 1335427 h 7458372"/>
              <a:gd name="connsiteX35766" fmla="*/ 8942743 w 10505529"/>
              <a:gd name="connsiteY35766" fmla="*/ 1344879 h 7458372"/>
              <a:gd name="connsiteX35767" fmla="*/ 8952728 w 10505529"/>
              <a:gd name="connsiteY35767" fmla="*/ 1348345 h 7458372"/>
              <a:gd name="connsiteX35768" fmla="*/ 8958053 w 10505529"/>
              <a:gd name="connsiteY35768" fmla="*/ 1347407 h 7458372"/>
              <a:gd name="connsiteX35769" fmla="*/ 8961780 w 10505529"/>
              <a:gd name="connsiteY35769" fmla="*/ 1345018 h 7458372"/>
              <a:gd name="connsiteX35770" fmla="*/ 8964442 w 10505529"/>
              <a:gd name="connsiteY35770" fmla="*/ 1340751 h 7458372"/>
              <a:gd name="connsiteX35771" fmla="*/ 8965507 w 10505529"/>
              <a:gd name="connsiteY35771" fmla="*/ 1335294 h 7458372"/>
              <a:gd name="connsiteX35772" fmla="*/ 8964442 w 10505529"/>
              <a:gd name="connsiteY35772" fmla="*/ 1330101 h 7458372"/>
              <a:gd name="connsiteX35773" fmla="*/ 8961780 w 10505529"/>
              <a:gd name="connsiteY35773" fmla="*/ 1325972 h 7458372"/>
              <a:gd name="connsiteX35774" fmla="*/ 8957786 w 10505529"/>
              <a:gd name="connsiteY35774" fmla="*/ 1323313 h 7458372"/>
              <a:gd name="connsiteX35775" fmla="*/ 8952728 w 10505529"/>
              <a:gd name="connsiteY35775" fmla="*/ 1322386 h 7458372"/>
              <a:gd name="connsiteX35776" fmla="*/ 8735083 w 10505529"/>
              <a:gd name="connsiteY35776" fmla="*/ 1322386 h 7458372"/>
              <a:gd name="connsiteX35777" fmla="*/ 8725098 w 10505529"/>
              <a:gd name="connsiteY35777" fmla="*/ 1325972 h 7458372"/>
              <a:gd name="connsiteX35778" fmla="*/ 8721504 w 10505529"/>
              <a:gd name="connsiteY35778" fmla="*/ 1335427 h 7458372"/>
              <a:gd name="connsiteX35779" fmla="*/ 8725098 w 10505529"/>
              <a:gd name="connsiteY35779" fmla="*/ 1344879 h 7458372"/>
              <a:gd name="connsiteX35780" fmla="*/ 8735083 w 10505529"/>
              <a:gd name="connsiteY35780" fmla="*/ 1348345 h 7458372"/>
              <a:gd name="connsiteX35781" fmla="*/ 8740407 w 10505529"/>
              <a:gd name="connsiteY35781" fmla="*/ 1347407 h 7458372"/>
              <a:gd name="connsiteX35782" fmla="*/ 8744134 w 10505529"/>
              <a:gd name="connsiteY35782" fmla="*/ 1345018 h 7458372"/>
              <a:gd name="connsiteX35783" fmla="*/ 8746797 w 10505529"/>
              <a:gd name="connsiteY35783" fmla="*/ 1340751 h 7458372"/>
              <a:gd name="connsiteX35784" fmla="*/ 8747862 w 10505529"/>
              <a:gd name="connsiteY35784" fmla="*/ 1335294 h 7458372"/>
              <a:gd name="connsiteX35785" fmla="*/ 8746797 w 10505529"/>
              <a:gd name="connsiteY35785" fmla="*/ 1330101 h 7458372"/>
              <a:gd name="connsiteX35786" fmla="*/ 8744134 w 10505529"/>
              <a:gd name="connsiteY35786" fmla="*/ 1325972 h 7458372"/>
              <a:gd name="connsiteX35787" fmla="*/ 8740141 w 10505529"/>
              <a:gd name="connsiteY35787" fmla="*/ 1323313 h 7458372"/>
              <a:gd name="connsiteX35788" fmla="*/ 8735083 w 10505529"/>
              <a:gd name="connsiteY35788" fmla="*/ 1322386 h 7458372"/>
              <a:gd name="connsiteX35789" fmla="*/ 8517438 w 10505529"/>
              <a:gd name="connsiteY35789" fmla="*/ 1322386 h 7458372"/>
              <a:gd name="connsiteX35790" fmla="*/ 8507453 w 10505529"/>
              <a:gd name="connsiteY35790" fmla="*/ 1325972 h 7458372"/>
              <a:gd name="connsiteX35791" fmla="*/ 8503860 w 10505529"/>
              <a:gd name="connsiteY35791" fmla="*/ 1335427 h 7458372"/>
              <a:gd name="connsiteX35792" fmla="*/ 8507453 w 10505529"/>
              <a:gd name="connsiteY35792" fmla="*/ 1344879 h 7458372"/>
              <a:gd name="connsiteX35793" fmla="*/ 8517438 w 10505529"/>
              <a:gd name="connsiteY35793" fmla="*/ 1348345 h 7458372"/>
              <a:gd name="connsiteX35794" fmla="*/ 8522763 w 10505529"/>
              <a:gd name="connsiteY35794" fmla="*/ 1347407 h 7458372"/>
              <a:gd name="connsiteX35795" fmla="*/ 8526490 w 10505529"/>
              <a:gd name="connsiteY35795" fmla="*/ 1345018 h 7458372"/>
              <a:gd name="connsiteX35796" fmla="*/ 8529152 w 10505529"/>
              <a:gd name="connsiteY35796" fmla="*/ 1340751 h 7458372"/>
              <a:gd name="connsiteX35797" fmla="*/ 8530084 w 10505529"/>
              <a:gd name="connsiteY35797" fmla="*/ 1335294 h 7458372"/>
              <a:gd name="connsiteX35798" fmla="*/ 8529152 w 10505529"/>
              <a:gd name="connsiteY35798" fmla="*/ 1330101 h 7458372"/>
              <a:gd name="connsiteX35799" fmla="*/ 8526490 w 10505529"/>
              <a:gd name="connsiteY35799" fmla="*/ 1325972 h 7458372"/>
              <a:gd name="connsiteX35800" fmla="*/ 8522496 w 10505529"/>
              <a:gd name="connsiteY35800" fmla="*/ 1323313 h 7458372"/>
              <a:gd name="connsiteX35801" fmla="*/ 8517438 w 10505529"/>
              <a:gd name="connsiteY35801" fmla="*/ 1322386 h 7458372"/>
              <a:gd name="connsiteX35802" fmla="*/ 8299793 w 10505529"/>
              <a:gd name="connsiteY35802" fmla="*/ 1322386 h 7458372"/>
              <a:gd name="connsiteX35803" fmla="*/ 8289809 w 10505529"/>
              <a:gd name="connsiteY35803" fmla="*/ 1325972 h 7458372"/>
              <a:gd name="connsiteX35804" fmla="*/ 8286215 w 10505529"/>
              <a:gd name="connsiteY35804" fmla="*/ 1335427 h 7458372"/>
              <a:gd name="connsiteX35805" fmla="*/ 8289809 w 10505529"/>
              <a:gd name="connsiteY35805" fmla="*/ 1344879 h 7458372"/>
              <a:gd name="connsiteX35806" fmla="*/ 8299793 w 10505529"/>
              <a:gd name="connsiteY35806" fmla="*/ 1348345 h 7458372"/>
              <a:gd name="connsiteX35807" fmla="*/ 8305118 w 10505529"/>
              <a:gd name="connsiteY35807" fmla="*/ 1347407 h 7458372"/>
              <a:gd name="connsiteX35808" fmla="*/ 8308844 w 10505529"/>
              <a:gd name="connsiteY35808" fmla="*/ 1345018 h 7458372"/>
              <a:gd name="connsiteX35809" fmla="*/ 8311507 w 10505529"/>
              <a:gd name="connsiteY35809" fmla="*/ 1340751 h 7458372"/>
              <a:gd name="connsiteX35810" fmla="*/ 8312439 w 10505529"/>
              <a:gd name="connsiteY35810" fmla="*/ 1335294 h 7458372"/>
              <a:gd name="connsiteX35811" fmla="*/ 8311507 w 10505529"/>
              <a:gd name="connsiteY35811" fmla="*/ 1330101 h 7458372"/>
              <a:gd name="connsiteX35812" fmla="*/ 8308844 w 10505529"/>
              <a:gd name="connsiteY35812" fmla="*/ 1325972 h 7458372"/>
              <a:gd name="connsiteX35813" fmla="*/ 8304851 w 10505529"/>
              <a:gd name="connsiteY35813" fmla="*/ 1323313 h 7458372"/>
              <a:gd name="connsiteX35814" fmla="*/ 8299793 w 10505529"/>
              <a:gd name="connsiteY35814" fmla="*/ 1322386 h 7458372"/>
              <a:gd name="connsiteX35815" fmla="*/ 8082281 w 10505529"/>
              <a:gd name="connsiteY35815" fmla="*/ 1322386 h 7458372"/>
              <a:gd name="connsiteX35816" fmla="*/ 8072297 w 10505529"/>
              <a:gd name="connsiteY35816" fmla="*/ 1325972 h 7458372"/>
              <a:gd name="connsiteX35817" fmla="*/ 8068703 w 10505529"/>
              <a:gd name="connsiteY35817" fmla="*/ 1335427 h 7458372"/>
              <a:gd name="connsiteX35818" fmla="*/ 8072297 w 10505529"/>
              <a:gd name="connsiteY35818" fmla="*/ 1344879 h 7458372"/>
              <a:gd name="connsiteX35819" fmla="*/ 8082281 w 10505529"/>
              <a:gd name="connsiteY35819" fmla="*/ 1348345 h 7458372"/>
              <a:gd name="connsiteX35820" fmla="*/ 8087605 w 10505529"/>
              <a:gd name="connsiteY35820" fmla="*/ 1347407 h 7458372"/>
              <a:gd name="connsiteX35821" fmla="*/ 8091332 w 10505529"/>
              <a:gd name="connsiteY35821" fmla="*/ 1345018 h 7458372"/>
              <a:gd name="connsiteX35822" fmla="*/ 8093994 w 10505529"/>
              <a:gd name="connsiteY35822" fmla="*/ 1340751 h 7458372"/>
              <a:gd name="connsiteX35823" fmla="*/ 8094926 w 10505529"/>
              <a:gd name="connsiteY35823" fmla="*/ 1335294 h 7458372"/>
              <a:gd name="connsiteX35824" fmla="*/ 8093994 w 10505529"/>
              <a:gd name="connsiteY35824" fmla="*/ 1330101 h 7458372"/>
              <a:gd name="connsiteX35825" fmla="*/ 8091332 w 10505529"/>
              <a:gd name="connsiteY35825" fmla="*/ 1325972 h 7458372"/>
              <a:gd name="connsiteX35826" fmla="*/ 8087338 w 10505529"/>
              <a:gd name="connsiteY35826" fmla="*/ 1323313 h 7458372"/>
              <a:gd name="connsiteX35827" fmla="*/ 8082281 w 10505529"/>
              <a:gd name="connsiteY35827" fmla="*/ 1322386 h 7458372"/>
              <a:gd name="connsiteX35828" fmla="*/ 7864636 w 10505529"/>
              <a:gd name="connsiteY35828" fmla="*/ 1322386 h 7458372"/>
              <a:gd name="connsiteX35829" fmla="*/ 7854652 w 10505529"/>
              <a:gd name="connsiteY35829" fmla="*/ 1325972 h 7458372"/>
              <a:gd name="connsiteX35830" fmla="*/ 7851058 w 10505529"/>
              <a:gd name="connsiteY35830" fmla="*/ 1335427 h 7458372"/>
              <a:gd name="connsiteX35831" fmla="*/ 7854652 w 10505529"/>
              <a:gd name="connsiteY35831" fmla="*/ 1344879 h 7458372"/>
              <a:gd name="connsiteX35832" fmla="*/ 7864636 w 10505529"/>
              <a:gd name="connsiteY35832" fmla="*/ 1348345 h 7458372"/>
              <a:gd name="connsiteX35833" fmla="*/ 7869961 w 10505529"/>
              <a:gd name="connsiteY35833" fmla="*/ 1347407 h 7458372"/>
              <a:gd name="connsiteX35834" fmla="*/ 7873687 w 10505529"/>
              <a:gd name="connsiteY35834" fmla="*/ 1345018 h 7458372"/>
              <a:gd name="connsiteX35835" fmla="*/ 7876350 w 10505529"/>
              <a:gd name="connsiteY35835" fmla="*/ 1340751 h 7458372"/>
              <a:gd name="connsiteX35836" fmla="*/ 7877282 w 10505529"/>
              <a:gd name="connsiteY35836" fmla="*/ 1335294 h 7458372"/>
              <a:gd name="connsiteX35837" fmla="*/ 7876350 w 10505529"/>
              <a:gd name="connsiteY35837" fmla="*/ 1330101 h 7458372"/>
              <a:gd name="connsiteX35838" fmla="*/ 7873687 w 10505529"/>
              <a:gd name="connsiteY35838" fmla="*/ 1325972 h 7458372"/>
              <a:gd name="connsiteX35839" fmla="*/ 7869694 w 10505529"/>
              <a:gd name="connsiteY35839" fmla="*/ 1323313 h 7458372"/>
              <a:gd name="connsiteX35840" fmla="*/ 7864636 w 10505529"/>
              <a:gd name="connsiteY35840" fmla="*/ 1322386 h 7458372"/>
              <a:gd name="connsiteX35841" fmla="*/ 7646991 w 10505529"/>
              <a:gd name="connsiteY35841" fmla="*/ 1322386 h 7458372"/>
              <a:gd name="connsiteX35842" fmla="*/ 7637007 w 10505529"/>
              <a:gd name="connsiteY35842" fmla="*/ 1325972 h 7458372"/>
              <a:gd name="connsiteX35843" fmla="*/ 7633413 w 10505529"/>
              <a:gd name="connsiteY35843" fmla="*/ 1335427 h 7458372"/>
              <a:gd name="connsiteX35844" fmla="*/ 7637007 w 10505529"/>
              <a:gd name="connsiteY35844" fmla="*/ 1344879 h 7458372"/>
              <a:gd name="connsiteX35845" fmla="*/ 7646991 w 10505529"/>
              <a:gd name="connsiteY35845" fmla="*/ 1348345 h 7458372"/>
              <a:gd name="connsiteX35846" fmla="*/ 7652315 w 10505529"/>
              <a:gd name="connsiteY35846" fmla="*/ 1347407 h 7458372"/>
              <a:gd name="connsiteX35847" fmla="*/ 7656042 w 10505529"/>
              <a:gd name="connsiteY35847" fmla="*/ 1345018 h 7458372"/>
              <a:gd name="connsiteX35848" fmla="*/ 7658705 w 10505529"/>
              <a:gd name="connsiteY35848" fmla="*/ 1340751 h 7458372"/>
              <a:gd name="connsiteX35849" fmla="*/ 7659769 w 10505529"/>
              <a:gd name="connsiteY35849" fmla="*/ 1335294 h 7458372"/>
              <a:gd name="connsiteX35850" fmla="*/ 7658705 w 10505529"/>
              <a:gd name="connsiteY35850" fmla="*/ 1330101 h 7458372"/>
              <a:gd name="connsiteX35851" fmla="*/ 7656042 w 10505529"/>
              <a:gd name="connsiteY35851" fmla="*/ 1325972 h 7458372"/>
              <a:gd name="connsiteX35852" fmla="*/ 7652049 w 10505529"/>
              <a:gd name="connsiteY35852" fmla="*/ 1323313 h 7458372"/>
              <a:gd name="connsiteX35853" fmla="*/ 7646991 w 10505529"/>
              <a:gd name="connsiteY35853" fmla="*/ 1322386 h 7458372"/>
              <a:gd name="connsiteX35854" fmla="*/ 7429345 w 10505529"/>
              <a:gd name="connsiteY35854" fmla="*/ 1322386 h 7458372"/>
              <a:gd name="connsiteX35855" fmla="*/ 7419361 w 10505529"/>
              <a:gd name="connsiteY35855" fmla="*/ 1325972 h 7458372"/>
              <a:gd name="connsiteX35856" fmla="*/ 7415768 w 10505529"/>
              <a:gd name="connsiteY35856" fmla="*/ 1335427 h 7458372"/>
              <a:gd name="connsiteX35857" fmla="*/ 7419361 w 10505529"/>
              <a:gd name="connsiteY35857" fmla="*/ 1344879 h 7458372"/>
              <a:gd name="connsiteX35858" fmla="*/ 7429345 w 10505529"/>
              <a:gd name="connsiteY35858" fmla="*/ 1348345 h 7458372"/>
              <a:gd name="connsiteX35859" fmla="*/ 7434670 w 10505529"/>
              <a:gd name="connsiteY35859" fmla="*/ 1347407 h 7458372"/>
              <a:gd name="connsiteX35860" fmla="*/ 7438397 w 10505529"/>
              <a:gd name="connsiteY35860" fmla="*/ 1345018 h 7458372"/>
              <a:gd name="connsiteX35861" fmla="*/ 7441059 w 10505529"/>
              <a:gd name="connsiteY35861" fmla="*/ 1340751 h 7458372"/>
              <a:gd name="connsiteX35862" fmla="*/ 7442124 w 10505529"/>
              <a:gd name="connsiteY35862" fmla="*/ 1335294 h 7458372"/>
              <a:gd name="connsiteX35863" fmla="*/ 7441059 w 10505529"/>
              <a:gd name="connsiteY35863" fmla="*/ 1330101 h 7458372"/>
              <a:gd name="connsiteX35864" fmla="*/ 7438397 w 10505529"/>
              <a:gd name="connsiteY35864" fmla="*/ 1325972 h 7458372"/>
              <a:gd name="connsiteX35865" fmla="*/ 7434403 w 10505529"/>
              <a:gd name="connsiteY35865" fmla="*/ 1323313 h 7458372"/>
              <a:gd name="connsiteX35866" fmla="*/ 7429345 w 10505529"/>
              <a:gd name="connsiteY35866" fmla="*/ 1322386 h 7458372"/>
              <a:gd name="connsiteX35867" fmla="*/ 7211701 w 10505529"/>
              <a:gd name="connsiteY35867" fmla="*/ 1322386 h 7458372"/>
              <a:gd name="connsiteX35868" fmla="*/ 7201717 w 10505529"/>
              <a:gd name="connsiteY35868" fmla="*/ 1325972 h 7458372"/>
              <a:gd name="connsiteX35869" fmla="*/ 7198123 w 10505529"/>
              <a:gd name="connsiteY35869" fmla="*/ 1335427 h 7458372"/>
              <a:gd name="connsiteX35870" fmla="*/ 7201717 w 10505529"/>
              <a:gd name="connsiteY35870" fmla="*/ 1344879 h 7458372"/>
              <a:gd name="connsiteX35871" fmla="*/ 7211701 w 10505529"/>
              <a:gd name="connsiteY35871" fmla="*/ 1348345 h 7458372"/>
              <a:gd name="connsiteX35872" fmla="*/ 7217026 w 10505529"/>
              <a:gd name="connsiteY35872" fmla="*/ 1347407 h 7458372"/>
              <a:gd name="connsiteX35873" fmla="*/ 7220752 w 10505529"/>
              <a:gd name="connsiteY35873" fmla="*/ 1345018 h 7458372"/>
              <a:gd name="connsiteX35874" fmla="*/ 7223415 w 10505529"/>
              <a:gd name="connsiteY35874" fmla="*/ 1340751 h 7458372"/>
              <a:gd name="connsiteX35875" fmla="*/ 7224480 w 10505529"/>
              <a:gd name="connsiteY35875" fmla="*/ 1335294 h 7458372"/>
              <a:gd name="connsiteX35876" fmla="*/ 7223415 w 10505529"/>
              <a:gd name="connsiteY35876" fmla="*/ 1330101 h 7458372"/>
              <a:gd name="connsiteX35877" fmla="*/ 7220752 w 10505529"/>
              <a:gd name="connsiteY35877" fmla="*/ 1325972 h 7458372"/>
              <a:gd name="connsiteX35878" fmla="*/ 7216759 w 10505529"/>
              <a:gd name="connsiteY35878" fmla="*/ 1323313 h 7458372"/>
              <a:gd name="connsiteX35879" fmla="*/ 7211701 w 10505529"/>
              <a:gd name="connsiteY35879" fmla="*/ 1322386 h 7458372"/>
              <a:gd name="connsiteX35880" fmla="*/ 6994056 w 10505529"/>
              <a:gd name="connsiteY35880" fmla="*/ 1322386 h 7458372"/>
              <a:gd name="connsiteX35881" fmla="*/ 6984072 w 10505529"/>
              <a:gd name="connsiteY35881" fmla="*/ 1325972 h 7458372"/>
              <a:gd name="connsiteX35882" fmla="*/ 6980478 w 10505529"/>
              <a:gd name="connsiteY35882" fmla="*/ 1335427 h 7458372"/>
              <a:gd name="connsiteX35883" fmla="*/ 6984072 w 10505529"/>
              <a:gd name="connsiteY35883" fmla="*/ 1344879 h 7458372"/>
              <a:gd name="connsiteX35884" fmla="*/ 6994056 w 10505529"/>
              <a:gd name="connsiteY35884" fmla="*/ 1348345 h 7458372"/>
              <a:gd name="connsiteX35885" fmla="*/ 6999380 w 10505529"/>
              <a:gd name="connsiteY35885" fmla="*/ 1347407 h 7458372"/>
              <a:gd name="connsiteX35886" fmla="*/ 7003107 w 10505529"/>
              <a:gd name="connsiteY35886" fmla="*/ 1345018 h 7458372"/>
              <a:gd name="connsiteX35887" fmla="*/ 7005769 w 10505529"/>
              <a:gd name="connsiteY35887" fmla="*/ 1340751 h 7458372"/>
              <a:gd name="connsiteX35888" fmla="*/ 7006834 w 10505529"/>
              <a:gd name="connsiteY35888" fmla="*/ 1335294 h 7458372"/>
              <a:gd name="connsiteX35889" fmla="*/ 7005769 w 10505529"/>
              <a:gd name="connsiteY35889" fmla="*/ 1330101 h 7458372"/>
              <a:gd name="connsiteX35890" fmla="*/ 7003107 w 10505529"/>
              <a:gd name="connsiteY35890" fmla="*/ 1325972 h 7458372"/>
              <a:gd name="connsiteX35891" fmla="*/ 6999113 w 10505529"/>
              <a:gd name="connsiteY35891" fmla="*/ 1323313 h 7458372"/>
              <a:gd name="connsiteX35892" fmla="*/ 6994056 w 10505529"/>
              <a:gd name="connsiteY35892" fmla="*/ 1322386 h 7458372"/>
              <a:gd name="connsiteX35893" fmla="*/ 6776544 w 10505529"/>
              <a:gd name="connsiteY35893" fmla="*/ 1322386 h 7458372"/>
              <a:gd name="connsiteX35894" fmla="*/ 6766560 w 10505529"/>
              <a:gd name="connsiteY35894" fmla="*/ 1325972 h 7458372"/>
              <a:gd name="connsiteX35895" fmla="*/ 6762966 w 10505529"/>
              <a:gd name="connsiteY35895" fmla="*/ 1335427 h 7458372"/>
              <a:gd name="connsiteX35896" fmla="*/ 6766560 w 10505529"/>
              <a:gd name="connsiteY35896" fmla="*/ 1344879 h 7458372"/>
              <a:gd name="connsiteX35897" fmla="*/ 6776544 w 10505529"/>
              <a:gd name="connsiteY35897" fmla="*/ 1348345 h 7458372"/>
              <a:gd name="connsiteX35898" fmla="*/ 6781869 w 10505529"/>
              <a:gd name="connsiteY35898" fmla="*/ 1347407 h 7458372"/>
              <a:gd name="connsiteX35899" fmla="*/ 6785595 w 10505529"/>
              <a:gd name="connsiteY35899" fmla="*/ 1345018 h 7458372"/>
              <a:gd name="connsiteX35900" fmla="*/ 6788258 w 10505529"/>
              <a:gd name="connsiteY35900" fmla="*/ 1340751 h 7458372"/>
              <a:gd name="connsiteX35901" fmla="*/ 6789323 w 10505529"/>
              <a:gd name="connsiteY35901" fmla="*/ 1335294 h 7458372"/>
              <a:gd name="connsiteX35902" fmla="*/ 6788258 w 10505529"/>
              <a:gd name="connsiteY35902" fmla="*/ 1330101 h 7458372"/>
              <a:gd name="connsiteX35903" fmla="*/ 6785595 w 10505529"/>
              <a:gd name="connsiteY35903" fmla="*/ 1325972 h 7458372"/>
              <a:gd name="connsiteX35904" fmla="*/ 6781602 w 10505529"/>
              <a:gd name="connsiteY35904" fmla="*/ 1323313 h 7458372"/>
              <a:gd name="connsiteX35905" fmla="*/ 6776544 w 10505529"/>
              <a:gd name="connsiteY35905" fmla="*/ 1322386 h 7458372"/>
              <a:gd name="connsiteX35906" fmla="*/ 6558899 w 10505529"/>
              <a:gd name="connsiteY35906" fmla="*/ 1322386 h 7458372"/>
              <a:gd name="connsiteX35907" fmla="*/ 6548915 w 10505529"/>
              <a:gd name="connsiteY35907" fmla="*/ 1325972 h 7458372"/>
              <a:gd name="connsiteX35908" fmla="*/ 6545321 w 10505529"/>
              <a:gd name="connsiteY35908" fmla="*/ 1335427 h 7458372"/>
              <a:gd name="connsiteX35909" fmla="*/ 6548915 w 10505529"/>
              <a:gd name="connsiteY35909" fmla="*/ 1344879 h 7458372"/>
              <a:gd name="connsiteX35910" fmla="*/ 6558899 w 10505529"/>
              <a:gd name="connsiteY35910" fmla="*/ 1348345 h 7458372"/>
              <a:gd name="connsiteX35911" fmla="*/ 6564223 w 10505529"/>
              <a:gd name="connsiteY35911" fmla="*/ 1347407 h 7458372"/>
              <a:gd name="connsiteX35912" fmla="*/ 6567950 w 10505529"/>
              <a:gd name="connsiteY35912" fmla="*/ 1345018 h 7458372"/>
              <a:gd name="connsiteX35913" fmla="*/ 6570612 w 10505529"/>
              <a:gd name="connsiteY35913" fmla="*/ 1340751 h 7458372"/>
              <a:gd name="connsiteX35914" fmla="*/ 6571677 w 10505529"/>
              <a:gd name="connsiteY35914" fmla="*/ 1335294 h 7458372"/>
              <a:gd name="connsiteX35915" fmla="*/ 6570612 w 10505529"/>
              <a:gd name="connsiteY35915" fmla="*/ 1330101 h 7458372"/>
              <a:gd name="connsiteX35916" fmla="*/ 6567950 w 10505529"/>
              <a:gd name="connsiteY35916" fmla="*/ 1325972 h 7458372"/>
              <a:gd name="connsiteX35917" fmla="*/ 6563956 w 10505529"/>
              <a:gd name="connsiteY35917" fmla="*/ 1323313 h 7458372"/>
              <a:gd name="connsiteX35918" fmla="*/ 6558899 w 10505529"/>
              <a:gd name="connsiteY35918" fmla="*/ 1322386 h 7458372"/>
              <a:gd name="connsiteX35919" fmla="*/ 6341253 w 10505529"/>
              <a:gd name="connsiteY35919" fmla="*/ 1322386 h 7458372"/>
              <a:gd name="connsiteX35920" fmla="*/ 6331270 w 10505529"/>
              <a:gd name="connsiteY35920" fmla="*/ 1325972 h 7458372"/>
              <a:gd name="connsiteX35921" fmla="*/ 6327675 w 10505529"/>
              <a:gd name="connsiteY35921" fmla="*/ 1335427 h 7458372"/>
              <a:gd name="connsiteX35922" fmla="*/ 6331270 w 10505529"/>
              <a:gd name="connsiteY35922" fmla="*/ 1344879 h 7458372"/>
              <a:gd name="connsiteX35923" fmla="*/ 6341253 w 10505529"/>
              <a:gd name="connsiteY35923" fmla="*/ 1348345 h 7458372"/>
              <a:gd name="connsiteX35924" fmla="*/ 6346578 w 10505529"/>
              <a:gd name="connsiteY35924" fmla="*/ 1347407 h 7458372"/>
              <a:gd name="connsiteX35925" fmla="*/ 6350305 w 10505529"/>
              <a:gd name="connsiteY35925" fmla="*/ 1345018 h 7458372"/>
              <a:gd name="connsiteX35926" fmla="*/ 6352968 w 10505529"/>
              <a:gd name="connsiteY35926" fmla="*/ 1340751 h 7458372"/>
              <a:gd name="connsiteX35927" fmla="*/ 6354033 w 10505529"/>
              <a:gd name="connsiteY35927" fmla="*/ 1335294 h 7458372"/>
              <a:gd name="connsiteX35928" fmla="*/ 6352968 w 10505529"/>
              <a:gd name="connsiteY35928" fmla="*/ 1330101 h 7458372"/>
              <a:gd name="connsiteX35929" fmla="*/ 6350305 w 10505529"/>
              <a:gd name="connsiteY35929" fmla="*/ 1325972 h 7458372"/>
              <a:gd name="connsiteX35930" fmla="*/ 6346312 w 10505529"/>
              <a:gd name="connsiteY35930" fmla="*/ 1323313 h 7458372"/>
              <a:gd name="connsiteX35931" fmla="*/ 6341253 w 10505529"/>
              <a:gd name="connsiteY35931" fmla="*/ 1322386 h 7458372"/>
              <a:gd name="connsiteX35932" fmla="*/ 6123608 w 10505529"/>
              <a:gd name="connsiteY35932" fmla="*/ 1322386 h 7458372"/>
              <a:gd name="connsiteX35933" fmla="*/ 6113624 w 10505529"/>
              <a:gd name="connsiteY35933" fmla="*/ 1325972 h 7458372"/>
              <a:gd name="connsiteX35934" fmla="*/ 6110030 w 10505529"/>
              <a:gd name="connsiteY35934" fmla="*/ 1335427 h 7458372"/>
              <a:gd name="connsiteX35935" fmla="*/ 6113624 w 10505529"/>
              <a:gd name="connsiteY35935" fmla="*/ 1344879 h 7458372"/>
              <a:gd name="connsiteX35936" fmla="*/ 6123608 w 10505529"/>
              <a:gd name="connsiteY35936" fmla="*/ 1348345 h 7458372"/>
              <a:gd name="connsiteX35937" fmla="*/ 6128932 w 10505529"/>
              <a:gd name="connsiteY35937" fmla="*/ 1347407 h 7458372"/>
              <a:gd name="connsiteX35938" fmla="*/ 6132659 w 10505529"/>
              <a:gd name="connsiteY35938" fmla="*/ 1345018 h 7458372"/>
              <a:gd name="connsiteX35939" fmla="*/ 6135322 w 10505529"/>
              <a:gd name="connsiteY35939" fmla="*/ 1340751 h 7458372"/>
              <a:gd name="connsiteX35940" fmla="*/ 6136387 w 10505529"/>
              <a:gd name="connsiteY35940" fmla="*/ 1335294 h 7458372"/>
              <a:gd name="connsiteX35941" fmla="*/ 6135322 w 10505529"/>
              <a:gd name="connsiteY35941" fmla="*/ 1330101 h 7458372"/>
              <a:gd name="connsiteX35942" fmla="*/ 6132659 w 10505529"/>
              <a:gd name="connsiteY35942" fmla="*/ 1325972 h 7458372"/>
              <a:gd name="connsiteX35943" fmla="*/ 6128666 w 10505529"/>
              <a:gd name="connsiteY35943" fmla="*/ 1323313 h 7458372"/>
              <a:gd name="connsiteX35944" fmla="*/ 6123608 w 10505529"/>
              <a:gd name="connsiteY35944" fmla="*/ 1322386 h 7458372"/>
              <a:gd name="connsiteX35945" fmla="*/ 5905963 w 10505529"/>
              <a:gd name="connsiteY35945" fmla="*/ 1322386 h 7458372"/>
              <a:gd name="connsiteX35946" fmla="*/ 5895979 w 10505529"/>
              <a:gd name="connsiteY35946" fmla="*/ 1325972 h 7458372"/>
              <a:gd name="connsiteX35947" fmla="*/ 5892385 w 10505529"/>
              <a:gd name="connsiteY35947" fmla="*/ 1335427 h 7458372"/>
              <a:gd name="connsiteX35948" fmla="*/ 5895979 w 10505529"/>
              <a:gd name="connsiteY35948" fmla="*/ 1344879 h 7458372"/>
              <a:gd name="connsiteX35949" fmla="*/ 5905963 w 10505529"/>
              <a:gd name="connsiteY35949" fmla="*/ 1348345 h 7458372"/>
              <a:gd name="connsiteX35950" fmla="*/ 5911287 w 10505529"/>
              <a:gd name="connsiteY35950" fmla="*/ 1347407 h 7458372"/>
              <a:gd name="connsiteX35951" fmla="*/ 5915014 w 10505529"/>
              <a:gd name="connsiteY35951" fmla="*/ 1345018 h 7458372"/>
              <a:gd name="connsiteX35952" fmla="*/ 5917677 w 10505529"/>
              <a:gd name="connsiteY35952" fmla="*/ 1340751 h 7458372"/>
              <a:gd name="connsiteX35953" fmla="*/ 5918742 w 10505529"/>
              <a:gd name="connsiteY35953" fmla="*/ 1335294 h 7458372"/>
              <a:gd name="connsiteX35954" fmla="*/ 5917677 w 10505529"/>
              <a:gd name="connsiteY35954" fmla="*/ 1330101 h 7458372"/>
              <a:gd name="connsiteX35955" fmla="*/ 5915014 w 10505529"/>
              <a:gd name="connsiteY35955" fmla="*/ 1325972 h 7458372"/>
              <a:gd name="connsiteX35956" fmla="*/ 5911021 w 10505529"/>
              <a:gd name="connsiteY35956" fmla="*/ 1323313 h 7458372"/>
              <a:gd name="connsiteX35957" fmla="*/ 5905963 w 10505529"/>
              <a:gd name="connsiteY35957" fmla="*/ 1322386 h 7458372"/>
              <a:gd name="connsiteX35958" fmla="*/ 5688451 w 10505529"/>
              <a:gd name="connsiteY35958" fmla="*/ 1322386 h 7458372"/>
              <a:gd name="connsiteX35959" fmla="*/ 5678467 w 10505529"/>
              <a:gd name="connsiteY35959" fmla="*/ 1325972 h 7458372"/>
              <a:gd name="connsiteX35960" fmla="*/ 5674873 w 10505529"/>
              <a:gd name="connsiteY35960" fmla="*/ 1335427 h 7458372"/>
              <a:gd name="connsiteX35961" fmla="*/ 5678467 w 10505529"/>
              <a:gd name="connsiteY35961" fmla="*/ 1344879 h 7458372"/>
              <a:gd name="connsiteX35962" fmla="*/ 5688451 w 10505529"/>
              <a:gd name="connsiteY35962" fmla="*/ 1348345 h 7458372"/>
              <a:gd name="connsiteX35963" fmla="*/ 5693775 w 10505529"/>
              <a:gd name="connsiteY35963" fmla="*/ 1347407 h 7458372"/>
              <a:gd name="connsiteX35964" fmla="*/ 5697502 w 10505529"/>
              <a:gd name="connsiteY35964" fmla="*/ 1345018 h 7458372"/>
              <a:gd name="connsiteX35965" fmla="*/ 5700165 w 10505529"/>
              <a:gd name="connsiteY35965" fmla="*/ 1340751 h 7458372"/>
              <a:gd name="connsiteX35966" fmla="*/ 5701230 w 10505529"/>
              <a:gd name="connsiteY35966" fmla="*/ 1335294 h 7458372"/>
              <a:gd name="connsiteX35967" fmla="*/ 5700165 w 10505529"/>
              <a:gd name="connsiteY35967" fmla="*/ 1330101 h 7458372"/>
              <a:gd name="connsiteX35968" fmla="*/ 5697502 w 10505529"/>
              <a:gd name="connsiteY35968" fmla="*/ 1325972 h 7458372"/>
              <a:gd name="connsiteX35969" fmla="*/ 5693509 w 10505529"/>
              <a:gd name="connsiteY35969" fmla="*/ 1323313 h 7458372"/>
              <a:gd name="connsiteX35970" fmla="*/ 5688451 w 10505529"/>
              <a:gd name="connsiteY35970" fmla="*/ 1322386 h 7458372"/>
              <a:gd name="connsiteX35971" fmla="*/ 5470806 w 10505529"/>
              <a:gd name="connsiteY35971" fmla="*/ 1322386 h 7458372"/>
              <a:gd name="connsiteX35972" fmla="*/ 5460822 w 10505529"/>
              <a:gd name="connsiteY35972" fmla="*/ 1325972 h 7458372"/>
              <a:gd name="connsiteX35973" fmla="*/ 5457228 w 10505529"/>
              <a:gd name="connsiteY35973" fmla="*/ 1335427 h 7458372"/>
              <a:gd name="connsiteX35974" fmla="*/ 5460822 w 10505529"/>
              <a:gd name="connsiteY35974" fmla="*/ 1344879 h 7458372"/>
              <a:gd name="connsiteX35975" fmla="*/ 5470806 w 10505529"/>
              <a:gd name="connsiteY35975" fmla="*/ 1348345 h 7458372"/>
              <a:gd name="connsiteX35976" fmla="*/ 5476130 w 10505529"/>
              <a:gd name="connsiteY35976" fmla="*/ 1347407 h 7458372"/>
              <a:gd name="connsiteX35977" fmla="*/ 5479857 w 10505529"/>
              <a:gd name="connsiteY35977" fmla="*/ 1345018 h 7458372"/>
              <a:gd name="connsiteX35978" fmla="*/ 5482520 w 10505529"/>
              <a:gd name="connsiteY35978" fmla="*/ 1340751 h 7458372"/>
              <a:gd name="connsiteX35979" fmla="*/ 5483585 w 10505529"/>
              <a:gd name="connsiteY35979" fmla="*/ 1335294 h 7458372"/>
              <a:gd name="connsiteX35980" fmla="*/ 5482520 w 10505529"/>
              <a:gd name="connsiteY35980" fmla="*/ 1330101 h 7458372"/>
              <a:gd name="connsiteX35981" fmla="*/ 5479857 w 10505529"/>
              <a:gd name="connsiteY35981" fmla="*/ 1325972 h 7458372"/>
              <a:gd name="connsiteX35982" fmla="*/ 5475864 w 10505529"/>
              <a:gd name="connsiteY35982" fmla="*/ 1323313 h 7458372"/>
              <a:gd name="connsiteX35983" fmla="*/ 5470806 w 10505529"/>
              <a:gd name="connsiteY35983" fmla="*/ 1322386 h 7458372"/>
              <a:gd name="connsiteX35984" fmla="*/ 5253160 w 10505529"/>
              <a:gd name="connsiteY35984" fmla="*/ 1322386 h 7458372"/>
              <a:gd name="connsiteX35985" fmla="*/ 5243177 w 10505529"/>
              <a:gd name="connsiteY35985" fmla="*/ 1325972 h 7458372"/>
              <a:gd name="connsiteX35986" fmla="*/ 5239583 w 10505529"/>
              <a:gd name="connsiteY35986" fmla="*/ 1335427 h 7458372"/>
              <a:gd name="connsiteX35987" fmla="*/ 5243177 w 10505529"/>
              <a:gd name="connsiteY35987" fmla="*/ 1344879 h 7458372"/>
              <a:gd name="connsiteX35988" fmla="*/ 5253160 w 10505529"/>
              <a:gd name="connsiteY35988" fmla="*/ 1348345 h 7458372"/>
              <a:gd name="connsiteX35989" fmla="*/ 5258485 w 10505529"/>
              <a:gd name="connsiteY35989" fmla="*/ 1347407 h 7458372"/>
              <a:gd name="connsiteX35990" fmla="*/ 5262212 w 10505529"/>
              <a:gd name="connsiteY35990" fmla="*/ 1345018 h 7458372"/>
              <a:gd name="connsiteX35991" fmla="*/ 5264875 w 10505529"/>
              <a:gd name="connsiteY35991" fmla="*/ 1340751 h 7458372"/>
              <a:gd name="connsiteX35992" fmla="*/ 5265939 w 10505529"/>
              <a:gd name="connsiteY35992" fmla="*/ 1335294 h 7458372"/>
              <a:gd name="connsiteX35993" fmla="*/ 5264875 w 10505529"/>
              <a:gd name="connsiteY35993" fmla="*/ 1330101 h 7458372"/>
              <a:gd name="connsiteX35994" fmla="*/ 5262212 w 10505529"/>
              <a:gd name="connsiteY35994" fmla="*/ 1325972 h 7458372"/>
              <a:gd name="connsiteX35995" fmla="*/ 5258219 w 10505529"/>
              <a:gd name="connsiteY35995" fmla="*/ 1323313 h 7458372"/>
              <a:gd name="connsiteX35996" fmla="*/ 5253160 w 10505529"/>
              <a:gd name="connsiteY35996" fmla="*/ 1322386 h 7458372"/>
              <a:gd name="connsiteX35997" fmla="*/ 5035515 w 10505529"/>
              <a:gd name="connsiteY35997" fmla="*/ 1322386 h 7458372"/>
              <a:gd name="connsiteX35998" fmla="*/ 5025532 w 10505529"/>
              <a:gd name="connsiteY35998" fmla="*/ 1325972 h 7458372"/>
              <a:gd name="connsiteX35999" fmla="*/ 5021938 w 10505529"/>
              <a:gd name="connsiteY35999" fmla="*/ 1335427 h 7458372"/>
              <a:gd name="connsiteX36000" fmla="*/ 5025532 w 10505529"/>
              <a:gd name="connsiteY36000" fmla="*/ 1344879 h 7458372"/>
              <a:gd name="connsiteX36001" fmla="*/ 5035515 w 10505529"/>
              <a:gd name="connsiteY36001" fmla="*/ 1348345 h 7458372"/>
              <a:gd name="connsiteX36002" fmla="*/ 5040840 w 10505529"/>
              <a:gd name="connsiteY36002" fmla="*/ 1347407 h 7458372"/>
              <a:gd name="connsiteX36003" fmla="*/ 5044567 w 10505529"/>
              <a:gd name="connsiteY36003" fmla="*/ 1345018 h 7458372"/>
              <a:gd name="connsiteX36004" fmla="*/ 5047230 w 10505529"/>
              <a:gd name="connsiteY36004" fmla="*/ 1340751 h 7458372"/>
              <a:gd name="connsiteX36005" fmla="*/ 5048294 w 10505529"/>
              <a:gd name="connsiteY36005" fmla="*/ 1335294 h 7458372"/>
              <a:gd name="connsiteX36006" fmla="*/ 5047230 w 10505529"/>
              <a:gd name="connsiteY36006" fmla="*/ 1330101 h 7458372"/>
              <a:gd name="connsiteX36007" fmla="*/ 5044567 w 10505529"/>
              <a:gd name="connsiteY36007" fmla="*/ 1325972 h 7458372"/>
              <a:gd name="connsiteX36008" fmla="*/ 5040574 w 10505529"/>
              <a:gd name="connsiteY36008" fmla="*/ 1323313 h 7458372"/>
              <a:gd name="connsiteX36009" fmla="*/ 5035515 w 10505529"/>
              <a:gd name="connsiteY36009" fmla="*/ 1322386 h 7458372"/>
              <a:gd name="connsiteX36010" fmla="*/ 4817870 w 10505529"/>
              <a:gd name="connsiteY36010" fmla="*/ 1322386 h 7458372"/>
              <a:gd name="connsiteX36011" fmla="*/ 4807887 w 10505529"/>
              <a:gd name="connsiteY36011" fmla="*/ 1325972 h 7458372"/>
              <a:gd name="connsiteX36012" fmla="*/ 4804293 w 10505529"/>
              <a:gd name="connsiteY36012" fmla="*/ 1335427 h 7458372"/>
              <a:gd name="connsiteX36013" fmla="*/ 4807887 w 10505529"/>
              <a:gd name="connsiteY36013" fmla="*/ 1344879 h 7458372"/>
              <a:gd name="connsiteX36014" fmla="*/ 4817870 w 10505529"/>
              <a:gd name="connsiteY36014" fmla="*/ 1348345 h 7458372"/>
              <a:gd name="connsiteX36015" fmla="*/ 4823195 w 10505529"/>
              <a:gd name="connsiteY36015" fmla="*/ 1347407 h 7458372"/>
              <a:gd name="connsiteX36016" fmla="*/ 4826922 w 10505529"/>
              <a:gd name="connsiteY36016" fmla="*/ 1345018 h 7458372"/>
              <a:gd name="connsiteX36017" fmla="*/ 4829585 w 10505529"/>
              <a:gd name="connsiteY36017" fmla="*/ 1340751 h 7458372"/>
              <a:gd name="connsiteX36018" fmla="*/ 4830650 w 10505529"/>
              <a:gd name="connsiteY36018" fmla="*/ 1335294 h 7458372"/>
              <a:gd name="connsiteX36019" fmla="*/ 4829585 w 10505529"/>
              <a:gd name="connsiteY36019" fmla="*/ 1330101 h 7458372"/>
              <a:gd name="connsiteX36020" fmla="*/ 4826922 w 10505529"/>
              <a:gd name="connsiteY36020" fmla="*/ 1325972 h 7458372"/>
              <a:gd name="connsiteX36021" fmla="*/ 4822929 w 10505529"/>
              <a:gd name="connsiteY36021" fmla="*/ 1323313 h 7458372"/>
              <a:gd name="connsiteX36022" fmla="*/ 4817870 w 10505529"/>
              <a:gd name="connsiteY36022" fmla="*/ 1322386 h 7458372"/>
              <a:gd name="connsiteX36023" fmla="*/ 4600226 w 10505529"/>
              <a:gd name="connsiteY36023" fmla="*/ 1322386 h 7458372"/>
              <a:gd name="connsiteX36024" fmla="*/ 4590242 w 10505529"/>
              <a:gd name="connsiteY36024" fmla="*/ 1325972 h 7458372"/>
              <a:gd name="connsiteX36025" fmla="*/ 4586648 w 10505529"/>
              <a:gd name="connsiteY36025" fmla="*/ 1335427 h 7458372"/>
              <a:gd name="connsiteX36026" fmla="*/ 4590242 w 10505529"/>
              <a:gd name="connsiteY36026" fmla="*/ 1344879 h 7458372"/>
              <a:gd name="connsiteX36027" fmla="*/ 4600226 w 10505529"/>
              <a:gd name="connsiteY36027" fmla="*/ 1348345 h 7458372"/>
              <a:gd name="connsiteX36028" fmla="*/ 4605550 w 10505529"/>
              <a:gd name="connsiteY36028" fmla="*/ 1347407 h 7458372"/>
              <a:gd name="connsiteX36029" fmla="*/ 4609277 w 10505529"/>
              <a:gd name="connsiteY36029" fmla="*/ 1345018 h 7458372"/>
              <a:gd name="connsiteX36030" fmla="*/ 4611940 w 10505529"/>
              <a:gd name="connsiteY36030" fmla="*/ 1340751 h 7458372"/>
              <a:gd name="connsiteX36031" fmla="*/ 4613005 w 10505529"/>
              <a:gd name="connsiteY36031" fmla="*/ 1335294 h 7458372"/>
              <a:gd name="connsiteX36032" fmla="*/ 4611940 w 10505529"/>
              <a:gd name="connsiteY36032" fmla="*/ 1330101 h 7458372"/>
              <a:gd name="connsiteX36033" fmla="*/ 4609277 w 10505529"/>
              <a:gd name="connsiteY36033" fmla="*/ 1325972 h 7458372"/>
              <a:gd name="connsiteX36034" fmla="*/ 4605284 w 10505529"/>
              <a:gd name="connsiteY36034" fmla="*/ 1323313 h 7458372"/>
              <a:gd name="connsiteX36035" fmla="*/ 4600226 w 10505529"/>
              <a:gd name="connsiteY36035" fmla="*/ 1322386 h 7458372"/>
              <a:gd name="connsiteX36036" fmla="*/ 4382713 w 10505529"/>
              <a:gd name="connsiteY36036" fmla="*/ 1322386 h 7458372"/>
              <a:gd name="connsiteX36037" fmla="*/ 4372730 w 10505529"/>
              <a:gd name="connsiteY36037" fmla="*/ 1325972 h 7458372"/>
              <a:gd name="connsiteX36038" fmla="*/ 4369136 w 10505529"/>
              <a:gd name="connsiteY36038" fmla="*/ 1335427 h 7458372"/>
              <a:gd name="connsiteX36039" fmla="*/ 4372730 w 10505529"/>
              <a:gd name="connsiteY36039" fmla="*/ 1344879 h 7458372"/>
              <a:gd name="connsiteX36040" fmla="*/ 4382713 w 10505529"/>
              <a:gd name="connsiteY36040" fmla="*/ 1348345 h 7458372"/>
              <a:gd name="connsiteX36041" fmla="*/ 4388038 w 10505529"/>
              <a:gd name="connsiteY36041" fmla="*/ 1347407 h 7458372"/>
              <a:gd name="connsiteX36042" fmla="*/ 4391765 w 10505529"/>
              <a:gd name="connsiteY36042" fmla="*/ 1345018 h 7458372"/>
              <a:gd name="connsiteX36043" fmla="*/ 4394428 w 10505529"/>
              <a:gd name="connsiteY36043" fmla="*/ 1340751 h 7458372"/>
              <a:gd name="connsiteX36044" fmla="*/ 4395493 w 10505529"/>
              <a:gd name="connsiteY36044" fmla="*/ 1335294 h 7458372"/>
              <a:gd name="connsiteX36045" fmla="*/ 4394428 w 10505529"/>
              <a:gd name="connsiteY36045" fmla="*/ 1330101 h 7458372"/>
              <a:gd name="connsiteX36046" fmla="*/ 4391765 w 10505529"/>
              <a:gd name="connsiteY36046" fmla="*/ 1325972 h 7458372"/>
              <a:gd name="connsiteX36047" fmla="*/ 4387772 w 10505529"/>
              <a:gd name="connsiteY36047" fmla="*/ 1323313 h 7458372"/>
              <a:gd name="connsiteX36048" fmla="*/ 4382713 w 10505529"/>
              <a:gd name="connsiteY36048" fmla="*/ 1322386 h 7458372"/>
              <a:gd name="connsiteX36049" fmla="*/ 4165068 w 10505529"/>
              <a:gd name="connsiteY36049" fmla="*/ 1322386 h 7458372"/>
              <a:gd name="connsiteX36050" fmla="*/ 4155084 w 10505529"/>
              <a:gd name="connsiteY36050" fmla="*/ 1325972 h 7458372"/>
              <a:gd name="connsiteX36051" fmla="*/ 4151490 w 10505529"/>
              <a:gd name="connsiteY36051" fmla="*/ 1335427 h 7458372"/>
              <a:gd name="connsiteX36052" fmla="*/ 4155084 w 10505529"/>
              <a:gd name="connsiteY36052" fmla="*/ 1344879 h 7458372"/>
              <a:gd name="connsiteX36053" fmla="*/ 4165068 w 10505529"/>
              <a:gd name="connsiteY36053" fmla="*/ 1348345 h 7458372"/>
              <a:gd name="connsiteX36054" fmla="*/ 4170392 w 10505529"/>
              <a:gd name="connsiteY36054" fmla="*/ 1347407 h 7458372"/>
              <a:gd name="connsiteX36055" fmla="*/ 4174119 w 10505529"/>
              <a:gd name="connsiteY36055" fmla="*/ 1345018 h 7458372"/>
              <a:gd name="connsiteX36056" fmla="*/ 4176782 w 10505529"/>
              <a:gd name="connsiteY36056" fmla="*/ 1340751 h 7458372"/>
              <a:gd name="connsiteX36057" fmla="*/ 4177847 w 10505529"/>
              <a:gd name="connsiteY36057" fmla="*/ 1335294 h 7458372"/>
              <a:gd name="connsiteX36058" fmla="*/ 4176782 w 10505529"/>
              <a:gd name="connsiteY36058" fmla="*/ 1330101 h 7458372"/>
              <a:gd name="connsiteX36059" fmla="*/ 4174119 w 10505529"/>
              <a:gd name="connsiteY36059" fmla="*/ 1325972 h 7458372"/>
              <a:gd name="connsiteX36060" fmla="*/ 4170126 w 10505529"/>
              <a:gd name="connsiteY36060" fmla="*/ 1323313 h 7458372"/>
              <a:gd name="connsiteX36061" fmla="*/ 4165068 w 10505529"/>
              <a:gd name="connsiteY36061" fmla="*/ 1322386 h 7458372"/>
              <a:gd name="connsiteX36062" fmla="*/ 3947501 w 10505529"/>
              <a:gd name="connsiteY36062" fmla="*/ 1322386 h 7458372"/>
              <a:gd name="connsiteX36063" fmla="*/ 3937517 w 10505529"/>
              <a:gd name="connsiteY36063" fmla="*/ 1325972 h 7458372"/>
              <a:gd name="connsiteX36064" fmla="*/ 3933923 w 10505529"/>
              <a:gd name="connsiteY36064" fmla="*/ 1335427 h 7458372"/>
              <a:gd name="connsiteX36065" fmla="*/ 3937517 w 10505529"/>
              <a:gd name="connsiteY36065" fmla="*/ 1344879 h 7458372"/>
              <a:gd name="connsiteX36066" fmla="*/ 3947501 w 10505529"/>
              <a:gd name="connsiteY36066" fmla="*/ 1348345 h 7458372"/>
              <a:gd name="connsiteX36067" fmla="*/ 3952826 w 10505529"/>
              <a:gd name="connsiteY36067" fmla="*/ 1347407 h 7458372"/>
              <a:gd name="connsiteX36068" fmla="*/ 3956553 w 10505529"/>
              <a:gd name="connsiteY36068" fmla="*/ 1345018 h 7458372"/>
              <a:gd name="connsiteX36069" fmla="*/ 3959216 w 10505529"/>
              <a:gd name="connsiteY36069" fmla="*/ 1340751 h 7458372"/>
              <a:gd name="connsiteX36070" fmla="*/ 3960280 w 10505529"/>
              <a:gd name="connsiteY36070" fmla="*/ 1335294 h 7458372"/>
              <a:gd name="connsiteX36071" fmla="*/ 3959216 w 10505529"/>
              <a:gd name="connsiteY36071" fmla="*/ 1330101 h 7458372"/>
              <a:gd name="connsiteX36072" fmla="*/ 3956553 w 10505529"/>
              <a:gd name="connsiteY36072" fmla="*/ 1325972 h 7458372"/>
              <a:gd name="connsiteX36073" fmla="*/ 3952559 w 10505529"/>
              <a:gd name="connsiteY36073" fmla="*/ 1323313 h 7458372"/>
              <a:gd name="connsiteX36074" fmla="*/ 3947501 w 10505529"/>
              <a:gd name="connsiteY36074" fmla="*/ 1322386 h 7458372"/>
              <a:gd name="connsiteX36075" fmla="*/ 3729851 w 10505529"/>
              <a:gd name="connsiteY36075" fmla="*/ 1322386 h 7458372"/>
              <a:gd name="connsiteX36076" fmla="*/ 3719865 w 10505529"/>
              <a:gd name="connsiteY36076" fmla="*/ 1325972 h 7458372"/>
              <a:gd name="connsiteX36077" fmla="*/ 3716273 w 10505529"/>
              <a:gd name="connsiteY36077" fmla="*/ 1335427 h 7458372"/>
              <a:gd name="connsiteX36078" fmla="*/ 3719865 w 10505529"/>
              <a:gd name="connsiteY36078" fmla="*/ 1344879 h 7458372"/>
              <a:gd name="connsiteX36079" fmla="*/ 3729851 w 10505529"/>
              <a:gd name="connsiteY36079" fmla="*/ 1348345 h 7458372"/>
              <a:gd name="connsiteX36080" fmla="*/ 3735176 w 10505529"/>
              <a:gd name="connsiteY36080" fmla="*/ 1347407 h 7458372"/>
              <a:gd name="connsiteX36081" fmla="*/ 3738903 w 10505529"/>
              <a:gd name="connsiteY36081" fmla="*/ 1345018 h 7458372"/>
              <a:gd name="connsiteX36082" fmla="*/ 3741566 w 10505529"/>
              <a:gd name="connsiteY36082" fmla="*/ 1340751 h 7458372"/>
              <a:gd name="connsiteX36083" fmla="*/ 3742630 w 10505529"/>
              <a:gd name="connsiteY36083" fmla="*/ 1335294 h 7458372"/>
              <a:gd name="connsiteX36084" fmla="*/ 3741566 w 10505529"/>
              <a:gd name="connsiteY36084" fmla="*/ 1330101 h 7458372"/>
              <a:gd name="connsiteX36085" fmla="*/ 3738903 w 10505529"/>
              <a:gd name="connsiteY36085" fmla="*/ 1325972 h 7458372"/>
              <a:gd name="connsiteX36086" fmla="*/ 3734910 w 10505529"/>
              <a:gd name="connsiteY36086" fmla="*/ 1323313 h 7458372"/>
              <a:gd name="connsiteX36087" fmla="*/ 3729851 w 10505529"/>
              <a:gd name="connsiteY36087" fmla="*/ 1322386 h 7458372"/>
              <a:gd name="connsiteX36088" fmla="*/ 3512202 w 10505529"/>
              <a:gd name="connsiteY36088" fmla="*/ 1322386 h 7458372"/>
              <a:gd name="connsiteX36089" fmla="*/ 3502217 w 10505529"/>
              <a:gd name="connsiteY36089" fmla="*/ 1325972 h 7458372"/>
              <a:gd name="connsiteX36090" fmla="*/ 3498624 w 10505529"/>
              <a:gd name="connsiteY36090" fmla="*/ 1335427 h 7458372"/>
              <a:gd name="connsiteX36091" fmla="*/ 3502217 w 10505529"/>
              <a:gd name="connsiteY36091" fmla="*/ 1344879 h 7458372"/>
              <a:gd name="connsiteX36092" fmla="*/ 3512202 w 10505529"/>
              <a:gd name="connsiteY36092" fmla="*/ 1348345 h 7458372"/>
              <a:gd name="connsiteX36093" fmla="*/ 3517527 w 10505529"/>
              <a:gd name="connsiteY36093" fmla="*/ 1347407 h 7458372"/>
              <a:gd name="connsiteX36094" fmla="*/ 3521254 w 10505529"/>
              <a:gd name="connsiteY36094" fmla="*/ 1345018 h 7458372"/>
              <a:gd name="connsiteX36095" fmla="*/ 3523917 w 10505529"/>
              <a:gd name="connsiteY36095" fmla="*/ 1340751 h 7458372"/>
              <a:gd name="connsiteX36096" fmla="*/ 3524982 w 10505529"/>
              <a:gd name="connsiteY36096" fmla="*/ 1335294 h 7458372"/>
              <a:gd name="connsiteX36097" fmla="*/ 3523917 w 10505529"/>
              <a:gd name="connsiteY36097" fmla="*/ 1330101 h 7458372"/>
              <a:gd name="connsiteX36098" fmla="*/ 3521254 w 10505529"/>
              <a:gd name="connsiteY36098" fmla="*/ 1325972 h 7458372"/>
              <a:gd name="connsiteX36099" fmla="*/ 3517261 w 10505529"/>
              <a:gd name="connsiteY36099" fmla="*/ 1323313 h 7458372"/>
              <a:gd name="connsiteX36100" fmla="*/ 3512202 w 10505529"/>
              <a:gd name="connsiteY36100" fmla="*/ 1322386 h 7458372"/>
              <a:gd name="connsiteX36101" fmla="*/ 3294686 w 10505529"/>
              <a:gd name="connsiteY36101" fmla="*/ 1322386 h 7458372"/>
              <a:gd name="connsiteX36102" fmla="*/ 3284702 w 10505529"/>
              <a:gd name="connsiteY36102" fmla="*/ 1325972 h 7458372"/>
              <a:gd name="connsiteX36103" fmla="*/ 3281108 w 10505529"/>
              <a:gd name="connsiteY36103" fmla="*/ 1335427 h 7458372"/>
              <a:gd name="connsiteX36104" fmla="*/ 3284702 w 10505529"/>
              <a:gd name="connsiteY36104" fmla="*/ 1344879 h 7458372"/>
              <a:gd name="connsiteX36105" fmla="*/ 3294686 w 10505529"/>
              <a:gd name="connsiteY36105" fmla="*/ 1348345 h 7458372"/>
              <a:gd name="connsiteX36106" fmla="*/ 3300011 w 10505529"/>
              <a:gd name="connsiteY36106" fmla="*/ 1347407 h 7458372"/>
              <a:gd name="connsiteX36107" fmla="*/ 3303738 w 10505529"/>
              <a:gd name="connsiteY36107" fmla="*/ 1345018 h 7458372"/>
              <a:gd name="connsiteX36108" fmla="*/ 3306401 w 10505529"/>
              <a:gd name="connsiteY36108" fmla="*/ 1340751 h 7458372"/>
              <a:gd name="connsiteX36109" fmla="*/ 3307465 w 10505529"/>
              <a:gd name="connsiteY36109" fmla="*/ 1335294 h 7458372"/>
              <a:gd name="connsiteX36110" fmla="*/ 3306401 w 10505529"/>
              <a:gd name="connsiteY36110" fmla="*/ 1330101 h 7458372"/>
              <a:gd name="connsiteX36111" fmla="*/ 3303738 w 10505529"/>
              <a:gd name="connsiteY36111" fmla="*/ 1325972 h 7458372"/>
              <a:gd name="connsiteX36112" fmla="*/ 3299745 w 10505529"/>
              <a:gd name="connsiteY36112" fmla="*/ 1323313 h 7458372"/>
              <a:gd name="connsiteX36113" fmla="*/ 3294686 w 10505529"/>
              <a:gd name="connsiteY36113" fmla="*/ 1322386 h 7458372"/>
              <a:gd name="connsiteX36114" fmla="*/ 3077170 w 10505529"/>
              <a:gd name="connsiteY36114" fmla="*/ 1322386 h 7458372"/>
              <a:gd name="connsiteX36115" fmla="*/ 3067187 w 10505529"/>
              <a:gd name="connsiteY36115" fmla="*/ 1325972 h 7458372"/>
              <a:gd name="connsiteX36116" fmla="*/ 3063459 w 10505529"/>
              <a:gd name="connsiteY36116" fmla="*/ 1335427 h 7458372"/>
              <a:gd name="connsiteX36117" fmla="*/ 3067054 w 10505529"/>
              <a:gd name="connsiteY36117" fmla="*/ 1344879 h 7458372"/>
              <a:gd name="connsiteX36118" fmla="*/ 3077037 w 10505529"/>
              <a:gd name="connsiteY36118" fmla="*/ 1348345 h 7458372"/>
              <a:gd name="connsiteX36119" fmla="*/ 3082495 w 10505529"/>
              <a:gd name="connsiteY36119" fmla="*/ 1347407 h 7458372"/>
              <a:gd name="connsiteX36120" fmla="*/ 3086223 w 10505529"/>
              <a:gd name="connsiteY36120" fmla="*/ 1345018 h 7458372"/>
              <a:gd name="connsiteX36121" fmla="*/ 3088885 w 10505529"/>
              <a:gd name="connsiteY36121" fmla="*/ 1340751 h 7458372"/>
              <a:gd name="connsiteX36122" fmla="*/ 3089817 w 10505529"/>
              <a:gd name="connsiteY36122" fmla="*/ 1335294 h 7458372"/>
              <a:gd name="connsiteX36123" fmla="*/ 3088885 w 10505529"/>
              <a:gd name="connsiteY36123" fmla="*/ 1330101 h 7458372"/>
              <a:gd name="connsiteX36124" fmla="*/ 3086223 w 10505529"/>
              <a:gd name="connsiteY36124" fmla="*/ 1325972 h 7458372"/>
              <a:gd name="connsiteX36125" fmla="*/ 3082230 w 10505529"/>
              <a:gd name="connsiteY36125" fmla="*/ 1323313 h 7458372"/>
              <a:gd name="connsiteX36126" fmla="*/ 3077170 w 10505529"/>
              <a:gd name="connsiteY36126" fmla="*/ 1322386 h 7458372"/>
              <a:gd name="connsiteX36127" fmla="*/ 2859388 w 10505529"/>
              <a:gd name="connsiteY36127" fmla="*/ 1322386 h 7458372"/>
              <a:gd name="connsiteX36128" fmla="*/ 2849405 w 10505529"/>
              <a:gd name="connsiteY36128" fmla="*/ 1325972 h 7458372"/>
              <a:gd name="connsiteX36129" fmla="*/ 2845810 w 10505529"/>
              <a:gd name="connsiteY36129" fmla="*/ 1335427 h 7458372"/>
              <a:gd name="connsiteX36130" fmla="*/ 2849405 w 10505529"/>
              <a:gd name="connsiteY36130" fmla="*/ 1344879 h 7458372"/>
              <a:gd name="connsiteX36131" fmla="*/ 2859388 w 10505529"/>
              <a:gd name="connsiteY36131" fmla="*/ 1348345 h 7458372"/>
              <a:gd name="connsiteX36132" fmla="*/ 2864713 w 10505529"/>
              <a:gd name="connsiteY36132" fmla="*/ 1347407 h 7458372"/>
              <a:gd name="connsiteX36133" fmla="*/ 2868440 w 10505529"/>
              <a:gd name="connsiteY36133" fmla="*/ 1345018 h 7458372"/>
              <a:gd name="connsiteX36134" fmla="*/ 2871103 w 10505529"/>
              <a:gd name="connsiteY36134" fmla="*/ 1340751 h 7458372"/>
              <a:gd name="connsiteX36135" fmla="*/ 2872034 w 10505529"/>
              <a:gd name="connsiteY36135" fmla="*/ 1335294 h 7458372"/>
              <a:gd name="connsiteX36136" fmla="*/ 2871103 w 10505529"/>
              <a:gd name="connsiteY36136" fmla="*/ 1330101 h 7458372"/>
              <a:gd name="connsiteX36137" fmla="*/ 2868440 w 10505529"/>
              <a:gd name="connsiteY36137" fmla="*/ 1325972 h 7458372"/>
              <a:gd name="connsiteX36138" fmla="*/ 2864448 w 10505529"/>
              <a:gd name="connsiteY36138" fmla="*/ 1323313 h 7458372"/>
              <a:gd name="connsiteX36139" fmla="*/ 2859388 w 10505529"/>
              <a:gd name="connsiteY36139" fmla="*/ 1322386 h 7458372"/>
              <a:gd name="connsiteX36140" fmla="*/ 2641739 w 10505529"/>
              <a:gd name="connsiteY36140" fmla="*/ 1322386 h 7458372"/>
              <a:gd name="connsiteX36141" fmla="*/ 2631756 w 10505529"/>
              <a:gd name="connsiteY36141" fmla="*/ 1325972 h 7458372"/>
              <a:gd name="connsiteX36142" fmla="*/ 2628162 w 10505529"/>
              <a:gd name="connsiteY36142" fmla="*/ 1335427 h 7458372"/>
              <a:gd name="connsiteX36143" fmla="*/ 2631756 w 10505529"/>
              <a:gd name="connsiteY36143" fmla="*/ 1344879 h 7458372"/>
              <a:gd name="connsiteX36144" fmla="*/ 2641739 w 10505529"/>
              <a:gd name="connsiteY36144" fmla="*/ 1348345 h 7458372"/>
              <a:gd name="connsiteX36145" fmla="*/ 2647065 w 10505529"/>
              <a:gd name="connsiteY36145" fmla="*/ 1347407 h 7458372"/>
              <a:gd name="connsiteX36146" fmla="*/ 2650791 w 10505529"/>
              <a:gd name="connsiteY36146" fmla="*/ 1345018 h 7458372"/>
              <a:gd name="connsiteX36147" fmla="*/ 2653455 w 10505529"/>
              <a:gd name="connsiteY36147" fmla="*/ 1340751 h 7458372"/>
              <a:gd name="connsiteX36148" fmla="*/ 2654385 w 10505529"/>
              <a:gd name="connsiteY36148" fmla="*/ 1335294 h 7458372"/>
              <a:gd name="connsiteX36149" fmla="*/ 2653455 w 10505529"/>
              <a:gd name="connsiteY36149" fmla="*/ 1330101 h 7458372"/>
              <a:gd name="connsiteX36150" fmla="*/ 2650791 w 10505529"/>
              <a:gd name="connsiteY36150" fmla="*/ 1325972 h 7458372"/>
              <a:gd name="connsiteX36151" fmla="*/ 2646798 w 10505529"/>
              <a:gd name="connsiteY36151" fmla="*/ 1323313 h 7458372"/>
              <a:gd name="connsiteX36152" fmla="*/ 2641739 w 10505529"/>
              <a:gd name="connsiteY36152" fmla="*/ 1322386 h 7458372"/>
              <a:gd name="connsiteX36153" fmla="*/ 2424090 w 10505529"/>
              <a:gd name="connsiteY36153" fmla="*/ 1322386 h 7458372"/>
              <a:gd name="connsiteX36154" fmla="*/ 2414107 w 10505529"/>
              <a:gd name="connsiteY36154" fmla="*/ 1325972 h 7458372"/>
              <a:gd name="connsiteX36155" fmla="*/ 2410513 w 10505529"/>
              <a:gd name="connsiteY36155" fmla="*/ 1335427 h 7458372"/>
              <a:gd name="connsiteX36156" fmla="*/ 2414107 w 10505529"/>
              <a:gd name="connsiteY36156" fmla="*/ 1344879 h 7458372"/>
              <a:gd name="connsiteX36157" fmla="*/ 2424090 w 10505529"/>
              <a:gd name="connsiteY36157" fmla="*/ 1348345 h 7458372"/>
              <a:gd name="connsiteX36158" fmla="*/ 2429415 w 10505529"/>
              <a:gd name="connsiteY36158" fmla="*/ 1347407 h 7458372"/>
              <a:gd name="connsiteX36159" fmla="*/ 2433142 w 10505529"/>
              <a:gd name="connsiteY36159" fmla="*/ 1345018 h 7458372"/>
              <a:gd name="connsiteX36160" fmla="*/ 2435805 w 10505529"/>
              <a:gd name="connsiteY36160" fmla="*/ 1340751 h 7458372"/>
              <a:gd name="connsiteX36161" fmla="*/ 2436736 w 10505529"/>
              <a:gd name="connsiteY36161" fmla="*/ 1335294 h 7458372"/>
              <a:gd name="connsiteX36162" fmla="*/ 2435805 w 10505529"/>
              <a:gd name="connsiteY36162" fmla="*/ 1330101 h 7458372"/>
              <a:gd name="connsiteX36163" fmla="*/ 2433142 w 10505529"/>
              <a:gd name="connsiteY36163" fmla="*/ 1325972 h 7458372"/>
              <a:gd name="connsiteX36164" fmla="*/ 2429149 w 10505529"/>
              <a:gd name="connsiteY36164" fmla="*/ 1323313 h 7458372"/>
              <a:gd name="connsiteX36165" fmla="*/ 2424090 w 10505529"/>
              <a:gd name="connsiteY36165" fmla="*/ 1322386 h 7458372"/>
              <a:gd name="connsiteX36166" fmla="*/ 2206441 w 10505529"/>
              <a:gd name="connsiteY36166" fmla="*/ 1322386 h 7458372"/>
              <a:gd name="connsiteX36167" fmla="*/ 2196458 w 10505529"/>
              <a:gd name="connsiteY36167" fmla="*/ 1325972 h 7458372"/>
              <a:gd name="connsiteX36168" fmla="*/ 2192863 w 10505529"/>
              <a:gd name="connsiteY36168" fmla="*/ 1335427 h 7458372"/>
              <a:gd name="connsiteX36169" fmla="*/ 2196458 w 10505529"/>
              <a:gd name="connsiteY36169" fmla="*/ 1344879 h 7458372"/>
              <a:gd name="connsiteX36170" fmla="*/ 2206441 w 10505529"/>
              <a:gd name="connsiteY36170" fmla="*/ 1348345 h 7458372"/>
              <a:gd name="connsiteX36171" fmla="*/ 2211766 w 10505529"/>
              <a:gd name="connsiteY36171" fmla="*/ 1347407 h 7458372"/>
              <a:gd name="connsiteX36172" fmla="*/ 2215493 w 10505529"/>
              <a:gd name="connsiteY36172" fmla="*/ 1345018 h 7458372"/>
              <a:gd name="connsiteX36173" fmla="*/ 2218156 w 10505529"/>
              <a:gd name="connsiteY36173" fmla="*/ 1340751 h 7458372"/>
              <a:gd name="connsiteX36174" fmla="*/ 2219087 w 10505529"/>
              <a:gd name="connsiteY36174" fmla="*/ 1335294 h 7458372"/>
              <a:gd name="connsiteX36175" fmla="*/ 2218156 w 10505529"/>
              <a:gd name="connsiteY36175" fmla="*/ 1330101 h 7458372"/>
              <a:gd name="connsiteX36176" fmla="*/ 2215493 w 10505529"/>
              <a:gd name="connsiteY36176" fmla="*/ 1325972 h 7458372"/>
              <a:gd name="connsiteX36177" fmla="*/ 2211500 w 10505529"/>
              <a:gd name="connsiteY36177" fmla="*/ 1323313 h 7458372"/>
              <a:gd name="connsiteX36178" fmla="*/ 2206441 w 10505529"/>
              <a:gd name="connsiteY36178" fmla="*/ 1322386 h 7458372"/>
              <a:gd name="connsiteX36179" fmla="*/ 1988925 w 10505529"/>
              <a:gd name="connsiteY36179" fmla="*/ 1322386 h 7458372"/>
              <a:gd name="connsiteX36180" fmla="*/ 1978942 w 10505529"/>
              <a:gd name="connsiteY36180" fmla="*/ 1325972 h 7458372"/>
              <a:gd name="connsiteX36181" fmla="*/ 1975348 w 10505529"/>
              <a:gd name="connsiteY36181" fmla="*/ 1335427 h 7458372"/>
              <a:gd name="connsiteX36182" fmla="*/ 1978942 w 10505529"/>
              <a:gd name="connsiteY36182" fmla="*/ 1344879 h 7458372"/>
              <a:gd name="connsiteX36183" fmla="*/ 1988925 w 10505529"/>
              <a:gd name="connsiteY36183" fmla="*/ 1348345 h 7458372"/>
              <a:gd name="connsiteX36184" fmla="*/ 1994250 w 10505529"/>
              <a:gd name="connsiteY36184" fmla="*/ 1347407 h 7458372"/>
              <a:gd name="connsiteX36185" fmla="*/ 1997977 w 10505529"/>
              <a:gd name="connsiteY36185" fmla="*/ 1345018 h 7458372"/>
              <a:gd name="connsiteX36186" fmla="*/ 2000640 w 10505529"/>
              <a:gd name="connsiteY36186" fmla="*/ 1340751 h 7458372"/>
              <a:gd name="connsiteX36187" fmla="*/ 2001571 w 10505529"/>
              <a:gd name="connsiteY36187" fmla="*/ 1335294 h 7458372"/>
              <a:gd name="connsiteX36188" fmla="*/ 2000640 w 10505529"/>
              <a:gd name="connsiteY36188" fmla="*/ 1330101 h 7458372"/>
              <a:gd name="connsiteX36189" fmla="*/ 1997977 w 10505529"/>
              <a:gd name="connsiteY36189" fmla="*/ 1325972 h 7458372"/>
              <a:gd name="connsiteX36190" fmla="*/ 1993984 w 10505529"/>
              <a:gd name="connsiteY36190" fmla="*/ 1323313 h 7458372"/>
              <a:gd name="connsiteX36191" fmla="*/ 1988925 w 10505529"/>
              <a:gd name="connsiteY36191" fmla="*/ 1322386 h 7458372"/>
              <a:gd name="connsiteX36192" fmla="*/ 1771283 w 10505529"/>
              <a:gd name="connsiteY36192" fmla="*/ 1322386 h 7458372"/>
              <a:gd name="connsiteX36193" fmla="*/ 1761300 w 10505529"/>
              <a:gd name="connsiteY36193" fmla="*/ 1325972 h 7458372"/>
              <a:gd name="connsiteX36194" fmla="*/ 1757706 w 10505529"/>
              <a:gd name="connsiteY36194" fmla="*/ 1335427 h 7458372"/>
              <a:gd name="connsiteX36195" fmla="*/ 1761300 w 10505529"/>
              <a:gd name="connsiteY36195" fmla="*/ 1344879 h 7458372"/>
              <a:gd name="connsiteX36196" fmla="*/ 1771283 w 10505529"/>
              <a:gd name="connsiteY36196" fmla="*/ 1348345 h 7458372"/>
              <a:gd name="connsiteX36197" fmla="*/ 1776608 w 10505529"/>
              <a:gd name="connsiteY36197" fmla="*/ 1347407 h 7458372"/>
              <a:gd name="connsiteX36198" fmla="*/ 1780335 w 10505529"/>
              <a:gd name="connsiteY36198" fmla="*/ 1345018 h 7458372"/>
              <a:gd name="connsiteX36199" fmla="*/ 1782998 w 10505529"/>
              <a:gd name="connsiteY36199" fmla="*/ 1340751 h 7458372"/>
              <a:gd name="connsiteX36200" fmla="*/ 1784063 w 10505529"/>
              <a:gd name="connsiteY36200" fmla="*/ 1335294 h 7458372"/>
              <a:gd name="connsiteX36201" fmla="*/ 1782998 w 10505529"/>
              <a:gd name="connsiteY36201" fmla="*/ 1330101 h 7458372"/>
              <a:gd name="connsiteX36202" fmla="*/ 1780335 w 10505529"/>
              <a:gd name="connsiteY36202" fmla="*/ 1325972 h 7458372"/>
              <a:gd name="connsiteX36203" fmla="*/ 1776342 w 10505529"/>
              <a:gd name="connsiteY36203" fmla="*/ 1323313 h 7458372"/>
              <a:gd name="connsiteX36204" fmla="*/ 1771283 w 10505529"/>
              <a:gd name="connsiteY36204" fmla="*/ 1322386 h 7458372"/>
              <a:gd name="connsiteX36205" fmla="*/ 1553640 w 10505529"/>
              <a:gd name="connsiteY36205" fmla="*/ 1322386 h 7458372"/>
              <a:gd name="connsiteX36206" fmla="*/ 1543656 w 10505529"/>
              <a:gd name="connsiteY36206" fmla="*/ 1325972 h 7458372"/>
              <a:gd name="connsiteX36207" fmla="*/ 1540062 w 10505529"/>
              <a:gd name="connsiteY36207" fmla="*/ 1335427 h 7458372"/>
              <a:gd name="connsiteX36208" fmla="*/ 1543656 w 10505529"/>
              <a:gd name="connsiteY36208" fmla="*/ 1344879 h 7458372"/>
              <a:gd name="connsiteX36209" fmla="*/ 1553640 w 10505529"/>
              <a:gd name="connsiteY36209" fmla="*/ 1348345 h 7458372"/>
              <a:gd name="connsiteX36210" fmla="*/ 1558965 w 10505529"/>
              <a:gd name="connsiteY36210" fmla="*/ 1347407 h 7458372"/>
              <a:gd name="connsiteX36211" fmla="*/ 1562692 w 10505529"/>
              <a:gd name="connsiteY36211" fmla="*/ 1345018 h 7458372"/>
              <a:gd name="connsiteX36212" fmla="*/ 1565355 w 10505529"/>
              <a:gd name="connsiteY36212" fmla="*/ 1340751 h 7458372"/>
              <a:gd name="connsiteX36213" fmla="*/ 1566420 w 10505529"/>
              <a:gd name="connsiteY36213" fmla="*/ 1335294 h 7458372"/>
              <a:gd name="connsiteX36214" fmla="*/ 1565355 w 10505529"/>
              <a:gd name="connsiteY36214" fmla="*/ 1330101 h 7458372"/>
              <a:gd name="connsiteX36215" fmla="*/ 1562692 w 10505529"/>
              <a:gd name="connsiteY36215" fmla="*/ 1325972 h 7458372"/>
              <a:gd name="connsiteX36216" fmla="*/ 1558698 w 10505529"/>
              <a:gd name="connsiteY36216" fmla="*/ 1323313 h 7458372"/>
              <a:gd name="connsiteX36217" fmla="*/ 1553640 w 10505529"/>
              <a:gd name="connsiteY36217" fmla="*/ 1322386 h 7458372"/>
              <a:gd name="connsiteX36218" fmla="*/ 1335995 w 10505529"/>
              <a:gd name="connsiteY36218" fmla="*/ 1322386 h 7458372"/>
              <a:gd name="connsiteX36219" fmla="*/ 1326012 w 10505529"/>
              <a:gd name="connsiteY36219" fmla="*/ 1325972 h 7458372"/>
              <a:gd name="connsiteX36220" fmla="*/ 1322417 w 10505529"/>
              <a:gd name="connsiteY36220" fmla="*/ 1335427 h 7458372"/>
              <a:gd name="connsiteX36221" fmla="*/ 1326012 w 10505529"/>
              <a:gd name="connsiteY36221" fmla="*/ 1344879 h 7458372"/>
              <a:gd name="connsiteX36222" fmla="*/ 1335995 w 10505529"/>
              <a:gd name="connsiteY36222" fmla="*/ 1348345 h 7458372"/>
              <a:gd name="connsiteX36223" fmla="*/ 1341320 w 10505529"/>
              <a:gd name="connsiteY36223" fmla="*/ 1347407 h 7458372"/>
              <a:gd name="connsiteX36224" fmla="*/ 1345047 w 10505529"/>
              <a:gd name="connsiteY36224" fmla="*/ 1345018 h 7458372"/>
              <a:gd name="connsiteX36225" fmla="*/ 1347710 w 10505529"/>
              <a:gd name="connsiteY36225" fmla="*/ 1340751 h 7458372"/>
              <a:gd name="connsiteX36226" fmla="*/ 1348776 w 10505529"/>
              <a:gd name="connsiteY36226" fmla="*/ 1335294 h 7458372"/>
              <a:gd name="connsiteX36227" fmla="*/ 1347710 w 10505529"/>
              <a:gd name="connsiteY36227" fmla="*/ 1330101 h 7458372"/>
              <a:gd name="connsiteX36228" fmla="*/ 1345047 w 10505529"/>
              <a:gd name="connsiteY36228" fmla="*/ 1325972 h 7458372"/>
              <a:gd name="connsiteX36229" fmla="*/ 1341054 w 10505529"/>
              <a:gd name="connsiteY36229" fmla="*/ 1323313 h 7458372"/>
              <a:gd name="connsiteX36230" fmla="*/ 1335995 w 10505529"/>
              <a:gd name="connsiteY36230" fmla="*/ 1322386 h 7458372"/>
              <a:gd name="connsiteX36231" fmla="*/ 1118483 w 10505529"/>
              <a:gd name="connsiteY36231" fmla="*/ 1322386 h 7458372"/>
              <a:gd name="connsiteX36232" fmla="*/ 1108499 w 10505529"/>
              <a:gd name="connsiteY36232" fmla="*/ 1325972 h 7458372"/>
              <a:gd name="connsiteX36233" fmla="*/ 1104772 w 10505529"/>
              <a:gd name="connsiteY36233" fmla="*/ 1335427 h 7458372"/>
              <a:gd name="connsiteX36234" fmla="*/ 1108366 w 10505529"/>
              <a:gd name="connsiteY36234" fmla="*/ 1344879 h 7458372"/>
              <a:gd name="connsiteX36235" fmla="*/ 1118350 w 10505529"/>
              <a:gd name="connsiteY36235" fmla="*/ 1348345 h 7458372"/>
              <a:gd name="connsiteX36236" fmla="*/ 1123808 w 10505529"/>
              <a:gd name="connsiteY36236" fmla="*/ 1347407 h 7458372"/>
              <a:gd name="connsiteX36237" fmla="*/ 1127535 w 10505529"/>
              <a:gd name="connsiteY36237" fmla="*/ 1345018 h 7458372"/>
              <a:gd name="connsiteX36238" fmla="*/ 1130199 w 10505529"/>
              <a:gd name="connsiteY36238" fmla="*/ 1340751 h 7458372"/>
              <a:gd name="connsiteX36239" fmla="*/ 1131264 w 10505529"/>
              <a:gd name="connsiteY36239" fmla="*/ 1335294 h 7458372"/>
              <a:gd name="connsiteX36240" fmla="*/ 1130199 w 10505529"/>
              <a:gd name="connsiteY36240" fmla="*/ 1330101 h 7458372"/>
              <a:gd name="connsiteX36241" fmla="*/ 1127535 w 10505529"/>
              <a:gd name="connsiteY36241" fmla="*/ 1325972 h 7458372"/>
              <a:gd name="connsiteX36242" fmla="*/ 1123541 w 10505529"/>
              <a:gd name="connsiteY36242" fmla="*/ 1323313 h 7458372"/>
              <a:gd name="connsiteX36243" fmla="*/ 1118483 w 10505529"/>
              <a:gd name="connsiteY36243" fmla="*/ 1322386 h 7458372"/>
              <a:gd name="connsiteX36244" fmla="*/ 900972 w 10505529"/>
              <a:gd name="connsiteY36244" fmla="*/ 1322386 h 7458372"/>
              <a:gd name="connsiteX36245" fmla="*/ 890987 w 10505529"/>
              <a:gd name="connsiteY36245" fmla="*/ 1325972 h 7458372"/>
              <a:gd name="connsiteX36246" fmla="*/ 887261 w 10505529"/>
              <a:gd name="connsiteY36246" fmla="*/ 1335427 h 7458372"/>
              <a:gd name="connsiteX36247" fmla="*/ 890855 w 10505529"/>
              <a:gd name="connsiteY36247" fmla="*/ 1344879 h 7458372"/>
              <a:gd name="connsiteX36248" fmla="*/ 900838 w 10505529"/>
              <a:gd name="connsiteY36248" fmla="*/ 1348345 h 7458372"/>
              <a:gd name="connsiteX36249" fmla="*/ 906296 w 10505529"/>
              <a:gd name="connsiteY36249" fmla="*/ 1347407 h 7458372"/>
              <a:gd name="connsiteX36250" fmla="*/ 910024 w 10505529"/>
              <a:gd name="connsiteY36250" fmla="*/ 1345018 h 7458372"/>
              <a:gd name="connsiteX36251" fmla="*/ 912686 w 10505529"/>
              <a:gd name="connsiteY36251" fmla="*/ 1340751 h 7458372"/>
              <a:gd name="connsiteX36252" fmla="*/ 913751 w 10505529"/>
              <a:gd name="connsiteY36252" fmla="*/ 1335294 h 7458372"/>
              <a:gd name="connsiteX36253" fmla="*/ 912686 w 10505529"/>
              <a:gd name="connsiteY36253" fmla="*/ 1330101 h 7458372"/>
              <a:gd name="connsiteX36254" fmla="*/ 910024 w 10505529"/>
              <a:gd name="connsiteY36254" fmla="*/ 1325972 h 7458372"/>
              <a:gd name="connsiteX36255" fmla="*/ 906030 w 10505529"/>
              <a:gd name="connsiteY36255" fmla="*/ 1323313 h 7458372"/>
              <a:gd name="connsiteX36256" fmla="*/ 900972 w 10505529"/>
              <a:gd name="connsiteY36256" fmla="*/ 1322386 h 7458372"/>
              <a:gd name="connsiteX36257" fmla="*/ 683194 w 10505529"/>
              <a:gd name="connsiteY36257" fmla="*/ 1322386 h 7458372"/>
              <a:gd name="connsiteX36258" fmla="*/ 673211 w 10505529"/>
              <a:gd name="connsiteY36258" fmla="*/ 1325972 h 7458372"/>
              <a:gd name="connsiteX36259" fmla="*/ 669617 w 10505529"/>
              <a:gd name="connsiteY36259" fmla="*/ 1335427 h 7458372"/>
              <a:gd name="connsiteX36260" fmla="*/ 673211 w 10505529"/>
              <a:gd name="connsiteY36260" fmla="*/ 1344879 h 7458372"/>
              <a:gd name="connsiteX36261" fmla="*/ 683194 w 10505529"/>
              <a:gd name="connsiteY36261" fmla="*/ 1348345 h 7458372"/>
              <a:gd name="connsiteX36262" fmla="*/ 688519 w 10505529"/>
              <a:gd name="connsiteY36262" fmla="*/ 1347407 h 7458372"/>
              <a:gd name="connsiteX36263" fmla="*/ 692246 w 10505529"/>
              <a:gd name="connsiteY36263" fmla="*/ 1345018 h 7458372"/>
              <a:gd name="connsiteX36264" fmla="*/ 694909 w 10505529"/>
              <a:gd name="connsiteY36264" fmla="*/ 1340751 h 7458372"/>
              <a:gd name="connsiteX36265" fmla="*/ 695974 w 10505529"/>
              <a:gd name="connsiteY36265" fmla="*/ 1335294 h 7458372"/>
              <a:gd name="connsiteX36266" fmla="*/ 694909 w 10505529"/>
              <a:gd name="connsiteY36266" fmla="*/ 1330101 h 7458372"/>
              <a:gd name="connsiteX36267" fmla="*/ 692246 w 10505529"/>
              <a:gd name="connsiteY36267" fmla="*/ 1325972 h 7458372"/>
              <a:gd name="connsiteX36268" fmla="*/ 688253 w 10505529"/>
              <a:gd name="connsiteY36268" fmla="*/ 1323313 h 7458372"/>
              <a:gd name="connsiteX36269" fmla="*/ 683194 w 10505529"/>
              <a:gd name="connsiteY36269" fmla="*/ 1322386 h 7458372"/>
              <a:gd name="connsiteX36270" fmla="*/ 465550 w 10505529"/>
              <a:gd name="connsiteY36270" fmla="*/ 1322386 h 7458372"/>
              <a:gd name="connsiteX36271" fmla="*/ 455567 w 10505529"/>
              <a:gd name="connsiteY36271" fmla="*/ 1325972 h 7458372"/>
              <a:gd name="connsiteX36272" fmla="*/ 451973 w 10505529"/>
              <a:gd name="connsiteY36272" fmla="*/ 1335427 h 7458372"/>
              <a:gd name="connsiteX36273" fmla="*/ 455567 w 10505529"/>
              <a:gd name="connsiteY36273" fmla="*/ 1344879 h 7458372"/>
              <a:gd name="connsiteX36274" fmla="*/ 465550 w 10505529"/>
              <a:gd name="connsiteY36274" fmla="*/ 1348345 h 7458372"/>
              <a:gd name="connsiteX36275" fmla="*/ 470875 w 10505529"/>
              <a:gd name="connsiteY36275" fmla="*/ 1347407 h 7458372"/>
              <a:gd name="connsiteX36276" fmla="*/ 474602 w 10505529"/>
              <a:gd name="connsiteY36276" fmla="*/ 1345018 h 7458372"/>
              <a:gd name="connsiteX36277" fmla="*/ 477266 w 10505529"/>
              <a:gd name="connsiteY36277" fmla="*/ 1340751 h 7458372"/>
              <a:gd name="connsiteX36278" fmla="*/ 478330 w 10505529"/>
              <a:gd name="connsiteY36278" fmla="*/ 1335294 h 7458372"/>
              <a:gd name="connsiteX36279" fmla="*/ 477266 w 10505529"/>
              <a:gd name="connsiteY36279" fmla="*/ 1330101 h 7458372"/>
              <a:gd name="connsiteX36280" fmla="*/ 474602 w 10505529"/>
              <a:gd name="connsiteY36280" fmla="*/ 1325972 h 7458372"/>
              <a:gd name="connsiteX36281" fmla="*/ 470609 w 10505529"/>
              <a:gd name="connsiteY36281" fmla="*/ 1323313 h 7458372"/>
              <a:gd name="connsiteX36282" fmla="*/ 465550 w 10505529"/>
              <a:gd name="connsiteY36282" fmla="*/ 1322386 h 7458372"/>
              <a:gd name="connsiteX36283" fmla="*/ 247906 w 10505529"/>
              <a:gd name="connsiteY36283" fmla="*/ 1322386 h 7458372"/>
              <a:gd name="connsiteX36284" fmla="*/ 237923 w 10505529"/>
              <a:gd name="connsiteY36284" fmla="*/ 1325972 h 7458372"/>
              <a:gd name="connsiteX36285" fmla="*/ 234329 w 10505529"/>
              <a:gd name="connsiteY36285" fmla="*/ 1335427 h 7458372"/>
              <a:gd name="connsiteX36286" fmla="*/ 237923 w 10505529"/>
              <a:gd name="connsiteY36286" fmla="*/ 1344879 h 7458372"/>
              <a:gd name="connsiteX36287" fmla="*/ 247906 w 10505529"/>
              <a:gd name="connsiteY36287" fmla="*/ 1348345 h 7458372"/>
              <a:gd name="connsiteX36288" fmla="*/ 253231 w 10505529"/>
              <a:gd name="connsiteY36288" fmla="*/ 1347407 h 7458372"/>
              <a:gd name="connsiteX36289" fmla="*/ 256958 w 10505529"/>
              <a:gd name="connsiteY36289" fmla="*/ 1345018 h 7458372"/>
              <a:gd name="connsiteX36290" fmla="*/ 259621 w 10505529"/>
              <a:gd name="connsiteY36290" fmla="*/ 1340751 h 7458372"/>
              <a:gd name="connsiteX36291" fmla="*/ 260686 w 10505529"/>
              <a:gd name="connsiteY36291" fmla="*/ 1335294 h 7458372"/>
              <a:gd name="connsiteX36292" fmla="*/ 259621 w 10505529"/>
              <a:gd name="connsiteY36292" fmla="*/ 1330101 h 7458372"/>
              <a:gd name="connsiteX36293" fmla="*/ 256958 w 10505529"/>
              <a:gd name="connsiteY36293" fmla="*/ 1325972 h 7458372"/>
              <a:gd name="connsiteX36294" fmla="*/ 252965 w 10505529"/>
              <a:gd name="connsiteY36294" fmla="*/ 1323313 h 7458372"/>
              <a:gd name="connsiteX36295" fmla="*/ 247906 w 10505529"/>
              <a:gd name="connsiteY36295" fmla="*/ 1322386 h 7458372"/>
              <a:gd name="connsiteX36296" fmla="*/ 30262 w 10505529"/>
              <a:gd name="connsiteY36296" fmla="*/ 1322386 h 7458372"/>
              <a:gd name="connsiteX36297" fmla="*/ 20279 w 10505529"/>
              <a:gd name="connsiteY36297" fmla="*/ 1325972 h 7458372"/>
              <a:gd name="connsiteX36298" fmla="*/ 16685 w 10505529"/>
              <a:gd name="connsiteY36298" fmla="*/ 1335427 h 7458372"/>
              <a:gd name="connsiteX36299" fmla="*/ 20279 w 10505529"/>
              <a:gd name="connsiteY36299" fmla="*/ 1344879 h 7458372"/>
              <a:gd name="connsiteX36300" fmla="*/ 30262 w 10505529"/>
              <a:gd name="connsiteY36300" fmla="*/ 1348345 h 7458372"/>
              <a:gd name="connsiteX36301" fmla="*/ 35587 w 10505529"/>
              <a:gd name="connsiteY36301" fmla="*/ 1347407 h 7458372"/>
              <a:gd name="connsiteX36302" fmla="*/ 39314 w 10505529"/>
              <a:gd name="connsiteY36302" fmla="*/ 1345018 h 7458372"/>
              <a:gd name="connsiteX36303" fmla="*/ 41977 w 10505529"/>
              <a:gd name="connsiteY36303" fmla="*/ 1340751 h 7458372"/>
              <a:gd name="connsiteX36304" fmla="*/ 42908 w 10505529"/>
              <a:gd name="connsiteY36304" fmla="*/ 1335294 h 7458372"/>
              <a:gd name="connsiteX36305" fmla="*/ 41977 w 10505529"/>
              <a:gd name="connsiteY36305" fmla="*/ 1330101 h 7458372"/>
              <a:gd name="connsiteX36306" fmla="*/ 39314 w 10505529"/>
              <a:gd name="connsiteY36306" fmla="*/ 1325972 h 7458372"/>
              <a:gd name="connsiteX36307" fmla="*/ 35321 w 10505529"/>
              <a:gd name="connsiteY36307" fmla="*/ 1323313 h 7458372"/>
              <a:gd name="connsiteX36308" fmla="*/ 30262 w 10505529"/>
              <a:gd name="connsiteY36308" fmla="*/ 1322386 h 7458372"/>
              <a:gd name="connsiteX36309" fmla="*/ 10475977 w 10505529"/>
              <a:gd name="connsiteY36309" fmla="*/ 1305741 h 7458372"/>
              <a:gd name="connsiteX36310" fmla="*/ 10487824 w 10505529"/>
              <a:gd name="connsiteY36310" fmla="*/ 1308407 h 7458372"/>
              <a:gd name="connsiteX36311" fmla="*/ 10497143 w 10505529"/>
              <a:gd name="connsiteY36311" fmla="*/ 1314801 h 7458372"/>
              <a:gd name="connsiteX36312" fmla="*/ 10503266 w 10505529"/>
              <a:gd name="connsiteY36312" fmla="*/ 1324111 h 7458372"/>
              <a:gd name="connsiteX36313" fmla="*/ 10505529 w 10505529"/>
              <a:gd name="connsiteY36313" fmla="*/ 1335564 h 7458372"/>
              <a:gd name="connsiteX36314" fmla="*/ 10503266 w 10505529"/>
              <a:gd name="connsiteY36314" fmla="*/ 1347279 h 7458372"/>
              <a:gd name="connsiteX36315" fmla="*/ 10497143 w 10505529"/>
              <a:gd name="connsiteY36315" fmla="*/ 1356599 h 7458372"/>
              <a:gd name="connsiteX36316" fmla="*/ 10487824 w 10505529"/>
              <a:gd name="connsiteY36316" fmla="*/ 1362849 h 7458372"/>
              <a:gd name="connsiteX36317" fmla="*/ 10475977 w 10505529"/>
              <a:gd name="connsiteY36317" fmla="*/ 1365113 h 7458372"/>
              <a:gd name="connsiteX36318" fmla="*/ 10454145 w 10505529"/>
              <a:gd name="connsiteY36318" fmla="*/ 1356599 h 7458372"/>
              <a:gd name="connsiteX36319" fmla="*/ 10445759 w 10505529"/>
              <a:gd name="connsiteY36319" fmla="*/ 1335427 h 7458372"/>
              <a:gd name="connsiteX36320" fmla="*/ 10454145 w 10505529"/>
              <a:gd name="connsiteY36320" fmla="*/ 1314393 h 7458372"/>
              <a:gd name="connsiteX36321" fmla="*/ 10475977 w 10505529"/>
              <a:gd name="connsiteY36321" fmla="*/ 1305741 h 7458372"/>
              <a:gd name="connsiteX36322" fmla="*/ 10258466 w 10505529"/>
              <a:gd name="connsiteY36322" fmla="*/ 1305741 h 7458372"/>
              <a:gd name="connsiteX36323" fmla="*/ 10270313 w 10505529"/>
              <a:gd name="connsiteY36323" fmla="*/ 1308407 h 7458372"/>
              <a:gd name="connsiteX36324" fmla="*/ 10279631 w 10505529"/>
              <a:gd name="connsiteY36324" fmla="*/ 1314801 h 7458372"/>
              <a:gd name="connsiteX36325" fmla="*/ 10285754 w 10505529"/>
              <a:gd name="connsiteY36325" fmla="*/ 1324111 h 7458372"/>
              <a:gd name="connsiteX36326" fmla="*/ 10288017 w 10505529"/>
              <a:gd name="connsiteY36326" fmla="*/ 1335564 h 7458372"/>
              <a:gd name="connsiteX36327" fmla="*/ 10285754 w 10505529"/>
              <a:gd name="connsiteY36327" fmla="*/ 1347279 h 7458372"/>
              <a:gd name="connsiteX36328" fmla="*/ 10279631 w 10505529"/>
              <a:gd name="connsiteY36328" fmla="*/ 1356599 h 7458372"/>
              <a:gd name="connsiteX36329" fmla="*/ 10270313 w 10505529"/>
              <a:gd name="connsiteY36329" fmla="*/ 1362849 h 7458372"/>
              <a:gd name="connsiteX36330" fmla="*/ 10258466 w 10505529"/>
              <a:gd name="connsiteY36330" fmla="*/ 1365113 h 7458372"/>
              <a:gd name="connsiteX36331" fmla="*/ 10236633 w 10505529"/>
              <a:gd name="connsiteY36331" fmla="*/ 1356599 h 7458372"/>
              <a:gd name="connsiteX36332" fmla="*/ 10228247 w 10505529"/>
              <a:gd name="connsiteY36332" fmla="*/ 1335427 h 7458372"/>
              <a:gd name="connsiteX36333" fmla="*/ 10236633 w 10505529"/>
              <a:gd name="connsiteY36333" fmla="*/ 1314393 h 7458372"/>
              <a:gd name="connsiteX36334" fmla="*/ 10258466 w 10505529"/>
              <a:gd name="connsiteY36334" fmla="*/ 1305741 h 7458372"/>
              <a:gd name="connsiteX36335" fmla="*/ 10040820 w 10505529"/>
              <a:gd name="connsiteY36335" fmla="*/ 1305741 h 7458372"/>
              <a:gd name="connsiteX36336" fmla="*/ 10052534 w 10505529"/>
              <a:gd name="connsiteY36336" fmla="*/ 1308407 h 7458372"/>
              <a:gd name="connsiteX36337" fmla="*/ 10061852 w 10505529"/>
              <a:gd name="connsiteY36337" fmla="*/ 1314801 h 7458372"/>
              <a:gd name="connsiteX36338" fmla="*/ 10067976 w 10505529"/>
              <a:gd name="connsiteY36338" fmla="*/ 1324111 h 7458372"/>
              <a:gd name="connsiteX36339" fmla="*/ 10070239 w 10505529"/>
              <a:gd name="connsiteY36339" fmla="*/ 1335564 h 7458372"/>
              <a:gd name="connsiteX36340" fmla="*/ 10067976 w 10505529"/>
              <a:gd name="connsiteY36340" fmla="*/ 1347279 h 7458372"/>
              <a:gd name="connsiteX36341" fmla="*/ 10061852 w 10505529"/>
              <a:gd name="connsiteY36341" fmla="*/ 1356599 h 7458372"/>
              <a:gd name="connsiteX36342" fmla="*/ 10052534 w 10505529"/>
              <a:gd name="connsiteY36342" fmla="*/ 1362849 h 7458372"/>
              <a:gd name="connsiteX36343" fmla="*/ 10040820 w 10505529"/>
              <a:gd name="connsiteY36343" fmla="*/ 1365113 h 7458372"/>
              <a:gd name="connsiteX36344" fmla="*/ 10018988 w 10505529"/>
              <a:gd name="connsiteY36344" fmla="*/ 1356599 h 7458372"/>
              <a:gd name="connsiteX36345" fmla="*/ 10010602 w 10505529"/>
              <a:gd name="connsiteY36345" fmla="*/ 1335427 h 7458372"/>
              <a:gd name="connsiteX36346" fmla="*/ 10018988 w 10505529"/>
              <a:gd name="connsiteY36346" fmla="*/ 1314393 h 7458372"/>
              <a:gd name="connsiteX36347" fmla="*/ 10040820 w 10505529"/>
              <a:gd name="connsiteY36347" fmla="*/ 1305741 h 7458372"/>
              <a:gd name="connsiteX36348" fmla="*/ 9823176 w 10505529"/>
              <a:gd name="connsiteY36348" fmla="*/ 1305741 h 7458372"/>
              <a:gd name="connsiteX36349" fmla="*/ 9834890 w 10505529"/>
              <a:gd name="connsiteY36349" fmla="*/ 1308407 h 7458372"/>
              <a:gd name="connsiteX36350" fmla="*/ 9844208 w 10505529"/>
              <a:gd name="connsiteY36350" fmla="*/ 1314801 h 7458372"/>
              <a:gd name="connsiteX36351" fmla="*/ 9850331 w 10505529"/>
              <a:gd name="connsiteY36351" fmla="*/ 1324111 h 7458372"/>
              <a:gd name="connsiteX36352" fmla="*/ 9852595 w 10505529"/>
              <a:gd name="connsiteY36352" fmla="*/ 1335564 h 7458372"/>
              <a:gd name="connsiteX36353" fmla="*/ 9850331 w 10505529"/>
              <a:gd name="connsiteY36353" fmla="*/ 1347279 h 7458372"/>
              <a:gd name="connsiteX36354" fmla="*/ 9844208 w 10505529"/>
              <a:gd name="connsiteY36354" fmla="*/ 1356599 h 7458372"/>
              <a:gd name="connsiteX36355" fmla="*/ 9834890 w 10505529"/>
              <a:gd name="connsiteY36355" fmla="*/ 1362851 h 7458372"/>
              <a:gd name="connsiteX36356" fmla="*/ 9823176 w 10505529"/>
              <a:gd name="connsiteY36356" fmla="*/ 1365113 h 7458372"/>
              <a:gd name="connsiteX36357" fmla="*/ 9801343 w 10505529"/>
              <a:gd name="connsiteY36357" fmla="*/ 1356599 h 7458372"/>
              <a:gd name="connsiteX36358" fmla="*/ 9792957 w 10505529"/>
              <a:gd name="connsiteY36358" fmla="*/ 1335427 h 7458372"/>
              <a:gd name="connsiteX36359" fmla="*/ 9801343 w 10505529"/>
              <a:gd name="connsiteY36359" fmla="*/ 1314393 h 7458372"/>
              <a:gd name="connsiteX36360" fmla="*/ 9823176 w 10505529"/>
              <a:gd name="connsiteY36360" fmla="*/ 1305741 h 7458372"/>
              <a:gd name="connsiteX36361" fmla="*/ 9605531 w 10505529"/>
              <a:gd name="connsiteY36361" fmla="*/ 1305741 h 7458372"/>
              <a:gd name="connsiteX36362" fmla="*/ 9617245 w 10505529"/>
              <a:gd name="connsiteY36362" fmla="*/ 1308407 h 7458372"/>
              <a:gd name="connsiteX36363" fmla="*/ 9626562 w 10505529"/>
              <a:gd name="connsiteY36363" fmla="*/ 1314801 h 7458372"/>
              <a:gd name="connsiteX36364" fmla="*/ 9632686 w 10505529"/>
              <a:gd name="connsiteY36364" fmla="*/ 1324111 h 7458372"/>
              <a:gd name="connsiteX36365" fmla="*/ 9634949 w 10505529"/>
              <a:gd name="connsiteY36365" fmla="*/ 1335564 h 7458372"/>
              <a:gd name="connsiteX36366" fmla="*/ 9632686 w 10505529"/>
              <a:gd name="connsiteY36366" fmla="*/ 1347279 h 7458372"/>
              <a:gd name="connsiteX36367" fmla="*/ 9626562 w 10505529"/>
              <a:gd name="connsiteY36367" fmla="*/ 1356599 h 7458372"/>
              <a:gd name="connsiteX36368" fmla="*/ 9617245 w 10505529"/>
              <a:gd name="connsiteY36368" fmla="*/ 1362851 h 7458372"/>
              <a:gd name="connsiteX36369" fmla="*/ 9605531 w 10505529"/>
              <a:gd name="connsiteY36369" fmla="*/ 1365113 h 7458372"/>
              <a:gd name="connsiteX36370" fmla="*/ 9583698 w 10505529"/>
              <a:gd name="connsiteY36370" fmla="*/ 1356599 h 7458372"/>
              <a:gd name="connsiteX36371" fmla="*/ 9575312 w 10505529"/>
              <a:gd name="connsiteY36371" fmla="*/ 1335427 h 7458372"/>
              <a:gd name="connsiteX36372" fmla="*/ 9583698 w 10505529"/>
              <a:gd name="connsiteY36372" fmla="*/ 1314393 h 7458372"/>
              <a:gd name="connsiteX36373" fmla="*/ 9605531 w 10505529"/>
              <a:gd name="connsiteY36373" fmla="*/ 1305741 h 7458372"/>
              <a:gd name="connsiteX36374" fmla="*/ 9387885 w 10505529"/>
              <a:gd name="connsiteY36374" fmla="*/ 1305741 h 7458372"/>
              <a:gd name="connsiteX36375" fmla="*/ 9399599 w 10505529"/>
              <a:gd name="connsiteY36375" fmla="*/ 1308407 h 7458372"/>
              <a:gd name="connsiteX36376" fmla="*/ 9408917 w 10505529"/>
              <a:gd name="connsiteY36376" fmla="*/ 1314801 h 7458372"/>
              <a:gd name="connsiteX36377" fmla="*/ 9415041 w 10505529"/>
              <a:gd name="connsiteY36377" fmla="*/ 1324111 h 7458372"/>
              <a:gd name="connsiteX36378" fmla="*/ 9417304 w 10505529"/>
              <a:gd name="connsiteY36378" fmla="*/ 1335564 h 7458372"/>
              <a:gd name="connsiteX36379" fmla="*/ 9415041 w 10505529"/>
              <a:gd name="connsiteY36379" fmla="*/ 1347279 h 7458372"/>
              <a:gd name="connsiteX36380" fmla="*/ 9408917 w 10505529"/>
              <a:gd name="connsiteY36380" fmla="*/ 1356599 h 7458372"/>
              <a:gd name="connsiteX36381" fmla="*/ 9399599 w 10505529"/>
              <a:gd name="connsiteY36381" fmla="*/ 1362851 h 7458372"/>
              <a:gd name="connsiteX36382" fmla="*/ 9387885 w 10505529"/>
              <a:gd name="connsiteY36382" fmla="*/ 1365113 h 7458372"/>
              <a:gd name="connsiteX36383" fmla="*/ 9366053 w 10505529"/>
              <a:gd name="connsiteY36383" fmla="*/ 1356599 h 7458372"/>
              <a:gd name="connsiteX36384" fmla="*/ 9357667 w 10505529"/>
              <a:gd name="connsiteY36384" fmla="*/ 1335427 h 7458372"/>
              <a:gd name="connsiteX36385" fmla="*/ 9366053 w 10505529"/>
              <a:gd name="connsiteY36385" fmla="*/ 1314393 h 7458372"/>
              <a:gd name="connsiteX36386" fmla="*/ 9387885 w 10505529"/>
              <a:gd name="connsiteY36386" fmla="*/ 1305741 h 7458372"/>
              <a:gd name="connsiteX36387" fmla="*/ 9170374 w 10505529"/>
              <a:gd name="connsiteY36387" fmla="*/ 1305741 h 7458372"/>
              <a:gd name="connsiteX36388" fmla="*/ 9182088 w 10505529"/>
              <a:gd name="connsiteY36388" fmla="*/ 1308407 h 7458372"/>
              <a:gd name="connsiteX36389" fmla="*/ 9191405 w 10505529"/>
              <a:gd name="connsiteY36389" fmla="*/ 1314801 h 7458372"/>
              <a:gd name="connsiteX36390" fmla="*/ 9197529 w 10505529"/>
              <a:gd name="connsiteY36390" fmla="*/ 1324111 h 7458372"/>
              <a:gd name="connsiteX36391" fmla="*/ 9199792 w 10505529"/>
              <a:gd name="connsiteY36391" fmla="*/ 1335564 h 7458372"/>
              <a:gd name="connsiteX36392" fmla="*/ 9197529 w 10505529"/>
              <a:gd name="connsiteY36392" fmla="*/ 1347279 h 7458372"/>
              <a:gd name="connsiteX36393" fmla="*/ 9191405 w 10505529"/>
              <a:gd name="connsiteY36393" fmla="*/ 1356599 h 7458372"/>
              <a:gd name="connsiteX36394" fmla="*/ 9182088 w 10505529"/>
              <a:gd name="connsiteY36394" fmla="*/ 1362851 h 7458372"/>
              <a:gd name="connsiteX36395" fmla="*/ 9170374 w 10505529"/>
              <a:gd name="connsiteY36395" fmla="*/ 1365113 h 7458372"/>
              <a:gd name="connsiteX36396" fmla="*/ 9148541 w 10505529"/>
              <a:gd name="connsiteY36396" fmla="*/ 1356599 h 7458372"/>
              <a:gd name="connsiteX36397" fmla="*/ 9140155 w 10505529"/>
              <a:gd name="connsiteY36397" fmla="*/ 1335427 h 7458372"/>
              <a:gd name="connsiteX36398" fmla="*/ 9148541 w 10505529"/>
              <a:gd name="connsiteY36398" fmla="*/ 1314393 h 7458372"/>
              <a:gd name="connsiteX36399" fmla="*/ 9170374 w 10505529"/>
              <a:gd name="connsiteY36399" fmla="*/ 1305741 h 7458372"/>
              <a:gd name="connsiteX36400" fmla="*/ 8952728 w 10505529"/>
              <a:gd name="connsiteY36400" fmla="*/ 1305741 h 7458372"/>
              <a:gd name="connsiteX36401" fmla="*/ 8964442 w 10505529"/>
              <a:gd name="connsiteY36401" fmla="*/ 1308407 h 7458372"/>
              <a:gd name="connsiteX36402" fmla="*/ 8973760 w 10505529"/>
              <a:gd name="connsiteY36402" fmla="*/ 1314801 h 7458372"/>
              <a:gd name="connsiteX36403" fmla="*/ 8979884 w 10505529"/>
              <a:gd name="connsiteY36403" fmla="*/ 1324111 h 7458372"/>
              <a:gd name="connsiteX36404" fmla="*/ 8982147 w 10505529"/>
              <a:gd name="connsiteY36404" fmla="*/ 1335564 h 7458372"/>
              <a:gd name="connsiteX36405" fmla="*/ 8979884 w 10505529"/>
              <a:gd name="connsiteY36405" fmla="*/ 1347279 h 7458372"/>
              <a:gd name="connsiteX36406" fmla="*/ 8973760 w 10505529"/>
              <a:gd name="connsiteY36406" fmla="*/ 1356599 h 7458372"/>
              <a:gd name="connsiteX36407" fmla="*/ 8964442 w 10505529"/>
              <a:gd name="connsiteY36407" fmla="*/ 1362851 h 7458372"/>
              <a:gd name="connsiteX36408" fmla="*/ 8952728 w 10505529"/>
              <a:gd name="connsiteY36408" fmla="*/ 1365113 h 7458372"/>
              <a:gd name="connsiteX36409" fmla="*/ 8930896 w 10505529"/>
              <a:gd name="connsiteY36409" fmla="*/ 1356599 h 7458372"/>
              <a:gd name="connsiteX36410" fmla="*/ 8922510 w 10505529"/>
              <a:gd name="connsiteY36410" fmla="*/ 1335427 h 7458372"/>
              <a:gd name="connsiteX36411" fmla="*/ 8930896 w 10505529"/>
              <a:gd name="connsiteY36411" fmla="*/ 1314393 h 7458372"/>
              <a:gd name="connsiteX36412" fmla="*/ 8952728 w 10505529"/>
              <a:gd name="connsiteY36412" fmla="*/ 1305741 h 7458372"/>
              <a:gd name="connsiteX36413" fmla="*/ 8735083 w 10505529"/>
              <a:gd name="connsiteY36413" fmla="*/ 1305741 h 7458372"/>
              <a:gd name="connsiteX36414" fmla="*/ 8746797 w 10505529"/>
              <a:gd name="connsiteY36414" fmla="*/ 1308407 h 7458372"/>
              <a:gd name="connsiteX36415" fmla="*/ 8756115 w 10505529"/>
              <a:gd name="connsiteY36415" fmla="*/ 1314801 h 7458372"/>
              <a:gd name="connsiteX36416" fmla="*/ 8762238 w 10505529"/>
              <a:gd name="connsiteY36416" fmla="*/ 1324111 h 7458372"/>
              <a:gd name="connsiteX36417" fmla="*/ 8764502 w 10505529"/>
              <a:gd name="connsiteY36417" fmla="*/ 1335564 h 7458372"/>
              <a:gd name="connsiteX36418" fmla="*/ 8762238 w 10505529"/>
              <a:gd name="connsiteY36418" fmla="*/ 1347279 h 7458372"/>
              <a:gd name="connsiteX36419" fmla="*/ 8756115 w 10505529"/>
              <a:gd name="connsiteY36419" fmla="*/ 1356599 h 7458372"/>
              <a:gd name="connsiteX36420" fmla="*/ 8746797 w 10505529"/>
              <a:gd name="connsiteY36420" fmla="*/ 1362851 h 7458372"/>
              <a:gd name="connsiteX36421" fmla="*/ 8735083 w 10505529"/>
              <a:gd name="connsiteY36421" fmla="*/ 1365113 h 7458372"/>
              <a:gd name="connsiteX36422" fmla="*/ 8713250 w 10505529"/>
              <a:gd name="connsiteY36422" fmla="*/ 1356599 h 7458372"/>
              <a:gd name="connsiteX36423" fmla="*/ 8704864 w 10505529"/>
              <a:gd name="connsiteY36423" fmla="*/ 1335427 h 7458372"/>
              <a:gd name="connsiteX36424" fmla="*/ 8713250 w 10505529"/>
              <a:gd name="connsiteY36424" fmla="*/ 1314393 h 7458372"/>
              <a:gd name="connsiteX36425" fmla="*/ 8735083 w 10505529"/>
              <a:gd name="connsiteY36425" fmla="*/ 1305741 h 7458372"/>
              <a:gd name="connsiteX36426" fmla="*/ 8517438 w 10505529"/>
              <a:gd name="connsiteY36426" fmla="*/ 1305741 h 7458372"/>
              <a:gd name="connsiteX36427" fmla="*/ 8529152 w 10505529"/>
              <a:gd name="connsiteY36427" fmla="*/ 1308407 h 7458372"/>
              <a:gd name="connsiteX36428" fmla="*/ 8538470 w 10505529"/>
              <a:gd name="connsiteY36428" fmla="*/ 1314801 h 7458372"/>
              <a:gd name="connsiteX36429" fmla="*/ 8544594 w 10505529"/>
              <a:gd name="connsiteY36429" fmla="*/ 1324111 h 7458372"/>
              <a:gd name="connsiteX36430" fmla="*/ 8546857 w 10505529"/>
              <a:gd name="connsiteY36430" fmla="*/ 1335564 h 7458372"/>
              <a:gd name="connsiteX36431" fmla="*/ 8544594 w 10505529"/>
              <a:gd name="connsiteY36431" fmla="*/ 1347279 h 7458372"/>
              <a:gd name="connsiteX36432" fmla="*/ 8538470 w 10505529"/>
              <a:gd name="connsiteY36432" fmla="*/ 1356599 h 7458372"/>
              <a:gd name="connsiteX36433" fmla="*/ 8529152 w 10505529"/>
              <a:gd name="connsiteY36433" fmla="*/ 1362851 h 7458372"/>
              <a:gd name="connsiteX36434" fmla="*/ 8517438 w 10505529"/>
              <a:gd name="connsiteY36434" fmla="*/ 1365113 h 7458372"/>
              <a:gd name="connsiteX36435" fmla="*/ 8495606 w 10505529"/>
              <a:gd name="connsiteY36435" fmla="*/ 1356599 h 7458372"/>
              <a:gd name="connsiteX36436" fmla="*/ 8487220 w 10505529"/>
              <a:gd name="connsiteY36436" fmla="*/ 1335427 h 7458372"/>
              <a:gd name="connsiteX36437" fmla="*/ 8495606 w 10505529"/>
              <a:gd name="connsiteY36437" fmla="*/ 1314393 h 7458372"/>
              <a:gd name="connsiteX36438" fmla="*/ 8517438 w 10505529"/>
              <a:gd name="connsiteY36438" fmla="*/ 1305741 h 7458372"/>
              <a:gd name="connsiteX36439" fmla="*/ 8299793 w 10505529"/>
              <a:gd name="connsiteY36439" fmla="*/ 1305741 h 7458372"/>
              <a:gd name="connsiteX36440" fmla="*/ 8311507 w 10505529"/>
              <a:gd name="connsiteY36440" fmla="*/ 1308407 h 7458372"/>
              <a:gd name="connsiteX36441" fmla="*/ 8320825 w 10505529"/>
              <a:gd name="connsiteY36441" fmla="*/ 1314801 h 7458372"/>
              <a:gd name="connsiteX36442" fmla="*/ 8326948 w 10505529"/>
              <a:gd name="connsiteY36442" fmla="*/ 1324111 h 7458372"/>
              <a:gd name="connsiteX36443" fmla="*/ 8329212 w 10505529"/>
              <a:gd name="connsiteY36443" fmla="*/ 1335564 h 7458372"/>
              <a:gd name="connsiteX36444" fmla="*/ 8326948 w 10505529"/>
              <a:gd name="connsiteY36444" fmla="*/ 1347279 h 7458372"/>
              <a:gd name="connsiteX36445" fmla="*/ 8320825 w 10505529"/>
              <a:gd name="connsiteY36445" fmla="*/ 1356599 h 7458372"/>
              <a:gd name="connsiteX36446" fmla="*/ 8311507 w 10505529"/>
              <a:gd name="connsiteY36446" fmla="*/ 1362851 h 7458372"/>
              <a:gd name="connsiteX36447" fmla="*/ 8299793 w 10505529"/>
              <a:gd name="connsiteY36447" fmla="*/ 1365113 h 7458372"/>
              <a:gd name="connsiteX36448" fmla="*/ 8277960 w 10505529"/>
              <a:gd name="connsiteY36448" fmla="*/ 1356599 h 7458372"/>
              <a:gd name="connsiteX36449" fmla="*/ 8269574 w 10505529"/>
              <a:gd name="connsiteY36449" fmla="*/ 1335427 h 7458372"/>
              <a:gd name="connsiteX36450" fmla="*/ 8277960 w 10505529"/>
              <a:gd name="connsiteY36450" fmla="*/ 1314393 h 7458372"/>
              <a:gd name="connsiteX36451" fmla="*/ 8299793 w 10505529"/>
              <a:gd name="connsiteY36451" fmla="*/ 1305741 h 7458372"/>
              <a:gd name="connsiteX36452" fmla="*/ 8082281 w 10505529"/>
              <a:gd name="connsiteY36452" fmla="*/ 1305741 h 7458372"/>
              <a:gd name="connsiteX36453" fmla="*/ 8094127 w 10505529"/>
              <a:gd name="connsiteY36453" fmla="*/ 1308407 h 7458372"/>
              <a:gd name="connsiteX36454" fmla="*/ 8103446 w 10505529"/>
              <a:gd name="connsiteY36454" fmla="*/ 1314801 h 7458372"/>
              <a:gd name="connsiteX36455" fmla="*/ 8109569 w 10505529"/>
              <a:gd name="connsiteY36455" fmla="*/ 1324111 h 7458372"/>
              <a:gd name="connsiteX36456" fmla="*/ 8111832 w 10505529"/>
              <a:gd name="connsiteY36456" fmla="*/ 1335564 h 7458372"/>
              <a:gd name="connsiteX36457" fmla="*/ 8109569 w 10505529"/>
              <a:gd name="connsiteY36457" fmla="*/ 1347279 h 7458372"/>
              <a:gd name="connsiteX36458" fmla="*/ 8103446 w 10505529"/>
              <a:gd name="connsiteY36458" fmla="*/ 1356599 h 7458372"/>
              <a:gd name="connsiteX36459" fmla="*/ 8094127 w 10505529"/>
              <a:gd name="connsiteY36459" fmla="*/ 1362851 h 7458372"/>
              <a:gd name="connsiteX36460" fmla="*/ 8082281 w 10505529"/>
              <a:gd name="connsiteY36460" fmla="*/ 1365113 h 7458372"/>
              <a:gd name="connsiteX36461" fmla="*/ 8060448 w 10505529"/>
              <a:gd name="connsiteY36461" fmla="*/ 1356599 h 7458372"/>
              <a:gd name="connsiteX36462" fmla="*/ 8052062 w 10505529"/>
              <a:gd name="connsiteY36462" fmla="*/ 1335427 h 7458372"/>
              <a:gd name="connsiteX36463" fmla="*/ 8060448 w 10505529"/>
              <a:gd name="connsiteY36463" fmla="*/ 1314393 h 7458372"/>
              <a:gd name="connsiteX36464" fmla="*/ 8082281 w 10505529"/>
              <a:gd name="connsiteY36464" fmla="*/ 1305741 h 7458372"/>
              <a:gd name="connsiteX36465" fmla="*/ 7864636 w 10505529"/>
              <a:gd name="connsiteY36465" fmla="*/ 1305741 h 7458372"/>
              <a:gd name="connsiteX36466" fmla="*/ 7876483 w 10505529"/>
              <a:gd name="connsiteY36466" fmla="*/ 1308407 h 7458372"/>
              <a:gd name="connsiteX36467" fmla="*/ 7885802 w 10505529"/>
              <a:gd name="connsiteY36467" fmla="*/ 1314801 h 7458372"/>
              <a:gd name="connsiteX36468" fmla="*/ 7891924 w 10505529"/>
              <a:gd name="connsiteY36468" fmla="*/ 1324111 h 7458372"/>
              <a:gd name="connsiteX36469" fmla="*/ 7894188 w 10505529"/>
              <a:gd name="connsiteY36469" fmla="*/ 1335564 h 7458372"/>
              <a:gd name="connsiteX36470" fmla="*/ 7891924 w 10505529"/>
              <a:gd name="connsiteY36470" fmla="*/ 1347279 h 7458372"/>
              <a:gd name="connsiteX36471" fmla="*/ 7885802 w 10505529"/>
              <a:gd name="connsiteY36471" fmla="*/ 1356599 h 7458372"/>
              <a:gd name="connsiteX36472" fmla="*/ 7876483 w 10505529"/>
              <a:gd name="connsiteY36472" fmla="*/ 1362851 h 7458372"/>
              <a:gd name="connsiteX36473" fmla="*/ 7864636 w 10505529"/>
              <a:gd name="connsiteY36473" fmla="*/ 1365113 h 7458372"/>
              <a:gd name="connsiteX36474" fmla="*/ 7842803 w 10505529"/>
              <a:gd name="connsiteY36474" fmla="*/ 1356599 h 7458372"/>
              <a:gd name="connsiteX36475" fmla="*/ 7834417 w 10505529"/>
              <a:gd name="connsiteY36475" fmla="*/ 1335427 h 7458372"/>
              <a:gd name="connsiteX36476" fmla="*/ 7842803 w 10505529"/>
              <a:gd name="connsiteY36476" fmla="*/ 1314393 h 7458372"/>
              <a:gd name="connsiteX36477" fmla="*/ 7864636 w 10505529"/>
              <a:gd name="connsiteY36477" fmla="*/ 1305741 h 7458372"/>
              <a:gd name="connsiteX36478" fmla="*/ 7646991 w 10505529"/>
              <a:gd name="connsiteY36478" fmla="*/ 1305741 h 7458372"/>
              <a:gd name="connsiteX36479" fmla="*/ 7658705 w 10505529"/>
              <a:gd name="connsiteY36479" fmla="*/ 1308407 h 7458372"/>
              <a:gd name="connsiteX36480" fmla="*/ 7668022 w 10505529"/>
              <a:gd name="connsiteY36480" fmla="*/ 1314801 h 7458372"/>
              <a:gd name="connsiteX36481" fmla="*/ 7674146 w 10505529"/>
              <a:gd name="connsiteY36481" fmla="*/ 1324111 h 7458372"/>
              <a:gd name="connsiteX36482" fmla="*/ 7676409 w 10505529"/>
              <a:gd name="connsiteY36482" fmla="*/ 1335564 h 7458372"/>
              <a:gd name="connsiteX36483" fmla="*/ 7674146 w 10505529"/>
              <a:gd name="connsiteY36483" fmla="*/ 1347279 h 7458372"/>
              <a:gd name="connsiteX36484" fmla="*/ 7668022 w 10505529"/>
              <a:gd name="connsiteY36484" fmla="*/ 1356599 h 7458372"/>
              <a:gd name="connsiteX36485" fmla="*/ 7658705 w 10505529"/>
              <a:gd name="connsiteY36485" fmla="*/ 1362851 h 7458372"/>
              <a:gd name="connsiteX36486" fmla="*/ 7646991 w 10505529"/>
              <a:gd name="connsiteY36486" fmla="*/ 1365113 h 7458372"/>
              <a:gd name="connsiteX36487" fmla="*/ 7625158 w 10505529"/>
              <a:gd name="connsiteY36487" fmla="*/ 1356599 h 7458372"/>
              <a:gd name="connsiteX36488" fmla="*/ 7616772 w 10505529"/>
              <a:gd name="connsiteY36488" fmla="*/ 1335427 h 7458372"/>
              <a:gd name="connsiteX36489" fmla="*/ 7625158 w 10505529"/>
              <a:gd name="connsiteY36489" fmla="*/ 1314393 h 7458372"/>
              <a:gd name="connsiteX36490" fmla="*/ 7646991 w 10505529"/>
              <a:gd name="connsiteY36490" fmla="*/ 1305741 h 7458372"/>
              <a:gd name="connsiteX36491" fmla="*/ 7429345 w 10505529"/>
              <a:gd name="connsiteY36491" fmla="*/ 1305741 h 7458372"/>
              <a:gd name="connsiteX36492" fmla="*/ 7441059 w 10505529"/>
              <a:gd name="connsiteY36492" fmla="*/ 1308407 h 7458372"/>
              <a:gd name="connsiteX36493" fmla="*/ 7450377 w 10505529"/>
              <a:gd name="connsiteY36493" fmla="*/ 1314801 h 7458372"/>
              <a:gd name="connsiteX36494" fmla="*/ 7456501 w 10505529"/>
              <a:gd name="connsiteY36494" fmla="*/ 1324111 h 7458372"/>
              <a:gd name="connsiteX36495" fmla="*/ 7458764 w 10505529"/>
              <a:gd name="connsiteY36495" fmla="*/ 1335564 h 7458372"/>
              <a:gd name="connsiteX36496" fmla="*/ 7456501 w 10505529"/>
              <a:gd name="connsiteY36496" fmla="*/ 1347279 h 7458372"/>
              <a:gd name="connsiteX36497" fmla="*/ 7450377 w 10505529"/>
              <a:gd name="connsiteY36497" fmla="*/ 1356599 h 7458372"/>
              <a:gd name="connsiteX36498" fmla="*/ 7441059 w 10505529"/>
              <a:gd name="connsiteY36498" fmla="*/ 1362851 h 7458372"/>
              <a:gd name="connsiteX36499" fmla="*/ 7429345 w 10505529"/>
              <a:gd name="connsiteY36499" fmla="*/ 1365113 h 7458372"/>
              <a:gd name="connsiteX36500" fmla="*/ 7407513 w 10505529"/>
              <a:gd name="connsiteY36500" fmla="*/ 1356599 h 7458372"/>
              <a:gd name="connsiteX36501" fmla="*/ 7399127 w 10505529"/>
              <a:gd name="connsiteY36501" fmla="*/ 1335427 h 7458372"/>
              <a:gd name="connsiteX36502" fmla="*/ 7407513 w 10505529"/>
              <a:gd name="connsiteY36502" fmla="*/ 1314393 h 7458372"/>
              <a:gd name="connsiteX36503" fmla="*/ 7429345 w 10505529"/>
              <a:gd name="connsiteY36503" fmla="*/ 1305741 h 7458372"/>
              <a:gd name="connsiteX36504" fmla="*/ 7211701 w 10505529"/>
              <a:gd name="connsiteY36504" fmla="*/ 1305741 h 7458372"/>
              <a:gd name="connsiteX36505" fmla="*/ 7223415 w 10505529"/>
              <a:gd name="connsiteY36505" fmla="*/ 1308407 h 7458372"/>
              <a:gd name="connsiteX36506" fmla="*/ 7232733 w 10505529"/>
              <a:gd name="connsiteY36506" fmla="*/ 1314801 h 7458372"/>
              <a:gd name="connsiteX36507" fmla="*/ 7238856 w 10505529"/>
              <a:gd name="connsiteY36507" fmla="*/ 1324111 h 7458372"/>
              <a:gd name="connsiteX36508" fmla="*/ 7241120 w 10505529"/>
              <a:gd name="connsiteY36508" fmla="*/ 1335564 h 7458372"/>
              <a:gd name="connsiteX36509" fmla="*/ 7238856 w 10505529"/>
              <a:gd name="connsiteY36509" fmla="*/ 1347279 h 7458372"/>
              <a:gd name="connsiteX36510" fmla="*/ 7232733 w 10505529"/>
              <a:gd name="connsiteY36510" fmla="*/ 1356599 h 7458372"/>
              <a:gd name="connsiteX36511" fmla="*/ 7223415 w 10505529"/>
              <a:gd name="connsiteY36511" fmla="*/ 1362851 h 7458372"/>
              <a:gd name="connsiteX36512" fmla="*/ 7211701 w 10505529"/>
              <a:gd name="connsiteY36512" fmla="*/ 1365113 h 7458372"/>
              <a:gd name="connsiteX36513" fmla="*/ 7189868 w 10505529"/>
              <a:gd name="connsiteY36513" fmla="*/ 1356599 h 7458372"/>
              <a:gd name="connsiteX36514" fmla="*/ 7181482 w 10505529"/>
              <a:gd name="connsiteY36514" fmla="*/ 1335427 h 7458372"/>
              <a:gd name="connsiteX36515" fmla="*/ 7189868 w 10505529"/>
              <a:gd name="connsiteY36515" fmla="*/ 1314393 h 7458372"/>
              <a:gd name="connsiteX36516" fmla="*/ 7211701 w 10505529"/>
              <a:gd name="connsiteY36516" fmla="*/ 1305741 h 7458372"/>
              <a:gd name="connsiteX36517" fmla="*/ 6994056 w 10505529"/>
              <a:gd name="connsiteY36517" fmla="*/ 1305741 h 7458372"/>
              <a:gd name="connsiteX36518" fmla="*/ 7005769 w 10505529"/>
              <a:gd name="connsiteY36518" fmla="*/ 1308407 h 7458372"/>
              <a:gd name="connsiteX36519" fmla="*/ 7015087 w 10505529"/>
              <a:gd name="connsiteY36519" fmla="*/ 1314801 h 7458372"/>
              <a:gd name="connsiteX36520" fmla="*/ 7021211 w 10505529"/>
              <a:gd name="connsiteY36520" fmla="*/ 1324111 h 7458372"/>
              <a:gd name="connsiteX36521" fmla="*/ 7023474 w 10505529"/>
              <a:gd name="connsiteY36521" fmla="*/ 1335564 h 7458372"/>
              <a:gd name="connsiteX36522" fmla="*/ 7021211 w 10505529"/>
              <a:gd name="connsiteY36522" fmla="*/ 1347279 h 7458372"/>
              <a:gd name="connsiteX36523" fmla="*/ 7015087 w 10505529"/>
              <a:gd name="connsiteY36523" fmla="*/ 1356599 h 7458372"/>
              <a:gd name="connsiteX36524" fmla="*/ 7005769 w 10505529"/>
              <a:gd name="connsiteY36524" fmla="*/ 1362851 h 7458372"/>
              <a:gd name="connsiteX36525" fmla="*/ 6994056 w 10505529"/>
              <a:gd name="connsiteY36525" fmla="*/ 1365113 h 7458372"/>
              <a:gd name="connsiteX36526" fmla="*/ 6972223 w 10505529"/>
              <a:gd name="connsiteY36526" fmla="*/ 1356599 h 7458372"/>
              <a:gd name="connsiteX36527" fmla="*/ 6963837 w 10505529"/>
              <a:gd name="connsiteY36527" fmla="*/ 1335427 h 7458372"/>
              <a:gd name="connsiteX36528" fmla="*/ 6972223 w 10505529"/>
              <a:gd name="connsiteY36528" fmla="*/ 1314393 h 7458372"/>
              <a:gd name="connsiteX36529" fmla="*/ 6994056 w 10505529"/>
              <a:gd name="connsiteY36529" fmla="*/ 1305741 h 7458372"/>
              <a:gd name="connsiteX36530" fmla="*/ 6776544 w 10505529"/>
              <a:gd name="connsiteY36530" fmla="*/ 1305741 h 7458372"/>
              <a:gd name="connsiteX36531" fmla="*/ 6788258 w 10505529"/>
              <a:gd name="connsiteY36531" fmla="*/ 1308407 h 7458372"/>
              <a:gd name="connsiteX36532" fmla="*/ 6797576 w 10505529"/>
              <a:gd name="connsiteY36532" fmla="*/ 1314801 h 7458372"/>
              <a:gd name="connsiteX36533" fmla="*/ 6803699 w 10505529"/>
              <a:gd name="connsiteY36533" fmla="*/ 1324111 h 7458372"/>
              <a:gd name="connsiteX36534" fmla="*/ 6805963 w 10505529"/>
              <a:gd name="connsiteY36534" fmla="*/ 1335564 h 7458372"/>
              <a:gd name="connsiteX36535" fmla="*/ 6803699 w 10505529"/>
              <a:gd name="connsiteY36535" fmla="*/ 1347279 h 7458372"/>
              <a:gd name="connsiteX36536" fmla="*/ 6797576 w 10505529"/>
              <a:gd name="connsiteY36536" fmla="*/ 1356599 h 7458372"/>
              <a:gd name="connsiteX36537" fmla="*/ 6788258 w 10505529"/>
              <a:gd name="connsiteY36537" fmla="*/ 1362851 h 7458372"/>
              <a:gd name="connsiteX36538" fmla="*/ 6776544 w 10505529"/>
              <a:gd name="connsiteY36538" fmla="*/ 1365113 h 7458372"/>
              <a:gd name="connsiteX36539" fmla="*/ 6754711 w 10505529"/>
              <a:gd name="connsiteY36539" fmla="*/ 1356599 h 7458372"/>
              <a:gd name="connsiteX36540" fmla="*/ 6746325 w 10505529"/>
              <a:gd name="connsiteY36540" fmla="*/ 1335427 h 7458372"/>
              <a:gd name="connsiteX36541" fmla="*/ 6754711 w 10505529"/>
              <a:gd name="connsiteY36541" fmla="*/ 1314393 h 7458372"/>
              <a:gd name="connsiteX36542" fmla="*/ 6776544 w 10505529"/>
              <a:gd name="connsiteY36542" fmla="*/ 1305741 h 7458372"/>
              <a:gd name="connsiteX36543" fmla="*/ 6558899 w 10505529"/>
              <a:gd name="connsiteY36543" fmla="*/ 1305741 h 7458372"/>
              <a:gd name="connsiteX36544" fmla="*/ 6570612 w 10505529"/>
              <a:gd name="connsiteY36544" fmla="*/ 1308407 h 7458372"/>
              <a:gd name="connsiteX36545" fmla="*/ 6579930 w 10505529"/>
              <a:gd name="connsiteY36545" fmla="*/ 1314801 h 7458372"/>
              <a:gd name="connsiteX36546" fmla="*/ 6586054 w 10505529"/>
              <a:gd name="connsiteY36546" fmla="*/ 1324111 h 7458372"/>
              <a:gd name="connsiteX36547" fmla="*/ 6588317 w 10505529"/>
              <a:gd name="connsiteY36547" fmla="*/ 1335564 h 7458372"/>
              <a:gd name="connsiteX36548" fmla="*/ 6586054 w 10505529"/>
              <a:gd name="connsiteY36548" fmla="*/ 1347279 h 7458372"/>
              <a:gd name="connsiteX36549" fmla="*/ 6579930 w 10505529"/>
              <a:gd name="connsiteY36549" fmla="*/ 1356599 h 7458372"/>
              <a:gd name="connsiteX36550" fmla="*/ 6570612 w 10505529"/>
              <a:gd name="connsiteY36550" fmla="*/ 1362851 h 7458372"/>
              <a:gd name="connsiteX36551" fmla="*/ 6558899 w 10505529"/>
              <a:gd name="connsiteY36551" fmla="*/ 1365113 h 7458372"/>
              <a:gd name="connsiteX36552" fmla="*/ 6537066 w 10505529"/>
              <a:gd name="connsiteY36552" fmla="*/ 1356599 h 7458372"/>
              <a:gd name="connsiteX36553" fmla="*/ 6528680 w 10505529"/>
              <a:gd name="connsiteY36553" fmla="*/ 1335427 h 7458372"/>
              <a:gd name="connsiteX36554" fmla="*/ 6537066 w 10505529"/>
              <a:gd name="connsiteY36554" fmla="*/ 1314393 h 7458372"/>
              <a:gd name="connsiteX36555" fmla="*/ 6558899 w 10505529"/>
              <a:gd name="connsiteY36555" fmla="*/ 1305741 h 7458372"/>
              <a:gd name="connsiteX36556" fmla="*/ 6341253 w 10505529"/>
              <a:gd name="connsiteY36556" fmla="*/ 1305741 h 7458372"/>
              <a:gd name="connsiteX36557" fmla="*/ 6352968 w 10505529"/>
              <a:gd name="connsiteY36557" fmla="*/ 1308407 h 7458372"/>
              <a:gd name="connsiteX36558" fmla="*/ 6362286 w 10505529"/>
              <a:gd name="connsiteY36558" fmla="*/ 1314801 h 7458372"/>
              <a:gd name="connsiteX36559" fmla="*/ 6368409 w 10505529"/>
              <a:gd name="connsiteY36559" fmla="*/ 1324111 h 7458372"/>
              <a:gd name="connsiteX36560" fmla="*/ 6370672 w 10505529"/>
              <a:gd name="connsiteY36560" fmla="*/ 1335564 h 7458372"/>
              <a:gd name="connsiteX36561" fmla="*/ 6368409 w 10505529"/>
              <a:gd name="connsiteY36561" fmla="*/ 1347279 h 7458372"/>
              <a:gd name="connsiteX36562" fmla="*/ 6362286 w 10505529"/>
              <a:gd name="connsiteY36562" fmla="*/ 1356599 h 7458372"/>
              <a:gd name="connsiteX36563" fmla="*/ 6352968 w 10505529"/>
              <a:gd name="connsiteY36563" fmla="*/ 1362851 h 7458372"/>
              <a:gd name="connsiteX36564" fmla="*/ 6341253 w 10505529"/>
              <a:gd name="connsiteY36564" fmla="*/ 1365113 h 7458372"/>
              <a:gd name="connsiteX36565" fmla="*/ 6319421 w 10505529"/>
              <a:gd name="connsiteY36565" fmla="*/ 1356599 h 7458372"/>
              <a:gd name="connsiteX36566" fmla="*/ 6311035 w 10505529"/>
              <a:gd name="connsiteY36566" fmla="*/ 1335427 h 7458372"/>
              <a:gd name="connsiteX36567" fmla="*/ 6319421 w 10505529"/>
              <a:gd name="connsiteY36567" fmla="*/ 1314393 h 7458372"/>
              <a:gd name="connsiteX36568" fmla="*/ 6341253 w 10505529"/>
              <a:gd name="connsiteY36568" fmla="*/ 1305741 h 7458372"/>
              <a:gd name="connsiteX36569" fmla="*/ 6123608 w 10505529"/>
              <a:gd name="connsiteY36569" fmla="*/ 1305741 h 7458372"/>
              <a:gd name="connsiteX36570" fmla="*/ 6135322 w 10505529"/>
              <a:gd name="connsiteY36570" fmla="*/ 1308407 h 7458372"/>
              <a:gd name="connsiteX36571" fmla="*/ 6144640 w 10505529"/>
              <a:gd name="connsiteY36571" fmla="*/ 1314801 h 7458372"/>
              <a:gd name="connsiteX36572" fmla="*/ 6150763 w 10505529"/>
              <a:gd name="connsiteY36572" fmla="*/ 1324111 h 7458372"/>
              <a:gd name="connsiteX36573" fmla="*/ 6153026 w 10505529"/>
              <a:gd name="connsiteY36573" fmla="*/ 1335564 h 7458372"/>
              <a:gd name="connsiteX36574" fmla="*/ 6150763 w 10505529"/>
              <a:gd name="connsiteY36574" fmla="*/ 1347279 h 7458372"/>
              <a:gd name="connsiteX36575" fmla="*/ 6144640 w 10505529"/>
              <a:gd name="connsiteY36575" fmla="*/ 1356599 h 7458372"/>
              <a:gd name="connsiteX36576" fmla="*/ 6135322 w 10505529"/>
              <a:gd name="connsiteY36576" fmla="*/ 1362851 h 7458372"/>
              <a:gd name="connsiteX36577" fmla="*/ 6123608 w 10505529"/>
              <a:gd name="connsiteY36577" fmla="*/ 1365113 h 7458372"/>
              <a:gd name="connsiteX36578" fmla="*/ 6101775 w 10505529"/>
              <a:gd name="connsiteY36578" fmla="*/ 1356599 h 7458372"/>
              <a:gd name="connsiteX36579" fmla="*/ 6093389 w 10505529"/>
              <a:gd name="connsiteY36579" fmla="*/ 1335427 h 7458372"/>
              <a:gd name="connsiteX36580" fmla="*/ 6101775 w 10505529"/>
              <a:gd name="connsiteY36580" fmla="*/ 1314393 h 7458372"/>
              <a:gd name="connsiteX36581" fmla="*/ 6123608 w 10505529"/>
              <a:gd name="connsiteY36581" fmla="*/ 1305741 h 7458372"/>
              <a:gd name="connsiteX36582" fmla="*/ 5905963 w 10505529"/>
              <a:gd name="connsiteY36582" fmla="*/ 1305741 h 7458372"/>
              <a:gd name="connsiteX36583" fmla="*/ 5917677 w 10505529"/>
              <a:gd name="connsiteY36583" fmla="*/ 1308407 h 7458372"/>
              <a:gd name="connsiteX36584" fmla="*/ 5926995 w 10505529"/>
              <a:gd name="connsiteY36584" fmla="*/ 1314801 h 7458372"/>
              <a:gd name="connsiteX36585" fmla="*/ 5933118 w 10505529"/>
              <a:gd name="connsiteY36585" fmla="*/ 1324111 h 7458372"/>
              <a:gd name="connsiteX36586" fmla="*/ 5935381 w 10505529"/>
              <a:gd name="connsiteY36586" fmla="*/ 1335564 h 7458372"/>
              <a:gd name="connsiteX36587" fmla="*/ 5933118 w 10505529"/>
              <a:gd name="connsiteY36587" fmla="*/ 1347279 h 7458372"/>
              <a:gd name="connsiteX36588" fmla="*/ 5926995 w 10505529"/>
              <a:gd name="connsiteY36588" fmla="*/ 1356599 h 7458372"/>
              <a:gd name="connsiteX36589" fmla="*/ 5917677 w 10505529"/>
              <a:gd name="connsiteY36589" fmla="*/ 1362851 h 7458372"/>
              <a:gd name="connsiteX36590" fmla="*/ 5905963 w 10505529"/>
              <a:gd name="connsiteY36590" fmla="*/ 1365113 h 7458372"/>
              <a:gd name="connsiteX36591" fmla="*/ 5884130 w 10505529"/>
              <a:gd name="connsiteY36591" fmla="*/ 1356599 h 7458372"/>
              <a:gd name="connsiteX36592" fmla="*/ 5875744 w 10505529"/>
              <a:gd name="connsiteY36592" fmla="*/ 1335427 h 7458372"/>
              <a:gd name="connsiteX36593" fmla="*/ 5884130 w 10505529"/>
              <a:gd name="connsiteY36593" fmla="*/ 1314393 h 7458372"/>
              <a:gd name="connsiteX36594" fmla="*/ 5905963 w 10505529"/>
              <a:gd name="connsiteY36594" fmla="*/ 1305741 h 7458372"/>
              <a:gd name="connsiteX36595" fmla="*/ 5688451 w 10505529"/>
              <a:gd name="connsiteY36595" fmla="*/ 1305741 h 7458372"/>
              <a:gd name="connsiteX36596" fmla="*/ 5700165 w 10505529"/>
              <a:gd name="connsiteY36596" fmla="*/ 1308407 h 7458372"/>
              <a:gd name="connsiteX36597" fmla="*/ 5709483 w 10505529"/>
              <a:gd name="connsiteY36597" fmla="*/ 1314801 h 7458372"/>
              <a:gd name="connsiteX36598" fmla="*/ 5715606 w 10505529"/>
              <a:gd name="connsiteY36598" fmla="*/ 1324111 h 7458372"/>
              <a:gd name="connsiteX36599" fmla="*/ 5717869 w 10505529"/>
              <a:gd name="connsiteY36599" fmla="*/ 1335564 h 7458372"/>
              <a:gd name="connsiteX36600" fmla="*/ 5715606 w 10505529"/>
              <a:gd name="connsiteY36600" fmla="*/ 1347279 h 7458372"/>
              <a:gd name="connsiteX36601" fmla="*/ 5709483 w 10505529"/>
              <a:gd name="connsiteY36601" fmla="*/ 1356599 h 7458372"/>
              <a:gd name="connsiteX36602" fmla="*/ 5700165 w 10505529"/>
              <a:gd name="connsiteY36602" fmla="*/ 1362851 h 7458372"/>
              <a:gd name="connsiteX36603" fmla="*/ 5688451 w 10505529"/>
              <a:gd name="connsiteY36603" fmla="*/ 1365113 h 7458372"/>
              <a:gd name="connsiteX36604" fmla="*/ 5666618 w 10505529"/>
              <a:gd name="connsiteY36604" fmla="*/ 1356599 h 7458372"/>
              <a:gd name="connsiteX36605" fmla="*/ 5658232 w 10505529"/>
              <a:gd name="connsiteY36605" fmla="*/ 1335427 h 7458372"/>
              <a:gd name="connsiteX36606" fmla="*/ 5666618 w 10505529"/>
              <a:gd name="connsiteY36606" fmla="*/ 1314393 h 7458372"/>
              <a:gd name="connsiteX36607" fmla="*/ 5688451 w 10505529"/>
              <a:gd name="connsiteY36607" fmla="*/ 1305741 h 7458372"/>
              <a:gd name="connsiteX36608" fmla="*/ 5470806 w 10505529"/>
              <a:gd name="connsiteY36608" fmla="*/ 1305741 h 7458372"/>
              <a:gd name="connsiteX36609" fmla="*/ 5482520 w 10505529"/>
              <a:gd name="connsiteY36609" fmla="*/ 1308407 h 7458372"/>
              <a:gd name="connsiteX36610" fmla="*/ 5491838 w 10505529"/>
              <a:gd name="connsiteY36610" fmla="*/ 1314801 h 7458372"/>
              <a:gd name="connsiteX36611" fmla="*/ 5497961 w 10505529"/>
              <a:gd name="connsiteY36611" fmla="*/ 1324111 h 7458372"/>
              <a:gd name="connsiteX36612" fmla="*/ 5500224 w 10505529"/>
              <a:gd name="connsiteY36612" fmla="*/ 1335564 h 7458372"/>
              <a:gd name="connsiteX36613" fmla="*/ 5497961 w 10505529"/>
              <a:gd name="connsiteY36613" fmla="*/ 1347279 h 7458372"/>
              <a:gd name="connsiteX36614" fmla="*/ 5491838 w 10505529"/>
              <a:gd name="connsiteY36614" fmla="*/ 1356599 h 7458372"/>
              <a:gd name="connsiteX36615" fmla="*/ 5482520 w 10505529"/>
              <a:gd name="connsiteY36615" fmla="*/ 1362851 h 7458372"/>
              <a:gd name="connsiteX36616" fmla="*/ 5470806 w 10505529"/>
              <a:gd name="connsiteY36616" fmla="*/ 1365113 h 7458372"/>
              <a:gd name="connsiteX36617" fmla="*/ 5448973 w 10505529"/>
              <a:gd name="connsiteY36617" fmla="*/ 1356599 h 7458372"/>
              <a:gd name="connsiteX36618" fmla="*/ 5440587 w 10505529"/>
              <a:gd name="connsiteY36618" fmla="*/ 1335427 h 7458372"/>
              <a:gd name="connsiteX36619" fmla="*/ 5448973 w 10505529"/>
              <a:gd name="connsiteY36619" fmla="*/ 1314393 h 7458372"/>
              <a:gd name="connsiteX36620" fmla="*/ 5470806 w 10505529"/>
              <a:gd name="connsiteY36620" fmla="*/ 1305741 h 7458372"/>
              <a:gd name="connsiteX36621" fmla="*/ 5253160 w 10505529"/>
              <a:gd name="connsiteY36621" fmla="*/ 1305741 h 7458372"/>
              <a:gd name="connsiteX36622" fmla="*/ 5264875 w 10505529"/>
              <a:gd name="connsiteY36622" fmla="*/ 1308407 h 7458372"/>
              <a:gd name="connsiteX36623" fmla="*/ 5274192 w 10505529"/>
              <a:gd name="connsiteY36623" fmla="*/ 1314801 h 7458372"/>
              <a:gd name="connsiteX36624" fmla="*/ 5280316 w 10505529"/>
              <a:gd name="connsiteY36624" fmla="*/ 1324111 h 7458372"/>
              <a:gd name="connsiteX36625" fmla="*/ 5282579 w 10505529"/>
              <a:gd name="connsiteY36625" fmla="*/ 1335564 h 7458372"/>
              <a:gd name="connsiteX36626" fmla="*/ 5280316 w 10505529"/>
              <a:gd name="connsiteY36626" fmla="*/ 1347279 h 7458372"/>
              <a:gd name="connsiteX36627" fmla="*/ 5274192 w 10505529"/>
              <a:gd name="connsiteY36627" fmla="*/ 1356599 h 7458372"/>
              <a:gd name="connsiteX36628" fmla="*/ 5264875 w 10505529"/>
              <a:gd name="connsiteY36628" fmla="*/ 1362851 h 7458372"/>
              <a:gd name="connsiteX36629" fmla="*/ 5253160 w 10505529"/>
              <a:gd name="connsiteY36629" fmla="*/ 1365113 h 7458372"/>
              <a:gd name="connsiteX36630" fmla="*/ 5231328 w 10505529"/>
              <a:gd name="connsiteY36630" fmla="*/ 1356599 h 7458372"/>
              <a:gd name="connsiteX36631" fmla="*/ 5222942 w 10505529"/>
              <a:gd name="connsiteY36631" fmla="*/ 1335427 h 7458372"/>
              <a:gd name="connsiteX36632" fmla="*/ 5231328 w 10505529"/>
              <a:gd name="connsiteY36632" fmla="*/ 1314393 h 7458372"/>
              <a:gd name="connsiteX36633" fmla="*/ 5253160 w 10505529"/>
              <a:gd name="connsiteY36633" fmla="*/ 1305741 h 7458372"/>
              <a:gd name="connsiteX36634" fmla="*/ 5035515 w 10505529"/>
              <a:gd name="connsiteY36634" fmla="*/ 1305741 h 7458372"/>
              <a:gd name="connsiteX36635" fmla="*/ 5047230 w 10505529"/>
              <a:gd name="connsiteY36635" fmla="*/ 1308407 h 7458372"/>
              <a:gd name="connsiteX36636" fmla="*/ 5056548 w 10505529"/>
              <a:gd name="connsiteY36636" fmla="*/ 1314801 h 7458372"/>
              <a:gd name="connsiteX36637" fmla="*/ 5062671 w 10505529"/>
              <a:gd name="connsiteY36637" fmla="*/ 1324111 h 7458372"/>
              <a:gd name="connsiteX36638" fmla="*/ 5064934 w 10505529"/>
              <a:gd name="connsiteY36638" fmla="*/ 1335564 h 7458372"/>
              <a:gd name="connsiteX36639" fmla="*/ 5062671 w 10505529"/>
              <a:gd name="connsiteY36639" fmla="*/ 1347279 h 7458372"/>
              <a:gd name="connsiteX36640" fmla="*/ 5056548 w 10505529"/>
              <a:gd name="connsiteY36640" fmla="*/ 1356599 h 7458372"/>
              <a:gd name="connsiteX36641" fmla="*/ 5047230 w 10505529"/>
              <a:gd name="connsiteY36641" fmla="*/ 1362851 h 7458372"/>
              <a:gd name="connsiteX36642" fmla="*/ 5035515 w 10505529"/>
              <a:gd name="connsiteY36642" fmla="*/ 1365113 h 7458372"/>
              <a:gd name="connsiteX36643" fmla="*/ 5013683 w 10505529"/>
              <a:gd name="connsiteY36643" fmla="*/ 1356599 h 7458372"/>
              <a:gd name="connsiteX36644" fmla="*/ 5005297 w 10505529"/>
              <a:gd name="connsiteY36644" fmla="*/ 1335427 h 7458372"/>
              <a:gd name="connsiteX36645" fmla="*/ 5013683 w 10505529"/>
              <a:gd name="connsiteY36645" fmla="*/ 1314393 h 7458372"/>
              <a:gd name="connsiteX36646" fmla="*/ 5035515 w 10505529"/>
              <a:gd name="connsiteY36646" fmla="*/ 1305741 h 7458372"/>
              <a:gd name="connsiteX36647" fmla="*/ 4817870 w 10505529"/>
              <a:gd name="connsiteY36647" fmla="*/ 1305741 h 7458372"/>
              <a:gd name="connsiteX36648" fmla="*/ 4829585 w 10505529"/>
              <a:gd name="connsiteY36648" fmla="*/ 1308407 h 7458372"/>
              <a:gd name="connsiteX36649" fmla="*/ 4838903 w 10505529"/>
              <a:gd name="connsiteY36649" fmla="*/ 1314801 h 7458372"/>
              <a:gd name="connsiteX36650" fmla="*/ 4845026 w 10505529"/>
              <a:gd name="connsiteY36650" fmla="*/ 1324111 h 7458372"/>
              <a:gd name="connsiteX36651" fmla="*/ 4847289 w 10505529"/>
              <a:gd name="connsiteY36651" fmla="*/ 1335564 h 7458372"/>
              <a:gd name="connsiteX36652" fmla="*/ 4845026 w 10505529"/>
              <a:gd name="connsiteY36652" fmla="*/ 1347279 h 7458372"/>
              <a:gd name="connsiteX36653" fmla="*/ 4838903 w 10505529"/>
              <a:gd name="connsiteY36653" fmla="*/ 1356599 h 7458372"/>
              <a:gd name="connsiteX36654" fmla="*/ 4829585 w 10505529"/>
              <a:gd name="connsiteY36654" fmla="*/ 1362851 h 7458372"/>
              <a:gd name="connsiteX36655" fmla="*/ 4817870 w 10505529"/>
              <a:gd name="connsiteY36655" fmla="*/ 1365113 h 7458372"/>
              <a:gd name="connsiteX36656" fmla="*/ 4796038 w 10505529"/>
              <a:gd name="connsiteY36656" fmla="*/ 1356599 h 7458372"/>
              <a:gd name="connsiteX36657" fmla="*/ 4787652 w 10505529"/>
              <a:gd name="connsiteY36657" fmla="*/ 1335427 h 7458372"/>
              <a:gd name="connsiteX36658" fmla="*/ 4796038 w 10505529"/>
              <a:gd name="connsiteY36658" fmla="*/ 1314393 h 7458372"/>
              <a:gd name="connsiteX36659" fmla="*/ 4817870 w 10505529"/>
              <a:gd name="connsiteY36659" fmla="*/ 1305741 h 7458372"/>
              <a:gd name="connsiteX36660" fmla="*/ 4600226 w 10505529"/>
              <a:gd name="connsiteY36660" fmla="*/ 1305741 h 7458372"/>
              <a:gd name="connsiteX36661" fmla="*/ 4612073 w 10505529"/>
              <a:gd name="connsiteY36661" fmla="*/ 1308407 h 7458372"/>
              <a:gd name="connsiteX36662" fmla="*/ 4621391 w 10505529"/>
              <a:gd name="connsiteY36662" fmla="*/ 1314801 h 7458372"/>
              <a:gd name="connsiteX36663" fmla="*/ 4627514 w 10505529"/>
              <a:gd name="connsiteY36663" fmla="*/ 1324111 h 7458372"/>
              <a:gd name="connsiteX36664" fmla="*/ 4629777 w 10505529"/>
              <a:gd name="connsiteY36664" fmla="*/ 1335564 h 7458372"/>
              <a:gd name="connsiteX36665" fmla="*/ 4627514 w 10505529"/>
              <a:gd name="connsiteY36665" fmla="*/ 1347279 h 7458372"/>
              <a:gd name="connsiteX36666" fmla="*/ 4621391 w 10505529"/>
              <a:gd name="connsiteY36666" fmla="*/ 1356599 h 7458372"/>
              <a:gd name="connsiteX36667" fmla="*/ 4612073 w 10505529"/>
              <a:gd name="connsiteY36667" fmla="*/ 1362851 h 7458372"/>
              <a:gd name="connsiteX36668" fmla="*/ 4600226 w 10505529"/>
              <a:gd name="connsiteY36668" fmla="*/ 1365113 h 7458372"/>
              <a:gd name="connsiteX36669" fmla="*/ 4578393 w 10505529"/>
              <a:gd name="connsiteY36669" fmla="*/ 1356599 h 7458372"/>
              <a:gd name="connsiteX36670" fmla="*/ 4570007 w 10505529"/>
              <a:gd name="connsiteY36670" fmla="*/ 1335427 h 7458372"/>
              <a:gd name="connsiteX36671" fmla="*/ 4578393 w 10505529"/>
              <a:gd name="connsiteY36671" fmla="*/ 1314393 h 7458372"/>
              <a:gd name="connsiteX36672" fmla="*/ 4600226 w 10505529"/>
              <a:gd name="connsiteY36672" fmla="*/ 1305741 h 7458372"/>
              <a:gd name="connsiteX36673" fmla="*/ 4382713 w 10505529"/>
              <a:gd name="connsiteY36673" fmla="*/ 1305741 h 7458372"/>
              <a:gd name="connsiteX36674" fmla="*/ 4394428 w 10505529"/>
              <a:gd name="connsiteY36674" fmla="*/ 1308407 h 7458372"/>
              <a:gd name="connsiteX36675" fmla="*/ 4403746 w 10505529"/>
              <a:gd name="connsiteY36675" fmla="*/ 1314801 h 7458372"/>
              <a:gd name="connsiteX36676" fmla="*/ 4409869 w 10505529"/>
              <a:gd name="connsiteY36676" fmla="*/ 1324111 h 7458372"/>
              <a:gd name="connsiteX36677" fmla="*/ 4412132 w 10505529"/>
              <a:gd name="connsiteY36677" fmla="*/ 1335564 h 7458372"/>
              <a:gd name="connsiteX36678" fmla="*/ 4409869 w 10505529"/>
              <a:gd name="connsiteY36678" fmla="*/ 1347279 h 7458372"/>
              <a:gd name="connsiteX36679" fmla="*/ 4403746 w 10505529"/>
              <a:gd name="connsiteY36679" fmla="*/ 1356599 h 7458372"/>
              <a:gd name="connsiteX36680" fmla="*/ 4394428 w 10505529"/>
              <a:gd name="connsiteY36680" fmla="*/ 1362851 h 7458372"/>
              <a:gd name="connsiteX36681" fmla="*/ 4382713 w 10505529"/>
              <a:gd name="connsiteY36681" fmla="*/ 1365113 h 7458372"/>
              <a:gd name="connsiteX36682" fmla="*/ 4360881 w 10505529"/>
              <a:gd name="connsiteY36682" fmla="*/ 1356599 h 7458372"/>
              <a:gd name="connsiteX36683" fmla="*/ 4352495 w 10505529"/>
              <a:gd name="connsiteY36683" fmla="*/ 1335427 h 7458372"/>
              <a:gd name="connsiteX36684" fmla="*/ 4360881 w 10505529"/>
              <a:gd name="connsiteY36684" fmla="*/ 1314393 h 7458372"/>
              <a:gd name="connsiteX36685" fmla="*/ 4382713 w 10505529"/>
              <a:gd name="connsiteY36685" fmla="*/ 1305741 h 7458372"/>
              <a:gd name="connsiteX36686" fmla="*/ 4165068 w 10505529"/>
              <a:gd name="connsiteY36686" fmla="*/ 1305741 h 7458372"/>
              <a:gd name="connsiteX36687" fmla="*/ 4176782 w 10505529"/>
              <a:gd name="connsiteY36687" fmla="*/ 1308407 h 7458372"/>
              <a:gd name="connsiteX36688" fmla="*/ 4186100 w 10505529"/>
              <a:gd name="connsiteY36688" fmla="*/ 1314801 h 7458372"/>
              <a:gd name="connsiteX36689" fmla="*/ 4192223 w 10505529"/>
              <a:gd name="connsiteY36689" fmla="*/ 1324111 h 7458372"/>
              <a:gd name="connsiteX36690" fmla="*/ 4194486 w 10505529"/>
              <a:gd name="connsiteY36690" fmla="*/ 1335564 h 7458372"/>
              <a:gd name="connsiteX36691" fmla="*/ 4192223 w 10505529"/>
              <a:gd name="connsiteY36691" fmla="*/ 1347279 h 7458372"/>
              <a:gd name="connsiteX36692" fmla="*/ 4186100 w 10505529"/>
              <a:gd name="connsiteY36692" fmla="*/ 1356599 h 7458372"/>
              <a:gd name="connsiteX36693" fmla="*/ 4176782 w 10505529"/>
              <a:gd name="connsiteY36693" fmla="*/ 1362851 h 7458372"/>
              <a:gd name="connsiteX36694" fmla="*/ 4165068 w 10505529"/>
              <a:gd name="connsiteY36694" fmla="*/ 1365113 h 7458372"/>
              <a:gd name="connsiteX36695" fmla="*/ 4143235 w 10505529"/>
              <a:gd name="connsiteY36695" fmla="*/ 1356599 h 7458372"/>
              <a:gd name="connsiteX36696" fmla="*/ 4134849 w 10505529"/>
              <a:gd name="connsiteY36696" fmla="*/ 1335427 h 7458372"/>
              <a:gd name="connsiteX36697" fmla="*/ 4143235 w 10505529"/>
              <a:gd name="connsiteY36697" fmla="*/ 1314393 h 7458372"/>
              <a:gd name="connsiteX36698" fmla="*/ 4165068 w 10505529"/>
              <a:gd name="connsiteY36698" fmla="*/ 1305741 h 7458372"/>
              <a:gd name="connsiteX36699" fmla="*/ 3947501 w 10505529"/>
              <a:gd name="connsiteY36699" fmla="*/ 1305741 h 7458372"/>
              <a:gd name="connsiteX36700" fmla="*/ 3959216 w 10505529"/>
              <a:gd name="connsiteY36700" fmla="*/ 1308407 h 7458372"/>
              <a:gd name="connsiteX36701" fmla="*/ 3968533 w 10505529"/>
              <a:gd name="connsiteY36701" fmla="*/ 1314801 h 7458372"/>
              <a:gd name="connsiteX36702" fmla="*/ 3974657 w 10505529"/>
              <a:gd name="connsiteY36702" fmla="*/ 1324111 h 7458372"/>
              <a:gd name="connsiteX36703" fmla="*/ 3976921 w 10505529"/>
              <a:gd name="connsiteY36703" fmla="*/ 1335564 h 7458372"/>
              <a:gd name="connsiteX36704" fmla="*/ 3974657 w 10505529"/>
              <a:gd name="connsiteY36704" fmla="*/ 1347279 h 7458372"/>
              <a:gd name="connsiteX36705" fmla="*/ 3968533 w 10505529"/>
              <a:gd name="connsiteY36705" fmla="*/ 1356599 h 7458372"/>
              <a:gd name="connsiteX36706" fmla="*/ 3959216 w 10505529"/>
              <a:gd name="connsiteY36706" fmla="*/ 1362851 h 7458372"/>
              <a:gd name="connsiteX36707" fmla="*/ 3947501 w 10505529"/>
              <a:gd name="connsiteY36707" fmla="*/ 1365113 h 7458372"/>
              <a:gd name="connsiteX36708" fmla="*/ 3925668 w 10505529"/>
              <a:gd name="connsiteY36708" fmla="*/ 1356599 h 7458372"/>
              <a:gd name="connsiteX36709" fmla="*/ 3917281 w 10505529"/>
              <a:gd name="connsiteY36709" fmla="*/ 1335427 h 7458372"/>
              <a:gd name="connsiteX36710" fmla="*/ 3925668 w 10505529"/>
              <a:gd name="connsiteY36710" fmla="*/ 1314393 h 7458372"/>
              <a:gd name="connsiteX36711" fmla="*/ 3947501 w 10505529"/>
              <a:gd name="connsiteY36711" fmla="*/ 1305741 h 7458372"/>
              <a:gd name="connsiteX36712" fmla="*/ 3729851 w 10505529"/>
              <a:gd name="connsiteY36712" fmla="*/ 1305741 h 7458372"/>
              <a:gd name="connsiteX36713" fmla="*/ 3741566 w 10505529"/>
              <a:gd name="connsiteY36713" fmla="*/ 1308407 h 7458372"/>
              <a:gd name="connsiteX36714" fmla="*/ 3750884 w 10505529"/>
              <a:gd name="connsiteY36714" fmla="*/ 1314801 h 7458372"/>
              <a:gd name="connsiteX36715" fmla="*/ 3757007 w 10505529"/>
              <a:gd name="connsiteY36715" fmla="*/ 1324111 h 7458372"/>
              <a:gd name="connsiteX36716" fmla="*/ 3759270 w 10505529"/>
              <a:gd name="connsiteY36716" fmla="*/ 1335564 h 7458372"/>
              <a:gd name="connsiteX36717" fmla="*/ 3757007 w 10505529"/>
              <a:gd name="connsiteY36717" fmla="*/ 1347279 h 7458372"/>
              <a:gd name="connsiteX36718" fmla="*/ 3750884 w 10505529"/>
              <a:gd name="connsiteY36718" fmla="*/ 1356599 h 7458372"/>
              <a:gd name="connsiteX36719" fmla="*/ 3741566 w 10505529"/>
              <a:gd name="connsiteY36719" fmla="*/ 1362851 h 7458372"/>
              <a:gd name="connsiteX36720" fmla="*/ 3729851 w 10505529"/>
              <a:gd name="connsiteY36720" fmla="*/ 1365113 h 7458372"/>
              <a:gd name="connsiteX36721" fmla="*/ 3708018 w 10505529"/>
              <a:gd name="connsiteY36721" fmla="*/ 1356599 h 7458372"/>
              <a:gd name="connsiteX36722" fmla="*/ 3699632 w 10505529"/>
              <a:gd name="connsiteY36722" fmla="*/ 1335427 h 7458372"/>
              <a:gd name="connsiteX36723" fmla="*/ 3708018 w 10505529"/>
              <a:gd name="connsiteY36723" fmla="*/ 1314393 h 7458372"/>
              <a:gd name="connsiteX36724" fmla="*/ 3729851 w 10505529"/>
              <a:gd name="connsiteY36724" fmla="*/ 1305741 h 7458372"/>
              <a:gd name="connsiteX36725" fmla="*/ 3512202 w 10505529"/>
              <a:gd name="connsiteY36725" fmla="*/ 1305741 h 7458372"/>
              <a:gd name="connsiteX36726" fmla="*/ 3523917 w 10505529"/>
              <a:gd name="connsiteY36726" fmla="*/ 1308407 h 7458372"/>
              <a:gd name="connsiteX36727" fmla="*/ 3533235 w 10505529"/>
              <a:gd name="connsiteY36727" fmla="*/ 1314801 h 7458372"/>
              <a:gd name="connsiteX36728" fmla="*/ 3539359 w 10505529"/>
              <a:gd name="connsiteY36728" fmla="*/ 1324111 h 7458372"/>
              <a:gd name="connsiteX36729" fmla="*/ 3541622 w 10505529"/>
              <a:gd name="connsiteY36729" fmla="*/ 1335564 h 7458372"/>
              <a:gd name="connsiteX36730" fmla="*/ 3539359 w 10505529"/>
              <a:gd name="connsiteY36730" fmla="*/ 1347279 h 7458372"/>
              <a:gd name="connsiteX36731" fmla="*/ 3533235 w 10505529"/>
              <a:gd name="connsiteY36731" fmla="*/ 1356599 h 7458372"/>
              <a:gd name="connsiteX36732" fmla="*/ 3523917 w 10505529"/>
              <a:gd name="connsiteY36732" fmla="*/ 1362851 h 7458372"/>
              <a:gd name="connsiteX36733" fmla="*/ 3512202 w 10505529"/>
              <a:gd name="connsiteY36733" fmla="*/ 1365113 h 7458372"/>
              <a:gd name="connsiteX36734" fmla="*/ 3490369 w 10505529"/>
              <a:gd name="connsiteY36734" fmla="*/ 1356599 h 7458372"/>
              <a:gd name="connsiteX36735" fmla="*/ 3481982 w 10505529"/>
              <a:gd name="connsiteY36735" fmla="*/ 1335427 h 7458372"/>
              <a:gd name="connsiteX36736" fmla="*/ 3490369 w 10505529"/>
              <a:gd name="connsiteY36736" fmla="*/ 1314393 h 7458372"/>
              <a:gd name="connsiteX36737" fmla="*/ 3512202 w 10505529"/>
              <a:gd name="connsiteY36737" fmla="*/ 1305741 h 7458372"/>
              <a:gd name="connsiteX36738" fmla="*/ 3294686 w 10505529"/>
              <a:gd name="connsiteY36738" fmla="*/ 1305741 h 7458372"/>
              <a:gd name="connsiteX36739" fmla="*/ 3306401 w 10505529"/>
              <a:gd name="connsiteY36739" fmla="*/ 1308407 h 7458372"/>
              <a:gd name="connsiteX36740" fmla="*/ 3315719 w 10505529"/>
              <a:gd name="connsiteY36740" fmla="*/ 1314801 h 7458372"/>
              <a:gd name="connsiteX36741" fmla="*/ 3321843 w 10505529"/>
              <a:gd name="connsiteY36741" fmla="*/ 1324111 h 7458372"/>
              <a:gd name="connsiteX36742" fmla="*/ 3324106 w 10505529"/>
              <a:gd name="connsiteY36742" fmla="*/ 1335564 h 7458372"/>
              <a:gd name="connsiteX36743" fmla="*/ 3321843 w 10505529"/>
              <a:gd name="connsiteY36743" fmla="*/ 1347279 h 7458372"/>
              <a:gd name="connsiteX36744" fmla="*/ 3315719 w 10505529"/>
              <a:gd name="connsiteY36744" fmla="*/ 1356599 h 7458372"/>
              <a:gd name="connsiteX36745" fmla="*/ 3306401 w 10505529"/>
              <a:gd name="connsiteY36745" fmla="*/ 1362851 h 7458372"/>
              <a:gd name="connsiteX36746" fmla="*/ 3294686 w 10505529"/>
              <a:gd name="connsiteY36746" fmla="*/ 1365113 h 7458372"/>
              <a:gd name="connsiteX36747" fmla="*/ 3272853 w 10505529"/>
              <a:gd name="connsiteY36747" fmla="*/ 1356599 h 7458372"/>
              <a:gd name="connsiteX36748" fmla="*/ 3264467 w 10505529"/>
              <a:gd name="connsiteY36748" fmla="*/ 1335427 h 7458372"/>
              <a:gd name="connsiteX36749" fmla="*/ 3272853 w 10505529"/>
              <a:gd name="connsiteY36749" fmla="*/ 1314393 h 7458372"/>
              <a:gd name="connsiteX36750" fmla="*/ 3294686 w 10505529"/>
              <a:gd name="connsiteY36750" fmla="*/ 1305741 h 7458372"/>
              <a:gd name="connsiteX36751" fmla="*/ 3077037 w 10505529"/>
              <a:gd name="connsiteY36751" fmla="*/ 1305741 h 7458372"/>
              <a:gd name="connsiteX36752" fmla="*/ 3088752 w 10505529"/>
              <a:gd name="connsiteY36752" fmla="*/ 1308407 h 7458372"/>
              <a:gd name="connsiteX36753" fmla="*/ 3098070 w 10505529"/>
              <a:gd name="connsiteY36753" fmla="*/ 1314801 h 7458372"/>
              <a:gd name="connsiteX36754" fmla="*/ 3104194 w 10505529"/>
              <a:gd name="connsiteY36754" fmla="*/ 1324111 h 7458372"/>
              <a:gd name="connsiteX36755" fmla="*/ 3106457 w 10505529"/>
              <a:gd name="connsiteY36755" fmla="*/ 1335564 h 7458372"/>
              <a:gd name="connsiteX36756" fmla="*/ 3104194 w 10505529"/>
              <a:gd name="connsiteY36756" fmla="*/ 1347279 h 7458372"/>
              <a:gd name="connsiteX36757" fmla="*/ 3098070 w 10505529"/>
              <a:gd name="connsiteY36757" fmla="*/ 1356599 h 7458372"/>
              <a:gd name="connsiteX36758" fmla="*/ 3088752 w 10505529"/>
              <a:gd name="connsiteY36758" fmla="*/ 1362851 h 7458372"/>
              <a:gd name="connsiteX36759" fmla="*/ 3077037 w 10505529"/>
              <a:gd name="connsiteY36759" fmla="*/ 1365113 h 7458372"/>
              <a:gd name="connsiteX36760" fmla="*/ 3055204 w 10505529"/>
              <a:gd name="connsiteY36760" fmla="*/ 1356599 h 7458372"/>
              <a:gd name="connsiteX36761" fmla="*/ 3046818 w 10505529"/>
              <a:gd name="connsiteY36761" fmla="*/ 1335427 h 7458372"/>
              <a:gd name="connsiteX36762" fmla="*/ 3055204 w 10505529"/>
              <a:gd name="connsiteY36762" fmla="*/ 1314393 h 7458372"/>
              <a:gd name="connsiteX36763" fmla="*/ 3077037 w 10505529"/>
              <a:gd name="connsiteY36763" fmla="*/ 1305741 h 7458372"/>
              <a:gd name="connsiteX36764" fmla="*/ 2859388 w 10505529"/>
              <a:gd name="connsiteY36764" fmla="*/ 1305741 h 7458372"/>
              <a:gd name="connsiteX36765" fmla="*/ 2871236 w 10505529"/>
              <a:gd name="connsiteY36765" fmla="*/ 1308407 h 7458372"/>
              <a:gd name="connsiteX36766" fmla="*/ 2880554 w 10505529"/>
              <a:gd name="connsiteY36766" fmla="*/ 1314801 h 7458372"/>
              <a:gd name="connsiteX36767" fmla="*/ 2886678 w 10505529"/>
              <a:gd name="connsiteY36767" fmla="*/ 1324111 h 7458372"/>
              <a:gd name="connsiteX36768" fmla="*/ 2888941 w 10505529"/>
              <a:gd name="connsiteY36768" fmla="*/ 1335564 h 7458372"/>
              <a:gd name="connsiteX36769" fmla="*/ 2886678 w 10505529"/>
              <a:gd name="connsiteY36769" fmla="*/ 1347279 h 7458372"/>
              <a:gd name="connsiteX36770" fmla="*/ 2880554 w 10505529"/>
              <a:gd name="connsiteY36770" fmla="*/ 1356599 h 7458372"/>
              <a:gd name="connsiteX36771" fmla="*/ 2871236 w 10505529"/>
              <a:gd name="connsiteY36771" fmla="*/ 1362851 h 7458372"/>
              <a:gd name="connsiteX36772" fmla="*/ 2859388 w 10505529"/>
              <a:gd name="connsiteY36772" fmla="*/ 1365113 h 7458372"/>
              <a:gd name="connsiteX36773" fmla="*/ 2837556 w 10505529"/>
              <a:gd name="connsiteY36773" fmla="*/ 1356599 h 7458372"/>
              <a:gd name="connsiteX36774" fmla="*/ 2829169 w 10505529"/>
              <a:gd name="connsiteY36774" fmla="*/ 1335427 h 7458372"/>
              <a:gd name="connsiteX36775" fmla="*/ 2837556 w 10505529"/>
              <a:gd name="connsiteY36775" fmla="*/ 1314393 h 7458372"/>
              <a:gd name="connsiteX36776" fmla="*/ 2859388 w 10505529"/>
              <a:gd name="connsiteY36776" fmla="*/ 1305741 h 7458372"/>
              <a:gd name="connsiteX36777" fmla="*/ 2641739 w 10505529"/>
              <a:gd name="connsiteY36777" fmla="*/ 1305741 h 7458372"/>
              <a:gd name="connsiteX36778" fmla="*/ 2653455 w 10505529"/>
              <a:gd name="connsiteY36778" fmla="*/ 1308407 h 7458372"/>
              <a:gd name="connsiteX36779" fmla="*/ 2662773 w 10505529"/>
              <a:gd name="connsiteY36779" fmla="*/ 1314801 h 7458372"/>
              <a:gd name="connsiteX36780" fmla="*/ 2668896 w 10505529"/>
              <a:gd name="connsiteY36780" fmla="*/ 1324111 h 7458372"/>
              <a:gd name="connsiteX36781" fmla="*/ 2671159 w 10505529"/>
              <a:gd name="connsiteY36781" fmla="*/ 1335564 h 7458372"/>
              <a:gd name="connsiteX36782" fmla="*/ 2668896 w 10505529"/>
              <a:gd name="connsiteY36782" fmla="*/ 1347279 h 7458372"/>
              <a:gd name="connsiteX36783" fmla="*/ 2662773 w 10505529"/>
              <a:gd name="connsiteY36783" fmla="*/ 1356599 h 7458372"/>
              <a:gd name="connsiteX36784" fmla="*/ 2653455 w 10505529"/>
              <a:gd name="connsiteY36784" fmla="*/ 1362851 h 7458372"/>
              <a:gd name="connsiteX36785" fmla="*/ 2641739 w 10505529"/>
              <a:gd name="connsiteY36785" fmla="*/ 1365113 h 7458372"/>
              <a:gd name="connsiteX36786" fmla="*/ 2619906 w 10505529"/>
              <a:gd name="connsiteY36786" fmla="*/ 1356599 h 7458372"/>
              <a:gd name="connsiteX36787" fmla="*/ 2611520 w 10505529"/>
              <a:gd name="connsiteY36787" fmla="*/ 1335427 h 7458372"/>
              <a:gd name="connsiteX36788" fmla="*/ 2619906 w 10505529"/>
              <a:gd name="connsiteY36788" fmla="*/ 1314393 h 7458372"/>
              <a:gd name="connsiteX36789" fmla="*/ 2641739 w 10505529"/>
              <a:gd name="connsiteY36789" fmla="*/ 1305741 h 7458372"/>
              <a:gd name="connsiteX36790" fmla="*/ 2424090 w 10505529"/>
              <a:gd name="connsiteY36790" fmla="*/ 1305741 h 7458372"/>
              <a:gd name="connsiteX36791" fmla="*/ 2435805 w 10505529"/>
              <a:gd name="connsiteY36791" fmla="*/ 1308407 h 7458372"/>
              <a:gd name="connsiteX36792" fmla="*/ 2445123 w 10505529"/>
              <a:gd name="connsiteY36792" fmla="*/ 1314801 h 7458372"/>
              <a:gd name="connsiteX36793" fmla="*/ 2451247 w 10505529"/>
              <a:gd name="connsiteY36793" fmla="*/ 1324111 h 7458372"/>
              <a:gd name="connsiteX36794" fmla="*/ 2453510 w 10505529"/>
              <a:gd name="connsiteY36794" fmla="*/ 1335564 h 7458372"/>
              <a:gd name="connsiteX36795" fmla="*/ 2451247 w 10505529"/>
              <a:gd name="connsiteY36795" fmla="*/ 1347279 h 7458372"/>
              <a:gd name="connsiteX36796" fmla="*/ 2445123 w 10505529"/>
              <a:gd name="connsiteY36796" fmla="*/ 1356599 h 7458372"/>
              <a:gd name="connsiteX36797" fmla="*/ 2435805 w 10505529"/>
              <a:gd name="connsiteY36797" fmla="*/ 1362851 h 7458372"/>
              <a:gd name="connsiteX36798" fmla="*/ 2424090 w 10505529"/>
              <a:gd name="connsiteY36798" fmla="*/ 1365113 h 7458372"/>
              <a:gd name="connsiteX36799" fmla="*/ 2402258 w 10505529"/>
              <a:gd name="connsiteY36799" fmla="*/ 1356599 h 7458372"/>
              <a:gd name="connsiteX36800" fmla="*/ 2393871 w 10505529"/>
              <a:gd name="connsiteY36800" fmla="*/ 1335427 h 7458372"/>
              <a:gd name="connsiteX36801" fmla="*/ 2402258 w 10505529"/>
              <a:gd name="connsiteY36801" fmla="*/ 1314393 h 7458372"/>
              <a:gd name="connsiteX36802" fmla="*/ 2424090 w 10505529"/>
              <a:gd name="connsiteY36802" fmla="*/ 1305741 h 7458372"/>
              <a:gd name="connsiteX36803" fmla="*/ 2206441 w 10505529"/>
              <a:gd name="connsiteY36803" fmla="*/ 1305741 h 7458372"/>
              <a:gd name="connsiteX36804" fmla="*/ 2218156 w 10505529"/>
              <a:gd name="connsiteY36804" fmla="*/ 1308407 h 7458372"/>
              <a:gd name="connsiteX36805" fmla="*/ 2227475 w 10505529"/>
              <a:gd name="connsiteY36805" fmla="*/ 1314801 h 7458372"/>
              <a:gd name="connsiteX36806" fmla="*/ 2233597 w 10505529"/>
              <a:gd name="connsiteY36806" fmla="*/ 1324111 h 7458372"/>
              <a:gd name="connsiteX36807" fmla="*/ 2235860 w 10505529"/>
              <a:gd name="connsiteY36807" fmla="*/ 1335564 h 7458372"/>
              <a:gd name="connsiteX36808" fmla="*/ 2233597 w 10505529"/>
              <a:gd name="connsiteY36808" fmla="*/ 1347279 h 7458372"/>
              <a:gd name="connsiteX36809" fmla="*/ 2227475 w 10505529"/>
              <a:gd name="connsiteY36809" fmla="*/ 1356599 h 7458372"/>
              <a:gd name="connsiteX36810" fmla="*/ 2218156 w 10505529"/>
              <a:gd name="connsiteY36810" fmla="*/ 1362851 h 7458372"/>
              <a:gd name="connsiteX36811" fmla="*/ 2206441 w 10505529"/>
              <a:gd name="connsiteY36811" fmla="*/ 1365113 h 7458372"/>
              <a:gd name="connsiteX36812" fmla="*/ 2184610 w 10505529"/>
              <a:gd name="connsiteY36812" fmla="*/ 1356599 h 7458372"/>
              <a:gd name="connsiteX36813" fmla="*/ 2176222 w 10505529"/>
              <a:gd name="connsiteY36813" fmla="*/ 1335427 h 7458372"/>
              <a:gd name="connsiteX36814" fmla="*/ 2184610 w 10505529"/>
              <a:gd name="connsiteY36814" fmla="*/ 1314393 h 7458372"/>
              <a:gd name="connsiteX36815" fmla="*/ 2206441 w 10505529"/>
              <a:gd name="connsiteY36815" fmla="*/ 1305741 h 7458372"/>
              <a:gd name="connsiteX36816" fmla="*/ 1988925 w 10505529"/>
              <a:gd name="connsiteY36816" fmla="*/ 1305741 h 7458372"/>
              <a:gd name="connsiteX36817" fmla="*/ 2000640 w 10505529"/>
              <a:gd name="connsiteY36817" fmla="*/ 1308407 h 7458372"/>
              <a:gd name="connsiteX36818" fmla="*/ 2009958 w 10505529"/>
              <a:gd name="connsiteY36818" fmla="*/ 1314801 h 7458372"/>
              <a:gd name="connsiteX36819" fmla="*/ 2016082 w 10505529"/>
              <a:gd name="connsiteY36819" fmla="*/ 1324111 h 7458372"/>
              <a:gd name="connsiteX36820" fmla="*/ 2018345 w 10505529"/>
              <a:gd name="connsiteY36820" fmla="*/ 1335564 h 7458372"/>
              <a:gd name="connsiteX36821" fmla="*/ 2016082 w 10505529"/>
              <a:gd name="connsiteY36821" fmla="*/ 1347279 h 7458372"/>
              <a:gd name="connsiteX36822" fmla="*/ 2009958 w 10505529"/>
              <a:gd name="connsiteY36822" fmla="*/ 1356599 h 7458372"/>
              <a:gd name="connsiteX36823" fmla="*/ 2000640 w 10505529"/>
              <a:gd name="connsiteY36823" fmla="*/ 1362851 h 7458372"/>
              <a:gd name="connsiteX36824" fmla="*/ 1988925 w 10505529"/>
              <a:gd name="connsiteY36824" fmla="*/ 1365113 h 7458372"/>
              <a:gd name="connsiteX36825" fmla="*/ 1967094 w 10505529"/>
              <a:gd name="connsiteY36825" fmla="*/ 1356599 h 7458372"/>
              <a:gd name="connsiteX36826" fmla="*/ 1958707 w 10505529"/>
              <a:gd name="connsiteY36826" fmla="*/ 1335427 h 7458372"/>
              <a:gd name="connsiteX36827" fmla="*/ 1967094 w 10505529"/>
              <a:gd name="connsiteY36827" fmla="*/ 1314393 h 7458372"/>
              <a:gd name="connsiteX36828" fmla="*/ 1988925 w 10505529"/>
              <a:gd name="connsiteY36828" fmla="*/ 1305741 h 7458372"/>
              <a:gd name="connsiteX36829" fmla="*/ 1771283 w 10505529"/>
              <a:gd name="connsiteY36829" fmla="*/ 1305741 h 7458372"/>
              <a:gd name="connsiteX36830" fmla="*/ 1782998 w 10505529"/>
              <a:gd name="connsiteY36830" fmla="*/ 1308407 h 7458372"/>
              <a:gd name="connsiteX36831" fmla="*/ 1792315 w 10505529"/>
              <a:gd name="connsiteY36831" fmla="*/ 1314801 h 7458372"/>
              <a:gd name="connsiteX36832" fmla="*/ 1798439 w 10505529"/>
              <a:gd name="connsiteY36832" fmla="*/ 1324111 h 7458372"/>
              <a:gd name="connsiteX36833" fmla="*/ 1800702 w 10505529"/>
              <a:gd name="connsiteY36833" fmla="*/ 1335564 h 7458372"/>
              <a:gd name="connsiteX36834" fmla="*/ 1798439 w 10505529"/>
              <a:gd name="connsiteY36834" fmla="*/ 1347279 h 7458372"/>
              <a:gd name="connsiteX36835" fmla="*/ 1792315 w 10505529"/>
              <a:gd name="connsiteY36835" fmla="*/ 1356599 h 7458372"/>
              <a:gd name="connsiteX36836" fmla="*/ 1782998 w 10505529"/>
              <a:gd name="connsiteY36836" fmla="*/ 1362851 h 7458372"/>
              <a:gd name="connsiteX36837" fmla="*/ 1771283 w 10505529"/>
              <a:gd name="connsiteY36837" fmla="*/ 1365113 h 7458372"/>
              <a:gd name="connsiteX36838" fmla="*/ 1749452 w 10505529"/>
              <a:gd name="connsiteY36838" fmla="*/ 1356599 h 7458372"/>
              <a:gd name="connsiteX36839" fmla="*/ 1741067 w 10505529"/>
              <a:gd name="connsiteY36839" fmla="*/ 1335427 h 7458372"/>
              <a:gd name="connsiteX36840" fmla="*/ 1749452 w 10505529"/>
              <a:gd name="connsiteY36840" fmla="*/ 1314393 h 7458372"/>
              <a:gd name="connsiteX36841" fmla="*/ 1771283 w 10505529"/>
              <a:gd name="connsiteY36841" fmla="*/ 1305741 h 7458372"/>
              <a:gd name="connsiteX36842" fmla="*/ 1553640 w 10505529"/>
              <a:gd name="connsiteY36842" fmla="*/ 1305741 h 7458372"/>
              <a:gd name="connsiteX36843" fmla="*/ 1565355 w 10505529"/>
              <a:gd name="connsiteY36843" fmla="*/ 1308407 h 7458372"/>
              <a:gd name="connsiteX36844" fmla="*/ 1574673 w 10505529"/>
              <a:gd name="connsiteY36844" fmla="*/ 1314801 h 7458372"/>
              <a:gd name="connsiteX36845" fmla="*/ 1580796 w 10505529"/>
              <a:gd name="connsiteY36845" fmla="*/ 1324111 h 7458372"/>
              <a:gd name="connsiteX36846" fmla="*/ 1583059 w 10505529"/>
              <a:gd name="connsiteY36846" fmla="*/ 1335564 h 7458372"/>
              <a:gd name="connsiteX36847" fmla="*/ 1580796 w 10505529"/>
              <a:gd name="connsiteY36847" fmla="*/ 1347279 h 7458372"/>
              <a:gd name="connsiteX36848" fmla="*/ 1574673 w 10505529"/>
              <a:gd name="connsiteY36848" fmla="*/ 1356599 h 7458372"/>
              <a:gd name="connsiteX36849" fmla="*/ 1565355 w 10505529"/>
              <a:gd name="connsiteY36849" fmla="*/ 1362851 h 7458372"/>
              <a:gd name="connsiteX36850" fmla="*/ 1553640 w 10505529"/>
              <a:gd name="connsiteY36850" fmla="*/ 1365113 h 7458372"/>
              <a:gd name="connsiteX36851" fmla="*/ 1531808 w 10505529"/>
              <a:gd name="connsiteY36851" fmla="*/ 1356599 h 7458372"/>
              <a:gd name="connsiteX36852" fmla="*/ 1523422 w 10505529"/>
              <a:gd name="connsiteY36852" fmla="*/ 1335427 h 7458372"/>
              <a:gd name="connsiteX36853" fmla="*/ 1531808 w 10505529"/>
              <a:gd name="connsiteY36853" fmla="*/ 1314393 h 7458372"/>
              <a:gd name="connsiteX36854" fmla="*/ 1553640 w 10505529"/>
              <a:gd name="connsiteY36854" fmla="*/ 1305741 h 7458372"/>
              <a:gd name="connsiteX36855" fmla="*/ 1335995 w 10505529"/>
              <a:gd name="connsiteY36855" fmla="*/ 1305741 h 7458372"/>
              <a:gd name="connsiteX36856" fmla="*/ 1347710 w 10505529"/>
              <a:gd name="connsiteY36856" fmla="*/ 1308407 h 7458372"/>
              <a:gd name="connsiteX36857" fmla="*/ 1357028 w 10505529"/>
              <a:gd name="connsiteY36857" fmla="*/ 1314801 h 7458372"/>
              <a:gd name="connsiteX36858" fmla="*/ 1363151 w 10505529"/>
              <a:gd name="connsiteY36858" fmla="*/ 1324111 h 7458372"/>
              <a:gd name="connsiteX36859" fmla="*/ 1365415 w 10505529"/>
              <a:gd name="connsiteY36859" fmla="*/ 1335564 h 7458372"/>
              <a:gd name="connsiteX36860" fmla="*/ 1363151 w 10505529"/>
              <a:gd name="connsiteY36860" fmla="*/ 1347279 h 7458372"/>
              <a:gd name="connsiteX36861" fmla="*/ 1357028 w 10505529"/>
              <a:gd name="connsiteY36861" fmla="*/ 1356599 h 7458372"/>
              <a:gd name="connsiteX36862" fmla="*/ 1347710 w 10505529"/>
              <a:gd name="connsiteY36862" fmla="*/ 1362851 h 7458372"/>
              <a:gd name="connsiteX36863" fmla="*/ 1335995 w 10505529"/>
              <a:gd name="connsiteY36863" fmla="*/ 1365113 h 7458372"/>
              <a:gd name="connsiteX36864" fmla="*/ 1314163 w 10505529"/>
              <a:gd name="connsiteY36864" fmla="*/ 1356599 h 7458372"/>
              <a:gd name="connsiteX36865" fmla="*/ 1305778 w 10505529"/>
              <a:gd name="connsiteY36865" fmla="*/ 1335427 h 7458372"/>
              <a:gd name="connsiteX36866" fmla="*/ 1314163 w 10505529"/>
              <a:gd name="connsiteY36866" fmla="*/ 1314393 h 7458372"/>
              <a:gd name="connsiteX36867" fmla="*/ 1335995 w 10505529"/>
              <a:gd name="connsiteY36867" fmla="*/ 1305741 h 7458372"/>
              <a:gd name="connsiteX36868" fmla="*/ 1118350 w 10505529"/>
              <a:gd name="connsiteY36868" fmla="*/ 1305741 h 7458372"/>
              <a:gd name="connsiteX36869" fmla="*/ 1130066 w 10505529"/>
              <a:gd name="connsiteY36869" fmla="*/ 1308407 h 7458372"/>
              <a:gd name="connsiteX36870" fmla="*/ 1139384 w 10505529"/>
              <a:gd name="connsiteY36870" fmla="*/ 1314801 h 7458372"/>
              <a:gd name="connsiteX36871" fmla="*/ 1145505 w 10505529"/>
              <a:gd name="connsiteY36871" fmla="*/ 1324111 h 7458372"/>
              <a:gd name="connsiteX36872" fmla="*/ 1147769 w 10505529"/>
              <a:gd name="connsiteY36872" fmla="*/ 1335564 h 7458372"/>
              <a:gd name="connsiteX36873" fmla="*/ 1145505 w 10505529"/>
              <a:gd name="connsiteY36873" fmla="*/ 1347279 h 7458372"/>
              <a:gd name="connsiteX36874" fmla="*/ 1139384 w 10505529"/>
              <a:gd name="connsiteY36874" fmla="*/ 1356599 h 7458372"/>
              <a:gd name="connsiteX36875" fmla="*/ 1130066 w 10505529"/>
              <a:gd name="connsiteY36875" fmla="*/ 1362851 h 7458372"/>
              <a:gd name="connsiteX36876" fmla="*/ 1118350 w 10505529"/>
              <a:gd name="connsiteY36876" fmla="*/ 1365113 h 7458372"/>
              <a:gd name="connsiteX36877" fmla="*/ 1096517 w 10505529"/>
              <a:gd name="connsiteY36877" fmla="*/ 1356599 h 7458372"/>
              <a:gd name="connsiteX36878" fmla="*/ 1088132 w 10505529"/>
              <a:gd name="connsiteY36878" fmla="*/ 1335427 h 7458372"/>
              <a:gd name="connsiteX36879" fmla="*/ 1096517 w 10505529"/>
              <a:gd name="connsiteY36879" fmla="*/ 1314393 h 7458372"/>
              <a:gd name="connsiteX36880" fmla="*/ 1118350 w 10505529"/>
              <a:gd name="connsiteY36880" fmla="*/ 1305741 h 7458372"/>
              <a:gd name="connsiteX36881" fmla="*/ 900838 w 10505529"/>
              <a:gd name="connsiteY36881" fmla="*/ 1305741 h 7458372"/>
              <a:gd name="connsiteX36882" fmla="*/ 912553 w 10505529"/>
              <a:gd name="connsiteY36882" fmla="*/ 1308407 h 7458372"/>
              <a:gd name="connsiteX36883" fmla="*/ 921871 w 10505529"/>
              <a:gd name="connsiteY36883" fmla="*/ 1314801 h 7458372"/>
              <a:gd name="connsiteX36884" fmla="*/ 927994 w 10505529"/>
              <a:gd name="connsiteY36884" fmla="*/ 1324111 h 7458372"/>
              <a:gd name="connsiteX36885" fmla="*/ 930257 w 10505529"/>
              <a:gd name="connsiteY36885" fmla="*/ 1335564 h 7458372"/>
              <a:gd name="connsiteX36886" fmla="*/ 927994 w 10505529"/>
              <a:gd name="connsiteY36886" fmla="*/ 1347279 h 7458372"/>
              <a:gd name="connsiteX36887" fmla="*/ 921871 w 10505529"/>
              <a:gd name="connsiteY36887" fmla="*/ 1356599 h 7458372"/>
              <a:gd name="connsiteX36888" fmla="*/ 912553 w 10505529"/>
              <a:gd name="connsiteY36888" fmla="*/ 1362851 h 7458372"/>
              <a:gd name="connsiteX36889" fmla="*/ 900838 w 10505529"/>
              <a:gd name="connsiteY36889" fmla="*/ 1365113 h 7458372"/>
              <a:gd name="connsiteX36890" fmla="*/ 879007 w 10505529"/>
              <a:gd name="connsiteY36890" fmla="*/ 1356599 h 7458372"/>
              <a:gd name="connsiteX36891" fmla="*/ 870621 w 10505529"/>
              <a:gd name="connsiteY36891" fmla="*/ 1335427 h 7458372"/>
              <a:gd name="connsiteX36892" fmla="*/ 879007 w 10505529"/>
              <a:gd name="connsiteY36892" fmla="*/ 1314393 h 7458372"/>
              <a:gd name="connsiteX36893" fmla="*/ 900838 w 10505529"/>
              <a:gd name="connsiteY36893" fmla="*/ 1305741 h 7458372"/>
              <a:gd name="connsiteX36894" fmla="*/ 683194 w 10505529"/>
              <a:gd name="connsiteY36894" fmla="*/ 1305741 h 7458372"/>
              <a:gd name="connsiteX36895" fmla="*/ 694909 w 10505529"/>
              <a:gd name="connsiteY36895" fmla="*/ 1308407 h 7458372"/>
              <a:gd name="connsiteX36896" fmla="*/ 704227 w 10505529"/>
              <a:gd name="connsiteY36896" fmla="*/ 1314801 h 7458372"/>
              <a:gd name="connsiteX36897" fmla="*/ 710350 w 10505529"/>
              <a:gd name="connsiteY36897" fmla="*/ 1324111 h 7458372"/>
              <a:gd name="connsiteX36898" fmla="*/ 712613 w 10505529"/>
              <a:gd name="connsiteY36898" fmla="*/ 1335564 h 7458372"/>
              <a:gd name="connsiteX36899" fmla="*/ 710350 w 10505529"/>
              <a:gd name="connsiteY36899" fmla="*/ 1347279 h 7458372"/>
              <a:gd name="connsiteX36900" fmla="*/ 704227 w 10505529"/>
              <a:gd name="connsiteY36900" fmla="*/ 1356599 h 7458372"/>
              <a:gd name="connsiteX36901" fmla="*/ 694909 w 10505529"/>
              <a:gd name="connsiteY36901" fmla="*/ 1362851 h 7458372"/>
              <a:gd name="connsiteX36902" fmla="*/ 683194 w 10505529"/>
              <a:gd name="connsiteY36902" fmla="*/ 1365113 h 7458372"/>
              <a:gd name="connsiteX36903" fmla="*/ 661363 w 10505529"/>
              <a:gd name="connsiteY36903" fmla="*/ 1356599 h 7458372"/>
              <a:gd name="connsiteX36904" fmla="*/ 652977 w 10505529"/>
              <a:gd name="connsiteY36904" fmla="*/ 1335427 h 7458372"/>
              <a:gd name="connsiteX36905" fmla="*/ 661363 w 10505529"/>
              <a:gd name="connsiteY36905" fmla="*/ 1314393 h 7458372"/>
              <a:gd name="connsiteX36906" fmla="*/ 683194 w 10505529"/>
              <a:gd name="connsiteY36906" fmla="*/ 1305741 h 7458372"/>
              <a:gd name="connsiteX36907" fmla="*/ 465550 w 10505529"/>
              <a:gd name="connsiteY36907" fmla="*/ 1305741 h 7458372"/>
              <a:gd name="connsiteX36908" fmla="*/ 477266 w 10505529"/>
              <a:gd name="connsiteY36908" fmla="*/ 1308407 h 7458372"/>
              <a:gd name="connsiteX36909" fmla="*/ 486583 w 10505529"/>
              <a:gd name="connsiteY36909" fmla="*/ 1314801 h 7458372"/>
              <a:gd name="connsiteX36910" fmla="*/ 492707 w 10505529"/>
              <a:gd name="connsiteY36910" fmla="*/ 1324111 h 7458372"/>
              <a:gd name="connsiteX36911" fmla="*/ 494969 w 10505529"/>
              <a:gd name="connsiteY36911" fmla="*/ 1335564 h 7458372"/>
              <a:gd name="connsiteX36912" fmla="*/ 492707 w 10505529"/>
              <a:gd name="connsiteY36912" fmla="*/ 1347279 h 7458372"/>
              <a:gd name="connsiteX36913" fmla="*/ 486583 w 10505529"/>
              <a:gd name="connsiteY36913" fmla="*/ 1356599 h 7458372"/>
              <a:gd name="connsiteX36914" fmla="*/ 477266 w 10505529"/>
              <a:gd name="connsiteY36914" fmla="*/ 1362851 h 7458372"/>
              <a:gd name="connsiteX36915" fmla="*/ 465550 w 10505529"/>
              <a:gd name="connsiteY36915" fmla="*/ 1365113 h 7458372"/>
              <a:gd name="connsiteX36916" fmla="*/ 443719 w 10505529"/>
              <a:gd name="connsiteY36916" fmla="*/ 1356599 h 7458372"/>
              <a:gd name="connsiteX36917" fmla="*/ 435333 w 10505529"/>
              <a:gd name="connsiteY36917" fmla="*/ 1335427 h 7458372"/>
              <a:gd name="connsiteX36918" fmla="*/ 443719 w 10505529"/>
              <a:gd name="connsiteY36918" fmla="*/ 1314393 h 7458372"/>
              <a:gd name="connsiteX36919" fmla="*/ 465550 w 10505529"/>
              <a:gd name="connsiteY36919" fmla="*/ 1305741 h 7458372"/>
              <a:gd name="connsiteX36920" fmla="*/ 247906 w 10505529"/>
              <a:gd name="connsiteY36920" fmla="*/ 1305741 h 7458372"/>
              <a:gd name="connsiteX36921" fmla="*/ 259621 w 10505529"/>
              <a:gd name="connsiteY36921" fmla="*/ 1308407 h 7458372"/>
              <a:gd name="connsiteX36922" fmla="*/ 268939 w 10505529"/>
              <a:gd name="connsiteY36922" fmla="*/ 1314801 h 7458372"/>
              <a:gd name="connsiteX36923" fmla="*/ 275063 w 10505529"/>
              <a:gd name="connsiteY36923" fmla="*/ 1324111 h 7458372"/>
              <a:gd name="connsiteX36924" fmla="*/ 277326 w 10505529"/>
              <a:gd name="connsiteY36924" fmla="*/ 1335564 h 7458372"/>
              <a:gd name="connsiteX36925" fmla="*/ 275063 w 10505529"/>
              <a:gd name="connsiteY36925" fmla="*/ 1347279 h 7458372"/>
              <a:gd name="connsiteX36926" fmla="*/ 268939 w 10505529"/>
              <a:gd name="connsiteY36926" fmla="*/ 1356599 h 7458372"/>
              <a:gd name="connsiteX36927" fmla="*/ 259621 w 10505529"/>
              <a:gd name="connsiteY36927" fmla="*/ 1362851 h 7458372"/>
              <a:gd name="connsiteX36928" fmla="*/ 247906 w 10505529"/>
              <a:gd name="connsiteY36928" fmla="*/ 1365113 h 7458372"/>
              <a:gd name="connsiteX36929" fmla="*/ 226075 w 10505529"/>
              <a:gd name="connsiteY36929" fmla="*/ 1356599 h 7458372"/>
              <a:gd name="connsiteX36930" fmla="*/ 217689 w 10505529"/>
              <a:gd name="connsiteY36930" fmla="*/ 1335427 h 7458372"/>
              <a:gd name="connsiteX36931" fmla="*/ 226075 w 10505529"/>
              <a:gd name="connsiteY36931" fmla="*/ 1314393 h 7458372"/>
              <a:gd name="connsiteX36932" fmla="*/ 247906 w 10505529"/>
              <a:gd name="connsiteY36932" fmla="*/ 1305741 h 7458372"/>
              <a:gd name="connsiteX36933" fmla="*/ 30262 w 10505529"/>
              <a:gd name="connsiteY36933" fmla="*/ 1305741 h 7458372"/>
              <a:gd name="connsiteX36934" fmla="*/ 41977 w 10505529"/>
              <a:gd name="connsiteY36934" fmla="*/ 1308407 h 7458372"/>
              <a:gd name="connsiteX36935" fmla="*/ 51296 w 10505529"/>
              <a:gd name="connsiteY36935" fmla="*/ 1314801 h 7458372"/>
              <a:gd name="connsiteX36936" fmla="*/ 57419 w 10505529"/>
              <a:gd name="connsiteY36936" fmla="*/ 1324111 h 7458372"/>
              <a:gd name="connsiteX36937" fmla="*/ 59682 w 10505529"/>
              <a:gd name="connsiteY36937" fmla="*/ 1335564 h 7458372"/>
              <a:gd name="connsiteX36938" fmla="*/ 57419 w 10505529"/>
              <a:gd name="connsiteY36938" fmla="*/ 1347279 h 7458372"/>
              <a:gd name="connsiteX36939" fmla="*/ 51296 w 10505529"/>
              <a:gd name="connsiteY36939" fmla="*/ 1356599 h 7458372"/>
              <a:gd name="connsiteX36940" fmla="*/ 41977 w 10505529"/>
              <a:gd name="connsiteY36940" fmla="*/ 1362851 h 7458372"/>
              <a:gd name="connsiteX36941" fmla="*/ 30262 w 10505529"/>
              <a:gd name="connsiteY36941" fmla="*/ 1365113 h 7458372"/>
              <a:gd name="connsiteX36942" fmla="*/ 8432 w 10505529"/>
              <a:gd name="connsiteY36942" fmla="*/ 1356599 h 7458372"/>
              <a:gd name="connsiteX36943" fmla="*/ 46 w 10505529"/>
              <a:gd name="connsiteY36943" fmla="*/ 1335427 h 7458372"/>
              <a:gd name="connsiteX36944" fmla="*/ 8432 w 10505529"/>
              <a:gd name="connsiteY36944" fmla="*/ 1314393 h 7458372"/>
              <a:gd name="connsiteX36945" fmla="*/ 30262 w 10505529"/>
              <a:gd name="connsiteY36945" fmla="*/ 1305741 h 7458372"/>
              <a:gd name="connsiteX36946" fmla="*/ 10475977 w 10505529"/>
              <a:gd name="connsiteY36946" fmla="*/ 1104736 h 7458372"/>
              <a:gd name="connsiteX36947" fmla="*/ 10465992 w 10505529"/>
              <a:gd name="connsiteY36947" fmla="*/ 1108331 h 7458372"/>
              <a:gd name="connsiteX36948" fmla="*/ 10462399 w 10505529"/>
              <a:gd name="connsiteY36948" fmla="*/ 1117780 h 7458372"/>
              <a:gd name="connsiteX36949" fmla="*/ 10465992 w 10505529"/>
              <a:gd name="connsiteY36949" fmla="*/ 1127230 h 7458372"/>
              <a:gd name="connsiteX36950" fmla="*/ 10475977 w 10505529"/>
              <a:gd name="connsiteY36950" fmla="*/ 1130693 h 7458372"/>
              <a:gd name="connsiteX36951" fmla="*/ 10481302 w 10505529"/>
              <a:gd name="connsiteY36951" fmla="*/ 1129635 h 7458372"/>
              <a:gd name="connsiteX36952" fmla="*/ 10485029 w 10505529"/>
              <a:gd name="connsiteY36952" fmla="*/ 1127230 h 7458372"/>
              <a:gd name="connsiteX36953" fmla="*/ 10487691 w 10505529"/>
              <a:gd name="connsiteY36953" fmla="*/ 1123107 h 7458372"/>
              <a:gd name="connsiteX36954" fmla="*/ 10488623 w 10505529"/>
              <a:gd name="connsiteY36954" fmla="*/ 1117655 h 7458372"/>
              <a:gd name="connsiteX36955" fmla="*/ 10487691 w 10505529"/>
              <a:gd name="connsiteY36955" fmla="*/ 1112457 h 7458372"/>
              <a:gd name="connsiteX36956" fmla="*/ 10485029 w 10505529"/>
              <a:gd name="connsiteY36956" fmla="*/ 1108331 h 7458372"/>
              <a:gd name="connsiteX36957" fmla="*/ 10481035 w 10505529"/>
              <a:gd name="connsiteY36957" fmla="*/ 1105670 h 7458372"/>
              <a:gd name="connsiteX36958" fmla="*/ 10475977 w 10505529"/>
              <a:gd name="connsiteY36958" fmla="*/ 1104736 h 7458372"/>
              <a:gd name="connsiteX36959" fmla="*/ 10258466 w 10505529"/>
              <a:gd name="connsiteY36959" fmla="*/ 1104736 h 7458372"/>
              <a:gd name="connsiteX36960" fmla="*/ 10248481 w 10505529"/>
              <a:gd name="connsiteY36960" fmla="*/ 1108331 h 7458372"/>
              <a:gd name="connsiteX36961" fmla="*/ 10244887 w 10505529"/>
              <a:gd name="connsiteY36961" fmla="*/ 1117780 h 7458372"/>
              <a:gd name="connsiteX36962" fmla="*/ 10248481 w 10505529"/>
              <a:gd name="connsiteY36962" fmla="*/ 1127230 h 7458372"/>
              <a:gd name="connsiteX36963" fmla="*/ 10258466 w 10505529"/>
              <a:gd name="connsiteY36963" fmla="*/ 1130693 h 7458372"/>
              <a:gd name="connsiteX36964" fmla="*/ 10263790 w 10505529"/>
              <a:gd name="connsiteY36964" fmla="*/ 1129635 h 7458372"/>
              <a:gd name="connsiteX36965" fmla="*/ 10267517 w 10505529"/>
              <a:gd name="connsiteY36965" fmla="*/ 1127230 h 7458372"/>
              <a:gd name="connsiteX36966" fmla="*/ 10270180 w 10505529"/>
              <a:gd name="connsiteY36966" fmla="*/ 1123107 h 7458372"/>
              <a:gd name="connsiteX36967" fmla="*/ 10271112 w 10505529"/>
              <a:gd name="connsiteY36967" fmla="*/ 1117655 h 7458372"/>
              <a:gd name="connsiteX36968" fmla="*/ 10270180 w 10505529"/>
              <a:gd name="connsiteY36968" fmla="*/ 1112457 h 7458372"/>
              <a:gd name="connsiteX36969" fmla="*/ 10267517 w 10505529"/>
              <a:gd name="connsiteY36969" fmla="*/ 1108331 h 7458372"/>
              <a:gd name="connsiteX36970" fmla="*/ 10263524 w 10505529"/>
              <a:gd name="connsiteY36970" fmla="*/ 1105670 h 7458372"/>
              <a:gd name="connsiteX36971" fmla="*/ 10258466 w 10505529"/>
              <a:gd name="connsiteY36971" fmla="*/ 1104736 h 7458372"/>
              <a:gd name="connsiteX36972" fmla="*/ 10040820 w 10505529"/>
              <a:gd name="connsiteY36972" fmla="*/ 1104736 h 7458372"/>
              <a:gd name="connsiteX36973" fmla="*/ 10030835 w 10505529"/>
              <a:gd name="connsiteY36973" fmla="*/ 1108331 h 7458372"/>
              <a:gd name="connsiteX36974" fmla="*/ 10027242 w 10505529"/>
              <a:gd name="connsiteY36974" fmla="*/ 1117780 h 7458372"/>
              <a:gd name="connsiteX36975" fmla="*/ 10030835 w 10505529"/>
              <a:gd name="connsiteY36975" fmla="*/ 1127230 h 7458372"/>
              <a:gd name="connsiteX36976" fmla="*/ 10040820 w 10505529"/>
              <a:gd name="connsiteY36976" fmla="*/ 1130693 h 7458372"/>
              <a:gd name="connsiteX36977" fmla="*/ 10046145 w 10505529"/>
              <a:gd name="connsiteY36977" fmla="*/ 1129635 h 7458372"/>
              <a:gd name="connsiteX36978" fmla="*/ 10049872 w 10505529"/>
              <a:gd name="connsiteY36978" fmla="*/ 1127230 h 7458372"/>
              <a:gd name="connsiteX36979" fmla="*/ 10052534 w 10505529"/>
              <a:gd name="connsiteY36979" fmla="*/ 1123107 h 7458372"/>
              <a:gd name="connsiteX36980" fmla="*/ 10053599 w 10505529"/>
              <a:gd name="connsiteY36980" fmla="*/ 1117655 h 7458372"/>
              <a:gd name="connsiteX36981" fmla="*/ 10052534 w 10505529"/>
              <a:gd name="connsiteY36981" fmla="*/ 1112457 h 7458372"/>
              <a:gd name="connsiteX36982" fmla="*/ 10049872 w 10505529"/>
              <a:gd name="connsiteY36982" fmla="*/ 1108331 h 7458372"/>
              <a:gd name="connsiteX36983" fmla="*/ 10045878 w 10505529"/>
              <a:gd name="connsiteY36983" fmla="*/ 1105670 h 7458372"/>
              <a:gd name="connsiteX36984" fmla="*/ 10040820 w 10505529"/>
              <a:gd name="connsiteY36984" fmla="*/ 1104736 h 7458372"/>
              <a:gd name="connsiteX36985" fmla="*/ 9823176 w 10505529"/>
              <a:gd name="connsiteY36985" fmla="*/ 1104736 h 7458372"/>
              <a:gd name="connsiteX36986" fmla="*/ 9813191 w 10505529"/>
              <a:gd name="connsiteY36986" fmla="*/ 1108331 h 7458372"/>
              <a:gd name="connsiteX36987" fmla="*/ 9809597 w 10505529"/>
              <a:gd name="connsiteY36987" fmla="*/ 1117780 h 7458372"/>
              <a:gd name="connsiteX36988" fmla="*/ 9813191 w 10505529"/>
              <a:gd name="connsiteY36988" fmla="*/ 1127230 h 7458372"/>
              <a:gd name="connsiteX36989" fmla="*/ 9823176 w 10505529"/>
              <a:gd name="connsiteY36989" fmla="*/ 1130693 h 7458372"/>
              <a:gd name="connsiteX36990" fmla="*/ 9828501 w 10505529"/>
              <a:gd name="connsiteY36990" fmla="*/ 1129635 h 7458372"/>
              <a:gd name="connsiteX36991" fmla="*/ 9832227 w 10505529"/>
              <a:gd name="connsiteY36991" fmla="*/ 1127230 h 7458372"/>
              <a:gd name="connsiteX36992" fmla="*/ 9834890 w 10505529"/>
              <a:gd name="connsiteY36992" fmla="*/ 1123107 h 7458372"/>
              <a:gd name="connsiteX36993" fmla="*/ 9835955 w 10505529"/>
              <a:gd name="connsiteY36993" fmla="*/ 1117655 h 7458372"/>
              <a:gd name="connsiteX36994" fmla="*/ 9834890 w 10505529"/>
              <a:gd name="connsiteY36994" fmla="*/ 1112457 h 7458372"/>
              <a:gd name="connsiteX36995" fmla="*/ 9832227 w 10505529"/>
              <a:gd name="connsiteY36995" fmla="*/ 1108331 h 7458372"/>
              <a:gd name="connsiteX36996" fmla="*/ 9828234 w 10505529"/>
              <a:gd name="connsiteY36996" fmla="*/ 1105670 h 7458372"/>
              <a:gd name="connsiteX36997" fmla="*/ 9823176 w 10505529"/>
              <a:gd name="connsiteY36997" fmla="*/ 1104736 h 7458372"/>
              <a:gd name="connsiteX36998" fmla="*/ 9605531 w 10505529"/>
              <a:gd name="connsiteY36998" fmla="*/ 1104736 h 7458372"/>
              <a:gd name="connsiteX36999" fmla="*/ 9595546 w 10505529"/>
              <a:gd name="connsiteY36999" fmla="*/ 1108331 h 7458372"/>
              <a:gd name="connsiteX37000" fmla="*/ 9591952 w 10505529"/>
              <a:gd name="connsiteY37000" fmla="*/ 1117780 h 7458372"/>
              <a:gd name="connsiteX37001" fmla="*/ 9595546 w 10505529"/>
              <a:gd name="connsiteY37001" fmla="*/ 1127230 h 7458372"/>
              <a:gd name="connsiteX37002" fmla="*/ 9605531 w 10505529"/>
              <a:gd name="connsiteY37002" fmla="*/ 1130693 h 7458372"/>
              <a:gd name="connsiteX37003" fmla="*/ 9610855 w 10505529"/>
              <a:gd name="connsiteY37003" fmla="*/ 1129635 h 7458372"/>
              <a:gd name="connsiteX37004" fmla="*/ 9614582 w 10505529"/>
              <a:gd name="connsiteY37004" fmla="*/ 1127230 h 7458372"/>
              <a:gd name="connsiteX37005" fmla="*/ 9617245 w 10505529"/>
              <a:gd name="connsiteY37005" fmla="*/ 1123107 h 7458372"/>
              <a:gd name="connsiteX37006" fmla="*/ 9618309 w 10505529"/>
              <a:gd name="connsiteY37006" fmla="*/ 1117655 h 7458372"/>
              <a:gd name="connsiteX37007" fmla="*/ 9617245 w 10505529"/>
              <a:gd name="connsiteY37007" fmla="*/ 1112457 h 7458372"/>
              <a:gd name="connsiteX37008" fmla="*/ 9614582 w 10505529"/>
              <a:gd name="connsiteY37008" fmla="*/ 1108331 h 7458372"/>
              <a:gd name="connsiteX37009" fmla="*/ 9610589 w 10505529"/>
              <a:gd name="connsiteY37009" fmla="*/ 1105670 h 7458372"/>
              <a:gd name="connsiteX37010" fmla="*/ 9605531 w 10505529"/>
              <a:gd name="connsiteY37010" fmla="*/ 1104736 h 7458372"/>
              <a:gd name="connsiteX37011" fmla="*/ 9387885 w 10505529"/>
              <a:gd name="connsiteY37011" fmla="*/ 1104736 h 7458372"/>
              <a:gd name="connsiteX37012" fmla="*/ 9377900 w 10505529"/>
              <a:gd name="connsiteY37012" fmla="*/ 1108331 h 7458372"/>
              <a:gd name="connsiteX37013" fmla="*/ 9374307 w 10505529"/>
              <a:gd name="connsiteY37013" fmla="*/ 1117780 h 7458372"/>
              <a:gd name="connsiteX37014" fmla="*/ 9377900 w 10505529"/>
              <a:gd name="connsiteY37014" fmla="*/ 1127230 h 7458372"/>
              <a:gd name="connsiteX37015" fmla="*/ 9387885 w 10505529"/>
              <a:gd name="connsiteY37015" fmla="*/ 1130693 h 7458372"/>
              <a:gd name="connsiteX37016" fmla="*/ 9393210 w 10505529"/>
              <a:gd name="connsiteY37016" fmla="*/ 1129635 h 7458372"/>
              <a:gd name="connsiteX37017" fmla="*/ 9396937 w 10505529"/>
              <a:gd name="connsiteY37017" fmla="*/ 1127230 h 7458372"/>
              <a:gd name="connsiteX37018" fmla="*/ 9399599 w 10505529"/>
              <a:gd name="connsiteY37018" fmla="*/ 1123107 h 7458372"/>
              <a:gd name="connsiteX37019" fmla="*/ 9400664 w 10505529"/>
              <a:gd name="connsiteY37019" fmla="*/ 1117655 h 7458372"/>
              <a:gd name="connsiteX37020" fmla="*/ 9399599 w 10505529"/>
              <a:gd name="connsiteY37020" fmla="*/ 1112457 h 7458372"/>
              <a:gd name="connsiteX37021" fmla="*/ 9396937 w 10505529"/>
              <a:gd name="connsiteY37021" fmla="*/ 1108331 h 7458372"/>
              <a:gd name="connsiteX37022" fmla="*/ 9392943 w 10505529"/>
              <a:gd name="connsiteY37022" fmla="*/ 1105670 h 7458372"/>
              <a:gd name="connsiteX37023" fmla="*/ 9387885 w 10505529"/>
              <a:gd name="connsiteY37023" fmla="*/ 1104736 h 7458372"/>
              <a:gd name="connsiteX37024" fmla="*/ 9170374 w 10505529"/>
              <a:gd name="connsiteY37024" fmla="*/ 1104736 h 7458372"/>
              <a:gd name="connsiteX37025" fmla="*/ 9160389 w 10505529"/>
              <a:gd name="connsiteY37025" fmla="*/ 1108331 h 7458372"/>
              <a:gd name="connsiteX37026" fmla="*/ 9156795 w 10505529"/>
              <a:gd name="connsiteY37026" fmla="*/ 1117780 h 7458372"/>
              <a:gd name="connsiteX37027" fmla="*/ 9160389 w 10505529"/>
              <a:gd name="connsiteY37027" fmla="*/ 1127230 h 7458372"/>
              <a:gd name="connsiteX37028" fmla="*/ 9170374 w 10505529"/>
              <a:gd name="connsiteY37028" fmla="*/ 1130693 h 7458372"/>
              <a:gd name="connsiteX37029" fmla="*/ 9175698 w 10505529"/>
              <a:gd name="connsiteY37029" fmla="*/ 1129635 h 7458372"/>
              <a:gd name="connsiteX37030" fmla="*/ 9179425 w 10505529"/>
              <a:gd name="connsiteY37030" fmla="*/ 1127230 h 7458372"/>
              <a:gd name="connsiteX37031" fmla="*/ 9182088 w 10505529"/>
              <a:gd name="connsiteY37031" fmla="*/ 1123107 h 7458372"/>
              <a:gd name="connsiteX37032" fmla="*/ 9183152 w 10505529"/>
              <a:gd name="connsiteY37032" fmla="*/ 1117655 h 7458372"/>
              <a:gd name="connsiteX37033" fmla="*/ 9182088 w 10505529"/>
              <a:gd name="connsiteY37033" fmla="*/ 1112457 h 7458372"/>
              <a:gd name="connsiteX37034" fmla="*/ 9179425 w 10505529"/>
              <a:gd name="connsiteY37034" fmla="*/ 1108331 h 7458372"/>
              <a:gd name="connsiteX37035" fmla="*/ 9175432 w 10505529"/>
              <a:gd name="connsiteY37035" fmla="*/ 1105670 h 7458372"/>
              <a:gd name="connsiteX37036" fmla="*/ 9170374 w 10505529"/>
              <a:gd name="connsiteY37036" fmla="*/ 1104736 h 7458372"/>
              <a:gd name="connsiteX37037" fmla="*/ 8952728 w 10505529"/>
              <a:gd name="connsiteY37037" fmla="*/ 1104736 h 7458372"/>
              <a:gd name="connsiteX37038" fmla="*/ 8942743 w 10505529"/>
              <a:gd name="connsiteY37038" fmla="*/ 1108331 h 7458372"/>
              <a:gd name="connsiteX37039" fmla="*/ 8939150 w 10505529"/>
              <a:gd name="connsiteY37039" fmla="*/ 1117780 h 7458372"/>
              <a:gd name="connsiteX37040" fmla="*/ 8942743 w 10505529"/>
              <a:gd name="connsiteY37040" fmla="*/ 1127230 h 7458372"/>
              <a:gd name="connsiteX37041" fmla="*/ 8952728 w 10505529"/>
              <a:gd name="connsiteY37041" fmla="*/ 1130693 h 7458372"/>
              <a:gd name="connsiteX37042" fmla="*/ 8958053 w 10505529"/>
              <a:gd name="connsiteY37042" fmla="*/ 1129635 h 7458372"/>
              <a:gd name="connsiteX37043" fmla="*/ 8961780 w 10505529"/>
              <a:gd name="connsiteY37043" fmla="*/ 1127230 h 7458372"/>
              <a:gd name="connsiteX37044" fmla="*/ 8964442 w 10505529"/>
              <a:gd name="connsiteY37044" fmla="*/ 1123107 h 7458372"/>
              <a:gd name="connsiteX37045" fmla="*/ 8965507 w 10505529"/>
              <a:gd name="connsiteY37045" fmla="*/ 1117655 h 7458372"/>
              <a:gd name="connsiteX37046" fmla="*/ 8964442 w 10505529"/>
              <a:gd name="connsiteY37046" fmla="*/ 1112457 h 7458372"/>
              <a:gd name="connsiteX37047" fmla="*/ 8961780 w 10505529"/>
              <a:gd name="connsiteY37047" fmla="*/ 1108331 h 7458372"/>
              <a:gd name="connsiteX37048" fmla="*/ 8957786 w 10505529"/>
              <a:gd name="connsiteY37048" fmla="*/ 1105670 h 7458372"/>
              <a:gd name="connsiteX37049" fmla="*/ 8952728 w 10505529"/>
              <a:gd name="connsiteY37049" fmla="*/ 1104736 h 7458372"/>
              <a:gd name="connsiteX37050" fmla="*/ 8735083 w 10505529"/>
              <a:gd name="connsiteY37050" fmla="*/ 1104736 h 7458372"/>
              <a:gd name="connsiteX37051" fmla="*/ 8725098 w 10505529"/>
              <a:gd name="connsiteY37051" fmla="*/ 1108331 h 7458372"/>
              <a:gd name="connsiteX37052" fmla="*/ 8721504 w 10505529"/>
              <a:gd name="connsiteY37052" fmla="*/ 1117780 h 7458372"/>
              <a:gd name="connsiteX37053" fmla="*/ 8725098 w 10505529"/>
              <a:gd name="connsiteY37053" fmla="*/ 1127230 h 7458372"/>
              <a:gd name="connsiteX37054" fmla="*/ 8735083 w 10505529"/>
              <a:gd name="connsiteY37054" fmla="*/ 1130693 h 7458372"/>
              <a:gd name="connsiteX37055" fmla="*/ 8740407 w 10505529"/>
              <a:gd name="connsiteY37055" fmla="*/ 1129635 h 7458372"/>
              <a:gd name="connsiteX37056" fmla="*/ 8744134 w 10505529"/>
              <a:gd name="connsiteY37056" fmla="*/ 1127230 h 7458372"/>
              <a:gd name="connsiteX37057" fmla="*/ 8746797 w 10505529"/>
              <a:gd name="connsiteY37057" fmla="*/ 1123107 h 7458372"/>
              <a:gd name="connsiteX37058" fmla="*/ 8747862 w 10505529"/>
              <a:gd name="connsiteY37058" fmla="*/ 1117655 h 7458372"/>
              <a:gd name="connsiteX37059" fmla="*/ 8746797 w 10505529"/>
              <a:gd name="connsiteY37059" fmla="*/ 1112457 h 7458372"/>
              <a:gd name="connsiteX37060" fmla="*/ 8744134 w 10505529"/>
              <a:gd name="connsiteY37060" fmla="*/ 1108331 h 7458372"/>
              <a:gd name="connsiteX37061" fmla="*/ 8740141 w 10505529"/>
              <a:gd name="connsiteY37061" fmla="*/ 1105670 h 7458372"/>
              <a:gd name="connsiteX37062" fmla="*/ 8735083 w 10505529"/>
              <a:gd name="connsiteY37062" fmla="*/ 1104736 h 7458372"/>
              <a:gd name="connsiteX37063" fmla="*/ 8517438 w 10505529"/>
              <a:gd name="connsiteY37063" fmla="*/ 1104736 h 7458372"/>
              <a:gd name="connsiteX37064" fmla="*/ 8507453 w 10505529"/>
              <a:gd name="connsiteY37064" fmla="*/ 1108331 h 7458372"/>
              <a:gd name="connsiteX37065" fmla="*/ 8503860 w 10505529"/>
              <a:gd name="connsiteY37065" fmla="*/ 1117780 h 7458372"/>
              <a:gd name="connsiteX37066" fmla="*/ 8507453 w 10505529"/>
              <a:gd name="connsiteY37066" fmla="*/ 1127230 h 7458372"/>
              <a:gd name="connsiteX37067" fmla="*/ 8517438 w 10505529"/>
              <a:gd name="connsiteY37067" fmla="*/ 1130693 h 7458372"/>
              <a:gd name="connsiteX37068" fmla="*/ 8522763 w 10505529"/>
              <a:gd name="connsiteY37068" fmla="*/ 1129635 h 7458372"/>
              <a:gd name="connsiteX37069" fmla="*/ 8526490 w 10505529"/>
              <a:gd name="connsiteY37069" fmla="*/ 1127230 h 7458372"/>
              <a:gd name="connsiteX37070" fmla="*/ 8529152 w 10505529"/>
              <a:gd name="connsiteY37070" fmla="*/ 1123107 h 7458372"/>
              <a:gd name="connsiteX37071" fmla="*/ 8530084 w 10505529"/>
              <a:gd name="connsiteY37071" fmla="*/ 1117655 h 7458372"/>
              <a:gd name="connsiteX37072" fmla="*/ 8529152 w 10505529"/>
              <a:gd name="connsiteY37072" fmla="*/ 1112457 h 7458372"/>
              <a:gd name="connsiteX37073" fmla="*/ 8526490 w 10505529"/>
              <a:gd name="connsiteY37073" fmla="*/ 1108331 h 7458372"/>
              <a:gd name="connsiteX37074" fmla="*/ 8522496 w 10505529"/>
              <a:gd name="connsiteY37074" fmla="*/ 1105670 h 7458372"/>
              <a:gd name="connsiteX37075" fmla="*/ 8517438 w 10505529"/>
              <a:gd name="connsiteY37075" fmla="*/ 1104736 h 7458372"/>
              <a:gd name="connsiteX37076" fmla="*/ 8299793 w 10505529"/>
              <a:gd name="connsiteY37076" fmla="*/ 1104736 h 7458372"/>
              <a:gd name="connsiteX37077" fmla="*/ 8289809 w 10505529"/>
              <a:gd name="connsiteY37077" fmla="*/ 1108331 h 7458372"/>
              <a:gd name="connsiteX37078" fmla="*/ 8286215 w 10505529"/>
              <a:gd name="connsiteY37078" fmla="*/ 1117780 h 7458372"/>
              <a:gd name="connsiteX37079" fmla="*/ 8289809 w 10505529"/>
              <a:gd name="connsiteY37079" fmla="*/ 1127230 h 7458372"/>
              <a:gd name="connsiteX37080" fmla="*/ 8299793 w 10505529"/>
              <a:gd name="connsiteY37080" fmla="*/ 1130693 h 7458372"/>
              <a:gd name="connsiteX37081" fmla="*/ 8305118 w 10505529"/>
              <a:gd name="connsiteY37081" fmla="*/ 1129635 h 7458372"/>
              <a:gd name="connsiteX37082" fmla="*/ 8308844 w 10505529"/>
              <a:gd name="connsiteY37082" fmla="*/ 1127230 h 7458372"/>
              <a:gd name="connsiteX37083" fmla="*/ 8311507 w 10505529"/>
              <a:gd name="connsiteY37083" fmla="*/ 1123107 h 7458372"/>
              <a:gd name="connsiteX37084" fmla="*/ 8312439 w 10505529"/>
              <a:gd name="connsiteY37084" fmla="*/ 1117655 h 7458372"/>
              <a:gd name="connsiteX37085" fmla="*/ 8311507 w 10505529"/>
              <a:gd name="connsiteY37085" fmla="*/ 1112457 h 7458372"/>
              <a:gd name="connsiteX37086" fmla="*/ 8308844 w 10505529"/>
              <a:gd name="connsiteY37086" fmla="*/ 1108331 h 7458372"/>
              <a:gd name="connsiteX37087" fmla="*/ 8304851 w 10505529"/>
              <a:gd name="connsiteY37087" fmla="*/ 1105670 h 7458372"/>
              <a:gd name="connsiteX37088" fmla="*/ 8299793 w 10505529"/>
              <a:gd name="connsiteY37088" fmla="*/ 1104736 h 7458372"/>
              <a:gd name="connsiteX37089" fmla="*/ 8082281 w 10505529"/>
              <a:gd name="connsiteY37089" fmla="*/ 1104736 h 7458372"/>
              <a:gd name="connsiteX37090" fmla="*/ 8072297 w 10505529"/>
              <a:gd name="connsiteY37090" fmla="*/ 1108331 h 7458372"/>
              <a:gd name="connsiteX37091" fmla="*/ 8068703 w 10505529"/>
              <a:gd name="connsiteY37091" fmla="*/ 1117780 h 7458372"/>
              <a:gd name="connsiteX37092" fmla="*/ 8072297 w 10505529"/>
              <a:gd name="connsiteY37092" fmla="*/ 1127230 h 7458372"/>
              <a:gd name="connsiteX37093" fmla="*/ 8082281 w 10505529"/>
              <a:gd name="connsiteY37093" fmla="*/ 1130693 h 7458372"/>
              <a:gd name="connsiteX37094" fmla="*/ 8087605 w 10505529"/>
              <a:gd name="connsiteY37094" fmla="*/ 1129635 h 7458372"/>
              <a:gd name="connsiteX37095" fmla="*/ 8091332 w 10505529"/>
              <a:gd name="connsiteY37095" fmla="*/ 1127230 h 7458372"/>
              <a:gd name="connsiteX37096" fmla="*/ 8093994 w 10505529"/>
              <a:gd name="connsiteY37096" fmla="*/ 1123107 h 7458372"/>
              <a:gd name="connsiteX37097" fmla="*/ 8094926 w 10505529"/>
              <a:gd name="connsiteY37097" fmla="*/ 1117655 h 7458372"/>
              <a:gd name="connsiteX37098" fmla="*/ 8093994 w 10505529"/>
              <a:gd name="connsiteY37098" fmla="*/ 1112457 h 7458372"/>
              <a:gd name="connsiteX37099" fmla="*/ 8091332 w 10505529"/>
              <a:gd name="connsiteY37099" fmla="*/ 1108331 h 7458372"/>
              <a:gd name="connsiteX37100" fmla="*/ 8087338 w 10505529"/>
              <a:gd name="connsiteY37100" fmla="*/ 1105670 h 7458372"/>
              <a:gd name="connsiteX37101" fmla="*/ 8082281 w 10505529"/>
              <a:gd name="connsiteY37101" fmla="*/ 1104736 h 7458372"/>
              <a:gd name="connsiteX37102" fmla="*/ 7864636 w 10505529"/>
              <a:gd name="connsiteY37102" fmla="*/ 1104736 h 7458372"/>
              <a:gd name="connsiteX37103" fmla="*/ 7854652 w 10505529"/>
              <a:gd name="connsiteY37103" fmla="*/ 1108331 h 7458372"/>
              <a:gd name="connsiteX37104" fmla="*/ 7851058 w 10505529"/>
              <a:gd name="connsiteY37104" fmla="*/ 1117780 h 7458372"/>
              <a:gd name="connsiteX37105" fmla="*/ 7854652 w 10505529"/>
              <a:gd name="connsiteY37105" fmla="*/ 1127230 h 7458372"/>
              <a:gd name="connsiteX37106" fmla="*/ 7864636 w 10505529"/>
              <a:gd name="connsiteY37106" fmla="*/ 1130693 h 7458372"/>
              <a:gd name="connsiteX37107" fmla="*/ 7869961 w 10505529"/>
              <a:gd name="connsiteY37107" fmla="*/ 1129635 h 7458372"/>
              <a:gd name="connsiteX37108" fmla="*/ 7873687 w 10505529"/>
              <a:gd name="connsiteY37108" fmla="*/ 1127230 h 7458372"/>
              <a:gd name="connsiteX37109" fmla="*/ 7876350 w 10505529"/>
              <a:gd name="connsiteY37109" fmla="*/ 1123107 h 7458372"/>
              <a:gd name="connsiteX37110" fmla="*/ 7877282 w 10505529"/>
              <a:gd name="connsiteY37110" fmla="*/ 1117655 h 7458372"/>
              <a:gd name="connsiteX37111" fmla="*/ 7876350 w 10505529"/>
              <a:gd name="connsiteY37111" fmla="*/ 1112457 h 7458372"/>
              <a:gd name="connsiteX37112" fmla="*/ 7873687 w 10505529"/>
              <a:gd name="connsiteY37112" fmla="*/ 1108331 h 7458372"/>
              <a:gd name="connsiteX37113" fmla="*/ 7869694 w 10505529"/>
              <a:gd name="connsiteY37113" fmla="*/ 1105670 h 7458372"/>
              <a:gd name="connsiteX37114" fmla="*/ 7864636 w 10505529"/>
              <a:gd name="connsiteY37114" fmla="*/ 1104736 h 7458372"/>
              <a:gd name="connsiteX37115" fmla="*/ 7646991 w 10505529"/>
              <a:gd name="connsiteY37115" fmla="*/ 1104736 h 7458372"/>
              <a:gd name="connsiteX37116" fmla="*/ 7637007 w 10505529"/>
              <a:gd name="connsiteY37116" fmla="*/ 1108331 h 7458372"/>
              <a:gd name="connsiteX37117" fmla="*/ 7633413 w 10505529"/>
              <a:gd name="connsiteY37117" fmla="*/ 1117780 h 7458372"/>
              <a:gd name="connsiteX37118" fmla="*/ 7637007 w 10505529"/>
              <a:gd name="connsiteY37118" fmla="*/ 1127230 h 7458372"/>
              <a:gd name="connsiteX37119" fmla="*/ 7646991 w 10505529"/>
              <a:gd name="connsiteY37119" fmla="*/ 1130693 h 7458372"/>
              <a:gd name="connsiteX37120" fmla="*/ 7652315 w 10505529"/>
              <a:gd name="connsiteY37120" fmla="*/ 1129635 h 7458372"/>
              <a:gd name="connsiteX37121" fmla="*/ 7656042 w 10505529"/>
              <a:gd name="connsiteY37121" fmla="*/ 1127230 h 7458372"/>
              <a:gd name="connsiteX37122" fmla="*/ 7658705 w 10505529"/>
              <a:gd name="connsiteY37122" fmla="*/ 1123107 h 7458372"/>
              <a:gd name="connsiteX37123" fmla="*/ 7659769 w 10505529"/>
              <a:gd name="connsiteY37123" fmla="*/ 1117655 h 7458372"/>
              <a:gd name="connsiteX37124" fmla="*/ 7658705 w 10505529"/>
              <a:gd name="connsiteY37124" fmla="*/ 1112457 h 7458372"/>
              <a:gd name="connsiteX37125" fmla="*/ 7656042 w 10505529"/>
              <a:gd name="connsiteY37125" fmla="*/ 1108331 h 7458372"/>
              <a:gd name="connsiteX37126" fmla="*/ 7652049 w 10505529"/>
              <a:gd name="connsiteY37126" fmla="*/ 1105670 h 7458372"/>
              <a:gd name="connsiteX37127" fmla="*/ 7646991 w 10505529"/>
              <a:gd name="connsiteY37127" fmla="*/ 1104736 h 7458372"/>
              <a:gd name="connsiteX37128" fmla="*/ 7429345 w 10505529"/>
              <a:gd name="connsiteY37128" fmla="*/ 1104736 h 7458372"/>
              <a:gd name="connsiteX37129" fmla="*/ 7419361 w 10505529"/>
              <a:gd name="connsiteY37129" fmla="*/ 1108331 h 7458372"/>
              <a:gd name="connsiteX37130" fmla="*/ 7415768 w 10505529"/>
              <a:gd name="connsiteY37130" fmla="*/ 1117780 h 7458372"/>
              <a:gd name="connsiteX37131" fmla="*/ 7419361 w 10505529"/>
              <a:gd name="connsiteY37131" fmla="*/ 1127230 h 7458372"/>
              <a:gd name="connsiteX37132" fmla="*/ 7429345 w 10505529"/>
              <a:gd name="connsiteY37132" fmla="*/ 1130693 h 7458372"/>
              <a:gd name="connsiteX37133" fmla="*/ 7434670 w 10505529"/>
              <a:gd name="connsiteY37133" fmla="*/ 1129635 h 7458372"/>
              <a:gd name="connsiteX37134" fmla="*/ 7438397 w 10505529"/>
              <a:gd name="connsiteY37134" fmla="*/ 1127230 h 7458372"/>
              <a:gd name="connsiteX37135" fmla="*/ 7441059 w 10505529"/>
              <a:gd name="connsiteY37135" fmla="*/ 1123107 h 7458372"/>
              <a:gd name="connsiteX37136" fmla="*/ 7442124 w 10505529"/>
              <a:gd name="connsiteY37136" fmla="*/ 1117655 h 7458372"/>
              <a:gd name="connsiteX37137" fmla="*/ 7441059 w 10505529"/>
              <a:gd name="connsiteY37137" fmla="*/ 1112457 h 7458372"/>
              <a:gd name="connsiteX37138" fmla="*/ 7438397 w 10505529"/>
              <a:gd name="connsiteY37138" fmla="*/ 1108331 h 7458372"/>
              <a:gd name="connsiteX37139" fmla="*/ 7434403 w 10505529"/>
              <a:gd name="connsiteY37139" fmla="*/ 1105670 h 7458372"/>
              <a:gd name="connsiteX37140" fmla="*/ 7429345 w 10505529"/>
              <a:gd name="connsiteY37140" fmla="*/ 1104736 h 7458372"/>
              <a:gd name="connsiteX37141" fmla="*/ 7211701 w 10505529"/>
              <a:gd name="connsiteY37141" fmla="*/ 1104736 h 7458372"/>
              <a:gd name="connsiteX37142" fmla="*/ 7201717 w 10505529"/>
              <a:gd name="connsiteY37142" fmla="*/ 1108331 h 7458372"/>
              <a:gd name="connsiteX37143" fmla="*/ 7198123 w 10505529"/>
              <a:gd name="connsiteY37143" fmla="*/ 1117780 h 7458372"/>
              <a:gd name="connsiteX37144" fmla="*/ 7201717 w 10505529"/>
              <a:gd name="connsiteY37144" fmla="*/ 1127230 h 7458372"/>
              <a:gd name="connsiteX37145" fmla="*/ 7211701 w 10505529"/>
              <a:gd name="connsiteY37145" fmla="*/ 1130693 h 7458372"/>
              <a:gd name="connsiteX37146" fmla="*/ 7217026 w 10505529"/>
              <a:gd name="connsiteY37146" fmla="*/ 1129635 h 7458372"/>
              <a:gd name="connsiteX37147" fmla="*/ 7220752 w 10505529"/>
              <a:gd name="connsiteY37147" fmla="*/ 1127230 h 7458372"/>
              <a:gd name="connsiteX37148" fmla="*/ 7223415 w 10505529"/>
              <a:gd name="connsiteY37148" fmla="*/ 1123107 h 7458372"/>
              <a:gd name="connsiteX37149" fmla="*/ 7224480 w 10505529"/>
              <a:gd name="connsiteY37149" fmla="*/ 1117655 h 7458372"/>
              <a:gd name="connsiteX37150" fmla="*/ 7223415 w 10505529"/>
              <a:gd name="connsiteY37150" fmla="*/ 1112457 h 7458372"/>
              <a:gd name="connsiteX37151" fmla="*/ 7220752 w 10505529"/>
              <a:gd name="connsiteY37151" fmla="*/ 1108331 h 7458372"/>
              <a:gd name="connsiteX37152" fmla="*/ 7216759 w 10505529"/>
              <a:gd name="connsiteY37152" fmla="*/ 1105670 h 7458372"/>
              <a:gd name="connsiteX37153" fmla="*/ 7211701 w 10505529"/>
              <a:gd name="connsiteY37153" fmla="*/ 1104736 h 7458372"/>
              <a:gd name="connsiteX37154" fmla="*/ 6994056 w 10505529"/>
              <a:gd name="connsiteY37154" fmla="*/ 1104736 h 7458372"/>
              <a:gd name="connsiteX37155" fmla="*/ 6984072 w 10505529"/>
              <a:gd name="connsiteY37155" fmla="*/ 1108331 h 7458372"/>
              <a:gd name="connsiteX37156" fmla="*/ 6980478 w 10505529"/>
              <a:gd name="connsiteY37156" fmla="*/ 1117780 h 7458372"/>
              <a:gd name="connsiteX37157" fmla="*/ 6984072 w 10505529"/>
              <a:gd name="connsiteY37157" fmla="*/ 1127230 h 7458372"/>
              <a:gd name="connsiteX37158" fmla="*/ 6994056 w 10505529"/>
              <a:gd name="connsiteY37158" fmla="*/ 1130693 h 7458372"/>
              <a:gd name="connsiteX37159" fmla="*/ 6999380 w 10505529"/>
              <a:gd name="connsiteY37159" fmla="*/ 1129635 h 7458372"/>
              <a:gd name="connsiteX37160" fmla="*/ 7003107 w 10505529"/>
              <a:gd name="connsiteY37160" fmla="*/ 1127230 h 7458372"/>
              <a:gd name="connsiteX37161" fmla="*/ 7005769 w 10505529"/>
              <a:gd name="connsiteY37161" fmla="*/ 1123107 h 7458372"/>
              <a:gd name="connsiteX37162" fmla="*/ 7006834 w 10505529"/>
              <a:gd name="connsiteY37162" fmla="*/ 1117655 h 7458372"/>
              <a:gd name="connsiteX37163" fmla="*/ 7005769 w 10505529"/>
              <a:gd name="connsiteY37163" fmla="*/ 1112457 h 7458372"/>
              <a:gd name="connsiteX37164" fmla="*/ 7003107 w 10505529"/>
              <a:gd name="connsiteY37164" fmla="*/ 1108331 h 7458372"/>
              <a:gd name="connsiteX37165" fmla="*/ 6999113 w 10505529"/>
              <a:gd name="connsiteY37165" fmla="*/ 1105670 h 7458372"/>
              <a:gd name="connsiteX37166" fmla="*/ 6994056 w 10505529"/>
              <a:gd name="connsiteY37166" fmla="*/ 1104736 h 7458372"/>
              <a:gd name="connsiteX37167" fmla="*/ 6776544 w 10505529"/>
              <a:gd name="connsiteY37167" fmla="*/ 1104736 h 7458372"/>
              <a:gd name="connsiteX37168" fmla="*/ 6766560 w 10505529"/>
              <a:gd name="connsiteY37168" fmla="*/ 1108331 h 7458372"/>
              <a:gd name="connsiteX37169" fmla="*/ 6762966 w 10505529"/>
              <a:gd name="connsiteY37169" fmla="*/ 1117780 h 7458372"/>
              <a:gd name="connsiteX37170" fmla="*/ 6766560 w 10505529"/>
              <a:gd name="connsiteY37170" fmla="*/ 1127230 h 7458372"/>
              <a:gd name="connsiteX37171" fmla="*/ 6776544 w 10505529"/>
              <a:gd name="connsiteY37171" fmla="*/ 1130693 h 7458372"/>
              <a:gd name="connsiteX37172" fmla="*/ 6781869 w 10505529"/>
              <a:gd name="connsiteY37172" fmla="*/ 1129635 h 7458372"/>
              <a:gd name="connsiteX37173" fmla="*/ 6785595 w 10505529"/>
              <a:gd name="connsiteY37173" fmla="*/ 1127230 h 7458372"/>
              <a:gd name="connsiteX37174" fmla="*/ 6788258 w 10505529"/>
              <a:gd name="connsiteY37174" fmla="*/ 1123107 h 7458372"/>
              <a:gd name="connsiteX37175" fmla="*/ 6789323 w 10505529"/>
              <a:gd name="connsiteY37175" fmla="*/ 1117655 h 7458372"/>
              <a:gd name="connsiteX37176" fmla="*/ 6788258 w 10505529"/>
              <a:gd name="connsiteY37176" fmla="*/ 1112457 h 7458372"/>
              <a:gd name="connsiteX37177" fmla="*/ 6785595 w 10505529"/>
              <a:gd name="connsiteY37177" fmla="*/ 1108331 h 7458372"/>
              <a:gd name="connsiteX37178" fmla="*/ 6781602 w 10505529"/>
              <a:gd name="connsiteY37178" fmla="*/ 1105670 h 7458372"/>
              <a:gd name="connsiteX37179" fmla="*/ 6776544 w 10505529"/>
              <a:gd name="connsiteY37179" fmla="*/ 1104736 h 7458372"/>
              <a:gd name="connsiteX37180" fmla="*/ 6558899 w 10505529"/>
              <a:gd name="connsiteY37180" fmla="*/ 1104736 h 7458372"/>
              <a:gd name="connsiteX37181" fmla="*/ 6548915 w 10505529"/>
              <a:gd name="connsiteY37181" fmla="*/ 1108331 h 7458372"/>
              <a:gd name="connsiteX37182" fmla="*/ 6545321 w 10505529"/>
              <a:gd name="connsiteY37182" fmla="*/ 1117780 h 7458372"/>
              <a:gd name="connsiteX37183" fmla="*/ 6548915 w 10505529"/>
              <a:gd name="connsiteY37183" fmla="*/ 1127230 h 7458372"/>
              <a:gd name="connsiteX37184" fmla="*/ 6558899 w 10505529"/>
              <a:gd name="connsiteY37184" fmla="*/ 1130693 h 7458372"/>
              <a:gd name="connsiteX37185" fmla="*/ 6564223 w 10505529"/>
              <a:gd name="connsiteY37185" fmla="*/ 1129635 h 7458372"/>
              <a:gd name="connsiteX37186" fmla="*/ 6567950 w 10505529"/>
              <a:gd name="connsiteY37186" fmla="*/ 1127230 h 7458372"/>
              <a:gd name="connsiteX37187" fmla="*/ 6570612 w 10505529"/>
              <a:gd name="connsiteY37187" fmla="*/ 1123107 h 7458372"/>
              <a:gd name="connsiteX37188" fmla="*/ 6571677 w 10505529"/>
              <a:gd name="connsiteY37188" fmla="*/ 1117655 h 7458372"/>
              <a:gd name="connsiteX37189" fmla="*/ 6570612 w 10505529"/>
              <a:gd name="connsiteY37189" fmla="*/ 1112457 h 7458372"/>
              <a:gd name="connsiteX37190" fmla="*/ 6567950 w 10505529"/>
              <a:gd name="connsiteY37190" fmla="*/ 1108331 h 7458372"/>
              <a:gd name="connsiteX37191" fmla="*/ 6563956 w 10505529"/>
              <a:gd name="connsiteY37191" fmla="*/ 1105670 h 7458372"/>
              <a:gd name="connsiteX37192" fmla="*/ 6558899 w 10505529"/>
              <a:gd name="connsiteY37192" fmla="*/ 1104736 h 7458372"/>
              <a:gd name="connsiteX37193" fmla="*/ 6341253 w 10505529"/>
              <a:gd name="connsiteY37193" fmla="*/ 1104736 h 7458372"/>
              <a:gd name="connsiteX37194" fmla="*/ 6331270 w 10505529"/>
              <a:gd name="connsiteY37194" fmla="*/ 1108331 h 7458372"/>
              <a:gd name="connsiteX37195" fmla="*/ 6327675 w 10505529"/>
              <a:gd name="connsiteY37195" fmla="*/ 1117780 h 7458372"/>
              <a:gd name="connsiteX37196" fmla="*/ 6331270 w 10505529"/>
              <a:gd name="connsiteY37196" fmla="*/ 1127230 h 7458372"/>
              <a:gd name="connsiteX37197" fmla="*/ 6341253 w 10505529"/>
              <a:gd name="connsiteY37197" fmla="*/ 1130693 h 7458372"/>
              <a:gd name="connsiteX37198" fmla="*/ 6346578 w 10505529"/>
              <a:gd name="connsiteY37198" fmla="*/ 1129635 h 7458372"/>
              <a:gd name="connsiteX37199" fmla="*/ 6350305 w 10505529"/>
              <a:gd name="connsiteY37199" fmla="*/ 1127230 h 7458372"/>
              <a:gd name="connsiteX37200" fmla="*/ 6352968 w 10505529"/>
              <a:gd name="connsiteY37200" fmla="*/ 1123107 h 7458372"/>
              <a:gd name="connsiteX37201" fmla="*/ 6354033 w 10505529"/>
              <a:gd name="connsiteY37201" fmla="*/ 1117655 h 7458372"/>
              <a:gd name="connsiteX37202" fmla="*/ 6352968 w 10505529"/>
              <a:gd name="connsiteY37202" fmla="*/ 1112457 h 7458372"/>
              <a:gd name="connsiteX37203" fmla="*/ 6350305 w 10505529"/>
              <a:gd name="connsiteY37203" fmla="*/ 1108331 h 7458372"/>
              <a:gd name="connsiteX37204" fmla="*/ 6346312 w 10505529"/>
              <a:gd name="connsiteY37204" fmla="*/ 1105670 h 7458372"/>
              <a:gd name="connsiteX37205" fmla="*/ 6341253 w 10505529"/>
              <a:gd name="connsiteY37205" fmla="*/ 1104736 h 7458372"/>
              <a:gd name="connsiteX37206" fmla="*/ 6123608 w 10505529"/>
              <a:gd name="connsiteY37206" fmla="*/ 1104736 h 7458372"/>
              <a:gd name="connsiteX37207" fmla="*/ 6113624 w 10505529"/>
              <a:gd name="connsiteY37207" fmla="*/ 1108331 h 7458372"/>
              <a:gd name="connsiteX37208" fmla="*/ 6110030 w 10505529"/>
              <a:gd name="connsiteY37208" fmla="*/ 1117780 h 7458372"/>
              <a:gd name="connsiteX37209" fmla="*/ 6113624 w 10505529"/>
              <a:gd name="connsiteY37209" fmla="*/ 1127230 h 7458372"/>
              <a:gd name="connsiteX37210" fmla="*/ 6123608 w 10505529"/>
              <a:gd name="connsiteY37210" fmla="*/ 1130693 h 7458372"/>
              <a:gd name="connsiteX37211" fmla="*/ 6128932 w 10505529"/>
              <a:gd name="connsiteY37211" fmla="*/ 1129635 h 7458372"/>
              <a:gd name="connsiteX37212" fmla="*/ 6132659 w 10505529"/>
              <a:gd name="connsiteY37212" fmla="*/ 1127230 h 7458372"/>
              <a:gd name="connsiteX37213" fmla="*/ 6135322 w 10505529"/>
              <a:gd name="connsiteY37213" fmla="*/ 1123107 h 7458372"/>
              <a:gd name="connsiteX37214" fmla="*/ 6136387 w 10505529"/>
              <a:gd name="connsiteY37214" fmla="*/ 1117655 h 7458372"/>
              <a:gd name="connsiteX37215" fmla="*/ 6135322 w 10505529"/>
              <a:gd name="connsiteY37215" fmla="*/ 1112457 h 7458372"/>
              <a:gd name="connsiteX37216" fmla="*/ 6132659 w 10505529"/>
              <a:gd name="connsiteY37216" fmla="*/ 1108331 h 7458372"/>
              <a:gd name="connsiteX37217" fmla="*/ 6128666 w 10505529"/>
              <a:gd name="connsiteY37217" fmla="*/ 1105670 h 7458372"/>
              <a:gd name="connsiteX37218" fmla="*/ 6123608 w 10505529"/>
              <a:gd name="connsiteY37218" fmla="*/ 1104736 h 7458372"/>
              <a:gd name="connsiteX37219" fmla="*/ 5905963 w 10505529"/>
              <a:gd name="connsiteY37219" fmla="*/ 1104736 h 7458372"/>
              <a:gd name="connsiteX37220" fmla="*/ 5895979 w 10505529"/>
              <a:gd name="connsiteY37220" fmla="*/ 1108331 h 7458372"/>
              <a:gd name="connsiteX37221" fmla="*/ 5892385 w 10505529"/>
              <a:gd name="connsiteY37221" fmla="*/ 1117780 h 7458372"/>
              <a:gd name="connsiteX37222" fmla="*/ 5895979 w 10505529"/>
              <a:gd name="connsiteY37222" fmla="*/ 1127230 h 7458372"/>
              <a:gd name="connsiteX37223" fmla="*/ 5905963 w 10505529"/>
              <a:gd name="connsiteY37223" fmla="*/ 1130693 h 7458372"/>
              <a:gd name="connsiteX37224" fmla="*/ 5911287 w 10505529"/>
              <a:gd name="connsiteY37224" fmla="*/ 1129635 h 7458372"/>
              <a:gd name="connsiteX37225" fmla="*/ 5915014 w 10505529"/>
              <a:gd name="connsiteY37225" fmla="*/ 1127230 h 7458372"/>
              <a:gd name="connsiteX37226" fmla="*/ 5917677 w 10505529"/>
              <a:gd name="connsiteY37226" fmla="*/ 1123107 h 7458372"/>
              <a:gd name="connsiteX37227" fmla="*/ 5918742 w 10505529"/>
              <a:gd name="connsiteY37227" fmla="*/ 1117655 h 7458372"/>
              <a:gd name="connsiteX37228" fmla="*/ 5917677 w 10505529"/>
              <a:gd name="connsiteY37228" fmla="*/ 1112457 h 7458372"/>
              <a:gd name="connsiteX37229" fmla="*/ 5915014 w 10505529"/>
              <a:gd name="connsiteY37229" fmla="*/ 1108331 h 7458372"/>
              <a:gd name="connsiteX37230" fmla="*/ 5911021 w 10505529"/>
              <a:gd name="connsiteY37230" fmla="*/ 1105670 h 7458372"/>
              <a:gd name="connsiteX37231" fmla="*/ 5905963 w 10505529"/>
              <a:gd name="connsiteY37231" fmla="*/ 1104736 h 7458372"/>
              <a:gd name="connsiteX37232" fmla="*/ 5688451 w 10505529"/>
              <a:gd name="connsiteY37232" fmla="*/ 1104736 h 7458372"/>
              <a:gd name="connsiteX37233" fmla="*/ 5678467 w 10505529"/>
              <a:gd name="connsiteY37233" fmla="*/ 1108331 h 7458372"/>
              <a:gd name="connsiteX37234" fmla="*/ 5674873 w 10505529"/>
              <a:gd name="connsiteY37234" fmla="*/ 1117780 h 7458372"/>
              <a:gd name="connsiteX37235" fmla="*/ 5678467 w 10505529"/>
              <a:gd name="connsiteY37235" fmla="*/ 1127230 h 7458372"/>
              <a:gd name="connsiteX37236" fmla="*/ 5688451 w 10505529"/>
              <a:gd name="connsiteY37236" fmla="*/ 1130693 h 7458372"/>
              <a:gd name="connsiteX37237" fmla="*/ 5693775 w 10505529"/>
              <a:gd name="connsiteY37237" fmla="*/ 1129635 h 7458372"/>
              <a:gd name="connsiteX37238" fmla="*/ 5697502 w 10505529"/>
              <a:gd name="connsiteY37238" fmla="*/ 1127230 h 7458372"/>
              <a:gd name="connsiteX37239" fmla="*/ 5700165 w 10505529"/>
              <a:gd name="connsiteY37239" fmla="*/ 1123107 h 7458372"/>
              <a:gd name="connsiteX37240" fmla="*/ 5701230 w 10505529"/>
              <a:gd name="connsiteY37240" fmla="*/ 1117655 h 7458372"/>
              <a:gd name="connsiteX37241" fmla="*/ 5700165 w 10505529"/>
              <a:gd name="connsiteY37241" fmla="*/ 1112457 h 7458372"/>
              <a:gd name="connsiteX37242" fmla="*/ 5697502 w 10505529"/>
              <a:gd name="connsiteY37242" fmla="*/ 1108331 h 7458372"/>
              <a:gd name="connsiteX37243" fmla="*/ 5693509 w 10505529"/>
              <a:gd name="connsiteY37243" fmla="*/ 1105670 h 7458372"/>
              <a:gd name="connsiteX37244" fmla="*/ 5688451 w 10505529"/>
              <a:gd name="connsiteY37244" fmla="*/ 1104736 h 7458372"/>
              <a:gd name="connsiteX37245" fmla="*/ 5470806 w 10505529"/>
              <a:gd name="connsiteY37245" fmla="*/ 1104736 h 7458372"/>
              <a:gd name="connsiteX37246" fmla="*/ 5460822 w 10505529"/>
              <a:gd name="connsiteY37246" fmla="*/ 1108331 h 7458372"/>
              <a:gd name="connsiteX37247" fmla="*/ 5457228 w 10505529"/>
              <a:gd name="connsiteY37247" fmla="*/ 1117780 h 7458372"/>
              <a:gd name="connsiteX37248" fmla="*/ 5460822 w 10505529"/>
              <a:gd name="connsiteY37248" fmla="*/ 1127230 h 7458372"/>
              <a:gd name="connsiteX37249" fmla="*/ 5470806 w 10505529"/>
              <a:gd name="connsiteY37249" fmla="*/ 1130693 h 7458372"/>
              <a:gd name="connsiteX37250" fmla="*/ 5476130 w 10505529"/>
              <a:gd name="connsiteY37250" fmla="*/ 1129635 h 7458372"/>
              <a:gd name="connsiteX37251" fmla="*/ 5479857 w 10505529"/>
              <a:gd name="connsiteY37251" fmla="*/ 1127230 h 7458372"/>
              <a:gd name="connsiteX37252" fmla="*/ 5482520 w 10505529"/>
              <a:gd name="connsiteY37252" fmla="*/ 1123107 h 7458372"/>
              <a:gd name="connsiteX37253" fmla="*/ 5483585 w 10505529"/>
              <a:gd name="connsiteY37253" fmla="*/ 1117655 h 7458372"/>
              <a:gd name="connsiteX37254" fmla="*/ 5482520 w 10505529"/>
              <a:gd name="connsiteY37254" fmla="*/ 1112457 h 7458372"/>
              <a:gd name="connsiteX37255" fmla="*/ 5479857 w 10505529"/>
              <a:gd name="connsiteY37255" fmla="*/ 1108331 h 7458372"/>
              <a:gd name="connsiteX37256" fmla="*/ 5475864 w 10505529"/>
              <a:gd name="connsiteY37256" fmla="*/ 1105670 h 7458372"/>
              <a:gd name="connsiteX37257" fmla="*/ 5470806 w 10505529"/>
              <a:gd name="connsiteY37257" fmla="*/ 1104736 h 7458372"/>
              <a:gd name="connsiteX37258" fmla="*/ 5253160 w 10505529"/>
              <a:gd name="connsiteY37258" fmla="*/ 1104736 h 7458372"/>
              <a:gd name="connsiteX37259" fmla="*/ 5243177 w 10505529"/>
              <a:gd name="connsiteY37259" fmla="*/ 1108331 h 7458372"/>
              <a:gd name="connsiteX37260" fmla="*/ 5239583 w 10505529"/>
              <a:gd name="connsiteY37260" fmla="*/ 1117780 h 7458372"/>
              <a:gd name="connsiteX37261" fmla="*/ 5243177 w 10505529"/>
              <a:gd name="connsiteY37261" fmla="*/ 1127230 h 7458372"/>
              <a:gd name="connsiteX37262" fmla="*/ 5253160 w 10505529"/>
              <a:gd name="connsiteY37262" fmla="*/ 1130693 h 7458372"/>
              <a:gd name="connsiteX37263" fmla="*/ 5258485 w 10505529"/>
              <a:gd name="connsiteY37263" fmla="*/ 1129635 h 7458372"/>
              <a:gd name="connsiteX37264" fmla="*/ 5262212 w 10505529"/>
              <a:gd name="connsiteY37264" fmla="*/ 1127230 h 7458372"/>
              <a:gd name="connsiteX37265" fmla="*/ 5264875 w 10505529"/>
              <a:gd name="connsiteY37265" fmla="*/ 1123107 h 7458372"/>
              <a:gd name="connsiteX37266" fmla="*/ 5265939 w 10505529"/>
              <a:gd name="connsiteY37266" fmla="*/ 1117655 h 7458372"/>
              <a:gd name="connsiteX37267" fmla="*/ 5264875 w 10505529"/>
              <a:gd name="connsiteY37267" fmla="*/ 1112457 h 7458372"/>
              <a:gd name="connsiteX37268" fmla="*/ 5262212 w 10505529"/>
              <a:gd name="connsiteY37268" fmla="*/ 1108331 h 7458372"/>
              <a:gd name="connsiteX37269" fmla="*/ 5258219 w 10505529"/>
              <a:gd name="connsiteY37269" fmla="*/ 1105670 h 7458372"/>
              <a:gd name="connsiteX37270" fmla="*/ 5253160 w 10505529"/>
              <a:gd name="connsiteY37270" fmla="*/ 1104736 h 7458372"/>
              <a:gd name="connsiteX37271" fmla="*/ 5035515 w 10505529"/>
              <a:gd name="connsiteY37271" fmla="*/ 1104736 h 7458372"/>
              <a:gd name="connsiteX37272" fmla="*/ 5025532 w 10505529"/>
              <a:gd name="connsiteY37272" fmla="*/ 1108331 h 7458372"/>
              <a:gd name="connsiteX37273" fmla="*/ 5021938 w 10505529"/>
              <a:gd name="connsiteY37273" fmla="*/ 1117780 h 7458372"/>
              <a:gd name="connsiteX37274" fmla="*/ 5025532 w 10505529"/>
              <a:gd name="connsiteY37274" fmla="*/ 1127230 h 7458372"/>
              <a:gd name="connsiteX37275" fmla="*/ 5035515 w 10505529"/>
              <a:gd name="connsiteY37275" fmla="*/ 1130693 h 7458372"/>
              <a:gd name="connsiteX37276" fmla="*/ 5040840 w 10505529"/>
              <a:gd name="connsiteY37276" fmla="*/ 1129635 h 7458372"/>
              <a:gd name="connsiteX37277" fmla="*/ 5044567 w 10505529"/>
              <a:gd name="connsiteY37277" fmla="*/ 1127230 h 7458372"/>
              <a:gd name="connsiteX37278" fmla="*/ 5047230 w 10505529"/>
              <a:gd name="connsiteY37278" fmla="*/ 1123107 h 7458372"/>
              <a:gd name="connsiteX37279" fmla="*/ 5048294 w 10505529"/>
              <a:gd name="connsiteY37279" fmla="*/ 1117655 h 7458372"/>
              <a:gd name="connsiteX37280" fmla="*/ 5047230 w 10505529"/>
              <a:gd name="connsiteY37280" fmla="*/ 1112457 h 7458372"/>
              <a:gd name="connsiteX37281" fmla="*/ 5044567 w 10505529"/>
              <a:gd name="connsiteY37281" fmla="*/ 1108331 h 7458372"/>
              <a:gd name="connsiteX37282" fmla="*/ 5040574 w 10505529"/>
              <a:gd name="connsiteY37282" fmla="*/ 1105670 h 7458372"/>
              <a:gd name="connsiteX37283" fmla="*/ 5035515 w 10505529"/>
              <a:gd name="connsiteY37283" fmla="*/ 1104736 h 7458372"/>
              <a:gd name="connsiteX37284" fmla="*/ 4817870 w 10505529"/>
              <a:gd name="connsiteY37284" fmla="*/ 1104736 h 7458372"/>
              <a:gd name="connsiteX37285" fmla="*/ 4807887 w 10505529"/>
              <a:gd name="connsiteY37285" fmla="*/ 1108331 h 7458372"/>
              <a:gd name="connsiteX37286" fmla="*/ 4804293 w 10505529"/>
              <a:gd name="connsiteY37286" fmla="*/ 1117780 h 7458372"/>
              <a:gd name="connsiteX37287" fmla="*/ 4807887 w 10505529"/>
              <a:gd name="connsiteY37287" fmla="*/ 1127230 h 7458372"/>
              <a:gd name="connsiteX37288" fmla="*/ 4817870 w 10505529"/>
              <a:gd name="connsiteY37288" fmla="*/ 1130693 h 7458372"/>
              <a:gd name="connsiteX37289" fmla="*/ 4823195 w 10505529"/>
              <a:gd name="connsiteY37289" fmla="*/ 1129635 h 7458372"/>
              <a:gd name="connsiteX37290" fmla="*/ 4826922 w 10505529"/>
              <a:gd name="connsiteY37290" fmla="*/ 1127230 h 7458372"/>
              <a:gd name="connsiteX37291" fmla="*/ 4829585 w 10505529"/>
              <a:gd name="connsiteY37291" fmla="*/ 1123107 h 7458372"/>
              <a:gd name="connsiteX37292" fmla="*/ 4830650 w 10505529"/>
              <a:gd name="connsiteY37292" fmla="*/ 1117655 h 7458372"/>
              <a:gd name="connsiteX37293" fmla="*/ 4829585 w 10505529"/>
              <a:gd name="connsiteY37293" fmla="*/ 1112457 h 7458372"/>
              <a:gd name="connsiteX37294" fmla="*/ 4826922 w 10505529"/>
              <a:gd name="connsiteY37294" fmla="*/ 1108331 h 7458372"/>
              <a:gd name="connsiteX37295" fmla="*/ 4822929 w 10505529"/>
              <a:gd name="connsiteY37295" fmla="*/ 1105670 h 7458372"/>
              <a:gd name="connsiteX37296" fmla="*/ 4817870 w 10505529"/>
              <a:gd name="connsiteY37296" fmla="*/ 1104736 h 7458372"/>
              <a:gd name="connsiteX37297" fmla="*/ 4600226 w 10505529"/>
              <a:gd name="connsiteY37297" fmla="*/ 1104736 h 7458372"/>
              <a:gd name="connsiteX37298" fmla="*/ 4590242 w 10505529"/>
              <a:gd name="connsiteY37298" fmla="*/ 1108331 h 7458372"/>
              <a:gd name="connsiteX37299" fmla="*/ 4586648 w 10505529"/>
              <a:gd name="connsiteY37299" fmla="*/ 1117780 h 7458372"/>
              <a:gd name="connsiteX37300" fmla="*/ 4590242 w 10505529"/>
              <a:gd name="connsiteY37300" fmla="*/ 1127230 h 7458372"/>
              <a:gd name="connsiteX37301" fmla="*/ 4600226 w 10505529"/>
              <a:gd name="connsiteY37301" fmla="*/ 1130693 h 7458372"/>
              <a:gd name="connsiteX37302" fmla="*/ 4605550 w 10505529"/>
              <a:gd name="connsiteY37302" fmla="*/ 1129635 h 7458372"/>
              <a:gd name="connsiteX37303" fmla="*/ 4609277 w 10505529"/>
              <a:gd name="connsiteY37303" fmla="*/ 1127230 h 7458372"/>
              <a:gd name="connsiteX37304" fmla="*/ 4611940 w 10505529"/>
              <a:gd name="connsiteY37304" fmla="*/ 1123107 h 7458372"/>
              <a:gd name="connsiteX37305" fmla="*/ 4613005 w 10505529"/>
              <a:gd name="connsiteY37305" fmla="*/ 1117655 h 7458372"/>
              <a:gd name="connsiteX37306" fmla="*/ 4611940 w 10505529"/>
              <a:gd name="connsiteY37306" fmla="*/ 1112457 h 7458372"/>
              <a:gd name="connsiteX37307" fmla="*/ 4609277 w 10505529"/>
              <a:gd name="connsiteY37307" fmla="*/ 1108331 h 7458372"/>
              <a:gd name="connsiteX37308" fmla="*/ 4605284 w 10505529"/>
              <a:gd name="connsiteY37308" fmla="*/ 1105670 h 7458372"/>
              <a:gd name="connsiteX37309" fmla="*/ 4600226 w 10505529"/>
              <a:gd name="connsiteY37309" fmla="*/ 1104736 h 7458372"/>
              <a:gd name="connsiteX37310" fmla="*/ 4382713 w 10505529"/>
              <a:gd name="connsiteY37310" fmla="*/ 1104736 h 7458372"/>
              <a:gd name="connsiteX37311" fmla="*/ 4372730 w 10505529"/>
              <a:gd name="connsiteY37311" fmla="*/ 1108331 h 7458372"/>
              <a:gd name="connsiteX37312" fmla="*/ 4369136 w 10505529"/>
              <a:gd name="connsiteY37312" fmla="*/ 1117780 h 7458372"/>
              <a:gd name="connsiteX37313" fmla="*/ 4372730 w 10505529"/>
              <a:gd name="connsiteY37313" fmla="*/ 1127230 h 7458372"/>
              <a:gd name="connsiteX37314" fmla="*/ 4382713 w 10505529"/>
              <a:gd name="connsiteY37314" fmla="*/ 1130693 h 7458372"/>
              <a:gd name="connsiteX37315" fmla="*/ 4388038 w 10505529"/>
              <a:gd name="connsiteY37315" fmla="*/ 1129635 h 7458372"/>
              <a:gd name="connsiteX37316" fmla="*/ 4391765 w 10505529"/>
              <a:gd name="connsiteY37316" fmla="*/ 1127230 h 7458372"/>
              <a:gd name="connsiteX37317" fmla="*/ 4394428 w 10505529"/>
              <a:gd name="connsiteY37317" fmla="*/ 1123107 h 7458372"/>
              <a:gd name="connsiteX37318" fmla="*/ 4395493 w 10505529"/>
              <a:gd name="connsiteY37318" fmla="*/ 1117655 h 7458372"/>
              <a:gd name="connsiteX37319" fmla="*/ 4394428 w 10505529"/>
              <a:gd name="connsiteY37319" fmla="*/ 1112457 h 7458372"/>
              <a:gd name="connsiteX37320" fmla="*/ 4391765 w 10505529"/>
              <a:gd name="connsiteY37320" fmla="*/ 1108331 h 7458372"/>
              <a:gd name="connsiteX37321" fmla="*/ 4387772 w 10505529"/>
              <a:gd name="connsiteY37321" fmla="*/ 1105670 h 7458372"/>
              <a:gd name="connsiteX37322" fmla="*/ 4382713 w 10505529"/>
              <a:gd name="connsiteY37322" fmla="*/ 1104736 h 7458372"/>
              <a:gd name="connsiteX37323" fmla="*/ 4165068 w 10505529"/>
              <a:gd name="connsiteY37323" fmla="*/ 1104736 h 7458372"/>
              <a:gd name="connsiteX37324" fmla="*/ 4155084 w 10505529"/>
              <a:gd name="connsiteY37324" fmla="*/ 1108331 h 7458372"/>
              <a:gd name="connsiteX37325" fmla="*/ 4151490 w 10505529"/>
              <a:gd name="connsiteY37325" fmla="*/ 1117780 h 7458372"/>
              <a:gd name="connsiteX37326" fmla="*/ 4155084 w 10505529"/>
              <a:gd name="connsiteY37326" fmla="*/ 1127230 h 7458372"/>
              <a:gd name="connsiteX37327" fmla="*/ 4165068 w 10505529"/>
              <a:gd name="connsiteY37327" fmla="*/ 1130693 h 7458372"/>
              <a:gd name="connsiteX37328" fmla="*/ 4170392 w 10505529"/>
              <a:gd name="connsiteY37328" fmla="*/ 1129635 h 7458372"/>
              <a:gd name="connsiteX37329" fmla="*/ 4174119 w 10505529"/>
              <a:gd name="connsiteY37329" fmla="*/ 1127230 h 7458372"/>
              <a:gd name="connsiteX37330" fmla="*/ 4176782 w 10505529"/>
              <a:gd name="connsiteY37330" fmla="*/ 1123107 h 7458372"/>
              <a:gd name="connsiteX37331" fmla="*/ 4177847 w 10505529"/>
              <a:gd name="connsiteY37331" fmla="*/ 1117655 h 7458372"/>
              <a:gd name="connsiteX37332" fmla="*/ 4176782 w 10505529"/>
              <a:gd name="connsiteY37332" fmla="*/ 1112457 h 7458372"/>
              <a:gd name="connsiteX37333" fmla="*/ 4174119 w 10505529"/>
              <a:gd name="connsiteY37333" fmla="*/ 1108331 h 7458372"/>
              <a:gd name="connsiteX37334" fmla="*/ 4170126 w 10505529"/>
              <a:gd name="connsiteY37334" fmla="*/ 1105670 h 7458372"/>
              <a:gd name="connsiteX37335" fmla="*/ 4165068 w 10505529"/>
              <a:gd name="connsiteY37335" fmla="*/ 1104736 h 7458372"/>
              <a:gd name="connsiteX37336" fmla="*/ 3947489 w 10505529"/>
              <a:gd name="connsiteY37336" fmla="*/ 1104736 h 7458372"/>
              <a:gd name="connsiteX37337" fmla="*/ 3937506 w 10505529"/>
              <a:gd name="connsiteY37337" fmla="*/ 1108331 h 7458372"/>
              <a:gd name="connsiteX37338" fmla="*/ 3933911 w 10505529"/>
              <a:gd name="connsiteY37338" fmla="*/ 1117780 h 7458372"/>
              <a:gd name="connsiteX37339" fmla="*/ 3937506 w 10505529"/>
              <a:gd name="connsiteY37339" fmla="*/ 1127230 h 7458372"/>
              <a:gd name="connsiteX37340" fmla="*/ 3947489 w 10505529"/>
              <a:gd name="connsiteY37340" fmla="*/ 1130693 h 7458372"/>
              <a:gd name="connsiteX37341" fmla="*/ 3952814 w 10505529"/>
              <a:gd name="connsiteY37341" fmla="*/ 1129635 h 7458372"/>
              <a:gd name="connsiteX37342" fmla="*/ 3956541 w 10505529"/>
              <a:gd name="connsiteY37342" fmla="*/ 1127230 h 7458372"/>
              <a:gd name="connsiteX37343" fmla="*/ 3959204 w 10505529"/>
              <a:gd name="connsiteY37343" fmla="*/ 1123107 h 7458372"/>
              <a:gd name="connsiteX37344" fmla="*/ 3960268 w 10505529"/>
              <a:gd name="connsiteY37344" fmla="*/ 1117655 h 7458372"/>
              <a:gd name="connsiteX37345" fmla="*/ 3959204 w 10505529"/>
              <a:gd name="connsiteY37345" fmla="*/ 1112457 h 7458372"/>
              <a:gd name="connsiteX37346" fmla="*/ 3956541 w 10505529"/>
              <a:gd name="connsiteY37346" fmla="*/ 1108331 h 7458372"/>
              <a:gd name="connsiteX37347" fmla="*/ 3952548 w 10505529"/>
              <a:gd name="connsiteY37347" fmla="*/ 1105670 h 7458372"/>
              <a:gd name="connsiteX37348" fmla="*/ 3947489 w 10505529"/>
              <a:gd name="connsiteY37348" fmla="*/ 1104736 h 7458372"/>
              <a:gd name="connsiteX37349" fmla="*/ 3729840 w 10505529"/>
              <a:gd name="connsiteY37349" fmla="*/ 1104736 h 7458372"/>
              <a:gd name="connsiteX37350" fmla="*/ 3719854 w 10505529"/>
              <a:gd name="connsiteY37350" fmla="*/ 1108331 h 7458372"/>
              <a:gd name="connsiteX37351" fmla="*/ 3716261 w 10505529"/>
              <a:gd name="connsiteY37351" fmla="*/ 1117780 h 7458372"/>
              <a:gd name="connsiteX37352" fmla="*/ 3719854 w 10505529"/>
              <a:gd name="connsiteY37352" fmla="*/ 1127230 h 7458372"/>
              <a:gd name="connsiteX37353" fmla="*/ 3729840 w 10505529"/>
              <a:gd name="connsiteY37353" fmla="*/ 1130693 h 7458372"/>
              <a:gd name="connsiteX37354" fmla="*/ 3735165 w 10505529"/>
              <a:gd name="connsiteY37354" fmla="*/ 1129635 h 7458372"/>
              <a:gd name="connsiteX37355" fmla="*/ 3738892 w 10505529"/>
              <a:gd name="connsiteY37355" fmla="*/ 1127230 h 7458372"/>
              <a:gd name="connsiteX37356" fmla="*/ 3741555 w 10505529"/>
              <a:gd name="connsiteY37356" fmla="*/ 1123107 h 7458372"/>
              <a:gd name="connsiteX37357" fmla="*/ 3742619 w 10505529"/>
              <a:gd name="connsiteY37357" fmla="*/ 1117655 h 7458372"/>
              <a:gd name="connsiteX37358" fmla="*/ 3741555 w 10505529"/>
              <a:gd name="connsiteY37358" fmla="*/ 1112457 h 7458372"/>
              <a:gd name="connsiteX37359" fmla="*/ 3738892 w 10505529"/>
              <a:gd name="connsiteY37359" fmla="*/ 1108331 h 7458372"/>
              <a:gd name="connsiteX37360" fmla="*/ 3734899 w 10505529"/>
              <a:gd name="connsiteY37360" fmla="*/ 1105670 h 7458372"/>
              <a:gd name="connsiteX37361" fmla="*/ 3729840 w 10505529"/>
              <a:gd name="connsiteY37361" fmla="*/ 1104736 h 7458372"/>
              <a:gd name="connsiteX37362" fmla="*/ 3512191 w 10505529"/>
              <a:gd name="connsiteY37362" fmla="*/ 1104736 h 7458372"/>
              <a:gd name="connsiteX37363" fmla="*/ 3502207 w 10505529"/>
              <a:gd name="connsiteY37363" fmla="*/ 1108331 h 7458372"/>
              <a:gd name="connsiteX37364" fmla="*/ 3498613 w 10505529"/>
              <a:gd name="connsiteY37364" fmla="*/ 1117780 h 7458372"/>
              <a:gd name="connsiteX37365" fmla="*/ 3502207 w 10505529"/>
              <a:gd name="connsiteY37365" fmla="*/ 1127230 h 7458372"/>
              <a:gd name="connsiteX37366" fmla="*/ 3512191 w 10505529"/>
              <a:gd name="connsiteY37366" fmla="*/ 1130693 h 7458372"/>
              <a:gd name="connsiteX37367" fmla="*/ 3517517 w 10505529"/>
              <a:gd name="connsiteY37367" fmla="*/ 1129635 h 7458372"/>
              <a:gd name="connsiteX37368" fmla="*/ 3521244 w 10505529"/>
              <a:gd name="connsiteY37368" fmla="*/ 1127230 h 7458372"/>
              <a:gd name="connsiteX37369" fmla="*/ 3523907 w 10505529"/>
              <a:gd name="connsiteY37369" fmla="*/ 1123107 h 7458372"/>
              <a:gd name="connsiteX37370" fmla="*/ 3524972 w 10505529"/>
              <a:gd name="connsiteY37370" fmla="*/ 1117655 h 7458372"/>
              <a:gd name="connsiteX37371" fmla="*/ 3523907 w 10505529"/>
              <a:gd name="connsiteY37371" fmla="*/ 1112457 h 7458372"/>
              <a:gd name="connsiteX37372" fmla="*/ 3521244 w 10505529"/>
              <a:gd name="connsiteY37372" fmla="*/ 1108331 h 7458372"/>
              <a:gd name="connsiteX37373" fmla="*/ 3517251 w 10505529"/>
              <a:gd name="connsiteY37373" fmla="*/ 1105670 h 7458372"/>
              <a:gd name="connsiteX37374" fmla="*/ 3512191 w 10505529"/>
              <a:gd name="connsiteY37374" fmla="*/ 1104736 h 7458372"/>
              <a:gd name="connsiteX37375" fmla="*/ 3294676 w 10505529"/>
              <a:gd name="connsiteY37375" fmla="*/ 1104736 h 7458372"/>
              <a:gd name="connsiteX37376" fmla="*/ 3284692 w 10505529"/>
              <a:gd name="connsiteY37376" fmla="*/ 1108331 h 7458372"/>
              <a:gd name="connsiteX37377" fmla="*/ 3281098 w 10505529"/>
              <a:gd name="connsiteY37377" fmla="*/ 1117780 h 7458372"/>
              <a:gd name="connsiteX37378" fmla="*/ 3284692 w 10505529"/>
              <a:gd name="connsiteY37378" fmla="*/ 1127230 h 7458372"/>
              <a:gd name="connsiteX37379" fmla="*/ 3294676 w 10505529"/>
              <a:gd name="connsiteY37379" fmla="*/ 1130693 h 7458372"/>
              <a:gd name="connsiteX37380" fmla="*/ 3300002 w 10505529"/>
              <a:gd name="connsiteY37380" fmla="*/ 1129635 h 7458372"/>
              <a:gd name="connsiteX37381" fmla="*/ 3303728 w 10505529"/>
              <a:gd name="connsiteY37381" fmla="*/ 1127230 h 7458372"/>
              <a:gd name="connsiteX37382" fmla="*/ 3306392 w 10505529"/>
              <a:gd name="connsiteY37382" fmla="*/ 1123107 h 7458372"/>
              <a:gd name="connsiteX37383" fmla="*/ 3307455 w 10505529"/>
              <a:gd name="connsiteY37383" fmla="*/ 1117655 h 7458372"/>
              <a:gd name="connsiteX37384" fmla="*/ 3306392 w 10505529"/>
              <a:gd name="connsiteY37384" fmla="*/ 1112457 h 7458372"/>
              <a:gd name="connsiteX37385" fmla="*/ 3303728 w 10505529"/>
              <a:gd name="connsiteY37385" fmla="*/ 1108331 h 7458372"/>
              <a:gd name="connsiteX37386" fmla="*/ 3299735 w 10505529"/>
              <a:gd name="connsiteY37386" fmla="*/ 1105670 h 7458372"/>
              <a:gd name="connsiteX37387" fmla="*/ 3294676 w 10505529"/>
              <a:gd name="connsiteY37387" fmla="*/ 1104736 h 7458372"/>
              <a:gd name="connsiteX37388" fmla="*/ 3077161 w 10505529"/>
              <a:gd name="connsiteY37388" fmla="*/ 1104736 h 7458372"/>
              <a:gd name="connsiteX37389" fmla="*/ 3067178 w 10505529"/>
              <a:gd name="connsiteY37389" fmla="*/ 1108331 h 7458372"/>
              <a:gd name="connsiteX37390" fmla="*/ 3063450 w 10505529"/>
              <a:gd name="connsiteY37390" fmla="*/ 1117780 h 7458372"/>
              <a:gd name="connsiteX37391" fmla="*/ 3067044 w 10505529"/>
              <a:gd name="connsiteY37391" fmla="*/ 1127230 h 7458372"/>
              <a:gd name="connsiteX37392" fmla="*/ 3077027 w 10505529"/>
              <a:gd name="connsiteY37392" fmla="*/ 1130693 h 7458372"/>
              <a:gd name="connsiteX37393" fmla="*/ 3082486 w 10505529"/>
              <a:gd name="connsiteY37393" fmla="*/ 1129635 h 7458372"/>
              <a:gd name="connsiteX37394" fmla="*/ 3086213 w 10505529"/>
              <a:gd name="connsiteY37394" fmla="*/ 1127230 h 7458372"/>
              <a:gd name="connsiteX37395" fmla="*/ 3088876 w 10505529"/>
              <a:gd name="connsiteY37395" fmla="*/ 1123107 h 7458372"/>
              <a:gd name="connsiteX37396" fmla="*/ 3089808 w 10505529"/>
              <a:gd name="connsiteY37396" fmla="*/ 1117655 h 7458372"/>
              <a:gd name="connsiteX37397" fmla="*/ 3088876 w 10505529"/>
              <a:gd name="connsiteY37397" fmla="*/ 1112457 h 7458372"/>
              <a:gd name="connsiteX37398" fmla="*/ 3086213 w 10505529"/>
              <a:gd name="connsiteY37398" fmla="*/ 1108331 h 7458372"/>
              <a:gd name="connsiteX37399" fmla="*/ 3082220 w 10505529"/>
              <a:gd name="connsiteY37399" fmla="*/ 1105670 h 7458372"/>
              <a:gd name="connsiteX37400" fmla="*/ 3077161 w 10505529"/>
              <a:gd name="connsiteY37400" fmla="*/ 1104736 h 7458372"/>
              <a:gd name="connsiteX37401" fmla="*/ 2859379 w 10505529"/>
              <a:gd name="connsiteY37401" fmla="*/ 1104736 h 7458372"/>
              <a:gd name="connsiteX37402" fmla="*/ 2849396 w 10505529"/>
              <a:gd name="connsiteY37402" fmla="*/ 1108331 h 7458372"/>
              <a:gd name="connsiteX37403" fmla="*/ 2845801 w 10505529"/>
              <a:gd name="connsiteY37403" fmla="*/ 1117780 h 7458372"/>
              <a:gd name="connsiteX37404" fmla="*/ 2849396 w 10505529"/>
              <a:gd name="connsiteY37404" fmla="*/ 1127230 h 7458372"/>
              <a:gd name="connsiteX37405" fmla="*/ 2859379 w 10505529"/>
              <a:gd name="connsiteY37405" fmla="*/ 1130693 h 7458372"/>
              <a:gd name="connsiteX37406" fmla="*/ 2864704 w 10505529"/>
              <a:gd name="connsiteY37406" fmla="*/ 1129635 h 7458372"/>
              <a:gd name="connsiteX37407" fmla="*/ 2868431 w 10505529"/>
              <a:gd name="connsiteY37407" fmla="*/ 1127230 h 7458372"/>
              <a:gd name="connsiteX37408" fmla="*/ 2871094 w 10505529"/>
              <a:gd name="connsiteY37408" fmla="*/ 1123107 h 7458372"/>
              <a:gd name="connsiteX37409" fmla="*/ 2872026 w 10505529"/>
              <a:gd name="connsiteY37409" fmla="*/ 1117655 h 7458372"/>
              <a:gd name="connsiteX37410" fmla="*/ 2871094 w 10505529"/>
              <a:gd name="connsiteY37410" fmla="*/ 1112457 h 7458372"/>
              <a:gd name="connsiteX37411" fmla="*/ 2868431 w 10505529"/>
              <a:gd name="connsiteY37411" fmla="*/ 1108331 h 7458372"/>
              <a:gd name="connsiteX37412" fmla="*/ 2864439 w 10505529"/>
              <a:gd name="connsiteY37412" fmla="*/ 1105670 h 7458372"/>
              <a:gd name="connsiteX37413" fmla="*/ 2859379 w 10505529"/>
              <a:gd name="connsiteY37413" fmla="*/ 1104736 h 7458372"/>
              <a:gd name="connsiteX37414" fmla="*/ 2641731 w 10505529"/>
              <a:gd name="connsiteY37414" fmla="*/ 1104736 h 7458372"/>
              <a:gd name="connsiteX37415" fmla="*/ 2631748 w 10505529"/>
              <a:gd name="connsiteY37415" fmla="*/ 1108331 h 7458372"/>
              <a:gd name="connsiteX37416" fmla="*/ 2628154 w 10505529"/>
              <a:gd name="connsiteY37416" fmla="*/ 1117780 h 7458372"/>
              <a:gd name="connsiteX37417" fmla="*/ 2631748 w 10505529"/>
              <a:gd name="connsiteY37417" fmla="*/ 1127230 h 7458372"/>
              <a:gd name="connsiteX37418" fmla="*/ 2641731 w 10505529"/>
              <a:gd name="connsiteY37418" fmla="*/ 1130693 h 7458372"/>
              <a:gd name="connsiteX37419" fmla="*/ 2647056 w 10505529"/>
              <a:gd name="connsiteY37419" fmla="*/ 1129635 h 7458372"/>
              <a:gd name="connsiteX37420" fmla="*/ 2650783 w 10505529"/>
              <a:gd name="connsiteY37420" fmla="*/ 1127230 h 7458372"/>
              <a:gd name="connsiteX37421" fmla="*/ 2653446 w 10505529"/>
              <a:gd name="connsiteY37421" fmla="*/ 1123107 h 7458372"/>
              <a:gd name="connsiteX37422" fmla="*/ 2654377 w 10505529"/>
              <a:gd name="connsiteY37422" fmla="*/ 1117655 h 7458372"/>
              <a:gd name="connsiteX37423" fmla="*/ 2653446 w 10505529"/>
              <a:gd name="connsiteY37423" fmla="*/ 1112457 h 7458372"/>
              <a:gd name="connsiteX37424" fmla="*/ 2650783 w 10505529"/>
              <a:gd name="connsiteY37424" fmla="*/ 1108331 h 7458372"/>
              <a:gd name="connsiteX37425" fmla="*/ 2646790 w 10505529"/>
              <a:gd name="connsiteY37425" fmla="*/ 1105670 h 7458372"/>
              <a:gd name="connsiteX37426" fmla="*/ 2641731 w 10505529"/>
              <a:gd name="connsiteY37426" fmla="*/ 1104736 h 7458372"/>
              <a:gd name="connsiteX37427" fmla="*/ 2424082 w 10505529"/>
              <a:gd name="connsiteY37427" fmla="*/ 1104736 h 7458372"/>
              <a:gd name="connsiteX37428" fmla="*/ 2414099 w 10505529"/>
              <a:gd name="connsiteY37428" fmla="*/ 1108331 h 7458372"/>
              <a:gd name="connsiteX37429" fmla="*/ 2410505 w 10505529"/>
              <a:gd name="connsiteY37429" fmla="*/ 1117780 h 7458372"/>
              <a:gd name="connsiteX37430" fmla="*/ 2414099 w 10505529"/>
              <a:gd name="connsiteY37430" fmla="*/ 1127230 h 7458372"/>
              <a:gd name="connsiteX37431" fmla="*/ 2424082 w 10505529"/>
              <a:gd name="connsiteY37431" fmla="*/ 1130693 h 7458372"/>
              <a:gd name="connsiteX37432" fmla="*/ 2429408 w 10505529"/>
              <a:gd name="connsiteY37432" fmla="*/ 1129635 h 7458372"/>
              <a:gd name="connsiteX37433" fmla="*/ 2433135 w 10505529"/>
              <a:gd name="connsiteY37433" fmla="*/ 1127230 h 7458372"/>
              <a:gd name="connsiteX37434" fmla="*/ 2435798 w 10505529"/>
              <a:gd name="connsiteY37434" fmla="*/ 1123107 h 7458372"/>
              <a:gd name="connsiteX37435" fmla="*/ 2436729 w 10505529"/>
              <a:gd name="connsiteY37435" fmla="*/ 1117655 h 7458372"/>
              <a:gd name="connsiteX37436" fmla="*/ 2435798 w 10505529"/>
              <a:gd name="connsiteY37436" fmla="*/ 1112457 h 7458372"/>
              <a:gd name="connsiteX37437" fmla="*/ 2433135 w 10505529"/>
              <a:gd name="connsiteY37437" fmla="*/ 1108331 h 7458372"/>
              <a:gd name="connsiteX37438" fmla="*/ 2429142 w 10505529"/>
              <a:gd name="connsiteY37438" fmla="*/ 1105670 h 7458372"/>
              <a:gd name="connsiteX37439" fmla="*/ 2424082 w 10505529"/>
              <a:gd name="connsiteY37439" fmla="*/ 1104736 h 7458372"/>
              <a:gd name="connsiteX37440" fmla="*/ 2206434 w 10505529"/>
              <a:gd name="connsiteY37440" fmla="*/ 1104736 h 7458372"/>
              <a:gd name="connsiteX37441" fmla="*/ 2196451 w 10505529"/>
              <a:gd name="connsiteY37441" fmla="*/ 1108331 h 7458372"/>
              <a:gd name="connsiteX37442" fmla="*/ 2192857 w 10505529"/>
              <a:gd name="connsiteY37442" fmla="*/ 1117780 h 7458372"/>
              <a:gd name="connsiteX37443" fmla="*/ 2196451 w 10505529"/>
              <a:gd name="connsiteY37443" fmla="*/ 1127230 h 7458372"/>
              <a:gd name="connsiteX37444" fmla="*/ 2206434 w 10505529"/>
              <a:gd name="connsiteY37444" fmla="*/ 1130693 h 7458372"/>
              <a:gd name="connsiteX37445" fmla="*/ 2211759 w 10505529"/>
              <a:gd name="connsiteY37445" fmla="*/ 1129635 h 7458372"/>
              <a:gd name="connsiteX37446" fmla="*/ 2215486 w 10505529"/>
              <a:gd name="connsiteY37446" fmla="*/ 1127230 h 7458372"/>
              <a:gd name="connsiteX37447" fmla="*/ 2218149 w 10505529"/>
              <a:gd name="connsiteY37447" fmla="*/ 1123107 h 7458372"/>
              <a:gd name="connsiteX37448" fmla="*/ 2219080 w 10505529"/>
              <a:gd name="connsiteY37448" fmla="*/ 1117655 h 7458372"/>
              <a:gd name="connsiteX37449" fmla="*/ 2218149 w 10505529"/>
              <a:gd name="connsiteY37449" fmla="*/ 1112457 h 7458372"/>
              <a:gd name="connsiteX37450" fmla="*/ 2215486 w 10505529"/>
              <a:gd name="connsiteY37450" fmla="*/ 1108331 h 7458372"/>
              <a:gd name="connsiteX37451" fmla="*/ 2211493 w 10505529"/>
              <a:gd name="connsiteY37451" fmla="*/ 1105670 h 7458372"/>
              <a:gd name="connsiteX37452" fmla="*/ 2206434 w 10505529"/>
              <a:gd name="connsiteY37452" fmla="*/ 1104736 h 7458372"/>
              <a:gd name="connsiteX37453" fmla="*/ 1988919 w 10505529"/>
              <a:gd name="connsiteY37453" fmla="*/ 1104736 h 7458372"/>
              <a:gd name="connsiteX37454" fmla="*/ 1978936 w 10505529"/>
              <a:gd name="connsiteY37454" fmla="*/ 1108331 h 7458372"/>
              <a:gd name="connsiteX37455" fmla="*/ 1975342 w 10505529"/>
              <a:gd name="connsiteY37455" fmla="*/ 1117780 h 7458372"/>
              <a:gd name="connsiteX37456" fmla="*/ 1978936 w 10505529"/>
              <a:gd name="connsiteY37456" fmla="*/ 1127230 h 7458372"/>
              <a:gd name="connsiteX37457" fmla="*/ 1988919 w 10505529"/>
              <a:gd name="connsiteY37457" fmla="*/ 1130693 h 7458372"/>
              <a:gd name="connsiteX37458" fmla="*/ 1994244 w 10505529"/>
              <a:gd name="connsiteY37458" fmla="*/ 1129635 h 7458372"/>
              <a:gd name="connsiteX37459" fmla="*/ 1997971 w 10505529"/>
              <a:gd name="connsiteY37459" fmla="*/ 1127230 h 7458372"/>
              <a:gd name="connsiteX37460" fmla="*/ 2000634 w 10505529"/>
              <a:gd name="connsiteY37460" fmla="*/ 1123107 h 7458372"/>
              <a:gd name="connsiteX37461" fmla="*/ 2001565 w 10505529"/>
              <a:gd name="connsiteY37461" fmla="*/ 1117655 h 7458372"/>
              <a:gd name="connsiteX37462" fmla="*/ 2000634 w 10505529"/>
              <a:gd name="connsiteY37462" fmla="*/ 1112457 h 7458372"/>
              <a:gd name="connsiteX37463" fmla="*/ 1997971 w 10505529"/>
              <a:gd name="connsiteY37463" fmla="*/ 1108331 h 7458372"/>
              <a:gd name="connsiteX37464" fmla="*/ 1993978 w 10505529"/>
              <a:gd name="connsiteY37464" fmla="*/ 1105670 h 7458372"/>
              <a:gd name="connsiteX37465" fmla="*/ 1988919 w 10505529"/>
              <a:gd name="connsiteY37465" fmla="*/ 1104736 h 7458372"/>
              <a:gd name="connsiteX37466" fmla="*/ 1771276 w 10505529"/>
              <a:gd name="connsiteY37466" fmla="*/ 1104736 h 7458372"/>
              <a:gd name="connsiteX37467" fmla="*/ 1761293 w 10505529"/>
              <a:gd name="connsiteY37467" fmla="*/ 1108331 h 7458372"/>
              <a:gd name="connsiteX37468" fmla="*/ 1757699 w 10505529"/>
              <a:gd name="connsiteY37468" fmla="*/ 1117780 h 7458372"/>
              <a:gd name="connsiteX37469" fmla="*/ 1761293 w 10505529"/>
              <a:gd name="connsiteY37469" fmla="*/ 1127230 h 7458372"/>
              <a:gd name="connsiteX37470" fmla="*/ 1771276 w 10505529"/>
              <a:gd name="connsiteY37470" fmla="*/ 1130693 h 7458372"/>
              <a:gd name="connsiteX37471" fmla="*/ 1776601 w 10505529"/>
              <a:gd name="connsiteY37471" fmla="*/ 1129635 h 7458372"/>
              <a:gd name="connsiteX37472" fmla="*/ 1780328 w 10505529"/>
              <a:gd name="connsiteY37472" fmla="*/ 1127230 h 7458372"/>
              <a:gd name="connsiteX37473" fmla="*/ 1782991 w 10505529"/>
              <a:gd name="connsiteY37473" fmla="*/ 1123107 h 7458372"/>
              <a:gd name="connsiteX37474" fmla="*/ 1784056 w 10505529"/>
              <a:gd name="connsiteY37474" fmla="*/ 1117655 h 7458372"/>
              <a:gd name="connsiteX37475" fmla="*/ 1782991 w 10505529"/>
              <a:gd name="connsiteY37475" fmla="*/ 1112457 h 7458372"/>
              <a:gd name="connsiteX37476" fmla="*/ 1780328 w 10505529"/>
              <a:gd name="connsiteY37476" fmla="*/ 1108331 h 7458372"/>
              <a:gd name="connsiteX37477" fmla="*/ 1776335 w 10505529"/>
              <a:gd name="connsiteY37477" fmla="*/ 1105670 h 7458372"/>
              <a:gd name="connsiteX37478" fmla="*/ 1771276 w 10505529"/>
              <a:gd name="connsiteY37478" fmla="*/ 1104736 h 7458372"/>
              <a:gd name="connsiteX37479" fmla="*/ 1553633 w 10505529"/>
              <a:gd name="connsiteY37479" fmla="*/ 1104736 h 7458372"/>
              <a:gd name="connsiteX37480" fmla="*/ 1543649 w 10505529"/>
              <a:gd name="connsiteY37480" fmla="*/ 1108331 h 7458372"/>
              <a:gd name="connsiteX37481" fmla="*/ 1540055 w 10505529"/>
              <a:gd name="connsiteY37481" fmla="*/ 1117780 h 7458372"/>
              <a:gd name="connsiteX37482" fmla="*/ 1543649 w 10505529"/>
              <a:gd name="connsiteY37482" fmla="*/ 1127230 h 7458372"/>
              <a:gd name="connsiteX37483" fmla="*/ 1553633 w 10505529"/>
              <a:gd name="connsiteY37483" fmla="*/ 1130693 h 7458372"/>
              <a:gd name="connsiteX37484" fmla="*/ 1558958 w 10505529"/>
              <a:gd name="connsiteY37484" fmla="*/ 1129635 h 7458372"/>
              <a:gd name="connsiteX37485" fmla="*/ 1562685 w 10505529"/>
              <a:gd name="connsiteY37485" fmla="*/ 1127230 h 7458372"/>
              <a:gd name="connsiteX37486" fmla="*/ 1565347 w 10505529"/>
              <a:gd name="connsiteY37486" fmla="*/ 1123107 h 7458372"/>
              <a:gd name="connsiteX37487" fmla="*/ 1566413 w 10505529"/>
              <a:gd name="connsiteY37487" fmla="*/ 1117655 h 7458372"/>
              <a:gd name="connsiteX37488" fmla="*/ 1565347 w 10505529"/>
              <a:gd name="connsiteY37488" fmla="*/ 1112457 h 7458372"/>
              <a:gd name="connsiteX37489" fmla="*/ 1562685 w 10505529"/>
              <a:gd name="connsiteY37489" fmla="*/ 1108331 h 7458372"/>
              <a:gd name="connsiteX37490" fmla="*/ 1558691 w 10505529"/>
              <a:gd name="connsiteY37490" fmla="*/ 1105670 h 7458372"/>
              <a:gd name="connsiteX37491" fmla="*/ 1553633 w 10505529"/>
              <a:gd name="connsiteY37491" fmla="*/ 1104736 h 7458372"/>
              <a:gd name="connsiteX37492" fmla="*/ 1335988 w 10505529"/>
              <a:gd name="connsiteY37492" fmla="*/ 1104736 h 7458372"/>
              <a:gd name="connsiteX37493" fmla="*/ 1326005 w 10505529"/>
              <a:gd name="connsiteY37493" fmla="*/ 1108331 h 7458372"/>
              <a:gd name="connsiteX37494" fmla="*/ 1322410 w 10505529"/>
              <a:gd name="connsiteY37494" fmla="*/ 1117780 h 7458372"/>
              <a:gd name="connsiteX37495" fmla="*/ 1326005 w 10505529"/>
              <a:gd name="connsiteY37495" fmla="*/ 1127230 h 7458372"/>
              <a:gd name="connsiteX37496" fmla="*/ 1335988 w 10505529"/>
              <a:gd name="connsiteY37496" fmla="*/ 1130693 h 7458372"/>
              <a:gd name="connsiteX37497" fmla="*/ 1341314 w 10505529"/>
              <a:gd name="connsiteY37497" fmla="*/ 1129635 h 7458372"/>
              <a:gd name="connsiteX37498" fmla="*/ 1345040 w 10505529"/>
              <a:gd name="connsiteY37498" fmla="*/ 1127230 h 7458372"/>
              <a:gd name="connsiteX37499" fmla="*/ 1347703 w 10505529"/>
              <a:gd name="connsiteY37499" fmla="*/ 1123107 h 7458372"/>
              <a:gd name="connsiteX37500" fmla="*/ 1348769 w 10505529"/>
              <a:gd name="connsiteY37500" fmla="*/ 1117655 h 7458372"/>
              <a:gd name="connsiteX37501" fmla="*/ 1347703 w 10505529"/>
              <a:gd name="connsiteY37501" fmla="*/ 1112457 h 7458372"/>
              <a:gd name="connsiteX37502" fmla="*/ 1345040 w 10505529"/>
              <a:gd name="connsiteY37502" fmla="*/ 1108331 h 7458372"/>
              <a:gd name="connsiteX37503" fmla="*/ 1341047 w 10505529"/>
              <a:gd name="connsiteY37503" fmla="*/ 1105670 h 7458372"/>
              <a:gd name="connsiteX37504" fmla="*/ 1335988 w 10505529"/>
              <a:gd name="connsiteY37504" fmla="*/ 1104736 h 7458372"/>
              <a:gd name="connsiteX37505" fmla="*/ 1118476 w 10505529"/>
              <a:gd name="connsiteY37505" fmla="*/ 1104736 h 7458372"/>
              <a:gd name="connsiteX37506" fmla="*/ 1108492 w 10505529"/>
              <a:gd name="connsiteY37506" fmla="*/ 1108331 h 7458372"/>
              <a:gd name="connsiteX37507" fmla="*/ 1104765 w 10505529"/>
              <a:gd name="connsiteY37507" fmla="*/ 1117780 h 7458372"/>
              <a:gd name="connsiteX37508" fmla="*/ 1108359 w 10505529"/>
              <a:gd name="connsiteY37508" fmla="*/ 1127230 h 7458372"/>
              <a:gd name="connsiteX37509" fmla="*/ 1118343 w 10505529"/>
              <a:gd name="connsiteY37509" fmla="*/ 1130693 h 7458372"/>
              <a:gd name="connsiteX37510" fmla="*/ 1123801 w 10505529"/>
              <a:gd name="connsiteY37510" fmla="*/ 1129635 h 7458372"/>
              <a:gd name="connsiteX37511" fmla="*/ 1127528 w 10505529"/>
              <a:gd name="connsiteY37511" fmla="*/ 1127230 h 7458372"/>
              <a:gd name="connsiteX37512" fmla="*/ 1130192 w 10505529"/>
              <a:gd name="connsiteY37512" fmla="*/ 1123107 h 7458372"/>
              <a:gd name="connsiteX37513" fmla="*/ 1131257 w 10505529"/>
              <a:gd name="connsiteY37513" fmla="*/ 1117655 h 7458372"/>
              <a:gd name="connsiteX37514" fmla="*/ 1130192 w 10505529"/>
              <a:gd name="connsiteY37514" fmla="*/ 1112457 h 7458372"/>
              <a:gd name="connsiteX37515" fmla="*/ 1127528 w 10505529"/>
              <a:gd name="connsiteY37515" fmla="*/ 1108331 h 7458372"/>
              <a:gd name="connsiteX37516" fmla="*/ 1123534 w 10505529"/>
              <a:gd name="connsiteY37516" fmla="*/ 1105670 h 7458372"/>
              <a:gd name="connsiteX37517" fmla="*/ 1118476 w 10505529"/>
              <a:gd name="connsiteY37517" fmla="*/ 1104736 h 7458372"/>
              <a:gd name="connsiteX37518" fmla="*/ 900965 w 10505529"/>
              <a:gd name="connsiteY37518" fmla="*/ 1104736 h 7458372"/>
              <a:gd name="connsiteX37519" fmla="*/ 890980 w 10505529"/>
              <a:gd name="connsiteY37519" fmla="*/ 1108331 h 7458372"/>
              <a:gd name="connsiteX37520" fmla="*/ 887254 w 10505529"/>
              <a:gd name="connsiteY37520" fmla="*/ 1117780 h 7458372"/>
              <a:gd name="connsiteX37521" fmla="*/ 890848 w 10505529"/>
              <a:gd name="connsiteY37521" fmla="*/ 1127230 h 7458372"/>
              <a:gd name="connsiteX37522" fmla="*/ 900831 w 10505529"/>
              <a:gd name="connsiteY37522" fmla="*/ 1130693 h 7458372"/>
              <a:gd name="connsiteX37523" fmla="*/ 906289 w 10505529"/>
              <a:gd name="connsiteY37523" fmla="*/ 1129635 h 7458372"/>
              <a:gd name="connsiteX37524" fmla="*/ 910017 w 10505529"/>
              <a:gd name="connsiteY37524" fmla="*/ 1127230 h 7458372"/>
              <a:gd name="connsiteX37525" fmla="*/ 912679 w 10505529"/>
              <a:gd name="connsiteY37525" fmla="*/ 1123107 h 7458372"/>
              <a:gd name="connsiteX37526" fmla="*/ 913744 w 10505529"/>
              <a:gd name="connsiteY37526" fmla="*/ 1117655 h 7458372"/>
              <a:gd name="connsiteX37527" fmla="*/ 912679 w 10505529"/>
              <a:gd name="connsiteY37527" fmla="*/ 1112457 h 7458372"/>
              <a:gd name="connsiteX37528" fmla="*/ 910017 w 10505529"/>
              <a:gd name="connsiteY37528" fmla="*/ 1108331 h 7458372"/>
              <a:gd name="connsiteX37529" fmla="*/ 906023 w 10505529"/>
              <a:gd name="connsiteY37529" fmla="*/ 1105670 h 7458372"/>
              <a:gd name="connsiteX37530" fmla="*/ 900965 w 10505529"/>
              <a:gd name="connsiteY37530" fmla="*/ 1104736 h 7458372"/>
              <a:gd name="connsiteX37531" fmla="*/ 683187 w 10505529"/>
              <a:gd name="connsiteY37531" fmla="*/ 1104736 h 7458372"/>
              <a:gd name="connsiteX37532" fmla="*/ 673204 w 10505529"/>
              <a:gd name="connsiteY37532" fmla="*/ 1108331 h 7458372"/>
              <a:gd name="connsiteX37533" fmla="*/ 669610 w 10505529"/>
              <a:gd name="connsiteY37533" fmla="*/ 1117780 h 7458372"/>
              <a:gd name="connsiteX37534" fmla="*/ 673204 w 10505529"/>
              <a:gd name="connsiteY37534" fmla="*/ 1127230 h 7458372"/>
              <a:gd name="connsiteX37535" fmla="*/ 683187 w 10505529"/>
              <a:gd name="connsiteY37535" fmla="*/ 1130693 h 7458372"/>
              <a:gd name="connsiteX37536" fmla="*/ 688512 w 10505529"/>
              <a:gd name="connsiteY37536" fmla="*/ 1129635 h 7458372"/>
              <a:gd name="connsiteX37537" fmla="*/ 692239 w 10505529"/>
              <a:gd name="connsiteY37537" fmla="*/ 1127230 h 7458372"/>
              <a:gd name="connsiteX37538" fmla="*/ 694902 w 10505529"/>
              <a:gd name="connsiteY37538" fmla="*/ 1123107 h 7458372"/>
              <a:gd name="connsiteX37539" fmla="*/ 695967 w 10505529"/>
              <a:gd name="connsiteY37539" fmla="*/ 1117655 h 7458372"/>
              <a:gd name="connsiteX37540" fmla="*/ 694902 w 10505529"/>
              <a:gd name="connsiteY37540" fmla="*/ 1112457 h 7458372"/>
              <a:gd name="connsiteX37541" fmla="*/ 692239 w 10505529"/>
              <a:gd name="connsiteY37541" fmla="*/ 1108331 h 7458372"/>
              <a:gd name="connsiteX37542" fmla="*/ 688246 w 10505529"/>
              <a:gd name="connsiteY37542" fmla="*/ 1105670 h 7458372"/>
              <a:gd name="connsiteX37543" fmla="*/ 683187 w 10505529"/>
              <a:gd name="connsiteY37543" fmla="*/ 1104736 h 7458372"/>
              <a:gd name="connsiteX37544" fmla="*/ 465543 w 10505529"/>
              <a:gd name="connsiteY37544" fmla="*/ 1104736 h 7458372"/>
              <a:gd name="connsiteX37545" fmla="*/ 455560 w 10505529"/>
              <a:gd name="connsiteY37545" fmla="*/ 1108331 h 7458372"/>
              <a:gd name="connsiteX37546" fmla="*/ 451966 w 10505529"/>
              <a:gd name="connsiteY37546" fmla="*/ 1117780 h 7458372"/>
              <a:gd name="connsiteX37547" fmla="*/ 455560 w 10505529"/>
              <a:gd name="connsiteY37547" fmla="*/ 1127230 h 7458372"/>
              <a:gd name="connsiteX37548" fmla="*/ 465543 w 10505529"/>
              <a:gd name="connsiteY37548" fmla="*/ 1130693 h 7458372"/>
              <a:gd name="connsiteX37549" fmla="*/ 470868 w 10505529"/>
              <a:gd name="connsiteY37549" fmla="*/ 1129635 h 7458372"/>
              <a:gd name="connsiteX37550" fmla="*/ 474595 w 10505529"/>
              <a:gd name="connsiteY37550" fmla="*/ 1127230 h 7458372"/>
              <a:gd name="connsiteX37551" fmla="*/ 477258 w 10505529"/>
              <a:gd name="connsiteY37551" fmla="*/ 1123107 h 7458372"/>
              <a:gd name="connsiteX37552" fmla="*/ 478323 w 10505529"/>
              <a:gd name="connsiteY37552" fmla="*/ 1117655 h 7458372"/>
              <a:gd name="connsiteX37553" fmla="*/ 477258 w 10505529"/>
              <a:gd name="connsiteY37553" fmla="*/ 1112457 h 7458372"/>
              <a:gd name="connsiteX37554" fmla="*/ 474595 w 10505529"/>
              <a:gd name="connsiteY37554" fmla="*/ 1108331 h 7458372"/>
              <a:gd name="connsiteX37555" fmla="*/ 470602 w 10505529"/>
              <a:gd name="connsiteY37555" fmla="*/ 1105670 h 7458372"/>
              <a:gd name="connsiteX37556" fmla="*/ 465543 w 10505529"/>
              <a:gd name="connsiteY37556" fmla="*/ 1104736 h 7458372"/>
              <a:gd name="connsiteX37557" fmla="*/ 247899 w 10505529"/>
              <a:gd name="connsiteY37557" fmla="*/ 1104736 h 7458372"/>
              <a:gd name="connsiteX37558" fmla="*/ 237916 w 10505529"/>
              <a:gd name="connsiteY37558" fmla="*/ 1108331 h 7458372"/>
              <a:gd name="connsiteX37559" fmla="*/ 234322 w 10505529"/>
              <a:gd name="connsiteY37559" fmla="*/ 1117780 h 7458372"/>
              <a:gd name="connsiteX37560" fmla="*/ 237916 w 10505529"/>
              <a:gd name="connsiteY37560" fmla="*/ 1127230 h 7458372"/>
              <a:gd name="connsiteX37561" fmla="*/ 247899 w 10505529"/>
              <a:gd name="connsiteY37561" fmla="*/ 1130693 h 7458372"/>
              <a:gd name="connsiteX37562" fmla="*/ 253224 w 10505529"/>
              <a:gd name="connsiteY37562" fmla="*/ 1129635 h 7458372"/>
              <a:gd name="connsiteX37563" fmla="*/ 256951 w 10505529"/>
              <a:gd name="connsiteY37563" fmla="*/ 1127230 h 7458372"/>
              <a:gd name="connsiteX37564" fmla="*/ 259614 w 10505529"/>
              <a:gd name="connsiteY37564" fmla="*/ 1123107 h 7458372"/>
              <a:gd name="connsiteX37565" fmla="*/ 260679 w 10505529"/>
              <a:gd name="connsiteY37565" fmla="*/ 1117655 h 7458372"/>
              <a:gd name="connsiteX37566" fmla="*/ 259614 w 10505529"/>
              <a:gd name="connsiteY37566" fmla="*/ 1112457 h 7458372"/>
              <a:gd name="connsiteX37567" fmla="*/ 256951 w 10505529"/>
              <a:gd name="connsiteY37567" fmla="*/ 1108331 h 7458372"/>
              <a:gd name="connsiteX37568" fmla="*/ 252958 w 10505529"/>
              <a:gd name="connsiteY37568" fmla="*/ 1105670 h 7458372"/>
              <a:gd name="connsiteX37569" fmla="*/ 247899 w 10505529"/>
              <a:gd name="connsiteY37569" fmla="*/ 1104736 h 7458372"/>
              <a:gd name="connsiteX37570" fmla="*/ 30255 w 10505529"/>
              <a:gd name="connsiteY37570" fmla="*/ 1104736 h 7458372"/>
              <a:gd name="connsiteX37571" fmla="*/ 20271 w 10505529"/>
              <a:gd name="connsiteY37571" fmla="*/ 1108331 h 7458372"/>
              <a:gd name="connsiteX37572" fmla="*/ 16678 w 10505529"/>
              <a:gd name="connsiteY37572" fmla="*/ 1117780 h 7458372"/>
              <a:gd name="connsiteX37573" fmla="*/ 20271 w 10505529"/>
              <a:gd name="connsiteY37573" fmla="*/ 1127230 h 7458372"/>
              <a:gd name="connsiteX37574" fmla="*/ 30255 w 10505529"/>
              <a:gd name="connsiteY37574" fmla="*/ 1130693 h 7458372"/>
              <a:gd name="connsiteX37575" fmla="*/ 35580 w 10505529"/>
              <a:gd name="connsiteY37575" fmla="*/ 1129635 h 7458372"/>
              <a:gd name="connsiteX37576" fmla="*/ 39307 w 10505529"/>
              <a:gd name="connsiteY37576" fmla="*/ 1127230 h 7458372"/>
              <a:gd name="connsiteX37577" fmla="*/ 41970 w 10505529"/>
              <a:gd name="connsiteY37577" fmla="*/ 1123107 h 7458372"/>
              <a:gd name="connsiteX37578" fmla="*/ 42901 w 10505529"/>
              <a:gd name="connsiteY37578" fmla="*/ 1117655 h 7458372"/>
              <a:gd name="connsiteX37579" fmla="*/ 41970 w 10505529"/>
              <a:gd name="connsiteY37579" fmla="*/ 1112457 h 7458372"/>
              <a:gd name="connsiteX37580" fmla="*/ 39307 w 10505529"/>
              <a:gd name="connsiteY37580" fmla="*/ 1108331 h 7458372"/>
              <a:gd name="connsiteX37581" fmla="*/ 35314 w 10505529"/>
              <a:gd name="connsiteY37581" fmla="*/ 1105670 h 7458372"/>
              <a:gd name="connsiteX37582" fmla="*/ 30255 w 10505529"/>
              <a:gd name="connsiteY37582" fmla="*/ 1104736 h 7458372"/>
              <a:gd name="connsiteX37583" fmla="*/ 10475977 w 10505529"/>
              <a:gd name="connsiteY37583" fmla="*/ 1088096 h 7458372"/>
              <a:gd name="connsiteX37584" fmla="*/ 10487824 w 10505529"/>
              <a:gd name="connsiteY37584" fmla="*/ 1090626 h 7458372"/>
              <a:gd name="connsiteX37585" fmla="*/ 10497143 w 10505529"/>
              <a:gd name="connsiteY37585" fmla="*/ 1097017 h 7458372"/>
              <a:gd name="connsiteX37586" fmla="*/ 10503266 w 10505529"/>
              <a:gd name="connsiteY37586" fmla="*/ 1106337 h 7458372"/>
              <a:gd name="connsiteX37587" fmla="*/ 10505529 w 10505529"/>
              <a:gd name="connsiteY37587" fmla="*/ 1117780 h 7458372"/>
              <a:gd name="connsiteX37588" fmla="*/ 10503266 w 10505529"/>
              <a:gd name="connsiteY37588" fmla="*/ 1129494 h 7458372"/>
              <a:gd name="connsiteX37589" fmla="*/ 10497143 w 10505529"/>
              <a:gd name="connsiteY37589" fmla="*/ 1138815 h 7458372"/>
              <a:gd name="connsiteX37590" fmla="*/ 10487824 w 10505529"/>
              <a:gd name="connsiteY37590" fmla="*/ 1145076 h 7458372"/>
              <a:gd name="connsiteX37591" fmla="*/ 10475977 w 10505529"/>
              <a:gd name="connsiteY37591" fmla="*/ 1147340 h 7458372"/>
              <a:gd name="connsiteX37592" fmla="*/ 10454145 w 10505529"/>
              <a:gd name="connsiteY37592" fmla="*/ 1138815 h 7458372"/>
              <a:gd name="connsiteX37593" fmla="*/ 10445759 w 10505529"/>
              <a:gd name="connsiteY37593" fmla="*/ 1117655 h 7458372"/>
              <a:gd name="connsiteX37594" fmla="*/ 10454145 w 10505529"/>
              <a:gd name="connsiteY37594" fmla="*/ 1096621 h 7458372"/>
              <a:gd name="connsiteX37595" fmla="*/ 10475977 w 10505529"/>
              <a:gd name="connsiteY37595" fmla="*/ 1088096 h 7458372"/>
              <a:gd name="connsiteX37596" fmla="*/ 10258466 w 10505529"/>
              <a:gd name="connsiteY37596" fmla="*/ 1088096 h 7458372"/>
              <a:gd name="connsiteX37597" fmla="*/ 10270313 w 10505529"/>
              <a:gd name="connsiteY37597" fmla="*/ 1090626 h 7458372"/>
              <a:gd name="connsiteX37598" fmla="*/ 10279631 w 10505529"/>
              <a:gd name="connsiteY37598" fmla="*/ 1097017 h 7458372"/>
              <a:gd name="connsiteX37599" fmla="*/ 10285754 w 10505529"/>
              <a:gd name="connsiteY37599" fmla="*/ 1106337 h 7458372"/>
              <a:gd name="connsiteX37600" fmla="*/ 10288017 w 10505529"/>
              <a:gd name="connsiteY37600" fmla="*/ 1117780 h 7458372"/>
              <a:gd name="connsiteX37601" fmla="*/ 10285754 w 10505529"/>
              <a:gd name="connsiteY37601" fmla="*/ 1129494 h 7458372"/>
              <a:gd name="connsiteX37602" fmla="*/ 10279631 w 10505529"/>
              <a:gd name="connsiteY37602" fmla="*/ 1138815 h 7458372"/>
              <a:gd name="connsiteX37603" fmla="*/ 10270313 w 10505529"/>
              <a:gd name="connsiteY37603" fmla="*/ 1145076 h 7458372"/>
              <a:gd name="connsiteX37604" fmla="*/ 10258466 w 10505529"/>
              <a:gd name="connsiteY37604" fmla="*/ 1147340 h 7458372"/>
              <a:gd name="connsiteX37605" fmla="*/ 10236633 w 10505529"/>
              <a:gd name="connsiteY37605" fmla="*/ 1138815 h 7458372"/>
              <a:gd name="connsiteX37606" fmla="*/ 10228247 w 10505529"/>
              <a:gd name="connsiteY37606" fmla="*/ 1117655 h 7458372"/>
              <a:gd name="connsiteX37607" fmla="*/ 10236633 w 10505529"/>
              <a:gd name="connsiteY37607" fmla="*/ 1096621 h 7458372"/>
              <a:gd name="connsiteX37608" fmla="*/ 10258466 w 10505529"/>
              <a:gd name="connsiteY37608" fmla="*/ 1088096 h 7458372"/>
              <a:gd name="connsiteX37609" fmla="*/ 10040820 w 10505529"/>
              <a:gd name="connsiteY37609" fmla="*/ 1088096 h 7458372"/>
              <a:gd name="connsiteX37610" fmla="*/ 10052534 w 10505529"/>
              <a:gd name="connsiteY37610" fmla="*/ 1090626 h 7458372"/>
              <a:gd name="connsiteX37611" fmla="*/ 10061852 w 10505529"/>
              <a:gd name="connsiteY37611" fmla="*/ 1097017 h 7458372"/>
              <a:gd name="connsiteX37612" fmla="*/ 10067976 w 10505529"/>
              <a:gd name="connsiteY37612" fmla="*/ 1106337 h 7458372"/>
              <a:gd name="connsiteX37613" fmla="*/ 10070239 w 10505529"/>
              <a:gd name="connsiteY37613" fmla="*/ 1117780 h 7458372"/>
              <a:gd name="connsiteX37614" fmla="*/ 10067976 w 10505529"/>
              <a:gd name="connsiteY37614" fmla="*/ 1129494 h 7458372"/>
              <a:gd name="connsiteX37615" fmla="*/ 10061852 w 10505529"/>
              <a:gd name="connsiteY37615" fmla="*/ 1138815 h 7458372"/>
              <a:gd name="connsiteX37616" fmla="*/ 10052534 w 10505529"/>
              <a:gd name="connsiteY37616" fmla="*/ 1145076 h 7458372"/>
              <a:gd name="connsiteX37617" fmla="*/ 10040820 w 10505529"/>
              <a:gd name="connsiteY37617" fmla="*/ 1147340 h 7458372"/>
              <a:gd name="connsiteX37618" fmla="*/ 10018988 w 10505529"/>
              <a:gd name="connsiteY37618" fmla="*/ 1138815 h 7458372"/>
              <a:gd name="connsiteX37619" fmla="*/ 10010602 w 10505529"/>
              <a:gd name="connsiteY37619" fmla="*/ 1117655 h 7458372"/>
              <a:gd name="connsiteX37620" fmla="*/ 10018988 w 10505529"/>
              <a:gd name="connsiteY37620" fmla="*/ 1096621 h 7458372"/>
              <a:gd name="connsiteX37621" fmla="*/ 10040820 w 10505529"/>
              <a:gd name="connsiteY37621" fmla="*/ 1088096 h 7458372"/>
              <a:gd name="connsiteX37622" fmla="*/ 9823176 w 10505529"/>
              <a:gd name="connsiteY37622" fmla="*/ 1088096 h 7458372"/>
              <a:gd name="connsiteX37623" fmla="*/ 9834890 w 10505529"/>
              <a:gd name="connsiteY37623" fmla="*/ 1090626 h 7458372"/>
              <a:gd name="connsiteX37624" fmla="*/ 9844208 w 10505529"/>
              <a:gd name="connsiteY37624" fmla="*/ 1097017 h 7458372"/>
              <a:gd name="connsiteX37625" fmla="*/ 9850331 w 10505529"/>
              <a:gd name="connsiteY37625" fmla="*/ 1106339 h 7458372"/>
              <a:gd name="connsiteX37626" fmla="*/ 9852595 w 10505529"/>
              <a:gd name="connsiteY37626" fmla="*/ 1117780 h 7458372"/>
              <a:gd name="connsiteX37627" fmla="*/ 9850331 w 10505529"/>
              <a:gd name="connsiteY37627" fmla="*/ 1129494 h 7458372"/>
              <a:gd name="connsiteX37628" fmla="*/ 9844208 w 10505529"/>
              <a:gd name="connsiteY37628" fmla="*/ 1138815 h 7458372"/>
              <a:gd name="connsiteX37629" fmla="*/ 9834890 w 10505529"/>
              <a:gd name="connsiteY37629" fmla="*/ 1145076 h 7458372"/>
              <a:gd name="connsiteX37630" fmla="*/ 9823176 w 10505529"/>
              <a:gd name="connsiteY37630" fmla="*/ 1147340 h 7458372"/>
              <a:gd name="connsiteX37631" fmla="*/ 9801343 w 10505529"/>
              <a:gd name="connsiteY37631" fmla="*/ 1138815 h 7458372"/>
              <a:gd name="connsiteX37632" fmla="*/ 9792957 w 10505529"/>
              <a:gd name="connsiteY37632" fmla="*/ 1117655 h 7458372"/>
              <a:gd name="connsiteX37633" fmla="*/ 9801343 w 10505529"/>
              <a:gd name="connsiteY37633" fmla="*/ 1096621 h 7458372"/>
              <a:gd name="connsiteX37634" fmla="*/ 9823176 w 10505529"/>
              <a:gd name="connsiteY37634" fmla="*/ 1088096 h 7458372"/>
              <a:gd name="connsiteX37635" fmla="*/ 9605531 w 10505529"/>
              <a:gd name="connsiteY37635" fmla="*/ 1088096 h 7458372"/>
              <a:gd name="connsiteX37636" fmla="*/ 9617245 w 10505529"/>
              <a:gd name="connsiteY37636" fmla="*/ 1090626 h 7458372"/>
              <a:gd name="connsiteX37637" fmla="*/ 9626562 w 10505529"/>
              <a:gd name="connsiteY37637" fmla="*/ 1097017 h 7458372"/>
              <a:gd name="connsiteX37638" fmla="*/ 9632686 w 10505529"/>
              <a:gd name="connsiteY37638" fmla="*/ 1106339 h 7458372"/>
              <a:gd name="connsiteX37639" fmla="*/ 9634949 w 10505529"/>
              <a:gd name="connsiteY37639" fmla="*/ 1117780 h 7458372"/>
              <a:gd name="connsiteX37640" fmla="*/ 9632686 w 10505529"/>
              <a:gd name="connsiteY37640" fmla="*/ 1129494 h 7458372"/>
              <a:gd name="connsiteX37641" fmla="*/ 9626562 w 10505529"/>
              <a:gd name="connsiteY37641" fmla="*/ 1138815 h 7458372"/>
              <a:gd name="connsiteX37642" fmla="*/ 9617245 w 10505529"/>
              <a:gd name="connsiteY37642" fmla="*/ 1145076 h 7458372"/>
              <a:gd name="connsiteX37643" fmla="*/ 9605531 w 10505529"/>
              <a:gd name="connsiteY37643" fmla="*/ 1147340 h 7458372"/>
              <a:gd name="connsiteX37644" fmla="*/ 9583698 w 10505529"/>
              <a:gd name="connsiteY37644" fmla="*/ 1138815 h 7458372"/>
              <a:gd name="connsiteX37645" fmla="*/ 9575312 w 10505529"/>
              <a:gd name="connsiteY37645" fmla="*/ 1117655 h 7458372"/>
              <a:gd name="connsiteX37646" fmla="*/ 9583698 w 10505529"/>
              <a:gd name="connsiteY37646" fmla="*/ 1096621 h 7458372"/>
              <a:gd name="connsiteX37647" fmla="*/ 9605531 w 10505529"/>
              <a:gd name="connsiteY37647" fmla="*/ 1088096 h 7458372"/>
              <a:gd name="connsiteX37648" fmla="*/ 9387885 w 10505529"/>
              <a:gd name="connsiteY37648" fmla="*/ 1088096 h 7458372"/>
              <a:gd name="connsiteX37649" fmla="*/ 9399599 w 10505529"/>
              <a:gd name="connsiteY37649" fmla="*/ 1090626 h 7458372"/>
              <a:gd name="connsiteX37650" fmla="*/ 9408917 w 10505529"/>
              <a:gd name="connsiteY37650" fmla="*/ 1097017 h 7458372"/>
              <a:gd name="connsiteX37651" fmla="*/ 9415041 w 10505529"/>
              <a:gd name="connsiteY37651" fmla="*/ 1106339 h 7458372"/>
              <a:gd name="connsiteX37652" fmla="*/ 9417304 w 10505529"/>
              <a:gd name="connsiteY37652" fmla="*/ 1117780 h 7458372"/>
              <a:gd name="connsiteX37653" fmla="*/ 9415041 w 10505529"/>
              <a:gd name="connsiteY37653" fmla="*/ 1129494 h 7458372"/>
              <a:gd name="connsiteX37654" fmla="*/ 9408917 w 10505529"/>
              <a:gd name="connsiteY37654" fmla="*/ 1138815 h 7458372"/>
              <a:gd name="connsiteX37655" fmla="*/ 9399599 w 10505529"/>
              <a:gd name="connsiteY37655" fmla="*/ 1145076 h 7458372"/>
              <a:gd name="connsiteX37656" fmla="*/ 9387885 w 10505529"/>
              <a:gd name="connsiteY37656" fmla="*/ 1147340 h 7458372"/>
              <a:gd name="connsiteX37657" fmla="*/ 9366053 w 10505529"/>
              <a:gd name="connsiteY37657" fmla="*/ 1138815 h 7458372"/>
              <a:gd name="connsiteX37658" fmla="*/ 9357667 w 10505529"/>
              <a:gd name="connsiteY37658" fmla="*/ 1117655 h 7458372"/>
              <a:gd name="connsiteX37659" fmla="*/ 9366053 w 10505529"/>
              <a:gd name="connsiteY37659" fmla="*/ 1096621 h 7458372"/>
              <a:gd name="connsiteX37660" fmla="*/ 9387885 w 10505529"/>
              <a:gd name="connsiteY37660" fmla="*/ 1088096 h 7458372"/>
              <a:gd name="connsiteX37661" fmla="*/ 9170374 w 10505529"/>
              <a:gd name="connsiteY37661" fmla="*/ 1088096 h 7458372"/>
              <a:gd name="connsiteX37662" fmla="*/ 9182088 w 10505529"/>
              <a:gd name="connsiteY37662" fmla="*/ 1090626 h 7458372"/>
              <a:gd name="connsiteX37663" fmla="*/ 9191405 w 10505529"/>
              <a:gd name="connsiteY37663" fmla="*/ 1097017 h 7458372"/>
              <a:gd name="connsiteX37664" fmla="*/ 9197529 w 10505529"/>
              <a:gd name="connsiteY37664" fmla="*/ 1106339 h 7458372"/>
              <a:gd name="connsiteX37665" fmla="*/ 9199792 w 10505529"/>
              <a:gd name="connsiteY37665" fmla="*/ 1117780 h 7458372"/>
              <a:gd name="connsiteX37666" fmla="*/ 9197529 w 10505529"/>
              <a:gd name="connsiteY37666" fmla="*/ 1129494 h 7458372"/>
              <a:gd name="connsiteX37667" fmla="*/ 9191405 w 10505529"/>
              <a:gd name="connsiteY37667" fmla="*/ 1138815 h 7458372"/>
              <a:gd name="connsiteX37668" fmla="*/ 9182088 w 10505529"/>
              <a:gd name="connsiteY37668" fmla="*/ 1145076 h 7458372"/>
              <a:gd name="connsiteX37669" fmla="*/ 9170374 w 10505529"/>
              <a:gd name="connsiteY37669" fmla="*/ 1147340 h 7458372"/>
              <a:gd name="connsiteX37670" fmla="*/ 9148541 w 10505529"/>
              <a:gd name="connsiteY37670" fmla="*/ 1138815 h 7458372"/>
              <a:gd name="connsiteX37671" fmla="*/ 9140155 w 10505529"/>
              <a:gd name="connsiteY37671" fmla="*/ 1117655 h 7458372"/>
              <a:gd name="connsiteX37672" fmla="*/ 9148541 w 10505529"/>
              <a:gd name="connsiteY37672" fmla="*/ 1096621 h 7458372"/>
              <a:gd name="connsiteX37673" fmla="*/ 9170374 w 10505529"/>
              <a:gd name="connsiteY37673" fmla="*/ 1088096 h 7458372"/>
              <a:gd name="connsiteX37674" fmla="*/ 8952728 w 10505529"/>
              <a:gd name="connsiteY37674" fmla="*/ 1088096 h 7458372"/>
              <a:gd name="connsiteX37675" fmla="*/ 8964442 w 10505529"/>
              <a:gd name="connsiteY37675" fmla="*/ 1090626 h 7458372"/>
              <a:gd name="connsiteX37676" fmla="*/ 8973760 w 10505529"/>
              <a:gd name="connsiteY37676" fmla="*/ 1097017 h 7458372"/>
              <a:gd name="connsiteX37677" fmla="*/ 8979884 w 10505529"/>
              <a:gd name="connsiteY37677" fmla="*/ 1106339 h 7458372"/>
              <a:gd name="connsiteX37678" fmla="*/ 8982147 w 10505529"/>
              <a:gd name="connsiteY37678" fmla="*/ 1117780 h 7458372"/>
              <a:gd name="connsiteX37679" fmla="*/ 8979884 w 10505529"/>
              <a:gd name="connsiteY37679" fmla="*/ 1129494 h 7458372"/>
              <a:gd name="connsiteX37680" fmla="*/ 8973760 w 10505529"/>
              <a:gd name="connsiteY37680" fmla="*/ 1138815 h 7458372"/>
              <a:gd name="connsiteX37681" fmla="*/ 8964442 w 10505529"/>
              <a:gd name="connsiteY37681" fmla="*/ 1145076 h 7458372"/>
              <a:gd name="connsiteX37682" fmla="*/ 8952728 w 10505529"/>
              <a:gd name="connsiteY37682" fmla="*/ 1147340 h 7458372"/>
              <a:gd name="connsiteX37683" fmla="*/ 8930896 w 10505529"/>
              <a:gd name="connsiteY37683" fmla="*/ 1138815 h 7458372"/>
              <a:gd name="connsiteX37684" fmla="*/ 8922510 w 10505529"/>
              <a:gd name="connsiteY37684" fmla="*/ 1117655 h 7458372"/>
              <a:gd name="connsiteX37685" fmla="*/ 8930896 w 10505529"/>
              <a:gd name="connsiteY37685" fmla="*/ 1096621 h 7458372"/>
              <a:gd name="connsiteX37686" fmla="*/ 8952728 w 10505529"/>
              <a:gd name="connsiteY37686" fmla="*/ 1088096 h 7458372"/>
              <a:gd name="connsiteX37687" fmla="*/ 8735083 w 10505529"/>
              <a:gd name="connsiteY37687" fmla="*/ 1088096 h 7458372"/>
              <a:gd name="connsiteX37688" fmla="*/ 8746797 w 10505529"/>
              <a:gd name="connsiteY37688" fmla="*/ 1090626 h 7458372"/>
              <a:gd name="connsiteX37689" fmla="*/ 8756115 w 10505529"/>
              <a:gd name="connsiteY37689" fmla="*/ 1097017 h 7458372"/>
              <a:gd name="connsiteX37690" fmla="*/ 8762238 w 10505529"/>
              <a:gd name="connsiteY37690" fmla="*/ 1106339 h 7458372"/>
              <a:gd name="connsiteX37691" fmla="*/ 8764502 w 10505529"/>
              <a:gd name="connsiteY37691" fmla="*/ 1117780 h 7458372"/>
              <a:gd name="connsiteX37692" fmla="*/ 8762238 w 10505529"/>
              <a:gd name="connsiteY37692" fmla="*/ 1129494 h 7458372"/>
              <a:gd name="connsiteX37693" fmla="*/ 8756115 w 10505529"/>
              <a:gd name="connsiteY37693" fmla="*/ 1138815 h 7458372"/>
              <a:gd name="connsiteX37694" fmla="*/ 8746797 w 10505529"/>
              <a:gd name="connsiteY37694" fmla="*/ 1145076 h 7458372"/>
              <a:gd name="connsiteX37695" fmla="*/ 8735083 w 10505529"/>
              <a:gd name="connsiteY37695" fmla="*/ 1147340 h 7458372"/>
              <a:gd name="connsiteX37696" fmla="*/ 8713250 w 10505529"/>
              <a:gd name="connsiteY37696" fmla="*/ 1138815 h 7458372"/>
              <a:gd name="connsiteX37697" fmla="*/ 8704864 w 10505529"/>
              <a:gd name="connsiteY37697" fmla="*/ 1117655 h 7458372"/>
              <a:gd name="connsiteX37698" fmla="*/ 8713250 w 10505529"/>
              <a:gd name="connsiteY37698" fmla="*/ 1096621 h 7458372"/>
              <a:gd name="connsiteX37699" fmla="*/ 8735083 w 10505529"/>
              <a:gd name="connsiteY37699" fmla="*/ 1088096 h 7458372"/>
              <a:gd name="connsiteX37700" fmla="*/ 8517438 w 10505529"/>
              <a:gd name="connsiteY37700" fmla="*/ 1088096 h 7458372"/>
              <a:gd name="connsiteX37701" fmla="*/ 8529152 w 10505529"/>
              <a:gd name="connsiteY37701" fmla="*/ 1090626 h 7458372"/>
              <a:gd name="connsiteX37702" fmla="*/ 8538470 w 10505529"/>
              <a:gd name="connsiteY37702" fmla="*/ 1097017 h 7458372"/>
              <a:gd name="connsiteX37703" fmla="*/ 8544594 w 10505529"/>
              <a:gd name="connsiteY37703" fmla="*/ 1106339 h 7458372"/>
              <a:gd name="connsiteX37704" fmla="*/ 8546857 w 10505529"/>
              <a:gd name="connsiteY37704" fmla="*/ 1117780 h 7458372"/>
              <a:gd name="connsiteX37705" fmla="*/ 8544594 w 10505529"/>
              <a:gd name="connsiteY37705" fmla="*/ 1129494 h 7458372"/>
              <a:gd name="connsiteX37706" fmla="*/ 8538470 w 10505529"/>
              <a:gd name="connsiteY37706" fmla="*/ 1138815 h 7458372"/>
              <a:gd name="connsiteX37707" fmla="*/ 8529152 w 10505529"/>
              <a:gd name="connsiteY37707" fmla="*/ 1145076 h 7458372"/>
              <a:gd name="connsiteX37708" fmla="*/ 8517438 w 10505529"/>
              <a:gd name="connsiteY37708" fmla="*/ 1147340 h 7458372"/>
              <a:gd name="connsiteX37709" fmla="*/ 8495606 w 10505529"/>
              <a:gd name="connsiteY37709" fmla="*/ 1138815 h 7458372"/>
              <a:gd name="connsiteX37710" fmla="*/ 8487220 w 10505529"/>
              <a:gd name="connsiteY37710" fmla="*/ 1117655 h 7458372"/>
              <a:gd name="connsiteX37711" fmla="*/ 8495606 w 10505529"/>
              <a:gd name="connsiteY37711" fmla="*/ 1096621 h 7458372"/>
              <a:gd name="connsiteX37712" fmla="*/ 8517438 w 10505529"/>
              <a:gd name="connsiteY37712" fmla="*/ 1088096 h 7458372"/>
              <a:gd name="connsiteX37713" fmla="*/ 8299793 w 10505529"/>
              <a:gd name="connsiteY37713" fmla="*/ 1088096 h 7458372"/>
              <a:gd name="connsiteX37714" fmla="*/ 8311507 w 10505529"/>
              <a:gd name="connsiteY37714" fmla="*/ 1090626 h 7458372"/>
              <a:gd name="connsiteX37715" fmla="*/ 8320825 w 10505529"/>
              <a:gd name="connsiteY37715" fmla="*/ 1097017 h 7458372"/>
              <a:gd name="connsiteX37716" fmla="*/ 8326948 w 10505529"/>
              <a:gd name="connsiteY37716" fmla="*/ 1106339 h 7458372"/>
              <a:gd name="connsiteX37717" fmla="*/ 8329212 w 10505529"/>
              <a:gd name="connsiteY37717" fmla="*/ 1117780 h 7458372"/>
              <a:gd name="connsiteX37718" fmla="*/ 8326948 w 10505529"/>
              <a:gd name="connsiteY37718" fmla="*/ 1129494 h 7458372"/>
              <a:gd name="connsiteX37719" fmla="*/ 8320825 w 10505529"/>
              <a:gd name="connsiteY37719" fmla="*/ 1138815 h 7458372"/>
              <a:gd name="connsiteX37720" fmla="*/ 8311507 w 10505529"/>
              <a:gd name="connsiteY37720" fmla="*/ 1145076 h 7458372"/>
              <a:gd name="connsiteX37721" fmla="*/ 8299793 w 10505529"/>
              <a:gd name="connsiteY37721" fmla="*/ 1147340 h 7458372"/>
              <a:gd name="connsiteX37722" fmla="*/ 8277960 w 10505529"/>
              <a:gd name="connsiteY37722" fmla="*/ 1138815 h 7458372"/>
              <a:gd name="connsiteX37723" fmla="*/ 8269574 w 10505529"/>
              <a:gd name="connsiteY37723" fmla="*/ 1117655 h 7458372"/>
              <a:gd name="connsiteX37724" fmla="*/ 8277960 w 10505529"/>
              <a:gd name="connsiteY37724" fmla="*/ 1096621 h 7458372"/>
              <a:gd name="connsiteX37725" fmla="*/ 8299793 w 10505529"/>
              <a:gd name="connsiteY37725" fmla="*/ 1088096 h 7458372"/>
              <a:gd name="connsiteX37726" fmla="*/ 8082281 w 10505529"/>
              <a:gd name="connsiteY37726" fmla="*/ 1088096 h 7458372"/>
              <a:gd name="connsiteX37727" fmla="*/ 8094127 w 10505529"/>
              <a:gd name="connsiteY37727" fmla="*/ 1090626 h 7458372"/>
              <a:gd name="connsiteX37728" fmla="*/ 8103446 w 10505529"/>
              <a:gd name="connsiteY37728" fmla="*/ 1097017 h 7458372"/>
              <a:gd name="connsiteX37729" fmla="*/ 8109569 w 10505529"/>
              <a:gd name="connsiteY37729" fmla="*/ 1106339 h 7458372"/>
              <a:gd name="connsiteX37730" fmla="*/ 8111832 w 10505529"/>
              <a:gd name="connsiteY37730" fmla="*/ 1117780 h 7458372"/>
              <a:gd name="connsiteX37731" fmla="*/ 8109569 w 10505529"/>
              <a:gd name="connsiteY37731" fmla="*/ 1129494 h 7458372"/>
              <a:gd name="connsiteX37732" fmla="*/ 8103446 w 10505529"/>
              <a:gd name="connsiteY37732" fmla="*/ 1138815 h 7458372"/>
              <a:gd name="connsiteX37733" fmla="*/ 8094127 w 10505529"/>
              <a:gd name="connsiteY37733" fmla="*/ 1145076 h 7458372"/>
              <a:gd name="connsiteX37734" fmla="*/ 8082281 w 10505529"/>
              <a:gd name="connsiteY37734" fmla="*/ 1147340 h 7458372"/>
              <a:gd name="connsiteX37735" fmla="*/ 8060448 w 10505529"/>
              <a:gd name="connsiteY37735" fmla="*/ 1138815 h 7458372"/>
              <a:gd name="connsiteX37736" fmla="*/ 8052062 w 10505529"/>
              <a:gd name="connsiteY37736" fmla="*/ 1117655 h 7458372"/>
              <a:gd name="connsiteX37737" fmla="*/ 8060448 w 10505529"/>
              <a:gd name="connsiteY37737" fmla="*/ 1096621 h 7458372"/>
              <a:gd name="connsiteX37738" fmla="*/ 8082281 w 10505529"/>
              <a:gd name="connsiteY37738" fmla="*/ 1088096 h 7458372"/>
              <a:gd name="connsiteX37739" fmla="*/ 7864636 w 10505529"/>
              <a:gd name="connsiteY37739" fmla="*/ 1088096 h 7458372"/>
              <a:gd name="connsiteX37740" fmla="*/ 7876483 w 10505529"/>
              <a:gd name="connsiteY37740" fmla="*/ 1090626 h 7458372"/>
              <a:gd name="connsiteX37741" fmla="*/ 7885802 w 10505529"/>
              <a:gd name="connsiteY37741" fmla="*/ 1097017 h 7458372"/>
              <a:gd name="connsiteX37742" fmla="*/ 7891924 w 10505529"/>
              <a:gd name="connsiteY37742" fmla="*/ 1106339 h 7458372"/>
              <a:gd name="connsiteX37743" fmla="*/ 7894188 w 10505529"/>
              <a:gd name="connsiteY37743" fmla="*/ 1117780 h 7458372"/>
              <a:gd name="connsiteX37744" fmla="*/ 7891924 w 10505529"/>
              <a:gd name="connsiteY37744" fmla="*/ 1129494 h 7458372"/>
              <a:gd name="connsiteX37745" fmla="*/ 7885802 w 10505529"/>
              <a:gd name="connsiteY37745" fmla="*/ 1138815 h 7458372"/>
              <a:gd name="connsiteX37746" fmla="*/ 7876483 w 10505529"/>
              <a:gd name="connsiteY37746" fmla="*/ 1145076 h 7458372"/>
              <a:gd name="connsiteX37747" fmla="*/ 7864636 w 10505529"/>
              <a:gd name="connsiteY37747" fmla="*/ 1147340 h 7458372"/>
              <a:gd name="connsiteX37748" fmla="*/ 7842803 w 10505529"/>
              <a:gd name="connsiteY37748" fmla="*/ 1138815 h 7458372"/>
              <a:gd name="connsiteX37749" fmla="*/ 7834417 w 10505529"/>
              <a:gd name="connsiteY37749" fmla="*/ 1117655 h 7458372"/>
              <a:gd name="connsiteX37750" fmla="*/ 7842803 w 10505529"/>
              <a:gd name="connsiteY37750" fmla="*/ 1096621 h 7458372"/>
              <a:gd name="connsiteX37751" fmla="*/ 7864636 w 10505529"/>
              <a:gd name="connsiteY37751" fmla="*/ 1088096 h 7458372"/>
              <a:gd name="connsiteX37752" fmla="*/ 7646991 w 10505529"/>
              <a:gd name="connsiteY37752" fmla="*/ 1088096 h 7458372"/>
              <a:gd name="connsiteX37753" fmla="*/ 7658705 w 10505529"/>
              <a:gd name="connsiteY37753" fmla="*/ 1090626 h 7458372"/>
              <a:gd name="connsiteX37754" fmla="*/ 7668022 w 10505529"/>
              <a:gd name="connsiteY37754" fmla="*/ 1097017 h 7458372"/>
              <a:gd name="connsiteX37755" fmla="*/ 7674146 w 10505529"/>
              <a:gd name="connsiteY37755" fmla="*/ 1106339 h 7458372"/>
              <a:gd name="connsiteX37756" fmla="*/ 7676409 w 10505529"/>
              <a:gd name="connsiteY37756" fmla="*/ 1117780 h 7458372"/>
              <a:gd name="connsiteX37757" fmla="*/ 7674146 w 10505529"/>
              <a:gd name="connsiteY37757" fmla="*/ 1129494 h 7458372"/>
              <a:gd name="connsiteX37758" fmla="*/ 7668022 w 10505529"/>
              <a:gd name="connsiteY37758" fmla="*/ 1138815 h 7458372"/>
              <a:gd name="connsiteX37759" fmla="*/ 7658705 w 10505529"/>
              <a:gd name="connsiteY37759" fmla="*/ 1145076 h 7458372"/>
              <a:gd name="connsiteX37760" fmla="*/ 7646991 w 10505529"/>
              <a:gd name="connsiteY37760" fmla="*/ 1147340 h 7458372"/>
              <a:gd name="connsiteX37761" fmla="*/ 7625158 w 10505529"/>
              <a:gd name="connsiteY37761" fmla="*/ 1138815 h 7458372"/>
              <a:gd name="connsiteX37762" fmla="*/ 7616772 w 10505529"/>
              <a:gd name="connsiteY37762" fmla="*/ 1117655 h 7458372"/>
              <a:gd name="connsiteX37763" fmla="*/ 7625158 w 10505529"/>
              <a:gd name="connsiteY37763" fmla="*/ 1096621 h 7458372"/>
              <a:gd name="connsiteX37764" fmla="*/ 7646991 w 10505529"/>
              <a:gd name="connsiteY37764" fmla="*/ 1088096 h 7458372"/>
              <a:gd name="connsiteX37765" fmla="*/ 7429345 w 10505529"/>
              <a:gd name="connsiteY37765" fmla="*/ 1088096 h 7458372"/>
              <a:gd name="connsiteX37766" fmla="*/ 7441059 w 10505529"/>
              <a:gd name="connsiteY37766" fmla="*/ 1090626 h 7458372"/>
              <a:gd name="connsiteX37767" fmla="*/ 7450377 w 10505529"/>
              <a:gd name="connsiteY37767" fmla="*/ 1097017 h 7458372"/>
              <a:gd name="connsiteX37768" fmla="*/ 7456501 w 10505529"/>
              <a:gd name="connsiteY37768" fmla="*/ 1106339 h 7458372"/>
              <a:gd name="connsiteX37769" fmla="*/ 7458764 w 10505529"/>
              <a:gd name="connsiteY37769" fmla="*/ 1117780 h 7458372"/>
              <a:gd name="connsiteX37770" fmla="*/ 7456501 w 10505529"/>
              <a:gd name="connsiteY37770" fmla="*/ 1129494 h 7458372"/>
              <a:gd name="connsiteX37771" fmla="*/ 7450377 w 10505529"/>
              <a:gd name="connsiteY37771" fmla="*/ 1138815 h 7458372"/>
              <a:gd name="connsiteX37772" fmla="*/ 7441059 w 10505529"/>
              <a:gd name="connsiteY37772" fmla="*/ 1145076 h 7458372"/>
              <a:gd name="connsiteX37773" fmla="*/ 7429345 w 10505529"/>
              <a:gd name="connsiteY37773" fmla="*/ 1147340 h 7458372"/>
              <a:gd name="connsiteX37774" fmla="*/ 7407513 w 10505529"/>
              <a:gd name="connsiteY37774" fmla="*/ 1138815 h 7458372"/>
              <a:gd name="connsiteX37775" fmla="*/ 7399127 w 10505529"/>
              <a:gd name="connsiteY37775" fmla="*/ 1117655 h 7458372"/>
              <a:gd name="connsiteX37776" fmla="*/ 7407513 w 10505529"/>
              <a:gd name="connsiteY37776" fmla="*/ 1096621 h 7458372"/>
              <a:gd name="connsiteX37777" fmla="*/ 7429345 w 10505529"/>
              <a:gd name="connsiteY37777" fmla="*/ 1088096 h 7458372"/>
              <a:gd name="connsiteX37778" fmla="*/ 7211701 w 10505529"/>
              <a:gd name="connsiteY37778" fmla="*/ 1088096 h 7458372"/>
              <a:gd name="connsiteX37779" fmla="*/ 7223415 w 10505529"/>
              <a:gd name="connsiteY37779" fmla="*/ 1090626 h 7458372"/>
              <a:gd name="connsiteX37780" fmla="*/ 7232733 w 10505529"/>
              <a:gd name="connsiteY37780" fmla="*/ 1097017 h 7458372"/>
              <a:gd name="connsiteX37781" fmla="*/ 7238856 w 10505529"/>
              <a:gd name="connsiteY37781" fmla="*/ 1106339 h 7458372"/>
              <a:gd name="connsiteX37782" fmla="*/ 7241120 w 10505529"/>
              <a:gd name="connsiteY37782" fmla="*/ 1117780 h 7458372"/>
              <a:gd name="connsiteX37783" fmla="*/ 7238856 w 10505529"/>
              <a:gd name="connsiteY37783" fmla="*/ 1129494 h 7458372"/>
              <a:gd name="connsiteX37784" fmla="*/ 7232733 w 10505529"/>
              <a:gd name="connsiteY37784" fmla="*/ 1138815 h 7458372"/>
              <a:gd name="connsiteX37785" fmla="*/ 7223415 w 10505529"/>
              <a:gd name="connsiteY37785" fmla="*/ 1145076 h 7458372"/>
              <a:gd name="connsiteX37786" fmla="*/ 7211701 w 10505529"/>
              <a:gd name="connsiteY37786" fmla="*/ 1147340 h 7458372"/>
              <a:gd name="connsiteX37787" fmla="*/ 7189868 w 10505529"/>
              <a:gd name="connsiteY37787" fmla="*/ 1138815 h 7458372"/>
              <a:gd name="connsiteX37788" fmla="*/ 7181482 w 10505529"/>
              <a:gd name="connsiteY37788" fmla="*/ 1117655 h 7458372"/>
              <a:gd name="connsiteX37789" fmla="*/ 7189868 w 10505529"/>
              <a:gd name="connsiteY37789" fmla="*/ 1096621 h 7458372"/>
              <a:gd name="connsiteX37790" fmla="*/ 7211701 w 10505529"/>
              <a:gd name="connsiteY37790" fmla="*/ 1088096 h 7458372"/>
              <a:gd name="connsiteX37791" fmla="*/ 6994056 w 10505529"/>
              <a:gd name="connsiteY37791" fmla="*/ 1088096 h 7458372"/>
              <a:gd name="connsiteX37792" fmla="*/ 7005769 w 10505529"/>
              <a:gd name="connsiteY37792" fmla="*/ 1090626 h 7458372"/>
              <a:gd name="connsiteX37793" fmla="*/ 7015087 w 10505529"/>
              <a:gd name="connsiteY37793" fmla="*/ 1097017 h 7458372"/>
              <a:gd name="connsiteX37794" fmla="*/ 7021211 w 10505529"/>
              <a:gd name="connsiteY37794" fmla="*/ 1106339 h 7458372"/>
              <a:gd name="connsiteX37795" fmla="*/ 7023474 w 10505529"/>
              <a:gd name="connsiteY37795" fmla="*/ 1117780 h 7458372"/>
              <a:gd name="connsiteX37796" fmla="*/ 7021211 w 10505529"/>
              <a:gd name="connsiteY37796" fmla="*/ 1129494 h 7458372"/>
              <a:gd name="connsiteX37797" fmla="*/ 7015087 w 10505529"/>
              <a:gd name="connsiteY37797" fmla="*/ 1138815 h 7458372"/>
              <a:gd name="connsiteX37798" fmla="*/ 7005769 w 10505529"/>
              <a:gd name="connsiteY37798" fmla="*/ 1145076 h 7458372"/>
              <a:gd name="connsiteX37799" fmla="*/ 6994056 w 10505529"/>
              <a:gd name="connsiteY37799" fmla="*/ 1147340 h 7458372"/>
              <a:gd name="connsiteX37800" fmla="*/ 6972223 w 10505529"/>
              <a:gd name="connsiteY37800" fmla="*/ 1138815 h 7458372"/>
              <a:gd name="connsiteX37801" fmla="*/ 6963837 w 10505529"/>
              <a:gd name="connsiteY37801" fmla="*/ 1117655 h 7458372"/>
              <a:gd name="connsiteX37802" fmla="*/ 6972223 w 10505529"/>
              <a:gd name="connsiteY37802" fmla="*/ 1096621 h 7458372"/>
              <a:gd name="connsiteX37803" fmla="*/ 6994056 w 10505529"/>
              <a:gd name="connsiteY37803" fmla="*/ 1088096 h 7458372"/>
              <a:gd name="connsiteX37804" fmla="*/ 6776544 w 10505529"/>
              <a:gd name="connsiteY37804" fmla="*/ 1088096 h 7458372"/>
              <a:gd name="connsiteX37805" fmla="*/ 6788258 w 10505529"/>
              <a:gd name="connsiteY37805" fmla="*/ 1090626 h 7458372"/>
              <a:gd name="connsiteX37806" fmla="*/ 6797576 w 10505529"/>
              <a:gd name="connsiteY37806" fmla="*/ 1097017 h 7458372"/>
              <a:gd name="connsiteX37807" fmla="*/ 6803699 w 10505529"/>
              <a:gd name="connsiteY37807" fmla="*/ 1106339 h 7458372"/>
              <a:gd name="connsiteX37808" fmla="*/ 6805963 w 10505529"/>
              <a:gd name="connsiteY37808" fmla="*/ 1117780 h 7458372"/>
              <a:gd name="connsiteX37809" fmla="*/ 6803699 w 10505529"/>
              <a:gd name="connsiteY37809" fmla="*/ 1129494 h 7458372"/>
              <a:gd name="connsiteX37810" fmla="*/ 6797576 w 10505529"/>
              <a:gd name="connsiteY37810" fmla="*/ 1138815 h 7458372"/>
              <a:gd name="connsiteX37811" fmla="*/ 6788258 w 10505529"/>
              <a:gd name="connsiteY37811" fmla="*/ 1145076 h 7458372"/>
              <a:gd name="connsiteX37812" fmla="*/ 6776544 w 10505529"/>
              <a:gd name="connsiteY37812" fmla="*/ 1147340 h 7458372"/>
              <a:gd name="connsiteX37813" fmla="*/ 6754711 w 10505529"/>
              <a:gd name="connsiteY37813" fmla="*/ 1138815 h 7458372"/>
              <a:gd name="connsiteX37814" fmla="*/ 6746325 w 10505529"/>
              <a:gd name="connsiteY37814" fmla="*/ 1117655 h 7458372"/>
              <a:gd name="connsiteX37815" fmla="*/ 6754711 w 10505529"/>
              <a:gd name="connsiteY37815" fmla="*/ 1096621 h 7458372"/>
              <a:gd name="connsiteX37816" fmla="*/ 6776544 w 10505529"/>
              <a:gd name="connsiteY37816" fmla="*/ 1088096 h 7458372"/>
              <a:gd name="connsiteX37817" fmla="*/ 6558899 w 10505529"/>
              <a:gd name="connsiteY37817" fmla="*/ 1088096 h 7458372"/>
              <a:gd name="connsiteX37818" fmla="*/ 6570612 w 10505529"/>
              <a:gd name="connsiteY37818" fmla="*/ 1090626 h 7458372"/>
              <a:gd name="connsiteX37819" fmla="*/ 6579930 w 10505529"/>
              <a:gd name="connsiteY37819" fmla="*/ 1097017 h 7458372"/>
              <a:gd name="connsiteX37820" fmla="*/ 6586054 w 10505529"/>
              <a:gd name="connsiteY37820" fmla="*/ 1106339 h 7458372"/>
              <a:gd name="connsiteX37821" fmla="*/ 6588317 w 10505529"/>
              <a:gd name="connsiteY37821" fmla="*/ 1117780 h 7458372"/>
              <a:gd name="connsiteX37822" fmla="*/ 6586054 w 10505529"/>
              <a:gd name="connsiteY37822" fmla="*/ 1129494 h 7458372"/>
              <a:gd name="connsiteX37823" fmla="*/ 6579930 w 10505529"/>
              <a:gd name="connsiteY37823" fmla="*/ 1138815 h 7458372"/>
              <a:gd name="connsiteX37824" fmla="*/ 6570612 w 10505529"/>
              <a:gd name="connsiteY37824" fmla="*/ 1145076 h 7458372"/>
              <a:gd name="connsiteX37825" fmla="*/ 6558899 w 10505529"/>
              <a:gd name="connsiteY37825" fmla="*/ 1147340 h 7458372"/>
              <a:gd name="connsiteX37826" fmla="*/ 6537066 w 10505529"/>
              <a:gd name="connsiteY37826" fmla="*/ 1138815 h 7458372"/>
              <a:gd name="connsiteX37827" fmla="*/ 6528680 w 10505529"/>
              <a:gd name="connsiteY37827" fmla="*/ 1117655 h 7458372"/>
              <a:gd name="connsiteX37828" fmla="*/ 6537066 w 10505529"/>
              <a:gd name="connsiteY37828" fmla="*/ 1096621 h 7458372"/>
              <a:gd name="connsiteX37829" fmla="*/ 6558899 w 10505529"/>
              <a:gd name="connsiteY37829" fmla="*/ 1088096 h 7458372"/>
              <a:gd name="connsiteX37830" fmla="*/ 6341253 w 10505529"/>
              <a:gd name="connsiteY37830" fmla="*/ 1088096 h 7458372"/>
              <a:gd name="connsiteX37831" fmla="*/ 6352968 w 10505529"/>
              <a:gd name="connsiteY37831" fmla="*/ 1090626 h 7458372"/>
              <a:gd name="connsiteX37832" fmla="*/ 6362286 w 10505529"/>
              <a:gd name="connsiteY37832" fmla="*/ 1097017 h 7458372"/>
              <a:gd name="connsiteX37833" fmla="*/ 6368409 w 10505529"/>
              <a:gd name="connsiteY37833" fmla="*/ 1106339 h 7458372"/>
              <a:gd name="connsiteX37834" fmla="*/ 6370672 w 10505529"/>
              <a:gd name="connsiteY37834" fmla="*/ 1117780 h 7458372"/>
              <a:gd name="connsiteX37835" fmla="*/ 6368409 w 10505529"/>
              <a:gd name="connsiteY37835" fmla="*/ 1129494 h 7458372"/>
              <a:gd name="connsiteX37836" fmla="*/ 6362286 w 10505529"/>
              <a:gd name="connsiteY37836" fmla="*/ 1138815 h 7458372"/>
              <a:gd name="connsiteX37837" fmla="*/ 6352968 w 10505529"/>
              <a:gd name="connsiteY37837" fmla="*/ 1145076 h 7458372"/>
              <a:gd name="connsiteX37838" fmla="*/ 6341253 w 10505529"/>
              <a:gd name="connsiteY37838" fmla="*/ 1147340 h 7458372"/>
              <a:gd name="connsiteX37839" fmla="*/ 6319421 w 10505529"/>
              <a:gd name="connsiteY37839" fmla="*/ 1138815 h 7458372"/>
              <a:gd name="connsiteX37840" fmla="*/ 6311035 w 10505529"/>
              <a:gd name="connsiteY37840" fmla="*/ 1117655 h 7458372"/>
              <a:gd name="connsiteX37841" fmla="*/ 6319421 w 10505529"/>
              <a:gd name="connsiteY37841" fmla="*/ 1096621 h 7458372"/>
              <a:gd name="connsiteX37842" fmla="*/ 6341253 w 10505529"/>
              <a:gd name="connsiteY37842" fmla="*/ 1088096 h 7458372"/>
              <a:gd name="connsiteX37843" fmla="*/ 6123608 w 10505529"/>
              <a:gd name="connsiteY37843" fmla="*/ 1088096 h 7458372"/>
              <a:gd name="connsiteX37844" fmla="*/ 6135322 w 10505529"/>
              <a:gd name="connsiteY37844" fmla="*/ 1090626 h 7458372"/>
              <a:gd name="connsiteX37845" fmla="*/ 6144640 w 10505529"/>
              <a:gd name="connsiteY37845" fmla="*/ 1097017 h 7458372"/>
              <a:gd name="connsiteX37846" fmla="*/ 6150763 w 10505529"/>
              <a:gd name="connsiteY37846" fmla="*/ 1106339 h 7458372"/>
              <a:gd name="connsiteX37847" fmla="*/ 6153026 w 10505529"/>
              <a:gd name="connsiteY37847" fmla="*/ 1117780 h 7458372"/>
              <a:gd name="connsiteX37848" fmla="*/ 6150763 w 10505529"/>
              <a:gd name="connsiteY37848" fmla="*/ 1129494 h 7458372"/>
              <a:gd name="connsiteX37849" fmla="*/ 6144640 w 10505529"/>
              <a:gd name="connsiteY37849" fmla="*/ 1138815 h 7458372"/>
              <a:gd name="connsiteX37850" fmla="*/ 6135322 w 10505529"/>
              <a:gd name="connsiteY37850" fmla="*/ 1145076 h 7458372"/>
              <a:gd name="connsiteX37851" fmla="*/ 6123608 w 10505529"/>
              <a:gd name="connsiteY37851" fmla="*/ 1147340 h 7458372"/>
              <a:gd name="connsiteX37852" fmla="*/ 6101775 w 10505529"/>
              <a:gd name="connsiteY37852" fmla="*/ 1138815 h 7458372"/>
              <a:gd name="connsiteX37853" fmla="*/ 6093389 w 10505529"/>
              <a:gd name="connsiteY37853" fmla="*/ 1117655 h 7458372"/>
              <a:gd name="connsiteX37854" fmla="*/ 6101775 w 10505529"/>
              <a:gd name="connsiteY37854" fmla="*/ 1096621 h 7458372"/>
              <a:gd name="connsiteX37855" fmla="*/ 6123608 w 10505529"/>
              <a:gd name="connsiteY37855" fmla="*/ 1088096 h 7458372"/>
              <a:gd name="connsiteX37856" fmla="*/ 5905963 w 10505529"/>
              <a:gd name="connsiteY37856" fmla="*/ 1088096 h 7458372"/>
              <a:gd name="connsiteX37857" fmla="*/ 5917677 w 10505529"/>
              <a:gd name="connsiteY37857" fmla="*/ 1090626 h 7458372"/>
              <a:gd name="connsiteX37858" fmla="*/ 5926995 w 10505529"/>
              <a:gd name="connsiteY37858" fmla="*/ 1097017 h 7458372"/>
              <a:gd name="connsiteX37859" fmla="*/ 5933118 w 10505529"/>
              <a:gd name="connsiteY37859" fmla="*/ 1106339 h 7458372"/>
              <a:gd name="connsiteX37860" fmla="*/ 5935381 w 10505529"/>
              <a:gd name="connsiteY37860" fmla="*/ 1117780 h 7458372"/>
              <a:gd name="connsiteX37861" fmla="*/ 5933118 w 10505529"/>
              <a:gd name="connsiteY37861" fmla="*/ 1129494 h 7458372"/>
              <a:gd name="connsiteX37862" fmla="*/ 5926995 w 10505529"/>
              <a:gd name="connsiteY37862" fmla="*/ 1138815 h 7458372"/>
              <a:gd name="connsiteX37863" fmla="*/ 5917677 w 10505529"/>
              <a:gd name="connsiteY37863" fmla="*/ 1145076 h 7458372"/>
              <a:gd name="connsiteX37864" fmla="*/ 5905963 w 10505529"/>
              <a:gd name="connsiteY37864" fmla="*/ 1147340 h 7458372"/>
              <a:gd name="connsiteX37865" fmla="*/ 5884130 w 10505529"/>
              <a:gd name="connsiteY37865" fmla="*/ 1138815 h 7458372"/>
              <a:gd name="connsiteX37866" fmla="*/ 5875744 w 10505529"/>
              <a:gd name="connsiteY37866" fmla="*/ 1117655 h 7458372"/>
              <a:gd name="connsiteX37867" fmla="*/ 5884130 w 10505529"/>
              <a:gd name="connsiteY37867" fmla="*/ 1096621 h 7458372"/>
              <a:gd name="connsiteX37868" fmla="*/ 5905963 w 10505529"/>
              <a:gd name="connsiteY37868" fmla="*/ 1088096 h 7458372"/>
              <a:gd name="connsiteX37869" fmla="*/ 5688451 w 10505529"/>
              <a:gd name="connsiteY37869" fmla="*/ 1088096 h 7458372"/>
              <a:gd name="connsiteX37870" fmla="*/ 5700165 w 10505529"/>
              <a:gd name="connsiteY37870" fmla="*/ 1090626 h 7458372"/>
              <a:gd name="connsiteX37871" fmla="*/ 5709483 w 10505529"/>
              <a:gd name="connsiteY37871" fmla="*/ 1097017 h 7458372"/>
              <a:gd name="connsiteX37872" fmla="*/ 5715606 w 10505529"/>
              <a:gd name="connsiteY37872" fmla="*/ 1106339 h 7458372"/>
              <a:gd name="connsiteX37873" fmla="*/ 5717869 w 10505529"/>
              <a:gd name="connsiteY37873" fmla="*/ 1117780 h 7458372"/>
              <a:gd name="connsiteX37874" fmla="*/ 5715606 w 10505529"/>
              <a:gd name="connsiteY37874" fmla="*/ 1129494 h 7458372"/>
              <a:gd name="connsiteX37875" fmla="*/ 5709483 w 10505529"/>
              <a:gd name="connsiteY37875" fmla="*/ 1138815 h 7458372"/>
              <a:gd name="connsiteX37876" fmla="*/ 5700165 w 10505529"/>
              <a:gd name="connsiteY37876" fmla="*/ 1145076 h 7458372"/>
              <a:gd name="connsiteX37877" fmla="*/ 5688451 w 10505529"/>
              <a:gd name="connsiteY37877" fmla="*/ 1147340 h 7458372"/>
              <a:gd name="connsiteX37878" fmla="*/ 5666618 w 10505529"/>
              <a:gd name="connsiteY37878" fmla="*/ 1138815 h 7458372"/>
              <a:gd name="connsiteX37879" fmla="*/ 5658232 w 10505529"/>
              <a:gd name="connsiteY37879" fmla="*/ 1117655 h 7458372"/>
              <a:gd name="connsiteX37880" fmla="*/ 5666618 w 10505529"/>
              <a:gd name="connsiteY37880" fmla="*/ 1096621 h 7458372"/>
              <a:gd name="connsiteX37881" fmla="*/ 5688451 w 10505529"/>
              <a:gd name="connsiteY37881" fmla="*/ 1088096 h 7458372"/>
              <a:gd name="connsiteX37882" fmla="*/ 5470806 w 10505529"/>
              <a:gd name="connsiteY37882" fmla="*/ 1088096 h 7458372"/>
              <a:gd name="connsiteX37883" fmla="*/ 5482520 w 10505529"/>
              <a:gd name="connsiteY37883" fmla="*/ 1090626 h 7458372"/>
              <a:gd name="connsiteX37884" fmla="*/ 5491838 w 10505529"/>
              <a:gd name="connsiteY37884" fmla="*/ 1097017 h 7458372"/>
              <a:gd name="connsiteX37885" fmla="*/ 5497961 w 10505529"/>
              <a:gd name="connsiteY37885" fmla="*/ 1106339 h 7458372"/>
              <a:gd name="connsiteX37886" fmla="*/ 5500224 w 10505529"/>
              <a:gd name="connsiteY37886" fmla="*/ 1117780 h 7458372"/>
              <a:gd name="connsiteX37887" fmla="*/ 5497961 w 10505529"/>
              <a:gd name="connsiteY37887" fmla="*/ 1129494 h 7458372"/>
              <a:gd name="connsiteX37888" fmla="*/ 5491838 w 10505529"/>
              <a:gd name="connsiteY37888" fmla="*/ 1138815 h 7458372"/>
              <a:gd name="connsiteX37889" fmla="*/ 5482520 w 10505529"/>
              <a:gd name="connsiteY37889" fmla="*/ 1145076 h 7458372"/>
              <a:gd name="connsiteX37890" fmla="*/ 5470806 w 10505529"/>
              <a:gd name="connsiteY37890" fmla="*/ 1147340 h 7458372"/>
              <a:gd name="connsiteX37891" fmla="*/ 5448973 w 10505529"/>
              <a:gd name="connsiteY37891" fmla="*/ 1138815 h 7458372"/>
              <a:gd name="connsiteX37892" fmla="*/ 5440587 w 10505529"/>
              <a:gd name="connsiteY37892" fmla="*/ 1117655 h 7458372"/>
              <a:gd name="connsiteX37893" fmla="*/ 5448973 w 10505529"/>
              <a:gd name="connsiteY37893" fmla="*/ 1096621 h 7458372"/>
              <a:gd name="connsiteX37894" fmla="*/ 5470806 w 10505529"/>
              <a:gd name="connsiteY37894" fmla="*/ 1088096 h 7458372"/>
              <a:gd name="connsiteX37895" fmla="*/ 5253160 w 10505529"/>
              <a:gd name="connsiteY37895" fmla="*/ 1088096 h 7458372"/>
              <a:gd name="connsiteX37896" fmla="*/ 5264875 w 10505529"/>
              <a:gd name="connsiteY37896" fmla="*/ 1090626 h 7458372"/>
              <a:gd name="connsiteX37897" fmla="*/ 5274192 w 10505529"/>
              <a:gd name="connsiteY37897" fmla="*/ 1097017 h 7458372"/>
              <a:gd name="connsiteX37898" fmla="*/ 5280316 w 10505529"/>
              <a:gd name="connsiteY37898" fmla="*/ 1106339 h 7458372"/>
              <a:gd name="connsiteX37899" fmla="*/ 5282579 w 10505529"/>
              <a:gd name="connsiteY37899" fmla="*/ 1117780 h 7458372"/>
              <a:gd name="connsiteX37900" fmla="*/ 5280316 w 10505529"/>
              <a:gd name="connsiteY37900" fmla="*/ 1129494 h 7458372"/>
              <a:gd name="connsiteX37901" fmla="*/ 5274192 w 10505529"/>
              <a:gd name="connsiteY37901" fmla="*/ 1138815 h 7458372"/>
              <a:gd name="connsiteX37902" fmla="*/ 5264875 w 10505529"/>
              <a:gd name="connsiteY37902" fmla="*/ 1145076 h 7458372"/>
              <a:gd name="connsiteX37903" fmla="*/ 5253160 w 10505529"/>
              <a:gd name="connsiteY37903" fmla="*/ 1147340 h 7458372"/>
              <a:gd name="connsiteX37904" fmla="*/ 5231328 w 10505529"/>
              <a:gd name="connsiteY37904" fmla="*/ 1138815 h 7458372"/>
              <a:gd name="connsiteX37905" fmla="*/ 5222942 w 10505529"/>
              <a:gd name="connsiteY37905" fmla="*/ 1117655 h 7458372"/>
              <a:gd name="connsiteX37906" fmla="*/ 5231328 w 10505529"/>
              <a:gd name="connsiteY37906" fmla="*/ 1096621 h 7458372"/>
              <a:gd name="connsiteX37907" fmla="*/ 5253160 w 10505529"/>
              <a:gd name="connsiteY37907" fmla="*/ 1088096 h 7458372"/>
              <a:gd name="connsiteX37908" fmla="*/ 5035515 w 10505529"/>
              <a:gd name="connsiteY37908" fmla="*/ 1088096 h 7458372"/>
              <a:gd name="connsiteX37909" fmla="*/ 5047230 w 10505529"/>
              <a:gd name="connsiteY37909" fmla="*/ 1090626 h 7458372"/>
              <a:gd name="connsiteX37910" fmla="*/ 5056548 w 10505529"/>
              <a:gd name="connsiteY37910" fmla="*/ 1097017 h 7458372"/>
              <a:gd name="connsiteX37911" fmla="*/ 5062671 w 10505529"/>
              <a:gd name="connsiteY37911" fmla="*/ 1106339 h 7458372"/>
              <a:gd name="connsiteX37912" fmla="*/ 5064934 w 10505529"/>
              <a:gd name="connsiteY37912" fmla="*/ 1117780 h 7458372"/>
              <a:gd name="connsiteX37913" fmla="*/ 5062671 w 10505529"/>
              <a:gd name="connsiteY37913" fmla="*/ 1129494 h 7458372"/>
              <a:gd name="connsiteX37914" fmla="*/ 5056548 w 10505529"/>
              <a:gd name="connsiteY37914" fmla="*/ 1138815 h 7458372"/>
              <a:gd name="connsiteX37915" fmla="*/ 5047230 w 10505529"/>
              <a:gd name="connsiteY37915" fmla="*/ 1145076 h 7458372"/>
              <a:gd name="connsiteX37916" fmla="*/ 5035515 w 10505529"/>
              <a:gd name="connsiteY37916" fmla="*/ 1147340 h 7458372"/>
              <a:gd name="connsiteX37917" fmla="*/ 5013683 w 10505529"/>
              <a:gd name="connsiteY37917" fmla="*/ 1138815 h 7458372"/>
              <a:gd name="connsiteX37918" fmla="*/ 5005297 w 10505529"/>
              <a:gd name="connsiteY37918" fmla="*/ 1117655 h 7458372"/>
              <a:gd name="connsiteX37919" fmla="*/ 5013683 w 10505529"/>
              <a:gd name="connsiteY37919" fmla="*/ 1096621 h 7458372"/>
              <a:gd name="connsiteX37920" fmla="*/ 5035515 w 10505529"/>
              <a:gd name="connsiteY37920" fmla="*/ 1088096 h 7458372"/>
              <a:gd name="connsiteX37921" fmla="*/ 4817870 w 10505529"/>
              <a:gd name="connsiteY37921" fmla="*/ 1088096 h 7458372"/>
              <a:gd name="connsiteX37922" fmla="*/ 4829585 w 10505529"/>
              <a:gd name="connsiteY37922" fmla="*/ 1090626 h 7458372"/>
              <a:gd name="connsiteX37923" fmla="*/ 4838903 w 10505529"/>
              <a:gd name="connsiteY37923" fmla="*/ 1097017 h 7458372"/>
              <a:gd name="connsiteX37924" fmla="*/ 4845026 w 10505529"/>
              <a:gd name="connsiteY37924" fmla="*/ 1106339 h 7458372"/>
              <a:gd name="connsiteX37925" fmla="*/ 4847289 w 10505529"/>
              <a:gd name="connsiteY37925" fmla="*/ 1117780 h 7458372"/>
              <a:gd name="connsiteX37926" fmla="*/ 4845026 w 10505529"/>
              <a:gd name="connsiteY37926" fmla="*/ 1129494 h 7458372"/>
              <a:gd name="connsiteX37927" fmla="*/ 4838903 w 10505529"/>
              <a:gd name="connsiteY37927" fmla="*/ 1138815 h 7458372"/>
              <a:gd name="connsiteX37928" fmla="*/ 4829585 w 10505529"/>
              <a:gd name="connsiteY37928" fmla="*/ 1145076 h 7458372"/>
              <a:gd name="connsiteX37929" fmla="*/ 4817870 w 10505529"/>
              <a:gd name="connsiteY37929" fmla="*/ 1147340 h 7458372"/>
              <a:gd name="connsiteX37930" fmla="*/ 4796038 w 10505529"/>
              <a:gd name="connsiteY37930" fmla="*/ 1138815 h 7458372"/>
              <a:gd name="connsiteX37931" fmla="*/ 4787652 w 10505529"/>
              <a:gd name="connsiteY37931" fmla="*/ 1117655 h 7458372"/>
              <a:gd name="connsiteX37932" fmla="*/ 4796038 w 10505529"/>
              <a:gd name="connsiteY37932" fmla="*/ 1096621 h 7458372"/>
              <a:gd name="connsiteX37933" fmla="*/ 4817870 w 10505529"/>
              <a:gd name="connsiteY37933" fmla="*/ 1088096 h 7458372"/>
              <a:gd name="connsiteX37934" fmla="*/ 4600226 w 10505529"/>
              <a:gd name="connsiteY37934" fmla="*/ 1088096 h 7458372"/>
              <a:gd name="connsiteX37935" fmla="*/ 4612073 w 10505529"/>
              <a:gd name="connsiteY37935" fmla="*/ 1090626 h 7458372"/>
              <a:gd name="connsiteX37936" fmla="*/ 4621391 w 10505529"/>
              <a:gd name="connsiteY37936" fmla="*/ 1097017 h 7458372"/>
              <a:gd name="connsiteX37937" fmla="*/ 4627514 w 10505529"/>
              <a:gd name="connsiteY37937" fmla="*/ 1106339 h 7458372"/>
              <a:gd name="connsiteX37938" fmla="*/ 4629777 w 10505529"/>
              <a:gd name="connsiteY37938" fmla="*/ 1117780 h 7458372"/>
              <a:gd name="connsiteX37939" fmla="*/ 4627514 w 10505529"/>
              <a:gd name="connsiteY37939" fmla="*/ 1129494 h 7458372"/>
              <a:gd name="connsiteX37940" fmla="*/ 4621391 w 10505529"/>
              <a:gd name="connsiteY37940" fmla="*/ 1138815 h 7458372"/>
              <a:gd name="connsiteX37941" fmla="*/ 4612073 w 10505529"/>
              <a:gd name="connsiteY37941" fmla="*/ 1145076 h 7458372"/>
              <a:gd name="connsiteX37942" fmla="*/ 4600226 w 10505529"/>
              <a:gd name="connsiteY37942" fmla="*/ 1147340 h 7458372"/>
              <a:gd name="connsiteX37943" fmla="*/ 4578393 w 10505529"/>
              <a:gd name="connsiteY37943" fmla="*/ 1138815 h 7458372"/>
              <a:gd name="connsiteX37944" fmla="*/ 4570007 w 10505529"/>
              <a:gd name="connsiteY37944" fmla="*/ 1117655 h 7458372"/>
              <a:gd name="connsiteX37945" fmla="*/ 4578393 w 10505529"/>
              <a:gd name="connsiteY37945" fmla="*/ 1096621 h 7458372"/>
              <a:gd name="connsiteX37946" fmla="*/ 4600226 w 10505529"/>
              <a:gd name="connsiteY37946" fmla="*/ 1088096 h 7458372"/>
              <a:gd name="connsiteX37947" fmla="*/ 4382713 w 10505529"/>
              <a:gd name="connsiteY37947" fmla="*/ 1088096 h 7458372"/>
              <a:gd name="connsiteX37948" fmla="*/ 4394428 w 10505529"/>
              <a:gd name="connsiteY37948" fmla="*/ 1090626 h 7458372"/>
              <a:gd name="connsiteX37949" fmla="*/ 4403746 w 10505529"/>
              <a:gd name="connsiteY37949" fmla="*/ 1097017 h 7458372"/>
              <a:gd name="connsiteX37950" fmla="*/ 4409869 w 10505529"/>
              <a:gd name="connsiteY37950" fmla="*/ 1106339 h 7458372"/>
              <a:gd name="connsiteX37951" fmla="*/ 4412132 w 10505529"/>
              <a:gd name="connsiteY37951" fmla="*/ 1117780 h 7458372"/>
              <a:gd name="connsiteX37952" fmla="*/ 4409869 w 10505529"/>
              <a:gd name="connsiteY37952" fmla="*/ 1129494 h 7458372"/>
              <a:gd name="connsiteX37953" fmla="*/ 4403746 w 10505529"/>
              <a:gd name="connsiteY37953" fmla="*/ 1138815 h 7458372"/>
              <a:gd name="connsiteX37954" fmla="*/ 4394428 w 10505529"/>
              <a:gd name="connsiteY37954" fmla="*/ 1145076 h 7458372"/>
              <a:gd name="connsiteX37955" fmla="*/ 4382713 w 10505529"/>
              <a:gd name="connsiteY37955" fmla="*/ 1147340 h 7458372"/>
              <a:gd name="connsiteX37956" fmla="*/ 4360881 w 10505529"/>
              <a:gd name="connsiteY37956" fmla="*/ 1138815 h 7458372"/>
              <a:gd name="connsiteX37957" fmla="*/ 4352495 w 10505529"/>
              <a:gd name="connsiteY37957" fmla="*/ 1117655 h 7458372"/>
              <a:gd name="connsiteX37958" fmla="*/ 4360881 w 10505529"/>
              <a:gd name="connsiteY37958" fmla="*/ 1096621 h 7458372"/>
              <a:gd name="connsiteX37959" fmla="*/ 4382713 w 10505529"/>
              <a:gd name="connsiteY37959" fmla="*/ 1088096 h 7458372"/>
              <a:gd name="connsiteX37960" fmla="*/ 4165068 w 10505529"/>
              <a:gd name="connsiteY37960" fmla="*/ 1088096 h 7458372"/>
              <a:gd name="connsiteX37961" fmla="*/ 4176782 w 10505529"/>
              <a:gd name="connsiteY37961" fmla="*/ 1090626 h 7458372"/>
              <a:gd name="connsiteX37962" fmla="*/ 4186100 w 10505529"/>
              <a:gd name="connsiteY37962" fmla="*/ 1097017 h 7458372"/>
              <a:gd name="connsiteX37963" fmla="*/ 4192223 w 10505529"/>
              <a:gd name="connsiteY37963" fmla="*/ 1106339 h 7458372"/>
              <a:gd name="connsiteX37964" fmla="*/ 4194486 w 10505529"/>
              <a:gd name="connsiteY37964" fmla="*/ 1117780 h 7458372"/>
              <a:gd name="connsiteX37965" fmla="*/ 4192223 w 10505529"/>
              <a:gd name="connsiteY37965" fmla="*/ 1129494 h 7458372"/>
              <a:gd name="connsiteX37966" fmla="*/ 4186100 w 10505529"/>
              <a:gd name="connsiteY37966" fmla="*/ 1138815 h 7458372"/>
              <a:gd name="connsiteX37967" fmla="*/ 4176782 w 10505529"/>
              <a:gd name="connsiteY37967" fmla="*/ 1145076 h 7458372"/>
              <a:gd name="connsiteX37968" fmla="*/ 4165068 w 10505529"/>
              <a:gd name="connsiteY37968" fmla="*/ 1147340 h 7458372"/>
              <a:gd name="connsiteX37969" fmla="*/ 4143235 w 10505529"/>
              <a:gd name="connsiteY37969" fmla="*/ 1138815 h 7458372"/>
              <a:gd name="connsiteX37970" fmla="*/ 4134849 w 10505529"/>
              <a:gd name="connsiteY37970" fmla="*/ 1117655 h 7458372"/>
              <a:gd name="connsiteX37971" fmla="*/ 4143235 w 10505529"/>
              <a:gd name="connsiteY37971" fmla="*/ 1096621 h 7458372"/>
              <a:gd name="connsiteX37972" fmla="*/ 4165068 w 10505529"/>
              <a:gd name="connsiteY37972" fmla="*/ 1088096 h 7458372"/>
              <a:gd name="connsiteX37973" fmla="*/ 3947489 w 10505529"/>
              <a:gd name="connsiteY37973" fmla="*/ 1088096 h 7458372"/>
              <a:gd name="connsiteX37974" fmla="*/ 3959204 w 10505529"/>
              <a:gd name="connsiteY37974" fmla="*/ 1090626 h 7458372"/>
              <a:gd name="connsiteX37975" fmla="*/ 3968521 w 10505529"/>
              <a:gd name="connsiteY37975" fmla="*/ 1097017 h 7458372"/>
              <a:gd name="connsiteX37976" fmla="*/ 3974645 w 10505529"/>
              <a:gd name="connsiteY37976" fmla="*/ 1106339 h 7458372"/>
              <a:gd name="connsiteX37977" fmla="*/ 3976909 w 10505529"/>
              <a:gd name="connsiteY37977" fmla="*/ 1117780 h 7458372"/>
              <a:gd name="connsiteX37978" fmla="*/ 3974645 w 10505529"/>
              <a:gd name="connsiteY37978" fmla="*/ 1129494 h 7458372"/>
              <a:gd name="connsiteX37979" fmla="*/ 3968521 w 10505529"/>
              <a:gd name="connsiteY37979" fmla="*/ 1138815 h 7458372"/>
              <a:gd name="connsiteX37980" fmla="*/ 3959204 w 10505529"/>
              <a:gd name="connsiteY37980" fmla="*/ 1145076 h 7458372"/>
              <a:gd name="connsiteX37981" fmla="*/ 3947489 w 10505529"/>
              <a:gd name="connsiteY37981" fmla="*/ 1147340 h 7458372"/>
              <a:gd name="connsiteX37982" fmla="*/ 3925656 w 10505529"/>
              <a:gd name="connsiteY37982" fmla="*/ 1138815 h 7458372"/>
              <a:gd name="connsiteX37983" fmla="*/ 3917270 w 10505529"/>
              <a:gd name="connsiteY37983" fmla="*/ 1117655 h 7458372"/>
              <a:gd name="connsiteX37984" fmla="*/ 3925656 w 10505529"/>
              <a:gd name="connsiteY37984" fmla="*/ 1096621 h 7458372"/>
              <a:gd name="connsiteX37985" fmla="*/ 3947489 w 10505529"/>
              <a:gd name="connsiteY37985" fmla="*/ 1088096 h 7458372"/>
              <a:gd name="connsiteX37986" fmla="*/ 3729840 w 10505529"/>
              <a:gd name="connsiteY37986" fmla="*/ 1088096 h 7458372"/>
              <a:gd name="connsiteX37987" fmla="*/ 3741555 w 10505529"/>
              <a:gd name="connsiteY37987" fmla="*/ 1090626 h 7458372"/>
              <a:gd name="connsiteX37988" fmla="*/ 3750873 w 10505529"/>
              <a:gd name="connsiteY37988" fmla="*/ 1097017 h 7458372"/>
              <a:gd name="connsiteX37989" fmla="*/ 3756996 w 10505529"/>
              <a:gd name="connsiteY37989" fmla="*/ 1106339 h 7458372"/>
              <a:gd name="connsiteX37990" fmla="*/ 3759259 w 10505529"/>
              <a:gd name="connsiteY37990" fmla="*/ 1117780 h 7458372"/>
              <a:gd name="connsiteX37991" fmla="*/ 3756996 w 10505529"/>
              <a:gd name="connsiteY37991" fmla="*/ 1129494 h 7458372"/>
              <a:gd name="connsiteX37992" fmla="*/ 3750873 w 10505529"/>
              <a:gd name="connsiteY37992" fmla="*/ 1138815 h 7458372"/>
              <a:gd name="connsiteX37993" fmla="*/ 3741555 w 10505529"/>
              <a:gd name="connsiteY37993" fmla="*/ 1145076 h 7458372"/>
              <a:gd name="connsiteX37994" fmla="*/ 3729840 w 10505529"/>
              <a:gd name="connsiteY37994" fmla="*/ 1147340 h 7458372"/>
              <a:gd name="connsiteX37995" fmla="*/ 3708007 w 10505529"/>
              <a:gd name="connsiteY37995" fmla="*/ 1138815 h 7458372"/>
              <a:gd name="connsiteX37996" fmla="*/ 3699621 w 10505529"/>
              <a:gd name="connsiteY37996" fmla="*/ 1117655 h 7458372"/>
              <a:gd name="connsiteX37997" fmla="*/ 3708007 w 10505529"/>
              <a:gd name="connsiteY37997" fmla="*/ 1096621 h 7458372"/>
              <a:gd name="connsiteX37998" fmla="*/ 3729840 w 10505529"/>
              <a:gd name="connsiteY37998" fmla="*/ 1088096 h 7458372"/>
              <a:gd name="connsiteX37999" fmla="*/ 3512191 w 10505529"/>
              <a:gd name="connsiteY37999" fmla="*/ 1088096 h 7458372"/>
              <a:gd name="connsiteX38000" fmla="*/ 3523907 w 10505529"/>
              <a:gd name="connsiteY38000" fmla="*/ 1090626 h 7458372"/>
              <a:gd name="connsiteX38001" fmla="*/ 3533225 w 10505529"/>
              <a:gd name="connsiteY38001" fmla="*/ 1097017 h 7458372"/>
              <a:gd name="connsiteX38002" fmla="*/ 3539348 w 10505529"/>
              <a:gd name="connsiteY38002" fmla="*/ 1106339 h 7458372"/>
              <a:gd name="connsiteX38003" fmla="*/ 3541611 w 10505529"/>
              <a:gd name="connsiteY38003" fmla="*/ 1117780 h 7458372"/>
              <a:gd name="connsiteX38004" fmla="*/ 3539348 w 10505529"/>
              <a:gd name="connsiteY38004" fmla="*/ 1129494 h 7458372"/>
              <a:gd name="connsiteX38005" fmla="*/ 3533225 w 10505529"/>
              <a:gd name="connsiteY38005" fmla="*/ 1138815 h 7458372"/>
              <a:gd name="connsiteX38006" fmla="*/ 3523907 w 10505529"/>
              <a:gd name="connsiteY38006" fmla="*/ 1145076 h 7458372"/>
              <a:gd name="connsiteX38007" fmla="*/ 3512191 w 10505529"/>
              <a:gd name="connsiteY38007" fmla="*/ 1147340 h 7458372"/>
              <a:gd name="connsiteX38008" fmla="*/ 3490359 w 10505529"/>
              <a:gd name="connsiteY38008" fmla="*/ 1138815 h 7458372"/>
              <a:gd name="connsiteX38009" fmla="*/ 3481972 w 10505529"/>
              <a:gd name="connsiteY38009" fmla="*/ 1117655 h 7458372"/>
              <a:gd name="connsiteX38010" fmla="*/ 3490359 w 10505529"/>
              <a:gd name="connsiteY38010" fmla="*/ 1096621 h 7458372"/>
              <a:gd name="connsiteX38011" fmla="*/ 3512191 w 10505529"/>
              <a:gd name="connsiteY38011" fmla="*/ 1088096 h 7458372"/>
              <a:gd name="connsiteX38012" fmla="*/ 3294676 w 10505529"/>
              <a:gd name="connsiteY38012" fmla="*/ 1088096 h 7458372"/>
              <a:gd name="connsiteX38013" fmla="*/ 3306392 w 10505529"/>
              <a:gd name="connsiteY38013" fmla="*/ 1090626 h 7458372"/>
              <a:gd name="connsiteX38014" fmla="*/ 3315710 w 10505529"/>
              <a:gd name="connsiteY38014" fmla="*/ 1097017 h 7458372"/>
              <a:gd name="connsiteX38015" fmla="*/ 3321833 w 10505529"/>
              <a:gd name="connsiteY38015" fmla="*/ 1106339 h 7458372"/>
              <a:gd name="connsiteX38016" fmla="*/ 3324096 w 10505529"/>
              <a:gd name="connsiteY38016" fmla="*/ 1117780 h 7458372"/>
              <a:gd name="connsiteX38017" fmla="*/ 3321833 w 10505529"/>
              <a:gd name="connsiteY38017" fmla="*/ 1129494 h 7458372"/>
              <a:gd name="connsiteX38018" fmla="*/ 3315710 w 10505529"/>
              <a:gd name="connsiteY38018" fmla="*/ 1138815 h 7458372"/>
              <a:gd name="connsiteX38019" fmla="*/ 3306392 w 10505529"/>
              <a:gd name="connsiteY38019" fmla="*/ 1145076 h 7458372"/>
              <a:gd name="connsiteX38020" fmla="*/ 3294676 w 10505529"/>
              <a:gd name="connsiteY38020" fmla="*/ 1147340 h 7458372"/>
              <a:gd name="connsiteX38021" fmla="*/ 3272843 w 10505529"/>
              <a:gd name="connsiteY38021" fmla="*/ 1138815 h 7458372"/>
              <a:gd name="connsiteX38022" fmla="*/ 3264457 w 10505529"/>
              <a:gd name="connsiteY38022" fmla="*/ 1117655 h 7458372"/>
              <a:gd name="connsiteX38023" fmla="*/ 3272843 w 10505529"/>
              <a:gd name="connsiteY38023" fmla="*/ 1096621 h 7458372"/>
              <a:gd name="connsiteX38024" fmla="*/ 3294676 w 10505529"/>
              <a:gd name="connsiteY38024" fmla="*/ 1088096 h 7458372"/>
              <a:gd name="connsiteX38025" fmla="*/ 3077027 w 10505529"/>
              <a:gd name="connsiteY38025" fmla="*/ 1088096 h 7458372"/>
              <a:gd name="connsiteX38026" fmla="*/ 3088743 w 10505529"/>
              <a:gd name="connsiteY38026" fmla="*/ 1090626 h 7458372"/>
              <a:gd name="connsiteX38027" fmla="*/ 3098061 w 10505529"/>
              <a:gd name="connsiteY38027" fmla="*/ 1097017 h 7458372"/>
              <a:gd name="connsiteX38028" fmla="*/ 3104184 w 10505529"/>
              <a:gd name="connsiteY38028" fmla="*/ 1106339 h 7458372"/>
              <a:gd name="connsiteX38029" fmla="*/ 3106447 w 10505529"/>
              <a:gd name="connsiteY38029" fmla="*/ 1117780 h 7458372"/>
              <a:gd name="connsiteX38030" fmla="*/ 3104184 w 10505529"/>
              <a:gd name="connsiteY38030" fmla="*/ 1129494 h 7458372"/>
              <a:gd name="connsiteX38031" fmla="*/ 3098061 w 10505529"/>
              <a:gd name="connsiteY38031" fmla="*/ 1138815 h 7458372"/>
              <a:gd name="connsiteX38032" fmla="*/ 3088743 w 10505529"/>
              <a:gd name="connsiteY38032" fmla="*/ 1145076 h 7458372"/>
              <a:gd name="connsiteX38033" fmla="*/ 3077027 w 10505529"/>
              <a:gd name="connsiteY38033" fmla="*/ 1147340 h 7458372"/>
              <a:gd name="connsiteX38034" fmla="*/ 3055195 w 10505529"/>
              <a:gd name="connsiteY38034" fmla="*/ 1138815 h 7458372"/>
              <a:gd name="connsiteX38035" fmla="*/ 3046809 w 10505529"/>
              <a:gd name="connsiteY38035" fmla="*/ 1117655 h 7458372"/>
              <a:gd name="connsiteX38036" fmla="*/ 3055195 w 10505529"/>
              <a:gd name="connsiteY38036" fmla="*/ 1096621 h 7458372"/>
              <a:gd name="connsiteX38037" fmla="*/ 3077027 w 10505529"/>
              <a:gd name="connsiteY38037" fmla="*/ 1088096 h 7458372"/>
              <a:gd name="connsiteX38038" fmla="*/ 2859379 w 10505529"/>
              <a:gd name="connsiteY38038" fmla="*/ 1088096 h 7458372"/>
              <a:gd name="connsiteX38039" fmla="*/ 2871228 w 10505529"/>
              <a:gd name="connsiteY38039" fmla="*/ 1090626 h 7458372"/>
              <a:gd name="connsiteX38040" fmla="*/ 2880546 w 10505529"/>
              <a:gd name="connsiteY38040" fmla="*/ 1097017 h 7458372"/>
              <a:gd name="connsiteX38041" fmla="*/ 2886669 w 10505529"/>
              <a:gd name="connsiteY38041" fmla="*/ 1106339 h 7458372"/>
              <a:gd name="connsiteX38042" fmla="*/ 2888932 w 10505529"/>
              <a:gd name="connsiteY38042" fmla="*/ 1117780 h 7458372"/>
              <a:gd name="connsiteX38043" fmla="*/ 2886669 w 10505529"/>
              <a:gd name="connsiteY38043" fmla="*/ 1129494 h 7458372"/>
              <a:gd name="connsiteX38044" fmla="*/ 2880546 w 10505529"/>
              <a:gd name="connsiteY38044" fmla="*/ 1138815 h 7458372"/>
              <a:gd name="connsiteX38045" fmla="*/ 2871228 w 10505529"/>
              <a:gd name="connsiteY38045" fmla="*/ 1145076 h 7458372"/>
              <a:gd name="connsiteX38046" fmla="*/ 2859379 w 10505529"/>
              <a:gd name="connsiteY38046" fmla="*/ 1147340 h 7458372"/>
              <a:gd name="connsiteX38047" fmla="*/ 2837548 w 10505529"/>
              <a:gd name="connsiteY38047" fmla="*/ 1138815 h 7458372"/>
              <a:gd name="connsiteX38048" fmla="*/ 2829161 w 10505529"/>
              <a:gd name="connsiteY38048" fmla="*/ 1117655 h 7458372"/>
              <a:gd name="connsiteX38049" fmla="*/ 2837548 w 10505529"/>
              <a:gd name="connsiteY38049" fmla="*/ 1096621 h 7458372"/>
              <a:gd name="connsiteX38050" fmla="*/ 2859379 w 10505529"/>
              <a:gd name="connsiteY38050" fmla="*/ 1088096 h 7458372"/>
              <a:gd name="connsiteX38051" fmla="*/ 2641731 w 10505529"/>
              <a:gd name="connsiteY38051" fmla="*/ 1088096 h 7458372"/>
              <a:gd name="connsiteX38052" fmla="*/ 2653446 w 10505529"/>
              <a:gd name="connsiteY38052" fmla="*/ 1090626 h 7458372"/>
              <a:gd name="connsiteX38053" fmla="*/ 2662764 w 10505529"/>
              <a:gd name="connsiteY38053" fmla="*/ 1097017 h 7458372"/>
              <a:gd name="connsiteX38054" fmla="*/ 2668888 w 10505529"/>
              <a:gd name="connsiteY38054" fmla="*/ 1106339 h 7458372"/>
              <a:gd name="connsiteX38055" fmla="*/ 2671151 w 10505529"/>
              <a:gd name="connsiteY38055" fmla="*/ 1117780 h 7458372"/>
              <a:gd name="connsiteX38056" fmla="*/ 2668888 w 10505529"/>
              <a:gd name="connsiteY38056" fmla="*/ 1129494 h 7458372"/>
              <a:gd name="connsiteX38057" fmla="*/ 2662764 w 10505529"/>
              <a:gd name="connsiteY38057" fmla="*/ 1138815 h 7458372"/>
              <a:gd name="connsiteX38058" fmla="*/ 2653446 w 10505529"/>
              <a:gd name="connsiteY38058" fmla="*/ 1145076 h 7458372"/>
              <a:gd name="connsiteX38059" fmla="*/ 2641731 w 10505529"/>
              <a:gd name="connsiteY38059" fmla="*/ 1147340 h 7458372"/>
              <a:gd name="connsiteX38060" fmla="*/ 2619899 w 10505529"/>
              <a:gd name="connsiteY38060" fmla="*/ 1138815 h 7458372"/>
              <a:gd name="connsiteX38061" fmla="*/ 2611513 w 10505529"/>
              <a:gd name="connsiteY38061" fmla="*/ 1117655 h 7458372"/>
              <a:gd name="connsiteX38062" fmla="*/ 2619899 w 10505529"/>
              <a:gd name="connsiteY38062" fmla="*/ 1096621 h 7458372"/>
              <a:gd name="connsiteX38063" fmla="*/ 2641731 w 10505529"/>
              <a:gd name="connsiteY38063" fmla="*/ 1088096 h 7458372"/>
              <a:gd name="connsiteX38064" fmla="*/ 2424082 w 10505529"/>
              <a:gd name="connsiteY38064" fmla="*/ 1088096 h 7458372"/>
              <a:gd name="connsiteX38065" fmla="*/ 2435798 w 10505529"/>
              <a:gd name="connsiteY38065" fmla="*/ 1090626 h 7458372"/>
              <a:gd name="connsiteX38066" fmla="*/ 2445116 w 10505529"/>
              <a:gd name="connsiteY38066" fmla="*/ 1097017 h 7458372"/>
              <a:gd name="connsiteX38067" fmla="*/ 2451239 w 10505529"/>
              <a:gd name="connsiteY38067" fmla="*/ 1106339 h 7458372"/>
              <a:gd name="connsiteX38068" fmla="*/ 2453502 w 10505529"/>
              <a:gd name="connsiteY38068" fmla="*/ 1117780 h 7458372"/>
              <a:gd name="connsiteX38069" fmla="*/ 2451239 w 10505529"/>
              <a:gd name="connsiteY38069" fmla="*/ 1129494 h 7458372"/>
              <a:gd name="connsiteX38070" fmla="*/ 2445116 w 10505529"/>
              <a:gd name="connsiteY38070" fmla="*/ 1138815 h 7458372"/>
              <a:gd name="connsiteX38071" fmla="*/ 2435798 w 10505529"/>
              <a:gd name="connsiteY38071" fmla="*/ 1145076 h 7458372"/>
              <a:gd name="connsiteX38072" fmla="*/ 2424082 w 10505529"/>
              <a:gd name="connsiteY38072" fmla="*/ 1147340 h 7458372"/>
              <a:gd name="connsiteX38073" fmla="*/ 2402251 w 10505529"/>
              <a:gd name="connsiteY38073" fmla="*/ 1138815 h 7458372"/>
              <a:gd name="connsiteX38074" fmla="*/ 2393864 w 10505529"/>
              <a:gd name="connsiteY38074" fmla="*/ 1117655 h 7458372"/>
              <a:gd name="connsiteX38075" fmla="*/ 2402251 w 10505529"/>
              <a:gd name="connsiteY38075" fmla="*/ 1096621 h 7458372"/>
              <a:gd name="connsiteX38076" fmla="*/ 2424082 w 10505529"/>
              <a:gd name="connsiteY38076" fmla="*/ 1088096 h 7458372"/>
              <a:gd name="connsiteX38077" fmla="*/ 2206434 w 10505529"/>
              <a:gd name="connsiteY38077" fmla="*/ 1088096 h 7458372"/>
              <a:gd name="connsiteX38078" fmla="*/ 2218149 w 10505529"/>
              <a:gd name="connsiteY38078" fmla="*/ 1090626 h 7458372"/>
              <a:gd name="connsiteX38079" fmla="*/ 2227468 w 10505529"/>
              <a:gd name="connsiteY38079" fmla="*/ 1097017 h 7458372"/>
              <a:gd name="connsiteX38080" fmla="*/ 2233591 w 10505529"/>
              <a:gd name="connsiteY38080" fmla="*/ 1106339 h 7458372"/>
              <a:gd name="connsiteX38081" fmla="*/ 2235854 w 10505529"/>
              <a:gd name="connsiteY38081" fmla="*/ 1117780 h 7458372"/>
              <a:gd name="connsiteX38082" fmla="*/ 2233591 w 10505529"/>
              <a:gd name="connsiteY38082" fmla="*/ 1129494 h 7458372"/>
              <a:gd name="connsiteX38083" fmla="*/ 2227468 w 10505529"/>
              <a:gd name="connsiteY38083" fmla="*/ 1138815 h 7458372"/>
              <a:gd name="connsiteX38084" fmla="*/ 2218149 w 10505529"/>
              <a:gd name="connsiteY38084" fmla="*/ 1145076 h 7458372"/>
              <a:gd name="connsiteX38085" fmla="*/ 2206434 w 10505529"/>
              <a:gd name="connsiteY38085" fmla="*/ 1147340 h 7458372"/>
              <a:gd name="connsiteX38086" fmla="*/ 2184603 w 10505529"/>
              <a:gd name="connsiteY38086" fmla="*/ 1138815 h 7458372"/>
              <a:gd name="connsiteX38087" fmla="*/ 2176216 w 10505529"/>
              <a:gd name="connsiteY38087" fmla="*/ 1117655 h 7458372"/>
              <a:gd name="connsiteX38088" fmla="*/ 2184603 w 10505529"/>
              <a:gd name="connsiteY38088" fmla="*/ 1096621 h 7458372"/>
              <a:gd name="connsiteX38089" fmla="*/ 2206434 w 10505529"/>
              <a:gd name="connsiteY38089" fmla="*/ 1088096 h 7458372"/>
              <a:gd name="connsiteX38090" fmla="*/ 1988919 w 10505529"/>
              <a:gd name="connsiteY38090" fmla="*/ 1088096 h 7458372"/>
              <a:gd name="connsiteX38091" fmla="*/ 2000634 w 10505529"/>
              <a:gd name="connsiteY38091" fmla="*/ 1090626 h 7458372"/>
              <a:gd name="connsiteX38092" fmla="*/ 2009952 w 10505529"/>
              <a:gd name="connsiteY38092" fmla="*/ 1097017 h 7458372"/>
              <a:gd name="connsiteX38093" fmla="*/ 2016075 w 10505529"/>
              <a:gd name="connsiteY38093" fmla="*/ 1106339 h 7458372"/>
              <a:gd name="connsiteX38094" fmla="*/ 2018338 w 10505529"/>
              <a:gd name="connsiteY38094" fmla="*/ 1117780 h 7458372"/>
              <a:gd name="connsiteX38095" fmla="*/ 2016075 w 10505529"/>
              <a:gd name="connsiteY38095" fmla="*/ 1129494 h 7458372"/>
              <a:gd name="connsiteX38096" fmla="*/ 2009952 w 10505529"/>
              <a:gd name="connsiteY38096" fmla="*/ 1138815 h 7458372"/>
              <a:gd name="connsiteX38097" fmla="*/ 2000634 w 10505529"/>
              <a:gd name="connsiteY38097" fmla="*/ 1145076 h 7458372"/>
              <a:gd name="connsiteX38098" fmla="*/ 1988919 w 10505529"/>
              <a:gd name="connsiteY38098" fmla="*/ 1147340 h 7458372"/>
              <a:gd name="connsiteX38099" fmla="*/ 1967088 w 10505529"/>
              <a:gd name="connsiteY38099" fmla="*/ 1138815 h 7458372"/>
              <a:gd name="connsiteX38100" fmla="*/ 1958701 w 10505529"/>
              <a:gd name="connsiteY38100" fmla="*/ 1117655 h 7458372"/>
              <a:gd name="connsiteX38101" fmla="*/ 1967088 w 10505529"/>
              <a:gd name="connsiteY38101" fmla="*/ 1096621 h 7458372"/>
              <a:gd name="connsiteX38102" fmla="*/ 1988919 w 10505529"/>
              <a:gd name="connsiteY38102" fmla="*/ 1088096 h 7458372"/>
              <a:gd name="connsiteX38103" fmla="*/ 1771276 w 10505529"/>
              <a:gd name="connsiteY38103" fmla="*/ 1088096 h 7458372"/>
              <a:gd name="connsiteX38104" fmla="*/ 1782991 w 10505529"/>
              <a:gd name="connsiteY38104" fmla="*/ 1090626 h 7458372"/>
              <a:gd name="connsiteX38105" fmla="*/ 1792309 w 10505529"/>
              <a:gd name="connsiteY38105" fmla="*/ 1097017 h 7458372"/>
              <a:gd name="connsiteX38106" fmla="*/ 1798432 w 10505529"/>
              <a:gd name="connsiteY38106" fmla="*/ 1106339 h 7458372"/>
              <a:gd name="connsiteX38107" fmla="*/ 1800695 w 10505529"/>
              <a:gd name="connsiteY38107" fmla="*/ 1117780 h 7458372"/>
              <a:gd name="connsiteX38108" fmla="*/ 1798432 w 10505529"/>
              <a:gd name="connsiteY38108" fmla="*/ 1129494 h 7458372"/>
              <a:gd name="connsiteX38109" fmla="*/ 1792309 w 10505529"/>
              <a:gd name="connsiteY38109" fmla="*/ 1138815 h 7458372"/>
              <a:gd name="connsiteX38110" fmla="*/ 1782991 w 10505529"/>
              <a:gd name="connsiteY38110" fmla="*/ 1145076 h 7458372"/>
              <a:gd name="connsiteX38111" fmla="*/ 1771276 w 10505529"/>
              <a:gd name="connsiteY38111" fmla="*/ 1147340 h 7458372"/>
              <a:gd name="connsiteX38112" fmla="*/ 1749446 w 10505529"/>
              <a:gd name="connsiteY38112" fmla="*/ 1138815 h 7458372"/>
              <a:gd name="connsiteX38113" fmla="*/ 1741060 w 10505529"/>
              <a:gd name="connsiteY38113" fmla="*/ 1117655 h 7458372"/>
              <a:gd name="connsiteX38114" fmla="*/ 1749446 w 10505529"/>
              <a:gd name="connsiteY38114" fmla="*/ 1096621 h 7458372"/>
              <a:gd name="connsiteX38115" fmla="*/ 1771276 w 10505529"/>
              <a:gd name="connsiteY38115" fmla="*/ 1088096 h 7458372"/>
              <a:gd name="connsiteX38116" fmla="*/ 1553633 w 10505529"/>
              <a:gd name="connsiteY38116" fmla="*/ 1088096 h 7458372"/>
              <a:gd name="connsiteX38117" fmla="*/ 1565347 w 10505529"/>
              <a:gd name="connsiteY38117" fmla="*/ 1090626 h 7458372"/>
              <a:gd name="connsiteX38118" fmla="*/ 1574666 w 10505529"/>
              <a:gd name="connsiteY38118" fmla="*/ 1097017 h 7458372"/>
              <a:gd name="connsiteX38119" fmla="*/ 1580789 w 10505529"/>
              <a:gd name="connsiteY38119" fmla="*/ 1106339 h 7458372"/>
              <a:gd name="connsiteX38120" fmla="*/ 1583052 w 10505529"/>
              <a:gd name="connsiteY38120" fmla="*/ 1117780 h 7458372"/>
              <a:gd name="connsiteX38121" fmla="*/ 1580789 w 10505529"/>
              <a:gd name="connsiteY38121" fmla="*/ 1129494 h 7458372"/>
              <a:gd name="connsiteX38122" fmla="*/ 1574666 w 10505529"/>
              <a:gd name="connsiteY38122" fmla="*/ 1138815 h 7458372"/>
              <a:gd name="connsiteX38123" fmla="*/ 1565347 w 10505529"/>
              <a:gd name="connsiteY38123" fmla="*/ 1145076 h 7458372"/>
              <a:gd name="connsiteX38124" fmla="*/ 1553633 w 10505529"/>
              <a:gd name="connsiteY38124" fmla="*/ 1147340 h 7458372"/>
              <a:gd name="connsiteX38125" fmla="*/ 1531801 w 10505529"/>
              <a:gd name="connsiteY38125" fmla="*/ 1138815 h 7458372"/>
              <a:gd name="connsiteX38126" fmla="*/ 1523415 w 10505529"/>
              <a:gd name="connsiteY38126" fmla="*/ 1117655 h 7458372"/>
              <a:gd name="connsiteX38127" fmla="*/ 1531801 w 10505529"/>
              <a:gd name="connsiteY38127" fmla="*/ 1096621 h 7458372"/>
              <a:gd name="connsiteX38128" fmla="*/ 1553633 w 10505529"/>
              <a:gd name="connsiteY38128" fmla="*/ 1088096 h 7458372"/>
              <a:gd name="connsiteX38129" fmla="*/ 1335988 w 10505529"/>
              <a:gd name="connsiteY38129" fmla="*/ 1088096 h 7458372"/>
              <a:gd name="connsiteX38130" fmla="*/ 1347703 w 10505529"/>
              <a:gd name="connsiteY38130" fmla="*/ 1090626 h 7458372"/>
              <a:gd name="connsiteX38131" fmla="*/ 1357022 w 10505529"/>
              <a:gd name="connsiteY38131" fmla="*/ 1097017 h 7458372"/>
              <a:gd name="connsiteX38132" fmla="*/ 1363144 w 10505529"/>
              <a:gd name="connsiteY38132" fmla="*/ 1106339 h 7458372"/>
              <a:gd name="connsiteX38133" fmla="*/ 1365408 w 10505529"/>
              <a:gd name="connsiteY38133" fmla="*/ 1117780 h 7458372"/>
              <a:gd name="connsiteX38134" fmla="*/ 1363144 w 10505529"/>
              <a:gd name="connsiteY38134" fmla="*/ 1129494 h 7458372"/>
              <a:gd name="connsiteX38135" fmla="*/ 1357022 w 10505529"/>
              <a:gd name="connsiteY38135" fmla="*/ 1138815 h 7458372"/>
              <a:gd name="connsiteX38136" fmla="*/ 1347703 w 10505529"/>
              <a:gd name="connsiteY38136" fmla="*/ 1145076 h 7458372"/>
              <a:gd name="connsiteX38137" fmla="*/ 1335988 w 10505529"/>
              <a:gd name="connsiteY38137" fmla="*/ 1147340 h 7458372"/>
              <a:gd name="connsiteX38138" fmla="*/ 1314156 w 10505529"/>
              <a:gd name="connsiteY38138" fmla="*/ 1138815 h 7458372"/>
              <a:gd name="connsiteX38139" fmla="*/ 1305771 w 10505529"/>
              <a:gd name="connsiteY38139" fmla="*/ 1117655 h 7458372"/>
              <a:gd name="connsiteX38140" fmla="*/ 1314156 w 10505529"/>
              <a:gd name="connsiteY38140" fmla="*/ 1096621 h 7458372"/>
              <a:gd name="connsiteX38141" fmla="*/ 1335988 w 10505529"/>
              <a:gd name="connsiteY38141" fmla="*/ 1088096 h 7458372"/>
              <a:gd name="connsiteX38142" fmla="*/ 1118343 w 10505529"/>
              <a:gd name="connsiteY38142" fmla="*/ 1088096 h 7458372"/>
              <a:gd name="connsiteX38143" fmla="*/ 1130059 w 10505529"/>
              <a:gd name="connsiteY38143" fmla="*/ 1090626 h 7458372"/>
              <a:gd name="connsiteX38144" fmla="*/ 1139377 w 10505529"/>
              <a:gd name="connsiteY38144" fmla="*/ 1097017 h 7458372"/>
              <a:gd name="connsiteX38145" fmla="*/ 1145499 w 10505529"/>
              <a:gd name="connsiteY38145" fmla="*/ 1106339 h 7458372"/>
              <a:gd name="connsiteX38146" fmla="*/ 1147762 w 10505529"/>
              <a:gd name="connsiteY38146" fmla="*/ 1117780 h 7458372"/>
              <a:gd name="connsiteX38147" fmla="*/ 1145499 w 10505529"/>
              <a:gd name="connsiteY38147" fmla="*/ 1129494 h 7458372"/>
              <a:gd name="connsiteX38148" fmla="*/ 1139377 w 10505529"/>
              <a:gd name="connsiteY38148" fmla="*/ 1138815 h 7458372"/>
              <a:gd name="connsiteX38149" fmla="*/ 1130059 w 10505529"/>
              <a:gd name="connsiteY38149" fmla="*/ 1145076 h 7458372"/>
              <a:gd name="connsiteX38150" fmla="*/ 1118343 w 10505529"/>
              <a:gd name="connsiteY38150" fmla="*/ 1147340 h 7458372"/>
              <a:gd name="connsiteX38151" fmla="*/ 1096511 w 10505529"/>
              <a:gd name="connsiteY38151" fmla="*/ 1138815 h 7458372"/>
              <a:gd name="connsiteX38152" fmla="*/ 1088125 w 10505529"/>
              <a:gd name="connsiteY38152" fmla="*/ 1117655 h 7458372"/>
              <a:gd name="connsiteX38153" fmla="*/ 1096511 w 10505529"/>
              <a:gd name="connsiteY38153" fmla="*/ 1096621 h 7458372"/>
              <a:gd name="connsiteX38154" fmla="*/ 1118343 w 10505529"/>
              <a:gd name="connsiteY38154" fmla="*/ 1088096 h 7458372"/>
              <a:gd name="connsiteX38155" fmla="*/ 900831 w 10505529"/>
              <a:gd name="connsiteY38155" fmla="*/ 1088096 h 7458372"/>
              <a:gd name="connsiteX38156" fmla="*/ 912546 w 10505529"/>
              <a:gd name="connsiteY38156" fmla="*/ 1090626 h 7458372"/>
              <a:gd name="connsiteX38157" fmla="*/ 921864 w 10505529"/>
              <a:gd name="connsiteY38157" fmla="*/ 1097017 h 7458372"/>
              <a:gd name="connsiteX38158" fmla="*/ 927987 w 10505529"/>
              <a:gd name="connsiteY38158" fmla="*/ 1106339 h 7458372"/>
              <a:gd name="connsiteX38159" fmla="*/ 930250 w 10505529"/>
              <a:gd name="connsiteY38159" fmla="*/ 1117780 h 7458372"/>
              <a:gd name="connsiteX38160" fmla="*/ 927987 w 10505529"/>
              <a:gd name="connsiteY38160" fmla="*/ 1129494 h 7458372"/>
              <a:gd name="connsiteX38161" fmla="*/ 921864 w 10505529"/>
              <a:gd name="connsiteY38161" fmla="*/ 1138815 h 7458372"/>
              <a:gd name="connsiteX38162" fmla="*/ 912546 w 10505529"/>
              <a:gd name="connsiteY38162" fmla="*/ 1145076 h 7458372"/>
              <a:gd name="connsiteX38163" fmla="*/ 900831 w 10505529"/>
              <a:gd name="connsiteY38163" fmla="*/ 1147340 h 7458372"/>
              <a:gd name="connsiteX38164" fmla="*/ 879000 w 10505529"/>
              <a:gd name="connsiteY38164" fmla="*/ 1138815 h 7458372"/>
              <a:gd name="connsiteX38165" fmla="*/ 870614 w 10505529"/>
              <a:gd name="connsiteY38165" fmla="*/ 1117655 h 7458372"/>
              <a:gd name="connsiteX38166" fmla="*/ 879000 w 10505529"/>
              <a:gd name="connsiteY38166" fmla="*/ 1096621 h 7458372"/>
              <a:gd name="connsiteX38167" fmla="*/ 900831 w 10505529"/>
              <a:gd name="connsiteY38167" fmla="*/ 1088096 h 7458372"/>
              <a:gd name="connsiteX38168" fmla="*/ 683187 w 10505529"/>
              <a:gd name="connsiteY38168" fmla="*/ 1088096 h 7458372"/>
              <a:gd name="connsiteX38169" fmla="*/ 694902 w 10505529"/>
              <a:gd name="connsiteY38169" fmla="*/ 1090626 h 7458372"/>
              <a:gd name="connsiteX38170" fmla="*/ 704220 w 10505529"/>
              <a:gd name="connsiteY38170" fmla="*/ 1097017 h 7458372"/>
              <a:gd name="connsiteX38171" fmla="*/ 710343 w 10505529"/>
              <a:gd name="connsiteY38171" fmla="*/ 1106339 h 7458372"/>
              <a:gd name="connsiteX38172" fmla="*/ 712606 w 10505529"/>
              <a:gd name="connsiteY38172" fmla="*/ 1117780 h 7458372"/>
              <a:gd name="connsiteX38173" fmla="*/ 710343 w 10505529"/>
              <a:gd name="connsiteY38173" fmla="*/ 1129494 h 7458372"/>
              <a:gd name="connsiteX38174" fmla="*/ 704220 w 10505529"/>
              <a:gd name="connsiteY38174" fmla="*/ 1138815 h 7458372"/>
              <a:gd name="connsiteX38175" fmla="*/ 694902 w 10505529"/>
              <a:gd name="connsiteY38175" fmla="*/ 1145076 h 7458372"/>
              <a:gd name="connsiteX38176" fmla="*/ 683187 w 10505529"/>
              <a:gd name="connsiteY38176" fmla="*/ 1147340 h 7458372"/>
              <a:gd name="connsiteX38177" fmla="*/ 661355 w 10505529"/>
              <a:gd name="connsiteY38177" fmla="*/ 1138815 h 7458372"/>
              <a:gd name="connsiteX38178" fmla="*/ 652969 w 10505529"/>
              <a:gd name="connsiteY38178" fmla="*/ 1117655 h 7458372"/>
              <a:gd name="connsiteX38179" fmla="*/ 661355 w 10505529"/>
              <a:gd name="connsiteY38179" fmla="*/ 1096621 h 7458372"/>
              <a:gd name="connsiteX38180" fmla="*/ 683187 w 10505529"/>
              <a:gd name="connsiteY38180" fmla="*/ 1088096 h 7458372"/>
              <a:gd name="connsiteX38181" fmla="*/ 465543 w 10505529"/>
              <a:gd name="connsiteY38181" fmla="*/ 1088096 h 7458372"/>
              <a:gd name="connsiteX38182" fmla="*/ 477258 w 10505529"/>
              <a:gd name="connsiteY38182" fmla="*/ 1090626 h 7458372"/>
              <a:gd name="connsiteX38183" fmla="*/ 486576 w 10505529"/>
              <a:gd name="connsiteY38183" fmla="*/ 1097017 h 7458372"/>
              <a:gd name="connsiteX38184" fmla="*/ 492699 w 10505529"/>
              <a:gd name="connsiteY38184" fmla="*/ 1106339 h 7458372"/>
              <a:gd name="connsiteX38185" fmla="*/ 494962 w 10505529"/>
              <a:gd name="connsiteY38185" fmla="*/ 1117780 h 7458372"/>
              <a:gd name="connsiteX38186" fmla="*/ 492699 w 10505529"/>
              <a:gd name="connsiteY38186" fmla="*/ 1129494 h 7458372"/>
              <a:gd name="connsiteX38187" fmla="*/ 486576 w 10505529"/>
              <a:gd name="connsiteY38187" fmla="*/ 1138815 h 7458372"/>
              <a:gd name="connsiteX38188" fmla="*/ 477258 w 10505529"/>
              <a:gd name="connsiteY38188" fmla="*/ 1145076 h 7458372"/>
              <a:gd name="connsiteX38189" fmla="*/ 465543 w 10505529"/>
              <a:gd name="connsiteY38189" fmla="*/ 1147340 h 7458372"/>
              <a:gd name="connsiteX38190" fmla="*/ 443712 w 10505529"/>
              <a:gd name="connsiteY38190" fmla="*/ 1138815 h 7458372"/>
              <a:gd name="connsiteX38191" fmla="*/ 435326 w 10505529"/>
              <a:gd name="connsiteY38191" fmla="*/ 1117655 h 7458372"/>
              <a:gd name="connsiteX38192" fmla="*/ 443712 w 10505529"/>
              <a:gd name="connsiteY38192" fmla="*/ 1096621 h 7458372"/>
              <a:gd name="connsiteX38193" fmla="*/ 465543 w 10505529"/>
              <a:gd name="connsiteY38193" fmla="*/ 1088096 h 7458372"/>
              <a:gd name="connsiteX38194" fmla="*/ 247899 w 10505529"/>
              <a:gd name="connsiteY38194" fmla="*/ 1088096 h 7458372"/>
              <a:gd name="connsiteX38195" fmla="*/ 259614 w 10505529"/>
              <a:gd name="connsiteY38195" fmla="*/ 1090626 h 7458372"/>
              <a:gd name="connsiteX38196" fmla="*/ 268932 w 10505529"/>
              <a:gd name="connsiteY38196" fmla="*/ 1097017 h 7458372"/>
              <a:gd name="connsiteX38197" fmla="*/ 275055 w 10505529"/>
              <a:gd name="connsiteY38197" fmla="*/ 1106339 h 7458372"/>
              <a:gd name="connsiteX38198" fmla="*/ 277318 w 10505529"/>
              <a:gd name="connsiteY38198" fmla="*/ 1117780 h 7458372"/>
              <a:gd name="connsiteX38199" fmla="*/ 275055 w 10505529"/>
              <a:gd name="connsiteY38199" fmla="*/ 1129494 h 7458372"/>
              <a:gd name="connsiteX38200" fmla="*/ 268932 w 10505529"/>
              <a:gd name="connsiteY38200" fmla="*/ 1138815 h 7458372"/>
              <a:gd name="connsiteX38201" fmla="*/ 259614 w 10505529"/>
              <a:gd name="connsiteY38201" fmla="*/ 1145076 h 7458372"/>
              <a:gd name="connsiteX38202" fmla="*/ 247899 w 10505529"/>
              <a:gd name="connsiteY38202" fmla="*/ 1147340 h 7458372"/>
              <a:gd name="connsiteX38203" fmla="*/ 226068 w 10505529"/>
              <a:gd name="connsiteY38203" fmla="*/ 1138815 h 7458372"/>
              <a:gd name="connsiteX38204" fmla="*/ 217682 w 10505529"/>
              <a:gd name="connsiteY38204" fmla="*/ 1117655 h 7458372"/>
              <a:gd name="connsiteX38205" fmla="*/ 226068 w 10505529"/>
              <a:gd name="connsiteY38205" fmla="*/ 1096621 h 7458372"/>
              <a:gd name="connsiteX38206" fmla="*/ 247899 w 10505529"/>
              <a:gd name="connsiteY38206" fmla="*/ 1088096 h 7458372"/>
              <a:gd name="connsiteX38207" fmla="*/ 30255 w 10505529"/>
              <a:gd name="connsiteY38207" fmla="*/ 1088096 h 7458372"/>
              <a:gd name="connsiteX38208" fmla="*/ 41970 w 10505529"/>
              <a:gd name="connsiteY38208" fmla="*/ 1090626 h 7458372"/>
              <a:gd name="connsiteX38209" fmla="*/ 51288 w 10505529"/>
              <a:gd name="connsiteY38209" fmla="*/ 1097017 h 7458372"/>
              <a:gd name="connsiteX38210" fmla="*/ 57411 w 10505529"/>
              <a:gd name="connsiteY38210" fmla="*/ 1106339 h 7458372"/>
              <a:gd name="connsiteX38211" fmla="*/ 59674 w 10505529"/>
              <a:gd name="connsiteY38211" fmla="*/ 1117780 h 7458372"/>
              <a:gd name="connsiteX38212" fmla="*/ 57411 w 10505529"/>
              <a:gd name="connsiteY38212" fmla="*/ 1129494 h 7458372"/>
              <a:gd name="connsiteX38213" fmla="*/ 51288 w 10505529"/>
              <a:gd name="connsiteY38213" fmla="*/ 1138815 h 7458372"/>
              <a:gd name="connsiteX38214" fmla="*/ 41970 w 10505529"/>
              <a:gd name="connsiteY38214" fmla="*/ 1145076 h 7458372"/>
              <a:gd name="connsiteX38215" fmla="*/ 30255 w 10505529"/>
              <a:gd name="connsiteY38215" fmla="*/ 1147340 h 7458372"/>
              <a:gd name="connsiteX38216" fmla="*/ 8424 w 10505529"/>
              <a:gd name="connsiteY38216" fmla="*/ 1138815 h 7458372"/>
              <a:gd name="connsiteX38217" fmla="*/ 38 w 10505529"/>
              <a:gd name="connsiteY38217" fmla="*/ 1117655 h 7458372"/>
              <a:gd name="connsiteX38218" fmla="*/ 8424 w 10505529"/>
              <a:gd name="connsiteY38218" fmla="*/ 1096621 h 7458372"/>
              <a:gd name="connsiteX38219" fmla="*/ 30255 w 10505529"/>
              <a:gd name="connsiteY38219" fmla="*/ 1088096 h 7458372"/>
              <a:gd name="connsiteX38220" fmla="*/ 30247 w 10505529"/>
              <a:gd name="connsiteY38220" fmla="*/ 887113 h 7458372"/>
              <a:gd name="connsiteX38221" fmla="*/ 20264 w 10505529"/>
              <a:gd name="connsiteY38221" fmla="*/ 890707 h 7458372"/>
              <a:gd name="connsiteX38222" fmla="*/ 16670 w 10505529"/>
              <a:gd name="connsiteY38222" fmla="*/ 900158 h 7458372"/>
              <a:gd name="connsiteX38223" fmla="*/ 20264 w 10505529"/>
              <a:gd name="connsiteY38223" fmla="*/ 909609 h 7458372"/>
              <a:gd name="connsiteX38224" fmla="*/ 30247 w 10505529"/>
              <a:gd name="connsiteY38224" fmla="*/ 913070 h 7458372"/>
              <a:gd name="connsiteX38225" fmla="*/ 35572 w 10505529"/>
              <a:gd name="connsiteY38225" fmla="*/ 912005 h 7458372"/>
              <a:gd name="connsiteX38226" fmla="*/ 39299 w 10505529"/>
              <a:gd name="connsiteY38226" fmla="*/ 909609 h 7458372"/>
              <a:gd name="connsiteX38227" fmla="*/ 41962 w 10505529"/>
              <a:gd name="connsiteY38227" fmla="*/ 905483 h 7458372"/>
              <a:gd name="connsiteX38228" fmla="*/ 42893 w 10505529"/>
              <a:gd name="connsiteY38228" fmla="*/ 900025 h 7458372"/>
              <a:gd name="connsiteX38229" fmla="*/ 41962 w 10505529"/>
              <a:gd name="connsiteY38229" fmla="*/ 894833 h 7458372"/>
              <a:gd name="connsiteX38230" fmla="*/ 39299 w 10505529"/>
              <a:gd name="connsiteY38230" fmla="*/ 890707 h 7458372"/>
              <a:gd name="connsiteX38231" fmla="*/ 35306 w 10505529"/>
              <a:gd name="connsiteY38231" fmla="*/ 888044 h 7458372"/>
              <a:gd name="connsiteX38232" fmla="*/ 30247 w 10505529"/>
              <a:gd name="connsiteY38232" fmla="*/ 887113 h 7458372"/>
              <a:gd name="connsiteX38233" fmla="*/ 247891 w 10505529"/>
              <a:gd name="connsiteY38233" fmla="*/ 887113 h 7458372"/>
              <a:gd name="connsiteX38234" fmla="*/ 237908 w 10505529"/>
              <a:gd name="connsiteY38234" fmla="*/ 890707 h 7458372"/>
              <a:gd name="connsiteX38235" fmla="*/ 234315 w 10505529"/>
              <a:gd name="connsiteY38235" fmla="*/ 900158 h 7458372"/>
              <a:gd name="connsiteX38236" fmla="*/ 237908 w 10505529"/>
              <a:gd name="connsiteY38236" fmla="*/ 909609 h 7458372"/>
              <a:gd name="connsiteX38237" fmla="*/ 247891 w 10505529"/>
              <a:gd name="connsiteY38237" fmla="*/ 913070 h 7458372"/>
              <a:gd name="connsiteX38238" fmla="*/ 253216 w 10505529"/>
              <a:gd name="connsiteY38238" fmla="*/ 912005 h 7458372"/>
              <a:gd name="connsiteX38239" fmla="*/ 256943 w 10505529"/>
              <a:gd name="connsiteY38239" fmla="*/ 909609 h 7458372"/>
              <a:gd name="connsiteX38240" fmla="*/ 259607 w 10505529"/>
              <a:gd name="connsiteY38240" fmla="*/ 905483 h 7458372"/>
              <a:gd name="connsiteX38241" fmla="*/ 260672 w 10505529"/>
              <a:gd name="connsiteY38241" fmla="*/ 900025 h 7458372"/>
              <a:gd name="connsiteX38242" fmla="*/ 259607 w 10505529"/>
              <a:gd name="connsiteY38242" fmla="*/ 894833 h 7458372"/>
              <a:gd name="connsiteX38243" fmla="*/ 256943 w 10505529"/>
              <a:gd name="connsiteY38243" fmla="*/ 890707 h 7458372"/>
              <a:gd name="connsiteX38244" fmla="*/ 252950 w 10505529"/>
              <a:gd name="connsiteY38244" fmla="*/ 888044 h 7458372"/>
              <a:gd name="connsiteX38245" fmla="*/ 247891 w 10505529"/>
              <a:gd name="connsiteY38245" fmla="*/ 887113 h 7458372"/>
              <a:gd name="connsiteX38246" fmla="*/ 683180 w 10505529"/>
              <a:gd name="connsiteY38246" fmla="*/ 887113 h 7458372"/>
              <a:gd name="connsiteX38247" fmla="*/ 673197 w 10505529"/>
              <a:gd name="connsiteY38247" fmla="*/ 890707 h 7458372"/>
              <a:gd name="connsiteX38248" fmla="*/ 669603 w 10505529"/>
              <a:gd name="connsiteY38248" fmla="*/ 900158 h 7458372"/>
              <a:gd name="connsiteX38249" fmla="*/ 673197 w 10505529"/>
              <a:gd name="connsiteY38249" fmla="*/ 909609 h 7458372"/>
              <a:gd name="connsiteX38250" fmla="*/ 683180 w 10505529"/>
              <a:gd name="connsiteY38250" fmla="*/ 913070 h 7458372"/>
              <a:gd name="connsiteX38251" fmla="*/ 688505 w 10505529"/>
              <a:gd name="connsiteY38251" fmla="*/ 912005 h 7458372"/>
              <a:gd name="connsiteX38252" fmla="*/ 692232 w 10505529"/>
              <a:gd name="connsiteY38252" fmla="*/ 909609 h 7458372"/>
              <a:gd name="connsiteX38253" fmla="*/ 694895 w 10505529"/>
              <a:gd name="connsiteY38253" fmla="*/ 905483 h 7458372"/>
              <a:gd name="connsiteX38254" fmla="*/ 695960 w 10505529"/>
              <a:gd name="connsiteY38254" fmla="*/ 900025 h 7458372"/>
              <a:gd name="connsiteX38255" fmla="*/ 694895 w 10505529"/>
              <a:gd name="connsiteY38255" fmla="*/ 894833 h 7458372"/>
              <a:gd name="connsiteX38256" fmla="*/ 692232 w 10505529"/>
              <a:gd name="connsiteY38256" fmla="*/ 890707 h 7458372"/>
              <a:gd name="connsiteX38257" fmla="*/ 688239 w 10505529"/>
              <a:gd name="connsiteY38257" fmla="*/ 888044 h 7458372"/>
              <a:gd name="connsiteX38258" fmla="*/ 683180 w 10505529"/>
              <a:gd name="connsiteY38258" fmla="*/ 887113 h 7458372"/>
              <a:gd name="connsiteX38259" fmla="*/ 465536 w 10505529"/>
              <a:gd name="connsiteY38259" fmla="*/ 887113 h 7458372"/>
              <a:gd name="connsiteX38260" fmla="*/ 455552 w 10505529"/>
              <a:gd name="connsiteY38260" fmla="*/ 890707 h 7458372"/>
              <a:gd name="connsiteX38261" fmla="*/ 451959 w 10505529"/>
              <a:gd name="connsiteY38261" fmla="*/ 900158 h 7458372"/>
              <a:gd name="connsiteX38262" fmla="*/ 455552 w 10505529"/>
              <a:gd name="connsiteY38262" fmla="*/ 909609 h 7458372"/>
              <a:gd name="connsiteX38263" fmla="*/ 465536 w 10505529"/>
              <a:gd name="connsiteY38263" fmla="*/ 913070 h 7458372"/>
              <a:gd name="connsiteX38264" fmla="*/ 470861 w 10505529"/>
              <a:gd name="connsiteY38264" fmla="*/ 912005 h 7458372"/>
              <a:gd name="connsiteX38265" fmla="*/ 474588 w 10505529"/>
              <a:gd name="connsiteY38265" fmla="*/ 909609 h 7458372"/>
              <a:gd name="connsiteX38266" fmla="*/ 477251 w 10505529"/>
              <a:gd name="connsiteY38266" fmla="*/ 905483 h 7458372"/>
              <a:gd name="connsiteX38267" fmla="*/ 478316 w 10505529"/>
              <a:gd name="connsiteY38267" fmla="*/ 900025 h 7458372"/>
              <a:gd name="connsiteX38268" fmla="*/ 477251 w 10505529"/>
              <a:gd name="connsiteY38268" fmla="*/ 894833 h 7458372"/>
              <a:gd name="connsiteX38269" fmla="*/ 474588 w 10505529"/>
              <a:gd name="connsiteY38269" fmla="*/ 890707 h 7458372"/>
              <a:gd name="connsiteX38270" fmla="*/ 470595 w 10505529"/>
              <a:gd name="connsiteY38270" fmla="*/ 888044 h 7458372"/>
              <a:gd name="connsiteX38271" fmla="*/ 465536 w 10505529"/>
              <a:gd name="connsiteY38271" fmla="*/ 887113 h 7458372"/>
              <a:gd name="connsiteX38272" fmla="*/ 900958 w 10505529"/>
              <a:gd name="connsiteY38272" fmla="*/ 887113 h 7458372"/>
              <a:gd name="connsiteX38273" fmla="*/ 890973 w 10505529"/>
              <a:gd name="connsiteY38273" fmla="*/ 890707 h 7458372"/>
              <a:gd name="connsiteX38274" fmla="*/ 887247 w 10505529"/>
              <a:gd name="connsiteY38274" fmla="*/ 900158 h 7458372"/>
              <a:gd name="connsiteX38275" fmla="*/ 890841 w 10505529"/>
              <a:gd name="connsiteY38275" fmla="*/ 909609 h 7458372"/>
              <a:gd name="connsiteX38276" fmla="*/ 900824 w 10505529"/>
              <a:gd name="connsiteY38276" fmla="*/ 913070 h 7458372"/>
              <a:gd name="connsiteX38277" fmla="*/ 906282 w 10505529"/>
              <a:gd name="connsiteY38277" fmla="*/ 912005 h 7458372"/>
              <a:gd name="connsiteX38278" fmla="*/ 910010 w 10505529"/>
              <a:gd name="connsiteY38278" fmla="*/ 909609 h 7458372"/>
              <a:gd name="connsiteX38279" fmla="*/ 912672 w 10505529"/>
              <a:gd name="connsiteY38279" fmla="*/ 905483 h 7458372"/>
              <a:gd name="connsiteX38280" fmla="*/ 913737 w 10505529"/>
              <a:gd name="connsiteY38280" fmla="*/ 900025 h 7458372"/>
              <a:gd name="connsiteX38281" fmla="*/ 912672 w 10505529"/>
              <a:gd name="connsiteY38281" fmla="*/ 894833 h 7458372"/>
              <a:gd name="connsiteX38282" fmla="*/ 910010 w 10505529"/>
              <a:gd name="connsiteY38282" fmla="*/ 890707 h 7458372"/>
              <a:gd name="connsiteX38283" fmla="*/ 906016 w 10505529"/>
              <a:gd name="connsiteY38283" fmla="*/ 888044 h 7458372"/>
              <a:gd name="connsiteX38284" fmla="*/ 900958 w 10505529"/>
              <a:gd name="connsiteY38284" fmla="*/ 887113 h 7458372"/>
              <a:gd name="connsiteX38285" fmla="*/ 1335981 w 10505529"/>
              <a:gd name="connsiteY38285" fmla="*/ 887112 h 7458372"/>
              <a:gd name="connsiteX38286" fmla="*/ 1325998 w 10505529"/>
              <a:gd name="connsiteY38286" fmla="*/ 890706 h 7458372"/>
              <a:gd name="connsiteX38287" fmla="*/ 1322403 w 10505529"/>
              <a:gd name="connsiteY38287" fmla="*/ 900158 h 7458372"/>
              <a:gd name="connsiteX38288" fmla="*/ 1325998 w 10505529"/>
              <a:gd name="connsiteY38288" fmla="*/ 909609 h 7458372"/>
              <a:gd name="connsiteX38289" fmla="*/ 1335981 w 10505529"/>
              <a:gd name="connsiteY38289" fmla="*/ 913070 h 7458372"/>
              <a:gd name="connsiteX38290" fmla="*/ 1341307 w 10505529"/>
              <a:gd name="connsiteY38290" fmla="*/ 912005 h 7458372"/>
              <a:gd name="connsiteX38291" fmla="*/ 1345033 w 10505529"/>
              <a:gd name="connsiteY38291" fmla="*/ 909609 h 7458372"/>
              <a:gd name="connsiteX38292" fmla="*/ 1347696 w 10505529"/>
              <a:gd name="connsiteY38292" fmla="*/ 905483 h 7458372"/>
              <a:gd name="connsiteX38293" fmla="*/ 1348762 w 10505529"/>
              <a:gd name="connsiteY38293" fmla="*/ 900025 h 7458372"/>
              <a:gd name="connsiteX38294" fmla="*/ 1347696 w 10505529"/>
              <a:gd name="connsiteY38294" fmla="*/ 894833 h 7458372"/>
              <a:gd name="connsiteX38295" fmla="*/ 1345033 w 10505529"/>
              <a:gd name="connsiteY38295" fmla="*/ 890706 h 7458372"/>
              <a:gd name="connsiteX38296" fmla="*/ 1341040 w 10505529"/>
              <a:gd name="connsiteY38296" fmla="*/ 888043 h 7458372"/>
              <a:gd name="connsiteX38297" fmla="*/ 1335981 w 10505529"/>
              <a:gd name="connsiteY38297" fmla="*/ 887112 h 7458372"/>
              <a:gd name="connsiteX38298" fmla="*/ 1118469 w 10505529"/>
              <a:gd name="connsiteY38298" fmla="*/ 887112 h 7458372"/>
              <a:gd name="connsiteX38299" fmla="*/ 1108485 w 10505529"/>
              <a:gd name="connsiteY38299" fmla="*/ 890706 h 7458372"/>
              <a:gd name="connsiteX38300" fmla="*/ 1104758 w 10505529"/>
              <a:gd name="connsiteY38300" fmla="*/ 900158 h 7458372"/>
              <a:gd name="connsiteX38301" fmla="*/ 1108352 w 10505529"/>
              <a:gd name="connsiteY38301" fmla="*/ 909609 h 7458372"/>
              <a:gd name="connsiteX38302" fmla="*/ 1118336 w 10505529"/>
              <a:gd name="connsiteY38302" fmla="*/ 913070 h 7458372"/>
              <a:gd name="connsiteX38303" fmla="*/ 1123794 w 10505529"/>
              <a:gd name="connsiteY38303" fmla="*/ 912005 h 7458372"/>
              <a:gd name="connsiteX38304" fmla="*/ 1127521 w 10505529"/>
              <a:gd name="connsiteY38304" fmla="*/ 909609 h 7458372"/>
              <a:gd name="connsiteX38305" fmla="*/ 1130184 w 10505529"/>
              <a:gd name="connsiteY38305" fmla="*/ 905483 h 7458372"/>
              <a:gd name="connsiteX38306" fmla="*/ 1131250 w 10505529"/>
              <a:gd name="connsiteY38306" fmla="*/ 900025 h 7458372"/>
              <a:gd name="connsiteX38307" fmla="*/ 1130184 w 10505529"/>
              <a:gd name="connsiteY38307" fmla="*/ 894833 h 7458372"/>
              <a:gd name="connsiteX38308" fmla="*/ 1127521 w 10505529"/>
              <a:gd name="connsiteY38308" fmla="*/ 890706 h 7458372"/>
              <a:gd name="connsiteX38309" fmla="*/ 1123527 w 10505529"/>
              <a:gd name="connsiteY38309" fmla="*/ 888043 h 7458372"/>
              <a:gd name="connsiteX38310" fmla="*/ 1118469 w 10505529"/>
              <a:gd name="connsiteY38310" fmla="*/ 887112 h 7458372"/>
              <a:gd name="connsiteX38311" fmla="*/ 1771270 w 10505529"/>
              <a:gd name="connsiteY38311" fmla="*/ 887112 h 7458372"/>
              <a:gd name="connsiteX38312" fmla="*/ 1761287 w 10505529"/>
              <a:gd name="connsiteY38312" fmla="*/ 890706 h 7458372"/>
              <a:gd name="connsiteX38313" fmla="*/ 1757692 w 10505529"/>
              <a:gd name="connsiteY38313" fmla="*/ 900157 h 7458372"/>
              <a:gd name="connsiteX38314" fmla="*/ 1761287 w 10505529"/>
              <a:gd name="connsiteY38314" fmla="*/ 909608 h 7458372"/>
              <a:gd name="connsiteX38315" fmla="*/ 1771270 w 10505529"/>
              <a:gd name="connsiteY38315" fmla="*/ 913070 h 7458372"/>
              <a:gd name="connsiteX38316" fmla="*/ 1776594 w 10505529"/>
              <a:gd name="connsiteY38316" fmla="*/ 912005 h 7458372"/>
              <a:gd name="connsiteX38317" fmla="*/ 1780322 w 10505529"/>
              <a:gd name="connsiteY38317" fmla="*/ 909608 h 7458372"/>
              <a:gd name="connsiteX38318" fmla="*/ 1782985 w 10505529"/>
              <a:gd name="connsiteY38318" fmla="*/ 905482 h 7458372"/>
              <a:gd name="connsiteX38319" fmla="*/ 1784050 w 10505529"/>
              <a:gd name="connsiteY38319" fmla="*/ 900024 h 7458372"/>
              <a:gd name="connsiteX38320" fmla="*/ 1782985 w 10505529"/>
              <a:gd name="connsiteY38320" fmla="*/ 894832 h 7458372"/>
              <a:gd name="connsiteX38321" fmla="*/ 1780322 w 10505529"/>
              <a:gd name="connsiteY38321" fmla="*/ 890706 h 7458372"/>
              <a:gd name="connsiteX38322" fmla="*/ 1776329 w 10505529"/>
              <a:gd name="connsiteY38322" fmla="*/ 888043 h 7458372"/>
              <a:gd name="connsiteX38323" fmla="*/ 1771270 w 10505529"/>
              <a:gd name="connsiteY38323" fmla="*/ 887112 h 7458372"/>
              <a:gd name="connsiteX38324" fmla="*/ 1553626 w 10505529"/>
              <a:gd name="connsiteY38324" fmla="*/ 887112 h 7458372"/>
              <a:gd name="connsiteX38325" fmla="*/ 1543642 w 10505529"/>
              <a:gd name="connsiteY38325" fmla="*/ 890706 h 7458372"/>
              <a:gd name="connsiteX38326" fmla="*/ 1540048 w 10505529"/>
              <a:gd name="connsiteY38326" fmla="*/ 900158 h 7458372"/>
              <a:gd name="connsiteX38327" fmla="*/ 1543642 w 10505529"/>
              <a:gd name="connsiteY38327" fmla="*/ 909609 h 7458372"/>
              <a:gd name="connsiteX38328" fmla="*/ 1553626 w 10505529"/>
              <a:gd name="connsiteY38328" fmla="*/ 913070 h 7458372"/>
              <a:gd name="connsiteX38329" fmla="*/ 1558950 w 10505529"/>
              <a:gd name="connsiteY38329" fmla="*/ 912005 h 7458372"/>
              <a:gd name="connsiteX38330" fmla="*/ 1562678 w 10505529"/>
              <a:gd name="connsiteY38330" fmla="*/ 909609 h 7458372"/>
              <a:gd name="connsiteX38331" fmla="*/ 1565340 w 10505529"/>
              <a:gd name="connsiteY38331" fmla="*/ 905482 h 7458372"/>
              <a:gd name="connsiteX38332" fmla="*/ 1566406 w 10505529"/>
              <a:gd name="connsiteY38332" fmla="*/ 900024 h 7458372"/>
              <a:gd name="connsiteX38333" fmla="*/ 1565340 w 10505529"/>
              <a:gd name="connsiteY38333" fmla="*/ 894832 h 7458372"/>
              <a:gd name="connsiteX38334" fmla="*/ 1562678 w 10505529"/>
              <a:gd name="connsiteY38334" fmla="*/ 890706 h 7458372"/>
              <a:gd name="connsiteX38335" fmla="*/ 1558684 w 10505529"/>
              <a:gd name="connsiteY38335" fmla="*/ 888043 h 7458372"/>
              <a:gd name="connsiteX38336" fmla="*/ 1553626 w 10505529"/>
              <a:gd name="connsiteY38336" fmla="*/ 887112 h 7458372"/>
              <a:gd name="connsiteX38337" fmla="*/ 1988913 w 10505529"/>
              <a:gd name="connsiteY38337" fmla="*/ 887112 h 7458372"/>
              <a:gd name="connsiteX38338" fmla="*/ 1978930 w 10505529"/>
              <a:gd name="connsiteY38338" fmla="*/ 890706 h 7458372"/>
              <a:gd name="connsiteX38339" fmla="*/ 1975335 w 10505529"/>
              <a:gd name="connsiteY38339" fmla="*/ 900157 h 7458372"/>
              <a:gd name="connsiteX38340" fmla="*/ 1978930 w 10505529"/>
              <a:gd name="connsiteY38340" fmla="*/ 909608 h 7458372"/>
              <a:gd name="connsiteX38341" fmla="*/ 1988913 w 10505529"/>
              <a:gd name="connsiteY38341" fmla="*/ 913070 h 7458372"/>
              <a:gd name="connsiteX38342" fmla="*/ 1994237 w 10505529"/>
              <a:gd name="connsiteY38342" fmla="*/ 912004 h 7458372"/>
              <a:gd name="connsiteX38343" fmla="*/ 1997965 w 10505529"/>
              <a:gd name="connsiteY38343" fmla="*/ 909608 h 7458372"/>
              <a:gd name="connsiteX38344" fmla="*/ 2000628 w 10505529"/>
              <a:gd name="connsiteY38344" fmla="*/ 905482 h 7458372"/>
              <a:gd name="connsiteX38345" fmla="*/ 2001558 w 10505529"/>
              <a:gd name="connsiteY38345" fmla="*/ 900024 h 7458372"/>
              <a:gd name="connsiteX38346" fmla="*/ 2000628 w 10505529"/>
              <a:gd name="connsiteY38346" fmla="*/ 894832 h 7458372"/>
              <a:gd name="connsiteX38347" fmla="*/ 1997965 w 10505529"/>
              <a:gd name="connsiteY38347" fmla="*/ 890706 h 7458372"/>
              <a:gd name="connsiteX38348" fmla="*/ 1993971 w 10505529"/>
              <a:gd name="connsiteY38348" fmla="*/ 888043 h 7458372"/>
              <a:gd name="connsiteX38349" fmla="*/ 1988913 w 10505529"/>
              <a:gd name="connsiteY38349" fmla="*/ 887112 h 7458372"/>
              <a:gd name="connsiteX38350" fmla="*/ 2424075 w 10505529"/>
              <a:gd name="connsiteY38350" fmla="*/ 887112 h 7458372"/>
              <a:gd name="connsiteX38351" fmla="*/ 2414092 w 10505529"/>
              <a:gd name="connsiteY38351" fmla="*/ 890706 h 7458372"/>
              <a:gd name="connsiteX38352" fmla="*/ 2410498 w 10505529"/>
              <a:gd name="connsiteY38352" fmla="*/ 900157 h 7458372"/>
              <a:gd name="connsiteX38353" fmla="*/ 2414092 w 10505529"/>
              <a:gd name="connsiteY38353" fmla="*/ 909608 h 7458372"/>
              <a:gd name="connsiteX38354" fmla="*/ 2424075 w 10505529"/>
              <a:gd name="connsiteY38354" fmla="*/ 913069 h 7458372"/>
              <a:gd name="connsiteX38355" fmla="*/ 2429400 w 10505529"/>
              <a:gd name="connsiteY38355" fmla="*/ 912004 h 7458372"/>
              <a:gd name="connsiteX38356" fmla="*/ 2433127 w 10505529"/>
              <a:gd name="connsiteY38356" fmla="*/ 909608 h 7458372"/>
              <a:gd name="connsiteX38357" fmla="*/ 2435790 w 10505529"/>
              <a:gd name="connsiteY38357" fmla="*/ 905482 h 7458372"/>
              <a:gd name="connsiteX38358" fmla="*/ 2436722 w 10505529"/>
              <a:gd name="connsiteY38358" fmla="*/ 900024 h 7458372"/>
              <a:gd name="connsiteX38359" fmla="*/ 2435790 w 10505529"/>
              <a:gd name="connsiteY38359" fmla="*/ 894832 h 7458372"/>
              <a:gd name="connsiteX38360" fmla="*/ 2433127 w 10505529"/>
              <a:gd name="connsiteY38360" fmla="*/ 890706 h 7458372"/>
              <a:gd name="connsiteX38361" fmla="*/ 2429134 w 10505529"/>
              <a:gd name="connsiteY38361" fmla="*/ 888043 h 7458372"/>
              <a:gd name="connsiteX38362" fmla="*/ 2424075 w 10505529"/>
              <a:gd name="connsiteY38362" fmla="*/ 887112 h 7458372"/>
              <a:gd name="connsiteX38363" fmla="*/ 2206428 w 10505529"/>
              <a:gd name="connsiteY38363" fmla="*/ 887112 h 7458372"/>
              <a:gd name="connsiteX38364" fmla="*/ 2196444 w 10505529"/>
              <a:gd name="connsiteY38364" fmla="*/ 890706 h 7458372"/>
              <a:gd name="connsiteX38365" fmla="*/ 2192850 w 10505529"/>
              <a:gd name="connsiteY38365" fmla="*/ 900157 h 7458372"/>
              <a:gd name="connsiteX38366" fmla="*/ 2196444 w 10505529"/>
              <a:gd name="connsiteY38366" fmla="*/ 909608 h 7458372"/>
              <a:gd name="connsiteX38367" fmla="*/ 2206428 w 10505529"/>
              <a:gd name="connsiteY38367" fmla="*/ 913069 h 7458372"/>
              <a:gd name="connsiteX38368" fmla="*/ 2211752 w 10505529"/>
              <a:gd name="connsiteY38368" fmla="*/ 912004 h 7458372"/>
              <a:gd name="connsiteX38369" fmla="*/ 2215479 w 10505529"/>
              <a:gd name="connsiteY38369" fmla="*/ 909608 h 7458372"/>
              <a:gd name="connsiteX38370" fmla="*/ 2218143 w 10505529"/>
              <a:gd name="connsiteY38370" fmla="*/ 905482 h 7458372"/>
              <a:gd name="connsiteX38371" fmla="*/ 2219074 w 10505529"/>
              <a:gd name="connsiteY38371" fmla="*/ 900024 h 7458372"/>
              <a:gd name="connsiteX38372" fmla="*/ 2218143 w 10505529"/>
              <a:gd name="connsiteY38372" fmla="*/ 894832 h 7458372"/>
              <a:gd name="connsiteX38373" fmla="*/ 2215479 w 10505529"/>
              <a:gd name="connsiteY38373" fmla="*/ 890706 h 7458372"/>
              <a:gd name="connsiteX38374" fmla="*/ 2211486 w 10505529"/>
              <a:gd name="connsiteY38374" fmla="*/ 888043 h 7458372"/>
              <a:gd name="connsiteX38375" fmla="*/ 2206428 w 10505529"/>
              <a:gd name="connsiteY38375" fmla="*/ 887112 h 7458372"/>
              <a:gd name="connsiteX38376" fmla="*/ 3077151 w 10505529"/>
              <a:gd name="connsiteY38376" fmla="*/ 887112 h 7458372"/>
              <a:gd name="connsiteX38377" fmla="*/ 3067169 w 10505529"/>
              <a:gd name="connsiteY38377" fmla="*/ 890706 h 7458372"/>
              <a:gd name="connsiteX38378" fmla="*/ 3063440 w 10505529"/>
              <a:gd name="connsiteY38378" fmla="*/ 900157 h 7458372"/>
              <a:gd name="connsiteX38379" fmla="*/ 3067035 w 10505529"/>
              <a:gd name="connsiteY38379" fmla="*/ 909608 h 7458372"/>
              <a:gd name="connsiteX38380" fmla="*/ 3077018 w 10505529"/>
              <a:gd name="connsiteY38380" fmla="*/ 913069 h 7458372"/>
              <a:gd name="connsiteX38381" fmla="*/ 3082476 w 10505529"/>
              <a:gd name="connsiteY38381" fmla="*/ 912004 h 7458372"/>
              <a:gd name="connsiteX38382" fmla="*/ 3086204 w 10505529"/>
              <a:gd name="connsiteY38382" fmla="*/ 909608 h 7458372"/>
              <a:gd name="connsiteX38383" fmla="*/ 3088866 w 10505529"/>
              <a:gd name="connsiteY38383" fmla="*/ 905482 h 7458372"/>
              <a:gd name="connsiteX38384" fmla="*/ 3089799 w 10505529"/>
              <a:gd name="connsiteY38384" fmla="*/ 900024 h 7458372"/>
              <a:gd name="connsiteX38385" fmla="*/ 3088866 w 10505529"/>
              <a:gd name="connsiteY38385" fmla="*/ 894832 h 7458372"/>
              <a:gd name="connsiteX38386" fmla="*/ 3086204 w 10505529"/>
              <a:gd name="connsiteY38386" fmla="*/ 890706 h 7458372"/>
              <a:gd name="connsiteX38387" fmla="*/ 3082211 w 10505529"/>
              <a:gd name="connsiteY38387" fmla="*/ 888043 h 7458372"/>
              <a:gd name="connsiteX38388" fmla="*/ 3077151 w 10505529"/>
              <a:gd name="connsiteY38388" fmla="*/ 887112 h 7458372"/>
              <a:gd name="connsiteX38389" fmla="*/ 2859371 w 10505529"/>
              <a:gd name="connsiteY38389" fmla="*/ 887112 h 7458372"/>
              <a:gd name="connsiteX38390" fmla="*/ 2849388 w 10505529"/>
              <a:gd name="connsiteY38390" fmla="*/ 890706 h 7458372"/>
              <a:gd name="connsiteX38391" fmla="*/ 2845793 w 10505529"/>
              <a:gd name="connsiteY38391" fmla="*/ 900157 h 7458372"/>
              <a:gd name="connsiteX38392" fmla="*/ 2849388 w 10505529"/>
              <a:gd name="connsiteY38392" fmla="*/ 909608 h 7458372"/>
              <a:gd name="connsiteX38393" fmla="*/ 2859371 w 10505529"/>
              <a:gd name="connsiteY38393" fmla="*/ 913069 h 7458372"/>
              <a:gd name="connsiteX38394" fmla="*/ 2864696 w 10505529"/>
              <a:gd name="connsiteY38394" fmla="*/ 912004 h 7458372"/>
              <a:gd name="connsiteX38395" fmla="*/ 2868423 w 10505529"/>
              <a:gd name="connsiteY38395" fmla="*/ 909608 h 7458372"/>
              <a:gd name="connsiteX38396" fmla="*/ 2871086 w 10505529"/>
              <a:gd name="connsiteY38396" fmla="*/ 905482 h 7458372"/>
              <a:gd name="connsiteX38397" fmla="*/ 2872017 w 10505529"/>
              <a:gd name="connsiteY38397" fmla="*/ 900024 h 7458372"/>
              <a:gd name="connsiteX38398" fmla="*/ 2871086 w 10505529"/>
              <a:gd name="connsiteY38398" fmla="*/ 894832 h 7458372"/>
              <a:gd name="connsiteX38399" fmla="*/ 2868423 w 10505529"/>
              <a:gd name="connsiteY38399" fmla="*/ 890706 h 7458372"/>
              <a:gd name="connsiteX38400" fmla="*/ 2864430 w 10505529"/>
              <a:gd name="connsiteY38400" fmla="*/ 888043 h 7458372"/>
              <a:gd name="connsiteX38401" fmla="*/ 2859371 w 10505529"/>
              <a:gd name="connsiteY38401" fmla="*/ 887112 h 7458372"/>
              <a:gd name="connsiteX38402" fmla="*/ 2641723 w 10505529"/>
              <a:gd name="connsiteY38402" fmla="*/ 887112 h 7458372"/>
              <a:gd name="connsiteX38403" fmla="*/ 2631740 w 10505529"/>
              <a:gd name="connsiteY38403" fmla="*/ 890706 h 7458372"/>
              <a:gd name="connsiteX38404" fmla="*/ 2628146 w 10505529"/>
              <a:gd name="connsiteY38404" fmla="*/ 900157 h 7458372"/>
              <a:gd name="connsiteX38405" fmla="*/ 2631740 w 10505529"/>
              <a:gd name="connsiteY38405" fmla="*/ 909608 h 7458372"/>
              <a:gd name="connsiteX38406" fmla="*/ 2641723 w 10505529"/>
              <a:gd name="connsiteY38406" fmla="*/ 913069 h 7458372"/>
              <a:gd name="connsiteX38407" fmla="*/ 2647048 w 10505529"/>
              <a:gd name="connsiteY38407" fmla="*/ 912004 h 7458372"/>
              <a:gd name="connsiteX38408" fmla="*/ 2650775 w 10505529"/>
              <a:gd name="connsiteY38408" fmla="*/ 909608 h 7458372"/>
              <a:gd name="connsiteX38409" fmla="*/ 2653438 w 10505529"/>
              <a:gd name="connsiteY38409" fmla="*/ 905482 h 7458372"/>
              <a:gd name="connsiteX38410" fmla="*/ 2654369 w 10505529"/>
              <a:gd name="connsiteY38410" fmla="*/ 900024 h 7458372"/>
              <a:gd name="connsiteX38411" fmla="*/ 2653438 w 10505529"/>
              <a:gd name="connsiteY38411" fmla="*/ 894832 h 7458372"/>
              <a:gd name="connsiteX38412" fmla="*/ 2650775 w 10505529"/>
              <a:gd name="connsiteY38412" fmla="*/ 890706 h 7458372"/>
              <a:gd name="connsiteX38413" fmla="*/ 2646782 w 10505529"/>
              <a:gd name="connsiteY38413" fmla="*/ 888043 h 7458372"/>
              <a:gd name="connsiteX38414" fmla="*/ 2641723 w 10505529"/>
              <a:gd name="connsiteY38414" fmla="*/ 887112 h 7458372"/>
              <a:gd name="connsiteX38415" fmla="*/ 3512181 w 10505529"/>
              <a:gd name="connsiteY38415" fmla="*/ 887111 h 7458372"/>
              <a:gd name="connsiteX38416" fmla="*/ 3502196 w 10505529"/>
              <a:gd name="connsiteY38416" fmla="*/ 890706 h 7458372"/>
              <a:gd name="connsiteX38417" fmla="*/ 3498603 w 10505529"/>
              <a:gd name="connsiteY38417" fmla="*/ 900157 h 7458372"/>
              <a:gd name="connsiteX38418" fmla="*/ 3502196 w 10505529"/>
              <a:gd name="connsiteY38418" fmla="*/ 909608 h 7458372"/>
              <a:gd name="connsiteX38419" fmla="*/ 3512181 w 10505529"/>
              <a:gd name="connsiteY38419" fmla="*/ 913069 h 7458372"/>
              <a:gd name="connsiteX38420" fmla="*/ 3517506 w 10505529"/>
              <a:gd name="connsiteY38420" fmla="*/ 912004 h 7458372"/>
              <a:gd name="connsiteX38421" fmla="*/ 3521233 w 10505529"/>
              <a:gd name="connsiteY38421" fmla="*/ 909608 h 7458372"/>
              <a:gd name="connsiteX38422" fmla="*/ 3523896 w 10505529"/>
              <a:gd name="connsiteY38422" fmla="*/ 905482 h 7458372"/>
              <a:gd name="connsiteX38423" fmla="*/ 3524961 w 10505529"/>
              <a:gd name="connsiteY38423" fmla="*/ 900024 h 7458372"/>
              <a:gd name="connsiteX38424" fmla="*/ 3523896 w 10505529"/>
              <a:gd name="connsiteY38424" fmla="*/ 894832 h 7458372"/>
              <a:gd name="connsiteX38425" fmla="*/ 3521233 w 10505529"/>
              <a:gd name="connsiteY38425" fmla="*/ 890706 h 7458372"/>
              <a:gd name="connsiteX38426" fmla="*/ 3517240 w 10505529"/>
              <a:gd name="connsiteY38426" fmla="*/ 888042 h 7458372"/>
              <a:gd name="connsiteX38427" fmla="*/ 3512181 w 10505529"/>
              <a:gd name="connsiteY38427" fmla="*/ 887111 h 7458372"/>
              <a:gd name="connsiteX38428" fmla="*/ 3294666 w 10505529"/>
              <a:gd name="connsiteY38428" fmla="*/ 887111 h 7458372"/>
              <a:gd name="connsiteX38429" fmla="*/ 3284682 w 10505529"/>
              <a:gd name="connsiteY38429" fmla="*/ 890706 h 7458372"/>
              <a:gd name="connsiteX38430" fmla="*/ 3281088 w 10505529"/>
              <a:gd name="connsiteY38430" fmla="*/ 900157 h 7458372"/>
              <a:gd name="connsiteX38431" fmla="*/ 3284682 w 10505529"/>
              <a:gd name="connsiteY38431" fmla="*/ 909608 h 7458372"/>
              <a:gd name="connsiteX38432" fmla="*/ 3294666 w 10505529"/>
              <a:gd name="connsiteY38432" fmla="*/ 913069 h 7458372"/>
              <a:gd name="connsiteX38433" fmla="*/ 3299992 w 10505529"/>
              <a:gd name="connsiteY38433" fmla="*/ 912004 h 7458372"/>
              <a:gd name="connsiteX38434" fmla="*/ 3303719 w 10505529"/>
              <a:gd name="connsiteY38434" fmla="*/ 909608 h 7458372"/>
              <a:gd name="connsiteX38435" fmla="*/ 3306382 w 10505529"/>
              <a:gd name="connsiteY38435" fmla="*/ 905482 h 7458372"/>
              <a:gd name="connsiteX38436" fmla="*/ 3307445 w 10505529"/>
              <a:gd name="connsiteY38436" fmla="*/ 900024 h 7458372"/>
              <a:gd name="connsiteX38437" fmla="*/ 3306382 w 10505529"/>
              <a:gd name="connsiteY38437" fmla="*/ 894832 h 7458372"/>
              <a:gd name="connsiteX38438" fmla="*/ 3303719 w 10505529"/>
              <a:gd name="connsiteY38438" fmla="*/ 890706 h 7458372"/>
              <a:gd name="connsiteX38439" fmla="*/ 3299725 w 10505529"/>
              <a:gd name="connsiteY38439" fmla="*/ 888043 h 7458372"/>
              <a:gd name="connsiteX38440" fmla="*/ 3294666 w 10505529"/>
              <a:gd name="connsiteY38440" fmla="*/ 887111 h 7458372"/>
              <a:gd name="connsiteX38441" fmla="*/ 3729829 w 10505529"/>
              <a:gd name="connsiteY38441" fmla="*/ 887111 h 7458372"/>
              <a:gd name="connsiteX38442" fmla="*/ 3719844 w 10505529"/>
              <a:gd name="connsiteY38442" fmla="*/ 890705 h 7458372"/>
              <a:gd name="connsiteX38443" fmla="*/ 3716250 w 10505529"/>
              <a:gd name="connsiteY38443" fmla="*/ 900157 h 7458372"/>
              <a:gd name="connsiteX38444" fmla="*/ 3719844 w 10505529"/>
              <a:gd name="connsiteY38444" fmla="*/ 909608 h 7458372"/>
              <a:gd name="connsiteX38445" fmla="*/ 3729829 w 10505529"/>
              <a:gd name="connsiteY38445" fmla="*/ 913069 h 7458372"/>
              <a:gd name="connsiteX38446" fmla="*/ 3735154 w 10505529"/>
              <a:gd name="connsiteY38446" fmla="*/ 912004 h 7458372"/>
              <a:gd name="connsiteX38447" fmla="*/ 3738880 w 10505529"/>
              <a:gd name="connsiteY38447" fmla="*/ 909608 h 7458372"/>
              <a:gd name="connsiteX38448" fmla="*/ 3741544 w 10505529"/>
              <a:gd name="connsiteY38448" fmla="*/ 905482 h 7458372"/>
              <a:gd name="connsiteX38449" fmla="*/ 3742608 w 10505529"/>
              <a:gd name="connsiteY38449" fmla="*/ 900024 h 7458372"/>
              <a:gd name="connsiteX38450" fmla="*/ 3741544 w 10505529"/>
              <a:gd name="connsiteY38450" fmla="*/ 894831 h 7458372"/>
              <a:gd name="connsiteX38451" fmla="*/ 3738880 w 10505529"/>
              <a:gd name="connsiteY38451" fmla="*/ 890705 h 7458372"/>
              <a:gd name="connsiteX38452" fmla="*/ 3734888 w 10505529"/>
              <a:gd name="connsiteY38452" fmla="*/ 888042 h 7458372"/>
              <a:gd name="connsiteX38453" fmla="*/ 3729829 w 10505529"/>
              <a:gd name="connsiteY38453" fmla="*/ 887111 h 7458372"/>
              <a:gd name="connsiteX38454" fmla="*/ 4165068 w 10505529"/>
              <a:gd name="connsiteY38454" fmla="*/ 887111 h 7458372"/>
              <a:gd name="connsiteX38455" fmla="*/ 4155084 w 10505529"/>
              <a:gd name="connsiteY38455" fmla="*/ 890705 h 7458372"/>
              <a:gd name="connsiteX38456" fmla="*/ 4151490 w 10505529"/>
              <a:gd name="connsiteY38456" fmla="*/ 900156 h 7458372"/>
              <a:gd name="connsiteX38457" fmla="*/ 4155084 w 10505529"/>
              <a:gd name="connsiteY38457" fmla="*/ 909607 h 7458372"/>
              <a:gd name="connsiteX38458" fmla="*/ 4165068 w 10505529"/>
              <a:gd name="connsiteY38458" fmla="*/ 913068 h 7458372"/>
              <a:gd name="connsiteX38459" fmla="*/ 4170392 w 10505529"/>
              <a:gd name="connsiteY38459" fmla="*/ 912003 h 7458372"/>
              <a:gd name="connsiteX38460" fmla="*/ 4174119 w 10505529"/>
              <a:gd name="connsiteY38460" fmla="*/ 909607 h 7458372"/>
              <a:gd name="connsiteX38461" fmla="*/ 4176782 w 10505529"/>
              <a:gd name="connsiteY38461" fmla="*/ 905481 h 7458372"/>
              <a:gd name="connsiteX38462" fmla="*/ 4177847 w 10505529"/>
              <a:gd name="connsiteY38462" fmla="*/ 900023 h 7458372"/>
              <a:gd name="connsiteX38463" fmla="*/ 4176782 w 10505529"/>
              <a:gd name="connsiteY38463" fmla="*/ 894831 h 7458372"/>
              <a:gd name="connsiteX38464" fmla="*/ 4174119 w 10505529"/>
              <a:gd name="connsiteY38464" fmla="*/ 890705 h 7458372"/>
              <a:gd name="connsiteX38465" fmla="*/ 4170126 w 10505529"/>
              <a:gd name="connsiteY38465" fmla="*/ 888042 h 7458372"/>
              <a:gd name="connsiteX38466" fmla="*/ 4165068 w 10505529"/>
              <a:gd name="connsiteY38466" fmla="*/ 887111 h 7458372"/>
              <a:gd name="connsiteX38467" fmla="*/ 3947477 w 10505529"/>
              <a:gd name="connsiteY38467" fmla="*/ 887111 h 7458372"/>
              <a:gd name="connsiteX38468" fmla="*/ 3937494 w 10505529"/>
              <a:gd name="connsiteY38468" fmla="*/ 890705 h 7458372"/>
              <a:gd name="connsiteX38469" fmla="*/ 3933899 w 10505529"/>
              <a:gd name="connsiteY38469" fmla="*/ 900156 h 7458372"/>
              <a:gd name="connsiteX38470" fmla="*/ 3937494 w 10505529"/>
              <a:gd name="connsiteY38470" fmla="*/ 909608 h 7458372"/>
              <a:gd name="connsiteX38471" fmla="*/ 3947477 w 10505529"/>
              <a:gd name="connsiteY38471" fmla="*/ 913069 h 7458372"/>
              <a:gd name="connsiteX38472" fmla="*/ 3952802 w 10505529"/>
              <a:gd name="connsiteY38472" fmla="*/ 912004 h 7458372"/>
              <a:gd name="connsiteX38473" fmla="*/ 3956529 w 10505529"/>
              <a:gd name="connsiteY38473" fmla="*/ 909608 h 7458372"/>
              <a:gd name="connsiteX38474" fmla="*/ 3959192 w 10505529"/>
              <a:gd name="connsiteY38474" fmla="*/ 905482 h 7458372"/>
              <a:gd name="connsiteX38475" fmla="*/ 3960257 w 10505529"/>
              <a:gd name="connsiteY38475" fmla="*/ 900023 h 7458372"/>
              <a:gd name="connsiteX38476" fmla="*/ 3959192 w 10505529"/>
              <a:gd name="connsiteY38476" fmla="*/ 894831 h 7458372"/>
              <a:gd name="connsiteX38477" fmla="*/ 3956529 w 10505529"/>
              <a:gd name="connsiteY38477" fmla="*/ 890705 h 7458372"/>
              <a:gd name="connsiteX38478" fmla="*/ 3952536 w 10505529"/>
              <a:gd name="connsiteY38478" fmla="*/ 888042 h 7458372"/>
              <a:gd name="connsiteX38479" fmla="*/ 3947477 w 10505529"/>
              <a:gd name="connsiteY38479" fmla="*/ 887111 h 7458372"/>
              <a:gd name="connsiteX38480" fmla="*/ 4600226 w 10505529"/>
              <a:gd name="connsiteY38480" fmla="*/ 887111 h 7458372"/>
              <a:gd name="connsiteX38481" fmla="*/ 4590242 w 10505529"/>
              <a:gd name="connsiteY38481" fmla="*/ 890705 h 7458372"/>
              <a:gd name="connsiteX38482" fmla="*/ 4586648 w 10505529"/>
              <a:gd name="connsiteY38482" fmla="*/ 900156 h 7458372"/>
              <a:gd name="connsiteX38483" fmla="*/ 4590242 w 10505529"/>
              <a:gd name="connsiteY38483" fmla="*/ 909607 h 7458372"/>
              <a:gd name="connsiteX38484" fmla="*/ 4600226 w 10505529"/>
              <a:gd name="connsiteY38484" fmla="*/ 913068 h 7458372"/>
              <a:gd name="connsiteX38485" fmla="*/ 4605550 w 10505529"/>
              <a:gd name="connsiteY38485" fmla="*/ 912003 h 7458372"/>
              <a:gd name="connsiteX38486" fmla="*/ 4609277 w 10505529"/>
              <a:gd name="connsiteY38486" fmla="*/ 909607 h 7458372"/>
              <a:gd name="connsiteX38487" fmla="*/ 4611940 w 10505529"/>
              <a:gd name="connsiteY38487" fmla="*/ 905481 h 7458372"/>
              <a:gd name="connsiteX38488" fmla="*/ 4613005 w 10505529"/>
              <a:gd name="connsiteY38488" fmla="*/ 900023 h 7458372"/>
              <a:gd name="connsiteX38489" fmla="*/ 4611940 w 10505529"/>
              <a:gd name="connsiteY38489" fmla="*/ 894831 h 7458372"/>
              <a:gd name="connsiteX38490" fmla="*/ 4609277 w 10505529"/>
              <a:gd name="connsiteY38490" fmla="*/ 890705 h 7458372"/>
              <a:gd name="connsiteX38491" fmla="*/ 4605284 w 10505529"/>
              <a:gd name="connsiteY38491" fmla="*/ 888042 h 7458372"/>
              <a:gd name="connsiteX38492" fmla="*/ 4600226 w 10505529"/>
              <a:gd name="connsiteY38492" fmla="*/ 887111 h 7458372"/>
              <a:gd name="connsiteX38493" fmla="*/ 4382713 w 10505529"/>
              <a:gd name="connsiteY38493" fmla="*/ 887111 h 7458372"/>
              <a:gd name="connsiteX38494" fmla="*/ 4372730 w 10505529"/>
              <a:gd name="connsiteY38494" fmla="*/ 890705 h 7458372"/>
              <a:gd name="connsiteX38495" fmla="*/ 4369136 w 10505529"/>
              <a:gd name="connsiteY38495" fmla="*/ 900156 h 7458372"/>
              <a:gd name="connsiteX38496" fmla="*/ 4372730 w 10505529"/>
              <a:gd name="connsiteY38496" fmla="*/ 909607 h 7458372"/>
              <a:gd name="connsiteX38497" fmla="*/ 4382713 w 10505529"/>
              <a:gd name="connsiteY38497" fmla="*/ 913068 h 7458372"/>
              <a:gd name="connsiteX38498" fmla="*/ 4388038 w 10505529"/>
              <a:gd name="connsiteY38498" fmla="*/ 912003 h 7458372"/>
              <a:gd name="connsiteX38499" fmla="*/ 4391765 w 10505529"/>
              <a:gd name="connsiteY38499" fmla="*/ 909607 h 7458372"/>
              <a:gd name="connsiteX38500" fmla="*/ 4394428 w 10505529"/>
              <a:gd name="connsiteY38500" fmla="*/ 905481 h 7458372"/>
              <a:gd name="connsiteX38501" fmla="*/ 4395493 w 10505529"/>
              <a:gd name="connsiteY38501" fmla="*/ 900023 h 7458372"/>
              <a:gd name="connsiteX38502" fmla="*/ 4394428 w 10505529"/>
              <a:gd name="connsiteY38502" fmla="*/ 894831 h 7458372"/>
              <a:gd name="connsiteX38503" fmla="*/ 4391765 w 10505529"/>
              <a:gd name="connsiteY38503" fmla="*/ 890705 h 7458372"/>
              <a:gd name="connsiteX38504" fmla="*/ 4387772 w 10505529"/>
              <a:gd name="connsiteY38504" fmla="*/ 888042 h 7458372"/>
              <a:gd name="connsiteX38505" fmla="*/ 4382713 w 10505529"/>
              <a:gd name="connsiteY38505" fmla="*/ 887111 h 7458372"/>
              <a:gd name="connsiteX38506" fmla="*/ 5035515 w 10505529"/>
              <a:gd name="connsiteY38506" fmla="*/ 887111 h 7458372"/>
              <a:gd name="connsiteX38507" fmla="*/ 5025532 w 10505529"/>
              <a:gd name="connsiteY38507" fmla="*/ 890705 h 7458372"/>
              <a:gd name="connsiteX38508" fmla="*/ 5021938 w 10505529"/>
              <a:gd name="connsiteY38508" fmla="*/ 900156 h 7458372"/>
              <a:gd name="connsiteX38509" fmla="*/ 5025532 w 10505529"/>
              <a:gd name="connsiteY38509" fmla="*/ 909607 h 7458372"/>
              <a:gd name="connsiteX38510" fmla="*/ 5035515 w 10505529"/>
              <a:gd name="connsiteY38510" fmla="*/ 913068 h 7458372"/>
              <a:gd name="connsiteX38511" fmla="*/ 5040840 w 10505529"/>
              <a:gd name="connsiteY38511" fmla="*/ 912003 h 7458372"/>
              <a:gd name="connsiteX38512" fmla="*/ 5044567 w 10505529"/>
              <a:gd name="connsiteY38512" fmla="*/ 909607 h 7458372"/>
              <a:gd name="connsiteX38513" fmla="*/ 5047230 w 10505529"/>
              <a:gd name="connsiteY38513" fmla="*/ 905481 h 7458372"/>
              <a:gd name="connsiteX38514" fmla="*/ 5048294 w 10505529"/>
              <a:gd name="connsiteY38514" fmla="*/ 900023 h 7458372"/>
              <a:gd name="connsiteX38515" fmla="*/ 5047230 w 10505529"/>
              <a:gd name="connsiteY38515" fmla="*/ 894831 h 7458372"/>
              <a:gd name="connsiteX38516" fmla="*/ 5044567 w 10505529"/>
              <a:gd name="connsiteY38516" fmla="*/ 890705 h 7458372"/>
              <a:gd name="connsiteX38517" fmla="*/ 5040574 w 10505529"/>
              <a:gd name="connsiteY38517" fmla="*/ 888042 h 7458372"/>
              <a:gd name="connsiteX38518" fmla="*/ 5035515 w 10505529"/>
              <a:gd name="connsiteY38518" fmla="*/ 887111 h 7458372"/>
              <a:gd name="connsiteX38519" fmla="*/ 4817870 w 10505529"/>
              <a:gd name="connsiteY38519" fmla="*/ 887111 h 7458372"/>
              <a:gd name="connsiteX38520" fmla="*/ 4807887 w 10505529"/>
              <a:gd name="connsiteY38520" fmla="*/ 890705 h 7458372"/>
              <a:gd name="connsiteX38521" fmla="*/ 4804293 w 10505529"/>
              <a:gd name="connsiteY38521" fmla="*/ 900156 h 7458372"/>
              <a:gd name="connsiteX38522" fmla="*/ 4807887 w 10505529"/>
              <a:gd name="connsiteY38522" fmla="*/ 909607 h 7458372"/>
              <a:gd name="connsiteX38523" fmla="*/ 4817870 w 10505529"/>
              <a:gd name="connsiteY38523" fmla="*/ 913068 h 7458372"/>
              <a:gd name="connsiteX38524" fmla="*/ 4823195 w 10505529"/>
              <a:gd name="connsiteY38524" fmla="*/ 912003 h 7458372"/>
              <a:gd name="connsiteX38525" fmla="*/ 4826922 w 10505529"/>
              <a:gd name="connsiteY38525" fmla="*/ 909607 h 7458372"/>
              <a:gd name="connsiteX38526" fmla="*/ 4829585 w 10505529"/>
              <a:gd name="connsiteY38526" fmla="*/ 905481 h 7458372"/>
              <a:gd name="connsiteX38527" fmla="*/ 4830650 w 10505529"/>
              <a:gd name="connsiteY38527" fmla="*/ 900023 h 7458372"/>
              <a:gd name="connsiteX38528" fmla="*/ 4829585 w 10505529"/>
              <a:gd name="connsiteY38528" fmla="*/ 894831 h 7458372"/>
              <a:gd name="connsiteX38529" fmla="*/ 4826922 w 10505529"/>
              <a:gd name="connsiteY38529" fmla="*/ 890705 h 7458372"/>
              <a:gd name="connsiteX38530" fmla="*/ 4822929 w 10505529"/>
              <a:gd name="connsiteY38530" fmla="*/ 888042 h 7458372"/>
              <a:gd name="connsiteX38531" fmla="*/ 4817870 w 10505529"/>
              <a:gd name="connsiteY38531" fmla="*/ 887111 h 7458372"/>
              <a:gd name="connsiteX38532" fmla="*/ 5253160 w 10505529"/>
              <a:gd name="connsiteY38532" fmla="*/ 887111 h 7458372"/>
              <a:gd name="connsiteX38533" fmla="*/ 5243177 w 10505529"/>
              <a:gd name="connsiteY38533" fmla="*/ 890705 h 7458372"/>
              <a:gd name="connsiteX38534" fmla="*/ 5239583 w 10505529"/>
              <a:gd name="connsiteY38534" fmla="*/ 900156 h 7458372"/>
              <a:gd name="connsiteX38535" fmla="*/ 5243177 w 10505529"/>
              <a:gd name="connsiteY38535" fmla="*/ 909607 h 7458372"/>
              <a:gd name="connsiteX38536" fmla="*/ 5253160 w 10505529"/>
              <a:gd name="connsiteY38536" fmla="*/ 913068 h 7458372"/>
              <a:gd name="connsiteX38537" fmla="*/ 5258485 w 10505529"/>
              <a:gd name="connsiteY38537" fmla="*/ 912003 h 7458372"/>
              <a:gd name="connsiteX38538" fmla="*/ 5262212 w 10505529"/>
              <a:gd name="connsiteY38538" fmla="*/ 909607 h 7458372"/>
              <a:gd name="connsiteX38539" fmla="*/ 5264875 w 10505529"/>
              <a:gd name="connsiteY38539" fmla="*/ 905481 h 7458372"/>
              <a:gd name="connsiteX38540" fmla="*/ 5265939 w 10505529"/>
              <a:gd name="connsiteY38540" fmla="*/ 900023 h 7458372"/>
              <a:gd name="connsiteX38541" fmla="*/ 5264875 w 10505529"/>
              <a:gd name="connsiteY38541" fmla="*/ 894831 h 7458372"/>
              <a:gd name="connsiteX38542" fmla="*/ 5262212 w 10505529"/>
              <a:gd name="connsiteY38542" fmla="*/ 890705 h 7458372"/>
              <a:gd name="connsiteX38543" fmla="*/ 5258219 w 10505529"/>
              <a:gd name="connsiteY38543" fmla="*/ 888042 h 7458372"/>
              <a:gd name="connsiteX38544" fmla="*/ 5253160 w 10505529"/>
              <a:gd name="connsiteY38544" fmla="*/ 887111 h 7458372"/>
              <a:gd name="connsiteX38545" fmla="*/ 5688451 w 10505529"/>
              <a:gd name="connsiteY38545" fmla="*/ 887110 h 7458372"/>
              <a:gd name="connsiteX38546" fmla="*/ 5678467 w 10505529"/>
              <a:gd name="connsiteY38546" fmla="*/ 890705 h 7458372"/>
              <a:gd name="connsiteX38547" fmla="*/ 5674873 w 10505529"/>
              <a:gd name="connsiteY38547" fmla="*/ 900156 h 7458372"/>
              <a:gd name="connsiteX38548" fmla="*/ 5678467 w 10505529"/>
              <a:gd name="connsiteY38548" fmla="*/ 909607 h 7458372"/>
              <a:gd name="connsiteX38549" fmla="*/ 5688451 w 10505529"/>
              <a:gd name="connsiteY38549" fmla="*/ 913068 h 7458372"/>
              <a:gd name="connsiteX38550" fmla="*/ 5693775 w 10505529"/>
              <a:gd name="connsiteY38550" fmla="*/ 912003 h 7458372"/>
              <a:gd name="connsiteX38551" fmla="*/ 5697502 w 10505529"/>
              <a:gd name="connsiteY38551" fmla="*/ 909607 h 7458372"/>
              <a:gd name="connsiteX38552" fmla="*/ 5700165 w 10505529"/>
              <a:gd name="connsiteY38552" fmla="*/ 905481 h 7458372"/>
              <a:gd name="connsiteX38553" fmla="*/ 5701230 w 10505529"/>
              <a:gd name="connsiteY38553" fmla="*/ 900023 h 7458372"/>
              <a:gd name="connsiteX38554" fmla="*/ 5700165 w 10505529"/>
              <a:gd name="connsiteY38554" fmla="*/ 894831 h 7458372"/>
              <a:gd name="connsiteX38555" fmla="*/ 5697502 w 10505529"/>
              <a:gd name="connsiteY38555" fmla="*/ 890705 h 7458372"/>
              <a:gd name="connsiteX38556" fmla="*/ 5693509 w 10505529"/>
              <a:gd name="connsiteY38556" fmla="*/ 888041 h 7458372"/>
              <a:gd name="connsiteX38557" fmla="*/ 5688451 w 10505529"/>
              <a:gd name="connsiteY38557" fmla="*/ 887110 h 7458372"/>
              <a:gd name="connsiteX38558" fmla="*/ 5470806 w 10505529"/>
              <a:gd name="connsiteY38558" fmla="*/ 887110 h 7458372"/>
              <a:gd name="connsiteX38559" fmla="*/ 5460822 w 10505529"/>
              <a:gd name="connsiteY38559" fmla="*/ 890705 h 7458372"/>
              <a:gd name="connsiteX38560" fmla="*/ 5457228 w 10505529"/>
              <a:gd name="connsiteY38560" fmla="*/ 900156 h 7458372"/>
              <a:gd name="connsiteX38561" fmla="*/ 5460822 w 10505529"/>
              <a:gd name="connsiteY38561" fmla="*/ 909607 h 7458372"/>
              <a:gd name="connsiteX38562" fmla="*/ 5470806 w 10505529"/>
              <a:gd name="connsiteY38562" fmla="*/ 913068 h 7458372"/>
              <a:gd name="connsiteX38563" fmla="*/ 5476130 w 10505529"/>
              <a:gd name="connsiteY38563" fmla="*/ 912003 h 7458372"/>
              <a:gd name="connsiteX38564" fmla="*/ 5479857 w 10505529"/>
              <a:gd name="connsiteY38564" fmla="*/ 909607 h 7458372"/>
              <a:gd name="connsiteX38565" fmla="*/ 5482520 w 10505529"/>
              <a:gd name="connsiteY38565" fmla="*/ 905481 h 7458372"/>
              <a:gd name="connsiteX38566" fmla="*/ 5483585 w 10505529"/>
              <a:gd name="connsiteY38566" fmla="*/ 900023 h 7458372"/>
              <a:gd name="connsiteX38567" fmla="*/ 5482520 w 10505529"/>
              <a:gd name="connsiteY38567" fmla="*/ 894831 h 7458372"/>
              <a:gd name="connsiteX38568" fmla="*/ 5479857 w 10505529"/>
              <a:gd name="connsiteY38568" fmla="*/ 890705 h 7458372"/>
              <a:gd name="connsiteX38569" fmla="*/ 5475864 w 10505529"/>
              <a:gd name="connsiteY38569" fmla="*/ 888042 h 7458372"/>
              <a:gd name="connsiteX38570" fmla="*/ 5470806 w 10505529"/>
              <a:gd name="connsiteY38570" fmla="*/ 887110 h 7458372"/>
              <a:gd name="connsiteX38571" fmla="*/ 6123608 w 10505529"/>
              <a:gd name="connsiteY38571" fmla="*/ 887110 h 7458372"/>
              <a:gd name="connsiteX38572" fmla="*/ 6113624 w 10505529"/>
              <a:gd name="connsiteY38572" fmla="*/ 890704 h 7458372"/>
              <a:gd name="connsiteX38573" fmla="*/ 6110030 w 10505529"/>
              <a:gd name="connsiteY38573" fmla="*/ 900156 h 7458372"/>
              <a:gd name="connsiteX38574" fmla="*/ 6113624 w 10505529"/>
              <a:gd name="connsiteY38574" fmla="*/ 909606 h 7458372"/>
              <a:gd name="connsiteX38575" fmla="*/ 6123608 w 10505529"/>
              <a:gd name="connsiteY38575" fmla="*/ 913068 h 7458372"/>
              <a:gd name="connsiteX38576" fmla="*/ 6128932 w 10505529"/>
              <a:gd name="connsiteY38576" fmla="*/ 912003 h 7458372"/>
              <a:gd name="connsiteX38577" fmla="*/ 6132659 w 10505529"/>
              <a:gd name="connsiteY38577" fmla="*/ 909606 h 7458372"/>
              <a:gd name="connsiteX38578" fmla="*/ 6135322 w 10505529"/>
              <a:gd name="connsiteY38578" fmla="*/ 905480 h 7458372"/>
              <a:gd name="connsiteX38579" fmla="*/ 6136387 w 10505529"/>
              <a:gd name="connsiteY38579" fmla="*/ 900023 h 7458372"/>
              <a:gd name="connsiteX38580" fmla="*/ 6135322 w 10505529"/>
              <a:gd name="connsiteY38580" fmla="*/ 894830 h 7458372"/>
              <a:gd name="connsiteX38581" fmla="*/ 6132659 w 10505529"/>
              <a:gd name="connsiteY38581" fmla="*/ 890704 h 7458372"/>
              <a:gd name="connsiteX38582" fmla="*/ 6128666 w 10505529"/>
              <a:gd name="connsiteY38582" fmla="*/ 888041 h 7458372"/>
              <a:gd name="connsiteX38583" fmla="*/ 6123608 w 10505529"/>
              <a:gd name="connsiteY38583" fmla="*/ 887110 h 7458372"/>
              <a:gd name="connsiteX38584" fmla="*/ 5905963 w 10505529"/>
              <a:gd name="connsiteY38584" fmla="*/ 887110 h 7458372"/>
              <a:gd name="connsiteX38585" fmla="*/ 5895979 w 10505529"/>
              <a:gd name="connsiteY38585" fmla="*/ 890704 h 7458372"/>
              <a:gd name="connsiteX38586" fmla="*/ 5892385 w 10505529"/>
              <a:gd name="connsiteY38586" fmla="*/ 900156 h 7458372"/>
              <a:gd name="connsiteX38587" fmla="*/ 5895979 w 10505529"/>
              <a:gd name="connsiteY38587" fmla="*/ 909607 h 7458372"/>
              <a:gd name="connsiteX38588" fmla="*/ 5905963 w 10505529"/>
              <a:gd name="connsiteY38588" fmla="*/ 913068 h 7458372"/>
              <a:gd name="connsiteX38589" fmla="*/ 5911287 w 10505529"/>
              <a:gd name="connsiteY38589" fmla="*/ 912003 h 7458372"/>
              <a:gd name="connsiteX38590" fmla="*/ 5915014 w 10505529"/>
              <a:gd name="connsiteY38590" fmla="*/ 909607 h 7458372"/>
              <a:gd name="connsiteX38591" fmla="*/ 5917677 w 10505529"/>
              <a:gd name="connsiteY38591" fmla="*/ 905481 h 7458372"/>
              <a:gd name="connsiteX38592" fmla="*/ 5918742 w 10505529"/>
              <a:gd name="connsiteY38592" fmla="*/ 900023 h 7458372"/>
              <a:gd name="connsiteX38593" fmla="*/ 5917677 w 10505529"/>
              <a:gd name="connsiteY38593" fmla="*/ 894830 h 7458372"/>
              <a:gd name="connsiteX38594" fmla="*/ 5915014 w 10505529"/>
              <a:gd name="connsiteY38594" fmla="*/ 890704 h 7458372"/>
              <a:gd name="connsiteX38595" fmla="*/ 5911021 w 10505529"/>
              <a:gd name="connsiteY38595" fmla="*/ 888041 h 7458372"/>
              <a:gd name="connsiteX38596" fmla="*/ 5905963 w 10505529"/>
              <a:gd name="connsiteY38596" fmla="*/ 887110 h 7458372"/>
              <a:gd name="connsiteX38597" fmla="*/ 6341253 w 10505529"/>
              <a:gd name="connsiteY38597" fmla="*/ 887110 h 7458372"/>
              <a:gd name="connsiteX38598" fmla="*/ 6331270 w 10505529"/>
              <a:gd name="connsiteY38598" fmla="*/ 890704 h 7458372"/>
              <a:gd name="connsiteX38599" fmla="*/ 6327675 w 10505529"/>
              <a:gd name="connsiteY38599" fmla="*/ 900155 h 7458372"/>
              <a:gd name="connsiteX38600" fmla="*/ 6331270 w 10505529"/>
              <a:gd name="connsiteY38600" fmla="*/ 909606 h 7458372"/>
              <a:gd name="connsiteX38601" fmla="*/ 6341253 w 10505529"/>
              <a:gd name="connsiteY38601" fmla="*/ 913067 h 7458372"/>
              <a:gd name="connsiteX38602" fmla="*/ 6346578 w 10505529"/>
              <a:gd name="connsiteY38602" fmla="*/ 912003 h 7458372"/>
              <a:gd name="connsiteX38603" fmla="*/ 6350305 w 10505529"/>
              <a:gd name="connsiteY38603" fmla="*/ 909606 h 7458372"/>
              <a:gd name="connsiteX38604" fmla="*/ 6352968 w 10505529"/>
              <a:gd name="connsiteY38604" fmla="*/ 905480 h 7458372"/>
              <a:gd name="connsiteX38605" fmla="*/ 6354033 w 10505529"/>
              <a:gd name="connsiteY38605" fmla="*/ 900022 h 7458372"/>
              <a:gd name="connsiteX38606" fmla="*/ 6352968 w 10505529"/>
              <a:gd name="connsiteY38606" fmla="*/ 894830 h 7458372"/>
              <a:gd name="connsiteX38607" fmla="*/ 6350305 w 10505529"/>
              <a:gd name="connsiteY38607" fmla="*/ 890704 h 7458372"/>
              <a:gd name="connsiteX38608" fmla="*/ 6346312 w 10505529"/>
              <a:gd name="connsiteY38608" fmla="*/ 888041 h 7458372"/>
              <a:gd name="connsiteX38609" fmla="*/ 6341253 w 10505529"/>
              <a:gd name="connsiteY38609" fmla="*/ 887110 h 7458372"/>
              <a:gd name="connsiteX38610" fmla="*/ 6558899 w 10505529"/>
              <a:gd name="connsiteY38610" fmla="*/ 887110 h 7458372"/>
              <a:gd name="connsiteX38611" fmla="*/ 6548915 w 10505529"/>
              <a:gd name="connsiteY38611" fmla="*/ 890704 h 7458372"/>
              <a:gd name="connsiteX38612" fmla="*/ 6545321 w 10505529"/>
              <a:gd name="connsiteY38612" fmla="*/ 900155 h 7458372"/>
              <a:gd name="connsiteX38613" fmla="*/ 6548915 w 10505529"/>
              <a:gd name="connsiteY38613" fmla="*/ 909606 h 7458372"/>
              <a:gd name="connsiteX38614" fmla="*/ 6558899 w 10505529"/>
              <a:gd name="connsiteY38614" fmla="*/ 913067 h 7458372"/>
              <a:gd name="connsiteX38615" fmla="*/ 6564223 w 10505529"/>
              <a:gd name="connsiteY38615" fmla="*/ 912003 h 7458372"/>
              <a:gd name="connsiteX38616" fmla="*/ 6567950 w 10505529"/>
              <a:gd name="connsiteY38616" fmla="*/ 909606 h 7458372"/>
              <a:gd name="connsiteX38617" fmla="*/ 6570612 w 10505529"/>
              <a:gd name="connsiteY38617" fmla="*/ 905480 h 7458372"/>
              <a:gd name="connsiteX38618" fmla="*/ 6571677 w 10505529"/>
              <a:gd name="connsiteY38618" fmla="*/ 900022 h 7458372"/>
              <a:gd name="connsiteX38619" fmla="*/ 6570612 w 10505529"/>
              <a:gd name="connsiteY38619" fmla="*/ 894830 h 7458372"/>
              <a:gd name="connsiteX38620" fmla="*/ 6567950 w 10505529"/>
              <a:gd name="connsiteY38620" fmla="*/ 890704 h 7458372"/>
              <a:gd name="connsiteX38621" fmla="*/ 6563956 w 10505529"/>
              <a:gd name="connsiteY38621" fmla="*/ 888041 h 7458372"/>
              <a:gd name="connsiteX38622" fmla="*/ 6558899 w 10505529"/>
              <a:gd name="connsiteY38622" fmla="*/ 887110 h 7458372"/>
              <a:gd name="connsiteX38623" fmla="*/ 6776544 w 10505529"/>
              <a:gd name="connsiteY38623" fmla="*/ 887110 h 7458372"/>
              <a:gd name="connsiteX38624" fmla="*/ 6766560 w 10505529"/>
              <a:gd name="connsiteY38624" fmla="*/ 890704 h 7458372"/>
              <a:gd name="connsiteX38625" fmla="*/ 6762966 w 10505529"/>
              <a:gd name="connsiteY38625" fmla="*/ 900155 h 7458372"/>
              <a:gd name="connsiteX38626" fmla="*/ 6766560 w 10505529"/>
              <a:gd name="connsiteY38626" fmla="*/ 909606 h 7458372"/>
              <a:gd name="connsiteX38627" fmla="*/ 6776544 w 10505529"/>
              <a:gd name="connsiteY38627" fmla="*/ 913067 h 7458372"/>
              <a:gd name="connsiteX38628" fmla="*/ 6781869 w 10505529"/>
              <a:gd name="connsiteY38628" fmla="*/ 912003 h 7458372"/>
              <a:gd name="connsiteX38629" fmla="*/ 6785595 w 10505529"/>
              <a:gd name="connsiteY38629" fmla="*/ 909606 h 7458372"/>
              <a:gd name="connsiteX38630" fmla="*/ 6788258 w 10505529"/>
              <a:gd name="connsiteY38630" fmla="*/ 905480 h 7458372"/>
              <a:gd name="connsiteX38631" fmla="*/ 6789323 w 10505529"/>
              <a:gd name="connsiteY38631" fmla="*/ 900022 h 7458372"/>
              <a:gd name="connsiteX38632" fmla="*/ 6788258 w 10505529"/>
              <a:gd name="connsiteY38632" fmla="*/ 894830 h 7458372"/>
              <a:gd name="connsiteX38633" fmla="*/ 6785595 w 10505529"/>
              <a:gd name="connsiteY38633" fmla="*/ 890704 h 7458372"/>
              <a:gd name="connsiteX38634" fmla="*/ 6781602 w 10505529"/>
              <a:gd name="connsiteY38634" fmla="*/ 888041 h 7458372"/>
              <a:gd name="connsiteX38635" fmla="*/ 6776544 w 10505529"/>
              <a:gd name="connsiteY38635" fmla="*/ 887110 h 7458372"/>
              <a:gd name="connsiteX38636" fmla="*/ 7211701 w 10505529"/>
              <a:gd name="connsiteY38636" fmla="*/ 887110 h 7458372"/>
              <a:gd name="connsiteX38637" fmla="*/ 7201717 w 10505529"/>
              <a:gd name="connsiteY38637" fmla="*/ 890704 h 7458372"/>
              <a:gd name="connsiteX38638" fmla="*/ 7198123 w 10505529"/>
              <a:gd name="connsiteY38638" fmla="*/ 900155 h 7458372"/>
              <a:gd name="connsiteX38639" fmla="*/ 7201717 w 10505529"/>
              <a:gd name="connsiteY38639" fmla="*/ 909606 h 7458372"/>
              <a:gd name="connsiteX38640" fmla="*/ 7211701 w 10505529"/>
              <a:gd name="connsiteY38640" fmla="*/ 913067 h 7458372"/>
              <a:gd name="connsiteX38641" fmla="*/ 7217026 w 10505529"/>
              <a:gd name="connsiteY38641" fmla="*/ 912002 h 7458372"/>
              <a:gd name="connsiteX38642" fmla="*/ 7220752 w 10505529"/>
              <a:gd name="connsiteY38642" fmla="*/ 909606 h 7458372"/>
              <a:gd name="connsiteX38643" fmla="*/ 7223415 w 10505529"/>
              <a:gd name="connsiteY38643" fmla="*/ 905480 h 7458372"/>
              <a:gd name="connsiteX38644" fmla="*/ 7224480 w 10505529"/>
              <a:gd name="connsiteY38644" fmla="*/ 900022 h 7458372"/>
              <a:gd name="connsiteX38645" fmla="*/ 7223415 w 10505529"/>
              <a:gd name="connsiteY38645" fmla="*/ 894830 h 7458372"/>
              <a:gd name="connsiteX38646" fmla="*/ 7220752 w 10505529"/>
              <a:gd name="connsiteY38646" fmla="*/ 890704 h 7458372"/>
              <a:gd name="connsiteX38647" fmla="*/ 7216759 w 10505529"/>
              <a:gd name="connsiteY38647" fmla="*/ 888041 h 7458372"/>
              <a:gd name="connsiteX38648" fmla="*/ 7211701 w 10505529"/>
              <a:gd name="connsiteY38648" fmla="*/ 887110 h 7458372"/>
              <a:gd name="connsiteX38649" fmla="*/ 6994056 w 10505529"/>
              <a:gd name="connsiteY38649" fmla="*/ 887110 h 7458372"/>
              <a:gd name="connsiteX38650" fmla="*/ 6984072 w 10505529"/>
              <a:gd name="connsiteY38650" fmla="*/ 890704 h 7458372"/>
              <a:gd name="connsiteX38651" fmla="*/ 6980478 w 10505529"/>
              <a:gd name="connsiteY38651" fmla="*/ 900155 h 7458372"/>
              <a:gd name="connsiteX38652" fmla="*/ 6984072 w 10505529"/>
              <a:gd name="connsiteY38652" fmla="*/ 909606 h 7458372"/>
              <a:gd name="connsiteX38653" fmla="*/ 6994056 w 10505529"/>
              <a:gd name="connsiteY38653" fmla="*/ 913067 h 7458372"/>
              <a:gd name="connsiteX38654" fmla="*/ 6999380 w 10505529"/>
              <a:gd name="connsiteY38654" fmla="*/ 912002 h 7458372"/>
              <a:gd name="connsiteX38655" fmla="*/ 7003107 w 10505529"/>
              <a:gd name="connsiteY38655" fmla="*/ 909606 h 7458372"/>
              <a:gd name="connsiteX38656" fmla="*/ 7005769 w 10505529"/>
              <a:gd name="connsiteY38656" fmla="*/ 905480 h 7458372"/>
              <a:gd name="connsiteX38657" fmla="*/ 7006834 w 10505529"/>
              <a:gd name="connsiteY38657" fmla="*/ 900022 h 7458372"/>
              <a:gd name="connsiteX38658" fmla="*/ 7005769 w 10505529"/>
              <a:gd name="connsiteY38658" fmla="*/ 894830 h 7458372"/>
              <a:gd name="connsiteX38659" fmla="*/ 7003107 w 10505529"/>
              <a:gd name="connsiteY38659" fmla="*/ 890704 h 7458372"/>
              <a:gd name="connsiteX38660" fmla="*/ 6999113 w 10505529"/>
              <a:gd name="connsiteY38660" fmla="*/ 888041 h 7458372"/>
              <a:gd name="connsiteX38661" fmla="*/ 6994056 w 10505529"/>
              <a:gd name="connsiteY38661" fmla="*/ 887110 h 7458372"/>
              <a:gd name="connsiteX38662" fmla="*/ 7429345 w 10505529"/>
              <a:gd name="connsiteY38662" fmla="*/ 887110 h 7458372"/>
              <a:gd name="connsiteX38663" fmla="*/ 7419361 w 10505529"/>
              <a:gd name="connsiteY38663" fmla="*/ 890704 h 7458372"/>
              <a:gd name="connsiteX38664" fmla="*/ 7415768 w 10505529"/>
              <a:gd name="connsiteY38664" fmla="*/ 900155 h 7458372"/>
              <a:gd name="connsiteX38665" fmla="*/ 7419361 w 10505529"/>
              <a:gd name="connsiteY38665" fmla="*/ 909606 h 7458372"/>
              <a:gd name="connsiteX38666" fmla="*/ 7429345 w 10505529"/>
              <a:gd name="connsiteY38666" fmla="*/ 913067 h 7458372"/>
              <a:gd name="connsiteX38667" fmla="*/ 7434670 w 10505529"/>
              <a:gd name="connsiteY38667" fmla="*/ 912002 h 7458372"/>
              <a:gd name="connsiteX38668" fmla="*/ 7438397 w 10505529"/>
              <a:gd name="connsiteY38668" fmla="*/ 909606 h 7458372"/>
              <a:gd name="connsiteX38669" fmla="*/ 7441059 w 10505529"/>
              <a:gd name="connsiteY38669" fmla="*/ 905480 h 7458372"/>
              <a:gd name="connsiteX38670" fmla="*/ 7442124 w 10505529"/>
              <a:gd name="connsiteY38670" fmla="*/ 900022 h 7458372"/>
              <a:gd name="connsiteX38671" fmla="*/ 7441059 w 10505529"/>
              <a:gd name="connsiteY38671" fmla="*/ 894830 h 7458372"/>
              <a:gd name="connsiteX38672" fmla="*/ 7438397 w 10505529"/>
              <a:gd name="connsiteY38672" fmla="*/ 890704 h 7458372"/>
              <a:gd name="connsiteX38673" fmla="*/ 7434403 w 10505529"/>
              <a:gd name="connsiteY38673" fmla="*/ 888041 h 7458372"/>
              <a:gd name="connsiteX38674" fmla="*/ 7429345 w 10505529"/>
              <a:gd name="connsiteY38674" fmla="*/ 887110 h 7458372"/>
              <a:gd name="connsiteX38675" fmla="*/ 7864636 w 10505529"/>
              <a:gd name="connsiteY38675" fmla="*/ 887109 h 7458372"/>
              <a:gd name="connsiteX38676" fmla="*/ 7854652 w 10505529"/>
              <a:gd name="connsiteY38676" fmla="*/ 890703 h 7458372"/>
              <a:gd name="connsiteX38677" fmla="*/ 7851058 w 10505529"/>
              <a:gd name="connsiteY38677" fmla="*/ 900155 h 7458372"/>
              <a:gd name="connsiteX38678" fmla="*/ 7854652 w 10505529"/>
              <a:gd name="connsiteY38678" fmla="*/ 909606 h 7458372"/>
              <a:gd name="connsiteX38679" fmla="*/ 7864636 w 10505529"/>
              <a:gd name="connsiteY38679" fmla="*/ 913067 h 7458372"/>
              <a:gd name="connsiteX38680" fmla="*/ 7869961 w 10505529"/>
              <a:gd name="connsiteY38680" fmla="*/ 912002 h 7458372"/>
              <a:gd name="connsiteX38681" fmla="*/ 7873687 w 10505529"/>
              <a:gd name="connsiteY38681" fmla="*/ 909606 h 7458372"/>
              <a:gd name="connsiteX38682" fmla="*/ 7876350 w 10505529"/>
              <a:gd name="connsiteY38682" fmla="*/ 905480 h 7458372"/>
              <a:gd name="connsiteX38683" fmla="*/ 7877282 w 10505529"/>
              <a:gd name="connsiteY38683" fmla="*/ 900022 h 7458372"/>
              <a:gd name="connsiteX38684" fmla="*/ 7876350 w 10505529"/>
              <a:gd name="connsiteY38684" fmla="*/ 894830 h 7458372"/>
              <a:gd name="connsiteX38685" fmla="*/ 7873687 w 10505529"/>
              <a:gd name="connsiteY38685" fmla="*/ 890703 h 7458372"/>
              <a:gd name="connsiteX38686" fmla="*/ 7869694 w 10505529"/>
              <a:gd name="connsiteY38686" fmla="*/ 888040 h 7458372"/>
              <a:gd name="connsiteX38687" fmla="*/ 7864636 w 10505529"/>
              <a:gd name="connsiteY38687" fmla="*/ 887109 h 7458372"/>
              <a:gd name="connsiteX38688" fmla="*/ 7646991 w 10505529"/>
              <a:gd name="connsiteY38688" fmla="*/ 887109 h 7458372"/>
              <a:gd name="connsiteX38689" fmla="*/ 7637007 w 10505529"/>
              <a:gd name="connsiteY38689" fmla="*/ 890704 h 7458372"/>
              <a:gd name="connsiteX38690" fmla="*/ 7633413 w 10505529"/>
              <a:gd name="connsiteY38690" fmla="*/ 900155 h 7458372"/>
              <a:gd name="connsiteX38691" fmla="*/ 7637007 w 10505529"/>
              <a:gd name="connsiteY38691" fmla="*/ 909606 h 7458372"/>
              <a:gd name="connsiteX38692" fmla="*/ 7646991 w 10505529"/>
              <a:gd name="connsiteY38692" fmla="*/ 913067 h 7458372"/>
              <a:gd name="connsiteX38693" fmla="*/ 7652315 w 10505529"/>
              <a:gd name="connsiteY38693" fmla="*/ 912002 h 7458372"/>
              <a:gd name="connsiteX38694" fmla="*/ 7656042 w 10505529"/>
              <a:gd name="connsiteY38694" fmla="*/ 909606 h 7458372"/>
              <a:gd name="connsiteX38695" fmla="*/ 7658705 w 10505529"/>
              <a:gd name="connsiteY38695" fmla="*/ 905480 h 7458372"/>
              <a:gd name="connsiteX38696" fmla="*/ 7659769 w 10505529"/>
              <a:gd name="connsiteY38696" fmla="*/ 900022 h 7458372"/>
              <a:gd name="connsiteX38697" fmla="*/ 7658705 w 10505529"/>
              <a:gd name="connsiteY38697" fmla="*/ 894830 h 7458372"/>
              <a:gd name="connsiteX38698" fmla="*/ 7656042 w 10505529"/>
              <a:gd name="connsiteY38698" fmla="*/ 890704 h 7458372"/>
              <a:gd name="connsiteX38699" fmla="*/ 7652049 w 10505529"/>
              <a:gd name="connsiteY38699" fmla="*/ 888041 h 7458372"/>
              <a:gd name="connsiteX38700" fmla="*/ 7646991 w 10505529"/>
              <a:gd name="connsiteY38700" fmla="*/ 887109 h 7458372"/>
              <a:gd name="connsiteX38701" fmla="*/ 8082281 w 10505529"/>
              <a:gd name="connsiteY38701" fmla="*/ 887109 h 7458372"/>
              <a:gd name="connsiteX38702" fmla="*/ 8072297 w 10505529"/>
              <a:gd name="connsiteY38702" fmla="*/ 890703 h 7458372"/>
              <a:gd name="connsiteX38703" fmla="*/ 8068703 w 10505529"/>
              <a:gd name="connsiteY38703" fmla="*/ 900155 h 7458372"/>
              <a:gd name="connsiteX38704" fmla="*/ 8072297 w 10505529"/>
              <a:gd name="connsiteY38704" fmla="*/ 909606 h 7458372"/>
              <a:gd name="connsiteX38705" fmla="*/ 8082281 w 10505529"/>
              <a:gd name="connsiteY38705" fmla="*/ 913067 h 7458372"/>
              <a:gd name="connsiteX38706" fmla="*/ 8087605 w 10505529"/>
              <a:gd name="connsiteY38706" fmla="*/ 912002 h 7458372"/>
              <a:gd name="connsiteX38707" fmla="*/ 8091332 w 10505529"/>
              <a:gd name="connsiteY38707" fmla="*/ 909606 h 7458372"/>
              <a:gd name="connsiteX38708" fmla="*/ 8093994 w 10505529"/>
              <a:gd name="connsiteY38708" fmla="*/ 905480 h 7458372"/>
              <a:gd name="connsiteX38709" fmla="*/ 8094926 w 10505529"/>
              <a:gd name="connsiteY38709" fmla="*/ 900022 h 7458372"/>
              <a:gd name="connsiteX38710" fmla="*/ 8093994 w 10505529"/>
              <a:gd name="connsiteY38710" fmla="*/ 894829 h 7458372"/>
              <a:gd name="connsiteX38711" fmla="*/ 8091332 w 10505529"/>
              <a:gd name="connsiteY38711" fmla="*/ 890703 h 7458372"/>
              <a:gd name="connsiteX38712" fmla="*/ 8087338 w 10505529"/>
              <a:gd name="connsiteY38712" fmla="*/ 888040 h 7458372"/>
              <a:gd name="connsiteX38713" fmla="*/ 8082281 w 10505529"/>
              <a:gd name="connsiteY38713" fmla="*/ 887109 h 7458372"/>
              <a:gd name="connsiteX38714" fmla="*/ 8517438 w 10505529"/>
              <a:gd name="connsiteY38714" fmla="*/ 887109 h 7458372"/>
              <a:gd name="connsiteX38715" fmla="*/ 8507453 w 10505529"/>
              <a:gd name="connsiteY38715" fmla="*/ 890703 h 7458372"/>
              <a:gd name="connsiteX38716" fmla="*/ 8503860 w 10505529"/>
              <a:gd name="connsiteY38716" fmla="*/ 900154 h 7458372"/>
              <a:gd name="connsiteX38717" fmla="*/ 8507453 w 10505529"/>
              <a:gd name="connsiteY38717" fmla="*/ 909605 h 7458372"/>
              <a:gd name="connsiteX38718" fmla="*/ 8517438 w 10505529"/>
              <a:gd name="connsiteY38718" fmla="*/ 913067 h 7458372"/>
              <a:gd name="connsiteX38719" fmla="*/ 8522763 w 10505529"/>
              <a:gd name="connsiteY38719" fmla="*/ 912002 h 7458372"/>
              <a:gd name="connsiteX38720" fmla="*/ 8526490 w 10505529"/>
              <a:gd name="connsiteY38720" fmla="*/ 909605 h 7458372"/>
              <a:gd name="connsiteX38721" fmla="*/ 8529152 w 10505529"/>
              <a:gd name="connsiteY38721" fmla="*/ 905479 h 7458372"/>
              <a:gd name="connsiteX38722" fmla="*/ 8530084 w 10505529"/>
              <a:gd name="connsiteY38722" fmla="*/ 900021 h 7458372"/>
              <a:gd name="connsiteX38723" fmla="*/ 8529152 w 10505529"/>
              <a:gd name="connsiteY38723" fmla="*/ 894829 h 7458372"/>
              <a:gd name="connsiteX38724" fmla="*/ 8526490 w 10505529"/>
              <a:gd name="connsiteY38724" fmla="*/ 890703 h 7458372"/>
              <a:gd name="connsiteX38725" fmla="*/ 8522496 w 10505529"/>
              <a:gd name="connsiteY38725" fmla="*/ 888040 h 7458372"/>
              <a:gd name="connsiteX38726" fmla="*/ 8517438 w 10505529"/>
              <a:gd name="connsiteY38726" fmla="*/ 887109 h 7458372"/>
              <a:gd name="connsiteX38727" fmla="*/ 8299793 w 10505529"/>
              <a:gd name="connsiteY38727" fmla="*/ 887109 h 7458372"/>
              <a:gd name="connsiteX38728" fmla="*/ 8289809 w 10505529"/>
              <a:gd name="connsiteY38728" fmla="*/ 890703 h 7458372"/>
              <a:gd name="connsiteX38729" fmla="*/ 8286215 w 10505529"/>
              <a:gd name="connsiteY38729" fmla="*/ 900155 h 7458372"/>
              <a:gd name="connsiteX38730" fmla="*/ 8289809 w 10505529"/>
              <a:gd name="connsiteY38730" fmla="*/ 909606 h 7458372"/>
              <a:gd name="connsiteX38731" fmla="*/ 8299793 w 10505529"/>
              <a:gd name="connsiteY38731" fmla="*/ 913067 h 7458372"/>
              <a:gd name="connsiteX38732" fmla="*/ 8305118 w 10505529"/>
              <a:gd name="connsiteY38732" fmla="*/ 912002 h 7458372"/>
              <a:gd name="connsiteX38733" fmla="*/ 8308844 w 10505529"/>
              <a:gd name="connsiteY38733" fmla="*/ 909606 h 7458372"/>
              <a:gd name="connsiteX38734" fmla="*/ 8311507 w 10505529"/>
              <a:gd name="connsiteY38734" fmla="*/ 905479 h 7458372"/>
              <a:gd name="connsiteX38735" fmla="*/ 8312439 w 10505529"/>
              <a:gd name="connsiteY38735" fmla="*/ 900022 h 7458372"/>
              <a:gd name="connsiteX38736" fmla="*/ 8311507 w 10505529"/>
              <a:gd name="connsiteY38736" fmla="*/ 894829 h 7458372"/>
              <a:gd name="connsiteX38737" fmla="*/ 8308844 w 10505529"/>
              <a:gd name="connsiteY38737" fmla="*/ 890703 h 7458372"/>
              <a:gd name="connsiteX38738" fmla="*/ 8304851 w 10505529"/>
              <a:gd name="connsiteY38738" fmla="*/ 888040 h 7458372"/>
              <a:gd name="connsiteX38739" fmla="*/ 8299793 w 10505529"/>
              <a:gd name="connsiteY38739" fmla="*/ 887109 h 7458372"/>
              <a:gd name="connsiteX38740" fmla="*/ 8735083 w 10505529"/>
              <a:gd name="connsiteY38740" fmla="*/ 887109 h 7458372"/>
              <a:gd name="connsiteX38741" fmla="*/ 8725098 w 10505529"/>
              <a:gd name="connsiteY38741" fmla="*/ 890703 h 7458372"/>
              <a:gd name="connsiteX38742" fmla="*/ 8721504 w 10505529"/>
              <a:gd name="connsiteY38742" fmla="*/ 900154 h 7458372"/>
              <a:gd name="connsiteX38743" fmla="*/ 8725098 w 10505529"/>
              <a:gd name="connsiteY38743" fmla="*/ 909605 h 7458372"/>
              <a:gd name="connsiteX38744" fmla="*/ 8735083 w 10505529"/>
              <a:gd name="connsiteY38744" fmla="*/ 913067 h 7458372"/>
              <a:gd name="connsiteX38745" fmla="*/ 8740407 w 10505529"/>
              <a:gd name="connsiteY38745" fmla="*/ 912002 h 7458372"/>
              <a:gd name="connsiteX38746" fmla="*/ 8744134 w 10505529"/>
              <a:gd name="connsiteY38746" fmla="*/ 909605 h 7458372"/>
              <a:gd name="connsiteX38747" fmla="*/ 8746797 w 10505529"/>
              <a:gd name="connsiteY38747" fmla="*/ 905479 h 7458372"/>
              <a:gd name="connsiteX38748" fmla="*/ 8747862 w 10505529"/>
              <a:gd name="connsiteY38748" fmla="*/ 900021 h 7458372"/>
              <a:gd name="connsiteX38749" fmla="*/ 8746797 w 10505529"/>
              <a:gd name="connsiteY38749" fmla="*/ 894829 h 7458372"/>
              <a:gd name="connsiteX38750" fmla="*/ 8744134 w 10505529"/>
              <a:gd name="connsiteY38750" fmla="*/ 890703 h 7458372"/>
              <a:gd name="connsiteX38751" fmla="*/ 8740141 w 10505529"/>
              <a:gd name="connsiteY38751" fmla="*/ 888040 h 7458372"/>
              <a:gd name="connsiteX38752" fmla="*/ 8735083 w 10505529"/>
              <a:gd name="connsiteY38752" fmla="*/ 887109 h 7458372"/>
              <a:gd name="connsiteX38753" fmla="*/ 9170374 w 10505529"/>
              <a:gd name="connsiteY38753" fmla="*/ 887109 h 7458372"/>
              <a:gd name="connsiteX38754" fmla="*/ 9160389 w 10505529"/>
              <a:gd name="connsiteY38754" fmla="*/ 890703 h 7458372"/>
              <a:gd name="connsiteX38755" fmla="*/ 9156795 w 10505529"/>
              <a:gd name="connsiteY38755" fmla="*/ 900154 h 7458372"/>
              <a:gd name="connsiteX38756" fmla="*/ 9160389 w 10505529"/>
              <a:gd name="connsiteY38756" fmla="*/ 909605 h 7458372"/>
              <a:gd name="connsiteX38757" fmla="*/ 9170374 w 10505529"/>
              <a:gd name="connsiteY38757" fmla="*/ 913066 h 7458372"/>
              <a:gd name="connsiteX38758" fmla="*/ 9175698 w 10505529"/>
              <a:gd name="connsiteY38758" fmla="*/ 912001 h 7458372"/>
              <a:gd name="connsiteX38759" fmla="*/ 9179425 w 10505529"/>
              <a:gd name="connsiteY38759" fmla="*/ 909605 h 7458372"/>
              <a:gd name="connsiteX38760" fmla="*/ 9182088 w 10505529"/>
              <a:gd name="connsiteY38760" fmla="*/ 905479 h 7458372"/>
              <a:gd name="connsiteX38761" fmla="*/ 9183152 w 10505529"/>
              <a:gd name="connsiteY38761" fmla="*/ 900021 h 7458372"/>
              <a:gd name="connsiteX38762" fmla="*/ 9182088 w 10505529"/>
              <a:gd name="connsiteY38762" fmla="*/ 894829 h 7458372"/>
              <a:gd name="connsiteX38763" fmla="*/ 9179425 w 10505529"/>
              <a:gd name="connsiteY38763" fmla="*/ 890703 h 7458372"/>
              <a:gd name="connsiteX38764" fmla="*/ 9175432 w 10505529"/>
              <a:gd name="connsiteY38764" fmla="*/ 888040 h 7458372"/>
              <a:gd name="connsiteX38765" fmla="*/ 9170374 w 10505529"/>
              <a:gd name="connsiteY38765" fmla="*/ 887109 h 7458372"/>
              <a:gd name="connsiteX38766" fmla="*/ 8952728 w 10505529"/>
              <a:gd name="connsiteY38766" fmla="*/ 887109 h 7458372"/>
              <a:gd name="connsiteX38767" fmla="*/ 8942743 w 10505529"/>
              <a:gd name="connsiteY38767" fmla="*/ 890703 h 7458372"/>
              <a:gd name="connsiteX38768" fmla="*/ 8939150 w 10505529"/>
              <a:gd name="connsiteY38768" fmla="*/ 900154 h 7458372"/>
              <a:gd name="connsiteX38769" fmla="*/ 8942743 w 10505529"/>
              <a:gd name="connsiteY38769" fmla="*/ 909605 h 7458372"/>
              <a:gd name="connsiteX38770" fmla="*/ 8952728 w 10505529"/>
              <a:gd name="connsiteY38770" fmla="*/ 913066 h 7458372"/>
              <a:gd name="connsiteX38771" fmla="*/ 8958053 w 10505529"/>
              <a:gd name="connsiteY38771" fmla="*/ 912001 h 7458372"/>
              <a:gd name="connsiteX38772" fmla="*/ 8961780 w 10505529"/>
              <a:gd name="connsiteY38772" fmla="*/ 909605 h 7458372"/>
              <a:gd name="connsiteX38773" fmla="*/ 8964442 w 10505529"/>
              <a:gd name="connsiteY38773" fmla="*/ 905479 h 7458372"/>
              <a:gd name="connsiteX38774" fmla="*/ 8965507 w 10505529"/>
              <a:gd name="connsiteY38774" fmla="*/ 900021 h 7458372"/>
              <a:gd name="connsiteX38775" fmla="*/ 8964442 w 10505529"/>
              <a:gd name="connsiteY38775" fmla="*/ 894829 h 7458372"/>
              <a:gd name="connsiteX38776" fmla="*/ 8961780 w 10505529"/>
              <a:gd name="connsiteY38776" fmla="*/ 890703 h 7458372"/>
              <a:gd name="connsiteX38777" fmla="*/ 8957786 w 10505529"/>
              <a:gd name="connsiteY38777" fmla="*/ 888040 h 7458372"/>
              <a:gd name="connsiteX38778" fmla="*/ 8952728 w 10505529"/>
              <a:gd name="connsiteY38778" fmla="*/ 887109 h 7458372"/>
              <a:gd name="connsiteX38779" fmla="*/ 9387885 w 10505529"/>
              <a:gd name="connsiteY38779" fmla="*/ 887109 h 7458372"/>
              <a:gd name="connsiteX38780" fmla="*/ 9377900 w 10505529"/>
              <a:gd name="connsiteY38780" fmla="*/ 890703 h 7458372"/>
              <a:gd name="connsiteX38781" fmla="*/ 9374307 w 10505529"/>
              <a:gd name="connsiteY38781" fmla="*/ 900154 h 7458372"/>
              <a:gd name="connsiteX38782" fmla="*/ 9377900 w 10505529"/>
              <a:gd name="connsiteY38782" fmla="*/ 909605 h 7458372"/>
              <a:gd name="connsiteX38783" fmla="*/ 9387885 w 10505529"/>
              <a:gd name="connsiteY38783" fmla="*/ 913066 h 7458372"/>
              <a:gd name="connsiteX38784" fmla="*/ 9393210 w 10505529"/>
              <a:gd name="connsiteY38784" fmla="*/ 912001 h 7458372"/>
              <a:gd name="connsiteX38785" fmla="*/ 9396937 w 10505529"/>
              <a:gd name="connsiteY38785" fmla="*/ 909605 h 7458372"/>
              <a:gd name="connsiteX38786" fmla="*/ 9399599 w 10505529"/>
              <a:gd name="connsiteY38786" fmla="*/ 905479 h 7458372"/>
              <a:gd name="connsiteX38787" fmla="*/ 9400664 w 10505529"/>
              <a:gd name="connsiteY38787" fmla="*/ 900021 h 7458372"/>
              <a:gd name="connsiteX38788" fmla="*/ 9399599 w 10505529"/>
              <a:gd name="connsiteY38788" fmla="*/ 894829 h 7458372"/>
              <a:gd name="connsiteX38789" fmla="*/ 9396937 w 10505529"/>
              <a:gd name="connsiteY38789" fmla="*/ 890703 h 7458372"/>
              <a:gd name="connsiteX38790" fmla="*/ 9392943 w 10505529"/>
              <a:gd name="connsiteY38790" fmla="*/ 888040 h 7458372"/>
              <a:gd name="connsiteX38791" fmla="*/ 9387885 w 10505529"/>
              <a:gd name="connsiteY38791" fmla="*/ 887109 h 7458372"/>
              <a:gd name="connsiteX38792" fmla="*/ 10040820 w 10505529"/>
              <a:gd name="connsiteY38792" fmla="*/ 887109 h 7458372"/>
              <a:gd name="connsiteX38793" fmla="*/ 10030835 w 10505529"/>
              <a:gd name="connsiteY38793" fmla="*/ 890703 h 7458372"/>
              <a:gd name="connsiteX38794" fmla="*/ 10027242 w 10505529"/>
              <a:gd name="connsiteY38794" fmla="*/ 900154 h 7458372"/>
              <a:gd name="connsiteX38795" fmla="*/ 10030835 w 10505529"/>
              <a:gd name="connsiteY38795" fmla="*/ 909605 h 7458372"/>
              <a:gd name="connsiteX38796" fmla="*/ 10040820 w 10505529"/>
              <a:gd name="connsiteY38796" fmla="*/ 913066 h 7458372"/>
              <a:gd name="connsiteX38797" fmla="*/ 10046145 w 10505529"/>
              <a:gd name="connsiteY38797" fmla="*/ 912001 h 7458372"/>
              <a:gd name="connsiteX38798" fmla="*/ 10049872 w 10505529"/>
              <a:gd name="connsiteY38798" fmla="*/ 909605 h 7458372"/>
              <a:gd name="connsiteX38799" fmla="*/ 10052534 w 10505529"/>
              <a:gd name="connsiteY38799" fmla="*/ 905479 h 7458372"/>
              <a:gd name="connsiteX38800" fmla="*/ 10053599 w 10505529"/>
              <a:gd name="connsiteY38800" fmla="*/ 900021 h 7458372"/>
              <a:gd name="connsiteX38801" fmla="*/ 10052534 w 10505529"/>
              <a:gd name="connsiteY38801" fmla="*/ 894829 h 7458372"/>
              <a:gd name="connsiteX38802" fmla="*/ 10049872 w 10505529"/>
              <a:gd name="connsiteY38802" fmla="*/ 890703 h 7458372"/>
              <a:gd name="connsiteX38803" fmla="*/ 10045878 w 10505529"/>
              <a:gd name="connsiteY38803" fmla="*/ 888039 h 7458372"/>
              <a:gd name="connsiteX38804" fmla="*/ 10040820 w 10505529"/>
              <a:gd name="connsiteY38804" fmla="*/ 887109 h 7458372"/>
              <a:gd name="connsiteX38805" fmla="*/ 9823176 w 10505529"/>
              <a:gd name="connsiteY38805" fmla="*/ 887109 h 7458372"/>
              <a:gd name="connsiteX38806" fmla="*/ 9813191 w 10505529"/>
              <a:gd name="connsiteY38806" fmla="*/ 890703 h 7458372"/>
              <a:gd name="connsiteX38807" fmla="*/ 9809597 w 10505529"/>
              <a:gd name="connsiteY38807" fmla="*/ 900154 h 7458372"/>
              <a:gd name="connsiteX38808" fmla="*/ 9813191 w 10505529"/>
              <a:gd name="connsiteY38808" fmla="*/ 909605 h 7458372"/>
              <a:gd name="connsiteX38809" fmla="*/ 9823176 w 10505529"/>
              <a:gd name="connsiteY38809" fmla="*/ 913066 h 7458372"/>
              <a:gd name="connsiteX38810" fmla="*/ 9828501 w 10505529"/>
              <a:gd name="connsiteY38810" fmla="*/ 912001 h 7458372"/>
              <a:gd name="connsiteX38811" fmla="*/ 9832227 w 10505529"/>
              <a:gd name="connsiteY38811" fmla="*/ 909605 h 7458372"/>
              <a:gd name="connsiteX38812" fmla="*/ 9834890 w 10505529"/>
              <a:gd name="connsiteY38812" fmla="*/ 905479 h 7458372"/>
              <a:gd name="connsiteX38813" fmla="*/ 9835955 w 10505529"/>
              <a:gd name="connsiteY38813" fmla="*/ 900021 h 7458372"/>
              <a:gd name="connsiteX38814" fmla="*/ 9834890 w 10505529"/>
              <a:gd name="connsiteY38814" fmla="*/ 894829 h 7458372"/>
              <a:gd name="connsiteX38815" fmla="*/ 9832227 w 10505529"/>
              <a:gd name="connsiteY38815" fmla="*/ 890703 h 7458372"/>
              <a:gd name="connsiteX38816" fmla="*/ 9828234 w 10505529"/>
              <a:gd name="connsiteY38816" fmla="*/ 888040 h 7458372"/>
              <a:gd name="connsiteX38817" fmla="*/ 9823176 w 10505529"/>
              <a:gd name="connsiteY38817" fmla="*/ 887109 h 7458372"/>
              <a:gd name="connsiteX38818" fmla="*/ 9605531 w 10505529"/>
              <a:gd name="connsiteY38818" fmla="*/ 887109 h 7458372"/>
              <a:gd name="connsiteX38819" fmla="*/ 9595546 w 10505529"/>
              <a:gd name="connsiteY38819" fmla="*/ 890703 h 7458372"/>
              <a:gd name="connsiteX38820" fmla="*/ 9591952 w 10505529"/>
              <a:gd name="connsiteY38820" fmla="*/ 900154 h 7458372"/>
              <a:gd name="connsiteX38821" fmla="*/ 9595546 w 10505529"/>
              <a:gd name="connsiteY38821" fmla="*/ 909605 h 7458372"/>
              <a:gd name="connsiteX38822" fmla="*/ 9605531 w 10505529"/>
              <a:gd name="connsiteY38822" fmla="*/ 913066 h 7458372"/>
              <a:gd name="connsiteX38823" fmla="*/ 9610855 w 10505529"/>
              <a:gd name="connsiteY38823" fmla="*/ 912001 h 7458372"/>
              <a:gd name="connsiteX38824" fmla="*/ 9614582 w 10505529"/>
              <a:gd name="connsiteY38824" fmla="*/ 909605 h 7458372"/>
              <a:gd name="connsiteX38825" fmla="*/ 9617245 w 10505529"/>
              <a:gd name="connsiteY38825" fmla="*/ 905479 h 7458372"/>
              <a:gd name="connsiteX38826" fmla="*/ 9618309 w 10505529"/>
              <a:gd name="connsiteY38826" fmla="*/ 900021 h 7458372"/>
              <a:gd name="connsiteX38827" fmla="*/ 9617245 w 10505529"/>
              <a:gd name="connsiteY38827" fmla="*/ 894829 h 7458372"/>
              <a:gd name="connsiteX38828" fmla="*/ 9614582 w 10505529"/>
              <a:gd name="connsiteY38828" fmla="*/ 890703 h 7458372"/>
              <a:gd name="connsiteX38829" fmla="*/ 9610589 w 10505529"/>
              <a:gd name="connsiteY38829" fmla="*/ 888040 h 7458372"/>
              <a:gd name="connsiteX38830" fmla="*/ 9605531 w 10505529"/>
              <a:gd name="connsiteY38830" fmla="*/ 887109 h 7458372"/>
              <a:gd name="connsiteX38831" fmla="*/ 10258466 w 10505529"/>
              <a:gd name="connsiteY38831" fmla="*/ 887108 h 7458372"/>
              <a:gd name="connsiteX38832" fmla="*/ 10248481 w 10505529"/>
              <a:gd name="connsiteY38832" fmla="*/ 890703 h 7458372"/>
              <a:gd name="connsiteX38833" fmla="*/ 10244887 w 10505529"/>
              <a:gd name="connsiteY38833" fmla="*/ 900154 h 7458372"/>
              <a:gd name="connsiteX38834" fmla="*/ 10248481 w 10505529"/>
              <a:gd name="connsiteY38834" fmla="*/ 909605 h 7458372"/>
              <a:gd name="connsiteX38835" fmla="*/ 10258466 w 10505529"/>
              <a:gd name="connsiteY38835" fmla="*/ 913066 h 7458372"/>
              <a:gd name="connsiteX38836" fmla="*/ 10263790 w 10505529"/>
              <a:gd name="connsiteY38836" fmla="*/ 912001 h 7458372"/>
              <a:gd name="connsiteX38837" fmla="*/ 10267517 w 10505529"/>
              <a:gd name="connsiteY38837" fmla="*/ 909605 h 7458372"/>
              <a:gd name="connsiteX38838" fmla="*/ 10270180 w 10505529"/>
              <a:gd name="connsiteY38838" fmla="*/ 905479 h 7458372"/>
              <a:gd name="connsiteX38839" fmla="*/ 10271112 w 10505529"/>
              <a:gd name="connsiteY38839" fmla="*/ 900021 h 7458372"/>
              <a:gd name="connsiteX38840" fmla="*/ 10270180 w 10505529"/>
              <a:gd name="connsiteY38840" fmla="*/ 894828 h 7458372"/>
              <a:gd name="connsiteX38841" fmla="*/ 10267517 w 10505529"/>
              <a:gd name="connsiteY38841" fmla="*/ 890703 h 7458372"/>
              <a:gd name="connsiteX38842" fmla="*/ 10263524 w 10505529"/>
              <a:gd name="connsiteY38842" fmla="*/ 888039 h 7458372"/>
              <a:gd name="connsiteX38843" fmla="*/ 10258466 w 10505529"/>
              <a:gd name="connsiteY38843" fmla="*/ 887108 h 7458372"/>
              <a:gd name="connsiteX38844" fmla="*/ 10475977 w 10505529"/>
              <a:gd name="connsiteY38844" fmla="*/ 887108 h 7458372"/>
              <a:gd name="connsiteX38845" fmla="*/ 10465992 w 10505529"/>
              <a:gd name="connsiteY38845" fmla="*/ 890702 h 7458372"/>
              <a:gd name="connsiteX38846" fmla="*/ 10462399 w 10505529"/>
              <a:gd name="connsiteY38846" fmla="*/ 900153 h 7458372"/>
              <a:gd name="connsiteX38847" fmla="*/ 10465992 w 10505529"/>
              <a:gd name="connsiteY38847" fmla="*/ 909605 h 7458372"/>
              <a:gd name="connsiteX38848" fmla="*/ 10475977 w 10505529"/>
              <a:gd name="connsiteY38848" fmla="*/ 913066 h 7458372"/>
              <a:gd name="connsiteX38849" fmla="*/ 10481302 w 10505529"/>
              <a:gd name="connsiteY38849" fmla="*/ 912001 h 7458372"/>
              <a:gd name="connsiteX38850" fmla="*/ 10485029 w 10505529"/>
              <a:gd name="connsiteY38850" fmla="*/ 909605 h 7458372"/>
              <a:gd name="connsiteX38851" fmla="*/ 10487691 w 10505529"/>
              <a:gd name="connsiteY38851" fmla="*/ 905478 h 7458372"/>
              <a:gd name="connsiteX38852" fmla="*/ 10488623 w 10505529"/>
              <a:gd name="connsiteY38852" fmla="*/ 900020 h 7458372"/>
              <a:gd name="connsiteX38853" fmla="*/ 10487691 w 10505529"/>
              <a:gd name="connsiteY38853" fmla="*/ 894828 h 7458372"/>
              <a:gd name="connsiteX38854" fmla="*/ 10485029 w 10505529"/>
              <a:gd name="connsiteY38854" fmla="*/ 890702 h 7458372"/>
              <a:gd name="connsiteX38855" fmla="*/ 10481035 w 10505529"/>
              <a:gd name="connsiteY38855" fmla="*/ 888039 h 7458372"/>
              <a:gd name="connsiteX38856" fmla="*/ 10475977 w 10505529"/>
              <a:gd name="connsiteY38856" fmla="*/ 887108 h 7458372"/>
              <a:gd name="connsiteX38857" fmla="*/ 30247 w 10505529"/>
              <a:gd name="connsiteY38857" fmla="*/ 870473 h 7458372"/>
              <a:gd name="connsiteX38858" fmla="*/ 41962 w 10505529"/>
              <a:gd name="connsiteY38858" fmla="*/ 873002 h 7458372"/>
              <a:gd name="connsiteX38859" fmla="*/ 51281 w 10505529"/>
              <a:gd name="connsiteY38859" fmla="*/ 879392 h 7458372"/>
              <a:gd name="connsiteX38860" fmla="*/ 57404 w 10505529"/>
              <a:gd name="connsiteY38860" fmla="*/ 888710 h 7458372"/>
              <a:gd name="connsiteX38861" fmla="*/ 59667 w 10505529"/>
              <a:gd name="connsiteY38861" fmla="*/ 900158 h 7458372"/>
              <a:gd name="connsiteX38862" fmla="*/ 57404 w 10505529"/>
              <a:gd name="connsiteY38862" fmla="*/ 911872 h 7458372"/>
              <a:gd name="connsiteX38863" fmla="*/ 51281 w 10505529"/>
              <a:gd name="connsiteY38863" fmla="*/ 921324 h 7458372"/>
              <a:gd name="connsiteX38864" fmla="*/ 41962 w 10505529"/>
              <a:gd name="connsiteY38864" fmla="*/ 927581 h 7458372"/>
              <a:gd name="connsiteX38865" fmla="*/ 30247 w 10505529"/>
              <a:gd name="connsiteY38865" fmla="*/ 929844 h 7458372"/>
              <a:gd name="connsiteX38866" fmla="*/ 8417 w 10505529"/>
              <a:gd name="connsiteY38866" fmla="*/ 921324 h 7458372"/>
              <a:gd name="connsiteX38867" fmla="*/ 30 w 10505529"/>
              <a:gd name="connsiteY38867" fmla="*/ 900158 h 7458372"/>
              <a:gd name="connsiteX38868" fmla="*/ 8417 w 10505529"/>
              <a:gd name="connsiteY38868" fmla="*/ 879126 h 7458372"/>
              <a:gd name="connsiteX38869" fmla="*/ 30247 w 10505529"/>
              <a:gd name="connsiteY38869" fmla="*/ 870473 h 7458372"/>
              <a:gd name="connsiteX38870" fmla="*/ 247891 w 10505529"/>
              <a:gd name="connsiteY38870" fmla="*/ 870473 h 7458372"/>
              <a:gd name="connsiteX38871" fmla="*/ 259607 w 10505529"/>
              <a:gd name="connsiteY38871" fmla="*/ 873001 h 7458372"/>
              <a:gd name="connsiteX38872" fmla="*/ 268925 w 10505529"/>
              <a:gd name="connsiteY38872" fmla="*/ 879392 h 7458372"/>
              <a:gd name="connsiteX38873" fmla="*/ 275048 w 10505529"/>
              <a:gd name="connsiteY38873" fmla="*/ 888710 h 7458372"/>
              <a:gd name="connsiteX38874" fmla="*/ 277311 w 10505529"/>
              <a:gd name="connsiteY38874" fmla="*/ 900158 h 7458372"/>
              <a:gd name="connsiteX38875" fmla="*/ 275048 w 10505529"/>
              <a:gd name="connsiteY38875" fmla="*/ 911872 h 7458372"/>
              <a:gd name="connsiteX38876" fmla="*/ 268925 w 10505529"/>
              <a:gd name="connsiteY38876" fmla="*/ 921323 h 7458372"/>
              <a:gd name="connsiteX38877" fmla="*/ 259607 w 10505529"/>
              <a:gd name="connsiteY38877" fmla="*/ 927581 h 7458372"/>
              <a:gd name="connsiteX38878" fmla="*/ 247891 w 10505529"/>
              <a:gd name="connsiteY38878" fmla="*/ 929844 h 7458372"/>
              <a:gd name="connsiteX38879" fmla="*/ 226060 w 10505529"/>
              <a:gd name="connsiteY38879" fmla="*/ 921323 h 7458372"/>
              <a:gd name="connsiteX38880" fmla="*/ 217674 w 10505529"/>
              <a:gd name="connsiteY38880" fmla="*/ 900158 h 7458372"/>
              <a:gd name="connsiteX38881" fmla="*/ 226060 w 10505529"/>
              <a:gd name="connsiteY38881" fmla="*/ 879126 h 7458372"/>
              <a:gd name="connsiteX38882" fmla="*/ 247891 w 10505529"/>
              <a:gd name="connsiteY38882" fmla="*/ 870473 h 7458372"/>
              <a:gd name="connsiteX38883" fmla="*/ 683180 w 10505529"/>
              <a:gd name="connsiteY38883" fmla="*/ 870472 h 7458372"/>
              <a:gd name="connsiteX38884" fmla="*/ 694895 w 10505529"/>
              <a:gd name="connsiteY38884" fmla="*/ 873001 h 7458372"/>
              <a:gd name="connsiteX38885" fmla="*/ 704213 w 10505529"/>
              <a:gd name="connsiteY38885" fmla="*/ 879392 h 7458372"/>
              <a:gd name="connsiteX38886" fmla="*/ 710336 w 10505529"/>
              <a:gd name="connsiteY38886" fmla="*/ 888710 h 7458372"/>
              <a:gd name="connsiteX38887" fmla="*/ 712599 w 10505529"/>
              <a:gd name="connsiteY38887" fmla="*/ 900158 h 7458372"/>
              <a:gd name="connsiteX38888" fmla="*/ 710336 w 10505529"/>
              <a:gd name="connsiteY38888" fmla="*/ 911872 h 7458372"/>
              <a:gd name="connsiteX38889" fmla="*/ 704213 w 10505529"/>
              <a:gd name="connsiteY38889" fmla="*/ 921323 h 7458372"/>
              <a:gd name="connsiteX38890" fmla="*/ 694895 w 10505529"/>
              <a:gd name="connsiteY38890" fmla="*/ 927580 h 7458372"/>
              <a:gd name="connsiteX38891" fmla="*/ 683180 w 10505529"/>
              <a:gd name="connsiteY38891" fmla="*/ 929843 h 7458372"/>
              <a:gd name="connsiteX38892" fmla="*/ 661348 w 10505529"/>
              <a:gd name="connsiteY38892" fmla="*/ 921323 h 7458372"/>
              <a:gd name="connsiteX38893" fmla="*/ 652962 w 10505529"/>
              <a:gd name="connsiteY38893" fmla="*/ 900158 h 7458372"/>
              <a:gd name="connsiteX38894" fmla="*/ 661348 w 10505529"/>
              <a:gd name="connsiteY38894" fmla="*/ 879126 h 7458372"/>
              <a:gd name="connsiteX38895" fmla="*/ 683180 w 10505529"/>
              <a:gd name="connsiteY38895" fmla="*/ 870472 h 7458372"/>
              <a:gd name="connsiteX38896" fmla="*/ 465536 w 10505529"/>
              <a:gd name="connsiteY38896" fmla="*/ 870472 h 7458372"/>
              <a:gd name="connsiteX38897" fmla="*/ 477251 w 10505529"/>
              <a:gd name="connsiteY38897" fmla="*/ 873001 h 7458372"/>
              <a:gd name="connsiteX38898" fmla="*/ 486569 w 10505529"/>
              <a:gd name="connsiteY38898" fmla="*/ 879392 h 7458372"/>
              <a:gd name="connsiteX38899" fmla="*/ 492692 w 10505529"/>
              <a:gd name="connsiteY38899" fmla="*/ 888710 h 7458372"/>
              <a:gd name="connsiteX38900" fmla="*/ 494955 w 10505529"/>
              <a:gd name="connsiteY38900" fmla="*/ 900158 h 7458372"/>
              <a:gd name="connsiteX38901" fmla="*/ 492692 w 10505529"/>
              <a:gd name="connsiteY38901" fmla="*/ 911872 h 7458372"/>
              <a:gd name="connsiteX38902" fmla="*/ 486569 w 10505529"/>
              <a:gd name="connsiteY38902" fmla="*/ 921323 h 7458372"/>
              <a:gd name="connsiteX38903" fmla="*/ 477251 w 10505529"/>
              <a:gd name="connsiteY38903" fmla="*/ 927580 h 7458372"/>
              <a:gd name="connsiteX38904" fmla="*/ 465536 w 10505529"/>
              <a:gd name="connsiteY38904" fmla="*/ 929843 h 7458372"/>
              <a:gd name="connsiteX38905" fmla="*/ 443704 w 10505529"/>
              <a:gd name="connsiteY38905" fmla="*/ 921323 h 7458372"/>
              <a:gd name="connsiteX38906" fmla="*/ 435318 w 10505529"/>
              <a:gd name="connsiteY38906" fmla="*/ 900158 h 7458372"/>
              <a:gd name="connsiteX38907" fmla="*/ 443704 w 10505529"/>
              <a:gd name="connsiteY38907" fmla="*/ 879126 h 7458372"/>
              <a:gd name="connsiteX38908" fmla="*/ 465536 w 10505529"/>
              <a:gd name="connsiteY38908" fmla="*/ 870472 h 7458372"/>
              <a:gd name="connsiteX38909" fmla="*/ 900824 w 10505529"/>
              <a:gd name="connsiteY38909" fmla="*/ 870472 h 7458372"/>
              <a:gd name="connsiteX38910" fmla="*/ 912539 w 10505529"/>
              <a:gd name="connsiteY38910" fmla="*/ 873001 h 7458372"/>
              <a:gd name="connsiteX38911" fmla="*/ 921857 w 10505529"/>
              <a:gd name="connsiteY38911" fmla="*/ 879391 h 7458372"/>
              <a:gd name="connsiteX38912" fmla="*/ 927980 w 10505529"/>
              <a:gd name="connsiteY38912" fmla="*/ 888710 h 7458372"/>
              <a:gd name="connsiteX38913" fmla="*/ 930243 w 10505529"/>
              <a:gd name="connsiteY38913" fmla="*/ 900158 h 7458372"/>
              <a:gd name="connsiteX38914" fmla="*/ 927980 w 10505529"/>
              <a:gd name="connsiteY38914" fmla="*/ 911872 h 7458372"/>
              <a:gd name="connsiteX38915" fmla="*/ 921857 w 10505529"/>
              <a:gd name="connsiteY38915" fmla="*/ 921323 h 7458372"/>
              <a:gd name="connsiteX38916" fmla="*/ 912539 w 10505529"/>
              <a:gd name="connsiteY38916" fmla="*/ 927580 h 7458372"/>
              <a:gd name="connsiteX38917" fmla="*/ 900824 w 10505529"/>
              <a:gd name="connsiteY38917" fmla="*/ 929843 h 7458372"/>
              <a:gd name="connsiteX38918" fmla="*/ 878993 w 10505529"/>
              <a:gd name="connsiteY38918" fmla="*/ 921323 h 7458372"/>
              <a:gd name="connsiteX38919" fmla="*/ 870607 w 10505529"/>
              <a:gd name="connsiteY38919" fmla="*/ 900158 h 7458372"/>
              <a:gd name="connsiteX38920" fmla="*/ 878993 w 10505529"/>
              <a:gd name="connsiteY38920" fmla="*/ 879125 h 7458372"/>
              <a:gd name="connsiteX38921" fmla="*/ 900824 w 10505529"/>
              <a:gd name="connsiteY38921" fmla="*/ 870472 h 7458372"/>
              <a:gd name="connsiteX38922" fmla="*/ 1118336 w 10505529"/>
              <a:gd name="connsiteY38922" fmla="*/ 870472 h 7458372"/>
              <a:gd name="connsiteX38923" fmla="*/ 1130052 w 10505529"/>
              <a:gd name="connsiteY38923" fmla="*/ 873001 h 7458372"/>
              <a:gd name="connsiteX38924" fmla="*/ 1139370 w 10505529"/>
              <a:gd name="connsiteY38924" fmla="*/ 879391 h 7458372"/>
              <a:gd name="connsiteX38925" fmla="*/ 1145492 w 10505529"/>
              <a:gd name="connsiteY38925" fmla="*/ 888710 h 7458372"/>
              <a:gd name="connsiteX38926" fmla="*/ 1147755 w 10505529"/>
              <a:gd name="connsiteY38926" fmla="*/ 900158 h 7458372"/>
              <a:gd name="connsiteX38927" fmla="*/ 1145492 w 10505529"/>
              <a:gd name="connsiteY38927" fmla="*/ 911872 h 7458372"/>
              <a:gd name="connsiteX38928" fmla="*/ 1139370 w 10505529"/>
              <a:gd name="connsiteY38928" fmla="*/ 921323 h 7458372"/>
              <a:gd name="connsiteX38929" fmla="*/ 1130052 w 10505529"/>
              <a:gd name="connsiteY38929" fmla="*/ 927580 h 7458372"/>
              <a:gd name="connsiteX38930" fmla="*/ 1118336 w 10505529"/>
              <a:gd name="connsiteY38930" fmla="*/ 929843 h 7458372"/>
              <a:gd name="connsiteX38931" fmla="*/ 1096504 w 10505529"/>
              <a:gd name="connsiteY38931" fmla="*/ 921323 h 7458372"/>
              <a:gd name="connsiteX38932" fmla="*/ 1088118 w 10505529"/>
              <a:gd name="connsiteY38932" fmla="*/ 900158 h 7458372"/>
              <a:gd name="connsiteX38933" fmla="*/ 1096504 w 10505529"/>
              <a:gd name="connsiteY38933" fmla="*/ 879125 h 7458372"/>
              <a:gd name="connsiteX38934" fmla="*/ 1118336 w 10505529"/>
              <a:gd name="connsiteY38934" fmla="*/ 870472 h 7458372"/>
              <a:gd name="connsiteX38935" fmla="*/ 1335981 w 10505529"/>
              <a:gd name="connsiteY38935" fmla="*/ 870472 h 7458372"/>
              <a:gd name="connsiteX38936" fmla="*/ 1347696 w 10505529"/>
              <a:gd name="connsiteY38936" fmla="*/ 873001 h 7458372"/>
              <a:gd name="connsiteX38937" fmla="*/ 1357014 w 10505529"/>
              <a:gd name="connsiteY38937" fmla="*/ 879391 h 7458372"/>
              <a:gd name="connsiteX38938" fmla="*/ 1363137 w 10505529"/>
              <a:gd name="connsiteY38938" fmla="*/ 888709 h 7458372"/>
              <a:gd name="connsiteX38939" fmla="*/ 1365400 w 10505529"/>
              <a:gd name="connsiteY38939" fmla="*/ 900158 h 7458372"/>
              <a:gd name="connsiteX38940" fmla="*/ 1363137 w 10505529"/>
              <a:gd name="connsiteY38940" fmla="*/ 911872 h 7458372"/>
              <a:gd name="connsiteX38941" fmla="*/ 1357014 w 10505529"/>
              <a:gd name="connsiteY38941" fmla="*/ 921323 h 7458372"/>
              <a:gd name="connsiteX38942" fmla="*/ 1347696 w 10505529"/>
              <a:gd name="connsiteY38942" fmla="*/ 927580 h 7458372"/>
              <a:gd name="connsiteX38943" fmla="*/ 1335981 w 10505529"/>
              <a:gd name="connsiteY38943" fmla="*/ 929843 h 7458372"/>
              <a:gd name="connsiteX38944" fmla="*/ 1314149 w 10505529"/>
              <a:gd name="connsiteY38944" fmla="*/ 921323 h 7458372"/>
              <a:gd name="connsiteX38945" fmla="*/ 1305764 w 10505529"/>
              <a:gd name="connsiteY38945" fmla="*/ 900158 h 7458372"/>
              <a:gd name="connsiteX38946" fmla="*/ 1314149 w 10505529"/>
              <a:gd name="connsiteY38946" fmla="*/ 879125 h 7458372"/>
              <a:gd name="connsiteX38947" fmla="*/ 1335981 w 10505529"/>
              <a:gd name="connsiteY38947" fmla="*/ 870472 h 7458372"/>
              <a:gd name="connsiteX38948" fmla="*/ 1553626 w 10505529"/>
              <a:gd name="connsiteY38948" fmla="*/ 870472 h 7458372"/>
              <a:gd name="connsiteX38949" fmla="*/ 1565340 w 10505529"/>
              <a:gd name="connsiteY38949" fmla="*/ 873001 h 7458372"/>
              <a:gd name="connsiteX38950" fmla="*/ 1574659 w 10505529"/>
              <a:gd name="connsiteY38950" fmla="*/ 879391 h 7458372"/>
              <a:gd name="connsiteX38951" fmla="*/ 1580782 w 10505529"/>
              <a:gd name="connsiteY38951" fmla="*/ 888709 h 7458372"/>
              <a:gd name="connsiteX38952" fmla="*/ 1583045 w 10505529"/>
              <a:gd name="connsiteY38952" fmla="*/ 900158 h 7458372"/>
              <a:gd name="connsiteX38953" fmla="*/ 1580782 w 10505529"/>
              <a:gd name="connsiteY38953" fmla="*/ 911872 h 7458372"/>
              <a:gd name="connsiteX38954" fmla="*/ 1574659 w 10505529"/>
              <a:gd name="connsiteY38954" fmla="*/ 921323 h 7458372"/>
              <a:gd name="connsiteX38955" fmla="*/ 1565340 w 10505529"/>
              <a:gd name="connsiteY38955" fmla="*/ 927580 h 7458372"/>
              <a:gd name="connsiteX38956" fmla="*/ 1553626 w 10505529"/>
              <a:gd name="connsiteY38956" fmla="*/ 929843 h 7458372"/>
              <a:gd name="connsiteX38957" fmla="*/ 1531794 w 10505529"/>
              <a:gd name="connsiteY38957" fmla="*/ 921323 h 7458372"/>
              <a:gd name="connsiteX38958" fmla="*/ 1523408 w 10505529"/>
              <a:gd name="connsiteY38958" fmla="*/ 900158 h 7458372"/>
              <a:gd name="connsiteX38959" fmla="*/ 1531794 w 10505529"/>
              <a:gd name="connsiteY38959" fmla="*/ 879125 h 7458372"/>
              <a:gd name="connsiteX38960" fmla="*/ 1553626 w 10505529"/>
              <a:gd name="connsiteY38960" fmla="*/ 870472 h 7458372"/>
              <a:gd name="connsiteX38961" fmla="*/ 1771270 w 10505529"/>
              <a:gd name="connsiteY38961" fmla="*/ 870472 h 7458372"/>
              <a:gd name="connsiteX38962" fmla="*/ 1782985 w 10505529"/>
              <a:gd name="connsiteY38962" fmla="*/ 873001 h 7458372"/>
              <a:gd name="connsiteX38963" fmla="*/ 1792302 w 10505529"/>
              <a:gd name="connsiteY38963" fmla="*/ 879391 h 7458372"/>
              <a:gd name="connsiteX38964" fmla="*/ 1798426 w 10505529"/>
              <a:gd name="connsiteY38964" fmla="*/ 888709 h 7458372"/>
              <a:gd name="connsiteX38965" fmla="*/ 1800689 w 10505529"/>
              <a:gd name="connsiteY38965" fmla="*/ 900157 h 7458372"/>
              <a:gd name="connsiteX38966" fmla="*/ 1798426 w 10505529"/>
              <a:gd name="connsiteY38966" fmla="*/ 911872 h 7458372"/>
              <a:gd name="connsiteX38967" fmla="*/ 1792302 w 10505529"/>
              <a:gd name="connsiteY38967" fmla="*/ 921323 h 7458372"/>
              <a:gd name="connsiteX38968" fmla="*/ 1782985 w 10505529"/>
              <a:gd name="connsiteY38968" fmla="*/ 927580 h 7458372"/>
              <a:gd name="connsiteX38969" fmla="*/ 1771270 w 10505529"/>
              <a:gd name="connsiteY38969" fmla="*/ 929843 h 7458372"/>
              <a:gd name="connsiteX38970" fmla="*/ 1749439 w 10505529"/>
              <a:gd name="connsiteY38970" fmla="*/ 921323 h 7458372"/>
              <a:gd name="connsiteX38971" fmla="*/ 1741053 w 10505529"/>
              <a:gd name="connsiteY38971" fmla="*/ 900157 h 7458372"/>
              <a:gd name="connsiteX38972" fmla="*/ 1749439 w 10505529"/>
              <a:gd name="connsiteY38972" fmla="*/ 879125 h 7458372"/>
              <a:gd name="connsiteX38973" fmla="*/ 1771270 w 10505529"/>
              <a:gd name="connsiteY38973" fmla="*/ 870472 h 7458372"/>
              <a:gd name="connsiteX38974" fmla="*/ 1988913 w 10505529"/>
              <a:gd name="connsiteY38974" fmla="*/ 870472 h 7458372"/>
              <a:gd name="connsiteX38975" fmla="*/ 2000628 w 10505529"/>
              <a:gd name="connsiteY38975" fmla="*/ 873001 h 7458372"/>
              <a:gd name="connsiteX38976" fmla="*/ 2009946 w 10505529"/>
              <a:gd name="connsiteY38976" fmla="*/ 879391 h 7458372"/>
              <a:gd name="connsiteX38977" fmla="*/ 2016069 w 10505529"/>
              <a:gd name="connsiteY38977" fmla="*/ 888709 h 7458372"/>
              <a:gd name="connsiteX38978" fmla="*/ 2018332 w 10505529"/>
              <a:gd name="connsiteY38978" fmla="*/ 900157 h 7458372"/>
              <a:gd name="connsiteX38979" fmla="*/ 2016069 w 10505529"/>
              <a:gd name="connsiteY38979" fmla="*/ 911871 h 7458372"/>
              <a:gd name="connsiteX38980" fmla="*/ 2009946 w 10505529"/>
              <a:gd name="connsiteY38980" fmla="*/ 921323 h 7458372"/>
              <a:gd name="connsiteX38981" fmla="*/ 2000628 w 10505529"/>
              <a:gd name="connsiteY38981" fmla="*/ 927580 h 7458372"/>
              <a:gd name="connsiteX38982" fmla="*/ 1988913 w 10505529"/>
              <a:gd name="connsiteY38982" fmla="*/ 929843 h 7458372"/>
              <a:gd name="connsiteX38983" fmla="*/ 1967081 w 10505529"/>
              <a:gd name="connsiteY38983" fmla="*/ 921323 h 7458372"/>
              <a:gd name="connsiteX38984" fmla="*/ 1958695 w 10505529"/>
              <a:gd name="connsiteY38984" fmla="*/ 900157 h 7458372"/>
              <a:gd name="connsiteX38985" fmla="*/ 1967081 w 10505529"/>
              <a:gd name="connsiteY38985" fmla="*/ 879125 h 7458372"/>
              <a:gd name="connsiteX38986" fmla="*/ 1988913 w 10505529"/>
              <a:gd name="connsiteY38986" fmla="*/ 870472 h 7458372"/>
              <a:gd name="connsiteX38987" fmla="*/ 2206428 w 10505529"/>
              <a:gd name="connsiteY38987" fmla="*/ 870472 h 7458372"/>
              <a:gd name="connsiteX38988" fmla="*/ 2218143 w 10505529"/>
              <a:gd name="connsiteY38988" fmla="*/ 873001 h 7458372"/>
              <a:gd name="connsiteX38989" fmla="*/ 2227461 w 10505529"/>
              <a:gd name="connsiteY38989" fmla="*/ 879391 h 7458372"/>
              <a:gd name="connsiteX38990" fmla="*/ 2233584 w 10505529"/>
              <a:gd name="connsiteY38990" fmla="*/ 888709 h 7458372"/>
              <a:gd name="connsiteX38991" fmla="*/ 2235847 w 10505529"/>
              <a:gd name="connsiteY38991" fmla="*/ 900157 h 7458372"/>
              <a:gd name="connsiteX38992" fmla="*/ 2233584 w 10505529"/>
              <a:gd name="connsiteY38992" fmla="*/ 911871 h 7458372"/>
              <a:gd name="connsiteX38993" fmla="*/ 2227461 w 10505529"/>
              <a:gd name="connsiteY38993" fmla="*/ 921322 h 7458372"/>
              <a:gd name="connsiteX38994" fmla="*/ 2218143 w 10505529"/>
              <a:gd name="connsiteY38994" fmla="*/ 927580 h 7458372"/>
              <a:gd name="connsiteX38995" fmla="*/ 2206428 w 10505529"/>
              <a:gd name="connsiteY38995" fmla="*/ 929843 h 7458372"/>
              <a:gd name="connsiteX38996" fmla="*/ 2184596 w 10505529"/>
              <a:gd name="connsiteY38996" fmla="*/ 921322 h 7458372"/>
              <a:gd name="connsiteX38997" fmla="*/ 2176209 w 10505529"/>
              <a:gd name="connsiteY38997" fmla="*/ 900157 h 7458372"/>
              <a:gd name="connsiteX38998" fmla="*/ 2184596 w 10505529"/>
              <a:gd name="connsiteY38998" fmla="*/ 879125 h 7458372"/>
              <a:gd name="connsiteX38999" fmla="*/ 2206428 w 10505529"/>
              <a:gd name="connsiteY38999" fmla="*/ 870472 h 7458372"/>
              <a:gd name="connsiteX39000" fmla="*/ 2859371 w 10505529"/>
              <a:gd name="connsiteY39000" fmla="*/ 870471 h 7458372"/>
              <a:gd name="connsiteX39001" fmla="*/ 2871219 w 10505529"/>
              <a:gd name="connsiteY39001" fmla="*/ 873000 h 7458372"/>
              <a:gd name="connsiteX39002" fmla="*/ 2880537 w 10505529"/>
              <a:gd name="connsiteY39002" fmla="*/ 879391 h 7458372"/>
              <a:gd name="connsiteX39003" fmla="*/ 2886660 w 10505529"/>
              <a:gd name="connsiteY39003" fmla="*/ 888709 h 7458372"/>
              <a:gd name="connsiteX39004" fmla="*/ 2888923 w 10505529"/>
              <a:gd name="connsiteY39004" fmla="*/ 900157 h 7458372"/>
              <a:gd name="connsiteX39005" fmla="*/ 2886660 w 10505529"/>
              <a:gd name="connsiteY39005" fmla="*/ 911871 h 7458372"/>
              <a:gd name="connsiteX39006" fmla="*/ 2880537 w 10505529"/>
              <a:gd name="connsiteY39006" fmla="*/ 921322 h 7458372"/>
              <a:gd name="connsiteX39007" fmla="*/ 2871219 w 10505529"/>
              <a:gd name="connsiteY39007" fmla="*/ 927579 h 7458372"/>
              <a:gd name="connsiteX39008" fmla="*/ 2859371 w 10505529"/>
              <a:gd name="connsiteY39008" fmla="*/ 929842 h 7458372"/>
              <a:gd name="connsiteX39009" fmla="*/ 2837539 w 10505529"/>
              <a:gd name="connsiteY39009" fmla="*/ 921322 h 7458372"/>
              <a:gd name="connsiteX39010" fmla="*/ 2829152 w 10505529"/>
              <a:gd name="connsiteY39010" fmla="*/ 900157 h 7458372"/>
              <a:gd name="connsiteX39011" fmla="*/ 2837539 w 10505529"/>
              <a:gd name="connsiteY39011" fmla="*/ 879125 h 7458372"/>
              <a:gd name="connsiteX39012" fmla="*/ 2859371 w 10505529"/>
              <a:gd name="connsiteY39012" fmla="*/ 870471 h 7458372"/>
              <a:gd name="connsiteX39013" fmla="*/ 2641723 w 10505529"/>
              <a:gd name="connsiteY39013" fmla="*/ 870471 h 7458372"/>
              <a:gd name="connsiteX39014" fmla="*/ 2653438 w 10505529"/>
              <a:gd name="connsiteY39014" fmla="*/ 873000 h 7458372"/>
              <a:gd name="connsiteX39015" fmla="*/ 2662756 w 10505529"/>
              <a:gd name="connsiteY39015" fmla="*/ 879391 h 7458372"/>
              <a:gd name="connsiteX39016" fmla="*/ 2668880 w 10505529"/>
              <a:gd name="connsiteY39016" fmla="*/ 888709 h 7458372"/>
              <a:gd name="connsiteX39017" fmla="*/ 2671143 w 10505529"/>
              <a:gd name="connsiteY39017" fmla="*/ 900157 h 7458372"/>
              <a:gd name="connsiteX39018" fmla="*/ 2668880 w 10505529"/>
              <a:gd name="connsiteY39018" fmla="*/ 911871 h 7458372"/>
              <a:gd name="connsiteX39019" fmla="*/ 2662756 w 10505529"/>
              <a:gd name="connsiteY39019" fmla="*/ 921322 h 7458372"/>
              <a:gd name="connsiteX39020" fmla="*/ 2653438 w 10505529"/>
              <a:gd name="connsiteY39020" fmla="*/ 927579 h 7458372"/>
              <a:gd name="connsiteX39021" fmla="*/ 2641723 w 10505529"/>
              <a:gd name="connsiteY39021" fmla="*/ 929842 h 7458372"/>
              <a:gd name="connsiteX39022" fmla="*/ 2619891 w 10505529"/>
              <a:gd name="connsiteY39022" fmla="*/ 921322 h 7458372"/>
              <a:gd name="connsiteX39023" fmla="*/ 2611505 w 10505529"/>
              <a:gd name="connsiteY39023" fmla="*/ 900157 h 7458372"/>
              <a:gd name="connsiteX39024" fmla="*/ 2619891 w 10505529"/>
              <a:gd name="connsiteY39024" fmla="*/ 879125 h 7458372"/>
              <a:gd name="connsiteX39025" fmla="*/ 2641723 w 10505529"/>
              <a:gd name="connsiteY39025" fmla="*/ 870471 h 7458372"/>
              <a:gd name="connsiteX39026" fmla="*/ 2424075 w 10505529"/>
              <a:gd name="connsiteY39026" fmla="*/ 870471 h 7458372"/>
              <a:gd name="connsiteX39027" fmla="*/ 2435790 w 10505529"/>
              <a:gd name="connsiteY39027" fmla="*/ 873001 h 7458372"/>
              <a:gd name="connsiteX39028" fmla="*/ 2445108 w 10505529"/>
              <a:gd name="connsiteY39028" fmla="*/ 879391 h 7458372"/>
              <a:gd name="connsiteX39029" fmla="*/ 2451232 w 10505529"/>
              <a:gd name="connsiteY39029" fmla="*/ 888709 h 7458372"/>
              <a:gd name="connsiteX39030" fmla="*/ 2453495 w 10505529"/>
              <a:gd name="connsiteY39030" fmla="*/ 900157 h 7458372"/>
              <a:gd name="connsiteX39031" fmla="*/ 2451232 w 10505529"/>
              <a:gd name="connsiteY39031" fmla="*/ 911871 h 7458372"/>
              <a:gd name="connsiteX39032" fmla="*/ 2445108 w 10505529"/>
              <a:gd name="connsiteY39032" fmla="*/ 921322 h 7458372"/>
              <a:gd name="connsiteX39033" fmla="*/ 2435790 w 10505529"/>
              <a:gd name="connsiteY39033" fmla="*/ 927580 h 7458372"/>
              <a:gd name="connsiteX39034" fmla="*/ 2424075 w 10505529"/>
              <a:gd name="connsiteY39034" fmla="*/ 929843 h 7458372"/>
              <a:gd name="connsiteX39035" fmla="*/ 2402244 w 10505529"/>
              <a:gd name="connsiteY39035" fmla="*/ 921322 h 7458372"/>
              <a:gd name="connsiteX39036" fmla="*/ 2393857 w 10505529"/>
              <a:gd name="connsiteY39036" fmla="*/ 900157 h 7458372"/>
              <a:gd name="connsiteX39037" fmla="*/ 2402244 w 10505529"/>
              <a:gd name="connsiteY39037" fmla="*/ 879125 h 7458372"/>
              <a:gd name="connsiteX39038" fmla="*/ 2424075 w 10505529"/>
              <a:gd name="connsiteY39038" fmla="*/ 870471 h 7458372"/>
              <a:gd name="connsiteX39039" fmla="*/ 3512181 w 10505529"/>
              <a:gd name="connsiteY39039" fmla="*/ 870471 h 7458372"/>
              <a:gd name="connsiteX39040" fmla="*/ 3523896 w 10505529"/>
              <a:gd name="connsiteY39040" fmla="*/ 873000 h 7458372"/>
              <a:gd name="connsiteX39041" fmla="*/ 3533214 w 10505529"/>
              <a:gd name="connsiteY39041" fmla="*/ 879390 h 7458372"/>
              <a:gd name="connsiteX39042" fmla="*/ 3539337 w 10505529"/>
              <a:gd name="connsiteY39042" fmla="*/ 888708 h 7458372"/>
              <a:gd name="connsiteX39043" fmla="*/ 3541600 w 10505529"/>
              <a:gd name="connsiteY39043" fmla="*/ 900157 h 7458372"/>
              <a:gd name="connsiteX39044" fmla="*/ 3539337 w 10505529"/>
              <a:gd name="connsiteY39044" fmla="*/ 911871 h 7458372"/>
              <a:gd name="connsiteX39045" fmla="*/ 3533214 w 10505529"/>
              <a:gd name="connsiteY39045" fmla="*/ 921322 h 7458372"/>
              <a:gd name="connsiteX39046" fmla="*/ 3523896 w 10505529"/>
              <a:gd name="connsiteY39046" fmla="*/ 927579 h 7458372"/>
              <a:gd name="connsiteX39047" fmla="*/ 3512181 w 10505529"/>
              <a:gd name="connsiteY39047" fmla="*/ 929842 h 7458372"/>
              <a:gd name="connsiteX39048" fmla="*/ 3490348 w 10505529"/>
              <a:gd name="connsiteY39048" fmla="*/ 921322 h 7458372"/>
              <a:gd name="connsiteX39049" fmla="*/ 3481962 w 10505529"/>
              <a:gd name="connsiteY39049" fmla="*/ 900157 h 7458372"/>
              <a:gd name="connsiteX39050" fmla="*/ 3490348 w 10505529"/>
              <a:gd name="connsiteY39050" fmla="*/ 879124 h 7458372"/>
              <a:gd name="connsiteX39051" fmla="*/ 3512181 w 10505529"/>
              <a:gd name="connsiteY39051" fmla="*/ 870471 h 7458372"/>
              <a:gd name="connsiteX39052" fmla="*/ 3294666 w 10505529"/>
              <a:gd name="connsiteY39052" fmla="*/ 870471 h 7458372"/>
              <a:gd name="connsiteX39053" fmla="*/ 3306382 w 10505529"/>
              <a:gd name="connsiteY39053" fmla="*/ 873000 h 7458372"/>
              <a:gd name="connsiteX39054" fmla="*/ 3315700 w 10505529"/>
              <a:gd name="connsiteY39054" fmla="*/ 879391 h 7458372"/>
              <a:gd name="connsiteX39055" fmla="*/ 3321823 w 10505529"/>
              <a:gd name="connsiteY39055" fmla="*/ 888708 h 7458372"/>
              <a:gd name="connsiteX39056" fmla="*/ 3324086 w 10505529"/>
              <a:gd name="connsiteY39056" fmla="*/ 900157 h 7458372"/>
              <a:gd name="connsiteX39057" fmla="*/ 3321823 w 10505529"/>
              <a:gd name="connsiteY39057" fmla="*/ 911871 h 7458372"/>
              <a:gd name="connsiteX39058" fmla="*/ 3315700 w 10505529"/>
              <a:gd name="connsiteY39058" fmla="*/ 921322 h 7458372"/>
              <a:gd name="connsiteX39059" fmla="*/ 3306382 w 10505529"/>
              <a:gd name="connsiteY39059" fmla="*/ 927579 h 7458372"/>
              <a:gd name="connsiteX39060" fmla="*/ 3294666 w 10505529"/>
              <a:gd name="connsiteY39060" fmla="*/ 929842 h 7458372"/>
              <a:gd name="connsiteX39061" fmla="*/ 3272834 w 10505529"/>
              <a:gd name="connsiteY39061" fmla="*/ 921322 h 7458372"/>
              <a:gd name="connsiteX39062" fmla="*/ 3264447 w 10505529"/>
              <a:gd name="connsiteY39062" fmla="*/ 900157 h 7458372"/>
              <a:gd name="connsiteX39063" fmla="*/ 3272834 w 10505529"/>
              <a:gd name="connsiteY39063" fmla="*/ 879124 h 7458372"/>
              <a:gd name="connsiteX39064" fmla="*/ 3294666 w 10505529"/>
              <a:gd name="connsiteY39064" fmla="*/ 870471 h 7458372"/>
              <a:gd name="connsiteX39065" fmla="*/ 3077018 w 10505529"/>
              <a:gd name="connsiteY39065" fmla="*/ 870471 h 7458372"/>
              <a:gd name="connsiteX39066" fmla="*/ 3088734 w 10505529"/>
              <a:gd name="connsiteY39066" fmla="*/ 873000 h 7458372"/>
              <a:gd name="connsiteX39067" fmla="*/ 3098052 w 10505529"/>
              <a:gd name="connsiteY39067" fmla="*/ 879391 h 7458372"/>
              <a:gd name="connsiteX39068" fmla="*/ 3104175 w 10505529"/>
              <a:gd name="connsiteY39068" fmla="*/ 888709 h 7458372"/>
              <a:gd name="connsiteX39069" fmla="*/ 3106438 w 10505529"/>
              <a:gd name="connsiteY39069" fmla="*/ 900157 h 7458372"/>
              <a:gd name="connsiteX39070" fmla="*/ 3104175 w 10505529"/>
              <a:gd name="connsiteY39070" fmla="*/ 911871 h 7458372"/>
              <a:gd name="connsiteX39071" fmla="*/ 3098052 w 10505529"/>
              <a:gd name="connsiteY39071" fmla="*/ 921322 h 7458372"/>
              <a:gd name="connsiteX39072" fmla="*/ 3088734 w 10505529"/>
              <a:gd name="connsiteY39072" fmla="*/ 927579 h 7458372"/>
              <a:gd name="connsiteX39073" fmla="*/ 3077018 w 10505529"/>
              <a:gd name="connsiteY39073" fmla="*/ 929842 h 7458372"/>
              <a:gd name="connsiteX39074" fmla="*/ 3055186 w 10505529"/>
              <a:gd name="connsiteY39074" fmla="*/ 921322 h 7458372"/>
              <a:gd name="connsiteX39075" fmla="*/ 3046800 w 10505529"/>
              <a:gd name="connsiteY39075" fmla="*/ 900157 h 7458372"/>
              <a:gd name="connsiteX39076" fmla="*/ 3055186 w 10505529"/>
              <a:gd name="connsiteY39076" fmla="*/ 879124 h 7458372"/>
              <a:gd name="connsiteX39077" fmla="*/ 3077018 w 10505529"/>
              <a:gd name="connsiteY39077" fmla="*/ 870471 h 7458372"/>
              <a:gd name="connsiteX39078" fmla="*/ 3729829 w 10505529"/>
              <a:gd name="connsiteY39078" fmla="*/ 870471 h 7458372"/>
              <a:gd name="connsiteX39079" fmla="*/ 3741544 w 10505529"/>
              <a:gd name="connsiteY39079" fmla="*/ 873000 h 7458372"/>
              <a:gd name="connsiteX39080" fmla="*/ 3750862 w 10505529"/>
              <a:gd name="connsiteY39080" fmla="*/ 879390 h 7458372"/>
              <a:gd name="connsiteX39081" fmla="*/ 3756985 w 10505529"/>
              <a:gd name="connsiteY39081" fmla="*/ 888708 h 7458372"/>
              <a:gd name="connsiteX39082" fmla="*/ 3759248 w 10505529"/>
              <a:gd name="connsiteY39082" fmla="*/ 900157 h 7458372"/>
              <a:gd name="connsiteX39083" fmla="*/ 3756985 w 10505529"/>
              <a:gd name="connsiteY39083" fmla="*/ 911871 h 7458372"/>
              <a:gd name="connsiteX39084" fmla="*/ 3750862 w 10505529"/>
              <a:gd name="connsiteY39084" fmla="*/ 921322 h 7458372"/>
              <a:gd name="connsiteX39085" fmla="*/ 3741544 w 10505529"/>
              <a:gd name="connsiteY39085" fmla="*/ 927579 h 7458372"/>
              <a:gd name="connsiteX39086" fmla="*/ 3729829 w 10505529"/>
              <a:gd name="connsiteY39086" fmla="*/ 929842 h 7458372"/>
              <a:gd name="connsiteX39087" fmla="*/ 3707997 w 10505529"/>
              <a:gd name="connsiteY39087" fmla="*/ 921322 h 7458372"/>
              <a:gd name="connsiteX39088" fmla="*/ 3699610 w 10505529"/>
              <a:gd name="connsiteY39088" fmla="*/ 900157 h 7458372"/>
              <a:gd name="connsiteX39089" fmla="*/ 3707997 w 10505529"/>
              <a:gd name="connsiteY39089" fmla="*/ 879124 h 7458372"/>
              <a:gd name="connsiteX39090" fmla="*/ 3729829 w 10505529"/>
              <a:gd name="connsiteY39090" fmla="*/ 870471 h 7458372"/>
              <a:gd name="connsiteX39091" fmla="*/ 4165068 w 10505529"/>
              <a:gd name="connsiteY39091" fmla="*/ 870471 h 7458372"/>
              <a:gd name="connsiteX39092" fmla="*/ 4176782 w 10505529"/>
              <a:gd name="connsiteY39092" fmla="*/ 873000 h 7458372"/>
              <a:gd name="connsiteX39093" fmla="*/ 4186100 w 10505529"/>
              <a:gd name="connsiteY39093" fmla="*/ 879390 h 7458372"/>
              <a:gd name="connsiteX39094" fmla="*/ 4192223 w 10505529"/>
              <a:gd name="connsiteY39094" fmla="*/ 888708 h 7458372"/>
              <a:gd name="connsiteX39095" fmla="*/ 4194486 w 10505529"/>
              <a:gd name="connsiteY39095" fmla="*/ 900156 h 7458372"/>
              <a:gd name="connsiteX39096" fmla="*/ 4192223 w 10505529"/>
              <a:gd name="connsiteY39096" fmla="*/ 911870 h 7458372"/>
              <a:gd name="connsiteX39097" fmla="*/ 4186100 w 10505529"/>
              <a:gd name="connsiteY39097" fmla="*/ 921322 h 7458372"/>
              <a:gd name="connsiteX39098" fmla="*/ 4176782 w 10505529"/>
              <a:gd name="connsiteY39098" fmla="*/ 927579 h 7458372"/>
              <a:gd name="connsiteX39099" fmla="*/ 4165068 w 10505529"/>
              <a:gd name="connsiteY39099" fmla="*/ 929842 h 7458372"/>
              <a:gd name="connsiteX39100" fmla="*/ 4143235 w 10505529"/>
              <a:gd name="connsiteY39100" fmla="*/ 921322 h 7458372"/>
              <a:gd name="connsiteX39101" fmla="*/ 4134849 w 10505529"/>
              <a:gd name="connsiteY39101" fmla="*/ 900156 h 7458372"/>
              <a:gd name="connsiteX39102" fmla="*/ 4143235 w 10505529"/>
              <a:gd name="connsiteY39102" fmla="*/ 879124 h 7458372"/>
              <a:gd name="connsiteX39103" fmla="*/ 4165068 w 10505529"/>
              <a:gd name="connsiteY39103" fmla="*/ 870471 h 7458372"/>
              <a:gd name="connsiteX39104" fmla="*/ 3947477 w 10505529"/>
              <a:gd name="connsiteY39104" fmla="*/ 870471 h 7458372"/>
              <a:gd name="connsiteX39105" fmla="*/ 3959192 w 10505529"/>
              <a:gd name="connsiteY39105" fmla="*/ 873000 h 7458372"/>
              <a:gd name="connsiteX39106" fmla="*/ 3968509 w 10505529"/>
              <a:gd name="connsiteY39106" fmla="*/ 879390 h 7458372"/>
              <a:gd name="connsiteX39107" fmla="*/ 3974633 w 10505529"/>
              <a:gd name="connsiteY39107" fmla="*/ 888708 h 7458372"/>
              <a:gd name="connsiteX39108" fmla="*/ 3976897 w 10505529"/>
              <a:gd name="connsiteY39108" fmla="*/ 900156 h 7458372"/>
              <a:gd name="connsiteX39109" fmla="*/ 3974633 w 10505529"/>
              <a:gd name="connsiteY39109" fmla="*/ 911871 h 7458372"/>
              <a:gd name="connsiteX39110" fmla="*/ 3968509 w 10505529"/>
              <a:gd name="connsiteY39110" fmla="*/ 921322 h 7458372"/>
              <a:gd name="connsiteX39111" fmla="*/ 3959192 w 10505529"/>
              <a:gd name="connsiteY39111" fmla="*/ 927579 h 7458372"/>
              <a:gd name="connsiteX39112" fmla="*/ 3947477 w 10505529"/>
              <a:gd name="connsiteY39112" fmla="*/ 929842 h 7458372"/>
              <a:gd name="connsiteX39113" fmla="*/ 3925645 w 10505529"/>
              <a:gd name="connsiteY39113" fmla="*/ 921322 h 7458372"/>
              <a:gd name="connsiteX39114" fmla="*/ 3917258 w 10505529"/>
              <a:gd name="connsiteY39114" fmla="*/ 900156 h 7458372"/>
              <a:gd name="connsiteX39115" fmla="*/ 3925645 w 10505529"/>
              <a:gd name="connsiteY39115" fmla="*/ 879124 h 7458372"/>
              <a:gd name="connsiteX39116" fmla="*/ 3947477 w 10505529"/>
              <a:gd name="connsiteY39116" fmla="*/ 870471 h 7458372"/>
              <a:gd name="connsiteX39117" fmla="*/ 4600226 w 10505529"/>
              <a:gd name="connsiteY39117" fmla="*/ 870471 h 7458372"/>
              <a:gd name="connsiteX39118" fmla="*/ 4612073 w 10505529"/>
              <a:gd name="connsiteY39118" fmla="*/ 872999 h 7458372"/>
              <a:gd name="connsiteX39119" fmla="*/ 4621391 w 10505529"/>
              <a:gd name="connsiteY39119" fmla="*/ 879390 h 7458372"/>
              <a:gd name="connsiteX39120" fmla="*/ 4627514 w 10505529"/>
              <a:gd name="connsiteY39120" fmla="*/ 888708 h 7458372"/>
              <a:gd name="connsiteX39121" fmla="*/ 4629777 w 10505529"/>
              <a:gd name="connsiteY39121" fmla="*/ 900156 h 7458372"/>
              <a:gd name="connsiteX39122" fmla="*/ 4627514 w 10505529"/>
              <a:gd name="connsiteY39122" fmla="*/ 911870 h 7458372"/>
              <a:gd name="connsiteX39123" fmla="*/ 4621391 w 10505529"/>
              <a:gd name="connsiteY39123" fmla="*/ 921321 h 7458372"/>
              <a:gd name="connsiteX39124" fmla="*/ 4612073 w 10505529"/>
              <a:gd name="connsiteY39124" fmla="*/ 927579 h 7458372"/>
              <a:gd name="connsiteX39125" fmla="*/ 4600226 w 10505529"/>
              <a:gd name="connsiteY39125" fmla="*/ 929842 h 7458372"/>
              <a:gd name="connsiteX39126" fmla="*/ 4578393 w 10505529"/>
              <a:gd name="connsiteY39126" fmla="*/ 921321 h 7458372"/>
              <a:gd name="connsiteX39127" fmla="*/ 4570007 w 10505529"/>
              <a:gd name="connsiteY39127" fmla="*/ 900156 h 7458372"/>
              <a:gd name="connsiteX39128" fmla="*/ 4578393 w 10505529"/>
              <a:gd name="connsiteY39128" fmla="*/ 879124 h 7458372"/>
              <a:gd name="connsiteX39129" fmla="*/ 4600226 w 10505529"/>
              <a:gd name="connsiteY39129" fmla="*/ 870471 h 7458372"/>
              <a:gd name="connsiteX39130" fmla="*/ 4382713 w 10505529"/>
              <a:gd name="connsiteY39130" fmla="*/ 870471 h 7458372"/>
              <a:gd name="connsiteX39131" fmla="*/ 4394428 w 10505529"/>
              <a:gd name="connsiteY39131" fmla="*/ 873000 h 7458372"/>
              <a:gd name="connsiteX39132" fmla="*/ 4403746 w 10505529"/>
              <a:gd name="connsiteY39132" fmla="*/ 879390 h 7458372"/>
              <a:gd name="connsiteX39133" fmla="*/ 4409869 w 10505529"/>
              <a:gd name="connsiteY39133" fmla="*/ 888708 h 7458372"/>
              <a:gd name="connsiteX39134" fmla="*/ 4412132 w 10505529"/>
              <a:gd name="connsiteY39134" fmla="*/ 900156 h 7458372"/>
              <a:gd name="connsiteX39135" fmla="*/ 4409869 w 10505529"/>
              <a:gd name="connsiteY39135" fmla="*/ 911870 h 7458372"/>
              <a:gd name="connsiteX39136" fmla="*/ 4403746 w 10505529"/>
              <a:gd name="connsiteY39136" fmla="*/ 921322 h 7458372"/>
              <a:gd name="connsiteX39137" fmla="*/ 4394428 w 10505529"/>
              <a:gd name="connsiteY39137" fmla="*/ 927579 h 7458372"/>
              <a:gd name="connsiteX39138" fmla="*/ 4382713 w 10505529"/>
              <a:gd name="connsiteY39138" fmla="*/ 929842 h 7458372"/>
              <a:gd name="connsiteX39139" fmla="*/ 4360881 w 10505529"/>
              <a:gd name="connsiteY39139" fmla="*/ 921322 h 7458372"/>
              <a:gd name="connsiteX39140" fmla="*/ 4352495 w 10505529"/>
              <a:gd name="connsiteY39140" fmla="*/ 900156 h 7458372"/>
              <a:gd name="connsiteX39141" fmla="*/ 4360881 w 10505529"/>
              <a:gd name="connsiteY39141" fmla="*/ 879124 h 7458372"/>
              <a:gd name="connsiteX39142" fmla="*/ 4382713 w 10505529"/>
              <a:gd name="connsiteY39142" fmla="*/ 870471 h 7458372"/>
              <a:gd name="connsiteX39143" fmla="*/ 4817870 w 10505529"/>
              <a:gd name="connsiteY39143" fmla="*/ 870470 h 7458372"/>
              <a:gd name="connsiteX39144" fmla="*/ 4829585 w 10505529"/>
              <a:gd name="connsiteY39144" fmla="*/ 872999 h 7458372"/>
              <a:gd name="connsiteX39145" fmla="*/ 4838903 w 10505529"/>
              <a:gd name="connsiteY39145" fmla="*/ 879390 h 7458372"/>
              <a:gd name="connsiteX39146" fmla="*/ 4845026 w 10505529"/>
              <a:gd name="connsiteY39146" fmla="*/ 888708 h 7458372"/>
              <a:gd name="connsiteX39147" fmla="*/ 4847289 w 10505529"/>
              <a:gd name="connsiteY39147" fmla="*/ 900156 h 7458372"/>
              <a:gd name="connsiteX39148" fmla="*/ 4845026 w 10505529"/>
              <a:gd name="connsiteY39148" fmla="*/ 911870 h 7458372"/>
              <a:gd name="connsiteX39149" fmla="*/ 4838903 w 10505529"/>
              <a:gd name="connsiteY39149" fmla="*/ 921321 h 7458372"/>
              <a:gd name="connsiteX39150" fmla="*/ 4829585 w 10505529"/>
              <a:gd name="connsiteY39150" fmla="*/ 927579 h 7458372"/>
              <a:gd name="connsiteX39151" fmla="*/ 4817870 w 10505529"/>
              <a:gd name="connsiteY39151" fmla="*/ 929842 h 7458372"/>
              <a:gd name="connsiteX39152" fmla="*/ 4796038 w 10505529"/>
              <a:gd name="connsiteY39152" fmla="*/ 921321 h 7458372"/>
              <a:gd name="connsiteX39153" fmla="*/ 4787652 w 10505529"/>
              <a:gd name="connsiteY39153" fmla="*/ 900156 h 7458372"/>
              <a:gd name="connsiteX39154" fmla="*/ 4796038 w 10505529"/>
              <a:gd name="connsiteY39154" fmla="*/ 879124 h 7458372"/>
              <a:gd name="connsiteX39155" fmla="*/ 4817870 w 10505529"/>
              <a:gd name="connsiteY39155" fmla="*/ 870470 h 7458372"/>
              <a:gd name="connsiteX39156" fmla="*/ 5035515 w 10505529"/>
              <a:gd name="connsiteY39156" fmla="*/ 870470 h 7458372"/>
              <a:gd name="connsiteX39157" fmla="*/ 5047230 w 10505529"/>
              <a:gd name="connsiteY39157" fmla="*/ 872999 h 7458372"/>
              <a:gd name="connsiteX39158" fmla="*/ 5056548 w 10505529"/>
              <a:gd name="connsiteY39158" fmla="*/ 879390 h 7458372"/>
              <a:gd name="connsiteX39159" fmla="*/ 5062671 w 10505529"/>
              <a:gd name="connsiteY39159" fmla="*/ 888708 h 7458372"/>
              <a:gd name="connsiteX39160" fmla="*/ 5064934 w 10505529"/>
              <a:gd name="connsiteY39160" fmla="*/ 900156 h 7458372"/>
              <a:gd name="connsiteX39161" fmla="*/ 5062671 w 10505529"/>
              <a:gd name="connsiteY39161" fmla="*/ 911870 h 7458372"/>
              <a:gd name="connsiteX39162" fmla="*/ 5056548 w 10505529"/>
              <a:gd name="connsiteY39162" fmla="*/ 921321 h 7458372"/>
              <a:gd name="connsiteX39163" fmla="*/ 5047230 w 10505529"/>
              <a:gd name="connsiteY39163" fmla="*/ 927578 h 7458372"/>
              <a:gd name="connsiteX39164" fmla="*/ 5035515 w 10505529"/>
              <a:gd name="connsiteY39164" fmla="*/ 929842 h 7458372"/>
              <a:gd name="connsiteX39165" fmla="*/ 5013683 w 10505529"/>
              <a:gd name="connsiteY39165" fmla="*/ 921321 h 7458372"/>
              <a:gd name="connsiteX39166" fmla="*/ 5005297 w 10505529"/>
              <a:gd name="connsiteY39166" fmla="*/ 900156 h 7458372"/>
              <a:gd name="connsiteX39167" fmla="*/ 5013683 w 10505529"/>
              <a:gd name="connsiteY39167" fmla="*/ 879124 h 7458372"/>
              <a:gd name="connsiteX39168" fmla="*/ 5035515 w 10505529"/>
              <a:gd name="connsiteY39168" fmla="*/ 870470 h 7458372"/>
              <a:gd name="connsiteX39169" fmla="*/ 5253160 w 10505529"/>
              <a:gd name="connsiteY39169" fmla="*/ 870470 h 7458372"/>
              <a:gd name="connsiteX39170" fmla="*/ 5264875 w 10505529"/>
              <a:gd name="connsiteY39170" fmla="*/ 872999 h 7458372"/>
              <a:gd name="connsiteX39171" fmla="*/ 5274192 w 10505529"/>
              <a:gd name="connsiteY39171" fmla="*/ 879390 h 7458372"/>
              <a:gd name="connsiteX39172" fmla="*/ 5280316 w 10505529"/>
              <a:gd name="connsiteY39172" fmla="*/ 888708 h 7458372"/>
              <a:gd name="connsiteX39173" fmla="*/ 5282579 w 10505529"/>
              <a:gd name="connsiteY39173" fmla="*/ 900156 h 7458372"/>
              <a:gd name="connsiteX39174" fmla="*/ 5280316 w 10505529"/>
              <a:gd name="connsiteY39174" fmla="*/ 911870 h 7458372"/>
              <a:gd name="connsiteX39175" fmla="*/ 5274192 w 10505529"/>
              <a:gd name="connsiteY39175" fmla="*/ 921321 h 7458372"/>
              <a:gd name="connsiteX39176" fmla="*/ 5264875 w 10505529"/>
              <a:gd name="connsiteY39176" fmla="*/ 927578 h 7458372"/>
              <a:gd name="connsiteX39177" fmla="*/ 5253160 w 10505529"/>
              <a:gd name="connsiteY39177" fmla="*/ 929841 h 7458372"/>
              <a:gd name="connsiteX39178" fmla="*/ 5231328 w 10505529"/>
              <a:gd name="connsiteY39178" fmla="*/ 921321 h 7458372"/>
              <a:gd name="connsiteX39179" fmla="*/ 5222942 w 10505529"/>
              <a:gd name="connsiteY39179" fmla="*/ 900156 h 7458372"/>
              <a:gd name="connsiteX39180" fmla="*/ 5231328 w 10505529"/>
              <a:gd name="connsiteY39180" fmla="*/ 879123 h 7458372"/>
              <a:gd name="connsiteX39181" fmla="*/ 5253160 w 10505529"/>
              <a:gd name="connsiteY39181" fmla="*/ 870470 h 7458372"/>
              <a:gd name="connsiteX39182" fmla="*/ 5688451 w 10505529"/>
              <a:gd name="connsiteY39182" fmla="*/ 870470 h 7458372"/>
              <a:gd name="connsiteX39183" fmla="*/ 5700165 w 10505529"/>
              <a:gd name="connsiteY39183" fmla="*/ 872999 h 7458372"/>
              <a:gd name="connsiteX39184" fmla="*/ 5709483 w 10505529"/>
              <a:gd name="connsiteY39184" fmla="*/ 879389 h 7458372"/>
              <a:gd name="connsiteX39185" fmla="*/ 5715606 w 10505529"/>
              <a:gd name="connsiteY39185" fmla="*/ 888707 h 7458372"/>
              <a:gd name="connsiteX39186" fmla="*/ 5717869 w 10505529"/>
              <a:gd name="connsiteY39186" fmla="*/ 900156 h 7458372"/>
              <a:gd name="connsiteX39187" fmla="*/ 5715606 w 10505529"/>
              <a:gd name="connsiteY39187" fmla="*/ 911870 h 7458372"/>
              <a:gd name="connsiteX39188" fmla="*/ 5709483 w 10505529"/>
              <a:gd name="connsiteY39188" fmla="*/ 921321 h 7458372"/>
              <a:gd name="connsiteX39189" fmla="*/ 5700165 w 10505529"/>
              <a:gd name="connsiteY39189" fmla="*/ 927578 h 7458372"/>
              <a:gd name="connsiteX39190" fmla="*/ 5688451 w 10505529"/>
              <a:gd name="connsiteY39190" fmla="*/ 929841 h 7458372"/>
              <a:gd name="connsiteX39191" fmla="*/ 5666618 w 10505529"/>
              <a:gd name="connsiteY39191" fmla="*/ 921321 h 7458372"/>
              <a:gd name="connsiteX39192" fmla="*/ 5658232 w 10505529"/>
              <a:gd name="connsiteY39192" fmla="*/ 900156 h 7458372"/>
              <a:gd name="connsiteX39193" fmla="*/ 5666618 w 10505529"/>
              <a:gd name="connsiteY39193" fmla="*/ 879123 h 7458372"/>
              <a:gd name="connsiteX39194" fmla="*/ 5688451 w 10505529"/>
              <a:gd name="connsiteY39194" fmla="*/ 870470 h 7458372"/>
              <a:gd name="connsiteX39195" fmla="*/ 5470806 w 10505529"/>
              <a:gd name="connsiteY39195" fmla="*/ 870470 h 7458372"/>
              <a:gd name="connsiteX39196" fmla="*/ 5482520 w 10505529"/>
              <a:gd name="connsiteY39196" fmla="*/ 872999 h 7458372"/>
              <a:gd name="connsiteX39197" fmla="*/ 5491838 w 10505529"/>
              <a:gd name="connsiteY39197" fmla="*/ 879389 h 7458372"/>
              <a:gd name="connsiteX39198" fmla="*/ 5497961 w 10505529"/>
              <a:gd name="connsiteY39198" fmla="*/ 888707 h 7458372"/>
              <a:gd name="connsiteX39199" fmla="*/ 5500224 w 10505529"/>
              <a:gd name="connsiteY39199" fmla="*/ 900156 h 7458372"/>
              <a:gd name="connsiteX39200" fmla="*/ 5497961 w 10505529"/>
              <a:gd name="connsiteY39200" fmla="*/ 911870 h 7458372"/>
              <a:gd name="connsiteX39201" fmla="*/ 5491838 w 10505529"/>
              <a:gd name="connsiteY39201" fmla="*/ 921321 h 7458372"/>
              <a:gd name="connsiteX39202" fmla="*/ 5482520 w 10505529"/>
              <a:gd name="connsiteY39202" fmla="*/ 927578 h 7458372"/>
              <a:gd name="connsiteX39203" fmla="*/ 5470806 w 10505529"/>
              <a:gd name="connsiteY39203" fmla="*/ 929841 h 7458372"/>
              <a:gd name="connsiteX39204" fmla="*/ 5448973 w 10505529"/>
              <a:gd name="connsiteY39204" fmla="*/ 921321 h 7458372"/>
              <a:gd name="connsiteX39205" fmla="*/ 5440587 w 10505529"/>
              <a:gd name="connsiteY39205" fmla="*/ 900156 h 7458372"/>
              <a:gd name="connsiteX39206" fmla="*/ 5448973 w 10505529"/>
              <a:gd name="connsiteY39206" fmla="*/ 879123 h 7458372"/>
              <a:gd name="connsiteX39207" fmla="*/ 5470806 w 10505529"/>
              <a:gd name="connsiteY39207" fmla="*/ 870470 h 7458372"/>
              <a:gd name="connsiteX39208" fmla="*/ 6123608 w 10505529"/>
              <a:gd name="connsiteY39208" fmla="*/ 870470 h 7458372"/>
              <a:gd name="connsiteX39209" fmla="*/ 6135322 w 10505529"/>
              <a:gd name="connsiteY39209" fmla="*/ 872999 h 7458372"/>
              <a:gd name="connsiteX39210" fmla="*/ 6144640 w 10505529"/>
              <a:gd name="connsiteY39210" fmla="*/ 879389 h 7458372"/>
              <a:gd name="connsiteX39211" fmla="*/ 6150763 w 10505529"/>
              <a:gd name="connsiteY39211" fmla="*/ 888707 h 7458372"/>
              <a:gd name="connsiteX39212" fmla="*/ 6153026 w 10505529"/>
              <a:gd name="connsiteY39212" fmla="*/ 900156 h 7458372"/>
              <a:gd name="connsiteX39213" fmla="*/ 6150763 w 10505529"/>
              <a:gd name="connsiteY39213" fmla="*/ 911870 h 7458372"/>
              <a:gd name="connsiteX39214" fmla="*/ 6144640 w 10505529"/>
              <a:gd name="connsiteY39214" fmla="*/ 921321 h 7458372"/>
              <a:gd name="connsiteX39215" fmla="*/ 6135322 w 10505529"/>
              <a:gd name="connsiteY39215" fmla="*/ 927578 h 7458372"/>
              <a:gd name="connsiteX39216" fmla="*/ 6123608 w 10505529"/>
              <a:gd name="connsiteY39216" fmla="*/ 929841 h 7458372"/>
              <a:gd name="connsiteX39217" fmla="*/ 6101775 w 10505529"/>
              <a:gd name="connsiteY39217" fmla="*/ 921321 h 7458372"/>
              <a:gd name="connsiteX39218" fmla="*/ 6093389 w 10505529"/>
              <a:gd name="connsiteY39218" fmla="*/ 900156 h 7458372"/>
              <a:gd name="connsiteX39219" fmla="*/ 6101775 w 10505529"/>
              <a:gd name="connsiteY39219" fmla="*/ 879123 h 7458372"/>
              <a:gd name="connsiteX39220" fmla="*/ 6123608 w 10505529"/>
              <a:gd name="connsiteY39220" fmla="*/ 870470 h 7458372"/>
              <a:gd name="connsiteX39221" fmla="*/ 5905963 w 10505529"/>
              <a:gd name="connsiteY39221" fmla="*/ 870470 h 7458372"/>
              <a:gd name="connsiteX39222" fmla="*/ 5917677 w 10505529"/>
              <a:gd name="connsiteY39222" fmla="*/ 872999 h 7458372"/>
              <a:gd name="connsiteX39223" fmla="*/ 5926995 w 10505529"/>
              <a:gd name="connsiteY39223" fmla="*/ 879389 h 7458372"/>
              <a:gd name="connsiteX39224" fmla="*/ 5933118 w 10505529"/>
              <a:gd name="connsiteY39224" fmla="*/ 888707 h 7458372"/>
              <a:gd name="connsiteX39225" fmla="*/ 5935381 w 10505529"/>
              <a:gd name="connsiteY39225" fmla="*/ 900156 h 7458372"/>
              <a:gd name="connsiteX39226" fmla="*/ 5933118 w 10505529"/>
              <a:gd name="connsiteY39226" fmla="*/ 911870 h 7458372"/>
              <a:gd name="connsiteX39227" fmla="*/ 5926995 w 10505529"/>
              <a:gd name="connsiteY39227" fmla="*/ 921321 h 7458372"/>
              <a:gd name="connsiteX39228" fmla="*/ 5917677 w 10505529"/>
              <a:gd name="connsiteY39228" fmla="*/ 927578 h 7458372"/>
              <a:gd name="connsiteX39229" fmla="*/ 5905963 w 10505529"/>
              <a:gd name="connsiteY39229" fmla="*/ 929841 h 7458372"/>
              <a:gd name="connsiteX39230" fmla="*/ 5884130 w 10505529"/>
              <a:gd name="connsiteY39230" fmla="*/ 921321 h 7458372"/>
              <a:gd name="connsiteX39231" fmla="*/ 5875744 w 10505529"/>
              <a:gd name="connsiteY39231" fmla="*/ 900156 h 7458372"/>
              <a:gd name="connsiteX39232" fmla="*/ 5884130 w 10505529"/>
              <a:gd name="connsiteY39232" fmla="*/ 879123 h 7458372"/>
              <a:gd name="connsiteX39233" fmla="*/ 5905963 w 10505529"/>
              <a:gd name="connsiteY39233" fmla="*/ 870470 h 7458372"/>
              <a:gd name="connsiteX39234" fmla="*/ 6341253 w 10505529"/>
              <a:gd name="connsiteY39234" fmla="*/ 870470 h 7458372"/>
              <a:gd name="connsiteX39235" fmla="*/ 6352968 w 10505529"/>
              <a:gd name="connsiteY39235" fmla="*/ 872999 h 7458372"/>
              <a:gd name="connsiteX39236" fmla="*/ 6362286 w 10505529"/>
              <a:gd name="connsiteY39236" fmla="*/ 879389 h 7458372"/>
              <a:gd name="connsiteX39237" fmla="*/ 6368409 w 10505529"/>
              <a:gd name="connsiteY39237" fmla="*/ 888707 h 7458372"/>
              <a:gd name="connsiteX39238" fmla="*/ 6370672 w 10505529"/>
              <a:gd name="connsiteY39238" fmla="*/ 900155 h 7458372"/>
              <a:gd name="connsiteX39239" fmla="*/ 6368409 w 10505529"/>
              <a:gd name="connsiteY39239" fmla="*/ 911870 h 7458372"/>
              <a:gd name="connsiteX39240" fmla="*/ 6362286 w 10505529"/>
              <a:gd name="connsiteY39240" fmla="*/ 921321 h 7458372"/>
              <a:gd name="connsiteX39241" fmla="*/ 6352968 w 10505529"/>
              <a:gd name="connsiteY39241" fmla="*/ 927578 h 7458372"/>
              <a:gd name="connsiteX39242" fmla="*/ 6341253 w 10505529"/>
              <a:gd name="connsiteY39242" fmla="*/ 929841 h 7458372"/>
              <a:gd name="connsiteX39243" fmla="*/ 6319421 w 10505529"/>
              <a:gd name="connsiteY39243" fmla="*/ 921321 h 7458372"/>
              <a:gd name="connsiteX39244" fmla="*/ 6311035 w 10505529"/>
              <a:gd name="connsiteY39244" fmla="*/ 900155 h 7458372"/>
              <a:gd name="connsiteX39245" fmla="*/ 6319421 w 10505529"/>
              <a:gd name="connsiteY39245" fmla="*/ 879123 h 7458372"/>
              <a:gd name="connsiteX39246" fmla="*/ 6341253 w 10505529"/>
              <a:gd name="connsiteY39246" fmla="*/ 870470 h 7458372"/>
              <a:gd name="connsiteX39247" fmla="*/ 6776544 w 10505529"/>
              <a:gd name="connsiteY39247" fmla="*/ 870470 h 7458372"/>
              <a:gd name="connsiteX39248" fmla="*/ 6788258 w 10505529"/>
              <a:gd name="connsiteY39248" fmla="*/ 872998 h 7458372"/>
              <a:gd name="connsiteX39249" fmla="*/ 6797576 w 10505529"/>
              <a:gd name="connsiteY39249" fmla="*/ 879389 h 7458372"/>
              <a:gd name="connsiteX39250" fmla="*/ 6803699 w 10505529"/>
              <a:gd name="connsiteY39250" fmla="*/ 888707 h 7458372"/>
              <a:gd name="connsiteX39251" fmla="*/ 6805963 w 10505529"/>
              <a:gd name="connsiteY39251" fmla="*/ 900155 h 7458372"/>
              <a:gd name="connsiteX39252" fmla="*/ 6803699 w 10505529"/>
              <a:gd name="connsiteY39252" fmla="*/ 911869 h 7458372"/>
              <a:gd name="connsiteX39253" fmla="*/ 6797576 w 10505529"/>
              <a:gd name="connsiteY39253" fmla="*/ 921321 h 7458372"/>
              <a:gd name="connsiteX39254" fmla="*/ 6788258 w 10505529"/>
              <a:gd name="connsiteY39254" fmla="*/ 927578 h 7458372"/>
              <a:gd name="connsiteX39255" fmla="*/ 6776544 w 10505529"/>
              <a:gd name="connsiteY39255" fmla="*/ 929841 h 7458372"/>
              <a:gd name="connsiteX39256" fmla="*/ 6754711 w 10505529"/>
              <a:gd name="connsiteY39256" fmla="*/ 921321 h 7458372"/>
              <a:gd name="connsiteX39257" fmla="*/ 6746325 w 10505529"/>
              <a:gd name="connsiteY39257" fmla="*/ 900155 h 7458372"/>
              <a:gd name="connsiteX39258" fmla="*/ 6754711 w 10505529"/>
              <a:gd name="connsiteY39258" fmla="*/ 879123 h 7458372"/>
              <a:gd name="connsiteX39259" fmla="*/ 6776544 w 10505529"/>
              <a:gd name="connsiteY39259" fmla="*/ 870470 h 7458372"/>
              <a:gd name="connsiteX39260" fmla="*/ 6558899 w 10505529"/>
              <a:gd name="connsiteY39260" fmla="*/ 870470 h 7458372"/>
              <a:gd name="connsiteX39261" fmla="*/ 6570612 w 10505529"/>
              <a:gd name="connsiteY39261" fmla="*/ 872999 h 7458372"/>
              <a:gd name="connsiteX39262" fmla="*/ 6579930 w 10505529"/>
              <a:gd name="connsiteY39262" fmla="*/ 879389 h 7458372"/>
              <a:gd name="connsiteX39263" fmla="*/ 6586054 w 10505529"/>
              <a:gd name="connsiteY39263" fmla="*/ 888707 h 7458372"/>
              <a:gd name="connsiteX39264" fmla="*/ 6588317 w 10505529"/>
              <a:gd name="connsiteY39264" fmla="*/ 900155 h 7458372"/>
              <a:gd name="connsiteX39265" fmla="*/ 6586054 w 10505529"/>
              <a:gd name="connsiteY39265" fmla="*/ 911869 h 7458372"/>
              <a:gd name="connsiteX39266" fmla="*/ 6579930 w 10505529"/>
              <a:gd name="connsiteY39266" fmla="*/ 921321 h 7458372"/>
              <a:gd name="connsiteX39267" fmla="*/ 6570612 w 10505529"/>
              <a:gd name="connsiteY39267" fmla="*/ 927578 h 7458372"/>
              <a:gd name="connsiteX39268" fmla="*/ 6558899 w 10505529"/>
              <a:gd name="connsiteY39268" fmla="*/ 929841 h 7458372"/>
              <a:gd name="connsiteX39269" fmla="*/ 6537066 w 10505529"/>
              <a:gd name="connsiteY39269" fmla="*/ 921321 h 7458372"/>
              <a:gd name="connsiteX39270" fmla="*/ 6528680 w 10505529"/>
              <a:gd name="connsiteY39270" fmla="*/ 900155 h 7458372"/>
              <a:gd name="connsiteX39271" fmla="*/ 6537066 w 10505529"/>
              <a:gd name="connsiteY39271" fmla="*/ 879123 h 7458372"/>
              <a:gd name="connsiteX39272" fmla="*/ 6558899 w 10505529"/>
              <a:gd name="connsiteY39272" fmla="*/ 870470 h 7458372"/>
              <a:gd name="connsiteX39273" fmla="*/ 7211701 w 10505529"/>
              <a:gd name="connsiteY39273" fmla="*/ 870469 h 7458372"/>
              <a:gd name="connsiteX39274" fmla="*/ 7223415 w 10505529"/>
              <a:gd name="connsiteY39274" fmla="*/ 872998 h 7458372"/>
              <a:gd name="connsiteX39275" fmla="*/ 7232733 w 10505529"/>
              <a:gd name="connsiteY39275" fmla="*/ 879389 h 7458372"/>
              <a:gd name="connsiteX39276" fmla="*/ 7238856 w 10505529"/>
              <a:gd name="connsiteY39276" fmla="*/ 888707 h 7458372"/>
              <a:gd name="connsiteX39277" fmla="*/ 7241120 w 10505529"/>
              <a:gd name="connsiteY39277" fmla="*/ 900155 h 7458372"/>
              <a:gd name="connsiteX39278" fmla="*/ 7238856 w 10505529"/>
              <a:gd name="connsiteY39278" fmla="*/ 911869 h 7458372"/>
              <a:gd name="connsiteX39279" fmla="*/ 7232733 w 10505529"/>
              <a:gd name="connsiteY39279" fmla="*/ 921320 h 7458372"/>
              <a:gd name="connsiteX39280" fmla="*/ 7223415 w 10505529"/>
              <a:gd name="connsiteY39280" fmla="*/ 927577 h 7458372"/>
              <a:gd name="connsiteX39281" fmla="*/ 7211701 w 10505529"/>
              <a:gd name="connsiteY39281" fmla="*/ 929840 h 7458372"/>
              <a:gd name="connsiteX39282" fmla="*/ 7189868 w 10505529"/>
              <a:gd name="connsiteY39282" fmla="*/ 921320 h 7458372"/>
              <a:gd name="connsiteX39283" fmla="*/ 7181482 w 10505529"/>
              <a:gd name="connsiteY39283" fmla="*/ 900155 h 7458372"/>
              <a:gd name="connsiteX39284" fmla="*/ 7189868 w 10505529"/>
              <a:gd name="connsiteY39284" fmla="*/ 879122 h 7458372"/>
              <a:gd name="connsiteX39285" fmla="*/ 7211701 w 10505529"/>
              <a:gd name="connsiteY39285" fmla="*/ 870469 h 7458372"/>
              <a:gd name="connsiteX39286" fmla="*/ 6994056 w 10505529"/>
              <a:gd name="connsiteY39286" fmla="*/ 870469 h 7458372"/>
              <a:gd name="connsiteX39287" fmla="*/ 7005769 w 10505529"/>
              <a:gd name="connsiteY39287" fmla="*/ 872998 h 7458372"/>
              <a:gd name="connsiteX39288" fmla="*/ 7015087 w 10505529"/>
              <a:gd name="connsiteY39288" fmla="*/ 879389 h 7458372"/>
              <a:gd name="connsiteX39289" fmla="*/ 7021211 w 10505529"/>
              <a:gd name="connsiteY39289" fmla="*/ 888707 h 7458372"/>
              <a:gd name="connsiteX39290" fmla="*/ 7023474 w 10505529"/>
              <a:gd name="connsiteY39290" fmla="*/ 900155 h 7458372"/>
              <a:gd name="connsiteX39291" fmla="*/ 7021211 w 10505529"/>
              <a:gd name="connsiteY39291" fmla="*/ 911869 h 7458372"/>
              <a:gd name="connsiteX39292" fmla="*/ 7015087 w 10505529"/>
              <a:gd name="connsiteY39292" fmla="*/ 921320 h 7458372"/>
              <a:gd name="connsiteX39293" fmla="*/ 7005769 w 10505529"/>
              <a:gd name="connsiteY39293" fmla="*/ 927577 h 7458372"/>
              <a:gd name="connsiteX39294" fmla="*/ 6994056 w 10505529"/>
              <a:gd name="connsiteY39294" fmla="*/ 929841 h 7458372"/>
              <a:gd name="connsiteX39295" fmla="*/ 6972223 w 10505529"/>
              <a:gd name="connsiteY39295" fmla="*/ 921320 h 7458372"/>
              <a:gd name="connsiteX39296" fmla="*/ 6963837 w 10505529"/>
              <a:gd name="connsiteY39296" fmla="*/ 900155 h 7458372"/>
              <a:gd name="connsiteX39297" fmla="*/ 6972223 w 10505529"/>
              <a:gd name="connsiteY39297" fmla="*/ 879122 h 7458372"/>
              <a:gd name="connsiteX39298" fmla="*/ 6994056 w 10505529"/>
              <a:gd name="connsiteY39298" fmla="*/ 870469 h 7458372"/>
              <a:gd name="connsiteX39299" fmla="*/ 7429345 w 10505529"/>
              <a:gd name="connsiteY39299" fmla="*/ 870469 h 7458372"/>
              <a:gd name="connsiteX39300" fmla="*/ 7441059 w 10505529"/>
              <a:gd name="connsiteY39300" fmla="*/ 872998 h 7458372"/>
              <a:gd name="connsiteX39301" fmla="*/ 7450377 w 10505529"/>
              <a:gd name="connsiteY39301" fmla="*/ 879388 h 7458372"/>
              <a:gd name="connsiteX39302" fmla="*/ 7456501 w 10505529"/>
              <a:gd name="connsiteY39302" fmla="*/ 888707 h 7458372"/>
              <a:gd name="connsiteX39303" fmla="*/ 7458764 w 10505529"/>
              <a:gd name="connsiteY39303" fmla="*/ 900155 h 7458372"/>
              <a:gd name="connsiteX39304" fmla="*/ 7456501 w 10505529"/>
              <a:gd name="connsiteY39304" fmla="*/ 911869 h 7458372"/>
              <a:gd name="connsiteX39305" fmla="*/ 7450377 w 10505529"/>
              <a:gd name="connsiteY39305" fmla="*/ 921320 h 7458372"/>
              <a:gd name="connsiteX39306" fmla="*/ 7441059 w 10505529"/>
              <a:gd name="connsiteY39306" fmla="*/ 927577 h 7458372"/>
              <a:gd name="connsiteX39307" fmla="*/ 7429345 w 10505529"/>
              <a:gd name="connsiteY39307" fmla="*/ 929840 h 7458372"/>
              <a:gd name="connsiteX39308" fmla="*/ 7407513 w 10505529"/>
              <a:gd name="connsiteY39308" fmla="*/ 921320 h 7458372"/>
              <a:gd name="connsiteX39309" fmla="*/ 7399127 w 10505529"/>
              <a:gd name="connsiteY39309" fmla="*/ 900155 h 7458372"/>
              <a:gd name="connsiteX39310" fmla="*/ 7407513 w 10505529"/>
              <a:gd name="connsiteY39310" fmla="*/ 879122 h 7458372"/>
              <a:gd name="connsiteX39311" fmla="*/ 7429345 w 10505529"/>
              <a:gd name="connsiteY39311" fmla="*/ 870469 h 7458372"/>
              <a:gd name="connsiteX39312" fmla="*/ 7646991 w 10505529"/>
              <a:gd name="connsiteY39312" fmla="*/ 870469 h 7458372"/>
              <a:gd name="connsiteX39313" fmla="*/ 7658705 w 10505529"/>
              <a:gd name="connsiteY39313" fmla="*/ 872998 h 7458372"/>
              <a:gd name="connsiteX39314" fmla="*/ 7668022 w 10505529"/>
              <a:gd name="connsiteY39314" fmla="*/ 879388 h 7458372"/>
              <a:gd name="connsiteX39315" fmla="*/ 7674146 w 10505529"/>
              <a:gd name="connsiteY39315" fmla="*/ 888707 h 7458372"/>
              <a:gd name="connsiteX39316" fmla="*/ 7676409 w 10505529"/>
              <a:gd name="connsiteY39316" fmla="*/ 900155 h 7458372"/>
              <a:gd name="connsiteX39317" fmla="*/ 7674146 w 10505529"/>
              <a:gd name="connsiteY39317" fmla="*/ 911869 h 7458372"/>
              <a:gd name="connsiteX39318" fmla="*/ 7668022 w 10505529"/>
              <a:gd name="connsiteY39318" fmla="*/ 921320 h 7458372"/>
              <a:gd name="connsiteX39319" fmla="*/ 7658705 w 10505529"/>
              <a:gd name="connsiteY39319" fmla="*/ 927577 h 7458372"/>
              <a:gd name="connsiteX39320" fmla="*/ 7646991 w 10505529"/>
              <a:gd name="connsiteY39320" fmla="*/ 929840 h 7458372"/>
              <a:gd name="connsiteX39321" fmla="*/ 7625158 w 10505529"/>
              <a:gd name="connsiteY39321" fmla="*/ 921320 h 7458372"/>
              <a:gd name="connsiteX39322" fmla="*/ 7616772 w 10505529"/>
              <a:gd name="connsiteY39322" fmla="*/ 900155 h 7458372"/>
              <a:gd name="connsiteX39323" fmla="*/ 7625158 w 10505529"/>
              <a:gd name="connsiteY39323" fmla="*/ 879122 h 7458372"/>
              <a:gd name="connsiteX39324" fmla="*/ 7646991 w 10505529"/>
              <a:gd name="connsiteY39324" fmla="*/ 870469 h 7458372"/>
              <a:gd name="connsiteX39325" fmla="*/ 8082281 w 10505529"/>
              <a:gd name="connsiteY39325" fmla="*/ 870469 h 7458372"/>
              <a:gd name="connsiteX39326" fmla="*/ 8094127 w 10505529"/>
              <a:gd name="connsiteY39326" fmla="*/ 872998 h 7458372"/>
              <a:gd name="connsiteX39327" fmla="*/ 8103446 w 10505529"/>
              <a:gd name="connsiteY39327" fmla="*/ 879388 h 7458372"/>
              <a:gd name="connsiteX39328" fmla="*/ 8109569 w 10505529"/>
              <a:gd name="connsiteY39328" fmla="*/ 888706 h 7458372"/>
              <a:gd name="connsiteX39329" fmla="*/ 8111832 w 10505529"/>
              <a:gd name="connsiteY39329" fmla="*/ 900155 h 7458372"/>
              <a:gd name="connsiteX39330" fmla="*/ 8109569 w 10505529"/>
              <a:gd name="connsiteY39330" fmla="*/ 911869 h 7458372"/>
              <a:gd name="connsiteX39331" fmla="*/ 8103446 w 10505529"/>
              <a:gd name="connsiteY39331" fmla="*/ 921320 h 7458372"/>
              <a:gd name="connsiteX39332" fmla="*/ 8094127 w 10505529"/>
              <a:gd name="connsiteY39332" fmla="*/ 927577 h 7458372"/>
              <a:gd name="connsiteX39333" fmla="*/ 8082281 w 10505529"/>
              <a:gd name="connsiteY39333" fmla="*/ 929840 h 7458372"/>
              <a:gd name="connsiteX39334" fmla="*/ 8060448 w 10505529"/>
              <a:gd name="connsiteY39334" fmla="*/ 921320 h 7458372"/>
              <a:gd name="connsiteX39335" fmla="*/ 8052062 w 10505529"/>
              <a:gd name="connsiteY39335" fmla="*/ 900155 h 7458372"/>
              <a:gd name="connsiteX39336" fmla="*/ 8060448 w 10505529"/>
              <a:gd name="connsiteY39336" fmla="*/ 879122 h 7458372"/>
              <a:gd name="connsiteX39337" fmla="*/ 8082281 w 10505529"/>
              <a:gd name="connsiteY39337" fmla="*/ 870469 h 7458372"/>
              <a:gd name="connsiteX39338" fmla="*/ 7864636 w 10505529"/>
              <a:gd name="connsiteY39338" fmla="*/ 870469 h 7458372"/>
              <a:gd name="connsiteX39339" fmla="*/ 7876483 w 10505529"/>
              <a:gd name="connsiteY39339" fmla="*/ 872998 h 7458372"/>
              <a:gd name="connsiteX39340" fmla="*/ 7885802 w 10505529"/>
              <a:gd name="connsiteY39340" fmla="*/ 879388 h 7458372"/>
              <a:gd name="connsiteX39341" fmla="*/ 7891924 w 10505529"/>
              <a:gd name="connsiteY39341" fmla="*/ 888706 h 7458372"/>
              <a:gd name="connsiteX39342" fmla="*/ 7894188 w 10505529"/>
              <a:gd name="connsiteY39342" fmla="*/ 900155 h 7458372"/>
              <a:gd name="connsiteX39343" fmla="*/ 7891924 w 10505529"/>
              <a:gd name="connsiteY39343" fmla="*/ 911869 h 7458372"/>
              <a:gd name="connsiteX39344" fmla="*/ 7885802 w 10505529"/>
              <a:gd name="connsiteY39344" fmla="*/ 921320 h 7458372"/>
              <a:gd name="connsiteX39345" fmla="*/ 7876483 w 10505529"/>
              <a:gd name="connsiteY39345" fmla="*/ 927577 h 7458372"/>
              <a:gd name="connsiteX39346" fmla="*/ 7864636 w 10505529"/>
              <a:gd name="connsiteY39346" fmla="*/ 929840 h 7458372"/>
              <a:gd name="connsiteX39347" fmla="*/ 7842803 w 10505529"/>
              <a:gd name="connsiteY39347" fmla="*/ 921320 h 7458372"/>
              <a:gd name="connsiteX39348" fmla="*/ 7834417 w 10505529"/>
              <a:gd name="connsiteY39348" fmla="*/ 900155 h 7458372"/>
              <a:gd name="connsiteX39349" fmla="*/ 7842803 w 10505529"/>
              <a:gd name="connsiteY39349" fmla="*/ 879122 h 7458372"/>
              <a:gd name="connsiteX39350" fmla="*/ 7864636 w 10505529"/>
              <a:gd name="connsiteY39350" fmla="*/ 870469 h 7458372"/>
              <a:gd name="connsiteX39351" fmla="*/ 8299793 w 10505529"/>
              <a:gd name="connsiteY39351" fmla="*/ 870469 h 7458372"/>
              <a:gd name="connsiteX39352" fmla="*/ 8311507 w 10505529"/>
              <a:gd name="connsiteY39352" fmla="*/ 872998 h 7458372"/>
              <a:gd name="connsiteX39353" fmla="*/ 8320825 w 10505529"/>
              <a:gd name="connsiteY39353" fmla="*/ 879388 h 7458372"/>
              <a:gd name="connsiteX39354" fmla="*/ 8326948 w 10505529"/>
              <a:gd name="connsiteY39354" fmla="*/ 888706 h 7458372"/>
              <a:gd name="connsiteX39355" fmla="*/ 8329212 w 10505529"/>
              <a:gd name="connsiteY39355" fmla="*/ 900155 h 7458372"/>
              <a:gd name="connsiteX39356" fmla="*/ 8326948 w 10505529"/>
              <a:gd name="connsiteY39356" fmla="*/ 911869 h 7458372"/>
              <a:gd name="connsiteX39357" fmla="*/ 8320825 w 10505529"/>
              <a:gd name="connsiteY39357" fmla="*/ 921320 h 7458372"/>
              <a:gd name="connsiteX39358" fmla="*/ 8311507 w 10505529"/>
              <a:gd name="connsiteY39358" fmla="*/ 927577 h 7458372"/>
              <a:gd name="connsiteX39359" fmla="*/ 8299793 w 10505529"/>
              <a:gd name="connsiteY39359" fmla="*/ 929840 h 7458372"/>
              <a:gd name="connsiteX39360" fmla="*/ 8277960 w 10505529"/>
              <a:gd name="connsiteY39360" fmla="*/ 921320 h 7458372"/>
              <a:gd name="connsiteX39361" fmla="*/ 8269574 w 10505529"/>
              <a:gd name="connsiteY39361" fmla="*/ 900155 h 7458372"/>
              <a:gd name="connsiteX39362" fmla="*/ 8277960 w 10505529"/>
              <a:gd name="connsiteY39362" fmla="*/ 879122 h 7458372"/>
              <a:gd name="connsiteX39363" fmla="*/ 8299793 w 10505529"/>
              <a:gd name="connsiteY39363" fmla="*/ 870469 h 7458372"/>
              <a:gd name="connsiteX39364" fmla="*/ 8517438 w 10505529"/>
              <a:gd name="connsiteY39364" fmla="*/ 870469 h 7458372"/>
              <a:gd name="connsiteX39365" fmla="*/ 8529152 w 10505529"/>
              <a:gd name="connsiteY39365" fmla="*/ 872998 h 7458372"/>
              <a:gd name="connsiteX39366" fmla="*/ 8538470 w 10505529"/>
              <a:gd name="connsiteY39366" fmla="*/ 879388 h 7458372"/>
              <a:gd name="connsiteX39367" fmla="*/ 8544594 w 10505529"/>
              <a:gd name="connsiteY39367" fmla="*/ 888706 h 7458372"/>
              <a:gd name="connsiteX39368" fmla="*/ 8546857 w 10505529"/>
              <a:gd name="connsiteY39368" fmla="*/ 900154 h 7458372"/>
              <a:gd name="connsiteX39369" fmla="*/ 8544594 w 10505529"/>
              <a:gd name="connsiteY39369" fmla="*/ 911868 h 7458372"/>
              <a:gd name="connsiteX39370" fmla="*/ 8538470 w 10505529"/>
              <a:gd name="connsiteY39370" fmla="*/ 921320 h 7458372"/>
              <a:gd name="connsiteX39371" fmla="*/ 8529152 w 10505529"/>
              <a:gd name="connsiteY39371" fmla="*/ 927577 h 7458372"/>
              <a:gd name="connsiteX39372" fmla="*/ 8517438 w 10505529"/>
              <a:gd name="connsiteY39372" fmla="*/ 929840 h 7458372"/>
              <a:gd name="connsiteX39373" fmla="*/ 8495606 w 10505529"/>
              <a:gd name="connsiteY39373" fmla="*/ 921320 h 7458372"/>
              <a:gd name="connsiteX39374" fmla="*/ 8487220 w 10505529"/>
              <a:gd name="connsiteY39374" fmla="*/ 900154 h 7458372"/>
              <a:gd name="connsiteX39375" fmla="*/ 8495606 w 10505529"/>
              <a:gd name="connsiteY39375" fmla="*/ 879122 h 7458372"/>
              <a:gd name="connsiteX39376" fmla="*/ 8517438 w 10505529"/>
              <a:gd name="connsiteY39376" fmla="*/ 870469 h 7458372"/>
              <a:gd name="connsiteX39377" fmla="*/ 8735083 w 10505529"/>
              <a:gd name="connsiteY39377" fmla="*/ 870469 h 7458372"/>
              <a:gd name="connsiteX39378" fmla="*/ 8746797 w 10505529"/>
              <a:gd name="connsiteY39378" fmla="*/ 872998 h 7458372"/>
              <a:gd name="connsiteX39379" fmla="*/ 8756115 w 10505529"/>
              <a:gd name="connsiteY39379" fmla="*/ 879388 h 7458372"/>
              <a:gd name="connsiteX39380" fmla="*/ 8762238 w 10505529"/>
              <a:gd name="connsiteY39380" fmla="*/ 888706 h 7458372"/>
              <a:gd name="connsiteX39381" fmla="*/ 8764502 w 10505529"/>
              <a:gd name="connsiteY39381" fmla="*/ 900154 h 7458372"/>
              <a:gd name="connsiteX39382" fmla="*/ 8762238 w 10505529"/>
              <a:gd name="connsiteY39382" fmla="*/ 911868 h 7458372"/>
              <a:gd name="connsiteX39383" fmla="*/ 8756115 w 10505529"/>
              <a:gd name="connsiteY39383" fmla="*/ 921320 h 7458372"/>
              <a:gd name="connsiteX39384" fmla="*/ 8746797 w 10505529"/>
              <a:gd name="connsiteY39384" fmla="*/ 927577 h 7458372"/>
              <a:gd name="connsiteX39385" fmla="*/ 8735083 w 10505529"/>
              <a:gd name="connsiteY39385" fmla="*/ 929840 h 7458372"/>
              <a:gd name="connsiteX39386" fmla="*/ 8713250 w 10505529"/>
              <a:gd name="connsiteY39386" fmla="*/ 921320 h 7458372"/>
              <a:gd name="connsiteX39387" fmla="*/ 8704864 w 10505529"/>
              <a:gd name="connsiteY39387" fmla="*/ 900154 h 7458372"/>
              <a:gd name="connsiteX39388" fmla="*/ 8713250 w 10505529"/>
              <a:gd name="connsiteY39388" fmla="*/ 879122 h 7458372"/>
              <a:gd name="connsiteX39389" fmla="*/ 8735083 w 10505529"/>
              <a:gd name="connsiteY39389" fmla="*/ 870469 h 7458372"/>
              <a:gd name="connsiteX39390" fmla="*/ 8952728 w 10505529"/>
              <a:gd name="connsiteY39390" fmla="*/ 870469 h 7458372"/>
              <a:gd name="connsiteX39391" fmla="*/ 8964442 w 10505529"/>
              <a:gd name="connsiteY39391" fmla="*/ 872998 h 7458372"/>
              <a:gd name="connsiteX39392" fmla="*/ 8973760 w 10505529"/>
              <a:gd name="connsiteY39392" fmla="*/ 879388 h 7458372"/>
              <a:gd name="connsiteX39393" fmla="*/ 8979884 w 10505529"/>
              <a:gd name="connsiteY39393" fmla="*/ 888706 h 7458372"/>
              <a:gd name="connsiteX39394" fmla="*/ 8982147 w 10505529"/>
              <a:gd name="connsiteY39394" fmla="*/ 900154 h 7458372"/>
              <a:gd name="connsiteX39395" fmla="*/ 8979884 w 10505529"/>
              <a:gd name="connsiteY39395" fmla="*/ 911868 h 7458372"/>
              <a:gd name="connsiteX39396" fmla="*/ 8973760 w 10505529"/>
              <a:gd name="connsiteY39396" fmla="*/ 921320 h 7458372"/>
              <a:gd name="connsiteX39397" fmla="*/ 8964442 w 10505529"/>
              <a:gd name="connsiteY39397" fmla="*/ 927577 h 7458372"/>
              <a:gd name="connsiteX39398" fmla="*/ 8952728 w 10505529"/>
              <a:gd name="connsiteY39398" fmla="*/ 929840 h 7458372"/>
              <a:gd name="connsiteX39399" fmla="*/ 8930896 w 10505529"/>
              <a:gd name="connsiteY39399" fmla="*/ 921320 h 7458372"/>
              <a:gd name="connsiteX39400" fmla="*/ 8922510 w 10505529"/>
              <a:gd name="connsiteY39400" fmla="*/ 900154 h 7458372"/>
              <a:gd name="connsiteX39401" fmla="*/ 8930896 w 10505529"/>
              <a:gd name="connsiteY39401" fmla="*/ 879122 h 7458372"/>
              <a:gd name="connsiteX39402" fmla="*/ 8952728 w 10505529"/>
              <a:gd name="connsiteY39402" fmla="*/ 870469 h 7458372"/>
              <a:gd name="connsiteX39403" fmla="*/ 9387885 w 10505529"/>
              <a:gd name="connsiteY39403" fmla="*/ 870468 h 7458372"/>
              <a:gd name="connsiteX39404" fmla="*/ 9399599 w 10505529"/>
              <a:gd name="connsiteY39404" fmla="*/ 872997 h 7458372"/>
              <a:gd name="connsiteX39405" fmla="*/ 9408917 w 10505529"/>
              <a:gd name="connsiteY39405" fmla="*/ 879388 h 7458372"/>
              <a:gd name="connsiteX39406" fmla="*/ 9415041 w 10505529"/>
              <a:gd name="connsiteY39406" fmla="*/ 888706 h 7458372"/>
              <a:gd name="connsiteX39407" fmla="*/ 9417304 w 10505529"/>
              <a:gd name="connsiteY39407" fmla="*/ 900154 h 7458372"/>
              <a:gd name="connsiteX39408" fmla="*/ 9415041 w 10505529"/>
              <a:gd name="connsiteY39408" fmla="*/ 911868 h 7458372"/>
              <a:gd name="connsiteX39409" fmla="*/ 9408917 w 10505529"/>
              <a:gd name="connsiteY39409" fmla="*/ 921319 h 7458372"/>
              <a:gd name="connsiteX39410" fmla="*/ 9399599 w 10505529"/>
              <a:gd name="connsiteY39410" fmla="*/ 927577 h 7458372"/>
              <a:gd name="connsiteX39411" fmla="*/ 9387885 w 10505529"/>
              <a:gd name="connsiteY39411" fmla="*/ 929839 h 7458372"/>
              <a:gd name="connsiteX39412" fmla="*/ 9366053 w 10505529"/>
              <a:gd name="connsiteY39412" fmla="*/ 921319 h 7458372"/>
              <a:gd name="connsiteX39413" fmla="*/ 9357667 w 10505529"/>
              <a:gd name="connsiteY39413" fmla="*/ 900154 h 7458372"/>
              <a:gd name="connsiteX39414" fmla="*/ 9366053 w 10505529"/>
              <a:gd name="connsiteY39414" fmla="*/ 879122 h 7458372"/>
              <a:gd name="connsiteX39415" fmla="*/ 9387885 w 10505529"/>
              <a:gd name="connsiteY39415" fmla="*/ 870468 h 7458372"/>
              <a:gd name="connsiteX39416" fmla="*/ 9170374 w 10505529"/>
              <a:gd name="connsiteY39416" fmla="*/ 870468 h 7458372"/>
              <a:gd name="connsiteX39417" fmla="*/ 9182088 w 10505529"/>
              <a:gd name="connsiteY39417" fmla="*/ 872998 h 7458372"/>
              <a:gd name="connsiteX39418" fmla="*/ 9191405 w 10505529"/>
              <a:gd name="connsiteY39418" fmla="*/ 879388 h 7458372"/>
              <a:gd name="connsiteX39419" fmla="*/ 9197529 w 10505529"/>
              <a:gd name="connsiteY39419" fmla="*/ 888706 h 7458372"/>
              <a:gd name="connsiteX39420" fmla="*/ 9199792 w 10505529"/>
              <a:gd name="connsiteY39420" fmla="*/ 900154 h 7458372"/>
              <a:gd name="connsiteX39421" fmla="*/ 9197529 w 10505529"/>
              <a:gd name="connsiteY39421" fmla="*/ 911868 h 7458372"/>
              <a:gd name="connsiteX39422" fmla="*/ 9191405 w 10505529"/>
              <a:gd name="connsiteY39422" fmla="*/ 921320 h 7458372"/>
              <a:gd name="connsiteX39423" fmla="*/ 9182088 w 10505529"/>
              <a:gd name="connsiteY39423" fmla="*/ 927577 h 7458372"/>
              <a:gd name="connsiteX39424" fmla="*/ 9170374 w 10505529"/>
              <a:gd name="connsiteY39424" fmla="*/ 929839 h 7458372"/>
              <a:gd name="connsiteX39425" fmla="*/ 9148541 w 10505529"/>
              <a:gd name="connsiteY39425" fmla="*/ 921320 h 7458372"/>
              <a:gd name="connsiteX39426" fmla="*/ 9140155 w 10505529"/>
              <a:gd name="connsiteY39426" fmla="*/ 900154 h 7458372"/>
              <a:gd name="connsiteX39427" fmla="*/ 9148541 w 10505529"/>
              <a:gd name="connsiteY39427" fmla="*/ 879122 h 7458372"/>
              <a:gd name="connsiteX39428" fmla="*/ 9170374 w 10505529"/>
              <a:gd name="connsiteY39428" fmla="*/ 870468 h 7458372"/>
              <a:gd name="connsiteX39429" fmla="*/ 9605531 w 10505529"/>
              <a:gd name="connsiteY39429" fmla="*/ 870468 h 7458372"/>
              <a:gd name="connsiteX39430" fmla="*/ 9617245 w 10505529"/>
              <a:gd name="connsiteY39430" fmla="*/ 872997 h 7458372"/>
              <a:gd name="connsiteX39431" fmla="*/ 9626562 w 10505529"/>
              <a:gd name="connsiteY39431" fmla="*/ 879387 h 7458372"/>
              <a:gd name="connsiteX39432" fmla="*/ 9632686 w 10505529"/>
              <a:gd name="connsiteY39432" fmla="*/ 888706 h 7458372"/>
              <a:gd name="connsiteX39433" fmla="*/ 9634949 w 10505529"/>
              <a:gd name="connsiteY39433" fmla="*/ 900154 h 7458372"/>
              <a:gd name="connsiteX39434" fmla="*/ 9632686 w 10505529"/>
              <a:gd name="connsiteY39434" fmla="*/ 911868 h 7458372"/>
              <a:gd name="connsiteX39435" fmla="*/ 9626562 w 10505529"/>
              <a:gd name="connsiteY39435" fmla="*/ 921319 h 7458372"/>
              <a:gd name="connsiteX39436" fmla="*/ 9617245 w 10505529"/>
              <a:gd name="connsiteY39436" fmla="*/ 927576 h 7458372"/>
              <a:gd name="connsiteX39437" fmla="*/ 9605531 w 10505529"/>
              <a:gd name="connsiteY39437" fmla="*/ 929839 h 7458372"/>
              <a:gd name="connsiteX39438" fmla="*/ 9583698 w 10505529"/>
              <a:gd name="connsiteY39438" fmla="*/ 921319 h 7458372"/>
              <a:gd name="connsiteX39439" fmla="*/ 9575312 w 10505529"/>
              <a:gd name="connsiteY39439" fmla="*/ 900154 h 7458372"/>
              <a:gd name="connsiteX39440" fmla="*/ 9583698 w 10505529"/>
              <a:gd name="connsiteY39440" fmla="*/ 879121 h 7458372"/>
              <a:gd name="connsiteX39441" fmla="*/ 9605531 w 10505529"/>
              <a:gd name="connsiteY39441" fmla="*/ 870468 h 7458372"/>
              <a:gd name="connsiteX39442" fmla="*/ 10040820 w 10505529"/>
              <a:gd name="connsiteY39442" fmla="*/ 870468 h 7458372"/>
              <a:gd name="connsiteX39443" fmla="*/ 10052534 w 10505529"/>
              <a:gd name="connsiteY39443" fmla="*/ 872997 h 7458372"/>
              <a:gd name="connsiteX39444" fmla="*/ 10061852 w 10505529"/>
              <a:gd name="connsiteY39444" fmla="*/ 879387 h 7458372"/>
              <a:gd name="connsiteX39445" fmla="*/ 10067976 w 10505529"/>
              <a:gd name="connsiteY39445" fmla="*/ 888705 h 7458372"/>
              <a:gd name="connsiteX39446" fmla="*/ 10070239 w 10505529"/>
              <a:gd name="connsiteY39446" fmla="*/ 900154 h 7458372"/>
              <a:gd name="connsiteX39447" fmla="*/ 10067976 w 10505529"/>
              <a:gd name="connsiteY39447" fmla="*/ 911868 h 7458372"/>
              <a:gd name="connsiteX39448" fmla="*/ 10061852 w 10505529"/>
              <a:gd name="connsiteY39448" fmla="*/ 921319 h 7458372"/>
              <a:gd name="connsiteX39449" fmla="*/ 10052534 w 10505529"/>
              <a:gd name="connsiteY39449" fmla="*/ 927576 h 7458372"/>
              <a:gd name="connsiteX39450" fmla="*/ 10040820 w 10505529"/>
              <a:gd name="connsiteY39450" fmla="*/ 929839 h 7458372"/>
              <a:gd name="connsiteX39451" fmla="*/ 10018988 w 10505529"/>
              <a:gd name="connsiteY39451" fmla="*/ 921319 h 7458372"/>
              <a:gd name="connsiteX39452" fmla="*/ 10010602 w 10505529"/>
              <a:gd name="connsiteY39452" fmla="*/ 900154 h 7458372"/>
              <a:gd name="connsiteX39453" fmla="*/ 10018988 w 10505529"/>
              <a:gd name="connsiteY39453" fmla="*/ 879121 h 7458372"/>
              <a:gd name="connsiteX39454" fmla="*/ 10040820 w 10505529"/>
              <a:gd name="connsiteY39454" fmla="*/ 870468 h 7458372"/>
              <a:gd name="connsiteX39455" fmla="*/ 9823176 w 10505529"/>
              <a:gd name="connsiteY39455" fmla="*/ 870468 h 7458372"/>
              <a:gd name="connsiteX39456" fmla="*/ 9834890 w 10505529"/>
              <a:gd name="connsiteY39456" fmla="*/ 872997 h 7458372"/>
              <a:gd name="connsiteX39457" fmla="*/ 9844208 w 10505529"/>
              <a:gd name="connsiteY39457" fmla="*/ 879387 h 7458372"/>
              <a:gd name="connsiteX39458" fmla="*/ 9850331 w 10505529"/>
              <a:gd name="connsiteY39458" fmla="*/ 888706 h 7458372"/>
              <a:gd name="connsiteX39459" fmla="*/ 9852595 w 10505529"/>
              <a:gd name="connsiteY39459" fmla="*/ 900154 h 7458372"/>
              <a:gd name="connsiteX39460" fmla="*/ 9850331 w 10505529"/>
              <a:gd name="connsiteY39460" fmla="*/ 911868 h 7458372"/>
              <a:gd name="connsiteX39461" fmla="*/ 9844208 w 10505529"/>
              <a:gd name="connsiteY39461" fmla="*/ 921319 h 7458372"/>
              <a:gd name="connsiteX39462" fmla="*/ 9834890 w 10505529"/>
              <a:gd name="connsiteY39462" fmla="*/ 927576 h 7458372"/>
              <a:gd name="connsiteX39463" fmla="*/ 9823176 w 10505529"/>
              <a:gd name="connsiteY39463" fmla="*/ 929839 h 7458372"/>
              <a:gd name="connsiteX39464" fmla="*/ 9801343 w 10505529"/>
              <a:gd name="connsiteY39464" fmla="*/ 921319 h 7458372"/>
              <a:gd name="connsiteX39465" fmla="*/ 9792957 w 10505529"/>
              <a:gd name="connsiteY39465" fmla="*/ 900154 h 7458372"/>
              <a:gd name="connsiteX39466" fmla="*/ 9801343 w 10505529"/>
              <a:gd name="connsiteY39466" fmla="*/ 879121 h 7458372"/>
              <a:gd name="connsiteX39467" fmla="*/ 9823176 w 10505529"/>
              <a:gd name="connsiteY39467" fmla="*/ 870468 h 7458372"/>
              <a:gd name="connsiteX39468" fmla="*/ 10475977 w 10505529"/>
              <a:gd name="connsiteY39468" fmla="*/ 870468 h 7458372"/>
              <a:gd name="connsiteX39469" fmla="*/ 10487824 w 10505529"/>
              <a:gd name="connsiteY39469" fmla="*/ 872997 h 7458372"/>
              <a:gd name="connsiteX39470" fmla="*/ 10497143 w 10505529"/>
              <a:gd name="connsiteY39470" fmla="*/ 879387 h 7458372"/>
              <a:gd name="connsiteX39471" fmla="*/ 10503266 w 10505529"/>
              <a:gd name="connsiteY39471" fmla="*/ 888705 h 7458372"/>
              <a:gd name="connsiteX39472" fmla="*/ 10505529 w 10505529"/>
              <a:gd name="connsiteY39472" fmla="*/ 900153 h 7458372"/>
              <a:gd name="connsiteX39473" fmla="*/ 10503266 w 10505529"/>
              <a:gd name="connsiteY39473" fmla="*/ 911868 h 7458372"/>
              <a:gd name="connsiteX39474" fmla="*/ 10497143 w 10505529"/>
              <a:gd name="connsiteY39474" fmla="*/ 921319 h 7458372"/>
              <a:gd name="connsiteX39475" fmla="*/ 10487824 w 10505529"/>
              <a:gd name="connsiteY39475" fmla="*/ 927576 h 7458372"/>
              <a:gd name="connsiteX39476" fmla="*/ 10475977 w 10505529"/>
              <a:gd name="connsiteY39476" fmla="*/ 929839 h 7458372"/>
              <a:gd name="connsiteX39477" fmla="*/ 10454145 w 10505529"/>
              <a:gd name="connsiteY39477" fmla="*/ 921319 h 7458372"/>
              <a:gd name="connsiteX39478" fmla="*/ 10445759 w 10505529"/>
              <a:gd name="connsiteY39478" fmla="*/ 900153 h 7458372"/>
              <a:gd name="connsiteX39479" fmla="*/ 10454145 w 10505529"/>
              <a:gd name="connsiteY39479" fmla="*/ 879121 h 7458372"/>
              <a:gd name="connsiteX39480" fmla="*/ 10475977 w 10505529"/>
              <a:gd name="connsiteY39480" fmla="*/ 870468 h 7458372"/>
              <a:gd name="connsiteX39481" fmla="*/ 10258466 w 10505529"/>
              <a:gd name="connsiteY39481" fmla="*/ 870468 h 7458372"/>
              <a:gd name="connsiteX39482" fmla="*/ 10270313 w 10505529"/>
              <a:gd name="connsiteY39482" fmla="*/ 872997 h 7458372"/>
              <a:gd name="connsiteX39483" fmla="*/ 10279631 w 10505529"/>
              <a:gd name="connsiteY39483" fmla="*/ 879387 h 7458372"/>
              <a:gd name="connsiteX39484" fmla="*/ 10285754 w 10505529"/>
              <a:gd name="connsiteY39484" fmla="*/ 888705 h 7458372"/>
              <a:gd name="connsiteX39485" fmla="*/ 10288017 w 10505529"/>
              <a:gd name="connsiteY39485" fmla="*/ 900154 h 7458372"/>
              <a:gd name="connsiteX39486" fmla="*/ 10285754 w 10505529"/>
              <a:gd name="connsiteY39486" fmla="*/ 911868 h 7458372"/>
              <a:gd name="connsiteX39487" fmla="*/ 10279631 w 10505529"/>
              <a:gd name="connsiteY39487" fmla="*/ 921319 h 7458372"/>
              <a:gd name="connsiteX39488" fmla="*/ 10270313 w 10505529"/>
              <a:gd name="connsiteY39488" fmla="*/ 927576 h 7458372"/>
              <a:gd name="connsiteX39489" fmla="*/ 10258466 w 10505529"/>
              <a:gd name="connsiteY39489" fmla="*/ 929839 h 7458372"/>
              <a:gd name="connsiteX39490" fmla="*/ 10236633 w 10505529"/>
              <a:gd name="connsiteY39490" fmla="*/ 921319 h 7458372"/>
              <a:gd name="connsiteX39491" fmla="*/ 10228247 w 10505529"/>
              <a:gd name="connsiteY39491" fmla="*/ 900154 h 7458372"/>
              <a:gd name="connsiteX39492" fmla="*/ 10236633 w 10505529"/>
              <a:gd name="connsiteY39492" fmla="*/ 879121 h 7458372"/>
              <a:gd name="connsiteX39493" fmla="*/ 10258466 w 10505529"/>
              <a:gd name="connsiteY39493" fmla="*/ 870468 h 7458372"/>
              <a:gd name="connsiteX39494" fmla="*/ 30240 w 10505529"/>
              <a:gd name="connsiteY39494" fmla="*/ 669329 h 7458372"/>
              <a:gd name="connsiteX39495" fmla="*/ 20256 w 10505529"/>
              <a:gd name="connsiteY39495" fmla="*/ 672923 h 7458372"/>
              <a:gd name="connsiteX39496" fmla="*/ 16662 w 10505529"/>
              <a:gd name="connsiteY39496" fmla="*/ 682375 h 7458372"/>
              <a:gd name="connsiteX39497" fmla="*/ 20256 w 10505529"/>
              <a:gd name="connsiteY39497" fmla="*/ 691959 h 7458372"/>
              <a:gd name="connsiteX39498" fmla="*/ 30240 w 10505529"/>
              <a:gd name="connsiteY39498" fmla="*/ 695421 h 7458372"/>
              <a:gd name="connsiteX39499" fmla="*/ 35565 w 10505529"/>
              <a:gd name="connsiteY39499" fmla="*/ 694488 h 7458372"/>
              <a:gd name="connsiteX39500" fmla="*/ 39292 w 10505529"/>
              <a:gd name="connsiteY39500" fmla="*/ 692093 h 7458372"/>
              <a:gd name="connsiteX39501" fmla="*/ 41955 w 10505529"/>
              <a:gd name="connsiteY39501" fmla="*/ 687966 h 7458372"/>
              <a:gd name="connsiteX39502" fmla="*/ 42886 w 10505529"/>
              <a:gd name="connsiteY39502" fmla="*/ 682508 h 7458372"/>
              <a:gd name="connsiteX39503" fmla="*/ 41955 w 10505529"/>
              <a:gd name="connsiteY39503" fmla="*/ 677316 h 7458372"/>
              <a:gd name="connsiteX39504" fmla="*/ 39292 w 10505529"/>
              <a:gd name="connsiteY39504" fmla="*/ 673057 h 7458372"/>
              <a:gd name="connsiteX39505" fmla="*/ 35299 w 10505529"/>
              <a:gd name="connsiteY39505" fmla="*/ 670394 h 7458372"/>
              <a:gd name="connsiteX39506" fmla="*/ 30240 w 10505529"/>
              <a:gd name="connsiteY39506" fmla="*/ 669329 h 7458372"/>
              <a:gd name="connsiteX39507" fmla="*/ 465528 w 10505529"/>
              <a:gd name="connsiteY39507" fmla="*/ 669329 h 7458372"/>
              <a:gd name="connsiteX39508" fmla="*/ 455545 w 10505529"/>
              <a:gd name="connsiteY39508" fmla="*/ 672923 h 7458372"/>
              <a:gd name="connsiteX39509" fmla="*/ 451951 w 10505529"/>
              <a:gd name="connsiteY39509" fmla="*/ 682375 h 7458372"/>
              <a:gd name="connsiteX39510" fmla="*/ 455545 w 10505529"/>
              <a:gd name="connsiteY39510" fmla="*/ 691959 h 7458372"/>
              <a:gd name="connsiteX39511" fmla="*/ 465528 w 10505529"/>
              <a:gd name="connsiteY39511" fmla="*/ 695420 h 7458372"/>
              <a:gd name="connsiteX39512" fmla="*/ 470853 w 10505529"/>
              <a:gd name="connsiteY39512" fmla="*/ 694488 h 7458372"/>
              <a:gd name="connsiteX39513" fmla="*/ 474580 w 10505529"/>
              <a:gd name="connsiteY39513" fmla="*/ 692092 h 7458372"/>
              <a:gd name="connsiteX39514" fmla="*/ 477244 w 10505529"/>
              <a:gd name="connsiteY39514" fmla="*/ 687966 h 7458372"/>
              <a:gd name="connsiteX39515" fmla="*/ 478308 w 10505529"/>
              <a:gd name="connsiteY39515" fmla="*/ 682508 h 7458372"/>
              <a:gd name="connsiteX39516" fmla="*/ 477244 w 10505529"/>
              <a:gd name="connsiteY39516" fmla="*/ 677316 h 7458372"/>
              <a:gd name="connsiteX39517" fmla="*/ 474580 w 10505529"/>
              <a:gd name="connsiteY39517" fmla="*/ 673057 h 7458372"/>
              <a:gd name="connsiteX39518" fmla="*/ 470588 w 10505529"/>
              <a:gd name="connsiteY39518" fmla="*/ 670394 h 7458372"/>
              <a:gd name="connsiteX39519" fmla="*/ 465528 w 10505529"/>
              <a:gd name="connsiteY39519" fmla="*/ 669329 h 7458372"/>
              <a:gd name="connsiteX39520" fmla="*/ 247884 w 10505529"/>
              <a:gd name="connsiteY39520" fmla="*/ 669329 h 7458372"/>
              <a:gd name="connsiteX39521" fmla="*/ 237901 w 10505529"/>
              <a:gd name="connsiteY39521" fmla="*/ 672923 h 7458372"/>
              <a:gd name="connsiteX39522" fmla="*/ 234307 w 10505529"/>
              <a:gd name="connsiteY39522" fmla="*/ 682375 h 7458372"/>
              <a:gd name="connsiteX39523" fmla="*/ 237901 w 10505529"/>
              <a:gd name="connsiteY39523" fmla="*/ 691959 h 7458372"/>
              <a:gd name="connsiteX39524" fmla="*/ 247884 w 10505529"/>
              <a:gd name="connsiteY39524" fmla="*/ 695420 h 7458372"/>
              <a:gd name="connsiteX39525" fmla="*/ 253209 w 10505529"/>
              <a:gd name="connsiteY39525" fmla="*/ 694488 h 7458372"/>
              <a:gd name="connsiteX39526" fmla="*/ 256936 w 10505529"/>
              <a:gd name="connsiteY39526" fmla="*/ 692092 h 7458372"/>
              <a:gd name="connsiteX39527" fmla="*/ 259599 w 10505529"/>
              <a:gd name="connsiteY39527" fmla="*/ 687966 h 7458372"/>
              <a:gd name="connsiteX39528" fmla="*/ 260664 w 10505529"/>
              <a:gd name="connsiteY39528" fmla="*/ 682508 h 7458372"/>
              <a:gd name="connsiteX39529" fmla="*/ 259599 w 10505529"/>
              <a:gd name="connsiteY39529" fmla="*/ 677316 h 7458372"/>
              <a:gd name="connsiteX39530" fmla="*/ 256936 w 10505529"/>
              <a:gd name="connsiteY39530" fmla="*/ 673057 h 7458372"/>
              <a:gd name="connsiteX39531" fmla="*/ 252943 w 10505529"/>
              <a:gd name="connsiteY39531" fmla="*/ 670394 h 7458372"/>
              <a:gd name="connsiteX39532" fmla="*/ 247884 w 10505529"/>
              <a:gd name="connsiteY39532" fmla="*/ 669329 h 7458372"/>
              <a:gd name="connsiteX39533" fmla="*/ 683173 w 10505529"/>
              <a:gd name="connsiteY39533" fmla="*/ 669329 h 7458372"/>
              <a:gd name="connsiteX39534" fmla="*/ 673189 w 10505529"/>
              <a:gd name="connsiteY39534" fmla="*/ 672923 h 7458372"/>
              <a:gd name="connsiteX39535" fmla="*/ 669596 w 10505529"/>
              <a:gd name="connsiteY39535" fmla="*/ 682375 h 7458372"/>
              <a:gd name="connsiteX39536" fmla="*/ 673189 w 10505529"/>
              <a:gd name="connsiteY39536" fmla="*/ 691959 h 7458372"/>
              <a:gd name="connsiteX39537" fmla="*/ 683173 w 10505529"/>
              <a:gd name="connsiteY39537" fmla="*/ 695420 h 7458372"/>
              <a:gd name="connsiteX39538" fmla="*/ 688498 w 10505529"/>
              <a:gd name="connsiteY39538" fmla="*/ 694488 h 7458372"/>
              <a:gd name="connsiteX39539" fmla="*/ 692225 w 10505529"/>
              <a:gd name="connsiteY39539" fmla="*/ 692092 h 7458372"/>
              <a:gd name="connsiteX39540" fmla="*/ 694888 w 10505529"/>
              <a:gd name="connsiteY39540" fmla="*/ 687966 h 7458372"/>
              <a:gd name="connsiteX39541" fmla="*/ 695953 w 10505529"/>
              <a:gd name="connsiteY39541" fmla="*/ 682508 h 7458372"/>
              <a:gd name="connsiteX39542" fmla="*/ 694888 w 10505529"/>
              <a:gd name="connsiteY39542" fmla="*/ 677316 h 7458372"/>
              <a:gd name="connsiteX39543" fmla="*/ 692225 w 10505529"/>
              <a:gd name="connsiteY39543" fmla="*/ 673057 h 7458372"/>
              <a:gd name="connsiteX39544" fmla="*/ 688232 w 10505529"/>
              <a:gd name="connsiteY39544" fmla="*/ 670394 h 7458372"/>
              <a:gd name="connsiteX39545" fmla="*/ 683173 w 10505529"/>
              <a:gd name="connsiteY39545" fmla="*/ 669329 h 7458372"/>
              <a:gd name="connsiteX39546" fmla="*/ 1118462 w 10505529"/>
              <a:gd name="connsiteY39546" fmla="*/ 669329 h 7458372"/>
              <a:gd name="connsiteX39547" fmla="*/ 1108478 w 10505529"/>
              <a:gd name="connsiteY39547" fmla="*/ 672923 h 7458372"/>
              <a:gd name="connsiteX39548" fmla="*/ 1104751 w 10505529"/>
              <a:gd name="connsiteY39548" fmla="*/ 682375 h 7458372"/>
              <a:gd name="connsiteX39549" fmla="*/ 1108346 w 10505529"/>
              <a:gd name="connsiteY39549" fmla="*/ 691959 h 7458372"/>
              <a:gd name="connsiteX39550" fmla="*/ 1118329 w 10505529"/>
              <a:gd name="connsiteY39550" fmla="*/ 695420 h 7458372"/>
              <a:gd name="connsiteX39551" fmla="*/ 1123787 w 10505529"/>
              <a:gd name="connsiteY39551" fmla="*/ 694488 h 7458372"/>
              <a:gd name="connsiteX39552" fmla="*/ 1127514 w 10505529"/>
              <a:gd name="connsiteY39552" fmla="*/ 692092 h 7458372"/>
              <a:gd name="connsiteX39553" fmla="*/ 1130177 w 10505529"/>
              <a:gd name="connsiteY39553" fmla="*/ 687966 h 7458372"/>
              <a:gd name="connsiteX39554" fmla="*/ 1131242 w 10505529"/>
              <a:gd name="connsiteY39554" fmla="*/ 682508 h 7458372"/>
              <a:gd name="connsiteX39555" fmla="*/ 1130177 w 10505529"/>
              <a:gd name="connsiteY39555" fmla="*/ 677316 h 7458372"/>
              <a:gd name="connsiteX39556" fmla="*/ 1127514 w 10505529"/>
              <a:gd name="connsiteY39556" fmla="*/ 673057 h 7458372"/>
              <a:gd name="connsiteX39557" fmla="*/ 1123521 w 10505529"/>
              <a:gd name="connsiteY39557" fmla="*/ 670394 h 7458372"/>
              <a:gd name="connsiteX39558" fmla="*/ 1118462 w 10505529"/>
              <a:gd name="connsiteY39558" fmla="*/ 669329 h 7458372"/>
              <a:gd name="connsiteX39559" fmla="*/ 900951 w 10505529"/>
              <a:gd name="connsiteY39559" fmla="*/ 669329 h 7458372"/>
              <a:gd name="connsiteX39560" fmla="*/ 890967 w 10505529"/>
              <a:gd name="connsiteY39560" fmla="*/ 672923 h 7458372"/>
              <a:gd name="connsiteX39561" fmla="*/ 887240 w 10505529"/>
              <a:gd name="connsiteY39561" fmla="*/ 682375 h 7458372"/>
              <a:gd name="connsiteX39562" fmla="*/ 890834 w 10505529"/>
              <a:gd name="connsiteY39562" fmla="*/ 691959 h 7458372"/>
              <a:gd name="connsiteX39563" fmla="*/ 900817 w 10505529"/>
              <a:gd name="connsiteY39563" fmla="*/ 695420 h 7458372"/>
              <a:gd name="connsiteX39564" fmla="*/ 906275 w 10505529"/>
              <a:gd name="connsiteY39564" fmla="*/ 694488 h 7458372"/>
              <a:gd name="connsiteX39565" fmla="*/ 910003 w 10505529"/>
              <a:gd name="connsiteY39565" fmla="*/ 692092 h 7458372"/>
              <a:gd name="connsiteX39566" fmla="*/ 912665 w 10505529"/>
              <a:gd name="connsiteY39566" fmla="*/ 687966 h 7458372"/>
              <a:gd name="connsiteX39567" fmla="*/ 913730 w 10505529"/>
              <a:gd name="connsiteY39567" fmla="*/ 682508 h 7458372"/>
              <a:gd name="connsiteX39568" fmla="*/ 912665 w 10505529"/>
              <a:gd name="connsiteY39568" fmla="*/ 677316 h 7458372"/>
              <a:gd name="connsiteX39569" fmla="*/ 910003 w 10505529"/>
              <a:gd name="connsiteY39569" fmla="*/ 673057 h 7458372"/>
              <a:gd name="connsiteX39570" fmla="*/ 906009 w 10505529"/>
              <a:gd name="connsiteY39570" fmla="*/ 670394 h 7458372"/>
              <a:gd name="connsiteX39571" fmla="*/ 900951 w 10505529"/>
              <a:gd name="connsiteY39571" fmla="*/ 669329 h 7458372"/>
              <a:gd name="connsiteX39572" fmla="*/ 1335974 w 10505529"/>
              <a:gd name="connsiteY39572" fmla="*/ 669328 h 7458372"/>
              <a:gd name="connsiteX39573" fmla="*/ 1325991 w 10505529"/>
              <a:gd name="connsiteY39573" fmla="*/ 672923 h 7458372"/>
              <a:gd name="connsiteX39574" fmla="*/ 1322397 w 10505529"/>
              <a:gd name="connsiteY39574" fmla="*/ 682375 h 7458372"/>
              <a:gd name="connsiteX39575" fmla="*/ 1325991 w 10505529"/>
              <a:gd name="connsiteY39575" fmla="*/ 691959 h 7458372"/>
              <a:gd name="connsiteX39576" fmla="*/ 1335974 w 10505529"/>
              <a:gd name="connsiteY39576" fmla="*/ 695420 h 7458372"/>
              <a:gd name="connsiteX39577" fmla="*/ 1341299 w 10505529"/>
              <a:gd name="connsiteY39577" fmla="*/ 694488 h 7458372"/>
              <a:gd name="connsiteX39578" fmla="*/ 1345026 w 10505529"/>
              <a:gd name="connsiteY39578" fmla="*/ 692092 h 7458372"/>
              <a:gd name="connsiteX39579" fmla="*/ 1347689 w 10505529"/>
              <a:gd name="connsiteY39579" fmla="*/ 687966 h 7458372"/>
              <a:gd name="connsiteX39580" fmla="*/ 1348754 w 10505529"/>
              <a:gd name="connsiteY39580" fmla="*/ 682508 h 7458372"/>
              <a:gd name="connsiteX39581" fmla="*/ 1347689 w 10505529"/>
              <a:gd name="connsiteY39581" fmla="*/ 677316 h 7458372"/>
              <a:gd name="connsiteX39582" fmla="*/ 1345026 w 10505529"/>
              <a:gd name="connsiteY39582" fmla="*/ 673057 h 7458372"/>
              <a:gd name="connsiteX39583" fmla="*/ 1341033 w 10505529"/>
              <a:gd name="connsiteY39583" fmla="*/ 670394 h 7458372"/>
              <a:gd name="connsiteX39584" fmla="*/ 1335974 w 10505529"/>
              <a:gd name="connsiteY39584" fmla="*/ 669328 h 7458372"/>
              <a:gd name="connsiteX39585" fmla="*/ 1553619 w 10505529"/>
              <a:gd name="connsiteY39585" fmla="*/ 669328 h 7458372"/>
              <a:gd name="connsiteX39586" fmla="*/ 1543636 w 10505529"/>
              <a:gd name="connsiteY39586" fmla="*/ 672922 h 7458372"/>
              <a:gd name="connsiteX39587" fmla="*/ 1540041 w 10505529"/>
              <a:gd name="connsiteY39587" fmla="*/ 682375 h 7458372"/>
              <a:gd name="connsiteX39588" fmla="*/ 1543636 w 10505529"/>
              <a:gd name="connsiteY39588" fmla="*/ 691959 h 7458372"/>
              <a:gd name="connsiteX39589" fmla="*/ 1553619 w 10505529"/>
              <a:gd name="connsiteY39589" fmla="*/ 695420 h 7458372"/>
              <a:gd name="connsiteX39590" fmla="*/ 1558944 w 10505529"/>
              <a:gd name="connsiteY39590" fmla="*/ 694488 h 7458372"/>
              <a:gd name="connsiteX39591" fmla="*/ 1562671 w 10505529"/>
              <a:gd name="connsiteY39591" fmla="*/ 692092 h 7458372"/>
              <a:gd name="connsiteX39592" fmla="*/ 1565334 w 10505529"/>
              <a:gd name="connsiteY39592" fmla="*/ 687966 h 7458372"/>
              <a:gd name="connsiteX39593" fmla="*/ 1566399 w 10505529"/>
              <a:gd name="connsiteY39593" fmla="*/ 682508 h 7458372"/>
              <a:gd name="connsiteX39594" fmla="*/ 1565334 w 10505529"/>
              <a:gd name="connsiteY39594" fmla="*/ 677316 h 7458372"/>
              <a:gd name="connsiteX39595" fmla="*/ 1562671 w 10505529"/>
              <a:gd name="connsiteY39595" fmla="*/ 673056 h 7458372"/>
              <a:gd name="connsiteX39596" fmla="*/ 1558677 w 10505529"/>
              <a:gd name="connsiteY39596" fmla="*/ 670393 h 7458372"/>
              <a:gd name="connsiteX39597" fmla="*/ 1553619 w 10505529"/>
              <a:gd name="connsiteY39597" fmla="*/ 669328 h 7458372"/>
              <a:gd name="connsiteX39598" fmla="*/ 1771263 w 10505529"/>
              <a:gd name="connsiteY39598" fmla="*/ 669328 h 7458372"/>
              <a:gd name="connsiteX39599" fmla="*/ 1761280 w 10505529"/>
              <a:gd name="connsiteY39599" fmla="*/ 672922 h 7458372"/>
              <a:gd name="connsiteX39600" fmla="*/ 1757686 w 10505529"/>
              <a:gd name="connsiteY39600" fmla="*/ 682375 h 7458372"/>
              <a:gd name="connsiteX39601" fmla="*/ 1761280 w 10505529"/>
              <a:gd name="connsiteY39601" fmla="*/ 691959 h 7458372"/>
              <a:gd name="connsiteX39602" fmla="*/ 1771263 w 10505529"/>
              <a:gd name="connsiteY39602" fmla="*/ 695420 h 7458372"/>
              <a:gd name="connsiteX39603" fmla="*/ 1776588 w 10505529"/>
              <a:gd name="connsiteY39603" fmla="*/ 694488 h 7458372"/>
              <a:gd name="connsiteX39604" fmla="*/ 1780315 w 10505529"/>
              <a:gd name="connsiteY39604" fmla="*/ 692092 h 7458372"/>
              <a:gd name="connsiteX39605" fmla="*/ 1782978 w 10505529"/>
              <a:gd name="connsiteY39605" fmla="*/ 687966 h 7458372"/>
              <a:gd name="connsiteX39606" fmla="*/ 1784043 w 10505529"/>
              <a:gd name="connsiteY39606" fmla="*/ 682508 h 7458372"/>
              <a:gd name="connsiteX39607" fmla="*/ 1782978 w 10505529"/>
              <a:gd name="connsiteY39607" fmla="*/ 677315 h 7458372"/>
              <a:gd name="connsiteX39608" fmla="*/ 1780315 w 10505529"/>
              <a:gd name="connsiteY39608" fmla="*/ 673056 h 7458372"/>
              <a:gd name="connsiteX39609" fmla="*/ 1776322 w 10505529"/>
              <a:gd name="connsiteY39609" fmla="*/ 670393 h 7458372"/>
              <a:gd name="connsiteX39610" fmla="*/ 1771263 w 10505529"/>
              <a:gd name="connsiteY39610" fmla="*/ 669328 h 7458372"/>
              <a:gd name="connsiteX39611" fmla="*/ 1988906 w 10505529"/>
              <a:gd name="connsiteY39611" fmla="*/ 669328 h 7458372"/>
              <a:gd name="connsiteX39612" fmla="*/ 1978923 w 10505529"/>
              <a:gd name="connsiteY39612" fmla="*/ 672922 h 7458372"/>
              <a:gd name="connsiteX39613" fmla="*/ 1975329 w 10505529"/>
              <a:gd name="connsiteY39613" fmla="*/ 682374 h 7458372"/>
              <a:gd name="connsiteX39614" fmla="*/ 1978923 w 10505529"/>
              <a:gd name="connsiteY39614" fmla="*/ 691959 h 7458372"/>
              <a:gd name="connsiteX39615" fmla="*/ 1988906 w 10505529"/>
              <a:gd name="connsiteY39615" fmla="*/ 695420 h 7458372"/>
              <a:gd name="connsiteX39616" fmla="*/ 1994231 w 10505529"/>
              <a:gd name="connsiteY39616" fmla="*/ 694488 h 7458372"/>
              <a:gd name="connsiteX39617" fmla="*/ 1997959 w 10505529"/>
              <a:gd name="connsiteY39617" fmla="*/ 692092 h 7458372"/>
              <a:gd name="connsiteX39618" fmla="*/ 2000622 w 10505529"/>
              <a:gd name="connsiteY39618" fmla="*/ 687966 h 7458372"/>
              <a:gd name="connsiteX39619" fmla="*/ 2001552 w 10505529"/>
              <a:gd name="connsiteY39619" fmla="*/ 682507 h 7458372"/>
              <a:gd name="connsiteX39620" fmla="*/ 2000622 w 10505529"/>
              <a:gd name="connsiteY39620" fmla="*/ 677315 h 7458372"/>
              <a:gd name="connsiteX39621" fmla="*/ 1997959 w 10505529"/>
              <a:gd name="connsiteY39621" fmla="*/ 673056 h 7458372"/>
              <a:gd name="connsiteX39622" fmla="*/ 1993965 w 10505529"/>
              <a:gd name="connsiteY39622" fmla="*/ 670393 h 7458372"/>
              <a:gd name="connsiteX39623" fmla="*/ 1988906 w 10505529"/>
              <a:gd name="connsiteY39623" fmla="*/ 669328 h 7458372"/>
              <a:gd name="connsiteX39624" fmla="*/ 2206421 w 10505529"/>
              <a:gd name="connsiteY39624" fmla="*/ 669328 h 7458372"/>
              <a:gd name="connsiteX39625" fmla="*/ 2196437 w 10505529"/>
              <a:gd name="connsiteY39625" fmla="*/ 672922 h 7458372"/>
              <a:gd name="connsiteX39626" fmla="*/ 2192843 w 10505529"/>
              <a:gd name="connsiteY39626" fmla="*/ 682374 h 7458372"/>
              <a:gd name="connsiteX39627" fmla="*/ 2196437 w 10505529"/>
              <a:gd name="connsiteY39627" fmla="*/ 691958 h 7458372"/>
              <a:gd name="connsiteX39628" fmla="*/ 2206421 w 10505529"/>
              <a:gd name="connsiteY39628" fmla="*/ 695420 h 7458372"/>
              <a:gd name="connsiteX39629" fmla="*/ 2211746 w 10505529"/>
              <a:gd name="connsiteY39629" fmla="*/ 694487 h 7458372"/>
              <a:gd name="connsiteX39630" fmla="*/ 2215473 w 10505529"/>
              <a:gd name="connsiteY39630" fmla="*/ 692092 h 7458372"/>
              <a:gd name="connsiteX39631" fmla="*/ 2218136 w 10505529"/>
              <a:gd name="connsiteY39631" fmla="*/ 687966 h 7458372"/>
              <a:gd name="connsiteX39632" fmla="*/ 2219067 w 10505529"/>
              <a:gd name="connsiteY39632" fmla="*/ 682507 h 7458372"/>
              <a:gd name="connsiteX39633" fmla="*/ 2218136 w 10505529"/>
              <a:gd name="connsiteY39633" fmla="*/ 677315 h 7458372"/>
              <a:gd name="connsiteX39634" fmla="*/ 2215473 w 10505529"/>
              <a:gd name="connsiteY39634" fmla="*/ 673056 h 7458372"/>
              <a:gd name="connsiteX39635" fmla="*/ 2211480 w 10505529"/>
              <a:gd name="connsiteY39635" fmla="*/ 670393 h 7458372"/>
              <a:gd name="connsiteX39636" fmla="*/ 2206421 w 10505529"/>
              <a:gd name="connsiteY39636" fmla="*/ 669328 h 7458372"/>
              <a:gd name="connsiteX39637" fmla="*/ 2424067 w 10505529"/>
              <a:gd name="connsiteY39637" fmla="*/ 669328 h 7458372"/>
              <a:gd name="connsiteX39638" fmla="*/ 2414084 w 10505529"/>
              <a:gd name="connsiteY39638" fmla="*/ 672922 h 7458372"/>
              <a:gd name="connsiteX39639" fmla="*/ 2410490 w 10505529"/>
              <a:gd name="connsiteY39639" fmla="*/ 682374 h 7458372"/>
              <a:gd name="connsiteX39640" fmla="*/ 2414084 w 10505529"/>
              <a:gd name="connsiteY39640" fmla="*/ 691958 h 7458372"/>
              <a:gd name="connsiteX39641" fmla="*/ 2424067 w 10505529"/>
              <a:gd name="connsiteY39641" fmla="*/ 695419 h 7458372"/>
              <a:gd name="connsiteX39642" fmla="*/ 2429393 w 10505529"/>
              <a:gd name="connsiteY39642" fmla="*/ 694487 h 7458372"/>
              <a:gd name="connsiteX39643" fmla="*/ 2433120 w 10505529"/>
              <a:gd name="connsiteY39643" fmla="*/ 692092 h 7458372"/>
              <a:gd name="connsiteX39644" fmla="*/ 2435783 w 10505529"/>
              <a:gd name="connsiteY39644" fmla="*/ 687965 h 7458372"/>
              <a:gd name="connsiteX39645" fmla="*/ 2436714 w 10505529"/>
              <a:gd name="connsiteY39645" fmla="*/ 682507 h 7458372"/>
              <a:gd name="connsiteX39646" fmla="*/ 2435783 w 10505529"/>
              <a:gd name="connsiteY39646" fmla="*/ 677315 h 7458372"/>
              <a:gd name="connsiteX39647" fmla="*/ 2433120 w 10505529"/>
              <a:gd name="connsiteY39647" fmla="*/ 673056 h 7458372"/>
              <a:gd name="connsiteX39648" fmla="*/ 2429127 w 10505529"/>
              <a:gd name="connsiteY39648" fmla="*/ 670393 h 7458372"/>
              <a:gd name="connsiteX39649" fmla="*/ 2424067 w 10505529"/>
              <a:gd name="connsiteY39649" fmla="*/ 669328 h 7458372"/>
              <a:gd name="connsiteX39650" fmla="*/ 2641715 w 10505529"/>
              <a:gd name="connsiteY39650" fmla="*/ 669328 h 7458372"/>
              <a:gd name="connsiteX39651" fmla="*/ 2631732 w 10505529"/>
              <a:gd name="connsiteY39651" fmla="*/ 672922 h 7458372"/>
              <a:gd name="connsiteX39652" fmla="*/ 2628138 w 10505529"/>
              <a:gd name="connsiteY39652" fmla="*/ 682374 h 7458372"/>
              <a:gd name="connsiteX39653" fmla="*/ 2631732 w 10505529"/>
              <a:gd name="connsiteY39653" fmla="*/ 691958 h 7458372"/>
              <a:gd name="connsiteX39654" fmla="*/ 2641715 w 10505529"/>
              <a:gd name="connsiteY39654" fmla="*/ 695419 h 7458372"/>
              <a:gd name="connsiteX39655" fmla="*/ 2647040 w 10505529"/>
              <a:gd name="connsiteY39655" fmla="*/ 694487 h 7458372"/>
              <a:gd name="connsiteX39656" fmla="*/ 2650767 w 10505529"/>
              <a:gd name="connsiteY39656" fmla="*/ 692091 h 7458372"/>
              <a:gd name="connsiteX39657" fmla="*/ 2653430 w 10505529"/>
              <a:gd name="connsiteY39657" fmla="*/ 687965 h 7458372"/>
              <a:gd name="connsiteX39658" fmla="*/ 2654361 w 10505529"/>
              <a:gd name="connsiteY39658" fmla="*/ 682507 h 7458372"/>
              <a:gd name="connsiteX39659" fmla="*/ 2653430 w 10505529"/>
              <a:gd name="connsiteY39659" fmla="*/ 677315 h 7458372"/>
              <a:gd name="connsiteX39660" fmla="*/ 2650767 w 10505529"/>
              <a:gd name="connsiteY39660" fmla="*/ 673056 h 7458372"/>
              <a:gd name="connsiteX39661" fmla="*/ 2646774 w 10505529"/>
              <a:gd name="connsiteY39661" fmla="*/ 670393 h 7458372"/>
              <a:gd name="connsiteX39662" fmla="*/ 2641715 w 10505529"/>
              <a:gd name="connsiteY39662" fmla="*/ 669328 h 7458372"/>
              <a:gd name="connsiteX39663" fmla="*/ 2859362 w 10505529"/>
              <a:gd name="connsiteY39663" fmla="*/ 669328 h 7458372"/>
              <a:gd name="connsiteX39664" fmla="*/ 2849379 w 10505529"/>
              <a:gd name="connsiteY39664" fmla="*/ 672922 h 7458372"/>
              <a:gd name="connsiteX39665" fmla="*/ 2845784 w 10505529"/>
              <a:gd name="connsiteY39665" fmla="*/ 682374 h 7458372"/>
              <a:gd name="connsiteX39666" fmla="*/ 2849379 w 10505529"/>
              <a:gd name="connsiteY39666" fmla="*/ 691958 h 7458372"/>
              <a:gd name="connsiteX39667" fmla="*/ 2859362 w 10505529"/>
              <a:gd name="connsiteY39667" fmla="*/ 695419 h 7458372"/>
              <a:gd name="connsiteX39668" fmla="*/ 2864687 w 10505529"/>
              <a:gd name="connsiteY39668" fmla="*/ 694487 h 7458372"/>
              <a:gd name="connsiteX39669" fmla="*/ 2868414 w 10505529"/>
              <a:gd name="connsiteY39669" fmla="*/ 692091 h 7458372"/>
              <a:gd name="connsiteX39670" fmla="*/ 2871077 w 10505529"/>
              <a:gd name="connsiteY39670" fmla="*/ 687965 h 7458372"/>
              <a:gd name="connsiteX39671" fmla="*/ 2872008 w 10505529"/>
              <a:gd name="connsiteY39671" fmla="*/ 682507 h 7458372"/>
              <a:gd name="connsiteX39672" fmla="*/ 2871077 w 10505529"/>
              <a:gd name="connsiteY39672" fmla="*/ 677315 h 7458372"/>
              <a:gd name="connsiteX39673" fmla="*/ 2868414 w 10505529"/>
              <a:gd name="connsiteY39673" fmla="*/ 673056 h 7458372"/>
              <a:gd name="connsiteX39674" fmla="*/ 2864422 w 10505529"/>
              <a:gd name="connsiteY39674" fmla="*/ 670393 h 7458372"/>
              <a:gd name="connsiteX39675" fmla="*/ 2859362 w 10505529"/>
              <a:gd name="connsiteY39675" fmla="*/ 669328 h 7458372"/>
              <a:gd name="connsiteX39676" fmla="*/ 3294656 w 10505529"/>
              <a:gd name="connsiteY39676" fmla="*/ 669328 h 7458372"/>
              <a:gd name="connsiteX39677" fmla="*/ 3284673 w 10505529"/>
              <a:gd name="connsiteY39677" fmla="*/ 672922 h 7458372"/>
              <a:gd name="connsiteX39678" fmla="*/ 3281079 w 10505529"/>
              <a:gd name="connsiteY39678" fmla="*/ 682374 h 7458372"/>
              <a:gd name="connsiteX39679" fmla="*/ 3284673 w 10505529"/>
              <a:gd name="connsiteY39679" fmla="*/ 691958 h 7458372"/>
              <a:gd name="connsiteX39680" fmla="*/ 3294656 w 10505529"/>
              <a:gd name="connsiteY39680" fmla="*/ 695419 h 7458372"/>
              <a:gd name="connsiteX39681" fmla="*/ 3299982 w 10505529"/>
              <a:gd name="connsiteY39681" fmla="*/ 694487 h 7458372"/>
              <a:gd name="connsiteX39682" fmla="*/ 3303709 w 10505529"/>
              <a:gd name="connsiteY39682" fmla="*/ 692091 h 7458372"/>
              <a:gd name="connsiteX39683" fmla="*/ 3306372 w 10505529"/>
              <a:gd name="connsiteY39683" fmla="*/ 687965 h 7458372"/>
              <a:gd name="connsiteX39684" fmla="*/ 3307436 w 10505529"/>
              <a:gd name="connsiteY39684" fmla="*/ 682507 h 7458372"/>
              <a:gd name="connsiteX39685" fmla="*/ 3306372 w 10505529"/>
              <a:gd name="connsiteY39685" fmla="*/ 677315 h 7458372"/>
              <a:gd name="connsiteX39686" fmla="*/ 3303709 w 10505529"/>
              <a:gd name="connsiteY39686" fmla="*/ 673056 h 7458372"/>
              <a:gd name="connsiteX39687" fmla="*/ 3299716 w 10505529"/>
              <a:gd name="connsiteY39687" fmla="*/ 670393 h 7458372"/>
              <a:gd name="connsiteX39688" fmla="*/ 3294656 w 10505529"/>
              <a:gd name="connsiteY39688" fmla="*/ 669328 h 7458372"/>
              <a:gd name="connsiteX39689" fmla="*/ 3077142 w 10505529"/>
              <a:gd name="connsiteY39689" fmla="*/ 669328 h 7458372"/>
              <a:gd name="connsiteX39690" fmla="*/ 3067159 w 10505529"/>
              <a:gd name="connsiteY39690" fmla="*/ 672922 h 7458372"/>
              <a:gd name="connsiteX39691" fmla="*/ 3063431 w 10505529"/>
              <a:gd name="connsiteY39691" fmla="*/ 682374 h 7458372"/>
              <a:gd name="connsiteX39692" fmla="*/ 3067026 w 10505529"/>
              <a:gd name="connsiteY39692" fmla="*/ 691958 h 7458372"/>
              <a:gd name="connsiteX39693" fmla="*/ 3077009 w 10505529"/>
              <a:gd name="connsiteY39693" fmla="*/ 695419 h 7458372"/>
              <a:gd name="connsiteX39694" fmla="*/ 3082467 w 10505529"/>
              <a:gd name="connsiteY39694" fmla="*/ 694487 h 7458372"/>
              <a:gd name="connsiteX39695" fmla="*/ 3086195 w 10505529"/>
              <a:gd name="connsiteY39695" fmla="*/ 692091 h 7458372"/>
              <a:gd name="connsiteX39696" fmla="*/ 3088857 w 10505529"/>
              <a:gd name="connsiteY39696" fmla="*/ 687965 h 7458372"/>
              <a:gd name="connsiteX39697" fmla="*/ 3089789 w 10505529"/>
              <a:gd name="connsiteY39697" fmla="*/ 682507 h 7458372"/>
              <a:gd name="connsiteX39698" fmla="*/ 3088857 w 10505529"/>
              <a:gd name="connsiteY39698" fmla="*/ 677315 h 7458372"/>
              <a:gd name="connsiteX39699" fmla="*/ 3086195 w 10505529"/>
              <a:gd name="connsiteY39699" fmla="*/ 673056 h 7458372"/>
              <a:gd name="connsiteX39700" fmla="*/ 3082202 w 10505529"/>
              <a:gd name="connsiteY39700" fmla="*/ 670393 h 7458372"/>
              <a:gd name="connsiteX39701" fmla="*/ 3077142 w 10505529"/>
              <a:gd name="connsiteY39701" fmla="*/ 669328 h 7458372"/>
              <a:gd name="connsiteX39702" fmla="*/ 3512170 w 10505529"/>
              <a:gd name="connsiteY39702" fmla="*/ 669327 h 7458372"/>
              <a:gd name="connsiteX39703" fmla="*/ 3502186 w 10505529"/>
              <a:gd name="connsiteY39703" fmla="*/ 672922 h 7458372"/>
              <a:gd name="connsiteX39704" fmla="*/ 3498593 w 10505529"/>
              <a:gd name="connsiteY39704" fmla="*/ 682374 h 7458372"/>
              <a:gd name="connsiteX39705" fmla="*/ 3502186 w 10505529"/>
              <a:gd name="connsiteY39705" fmla="*/ 691958 h 7458372"/>
              <a:gd name="connsiteX39706" fmla="*/ 3512170 w 10505529"/>
              <a:gd name="connsiteY39706" fmla="*/ 695419 h 7458372"/>
              <a:gd name="connsiteX39707" fmla="*/ 3517496 w 10505529"/>
              <a:gd name="connsiteY39707" fmla="*/ 694487 h 7458372"/>
              <a:gd name="connsiteX39708" fmla="*/ 3521223 w 10505529"/>
              <a:gd name="connsiteY39708" fmla="*/ 692091 h 7458372"/>
              <a:gd name="connsiteX39709" fmla="*/ 3523886 w 10505529"/>
              <a:gd name="connsiteY39709" fmla="*/ 687965 h 7458372"/>
              <a:gd name="connsiteX39710" fmla="*/ 3524951 w 10505529"/>
              <a:gd name="connsiteY39710" fmla="*/ 682507 h 7458372"/>
              <a:gd name="connsiteX39711" fmla="*/ 3523886 w 10505529"/>
              <a:gd name="connsiteY39711" fmla="*/ 677315 h 7458372"/>
              <a:gd name="connsiteX39712" fmla="*/ 3521223 w 10505529"/>
              <a:gd name="connsiteY39712" fmla="*/ 673055 h 7458372"/>
              <a:gd name="connsiteX39713" fmla="*/ 3517230 w 10505529"/>
              <a:gd name="connsiteY39713" fmla="*/ 670393 h 7458372"/>
              <a:gd name="connsiteX39714" fmla="*/ 3512170 w 10505529"/>
              <a:gd name="connsiteY39714" fmla="*/ 669327 h 7458372"/>
              <a:gd name="connsiteX39715" fmla="*/ 3947465 w 10505529"/>
              <a:gd name="connsiteY39715" fmla="*/ 669327 h 7458372"/>
              <a:gd name="connsiteX39716" fmla="*/ 3937482 w 10505529"/>
              <a:gd name="connsiteY39716" fmla="*/ 672921 h 7458372"/>
              <a:gd name="connsiteX39717" fmla="*/ 3933888 w 10505529"/>
              <a:gd name="connsiteY39717" fmla="*/ 682374 h 7458372"/>
              <a:gd name="connsiteX39718" fmla="*/ 3937482 w 10505529"/>
              <a:gd name="connsiteY39718" fmla="*/ 691958 h 7458372"/>
              <a:gd name="connsiteX39719" fmla="*/ 3947465 w 10505529"/>
              <a:gd name="connsiteY39719" fmla="*/ 695419 h 7458372"/>
              <a:gd name="connsiteX39720" fmla="*/ 3952790 w 10505529"/>
              <a:gd name="connsiteY39720" fmla="*/ 694487 h 7458372"/>
              <a:gd name="connsiteX39721" fmla="*/ 3956517 w 10505529"/>
              <a:gd name="connsiteY39721" fmla="*/ 692091 h 7458372"/>
              <a:gd name="connsiteX39722" fmla="*/ 3959180 w 10505529"/>
              <a:gd name="connsiteY39722" fmla="*/ 687965 h 7458372"/>
              <a:gd name="connsiteX39723" fmla="*/ 3960245 w 10505529"/>
              <a:gd name="connsiteY39723" fmla="*/ 682506 h 7458372"/>
              <a:gd name="connsiteX39724" fmla="*/ 3959180 w 10505529"/>
              <a:gd name="connsiteY39724" fmla="*/ 677314 h 7458372"/>
              <a:gd name="connsiteX39725" fmla="*/ 3956517 w 10505529"/>
              <a:gd name="connsiteY39725" fmla="*/ 673055 h 7458372"/>
              <a:gd name="connsiteX39726" fmla="*/ 3952524 w 10505529"/>
              <a:gd name="connsiteY39726" fmla="*/ 670392 h 7458372"/>
              <a:gd name="connsiteX39727" fmla="*/ 3947465 w 10505529"/>
              <a:gd name="connsiteY39727" fmla="*/ 669327 h 7458372"/>
              <a:gd name="connsiteX39728" fmla="*/ 3729817 w 10505529"/>
              <a:gd name="connsiteY39728" fmla="*/ 669327 h 7458372"/>
              <a:gd name="connsiteX39729" fmla="*/ 3719833 w 10505529"/>
              <a:gd name="connsiteY39729" fmla="*/ 672921 h 7458372"/>
              <a:gd name="connsiteX39730" fmla="*/ 3716239 w 10505529"/>
              <a:gd name="connsiteY39730" fmla="*/ 682374 h 7458372"/>
              <a:gd name="connsiteX39731" fmla="*/ 3719833 w 10505529"/>
              <a:gd name="connsiteY39731" fmla="*/ 691958 h 7458372"/>
              <a:gd name="connsiteX39732" fmla="*/ 3729817 w 10505529"/>
              <a:gd name="connsiteY39732" fmla="*/ 695419 h 7458372"/>
              <a:gd name="connsiteX39733" fmla="*/ 3735142 w 10505529"/>
              <a:gd name="connsiteY39733" fmla="*/ 694487 h 7458372"/>
              <a:gd name="connsiteX39734" fmla="*/ 3738869 w 10505529"/>
              <a:gd name="connsiteY39734" fmla="*/ 692091 h 7458372"/>
              <a:gd name="connsiteX39735" fmla="*/ 3741532 w 10505529"/>
              <a:gd name="connsiteY39735" fmla="*/ 687965 h 7458372"/>
              <a:gd name="connsiteX39736" fmla="*/ 3742597 w 10505529"/>
              <a:gd name="connsiteY39736" fmla="*/ 682507 h 7458372"/>
              <a:gd name="connsiteX39737" fmla="*/ 3741532 w 10505529"/>
              <a:gd name="connsiteY39737" fmla="*/ 677314 h 7458372"/>
              <a:gd name="connsiteX39738" fmla="*/ 3738869 w 10505529"/>
              <a:gd name="connsiteY39738" fmla="*/ 673055 h 7458372"/>
              <a:gd name="connsiteX39739" fmla="*/ 3734877 w 10505529"/>
              <a:gd name="connsiteY39739" fmla="*/ 670392 h 7458372"/>
              <a:gd name="connsiteX39740" fmla="*/ 3729817 w 10505529"/>
              <a:gd name="connsiteY39740" fmla="*/ 669327 h 7458372"/>
              <a:gd name="connsiteX39741" fmla="*/ 4165068 w 10505529"/>
              <a:gd name="connsiteY39741" fmla="*/ 669327 h 7458372"/>
              <a:gd name="connsiteX39742" fmla="*/ 4155084 w 10505529"/>
              <a:gd name="connsiteY39742" fmla="*/ 672921 h 7458372"/>
              <a:gd name="connsiteX39743" fmla="*/ 4151490 w 10505529"/>
              <a:gd name="connsiteY39743" fmla="*/ 682374 h 7458372"/>
              <a:gd name="connsiteX39744" fmla="*/ 4155084 w 10505529"/>
              <a:gd name="connsiteY39744" fmla="*/ 691958 h 7458372"/>
              <a:gd name="connsiteX39745" fmla="*/ 4165068 w 10505529"/>
              <a:gd name="connsiteY39745" fmla="*/ 695419 h 7458372"/>
              <a:gd name="connsiteX39746" fmla="*/ 4170392 w 10505529"/>
              <a:gd name="connsiteY39746" fmla="*/ 694487 h 7458372"/>
              <a:gd name="connsiteX39747" fmla="*/ 4174119 w 10505529"/>
              <a:gd name="connsiteY39747" fmla="*/ 692091 h 7458372"/>
              <a:gd name="connsiteX39748" fmla="*/ 4176782 w 10505529"/>
              <a:gd name="connsiteY39748" fmla="*/ 687965 h 7458372"/>
              <a:gd name="connsiteX39749" fmla="*/ 4177847 w 10505529"/>
              <a:gd name="connsiteY39749" fmla="*/ 682506 h 7458372"/>
              <a:gd name="connsiteX39750" fmla="*/ 4176782 w 10505529"/>
              <a:gd name="connsiteY39750" fmla="*/ 677314 h 7458372"/>
              <a:gd name="connsiteX39751" fmla="*/ 4174119 w 10505529"/>
              <a:gd name="connsiteY39751" fmla="*/ 673055 h 7458372"/>
              <a:gd name="connsiteX39752" fmla="*/ 4170126 w 10505529"/>
              <a:gd name="connsiteY39752" fmla="*/ 670392 h 7458372"/>
              <a:gd name="connsiteX39753" fmla="*/ 4165068 w 10505529"/>
              <a:gd name="connsiteY39753" fmla="*/ 669327 h 7458372"/>
              <a:gd name="connsiteX39754" fmla="*/ 4600226 w 10505529"/>
              <a:gd name="connsiteY39754" fmla="*/ 669327 h 7458372"/>
              <a:gd name="connsiteX39755" fmla="*/ 4590242 w 10505529"/>
              <a:gd name="connsiteY39755" fmla="*/ 672921 h 7458372"/>
              <a:gd name="connsiteX39756" fmla="*/ 4586648 w 10505529"/>
              <a:gd name="connsiteY39756" fmla="*/ 682373 h 7458372"/>
              <a:gd name="connsiteX39757" fmla="*/ 4590242 w 10505529"/>
              <a:gd name="connsiteY39757" fmla="*/ 691957 h 7458372"/>
              <a:gd name="connsiteX39758" fmla="*/ 4600226 w 10505529"/>
              <a:gd name="connsiteY39758" fmla="*/ 695418 h 7458372"/>
              <a:gd name="connsiteX39759" fmla="*/ 4605550 w 10505529"/>
              <a:gd name="connsiteY39759" fmla="*/ 694486 h 7458372"/>
              <a:gd name="connsiteX39760" fmla="*/ 4609277 w 10505529"/>
              <a:gd name="connsiteY39760" fmla="*/ 692091 h 7458372"/>
              <a:gd name="connsiteX39761" fmla="*/ 4611940 w 10505529"/>
              <a:gd name="connsiteY39761" fmla="*/ 687964 h 7458372"/>
              <a:gd name="connsiteX39762" fmla="*/ 4613005 w 10505529"/>
              <a:gd name="connsiteY39762" fmla="*/ 682506 h 7458372"/>
              <a:gd name="connsiteX39763" fmla="*/ 4611940 w 10505529"/>
              <a:gd name="connsiteY39763" fmla="*/ 677314 h 7458372"/>
              <a:gd name="connsiteX39764" fmla="*/ 4609277 w 10505529"/>
              <a:gd name="connsiteY39764" fmla="*/ 673055 h 7458372"/>
              <a:gd name="connsiteX39765" fmla="*/ 4605284 w 10505529"/>
              <a:gd name="connsiteY39765" fmla="*/ 670392 h 7458372"/>
              <a:gd name="connsiteX39766" fmla="*/ 4600226 w 10505529"/>
              <a:gd name="connsiteY39766" fmla="*/ 669327 h 7458372"/>
              <a:gd name="connsiteX39767" fmla="*/ 4382713 w 10505529"/>
              <a:gd name="connsiteY39767" fmla="*/ 669327 h 7458372"/>
              <a:gd name="connsiteX39768" fmla="*/ 4372730 w 10505529"/>
              <a:gd name="connsiteY39768" fmla="*/ 672921 h 7458372"/>
              <a:gd name="connsiteX39769" fmla="*/ 4369136 w 10505529"/>
              <a:gd name="connsiteY39769" fmla="*/ 682373 h 7458372"/>
              <a:gd name="connsiteX39770" fmla="*/ 4372730 w 10505529"/>
              <a:gd name="connsiteY39770" fmla="*/ 691957 h 7458372"/>
              <a:gd name="connsiteX39771" fmla="*/ 4382713 w 10505529"/>
              <a:gd name="connsiteY39771" fmla="*/ 695419 h 7458372"/>
              <a:gd name="connsiteX39772" fmla="*/ 4388038 w 10505529"/>
              <a:gd name="connsiteY39772" fmla="*/ 694486 h 7458372"/>
              <a:gd name="connsiteX39773" fmla="*/ 4391765 w 10505529"/>
              <a:gd name="connsiteY39773" fmla="*/ 692091 h 7458372"/>
              <a:gd name="connsiteX39774" fmla="*/ 4394428 w 10505529"/>
              <a:gd name="connsiteY39774" fmla="*/ 687964 h 7458372"/>
              <a:gd name="connsiteX39775" fmla="*/ 4395493 w 10505529"/>
              <a:gd name="connsiteY39775" fmla="*/ 682506 h 7458372"/>
              <a:gd name="connsiteX39776" fmla="*/ 4394428 w 10505529"/>
              <a:gd name="connsiteY39776" fmla="*/ 677314 h 7458372"/>
              <a:gd name="connsiteX39777" fmla="*/ 4391765 w 10505529"/>
              <a:gd name="connsiteY39777" fmla="*/ 673055 h 7458372"/>
              <a:gd name="connsiteX39778" fmla="*/ 4387772 w 10505529"/>
              <a:gd name="connsiteY39778" fmla="*/ 670392 h 7458372"/>
              <a:gd name="connsiteX39779" fmla="*/ 4382713 w 10505529"/>
              <a:gd name="connsiteY39779" fmla="*/ 669327 h 7458372"/>
              <a:gd name="connsiteX39780" fmla="*/ 4817870 w 10505529"/>
              <a:gd name="connsiteY39780" fmla="*/ 669327 h 7458372"/>
              <a:gd name="connsiteX39781" fmla="*/ 4807887 w 10505529"/>
              <a:gd name="connsiteY39781" fmla="*/ 672921 h 7458372"/>
              <a:gd name="connsiteX39782" fmla="*/ 4804293 w 10505529"/>
              <a:gd name="connsiteY39782" fmla="*/ 682373 h 7458372"/>
              <a:gd name="connsiteX39783" fmla="*/ 4807887 w 10505529"/>
              <a:gd name="connsiteY39783" fmla="*/ 691957 h 7458372"/>
              <a:gd name="connsiteX39784" fmla="*/ 4817870 w 10505529"/>
              <a:gd name="connsiteY39784" fmla="*/ 695418 h 7458372"/>
              <a:gd name="connsiteX39785" fmla="*/ 4823195 w 10505529"/>
              <a:gd name="connsiteY39785" fmla="*/ 694486 h 7458372"/>
              <a:gd name="connsiteX39786" fmla="*/ 4826922 w 10505529"/>
              <a:gd name="connsiteY39786" fmla="*/ 692090 h 7458372"/>
              <a:gd name="connsiteX39787" fmla="*/ 4829585 w 10505529"/>
              <a:gd name="connsiteY39787" fmla="*/ 687964 h 7458372"/>
              <a:gd name="connsiteX39788" fmla="*/ 4830650 w 10505529"/>
              <a:gd name="connsiteY39788" fmla="*/ 682506 h 7458372"/>
              <a:gd name="connsiteX39789" fmla="*/ 4829585 w 10505529"/>
              <a:gd name="connsiteY39789" fmla="*/ 677314 h 7458372"/>
              <a:gd name="connsiteX39790" fmla="*/ 4826922 w 10505529"/>
              <a:gd name="connsiteY39790" fmla="*/ 673055 h 7458372"/>
              <a:gd name="connsiteX39791" fmla="*/ 4822929 w 10505529"/>
              <a:gd name="connsiteY39791" fmla="*/ 670392 h 7458372"/>
              <a:gd name="connsiteX39792" fmla="*/ 4817870 w 10505529"/>
              <a:gd name="connsiteY39792" fmla="*/ 669327 h 7458372"/>
              <a:gd name="connsiteX39793" fmla="*/ 5253160 w 10505529"/>
              <a:gd name="connsiteY39793" fmla="*/ 669327 h 7458372"/>
              <a:gd name="connsiteX39794" fmla="*/ 5243177 w 10505529"/>
              <a:gd name="connsiteY39794" fmla="*/ 672921 h 7458372"/>
              <a:gd name="connsiteX39795" fmla="*/ 5239583 w 10505529"/>
              <a:gd name="connsiteY39795" fmla="*/ 682373 h 7458372"/>
              <a:gd name="connsiteX39796" fmla="*/ 5243177 w 10505529"/>
              <a:gd name="connsiteY39796" fmla="*/ 691957 h 7458372"/>
              <a:gd name="connsiteX39797" fmla="*/ 5253160 w 10505529"/>
              <a:gd name="connsiteY39797" fmla="*/ 695418 h 7458372"/>
              <a:gd name="connsiteX39798" fmla="*/ 5258485 w 10505529"/>
              <a:gd name="connsiteY39798" fmla="*/ 694486 h 7458372"/>
              <a:gd name="connsiteX39799" fmla="*/ 5262212 w 10505529"/>
              <a:gd name="connsiteY39799" fmla="*/ 692090 h 7458372"/>
              <a:gd name="connsiteX39800" fmla="*/ 5264875 w 10505529"/>
              <a:gd name="connsiteY39800" fmla="*/ 687964 h 7458372"/>
              <a:gd name="connsiteX39801" fmla="*/ 5265939 w 10505529"/>
              <a:gd name="connsiteY39801" fmla="*/ 682506 h 7458372"/>
              <a:gd name="connsiteX39802" fmla="*/ 5264875 w 10505529"/>
              <a:gd name="connsiteY39802" fmla="*/ 677314 h 7458372"/>
              <a:gd name="connsiteX39803" fmla="*/ 5262212 w 10505529"/>
              <a:gd name="connsiteY39803" fmla="*/ 673055 h 7458372"/>
              <a:gd name="connsiteX39804" fmla="*/ 5258219 w 10505529"/>
              <a:gd name="connsiteY39804" fmla="*/ 670392 h 7458372"/>
              <a:gd name="connsiteX39805" fmla="*/ 5253160 w 10505529"/>
              <a:gd name="connsiteY39805" fmla="*/ 669327 h 7458372"/>
              <a:gd name="connsiteX39806" fmla="*/ 5035515 w 10505529"/>
              <a:gd name="connsiteY39806" fmla="*/ 669327 h 7458372"/>
              <a:gd name="connsiteX39807" fmla="*/ 5025532 w 10505529"/>
              <a:gd name="connsiteY39807" fmla="*/ 672921 h 7458372"/>
              <a:gd name="connsiteX39808" fmla="*/ 5021938 w 10505529"/>
              <a:gd name="connsiteY39808" fmla="*/ 682373 h 7458372"/>
              <a:gd name="connsiteX39809" fmla="*/ 5025532 w 10505529"/>
              <a:gd name="connsiteY39809" fmla="*/ 691957 h 7458372"/>
              <a:gd name="connsiteX39810" fmla="*/ 5035515 w 10505529"/>
              <a:gd name="connsiteY39810" fmla="*/ 695418 h 7458372"/>
              <a:gd name="connsiteX39811" fmla="*/ 5040840 w 10505529"/>
              <a:gd name="connsiteY39811" fmla="*/ 694486 h 7458372"/>
              <a:gd name="connsiteX39812" fmla="*/ 5044567 w 10505529"/>
              <a:gd name="connsiteY39812" fmla="*/ 692090 h 7458372"/>
              <a:gd name="connsiteX39813" fmla="*/ 5047230 w 10505529"/>
              <a:gd name="connsiteY39813" fmla="*/ 687964 h 7458372"/>
              <a:gd name="connsiteX39814" fmla="*/ 5048294 w 10505529"/>
              <a:gd name="connsiteY39814" fmla="*/ 682506 h 7458372"/>
              <a:gd name="connsiteX39815" fmla="*/ 5047230 w 10505529"/>
              <a:gd name="connsiteY39815" fmla="*/ 677314 h 7458372"/>
              <a:gd name="connsiteX39816" fmla="*/ 5044567 w 10505529"/>
              <a:gd name="connsiteY39816" fmla="*/ 673055 h 7458372"/>
              <a:gd name="connsiteX39817" fmla="*/ 5040574 w 10505529"/>
              <a:gd name="connsiteY39817" fmla="*/ 670392 h 7458372"/>
              <a:gd name="connsiteX39818" fmla="*/ 5035515 w 10505529"/>
              <a:gd name="connsiteY39818" fmla="*/ 669327 h 7458372"/>
              <a:gd name="connsiteX39819" fmla="*/ 5470806 w 10505529"/>
              <a:gd name="connsiteY39819" fmla="*/ 669327 h 7458372"/>
              <a:gd name="connsiteX39820" fmla="*/ 5460822 w 10505529"/>
              <a:gd name="connsiteY39820" fmla="*/ 672921 h 7458372"/>
              <a:gd name="connsiteX39821" fmla="*/ 5457228 w 10505529"/>
              <a:gd name="connsiteY39821" fmla="*/ 682373 h 7458372"/>
              <a:gd name="connsiteX39822" fmla="*/ 5460822 w 10505529"/>
              <a:gd name="connsiteY39822" fmla="*/ 691957 h 7458372"/>
              <a:gd name="connsiteX39823" fmla="*/ 5470806 w 10505529"/>
              <a:gd name="connsiteY39823" fmla="*/ 695418 h 7458372"/>
              <a:gd name="connsiteX39824" fmla="*/ 5476130 w 10505529"/>
              <a:gd name="connsiteY39824" fmla="*/ 694486 h 7458372"/>
              <a:gd name="connsiteX39825" fmla="*/ 5479857 w 10505529"/>
              <a:gd name="connsiteY39825" fmla="*/ 692090 h 7458372"/>
              <a:gd name="connsiteX39826" fmla="*/ 5482520 w 10505529"/>
              <a:gd name="connsiteY39826" fmla="*/ 687964 h 7458372"/>
              <a:gd name="connsiteX39827" fmla="*/ 5483585 w 10505529"/>
              <a:gd name="connsiteY39827" fmla="*/ 682506 h 7458372"/>
              <a:gd name="connsiteX39828" fmla="*/ 5482520 w 10505529"/>
              <a:gd name="connsiteY39828" fmla="*/ 677314 h 7458372"/>
              <a:gd name="connsiteX39829" fmla="*/ 5479857 w 10505529"/>
              <a:gd name="connsiteY39829" fmla="*/ 673055 h 7458372"/>
              <a:gd name="connsiteX39830" fmla="*/ 5475864 w 10505529"/>
              <a:gd name="connsiteY39830" fmla="*/ 670392 h 7458372"/>
              <a:gd name="connsiteX39831" fmla="*/ 5470806 w 10505529"/>
              <a:gd name="connsiteY39831" fmla="*/ 669327 h 7458372"/>
              <a:gd name="connsiteX39832" fmla="*/ 6123608 w 10505529"/>
              <a:gd name="connsiteY39832" fmla="*/ 669326 h 7458372"/>
              <a:gd name="connsiteX39833" fmla="*/ 6113624 w 10505529"/>
              <a:gd name="connsiteY39833" fmla="*/ 672920 h 7458372"/>
              <a:gd name="connsiteX39834" fmla="*/ 6110030 w 10505529"/>
              <a:gd name="connsiteY39834" fmla="*/ 682372 h 7458372"/>
              <a:gd name="connsiteX39835" fmla="*/ 6113624 w 10505529"/>
              <a:gd name="connsiteY39835" fmla="*/ 691957 h 7458372"/>
              <a:gd name="connsiteX39836" fmla="*/ 6123608 w 10505529"/>
              <a:gd name="connsiteY39836" fmla="*/ 695418 h 7458372"/>
              <a:gd name="connsiteX39837" fmla="*/ 6128932 w 10505529"/>
              <a:gd name="connsiteY39837" fmla="*/ 694486 h 7458372"/>
              <a:gd name="connsiteX39838" fmla="*/ 6132659 w 10505529"/>
              <a:gd name="connsiteY39838" fmla="*/ 692090 h 7458372"/>
              <a:gd name="connsiteX39839" fmla="*/ 6135322 w 10505529"/>
              <a:gd name="connsiteY39839" fmla="*/ 687964 h 7458372"/>
              <a:gd name="connsiteX39840" fmla="*/ 6136387 w 10505529"/>
              <a:gd name="connsiteY39840" fmla="*/ 682506 h 7458372"/>
              <a:gd name="connsiteX39841" fmla="*/ 6135322 w 10505529"/>
              <a:gd name="connsiteY39841" fmla="*/ 677313 h 7458372"/>
              <a:gd name="connsiteX39842" fmla="*/ 6132659 w 10505529"/>
              <a:gd name="connsiteY39842" fmla="*/ 673054 h 7458372"/>
              <a:gd name="connsiteX39843" fmla="*/ 6128666 w 10505529"/>
              <a:gd name="connsiteY39843" fmla="*/ 670391 h 7458372"/>
              <a:gd name="connsiteX39844" fmla="*/ 6123608 w 10505529"/>
              <a:gd name="connsiteY39844" fmla="*/ 669326 h 7458372"/>
              <a:gd name="connsiteX39845" fmla="*/ 5905963 w 10505529"/>
              <a:gd name="connsiteY39845" fmla="*/ 669326 h 7458372"/>
              <a:gd name="connsiteX39846" fmla="*/ 5895979 w 10505529"/>
              <a:gd name="connsiteY39846" fmla="*/ 672920 h 7458372"/>
              <a:gd name="connsiteX39847" fmla="*/ 5892385 w 10505529"/>
              <a:gd name="connsiteY39847" fmla="*/ 682373 h 7458372"/>
              <a:gd name="connsiteX39848" fmla="*/ 5895979 w 10505529"/>
              <a:gd name="connsiteY39848" fmla="*/ 691957 h 7458372"/>
              <a:gd name="connsiteX39849" fmla="*/ 5905963 w 10505529"/>
              <a:gd name="connsiteY39849" fmla="*/ 695418 h 7458372"/>
              <a:gd name="connsiteX39850" fmla="*/ 5911287 w 10505529"/>
              <a:gd name="connsiteY39850" fmla="*/ 694486 h 7458372"/>
              <a:gd name="connsiteX39851" fmla="*/ 5915014 w 10505529"/>
              <a:gd name="connsiteY39851" fmla="*/ 692090 h 7458372"/>
              <a:gd name="connsiteX39852" fmla="*/ 5917677 w 10505529"/>
              <a:gd name="connsiteY39852" fmla="*/ 687964 h 7458372"/>
              <a:gd name="connsiteX39853" fmla="*/ 5918742 w 10505529"/>
              <a:gd name="connsiteY39853" fmla="*/ 682506 h 7458372"/>
              <a:gd name="connsiteX39854" fmla="*/ 5917677 w 10505529"/>
              <a:gd name="connsiteY39854" fmla="*/ 677313 h 7458372"/>
              <a:gd name="connsiteX39855" fmla="*/ 5915014 w 10505529"/>
              <a:gd name="connsiteY39855" fmla="*/ 673054 h 7458372"/>
              <a:gd name="connsiteX39856" fmla="*/ 5911021 w 10505529"/>
              <a:gd name="connsiteY39856" fmla="*/ 670391 h 7458372"/>
              <a:gd name="connsiteX39857" fmla="*/ 5905963 w 10505529"/>
              <a:gd name="connsiteY39857" fmla="*/ 669326 h 7458372"/>
              <a:gd name="connsiteX39858" fmla="*/ 5688451 w 10505529"/>
              <a:gd name="connsiteY39858" fmla="*/ 669326 h 7458372"/>
              <a:gd name="connsiteX39859" fmla="*/ 5678467 w 10505529"/>
              <a:gd name="connsiteY39859" fmla="*/ 672920 h 7458372"/>
              <a:gd name="connsiteX39860" fmla="*/ 5674873 w 10505529"/>
              <a:gd name="connsiteY39860" fmla="*/ 682373 h 7458372"/>
              <a:gd name="connsiteX39861" fmla="*/ 5678467 w 10505529"/>
              <a:gd name="connsiteY39861" fmla="*/ 691957 h 7458372"/>
              <a:gd name="connsiteX39862" fmla="*/ 5688451 w 10505529"/>
              <a:gd name="connsiteY39862" fmla="*/ 695418 h 7458372"/>
              <a:gd name="connsiteX39863" fmla="*/ 5693775 w 10505529"/>
              <a:gd name="connsiteY39863" fmla="*/ 694486 h 7458372"/>
              <a:gd name="connsiteX39864" fmla="*/ 5697502 w 10505529"/>
              <a:gd name="connsiteY39864" fmla="*/ 692090 h 7458372"/>
              <a:gd name="connsiteX39865" fmla="*/ 5700165 w 10505529"/>
              <a:gd name="connsiteY39865" fmla="*/ 687964 h 7458372"/>
              <a:gd name="connsiteX39866" fmla="*/ 5701230 w 10505529"/>
              <a:gd name="connsiteY39866" fmla="*/ 682506 h 7458372"/>
              <a:gd name="connsiteX39867" fmla="*/ 5700165 w 10505529"/>
              <a:gd name="connsiteY39867" fmla="*/ 677314 h 7458372"/>
              <a:gd name="connsiteX39868" fmla="*/ 5697502 w 10505529"/>
              <a:gd name="connsiteY39868" fmla="*/ 673055 h 7458372"/>
              <a:gd name="connsiteX39869" fmla="*/ 5693509 w 10505529"/>
              <a:gd name="connsiteY39869" fmla="*/ 670392 h 7458372"/>
              <a:gd name="connsiteX39870" fmla="*/ 5688451 w 10505529"/>
              <a:gd name="connsiteY39870" fmla="*/ 669326 h 7458372"/>
              <a:gd name="connsiteX39871" fmla="*/ 6341253 w 10505529"/>
              <a:gd name="connsiteY39871" fmla="*/ 669326 h 7458372"/>
              <a:gd name="connsiteX39872" fmla="*/ 6331270 w 10505529"/>
              <a:gd name="connsiteY39872" fmla="*/ 672920 h 7458372"/>
              <a:gd name="connsiteX39873" fmla="*/ 6327675 w 10505529"/>
              <a:gd name="connsiteY39873" fmla="*/ 682372 h 7458372"/>
              <a:gd name="connsiteX39874" fmla="*/ 6331270 w 10505529"/>
              <a:gd name="connsiteY39874" fmla="*/ 691957 h 7458372"/>
              <a:gd name="connsiteX39875" fmla="*/ 6341253 w 10505529"/>
              <a:gd name="connsiteY39875" fmla="*/ 695418 h 7458372"/>
              <a:gd name="connsiteX39876" fmla="*/ 6346578 w 10505529"/>
              <a:gd name="connsiteY39876" fmla="*/ 694486 h 7458372"/>
              <a:gd name="connsiteX39877" fmla="*/ 6350305 w 10505529"/>
              <a:gd name="connsiteY39877" fmla="*/ 692090 h 7458372"/>
              <a:gd name="connsiteX39878" fmla="*/ 6352968 w 10505529"/>
              <a:gd name="connsiteY39878" fmla="*/ 687963 h 7458372"/>
              <a:gd name="connsiteX39879" fmla="*/ 6354033 w 10505529"/>
              <a:gd name="connsiteY39879" fmla="*/ 682505 h 7458372"/>
              <a:gd name="connsiteX39880" fmla="*/ 6352968 w 10505529"/>
              <a:gd name="connsiteY39880" fmla="*/ 677313 h 7458372"/>
              <a:gd name="connsiteX39881" fmla="*/ 6350305 w 10505529"/>
              <a:gd name="connsiteY39881" fmla="*/ 673054 h 7458372"/>
              <a:gd name="connsiteX39882" fmla="*/ 6346312 w 10505529"/>
              <a:gd name="connsiteY39882" fmla="*/ 670391 h 7458372"/>
              <a:gd name="connsiteX39883" fmla="*/ 6341253 w 10505529"/>
              <a:gd name="connsiteY39883" fmla="*/ 669326 h 7458372"/>
              <a:gd name="connsiteX39884" fmla="*/ 6776544 w 10505529"/>
              <a:gd name="connsiteY39884" fmla="*/ 669326 h 7458372"/>
              <a:gd name="connsiteX39885" fmla="*/ 6766560 w 10505529"/>
              <a:gd name="connsiteY39885" fmla="*/ 672920 h 7458372"/>
              <a:gd name="connsiteX39886" fmla="*/ 6762966 w 10505529"/>
              <a:gd name="connsiteY39886" fmla="*/ 682372 h 7458372"/>
              <a:gd name="connsiteX39887" fmla="*/ 6766560 w 10505529"/>
              <a:gd name="connsiteY39887" fmla="*/ 691956 h 7458372"/>
              <a:gd name="connsiteX39888" fmla="*/ 6776544 w 10505529"/>
              <a:gd name="connsiteY39888" fmla="*/ 695417 h 7458372"/>
              <a:gd name="connsiteX39889" fmla="*/ 6781869 w 10505529"/>
              <a:gd name="connsiteY39889" fmla="*/ 694485 h 7458372"/>
              <a:gd name="connsiteX39890" fmla="*/ 6785595 w 10505529"/>
              <a:gd name="connsiteY39890" fmla="*/ 692090 h 7458372"/>
              <a:gd name="connsiteX39891" fmla="*/ 6788258 w 10505529"/>
              <a:gd name="connsiteY39891" fmla="*/ 687963 h 7458372"/>
              <a:gd name="connsiteX39892" fmla="*/ 6789323 w 10505529"/>
              <a:gd name="connsiteY39892" fmla="*/ 682505 h 7458372"/>
              <a:gd name="connsiteX39893" fmla="*/ 6788258 w 10505529"/>
              <a:gd name="connsiteY39893" fmla="*/ 677313 h 7458372"/>
              <a:gd name="connsiteX39894" fmla="*/ 6785595 w 10505529"/>
              <a:gd name="connsiteY39894" fmla="*/ 673054 h 7458372"/>
              <a:gd name="connsiteX39895" fmla="*/ 6781602 w 10505529"/>
              <a:gd name="connsiteY39895" fmla="*/ 670391 h 7458372"/>
              <a:gd name="connsiteX39896" fmla="*/ 6776544 w 10505529"/>
              <a:gd name="connsiteY39896" fmla="*/ 669326 h 7458372"/>
              <a:gd name="connsiteX39897" fmla="*/ 6558899 w 10505529"/>
              <a:gd name="connsiteY39897" fmla="*/ 669326 h 7458372"/>
              <a:gd name="connsiteX39898" fmla="*/ 6548915 w 10505529"/>
              <a:gd name="connsiteY39898" fmla="*/ 672920 h 7458372"/>
              <a:gd name="connsiteX39899" fmla="*/ 6545321 w 10505529"/>
              <a:gd name="connsiteY39899" fmla="*/ 682372 h 7458372"/>
              <a:gd name="connsiteX39900" fmla="*/ 6548915 w 10505529"/>
              <a:gd name="connsiteY39900" fmla="*/ 691956 h 7458372"/>
              <a:gd name="connsiteX39901" fmla="*/ 6558899 w 10505529"/>
              <a:gd name="connsiteY39901" fmla="*/ 695418 h 7458372"/>
              <a:gd name="connsiteX39902" fmla="*/ 6564223 w 10505529"/>
              <a:gd name="connsiteY39902" fmla="*/ 694486 h 7458372"/>
              <a:gd name="connsiteX39903" fmla="*/ 6567950 w 10505529"/>
              <a:gd name="connsiteY39903" fmla="*/ 692090 h 7458372"/>
              <a:gd name="connsiteX39904" fmla="*/ 6570612 w 10505529"/>
              <a:gd name="connsiteY39904" fmla="*/ 687963 h 7458372"/>
              <a:gd name="connsiteX39905" fmla="*/ 6571677 w 10505529"/>
              <a:gd name="connsiteY39905" fmla="*/ 682505 h 7458372"/>
              <a:gd name="connsiteX39906" fmla="*/ 6570612 w 10505529"/>
              <a:gd name="connsiteY39906" fmla="*/ 677313 h 7458372"/>
              <a:gd name="connsiteX39907" fmla="*/ 6567950 w 10505529"/>
              <a:gd name="connsiteY39907" fmla="*/ 673054 h 7458372"/>
              <a:gd name="connsiteX39908" fmla="*/ 6563956 w 10505529"/>
              <a:gd name="connsiteY39908" fmla="*/ 670391 h 7458372"/>
              <a:gd name="connsiteX39909" fmla="*/ 6558899 w 10505529"/>
              <a:gd name="connsiteY39909" fmla="*/ 669326 h 7458372"/>
              <a:gd name="connsiteX39910" fmla="*/ 6994056 w 10505529"/>
              <a:gd name="connsiteY39910" fmla="*/ 669326 h 7458372"/>
              <a:gd name="connsiteX39911" fmla="*/ 6984072 w 10505529"/>
              <a:gd name="connsiteY39911" fmla="*/ 672920 h 7458372"/>
              <a:gd name="connsiteX39912" fmla="*/ 6980478 w 10505529"/>
              <a:gd name="connsiteY39912" fmla="*/ 682372 h 7458372"/>
              <a:gd name="connsiteX39913" fmla="*/ 6984072 w 10505529"/>
              <a:gd name="connsiteY39913" fmla="*/ 691956 h 7458372"/>
              <a:gd name="connsiteX39914" fmla="*/ 6994056 w 10505529"/>
              <a:gd name="connsiteY39914" fmla="*/ 695417 h 7458372"/>
              <a:gd name="connsiteX39915" fmla="*/ 6999380 w 10505529"/>
              <a:gd name="connsiteY39915" fmla="*/ 694485 h 7458372"/>
              <a:gd name="connsiteX39916" fmla="*/ 7003107 w 10505529"/>
              <a:gd name="connsiteY39916" fmla="*/ 692089 h 7458372"/>
              <a:gd name="connsiteX39917" fmla="*/ 7005769 w 10505529"/>
              <a:gd name="connsiteY39917" fmla="*/ 687963 h 7458372"/>
              <a:gd name="connsiteX39918" fmla="*/ 7006834 w 10505529"/>
              <a:gd name="connsiteY39918" fmla="*/ 682505 h 7458372"/>
              <a:gd name="connsiteX39919" fmla="*/ 7005769 w 10505529"/>
              <a:gd name="connsiteY39919" fmla="*/ 677313 h 7458372"/>
              <a:gd name="connsiteX39920" fmla="*/ 7003107 w 10505529"/>
              <a:gd name="connsiteY39920" fmla="*/ 673054 h 7458372"/>
              <a:gd name="connsiteX39921" fmla="*/ 6999113 w 10505529"/>
              <a:gd name="connsiteY39921" fmla="*/ 670391 h 7458372"/>
              <a:gd name="connsiteX39922" fmla="*/ 6994056 w 10505529"/>
              <a:gd name="connsiteY39922" fmla="*/ 669326 h 7458372"/>
              <a:gd name="connsiteX39923" fmla="*/ 7429345 w 10505529"/>
              <a:gd name="connsiteY39923" fmla="*/ 669326 h 7458372"/>
              <a:gd name="connsiteX39924" fmla="*/ 7419361 w 10505529"/>
              <a:gd name="connsiteY39924" fmla="*/ 672920 h 7458372"/>
              <a:gd name="connsiteX39925" fmla="*/ 7415768 w 10505529"/>
              <a:gd name="connsiteY39925" fmla="*/ 682372 h 7458372"/>
              <a:gd name="connsiteX39926" fmla="*/ 7419361 w 10505529"/>
              <a:gd name="connsiteY39926" fmla="*/ 691956 h 7458372"/>
              <a:gd name="connsiteX39927" fmla="*/ 7429345 w 10505529"/>
              <a:gd name="connsiteY39927" fmla="*/ 695417 h 7458372"/>
              <a:gd name="connsiteX39928" fmla="*/ 7434670 w 10505529"/>
              <a:gd name="connsiteY39928" fmla="*/ 694485 h 7458372"/>
              <a:gd name="connsiteX39929" fmla="*/ 7438397 w 10505529"/>
              <a:gd name="connsiteY39929" fmla="*/ 692089 h 7458372"/>
              <a:gd name="connsiteX39930" fmla="*/ 7441059 w 10505529"/>
              <a:gd name="connsiteY39930" fmla="*/ 687963 h 7458372"/>
              <a:gd name="connsiteX39931" fmla="*/ 7442124 w 10505529"/>
              <a:gd name="connsiteY39931" fmla="*/ 682505 h 7458372"/>
              <a:gd name="connsiteX39932" fmla="*/ 7441059 w 10505529"/>
              <a:gd name="connsiteY39932" fmla="*/ 677313 h 7458372"/>
              <a:gd name="connsiteX39933" fmla="*/ 7438397 w 10505529"/>
              <a:gd name="connsiteY39933" fmla="*/ 673054 h 7458372"/>
              <a:gd name="connsiteX39934" fmla="*/ 7434403 w 10505529"/>
              <a:gd name="connsiteY39934" fmla="*/ 670391 h 7458372"/>
              <a:gd name="connsiteX39935" fmla="*/ 7429345 w 10505529"/>
              <a:gd name="connsiteY39935" fmla="*/ 669326 h 7458372"/>
              <a:gd name="connsiteX39936" fmla="*/ 7211701 w 10505529"/>
              <a:gd name="connsiteY39936" fmla="*/ 669326 h 7458372"/>
              <a:gd name="connsiteX39937" fmla="*/ 7201717 w 10505529"/>
              <a:gd name="connsiteY39937" fmla="*/ 672920 h 7458372"/>
              <a:gd name="connsiteX39938" fmla="*/ 7198123 w 10505529"/>
              <a:gd name="connsiteY39938" fmla="*/ 682372 h 7458372"/>
              <a:gd name="connsiteX39939" fmla="*/ 7201717 w 10505529"/>
              <a:gd name="connsiteY39939" fmla="*/ 691956 h 7458372"/>
              <a:gd name="connsiteX39940" fmla="*/ 7211701 w 10505529"/>
              <a:gd name="connsiteY39940" fmla="*/ 695417 h 7458372"/>
              <a:gd name="connsiteX39941" fmla="*/ 7217026 w 10505529"/>
              <a:gd name="connsiteY39941" fmla="*/ 694485 h 7458372"/>
              <a:gd name="connsiteX39942" fmla="*/ 7220752 w 10505529"/>
              <a:gd name="connsiteY39942" fmla="*/ 692089 h 7458372"/>
              <a:gd name="connsiteX39943" fmla="*/ 7223415 w 10505529"/>
              <a:gd name="connsiteY39943" fmla="*/ 687963 h 7458372"/>
              <a:gd name="connsiteX39944" fmla="*/ 7224480 w 10505529"/>
              <a:gd name="connsiteY39944" fmla="*/ 682505 h 7458372"/>
              <a:gd name="connsiteX39945" fmla="*/ 7223415 w 10505529"/>
              <a:gd name="connsiteY39945" fmla="*/ 677313 h 7458372"/>
              <a:gd name="connsiteX39946" fmla="*/ 7220752 w 10505529"/>
              <a:gd name="connsiteY39946" fmla="*/ 673054 h 7458372"/>
              <a:gd name="connsiteX39947" fmla="*/ 7216759 w 10505529"/>
              <a:gd name="connsiteY39947" fmla="*/ 670391 h 7458372"/>
              <a:gd name="connsiteX39948" fmla="*/ 7211701 w 10505529"/>
              <a:gd name="connsiteY39948" fmla="*/ 669326 h 7458372"/>
              <a:gd name="connsiteX39949" fmla="*/ 7864636 w 10505529"/>
              <a:gd name="connsiteY39949" fmla="*/ 669325 h 7458372"/>
              <a:gd name="connsiteX39950" fmla="*/ 7854652 w 10505529"/>
              <a:gd name="connsiteY39950" fmla="*/ 672919 h 7458372"/>
              <a:gd name="connsiteX39951" fmla="*/ 7851058 w 10505529"/>
              <a:gd name="connsiteY39951" fmla="*/ 682372 h 7458372"/>
              <a:gd name="connsiteX39952" fmla="*/ 7854652 w 10505529"/>
              <a:gd name="connsiteY39952" fmla="*/ 691956 h 7458372"/>
              <a:gd name="connsiteX39953" fmla="*/ 7864636 w 10505529"/>
              <a:gd name="connsiteY39953" fmla="*/ 695417 h 7458372"/>
              <a:gd name="connsiteX39954" fmla="*/ 7869961 w 10505529"/>
              <a:gd name="connsiteY39954" fmla="*/ 694485 h 7458372"/>
              <a:gd name="connsiteX39955" fmla="*/ 7873687 w 10505529"/>
              <a:gd name="connsiteY39955" fmla="*/ 692089 h 7458372"/>
              <a:gd name="connsiteX39956" fmla="*/ 7876350 w 10505529"/>
              <a:gd name="connsiteY39956" fmla="*/ 687963 h 7458372"/>
              <a:gd name="connsiteX39957" fmla="*/ 7877282 w 10505529"/>
              <a:gd name="connsiteY39957" fmla="*/ 682505 h 7458372"/>
              <a:gd name="connsiteX39958" fmla="*/ 7876350 w 10505529"/>
              <a:gd name="connsiteY39958" fmla="*/ 677313 h 7458372"/>
              <a:gd name="connsiteX39959" fmla="*/ 7873687 w 10505529"/>
              <a:gd name="connsiteY39959" fmla="*/ 673054 h 7458372"/>
              <a:gd name="connsiteX39960" fmla="*/ 7869694 w 10505529"/>
              <a:gd name="connsiteY39960" fmla="*/ 670390 h 7458372"/>
              <a:gd name="connsiteX39961" fmla="*/ 7864636 w 10505529"/>
              <a:gd name="connsiteY39961" fmla="*/ 669325 h 7458372"/>
              <a:gd name="connsiteX39962" fmla="*/ 7646991 w 10505529"/>
              <a:gd name="connsiteY39962" fmla="*/ 669325 h 7458372"/>
              <a:gd name="connsiteX39963" fmla="*/ 7637007 w 10505529"/>
              <a:gd name="connsiteY39963" fmla="*/ 672920 h 7458372"/>
              <a:gd name="connsiteX39964" fmla="*/ 7633413 w 10505529"/>
              <a:gd name="connsiteY39964" fmla="*/ 682372 h 7458372"/>
              <a:gd name="connsiteX39965" fmla="*/ 7637007 w 10505529"/>
              <a:gd name="connsiteY39965" fmla="*/ 691956 h 7458372"/>
              <a:gd name="connsiteX39966" fmla="*/ 7646991 w 10505529"/>
              <a:gd name="connsiteY39966" fmla="*/ 695417 h 7458372"/>
              <a:gd name="connsiteX39967" fmla="*/ 7652315 w 10505529"/>
              <a:gd name="connsiteY39967" fmla="*/ 694485 h 7458372"/>
              <a:gd name="connsiteX39968" fmla="*/ 7656042 w 10505529"/>
              <a:gd name="connsiteY39968" fmla="*/ 692089 h 7458372"/>
              <a:gd name="connsiteX39969" fmla="*/ 7658705 w 10505529"/>
              <a:gd name="connsiteY39969" fmla="*/ 687963 h 7458372"/>
              <a:gd name="connsiteX39970" fmla="*/ 7659769 w 10505529"/>
              <a:gd name="connsiteY39970" fmla="*/ 682505 h 7458372"/>
              <a:gd name="connsiteX39971" fmla="*/ 7658705 w 10505529"/>
              <a:gd name="connsiteY39971" fmla="*/ 677313 h 7458372"/>
              <a:gd name="connsiteX39972" fmla="*/ 7656042 w 10505529"/>
              <a:gd name="connsiteY39972" fmla="*/ 673054 h 7458372"/>
              <a:gd name="connsiteX39973" fmla="*/ 7652049 w 10505529"/>
              <a:gd name="connsiteY39973" fmla="*/ 670391 h 7458372"/>
              <a:gd name="connsiteX39974" fmla="*/ 7646991 w 10505529"/>
              <a:gd name="connsiteY39974" fmla="*/ 669325 h 7458372"/>
              <a:gd name="connsiteX39975" fmla="*/ 8082281 w 10505529"/>
              <a:gd name="connsiteY39975" fmla="*/ 669325 h 7458372"/>
              <a:gd name="connsiteX39976" fmla="*/ 8072297 w 10505529"/>
              <a:gd name="connsiteY39976" fmla="*/ 672919 h 7458372"/>
              <a:gd name="connsiteX39977" fmla="*/ 8068703 w 10505529"/>
              <a:gd name="connsiteY39977" fmla="*/ 682372 h 7458372"/>
              <a:gd name="connsiteX39978" fmla="*/ 8072297 w 10505529"/>
              <a:gd name="connsiteY39978" fmla="*/ 691956 h 7458372"/>
              <a:gd name="connsiteX39979" fmla="*/ 8082281 w 10505529"/>
              <a:gd name="connsiteY39979" fmla="*/ 695417 h 7458372"/>
              <a:gd name="connsiteX39980" fmla="*/ 8087605 w 10505529"/>
              <a:gd name="connsiteY39980" fmla="*/ 694485 h 7458372"/>
              <a:gd name="connsiteX39981" fmla="*/ 8091332 w 10505529"/>
              <a:gd name="connsiteY39981" fmla="*/ 692089 h 7458372"/>
              <a:gd name="connsiteX39982" fmla="*/ 8093994 w 10505529"/>
              <a:gd name="connsiteY39982" fmla="*/ 687963 h 7458372"/>
              <a:gd name="connsiteX39983" fmla="*/ 8094926 w 10505529"/>
              <a:gd name="connsiteY39983" fmla="*/ 682505 h 7458372"/>
              <a:gd name="connsiteX39984" fmla="*/ 8093994 w 10505529"/>
              <a:gd name="connsiteY39984" fmla="*/ 677312 h 7458372"/>
              <a:gd name="connsiteX39985" fmla="*/ 8091332 w 10505529"/>
              <a:gd name="connsiteY39985" fmla="*/ 673053 h 7458372"/>
              <a:gd name="connsiteX39986" fmla="*/ 8087338 w 10505529"/>
              <a:gd name="connsiteY39986" fmla="*/ 670390 h 7458372"/>
              <a:gd name="connsiteX39987" fmla="*/ 8082281 w 10505529"/>
              <a:gd name="connsiteY39987" fmla="*/ 669325 h 7458372"/>
              <a:gd name="connsiteX39988" fmla="*/ 8299793 w 10505529"/>
              <a:gd name="connsiteY39988" fmla="*/ 669325 h 7458372"/>
              <a:gd name="connsiteX39989" fmla="*/ 8289809 w 10505529"/>
              <a:gd name="connsiteY39989" fmla="*/ 672919 h 7458372"/>
              <a:gd name="connsiteX39990" fmla="*/ 8286215 w 10505529"/>
              <a:gd name="connsiteY39990" fmla="*/ 682372 h 7458372"/>
              <a:gd name="connsiteX39991" fmla="*/ 8289809 w 10505529"/>
              <a:gd name="connsiteY39991" fmla="*/ 691956 h 7458372"/>
              <a:gd name="connsiteX39992" fmla="*/ 8299793 w 10505529"/>
              <a:gd name="connsiteY39992" fmla="*/ 695417 h 7458372"/>
              <a:gd name="connsiteX39993" fmla="*/ 8305118 w 10505529"/>
              <a:gd name="connsiteY39993" fmla="*/ 694485 h 7458372"/>
              <a:gd name="connsiteX39994" fmla="*/ 8308844 w 10505529"/>
              <a:gd name="connsiteY39994" fmla="*/ 692089 h 7458372"/>
              <a:gd name="connsiteX39995" fmla="*/ 8311507 w 10505529"/>
              <a:gd name="connsiteY39995" fmla="*/ 687963 h 7458372"/>
              <a:gd name="connsiteX39996" fmla="*/ 8312439 w 10505529"/>
              <a:gd name="connsiteY39996" fmla="*/ 682504 h 7458372"/>
              <a:gd name="connsiteX39997" fmla="*/ 8311507 w 10505529"/>
              <a:gd name="connsiteY39997" fmla="*/ 677312 h 7458372"/>
              <a:gd name="connsiteX39998" fmla="*/ 8308844 w 10505529"/>
              <a:gd name="connsiteY39998" fmla="*/ 673053 h 7458372"/>
              <a:gd name="connsiteX39999" fmla="*/ 8304851 w 10505529"/>
              <a:gd name="connsiteY39999" fmla="*/ 670390 h 7458372"/>
              <a:gd name="connsiteX40000" fmla="*/ 8299793 w 10505529"/>
              <a:gd name="connsiteY40000" fmla="*/ 669325 h 7458372"/>
              <a:gd name="connsiteX40001" fmla="*/ 8517438 w 10505529"/>
              <a:gd name="connsiteY40001" fmla="*/ 669325 h 7458372"/>
              <a:gd name="connsiteX40002" fmla="*/ 8507453 w 10505529"/>
              <a:gd name="connsiteY40002" fmla="*/ 672919 h 7458372"/>
              <a:gd name="connsiteX40003" fmla="*/ 8503860 w 10505529"/>
              <a:gd name="connsiteY40003" fmla="*/ 682372 h 7458372"/>
              <a:gd name="connsiteX40004" fmla="*/ 8507453 w 10505529"/>
              <a:gd name="connsiteY40004" fmla="*/ 691956 h 7458372"/>
              <a:gd name="connsiteX40005" fmla="*/ 8517438 w 10505529"/>
              <a:gd name="connsiteY40005" fmla="*/ 695417 h 7458372"/>
              <a:gd name="connsiteX40006" fmla="*/ 8522763 w 10505529"/>
              <a:gd name="connsiteY40006" fmla="*/ 694485 h 7458372"/>
              <a:gd name="connsiteX40007" fmla="*/ 8526490 w 10505529"/>
              <a:gd name="connsiteY40007" fmla="*/ 692089 h 7458372"/>
              <a:gd name="connsiteX40008" fmla="*/ 8529152 w 10505529"/>
              <a:gd name="connsiteY40008" fmla="*/ 687963 h 7458372"/>
              <a:gd name="connsiteX40009" fmla="*/ 8530084 w 10505529"/>
              <a:gd name="connsiteY40009" fmla="*/ 682504 h 7458372"/>
              <a:gd name="connsiteX40010" fmla="*/ 8529152 w 10505529"/>
              <a:gd name="connsiteY40010" fmla="*/ 677312 h 7458372"/>
              <a:gd name="connsiteX40011" fmla="*/ 8526490 w 10505529"/>
              <a:gd name="connsiteY40011" fmla="*/ 673053 h 7458372"/>
              <a:gd name="connsiteX40012" fmla="*/ 8522496 w 10505529"/>
              <a:gd name="connsiteY40012" fmla="*/ 670390 h 7458372"/>
              <a:gd name="connsiteX40013" fmla="*/ 8517438 w 10505529"/>
              <a:gd name="connsiteY40013" fmla="*/ 669325 h 7458372"/>
              <a:gd name="connsiteX40014" fmla="*/ 8735083 w 10505529"/>
              <a:gd name="connsiteY40014" fmla="*/ 669325 h 7458372"/>
              <a:gd name="connsiteX40015" fmla="*/ 8725098 w 10505529"/>
              <a:gd name="connsiteY40015" fmla="*/ 672919 h 7458372"/>
              <a:gd name="connsiteX40016" fmla="*/ 8721504 w 10505529"/>
              <a:gd name="connsiteY40016" fmla="*/ 682371 h 7458372"/>
              <a:gd name="connsiteX40017" fmla="*/ 8725098 w 10505529"/>
              <a:gd name="connsiteY40017" fmla="*/ 691955 h 7458372"/>
              <a:gd name="connsiteX40018" fmla="*/ 8735083 w 10505529"/>
              <a:gd name="connsiteY40018" fmla="*/ 695416 h 7458372"/>
              <a:gd name="connsiteX40019" fmla="*/ 8740407 w 10505529"/>
              <a:gd name="connsiteY40019" fmla="*/ 694484 h 7458372"/>
              <a:gd name="connsiteX40020" fmla="*/ 8744134 w 10505529"/>
              <a:gd name="connsiteY40020" fmla="*/ 692089 h 7458372"/>
              <a:gd name="connsiteX40021" fmla="*/ 8746797 w 10505529"/>
              <a:gd name="connsiteY40021" fmla="*/ 687962 h 7458372"/>
              <a:gd name="connsiteX40022" fmla="*/ 8747862 w 10505529"/>
              <a:gd name="connsiteY40022" fmla="*/ 682504 h 7458372"/>
              <a:gd name="connsiteX40023" fmla="*/ 8746797 w 10505529"/>
              <a:gd name="connsiteY40023" fmla="*/ 677312 h 7458372"/>
              <a:gd name="connsiteX40024" fmla="*/ 8744134 w 10505529"/>
              <a:gd name="connsiteY40024" fmla="*/ 673053 h 7458372"/>
              <a:gd name="connsiteX40025" fmla="*/ 8740141 w 10505529"/>
              <a:gd name="connsiteY40025" fmla="*/ 670390 h 7458372"/>
              <a:gd name="connsiteX40026" fmla="*/ 8735083 w 10505529"/>
              <a:gd name="connsiteY40026" fmla="*/ 669325 h 7458372"/>
              <a:gd name="connsiteX40027" fmla="*/ 8952728 w 10505529"/>
              <a:gd name="connsiteY40027" fmla="*/ 669325 h 7458372"/>
              <a:gd name="connsiteX40028" fmla="*/ 8942743 w 10505529"/>
              <a:gd name="connsiteY40028" fmla="*/ 672919 h 7458372"/>
              <a:gd name="connsiteX40029" fmla="*/ 8939150 w 10505529"/>
              <a:gd name="connsiteY40029" fmla="*/ 682371 h 7458372"/>
              <a:gd name="connsiteX40030" fmla="*/ 8942743 w 10505529"/>
              <a:gd name="connsiteY40030" fmla="*/ 691955 h 7458372"/>
              <a:gd name="connsiteX40031" fmla="*/ 8952728 w 10505529"/>
              <a:gd name="connsiteY40031" fmla="*/ 695416 h 7458372"/>
              <a:gd name="connsiteX40032" fmla="*/ 8958053 w 10505529"/>
              <a:gd name="connsiteY40032" fmla="*/ 694484 h 7458372"/>
              <a:gd name="connsiteX40033" fmla="*/ 8961780 w 10505529"/>
              <a:gd name="connsiteY40033" fmla="*/ 692089 h 7458372"/>
              <a:gd name="connsiteX40034" fmla="*/ 8964442 w 10505529"/>
              <a:gd name="connsiteY40034" fmla="*/ 687962 h 7458372"/>
              <a:gd name="connsiteX40035" fmla="*/ 8965507 w 10505529"/>
              <a:gd name="connsiteY40035" fmla="*/ 682504 h 7458372"/>
              <a:gd name="connsiteX40036" fmla="*/ 8964442 w 10505529"/>
              <a:gd name="connsiteY40036" fmla="*/ 677312 h 7458372"/>
              <a:gd name="connsiteX40037" fmla="*/ 8961780 w 10505529"/>
              <a:gd name="connsiteY40037" fmla="*/ 673053 h 7458372"/>
              <a:gd name="connsiteX40038" fmla="*/ 8957786 w 10505529"/>
              <a:gd name="connsiteY40038" fmla="*/ 670390 h 7458372"/>
              <a:gd name="connsiteX40039" fmla="*/ 8952728 w 10505529"/>
              <a:gd name="connsiteY40039" fmla="*/ 669325 h 7458372"/>
              <a:gd name="connsiteX40040" fmla="*/ 9170374 w 10505529"/>
              <a:gd name="connsiteY40040" fmla="*/ 669325 h 7458372"/>
              <a:gd name="connsiteX40041" fmla="*/ 9160389 w 10505529"/>
              <a:gd name="connsiteY40041" fmla="*/ 672919 h 7458372"/>
              <a:gd name="connsiteX40042" fmla="*/ 9156795 w 10505529"/>
              <a:gd name="connsiteY40042" fmla="*/ 682371 h 7458372"/>
              <a:gd name="connsiteX40043" fmla="*/ 9160389 w 10505529"/>
              <a:gd name="connsiteY40043" fmla="*/ 691955 h 7458372"/>
              <a:gd name="connsiteX40044" fmla="*/ 9170374 w 10505529"/>
              <a:gd name="connsiteY40044" fmla="*/ 695416 h 7458372"/>
              <a:gd name="connsiteX40045" fmla="*/ 9175698 w 10505529"/>
              <a:gd name="connsiteY40045" fmla="*/ 694484 h 7458372"/>
              <a:gd name="connsiteX40046" fmla="*/ 9179425 w 10505529"/>
              <a:gd name="connsiteY40046" fmla="*/ 692088 h 7458372"/>
              <a:gd name="connsiteX40047" fmla="*/ 9182088 w 10505529"/>
              <a:gd name="connsiteY40047" fmla="*/ 687962 h 7458372"/>
              <a:gd name="connsiteX40048" fmla="*/ 9183152 w 10505529"/>
              <a:gd name="connsiteY40048" fmla="*/ 682504 h 7458372"/>
              <a:gd name="connsiteX40049" fmla="*/ 9182088 w 10505529"/>
              <a:gd name="connsiteY40049" fmla="*/ 677312 h 7458372"/>
              <a:gd name="connsiteX40050" fmla="*/ 9179425 w 10505529"/>
              <a:gd name="connsiteY40050" fmla="*/ 673053 h 7458372"/>
              <a:gd name="connsiteX40051" fmla="*/ 9175432 w 10505529"/>
              <a:gd name="connsiteY40051" fmla="*/ 670390 h 7458372"/>
              <a:gd name="connsiteX40052" fmla="*/ 9170374 w 10505529"/>
              <a:gd name="connsiteY40052" fmla="*/ 669325 h 7458372"/>
              <a:gd name="connsiteX40053" fmla="*/ 9387885 w 10505529"/>
              <a:gd name="connsiteY40053" fmla="*/ 669325 h 7458372"/>
              <a:gd name="connsiteX40054" fmla="*/ 9377900 w 10505529"/>
              <a:gd name="connsiteY40054" fmla="*/ 672919 h 7458372"/>
              <a:gd name="connsiteX40055" fmla="*/ 9374307 w 10505529"/>
              <a:gd name="connsiteY40055" fmla="*/ 682371 h 7458372"/>
              <a:gd name="connsiteX40056" fmla="*/ 9377900 w 10505529"/>
              <a:gd name="connsiteY40056" fmla="*/ 691955 h 7458372"/>
              <a:gd name="connsiteX40057" fmla="*/ 9387885 w 10505529"/>
              <a:gd name="connsiteY40057" fmla="*/ 695416 h 7458372"/>
              <a:gd name="connsiteX40058" fmla="*/ 9393210 w 10505529"/>
              <a:gd name="connsiteY40058" fmla="*/ 694484 h 7458372"/>
              <a:gd name="connsiteX40059" fmla="*/ 9396937 w 10505529"/>
              <a:gd name="connsiteY40059" fmla="*/ 692088 h 7458372"/>
              <a:gd name="connsiteX40060" fmla="*/ 9399599 w 10505529"/>
              <a:gd name="connsiteY40060" fmla="*/ 687962 h 7458372"/>
              <a:gd name="connsiteX40061" fmla="*/ 9400664 w 10505529"/>
              <a:gd name="connsiteY40061" fmla="*/ 682504 h 7458372"/>
              <a:gd name="connsiteX40062" fmla="*/ 9399599 w 10505529"/>
              <a:gd name="connsiteY40062" fmla="*/ 677312 h 7458372"/>
              <a:gd name="connsiteX40063" fmla="*/ 9396937 w 10505529"/>
              <a:gd name="connsiteY40063" fmla="*/ 673053 h 7458372"/>
              <a:gd name="connsiteX40064" fmla="*/ 9392943 w 10505529"/>
              <a:gd name="connsiteY40064" fmla="*/ 670390 h 7458372"/>
              <a:gd name="connsiteX40065" fmla="*/ 9387885 w 10505529"/>
              <a:gd name="connsiteY40065" fmla="*/ 669325 h 7458372"/>
              <a:gd name="connsiteX40066" fmla="*/ 9605531 w 10505529"/>
              <a:gd name="connsiteY40066" fmla="*/ 669325 h 7458372"/>
              <a:gd name="connsiteX40067" fmla="*/ 9595546 w 10505529"/>
              <a:gd name="connsiteY40067" fmla="*/ 672919 h 7458372"/>
              <a:gd name="connsiteX40068" fmla="*/ 9591952 w 10505529"/>
              <a:gd name="connsiteY40068" fmla="*/ 682371 h 7458372"/>
              <a:gd name="connsiteX40069" fmla="*/ 9595546 w 10505529"/>
              <a:gd name="connsiteY40069" fmla="*/ 691955 h 7458372"/>
              <a:gd name="connsiteX40070" fmla="*/ 9605531 w 10505529"/>
              <a:gd name="connsiteY40070" fmla="*/ 695416 h 7458372"/>
              <a:gd name="connsiteX40071" fmla="*/ 9610855 w 10505529"/>
              <a:gd name="connsiteY40071" fmla="*/ 694484 h 7458372"/>
              <a:gd name="connsiteX40072" fmla="*/ 9614582 w 10505529"/>
              <a:gd name="connsiteY40072" fmla="*/ 692088 h 7458372"/>
              <a:gd name="connsiteX40073" fmla="*/ 9617245 w 10505529"/>
              <a:gd name="connsiteY40073" fmla="*/ 687962 h 7458372"/>
              <a:gd name="connsiteX40074" fmla="*/ 9618309 w 10505529"/>
              <a:gd name="connsiteY40074" fmla="*/ 682504 h 7458372"/>
              <a:gd name="connsiteX40075" fmla="*/ 9617245 w 10505529"/>
              <a:gd name="connsiteY40075" fmla="*/ 677312 h 7458372"/>
              <a:gd name="connsiteX40076" fmla="*/ 9614582 w 10505529"/>
              <a:gd name="connsiteY40076" fmla="*/ 673053 h 7458372"/>
              <a:gd name="connsiteX40077" fmla="*/ 9610589 w 10505529"/>
              <a:gd name="connsiteY40077" fmla="*/ 670390 h 7458372"/>
              <a:gd name="connsiteX40078" fmla="*/ 9605531 w 10505529"/>
              <a:gd name="connsiteY40078" fmla="*/ 669325 h 7458372"/>
              <a:gd name="connsiteX40079" fmla="*/ 9823176 w 10505529"/>
              <a:gd name="connsiteY40079" fmla="*/ 669324 h 7458372"/>
              <a:gd name="connsiteX40080" fmla="*/ 9813191 w 10505529"/>
              <a:gd name="connsiteY40080" fmla="*/ 672919 h 7458372"/>
              <a:gd name="connsiteX40081" fmla="*/ 9809597 w 10505529"/>
              <a:gd name="connsiteY40081" fmla="*/ 682371 h 7458372"/>
              <a:gd name="connsiteX40082" fmla="*/ 9813191 w 10505529"/>
              <a:gd name="connsiteY40082" fmla="*/ 691955 h 7458372"/>
              <a:gd name="connsiteX40083" fmla="*/ 9823176 w 10505529"/>
              <a:gd name="connsiteY40083" fmla="*/ 695416 h 7458372"/>
              <a:gd name="connsiteX40084" fmla="*/ 9828501 w 10505529"/>
              <a:gd name="connsiteY40084" fmla="*/ 694484 h 7458372"/>
              <a:gd name="connsiteX40085" fmla="*/ 9832227 w 10505529"/>
              <a:gd name="connsiteY40085" fmla="*/ 692088 h 7458372"/>
              <a:gd name="connsiteX40086" fmla="*/ 9834890 w 10505529"/>
              <a:gd name="connsiteY40086" fmla="*/ 687962 h 7458372"/>
              <a:gd name="connsiteX40087" fmla="*/ 9835955 w 10505529"/>
              <a:gd name="connsiteY40087" fmla="*/ 682504 h 7458372"/>
              <a:gd name="connsiteX40088" fmla="*/ 9834890 w 10505529"/>
              <a:gd name="connsiteY40088" fmla="*/ 677312 h 7458372"/>
              <a:gd name="connsiteX40089" fmla="*/ 9832227 w 10505529"/>
              <a:gd name="connsiteY40089" fmla="*/ 673053 h 7458372"/>
              <a:gd name="connsiteX40090" fmla="*/ 9828234 w 10505529"/>
              <a:gd name="connsiteY40090" fmla="*/ 670390 h 7458372"/>
              <a:gd name="connsiteX40091" fmla="*/ 9823176 w 10505529"/>
              <a:gd name="connsiteY40091" fmla="*/ 669324 h 7458372"/>
              <a:gd name="connsiteX40092" fmla="*/ 10040820 w 10505529"/>
              <a:gd name="connsiteY40092" fmla="*/ 669324 h 7458372"/>
              <a:gd name="connsiteX40093" fmla="*/ 10030835 w 10505529"/>
              <a:gd name="connsiteY40093" fmla="*/ 672918 h 7458372"/>
              <a:gd name="connsiteX40094" fmla="*/ 10027242 w 10505529"/>
              <a:gd name="connsiteY40094" fmla="*/ 682371 h 7458372"/>
              <a:gd name="connsiteX40095" fmla="*/ 10030835 w 10505529"/>
              <a:gd name="connsiteY40095" fmla="*/ 691955 h 7458372"/>
              <a:gd name="connsiteX40096" fmla="*/ 10040820 w 10505529"/>
              <a:gd name="connsiteY40096" fmla="*/ 695416 h 7458372"/>
              <a:gd name="connsiteX40097" fmla="*/ 10046145 w 10505529"/>
              <a:gd name="connsiteY40097" fmla="*/ 694484 h 7458372"/>
              <a:gd name="connsiteX40098" fmla="*/ 10049872 w 10505529"/>
              <a:gd name="connsiteY40098" fmla="*/ 692088 h 7458372"/>
              <a:gd name="connsiteX40099" fmla="*/ 10052534 w 10505529"/>
              <a:gd name="connsiteY40099" fmla="*/ 687962 h 7458372"/>
              <a:gd name="connsiteX40100" fmla="*/ 10053599 w 10505529"/>
              <a:gd name="connsiteY40100" fmla="*/ 682504 h 7458372"/>
              <a:gd name="connsiteX40101" fmla="*/ 10052534 w 10505529"/>
              <a:gd name="connsiteY40101" fmla="*/ 677311 h 7458372"/>
              <a:gd name="connsiteX40102" fmla="*/ 10049872 w 10505529"/>
              <a:gd name="connsiteY40102" fmla="*/ 673053 h 7458372"/>
              <a:gd name="connsiteX40103" fmla="*/ 10045878 w 10505529"/>
              <a:gd name="connsiteY40103" fmla="*/ 670389 h 7458372"/>
              <a:gd name="connsiteX40104" fmla="*/ 10040820 w 10505529"/>
              <a:gd name="connsiteY40104" fmla="*/ 669324 h 7458372"/>
              <a:gd name="connsiteX40105" fmla="*/ 10258466 w 10505529"/>
              <a:gd name="connsiteY40105" fmla="*/ 669324 h 7458372"/>
              <a:gd name="connsiteX40106" fmla="*/ 10248481 w 10505529"/>
              <a:gd name="connsiteY40106" fmla="*/ 672918 h 7458372"/>
              <a:gd name="connsiteX40107" fmla="*/ 10244887 w 10505529"/>
              <a:gd name="connsiteY40107" fmla="*/ 682371 h 7458372"/>
              <a:gd name="connsiteX40108" fmla="*/ 10248481 w 10505529"/>
              <a:gd name="connsiteY40108" fmla="*/ 691955 h 7458372"/>
              <a:gd name="connsiteX40109" fmla="*/ 10258466 w 10505529"/>
              <a:gd name="connsiteY40109" fmla="*/ 695416 h 7458372"/>
              <a:gd name="connsiteX40110" fmla="*/ 10263790 w 10505529"/>
              <a:gd name="connsiteY40110" fmla="*/ 694484 h 7458372"/>
              <a:gd name="connsiteX40111" fmla="*/ 10267517 w 10505529"/>
              <a:gd name="connsiteY40111" fmla="*/ 692088 h 7458372"/>
              <a:gd name="connsiteX40112" fmla="*/ 10270180 w 10505529"/>
              <a:gd name="connsiteY40112" fmla="*/ 687962 h 7458372"/>
              <a:gd name="connsiteX40113" fmla="*/ 10271112 w 10505529"/>
              <a:gd name="connsiteY40113" fmla="*/ 682504 h 7458372"/>
              <a:gd name="connsiteX40114" fmla="*/ 10270180 w 10505529"/>
              <a:gd name="connsiteY40114" fmla="*/ 677311 h 7458372"/>
              <a:gd name="connsiteX40115" fmla="*/ 10267517 w 10505529"/>
              <a:gd name="connsiteY40115" fmla="*/ 673053 h 7458372"/>
              <a:gd name="connsiteX40116" fmla="*/ 10263524 w 10505529"/>
              <a:gd name="connsiteY40116" fmla="*/ 670389 h 7458372"/>
              <a:gd name="connsiteX40117" fmla="*/ 10258466 w 10505529"/>
              <a:gd name="connsiteY40117" fmla="*/ 669324 h 7458372"/>
              <a:gd name="connsiteX40118" fmla="*/ 10475977 w 10505529"/>
              <a:gd name="connsiteY40118" fmla="*/ 669324 h 7458372"/>
              <a:gd name="connsiteX40119" fmla="*/ 10465992 w 10505529"/>
              <a:gd name="connsiteY40119" fmla="*/ 672918 h 7458372"/>
              <a:gd name="connsiteX40120" fmla="*/ 10462399 w 10505529"/>
              <a:gd name="connsiteY40120" fmla="*/ 682371 h 7458372"/>
              <a:gd name="connsiteX40121" fmla="*/ 10465992 w 10505529"/>
              <a:gd name="connsiteY40121" fmla="*/ 691955 h 7458372"/>
              <a:gd name="connsiteX40122" fmla="*/ 10475977 w 10505529"/>
              <a:gd name="connsiteY40122" fmla="*/ 695416 h 7458372"/>
              <a:gd name="connsiteX40123" fmla="*/ 10481302 w 10505529"/>
              <a:gd name="connsiteY40123" fmla="*/ 694484 h 7458372"/>
              <a:gd name="connsiteX40124" fmla="*/ 10485029 w 10505529"/>
              <a:gd name="connsiteY40124" fmla="*/ 692088 h 7458372"/>
              <a:gd name="connsiteX40125" fmla="*/ 10487691 w 10505529"/>
              <a:gd name="connsiteY40125" fmla="*/ 687962 h 7458372"/>
              <a:gd name="connsiteX40126" fmla="*/ 10488623 w 10505529"/>
              <a:gd name="connsiteY40126" fmla="*/ 682503 h 7458372"/>
              <a:gd name="connsiteX40127" fmla="*/ 10487691 w 10505529"/>
              <a:gd name="connsiteY40127" fmla="*/ 677311 h 7458372"/>
              <a:gd name="connsiteX40128" fmla="*/ 10485029 w 10505529"/>
              <a:gd name="connsiteY40128" fmla="*/ 673052 h 7458372"/>
              <a:gd name="connsiteX40129" fmla="*/ 10481035 w 10505529"/>
              <a:gd name="connsiteY40129" fmla="*/ 670389 h 7458372"/>
              <a:gd name="connsiteX40130" fmla="*/ 10475977 w 10505529"/>
              <a:gd name="connsiteY40130" fmla="*/ 669324 h 7458372"/>
              <a:gd name="connsiteX40131" fmla="*/ 30240 w 10505529"/>
              <a:gd name="connsiteY40131" fmla="*/ 652823 h 7458372"/>
              <a:gd name="connsiteX40132" fmla="*/ 41955 w 10505529"/>
              <a:gd name="connsiteY40132" fmla="*/ 655352 h 7458372"/>
              <a:gd name="connsiteX40133" fmla="*/ 51273 w 10505529"/>
              <a:gd name="connsiteY40133" fmla="*/ 661742 h 7458372"/>
              <a:gd name="connsiteX40134" fmla="*/ 57396 w 10505529"/>
              <a:gd name="connsiteY40134" fmla="*/ 671193 h 7458372"/>
              <a:gd name="connsiteX40135" fmla="*/ 59659 w 10505529"/>
              <a:gd name="connsiteY40135" fmla="*/ 682641 h 7458372"/>
              <a:gd name="connsiteX40136" fmla="*/ 57396 w 10505529"/>
              <a:gd name="connsiteY40136" fmla="*/ 694356 h 7458372"/>
              <a:gd name="connsiteX40137" fmla="*/ 51273 w 10505529"/>
              <a:gd name="connsiteY40137" fmla="*/ 703674 h 7458372"/>
              <a:gd name="connsiteX40138" fmla="*/ 41955 w 10505529"/>
              <a:gd name="connsiteY40138" fmla="*/ 709931 h 7458372"/>
              <a:gd name="connsiteX40139" fmla="*/ 30240 w 10505529"/>
              <a:gd name="connsiteY40139" fmla="*/ 712194 h 7458372"/>
              <a:gd name="connsiteX40140" fmla="*/ 8409 w 10505529"/>
              <a:gd name="connsiteY40140" fmla="*/ 703674 h 7458372"/>
              <a:gd name="connsiteX40141" fmla="*/ 23 w 10505529"/>
              <a:gd name="connsiteY40141" fmla="*/ 682508 h 7458372"/>
              <a:gd name="connsiteX40142" fmla="*/ 8409 w 10505529"/>
              <a:gd name="connsiteY40142" fmla="*/ 661475 h 7458372"/>
              <a:gd name="connsiteX40143" fmla="*/ 30240 w 10505529"/>
              <a:gd name="connsiteY40143" fmla="*/ 652823 h 7458372"/>
              <a:gd name="connsiteX40144" fmla="*/ 465528 w 10505529"/>
              <a:gd name="connsiteY40144" fmla="*/ 652823 h 7458372"/>
              <a:gd name="connsiteX40145" fmla="*/ 477244 w 10505529"/>
              <a:gd name="connsiteY40145" fmla="*/ 655352 h 7458372"/>
              <a:gd name="connsiteX40146" fmla="*/ 486561 w 10505529"/>
              <a:gd name="connsiteY40146" fmla="*/ 661742 h 7458372"/>
              <a:gd name="connsiteX40147" fmla="*/ 492685 w 10505529"/>
              <a:gd name="connsiteY40147" fmla="*/ 671193 h 7458372"/>
              <a:gd name="connsiteX40148" fmla="*/ 494948 w 10505529"/>
              <a:gd name="connsiteY40148" fmla="*/ 682641 h 7458372"/>
              <a:gd name="connsiteX40149" fmla="*/ 492685 w 10505529"/>
              <a:gd name="connsiteY40149" fmla="*/ 694355 h 7458372"/>
              <a:gd name="connsiteX40150" fmla="*/ 486561 w 10505529"/>
              <a:gd name="connsiteY40150" fmla="*/ 703673 h 7458372"/>
              <a:gd name="connsiteX40151" fmla="*/ 477244 w 10505529"/>
              <a:gd name="connsiteY40151" fmla="*/ 709931 h 7458372"/>
              <a:gd name="connsiteX40152" fmla="*/ 465528 w 10505529"/>
              <a:gd name="connsiteY40152" fmla="*/ 712194 h 7458372"/>
              <a:gd name="connsiteX40153" fmla="*/ 443697 w 10505529"/>
              <a:gd name="connsiteY40153" fmla="*/ 703673 h 7458372"/>
              <a:gd name="connsiteX40154" fmla="*/ 435311 w 10505529"/>
              <a:gd name="connsiteY40154" fmla="*/ 682508 h 7458372"/>
              <a:gd name="connsiteX40155" fmla="*/ 443697 w 10505529"/>
              <a:gd name="connsiteY40155" fmla="*/ 661475 h 7458372"/>
              <a:gd name="connsiteX40156" fmla="*/ 465528 w 10505529"/>
              <a:gd name="connsiteY40156" fmla="*/ 652823 h 7458372"/>
              <a:gd name="connsiteX40157" fmla="*/ 247884 w 10505529"/>
              <a:gd name="connsiteY40157" fmla="*/ 652823 h 7458372"/>
              <a:gd name="connsiteX40158" fmla="*/ 259599 w 10505529"/>
              <a:gd name="connsiteY40158" fmla="*/ 655352 h 7458372"/>
              <a:gd name="connsiteX40159" fmla="*/ 268917 w 10505529"/>
              <a:gd name="connsiteY40159" fmla="*/ 661742 h 7458372"/>
              <a:gd name="connsiteX40160" fmla="*/ 275040 w 10505529"/>
              <a:gd name="connsiteY40160" fmla="*/ 671193 h 7458372"/>
              <a:gd name="connsiteX40161" fmla="*/ 277303 w 10505529"/>
              <a:gd name="connsiteY40161" fmla="*/ 682641 h 7458372"/>
              <a:gd name="connsiteX40162" fmla="*/ 275040 w 10505529"/>
              <a:gd name="connsiteY40162" fmla="*/ 694355 h 7458372"/>
              <a:gd name="connsiteX40163" fmla="*/ 268917 w 10505529"/>
              <a:gd name="connsiteY40163" fmla="*/ 703673 h 7458372"/>
              <a:gd name="connsiteX40164" fmla="*/ 259599 w 10505529"/>
              <a:gd name="connsiteY40164" fmla="*/ 709931 h 7458372"/>
              <a:gd name="connsiteX40165" fmla="*/ 247884 w 10505529"/>
              <a:gd name="connsiteY40165" fmla="*/ 712194 h 7458372"/>
              <a:gd name="connsiteX40166" fmla="*/ 226053 w 10505529"/>
              <a:gd name="connsiteY40166" fmla="*/ 703673 h 7458372"/>
              <a:gd name="connsiteX40167" fmla="*/ 217667 w 10505529"/>
              <a:gd name="connsiteY40167" fmla="*/ 682508 h 7458372"/>
              <a:gd name="connsiteX40168" fmla="*/ 226053 w 10505529"/>
              <a:gd name="connsiteY40168" fmla="*/ 661475 h 7458372"/>
              <a:gd name="connsiteX40169" fmla="*/ 247884 w 10505529"/>
              <a:gd name="connsiteY40169" fmla="*/ 652823 h 7458372"/>
              <a:gd name="connsiteX40170" fmla="*/ 683173 w 10505529"/>
              <a:gd name="connsiteY40170" fmla="*/ 652823 h 7458372"/>
              <a:gd name="connsiteX40171" fmla="*/ 694888 w 10505529"/>
              <a:gd name="connsiteY40171" fmla="*/ 655351 h 7458372"/>
              <a:gd name="connsiteX40172" fmla="*/ 704206 w 10505529"/>
              <a:gd name="connsiteY40172" fmla="*/ 661742 h 7458372"/>
              <a:gd name="connsiteX40173" fmla="*/ 710329 w 10505529"/>
              <a:gd name="connsiteY40173" fmla="*/ 671193 h 7458372"/>
              <a:gd name="connsiteX40174" fmla="*/ 712592 w 10505529"/>
              <a:gd name="connsiteY40174" fmla="*/ 682641 h 7458372"/>
              <a:gd name="connsiteX40175" fmla="*/ 710329 w 10505529"/>
              <a:gd name="connsiteY40175" fmla="*/ 694355 h 7458372"/>
              <a:gd name="connsiteX40176" fmla="*/ 704206 w 10505529"/>
              <a:gd name="connsiteY40176" fmla="*/ 703673 h 7458372"/>
              <a:gd name="connsiteX40177" fmla="*/ 694888 w 10505529"/>
              <a:gd name="connsiteY40177" fmla="*/ 709931 h 7458372"/>
              <a:gd name="connsiteX40178" fmla="*/ 683173 w 10505529"/>
              <a:gd name="connsiteY40178" fmla="*/ 712194 h 7458372"/>
              <a:gd name="connsiteX40179" fmla="*/ 661341 w 10505529"/>
              <a:gd name="connsiteY40179" fmla="*/ 703673 h 7458372"/>
              <a:gd name="connsiteX40180" fmla="*/ 652955 w 10505529"/>
              <a:gd name="connsiteY40180" fmla="*/ 682508 h 7458372"/>
              <a:gd name="connsiteX40181" fmla="*/ 661341 w 10505529"/>
              <a:gd name="connsiteY40181" fmla="*/ 661475 h 7458372"/>
              <a:gd name="connsiteX40182" fmla="*/ 683173 w 10505529"/>
              <a:gd name="connsiteY40182" fmla="*/ 652823 h 7458372"/>
              <a:gd name="connsiteX40183" fmla="*/ 900817 w 10505529"/>
              <a:gd name="connsiteY40183" fmla="*/ 652822 h 7458372"/>
              <a:gd name="connsiteX40184" fmla="*/ 912532 w 10505529"/>
              <a:gd name="connsiteY40184" fmla="*/ 655351 h 7458372"/>
              <a:gd name="connsiteX40185" fmla="*/ 921850 w 10505529"/>
              <a:gd name="connsiteY40185" fmla="*/ 661742 h 7458372"/>
              <a:gd name="connsiteX40186" fmla="*/ 927973 w 10505529"/>
              <a:gd name="connsiteY40186" fmla="*/ 671193 h 7458372"/>
              <a:gd name="connsiteX40187" fmla="*/ 930236 w 10505529"/>
              <a:gd name="connsiteY40187" fmla="*/ 682641 h 7458372"/>
              <a:gd name="connsiteX40188" fmla="*/ 927973 w 10505529"/>
              <a:gd name="connsiteY40188" fmla="*/ 694355 h 7458372"/>
              <a:gd name="connsiteX40189" fmla="*/ 921850 w 10505529"/>
              <a:gd name="connsiteY40189" fmla="*/ 703673 h 7458372"/>
              <a:gd name="connsiteX40190" fmla="*/ 912532 w 10505529"/>
              <a:gd name="connsiteY40190" fmla="*/ 709930 h 7458372"/>
              <a:gd name="connsiteX40191" fmla="*/ 900817 w 10505529"/>
              <a:gd name="connsiteY40191" fmla="*/ 712193 h 7458372"/>
              <a:gd name="connsiteX40192" fmla="*/ 878986 w 10505529"/>
              <a:gd name="connsiteY40192" fmla="*/ 703673 h 7458372"/>
              <a:gd name="connsiteX40193" fmla="*/ 870600 w 10505529"/>
              <a:gd name="connsiteY40193" fmla="*/ 682508 h 7458372"/>
              <a:gd name="connsiteX40194" fmla="*/ 878986 w 10505529"/>
              <a:gd name="connsiteY40194" fmla="*/ 661475 h 7458372"/>
              <a:gd name="connsiteX40195" fmla="*/ 900817 w 10505529"/>
              <a:gd name="connsiteY40195" fmla="*/ 652822 h 7458372"/>
              <a:gd name="connsiteX40196" fmla="*/ 1118329 w 10505529"/>
              <a:gd name="connsiteY40196" fmla="*/ 652822 h 7458372"/>
              <a:gd name="connsiteX40197" fmla="*/ 1130045 w 10505529"/>
              <a:gd name="connsiteY40197" fmla="*/ 655351 h 7458372"/>
              <a:gd name="connsiteX40198" fmla="*/ 1139363 w 10505529"/>
              <a:gd name="connsiteY40198" fmla="*/ 661742 h 7458372"/>
              <a:gd name="connsiteX40199" fmla="*/ 1145485 w 10505529"/>
              <a:gd name="connsiteY40199" fmla="*/ 671193 h 7458372"/>
              <a:gd name="connsiteX40200" fmla="*/ 1147748 w 10505529"/>
              <a:gd name="connsiteY40200" fmla="*/ 682641 h 7458372"/>
              <a:gd name="connsiteX40201" fmla="*/ 1145485 w 10505529"/>
              <a:gd name="connsiteY40201" fmla="*/ 694355 h 7458372"/>
              <a:gd name="connsiteX40202" fmla="*/ 1139363 w 10505529"/>
              <a:gd name="connsiteY40202" fmla="*/ 703673 h 7458372"/>
              <a:gd name="connsiteX40203" fmla="*/ 1130045 w 10505529"/>
              <a:gd name="connsiteY40203" fmla="*/ 709930 h 7458372"/>
              <a:gd name="connsiteX40204" fmla="*/ 1118329 w 10505529"/>
              <a:gd name="connsiteY40204" fmla="*/ 712193 h 7458372"/>
              <a:gd name="connsiteX40205" fmla="*/ 1096497 w 10505529"/>
              <a:gd name="connsiteY40205" fmla="*/ 703673 h 7458372"/>
              <a:gd name="connsiteX40206" fmla="*/ 1088111 w 10505529"/>
              <a:gd name="connsiteY40206" fmla="*/ 682508 h 7458372"/>
              <a:gd name="connsiteX40207" fmla="*/ 1096497 w 10505529"/>
              <a:gd name="connsiteY40207" fmla="*/ 661474 h 7458372"/>
              <a:gd name="connsiteX40208" fmla="*/ 1118329 w 10505529"/>
              <a:gd name="connsiteY40208" fmla="*/ 652822 h 7458372"/>
              <a:gd name="connsiteX40209" fmla="*/ 1553619 w 10505529"/>
              <a:gd name="connsiteY40209" fmla="*/ 652822 h 7458372"/>
              <a:gd name="connsiteX40210" fmla="*/ 1565334 w 10505529"/>
              <a:gd name="connsiteY40210" fmla="*/ 655351 h 7458372"/>
              <a:gd name="connsiteX40211" fmla="*/ 1574652 w 10505529"/>
              <a:gd name="connsiteY40211" fmla="*/ 661741 h 7458372"/>
              <a:gd name="connsiteX40212" fmla="*/ 1580775 w 10505529"/>
              <a:gd name="connsiteY40212" fmla="*/ 671193 h 7458372"/>
              <a:gd name="connsiteX40213" fmla="*/ 1583038 w 10505529"/>
              <a:gd name="connsiteY40213" fmla="*/ 682641 h 7458372"/>
              <a:gd name="connsiteX40214" fmla="*/ 1580775 w 10505529"/>
              <a:gd name="connsiteY40214" fmla="*/ 694355 h 7458372"/>
              <a:gd name="connsiteX40215" fmla="*/ 1574652 w 10505529"/>
              <a:gd name="connsiteY40215" fmla="*/ 703673 h 7458372"/>
              <a:gd name="connsiteX40216" fmla="*/ 1565334 w 10505529"/>
              <a:gd name="connsiteY40216" fmla="*/ 709930 h 7458372"/>
              <a:gd name="connsiteX40217" fmla="*/ 1553619 w 10505529"/>
              <a:gd name="connsiteY40217" fmla="*/ 712193 h 7458372"/>
              <a:gd name="connsiteX40218" fmla="*/ 1531787 w 10505529"/>
              <a:gd name="connsiteY40218" fmla="*/ 703673 h 7458372"/>
              <a:gd name="connsiteX40219" fmla="*/ 1523401 w 10505529"/>
              <a:gd name="connsiteY40219" fmla="*/ 682508 h 7458372"/>
              <a:gd name="connsiteX40220" fmla="*/ 1531787 w 10505529"/>
              <a:gd name="connsiteY40220" fmla="*/ 661474 h 7458372"/>
              <a:gd name="connsiteX40221" fmla="*/ 1553619 w 10505529"/>
              <a:gd name="connsiteY40221" fmla="*/ 652822 h 7458372"/>
              <a:gd name="connsiteX40222" fmla="*/ 1335974 w 10505529"/>
              <a:gd name="connsiteY40222" fmla="*/ 652822 h 7458372"/>
              <a:gd name="connsiteX40223" fmla="*/ 1347689 w 10505529"/>
              <a:gd name="connsiteY40223" fmla="*/ 655351 h 7458372"/>
              <a:gd name="connsiteX40224" fmla="*/ 1357008 w 10505529"/>
              <a:gd name="connsiteY40224" fmla="*/ 661741 h 7458372"/>
              <a:gd name="connsiteX40225" fmla="*/ 1363130 w 10505529"/>
              <a:gd name="connsiteY40225" fmla="*/ 671193 h 7458372"/>
              <a:gd name="connsiteX40226" fmla="*/ 1365393 w 10505529"/>
              <a:gd name="connsiteY40226" fmla="*/ 682641 h 7458372"/>
              <a:gd name="connsiteX40227" fmla="*/ 1363130 w 10505529"/>
              <a:gd name="connsiteY40227" fmla="*/ 694355 h 7458372"/>
              <a:gd name="connsiteX40228" fmla="*/ 1357008 w 10505529"/>
              <a:gd name="connsiteY40228" fmla="*/ 703673 h 7458372"/>
              <a:gd name="connsiteX40229" fmla="*/ 1347689 w 10505529"/>
              <a:gd name="connsiteY40229" fmla="*/ 709930 h 7458372"/>
              <a:gd name="connsiteX40230" fmla="*/ 1335974 w 10505529"/>
              <a:gd name="connsiteY40230" fmla="*/ 712193 h 7458372"/>
              <a:gd name="connsiteX40231" fmla="*/ 1314142 w 10505529"/>
              <a:gd name="connsiteY40231" fmla="*/ 703673 h 7458372"/>
              <a:gd name="connsiteX40232" fmla="*/ 1305757 w 10505529"/>
              <a:gd name="connsiteY40232" fmla="*/ 682508 h 7458372"/>
              <a:gd name="connsiteX40233" fmla="*/ 1314142 w 10505529"/>
              <a:gd name="connsiteY40233" fmla="*/ 661474 h 7458372"/>
              <a:gd name="connsiteX40234" fmla="*/ 1335974 w 10505529"/>
              <a:gd name="connsiteY40234" fmla="*/ 652822 h 7458372"/>
              <a:gd name="connsiteX40235" fmla="*/ 1771263 w 10505529"/>
              <a:gd name="connsiteY40235" fmla="*/ 652822 h 7458372"/>
              <a:gd name="connsiteX40236" fmla="*/ 1782978 w 10505529"/>
              <a:gd name="connsiteY40236" fmla="*/ 655351 h 7458372"/>
              <a:gd name="connsiteX40237" fmla="*/ 1792296 w 10505529"/>
              <a:gd name="connsiteY40237" fmla="*/ 661741 h 7458372"/>
              <a:gd name="connsiteX40238" fmla="*/ 1798419 w 10505529"/>
              <a:gd name="connsiteY40238" fmla="*/ 671192 h 7458372"/>
              <a:gd name="connsiteX40239" fmla="*/ 1800682 w 10505529"/>
              <a:gd name="connsiteY40239" fmla="*/ 682641 h 7458372"/>
              <a:gd name="connsiteX40240" fmla="*/ 1798419 w 10505529"/>
              <a:gd name="connsiteY40240" fmla="*/ 694355 h 7458372"/>
              <a:gd name="connsiteX40241" fmla="*/ 1792296 w 10505529"/>
              <a:gd name="connsiteY40241" fmla="*/ 703673 h 7458372"/>
              <a:gd name="connsiteX40242" fmla="*/ 1782978 w 10505529"/>
              <a:gd name="connsiteY40242" fmla="*/ 709930 h 7458372"/>
              <a:gd name="connsiteX40243" fmla="*/ 1771263 w 10505529"/>
              <a:gd name="connsiteY40243" fmla="*/ 712193 h 7458372"/>
              <a:gd name="connsiteX40244" fmla="*/ 1749432 w 10505529"/>
              <a:gd name="connsiteY40244" fmla="*/ 703673 h 7458372"/>
              <a:gd name="connsiteX40245" fmla="*/ 1741046 w 10505529"/>
              <a:gd name="connsiteY40245" fmla="*/ 682508 h 7458372"/>
              <a:gd name="connsiteX40246" fmla="*/ 1749432 w 10505529"/>
              <a:gd name="connsiteY40246" fmla="*/ 661474 h 7458372"/>
              <a:gd name="connsiteX40247" fmla="*/ 1771263 w 10505529"/>
              <a:gd name="connsiteY40247" fmla="*/ 652822 h 7458372"/>
              <a:gd name="connsiteX40248" fmla="*/ 1988906 w 10505529"/>
              <a:gd name="connsiteY40248" fmla="*/ 652822 h 7458372"/>
              <a:gd name="connsiteX40249" fmla="*/ 2000622 w 10505529"/>
              <a:gd name="connsiteY40249" fmla="*/ 655351 h 7458372"/>
              <a:gd name="connsiteX40250" fmla="*/ 2009940 w 10505529"/>
              <a:gd name="connsiteY40250" fmla="*/ 661741 h 7458372"/>
              <a:gd name="connsiteX40251" fmla="*/ 2016063 w 10505529"/>
              <a:gd name="connsiteY40251" fmla="*/ 671192 h 7458372"/>
              <a:gd name="connsiteX40252" fmla="*/ 2018326 w 10505529"/>
              <a:gd name="connsiteY40252" fmla="*/ 682641 h 7458372"/>
              <a:gd name="connsiteX40253" fmla="*/ 2016063 w 10505529"/>
              <a:gd name="connsiteY40253" fmla="*/ 694355 h 7458372"/>
              <a:gd name="connsiteX40254" fmla="*/ 2009940 w 10505529"/>
              <a:gd name="connsiteY40254" fmla="*/ 703673 h 7458372"/>
              <a:gd name="connsiteX40255" fmla="*/ 2000622 w 10505529"/>
              <a:gd name="connsiteY40255" fmla="*/ 709930 h 7458372"/>
              <a:gd name="connsiteX40256" fmla="*/ 1988906 w 10505529"/>
              <a:gd name="connsiteY40256" fmla="*/ 712193 h 7458372"/>
              <a:gd name="connsiteX40257" fmla="*/ 1967075 w 10505529"/>
              <a:gd name="connsiteY40257" fmla="*/ 703673 h 7458372"/>
              <a:gd name="connsiteX40258" fmla="*/ 1958689 w 10505529"/>
              <a:gd name="connsiteY40258" fmla="*/ 682507 h 7458372"/>
              <a:gd name="connsiteX40259" fmla="*/ 1967075 w 10505529"/>
              <a:gd name="connsiteY40259" fmla="*/ 661474 h 7458372"/>
              <a:gd name="connsiteX40260" fmla="*/ 1988906 w 10505529"/>
              <a:gd name="connsiteY40260" fmla="*/ 652822 h 7458372"/>
              <a:gd name="connsiteX40261" fmla="*/ 2424067 w 10505529"/>
              <a:gd name="connsiteY40261" fmla="*/ 652822 h 7458372"/>
              <a:gd name="connsiteX40262" fmla="*/ 2435783 w 10505529"/>
              <a:gd name="connsiteY40262" fmla="*/ 655351 h 7458372"/>
              <a:gd name="connsiteX40263" fmla="*/ 2445101 w 10505529"/>
              <a:gd name="connsiteY40263" fmla="*/ 661741 h 7458372"/>
              <a:gd name="connsiteX40264" fmla="*/ 2451224 w 10505529"/>
              <a:gd name="connsiteY40264" fmla="*/ 671192 h 7458372"/>
              <a:gd name="connsiteX40265" fmla="*/ 2453487 w 10505529"/>
              <a:gd name="connsiteY40265" fmla="*/ 682640 h 7458372"/>
              <a:gd name="connsiteX40266" fmla="*/ 2451224 w 10505529"/>
              <a:gd name="connsiteY40266" fmla="*/ 694355 h 7458372"/>
              <a:gd name="connsiteX40267" fmla="*/ 2445101 w 10505529"/>
              <a:gd name="connsiteY40267" fmla="*/ 703673 h 7458372"/>
              <a:gd name="connsiteX40268" fmla="*/ 2435783 w 10505529"/>
              <a:gd name="connsiteY40268" fmla="*/ 709930 h 7458372"/>
              <a:gd name="connsiteX40269" fmla="*/ 2424067 w 10505529"/>
              <a:gd name="connsiteY40269" fmla="*/ 712193 h 7458372"/>
              <a:gd name="connsiteX40270" fmla="*/ 2402236 w 10505529"/>
              <a:gd name="connsiteY40270" fmla="*/ 703673 h 7458372"/>
              <a:gd name="connsiteX40271" fmla="*/ 2393849 w 10505529"/>
              <a:gd name="connsiteY40271" fmla="*/ 682507 h 7458372"/>
              <a:gd name="connsiteX40272" fmla="*/ 2402236 w 10505529"/>
              <a:gd name="connsiteY40272" fmla="*/ 661474 h 7458372"/>
              <a:gd name="connsiteX40273" fmla="*/ 2424067 w 10505529"/>
              <a:gd name="connsiteY40273" fmla="*/ 652822 h 7458372"/>
              <a:gd name="connsiteX40274" fmla="*/ 2206421 w 10505529"/>
              <a:gd name="connsiteY40274" fmla="*/ 652822 h 7458372"/>
              <a:gd name="connsiteX40275" fmla="*/ 2218136 w 10505529"/>
              <a:gd name="connsiteY40275" fmla="*/ 655351 h 7458372"/>
              <a:gd name="connsiteX40276" fmla="*/ 2227454 w 10505529"/>
              <a:gd name="connsiteY40276" fmla="*/ 661741 h 7458372"/>
              <a:gd name="connsiteX40277" fmla="*/ 2233577 w 10505529"/>
              <a:gd name="connsiteY40277" fmla="*/ 671192 h 7458372"/>
              <a:gd name="connsiteX40278" fmla="*/ 2235840 w 10505529"/>
              <a:gd name="connsiteY40278" fmla="*/ 682640 h 7458372"/>
              <a:gd name="connsiteX40279" fmla="*/ 2233577 w 10505529"/>
              <a:gd name="connsiteY40279" fmla="*/ 694355 h 7458372"/>
              <a:gd name="connsiteX40280" fmla="*/ 2227454 w 10505529"/>
              <a:gd name="connsiteY40280" fmla="*/ 703673 h 7458372"/>
              <a:gd name="connsiteX40281" fmla="*/ 2218136 w 10505529"/>
              <a:gd name="connsiteY40281" fmla="*/ 709930 h 7458372"/>
              <a:gd name="connsiteX40282" fmla="*/ 2206421 w 10505529"/>
              <a:gd name="connsiteY40282" fmla="*/ 712193 h 7458372"/>
              <a:gd name="connsiteX40283" fmla="*/ 2184589 w 10505529"/>
              <a:gd name="connsiteY40283" fmla="*/ 703673 h 7458372"/>
              <a:gd name="connsiteX40284" fmla="*/ 2176203 w 10505529"/>
              <a:gd name="connsiteY40284" fmla="*/ 682507 h 7458372"/>
              <a:gd name="connsiteX40285" fmla="*/ 2184589 w 10505529"/>
              <a:gd name="connsiteY40285" fmla="*/ 661474 h 7458372"/>
              <a:gd name="connsiteX40286" fmla="*/ 2206421 w 10505529"/>
              <a:gd name="connsiteY40286" fmla="*/ 652822 h 7458372"/>
              <a:gd name="connsiteX40287" fmla="*/ 2641715 w 10505529"/>
              <a:gd name="connsiteY40287" fmla="*/ 652822 h 7458372"/>
              <a:gd name="connsiteX40288" fmla="*/ 2653430 w 10505529"/>
              <a:gd name="connsiteY40288" fmla="*/ 655350 h 7458372"/>
              <a:gd name="connsiteX40289" fmla="*/ 2662748 w 10505529"/>
              <a:gd name="connsiteY40289" fmla="*/ 661741 h 7458372"/>
              <a:gd name="connsiteX40290" fmla="*/ 2668872 w 10505529"/>
              <a:gd name="connsiteY40290" fmla="*/ 671192 h 7458372"/>
              <a:gd name="connsiteX40291" fmla="*/ 2671135 w 10505529"/>
              <a:gd name="connsiteY40291" fmla="*/ 682640 h 7458372"/>
              <a:gd name="connsiteX40292" fmla="*/ 2668872 w 10505529"/>
              <a:gd name="connsiteY40292" fmla="*/ 694354 h 7458372"/>
              <a:gd name="connsiteX40293" fmla="*/ 2662748 w 10505529"/>
              <a:gd name="connsiteY40293" fmla="*/ 703673 h 7458372"/>
              <a:gd name="connsiteX40294" fmla="*/ 2653430 w 10505529"/>
              <a:gd name="connsiteY40294" fmla="*/ 709930 h 7458372"/>
              <a:gd name="connsiteX40295" fmla="*/ 2641715 w 10505529"/>
              <a:gd name="connsiteY40295" fmla="*/ 712193 h 7458372"/>
              <a:gd name="connsiteX40296" fmla="*/ 2619883 w 10505529"/>
              <a:gd name="connsiteY40296" fmla="*/ 703673 h 7458372"/>
              <a:gd name="connsiteX40297" fmla="*/ 2611497 w 10505529"/>
              <a:gd name="connsiteY40297" fmla="*/ 682507 h 7458372"/>
              <a:gd name="connsiteX40298" fmla="*/ 2619883 w 10505529"/>
              <a:gd name="connsiteY40298" fmla="*/ 661474 h 7458372"/>
              <a:gd name="connsiteX40299" fmla="*/ 2641715 w 10505529"/>
              <a:gd name="connsiteY40299" fmla="*/ 652822 h 7458372"/>
              <a:gd name="connsiteX40300" fmla="*/ 2859362 w 10505529"/>
              <a:gd name="connsiteY40300" fmla="*/ 652821 h 7458372"/>
              <a:gd name="connsiteX40301" fmla="*/ 2871210 w 10505529"/>
              <a:gd name="connsiteY40301" fmla="*/ 655350 h 7458372"/>
              <a:gd name="connsiteX40302" fmla="*/ 2880528 w 10505529"/>
              <a:gd name="connsiteY40302" fmla="*/ 661741 h 7458372"/>
              <a:gd name="connsiteX40303" fmla="*/ 2886652 w 10505529"/>
              <a:gd name="connsiteY40303" fmla="*/ 671192 h 7458372"/>
              <a:gd name="connsiteX40304" fmla="*/ 2888915 w 10505529"/>
              <a:gd name="connsiteY40304" fmla="*/ 682640 h 7458372"/>
              <a:gd name="connsiteX40305" fmla="*/ 2886652 w 10505529"/>
              <a:gd name="connsiteY40305" fmla="*/ 694354 h 7458372"/>
              <a:gd name="connsiteX40306" fmla="*/ 2880528 w 10505529"/>
              <a:gd name="connsiteY40306" fmla="*/ 703672 h 7458372"/>
              <a:gd name="connsiteX40307" fmla="*/ 2871210 w 10505529"/>
              <a:gd name="connsiteY40307" fmla="*/ 709929 h 7458372"/>
              <a:gd name="connsiteX40308" fmla="*/ 2859362 w 10505529"/>
              <a:gd name="connsiteY40308" fmla="*/ 712193 h 7458372"/>
              <a:gd name="connsiteX40309" fmla="*/ 2837531 w 10505529"/>
              <a:gd name="connsiteY40309" fmla="*/ 703672 h 7458372"/>
              <a:gd name="connsiteX40310" fmla="*/ 2829144 w 10505529"/>
              <a:gd name="connsiteY40310" fmla="*/ 682507 h 7458372"/>
              <a:gd name="connsiteX40311" fmla="*/ 2837531 w 10505529"/>
              <a:gd name="connsiteY40311" fmla="*/ 661474 h 7458372"/>
              <a:gd name="connsiteX40312" fmla="*/ 2859362 w 10505529"/>
              <a:gd name="connsiteY40312" fmla="*/ 652821 h 7458372"/>
              <a:gd name="connsiteX40313" fmla="*/ 3294656 w 10505529"/>
              <a:gd name="connsiteY40313" fmla="*/ 652821 h 7458372"/>
              <a:gd name="connsiteX40314" fmla="*/ 3306372 w 10505529"/>
              <a:gd name="connsiteY40314" fmla="*/ 655350 h 7458372"/>
              <a:gd name="connsiteX40315" fmla="*/ 3315690 w 10505529"/>
              <a:gd name="connsiteY40315" fmla="*/ 661741 h 7458372"/>
              <a:gd name="connsiteX40316" fmla="*/ 3321813 w 10505529"/>
              <a:gd name="connsiteY40316" fmla="*/ 671192 h 7458372"/>
              <a:gd name="connsiteX40317" fmla="*/ 3324076 w 10505529"/>
              <a:gd name="connsiteY40317" fmla="*/ 682640 h 7458372"/>
              <a:gd name="connsiteX40318" fmla="*/ 3321813 w 10505529"/>
              <a:gd name="connsiteY40318" fmla="*/ 694354 h 7458372"/>
              <a:gd name="connsiteX40319" fmla="*/ 3315690 w 10505529"/>
              <a:gd name="connsiteY40319" fmla="*/ 703672 h 7458372"/>
              <a:gd name="connsiteX40320" fmla="*/ 3306372 w 10505529"/>
              <a:gd name="connsiteY40320" fmla="*/ 709929 h 7458372"/>
              <a:gd name="connsiteX40321" fmla="*/ 3294656 w 10505529"/>
              <a:gd name="connsiteY40321" fmla="*/ 712192 h 7458372"/>
              <a:gd name="connsiteX40322" fmla="*/ 3272824 w 10505529"/>
              <a:gd name="connsiteY40322" fmla="*/ 703672 h 7458372"/>
              <a:gd name="connsiteX40323" fmla="*/ 3264438 w 10505529"/>
              <a:gd name="connsiteY40323" fmla="*/ 682507 h 7458372"/>
              <a:gd name="connsiteX40324" fmla="*/ 3272824 w 10505529"/>
              <a:gd name="connsiteY40324" fmla="*/ 661473 h 7458372"/>
              <a:gd name="connsiteX40325" fmla="*/ 3294656 w 10505529"/>
              <a:gd name="connsiteY40325" fmla="*/ 652821 h 7458372"/>
              <a:gd name="connsiteX40326" fmla="*/ 3077009 w 10505529"/>
              <a:gd name="connsiteY40326" fmla="*/ 652821 h 7458372"/>
              <a:gd name="connsiteX40327" fmla="*/ 3088724 w 10505529"/>
              <a:gd name="connsiteY40327" fmla="*/ 655350 h 7458372"/>
              <a:gd name="connsiteX40328" fmla="*/ 3098042 w 10505529"/>
              <a:gd name="connsiteY40328" fmla="*/ 661741 h 7458372"/>
              <a:gd name="connsiteX40329" fmla="*/ 3104166 w 10505529"/>
              <a:gd name="connsiteY40329" fmla="*/ 671192 h 7458372"/>
              <a:gd name="connsiteX40330" fmla="*/ 3106429 w 10505529"/>
              <a:gd name="connsiteY40330" fmla="*/ 682640 h 7458372"/>
              <a:gd name="connsiteX40331" fmla="*/ 3104166 w 10505529"/>
              <a:gd name="connsiteY40331" fmla="*/ 694354 h 7458372"/>
              <a:gd name="connsiteX40332" fmla="*/ 3098042 w 10505529"/>
              <a:gd name="connsiteY40332" fmla="*/ 703672 h 7458372"/>
              <a:gd name="connsiteX40333" fmla="*/ 3088724 w 10505529"/>
              <a:gd name="connsiteY40333" fmla="*/ 709929 h 7458372"/>
              <a:gd name="connsiteX40334" fmla="*/ 3077009 w 10505529"/>
              <a:gd name="connsiteY40334" fmla="*/ 712192 h 7458372"/>
              <a:gd name="connsiteX40335" fmla="*/ 3055177 w 10505529"/>
              <a:gd name="connsiteY40335" fmla="*/ 703672 h 7458372"/>
              <a:gd name="connsiteX40336" fmla="*/ 3046791 w 10505529"/>
              <a:gd name="connsiteY40336" fmla="*/ 682507 h 7458372"/>
              <a:gd name="connsiteX40337" fmla="*/ 3055177 w 10505529"/>
              <a:gd name="connsiteY40337" fmla="*/ 661474 h 7458372"/>
              <a:gd name="connsiteX40338" fmla="*/ 3077009 w 10505529"/>
              <a:gd name="connsiteY40338" fmla="*/ 652821 h 7458372"/>
              <a:gd name="connsiteX40339" fmla="*/ 3512170 w 10505529"/>
              <a:gd name="connsiteY40339" fmla="*/ 652821 h 7458372"/>
              <a:gd name="connsiteX40340" fmla="*/ 3523886 w 10505529"/>
              <a:gd name="connsiteY40340" fmla="*/ 655350 h 7458372"/>
              <a:gd name="connsiteX40341" fmla="*/ 3533204 w 10505529"/>
              <a:gd name="connsiteY40341" fmla="*/ 661740 h 7458372"/>
              <a:gd name="connsiteX40342" fmla="*/ 3539327 w 10505529"/>
              <a:gd name="connsiteY40342" fmla="*/ 671192 h 7458372"/>
              <a:gd name="connsiteX40343" fmla="*/ 3541590 w 10505529"/>
              <a:gd name="connsiteY40343" fmla="*/ 682640 h 7458372"/>
              <a:gd name="connsiteX40344" fmla="*/ 3539327 w 10505529"/>
              <a:gd name="connsiteY40344" fmla="*/ 694354 h 7458372"/>
              <a:gd name="connsiteX40345" fmla="*/ 3533204 w 10505529"/>
              <a:gd name="connsiteY40345" fmla="*/ 703672 h 7458372"/>
              <a:gd name="connsiteX40346" fmla="*/ 3523886 w 10505529"/>
              <a:gd name="connsiteY40346" fmla="*/ 709929 h 7458372"/>
              <a:gd name="connsiteX40347" fmla="*/ 3512170 w 10505529"/>
              <a:gd name="connsiteY40347" fmla="*/ 712192 h 7458372"/>
              <a:gd name="connsiteX40348" fmla="*/ 3490338 w 10505529"/>
              <a:gd name="connsiteY40348" fmla="*/ 703672 h 7458372"/>
              <a:gd name="connsiteX40349" fmla="*/ 3481952 w 10505529"/>
              <a:gd name="connsiteY40349" fmla="*/ 682507 h 7458372"/>
              <a:gd name="connsiteX40350" fmla="*/ 3490338 w 10505529"/>
              <a:gd name="connsiteY40350" fmla="*/ 661473 h 7458372"/>
              <a:gd name="connsiteX40351" fmla="*/ 3512170 w 10505529"/>
              <a:gd name="connsiteY40351" fmla="*/ 652821 h 7458372"/>
              <a:gd name="connsiteX40352" fmla="*/ 3947465 w 10505529"/>
              <a:gd name="connsiteY40352" fmla="*/ 652821 h 7458372"/>
              <a:gd name="connsiteX40353" fmla="*/ 3959180 w 10505529"/>
              <a:gd name="connsiteY40353" fmla="*/ 655350 h 7458372"/>
              <a:gd name="connsiteX40354" fmla="*/ 3968498 w 10505529"/>
              <a:gd name="connsiteY40354" fmla="*/ 661740 h 7458372"/>
              <a:gd name="connsiteX40355" fmla="*/ 3974622 w 10505529"/>
              <a:gd name="connsiteY40355" fmla="*/ 671191 h 7458372"/>
              <a:gd name="connsiteX40356" fmla="*/ 3976885 w 10505529"/>
              <a:gd name="connsiteY40356" fmla="*/ 682640 h 7458372"/>
              <a:gd name="connsiteX40357" fmla="*/ 3974622 w 10505529"/>
              <a:gd name="connsiteY40357" fmla="*/ 694354 h 7458372"/>
              <a:gd name="connsiteX40358" fmla="*/ 3968498 w 10505529"/>
              <a:gd name="connsiteY40358" fmla="*/ 703672 h 7458372"/>
              <a:gd name="connsiteX40359" fmla="*/ 3959180 w 10505529"/>
              <a:gd name="connsiteY40359" fmla="*/ 709929 h 7458372"/>
              <a:gd name="connsiteX40360" fmla="*/ 3947465 w 10505529"/>
              <a:gd name="connsiteY40360" fmla="*/ 712192 h 7458372"/>
              <a:gd name="connsiteX40361" fmla="*/ 3925633 w 10505529"/>
              <a:gd name="connsiteY40361" fmla="*/ 703672 h 7458372"/>
              <a:gd name="connsiteX40362" fmla="*/ 3917247 w 10505529"/>
              <a:gd name="connsiteY40362" fmla="*/ 682506 h 7458372"/>
              <a:gd name="connsiteX40363" fmla="*/ 3925633 w 10505529"/>
              <a:gd name="connsiteY40363" fmla="*/ 661473 h 7458372"/>
              <a:gd name="connsiteX40364" fmla="*/ 3947465 w 10505529"/>
              <a:gd name="connsiteY40364" fmla="*/ 652821 h 7458372"/>
              <a:gd name="connsiteX40365" fmla="*/ 3729817 w 10505529"/>
              <a:gd name="connsiteY40365" fmla="*/ 652821 h 7458372"/>
              <a:gd name="connsiteX40366" fmla="*/ 3741532 w 10505529"/>
              <a:gd name="connsiteY40366" fmla="*/ 655350 h 7458372"/>
              <a:gd name="connsiteX40367" fmla="*/ 3750851 w 10505529"/>
              <a:gd name="connsiteY40367" fmla="*/ 661740 h 7458372"/>
              <a:gd name="connsiteX40368" fmla="*/ 3756974 w 10505529"/>
              <a:gd name="connsiteY40368" fmla="*/ 671191 h 7458372"/>
              <a:gd name="connsiteX40369" fmla="*/ 3759237 w 10505529"/>
              <a:gd name="connsiteY40369" fmla="*/ 682640 h 7458372"/>
              <a:gd name="connsiteX40370" fmla="*/ 3756974 w 10505529"/>
              <a:gd name="connsiteY40370" fmla="*/ 694354 h 7458372"/>
              <a:gd name="connsiteX40371" fmla="*/ 3750851 w 10505529"/>
              <a:gd name="connsiteY40371" fmla="*/ 703672 h 7458372"/>
              <a:gd name="connsiteX40372" fmla="*/ 3741532 w 10505529"/>
              <a:gd name="connsiteY40372" fmla="*/ 709929 h 7458372"/>
              <a:gd name="connsiteX40373" fmla="*/ 3729817 w 10505529"/>
              <a:gd name="connsiteY40373" fmla="*/ 712192 h 7458372"/>
              <a:gd name="connsiteX40374" fmla="*/ 3707986 w 10505529"/>
              <a:gd name="connsiteY40374" fmla="*/ 703672 h 7458372"/>
              <a:gd name="connsiteX40375" fmla="*/ 3699599 w 10505529"/>
              <a:gd name="connsiteY40375" fmla="*/ 682507 h 7458372"/>
              <a:gd name="connsiteX40376" fmla="*/ 3707986 w 10505529"/>
              <a:gd name="connsiteY40376" fmla="*/ 661473 h 7458372"/>
              <a:gd name="connsiteX40377" fmla="*/ 3729817 w 10505529"/>
              <a:gd name="connsiteY40377" fmla="*/ 652821 h 7458372"/>
              <a:gd name="connsiteX40378" fmla="*/ 4165068 w 10505529"/>
              <a:gd name="connsiteY40378" fmla="*/ 652821 h 7458372"/>
              <a:gd name="connsiteX40379" fmla="*/ 4176782 w 10505529"/>
              <a:gd name="connsiteY40379" fmla="*/ 655350 h 7458372"/>
              <a:gd name="connsiteX40380" fmla="*/ 4186100 w 10505529"/>
              <a:gd name="connsiteY40380" fmla="*/ 661740 h 7458372"/>
              <a:gd name="connsiteX40381" fmla="*/ 4192223 w 10505529"/>
              <a:gd name="connsiteY40381" fmla="*/ 671191 h 7458372"/>
              <a:gd name="connsiteX40382" fmla="*/ 4194486 w 10505529"/>
              <a:gd name="connsiteY40382" fmla="*/ 682639 h 7458372"/>
              <a:gd name="connsiteX40383" fmla="*/ 4192223 w 10505529"/>
              <a:gd name="connsiteY40383" fmla="*/ 694354 h 7458372"/>
              <a:gd name="connsiteX40384" fmla="*/ 4186100 w 10505529"/>
              <a:gd name="connsiteY40384" fmla="*/ 703672 h 7458372"/>
              <a:gd name="connsiteX40385" fmla="*/ 4176782 w 10505529"/>
              <a:gd name="connsiteY40385" fmla="*/ 709929 h 7458372"/>
              <a:gd name="connsiteX40386" fmla="*/ 4165068 w 10505529"/>
              <a:gd name="connsiteY40386" fmla="*/ 712192 h 7458372"/>
              <a:gd name="connsiteX40387" fmla="*/ 4143235 w 10505529"/>
              <a:gd name="connsiteY40387" fmla="*/ 703672 h 7458372"/>
              <a:gd name="connsiteX40388" fmla="*/ 4134849 w 10505529"/>
              <a:gd name="connsiteY40388" fmla="*/ 682506 h 7458372"/>
              <a:gd name="connsiteX40389" fmla="*/ 4143235 w 10505529"/>
              <a:gd name="connsiteY40389" fmla="*/ 661473 h 7458372"/>
              <a:gd name="connsiteX40390" fmla="*/ 4165068 w 10505529"/>
              <a:gd name="connsiteY40390" fmla="*/ 652821 h 7458372"/>
              <a:gd name="connsiteX40391" fmla="*/ 4600226 w 10505529"/>
              <a:gd name="connsiteY40391" fmla="*/ 652821 h 7458372"/>
              <a:gd name="connsiteX40392" fmla="*/ 4612073 w 10505529"/>
              <a:gd name="connsiteY40392" fmla="*/ 655350 h 7458372"/>
              <a:gd name="connsiteX40393" fmla="*/ 4621391 w 10505529"/>
              <a:gd name="connsiteY40393" fmla="*/ 661740 h 7458372"/>
              <a:gd name="connsiteX40394" fmla="*/ 4627514 w 10505529"/>
              <a:gd name="connsiteY40394" fmla="*/ 671191 h 7458372"/>
              <a:gd name="connsiteX40395" fmla="*/ 4629777 w 10505529"/>
              <a:gd name="connsiteY40395" fmla="*/ 682639 h 7458372"/>
              <a:gd name="connsiteX40396" fmla="*/ 4627514 w 10505529"/>
              <a:gd name="connsiteY40396" fmla="*/ 694354 h 7458372"/>
              <a:gd name="connsiteX40397" fmla="*/ 4621391 w 10505529"/>
              <a:gd name="connsiteY40397" fmla="*/ 703672 h 7458372"/>
              <a:gd name="connsiteX40398" fmla="*/ 4612073 w 10505529"/>
              <a:gd name="connsiteY40398" fmla="*/ 709929 h 7458372"/>
              <a:gd name="connsiteX40399" fmla="*/ 4600226 w 10505529"/>
              <a:gd name="connsiteY40399" fmla="*/ 712192 h 7458372"/>
              <a:gd name="connsiteX40400" fmla="*/ 4578393 w 10505529"/>
              <a:gd name="connsiteY40400" fmla="*/ 703672 h 7458372"/>
              <a:gd name="connsiteX40401" fmla="*/ 4570007 w 10505529"/>
              <a:gd name="connsiteY40401" fmla="*/ 682506 h 7458372"/>
              <a:gd name="connsiteX40402" fmla="*/ 4578393 w 10505529"/>
              <a:gd name="connsiteY40402" fmla="*/ 661473 h 7458372"/>
              <a:gd name="connsiteX40403" fmla="*/ 4600226 w 10505529"/>
              <a:gd name="connsiteY40403" fmla="*/ 652821 h 7458372"/>
              <a:gd name="connsiteX40404" fmla="*/ 4382713 w 10505529"/>
              <a:gd name="connsiteY40404" fmla="*/ 652821 h 7458372"/>
              <a:gd name="connsiteX40405" fmla="*/ 4394428 w 10505529"/>
              <a:gd name="connsiteY40405" fmla="*/ 655350 h 7458372"/>
              <a:gd name="connsiteX40406" fmla="*/ 4403746 w 10505529"/>
              <a:gd name="connsiteY40406" fmla="*/ 661740 h 7458372"/>
              <a:gd name="connsiteX40407" fmla="*/ 4409869 w 10505529"/>
              <a:gd name="connsiteY40407" fmla="*/ 671191 h 7458372"/>
              <a:gd name="connsiteX40408" fmla="*/ 4412132 w 10505529"/>
              <a:gd name="connsiteY40408" fmla="*/ 682639 h 7458372"/>
              <a:gd name="connsiteX40409" fmla="*/ 4409869 w 10505529"/>
              <a:gd name="connsiteY40409" fmla="*/ 694354 h 7458372"/>
              <a:gd name="connsiteX40410" fmla="*/ 4403746 w 10505529"/>
              <a:gd name="connsiteY40410" fmla="*/ 703672 h 7458372"/>
              <a:gd name="connsiteX40411" fmla="*/ 4394428 w 10505529"/>
              <a:gd name="connsiteY40411" fmla="*/ 709929 h 7458372"/>
              <a:gd name="connsiteX40412" fmla="*/ 4382713 w 10505529"/>
              <a:gd name="connsiteY40412" fmla="*/ 712192 h 7458372"/>
              <a:gd name="connsiteX40413" fmla="*/ 4360881 w 10505529"/>
              <a:gd name="connsiteY40413" fmla="*/ 703672 h 7458372"/>
              <a:gd name="connsiteX40414" fmla="*/ 4352495 w 10505529"/>
              <a:gd name="connsiteY40414" fmla="*/ 682506 h 7458372"/>
              <a:gd name="connsiteX40415" fmla="*/ 4360881 w 10505529"/>
              <a:gd name="connsiteY40415" fmla="*/ 661473 h 7458372"/>
              <a:gd name="connsiteX40416" fmla="*/ 4382713 w 10505529"/>
              <a:gd name="connsiteY40416" fmla="*/ 652821 h 7458372"/>
              <a:gd name="connsiteX40417" fmla="*/ 4817870 w 10505529"/>
              <a:gd name="connsiteY40417" fmla="*/ 652821 h 7458372"/>
              <a:gd name="connsiteX40418" fmla="*/ 4829585 w 10505529"/>
              <a:gd name="connsiteY40418" fmla="*/ 655350 h 7458372"/>
              <a:gd name="connsiteX40419" fmla="*/ 4838903 w 10505529"/>
              <a:gd name="connsiteY40419" fmla="*/ 661740 h 7458372"/>
              <a:gd name="connsiteX40420" fmla="*/ 4845026 w 10505529"/>
              <a:gd name="connsiteY40420" fmla="*/ 671191 h 7458372"/>
              <a:gd name="connsiteX40421" fmla="*/ 4847289 w 10505529"/>
              <a:gd name="connsiteY40421" fmla="*/ 682639 h 7458372"/>
              <a:gd name="connsiteX40422" fmla="*/ 4845026 w 10505529"/>
              <a:gd name="connsiteY40422" fmla="*/ 694353 h 7458372"/>
              <a:gd name="connsiteX40423" fmla="*/ 4838903 w 10505529"/>
              <a:gd name="connsiteY40423" fmla="*/ 703671 h 7458372"/>
              <a:gd name="connsiteX40424" fmla="*/ 4829585 w 10505529"/>
              <a:gd name="connsiteY40424" fmla="*/ 709929 h 7458372"/>
              <a:gd name="connsiteX40425" fmla="*/ 4817870 w 10505529"/>
              <a:gd name="connsiteY40425" fmla="*/ 712192 h 7458372"/>
              <a:gd name="connsiteX40426" fmla="*/ 4796038 w 10505529"/>
              <a:gd name="connsiteY40426" fmla="*/ 703671 h 7458372"/>
              <a:gd name="connsiteX40427" fmla="*/ 4787652 w 10505529"/>
              <a:gd name="connsiteY40427" fmla="*/ 682506 h 7458372"/>
              <a:gd name="connsiteX40428" fmla="*/ 4796038 w 10505529"/>
              <a:gd name="connsiteY40428" fmla="*/ 661473 h 7458372"/>
              <a:gd name="connsiteX40429" fmla="*/ 4817870 w 10505529"/>
              <a:gd name="connsiteY40429" fmla="*/ 652821 h 7458372"/>
              <a:gd name="connsiteX40430" fmla="*/ 5253160 w 10505529"/>
              <a:gd name="connsiteY40430" fmla="*/ 652820 h 7458372"/>
              <a:gd name="connsiteX40431" fmla="*/ 5264875 w 10505529"/>
              <a:gd name="connsiteY40431" fmla="*/ 655349 h 7458372"/>
              <a:gd name="connsiteX40432" fmla="*/ 5274192 w 10505529"/>
              <a:gd name="connsiteY40432" fmla="*/ 661740 h 7458372"/>
              <a:gd name="connsiteX40433" fmla="*/ 5280316 w 10505529"/>
              <a:gd name="connsiteY40433" fmla="*/ 671191 h 7458372"/>
              <a:gd name="connsiteX40434" fmla="*/ 5282579 w 10505529"/>
              <a:gd name="connsiteY40434" fmla="*/ 682639 h 7458372"/>
              <a:gd name="connsiteX40435" fmla="*/ 5280316 w 10505529"/>
              <a:gd name="connsiteY40435" fmla="*/ 694353 h 7458372"/>
              <a:gd name="connsiteX40436" fmla="*/ 5274192 w 10505529"/>
              <a:gd name="connsiteY40436" fmla="*/ 703671 h 7458372"/>
              <a:gd name="connsiteX40437" fmla="*/ 5264875 w 10505529"/>
              <a:gd name="connsiteY40437" fmla="*/ 709928 h 7458372"/>
              <a:gd name="connsiteX40438" fmla="*/ 5253160 w 10505529"/>
              <a:gd name="connsiteY40438" fmla="*/ 712191 h 7458372"/>
              <a:gd name="connsiteX40439" fmla="*/ 5231328 w 10505529"/>
              <a:gd name="connsiteY40439" fmla="*/ 703671 h 7458372"/>
              <a:gd name="connsiteX40440" fmla="*/ 5222942 w 10505529"/>
              <a:gd name="connsiteY40440" fmla="*/ 682506 h 7458372"/>
              <a:gd name="connsiteX40441" fmla="*/ 5231328 w 10505529"/>
              <a:gd name="connsiteY40441" fmla="*/ 661473 h 7458372"/>
              <a:gd name="connsiteX40442" fmla="*/ 5253160 w 10505529"/>
              <a:gd name="connsiteY40442" fmla="*/ 652820 h 7458372"/>
              <a:gd name="connsiteX40443" fmla="*/ 5035515 w 10505529"/>
              <a:gd name="connsiteY40443" fmla="*/ 652820 h 7458372"/>
              <a:gd name="connsiteX40444" fmla="*/ 5047230 w 10505529"/>
              <a:gd name="connsiteY40444" fmla="*/ 655349 h 7458372"/>
              <a:gd name="connsiteX40445" fmla="*/ 5056548 w 10505529"/>
              <a:gd name="connsiteY40445" fmla="*/ 661740 h 7458372"/>
              <a:gd name="connsiteX40446" fmla="*/ 5062671 w 10505529"/>
              <a:gd name="connsiteY40446" fmla="*/ 671191 h 7458372"/>
              <a:gd name="connsiteX40447" fmla="*/ 5064934 w 10505529"/>
              <a:gd name="connsiteY40447" fmla="*/ 682639 h 7458372"/>
              <a:gd name="connsiteX40448" fmla="*/ 5062671 w 10505529"/>
              <a:gd name="connsiteY40448" fmla="*/ 694353 h 7458372"/>
              <a:gd name="connsiteX40449" fmla="*/ 5056548 w 10505529"/>
              <a:gd name="connsiteY40449" fmla="*/ 703671 h 7458372"/>
              <a:gd name="connsiteX40450" fmla="*/ 5047230 w 10505529"/>
              <a:gd name="connsiteY40450" fmla="*/ 709928 h 7458372"/>
              <a:gd name="connsiteX40451" fmla="*/ 5035515 w 10505529"/>
              <a:gd name="connsiteY40451" fmla="*/ 712192 h 7458372"/>
              <a:gd name="connsiteX40452" fmla="*/ 5013683 w 10505529"/>
              <a:gd name="connsiteY40452" fmla="*/ 703671 h 7458372"/>
              <a:gd name="connsiteX40453" fmla="*/ 5005297 w 10505529"/>
              <a:gd name="connsiteY40453" fmla="*/ 682506 h 7458372"/>
              <a:gd name="connsiteX40454" fmla="*/ 5013683 w 10505529"/>
              <a:gd name="connsiteY40454" fmla="*/ 661473 h 7458372"/>
              <a:gd name="connsiteX40455" fmla="*/ 5035515 w 10505529"/>
              <a:gd name="connsiteY40455" fmla="*/ 652820 h 7458372"/>
              <a:gd name="connsiteX40456" fmla="*/ 5470806 w 10505529"/>
              <a:gd name="connsiteY40456" fmla="*/ 652820 h 7458372"/>
              <a:gd name="connsiteX40457" fmla="*/ 5482520 w 10505529"/>
              <a:gd name="connsiteY40457" fmla="*/ 655349 h 7458372"/>
              <a:gd name="connsiteX40458" fmla="*/ 5491838 w 10505529"/>
              <a:gd name="connsiteY40458" fmla="*/ 661740 h 7458372"/>
              <a:gd name="connsiteX40459" fmla="*/ 5497961 w 10505529"/>
              <a:gd name="connsiteY40459" fmla="*/ 671191 h 7458372"/>
              <a:gd name="connsiteX40460" fmla="*/ 5500224 w 10505529"/>
              <a:gd name="connsiteY40460" fmla="*/ 682639 h 7458372"/>
              <a:gd name="connsiteX40461" fmla="*/ 5497961 w 10505529"/>
              <a:gd name="connsiteY40461" fmla="*/ 694353 h 7458372"/>
              <a:gd name="connsiteX40462" fmla="*/ 5491838 w 10505529"/>
              <a:gd name="connsiteY40462" fmla="*/ 703671 h 7458372"/>
              <a:gd name="connsiteX40463" fmla="*/ 5482520 w 10505529"/>
              <a:gd name="connsiteY40463" fmla="*/ 709928 h 7458372"/>
              <a:gd name="connsiteX40464" fmla="*/ 5470806 w 10505529"/>
              <a:gd name="connsiteY40464" fmla="*/ 712191 h 7458372"/>
              <a:gd name="connsiteX40465" fmla="*/ 5448973 w 10505529"/>
              <a:gd name="connsiteY40465" fmla="*/ 703671 h 7458372"/>
              <a:gd name="connsiteX40466" fmla="*/ 5440587 w 10505529"/>
              <a:gd name="connsiteY40466" fmla="*/ 682506 h 7458372"/>
              <a:gd name="connsiteX40467" fmla="*/ 5448973 w 10505529"/>
              <a:gd name="connsiteY40467" fmla="*/ 661472 h 7458372"/>
              <a:gd name="connsiteX40468" fmla="*/ 5470806 w 10505529"/>
              <a:gd name="connsiteY40468" fmla="*/ 652820 h 7458372"/>
              <a:gd name="connsiteX40469" fmla="*/ 6123608 w 10505529"/>
              <a:gd name="connsiteY40469" fmla="*/ 652820 h 7458372"/>
              <a:gd name="connsiteX40470" fmla="*/ 6135322 w 10505529"/>
              <a:gd name="connsiteY40470" fmla="*/ 655349 h 7458372"/>
              <a:gd name="connsiteX40471" fmla="*/ 6144640 w 10505529"/>
              <a:gd name="connsiteY40471" fmla="*/ 661739 h 7458372"/>
              <a:gd name="connsiteX40472" fmla="*/ 6150763 w 10505529"/>
              <a:gd name="connsiteY40472" fmla="*/ 671190 h 7458372"/>
              <a:gd name="connsiteX40473" fmla="*/ 6153026 w 10505529"/>
              <a:gd name="connsiteY40473" fmla="*/ 682639 h 7458372"/>
              <a:gd name="connsiteX40474" fmla="*/ 6150763 w 10505529"/>
              <a:gd name="connsiteY40474" fmla="*/ 694353 h 7458372"/>
              <a:gd name="connsiteX40475" fmla="*/ 6144640 w 10505529"/>
              <a:gd name="connsiteY40475" fmla="*/ 703671 h 7458372"/>
              <a:gd name="connsiteX40476" fmla="*/ 6135322 w 10505529"/>
              <a:gd name="connsiteY40476" fmla="*/ 709928 h 7458372"/>
              <a:gd name="connsiteX40477" fmla="*/ 6123608 w 10505529"/>
              <a:gd name="connsiteY40477" fmla="*/ 712191 h 7458372"/>
              <a:gd name="connsiteX40478" fmla="*/ 6101775 w 10505529"/>
              <a:gd name="connsiteY40478" fmla="*/ 703671 h 7458372"/>
              <a:gd name="connsiteX40479" fmla="*/ 6093389 w 10505529"/>
              <a:gd name="connsiteY40479" fmla="*/ 682506 h 7458372"/>
              <a:gd name="connsiteX40480" fmla="*/ 6101775 w 10505529"/>
              <a:gd name="connsiteY40480" fmla="*/ 661472 h 7458372"/>
              <a:gd name="connsiteX40481" fmla="*/ 6123608 w 10505529"/>
              <a:gd name="connsiteY40481" fmla="*/ 652820 h 7458372"/>
              <a:gd name="connsiteX40482" fmla="*/ 5905963 w 10505529"/>
              <a:gd name="connsiteY40482" fmla="*/ 652820 h 7458372"/>
              <a:gd name="connsiteX40483" fmla="*/ 5917677 w 10505529"/>
              <a:gd name="connsiteY40483" fmla="*/ 655349 h 7458372"/>
              <a:gd name="connsiteX40484" fmla="*/ 5926995 w 10505529"/>
              <a:gd name="connsiteY40484" fmla="*/ 661739 h 7458372"/>
              <a:gd name="connsiteX40485" fmla="*/ 5933118 w 10505529"/>
              <a:gd name="connsiteY40485" fmla="*/ 671190 h 7458372"/>
              <a:gd name="connsiteX40486" fmla="*/ 5935381 w 10505529"/>
              <a:gd name="connsiteY40486" fmla="*/ 682639 h 7458372"/>
              <a:gd name="connsiteX40487" fmla="*/ 5933118 w 10505529"/>
              <a:gd name="connsiteY40487" fmla="*/ 694353 h 7458372"/>
              <a:gd name="connsiteX40488" fmla="*/ 5926995 w 10505529"/>
              <a:gd name="connsiteY40488" fmla="*/ 703671 h 7458372"/>
              <a:gd name="connsiteX40489" fmla="*/ 5917677 w 10505529"/>
              <a:gd name="connsiteY40489" fmla="*/ 709928 h 7458372"/>
              <a:gd name="connsiteX40490" fmla="*/ 5905963 w 10505529"/>
              <a:gd name="connsiteY40490" fmla="*/ 712191 h 7458372"/>
              <a:gd name="connsiteX40491" fmla="*/ 5884130 w 10505529"/>
              <a:gd name="connsiteY40491" fmla="*/ 703671 h 7458372"/>
              <a:gd name="connsiteX40492" fmla="*/ 5875744 w 10505529"/>
              <a:gd name="connsiteY40492" fmla="*/ 682506 h 7458372"/>
              <a:gd name="connsiteX40493" fmla="*/ 5884130 w 10505529"/>
              <a:gd name="connsiteY40493" fmla="*/ 661472 h 7458372"/>
              <a:gd name="connsiteX40494" fmla="*/ 5905963 w 10505529"/>
              <a:gd name="connsiteY40494" fmla="*/ 652820 h 7458372"/>
              <a:gd name="connsiteX40495" fmla="*/ 5688451 w 10505529"/>
              <a:gd name="connsiteY40495" fmla="*/ 652820 h 7458372"/>
              <a:gd name="connsiteX40496" fmla="*/ 5700165 w 10505529"/>
              <a:gd name="connsiteY40496" fmla="*/ 655349 h 7458372"/>
              <a:gd name="connsiteX40497" fmla="*/ 5709483 w 10505529"/>
              <a:gd name="connsiteY40497" fmla="*/ 661739 h 7458372"/>
              <a:gd name="connsiteX40498" fmla="*/ 5715606 w 10505529"/>
              <a:gd name="connsiteY40498" fmla="*/ 671190 h 7458372"/>
              <a:gd name="connsiteX40499" fmla="*/ 5717869 w 10505529"/>
              <a:gd name="connsiteY40499" fmla="*/ 682639 h 7458372"/>
              <a:gd name="connsiteX40500" fmla="*/ 5715606 w 10505529"/>
              <a:gd name="connsiteY40500" fmla="*/ 694353 h 7458372"/>
              <a:gd name="connsiteX40501" fmla="*/ 5709483 w 10505529"/>
              <a:gd name="connsiteY40501" fmla="*/ 703671 h 7458372"/>
              <a:gd name="connsiteX40502" fmla="*/ 5700165 w 10505529"/>
              <a:gd name="connsiteY40502" fmla="*/ 709928 h 7458372"/>
              <a:gd name="connsiteX40503" fmla="*/ 5688451 w 10505529"/>
              <a:gd name="connsiteY40503" fmla="*/ 712191 h 7458372"/>
              <a:gd name="connsiteX40504" fmla="*/ 5666618 w 10505529"/>
              <a:gd name="connsiteY40504" fmla="*/ 703671 h 7458372"/>
              <a:gd name="connsiteX40505" fmla="*/ 5658232 w 10505529"/>
              <a:gd name="connsiteY40505" fmla="*/ 682506 h 7458372"/>
              <a:gd name="connsiteX40506" fmla="*/ 5666618 w 10505529"/>
              <a:gd name="connsiteY40506" fmla="*/ 661472 h 7458372"/>
              <a:gd name="connsiteX40507" fmla="*/ 5688451 w 10505529"/>
              <a:gd name="connsiteY40507" fmla="*/ 652820 h 7458372"/>
              <a:gd name="connsiteX40508" fmla="*/ 6341253 w 10505529"/>
              <a:gd name="connsiteY40508" fmla="*/ 652820 h 7458372"/>
              <a:gd name="connsiteX40509" fmla="*/ 6352968 w 10505529"/>
              <a:gd name="connsiteY40509" fmla="*/ 655349 h 7458372"/>
              <a:gd name="connsiteX40510" fmla="*/ 6362286 w 10505529"/>
              <a:gd name="connsiteY40510" fmla="*/ 661739 h 7458372"/>
              <a:gd name="connsiteX40511" fmla="*/ 6368409 w 10505529"/>
              <a:gd name="connsiteY40511" fmla="*/ 671190 h 7458372"/>
              <a:gd name="connsiteX40512" fmla="*/ 6370672 w 10505529"/>
              <a:gd name="connsiteY40512" fmla="*/ 682639 h 7458372"/>
              <a:gd name="connsiteX40513" fmla="*/ 6368409 w 10505529"/>
              <a:gd name="connsiteY40513" fmla="*/ 694353 h 7458372"/>
              <a:gd name="connsiteX40514" fmla="*/ 6362286 w 10505529"/>
              <a:gd name="connsiteY40514" fmla="*/ 703671 h 7458372"/>
              <a:gd name="connsiteX40515" fmla="*/ 6352968 w 10505529"/>
              <a:gd name="connsiteY40515" fmla="*/ 709928 h 7458372"/>
              <a:gd name="connsiteX40516" fmla="*/ 6341253 w 10505529"/>
              <a:gd name="connsiteY40516" fmla="*/ 712191 h 7458372"/>
              <a:gd name="connsiteX40517" fmla="*/ 6319421 w 10505529"/>
              <a:gd name="connsiteY40517" fmla="*/ 703671 h 7458372"/>
              <a:gd name="connsiteX40518" fmla="*/ 6311035 w 10505529"/>
              <a:gd name="connsiteY40518" fmla="*/ 682505 h 7458372"/>
              <a:gd name="connsiteX40519" fmla="*/ 6319421 w 10505529"/>
              <a:gd name="connsiteY40519" fmla="*/ 661472 h 7458372"/>
              <a:gd name="connsiteX40520" fmla="*/ 6341253 w 10505529"/>
              <a:gd name="connsiteY40520" fmla="*/ 652820 h 7458372"/>
              <a:gd name="connsiteX40521" fmla="*/ 6776544 w 10505529"/>
              <a:gd name="connsiteY40521" fmla="*/ 652820 h 7458372"/>
              <a:gd name="connsiteX40522" fmla="*/ 6788258 w 10505529"/>
              <a:gd name="connsiteY40522" fmla="*/ 655349 h 7458372"/>
              <a:gd name="connsiteX40523" fmla="*/ 6797576 w 10505529"/>
              <a:gd name="connsiteY40523" fmla="*/ 661739 h 7458372"/>
              <a:gd name="connsiteX40524" fmla="*/ 6803699 w 10505529"/>
              <a:gd name="connsiteY40524" fmla="*/ 671190 h 7458372"/>
              <a:gd name="connsiteX40525" fmla="*/ 6805963 w 10505529"/>
              <a:gd name="connsiteY40525" fmla="*/ 682638 h 7458372"/>
              <a:gd name="connsiteX40526" fmla="*/ 6803699 w 10505529"/>
              <a:gd name="connsiteY40526" fmla="*/ 694352 h 7458372"/>
              <a:gd name="connsiteX40527" fmla="*/ 6797576 w 10505529"/>
              <a:gd name="connsiteY40527" fmla="*/ 703671 h 7458372"/>
              <a:gd name="connsiteX40528" fmla="*/ 6788258 w 10505529"/>
              <a:gd name="connsiteY40528" fmla="*/ 709928 h 7458372"/>
              <a:gd name="connsiteX40529" fmla="*/ 6776544 w 10505529"/>
              <a:gd name="connsiteY40529" fmla="*/ 712191 h 7458372"/>
              <a:gd name="connsiteX40530" fmla="*/ 6754711 w 10505529"/>
              <a:gd name="connsiteY40530" fmla="*/ 703671 h 7458372"/>
              <a:gd name="connsiteX40531" fmla="*/ 6746325 w 10505529"/>
              <a:gd name="connsiteY40531" fmla="*/ 682505 h 7458372"/>
              <a:gd name="connsiteX40532" fmla="*/ 6754711 w 10505529"/>
              <a:gd name="connsiteY40532" fmla="*/ 661472 h 7458372"/>
              <a:gd name="connsiteX40533" fmla="*/ 6776544 w 10505529"/>
              <a:gd name="connsiteY40533" fmla="*/ 652820 h 7458372"/>
              <a:gd name="connsiteX40534" fmla="*/ 6558899 w 10505529"/>
              <a:gd name="connsiteY40534" fmla="*/ 652820 h 7458372"/>
              <a:gd name="connsiteX40535" fmla="*/ 6570612 w 10505529"/>
              <a:gd name="connsiteY40535" fmla="*/ 655349 h 7458372"/>
              <a:gd name="connsiteX40536" fmla="*/ 6579930 w 10505529"/>
              <a:gd name="connsiteY40536" fmla="*/ 661739 h 7458372"/>
              <a:gd name="connsiteX40537" fmla="*/ 6586054 w 10505529"/>
              <a:gd name="connsiteY40537" fmla="*/ 671190 h 7458372"/>
              <a:gd name="connsiteX40538" fmla="*/ 6588317 w 10505529"/>
              <a:gd name="connsiteY40538" fmla="*/ 682638 h 7458372"/>
              <a:gd name="connsiteX40539" fmla="*/ 6586054 w 10505529"/>
              <a:gd name="connsiteY40539" fmla="*/ 694353 h 7458372"/>
              <a:gd name="connsiteX40540" fmla="*/ 6579930 w 10505529"/>
              <a:gd name="connsiteY40540" fmla="*/ 703671 h 7458372"/>
              <a:gd name="connsiteX40541" fmla="*/ 6570612 w 10505529"/>
              <a:gd name="connsiteY40541" fmla="*/ 709928 h 7458372"/>
              <a:gd name="connsiteX40542" fmla="*/ 6558899 w 10505529"/>
              <a:gd name="connsiteY40542" fmla="*/ 712191 h 7458372"/>
              <a:gd name="connsiteX40543" fmla="*/ 6537066 w 10505529"/>
              <a:gd name="connsiteY40543" fmla="*/ 703671 h 7458372"/>
              <a:gd name="connsiteX40544" fmla="*/ 6528680 w 10505529"/>
              <a:gd name="connsiteY40544" fmla="*/ 682505 h 7458372"/>
              <a:gd name="connsiteX40545" fmla="*/ 6537066 w 10505529"/>
              <a:gd name="connsiteY40545" fmla="*/ 661472 h 7458372"/>
              <a:gd name="connsiteX40546" fmla="*/ 6558899 w 10505529"/>
              <a:gd name="connsiteY40546" fmla="*/ 652820 h 7458372"/>
              <a:gd name="connsiteX40547" fmla="*/ 7211701 w 10505529"/>
              <a:gd name="connsiteY40547" fmla="*/ 652820 h 7458372"/>
              <a:gd name="connsiteX40548" fmla="*/ 7223415 w 10505529"/>
              <a:gd name="connsiteY40548" fmla="*/ 655348 h 7458372"/>
              <a:gd name="connsiteX40549" fmla="*/ 7232733 w 10505529"/>
              <a:gd name="connsiteY40549" fmla="*/ 661739 h 7458372"/>
              <a:gd name="connsiteX40550" fmla="*/ 7238856 w 10505529"/>
              <a:gd name="connsiteY40550" fmla="*/ 671190 h 7458372"/>
              <a:gd name="connsiteX40551" fmla="*/ 7241120 w 10505529"/>
              <a:gd name="connsiteY40551" fmla="*/ 682638 h 7458372"/>
              <a:gd name="connsiteX40552" fmla="*/ 7238856 w 10505529"/>
              <a:gd name="connsiteY40552" fmla="*/ 694352 h 7458372"/>
              <a:gd name="connsiteX40553" fmla="*/ 7232733 w 10505529"/>
              <a:gd name="connsiteY40553" fmla="*/ 703670 h 7458372"/>
              <a:gd name="connsiteX40554" fmla="*/ 7223415 w 10505529"/>
              <a:gd name="connsiteY40554" fmla="*/ 709928 h 7458372"/>
              <a:gd name="connsiteX40555" fmla="*/ 7211701 w 10505529"/>
              <a:gd name="connsiteY40555" fmla="*/ 712191 h 7458372"/>
              <a:gd name="connsiteX40556" fmla="*/ 7189868 w 10505529"/>
              <a:gd name="connsiteY40556" fmla="*/ 703670 h 7458372"/>
              <a:gd name="connsiteX40557" fmla="*/ 7181482 w 10505529"/>
              <a:gd name="connsiteY40557" fmla="*/ 682505 h 7458372"/>
              <a:gd name="connsiteX40558" fmla="*/ 7189868 w 10505529"/>
              <a:gd name="connsiteY40558" fmla="*/ 661472 h 7458372"/>
              <a:gd name="connsiteX40559" fmla="*/ 7211701 w 10505529"/>
              <a:gd name="connsiteY40559" fmla="*/ 652820 h 7458372"/>
              <a:gd name="connsiteX40560" fmla="*/ 6994056 w 10505529"/>
              <a:gd name="connsiteY40560" fmla="*/ 652820 h 7458372"/>
              <a:gd name="connsiteX40561" fmla="*/ 7005769 w 10505529"/>
              <a:gd name="connsiteY40561" fmla="*/ 655349 h 7458372"/>
              <a:gd name="connsiteX40562" fmla="*/ 7015087 w 10505529"/>
              <a:gd name="connsiteY40562" fmla="*/ 661739 h 7458372"/>
              <a:gd name="connsiteX40563" fmla="*/ 7021211 w 10505529"/>
              <a:gd name="connsiteY40563" fmla="*/ 671190 h 7458372"/>
              <a:gd name="connsiteX40564" fmla="*/ 7023474 w 10505529"/>
              <a:gd name="connsiteY40564" fmla="*/ 682638 h 7458372"/>
              <a:gd name="connsiteX40565" fmla="*/ 7021211 w 10505529"/>
              <a:gd name="connsiteY40565" fmla="*/ 694352 h 7458372"/>
              <a:gd name="connsiteX40566" fmla="*/ 7015087 w 10505529"/>
              <a:gd name="connsiteY40566" fmla="*/ 703670 h 7458372"/>
              <a:gd name="connsiteX40567" fmla="*/ 7005769 w 10505529"/>
              <a:gd name="connsiteY40567" fmla="*/ 709928 h 7458372"/>
              <a:gd name="connsiteX40568" fmla="*/ 6994056 w 10505529"/>
              <a:gd name="connsiteY40568" fmla="*/ 712191 h 7458372"/>
              <a:gd name="connsiteX40569" fmla="*/ 6972223 w 10505529"/>
              <a:gd name="connsiteY40569" fmla="*/ 703670 h 7458372"/>
              <a:gd name="connsiteX40570" fmla="*/ 6963837 w 10505529"/>
              <a:gd name="connsiteY40570" fmla="*/ 682505 h 7458372"/>
              <a:gd name="connsiteX40571" fmla="*/ 6972223 w 10505529"/>
              <a:gd name="connsiteY40571" fmla="*/ 661472 h 7458372"/>
              <a:gd name="connsiteX40572" fmla="*/ 6994056 w 10505529"/>
              <a:gd name="connsiteY40572" fmla="*/ 652820 h 7458372"/>
              <a:gd name="connsiteX40573" fmla="*/ 7429345 w 10505529"/>
              <a:gd name="connsiteY40573" fmla="*/ 652819 h 7458372"/>
              <a:gd name="connsiteX40574" fmla="*/ 7441059 w 10505529"/>
              <a:gd name="connsiteY40574" fmla="*/ 655348 h 7458372"/>
              <a:gd name="connsiteX40575" fmla="*/ 7450377 w 10505529"/>
              <a:gd name="connsiteY40575" fmla="*/ 661739 h 7458372"/>
              <a:gd name="connsiteX40576" fmla="*/ 7456501 w 10505529"/>
              <a:gd name="connsiteY40576" fmla="*/ 671190 h 7458372"/>
              <a:gd name="connsiteX40577" fmla="*/ 7458764 w 10505529"/>
              <a:gd name="connsiteY40577" fmla="*/ 682638 h 7458372"/>
              <a:gd name="connsiteX40578" fmla="*/ 7456501 w 10505529"/>
              <a:gd name="connsiteY40578" fmla="*/ 694352 h 7458372"/>
              <a:gd name="connsiteX40579" fmla="*/ 7450377 w 10505529"/>
              <a:gd name="connsiteY40579" fmla="*/ 703670 h 7458372"/>
              <a:gd name="connsiteX40580" fmla="*/ 7441059 w 10505529"/>
              <a:gd name="connsiteY40580" fmla="*/ 709927 h 7458372"/>
              <a:gd name="connsiteX40581" fmla="*/ 7429345 w 10505529"/>
              <a:gd name="connsiteY40581" fmla="*/ 712191 h 7458372"/>
              <a:gd name="connsiteX40582" fmla="*/ 7407513 w 10505529"/>
              <a:gd name="connsiteY40582" fmla="*/ 703670 h 7458372"/>
              <a:gd name="connsiteX40583" fmla="*/ 7399127 w 10505529"/>
              <a:gd name="connsiteY40583" fmla="*/ 682505 h 7458372"/>
              <a:gd name="connsiteX40584" fmla="*/ 7407513 w 10505529"/>
              <a:gd name="connsiteY40584" fmla="*/ 661472 h 7458372"/>
              <a:gd name="connsiteX40585" fmla="*/ 7429345 w 10505529"/>
              <a:gd name="connsiteY40585" fmla="*/ 652819 h 7458372"/>
              <a:gd name="connsiteX40586" fmla="*/ 7864636 w 10505529"/>
              <a:gd name="connsiteY40586" fmla="*/ 652819 h 7458372"/>
              <a:gd name="connsiteX40587" fmla="*/ 7876483 w 10505529"/>
              <a:gd name="connsiteY40587" fmla="*/ 655348 h 7458372"/>
              <a:gd name="connsiteX40588" fmla="*/ 7885802 w 10505529"/>
              <a:gd name="connsiteY40588" fmla="*/ 661738 h 7458372"/>
              <a:gd name="connsiteX40589" fmla="*/ 7891924 w 10505529"/>
              <a:gd name="connsiteY40589" fmla="*/ 671189 h 7458372"/>
              <a:gd name="connsiteX40590" fmla="*/ 7894188 w 10505529"/>
              <a:gd name="connsiteY40590" fmla="*/ 682638 h 7458372"/>
              <a:gd name="connsiteX40591" fmla="*/ 7891924 w 10505529"/>
              <a:gd name="connsiteY40591" fmla="*/ 694352 h 7458372"/>
              <a:gd name="connsiteX40592" fmla="*/ 7885802 w 10505529"/>
              <a:gd name="connsiteY40592" fmla="*/ 703670 h 7458372"/>
              <a:gd name="connsiteX40593" fmla="*/ 7876483 w 10505529"/>
              <a:gd name="connsiteY40593" fmla="*/ 709927 h 7458372"/>
              <a:gd name="connsiteX40594" fmla="*/ 7864636 w 10505529"/>
              <a:gd name="connsiteY40594" fmla="*/ 712190 h 7458372"/>
              <a:gd name="connsiteX40595" fmla="*/ 7842803 w 10505529"/>
              <a:gd name="connsiteY40595" fmla="*/ 703670 h 7458372"/>
              <a:gd name="connsiteX40596" fmla="*/ 7834417 w 10505529"/>
              <a:gd name="connsiteY40596" fmla="*/ 682505 h 7458372"/>
              <a:gd name="connsiteX40597" fmla="*/ 7842803 w 10505529"/>
              <a:gd name="connsiteY40597" fmla="*/ 661471 h 7458372"/>
              <a:gd name="connsiteX40598" fmla="*/ 7864636 w 10505529"/>
              <a:gd name="connsiteY40598" fmla="*/ 652819 h 7458372"/>
              <a:gd name="connsiteX40599" fmla="*/ 7646991 w 10505529"/>
              <a:gd name="connsiteY40599" fmla="*/ 652819 h 7458372"/>
              <a:gd name="connsiteX40600" fmla="*/ 7658705 w 10505529"/>
              <a:gd name="connsiteY40600" fmla="*/ 655348 h 7458372"/>
              <a:gd name="connsiteX40601" fmla="*/ 7668022 w 10505529"/>
              <a:gd name="connsiteY40601" fmla="*/ 661739 h 7458372"/>
              <a:gd name="connsiteX40602" fmla="*/ 7674146 w 10505529"/>
              <a:gd name="connsiteY40602" fmla="*/ 671190 h 7458372"/>
              <a:gd name="connsiteX40603" fmla="*/ 7676409 w 10505529"/>
              <a:gd name="connsiteY40603" fmla="*/ 682638 h 7458372"/>
              <a:gd name="connsiteX40604" fmla="*/ 7674146 w 10505529"/>
              <a:gd name="connsiteY40604" fmla="*/ 694352 h 7458372"/>
              <a:gd name="connsiteX40605" fmla="*/ 7668022 w 10505529"/>
              <a:gd name="connsiteY40605" fmla="*/ 703670 h 7458372"/>
              <a:gd name="connsiteX40606" fmla="*/ 7658705 w 10505529"/>
              <a:gd name="connsiteY40606" fmla="*/ 709927 h 7458372"/>
              <a:gd name="connsiteX40607" fmla="*/ 7646991 w 10505529"/>
              <a:gd name="connsiteY40607" fmla="*/ 712190 h 7458372"/>
              <a:gd name="connsiteX40608" fmla="*/ 7625158 w 10505529"/>
              <a:gd name="connsiteY40608" fmla="*/ 703670 h 7458372"/>
              <a:gd name="connsiteX40609" fmla="*/ 7616772 w 10505529"/>
              <a:gd name="connsiteY40609" fmla="*/ 682505 h 7458372"/>
              <a:gd name="connsiteX40610" fmla="*/ 7625158 w 10505529"/>
              <a:gd name="connsiteY40610" fmla="*/ 661471 h 7458372"/>
              <a:gd name="connsiteX40611" fmla="*/ 7646991 w 10505529"/>
              <a:gd name="connsiteY40611" fmla="*/ 652819 h 7458372"/>
              <a:gd name="connsiteX40612" fmla="*/ 8082281 w 10505529"/>
              <a:gd name="connsiteY40612" fmla="*/ 652819 h 7458372"/>
              <a:gd name="connsiteX40613" fmla="*/ 8094127 w 10505529"/>
              <a:gd name="connsiteY40613" fmla="*/ 655348 h 7458372"/>
              <a:gd name="connsiteX40614" fmla="*/ 8103446 w 10505529"/>
              <a:gd name="connsiteY40614" fmla="*/ 661738 h 7458372"/>
              <a:gd name="connsiteX40615" fmla="*/ 8109569 w 10505529"/>
              <a:gd name="connsiteY40615" fmla="*/ 671189 h 7458372"/>
              <a:gd name="connsiteX40616" fmla="*/ 8111832 w 10505529"/>
              <a:gd name="connsiteY40616" fmla="*/ 682638 h 7458372"/>
              <a:gd name="connsiteX40617" fmla="*/ 8109569 w 10505529"/>
              <a:gd name="connsiteY40617" fmla="*/ 694352 h 7458372"/>
              <a:gd name="connsiteX40618" fmla="*/ 8103446 w 10505529"/>
              <a:gd name="connsiteY40618" fmla="*/ 703670 h 7458372"/>
              <a:gd name="connsiteX40619" fmla="*/ 8094127 w 10505529"/>
              <a:gd name="connsiteY40619" fmla="*/ 709927 h 7458372"/>
              <a:gd name="connsiteX40620" fmla="*/ 8082281 w 10505529"/>
              <a:gd name="connsiteY40620" fmla="*/ 712190 h 7458372"/>
              <a:gd name="connsiteX40621" fmla="*/ 8060448 w 10505529"/>
              <a:gd name="connsiteY40621" fmla="*/ 703670 h 7458372"/>
              <a:gd name="connsiteX40622" fmla="*/ 8052062 w 10505529"/>
              <a:gd name="connsiteY40622" fmla="*/ 682505 h 7458372"/>
              <a:gd name="connsiteX40623" fmla="*/ 8060448 w 10505529"/>
              <a:gd name="connsiteY40623" fmla="*/ 661471 h 7458372"/>
              <a:gd name="connsiteX40624" fmla="*/ 8082281 w 10505529"/>
              <a:gd name="connsiteY40624" fmla="*/ 652819 h 7458372"/>
              <a:gd name="connsiteX40625" fmla="*/ 8517438 w 10505529"/>
              <a:gd name="connsiteY40625" fmla="*/ 652819 h 7458372"/>
              <a:gd name="connsiteX40626" fmla="*/ 8529152 w 10505529"/>
              <a:gd name="connsiteY40626" fmla="*/ 655348 h 7458372"/>
              <a:gd name="connsiteX40627" fmla="*/ 8538470 w 10505529"/>
              <a:gd name="connsiteY40627" fmla="*/ 661738 h 7458372"/>
              <a:gd name="connsiteX40628" fmla="*/ 8544594 w 10505529"/>
              <a:gd name="connsiteY40628" fmla="*/ 671189 h 7458372"/>
              <a:gd name="connsiteX40629" fmla="*/ 8546857 w 10505529"/>
              <a:gd name="connsiteY40629" fmla="*/ 682637 h 7458372"/>
              <a:gd name="connsiteX40630" fmla="*/ 8544594 w 10505529"/>
              <a:gd name="connsiteY40630" fmla="*/ 694352 h 7458372"/>
              <a:gd name="connsiteX40631" fmla="*/ 8538470 w 10505529"/>
              <a:gd name="connsiteY40631" fmla="*/ 703670 h 7458372"/>
              <a:gd name="connsiteX40632" fmla="*/ 8529152 w 10505529"/>
              <a:gd name="connsiteY40632" fmla="*/ 709927 h 7458372"/>
              <a:gd name="connsiteX40633" fmla="*/ 8517438 w 10505529"/>
              <a:gd name="connsiteY40633" fmla="*/ 712190 h 7458372"/>
              <a:gd name="connsiteX40634" fmla="*/ 8495606 w 10505529"/>
              <a:gd name="connsiteY40634" fmla="*/ 703670 h 7458372"/>
              <a:gd name="connsiteX40635" fmla="*/ 8487220 w 10505529"/>
              <a:gd name="connsiteY40635" fmla="*/ 682504 h 7458372"/>
              <a:gd name="connsiteX40636" fmla="*/ 8495606 w 10505529"/>
              <a:gd name="connsiteY40636" fmla="*/ 661471 h 7458372"/>
              <a:gd name="connsiteX40637" fmla="*/ 8517438 w 10505529"/>
              <a:gd name="connsiteY40637" fmla="*/ 652819 h 7458372"/>
              <a:gd name="connsiteX40638" fmla="*/ 8299793 w 10505529"/>
              <a:gd name="connsiteY40638" fmla="*/ 652819 h 7458372"/>
              <a:gd name="connsiteX40639" fmla="*/ 8311507 w 10505529"/>
              <a:gd name="connsiteY40639" fmla="*/ 655348 h 7458372"/>
              <a:gd name="connsiteX40640" fmla="*/ 8320825 w 10505529"/>
              <a:gd name="connsiteY40640" fmla="*/ 661738 h 7458372"/>
              <a:gd name="connsiteX40641" fmla="*/ 8326948 w 10505529"/>
              <a:gd name="connsiteY40641" fmla="*/ 671189 h 7458372"/>
              <a:gd name="connsiteX40642" fmla="*/ 8329212 w 10505529"/>
              <a:gd name="connsiteY40642" fmla="*/ 682638 h 7458372"/>
              <a:gd name="connsiteX40643" fmla="*/ 8326948 w 10505529"/>
              <a:gd name="connsiteY40643" fmla="*/ 694352 h 7458372"/>
              <a:gd name="connsiteX40644" fmla="*/ 8320825 w 10505529"/>
              <a:gd name="connsiteY40644" fmla="*/ 703670 h 7458372"/>
              <a:gd name="connsiteX40645" fmla="*/ 8311507 w 10505529"/>
              <a:gd name="connsiteY40645" fmla="*/ 709927 h 7458372"/>
              <a:gd name="connsiteX40646" fmla="*/ 8299793 w 10505529"/>
              <a:gd name="connsiteY40646" fmla="*/ 712190 h 7458372"/>
              <a:gd name="connsiteX40647" fmla="*/ 8277960 w 10505529"/>
              <a:gd name="connsiteY40647" fmla="*/ 703670 h 7458372"/>
              <a:gd name="connsiteX40648" fmla="*/ 8269574 w 10505529"/>
              <a:gd name="connsiteY40648" fmla="*/ 682504 h 7458372"/>
              <a:gd name="connsiteX40649" fmla="*/ 8277960 w 10505529"/>
              <a:gd name="connsiteY40649" fmla="*/ 661471 h 7458372"/>
              <a:gd name="connsiteX40650" fmla="*/ 8299793 w 10505529"/>
              <a:gd name="connsiteY40650" fmla="*/ 652819 h 7458372"/>
              <a:gd name="connsiteX40651" fmla="*/ 8735083 w 10505529"/>
              <a:gd name="connsiteY40651" fmla="*/ 652819 h 7458372"/>
              <a:gd name="connsiteX40652" fmla="*/ 8746797 w 10505529"/>
              <a:gd name="connsiteY40652" fmla="*/ 655348 h 7458372"/>
              <a:gd name="connsiteX40653" fmla="*/ 8756115 w 10505529"/>
              <a:gd name="connsiteY40653" fmla="*/ 661738 h 7458372"/>
              <a:gd name="connsiteX40654" fmla="*/ 8762238 w 10505529"/>
              <a:gd name="connsiteY40654" fmla="*/ 671189 h 7458372"/>
              <a:gd name="connsiteX40655" fmla="*/ 8764502 w 10505529"/>
              <a:gd name="connsiteY40655" fmla="*/ 682637 h 7458372"/>
              <a:gd name="connsiteX40656" fmla="*/ 8762238 w 10505529"/>
              <a:gd name="connsiteY40656" fmla="*/ 694352 h 7458372"/>
              <a:gd name="connsiteX40657" fmla="*/ 8756115 w 10505529"/>
              <a:gd name="connsiteY40657" fmla="*/ 703670 h 7458372"/>
              <a:gd name="connsiteX40658" fmla="*/ 8746797 w 10505529"/>
              <a:gd name="connsiteY40658" fmla="*/ 709927 h 7458372"/>
              <a:gd name="connsiteX40659" fmla="*/ 8735083 w 10505529"/>
              <a:gd name="connsiteY40659" fmla="*/ 712190 h 7458372"/>
              <a:gd name="connsiteX40660" fmla="*/ 8713250 w 10505529"/>
              <a:gd name="connsiteY40660" fmla="*/ 703670 h 7458372"/>
              <a:gd name="connsiteX40661" fmla="*/ 8704864 w 10505529"/>
              <a:gd name="connsiteY40661" fmla="*/ 682504 h 7458372"/>
              <a:gd name="connsiteX40662" fmla="*/ 8713250 w 10505529"/>
              <a:gd name="connsiteY40662" fmla="*/ 661471 h 7458372"/>
              <a:gd name="connsiteX40663" fmla="*/ 8735083 w 10505529"/>
              <a:gd name="connsiteY40663" fmla="*/ 652819 h 7458372"/>
              <a:gd name="connsiteX40664" fmla="*/ 9170374 w 10505529"/>
              <a:gd name="connsiteY40664" fmla="*/ 652819 h 7458372"/>
              <a:gd name="connsiteX40665" fmla="*/ 9182088 w 10505529"/>
              <a:gd name="connsiteY40665" fmla="*/ 655348 h 7458372"/>
              <a:gd name="connsiteX40666" fmla="*/ 9191405 w 10505529"/>
              <a:gd name="connsiteY40666" fmla="*/ 661738 h 7458372"/>
              <a:gd name="connsiteX40667" fmla="*/ 9197529 w 10505529"/>
              <a:gd name="connsiteY40667" fmla="*/ 671189 h 7458372"/>
              <a:gd name="connsiteX40668" fmla="*/ 9199792 w 10505529"/>
              <a:gd name="connsiteY40668" fmla="*/ 682637 h 7458372"/>
              <a:gd name="connsiteX40669" fmla="*/ 9197529 w 10505529"/>
              <a:gd name="connsiteY40669" fmla="*/ 694351 h 7458372"/>
              <a:gd name="connsiteX40670" fmla="*/ 9191405 w 10505529"/>
              <a:gd name="connsiteY40670" fmla="*/ 703669 h 7458372"/>
              <a:gd name="connsiteX40671" fmla="*/ 9182088 w 10505529"/>
              <a:gd name="connsiteY40671" fmla="*/ 709927 h 7458372"/>
              <a:gd name="connsiteX40672" fmla="*/ 9170374 w 10505529"/>
              <a:gd name="connsiteY40672" fmla="*/ 712190 h 7458372"/>
              <a:gd name="connsiteX40673" fmla="*/ 9148541 w 10505529"/>
              <a:gd name="connsiteY40673" fmla="*/ 703669 h 7458372"/>
              <a:gd name="connsiteX40674" fmla="*/ 9140155 w 10505529"/>
              <a:gd name="connsiteY40674" fmla="*/ 682504 h 7458372"/>
              <a:gd name="connsiteX40675" fmla="*/ 9148541 w 10505529"/>
              <a:gd name="connsiteY40675" fmla="*/ 661471 h 7458372"/>
              <a:gd name="connsiteX40676" fmla="*/ 9170374 w 10505529"/>
              <a:gd name="connsiteY40676" fmla="*/ 652819 h 7458372"/>
              <a:gd name="connsiteX40677" fmla="*/ 8952728 w 10505529"/>
              <a:gd name="connsiteY40677" fmla="*/ 652819 h 7458372"/>
              <a:gd name="connsiteX40678" fmla="*/ 8964442 w 10505529"/>
              <a:gd name="connsiteY40678" fmla="*/ 655348 h 7458372"/>
              <a:gd name="connsiteX40679" fmla="*/ 8973760 w 10505529"/>
              <a:gd name="connsiteY40679" fmla="*/ 661738 h 7458372"/>
              <a:gd name="connsiteX40680" fmla="*/ 8979884 w 10505529"/>
              <a:gd name="connsiteY40680" fmla="*/ 671189 h 7458372"/>
              <a:gd name="connsiteX40681" fmla="*/ 8982147 w 10505529"/>
              <a:gd name="connsiteY40681" fmla="*/ 682637 h 7458372"/>
              <a:gd name="connsiteX40682" fmla="*/ 8979884 w 10505529"/>
              <a:gd name="connsiteY40682" fmla="*/ 694352 h 7458372"/>
              <a:gd name="connsiteX40683" fmla="*/ 8973760 w 10505529"/>
              <a:gd name="connsiteY40683" fmla="*/ 703670 h 7458372"/>
              <a:gd name="connsiteX40684" fmla="*/ 8964442 w 10505529"/>
              <a:gd name="connsiteY40684" fmla="*/ 709927 h 7458372"/>
              <a:gd name="connsiteX40685" fmla="*/ 8952728 w 10505529"/>
              <a:gd name="connsiteY40685" fmla="*/ 712190 h 7458372"/>
              <a:gd name="connsiteX40686" fmla="*/ 8930896 w 10505529"/>
              <a:gd name="connsiteY40686" fmla="*/ 703670 h 7458372"/>
              <a:gd name="connsiteX40687" fmla="*/ 8922510 w 10505529"/>
              <a:gd name="connsiteY40687" fmla="*/ 682504 h 7458372"/>
              <a:gd name="connsiteX40688" fmla="*/ 8930896 w 10505529"/>
              <a:gd name="connsiteY40688" fmla="*/ 661471 h 7458372"/>
              <a:gd name="connsiteX40689" fmla="*/ 8952728 w 10505529"/>
              <a:gd name="connsiteY40689" fmla="*/ 652819 h 7458372"/>
              <a:gd name="connsiteX40690" fmla="*/ 9387885 w 10505529"/>
              <a:gd name="connsiteY40690" fmla="*/ 652818 h 7458372"/>
              <a:gd name="connsiteX40691" fmla="*/ 9399599 w 10505529"/>
              <a:gd name="connsiteY40691" fmla="*/ 655347 h 7458372"/>
              <a:gd name="connsiteX40692" fmla="*/ 9408917 w 10505529"/>
              <a:gd name="connsiteY40692" fmla="*/ 661738 h 7458372"/>
              <a:gd name="connsiteX40693" fmla="*/ 9415041 w 10505529"/>
              <a:gd name="connsiteY40693" fmla="*/ 671189 h 7458372"/>
              <a:gd name="connsiteX40694" fmla="*/ 9417304 w 10505529"/>
              <a:gd name="connsiteY40694" fmla="*/ 682637 h 7458372"/>
              <a:gd name="connsiteX40695" fmla="*/ 9415041 w 10505529"/>
              <a:gd name="connsiteY40695" fmla="*/ 694351 h 7458372"/>
              <a:gd name="connsiteX40696" fmla="*/ 9408917 w 10505529"/>
              <a:gd name="connsiteY40696" fmla="*/ 703669 h 7458372"/>
              <a:gd name="connsiteX40697" fmla="*/ 9399599 w 10505529"/>
              <a:gd name="connsiteY40697" fmla="*/ 709927 h 7458372"/>
              <a:gd name="connsiteX40698" fmla="*/ 9387885 w 10505529"/>
              <a:gd name="connsiteY40698" fmla="*/ 712190 h 7458372"/>
              <a:gd name="connsiteX40699" fmla="*/ 9366053 w 10505529"/>
              <a:gd name="connsiteY40699" fmla="*/ 703669 h 7458372"/>
              <a:gd name="connsiteX40700" fmla="*/ 9357667 w 10505529"/>
              <a:gd name="connsiteY40700" fmla="*/ 682504 h 7458372"/>
              <a:gd name="connsiteX40701" fmla="*/ 9366053 w 10505529"/>
              <a:gd name="connsiteY40701" fmla="*/ 661471 h 7458372"/>
              <a:gd name="connsiteX40702" fmla="*/ 9387885 w 10505529"/>
              <a:gd name="connsiteY40702" fmla="*/ 652818 h 7458372"/>
              <a:gd name="connsiteX40703" fmla="*/ 9605531 w 10505529"/>
              <a:gd name="connsiteY40703" fmla="*/ 652818 h 7458372"/>
              <a:gd name="connsiteX40704" fmla="*/ 9617245 w 10505529"/>
              <a:gd name="connsiteY40704" fmla="*/ 655347 h 7458372"/>
              <a:gd name="connsiteX40705" fmla="*/ 9626562 w 10505529"/>
              <a:gd name="connsiteY40705" fmla="*/ 661738 h 7458372"/>
              <a:gd name="connsiteX40706" fmla="*/ 9632686 w 10505529"/>
              <a:gd name="connsiteY40706" fmla="*/ 671189 h 7458372"/>
              <a:gd name="connsiteX40707" fmla="*/ 9634949 w 10505529"/>
              <a:gd name="connsiteY40707" fmla="*/ 682637 h 7458372"/>
              <a:gd name="connsiteX40708" fmla="*/ 9632686 w 10505529"/>
              <a:gd name="connsiteY40708" fmla="*/ 694351 h 7458372"/>
              <a:gd name="connsiteX40709" fmla="*/ 9626562 w 10505529"/>
              <a:gd name="connsiteY40709" fmla="*/ 703669 h 7458372"/>
              <a:gd name="connsiteX40710" fmla="*/ 9617245 w 10505529"/>
              <a:gd name="connsiteY40710" fmla="*/ 709926 h 7458372"/>
              <a:gd name="connsiteX40711" fmla="*/ 9605531 w 10505529"/>
              <a:gd name="connsiteY40711" fmla="*/ 712190 h 7458372"/>
              <a:gd name="connsiteX40712" fmla="*/ 9583698 w 10505529"/>
              <a:gd name="connsiteY40712" fmla="*/ 703669 h 7458372"/>
              <a:gd name="connsiteX40713" fmla="*/ 9575312 w 10505529"/>
              <a:gd name="connsiteY40713" fmla="*/ 682504 h 7458372"/>
              <a:gd name="connsiteX40714" fmla="*/ 9583698 w 10505529"/>
              <a:gd name="connsiteY40714" fmla="*/ 661470 h 7458372"/>
              <a:gd name="connsiteX40715" fmla="*/ 9605531 w 10505529"/>
              <a:gd name="connsiteY40715" fmla="*/ 652818 h 7458372"/>
              <a:gd name="connsiteX40716" fmla="*/ 10040820 w 10505529"/>
              <a:gd name="connsiteY40716" fmla="*/ 652818 h 7458372"/>
              <a:gd name="connsiteX40717" fmla="*/ 10052534 w 10505529"/>
              <a:gd name="connsiteY40717" fmla="*/ 655347 h 7458372"/>
              <a:gd name="connsiteX40718" fmla="*/ 10061852 w 10505529"/>
              <a:gd name="connsiteY40718" fmla="*/ 661737 h 7458372"/>
              <a:gd name="connsiteX40719" fmla="*/ 10067976 w 10505529"/>
              <a:gd name="connsiteY40719" fmla="*/ 671189 h 7458372"/>
              <a:gd name="connsiteX40720" fmla="*/ 10070239 w 10505529"/>
              <a:gd name="connsiteY40720" fmla="*/ 682637 h 7458372"/>
              <a:gd name="connsiteX40721" fmla="*/ 10067976 w 10505529"/>
              <a:gd name="connsiteY40721" fmla="*/ 694351 h 7458372"/>
              <a:gd name="connsiteX40722" fmla="*/ 10061852 w 10505529"/>
              <a:gd name="connsiteY40722" fmla="*/ 703669 h 7458372"/>
              <a:gd name="connsiteX40723" fmla="*/ 10052534 w 10505529"/>
              <a:gd name="connsiteY40723" fmla="*/ 709926 h 7458372"/>
              <a:gd name="connsiteX40724" fmla="*/ 10040820 w 10505529"/>
              <a:gd name="connsiteY40724" fmla="*/ 712189 h 7458372"/>
              <a:gd name="connsiteX40725" fmla="*/ 10018988 w 10505529"/>
              <a:gd name="connsiteY40725" fmla="*/ 703669 h 7458372"/>
              <a:gd name="connsiteX40726" fmla="*/ 10010602 w 10505529"/>
              <a:gd name="connsiteY40726" fmla="*/ 682504 h 7458372"/>
              <a:gd name="connsiteX40727" fmla="*/ 10018988 w 10505529"/>
              <a:gd name="connsiteY40727" fmla="*/ 661470 h 7458372"/>
              <a:gd name="connsiteX40728" fmla="*/ 10040820 w 10505529"/>
              <a:gd name="connsiteY40728" fmla="*/ 652818 h 7458372"/>
              <a:gd name="connsiteX40729" fmla="*/ 9823176 w 10505529"/>
              <a:gd name="connsiteY40729" fmla="*/ 652818 h 7458372"/>
              <a:gd name="connsiteX40730" fmla="*/ 9834890 w 10505529"/>
              <a:gd name="connsiteY40730" fmla="*/ 655347 h 7458372"/>
              <a:gd name="connsiteX40731" fmla="*/ 9844208 w 10505529"/>
              <a:gd name="connsiteY40731" fmla="*/ 661737 h 7458372"/>
              <a:gd name="connsiteX40732" fmla="*/ 9850331 w 10505529"/>
              <a:gd name="connsiteY40732" fmla="*/ 671189 h 7458372"/>
              <a:gd name="connsiteX40733" fmla="*/ 9852595 w 10505529"/>
              <a:gd name="connsiteY40733" fmla="*/ 682637 h 7458372"/>
              <a:gd name="connsiteX40734" fmla="*/ 9850331 w 10505529"/>
              <a:gd name="connsiteY40734" fmla="*/ 694351 h 7458372"/>
              <a:gd name="connsiteX40735" fmla="*/ 9844208 w 10505529"/>
              <a:gd name="connsiteY40735" fmla="*/ 703669 h 7458372"/>
              <a:gd name="connsiteX40736" fmla="*/ 9834890 w 10505529"/>
              <a:gd name="connsiteY40736" fmla="*/ 709926 h 7458372"/>
              <a:gd name="connsiteX40737" fmla="*/ 9823176 w 10505529"/>
              <a:gd name="connsiteY40737" fmla="*/ 712189 h 7458372"/>
              <a:gd name="connsiteX40738" fmla="*/ 9801343 w 10505529"/>
              <a:gd name="connsiteY40738" fmla="*/ 703669 h 7458372"/>
              <a:gd name="connsiteX40739" fmla="*/ 9792957 w 10505529"/>
              <a:gd name="connsiteY40739" fmla="*/ 682504 h 7458372"/>
              <a:gd name="connsiteX40740" fmla="*/ 9801343 w 10505529"/>
              <a:gd name="connsiteY40740" fmla="*/ 661470 h 7458372"/>
              <a:gd name="connsiteX40741" fmla="*/ 9823176 w 10505529"/>
              <a:gd name="connsiteY40741" fmla="*/ 652818 h 7458372"/>
              <a:gd name="connsiteX40742" fmla="*/ 10258466 w 10505529"/>
              <a:gd name="connsiteY40742" fmla="*/ 652818 h 7458372"/>
              <a:gd name="connsiteX40743" fmla="*/ 10270313 w 10505529"/>
              <a:gd name="connsiteY40743" fmla="*/ 655347 h 7458372"/>
              <a:gd name="connsiteX40744" fmla="*/ 10279631 w 10505529"/>
              <a:gd name="connsiteY40744" fmla="*/ 661737 h 7458372"/>
              <a:gd name="connsiteX40745" fmla="*/ 10285754 w 10505529"/>
              <a:gd name="connsiteY40745" fmla="*/ 671188 h 7458372"/>
              <a:gd name="connsiteX40746" fmla="*/ 10288017 w 10505529"/>
              <a:gd name="connsiteY40746" fmla="*/ 682637 h 7458372"/>
              <a:gd name="connsiteX40747" fmla="*/ 10285754 w 10505529"/>
              <a:gd name="connsiteY40747" fmla="*/ 694351 h 7458372"/>
              <a:gd name="connsiteX40748" fmla="*/ 10279631 w 10505529"/>
              <a:gd name="connsiteY40748" fmla="*/ 703669 h 7458372"/>
              <a:gd name="connsiteX40749" fmla="*/ 10270313 w 10505529"/>
              <a:gd name="connsiteY40749" fmla="*/ 709926 h 7458372"/>
              <a:gd name="connsiteX40750" fmla="*/ 10258466 w 10505529"/>
              <a:gd name="connsiteY40750" fmla="*/ 712189 h 7458372"/>
              <a:gd name="connsiteX40751" fmla="*/ 10236633 w 10505529"/>
              <a:gd name="connsiteY40751" fmla="*/ 703669 h 7458372"/>
              <a:gd name="connsiteX40752" fmla="*/ 10228247 w 10505529"/>
              <a:gd name="connsiteY40752" fmla="*/ 682504 h 7458372"/>
              <a:gd name="connsiteX40753" fmla="*/ 10236633 w 10505529"/>
              <a:gd name="connsiteY40753" fmla="*/ 661470 h 7458372"/>
              <a:gd name="connsiteX40754" fmla="*/ 10258466 w 10505529"/>
              <a:gd name="connsiteY40754" fmla="*/ 652818 h 7458372"/>
              <a:gd name="connsiteX40755" fmla="*/ 10475977 w 10505529"/>
              <a:gd name="connsiteY40755" fmla="*/ 652818 h 7458372"/>
              <a:gd name="connsiteX40756" fmla="*/ 10487824 w 10505529"/>
              <a:gd name="connsiteY40756" fmla="*/ 655347 h 7458372"/>
              <a:gd name="connsiteX40757" fmla="*/ 10497143 w 10505529"/>
              <a:gd name="connsiteY40757" fmla="*/ 661737 h 7458372"/>
              <a:gd name="connsiteX40758" fmla="*/ 10503266 w 10505529"/>
              <a:gd name="connsiteY40758" fmla="*/ 671188 h 7458372"/>
              <a:gd name="connsiteX40759" fmla="*/ 10505529 w 10505529"/>
              <a:gd name="connsiteY40759" fmla="*/ 682636 h 7458372"/>
              <a:gd name="connsiteX40760" fmla="*/ 10503266 w 10505529"/>
              <a:gd name="connsiteY40760" fmla="*/ 694351 h 7458372"/>
              <a:gd name="connsiteX40761" fmla="*/ 10497143 w 10505529"/>
              <a:gd name="connsiteY40761" fmla="*/ 703669 h 7458372"/>
              <a:gd name="connsiteX40762" fmla="*/ 10487824 w 10505529"/>
              <a:gd name="connsiteY40762" fmla="*/ 709926 h 7458372"/>
              <a:gd name="connsiteX40763" fmla="*/ 10475977 w 10505529"/>
              <a:gd name="connsiteY40763" fmla="*/ 712189 h 7458372"/>
              <a:gd name="connsiteX40764" fmla="*/ 10454145 w 10505529"/>
              <a:gd name="connsiteY40764" fmla="*/ 703669 h 7458372"/>
              <a:gd name="connsiteX40765" fmla="*/ 10445759 w 10505529"/>
              <a:gd name="connsiteY40765" fmla="*/ 682503 h 7458372"/>
              <a:gd name="connsiteX40766" fmla="*/ 10454145 w 10505529"/>
              <a:gd name="connsiteY40766" fmla="*/ 661470 h 7458372"/>
              <a:gd name="connsiteX40767" fmla="*/ 10475977 w 10505529"/>
              <a:gd name="connsiteY40767" fmla="*/ 652818 h 7458372"/>
              <a:gd name="connsiteX40768" fmla="*/ 30232 w 10505529"/>
              <a:gd name="connsiteY40768" fmla="*/ 451946 h 7458372"/>
              <a:gd name="connsiteX40769" fmla="*/ 20249 w 10505529"/>
              <a:gd name="connsiteY40769" fmla="*/ 455540 h 7458372"/>
              <a:gd name="connsiteX40770" fmla="*/ 16655 w 10505529"/>
              <a:gd name="connsiteY40770" fmla="*/ 464991 h 7458372"/>
              <a:gd name="connsiteX40771" fmla="*/ 20249 w 10505529"/>
              <a:gd name="connsiteY40771" fmla="*/ 474443 h 7458372"/>
              <a:gd name="connsiteX40772" fmla="*/ 30232 w 10505529"/>
              <a:gd name="connsiteY40772" fmla="*/ 477904 h 7458372"/>
              <a:gd name="connsiteX40773" fmla="*/ 35557 w 10505529"/>
              <a:gd name="connsiteY40773" fmla="*/ 476972 h 7458372"/>
              <a:gd name="connsiteX40774" fmla="*/ 39284 w 10505529"/>
              <a:gd name="connsiteY40774" fmla="*/ 474576 h 7458372"/>
              <a:gd name="connsiteX40775" fmla="*/ 41947 w 10505529"/>
              <a:gd name="connsiteY40775" fmla="*/ 470449 h 7458372"/>
              <a:gd name="connsiteX40776" fmla="*/ 42878 w 10505529"/>
              <a:gd name="connsiteY40776" fmla="*/ 464991 h 7458372"/>
              <a:gd name="connsiteX40777" fmla="*/ 41947 w 10505529"/>
              <a:gd name="connsiteY40777" fmla="*/ 459799 h 7458372"/>
              <a:gd name="connsiteX40778" fmla="*/ 39284 w 10505529"/>
              <a:gd name="connsiteY40778" fmla="*/ 455540 h 7458372"/>
              <a:gd name="connsiteX40779" fmla="*/ 35291 w 10505529"/>
              <a:gd name="connsiteY40779" fmla="*/ 452877 h 7458372"/>
              <a:gd name="connsiteX40780" fmla="*/ 30232 w 10505529"/>
              <a:gd name="connsiteY40780" fmla="*/ 451946 h 7458372"/>
              <a:gd name="connsiteX40781" fmla="*/ 247877 w 10505529"/>
              <a:gd name="connsiteY40781" fmla="*/ 451946 h 7458372"/>
              <a:gd name="connsiteX40782" fmla="*/ 237893 w 10505529"/>
              <a:gd name="connsiteY40782" fmla="*/ 455540 h 7458372"/>
              <a:gd name="connsiteX40783" fmla="*/ 234300 w 10505529"/>
              <a:gd name="connsiteY40783" fmla="*/ 464991 h 7458372"/>
              <a:gd name="connsiteX40784" fmla="*/ 237893 w 10505529"/>
              <a:gd name="connsiteY40784" fmla="*/ 474443 h 7458372"/>
              <a:gd name="connsiteX40785" fmla="*/ 247877 w 10505529"/>
              <a:gd name="connsiteY40785" fmla="*/ 477904 h 7458372"/>
              <a:gd name="connsiteX40786" fmla="*/ 253202 w 10505529"/>
              <a:gd name="connsiteY40786" fmla="*/ 476972 h 7458372"/>
              <a:gd name="connsiteX40787" fmla="*/ 256929 w 10505529"/>
              <a:gd name="connsiteY40787" fmla="*/ 474576 h 7458372"/>
              <a:gd name="connsiteX40788" fmla="*/ 259592 w 10505529"/>
              <a:gd name="connsiteY40788" fmla="*/ 470449 h 7458372"/>
              <a:gd name="connsiteX40789" fmla="*/ 260657 w 10505529"/>
              <a:gd name="connsiteY40789" fmla="*/ 464991 h 7458372"/>
              <a:gd name="connsiteX40790" fmla="*/ 259592 w 10505529"/>
              <a:gd name="connsiteY40790" fmla="*/ 459799 h 7458372"/>
              <a:gd name="connsiteX40791" fmla="*/ 256929 w 10505529"/>
              <a:gd name="connsiteY40791" fmla="*/ 455540 h 7458372"/>
              <a:gd name="connsiteX40792" fmla="*/ 252936 w 10505529"/>
              <a:gd name="connsiteY40792" fmla="*/ 452877 h 7458372"/>
              <a:gd name="connsiteX40793" fmla="*/ 247877 w 10505529"/>
              <a:gd name="connsiteY40793" fmla="*/ 451946 h 7458372"/>
              <a:gd name="connsiteX40794" fmla="*/ 465521 w 10505529"/>
              <a:gd name="connsiteY40794" fmla="*/ 451946 h 7458372"/>
              <a:gd name="connsiteX40795" fmla="*/ 455538 w 10505529"/>
              <a:gd name="connsiteY40795" fmla="*/ 455540 h 7458372"/>
              <a:gd name="connsiteX40796" fmla="*/ 451944 w 10505529"/>
              <a:gd name="connsiteY40796" fmla="*/ 464991 h 7458372"/>
              <a:gd name="connsiteX40797" fmla="*/ 455538 w 10505529"/>
              <a:gd name="connsiteY40797" fmla="*/ 474442 h 7458372"/>
              <a:gd name="connsiteX40798" fmla="*/ 465521 w 10505529"/>
              <a:gd name="connsiteY40798" fmla="*/ 477903 h 7458372"/>
              <a:gd name="connsiteX40799" fmla="*/ 470846 w 10505529"/>
              <a:gd name="connsiteY40799" fmla="*/ 476971 h 7458372"/>
              <a:gd name="connsiteX40800" fmla="*/ 474573 w 10505529"/>
              <a:gd name="connsiteY40800" fmla="*/ 474575 h 7458372"/>
              <a:gd name="connsiteX40801" fmla="*/ 477236 w 10505529"/>
              <a:gd name="connsiteY40801" fmla="*/ 470449 h 7458372"/>
              <a:gd name="connsiteX40802" fmla="*/ 478301 w 10505529"/>
              <a:gd name="connsiteY40802" fmla="*/ 464991 h 7458372"/>
              <a:gd name="connsiteX40803" fmla="*/ 477236 w 10505529"/>
              <a:gd name="connsiteY40803" fmla="*/ 459799 h 7458372"/>
              <a:gd name="connsiteX40804" fmla="*/ 474573 w 10505529"/>
              <a:gd name="connsiteY40804" fmla="*/ 455540 h 7458372"/>
              <a:gd name="connsiteX40805" fmla="*/ 470580 w 10505529"/>
              <a:gd name="connsiteY40805" fmla="*/ 452877 h 7458372"/>
              <a:gd name="connsiteX40806" fmla="*/ 465521 w 10505529"/>
              <a:gd name="connsiteY40806" fmla="*/ 451946 h 7458372"/>
              <a:gd name="connsiteX40807" fmla="*/ 683166 w 10505529"/>
              <a:gd name="connsiteY40807" fmla="*/ 451946 h 7458372"/>
              <a:gd name="connsiteX40808" fmla="*/ 673182 w 10505529"/>
              <a:gd name="connsiteY40808" fmla="*/ 455540 h 7458372"/>
              <a:gd name="connsiteX40809" fmla="*/ 669588 w 10505529"/>
              <a:gd name="connsiteY40809" fmla="*/ 464991 h 7458372"/>
              <a:gd name="connsiteX40810" fmla="*/ 673182 w 10505529"/>
              <a:gd name="connsiteY40810" fmla="*/ 474442 h 7458372"/>
              <a:gd name="connsiteX40811" fmla="*/ 683166 w 10505529"/>
              <a:gd name="connsiteY40811" fmla="*/ 477903 h 7458372"/>
              <a:gd name="connsiteX40812" fmla="*/ 688491 w 10505529"/>
              <a:gd name="connsiteY40812" fmla="*/ 476971 h 7458372"/>
              <a:gd name="connsiteX40813" fmla="*/ 692218 w 10505529"/>
              <a:gd name="connsiteY40813" fmla="*/ 474575 h 7458372"/>
              <a:gd name="connsiteX40814" fmla="*/ 694881 w 10505529"/>
              <a:gd name="connsiteY40814" fmla="*/ 470449 h 7458372"/>
              <a:gd name="connsiteX40815" fmla="*/ 695946 w 10505529"/>
              <a:gd name="connsiteY40815" fmla="*/ 464991 h 7458372"/>
              <a:gd name="connsiteX40816" fmla="*/ 694881 w 10505529"/>
              <a:gd name="connsiteY40816" fmla="*/ 459799 h 7458372"/>
              <a:gd name="connsiteX40817" fmla="*/ 692218 w 10505529"/>
              <a:gd name="connsiteY40817" fmla="*/ 455540 h 7458372"/>
              <a:gd name="connsiteX40818" fmla="*/ 688225 w 10505529"/>
              <a:gd name="connsiteY40818" fmla="*/ 452877 h 7458372"/>
              <a:gd name="connsiteX40819" fmla="*/ 683166 w 10505529"/>
              <a:gd name="connsiteY40819" fmla="*/ 451946 h 7458372"/>
              <a:gd name="connsiteX40820" fmla="*/ 1118455 w 10505529"/>
              <a:gd name="connsiteY40820" fmla="*/ 451946 h 7458372"/>
              <a:gd name="connsiteX40821" fmla="*/ 1108471 w 10505529"/>
              <a:gd name="connsiteY40821" fmla="*/ 455540 h 7458372"/>
              <a:gd name="connsiteX40822" fmla="*/ 1104744 w 10505529"/>
              <a:gd name="connsiteY40822" fmla="*/ 464991 h 7458372"/>
              <a:gd name="connsiteX40823" fmla="*/ 1108338 w 10505529"/>
              <a:gd name="connsiteY40823" fmla="*/ 474442 h 7458372"/>
              <a:gd name="connsiteX40824" fmla="*/ 1118322 w 10505529"/>
              <a:gd name="connsiteY40824" fmla="*/ 477903 h 7458372"/>
              <a:gd name="connsiteX40825" fmla="*/ 1123780 w 10505529"/>
              <a:gd name="connsiteY40825" fmla="*/ 476971 h 7458372"/>
              <a:gd name="connsiteX40826" fmla="*/ 1127507 w 10505529"/>
              <a:gd name="connsiteY40826" fmla="*/ 474575 h 7458372"/>
              <a:gd name="connsiteX40827" fmla="*/ 1130170 w 10505529"/>
              <a:gd name="connsiteY40827" fmla="*/ 470449 h 7458372"/>
              <a:gd name="connsiteX40828" fmla="*/ 1131235 w 10505529"/>
              <a:gd name="connsiteY40828" fmla="*/ 464991 h 7458372"/>
              <a:gd name="connsiteX40829" fmla="*/ 1130170 w 10505529"/>
              <a:gd name="connsiteY40829" fmla="*/ 459799 h 7458372"/>
              <a:gd name="connsiteX40830" fmla="*/ 1127507 w 10505529"/>
              <a:gd name="connsiteY40830" fmla="*/ 455540 h 7458372"/>
              <a:gd name="connsiteX40831" fmla="*/ 1123514 w 10505529"/>
              <a:gd name="connsiteY40831" fmla="*/ 452877 h 7458372"/>
              <a:gd name="connsiteX40832" fmla="*/ 1118455 w 10505529"/>
              <a:gd name="connsiteY40832" fmla="*/ 451946 h 7458372"/>
              <a:gd name="connsiteX40833" fmla="*/ 900944 w 10505529"/>
              <a:gd name="connsiteY40833" fmla="*/ 451946 h 7458372"/>
              <a:gd name="connsiteX40834" fmla="*/ 890960 w 10505529"/>
              <a:gd name="connsiteY40834" fmla="*/ 455540 h 7458372"/>
              <a:gd name="connsiteX40835" fmla="*/ 887233 w 10505529"/>
              <a:gd name="connsiteY40835" fmla="*/ 464991 h 7458372"/>
              <a:gd name="connsiteX40836" fmla="*/ 890827 w 10505529"/>
              <a:gd name="connsiteY40836" fmla="*/ 474442 h 7458372"/>
              <a:gd name="connsiteX40837" fmla="*/ 900810 w 10505529"/>
              <a:gd name="connsiteY40837" fmla="*/ 477903 h 7458372"/>
              <a:gd name="connsiteX40838" fmla="*/ 906268 w 10505529"/>
              <a:gd name="connsiteY40838" fmla="*/ 476971 h 7458372"/>
              <a:gd name="connsiteX40839" fmla="*/ 909996 w 10505529"/>
              <a:gd name="connsiteY40839" fmla="*/ 474575 h 7458372"/>
              <a:gd name="connsiteX40840" fmla="*/ 912658 w 10505529"/>
              <a:gd name="connsiteY40840" fmla="*/ 470449 h 7458372"/>
              <a:gd name="connsiteX40841" fmla="*/ 913723 w 10505529"/>
              <a:gd name="connsiteY40841" fmla="*/ 464991 h 7458372"/>
              <a:gd name="connsiteX40842" fmla="*/ 912658 w 10505529"/>
              <a:gd name="connsiteY40842" fmla="*/ 459799 h 7458372"/>
              <a:gd name="connsiteX40843" fmla="*/ 909996 w 10505529"/>
              <a:gd name="connsiteY40843" fmla="*/ 455540 h 7458372"/>
              <a:gd name="connsiteX40844" fmla="*/ 906002 w 10505529"/>
              <a:gd name="connsiteY40844" fmla="*/ 452877 h 7458372"/>
              <a:gd name="connsiteX40845" fmla="*/ 900944 w 10505529"/>
              <a:gd name="connsiteY40845" fmla="*/ 451946 h 7458372"/>
              <a:gd name="connsiteX40846" fmla="*/ 1771256 w 10505529"/>
              <a:gd name="connsiteY40846" fmla="*/ 451945 h 7458372"/>
              <a:gd name="connsiteX40847" fmla="*/ 1761273 w 10505529"/>
              <a:gd name="connsiteY40847" fmla="*/ 455539 h 7458372"/>
              <a:gd name="connsiteX40848" fmla="*/ 1757679 w 10505529"/>
              <a:gd name="connsiteY40848" fmla="*/ 464991 h 7458372"/>
              <a:gd name="connsiteX40849" fmla="*/ 1761273 w 10505529"/>
              <a:gd name="connsiteY40849" fmla="*/ 474442 h 7458372"/>
              <a:gd name="connsiteX40850" fmla="*/ 1771256 w 10505529"/>
              <a:gd name="connsiteY40850" fmla="*/ 477903 h 7458372"/>
              <a:gd name="connsiteX40851" fmla="*/ 1776581 w 10505529"/>
              <a:gd name="connsiteY40851" fmla="*/ 476971 h 7458372"/>
              <a:gd name="connsiteX40852" fmla="*/ 1780309 w 10505529"/>
              <a:gd name="connsiteY40852" fmla="*/ 474575 h 7458372"/>
              <a:gd name="connsiteX40853" fmla="*/ 1782971 w 10505529"/>
              <a:gd name="connsiteY40853" fmla="*/ 470449 h 7458372"/>
              <a:gd name="connsiteX40854" fmla="*/ 1784037 w 10505529"/>
              <a:gd name="connsiteY40854" fmla="*/ 464991 h 7458372"/>
              <a:gd name="connsiteX40855" fmla="*/ 1782971 w 10505529"/>
              <a:gd name="connsiteY40855" fmla="*/ 459799 h 7458372"/>
              <a:gd name="connsiteX40856" fmla="*/ 1780309 w 10505529"/>
              <a:gd name="connsiteY40856" fmla="*/ 455539 h 7458372"/>
              <a:gd name="connsiteX40857" fmla="*/ 1776315 w 10505529"/>
              <a:gd name="connsiteY40857" fmla="*/ 452876 h 7458372"/>
              <a:gd name="connsiteX40858" fmla="*/ 1771256 w 10505529"/>
              <a:gd name="connsiteY40858" fmla="*/ 451945 h 7458372"/>
              <a:gd name="connsiteX40859" fmla="*/ 1553612 w 10505529"/>
              <a:gd name="connsiteY40859" fmla="*/ 451945 h 7458372"/>
              <a:gd name="connsiteX40860" fmla="*/ 1543628 w 10505529"/>
              <a:gd name="connsiteY40860" fmla="*/ 455539 h 7458372"/>
              <a:gd name="connsiteX40861" fmla="*/ 1540034 w 10505529"/>
              <a:gd name="connsiteY40861" fmla="*/ 464991 h 7458372"/>
              <a:gd name="connsiteX40862" fmla="*/ 1543628 w 10505529"/>
              <a:gd name="connsiteY40862" fmla="*/ 474442 h 7458372"/>
              <a:gd name="connsiteX40863" fmla="*/ 1553612 w 10505529"/>
              <a:gd name="connsiteY40863" fmla="*/ 477903 h 7458372"/>
              <a:gd name="connsiteX40864" fmla="*/ 1558937 w 10505529"/>
              <a:gd name="connsiteY40864" fmla="*/ 476971 h 7458372"/>
              <a:gd name="connsiteX40865" fmla="*/ 1562664 w 10505529"/>
              <a:gd name="connsiteY40865" fmla="*/ 474575 h 7458372"/>
              <a:gd name="connsiteX40866" fmla="*/ 1565327 w 10505529"/>
              <a:gd name="connsiteY40866" fmla="*/ 470449 h 7458372"/>
              <a:gd name="connsiteX40867" fmla="*/ 1566392 w 10505529"/>
              <a:gd name="connsiteY40867" fmla="*/ 464991 h 7458372"/>
              <a:gd name="connsiteX40868" fmla="*/ 1565327 w 10505529"/>
              <a:gd name="connsiteY40868" fmla="*/ 459799 h 7458372"/>
              <a:gd name="connsiteX40869" fmla="*/ 1562664 w 10505529"/>
              <a:gd name="connsiteY40869" fmla="*/ 455539 h 7458372"/>
              <a:gd name="connsiteX40870" fmla="*/ 1558671 w 10505529"/>
              <a:gd name="connsiteY40870" fmla="*/ 452876 h 7458372"/>
              <a:gd name="connsiteX40871" fmla="*/ 1553612 w 10505529"/>
              <a:gd name="connsiteY40871" fmla="*/ 451945 h 7458372"/>
              <a:gd name="connsiteX40872" fmla="*/ 1335967 w 10505529"/>
              <a:gd name="connsiteY40872" fmla="*/ 451945 h 7458372"/>
              <a:gd name="connsiteX40873" fmla="*/ 1325984 w 10505529"/>
              <a:gd name="connsiteY40873" fmla="*/ 455540 h 7458372"/>
              <a:gd name="connsiteX40874" fmla="*/ 1322389 w 10505529"/>
              <a:gd name="connsiteY40874" fmla="*/ 464991 h 7458372"/>
              <a:gd name="connsiteX40875" fmla="*/ 1325984 w 10505529"/>
              <a:gd name="connsiteY40875" fmla="*/ 474442 h 7458372"/>
              <a:gd name="connsiteX40876" fmla="*/ 1335967 w 10505529"/>
              <a:gd name="connsiteY40876" fmla="*/ 477903 h 7458372"/>
              <a:gd name="connsiteX40877" fmla="*/ 1341292 w 10505529"/>
              <a:gd name="connsiteY40877" fmla="*/ 476971 h 7458372"/>
              <a:gd name="connsiteX40878" fmla="*/ 1345019 w 10505529"/>
              <a:gd name="connsiteY40878" fmla="*/ 474575 h 7458372"/>
              <a:gd name="connsiteX40879" fmla="*/ 1347682 w 10505529"/>
              <a:gd name="connsiteY40879" fmla="*/ 470449 h 7458372"/>
              <a:gd name="connsiteX40880" fmla="*/ 1348747 w 10505529"/>
              <a:gd name="connsiteY40880" fmla="*/ 464991 h 7458372"/>
              <a:gd name="connsiteX40881" fmla="*/ 1347682 w 10505529"/>
              <a:gd name="connsiteY40881" fmla="*/ 459799 h 7458372"/>
              <a:gd name="connsiteX40882" fmla="*/ 1345019 w 10505529"/>
              <a:gd name="connsiteY40882" fmla="*/ 455540 h 7458372"/>
              <a:gd name="connsiteX40883" fmla="*/ 1341026 w 10505529"/>
              <a:gd name="connsiteY40883" fmla="*/ 452877 h 7458372"/>
              <a:gd name="connsiteX40884" fmla="*/ 1335967 w 10505529"/>
              <a:gd name="connsiteY40884" fmla="*/ 451945 h 7458372"/>
              <a:gd name="connsiteX40885" fmla="*/ 2206414 w 10505529"/>
              <a:gd name="connsiteY40885" fmla="*/ 451945 h 7458372"/>
              <a:gd name="connsiteX40886" fmla="*/ 2196430 w 10505529"/>
              <a:gd name="connsiteY40886" fmla="*/ 455539 h 7458372"/>
              <a:gd name="connsiteX40887" fmla="*/ 2192836 w 10505529"/>
              <a:gd name="connsiteY40887" fmla="*/ 464990 h 7458372"/>
              <a:gd name="connsiteX40888" fmla="*/ 2196430 w 10505529"/>
              <a:gd name="connsiteY40888" fmla="*/ 474442 h 7458372"/>
              <a:gd name="connsiteX40889" fmla="*/ 2206414 w 10505529"/>
              <a:gd name="connsiteY40889" fmla="*/ 477903 h 7458372"/>
              <a:gd name="connsiteX40890" fmla="*/ 2211739 w 10505529"/>
              <a:gd name="connsiteY40890" fmla="*/ 476971 h 7458372"/>
              <a:gd name="connsiteX40891" fmla="*/ 2215466 w 10505529"/>
              <a:gd name="connsiteY40891" fmla="*/ 474575 h 7458372"/>
              <a:gd name="connsiteX40892" fmla="*/ 2218129 w 10505529"/>
              <a:gd name="connsiteY40892" fmla="*/ 470448 h 7458372"/>
              <a:gd name="connsiteX40893" fmla="*/ 2219060 w 10505529"/>
              <a:gd name="connsiteY40893" fmla="*/ 464990 h 7458372"/>
              <a:gd name="connsiteX40894" fmla="*/ 2218129 w 10505529"/>
              <a:gd name="connsiteY40894" fmla="*/ 459798 h 7458372"/>
              <a:gd name="connsiteX40895" fmla="*/ 2215466 w 10505529"/>
              <a:gd name="connsiteY40895" fmla="*/ 455539 h 7458372"/>
              <a:gd name="connsiteX40896" fmla="*/ 2211473 w 10505529"/>
              <a:gd name="connsiteY40896" fmla="*/ 452876 h 7458372"/>
              <a:gd name="connsiteX40897" fmla="*/ 2206414 w 10505529"/>
              <a:gd name="connsiteY40897" fmla="*/ 451945 h 7458372"/>
              <a:gd name="connsiteX40898" fmla="*/ 1988900 w 10505529"/>
              <a:gd name="connsiteY40898" fmla="*/ 451945 h 7458372"/>
              <a:gd name="connsiteX40899" fmla="*/ 1978917 w 10505529"/>
              <a:gd name="connsiteY40899" fmla="*/ 455539 h 7458372"/>
              <a:gd name="connsiteX40900" fmla="*/ 1975323 w 10505529"/>
              <a:gd name="connsiteY40900" fmla="*/ 464990 h 7458372"/>
              <a:gd name="connsiteX40901" fmla="*/ 1978917 w 10505529"/>
              <a:gd name="connsiteY40901" fmla="*/ 474442 h 7458372"/>
              <a:gd name="connsiteX40902" fmla="*/ 1988900 w 10505529"/>
              <a:gd name="connsiteY40902" fmla="*/ 477903 h 7458372"/>
              <a:gd name="connsiteX40903" fmla="*/ 1994225 w 10505529"/>
              <a:gd name="connsiteY40903" fmla="*/ 476971 h 7458372"/>
              <a:gd name="connsiteX40904" fmla="*/ 1997953 w 10505529"/>
              <a:gd name="connsiteY40904" fmla="*/ 474575 h 7458372"/>
              <a:gd name="connsiteX40905" fmla="*/ 2000616 w 10505529"/>
              <a:gd name="connsiteY40905" fmla="*/ 470449 h 7458372"/>
              <a:gd name="connsiteX40906" fmla="*/ 2001546 w 10505529"/>
              <a:gd name="connsiteY40906" fmla="*/ 464990 h 7458372"/>
              <a:gd name="connsiteX40907" fmla="*/ 2000616 w 10505529"/>
              <a:gd name="connsiteY40907" fmla="*/ 459798 h 7458372"/>
              <a:gd name="connsiteX40908" fmla="*/ 1997953 w 10505529"/>
              <a:gd name="connsiteY40908" fmla="*/ 455539 h 7458372"/>
              <a:gd name="connsiteX40909" fmla="*/ 1993959 w 10505529"/>
              <a:gd name="connsiteY40909" fmla="*/ 452876 h 7458372"/>
              <a:gd name="connsiteX40910" fmla="*/ 1988900 w 10505529"/>
              <a:gd name="connsiteY40910" fmla="*/ 451945 h 7458372"/>
              <a:gd name="connsiteX40911" fmla="*/ 2641707 w 10505529"/>
              <a:gd name="connsiteY40911" fmla="*/ 451945 h 7458372"/>
              <a:gd name="connsiteX40912" fmla="*/ 2631724 w 10505529"/>
              <a:gd name="connsiteY40912" fmla="*/ 455539 h 7458372"/>
              <a:gd name="connsiteX40913" fmla="*/ 2628130 w 10505529"/>
              <a:gd name="connsiteY40913" fmla="*/ 464990 h 7458372"/>
              <a:gd name="connsiteX40914" fmla="*/ 2631724 w 10505529"/>
              <a:gd name="connsiteY40914" fmla="*/ 474441 h 7458372"/>
              <a:gd name="connsiteX40915" fmla="*/ 2641707 w 10505529"/>
              <a:gd name="connsiteY40915" fmla="*/ 477902 h 7458372"/>
              <a:gd name="connsiteX40916" fmla="*/ 2647032 w 10505529"/>
              <a:gd name="connsiteY40916" fmla="*/ 476970 h 7458372"/>
              <a:gd name="connsiteX40917" fmla="*/ 2650759 w 10505529"/>
              <a:gd name="connsiteY40917" fmla="*/ 474574 h 7458372"/>
              <a:gd name="connsiteX40918" fmla="*/ 2653422 w 10505529"/>
              <a:gd name="connsiteY40918" fmla="*/ 470448 h 7458372"/>
              <a:gd name="connsiteX40919" fmla="*/ 2654353 w 10505529"/>
              <a:gd name="connsiteY40919" fmla="*/ 464990 h 7458372"/>
              <a:gd name="connsiteX40920" fmla="*/ 2653422 w 10505529"/>
              <a:gd name="connsiteY40920" fmla="*/ 459798 h 7458372"/>
              <a:gd name="connsiteX40921" fmla="*/ 2650759 w 10505529"/>
              <a:gd name="connsiteY40921" fmla="*/ 455539 h 7458372"/>
              <a:gd name="connsiteX40922" fmla="*/ 2646766 w 10505529"/>
              <a:gd name="connsiteY40922" fmla="*/ 452876 h 7458372"/>
              <a:gd name="connsiteX40923" fmla="*/ 2641707 w 10505529"/>
              <a:gd name="connsiteY40923" fmla="*/ 451945 h 7458372"/>
              <a:gd name="connsiteX40924" fmla="*/ 2424060 w 10505529"/>
              <a:gd name="connsiteY40924" fmla="*/ 451945 h 7458372"/>
              <a:gd name="connsiteX40925" fmla="*/ 2414077 w 10505529"/>
              <a:gd name="connsiteY40925" fmla="*/ 455539 h 7458372"/>
              <a:gd name="connsiteX40926" fmla="*/ 2410483 w 10505529"/>
              <a:gd name="connsiteY40926" fmla="*/ 464990 h 7458372"/>
              <a:gd name="connsiteX40927" fmla="*/ 2414077 w 10505529"/>
              <a:gd name="connsiteY40927" fmla="*/ 474441 h 7458372"/>
              <a:gd name="connsiteX40928" fmla="*/ 2424060 w 10505529"/>
              <a:gd name="connsiteY40928" fmla="*/ 477902 h 7458372"/>
              <a:gd name="connsiteX40929" fmla="*/ 2429386 w 10505529"/>
              <a:gd name="connsiteY40929" fmla="*/ 476970 h 7458372"/>
              <a:gd name="connsiteX40930" fmla="*/ 2433112 w 10505529"/>
              <a:gd name="connsiteY40930" fmla="*/ 474574 h 7458372"/>
              <a:gd name="connsiteX40931" fmla="*/ 2435776 w 10505529"/>
              <a:gd name="connsiteY40931" fmla="*/ 470448 h 7458372"/>
              <a:gd name="connsiteX40932" fmla="*/ 2436707 w 10505529"/>
              <a:gd name="connsiteY40932" fmla="*/ 464990 h 7458372"/>
              <a:gd name="connsiteX40933" fmla="*/ 2435776 w 10505529"/>
              <a:gd name="connsiteY40933" fmla="*/ 459798 h 7458372"/>
              <a:gd name="connsiteX40934" fmla="*/ 2433112 w 10505529"/>
              <a:gd name="connsiteY40934" fmla="*/ 455539 h 7458372"/>
              <a:gd name="connsiteX40935" fmla="*/ 2429119 w 10505529"/>
              <a:gd name="connsiteY40935" fmla="*/ 452876 h 7458372"/>
              <a:gd name="connsiteX40936" fmla="*/ 2424060 w 10505529"/>
              <a:gd name="connsiteY40936" fmla="*/ 451945 h 7458372"/>
              <a:gd name="connsiteX40937" fmla="*/ 3077133 w 10505529"/>
              <a:gd name="connsiteY40937" fmla="*/ 451945 h 7458372"/>
              <a:gd name="connsiteX40938" fmla="*/ 3067150 w 10505529"/>
              <a:gd name="connsiteY40938" fmla="*/ 455539 h 7458372"/>
              <a:gd name="connsiteX40939" fmla="*/ 3063422 w 10505529"/>
              <a:gd name="connsiteY40939" fmla="*/ 464990 h 7458372"/>
              <a:gd name="connsiteX40940" fmla="*/ 3067017 w 10505529"/>
              <a:gd name="connsiteY40940" fmla="*/ 474441 h 7458372"/>
              <a:gd name="connsiteX40941" fmla="*/ 3077000 w 10505529"/>
              <a:gd name="connsiteY40941" fmla="*/ 477902 h 7458372"/>
              <a:gd name="connsiteX40942" fmla="*/ 3082458 w 10505529"/>
              <a:gd name="connsiteY40942" fmla="*/ 476970 h 7458372"/>
              <a:gd name="connsiteX40943" fmla="*/ 3086185 w 10505529"/>
              <a:gd name="connsiteY40943" fmla="*/ 474574 h 7458372"/>
              <a:gd name="connsiteX40944" fmla="*/ 3088848 w 10505529"/>
              <a:gd name="connsiteY40944" fmla="*/ 470448 h 7458372"/>
              <a:gd name="connsiteX40945" fmla="*/ 3089780 w 10505529"/>
              <a:gd name="connsiteY40945" fmla="*/ 464990 h 7458372"/>
              <a:gd name="connsiteX40946" fmla="*/ 3088848 w 10505529"/>
              <a:gd name="connsiteY40946" fmla="*/ 459798 h 7458372"/>
              <a:gd name="connsiteX40947" fmla="*/ 3086185 w 10505529"/>
              <a:gd name="connsiteY40947" fmla="*/ 455539 h 7458372"/>
              <a:gd name="connsiteX40948" fmla="*/ 3082192 w 10505529"/>
              <a:gd name="connsiteY40948" fmla="*/ 452876 h 7458372"/>
              <a:gd name="connsiteX40949" fmla="*/ 3077133 w 10505529"/>
              <a:gd name="connsiteY40949" fmla="*/ 451945 h 7458372"/>
              <a:gd name="connsiteX40950" fmla="*/ 2859353 w 10505529"/>
              <a:gd name="connsiteY40950" fmla="*/ 451945 h 7458372"/>
              <a:gd name="connsiteX40951" fmla="*/ 2849370 w 10505529"/>
              <a:gd name="connsiteY40951" fmla="*/ 455539 h 7458372"/>
              <a:gd name="connsiteX40952" fmla="*/ 2845776 w 10505529"/>
              <a:gd name="connsiteY40952" fmla="*/ 464990 h 7458372"/>
              <a:gd name="connsiteX40953" fmla="*/ 2849370 w 10505529"/>
              <a:gd name="connsiteY40953" fmla="*/ 474441 h 7458372"/>
              <a:gd name="connsiteX40954" fmla="*/ 2859353 w 10505529"/>
              <a:gd name="connsiteY40954" fmla="*/ 477902 h 7458372"/>
              <a:gd name="connsiteX40955" fmla="*/ 2864678 w 10505529"/>
              <a:gd name="connsiteY40955" fmla="*/ 476970 h 7458372"/>
              <a:gd name="connsiteX40956" fmla="*/ 2868405 w 10505529"/>
              <a:gd name="connsiteY40956" fmla="*/ 474574 h 7458372"/>
              <a:gd name="connsiteX40957" fmla="*/ 2871068 w 10505529"/>
              <a:gd name="connsiteY40957" fmla="*/ 470448 h 7458372"/>
              <a:gd name="connsiteX40958" fmla="*/ 2871999 w 10505529"/>
              <a:gd name="connsiteY40958" fmla="*/ 464990 h 7458372"/>
              <a:gd name="connsiteX40959" fmla="*/ 2871068 w 10505529"/>
              <a:gd name="connsiteY40959" fmla="*/ 459798 h 7458372"/>
              <a:gd name="connsiteX40960" fmla="*/ 2868405 w 10505529"/>
              <a:gd name="connsiteY40960" fmla="*/ 455539 h 7458372"/>
              <a:gd name="connsiteX40961" fmla="*/ 2864413 w 10505529"/>
              <a:gd name="connsiteY40961" fmla="*/ 452876 h 7458372"/>
              <a:gd name="connsiteX40962" fmla="*/ 2859353 w 10505529"/>
              <a:gd name="connsiteY40962" fmla="*/ 451945 h 7458372"/>
              <a:gd name="connsiteX40963" fmla="*/ 3294646 w 10505529"/>
              <a:gd name="connsiteY40963" fmla="*/ 451945 h 7458372"/>
              <a:gd name="connsiteX40964" fmla="*/ 3284663 w 10505529"/>
              <a:gd name="connsiteY40964" fmla="*/ 455539 h 7458372"/>
              <a:gd name="connsiteX40965" fmla="*/ 3281069 w 10505529"/>
              <a:gd name="connsiteY40965" fmla="*/ 464990 h 7458372"/>
              <a:gd name="connsiteX40966" fmla="*/ 3284663 w 10505529"/>
              <a:gd name="connsiteY40966" fmla="*/ 474441 h 7458372"/>
              <a:gd name="connsiteX40967" fmla="*/ 3294646 w 10505529"/>
              <a:gd name="connsiteY40967" fmla="*/ 477902 h 7458372"/>
              <a:gd name="connsiteX40968" fmla="*/ 3299972 w 10505529"/>
              <a:gd name="connsiteY40968" fmla="*/ 476970 h 7458372"/>
              <a:gd name="connsiteX40969" fmla="*/ 3303699 w 10505529"/>
              <a:gd name="connsiteY40969" fmla="*/ 474574 h 7458372"/>
              <a:gd name="connsiteX40970" fmla="*/ 3306362 w 10505529"/>
              <a:gd name="connsiteY40970" fmla="*/ 470448 h 7458372"/>
              <a:gd name="connsiteX40971" fmla="*/ 3307426 w 10505529"/>
              <a:gd name="connsiteY40971" fmla="*/ 464990 h 7458372"/>
              <a:gd name="connsiteX40972" fmla="*/ 3306362 w 10505529"/>
              <a:gd name="connsiteY40972" fmla="*/ 459798 h 7458372"/>
              <a:gd name="connsiteX40973" fmla="*/ 3303699 w 10505529"/>
              <a:gd name="connsiteY40973" fmla="*/ 455539 h 7458372"/>
              <a:gd name="connsiteX40974" fmla="*/ 3299706 w 10505529"/>
              <a:gd name="connsiteY40974" fmla="*/ 452876 h 7458372"/>
              <a:gd name="connsiteX40975" fmla="*/ 3294646 w 10505529"/>
              <a:gd name="connsiteY40975" fmla="*/ 451945 h 7458372"/>
              <a:gd name="connsiteX40976" fmla="*/ 3512160 w 10505529"/>
              <a:gd name="connsiteY40976" fmla="*/ 451945 h 7458372"/>
              <a:gd name="connsiteX40977" fmla="*/ 3502176 w 10505529"/>
              <a:gd name="connsiteY40977" fmla="*/ 455539 h 7458372"/>
              <a:gd name="connsiteX40978" fmla="*/ 3498582 w 10505529"/>
              <a:gd name="connsiteY40978" fmla="*/ 464990 h 7458372"/>
              <a:gd name="connsiteX40979" fmla="*/ 3502176 w 10505529"/>
              <a:gd name="connsiteY40979" fmla="*/ 474441 h 7458372"/>
              <a:gd name="connsiteX40980" fmla="*/ 3512160 w 10505529"/>
              <a:gd name="connsiteY40980" fmla="*/ 477902 h 7458372"/>
              <a:gd name="connsiteX40981" fmla="*/ 3517485 w 10505529"/>
              <a:gd name="connsiteY40981" fmla="*/ 476970 h 7458372"/>
              <a:gd name="connsiteX40982" fmla="*/ 3521212 w 10505529"/>
              <a:gd name="connsiteY40982" fmla="*/ 474574 h 7458372"/>
              <a:gd name="connsiteX40983" fmla="*/ 3523875 w 10505529"/>
              <a:gd name="connsiteY40983" fmla="*/ 470448 h 7458372"/>
              <a:gd name="connsiteX40984" fmla="*/ 3524940 w 10505529"/>
              <a:gd name="connsiteY40984" fmla="*/ 464990 h 7458372"/>
              <a:gd name="connsiteX40985" fmla="*/ 3523875 w 10505529"/>
              <a:gd name="connsiteY40985" fmla="*/ 459798 h 7458372"/>
              <a:gd name="connsiteX40986" fmla="*/ 3521212 w 10505529"/>
              <a:gd name="connsiteY40986" fmla="*/ 455539 h 7458372"/>
              <a:gd name="connsiteX40987" fmla="*/ 3517219 w 10505529"/>
              <a:gd name="connsiteY40987" fmla="*/ 452875 h 7458372"/>
              <a:gd name="connsiteX40988" fmla="*/ 3512160 w 10505529"/>
              <a:gd name="connsiteY40988" fmla="*/ 451945 h 7458372"/>
              <a:gd name="connsiteX40989" fmla="*/ 3729806 w 10505529"/>
              <a:gd name="connsiteY40989" fmla="*/ 451944 h 7458372"/>
              <a:gd name="connsiteX40990" fmla="*/ 3719822 w 10505529"/>
              <a:gd name="connsiteY40990" fmla="*/ 455538 h 7458372"/>
              <a:gd name="connsiteX40991" fmla="*/ 3716228 w 10505529"/>
              <a:gd name="connsiteY40991" fmla="*/ 464990 h 7458372"/>
              <a:gd name="connsiteX40992" fmla="*/ 3719822 w 10505529"/>
              <a:gd name="connsiteY40992" fmla="*/ 474441 h 7458372"/>
              <a:gd name="connsiteX40993" fmla="*/ 3729806 w 10505529"/>
              <a:gd name="connsiteY40993" fmla="*/ 477902 h 7458372"/>
              <a:gd name="connsiteX40994" fmla="*/ 3735131 w 10505529"/>
              <a:gd name="connsiteY40994" fmla="*/ 476970 h 7458372"/>
              <a:gd name="connsiteX40995" fmla="*/ 3738858 w 10505529"/>
              <a:gd name="connsiteY40995" fmla="*/ 474574 h 7458372"/>
              <a:gd name="connsiteX40996" fmla="*/ 3741521 w 10505529"/>
              <a:gd name="connsiteY40996" fmla="*/ 470448 h 7458372"/>
              <a:gd name="connsiteX40997" fmla="*/ 3742586 w 10505529"/>
              <a:gd name="connsiteY40997" fmla="*/ 464990 h 7458372"/>
              <a:gd name="connsiteX40998" fmla="*/ 3741521 w 10505529"/>
              <a:gd name="connsiteY40998" fmla="*/ 459798 h 7458372"/>
              <a:gd name="connsiteX40999" fmla="*/ 3738858 w 10505529"/>
              <a:gd name="connsiteY40999" fmla="*/ 455538 h 7458372"/>
              <a:gd name="connsiteX41000" fmla="*/ 3734866 w 10505529"/>
              <a:gd name="connsiteY41000" fmla="*/ 452875 h 7458372"/>
              <a:gd name="connsiteX41001" fmla="*/ 3729806 w 10505529"/>
              <a:gd name="connsiteY41001" fmla="*/ 451944 h 7458372"/>
              <a:gd name="connsiteX41002" fmla="*/ 3947454 w 10505529"/>
              <a:gd name="connsiteY41002" fmla="*/ 451944 h 7458372"/>
              <a:gd name="connsiteX41003" fmla="*/ 3937471 w 10505529"/>
              <a:gd name="connsiteY41003" fmla="*/ 455538 h 7458372"/>
              <a:gd name="connsiteX41004" fmla="*/ 3933876 w 10505529"/>
              <a:gd name="connsiteY41004" fmla="*/ 464990 h 7458372"/>
              <a:gd name="connsiteX41005" fmla="*/ 3937471 w 10505529"/>
              <a:gd name="connsiteY41005" fmla="*/ 474441 h 7458372"/>
              <a:gd name="connsiteX41006" fmla="*/ 3947454 w 10505529"/>
              <a:gd name="connsiteY41006" fmla="*/ 477902 h 7458372"/>
              <a:gd name="connsiteX41007" fmla="*/ 3952779 w 10505529"/>
              <a:gd name="connsiteY41007" fmla="*/ 476970 h 7458372"/>
              <a:gd name="connsiteX41008" fmla="*/ 3956505 w 10505529"/>
              <a:gd name="connsiteY41008" fmla="*/ 474574 h 7458372"/>
              <a:gd name="connsiteX41009" fmla="*/ 3959169 w 10505529"/>
              <a:gd name="connsiteY41009" fmla="*/ 470448 h 7458372"/>
              <a:gd name="connsiteX41010" fmla="*/ 3960233 w 10505529"/>
              <a:gd name="connsiteY41010" fmla="*/ 464990 h 7458372"/>
              <a:gd name="connsiteX41011" fmla="*/ 3959169 w 10505529"/>
              <a:gd name="connsiteY41011" fmla="*/ 459797 h 7458372"/>
              <a:gd name="connsiteX41012" fmla="*/ 3956505 w 10505529"/>
              <a:gd name="connsiteY41012" fmla="*/ 455538 h 7458372"/>
              <a:gd name="connsiteX41013" fmla="*/ 3952513 w 10505529"/>
              <a:gd name="connsiteY41013" fmla="*/ 452875 h 7458372"/>
              <a:gd name="connsiteX41014" fmla="*/ 3947454 w 10505529"/>
              <a:gd name="connsiteY41014" fmla="*/ 451944 h 7458372"/>
              <a:gd name="connsiteX41015" fmla="*/ 4165068 w 10505529"/>
              <a:gd name="connsiteY41015" fmla="*/ 451944 h 7458372"/>
              <a:gd name="connsiteX41016" fmla="*/ 4155084 w 10505529"/>
              <a:gd name="connsiteY41016" fmla="*/ 455538 h 7458372"/>
              <a:gd name="connsiteX41017" fmla="*/ 4151490 w 10505529"/>
              <a:gd name="connsiteY41017" fmla="*/ 464989 h 7458372"/>
              <a:gd name="connsiteX41018" fmla="*/ 4155084 w 10505529"/>
              <a:gd name="connsiteY41018" fmla="*/ 474441 h 7458372"/>
              <a:gd name="connsiteX41019" fmla="*/ 4165068 w 10505529"/>
              <a:gd name="connsiteY41019" fmla="*/ 477902 h 7458372"/>
              <a:gd name="connsiteX41020" fmla="*/ 4170392 w 10505529"/>
              <a:gd name="connsiteY41020" fmla="*/ 476970 h 7458372"/>
              <a:gd name="connsiteX41021" fmla="*/ 4174119 w 10505529"/>
              <a:gd name="connsiteY41021" fmla="*/ 474574 h 7458372"/>
              <a:gd name="connsiteX41022" fmla="*/ 4176782 w 10505529"/>
              <a:gd name="connsiteY41022" fmla="*/ 470448 h 7458372"/>
              <a:gd name="connsiteX41023" fmla="*/ 4177847 w 10505529"/>
              <a:gd name="connsiteY41023" fmla="*/ 464989 h 7458372"/>
              <a:gd name="connsiteX41024" fmla="*/ 4176782 w 10505529"/>
              <a:gd name="connsiteY41024" fmla="*/ 459797 h 7458372"/>
              <a:gd name="connsiteX41025" fmla="*/ 4174119 w 10505529"/>
              <a:gd name="connsiteY41025" fmla="*/ 455538 h 7458372"/>
              <a:gd name="connsiteX41026" fmla="*/ 4170126 w 10505529"/>
              <a:gd name="connsiteY41026" fmla="*/ 452875 h 7458372"/>
              <a:gd name="connsiteX41027" fmla="*/ 4165068 w 10505529"/>
              <a:gd name="connsiteY41027" fmla="*/ 451944 h 7458372"/>
              <a:gd name="connsiteX41028" fmla="*/ 4382713 w 10505529"/>
              <a:gd name="connsiteY41028" fmla="*/ 451944 h 7458372"/>
              <a:gd name="connsiteX41029" fmla="*/ 4372730 w 10505529"/>
              <a:gd name="connsiteY41029" fmla="*/ 455538 h 7458372"/>
              <a:gd name="connsiteX41030" fmla="*/ 4369136 w 10505529"/>
              <a:gd name="connsiteY41030" fmla="*/ 464989 h 7458372"/>
              <a:gd name="connsiteX41031" fmla="*/ 4372730 w 10505529"/>
              <a:gd name="connsiteY41031" fmla="*/ 474441 h 7458372"/>
              <a:gd name="connsiteX41032" fmla="*/ 4382713 w 10505529"/>
              <a:gd name="connsiteY41032" fmla="*/ 477902 h 7458372"/>
              <a:gd name="connsiteX41033" fmla="*/ 4388038 w 10505529"/>
              <a:gd name="connsiteY41033" fmla="*/ 476970 h 7458372"/>
              <a:gd name="connsiteX41034" fmla="*/ 4391765 w 10505529"/>
              <a:gd name="connsiteY41034" fmla="*/ 474573 h 7458372"/>
              <a:gd name="connsiteX41035" fmla="*/ 4394428 w 10505529"/>
              <a:gd name="connsiteY41035" fmla="*/ 470447 h 7458372"/>
              <a:gd name="connsiteX41036" fmla="*/ 4395493 w 10505529"/>
              <a:gd name="connsiteY41036" fmla="*/ 464989 h 7458372"/>
              <a:gd name="connsiteX41037" fmla="*/ 4394428 w 10505529"/>
              <a:gd name="connsiteY41037" fmla="*/ 459797 h 7458372"/>
              <a:gd name="connsiteX41038" fmla="*/ 4391765 w 10505529"/>
              <a:gd name="connsiteY41038" fmla="*/ 455538 h 7458372"/>
              <a:gd name="connsiteX41039" fmla="*/ 4387772 w 10505529"/>
              <a:gd name="connsiteY41039" fmla="*/ 452875 h 7458372"/>
              <a:gd name="connsiteX41040" fmla="*/ 4382713 w 10505529"/>
              <a:gd name="connsiteY41040" fmla="*/ 451944 h 7458372"/>
              <a:gd name="connsiteX41041" fmla="*/ 4600226 w 10505529"/>
              <a:gd name="connsiteY41041" fmla="*/ 451944 h 7458372"/>
              <a:gd name="connsiteX41042" fmla="*/ 4590242 w 10505529"/>
              <a:gd name="connsiteY41042" fmla="*/ 455538 h 7458372"/>
              <a:gd name="connsiteX41043" fmla="*/ 4586648 w 10505529"/>
              <a:gd name="connsiteY41043" fmla="*/ 464989 h 7458372"/>
              <a:gd name="connsiteX41044" fmla="*/ 4590242 w 10505529"/>
              <a:gd name="connsiteY41044" fmla="*/ 474440 h 7458372"/>
              <a:gd name="connsiteX41045" fmla="*/ 4600226 w 10505529"/>
              <a:gd name="connsiteY41045" fmla="*/ 477901 h 7458372"/>
              <a:gd name="connsiteX41046" fmla="*/ 4605550 w 10505529"/>
              <a:gd name="connsiteY41046" fmla="*/ 476969 h 7458372"/>
              <a:gd name="connsiteX41047" fmla="*/ 4609277 w 10505529"/>
              <a:gd name="connsiteY41047" fmla="*/ 474573 h 7458372"/>
              <a:gd name="connsiteX41048" fmla="*/ 4611940 w 10505529"/>
              <a:gd name="connsiteY41048" fmla="*/ 470447 h 7458372"/>
              <a:gd name="connsiteX41049" fmla="*/ 4613005 w 10505529"/>
              <a:gd name="connsiteY41049" fmla="*/ 464989 h 7458372"/>
              <a:gd name="connsiteX41050" fmla="*/ 4611940 w 10505529"/>
              <a:gd name="connsiteY41050" fmla="*/ 459797 h 7458372"/>
              <a:gd name="connsiteX41051" fmla="*/ 4609277 w 10505529"/>
              <a:gd name="connsiteY41051" fmla="*/ 455538 h 7458372"/>
              <a:gd name="connsiteX41052" fmla="*/ 4605284 w 10505529"/>
              <a:gd name="connsiteY41052" fmla="*/ 452875 h 7458372"/>
              <a:gd name="connsiteX41053" fmla="*/ 4600226 w 10505529"/>
              <a:gd name="connsiteY41053" fmla="*/ 451944 h 7458372"/>
              <a:gd name="connsiteX41054" fmla="*/ 4817870 w 10505529"/>
              <a:gd name="connsiteY41054" fmla="*/ 451944 h 7458372"/>
              <a:gd name="connsiteX41055" fmla="*/ 4807887 w 10505529"/>
              <a:gd name="connsiteY41055" fmla="*/ 455538 h 7458372"/>
              <a:gd name="connsiteX41056" fmla="*/ 4804293 w 10505529"/>
              <a:gd name="connsiteY41056" fmla="*/ 464989 h 7458372"/>
              <a:gd name="connsiteX41057" fmla="*/ 4807887 w 10505529"/>
              <a:gd name="connsiteY41057" fmla="*/ 474440 h 7458372"/>
              <a:gd name="connsiteX41058" fmla="*/ 4817870 w 10505529"/>
              <a:gd name="connsiteY41058" fmla="*/ 477901 h 7458372"/>
              <a:gd name="connsiteX41059" fmla="*/ 4823195 w 10505529"/>
              <a:gd name="connsiteY41059" fmla="*/ 476969 h 7458372"/>
              <a:gd name="connsiteX41060" fmla="*/ 4826922 w 10505529"/>
              <a:gd name="connsiteY41060" fmla="*/ 474573 h 7458372"/>
              <a:gd name="connsiteX41061" fmla="*/ 4829585 w 10505529"/>
              <a:gd name="connsiteY41061" fmla="*/ 470447 h 7458372"/>
              <a:gd name="connsiteX41062" fmla="*/ 4830650 w 10505529"/>
              <a:gd name="connsiteY41062" fmla="*/ 464989 h 7458372"/>
              <a:gd name="connsiteX41063" fmla="*/ 4829585 w 10505529"/>
              <a:gd name="connsiteY41063" fmla="*/ 459797 h 7458372"/>
              <a:gd name="connsiteX41064" fmla="*/ 4826922 w 10505529"/>
              <a:gd name="connsiteY41064" fmla="*/ 455538 h 7458372"/>
              <a:gd name="connsiteX41065" fmla="*/ 4822929 w 10505529"/>
              <a:gd name="connsiteY41065" fmla="*/ 452875 h 7458372"/>
              <a:gd name="connsiteX41066" fmla="*/ 4817870 w 10505529"/>
              <a:gd name="connsiteY41066" fmla="*/ 451944 h 7458372"/>
              <a:gd name="connsiteX41067" fmla="*/ 5035515 w 10505529"/>
              <a:gd name="connsiteY41067" fmla="*/ 451944 h 7458372"/>
              <a:gd name="connsiteX41068" fmla="*/ 5025532 w 10505529"/>
              <a:gd name="connsiteY41068" fmla="*/ 455538 h 7458372"/>
              <a:gd name="connsiteX41069" fmla="*/ 5021938 w 10505529"/>
              <a:gd name="connsiteY41069" fmla="*/ 464989 h 7458372"/>
              <a:gd name="connsiteX41070" fmla="*/ 5025532 w 10505529"/>
              <a:gd name="connsiteY41070" fmla="*/ 474440 h 7458372"/>
              <a:gd name="connsiteX41071" fmla="*/ 5035515 w 10505529"/>
              <a:gd name="connsiteY41071" fmla="*/ 477901 h 7458372"/>
              <a:gd name="connsiteX41072" fmla="*/ 5040840 w 10505529"/>
              <a:gd name="connsiteY41072" fmla="*/ 476969 h 7458372"/>
              <a:gd name="connsiteX41073" fmla="*/ 5044567 w 10505529"/>
              <a:gd name="connsiteY41073" fmla="*/ 474573 h 7458372"/>
              <a:gd name="connsiteX41074" fmla="*/ 5047230 w 10505529"/>
              <a:gd name="connsiteY41074" fmla="*/ 470447 h 7458372"/>
              <a:gd name="connsiteX41075" fmla="*/ 5048294 w 10505529"/>
              <a:gd name="connsiteY41075" fmla="*/ 464989 h 7458372"/>
              <a:gd name="connsiteX41076" fmla="*/ 5047230 w 10505529"/>
              <a:gd name="connsiteY41076" fmla="*/ 459797 h 7458372"/>
              <a:gd name="connsiteX41077" fmla="*/ 5044567 w 10505529"/>
              <a:gd name="connsiteY41077" fmla="*/ 455538 h 7458372"/>
              <a:gd name="connsiteX41078" fmla="*/ 5040574 w 10505529"/>
              <a:gd name="connsiteY41078" fmla="*/ 452875 h 7458372"/>
              <a:gd name="connsiteX41079" fmla="*/ 5035515 w 10505529"/>
              <a:gd name="connsiteY41079" fmla="*/ 451944 h 7458372"/>
              <a:gd name="connsiteX41080" fmla="*/ 5253160 w 10505529"/>
              <a:gd name="connsiteY41080" fmla="*/ 451944 h 7458372"/>
              <a:gd name="connsiteX41081" fmla="*/ 5243177 w 10505529"/>
              <a:gd name="connsiteY41081" fmla="*/ 455538 h 7458372"/>
              <a:gd name="connsiteX41082" fmla="*/ 5239583 w 10505529"/>
              <a:gd name="connsiteY41082" fmla="*/ 464989 h 7458372"/>
              <a:gd name="connsiteX41083" fmla="*/ 5243177 w 10505529"/>
              <a:gd name="connsiteY41083" fmla="*/ 474440 h 7458372"/>
              <a:gd name="connsiteX41084" fmla="*/ 5253160 w 10505529"/>
              <a:gd name="connsiteY41084" fmla="*/ 477901 h 7458372"/>
              <a:gd name="connsiteX41085" fmla="*/ 5258485 w 10505529"/>
              <a:gd name="connsiteY41085" fmla="*/ 476969 h 7458372"/>
              <a:gd name="connsiteX41086" fmla="*/ 5262212 w 10505529"/>
              <a:gd name="connsiteY41086" fmla="*/ 474573 h 7458372"/>
              <a:gd name="connsiteX41087" fmla="*/ 5264875 w 10505529"/>
              <a:gd name="connsiteY41087" fmla="*/ 470447 h 7458372"/>
              <a:gd name="connsiteX41088" fmla="*/ 5265939 w 10505529"/>
              <a:gd name="connsiteY41088" fmla="*/ 464989 h 7458372"/>
              <a:gd name="connsiteX41089" fmla="*/ 5264875 w 10505529"/>
              <a:gd name="connsiteY41089" fmla="*/ 459797 h 7458372"/>
              <a:gd name="connsiteX41090" fmla="*/ 5262212 w 10505529"/>
              <a:gd name="connsiteY41090" fmla="*/ 455538 h 7458372"/>
              <a:gd name="connsiteX41091" fmla="*/ 5258219 w 10505529"/>
              <a:gd name="connsiteY41091" fmla="*/ 452875 h 7458372"/>
              <a:gd name="connsiteX41092" fmla="*/ 5253160 w 10505529"/>
              <a:gd name="connsiteY41092" fmla="*/ 451944 h 7458372"/>
              <a:gd name="connsiteX41093" fmla="*/ 5470806 w 10505529"/>
              <a:gd name="connsiteY41093" fmla="*/ 451944 h 7458372"/>
              <a:gd name="connsiteX41094" fmla="*/ 5460822 w 10505529"/>
              <a:gd name="connsiteY41094" fmla="*/ 455538 h 7458372"/>
              <a:gd name="connsiteX41095" fmla="*/ 5457228 w 10505529"/>
              <a:gd name="connsiteY41095" fmla="*/ 464989 h 7458372"/>
              <a:gd name="connsiteX41096" fmla="*/ 5460822 w 10505529"/>
              <a:gd name="connsiteY41096" fmla="*/ 474440 h 7458372"/>
              <a:gd name="connsiteX41097" fmla="*/ 5470806 w 10505529"/>
              <a:gd name="connsiteY41097" fmla="*/ 477901 h 7458372"/>
              <a:gd name="connsiteX41098" fmla="*/ 5476130 w 10505529"/>
              <a:gd name="connsiteY41098" fmla="*/ 476969 h 7458372"/>
              <a:gd name="connsiteX41099" fmla="*/ 5479857 w 10505529"/>
              <a:gd name="connsiteY41099" fmla="*/ 474573 h 7458372"/>
              <a:gd name="connsiteX41100" fmla="*/ 5482520 w 10505529"/>
              <a:gd name="connsiteY41100" fmla="*/ 470447 h 7458372"/>
              <a:gd name="connsiteX41101" fmla="*/ 5483585 w 10505529"/>
              <a:gd name="connsiteY41101" fmla="*/ 464989 h 7458372"/>
              <a:gd name="connsiteX41102" fmla="*/ 5482520 w 10505529"/>
              <a:gd name="connsiteY41102" fmla="*/ 459797 h 7458372"/>
              <a:gd name="connsiteX41103" fmla="*/ 5479857 w 10505529"/>
              <a:gd name="connsiteY41103" fmla="*/ 455538 h 7458372"/>
              <a:gd name="connsiteX41104" fmla="*/ 5475864 w 10505529"/>
              <a:gd name="connsiteY41104" fmla="*/ 452875 h 7458372"/>
              <a:gd name="connsiteX41105" fmla="*/ 5470806 w 10505529"/>
              <a:gd name="connsiteY41105" fmla="*/ 451944 h 7458372"/>
              <a:gd name="connsiteX41106" fmla="*/ 5688451 w 10505529"/>
              <a:gd name="connsiteY41106" fmla="*/ 451943 h 7458372"/>
              <a:gd name="connsiteX41107" fmla="*/ 5678467 w 10505529"/>
              <a:gd name="connsiteY41107" fmla="*/ 455538 h 7458372"/>
              <a:gd name="connsiteX41108" fmla="*/ 5674873 w 10505529"/>
              <a:gd name="connsiteY41108" fmla="*/ 464989 h 7458372"/>
              <a:gd name="connsiteX41109" fmla="*/ 5678467 w 10505529"/>
              <a:gd name="connsiteY41109" fmla="*/ 474440 h 7458372"/>
              <a:gd name="connsiteX41110" fmla="*/ 5688451 w 10505529"/>
              <a:gd name="connsiteY41110" fmla="*/ 477901 h 7458372"/>
              <a:gd name="connsiteX41111" fmla="*/ 5693775 w 10505529"/>
              <a:gd name="connsiteY41111" fmla="*/ 476969 h 7458372"/>
              <a:gd name="connsiteX41112" fmla="*/ 5697502 w 10505529"/>
              <a:gd name="connsiteY41112" fmla="*/ 474573 h 7458372"/>
              <a:gd name="connsiteX41113" fmla="*/ 5700165 w 10505529"/>
              <a:gd name="connsiteY41113" fmla="*/ 470447 h 7458372"/>
              <a:gd name="connsiteX41114" fmla="*/ 5701230 w 10505529"/>
              <a:gd name="connsiteY41114" fmla="*/ 464989 h 7458372"/>
              <a:gd name="connsiteX41115" fmla="*/ 5700165 w 10505529"/>
              <a:gd name="connsiteY41115" fmla="*/ 459797 h 7458372"/>
              <a:gd name="connsiteX41116" fmla="*/ 5697502 w 10505529"/>
              <a:gd name="connsiteY41116" fmla="*/ 455538 h 7458372"/>
              <a:gd name="connsiteX41117" fmla="*/ 5693509 w 10505529"/>
              <a:gd name="connsiteY41117" fmla="*/ 452874 h 7458372"/>
              <a:gd name="connsiteX41118" fmla="*/ 5688451 w 10505529"/>
              <a:gd name="connsiteY41118" fmla="*/ 451943 h 7458372"/>
              <a:gd name="connsiteX41119" fmla="*/ 5905963 w 10505529"/>
              <a:gd name="connsiteY41119" fmla="*/ 451943 h 7458372"/>
              <a:gd name="connsiteX41120" fmla="*/ 5895979 w 10505529"/>
              <a:gd name="connsiteY41120" fmla="*/ 455537 h 7458372"/>
              <a:gd name="connsiteX41121" fmla="*/ 5892385 w 10505529"/>
              <a:gd name="connsiteY41121" fmla="*/ 464989 h 7458372"/>
              <a:gd name="connsiteX41122" fmla="*/ 5895979 w 10505529"/>
              <a:gd name="connsiteY41122" fmla="*/ 474440 h 7458372"/>
              <a:gd name="connsiteX41123" fmla="*/ 5905963 w 10505529"/>
              <a:gd name="connsiteY41123" fmla="*/ 477901 h 7458372"/>
              <a:gd name="connsiteX41124" fmla="*/ 5911287 w 10505529"/>
              <a:gd name="connsiteY41124" fmla="*/ 476969 h 7458372"/>
              <a:gd name="connsiteX41125" fmla="*/ 5915014 w 10505529"/>
              <a:gd name="connsiteY41125" fmla="*/ 474573 h 7458372"/>
              <a:gd name="connsiteX41126" fmla="*/ 5917677 w 10505529"/>
              <a:gd name="connsiteY41126" fmla="*/ 470447 h 7458372"/>
              <a:gd name="connsiteX41127" fmla="*/ 5918742 w 10505529"/>
              <a:gd name="connsiteY41127" fmla="*/ 464989 h 7458372"/>
              <a:gd name="connsiteX41128" fmla="*/ 5917677 w 10505529"/>
              <a:gd name="connsiteY41128" fmla="*/ 459796 h 7458372"/>
              <a:gd name="connsiteX41129" fmla="*/ 5915014 w 10505529"/>
              <a:gd name="connsiteY41129" fmla="*/ 455537 h 7458372"/>
              <a:gd name="connsiteX41130" fmla="*/ 5911021 w 10505529"/>
              <a:gd name="connsiteY41130" fmla="*/ 452874 h 7458372"/>
              <a:gd name="connsiteX41131" fmla="*/ 5905963 w 10505529"/>
              <a:gd name="connsiteY41131" fmla="*/ 451943 h 7458372"/>
              <a:gd name="connsiteX41132" fmla="*/ 6123608 w 10505529"/>
              <a:gd name="connsiteY41132" fmla="*/ 451943 h 7458372"/>
              <a:gd name="connsiteX41133" fmla="*/ 6113624 w 10505529"/>
              <a:gd name="connsiteY41133" fmla="*/ 455537 h 7458372"/>
              <a:gd name="connsiteX41134" fmla="*/ 6110030 w 10505529"/>
              <a:gd name="connsiteY41134" fmla="*/ 464988 h 7458372"/>
              <a:gd name="connsiteX41135" fmla="*/ 6113624 w 10505529"/>
              <a:gd name="connsiteY41135" fmla="*/ 474440 h 7458372"/>
              <a:gd name="connsiteX41136" fmla="*/ 6123608 w 10505529"/>
              <a:gd name="connsiteY41136" fmla="*/ 477901 h 7458372"/>
              <a:gd name="connsiteX41137" fmla="*/ 6128932 w 10505529"/>
              <a:gd name="connsiteY41137" fmla="*/ 476969 h 7458372"/>
              <a:gd name="connsiteX41138" fmla="*/ 6132659 w 10505529"/>
              <a:gd name="connsiteY41138" fmla="*/ 474573 h 7458372"/>
              <a:gd name="connsiteX41139" fmla="*/ 6135322 w 10505529"/>
              <a:gd name="connsiteY41139" fmla="*/ 470447 h 7458372"/>
              <a:gd name="connsiteX41140" fmla="*/ 6136387 w 10505529"/>
              <a:gd name="connsiteY41140" fmla="*/ 464988 h 7458372"/>
              <a:gd name="connsiteX41141" fmla="*/ 6135322 w 10505529"/>
              <a:gd name="connsiteY41141" fmla="*/ 459796 h 7458372"/>
              <a:gd name="connsiteX41142" fmla="*/ 6132659 w 10505529"/>
              <a:gd name="connsiteY41142" fmla="*/ 455537 h 7458372"/>
              <a:gd name="connsiteX41143" fmla="*/ 6128666 w 10505529"/>
              <a:gd name="connsiteY41143" fmla="*/ 452874 h 7458372"/>
              <a:gd name="connsiteX41144" fmla="*/ 6123608 w 10505529"/>
              <a:gd name="connsiteY41144" fmla="*/ 451943 h 7458372"/>
              <a:gd name="connsiteX41145" fmla="*/ 6341253 w 10505529"/>
              <a:gd name="connsiteY41145" fmla="*/ 451943 h 7458372"/>
              <a:gd name="connsiteX41146" fmla="*/ 6331270 w 10505529"/>
              <a:gd name="connsiteY41146" fmla="*/ 455537 h 7458372"/>
              <a:gd name="connsiteX41147" fmla="*/ 6327675 w 10505529"/>
              <a:gd name="connsiteY41147" fmla="*/ 464988 h 7458372"/>
              <a:gd name="connsiteX41148" fmla="*/ 6331270 w 10505529"/>
              <a:gd name="connsiteY41148" fmla="*/ 474440 h 7458372"/>
              <a:gd name="connsiteX41149" fmla="*/ 6341253 w 10505529"/>
              <a:gd name="connsiteY41149" fmla="*/ 477901 h 7458372"/>
              <a:gd name="connsiteX41150" fmla="*/ 6346578 w 10505529"/>
              <a:gd name="connsiteY41150" fmla="*/ 476969 h 7458372"/>
              <a:gd name="connsiteX41151" fmla="*/ 6350305 w 10505529"/>
              <a:gd name="connsiteY41151" fmla="*/ 474573 h 7458372"/>
              <a:gd name="connsiteX41152" fmla="*/ 6352968 w 10505529"/>
              <a:gd name="connsiteY41152" fmla="*/ 470447 h 7458372"/>
              <a:gd name="connsiteX41153" fmla="*/ 6354033 w 10505529"/>
              <a:gd name="connsiteY41153" fmla="*/ 464988 h 7458372"/>
              <a:gd name="connsiteX41154" fmla="*/ 6352968 w 10505529"/>
              <a:gd name="connsiteY41154" fmla="*/ 459796 h 7458372"/>
              <a:gd name="connsiteX41155" fmla="*/ 6350305 w 10505529"/>
              <a:gd name="connsiteY41155" fmla="*/ 455537 h 7458372"/>
              <a:gd name="connsiteX41156" fmla="*/ 6346312 w 10505529"/>
              <a:gd name="connsiteY41156" fmla="*/ 452874 h 7458372"/>
              <a:gd name="connsiteX41157" fmla="*/ 6341253 w 10505529"/>
              <a:gd name="connsiteY41157" fmla="*/ 451943 h 7458372"/>
              <a:gd name="connsiteX41158" fmla="*/ 6558899 w 10505529"/>
              <a:gd name="connsiteY41158" fmla="*/ 451943 h 7458372"/>
              <a:gd name="connsiteX41159" fmla="*/ 6548915 w 10505529"/>
              <a:gd name="connsiteY41159" fmla="*/ 455537 h 7458372"/>
              <a:gd name="connsiteX41160" fmla="*/ 6545321 w 10505529"/>
              <a:gd name="connsiteY41160" fmla="*/ 464988 h 7458372"/>
              <a:gd name="connsiteX41161" fmla="*/ 6548915 w 10505529"/>
              <a:gd name="connsiteY41161" fmla="*/ 474440 h 7458372"/>
              <a:gd name="connsiteX41162" fmla="*/ 6558899 w 10505529"/>
              <a:gd name="connsiteY41162" fmla="*/ 477901 h 7458372"/>
              <a:gd name="connsiteX41163" fmla="*/ 6564223 w 10505529"/>
              <a:gd name="connsiteY41163" fmla="*/ 476968 h 7458372"/>
              <a:gd name="connsiteX41164" fmla="*/ 6567950 w 10505529"/>
              <a:gd name="connsiteY41164" fmla="*/ 474572 h 7458372"/>
              <a:gd name="connsiteX41165" fmla="*/ 6570612 w 10505529"/>
              <a:gd name="connsiteY41165" fmla="*/ 470446 h 7458372"/>
              <a:gd name="connsiteX41166" fmla="*/ 6571677 w 10505529"/>
              <a:gd name="connsiteY41166" fmla="*/ 464988 h 7458372"/>
              <a:gd name="connsiteX41167" fmla="*/ 6570612 w 10505529"/>
              <a:gd name="connsiteY41167" fmla="*/ 459796 h 7458372"/>
              <a:gd name="connsiteX41168" fmla="*/ 6567950 w 10505529"/>
              <a:gd name="connsiteY41168" fmla="*/ 455537 h 7458372"/>
              <a:gd name="connsiteX41169" fmla="*/ 6563956 w 10505529"/>
              <a:gd name="connsiteY41169" fmla="*/ 452874 h 7458372"/>
              <a:gd name="connsiteX41170" fmla="*/ 6558899 w 10505529"/>
              <a:gd name="connsiteY41170" fmla="*/ 451943 h 7458372"/>
              <a:gd name="connsiteX41171" fmla="*/ 6776544 w 10505529"/>
              <a:gd name="connsiteY41171" fmla="*/ 451943 h 7458372"/>
              <a:gd name="connsiteX41172" fmla="*/ 6766560 w 10505529"/>
              <a:gd name="connsiteY41172" fmla="*/ 455537 h 7458372"/>
              <a:gd name="connsiteX41173" fmla="*/ 6762966 w 10505529"/>
              <a:gd name="connsiteY41173" fmla="*/ 464988 h 7458372"/>
              <a:gd name="connsiteX41174" fmla="*/ 6766560 w 10505529"/>
              <a:gd name="connsiteY41174" fmla="*/ 474439 h 7458372"/>
              <a:gd name="connsiteX41175" fmla="*/ 6776544 w 10505529"/>
              <a:gd name="connsiteY41175" fmla="*/ 477900 h 7458372"/>
              <a:gd name="connsiteX41176" fmla="*/ 6781869 w 10505529"/>
              <a:gd name="connsiteY41176" fmla="*/ 476968 h 7458372"/>
              <a:gd name="connsiteX41177" fmla="*/ 6785595 w 10505529"/>
              <a:gd name="connsiteY41177" fmla="*/ 474572 h 7458372"/>
              <a:gd name="connsiteX41178" fmla="*/ 6788258 w 10505529"/>
              <a:gd name="connsiteY41178" fmla="*/ 470446 h 7458372"/>
              <a:gd name="connsiteX41179" fmla="*/ 6789323 w 10505529"/>
              <a:gd name="connsiteY41179" fmla="*/ 464988 h 7458372"/>
              <a:gd name="connsiteX41180" fmla="*/ 6788258 w 10505529"/>
              <a:gd name="connsiteY41180" fmla="*/ 459796 h 7458372"/>
              <a:gd name="connsiteX41181" fmla="*/ 6785595 w 10505529"/>
              <a:gd name="connsiteY41181" fmla="*/ 455537 h 7458372"/>
              <a:gd name="connsiteX41182" fmla="*/ 6781602 w 10505529"/>
              <a:gd name="connsiteY41182" fmla="*/ 452874 h 7458372"/>
              <a:gd name="connsiteX41183" fmla="*/ 6776544 w 10505529"/>
              <a:gd name="connsiteY41183" fmla="*/ 451943 h 7458372"/>
              <a:gd name="connsiteX41184" fmla="*/ 6994056 w 10505529"/>
              <a:gd name="connsiteY41184" fmla="*/ 451943 h 7458372"/>
              <a:gd name="connsiteX41185" fmla="*/ 6984072 w 10505529"/>
              <a:gd name="connsiteY41185" fmla="*/ 455537 h 7458372"/>
              <a:gd name="connsiteX41186" fmla="*/ 6980478 w 10505529"/>
              <a:gd name="connsiteY41186" fmla="*/ 464988 h 7458372"/>
              <a:gd name="connsiteX41187" fmla="*/ 6984072 w 10505529"/>
              <a:gd name="connsiteY41187" fmla="*/ 474439 h 7458372"/>
              <a:gd name="connsiteX41188" fmla="*/ 6994056 w 10505529"/>
              <a:gd name="connsiteY41188" fmla="*/ 477900 h 7458372"/>
              <a:gd name="connsiteX41189" fmla="*/ 6999380 w 10505529"/>
              <a:gd name="connsiteY41189" fmla="*/ 476968 h 7458372"/>
              <a:gd name="connsiteX41190" fmla="*/ 7003107 w 10505529"/>
              <a:gd name="connsiteY41190" fmla="*/ 474572 h 7458372"/>
              <a:gd name="connsiteX41191" fmla="*/ 7005769 w 10505529"/>
              <a:gd name="connsiteY41191" fmla="*/ 470446 h 7458372"/>
              <a:gd name="connsiteX41192" fmla="*/ 7006834 w 10505529"/>
              <a:gd name="connsiteY41192" fmla="*/ 464988 h 7458372"/>
              <a:gd name="connsiteX41193" fmla="*/ 7005769 w 10505529"/>
              <a:gd name="connsiteY41193" fmla="*/ 459796 h 7458372"/>
              <a:gd name="connsiteX41194" fmla="*/ 7003107 w 10505529"/>
              <a:gd name="connsiteY41194" fmla="*/ 455537 h 7458372"/>
              <a:gd name="connsiteX41195" fmla="*/ 6999113 w 10505529"/>
              <a:gd name="connsiteY41195" fmla="*/ 452874 h 7458372"/>
              <a:gd name="connsiteX41196" fmla="*/ 6994056 w 10505529"/>
              <a:gd name="connsiteY41196" fmla="*/ 451943 h 7458372"/>
              <a:gd name="connsiteX41197" fmla="*/ 7211701 w 10505529"/>
              <a:gd name="connsiteY41197" fmla="*/ 451943 h 7458372"/>
              <a:gd name="connsiteX41198" fmla="*/ 7201717 w 10505529"/>
              <a:gd name="connsiteY41198" fmla="*/ 455537 h 7458372"/>
              <a:gd name="connsiteX41199" fmla="*/ 7198123 w 10505529"/>
              <a:gd name="connsiteY41199" fmla="*/ 464988 h 7458372"/>
              <a:gd name="connsiteX41200" fmla="*/ 7201717 w 10505529"/>
              <a:gd name="connsiteY41200" fmla="*/ 474439 h 7458372"/>
              <a:gd name="connsiteX41201" fmla="*/ 7211701 w 10505529"/>
              <a:gd name="connsiteY41201" fmla="*/ 477900 h 7458372"/>
              <a:gd name="connsiteX41202" fmla="*/ 7217026 w 10505529"/>
              <a:gd name="connsiteY41202" fmla="*/ 476968 h 7458372"/>
              <a:gd name="connsiteX41203" fmla="*/ 7220752 w 10505529"/>
              <a:gd name="connsiteY41203" fmla="*/ 474572 h 7458372"/>
              <a:gd name="connsiteX41204" fmla="*/ 7223415 w 10505529"/>
              <a:gd name="connsiteY41204" fmla="*/ 470446 h 7458372"/>
              <a:gd name="connsiteX41205" fmla="*/ 7224480 w 10505529"/>
              <a:gd name="connsiteY41205" fmla="*/ 464988 h 7458372"/>
              <a:gd name="connsiteX41206" fmla="*/ 7223415 w 10505529"/>
              <a:gd name="connsiteY41206" fmla="*/ 459796 h 7458372"/>
              <a:gd name="connsiteX41207" fmla="*/ 7220752 w 10505529"/>
              <a:gd name="connsiteY41207" fmla="*/ 455537 h 7458372"/>
              <a:gd name="connsiteX41208" fmla="*/ 7216759 w 10505529"/>
              <a:gd name="connsiteY41208" fmla="*/ 452874 h 7458372"/>
              <a:gd name="connsiteX41209" fmla="*/ 7211701 w 10505529"/>
              <a:gd name="connsiteY41209" fmla="*/ 451943 h 7458372"/>
              <a:gd name="connsiteX41210" fmla="*/ 7429345 w 10505529"/>
              <a:gd name="connsiteY41210" fmla="*/ 451943 h 7458372"/>
              <a:gd name="connsiteX41211" fmla="*/ 7419361 w 10505529"/>
              <a:gd name="connsiteY41211" fmla="*/ 455537 h 7458372"/>
              <a:gd name="connsiteX41212" fmla="*/ 7415768 w 10505529"/>
              <a:gd name="connsiteY41212" fmla="*/ 464988 h 7458372"/>
              <a:gd name="connsiteX41213" fmla="*/ 7419361 w 10505529"/>
              <a:gd name="connsiteY41213" fmla="*/ 474439 h 7458372"/>
              <a:gd name="connsiteX41214" fmla="*/ 7429345 w 10505529"/>
              <a:gd name="connsiteY41214" fmla="*/ 477900 h 7458372"/>
              <a:gd name="connsiteX41215" fmla="*/ 7434670 w 10505529"/>
              <a:gd name="connsiteY41215" fmla="*/ 476968 h 7458372"/>
              <a:gd name="connsiteX41216" fmla="*/ 7438397 w 10505529"/>
              <a:gd name="connsiteY41216" fmla="*/ 474572 h 7458372"/>
              <a:gd name="connsiteX41217" fmla="*/ 7441059 w 10505529"/>
              <a:gd name="connsiteY41217" fmla="*/ 470446 h 7458372"/>
              <a:gd name="connsiteX41218" fmla="*/ 7442124 w 10505529"/>
              <a:gd name="connsiteY41218" fmla="*/ 464988 h 7458372"/>
              <a:gd name="connsiteX41219" fmla="*/ 7441059 w 10505529"/>
              <a:gd name="connsiteY41219" fmla="*/ 459796 h 7458372"/>
              <a:gd name="connsiteX41220" fmla="*/ 7438397 w 10505529"/>
              <a:gd name="connsiteY41220" fmla="*/ 455537 h 7458372"/>
              <a:gd name="connsiteX41221" fmla="*/ 7434403 w 10505529"/>
              <a:gd name="connsiteY41221" fmla="*/ 452874 h 7458372"/>
              <a:gd name="connsiteX41222" fmla="*/ 7429345 w 10505529"/>
              <a:gd name="connsiteY41222" fmla="*/ 451943 h 7458372"/>
              <a:gd name="connsiteX41223" fmla="*/ 7646991 w 10505529"/>
              <a:gd name="connsiteY41223" fmla="*/ 451942 h 7458372"/>
              <a:gd name="connsiteX41224" fmla="*/ 7637007 w 10505529"/>
              <a:gd name="connsiteY41224" fmla="*/ 455537 h 7458372"/>
              <a:gd name="connsiteX41225" fmla="*/ 7633413 w 10505529"/>
              <a:gd name="connsiteY41225" fmla="*/ 464988 h 7458372"/>
              <a:gd name="connsiteX41226" fmla="*/ 7637007 w 10505529"/>
              <a:gd name="connsiteY41226" fmla="*/ 474439 h 7458372"/>
              <a:gd name="connsiteX41227" fmla="*/ 7646991 w 10505529"/>
              <a:gd name="connsiteY41227" fmla="*/ 477900 h 7458372"/>
              <a:gd name="connsiteX41228" fmla="*/ 7652315 w 10505529"/>
              <a:gd name="connsiteY41228" fmla="*/ 476968 h 7458372"/>
              <a:gd name="connsiteX41229" fmla="*/ 7656042 w 10505529"/>
              <a:gd name="connsiteY41229" fmla="*/ 474572 h 7458372"/>
              <a:gd name="connsiteX41230" fmla="*/ 7658705 w 10505529"/>
              <a:gd name="connsiteY41230" fmla="*/ 470446 h 7458372"/>
              <a:gd name="connsiteX41231" fmla="*/ 7659769 w 10505529"/>
              <a:gd name="connsiteY41231" fmla="*/ 464988 h 7458372"/>
              <a:gd name="connsiteX41232" fmla="*/ 7658705 w 10505529"/>
              <a:gd name="connsiteY41232" fmla="*/ 459796 h 7458372"/>
              <a:gd name="connsiteX41233" fmla="*/ 7656042 w 10505529"/>
              <a:gd name="connsiteY41233" fmla="*/ 455537 h 7458372"/>
              <a:gd name="connsiteX41234" fmla="*/ 7652049 w 10505529"/>
              <a:gd name="connsiteY41234" fmla="*/ 452873 h 7458372"/>
              <a:gd name="connsiteX41235" fmla="*/ 7646991 w 10505529"/>
              <a:gd name="connsiteY41235" fmla="*/ 451942 h 7458372"/>
              <a:gd name="connsiteX41236" fmla="*/ 7864636 w 10505529"/>
              <a:gd name="connsiteY41236" fmla="*/ 451942 h 7458372"/>
              <a:gd name="connsiteX41237" fmla="*/ 7854652 w 10505529"/>
              <a:gd name="connsiteY41237" fmla="*/ 455536 h 7458372"/>
              <a:gd name="connsiteX41238" fmla="*/ 7851058 w 10505529"/>
              <a:gd name="connsiteY41238" fmla="*/ 464988 h 7458372"/>
              <a:gd name="connsiteX41239" fmla="*/ 7854652 w 10505529"/>
              <a:gd name="connsiteY41239" fmla="*/ 474439 h 7458372"/>
              <a:gd name="connsiteX41240" fmla="*/ 7864636 w 10505529"/>
              <a:gd name="connsiteY41240" fmla="*/ 477900 h 7458372"/>
              <a:gd name="connsiteX41241" fmla="*/ 7869961 w 10505529"/>
              <a:gd name="connsiteY41241" fmla="*/ 476968 h 7458372"/>
              <a:gd name="connsiteX41242" fmla="*/ 7873687 w 10505529"/>
              <a:gd name="connsiteY41242" fmla="*/ 474572 h 7458372"/>
              <a:gd name="connsiteX41243" fmla="*/ 7876350 w 10505529"/>
              <a:gd name="connsiteY41243" fmla="*/ 470446 h 7458372"/>
              <a:gd name="connsiteX41244" fmla="*/ 7877282 w 10505529"/>
              <a:gd name="connsiteY41244" fmla="*/ 464988 h 7458372"/>
              <a:gd name="connsiteX41245" fmla="*/ 7876350 w 10505529"/>
              <a:gd name="connsiteY41245" fmla="*/ 459796 h 7458372"/>
              <a:gd name="connsiteX41246" fmla="*/ 7873687 w 10505529"/>
              <a:gd name="connsiteY41246" fmla="*/ 455536 h 7458372"/>
              <a:gd name="connsiteX41247" fmla="*/ 7869694 w 10505529"/>
              <a:gd name="connsiteY41247" fmla="*/ 452873 h 7458372"/>
              <a:gd name="connsiteX41248" fmla="*/ 7864636 w 10505529"/>
              <a:gd name="connsiteY41248" fmla="*/ 451942 h 7458372"/>
              <a:gd name="connsiteX41249" fmla="*/ 8082281 w 10505529"/>
              <a:gd name="connsiteY41249" fmla="*/ 451942 h 7458372"/>
              <a:gd name="connsiteX41250" fmla="*/ 8072297 w 10505529"/>
              <a:gd name="connsiteY41250" fmla="*/ 455536 h 7458372"/>
              <a:gd name="connsiteX41251" fmla="*/ 8068703 w 10505529"/>
              <a:gd name="connsiteY41251" fmla="*/ 464988 h 7458372"/>
              <a:gd name="connsiteX41252" fmla="*/ 8072297 w 10505529"/>
              <a:gd name="connsiteY41252" fmla="*/ 474439 h 7458372"/>
              <a:gd name="connsiteX41253" fmla="*/ 8082281 w 10505529"/>
              <a:gd name="connsiteY41253" fmla="*/ 477900 h 7458372"/>
              <a:gd name="connsiteX41254" fmla="*/ 8087605 w 10505529"/>
              <a:gd name="connsiteY41254" fmla="*/ 476968 h 7458372"/>
              <a:gd name="connsiteX41255" fmla="*/ 8091332 w 10505529"/>
              <a:gd name="connsiteY41255" fmla="*/ 474572 h 7458372"/>
              <a:gd name="connsiteX41256" fmla="*/ 8093994 w 10505529"/>
              <a:gd name="connsiteY41256" fmla="*/ 470446 h 7458372"/>
              <a:gd name="connsiteX41257" fmla="*/ 8094926 w 10505529"/>
              <a:gd name="connsiteY41257" fmla="*/ 464988 h 7458372"/>
              <a:gd name="connsiteX41258" fmla="*/ 8093994 w 10505529"/>
              <a:gd name="connsiteY41258" fmla="*/ 459795 h 7458372"/>
              <a:gd name="connsiteX41259" fmla="*/ 8091332 w 10505529"/>
              <a:gd name="connsiteY41259" fmla="*/ 455536 h 7458372"/>
              <a:gd name="connsiteX41260" fmla="*/ 8087338 w 10505529"/>
              <a:gd name="connsiteY41260" fmla="*/ 452873 h 7458372"/>
              <a:gd name="connsiteX41261" fmla="*/ 8082281 w 10505529"/>
              <a:gd name="connsiteY41261" fmla="*/ 451942 h 7458372"/>
              <a:gd name="connsiteX41262" fmla="*/ 8299793 w 10505529"/>
              <a:gd name="connsiteY41262" fmla="*/ 451942 h 7458372"/>
              <a:gd name="connsiteX41263" fmla="*/ 8289809 w 10505529"/>
              <a:gd name="connsiteY41263" fmla="*/ 455536 h 7458372"/>
              <a:gd name="connsiteX41264" fmla="*/ 8286215 w 10505529"/>
              <a:gd name="connsiteY41264" fmla="*/ 464987 h 7458372"/>
              <a:gd name="connsiteX41265" fmla="*/ 8289809 w 10505529"/>
              <a:gd name="connsiteY41265" fmla="*/ 474439 h 7458372"/>
              <a:gd name="connsiteX41266" fmla="*/ 8299793 w 10505529"/>
              <a:gd name="connsiteY41266" fmla="*/ 477900 h 7458372"/>
              <a:gd name="connsiteX41267" fmla="*/ 8305118 w 10505529"/>
              <a:gd name="connsiteY41267" fmla="*/ 476968 h 7458372"/>
              <a:gd name="connsiteX41268" fmla="*/ 8308844 w 10505529"/>
              <a:gd name="connsiteY41268" fmla="*/ 474572 h 7458372"/>
              <a:gd name="connsiteX41269" fmla="*/ 8311507 w 10505529"/>
              <a:gd name="connsiteY41269" fmla="*/ 470446 h 7458372"/>
              <a:gd name="connsiteX41270" fmla="*/ 8312439 w 10505529"/>
              <a:gd name="connsiteY41270" fmla="*/ 464987 h 7458372"/>
              <a:gd name="connsiteX41271" fmla="*/ 8311507 w 10505529"/>
              <a:gd name="connsiteY41271" fmla="*/ 459795 h 7458372"/>
              <a:gd name="connsiteX41272" fmla="*/ 8308844 w 10505529"/>
              <a:gd name="connsiteY41272" fmla="*/ 455536 h 7458372"/>
              <a:gd name="connsiteX41273" fmla="*/ 8304851 w 10505529"/>
              <a:gd name="connsiteY41273" fmla="*/ 452873 h 7458372"/>
              <a:gd name="connsiteX41274" fmla="*/ 8299793 w 10505529"/>
              <a:gd name="connsiteY41274" fmla="*/ 451942 h 7458372"/>
              <a:gd name="connsiteX41275" fmla="*/ 8517438 w 10505529"/>
              <a:gd name="connsiteY41275" fmla="*/ 451942 h 7458372"/>
              <a:gd name="connsiteX41276" fmla="*/ 8507453 w 10505529"/>
              <a:gd name="connsiteY41276" fmla="*/ 455536 h 7458372"/>
              <a:gd name="connsiteX41277" fmla="*/ 8503860 w 10505529"/>
              <a:gd name="connsiteY41277" fmla="*/ 464987 h 7458372"/>
              <a:gd name="connsiteX41278" fmla="*/ 8507453 w 10505529"/>
              <a:gd name="connsiteY41278" fmla="*/ 474439 h 7458372"/>
              <a:gd name="connsiteX41279" fmla="*/ 8517438 w 10505529"/>
              <a:gd name="connsiteY41279" fmla="*/ 477900 h 7458372"/>
              <a:gd name="connsiteX41280" fmla="*/ 8522763 w 10505529"/>
              <a:gd name="connsiteY41280" fmla="*/ 476967 h 7458372"/>
              <a:gd name="connsiteX41281" fmla="*/ 8526490 w 10505529"/>
              <a:gd name="connsiteY41281" fmla="*/ 474572 h 7458372"/>
              <a:gd name="connsiteX41282" fmla="*/ 8529152 w 10505529"/>
              <a:gd name="connsiteY41282" fmla="*/ 470445 h 7458372"/>
              <a:gd name="connsiteX41283" fmla="*/ 8530084 w 10505529"/>
              <a:gd name="connsiteY41283" fmla="*/ 464987 h 7458372"/>
              <a:gd name="connsiteX41284" fmla="*/ 8529152 w 10505529"/>
              <a:gd name="connsiteY41284" fmla="*/ 459795 h 7458372"/>
              <a:gd name="connsiteX41285" fmla="*/ 8526490 w 10505529"/>
              <a:gd name="connsiteY41285" fmla="*/ 455536 h 7458372"/>
              <a:gd name="connsiteX41286" fmla="*/ 8522496 w 10505529"/>
              <a:gd name="connsiteY41286" fmla="*/ 452873 h 7458372"/>
              <a:gd name="connsiteX41287" fmla="*/ 8517438 w 10505529"/>
              <a:gd name="connsiteY41287" fmla="*/ 451942 h 7458372"/>
              <a:gd name="connsiteX41288" fmla="*/ 8735083 w 10505529"/>
              <a:gd name="connsiteY41288" fmla="*/ 451942 h 7458372"/>
              <a:gd name="connsiteX41289" fmla="*/ 8725098 w 10505529"/>
              <a:gd name="connsiteY41289" fmla="*/ 455536 h 7458372"/>
              <a:gd name="connsiteX41290" fmla="*/ 8721504 w 10505529"/>
              <a:gd name="connsiteY41290" fmla="*/ 464987 h 7458372"/>
              <a:gd name="connsiteX41291" fmla="*/ 8725098 w 10505529"/>
              <a:gd name="connsiteY41291" fmla="*/ 474438 h 7458372"/>
              <a:gd name="connsiteX41292" fmla="*/ 8735083 w 10505529"/>
              <a:gd name="connsiteY41292" fmla="*/ 477899 h 7458372"/>
              <a:gd name="connsiteX41293" fmla="*/ 8740407 w 10505529"/>
              <a:gd name="connsiteY41293" fmla="*/ 476967 h 7458372"/>
              <a:gd name="connsiteX41294" fmla="*/ 8744134 w 10505529"/>
              <a:gd name="connsiteY41294" fmla="*/ 474571 h 7458372"/>
              <a:gd name="connsiteX41295" fmla="*/ 8746797 w 10505529"/>
              <a:gd name="connsiteY41295" fmla="*/ 470445 h 7458372"/>
              <a:gd name="connsiteX41296" fmla="*/ 8747862 w 10505529"/>
              <a:gd name="connsiteY41296" fmla="*/ 464987 h 7458372"/>
              <a:gd name="connsiteX41297" fmla="*/ 8746797 w 10505529"/>
              <a:gd name="connsiteY41297" fmla="*/ 459795 h 7458372"/>
              <a:gd name="connsiteX41298" fmla="*/ 8744134 w 10505529"/>
              <a:gd name="connsiteY41298" fmla="*/ 455536 h 7458372"/>
              <a:gd name="connsiteX41299" fmla="*/ 8740141 w 10505529"/>
              <a:gd name="connsiteY41299" fmla="*/ 452873 h 7458372"/>
              <a:gd name="connsiteX41300" fmla="*/ 8735083 w 10505529"/>
              <a:gd name="connsiteY41300" fmla="*/ 451942 h 7458372"/>
              <a:gd name="connsiteX41301" fmla="*/ 9170374 w 10505529"/>
              <a:gd name="connsiteY41301" fmla="*/ 451942 h 7458372"/>
              <a:gd name="connsiteX41302" fmla="*/ 9160389 w 10505529"/>
              <a:gd name="connsiteY41302" fmla="*/ 455536 h 7458372"/>
              <a:gd name="connsiteX41303" fmla="*/ 9156795 w 10505529"/>
              <a:gd name="connsiteY41303" fmla="*/ 464987 h 7458372"/>
              <a:gd name="connsiteX41304" fmla="*/ 9160389 w 10505529"/>
              <a:gd name="connsiteY41304" fmla="*/ 474438 h 7458372"/>
              <a:gd name="connsiteX41305" fmla="*/ 9170374 w 10505529"/>
              <a:gd name="connsiteY41305" fmla="*/ 477899 h 7458372"/>
              <a:gd name="connsiteX41306" fmla="*/ 9175698 w 10505529"/>
              <a:gd name="connsiteY41306" fmla="*/ 476967 h 7458372"/>
              <a:gd name="connsiteX41307" fmla="*/ 9179425 w 10505529"/>
              <a:gd name="connsiteY41307" fmla="*/ 474571 h 7458372"/>
              <a:gd name="connsiteX41308" fmla="*/ 9182088 w 10505529"/>
              <a:gd name="connsiteY41308" fmla="*/ 470445 h 7458372"/>
              <a:gd name="connsiteX41309" fmla="*/ 9183152 w 10505529"/>
              <a:gd name="connsiteY41309" fmla="*/ 464987 h 7458372"/>
              <a:gd name="connsiteX41310" fmla="*/ 9182088 w 10505529"/>
              <a:gd name="connsiteY41310" fmla="*/ 459795 h 7458372"/>
              <a:gd name="connsiteX41311" fmla="*/ 9179425 w 10505529"/>
              <a:gd name="connsiteY41311" fmla="*/ 455536 h 7458372"/>
              <a:gd name="connsiteX41312" fmla="*/ 9175432 w 10505529"/>
              <a:gd name="connsiteY41312" fmla="*/ 452873 h 7458372"/>
              <a:gd name="connsiteX41313" fmla="*/ 9170374 w 10505529"/>
              <a:gd name="connsiteY41313" fmla="*/ 451942 h 7458372"/>
              <a:gd name="connsiteX41314" fmla="*/ 8952728 w 10505529"/>
              <a:gd name="connsiteY41314" fmla="*/ 451942 h 7458372"/>
              <a:gd name="connsiteX41315" fmla="*/ 8942743 w 10505529"/>
              <a:gd name="connsiteY41315" fmla="*/ 455536 h 7458372"/>
              <a:gd name="connsiteX41316" fmla="*/ 8939150 w 10505529"/>
              <a:gd name="connsiteY41316" fmla="*/ 464987 h 7458372"/>
              <a:gd name="connsiteX41317" fmla="*/ 8942743 w 10505529"/>
              <a:gd name="connsiteY41317" fmla="*/ 474438 h 7458372"/>
              <a:gd name="connsiteX41318" fmla="*/ 8952728 w 10505529"/>
              <a:gd name="connsiteY41318" fmla="*/ 477899 h 7458372"/>
              <a:gd name="connsiteX41319" fmla="*/ 8958053 w 10505529"/>
              <a:gd name="connsiteY41319" fmla="*/ 476967 h 7458372"/>
              <a:gd name="connsiteX41320" fmla="*/ 8961780 w 10505529"/>
              <a:gd name="connsiteY41320" fmla="*/ 474571 h 7458372"/>
              <a:gd name="connsiteX41321" fmla="*/ 8964442 w 10505529"/>
              <a:gd name="connsiteY41321" fmla="*/ 470445 h 7458372"/>
              <a:gd name="connsiteX41322" fmla="*/ 8965507 w 10505529"/>
              <a:gd name="connsiteY41322" fmla="*/ 464987 h 7458372"/>
              <a:gd name="connsiteX41323" fmla="*/ 8964442 w 10505529"/>
              <a:gd name="connsiteY41323" fmla="*/ 459795 h 7458372"/>
              <a:gd name="connsiteX41324" fmla="*/ 8961780 w 10505529"/>
              <a:gd name="connsiteY41324" fmla="*/ 455536 h 7458372"/>
              <a:gd name="connsiteX41325" fmla="*/ 8957786 w 10505529"/>
              <a:gd name="connsiteY41325" fmla="*/ 452873 h 7458372"/>
              <a:gd name="connsiteX41326" fmla="*/ 8952728 w 10505529"/>
              <a:gd name="connsiteY41326" fmla="*/ 451942 h 7458372"/>
              <a:gd name="connsiteX41327" fmla="*/ 9605531 w 10505529"/>
              <a:gd name="connsiteY41327" fmla="*/ 451942 h 7458372"/>
              <a:gd name="connsiteX41328" fmla="*/ 9595546 w 10505529"/>
              <a:gd name="connsiteY41328" fmla="*/ 455536 h 7458372"/>
              <a:gd name="connsiteX41329" fmla="*/ 9591952 w 10505529"/>
              <a:gd name="connsiteY41329" fmla="*/ 464987 h 7458372"/>
              <a:gd name="connsiteX41330" fmla="*/ 9595546 w 10505529"/>
              <a:gd name="connsiteY41330" fmla="*/ 474438 h 7458372"/>
              <a:gd name="connsiteX41331" fmla="*/ 9605531 w 10505529"/>
              <a:gd name="connsiteY41331" fmla="*/ 477899 h 7458372"/>
              <a:gd name="connsiteX41332" fmla="*/ 9610855 w 10505529"/>
              <a:gd name="connsiteY41332" fmla="*/ 476967 h 7458372"/>
              <a:gd name="connsiteX41333" fmla="*/ 9614582 w 10505529"/>
              <a:gd name="connsiteY41333" fmla="*/ 474571 h 7458372"/>
              <a:gd name="connsiteX41334" fmla="*/ 9617245 w 10505529"/>
              <a:gd name="connsiteY41334" fmla="*/ 470445 h 7458372"/>
              <a:gd name="connsiteX41335" fmla="*/ 9618309 w 10505529"/>
              <a:gd name="connsiteY41335" fmla="*/ 464987 h 7458372"/>
              <a:gd name="connsiteX41336" fmla="*/ 9617245 w 10505529"/>
              <a:gd name="connsiteY41336" fmla="*/ 459795 h 7458372"/>
              <a:gd name="connsiteX41337" fmla="*/ 9614582 w 10505529"/>
              <a:gd name="connsiteY41337" fmla="*/ 455536 h 7458372"/>
              <a:gd name="connsiteX41338" fmla="*/ 9610589 w 10505529"/>
              <a:gd name="connsiteY41338" fmla="*/ 452873 h 7458372"/>
              <a:gd name="connsiteX41339" fmla="*/ 9605531 w 10505529"/>
              <a:gd name="connsiteY41339" fmla="*/ 451942 h 7458372"/>
              <a:gd name="connsiteX41340" fmla="*/ 9387885 w 10505529"/>
              <a:gd name="connsiteY41340" fmla="*/ 451942 h 7458372"/>
              <a:gd name="connsiteX41341" fmla="*/ 9377900 w 10505529"/>
              <a:gd name="connsiteY41341" fmla="*/ 455536 h 7458372"/>
              <a:gd name="connsiteX41342" fmla="*/ 9374307 w 10505529"/>
              <a:gd name="connsiteY41342" fmla="*/ 464987 h 7458372"/>
              <a:gd name="connsiteX41343" fmla="*/ 9377900 w 10505529"/>
              <a:gd name="connsiteY41343" fmla="*/ 474438 h 7458372"/>
              <a:gd name="connsiteX41344" fmla="*/ 9387885 w 10505529"/>
              <a:gd name="connsiteY41344" fmla="*/ 477899 h 7458372"/>
              <a:gd name="connsiteX41345" fmla="*/ 9393210 w 10505529"/>
              <a:gd name="connsiteY41345" fmla="*/ 476967 h 7458372"/>
              <a:gd name="connsiteX41346" fmla="*/ 9396937 w 10505529"/>
              <a:gd name="connsiteY41346" fmla="*/ 474571 h 7458372"/>
              <a:gd name="connsiteX41347" fmla="*/ 9399599 w 10505529"/>
              <a:gd name="connsiteY41347" fmla="*/ 470445 h 7458372"/>
              <a:gd name="connsiteX41348" fmla="*/ 9400664 w 10505529"/>
              <a:gd name="connsiteY41348" fmla="*/ 464987 h 7458372"/>
              <a:gd name="connsiteX41349" fmla="*/ 9399599 w 10505529"/>
              <a:gd name="connsiteY41349" fmla="*/ 459795 h 7458372"/>
              <a:gd name="connsiteX41350" fmla="*/ 9396937 w 10505529"/>
              <a:gd name="connsiteY41350" fmla="*/ 455536 h 7458372"/>
              <a:gd name="connsiteX41351" fmla="*/ 9392943 w 10505529"/>
              <a:gd name="connsiteY41351" fmla="*/ 452873 h 7458372"/>
              <a:gd name="connsiteX41352" fmla="*/ 9387885 w 10505529"/>
              <a:gd name="connsiteY41352" fmla="*/ 451942 h 7458372"/>
              <a:gd name="connsiteX41353" fmla="*/ 10040820 w 10505529"/>
              <a:gd name="connsiteY41353" fmla="*/ 451941 h 7458372"/>
              <a:gd name="connsiteX41354" fmla="*/ 10030835 w 10505529"/>
              <a:gd name="connsiteY41354" fmla="*/ 455535 h 7458372"/>
              <a:gd name="connsiteX41355" fmla="*/ 10027242 w 10505529"/>
              <a:gd name="connsiteY41355" fmla="*/ 464987 h 7458372"/>
              <a:gd name="connsiteX41356" fmla="*/ 10030835 w 10505529"/>
              <a:gd name="connsiteY41356" fmla="*/ 474438 h 7458372"/>
              <a:gd name="connsiteX41357" fmla="*/ 10040820 w 10505529"/>
              <a:gd name="connsiteY41357" fmla="*/ 477899 h 7458372"/>
              <a:gd name="connsiteX41358" fmla="*/ 10046145 w 10505529"/>
              <a:gd name="connsiteY41358" fmla="*/ 476967 h 7458372"/>
              <a:gd name="connsiteX41359" fmla="*/ 10049872 w 10505529"/>
              <a:gd name="connsiteY41359" fmla="*/ 474571 h 7458372"/>
              <a:gd name="connsiteX41360" fmla="*/ 10052534 w 10505529"/>
              <a:gd name="connsiteY41360" fmla="*/ 470445 h 7458372"/>
              <a:gd name="connsiteX41361" fmla="*/ 10053599 w 10505529"/>
              <a:gd name="connsiteY41361" fmla="*/ 464987 h 7458372"/>
              <a:gd name="connsiteX41362" fmla="*/ 10052534 w 10505529"/>
              <a:gd name="connsiteY41362" fmla="*/ 459795 h 7458372"/>
              <a:gd name="connsiteX41363" fmla="*/ 10049872 w 10505529"/>
              <a:gd name="connsiteY41363" fmla="*/ 455535 h 7458372"/>
              <a:gd name="connsiteX41364" fmla="*/ 10045878 w 10505529"/>
              <a:gd name="connsiteY41364" fmla="*/ 452872 h 7458372"/>
              <a:gd name="connsiteX41365" fmla="*/ 10040820 w 10505529"/>
              <a:gd name="connsiteY41365" fmla="*/ 451941 h 7458372"/>
              <a:gd name="connsiteX41366" fmla="*/ 9823176 w 10505529"/>
              <a:gd name="connsiteY41366" fmla="*/ 451941 h 7458372"/>
              <a:gd name="connsiteX41367" fmla="*/ 9813191 w 10505529"/>
              <a:gd name="connsiteY41367" fmla="*/ 455535 h 7458372"/>
              <a:gd name="connsiteX41368" fmla="*/ 9809597 w 10505529"/>
              <a:gd name="connsiteY41368" fmla="*/ 464987 h 7458372"/>
              <a:gd name="connsiteX41369" fmla="*/ 9813191 w 10505529"/>
              <a:gd name="connsiteY41369" fmla="*/ 474438 h 7458372"/>
              <a:gd name="connsiteX41370" fmla="*/ 9823176 w 10505529"/>
              <a:gd name="connsiteY41370" fmla="*/ 477899 h 7458372"/>
              <a:gd name="connsiteX41371" fmla="*/ 9828501 w 10505529"/>
              <a:gd name="connsiteY41371" fmla="*/ 476967 h 7458372"/>
              <a:gd name="connsiteX41372" fmla="*/ 9832227 w 10505529"/>
              <a:gd name="connsiteY41372" fmla="*/ 474571 h 7458372"/>
              <a:gd name="connsiteX41373" fmla="*/ 9834890 w 10505529"/>
              <a:gd name="connsiteY41373" fmla="*/ 470445 h 7458372"/>
              <a:gd name="connsiteX41374" fmla="*/ 9835955 w 10505529"/>
              <a:gd name="connsiteY41374" fmla="*/ 464987 h 7458372"/>
              <a:gd name="connsiteX41375" fmla="*/ 9834890 w 10505529"/>
              <a:gd name="connsiteY41375" fmla="*/ 459795 h 7458372"/>
              <a:gd name="connsiteX41376" fmla="*/ 9832227 w 10505529"/>
              <a:gd name="connsiteY41376" fmla="*/ 455535 h 7458372"/>
              <a:gd name="connsiteX41377" fmla="*/ 9828234 w 10505529"/>
              <a:gd name="connsiteY41377" fmla="*/ 452872 h 7458372"/>
              <a:gd name="connsiteX41378" fmla="*/ 9823176 w 10505529"/>
              <a:gd name="connsiteY41378" fmla="*/ 451941 h 7458372"/>
              <a:gd name="connsiteX41379" fmla="*/ 10475977 w 10505529"/>
              <a:gd name="connsiteY41379" fmla="*/ 451941 h 7458372"/>
              <a:gd name="connsiteX41380" fmla="*/ 10465992 w 10505529"/>
              <a:gd name="connsiteY41380" fmla="*/ 455535 h 7458372"/>
              <a:gd name="connsiteX41381" fmla="*/ 10462399 w 10505529"/>
              <a:gd name="connsiteY41381" fmla="*/ 464986 h 7458372"/>
              <a:gd name="connsiteX41382" fmla="*/ 10465992 w 10505529"/>
              <a:gd name="connsiteY41382" fmla="*/ 474438 h 7458372"/>
              <a:gd name="connsiteX41383" fmla="*/ 10475977 w 10505529"/>
              <a:gd name="connsiteY41383" fmla="*/ 477899 h 7458372"/>
              <a:gd name="connsiteX41384" fmla="*/ 10481302 w 10505529"/>
              <a:gd name="connsiteY41384" fmla="*/ 476967 h 7458372"/>
              <a:gd name="connsiteX41385" fmla="*/ 10485029 w 10505529"/>
              <a:gd name="connsiteY41385" fmla="*/ 474571 h 7458372"/>
              <a:gd name="connsiteX41386" fmla="*/ 10487691 w 10505529"/>
              <a:gd name="connsiteY41386" fmla="*/ 470444 h 7458372"/>
              <a:gd name="connsiteX41387" fmla="*/ 10488623 w 10505529"/>
              <a:gd name="connsiteY41387" fmla="*/ 464986 h 7458372"/>
              <a:gd name="connsiteX41388" fmla="*/ 10487691 w 10505529"/>
              <a:gd name="connsiteY41388" fmla="*/ 459794 h 7458372"/>
              <a:gd name="connsiteX41389" fmla="*/ 10485029 w 10505529"/>
              <a:gd name="connsiteY41389" fmla="*/ 455535 h 7458372"/>
              <a:gd name="connsiteX41390" fmla="*/ 10481035 w 10505529"/>
              <a:gd name="connsiteY41390" fmla="*/ 452872 h 7458372"/>
              <a:gd name="connsiteX41391" fmla="*/ 10475977 w 10505529"/>
              <a:gd name="connsiteY41391" fmla="*/ 451941 h 7458372"/>
              <a:gd name="connsiteX41392" fmla="*/ 10258466 w 10505529"/>
              <a:gd name="connsiteY41392" fmla="*/ 451941 h 7458372"/>
              <a:gd name="connsiteX41393" fmla="*/ 10248481 w 10505529"/>
              <a:gd name="connsiteY41393" fmla="*/ 455535 h 7458372"/>
              <a:gd name="connsiteX41394" fmla="*/ 10244887 w 10505529"/>
              <a:gd name="connsiteY41394" fmla="*/ 464986 h 7458372"/>
              <a:gd name="connsiteX41395" fmla="*/ 10248481 w 10505529"/>
              <a:gd name="connsiteY41395" fmla="*/ 474438 h 7458372"/>
              <a:gd name="connsiteX41396" fmla="*/ 10258466 w 10505529"/>
              <a:gd name="connsiteY41396" fmla="*/ 477899 h 7458372"/>
              <a:gd name="connsiteX41397" fmla="*/ 10263790 w 10505529"/>
              <a:gd name="connsiteY41397" fmla="*/ 476967 h 7458372"/>
              <a:gd name="connsiteX41398" fmla="*/ 10267517 w 10505529"/>
              <a:gd name="connsiteY41398" fmla="*/ 474571 h 7458372"/>
              <a:gd name="connsiteX41399" fmla="*/ 10270180 w 10505529"/>
              <a:gd name="connsiteY41399" fmla="*/ 470445 h 7458372"/>
              <a:gd name="connsiteX41400" fmla="*/ 10271112 w 10505529"/>
              <a:gd name="connsiteY41400" fmla="*/ 464986 h 7458372"/>
              <a:gd name="connsiteX41401" fmla="*/ 10270180 w 10505529"/>
              <a:gd name="connsiteY41401" fmla="*/ 459794 h 7458372"/>
              <a:gd name="connsiteX41402" fmla="*/ 10267517 w 10505529"/>
              <a:gd name="connsiteY41402" fmla="*/ 455535 h 7458372"/>
              <a:gd name="connsiteX41403" fmla="*/ 10263524 w 10505529"/>
              <a:gd name="connsiteY41403" fmla="*/ 452872 h 7458372"/>
              <a:gd name="connsiteX41404" fmla="*/ 10258466 w 10505529"/>
              <a:gd name="connsiteY41404" fmla="*/ 451941 h 7458372"/>
              <a:gd name="connsiteX41405" fmla="*/ 30232 w 10505529"/>
              <a:gd name="connsiteY41405" fmla="*/ 435306 h 7458372"/>
              <a:gd name="connsiteX41406" fmla="*/ 41947 w 10505529"/>
              <a:gd name="connsiteY41406" fmla="*/ 437968 h 7458372"/>
              <a:gd name="connsiteX41407" fmla="*/ 51266 w 10505529"/>
              <a:gd name="connsiteY41407" fmla="*/ 444358 h 7458372"/>
              <a:gd name="connsiteX41408" fmla="*/ 57389 w 10505529"/>
              <a:gd name="connsiteY41408" fmla="*/ 453676 h 7458372"/>
              <a:gd name="connsiteX41409" fmla="*/ 59652 w 10505529"/>
              <a:gd name="connsiteY41409" fmla="*/ 465124 h 7458372"/>
              <a:gd name="connsiteX41410" fmla="*/ 57389 w 10505529"/>
              <a:gd name="connsiteY41410" fmla="*/ 476839 h 7458372"/>
              <a:gd name="connsiteX41411" fmla="*/ 51266 w 10505529"/>
              <a:gd name="connsiteY41411" fmla="*/ 486157 h 7458372"/>
              <a:gd name="connsiteX41412" fmla="*/ 41947 w 10505529"/>
              <a:gd name="connsiteY41412" fmla="*/ 492414 h 7458372"/>
              <a:gd name="connsiteX41413" fmla="*/ 30232 w 10505529"/>
              <a:gd name="connsiteY41413" fmla="*/ 494677 h 7458372"/>
              <a:gd name="connsiteX41414" fmla="*/ 8401 w 10505529"/>
              <a:gd name="connsiteY41414" fmla="*/ 486157 h 7458372"/>
              <a:gd name="connsiteX41415" fmla="*/ 15 w 10505529"/>
              <a:gd name="connsiteY41415" fmla="*/ 464991 h 7458372"/>
              <a:gd name="connsiteX41416" fmla="*/ 8401 w 10505529"/>
              <a:gd name="connsiteY41416" fmla="*/ 443959 h 7458372"/>
              <a:gd name="connsiteX41417" fmla="*/ 30232 w 10505529"/>
              <a:gd name="connsiteY41417" fmla="*/ 435306 h 7458372"/>
              <a:gd name="connsiteX41418" fmla="*/ 247877 w 10505529"/>
              <a:gd name="connsiteY41418" fmla="*/ 435306 h 7458372"/>
              <a:gd name="connsiteX41419" fmla="*/ 259592 w 10505529"/>
              <a:gd name="connsiteY41419" fmla="*/ 437968 h 7458372"/>
              <a:gd name="connsiteX41420" fmla="*/ 268910 w 10505529"/>
              <a:gd name="connsiteY41420" fmla="*/ 444358 h 7458372"/>
              <a:gd name="connsiteX41421" fmla="*/ 275033 w 10505529"/>
              <a:gd name="connsiteY41421" fmla="*/ 453676 h 7458372"/>
              <a:gd name="connsiteX41422" fmla="*/ 277296 w 10505529"/>
              <a:gd name="connsiteY41422" fmla="*/ 465124 h 7458372"/>
              <a:gd name="connsiteX41423" fmla="*/ 275033 w 10505529"/>
              <a:gd name="connsiteY41423" fmla="*/ 476838 h 7458372"/>
              <a:gd name="connsiteX41424" fmla="*/ 268910 w 10505529"/>
              <a:gd name="connsiteY41424" fmla="*/ 486157 h 7458372"/>
              <a:gd name="connsiteX41425" fmla="*/ 259592 w 10505529"/>
              <a:gd name="connsiteY41425" fmla="*/ 492414 h 7458372"/>
              <a:gd name="connsiteX41426" fmla="*/ 247877 w 10505529"/>
              <a:gd name="connsiteY41426" fmla="*/ 494677 h 7458372"/>
              <a:gd name="connsiteX41427" fmla="*/ 226045 w 10505529"/>
              <a:gd name="connsiteY41427" fmla="*/ 486157 h 7458372"/>
              <a:gd name="connsiteX41428" fmla="*/ 217659 w 10505529"/>
              <a:gd name="connsiteY41428" fmla="*/ 464991 h 7458372"/>
              <a:gd name="connsiteX41429" fmla="*/ 226045 w 10505529"/>
              <a:gd name="connsiteY41429" fmla="*/ 443959 h 7458372"/>
              <a:gd name="connsiteX41430" fmla="*/ 247877 w 10505529"/>
              <a:gd name="connsiteY41430" fmla="*/ 435306 h 7458372"/>
              <a:gd name="connsiteX41431" fmla="*/ 465521 w 10505529"/>
              <a:gd name="connsiteY41431" fmla="*/ 435306 h 7458372"/>
              <a:gd name="connsiteX41432" fmla="*/ 477236 w 10505529"/>
              <a:gd name="connsiteY41432" fmla="*/ 437968 h 7458372"/>
              <a:gd name="connsiteX41433" fmla="*/ 486554 w 10505529"/>
              <a:gd name="connsiteY41433" fmla="*/ 444358 h 7458372"/>
              <a:gd name="connsiteX41434" fmla="*/ 492678 w 10505529"/>
              <a:gd name="connsiteY41434" fmla="*/ 453676 h 7458372"/>
              <a:gd name="connsiteX41435" fmla="*/ 494941 w 10505529"/>
              <a:gd name="connsiteY41435" fmla="*/ 465124 h 7458372"/>
              <a:gd name="connsiteX41436" fmla="*/ 492678 w 10505529"/>
              <a:gd name="connsiteY41436" fmla="*/ 476838 h 7458372"/>
              <a:gd name="connsiteX41437" fmla="*/ 486554 w 10505529"/>
              <a:gd name="connsiteY41437" fmla="*/ 486157 h 7458372"/>
              <a:gd name="connsiteX41438" fmla="*/ 477236 w 10505529"/>
              <a:gd name="connsiteY41438" fmla="*/ 492414 h 7458372"/>
              <a:gd name="connsiteX41439" fmla="*/ 465521 w 10505529"/>
              <a:gd name="connsiteY41439" fmla="*/ 494677 h 7458372"/>
              <a:gd name="connsiteX41440" fmla="*/ 443690 w 10505529"/>
              <a:gd name="connsiteY41440" fmla="*/ 486157 h 7458372"/>
              <a:gd name="connsiteX41441" fmla="*/ 435304 w 10505529"/>
              <a:gd name="connsiteY41441" fmla="*/ 464991 h 7458372"/>
              <a:gd name="connsiteX41442" fmla="*/ 443690 w 10505529"/>
              <a:gd name="connsiteY41442" fmla="*/ 443959 h 7458372"/>
              <a:gd name="connsiteX41443" fmla="*/ 465521 w 10505529"/>
              <a:gd name="connsiteY41443" fmla="*/ 435306 h 7458372"/>
              <a:gd name="connsiteX41444" fmla="*/ 683166 w 10505529"/>
              <a:gd name="connsiteY41444" fmla="*/ 435306 h 7458372"/>
              <a:gd name="connsiteX41445" fmla="*/ 694881 w 10505529"/>
              <a:gd name="connsiteY41445" fmla="*/ 437968 h 7458372"/>
              <a:gd name="connsiteX41446" fmla="*/ 704199 w 10505529"/>
              <a:gd name="connsiteY41446" fmla="*/ 444358 h 7458372"/>
              <a:gd name="connsiteX41447" fmla="*/ 710322 w 10505529"/>
              <a:gd name="connsiteY41447" fmla="*/ 453676 h 7458372"/>
              <a:gd name="connsiteX41448" fmla="*/ 712585 w 10505529"/>
              <a:gd name="connsiteY41448" fmla="*/ 465124 h 7458372"/>
              <a:gd name="connsiteX41449" fmla="*/ 710322 w 10505529"/>
              <a:gd name="connsiteY41449" fmla="*/ 476838 h 7458372"/>
              <a:gd name="connsiteX41450" fmla="*/ 704199 w 10505529"/>
              <a:gd name="connsiteY41450" fmla="*/ 486157 h 7458372"/>
              <a:gd name="connsiteX41451" fmla="*/ 694881 w 10505529"/>
              <a:gd name="connsiteY41451" fmla="*/ 492414 h 7458372"/>
              <a:gd name="connsiteX41452" fmla="*/ 683166 w 10505529"/>
              <a:gd name="connsiteY41452" fmla="*/ 494677 h 7458372"/>
              <a:gd name="connsiteX41453" fmla="*/ 661334 w 10505529"/>
              <a:gd name="connsiteY41453" fmla="*/ 486157 h 7458372"/>
              <a:gd name="connsiteX41454" fmla="*/ 652948 w 10505529"/>
              <a:gd name="connsiteY41454" fmla="*/ 464991 h 7458372"/>
              <a:gd name="connsiteX41455" fmla="*/ 661334 w 10505529"/>
              <a:gd name="connsiteY41455" fmla="*/ 443959 h 7458372"/>
              <a:gd name="connsiteX41456" fmla="*/ 683166 w 10505529"/>
              <a:gd name="connsiteY41456" fmla="*/ 435306 h 7458372"/>
              <a:gd name="connsiteX41457" fmla="*/ 900810 w 10505529"/>
              <a:gd name="connsiteY41457" fmla="*/ 435305 h 7458372"/>
              <a:gd name="connsiteX41458" fmla="*/ 912525 w 10505529"/>
              <a:gd name="connsiteY41458" fmla="*/ 437967 h 7458372"/>
              <a:gd name="connsiteX41459" fmla="*/ 921843 w 10505529"/>
              <a:gd name="connsiteY41459" fmla="*/ 444358 h 7458372"/>
              <a:gd name="connsiteX41460" fmla="*/ 927966 w 10505529"/>
              <a:gd name="connsiteY41460" fmla="*/ 453676 h 7458372"/>
              <a:gd name="connsiteX41461" fmla="*/ 930229 w 10505529"/>
              <a:gd name="connsiteY41461" fmla="*/ 465124 h 7458372"/>
              <a:gd name="connsiteX41462" fmla="*/ 927966 w 10505529"/>
              <a:gd name="connsiteY41462" fmla="*/ 476838 h 7458372"/>
              <a:gd name="connsiteX41463" fmla="*/ 921843 w 10505529"/>
              <a:gd name="connsiteY41463" fmla="*/ 486156 h 7458372"/>
              <a:gd name="connsiteX41464" fmla="*/ 912525 w 10505529"/>
              <a:gd name="connsiteY41464" fmla="*/ 492413 h 7458372"/>
              <a:gd name="connsiteX41465" fmla="*/ 900810 w 10505529"/>
              <a:gd name="connsiteY41465" fmla="*/ 494677 h 7458372"/>
              <a:gd name="connsiteX41466" fmla="*/ 878979 w 10505529"/>
              <a:gd name="connsiteY41466" fmla="*/ 486156 h 7458372"/>
              <a:gd name="connsiteX41467" fmla="*/ 870593 w 10505529"/>
              <a:gd name="connsiteY41467" fmla="*/ 464991 h 7458372"/>
              <a:gd name="connsiteX41468" fmla="*/ 878979 w 10505529"/>
              <a:gd name="connsiteY41468" fmla="*/ 443959 h 7458372"/>
              <a:gd name="connsiteX41469" fmla="*/ 900810 w 10505529"/>
              <a:gd name="connsiteY41469" fmla="*/ 435305 h 7458372"/>
              <a:gd name="connsiteX41470" fmla="*/ 1118322 w 10505529"/>
              <a:gd name="connsiteY41470" fmla="*/ 435305 h 7458372"/>
              <a:gd name="connsiteX41471" fmla="*/ 1130037 w 10505529"/>
              <a:gd name="connsiteY41471" fmla="*/ 437967 h 7458372"/>
              <a:gd name="connsiteX41472" fmla="*/ 1139356 w 10505529"/>
              <a:gd name="connsiteY41472" fmla="*/ 444358 h 7458372"/>
              <a:gd name="connsiteX41473" fmla="*/ 1145478 w 10505529"/>
              <a:gd name="connsiteY41473" fmla="*/ 453676 h 7458372"/>
              <a:gd name="connsiteX41474" fmla="*/ 1147741 w 10505529"/>
              <a:gd name="connsiteY41474" fmla="*/ 465124 h 7458372"/>
              <a:gd name="connsiteX41475" fmla="*/ 1145478 w 10505529"/>
              <a:gd name="connsiteY41475" fmla="*/ 476838 h 7458372"/>
              <a:gd name="connsiteX41476" fmla="*/ 1139356 w 10505529"/>
              <a:gd name="connsiteY41476" fmla="*/ 486156 h 7458372"/>
              <a:gd name="connsiteX41477" fmla="*/ 1130037 w 10505529"/>
              <a:gd name="connsiteY41477" fmla="*/ 492413 h 7458372"/>
              <a:gd name="connsiteX41478" fmla="*/ 1118322 w 10505529"/>
              <a:gd name="connsiteY41478" fmla="*/ 494676 h 7458372"/>
              <a:gd name="connsiteX41479" fmla="*/ 1096490 w 10505529"/>
              <a:gd name="connsiteY41479" fmla="*/ 486156 h 7458372"/>
              <a:gd name="connsiteX41480" fmla="*/ 1088104 w 10505529"/>
              <a:gd name="connsiteY41480" fmla="*/ 464991 h 7458372"/>
              <a:gd name="connsiteX41481" fmla="*/ 1096490 w 10505529"/>
              <a:gd name="connsiteY41481" fmla="*/ 443959 h 7458372"/>
              <a:gd name="connsiteX41482" fmla="*/ 1118322 w 10505529"/>
              <a:gd name="connsiteY41482" fmla="*/ 435305 h 7458372"/>
              <a:gd name="connsiteX41483" fmla="*/ 1335967 w 10505529"/>
              <a:gd name="connsiteY41483" fmla="*/ 435305 h 7458372"/>
              <a:gd name="connsiteX41484" fmla="*/ 1347682 w 10505529"/>
              <a:gd name="connsiteY41484" fmla="*/ 437967 h 7458372"/>
              <a:gd name="connsiteX41485" fmla="*/ 1357001 w 10505529"/>
              <a:gd name="connsiteY41485" fmla="*/ 444357 h 7458372"/>
              <a:gd name="connsiteX41486" fmla="*/ 1363123 w 10505529"/>
              <a:gd name="connsiteY41486" fmla="*/ 453676 h 7458372"/>
              <a:gd name="connsiteX41487" fmla="*/ 1365386 w 10505529"/>
              <a:gd name="connsiteY41487" fmla="*/ 465124 h 7458372"/>
              <a:gd name="connsiteX41488" fmla="*/ 1363123 w 10505529"/>
              <a:gd name="connsiteY41488" fmla="*/ 476838 h 7458372"/>
              <a:gd name="connsiteX41489" fmla="*/ 1357001 w 10505529"/>
              <a:gd name="connsiteY41489" fmla="*/ 486156 h 7458372"/>
              <a:gd name="connsiteX41490" fmla="*/ 1347682 w 10505529"/>
              <a:gd name="connsiteY41490" fmla="*/ 492413 h 7458372"/>
              <a:gd name="connsiteX41491" fmla="*/ 1335967 w 10505529"/>
              <a:gd name="connsiteY41491" fmla="*/ 494676 h 7458372"/>
              <a:gd name="connsiteX41492" fmla="*/ 1314136 w 10505529"/>
              <a:gd name="connsiteY41492" fmla="*/ 486156 h 7458372"/>
              <a:gd name="connsiteX41493" fmla="*/ 1305749 w 10505529"/>
              <a:gd name="connsiteY41493" fmla="*/ 464991 h 7458372"/>
              <a:gd name="connsiteX41494" fmla="*/ 1314136 w 10505529"/>
              <a:gd name="connsiteY41494" fmla="*/ 443958 h 7458372"/>
              <a:gd name="connsiteX41495" fmla="*/ 1335967 w 10505529"/>
              <a:gd name="connsiteY41495" fmla="*/ 435305 h 7458372"/>
              <a:gd name="connsiteX41496" fmla="*/ 1553612 w 10505529"/>
              <a:gd name="connsiteY41496" fmla="*/ 435305 h 7458372"/>
              <a:gd name="connsiteX41497" fmla="*/ 1565327 w 10505529"/>
              <a:gd name="connsiteY41497" fmla="*/ 437967 h 7458372"/>
              <a:gd name="connsiteX41498" fmla="*/ 1574645 w 10505529"/>
              <a:gd name="connsiteY41498" fmla="*/ 444357 h 7458372"/>
              <a:gd name="connsiteX41499" fmla="*/ 1580768 w 10505529"/>
              <a:gd name="connsiteY41499" fmla="*/ 453676 h 7458372"/>
              <a:gd name="connsiteX41500" fmla="*/ 1583031 w 10505529"/>
              <a:gd name="connsiteY41500" fmla="*/ 465124 h 7458372"/>
              <a:gd name="connsiteX41501" fmla="*/ 1580768 w 10505529"/>
              <a:gd name="connsiteY41501" fmla="*/ 476838 h 7458372"/>
              <a:gd name="connsiteX41502" fmla="*/ 1574645 w 10505529"/>
              <a:gd name="connsiteY41502" fmla="*/ 486156 h 7458372"/>
              <a:gd name="connsiteX41503" fmla="*/ 1565327 w 10505529"/>
              <a:gd name="connsiteY41503" fmla="*/ 492413 h 7458372"/>
              <a:gd name="connsiteX41504" fmla="*/ 1553612 w 10505529"/>
              <a:gd name="connsiteY41504" fmla="*/ 494676 h 7458372"/>
              <a:gd name="connsiteX41505" fmla="*/ 1531780 w 10505529"/>
              <a:gd name="connsiteY41505" fmla="*/ 486156 h 7458372"/>
              <a:gd name="connsiteX41506" fmla="*/ 1523394 w 10505529"/>
              <a:gd name="connsiteY41506" fmla="*/ 464991 h 7458372"/>
              <a:gd name="connsiteX41507" fmla="*/ 1531780 w 10505529"/>
              <a:gd name="connsiteY41507" fmla="*/ 443958 h 7458372"/>
              <a:gd name="connsiteX41508" fmla="*/ 1553612 w 10505529"/>
              <a:gd name="connsiteY41508" fmla="*/ 435305 h 7458372"/>
              <a:gd name="connsiteX41509" fmla="*/ 1771256 w 10505529"/>
              <a:gd name="connsiteY41509" fmla="*/ 435305 h 7458372"/>
              <a:gd name="connsiteX41510" fmla="*/ 1782971 w 10505529"/>
              <a:gd name="connsiteY41510" fmla="*/ 437967 h 7458372"/>
              <a:gd name="connsiteX41511" fmla="*/ 1792289 w 10505529"/>
              <a:gd name="connsiteY41511" fmla="*/ 444357 h 7458372"/>
              <a:gd name="connsiteX41512" fmla="*/ 1798413 w 10505529"/>
              <a:gd name="connsiteY41512" fmla="*/ 453675 h 7458372"/>
              <a:gd name="connsiteX41513" fmla="*/ 1800676 w 10505529"/>
              <a:gd name="connsiteY41513" fmla="*/ 465123 h 7458372"/>
              <a:gd name="connsiteX41514" fmla="*/ 1798413 w 10505529"/>
              <a:gd name="connsiteY41514" fmla="*/ 476838 h 7458372"/>
              <a:gd name="connsiteX41515" fmla="*/ 1792289 w 10505529"/>
              <a:gd name="connsiteY41515" fmla="*/ 486156 h 7458372"/>
              <a:gd name="connsiteX41516" fmla="*/ 1782971 w 10505529"/>
              <a:gd name="connsiteY41516" fmla="*/ 492413 h 7458372"/>
              <a:gd name="connsiteX41517" fmla="*/ 1771256 w 10505529"/>
              <a:gd name="connsiteY41517" fmla="*/ 494676 h 7458372"/>
              <a:gd name="connsiteX41518" fmla="*/ 1749425 w 10505529"/>
              <a:gd name="connsiteY41518" fmla="*/ 486156 h 7458372"/>
              <a:gd name="connsiteX41519" fmla="*/ 1741040 w 10505529"/>
              <a:gd name="connsiteY41519" fmla="*/ 464991 h 7458372"/>
              <a:gd name="connsiteX41520" fmla="*/ 1749425 w 10505529"/>
              <a:gd name="connsiteY41520" fmla="*/ 443958 h 7458372"/>
              <a:gd name="connsiteX41521" fmla="*/ 1771256 w 10505529"/>
              <a:gd name="connsiteY41521" fmla="*/ 435305 h 7458372"/>
              <a:gd name="connsiteX41522" fmla="*/ 1988900 w 10505529"/>
              <a:gd name="connsiteY41522" fmla="*/ 435305 h 7458372"/>
              <a:gd name="connsiteX41523" fmla="*/ 2000616 w 10505529"/>
              <a:gd name="connsiteY41523" fmla="*/ 437967 h 7458372"/>
              <a:gd name="connsiteX41524" fmla="*/ 2009934 w 10505529"/>
              <a:gd name="connsiteY41524" fmla="*/ 444357 h 7458372"/>
              <a:gd name="connsiteX41525" fmla="*/ 2016057 w 10505529"/>
              <a:gd name="connsiteY41525" fmla="*/ 453675 h 7458372"/>
              <a:gd name="connsiteX41526" fmla="*/ 2018320 w 10505529"/>
              <a:gd name="connsiteY41526" fmla="*/ 465123 h 7458372"/>
              <a:gd name="connsiteX41527" fmla="*/ 2016057 w 10505529"/>
              <a:gd name="connsiteY41527" fmla="*/ 476838 h 7458372"/>
              <a:gd name="connsiteX41528" fmla="*/ 2009934 w 10505529"/>
              <a:gd name="connsiteY41528" fmla="*/ 486156 h 7458372"/>
              <a:gd name="connsiteX41529" fmla="*/ 2000616 w 10505529"/>
              <a:gd name="connsiteY41529" fmla="*/ 492413 h 7458372"/>
              <a:gd name="connsiteX41530" fmla="*/ 1988900 w 10505529"/>
              <a:gd name="connsiteY41530" fmla="*/ 494676 h 7458372"/>
              <a:gd name="connsiteX41531" fmla="*/ 1967069 w 10505529"/>
              <a:gd name="connsiteY41531" fmla="*/ 486156 h 7458372"/>
              <a:gd name="connsiteX41532" fmla="*/ 1958683 w 10505529"/>
              <a:gd name="connsiteY41532" fmla="*/ 464990 h 7458372"/>
              <a:gd name="connsiteX41533" fmla="*/ 1967069 w 10505529"/>
              <a:gd name="connsiteY41533" fmla="*/ 443958 h 7458372"/>
              <a:gd name="connsiteX41534" fmla="*/ 1988900 w 10505529"/>
              <a:gd name="connsiteY41534" fmla="*/ 435305 h 7458372"/>
              <a:gd name="connsiteX41535" fmla="*/ 2206414 w 10505529"/>
              <a:gd name="connsiteY41535" fmla="*/ 435305 h 7458372"/>
              <a:gd name="connsiteX41536" fmla="*/ 2218129 w 10505529"/>
              <a:gd name="connsiteY41536" fmla="*/ 437967 h 7458372"/>
              <a:gd name="connsiteX41537" fmla="*/ 2227447 w 10505529"/>
              <a:gd name="connsiteY41537" fmla="*/ 444357 h 7458372"/>
              <a:gd name="connsiteX41538" fmla="*/ 2233570 w 10505529"/>
              <a:gd name="connsiteY41538" fmla="*/ 453675 h 7458372"/>
              <a:gd name="connsiteX41539" fmla="*/ 2235833 w 10505529"/>
              <a:gd name="connsiteY41539" fmla="*/ 465123 h 7458372"/>
              <a:gd name="connsiteX41540" fmla="*/ 2233570 w 10505529"/>
              <a:gd name="connsiteY41540" fmla="*/ 476838 h 7458372"/>
              <a:gd name="connsiteX41541" fmla="*/ 2227447 w 10505529"/>
              <a:gd name="connsiteY41541" fmla="*/ 486156 h 7458372"/>
              <a:gd name="connsiteX41542" fmla="*/ 2218129 w 10505529"/>
              <a:gd name="connsiteY41542" fmla="*/ 492413 h 7458372"/>
              <a:gd name="connsiteX41543" fmla="*/ 2206414 w 10505529"/>
              <a:gd name="connsiteY41543" fmla="*/ 494676 h 7458372"/>
              <a:gd name="connsiteX41544" fmla="*/ 2184583 w 10505529"/>
              <a:gd name="connsiteY41544" fmla="*/ 486156 h 7458372"/>
              <a:gd name="connsiteX41545" fmla="*/ 2176196 w 10505529"/>
              <a:gd name="connsiteY41545" fmla="*/ 464990 h 7458372"/>
              <a:gd name="connsiteX41546" fmla="*/ 2184583 w 10505529"/>
              <a:gd name="connsiteY41546" fmla="*/ 443958 h 7458372"/>
              <a:gd name="connsiteX41547" fmla="*/ 2206414 w 10505529"/>
              <a:gd name="connsiteY41547" fmla="*/ 435305 h 7458372"/>
              <a:gd name="connsiteX41548" fmla="*/ 2424060 w 10505529"/>
              <a:gd name="connsiteY41548" fmla="*/ 435305 h 7458372"/>
              <a:gd name="connsiteX41549" fmla="*/ 2435776 w 10505529"/>
              <a:gd name="connsiteY41549" fmla="*/ 437967 h 7458372"/>
              <a:gd name="connsiteX41550" fmla="*/ 2445094 w 10505529"/>
              <a:gd name="connsiteY41550" fmla="*/ 444357 h 7458372"/>
              <a:gd name="connsiteX41551" fmla="*/ 2451217 w 10505529"/>
              <a:gd name="connsiteY41551" fmla="*/ 453675 h 7458372"/>
              <a:gd name="connsiteX41552" fmla="*/ 2453480 w 10505529"/>
              <a:gd name="connsiteY41552" fmla="*/ 465123 h 7458372"/>
              <a:gd name="connsiteX41553" fmla="*/ 2451217 w 10505529"/>
              <a:gd name="connsiteY41553" fmla="*/ 476837 h 7458372"/>
              <a:gd name="connsiteX41554" fmla="*/ 2445094 w 10505529"/>
              <a:gd name="connsiteY41554" fmla="*/ 486156 h 7458372"/>
              <a:gd name="connsiteX41555" fmla="*/ 2435776 w 10505529"/>
              <a:gd name="connsiteY41555" fmla="*/ 492413 h 7458372"/>
              <a:gd name="connsiteX41556" fmla="*/ 2424060 w 10505529"/>
              <a:gd name="connsiteY41556" fmla="*/ 494676 h 7458372"/>
              <a:gd name="connsiteX41557" fmla="*/ 2402229 w 10505529"/>
              <a:gd name="connsiteY41557" fmla="*/ 486156 h 7458372"/>
              <a:gd name="connsiteX41558" fmla="*/ 2393842 w 10505529"/>
              <a:gd name="connsiteY41558" fmla="*/ 464990 h 7458372"/>
              <a:gd name="connsiteX41559" fmla="*/ 2402229 w 10505529"/>
              <a:gd name="connsiteY41559" fmla="*/ 443958 h 7458372"/>
              <a:gd name="connsiteX41560" fmla="*/ 2424060 w 10505529"/>
              <a:gd name="connsiteY41560" fmla="*/ 435305 h 7458372"/>
              <a:gd name="connsiteX41561" fmla="*/ 2641707 w 10505529"/>
              <a:gd name="connsiteY41561" fmla="*/ 435305 h 7458372"/>
              <a:gd name="connsiteX41562" fmla="*/ 2653422 w 10505529"/>
              <a:gd name="connsiteY41562" fmla="*/ 437967 h 7458372"/>
              <a:gd name="connsiteX41563" fmla="*/ 2662740 w 10505529"/>
              <a:gd name="connsiteY41563" fmla="*/ 444357 h 7458372"/>
              <a:gd name="connsiteX41564" fmla="*/ 2668864 w 10505529"/>
              <a:gd name="connsiteY41564" fmla="*/ 453675 h 7458372"/>
              <a:gd name="connsiteX41565" fmla="*/ 2671127 w 10505529"/>
              <a:gd name="connsiteY41565" fmla="*/ 465123 h 7458372"/>
              <a:gd name="connsiteX41566" fmla="*/ 2668864 w 10505529"/>
              <a:gd name="connsiteY41566" fmla="*/ 476837 h 7458372"/>
              <a:gd name="connsiteX41567" fmla="*/ 2662740 w 10505529"/>
              <a:gd name="connsiteY41567" fmla="*/ 486156 h 7458372"/>
              <a:gd name="connsiteX41568" fmla="*/ 2653422 w 10505529"/>
              <a:gd name="connsiteY41568" fmla="*/ 492413 h 7458372"/>
              <a:gd name="connsiteX41569" fmla="*/ 2641707 w 10505529"/>
              <a:gd name="connsiteY41569" fmla="*/ 494676 h 7458372"/>
              <a:gd name="connsiteX41570" fmla="*/ 2619875 w 10505529"/>
              <a:gd name="connsiteY41570" fmla="*/ 486156 h 7458372"/>
              <a:gd name="connsiteX41571" fmla="*/ 2611489 w 10505529"/>
              <a:gd name="connsiteY41571" fmla="*/ 464990 h 7458372"/>
              <a:gd name="connsiteX41572" fmla="*/ 2619875 w 10505529"/>
              <a:gd name="connsiteY41572" fmla="*/ 443958 h 7458372"/>
              <a:gd name="connsiteX41573" fmla="*/ 2641707 w 10505529"/>
              <a:gd name="connsiteY41573" fmla="*/ 435305 h 7458372"/>
              <a:gd name="connsiteX41574" fmla="*/ 2859353 w 10505529"/>
              <a:gd name="connsiteY41574" fmla="*/ 435304 h 7458372"/>
              <a:gd name="connsiteX41575" fmla="*/ 2871202 w 10505529"/>
              <a:gd name="connsiteY41575" fmla="*/ 437966 h 7458372"/>
              <a:gd name="connsiteX41576" fmla="*/ 2880520 w 10505529"/>
              <a:gd name="connsiteY41576" fmla="*/ 444357 h 7458372"/>
              <a:gd name="connsiteX41577" fmla="*/ 2886643 w 10505529"/>
              <a:gd name="connsiteY41577" fmla="*/ 453675 h 7458372"/>
              <a:gd name="connsiteX41578" fmla="*/ 2888906 w 10505529"/>
              <a:gd name="connsiteY41578" fmla="*/ 465123 h 7458372"/>
              <a:gd name="connsiteX41579" fmla="*/ 2886643 w 10505529"/>
              <a:gd name="connsiteY41579" fmla="*/ 476837 h 7458372"/>
              <a:gd name="connsiteX41580" fmla="*/ 2880520 w 10505529"/>
              <a:gd name="connsiteY41580" fmla="*/ 486156 h 7458372"/>
              <a:gd name="connsiteX41581" fmla="*/ 2871202 w 10505529"/>
              <a:gd name="connsiteY41581" fmla="*/ 492413 h 7458372"/>
              <a:gd name="connsiteX41582" fmla="*/ 2859353 w 10505529"/>
              <a:gd name="connsiteY41582" fmla="*/ 494676 h 7458372"/>
              <a:gd name="connsiteX41583" fmla="*/ 2837522 w 10505529"/>
              <a:gd name="connsiteY41583" fmla="*/ 486156 h 7458372"/>
              <a:gd name="connsiteX41584" fmla="*/ 2829135 w 10505529"/>
              <a:gd name="connsiteY41584" fmla="*/ 464990 h 7458372"/>
              <a:gd name="connsiteX41585" fmla="*/ 2837522 w 10505529"/>
              <a:gd name="connsiteY41585" fmla="*/ 443958 h 7458372"/>
              <a:gd name="connsiteX41586" fmla="*/ 2859353 w 10505529"/>
              <a:gd name="connsiteY41586" fmla="*/ 435304 h 7458372"/>
              <a:gd name="connsiteX41587" fmla="*/ 3077000 w 10505529"/>
              <a:gd name="connsiteY41587" fmla="*/ 435304 h 7458372"/>
              <a:gd name="connsiteX41588" fmla="*/ 3088715 w 10505529"/>
              <a:gd name="connsiteY41588" fmla="*/ 437966 h 7458372"/>
              <a:gd name="connsiteX41589" fmla="*/ 3098033 w 10505529"/>
              <a:gd name="connsiteY41589" fmla="*/ 444357 h 7458372"/>
              <a:gd name="connsiteX41590" fmla="*/ 3104156 w 10505529"/>
              <a:gd name="connsiteY41590" fmla="*/ 453675 h 7458372"/>
              <a:gd name="connsiteX41591" fmla="*/ 3106419 w 10505529"/>
              <a:gd name="connsiteY41591" fmla="*/ 465123 h 7458372"/>
              <a:gd name="connsiteX41592" fmla="*/ 3104156 w 10505529"/>
              <a:gd name="connsiteY41592" fmla="*/ 476837 h 7458372"/>
              <a:gd name="connsiteX41593" fmla="*/ 3098033 w 10505529"/>
              <a:gd name="connsiteY41593" fmla="*/ 486155 h 7458372"/>
              <a:gd name="connsiteX41594" fmla="*/ 3088715 w 10505529"/>
              <a:gd name="connsiteY41594" fmla="*/ 492412 h 7458372"/>
              <a:gd name="connsiteX41595" fmla="*/ 3077000 w 10505529"/>
              <a:gd name="connsiteY41595" fmla="*/ 494676 h 7458372"/>
              <a:gd name="connsiteX41596" fmla="*/ 3055168 w 10505529"/>
              <a:gd name="connsiteY41596" fmla="*/ 486155 h 7458372"/>
              <a:gd name="connsiteX41597" fmla="*/ 3046782 w 10505529"/>
              <a:gd name="connsiteY41597" fmla="*/ 464990 h 7458372"/>
              <a:gd name="connsiteX41598" fmla="*/ 3055168 w 10505529"/>
              <a:gd name="connsiteY41598" fmla="*/ 443958 h 7458372"/>
              <a:gd name="connsiteX41599" fmla="*/ 3077000 w 10505529"/>
              <a:gd name="connsiteY41599" fmla="*/ 435304 h 7458372"/>
              <a:gd name="connsiteX41600" fmla="*/ 3294646 w 10505529"/>
              <a:gd name="connsiteY41600" fmla="*/ 435304 h 7458372"/>
              <a:gd name="connsiteX41601" fmla="*/ 3306362 w 10505529"/>
              <a:gd name="connsiteY41601" fmla="*/ 437966 h 7458372"/>
              <a:gd name="connsiteX41602" fmla="*/ 3315680 w 10505529"/>
              <a:gd name="connsiteY41602" fmla="*/ 444356 h 7458372"/>
              <a:gd name="connsiteX41603" fmla="*/ 3321803 w 10505529"/>
              <a:gd name="connsiteY41603" fmla="*/ 453675 h 7458372"/>
              <a:gd name="connsiteX41604" fmla="*/ 3324066 w 10505529"/>
              <a:gd name="connsiteY41604" fmla="*/ 465123 h 7458372"/>
              <a:gd name="connsiteX41605" fmla="*/ 3321803 w 10505529"/>
              <a:gd name="connsiteY41605" fmla="*/ 476837 h 7458372"/>
              <a:gd name="connsiteX41606" fmla="*/ 3315680 w 10505529"/>
              <a:gd name="connsiteY41606" fmla="*/ 486155 h 7458372"/>
              <a:gd name="connsiteX41607" fmla="*/ 3306362 w 10505529"/>
              <a:gd name="connsiteY41607" fmla="*/ 492412 h 7458372"/>
              <a:gd name="connsiteX41608" fmla="*/ 3294646 w 10505529"/>
              <a:gd name="connsiteY41608" fmla="*/ 494675 h 7458372"/>
              <a:gd name="connsiteX41609" fmla="*/ 3272814 w 10505529"/>
              <a:gd name="connsiteY41609" fmla="*/ 486155 h 7458372"/>
              <a:gd name="connsiteX41610" fmla="*/ 3264428 w 10505529"/>
              <a:gd name="connsiteY41610" fmla="*/ 464990 h 7458372"/>
              <a:gd name="connsiteX41611" fmla="*/ 3272814 w 10505529"/>
              <a:gd name="connsiteY41611" fmla="*/ 443957 h 7458372"/>
              <a:gd name="connsiteX41612" fmla="*/ 3294646 w 10505529"/>
              <a:gd name="connsiteY41612" fmla="*/ 435304 h 7458372"/>
              <a:gd name="connsiteX41613" fmla="*/ 3512160 w 10505529"/>
              <a:gd name="connsiteY41613" fmla="*/ 435304 h 7458372"/>
              <a:gd name="connsiteX41614" fmla="*/ 3523875 w 10505529"/>
              <a:gd name="connsiteY41614" fmla="*/ 437966 h 7458372"/>
              <a:gd name="connsiteX41615" fmla="*/ 3533193 w 10505529"/>
              <a:gd name="connsiteY41615" fmla="*/ 444356 h 7458372"/>
              <a:gd name="connsiteX41616" fmla="*/ 3539316 w 10505529"/>
              <a:gd name="connsiteY41616" fmla="*/ 453675 h 7458372"/>
              <a:gd name="connsiteX41617" fmla="*/ 3541579 w 10505529"/>
              <a:gd name="connsiteY41617" fmla="*/ 465123 h 7458372"/>
              <a:gd name="connsiteX41618" fmla="*/ 3539316 w 10505529"/>
              <a:gd name="connsiteY41618" fmla="*/ 476837 h 7458372"/>
              <a:gd name="connsiteX41619" fmla="*/ 3533193 w 10505529"/>
              <a:gd name="connsiteY41619" fmla="*/ 486155 h 7458372"/>
              <a:gd name="connsiteX41620" fmla="*/ 3523875 w 10505529"/>
              <a:gd name="connsiteY41620" fmla="*/ 492412 h 7458372"/>
              <a:gd name="connsiteX41621" fmla="*/ 3512160 w 10505529"/>
              <a:gd name="connsiteY41621" fmla="*/ 494675 h 7458372"/>
              <a:gd name="connsiteX41622" fmla="*/ 3490328 w 10505529"/>
              <a:gd name="connsiteY41622" fmla="*/ 486155 h 7458372"/>
              <a:gd name="connsiteX41623" fmla="*/ 3481941 w 10505529"/>
              <a:gd name="connsiteY41623" fmla="*/ 464990 h 7458372"/>
              <a:gd name="connsiteX41624" fmla="*/ 3490328 w 10505529"/>
              <a:gd name="connsiteY41624" fmla="*/ 443957 h 7458372"/>
              <a:gd name="connsiteX41625" fmla="*/ 3512160 w 10505529"/>
              <a:gd name="connsiteY41625" fmla="*/ 435304 h 7458372"/>
              <a:gd name="connsiteX41626" fmla="*/ 3729806 w 10505529"/>
              <a:gd name="connsiteY41626" fmla="*/ 435304 h 7458372"/>
              <a:gd name="connsiteX41627" fmla="*/ 3741521 w 10505529"/>
              <a:gd name="connsiteY41627" fmla="*/ 437966 h 7458372"/>
              <a:gd name="connsiteX41628" fmla="*/ 3750840 w 10505529"/>
              <a:gd name="connsiteY41628" fmla="*/ 444356 h 7458372"/>
              <a:gd name="connsiteX41629" fmla="*/ 3756962 w 10505529"/>
              <a:gd name="connsiteY41629" fmla="*/ 453674 h 7458372"/>
              <a:gd name="connsiteX41630" fmla="*/ 3759225 w 10505529"/>
              <a:gd name="connsiteY41630" fmla="*/ 465123 h 7458372"/>
              <a:gd name="connsiteX41631" fmla="*/ 3756962 w 10505529"/>
              <a:gd name="connsiteY41631" fmla="*/ 476837 h 7458372"/>
              <a:gd name="connsiteX41632" fmla="*/ 3750840 w 10505529"/>
              <a:gd name="connsiteY41632" fmla="*/ 486155 h 7458372"/>
              <a:gd name="connsiteX41633" fmla="*/ 3741521 w 10505529"/>
              <a:gd name="connsiteY41633" fmla="*/ 492412 h 7458372"/>
              <a:gd name="connsiteX41634" fmla="*/ 3729806 w 10505529"/>
              <a:gd name="connsiteY41634" fmla="*/ 494675 h 7458372"/>
              <a:gd name="connsiteX41635" fmla="*/ 3707975 w 10505529"/>
              <a:gd name="connsiteY41635" fmla="*/ 486155 h 7458372"/>
              <a:gd name="connsiteX41636" fmla="*/ 3699589 w 10505529"/>
              <a:gd name="connsiteY41636" fmla="*/ 464990 h 7458372"/>
              <a:gd name="connsiteX41637" fmla="*/ 3707975 w 10505529"/>
              <a:gd name="connsiteY41637" fmla="*/ 443957 h 7458372"/>
              <a:gd name="connsiteX41638" fmla="*/ 3729806 w 10505529"/>
              <a:gd name="connsiteY41638" fmla="*/ 435304 h 7458372"/>
              <a:gd name="connsiteX41639" fmla="*/ 3947454 w 10505529"/>
              <a:gd name="connsiteY41639" fmla="*/ 435304 h 7458372"/>
              <a:gd name="connsiteX41640" fmla="*/ 3959169 w 10505529"/>
              <a:gd name="connsiteY41640" fmla="*/ 437966 h 7458372"/>
              <a:gd name="connsiteX41641" fmla="*/ 3968486 w 10505529"/>
              <a:gd name="connsiteY41641" fmla="*/ 444356 h 7458372"/>
              <a:gd name="connsiteX41642" fmla="*/ 3974610 w 10505529"/>
              <a:gd name="connsiteY41642" fmla="*/ 453674 h 7458372"/>
              <a:gd name="connsiteX41643" fmla="*/ 3976873 w 10505529"/>
              <a:gd name="connsiteY41643" fmla="*/ 465123 h 7458372"/>
              <a:gd name="connsiteX41644" fmla="*/ 3974610 w 10505529"/>
              <a:gd name="connsiteY41644" fmla="*/ 476837 h 7458372"/>
              <a:gd name="connsiteX41645" fmla="*/ 3968486 w 10505529"/>
              <a:gd name="connsiteY41645" fmla="*/ 486155 h 7458372"/>
              <a:gd name="connsiteX41646" fmla="*/ 3959169 w 10505529"/>
              <a:gd name="connsiteY41646" fmla="*/ 492412 h 7458372"/>
              <a:gd name="connsiteX41647" fmla="*/ 3947454 w 10505529"/>
              <a:gd name="connsiteY41647" fmla="*/ 494675 h 7458372"/>
              <a:gd name="connsiteX41648" fmla="*/ 3925622 w 10505529"/>
              <a:gd name="connsiteY41648" fmla="*/ 486155 h 7458372"/>
              <a:gd name="connsiteX41649" fmla="*/ 3917235 w 10505529"/>
              <a:gd name="connsiteY41649" fmla="*/ 464990 h 7458372"/>
              <a:gd name="connsiteX41650" fmla="*/ 3925622 w 10505529"/>
              <a:gd name="connsiteY41650" fmla="*/ 443957 h 7458372"/>
              <a:gd name="connsiteX41651" fmla="*/ 3947454 w 10505529"/>
              <a:gd name="connsiteY41651" fmla="*/ 435304 h 7458372"/>
              <a:gd name="connsiteX41652" fmla="*/ 4165068 w 10505529"/>
              <a:gd name="connsiteY41652" fmla="*/ 435304 h 7458372"/>
              <a:gd name="connsiteX41653" fmla="*/ 4176782 w 10505529"/>
              <a:gd name="connsiteY41653" fmla="*/ 437966 h 7458372"/>
              <a:gd name="connsiteX41654" fmla="*/ 4186100 w 10505529"/>
              <a:gd name="connsiteY41654" fmla="*/ 444356 h 7458372"/>
              <a:gd name="connsiteX41655" fmla="*/ 4192223 w 10505529"/>
              <a:gd name="connsiteY41655" fmla="*/ 453674 h 7458372"/>
              <a:gd name="connsiteX41656" fmla="*/ 4194486 w 10505529"/>
              <a:gd name="connsiteY41656" fmla="*/ 465122 h 7458372"/>
              <a:gd name="connsiteX41657" fmla="*/ 4192223 w 10505529"/>
              <a:gd name="connsiteY41657" fmla="*/ 476837 h 7458372"/>
              <a:gd name="connsiteX41658" fmla="*/ 4186100 w 10505529"/>
              <a:gd name="connsiteY41658" fmla="*/ 486155 h 7458372"/>
              <a:gd name="connsiteX41659" fmla="*/ 4176782 w 10505529"/>
              <a:gd name="connsiteY41659" fmla="*/ 492412 h 7458372"/>
              <a:gd name="connsiteX41660" fmla="*/ 4165068 w 10505529"/>
              <a:gd name="connsiteY41660" fmla="*/ 494675 h 7458372"/>
              <a:gd name="connsiteX41661" fmla="*/ 4143235 w 10505529"/>
              <a:gd name="connsiteY41661" fmla="*/ 486155 h 7458372"/>
              <a:gd name="connsiteX41662" fmla="*/ 4134849 w 10505529"/>
              <a:gd name="connsiteY41662" fmla="*/ 464989 h 7458372"/>
              <a:gd name="connsiteX41663" fmla="*/ 4143235 w 10505529"/>
              <a:gd name="connsiteY41663" fmla="*/ 443957 h 7458372"/>
              <a:gd name="connsiteX41664" fmla="*/ 4165068 w 10505529"/>
              <a:gd name="connsiteY41664" fmla="*/ 435304 h 7458372"/>
              <a:gd name="connsiteX41665" fmla="*/ 4382713 w 10505529"/>
              <a:gd name="connsiteY41665" fmla="*/ 435304 h 7458372"/>
              <a:gd name="connsiteX41666" fmla="*/ 4394428 w 10505529"/>
              <a:gd name="connsiteY41666" fmla="*/ 437966 h 7458372"/>
              <a:gd name="connsiteX41667" fmla="*/ 4403746 w 10505529"/>
              <a:gd name="connsiteY41667" fmla="*/ 444356 h 7458372"/>
              <a:gd name="connsiteX41668" fmla="*/ 4409869 w 10505529"/>
              <a:gd name="connsiteY41668" fmla="*/ 453674 h 7458372"/>
              <a:gd name="connsiteX41669" fmla="*/ 4412132 w 10505529"/>
              <a:gd name="connsiteY41669" fmla="*/ 465122 h 7458372"/>
              <a:gd name="connsiteX41670" fmla="*/ 4409869 w 10505529"/>
              <a:gd name="connsiteY41670" fmla="*/ 476836 h 7458372"/>
              <a:gd name="connsiteX41671" fmla="*/ 4403746 w 10505529"/>
              <a:gd name="connsiteY41671" fmla="*/ 486155 h 7458372"/>
              <a:gd name="connsiteX41672" fmla="*/ 4394428 w 10505529"/>
              <a:gd name="connsiteY41672" fmla="*/ 492412 h 7458372"/>
              <a:gd name="connsiteX41673" fmla="*/ 4382713 w 10505529"/>
              <a:gd name="connsiteY41673" fmla="*/ 494675 h 7458372"/>
              <a:gd name="connsiteX41674" fmla="*/ 4360881 w 10505529"/>
              <a:gd name="connsiteY41674" fmla="*/ 486155 h 7458372"/>
              <a:gd name="connsiteX41675" fmla="*/ 4352495 w 10505529"/>
              <a:gd name="connsiteY41675" fmla="*/ 464989 h 7458372"/>
              <a:gd name="connsiteX41676" fmla="*/ 4360881 w 10505529"/>
              <a:gd name="connsiteY41676" fmla="*/ 443957 h 7458372"/>
              <a:gd name="connsiteX41677" fmla="*/ 4382713 w 10505529"/>
              <a:gd name="connsiteY41677" fmla="*/ 435304 h 7458372"/>
              <a:gd name="connsiteX41678" fmla="*/ 4600226 w 10505529"/>
              <a:gd name="connsiteY41678" fmla="*/ 435304 h 7458372"/>
              <a:gd name="connsiteX41679" fmla="*/ 4612073 w 10505529"/>
              <a:gd name="connsiteY41679" fmla="*/ 437966 h 7458372"/>
              <a:gd name="connsiteX41680" fmla="*/ 4621391 w 10505529"/>
              <a:gd name="connsiteY41680" fmla="*/ 444356 h 7458372"/>
              <a:gd name="connsiteX41681" fmla="*/ 4627514 w 10505529"/>
              <a:gd name="connsiteY41681" fmla="*/ 453674 h 7458372"/>
              <a:gd name="connsiteX41682" fmla="*/ 4629777 w 10505529"/>
              <a:gd name="connsiteY41682" fmla="*/ 465122 h 7458372"/>
              <a:gd name="connsiteX41683" fmla="*/ 4627514 w 10505529"/>
              <a:gd name="connsiteY41683" fmla="*/ 476836 h 7458372"/>
              <a:gd name="connsiteX41684" fmla="*/ 4621391 w 10505529"/>
              <a:gd name="connsiteY41684" fmla="*/ 486155 h 7458372"/>
              <a:gd name="connsiteX41685" fmla="*/ 4612073 w 10505529"/>
              <a:gd name="connsiteY41685" fmla="*/ 492412 h 7458372"/>
              <a:gd name="connsiteX41686" fmla="*/ 4600226 w 10505529"/>
              <a:gd name="connsiteY41686" fmla="*/ 494675 h 7458372"/>
              <a:gd name="connsiteX41687" fmla="*/ 4578393 w 10505529"/>
              <a:gd name="connsiteY41687" fmla="*/ 486155 h 7458372"/>
              <a:gd name="connsiteX41688" fmla="*/ 4570007 w 10505529"/>
              <a:gd name="connsiteY41688" fmla="*/ 464989 h 7458372"/>
              <a:gd name="connsiteX41689" fmla="*/ 4578393 w 10505529"/>
              <a:gd name="connsiteY41689" fmla="*/ 443957 h 7458372"/>
              <a:gd name="connsiteX41690" fmla="*/ 4600226 w 10505529"/>
              <a:gd name="connsiteY41690" fmla="*/ 435304 h 7458372"/>
              <a:gd name="connsiteX41691" fmla="*/ 4817870 w 10505529"/>
              <a:gd name="connsiteY41691" fmla="*/ 435303 h 7458372"/>
              <a:gd name="connsiteX41692" fmla="*/ 4829585 w 10505529"/>
              <a:gd name="connsiteY41692" fmla="*/ 437966 h 7458372"/>
              <a:gd name="connsiteX41693" fmla="*/ 4838903 w 10505529"/>
              <a:gd name="connsiteY41693" fmla="*/ 444356 h 7458372"/>
              <a:gd name="connsiteX41694" fmla="*/ 4845026 w 10505529"/>
              <a:gd name="connsiteY41694" fmla="*/ 453674 h 7458372"/>
              <a:gd name="connsiteX41695" fmla="*/ 4847289 w 10505529"/>
              <a:gd name="connsiteY41695" fmla="*/ 465122 h 7458372"/>
              <a:gd name="connsiteX41696" fmla="*/ 4845026 w 10505529"/>
              <a:gd name="connsiteY41696" fmla="*/ 476836 h 7458372"/>
              <a:gd name="connsiteX41697" fmla="*/ 4838903 w 10505529"/>
              <a:gd name="connsiteY41697" fmla="*/ 486155 h 7458372"/>
              <a:gd name="connsiteX41698" fmla="*/ 4829585 w 10505529"/>
              <a:gd name="connsiteY41698" fmla="*/ 492412 h 7458372"/>
              <a:gd name="connsiteX41699" fmla="*/ 4817870 w 10505529"/>
              <a:gd name="connsiteY41699" fmla="*/ 494675 h 7458372"/>
              <a:gd name="connsiteX41700" fmla="*/ 4796038 w 10505529"/>
              <a:gd name="connsiteY41700" fmla="*/ 486155 h 7458372"/>
              <a:gd name="connsiteX41701" fmla="*/ 4787652 w 10505529"/>
              <a:gd name="connsiteY41701" fmla="*/ 464989 h 7458372"/>
              <a:gd name="connsiteX41702" fmla="*/ 4796038 w 10505529"/>
              <a:gd name="connsiteY41702" fmla="*/ 443957 h 7458372"/>
              <a:gd name="connsiteX41703" fmla="*/ 4817870 w 10505529"/>
              <a:gd name="connsiteY41703" fmla="*/ 435303 h 7458372"/>
              <a:gd name="connsiteX41704" fmla="*/ 5035515 w 10505529"/>
              <a:gd name="connsiteY41704" fmla="*/ 435303 h 7458372"/>
              <a:gd name="connsiteX41705" fmla="*/ 5047230 w 10505529"/>
              <a:gd name="connsiteY41705" fmla="*/ 437965 h 7458372"/>
              <a:gd name="connsiteX41706" fmla="*/ 5056548 w 10505529"/>
              <a:gd name="connsiteY41706" fmla="*/ 444356 h 7458372"/>
              <a:gd name="connsiteX41707" fmla="*/ 5062671 w 10505529"/>
              <a:gd name="connsiteY41707" fmla="*/ 453674 h 7458372"/>
              <a:gd name="connsiteX41708" fmla="*/ 5064934 w 10505529"/>
              <a:gd name="connsiteY41708" fmla="*/ 465122 h 7458372"/>
              <a:gd name="connsiteX41709" fmla="*/ 5062671 w 10505529"/>
              <a:gd name="connsiteY41709" fmla="*/ 476836 h 7458372"/>
              <a:gd name="connsiteX41710" fmla="*/ 5056548 w 10505529"/>
              <a:gd name="connsiteY41710" fmla="*/ 486154 h 7458372"/>
              <a:gd name="connsiteX41711" fmla="*/ 5047230 w 10505529"/>
              <a:gd name="connsiteY41711" fmla="*/ 492411 h 7458372"/>
              <a:gd name="connsiteX41712" fmla="*/ 5035515 w 10505529"/>
              <a:gd name="connsiteY41712" fmla="*/ 494674 h 7458372"/>
              <a:gd name="connsiteX41713" fmla="*/ 5013683 w 10505529"/>
              <a:gd name="connsiteY41713" fmla="*/ 486154 h 7458372"/>
              <a:gd name="connsiteX41714" fmla="*/ 5005297 w 10505529"/>
              <a:gd name="connsiteY41714" fmla="*/ 464989 h 7458372"/>
              <a:gd name="connsiteX41715" fmla="*/ 5013683 w 10505529"/>
              <a:gd name="connsiteY41715" fmla="*/ 443957 h 7458372"/>
              <a:gd name="connsiteX41716" fmla="*/ 5035515 w 10505529"/>
              <a:gd name="connsiteY41716" fmla="*/ 435303 h 7458372"/>
              <a:gd name="connsiteX41717" fmla="*/ 5470806 w 10505529"/>
              <a:gd name="connsiteY41717" fmla="*/ 435303 h 7458372"/>
              <a:gd name="connsiteX41718" fmla="*/ 5482520 w 10505529"/>
              <a:gd name="connsiteY41718" fmla="*/ 437965 h 7458372"/>
              <a:gd name="connsiteX41719" fmla="*/ 5491838 w 10505529"/>
              <a:gd name="connsiteY41719" fmla="*/ 444355 h 7458372"/>
              <a:gd name="connsiteX41720" fmla="*/ 5497961 w 10505529"/>
              <a:gd name="connsiteY41720" fmla="*/ 453674 h 7458372"/>
              <a:gd name="connsiteX41721" fmla="*/ 5500224 w 10505529"/>
              <a:gd name="connsiteY41721" fmla="*/ 465122 h 7458372"/>
              <a:gd name="connsiteX41722" fmla="*/ 5497961 w 10505529"/>
              <a:gd name="connsiteY41722" fmla="*/ 476836 h 7458372"/>
              <a:gd name="connsiteX41723" fmla="*/ 5491838 w 10505529"/>
              <a:gd name="connsiteY41723" fmla="*/ 486154 h 7458372"/>
              <a:gd name="connsiteX41724" fmla="*/ 5482520 w 10505529"/>
              <a:gd name="connsiteY41724" fmla="*/ 492411 h 7458372"/>
              <a:gd name="connsiteX41725" fmla="*/ 5470806 w 10505529"/>
              <a:gd name="connsiteY41725" fmla="*/ 494674 h 7458372"/>
              <a:gd name="connsiteX41726" fmla="*/ 5448973 w 10505529"/>
              <a:gd name="connsiteY41726" fmla="*/ 486154 h 7458372"/>
              <a:gd name="connsiteX41727" fmla="*/ 5440587 w 10505529"/>
              <a:gd name="connsiteY41727" fmla="*/ 464989 h 7458372"/>
              <a:gd name="connsiteX41728" fmla="*/ 5448973 w 10505529"/>
              <a:gd name="connsiteY41728" fmla="*/ 443956 h 7458372"/>
              <a:gd name="connsiteX41729" fmla="*/ 5470806 w 10505529"/>
              <a:gd name="connsiteY41729" fmla="*/ 435303 h 7458372"/>
              <a:gd name="connsiteX41730" fmla="*/ 5253160 w 10505529"/>
              <a:gd name="connsiteY41730" fmla="*/ 435303 h 7458372"/>
              <a:gd name="connsiteX41731" fmla="*/ 5264875 w 10505529"/>
              <a:gd name="connsiteY41731" fmla="*/ 437965 h 7458372"/>
              <a:gd name="connsiteX41732" fmla="*/ 5274192 w 10505529"/>
              <a:gd name="connsiteY41732" fmla="*/ 444355 h 7458372"/>
              <a:gd name="connsiteX41733" fmla="*/ 5280316 w 10505529"/>
              <a:gd name="connsiteY41733" fmla="*/ 453674 h 7458372"/>
              <a:gd name="connsiteX41734" fmla="*/ 5282579 w 10505529"/>
              <a:gd name="connsiteY41734" fmla="*/ 465122 h 7458372"/>
              <a:gd name="connsiteX41735" fmla="*/ 5280316 w 10505529"/>
              <a:gd name="connsiteY41735" fmla="*/ 476836 h 7458372"/>
              <a:gd name="connsiteX41736" fmla="*/ 5274192 w 10505529"/>
              <a:gd name="connsiteY41736" fmla="*/ 486154 h 7458372"/>
              <a:gd name="connsiteX41737" fmla="*/ 5264875 w 10505529"/>
              <a:gd name="connsiteY41737" fmla="*/ 492411 h 7458372"/>
              <a:gd name="connsiteX41738" fmla="*/ 5253160 w 10505529"/>
              <a:gd name="connsiteY41738" fmla="*/ 494674 h 7458372"/>
              <a:gd name="connsiteX41739" fmla="*/ 5231328 w 10505529"/>
              <a:gd name="connsiteY41739" fmla="*/ 486154 h 7458372"/>
              <a:gd name="connsiteX41740" fmla="*/ 5222942 w 10505529"/>
              <a:gd name="connsiteY41740" fmla="*/ 464989 h 7458372"/>
              <a:gd name="connsiteX41741" fmla="*/ 5231328 w 10505529"/>
              <a:gd name="connsiteY41741" fmla="*/ 443956 h 7458372"/>
              <a:gd name="connsiteX41742" fmla="*/ 5253160 w 10505529"/>
              <a:gd name="connsiteY41742" fmla="*/ 435303 h 7458372"/>
              <a:gd name="connsiteX41743" fmla="*/ 5905963 w 10505529"/>
              <a:gd name="connsiteY41743" fmla="*/ 435303 h 7458372"/>
              <a:gd name="connsiteX41744" fmla="*/ 5917677 w 10505529"/>
              <a:gd name="connsiteY41744" fmla="*/ 437965 h 7458372"/>
              <a:gd name="connsiteX41745" fmla="*/ 5926995 w 10505529"/>
              <a:gd name="connsiteY41745" fmla="*/ 444355 h 7458372"/>
              <a:gd name="connsiteX41746" fmla="*/ 5933118 w 10505529"/>
              <a:gd name="connsiteY41746" fmla="*/ 453673 h 7458372"/>
              <a:gd name="connsiteX41747" fmla="*/ 5935381 w 10505529"/>
              <a:gd name="connsiteY41747" fmla="*/ 465122 h 7458372"/>
              <a:gd name="connsiteX41748" fmla="*/ 5933118 w 10505529"/>
              <a:gd name="connsiteY41748" fmla="*/ 476836 h 7458372"/>
              <a:gd name="connsiteX41749" fmla="*/ 5926995 w 10505529"/>
              <a:gd name="connsiteY41749" fmla="*/ 486154 h 7458372"/>
              <a:gd name="connsiteX41750" fmla="*/ 5917677 w 10505529"/>
              <a:gd name="connsiteY41750" fmla="*/ 492411 h 7458372"/>
              <a:gd name="connsiteX41751" fmla="*/ 5905963 w 10505529"/>
              <a:gd name="connsiteY41751" fmla="*/ 494674 h 7458372"/>
              <a:gd name="connsiteX41752" fmla="*/ 5884130 w 10505529"/>
              <a:gd name="connsiteY41752" fmla="*/ 486154 h 7458372"/>
              <a:gd name="connsiteX41753" fmla="*/ 5875744 w 10505529"/>
              <a:gd name="connsiteY41753" fmla="*/ 464989 h 7458372"/>
              <a:gd name="connsiteX41754" fmla="*/ 5884130 w 10505529"/>
              <a:gd name="connsiteY41754" fmla="*/ 443956 h 7458372"/>
              <a:gd name="connsiteX41755" fmla="*/ 5905963 w 10505529"/>
              <a:gd name="connsiteY41755" fmla="*/ 435303 h 7458372"/>
              <a:gd name="connsiteX41756" fmla="*/ 5688451 w 10505529"/>
              <a:gd name="connsiteY41756" fmla="*/ 435303 h 7458372"/>
              <a:gd name="connsiteX41757" fmla="*/ 5700165 w 10505529"/>
              <a:gd name="connsiteY41757" fmla="*/ 437965 h 7458372"/>
              <a:gd name="connsiteX41758" fmla="*/ 5709483 w 10505529"/>
              <a:gd name="connsiteY41758" fmla="*/ 444355 h 7458372"/>
              <a:gd name="connsiteX41759" fmla="*/ 5715606 w 10505529"/>
              <a:gd name="connsiteY41759" fmla="*/ 453673 h 7458372"/>
              <a:gd name="connsiteX41760" fmla="*/ 5717869 w 10505529"/>
              <a:gd name="connsiteY41760" fmla="*/ 465122 h 7458372"/>
              <a:gd name="connsiteX41761" fmla="*/ 5715606 w 10505529"/>
              <a:gd name="connsiteY41761" fmla="*/ 476836 h 7458372"/>
              <a:gd name="connsiteX41762" fmla="*/ 5709483 w 10505529"/>
              <a:gd name="connsiteY41762" fmla="*/ 486154 h 7458372"/>
              <a:gd name="connsiteX41763" fmla="*/ 5700165 w 10505529"/>
              <a:gd name="connsiteY41763" fmla="*/ 492411 h 7458372"/>
              <a:gd name="connsiteX41764" fmla="*/ 5688451 w 10505529"/>
              <a:gd name="connsiteY41764" fmla="*/ 494674 h 7458372"/>
              <a:gd name="connsiteX41765" fmla="*/ 5666618 w 10505529"/>
              <a:gd name="connsiteY41765" fmla="*/ 486154 h 7458372"/>
              <a:gd name="connsiteX41766" fmla="*/ 5658232 w 10505529"/>
              <a:gd name="connsiteY41766" fmla="*/ 464989 h 7458372"/>
              <a:gd name="connsiteX41767" fmla="*/ 5666618 w 10505529"/>
              <a:gd name="connsiteY41767" fmla="*/ 443956 h 7458372"/>
              <a:gd name="connsiteX41768" fmla="*/ 5688451 w 10505529"/>
              <a:gd name="connsiteY41768" fmla="*/ 435303 h 7458372"/>
              <a:gd name="connsiteX41769" fmla="*/ 6123608 w 10505529"/>
              <a:gd name="connsiteY41769" fmla="*/ 435303 h 7458372"/>
              <a:gd name="connsiteX41770" fmla="*/ 6135322 w 10505529"/>
              <a:gd name="connsiteY41770" fmla="*/ 437965 h 7458372"/>
              <a:gd name="connsiteX41771" fmla="*/ 6144640 w 10505529"/>
              <a:gd name="connsiteY41771" fmla="*/ 444355 h 7458372"/>
              <a:gd name="connsiteX41772" fmla="*/ 6150763 w 10505529"/>
              <a:gd name="connsiteY41772" fmla="*/ 453673 h 7458372"/>
              <a:gd name="connsiteX41773" fmla="*/ 6153026 w 10505529"/>
              <a:gd name="connsiteY41773" fmla="*/ 465121 h 7458372"/>
              <a:gd name="connsiteX41774" fmla="*/ 6150763 w 10505529"/>
              <a:gd name="connsiteY41774" fmla="*/ 476836 h 7458372"/>
              <a:gd name="connsiteX41775" fmla="*/ 6144640 w 10505529"/>
              <a:gd name="connsiteY41775" fmla="*/ 486154 h 7458372"/>
              <a:gd name="connsiteX41776" fmla="*/ 6135322 w 10505529"/>
              <a:gd name="connsiteY41776" fmla="*/ 492411 h 7458372"/>
              <a:gd name="connsiteX41777" fmla="*/ 6123608 w 10505529"/>
              <a:gd name="connsiteY41777" fmla="*/ 494674 h 7458372"/>
              <a:gd name="connsiteX41778" fmla="*/ 6101775 w 10505529"/>
              <a:gd name="connsiteY41778" fmla="*/ 486154 h 7458372"/>
              <a:gd name="connsiteX41779" fmla="*/ 6093389 w 10505529"/>
              <a:gd name="connsiteY41779" fmla="*/ 464988 h 7458372"/>
              <a:gd name="connsiteX41780" fmla="*/ 6101775 w 10505529"/>
              <a:gd name="connsiteY41780" fmla="*/ 443956 h 7458372"/>
              <a:gd name="connsiteX41781" fmla="*/ 6123608 w 10505529"/>
              <a:gd name="connsiteY41781" fmla="*/ 435303 h 7458372"/>
              <a:gd name="connsiteX41782" fmla="*/ 6558899 w 10505529"/>
              <a:gd name="connsiteY41782" fmla="*/ 435303 h 7458372"/>
              <a:gd name="connsiteX41783" fmla="*/ 6570612 w 10505529"/>
              <a:gd name="connsiteY41783" fmla="*/ 437965 h 7458372"/>
              <a:gd name="connsiteX41784" fmla="*/ 6579930 w 10505529"/>
              <a:gd name="connsiteY41784" fmla="*/ 444355 h 7458372"/>
              <a:gd name="connsiteX41785" fmla="*/ 6586054 w 10505529"/>
              <a:gd name="connsiteY41785" fmla="*/ 453673 h 7458372"/>
              <a:gd name="connsiteX41786" fmla="*/ 6588317 w 10505529"/>
              <a:gd name="connsiteY41786" fmla="*/ 465121 h 7458372"/>
              <a:gd name="connsiteX41787" fmla="*/ 6586054 w 10505529"/>
              <a:gd name="connsiteY41787" fmla="*/ 476835 h 7458372"/>
              <a:gd name="connsiteX41788" fmla="*/ 6579930 w 10505529"/>
              <a:gd name="connsiteY41788" fmla="*/ 486154 h 7458372"/>
              <a:gd name="connsiteX41789" fmla="*/ 6570612 w 10505529"/>
              <a:gd name="connsiteY41789" fmla="*/ 492411 h 7458372"/>
              <a:gd name="connsiteX41790" fmla="*/ 6558899 w 10505529"/>
              <a:gd name="connsiteY41790" fmla="*/ 494674 h 7458372"/>
              <a:gd name="connsiteX41791" fmla="*/ 6537066 w 10505529"/>
              <a:gd name="connsiteY41791" fmla="*/ 486154 h 7458372"/>
              <a:gd name="connsiteX41792" fmla="*/ 6528680 w 10505529"/>
              <a:gd name="connsiteY41792" fmla="*/ 464988 h 7458372"/>
              <a:gd name="connsiteX41793" fmla="*/ 6537066 w 10505529"/>
              <a:gd name="connsiteY41793" fmla="*/ 443956 h 7458372"/>
              <a:gd name="connsiteX41794" fmla="*/ 6558899 w 10505529"/>
              <a:gd name="connsiteY41794" fmla="*/ 435303 h 7458372"/>
              <a:gd name="connsiteX41795" fmla="*/ 6341253 w 10505529"/>
              <a:gd name="connsiteY41795" fmla="*/ 435303 h 7458372"/>
              <a:gd name="connsiteX41796" fmla="*/ 6352968 w 10505529"/>
              <a:gd name="connsiteY41796" fmla="*/ 437965 h 7458372"/>
              <a:gd name="connsiteX41797" fmla="*/ 6362286 w 10505529"/>
              <a:gd name="connsiteY41797" fmla="*/ 444355 h 7458372"/>
              <a:gd name="connsiteX41798" fmla="*/ 6368409 w 10505529"/>
              <a:gd name="connsiteY41798" fmla="*/ 453673 h 7458372"/>
              <a:gd name="connsiteX41799" fmla="*/ 6370672 w 10505529"/>
              <a:gd name="connsiteY41799" fmla="*/ 465121 h 7458372"/>
              <a:gd name="connsiteX41800" fmla="*/ 6368409 w 10505529"/>
              <a:gd name="connsiteY41800" fmla="*/ 476836 h 7458372"/>
              <a:gd name="connsiteX41801" fmla="*/ 6362286 w 10505529"/>
              <a:gd name="connsiteY41801" fmla="*/ 486154 h 7458372"/>
              <a:gd name="connsiteX41802" fmla="*/ 6352968 w 10505529"/>
              <a:gd name="connsiteY41802" fmla="*/ 492411 h 7458372"/>
              <a:gd name="connsiteX41803" fmla="*/ 6341253 w 10505529"/>
              <a:gd name="connsiteY41803" fmla="*/ 494674 h 7458372"/>
              <a:gd name="connsiteX41804" fmla="*/ 6319421 w 10505529"/>
              <a:gd name="connsiteY41804" fmla="*/ 486154 h 7458372"/>
              <a:gd name="connsiteX41805" fmla="*/ 6311035 w 10505529"/>
              <a:gd name="connsiteY41805" fmla="*/ 464988 h 7458372"/>
              <a:gd name="connsiteX41806" fmla="*/ 6319421 w 10505529"/>
              <a:gd name="connsiteY41806" fmla="*/ 443956 h 7458372"/>
              <a:gd name="connsiteX41807" fmla="*/ 6341253 w 10505529"/>
              <a:gd name="connsiteY41807" fmla="*/ 435303 h 7458372"/>
              <a:gd name="connsiteX41808" fmla="*/ 6776544 w 10505529"/>
              <a:gd name="connsiteY41808" fmla="*/ 435303 h 7458372"/>
              <a:gd name="connsiteX41809" fmla="*/ 6788258 w 10505529"/>
              <a:gd name="connsiteY41809" fmla="*/ 437965 h 7458372"/>
              <a:gd name="connsiteX41810" fmla="*/ 6797576 w 10505529"/>
              <a:gd name="connsiteY41810" fmla="*/ 444355 h 7458372"/>
              <a:gd name="connsiteX41811" fmla="*/ 6803699 w 10505529"/>
              <a:gd name="connsiteY41811" fmla="*/ 453673 h 7458372"/>
              <a:gd name="connsiteX41812" fmla="*/ 6805963 w 10505529"/>
              <a:gd name="connsiteY41812" fmla="*/ 465121 h 7458372"/>
              <a:gd name="connsiteX41813" fmla="*/ 6803699 w 10505529"/>
              <a:gd name="connsiteY41813" fmla="*/ 476835 h 7458372"/>
              <a:gd name="connsiteX41814" fmla="*/ 6797576 w 10505529"/>
              <a:gd name="connsiteY41814" fmla="*/ 486154 h 7458372"/>
              <a:gd name="connsiteX41815" fmla="*/ 6788258 w 10505529"/>
              <a:gd name="connsiteY41815" fmla="*/ 492411 h 7458372"/>
              <a:gd name="connsiteX41816" fmla="*/ 6776544 w 10505529"/>
              <a:gd name="connsiteY41816" fmla="*/ 494674 h 7458372"/>
              <a:gd name="connsiteX41817" fmla="*/ 6754711 w 10505529"/>
              <a:gd name="connsiteY41817" fmla="*/ 486154 h 7458372"/>
              <a:gd name="connsiteX41818" fmla="*/ 6746325 w 10505529"/>
              <a:gd name="connsiteY41818" fmla="*/ 464988 h 7458372"/>
              <a:gd name="connsiteX41819" fmla="*/ 6754711 w 10505529"/>
              <a:gd name="connsiteY41819" fmla="*/ 443956 h 7458372"/>
              <a:gd name="connsiteX41820" fmla="*/ 6776544 w 10505529"/>
              <a:gd name="connsiteY41820" fmla="*/ 435303 h 7458372"/>
              <a:gd name="connsiteX41821" fmla="*/ 6994056 w 10505529"/>
              <a:gd name="connsiteY41821" fmla="*/ 435303 h 7458372"/>
              <a:gd name="connsiteX41822" fmla="*/ 7005769 w 10505529"/>
              <a:gd name="connsiteY41822" fmla="*/ 437965 h 7458372"/>
              <a:gd name="connsiteX41823" fmla="*/ 7015087 w 10505529"/>
              <a:gd name="connsiteY41823" fmla="*/ 444355 h 7458372"/>
              <a:gd name="connsiteX41824" fmla="*/ 7021211 w 10505529"/>
              <a:gd name="connsiteY41824" fmla="*/ 453673 h 7458372"/>
              <a:gd name="connsiteX41825" fmla="*/ 7023474 w 10505529"/>
              <a:gd name="connsiteY41825" fmla="*/ 465121 h 7458372"/>
              <a:gd name="connsiteX41826" fmla="*/ 7021211 w 10505529"/>
              <a:gd name="connsiteY41826" fmla="*/ 476835 h 7458372"/>
              <a:gd name="connsiteX41827" fmla="*/ 7015087 w 10505529"/>
              <a:gd name="connsiteY41827" fmla="*/ 486154 h 7458372"/>
              <a:gd name="connsiteX41828" fmla="*/ 7005769 w 10505529"/>
              <a:gd name="connsiteY41828" fmla="*/ 492410 h 7458372"/>
              <a:gd name="connsiteX41829" fmla="*/ 6994056 w 10505529"/>
              <a:gd name="connsiteY41829" fmla="*/ 494674 h 7458372"/>
              <a:gd name="connsiteX41830" fmla="*/ 6972223 w 10505529"/>
              <a:gd name="connsiteY41830" fmla="*/ 486154 h 7458372"/>
              <a:gd name="connsiteX41831" fmla="*/ 6963837 w 10505529"/>
              <a:gd name="connsiteY41831" fmla="*/ 464988 h 7458372"/>
              <a:gd name="connsiteX41832" fmla="*/ 6972223 w 10505529"/>
              <a:gd name="connsiteY41832" fmla="*/ 443956 h 7458372"/>
              <a:gd name="connsiteX41833" fmla="*/ 6994056 w 10505529"/>
              <a:gd name="connsiteY41833" fmla="*/ 435303 h 7458372"/>
              <a:gd name="connsiteX41834" fmla="*/ 7211701 w 10505529"/>
              <a:gd name="connsiteY41834" fmla="*/ 435302 h 7458372"/>
              <a:gd name="connsiteX41835" fmla="*/ 7223415 w 10505529"/>
              <a:gd name="connsiteY41835" fmla="*/ 437964 h 7458372"/>
              <a:gd name="connsiteX41836" fmla="*/ 7232733 w 10505529"/>
              <a:gd name="connsiteY41836" fmla="*/ 444355 h 7458372"/>
              <a:gd name="connsiteX41837" fmla="*/ 7238856 w 10505529"/>
              <a:gd name="connsiteY41837" fmla="*/ 453673 h 7458372"/>
              <a:gd name="connsiteX41838" fmla="*/ 7241120 w 10505529"/>
              <a:gd name="connsiteY41838" fmla="*/ 465121 h 7458372"/>
              <a:gd name="connsiteX41839" fmla="*/ 7238856 w 10505529"/>
              <a:gd name="connsiteY41839" fmla="*/ 476835 h 7458372"/>
              <a:gd name="connsiteX41840" fmla="*/ 7232733 w 10505529"/>
              <a:gd name="connsiteY41840" fmla="*/ 486153 h 7458372"/>
              <a:gd name="connsiteX41841" fmla="*/ 7223415 w 10505529"/>
              <a:gd name="connsiteY41841" fmla="*/ 492410 h 7458372"/>
              <a:gd name="connsiteX41842" fmla="*/ 7211701 w 10505529"/>
              <a:gd name="connsiteY41842" fmla="*/ 494673 h 7458372"/>
              <a:gd name="connsiteX41843" fmla="*/ 7189868 w 10505529"/>
              <a:gd name="connsiteY41843" fmla="*/ 486153 h 7458372"/>
              <a:gd name="connsiteX41844" fmla="*/ 7181482 w 10505529"/>
              <a:gd name="connsiteY41844" fmla="*/ 464988 h 7458372"/>
              <a:gd name="connsiteX41845" fmla="*/ 7189868 w 10505529"/>
              <a:gd name="connsiteY41845" fmla="*/ 443955 h 7458372"/>
              <a:gd name="connsiteX41846" fmla="*/ 7211701 w 10505529"/>
              <a:gd name="connsiteY41846" fmla="*/ 435302 h 7458372"/>
              <a:gd name="connsiteX41847" fmla="*/ 7429345 w 10505529"/>
              <a:gd name="connsiteY41847" fmla="*/ 435302 h 7458372"/>
              <a:gd name="connsiteX41848" fmla="*/ 7441059 w 10505529"/>
              <a:gd name="connsiteY41848" fmla="*/ 437964 h 7458372"/>
              <a:gd name="connsiteX41849" fmla="*/ 7450377 w 10505529"/>
              <a:gd name="connsiteY41849" fmla="*/ 444354 h 7458372"/>
              <a:gd name="connsiteX41850" fmla="*/ 7456501 w 10505529"/>
              <a:gd name="connsiteY41850" fmla="*/ 453673 h 7458372"/>
              <a:gd name="connsiteX41851" fmla="*/ 7458764 w 10505529"/>
              <a:gd name="connsiteY41851" fmla="*/ 465121 h 7458372"/>
              <a:gd name="connsiteX41852" fmla="*/ 7456501 w 10505529"/>
              <a:gd name="connsiteY41852" fmla="*/ 476835 h 7458372"/>
              <a:gd name="connsiteX41853" fmla="*/ 7450377 w 10505529"/>
              <a:gd name="connsiteY41853" fmla="*/ 486153 h 7458372"/>
              <a:gd name="connsiteX41854" fmla="*/ 7441059 w 10505529"/>
              <a:gd name="connsiteY41854" fmla="*/ 492410 h 7458372"/>
              <a:gd name="connsiteX41855" fmla="*/ 7429345 w 10505529"/>
              <a:gd name="connsiteY41855" fmla="*/ 494673 h 7458372"/>
              <a:gd name="connsiteX41856" fmla="*/ 7407513 w 10505529"/>
              <a:gd name="connsiteY41856" fmla="*/ 486153 h 7458372"/>
              <a:gd name="connsiteX41857" fmla="*/ 7399127 w 10505529"/>
              <a:gd name="connsiteY41857" fmla="*/ 464988 h 7458372"/>
              <a:gd name="connsiteX41858" fmla="*/ 7407513 w 10505529"/>
              <a:gd name="connsiteY41858" fmla="*/ 443955 h 7458372"/>
              <a:gd name="connsiteX41859" fmla="*/ 7429345 w 10505529"/>
              <a:gd name="connsiteY41859" fmla="*/ 435302 h 7458372"/>
              <a:gd name="connsiteX41860" fmla="*/ 7646991 w 10505529"/>
              <a:gd name="connsiteY41860" fmla="*/ 435302 h 7458372"/>
              <a:gd name="connsiteX41861" fmla="*/ 7658705 w 10505529"/>
              <a:gd name="connsiteY41861" fmla="*/ 437964 h 7458372"/>
              <a:gd name="connsiteX41862" fmla="*/ 7668022 w 10505529"/>
              <a:gd name="connsiteY41862" fmla="*/ 444354 h 7458372"/>
              <a:gd name="connsiteX41863" fmla="*/ 7674146 w 10505529"/>
              <a:gd name="connsiteY41863" fmla="*/ 453672 h 7458372"/>
              <a:gd name="connsiteX41864" fmla="*/ 7676409 w 10505529"/>
              <a:gd name="connsiteY41864" fmla="*/ 465121 h 7458372"/>
              <a:gd name="connsiteX41865" fmla="*/ 7674146 w 10505529"/>
              <a:gd name="connsiteY41865" fmla="*/ 476835 h 7458372"/>
              <a:gd name="connsiteX41866" fmla="*/ 7668022 w 10505529"/>
              <a:gd name="connsiteY41866" fmla="*/ 486153 h 7458372"/>
              <a:gd name="connsiteX41867" fmla="*/ 7658705 w 10505529"/>
              <a:gd name="connsiteY41867" fmla="*/ 492410 h 7458372"/>
              <a:gd name="connsiteX41868" fmla="*/ 7646991 w 10505529"/>
              <a:gd name="connsiteY41868" fmla="*/ 494673 h 7458372"/>
              <a:gd name="connsiteX41869" fmla="*/ 7625158 w 10505529"/>
              <a:gd name="connsiteY41869" fmla="*/ 486153 h 7458372"/>
              <a:gd name="connsiteX41870" fmla="*/ 7616772 w 10505529"/>
              <a:gd name="connsiteY41870" fmla="*/ 464988 h 7458372"/>
              <a:gd name="connsiteX41871" fmla="*/ 7625158 w 10505529"/>
              <a:gd name="connsiteY41871" fmla="*/ 443955 h 7458372"/>
              <a:gd name="connsiteX41872" fmla="*/ 7646991 w 10505529"/>
              <a:gd name="connsiteY41872" fmla="*/ 435302 h 7458372"/>
              <a:gd name="connsiteX41873" fmla="*/ 7864636 w 10505529"/>
              <a:gd name="connsiteY41873" fmla="*/ 435302 h 7458372"/>
              <a:gd name="connsiteX41874" fmla="*/ 7876483 w 10505529"/>
              <a:gd name="connsiteY41874" fmla="*/ 437964 h 7458372"/>
              <a:gd name="connsiteX41875" fmla="*/ 7885802 w 10505529"/>
              <a:gd name="connsiteY41875" fmla="*/ 444354 h 7458372"/>
              <a:gd name="connsiteX41876" fmla="*/ 7891924 w 10505529"/>
              <a:gd name="connsiteY41876" fmla="*/ 453672 h 7458372"/>
              <a:gd name="connsiteX41877" fmla="*/ 7894188 w 10505529"/>
              <a:gd name="connsiteY41877" fmla="*/ 465121 h 7458372"/>
              <a:gd name="connsiteX41878" fmla="*/ 7891924 w 10505529"/>
              <a:gd name="connsiteY41878" fmla="*/ 476835 h 7458372"/>
              <a:gd name="connsiteX41879" fmla="*/ 7885802 w 10505529"/>
              <a:gd name="connsiteY41879" fmla="*/ 486153 h 7458372"/>
              <a:gd name="connsiteX41880" fmla="*/ 7876483 w 10505529"/>
              <a:gd name="connsiteY41880" fmla="*/ 492410 h 7458372"/>
              <a:gd name="connsiteX41881" fmla="*/ 7864636 w 10505529"/>
              <a:gd name="connsiteY41881" fmla="*/ 494673 h 7458372"/>
              <a:gd name="connsiteX41882" fmla="*/ 7842803 w 10505529"/>
              <a:gd name="connsiteY41882" fmla="*/ 486153 h 7458372"/>
              <a:gd name="connsiteX41883" fmla="*/ 7834417 w 10505529"/>
              <a:gd name="connsiteY41883" fmla="*/ 464988 h 7458372"/>
              <a:gd name="connsiteX41884" fmla="*/ 7842803 w 10505529"/>
              <a:gd name="connsiteY41884" fmla="*/ 443955 h 7458372"/>
              <a:gd name="connsiteX41885" fmla="*/ 7864636 w 10505529"/>
              <a:gd name="connsiteY41885" fmla="*/ 435302 h 7458372"/>
              <a:gd name="connsiteX41886" fmla="*/ 8082281 w 10505529"/>
              <a:gd name="connsiteY41886" fmla="*/ 435302 h 7458372"/>
              <a:gd name="connsiteX41887" fmla="*/ 8094127 w 10505529"/>
              <a:gd name="connsiteY41887" fmla="*/ 437964 h 7458372"/>
              <a:gd name="connsiteX41888" fmla="*/ 8103446 w 10505529"/>
              <a:gd name="connsiteY41888" fmla="*/ 444354 h 7458372"/>
              <a:gd name="connsiteX41889" fmla="*/ 8109569 w 10505529"/>
              <a:gd name="connsiteY41889" fmla="*/ 453672 h 7458372"/>
              <a:gd name="connsiteX41890" fmla="*/ 8111832 w 10505529"/>
              <a:gd name="connsiteY41890" fmla="*/ 465120 h 7458372"/>
              <a:gd name="connsiteX41891" fmla="*/ 8109569 w 10505529"/>
              <a:gd name="connsiteY41891" fmla="*/ 476835 h 7458372"/>
              <a:gd name="connsiteX41892" fmla="*/ 8103446 w 10505529"/>
              <a:gd name="connsiteY41892" fmla="*/ 486153 h 7458372"/>
              <a:gd name="connsiteX41893" fmla="*/ 8094127 w 10505529"/>
              <a:gd name="connsiteY41893" fmla="*/ 492410 h 7458372"/>
              <a:gd name="connsiteX41894" fmla="*/ 8082281 w 10505529"/>
              <a:gd name="connsiteY41894" fmla="*/ 494673 h 7458372"/>
              <a:gd name="connsiteX41895" fmla="*/ 8060448 w 10505529"/>
              <a:gd name="connsiteY41895" fmla="*/ 486153 h 7458372"/>
              <a:gd name="connsiteX41896" fmla="*/ 8052062 w 10505529"/>
              <a:gd name="connsiteY41896" fmla="*/ 464988 h 7458372"/>
              <a:gd name="connsiteX41897" fmla="*/ 8060448 w 10505529"/>
              <a:gd name="connsiteY41897" fmla="*/ 443955 h 7458372"/>
              <a:gd name="connsiteX41898" fmla="*/ 8082281 w 10505529"/>
              <a:gd name="connsiteY41898" fmla="*/ 435302 h 7458372"/>
              <a:gd name="connsiteX41899" fmla="*/ 8299793 w 10505529"/>
              <a:gd name="connsiteY41899" fmla="*/ 435302 h 7458372"/>
              <a:gd name="connsiteX41900" fmla="*/ 8311507 w 10505529"/>
              <a:gd name="connsiteY41900" fmla="*/ 437964 h 7458372"/>
              <a:gd name="connsiteX41901" fmla="*/ 8320825 w 10505529"/>
              <a:gd name="connsiteY41901" fmla="*/ 444354 h 7458372"/>
              <a:gd name="connsiteX41902" fmla="*/ 8326948 w 10505529"/>
              <a:gd name="connsiteY41902" fmla="*/ 453672 h 7458372"/>
              <a:gd name="connsiteX41903" fmla="*/ 8329212 w 10505529"/>
              <a:gd name="connsiteY41903" fmla="*/ 465120 h 7458372"/>
              <a:gd name="connsiteX41904" fmla="*/ 8326948 w 10505529"/>
              <a:gd name="connsiteY41904" fmla="*/ 476835 h 7458372"/>
              <a:gd name="connsiteX41905" fmla="*/ 8320825 w 10505529"/>
              <a:gd name="connsiteY41905" fmla="*/ 486153 h 7458372"/>
              <a:gd name="connsiteX41906" fmla="*/ 8311507 w 10505529"/>
              <a:gd name="connsiteY41906" fmla="*/ 492410 h 7458372"/>
              <a:gd name="connsiteX41907" fmla="*/ 8299793 w 10505529"/>
              <a:gd name="connsiteY41907" fmla="*/ 494673 h 7458372"/>
              <a:gd name="connsiteX41908" fmla="*/ 8277960 w 10505529"/>
              <a:gd name="connsiteY41908" fmla="*/ 486153 h 7458372"/>
              <a:gd name="connsiteX41909" fmla="*/ 8269574 w 10505529"/>
              <a:gd name="connsiteY41909" fmla="*/ 464987 h 7458372"/>
              <a:gd name="connsiteX41910" fmla="*/ 8277960 w 10505529"/>
              <a:gd name="connsiteY41910" fmla="*/ 443955 h 7458372"/>
              <a:gd name="connsiteX41911" fmla="*/ 8299793 w 10505529"/>
              <a:gd name="connsiteY41911" fmla="*/ 435302 h 7458372"/>
              <a:gd name="connsiteX41912" fmla="*/ 8517438 w 10505529"/>
              <a:gd name="connsiteY41912" fmla="*/ 435302 h 7458372"/>
              <a:gd name="connsiteX41913" fmla="*/ 8529152 w 10505529"/>
              <a:gd name="connsiteY41913" fmla="*/ 437964 h 7458372"/>
              <a:gd name="connsiteX41914" fmla="*/ 8538470 w 10505529"/>
              <a:gd name="connsiteY41914" fmla="*/ 444354 h 7458372"/>
              <a:gd name="connsiteX41915" fmla="*/ 8544594 w 10505529"/>
              <a:gd name="connsiteY41915" fmla="*/ 453672 h 7458372"/>
              <a:gd name="connsiteX41916" fmla="*/ 8546857 w 10505529"/>
              <a:gd name="connsiteY41916" fmla="*/ 465120 h 7458372"/>
              <a:gd name="connsiteX41917" fmla="*/ 8544594 w 10505529"/>
              <a:gd name="connsiteY41917" fmla="*/ 476835 h 7458372"/>
              <a:gd name="connsiteX41918" fmla="*/ 8538470 w 10505529"/>
              <a:gd name="connsiteY41918" fmla="*/ 486153 h 7458372"/>
              <a:gd name="connsiteX41919" fmla="*/ 8529152 w 10505529"/>
              <a:gd name="connsiteY41919" fmla="*/ 492410 h 7458372"/>
              <a:gd name="connsiteX41920" fmla="*/ 8517438 w 10505529"/>
              <a:gd name="connsiteY41920" fmla="*/ 494673 h 7458372"/>
              <a:gd name="connsiteX41921" fmla="*/ 8495606 w 10505529"/>
              <a:gd name="connsiteY41921" fmla="*/ 486153 h 7458372"/>
              <a:gd name="connsiteX41922" fmla="*/ 8487220 w 10505529"/>
              <a:gd name="connsiteY41922" fmla="*/ 464987 h 7458372"/>
              <a:gd name="connsiteX41923" fmla="*/ 8495606 w 10505529"/>
              <a:gd name="connsiteY41923" fmla="*/ 443955 h 7458372"/>
              <a:gd name="connsiteX41924" fmla="*/ 8517438 w 10505529"/>
              <a:gd name="connsiteY41924" fmla="*/ 435302 h 7458372"/>
              <a:gd name="connsiteX41925" fmla="*/ 8735083 w 10505529"/>
              <a:gd name="connsiteY41925" fmla="*/ 435302 h 7458372"/>
              <a:gd name="connsiteX41926" fmla="*/ 8746797 w 10505529"/>
              <a:gd name="connsiteY41926" fmla="*/ 437964 h 7458372"/>
              <a:gd name="connsiteX41927" fmla="*/ 8756115 w 10505529"/>
              <a:gd name="connsiteY41927" fmla="*/ 444354 h 7458372"/>
              <a:gd name="connsiteX41928" fmla="*/ 8762238 w 10505529"/>
              <a:gd name="connsiteY41928" fmla="*/ 453672 h 7458372"/>
              <a:gd name="connsiteX41929" fmla="*/ 8764502 w 10505529"/>
              <a:gd name="connsiteY41929" fmla="*/ 465120 h 7458372"/>
              <a:gd name="connsiteX41930" fmla="*/ 8762238 w 10505529"/>
              <a:gd name="connsiteY41930" fmla="*/ 476834 h 7458372"/>
              <a:gd name="connsiteX41931" fmla="*/ 8756115 w 10505529"/>
              <a:gd name="connsiteY41931" fmla="*/ 486153 h 7458372"/>
              <a:gd name="connsiteX41932" fmla="*/ 8746797 w 10505529"/>
              <a:gd name="connsiteY41932" fmla="*/ 492410 h 7458372"/>
              <a:gd name="connsiteX41933" fmla="*/ 8735083 w 10505529"/>
              <a:gd name="connsiteY41933" fmla="*/ 494673 h 7458372"/>
              <a:gd name="connsiteX41934" fmla="*/ 8713250 w 10505529"/>
              <a:gd name="connsiteY41934" fmla="*/ 486153 h 7458372"/>
              <a:gd name="connsiteX41935" fmla="*/ 8704864 w 10505529"/>
              <a:gd name="connsiteY41935" fmla="*/ 464987 h 7458372"/>
              <a:gd name="connsiteX41936" fmla="*/ 8713250 w 10505529"/>
              <a:gd name="connsiteY41936" fmla="*/ 443955 h 7458372"/>
              <a:gd name="connsiteX41937" fmla="*/ 8735083 w 10505529"/>
              <a:gd name="connsiteY41937" fmla="*/ 435302 h 7458372"/>
              <a:gd name="connsiteX41938" fmla="*/ 8952728 w 10505529"/>
              <a:gd name="connsiteY41938" fmla="*/ 435302 h 7458372"/>
              <a:gd name="connsiteX41939" fmla="*/ 8964442 w 10505529"/>
              <a:gd name="connsiteY41939" fmla="*/ 437964 h 7458372"/>
              <a:gd name="connsiteX41940" fmla="*/ 8973760 w 10505529"/>
              <a:gd name="connsiteY41940" fmla="*/ 444354 h 7458372"/>
              <a:gd name="connsiteX41941" fmla="*/ 8979884 w 10505529"/>
              <a:gd name="connsiteY41941" fmla="*/ 453672 h 7458372"/>
              <a:gd name="connsiteX41942" fmla="*/ 8982147 w 10505529"/>
              <a:gd name="connsiteY41942" fmla="*/ 465120 h 7458372"/>
              <a:gd name="connsiteX41943" fmla="*/ 8979884 w 10505529"/>
              <a:gd name="connsiteY41943" fmla="*/ 476834 h 7458372"/>
              <a:gd name="connsiteX41944" fmla="*/ 8973760 w 10505529"/>
              <a:gd name="connsiteY41944" fmla="*/ 486153 h 7458372"/>
              <a:gd name="connsiteX41945" fmla="*/ 8964442 w 10505529"/>
              <a:gd name="connsiteY41945" fmla="*/ 492410 h 7458372"/>
              <a:gd name="connsiteX41946" fmla="*/ 8952728 w 10505529"/>
              <a:gd name="connsiteY41946" fmla="*/ 494673 h 7458372"/>
              <a:gd name="connsiteX41947" fmla="*/ 8930896 w 10505529"/>
              <a:gd name="connsiteY41947" fmla="*/ 486153 h 7458372"/>
              <a:gd name="connsiteX41948" fmla="*/ 8922510 w 10505529"/>
              <a:gd name="connsiteY41948" fmla="*/ 464987 h 7458372"/>
              <a:gd name="connsiteX41949" fmla="*/ 8930896 w 10505529"/>
              <a:gd name="connsiteY41949" fmla="*/ 443955 h 7458372"/>
              <a:gd name="connsiteX41950" fmla="*/ 8952728 w 10505529"/>
              <a:gd name="connsiteY41950" fmla="*/ 435302 h 7458372"/>
              <a:gd name="connsiteX41951" fmla="*/ 9170374 w 10505529"/>
              <a:gd name="connsiteY41951" fmla="*/ 435301 h 7458372"/>
              <a:gd name="connsiteX41952" fmla="*/ 9182088 w 10505529"/>
              <a:gd name="connsiteY41952" fmla="*/ 437963 h 7458372"/>
              <a:gd name="connsiteX41953" fmla="*/ 9191405 w 10505529"/>
              <a:gd name="connsiteY41953" fmla="*/ 444354 h 7458372"/>
              <a:gd name="connsiteX41954" fmla="*/ 9197529 w 10505529"/>
              <a:gd name="connsiteY41954" fmla="*/ 453672 h 7458372"/>
              <a:gd name="connsiteX41955" fmla="*/ 9199792 w 10505529"/>
              <a:gd name="connsiteY41955" fmla="*/ 465120 h 7458372"/>
              <a:gd name="connsiteX41956" fmla="*/ 9197529 w 10505529"/>
              <a:gd name="connsiteY41956" fmla="*/ 476834 h 7458372"/>
              <a:gd name="connsiteX41957" fmla="*/ 9191405 w 10505529"/>
              <a:gd name="connsiteY41957" fmla="*/ 486152 h 7458372"/>
              <a:gd name="connsiteX41958" fmla="*/ 9182088 w 10505529"/>
              <a:gd name="connsiteY41958" fmla="*/ 492409 h 7458372"/>
              <a:gd name="connsiteX41959" fmla="*/ 9170374 w 10505529"/>
              <a:gd name="connsiteY41959" fmla="*/ 494673 h 7458372"/>
              <a:gd name="connsiteX41960" fmla="*/ 9148541 w 10505529"/>
              <a:gd name="connsiteY41960" fmla="*/ 486152 h 7458372"/>
              <a:gd name="connsiteX41961" fmla="*/ 9140155 w 10505529"/>
              <a:gd name="connsiteY41961" fmla="*/ 464987 h 7458372"/>
              <a:gd name="connsiteX41962" fmla="*/ 9148541 w 10505529"/>
              <a:gd name="connsiteY41962" fmla="*/ 443955 h 7458372"/>
              <a:gd name="connsiteX41963" fmla="*/ 9170374 w 10505529"/>
              <a:gd name="connsiteY41963" fmla="*/ 435301 h 7458372"/>
              <a:gd name="connsiteX41964" fmla="*/ 9387885 w 10505529"/>
              <a:gd name="connsiteY41964" fmla="*/ 435301 h 7458372"/>
              <a:gd name="connsiteX41965" fmla="*/ 9399599 w 10505529"/>
              <a:gd name="connsiteY41965" fmla="*/ 437963 h 7458372"/>
              <a:gd name="connsiteX41966" fmla="*/ 9408917 w 10505529"/>
              <a:gd name="connsiteY41966" fmla="*/ 444354 h 7458372"/>
              <a:gd name="connsiteX41967" fmla="*/ 9415041 w 10505529"/>
              <a:gd name="connsiteY41967" fmla="*/ 453672 h 7458372"/>
              <a:gd name="connsiteX41968" fmla="*/ 9417304 w 10505529"/>
              <a:gd name="connsiteY41968" fmla="*/ 465120 h 7458372"/>
              <a:gd name="connsiteX41969" fmla="*/ 9415041 w 10505529"/>
              <a:gd name="connsiteY41969" fmla="*/ 476834 h 7458372"/>
              <a:gd name="connsiteX41970" fmla="*/ 9408917 w 10505529"/>
              <a:gd name="connsiteY41970" fmla="*/ 486152 h 7458372"/>
              <a:gd name="connsiteX41971" fmla="*/ 9399599 w 10505529"/>
              <a:gd name="connsiteY41971" fmla="*/ 492409 h 7458372"/>
              <a:gd name="connsiteX41972" fmla="*/ 9387885 w 10505529"/>
              <a:gd name="connsiteY41972" fmla="*/ 494672 h 7458372"/>
              <a:gd name="connsiteX41973" fmla="*/ 9366053 w 10505529"/>
              <a:gd name="connsiteY41973" fmla="*/ 486152 h 7458372"/>
              <a:gd name="connsiteX41974" fmla="*/ 9357667 w 10505529"/>
              <a:gd name="connsiteY41974" fmla="*/ 464987 h 7458372"/>
              <a:gd name="connsiteX41975" fmla="*/ 9366053 w 10505529"/>
              <a:gd name="connsiteY41975" fmla="*/ 443954 h 7458372"/>
              <a:gd name="connsiteX41976" fmla="*/ 9387885 w 10505529"/>
              <a:gd name="connsiteY41976" fmla="*/ 435301 h 7458372"/>
              <a:gd name="connsiteX41977" fmla="*/ 9605531 w 10505529"/>
              <a:gd name="connsiteY41977" fmla="*/ 435301 h 7458372"/>
              <a:gd name="connsiteX41978" fmla="*/ 9617245 w 10505529"/>
              <a:gd name="connsiteY41978" fmla="*/ 437963 h 7458372"/>
              <a:gd name="connsiteX41979" fmla="*/ 9626562 w 10505529"/>
              <a:gd name="connsiteY41979" fmla="*/ 444353 h 7458372"/>
              <a:gd name="connsiteX41980" fmla="*/ 9632686 w 10505529"/>
              <a:gd name="connsiteY41980" fmla="*/ 453672 h 7458372"/>
              <a:gd name="connsiteX41981" fmla="*/ 9634949 w 10505529"/>
              <a:gd name="connsiteY41981" fmla="*/ 465120 h 7458372"/>
              <a:gd name="connsiteX41982" fmla="*/ 9632686 w 10505529"/>
              <a:gd name="connsiteY41982" fmla="*/ 476834 h 7458372"/>
              <a:gd name="connsiteX41983" fmla="*/ 9626562 w 10505529"/>
              <a:gd name="connsiteY41983" fmla="*/ 486152 h 7458372"/>
              <a:gd name="connsiteX41984" fmla="*/ 9617245 w 10505529"/>
              <a:gd name="connsiteY41984" fmla="*/ 492409 h 7458372"/>
              <a:gd name="connsiteX41985" fmla="*/ 9605531 w 10505529"/>
              <a:gd name="connsiteY41985" fmla="*/ 494672 h 7458372"/>
              <a:gd name="connsiteX41986" fmla="*/ 9583698 w 10505529"/>
              <a:gd name="connsiteY41986" fmla="*/ 486152 h 7458372"/>
              <a:gd name="connsiteX41987" fmla="*/ 9575312 w 10505529"/>
              <a:gd name="connsiteY41987" fmla="*/ 464987 h 7458372"/>
              <a:gd name="connsiteX41988" fmla="*/ 9583698 w 10505529"/>
              <a:gd name="connsiteY41988" fmla="*/ 443954 h 7458372"/>
              <a:gd name="connsiteX41989" fmla="*/ 9605531 w 10505529"/>
              <a:gd name="connsiteY41989" fmla="*/ 435301 h 7458372"/>
              <a:gd name="connsiteX41990" fmla="*/ 9823176 w 10505529"/>
              <a:gd name="connsiteY41990" fmla="*/ 435301 h 7458372"/>
              <a:gd name="connsiteX41991" fmla="*/ 9834890 w 10505529"/>
              <a:gd name="connsiteY41991" fmla="*/ 437963 h 7458372"/>
              <a:gd name="connsiteX41992" fmla="*/ 9844208 w 10505529"/>
              <a:gd name="connsiteY41992" fmla="*/ 444353 h 7458372"/>
              <a:gd name="connsiteX41993" fmla="*/ 9850331 w 10505529"/>
              <a:gd name="connsiteY41993" fmla="*/ 453672 h 7458372"/>
              <a:gd name="connsiteX41994" fmla="*/ 9852595 w 10505529"/>
              <a:gd name="connsiteY41994" fmla="*/ 465120 h 7458372"/>
              <a:gd name="connsiteX41995" fmla="*/ 9850331 w 10505529"/>
              <a:gd name="connsiteY41995" fmla="*/ 476834 h 7458372"/>
              <a:gd name="connsiteX41996" fmla="*/ 9844208 w 10505529"/>
              <a:gd name="connsiteY41996" fmla="*/ 486152 h 7458372"/>
              <a:gd name="connsiteX41997" fmla="*/ 9834890 w 10505529"/>
              <a:gd name="connsiteY41997" fmla="*/ 492409 h 7458372"/>
              <a:gd name="connsiteX41998" fmla="*/ 9823176 w 10505529"/>
              <a:gd name="connsiteY41998" fmla="*/ 494672 h 7458372"/>
              <a:gd name="connsiteX41999" fmla="*/ 9801343 w 10505529"/>
              <a:gd name="connsiteY41999" fmla="*/ 486152 h 7458372"/>
              <a:gd name="connsiteX42000" fmla="*/ 9792957 w 10505529"/>
              <a:gd name="connsiteY42000" fmla="*/ 464987 h 7458372"/>
              <a:gd name="connsiteX42001" fmla="*/ 9801343 w 10505529"/>
              <a:gd name="connsiteY42001" fmla="*/ 443954 h 7458372"/>
              <a:gd name="connsiteX42002" fmla="*/ 9823176 w 10505529"/>
              <a:gd name="connsiteY42002" fmla="*/ 435301 h 7458372"/>
              <a:gd name="connsiteX42003" fmla="*/ 10040820 w 10505529"/>
              <a:gd name="connsiteY42003" fmla="*/ 435301 h 7458372"/>
              <a:gd name="connsiteX42004" fmla="*/ 10052534 w 10505529"/>
              <a:gd name="connsiteY42004" fmla="*/ 437963 h 7458372"/>
              <a:gd name="connsiteX42005" fmla="*/ 10061852 w 10505529"/>
              <a:gd name="connsiteY42005" fmla="*/ 444353 h 7458372"/>
              <a:gd name="connsiteX42006" fmla="*/ 10067976 w 10505529"/>
              <a:gd name="connsiteY42006" fmla="*/ 453671 h 7458372"/>
              <a:gd name="connsiteX42007" fmla="*/ 10070239 w 10505529"/>
              <a:gd name="connsiteY42007" fmla="*/ 465120 h 7458372"/>
              <a:gd name="connsiteX42008" fmla="*/ 10067976 w 10505529"/>
              <a:gd name="connsiteY42008" fmla="*/ 476834 h 7458372"/>
              <a:gd name="connsiteX42009" fmla="*/ 10061852 w 10505529"/>
              <a:gd name="connsiteY42009" fmla="*/ 486152 h 7458372"/>
              <a:gd name="connsiteX42010" fmla="*/ 10052534 w 10505529"/>
              <a:gd name="connsiteY42010" fmla="*/ 492409 h 7458372"/>
              <a:gd name="connsiteX42011" fmla="*/ 10040820 w 10505529"/>
              <a:gd name="connsiteY42011" fmla="*/ 494672 h 7458372"/>
              <a:gd name="connsiteX42012" fmla="*/ 10018988 w 10505529"/>
              <a:gd name="connsiteY42012" fmla="*/ 486152 h 7458372"/>
              <a:gd name="connsiteX42013" fmla="*/ 10010602 w 10505529"/>
              <a:gd name="connsiteY42013" fmla="*/ 464987 h 7458372"/>
              <a:gd name="connsiteX42014" fmla="*/ 10018988 w 10505529"/>
              <a:gd name="connsiteY42014" fmla="*/ 443954 h 7458372"/>
              <a:gd name="connsiteX42015" fmla="*/ 10040820 w 10505529"/>
              <a:gd name="connsiteY42015" fmla="*/ 435301 h 7458372"/>
              <a:gd name="connsiteX42016" fmla="*/ 10258466 w 10505529"/>
              <a:gd name="connsiteY42016" fmla="*/ 435301 h 7458372"/>
              <a:gd name="connsiteX42017" fmla="*/ 10270313 w 10505529"/>
              <a:gd name="connsiteY42017" fmla="*/ 437963 h 7458372"/>
              <a:gd name="connsiteX42018" fmla="*/ 10279631 w 10505529"/>
              <a:gd name="connsiteY42018" fmla="*/ 444353 h 7458372"/>
              <a:gd name="connsiteX42019" fmla="*/ 10285754 w 10505529"/>
              <a:gd name="connsiteY42019" fmla="*/ 453671 h 7458372"/>
              <a:gd name="connsiteX42020" fmla="*/ 10288017 w 10505529"/>
              <a:gd name="connsiteY42020" fmla="*/ 465119 h 7458372"/>
              <a:gd name="connsiteX42021" fmla="*/ 10285754 w 10505529"/>
              <a:gd name="connsiteY42021" fmla="*/ 476834 h 7458372"/>
              <a:gd name="connsiteX42022" fmla="*/ 10279631 w 10505529"/>
              <a:gd name="connsiteY42022" fmla="*/ 486152 h 7458372"/>
              <a:gd name="connsiteX42023" fmla="*/ 10270313 w 10505529"/>
              <a:gd name="connsiteY42023" fmla="*/ 492409 h 7458372"/>
              <a:gd name="connsiteX42024" fmla="*/ 10258466 w 10505529"/>
              <a:gd name="connsiteY42024" fmla="*/ 494672 h 7458372"/>
              <a:gd name="connsiteX42025" fmla="*/ 10236633 w 10505529"/>
              <a:gd name="connsiteY42025" fmla="*/ 486152 h 7458372"/>
              <a:gd name="connsiteX42026" fmla="*/ 10228247 w 10505529"/>
              <a:gd name="connsiteY42026" fmla="*/ 464986 h 7458372"/>
              <a:gd name="connsiteX42027" fmla="*/ 10236633 w 10505529"/>
              <a:gd name="connsiteY42027" fmla="*/ 443954 h 7458372"/>
              <a:gd name="connsiteX42028" fmla="*/ 10258466 w 10505529"/>
              <a:gd name="connsiteY42028" fmla="*/ 435301 h 7458372"/>
              <a:gd name="connsiteX42029" fmla="*/ 10475977 w 10505529"/>
              <a:gd name="connsiteY42029" fmla="*/ 435301 h 7458372"/>
              <a:gd name="connsiteX42030" fmla="*/ 10487824 w 10505529"/>
              <a:gd name="connsiteY42030" fmla="*/ 437963 h 7458372"/>
              <a:gd name="connsiteX42031" fmla="*/ 10497143 w 10505529"/>
              <a:gd name="connsiteY42031" fmla="*/ 444353 h 7458372"/>
              <a:gd name="connsiteX42032" fmla="*/ 10503266 w 10505529"/>
              <a:gd name="connsiteY42032" fmla="*/ 453671 h 7458372"/>
              <a:gd name="connsiteX42033" fmla="*/ 10505529 w 10505529"/>
              <a:gd name="connsiteY42033" fmla="*/ 465119 h 7458372"/>
              <a:gd name="connsiteX42034" fmla="*/ 10503266 w 10505529"/>
              <a:gd name="connsiteY42034" fmla="*/ 476834 h 7458372"/>
              <a:gd name="connsiteX42035" fmla="*/ 10497143 w 10505529"/>
              <a:gd name="connsiteY42035" fmla="*/ 486152 h 7458372"/>
              <a:gd name="connsiteX42036" fmla="*/ 10487824 w 10505529"/>
              <a:gd name="connsiteY42036" fmla="*/ 492409 h 7458372"/>
              <a:gd name="connsiteX42037" fmla="*/ 10475977 w 10505529"/>
              <a:gd name="connsiteY42037" fmla="*/ 494672 h 7458372"/>
              <a:gd name="connsiteX42038" fmla="*/ 10454145 w 10505529"/>
              <a:gd name="connsiteY42038" fmla="*/ 486152 h 7458372"/>
              <a:gd name="connsiteX42039" fmla="*/ 10445759 w 10505529"/>
              <a:gd name="connsiteY42039" fmla="*/ 464986 h 7458372"/>
              <a:gd name="connsiteX42040" fmla="*/ 10454145 w 10505529"/>
              <a:gd name="connsiteY42040" fmla="*/ 443954 h 7458372"/>
              <a:gd name="connsiteX42041" fmla="*/ 10475977 w 10505529"/>
              <a:gd name="connsiteY42041" fmla="*/ 435301 h 7458372"/>
              <a:gd name="connsiteX42042" fmla="*/ 30225 w 10505529"/>
              <a:gd name="connsiteY42042" fmla="*/ 234162 h 7458372"/>
              <a:gd name="connsiteX42043" fmla="*/ 20241 w 10505529"/>
              <a:gd name="connsiteY42043" fmla="*/ 237757 h 7458372"/>
              <a:gd name="connsiteX42044" fmla="*/ 16647 w 10505529"/>
              <a:gd name="connsiteY42044" fmla="*/ 247208 h 7458372"/>
              <a:gd name="connsiteX42045" fmla="*/ 20241 w 10505529"/>
              <a:gd name="connsiteY42045" fmla="*/ 256792 h 7458372"/>
              <a:gd name="connsiteX42046" fmla="*/ 30225 w 10505529"/>
              <a:gd name="connsiteY42046" fmla="*/ 260253 h 7458372"/>
              <a:gd name="connsiteX42047" fmla="*/ 35550 w 10505529"/>
              <a:gd name="connsiteY42047" fmla="*/ 259321 h 7458372"/>
              <a:gd name="connsiteX42048" fmla="*/ 39277 w 10505529"/>
              <a:gd name="connsiteY42048" fmla="*/ 256925 h 7458372"/>
              <a:gd name="connsiteX42049" fmla="*/ 41940 w 10505529"/>
              <a:gd name="connsiteY42049" fmla="*/ 252666 h 7458372"/>
              <a:gd name="connsiteX42050" fmla="*/ 42871 w 10505529"/>
              <a:gd name="connsiteY42050" fmla="*/ 247208 h 7458372"/>
              <a:gd name="connsiteX42051" fmla="*/ 41940 w 10505529"/>
              <a:gd name="connsiteY42051" fmla="*/ 242016 h 7458372"/>
              <a:gd name="connsiteX42052" fmla="*/ 39277 w 10505529"/>
              <a:gd name="connsiteY42052" fmla="*/ 237890 h 7458372"/>
              <a:gd name="connsiteX42053" fmla="*/ 35284 w 10505529"/>
              <a:gd name="connsiteY42053" fmla="*/ 235227 h 7458372"/>
              <a:gd name="connsiteX42054" fmla="*/ 30225 w 10505529"/>
              <a:gd name="connsiteY42054" fmla="*/ 234162 h 7458372"/>
              <a:gd name="connsiteX42055" fmla="*/ 247869 w 10505529"/>
              <a:gd name="connsiteY42055" fmla="*/ 234162 h 7458372"/>
              <a:gd name="connsiteX42056" fmla="*/ 237886 w 10505529"/>
              <a:gd name="connsiteY42056" fmla="*/ 237757 h 7458372"/>
              <a:gd name="connsiteX42057" fmla="*/ 234292 w 10505529"/>
              <a:gd name="connsiteY42057" fmla="*/ 247208 h 7458372"/>
              <a:gd name="connsiteX42058" fmla="*/ 237886 w 10505529"/>
              <a:gd name="connsiteY42058" fmla="*/ 256792 h 7458372"/>
              <a:gd name="connsiteX42059" fmla="*/ 247869 w 10505529"/>
              <a:gd name="connsiteY42059" fmla="*/ 260253 h 7458372"/>
              <a:gd name="connsiteX42060" fmla="*/ 253194 w 10505529"/>
              <a:gd name="connsiteY42060" fmla="*/ 259321 h 7458372"/>
              <a:gd name="connsiteX42061" fmla="*/ 256921 w 10505529"/>
              <a:gd name="connsiteY42061" fmla="*/ 256925 h 7458372"/>
              <a:gd name="connsiteX42062" fmla="*/ 259584 w 10505529"/>
              <a:gd name="connsiteY42062" fmla="*/ 252666 h 7458372"/>
              <a:gd name="connsiteX42063" fmla="*/ 260649 w 10505529"/>
              <a:gd name="connsiteY42063" fmla="*/ 247208 h 7458372"/>
              <a:gd name="connsiteX42064" fmla="*/ 259584 w 10505529"/>
              <a:gd name="connsiteY42064" fmla="*/ 242016 h 7458372"/>
              <a:gd name="connsiteX42065" fmla="*/ 256921 w 10505529"/>
              <a:gd name="connsiteY42065" fmla="*/ 237890 h 7458372"/>
              <a:gd name="connsiteX42066" fmla="*/ 252928 w 10505529"/>
              <a:gd name="connsiteY42066" fmla="*/ 235227 h 7458372"/>
              <a:gd name="connsiteX42067" fmla="*/ 247869 w 10505529"/>
              <a:gd name="connsiteY42067" fmla="*/ 234162 h 7458372"/>
              <a:gd name="connsiteX42068" fmla="*/ 465514 w 10505529"/>
              <a:gd name="connsiteY42068" fmla="*/ 234162 h 7458372"/>
              <a:gd name="connsiteX42069" fmla="*/ 455531 w 10505529"/>
              <a:gd name="connsiteY42069" fmla="*/ 237757 h 7458372"/>
              <a:gd name="connsiteX42070" fmla="*/ 451937 w 10505529"/>
              <a:gd name="connsiteY42070" fmla="*/ 247208 h 7458372"/>
              <a:gd name="connsiteX42071" fmla="*/ 455531 w 10505529"/>
              <a:gd name="connsiteY42071" fmla="*/ 256792 h 7458372"/>
              <a:gd name="connsiteX42072" fmla="*/ 465514 w 10505529"/>
              <a:gd name="connsiteY42072" fmla="*/ 260253 h 7458372"/>
              <a:gd name="connsiteX42073" fmla="*/ 470839 w 10505529"/>
              <a:gd name="connsiteY42073" fmla="*/ 259321 h 7458372"/>
              <a:gd name="connsiteX42074" fmla="*/ 474566 w 10505529"/>
              <a:gd name="connsiteY42074" fmla="*/ 256925 h 7458372"/>
              <a:gd name="connsiteX42075" fmla="*/ 477229 w 10505529"/>
              <a:gd name="connsiteY42075" fmla="*/ 252666 h 7458372"/>
              <a:gd name="connsiteX42076" fmla="*/ 478294 w 10505529"/>
              <a:gd name="connsiteY42076" fmla="*/ 247208 h 7458372"/>
              <a:gd name="connsiteX42077" fmla="*/ 477229 w 10505529"/>
              <a:gd name="connsiteY42077" fmla="*/ 242016 h 7458372"/>
              <a:gd name="connsiteX42078" fmla="*/ 474566 w 10505529"/>
              <a:gd name="connsiteY42078" fmla="*/ 237890 h 7458372"/>
              <a:gd name="connsiteX42079" fmla="*/ 470573 w 10505529"/>
              <a:gd name="connsiteY42079" fmla="*/ 235227 h 7458372"/>
              <a:gd name="connsiteX42080" fmla="*/ 465514 w 10505529"/>
              <a:gd name="connsiteY42080" fmla="*/ 234162 h 7458372"/>
              <a:gd name="connsiteX42081" fmla="*/ 683158 w 10505529"/>
              <a:gd name="connsiteY42081" fmla="*/ 234162 h 7458372"/>
              <a:gd name="connsiteX42082" fmla="*/ 673175 w 10505529"/>
              <a:gd name="connsiteY42082" fmla="*/ 237757 h 7458372"/>
              <a:gd name="connsiteX42083" fmla="*/ 669581 w 10505529"/>
              <a:gd name="connsiteY42083" fmla="*/ 247208 h 7458372"/>
              <a:gd name="connsiteX42084" fmla="*/ 673175 w 10505529"/>
              <a:gd name="connsiteY42084" fmla="*/ 256792 h 7458372"/>
              <a:gd name="connsiteX42085" fmla="*/ 683158 w 10505529"/>
              <a:gd name="connsiteY42085" fmla="*/ 260253 h 7458372"/>
              <a:gd name="connsiteX42086" fmla="*/ 688484 w 10505529"/>
              <a:gd name="connsiteY42086" fmla="*/ 259321 h 7458372"/>
              <a:gd name="connsiteX42087" fmla="*/ 692211 w 10505529"/>
              <a:gd name="connsiteY42087" fmla="*/ 256925 h 7458372"/>
              <a:gd name="connsiteX42088" fmla="*/ 694874 w 10505529"/>
              <a:gd name="connsiteY42088" fmla="*/ 252666 h 7458372"/>
              <a:gd name="connsiteX42089" fmla="*/ 695939 w 10505529"/>
              <a:gd name="connsiteY42089" fmla="*/ 247208 h 7458372"/>
              <a:gd name="connsiteX42090" fmla="*/ 694874 w 10505529"/>
              <a:gd name="connsiteY42090" fmla="*/ 242016 h 7458372"/>
              <a:gd name="connsiteX42091" fmla="*/ 692211 w 10505529"/>
              <a:gd name="connsiteY42091" fmla="*/ 237890 h 7458372"/>
              <a:gd name="connsiteX42092" fmla="*/ 688218 w 10505529"/>
              <a:gd name="connsiteY42092" fmla="*/ 235227 h 7458372"/>
              <a:gd name="connsiteX42093" fmla="*/ 683158 w 10505529"/>
              <a:gd name="connsiteY42093" fmla="*/ 234162 h 7458372"/>
              <a:gd name="connsiteX42094" fmla="*/ 900937 w 10505529"/>
              <a:gd name="connsiteY42094" fmla="*/ 234162 h 7458372"/>
              <a:gd name="connsiteX42095" fmla="*/ 890953 w 10505529"/>
              <a:gd name="connsiteY42095" fmla="*/ 237757 h 7458372"/>
              <a:gd name="connsiteX42096" fmla="*/ 887226 w 10505529"/>
              <a:gd name="connsiteY42096" fmla="*/ 247208 h 7458372"/>
              <a:gd name="connsiteX42097" fmla="*/ 890820 w 10505529"/>
              <a:gd name="connsiteY42097" fmla="*/ 256792 h 7458372"/>
              <a:gd name="connsiteX42098" fmla="*/ 900803 w 10505529"/>
              <a:gd name="connsiteY42098" fmla="*/ 260253 h 7458372"/>
              <a:gd name="connsiteX42099" fmla="*/ 906261 w 10505529"/>
              <a:gd name="connsiteY42099" fmla="*/ 259321 h 7458372"/>
              <a:gd name="connsiteX42100" fmla="*/ 909989 w 10505529"/>
              <a:gd name="connsiteY42100" fmla="*/ 256925 h 7458372"/>
              <a:gd name="connsiteX42101" fmla="*/ 912651 w 10505529"/>
              <a:gd name="connsiteY42101" fmla="*/ 252666 h 7458372"/>
              <a:gd name="connsiteX42102" fmla="*/ 913716 w 10505529"/>
              <a:gd name="connsiteY42102" fmla="*/ 247208 h 7458372"/>
              <a:gd name="connsiteX42103" fmla="*/ 912651 w 10505529"/>
              <a:gd name="connsiteY42103" fmla="*/ 242016 h 7458372"/>
              <a:gd name="connsiteX42104" fmla="*/ 909989 w 10505529"/>
              <a:gd name="connsiteY42104" fmla="*/ 237890 h 7458372"/>
              <a:gd name="connsiteX42105" fmla="*/ 905995 w 10505529"/>
              <a:gd name="connsiteY42105" fmla="*/ 235227 h 7458372"/>
              <a:gd name="connsiteX42106" fmla="*/ 900937 w 10505529"/>
              <a:gd name="connsiteY42106" fmla="*/ 234162 h 7458372"/>
              <a:gd name="connsiteX42107" fmla="*/ 1118448 w 10505529"/>
              <a:gd name="connsiteY42107" fmla="*/ 234162 h 7458372"/>
              <a:gd name="connsiteX42108" fmla="*/ 1108464 w 10505529"/>
              <a:gd name="connsiteY42108" fmla="*/ 237757 h 7458372"/>
              <a:gd name="connsiteX42109" fmla="*/ 1104737 w 10505529"/>
              <a:gd name="connsiteY42109" fmla="*/ 247208 h 7458372"/>
              <a:gd name="connsiteX42110" fmla="*/ 1108332 w 10505529"/>
              <a:gd name="connsiteY42110" fmla="*/ 256792 h 7458372"/>
              <a:gd name="connsiteX42111" fmla="*/ 1118315 w 10505529"/>
              <a:gd name="connsiteY42111" fmla="*/ 260253 h 7458372"/>
              <a:gd name="connsiteX42112" fmla="*/ 1123773 w 10505529"/>
              <a:gd name="connsiteY42112" fmla="*/ 259321 h 7458372"/>
              <a:gd name="connsiteX42113" fmla="*/ 1127500 w 10505529"/>
              <a:gd name="connsiteY42113" fmla="*/ 256925 h 7458372"/>
              <a:gd name="connsiteX42114" fmla="*/ 1130163 w 10505529"/>
              <a:gd name="connsiteY42114" fmla="*/ 252666 h 7458372"/>
              <a:gd name="connsiteX42115" fmla="*/ 1131228 w 10505529"/>
              <a:gd name="connsiteY42115" fmla="*/ 247208 h 7458372"/>
              <a:gd name="connsiteX42116" fmla="*/ 1130163 w 10505529"/>
              <a:gd name="connsiteY42116" fmla="*/ 242016 h 7458372"/>
              <a:gd name="connsiteX42117" fmla="*/ 1127500 w 10505529"/>
              <a:gd name="connsiteY42117" fmla="*/ 237890 h 7458372"/>
              <a:gd name="connsiteX42118" fmla="*/ 1123507 w 10505529"/>
              <a:gd name="connsiteY42118" fmla="*/ 235227 h 7458372"/>
              <a:gd name="connsiteX42119" fmla="*/ 1118448 w 10505529"/>
              <a:gd name="connsiteY42119" fmla="*/ 234162 h 7458372"/>
              <a:gd name="connsiteX42120" fmla="*/ 1335960 w 10505529"/>
              <a:gd name="connsiteY42120" fmla="*/ 234161 h 7458372"/>
              <a:gd name="connsiteX42121" fmla="*/ 1325977 w 10505529"/>
              <a:gd name="connsiteY42121" fmla="*/ 237756 h 7458372"/>
              <a:gd name="connsiteX42122" fmla="*/ 1322382 w 10505529"/>
              <a:gd name="connsiteY42122" fmla="*/ 247208 h 7458372"/>
              <a:gd name="connsiteX42123" fmla="*/ 1325977 w 10505529"/>
              <a:gd name="connsiteY42123" fmla="*/ 256792 h 7458372"/>
              <a:gd name="connsiteX42124" fmla="*/ 1335960 w 10505529"/>
              <a:gd name="connsiteY42124" fmla="*/ 260253 h 7458372"/>
              <a:gd name="connsiteX42125" fmla="*/ 1341285 w 10505529"/>
              <a:gd name="connsiteY42125" fmla="*/ 259321 h 7458372"/>
              <a:gd name="connsiteX42126" fmla="*/ 1345012 w 10505529"/>
              <a:gd name="connsiteY42126" fmla="*/ 256925 h 7458372"/>
              <a:gd name="connsiteX42127" fmla="*/ 1347675 w 10505529"/>
              <a:gd name="connsiteY42127" fmla="*/ 252666 h 7458372"/>
              <a:gd name="connsiteX42128" fmla="*/ 1348740 w 10505529"/>
              <a:gd name="connsiteY42128" fmla="*/ 247208 h 7458372"/>
              <a:gd name="connsiteX42129" fmla="*/ 1347675 w 10505529"/>
              <a:gd name="connsiteY42129" fmla="*/ 242016 h 7458372"/>
              <a:gd name="connsiteX42130" fmla="*/ 1345012 w 10505529"/>
              <a:gd name="connsiteY42130" fmla="*/ 237889 h 7458372"/>
              <a:gd name="connsiteX42131" fmla="*/ 1341019 w 10505529"/>
              <a:gd name="connsiteY42131" fmla="*/ 235226 h 7458372"/>
              <a:gd name="connsiteX42132" fmla="*/ 1335960 w 10505529"/>
              <a:gd name="connsiteY42132" fmla="*/ 234161 h 7458372"/>
              <a:gd name="connsiteX42133" fmla="*/ 1553605 w 10505529"/>
              <a:gd name="connsiteY42133" fmla="*/ 234161 h 7458372"/>
              <a:gd name="connsiteX42134" fmla="*/ 1543621 w 10505529"/>
              <a:gd name="connsiteY42134" fmla="*/ 237756 h 7458372"/>
              <a:gd name="connsiteX42135" fmla="*/ 1540027 w 10505529"/>
              <a:gd name="connsiteY42135" fmla="*/ 247208 h 7458372"/>
              <a:gd name="connsiteX42136" fmla="*/ 1543621 w 10505529"/>
              <a:gd name="connsiteY42136" fmla="*/ 256792 h 7458372"/>
              <a:gd name="connsiteX42137" fmla="*/ 1553605 w 10505529"/>
              <a:gd name="connsiteY42137" fmla="*/ 260253 h 7458372"/>
              <a:gd name="connsiteX42138" fmla="*/ 1558930 w 10505529"/>
              <a:gd name="connsiteY42138" fmla="*/ 259321 h 7458372"/>
              <a:gd name="connsiteX42139" fmla="*/ 1562657 w 10505529"/>
              <a:gd name="connsiteY42139" fmla="*/ 256925 h 7458372"/>
              <a:gd name="connsiteX42140" fmla="*/ 1565320 w 10505529"/>
              <a:gd name="connsiteY42140" fmla="*/ 252666 h 7458372"/>
              <a:gd name="connsiteX42141" fmla="*/ 1566385 w 10505529"/>
              <a:gd name="connsiteY42141" fmla="*/ 247208 h 7458372"/>
              <a:gd name="connsiteX42142" fmla="*/ 1565320 w 10505529"/>
              <a:gd name="connsiteY42142" fmla="*/ 242015 h 7458372"/>
              <a:gd name="connsiteX42143" fmla="*/ 1562657 w 10505529"/>
              <a:gd name="connsiteY42143" fmla="*/ 237889 h 7458372"/>
              <a:gd name="connsiteX42144" fmla="*/ 1558664 w 10505529"/>
              <a:gd name="connsiteY42144" fmla="*/ 235226 h 7458372"/>
              <a:gd name="connsiteX42145" fmla="*/ 1553605 w 10505529"/>
              <a:gd name="connsiteY42145" fmla="*/ 234161 h 7458372"/>
              <a:gd name="connsiteX42146" fmla="*/ 1771250 w 10505529"/>
              <a:gd name="connsiteY42146" fmla="*/ 234161 h 7458372"/>
              <a:gd name="connsiteX42147" fmla="*/ 1761267 w 10505529"/>
              <a:gd name="connsiteY42147" fmla="*/ 237756 h 7458372"/>
              <a:gd name="connsiteX42148" fmla="*/ 1757672 w 10505529"/>
              <a:gd name="connsiteY42148" fmla="*/ 247207 h 7458372"/>
              <a:gd name="connsiteX42149" fmla="*/ 1761267 w 10505529"/>
              <a:gd name="connsiteY42149" fmla="*/ 256792 h 7458372"/>
              <a:gd name="connsiteX42150" fmla="*/ 1771250 w 10505529"/>
              <a:gd name="connsiteY42150" fmla="*/ 260253 h 7458372"/>
              <a:gd name="connsiteX42151" fmla="*/ 1776575 w 10505529"/>
              <a:gd name="connsiteY42151" fmla="*/ 259321 h 7458372"/>
              <a:gd name="connsiteX42152" fmla="*/ 1780302 w 10505529"/>
              <a:gd name="connsiteY42152" fmla="*/ 256925 h 7458372"/>
              <a:gd name="connsiteX42153" fmla="*/ 1782965 w 10505529"/>
              <a:gd name="connsiteY42153" fmla="*/ 252666 h 7458372"/>
              <a:gd name="connsiteX42154" fmla="*/ 1784030 w 10505529"/>
              <a:gd name="connsiteY42154" fmla="*/ 247207 h 7458372"/>
              <a:gd name="connsiteX42155" fmla="*/ 1782965 w 10505529"/>
              <a:gd name="connsiteY42155" fmla="*/ 242015 h 7458372"/>
              <a:gd name="connsiteX42156" fmla="*/ 1780302 w 10505529"/>
              <a:gd name="connsiteY42156" fmla="*/ 237889 h 7458372"/>
              <a:gd name="connsiteX42157" fmla="*/ 1776309 w 10505529"/>
              <a:gd name="connsiteY42157" fmla="*/ 235226 h 7458372"/>
              <a:gd name="connsiteX42158" fmla="*/ 1771250 w 10505529"/>
              <a:gd name="connsiteY42158" fmla="*/ 234161 h 7458372"/>
              <a:gd name="connsiteX42159" fmla="*/ 1988894 w 10505529"/>
              <a:gd name="connsiteY42159" fmla="*/ 234161 h 7458372"/>
              <a:gd name="connsiteX42160" fmla="*/ 1978911 w 10505529"/>
              <a:gd name="connsiteY42160" fmla="*/ 237756 h 7458372"/>
              <a:gd name="connsiteX42161" fmla="*/ 1975317 w 10505529"/>
              <a:gd name="connsiteY42161" fmla="*/ 247207 h 7458372"/>
              <a:gd name="connsiteX42162" fmla="*/ 1978911 w 10505529"/>
              <a:gd name="connsiteY42162" fmla="*/ 256792 h 7458372"/>
              <a:gd name="connsiteX42163" fmla="*/ 1988894 w 10505529"/>
              <a:gd name="connsiteY42163" fmla="*/ 260253 h 7458372"/>
              <a:gd name="connsiteX42164" fmla="*/ 1994219 w 10505529"/>
              <a:gd name="connsiteY42164" fmla="*/ 259321 h 7458372"/>
              <a:gd name="connsiteX42165" fmla="*/ 1997946 w 10505529"/>
              <a:gd name="connsiteY42165" fmla="*/ 256925 h 7458372"/>
              <a:gd name="connsiteX42166" fmla="*/ 2000609 w 10505529"/>
              <a:gd name="connsiteY42166" fmla="*/ 252665 h 7458372"/>
              <a:gd name="connsiteX42167" fmla="*/ 2001540 w 10505529"/>
              <a:gd name="connsiteY42167" fmla="*/ 247207 h 7458372"/>
              <a:gd name="connsiteX42168" fmla="*/ 2000609 w 10505529"/>
              <a:gd name="connsiteY42168" fmla="*/ 242015 h 7458372"/>
              <a:gd name="connsiteX42169" fmla="*/ 1997946 w 10505529"/>
              <a:gd name="connsiteY42169" fmla="*/ 237889 h 7458372"/>
              <a:gd name="connsiteX42170" fmla="*/ 1993953 w 10505529"/>
              <a:gd name="connsiteY42170" fmla="*/ 235226 h 7458372"/>
              <a:gd name="connsiteX42171" fmla="*/ 1988894 w 10505529"/>
              <a:gd name="connsiteY42171" fmla="*/ 234161 h 7458372"/>
              <a:gd name="connsiteX42172" fmla="*/ 2206407 w 10505529"/>
              <a:gd name="connsiteY42172" fmla="*/ 234161 h 7458372"/>
              <a:gd name="connsiteX42173" fmla="*/ 2196423 w 10505529"/>
              <a:gd name="connsiteY42173" fmla="*/ 237756 h 7458372"/>
              <a:gd name="connsiteX42174" fmla="*/ 2192829 w 10505529"/>
              <a:gd name="connsiteY42174" fmla="*/ 247207 h 7458372"/>
              <a:gd name="connsiteX42175" fmla="*/ 2196423 w 10505529"/>
              <a:gd name="connsiteY42175" fmla="*/ 256791 h 7458372"/>
              <a:gd name="connsiteX42176" fmla="*/ 2206407 w 10505529"/>
              <a:gd name="connsiteY42176" fmla="*/ 260252 h 7458372"/>
              <a:gd name="connsiteX42177" fmla="*/ 2211732 w 10505529"/>
              <a:gd name="connsiteY42177" fmla="*/ 259320 h 7458372"/>
              <a:gd name="connsiteX42178" fmla="*/ 2215459 w 10505529"/>
              <a:gd name="connsiteY42178" fmla="*/ 256924 h 7458372"/>
              <a:gd name="connsiteX42179" fmla="*/ 2218122 w 10505529"/>
              <a:gd name="connsiteY42179" fmla="*/ 252665 h 7458372"/>
              <a:gd name="connsiteX42180" fmla="*/ 2219053 w 10505529"/>
              <a:gd name="connsiteY42180" fmla="*/ 247207 h 7458372"/>
              <a:gd name="connsiteX42181" fmla="*/ 2218122 w 10505529"/>
              <a:gd name="connsiteY42181" fmla="*/ 242015 h 7458372"/>
              <a:gd name="connsiteX42182" fmla="*/ 2215459 w 10505529"/>
              <a:gd name="connsiteY42182" fmla="*/ 237889 h 7458372"/>
              <a:gd name="connsiteX42183" fmla="*/ 2211466 w 10505529"/>
              <a:gd name="connsiteY42183" fmla="*/ 235226 h 7458372"/>
              <a:gd name="connsiteX42184" fmla="*/ 2206407 w 10505529"/>
              <a:gd name="connsiteY42184" fmla="*/ 234161 h 7458372"/>
              <a:gd name="connsiteX42185" fmla="*/ 2424053 w 10505529"/>
              <a:gd name="connsiteY42185" fmla="*/ 234161 h 7458372"/>
              <a:gd name="connsiteX42186" fmla="*/ 2414070 w 10505529"/>
              <a:gd name="connsiteY42186" fmla="*/ 237756 h 7458372"/>
              <a:gd name="connsiteX42187" fmla="*/ 2410475 w 10505529"/>
              <a:gd name="connsiteY42187" fmla="*/ 247207 h 7458372"/>
              <a:gd name="connsiteX42188" fmla="*/ 2414070 w 10505529"/>
              <a:gd name="connsiteY42188" fmla="*/ 256791 h 7458372"/>
              <a:gd name="connsiteX42189" fmla="*/ 2424053 w 10505529"/>
              <a:gd name="connsiteY42189" fmla="*/ 260252 h 7458372"/>
              <a:gd name="connsiteX42190" fmla="*/ 2429378 w 10505529"/>
              <a:gd name="connsiteY42190" fmla="*/ 259320 h 7458372"/>
              <a:gd name="connsiteX42191" fmla="*/ 2433105 w 10505529"/>
              <a:gd name="connsiteY42191" fmla="*/ 256924 h 7458372"/>
              <a:gd name="connsiteX42192" fmla="*/ 2435768 w 10505529"/>
              <a:gd name="connsiteY42192" fmla="*/ 252665 h 7458372"/>
              <a:gd name="connsiteX42193" fmla="*/ 2436699 w 10505529"/>
              <a:gd name="connsiteY42193" fmla="*/ 247207 h 7458372"/>
              <a:gd name="connsiteX42194" fmla="*/ 2435768 w 10505529"/>
              <a:gd name="connsiteY42194" fmla="*/ 242015 h 7458372"/>
              <a:gd name="connsiteX42195" fmla="*/ 2433105 w 10505529"/>
              <a:gd name="connsiteY42195" fmla="*/ 237889 h 7458372"/>
              <a:gd name="connsiteX42196" fmla="*/ 2429112 w 10505529"/>
              <a:gd name="connsiteY42196" fmla="*/ 235226 h 7458372"/>
              <a:gd name="connsiteX42197" fmla="*/ 2424053 w 10505529"/>
              <a:gd name="connsiteY42197" fmla="*/ 234161 h 7458372"/>
              <a:gd name="connsiteX42198" fmla="*/ 2641699 w 10505529"/>
              <a:gd name="connsiteY42198" fmla="*/ 234161 h 7458372"/>
              <a:gd name="connsiteX42199" fmla="*/ 2631716 w 10505529"/>
              <a:gd name="connsiteY42199" fmla="*/ 237756 h 7458372"/>
              <a:gd name="connsiteX42200" fmla="*/ 2628121 w 10505529"/>
              <a:gd name="connsiteY42200" fmla="*/ 247207 h 7458372"/>
              <a:gd name="connsiteX42201" fmla="*/ 2631716 w 10505529"/>
              <a:gd name="connsiteY42201" fmla="*/ 256791 h 7458372"/>
              <a:gd name="connsiteX42202" fmla="*/ 2641699 w 10505529"/>
              <a:gd name="connsiteY42202" fmla="*/ 260252 h 7458372"/>
              <a:gd name="connsiteX42203" fmla="*/ 2647024 w 10505529"/>
              <a:gd name="connsiteY42203" fmla="*/ 259320 h 7458372"/>
              <a:gd name="connsiteX42204" fmla="*/ 2650751 w 10505529"/>
              <a:gd name="connsiteY42204" fmla="*/ 256924 h 7458372"/>
              <a:gd name="connsiteX42205" fmla="*/ 2653414 w 10505529"/>
              <a:gd name="connsiteY42205" fmla="*/ 252665 h 7458372"/>
              <a:gd name="connsiteX42206" fmla="*/ 2654345 w 10505529"/>
              <a:gd name="connsiteY42206" fmla="*/ 247207 h 7458372"/>
              <a:gd name="connsiteX42207" fmla="*/ 2653414 w 10505529"/>
              <a:gd name="connsiteY42207" fmla="*/ 242015 h 7458372"/>
              <a:gd name="connsiteX42208" fmla="*/ 2650751 w 10505529"/>
              <a:gd name="connsiteY42208" fmla="*/ 237889 h 7458372"/>
              <a:gd name="connsiteX42209" fmla="*/ 2646758 w 10505529"/>
              <a:gd name="connsiteY42209" fmla="*/ 235226 h 7458372"/>
              <a:gd name="connsiteX42210" fmla="*/ 2641699 w 10505529"/>
              <a:gd name="connsiteY42210" fmla="*/ 234161 h 7458372"/>
              <a:gd name="connsiteX42211" fmla="*/ 2859345 w 10505529"/>
              <a:gd name="connsiteY42211" fmla="*/ 234161 h 7458372"/>
              <a:gd name="connsiteX42212" fmla="*/ 2849362 w 10505529"/>
              <a:gd name="connsiteY42212" fmla="*/ 237756 h 7458372"/>
              <a:gd name="connsiteX42213" fmla="*/ 2845768 w 10505529"/>
              <a:gd name="connsiteY42213" fmla="*/ 247207 h 7458372"/>
              <a:gd name="connsiteX42214" fmla="*/ 2849362 w 10505529"/>
              <a:gd name="connsiteY42214" fmla="*/ 256791 h 7458372"/>
              <a:gd name="connsiteX42215" fmla="*/ 2859345 w 10505529"/>
              <a:gd name="connsiteY42215" fmla="*/ 260252 h 7458372"/>
              <a:gd name="connsiteX42216" fmla="*/ 2864670 w 10505529"/>
              <a:gd name="connsiteY42216" fmla="*/ 259320 h 7458372"/>
              <a:gd name="connsiteX42217" fmla="*/ 2868397 w 10505529"/>
              <a:gd name="connsiteY42217" fmla="*/ 256924 h 7458372"/>
              <a:gd name="connsiteX42218" fmla="*/ 2871060 w 10505529"/>
              <a:gd name="connsiteY42218" fmla="*/ 252665 h 7458372"/>
              <a:gd name="connsiteX42219" fmla="*/ 2871991 w 10505529"/>
              <a:gd name="connsiteY42219" fmla="*/ 247207 h 7458372"/>
              <a:gd name="connsiteX42220" fmla="*/ 2871060 w 10505529"/>
              <a:gd name="connsiteY42220" fmla="*/ 242015 h 7458372"/>
              <a:gd name="connsiteX42221" fmla="*/ 2868397 w 10505529"/>
              <a:gd name="connsiteY42221" fmla="*/ 237889 h 7458372"/>
              <a:gd name="connsiteX42222" fmla="*/ 2864404 w 10505529"/>
              <a:gd name="connsiteY42222" fmla="*/ 235226 h 7458372"/>
              <a:gd name="connsiteX42223" fmla="*/ 2859345 w 10505529"/>
              <a:gd name="connsiteY42223" fmla="*/ 234161 h 7458372"/>
              <a:gd name="connsiteX42224" fmla="*/ 3077124 w 10505529"/>
              <a:gd name="connsiteY42224" fmla="*/ 234161 h 7458372"/>
              <a:gd name="connsiteX42225" fmla="*/ 3067141 w 10505529"/>
              <a:gd name="connsiteY42225" fmla="*/ 237756 h 7458372"/>
              <a:gd name="connsiteX42226" fmla="*/ 3063412 w 10505529"/>
              <a:gd name="connsiteY42226" fmla="*/ 247207 h 7458372"/>
              <a:gd name="connsiteX42227" fmla="*/ 3067007 w 10505529"/>
              <a:gd name="connsiteY42227" fmla="*/ 256791 h 7458372"/>
              <a:gd name="connsiteX42228" fmla="*/ 3076990 w 10505529"/>
              <a:gd name="connsiteY42228" fmla="*/ 260252 h 7458372"/>
              <a:gd name="connsiteX42229" fmla="*/ 3082448 w 10505529"/>
              <a:gd name="connsiteY42229" fmla="*/ 259320 h 7458372"/>
              <a:gd name="connsiteX42230" fmla="*/ 3086176 w 10505529"/>
              <a:gd name="connsiteY42230" fmla="*/ 256924 h 7458372"/>
              <a:gd name="connsiteX42231" fmla="*/ 3088839 w 10505529"/>
              <a:gd name="connsiteY42231" fmla="*/ 252665 h 7458372"/>
              <a:gd name="connsiteX42232" fmla="*/ 3089771 w 10505529"/>
              <a:gd name="connsiteY42232" fmla="*/ 247207 h 7458372"/>
              <a:gd name="connsiteX42233" fmla="*/ 3088839 w 10505529"/>
              <a:gd name="connsiteY42233" fmla="*/ 242015 h 7458372"/>
              <a:gd name="connsiteX42234" fmla="*/ 3086176 w 10505529"/>
              <a:gd name="connsiteY42234" fmla="*/ 237889 h 7458372"/>
              <a:gd name="connsiteX42235" fmla="*/ 3082183 w 10505529"/>
              <a:gd name="connsiteY42235" fmla="*/ 235226 h 7458372"/>
              <a:gd name="connsiteX42236" fmla="*/ 3077124 w 10505529"/>
              <a:gd name="connsiteY42236" fmla="*/ 234161 h 7458372"/>
              <a:gd name="connsiteX42237" fmla="*/ 3512149 w 10505529"/>
              <a:gd name="connsiteY42237" fmla="*/ 234160 h 7458372"/>
              <a:gd name="connsiteX42238" fmla="*/ 3502165 w 10505529"/>
              <a:gd name="connsiteY42238" fmla="*/ 237755 h 7458372"/>
              <a:gd name="connsiteX42239" fmla="*/ 3498572 w 10505529"/>
              <a:gd name="connsiteY42239" fmla="*/ 247207 h 7458372"/>
              <a:gd name="connsiteX42240" fmla="*/ 3502165 w 10505529"/>
              <a:gd name="connsiteY42240" fmla="*/ 256791 h 7458372"/>
              <a:gd name="connsiteX42241" fmla="*/ 3512149 w 10505529"/>
              <a:gd name="connsiteY42241" fmla="*/ 260252 h 7458372"/>
              <a:gd name="connsiteX42242" fmla="*/ 3517475 w 10505529"/>
              <a:gd name="connsiteY42242" fmla="*/ 259320 h 7458372"/>
              <a:gd name="connsiteX42243" fmla="*/ 3521201 w 10505529"/>
              <a:gd name="connsiteY42243" fmla="*/ 256924 h 7458372"/>
              <a:gd name="connsiteX42244" fmla="*/ 3523865 w 10505529"/>
              <a:gd name="connsiteY42244" fmla="*/ 252665 h 7458372"/>
              <a:gd name="connsiteX42245" fmla="*/ 3524930 w 10505529"/>
              <a:gd name="connsiteY42245" fmla="*/ 247207 h 7458372"/>
              <a:gd name="connsiteX42246" fmla="*/ 3523865 w 10505529"/>
              <a:gd name="connsiteY42246" fmla="*/ 242014 h 7458372"/>
              <a:gd name="connsiteX42247" fmla="*/ 3521201 w 10505529"/>
              <a:gd name="connsiteY42247" fmla="*/ 237888 h 7458372"/>
              <a:gd name="connsiteX42248" fmla="*/ 3517208 w 10505529"/>
              <a:gd name="connsiteY42248" fmla="*/ 235225 h 7458372"/>
              <a:gd name="connsiteX42249" fmla="*/ 3512149 w 10505529"/>
              <a:gd name="connsiteY42249" fmla="*/ 234160 h 7458372"/>
              <a:gd name="connsiteX42250" fmla="*/ 3294636 w 10505529"/>
              <a:gd name="connsiteY42250" fmla="*/ 234160 h 7458372"/>
              <a:gd name="connsiteX42251" fmla="*/ 3284653 w 10505529"/>
              <a:gd name="connsiteY42251" fmla="*/ 237755 h 7458372"/>
              <a:gd name="connsiteX42252" fmla="*/ 3281059 w 10505529"/>
              <a:gd name="connsiteY42252" fmla="*/ 247207 h 7458372"/>
              <a:gd name="connsiteX42253" fmla="*/ 3284653 w 10505529"/>
              <a:gd name="connsiteY42253" fmla="*/ 256791 h 7458372"/>
              <a:gd name="connsiteX42254" fmla="*/ 3294636 w 10505529"/>
              <a:gd name="connsiteY42254" fmla="*/ 260252 h 7458372"/>
              <a:gd name="connsiteX42255" fmla="*/ 3299962 w 10505529"/>
              <a:gd name="connsiteY42255" fmla="*/ 259320 h 7458372"/>
              <a:gd name="connsiteX42256" fmla="*/ 3303689 w 10505529"/>
              <a:gd name="connsiteY42256" fmla="*/ 256924 h 7458372"/>
              <a:gd name="connsiteX42257" fmla="*/ 3306352 w 10505529"/>
              <a:gd name="connsiteY42257" fmla="*/ 252665 h 7458372"/>
              <a:gd name="connsiteX42258" fmla="*/ 3307416 w 10505529"/>
              <a:gd name="connsiteY42258" fmla="*/ 247207 h 7458372"/>
              <a:gd name="connsiteX42259" fmla="*/ 3306352 w 10505529"/>
              <a:gd name="connsiteY42259" fmla="*/ 242015 h 7458372"/>
              <a:gd name="connsiteX42260" fmla="*/ 3303689 w 10505529"/>
              <a:gd name="connsiteY42260" fmla="*/ 237888 h 7458372"/>
              <a:gd name="connsiteX42261" fmla="*/ 3299696 w 10505529"/>
              <a:gd name="connsiteY42261" fmla="*/ 235225 h 7458372"/>
              <a:gd name="connsiteX42262" fmla="*/ 3294636 w 10505529"/>
              <a:gd name="connsiteY42262" fmla="*/ 234160 h 7458372"/>
              <a:gd name="connsiteX42263" fmla="*/ 3947442 w 10505529"/>
              <a:gd name="connsiteY42263" fmla="*/ 234160 h 7458372"/>
              <a:gd name="connsiteX42264" fmla="*/ 3937459 w 10505529"/>
              <a:gd name="connsiteY42264" fmla="*/ 237755 h 7458372"/>
              <a:gd name="connsiteX42265" fmla="*/ 3933865 w 10505529"/>
              <a:gd name="connsiteY42265" fmla="*/ 247206 h 7458372"/>
              <a:gd name="connsiteX42266" fmla="*/ 3937459 w 10505529"/>
              <a:gd name="connsiteY42266" fmla="*/ 256791 h 7458372"/>
              <a:gd name="connsiteX42267" fmla="*/ 3947442 w 10505529"/>
              <a:gd name="connsiteY42267" fmla="*/ 260252 h 7458372"/>
              <a:gd name="connsiteX42268" fmla="*/ 3952767 w 10505529"/>
              <a:gd name="connsiteY42268" fmla="*/ 259320 h 7458372"/>
              <a:gd name="connsiteX42269" fmla="*/ 3956494 w 10505529"/>
              <a:gd name="connsiteY42269" fmla="*/ 256924 h 7458372"/>
              <a:gd name="connsiteX42270" fmla="*/ 3959157 w 10505529"/>
              <a:gd name="connsiteY42270" fmla="*/ 252664 h 7458372"/>
              <a:gd name="connsiteX42271" fmla="*/ 3960221 w 10505529"/>
              <a:gd name="connsiteY42271" fmla="*/ 247206 h 7458372"/>
              <a:gd name="connsiteX42272" fmla="*/ 3959157 w 10505529"/>
              <a:gd name="connsiteY42272" fmla="*/ 242014 h 7458372"/>
              <a:gd name="connsiteX42273" fmla="*/ 3956494 w 10505529"/>
              <a:gd name="connsiteY42273" fmla="*/ 237888 h 7458372"/>
              <a:gd name="connsiteX42274" fmla="*/ 3952501 w 10505529"/>
              <a:gd name="connsiteY42274" fmla="*/ 235225 h 7458372"/>
              <a:gd name="connsiteX42275" fmla="*/ 3947442 w 10505529"/>
              <a:gd name="connsiteY42275" fmla="*/ 234160 h 7458372"/>
              <a:gd name="connsiteX42276" fmla="*/ 3729795 w 10505529"/>
              <a:gd name="connsiteY42276" fmla="*/ 234160 h 7458372"/>
              <a:gd name="connsiteX42277" fmla="*/ 3719811 w 10505529"/>
              <a:gd name="connsiteY42277" fmla="*/ 237755 h 7458372"/>
              <a:gd name="connsiteX42278" fmla="*/ 3716217 w 10505529"/>
              <a:gd name="connsiteY42278" fmla="*/ 247206 h 7458372"/>
              <a:gd name="connsiteX42279" fmla="*/ 3719811 w 10505529"/>
              <a:gd name="connsiteY42279" fmla="*/ 256791 h 7458372"/>
              <a:gd name="connsiteX42280" fmla="*/ 3729795 w 10505529"/>
              <a:gd name="connsiteY42280" fmla="*/ 260252 h 7458372"/>
              <a:gd name="connsiteX42281" fmla="*/ 3735120 w 10505529"/>
              <a:gd name="connsiteY42281" fmla="*/ 259320 h 7458372"/>
              <a:gd name="connsiteX42282" fmla="*/ 3738847 w 10505529"/>
              <a:gd name="connsiteY42282" fmla="*/ 256924 h 7458372"/>
              <a:gd name="connsiteX42283" fmla="*/ 3741510 w 10505529"/>
              <a:gd name="connsiteY42283" fmla="*/ 252665 h 7458372"/>
              <a:gd name="connsiteX42284" fmla="*/ 3742575 w 10505529"/>
              <a:gd name="connsiteY42284" fmla="*/ 247206 h 7458372"/>
              <a:gd name="connsiteX42285" fmla="*/ 3741510 w 10505529"/>
              <a:gd name="connsiteY42285" fmla="*/ 242014 h 7458372"/>
              <a:gd name="connsiteX42286" fmla="*/ 3738847 w 10505529"/>
              <a:gd name="connsiteY42286" fmla="*/ 237888 h 7458372"/>
              <a:gd name="connsiteX42287" fmla="*/ 3734855 w 10505529"/>
              <a:gd name="connsiteY42287" fmla="*/ 235225 h 7458372"/>
              <a:gd name="connsiteX42288" fmla="*/ 3729795 w 10505529"/>
              <a:gd name="connsiteY42288" fmla="*/ 234160 h 7458372"/>
              <a:gd name="connsiteX42289" fmla="*/ 4165068 w 10505529"/>
              <a:gd name="connsiteY42289" fmla="*/ 234160 h 7458372"/>
              <a:gd name="connsiteX42290" fmla="*/ 4155084 w 10505529"/>
              <a:gd name="connsiteY42290" fmla="*/ 237755 h 7458372"/>
              <a:gd name="connsiteX42291" fmla="*/ 4151490 w 10505529"/>
              <a:gd name="connsiteY42291" fmla="*/ 247206 h 7458372"/>
              <a:gd name="connsiteX42292" fmla="*/ 4155084 w 10505529"/>
              <a:gd name="connsiteY42292" fmla="*/ 256790 h 7458372"/>
              <a:gd name="connsiteX42293" fmla="*/ 4165068 w 10505529"/>
              <a:gd name="connsiteY42293" fmla="*/ 260251 h 7458372"/>
              <a:gd name="connsiteX42294" fmla="*/ 4170392 w 10505529"/>
              <a:gd name="connsiteY42294" fmla="*/ 259319 h 7458372"/>
              <a:gd name="connsiteX42295" fmla="*/ 4174119 w 10505529"/>
              <a:gd name="connsiteY42295" fmla="*/ 256923 h 7458372"/>
              <a:gd name="connsiteX42296" fmla="*/ 4176782 w 10505529"/>
              <a:gd name="connsiteY42296" fmla="*/ 252664 h 7458372"/>
              <a:gd name="connsiteX42297" fmla="*/ 4177847 w 10505529"/>
              <a:gd name="connsiteY42297" fmla="*/ 247206 h 7458372"/>
              <a:gd name="connsiteX42298" fmla="*/ 4176782 w 10505529"/>
              <a:gd name="connsiteY42298" fmla="*/ 242014 h 7458372"/>
              <a:gd name="connsiteX42299" fmla="*/ 4174119 w 10505529"/>
              <a:gd name="connsiteY42299" fmla="*/ 237888 h 7458372"/>
              <a:gd name="connsiteX42300" fmla="*/ 4170126 w 10505529"/>
              <a:gd name="connsiteY42300" fmla="*/ 235225 h 7458372"/>
              <a:gd name="connsiteX42301" fmla="*/ 4165068 w 10505529"/>
              <a:gd name="connsiteY42301" fmla="*/ 234160 h 7458372"/>
              <a:gd name="connsiteX42302" fmla="*/ 4382713 w 10505529"/>
              <a:gd name="connsiteY42302" fmla="*/ 234160 h 7458372"/>
              <a:gd name="connsiteX42303" fmla="*/ 4372730 w 10505529"/>
              <a:gd name="connsiteY42303" fmla="*/ 237755 h 7458372"/>
              <a:gd name="connsiteX42304" fmla="*/ 4369136 w 10505529"/>
              <a:gd name="connsiteY42304" fmla="*/ 247206 h 7458372"/>
              <a:gd name="connsiteX42305" fmla="*/ 4372730 w 10505529"/>
              <a:gd name="connsiteY42305" fmla="*/ 256790 h 7458372"/>
              <a:gd name="connsiteX42306" fmla="*/ 4382713 w 10505529"/>
              <a:gd name="connsiteY42306" fmla="*/ 260251 h 7458372"/>
              <a:gd name="connsiteX42307" fmla="*/ 4388038 w 10505529"/>
              <a:gd name="connsiteY42307" fmla="*/ 259319 h 7458372"/>
              <a:gd name="connsiteX42308" fmla="*/ 4391765 w 10505529"/>
              <a:gd name="connsiteY42308" fmla="*/ 256923 h 7458372"/>
              <a:gd name="connsiteX42309" fmla="*/ 4394428 w 10505529"/>
              <a:gd name="connsiteY42309" fmla="*/ 252664 h 7458372"/>
              <a:gd name="connsiteX42310" fmla="*/ 4395493 w 10505529"/>
              <a:gd name="connsiteY42310" fmla="*/ 247206 h 7458372"/>
              <a:gd name="connsiteX42311" fmla="*/ 4394428 w 10505529"/>
              <a:gd name="connsiteY42311" fmla="*/ 242014 h 7458372"/>
              <a:gd name="connsiteX42312" fmla="*/ 4391765 w 10505529"/>
              <a:gd name="connsiteY42312" fmla="*/ 237888 h 7458372"/>
              <a:gd name="connsiteX42313" fmla="*/ 4387772 w 10505529"/>
              <a:gd name="connsiteY42313" fmla="*/ 235225 h 7458372"/>
              <a:gd name="connsiteX42314" fmla="*/ 4382713 w 10505529"/>
              <a:gd name="connsiteY42314" fmla="*/ 234160 h 7458372"/>
              <a:gd name="connsiteX42315" fmla="*/ 4600226 w 10505529"/>
              <a:gd name="connsiteY42315" fmla="*/ 234160 h 7458372"/>
              <a:gd name="connsiteX42316" fmla="*/ 4590242 w 10505529"/>
              <a:gd name="connsiteY42316" fmla="*/ 237755 h 7458372"/>
              <a:gd name="connsiteX42317" fmla="*/ 4586648 w 10505529"/>
              <a:gd name="connsiteY42317" fmla="*/ 247206 h 7458372"/>
              <a:gd name="connsiteX42318" fmla="*/ 4590242 w 10505529"/>
              <a:gd name="connsiteY42318" fmla="*/ 256790 h 7458372"/>
              <a:gd name="connsiteX42319" fmla="*/ 4600226 w 10505529"/>
              <a:gd name="connsiteY42319" fmla="*/ 260251 h 7458372"/>
              <a:gd name="connsiteX42320" fmla="*/ 4605550 w 10505529"/>
              <a:gd name="connsiteY42320" fmla="*/ 259319 h 7458372"/>
              <a:gd name="connsiteX42321" fmla="*/ 4609277 w 10505529"/>
              <a:gd name="connsiteY42321" fmla="*/ 256923 h 7458372"/>
              <a:gd name="connsiteX42322" fmla="*/ 4611940 w 10505529"/>
              <a:gd name="connsiteY42322" fmla="*/ 252664 h 7458372"/>
              <a:gd name="connsiteX42323" fmla="*/ 4613005 w 10505529"/>
              <a:gd name="connsiteY42323" fmla="*/ 247206 h 7458372"/>
              <a:gd name="connsiteX42324" fmla="*/ 4611940 w 10505529"/>
              <a:gd name="connsiteY42324" fmla="*/ 242014 h 7458372"/>
              <a:gd name="connsiteX42325" fmla="*/ 4609277 w 10505529"/>
              <a:gd name="connsiteY42325" fmla="*/ 237888 h 7458372"/>
              <a:gd name="connsiteX42326" fmla="*/ 4605284 w 10505529"/>
              <a:gd name="connsiteY42326" fmla="*/ 235225 h 7458372"/>
              <a:gd name="connsiteX42327" fmla="*/ 4600226 w 10505529"/>
              <a:gd name="connsiteY42327" fmla="*/ 234160 h 7458372"/>
              <a:gd name="connsiteX42328" fmla="*/ 4817870 w 10505529"/>
              <a:gd name="connsiteY42328" fmla="*/ 234160 h 7458372"/>
              <a:gd name="connsiteX42329" fmla="*/ 4807887 w 10505529"/>
              <a:gd name="connsiteY42329" fmla="*/ 237755 h 7458372"/>
              <a:gd name="connsiteX42330" fmla="*/ 4804293 w 10505529"/>
              <a:gd name="connsiteY42330" fmla="*/ 247206 h 7458372"/>
              <a:gd name="connsiteX42331" fmla="*/ 4807887 w 10505529"/>
              <a:gd name="connsiteY42331" fmla="*/ 256790 h 7458372"/>
              <a:gd name="connsiteX42332" fmla="*/ 4817870 w 10505529"/>
              <a:gd name="connsiteY42332" fmla="*/ 260251 h 7458372"/>
              <a:gd name="connsiteX42333" fmla="*/ 4823195 w 10505529"/>
              <a:gd name="connsiteY42333" fmla="*/ 259319 h 7458372"/>
              <a:gd name="connsiteX42334" fmla="*/ 4826922 w 10505529"/>
              <a:gd name="connsiteY42334" fmla="*/ 256923 h 7458372"/>
              <a:gd name="connsiteX42335" fmla="*/ 4829585 w 10505529"/>
              <a:gd name="connsiteY42335" fmla="*/ 252664 h 7458372"/>
              <a:gd name="connsiteX42336" fmla="*/ 4830650 w 10505529"/>
              <a:gd name="connsiteY42336" fmla="*/ 247206 h 7458372"/>
              <a:gd name="connsiteX42337" fmla="*/ 4829585 w 10505529"/>
              <a:gd name="connsiteY42337" fmla="*/ 242014 h 7458372"/>
              <a:gd name="connsiteX42338" fmla="*/ 4826922 w 10505529"/>
              <a:gd name="connsiteY42338" fmla="*/ 237888 h 7458372"/>
              <a:gd name="connsiteX42339" fmla="*/ 4822929 w 10505529"/>
              <a:gd name="connsiteY42339" fmla="*/ 235225 h 7458372"/>
              <a:gd name="connsiteX42340" fmla="*/ 4817870 w 10505529"/>
              <a:gd name="connsiteY42340" fmla="*/ 234160 h 7458372"/>
              <a:gd name="connsiteX42341" fmla="*/ 5035515 w 10505529"/>
              <a:gd name="connsiteY42341" fmla="*/ 234160 h 7458372"/>
              <a:gd name="connsiteX42342" fmla="*/ 5025532 w 10505529"/>
              <a:gd name="connsiteY42342" fmla="*/ 237755 h 7458372"/>
              <a:gd name="connsiteX42343" fmla="*/ 5021938 w 10505529"/>
              <a:gd name="connsiteY42343" fmla="*/ 247206 h 7458372"/>
              <a:gd name="connsiteX42344" fmla="*/ 5025532 w 10505529"/>
              <a:gd name="connsiteY42344" fmla="*/ 256790 h 7458372"/>
              <a:gd name="connsiteX42345" fmla="*/ 5035515 w 10505529"/>
              <a:gd name="connsiteY42345" fmla="*/ 260251 h 7458372"/>
              <a:gd name="connsiteX42346" fmla="*/ 5040840 w 10505529"/>
              <a:gd name="connsiteY42346" fmla="*/ 259319 h 7458372"/>
              <a:gd name="connsiteX42347" fmla="*/ 5044567 w 10505529"/>
              <a:gd name="connsiteY42347" fmla="*/ 256923 h 7458372"/>
              <a:gd name="connsiteX42348" fmla="*/ 5047230 w 10505529"/>
              <a:gd name="connsiteY42348" fmla="*/ 252664 h 7458372"/>
              <a:gd name="connsiteX42349" fmla="*/ 5048294 w 10505529"/>
              <a:gd name="connsiteY42349" fmla="*/ 247206 h 7458372"/>
              <a:gd name="connsiteX42350" fmla="*/ 5047230 w 10505529"/>
              <a:gd name="connsiteY42350" fmla="*/ 242014 h 7458372"/>
              <a:gd name="connsiteX42351" fmla="*/ 5044567 w 10505529"/>
              <a:gd name="connsiteY42351" fmla="*/ 237888 h 7458372"/>
              <a:gd name="connsiteX42352" fmla="*/ 5040574 w 10505529"/>
              <a:gd name="connsiteY42352" fmla="*/ 235225 h 7458372"/>
              <a:gd name="connsiteX42353" fmla="*/ 5035515 w 10505529"/>
              <a:gd name="connsiteY42353" fmla="*/ 234160 h 7458372"/>
              <a:gd name="connsiteX42354" fmla="*/ 5253160 w 10505529"/>
              <a:gd name="connsiteY42354" fmla="*/ 234160 h 7458372"/>
              <a:gd name="connsiteX42355" fmla="*/ 5243177 w 10505529"/>
              <a:gd name="connsiteY42355" fmla="*/ 237755 h 7458372"/>
              <a:gd name="connsiteX42356" fmla="*/ 5239583 w 10505529"/>
              <a:gd name="connsiteY42356" fmla="*/ 247206 h 7458372"/>
              <a:gd name="connsiteX42357" fmla="*/ 5243177 w 10505529"/>
              <a:gd name="connsiteY42357" fmla="*/ 256790 h 7458372"/>
              <a:gd name="connsiteX42358" fmla="*/ 5253160 w 10505529"/>
              <a:gd name="connsiteY42358" fmla="*/ 260251 h 7458372"/>
              <a:gd name="connsiteX42359" fmla="*/ 5258485 w 10505529"/>
              <a:gd name="connsiteY42359" fmla="*/ 259319 h 7458372"/>
              <a:gd name="connsiteX42360" fmla="*/ 5262212 w 10505529"/>
              <a:gd name="connsiteY42360" fmla="*/ 256923 h 7458372"/>
              <a:gd name="connsiteX42361" fmla="*/ 5264875 w 10505529"/>
              <a:gd name="connsiteY42361" fmla="*/ 252664 h 7458372"/>
              <a:gd name="connsiteX42362" fmla="*/ 5265939 w 10505529"/>
              <a:gd name="connsiteY42362" fmla="*/ 247206 h 7458372"/>
              <a:gd name="connsiteX42363" fmla="*/ 5264875 w 10505529"/>
              <a:gd name="connsiteY42363" fmla="*/ 242014 h 7458372"/>
              <a:gd name="connsiteX42364" fmla="*/ 5262212 w 10505529"/>
              <a:gd name="connsiteY42364" fmla="*/ 237887 h 7458372"/>
              <a:gd name="connsiteX42365" fmla="*/ 5258219 w 10505529"/>
              <a:gd name="connsiteY42365" fmla="*/ 235225 h 7458372"/>
              <a:gd name="connsiteX42366" fmla="*/ 5253160 w 10505529"/>
              <a:gd name="connsiteY42366" fmla="*/ 234160 h 7458372"/>
              <a:gd name="connsiteX42367" fmla="*/ 5470806 w 10505529"/>
              <a:gd name="connsiteY42367" fmla="*/ 234159 h 7458372"/>
              <a:gd name="connsiteX42368" fmla="*/ 5460822 w 10505529"/>
              <a:gd name="connsiteY42368" fmla="*/ 237754 h 7458372"/>
              <a:gd name="connsiteX42369" fmla="*/ 5457228 w 10505529"/>
              <a:gd name="connsiteY42369" fmla="*/ 247206 h 7458372"/>
              <a:gd name="connsiteX42370" fmla="*/ 5460822 w 10505529"/>
              <a:gd name="connsiteY42370" fmla="*/ 256790 h 7458372"/>
              <a:gd name="connsiteX42371" fmla="*/ 5470806 w 10505529"/>
              <a:gd name="connsiteY42371" fmla="*/ 260251 h 7458372"/>
              <a:gd name="connsiteX42372" fmla="*/ 5476130 w 10505529"/>
              <a:gd name="connsiteY42372" fmla="*/ 259319 h 7458372"/>
              <a:gd name="connsiteX42373" fmla="*/ 5479857 w 10505529"/>
              <a:gd name="connsiteY42373" fmla="*/ 256923 h 7458372"/>
              <a:gd name="connsiteX42374" fmla="*/ 5482520 w 10505529"/>
              <a:gd name="connsiteY42374" fmla="*/ 252664 h 7458372"/>
              <a:gd name="connsiteX42375" fmla="*/ 5483585 w 10505529"/>
              <a:gd name="connsiteY42375" fmla="*/ 247206 h 7458372"/>
              <a:gd name="connsiteX42376" fmla="*/ 5482520 w 10505529"/>
              <a:gd name="connsiteY42376" fmla="*/ 242013 h 7458372"/>
              <a:gd name="connsiteX42377" fmla="*/ 5479857 w 10505529"/>
              <a:gd name="connsiteY42377" fmla="*/ 237887 h 7458372"/>
              <a:gd name="connsiteX42378" fmla="*/ 5475864 w 10505529"/>
              <a:gd name="connsiteY42378" fmla="*/ 235224 h 7458372"/>
              <a:gd name="connsiteX42379" fmla="*/ 5470806 w 10505529"/>
              <a:gd name="connsiteY42379" fmla="*/ 234159 h 7458372"/>
              <a:gd name="connsiteX42380" fmla="*/ 5688451 w 10505529"/>
              <a:gd name="connsiteY42380" fmla="*/ 234159 h 7458372"/>
              <a:gd name="connsiteX42381" fmla="*/ 5678467 w 10505529"/>
              <a:gd name="connsiteY42381" fmla="*/ 237754 h 7458372"/>
              <a:gd name="connsiteX42382" fmla="*/ 5674873 w 10505529"/>
              <a:gd name="connsiteY42382" fmla="*/ 247205 h 7458372"/>
              <a:gd name="connsiteX42383" fmla="*/ 5678467 w 10505529"/>
              <a:gd name="connsiteY42383" fmla="*/ 256790 h 7458372"/>
              <a:gd name="connsiteX42384" fmla="*/ 5688451 w 10505529"/>
              <a:gd name="connsiteY42384" fmla="*/ 260251 h 7458372"/>
              <a:gd name="connsiteX42385" fmla="*/ 5693775 w 10505529"/>
              <a:gd name="connsiteY42385" fmla="*/ 259319 h 7458372"/>
              <a:gd name="connsiteX42386" fmla="*/ 5697502 w 10505529"/>
              <a:gd name="connsiteY42386" fmla="*/ 256923 h 7458372"/>
              <a:gd name="connsiteX42387" fmla="*/ 5700165 w 10505529"/>
              <a:gd name="connsiteY42387" fmla="*/ 252664 h 7458372"/>
              <a:gd name="connsiteX42388" fmla="*/ 5701230 w 10505529"/>
              <a:gd name="connsiteY42388" fmla="*/ 247205 h 7458372"/>
              <a:gd name="connsiteX42389" fmla="*/ 5700165 w 10505529"/>
              <a:gd name="connsiteY42389" fmla="*/ 242013 h 7458372"/>
              <a:gd name="connsiteX42390" fmla="*/ 5697502 w 10505529"/>
              <a:gd name="connsiteY42390" fmla="*/ 237887 h 7458372"/>
              <a:gd name="connsiteX42391" fmla="*/ 5693509 w 10505529"/>
              <a:gd name="connsiteY42391" fmla="*/ 235224 h 7458372"/>
              <a:gd name="connsiteX42392" fmla="*/ 5688451 w 10505529"/>
              <a:gd name="connsiteY42392" fmla="*/ 234159 h 7458372"/>
              <a:gd name="connsiteX42393" fmla="*/ 5905963 w 10505529"/>
              <a:gd name="connsiteY42393" fmla="*/ 234159 h 7458372"/>
              <a:gd name="connsiteX42394" fmla="*/ 5895979 w 10505529"/>
              <a:gd name="connsiteY42394" fmla="*/ 237754 h 7458372"/>
              <a:gd name="connsiteX42395" fmla="*/ 5892385 w 10505529"/>
              <a:gd name="connsiteY42395" fmla="*/ 247205 h 7458372"/>
              <a:gd name="connsiteX42396" fmla="*/ 5895979 w 10505529"/>
              <a:gd name="connsiteY42396" fmla="*/ 256790 h 7458372"/>
              <a:gd name="connsiteX42397" fmla="*/ 5905963 w 10505529"/>
              <a:gd name="connsiteY42397" fmla="*/ 260251 h 7458372"/>
              <a:gd name="connsiteX42398" fmla="*/ 5911287 w 10505529"/>
              <a:gd name="connsiteY42398" fmla="*/ 259319 h 7458372"/>
              <a:gd name="connsiteX42399" fmla="*/ 5915014 w 10505529"/>
              <a:gd name="connsiteY42399" fmla="*/ 256923 h 7458372"/>
              <a:gd name="connsiteX42400" fmla="*/ 5917677 w 10505529"/>
              <a:gd name="connsiteY42400" fmla="*/ 252663 h 7458372"/>
              <a:gd name="connsiteX42401" fmla="*/ 5918742 w 10505529"/>
              <a:gd name="connsiteY42401" fmla="*/ 247205 h 7458372"/>
              <a:gd name="connsiteX42402" fmla="*/ 5917677 w 10505529"/>
              <a:gd name="connsiteY42402" fmla="*/ 242013 h 7458372"/>
              <a:gd name="connsiteX42403" fmla="*/ 5915014 w 10505529"/>
              <a:gd name="connsiteY42403" fmla="*/ 237887 h 7458372"/>
              <a:gd name="connsiteX42404" fmla="*/ 5911021 w 10505529"/>
              <a:gd name="connsiteY42404" fmla="*/ 235224 h 7458372"/>
              <a:gd name="connsiteX42405" fmla="*/ 5905963 w 10505529"/>
              <a:gd name="connsiteY42405" fmla="*/ 234159 h 7458372"/>
              <a:gd name="connsiteX42406" fmla="*/ 6123608 w 10505529"/>
              <a:gd name="connsiteY42406" fmla="*/ 234159 h 7458372"/>
              <a:gd name="connsiteX42407" fmla="*/ 6113624 w 10505529"/>
              <a:gd name="connsiteY42407" fmla="*/ 237754 h 7458372"/>
              <a:gd name="connsiteX42408" fmla="*/ 6110030 w 10505529"/>
              <a:gd name="connsiteY42408" fmla="*/ 247205 h 7458372"/>
              <a:gd name="connsiteX42409" fmla="*/ 6113624 w 10505529"/>
              <a:gd name="connsiteY42409" fmla="*/ 256789 h 7458372"/>
              <a:gd name="connsiteX42410" fmla="*/ 6123608 w 10505529"/>
              <a:gd name="connsiteY42410" fmla="*/ 260250 h 7458372"/>
              <a:gd name="connsiteX42411" fmla="*/ 6128932 w 10505529"/>
              <a:gd name="connsiteY42411" fmla="*/ 259318 h 7458372"/>
              <a:gd name="connsiteX42412" fmla="*/ 6132659 w 10505529"/>
              <a:gd name="connsiteY42412" fmla="*/ 256922 h 7458372"/>
              <a:gd name="connsiteX42413" fmla="*/ 6135322 w 10505529"/>
              <a:gd name="connsiteY42413" fmla="*/ 252663 h 7458372"/>
              <a:gd name="connsiteX42414" fmla="*/ 6136387 w 10505529"/>
              <a:gd name="connsiteY42414" fmla="*/ 247205 h 7458372"/>
              <a:gd name="connsiteX42415" fmla="*/ 6135322 w 10505529"/>
              <a:gd name="connsiteY42415" fmla="*/ 242013 h 7458372"/>
              <a:gd name="connsiteX42416" fmla="*/ 6132659 w 10505529"/>
              <a:gd name="connsiteY42416" fmla="*/ 237887 h 7458372"/>
              <a:gd name="connsiteX42417" fmla="*/ 6128666 w 10505529"/>
              <a:gd name="connsiteY42417" fmla="*/ 235224 h 7458372"/>
              <a:gd name="connsiteX42418" fmla="*/ 6123608 w 10505529"/>
              <a:gd name="connsiteY42418" fmla="*/ 234159 h 7458372"/>
              <a:gd name="connsiteX42419" fmla="*/ 6341253 w 10505529"/>
              <a:gd name="connsiteY42419" fmla="*/ 234159 h 7458372"/>
              <a:gd name="connsiteX42420" fmla="*/ 6331270 w 10505529"/>
              <a:gd name="connsiteY42420" fmla="*/ 237754 h 7458372"/>
              <a:gd name="connsiteX42421" fmla="*/ 6327675 w 10505529"/>
              <a:gd name="connsiteY42421" fmla="*/ 247205 h 7458372"/>
              <a:gd name="connsiteX42422" fmla="*/ 6331270 w 10505529"/>
              <a:gd name="connsiteY42422" fmla="*/ 256789 h 7458372"/>
              <a:gd name="connsiteX42423" fmla="*/ 6341253 w 10505529"/>
              <a:gd name="connsiteY42423" fmla="*/ 260250 h 7458372"/>
              <a:gd name="connsiteX42424" fmla="*/ 6346578 w 10505529"/>
              <a:gd name="connsiteY42424" fmla="*/ 259318 h 7458372"/>
              <a:gd name="connsiteX42425" fmla="*/ 6350305 w 10505529"/>
              <a:gd name="connsiteY42425" fmla="*/ 256922 h 7458372"/>
              <a:gd name="connsiteX42426" fmla="*/ 6352968 w 10505529"/>
              <a:gd name="connsiteY42426" fmla="*/ 252663 h 7458372"/>
              <a:gd name="connsiteX42427" fmla="*/ 6354033 w 10505529"/>
              <a:gd name="connsiteY42427" fmla="*/ 247205 h 7458372"/>
              <a:gd name="connsiteX42428" fmla="*/ 6352968 w 10505529"/>
              <a:gd name="connsiteY42428" fmla="*/ 242013 h 7458372"/>
              <a:gd name="connsiteX42429" fmla="*/ 6350305 w 10505529"/>
              <a:gd name="connsiteY42429" fmla="*/ 237887 h 7458372"/>
              <a:gd name="connsiteX42430" fmla="*/ 6346312 w 10505529"/>
              <a:gd name="connsiteY42430" fmla="*/ 235224 h 7458372"/>
              <a:gd name="connsiteX42431" fmla="*/ 6341253 w 10505529"/>
              <a:gd name="connsiteY42431" fmla="*/ 234159 h 7458372"/>
              <a:gd name="connsiteX42432" fmla="*/ 6558899 w 10505529"/>
              <a:gd name="connsiteY42432" fmla="*/ 234159 h 7458372"/>
              <a:gd name="connsiteX42433" fmla="*/ 6548915 w 10505529"/>
              <a:gd name="connsiteY42433" fmla="*/ 237754 h 7458372"/>
              <a:gd name="connsiteX42434" fmla="*/ 6545321 w 10505529"/>
              <a:gd name="connsiteY42434" fmla="*/ 247205 h 7458372"/>
              <a:gd name="connsiteX42435" fmla="*/ 6548915 w 10505529"/>
              <a:gd name="connsiteY42435" fmla="*/ 256789 h 7458372"/>
              <a:gd name="connsiteX42436" fmla="*/ 6558899 w 10505529"/>
              <a:gd name="connsiteY42436" fmla="*/ 260250 h 7458372"/>
              <a:gd name="connsiteX42437" fmla="*/ 6564223 w 10505529"/>
              <a:gd name="connsiteY42437" fmla="*/ 259318 h 7458372"/>
              <a:gd name="connsiteX42438" fmla="*/ 6567950 w 10505529"/>
              <a:gd name="connsiteY42438" fmla="*/ 256922 h 7458372"/>
              <a:gd name="connsiteX42439" fmla="*/ 6570612 w 10505529"/>
              <a:gd name="connsiteY42439" fmla="*/ 252663 h 7458372"/>
              <a:gd name="connsiteX42440" fmla="*/ 6571677 w 10505529"/>
              <a:gd name="connsiteY42440" fmla="*/ 247205 h 7458372"/>
              <a:gd name="connsiteX42441" fmla="*/ 6570612 w 10505529"/>
              <a:gd name="connsiteY42441" fmla="*/ 242013 h 7458372"/>
              <a:gd name="connsiteX42442" fmla="*/ 6567950 w 10505529"/>
              <a:gd name="connsiteY42442" fmla="*/ 237887 h 7458372"/>
              <a:gd name="connsiteX42443" fmla="*/ 6563956 w 10505529"/>
              <a:gd name="connsiteY42443" fmla="*/ 235224 h 7458372"/>
              <a:gd name="connsiteX42444" fmla="*/ 6558899 w 10505529"/>
              <a:gd name="connsiteY42444" fmla="*/ 234159 h 7458372"/>
              <a:gd name="connsiteX42445" fmla="*/ 6776544 w 10505529"/>
              <a:gd name="connsiteY42445" fmla="*/ 234159 h 7458372"/>
              <a:gd name="connsiteX42446" fmla="*/ 6766560 w 10505529"/>
              <a:gd name="connsiteY42446" fmla="*/ 237754 h 7458372"/>
              <a:gd name="connsiteX42447" fmla="*/ 6762966 w 10505529"/>
              <a:gd name="connsiteY42447" fmla="*/ 247205 h 7458372"/>
              <a:gd name="connsiteX42448" fmla="*/ 6766560 w 10505529"/>
              <a:gd name="connsiteY42448" fmla="*/ 256789 h 7458372"/>
              <a:gd name="connsiteX42449" fmla="*/ 6776544 w 10505529"/>
              <a:gd name="connsiteY42449" fmla="*/ 260250 h 7458372"/>
              <a:gd name="connsiteX42450" fmla="*/ 6781869 w 10505529"/>
              <a:gd name="connsiteY42450" fmla="*/ 259318 h 7458372"/>
              <a:gd name="connsiteX42451" fmla="*/ 6785595 w 10505529"/>
              <a:gd name="connsiteY42451" fmla="*/ 256922 h 7458372"/>
              <a:gd name="connsiteX42452" fmla="*/ 6788258 w 10505529"/>
              <a:gd name="connsiteY42452" fmla="*/ 252663 h 7458372"/>
              <a:gd name="connsiteX42453" fmla="*/ 6789323 w 10505529"/>
              <a:gd name="connsiteY42453" fmla="*/ 247205 h 7458372"/>
              <a:gd name="connsiteX42454" fmla="*/ 6788258 w 10505529"/>
              <a:gd name="connsiteY42454" fmla="*/ 242013 h 7458372"/>
              <a:gd name="connsiteX42455" fmla="*/ 6785595 w 10505529"/>
              <a:gd name="connsiteY42455" fmla="*/ 237887 h 7458372"/>
              <a:gd name="connsiteX42456" fmla="*/ 6781602 w 10505529"/>
              <a:gd name="connsiteY42456" fmla="*/ 235224 h 7458372"/>
              <a:gd name="connsiteX42457" fmla="*/ 6776544 w 10505529"/>
              <a:gd name="connsiteY42457" fmla="*/ 234159 h 7458372"/>
              <a:gd name="connsiteX42458" fmla="*/ 6994056 w 10505529"/>
              <a:gd name="connsiteY42458" fmla="*/ 234159 h 7458372"/>
              <a:gd name="connsiteX42459" fmla="*/ 6984072 w 10505529"/>
              <a:gd name="connsiteY42459" fmla="*/ 237754 h 7458372"/>
              <a:gd name="connsiteX42460" fmla="*/ 6980478 w 10505529"/>
              <a:gd name="connsiteY42460" fmla="*/ 247205 h 7458372"/>
              <a:gd name="connsiteX42461" fmla="*/ 6984072 w 10505529"/>
              <a:gd name="connsiteY42461" fmla="*/ 256789 h 7458372"/>
              <a:gd name="connsiteX42462" fmla="*/ 6994056 w 10505529"/>
              <a:gd name="connsiteY42462" fmla="*/ 260250 h 7458372"/>
              <a:gd name="connsiteX42463" fmla="*/ 6999380 w 10505529"/>
              <a:gd name="connsiteY42463" fmla="*/ 259318 h 7458372"/>
              <a:gd name="connsiteX42464" fmla="*/ 7003107 w 10505529"/>
              <a:gd name="connsiteY42464" fmla="*/ 256922 h 7458372"/>
              <a:gd name="connsiteX42465" fmla="*/ 7005769 w 10505529"/>
              <a:gd name="connsiteY42465" fmla="*/ 252663 h 7458372"/>
              <a:gd name="connsiteX42466" fmla="*/ 7006834 w 10505529"/>
              <a:gd name="connsiteY42466" fmla="*/ 247205 h 7458372"/>
              <a:gd name="connsiteX42467" fmla="*/ 7005769 w 10505529"/>
              <a:gd name="connsiteY42467" fmla="*/ 242013 h 7458372"/>
              <a:gd name="connsiteX42468" fmla="*/ 7003107 w 10505529"/>
              <a:gd name="connsiteY42468" fmla="*/ 237887 h 7458372"/>
              <a:gd name="connsiteX42469" fmla="*/ 6999113 w 10505529"/>
              <a:gd name="connsiteY42469" fmla="*/ 235224 h 7458372"/>
              <a:gd name="connsiteX42470" fmla="*/ 6994056 w 10505529"/>
              <a:gd name="connsiteY42470" fmla="*/ 234159 h 7458372"/>
              <a:gd name="connsiteX42471" fmla="*/ 7211701 w 10505529"/>
              <a:gd name="connsiteY42471" fmla="*/ 234159 h 7458372"/>
              <a:gd name="connsiteX42472" fmla="*/ 7201717 w 10505529"/>
              <a:gd name="connsiteY42472" fmla="*/ 237754 h 7458372"/>
              <a:gd name="connsiteX42473" fmla="*/ 7198123 w 10505529"/>
              <a:gd name="connsiteY42473" fmla="*/ 247205 h 7458372"/>
              <a:gd name="connsiteX42474" fmla="*/ 7201717 w 10505529"/>
              <a:gd name="connsiteY42474" fmla="*/ 256789 h 7458372"/>
              <a:gd name="connsiteX42475" fmla="*/ 7211701 w 10505529"/>
              <a:gd name="connsiteY42475" fmla="*/ 260250 h 7458372"/>
              <a:gd name="connsiteX42476" fmla="*/ 7217026 w 10505529"/>
              <a:gd name="connsiteY42476" fmla="*/ 259318 h 7458372"/>
              <a:gd name="connsiteX42477" fmla="*/ 7220752 w 10505529"/>
              <a:gd name="connsiteY42477" fmla="*/ 256922 h 7458372"/>
              <a:gd name="connsiteX42478" fmla="*/ 7223415 w 10505529"/>
              <a:gd name="connsiteY42478" fmla="*/ 252663 h 7458372"/>
              <a:gd name="connsiteX42479" fmla="*/ 7224480 w 10505529"/>
              <a:gd name="connsiteY42479" fmla="*/ 247205 h 7458372"/>
              <a:gd name="connsiteX42480" fmla="*/ 7223415 w 10505529"/>
              <a:gd name="connsiteY42480" fmla="*/ 242013 h 7458372"/>
              <a:gd name="connsiteX42481" fmla="*/ 7220752 w 10505529"/>
              <a:gd name="connsiteY42481" fmla="*/ 237887 h 7458372"/>
              <a:gd name="connsiteX42482" fmla="*/ 7216759 w 10505529"/>
              <a:gd name="connsiteY42482" fmla="*/ 235224 h 7458372"/>
              <a:gd name="connsiteX42483" fmla="*/ 7211701 w 10505529"/>
              <a:gd name="connsiteY42483" fmla="*/ 234159 h 7458372"/>
              <a:gd name="connsiteX42484" fmla="*/ 7429345 w 10505529"/>
              <a:gd name="connsiteY42484" fmla="*/ 234158 h 7458372"/>
              <a:gd name="connsiteX42485" fmla="*/ 7419361 w 10505529"/>
              <a:gd name="connsiteY42485" fmla="*/ 237753 h 7458372"/>
              <a:gd name="connsiteX42486" fmla="*/ 7415768 w 10505529"/>
              <a:gd name="connsiteY42486" fmla="*/ 247205 h 7458372"/>
              <a:gd name="connsiteX42487" fmla="*/ 7419361 w 10505529"/>
              <a:gd name="connsiteY42487" fmla="*/ 256789 h 7458372"/>
              <a:gd name="connsiteX42488" fmla="*/ 7429345 w 10505529"/>
              <a:gd name="connsiteY42488" fmla="*/ 260250 h 7458372"/>
              <a:gd name="connsiteX42489" fmla="*/ 7434670 w 10505529"/>
              <a:gd name="connsiteY42489" fmla="*/ 259318 h 7458372"/>
              <a:gd name="connsiteX42490" fmla="*/ 7438397 w 10505529"/>
              <a:gd name="connsiteY42490" fmla="*/ 256922 h 7458372"/>
              <a:gd name="connsiteX42491" fmla="*/ 7441059 w 10505529"/>
              <a:gd name="connsiteY42491" fmla="*/ 252663 h 7458372"/>
              <a:gd name="connsiteX42492" fmla="*/ 7442124 w 10505529"/>
              <a:gd name="connsiteY42492" fmla="*/ 247205 h 7458372"/>
              <a:gd name="connsiteX42493" fmla="*/ 7441059 w 10505529"/>
              <a:gd name="connsiteY42493" fmla="*/ 242013 h 7458372"/>
              <a:gd name="connsiteX42494" fmla="*/ 7438397 w 10505529"/>
              <a:gd name="connsiteY42494" fmla="*/ 237886 h 7458372"/>
              <a:gd name="connsiteX42495" fmla="*/ 7434403 w 10505529"/>
              <a:gd name="connsiteY42495" fmla="*/ 235223 h 7458372"/>
              <a:gd name="connsiteX42496" fmla="*/ 7429345 w 10505529"/>
              <a:gd name="connsiteY42496" fmla="*/ 234158 h 7458372"/>
              <a:gd name="connsiteX42497" fmla="*/ 7646991 w 10505529"/>
              <a:gd name="connsiteY42497" fmla="*/ 234158 h 7458372"/>
              <a:gd name="connsiteX42498" fmla="*/ 7637007 w 10505529"/>
              <a:gd name="connsiteY42498" fmla="*/ 237753 h 7458372"/>
              <a:gd name="connsiteX42499" fmla="*/ 7633413 w 10505529"/>
              <a:gd name="connsiteY42499" fmla="*/ 247205 h 7458372"/>
              <a:gd name="connsiteX42500" fmla="*/ 7637007 w 10505529"/>
              <a:gd name="connsiteY42500" fmla="*/ 256789 h 7458372"/>
              <a:gd name="connsiteX42501" fmla="*/ 7646991 w 10505529"/>
              <a:gd name="connsiteY42501" fmla="*/ 260250 h 7458372"/>
              <a:gd name="connsiteX42502" fmla="*/ 7652315 w 10505529"/>
              <a:gd name="connsiteY42502" fmla="*/ 259318 h 7458372"/>
              <a:gd name="connsiteX42503" fmla="*/ 7656042 w 10505529"/>
              <a:gd name="connsiteY42503" fmla="*/ 256922 h 7458372"/>
              <a:gd name="connsiteX42504" fmla="*/ 7658705 w 10505529"/>
              <a:gd name="connsiteY42504" fmla="*/ 252663 h 7458372"/>
              <a:gd name="connsiteX42505" fmla="*/ 7659769 w 10505529"/>
              <a:gd name="connsiteY42505" fmla="*/ 247205 h 7458372"/>
              <a:gd name="connsiteX42506" fmla="*/ 7658705 w 10505529"/>
              <a:gd name="connsiteY42506" fmla="*/ 242012 h 7458372"/>
              <a:gd name="connsiteX42507" fmla="*/ 7656042 w 10505529"/>
              <a:gd name="connsiteY42507" fmla="*/ 237886 h 7458372"/>
              <a:gd name="connsiteX42508" fmla="*/ 7652049 w 10505529"/>
              <a:gd name="connsiteY42508" fmla="*/ 235223 h 7458372"/>
              <a:gd name="connsiteX42509" fmla="*/ 7646991 w 10505529"/>
              <a:gd name="connsiteY42509" fmla="*/ 234158 h 7458372"/>
              <a:gd name="connsiteX42510" fmla="*/ 7864636 w 10505529"/>
              <a:gd name="connsiteY42510" fmla="*/ 234158 h 7458372"/>
              <a:gd name="connsiteX42511" fmla="*/ 7854652 w 10505529"/>
              <a:gd name="connsiteY42511" fmla="*/ 237753 h 7458372"/>
              <a:gd name="connsiteX42512" fmla="*/ 7851058 w 10505529"/>
              <a:gd name="connsiteY42512" fmla="*/ 247204 h 7458372"/>
              <a:gd name="connsiteX42513" fmla="*/ 7854652 w 10505529"/>
              <a:gd name="connsiteY42513" fmla="*/ 256789 h 7458372"/>
              <a:gd name="connsiteX42514" fmla="*/ 7864636 w 10505529"/>
              <a:gd name="connsiteY42514" fmla="*/ 260250 h 7458372"/>
              <a:gd name="connsiteX42515" fmla="*/ 7869961 w 10505529"/>
              <a:gd name="connsiteY42515" fmla="*/ 259318 h 7458372"/>
              <a:gd name="connsiteX42516" fmla="*/ 7873687 w 10505529"/>
              <a:gd name="connsiteY42516" fmla="*/ 256922 h 7458372"/>
              <a:gd name="connsiteX42517" fmla="*/ 7876350 w 10505529"/>
              <a:gd name="connsiteY42517" fmla="*/ 252662 h 7458372"/>
              <a:gd name="connsiteX42518" fmla="*/ 7877282 w 10505529"/>
              <a:gd name="connsiteY42518" fmla="*/ 247204 h 7458372"/>
              <a:gd name="connsiteX42519" fmla="*/ 7876350 w 10505529"/>
              <a:gd name="connsiteY42519" fmla="*/ 242012 h 7458372"/>
              <a:gd name="connsiteX42520" fmla="*/ 7873687 w 10505529"/>
              <a:gd name="connsiteY42520" fmla="*/ 237886 h 7458372"/>
              <a:gd name="connsiteX42521" fmla="*/ 7869694 w 10505529"/>
              <a:gd name="connsiteY42521" fmla="*/ 235223 h 7458372"/>
              <a:gd name="connsiteX42522" fmla="*/ 7864636 w 10505529"/>
              <a:gd name="connsiteY42522" fmla="*/ 234158 h 7458372"/>
              <a:gd name="connsiteX42523" fmla="*/ 8082281 w 10505529"/>
              <a:gd name="connsiteY42523" fmla="*/ 234158 h 7458372"/>
              <a:gd name="connsiteX42524" fmla="*/ 8072297 w 10505529"/>
              <a:gd name="connsiteY42524" fmla="*/ 237753 h 7458372"/>
              <a:gd name="connsiteX42525" fmla="*/ 8068703 w 10505529"/>
              <a:gd name="connsiteY42525" fmla="*/ 247204 h 7458372"/>
              <a:gd name="connsiteX42526" fmla="*/ 8072297 w 10505529"/>
              <a:gd name="connsiteY42526" fmla="*/ 256788 h 7458372"/>
              <a:gd name="connsiteX42527" fmla="*/ 8082281 w 10505529"/>
              <a:gd name="connsiteY42527" fmla="*/ 260249 h 7458372"/>
              <a:gd name="connsiteX42528" fmla="*/ 8087605 w 10505529"/>
              <a:gd name="connsiteY42528" fmla="*/ 259317 h 7458372"/>
              <a:gd name="connsiteX42529" fmla="*/ 8091332 w 10505529"/>
              <a:gd name="connsiteY42529" fmla="*/ 256921 h 7458372"/>
              <a:gd name="connsiteX42530" fmla="*/ 8093994 w 10505529"/>
              <a:gd name="connsiteY42530" fmla="*/ 252662 h 7458372"/>
              <a:gd name="connsiteX42531" fmla="*/ 8094926 w 10505529"/>
              <a:gd name="connsiteY42531" fmla="*/ 247204 h 7458372"/>
              <a:gd name="connsiteX42532" fmla="*/ 8093994 w 10505529"/>
              <a:gd name="connsiteY42532" fmla="*/ 242012 h 7458372"/>
              <a:gd name="connsiteX42533" fmla="*/ 8091332 w 10505529"/>
              <a:gd name="connsiteY42533" fmla="*/ 237886 h 7458372"/>
              <a:gd name="connsiteX42534" fmla="*/ 8087338 w 10505529"/>
              <a:gd name="connsiteY42534" fmla="*/ 235223 h 7458372"/>
              <a:gd name="connsiteX42535" fmla="*/ 8082281 w 10505529"/>
              <a:gd name="connsiteY42535" fmla="*/ 234158 h 7458372"/>
              <a:gd name="connsiteX42536" fmla="*/ 8299793 w 10505529"/>
              <a:gd name="connsiteY42536" fmla="*/ 234158 h 7458372"/>
              <a:gd name="connsiteX42537" fmla="*/ 8289809 w 10505529"/>
              <a:gd name="connsiteY42537" fmla="*/ 237753 h 7458372"/>
              <a:gd name="connsiteX42538" fmla="*/ 8286215 w 10505529"/>
              <a:gd name="connsiteY42538" fmla="*/ 247204 h 7458372"/>
              <a:gd name="connsiteX42539" fmla="*/ 8289809 w 10505529"/>
              <a:gd name="connsiteY42539" fmla="*/ 256788 h 7458372"/>
              <a:gd name="connsiteX42540" fmla="*/ 8299793 w 10505529"/>
              <a:gd name="connsiteY42540" fmla="*/ 260249 h 7458372"/>
              <a:gd name="connsiteX42541" fmla="*/ 8305118 w 10505529"/>
              <a:gd name="connsiteY42541" fmla="*/ 259317 h 7458372"/>
              <a:gd name="connsiteX42542" fmla="*/ 8308844 w 10505529"/>
              <a:gd name="connsiteY42542" fmla="*/ 256921 h 7458372"/>
              <a:gd name="connsiteX42543" fmla="*/ 8311507 w 10505529"/>
              <a:gd name="connsiteY42543" fmla="*/ 252662 h 7458372"/>
              <a:gd name="connsiteX42544" fmla="*/ 8312439 w 10505529"/>
              <a:gd name="connsiteY42544" fmla="*/ 247204 h 7458372"/>
              <a:gd name="connsiteX42545" fmla="*/ 8311507 w 10505529"/>
              <a:gd name="connsiteY42545" fmla="*/ 242012 h 7458372"/>
              <a:gd name="connsiteX42546" fmla="*/ 8308844 w 10505529"/>
              <a:gd name="connsiteY42546" fmla="*/ 237886 h 7458372"/>
              <a:gd name="connsiteX42547" fmla="*/ 8304851 w 10505529"/>
              <a:gd name="connsiteY42547" fmla="*/ 235223 h 7458372"/>
              <a:gd name="connsiteX42548" fmla="*/ 8299793 w 10505529"/>
              <a:gd name="connsiteY42548" fmla="*/ 234158 h 7458372"/>
              <a:gd name="connsiteX42549" fmla="*/ 8517438 w 10505529"/>
              <a:gd name="connsiteY42549" fmla="*/ 234158 h 7458372"/>
              <a:gd name="connsiteX42550" fmla="*/ 8507453 w 10505529"/>
              <a:gd name="connsiteY42550" fmla="*/ 237753 h 7458372"/>
              <a:gd name="connsiteX42551" fmla="*/ 8503860 w 10505529"/>
              <a:gd name="connsiteY42551" fmla="*/ 247204 h 7458372"/>
              <a:gd name="connsiteX42552" fmla="*/ 8507453 w 10505529"/>
              <a:gd name="connsiteY42552" fmla="*/ 256788 h 7458372"/>
              <a:gd name="connsiteX42553" fmla="*/ 8517438 w 10505529"/>
              <a:gd name="connsiteY42553" fmla="*/ 260249 h 7458372"/>
              <a:gd name="connsiteX42554" fmla="*/ 8522763 w 10505529"/>
              <a:gd name="connsiteY42554" fmla="*/ 259317 h 7458372"/>
              <a:gd name="connsiteX42555" fmla="*/ 8526490 w 10505529"/>
              <a:gd name="connsiteY42555" fmla="*/ 256921 h 7458372"/>
              <a:gd name="connsiteX42556" fmla="*/ 8529152 w 10505529"/>
              <a:gd name="connsiteY42556" fmla="*/ 252662 h 7458372"/>
              <a:gd name="connsiteX42557" fmla="*/ 8530084 w 10505529"/>
              <a:gd name="connsiteY42557" fmla="*/ 247204 h 7458372"/>
              <a:gd name="connsiteX42558" fmla="*/ 8529152 w 10505529"/>
              <a:gd name="connsiteY42558" fmla="*/ 242012 h 7458372"/>
              <a:gd name="connsiteX42559" fmla="*/ 8526490 w 10505529"/>
              <a:gd name="connsiteY42559" fmla="*/ 237886 h 7458372"/>
              <a:gd name="connsiteX42560" fmla="*/ 8522496 w 10505529"/>
              <a:gd name="connsiteY42560" fmla="*/ 235223 h 7458372"/>
              <a:gd name="connsiteX42561" fmla="*/ 8517438 w 10505529"/>
              <a:gd name="connsiteY42561" fmla="*/ 234158 h 7458372"/>
              <a:gd name="connsiteX42562" fmla="*/ 8735083 w 10505529"/>
              <a:gd name="connsiteY42562" fmla="*/ 234158 h 7458372"/>
              <a:gd name="connsiteX42563" fmla="*/ 8725098 w 10505529"/>
              <a:gd name="connsiteY42563" fmla="*/ 237753 h 7458372"/>
              <a:gd name="connsiteX42564" fmla="*/ 8721504 w 10505529"/>
              <a:gd name="connsiteY42564" fmla="*/ 247204 h 7458372"/>
              <a:gd name="connsiteX42565" fmla="*/ 8725098 w 10505529"/>
              <a:gd name="connsiteY42565" fmla="*/ 256788 h 7458372"/>
              <a:gd name="connsiteX42566" fmla="*/ 8735083 w 10505529"/>
              <a:gd name="connsiteY42566" fmla="*/ 260249 h 7458372"/>
              <a:gd name="connsiteX42567" fmla="*/ 8740407 w 10505529"/>
              <a:gd name="connsiteY42567" fmla="*/ 259317 h 7458372"/>
              <a:gd name="connsiteX42568" fmla="*/ 8744134 w 10505529"/>
              <a:gd name="connsiteY42568" fmla="*/ 256921 h 7458372"/>
              <a:gd name="connsiteX42569" fmla="*/ 8746797 w 10505529"/>
              <a:gd name="connsiteY42569" fmla="*/ 252662 h 7458372"/>
              <a:gd name="connsiteX42570" fmla="*/ 8747862 w 10505529"/>
              <a:gd name="connsiteY42570" fmla="*/ 247204 h 7458372"/>
              <a:gd name="connsiteX42571" fmla="*/ 8746797 w 10505529"/>
              <a:gd name="connsiteY42571" fmla="*/ 242012 h 7458372"/>
              <a:gd name="connsiteX42572" fmla="*/ 8744134 w 10505529"/>
              <a:gd name="connsiteY42572" fmla="*/ 237886 h 7458372"/>
              <a:gd name="connsiteX42573" fmla="*/ 8740141 w 10505529"/>
              <a:gd name="connsiteY42573" fmla="*/ 235223 h 7458372"/>
              <a:gd name="connsiteX42574" fmla="*/ 8735083 w 10505529"/>
              <a:gd name="connsiteY42574" fmla="*/ 234158 h 7458372"/>
              <a:gd name="connsiteX42575" fmla="*/ 8952728 w 10505529"/>
              <a:gd name="connsiteY42575" fmla="*/ 234158 h 7458372"/>
              <a:gd name="connsiteX42576" fmla="*/ 8942743 w 10505529"/>
              <a:gd name="connsiteY42576" fmla="*/ 237753 h 7458372"/>
              <a:gd name="connsiteX42577" fmla="*/ 8939150 w 10505529"/>
              <a:gd name="connsiteY42577" fmla="*/ 247204 h 7458372"/>
              <a:gd name="connsiteX42578" fmla="*/ 8942743 w 10505529"/>
              <a:gd name="connsiteY42578" fmla="*/ 256788 h 7458372"/>
              <a:gd name="connsiteX42579" fmla="*/ 8952728 w 10505529"/>
              <a:gd name="connsiteY42579" fmla="*/ 260249 h 7458372"/>
              <a:gd name="connsiteX42580" fmla="*/ 8958053 w 10505529"/>
              <a:gd name="connsiteY42580" fmla="*/ 259317 h 7458372"/>
              <a:gd name="connsiteX42581" fmla="*/ 8961780 w 10505529"/>
              <a:gd name="connsiteY42581" fmla="*/ 256921 h 7458372"/>
              <a:gd name="connsiteX42582" fmla="*/ 8964442 w 10505529"/>
              <a:gd name="connsiteY42582" fmla="*/ 252662 h 7458372"/>
              <a:gd name="connsiteX42583" fmla="*/ 8965507 w 10505529"/>
              <a:gd name="connsiteY42583" fmla="*/ 247204 h 7458372"/>
              <a:gd name="connsiteX42584" fmla="*/ 8964442 w 10505529"/>
              <a:gd name="connsiteY42584" fmla="*/ 242012 h 7458372"/>
              <a:gd name="connsiteX42585" fmla="*/ 8961780 w 10505529"/>
              <a:gd name="connsiteY42585" fmla="*/ 237886 h 7458372"/>
              <a:gd name="connsiteX42586" fmla="*/ 8957786 w 10505529"/>
              <a:gd name="connsiteY42586" fmla="*/ 235223 h 7458372"/>
              <a:gd name="connsiteX42587" fmla="*/ 8952728 w 10505529"/>
              <a:gd name="connsiteY42587" fmla="*/ 234158 h 7458372"/>
              <a:gd name="connsiteX42588" fmla="*/ 9170374 w 10505529"/>
              <a:gd name="connsiteY42588" fmla="*/ 234158 h 7458372"/>
              <a:gd name="connsiteX42589" fmla="*/ 9160389 w 10505529"/>
              <a:gd name="connsiteY42589" fmla="*/ 237753 h 7458372"/>
              <a:gd name="connsiteX42590" fmla="*/ 9156795 w 10505529"/>
              <a:gd name="connsiteY42590" fmla="*/ 247204 h 7458372"/>
              <a:gd name="connsiteX42591" fmla="*/ 9160389 w 10505529"/>
              <a:gd name="connsiteY42591" fmla="*/ 256788 h 7458372"/>
              <a:gd name="connsiteX42592" fmla="*/ 9170374 w 10505529"/>
              <a:gd name="connsiteY42592" fmla="*/ 260249 h 7458372"/>
              <a:gd name="connsiteX42593" fmla="*/ 9175698 w 10505529"/>
              <a:gd name="connsiteY42593" fmla="*/ 259317 h 7458372"/>
              <a:gd name="connsiteX42594" fmla="*/ 9179425 w 10505529"/>
              <a:gd name="connsiteY42594" fmla="*/ 256921 h 7458372"/>
              <a:gd name="connsiteX42595" fmla="*/ 9182088 w 10505529"/>
              <a:gd name="connsiteY42595" fmla="*/ 252662 h 7458372"/>
              <a:gd name="connsiteX42596" fmla="*/ 9183152 w 10505529"/>
              <a:gd name="connsiteY42596" fmla="*/ 247204 h 7458372"/>
              <a:gd name="connsiteX42597" fmla="*/ 9182088 w 10505529"/>
              <a:gd name="connsiteY42597" fmla="*/ 242012 h 7458372"/>
              <a:gd name="connsiteX42598" fmla="*/ 9179425 w 10505529"/>
              <a:gd name="connsiteY42598" fmla="*/ 237886 h 7458372"/>
              <a:gd name="connsiteX42599" fmla="*/ 9175432 w 10505529"/>
              <a:gd name="connsiteY42599" fmla="*/ 235223 h 7458372"/>
              <a:gd name="connsiteX42600" fmla="*/ 9170374 w 10505529"/>
              <a:gd name="connsiteY42600" fmla="*/ 234158 h 7458372"/>
              <a:gd name="connsiteX42601" fmla="*/ 9387885 w 10505529"/>
              <a:gd name="connsiteY42601" fmla="*/ 234157 h 7458372"/>
              <a:gd name="connsiteX42602" fmla="*/ 9377900 w 10505529"/>
              <a:gd name="connsiteY42602" fmla="*/ 237752 h 7458372"/>
              <a:gd name="connsiteX42603" fmla="*/ 9374307 w 10505529"/>
              <a:gd name="connsiteY42603" fmla="*/ 247204 h 7458372"/>
              <a:gd name="connsiteX42604" fmla="*/ 9377900 w 10505529"/>
              <a:gd name="connsiteY42604" fmla="*/ 256788 h 7458372"/>
              <a:gd name="connsiteX42605" fmla="*/ 9387885 w 10505529"/>
              <a:gd name="connsiteY42605" fmla="*/ 260249 h 7458372"/>
              <a:gd name="connsiteX42606" fmla="*/ 9393210 w 10505529"/>
              <a:gd name="connsiteY42606" fmla="*/ 259317 h 7458372"/>
              <a:gd name="connsiteX42607" fmla="*/ 9396937 w 10505529"/>
              <a:gd name="connsiteY42607" fmla="*/ 256921 h 7458372"/>
              <a:gd name="connsiteX42608" fmla="*/ 9399599 w 10505529"/>
              <a:gd name="connsiteY42608" fmla="*/ 252662 h 7458372"/>
              <a:gd name="connsiteX42609" fmla="*/ 9400664 w 10505529"/>
              <a:gd name="connsiteY42609" fmla="*/ 247204 h 7458372"/>
              <a:gd name="connsiteX42610" fmla="*/ 9399599 w 10505529"/>
              <a:gd name="connsiteY42610" fmla="*/ 242012 h 7458372"/>
              <a:gd name="connsiteX42611" fmla="*/ 9396937 w 10505529"/>
              <a:gd name="connsiteY42611" fmla="*/ 237885 h 7458372"/>
              <a:gd name="connsiteX42612" fmla="*/ 9392943 w 10505529"/>
              <a:gd name="connsiteY42612" fmla="*/ 235222 h 7458372"/>
              <a:gd name="connsiteX42613" fmla="*/ 9387885 w 10505529"/>
              <a:gd name="connsiteY42613" fmla="*/ 234157 h 7458372"/>
              <a:gd name="connsiteX42614" fmla="*/ 9605531 w 10505529"/>
              <a:gd name="connsiteY42614" fmla="*/ 234157 h 7458372"/>
              <a:gd name="connsiteX42615" fmla="*/ 9595546 w 10505529"/>
              <a:gd name="connsiteY42615" fmla="*/ 237752 h 7458372"/>
              <a:gd name="connsiteX42616" fmla="*/ 9591952 w 10505529"/>
              <a:gd name="connsiteY42616" fmla="*/ 247204 h 7458372"/>
              <a:gd name="connsiteX42617" fmla="*/ 9595546 w 10505529"/>
              <a:gd name="connsiteY42617" fmla="*/ 256788 h 7458372"/>
              <a:gd name="connsiteX42618" fmla="*/ 9605531 w 10505529"/>
              <a:gd name="connsiteY42618" fmla="*/ 260249 h 7458372"/>
              <a:gd name="connsiteX42619" fmla="*/ 9610855 w 10505529"/>
              <a:gd name="connsiteY42619" fmla="*/ 259317 h 7458372"/>
              <a:gd name="connsiteX42620" fmla="*/ 9614582 w 10505529"/>
              <a:gd name="connsiteY42620" fmla="*/ 256921 h 7458372"/>
              <a:gd name="connsiteX42621" fmla="*/ 9617245 w 10505529"/>
              <a:gd name="connsiteY42621" fmla="*/ 252662 h 7458372"/>
              <a:gd name="connsiteX42622" fmla="*/ 9618309 w 10505529"/>
              <a:gd name="connsiteY42622" fmla="*/ 247204 h 7458372"/>
              <a:gd name="connsiteX42623" fmla="*/ 9617245 w 10505529"/>
              <a:gd name="connsiteY42623" fmla="*/ 242011 h 7458372"/>
              <a:gd name="connsiteX42624" fmla="*/ 9614582 w 10505529"/>
              <a:gd name="connsiteY42624" fmla="*/ 237885 h 7458372"/>
              <a:gd name="connsiteX42625" fmla="*/ 9610589 w 10505529"/>
              <a:gd name="connsiteY42625" fmla="*/ 235222 h 7458372"/>
              <a:gd name="connsiteX42626" fmla="*/ 9605531 w 10505529"/>
              <a:gd name="connsiteY42626" fmla="*/ 234157 h 7458372"/>
              <a:gd name="connsiteX42627" fmla="*/ 9823176 w 10505529"/>
              <a:gd name="connsiteY42627" fmla="*/ 234157 h 7458372"/>
              <a:gd name="connsiteX42628" fmla="*/ 9813191 w 10505529"/>
              <a:gd name="connsiteY42628" fmla="*/ 237752 h 7458372"/>
              <a:gd name="connsiteX42629" fmla="*/ 9809597 w 10505529"/>
              <a:gd name="connsiteY42629" fmla="*/ 247203 h 7458372"/>
              <a:gd name="connsiteX42630" fmla="*/ 9813191 w 10505529"/>
              <a:gd name="connsiteY42630" fmla="*/ 256788 h 7458372"/>
              <a:gd name="connsiteX42631" fmla="*/ 9823176 w 10505529"/>
              <a:gd name="connsiteY42631" fmla="*/ 260249 h 7458372"/>
              <a:gd name="connsiteX42632" fmla="*/ 9828501 w 10505529"/>
              <a:gd name="connsiteY42632" fmla="*/ 259317 h 7458372"/>
              <a:gd name="connsiteX42633" fmla="*/ 9832227 w 10505529"/>
              <a:gd name="connsiteY42633" fmla="*/ 256921 h 7458372"/>
              <a:gd name="connsiteX42634" fmla="*/ 9834890 w 10505529"/>
              <a:gd name="connsiteY42634" fmla="*/ 252662 h 7458372"/>
              <a:gd name="connsiteX42635" fmla="*/ 9835955 w 10505529"/>
              <a:gd name="connsiteY42635" fmla="*/ 247203 h 7458372"/>
              <a:gd name="connsiteX42636" fmla="*/ 9834890 w 10505529"/>
              <a:gd name="connsiteY42636" fmla="*/ 242011 h 7458372"/>
              <a:gd name="connsiteX42637" fmla="*/ 9832227 w 10505529"/>
              <a:gd name="connsiteY42637" fmla="*/ 237885 h 7458372"/>
              <a:gd name="connsiteX42638" fmla="*/ 9828234 w 10505529"/>
              <a:gd name="connsiteY42638" fmla="*/ 235222 h 7458372"/>
              <a:gd name="connsiteX42639" fmla="*/ 9823176 w 10505529"/>
              <a:gd name="connsiteY42639" fmla="*/ 234157 h 7458372"/>
              <a:gd name="connsiteX42640" fmla="*/ 10040820 w 10505529"/>
              <a:gd name="connsiteY42640" fmla="*/ 234157 h 7458372"/>
              <a:gd name="connsiteX42641" fmla="*/ 10030835 w 10505529"/>
              <a:gd name="connsiteY42641" fmla="*/ 237752 h 7458372"/>
              <a:gd name="connsiteX42642" fmla="*/ 10027242 w 10505529"/>
              <a:gd name="connsiteY42642" fmla="*/ 247203 h 7458372"/>
              <a:gd name="connsiteX42643" fmla="*/ 10030835 w 10505529"/>
              <a:gd name="connsiteY42643" fmla="*/ 256788 h 7458372"/>
              <a:gd name="connsiteX42644" fmla="*/ 10040820 w 10505529"/>
              <a:gd name="connsiteY42644" fmla="*/ 260249 h 7458372"/>
              <a:gd name="connsiteX42645" fmla="*/ 10046145 w 10505529"/>
              <a:gd name="connsiteY42645" fmla="*/ 259317 h 7458372"/>
              <a:gd name="connsiteX42646" fmla="*/ 10049872 w 10505529"/>
              <a:gd name="connsiteY42646" fmla="*/ 256921 h 7458372"/>
              <a:gd name="connsiteX42647" fmla="*/ 10052534 w 10505529"/>
              <a:gd name="connsiteY42647" fmla="*/ 252661 h 7458372"/>
              <a:gd name="connsiteX42648" fmla="*/ 10053599 w 10505529"/>
              <a:gd name="connsiteY42648" fmla="*/ 247203 h 7458372"/>
              <a:gd name="connsiteX42649" fmla="*/ 10052534 w 10505529"/>
              <a:gd name="connsiteY42649" fmla="*/ 242011 h 7458372"/>
              <a:gd name="connsiteX42650" fmla="*/ 10049872 w 10505529"/>
              <a:gd name="connsiteY42650" fmla="*/ 237885 h 7458372"/>
              <a:gd name="connsiteX42651" fmla="*/ 10045878 w 10505529"/>
              <a:gd name="connsiteY42651" fmla="*/ 235222 h 7458372"/>
              <a:gd name="connsiteX42652" fmla="*/ 10040820 w 10505529"/>
              <a:gd name="connsiteY42652" fmla="*/ 234157 h 7458372"/>
              <a:gd name="connsiteX42653" fmla="*/ 10258466 w 10505529"/>
              <a:gd name="connsiteY42653" fmla="*/ 234157 h 7458372"/>
              <a:gd name="connsiteX42654" fmla="*/ 10248481 w 10505529"/>
              <a:gd name="connsiteY42654" fmla="*/ 237752 h 7458372"/>
              <a:gd name="connsiteX42655" fmla="*/ 10244887 w 10505529"/>
              <a:gd name="connsiteY42655" fmla="*/ 247203 h 7458372"/>
              <a:gd name="connsiteX42656" fmla="*/ 10248481 w 10505529"/>
              <a:gd name="connsiteY42656" fmla="*/ 256787 h 7458372"/>
              <a:gd name="connsiteX42657" fmla="*/ 10258466 w 10505529"/>
              <a:gd name="connsiteY42657" fmla="*/ 260248 h 7458372"/>
              <a:gd name="connsiteX42658" fmla="*/ 10263790 w 10505529"/>
              <a:gd name="connsiteY42658" fmla="*/ 259316 h 7458372"/>
              <a:gd name="connsiteX42659" fmla="*/ 10267517 w 10505529"/>
              <a:gd name="connsiteY42659" fmla="*/ 256920 h 7458372"/>
              <a:gd name="connsiteX42660" fmla="*/ 10270180 w 10505529"/>
              <a:gd name="connsiteY42660" fmla="*/ 252661 h 7458372"/>
              <a:gd name="connsiteX42661" fmla="*/ 10271112 w 10505529"/>
              <a:gd name="connsiteY42661" fmla="*/ 247203 h 7458372"/>
              <a:gd name="connsiteX42662" fmla="*/ 10270180 w 10505529"/>
              <a:gd name="connsiteY42662" fmla="*/ 242011 h 7458372"/>
              <a:gd name="connsiteX42663" fmla="*/ 10267517 w 10505529"/>
              <a:gd name="connsiteY42663" fmla="*/ 237885 h 7458372"/>
              <a:gd name="connsiteX42664" fmla="*/ 10263524 w 10505529"/>
              <a:gd name="connsiteY42664" fmla="*/ 235222 h 7458372"/>
              <a:gd name="connsiteX42665" fmla="*/ 10258466 w 10505529"/>
              <a:gd name="connsiteY42665" fmla="*/ 234157 h 7458372"/>
              <a:gd name="connsiteX42666" fmla="*/ 10475977 w 10505529"/>
              <a:gd name="connsiteY42666" fmla="*/ 234157 h 7458372"/>
              <a:gd name="connsiteX42667" fmla="*/ 10465992 w 10505529"/>
              <a:gd name="connsiteY42667" fmla="*/ 237752 h 7458372"/>
              <a:gd name="connsiteX42668" fmla="*/ 10462399 w 10505529"/>
              <a:gd name="connsiteY42668" fmla="*/ 247203 h 7458372"/>
              <a:gd name="connsiteX42669" fmla="*/ 10465992 w 10505529"/>
              <a:gd name="connsiteY42669" fmla="*/ 256787 h 7458372"/>
              <a:gd name="connsiteX42670" fmla="*/ 10475977 w 10505529"/>
              <a:gd name="connsiteY42670" fmla="*/ 260248 h 7458372"/>
              <a:gd name="connsiteX42671" fmla="*/ 10481302 w 10505529"/>
              <a:gd name="connsiteY42671" fmla="*/ 259316 h 7458372"/>
              <a:gd name="connsiteX42672" fmla="*/ 10485029 w 10505529"/>
              <a:gd name="connsiteY42672" fmla="*/ 256920 h 7458372"/>
              <a:gd name="connsiteX42673" fmla="*/ 10487691 w 10505529"/>
              <a:gd name="connsiteY42673" fmla="*/ 252661 h 7458372"/>
              <a:gd name="connsiteX42674" fmla="*/ 10488623 w 10505529"/>
              <a:gd name="connsiteY42674" fmla="*/ 247203 h 7458372"/>
              <a:gd name="connsiteX42675" fmla="*/ 10487691 w 10505529"/>
              <a:gd name="connsiteY42675" fmla="*/ 242011 h 7458372"/>
              <a:gd name="connsiteX42676" fmla="*/ 10485029 w 10505529"/>
              <a:gd name="connsiteY42676" fmla="*/ 237885 h 7458372"/>
              <a:gd name="connsiteX42677" fmla="*/ 10481035 w 10505529"/>
              <a:gd name="connsiteY42677" fmla="*/ 235222 h 7458372"/>
              <a:gd name="connsiteX42678" fmla="*/ 10475977 w 10505529"/>
              <a:gd name="connsiteY42678" fmla="*/ 234157 h 7458372"/>
              <a:gd name="connsiteX42679" fmla="*/ 30225 w 10505529"/>
              <a:gd name="connsiteY42679" fmla="*/ 217656 h 7458372"/>
              <a:gd name="connsiteX42680" fmla="*/ 41940 w 10505529"/>
              <a:gd name="connsiteY42680" fmla="*/ 220185 h 7458372"/>
              <a:gd name="connsiteX42681" fmla="*/ 51258 w 10505529"/>
              <a:gd name="connsiteY42681" fmla="*/ 226575 h 7458372"/>
              <a:gd name="connsiteX42682" fmla="*/ 57381 w 10505529"/>
              <a:gd name="connsiteY42682" fmla="*/ 235893 h 7458372"/>
              <a:gd name="connsiteX42683" fmla="*/ 59644 w 10505529"/>
              <a:gd name="connsiteY42683" fmla="*/ 247341 h 7458372"/>
              <a:gd name="connsiteX42684" fmla="*/ 57381 w 10505529"/>
              <a:gd name="connsiteY42684" fmla="*/ 259055 h 7458372"/>
              <a:gd name="connsiteX42685" fmla="*/ 51258 w 10505529"/>
              <a:gd name="connsiteY42685" fmla="*/ 268507 h 7458372"/>
              <a:gd name="connsiteX42686" fmla="*/ 41940 w 10505529"/>
              <a:gd name="connsiteY42686" fmla="*/ 274764 h 7458372"/>
              <a:gd name="connsiteX42687" fmla="*/ 30225 w 10505529"/>
              <a:gd name="connsiteY42687" fmla="*/ 277027 h 7458372"/>
              <a:gd name="connsiteX42688" fmla="*/ 8393 w 10505529"/>
              <a:gd name="connsiteY42688" fmla="*/ 268507 h 7458372"/>
              <a:gd name="connsiteX42689" fmla="*/ 7 w 10505529"/>
              <a:gd name="connsiteY42689" fmla="*/ 247341 h 7458372"/>
              <a:gd name="connsiteX42690" fmla="*/ 8393 w 10505529"/>
              <a:gd name="connsiteY42690" fmla="*/ 226309 h 7458372"/>
              <a:gd name="connsiteX42691" fmla="*/ 30225 w 10505529"/>
              <a:gd name="connsiteY42691" fmla="*/ 217656 h 7458372"/>
              <a:gd name="connsiteX42692" fmla="*/ 247869 w 10505529"/>
              <a:gd name="connsiteY42692" fmla="*/ 217656 h 7458372"/>
              <a:gd name="connsiteX42693" fmla="*/ 259584 w 10505529"/>
              <a:gd name="connsiteY42693" fmla="*/ 220185 h 7458372"/>
              <a:gd name="connsiteX42694" fmla="*/ 268903 w 10505529"/>
              <a:gd name="connsiteY42694" fmla="*/ 226575 h 7458372"/>
              <a:gd name="connsiteX42695" fmla="*/ 275026 w 10505529"/>
              <a:gd name="connsiteY42695" fmla="*/ 235893 h 7458372"/>
              <a:gd name="connsiteX42696" fmla="*/ 277289 w 10505529"/>
              <a:gd name="connsiteY42696" fmla="*/ 247341 h 7458372"/>
              <a:gd name="connsiteX42697" fmla="*/ 275026 w 10505529"/>
              <a:gd name="connsiteY42697" fmla="*/ 259055 h 7458372"/>
              <a:gd name="connsiteX42698" fmla="*/ 268903 w 10505529"/>
              <a:gd name="connsiteY42698" fmla="*/ 268507 h 7458372"/>
              <a:gd name="connsiteX42699" fmla="*/ 259584 w 10505529"/>
              <a:gd name="connsiteY42699" fmla="*/ 274764 h 7458372"/>
              <a:gd name="connsiteX42700" fmla="*/ 247869 w 10505529"/>
              <a:gd name="connsiteY42700" fmla="*/ 277027 h 7458372"/>
              <a:gd name="connsiteX42701" fmla="*/ 226038 w 10505529"/>
              <a:gd name="connsiteY42701" fmla="*/ 268507 h 7458372"/>
              <a:gd name="connsiteX42702" fmla="*/ 217652 w 10505529"/>
              <a:gd name="connsiteY42702" fmla="*/ 247341 h 7458372"/>
              <a:gd name="connsiteX42703" fmla="*/ 226038 w 10505529"/>
              <a:gd name="connsiteY42703" fmla="*/ 226309 h 7458372"/>
              <a:gd name="connsiteX42704" fmla="*/ 247869 w 10505529"/>
              <a:gd name="connsiteY42704" fmla="*/ 217656 h 7458372"/>
              <a:gd name="connsiteX42705" fmla="*/ 465514 w 10505529"/>
              <a:gd name="connsiteY42705" fmla="*/ 217655 h 7458372"/>
              <a:gd name="connsiteX42706" fmla="*/ 477229 w 10505529"/>
              <a:gd name="connsiteY42706" fmla="*/ 220185 h 7458372"/>
              <a:gd name="connsiteX42707" fmla="*/ 486547 w 10505529"/>
              <a:gd name="connsiteY42707" fmla="*/ 226575 h 7458372"/>
              <a:gd name="connsiteX42708" fmla="*/ 492670 w 10505529"/>
              <a:gd name="connsiteY42708" fmla="*/ 235893 h 7458372"/>
              <a:gd name="connsiteX42709" fmla="*/ 494933 w 10505529"/>
              <a:gd name="connsiteY42709" fmla="*/ 247341 h 7458372"/>
              <a:gd name="connsiteX42710" fmla="*/ 492670 w 10505529"/>
              <a:gd name="connsiteY42710" fmla="*/ 259055 h 7458372"/>
              <a:gd name="connsiteX42711" fmla="*/ 486547 w 10505529"/>
              <a:gd name="connsiteY42711" fmla="*/ 268506 h 7458372"/>
              <a:gd name="connsiteX42712" fmla="*/ 477229 w 10505529"/>
              <a:gd name="connsiteY42712" fmla="*/ 274764 h 7458372"/>
              <a:gd name="connsiteX42713" fmla="*/ 465514 w 10505529"/>
              <a:gd name="connsiteY42713" fmla="*/ 277027 h 7458372"/>
              <a:gd name="connsiteX42714" fmla="*/ 443683 w 10505529"/>
              <a:gd name="connsiteY42714" fmla="*/ 268506 h 7458372"/>
              <a:gd name="connsiteX42715" fmla="*/ 435296 w 10505529"/>
              <a:gd name="connsiteY42715" fmla="*/ 247341 h 7458372"/>
              <a:gd name="connsiteX42716" fmla="*/ 443683 w 10505529"/>
              <a:gd name="connsiteY42716" fmla="*/ 226309 h 7458372"/>
              <a:gd name="connsiteX42717" fmla="*/ 465514 w 10505529"/>
              <a:gd name="connsiteY42717" fmla="*/ 217655 h 7458372"/>
              <a:gd name="connsiteX42718" fmla="*/ 900803 w 10505529"/>
              <a:gd name="connsiteY42718" fmla="*/ 217655 h 7458372"/>
              <a:gd name="connsiteX42719" fmla="*/ 912518 w 10505529"/>
              <a:gd name="connsiteY42719" fmla="*/ 220184 h 7458372"/>
              <a:gd name="connsiteX42720" fmla="*/ 921836 w 10505529"/>
              <a:gd name="connsiteY42720" fmla="*/ 226574 h 7458372"/>
              <a:gd name="connsiteX42721" fmla="*/ 927959 w 10505529"/>
              <a:gd name="connsiteY42721" fmla="*/ 235893 h 7458372"/>
              <a:gd name="connsiteX42722" fmla="*/ 930222 w 10505529"/>
              <a:gd name="connsiteY42722" fmla="*/ 247341 h 7458372"/>
              <a:gd name="connsiteX42723" fmla="*/ 927959 w 10505529"/>
              <a:gd name="connsiteY42723" fmla="*/ 259055 h 7458372"/>
              <a:gd name="connsiteX42724" fmla="*/ 921836 w 10505529"/>
              <a:gd name="connsiteY42724" fmla="*/ 268506 h 7458372"/>
              <a:gd name="connsiteX42725" fmla="*/ 912518 w 10505529"/>
              <a:gd name="connsiteY42725" fmla="*/ 274763 h 7458372"/>
              <a:gd name="connsiteX42726" fmla="*/ 900803 w 10505529"/>
              <a:gd name="connsiteY42726" fmla="*/ 277026 h 7458372"/>
              <a:gd name="connsiteX42727" fmla="*/ 878972 w 10505529"/>
              <a:gd name="connsiteY42727" fmla="*/ 268506 h 7458372"/>
              <a:gd name="connsiteX42728" fmla="*/ 870586 w 10505529"/>
              <a:gd name="connsiteY42728" fmla="*/ 247341 h 7458372"/>
              <a:gd name="connsiteX42729" fmla="*/ 878972 w 10505529"/>
              <a:gd name="connsiteY42729" fmla="*/ 226308 h 7458372"/>
              <a:gd name="connsiteX42730" fmla="*/ 900803 w 10505529"/>
              <a:gd name="connsiteY42730" fmla="*/ 217655 h 7458372"/>
              <a:gd name="connsiteX42731" fmla="*/ 683158 w 10505529"/>
              <a:gd name="connsiteY42731" fmla="*/ 217655 h 7458372"/>
              <a:gd name="connsiteX42732" fmla="*/ 694874 w 10505529"/>
              <a:gd name="connsiteY42732" fmla="*/ 220184 h 7458372"/>
              <a:gd name="connsiteX42733" fmla="*/ 704192 w 10505529"/>
              <a:gd name="connsiteY42733" fmla="*/ 226575 h 7458372"/>
              <a:gd name="connsiteX42734" fmla="*/ 710315 w 10505529"/>
              <a:gd name="connsiteY42734" fmla="*/ 235893 h 7458372"/>
              <a:gd name="connsiteX42735" fmla="*/ 712578 w 10505529"/>
              <a:gd name="connsiteY42735" fmla="*/ 247341 h 7458372"/>
              <a:gd name="connsiteX42736" fmla="*/ 710315 w 10505529"/>
              <a:gd name="connsiteY42736" fmla="*/ 259055 h 7458372"/>
              <a:gd name="connsiteX42737" fmla="*/ 704192 w 10505529"/>
              <a:gd name="connsiteY42737" fmla="*/ 268506 h 7458372"/>
              <a:gd name="connsiteX42738" fmla="*/ 694874 w 10505529"/>
              <a:gd name="connsiteY42738" fmla="*/ 274763 h 7458372"/>
              <a:gd name="connsiteX42739" fmla="*/ 683158 w 10505529"/>
              <a:gd name="connsiteY42739" fmla="*/ 277026 h 7458372"/>
              <a:gd name="connsiteX42740" fmla="*/ 661327 w 10505529"/>
              <a:gd name="connsiteY42740" fmla="*/ 268506 h 7458372"/>
              <a:gd name="connsiteX42741" fmla="*/ 652941 w 10505529"/>
              <a:gd name="connsiteY42741" fmla="*/ 247341 h 7458372"/>
              <a:gd name="connsiteX42742" fmla="*/ 661327 w 10505529"/>
              <a:gd name="connsiteY42742" fmla="*/ 226309 h 7458372"/>
              <a:gd name="connsiteX42743" fmla="*/ 683158 w 10505529"/>
              <a:gd name="connsiteY42743" fmla="*/ 217655 h 7458372"/>
              <a:gd name="connsiteX42744" fmla="*/ 1335960 w 10505529"/>
              <a:gd name="connsiteY42744" fmla="*/ 217655 h 7458372"/>
              <a:gd name="connsiteX42745" fmla="*/ 1347675 w 10505529"/>
              <a:gd name="connsiteY42745" fmla="*/ 220184 h 7458372"/>
              <a:gd name="connsiteX42746" fmla="*/ 1356993 w 10505529"/>
              <a:gd name="connsiteY42746" fmla="*/ 226574 h 7458372"/>
              <a:gd name="connsiteX42747" fmla="*/ 1363116 w 10505529"/>
              <a:gd name="connsiteY42747" fmla="*/ 235892 h 7458372"/>
              <a:gd name="connsiteX42748" fmla="*/ 1365379 w 10505529"/>
              <a:gd name="connsiteY42748" fmla="*/ 247341 h 7458372"/>
              <a:gd name="connsiteX42749" fmla="*/ 1363116 w 10505529"/>
              <a:gd name="connsiteY42749" fmla="*/ 259055 h 7458372"/>
              <a:gd name="connsiteX42750" fmla="*/ 1356993 w 10505529"/>
              <a:gd name="connsiteY42750" fmla="*/ 268506 h 7458372"/>
              <a:gd name="connsiteX42751" fmla="*/ 1347675 w 10505529"/>
              <a:gd name="connsiteY42751" fmla="*/ 274763 h 7458372"/>
              <a:gd name="connsiteX42752" fmla="*/ 1335960 w 10505529"/>
              <a:gd name="connsiteY42752" fmla="*/ 277026 h 7458372"/>
              <a:gd name="connsiteX42753" fmla="*/ 1314128 w 10505529"/>
              <a:gd name="connsiteY42753" fmla="*/ 268506 h 7458372"/>
              <a:gd name="connsiteX42754" fmla="*/ 1305742 w 10505529"/>
              <a:gd name="connsiteY42754" fmla="*/ 247341 h 7458372"/>
              <a:gd name="connsiteX42755" fmla="*/ 1314128 w 10505529"/>
              <a:gd name="connsiteY42755" fmla="*/ 226308 h 7458372"/>
              <a:gd name="connsiteX42756" fmla="*/ 1335960 w 10505529"/>
              <a:gd name="connsiteY42756" fmla="*/ 217655 h 7458372"/>
              <a:gd name="connsiteX42757" fmla="*/ 1118315 w 10505529"/>
              <a:gd name="connsiteY42757" fmla="*/ 217655 h 7458372"/>
              <a:gd name="connsiteX42758" fmla="*/ 1130030 w 10505529"/>
              <a:gd name="connsiteY42758" fmla="*/ 220184 h 7458372"/>
              <a:gd name="connsiteX42759" fmla="*/ 1139349 w 10505529"/>
              <a:gd name="connsiteY42759" fmla="*/ 226574 h 7458372"/>
              <a:gd name="connsiteX42760" fmla="*/ 1145471 w 10505529"/>
              <a:gd name="connsiteY42760" fmla="*/ 235893 h 7458372"/>
              <a:gd name="connsiteX42761" fmla="*/ 1147734 w 10505529"/>
              <a:gd name="connsiteY42761" fmla="*/ 247341 h 7458372"/>
              <a:gd name="connsiteX42762" fmla="*/ 1145471 w 10505529"/>
              <a:gd name="connsiteY42762" fmla="*/ 259055 h 7458372"/>
              <a:gd name="connsiteX42763" fmla="*/ 1139349 w 10505529"/>
              <a:gd name="connsiteY42763" fmla="*/ 268506 h 7458372"/>
              <a:gd name="connsiteX42764" fmla="*/ 1130030 w 10505529"/>
              <a:gd name="connsiteY42764" fmla="*/ 274763 h 7458372"/>
              <a:gd name="connsiteX42765" fmla="*/ 1118315 w 10505529"/>
              <a:gd name="connsiteY42765" fmla="*/ 277026 h 7458372"/>
              <a:gd name="connsiteX42766" fmla="*/ 1096483 w 10505529"/>
              <a:gd name="connsiteY42766" fmla="*/ 268506 h 7458372"/>
              <a:gd name="connsiteX42767" fmla="*/ 1088097 w 10505529"/>
              <a:gd name="connsiteY42767" fmla="*/ 247341 h 7458372"/>
              <a:gd name="connsiteX42768" fmla="*/ 1096483 w 10505529"/>
              <a:gd name="connsiteY42768" fmla="*/ 226308 h 7458372"/>
              <a:gd name="connsiteX42769" fmla="*/ 1118315 w 10505529"/>
              <a:gd name="connsiteY42769" fmla="*/ 217655 h 7458372"/>
              <a:gd name="connsiteX42770" fmla="*/ 1771250 w 10505529"/>
              <a:gd name="connsiteY42770" fmla="*/ 217655 h 7458372"/>
              <a:gd name="connsiteX42771" fmla="*/ 1782965 w 10505529"/>
              <a:gd name="connsiteY42771" fmla="*/ 220184 h 7458372"/>
              <a:gd name="connsiteX42772" fmla="*/ 1792283 w 10505529"/>
              <a:gd name="connsiteY42772" fmla="*/ 226574 h 7458372"/>
              <a:gd name="connsiteX42773" fmla="*/ 1798406 w 10505529"/>
              <a:gd name="connsiteY42773" fmla="*/ 235892 h 7458372"/>
              <a:gd name="connsiteX42774" fmla="*/ 1800669 w 10505529"/>
              <a:gd name="connsiteY42774" fmla="*/ 247340 h 7458372"/>
              <a:gd name="connsiteX42775" fmla="*/ 1798406 w 10505529"/>
              <a:gd name="connsiteY42775" fmla="*/ 259055 h 7458372"/>
              <a:gd name="connsiteX42776" fmla="*/ 1792283 w 10505529"/>
              <a:gd name="connsiteY42776" fmla="*/ 268506 h 7458372"/>
              <a:gd name="connsiteX42777" fmla="*/ 1782965 w 10505529"/>
              <a:gd name="connsiteY42777" fmla="*/ 274763 h 7458372"/>
              <a:gd name="connsiteX42778" fmla="*/ 1771250 w 10505529"/>
              <a:gd name="connsiteY42778" fmla="*/ 277026 h 7458372"/>
              <a:gd name="connsiteX42779" fmla="*/ 1749418 w 10505529"/>
              <a:gd name="connsiteY42779" fmla="*/ 268506 h 7458372"/>
              <a:gd name="connsiteX42780" fmla="*/ 1741033 w 10505529"/>
              <a:gd name="connsiteY42780" fmla="*/ 247340 h 7458372"/>
              <a:gd name="connsiteX42781" fmla="*/ 1749418 w 10505529"/>
              <a:gd name="connsiteY42781" fmla="*/ 226308 h 7458372"/>
              <a:gd name="connsiteX42782" fmla="*/ 1771250 w 10505529"/>
              <a:gd name="connsiteY42782" fmla="*/ 217655 h 7458372"/>
              <a:gd name="connsiteX42783" fmla="*/ 1553605 w 10505529"/>
              <a:gd name="connsiteY42783" fmla="*/ 217655 h 7458372"/>
              <a:gd name="connsiteX42784" fmla="*/ 1565320 w 10505529"/>
              <a:gd name="connsiteY42784" fmla="*/ 220184 h 7458372"/>
              <a:gd name="connsiteX42785" fmla="*/ 1574638 w 10505529"/>
              <a:gd name="connsiteY42785" fmla="*/ 226574 h 7458372"/>
              <a:gd name="connsiteX42786" fmla="*/ 1580761 w 10505529"/>
              <a:gd name="connsiteY42786" fmla="*/ 235892 h 7458372"/>
              <a:gd name="connsiteX42787" fmla="*/ 1583024 w 10505529"/>
              <a:gd name="connsiteY42787" fmla="*/ 247341 h 7458372"/>
              <a:gd name="connsiteX42788" fmla="*/ 1580761 w 10505529"/>
              <a:gd name="connsiteY42788" fmla="*/ 259055 h 7458372"/>
              <a:gd name="connsiteX42789" fmla="*/ 1574638 w 10505529"/>
              <a:gd name="connsiteY42789" fmla="*/ 268506 h 7458372"/>
              <a:gd name="connsiteX42790" fmla="*/ 1565320 w 10505529"/>
              <a:gd name="connsiteY42790" fmla="*/ 274763 h 7458372"/>
              <a:gd name="connsiteX42791" fmla="*/ 1553605 w 10505529"/>
              <a:gd name="connsiteY42791" fmla="*/ 277026 h 7458372"/>
              <a:gd name="connsiteX42792" fmla="*/ 1531773 w 10505529"/>
              <a:gd name="connsiteY42792" fmla="*/ 268506 h 7458372"/>
              <a:gd name="connsiteX42793" fmla="*/ 1523387 w 10505529"/>
              <a:gd name="connsiteY42793" fmla="*/ 247341 h 7458372"/>
              <a:gd name="connsiteX42794" fmla="*/ 1531773 w 10505529"/>
              <a:gd name="connsiteY42794" fmla="*/ 226308 h 7458372"/>
              <a:gd name="connsiteX42795" fmla="*/ 1553605 w 10505529"/>
              <a:gd name="connsiteY42795" fmla="*/ 217655 h 7458372"/>
              <a:gd name="connsiteX42796" fmla="*/ 2206407 w 10505529"/>
              <a:gd name="connsiteY42796" fmla="*/ 217655 h 7458372"/>
              <a:gd name="connsiteX42797" fmla="*/ 2218122 w 10505529"/>
              <a:gd name="connsiteY42797" fmla="*/ 220184 h 7458372"/>
              <a:gd name="connsiteX42798" fmla="*/ 2227441 w 10505529"/>
              <a:gd name="connsiteY42798" fmla="*/ 226574 h 7458372"/>
              <a:gd name="connsiteX42799" fmla="*/ 2233563 w 10505529"/>
              <a:gd name="connsiteY42799" fmla="*/ 235892 h 7458372"/>
              <a:gd name="connsiteX42800" fmla="*/ 2235826 w 10505529"/>
              <a:gd name="connsiteY42800" fmla="*/ 247340 h 7458372"/>
              <a:gd name="connsiteX42801" fmla="*/ 2233563 w 10505529"/>
              <a:gd name="connsiteY42801" fmla="*/ 259054 h 7458372"/>
              <a:gd name="connsiteX42802" fmla="*/ 2227441 w 10505529"/>
              <a:gd name="connsiteY42802" fmla="*/ 268506 h 7458372"/>
              <a:gd name="connsiteX42803" fmla="*/ 2218122 w 10505529"/>
              <a:gd name="connsiteY42803" fmla="*/ 274763 h 7458372"/>
              <a:gd name="connsiteX42804" fmla="*/ 2206407 w 10505529"/>
              <a:gd name="connsiteY42804" fmla="*/ 277026 h 7458372"/>
              <a:gd name="connsiteX42805" fmla="*/ 2184576 w 10505529"/>
              <a:gd name="connsiteY42805" fmla="*/ 268506 h 7458372"/>
              <a:gd name="connsiteX42806" fmla="*/ 2176189 w 10505529"/>
              <a:gd name="connsiteY42806" fmla="*/ 247340 h 7458372"/>
              <a:gd name="connsiteX42807" fmla="*/ 2184576 w 10505529"/>
              <a:gd name="connsiteY42807" fmla="*/ 226308 h 7458372"/>
              <a:gd name="connsiteX42808" fmla="*/ 2206407 w 10505529"/>
              <a:gd name="connsiteY42808" fmla="*/ 217655 h 7458372"/>
              <a:gd name="connsiteX42809" fmla="*/ 1988894 w 10505529"/>
              <a:gd name="connsiteY42809" fmla="*/ 217655 h 7458372"/>
              <a:gd name="connsiteX42810" fmla="*/ 2000609 w 10505529"/>
              <a:gd name="connsiteY42810" fmla="*/ 220184 h 7458372"/>
              <a:gd name="connsiteX42811" fmla="*/ 2009927 w 10505529"/>
              <a:gd name="connsiteY42811" fmla="*/ 226574 h 7458372"/>
              <a:gd name="connsiteX42812" fmla="*/ 2016051 w 10505529"/>
              <a:gd name="connsiteY42812" fmla="*/ 235892 h 7458372"/>
              <a:gd name="connsiteX42813" fmla="*/ 2018314 w 10505529"/>
              <a:gd name="connsiteY42813" fmla="*/ 247340 h 7458372"/>
              <a:gd name="connsiteX42814" fmla="*/ 2016051 w 10505529"/>
              <a:gd name="connsiteY42814" fmla="*/ 259055 h 7458372"/>
              <a:gd name="connsiteX42815" fmla="*/ 2009927 w 10505529"/>
              <a:gd name="connsiteY42815" fmla="*/ 268506 h 7458372"/>
              <a:gd name="connsiteX42816" fmla="*/ 2000609 w 10505529"/>
              <a:gd name="connsiteY42816" fmla="*/ 274763 h 7458372"/>
              <a:gd name="connsiteX42817" fmla="*/ 1988894 w 10505529"/>
              <a:gd name="connsiteY42817" fmla="*/ 277026 h 7458372"/>
              <a:gd name="connsiteX42818" fmla="*/ 1967063 w 10505529"/>
              <a:gd name="connsiteY42818" fmla="*/ 268506 h 7458372"/>
              <a:gd name="connsiteX42819" fmla="*/ 1958676 w 10505529"/>
              <a:gd name="connsiteY42819" fmla="*/ 247340 h 7458372"/>
              <a:gd name="connsiteX42820" fmla="*/ 1967063 w 10505529"/>
              <a:gd name="connsiteY42820" fmla="*/ 226308 h 7458372"/>
              <a:gd name="connsiteX42821" fmla="*/ 1988894 w 10505529"/>
              <a:gd name="connsiteY42821" fmla="*/ 217655 h 7458372"/>
              <a:gd name="connsiteX42822" fmla="*/ 2641699 w 10505529"/>
              <a:gd name="connsiteY42822" fmla="*/ 217654 h 7458372"/>
              <a:gd name="connsiteX42823" fmla="*/ 2653414 w 10505529"/>
              <a:gd name="connsiteY42823" fmla="*/ 220184 h 7458372"/>
              <a:gd name="connsiteX42824" fmla="*/ 2662732 w 10505529"/>
              <a:gd name="connsiteY42824" fmla="*/ 226574 h 7458372"/>
              <a:gd name="connsiteX42825" fmla="*/ 2668855 w 10505529"/>
              <a:gd name="connsiteY42825" fmla="*/ 235892 h 7458372"/>
              <a:gd name="connsiteX42826" fmla="*/ 2671118 w 10505529"/>
              <a:gd name="connsiteY42826" fmla="*/ 247340 h 7458372"/>
              <a:gd name="connsiteX42827" fmla="*/ 2668855 w 10505529"/>
              <a:gd name="connsiteY42827" fmla="*/ 259054 h 7458372"/>
              <a:gd name="connsiteX42828" fmla="*/ 2662732 w 10505529"/>
              <a:gd name="connsiteY42828" fmla="*/ 268505 h 7458372"/>
              <a:gd name="connsiteX42829" fmla="*/ 2653414 w 10505529"/>
              <a:gd name="connsiteY42829" fmla="*/ 274762 h 7458372"/>
              <a:gd name="connsiteX42830" fmla="*/ 2641699 w 10505529"/>
              <a:gd name="connsiteY42830" fmla="*/ 277025 h 7458372"/>
              <a:gd name="connsiteX42831" fmla="*/ 2619867 w 10505529"/>
              <a:gd name="connsiteY42831" fmla="*/ 268505 h 7458372"/>
              <a:gd name="connsiteX42832" fmla="*/ 2611481 w 10505529"/>
              <a:gd name="connsiteY42832" fmla="*/ 247340 h 7458372"/>
              <a:gd name="connsiteX42833" fmla="*/ 2619867 w 10505529"/>
              <a:gd name="connsiteY42833" fmla="*/ 226308 h 7458372"/>
              <a:gd name="connsiteX42834" fmla="*/ 2641699 w 10505529"/>
              <a:gd name="connsiteY42834" fmla="*/ 217654 h 7458372"/>
              <a:gd name="connsiteX42835" fmla="*/ 2424053 w 10505529"/>
              <a:gd name="connsiteY42835" fmla="*/ 217654 h 7458372"/>
              <a:gd name="connsiteX42836" fmla="*/ 2435768 w 10505529"/>
              <a:gd name="connsiteY42836" fmla="*/ 220184 h 7458372"/>
              <a:gd name="connsiteX42837" fmla="*/ 2445086 w 10505529"/>
              <a:gd name="connsiteY42837" fmla="*/ 226574 h 7458372"/>
              <a:gd name="connsiteX42838" fmla="*/ 2451209 w 10505529"/>
              <a:gd name="connsiteY42838" fmla="*/ 235892 h 7458372"/>
              <a:gd name="connsiteX42839" fmla="*/ 2453472 w 10505529"/>
              <a:gd name="connsiteY42839" fmla="*/ 247340 h 7458372"/>
              <a:gd name="connsiteX42840" fmla="*/ 2451209 w 10505529"/>
              <a:gd name="connsiteY42840" fmla="*/ 259054 h 7458372"/>
              <a:gd name="connsiteX42841" fmla="*/ 2445086 w 10505529"/>
              <a:gd name="connsiteY42841" fmla="*/ 268506 h 7458372"/>
              <a:gd name="connsiteX42842" fmla="*/ 2435768 w 10505529"/>
              <a:gd name="connsiteY42842" fmla="*/ 274763 h 7458372"/>
              <a:gd name="connsiteX42843" fmla="*/ 2424053 w 10505529"/>
              <a:gd name="connsiteY42843" fmla="*/ 277026 h 7458372"/>
              <a:gd name="connsiteX42844" fmla="*/ 2402221 w 10505529"/>
              <a:gd name="connsiteY42844" fmla="*/ 268506 h 7458372"/>
              <a:gd name="connsiteX42845" fmla="*/ 2393835 w 10505529"/>
              <a:gd name="connsiteY42845" fmla="*/ 247340 h 7458372"/>
              <a:gd name="connsiteX42846" fmla="*/ 2402221 w 10505529"/>
              <a:gd name="connsiteY42846" fmla="*/ 226308 h 7458372"/>
              <a:gd name="connsiteX42847" fmla="*/ 2424053 w 10505529"/>
              <a:gd name="connsiteY42847" fmla="*/ 217654 h 7458372"/>
              <a:gd name="connsiteX42848" fmla="*/ 2859345 w 10505529"/>
              <a:gd name="connsiteY42848" fmla="*/ 217654 h 7458372"/>
              <a:gd name="connsiteX42849" fmla="*/ 2871193 w 10505529"/>
              <a:gd name="connsiteY42849" fmla="*/ 220183 h 7458372"/>
              <a:gd name="connsiteX42850" fmla="*/ 2880511 w 10505529"/>
              <a:gd name="connsiteY42850" fmla="*/ 226573 h 7458372"/>
              <a:gd name="connsiteX42851" fmla="*/ 2886634 w 10505529"/>
              <a:gd name="connsiteY42851" fmla="*/ 235892 h 7458372"/>
              <a:gd name="connsiteX42852" fmla="*/ 2888897 w 10505529"/>
              <a:gd name="connsiteY42852" fmla="*/ 247340 h 7458372"/>
              <a:gd name="connsiteX42853" fmla="*/ 2886634 w 10505529"/>
              <a:gd name="connsiteY42853" fmla="*/ 259054 h 7458372"/>
              <a:gd name="connsiteX42854" fmla="*/ 2880511 w 10505529"/>
              <a:gd name="connsiteY42854" fmla="*/ 268505 h 7458372"/>
              <a:gd name="connsiteX42855" fmla="*/ 2871193 w 10505529"/>
              <a:gd name="connsiteY42855" fmla="*/ 274762 h 7458372"/>
              <a:gd name="connsiteX42856" fmla="*/ 2859345 w 10505529"/>
              <a:gd name="connsiteY42856" fmla="*/ 277025 h 7458372"/>
              <a:gd name="connsiteX42857" fmla="*/ 2837513 w 10505529"/>
              <a:gd name="connsiteY42857" fmla="*/ 268505 h 7458372"/>
              <a:gd name="connsiteX42858" fmla="*/ 2829127 w 10505529"/>
              <a:gd name="connsiteY42858" fmla="*/ 247340 h 7458372"/>
              <a:gd name="connsiteX42859" fmla="*/ 2837513 w 10505529"/>
              <a:gd name="connsiteY42859" fmla="*/ 226307 h 7458372"/>
              <a:gd name="connsiteX42860" fmla="*/ 2859345 w 10505529"/>
              <a:gd name="connsiteY42860" fmla="*/ 217654 h 7458372"/>
              <a:gd name="connsiteX42861" fmla="*/ 3076990 w 10505529"/>
              <a:gd name="connsiteY42861" fmla="*/ 217654 h 7458372"/>
              <a:gd name="connsiteX42862" fmla="*/ 3088706 w 10505529"/>
              <a:gd name="connsiteY42862" fmla="*/ 220183 h 7458372"/>
              <a:gd name="connsiteX42863" fmla="*/ 3098024 w 10505529"/>
              <a:gd name="connsiteY42863" fmla="*/ 226573 h 7458372"/>
              <a:gd name="connsiteX42864" fmla="*/ 3104147 w 10505529"/>
              <a:gd name="connsiteY42864" fmla="*/ 235892 h 7458372"/>
              <a:gd name="connsiteX42865" fmla="*/ 3106410 w 10505529"/>
              <a:gd name="connsiteY42865" fmla="*/ 247340 h 7458372"/>
              <a:gd name="connsiteX42866" fmla="*/ 3104147 w 10505529"/>
              <a:gd name="connsiteY42866" fmla="*/ 259054 h 7458372"/>
              <a:gd name="connsiteX42867" fmla="*/ 3098024 w 10505529"/>
              <a:gd name="connsiteY42867" fmla="*/ 268505 h 7458372"/>
              <a:gd name="connsiteX42868" fmla="*/ 3088706 w 10505529"/>
              <a:gd name="connsiteY42868" fmla="*/ 274762 h 7458372"/>
              <a:gd name="connsiteX42869" fmla="*/ 3076990 w 10505529"/>
              <a:gd name="connsiteY42869" fmla="*/ 277025 h 7458372"/>
              <a:gd name="connsiteX42870" fmla="*/ 3055159 w 10505529"/>
              <a:gd name="connsiteY42870" fmla="*/ 268505 h 7458372"/>
              <a:gd name="connsiteX42871" fmla="*/ 3046773 w 10505529"/>
              <a:gd name="connsiteY42871" fmla="*/ 247340 h 7458372"/>
              <a:gd name="connsiteX42872" fmla="*/ 3055159 w 10505529"/>
              <a:gd name="connsiteY42872" fmla="*/ 226307 h 7458372"/>
              <a:gd name="connsiteX42873" fmla="*/ 3076990 w 10505529"/>
              <a:gd name="connsiteY42873" fmla="*/ 217654 h 7458372"/>
              <a:gd name="connsiteX42874" fmla="*/ 3294636 w 10505529"/>
              <a:gd name="connsiteY42874" fmla="*/ 217654 h 7458372"/>
              <a:gd name="connsiteX42875" fmla="*/ 3306352 w 10505529"/>
              <a:gd name="connsiteY42875" fmla="*/ 220183 h 7458372"/>
              <a:gd name="connsiteX42876" fmla="*/ 3315670 w 10505529"/>
              <a:gd name="connsiteY42876" fmla="*/ 226573 h 7458372"/>
              <a:gd name="connsiteX42877" fmla="*/ 3321793 w 10505529"/>
              <a:gd name="connsiteY42877" fmla="*/ 235891 h 7458372"/>
              <a:gd name="connsiteX42878" fmla="*/ 3324056 w 10505529"/>
              <a:gd name="connsiteY42878" fmla="*/ 247340 h 7458372"/>
              <a:gd name="connsiteX42879" fmla="*/ 3321793 w 10505529"/>
              <a:gd name="connsiteY42879" fmla="*/ 259054 h 7458372"/>
              <a:gd name="connsiteX42880" fmla="*/ 3315670 w 10505529"/>
              <a:gd name="connsiteY42880" fmla="*/ 268505 h 7458372"/>
              <a:gd name="connsiteX42881" fmla="*/ 3306352 w 10505529"/>
              <a:gd name="connsiteY42881" fmla="*/ 274762 h 7458372"/>
              <a:gd name="connsiteX42882" fmla="*/ 3294636 w 10505529"/>
              <a:gd name="connsiteY42882" fmla="*/ 277025 h 7458372"/>
              <a:gd name="connsiteX42883" fmla="*/ 3272805 w 10505529"/>
              <a:gd name="connsiteY42883" fmla="*/ 268505 h 7458372"/>
              <a:gd name="connsiteX42884" fmla="*/ 3264419 w 10505529"/>
              <a:gd name="connsiteY42884" fmla="*/ 247340 h 7458372"/>
              <a:gd name="connsiteX42885" fmla="*/ 3272805 w 10505529"/>
              <a:gd name="connsiteY42885" fmla="*/ 226307 h 7458372"/>
              <a:gd name="connsiteX42886" fmla="*/ 3294636 w 10505529"/>
              <a:gd name="connsiteY42886" fmla="*/ 217654 h 7458372"/>
              <a:gd name="connsiteX42887" fmla="*/ 3512149 w 10505529"/>
              <a:gd name="connsiteY42887" fmla="*/ 217654 h 7458372"/>
              <a:gd name="connsiteX42888" fmla="*/ 3523865 w 10505529"/>
              <a:gd name="connsiteY42888" fmla="*/ 220183 h 7458372"/>
              <a:gd name="connsiteX42889" fmla="*/ 3533183 w 10505529"/>
              <a:gd name="connsiteY42889" fmla="*/ 226573 h 7458372"/>
              <a:gd name="connsiteX42890" fmla="*/ 3539306 w 10505529"/>
              <a:gd name="connsiteY42890" fmla="*/ 235891 h 7458372"/>
              <a:gd name="connsiteX42891" fmla="*/ 3541569 w 10505529"/>
              <a:gd name="connsiteY42891" fmla="*/ 247340 h 7458372"/>
              <a:gd name="connsiteX42892" fmla="*/ 3539306 w 10505529"/>
              <a:gd name="connsiteY42892" fmla="*/ 259054 h 7458372"/>
              <a:gd name="connsiteX42893" fmla="*/ 3533183 w 10505529"/>
              <a:gd name="connsiteY42893" fmla="*/ 268505 h 7458372"/>
              <a:gd name="connsiteX42894" fmla="*/ 3523865 w 10505529"/>
              <a:gd name="connsiteY42894" fmla="*/ 274762 h 7458372"/>
              <a:gd name="connsiteX42895" fmla="*/ 3512149 w 10505529"/>
              <a:gd name="connsiteY42895" fmla="*/ 277025 h 7458372"/>
              <a:gd name="connsiteX42896" fmla="*/ 3490318 w 10505529"/>
              <a:gd name="connsiteY42896" fmla="*/ 268505 h 7458372"/>
              <a:gd name="connsiteX42897" fmla="*/ 3481931 w 10505529"/>
              <a:gd name="connsiteY42897" fmla="*/ 247340 h 7458372"/>
              <a:gd name="connsiteX42898" fmla="*/ 3490318 w 10505529"/>
              <a:gd name="connsiteY42898" fmla="*/ 226307 h 7458372"/>
              <a:gd name="connsiteX42899" fmla="*/ 3512149 w 10505529"/>
              <a:gd name="connsiteY42899" fmla="*/ 217654 h 7458372"/>
              <a:gd name="connsiteX42900" fmla="*/ 3729795 w 10505529"/>
              <a:gd name="connsiteY42900" fmla="*/ 217654 h 7458372"/>
              <a:gd name="connsiteX42901" fmla="*/ 3741510 w 10505529"/>
              <a:gd name="connsiteY42901" fmla="*/ 220183 h 7458372"/>
              <a:gd name="connsiteX42902" fmla="*/ 3750829 w 10505529"/>
              <a:gd name="connsiteY42902" fmla="*/ 226573 h 7458372"/>
              <a:gd name="connsiteX42903" fmla="*/ 3756951 w 10505529"/>
              <a:gd name="connsiteY42903" fmla="*/ 235891 h 7458372"/>
              <a:gd name="connsiteX42904" fmla="*/ 3759214 w 10505529"/>
              <a:gd name="connsiteY42904" fmla="*/ 247339 h 7458372"/>
              <a:gd name="connsiteX42905" fmla="*/ 3756951 w 10505529"/>
              <a:gd name="connsiteY42905" fmla="*/ 259054 h 7458372"/>
              <a:gd name="connsiteX42906" fmla="*/ 3750829 w 10505529"/>
              <a:gd name="connsiteY42906" fmla="*/ 268505 h 7458372"/>
              <a:gd name="connsiteX42907" fmla="*/ 3741510 w 10505529"/>
              <a:gd name="connsiteY42907" fmla="*/ 274762 h 7458372"/>
              <a:gd name="connsiteX42908" fmla="*/ 3729795 w 10505529"/>
              <a:gd name="connsiteY42908" fmla="*/ 277025 h 7458372"/>
              <a:gd name="connsiteX42909" fmla="*/ 3707964 w 10505529"/>
              <a:gd name="connsiteY42909" fmla="*/ 268505 h 7458372"/>
              <a:gd name="connsiteX42910" fmla="*/ 3699578 w 10505529"/>
              <a:gd name="connsiteY42910" fmla="*/ 247339 h 7458372"/>
              <a:gd name="connsiteX42911" fmla="*/ 3707964 w 10505529"/>
              <a:gd name="connsiteY42911" fmla="*/ 226307 h 7458372"/>
              <a:gd name="connsiteX42912" fmla="*/ 3729795 w 10505529"/>
              <a:gd name="connsiteY42912" fmla="*/ 217654 h 7458372"/>
              <a:gd name="connsiteX42913" fmla="*/ 3947442 w 10505529"/>
              <a:gd name="connsiteY42913" fmla="*/ 217654 h 7458372"/>
              <a:gd name="connsiteX42914" fmla="*/ 3959157 w 10505529"/>
              <a:gd name="connsiteY42914" fmla="*/ 220183 h 7458372"/>
              <a:gd name="connsiteX42915" fmla="*/ 3968474 w 10505529"/>
              <a:gd name="connsiteY42915" fmla="*/ 226573 h 7458372"/>
              <a:gd name="connsiteX42916" fmla="*/ 3974598 w 10505529"/>
              <a:gd name="connsiteY42916" fmla="*/ 235891 h 7458372"/>
              <a:gd name="connsiteX42917" fmla="*/ 3976862 w 10505529"/>
              <a:gd name="connsiteY42917" fmla="*/ 247339 h 7458372"/>
              <a:gd name="connsiteX42918" fmla="*/ 3974598 w 10505529"/>
              <a:gd name="connsiteY42918" fmla="*/ 259054 h 7458372"/>
              <a:gd name="connsiteX42919" fmla="*/ 3968474 w 10505529"/>
              <a:gd name="connsiteY42919" fmla="*/ 268505 h 7458372"/>
              <a:gd name="connsiteX42920" fmla="*/ 3959157 w 10505529"/>
              <a:gd name="connsiteY42920" fmla="*/ 274762 h 7458372"/>
              <a:gd name="connsiteX42921" fmla="*/ 3947442 w 10505529"/>
              <a:gd name="connsiteY42921" fmla="*/ 277025 h 7458372"/>
              <a:gd name="connsiteX42922" fmla="*/ 3925610 w 10505529"/>
              <a:gd name="connsiteY42922" fmla="*/ 268505 h 7458372"/>
              <a:gd name="connsiteX42923" fmla="*/ 3917224 w 10505529"/>
              <a:gd name="connsiteY42923" fmla="*/ 247339 h 7458372"/>
              <a:gd name="connsiteX42924" fmla="*/ 3925610 w 10505529"/>
              <a:gd name="connsiteY42924" fmla="*/ 226307 h 7458372"/>
              <a:gd name="connsiteX42925" fmla="*/ 3947442 w 10505529"/>
              <a:gd name="connsiteY42925" fmla="*/ 217654 h 7458372"/>
              <a:gd name="connsiteX42926" fmla="*/ 4165068 w 10505529"/>
              <a:gd name="connsiteY42926" fmla="*/ 217654 h 7458372"/>
              <a:gd name="connsiteX42927" fmla="*/ 4176782 w 10505529"/>
              <a:gd name="connsiteY42927" fmla="*/ 220183 h 7458372"/>
              <a:gd name="connsiteX42928" fmla="*/ 4186100 w 10505529"/>
              <a:gd name="connsiteY42928" fmla="*/ 226573 h 7458372"/>
              <a:gd name="connsiteX42929" fmla="*/ 4192223 w 10505529"/>
              <a:gd name="connsiteY42929" fmla="*/ 235891 h 7458372"/>
              <a:gd name="connsiteX42930" fmla="*/ 4194486 w 10505529"/>
              <a:gd name="connsiteY42930" fmla="*/ 247339 h 7458372"/>
              <a:gd name="connsiteX42931" fmla="*/ 4192223 w 10505529"/>
              <a:gd name="connsiteY42931" fmla="*/ 259053 h 7458372"/>
              <a:gd name="connsiteX42932" fmla="*/ 4186100 w 10505529"/>
              <a:gd name="connsiteY42932" fmla="*/ 268505 h 7458372"/>
              <a:gd name="connsiteX42933" fmla="*/ 4176782 w 10505529"/>
              <a:gd name="connsiteY42933" fmla="*/ 274762 h 7458372"/>
              <a:gd name="connsiteX42934" fmla="*/ 4165068 w 10505529"/>
              <a:gd name="connsiteY42934" fmla="*/ 277025 h 7458372"/>
              <a:gd name="connsiteX42935" fmla="*/ 4143235 w 10505529"/>
              <a:gd name="connsiteY42935" fmla="*/ 268505 h 7458372"/>
              <a:gd name="connsiteX42936" fmla="*/ 4134849 w 10505529"/>
              <a:gd name="connsiteY42936" fmla="*/ 247339 h 7458372"/>
              <a:gd name="connsiteX42937" fmla="*/ 4143235 w 10505529"/>
              <a:gd name="connsiteY42937" fmla="*/ 226307 h 7458372"/>
              <a:gd name="connsiteX42938" fmla="*/ 4165068 w 10505529"/>
              <a:gd name="connsiteY42938" fmla="*/ 217654 h 7458372"/>
              <a:gd name="connsiteX42939" fmla="*/ 4382713 w 10505529"/>
              <a:gd name="connsiteY42939" fmla="*/ 217654 h 7458372"/>
              <a:gd name="connsiteX42940" fmla="*/ 4394428 w 10505529"/>
              <a:gd name="connsiteY42940" fmla="*/ 220183 h 7458372"/>
              <a:gd name="connsiteX42941" fmla="*/ 4403746 w 10505529"/>
              <a:gd name="connsiteY42941" fmla="*/ 226573 h 7458372"/>
              <a:gd name="connsiteX42942" fmla="*/ 4409869 w 10505529"/>
              <a:gd name="connsiteY42942" fmla="*/ 235891 h 7458372"/>
              <a:gd name="connsiteX42943" fmla="*/ 4412132 w 10505529"/>
              <a:gd name="connsiteY42943" fmla="*/ 247339 h 7458372"/>
              <a:gd name="connsiteX42944" fmla="*/ 4409869 w 10505529"/>
              <a:gd name="connsiteY42944" fmla="*/ 259053 h 7458372"/>
              <a:gd name="connsiteX42945" fmla="*/ 4403746 w 10505529"/>
              <a:gd name="connsiteY42945" fmla="*/ 268505 h 7458372"/>
              <a:gd name="connsiteX42946" fmla="*/ 4394428 w 10505529"/>
              <a:gd name="connsiteY42946" fmla="*/ 274762 h 7458372"/>
              <a:gd name="connsiteX42947" fmla="*/ 4382713 w 10505529"/>
              <a:gd name="connsiteY42947" fmla="*/ 277025 h 7458372"/>
              <a:gd name="connsiteX42948" fmla="*/ 4360881 w 10505529"/>
              <a:gd name="connsiteY42948" fmla="*/ 268505 h 7458372"/>
              <a:gd name="connsiteX42949" fmla="*/ 4352495 w 10505529"/>
              <a:gd name="connsiteY42949" fmla="*/ 247339 h 7458372"/>
              <a:gd name="connsiteX42950" fmla="*/ 4360881 w 10505529"/>
              <a:gd name="connsiteY42950" fmla="*/ 226307 h 7458372"/>
              <a:gd name="connsiteX42951" fmla="*/ 4382713 w 10505529"/>
              <a:gd name="connsiteY42951" fmla="*/ 217654 h 7458372"/>
              <a:gd name="connsiteX42952" fmla="*/ 4600226 w 10505529"/>
              <a:gd name="connsiteY42952" fmla="*/ 217653 h 7458372"/>
              <a:gd name="connsiteX42953" fmla="*/ 4612073 w 10505529"/>
              <a:gd name="connsiteY42953" fmla="*/ 220183 h 7458372"/>
              <a:gd name="connsiteX42954" fmla="*/ 4621391 w 10505529"/>
              <a:gd name="connsiteY42954" fmla="*/ 226573 h 7458372"/>
              <a:gd name="connsiteX42955" fmla="*/ 4627514 w 10505529"/>
              <a:gd name="connsiteY42955" fmla="*/ 235891 h 7458372"/>
              <a:gd name="connsiteX42956" fmla="*/ 4629777 w 10505529"/>
              <a:gd name="connsiteY42956" fmla="*/ 247339 h 7458372"/>
              <a:gd name="connsiteX42957" fmla="*/ 4627514 w 10505529"/>
              <a:gd name="connsiteY42957" fmla="*/ 259053 h 7458372"/>
              <a:gd name="connsiteX42958" fmla="*/ 4621391 w 10505529"/>
              <a:gd name="connsiteY42958" fmla="*/ 268504 h 7458372"/>
              <a:gd name="connsiteX42959" fmla="*/ 4612073 w 10505529"/>
              <a:gd name="connsiteY42959" fmla="*/ 274762 h 7458372"/>
              <a:gd name="connsiteX42960" fmla="*/ 4600226 w 10505529"/>
              <a:gd name="connsiteY42960" fmla="*/ 277025 h 7458372"/>
              <a:gd name="connsiteX42961" fmla="*/ 4578393 w 10505529"/>
              <a:gd name="connsiteY42961" fmla="*/ 268504 h 7458372"/>
              <a:gd name="connsiteX42962" fmla="*/ 4570007 w 10505529"/>
              <a:gd name="connsiteY42962" fmla="*/ 247339 h 7458372"/>
              <a:gd name="connsiteX42963" fmla="*/ 4578393 w 10505529"/>
              <a:gd name="connsiteY42963" fmla="*/ 226307 h 7458372"/>
              <a:gd name="connsiteX42964" fmla="*/ 4600226 w 10505529"/>
              <a:gd name="connsiteY42964" fmla="*/ 217653 h 7458372"/>
              <a:gd name="connsiteX42965" fmla="*/ 4817870 w 10505529"/>
              <a:gd name="connsiteY42965" fmla="*/ 217653 h 7458372"/>
              <a:gd name="connsiteX42966" fmla="*/ 4829585 w 10505529"/>
              <a:gd name="connsiteY42966" fmla="*/ 220182 h 7458372"/>
              <a:gd name="connsiteX42967" fmla="*/ 4838903 w 10505529"/>
              <a:gd name="connsiteY42967" fmla="*/ 226573 h 7458372"/>
              <a:gd name="connsiteX42968" fmla="*/ 4845026 w 10505529"/>
              <a:gd name="connsiteY42968" fmla="*/ 235891 h 7458372"/>
              <a:gd name="connsiteX42969" fmla="*/ 4847289 w 10505529"/>
              <a:gd name="connsiteY42969" fmla="*/ 247339 h 7458372"/>
              <a:gd name="connsiteX42970" fmla="*/ 4845026 w 10505529"/>
              <a:gd name="connsiteY42970" fmla="*/ 259053 h 7458372"/>
              <a:gd name="connsiteX42971" fmla="*/ 4838903 w 10505529"/>
              <a:gd name="connsiteY42971" fmla="*/ 268504 h 7458372"/>
              <a:gd name="connsiteX42972" fmla="*/ 4829585 w 10505529"/>
              <a:gd name="connsiteY42972" fmla="*/ 274761 h 7458372"/>
              <a:gd name="connsiteX42973" fmla="*/ 4817870 w 10505529"/>
              <a:gd name="connsiteY42973" fmla="*/ 277024 h 7458372"/>
              <a:gd name="connsiteX42974" fmla="*/ 4796038 w 10505529"/>
              <a:gd name="connsiteY42974" fmla="*/ 268504 h 7458372"/>
              <a:gd name="connsiteX42975" fmla="*/ 4787652 w 10505529"/>
              <a:gd name="connsiteY42975" fmla="*/ 247339 h 7458372"/>
              <a:gd name="connsiteX42976" fmla="*/ 4796038 w 10505529"/>
              <a:gd name="connsiteY42976" fmla="*/ 226307 h 7458372"/>
              <a:gd name="connsiteX42977" fmla="*/ 4817870 w 10505529"/>
              <a:gd name="connsiteY42977" fmla="*/ 217653 h 7458372"/>
              <a:gd name="connsiteX42978" fmla="*/ 5035515 w 10505529"/>
              <a:gd name="connsiteY42978" fmla="*/ 217653 h 7458372"/>
              <a:gd name="connsiteX42979" fmla="*/ 5047230 w 10505529"/>
              <a:gd name="connsiteY42979" fmla="*/ 220182 h 7458372"/>
              <a:gd name="connsiteX42980" fmla="*/ 5056548 w 10505529"/>
              <a:gd name="connsiteY42980" fmla="*/ 226572 h 7458372"/>
              <a:gd name="connsiteX42981" fmla="*/ 5062671 w 10505529"/>
              <a:gd name="connsiteY42981" fmla="*/ 235891 h 7458372"/>
              <a:gd name="connsiteX42982" fmla="*/ 5064934 w 10505529"/>
              <a:gd name="connsiteY42982" fmla="*/ 247339 h 7458372"/>
              <a:gd name="connsiteX42983" fmla="*/ 5062671 w 10505529"/>
              <a:gd name="connsiteY42983" fmla="*/ 259053 h 7458372"/>
              <a:gd name="connsiteX42984" fmla="*/ 5056548 w 10505529"/>
              <a:gd name="connsiteY42984" fmla="*/ 268504 h 7458372"/>
              <a:gd name="connsiteX42985" fmla="*/ 5047230 w 10505529"/>
              <a:gd name="connsiteY42985" fmla="*/ 274761 h 7458372"/>
              <a:gd name="connsiteX42986" fmla="*/ 5035515 w 10505529"/>
              <a:gd name="connsiteY42986" fmla="*/ 277024 h 7458372"/>
              <a:gd name="connsiteX42987" fmla="*/ 5013683 w 10505529"/>
              <a:gd name="connsiteY42987" fmla="*/ 268504 h 7458372"/>
              <a:gd name="connsiteX42988" fmla="*/ 5005297 w 10505529"/>
              <a:gd name="connsiteY42988" fmla="*/ 247339 h 7458372"/>
              <a:gd name="connsiteX42989" fmla="*/ 5013683 w 10505529"/>
              <a:gd name="connsiteY42989" fmla="*/ 226306 h 7458372"/>
              <a:gd name="connsiteX42990" fmla="*/ 5035515 w 10505529"/>
              <a:gd name="connsiteY42990" fmla="*/ 217653 h 7458372"/>
              <a:gd name="connsiteX42991" fmla="*/ 5253160 w 10505529"/>
              <a:gd name="connsiteY42991" fmla="*/ 217653 h 7458372"/>
              <a:gd name="connsiteX42992" fmla="*/ 5264875 w 10505529"/>
              <a:gd name="connsiteY42992" fmla="*/ 220182 h 7458372"/>
              <a:gd name="connsiteX42993" fmla="*/ 5274192 w 10505529"/>
              <a:gd name="connsiteY42993" fmla="*/ 226572 h 7458372"/>
              <a:gd name="connsiteX42994" fmla="*/ 5280316 w 10505529"/>
              <a:gd name="connsiteY42994" fmla="*/ 235891 h 7458372"/>
              <a:gd name="connsiteX42995" fmla="*/ 5282579 w 10505529"/>
              <a:gd name="connsiteY42995" fmla="*/ 247339 h 7458372"/>
              <a:gd name="connsiteX42996" fmla="*/ 5280316 w 10505529"/>
              <a:gd name="connsiteY42996" fmla="*/ 259053 h 7458372"/>
              <a:gd name="connsiteX42997" fmla="*/ 5274192 w 10505529"/>
              <a:gd name="connsiteY42997" fmla="*/ 268504 h 7458372"/>
              <a:gd name="connsiteX42998" fmla="*/ 5264875 w 10505529"/>
              <a:gd name="connsiteY42998" fmla="*/ 274761 h 7458372"/>
              <a:gd name="connsiteX42999" fmla="*/ 5253160 w 10505529"/>
              <a:gd name="connsiteY42999" fmla="*/ 277024 h 7458372"/>
              <a:gd name="connsiteX43000" fmla="*/ 5231328 w 10505529"/>
              <a:gd name="connsiteY43000" fmla="*/ 268504 h 7458372"/>
              <a:gd name="connsiteX43001" fmla="*/ 5222942 w 10505529"/>
              <a:gd name="connsiteY43001" fmla="*/ 247339 h 7458372"/>
              <a:gd name="connsiteX43002" fmla="*/ 5231328 w 10505529"/>
              <a:gd name="connsiteY43002" fmla="*/ 226306 h 7458372"/>
              <a:gd name="connsiteX43003" fmla="*/ 5253160 w 10505529"/>
              <a:gd name="connsiteY43003" fmla="*/ 217653 h 7458372"/>
              <a:gd name="connsiteX43004" fmla="*/ 5470806 w 10505529"/>
              <a:gd name="connsiteY43004" fmla="*/ 217653 h 7458372"/>
              <a:gd name="connsiteX43005" fmla="*/ 5482520 w 10505529"/>
              <a:gd name="connsiteY43005" fmla="*/ 220182 h 7458372"/>
              <a:gd name="connsiteX43006" fmla="*/ 5491838 w 10505529"/>
              <a:gd name="connsiteY43006" fmla="*/ 226572 h 7458372"/>
              <a:gd name="connsiteX43007" fmla="*/ 5497961 w 10505529"/>
              <a:gd name="connsiteY43007" fmla="*/ 235890 h 7458372"/>
              <a:gd name="connsiteX43008" fmla="*/ 5500224 w 10505529"/>
              <a:gd name="connsiteY43008" fmla="*/ 247339 h 7458372"/>
              <a:gd name="connsiteX43009" fmla="*/ 5497961 w 10505529"/>
              <a:gd name="connsiteY43009" fmla="*/ 259053 h 7458372"/>
              <a:gd name="connsiteX43010" fmla="*/ 5491838 w 10505529"/>
              <a:gd name="connsiteY43010" fmla="*/ 268504 h 7458372"/>
              <a:gd name="connsiteX43011" fmla="*/ 5482520 w 10505529"/>
              <a:gd name="connsiteY43011" fmla="*/ 274761 h 7458372"/>
              <a:gd name="connsiteX43012" fmla="*/ 5470806 w 10505529"/>
              <a:gd name="connsiteY43012" fmla="*/ 277024 h 7458372"/>
              <a:gd name="connsiteX43013" fmla="*/ 5448973 w 10505529"/>
              <a:gd name="connsiteY43013" fmla="*/ 268504 h 7458372"/>
              <a:gd name="connsiteX43014" fmla="*/ 5440587 w 10505529"/>
              <a:gd name="connsiteY43014" fmla="*/ 247339 h 7458372"/>
              <a:gd name="connsiteX43015" fmla="*/ 5448973 w 10505529"/>
              <a:gd name="connsiteY43015" fmla="*/ 226306 h 7458372"/>
              <a:gd name="connsiteX43016" fmla="*/ 5470806 w 10505529"/>
              <a:gd name="connsiteY43016" fmla="*/ 217653 h 7458372"/>
              <a:gd name="connsiteX43017" fmla="*/ 5688451 w 10505529"/>
              <a:gd name="connsiteY43017" fmla="*/ 217653 h 7458372"/>
              <a:gd name="connsiteX43018" fmla="*/ 5700165 w 10505529"/>
              <a:gd name="connsiteY43018" fmla="*/ 220182 h 7458372"/>
              <a:gd name="connsiteX43019" fmla="*/ 5709483 w 10505529"/>
              <a:gd name="connsiteY43019" fmla="*/ 226572 h 7458372"/>
              <a:gd name="connsiteX43020" fmla="*/ 5715606 w 10505529"/>
              <a:gd name="connsiteY43020" fmla="*/ 235890 h 7458372"/>
              <a:gd name="connsiteX43021" fmla="*/ 5717869 w 10505529"/>
              <a:gd name="connsiteY43021" fmla="*/ 247338 h 7458372"/>
              <a:gd name="connsiteX43022" fmla="*/ 5715606 w 10505529"/>
              <a:gd name="connsiteY43022" fmla="*/ 259053 h 7458372"/>
              <a:gd name="connsiteX43023" fmla="*/ 5709483 w 10505529"/>
              <a:gd name="connsiteY43023" fmla="*/ 268504 h 7458372"/>
              <a:gd name="connsiteX43024" fmla="*/ 5700165 w 10505529"/>
              <a:gd name="connsiteY43024" fmla="*/ 274761 h 7458372"/>
              <a:gd name="connsiteX43025" fmla="*/ 5688451 w 10505529"/>
              <a:gd name="connsiteY43025" fmla="*/ 277024 h 7458372"/>
              <a:gd name="connsiteX43026" fmla="*/ 5666618 w 10505529"/>
              <a:gd name="connsiteY43026" fmla="*/ 268504 h 7458372"/>
              <a:gd name="connsiteX43027" fmla="*/ 5658232 w 10505529"/>
              <a:gd name="connsiteY43027" fmla="*/ 247338 h 7458372"/>
              <a:gd name="connsiteX43028" fmla="*/ 5666618 w 10505529"/>
              <a:gd name="connsiteY43028" fmla="*/ 226306 h 7458372"/>
              <a:gd name="connsiteX43029" fmla="*/ 5688451 w 10505529"/>
              <a:gd name="connsiteY43029" fmla="*/ 217653 h 7458372"/>
              <a:gd name="connsiteX43030" fmla="*/ 5905963 w 10505529"/>
              <a:gd name="connsiteY43030" fmla="*/ 217653 h 7458372"/>
              <a:gd name="connsiteX43031" fmla="*/ 5917677 w 10505529"/>
              <a:gd name="connsiteY43031" fmla="*/ 220182 h 7458372"/>
              <a:gd name="connsiteX43032" fmla="*/ 5926995 w 10505529"/>
              <a:gd name="connsiteY43032" fmla="*/ 226572 h 7458372"/>
              <a:gd name="connsiteX43033" fmla="*/ 5933118 w 10505529"/>
              <a:gd name="connsiteY43033" fmla="*/ 235890 h 7458372"/>
              <a:gd name="connsiteX43034" fmla="*/ 5935381 w 10505529"/>
              <a:gd name="connsiteY43034" fmla="*/ 247338 h 7458372"/>
              <a:gd name="connsiteX43035" fmla="*/ 5933118 w 10505529"/>
              <a:gd name="connsiteY43035" fmla="*/ 259053 h 7458372"/>
              <a:gd name="connsiteX43036" fmla="*/ 5926995 w 10505529"/>
              <a:gd name="connsiteY43036" fmla="*/ 268504 h 7458372"/>
              <a:gd name="connsiteX43037" fmla="*/ 5917677 w 10505529"/>
              <a:gd name="connsiteY43037" fmla="*/ 274761 h 7458372"/>
              <a:gd name="connsiteX43038" fmla="*/ 5905963 w 10505529"/>
              <a:gd name="connsiteY43038" fmla="*/ 277024 h 7458372"/>
              <a:gd name="connsiteX43039" fmla="*/ 5884130 w 10505529"/>
              <a:gd name="connsiteY43039" fmla="*/ 268504 h 7458372"/>
              <a:gd name="connsiteX43040" fmla="*/ 5875744 w 10505529"/>
              <a:gd name="connsiteY43040" fmla="*/ 247338 h 7458372"/>
              <a:gd name="connsiteX43041" fmla="*/ 5884130 w 10505529"/>
              <a:gd name="connsiteY43041" fmla="*/ 226306 h 7458372"/>
              <a:gd name="connsiteX43042" fmla="*/ 5905963 w 10505529"/>
              <a:gd name="connsiteY43042" fmla="*/ 217653 h 7458372"/>
              <a:gd name="connsiteX43043" fmla="*/ 6123608 w 10505529"/>
              <a:gd name="connsiteY43043" fmla="*/ 217653 h 7458372"/>
              <a:gd name="connsiteX43044" fmla="*/ 6135322 w 10505529"/>
              <a:gd name="connsiteY43044" fmla="*/ 220182 h 7458372"/>
              <a:gd name="connsiteX43045" fmla="*/ 6144640 w 10505529"/>
              <a:gd name="connsiteY43045" fmla="*/ 226572 h 7458372"/>
              <a:gd name="connsiteX43046" fmla="*/ 6150763 w 10505529"/>
              <a:gd name="connsiteY43046" fmla="*/ 235890 h 7458372"/>
              <a:gd name="connsiteX43047" fmla="*/ 6153026 w 10505529"/>
              <a:gd name="connsiteY43047" fmla="*/ 247338 h 7458372"/>
              <a:gd name="connsiteX43048" fmla="*/ 6150763 w 10505529"/>
              <a:gd name="connsiteY43048" fmla="*/ 259052 h 7458372"/>
              <a:gd name="connsiteX43049" fmla="*/ 6144640 w 10505529"/>
              <a:gd name="connsiteY43049" fmla="*/ 268504 h 7458372"/>
              <a:gd name="connsiteX43050" fmla="*/ 6135322 w 10505529"/>
              <a:gd name="connsiteY43050" fmla="*/ 274761 h 7458372"/>
              <a:gd name="connsiteX43051" fmla="*/ 6123608 w 10505529"/>
              <a:gd name="connsiteY43051" fmla="*/ 277024 h 7458372"/>
              <a:gd name="connsiteX43052" fmla="*/ 6101775 w 10505529"/>
              <a:gd name="connsiteY43052" fmla="*/ 268504 h 7458372"/>
              <a:gd name="connsiteX43053" fmla="*/ 6093389 w 10505529"/>
              <a:gd name="connsiteY43053" fmla="*/ 247338 h 7458372"/>
              <a:gd name="connsiteX43054" fmla="*/ 6101775 w 10505529"/>
              <a:gd name="connsiteY43054" fmla="*/ 226306 h 7458372"/>
              <a:gd name="connsiteX43055" fmla="*/ 6123608 w 10505529"/>
              <a:gd name="connsiteY43055" fmla="*/ 217653 h 7458372"/>
              <a:gd name="connsiteX43056" fmla="*/ 6341253 w 10505529"/>
              <a:gd name="connsiteY43056" fmla="*/ 217653 h 7458372"/>
              <a:gd name="connsiteX43057" fmla="*/ 6352968 w 10505529"/>
              <a:gd name="connsiteY43057" fmla="*/ 220182 h 7458372"/>
              <a:gd name="connsiteX43058" fmla="*/ 6362286 w 10505529"/>
              <a:gd name="connsiteY43058" fmla="*/ 226572 h 7458372"/>
              <a:gd name="connsiteX43059" fmla="*/ 6368409 w 10505529"/>
              <a:gd name="connsiteY43059" fmla="*/ 235890 h 7458372"/>
              <a:gd name="connsiteX43060" fmla="*/ 6370672 w 10505529"/>
              <a:gd name="connsiteY43060" fmla="*/ 247338 h 7458372"/>
              <a:gd name="connsiteX43061" fmla="*/ 6368409 w 10505529"/>
              <a:gd name="connsiteY43061" fmla="*/ 259052 h 7458372"/>
              <a:gd name="connsiteX43062" fmla="*/ 6362286 w 10505529"/>
              <a:gd name="connsiteY43062" fmla="*/ 268504 h 7458372"/>
              <a:gd name="connsiteX43063" fmla="*/ 6352968 w 10505529"/>
              <a:gd name="connsiteY43063" fmla="*/ 274761 h 7458372"/>
              <a:gd name="connsiteX43064" fmla="*/ 6341253 w 10505529"/>
              <a:gd name="connsiteY43064" fmla="*/ 277024 h 7458372"/>
              <a:gd name="connsiteX43065" fmla="*/ 6319421 w 10505529"/>
              <a:gd name="connsiteY43065" fmla="*/ 268504 h 7458372"/>
              <a:gd name="connsiteX43066" fmla="*/ 6311035 w 10505529"/>
              <a:gd name="connsiteY43066" fmla="*/ 247338 h 7458372"/>
              <a:gd name="connsiteX43067" fmla="*/ 6319421 w 10505529"/>
              <a:gd name="connsiteY43067" fmla="*/ 226306 h 7458372"/>
              <a:gd name="connsiteX43068" fmla="*/ 6341253 w 10505529"/>
              <a:gd name="connsiteY43068" fmla="*/ 217653 h 7458372"/>
              <a:gd name="connsiteX43069" fmla="*/ 6558899 w 10505529"/>
              <a:gd name="connsiteY43069" fmla="*/ 217652 h 7458372"/>
              <a:gd name="connsiteX43070" fmla="*/ 6570612 w 10505529"/>
              <a:gd name="connsiteY43070" fmla="*/ 220182 h 7458372"/>
              <a:gd name="connsiteX43071" fmla="*/ 6579930 w 10505529"/>
              <a:gd name="connsiteY43071" fmla="*/ 226572 h 7458372"/>
              <a:gd name="connsiteX43072" fmla="*/ 6586054 w 10505529"/>
              <a:gd name="connsiteY43072" fmla="*/ 235890 h 7458372"/>
              <a:gd name="connsiteX43073" fmla="*/ 6588317 w 10505529"/>
              <a:gd name="connsiteY43073" fmla="*/ 247338 h 7458372"/>
              <a:gd name="connsiteX43074" fmla="*/ 6586054 w 10505529"/>
              <a:gd name="connsiteY43074" fmla="*/ 259052 h 7458372"/>
              <a:gd name="connsiteX43075" fmla="*/ 6579930 w 10505529"/>
              <a:gd name="connsiteY43075" fmla="*/ 268503 h 7458372"/>
              <a:gd name="connsiteX43076" fmla="*/ 6570612 w 10505529"/>
              <a:gd name="connsiteY43076" fmla="*/ 274761 h 7458372"/>
              <a:gd name="connsiteX43077" fmla="*/ 6558899 w 10505529"/>
              <a:gd name="connsiteY43077" fmla="*/ 277024 h 7458372"/>
              <a:gd name="connsiteX43078" fmla="*/ 6537066 w 10505529"/>
              <a:gd name="connsiteY43078" fmla="*/ 268503 h 7458372"/>
              <a:gd name="connsiteX43079" fmla="*/ 6528680 w 10505529"/>
              <a:gd name="connsiteY43079" fmla="*/ 247338 h 7458372"/>
              <a:gd name="connsiteX43080" fmla="*/ 6537066 w 10505529"/>
              <a:gd name="connsiteY43080" fmla="*/ 226306 h 7458372"/>
              <a:gd name="connsiteX43081" fmla="*/ 6558899 w 10505529"/>
              <a:gd name="connsiteY43081" fmla="*/ 217652 h 7458372"/>
              <a:gd name="connsiteX43082" fmla="*/ 6776544 w 10505529"/>
              <a:gd name="connsiteY43082" fmla="*/ 217652 h 7458372"/>
              <a:gd name="connsiteX43083" fmla="*/ 6788258 w 10505529"/>
              <a:gd name="connsiteY43083" fmla="*/ 220181 h 7458372"/>
              <a:gd name="connsiteX43084" fmla="*/ 6797576 w 10505529"/>
              <a:gd name="connsiteY43084" fmla="*/ 226572 h 7458372"/>
              <a:gd name="connsiteX43085" fmla="*/ 6803699 w 10505529"/>
              <a:gd name="connsiteY43085" fmla="*/ 235890 h 7458372"/>
              <a:gd name="connsiteX43086" fmla="*/ 6805963 w 10505529"/>
              <a:gd name="connsiteY43086" fmla="*/ 247338 h 7458372"/>
              <a:gd name="connsiteX43087" fmla="*/ 6803699 w 10505529"/>
              <a:gd name="connsiteY43087" fmla="*/ 259052 h 7458372"/>
              <a:gd name="connsiteX43088" fmla="*/ 6797576 w 10505529"/>
              <a:gd name="connsiteY43088" fmla="*/ 268503 h 7458372"/>
              <a:gd name="connsiteX43089" fmla="*/ 6788258 w 10505529"/>
              <a:gd name="connsiteY43089" fmla="*/ 274760 h 7458372"/>
              <a:gd name="connsiteX43090" fmla="*/ 6776544 w 10505529"/>
              <a:gd name="connsiteY43090" fmla="*/ 277023 h 7458372"/>
              <a:gd name="connsiteX43091" fmla="*/ 6754711 w 10505529"/>
              <a:gd name="connsiteY43091" fmla="*/ 268503 h 7458372"/>
              <a:gd name="connsiteX43092" fmla="*/ 6746325 w 10505529"/>
              <a:gd name="connsiteY43092" fmla="*/ 247338 h 7458372"/>
              <a:gd name="connsiteX43093" fmla="*/ 6754711 w 10505529"/>
              <a:gd name="connsiteY43093" fmla="*/ 226306 h 7458372"/>
              <a:gd name="connsiteX43094" fmla="*/ 6776544 w 10505529"/>
              <a:gd name="connsiteY43094" fmla="*/ 217652 h 7458372"/>
              <a:gd name="connsiteX43095" fmla="*/ 6994056 w 10505529"/>
              <a:gd name="connsiteY43095" fmla="*/ 217652 h 7458372"/>
              <a:gd name="connsiteX43096" fmla="*/ 7005769 w 10505529"/>
              <a:gd name="connsiteY43096" fmla="*/ 220181 h 7458372"/>
              <a:gd name="connsiteX43097" fmla="*/ 7015087 w 10505529"/>
              <a:gd name="connsiteY43097" fmla="*/ 226571 h 7458372"/>
              <a:gd name="connsiteX43098" fmla="*/ 7021211 w 10505529"/>
              <a:gd name="connsiteY43098" fmla="*/ 235890 h 7458372"/>
              <a:gd name="connsiteX43099" fmla="*/ 7023474 w 10505529"/>
              <a:gd name="connsiteY43099" fmla="*/ 247338 h 7458372"/>
              <a:gd name="connsiteX43100" fmla="*/ 7021211 w 10505529"/>
              <a:gd name="connsiteY43100" fmla="*/ 259052 h 7458372"/>
              <a:gd name="connsiteX43101" fmla="*/ 7015087 w 10505529"/>
              <a:gd name="connsiteY43101" fmla="*/ 268503 h 7458372"/>
              <a:gd name="connsiteX43102" fmla="*/ 7005769 w 10505529"/>
              <a:gd name="connsiteY43102" fmla="*/ 274760 h 7458372"/>
              <a:gd name="connsiteX43103" fmla="*/ 6994056 w 10505529"/>
              <a:gd name="connsiteY43103" fmla="*/ 277023 h 7458372"/>
              <a:gd name="connsiteX43104" fmla="*/ 6972223 w 10505529"/>
              <a:gd name="connsiteY43104" fmla="*/ 268503 h 7458372"/>
              <a:gd name="connsiteX43105" fmla="*/ 6963837 w 10505529"/>
              <a:gd name="connsiteY43105" fmla="*/ 247338 h 7458372"/>
              <a:gd name="connsiteX43106" fmla="*/ 6972223 w 10505529"/>
              <a:gd name="connsiteY43106" fmla="*/ 226305 h 7458372"/>
              <a:gd name="connsiteX43107" fmla="*/ 6994056 w 10505529"/>
              <a:gd name="connsiteY43107" fmla="*/ 217652 h 7458372"/>
              <a:gd name="connsiteX43108" fmla="*/ 7211701 w 10505529"/>
              <a:gd name="connsiteY43108" fmla="*/ 217652 h 7458372"/>
              <a:gd name="connsiteX43109" fmla="*/ 7223415 w 10505529"/>
              <a:gd name="connsiteY43109" fmla="*/ 220181 h 7458372"/>
              <a:gd name="connsiteX43110" fmla="*/ 7232733 w 10505529"/>
              <a:gd name="connsiteY43110" fmla="*/ 226571 h 7458372"/>
              <a:gd name="connsiteX43111" fmla="*/ 7238856 w 10505529"/>
              <a:gd name="connsiteY43111" fmla="*/ 235890 h 7458372"/>
              <a:gd name="connsiteX43112" fmla="*/ 7241120 w 10505529"/>
              <a:gd name="connsiteY43112" fmla="*/ 247338 h 7458372"/>
              <a:gd name="connsiteX43113" fmla="*/ 7238856 w 10505529"/>
              <a:gd name="connsiteY43113" fmla="*/ 259052 h 7458372"/>
              <a:gd name="connsiteX43114" fmla="*/ 7232733 w 10505529"/>
              <a:gd name="connsiteY43114" fmla="*/ 268503 h 7458372"/>
              <a:gd name="connsiteX43115" fmla="*/ 7223415 w 10505529"/>
              <a:gd name="connsiteY43115" fmla="*/ 274760 h 7458372"/>
              <a:gd name="connsiteX43116" fmla="*/ 7211701 w 10505529"/>
              <a:gd name="connsiteY43116" fmla="*/ 277023 h 7458372"/>
              <a:gd name="connsiteX43117" fmla="*/ 7189868 w 10505529"/>
              <a:gd name="connsiteY43117" fmla="*/ 268503 h 7458372"/>
              <a:gd name="connsiteX43118" fmla="*/ 7181482 w 10505529"/>
              <a:gd name="connsiteY43118" fmla="*/ 247338 h 7458372"/>
              <a:gd name="connsiteX43119" fmla="*/ 7189868 w 10505529"/>
              <a:gd name="connsiteY43119" fmla="*/ 226305 h 7458372"/>
              <a:gd name="connsiteX43120" fmla="*/ 7211701 w 10505529"/>
              <a:gd name="connsiteY43120" fmla="*/ 217652 h 7458372"/>
              <a:gd name="connsiteX43121" fmla="*/ 7429345 w 10505529"/>
              <a:gd name="connsiteY43121" fmla="*/ 217652 h 7458372"/>
              <a:gd name="connsiteX43122" fmla="*/ 7441059 w 10505529"/>
              <a:gd name="connsiteY43122" fmla="*/ 220181 h 7458372"/>
              <a:gd name="connsiteX43123" fmla="*/ 7450377 w 10505529"/>
              <a:gd name="connsiteY43123" fmla="*/ 226571 h 7458372"/>
              <a:gd name="connsiteX43124" fmla="*/ 7456501 w 10505529"/>
              <a:gd name="connsiteY43124" fmla="*/ 235889 h 7458372"/>
              <a:gd name="connsiteX43125" fmla="*/ 7458764 w 10505529"/>
              <a:gd name="connsiteY43125" fmla="*/ 247338 h 7458372"/>
              <a:gd name="connsiteX43126" fmla="*/ 7456501 w 10505529"/>
              <a:gd name="connsiteY43126" fmla="*/ 259052 h 7458372"/>
              <a:gd name="connsiteX43127" fmla="*/ 7450377 w 10505529"/>
              <a:gd name="connsiteY43127" fmla="*/ 268503 h 7458372"/>
              <a:gd name="connsiteX43128" fmla="*/ 7441059 w 10505529"/>
              <a:gd name="connsiteY43128" fmla="*/ 274760 h 7458372"/>
              <a:gd name="connsiteX43129" fmla="*/ 7429345 w 10505529"/>
              <a:gd name="connsiteY43129" fmla="*/ 277023 h 7458372"/>
              <a:gd name="connsiteX43130" fmla="*/ 7407513 w 10505529"/>
              <a:gd name="connsiteY43130" fmla="*/ 268503 h 7458372"/>
              <a:gd name="connsiteX43131" fmla="*/ 7399127 w 10505529"/>
              <a:gd name="connsiteY43131" fmla="*/ 247338 h 7458372"/>
              <a:gd name="connsiteX43132" fmla="*/ 7407513 w 10505529"/>
              <a:gd name="connsiteY43132" fmla="*/ 226305 h 7458372"/>
              <a:gd name="connsiteX43133" fmla="*/ 7429345 w 10505529"/>
              <a:gd name="connsiteY43133" fmla="*/ 217652 h 7458372"/>
              <a:gd name="connsiteX43134" fmla="*/ 7646991 w 10505529"/>
              <a:gd name="connsiteY43134" fmla="*/ 217652 h 7458372"/>
              <a:gd name="connsiteX43135" fmla="*/ 7658705 w 10505529"/>
              <a:gd name="connsiteY43135" fmla="*/ 220181 h 7458372"/>
              <a:gd name="connsiteX43136" fmla="*/ 7668022 w 10505529"/>
              <a:gd name="connsiteY43136" fmla="*/ 226571 h 7458372"/>
              <a:gd name="connsiteX43137" fmla="*/ 7674146 w 10505529"/>
              <a:gd name="connsiteY43137" fmla="*/ 235889 h 7458372"/>
              <a:gd name="connsiteX43138" fmla="*/ 7676409 w 10505529"/>
              <a:gd name="connsiteY43138" fmla="*/ 247338 h 7458372"/>
              <a:gd name="connsiteX43139" fmla="*/ 7674146 w 10505529"/>
              <a:gd name="connsiteY43139" fmla="*/ 259052 h 7458372"/>
              <a:gd name="connsiteX43140" fmla="*/ 7668022 w 10505529"/>
              <a:gd name="connsiteY43140" fmla="*/ 268503 h 7458372"/>
              <a:gd name="connsiteX43141" fmla="*/ 7658705 w 10505529"/>
              <a:gd name="connsiteY43141" fmla="*/ 274760 h 7458372"/>
              <a:gd name="connsiteX43142" fmla="*/ 7646991 w 10505529"/>
              <a:gd name="connsiteY43142" fmla="*/ 277023 h 7458372"/>
              <a:gd name="connsiteX43143" fmla="*/ 7625158 w 10505529"/>
              <a:gd name="connsiteY43143" fmla="*/ 268503 h 7458372"/>
              <a:gd name="connsiteX43144" fmla="*/ 7616772 w 10505529"/>
              <a:gd name="connsiteY43144" fmla="*/ 247338 h 7458372"/>
              <a:gd name="connsiteX43145" fmla="*/ 7625158 w 10505529"/>
              <a:gd name="connsiteY43145" fmla="*/ 226305 h 7458372"/>
              <a:gd name="connsiteX43146" fmla="*/ 7646991 w 10505529"/>
              <a:gd name="connsiteY43146" fmla="*/ 217652 h 7458372"/>
              <a:gd name="connsiteX43147" fmla="*/ 7864636 w 10505529"/>
              <a:gd name="connsiteY43147" fmla="*/ 217652 h 7458372"/>
              <a:gd name="connsiteX43148" fmla="*/ 7876483 w 10505529"/>
              <a:gd name="connsiteY43148" fmla="*/ 220181 h 7458372"/>
              <a:gd name="connsiteX43149" fmla="*/ 7885802 w 10505529"/>
              <a:gd name="connsiteY43149" fmla="*/ 226571 h 7458372"/>
              <a:gd name="connsiteX43150" fmla="*/ 7891924 w 10505529"/>
              <a:gd name="connsiteY43150" fmla="*/ 235889 h 7458372"/>
              <a:gd name="connsiteX43151" fmla="*/ 7894188 w 10505529"/>
              <a:gd name="connsiteY43151" fmla="*/ 247337 h 7458372"/>
              <a:gd name="connsiteX43152" fmla="*/ 7891924 w 10505529"/>
              <a:gd name="connsiteY43152" fmla="*/ 259052 h 7458372"/>
              <a:gd name="connsiteX43153" fmla="*/ 7885802 w 10505529"/>
              <a:gd name="connsiteY43153" fmla="*/ 268503 h 7458372"/>
              <a:gd name="connsiteX43154" fmla="*/ 7876483 w 10505529"/>
              <a:gd name="connsiteY43154" fmla="*/ 274760 h 7458372"/>
              <a:gd name="connsiteX43155" fmla="*/ 7864636 w 10505529"/>
              <a:gd name="connsiteY43155" fmla="*/ 277023 h 7458372"/>
              <a:gd name="connsiteX43156" fmla="*/ 7842803 w 10505529"/>
              <a:gd name="connsiteY43156" fmla="*/ 268503 h 7458372"/>
              <a:gd name="connsiteX43157" fmla="*/ 7834417 w 10505529"/>
              <a:gd name="connsiteY43157" fmla="*/ 247337 h 7458372"/>
              <a:gd name="connsiteX43158" fmla="*/ 7842803 w 10505529"/>
              <a:gd name="connsiteY43158" fmla="*/ 226305 h 7458372"/>
              <a:gd name="connsiteX43159" fmla="*/ 7864636 w 10505529"/>
              <a:gd name="connsiteY43159" fmla="*/ 217652 h 7458372"/>
              <a:gd name="connsiteX43160" fmla="*/ 8082281 w 10505529"/>
              <a:gd name="connsiteY43160" fmla="*/ 217652 h 7458372"/>
              <a:gd name="connsiteX43161" fmla="*/ 8094127 w 10505529"/>
              <a:gd name="connsiteY43161" fmla="*/ 220181 h 7458372"/>
              <a:gd name="connsiteX43162" fmla="*/ 8103446 w 10505529"/>
              <a:gd name="connsiteY43162" fmla="*/ 226571 h 7458372"/>
              <a:gd name="connsiteX43163" fmla="*/ 8109569 w 10505529"/>
              <a:gd name="connsiteY43163" fmla="*/ 235889 h 7458372"/>
              <a:gd name="connsiteX43164" fmla="*/ 8111832 w 10505529"/>
              <a:gd name="connsiteY43164" fmla="*/ 247337 h 7458372"/>
              <a:gd name="connsiteX43165" fmla="*/ 8109569 w 10505529"/>
              <a:gd name="connsiteY43165" fmla="*/ 259051 h 7458372"/>
              <a:gd name="connsiteX43166" fmla="*/ 8103446 w 10505529"/>
              <a:gd name="connsiteY43166" fmla="*/ 268503 h 7458372"/>
              <a:gd name="connsiteX43167" fmla="*/ 8094127 w 10505529"/>
              <a:gd name="connsiteY43167" fmla="*/ 274760 h 7458372"/>
              <a:gd name="connsiteX43168" fmla="*/ 8082281 w 10505529"/>
              <a:gd name="connsiteY43168" fmla="*/ 277023 h 7458372"/>
              <a:gd name="connsiteX43169" fmla="*/ 8060448 w 10505529"/>
              <a:gd name="connsiteY43169" fmla="*/ 268503 h 7458372"/>
              <a:gd name="connsiteX43170" fmla="*/ 8052062 w 10505529"/>
              <a:gd name="connsiteY43170" fmla="*/ 247337 h 7458372"/>
              <a:gd name="connsiteX43171" fmla="*/ 8060448 w 10505529"/>
              <a:gd name="connsiteY43171" fmla="*/ 226305 h 7458372"/>
              <a:gd name="connsiteX43172" fmla="*/ 8082281 w 10505529"/>
              <a:gd name="connsiteY43172" fmla="*/ 217652 h 7458372"/>
              <a:gd name="connsiteX43173" fmla="*/ 8299793 w 10505529"/>
              <a:gd name="connsiteY43173" fmla="*/ 217652 h 7458372"/>
              <a:gd name="connsiteX43174" fmla="*/ 8311507 w 10505529"/>
              <a:gd name="connsiteY43174" fmla="*/ 220181 h 7458372"/>
              <a:gd name="connsiteX43175" fmla="*/ 8320825 w 10505529"/>
              <a:gd name="connsiteY43175" fmla="*/ 226571 h 7458372"/>
              <a:gd name="connsiteX43176" fmla="*/ 8326948 w 10505529"/>
              <a:gd name="connsiteY43176" fmla="*/ 235889 h 7458372"/>
              <a:gd name="connsiteX43177" fmla="*/ 8329212 w 10505529"/>
              <a:gd name="connsiteY43177" fmla="*/ 247337 h 7458372"/>
              <a:gd name="connsiteX43178" fmla="*/ 8326948 w 10505529"/>
              <a:gd name="connsiteY43178" fmla="*/ 259051 h 7458372"/>
              <a:gd name="connsiteX43179" fmla="*/ 8320825 w 10505529"/>
              <a:gd name="connsiteY43179" fmla="*/ 268503 h 7458372"/>
              <a:gd name="connsiteX43180" fmla="*/ 8311507 w 10505529"/>
              <a:gd name="connsiteY43180" fmla="*/ 274760 h 7458372"/>
              <a:gd name="connsiteX43181" fmla="*/ 8299793 w 10505529"/>
              <a:gd name="connsiteY43181" fmla="*/ 277023 h 7458372"/>
              <a:gd name="connsiteX43182" fmla="*/ 8277960 w 10505529"/>
              <a:gd name="connsiteY43182" fmla="*/ 268503 h 7458372"/>
              <a:gd name="connsiteX43183" fmla="*/ 8269574 w 10505529"/>
              <a:gd name="connsiteY43183" fmla="*/ 247337 h 7458372"/>
              <a:gd name="connsiteX43184" fmla="*/ 8277960 w 10505529"/>
              <a:gd name="connsiteY43184" fmla="*/ 226305 h 7458372"/>
              <a:gd name="connsiteX43185" fmla="*/ 8299793 w 10505529"/>
              <a:gd name="connsiteY43185" fmla="*/ 217652 h 7458372"/>
              <a:gd name="connsiteX43186" fmla="*/ 8517438 w 10505529"/>
              <a:gd name="connsiteY43186" fmla="*/ 217651 h 7458372"/>
              <a:gd name="connsiteX43187" fmla="*/ 8529152 w 10505529"/>
              <a:gd name="connsiteY43187" fmla="*/ 220181 h 7458372"/>
              <a:gd name="connsiteX43188" fmla="*/ 8538470 w 10505529"/>
              <a:gd name="connsiteY43188" fmla="*/ 226571 h 7458372"/>
              <a:gd name="connsiteX43189" fmla="*/ 8544594 w 10505529"/>
              <a:gd name="connsiteY43189" fmla="*/ 235889 h 7458372"/>
              <a:gd name="connsiteX43190" fmla="*/ 8546857 w 10505529"/>
              <a:gd name="connsiteY43190" fmla="*/ 247337 h 7458372"/>
              <a:gd name="connsiteX43191" fmla="*/ 8544594 w 10505529"/>
              <a:gd name="connsiteY43191" fmla="*/ 259051 h 7458372"/>
              <a:gd name="connsiteX43192" fmla="*/ 8538470 w 10505529"/>
              <a:gd name="connsiteY43192" fmla="*/ 268502 h 7458372"/>
              <a:gd name="connsiteX43193" fmla="*/ 8529152 w 10505529"/>
              <a:gd name="connsiteY43193" fmla="*/ 274760 h 7458372"/>
              <a:gd name="connsiteX43194" fmla="*/ 8517438 w 10505529"/>
              <a:gd name="connsiteY43194" fmla="*/ 277023 h 7458372"/>
              <a:gd name="connsiteX43195" fmla="*/ 8495606 w 10505529"/>
              <a:gd name="connsiteY43195" fmla="*/ 268502 h 7458372"/>
              <a:gd name="connsiteX43196" fmla="*/ 8487220 w 10505529"/>
              <a:gd name="connsiteY43196" fmla="*/ 247337 h 7458372"/>
              <a:gd name="connsiteX43197" fmla="*/ 8495606 w 10505529"/>
              <a:gd name="connsiteY43197" fmla="*/ 226305 h 7458372"/>
              <a:gd name="connsiteX43198" fmla="*/ 8517438 w 10505529"/>
              <a:gd name="connsiteY43198" fmla="*/ 217651 h 7458372"/>
              <a:gd name="connsiteX43199" fmla="*/ 8952728 w 10505529"/>
              <a:gd name="connsiteY43199" fmla="*/ 217651 h 7458372"/>
              <a:gd name="connsiteX43200" fmla="*/ 8964442 w 10505529"/>
              <a:gd name="connsiteY43200" fmla="*/ 220180 h 7458372"/>
              <a:gd name="connsiteX43201" fmla="*/ 8973760 w 10505529"/>
              <a:gd name="connsiteY43201" fmla="*/ 226570 h 7458372"/>
              <a:gd name="connsiteX43202" fmla="*/ 8979884 w 10505529"/>
              <a:gd name="connsiteY43202" fmla="*/ 235889 h 7458372"/>
              <a:gd name="connsiteX43203" fmla="*/ 8982147 w 10505529"/>
              <a:gd name="connsiteY43203" fmla="*/ 247337 h 7458372"/>
              <a:gd name="connsiteX43204" fmla="*/ 8979884 w 10505529"/>
              <a:gd name="connsiteY43204" fmla="*/ 259051 h 7458372"/>
              <a:gd name="connsiteX43205" fmla="*/ 8973760 w 10505529"/>
              <a:gd name="connsiteY43205" fmla="*/ 268502 h 7458372"/>
              <a:gd name="connsiteX43206" fmla="*/ 8964442 w 10505529"/>
              <a:gd name="connsiteY43206" fmla="*/ 274759 h 7458372"/>
              <a:gd name="connsiteX43207" fmla="*/ 8952728 w 10505529"/>
              <a:gd name="connsiteY43207" fmla="*/ 277022 h 7458372"/>
              <a:gd name="connsiteX43208" fmla="*/ 8930896 w 10505529"/>
              <a:gd name="connsiteY43208" fmla="*/ 268502 h 7458372"/>
              <a:gd name="connsiteX43209" fmla="*/ 8922510 w 10505529"/>
              <a:gd name="connsiteY43209" fmla="*/ 247337 h 7458372"/>
              <a:gd name="connsiteX43210" fmla="*/ 8930896 w 10505529"/>
              <a:gd name="connsiteY43210" fmla="*/ 226304 h 7458372"/>
              <a:gd name="connsiteX43211" fmla="*/ 8952728 w 10505529"/>
              <a:gd name="connsiteY43211" fmla="*/ 217651 h 7458372"/>
              <a:gd name="connsiteX43212" fmla="*/ 8735083 w 10505529"/>
              <a:gd name="connsiteY43212" fmla="*/ 217651 h 7458372"/>
              <a:gd name="connsiteX43213" fmla="*/ 8746797 w 10505529"/>
              <a:gd name="connsiteY43213" fmla="*/ 220180 h 7458372"/>
              <a:gd name="connsiteX43214" fmla="*/ 8756115 w 10505529"/>
              <a:gd name="connsiteY43214" fmla="*/ 226571 h 7458372"/>
              <a:gd name="connsiteX43215" fmla="*/ 8762238 w 10505529"/>
              <a:gd name="connsiteY43215" fmla="*/ 235889 h 7458372"/>
              <a:gd name="connsiteX43216" fmla="*/ 8764502 w 10505529"/>
              <a:gd name="connsiteY43216" fmla="*/ 247337 h 7458372"/>
              <a:gd name="connsiteX43217" fmla="*/ 8762238 w 10505529"/>
              <a:gd name="connsiteY43217" fmla="*/ 259051 h 7458372"/>
              <a:gd name="connsiteX43218" fmla="*/ 8756115 w 10505529"/>
              <a:gd name="connsiteY43218" fmla="*/ 268502 h 7458372"/>
              <a:gd name="connsiteX43219" fmla="*/ 8746797 w 10505529"/>
              <a:gd name="connsiteY43219" fmla="*/ 274759 h 7458372"/>
              <a:gd name="connsiteX43220" fmla="*/ 8735083 w 10505529"/>
              <a:gd name="connsiteY43220" fmla="*/ 277022 h 7458372"/>
              <a:gd name="connsiteX43221" fmla="*/ 8713250 w 10505529"/>
              <a:gd name="connsiteY43221" fmla="*/ 268502 h 7458372"/>
              <a:gd name="connsiteX43222" fmla="*/ 8704864 w 10505529"/>
              <a:gd name="connsiteY43222" fmla="*/ 247337 h 7458372"/>
              <a:gd name="connsiteX43223" fmla="*/ 8713250 w 10505529"/>
              <a:gd name="connsiteY43223" fmla="*/ 226305 h 7458372"/>
              <a:gd name="connsiteX43224" fmla="*/ 8735083 w 10505529"/>
              <a:gd name="connsiteY43224" fmla="*/ 217651 h 7458372"/>
              <a:gd name="connsiteX43225" fmla="*/ 9387885 w 10505529"/>
              <a:gd name="connsiteY43225" fmla="*/ 217651 h 7458372"/>
              <a:gd name="connsiteX43226" fmla="*/ 9399599 w 10505529"/>
              <a:gd name="connsiteY43226" fmla="*/ 220180 h 7458372"/>
              <a:gd name="connsiteX43227" fmla="*/ 9408917 w 10505529"/>
              <a:gd name="connsiteY43227" fmla="*/ 226570 h 7458372"/>
              <a:gd name="connsiteX43228" fmla="*/ 9415041 w 10505529"/>
              <a:gd name="connsiteY43228" fmla="*/ 235888 h 7458372"/>
              <a:gd name="connsiteX43229" fmla="*/ 9417304 w 10505529"/>
              <a:gd name="connsiteY43229" fmla="*/ 247337 h 7458372"/>
              <a:gd name="connsiteX43230" fmla="*/ 9415041 w 10505529"/>
              <a:gd name="connsiteY43230" fmla="*/ 259051 h 7458372"/>
              <a:gd name="connsiteX43231" fmla="*/ 9408917 w 10505529"/>
              <a:gd name="connsiteY43231" fmla="*/ 268502 h 7458372"/>
              <a:gd name="connsiteX43232" fmla="*/ 9399599 w 10505529"/>
              <a:gd name="connsiteY43232" fmla="*/ 274759 h 7458372"/>
              <a:gd name="connsiteX43233" fmla="*/ 9387885 w 10505529"/>
              <a:gd name="connsiteY43233" fmla="*/ 277022 h 7458372"/>
              <a:gd name="connsiteX43234" fmla="*/ 9366053 w 10505529"/>
              <a:gd name="connsiteY43234" fmla="*/ 268502 h 7458372"/>
              <a:gd name="connsiteX43235" fmla="*/ 9357667 w 10505529"/>
              <a:gd name="connsiteY43235" fmla="*/ 247337 h 7458372"/>
              <a:gd name="connsiteX43236" fmla="*/ 9366053 w 10505529"/>
              <a:gd name="connsiteY43236" fmla="*/ 226304 h 7458372"/>
              <a:gd name="connsiteX43237" fmla="*/ 9387885 w 10505529"/>
              <a:gd name="connsiteY43237" fmla="*/ 217651 h 7458372"/>
              <a:gd name="connsiteX43238" fmla="*/ 9170374 w 10505529"/>
              <a:gd name="connsiteY43238" fmla="*/ 217651 h 7458372"/>
              <a:gd name="connsiteX43239" fmla="*/ 9182088 w 10505529"/>
              <a:gd name="connsiteY43239" fmla="*/ 220180 h 7458372"/>
              <a:gd name="connsiteX43240" fmla="*/ 9191405 w 10505529"/>
              <a:gd name="connsiteY43240" fmla="*/ 226570 h 7458372"/>
              <a:gd name="connsiteX43241" fmla="*/ 9197529 w 10505529"/>
              <a:gd name="connsiteY43241" fmla="*/ 235889 h 7458372"/>
              <a:gd name="connsiteX43242" fmla="*/ 9199792 w 10505529"/>
              <a:gd name="connsiteY43242" fmla="*/ 247337 h 7458372"/>
              <a:gd name="connsiteX43243" fmla="*/ 9197529 w 10505529"/>
              <a:gd name="connsiteY43243" fmla="*/ 259051 h 7458372"/>
              <a:gd name="connsiteX43244" fmla="*/ 9191405 w 10505529"/>
              <a:gd name="connsiteY43244" fmla="*/ 268502 h 7458372"/>
              <a:gd name="connsiteX43245" fmla="*/ 9182088 w 10505529"/>
              <a:gd name="connsiteY43245" fmla="*/ 274759 h 7458372"/>
              <a:gd name="connsiteX43246" fmla="*/ 9170374 w 10505529"/>
              <a:gd name="connsiteY43246" fmla="*/ 277022 h 7458372"/>
              <a:gd name="connsiteX43247" fmla="*/ 9148541 w 10505529"/>
              <a:gd name="connsiteY43247" fmla="*/ 268502 h 7458372"/>
              <a:gd name="connsiteX43248" fmla="*/ 9140155 w 10505529"/>
              <a:gd name="connsiteY43248" fmla="*/ 247337 h 7458372"/>
              <a:gd name="connsiteX43249" fmla="*/ 9148541 w 10505529"/>
              <a:gd name="connsiteY43249" fmla="*/ 226304 h 7458372"/>
              <a:gd name="connsiteX43250" fmla="*/ 9170374 w 10505529"/>
              <a:gd name="connsiteY43250" fmla="*/ 217651 h 7458372"/>
              <a:gd name="connsiteX43251" fmla="*/ 9605531 w 10505529"/>
              <a:gd name="connsiteY43251" fmla="*/ 217651 h 7458372"/>
              <a:gd name="connsiteX43252" fmla="*/ 9617245 w 10505529"/>
              <a:gd name="connsiteY43252" fmla="*/ 220180 h 7458372"/>
              <a:gd name="connsiteX43253" fmla="*/ 9626562 w 10505529"/>
              <a:gd name="connsiteY43253" fmla="*/ 226570 h 7458372"/>
              <a:gd name="connsiteX43254" fmla="*/ 9632686 w 10505529"/>
              <a:gd name="connsiteY43254" fmla="*/ 235888 h 7458372"/>
              <a:gd name="connsiteX43255" fmla="*/ 9634949 w 10505529"/>
              <a:gd name="connsiteY43255" fmla="*/ 247337 h 7458372"/>
              <a:gd name="connsiteX43256" fmla="*/ 9632686 w 10505529"/>
              <a:gd name="connsiteY43256" fmla="*/ 259051 h 7458372"/>
              <a:gd name="connsiteX43257" fmla="*/ 9626562 w 10505529"/>
              <a:gd name="connsiteY43257" fmla="*/ 268502 h 7458372"/>
              <a:gd name="connsiteX43258" fmla="*/ 9617245 w 10505529"/>
              <a:gd name="connsiteY43258" fmla="*/ 274759 h 7458372"/>
              <a:gd name="connsiteX43259" fmla="*/ 9605531 w 10505529"/>
              <a:gd name="connsiteY43259" fmla="*/ 277022 h 7458372"/>
              <a:gd name="connsiteX43260" fmla="*/ 9583698 w 10505529"/>
              <a:gd name="connsiteY43260" fmla="*/ 268502 h 7458372"/>
              <a:gd name="connsiteX43261" fmla="*/ 9575312 w 10505529"/>
              <a:gd name="connsiteY43261" fmla="*/ 247337 h 7458372"/>
              <a:gd name="connsiteX43262" fmla="*/ 9583698 w 10505529"/>
              <a:gd name="connsiteY43262" fmla="*/ 226304 h 7458372"/>
              <a:gd name="connsiteX43263" fmla="*/ 9605531 w 10505529"/>
              <a:gd name="connsiteY43263" fmla="*/ 217651 h 7458372"/>
              <a:gd name="connsiteX43264" fmla="*/ 9823176 w 10505529"/>
              <a:gd name="connsiteY43264" fmla="*/ 217651 h 7458372"/>
              <a:gd name="connsiteX43265" fmla="*/ 9834890 w 10505529"/>
              <a:gd name="connsiteY43265" fmla="*/ 220180 h 7458372"/>
              <a:gd name="connsiteX43266" fmla="*/ 9844208 w 10505529"/>
              <a:gd name="connsiteY43266" fmla="*/ 226570 h 7458372"/>
              <a:gd name="connsiteX43267" fmla="*/ 9850331 w 10505529"/>
              <a:gd name="connsiteY43267" fmla="*/ 235888 h 7458372"/>
              <a:gd name="connsiteX43268" fmla="*/ 9852595 w 10505529"/>
              <a:gd name="connsiteY43268" fmla="*/ 247336 h 7458372"/>
              <a:gd name="connsiteX43269" fmla="*/ 9850331 w 10505529"/>
              <a:gd name="connsiteY43269" fmla="*/ 259051 h 7458372"/>
              <a:gd name="connsiteX43270" fmla="*/ 9844208 w 10505529"/>
              <a:gd name="connsiteY43270" fmla="*/ 268502 h 7458372"/>
              <a:gd name="connsiteX43271" fmla="*/ 9834890 w 10505529"/>
              <a:gd name="connsiteY43271" fmla="*/ 274759 h 7458372"/>
              <a:gd name="connsiteX43272" fmla="*/ 9823176 w 10505529"/>
              <a:gd name="connsiteY43272" fmla="*/ 277022 h 7458372"/>
              <a:gd name="connsiteX43273" fmla="*/ 9801343 w 10505529"/>
              <a:gd name="connsiteY43273" fmla="*/ 268502 h 7458372"/>
              <a:gd name="connsiteX43274" fmla="*/ 9792957 w 10505529"/>
              <a:gd name="connsiteY43274" fmla="*/ 247336 h 7458372"/>
              <a:gd name="connsiteX43275" fmla="*/ 9801343 w 10505529"/>
              <a:gd name="connsiteY43275" fmla="*/ 226304 h 7458372"/>
              <a:gd name="connsiteX43276" fmla="*/ 9823176 w 10505529"/>
              <a:gd name="connsiteY43276" fmla="*/ 217651 h 7458372"/>
              <a:gd name="connsiteX43277" fmla="*/ 10040820 w 10505529"/>
              <a:gd name="connsiteY43277" fmla="*/ 217651 h 7458372"/>
              <a:gd name="connsiteX43278" fmla="*/ 10052534 w 10505529"/>
              <a:gd name="connsiteY43278" fmla="*/ 220180 h 7458372"/>
              <a:gd name="connsiteX43279" fmla="*/ 10061852 w 10505529"/>
              <a:gd name="connsiteY43279" fmla="*/ 226570 h 7458372"/>
              <a:gd name="connsiteX43280" fmla="*/ 10067976 w 10505529"/>
              <a:gd name="connsiteY43280" fmla="*/ 235888 h 7458372"/>
              <a:gd name="connsiteX43281" fmla="*/ 10070239 w 10505529"/>
              <a:gd name="connsiteY43281" fmla="*/ 247336 h 7458372"/>
              <a:gd name="connsiteX43282" fmla="*/ 10067976 w 10505529"/>
              <a:gd name="connsiteY43282" fmla="*/ 259051 h 7458372"/>
              <a:gd name="connsiteX43283" fmla="*/ 10061852 w 10505529"/>
              <a:gd name="connsiteY43283" fmla="*/ 268502 h 7458372"/>
              <a:gd name="connsiteX43284" fmla="*/ 10052534 w 10505529"/>
              <a:gd name="connsiteY43284" fmla="*/ 274759 h 7458372"/>
              <a:gd name="connsiteX43285" fmla="*/ 10040820 w 10505529"/>
              <a:gd name="connsiteY43285" fmla="*/ 277022 h 7458372"/>
              <a:gd name="connsiteX43286" fmla="*/ 10018988 w 10505529"/>
              <a:gd name="connsiteY43286" fmla="*/ 268502 h 7458372"/>
              <a:gd name="connsiteX43287" fmla="*/ 10010602 w 10505529"/>
              <a:gd name="connsiteY43287" fmla="*/ 247336 h 7458372"/>
              <a:gd name="connsiteX43288" fmla="*/ 10018988 w 10505529"/>
              <a:gd name="connsiteY43288" fmla="*/ 226304 h 7458372"/>
              <a:gd name="connsiteX43289" fmla="*/ 10040820 w 10505529"/>
              <a:gd name="connsiteY43289" fmla="*/ 217651 h 7458372"/>
              <a:gd name="connsiteX43290" fmla="*/ 10258466 w 10505529"/>
              <a:gd name="connsiteY43290" fmla="*/ 217651 h 7458372"/>
              <a:gd name="connsiteX43291" fmla="*/ 10270313 w 10505529"/>
              <a:gd name="connsiteY43291" fmla="*/ 220180 h 7458372"/>
              <a:gd name="connsiteX43292" fmla="*/ 10279631 w 10505529"/>
              <a:gd name="connsiteY43292" fmla="*/ 226570 h 7458372"/>
              <a:gd name="connsiteX43293" fmla="*/ 10285754 w 10505529"/>
              <a:gd name="connsiteY43293" fmla="*/ 235888 h 7458372"/>
              <a:gd name="connsiteX43294" fmla="*/ 10288017 w 10505529"/>
              <a:gd name="connsiteY43294" fmla="*/ 247336 h 7458372"/>
              <a:gd name="connsiteX43295" fmla="*/ 10285754 w 10505529"/>
              <a:gd name="connsiteY43295" fmla="*/ 259050 h 7458372"/>
              <a:gd name="connsiteX43296" fmla="*/ 10279631 w 10505529"/>
              <a:gd name="connsiteY43296" fmla="*/ 268502 h 7458372"/>
              <a:gd name="connsiteX43297" fmla="*/ 10270313 w 10505529"/>
              <a:gd name="connsiteY43297" fmla="*/ 274759 h 7458372"/>
              <a:gd name="connsiteX43298" fmla="*/ 10258466 w 10505529"/>
              <a:gd name="connsiteY43298" fmla="*/ 277022 h 7458372"/>
              <a:gd name="connsiteX43299" fmla="*/ 10236633 w 10505529"/>
              <a:gd name="connsiteY43299" fmla="*/ 268502 h 7458372"/>
              <a:gd name="connsiteX43300" fmla="*/ 10228247 w 10505529"/>
              <a:gd name="connsiteY43300" fmla="*/ 247336 h 7458372"/>
              <a:gd name="connsiteX43301" fmla="*/ 10236633 w 10505529"/>
              <a:gd name="connsiteY43301" fmla="*/ 226304 h 7458372"/>
              <a:gd name="connsiteX43302" fmla="*/ 10258466 w 10505529"/>
              <a:gd name="connsiteY43302" fmla="*/ 217651 h 7458372"/>
              <a:gd name="connsiteX43303" fmla="*/ 10475977 w 10505529"/>
              <a:gd name="connsiteY43303" fmla="*/ 217651 h 7458372"/>
              <a:gd name="connsiteX43304" fmla="*/ 10487824 w 10505529"/>
              <a:gd name="connsiteY43304" fmla="*/ 220180 h 7458372"/>
              <a:gd name="connsiteX43305" fmla="*/ 10497143 w 10505529"/>
              <a:gd name="connsiteY43305" fmla="*/ 226570 h 7458372"/>
              <a:gd name="connsiteX43306" fmla="*/ 10503266 w 10505529"/>
              <a:gd name="connsiteY43306" fmla="*/ 235888 h 7458372"/>
              <a:gd name="connsiteX43307" fmla="*/ 10505529 w 10505529"/>
              <a:gd name="connsiteY43307" fmla="*/ 247336 h 7458372"/>
              <a:gd name="connsiteX43308" fmla="*/ 10503266 w 10505529"/>
              <a:gd name="connsiteY43308" fmla="*/ 259050 h 7458372"/>
              <a:gd name="connsiteX43309" fmla="*/ 10497143 w 10505529"/>
              <a:gd name="connsiteY43309" fmla="*/ 268502 h 7458372"/>
              <a:gd name="connsiteX43310" fmla="*/ 10487824 w 10505529"/>
              <a:gd name="connsiteY43310" fmla="*/ 274759 h 7458372"/>
              <a:gd name="connsiteX43311" fmla="*/ 10475977 w 10505529"/>
              <a:gd name="connsiteY43311" fmla="*/ 277022 h 7458372"/>
              <a:gd name="connsiteX43312" fmla="*/ 10454145 w 10505529"/>
              <a:gd name="connsiteY43312" fmla="*/ 268502 h 7458372"/>
              <a:gd name="connsiteX43313" fmla="*/ 10445759 w 10505529"/>
              <a:gd name="connsiteY43313" fmla="*/ 247336 h 7458372"/>
              <a:gd name="connsiteX43314" fmla="*/ 10454145 w 10505529"/>
              <a:gd name="connsiteY43314" fmla="*/ 226304 h 7458372"/>
              <a:gd name="connsiteX43315" fmla="*/ 10475977 w 10505529"/>
              <a:gd name="connsiteY43315" fmla="*/ 217651 h 7458372"/>
              <a:gd name="connsiteX43316" fmla="*/ 30217 w 10505529"/>
              <a:gd name="connsiteY43316" fmla="*/ 16646 h 7458372"/>
              <a:gd name="connsiteX43317" fmla="*/ 20234 w 10505529"/>
              <a:gd name="connsiteY43317" fmla="*/ 20240 h 7458372"/>
              <a:gd name="connsiteX43318" fmla="*/ 16640 w 10505529"/>
              <a:gd name="connsiteY43318" fmla="*/ 29691 h 7458372"/>
              <a:gd name="connsiteX43319" fmla="*/ 20234 w 10505529"/>
              <a:gd name="connsiteY43319" fmla="*/ 39142 h 7458372"/>
              <a:gd name="connsiteX43320" fmla="*/ 30217 w 10505529"/>
              <a:gd name="connsiteY43320" fmla="*/ 42603 h 7458372"/>
              <a:gd name="connsiteX43321" fmla="*/ 35542 w 10505529"/>
              <a:gd name="connsiteY43321" fmla="*/ 41671 h 7458372"/>
              <a:gd name="connsiteX43322" fmla="*/ 39269 w 10505529"/>
              <a:gd name="connsiteY43322" fmla="*/ 39275 h 7458372"/>
              <a:gd name="connsiteX43323" fmla="*/ 41932 w 10505529"/>
              <a:gd name="connsiteY43323" fmla="*/ 35149 h 7458372"/>
              <a:gd name="connsiteX43324" fmla="*/ 42863 w 10505529"/>
              <a:gd name="connsiteY43324" fmla="*/ 29691 h 7458372"/>
              <a:gd name="connsiteX43325" fmla="*/ 41932 w 10505529"/>
              <a:gd name="connsiteY43325" fmla="*/ 24499 h 7458372"/>
              <a:gd name="connsiteX43326" fmla="*/ 39269 w 10505529"/>
              <a:gd name="connsiteY43326" fmla="*/ 20240 h 7458372"/>
              <a:gd name="connsiteX43327" fmla="*/ 35276 w 10505529"/>
              <a:gd name="connsiteY43327" fmla="*/ 17577 h 7458372"/>
              <a:gd name="connsiteX43328" fmla="*/ 30217 w 10505529"/>
              <a:gd name="connsiteY43328" fmla="*/ 16646 h 7458372"/>
              <a:gd name="connsiteX43329" fmla="*/ 247862 w 10505529"/>
              <a:gd name="connsiteY43329" fmla="*/ 16646 h 7458372"/>
              <a:gd name="connsiteX43330" fmla="*/ 237879 w 10505529"/>
              <a:gd name="connsiteY43330" fmla="*/ 20240 h 7458372"/>
              <a:gd name="connsiteX43331" fmla="*/ 234285 w 10505529"/>
              <a:gd name="connsiteY43331" fmla="*/ 29691 h 7458372"/>
              <a:gd name="connsiteX43332" fmla="*/ 237879 w 10505529"/>
              <a:gd name="connsiteY43332" fmla="*/ 39142 h 7458372"/>
              <a:gd name="connsiteX43333" fmla="*/ 247862 w 10505529"/>
              <a:gd name="connsiteY43333" fmla="*/ 42603 h 7458372"/>
              <a:gd name="connsiteX43334" fmla="*/ 253187 w 10505529"/>
              <a:gd name="connsiteY43334" fmla="*/ 41671 h 7458372"/>
              <a:gd name="connsiteX43335" fmla="*/ 256914 w 10505529"/>
              <a:gd name="connsiteY43335" fmla="*/ 39275 h 7458372"/>
              <a:gd name="connsiteX43336" fmla="*/ 259577 w 10505529"/>
              <a:gd name="connsiteY43336" fmla="*/ 35149 h 7458372"/>
              <a:gd name="connsiteX43337" fmla="*/ 260642 w 10505529"/>
              <a:gd name="connsiteY43337" fmla="*/ 29691 h 7458372"/>
              <a:gd name="connsiteX43338" fmla="*/ 259577 w 10505529"/>
              <a:gd name="connsiteY43338" fmla="*/ 24499 h 7458372"/>
              <a:gd name="connsiteX43339" fmla="*/ 256914 w 10505529"/>
              <a:gd name="connsiteY43339" fmla="*/ 20240 h 7458372"/>
              <a:gd name="connsiteX43340" fmla="*/ 252921 w 10505529"/>
              <a:gd name="connsiteY43340" fmla="*/ 17577 h 7458372"/>
              <a:gd name="connsiteX43341" fmla="*/ 247862 w 10505529"/>
              <a:gd name="connsiteY43341" fmla="*/ 16646 h 7458372"/>
              <a:gd name="connsiteX43342" fmla="*/ 465507 w 10505529"/>
              <a:gd name="connsiteY43342" fmla="*/ 16646 h 7458372"/>
              <a:gd name="connsiteX43343" fmla="*/ 455523 w 10505529"/>
              <a:gd name="connsiteY43343" fmla="*/ 20240 h 7458372"/>
              <a:gd name="connsiteX43344" fmla="*/ 451929 w 10505529"/>
              <a:gd name="connsiteY43344" fmla="*/ 29691 h 7458372"/>
              <a:gd name="connsiteX43345" fmla="*/ 455523 w 10505529"/>
              <a:gd name="connsiteY43345" fmla="*/ 39142 h 7458372"/>
              <a:gd name="connsiteX43346" fmla="*/ 465507 w 10505529"/>
              <a:gd name="connsiteY43346" fmla="*/ 42603 h 7458372"/>
              <a:gd name="connsiteX43347" fmla="*/ 470832 w 10505529"/>
              <a:gd name="connsiteY43347" fmla="*/ 41671 h 7458372"/>
              <a:gd name="connsiteX43348" fmla="*/ 474559 w 10505529"/>
              <a:gd name="connsiteY43348" fmla="*/ 39275 h 7458372"/>
              <a:gd name="connsiteX43349" fmla="*/ 477222 w 10505529"/>
              <a:gd name="connsiteY43349" fmla="*/ 35149 h 7458372"/>
              <a:gd name="connsiteX43350" fmla="*/ 478287 w 10505529"/>
              <a:gd name="connsiteY43350" fmla="*/ 29691 h 7458372"/>
              <a:gd name="connsiteX43351" fmla="*/ 477222 w 10505529"/>
              <a:gd name="connsiteY43351" fmla="*/ 24499 h 7458372"/>
              <a:gd name="connsiteX43352" fmla="*/ 474559 w 10505529"/>
              <a:gd name="connsiteY43352" fmla="*/ 20240 h 7458372"/>
              <a:gd name="connsiteX43353" fmla="*/ 470566 w 10505529"/>
              <a:gd name="connsiteY43353" fmla="*/ 17577 h 7458372"/>
              <a:gd name="connsiteX43354" fmla="*/ 465507 w 10505529"/>
              <a:gd name="connsiteY43354" fmla="*/ 16646 h 7458372"/>
              <a:gd name="connsiteX43355" fmla="*/ 683151 w 10505529"/>
              <a:gd name="connsiteY43355" fmla="*/ 16645 h 7458372"/>
              <a:gd name="connsiteX43356" fmla="*/ 673168 w 10505529"/>
              <a:gd name="connsiteY43356" fmla="*/ 20239 h 7458372"/>
              <a:gd name="connsiteX43357" fmla="*/ 669574 w 10505529"/>
              <a:gd name="connsiteY43357" fmla="*/ 29691 h 7458372"/>
              <a:gd name="connsiteX43358" fmla="*/ 673168 w 10505529"/>
              <a:gd name="connsiteY43358" fmla="*/ 39142 h 7458372"/>
              <a:gd name="connsiteX43359" fmla="*/ 683151 w 10505529"/>
              <a:gd name="connsiteY43359" fmla="*/ 42603 h 7458372"/>
              <a:gd name="connsiteX43360" fmla="*/ 688476 w 10505529"/>
              <a:gd name="connsiteY43360" fmla="*/ 41671 h 7458372"/>
              <a:gd name="connsiteX43361" fmla="*/ 692203 w 10505529"/>
              <a:gd name="connsiteY43361" fmla="*/ 39275 h 7458372"/>
              <a:gd name="connsiteX43362" fmla="*/ 694867 w 10505529"/>
              <a:gd name="connsiteY43362" fmla="*/ 35149 h 7458372"/>
              <a:gd name="connsiteX43363" fmla="*/ 695932 w 10505529"/>
              <a:gd name="connsiteY43363" fmla="*/ 29691 h 7458372"/>
              <a:gd name="connsiteX43364" fmla="*/ 694867 w 10505529"/>
              <a:gd name="connsiteY43364" fmla="*/ 24499 h 7458372"/>
              <a:gd name="connsiteX43365" fmla="*/ 692203 w 10505529"/>
              <a:gd name="connsiteY43365" fmla="*/ 20239 h 7458372"/>
              <a:gd name="connsiteX43366" fmla="*/ 688210 w 10505529"/>
              <a:gd name="connsiteY43366" fmla="*/ 17576 h 7458372"/>
              <a:gd name="connsiteX43367" fmla="*/ 683151 w 10505529"/>
              <a:gd name="connsiteY43367" fmla="*/ 16645 h 7458372"/>
              <a:gd name="connsiteX43368" fmla="*/ 900930 w 10505529"/>
              <a:gd name="connsiteY43368" fmla="*/ 16645 h 7458372"/>
              <a:gd name="connsiteX43369" fmla="*/ 890946 w 10505529"/>
              <a:gd name="connsiteY43369" fmla="*/ 20239 h 7458372"/>
              <a:gd name="connsiteX43370" fmla="*/ 887219 w 10505529"/>
              <a:gd name="connsiteY43370" fmla="*/ 29691 h 7458372"/>
              <a:gd name="connsiteX43371" fmla="*/ 890813 w 10505529"/>
              <a:gd name="connsiteY43371" fmla="*/ 39142 h 7458372"/>
              <a:gd name="connsiteX43372" fmla="*/ 900796 w 10505529"/>
              <a:gd name="connsiteY43372" fmla="*/ 42603 h 7458372"/>
              <a:gd name="connsiteX43373" fmla="*/ 906254 w 10505529"/>
              <a:gd name="connsiteY43373" fmla="*/ 41671 h 7458372"/>
              <a:gd name="connsiteX43374" fmla="*/ 909982 w 10505529"/>
              <a:gd name="connsiteY43374" fmla="*/ 39275 h 7458372"/>
              <a:gd name="connsiteX43375" fmla="*/ 912644 w 10505529"/>
              <a:gd name="connsiteY43375" fmla="*/ 35149 h 7458372"/>
              <a:gd name="connsiteX43376" fmla="*/ 913709 w 10505529"/>
              <a:gd name="connsiteY43376" fmla="*/ 29691 h 7458372"/>
              <a:gd name="connsiteX43377" fmla="*/ 912644 w 10505529"/>
              <a:gd name="connsiteY43377" fmla="*/ 24498 h 7458372"/>
              <a:gd name="connsiteX43378" fmla="*/ 909982 w 10505529"/>
              <a:gd name="connsiteY43378" fmla="*/ 20239 h 7458372"/>
              <a:gd name="connsiteX43379" fmla="*/ 905988 w 10505529"/>
              <a:gd name="connsiteY43379" fmla="*/ 17576 h 7458372"/>
              <a:gd name="connsiteX43380" fmla="*/ 900930 w 10505529"/>
              <a:gd name="connsiteY43380" fmla="*/ 16645 h 7458372"/>
              <a:gd name="connsiteX43381" fmla="*/ 1118441 w 10505529"/>
              <a:gd name="connsiteY43381" fmla="*/ 16645 h 7458372"/>
              <a:gd name="connsiteX43382" fmla="*/ 1108458 w 10505529"/>
              <a:gd name="connsiteY43382" fmla="*/ 20239 h 7458372"/>
              <a:gd name="connsiteX43383" fmla="*/ 1104730 w 10505529"/>
              <a:gd name="connsiteY43383" fmla="*/ 29690 h 7458372"/>
              <a:gd name="connsiteX43384" fmla="*/ 1108325 w 10505529"/>
              <a:gd name="connsiteY43384" fmla="*/ 39142 h 7458372"/>
              <a:gd name="connsiteX43385" fmla="*/ 1118308 w 10505529"/>
              <a:gd name="connsiteY43385" fmla="*/ 42603 h 7458372"/>
              <a:gd name="connsiteX43386" fmla="*/ 1123766 w 10505529"/>
              <a:gd name="connsiteY43386" fmla="*/ 41671 h 7458372"/>
              <a:gd name="connsiteX43387" fmla="*/ 1127493 w 10505529"/>
              <a:gd name="connsiteY43387" fmla="*/ 39275 h 7458372"/>
              <a:gd name="connsiteX43388" fmla="*/ 1130156 w 10505529"/>
              <a:gd name="connsiteY43388" fmla="*/ 35149 h 7458372"/>
              <a:gd name="connsiteX43389" fmla="*/ 1131221 w 10505529"/>
              <a:gd name="connsiteY43389" fmla="*/ 29690 h 7458372"/>
              <a:gd name="connsiteX43390" fmla="*/ 1130156 w 10505529"/>
              <a:gd name="connsiteY43390" fmla="*/ 24498 h 7458372"/>
              <a:gd name="connsiteX43391" fmla="*/ 1127493 w 10505529"/>
              <a:gd name="connsiteY43391" fmla="*/ 20239 h 7458372"/>
              <a:gd name="connsiteX43392" fmla="*/ 1123500 w 10505529"/>
              <a:gd name="connsiteY43392" fmla="*/ 17576 h 7458372"/>
              <a:gd name="connsiteX43393" fmla="*/ 1118441 w 10505529"/>
              <a:gd name="connsiteY43393" fmla="*/ 16645 h 7458372"/>
              <a:gd name="connsiteX43394" fmla="*/ 1335953 w 10505529"/>
              <a:gd name="connsiteY43394" fmla="*/ 16645 h 7458372"/>
              <a:gd name="connsiteX43395" fmla="*/ 1325970 w 10505529"/>
              <a:gd name="connsiteY43395" fmla="*/ 20239 h 7458372"/>
              <a:gd name="connsiteX43396" fmla="*/ 1322375 w 10505529"/>
              <a:gd name="connsiteY43396" fmla="*/ 29690 h 7458372"/>
              <a:gd name="connsiteX43397" fmla="*/ 1325970 w 10505529"/>
              <a:gd name="connsiteY43397" fmla="*/ 39142 h 7458372"/>
              <a:gd name="connsiteX43398" fmla="*/ 1335953 w 10505529"/>
              <a:gd name="connsiteY43398" fmla="*/ 42603 h 7458372"/>
              <a:gd name="connsiteX43399" fmla="*/ 1341278 w 10505529"/>
              <a:gd name="connsiteY43399" fmla="*/ 41671 h 7458372"/>
              <a:gd name="connsiteX43400" fmla="*/ 1345005 w 10505529"/>
              <a:gd name="connsiteY43400" fmla="*/ 39274 h 7458372"/>
              <a:gd name="connsiteX43401" fmla="*/ 1347668 w 10505529"/>
              <a:gd name="connsiteY43401" fmla="*/ 35148 h 7458372"/>
              <a:gd name="connsiteX43402" fmla="*/ 1348733 w 10505529"/>
              <a:gd name="connsiteY43402" fmla="*/ 29690 h 7458372"/>
              <a:gd name="connsiteX43403" fmla="*/ 1347668 w 10505529"/>
              <a:gd name="connsiteY43403" fmla="*/ 24498 h 7458372"/>
              <a:gd name="connsiteX43404" fmla="*/ 1345005 w 10505529"/>
              <a:gd name="connsiteY43404" fmla="*/ 20239 h 7458372"/>
              <a:gd name="connsiteX43405" fmla="*/ 1341012 w 10505529"/>
              <a:gd name="connsiteY43405" fmla="*/ 17576 h 7458372"/>
              <a:gd name="connsiteX43406" fmla="*/ 1335953 w 10505529"/>
              <a:gd name="connsiteY43406" fmla="*/ 16645 h 7458372"/>
              <a:gd name="connsiteX43407" fmla="*/ 1553598 w 10505529"/>
              <a:gd name="connsiteY43407" fmla="*/ 16645 h 7458372"/>
              <a:gd name="connsiteX43408" fmla="*/ 1543614 w 10505529"/>
              <a:gd name="connsiteY43408" fmla="*/ 20239 h 7458372"/>
              <a:gd name="connsiteX43409" fmla="*/ 1540020 w 10505529"/>
              <a:gd name="connsiteY43409" fmla="*/ 29690 h 7458372"/>
              <a:gd name="connsiteX43410" fmla="*/ 1543614 w 10505529"/>
              <a:gd name="connsiteY43410" fmla="*/ 39141 h 7458372"/>
              <a:gd name="connsiteX43411" fmla="*/ 1553598 w 10505529"/>
              <a:gd name="connsiteY43411" fmla="*/ 42602 h 7458372"/>
              <a:gd name="connsiteX43412" fmla="*/ 1558923 w 10505529"/>
              <a:gd name="connsiteY43412" fmla="*/ 41670 h 7458372"/>
              <a:gd name="connsiteX43413" fmla="*/ 1562650 w 10505529"/>
              <a:gd name="connsiteY43413" fmla="*/ 39274 h 7458372"/>
              <a:gd name="connsiteX43414" fmla="*/ 1565313 w 10505529"/>
              <a:gd name="connsiteY43414" fmla="*/ 35148 h 7458372"/>
              <a:gd name="connsiteX43415" fmla="*/ 1566378 w 10505529"/>
              <a:gd name="connsiteY43415" fmla="*/ 29690 h 7458372"/>
              <a:gd name="connsiteX43416" fmla="*/ 1565313 w 10505529"/>
              <a:gd name="connsiteY43416" fmla="*/ 24498 h 7458372"/>
              <a:gd name="connsiteX43417" fmla="*/ 1562650 w 10505529"/>
              <a:gd name="connsiteY43417" fmla="*/ 20239 h 7458372"/>
              <a:gd name="connsiteX43418" fmla="*/ 1558657 w 10505529"/>
              <a:gd name="connsiteY43418" fmla="*/ 17576 h 7458372"/>
              <a:gd name="connsiteX43419" fmla="*/ 1553598 w 10505529"/>
              <a:gd name="connsiteY43419" fmla="*/ 16645 h 7458372"/>
              <a:gd name="connsiteX43420" fmla="*/ 1771243 w 10505529"/>
              <a:gd name="connsiteY43420" fmla="*/ 16645 h 7458372"/>
              <a:gd name="connsiteX43421" fmla="*/ 1761260 w 10505529"/>
              <a:gd name="connsiteY43421" fmla="*/ 20239 h 7458372"/>
              <a:gd name="connsiteX43422" fmla="*/ 1757666 w 10505529"/>
              <a:gd name="connsiteY43422" fmla="*/ 29690 h 7458372"/>
              <a:gd name="connsiteX43423" fmla="*/ 1761260 w 10505529"/>
              <a:gd name="connsiteY43423" fmla="*/ 39141 h 7458372"/>
              <a:gd name="connsiteX43424" fmla="*/ 1771243 w 10505529"/>
              <a:gd name="connsiteY43424" fmla="*/ 42602 h 7458372"/>
              <a:gd name="connsiteX43425" fmla="*/ 1776568 w 10505529"/>
              <a:gd name="connsiteY43425" fmla="*/ 41670 h 7458372"/>
              <a:gd name="connsiteX43426" fmla="*/ 1780295 w 10505529"/>
              <a:gd name="connsiteY43426" fmla="*/ 39274 h 7458372"/>
              <a:gd name="connsiteX43427" fmla="*/ 1782958 w 10505529"/>
              <a:gd name="connsiteY43427" fmla="*/ 35148 h 7458372"/>
              <a:gd name="connsiteX43428" fmla="*/ 1784023 w 10505529"/>
              <a:gd name="connsiteY43428" fmla="*/ 29690 h 7458372"/>
              <a:gd name="connsiteX43429" fmla="*/ 1782958 w 10505529"/>
              <a:gd name="connsiteY43429" fmla="*/ 24498 h 7458372"/>
              <a:gd name="connsiteX43430" fmla="*/ 1780295 w 10505529"/>
              <a:gd name="connsiteY43430" fmla="*/ 20239 h 7458372"/>
              <a:gd name="connsiteX43431" fmla="*/ 1776302 w 10505529"/>
              <a:gd name="connsiteY43431" fmla="*/ 17576 h 7458372"/>
              <a:gd name="connsiteX43432" fmla="*/ 1771243 w 10505529"/>
              <a:gd name="connsiteY43432" fmla="*/ 16645 h 7458372"/>
              <a:gd name="connsiteX43433" fmla="*/ 1988888 w 10505529"/>
              <a:gd name="connsiteY43433" fmla="*/ 16645 h 7458372"/>
              <a:gd name="connsiteX43434" fmla="*/ 1978905 w 10505529"/>
              <a:gd name="connsiteY43434" fmla="*/ 20239 h 7458372"/>
              <a:gd name="connsiteX43435" fmla="*/ 1975311 w 10505529"/>
              <a:gd name="connsiteY43435" fmla="*/ 29690 h 7458372"/>
              <a:gd name="connsiteX43436" fmla="*/ 1978905 w 10505529"/>
              <a:gd name="connsiteY43436" fmla="*/ 39141 h 7458372"/>
              <a:gd name="connsiteX43437" fmla="*/ 1988888 w 10505529"/>
              <a:gd name="connsiteY43437" fmla="*/ 42602 h 7458372"/>
              <a:gd name="connsiteX43438" fmla="*/ 1994213 w 10505529"/>
              <a:gd name="connsiteY43438" fmla="*/ 41670 h 7458372"/>
              <a:gd name="connsiteX43439" fmla="*/ 1997940 w 10505529"/>
              <a:gd name="connsiteY43439" fmla="*/ 39274 h 7458372"/>
              <a:gd name="connsiteX43440" fmla="*/ 2000603 w 10505529"/>
              <a:gd name="connsiteY43440" fmla="*/ 35148 h 7458372"/>
              <a:gd name="connsiteX43441" fmla="*/ 2001534 w 10505529"/>
              <a:gd name="connsiteY43441" fmla="*/ 29690 h 7458372"/>
              <a:gd name="connsiteX43442" fmla="*/ 2000603 w 10505529"/>
              <a:gd name="connsiteY43442" fmla="*/ 24498 h 7458372"/>
              <a:gd name="connsiteX43443" fmla="*/ 1997940 w 10505529"/>
              <a:gd name="connsiteY43443" fmla="*/ 20239 h 7458372"/>
              <a:gd name="connsiteX43444" fmla="*/ 1993947 w 10505529"/>
              <a:gd name="connsiteY43444" fmla="*/ 17576 h 7458372"/>
              <a:gd name="connsiteX43445" fmla="*/ 1988888 w 10505529"/>
              <a:gd name="connsiteY43445" fmla="*/ 16645 h 7458372"/>
              <a:gd name="connsiteX43446" fmla="*/ 2206400 w 10505529"/>
              <a:gd name="connsiteY43446" fmla="*/ 16645 h 7458372"/>
              <a:gd name="connsiteX43447" fmla="*/ 2196417 w 10505529"/>
              <a:gd name="connsiteY43447" fmla="*/ 20239 h 7458372"/>
              <a:gd name="connsiteX43448" fmla="*/ 2192822 w 10505529"/>
              <a:gd name="connsiteY43448" fmla="*/ 29690 h 7458372"/>
              <a:gd name="connsiteX43449" fmla="*/ 2196417 w 10505529"/>
              <a:gd name="connsiteY43449" fmla="*/ 39141 h 7458372"/>
              <a:gd name="connsiteX43450" fmla="*/ 2206400 w 10505529"/>
              <a:gd name="connsiteY43450" fmla="*/ 42602 h 7458372"/>
              <a:gd name="connsiteX43451" fmla="*/ 2211725 w 10505529"/>
              <a:gd name="connsiteY43451" fmla="*/ 41670 h 7458372"/>
              <a:gd name="connsiteX43452" fmla="*/ 2215452 w 10505529"/>
              <a:gd name="connsiteY43452" fmla="*/ 39274 h 7458372"/>
              <a:gd name="connsiteX43453" fmla="*/ 2218115 w 10505529"/>
              <a:gd name="connsiteY43453" fmla="*/ 35148 h 7458372"/>
              <a:gd name="connsiteX43454" fmla="*/ 2219046 w 10505529"/>
              <a:gd name="connsiteY43454" fmla="*/ 29690 h 7458372"/>
              <a:gd name="connsiteX43455" fmla="*/ 2218115 w 10505529"/>
              <a:gd name="connsiteY43455" fmla="*/ 24498 h 7458372"/>
              <a:gd name="connsiteX43456" fmla="*/ 2215452 w 10505529"/>
              <a:gd name="connsiteY43456" fmla="*/ 20239 h 7458372"/>
              <a:gd name="connsiteX43457" fmla="*/ 2211459 w 10505529"/>
              <a:gd name="connsiteY43457" fmla="*/ 17576 h 7458372"/>
              <a:gd name="connsiteX43458" fmla="*/ 2206400 w 10505529"/>
              <a:gd name="connsiteY43458" fmla="*/ 16645 h 7458372"/>
              <a:gd name="connsiteX43459" fmla="*/ 2424045 w 10505529"/>
              <a:gd name="connsiteY43459" fmla="*/ 16645 h 7458372"/>
              <a:gd name="connsiteX43460" fmla="*/ 2414062 w 10505529"/>
              <a:gd name="connsiteY43460" fmla="*/ 20239 h 7458372"/>
              <a:gd name="connsiteX43461" fmla="*/ 2410468 w 10505529"/>
              <a:gd name="connsiteY43461" fmla="*/ 29690 h 7458372"/>
              <a:gd name="connsiteX43462" fmla="*/ 2414062 w 10505529"/>
              <a:gd name="connsiteY43462" fmla="*/ 39141 h 7458372"/>
              <a:gd name="connsiteX43463" fmla="*/ 2424045 w 10505529"/>
              <a:gd name="connsiteY43463" fmla="*/ 42602 h 7458372"/>
              <a:gd name="connsiteX43464" fmla="*/ 2429371 w 10505529"/>
              <a:gd name="connsiteY43464" fmla="*/ 41670 h 7458372"/>
              <a:gd name="connsiteX43465" fmla="*/ 2433098 w 10505529"/>
              <a:gd name="connsiteY43465" fmla="*/ 39274 h 7458372"/>
              <a:gd name="connsiteX43466" fmla="*/ 2435761 w 10505529"/>
              <a:gd name="connsiteY43466" fmla="*/ 35148 h 7458372"/>
              <a:gd name="connsiteX43467" fmla="*/ 2436692 w 10505529"/>
              <a:gd name="connsiteY43467" fmla="*/ 29690 h 7458372"/>
              <a:gd name="connsiteX43468" fmla="*/ 2435761 w 10505529"/>
              <a:gd name="connsiteY43468" fmla="*/ 24498 h 7458372"/>
              <a:gd name="connsiteX43469" fmla="*/ 2433098 w 10505529"/>
              <a:gd name="connsiteY43469" fmla="*/ 20239 h 7458372"/>
              <a:gd name="connsiteX43470" fmla="*/ 2429105 w 10505529"/>
              <a:gd name="connsiteY43470" fmla="*/ 17576 h 7458372"/>
              <a:gd name="connsiteX43471" fmla="*/ 2424045 w 10505529"/>
              <a:gd name="connsiteY43471" fmla="*/ 16645 h 7458372"/>
              <a:gd name="connsiteX43472" fmla="*/ 2641691 w 10505529"/>
              <a:gd name="connsiteY43472" fmla="*/ 16644 h 7458372"/>
              <a:gd name="connsiteX43473" fmla="*/ 2631708 w 10505529"/>
              <a:gd name="connsiteY43473" fmla="*/ 20238 h 7458372"/>
              <a:gd name="connsiteX43474" fmla="*/ 2628113 w 10505529"/>
              <a:gd name="connsiteY43474" fmla="*/ 29690 h 7458372"/>
              <a:gd name="connsiteX43475" fmla="*/ 2631708 w 10505529"/>
              <a:gd name="connsiteY43475" fmla="*/ 39141 h 7458372"/>
              <a:gd name="connsiteX43476" fmla="*/ 2641691 w 10505529"/>
              <a:gd name="connsiteY43476" fmla="*/ 42602 h 7458372"/>
              <a:gd name="connsiteX43477" fmla="*/ 2647016 w 10505529"/>
              <a:gd name="connsiteY43477" fmla="*/ 41670 h 7458372"/>
              <a:gd name="connsiteX43478" fmla="*/ 2650743 w 10505529"/>
              <a:gd name="connsiteY43478" fmla="*/ 39274 h 7458372"/>
              <a:gd name="connsiteX43479" fmla="*/ 2653406 w 10505529"/>
              <a:gd name="connsiteY43479" fmla="*/ 35148 h 7458372"/>
              <a:gd name="connsiteX43480" fmla="*/ 2654337 w 10505529"/>
              <a:gd name="connsiteY43480" fmla="*/ 29690 h 7458372"/>
              <a:gd name="connsiteX43481" fmla="*/ 2653406 w 10505529"/>
              <a:gd name="connsiteY43481" fmla="*/ 24498 h 7458372"/>
              <a:gd name="connsiteX43482" fmla="*/ 2650743 w 10505529"/>
              <a:gd name="connsiteY43482" fmla="*/ 20238 h 7458372"/>
              <a:gd name="connsiteX43483" fmla="*/ 2646750 w 10505529"/>
              <a:gd name="connsiteY43483" fmla="*/ 17575 h 7458372"/>
              <a:gd name="connsiteX43484" fmla="*/ 2641691 w 10505529"/>
              <a:gd name="connsiteY43484" fmla="*/ 16644 h 7458372"/>
              <a:gd name="connsiteX43485" fmla="*/ 2859336 w 10505529"/>
              <a:gd name="connsiteY43485" fmla="*/ 16644 h 7458372"/>
              <a:gd name="connsiteX43486" fmla="*/ 2849353 w 10505529"/>
              <a:gd name="connsiteY43486" fmla="*/ 20238 h 7458372"/>
              <a:gd name="connsiteX43487" fmla="*/ 2845759 w 10505529"/>
              <a:gd name="connsiteY43487" fmla="*/ 29690 h 7458372"/>
              <a:gd name="connsiteX43488" fmla="*/ 2849353 w 10505529"/>
              <a:gd name="connsiteY43488" fmla="*/ 39141 h 7458372"/>
              <a:gd name="connsiteX43489" fmla="*/ 2859336 w 10505529"/>
              <a:gd name="connsiteY43489" fmla="*/ 42602 h 7458372"/>
              <a:gd name="connsiteX43490" fmla="*/ 2864661 w 10505529"/>
              <a:gd name="connsiteY43490" fmla="*/ 41670 h 7458372"/>
              <a:gd name="connsiteX43491" fmla="*/ 2868388 w 10505529"/>
              <a:gd name="connsiteY43491" fmla="*/ 39274 h 7458372"/>
              <a:gd name="connsiteX43492" fmla="*/ 2871051 w 10505529"/>
              <a:gd name="connsiteY43492" fmla="*/ 35148 h 7458372"/>
              <a:gd name="connsiteX43493" fmla="*/ 2871982 w 10505529"/>
              <a:gd name="connsiteY43493" fmla="*/ 29690 h 7458372"/>
              <a:gd name="connsiteX43494" fmla="*/ 2871051 w 10505529"/>
              <a:gd name="connsiteY43494" fmla="*/ 24497 h 7458372"/>
              <a:gd name="connsiteX43495" fmla="*/ 2868388 w 10505529"/>
              <a:gd name="connsiteY43495" fmla="*/ 20238 h 7458372"/>
              <a:gd name="connsiteX43496" fmla="*/ 2864395 w 10505529"/>
              <a:gd name="connsiteY43496" fmla="*/ 17575 h 7458372"/>
              <a:gd name="connsiteX43497" fmla="*/ 2859336 w 10505529"/>
              <a:gd name="connsiteY43497" fmla="*/ 16644 h 7458372"/>
              <a:gd name="connsiteX43498" fmla="*/ 3077114 w 10505529"/>
              <a:gd name="connsiteY43498" fmla="*/ 16644 h 7458372"/>
              <a:gd name="connsiteX43499" fmla="*/ 3067131 w 10505529"/>
              <a:gd name="connsiteY43499" fmla="*/ 20238 h 7458372"/>
              <a:gd name="connsiteX43500" fmla="*/ 3063404 w 10505529"/>
              <a:gd name="connsiteY43500" fmla="*/ 29689 h 7458372"/>
              <a:gd name="connsiteX43501" fmla="*/ 3066998 w 10505529"/>
              <a:gd name="connsiteY43501" fmla="*/ 39141 h 7458372"/>
              <a:gd name="connsiteX43502" fmla="*/ 3076981 w 10505529"/>
              <a:gd name="connsiteY43502" fmla="*/ 42602 h 7458372"/>
              <a:gd name="connsiteX43503" fmla="*/ 3082439 w 10505529"/>
              <a:gd name="connsiteY43503" fmla="*/ 41670 h 7458372"/>
              <a:gd name="connsiteX43504" fmla="*/ 3086167 w 10505529"/>
              <a:gd name="connsiteY43504" fmla="*/ 39274 h 7458372"/>
              <a:gd name="connsiteX43505" fmla="*/ 3088829 w 10505529"/>
              <a:gd name="connsiteY43505" fmla="*/ 35148 h 7458372"/>
              <a:gd name="connsiteX43506" fmla="*/ 3089762 w 10505529"/>
              <a:gd name="connsiteY43506" fmla="*/ 29689 h 7458372"/>
              <a:gd name="connsiteX43507" fmla="*/ 3088829 w 10505529"/>
              <a:gd name="connsiteY43507" fmla="*/ 24497 h 7458372"/>
              <a:gd name="connsiteX43508" fmla="*/ 3086167 w 10505529"/>
              <a:gd name="connsiteY43508" fmla="*/ 20238 h 7458372"/>
              <a:gd name="connsiteX43509" fmla="*/ 3082174 w 10505529"/>
              <a:gd name="connsiteY43509" fmla="*/ 17575 h 7458372"/>
              <a:gd name="connsiteX43510" fmla="*/ 3077114 w 10505529"/>
              <a:gd name="connsiteY43510" fmla="*/ 16644 h 7458372"/>
              <a:gd name="connsiteX43511" fmla="*/ 3294626 w 10505529"/>
              <a:gd name="connsiteY43511" fmla="*/ 16644 h 7458372"/>
              <a:gd name="connsiteX43512" fmla="*/ 3284643 w 10505529"/>
              <a:gd name="connsiteY43512" fmla="*/ 20238 h 7458372"/>
              <a:gd name="connsiteX43513" fmla="*/ 3281049 w 10505529"/>
              <a:gd name="connsiteY43513" fmla="*/ 29689 h 7458372"/>
              <a:gd name="connsiteX43514" fmla="*/ 3284643 w 10505529"/>
              <a:gd name="connsiteY43514" fmla="*/ 39141 h 7458372"/>
              <a:gd name="connsiteX43515" fmla="*/ 3294626 w 10505529"/>
              <a:gd name="connsiteY43515" fmla="*/ 42602 h 7458372"/>
              <a:gd name="connsiteX43516" fmla="*/ 3299952 w 10505529"/>
              <a:gd name="connsiteY43516" fmla="*/ 41670 h 7458372"/>
              <a:gd name="connsiteX43517" fmla="*/ 3303679 w 10505529"/>
              <a:gd name="connsiteY43517" fmla="*/ 39273 h 7458372"/>
              <a:gd name="connsiteX43518" fmla="*/ 3306342 w 10505529"/>
              <a:gd name="connsiteY43518" fmla="*/ 35147 h 7458372"/>
              <a:gd name="connsiteX43519" fmla="*/ 3307406 w 10505529"/>
              <a:gd name="connsiteY43519" fmla="*/ 29689 h 7458372"/>
              <a:gd name="connsiteX43520" fmla="*/ 3306342 w 10505529"/>
              <a:gd name="connsiteY43520" fmla="*/ 24497 h 7458372"/>
              <a:gd name="connsiteX43521" fmla="*/ 3303679 w 10505529"/>
              <a:gd name="connsiteY43521" fmla="*/ 20238 h 7458372"/>
              <a:gd name="connsiteX43522" fmla="*/ 3299686 w 10505529"/>
              <a:gd name="connsiteY43522" fmla="*/ 17575 h 7458372"/>
              <a:gd name="connsiteX43523" fmla="*/ 3294626 w 10505529"/>
              <a:gd name="connsiteY43523" fmla="*/ 16644 h 7458372"/>
              <a:gd name="connsiteX43524" fmla="*/ 3512138 w 10505529"/>
              <a:gd name="connsiteY43524" fmla="*/ 16644 h 7458372"/>
              <a:gd name="connsiteX43525" fmla="*/ 3502155 w 10505529"/>
              <a:gd name="connsiteY43525" fmla="*/ 20238 h 7458372"/>
              <a:gd name="connsiteX43526" fmla="*/ 3498561 w 10505529"/>
              <a:gd name="connsiteY43526" fmla="*/ 29689 h 7458372"/>
              <a:gd name="connsiteX43527" fmla="*/ 3502155 w 10505529"/>
              <a:gd name="connsiteY43527" fmla="*/ 39140 h 7458372"/>
              <a:gd name="connsiteX43528" fmla="*/ 3512138 w 10505529"/>
              <a:gd name="connsiteY43528" fmla="*/ 42601 h 7458372"/>
              <a:gd name="connsiteX43529" fmla="*/ 3517464 w 10505529"/>
              <a:gd name="connsiteY43529" fmla="*/ 41669 h 7458372"/>
              <a:gd name="connsiteX43530" fmla="*/ 3521191 w 10505529"/>
              <a:gd name="connsiteY43530" fmla="*/ 39273 h 7458372"/>
              <a:gd name="connsiteX43531" fmla="*/ 3523854 w 10505529"/>
              <a:gd name="connsiteY43531" fmla="*/ 35147 h 7458372"/>
              <a:gd name="connsiteX43532" fmla="*/ 3524919 w 10505529"/>
              <a:gd name="connsiteY43532" fmla="*/ 29689 h 7458372"/>
              <a:gd name="connsiteX43533" fmla="*/ 3523854 w 10505529"/>
              <a:gd name="connsiteY43533" fmla="*/ 24497 h 7458372"/>
              <a:gd name="connsiteX43534" fmla="*/ 3521191 w 10505529"/>
              <a:gd name="connsiteY43534" fmla="*/ 20238 h 7458372"/>
              <a:gd name="connsiteX43535" fmla="*/ 3517198 w 10505529"/>
              <a:gd name="connsiteY43535" fmla="*/ 17575 h 7458372"/>
              <a:gd name="connsiteX43536" fmla="*/ 3512138 w 10505529"/>
              <a:gd name="connsiteY43536" fmla="*/ 16644 h 7458372"/>
              <a:gd name="connsiteX43537" fmla="*/ 3729784 w 10505529"/>
              <a:gd name="connsiteY43537" fmla="*/ 16644 h 7458372"/>
              <a:gd name="connsiteX43538" fmla="*/ 3719801 w 10505529"/>
              <a:gd name="connsiteY43538" fmla="*/ 20238 h 7458372"/>
              <a:gd name="connsiteX43539" fmla="*/ 3716207 w 10505529"/>
              <a:gd name="connsiteY43539" fmla="*/ 29689 h 7458372"/>
              <a:gd name="connsiteX43540" fmla="*/ 3719801 w 10505529"/>
              <a:gd name="connsiteY43540" fmla="*/ 39140 h 7458372"/>
              <a:gd name="connsiteX43541" fmla="*/ 3729784 w 10505529"/>
              <a:gd name="connsiteY43541" fmla="*/ 42601 h 7458372"/>
              <a:gd name="connsiteX43542" fmla="*/ 3735109 w 10505529"/>
              <a:gd name="connsiteY43542" fmla="*/ 41669 h 7458372"/>
              <a:gd name="connsiteX43543" fmla="*/ 3738836 w 10505529"/>
              <a:gd name="connsiteY43543" fmla="*/ 39273 h 7458372"/>
              <a:gd name="connsiteX43544" fmla="*/ 3741499 w 10505529"/>
              <a:gd name="connsiteY43544" fmla="*/ 35147 h 7458372"/>
              <a:gd name="connsiteX43545" fmla="*/ 3742563 w 10505529"/>
              <a:gd name="connsiteY43545" fmla="*/ 29689 h 7458372"/>
              <a:gd name="connsiteX43546" fmla="*/ 3741499 w 10505529"/>
              <a:gd name="connsiteY43546" fmla="*/ 24497 h 7458372"/>
              <a:gd name="connsiteX43547" fmla="*/ 3738836 w 10505529"/>
              <a:gd name="connsiteY43547" fmla="*/ 20238 h 7458372"/>
              <a:gd name="connsiteX43548" fmla="*/ 3734843 w 10505529"/>
              <a:gd name="connsiteY43548" fmla="*/ 17575 h 7458372"/>
              <a:gd name="connsiteX43549" fmla="*/ 3729784 w 10505529"/>
              <a:gd name="connsiteY43549" fmla="*/ 16644 h 7458372"/>
              <a:gd name="connsiteX43550" fmla="*/ 3947430 w 10505529"/>
              <a:gd name="connsiteY43550" fmla="*/ 16644 h 7458372"/>
              <a:gd name="connsiteX43551" fmla="*/ 3937447 w 10505529"/>
              <a:gd name="connsiteY43551" fmla="*/ 20238 h 7458372"/>
              <a:gd name="connsiteX43552" fmla="*/ 3933853 w 10505529"/>
              <a:gd name="connsiteY43552" fmla="*/ 29689 h 7458372"/>
              <a:gd name="connsiteX43553" fmla="*/ 3937447 w 10505529"/>
              <a:gd name="connsiteY43553" fmla="*/ 39140 h 7458372"/>
              <a:gd name="connsiteX43554" fmla="*/ 3947430 w 10505529"/>
              <a:gd name="connsiteY43554" fmla="*/ 42601 h 7458372"/>
              <a:gd name="connsiteX43555" fmla="*/ 3952755 w 10505529"/>
              <a:gd name="connsiteY43555" fmla="*/ 41669 h 7458372"/>
              <a:gd name="connsiteX43556" fmla="*/ 3956482 w 10505529"/>
              <a:gd name="connsiteY43556" fmla="*/ 39273 h 7458372"/>
              <a:gd name="connsiteX43557" fmla="*/ 3959145 w 10505529"/>
              <a:gd name="connsiteY43557" fmla="*/ 35147 h 7458372"/>
              <a:gd name="connsiteX43558" fmla="*/ 3960209 w 10505529"/>
              <a:gd name="connsiteY43558" fmla="*/ 29689 h 7458372"/>
              <a:gd name="connsiteX43559" fmla="*/ 3959145 w 10505529"/>
              <a:gd name="connsiteY43559" fmla="*/ 24497 h 7458372"/>
              <a:gd name="connsiteX43560" fmla="*/ 3956482 w 10505529"/>
              <a:gd name="connsiteY43560" fmla="*/ 20238 h 7458372"/>
              <a:gd name="connsiteX43561" fmla="*/ 3952489 w 10505529"/>
              <a:gd name="connsiteY43561" fmla="*/ 17575 h 7458372"/>
              <a:gd name="connsiteX43562" fmla="*/ 3947430 w 10505529"/>
              <a:gd name="connsiteY43562" fmla="*/ 16644 h 7458372"/>
              <a:gd name="connsiteX43563" fmla="*/ 4165068 w 10505529"/>
              <a:gd name="connsiteY43563" fmla="*/ 16644 h 7458372"/>
              <a:gd name="connsiteX43564" fmla="*/ 4155084 w 10505529"/>
              <a:gd name="connsiteY43564" fmla="*/ 20238 h 7458372"/>
              <a:gd name="connsiteX43565" fmla="*/ 4151490 w 10505529"/>
              <a:gd name="connsiteY43565" fmla="*/ 29689 h 7458372"/>
              <a:gd name="connsiteX43566" fmla="*/ 4155084 w 10505529"/>
              <a:gd name="connsiteY43566" fmla="*/ 39140 h 7458372"/>
              <a:gd name="connsiteX43567" fmla="*/ 4165068 w 10505529"/>
              <a:gd name="connsiteY43567" fmla="*/ 42601 h 7458372"/>
              <a:gd name="connsiteX43568" fmla="*/ 4170392 w 10505529"/>
              <a:gd name="connsiteY43568" fmla="*/ 41669 h 7458372"/>
              <a:gd name="connsiteX43569" fmla="*/ 4174119 w 10505529"/>
              <a:gd name="connsiteY43569" fmla="*/ 39273 h 7458372"/>
              <a:gd name="connsiteX43570" fmla="*/ 4176782 w 10505529"/>
              <a:gd name="connsiteY43570" fmla="*/ 35147 h 7458372"/>
              <a:gd name="connsiteX43571" fmla="*/ 4177847 w 10505529"/>
              <a:gd name="connsiteY43571" fmla="*/ 29689 h 7458372"/>
              <a:gd name="connsiteX43572" fmla="*/ 4176782 w 10505529"/>
              <a:gd name="connsiteY43572" fmla="*/ 24497 h 7458372"/>
              <a:gd name="connsiteX43573" fmla="*/ 4174119 w 10505529"/>
              <a:gd name="connsiteY43573" fmla="*/ 20238 h 7458372"/>
              <a:gd name="connsiteX43574" fmla="*/ 4170126 w 10505529"/>
              <a:gd name="connsiteY43574" fmla="*/ 17575 h 7458372"/>
              <a:gd name="connsiteX43575" fmla="*/ 4165068 w 10505529"/>
              <a:gd name="connsiteY43575" fmla="*/ 16644 h 7458372"/>
              <a:gd name="connsiteX43576" fmla="*/ 4382713 w 10505529"/>
              <a:gd name="connsiteY43576" fmla="*/ 16644 h 7458372"/>
              <a:gd name="connsiteX43577" fmla="*/ 4372730 w 10505529"/>
              <a:gd name="connsiteY43577" fmla="*/ 20238 h 7458372"/>
              <a:gd name="connsiteX43578" fmla="*/ 4369136 w 10505529"/>
              <a:gd name="connsiteY43578" fmla="*/ 29689 h 7458372"/>
              <a:gd name="connsiteX43579" fmla="*/ 4372730 w 10505529"/>
              <a:gd name="connsiteY43579" fmla="*/ 39140 h 7458372"/>
              <a:gd name="connsiteX43580" fmla="*/ 4382713 w 10505529"/>
              <a:gd name="connsiteY43580" fmla="*/ 42601 h 7458372"/>
              <a:gd name="connsiteX43581" fmla="*/ 4388038 w 10505529"/>
              <a:gd name="connsiteY43581" fmla="*/ 41669 h 7458372"/>
              <a:gd name="connsiteX43582" fmla="*/ 4391765 w 10505529"/>
              <a:gd name="connsiteY43582" fmla="*/ 39273 h 7458372"/>
              <a:gd name="connsiteX43583" fmla="*/ 4394428 w 10505529"/>
              <a:gd name="connsiteY43583" fmla="*/ 35147 h 7458372"/>
              <a:gd name="connsiteX43584" fmla="*/ 4395493 w 10505529"/>
              <a:gd name="connsiteY43584" fmla="*/ 29689 h 7458372"/>
              <a:gd name="connsiteX43585" fmla="*/ 4394428 w 10505529"/>
              <a:gd name="connsiteY43585" fmla="*/ 24497 h 7458372"/>
              <a:gd name="connsiteX43586" fmla="*/ 4391765 w 10505529"/>
              <a:gd name="connsiteY43586" fmla="*/ 20238 h 7458372"/>
              <a:gd name="connsiteX43587" fmla="*/ 4387772 w 10505529"/>
              <a:gd name="connsiteY43587" fmla="*/ 17575 h 7458372"/>
              <a:gd name="connsiteX43588" fmla="*/ 4382713 w 10505529"/>
              <a:gd name="connsiteY43588" fmla="*/ 16644 h 7458372"/>
              <a:gd name="connsiteX43589" fmla="*/ 4600226 w 10505529"/>
              <a:gd name="connsiteY43589" fmla="*/ 16643 h 7458372"/>
              <a:gd name="connsiteX43590" fmla="*/ 4590242 w 10505529"/>
              <a:gd name="connsiteY43590" fmla="*/ 20237 h 7458372"/>
              <a:gd name="connsiteX43591" fmla="*/ 4586648 w 10505529"/>
              <a:gd name="connsiteY43591" fmla="*/ 29689 h 7458372"/>
              <a:gd name="connsiteX43592" fmla="*/ 4590242 w 10505529"/>
              <a:gd name="connsiteY43592" fmla="*/ 39140 h 7458372"/>
              <a:gd name="connsiteX43593" fmla="*/ 4600226 w 10505529"/>
              <a:gd name="connsiteY43593" fmla="*/ 42601 h 7458372"/>
              <a:gd name="connsiteX43594" fmla="*/ 4605550 w 10505529"/>
              <a:gd name="connsiteY43594" fmla="*/ 41669 h 7458372"/>
              <a:gd name="connsiteX43595" fmla="*/ 4609277 w 10505529"/>
              <a:gd name="connsiteY43595" fmla="*/ 39273 h 7458372"/>
              <a:gd name="connsiteX43596" fmla="*/ 4611940 w 10505529"/>
              <a:gd name="connsiteY43596" fmla="*/ 35147 h 7458372"/>
              <a:gd name="connsiteX43597" fmla="*/ 4613005 w 10505529"/>
              <a:gd name="connsiteY43597" fmla="*/ 29689 h 7458372"/>
              <a:gd name="connsiteX43598" fmla="*/ 4611940 w 10505529"/>
              <a:gd name="connsiteY43598" fmla="*/ 24497 h 7458372"/>
              <a:gd name="connsiteX43599" fmla="*/ 4609277 w 10505529"/>
              <a:gd name="connsiteY43599" fmla="*/ 20237 h 7458372"/>
              <a:gd name="connsiteX43600" fmla="*/ 4605284 w 10505529"/>
              <a:gd name="connsiteY43600" fmla="*/ 17574 h 7458372"/>
              <a:gd name="connsiteX43601" fmla="*/ 4600226 w 10505529"/>
              <a:gd name="connsiteY43601" fmla="*/ 16643 h 7458372"/>
              <a:gd name="connsiteX43602" fmla="*/ 4817870 w 10505529"/>
              <a:gd name="connsiteY43602" fmla="*/ 16643 h 7458372"/>
              <a:gd name="connsiteX43603" fmla="*/ 4807887 w 10505529"/>
              <a:gd name="connsiteY43603" fmla="*/ 20237 h 7458372"/>
              <a:gd name="connsiteX43604" fmla="*/ 4804293 w 10505529"/>
              <a:gd name="connsiteY43604" fmla="*/ 29689 h 7458372"/>
              <a:gd name="connsiteX43605" fmla="*/ 4807887 w 10505529"/>
              <a:gd name="connsiteY43605" fmla="*/ 39140 h 7458372"/>
              <a:gd name="connsiteX43606" fmla="*/ 4817870 w 10505529"/>
              <a:gd name="connsiteY43606" fmla="*/ 42601 h 7458372"/>
              <a:gd name="connsiteX43607" fmla="*/ 4823195 w 10505529"/>
              <a:gd name="connsiteY43607" fmla="*/ 41669 h 7458372"/>
              <a:gd name="connsiteX43608" fmla="*/ 4826922 w 10505529"/>
              <a:gd name="connsiteY43608" fmla="*/ 39273 h 7458372"/>
              <a:gd name="connsiteX43609" fmla="*/ 4829585 w 10505529"/>
              <a:gd name="connsiteY43609" fmla="*/ 35147 h 7458372"/>
              <a:gd name="connsiteX43610" fmla="*/ 4830650 w 10505529"/>
              <a:gd name="connsiteY43610" fmla="*/ 29689 h 7458372"/>
              <a:gd name="connsiteX43611" fmla="*/ 4829585 w 10505529"/>
              <a:gd name="connsiteY43611" fmla="*/ 24496 h 7458372"/>
              <a:gd name="connsiteX43612" fmla="*/ 4826922 w 10505529"/>
              <a:gd name="connsiteY43612" fmla="*/ 20237 h 7458372"/>
              <a:gd name="connsiteX43613" fmla="*/ 4822929 w 10505529"/>
              <a:gd name="connsiteY43613" fmla="*/ 17574 h 7458372"/>
              <a:gd name="connsiteX43614" fmla="*/ 4817870 w 10505529"/>
              <a:gd name="connsiteY43614" fmla="*/ 16643 h 7458372"/>
              <a:gd name="connsiteX43615" fmla="*/ 5035515 w 10505529"/>
              <a:gd name="connsiteY43615" fmla="*/ 16643 h 7458372"/>
              <a:gd name="connsiteX43616" fmla="*/ 5025532 w 10505529"/>
              <a:gd name="connsiteY43616" fmla="*/ 20237 h 7458372"/>
              <a:gd name="connsiteX43617" fmla="*/ 5021938 w 10505529"/>
              <a:gd name="connsiteY43617" fmla="*/ 29688 h 7458372"/>
              <a:gd name="connsiteX43618" fmla="*/ 5025532 w 10505529"/>
              <a:gd name="connsiteY43618" fmla="*/ 39140 h 7458372"/>
              <a:gd name="connsiteX43619" fmla="*/ 5035515 w 10505529"/>
              <a:gd name="connsiteY43619" fmla="*/ 42601 h 7458372"/>
              <a:gd name="connsiteX43620" fmla="*/ 5040840 w 10505529"/>
              <a:gd name="connsiteY43620" fmla="*/ 41669 h 7458372"/>
              <a:gd name="connsiteX43621" fmla="*/ 5044567 w 10505529"/>
              <a:gd name="connsiteY43621" fmla="*/ 39273 h 7458372"/>
              <a:gd name="connsiteX43622" fmla="*/ 5047230 w 10505529"/>
              <a:gd name="connsiteY43622" fmla="*/ 35147 h 7458372"/>
              <a:gd name="connsiteX43623" fmla="*/ 5048294 w 10505529"/>
              <a:gd name="connsiteY43623" fmla="*/ 29688 h 7458372"/>
              <a:gd name="connsiteX43624" fmla="*/ 5047230 w 10505529"/>
              <a:gd name="connsiteY43624" fmla="*/ 24496 h 7458372"/>
              <a:gd name="connsiteX43625" fmla="*/ 5044567 w 10505529"/>
              <a:gd name="connsiteY43625" fmla="*/ 20237 h 7458372"/>
              <a:gd name="connsiteX43626" fmla="*/ 5040574 w 10505529"/>
              <a:gd name="connsiteY43626" fmla="*/ 17574 h 7458372"/>
              <a:gd name="connsiteX43627" fmla="*/ 5035515 w 10505529"/>
              <a:gd name="connsiteY43627" fmla="*/ 16643 h 7458372"/>
              <a:gd name="connsiteX43628" fmla="*/ 5253160 w 10505529"/>
              <a:gd name="connsiteY43628" fmla="*/ 16643 h 7458372"/>
              <a:gd name="connsiteX43629" fmla="*/ 5243177 w 10505529"/>
              <a:gd name="connsiteY43629" fmla="*/ 20237 h 7458372"/>
              <a:gd name="connsiteX43630" fmla="*/ 5239583 w 10505529"/>
              <a:gd name="connsiteY43630" fmla="*/ 29688 h 7458372"/>
              <a:gd name="connsiteX43631" fmla="*/ 5243177 w 10505529"/>
              <a:gd name="connsiteY43631" fmla="*/ 39140 h 7458372"/>
              <a:gd name="connsiteX43632" fmla="*/ 5253160 w 10505529"/>
              <a:gd name="connsiteY43632" fmla="*/ 42601 h 7458372"/>
              <a:gd name="connsiteX43633" fmla="*/ 5258485 w 10505529"/>
              <a:gd name="connsiteY43633" fmla="*/ 41669 h 7458372"/>
              <a:gd name="connsiteX43634" fmla="*/ 5262212 w 10505529"/>
              <a:gd name="connsiteY43634" fmla="*/ 39272 h 7458372"/>
              <a:gd name="connsiteX43635" fmla="*/ 5264875 w 10505529"/>
              <a:gd name="connsiteY43635" fmla="*/ 35146 h 7458372"/>
              <a:gd name="connsiteX43636" fmla="*/ 5265939 w 10505529"/>
              <a:gd name="connsiteY43636" fmla="*/ 29688 h 7458372"/>
              <a:gd name="connsiteX43637" fmla="*/ 5264875 w 10505529"/>
              <a:gd name="connsiteY43637" fmla="*/ 24496 h 7458372"/>
              <a:gd name="connsiteX43638" fmla="*/ 5262212 w 10505529"/>
              <a:gd name="connsiteY43638" fmla="*/ 20237 h 7458372"/>
              <a:gd name="connsiteX43639" fmla="*/ 5258219 w 10505529"/>
              <a:gd name="connsiteY43639" fmla="*/ 17574 h 7458372"/>
              <a:gd name="connsiteX43640" fmla="*/ 5253160 w 10505529"/>
              <a:gd name="connsiteY43640" fmla="*/ 16643 h 7458372"/>
              <a:gd name="connsiteX43641" fmla="*/ 5470806 w 10505529"/>
              <a:gd name="connsiteY43641" fmla="*/ 16643 h 7458372"/>
              <a:gd name="connsiteX43642" fmla="*/ 5460822 w 10505529"/>
              <a:gd name="connsiteY43642" fmla="*/ 20237 h 7458372"/>
              <a:gd name="connsiteX43643" fmla="*/ 5457228 w 10505529"/>
              <a:gd name="connsiteY43643" fmla="*/ 29688 h 7458372"/>
              <a:gd name="connsiteX43644" fmla="*/ 5460822 w 10505529"/>
              <a:gd name="connsiteY43644" fmla="*/ 39139 h 7458372"/>
              <a:gd name="connsiteX43645" fmla="*/ 5470806 w 10505529"/>
              <a:gd name="connsiteY43645" fmla="*/ 42600 h 7458372"/>
              <a:gd name="connsiteX43646" fmla="*/ 5476130 w 10505529"/>
              <a:gd name="connsiteY43646" fmla="*/ 41668 h 7458372"/>
              <a:gd name="connsiteX43647" fmla="*/ 5479857 w 10505529"/>
              <a:gd name="connsiteY43647" fmla="*/ 39272 h 7458372"/>
              <a:gd name="connsiteX43648" fmla="*/ 5482520 w 10505529"/>
              <a:gd name="connsiteY43648" fmla="*/ 35146 h 7458372"/>
              <a:gd name="connsiteX43649" fmla="*/ 5483585 w 10505529"/>
              <a:gd name="connsiteY43649" fmla="*/ 29688 h 7458372"/>
              <a:gd name="connsiteX43650" fmla="*/ 5482520 w 10505529"/>
              <a:gd name="connsiteY43650" fmla="*/ 24496 h 7458372"/>
              <a:gd name="connsiteX43651" fmla="*/ 5479857 w 10505529"/>
              <a:gd name="connsiteY43651" fmla="*/ 20237 h 7458372"/>
              <a:gd name="connsiteX43652" fmla="*/ 5475864 w 10505529"/>
              <a:gd name="connsiteY43652" fmla="*/ 17574 h 7458372"/>
              <a:gd name="connsiteX43653" fmla="*/ 5470806 w 10505529"/>
              <a:gd name="connsiteY43653" fmla="*/ 16643 h 7458372"/>
              <a:gd name="connsiteX43654" fmla="*/ 5688451 w 10505529"/>
              <a:gd name="connsiteY43654" fmla="*/ 16643 h 7458372"/>
              <a:gd name="connsiteX43655" fmla="*/ 5678467 w 10505529"/>
              <a:gd name="connsiteY43655" fmla="*/ 20237 h 7458372"/>
              <a:gd name="connsiteX43656" fmla="*/ 5674873 w 10505529"/>
              <a:gd name="connsiteY43656" fmla="*/ 29688 h 7458372"/>
              <a:gd name="connsiteX43657" fmla="*/ 5678467 w 10505529"/>
              <a:gd name="connsiteY43657" fmla="*/ 39139 h 7458372"/>
              <a:gd name="connsiteX43658" fmla="*/ 5688451 w 10505529"/>
              <a:gd name="connsiteY43658" fmla="*/ 42600 h 7458372"/>
              <a:gd name="connsiteX43659" fmla="*/ 5693775 w 10505529"/>
              <a:gd name="connsiteY43659" fmla="*/ 41668 h 7458372"/>
              <a:gd name="connsiteX43660" fmla="*/ 5697502 w 10505529"/>
              <a:gd name="connsiteY43660" fmla="*/ 39272 h 7458372"/>
              <a:gd name="connsiteX43661" fmla="*/ 5700165 w 10505529"/>
              <a:gd name="connsiteY43661" fmla="*/ 35146 h 7458372"/>
              <a:gd name="connsiteX43662" fmla="*/ 5701230 w 10505529"/>
              <a:gd name="connsiteY43662" fmla="*/ 29688 h 7458372"/>
              <a:gd name="connsiteX43663" fmla="*/ 5700165 w 10505529"/>
              <a:gd name="connsiteY43663" fmla="*/ 24496 h 7458372"/>
              <a:gd name="connsiteX43664" fmla="*/ 5697502 w 10505529"/>
              <a:gd name="connsiteY43664" fmla="*/ 20237 h 7458372"/>
              <a:gd name="connsiteX43665" fmla="*/ 5693509 w 10505529"/>
              <a:gd name="connsiteY43665" fmla="*/ 17574 h 7458372"/>
              <a:gd name="connsiteX43666" fmla="*/ 5688451 w 10505529"/>
              <a:gd name="connsiteY43666" fmla="*/ 16643 h 7458372"/>
              <a:gd name="connsiteX43667" fmla="*/ 5905963 w 10505529"/>
              <a:gd name="connsiteY43667" fmla="*/ 16643 h 7458372"/>
              <a:gd name="connsiteX43668" fmla="*/ 5895979 w 10505529"/>
              <a:gd name="connsiteY43668" fmla="*/ 20237 h 7458372"/>
              <a:gd name="connsiteX43669" fmla="*/ 5892385 w 10505529"/>
              <a:gd name="connsiteY43669" fmla="*/ 29688 h 7458372"/>
              <a:gd name="connsiteX43670" fmla="*/ 5895979 w 10505529"/>
              <a:gd name="connsiteY43670" fmla="*/ 39139 h 7458372"/>
              <a:gd name="connsiteX43671" fmla="*/ 5905963 w 10505529"/>
              <a:gd name="connsiteY43671" fmla="*/ 42600 h 7458372"/>
              <a:gd name="connsiteX43672" fmla="*/ 5911287 w 10505529"/>
              <a:gd name="connsiteY43672" fmla="*/ 41668 h 7458372"/>
              <a:gd name="connsiteX43673" fmla="*/ 5915014 w 10505529"/>
              <a:gd name="connsiteY43673" fmla="*/ 39272 h 7458372"/>
              <a:gd name="connsiteX43674" fmla="*/ 5917677 w 10505529"/>
              <a:gd name="connsiteY43674" fmla="*/ 35146 h 7458372"/>
              <a:gd name="connsiteX43675" fmla="*/ 5918742 w 10505529"/>
              <a:gd name="connsiteY43675" fmla="*/ 29688 h 7458372"/>
              <a:gd name="connsiteX43676" fmla="*/ 5917677 w 10505529"/>
              <a:gd name="connsiteY43676" fmla="*/ 24496 h 7458372"/>
              <a:gd name="connsiteX43677" fmla="*/ 5915014 w 10505529"/>
              <a:gd name="connsiteY43677" fmla="*/ 20237 h 7458372"/>
              <a:gd name="connsiteX43678" fmla="*/ 5911021 w 10505529"/>
              <a:gd name="connsiteY43678" fmla="*/ 17574 h 7458372"/>
              <a:gd name="connsiteX43679" fmla="*/ 5905963 w 10505529"/>
              <a:gd name="connsiteY43679" fmla="*/ 16643 h 7458372"/>
              <a:gd name="connsiteX43680" fmla="*/ 6123608 w 10505529"/>
              <a:gd name="connsiteY43680" fmla="*/ 16643 h 7458372"/>
              <a:gd name="connsiteX43681" fmla="*/ 6113624 w 10505529"/>
              <a:gd name="connsiteY43681" fmla="*/ 20237 h 7458372"/>
              <a:gd name="connsiteX43682" fmla="*/ 6110030 w 10505529"/>
              <a:gd name="connsiteY43682" fmla="*/ 29688 h 7458372"/>
              <a:gd name="connsiteX43683" fmla="*/ 6113624 w 10505529"/>
              <a:gd name="connsiteY43683" fmla="*/ 39139 h 7458372"/>
              <a:gd name="connsiteX43684" fmla="*/ 6123608 w 10505529"/>
              <a:gd name="connsiteY43684" fmla="*/ 42600 h 7458372"/>
              <a:gd name="connsiteX43685" fmla="*/ 6128932 w 10505529"/>
              <a:gd name="connsiteY43685" fmla="*/ 41668 h 7458372"/>
              <a:gd name="connsiteX43686" fmla="*/ 6132659 w 10505529"/>
              <a:gd name="connsiteY43686" fmla="*/ 39272 h 7458372"/>
              <a:gd name="connsiteX43687" fmla="*/ 6135322 w 10505529"/>
              <a:gd name="connsiteY43687" fmla="*/ 35146 h 7458372"/>
              <a:gd name="connsiteX43688" fmla="*/ 6136387 w 10505529"/>
              <a:gd name="connsiteY43688" fmla="*/ 29688 h 7458372"/>
              <a:gd name="connsiteX43689" fmla="*/ 6135322 w 10505529"/>
              <a:gd name="connsiteY43689" fmla="*/ 24496 h 7458372"/>
              <a:gd name="connsiteX43690" fmla="*/ 6132659 w 10505529"/>
              <a:gd name="connsiteY43690" fmla="*/ 20237 h 7458372"/>
              <a:gd name="connsiteX43691" fmla="*/ 6128666 w 10505529"/>
              <a:gd name="connsiteY43691" fmla="*/ 17574 h 7458372"/>
              <a:gd name="connsiteX43692" fmla="*/ 6123608 w 10505529"/>
              <a:gd name="connsiteY43692" fmla="*/ 16643 h 7458372"/>
              <a:gd name="connsiteX43693" fmla="*/ 6341253 w 10505529"/>
              <a:gd name="connsiteY43693" fmla="*/ 16643 h 7458372"/>
              <a:gd name="connsiteX43694" fmla="*/ 6331270 w 10505529"/>
              <a:gd name="connsiteY43694" fmla="*/ 20237 h 7458372"/>
              <a:gd name="connsiteX43695" fmla="*/ 6327675 w 10505529"/>
              <a:gd name="connsiteY43695" fmla="*/ 29688 h 7458372"/>
              <a:gd name="connsiteX43696" fmla="*/ 6331270 w 10505529"/>
              <a:gd name="connsiteY43696" fmla="*/ 39139 h 7458372"/>
              <a:gd name="connsiteX43697" fmla="*/ 6341253 w 10505529"/>
              <a:gd name="connsiteY43697" fmla="*/ 42600 h 7458372"/>
              <a:gd name="connsiteX43698" fmla="*/ 6346578 w 10505529"/>
              <a:gd name="connsiteY43698" fmla="*/ 41668 h 7458372"/>
              <a:gd name="connsiteX43699" fmla="*/ 6350305 w 10505529"/>
              <a:gd name="connsiteY43699" fmla="*/ 39272 h 7458372"/>
              <a:gd name="connsiteX43700" fmla="*/ 6352968 w 10505529"/>
              <a:gd name="connsiteY43700" fmla="*/ 35146 h 7458372"/>
              <a:gd name="connsiteX43701" fmla="*/ 6354033 w 10505529"/>
              <a:gd name="connsiteY43701" fmla="*/ 29688 h 7458372"/>
              <a:gd name="connsiteX43702" fmla="*/ 6352968 w 10505529"/>
              <a:gd name="connsiteY43702" fmla="*/ 24496 h 7458372"/>
              <a:gd name="connsiteX43703" fmla="*/ 6350305 w 10505529"/>
              <a:gd name="connsiteY43703" fmla="*/ 20237 h 7458372"/>
              <a:gd name="connsiteX43704" fmla="*/ 6346312 w 10505529"/>
              <a:gd name="connsiteY43704" fmla="*/ 17574 h 7458372"/>
              <a:gd name="connsiteX43705" fmla="*/ 6341253 w 10505529"/>
              <a:gd name="connsiteY43705" fmla="*/ 16643 h 7458372"/>
              <a:gd name="connsiteX43706" fmla="*/ 6558899 w 10505529"/>
              <a:gd name="connsiteY43706" fmla="*/ 16642 h 7458372"/>
              <a:gd name="connsiteX43707" fmla="*/ 6548915 w 10505529"/>
              <a:gd name="connsiteY43707" fmla="*/ 20236 h 7458372"/>
              <a:gd name="connsiteX43708" fmla="*/ 6545321 w 10505529"/>
              <a:gd name="connsiteY43708" fmla="*/ 29688 h 7458372"/>
              <a:gd name="connsiteX43709" fmla="*/ 6548915 w 10505529"/>
              <a:gd name="connsiteY43709" fmla="*/ 39139 h 7458372"/>
              <a:gd name="connsiteX43710" fmla="*/ 6558899 w 10505529"/>
              <a:gd name="connsiteY43710" fmla="*/ 42600 h 7458372"/>
              <a:gd name="connsiteX43711" fmla="*/ 6564223 w 10505529"/>
              <a:gd name="connsiteY43711" fmla="*/ 41668 h 7458372"/>
              <a:gd name="connsiteX43712" fmla="*/ 6567950 w 10505529"/>
              <a:gd name="connsiteY43712" fmla="*/ 39272 h 7458372"/>
              <a:gd name="connsiteX43713" fmla="*/ 6570612 w 10505529"/>
              <a:gd name="connsiteY43713" fmla="*/ 35146 h 7458372"/>
              <a:gd name="connsiteX43714" fmla="*/ 6571677 w 10505529"/>
              <a:gd name="connsiteY43714" fmla="*/ 29688 h 7458372"/>
              <a:gd name="connsiteX43715" fmla="*/ 6570612 w 10505529"/>
              <a:gd name="connsiteY43715" fmla="*/ 24496 h 7458372"/>
              <a:gd name="connsiteX43716" fmla="*/ 6567950 w 10505529"/>
              <a:gd name="connsiteY43716" fmla="*/ 20236 h 7458372"/>
              <a:gd name="connsiteX43717" fmla="*/ 6563956 w 10505529"/>
              <a:gd name="connsiteY43717" fmla="*/ 17573 h 7458372"/>
              <a:gd name="connsiteX43718" fmla="*/ 6558899 w 10505529"/>
              <a:gd name="connsiteY43718" fmla="*/ 16642 h 7458372"/>
              <a:gd name="connsiteX43719" fmla="*/ 6776544 w 10505529"/>
              <a:gd name="connsiteY43719" fmla="*/ 16642 h 7458372"/>
              <a:gd name="connsiteX43720" fmla="*/ 6766560 w 10505529"/>
              <a:gd name="connsiteY43720" fmla="*/ 20236 h 7458372"/>
              <a:gd name="connsiteX43721" fmla="*/ 6762966 w 10505529"/>
              <a:gd name="connsiteY43721" fmla="*/ 29688 h 7458372"/>
              <a:gd name="connsiteX43722" fmla="*/ 6766560 w 10505529"/>
              <a:gd name="connsiteY43722" fmla="*/ 39139 h 7458372"/>
              <a:gd name="connsiteX43723" fmla="*/ 6776544 w 10505529"/>
              <a:gd name="connsiteY43723" fmla="*/ 42600 h 7458372"/>
              <a:gd name="connsiteX43724" fmla="*/ 6781869 w 10505529"/>
              <a:gd name="connsiteY43724" fmla="*/ 41668 h 7458372"/>
              <a:gd name="connsiteX43725" fmla="*/ 6785595 w 10505529"/>
              <a:gd name="connsiteY43725" fmla="*/ 39272 h 7458372"/>
              <a:gd name="connsiteX43726" fmla="*/ 6788258 w 10505529"/>
              <a:gd name="connsiteY43726" fmla="*/ 35146 h 7458372"/>
              <a:gd name="connsiteX43727" fmla="*/ 6789323 w 10505529"/>
              <a:gd name="connsiteY43727" fmla="*/ 29688 h 7458372"/>
              <a:gd name="connsiteX43728" fmla="*/ 6788258 w 10505529"/>
              <a:gd name="connsiteY43728" fmla="*/ 24495 h 7458372"/>
              <a:gd name="connsiteX43729" fmla="*/ 6785595 w 10505529"/>
              <a:gd name="connsiteY43729" fmla="*/ 20236 h 7458372"/>
              <a:gd name="connsiteX43730" fmla="*/ 6781602 w 10505529"/>
              <a:gd name="connsiteY43730" fmla="*/ 17573 h 7458372"/>
              <a:gd name="connsiteX43731" fmla="*/ 6776544 w 10505529"/>
              <a:gd name="connsiteY43731" fmla="*/ 16642 h 7458372"/>
              <a:gd name="connsiteX43732" fmla="*/ 6994056 w 10505529"/>
              <a:gd name="connsiteY43732" fmla="*/ 16642 h 7458372"/>
              <a:gd name="connsiteX43733" fmla="*/ 6984072 w 10505529"/>
              <a:gd name="connsiteY43733" fmla="*/ 20236 h 7458372"/>
              <a:gd name="connsiteX43734" fmla="*/ 6980478 w 10505529"/>
              <a:gd name="connsiteY43734" fmla="*/ 29687 h 7458372"/>
              <a:gd name="connsiteX43735" fmla="*/ 6984072 w 10505529"/>
              <a:gd name="connsiteY43735" fmla="*/ 39139 h 7458372"/>
              <a:gd name="connsiteX43736" fmla="*/ 6994056 w 10505529"/>
              <a:gd name="connsiteY43736" fmla="*/ 42600 h 7458372"/>
              <a:gd name="connsiteX43737" fmla="*/ 6999380 w 10505529"/>
              <a:gd name="connsiteY43737" fmla="*/ 41668 h 7458372"/>
              <a:gd name="connsiteX43738" fmla="*/ 7003107 w 10505529"/>
              <a:gd name="connsiteY43738" fmla="*/ 39272 h 7458372"/>
              <a:gd name="connsiteX43739" fmla="*/ 7005769 w 10505529"/>
              <a:gd name="connsiteY43739" fmla="*/ 35146 h 7458372"/>
              <a:gd name="connsiteX43740" fmla="*/ 7006834 w 10505529"/>
              <a:gd name="connsiteY43740" fmla="*/ 29687 h 7458372"/>
              <a:gd name="connsiteX43741" fmla="*/ 7005769 w 10505529"/>
              <a:gd name="connsiteY43741" fmla="*/ 24495 h 7458372"/>
              <a:gd name="connsiteX43742" fmla="*/ 7003107 w 10505529"/>
              <a:gd name="connsiteY43742" fmla="*/ 20236 h 7458372"/>
              <a:gd name="connsiteX43743" fmla="*/ 6999113 w 10505529"/>
              <a:gd name="connsiteY43743" fmla="*/ 17573 h 7458372"/>
              <a:gd name="connsiteX43744" fmla="*/ 6994056 w 10505529"/>
              <a:gd name="connsiteY43744" fmla="*/ 16642 h 7458372"/>
              <a:gd name="connsiteX43745" fmla="*/ 7211701 w 10505529"/>
              <a:gd name="connsiteY43745" fmla="*/ 16642 h 7458372"/>
              <a:gd name="connsiteX43746" fmla="*/ 7201717 w 10505529"/>
              <a:gd name="connsiteY43746" fmla="*/ 20236 h 7458372"/>
              <a:gd name="connsiteX43747" fmla="*/ 7198123 w 10505529"/>
              <a:gd name="connsiteY43747" fmla="*/ 29687 h 7458372"/>
              <a:gd name="connsiteX43748" fmla="*/ 7201717 w 10505529"/>
              <a:gd name="connsiteY43748" fmla="*/ 39139 h 7458372"/>
              <a:gd name="connsiteX43749" fmla="*/ 7211701 w 10505529"/>
              <a:gd name="connsiteY43749" fmla="*/ 42600 h 7458372"/>
              <a:gd name="connsiteX43750" fmla="*/ 7217026 w 10505529"/>
              <a:gd name="connsiteY43750" fmla="*/ 41668 h 7458372"/>
              <a:gd name="connsiteX43751" fmla="*/ 7220752 w 10505529"/>
              <a:gd name="connsiteY43751" fmla="*/ 39271 h 7458372"/>
              <a:gd name="connsiteX43752" fmla="*/ 7223415 w 10505529"/>
              <a:gd name="connsiteY43752" fmla="*/ 35145 h 7458372"/>
              <a:gd name="connsiteX43753" fmla="*/ 7224480 w 10505529"/>
              <a:gd name="connsiteY43753" fmla="*/ 29687 h 7458372"/>
              <a:gd name="connsiteX43754" fmla="*/ 7223415 w 10505529"/>
              <a:gd name="connsiteY43754" fmla="*/ 24495 h 7458372"/>
              <a:gd name="connsiteX43755" fmla="*/ 7220752 w 10505529"/>
              <a:gd name="connsiteY43755" fmla="*/ 20236 h 7458372"/>
              <a:gd name="connsiteX43756" fmla="*/ 7216759 w 10505529"/>
              <a:gd name="connsiteY43756" fmla="*/ 17573 h 7458372"/>
              <a:gd name="connsiteX43757" fmla="*/ 7211701 w 10505529"/>
              <a:gd name="connsiteY43757" fmla="*/ 16642 h 7458372"/>
              <a:gd name="connsiteX43758" fmla="*/ 7429345 w 10505529"/>
              <a:gd name="connsiteY43758" fmla="*/ 16642 h 7458372"/>
              <a:gd name="connsiteX43759" fmla="*/ 7419361 w 10505529"/>
              <a:gd name="connsiteY43759" fmla="*/ 20236 h 7458372"/>
              <a:gd name="connsiteX43760" fmla="*/ 7415768 w 10505529"/>
              <a:gd name="connsiteY43760" fmla="*/ 29687 h 7458372"/>
              <a:gd name="connsiteX43761" fmla="*/ 7419361 w 10505529"/>
              <a:gd name="connsiteY43761" fmla="*/ 39138 h 7458372"/>
              <a:gd name="connsiteX43762" fmla="*/ 7429345 w 10505529"/>
              <a:gd name="connsiteY43762" fmla="*/ 42599 h 7458372"/>
              <a:gd name="connsiteX43763" fmla="*/ 7434670 w 10505529"/>
              <a:gd name="connsiteY43763" fmla="*/ 41667 h 7458372"/>
              <a:gd name="connsiteX43764" fmla="*/ 7438397 w 10505529"/>
              <a:gd name="connsiteY43764" fmla="*/ 39271 h 7458372"/>
              <a:gd name="connsiteX43765" fmla="*/ 7441059 w 10505529"/>
              <a:gd name="connsiteY43765" fmla="*/ 35145 h 7458372"/>
              <a:gd name="connsiteX43766" fmla="*/ 7442124 w 10505529"/>
              <a:gd name="connsiteY43766" fmla="*/ 29687 h 7458372"/>
              <a:gd name="connsiteX43767" fmla="*/ 7441059 w 10505529"/>
              <a:gd name="connsiteY43767" fmla="*/ 24495 h 7458372"/>
              <a:gd name="connsiteX43768" fmla="*/ 7438397 w 10505529"/>
              <a:gd name="connsiteY43768" fmla="*/ 20236 h 7458372"/>
              <a:gd name="connsiteX43769" fmla="*/ 7434403 w 10505529"/>
              <a:gd name="connsiteY43769" fmla="*/ 17573 h 7458372"/>
              <a:gd name="connsiteX43770" fmla="*/ 7429345 w 10505529"/>
              <a:gd name="connsiteY43770" fmla="*/ 16642 h 7458372"/>
              <a:gd name="connsiteX43771" fmla="*/ 7646991 w 10505529"/>
              <a:gd name="connsiteY43771" fmla="*/ 16642 h 7458372"/>
              <a:gd name="connsiteX43772" fmla="*/ 7637007 w 10505529"/>
              <a:gd name="connsiteY43772" fmla="*/ 20236 h 7458372"/>
              <a:gd name="connsiteX43773" fmla="*/ 7633413 w 10505529"/>
              <a:gd name="connsiteY43773" fmla="*/ 29687 h 7458372"/>
              <a:gd name="connsiteX43774" fmla="*/ 7637007 w 10505529"/>
              <a:gd name="connsiteY43774" fmla="*/ 39138 h 7458372"/>
              <a:gd name="connsiteX43775" fmla="*/ 7646991 w 10505529"/>
              <a:gd name="connsiteY43775" fmla="*/ 42599 h 7458372"/>
              <a:gd name="connsiteX43776" fmla="*/ 7652315 w 10505529"/>
              <a:gd name="connsiteY43776" fmla="*/ 41667 h 7458372"/>
              <a:gd name="connsiteX43777" fmla="*/ 7656042 w 10505529"/>
              <a:gd name="connsiteY43777" fmla="*/ 39271 h 7458372"/>
              <a:gd name="connsiteX43778" fmla="*/ 7658705 w 10505529"/>
              <a:gd name="connsiteY43778" fmla="*/ 35145 h 7458372"/>
              <a:gd name="connsiteX43779" fmla="*/ 7659769 w 10505529"/>
              <a:gd name="connsiteY43779" fmla="*/ 29687 h 7458372"/>
              <a:gd name="connsiteX43780" fmla="*/ 7658705 w 10505529"/>
              <a:gd name="connsiteY43780" fmla="*/ 24495 h 7458372"/>
              <a:gd name="connsiteX43781" fmla="*/ 7656042 w 10505529"/>
              <a:gd name="connsiteY43781" fmla="*/ 20236 h 7458372"/>
              <a:gd name="connsiteX43782" fmla="*/ 7652049 w 10505529"/>
              <a:gd name="connsiteY43782" fmla="*/ 17573 h 7458372"/>
              <a:gd name="connsiteX43783" fmla="*/ 7646991 w 10505529"/>
              <a:gd name="connsiteY43783" fmla="*/ 16642 h 7458372"/>
              <a:gd name="connsiteX43784" fmla="*/ 7864636 w 10505529"/>
              <a:gd name="connsiteY43784" fmla="*/ 16642 h 7458372"/>
              <a:gd name="connsiteX43785" fmla="*/ 7854652 w 10505529"/>
              <a:gd name="connsiteY43785" fmla="*/ 20236 h 7458372"/>
              <a:gd name="connsiteX43786" fmla="*/ 7851058 w 10505529"/>
              <a:gd name="connsiteY43786" fmla="*/ 29687 h 7458372"/>
              <a:gd name="connsiteX43787" fmla="*/ 7854652 w 10505529"/>
              <a:gd name="connsiteY43787" fmla="*/ 39138 h 7458372"/>
              <a:gd name="connsiteX43788" fmla="*/ 7864636 w 10505529"/>
              <a:gd name="connsiteY43788" fmla="*/ 42599 h 7458372"/>
              <a:gd name="connsiteX43789" fmla="*/ 7869961 w 10505529"/>
              <a:gd name="connsiteY43789" fmla="*/ 41667 h 7458372"/>
              <a:gd name="connsiteX43790" fmla="*/ 7873687 w 10505529"/>
              <a:gd name="connsiteY43790" fmla="*/ 39271 h 7458372"/>
              <a:gd name="connsiteX43791" fmla="*/ 7876350 w 10505529"/>
              <a:gd name="connsiteY43791" fmla="*/ 35145 h 7458372"/>
              <a:gd name="connsiteX43792" fmla="*/ 7877282 w 10505529"/>
              <a:gd name="connsiteY43792" fmla="*/ 29687 h 7458372"/>
              <a:gd name="connsiteX43793" fmla="*/ 7876350 w 10505529"/>
              <a:gd name="connsiteY43793" fmla="*/ 24495 h 7458372"/>
              <a:gd name="connsiteX43794" fmla="*/ 7873687 w 10505529"/>
              <a:gd name="connsiteY43794" fmla="*/ 20236 h 7458372"/>
              <a:gd name="connsiteX43795" fmla="*/ 7869694 w 10505529"/>
              <a:gd name="connsiteY43795" fmla="*/ 17573 h 7458372"/>
              <a:gd name="connsiteX43796" fmla="*/ 7864636 w 10505529"/>
              <a:gd name="connsiteY43796" fmla="*/ 16642 h 7458372"/>
              <a:gd name="connsiteX43797" fmla="*/ 8082281 w 10505529"/>
              <a:gd name="connsiteY43797" fmla="*/ 16642 h 7458372"/>
              <a:gd name="connsiteX43798" fmla="*/ 8072297 w 10505529"/>
              <a:gd name="connsiteY43798" fmla="*/ 20236 h 7458372"/>
              <a:gd name="connsiteX43799" fmla="*/ 8068703 w 10505529"/>
              <a:gd name="connsiteY43799" fmla="*/ 29687 h 7458372"/>
              <a:gd name="connsiteX43800" fmla="*/ 8072297 w 10505529"/>
              <a:gd name="connsiteY43800" fmla="*/ 39138 h 7458372"/>
              <a:gd name="connsiteX43801" fmla="*/ 8082281 w 10505529"/>
              <a:gd name="connsiteY43801" fmla="*/ 42599 h 7458372"/>
              <a:gd name="connsiteX43802" fmla="*/ 8087605 w 10505529"/>
              <a:gd name="connsiteY43802" fmla="*/ 41667 h 7458372"/>
              <a:gd name="connsiteX43803" fmla="*/ 8091332 w 10505529"/>
              <a:gd name="connsiteY43803" fmla="*/ 39271 h 7458372"/>
              <a:gd name="connsiteX43804" fmla="*/ 8093994 w 10505529"/>
              <a:gd name="connsiteY43804" fmla="*/ 35145 h 7458372"/>
              <a:gd name="connsiteX43805" fmla="*/ 8094926 w 10505529"/>
              <a:gd name="connsiteY43805" fmla="*/ 29687 h 7458372"/>
              <a:gd name="connsiteX43806" fmla="*/ 8093994 w 10505529"/>
              <a:gd name="connsiteY43806" fmla="*/ 24495 h 7458372"/>
              <a:gd name="connsiteX43807" fmla="*/ 8091332 w 10505529"/>
              <a:gd name="connsiteY43807" fmla="*/ 20236 h 7458372"/>
              <a:gd name="connsiteX43808" fmla="*/ 8087338 w 10505529"/>
              <a:gd name="connsiteY43808" fmla="*/ 17573 h 7458372"/>
              <a:gd name="connsiteX43809" fmla="*/ 8082281 w 10505529"/>
              <a:gd name="connsiteY43809" fmla="*/ 16642 h 7458372"/>
              <a:gd name="connsiteX43810" fmla="*/ 8299793 w 10505529"/>
              <a:gd name="connsiteY43810" fmla="*/ 16642 h 7458372"/>
              <a:gd name="connsiteX43811" fmla="*/ 8289809 w 10505529"/>
              <a:gd name="connsiteY43811" fmla="*/ 20236 h 7458372"/>
              <a:gd name="connsiteX43812" fmla="*/ 8286215 w 10505529"/>
              <a:gd name="connsiteY43812" fmla="*/ 29687 h 7458372"/>
              <a:gd name="connsiteX43813" fmla="*/ 8289809 w 10505529"/>
              <a:gd name="connsiteY43813" fmla="*/ 39138 h 7458372"/>
              <a:gd name="connsiteX43814" fmla="*/ 8299793 w 10505529"/>
              <a:gd name="connsiteY43814" fmla="*/ 42599 h 7458372"/>
              <a:gd name="connsiteX43815" fmla="*/ 8305118 w 10505529"/>
              <a:gd name="connsiteY43815" fmla="*/ 41667 h 7458372"/>
              <a:gd name="connsiteX43816" fmla="*/ 8308844 w 10505529"/>
              <a:gd name="connsiteY43816" fmla="*/ 39271 h 7458372"/>
              <a:gd name="connsiteX43817" fmla="*/ 8311507 w 10505529"/>
              <a:gd name="connsiteY43817" fmla="*/ 35145 h 7458372"/>
              <a:gd name="connsiteX43818" fmla="*/ 8312439 w 10505529"/>
              <a:gd name="connsiteY43818" fmla="*/ 29687 h 7458372"/>
              <a:gd name="connsiteX43819" fmla="*/ 8311507 w 10505529"/>
              <a:gd name="connsiteY43819" fmla="*/ 24495 h 7458372"/>
              <a:gd name="connsiteX43820" fmla="*/ 8308844 w 10505529"/>
              <a:gd name="connsiteY43820" fmla="*/ 20236 h 7458372"/>
              <a:gd name="connsiteX43821" fmla="*/ 8304851 w 10505529"/>
              <a:gd name="connsiteY43821" fmla="*/ 17573 h 7458372"/>
              <a:gd name="connsiteX43822" fmla="*/ 8299793 w 10505529"/>
              <a:gd name="connsiteY43822" fmla="*/ 16642 h 7458372"/>
              <a:gd name="connsiteX43823" fmla="*/ 8517438 w 10505529"/>
              <a:gd name="connsiteY43823" fmla="*/ 16641 h 7458372"/>
              <a:gd name="connsiteX43824" fmla="*/ 8507453 w 10505529"/>
              <a:gd name="connsiteY43824" fmla="*/ 20235 h 7458372"/>
              <a:gd name="connsiteX43825" fmla="*/ 8503860 w 10505529"/>
              <a:gd name="connsiteY43825" fmla="*/ 29687 h 7458372"/>
              <a:gd name="connsiteX43826" fmla="*/ 8507453 w 10505529"/>
              <a:gd name="connsiteY43826" fmla="*/ 39138 h 7458372"/>
              <a:gd name="connsiteX43827" fmla="*/ 8517438 w 10505529"/>
              <a:gd name="connsiteY43827" fmla="*/ 42599 h 7458372"/>
              <a:gd name="connsiteX43828" fmla="*/ 8522763 w 10505529"/>
              <a:gd name="connsiteY43828" fmla="*/ 41667 h 7458372"/>
              <a:gd name="connsiteX43829" fmla="*/ 8526490 w 10505529"/>
              <a:gd name="connsiteY43829" fmla="*/ 39271 h 7458372"/>
              <a:gd name="connsiteX43830" fmla="*/ 8529152 w 10505529"/>
              <a:gd name="connsiteY43830" fmla="*/ 35145 h 7458372"/>
              <a:gd name="connsiteX43831" fmla="*/ 8530084 w 10505529"/>
              <a:gd name="connsiteY43831" fmla="*/ 29687 h 7458372"/>
              <a:gd name="connsiteX43832" fmla="*/ 8529152 w 10505529"/>
              <a:gd name="connsiteY43832" fmla="*/ 24495 h 7458372"/>
              <a:gd name="connsiteX43833" fmla="*/ 8526490 w 10505529"/>
              <a:gd name="connsiteY43833" fmla="*/ 20235 h 7458372"/>
              <a:gd name="connsiteX43834" fmla="*/ 8522496 w 10505529"/>
              <a:gd name="connsiteY43834" fmla="*/ 17572 h 7458372"/>
              <a:gd name="connsiteX43835" fmla="*/ 8517438 w 10505529"/>
              <a:gd name="connsiteY43835" fmla="*/ 16641 h 7458372"/>
              <a:gd name="connsiteX43836" fmla="*/ 8735083 w 10505529"/>
              <a:gd name="connsiteY43836" fmla="*/ 16641 h 7458372"/>
              <a:gd name="connsiteX43837" fmla="*/ 8725098 w 10505529"/>
              <a:gd name="connsiteY43837" fmla="*/ 20235 h 7458372"/>
              <a:gd name="connsiteX43838" fmla="*/ 8721504 w 10505529"/>
              <a:gd name="connsiteY43838" fmla="*/ 29687 h 7458372"/>
              <a:gd name="connsiteX43839" fmla="*/ 8725098 w 10505529"/>
              <a:gd name="connsiteY43839" fmla="*/ 39138 h 7458372"/>
              <a:gd name="connsiteX43840" fmla="*/ 8735083 w 10505529"/>
              <a:gd name="connsiteY43840" fmla="*/ 42599 h 7458372"/>
              <a:gd name="connsiteX43841" fmla="*/ 8740407 w 10505529"/>
              <a:gd name="connsiteY43841" fmla="*/ 41667 h 7458372"/>
              <a:gd name="connsiteX43842" fmla="*/ 8744134 w 10505529"/>
              <a:gd name="connsiteY43842" fmla="*/ 39271 h 7458372"/>
              <a:gd name="connsiteX43843" fmla="*/ 8746797 w 10505529"/>
              <a:gd name="connsiteY43843" fmla="*/ 35145 h 7458372"/>
              <a:gd name="connsiteX43844" fmla="*/ 8747862 w 10505529"/>
              <a:gd name="connsiteY43844" fmla="*/ 29687 h 7458372"/>
              <a:gd name="connsiteX43845" fmla="*/ 8746797 w 10505529"/>
              <a:gd name="connsiteY43845" fmla="*/ 24494 h 7458372"/>
              <a:gd name="connsiteX43846" fmla="*/ 8744134 w 10505529"/>
              <a:gd name="connsiteY43846" fmla="*/ 20235 h 7458372"/>
              <a:gd name="connsiteX43847" fmla="*/ 8740141 w 10505529"/>
              <a:gd name="connsiteY43847" fmla="*/ 17572 h 7458372"/>
              <a:gd name="connsiteX43848" fmla="*/ 8735083 w 10505529"/>
              <a:gd name="connsiteY43848" fmla="*/ 16641 h 7458372"/>
              <a:gd name="connsiteX43849" fmla="*/ 8952728 w 10505529"/>
              <a:gd name="connsiteY43849" fmla="*/ 16641 h 7458372"/>
              <a:gd name="connsiteX43850" fmla="*/ 8942743 w 10505529"/>
              <a:gd name="connsiteY43850" fmla="*/ 20235 h 7458372"/>
              <a:gd name="connsiteX43851" fmla="*/ 8939150 w 10505529"/>
              <a:gd name="connsiteY43851" fmla="*/ 29686 h 7458372"/>
              <a:gd name="connsiteX43852" fmla="*/ 8942743 w 10505529"/>
              <a:gd name="connsiteY43852" fmla="*/ 39138 h 7458372"/>
              <a:gd name="connsiteX43853" fmla="*/ 8952728 w 10505529"/>
              <a:gd name="connsiteY43853" fmla="*/ 42599 h 7458372"/>
              <a:gd name="connsiteX43854" fmla="*/ 8958053 w 10505529"/>
              <a:gd name="connsiteY43854" fmla="*/ 41667 h 7458372"/>
              <a:gd name="connsiteX43855" fmla="*/ 8961780 w 10505529"/>
              <a:gd name="connsiteY43855" fmla="*/ 39271 h 7458372"/>
              <a:gd name="connsiteX43856" fmla="*/ 8964442 w 10505529"/>
              <a:gd name="connsiteY43856" fmla="*/ 35145 h 7458372"/>
              <a:gd name="connsiteX43857" fmla="*/ 8965507 w 10505529"/>
              <a:gd name="connsiteY43857" fmla="*/ 29686 h 7458372"/>
              <a:gd name="connsiteX43858" fmla="*/ 8964442 w 10505529"/>
              <a:gd name="connsiteY43858" fmla="*/ 24494 h 7458372"/>
              <a:gd name="connsiteX43859" fmla="*/ 8961780 w 10505529"/>
              <a:gd name="connsiteY43859" fmla="*/ 20235 h 7458372"/>
              <a:gd name="connsiteX43860" fmla="*/ 8957786 w 10505529"/>
              <a:gd name="connsiteY43860" fmla="*/ 17572 h 7458372"/>
              <a:gd name="connsiteX43861" fmla="*/ 8952728 w 10505529"/>
              <a:gd name="connsiteY43861" fmla="*/ 16641 h 7458372"/>
              <a:gd name="connsiteX43862" fmla="*/ 9170374 w 10505529"/>
              <a:gd name="connsiteY43862" fmla="*/ 16641 h 7458372"/>
              <a:gd name="connsiteX43863" fmla="*/ 9160389 w 10505529"/>
              <a:gd name="connsiteY43863" fmla="*/ 20235 h 7458372"/>
              <a:gd name="connsiteX43864" fmla="*/ 9156795 w 10505529"/>
              <a:gd name="connsiteY43864" fmla="*/ 29686 h 7458372"/>
              <a:gd name="connsiteX43865" fmla="*/ 9160389 w 10505529"/>
              <a:gd name="connsiteY43865" fmla="*/ 39138 h 7458372"/>
              <a:gd name="connsiteX43866" fmla="*/ 9170374 w 10505529"/>
              <a:gd name="connsiteY43866" fmla="*/ 42599 h 7458372"/>
              <a:gd name="connsiteX43867" fmla="*/ 9175698 w 10505529"/>
              <a:gd name="connsiteY43867" fmla="*/ 41667 h 7458372"/>
              <a:gd name="connsiteX43868" fmla="*/ 9179425 w 10505529"/>
              <a:gd name="connsiteY43868" fmla="*/ 39270 h 7458372"/>
              <a:gd name="connsiteX43869" fmla="*/ 9182088 w 10505529"/>
              <a:gd name="connsiteY43869" fmla="*/ 35144 h 7458372"/>
              <a:gd name="connsiteX43870" fmla="*/ 9183152 w 10505529"/>
              <a:gd name="connsiteY43870" fmla="*/ 29686 h 7458372"/>
              <a:gd name="connsiteX43871" fmla="*/ 9182088 w 10505529"/>
              <a:gd name="connsiteY43871" fmla="*/ 24494 h 7458372"/>
              <a:gd name="connsiteX43872" fmla="*/ 9179425 w 10505529"/>
              <a:gd name="connsiteY43872" fmla="*/ 20235 h 7458372"/>
              <a:gd name="connsiteX43873" fmla="*/ 9175432 w 10505529"/>
              <a:gd name="connsiteY43873" fmla="*/ 17572 h 7458372"/>
              <a:gd name="connsiteX43874" fmla="*/ 9170374 w 10505529"/>
              <a:gd name="connsiteY43874" fmla="*/ 16641 h 7458372"/>
              <a:gd name="connsiteX43875" fmla="*/ 9387885 w 10505529"/>
              <a:gd name="connsiteY43875" fmla="*/ 16641 h 7458372"/>
              <a:gd name="connsiteX43876" fmla="*/ 9377900 w 10505529"/>
              <a:gd name="connsiteY43876" fmla="*/ 20235 h 7458372"/>
              <a:gd name="connsiteX43877" fmla="*/ 9374307 w 10505529"/>
              <a:gd name="connsiteY43877" fmla="*/ 29686 h 7458372"/>
              <a:gd name="connsiteX43878" fmla="*/ 9377900 w 10505529"/>
              <a:gd name="connsiteY43878" fmla="*/ 39137 h 7458372"/>
              <a:gd name="connsiteX43879" fmla="*/ 9387885 w 10505529"/>
              <a:gd name="connsiteY43879" fmla="*/ 42598 h 7458372"/>
              <a:gd name="connsiteX43880" fmla="*/ 9393210 w 10505529"/>
              <a:gd name="connsiteY43880" fmla="*/ 41666 h 7458372"/>
              <a:gd name="connsiteX43881" fmla="*/ 9396937 w 10505529"/>
              <a:gd name="connsiteY43881" fmla="*/ 39270 h 7458372"/>
              <a:gd name="connsiteX43882" fmla="*/ 9399599 w 10505529"/>
              <a:gd name="connsiteY43882" fmla="*/ 35144 h 7458372"/>
              <a:gd name="connsiteX43883" fmla="*/ 9400664 w 10505529"/>
              <a:gd name="connsiteY43883" fmla="*/ 29686 h 7458372"/>
              <a:gd name="connsiteX43884" fmla="*/ 9399599 w 10505529"/>
              <a:gd name="connsiteY43884" fmla="*/ 24494 h 7458372"/>
              <a:gd name="connsiteX43885" fmla="*/ 9396937 w 10505529"/>
              <a:gd name="connsiteY43885" fmla="*/ 20235 h 7458372"/>
              <a:gd name="connsiteX43886" fmla="*/ 9392943 w 10505529"/>
              <a:gd name="connsiteY43886" fmla="*/ 17572 h 7458372"/>
              <a:gd name="connsiteX43887" fmla="*/ 9387885 w 10505529"/>
              <a:gd name="connsiteY43887" fmla="*/ 16641 h 7458372"/>
              <a:gd name="connsiteX43888" fmla="*/ 9605531 w 10505529"/>
              <a:gd name="connsiteY43888" fmla="*/ 16641 h 7458372"/>
              <a:gd name="connsiteX43889" fmla="*/ 9595546 w 10505529"/>
              <a:gd name="connsiteY43889" fmla="*/ 20235 h 7458372"/>
              <a:gd name="connsiteX43890" fmla="*/ 9591952 w 10505529"/>
              <a:gd name="connsiteY43890" fmla="*/ 29686 h 7458372"/>
              <a:gd name="connsiteX43891" fmla="*/ 9595546 w 10505529"/>
              <a:gd name="connsiteY43891" fmla="*/ 39137 h 7458372"/>
              <a:gd name="connsiteX43892" fmla="*/ 9605531 w 10505529"/>
              <a:gd name="connsiteY43892" fmla="*/ 42598 h 7458372"/>
              <a:gd name="connsiteX43893" fmla="*/ 9610855 w 10505529"/>
              <a:gd name="connsiteY43893" fmla="*/ 41666 h 7458372"/>
              <a:gd name="connsiteX43894" fmla="*/ 9614582 w 10505529"/>
              <a:gd name="connsiteY43894" fmla="*/ 39270 h 7458372"/>
              <a:gd name="connsiteX43895" fmla="*/ 9617245 w 10505529"/>
              <a:gd name="connsiteY43895" fmla="*/ 35144 h 7458372"/>
              <a:gd name="connsiteX43896" fmla="*/ 9618309 w 10505529"/>
              <a:gd name="connsiteY43896" fmla="*/ 29686 h 7458372"/>
              <a:gd name="connsiteX43897" fmla="*/ 9617245 w 10505529"/>
              <a:gd name="connsiteY43897" fmla="*/ 24494 h 7458372"/>
              <a:gd name="connsiteX43898" fmla="*/ 9614582 w 10505529"/>
              <a:gd name="connsiteY43898" fmla="*/ 20235 h 7458372"/>
              <a:gd name="connsiteX43899" fmla="*/ 9610589 w 10505529"/>
              <a:gd name="connsiteY43899" fmla="*/ 17572 h 7458372"/>
              <a:gd name="connsiteX43900" fmla="*/ 9605531 w 10505529"/>
              <a:gd name="connsiteY43900" fmla="*/ 16641 h 7458372"/>
              <a:gd name="connsiteX43901" fmla="*/ 9823176 w 10505529"/>
              <a:gd name="connsiteY43901" fmla="*/ 16641 h 7458372"/>
              <a:gd name="connsiteX43902" fmla="*/ 9813191 w 10505529"/>
              <a:gd name="connsiteY43902" fmla="*/ 20235 h 7458372"/>
              <a:gd name="connsiteX43903" fmla="*/ 9809597 w 10505529"/>
              <a:gd name="connsiteY43903" fmla="*/ 29686 h 7458372"/>
              <a:gd name="connsiteX43904" fmla="*/ 9813191 w 10505529"/>
              <a:gd name="connsiteY43904" fmla="*/ 39137 h 7458372"/>
              <a:gd name="connsiteX43905" fmla="*/ 9823176 w 10505529"/>
              <a:gd name="connsiteY43905" fmla="*/ 42598 h 7458372"/>
              <a:gd name="connsiteX43906" fmla="*/ 9828501 w 10505529"/>
              <a:gd name="connsiteY43906" fmla="*/ 41666 h 7458372"/>
              <a:gd name="connsiteX43907" fmla="*/ 9832227 w 10505529"/>
              <a:gd name="connsiteY43907" fmla="*/ 39270 h 7458372"/>
              <a:gd name="connsiteX43908" fmla="*/ 9834890 w 10505529"/>
              <a:gd name="connsiteY43908" fmla="*/ 35144 h 7458372"/>
              <a:gd name="connsiteX43909" fmla="*/ 9835955 w 10505529"/>
              <a:gd name="connsiteY43909" fmla="*/ 29686 h 7458372"/>
              <a:gd name="connsiteX43910" fmla="*/ 9834890 w 10505529"/>
              <a:gd name="connsiteY43910" fmla="*/ 24494 h 7458372"/>
              <a:gd name="connsiteX43911" fmla="*/ 9832227 w 10505529"/>
              <a:gd name="connsiteY43911" fmla="*/ 20235 h 7458372"/>
              <a:gd name="connsiteX43912" fmla="*/ 9828234 w 10505529"/>
              <a:gd name="connsiteY43912" fmla="*/ 17572 h 7458372"/>
              <a:gd name="connsiteX43913" fmla="*/ 9823176 w 10505529"/>
              <a:gd name="connsiteY43913" fmla="*/ 16641 h 7458372"/>
              <a:gd name="connsiteX43914" fmla="*/ 10040820 w 10505529"/>
              <a:gd name="connsiteY43914" fmla="*/ 16641 h 7458372"/>
              <a:gd name="connsiteX43915" fmla="*/ 10030835 w 10505529"/>
              <a:gd name="connsiteY43915" fmla="*/ 20235 h 7458372"/>
              <a:gd name="connsiteX43916" fmla="*/ 10027242 w 10505529"/>
              <a:gd name="connsiteY43916" fmla="*/ 29686 h 7458372"/>
              <a:gd name="connsiteX43917" fmla="*/ 10030835 w 10505529"/>
              <a:gd name="connsiteY43917" fmla="*/ 39137 h 7458372"/>
              <a:gd name="connsiteX43918" fmla="*/ 10040820 w 10505529"/>
              <a:gd name="connsiteY43918" fmla="*/ 42598 h 7458372"/>
              <a:gd name="connsiteX43919" fmla="*/ 10046145 w 10505529"/>
              <a:gd name="connsiteY43919" fmla="*/ 41666 h 7458372"/>
              <a:gd name="connsiteX43920" fmla="*/ 10049872 w 10505529"/>
              <a:gd name="connsiteY43920" fmla="*/ 39270 h 7458372"/>
              <a:gd name="connsiteX43921" fmla="*/ 10052534 w 10505529"/>
              <a:gd name="connsiteY43921" fmla="*/ 35144 h 7458372"/>
              <a:gd name="connsiteX43922" fmla="*/ 10053599 w 10505529"/>
              <a:gd name="connsiteY43922" fmla="*/ 29686 h 7458372"/>
              <a:gd name="connsiteX43923" fmla="*/ 10052534 w 10505529"/>
              <a:gd name="connsiteY43923" fmla="*/ 24494 h 7458372"/>
              <a:gd name="connsiteX43924" fmla="*/ 10049872 w 10505529"/>
              <a:gd name="connsiteY43924" fmla="*/ 20235 h 7458372"/>
              <a:gd name="connsiteX43925" fmla="*/ 10045878 w 10505529"/>
              <a:gd name="connsiteY43925" fmla="*/ 17572 h 7458372"/>
              <a:gd name="connsiteX43926" fmla="*/ 10040820 w 10505529"/>
              <a:gd name="connsiteY43926" fmla="*/ 16641 h 7458372"/>
              <a:gd name="connsiteX43927" fmla="*/ 10258466 w 10505529"/>
              <a:gd name="connsiteY43927" fmla="*/ 16641 h 7458372"/>
              <a:gd name="connsiteX43928" fmla="*/ 10248481 w 10505529"/>
              <a:gd name="connsiteY43928" fmla="*/ 20235 h 7458372"/>
              <a:gd name="connsiteX43929" fmla="*/ 10244887 w 10505529"/>
              <a:gd name="connsiteY43929" fmla="*/ 29686 h 7458372"/>
              <a:gd name="connsiteX43930" fmla="*/ 10248481 w 10505529"/>
              <a:gd name="connsiteY43930" fmla="*/ 39137 h 7458372"/>
              <a:gd name="connsiteX43931" fmla="*/ 10258466 w 10505529"/>
              <a:gd name="connsiteY43931" fmla="*/ 42598 h 7458372"/>
              <a:gd name="connsiteX43932" fmla="*/ 10263790 w 10505529"/>
              <a:gd name="connsiteY43932" fmla="*/ 41666 h 7458372"/>
              <a:gd name="connsiteX43933" fmla="*/ 10267517 w 10505529"/>
              <a:gd name="connsiteY43933" fmla="*/ 39270 h 7458372"/>
              <a:gd name="connsiteX43934" fmla="*/ 10270180 w 10505529"/>
              <a:gd name="connsiteY43934" fmla="*/ 35144 h 7458372"/>
              <a:gd name="connsiteX43935" fmla="*/ 10271112 w 10505529"/>
              <a:gd name="connsiteY43935" fmla="*/ 29686 h 7458372"/>
              <a:gd name="connsiteX43936" fmla="*/ 10270180 w 10505529"/>
              <a:gd name="connsiteY43936" fmla="*/ 24494 h 7458372"/>
              <a:gd name="connsiteX43937" fmla="*/ 10267517 w 10505529"/>
              <a:gd name="connsiteY43937" fmla="*/ 20235 h 7458372"/>
              <a:gd name="connsiteX43938" fmla="*/ 10263524 w 10505529"/>
              <a:gd name="connsiteY43938" fmla="*/ 17572 h 7458372"/>
              <a:gd name="connsiteX43939" fmla="*/ 10258466 w 10505529"/>
              <a:gd name="connsiteY43939" fmla="*/ 16641 h 7458372"/>
              <a:gd name="connsiteX43940" fmla="*/ 10475977 w 10505529"/>
              <a:gd name="connsiteY43940" fmla="*/ 16640 h 7458372"/>
              <a:gd name="connsiteX43941" fmla="*/ 10465992 w 10505529"/>
              <a:gd name="connsiteY43941" fmla="*/ 20234 h 7458372"/>
              <a:gd name="connsiteX43942" fmla="*/ 10462399 w 10505529"/>
              <a:gd name="connsiteY43942" fmla="*/ 29686 h 7458372"/>
              <a:gd name="connsiteX43943" fmla="*/ 10465992 w 10505529"/>
              <a:gd name="connsiteY43943" fmla="*/ 39137 h 7458372"/>
              <a:gd name="connsiteX43944" fmla="*/ 10475977 w 10505529"/>
              <a:gd name="connsiteY43944" fmla="*/ 42598 h 7458372"/>
              <a:gd name="connsiteX43945" fmla="*/ 10481302 w 10505529"/>
              <a:gd name="connsiteY43945" fmla="*/ 41666 h 7458372"/>
              <a:gd name="connsiteX43946" fmla="*/ 10485029 w 10505529"/>
              <a:gd name="connsiteY43946" fmla="*/ 39270 h 7458372"/>
              <a:gd name="connsiteX43947" fmla="*/ 10487691 w 10505529"/>
              <a:gd name="connsiteY43947" fmla="*/ 35144 h 7458372"/>
              <a:gd name="connsiteX43948" fmla="*/ 10488623 w 10505529"/>
              <a:gd name="connsiteY43948" fmla="*/ 29686 h 7458372"/>
              <a:gd name="connsiteX43949" fmla="*/ 10487691 w 10505529"/>
              <a:gd name="connsiteY43949" fmla="*/ 24494 h 7458372"/>
              <a:gd name="connsiteX43950" fmla="*/ 10485029 w 10505529"/>
              <a:gd name="connsiteY43950" fmla="*/ 20234 h 7458372"/>
              <a:gd name="connsiteX43951" fmla="*/ 10481035 w 10505529"/>
              <a:gd name="connsiteY43951" fmla="*/ 17571 h 7458372"/>
              <a:gd name="connsiteX43952" fmla="*/ 10475977 w 10505529"/>
              <a:gd name="connsiteY43952" fmla="*/ 16640 h 7458372"/>
              <a:gd name="connsiteX43953" fmla="*/ 30217 w 10505529"/>
              <a:gd name="connsiteY43953" fmla="*/ 5 h 7458372"/>
              <a:gd name="connsiteX43954" fmla="*/ 41932 w 10505529"/>
              <a:gd name="connsiteY43954" fmla="*/ 2535 h 7458372"/>
              <a:gd name="connsiteX43955" fmla="*/ 51251 w 10505529"/>
              <a:gd name="connsiteY43955" fmla="*/ 8925 h 7458372"/>
              <a:gd name="connsiteX43956" fmla="*/ 57374 w 10505529"/>
              <a:gd name="connsiteY43956" fmla="*/ 18243 h 7458372"/>
              <a:gd name="connsiteX43957" fmla="*/ 59637 w 10505529"/>
              <a:gd name="connsiteY43957" fmla="*/ 29691 h 7458372"/>
              <a:gd name="connsiteX43958" fmla="*/ 57374 w 10505529"/>
              <a:gd name="connsiteY43958" fmla="*/ 41405 h 7458372"/>
              <a:gd name="connsiteX43959" fmla="*/ 51251 w 10505529"/>
              <a:gd name="connsiteY43959" fmla="*/ 50856 h 7458372"/>
              <a:gd name="connsiteX43960" fmla="*/ 41932 w 10505529"/>
              <a:gd name="connsiteY43960" fmla="*/ 57114 h 7458372"/>
              <a:gd name="connsiteX43961" fmla="*/ 30217 w 10505529"/>
              <a:gd name="connsiteY43961" fmla="*/ 59377 h 7458372"/>
              <a:gd name="connsiteX43962" fmla="*/ 8386 w 10505529"/>
              <a:gd name="connsiteY43962" fmla="*/ 50856 h 7458372"/>
              <a:gd name="connsiteX43963" fmla="*/ 0 w 10505529"/>
              <a:gd name="connsiteY43963" fmla="*/ 29691 h 7458372"/>
              <a:gd name="connsiteX43964" fmla="*/ 8386 w 10505529"/>
              <a:gd name="connsiteY43964" fmla="*/ 8659 h 7458372"/>
              <a:gd name="connsiteX43965" fmla="*/ 30217 w 10505529"/>
              <a:gd name="connsiteY43965" fmla="*/ 5 h 7458372"/>
              <a:gd name="connsiteX43966" fmla="*/ 247862 w 10505529"/>
              <a:gd name="connsiteY43966" fmla="*/ 5 h 7458372"/>
              <a:gd name="connsiteX43967" fmla="*/ 259577 w 10505529"/>
              <a:gd name="connsiteY43967" fmla="*/ 2534 h 7458372"/>
              <a:gd name="connsiteX43968" fmla="*/ 268895 w 10505529"/>
              <a:gd name="connsiteY43968" fmla="*/ 8924 h 7458372"/>
              <a:gd name="connsiteX43969" fmla="*/ 275018 w 10505529"/>
              <a:gd name="connsiteY43969" fmla="*/ 18243 h 7458372"/>
              <a:gd name="connsiteX43970" fmla="*/ 277281 w 10505529"/>
              <a:gd name="connsiteY43970" fmla="*/ 29691 h 7458372"/>
              <a:gd name="connsiteX43971" fmla="*/ 275018 w 10505529"/>
              <a:gd name="connsiteY43971" fmla="*/ 41405 h 7458372"/>
              <a:gd name="connsiteX43972" fmla="*/ 268895 w 10505529"/>
              <a:gd name="connsiteY43972" fmla="*/ 50856 h 7458372"/>
              <a:gd name="connsiteX43973" fmla="*/ 259577 w 10505529"/>
              <a:gd name="connsiteY43973" fmla="*/ 57113 h 7458372"/>
              <a:gd name="connsiteX43974" fmla="*/ 247862 w 10505529"/>
              <a:gd name="connsiteY43974" fmla="*/ 59376 h 7458372"/>
              <a:gd name="connsiteX43975" fmla="*/ 226030 w 10505529"/>
              <a:gd name="connsiteY43975" fmla="*/ 50856 h 7458372"/>
              <a:gd name="connsiteX43976" fmla="*/ 217644 w 10505529"/>
              <a:gd name="connsiteY43976" fmla="*/ 29691 h 7458372"/>
              <a:gd name="connsiteX43977" fmla="*/ 226030 w 10505529"/>
              <a:gd name="connsiteY43977" fmla="*/ 8658 h 7458372"/>
              <a:gd name="connsiteX43978" fmla="*/ 247862 w 10505529"/>
              <a:gd name="connsiteY43978" fmla="*/ 5 h 7458372"/>
              <a:gd name="connsiteX43979" fmla="*/ 465507 w 10505529"/>
              <a:gd name="connsiteY43979" fmla="*/ 5 h 7458372"/>
              <a:gd name="connsiteX43980" fmla="*/ 477222 w 10505529"/>
              <a:gd name="connsiteY43980" fmla="*/ 2534 h 7458372"/>
              <a:gd name="connsiteX43981" fmla="*/ 486540 w 10505529"/>
              <a:gd name="connsiteY43981" fmla="*/ 8924 h 7458372"/>
              <a:gd name="connsiteX43982" fmla="*/ 492663 w 10505529"/>
              <a:gd name="connsiteY43982" fmla="*/ 18243 h 7458372"/>
              <a:gd name="connsiteX43983" fmla="*/ 494926 w 10505529"/>
              <a:gd name="connsiteY43983" fmla="*/ 29691 h 7458372"/>
              <a:gd name="connsiteX43984" fmla="*/ 492663 w 10505529"/>
              <a:gd name="connsiteY43984" fmla="*/ 41405 h 7458372"/>
              <a:gd name="connsiteX43985" fmla="*/ 486540 w 10505529"/>
              <a:gd name="connsiteY43985" fmla="*/ 50856 h 7458372"/>
              <a:gd name="connsiteX43986" fmla="*/ 477222 w 10505529"/>
              <a:gd name="connsiteY43986" fmla="*/ 57113 h 7458372"/>
              <a:gd name="connsiteX43987" fmla="*/ 465507 w 10505529"/>
              <a:gd name="connsiteY43987" fmla="*/ 59376 h 7458372"/>
              <a:gd name="connsiteX43988" fmla="*/ 443675 w 10505529"/>
              <a:gd name="connsiteY43988" fmla="*/ 50856 h 7458372"/>
              <a:gd name="connsiteX43989" fmla="*/ 435289 w 10505529"/>
              <a:gd name="connsiteY43989" fmla="*/ 29691 h 7458372"/>
              <a:gd name="connsiteX43990" fmla="*/ 443675 w 10505529"/>
              <a:gd name="connsiteY43990" fmla="*/ 8658 h 7458372"/>
              <a:gd name="connsiteX43991" fmla="*/ 465507 w 10505529"/>
              <a:gd name="connsiteY43991" fmla="*/ 5 h 7458372"/>
              <a:gd name="connsiteX43992" fmla="*/ 683151 w 10505529"/>
              <a:gd name="connsiteY43992" fmla="*/ 5 h 7458372"/>
              <a:gd name="connsiteX43993" fmla="*/ 694867 w 10505529"/>
              <a:gd name="connsiteY43993" fmla="*/ 2534 h 7458372"/>
              <a:gd name="connsiteX43994" fmla="*/ 704185 w 10505529"/>
              <a:gd name="connsiteY43994" fmla="*/ 8924 h 7458372"/>
              <a:gd name="connsiteX43995" fmla="*/ 710308 w 10505529"/>
              <a:gd name="connsiteY43995" fmla="*/ 18242 h 7458372"/>
              <a:gd name="connsiteX43996" fmla="*/ 712571 w 10505529"/>
              <a:gd name="connsiteY43996" fmla="*/ 29691 h 7458372"/>
              <a:gd name="connsiteX43997" fmla="*/ 710308 w 10505529"/>
              <a:gd name="connsiteY43997" fmla="*/ 41405 h 7458372"/>
              <a:gd name="connsiteX43998" fmla="*/ 704185 w 10505529"/>
              <a:gd name="connsiteY43998" fmla="*/ 50856 h 7458372"/>
              <a:gd name="connsiteX43999" fmla="*/ 694867 w 10505529"/>
              <a:gd name="connsiteY43999" fmla="*/ 57113 h 7458372"/>
              <a:gd name="connsiteX44000" fmla="*/ 683151 w 10505529"/>
              <a:gd name="connsiteY44000" fmla="*/ 59376 h 7458372"/>
              <a:gd name="connsiteX44001" fmla="*/ 661320 w 10505529"/>
              <a:gd name="connsiteY44001" fmla="*/ 50856 h 7458372"/>
              <a:gd name="connsiteX44002" fmla="*/ 652934 w 10505529"/>
              <a:gd name="connsiteY44002" fmla="*/ 29691 h 7458372"/>
              <a:gd name="connsiteX44003" fmla="*/ 661320 w 10505529"/>
              <a:gd name="connsiteY44003" fmla="*/ 8658 h 7458372"/>
              <a:gd name="connsiteX44004" fmla="*/ 683151 w 10505529"/>
              <a:gd name="connsiteY44004" fmla="*/ 5 h 7458372"/>
              <a:gd name="connsiteX44005" fmla="*/ 900796 w 10505529"/>
              <a:gd name="connsiteY44005" fmla="*/ 5 h 7458372"/>
              <a:gd name="connsiteX44006" fmla="*/ 912511 w 10505529"/>
              <a:gd name="connsiteY44006" fmla="*/ 2534 h 7458372"/>
              <a:gd name="connsiteX44007" fmla="*/ 921829 w 10505529"/>
              <a:gd name="connsiteY44007" fmla="*/ 8924 h 7458372"/>
              <a:gd name="connsiteX44008" fmla="*/ 927952 w 10505529"/>
              <a:gd name="connsiteY44008" fmla="*/ 18242 h 7458372"/>
              <a:gd name="connsiteX44009" fmla="*/ 930216 w 10505529"/>
              <a:gd name="connsiteY44009" fmla="*/ 29691 h 7458372"/>
              <a:gd name="connsiteX44010" fmla="*/ 927952 w 10505529"/>
              <a:gd name="connsiteY44010" fmla="*/ 41405 h 7458372"/>
              <a:gd name="connsiteX44011" fmla="*/ 921829 w 10505529"/>
              <a:gd name="connsiteY44011" fmla="*/ 50856 h 7458372"/>
              <a:gd name="connsiteX44012" fmla="*/ 912511 w 10505529"/>
              <a:gd name="connsiteY44012" fmla="*/ 57113 h 7458372"/>
              <a:gd name="connsiteX44013" fmla="*/ 900796 w 10505529"/>
              <a:gd name="connsiteY44013" fmla="*/ 59376 h 7458372"/>
              <a:gd name="connsiteX44014" fmla="*/ 878965 w 10505529"/>
              <a:gd name="connsiteY44014" fmla="*/ 50856 h 7458372"/>
              <a:gd name="connsiteX44015" fmla="*/ 870579 w 10505529"/>
              <a:gd name="connsiteY44015" fmla="*/ 29691 h 7458372"/>
              <a:gd name="connsiteX44016" fmla="*/ 878965 w 10505529"/>
              <a:gd name="connsiteY44016" fmla="*/ 8658 h 7458372"/>
              <a:gd name="connsiteX44017" fmla="*/ 900796 w 10505529"/>
              <a:gd name="connsiteY44017" fmla="*/ 5 h 7458372"/>
              <a:gd name="connsiteX44018" fmla="*/ 1118308 w 10505529"/>
              <a:gd name="connsiteY44018" fmla="*/ 5 h 7458372"/>
              <a:gd name="connsiteX44019" fmla="*/ 1130023 w 10505529"/>
              <a:gd name="connsiteY44019" fmla="*/ 2534 h 7458372"/>
              <a:gd name="connsiteX44020" fmla="*/ 1139342 w 10505529"/>
              <a:gd name="connsiteY44020" fmla="*/ 8924 h 7458372"/>
              <a:gd name="connsiteX44021" fmla="*/ 1145464 w 10505529"/>
              <a:gd name="connsiteY44021" fmla="*/ 18242 h 7458372"/>
              <a:gd name="connsiteX44022" fmla="*/ 1147727 w 10505529"/>
              <a:gd name="connsiteY44022" fmla="*/ 29690 h 7458372"/>
              <a:gd name="connsiteX44023" fmla="*/ 1145464 w 10505529"/>
              <a:gd name="connsiteY44023" fmla="*/ 41405 h 7458372"/>
              <a:gd name="connsiteX44024" fmla="*/ 1139342 w 10505529"/>
              <a:gd name="connsiteY44024" fmla="*/ 50856 h 7458372"/>
              <a:gd name="connsiteX44025" fmla="*/ 1130023 w 10505529"/>
              <a:gd name="connsiteY44025" fmla="*/ 57113 h 7458372"/>
              <a:gd name="connsiteX44026" fmla="*/ 1118308 w 10505529"/>
              <a:gd name="connsiteY44026" fmla="*/ 59376 h 7458372"/>
              <a:gd name="connsiteX44027" fmla="*/ 1096476 w 10505529"/>
              <a:gd name="connsiteY44027" fmla="*/ 50856 h 7458372"/>
              <a:gd name="connsiteX44028" fmla="*/ 1088090 w 10505529"/>
              <a:gd name="connsiteY44028" fmla="*/ 29690 h 7458372"/>
              <a:gd name="connsiteX44029" fmla="*/ 1096476 w 10505529"/>
              <a:gd name="connsiteY44029" fmla="*/ 8658 h 7458372"/>
              <a:gd name="connsiteX44030" fmla="*/ 1118308 w 10505529"/>
              <a:gd name="connsiteY44030" fmla="*/ 5 h 7458372"/>
              <a:gd name="connsiteX44031" fmla="*/ 1335953 w 10505529"/>
              <a:gd name="connsiteY44031" fmla="*/ 5 h 7458372"/>
              <a:gd name="connsiteX44032" fmla="*/ 1347668 w 10505529"/>
              <a:gd name="connsiteY44032" fmla="*/ 2534 h 7458372"/>
              <a:gd name="connsiteX44033" fmla="*/ 1356986 w 10505529"/>
              <a:gd name="connsiteY44033" fmla="*/ 8924 h 7458372"/>
              <a:gd name="connsiteX44034" fmla="*/ 1363109 w 10505529"/>
              <a:gd name="connsiteY44034" fmla="*/ 18242 h 7458372"/>
              <a:gd name="connsiteX44035" fmla="*/ 1365372 w 10505529"/>
              <a:gd name="connsiteY44035" fmla="*/ 29690 h 7458372"/>
              <a:gd name="connsiteX44036" fmla="*/ 1363109 w 10505529"/>
              <a:gd name="connsiteY44036" fmla="*/ 41405 h 7458372"/>
              <a:gd name="connsiteX44037" fmla="*/ 1356986 w 10505529"/>
              <a:gd name="connsiteY44037" fmla="*/ 50856 h 7458372"/>
              <a:gd name="connsiteX44038" fmla="*/ 1347668 w 10505529"/>
              <a:gd name="connsiteY44038" fmla="*/ 57113 h 7458372"/>
              <a:gd name="connsiteX44039" fmla="*/ 1335953 w 10505529"/>
              <a:gd name="connsiteY44039" fmla="*/ 59376 h 7458372"/>
              <a:gd name="connsiteX44040" fmla="*/ 1314121 w 10505529"/>
              <a:gd name="connsiteY44040" fmla="*/ 50856 h 7458372"/>
              <a:gd name="connsiteX44041" fmla="*/ 1305735 w 10505529"/>
              <a:gd name="connsiteY44041" fmla="*/ 29690 h 7458372"/>
              <a:gd name="connsiteX44042" fmla="*/ 1314121 w 10505529"/>
              <a:gd name="connsiteY44042" fmla="*/ 8658 h 7458372"/>
              <a:gd name="connsiteX44043" fmla="*/ 1335953 w 10505529"/>
              <a:gd name="connsiteY44043" fmla="*/ 5 h 7458372"/>
              <a:gd name="connsiteX44044" fmla="*/ 1553598 w 10505529"/>
              <a:gd name="connsiteY44044" fmla="*/ 5 h 7458372"/>
              <a:gd name="connsiteX44045" fmla="*/ 1565313 w 10505529"/>
              <a:gd name="connsiteY44045" fmla="*/ 2534 h 7458372"/>
              <a:gd name="connsiteX44046" fmla="*/ 1574631 w 10505529"/>
              <a:gd name="connsiteY44046" fmla="*/ 8924 h 7458372"/>
              <a:gd name="connsiteX44047" fmla="*/ 1580754 w 10505529"/>
              <a:gd name="connsiteY44047" fmla="*/ 18242 h 7458372"/>
              <a:gd name="connsiteX44048" fmla="*/ 1583017 w 10505529"/>
              <a:gd name="connsiteY44048" fmla="*/ 29690 h 7458372"/>
              <a:gd name="connsiteX44049" fmla="*/ 1580754 w 10505529"/>
              <a:gd name="connsiteY44049" fmla="*/ 41404 h 7458372"/>
              <a:gd name="connsiteX44050" fmla="*/ 1574631 w 10505529"/>
              <a:gd name="connsiteY44050" fmla="*/ 50856 h 7458372"/>
              <a:gd name="connsiteX44051" fmla="*/ 1565313 w 10505529"/>
              <a:gd name="connsiteY44051" fmla="*/ 57113 h 7458372"/>
              <a:gd name="connsiteX44052" fmla="*/ 1553598 w 10505529"/>
              <a:gd name="connsiteY44052" fmla="*/ 59376 h 7458372"/>
              <a:gd name="connsiteX44053" fmla="*/ 1531766 w 10505529"/>
              <a:gd name="connsiteY44053" fmla="*/ 50856 h 7458372"/>
              <a:gd name="connsiteX44054" fmla="*/ 1523380 w 10505529"/>
              <a:gd name="connsiteY44054" fmla="*/ 29690 h 7458372"/>
              <a:gd name="connsiteX44055" fmla="*/ 1531766 w 10505529"/>
              <a:gd name="connsiteY44055" fmla="*/ 8658 h 7458372"/>
              <a:gd name="connsiteX44056" fmla="*/ 1553598 w 10505529"/>
              <a:gd name="connsiteY44056" fmla="*/ 5 h 7458372"/>
              <a:gd name="connsiteX44057" fmla="*/ 1771243 w 10505529"/>
              <a:gd name="connsiteY44057" fmla="*/ 5 h 7458372"/>
              <a:gd name="connsiteX44058" fmla="*/ 1782958 w 10505529"/>
              <a:gd name="connsiteY44058" fmla="*/ 2534 h 7458372"/>
              <a:gd name="connsiteX44059" fmla="*/ 1792276 w 10505529"/>
              <a:gd name="connsiteY44059" fmla="*/ 8924 h 7458372"/>
              <a:gd name="connsiteX44060" fmla="*/ 1798400 w 10505529"/>
              <a:gd name="connsiteY44060" fmla="*/ 18242 h 7458372"/>
              <a:gd name="connsiteX44061" fmla="*/ 1800663 w 10505529"/>
              <a:gd name="connsiteY44061" fmla="*/ 29690 h 7458372"/>
              <a:gd name="connsiteX44062" fmla="*/ 1798400 w 10505529"/>
              <a:gd name="connsiteY44062" fmla="*/ 41404 h 7458372"/>
              <a:gd name="connsiteX44063" fmla="*/ 1792276 w 10505529"/>
              <a:gd name="connsiteY44063" fmla="*/ 50856 h 7458372"/>
              <a:gd name="connsiteX44064" fmla="*/ 1782958 w 10505529"/>
              <a:gd name="connsiteY44064" fmla="*/ 57113 h 7458372"/>
              <a:gd name="connsiteX44065" fmla="*/ 1771243 w 10505529"/>
              <a:gd name="connsiteY44065" fmla="*/ 59376 h 7458372"/>
              <a:gd name="connsiteX44066" fmla="*/ 1749412 w 10505529"/>
              <a:gd name="connsiteY44066" fmla="*/ 50856 h 7458372"/>
              <a:gd name="connsiteX44067" fmla="*/ 1741026 w 10505529"/>
              <a:gd name="connsiteY44067" fmla="*/ 29690 h 7458372"/>
              <a:gd name="connsiteX44068" fmla="*/ 1749412 w 10505529"/>
              <a:gd name="connsiteY44068" fmla="*/ 8658 h 7458372"/>
              <a:gd name="connsiteX44069" fmla="*/ 1771243 w 10505529"/>
              <a:gd name="connsiteY44069" fmla="*/ 5 h 7458372"/>
              <a:gd name="connsiteX44070" fmla="*/ 1988888 w 10505529"/>
              <a:gd name="connsiteY44070" fmla="*/ 4 h 7458372"/>
              <a:gd name="connsiteX44071" fmla="*/ 2000603 w 10505529"/>
              <a:gd name="connsiteY44071" fmla="*/ 2534 h 7458372"/>
              <a:gd name="connsiteX44072" fmla="*/ 2009921 w 10505529"/>
              <a:gd name="connsiteY44072" fmla="*/ 8924 h 7458372"/>
              <a:gd name="connsiteX44073" fmla="*/ 2016044 w 10505529"/>
              <a:gd name="connsiteY44073" fmla="*/ 18242 h 7458372"/>
              <a:gd name="connsiteX44074" fmla="*/ 2018307 w 10505529"/>
              <a:gd name="connsiteY44074" fmla="*/ 29690 h 7458372"/>
              <a:gd name="connsiteX44075" fmla="*/ 2016044 w 10505529"/>
              <a:gd name="connsiteY44075" fmla="*/ 41404 h 7458372"/>
              <a:gd name="connsiteX44076" fmla="*/ 2009921 w 10505529"/>
              <a:gd name="connsiteY44076" fmla="*/ 50855 h 7458372"/>
              <a:gd name="connsiteX44077" fmla="*/ 2000603 w 10505529"/>
              <a:gd name="connsiteY44077" fmla="*/ 57113 h 7458372"/>
              <a:gd name="connsiteX44078" fmla="*/ 1988888 w 10505529"/>
              <a:gd name="connsiteY44078" fmla="*/ 59376 h 7458372"/>
              <a:gd name="connsiteX44079" fmla="*/ 1967056 w 10505529"/>
              <a:gd name="connsiteY44079" fmla="*/ 50855 h 7458372"/>
              <a:gd name="connsiteX44080" fmla="*/ 1958670 w 10505529"/>
              <a:gd name="connsiteY44080" fmla="*/ 29690 h 7458372"/>
              <a:gd name="connsiteX44081" fmla="*/ 1967056 w 10505529"/>
              <a:gd name="connsiteY44081" fmla="*/ 8658 h 7458372"/>
              <a:gd name="connsiteX44082" fmla="*/ 1988888 w 10505529"/>
              <a:gd name="connsiteY44082" fmla="*/ 4 h 7458372"/>
              <a:gd name="connsiteX44083" fmla="*/ 2206400 w 10505529"/>
              <a:gd name="connsiteY44083" fmla="*/ 4 h 7458372"/>
              <a:gd name="connsiteX44084" fmla="*/ 2218115 w 10505529"/>
              <a:gd name="connsiteY44084" fmla="*/ 2533 h 7458372"/>
              <a:gd name="connsiteX44085" fmla="*/ 2227434 w 10505529"/>
              <a:gd name="connsiteY44085" fmla="*/ 8923 h 7458372"/>
              <a:gd name="connsiteX44086" fmla="*/ 2233556 w 10505529"/>
              <a:gd name="connsiteY44086" fmla="*/ 18242 h 7458372"/>
              <a:gd name="connsiteX44087" fmla="*/ 2235819 w 10505529"/>
              <a:gd name="connsiteY44087" fmla="*/ 29690 h 7458372"/>
              <a:gd name="connsiteX44088" fmla="*/ 2233556 w 10505529"/>
              <a:gd name="connsiteY44088" fmla="*/ 41404 h 7458372"/>
              <a:gd name="connsiteX44089" fmla="*/ 2227434 w 10505529"/>
              <a:gd name="connsiteY44089" fmla="*/ 50855 h 7458372"/>
              <a:gd name="connsiteX44090" fmla="*/ 2218115 w 10505529"/>
              <a:gd name="connsiteY44090" fmla="*/ 57112 h 7458372"/>
              <a:gd name="connsiteX44091" fmla="*/ 2206400 w 10505529"/>
              <a:gd name="connsiteY44091" fmla="*/ 59375 h 7458372"/>
              <a:gd name="connsiteX44092" fmla="*/ 2184569 w 10505529"/>
              <a:gd name="connsiteY44092" fmla="*/ 50855 h 7458372"/>
              <a:gd name="connsiteX44093" fmla="*/ 2176183 w 10505529"/>
              <a:gd name="connsiteY44093" fmla="*/ 29690 h 7458372"/>
              <a:gd name="connsiteX44094" fmla="*/ 2184569 w 10505529"/>
              <a:gd name="connsiteY44094" fmla="*/ 8657 h 7458372"/>
              <a:gd name="connsiteX44095" fmla="*/ 2206400 w 10505529"/>
              <a:gd name="connsiteY44095" fmla="*/ 4 h 7458372"/>
              <a:gd name="connsiteX44096" fmla="*/ 2424045 w 10505529"/>
              <a:gd name="connsiteY44096" fmla="*/ 4 h 7458372"/>
              <a:gd name="connsiteX44097" fmla="*/ 2435761 w 10505529"/>
              <a:gd name="connsiteY44097" fmla="*/ 2533 h 7458372"/>
              <a:gd name="connsiteX44098" fmla="*/ 2445079 w 10505529"/>
              <a:gd name="connsiteY44098" fmla="*/ 8923 h 7458372"/>
              <a:gd name="connsiteX44099" fmla="*/ 2451202 w 10505529"/>
              <a:gd name="connsiteY44099" fmla="*/ 18242 h 7458372"/>
              <a:gd name="connsiteX44100" fmla="*/ 2453465 w 10505529"/>
              <a:gd name="connsiteY44100" fmla="*/ 29690 h 7458372"/>
              <a:gd name="connsiteX44101" fmla="*/ 2451202 w 10505529"/>
              <a:gd name="connsiteY44101" fmla="*/ 41404 h 7458372"/>
              <a:gd name="connsiteX44102" fmla="*/ 2445079 w 10505529"/>
              <a:gd name="connsiteY44102" fmla="*/ 50855 h 7458372"/>
              <a:gd name="connsiteX44103" fmla="*/ 2435761 w 10505529"/>
              <a:gd name="connsiteY44103" fmla="*/ 57112 h 7458372"/>
              <a:gd name="connsiteX44104" fmla="*/ 2424045 w 10505529"/>
              <a:gd name="connsiteY44104" fmla="*/ 59375 h 7458372"/>
              <a:gd name="connsiteX44105" fmla="*/ 2402214 w 10505529"/>
              <a:gd name="connsiteY44105" fmla="*/ 50855 h 7458372"/>
              <a:gd name="connsiteX44106" fmla="*/ 2393828 w 10505529"/>
              <a:gd name="connsiteY44106" fmla="*/ 29690 h 7458372"/>
              <a:gd name="connsiteX44107" fmla="*/ 2402214 w 10505529"/>
              <a:gd name="connsiteY44107" fmla="*/ 8657 h 7458372"/>
              <a:gd name="connsiteX44108" fmla="*/ 2424045 w 10505529"/>
              <a:gd name="connsiteY44108" fmla="*/ 4 h 7458372"/>
              <a:gd name="connsiteX44109" fmla="*/ 2641691 w 10505529"/>
              <a:gd name="connsiteY44109" fmla="*/ 4 h 7458372"/>
              <a:gd name="connsiteX44110" fmla="*/ 2653406 w 10505529"/>
              <a:gd name="connsiteY44110" fmla="*/ 2533 h 7458372"/>
              <a:gd name="connsiteX44111" fmla="*/ 2662724 w 10505529"/>
              <a:gd name="connsiteY44111" fmla="*/ 8923 h 7458372"/>
              <a:gd name="connsiteX44112" fmla="*/ 2668847 w 10505529"/>
              <a:gd name="connsiteY44112" fmla="*/ 18241 h 7458372"/>
              <a:gd name="connsiteX44113" fmla="*/ 2671110 w 10505529"/>
              <a:gd name="connsiteY44113" fmla="*/ 29690 h 7458372"/>
              <a:gd name="connsiteX44114" fmla="*/ 2668847 w 10505529"/>
              <a:gd name="connsiteY44114" fmla="*/ 41404 h 7458372"/>
              <a:gd name="connsiteX44115" fmla="*/ 2662724 w 10505529"/>
              <a:gd name="connsiteY44115" fmla="*/ 50855 h 7458372"/>
              <a:gd name="connsiteX44116" fmla="*/ 2653406 w 10505529"/>
              <a:gd name="connsiteY44116" fmla="*/ 57112 h 7458372"/>
              <a:gd name="connsiteX44117" fmla="*/ 2641691 w 10505529"/>
              <a:gd name="connsiteY44117" fmla="*/ 59375 h 7458372"/>
              <a:gd name="connsiteX44118" fmla="*/ 2619859 w 10505529"/>
              <a:gd name="connsiteY44118" fmla="*/ 50855 h 7458372"/>
              <a:gd name="connsiteX44119" fmla="*/ 2611473 w 10505529"/>
              <a:gd name="connsiteY44119" fmla="*/ 29690 h 7458372"/>
              <a:gd name="connsiteX44120" fmla="*/ 2619859 w 10505529"/>
              <a:gd name="connsiteY44120" fmla="*/ 8657 h 7458372"/>
              <a:gd name="connsiteX44121" fmla="*/ 2641691 w 10505529"/>
              <a:gd name="connsiteY44121" fmla="*/ 4 h 7458372"/>
              <a:gd name="connsiteX44122" fmla="*/ 2859336 w 10505529"/>
              <a:gd name="connsiteY44122" fmla="*/ 4 h 7458372"/>
              <a:gd name="connsiteX44123" fmla="*/ 2871184 w 10505529"/>
              <a:gd name="connsiteY44123" fmla="*/ 2533 h 7458372"/>
              <a:gd name="connsiteX44124" fmla="*/ 2880502 w 10505529"/>
              <a:gd name="connsiteY44124" fmla="*/ 8923 h 7458372"/>
              <a:gd name="connsiteX44125" fmla="*/ 2886626 w 10505529"/>
              <a:gd name="connsiteY44125" fmla="*/ 18241 h 7458372"/>
              <a:gd name="connsiteX44126" fmla="*/ 2888889 w 10505529"/>
              <a:gd name="connsiteY44126" fmla="*/ 29690 h 7458372"/>
              <a:gd name="connsiteX44127" fmla="*/ 2886626 w 10505529"/>
              <a:gd name="connsiteY44127" fmla="*/ 41404 h 7458372"/>
              <a:gd name="connsiteX44128" fmla="*/ 2880502 w 10505529"/>
              <a:gd name="connsiteY44128" fmla="*/ 50855 h 7458372"/>
              <a:gd name="connsiteX44129" fmla="*/ 2871184 w 10505529"/>
              <a:gd name="connsiteY44129" fmla="*/ 57112 h 7458372"/>
              <a:gd name="connsiteX44130" fmla="*/ 2859336 w 10505529"/>
              <a:gd name="connsiteY44130" fmla="*/ 59375 h 7458372"/>
              <a:gd name="connsiteX44131" fmla="*/ 2837505 w 10505529"/>
              <a:gd name="connsiteY44131" fmla="*/ 50855 h 7458372"/>
              <a:gd name="connsiteX44132" fmla="*/ 2829119 w 10505529"/>
              <a:gd name="connsiteY44132" fmla="*/ 29690 h 7458372"/>
              <a:gd name="connsiteX44133" fmla="*/ 2837505 w 10505529"/>
              <a:gd name="connsiteY44133" fmla="*/ 8657 h 7458372"/>
              <a:gd name="connsiteX44134" fmla="*/ 2859336 w 10505529"/>
              <a:gd name="connsiteY44134" fmla="*/ 4 h 7458372"/>
              <a:gd name="connsiteX44135" fmla="*/ 3076981 w 10505529"/>
              <a:gd name="connsiteY44135" fmla="*/ 4 h 7458372"/>
              <a:gd name="connsiteX44136" fmla="*/ 3088696 w 10505529"/>
              <a:gd name="connsiteY44136" fmla="*/ 2533 h 7458372"/>
              <a:gd name="connsiteX44137" fmla="*/ 3098014 w 10505529"/>
              <a:gd name="connsiteY44137" fmla="*/ 8923 h 7458372"/>
              <a:gd name="connsiteX44138" fmla="*/ 3104138 w 10505529"/>
              <a:gd name="connsiteY44138" fmla="*/ 18241 h 7458372"/>
              <a:gd name="connsiteX44139" fmla="*/ 3106401 w 10505529"/>
              <a:gd name="connsiteY44139" fmla="*/ 29689 h 7458372"/>
              <a:gd name="connsiteX44140" fmla="*/ 3104138 w 10505529"/>
              <a:gd name="connsiteY44140" fmla="*/ 41404 h 7458372"/>
              <a:gd name="connsiteX44141" fmla="*/ 3098014 w 10505529"/>
              <a:gd name="connsiteY44141" fmla="*/ 50855 h 7458372"/>
              <a:gd name="connsiteX44142" fmla="*/ 3088696 w 10505529"/>
              <a:gd name="connsiteY44142" fmla="*/ 57112 h 7458372"/>
              <a:gd name="connsiteX44143" fmla="*/ 3076981 w 10505529"/>
              <a:gd name="connsiteY44143" fmla="*/ 59375 h 7458372"/>
              <a:gd name="connsiteX44144" fmla="*/ 3055150 w 10505529"/>
              <a:gd name="connsiteY44144" fmla="*/ 50855 h 7458372"/>
              <a:gd name="connsiteX44145" fmla="*/ 3046763 w 10505529"/>
              <a:gd name="connsiteY44145" fmla="*/ 29689 h 7458372"/>
              <a:gd name="connsiteX44146" fmla="*/ 3055150 w 10505529"/>
              <a:gd name="connsiteY44146" fmla="*/ 8657 h 7458372"/>
              <a:gd name="connsiteX44147" fmla="*/ 3076981 w 10505529"/>
              <a:gd name="connsiteY44147" fmla="*/ 4 h 7458372"/>
              <a:gd name="connsiteX44148" fmla="*/ 3294626 w 10505529"/>
              <a:gd name="connsiteY44148" fmla="*/ 4 h 7458372"/>
              <a:gd name="connsiteX44149" fmla="*/ 3306342 w 10505529"/>
              <a:gd name="connsiteY44149" fmla="*/ 2533 h 7458372"/>
              <a:gd name="connsiteX44150" fmla="*/ 3315660 w 10505529"/>
              <a:gd name="connsiteY44150" fmla="*/ 8923 h 7458372"/>
              <a:gd name="connsiteX44151" fmla="*/ 3321783 w 10505529"/>
              <a:gd name="connsiteY44151" fmla="*/ 18241 h 7458372"/>
              <a:gd name="connsiteX44152" fmla="*/ 3324046 w 10505529"/>
              <a:gd name="connsiteY44152" fmla="*/ 29689 h 7458372"/>
              <a:gd name="connsiteX44153" fmla="*/ 3321783 w 10505529"/>
              <a:gd name="connsiteY44153" fmla="*/ 41404 h 7458372"/>
              <a:gd name="connsiteX44154" fmla="*/ 3315660 w 10505529"/>
              <a:gd name="connsiteY44154" fmla="*/ 50855 h 7458372"/>
              <a:gd name="connsiteX44155" fmla="*/ 3306342 w 10505529"/>
              <a:gd name="connsiteY44155" fmla="*/ 57112 h 7458372"/>
              <a:gd name="connsiteX44156" fmla="*/ 3294626 w 10505529"/>
              <a:gd name="connsiteY44156" fmla="*/ 59375 h 7458372"/>
              <a:gd name="connsiteX44157" fmla="*/ 3272795 w 10505529"/>
              <a:gd name="connsiteY44157" fmla="*/ 50855 h 7458372"/>
              <a:gd name="connsiteX44158" fmla="*/ 3264409 w 10505529"/>
              <a:gd name="connsiteY44158" fmla="*/ 29689 h 7458372"/>
              <a:gd name="connsiteX44159" fmla="*/ 3272795 w 10505529"/>
              <a:gd name="connsiteY44159" fmla="*/ 8657 h 7458372"/>
              <a:gd name="connsiteX44160" fmla="*/ 3294626 w 10505529"/>
              <a:gd name="connsiteY44160" fmla="*/ 4 h 7458372"/>
              <a:gd name="connsiteX44161" fmla="*/ 3512138 w 10505529"/>
              <a:gd name="connsiteY44161" fmla="*/ 4 h 7458372"/>
              <a:gd name="connsiteX44162" fmla="*/ 3523854 w 10505529"/>
              <a:gd name="connsiteY44162" fmla="*/ 2533 h 7458372"/>
              <a:gd name="connsiteX44163" fmla="*/ 3533172 w 10505529"/>
              <a:gd name="connsiteY44163" fmla="*/ 8923 h 7458372"/>
              <a:gd name="connsiteX44164" fmla="*/ 3539295 w 10505529"/>
              <a:gd name="connsiteY44164" fmla="*/ 18241 h 7458372"/>
              <a:gd name="connsiteX44165" fmla="*/ 3541558 w 10505529"/>
              <a:gd name="connsiteY44165" fmla="*/ 29689 h 7458372"/>
              <a:gd name="connsiteX44166" fmla="*/ 3539295 w 10505529"/>
              <a:gd name="connsiteY44166" fmla="*/ 41403 h 7458372"/>
              <a:gd name="connsiteX44167" fmla="*/ 3533172 w 10505529"/>
              <a:gd name="connsiteY44167" fmla="*/ 50855 h 7458372"/>
              <a:gd name="connsiteX44168" fmla="*/ 3523854 w 10505529"/>
              <a:gd name="connsiteY44168" fmla="*/ 57112 h 7458372"/>
              <a:gd name="connsiteX44169" fmla="*/ 3512138 w 10505529"/>
              <a:gd name="connsiteY44169" fmla="*/ 59375 h 7458372"/>
              <a:gd name="connsiteX44170" fmla="*/ 3490307 w 10505529"/>
              <a:gd name="connsiteY44170" fmla="*/ 50855 h 7458372"/>
              <a:gd name="connsiteX44171" fmla="*/ 3481921 w 10505529"/>
              <a:gd name="connsiteY44171" fmla="*/ 29689 h 7458372"/>
              <a:gd name="connsiteX44172" fmla="*/ 3490307 w 10505529"/>
              <a:gd name="connsiteY44172" fmla="*/ 8657 h 7458372"/>
              <a:gd name="connsiteX44173" fmla="*/ 3512138 w 10505529"/>
              <a:gd name="connsiteY44173" fmla="*/ 4 h 7458372"/>
              <a:gd name="connsiteX44174" fmla="*/ 3729784 w 10505529"/>
              <a:gd name="connsiteY44174" fmla="*/ 4 h 7458372"/>
              <a:gd name="connsiteX44175" fmla="*/ 3741499 w 10505529"/>
              <a:gd name="connsiteY44175" fmla="*/ 2533 h 7458372"/>
              <a:gd name="connsiteX44176" fmla="*/ 3750817 w 10505529"/>
              <a:gd name="connsiteY44176" fmla="*/ 8923 h 7458372"/>
              <a:gd name="connsiteX44177" fmla="*/ 3756940 w 10505529"/>
              <a:gd name="connsiteY44177" fmla="*/ 18241 h 7458372"/>
              <a:gd name="connsiteX44178" fmla="*/ 3759203 w 10505529"/>
              <a:gd name="connsiteY44178" fmla="*/ 29689 h 7458372"/>
              <a:gd name="connsiteX44179" fmla="*/ 3756940 w 10505529"/>
              <a:gd name="connsiteY44179" fmla="*/ 41403 h 7458372"/>
              <a:gd name="connsiteX44180" fmla="*/ 3750817 w 10505529"/>
              <a:gd name="connsiteY44180" fmla="*/ 50855 h 7458372"/>
              <a:gd name="connsiteX44181" fmla="*/ 3741499 w 10505529"/>
              <a:gd name="connsiteY44181" fmla="*/ 57112 h 7458372"/>
              <a:gd name="connsiteX44182" fmla="*/ 3729784 w 10505529"/>
              <a:gd name="connsiteY44182" fmla="*/ 59375 h 7458372"/>
              <a:gd name="connsiteX44183" fmla="*/ 3707953 w 10505529"/>
              <a:gd name="connsiteY44183" fmla="*/ 50855 h 7458372"/>
              <a:gd name="connsiteX44184" fmla="*/ 3699566 w 10505529"/>
              <a:gd name="connsiteY44184" fmla="*/ 29689 h 7458372"/>
              <a:gd name="connsiteX44185" fmla="*/ 3707953 w 10505529"/>
              <a:gd name="connsiteY44185" fmla="*/ 8657 h 7458372"/>
              <a:gd name="connsiteX44186" fmla="*/ 3729784 w 10505529"/>
              <a:gd name="connsiteY44186" fmla="*/ 4 h 7458372"/>
              <a:gd name="connsiteX44187" fmla="*/ 3947430 w 10505529"/>
              <a:gd name="connsiteY44187" fmla="*/ 3 h 7458372"/>
              <a:gd name="connsiteX44188" fmla="*/ 3959145 w 10505529"/>
              <a:gd name="connsiteY44188" fmla="*/ 2533 h 7458372"/>
              <a:gd name="connsiteX44189" fmla="*/ 3968462 w 10505529"/>
              <a:gd name="connsiteY44189" fmla="*/ 8923 h 7458372"/>
              <a:gd name="connsiteX44190" fmla="*/ 3974586 w 10505529"/>
              <a:gd name="connsiteY44190" fmla="*/ 18241 h 7458372"/>
              <a:gd name="connsiteX44191" fmla="*/ 3976850 w 10505529"/>
              <a:gd name="connsiteY44191" fmla="*/ 29689 h 7458372"/>
              <a:gd name="connsiteX44192" fmla="*/ 3974586 w 10505529"/>
              <a:gd name="connsiteY44192" fmla="*/ 41403 h 7458372"/>
              <a:gd name="connsiteX44193" fmla="*/ 3968462 w 10505529"/>
              <a:gd name="connsiteY44193" fmla="*/ 50854 h 7458372"/>
              <a:gd name="connsiteX44194" fmla="*/ 3959145 w 10505529"/>
              <a:gd name="connsiteY44194" fmla="*/ 57112 h 7458372"/>
              <a:gd name="connsiteX44195" fmla="*/ 3947430 w 10505529"/>
              <a:gd name="connsiteY44195" fmla="*/ 59375 h 7458372"/>
              <a:gd name="connsiteX44196" fmla="*/ 3925599 w 10505529"/>
              <a:gd name="connsiteY44196" fmla="*/ 50854 h 7458372"/>
              <a:gd name="connsiteX44197" fmla="*/ 3917212 w 10505529"/>
              <a:gd name="connsiteY44197" fmla="*/ 29689 h 7458372"/>
              <a:gd name="connsiteX44198" fmla="*/ 3925599 w 10505529"/>
              <a:gd name="connsiteY44198" fmla="*/ 8657 h 7458372"/>
              <a:gd name="connsiteX44199" fmla="*/ 3947430 w 10505529"/>
              <a:gd name="connsiteY44199" fmla="*/ 3 h 7458372"/>
              <a:gd name="connsiteX44200" fmla="*/ 4165068 w 10505529"/>
              <a:gd name="connsiteY44200" fmla="*/ 3 h 7458372"/>
              <a:gd name="connsiteX44201" fmla="*/ 4176782 w 10505529"/>
              <a:gd name="connsiteY44201" fmla="*/ 2532 h 7458372"/>
              <a:gd name="connsiteX44202" fmla="*/ 4186100 w 10505529"/>
              <a:gd name="connsiteY44202" fmla="*/ 8922 h 7458372"/>
              <a:gd name="connsiteX44203" fmla="*/ 4192223 w 10505529"/>
              <a:gd name="connsiteY44203" fmla="*/ 18241 h 7458372"/>
              <a:gd name="connsiteX44204" fmla="*/ 4194486 w 10505529"/>
              <a:gd name="connsiteY44204" fmla="*/ 29689 h 7458372"/>
              <a:gd name="connsiteX44205" fmla="*/ 4192223 w 10505529"/>
              <a:gd name="connsiteY44205" fmla="*/ 41403 h 7458372"/>
              <a:gd name="connsiteX44206" fmla="*/ 4186100 w 10505529"/>
              <a:gd name="connsiteY44206" fmla="*/ 50854 h 7458372"/>
              <a:gd name="connsiteX44207" fmla="*/ 4176782 w 10505529"/>
              <a:gd name="connsiteY44207" fmla="*/ 57111 h 7458372"/>
              <a:gd name="connsiteX44208" fmla="*/ 4165068 w 10505529"/>
              <a:gd name="connsiteY44208" fmla="*/ 59374 h 7458372"/>
              <a:gd name="connsiteX44209" fmla="*/ 4143235 w 10505529"/>
              <a:gd name="connsiteY44209" fmla="*/ 50854 h 7458372"/>
              <a:gd name="connsiteX44210" fmla="*/ 4134849 w 10505529"/>
              <a:gd name="connsiteY44210" fmla="*/ 29689 h 7458372"/>
              <a:gd name="connsiteX44211" fmla="*/ 4143235 w 10505529"/>
              <a:gd name="connsiteY44211" fmla="*/ 8656 h 7458372"/>
              <a:gd name="connsiteX44212" fmla="*/ 4165068 w 10505529"/>
              <a:gd name="connsiteY44212" fmla="*/ 3 h 7458372"/>
              <a:gd name="connsiteX44213" fmla="*/ 4382713 w 10505529"/>
              <a:gd name="connsiteY44213" fmla="*/ 3 h 7458372"/>
              <a:gd name="connsiteX44214" fmla="*/ 4394428 w 10505529"/>
              <a:gd name="connsiteY44214" fmla="*/ 2532 h 7458372"/>
              <a:gd name="connsiteX44215" fmla="*/ 4403746 w 10505529"/>
              <a:gd name="connsiteY44215" fmla="*/ 8922 h 7458372"/>
              <a:gd name="connsiteX44216" fmla="*/ 4409869 w 10505529"/>
              <a:gd name="connsiteY44216" fmla="*/ 18241 h 7458372"/>
              <a:gd name="connsiteX44217" fmla="*/ 4412132 w 10505529"/>
              <a:gd name="connsiteY44217" fmla="*/ 29689 h 7458372"/>
              <a:gd name="connsiteX44218" fmla="*/ 4409869 w 10505529"/>
              <a:gd name="connsiteY44218" fmla="*/ 41403 h 7458372"/>
              <a:gd name="connsiteX44219" fmla="*/ 4403746 w 10505529"/>
              <a:gd name="connsiteY44219" fmla="*/ 50854 h 7458372"/>
              <a:gd name="connsiteX44220" fmla="*/ 4394428 w 10505529"/>
              <a:gd name="connsiteY44220" fmla="*/ 57111 h 7458372"/>
              <a:gd name="connsiteX44221" fmla="*/ 4382713 w 10505529"/>
              <a:gd name="connsiteY44221" fmla="*/ 59374 h 7458372"/>
              <a:gd name="connsiteX44222" fmla="*/ 4360881 w 10505529"/>
              <a:gd name="connsiteY44222" fmla="*/ 50854 h 7458372"/>
              <a:gd name="connsiteX44223" fmla="*/ 4352495 w 10505529"/>
              <a:gd name="connsiteY44223" fmla="*/ 29689 h 7458372"/>
              <a:gd name="connsiteX44224" fmla="*/ 4360881 w 10505529"/>
              <a:gd name="connsiteY44224" fmla="*/ 8656 h 7458372"/>
              <a:gd name="connsiteX44225" fmla="*/ 4382713 w 10505529"/>
              <a:gd name="connsiteY44225" fmla="*/ 3 h 7458372"/>
              <a:gd name="connsiteX44226" fmla="*/ 4600226 w 10505529"/>
              <a:gd name="connsiteY44226" fmla="*/ 3 h 7458372"/>
              <a:gd name="connsiteX44227" fmla="*/ 4612073 w 10505529"/>
              <a:gd name="connsiteY44227" fmla="*/ 2532 h 7458372"/>
              <a:gd name="connsiteX44228" fmla="*/ 4621391 w 10505529"/>
              <a:gd name="connsiteY44228" fmla="*/ 8922 h 7458372"/>
              <a:gd name="connsiteX44229" fmla="*/ 4627514 w 10505529"/>
              <a:gd name="connsiteY44229" fmla="*/ 18240 h 7458372"/>
              <a:gd name="connsiteX44230" fmla="*/ 4629777 w 10505529"/>
              <a:gd name="connsiteY44230" fmla="*/ 29689 h 7458372"/>
              <a:gd name="connsiteX44231" fmla="*/ 4627514 w 10505529"/>
              <a:gd name="connsiteY44231" fmla="*/ 41403 h 7458372"/>
              <a:gd name="connsiteX44232" fmla="*/ 4621391 w 10505529"/>
              <a:gd name="connsiteY44232" fmla="*/ 50854 h 7458372"/>
              <a:gd name="connsiteX44233" fmla="*/ 4612073 w 10505529"/>
              <a:gd name="connsiteY44233" fmla="*/ 57111 h 7458372"/>
              <a:gd name="connsiteX44234" fmla="*/ 4600226 w 10505529"/>
              <a:gd name="connsiteY44234" fmla="*/ 59374 h 7458372"/>
              <a:gd name="connsiteX44235" fmla="*/ 4578393 w 10505529"/>
              <a:gd name="connsiteY44235" fmla="*/ 50854 h 7458372"/>
              <a:gd name="connsiteX44236" fmla="*/ 4570007 w 10505529"/>
              <a:gd name="connsiteY44236" fmla="*/ 29689 h 7458372"/>
              <a:gd name="connsiteX44237" fmla="*/ 4578393 w 10505529"/>
              <a:gd name="connsiteY44237" fmla="*/ 8656 h 7458372"/>
              <a:gd name="connsiteX44238" fmla="*/ 4600226 w 10505529"/>
              <a:gd name="connsiteY44238" fmla="*/ 3 h 7458372"/>
              <a:gd name="connsiteX44239" fmla="*/ 4817870 w 10505529"/>
              <a:gd name="connsiteY44239" fmla="*/ 3 h 7458372"/>
              <a:gd name="connsiteX44240" fmla="*/ 4829585 w 10505529"/>
              <a:gd name="connsiteY44240" fmla="*/ 2532 h 7458372"/>
              <a:gd name="connsiteX44241" fmla="*/ 4838903 w 10505529"/>
              <a:gd name="connsiteY44241" fmla="*/ 8922 h 7458372"/>
              <a:gd name="connsiteX44242" fmla="*/ 4845026 w 10505529"/>
              <a:gd name="connsiteY44242" fmla="*/ 18240 h 7458372"/>
              <a:gd name="connsiteX44243" fmla="*/ 4847289 w 10505529"/>
              <a:gd name="connsiteY44243" fmla="*/ 29689 h 7458372"/>
              <a:gd name="connsiteX44244" fmla="*/ 4845026 w 10505529"/>
              <a:gd name="connsiteY44244" fmla="*/ 41403 h 7458372"/>
              <a:gd name="connsiteX44245" fmla="*/ 4838903 w 10505529"/>
              <a:gd name="connsiteY44245" fmla="*/ 50854 h 7458372"/>
              <a:gd name="connsiteX44246" fmla="*/ 4829585 w 10505529"/>
              <a:gd name="connsiteY44246" fmla="*/ 57111 h 7458372"/>
              <a:gd name="connsiteX44247" fmla="*/ 4817870 w 10505529"/>
              <a:gd name="connsiteY44247" fmla="*/ 59374 h 7458372"/>
              <a:gd name="connsiteX44248" fmla="*/ 4796038 w 10505529"/>
              <a:gd name="connsiteY44248" fmla="*/ 50854 h 7458372"/>
              <a:gd name="connsiteX44249" fmla="*/ 4787652 w 10505529"/>
              <a:gd name="connsiteY44249" fmla="*/ 29689 h 7458372"/>
              <a:gd name="connsiteX44250" fmla="*/ 4796038 w 10505529"/>
              <a:gd name="connsiteY44250" fmla="*/ 8656 h 7458372"/>
              <a:gd name="connsiteX44251" fmla="*/ 4817870 w 10505529"/>
              <a:gd name="connsiteY44251" fmla="*/ 3 h 7458372"/>
              <a:gd name="connsiteX44252" fmla="*/ 5035515 w 10505529"/>
              <a:gd name="connsiteY44252" fmla="*/ 3 h 7458372"/>
              <a:gd name="connsiteX44253" fmla="*/ 5047230 w 10505529"/>
              <a:gd name="connsiteY44253" fmla="*/ 2532 h 7458372"/>
              <a:gd name="connsiteX44254" fmla="*/ 5056548 w 10505529"/>
              <a:gd name="connsiteY44254" fmla="*/ 8922 h 7458372"/>
              <a:gd name="connsiteX44255" fmla="*/ 5062671 w 10505529"/>
              <a:gd name="connsiteY44255" fmla="*/ 18240 h 7458372"/>
              <a:gd name="connsiteX44256" fmla="*/ 5064934 w 10505529"/>
              <a:gd name="connsiteY44256" fmla="*/ 29688 h 7458372"/>
              <a:gd name="connsiteX44257" fmla="*/ 5062671 w 10505529"/>
              <a:gd name="connsiteY44257" fmla="*/ 41403 h 7458372"/>
              <a:gd name="connsiteX44258" fmla="*/ 5056548 w 10505529"/>
              <a:gd name="connsiteY44258" fmla="*/ 50854 h 7458372"/>
              <a:gd name="connsiteX44259" fmla="*/ 5047230 w 10505529"/>
              <a:gd name="connsiteY44259" fmla="*/ 57111 h 7458372"/>
              <a:gd name="connsiteX44260" fmla="*/ 5035515 w 10505529"/>
              <a:gd name="connsiteY44260" fmla="*/ 59374 h 7458372"/>
              <a:gd name="connsiteX44261" fmla="*/ 5013683 w 10505529"/>
              <a:gd name="connsiteY44261" fmla="*/ 50854 h 7458372"/>
              <a:gd name="connsiteX44262" fmla="*/ 5005297 w 10505529"/>
              <a:gd name="connsiteY44262" fmla="*/ 29688 h 7458372"/>
              <a:gd name="connsiteX44263" fmla="*/ 5013683 w 10505529"/>
              <a:gd name="connsiteY44263" fmla="*/ 8656 h 7458372"/>
              <a:gd name="connsiteX44264" fmla="*/ 5035515 w 10505529"/>
              <a:gd name="connsiteY44264" fmla="*/ 3 h 7458372"/>
              <a:gd name="connsiteX44265" fmla="*/ 5253160 w 10505529"/>
              <a:gd name="connsiteY44265" fmla="*/ 3 h 7458372"/>
              <a:gd name="connsiteX44266" fmla="*/ 5264875 w 10505529"/>
              <a:gd name="connsiteY44266" fmla="*/ 2532 h 7458372"/>
              <a:gd name="connsiteX44267" fmla="*/ 5274192 w 10505529"/>
              <a:gd name="connsiteY44267" fmla="*/ 8922 h 7458372"/>
              <a:gd name="connsiteX44268" fmla="*/ 5280316 w 10505529"/>
              <a:gd name="connsiteY44268" fmla="*/ 18240 h 7458372"/>
              <a:gd name="connsiteX44269" fmla="*/ 5282579 w 10505529"/>
              <a:gd name="connsiteY44269" fmla="*/ 29688 h 7458372"/>
              <a:gd name="connsiteX44270" fmla="*/ 5280316 w 10505529"/>
              <a:gd name="connsiteY44270" fmla="*/ 41403 h 7458372"/>
              <a:gd name="connsiteX44271" fmla="*/ 5274192 w 10505529"/>
              <a:gd name="connsiteY44271" fmla="*/ 50854 h 7458372"/>
              <a:gd name="connsiteX44272" fmla="*/ 5264875 w 10505529"/>
              <a:gd name="connsiteY44272" fmla="*/ 57111 h 7458372"/>
              <a:gd name="connsiteX44273" fmla="*/ 5253160 w 10505529"/>
              <a:gd name="connsiteY44273" fmla="*/ 59374 h 7458372"/>
              <a:gd name="connsiteX44274" fmla="*/ 5231328 w 10505529"/>
              <a:gd name="connsiteY44274" fmla="*/ 50854 h 7458372"/>
              <a:gd name="connsiteX44275" fmla="*/ 5222942 w 10505529"/>
              <a:gd name="connsiteY44275" fmla="*/ 29688 h 7458372"/>
              <a:gd name="connsiteX44276" fmla="*/ 5231328 w 10505529"/>
              <a:gd name="connsiteY44276" fmla="*/ 8656 h 7458372"/>
              <a:gd name="connsiteX44277" fmla="*/ 5253160 w 10505529"/>
              <a:gd name="connsiteY44277" fmla="*/ 3 h 7458372"/>
              <a:gd name="connsiteX44278" fmla="*/ 5470806 w 10505529"/>
              <a:gd name="connsiteY44278" fmla="*/ 3 h 7458372"/>
              <a:gd name="connsiteX44279" fmla="*/ 5482520 w 10505529"/>
              <a:gd name="connsiteY44279" fmla="*/ 2532 h 7458372"/>
              <a:gd name="connsiteX44280" fmla="*/ 5491838 w 10505529"/>
              <a:gd name="connsiteY44280" fmla="*/ 8922 h 7458372"/>
              <a:gd name="connsiteX44281" fmla="*/ 5497961 w 10505529"/>
              <a:gd name="connsiteY44281" fmla="*/ 18240 h 7458372"/>
              <a:gd name="connsiteX44282" fmla="*/ 5500224 w 10505529"/>
              <a:gd name="connsiteY44282" fmla="*/ 29688 h 7458372"/>
              <a:gd name="connsiteX44283" fmla="*/ 5497961 w 10505529"/>
              <a:gd name="connsiteY44283" fmla="*/ 41402 h 7458372"/>
              <a:gd name="connsiteX44284" fmla="*/ 5491838 w 10505529"/>
              <a:gd name="connsiteY44284" fmla="*/ 50854 h 7458372"/>
              <a:gd name="connsiteX44285" fmla="*/ 5482520 w 10505529"/>
              <a:gd name="connsiteY44285" fmla="*/ 57111 h 7458372"/>
              <a:gd name="connsiteX44286" fmla="*/ 5470806 w 10505529"/>
              <a:gd name="connsiteY44286" fmla="*/ 59374 h 7458372"/>
              <a:gd name="connsiteX44287" fmla="*/ 5448973 w 10505529"/>
              <a:gd name="connsiteY44287" fmla="*/ 50854 h 7458372"/>
              <a:gd name="connsiteX44288" fmla="*/ 5440587 w 10505529"/>
              <a:gd name="connsiteY44288" fmla="*/ 29688 h 7458372"/>
              <a:gd name="connsiteX44289" fmla="*/ 5448973 w 10505529"/>
              <a:gd name="connsiteY44289" fmla="*/ 8656 h 7458372"/>
              <a:gd name="connsiteX44290" fmla="*/ 5470806 w 10505529"/>
              <a:gd name="connsiteY44290" fmla="*/ 3 h 7458372"/>
              <a:gd name="connsiteX44291" fmla="*/ 5688451 w 10505529"/>
              <a:gd name="connsiteY44291" fmla="*/ 3 h 7458372"/>
              <a:gd name="connsiteX44292" fmla="*/ 5700165 w 10505529"/>
              <a:gd name="connsiteY44292" fmla="*/ 2532 h 7458372"/>
              <a:gd name="connsiteX44293" fmla="*/ 5709483 w 10505529"/>
              <a:gd name="connsiteY44293" fmla="*/ 8922 h 7458372"/>
              <a:gd name="connsiteX44294" fmla="*/ 5715606 w 10505529"/>
              <a:gd name="connsiteY44294" fmla="*/ 18240 h 7458372"/>
              <a:gd name="connsiteX44295" fmla="*/ 5717869 w 10505529"/>
              <a:gd name="connsiteY44295" fmla="*/ 29688 h 7458372"/>
              <a:gd name="connsiteX44296" fmla="*/ 5715606 w 10505529"/>
              <a:gd name="connsiteY44296" fmla="*/ 41402 h 7458372"/>
              <a:gd name="connsiteX44297" fmla="*/ 5709483 w 10505529"/>
              <a:gd name="connsiteY44297" fmla="*/ 50854 h 7458372"/>
              <a:gd name="connsiteX44298" fmla="*/ 5700165 w 10505529"/>
              <a:gd name="connsiteY44298" fmla="*/ 57111 h 7458372"/>
              <a:gd name="connsiteX44299" fmla="*/ 5688451 w 10505529"/>
              <a:gd name="connsiteY44299" fmla="*/ 59374 h 7458372"/>
              <a:gd name="connsiteX44300" fmla="*/ 5666618 w 10505529"/>
              <a:gd name="connsiteY44300" fmla="*/ 50854 h 7458372"/>
              <a:gd name="connsiteX44301" fmla="*/ 5658232 w 10505529"/>
              <a:gd name="connsiteY44301" fmla="*/ 29688 h 7458372"/>
              <a:gd name="connsiteX44302" fmla="*/ 5666618 w 10505529"/>
              <a:gd name="connsiteY44302" fmla="*/ 8656 h 7458372"/>
              <a:gd name="connsiteX44303" fmla="*/ 5688451 w 10505529"/>
              <a:gd name="connsiteY44303" fmla="*/ 3 h 7458372"/>
              <a:gd name="connsiteX44304" fmla="*/ 5905963 w 10505529"/>
              <a:gd name="connsiteY44304" fmla="*/ 2 h 7458372"/>
              <a:gd name="connsiteX44305" fmla="*/ 5917677 w 10505529"/>
              <a:gd name="connsiteY44305" fmla="*/ 2532 h 7458372"/>
              <a:gd name="connsiteX44306" fmla="*/ 5926995 w 10505529"/>
              <a:gd name="connsiteY44306" fmla="*/ 8922 h 7458372"/>
              <a:gd name="connsiteX44307" fmla="*/ 5933118 w 10505529"/>
              <a:gd name="connsiteY44307" fmla="*/ 18240 h 7458372"/>
              <a:gd name="connsiteX44308" fmla="*/ 5935381 w 10505529"/>
              <a:gd name="connsiteY44308" fmla="*/ 29688 h 7458372"/>
              <a:gd name="connsiteX44309" fmla="*/ 5933118 w 10505529"/>
              <a:gd name="connsiteY44309" fmla="*/ 41402 h 7458372"/>
              <a:gd name="connsiteX44310" fmla="*/ 5926995 w 10505529"/>
              <a:gd name="connsiteY44310" fmla="*/ 50853 h 7458372"/>
              <a:gd name="connsiteX44311" fmla="*/ 5917677 w 10505529"/>
              <a:gd name="connsiteY44311" fmla="*/ 57111 h 7458372"/>
              <a:gd name="connsiteX44312" fmla="*/ 5905963 w 10505529"/>
              <a:gd name="connsiteY44312" fmla="*/ 59374 h 7458372"/>
              <a:gd name="connsiteX44313" fmla="*/ 5884130 w 10505529"/>
              <a:gd name="connsiteY44313" fmla="*/ 50853 h 7458372"/>
              <a:gd name="connsiteX44314" fmla="*/ 5875744 w 10505529"/>
              <a:gd name="connsiteY44314" fmla="*/ 29688 h 7458372"/>
              <a:gd name="connsiteX44315" fmla="*/ 5884130 w 10505529"/>
              <a:gd name="connsiteY44315" fmla="*/ 8656 h 7458372"/>
              <a:gd name="connsiteX44316" fmla="*/ 5905963 w 10505529"/>
              <a:gd name="connsiteY44316" fmla="*/ 2 h 7458372"/>
              <a:gd name="connsiteX44317" fmla="*/ 6123608 w 10505529"/>
              <a:gd name="connsiteY44317" fmla="*/ 2 h 7458372"/>
              <a:gd name="connsiteX44318" fmla="*/ 6135322 w 10505529"/>
              <a:gd name="connsiteY44318" fmla="*/ 2531 h 7458372"/>
              <a:gd name="connsiteX44319" fmla="*/ 6144640 w 10505529"/>
              <a:gd name="connsiteY44319" fmla="*/ 8921 h 7458372"/>
              <a:gd name="connsiteX44320" fmla="*/ 6150763 w 10505529"/>
              <a:gd name="connsiteY44320" fmla="*/ 18240 h 7458372"/>
              <a:gd name="connsiteX44321" fmla="*/ 6153026 w 10505529"/>
              <a:gd name="connsiteY44321" fmla="*/ 29688 h 7458372"/>
              <a:gd name="connsiteX44322" fmla="*/ 6150763 w 10505529"/>
              <a:gd name="connsiteY44322" fmla="*/ 41402 h 7458372"/>
              <a:gd name="connsiteX44323" fmla="*/ 6144640 w 10505529"/>
              <a:gd name="connsiteY44323" fmla="*/ 50853 h 7458372"/>
              <a:gd name="connsiteX44324" fmla="*/ 6135322 w 10505529"/>
              <a:gd name="connsiteY44324" fmla="*/ 57110 h 7458372"/>
              <a:gd name="connsiteX44325" fmla="*/ 6123608 w 10505529"/>
              <a:gd name="connsiteY44325" fmla="*/ 59373 h 7458372"/>
              <a:gd name="connsiteX44326" fmla="*/ 6101775 w 10505529"/>
              <a:gd name="connsiteY44326" fmla="*/ 50853 h 7458372"/>
              <a:gd name="connsiteX44327" fmla="*/ 6093389 w 10505529"/>
              <a:gd name="connsiteY44327" fmla="*/ 29688 h 7458372"/>
              <a:gd name="connsiteX44328" fmla="*/ 6101775 w 10505529"/>
              <a:gd name="connsiteY44328" fmla="*/ 8655 h 7458372"/>
              <a:gd name="connsiteX44329" fmla="*/ 6123608 w 10505529"/>
              <a:gd name="connsiteY44329" fmla="*/ 2 h 7458372"/>
              <a:gd name="connsiteX44330" fmla="*/ 6341253 w 10505529"/>
              <a:gd name="connsiteY44330" fmla="*/ 2 h 7458372"/>
              <a:gd name="connsiteX44331" fmla="*/ 6352968 w 10505529"/>
              <a:gd name="connsiteY44331" fmla="*/ 2531 h 7458372"/>
              <a:gd name="connsiteX44332" fmla="*/ 6362286 w 10505529"/>
              <a:gd name="connsiteY44332" fmla="*/ 8921 h 7458372"/>
              <a:gd name="connsiteX44333" fmla="*/ 6368409 w 10505529"/>
              <a:gd name="connsiteY44333" fmla="*/ 18240 h 7458372"/>
              <a:gd name="connsiteX44334" fmla="*/ 6370672 w 10505529"/>
              <a:gd name="connsiteY44334" fmla="*/ 29688 h 7458372"/>
              <a:gd name="connsiteX44335" fmla="*/ 6368409 w 10505529"/>
              <a:gd name="connsiteY44335" fmla="*/ 41402 h 7458372"/>
              <a:gd name="connsiteX44336" fmla="*/ 6362286 w 10505529"/>
              <a:gd name="connsiteY44336" fmla="*/ 50853 h 7458372"/>
              <a:gd name="connsiteX44337" fmla="*/ 6352968 w 10505529"/>
              <a:gd name="connsiteY44337" fmla="*/ 57110 h 7458372"/>
              <a:gd name="connsiteX44338" fmla="*/ 6341253 w 10505529"/>
              <a:gd name="connsiteY44338" fmla="*/ 59373 h 7458372"/>
              <a:gd name="connsiteX44339" fmla="*/ 6319421 w 10505529"/>
              <a:gd name="connsiteY44339" fmla="*/ 50853 h 7458372"/>
              <a:gd name="connsiteX44340" fmla="*/ 6311035 w 10505529"/>
              <a:gd name="connsiteY44340" fmla="*/ 29688 h 7458372"/>
              <a:gd name="connsiteX44341" fmla="*/ 6319421 w 10505529"/>
              <a:gd name="connsiteY44341" fmla="*/ 8655 h 7458372"/>
              <a:gd name="connsiteX44342" fmla="*/ 6341253 w 10505529"/>
              <a:gd name="connsiteY44342" fmla="*/ 2 h 7458372"/>
              <a:gd name="connsiteX44343" fmla="*/ 6558899 w 10505529"/>
              <a:gd name="connsiteY44343" fmla="*/ 2 h 7458372"/>
              <a:gd name="connsiteX44344" fmla="*/ 6570612 w 10505529"/>
              <a:gd name="connsiteY44344" fmla="*/ 2531 h 7458372"/>
              <a:gd name="connsiteX44345" fmla="*/ 6579930 w 10505529"/>
              <a:gd name="connsiteY44345" fmla="*/ 8921 h 7458372"/>
              <a:gd name="connsiteX44346" fmla="*/ 6586054 w 10505529"/>
              <a:gd name="connsiteY44346" fmla="*/ 18239 h 7458372"/>
              <a:gd name="connsiteX44347" fmla="*/ 6588317 w 10505529"/>
              <a:gd name="connsiteY44347" fmla="*/ 29688 h 7458372"/>
              <a:gd name="connsiteX44348" fmla="*/ 6586054 w 10505529"/>
              <a:gd name="connsiteY44348" fmla="*/ 41402 h 7458372"/>
              <a:gd name="connsiteX44349" fmla="*/ 6579930 w 10505529"/>
              <a:gd name="connsiteY44349" fmla="*/ 50853 h 7458372"/>
              <a:gd name="connsiteX44350" fmla="*/ 6570612 w 10505529"/>
              <a:gd name="connsiteY44350" fmla="*/ 57110 h 7458372"/>
              <a:gd name="connsiteX44351" fmla="*/ 6558899 w 10505529"/>
              <a:gd name="connsiteY44351" fmla="*/ 59373 h 7458372"/>
              <a:gd name="connsiteX44352" fmla="*/ 6537066 w 10505529"/>
              <a:gd name="connsiteY44352" fmla="*/ 50853 h 7458372"/>
              <a:gd name="connsiteX44353" fmla="*/ 6528680 w 10505529"/>
              <a:gd name="connsiteY44353" fmla="*/ 29688 h 7458372"/>
              <a:gd name="connsiteX44354" fmla="*/ 6537066 w 10505529"/>
              <a:gd name="connsiteY44354" fmla="*/ 8655 h 7458372"/>
              <a:gd name="connsiteX44355" fmla="*/ 6558899 w 10505529"/>
              <a:gd name="connsiteY44355" fmla="*/ 2 h 7458372"/>
              <a:gd name="connsiteX44356" fmla="*/ 6776544 w 10505529"/>
              <a:gd name="connsiteY44356" fmla="*/ 2 h 7458372"/>
              <a:gd name="connsiteX44357" fmla="*/ 6788258 w 10505529"/>
              <a:gd name="connsiteY44357" fmla="*/ 2531 h 7458372"/>
              <a:gd name="connsiteX44358" fmla="*/ 6797576 w 10505529"/>
              <a:gd name="connsiteY44358" fmla="*/ 8921 h 7458372"/>
              <a:gd name="connsiteX44359" fmla="*/ 6803699 w 10505529"/>
              <a:gd name="connsiteY44359" fmla="*/ 18239 h 7458372"/>
              <a:gd name="connsiteX44360" fmla="*/ 6805963 w 10505529"/>
              <a:gd name="connsiteY44360" fmla="*/ 29688 h 7458372"/>
              <a:gd name="connsiteX44361" fmla="*/ 6803699 w 10505529"/>
              <a:gd name="connsiteY44361" fmla="*/ 41402 h 7458372"/>
              <a:gd name="connsiteX44362" fmla="*/ 6797576 w 10505529"/>
              <a:gd name="connsiteY44362" fmla="*/ 50853 h 7458372"/>
              <a:gd name="connsiteX44363" fmla="*/ 6788258 w 10505529"/>
              <a:gd name="connsiteY44363" fmla="*/ 57110 h 7458372"/>
              <a:gd name="connsiteX44364" fmla="*/ 6776544 w 10505529"/>
              <a:gd name="connsiteY44364" fmla="*/ 59373 h 7458372"/>
              <a:gd name="connsiteX44365" fmla="*/ 6754711 w 10505529"/>
              <a:gd name="connsiteY44365" fmla="*/ 50853 h 7458372"/>
              <a:gd name="connsiteX44366" fmla="*/ 6746325 w 10505529"/>
              <a:gd name="connsiteY44366" fmla="*/ 29688 h 7458372"/>
              <a:gd name="connsiteX44367" fmla="*/ 6754711 w 10505529"/>
              <a:gd name="connsiteY44367" fmla="*/ 8655 h 7458372"/>
              <a:gd name="connsiteX44368" fmla="*/ 6776544 w 10505529"/>
              <a:gd name="connsiteY44368" fmla="*/ 2 h 7458372"/>
              <a:gd name="connsiteX44369" fmla="*/ 6994056 w 10505529"/>
              <a:gd name="connsiteY44369" fmla="*/ 2 h 7458372"/>
              <a:gd name="connsiteX44370" fmla="*/ 7005769 w 10505529"/>
              <a:gd name="connsiteY44370" fmla="*/ 2531 h 7458372"/>
              <a:gd name="connsiteX44371" fmla="*/ 7015087 w 10505529"/>
              <a:gd name="connsiteY44371" fmla="*/ 8921 h 7458372"/>
              <a:gd name="connsiteX44372" fmla="*/ 7021211 w 10505529"/>
              <a:gd name="connsiteY44372" fmla="*/ 18239 h 7458372"/>
              <a:gd name="connsiteX44373" fmla="*/ 7023474 w 10505529"/>
              <a:gd name="connsiteY44373" fmla="*/ 29687 h 7458372"/>
              <a:gd name="connsiteX44374" fmla="*/ 7021211 w 10505529"/>
              <a:gd name="connsiteY44374" fmla="*/ 41402 h 7458372"/>
              <a:gd name="connsiteX44375" fmla="*/ 7015087 w 10505529"/>
              <a:gd name="connsiteY44375" fmla="*/ 50853 h 7458372"/>
              <a:gd name="connsiteX44376" fmla="*/ 7005769 w 10505529"/>
              <a:gd name="connsiteY44376" fmla="*/ 57110 h 7458372"/>
              <a:gd name="connsiteX44377" fmla="*/ 6994056 w 10505529"/>
              <a:gd name="connsiteY44377" fmla="*/ 59373 h 7458372"/>
              <a:gd name="connsiteX44378" fmla="*/ 6972223 w 10505529"/>
              <a:gd name="connsiteY44378" fmla="*/ 50853 h 7458372"/>
              <a:gd name="connsiteX44379" fmla="*/ 6963837 w 10505529"/>
              <a:gd name="connsiteY44379" fmla="*/ 29687 h 7458372"/>
              <a:gd name="connsiteX44380" fmla="*/ 6972223 w 10505529"/>
              <a:gd name="connsiteY44380" fmla="*/ 8655 h 7458372"/>
              <a:gd name="connsiteX44381" fmla="*/ 6994056 w 10505529"/>
              <a:gd name="connsiteY44381" fmla="*/ 2 h 7458372"/>
              <a:gd name="connsiteX44382" fmla="*/ 7211701 w 10505529"/>
              <a:gd name="connsiteY44382" fmla="*/ 2 h 7458372"/>
              <a:gd name="connsiteX44383" fmla="*/ 7223415 w 10505529"/>
              <a:gd name="connsiteY44383" fmla="*/ 2531 h 7458372"/>
              <a:gd name="connsiteX44384" fmla="*/ 7232733 w 10505529"/>
              <a:gd name="connsiteY44384" fmla="*/ 8921 h 7458372"/>
              <a:gd name="connsiteX44385" fmla="*/ 7238856 w 10505529"/>
              <a:gd name="connsiteY44385" fmla="*/ 18239 h 7458372"/>
              <a:gd name="connsiteX44386" fmla="*/ 7241120 w 10505529"/>
              <a:gd name="connsiteY44386" fmla="*/ 29687 h 7458372"/>
              <a:gd name="connsiteX44387" fmla="*/ 7238856 w 10505529"/>
              <a:gd name="connsiteY44387" fmla="*/ 41402 h 7458372"/>
              <a:gd name="connsiteX44388" fmla="*/ 7232733 w 10505529"/>
              <a:gd name="connsiteY44388" fmla="*/ 50853 h 7458372"/>
              <a:gd name="connsiteX44389" fmla="*/ 7223415 w 10505529"/>
              <a:gd name="connsiteY44389" fmla="*/ 57110 h 7458372"/>
              <a:gd name="connsiteX44390" fmla="*/ 7211701 w 10505529"/>
              <a:gd name="connsiteY44390" fmla="*/ 59373 h 7458372"/>
              <a:gd name="connsiteX44391" fmla="*/ 7189868 w 10505529"/>
              <a:gd name="connsiteY44391" fmla="*/ 50853 h 7458372"/>
              <a:gd name="connsiteX44392" fmla="*/ 7181482 w 10505529"/>
              <a:gd name="connsiteY44392" fmla="*/ 29687 h 7458372"/>
              <a:gd name="connsiteX44393" fmla="*/ 7189868 w 10505529"/>
              <a:gd name="connsiteY44393" fmla="*/ 8655 h 7458372"/>
              <a:gd name="connsiteX44394" fmla="*/ 7211701 w 10505529"/>
              <a:gd name="connsiteY44394" fmla="*/ 2 h 7458372"/>
              <a:gd name="connsiteX44395" fmla="*/ 7429345 w 10505529"/>
              <a:gd name="connsiteY44395" fmla="*/ 2 h 7458372"/>
              <a:gd name="connsiteX44396" fmla="*/ 7441059 w 10505529"/>
              <a:gd name="connsiteY44396" fmla="*/ 2531 h 7458372"/>
              <a:gd name="connsiteX44397" fmla="*/ 7450377 w 10505529"/>
              <a:gd name="connsiteY44397" fmla="*/ 8921 h 7458372"/>
              <a:gd name="connsiteX44398" fmla="*/ 7456501 w 10505529"/>
              <a:gd name="connsiteY44398" fmla="*/ 18239 h 7458372"/>
              <a:gd name="connsiteX44399" fmla="*/ 7458764 w 10505529"/>
              <a:gd name="connsiteY44399" fmla="*/ 29687 h 7458372"/>
              <a:gd name="connsiteX44400" fmla="*/ 7456501 w 10505529"/>
              <a:gd name="connsiteY44400" fmla="*/ 41401 h 7458372"/>
              <a:gd name="connsiteX44401" fmla="*/ 7450377 w 10505529"/>
              <a:gd name="connsiteY44401" fmla="*/ 50853 h 7458372"/>
              <a:gd name="connsiteX44402" fmla="*/ 7441059 w 10505529"/>
              <a:gd name="connsiteY44402" fmla="*/ 57110 h 7458372"/>
              <a:gd name="connsiteX44403" fmla="*/ 7429345 w 10505529"/>
              <a:gd name="connsiteY44403" fmla="*/ 59373 h 7458372"/>
              <a:gd name="connsiteX44404" fmla="*/ 7407513 w 10505529"/>
              <a:gd name="connsiteY44404" fmla="*/ 50853 h 7458372"/>
              <a:gd name="connsiteX44405" fmla="*/ 7399127 w 10505529"/>
              <a:gd name="connsiteY44405" fmla="*/ 29687 h 7458372"/>
              <a:gd name="connsiteX44406" fmla="*/ 7407513 w 10505529"/>
              <a:gd name="connsiteY44406" fmla="*/ 8655 h 7458372"/>
              <a:gd name="connsiteX44407" fmla="*/ 7429345 w 10505529"/>
              <a:gd name="connsiteY44407" fmla="*/ 2 h 7458372"/>
              <a:gd name="connsiteX44408" fmla="*/ 7646991 w 10505529"/>
              <a:gd name="connsiteY44408" fmla="*/ 2 h 7458372"/>
              <a:gd name="connsiteX44409" fmla="*/ 7658705 w 10505529"/>
              <a:gd name="connsiteY44409" fmla="*/ 2531 h 7458372"/>
              <a:gd name="connsiteX44410" fmla="*/ 7668022 w 10505529"/>
              <a:gd name="connsiteY44410" fmla="*/ 8921 h 7458372"/>
              <a:gd name="connsiteX44411" fmla="*/ 7674146 w 10505529"/>
              <a:gd name="connsiteY44411" fmla="*/ 18239 h 7458372"/>
              <a:gd name="connsiteX44412" fmla="*/ 7676409 w 10505529"/>
              <a:gd name="connsiteY44412" fmla="*/ 29687 h 7458372"/>
              <a:gd name="connsiteX44413" fmla="*/ 7674146 w 10505529"/>
              <a:gd name="connsiteY44413" fmla="*/ 41401 h 7458372"/>
              <a:gd name="connsiteX44414" fmla="*/ 7668022 w 10505529"/>
              <a:gd name="connsiteY44414" fmla="*/ 50853 h 7458372"/>
              <a:gd name="connsiteX44415" fmla="*/ 7658705 w 10505529"/>
              <a:gd name="connsiteY44415" fmla="*/ 57110 h 7458372"/>
              <a:gd name="connsiteX44416" fmla="*/ 7646991 w 10505529"/>
              <a:gd name="connsiteY44416" fmla="*/ 59373 h 7458372"/>
              <a:gd name="connsiteX44417" fmla="*/ 7625158 w 10505529"/>
              <a:gd name="connsiteY44417" fmla="*/ 50853 h 7458372"/>
              <a:gd name="connsiteX44418" fmla="*/ 7616772 w 10505529"/>
              <a:gd name="connsiteY44418" fmla="*/ 29687 h 7458372"/>
              <a:gd name="connsiteX44419" fmla="*/ 7625158 w 10505529"/>
              <a:gd name="connsiteY44419" fmla="*/ 8655 h 7458372"/>
              <a:gd name="connsiteX44420" fmla="*/ 7646991 w 10505529"/>
              <a:gd name="connsiteY44420" fmla="*/ 2 h 7458372"/>
              <a:gd name="connsiteX44421" fmla="*/ 7864636 w 10505529"/>
              <a:gd name="connsiteY44421" fmla="*/ 1 h 7458372"/>
              <a:gd name="connsiteX44422" fmla="*/ 7876483 w 10505529"/>
              <a:gd name="connsiteY44422" fmla="*/ 2531 h 7458372"/>
              <a:gd name="connsiteX44423" fmla="*/ 7885802 w 10505529"/>
              <a:gd name="connsiteY44423" fmla="*/ 8921 h 7458372"/>
              <a:gd name="connsiteX44424" fmla="*/ 7891924 w 10505529"/>
              <a:gd name="connsiteY44424" fmla="*/ 18239 h 7458372"/>
              <a:gd name="connsiteX44425" fmla="*/ 7894188 w 10505529"/>
              <a:gd name="connsiteY44425" fmla="*/ 29687 h 7458372"/>
              <a:gd name="connsiteX44426" fmla="*/ 7891924 w 10505529"/>
              <a:gd name="connsiteY44426" fmla="*/ 41401 h 7458372"/>
              <a:gd name="connsiteX44427" fmla="*/ 7885802 w 10505529"/>
              <a:gd name="connsiteY44427" fmla="*/ 50852 h 7458372"/>
              <a:gd name="connsiteX44428" fmla="*/ 7876483 w 10505529"/>
              <a:gd name="connsiteY44428" fmla="*/ 57110 h 7458372"/>
              <a:gd name="connsiteX44429" fmla="*/ 7864636 w 10505529"/>
              <a:gd name="connsiteY44429" fmla="*/ 59373 h 7458372"/>
              <a:gd name="connsiteX44430" fmla="*/ 7842803 w 10505529"/>
              <a:gd name="connsiteY44430" fmla="*/ 50852 h 7458372"/>
              <a:gd name="connsiteX44431" fmla="*/ 7834417 w 10505529"/>
              <a:gd name="connsiteY44431" fmla="*/ 29687 h 7458372"/>
              <a:gd name="connsiteX44432" fmla="*/ 7842803 w 10505529"/>
              <a:gd name="connsiteY44432" fmla="*/ 8655 h 7458372"/>
              <a:gd name="connsiteX44433" fmla="*/ 7864636 w 10505529"/>
              <a:gd name="connsiteY44433" fmla="*/ 1 h 7458372"/>
              <a:gd name="connsiteX44434" fmla="*/ 8082281 w 10505529"/>
              <a:gd name="connsiteY44434" fmla="*/ 1 h 7458372"/>
              <a:gd name="connsiteX44435" fmla="*/ 8094127 w 10505529"/>
              <a:gd name="connsiteY44435" fmla="*/ 2530 h 7458372"/>
              <a:gd name="connsiteX44436" fmla="*/ 8103446 w 10505529"/>
              <a:gd name="connsiteY44436" fmla="*/ 8920 h 7458372"/>
              <a:gd name="connsiteX44437" fmla="*/ 8109569 w 10505529"/>
              <a:gd name="connsiteY44437" fmla="*/ 18239 h 7458372"/>
              <a:gd name="connsiteX44438" fmla="*/ 8111832 w 10505529"/>
              <a:gd name="connsiteY44438" fmla="*/ 29687 h 7458372"/>
              <a:gd name="connsiteX44439" fmla="*/ 8109569 w 10505529"/>
              <a:gd name="connsiteY44439" fmla="*/ 41401 h 7458372"/>
              <a:gd name="connsiteX44440" fmla="*/ 8103446 w 10505529"/>
              <a:gd name="connsiteY44440" fmla="*/ 50852 h 7458372"/>
              <a:gd name="connsiteX44441" fmla="*/ 8094127 w 10505529"/>
              <a:gd name="connsiteY44441" fmla="*/ 57109 h 7458372"/>
              <a:gd name="connsiteX44442" fmla="*/ 8082281 w 10505529"/>
              <a:gd name="connsiteY44442" fmla="*/ 59372 h 7458372"/>
              <a:gd name="connsiteX44443" fmla="*/ 8060448 w 10505529"/>
              <a:gd name="connsiteY44443" fmla="*/ 50852 h 7458372"/>
              <a:gd name="connsiteX44444" fmla="*/ 8052062 w 10505529"/>
              <a:gd name="connsiteY44444" fmla="*/ 29687 h 7458372"/>
              <a:gd name="connsiteX44445" fmla="*/ 8060448 w 10505529"/>
              <a:gd name="connsiteY44445" fmla="*/ 8654 h 7458372"/>
              <a:gd name="connsiteX44446" fmla="*/ 8082281 w 10505529"/>
              <a:gd name="connsiteY44446" fmla="*/ 1 h 7458372"/>
              <a:gd name="connsiteX44447" fmla="*/ 8299793 w 10505529"/>
              <a:gd name="connsiteY44447" fmla="*/ 1 h 7458372"/>
              <a:gd name="connsiteX44448" fmla="*/ 8311507 w 10505529"/>
              <a:gd name="connsiteY44448" fmla="*/ 2530 h 7458372"/>
              <a:gd name="connsiteX44449" fmla="*/ 8320825 w 10505529"/>
              <a:gd name="connsiteY44449" fmla="*/ 8920 h 7458372"/>
              <a:gd name="connsiteX44450" fmla="*/ 8326948 w 10505529"/>
              <a:gd name="connsiteY44450" fmla="*/ 18239 h 7458372"/>
              <a:gd name="connsiteX44451" fmla="*/ 8329212 w 10505529"/>
              <a:gd name="connsiteY44451" fmla="*/ 29687 h 7458372"/>
              <a:gd name="connsiteX44452" fmla="*/ 8326948 w 10505529"/>
              <a:gd name="connsiteY44452" fmla="*/ 41401 h 7458372"/>
              <a:gd name="connsiteX44453" fmla="*/ 8320825 w 10505529"/>
              <a:gd name="connsiteY44453" fmla="*/ 50852 h 7458372"/>
              <a:gd name="connsiteX44454" fmla="*/ 8311507 w 10505529"/>
              <a:gd name="connsiteY44454" fmla="*/ 57109 h 7458372"/>
              <a:gd name="connsiteX44455" fmla="*/ 8299793 w 10505529"/>
              <a:gd name="connsiteY44455" fmla="*/ 59372 h 7458372"/>
              <a:gd name="connsiteX44456" fmla="*/ 8277960 w 10505529"/>
              <a:gd name="connsiteY44456" fmla="*/ 50852 h 7458372"/>
              <a:gd name="connsiteX44457" fmla="*/ 8269574 w 10505529"/>
              <a:gd name="connsiteY44457" fmla="*/ 29687 h 7458372"/>
              <a:gd name="connsiteX44458" fmla="*/ 8277960 w 10505529"/>
              <a:gd name="connsiteY44458" fmla="*/ 8654 h 7458372"/>
              <a:gd name="connsiteX44459" fmla="*/ 8299793 w 10505529"/>
              <a:gd name="connsiteY44459" fmla="*/ 1 h 7458372"/>
              <a:gd name="connsiteX44460" fmla="*/ 8517438 w 10505529"/>
              <a:gd name="connsiteY44460" fmla="*/ 1 h 7458372"/>
              <a:gd name="connsiteX44461" fmla="*/ 8529152 w 10505529"/>
              <a:gd name="connsiteY44461" fmla="*/ 2530 h 7458372"/>
              <a:gd name="connsiteX44462" fmla="*/ 8538470 w 10505529"/>
              <a:gd name="connsiteY44462" fmla="*/ 8920 h 7458372"/>
              <a:gd name="connsiteX44463" fmla="*/ 8544594 w 10505529"/>
              <a:gd name="connsiteY44463" fmla="*/ 18238 h 7458372"/>
              <a:gd name="connsiteX44464" fmla="*/ 8546857 w 10505529"/>
              <a:gd name="connsiteY44464" fmla="*/ 29687 h 7458372"/>
              <a:gd name="connsiteX44465" fmla="*/ 8544594 w 10505529"/>
              <a:gd name="connsiteY44465" fmla="*/ 41401 h 7458372"/>
              <a:gd name="connsiteX44466" fmla="*/ 8538470 w 10505529"/>
              <a:gd name="connsiteY44466" fmla="*/ 50852 h 7458372"/>
              <a:gd name="connsiteX44467" fmla="*/ 8529152 w 10505529"/>
              <a:gd name="connsiteY44467" fmla="*/ 57109 h 7458372"/>
              <a:gd name="connsiteX44468" fmla="*/ 8517438 w 10505529"/>
              <a:gd name="connsiteY44468" fmla="*/ 59372 h 7458372"/>
              <a:gd name="connsiteX44469" fmla="*/ 8495606 w 10505529"/>
              <a:gd name="connsiteY44469" fmla="*/ 50852 h 7458372"/>
              <a:gd name="connsiteX44470" fmla="*/ 8487220 w 10505529"/>
              <a:gd name="connsiteY44470" fmla="*/ 29687 h 7458372"/>
              <a:gd name="connsiteX44471" fmla="*/ 8495606 w 10505529"/>
              <a:gd name="connsiteY44471" fmla="*/ 8654 h 7458372"/>
              <a:gd name="connsiteX44472" fmla="*/ 8517438 w 10505529"/>
              <a:gd name="connsiteY44472" fmla="*/ 1 h 7458372"/>
              <a:gd name="connsiteX44473" fmla="*/ 8735083 w 10505529"/>
              <a:gd name="connsiteY44473" fmla="*/ 1 h 7458372"/>
              <a:gd name="connsiteX44474" fmla="*/ 8746797 w 10505529"/>
              <a:gd name="connsiteY44474" fmla="*/ 2530 h 7458372"/>
              <a:gd name="connsiteX44475" fmla="*/ 8756115 w 10505529"/>
              <a:gd name="connsiteY44475" fmla="*/ 8920 h 7458372"/>
              <a:gd name="connsiteX44476" fmla="*/ 8762238 w 10505529"/>
              <a:gd name="connsiteY44476" fmla="*/ 18238 h 7458372"/>
              <a:gd name="connsiteX44477" fmla="*/ 8764502 w 10505529"/>
              <a:gd name="connsiteY44477" fmla="*/ 29687 h 7458372"/>
              <a:gd name="connsiteX44478" fmla="*/ 8762238 w 10505529"/>
              <a:gd name="connsiteY44478" fmla="*/ 41401 h 7458372"/>
              <a:gd name="connsiteX44479" fmla="*/ 8756115 w 10505529"/>
              <a:gd name="connsiteY44479" fmla="*/ 50852 h 7458372"/>
              <a:gd name="connsiteX44480" fmla="*/ 8746797 w 10505529"/>
              <a:gd name="connsiteY44480" fmla="*/ 57109 h 7458372"/>
              <a:gd name="connsiteX44481" fmla="*/ 8735083 w 10505529"/>
              <a:gd name="connsiteY44481" fmla="*/ 59372 h 7458372"/>
              <a:gd name="connsiteX44482" fmla="*/ 8713250 w 10505529"/>
              <a:gd name="connsiteY44482" fmla="*/ 50852 h 7458372"/>
              <a:gd name="connsiteX44483" fmla="*/ 8704864 w 10505529"/>
              <a:gd name="connsiteY44483" fmla="*/ 29687 h 7458372"/>
              <a:gd name="connsiteX44484" fmla="*/ 8713250 w 10505529"/>
              <a:gd name="connsiteY44484" fmla="*/ 8654 h 7458372"/>
              <a:gd name="connsiteX44485" fmla="*/ 8735083 w 10505529"/>
              <a:gd name="connsiteY44485" fmla="*/ 1 h 7458372"/>
              <a:gd name="connsiteX44486" fmla="*/ 8952728 w 10505529"/>
              <a:gd name="connsiteY44486" fmla="*/ 1 h 7458372"/>
              <a:gd name="connsiteX44487" fmla="*/ 8964442 w 10505529"/>
              <a:gd name="connsiteY44487" fmla="*/ 2530 h 7458372"/>
              <a:gd name="connsiteX44488" fmla="*/ 8973760 w 10505529"/>
              <a:gd name="connsiteY44488" fmla="*/ 8920 h 7458372"/>
              <a:gd name="connsiteX44489" fmla="*/ 8979884 w 10505529"/>
              <a:gd name="connsiteY44489" fmla="*/ 18238 h 7458372"/>
              <a:gd name="connsiteX44490" fmla="*/ 8982147 w 10505529"/>
              <a:gd name="connsiteY44490" fmla="*/ 29686 h 7458372"/>
              <a:gd name="connsiteX44491" fmla="*/ 8979884 w 10505529"/>
              <a:gd name="connsiteY44491" fmla="*/ 41401 h 7458372"/>
              <a:gd name="connsiteX44492" fmla="*/ 8973760 w 10505529"/>
              <a:gd name="connsiteY44492" fmla="*/ 50852 h 7458372"/>
              <a:gd name="connsiteX44493" fmla="*/ 8964442 w 10505529"/>
              <a:gd name="connsiteY44493" fmla="*/ 57109 h 7458372"/>
              <a:gd name="connsiteX44494" fmla="*/ 8952728 w 10505529"/>
              <a:gd name="connsiteY44494" fmla="*/ 59372 h 7458372"/>
              <a:gd name="connsiteX44495" fmla="*/ 8930896 w 10505529"/>
              <a:gd name="connsiteY44495" fmla="*/ 50852 h 7458372"/>
              <a:gd name="connsiteX44496" fmla="*/ 8922510 w 10505529"/>
              <a:gd name="connsiteY44496" fmla="*/ 29686 h 7458372"/>
              <a:gd name="connsiteX44497" fmla="*/ 8930896 w 10505529"/>
              <a:gd name="connsiteY44497" fmla="*/ 8654 h 7458372"/>
              <a:gd name="connsiteX44498" fmla="*/ 8952728 w 10505529"/>
              <a:gd name="connsiteY44498" fmla="*/ 1 h 7458372"/>
              <a:gd name="connsiteX44499" fmla="*/ 9170374 w 10505529"/>
              <a:gd name="connsiteY44499" fmla="*/ 1 h 7458372"/>
              <a:gd name="connsiteX44500" fmla="*/ 9182088 w 10505529"/>
              <a:gd name="connsiteY44500" fmla="*/ 2530 h 7458372"/>
              <a:gd name="connsiteX44501" fmla="*/ 9191405 w 10505529"/>
              <a:gd name="connsiteY44501" fmla="*/ 8920 h 7458372"/>
              <a:gd name="connsiteX44502" fmla="*/ 9197529 w 10505529"/>
              <a:gd name="connsiteY44502" fmla="*/ 18238 h 7458372"/>
              <a:gd name="connsiteX44503" fmla="*/ 9199792 w 10505529"/>
              <a:gd name="connsiteY44503" fmla="*/ 29686 h 7458372"/>
              <a:gd name="connsiteX44504" fmla="*/ 9197529 w 10505529"/>
              <a:gd name="connsiteY44504" fmla="*/ 41401 h 7458372"/>
              <a:gd name="connsiteX44505" fmla="*/ 9191405 w 10505529"/>
              <a:gd name="connsiteY44505" fmla="*/ 50852 h 7458372"/>
              <a:gd name="connsiteX44506" fmla="*/ 9182088 w 10505529"/>
              <a:gd name="connsiteY44506" fmla="*/ 57109 h 7458372"/>
              <a:gd name="connsiteX44507" fmla="*/ 9170374 w 10505529"/>
              <a:gd name="connsiteY44507" fmla="*/ 59372 h 7458372"/>
              <a:gd name="connsiteX44508" fmla="*/ 9148541 w 10505529"/>
              <a:gd name="connsiteY44508" fmla="*/ 50852 h 7458372"/>
              <a:gd name="connsiteX44509" fmla="*/ 9140155 w 10505529"/>
              <a:gd name="connsiteY44509" fmla="*/ 29686 h 7458372"/>
              <a:gd name="connsiteX44510" fmla="*/ 9148541 w 10505529"/>
              <a:gd name="connsiteY44510" fmla="*/ 8654 h 7458372"/>
              <a:gd name="connsiteX44511" fmla="*/ 9170374 w 10505529"/>
              <a:gd name="connsiteY44511" fmla="*/ 1 h 7458372"/>
              <a:gd name="connsiteX44512" fmla="*/ 9387885 w 10505529"/>
              <a:gd name="connsiteY44512" fmla="*/ 1 h 7458372"/>
              <a:gd name="connsiteX44513" fmla="*/ 9399599 w 10505529"/>
              <a:gd name="connsiteY44513" fmla="*/ 2530 h 7458372"/>
              <a:gd name="connsiteX44514" fmla="*/ 9408917 w 10505529"/>
              <a:gd name="connsiteY44514" fmla="*/ 8920 h 7458372"/>
              <a:gd name="connsiteX44515" fmla="*/ 9415041 w 10505529"/>
              <a:gd name="connsiteY44515" fmla="*/ 18238 h 7458372"/>
              <a:gd name="connsiteX44516" fmla="*/ 9417304 w 10505529"/>
              <a:gd name="connsiteY44516" fmla="*/ 29686 h 7458372"/>
              <a:gd name="connsiteX44517" fmla="*/ 9415041 w 10505529"/>
              <a:gd name="connsiteY44517" fmla="*/ 41400 h 7458372"/>
              <a:gd name="connsiteX44518" fmla="*/ 9408917 w 10505529"/>
              <a:gd name="connsiteY44518" fmla="*/ 50852 h 7458372"/>
              <a:gd name="connsiteX44519" fmla="*/ 9399599 w 10505529"/>
              <a:gd name="connsiteY44519" fmla="*/ 57109 h 7458372"/>
              <a:gd name="connsiteX44520" fmla="*/ 9387885 w 10505529"/>
              <a:gd name="connsiteY44520" fmla="*/ 59372 h 7458372"/>
              <a:gd name="connsiteX44521" fmla="*/ 9366053 w 10505529"/>
              <a:gd name="connsiteY44521" fmla="*/ 50852 h 7458372"/>
              <a:gd name="connsiteX44522" fmla="*/ 9357667 w 10505529"/>
              <a:gd name="connsiteY44522" fmla="*/ 29686 h 7458372"/>
              <a:gd name="connsiteX44523" fmla="*/ 9366053 w 10505529"/>
              <a:gd name="connsiteY44523" fmla="*/ 8654 h 7458372"/>
              <a:gd name="connsiteX44524" fmla="*/ 9387885 w 10505529"/>
              <a:gd name="connsiteY44524" fmla="*/ 1 h 7458372"/>
              <a:gd name="connsiteX44525" fmla="*/ 9605531 w 10505529"/>
              <a:gd name="connsiteY44525" fmla="*/ 1 h 7458372"/>
              <a:gd name="connsiteX44526" fmla="*/ 9617245 w 10505529"/>
              <a:gd name="connsiteY44526" fmla="*/ 2530 h 7458372"/>
              <a:gd name="connsiteX44527" fmla="*/ 9626562 w 10505529"/>
              <a:gd name="connsiteY44527" fmla="*/ 8920 h 7458372"/>
              <a:gd name="connsiteX44528" fmla="*/ 9632686 w 10505529"/>
              <a:gd name="connsiteY44528" fmla="*/ 18238 h 7458372"/>
              <a:gd name="connsiteX44529" fmla="*/ 9634949 w 10505529"/>
              <a:gd name="connsiteY44529" fmla="*/ 29686 h 7458372"/>
              <a:gd name="connsiteX44530" fmla="*/ 9632686 w 10505529"/>
              <a:gd name="connsiteY44530" fmla="*/ 41400 h 7458372"/>
              <a:gd name="connsiteX44531" fmla="*/ 9626562 w 10505529"/>
              <a:gd name="connsiteY44531" fmla="*/ 50852 h 7458372"/>
              <a:gd name="connsiteX44532" fmla="*/ 9617245 w 10505529"/>
              <a:gd name="connsiteY44532" fmla="*/ 57109 h 7458372"/>
              <a:gd name="connsiteX44533" fmla="*/ 9605531 w 10505529"/>
              <a:gd name="connsiteY44533" fmla="*/ 59372 h 7458372"/>
              <a:gd name="connsiteX44534" fmla="*/ 9583698 w 10505529"/>
              <a:gd name="connsiteY44534" fmla="*/ 50852 h 7458372"/>
              <a:gd name="connsiteX44535" fmla="*/ 9575312 w 10505529"/>
              <a:gd name="connsiteY44535" fmla="*/ 29686 h 7458372"/>
              <a:gd name="connsiteX44536" fmla="*/ 9583698 w 10505529"/>
              <a:gd name="connsiteY44536" fmla="*/ 8654 h 7458372"/>
              <a:gd name="connsiteX44537" fmla="*/ 9605531 w 10505529"/>
              <a:gd name="connsiteY44537" fmla="*/ 1 h 7458372"/>
              <a:gd name="connsiteX44538" fmla="*/ 9823176 w 10505529"/>
              <a:gd name="connsiteY44538" fmla="*/ 0 h 7458372"/>
              <a:gd name="connsiteX44539" fmla="*/ 9834890 w 10505529"/>
              <a:gd name="connsiteY44539" fmla="*/ 2530 h 7458372"/>
              <a:gd name="connsiteX44540" fmla="*/ 9844208 w 10505529"/>
              <a:gd name="connsiteY44540" fmla="*/ 8920 h 7458372"/>
              <a:gd name="connsiteX44541" fmla="*/ 9850331 w 10505529"/>
              <a:gd name="connsiteY44541" fmla="*/ 18238 h 7458372"/>
              <a:gd name="connsiteX44542" fmla="*/ 9852595 w 10505529"/>
              <a:gd name="connsiteY44542" fmla="*/ 29686 h 7458372"/>
              <a:gd name="connsiteX44543" fmla="*/ 9850331 w 10505529"/>
              <a:gd name="connsiteY44543" fmla="*/ 41400 h 7458372"/>
              <a:gd name="connsiteX44544" fmla="*/ 9844208 w 10505529"/>
              <a:gd name="connsiteY44544" fmla="*/ 50851 h 7458372"/>
              <a:gd name="connsiteX44545" fmla="*/ 9834890 w 10505529"/>
              <a:gd name="connsiteY44545" fmla="*/ 57109 h 7458372"/>
              <a:gd name="connsiteX44546" fmla="*/ 9823176 w 10505529"/>
              <a:gd name="connsiteY44546" fmla="*/ 59372 h 7458372"/>
              <a:gd name="connsiteX44547" fmla="*/ 9801343 w 10505529"/>
              <a:gd name="connsiteY44547" fmla="*/ 50851 h 7458372"/>
              <a:gd name="connsiteX44548" fmla="*/ 9792957 w 10505529"/>
              <a:gd name="connsiteY44548" fmla="*/ 29686 h 7458372"/>
              <a:gd name="connsiteX44549" fmla="*/ 9801343 w 10505529"/>
              <a:gd name="connsiteY44549" fmla="*/ 8654 h 7458372"/>
              <a:gd name="connsiteX44550" fmla="*/ 9823176 w 10505529"/>
              <a:gd name="connsiteY44550" fmla="*/ 0 h 7458372"/>
              <a:gd name="connsiteX44551" fmla="*/ 10040820 w 10505529"/>
              <a:gd name="connsiteY44551" fmla="*/ 0 h 7458372"/>
              <a:gd name="connsiteX44552" fmla="*/ 10052534 w 10505529"/>
              <a:gd name="connsiteY44552" fmla="*/ 2529 h 7458372"/>
              <a:gd name="connsiteX44553" fmla="*/ 10061852 w 10505529"/>
              <a:gd name="connsiteY44553" fmla="*/ 8919 h 7458372"/>
              <a:gd name="connsiteX44554" fmla="*/ 10067976 w 10505529"/>
              <a:gd name="connsiteY44554" fmla="*/ 18238 h 7458372"/>
              <a:gd name="connsiteX44555" fmla="*/ 10070239 w 10505529"/>
              <a:gd name="connsiteY44555" fmla="*/ 29686 h 7458372"/>
              <a:gd name="connsiteX44556" fmla="*/ 10067976 w 10505529"/>
              <a:gd name="connsiteY44556" fmla="*/ 41400 h 7458372"/>
              <a:gd name="connsiteX44557" fmla="*/ 10061852 w 10505529"/>
              <a:gd name="connsiteY44557" fmla="*/ 50851 h 7458372"/>
              <a:gd name="connsiteX44558" fmla="*/ 10052534 w 10505529"/>
              <a:gd name="connsiteY44558" fmla="*/ 57108 h 7458372"/>
              <a:gd name="connsiteX44559" fmla="*/ 10040820 w 10505529"/>
              <a:gd name="connsiteY44559" fmla="*/ 59371 h 7458372"/>
              <a:gd name="connsiteX44560" fmla="*/ 10018988 w 10505529"/>
              <a:gd name="connsiteY44560" fmla="*/ 50851 h 7458372"/>
              <a:gd name="connsiteX44561" fmla="*/ 10010602 w 10505529"/>
              <a:gd name="connsiteY44561" fmla="*/ 29686 h 7458372"/>
              <a:gd name="connsiteX44562" fmla="*/ 10018988 w 10505529"/>
              <a:gd name="connsiteY44562" fmla="*/ 8653 h 7458372"/>
              <a:gd name="connsiteX44563" fmla="*/ 10040820 w 10505529"/>
              <a:gd name="connsiteY44563" fmla="*/ 0 h 7458372"/>
              <a:gd name="connsiteX44564" fmla="*/ 10258466 w 10505529"/>
              <a:gd name="connsiteY44564" fmla="*/ 0 h 7458372"/>
              <a:gd name="connsiteX44565" fmla="*/ 10270313 w 10505529"/>
              <a:gd name="connsiteY44565" fmla="*/ 2529 h 7458372"/>
              <a:gd name="connsiteX44566" fmla="*/ 10279631 w 10505529"/>
              <a:gd name="connsiteY44566" fmla="*/ 8919 h 7458372"/>
              <a:gd name="connsiteX44567" fmla="*/ 10285754 w 10505529"/>
              <a:gd name="connsiteY44567" fmla="*/ 18238 h 7458372"/>
              <a:gd name="connsiteX44568" fmla="*/ 10288017 w 10505529"/>
              <a:gd name="connsiteY44568" fmla="*/ 29686 h 7458372"/>
              <a:gd name="connsiteX44569" fmla="*/ 10285754 w 10505529"/>
              <a:gd name="connsiteY44569" fmla="*/ 41400 h 7458372"/>
              <a:gd name="connsiteX44570" fmla="*/ 10279631 w 10505529"/>
              <a:gd name="connsiteY44570" fmla="*/ 50851 h 7458372"/>
              <a:gd name="connsiteX44571" fmla="*/ 10270313 w 10505529"/>
              <a:gd name="connsiteY44571" fmla="*/ 57108 h 7458372"/>
              <a:gd name="connsiteX44572" fmla="*/ 10258466 w 10505529"/>
              <a:gd name="connsiteY44572" fmla="*/ 59371 h 7458372"/>
              <a:gd name="connsiteX44573" fmla="*/ 10236633 w 10505529"/>
              <a:gd name="connsiteY44573" fmla="*/ 50851 h 7458372"/>
              <a:gd name="connsiteX44574" fmla="*/ 10228247 w 10505529"/>
              <a:gd name="connsiteY44574" fmla="*/ 29686 h 7458372"/>
              <a:gd name="connsiteX44575" fmla="*/ 10236633 w 10505529"/>
              <a:gd name="connsiteY44575" fmla="*/ 8653 h 7458372"/>
              <a:gd name="connsiteX44576" fmla="*/ 10258466 w 10505529"/>
              <a:gd name="connsiteY44576" fmla="*/ 0 h 7458372"/>
              <a:gd name="connsiteX44577" fmla="*/ 10475977 w 10505529"/>
              <a:gd name="connsiteY44577" fmla="*/ 0 h 7458372"/>
              <a:gd name="connsiteX44578" fmla="*/ 10487824 w 10505529"/>
              <a:gd name="connsiteY44578" fmla="*/ 2529 h 7458372"/>
              <a:gd name="connsiteX44579" fmla="*/ 10497143 w 10505529"/>
              <a:gd name="connsiteY44579" fmla="*/ 8919 h 7458372"/>
              <a:gd name="connsiteX44580" fmla="*/ 10503266 w 10505529"/>
              <a:gd name="connsiteY44580" fmla="*/ 18237 h 7458372"/>
              <a:gd name="connsiteX44581" fmla="*/ 10505529 w 10505529"/>
              <a:gd name="connsiteY44581" fmla="*/ 29686 h 7458372"/>
              <a:gd name="connsiteX44582" fmla="*/ 10503266 w 10505529"/>
              <a:gd name="connsiteY44582" fmla="*/ 41400 h 7458372"/>
              <a:gd name="connsiteX44583" fmla="*/ 10497143 w 10505529"/>
              <a:gd name="connsiteY44583" fmla="*/ 50851 h 7458372"/>
              <a:gd name="connsiteX44584" fmla="*/ 10487824 w 10505529"/>
              <a:gd name="connsiteY44584" fmla="*/ 57108 h 7458372"/>
              <a:gd name="connsiteX44585" fmla="*/ 10475977 w 10505529"/>
              <a:gd name="connsiteY44585" fmla="*/ 59371 h 7458372"/>
              <a:gd name="connsiteX44586" fmla="*/ 10454145 w 10505529"/>
              <a:gd name="connsiteY44586" fmla="*/ 50851 h 7458372"/>
              <a:gd name="connsiteX44587" fmla="*/ 10445759 w 10505529"/>
              <a:gd name="connsiteY44587" fmla="*/ 29686 h 7458372"/>
              <a:gd name="connsiteX44588" fmla="*/ 10454145 w 10505529"/>
              <a:gd name="connsiteY44588" fmla="*/ 8653 h 7458372"/>
              <a:gd name="connsiteX44589" fmla="*/ 10475977 w 10505529"/>
              <a:gd name="connsiteY44589" fmla="*/ 0 h 7458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  <a:cxn ang="0">
                <a:pos x="connsiteX24551" y="connsiteY24551"/>
              </a:cxn>
              <a:cxn ang="0">
                <a:pos x="connsiteX24552" y="connsiteY24552"/>
              </a:cxn>
              <a:cxn ang="0">
                <a:pos x="connsiteX24553" y="connsiteY24553"/>
              </a:cxn>
              <a:cxn ang="0">
                <a:pos x="connsiteX24554" y="connsiteY24554"/>
              </a:cxn>
              <a:cxn ang="0">
                <a:pos x="connsiteX24555" y="connsiteY24555"/>
              </a:cxn>
              <a:cxn ang="0">
                <a:pos x="connsiteX24556" y="connsiteY24556"/>
              </a:cxn>
              <a:cxn ang="0">
                <a:pos x="connsiteX24557" y="connsiteY24557"/>
              </a:cxn>
              <a:cxn ang="0">
                <a:pos x="connsiteX24558" y="connsiteY24558"/>
              </a:cxn>
              <a:cxn ang="0">
                <a:pos x="connsiteX24559" y="connsiteY24559"/>
              </a:cxn>
              <a:cxn ang="0">
                <a:pos x="connsiteX24560" y="connsiteY24560"/>
              </a:cxn>
              <a:cxn ang="0">
                <a:pos x="connsiteX24561" y="connsiteY24561"/>
              </a:cxn>
              <a:cxn ang="0">
                <a:pos x="connsiteX24562" y="connsiteY24562"/>
              </a:cxn>
              <a:cxn ang="0">
                <a:pos x="connsiteX24563" y="connsiteY24563"/>
              </a:cxn>
              <a:cxn ang="0">
                <a:pos x="connsiteX24564" y="connsiteY24564"/>
              </a:cxn>
              <a:cxn ang="0">
                <a:pos x="connsiteX24565" y="connsiteY24565"/>
              </a:cxn>
              <a:cxn ang="0">
                <a:pos x="connsiteX24566" y="connsiteY24566"/>
              </a:cxn>
              <a:cxn ang="0">
                <a:pos x="connsiteX24567" y="connsiteY24567"/>
              </a:cxn>
              <a:cxn ang="0">
                <a:pos x="connsiteX24568" y="connsiteY24568"/>
              </a:cxn>
              <a:cxn ang="0">
                <a:pos x="connsiteX24569" y="connsiteY24569"/>
              </a:cxn>
              <a:cxn ang="0">
                <a:pos x="connsiteX24570" y="connsiteY24570"/>
              </a:cxn>
              <a:cxn ang="0">
                <a:pos x="connsiteX24571" y="connsiteY24571"/>
              </a:cxn>
              <a:cxn ang="0">
                <a:pos x="connsiteX24572" y="connsiteY24572"/>
              </a:cxn>
              <a:cxn ang="0">
                <a:pos x="connsiteX24573" y="connsiteY24573"/>
              </a:cxn>
              <a:cxn ang="0">
                <a:pos x="connsiteX24574" y="connsiteY24574"/>
              </a:cxn>
              <a:cxn ang="0">
                <a:pos x="connsiteX24575" y="connsiteY24575"/>
              </a:cxn>
              <a:cxn ang="0">
                <a:pos x="connsiteX24576" y="connsiteY24576"/>
              </a:cxn>
              <a:cxn ang="0">
                <a:pos x="connsiteX24577" y="connsiteY24577"/>
              </a:cxn>
              <a:cxn ang="0">
                <a:pos x="connsiteX24578" y="connsiteY24578"/>
              </a:cxn>
              <a:cxn ang="0">
                <a:pos x="connsiteX24579" y="connsiteY24579"/>
              </a:cxn>
              <a:cxn ang="0">
                <a:pos x="connsiteX24580" y="connsiteY24580"/>
              </a:cxn>
              <a:cxn ang="0">
                <a:pos x="connsiteX24581" y="connsiteY24581"/>
              </a:cxn>
              <a:cxn ang="0">
                <a:pos x="connsiteX24582" y="connsiteY24582"/>
              </a:cxn>
              <a:cxn ang="0">
                <a:pos x="connsiteX24583" y="connsiteY24583"/>
              </a:cxn>
              <a:cxn ang="0">
                <a:pos x="connsiteX24584" y="connsiteY24584"/>
              </a:cxn>
              <a:cxn ang="0">
                <a:pos x="connsiteX24585" y="connsiteY24585"/>
              </a:cxn>
              <a:cxn ang="0">
                <a:pos x="connsiteX24586" y="connsiteY24586"/>
              </a:cxn>
              <a:cxn ang="0">
                <a:pos x="connsiteX24587" y="connsiteY24587"/>
              </a:cxn>
              <a:cxn ang="0">
                <a:pos x="connsiteX24588" y="connsiteY24588"/>
              </a:cxn>
              <a:cxn ang="0">
                <a:pos x="connsiteX24589" y="connsiteY24589"/>
              </a:cxn>
              <a:cxn ang="0">
                <a:pos x="connsiteX24590" y="connsiteY24590"/>
              </a:cxn>
              <a:cxn ang="0">
                <a:pos x="connsiteX24591" y="connsiteY24591"/>
              </a:cxn>
              <a:cxn ang="0">
                <a:pos x="connsiteX24592" y="connsiteY24592"/>
              </a:cxn>
              <a:cxn ang="0">
                <a:pos x="connsiteX24593" y="connsiteY24593"/>
              </a:cxn>
              <a:cxn ang="0">
                <a:pos x="connsiteX24594" y="connsiteY24594"/>
              </a:cxn>
              <a:cxn ang="0">
                <a:pos x="connsiteX24595" y="connsiteY24595"/>
              </a:cxn>
              <a:cxn ang="0">
                <a:pos x="connsiteX24596" y="connsiteY24596"/>
              </a:cxn>
              <a:cxn ang="0">
                <a:pos x="connsiteX24597" y="connsiteY24597"/>
              </a:cxn>
              <a:cxn ang="0">
                <a:pos x="connsiteX24598" y="connsiteY24598"/>
              </a:cxn>
              <a:cxn ang="0">
                <a:pos x="connsiteX24599" y="connsiteY24599"/>
              </a:cxn>
              <a:cxn ang="0">
                <a:pos x="connsiteX24600" y="connsiteY24600"/>
              </a:cxn>
              <a:cxn ang="0">
                <a:pos x="connsiteX24601" y="connsiteY24601"/>
              </a:cxn>
              <a:cxn ang="0">
                <a:pos x="connsiteX24602" y="connsiteY24602"/>
              </a:cxn>
              <a:cxn ang="0">
                <a:pos x="connsiteX24603" y="connsiteY24603"/>
              </a:cxn>
              <a:cxn ang="0">
                <a:pos x="connsiteX24604" y="connsiteY24604"/>
              </a:cxn>
              <a:cxn ang="0">
                <a:pos x="connsiteX24605" y="connsiteY24605"/>
              </a:cxn>
              <a:cxn ang="0">
                <a:pos x="connsiteX24606" y="connsiteY24606"/>
              </a:cxn>
              <a:cxn ang="0">
                <a:pos x="connsiteX24607" y="connsiteY24607"/>
              </a:cxn>
              <a:cxn ang="0">
                <a:pos x="connsiteX24608" y="connsiteY24608"/>
              </a:cxn>
              <a:cxn ang="0">
                <a:pos x="connsiteX24609" y="connsiteY24609"/>
              </a:cxn>
              <a:cxn ang="0">
                <a:pos x="connsiteX24610" y="connsiteY24610"/>
              </a:cxn>
              <a:cxn ang="0">
                <a:pos x="connsiteX24611" y="connsiteY24611"/>
              </a:cxn>
              <a:cxn ang="0">
                <a:pos x="connsiteX24612" y="connsiteY24612"/>
              </a:cxn>
              <a:cxn ang="0">
                <a:pos x="connsiteX24613" y="connsiteY24613"/>
              </a:cxn>
              <a:cxn ang="0">
                <a:pos x="connsiteX24614" y="connsiteY24614"/>
              </a:cxn>
              <a:cxn ang="0">
                <a:pos x="connsiteX24615" y="connsiteY24615"/>
              </a:cxn>
              <a:cxn ang="0">
                <a:pos x="connsiteX24616" y="connsiteY24616"/>
              </a:cxn>
              <a:cxn ang="0">
                <a:pos x="connsiteX24617" y="connsiteY24617"/>
              </a:cxn>
              <a:cxn ang="0">
                <a:pos x="connsiteX24618" y="connsiteY24618"/>
              </a:cxn>
              <a:cxn ang="0">
                <a:pos x="connsiteX24619" y="connsiteY24619"/>
              </a:cxn>
              <a:cxn ang="0">
                <a:pos x="connsiteX24620" y="connsiteY24620"/>
              </a:cxn>
              <a:cxn ang="0">
                <a:pos x="connsiteX24621" y="connsiteY24621"/>
              </a:cxn>
              <a:cxn ang="0">
                <a:pos x="connsiteX24622" y="connsiteY24622"/>
              </a:cxn>
              <a:cxn ang="0">
                <a:pos x="connsiteX24623" y="connsiteY24623"/>
              </a:cxn>
              <a:cxn ang="0">
                <a:pos x="connsiteX24624" y="connsiteY24624"/>
              </a:cxn>
              <a:cxn ang="0">
                <a:pos x="connsiteX24625" y="connsiteY24625"/>
              </a:cxn>
              <a:cxn ang="0">
                <a:pos x="connsiteX24626" y="connsiteY24626"/>
              </a:cxn>
              <a:cxn ang="0">
                <a:pos x="connsiteX24627" y="connsiteY24627"/>
              </a:cxn>
              <a:cxn ang="0">
                <a:pos x="connsiteX24628" y="connsiteY24628"/>
              </a:cxn>
              <a:cxn ang="0">
                <a:pos x="connsiteX24629" y="connsiteY24629"/>
              </a:cxn>
              <a:cxn ang="0">
                <a:pos x="connsiteX24630" y="connsiteY24630"/>
              </a:cxn>
              <a:cxn ang="0">
                <a:pos x="connsiteX24631" y="connsiteY24631"/>
              </a:cxn>
              <a:cxn ang="0">
                <a:pos x="connsiteX24632" y="connsiteY24632"/>
              </a:cxn>
              <a:cxn ang="0">
                <a:pos x="connsiteX24633" y="connsiteY24633"/>
              </a:cxn>
              <a:cxn ang="0">
                <a:pos x="connsiteX24634" y="connsiteY24634"/>
              </a:cxn>
              <a:cxn ang="0">
                <a:pos x="connsiteX24635" y="connsiteY24635"/>
              </a:cxn>
              <a:cxn ang="0">
                <a:pos x="connsiteX24636" y="connsiteY24636"/>
              </a:cxn>
              <a:cxn ang="0">
                <a:pos x="connsiteX24637" y="connsiteY24637"/>
              </a:cxn>
              <a:cxn ang="0">
                <a:pos x="connsiteX24638" y="connsiteY24638"/>
              </a:cxn>
              <a:cxn ang="0">
                <a:pos x="connsiteX24639" y="connsiteY24639"/>
              </a:cxn>
              <a:cxn ang="0">
                <a:pos x="connsiteX24640" y="connsiteY24640"/>
              </a:cxn>
              <a:cxn ang="0">
                <a:pos x="connsiteX24641" y="connsiteY24641"/>
              </a:cxn>
              <a:cxn ang="0">
                <a:pos x="connsiteX24642" y="connsiteY24642"/>
              </a:cxn>
              <a:cxn ang="0">
                <a:pos x="connsiteX24643" y="connsiteY24643"/>
              </a:cxn>
              <a:cxn ang="0">
                <a:pos x="connsiteX24644" y="connsiteY24644"/>
              </a:cxn>
              <a:cxn ang="0">
                <a:pos x="connsiteX24645" y="connsiteY24645"/>
              </a:cxn>
              <a:cxn ang="0">
                <a:pos x="connsiteX24646" y="connsiteY24646"/>
              </a:cxn>
              <a:cxn ang="0">
                <a:pos x="connsiteX24647" y="connsiteY24647"/>
              </a:cxn>
              <a:cxn ang="0">
                <a:pos x="connsiteX24648" y="connsiteY24648"/>
              </a:cxn>
              <a:cxn ang="0">
                <a:pos x="connsiteX24649" y="connsiteY24649"/>
              </a:cxn>
              <a:cxn ang="0">
                <a:pos x="connsiteX24650" y="connsiteY24650"/>
              </a:cxn>
              <a:cxn ang="0">
                <a:pos x="connsiteX24651" y="connsiteY24651"/>
              </a:cxn>
              <a:cxn ang="0">
                <a:pos x="connsiteX24652" y="connsiteY24652"/>
              </a:cxn>
              <a:cxn ang="0">
                <a:pos x="connsiteX24653" y="connsiteY24653"/>
              </a:cxn>
              <a:cxn ang="0">
                <a:pos x="connsiteX24654" y="connsiteY24654"/>
              </a:cxn>
              <a:cxn ang="0">
                <a:pos x="connsiteX24655" y="connsiteY24655"/>
              </a:cxn>
              <a:cxn ang="0">
                <a:pos x="connsiteX24656" y="connsiteY24656"/>
              </a:cxn>
              <a:cxn ang="0">
                <a:pos x="connsiteX24657" y="connsiteY24657"/>
              </a:cxn>
              <a:cxn ang="0">
                <a:pos x="connsiteX24658" y="connsiteY24658"/>
              </a:cxn>
              <a:cxn ang="0">
                <a:pos x="connsiteX24659" y="connsiteY24659"/>
              </a:cxn>
              <a:cxn ang="0">
                <a:pos x="connsiteX24660" y="connsiteY24660"/>
              </a:cxn>
              <a:cxn ang="0">
                <a:pos x="connsiteX24661" y="connsiteY24661"/>
              </a:cxn>
              <a:cxn ang="0">
                <a:pos x="connsiteX24662" y="connsiteY24662"/>
              </a:cxn>
              <a:cxn ang="0">
                <a:pos x="connsiteX24663" y="connsiteY24663"/>
              </a:cxn>
              <a:cxn ang="0">
                <a:pos x="connsiteX24664" y="connsiteY24664"/>
              </a:cxn>
              <a:cxn ang="0">
                <a:pos x="connsiteX24665" y="connsiteY24665"/>
              </a:cxn>
              <a:cxn ang="0">
                <a:pos x="connsiteX24666" y="connsiteY24666"/>
              </a:cxn>
              <a:cxn ang="0">
                <a:pos x="connsiteX24667" y="connsiteY24667"/>
              </a:cxn>
              <a:cxn ang="0">
                <a:pos x="connsiteX24668" y="connsiteY24668"/>
              </a:cxn>
              <a:cxn ang="0">
                <a:pos x="connsiteX24669" y="connsiteY24669"/>
              </a:cxn>
              <a:cxn ang="0">
                <a:pos x="connsiteX24670" y="connsiteY24670"/>
              </a:cxn>
              <a:cxn ang="0">
                <a:pos x="connsiteX24671" y="connsiteY24671"/>
              </a:cxn>
              <a:cxn ang="0">
                <a:pos x="connsiteX24672" y="connsiteY24672"/>
              </a:cxn>
              <a:cxn ang="0">
                <a:pos x="connsiteX24673" y="connsiteY24673"/>
              </a:cxn>
              <a:cxn ang="0">
                <a:pos x="connsiteX24674" y="connsiteY24674"/>
              </a:cxn>
              <a:cxn ang="0">
                <a:pos x="connsiteX24675" y="connsiteY24675"/>
              </a:cxn>
              <a:cxn ang="0">
                <a:pos x="connsiteX24676" y="connsiteY24676"/>
              </a:cxn>
              <a:cxn ang="0">
                <a:pos x="connsiteX24677" y="connsiteY24677"/>
              </a:cxn>
              <a:cxn ang="0">
                <a:pos x="connsiteX24678" y="connsiteY24678"/>
              </a:cxn>
              <a:cxn ang="0">
                <a:pos x="connsiteX24679" y="connsiteY24679"/>
              </a:cxn>
              <a:cxn ang="0">
                <a:pos x="connsiteX24680" y="connsiteY24680"/>
              </a:cxn>
              <a:cxn ang="0">
                <a:pos x="connsiteX24681" y="connsiteY24681"/>
              </a:cxn>
              <a:cxn ang="0">
                <a:pos x="connsiteX24682" y="connsiteY24682"/>
              </a:cxn>
              <a:cxn ang="0">
                <a:pos x="connsiteX24683" y="connsiteY24683"/>
              </a:cxn>
              <a:cxn ang="0">
                <a:pos x="connsiteX24684" y="connsiteY24684"/>
              </a:cxn>
              <a:cxn ang="0">
                <a:pos x="connsiteX24685" y="connsiteY24685"/>
              </a:cxn>
              <a:cxn ang="0">
                <a:pos x="connsiteX24686" y="connsiteY24686"/>
              </a:cxn>
              <a:cxn ang="0">
                <a:pos x="connsiteX24687" y="connsiteY24687"/>
              </a:cxn>
              <a:cxn ang="0">
                <a:pos x="connsiteX24688" y="connsiteY24688"/>
              </a:cxn>
              <a:cxn ang="0">
                <a:pos x="connsiteX24689" y="connsiteY24689"/>
              </a:cxn>
              <a:cxn ang="0">
                <a:pos x="connsiteX24690" y="connsiteY24690"/>
              </a:cxn>
              <a:cxn ang="0">
                <a:pos x="connsiteX24691" y="connsiteY24691"/>
              </a:cxn>
              <a:cxn ang="0">
                <a:pos x="connsiteX24692" y="connsiteY24692"/>
              </a:cxn>
              <a:cxn ang="0">
                <a:pos x="connsiteX24693" y="connsiteY24693"/>
              </a:cxn>
              <a:cxn ang="0">
                <a:pos x="connsiteX24694" y="connsiteY24694"/>
              </a:cxn>
              <a:cxn ang="0">
                <a:pos x="connsiteX24695" y="connsiteY24695"/>
              </a:cxn>
              <a:cxn ang="0">
                <a:pos x="connsiteX24696" y="connsiteY24696"/>
              </a:cxn>
              <a:cxn ang="0">
                <a:pos x="connsiteX24697" y="connsiteY24697"/>
              </a:cxn>
              <a:cxn ang="0">
                <a:pos x="connsiteX24698" y="connsiteY24698"/>
              </a:cxn>
              <a:cxn ang="0">
                <a:pos x="connsiteX24699" y="connsiteY24699"/>
              </a:cxn>
              <a:cxn ang="0">
                <a:pos x="connsiteX24700" y="connsiteY24700"/>
              </a:cxn>
              <a:cxn ang="0">
                <a:pos x="connsiteX24701" y="connsiteY24701"/>
              </a:cxn>
              <a:cxn ang="0">
                <a:pos x="connsiteX24702" y="connsiteY24702"/>
              </a:cxn>
              <a:cxn ang="0">
                <a:pos x="connsiteX24703" y="connsiteY24703"/>
              </a:cxn>
              <a:cxn ang="0">
                <a:pos x="connsiteX24704" y="connsiteY24704"/>
              </a:cxn>
              <a:cxn ang="0">
                <a:pos x="connsiteX24705" y="connsiteY24705"/>
              </a:cxn>
              <a:cxn ang="0">
                <a:pos x="connsiteX24706" y="connsiteY24706"/>
              </a:cxn>
              <a:cxn ang="0">
                <a:pos x="connsiteX24707" y="connsiteY24707"/>
              </a:cxn>
              <a:cxn ang="0">
                <a:pos x="connsiteX24708" y="connsiteY24708"/>
              </a:cxn>
              <a:cxn ang="0">
                <a:pos x="connsiteX24709" y="connsiteY24709"/>
              </a:cxn>
              <a:cxn ang="0">
                <a:pos x="connsiteX24710" y="connsiteY24710"/>
              </a:cxn>
              <a:cxn ang="0">
                <a:pos x="connsiteX24711" y="connsiteY24711"/>
              </a:cxn>
              <a:cxn ang="0">
                <a:pos x="connsiteX24712" y="connsiteY24712"/>
              </a:cxn>
              <a:cxn ang="0">
                <a:pos x="connsiteX24713" y="connsiteY24713"/>
              </a:cxn>
              <a:cxn ang="0">
                <a:pos x="connsiteX24714" y="connsiteY24714"/>
              </a:cxn>
              <a:cxn ang="0">
                <a:pos x="connsiteX24715" y="connsiteY24715"/>
              </a:cxn>
              <a:cxn ang="0">
                <a:pos x="connsiteX24716" y="connsiteY24716"/>
              </a:cxn>
              <a:cxn ang="0">
                <a:pos x="connsiteX24717" y="connsiteY24717"/>
              </a:cxn>
              <a:cxn ang="0">
                <a:pos x="connsiteX24718" y="connsiteY24718"/>
              </a:cxn>
              <a:cxn ang="0">
                <a:pos x="connsiteX24719" y="connsiteY24719"/>
              </a:cxn>
              <a:cxn ang="0">
                <a:pos x="connsiteX24720" y="connsiteY24720"/>
              </a:cxn>
              <a:cxn ang="0">
                <a:pos x="connsiteX24721" y="connsiteY24721"/>
              </a:cxn>
              <a:cxn ang="0">
                <a:pos x="connsiteX24722" y="connsiteY24722"/>
              </a:cxn>
              <a:cxn ang="0">
                <a:pos x="connsiteX24723" y="connsiteY24723"/>
              </a:cxn>
              <a:cxn ang="0">
                <a:pos x="connsiteX24724" y="connsiteY24724"/>
              </a:cxn>
              <a:cxn ang="0">
                <a:pos x="connsiteX24725" y="connsiteY24725"/>
              </a:cxn>
              <a:cxn ang="0">
                <a:pos x="connsiteX24726" y="connsiteY24726"/>
              </a:cxn>
              <a:cxn ang="0">
                <a:pos x="connsiteX24727" y="connsiteY24727"/>
              </a:cxn>
              <a:cxn ang="0">
                <a:pos x="connsiteX24728" y="connsiteY24728"/>
              </a:cxn>
              <a:cxn ang="0">
                <a:pos x="connsiteX24729" y="connsiteY24729"/>
              </a:cxn>
              <a:cxn ang="0">
                <a:pos x="connsiteX24730" y="connsiteY24730"/>
              </a:cxn>
              <a:cxn ang="0">
                <a:pos x="connsiteX24731" y="connsiteY24731"/>
              </a:cxn>
              <a:cxn ang="0">
                <a:pos x="connsiteX24732" y="connsiteY24732"/>
              </a:cxn>
              <a:cxn ang="0">
                <a:pos x="connsiteX24733" y="connsiteY24733"/>
              </a:cxn>
              <a:cxn ang="0">
                <a:pos x="connsiteX24734" y="connsiteY24734"/>
              </a:cxn>
              <a:cxn ang="0">
                <a:pos x="connsiteX24735" y="connsiteY24735"/>
              </a:cxn>
              <a:cxn ang="0">
                <a:pos x="connsiteX24736" y="connsiteY24736"/>
              </a:cxn>
              <a:cxn ang="0">
                <a:pos x="connsiteX24737" y="connsiteY24737"/>
              </a:cxn>
              <a:cxn ang="0">
                <a:pos x="connsiteX24738" y="connsiteY24738"/>
              </a:cxn>
              <a:cxn ang="0">
                <a:pos x="connsiteX24739" y="connsiteY24739"/>
              </a:cxn>
              <a:cxn ang="0">
                <a:pos x="connsiteX24740" y="connsiteY24740"/>
              </a:cxn>
              <a:cxn ang="0">
                <a:pos x="connsiteX24741" y="connsiteY24741"/>
              </a:cxn>
              <a:cxn ang="0">
                <a:pos x="connsiteX24742" y="connsiteY24742"/>
              </a:cxn>
              <a:cxn ang="0">
                <a:pos x="connsiteX24743" y="connsiteY24743"/>
              </a:cxn>
              <a:cxn ang="0">
                <a:pos x="connsiteX24744" y="connsiteY24744"/>
              </a:cxn>
              <a:cxn ang="0">
                <a:pos x="connsiteX24745" y="connsiteY24745"/>
              </a:cxn>
              <a:cxn ang="0">
                <a:pos x="connsiteX24746" y="connsiteY24746"/>
              </a:cxn>
              <a:cxn ang="0">
                <a:pos x="connsiteX24747" y="connsiteY24747"/>
              </a:cxn>
              <a:cxn ang="0">
                <a:pos x="connsiteX24748" y="connsiteY24748"/>
              </a:cxn>
              <a:cxn ang="0">
                <a:pos x="connsiteX24749" y="connsiteY24749"/>
              </a:cxn>
              <a:cxn ang="0">
                <a:pos x="connsiteX24750" y="connsiteY24750"/>
              </a:cxn>
              <a:cxn ang="0">
                <a:pos x="connsiteX24751" y="connsiteY24751"/>
              </a:cxn>
              <a:cxn ang="0">
                <a:pos x="connsiteX24752" y="connsiteY24752"/>
              </a:cxn>
              <a:cxn ang="0">
                <a:pos x="connsiteX24753" y="connsiteY24753"/>
              </a:cxn>
              <a:cxn ang="0">
                <a:pos x="connsiteX24754" y="connsiteY24754"/>
              </a:cxn>
              <a:cxn ang="0">
                <a:pos x="connsiteX24755" y="connsiteY24755"/>
              </a:cxn>
              <a:cxn ang="0">
                <a:pos x="connsiteX24756" y="connsiteY24756"/>
              </a:cxn>
              <a:cxn ang="0">
                <a:pos x="connsiteX24757" y="connsiteY24757"/>
              </a:cxn>
              <a:cxn ang="0">
                <a:pos x="connsiteX24758" y="connsiteY24758"/>
              </a:cxn>
              <a:cxn ang="0">
                <a:pos x="connsiteX24759" y="connsiteY24759"/>
              </a:cxn>
              <a:cxn ang="0">
                <a:pos x="connsiteX24760" y="connsiteY24760"/>
              </a:cxn>
              <a:cxn ang="0">
                <a:pos x="connsiteX24761" y="connsiteY24761"/>
              </a:cxn>
              <a:cxn ang="0">
                <a:pos x="connsiteX24762" y="connsiteY24762"/>
              </a:cxn>
              <a:cxn ang="0">
                <a:pos x="connsiteX24763" y="connsiteY24763"/>
              </a:cxn>
              <a:cxn ang="0">
                <a:pos x="connsiteX24764" y="connsiteY24764"/>
              </a:cxn>
              <a:cxn ang="0">
                <a:pos x="connsiteX24765" y="connsiteY24765"/>
              </a:cxn>
              <a:cxn ang="0">
                <a:pos x="connsiteX24766" y="connsiteY24766"/>
              </a:cxn>
              <a:cxn ang="0">
                <a:pos x="connsiteX24767" y="connsiteY24767"/>
              </a:cxn>
              <a:cxn ang="0">
                <a:pos x="connsiteX24768" y="connsiteY24768"/>
              </a:cxn>
              <a:cxn ang="0">
                <a:pos x="connsiteX24769" y="connsiteY24769"/>
              </a:cxn>
              <a:cxn ang="0">
                <a:pos x="connsiteX24770" y="connsiteY24770"/>
              </a:cxn>
              <a:cxn ang="0">
                <a:pos x="connsiteX24771" y="connsiteY24771"/>
              </a:cxn>
              <a:cxn ang="0">
                <a:pos x="connsiteX24772" y="connsiteY24772"/>
              </a:cxn>
              <a:cxn ang="0">
                <a:pos x="connsiteX24773" y="connsiteY24773"/>
              </a:cxn>
              <a:cxn ang="0">
                <a:pos x="connsiteX24774" y="connsiteY24774"/>
              </a:cxn>
              <a:cxn ang="0">
                <a:pos x="connsiteX24775" y="connsiteY24775"/>
              </a:cxn>
              <a:cxn ang="0">
                <a:pos x="connsiteX24776" y="connsiteY24776"/>
              </a:cxn>
              <a:cxn ang="0">
                <a:pos x="connsiteX24777" y="connsiteY24777"/>
              </a:cxn>
              <a:cxn ang="0">
                <a:pos x="connsiteX24778" y="connsiteY24778"/>
              </a:cxn>
              <a:cxn ang="0">
                <a:pos x="connsiteX24779" y="connsiteY24779"/>
              </a:cxn>
              <a:cxn ang="0">
                <a:pos x="connsiteX24780" y="connsiteY24780"/>
              </a:cxn>
              <a:cxn ang="0">
                <a:pos x="connsiteX24781" y="connsiteY24781"/>
              </a:cxn>
              <a:cxn ang="0">
                <a:pos x="connsiteX24782" y="connsiteY24782"/>
              </a:cxn>
              <a:cxn ang="0">
                <a:pos x="connsiteX24783" y="connsiteY24783"/>
              </a:cxn>
              <a:cxn ang="0">
                <a:pos x="connsiteX24784" y="connsiteY24784"/>
              </a:cxn>
              <a:cxn ang="0">
                <a:pos x="connsiteX24785" y="connsiteY24785"/>
              </a:cxn>
              <a:cxn ang="0">
                <a:pos x="connsiteX24786" y="connsiteY24786"/>
              </a:cxn>
              <a:cxn ang="0">
                <a:pos x="connsiteX24787" y="connsiteY24787"/>
              </a:cxn>
              <a:cxn ang="0">
                <a:pos x="connsiteX24788" y="connsiteY24788"/>
              </a:cxn>
              <a:cxn ang="0">
                <a:pos x="connsiteX24789" y="connsiteY24789"/>
              </a:cxn>
              <a:cxn ang="0">
                <a:pos x="connsiteX24790" y="connsiteY24790"/>
              </a:cxn>
              <a:cxn ang="0">
                <a:pos x="connsiteX24791" y="connsiteY24791"/>
              </a:cxn>
              <a:cxn ang="0">
                <a:pos x="connsiteX24792" y="connsiteY24792"/>
              </a:cxn>
              <a:cxn ang="0">
                <a:pos x="connsiteX24793" y="connsiteY24793"/>
              </a:cxn>
              <a:cxn ang="0">
                <a:pos x="connsiteX24794" y="connsiteY24794"/>
              </a:cxn>
              <a:cxn ang="0">
                <a:pos x="connsiteX24795" y="connsiteY24795"/>
              </a:cxn>
              <a:cxn ang="0">
                <a:pos x="connsiteX24796" y="connsiteY24796"/>
              </a:cxn>
              <a:cxn ang="0">
                <a:pos x="connsiteX24797" y="connsiteY24797"/>
              </a:cxn>
              <a:cxn ang="0">
                <a:pos x="connsiteX24798" y="connsiteY24798"/>
              </a:cxn>
              <a:cxn ang="0">
                <a:pos x="connsiteX24799" y="connsiteY24799"/>
              </a:cxn>
              <a:cxn ang="0">
                <a:pos x="connsiteX24800" y="connsiteY24800"/>
              </a:cxn>
              <a:cxn ang="0">
                <a:pos x="connsiteX24801" y="connsiteY24801"/>
              </a:cxn>
              <a:cxn ang="0">
                <a:pos x="connsiteX24802" y="connsiteY24802"/>
              </a:cxn>
              <a:cxn ang="0">
                <a:pos x="connsiteX24803" y="connsiteY24803"/>
              </a:cxn>
              <a:cxn ang="0">
                <a:pos x="connsiteX24804" y="connsiteY24804"/>
              </a:cxn>
              <a:cxn ang="0">
                <a:pos x="connsiteX24805" y="connsiteY24805"/>
              </a:cxn>
              <a:cxn ang="0">
                <a:pos x="connsiteX24806" y="connsiteY24806"/>
              </a:cxn>
              <a:cxn ang="0">
                <a:pos x="connsiteX24807" y="connsiteY24807"/>
              </a:cxn>
              <a:cxn ang="0">
                <a:pos x="connsiteX24808" y="connsiteY24808"/>
              </a:cxn>
              <a:cxn ang="0">
                <a:pos x="connsiteX24809" y="connsiteY24809"/>
              </a:cxn>
              <a:cxn ang="0">
                <a:pos x="connsiteX24810" y="connsiteY24810"/>
              </a:cxn>
              <a:cxn ang="0">
                <a:pos x="connsiteX24811" y="connsiteY24811"/>
              </a:cxn>
              <a:cxn ang="0">
                <a:pos x="connsiteX24812" y="connsiteY24812"/>
              </a:cxn>
              <a:cxn ang="0">
                <a:pos x="connsiteX24813" y="connsiteY24813"/>
              </a:cxn>
              <a:cxn ang="0">
                <a:pos x="connsiteX24814" y="connsiteY24814"/>
              </a:cxn>
              <a:cxn ang="0">
                <a:pos x="connsiteX24815" y="connsiteY24815"/>
              </a:cxn>
              <a:cxn ang="0">
                <a:pos x="connsiteX24816" y="connsiteY24816"/>
              </a:cxn>
              <a:cxn ang="0">
                <a:pos x="connsiteX24817" y="connsiteY24817"/>
              </a:cxn>
              <a:cxn ang="0">
                <a:pos x="connsiteX24818" y="connsiteY24818"/>
              </a:cxn>
              <a:cxn ang="0">
                <a:pos x="connsiteX24819" y="connsiteY24819"/>
              </a:cxn>
              <a:cxn ang="0">
                <a:pos x="connsiteX24820" y="connsiteY24820"/>
              </a:cxn>
              <a:cxn ang="0">
                <a:pos x="connsiteX24821" y="connsiteY24821"/>
              </a:cxn>
              <a:cxn ang="0">
                <a:pos x="connsiteX24822" y="connsiteY24822"/>
              </a:cxn>
              <a:cxn ang="0">
                <a:pos x="connsiteX24823" y="connsiteY24823"/>
              </a:cxn>
              <a:cxn ang="0">
                <a:pos x="connsiteX24824" y="connsiteY24824"/>
              </a:cxn>
              <a:cxn ang="0">
                <a:pos x="connsiteX24825" y="connsiteY24825"/>
              </a:cxn>
              <a:cxn ang="0">
                <a:pos x="connsiteX24826" y="connsiteY24826"/>
              </a:cxn>
              <a:cxn ang="0">
                <a:pos x="connsiteX24827" y="connsiteY24827"/>
              </a:cxn>
              <a:cxn ang="0">
                <a:pos x="connsiteX24828" y="connsiteY24828"/>
              </a:cxn>
              <a:cxn ang="0">
                <a:pos x="connsiteX24829" y="connsiteY24829"/>
              </a:cxn>
              <a:cxn ang="0">
                <a:pos x="connsiteX24830" y="connsiteY24830"/>
              </a:cxn>
              <a:cxn ang="0">
                <a:pos x="connsiteX24831" y="connsiteY24831"/>
              </a:cxn>
              <a:cxn ang="0">
                <a:pos x="connsiteX24832" y="connsiteY24832"/>
              </a:cxn>
              <a:cxn ang="0">
                <a:pos x="connsiteX24833" y="connsiteY24833"/>
              </a:cxn>
              <a:cxn ang="0">
                <a:pos x="connsiteX24834" y="connsiteY24834"/>
              </a:cxn>
              <a:cxn ang="0">
                <a:pos x="connsiteX24835" y="connsiteY24835"/>
              </a:cxn>
              <a:cxn ang="0">
                <a:pos x="connsiteX24836" y="connsiteY24836"/>
              </a:cxn>
              <a:cxn ang="0">
                <a:pos x="connsiteX24837" y="connsiteY24837"/>
              </a:cxn>
              <a:cxn ang="0">
                <a:pos x="connsiteX24838" y="connsiteY24838"/>
              </a:cxn>
              <a:cxn ang="0">
                <a:pos x="connsiteX24839" y="connsiteY24839"/>
              </a:cxn>
              <a:cxn ang="0">
                <a:pos x="connsiteX24840" y="connsiteY24840"/>
              </a:cxn>
              <a:cxn ang="0">
                <a:pos x="connsiteX24841" y="connsiteY24841"/>
              </a:cxn>
              <a:cxn ang="0">
                <a:pos x="connsiteX24842" y="connsiteY24842"/>
              </a:cxn>
              <a:cxn ang="0">
                <a:pos x="connsiteX24843" y="connsiteY24843"/>
              </a:cxn>
              <a:cxn ang="0">
                <a:pos x="connsiteX24844" y="connsiteY24844"/>
              </a:cxn>
              <a:cxn ang="0">
                <a:pos x="connsiteX24845" y="connsiteY24845"/>
              </a:cxn>
              <a:cxn ang="0">
                <a:pos x="connsiteX24846" y="connsiteY24846"/>
              </a:cxn>
              <a:cxn ang="0">
                <a:pos x="connsiteX24847" y="connsiteY24847"/>
              </a:cxn>
              <a:cxn ang="0">
                <a:pos x="connsiteX24848" y="connsiteY24848"/>
              </a:cxn>
              <a:cxn ang="0">
                <a:pos x="connsiteX24849" y="connsiteY24849"/>
              </a:cxn>
              <a:cxn ang="0">
                <a:pos x="connsiteX24850" y="connsiteY24850"/>
              </a:cxn>
              <a:cxn ang="0">
                <a:pos x="connsiteX24851" y="connsiteY24851"/>
              </a:cxn>
              <a:cxn ang="0">
                <a:pos x="connsiteX24852" y="connsiteY24852"/>
              </a:cxn>
              <a:cxn ang="0">
                <a:pos x="connsiteX24853" y="connsiteY24853"/>
              </a:cxn>
              <a:cxn ang="0">
                <a:pos x="connsiteX24854" y="connsiteY24854"/>
              </a:cxn>
              <a:cxn ang="0">
                <a:pos x="connsiteX24855" y="connsiteY24855"/>
              </a:cxn>
              <a:cxn ang="0">
                <a:pos x="connsiteX24856" y="connsiteY24856"/>
              </a:cxn>
              <a:cxn ang="0">
                <a:pos x="connsiteX24857" y="connsiteY24857"/>
              </a:cxn>
              <a:cxn ang="0">
                <a:pos x="connsiteX24858" y="connsiteY24858"/>
              </a:cxn>
              <a:cxn ang="0">
                <a:pos x="connsiteX24859" y="connsiteY24859"/>
              </a:cxn>
              <a:cxn ang="0">
                <a:pos x="connsiteX24860" y="connsiteY24860"/>
              </a:cxn>
              <a:cxn ang="0">
                <a:pos x="connsiteX24861" y="connsiteY24861"/>
              </a:cxn>
              <a:cxn ang="0">
                <a:pos x="connsiteX24862" y="connsiteY24862"/>
              </a:cxn>
              <a:cxn ang="0">
                <a:pos x="connsiteX24863" y="connsiteY24863"/>
              </a:cxn>
              <a:cxn ang="0">
                <a:pos x="connsiteX24864" y="connsiteY24864"/>
              </a:cxn>
              <a:cxn ang="0">
                <a:pos x="connsiteX24865" y="connsiteY24865"/>
              </a:cxn>
              <a:cxn ang="0">
                <a:pos x="connsiteX24866" y="connsiteY24866"/>
              </a:cxn>
              <a:cxn ang="0">
                <a:pos x="connsiteX24867" y="connsiteY24867"/>
              </a:cxn>
              <a:cxn ang="0">
                <a:pos x="connsiteX24868" y="connsiteY24868"/>
              </a:cxn>
              <a:cxn ang="0">
                <a:pos x="connsiteX24869" y="connsiteY24869"/>
              </a:cxn>
              <a:cxn ang="0">
                <a:pos x="connsiteX24870" y="connsiteY24870"/>
              </a:cxn>
              <a:cxn ang="0">
                <a:pos x="connsiteX24871" y="connsiteY24871"/>
              </a:cxn>
              <a:cxn ang="0">
                <a:pos x="connsiteX24872" y="connsiteY24872"/>
              </a:cxn>
              <a:cxn ang="0">
                <a:pos x="connsiteX24873" y="connsiteY24873"/>
              </a:cxn>
              <a:cxn ang="0">
                <a:pos x="connsiteX24874" y="connsiteY24874"/>
              </a:cxn>
              <a:cxn ang="0">
                <a:pos x="connsiteX24875" y="connsiteY24875"/>
              </a:cxn>
              <a:cxn ang="0">
                <a:pos x="connsiteX24876" y="connsiteY24876"/>
              </a:cxn>
              <a:cxn ang="0">
                <a:pos x="connsiteX24877" y="connsiteY24877"/>
              </a:cxn>
              <a:cxn ang="0">
                <a:pos x="connsiteX24878" y="connsiteY24878"/>
              </a:cxn>
              <a:cxn ang="0">
                <a:pos x="connsiteX24879" y="connsiteY24879"/>
              </a:cxn>
              <a:cxn ang="0">
                <a:pos x="connsiteX24880" y="connsiteY24880"/>
              </a:cxn>
              <a:cxn ang="0">
                <a:pos x="connsiteX24881" y="connsiteY24881"/>
              </a:cxn>
              <a:cxn ang="0">
                <a:pos x="connsiteX24882" y="connsiteY24882"/>
              </a:cxn>
              <a:cxn ang="0">
                <a:pos x="connsiteX24883" y="connsiteY24883"/>
              </a:cxn>
              <a:cxn ang="0">
                <a:pos x="connsiteX24884" y="connsiteY24884"/>
              </a:cxn>
              <a:cxn ang="0">
                <a:pos x="connsiteX24885" y="connsiteY24885"/>
              </a:cxn>
              <a:cxn ang="0">
                <a:pos x="connsiteX24886" y="connsiteY24886"/>
              </a:cxn>
              <a:cxn ang="0">
                <a:pos x="connsiteX24887" y="connsiteY24887"/>
              </a:cxn>
              <a:cxn ang="0">
                <a:pos x="connsiteX24888" y="connsiteY24888"/>
              </a:cxn>
              <a:cxn ang="0">
                <a:pos x="connsiteX24889" y="connsiteY24889"/>
              </a:cxn>
              <a:cxn ang="0">
                <a:pos x="connsiteX24890" y="connsiteY24890"/>
              </a:cxn>
              <a:cxn ang="0">
                <a:pos x="connsiteX24891" y="connsiteY24891"/>
              </a:cxn>
              <a:cxn ang="0">
                <a:pos x="connsiteX24892" y="connsiteY24892"/>
              </a:cxn>
              <a:cxn ang="0">
                <a:pos x="connsiteX24893" y="connsiteY24893"/>
              </a:cxn>
              <a:cxn ang="0">
                <a:pos x="connsiteX24894" y="connsiteY24894"/>
              </a:cxn>
              <a:cxn ang="0">
                <a:pos x="connsiteX24895" y="connsiteY24895"/>
              </a:cxn>
              <a:cxn ang="0">
                <a:pos x="connsiteX24896" y="connsiteY24896"/>
              </a:cxn>
              <a:cxn ang="0">
                <a:pos x="connsiteX24897" y="connsiteY24897"/>
              </a:cxn>
              <a:cxn ang="0">
                <a:pos x="connsiteX24898" y="connsiteY24898"/>
              </a:cxn>
              <a:cxn ang="0">
                <a:pos x="connsiteX24899" y="connsiteY24899"/>
              </a:cxn>
              <a:cxn ang="0">
                <a:pos x="connsiteX24900" y="connsiteY24900"/>
              </a:cxn>
              <a:cxn ang="0">
                <a:pos x="connsiteX24901" y="connsiteY24901"/>
              </a:cxn>
              <a:cxn ang="0">
                <a:pos x="connsiteX24902" y="connsiteY24902"/>
              </a:cxn>
              <a:cxn ang="0">
                <a:pos x="connsiteX24903" y="connsiteY24903"/>
              </a:cxn>
              <a:cxn ang="0">
                <a:pos x="connsiteX24904" y="connsiteY24904"/>
              </a:cxn>
              <a:cxn ang="0">
                <a:pos x="connsiteX24905" y="connsiteY24905"/>
              </a:cxn>
              <a:cxn ang="0">
                <a:pos x="connsiteX24906" y="connsiteY24906"/>
              </a:cxn>
              <a:cxn ang="0">
                <a:pos x="connsiteX24907" y="connsiteY24907"/>
              </a:cxn>
              <a:cxn ang="0">
                <a:pos x="connsiteX24908" y="connsiteY24908"/>
              </a:cxn>
              <a:cxn ang="0">
                <a:pos x="connsiteX24909" y="connsiteY24909"/>
              </a:cxn>
              <a:cxn ang="0">
                <a:pos x="connsiteX24910" y="connsiteY24910"/>
              </a:cxn>
              <a:cxn ang="0">
                <a:pos x="connsiteX24911" y="connsiteY24911"/>
              </a:cxn>
              <a:cxn ang="0">
                <a:pos x="connsiteX24912" y="connsiteY24912"/>
              </a:cxn>
              <a:cxn ang="0">
                <a:pos x="connsiteX24913" y="connsiteY24913"/>
              </a:cxn>
              <a:cxn ang="0">
                <a:pos x="connsiteX24914" y="connsiteY24914"/>
              </a:cxn>
              <a:cxn ang="0">
                <a:pos x="connsiteX24915" y="connsiteY24915"/>
              </a:cxn>
              <a:cxn ang="0">
                <a:pos x="connsiteX24916" y="connsiteY24916"/>
              </a:cxn>
              <a:cxn ang="0">
                <a:pos x="connsiteX24917" y="connsiteY24917"/>
              </a:cxn>
              <a:cxn ang="0">
                <a:pos x="connsiteX24918" y="connsiteY24918"/>
              </a:cxn>
              <a:cxn ang="0">
                <a:pos x="connsiteX24919" y="connsiteY24919"/>
              </a:cxn>
              <a:cxn ang="0">
                <a:pos x="connsiteX24920" y="connsiteY24920"/>
              </a:cxn>
              <a:cxn ang="0">
                <a:pos x="connsiteX24921" y="connsiteY24921"/>
              </a:cxn>
              <a:cxn ang="0">
                <a:pos x="connsiteX24922" y="connsiteY24922"/>
              </a:cxn>
              <a:cxn ang="0">
                <a:pos x="connsiteX24923" y="connsiteY24923"/>
              </a:cxn>
              <a:cxn ang="0">
                <a:pos x="connsiteX24924" y="connsiteY24924"/>
              </a:cxn>
              <a:cxn ang="0">
                <a:pos x="connsiteX24925" y="connsiteY24925"/>
              </a:cxn>
              <a:cxn ang="0">
                <a:pos x="connsiteX24926" y="connsiteY24926"/>
              </a:cxn>
              <a:cxn ang="0">
                <a:pos x="connsiteX24927" y="connsiteY24927"/>
              </a:cxn>
              <a:cxn ang="0">
                <a:pos x="connsiteX24928" y="connsiteY24928"/>
              </a:cxn>
              <a:cxn ang="0">
                <a:pos x="connsiteX24929" y="connsiteY24929"/>
              </a:cxn>
              <a:cxn ang="0">
                <a:pos x="connsiteX24930" y="connsiteY24930"/>
              </a:cxn>
              <a:cxn ang="0">
                <a:pos x="connsiteX24931" y="connsiteY24931"/>
              </a:cxn>
              <a:cxn ang="0">
                <a:pos x="connsiteX24932" y="connsiteY24932"/>
              </a:cxn>
              <a:cxn ang="0">
                <a:pos x="connsiteX24933" y="connsiteY24933"/>
              </a:cxn>
              <a:cxn ang="0">
                <a:pos x="connsiteX24934" y="connsiteY24934"/>
              </a:cxn>
              <a:cxn ang="0">
                <a:pos x="connsiteX24935" y="connsiteY24935"/>
              </a:cxn>
              <a:cxn ang="0">
                <a:pos x="connsiteX24936" y="connsiteY24936"/>
              </a:cxn>
              <a:cxn ang="0">
                <a:pos x="connsiteX24937" y="connsiteY24937"/>
              </a:cxn>
              <a:cxn ang="0">
                <a:pos x="connsiteX24938" y="connsiteY24938"/>
              </a:cxn>
              <a:cxn ang="0">
                <a:pos x="connsiteX24939" y="connsiteY24939"/>
              </a:cxn>
              <a:cxn ang="0">
                <a:pos x="connsiteX24940" y="connsiteY24940"/>
              </a:cxn>
              <a:cxn ang="0">
                <a:pos x="connsiteX24941" y="connsiteY24941"/>
              </a:cxn>
              <a:cxn ang="0">
                <a:pos x="connsiteX24942" y="connsiteY24942"/>
              </a:cxn>
              <a:cxn ang="0">
                <a:pos x="connsiteX24943" y="connsiteY24943"/>
              </a:cxn>
              <a:cxn ang="0">
                <a:pos x="connsiteX24944" y="connsiteY24944"/>
              </a:cxn>
              <a:cxn ang="0">
                <a:pos x="connsiteX24945" y="connsiteY24945"/>
              </a:cxn>
              <a:cxn ang="0">
                <a:pos x="connsiteX24946" y="connsiteY24946"/>
              </a:cxn>
              <a:cxn ang="0">
                <a:pos x="connsiteX24947" y="connsiteY24947"/>
              </a:cxn>
              <a:cxn ang="0">
                <a:pos x="connsiteX24948" y="connsiteY24948"/>
              </a:cxn>
              <a:cxn ang="0">
                <a:pos x="connsiteX24949" y="connsiteY24949"/>
              </a:cxn>
              <a:cxn ang="0">
                <a:pos x="connsiteX24950" y="connsiteY24950"/>
              </a:cxn>
              <a:cxn ang="0">
                <a:pos x="connsiteX24951" y="connsiteY24951"/>
              </a:cxn>
              <a:cxn ang="0">
                <a:pos x="connsiteX24952" y="connsiteY24952"/>
              </a:cxn>
              <a:cxn ang="0">
                <a:pos x="connsiteX24953" y="connsiteY24953"/>
              </a:cxn>
              <a:cxn ang="0">
                <a:pos x="connsiteX24954" y="connsiteY24954"/>
              </a:cxn>
              <a:cxn ang="0">
                <a:pos x="connsiteX24955" y="connsiteY24955"/>
              </a:cxn>
              <a:cxn ang="0">
                <a:pos x="connsiteX24956" y="connsiteY24956"/>
              </a:cxn>
              <a:cxn ang="0">
                <a:pos x="connsiteX24957" y="connsiteY24957"/>
              </a:cxn>
              <a:cxn ang="0">
                <a:pos x="connsiteX24958" y="connsiteY24958"/>
              </a:cxn>
              <a:cxn ang="0">
                <a:pos x="connsiteX24959" y="connsiteY24959"/>
              </a:cxn>
              <a:cxn ang="0">
                <a:pos x="connsiteX24960" y="connsiteY24960"/>
              </a:cxn>
              <a:cxn ang="0">
                <a:pos x="connsiteX24961" y="connsiteY24961"/>
              </a:cxn>
              <a:cxn ang="0">
                <a:pos x="connsiteX24962" y="connsiteY24962"/>
              </a:cxn>
              <a:cxn ang="0">
                <a:pos x="connsiteX24963" y="connsiteY24963"/>
              </a:cxn>
              <a:cxn ang="0">
                <a:pos x="connsiteX24964" y="connsiteY24964"/>
              </a:cxn>
              <a:cxn ang="0">
                <a:pos x="connsiteX24965" y="connsiteY24965"/>
              </a:cxn>
              <a:cxn ang="0">
                <a:pos x="connsiteX24966" y="connsiteY24966"/>
              </a:cxn>
              <a:cxn ang="0">
                <a:pos x="connsiteX24967" y="connsiteY24967"/>
              </a:cxn>
              <a:cxn ang="0">
                <a:pos x="connsiteX24968" y="connsiteY24968"/>
              </a:cxn>
              <a:cxn ang="0">
                <a:pos x="connsiteX24969" y="connsiteY24969"/>
              </a:cxn>
              <a:cxn ang="0">
                <a:pos x="connsiteX24970" y="connsiteY24970"/>
              </a:cxn>
              <a:cxn ang="0">
                <a:pos x="connsiteX24971" y="connsiteY24971"/>
              </a:cxn>
              <a:cxn ang="0">
                <a:pos x="connsiteX24972" y="connsiteY24972"/>
              </a:cxn>
              <a:cxn ang="0">
                <a:pos x="connsiteX24973" y="connsiteY24973"/>
              </a:cxn>
              <a:cxn ang="0">
                <a:pos x="connsiteX24974" y="connsiteY24974"/>
              </a:cxn>
              <a:cxn ang="0">
                <a:pos x="connsiteX24975" y="connsiteY24975"/>
              </a:cxn>
              <a:cxn ang="0">
                <a:pos x="connsiteX24976" y="connsiteY24976"/>
              </a:cxn>
              <a:cxn ang="0">
                <a:pos x="connsiteX24977" y="connsiteY24977"/>
              </a:cxn>
              <a:cxn ang="0">
                <a:pos x="connsiteX24978" y="connsiteY24978"/>
              </a:cxn>
              <a:cxn ang="0">
                <a:pos x="connsiteX24979" y="connsiteY24979"/>
              </a:cxn>
              <a:cxn ang="0">
                <a:pos x="connsiteX24980" y="connsiteY24980"/>
              </a:cxn>
              <a:cxn ang="0">
                <a:pos x="connsiteX24981" y="connsiteY24981"/>
              </a:cxn>
              <a:cxn ang="0">
                <a:pos x="connsiteX24982" y="connsiteY24982"/>
              </a:cxn>
              <a:cxn ang="0">
                <a:pos x="connsiteX24983" y="connsiteY24983"/>
              </a:cxn>
              <a:cxn ang="0">
                <a:pos x="connsiteX24984" y="connsiteY24984"/>
              </a:cxn>
              <a:cxn ang="0">
                <a:pos x="connsiteX24985" y="connsiteY24985"/>
              </a:cxn>
              <a:cxn ang="0">
                <a:pos x="connsiteX24986" y="connsiteY24986"/>
              </a:cxn>
              <a:cxn ang="0">
                <a:pos x="connsiteX24987" y="connsiteY24987"/>
              </a:cxn>
              <a:cxn ang="0">
                <a:pos x="connsiteX24988" y="connsiteY24988"/>
              </a:cxn>
              <a:cxn ang="0">
                <a:pos x="connsiteX24989" y="connsiteY24989"/>
              </a:cxn>
              <a:cxn ang="0">
                <a:pos x="connsiteX24990" y="connsiteY24990"/>
              </a:cxn>
              <a:cxn ang="0">
                <a:pos x="connsiteX24991" y="connsiteY24991"/>
              </a:cxn>
              <a:cxn ang="0">
                <a:pos x="connsiteX24992" y="connsiteY24992"/>
              </a:cxn>
              <a:cxn ang="0">
                <a:pos x="connsiteX24993" y="connsiteY24993"/>
              </a:cxn>
              <a:cxn ang="0">
                <a:pos x="connsiteX24994" y="connsiteY24994"/>
              </a:cxn>
              <a:cxn ang="0">
                <a:pos x="connsiteX24995" y="connsiteY24995"/>
              </a:cxn>
              <a:cxn ang="0">
                <a:pos x="connsiteX24996" y="connsiteY24996"/>
              </a:cxn>
              <a:cxn ang="0">
                <a:pos x="connsiteX24997" y="connsiteY24997"/>
              </a:cxn>
              <a:cxn ang="0">
                <a:pos x="connsiteX24998" y="connsiteY24998"/>
              </a:cxn>
              <a:cxn ang="0">
                <a:pos x="connsiteX24999" y="connsiteY24999"/>
              </a:cxn>
              <a:cxn ang="0">
                <a:pos x="connsiteX25000" y="connsiteY25000"/>
              </a:cxn>
              <a:cxn ang="0">
                <a:pos x="connsiteX25001" y="connsiteY25001"/>
              </a:cxn>
              <a:cxn ang="0">
                <a:pos x="connsiteX25002" y="connsiteY25002"/>
              </a:cxn>
              <a:cxn ang="0">
                <a:pos x="connsiteX25003" y="connsiteY25003"/>
              </a:cxn>
              <a:cxn ang="0">
                <a:pos x="connsiteX25004" y="connsiteY25004"/>
              </a:cxn>
              <a:cxn ang="0">
                <a:pos x="connsiteX25005" y="connsiteY25005"/>
              </a:cxn>
              <a:cxn ang="0">
                <a:pos x="connsiteX25006" y="connsiteY25006"/>
              </a:cxn>
              <a:cxn ang="0">
                <a:pos x="connsiteX25007" y="connsiteY25007"/>
              </a:cxn>
              <a:cxn ang="0">
                <a:pos x="connsiteX25008" y="connsiteY25008"/>
              </a:cxn>
              <a:cxn ang="0">
                <a:pos x="connsiteX25009" y="connsiteY25009"/>
              </a:cxn>
              <a:cxn ang="0">
                <a:pos x="connsiteX25010" y="connsiteY25010"/>
              </a:cxn>
              <a:cxn ang="0">
                <a:pos x="connsiteX25011" y="connsiteY25011"/>
              </a:cxn>
              <a:cxn ang="0">
                <a:pos x="connsiteX25012" y="connsiteY25012"/>
              </a:cxn>
              <a:cxn ang="0">
                <a:pos x="connsiteX25013" y="connsiteY25013"/>
              </a:cxn>
              <a:cxn ang="0">
                <a:pos x="connsiteX25014" y="connsiteY25014"/>
              </a:cxn>
              <a:cxn ang="0">
                <a:pos x="connsiteX25015" y="connsiteY25015"/>
              </a:cxn>
              <a:cxn ang="0">
                <a:pos x="connsiteX25016" y="connsiteY25016"/>
              </a:cxn>
              <a:cxn ang="0">
                <a:pos x="connsiteX25017" y="connsiteY25017"/>
              </a:cxn>
              <a:cxn ang="0">
                <a:pos x="connsiteX25018" y="connsiteY25018"/>
              </a:cxn>
              <a:cxn ang="0">
                <a:pos x="connsiteX25019" y="connsiteY25019"/>
              </a:cxn>
              <a:cxn ang="0">
                <a:pos x="connsiteX25020" y="connsiteY25020"/>
              </a:cxn>
              <a:cxn ang="0">
                <a:pos x="connsiteX25021" y="connsiteY25021"/>
              </a:cxn>
              <a:cxn ang="0">
                <a:pos x="connsiteX25022" y="connsiteY25022"/>
              </a:cxn>
              <a:cxn ang="0">
                <a:pos x="connsiteX25023" y="connsiteY25023"/>
              </a:cxn>
              <a:cxn ang="0">
                <a:pos x="connsiteX25024" y="connsiteY25024"/>
              </a:cxn>
              <a:cxn ang="0">
                <a:pos x="connsiteX25025" y="connsiteY25025"/>
              </a:cxn>
              <a:cxn ang="0">
                <a:pos x="connsiteX25026" y="connsiteY25026"/>
              </a:cxn>
              <a:cxn ang="0">
                <a:pos x="connsiteX25027" y="connsiteY25027"/>
              </a:cxn>
              <a:cxn ang="0">
                <a:pos x="connsiteX25028" y="connsiteY25028"/>
              </a:cxn>
              <a:cxn ang="0">
                <a:pos x="connsiteX25029" y="connsiteY25029"/>
              </a:cxn>
              <a:cxn ang="0">
                <a:pos x="connsiteX25030" y="connsiteY25030"/>
              </a:cxn>
              <a:cxn ang="0">
                <a:pos x="connsiteX25031" y="connsiteY25031"/>
              </a:cxn>
              <a:cxn ang="0">
                <a:pos x="connsiteX25032" y="connsiteY25032"/>
              </a:cxn>
              <a:cxn ang="0">
                <a:pos x="connsiteX25033" y="connsiteY25033"/>
              </a:cxn>
              <a:cxn ang="0">
                <a:pos x="connsiteX25034" y="connsiteY25034"/>
              </a:cxn>
              <a:cxn ang="0">
                <a:pos x="connsiteX25035" y="connsiteY25035"/>
              </a:cxn>
              <a:cxn ang="0">
                <a:pos x="connsiteX25036" y="connsiteY25036"/>
              </a:cxn>
              <a:cxn ang="0">
                <a:pos x="connsiteX25037" y="connsiteY25037"/>
              </a:cxn>
              <a:cxn ang="0">
                <a:pos x="connsiteX25038" y="connsiteY25038"/>
              </a:cxn>
              <a:cxn ang="0">
                <a:pos x="connsiteX25039" y="connsiteY25039"/>
              </a:cxn>
              <a:cxn ang="0">
                <a:pos x="connsiteX25040" y="connsiteY25040"/>
              </a:cxn>
              <a:cxn ang="0">
                <a:pos x="connsiteX25041" y="connsiteY25041"/>
              </a:cxn>
              <a:cxn ang="0">
                <a:pos x="connsiteX25042" y="connsiteY25042"/>
              </a:cxn>
              <a:cxn ang="0">
                <a:pos x="connsiteX25043" y="connsiteY25043"/>
              </a:cxn>
              <a:cxn ang="0">
                <a:pos x="connsiteX25044" y="connsiteY25044"/>
              </a:cxn>
              <a:cxn ang="0">
                <a:pos x="connsiteX25045" y="connsiteY25045"/>
              </a:cxn>
              <a:cxn ang="0">
                <a:pos x="connsiteX25046" y="connsiteY25046"/>
              </a:cxn>
              <a:cxn ang="0">
                <a:pos x="connsiteX25047" y="connsiteY25047"/>
              </a:cxn>
              <a:cxn ang="0">
                <a:pos x="connsiteX25048" y="connsiteY25048"/>
              </a:cxn>
              <a:cxn ang="0">
                <a:pos x="connsiteX25049" y="connsiteY25049"/>
              </a:cxn>
              <a:cxn ang="0">
                <a:pos x="connsiteX25050" y="connsiteY25050"/>
              </a:cxn>
              <a:cxn ang="0">
                <a:pos x="connsiteX25051" y="connsiteY25051"/>
              </a:cxn>
              <a:cxn ang="0">
                <a:pos x="connsiteX25052" y="connsiteY25052"/>
              </a:cxn>
              <a:cxn ang="0">
                <a:pos x="connsiteX25053" y="connsiteY25053"/>
              </a:cxn>
              <a:cxn ang="0">
                <a:pos x="connsiteX25054" y="connsiteY25054"/>
              </a:cxn>
              <a:cxn ang="0">
                <a:pos x="connsiteX25055" y="connsiteY25055"/>
              </a:cxn>
              <a:cxn ang="0">
                <a:pos x="connsiteX25056" y="connsiteY25056"/>
              </a:cxn>
              <a:cxn ang="0">
                <a:pos x="connsiteX25057" y="connsiteY25057"/>
              </a:cxn>
              <a:cxn ang="0">
                <a:pos x="connsiteX25058" y="connsiteY25058"/>
              </a:cxn>
              <a:cxn ang="0">
                <a:pos x="connsiteX25059" y="connsiteY25059"/>
              </a:cxn>
              <a:cxn ang="0">
                <a:pos x="connsiteX25060" y="connsiteY25060"/>
              </a:cxn>
              <a:cxn ang="0">
                <a:pos x="connsiteX25061" y="connsiteY25061"/>
              </a:cxn>
              <a:cxn ang="0">
                <a:pos x="connsiteX25062" y="connsiteY25062"/>
              </a:cxn>
              <a:cxn ang="0">
                <a:pos x="connsiteX25063" y="connsiteY25063"/>
              </a:cxn>
              <a:cxn ang="0">
                <a:pos x="connsiteX25064" y="connsiteY25064"/>
              </a:cxn>
              <a:cxn ang="0">
                <a:pos x="connsiteX25065" y="connsiteY25065"/>
              </a:cxn>
              <a:cxn ang="0">
                <a:pos x="connsiteX25066" y="connsiteY25066"/>
              </a:cxn>
              <a:cxn ang="0">
                <a:pos x="connsiteX25067" y="connsiteY25067"/>
              </a:cxn>
              <a:cxn ang="0">
                <a:pos x="connsiteX25068" y="connsiteY25068"/>
              </a:cxn>
              <a:cxn ang="0">
                <a:pos x="connsiteX25069" y="connsiteY25069"/>
              </a:cxn>
              <a:cxn ang="0">
                <a:pos x="connsiteX25070" y="connsiteY25070"/>
              </a:cxn>
              <a:cxn ang="0">
                <a:pos x="connsiteX25071" y="connsiteY25071"/>
              </a:cxn>
              <a:cxn ang="0">
                <a:pos x="connsiteX25072" y="connsiteY25072"/>
              </a:cxn>
              <a:cxn ang="0">
                <a:pos x="connsiteX25073" y="connsiteY25073"/>
              </a:cxn>
              <a:cxn ang="0">
                <a:pos x="connsiteX25074" y="connsiteY25074"/>
              </a:cxn>
              <a:cxn ang="0">
                <a:pos x="connsiteX25075" y="connsiteY25075"/>
              </a:cxn>
              <a:cxn ang="0">
                <a:pos x="connsiteX25076" y="connsiteY25076"/>
              </a:cxn>
              <a:cxn ang="0">
                <a:pos x="connsiteX25077" y="connsiteY25077"/>
              </a:cxn>
              <a:cxn ang="0">
                <a:pos x="connsiteX25078" y="connsiteY25078"/>
              </a:cxn>
              <a:cxn ang="0">
                <a:pos x="connsiteX25079" y="connsiteY25079"/>
              </a:cxn>
              <a:cxn ang="0">
                <a:pos x="connsiteX25080" y="connsiteY25080"/>
              </a:cxn>
              <a:cxn ang="0">
                <a:pos x="connsiteX25081" y="connsiteY25081"/>
              </a:cxn>
              <a:cxn ang="0">
                <a:pos x="connsiteX25082" y="connsiteY25082"/>
              </a:cxn>
              <a:cxn ang="0">
                <a:pos x="connsiteX25083" y="connsiteY25083"/>
              </a:cxn>
              <a:cxn ang="0">
                <a:pos x="connsiteX25084" y="connsiteY25084"/>
              </a:cxn>
              <a:cxn ang="0">
                <a:pos x="connsiteX25085" y="connsiteY25085"/>
              </a:cxn>
              <a:cxn ang="0">
                <a:pos x="connsiteX25086" y="connsiteY25086"/>
              </a:cxn>
              <a:cxn ang="0">
                <a:pos x="connsiteX25087" y="connsiteY25087"/>
              </a:cxn>
              <a:cxn ang="0">
                <a:pos x="connsiteX25088" y="connsiteY25088"/>
              </a:cxn>
              <a:cxn ang="0">
                <a:pos x="connsiteX25089" y="connsiteY25089"/>
              </a:cxn>
              <a:cxn ang="0">
                <a:pos x="connsiteX25090" y="connsiteY25090"/>
              </a:cxn>
              <a:cxn ang="0">
                <a:pos x="connsiteX25091" y="connsiteY25091"/>
              </a:cxn>
              <a:cxn ang="0">
                <a:pos x="connsiteX25092" y="connsiteY25092"/>
              </a:cxn>
              <a:cxn ang="0">
                <a:pos x="connsiteX25093" y="connsiteY25093"/>
              </a:cxn>
              <a:cxn ang="0">
                <a:pos x="connsiteX25094" y="connsiteY25094"/>
              </a:cxn>
              <a:cxn ang="0">
                <a:pos x="connsiteX25095" y="connsiteY25095"/>
              </a:cxn>
              <a:cxn ang="0">
                <a:pos x="connsiteX25096" y="connsiteY25096"/>
              </a:cxn>
              <a:cxn ang="0">
                <a:pos x="connsiteX25097" y="connsiteY25097"/>
              </a:cxn>
              <a:cxn ang="0">
                <a:pos x="connsiteX25098" y="connsiteY25098"/>
              </a:cxn>
              <a:cxn ang="0">
                <a:pos x="connsiteX25099" y="connsiteY25099"/>
              </a:cxn>
              <a:cxn ang="0">
                <a:pos x="connsiteX25100" y="connsiteY25100"/>
              </a:cxn>
              <a:cxn ang="0">
                <a:pos x="connsiteX25101" y="connsiteY25101"/>
              </a:cxn>
              <a:cxn ang="0">
                <a:pos x="connsiteX25102" y="connsiteY25102"/>
              </a:cxn>
              <a:cxn ang="0">
                <a:pos x="connsiteX25103" y="connsiteY25103"/>
              </a:cxn>
              <a:cxn ang="0">
                <a:pos x="connsiteX25104" y="connsiteY25104"/>
              </a:cxn>
              <a:cxn ang="0">
                <a:pos x="connsiteX25105" y="connsiteY25105"/>
              </a:cxn>
              <a:cxn ang="0">
                <a:pos x="connsiteX25106" y="connsiteY25106"/>
              </a:cxn>
              <a:cxn ang="0">
                <a:pos x="connsiteX25107" y="connsiteY25107"/>
              </a:cxn>
              <a:cxn ang="0">
                <a:pos x="connsiteX25108" y="connsiteY25108"/>
              </a:cxn>
              <a:cxn ang="0">
                <a:pos x="connsiteX25109" y="connsiteY25109"/>
              </a:cxn>
              <a:cxn ang="0">
                <a:pos x="connsiteX25110" y="connsiteY25110"/>
              </a:cxn>
              <a:cxn ang="0">
                <a:pos x="connsiteX25111" y="connsiteY25111"/>
              </a:cxn>
              <a:cxn ang="0">
                <a:pos x="connsiteX25112" y="connsiteY25112"/>
              </a:cxn>
              <a:cxn ang="0">
                <a:pos x="connsiteX25113" y="connsiteY25113"/>
              </a:cxn>
              <a:cxn ang="0">
                <a:pos x="connsiteX25114" y="connsiteY25114"/>
              </a:cxn>
              <a:cxn ang="0">
                <a:pos x="connsiteX25115" y="connsiteY25115"/>
              </a:cxn>
              <a:cxn ang="0">
                <a:pos x="connsiteX25116" y="connsiteY25116"/>
              </a:cxn>
              <a:cxn ang="0">
                <a:pos x="connsiteX25117" y="connsiteY25117"/>
              </a:cxn>
              <a:cxn ang="0">
                <a:pos x="connsiteX25118" y="connsiteY25118"/>
              </a:cxn>
              <a:cxn ang="0">
                <a:pos x="connsiteX25119" y="connsiteY25119"/>
              </a:cxn>
              <a:cxn ang="0">
                <a:pos x="connsiteX25120" y="connsiteY25120"/>
              </a:cxn>
              <a:cxn ang="0">
                <a:pos x="connsiteX25121" y="connsiteY25121"/>
              </a:cxn>
              <a:cxn ang="0">
                <a:pos x="connsiteX25122" y="connsiteY25122"/>
              </a:cxn>
              <a:cxn ang="0">
                <a:pos x="connsiteX25123" y="connsiteY25123"/>
              </a:cxn>
              <a:cxn ang="0">
                <a:pos x="connsiteX25124" y="connsiteY25124"/>
              </a:cxn>
              <a:cxn ang="0">
                <a:pos x="connsiteX25125" y="connsiteY25125"/>
              </a:cxn>
              <a:cxn ang="0">
                <a:pos x="connsiteX25126" y="connsiteY25126"/>
              </a:cxn>
              <a:cxn ang="0">
                <a:pos x="connsiteX25127" y="connsiteY25127"/>
              </a:cxn>
              <a:cxn ang="0">
                <a:pos x="connsiteX25128" y="connsiteY25128"/>
              </a:cxn>
              <a:cxn ang="0">
                <a:pos x="connsiteX25129" y="connsiteY25129"/>
              </a:cxn>
              <a:cxn ang="0">
                <a:pos x="connsiteX25130" y="connsiteY25130"/>
              </a:cxn>
              <a:cxn ang="0">
                <a:pos x="connsiteX25131" y="connsiteY25131"/>
              </a:cxn>
              <a:cxn ang="0">
                <a:pos x="connsiteX25132" y="connsiteY25132"/>
              </a:cxn>
              <a:cxn ang="0">
                <a:pos x="connsiteX25133" y="connsiteY25133"/>
              </a:cxn>
              <a:cxn ang="0">
                <a:pos x="connsiteX25134" y="connsiteY25134"/>
              </a:cxn>
              <a:cxn ang="0">
                <a:pos x="connsiteX25135" y="connsiteY25135"/>
              </a:cxn>
              <a:cxn ang="0">
                <a:pos x="connsiteX25136" y="connsiteY25136"/>
              </a:cxn>
              <a:cxn ang="0">
                <a:pos x="connsiteX25137" y="connsiteY25137"/>
              </a:cxn>
              <a:cxn ang="0">
                <a:pos x="connsiteX25138" y="connsiteY25138"/>
              </a:cxn>
              <a:cxn ang="0">
                <a:pos x="connsiteX25139" y="connsiteY25139"/>
              </a:cxn>
              <a:cxn ang="0">
                <a:pos x="connsiteX25140" y="connsiteY25140"/>
              </a:cxn>
              <a:cxn ang="0">
                <a:pos x="connsiteX25141" y="connsiteY25141"/>
              </a:cxn>
              <a:cxn ang="0">
                <a:pos x="connsiteX25142" y="connsiteY25142"/>
              </a:cxn>
              <a:cxn ang="0">
                <a:pos x="connsiteX25143" y="connsiteY25143"/>
              </a:cxn>
              <a:cxn ang="0">
                <a:pos x="connsiteX25144" y="connsiteY25144"/>
              </a:cxn>
              <a:cxn ang="0">
                <a:pos x="connsiteX25145" y="connsiteY25145"/>
              </a:cxn>
              <a:cxn ang="0">
                <a:pos x="connsiteX25146" y="connsiteY25146"/>
              </a:cxn>
              <a:cxn ang="0">
                <a:pos x="connsiteX25147" y="connsiteY25147"/>
              </a:cxn>
              <a:cxn ang="0">
                <a:pos x="connsiteX25148" y="connsiteY25148"/>
              </a:cxn>
              <a:cxn ang="0">
                <a:pos x="connsiteX25149" y="connsiteY25149"/>
              </a:cxn>
              <a:cxn ang="0">
                <a:pos x="connsiteX25150" y="connsiteY25150"/>
              </a:cxn>
              <a:cxn ang="0">
                <a:pos x="connsiteX25151" y="connsiteY25151"/>
              </a:cxn>
              <a:cxn ang="0">
                <a:pos x="connsiteX25152" y="connsiteY25152"/>
              </a:cxn>
              <a:cxn ang="0">
                <a:pos x="connsiteX25153" y="connsiteY25153"/>
              </a:cxn>
              <a:cxn ang="0">
                <a:pos x="connsiteX25154" y="connsiteY25154"/>
              </a:cxn>
              <a:cxn ang="0">
                <a:pos x="connsiteX25155" y="connsiteY25155"/>
              </a:cxn>
              <a:cxn ang="0">
                <a:pos x="connsiteX25156" y="connsiteY25156"/>
              </a:cxn>
              <a:cxn ang="0">
                <a:pos x="connsiteX25157" y="connsiteY25157"/>
              </a:cxn>
              <a:cxn ang="0">
                <a:pos x="connsiteX25158" y="connsiteY25158"/>
              </a:cxn>
              <a:cxn ang="0">
                <a:pos x="connsiteX25159" y="connsiteY25159"/>
              </a:cxn>
              <a:cxn ang="0">
                <a:pos x="connsiteX25160" y="connsiteY25160"/>
              </a:cxn>
              <a:cxn ang="0">
                <a:pos x="connsiteX25161" y="connsiteY25161"/>
              </a:cxn>
              <a:cxn ang="0">
                <a:pos x="connsiteX25162" y="connsiteY25162"/>
              </a:cxn>
              <a:cxn ang="0">
                <a:pos x="connsiteX25163" y="connsiteY25163"/>
              </a:cxn>
              <a:cxn ang="0">
                <a:pos x="connsiteX25164" y="connsiteY25164"/>
              </a:cxn>
              <a:cxn ang="0">
                <a:pos x="connsiteX25165" y="connsiteY25165"/>
              </a:cxn>
              <a:cxn ang="0">
                <a:pos x="connsiteX25166" y="connsiteY25166"/>
              </a:cxn>
              <a:cxn ang="0">
                <a:pos x="connsiteX25167" y="connsiteY25167"/>
              </a:cxn>
              <a:cxn ang="0">
                <a:pos x="connsiteX25168" y="connsiteY25168"/>
              </a:cxn>
              <a:cxn ang="0">
                <a:pos x="connsiteX25169" y="connsiteY25169"/>
              </a:cxn>
              <a:cxn ang="0">
                <a:pos x="connsiteX25170" y="connsiteY25170"/>
              </a:cxn>
              <a:cxn ang="0">
                <a:pos x="connsiteX25171" y="connsiteY25171"/>
              </a:cxn>
              <a:cxn ang="0">
                <a:pos x="connsiteX25172" y="connsiteY25172"/>
              </a:cxn>
              <a:cxn ang="0">
                <a:pos x="connsiteX25173" y="connsiteY25173"/>
              </a:cxn>
              <a:cxn ang="0">
                <a:pos x="connsiteX25174" y="connsiteY25174"/>
              </a:cxn>
              <a:cxn ang="0">
                <a:pos x="connsiteX25175" y="connsiteY25175"/>
              </a:cxn>
              <a:cxn ang="0">
                <a:pos x="connsiteX25176" y="connsiteY25176"/>
              </a:cxn>
              <a:cxn ang="0">
                <a:pos x="connsiteX25177" y="connsiteY25177"/>
              </a:cxn>
              <a:cxn ang="0">
                <a:pos x="connsiteX25178" y="connsiteY25178"/>
              </a:cxn>
              <a:cxn ang="0">
                <a:pos x="connsiteX25179" y="connsiteY25179"/>
              </a:cxn>
              <a:cxn ang="0">
                <a:pos x="connsiteX25180" y="connsiteY25180"/>
              </a:cxn>
              <a:cxn ang="0">
                <a:pos x="connsiteX25181" y="connsiteY25181"/>
              </a:cxn>
              <a:cxn ang="0">
                <a:pos x="connsiteX25182" y="connsiteY25182"/>
              </a:cxn>
              <a:cxn ang="0">
                <a:pos x="connsiteX25183" y="connsiteY25183"/>
              </a:cxn>
              <a:cxn ang="0">
                <a:pos x="connsiteX25184" y="connsiteY25184"/>
              </a:cxn>
              <a:cxn ang="0">
                <a:pos x="connsiteX25185" y="connsiteY25185"/>
              </a:cxn>
              <a:cxn ang="0">
                <a:pos x="connsiteX25186" y="connsiteY25186"/>
              </a:cxn>
              <a:cxn ang="0">
                <a:pos x="connsiteX25187" y="connsiteY25187"/>
              </a:cxn>
              <a:cxn ang="0">
                <a:pos x="connsiteX25188" y="connsiteY25188"/>
              </a:cxn>
              <a:cxn ang="0">
                <a:pos x="connsiteX25189" y="connsiteY25189"/>
              </a:cxn>
              <a:cxn ang="0">
                <a:pos x="connsiteX25190" y="connsiteY25190"/>
              </a:cxn>
              <a:cxn ang="0">
                <a:pos x="connsiteX25191" y="connsiteY25191"/>
              </a:cxn>
              <a:cxn ang="0">
                <a:pos x="connsiteX25192" y="connsiteY25192"/>
              </a:cxn>
              <a:cxn ang="0">
                <a:pos x="connsiteX25193" y="connsiteY25193"/>
              </a:cxn>
              <a:cxn ang="0">
                <a:pos x="connsiteX25194" y="connsiteY25194"/>
              </a:cxn>
              <a:cxn ang="0">
                <a:pos x="connsiteX25195" y="connsiteY25195"/>
              </a:cxn>
              <a:cxn ang="0">
                <a:pos x="connsiteX25196" y="connsiteY25196"/>
              </a:cxn>
              <a:cxn ang="0">
                <a:pos x="connsiteX25197" y="connsiteY25197"/>
              </a:cxn>
              <a:cxn ang="0">
                <a:pos x="connsiteX25198" y="connsiteY25198"/>
              </a:cxn>
              <a:cxn ang="0">
                <a:pos x="connsiteX25199" y="connsiteY25199"/>
              </a:cxn>
              <a:cxn ang="0">
                <a:pos x="connsiteX25200" y="connsiteY25200"/>
              </a:cxn>
              <a:cxn ang="0">
                <a:pos x="connsiteX25201" y="connsiteY25201"/>
              </a:cxn>
              <a:cxn ang="0">
                <a:pos x="connsiteX25202" y="connsiteY25202"/>
              </a:cxn>
              <a:cxn ang="0">
                <a:pos x="connsiteX25203" y="connsiteY25203"/>
              </a:cxn>
              <a:cxn ang="0">
                <a:pos x="connsiteX25204" y="connsiteY25204"/>
              </a:cxn>
              <a:cxn ang="0">
                <a:pos x="connsiteX25205" y="connsiteY25205"/>
              </a:cxn>
              <a:cxn ang="0">
                <a:pos x="connsiteX25206" y="connsiteY25206"/>
              </a:cxn>
              <a:cxn ang="0">
                <a:pos x="connsiteX25207" y="connsiteY25207"/>
              </a:cxn>
              <a:cxn ang="0">
                <a:pos x="connsiteX25208" y="connsiteY25208"/>
              </a:cxn>
              <a:cxn ang="0">
                <a:pos x="connsiteX25209" y="connsiteY25209"/>
              </a:cxn>
              <a:cxn ang="0">
                <a:pos x="connsiteX25210" y="connsiteY25210"/>
              </a:cxn>
              <a:cxn ang="0">
                <a:pos x="connsiteX25211" y="connsiteY25211"/>
              </a:cxn>
              <a:cxn ang="0">
                <a:pos x="connsiteX25212" y="connsiteY25212"/>
              </a:cxn>
              <a:cxn ang="0">
                <a:pos x="connsiteX25213" y="connsiteY25213"/>
              </a:cxn>
              <a:cxn ang="0">
                <a:pos x="connsiteX25214" y="connsiteY25214"/>
              </a:cxn>
              <a:cxn ang="0">
                <a:pos x="connsiteX25215" y="connsiteY25215"/>
              </a:cxn>
              <a:cxn ang="0">
                <a:pos x="connsiteX25216" y="connsiteY25216"/>
              </a:cxn>
              <a:cxn ang="0">
                <a:pos x="connsiteX25217" y="connsiteY25217"/>
              </a:cxn>
              <a:cxn ang="0">
                <a:pos x="connsiteX25218" y="connsiteY25218"/>
              </a:cxn>
              <a:cxn ang="0">
                <a:pos x="connsiteX25219" y="connsiteY25219"/>
              </a:cxn>
              <a:cxn ang="0">
                <a:pos x="connsiteX25220" y="connsiteY25220"/>
              </a:cxn>
              <a:cxn ang="0">
                <a:pos x="connsiteX25221" y="connsiteY25221"/>
              </a:cxn>
              <a:cxn ang="0">
                <a:pos x="connsiteX25222" y="connsiteY25222"/>
              </a:cxn>
              <a:cxn ang="0">
                <a:pos x="connsiteX25223" y="connsiteY25223"/>
              </a:cxn>
              <a:cxn ang="0">
                <a:pos x="connsiteX25224" y="connsiteY25224"/>
              </a:cxn>
              <a:cxn ang="0">
                <a:pos x="connsiteX25225" y="connsiteY25225"/>
              </a:cxn>
              <a:cxn ang="0">
                <a:pos x="connsiteX25226" y="connsiteY25226"/>
              </a:cxn>
              <a:cxn ang="0">
                <a:pos x="connsiteX25227" y="connsiteY25227"/>
              </a:cxn>
              <a:cxn ang="0">
                <a:pos x="connsiteX25228" y="connsiteY25228"/>
              </a:cxn>
              <a:cxn ang="0">
                <a:pos x="connsiteX25229" y="connsiteY25229"/>
              </a:cxn>
              <a:cxn ang="0">
                <a:pos x="connsiteX25230" y="connsiteY25230"/>
              </a:cxn>
              <a:cxn ang="0">
                <a:pos x="connsiteX25231" y="connsiteY25231"/>
              </a:cxn>
              <a:cxn ang="0">
                <a:pos x="connsiteX25232" y="connsiteY25232"/>
              </a:cxn>
              <a:cxn ang="0">
                <a:pos x="connsiteX25233" y="connsiteY25233"/>
              </a:cxn>
              <a:cxn ang="0">
                <a:pos x="connsiteX25234" y="connsiteY25234"/>
              </a:cxn>
              <a:cxn ang="0">
                <a:pos x="connsiteX25235" y="connsiteY25235"/>
              </a:cxn>
              <a:cxn ang="0">
                <a:pos x="connsiteX25236" y="connsiteY25236"/>
              </a:cxn>
              <a:cxn ang="0">
                <a:pos x="connsiteX25237" y="connsiteY25237"/>
              </a:cxn>
              <a:cxn ang="0">
                <a:pos x="connsiteX25238" y="connsiteY25238"/>
              </a:cxn>
              <a:cxn ang="0">
                <a:pos x="connsiteX25239" y="connsiteY25239"/>
              </a:cxn>
              <a:cxn ang="0">
                <a:pos x="connsiteX25240" y="connsiteY25240"/>
              </a:cxn>
              <a:cxn ang="0">
                <a:pos x="connsiteX25241" y="connsiteY25241"/>
              </a:cxn>
              <a:cxn ang="0">
                <a:pos x="connsiteX25242" y="connsiteY25242"/>
              </a:cxn>
              <a:cxn ang="0">
                <a:pos x="connsiteX25243" y="connsiteY25243"/>
              </a:cxn>
              <a:cxn ang="0">
                <a:pos x="connsiteX25244" y="connsiteY25244"/>
              </a:cxn>
              <a:cxn ang="0">
                <a:pos x="connsiteX25245" y="connsiteY25245"/>
              </a:cxn>
              <a:cxn ang="0">
                <a:pos x="connsiteX25246" y="connsiteY25246"/>
              </a:cxn>
              <a:cxn ang="0">
                <a:pos x="connsiteX25247" y="connsiteY25247"/>
              </a:cxn>
              <a:cxn ang="0">
                <a:pos x="connsiteX25248" y="connsiteY25248"/>
              </a:cxn>
              <a:cxn ang="0">
                <a:pos x="connsiteX25249" y="connsiteY25249"/>
              </a:cxn>
              <a:cxn ang="0">
                <a:pos x="connsiteX25250" y="connsiteY25250"/>
              </a:cxn>
              <a:cxn ang="0">
                <a:pos x="connsiteX25251" y="connsiteY25251"/>
              </a:cxn>
              <a:cxn ang="0">
                <a:pos x="connsiteX25252" y="connsiteY25252"/>
              </a:cxn>
              <a:cxn ang="0">
                <a:pos x="connsiteX25253" y="connsiteY25253"/>
              </a:cxn>
              <a:cxn ang="0">
                <a:pos x="connsiteX25254" y="connsiteY25254"/>
              </a:cxn>
              <a:cxn ang="0">
                <a:pos x="connsiteX25255" y="connsiteY25255"/>
              </a:cxn>
              <a:cxn ang="0">
                <a:pos x="connsiteX25256" y="connsiteY25256"/>
              </a:cxn>
              <a:cxn ang="0">
                <a:pos x="connsiteX25257" y="connsiteY25257"/>
              </a:cxn>
              <a:cxn ang="0">
                <a:pos x="connsiteX25258" y="connsiteY25258"/>
              </a:cxn>
              <a:cxn ang="0">
                <a:pos x="connsiteX25259" y="connsiteY25259"/>
              </a:cxn>
              <a:cxn ang="0">
                <a:pos x="connsiteX25260" y="connsiteY25260"/>
              </a:cxn>
              <a:cxn ang="0">
                <a:pos x="connsiteX25261" y="connsiteY25261"/>
              </a:cxn>
              <a:cxn ang="0">
                <a:pos x="connsiteX25262" y="connsiteY25262"/>
              </a:cxn>
              <a:cxn ang="0">
                <a:pos x="connsiteX25263" y="connsiteY25263"/>
              </a:cxn>
              <a:cxn ang="0">
                <a:pos x="connsiteX25264" y="connsiteY25264"/>
              </a:cxn>
              <a:cxn ang="0">
                <a:pos x="connsiteX25265" y="connsiteY25265"/>
              </a:cxn>
              <a:cxn ang="0">
                <a:pos x="connsiteX25266" y="connsiteY25266"/>
              </a:cxn>
              <a:cxn ang="0">
                <a:pos x="connsiteX25267" y="connsiteY25267"/>
              </a:cxn>
              <a:cxn ang="0">
                <a:pos x="connsiteX25268" y="connsiteY25268"/>
              </a:cxn>
              <a:cxn ang="0">
                <a:pos x="connsiteX25269" y="connsiteY25269"/>
              </a:cxn>
              <a:cxn ang="0">
                <a:pos x="connsiteX25270" y="connsiteY25270"/>
              </a:cxn>
              <a:cxn ang="0">
                <a:pos x="connsiteX25271" y="connsiteY25271"/>
              </a:cxn>
              <a:cxn ang="0">
                <a:pos x="connsiteX25272" y="connsiteY25272"/>
              </a:cxn>
              <a:cxn ang="0">
                <a:pos x="connsiteX25273" y="connsiteY25273"/>
              </a:cxn>
              <a:cxn ang="0">
                <a:pos x="connsiteX25274" y="connsiteY25274"/>
              </a:cxn>
              <a:cxn ang="0">
                <a:pos x="connsiteX25275" y="connsiteY25275"/>
              </a:cxn>
              <a:cxn ang="0">
                <a:pos x="connsiteX25276" y="connsiteY25276"/>
              </a:cxn>
              <a:cxn ang="0">
                <a:pos x="connsiteX25277" y="connsiteY25277"/>
              </a:cxn>
              <a:cxn ang="0">
                <a:pos x="connsiteX25278" y="connsiteY25278"/>
              </a:cxn>
              <a:cxn ang="0">
                <a:pos x="connsiteX25279" y="connsiteY25279"/>
              </a:cxn>
              <a:cxn ang="0">
                <a:pos x="connsiteX25280" y="connsiteY25280"/>
              </a:cxn>
              <a:cxn ang="0">
                <a:pos x="connsiteX25281" y="connsiteY25281"/>
              </a:cxn>
              <a:cxn ang="0">
                <a:pos x="connsiteX25282" y="connsiteY25282"/>
              </a:cxn>
              <a:cxn ang="0">
                <a:pos x="connsiteX25283" y="connsiteY25283"/>
              </a:cxn>
              <a:cxn ang="0">
                <a:pos x="connsiteX25284" y="connsiteY25284"/>
              </a:cxn>
              <a:cxn ang="0">
                <a:pos x="connsiteX25285" y="connsiteY25285"/>
              </a:cxn>
              <a:cxn ang="0">
                <a:pos x="connsiteX25286" y="connsiteY25286"/>
              </a:cxn>
              <a:cxn ang="0">
                <a:pos x="connsiteX25287" y="connsiteY25287"/>
              </a:cxn>
              <a:cxn ang="0">
                <a:pos x="connsiteX25288" y="connsiteY25288"/>
              </a:cxn>
              <a:cxn ang="0">
                <a:pos x="connsiteX25289" y="connsiteY25289"/>
              </a:cxn>
              <a:cxn ang="0">
                <a:pos x="connsiteX25290" y="connsiteY25290"/>
              </a:cxn>
              <a:cxn ang="0">
                <a:pos x="connsiteX25291" y="connsiteY25291"/>
              </a:cxn>
              <a:cxn ang="0">
                <a:pos x="connsiteX25292" y="connsiteY25292"/>
              </a:cxn>
              <a:cxn ang="0">
                <a:pos x="connsiteX25293" y="connsiteY25293"/>
              </a:cxn>
              <a:cxn ang="0">
                <a:pos x="connsiteX25294" y="connsiteY25294"/>
              </a:cxn>
              <a:cxn ang="0">
                <a:pos x="connsiteX25295" y="connsiteY25295"/>
              </a:cxn>
              <a:cxn ang="0">
                <a:pos x="connsiteX25296" y="connsiteY25296"/>
              </a:cxn>
              <a:cxn ang="0">
                <a:pos x="connsiteX25297" y="connsiteY25297"/>
              </a:cxn>
              <a:cxn ang="0">
                <a:pos x="connsiteX25298" y="connsiteY25298"/>
              </a:cxn>
              <a:cxn ang="0">
                <a:pos x="connsiteX25299" y="connsiteY25299"/>
              </a:cxn>
              <a:cxn ang="0">
                <a:pos x="connsiteX25300" y="connsiteY25300"/>
              </a:cxn>
              <a:cxn ang="0">
                <a:pos x="connsiteX25301" y="connsiteY25301"/>
              </a:cxn>
              <a:cxn ang="0">
                <a:pos x="connsiteX25302" y="connsiteY25302"/>
              </a:cxn>
              <a:cxn ang="0">
                <a:pos x="connsiteX25303" y="connsiteY25303"/>
              </a:cxn>
              <a:cxn ang="0">
                <a:pos x="connsiteX25304" y="connsiteY25304"/>
              </a:cxn>
              <a:cxn ang="0">
                <a:pos x="connsiteX25305" y="connsiteY25305"/>
              </a:cxn>
              <a:cxn ang="0">
                <a:pos x="connsiteX25306" y="connsiteY25306"/>
              </a:cxn>
              <a:cxn ang="0">
                <a:pos x="connsiteX25307" y="connsiteY25307"/>
              </a:cxn>
              <a:cxn ang="0">
                <a:pos x="connsiteX25308" y="connsiteY25308"/>
              </a:cxn>
              <a:cxn ang="0">
                <a:pos x="connsiteX25309" y="connsiteY25309"/>
              </a:cxn>
              <a:cxn ang="0">
                <a:pos x="connsiteX25310" y="connsiteY25310"/>
              </a:cxn>
              <a:cxn ang="0">
                <a:pos x="connsiteX25311" y="connsiteY25311"/>
              </a:cxn>
              <a:cxn ang="0">
                <a:pos x="connsiteX25312" y="connsiteY25312"/>
              </a:cxn>
              <a:cxn ang="0">
                <a:pos x="connsiteX25313" y="connsiteY25313"/>
              </a:cxn>
              <a:cxn ang="0">
                <a:pos x="connsiteX25314" y="connsiteY25314"/>
              </a:cxn>
              <a:cxn ang="0">
                <a:pos x="connsiteX25315" y="connsiteY25315"/>
              </a:cxn>
              <a:cxn ang="0">
                <a:pos x="connsiteX25316" y="connsiteY25316"/>
              </a:cxn>
              <a:cxn ang="0">
                <a:pos x="connsiteX25317" y="connsiteY25317"/>
              </a:cxn>
              <a:cxn ang="0">
                <a:pos x="connsiteX25318" y="connsiteY25318"/>
              </a:cxn>
              <a:cxn ang="0">
                <a:pos x="connsiteX25319" y="connsiteY25319"/>
              </a:cxn>
              <a:cxn ang="0">
                <a:pos x="connsiteX25320" y="connsiteY25320"/>
              </a:cxn>
              <a:cxn ang="0">
                <a:pos x="connsiteX25321" y="connsiteY25321"/>
              </a:cxn>
              <a:cxn ang="0">
                <a:pos x="connsiteX25322" y="connsiteY25322"/>
              </a:cxn>
              <a:cxn ang="0">
                <a:pos x="connsiteX25323" y="connsiteY25323"/>
              </a:cxn>
              <a:cxn ang="0">
                <a:pos x="connsiteX25324" y="connsiteY25324"/>
              </a:cxn>
              <a:cxn ang="0">
                <a:pos x="connsiteX25325" y="connsiteY25325"/>
              </a:cxn>
              <a:cxn ang="0">
                <a:pos x="connsiteX25326" y="connsiteY25326"/>
              </a:cxn>
              <a:cxn ang="0">
                <a:pos x="connsiteX25327" y="connsiteY25327"/>
              </a:cxn>
              <a:cxn ang="0">
                <a:pos x="connsiteX25328" y="connsiteY25328"/>
              </a:cxn>
              <a:cxn ang="0">
                <a:pos x="connsiteX25329" y="connsiteY25329"/>
              </a:cxn>
              <a:cxn ang="0">
                <a:pos x="connsiteX25330" y="connsiteY25330"/>
              </a:cxn>
              <a:cxn ang="0">
                <a:pos x="connsiteX25331" y="connsiteY25331"/>
              </a:cxn>
              <a:cxn ang="0">
                <a:pos x="connsiteX25332" y="connsiteY25332"/>
              </a:cxn>
              <a:cxn ang="0">
                <a:pos x="connsiteX25333" y="connsiteY25333"/>
              </a:cxn>
              <a:cxn ang="0">
                <a:pos x="connsiteX25334" y="connsiteY25334"/>
              </a:cxn>
              <a:cxn ang="0">
                <a:pos x="connsiteX25335" y="connsiteY25335"/>
              </a:cxn>
              <a:cxn ang="0">
                <a:pos x="connsiteX25336" y="connsiteY25336"/>
              </a:cxn>
              <a:cxn ang="0">
                <a:pos x="connsiteX25337" y="connsiteY25337"/>
              </a:cxn>
              <a:cxn ang="0">
                <a:pos x="connsiteX25338" y="connsiteY25338"/>
              </a:cxn>
              <a:cxn ang="0">
                <a:pos x="connsiteX25339" y="connsiteY25339"/>
              </a:cxn>
              <a:cxn ang="0">
                <a:pos x="connsiteX25340" y="connsiteY25340"/>
              </a:cxn>
              <a:cxn ang="0">
                <a:pos x="connsiteX25341" y="connsiteY25341"/>
              </a:cxn>
              <a:cxn ang="0">
                <a:pos x="connsiteX25342" y="connsiteY25342"/>
              </a:cxn>
              <a:cxn ang="0">
                <a:pos x="connsiteX25343" y="connsiteY25343"/>
              </a:cxn>
              <a:cxn ang="0">
                <a:pos x="connsiteX25344" y="connsiteY25344"/>
              </a:cxn>
              <a:cxn ang="0">
                <a:pos x="connsiteX25345" y="connsiteY25345"/>
              </a:cxn>
              <a:cxn ang="0">
                <a:pos x="connsiteX25346" y="connsiteY25346"/>
              </a:cxn>
              <a:cxn ang="0">
                <a:pos x="connsiteX25347" y="connsiteY25347"/>
              </a:cxn>
              <a:cxn ang="0">
                <a:pos x="connsiteX25348" y="connsiteY25348"/>
              </a:cxn>
              <a:cxn ang="0">
                <a:pos x="connsiteX25349" y="connsiteY25349"/>
              </a:cxn>
              <a:cxn ang="0">
                <a:pos x="connsiteX25350" y="connsiteY25350"/>
              </a:cxn>
              <a:cxn ang="0">
                <a:pos x="connsiteX25351" y="connsiteY25351"/>
              </a:cxn>
              <a:cxn ang="0">
                <a:pos x="connsiteX25352" y="connsiteY25352"/>
              </a:cxn>
              <a:cxn ang="0">
                <a:pos x="connsiteX25353" y="connsiteY25353"/>
              </a:cxn>
              <a:cxn ang="0">
                <a:pos x="connsiteX25354" y="connsiteY25354"/>
              </a:cxn>
              <a:cxn ang="0">
                <a:pos x="connsiteX25355" y="connsiteY25355"/>
              </a:cxn>
              <a:cxn ang="0">
                <a:pos x="connsiteX25356" y="connsiteY25356"/>
              </a:cxn>
              <a:cxn ang="0">
                <a:pos x="connsiteX25357" y="connsiteY25357"/>
              </a:cxn>
              <a:cxn ang="0">
                <a:pos x="connsiteX25358" y="connsiteY25358"/>
              </a:cxn>
              <a:cxn ang="0">
                <a:pos x="connsiteX25359" y="connsiteY25359"/>
              </a:cxn>
              <a:cxn ang="0">
                <a:pos x="connsiteX25360" y="connsiteY25360"/>
              </a:cxn>
              <a:cxn ang="0">
                <a:pos x="connsiteX25361" y="connsiteY25361"/>
              </a:cxn>
              <a:cxn ang="0">
                <a:pos x="connsiteX25362" y="connsiteY25362"/>
              </a:cxn>
              <a:cxn ang="0">
                <a:pos x="connsiteX25363" y="connsiteY25363"/>
              </a:cxn>
              <a:cxn ang="0">
                <a:pos x="connsiteX25364" y="connsiteY25364"/>
              </a:cxn>
              <a:cxn ang="0">
                <a:pos x="connsiteX25365" y="connsiteY25365"/>
              </a:cxn>
              <a:cxn ang="0">
                <a:pos x="connsiteX25366" y="connsiteY25366"/>
              </a:cxn>
              <a:cxn ang="0">
                <a:pos x="connsiteX25367" y="connsiteY25367"/>
              </a:cxn>
              <a:cxn ang="0">
                <a:pos x="connsiteX25368" y="connsiteY25368"/>
              </a:cxn>
              <a:cxn ang="0">
                <a:pos x="connsiteX25369" y="connsiteY25369"/>
              </a:cxn>
              <a:cxn ang="0">
                <a:pos x="connsiteX25370" y="connsiteY25370"/>
              </a:cxn>
              <a:cxn ang="0">
                <a:pos x="connsiteX25371" y="connsiteY25371"/>
              </a:cxn>
              <a:cxn ang="0">
                <a:pos x="connsiteX25372" y="connsiteY25372"/>
              </a:cxn>
              <a:cxn ang="0">
                <a:pos x="connsiteX25373" y="connsiteY25373"/>
              </a:cxn>
              <a:cxn ang="0">
                <a:pos x="connsiteX25374" y="connsiteY25374"/>
              </a:cxn>
              <a:cxn ang="0">
                <a:pos x="connsiteX25375" y="connsiteY25375"/>
              </a:cxn>
              <a:cxn ang="0">
                <a:pos x="connsiteX25376" y="connsiteY25376"/>
              </a:cxn>
              <a:cxn ang="0">
                <a:pos x="connsiteX25377" y="connsiteY25377"/>
              </a:cxn>
              <a:cxn ang="0">
                <a:pos x="connsiteX25378" y="connsiteY25378"/>
              </a:cxn>
              <a:cxn ang="0">
                <a:pos x="connsiteX25379" y="connsiteY25379"/>
              </a:cxn>
              <a:cxn ang="0">
                <a:pos x="connsiteX25380" y="connsiteY25380"/>
              </a:cxn>
              <a:cxn ang="0">
                <a:pos x="connsiteX25381" y="connsiteY25381"/>
              </a:cxn>
              <a:cxn ang="0">
                <a:pos x="connsiteX25382" y="connsiteY25382"/>
              </a:cxn>
              <a:cxn ang="0">
                <a:pos x="connsiteX25383" y="connsiteY25383"/>
              </a:cxn>
              <a:cxn ang="0">
                <a:pos x="connsiteX25384" y="connsiteY25384"/>
              </a:cxn>
              <a:cxn ang="0">
                <a:pos x="connsiteX25385" y="connsiteY25385"/>
              </a:cxn>
              <a:cxn ang="0">
                <a:pos x="connsiteX25386" y="connsiteY25386"/>
              </a:cxn>
              <a:cxn ang="0">
                <a:pos x="connsiteX25387" y="connsiteY25387"/>
              </a:cxn>
              <a:cxn ang="0">
                <a:pos x="connsiteX25388" y="connsiteY25388"/>
              </a:cxn>
              <a:cxn ang="0">
                <a:pos x="connsiteX25389" y="connsiteY25389"/>
              </a:cxn>
              <a:cxn ang="0">
                <a:pos x="connsiteX25390" y="connsiteY25390"/>
              </a:cxn>
              <a:cxn ang="0">
                <a:pos x="connsiteX25391" y="connsiteY25391"/>
              </a:cxn>
              <a:cxn ang="0">
                <a:pos x="connsiteX25392" y="connsiteY25392"/>
              </a:cxn>
              <a:cxn ang="0">
                <a:pos x="connsiteX25393" y="connsiteY25393"/>
              </a:cxn>
              <a:cxn ang="0">
                <a:pos x="connsiteX25394" y="connsiteY25394"/>
              </a:cxn>
              <a:cxn ang="0">
                <a:pos x="connsiteX25395" y="connsiteY25395"/>
              </a:cxn>
              <a:cxn ang="0">
                <a:pos x="connsiteX25396" y="connsiteY25396"/>
              </a:cxn>
              <a:cxn ang="0">
                <a:pos x="connsiteX25397" y="connsiteY25397"/>
              </a:cxn>
              <a:cxn ang="0">
                <a:pos x="connsiteX25398" y="connsiteY25398"/>
              </a:cxn>
              <a:cxn ang="0">
                <a:pos x="connsiteX25399" y="connsiteY25399"/>
              </a:cxn>
              <a:cxn ang="0">
                <a:pos x="connsiteX25400" y="connsiteY25400"/>
              </a:cxn>
              <a:cxn ang="0">
                <a:pos x="connsiteX25401" y="connsiteY25401"/>
              </a:cxn>
              <a:cxn ang="0">
                <a:pos x="connsiteX25402" y="connsiteY25402"/>
              </a:cxn>
              <a:cxn ang="0">
                <a:pos x="connsiteX25403" y="connsiteY25403"/>
              </a:cxn>
              <a:cxn ang="0">
                <a:pos x="connsiteX25404" y="connsiteY25404"/>
              </a:cxn>
              <a:cxn ang="0">
                <a:pos x="connsiteX25405" y="connsiteY25405"/>
              </a:cxn>
              <a:cxn ang="0">
                <a:pos x="connsiteX25406" y="connsiteY25406"/>
              </a:cxn>
              <a:cxn ang="0">
                <a:pos x="connsiteX25407" y="connsiteY25407"/>
              </a:cxn>
              <a:cxn ang="0">
                <a:pos x="connsiteX25408" y="connsiteY25408"/>
              </a:cxn>
              <a:cxn ang="0">
                <a:pos x="connsiteX25409" y="connsiteY25409"/>
              </a:cxn>
              <a:cxn ang="0">
                <a:pos x="connsiteX25410" y="connsiteY25410"/>
              </a:cxn>
              <a:cxn ang="0">
                <a:pos x="connsiteX25411" y="connsiteY25411"/>
              </a:cxn>
              <a:cxn ang="0">
                <a:pos x="connsiteX25412" y="connsiteY25412"/>
              </a:cxn>
              <a:cxn ang="0">
                <a:pos x="connsiteX25413" y="connsiteY25413"/>
              </a:cxn>
              <a:cxn ang="0">
                <a:pos x="connsiteX25414" y="connsiteY25414"/>
              </a:cxn>
              <a:cxn ang="0">
                <a:pos x="connsiteX25415" y="connsiteY25415"/>
              </a:cxn>
              <a:cxn ang="0">
                <a:pos x="connsiteX25416" y="connsiteY25416"/>
              </a:cxn>
              <a:cxn ang="0">
                <a:pos x="connsiteX25417" y="connsiteY25417"/>
              </a:cxn>
              <a:cxn ang="0">
                <a:pos x="connsiteX25418" y="connsiteY25418"/>
              </a:cxn>
              <a:cxn ang="0">
                <a:pos x="connsiteX25419" y="connsiteY25419"/>
              </a:cxn>
              <a:cxn ang="0">
                <a:pos x="connsiteX25420" y="connsiteY25420"/>
              </a:cxn>
              <a:cxn ang="0">
                <a:pos x="connsiteX25421" y="connsiteY25421"/>
              </a:cxn>
              <a:cxn ang="0">
                <a:pos x="connsiteX25422" y="connsiteY25422"/>
              </a:cxn>
              <a:cxn ang="0">
                <a:pos x="connsiteX25423" y="connsiteY25423"/>
              </a:cxn>
              <a:cxn ang="0">
                <a:pos x="connsiteX25424" y="connsiteY25424"/>
              </a:cxn>
              <a:cxn ang="0">
                <a:pos x="connsiteX25425" y="connsiteY25425"/>
              </a:cxn>
              <a:cxn ang="0">
                <a:pos x="connsiteX25426" y="connsiteY25426"/>
              </a:cxn>
              <a:cxn ang="0">
                <a:pos x="connsiteX25427" y="connsiteY25427"/>
              </a:cxn>
              <a:cxn ang="0">
                <a:pos x="connsiteX25428" y="connsiteY25428"/>
              </a:cxn>
              <a:cxn ang="0">
                <a:pos x="connsiteX25429" y="connsiteY25429"/>
              </a:cxn>
              <a:cxn ang="0">
                <a:pos x="connsiteX25430" y="connsiteY25430"/>
              </a:cxn>
              <a:cxn ang="0">
                <a:pos x="connsiteX25431" y="connsiteY25431"/>
              </a:cxn>
              <a:cxn ang="0">
                <a:pos x="connsiteX25432" y="connsiteY25432"/>
              </a:cxn>
              <a:cxn ang="0">
                <a:pos x="connsiteX25433" y="connsiteY25433"/>
              </a:cxn>
              <a:cxn ang="0">
                <a:pos x="connsiteX25434" y="connsiteY25434"/>
              </a:cxn>
              <a:cxn ang="0">
                <a:pos x="connsiteX25435" y="connsiteY25435"/>
              </a:cxn>
              <a:cxn ang="0">
                <a:pos x="connsiteX25436" y="connsiteY25436"/>
              </a:cxn>
              <a:cxn ang="0">
                <a:pos x="connsiteX25437" y="connsiteY25437"/>
              </a:cxn>
              <a:cxn ang="0">
                <a:pos x="connsiteX25438" y="connsiteY25438"/>
              </a:cxn>
              <a:cxn ang="0">
                <a:pos x="connsiteX25439" y="connsiteY25439"/>
              </a:cxn>
              <a:cxn ang="0">
                <a:pos x="connsiteX25440" y="connsiteY25440"/>
              </a:cxn>
              <a:cxn ang="0">
                <a:pos x="connsiteX25441" y="connsiteY25441"/>
              </a:cxn>
              <a:cxn ang="0">
                <a:pos x="connsiteX25442" y="connsiteY25442"/>
              </a:cxn>
              <a:cxn ang="0">
                <a:pos x="connsiteX25443" y="connsiteY25443"/>
              </a:cxn>
              <a:cxn ang="0">
                <a:pos x="connsiteX25444" y="connsiteY25444"/>
              </a:cxn>
              <a:cxn ang="0">
                <a:pos x="connsiteX25445" y="connsiteY25445"/>
              </a:cxn>
              <a:cxn ang="0">
                <a:pos x="connsiteX25446" y="connsiteY25446"/>
              </a:cxn>
              <a:cxn ang="0">
                <a:pos x="connsiteX25447" y="connsiteY25447"/>
              </a:cxn>
              <a:cxn ang="0">
                <a:pos x="connsiteX25448" y="connsiteY25448"/>
              </a:cxn>
              <a:cxn ang="0">
                <a:pos x="connsiteX25449" y="connsiteY25449"/>
              </a:cxn>
              <a:cxn ang="0">
                <a:pos x="connsiteX25450" y="connsiteY25450"/>
              </a:cxn>
              <a:cxn ang="0">
                <a:pos x="connsiteX25451" y="connsiteY25451"/>
              </a:cxn>
              <a:cxn ang="0">
                <a:pos x="connsiteX25452" y="connsiteY25452"/>
              </a:cxn>
              <a:cxn ang="0">
                <a:pos x="connsiteX25453" y="connsiteY25453"/>
              </a:cxn>
              <a:cxn ang="0">
                <a:pos x="connsiteX25454" y="connsiteY25454"/>
              </a:cxn>
              <a:cxn ang="0">
                <a:pos x="connsiteX25455" y="connsiteY25455"/>
              </a:cxn>
              <a:cxn ang="0">
                <a:pos x="connsiteX25456" y="connsiteY25456"/>
              </a:cxn>
              <a:cxn ang="0">
                <a:pos x="connsiteX25457" y="connsiteY25457"/>
              </a:cxn>
              <a:cxn ang="0">
                <a:pos x="connsiteX25458" y="connsiteY25458"/>
              </a:cxn>
              <a:cxn ang="0">
                <a:pos x="connsiteX25459" y="connsiteY25459"/>
              </a:cxn>
              <a:cxn ang="0">
                <a:pos x="connsiteX25460" y="connsiteY25460"/>
              </a:cxn>
              <a:cxn ang="0">
                <a:pos x="connsiteX25461" y="connsiteY25461"/>
              </a:cxn>
              <a:cxn ang="0">
                <a:pos x="connsiteX25462" y="connsiteY25462"/>
              </a:cxn>
              <a:cxn ang="0">
                <a:pos x="connsiteX25463" y="connsiteY25463"/>
              </a:cxn>
              <a:cxn ang="0">
                <a:pos x="connsiteX25464" y="connsiteY25464"/>
              </a:cxn>
              <a:cxn ang="0">
                <a:pos x="connsiteX25465" y="connsiteY25465"/>
              </a:cxn>
              <a:cxn ang="0">
                <a:pos x="connsiteX25466" y="connsiteY25466"/>
              </a:cxn>
              <a:cxn ang="0">
                <a:pos x="connsiteX25467" y="connsiteY25467"/>
              </a:cxn>
              <a:cxn ang="0">
                <a:pos x="connsiteX25468" y="connsiteY25468"/>
              </a:cxn>
              <a:cxn ang="0">
                <a:pos x="connsiteX25469" y="connsiteY25469"/>
              </a:cxn>
              <a:cxn ang="0">
                <a:pos x="connsiteX25470" y="connsiteY25470"/>
              </a:cxn>
              <a:cxn ang="0">
                <a:pos x="connsiteX25471" y="connsiteY25471"/>
              </a:cxn>
              <a:cxn ang="0">
                <a:pos x="connsiteX25472" y="connsiteY25472"/>
              </a:cxn>
              <a:cxn ang="0">
                <a:pos x="connsiteX25473" y="connsiteY25473"/>
              </a:cxn>
              <a:cxn ang="0">
                <a:pos x="connsiteX25474" y="connsiteY25474"/>
              </a:cxn>
              <a:cxn ang="0">
                <a:pos x="connsiteX25475" y="connsiteY25475"/>
              </a:cxn>
              <a:cxn ang="0">
                <a:pos x="connsiteX25476" y="connsiteY25476"/>
              </a:cxn>
              <a:cxn ang="0">
                <a:pos x="connsiteX25477" y="connsiteY25477"/>
              </a:cxn>
              <a:cxn ang="0">
                <a:pos x="connsiteX25478" y="connsiteY25478"/>
              </a:cxn>
              <a:cxn ang="0">
                <a:pos x="connsiteX25479" y="connsiteY25479"/>
              </a:cxn>
              <a:cxn ang="0">
                <a:pos x="connsiteX25480" y="connsiteY25480"/>
              </a:cxn>
              <a:cxn ang="0">
                <a:pos x="connsiteX25481" y="connsiteY25481"/>
              </a:cxn>
              <a:cxn ang="0">
                <a:pos x="connsiteX25482" y="connsiteY25482"/>
              </a:cxn>
              <a:cxn ang="0">
                <a:pos x="connsiteX25483" y="connsiteY25483"/>
              </a:cxn>
              <a:cxn ang="0">
                <a:pos x="connsiteX25484" y="connsiteY25484"/>
              </a:cxn>
              <a:cxn ang="0">
                <a:pos x="connsiteX25485" y="connsiteY25485"/>
              </a:cxn>
              <a:cxn ang="0">
                <a:pos x="connsiteX25486" y="connsiteY25486"/>
              </a:cxn>
              <a:cxn ang="0">
                <a:pos x="connsiteX25487" y="connsiteY25487"/>
              </a:cxn>
              <a:cxn ang="0">
                <a:pos x="connsiteX25488" y="connsiteY25488"/>
              </a:cxn>
              <a:cxn ang="0">
                <a:pos x="connsiteX25489" y="connsiteY25489"/>
              </a:cxn>
              <a:cxn ang="0">
                <a:pos x="connsiteX25490" y="connsiteY25490"/>
              </a:cxn>
              <a:cxn ang="0">
                <a:pos x="connsiteX25491" y="connsiteY25491"/>
              </a:cxn>
              <a:cxn ang="0">
                <a:pos x="connsiteX25492" y="connsiteY25492"/>
              </a:cxn>
              <a:cxn ang="0">
                <a:pos x="connsiteX25493" y="connsiteY25493"/>
              </a:cxn>
              <a:cxn ang="0">
                <a:pos x="connsiteX25494" y="connsiteY25494"/>
              </a:cxn>
              <a:cxn ang="0">
                <a:pos x="connsiteX25495" y="connsiteY25495"/>
              </a:cxn>
              <a:cxn ang="0">
                <a:pos x="connsiteX25496" y="connsiteY25496"/>
              </a:cxn>
              <a:cxn ang="0">
                <a:pos x="connsiteX25497" y="connsiteY25497"/>
              </a:cxn>
              <a:cxn ang="0">
                <a:pos x="connsiteX25498" y="connsiteY25498"/>
              </a:cxn>
              <a:cxn ang="0">
                <a:pos x="connsiteX25499" y="connsiteY25499"/>
              </a:cxn>
              <a:cxn ang="0">
                <a:pos x="connsiteX25500" y="connsiteY25500"/>
              </a:cxn>
              <a:cxn ang="0">
                <a:pos x="connsiteX25501" y="connsiteY25501"/>
              </a:cxn>
              <a:cxn ang="0">
                <a:pos x="connsiteX25502" y="connsiteY25502"/>
              </a:cxn>
              <a:cxn ang="0">
                <a:pos x="connsiteX25503" y="connsiteY25503"/>
              </a:cxn>
              <a:cxn ang="0">
                <a:pos x="connsiteX25504" y="connsiteY25504"/>
              </a:cxn>
              <a:cxn ang="0">
                <a:pos x="connsiteX25505" y="connsiteY25505"/>
              </a:cxn>
              <a:cxn ang="0">
                <a:pos x="connsiteX25506" y="connsiteY25506"/>
              </a:cxn>
              <a:cxn ang="0">
                <a:pos x="connsiteX25507" y="connsiteY25507"/>
              </a:cxn>
              <a:cxn ang="0">
                <a:pos x="connsiteX25508" y="connsiteY25508"/>
              </a:cxn>
              <a:cxn ang="0">
                <a:pos x="connsiteX25509" y="connsiteY25509"/>
              </a:cxn>
              <a:cxn ang="0">
                <a:pos x="connsiteX25510" y="connsiteY25510"/>
              </a:cxn>
              <a:cxn ang="0">
                <a:pos x="connsiteX25511" y="connsiteY25511"/>
              </a:cxn>
              <a:cxn ang="0">
                <a:pos x="connsiteX25512" y="connsiteY25512"/>
              </a:cxn>
              <a:cxn ang="0">
                <a:pos x="connsiteX25513" y="connsiteY25513"/>
              </a:cxn>
              <a:cxn ang="0">
                <a:pos x="connsiteX25514" y="connsiteY25514"/>
              </a:cxn>
              <a:cxn ang="0">
                <a:pos x="connsiteX25515" y="connsiteY25515"/>
              </a:cxn>
              <a:cxn ang="0">
                <a:pos x="connsiteX25516" y="connsiteY25516"/>
              </a:cxn>
              <a:cxn ang="0">
                <a:pos x="connsiteX25517" y="connsiteY25517"/>
              </a:cxn>
              <a:cxn ang="0">
                <a:pos x="connsiteX25518" y="connsiteY25518"/>
              </a:cxn>
              <a:cxn ang="0">
                <a:pos x="connsiteX25519" y="connsiteY25519"/>
              </a:cxn>
              <a:cxn ang="0">
                <a:pos x="connsiteX25520" y="connsiteY25520"/>
              </a:cxn>
              <a:cxn ang="0">
                <a:pos x="connsiteX25521" y="connsiteY25521"/>
              </a:cxn>
              <a:cxn ang="0">
                <a:pos x="connsiteX25522" y="connsiteY25522"/>
              </a:cxn>
              <a:cxn ang="0">
                <a:pos x="connsiteX25523" y="connsiteY25523"/>
              </a:cxn>
              <a:cxn ang="0">
                <a:pos x="connsiteX25524" y="connsiteY25524"/>
              </a:cxn>
              <a:cxn ang="0">
                <a:pos x="connsiteX25525" y="connsiteY25525"/>
              </a:cxn>
              <a:cxn ang="0">
                <a:pos x="connsiteX25526" y="connsiteY25526"/>
              </a:cxn>
              <a:cxn ang="0">
                <a:pos x="connsiteX25527" y="connsiteY25527"/>
              </a:cxn>
              <a:cxn ang="0">
                <a:pos x="connsiteX25528" y="connsiteY25528"/>
              </a:cxn>
              <a:cxn ang="0">
                <a:pos x="connsiteX25529" y="connsiteY25529"/>
              </a:cxn>
              <a:cxn ang="0">
                <a:pos x="connsiteX25530" y="connsiteY25530"/>
              </a:cxn>
              <a:cxn ang="0">
                <a:pos x="connsiteX25531" y="connsiteY25531"/>
              </a:cxn>
              <a:cxn ang="0">
                <a:pos x="connsiteX25532" y="connsiteY25532"/>
              </a:cxn>
              <a:cxn ang="0">
                <a:pos x="connsiteX25533" y="connsiteY25533"/>
              </a:cxn>
              <a:cxn ang="0">
                <a:pos x="connsiteX25534" y="connsiteY25534"/>
              </a:cxn>
              <a:cxn ang="0">
                <a:pos x="connsiteX25535" y="connsiteY25535"/>
              </a:cxn>
              <a:cxn ang="0">
                <a:pos x="connsiteX25536" y="connsiteY25536"/>
              </a:cxn>
              <a:cxn ang="0">
                <a:pos x="connsiteX25537" y="connsiteY25537"/>
              </a:cxn>
              <a:cxn ang="0">
                <a:pos x="connsiteX25538" y="connsiteY25538"/>
              </a:cxn>
              <a:cxn ang="0">
                <a:pos x="connsiteX25539" y="connsiteY25539"/>
              </a:cxn>
              <a:cxn ang="0">
                <a:pos x="connsiteX25540" y="connsiteY25540"/>
              </a:cxn>
              <a:cxn ang="0">
                <a:pos x="connsiteX25541" y="connsiteY25541"/>
              </a:cxn>
              <a:cxn ang="0">
                <a:pos x="connsiteX25542" y="connsiteY25542"/>
              </a:cxn>
              <a:cxn ang="0">
                <a:pos x="connsiteX25543" y="connsiteY25543"/>
              </a:cxn>
              <a:cxn ang="0">
                <a:pos x="connsiteX25544" y="connsiteY25544"/>
              </a:cxn>
              <a:cxn ang="0">
                <a:pos x="connsiteX25545" y="connsiteY25545"/>
              </a:cxn>
              <a:cxn ang="0">
                <a:pos x="connsiteX25546" y="connsiteY25546"/>
              </a:cxn>
              <a:cxn ang="0">
                <a:pos x="connsiteX25547" y="connsiteY25547"/>
              </a:cxn>
              <a:cxn ang="0">
                <a:pos x="connsiteX25548" y="connsiteY25548"/>
              </a:cxn>
              <a:cxn ang="0">
                <a:pos x="connsiteX25549" y="connsiteY25549"/>
              </a:cxn>
              <a:cxn ang="0">
                <a:pos x="connsiteX25550" y="connsiteY25550"/>
              </a:cxn>
              <a:cxn ang="0">
                <a:pos x="connsiteX25551" y="connsiteY25551"/>
              </a:cxn>
              <a:cxn ang="0">
                <a:pos x="connsiteX25552" y="connsiteY25552"/>
              </a:cxn>
              <a:cxn ang="0">
                <a:pos x="connsiteX25553" y="connsiteY25553"/>
              </a:cxn>
              <a:cxn ang="0">
                <a:pos x="connsiteX25554" y="connsiteY25554"/>
              </a:cxn>
              <a:cxn ang="0">
                <a:pos x="connsiteX25555" y="connsiteY25555"/>
              </a:cxn>
              <a:cxn ang="0">
                <a:pos x="connsiteX25556" y="connsiteY25556"/>
              </a:cxn>
              <a:cxn ang="0">
                <a:pos x="connsiteX25557" y="connsiteY25557"/>
              </a:cxn>
              <a:cxn ang="0">
                <a:pos x="connsiteX25558" y="connsiteY25558"/>
              </a:cxn>
              <a:cxn ang="0">
                <a:pos x="connsiteX25559" y="connsiteY25559"/>
              </a:cxn>
              <a:cxn ang="0">
                <a:pos x="connsiteX25560" y="connsiteY25560"/>
              </a:cxn>
              <a:cxn ang="0">
                <a:pos x="connsiteX25561" y="connsiteY25561"/>
              </a:cxn>
              <a:cxn ang="0">
                <a:pos x="connsiteX25562" y="connsiteY25562"/>
              </a:cxn>
              <a:cxn ang="0">
                <a:pos x="connsiteX25563" y="connsiteY25563"/>
              </a:cxn>
              <a:cxn ang="0">
                <a:pos x="connsiteX25564" y="connsiteY25564"/>
              </a:cxn>
              <a:cxn ang="0">
                <a:pos x="connsiteX25565" y="connsiteY25565"/>
              </a:cxn>
              <a:cxn ang="0">
                <a:pos x="connsiteX25566" y="connsiteY25566"/>
              </a:cxn>
              <a:cxn ang="0">
                <a:pos x="connsiteX25567" y="connsiteY25567"/>
              </a:cxn>
              <a:cxn ang="0">
                <a:pos x="connsiteX25568" y="connsiteY25568"/>
              </a:cxn>
              <a:cxn ang="0">
                <a:pos x="connsiteX25569" y="connsiteY25569"/>
              </a:cxn>
              <a:cxn ang="0">
                <a:pos x="connsiteX25570" y="connsiteY25570"/>
              </a:cxn>
              <a:cxn ang="0">
                <a:pos x="connsiteX25571" y="connsiteY25571"/>
              </a:cxn>
              <a:cxn ang="0">
                <a:pos x="connsiteX25572" y="connsiteY25572"/>
              </a:cxn>
              <a:cxn ang="0">
                <a:pos x="connsiteX25573" y="connsiteY25573"/>
              </a:cxn>
              <a:cxn ang="0">
                <a:pos x="connsiteX25574" y="connsiteY25574"/>
              </a:cxn>
              <a:cxn ang="0">
                <a:pos x="connsiteX25575" y="connsiteY25575"/>
              </a:cxn>
              <a:cxn ang="0">
                <a:pos x="connsiteX25576" y="connsiteY25576"/>
              </a:cxn>
              <a:cxn ang="0">
                <a:pos x="connsiteX25577" y="connsiteY25577"/>
              </a:cxn>
              <a:cxn ang="0">
                <a:pos x="connsiteX25578" y="connsiteY25578"/>
              </a:cxn>
              <a:cxn ang="0">
                <a:pos x="connsiteX25579" y="connsiteY25579"/>
              </a:cxn>
              <a:cxn ang="0">
                <a:pos x="connsiteX25580" y="connsiteY25580"/>
              </a:cxn>
              <a:cxn ang="0">
                <a:pos x="connsiteX25581" y="connsiteY25581"/>
              </a:cxn>
              <a:cxn ang="0">
                <a:pos x="connsiteX25582" y="connsiteY25582"/>
              </a:cxn>
              <a:cxn ang="0">
                <a:pos x="connsiteX25583" y="connsiteY25583"/>
              </a:cxn>
              <a:cxn ang="0">
                <a:pos x="connsiteX25584" y="connsiteY25584"/>
              </a:cxn>
              <a:cxn ang="0">
                <a:pos x="connsiteX25585" y="connsiteY25585"/>
              </a:cxn>
              <a:cxn ang="0">
                <a:pos x="connsiteX25586" y="connsiteY25586"/>
              </a:cxn>
              <a:cxn ang="0">
                <a:pos x="connsiteX25587" y="connsiteY25587"/>
              </a:cxn>
              <a:cxn ang="0">
                <a:pos x="connsiteX25588" y="connsiteY25588"/>
              </a:cxn>
              <a:cxn ang="0">
                <a:pos x="connsiteX25589" y="connsiteY25589"/>
              </a:cxn>
              <a:cxn ang="0">
                <a:pos x="connsiteX25590" y="connsiteY25590"/>
              </a:cxn>
              <a:cxn ang="0">
                <a:pos x="connsiteX25591" y="connsiteY25591"/>
              </a:cxn>
              <a:cxn ang="0">
                <a:pos x="connsiteX25592" y="connsiteY25592"/>
              </a:cxn>
              <a:cxn ang="0">
                <a:pos x="connsiteX25593" y="connsiteY25593"/>
              </a:cxn>
              <a:cxn ang="0">
                <a:pos x="connsiteX25594" y="connsiteY25594"/>
              </a:cxn>
              <a:cxn ang="0">
                <a:pos x="connsiteX25595" y="connsiteY25595"/>
              </a:cxn>
              <a:cxn ang="0">
                <a:pos x="connsiteX25596" y="connsiteY25596"/>
              </a:cxn>
              <a:cxn ang="0">
                <a:pos x="connsiteX25597" y="connsiteY25597"/>
              </a:cxn>
              <a:cxn ang="0">
                <a:pos x="connsiteX25598" y="connsiteY25598"/>
              </a:cxn>
              <a:cxn ang="0">
                <a:pos x="connsiteX25599" y="connsiteY25599"/>
              </a:cxn>
              <a:cxn ang="0">
                <a:pos x="connsiteX25600" y="connsiteY25600"/>
              </a:cxn>
              <a:cxn ang="0">
                <a:pos x="connsiteX25601" y="connsiteY25601"/>
              </a:cxn>
              <a:cxn ang="0">
                <a:pos x="connsiteX25602" y="connsiteY25602"/>
              </a:cxn>
              <a:cxn ang="0">
                <a:pos x="connsiteX25603" y="connsiteY25603"/>
              </a:cxn>
              <a:cxn ang="0">
                <a:pos x="connsiteX25604" y="connsiteY25604"/>
              </a:cxn>
              <a:cxn ang="0">
                <a:pos x="connsiteX25605" y="connsiteY25605"/>
              </a:cxn>
              <a:cxn ang="0">
                <a:pos x="connsiteX25606" y="connsiteY25606"/>
              </a:cxn>
              <a:cxn ang="0">
                <a:pos x="connsiteX25607" y="connsiteY25607"/>
              </a:cxn>
              <a:cxn ang="0">
                <a:pos x="connsiteX25608" y="connsiteY25608"/>
              </a:cxn>
              <a:cxn ang="0">
                <a:pos x="connsiteX25609" y="connsiteY25609"/>
              </a:cxn>
              <a:cxn ang="0">
                <a:pos x="connsiteX25610" y="connsiteY25610"/>
              </a:cxn>
              <a:cxn ang="0">
                <a:pos x="connsiteX25611" y="connsiteY25611"/>
              </a:cxn>
              <a:cxn ang="0">
                <a:pos x="connsiteX25612" y="connsiteY25612"/>
              </a:cxn>
              <a:cxn ang="0">
                <a:pos x="connsiteX25613" y="connsiteY25613"/>
              </a:cxn>
              <a:cxn ang="0">
                <a:pos x="connsiteX25614" y="connsiteY25614"/>
              </a:cxn>
              <a:cxn ang="0">
                <a:pos x="connsiteX25615" y="connsiteY25615"/>
              </a:cxn>
              <a:cxn ang="0">
                <a:pos x="connsiteX25616" y="connsiteY25616"/>
              </a:cxn>
              <a:cxn ang="0">
                <a:pos x="connsiteX25617" y="connsiteY25617"/>
              </a:cxn>
              <a:cxn ang="0">
                <a:pos x="connsiteX25618" y="connsiteY25618"/>
              </a:cxn>
              <a:cxn ang="0">
                <a:pos x="connsiteX25619" y="connsiteY25619"/>
              </a:cxn>
              <a:cxn ang="0">
                <a:pos x="connsiteX25620" y="connsiteY25620"/>
              </a:cxn>
              <a:cxn ang="0">
                <a:pos x="connsiteX25621" y="connsiteY25621"/>
              </a:cxn>
              <a:cxn ang="0">
                <a:pos x="connsiteX25622" y="connsiteY25622"/>
              </a:cxn>
              <a:cxn ang="0">
                <a:pos x="connsiteX25623" y="connsiteY25623"/>
              </a:cxn>
              <a:cxn ang="0">
                <a:pos x="connsiteX25624" y="connsiteY25624"/>
              </a:cxn>
              <a:cxn ang="0">
                <a:pos x="connsiteX25625" y="connsiteY25625"/>
              </a:cxn>
              <a:cxn ang="0">
                <a:pos x="connsiteX25626" y="connsiteY25626"/>
              </a:cxn>
              <a:cxn ang="0">
                <a:pos x="connsiteX25627" y="connsiteY25627"/>
              </a:cxn>
              <a:cxn ang="0">
                <a:pos x="connsiteX25628" y="connsiteY25628"/>
              </a:cxn>
              <a:cxn ang="0">
                <a:pos x="connsiteX25629" y="connsiteY25629"/>
              </a:cxn>
              <a:cxn ang="0">
                <a:pos x="connsiteX25630" y="connsiteY25630"/>
              </a:cxn>
              <a:cxn ang="0">
                <a:pos x="connsiteX25631" y="connsiteY25631"/>
              </a:cxn>
              <a:cxn ang="0">
                <a:pos x="connsiteX25632" y="connsiteY25632"/>
              </a:cxn>
              <a:cxn ang="0">
                <a:pos x="connsiteX25633" y="connsiteY25633"/>
              </a:cxn>
              <a:cxn ang="0">
                <a:pos x="connsiteX25634" y="connsiteY25634"/>
              </a:cxn>
              <a:cxn ang="0">
                <a:pos x="connsiteX25635" y="connsiteY25635"/>
              </a:cxn>
              <a:cxn ang="0">
                <a:pos x="connsiteX25636" y="connsiteY25636"/>
              </a:cxn>
              <a:cxn ang="0">
                <a:pos x="connsiteX25637" y="connsiteY25637"/>
              </a:cxn>
              <a:cxn ang="0">
                <a:pos x="connsiteX25638" y="connsiteY25638"/>
              </a:cxn>
              <a:cxn ang="0">
                <a:pos x="connsiteX25639" y="connsiteY25639"/>
              </a:cxn>
              <a:cxn ang="0">
                <a:pos x="connsiteX25640" y="connsiteY25640"/>
              </a:cxn>
              <a:cxn ang="0">
                <a:pos x="connsiteX25641" y="connsiteY25641"/>
              </a:cxn>
              <a:cxn ang="0">
                <a:pos x="connsiteX25642" y="connsiteY25642"/>
              </a:cxn>
              <a:cxn ang="0">
                <a:pos x="connsiteX25643" y="connsiteY25643"/>
              </a:cxn>
              <a:cxn ang="0">
                <a:pos x="connsiteX25644" y="connsiteY25644"/>
              </a:cxn>
              <a:cxn ang="0">
                <a:pos x="connsiteX25645" y="connsiteY25645"/>
              </a:cxn>
              <a:cxn ang="0">
                <a:pos x="connsiteX25646" y="connsiteY25646"/>
              </a:cxn>
              <a:cxn ang="0">
                <a:pos x="connsiteX25647" y="connsiteY25647"/>
              </a:cxn>
              <a:cxn ang="0">
                <a:pos x="connsiteX25648" y="connsiteY25648"/>
              </a:cxn>
              <a:cxn ang="0">
                <a:pos x="connsiteX25649" y="connsiteY25649"/>
              </a:cxn>
              <a:cxn ang="0">
                <a:pos x="connsiteX25650" y="connsiteY25650"/>
              </a:cxn>
              <a:cxn ang="0">
                <a:pos x="connsiteX25651" y="connsiteY25651"/>
              </a:cxn>
              <a:cxn ang="0">
                <a:pos x="connsiteX25652" y="connsiteY25652"/>
              </a:cxn>
              <a:cxn ang="0">
                <a:pos x="connsiteX25653" y="connsiteY25653"/>
              </a:cxn>
              <a:cxn ang="0">
                <a:pos x="connsiteX25654" y="connsiteY25654"/>
              </a:cxn>
              <a:cxn ang="0">
                <a:pos x="connsiteX25655" y="connsiteY25655"/>
              </a:cxn>
              <a:cxn ang="0">
                <a:pos x="connsiteX25656" y="connsiteY25656"/>
              </a:cxn>
              <a:cxn ang="0">
                <a:pos x="connsiteX25657" y="connsiteY25657"/>
              </a:cxn>
              <a:cxn ang="0">
                <a:pos x="connsiteX25658" y="connsiteY25658"/>
              </a:cxn>
              <a:cxn ang="0">
                <a:pos x="connsiteX25659" y="connsiteY25659"/>
              </a:cxn>
              <a:cxn ang="0">
                <a:pos x="connsiteX25660" y="connsiteY25660"/>
              </a:cxn>
              <a:cxn ang="0">
                <a:pos x="connsiteX25661" y="connsiteY25661"/>
              </a:cxn>
              <a:cxn ang="0">
                <a:pos x="connsiteX25662" y="connsiteY25662"/>
              </a:cxn>
              <a:cxn ang="0">
                <a:pos x="connsiteX25663" y="connsiteY25663"/>
              </a:cxn>
              <a:cxn ang="0">
                <a:pos x="connsiteX25664" y="connsiteY25664"/>
              </a:cxn>
              <a:cxn ang="0">
                <a:pos x="connsiteX25665" y="connsiteY25665"/>
              </a:cxn>
              <a:cxn ang="0">
                <a:pos x="connsiteX25666" y="connsiteY25666"/>
              </a:cxn>
              <a:cxn ang="0">
                <a:pos x="connsiteX25667" y="connsiteY25667"/>
              </a:cxn>
              <a:cxn ang="0">
                <a:pos x="connsiteX25668" y="connsiteY25668"/>
              </a:cxn>
              <a:cxn ang="0">
                <a:pos x="connsiteX25669" y="connsiteY25669"/>
              </a:cxn>
              <a:cxn ang="0">
                <a:pos x="connsiteX25670" y="connsiteY25670"/>
              </a:cxn>
              <a:cxn ang="0">
                <a:pos x="connsiteX25671" y="connsiteY25671"/>
              </a:cxn>
              <a:cxn ang="0">
                <a:pos x="connsiteX25672" y="connsiteY25672"/>
              </a:cxn>
              <a:cxn ang="0">
                <a:pos x="connsiteX25673" y="connsiteY25673"/>
              </a:cxn>
              <a:cxn ang="0">
                <a:pos x="connsiteX25674" y="connsiteY25674"/>
              </a:cxn>
              <a:cxn ang="0">
                <a:pos x="connsiteX25675" y="connsiteY25675"/>
              </a:cxn>
              <a:cxn ang="0">
                <a:pos x="connsiteX25676" y="connsiteY25676"/>
              </a:cxn>
              <a:cxn ang="0">
                <a:pos x="connsiteX25677" y="connsiteY25677"/>
              </a:cxn>
              <a:cxn ang="0">
                <a:pos x="connsiteX25678" y="connsiteY25678"/>
              </a:cxn>
              <a:cxn ang="0">
                <a:pos x="connsiteX25679" y="connsiteY25679"/>
              </a:cxn>
              <a:cxn ang="0">
                <a:pos x="connsiteX25680" y="connsiteY25680"/>
              </a:cxn>
              <a:cxn ang="0">
                <a:pos x="connsiteX25681" y="connsiteY25681"/>
              </a:cxn>
              <a:cxn ang="0">
                <a:pos x="connsiteX25682" y="connsiteY25682"/>
              </a:cxn>
              <a:cxn ang="0">
                <a:pos x="connsiteX25683" y="connsiteY25683"/>
              </a:cxn>
              <a:cxn ang="0">
                <a:pos x="connsiteX25684" y="connsiteY25684"/>
              </a:cxn>
              <a:cxn ang="0">
                <a:pos x="connsiteX25685" y="connsiteY25685"/>
              </a:cxn>
              <a:cxn ang="0">
                <a:pos x="connsiteX25686" y="connsiteY25686"/>
              </a:cxn>
              <a:cxn ang="0">
                <a:pos x="connsiteX25687" y="connsiteY25687"/>
              </a:cxn>
              <a:cxn ang="0">
                <a:pos x="connsiteX25688" y="connsiteY25688"/>
              </a:cxn>
              <a:cxn ang="0">
                <a:pos x="connsiteX25689" y="connsiteY25689"/>
              </a:cxn>
              <a:cxn ang="0">
                <a:pos x="connsiteX25690" y="connsiteY25690"/>
              </a:cxn>
              <a:cxn ang="0">
                <a:pos x="connsiteX25691" y="connsiteY25691"/>
              </a:cxn>
              <a:cxn ang="0">
                <a:pos x="connsiteX25692" y="connsiteY25692"/>
              </a:cxn>
              <a:cxn ang="0">
                <a:pos x="connsiteX25693" y="connsiteY25693"/>
              </a:cxn>
              <a:cxn ang="0">
                <a:pos x="connsiteX25694" y="connsiteY25694"/>
              </a:cxn>
              <a:cxn ang="0">
                <a:pos x="connsiteX25695" y="connsiteY25695"/>
              </a:cxn>
              <a:cxn ang="0">
                <a:pos x="connsiteX25696" y="connsiteY25696"/>
              </a:cxn>
              <a:cxn ang="0">
                <a:pos x="connsiteX25697" y="connsiteY25697"/>
              </a:cxn>
              <a:cxn ang="0">
                <a:pos x="connsiteX25698" y="connsiteY25698"/>
              </a:cxn>
              <a:cxn ang="0">
                <a:pos x="connsiteX25699" y="connsiteY25699"/>
              </a:cxn>
              <a:cxn ang="0">
                <a:pos x="connsiteX25700" y="connsiteY25700"/>
              </a:cxn>
              <a:cxn ang="0">
                <a:pos x="connsiteX25701" y="connsiteY25701"/>
              </a:cxn>
              <a:cxn ang="0">
                <a:pos x="connsiteX25702" y="connsiteY25702"/>
              </a:cxn>
              <a:cxn ang="0">
                <a:pos x="connsiteX25703" y="connsiteY25703"/>
              </a:cxn>
              <a:cxn ang="0">
                <a:pos x="connsiteX25704" y="connsiteY25704"/>
              </a:cxn>
              <a:cxn ang="0">
                <a:pos x="connsiteX25705" y="connsiteY25705"/>
              </a:cxn>
              <a:cxn ang="0">
                <a:pos x="connsiteX25706" y="connsiteY25706"/>
              </a:cxn>
              <a:cxn ang="0">
                <a:pos x="connsiteX25707" y="connsiteY25707"/>
              </a:cxn>
              <a:cxn ang="0">
                <a:pos x="connsiteX25708" y="connsiteY25708"/>
              </a:cxn>
              <a:cxn ang="0">
                <a:pos x="connsiteX25709" y="connsiteY25709"/>
              </a:cxn>
              <a:cxn ang="0">
                <a:pos x="connsiteX25710" y="connsiteY25710"/>
              </a:cxn>
              <a:cxn ang="0">
                <a:pos x="connsiteX25711" y="connsiteY25711"/>
              </a:cxn>
              <a:cxn ang="0">
                <a:pos x="connsiteX25712" y="connsiteY25712"/>
              </a:cxn>
              <a:cxn ang="0">
                <a:pos x="connsiteX25713" y="connsiteY25713"/>
              </a:cxn>
              <a:cxn ang="0">
                <a:pos x="connsiteX25714" y="connsiteY25714"/>
              </a:cxn>
              <a:cxn ang="0">
                <a:pos x="connsiteX25715" y="connsiteY25715"/>
              </a:cxn>
              <a:cxn ang="0">
                <a:pos x="connsiteX25716" y="connsiteY25716"/>
              </a:cxn>
              <a:cxn ang="0">
                <a:pos x="connsiteX25717" y="connsiteY25717"/>
              </a:cxn>
              <a:cxn ang="0">
                <a:pos x="connsiteX25718" y="connsiteY25718"/>
              </a:cxn>
              <a:cxn ang="0">
                <a:pos x="connsiteX25719" y="connsiteY25719"/>
              </a:cxn>
              <a:cxn ang="0">
                <a:pos x="connsiteX25720" y="connsiteY25720"/>
              </a:cxn>
              <a:cxn ang="0">
                <a:pos x="connsiteX25721" y="connsiteY25721"/>
              </a:cxn>
              <a:cxn ang="0">
                <a:pos x="connsiteX25722" y="connsiteY25722"/>
              </a:cxn>
              <a:cxn ang="0">
                <a:pos x="connsiteX25723" y="connsiteY25723"/>
              </a:cxn>
              <a:cxn ang="0">
                <a:pos x="connsiteX25724" y="connsiteY25724"/>
              </a:cxn>
              <a:cxn ang="0">
                <a:pos x="connsiteX25725" y="connsiteY25725"/>
              </a:cxn>
              <a:cxn ang="0">
                <a:pos x="connsiteX25726" y="connsiteY25726"/>
              </a:cxn>
              <a:cxn ang="0">
                <a:pos x="connsiteX25727" y="connsiteY25727"/>
              </a:cxn>
              <a:cxn ang="0">
                <a:pos x="connsiteX25728" y="connsiteY25728"/>
              </a:cxn>
              <a:cxn ang="0">
                <a:pos x="connsiteX25729" y="connsiteY25729"/>
              </a:cxn>
              <a:cxn ang="0">
                <a:pos x="connsiteX25730" y="connsiteY25730"/>
              </a:cxn>
              <a:cxn ang="0">
                <a:pos x="connsiteX25731" y="connsiteY25731"/>
              </a:cxn>
              <a:cxn ang="0">
                <a:pos x="connsiteX25732" y="connsiteY25732"/>
              </a:cxn>
              <a:cxn ang="0">
                <a:pos x="connsiteX25733" y="connsiteY25733"/>
              </a:cxn>
              <a:cxn ang="0">
                <a:pos x="connsiteX25734" y="connsiteY25734"/>
              </a:cxn>
              <a:cxn ang="0">
                <a:pos x="connsiteX25735" y="connsiteY25735"/>
              </a:cxn>
              <a:cxn ang="0">
                <a:pos x="connsiteX25736" y="connsiteY25736"/>
              </a:cxn>
              <a:cxn ang="0">
                <a:pos x="connsiteX25737" y="connsiteY25737"/>
              </a:cxn>
              <a:cxn ang="0">
                <a:pos x="connsiteX25738" y="connsiteY25738"/>
              </a:cxn>
              <a:cxn ang="0">
                <a:pos x="connsiteX25739" y="connsiteY25739"/>
              </a:cxn>
              <a:cxn ang="0">
                <a:pos x="connsiteX25740" y="connsiteY25740"/>
              </a:cxn>
              <a:cxn ang="0">
                <a:pos x="connsiteX25741" y="connsiteY25741"/>
              </a:cxn>
              <a:cxn ang="0">
                <a:pos x="connsiteX25742" y="connsiteY25742"/>
              </a:cxn>
              <a:cxn ang="0">
                <a:pos x="connsiteX25743" y="connsiteY25743"/>
              </a:cxn>
              <a:cxn ang="0">
                <a:pos x="connsiteX25744" y="connsiteY25744"/>
              </a:cxn>
              <a:cxn ang="0">
                <a:pos x="connsiteX25745" y="connsiteY25745"/>
              </a:cxn>
              <a:cxn ang="0">
                <a:pos x="connsiteX25746" y="connsiteY25746"/>
              </a:cxn>
              <a:cxn ang="0">
                <a:pos x="connsiteX25747" y="connsiteY25747"/>
              </a:cxn>
              <a:cxn ang="0">
                <a:pos x="connsiteX25748" y="connsiteY25748"/>
              </a:cxn>
              <a:cxn ang="0">
                <a:pos x="connsiteX25749" y="connsiteY25749"/>
              </a:cxn>
              <a:cxn ang="0">
                <a:pos x="connsiteX25750" y="connsiteY25750"/>
              </a:cxn>
              <a:cxn ang="0">
                <a:pos x="connsiteX25751" y="connsiteY25751"/>
              </a:cxn>
              <a:cxn ang="0">
                <a:pos x="connsiteX25752" y="connsiteY25752"/>
              </a:cxn>
              <a:cxn ang="0">
                <a:pos x="connsiteX25753" y="connsiteY25753"/>
              </a:cxn>
              <a:cxn ang="0">
                <a:pos x="connsiteX25754" y="connsiteY25754"/>
              </a:cxn>
              <a:cxn ang="0">
                <a:pos x="connsiteX25755" y="connsiteY25755"/>
              </a:cxn>
              <a:cxn ang="0">
                <a:pos x="connsiteX25756" y="connsiteY25756"/>
              </a:cxn>
              <a:cxn ang="0">
                <a:pos x="connsiteX25757" y="connsiteY25757"/>
              </a:cxn>
              <a:cxn ang="0">
                <a:pos x="connsiteX25758" y="connsiteY25758"/>
              </a:cxn>
              <a:cxn ang="0">
                <a:pos x="connsiteX25759" y="connsiteY25759"/>
              </a:cxn>
              <a:cxn ang="0">
                <a:pos x="connsiteX25760" y="connsiteY25760"/>
              </a:cxn>
              <a:cxn ang="0">
                <a:pos x="connsiteX25761" y="connsiteY25761"/>
              </a:cxn>
              <a:cxn ang="0">
                <a:pos x="connsiteX25762" y="connsiteY25762"/>
              </a:cxn>
              <a:cxn ang="0">
                <a:pos x="connsiteX25763" y="connsiteY25763"/>
              </a:cxn>
              <a:cxn ang="0">
                <a:pos x="connsiteX25764" y="connsiteY25764"/>
              </a:cxn>
              <a:cxn ang="0">
                <a:pos x="connsiteX25765" y="connsiteY25765"/>
              </a:cxn>
              <a:cxn ang="0">
                <a:pos x="connsiteX25766" y="connsiteY25766"/>
              </a:cxn>
              <a:cxn ang="0">
                <a:pos x="connsiteX25767" y="connsiteY25767"/>
              </a:cxn>
              <a:cxn ang="0">
                <a:pos x="connsiteX25768" y="connsiteY25768"/>
              </a:cxn>
              <a:cxn ang="0">
                <a:pos x="connsiteX25769" y="connsiteY25769"/>
              </a:cxn>
              <a:cxn ang="0">
                <a:pos x="connsiteX25770" y="connsiteY25770"/>
              </a:cxn>
              <a:cxn ang="0">
                <a:pos x="connsiteX25771" y="connsiteY25771"/>
              </a:cxn>
              <a:cxn ang="0">
                <a:pos x="connsiteX25772" y="connsiteY25772"/>
              </a:cxn>
              <a:cxn ang="0">
                <a:pos x="connsiteX25773" y="connsiteY25773"/>
              </a:cxn>
              <a:cxn ang="0">
                <a:pos x="connsiteX25774" y="connsiteY25774"/>
              </a:cxn>
              <a:cxn ang="0">
                <a:pos x="connsiteX25775" y="connsiteY25775"/>
              </a:cxn>
              <a:cxn ang="0">
                <a:pos x="connsiteX25776" y="connsiteY25776"/>
              </a:cxn>
              <a:cxn ang="0">
                <a:pos x="connsiteX25777" y="connsiteY25777"/>
              </a:cxn>
              <a:cxn ang="0">
                <a:pos x="connsiteX25778" y="connsiteY25778"/>
              </a:cxn>
              <a:cxn ang="0">
                <a:pos x="connsiteX25779" y="connsiteY25779"/>
              </a:cxn>
              <a:cxn ang="0">
                <a:pos x="connsiteX25780" y="connsiteY25780"/>
              </a:cxn>
              <a:cxn ang="0">
                <a:pos x="connsiteX25781" y="connsiteY25781"/>
              </a:cxn>
              <a:cxn ang="0">
                <a:pos x="connsiteX25782" y="connsiteY25782"/>
              </a:cxn>
              <a:cxn ang="0">
                <a:pos x="connsiteX25783" y="connsiteY25783"/>
              </a:cxn>
              <a:cxn ang="0">
                <a:pos x="connsiteX25784" y="connsiteY25784"/>
              </a:cxn>
              <a:cxn ang="0">
                <a:pos x="connsiteX25785" y="connsiteY25785"/>
              </a:cxn>
              <a:cxn ang="0">
                <a:pos x="connsiteX25786" y="connsiteY25786"/>
              </a:cxn>
              <a:cxn ang="0">
                <a:pos x="connsiteX25787" y="connsiteY25787"/>
              </a:cxn>
              <a:cxn ang="0">
                <a:pos x="connsiteX25788" y="connsiteY25788"/>
              </a:cxn>
              <a:cxn ang="0">
                <a:pos x="connsiteX25789" y="connsiteY25789"/>
              </a:cxn>
              <a:cxn ang="0">
                <a:pos x="connsiteX25790" y="connsiteY25790"/>
              </a:cxn>
              <a:cxn ang="0">
                <a:pos x="connsiteX25791" y="connsiteY25791"/>
              </a:cxn>
              <a:cxn ang="0">
                <a:pos x="connsiteX25792" y="connsiteY25792"/>
              </a:cxn>
              <a:cxn ang="0">
                <a:pos x="connsiteX25793" y="connsiteY25793"/>
              </a:cxn>
              <a:cxn ang="0">
                <a:pos x="connsiteX25794" y="connsiteY25794"/>
              </a:cxn>
              <a:cxn ang="0">
                <a:pos x="connsiteX25795" y="connsiteY25795"/>
              </a:cxn>
              <a:cxn ang="0">
                <a:pos x="connsiteX25796" y="connsiteY25796"/>
              </a:cxn>
              <a:cxn ang="0">
                <a:pos x="connsiteX25797" y="connsiteY25797"/>
              </a:cxn>
              <a:cxn ang="0">
                <a:pos x="connsiteX25798" y="connsiteY25798"/>
              </a:cxn>
              <a:cxn ang="0">
                <a:pos x="connsiteX25799" y="connsiteY25799"/>
              </a:cxn>
              <a:cxn ang="0">
                <a:pos x="connsiteX25800" y="connsiteY25800"/>
              </a:cxn>
              <a:cxn ang="0">
                <a:pos x="connsiteX25801" y="connsiteY25801"/>
              </a:cxn>
              <a:cxn ang="0">
                <a:pos x="connsiteX25802" y="connsiteY25802"/>
              </a:cxn>
              <a:cxn ang="0">
                <a:pos x="connsiteX25803" y="connsiteY25803"/>
              </a:cxn>
              <a:cxn ang="0">
                <a:pos x="connsiteX25804" y="connsiteY25804"/>
              </a:cxn>
              <a:cxn ang="0">
                <a:pos x="connsiteX25805" y="connsiteY25805"/>
              </a:cxn>
              <a:cxn ang="0">
                <a:pos x="connsiteX25806" y="connsiteY25806"/>
              </a:cxn>
              <a:cxn ang="0">
                <a:pos x="connsiteX25807" y="connsiteY25807"/>
              </a:cxn>
              <a:cxn ang="0">
                <a:pos x="connsiteX25808" y="connsiteY25808"/>
              </a:cxn>
              <a:cxn ang="0">
                <a:pos x="connsiteX25809" y="connsiteY25809"/>
              </a:cxn>
              <a:cxn ang="0">
                <a:pos x="connsiteX25810" y="connsiteY25810"/>
              </a:cxn>
              <a:cxn ang="0">
                <a:pos x="connsiteX25811" y="connsiteY25811"/>
              </a:cxn>
              <a:cxn ang="0">
                <a:pos x="connsiteX25812" y="connsiteY25812"/>
              </a:cxn>
              <a:cxn ang="0">
                <a:pos x="connsiteX25813" y="connsiteY25813"/>
              </a:cxn>
              <a:cxn ang="0">
                <a:pos x="connsiteX25814" y="connsiteY25814"/>
              </a:cxn>
              <a:cxn ang="0">
                <a:pos x="connsiteX25815" y="connsiteY25815"/>
              </a:cxn>
              <a:cxn ang="0">
                <a:pos x="connsiteX25816" y="connsiteY25816"/>
              </a:cxn>
              <a:cxn ang="0">
                <a:pos x="connsiteX25817" y="connsiteY25817"/>
              </a:cxn>
              <a:cxn ang="0">
                <a:pos x="connsiteX25818" y="connsiteY25818"/>
              </a:cxn>
              <a:cxn ang="0">
                <a:pos x="connsiteX25819" y="connsiteY25819"/>
              </a:cxn>
              <a:cxn ang="0">
                <a:pos x="connsiteX25820" y="connsiteY25820"/>
              </a:cxn>
              <a:cxn ang="0">
                <a:pos x="connsiteX25821" y="connsiteY25821"/>
              </a:cxn>
              <a:cxn ang="0">
                <a:pos x="connsiteX25822" y="connsiteY25822"/>
              </a:cxn>
              <a:cxn ang="0">
                <a:pos x="connsiteX25823" y="connsiteY25823"/>
              </a:cxn>
              <a:cxn ang="0">
                <a:pos x="connsiteX25824" y="connsiteY25824"/>
              </a:cxn>
              <a:cxn ang="0">
                <a:pos x="connsiteX25825" y="connsiteY25825"/>
              </a:cxn>
              <a:cxn ang="0">
                <a:pos x="connsiteX25826" y="connsiteY25826"/>
              </a:cxn>
              <a:cxn ang="0">
                <a:pos x="connsiteX25827" y="connsiteY25827"/>
              </a:cxn>
              <a:cxn ang="0">
                <a:pos x="connsiteX25828" y="connsiteY25828"/>
              </a:cxn>
              <a:cxn ang="0">
                <a:pos x="connsiteX25829" y="connsiteY25829"/>
              </a:cxn>
              <a:cxn ang="0">
                <a:pos x="connsiteX25830" y="connsiteY25830"/>
              </a:cxn>
              <a:cxn ang="0">
                <a:pos x="connsiteX25831" y="connsiteY25831"/>
              </a:cxn>
              <a:cxn ang="0">
                <a:pos x="connsiteX25832" y="connsiteY25832"/>
              </a:cxn>
              <a:cxn ang="0">
                <a:pos x="connsiteX25833" y="connsiteY25833"/>
              </a:cxn>
              <a:cxn ang="0">
                <a:pos x="connsiteX25834" y="connsiteY25834"/>
              </a:cxn>
              <a:cxn ang="0">
                <a:pos x="connsiteX25835" y="connsiteY25835"/>
              </a:cxn>
              <a:cxn ang="0">
                <a:pos x="connsiteX25836" y="connsiteY25836"/>
              </a:cxn>
              <a:cxn ang="0">
                <a:pos x="connsiteX25837" y="connsiteY25837"/>
              </a:cxn>
              <a:cxn ang="0">
                <a:pos x="connsiteX25838" y="connsiteY25838"/>
              </a:cxn>
              <a:cxn ang="0">
                <a:pos x="connsiteX25839" y="connsiteY25839"/>
              </a:cxn>
              <a:cxn ang="0">
                <a:pos x="connsiteX25840" y="connsiteY25840"/>
              </a:cxn>
              <a:cxn ang="0">
                <a:pos x="connsiteX25841" y="connsiteY25841"/>
              </a:cxn>
              <a:cxn ang="0">
                <a:pos x="connsiteX25842" y="connsiteY25842"/>
              </a:cxn>
              <a:cxn ang="0">
                <a:pos x="connsiteX25843" y="connsiteY25843"/>
              </a:cxn>
              <a:cxn ang="0">
                <a:pos x="connsiteX25844" y="connsiteY25844"/>
              </a:cxn>
              <a:cxn ang="0">
                <a:pos x="connsiteX25845" y="connsiteY25845"/>
              </a:cxn>
              <a:cxn ang="0">
                <a:pos x="connsiteX25846" y="connsiteY25846"/>
              </a:cxn>
              <a:cxn ang="0">
                <a:pos x="connsiteX25847" y="connsiteY25847"/>
              </a:cxn>
              <a:cxn ang="0">
                <a:pos x="connsiteX25848" y="connsiteY25848"/>
              </a:cxn>
              <a:cxn ang="0">
                <a:pos x="connsiteX25849" y="connsiteY25849"/>
              </a:cxn>
              <a:cxn ang="0">
                <a:pos x="connsiteX25850" y="connsiteY25850"/>
              </a:cxn>
              <a:cxn ang="0">
                <a:pos x="connsiteX25851" y="connsiteY25851"/>
              </a:cxn>
              <a:cxn ang="0">
                <a:pos x="connsiteX25852" y="connsiteY25852"/>
              </a:cxn>
              <a:cxn ang="0">
                <a:pos x="connsiteX25853" y="connsiteY25853"/>
              </a:cxn>
              <a:cxn ang="0">
                <a:pos x="connsiteX25854" y="connsiteY25854"/>
              </a:cxn>
              <a:cxn ang="0">
                <a:pos x="connsiteX25855" y="connsiteY25855"/>
              </a:cxn>
              <a:cxn ang="0">
                <a:pos x="connsiteX25856" y="connsiteY25856"/>
              </a:cxn>
              <a:cxn ang="0">
                <a:pos x="connsiteX25857" y="connsiteY25857"/>
              </a:cxn>
              <a:cxn ang="0">
                <a:pos x="connsiteX25858" y="connsiteY25858"/>
              </a:cxn>
              <a:cxn ang="0">
                <a:pos x="connsiteX25859" y="connsiteY25859"/>
              </a:cxn>
              <a:cxn ang="0">
                <a:pos x="connsiteX25860" y="connsiteY25860"/>
              </a:cxn>
              <a:cxn ang="0">
                <a:pos x="connsiteX25861" y="connsiteY25861"/>
              </a:cxn>
              <a:cxn ang="0">
                <a:pos x="connsiteX25862" y="connsiteY25862"/>
              </a:cxn>
              <a:cxn ang="0">
                <a:pos x="connsiteX25863" y="connsiteY25863"/>
              </a:cxn>
              <a:cxn ang="0">
                <a:pos x="connsiteX25864" y="connsiteY25864"/>
              </a:cxn>
              <a:cxn ang="0">
                <a:pos x="connsiteX25865" y="connsiteY25865"/>
              </a:cxn>
              <a:cxn ang="0">
                <a:pos x="connsiteX25866" y="connsiteY25866"/>
              </a:cxn>
              <a:cxn ang="0">
                <a:pos x="connsiteX25867" y="connsiteY25867"/>
              </a:cxn>
              <a:cxn ang="0">
                <a:pos x="connsiteX25868" y="connsiteY25868"/>
              </a:cxn>
              <a:cxn ang="0">
                <a:pos x="connsiteX25869" y="connsiteY25869"/>
              </a:cxn>
              <a:cxn ang="0">
                <a:pos x="connsiteX25870" y="connsiteY25870"/>
              </a:cxn>
              <a:cxn ang="0">
                <a:pos x="connsiteX25871" y="connsiteY25871"/>
              </a:cxn>
              <a:cxn ang="0">
                <a:pos x="connsiteX25872" y="connsiteY25872"/>
              </a:cxn>
              <a:cxn ang="0">
                <a:pos x="connsiteX25873" y="connsiteY25873"/>
              </a:cxn>
              <a:cxn ang="0">
                <a:pos x="connsiteX25874" y="connsiteY25874"/>
              </a:cxn>
              <a:cxn ang="0">
                <a:pos x="connsiteX25875" y="connsiteY25875"/>
              </a:cxn>
              <a:cxn ang="0">
                <a:pos x="connsiteX25876" y="connsiteY25876"/>
              </a:cxn>
              <a:cxn ang="0">
                <a:pos x="connsiteX25877" y="connsiteY25877"/>
              </a:cxn>
              <a:cxn ang="0">
                <a:pos x="connsiteX25878" y="connsiteY25878"/>
              </a:cxn>
              <a:cxn ang="0">
                <a:pos x="connsiteX25879" y="connsiteY25879"/>
              </a:cxn>
              <a:cxn ang="0">
                <a:pos x="connsiteX25880" y="connsiteY25880"/>
              </a:cxn>
              <a:cxn ang="0">
                <a:pos x="connsiteX25881" y="connsiteY25881"/>
              </a:cxn>
              <a:cxn ang="0">
                <a:pos x="connsiteX25882" y="connsiteY25882"/>
              </a:cxn>
              <a:cxn ang="0">
                <a:pos x="connsiteX25883" y="connsiteY25883"/>
              </a:cxn>
              <a:cxn ang="0">
                <a:pos x="connsiteX25884" y="connsiteY25884"/>
              </a:cxn>
              <a:cxn ang="0">
                <a:pos x="connsiteX25885" y="connsiteY25885"/>
              </a:cxn>
              <a:cxn ang="0">
                <a:pos x="connsiteX25886" y="connsiteY25886"/>
              </a:cxn>
              <a:cxn ang="0">
                <a:pos x="connsiteX25887" y="connsiteY25887"/>
              </a:cxn>
              <a:cxn ang="0">
                <a:pos x="connsiteX25888" y="connsiteY25888"/>
              </a:cxn>
              <a:cxn ang="0">
                <a:pos x="connsiteX25889" y="connsiteY25889"/>
              </a:cxn>
              <a:cxn ang="0">
                <a:pos x="connsiteX25890" y="connsiteY25890"/>
              </a:cxn>
              <a:cxn ang="0">
                <a:pos x="connsiteX25891" y="connsiteY25891"/>
              </a:cxn>
              <a:cxn ang="0">
                <a:pos x="connsiteX25892" y="connsiteY25892"/>
              </a:cxn>
              <a:cxn ang="0">
                <a:pos x="connsiteX25893" y="connsiteY25893"/>
              </a:cxn>
              <a:cxn ang="0">
                <a:pos x="connsiteX25894" y="connsiteY25894"/>
              </a:cxn>
              <a:cxn ang="0">
                <a:pos x="connsiteX25895" y="connsiteY25895"/>
              </a:cxn>
              <a:cxn ang="0">
                <a:pos x="connsiteX25896" y="connsiteY25896"/>
              </a:cxn>
              <a:cxn ang="0">
                <a:pos x="connsiteX25897" y="connsiteY25897"/>
              </a:cxn>
              <a:cxn ang="0">
                <a:pos x="connsiteX25898" y="connsiteY25898"/>
              </a:cxn>
              <a:cxn ang="0">
                <a:pos x="connsiteX25899" y="connsiteY25899"/>
              </a:cxn>
              <a:cxn ang="0">
                <a:pos x="connsiteX25900" y="connsiteY25900"/>
              </a:cxn>
              <a:cxn ang="0">
                <a:pos x="connsiteX25901" y="connsiteY25901"/>
              </a:cxn>
              <a:cxn ang="0">
                <a:pos x="connsiteX25902" y="connsiteY25902"/>
              </a:cxn>
              <a:cxn ang="0">
                <a:pos x="connsiteX25903" y="connsiteY25903"/>
              </a:cxn>
              <a:cxn ang="0">
                <a:pos x="connsiteX25904" y="connsiteY25904"/>
              </a:cxn>
              <a:cxn ang="0">
                <a:pos x="connsiteX25905" y="connsiteY25905"/>
              </a:cxn>
              <a:cxn ang="0">
                <a:pos x="connsiteX25906" y="connsiteY25906"/>
              </a:cxn>
              <a:cxn ang="0">
                <a:pos x="connsiteX25907" y="connsiteY25907"/>
              </a:cxn>
              <a:cxn ang="0">
                <a:pos x="connsiteX25908" y="connsiteY25908"/>
              </a:cxn>
              <a:cxn ang="0">
                <a:pos x="connsiteX25909" y="connsiteY25909"/>
              </a:cxn>
              <a:cxn ang="0">
                <a:pos x="connsiteX25910" y="connsiteY25910"/>
              </a:cxn>
              <a:cxn ang="0">
                <a:pos x="connsiteX25911" y="connsiteY25911"/>
              </a:cxn>
              <a:cxn ang="0">
                <a:pos x="connsiteX25912" y="connsiteY25912"/>
              </a:cxn>
              <a:cxn ang="0">
                <a:pos x="connsiteX25913" y="connsiteY25913"/>
              </a:cxn>
              <a:cxn ang="0">
                <a:pos x="connsiteX25914" y="connsiteY25914"/>
              </a:cxn>
              <a:cxn ang="0">
                <a:pos x="connsiteX25915" y="connsiteY25915"/>
              </a:cxn>
              <a:cxn ang="0">
                <a:pos x="connsiteX25916" y="connsiteY25916"/>
              </a:cxn>
              <a:cxn ang="0">
                <a:pos x="connsiteX25917" y="connsiteY25917"/>
              </a:cxn>
              <a:cxn ang="0">
                <a:pos x="connsiteX25918" y="connsiteY25918"/>
              </a:cxn>
              <a:cxn ang="0">
                <a:pos x="connsiteX25919" y="connsiteY25919"/>
              </a:cxn>
              <a:cxn ang="0">
                <a:pos x="connsiteX25920" y="connsiteY25920"/>
              </a:cxn>
              <a:cxn ang="0">
                <a:pos x="connsiteX25921" y="connsiteY25921"/>
              </a:cxn>
              <a:cxn ang="0">
                <a:pos x="connsiteX25922" y="connsiteY25922"/>
              </a:cxn>
              <a:cxn ang="0">
                <a:pos x="connsiteX25923" y="connsiteY25923"/>
              </a:cxn>
              <a:cxn ang="0">
                <a:pos x="connsiteX25924" y="connsiteY25924"/>
              </a:cxn>
              <a:cxn ang="0">
                <a:pos x="connsiteX25925" y="connsiteY25925"/>
              </a:cxn>
              <a:cxn ang="0">
                <a:pos x="connsiteX25926" y="connsiteY25926"/>
              </a:cxn>
              <a:cxn ang="0">
                <a:pos x="connsiteX25927" y="connsiteY25927"/>
              </a:cxn>
              <a:cxn ang="0">
                <a:pos x="connsiteX25928" y="connsiteY25928"/>
              </a:cxn>
              <a:cxn ang="0">
                <a:pos x="connsiteX25929" y="connsiteY25929"/>
              </a:cxn>
              <a:cxn ang="0">
                <a:pos x="connsiteX25930" y="connsiteY25930"/>
              </a:cxn>
              <a:cxn ang="0">
                <a:pos x="connsiteX25931" y="connsiteY25931"/>
              </a:cxn>
              <a:cxn ang="0">
                <a:pos x="connsiteX25932" y="connsiteY25932"/>
              </a:cxn>
              <a:cxn ang="0">
                <a:pos x="connsiteX25933" y="connsiteY25933"/>
              </a:cxn>
              <a:cxn ang="0">
                <a:pos x="connsiteX25934" y="connsiteY25934"/>
              </a:cxn>
              <a:cxn ang="0">
                <a:pos x="connsiteX25935" y="connsiteY25935"/>
              </a:cxn>
              <a:cxn ang="0">
                <a:pos x="connsiteX25936" y="connsiteY25936"/>
              </a:cxn>
              <a:cxn ang="0">
                <a:pos x="connsiteX25937" y="connsiteY25937"/>
              </a:cxn>
              <a:cxn ang="0">
                <a:pos x="connsiteX25938" y="connsiteY25938"/>
              </a:cxn>
              <a:cxn ang="0">
                <a:pos x="connsiteX25939" y="connsiteY25939"/>
              </a:cxn>
              <a:cxn ang="0">
                <a:pos x="connsiteX25940" y="connsiteY25940"/>
              </a:cxn>
              <a:cxn ang="0">
                <a:pos x="connsiteX25941" y="connsiteY25941"/>
              </a:cxn>
              <a:cxn ang="0">
                <a:pos x="connsiteX25942" y="connsiteY25942"/>
              </a:cxn>
              <a:cxn ang="0">
                <a:pos x="connsiteX25943" y="connsiteY25943"/>
              </a:cxn>
              <a:cxn ang="0">
                <a:pos x="connsiteX25944" y="connsiteY25944"/>
              </a:cxn>
              <a:cxn ang="0">
                <a:pos x="connsiteX25945" y="connsiteY25945"/>
              </a:cxn>
              <a:cxn ang="0">
                <a:pos x="connsiteX25946" y="connsiteY25946"/>
              </a:cxn>
              <a:cxn ang="0">
                <a:pos x="connsiteX25947" y="connsiteY25947"/>
              </a:cxn>
              <a:cxn ang="0">
                <a:pos x="connsiteX25948" y="connsiteY25948"/>
              </a:cxn>
              <a:cxn ang="0">
                <a:pos x="connsiteX25949" y="connsiteY25949"/>
              </a:cxn>
              <a:cxn ang="0">
                <a:pos x="connsiteX25950" y="connsiteY25950"/>
              </a:cxn>
              <a:cxn ang="0">
                <a:pos x="connsiteX25951" y="connsiteY25951"/>
              </a:cxn>
              <a:cxn ang="0">
                <a:pos x="connsiteX25952" y="connsiteY25952"/>
              </a:cxn>
              <a:cxn ang="0">
                <a:pos x="connsiteX25953" y="connsiteY25953"/>
              </a:cxn>
              <a:cxn ang="0">
                <a:pos x="connsiteX25954" y="connsiteY25954"/>
              </a:cxn>
              <a:cxn ang="0">
                <a:pos x="connsiteX25955" y="connsiteY25955"/>
              </a:cxn>
              <a:cxn ang="0">
                <a:pos x="connsiteX25956" y="connsiteY25956"/>
              </a:cxn>
              <a:cxn ang="0">
                <a:pos x="connsiteX25957" y="connsiteY25957"/>
              </a:cxn>
              <a:cxn ang="0">
                <a:pos x="connsiteX25958" y="connsiteY25958"/>
              </a:cxn>
              <a:cxn ang="0">
                <a:pos x="connsiteX25959" y="connsiteY25959"/>
              </a:cxn>
              <a:cxn ang="0">
                <a:pos x="connsiteX25960" y="connsiteY25960"/>
              </a:cxn>
              <a:cxn ang="0">
                <a:pos x="connsiteX25961" y="connsiteY25961"/>
              </a:cxn>
              <a:cxn ang="0">
                <a:pos x="connsiteX25962" y="connsiteY25962"/>
              </a:cxn>
              <a:cxn ang="0">
                <a:pos x="connsiteX25963" y="connsiteY25963"/>
              </a:cxn>
              <a:cxn ang="0">
                <a:pos x="connsiteX25964" y="connsiteY25964"/>
              </a:cxn>
              <a:cxn ang="0">
                <a:pos x="connsiteX25965" y="connsiteY25965"/>
              </a:cxn>
              <a:cxn ang="0">
                <a:pos x="connsiteX25966" y="connsiteY25966"/>
              </a:cxn>
              <a:cxn ang="0">
                <a:pos x="connsiteX25967" y="connsiteY25967"/>
              </a:cxn>
              <a:cxn ang="0">
                <a:pos x="connsiteX25968" y="connsiteY25968"/>
              </a:cxn>
              <a:cxn ang="0">
                <a:pos x="connsiteX25969" y="connsiteY25969"/>
              </a:cxn>
              <a:cxn ang="0">
                <a:pos x="connsiteX25970" y="connsiteY25970"/>
              </a:cxn>
              <a:cxn ang="0">
                <a:pos x="connsiteX25971" y="connsiteY25971"/>
              </a:cxn>
              <a:cxn ang="0">
                <a:pos x="connsiteX25972" y="connsiteY25972"/>
              </a:cxn>
              <a:cxn ang="0">
                <a:pos x="connsiteX25973" y="connsiteY25973"/>
              </a:cxn>
              <a:cxn ang="0">
                <a:pos x="connsiteX25974" y="connsiteY25974"/>
              </a:cxn>
              <a:cxn ang="0">
                <a:pos x="connsiteX25975" y="connsiteY25975"/>
              </a:cxn>
              <a:cxn ang="0">
                <a:pos x="connsiteX25976" y="connsiteY25976"/>
              </a:cxn>
              <a:cxn ang="0">
                <a:pos x="connsiteX25977" y="connsiteY25977"/>
              </a:cxn>
              <a:cxn ang="0">
                <a:pos x="connsiteX25978" y="connsiteY25978"/>
              </a:cxn>
              <a:cxn ang="0">
                <a:pos x="connsiteX25979" y="connsiteY25979"/>
              </a:cxn>
              <a:cxn ang="0">
                <a:pos x="connsiteX25980" y="connsiteY25980"/>
              </a:cxn>
              <a:cxn ang="0">
                <a:pos x="connsiteX25981" y="connsiteY25981"/>
              </a:cxn>
              <a:cxn ang="0">
                <a:pos x="connsiteX25982" y="connsiteY25982"/>
              </a:cxn>
              <a:cxn ang="0">
                <a:pos x="connsiteX25983" y="connsiteY25983"/>
              </a:cxn>
              <a:cxn ang="0">
                <a:pos x="connsiteX25984" y="connsiteY25984"/>
              </a:cxn>
              <a:cxn ang="0">
                <a:pos x="connsiteX25985" y="connsiteY25985"/>
              </a:cxn>
              <a:cxn ang="0">
                <a:pos x="connsiteX25986" y="connsiteY25986"/>
              </a:cxn>
              <a:cxn ang="0">
                <a:pos x="connsiteX25987" y="connsiteY25987"/>
              </a:cxn>
              <a:cxn ang="0">
                <a:pos x="connsiteX25988" y="connsiteY25988"/>
              </a:cxn>
              <a:cxn ang="0">
                <a:pos x="connsiteX25989" y="connsiteY25989"/>
              </a:cxn>
              <a:cxn ang="0">
                <a:pos x="connsiteX25990" y="connsiteY25990"/>
              </a:cxn>
              <a:cxn ang="0">
                <a:pos x="connsiteX25991" y="connsiteY25991"/>
              </a:cxn>
              <a:cxn ang="0">
                <a:pos x="connsiteX25992" y="connsiteY25992"/>
              </a:cxn>
              <a:cxn ang="0">
                <a:pos x="connsiteX25993" y="connsiteY25993"/>
              </a:cxn>
              <a:cxn ang="0">
                <a:pos x="connsiteX25994" y="connsiteY25994"/>
              </a:cxn>
              <a:cxn ang="0">
                <a:pos x="connsiteX25995" y="connsiteY25995"/>
              </a:cxn>
              <a:cxn ang="0">
                <a:pos x="connsiteX25996" y="connsiteY25996"/>
              </a:cxn>
              <a:cxn ang="0">
                <a:pos x="connsiteX25997" y="connsiteY25997"/>
              </a:cxn>
              <a:cxn ang="0">
                <a:pos x="connsiteX25998" y="connsiteY25998"/>
              </a:cxn>
              <a:cxn ang="0">
                <a:pos x="connsiteX25999" y="connsiteY25999"/>
              </a:cxn>
              <a:cxn ang="0">
                <a:pos x="connsiteX26000" y="connsiteY26000"/>
              </a:cxn>
              <a:cxn ang="0">
                <a:pos x="connsiteX26001" y="connsiteY26001"/>
              </a:cxn>
              <a:cxn ang="0">
                <a:pos x="connsiteX26002" y="connsiteY26002"/>
              </a:cxn>
              <a:cxn ang="0">
                <a:pos x="connsiteX26003" y="connsiteY26003"/>
              </a:cxn>
              <a:cxn ang="0">
                <a:pos x="connsiteX26004" y="connsiteY26004"/>
              </a:cxn>
              <a:cxn ang="0">
                <a:pos x="connsiteX26005" y="connsiteY26005"/>
              </a:cxn>
              <a:cxn ang="0">
                <a:pos x="connsiteX26006" y="connsiteY26006"/>
              </a:cxn>
              <a:cxn ang="0">
                <a:pos x="connsiteX26007" y="connsiteY26007"/>
              </a:cxn>
              <a:cxn ang="0">
                <a:pos x="connsiteX26008" y="connsiteY26008"/>
              </a:cxn>
              <a:cxn ang="0">
                <a:pos x="connsiteX26009" y="connsiteY26009"/>
              </a:cxn>
              <a:cxn ang="0">
                <a:pos x="connsiteX26010" y="connsiteY26010"/>
              </a:cxn>
              <a:cxn ang="0">
                <a:pos x="connsiteX26011" y="connsiteY26011"/>
              </a:cxn>
              <a:cxn ang="0">
                <a:pos x="connsiteX26012" y="connsiteY26012"/>
              </a:cxn>
              <a:cxn ang="0">
                <a:pos x="connsiteX26013" y="connsiteY26013"/>
              </a:cxn>
              <a:cxn ang="0">
                <a:pos x="connsiteX26014" y="connsiteY26014"/>
              </a:cxn>
              <a:cxn ang="0">
                <a:pos x="connsiteX26015" y="connsiteY26015"/>
              </a:cxn>
              <a:cxn ang="0">
                <a:pos x="connsiteX26016" y="connsiteY26016"/>
              </a:cxn>
              <a:cxn ang="0">
                <a:pos x="connsiteX26017" y="connsiteY26017"/>
              </a:cxn>
              <a:cxn ang="0">
                <a:pos x="connsiteX26018" y="connsiteY26018"/>
              </a:cxn>
              <a:cxn ang="0">
                <a:pos x="connsiteX26019" y="connsiteY26019"/>
              </a:cxn>
              <a:cxn ang="0">
                <a:pos x="connsiteX26020" y="connsiteY26020"/>
              </a:cxn>
              <a:cxn ang="0">
                <a:pos x="connsiteX26021" y="connsiteY26021"/>
              </a:cxn>
              <a:cxn ang="0">
                <a:pos x="connsiteX26022" y="connsiteY26022"/>
              </a:cxn>
              <a:cxn ang="0">
                <a:pos x="connsiteX26023" y="connsiteY26023"/>
              </a:cxn>
              <a:cxn ang="0">
                <a:pos x="connsiteX26024" y="connsiteY26024"/>
              </a:cxn>
              <a:cxn ang="0">
                <a:pos x="connsiteX26025" y="connsiteY26025"/>
              </a:cxn>
              <a:cxn ang="0">
                <a:pos x="connsiteX26026" y="connsiteY26026"/>
              </a:cxn>
              <a:cxn ang="0">
                <a:pos x="connsiteX26027" y="connsiteY26027"/>
              </a:cxn>
              <a:cxn ang="0">
                <a:pos x="connsiteX26028" y="connsiteY26028"/>
              </a:cxn>
              <a:cxn ang="0">
                <a:pos x="connsiteX26029" y="connsiteY26029"/>
              </a:cxn>
              <a:cxn ang="0">
                <a:pos x="connsiteX26030" y="connsiteY26030"/>
              </a:cxn>
              <a:cxn ang="0">
                <a:pos x="connsiteX26031" y="connsiteY26031"/>
              </a:cxn>
              <a:cxn ang="0">
                <a:pos x="connsiteX26032" y="connsiteY26032"/>
              </a:cxn>
              <a:cxn ang="0">
                <a:pos x="connsiteX26033" y="connsiteY26033"/>
              </a:cxn>
              <a:cxn ang="0">
                <a:pos x="connsiteX26034" y="connsiteY26034"/>
              </a:cxn>
              <a:cxn ang="0">
                <a:pos x="connsiteX26035" y="connsiteY26035"/>
              </a:cxn>
              <a:cxn ang="0">
                <a:pos x="connsiteX26036" y="connsiteY26036"/>
              </a:cxn>
              <a:cxn ang="0">
                <a:pos x="connsiteX26037" y="connsiteY26037"/>
              </a:cxn>
              <a:cxn ang="0">
                <a:pos x="connsiteX26038" y="connsiteY26038"/>
              </a:cxn>
              <a:cxn ang="0">
                <a:pos x="connsiteX26039" y="connsiteY26039"/>
              </a:cxn>
              <a:cxn ang="0">
                <a:pos x="connsiteX26040" y="connsiteY26040"/>
              </a:cxn>
              <a:cxn ang="0">
                <a:pos x="connsiteX26041" y="connsiteY26041"/>
              </a:cxn>
              <a:cxn ang="0">
                <a:pos x="connsiteX26042" y="connsiteY26042"/>
              </a:cxn>
              <a:cxn ang="0">
                <a:pos x="connsiteX26043" y="connsiteY26043"/>
              </a:cxn>
              <a:cxn ang="0">
                <a:pos x="connsiteX26044" y="connsiteY26044"/>
              </a:cxn>
              <a:cxn ang="0">
                <a:pos x="connsiteX26045" y="connsiteY26045"/>
              </a:cxn>
              <a:cxn ang="0">
                <a:pos x="connsiteX26046" y="connsiteY26046"/>
              </a:cxn>
              <a:cxn ang="0">
                <a:pos x="connsiteX26047" y="connsiteY26047"/>
              </a:cxn>
              <a:cxn ang="0">
                <a:pos x="connsiteX26048" y="connsiteY26048"/>
              </a:cxn>
              <a:cxn ang="0">
                <a:pos x="connsiteX26049" y="connsiteY26049"/>
              </a:cxn>
              <a:cxn ang="0">
                <a:pos x="connsiteX26050" y="connsiteY26050"/>
              </a:cxn>
              <a:cxn ang="0">
                <a:pos x="connsiteX26051" y="connsiteY26051"/>
              </a:cxn>
              <a:cxn ang="0">
                <a:pos x="connsiteX26052" y="connsiteY26052"/>
              </a:cxn>
              <a:cxn ang="0">
                <a:pos x="connsiteX26053" y="connsiteY26053"/>
              </a:cxn>
              <a:cxn ang="0">
                <a:pos x="connsiteX26054" y="connsiteY26054"/>
              </a:cxn>
              <a:cxn ang="0">
                <a:pos x="connsiteX26055" y="connsiteY26055"/>
              </a:cxn>
              <a:cxn ang="0">
                <a:pos x="connsiteX26056" y="connsiteY26056"/>
              </a:cxn>
              <a:cxn ang="0">
                <a:pos x="connsiteX26057" y="connsiteY26057"/>
              </a:cxn>
              <a:cxn ang="0">
                <a:pos x="connsiteX26058" y="connsiteY26058"/>
              </a:cxn>
              <a:cxn ang="0">
                <a:pos x="connsiteX26059" y="connsiteY26059"/>
              </a:cxn>
              <a:cxn ang="0">
                <a:pos x="connsiteX26060" y="connsiteY26060"/>
              </a:cxn>
              <a:cxn ang="0">
                <a:pos x="connsiteX26061" y="connsiteY26061"/>
              </a:cxn>
              <a:cxn ang="0">
                <a:pos x="connsiteX26062" y="connsiteY26062"/>
              </a:cxn>
              <a:cxn ang="0">
                <a:pos x="connsiteX26063" y="connsiteY26063"/>
              </a:cxn>
              <a:cxn ang="0">
                <a:pos x="connsiteX26064" y="connsiteY26064"/>
              </a:cxn>
              <a:cxn ang="0">
                <a:pos x="connsiteX26065" y="connsiteY26065"/>
              </a:cxn>
              <a:cxn ang="0">
                <a:pos x="connsiteX26066" y="connsiteY26066"/>
              </a:cxn>
              <a:cxn ang="0">
                <a:pos x="connsiteX26067" y="connsiteY26067"/>
              </a:cxn>
              <a:cxn ang="0">
                <a:pos x="connsiteX26068" y="connsiteY26068"/>
              </a:cxn>
              <a:cxn ang="0">
                <a:pos x="connsiteX26069" y="connsiteY26069"/>
              </a:cxn>
              <a:cxn ang="0">
                <a:pos x="connsiteX26070" y="connsiteY26070"/>
              </a:cxn>
              <a:cxn ang="0">
                <a:pos x="connsiteX26071" y="connsiteY26071"/>
              </a:cxn>
              <a:cxn ang="0">
                <a:pos x="connsiteX26072" y="connsiteY26072"/>
              </a:cxn>
              <a:cxn ang="0">
                <a:pos x="connsiteX26073" y="connsiteY26073"/>
              </a:cxn>
              <a:cxn ang="0">
                <a:pos x="connsiteX26074" y="connsiteY26074"/>
              </a:cxn>
              <a:cxn ang="0">
                <a:pos x="connsiteX26075" y="connsiteY26075"/>
              </a:cxn>
              <a:cxn ang="0">
                <a:pos x="connsiteX26076" y="connsiteY26076"/>
              </a:cxn>
              <a:cxn ang="0">
                <a:pos x="connsiteX26077" y="connsiteY26077"/>
              </a:cxn>
              <a:cxn ang="0">
                <a:pos x="connsiteX26078" y="connsiteY26078"/>
              </a:cxn>
              <a:cxn ang="0">
                <a:pos x="connsiteX26079" y="connsiteY26079"/>
              </a:cxn>
              <a:cxn ang="0">
                <a:pos x="connsiteX26080" y="connsiteY26080"/>
              </a:cxn>
              <a:cxn ang="0">
                <a:pos x="connsiteX26081" y="connsiteY26081"/>
              </a:cxn>
              <a:cxn ang="0">
                <a:pos x="connsiteX26082" y="connsiteY26082"/>
              </a:cxn>
              <a:cxn ang="0">
                <a:pos x="connsiteX26083" y="connsiteY26083"/>
              </a:cxn>
              <a:cxn ang="0">
                <a:pos x="connsiteX26084" y="connsiteY26084"/>
              </a:cxn>
              <a:cxn ang="0">
                <a:pos x="connsiteX26085" y="connsiteY26085"/>
              </a:cxn>
              <a:cxn ang="0">
                <a:pos x="connsiteX26086" y="connsiteY26086"/>
              </a:cxn>
              <a:cxn ang="0">
                <a:pos x="connsiteX26087" y="connsiteY26087"/>
              </a:cxn>
              <a:cxn ang="0">
                <a:pos x="connsiteX26088" y="connsiteY26088"/>
              </a:cxn>
              <a:cxn ang="0">
                <a:pos x="connsiteX26089" y="connsiteY26089"/>
              </a:cxn>
              <a:cxn ang="0">
                <a:pos x="connsiteX26090" y="connsiteY26090"/>
              </a:cxn>
              <a:cxn ang="0">
                <a:pos x="connsiteX26091" y="connsiteY26091"/>
              </a:cxn>
              <a:cxn ang="0">
                <a:pos x="connsiteX26092" y="connsiteY26092"/>
              </a:cxn>
              <a:cxn ang="0">
                <a:pos x="connsiteX26093" y="connsiteY26093"/>
              </a:cxn>
              <a:cxn ang="0">
                <a:pos x="connsiteX26094" y="connsiteY26094"/>
              </a:cxn>
              <a:cxn ang="0">
                <a:pos x="connsiteX26095" y="connsiteY26095"/>
              </a:cxn>
              <a:cxn ang="0">
                <a:pos x="connsiteX26096" y="connsiteY26096"/>
              </a:cxn>
              <a:cxn ang="0">
                <a:pos x="connsiteX26097" y="connsiteY26097"/>
              </a:cxn>
              <a:cxn ang="0">
                <a:pos x="connsiteX26098" y="connsiteY26098"/>
              </a:cxn>
              <a:cxn ang="0">
                <a:pos x="connsiteX26099" y="connsiteY26099"/>
              </a:cxn>
              <a:cxn ang="0">
                <a:pos x="connsiteX26100" y="connsiteY26100"/>
              </a:cxn>
              <a:cxn ang="0">
                <a:pos x="connsiteX26101" y="connsiteY26101"/>
              </a:cxn>
              <a:cxn ang="0">
                <a:pos x="connsiteX26102" y="connsiteY26102"/>
              </a:cxn>
              <a:cxn ang="0">
                <a:pos x="connsiteX26103" y="connsiteY26103"/>
              </a:cxn>
              <a:cxn ang="0">
                <a:pos x="connsiteX26104" y="connsiteY26104"/>
              </a:cxn>
              <a:cxn ang="0">
                <a:pos x="connsiteX26105" y="connsiteY26105"/>
              </a:cxn>
              <a:cxn ang="0">
                <a:pos x="connsiteX26106" y="connsiteY26106"/>
              </a:cxn>
              <a:cxn ang="0">
                <a:pos x="connsiteX26107" y="connsiteY26107"/>
              </a:cxn>
              <a:cxn ang="0">
                <a:pos x="connsiteX26108" y="connsiteY26108"/>
              </a:cxn>
              <a:cxn ang="0">
                <a:pos x="connsiteX26109" y="connsiteY26109"/>
              </a:cxn>
              <a:cxn ang="0">
                <a:pos x="connsiteX26110" y="connsiteY26110"/>
              </a:cxn>
              <a:cxn ang="0">
                <a:pos x="connsiteX26111" y="connsiteY26111"/>
              </a:cxn>
              <a:cxn ang="0">
                <a:pos x="connsiteX26112" y="connsiteY26112"/>
              </a:cxn>
              <a:cxn ang="0">
                <a:pos x="connsiteX26113" y="connsiteY26113"/>
              </a:cxn>
              <a:cxn ang="0">
                <a:pos x="connsiteX26114" y="connsiteY26114"/>
              </a:cxn>
              <a:cxn ang="0">
                <a:pos x="connsiteX26115" y="connsiteY26115"/>
              </a:cxn>
              <a:cxn ang="0">
                <a:pos x="connsiteX26116" y="connsiteY26116"/>
              </a:cxn>
              <a:cxn ang="0">
                <a:pos x="connsiteX26117" y="connsiteY26117"/>
              </a:cxn>
              <a:cxn ang="0">
                <a:pos x="connsiteX26118" y="connsiteY26118"/>
              </a:cxn>
              <a:cxn ang="0">
                <a:pos x="connsiteX26119" y="connsiteY26119"/>
              </a:cxn>
              <a:cxn ang="0">
                <a:pos x="connsiteX26120" y="connsiteY26120"/>
              </a:cxn>
              <a:cxn ang="0">
                <a:pos x="connsiteX26121" y="connsiteY26121"/>
              </a:cxn>
              <a:cxn ang="0">
                <a:pos x="connsiteX26122" y="connsiteY26122"/>
              </a:cxn>
              <a:cxn ang="0">
                <a:pos x="connsiteX26123" y="connsiteY26123"/>
              </a:cxn>
              <a:cxn ang="0">
                <a:pos x="connsiteX26124" y="connsiteY26124"/>
              </a:cxn>
              <a:cxn ang="0">
                <a:pos x="connsiteX26125" y="connsiteY26125"/>
              </a:cxn>
              <a:cxn ang="0">
                <a:pos x="connsiteX26126" y="connsiteY26126"/>
              </a:cxn>
              <a:cxn ang="0">
                <a:pos x="connsiteX26127" y="connsiteY26127"/>
              </a:cxn>
              <a:cxn ang="0">
                <a:pos x="connsiteX26128" y="connsiteY26128"/>
              </a:cxn>
              <a:cxn ang="0">
                <a:pos x="connsiteX26129" y="connsiteY26129"/>
              </a:cxn>
              <a:cxn ang="0">
                <a:pos x="connsiteX26130" y="connsiteY26130"/>
              </a:cxn>
              <a:cxn ang="0">
                <a:pos x="connsiteX26131" y="connsiteY26131"/>
              </a:cxn>
              <a:cxn ang="0">
                <a:pos x="connsiteX26132" y="connsiteY26132"/>
              </a:cxn>
              <a:cxn ang="0">
                <a:pos x="connsiteX26133" y="connsiteY26133"/>
              </a:cxn>
              <a:cxn ang="0">
                <a:pos x="connsiteX26134" y="connsiteY26134"/>
              </a:cxn>
              <a:cxn ang="0">
                <a:pos x="connsiteX26135" y="connsiteY26135"/>
              </a:cxn>
              <a:cxn ang="0">
                <a:pos x="connsiteX26136" y="connsiteY26136"/>
              </a:cxn>
              <a:cxn ang="0">
                <a:pos x="connsiteX26137" y="connsiteY26137"/>
              </a:cxn>
              <a:cxn ang="0">
                <a:pos x="connsiteX26138" y="connsiteY26138"/>
              </a:cxn>
              <a:cxn ang="0">
                <a:pos x="connsiteX26139" y="connsiteY26139"/>
              </a:cxn>
              <a:cxn ang="0">
                <a:pos x="connsiteX26140" y="connsiteY26140"/>
              </a:cxn>
              <a:cxn ang="0">
                <a:pos x="connsiteX26141" y="connsiteY26141"/>
              </a:cxn>
              <a:cxn ang="0">
                <a:pos x="connsiteX26142" y="connsiteY26142"/>
              </a:cxn>
              <a:cxn ang="0">
                <a:pos x="connsiteX26143" y="connsiteY26143"/>
              </a:cxn>
              <a:cxn ang="0">
                <a:pos x="connsiteX26144" y="connsiteY26144"/>
              </a:cxn>
              <a:cxn ang="0">
                <a:pos x="connsiteX26145" y="connsiteY26145"/>
              </a:cxn>
              <a:cxn ang="0">
                <a:pos x="connsiteX26146" y="connsiteY26146"/>
              </a:cxn>
              <a:cxn ang="0">
                <a:pos x="connsiteX26147" y="connsiteY26147"/>
              </a:cxn>
              <a:cxn ang="0">
                <a:pos x="connsiteX26148" y="connsiteY26148"/>
              </a:cxn>
              <a:cxn ang="0">
                <a:pos x="connsiteX26149" y="connsiteY26149"/>
              </a:cxn>
              <a:cxn ang="0">
                <a:pos x="connsiteX26150" y="connsiteY26150"/>
              </a:cxn>
              <a:cxn ang="0">
                <a:pos x="connsiteX26151" y="connsiteY26151"/>
              </a:cxn>
              <a:cxn ang="0">
                <a:pos x="connsiteX26152" y="connsiteY26152"/>
              </a:cxn>
              <a:cxn ang="0">
                <a:pos x="connsiteX26153" y="connsiteY26153"/>
              </a:cxn>
              <a:cxn ang="0">
                <a:pos x="connsiteX26154" y="connsiteY26154"/>
              </a:cxn>
              <a:cxn ang="0">
                <a:pos x="connsiteX26155" y="connsiteY26155"/>
              </a:cxn>
              <a:cxn ang="0">
                <a:pos x="connsiteX26156" y="connsiteY26156"/>
              </a:cxn>
              <a:cxn ang="0">
                <a:pos x="connsiteX26157" y="connsiteY26157"/>
              </a:cxn>
              <a:cxn ang="0">
                <a:pos x="connsiteX26158" y="connsiteY26158"/>
              </a:cxn>
              <a:cxn ang="0">
                <a:pos x="connsiteX26159" y="connsiteY26159"/>
              </a:cxn>
              <a:cxn ang="0">
                <a:pos x="connsiteX26160" y="connsiteY26160"/>
              </a:cxn>
              <a:cxn ang="0">
                <a:pos x="connsiteX26161" y="connsiteY26161"/>
              </a:cxn>
              <a:cxn ang="0">
                <a:pos x="connsiteX26162" y="connsiteY26162"/>
              </a:cxn>
              <a:cxn ang="0">
                <a:pos x="connsiteX26163" y="connsiteY26163"/>
              </a:cxn>
              <a:cxn ang="0">
                <a:pos x="connsiteX26164" y="connsiteY26164"/>
              </a:cxn>
              <a:cxn ang="0">
                <a:pos x="connsiteX26165" y="connsiteY26165"/>
              </a:cxn>
              <a:cxn ang="0">
                <a:pos x="connsiteX26166" y="connsiteY26166"/>
              </a:cxn>
              <a:cxn ang="0">
                <a:pos x="connsiteX26167" y="connsiteY26167"/>
              </a:cxn>
              <a:cxn ang="0">
                <a:pos x="connsiteX26168" y="connsiteY26168"/>
              </a:cxn>
              <a:cxn ang="0">
                <a:pos x="connsiteX26169" y="connsiteY26169"/>
              </a:cxn>
              <a:cxn ang="0">
                <a:pos x="connsiteX26170" y="connsiteY26170"/>
              </a:cxn>
              <a:cxn ang="0">
                <a:pos x="connsiteX26171" y="connsiteY26171"/>
              </a:cxn>
              <a:cxn ang="0">
                <a:pos x="connsiteX26172" y="connsiteY26172"/>
              </a:cxn>
              <a:cxn ang="0">
                <a:pos x="connsiteX26173" y="connsiteY26173"/>
              </a:cxn>
              <a:cxn ang="0">
                <a:pos x="connsiteX26174" y="connsiteY26174"/>
              </a:cxn>
              <a:cxn ang="0">
                <a:pos x="connsiteX26175" y="connsiteY26175"/>
              </a:cxn>
              <a:cxn ang="0">
                <a:pos x="connsiteX26176" y="connsiteY26176"/>
              </a:cxn>
              <a:cxn ang="0">
                <a:pos x="connsiteX26177" y="connsiteY26177"/>
              </a:cxn>
              <a:cxn ang="0">
                <a:pos x="connsiteX26178" y="connsiteY26178"/>
              </a:cxn>
              <a:cxn ang="0">
                <a:pos x="connsiteX26179" y="connsiteY26179"/>
              </a:cxn>
              <a:cxn ang="0">
                <a:pos x="connsiteX26180" y="connsiteY26180"/>
              </a:cxn>
              <a:cxn ang="0">
                <a:pos x="connsiteX26181" y="connsiteY26181"/>
              </a:cxn>
              <a:cxn ang="0">
                <a:pos x="connsiteX26182" y="connsiteY26182"/>
              </a:cxn>
              <a:cxn ang="0">
                <a:pos x="connsiteX26183" y="connsiteY26183"/>
              </a:cxn>
              <a:cxn ang="0">
                <a:pos x="connsiteX26184" y="connsiteY26184"/>
              </a:cxn>
              <a:cxn ang="0">
                <a:pos x="connsiteX26185" y="connsiteY26185"/>
              </a:cxn>
              <a:cxn ang="0">
                <a:pos x="connsiteX26186" y="connsiteY26186"/>
              </a:cxn>
              <a:cxn ang="0">
                <a:pos x="connsiteX26187" y="connsiteY26187"/>
              </a:cxn>
              <a:cxn ang="0">
                <a:pos x="connsiteX26188" y="connsiteY26188"/>
              </a:cxn>
              <a:cxn ang="0">
                <a:pos x="connsiteX26189" y="connsiteY26189"/>
              </a:cxn>
              <a:cxn ang="0">
                <a:pos x="connsiteX26190" y="connsiteY26190"/>
              </a:cxn>
              <a:cxn ang="0">
                <a:pos x="connsiteX26191" y="connsiteY26191"/>
              </a:cxn>
              <a:cxn ang="0">
                <a:pos x="connsiteX26192" y="connsiteY26192"/>
              </a:cxn>
              <a:cxn ang="0">
                <a:pos x="connsiteX26193" y="connsiteY26193"/>
              </a:cxn>
              <a:cxn ang="0">
                <a:pos x="connsiteX26194" y="connsiteY26194"/>
              </a:cxn>
              <a:cxn ang="0">
                <a:pos x="connsiteX26195" y="connsiteY26195"/>
              </a:cxn>
              <a:cxn ang="0">
                <a:pos x="connsiteX26196" y="connsiteY26196"/>
              </a:cxn>
              <a:cxn ang="0">
                <a:pos x="connsiteX26197" y="connsiteY26197"/>
              </a:cxn>
              <a:cxn ang="0">
                <a:pos x="connsiteX26198" y="connsiteY26198"/>
              </a:cxn>
              <a:cxn ang="0">
                <a:pos x="connsiteX26199" y="connsiteY26199"/>
              </a:cxn>
              <a:cxn ang="0">
                <a:pos x="connsiteX26200" y="connsiteY26200"/>
              </a:cxn>
              <a:cxn ang="0">
                <a:pos x="connsiteX26201" y="connsiteY26201"/>
              </a:cxn>
              <a:cxn ang="0">
                <a:pos x="connsiteX26202" y="connsiteY26202"/>
              </a:cxn>
              <a:cxn ang="0">
                <a:pos x="connsiteX26203" y="connsiteY26203"/>
              </a:cxn>
              <a:cxn ang="0">
                <a:pos x="connsiteX26204" y="connsiteY26204"/>
              </a:cxn>
              <a:cxn ang="0">
                <a:pos x="connsiteX26205" y="connsiteY26205"/>
              </a:cxn>
              <a:cxn ang="0">
                <a:pos x="connsiteX26206" y="connsiteY26206"/>
              </a:cxn>
              <a:cxn ang="0">
                <a:pos x="connsiteX26207" y="connsiteY26207"/>
              </a:cxn>
              <a:cxn ang="0">
                <a:pos x="connsiteX26208" y="connsiteY26208"/>
              </a:cxn>
              <a:cxn ang="0">
                <a:pos x="connsiteX26209" y="connsiteY26209"/>
              </a:cxn>
              <a:cxn ang="0">
                <a:pos x="connsiteX26210" y="connsiteY26210"/>
              </a:cxn>
              <a:cxn ang="0">
                <a:pos x="connsiteX26211" y="connsiteY26211"/>
              </a:cxn>
              <a:cxn ang="0">
                <a:pos x="connsiteX26212" y="connsiteY26212"/>
              </a:cxn>
              <a:cxn ang="0">
                <a:pos x="connsiteX26213" y="connsiteY26213"/>
              </a:cxn>
              <a:cxn ang="0">
                <a:pos x="connsiteX26214" y="connsiteY26214"/>
              </a:cxn>
              <a:cxn ang="0">
                <a:pos x="connsiteX26215" y="connsiteY26215"/>
              </a:cxn>
              <a:cxn ang="0">
                <a:pos x="connsiteX26216" y="connsiteY26216"/>
              </a:cxn>
              <a:cxn ang="0">
                <a:pos x="connsiteX26217" y="connsiteY26217"/>
              </a:cxn>
              <a:cxn ang="0">
                <a:pos x="connsiteX26218" y="connsiteY26218"/>
              </a:cxn>
              <a:cxn ang="0">
                <a:pos x="connsiteX26219" y="connsiteY26219"/>
              </a:cxn>
              <a:cxn ang="0">
                <a:pos x="connsiteX26220" y="connsiteY26220"/>
              </a:cxn>
              <a:cxn ang="0">
                <a:pos x="connsiteX26221" y="connsiteY26221"/>
              </a:cxn>
              <a:cxn ang="0">
                <a:pos x="connsiteX26222" y="connsiteY26222"/>
              </a:cxn>
              <a:cxn ang="0">
                <a:pos x="connsiteX26223" y="connsiteY26223"/>
              </a:cxn>
              <a:cxn ang="0">
                <a:pos x="connsiteX26224" y="connsiteY26224"/>
              </a:cxn>
              <a:cxn ang="0">
                <a:pos x="connsiteX26225" y="connsiteY26225"/>
              </a:cxn>
              <a:cxn ang="0">
                <a:pos x="connsiteX26226" y="connsiteY26226"/>
              </a:cxn>
              <a:cxn ang="0">
                <a:pos x="connsiteX26227" y="connsiteY26227"/>
              </a:cxn>
              <a:cxn ang="0">
                <a:pos x="connsiteX26228" y="connsiteY26228"/>
              </a:cxn>
              <a:cxn ang="0">
                <a:pos x="connsiteX26229" y="connsiteY26229"/>
              </a:cxn>
              <a:cxn ang="0">
                <a:pos x="connsiteX26230" y="connsiteY26230"/>
              </a:cxn>
              <a:cxn ang="0">
                <a:pos x="connsiteX26231" y="connsiteY26231"/>
              </a:cxn>
              <a:cxn ang="0">
                <a:pos x="connsiteX26232" y="connsiteY26232"/>
              </a:cxn>
              <a:cxn ang="0">
                <a:pos x="connsiteX26233" y="connsiteY26233"/>
              </a:cxn>
              <a:cxn ang="0">
                <a:pos x="connsiteX26234" y="connsiteY26234"/>
              </a:cxn>
              <a:cxn ang="0">
                <a:pos x="connsiteX26235" y="connsiteY26235"/>
              </a:cxn>
              <a:cxn ang="0">
                <a:pos x="connsiteX26236" y="connsiteY26236"/>
              </a:cxn>
              <a:cxn ang="0">
                <a:pos x="connsiteX26237" y="connsiteY26237"/>
              </a:cxn>
              <a:cxn ang="0">
                <a:pos x="connsiteX26238" y="connsiteY26238"/>
              </a:cxn>
              <a:cxn ang="0">
                <a:pos x="connsiteX26239" y="connsiteY26239"/>
              </a:cxn>
              <a:cxn ang="0">
                <a:pos x="connsiteX26240" y="connsiteY26240"/>
              </a:cxn>
              <a:cxn ang="0">
                <a:pos x="connsiteX26241" y="connsiteY26241"/>
              </a:cxn>
              <a:cxn ang="0">
                <a:pos x="connsiteX26242" y="connsiteY26242"/>
              </a:cxn>
              <a:cxn ang="0">
                <a:pos x="connsiteX26243" y="connsiteY26243"/>
              </a:cxn>
              <a:cxn ang="0">
                <a:pos x="connsiteX26244" y="connsiteY26244"/>
              </a:cxn>
              <a:cxn ang="0">
                <a:pos x="connsiteX26245" y="connsiteY26245"/>
              </a:cxn>
              <a:cxn ang="0">
                <a:pos x="connsiteX26246" y="connsiteY26246"/>
              </a:cxn>
              <a:cxn ang="0">
                <a:pos x="connsiteX26247" y="connsiteY26247"/>
              </a:cxn>
              <a:cxn ang="0">
                <a:pos x="connsiteX26248" y="connsiteY26248"/>
              </a:cxn>
              <a:cxn ang="0">
                <a:pos x="connsiteX26249" y="connsiteY26249"/>
              </a:cxn>
              <a:cxn ang="0">
                <a:pos x="connsiteX26250" y="connsiteY26250"/>
              </a:cxn>
              <a:cxn ang="0">
                <a:pos x="connsiteX26251" y="connsiteY26251"/>
              </a:cxn>
              <a:cxn ang="0">
                <a:pos x="connsiteX26252" y="connsiteY26252"/>
              </a:cxn>
              <a:cxn ang="0">
                <a:pos x="connsiteX26253" y="connsiteY26253"/>
              </a:cxn>
              <a:cxn ang="0">
                <a:pos x="connsiteX26254" y="connsiteY26254"/>
              </a:cxn>
              <a:cxn ang="0">
                <a:pos x="connsiteX26255" y="connsiteY26255"/>
              </a:cxn>
              <a:cxn ang="0">
                <a:pos x="connsiteX26256" y="connsiteY26256"/>
              </a:cxn>
              <a:cxn ang="0">
                <a:pos x="connsiteX26257" y="connsiteY26257"/>
              </a:cxn>
              <a:cxn ang="0">
                <a:pos x="connsiteX26258" y="connsiteY26258"/>
              </a:cxn>
              <a:cxn ang="0">
                <a:pos x="connsiteX26259" y="connsiteY26259"/>
              </a:cxn>
              <a:cxn ang="0">
                <a:pos x="connsiteX26260" y="connsiteY26260"/>
              </a:cxn>
              <a:cxn ang="0">
                <a:pos x="connsiteX26261" y="connsiteY26261"/>
              </a:cxn>
              <a:cxn ang="0">
                <a:pos x="connsiteX26262" y="connsiteY26262"/>
              </a:cxn>
              <a:cxn ang="0">
                <a:pos x="connsiteX26263" y="connsiteY26263"/>
              </a:cxn>
              <a:cxn ang="0">
                <a:pos x="connsiteX26264" y="connsiteY26264"/>
              </a:cxn>
              <a:cxn ang="0">
                <a:pos x="connsiteX26265" y="connsiteY26265"/>
              </a:cxn>
              <a:cxn ang="0">
                <a:pos x="connsiteX26266" y="connsiteY26266"/>
              </a:cxn>
              <a:cxn ang="0">
                <a:pos x="connsiteX26267" y="connsiteY26267"/>
              </a:cxn>
              <a:cxn ang="0">
                <a:pos x="connsiteX26268" y="connsiteY26268"/>
              </a:cxn>
              <a:cxn ang="0">
                <a:pos x="connsiteX26269" y="connsiteY26269"/>
              </a:cxn>
              <a:cxn ang="0">
                <a:pos x="connsiteX26270" y="connsiteY26270"/>
              </a:cxn>
              <a:cxn ang="0">
                <a:pos x="connsiteX26271" y="connsiteY26271"/>
              </a:cxn>
              <a:cxn ang="0">
                <a:pos x="connsiteX26272" y="connsiteY26272"/>
              </a:cxn>
              <a:cxn ang="0">
                <a:pos x="connsiteX26273" y="connsiteY26273"/>
              </a:cxn>
              <a:cxn ang="0">
                <a:pos x="connsiteX26274" y="connsiteY26274"/>
              </a:cxn>
              <a:cxn ang="0">
                <a:pos x="connsiteX26275" y="connsiteY26275"/>
              </a:cxn>
              <a:cxn ang="0">
                <a:pos x="connsiteX26276" y="connsiteY26276"/>
              </a:cxn>
              <a:cxn ang="0">
                <a:pos x="connsiteX26277" y="connsiteY26277"/>
              </a:cxn>
              <a:cxn ang="0">
                <a:pos x="connsiteX26278" y="connsiteY26278"/>
              </a:cxn>
              <a:cxn ang="0">
                <a:pos x="connsiteX26279" y="connsiteY26279"/>
              </a:cxn>
              <a:cxn ang="0">
                <a:pos x="connsiteX26280" y="connsiteY26280"/>
              </a:cxn>
              <a:cxn ang="0">
                <a:pos x="connsiteX26281" y="connsiteY26281"/>
              </a:cxn>
              <a:cxn ang="0">
                <a:pos x="connsiteX26282" y="connsiteY26282"/>
              </a:cxn>
              <a:cxn ang="0">
                <a:pos x="connsiteX26283" y="connsiteY26283"/>
              </a:cxn>
              <a:cxn ang="0">
                <a:pos x="connsiteX26284" y="connsiteY26284"/>
              </a:cxn>
              <a:cxn ang="0">
                <a:pos x="connsiteX26285" y="connsiteY26285"/>
              </a:cxn>
              <a:cxn ang="0">
                <a:pos x="connsiteX26286" y="connsiteY26286"/>
              </a:cxn>
              <a:cxn ang="0">
                <a:pos x="connsiteX26287" y="connsiteY26287"/>
              </a:cxn>
              <a:cxn ang="0">
                <a:pos x="connsiteX26288" y="connsiteY26288"/>
              </a:cxn>
              <a:cxn ang="0">
                <a:pos x="connsiteX26289" y="connsiteY26289"/>
              </a:cxn>
              <a:cxn ang="0">
                <a:pos x="connsiteX26290" y="connsiteY26290"/>
              </a:cxn>
              <a:cxn ang="0">
                <a:pos x="connsiteX26291" y="connsiteY26291"/>
              </a:cxn>
              <a:cxn ang="0">
                <a:pos x="connsiteX26292" y="connsiteY26292"/>
              </a:cxn>
              <a:cxn ang="0">
                <a:pos x="connsiteX26293" y="connsiteY26293"/>
              </a:cxn>
              <a:cxn ang="0">
                <a:pos x="connsiteX26294" y="connsiteY26294"/>
              </a:cxn>
              <a:cxn ang="0">
                <a:pos x="connsiteX26295" y="connsiteY26295"/>
              </a:cxn>
              <a:cxn ang="0">
                <a:pos x="connsiteX26296" y="connsiteY26296"/>
              </a:cxn>
              <a:cxn ang="0">
                <a:pos x="connsiteX26297" y="connsiteY26297"/>
              </a:cxn>
              <a:cxn ang="0">
                <a:pos x="connsiteX26298" y="connsiteY26298"/>
              </a:cxn>
              <a:cxn ang="0">
                <a:pos x="connsiteX26299" y="connsiteY26299"/>
              </a:cxn>
              <a:cxn ang="0">
                <a:pos x="connsiteX26300" y="connsiteY26300"/>
              </a:cxn>
              <a:cxn ang="0">
                <a:pos x="connsiteX26301" y="connsiteY26301"/>
              </a:cxn>
              <a:cxn ang="0">
                <a:pos x="connsiteX26302" y="connsiteY26302"/>
              </a:cxn>
              <a:cxn ang="0">
                <a:pos x="connsiteX26303" y="connsiteY26303"/>
              </a:cxn>
              <a:cxn ang="0">
                <a:pos x="connsiteX26304" y="connsiteY26304"/>
              </a:cxn>
              <a:cxn ang="0">
                <a:pos x="connsiteX26305" y="connsiteY26305"/>
              </a:cxn>
              <a:cxn ang="0">
                <a:pos x="connsiteX26306" y="connsiteY26306"/>
              </a:cxn>
              <a:cxn ang="0">
                <a:pos x="connsiteX26307" y="connsiteY26307"/>
              </a:cxn>
              <a:cxn ang="0">
                <a:pos x="connsiteX26308" y="connsiteY26308"/>
              </a:cxn>
              <a:cxn ang="0">
                <a:pos x="connsiteX26309" y="connsiteY26309"/>
              </a:cxn>
              <a:cxn ang="0">
                <a:pos x="connsiteX26310" y="connsiteY26310"/>
              </a:cxn>
              <a:cxn ang="0">
                <a:pos x="connsiteX26311" y="connsiteY26311"/>
              </a:cxn>
              <a:cxn ang="0">
                <a:pos x="connsiteX26312" y="connsiteY26312"/>
              </a:cxn>
              <a:cxn ang="0">
                <a:pos x="connsiteX26313" y="connsiteY26313"/>
              </a:cxn>
              <a:cxn ang="0">
                <a:pos x="connsiteX26314" y="connsiteY26314"/>
              </a:cxn>
              <a:cxn ang="0">
                <a:pos x="connsiteX26315" y="connsiteY26315"/>
              </a:cxn>
              <a:cxn ang="0">
                <a:pos x="connsiteX26316" y="connsiteY26316"/>
              </a:cxn>
              <a:cxn ang="0">
                <a:pos x="connsiteX26317" y="connsiteY26317"/>
              </a:cxn>
              <a:cxn ang="0">
                <a:pos x="connsiteX26318" y="connsiteY26318"/>
              </a:cxn>
              <a:cxn ang="0">
                <a:pos x="connsiteX26319" y="connsiteY26319"/>
              </a:cxn>
              <a:cxn ang="0">
                <a:pos x="connsiteX26320" y="connsiteY26320"/>
              </a:cxn>
              <a:cxn ang="0">
                <a:pos x="connsiteX26321" y="connsiteY26321"/>
              </a:cxn>
              <a:cxn ang="0">
                <a:pos x="connsiteX26322" y="connsiteY26322"/>
              </a:cxn>
              <a:cxn ang="0">
                <a:pos x="connsiteX26323" y="connsiteY26323"/>
              </a:cxn>
              <a:cxn ang="0">
                <a:pos x="connsiteX26324" y="connsiteY26324"/>
              </a:cxn>
              <a:cxn ang="0">
                <a:pos x="connsiteX26325" y="connsiteY26325"/>
              </a:cxn>
              <a:cxn ang="0">
                <a:pos x="connsiteX26326" y="connsiteY26326"/>
              </a:cxn>
              <a:cxn ang="0">
                <a:pos x="connsiteX26327" y="connsiteY26327"/>
              </a:cxn>
              <a:cxn ang="0">
                <a:pos x="connsiteX26328" y="connsiteY26328"/>
              </a:cxn>
              <a:cxn ang="0">
                <a:pos x="connsiteX26329" y="connsiteY26329"/>
              </a:cxn>
              <a:cxn ang="0">
                <a:pos x="connsiteX26330" y="connsiteY26330"/>
              </a:cxn>
              <a:cxn ang="0">
                <a:pos x="connsiteX26331" y="connsiteY26331"/>
              </a:cxn>
              <a:cxn ang="0">
                <a:pos x="connsiteX26332" y="connsiteY26332"/>
              </a:cxn>
              <a:cxn ang="0">
                <a:pos x="connsiteX26333" y="connsiteY26333"/>
              </a:cxn>
              <a:cxn ang="0">
                <a:pos x="connsiteX26334" y="connsiteY26334"/>
              </a:cxn>
              <a:cxn ang="0">
                <a:pos x="connsiteX26335" y="connsiteY26335"/>
              </a:cxn>
              <a:cxn ang="0">
                <a:pos x="connsiteX26336" y="connsiteY26336"/>
              </a:cxn>
              <a:cxn ang="0">
                <a:pos x="connsiteX26337" y="connsiteY26337"/>
              </a:cxn>
              <a:cxn ang="0">
                <a:pos x="connsiteX26338" y="connsiteY26338"/>
              </a:cxn>
              <a:cxn ang="0">
                <a:pos x="connsiteX26339" y="connsiteY26339"/>
              </a:cxn>
              <a:cxn ang="0">
                <a:pos x="connsiteX26340" y="connsiteY26340"/>
              </a:cxn>
              <a:cxn ang="0">
                <a:pos x="connsiteX26341" y="connsiteY26341"/>
              </a:cxn>
              <a:cxn ang="0">
                <a:pos x="connsiteX26342" y="connsiteY26342"/>
              </a:cxn>
              <a:cxn ang="0">
                <a:pos x="connsiteX26343" y="connsiteY26343"/>
              </a:cxn>
              <a:cxn ang="0">
                <a:pos x="connsiteX26344" y="connsiteY26344"/>
              </a:cxn>
              <a:cxn ang="0">
                <a:pos x="connsiteX26345" y="connsiteY26345"/>
              </a:cxn>
              <a:cxn ang="0">
                <a:pos x="connsiteX26346" y="connsiteY26346"/>
              </a:cxn>
              <a:cxn ang="0">
                <a:pos x="connsiteX26347" y="connsiteY26347"/>
              </a:cxn>
              <a:cxn ang="0">
                <a:pos x="connsiteX26348" y="connsiteY26348"/>
              </a:cxn>
              <a:cxn ang="0">
                <a:pos x="connsiteX26349" y="connsiteY26349"/>
              </a:cxn>
              <a:cxn ang="0">
                <a:pos x="connsiteX26350" y="connsiteY26350"/>
              </a:cxn>
              <a:cxn ang="0">
                <a:pos x="connsiteX26351" y="connsiteY26351"/>
              </a:cxn>
              <a:cxn ang="0">
                <a:pos x="connsiteX26352" y="connsiteY26352"/>
              </a:cxn>
              <a:cxn ang="0">
                <a:pos x="connsiteX26353" y="connsiteY26353"/>
              </a:cxn>
              <a:cxn ang="0">
                <a:pos x="connsiteX26354" y="connsiteY26354"/>
              </a:cxn>
              <a:cxn ang="0">
                <a:pos x="connsiteX26355" y="connsiteY26355"/>
              </a:cxn>
              <a:cxn ang="0">
                <a:pos x="connsiteX26356" y="connsiteY26356"/>
              </a:cxn>
              <a:cxn ang="0">
                <a:pos x="connsiteX26357" y="connsiteY26357"/>
              </a:cxn>
              <a:cxn ang="0">
                <a:pos x="connsiteX26358" y="connsiteY26358"/>
              </a:cxn>
              <a:cxn ang="0">
                <a:pos x="connsiteX26359" y="connsiteY26359"/>
              </a:cxn>
              <a:cxn ang="0">
                <a:pos x="connsiteX26360" y="connsiteY26360"/>
              </a:cxn>
              <a:cxn ang="0">
                <a:pos x="connsiteX26361" y="connsiteY26361"/>
              </a:cxn>
              <a:cxn ang="0">
                <a:pos x="connsiteX26362" y="connsiteY26362"/>
              </a:cxn>
              <a:cxn ang="0">
                <a:pos x="connsiteX26363" y="connsiteY26363"/>
              </a:cxn>
              <a:cxn ang="0">
                <a:pos x="connsiteX26364" y="connsiteY26364"/>
              </a:cxn>
              <a:cxn ang="0">
                <a:pos x="connsiteX26365" y="connsiteY26365"/>
              </a:cxn>
              <a:cxn ang="0">
                <a:pos x="connsiteX26366" y="connsiteY26366"/>
              </a:cxn>
              <a:cxn ang="0">
                <a:pos x="connsiteX26367" y="connsiteY26367"/>
              </a:cxn>
              <a:cxn ang="0">
                <a:pos x="connsiteX26368" y="connsiteY26368"/>
              </a:cxn>
              <a:cxn ang="0">
                <a:pos x="connsiteX26369" y="connsiteY26369"/>
              </a:cxn>
              <a:cxn ang="0">
                <a:pos x="connsiteX26370" y="connsiteY26370"/>
              </a:cxn>
              <a:cxn ang="0">
                <a:pos x="connsiteX26371" y="connsiteY26371"/>
              </a:cxn>
              <a:cxn ang="0">
                <a:pos x="connsiteX26372" y="connsiteY26372"/>
              </a:cxn>
              <a:cxn ang="0">
                <a:pos x="connsiteX26373" y="connsiteY26373"/>
              </a:cxn>
              <a:cxn ang="0">
                <a:pos x="connsiteX26374" y="connsiteY26374"/>
              </a:cxn>
              <a:cxn ang="0">
                <a:pos x="connsiteX26375" y="connsiteY26375"/>
              </a:cxn>
              <a:cxn ang="0">
                <a:pos x="connsiteX26376" y="connsiteY26376"/>
              </a:cxn>
              <a:cxn ang="0">
                <a:pos x="connsiteX26377" y="connsiteY26377"/>
              </a:cxn>
              <a:cxn ang="0">
                <a:pos x="connsiteX26378" y="connsiteY26378"/>
              </a:cxn>
              <a:cxn ang="0">
                <a:pos x="connsiteX26379" y="connsiteY26379"/>
              </a:cxn>
              <a:cxn ang="0">
                <a:pos x="connsiteX26380" y="connsiteY26380"/>
              </a:cxn>
              <a:cxn ang="0">
                <a:pos x="connsiteX26381" y="connsiteY26381"/>
              </a:cxn>
              <a:cxn ang="0">
                <a:pos x="connsiteX26382" y="connsiteY26382"/>
              </a:cxn>
              <a:cxn ang="0">
                <a:pos x="connsiteX26383" y="connsiteY26383"/>
              </a:cxn>
              <a:cxn ang="0">
                <a:pos x="connsiteX26384" y="connsiteY26384"/>
              </a:cxn>
              <a:cxn ang="0">
                <a:pos x="connsiteX26385" y="connsiteY26385"/>
              </a:cxn>
              <a:cxn ang="0">
                <a:pos x="connsiteX26386" y="connsiteY26386"/>
              </a:cxn>
              <a:cxn ang="0">
                <a:pos x="connsiteX26387" y="connsiteY26387"/>
              </a:cxn>
              <a:cxn ang="0">
                <a:pos x="connsiteX26388" y="connsiteY26388"/>
              </a:cxn>
              <a:cxn ang="0">
                <a:pos x="connsiteX26389" y="connsiteY26389"/>
              </a:cxn>
              <a:cxn ang="0">
                <a:pos x="connsiteX26390" y="connsiteY26390"/>
              </a:cxn>
              <a:cxn ang="0">
                <a:pos x="connsiteX26391" y="connsiteY26391"/>
              </a:cxn>
              <a:cxn ang="0">
                <a:pos x="connsiteX26392" y="connsiteY26392"/>
              </a:cxn>
              <a:cxn ang="0">
                <a:pos x="connsiteX26393" y="connsiteY26393"/>
              </a:cxn>
              <a:cxn ang="0">
                <a:pos x="connsiteX26394" y="connsiteY26394"/>
              </a:cxn>
              <a:cxn ang="0">
                <a:pos x="connsiteX26395" y="connsiteY26395"/>
              </a:cxn>
              <a:cxn ang="0">
                <a:pos x="connsiteX26396" y="connsiteY26396"/>
              </a:cxn>
              <a:cxn ang="0">
                <a:pos x="connsiteX26397" y="connsiteY26397"/>
              </a:cxn>
              <a:cxn ang="0">
                <a:pos x="connsiteX26398" y="connsiteY26398"/>
              </a:cxn>
              <a:cxn ang="0">
                <a:pos x="connsiteX26399" y="connsiteY26399"/>
              </a:cxn>
              <a:cxn ang="0">
                <a:pos x="connsiteX26400" y="connsiteY26400"/>
              </a:cxn>
              <a:cxn ang="0">
                <a:pos x="connsiteX26401" y="connsiteY26401"/>
              </a:cxn>
              <a:cxn ang="0">
                <a:pos x="connsiteX26402" y="connsiteY26402"/>
              </a:cxn>
              <a:cxn ang="0">
                <a:pos x="connsiteX26403" y="connsiteY26403"/>
              </a:cxn>
              <a:cxn ang="0">
                <a:pos x="connsiteX26404" y="connsiteY26404"/>
              </a:cxn>
              <a:cxn ang="0">
                <a:pos x="connsiteX26405" y="connsiteY26405"/>
              </a:cxn>
              <a:cxn ang="0">
                <a:pos x="connsiteX26406" y="connsiteY26406"/>
              </a:cxn>
              <a:cxn ang="0">
                <a:pos x="connsiteX26407" y="connsiteY26407"/>
              </a:cxn>
              <a:cxn ang="0">
                <a:pos x="connsiteX26408" y="connsiteY26408"/>
              </a:cxn>
              <a:cxn ang="0">
                <a:pos x="connsiteX26409" y="connsiteY26409"/>
              </a:cxn>
              <a:cxn ang="0">
                <a:pos x="connsiteX26410" y="connsiteY26410"/>
              </a:cxn>
              <a:cxn ang="0">
                <a:pos x="connsiteX26411" y="connsiteY26411"/>
              </a:cxn>
              <a:cxn ang="0">
                <a:pos x="connsiteX26412" y="connsiteY26412"/>
              </a:cxn>
              <a:cxn ang="0">
                <a:pos x="connsiteX26413" y="connsiteY26413"/>
              </a:cxn>
              <a:cxn ang="0">
                <a:pos x="connsiteX26414" y="connsiteY26414"/>
              </a:cxn>
              <a:cxn ang="0">
                <a:pos x="connsiteX26415" y="connsiteY26415"/>
              </a:cxn>
              <a:cxn ang="0">
                <a:pos x="connsiteX26416" y="connsiteY26416"/>
              </a:cxn>
              <a:cxn ang="0">
                <a:pos x="connsiteX26417" y="connsiteY26417"/>
              </a:cxn>
              <a:cxn ang="0">
                <a:pos x="connsiteX26418" y="connsiteY26418"/>
              </a:cxn>
              <a:cxn ang="0">
                <a:pos x="connsiteX26419" y="connsiteY26419"/>
              </a:cxn>
              <a:cxn ang="0">
                <a:pos x="connsiteX26420" y="connsiteY26420"/>
              </a:cxn>
              <a:cxn ang="0">
                <a:pos x="connsiteX26421" y="connsiteY26421"/>
              </a:cxn>
              <a:cxn ang="0">
                <a:pos x="connsiteX26422" y="connsiteY26422"/>
              </a:cxn>
              <a:cxn ang="0">
                <a:pos x="connsiteX26423" y="connsiteY26423"/>
              </a:cxn>
              <a:cxn ang="0">
                <a:pos x="connsiteX26424" y="connsiteY26424"/>
              </a:cxn>
              <a:cxn ang="0">
                <a:pos x="connsiteX26425" y="connsiteY26425"/>
              </a:cxn>
              <a:cxn ang="0">
                <a:pos x="connsiteX26426" y="connsiteY26426"/>
              </a:cxn>
              <a:cxn ang="0">
                <a:pos x="connsiteX26427" y="connsiteY26427"/>
              </a:cxn>
              <a:cxn ang="0">
                <a:pos x="connsiteX26428" y="connsiteY26428"/>
              </a:cxn>
              <a:cxn ang="0">
                <a:pos x="connsiteX26429" y="connsiteY26429"/>
              </a:cxn>
              <a:cxn ang="0">
                <a:pos x="connsiteX26430" y="connsiteY26430"/>
              </a:cxn>
              <a:cxn ang="0">
                <a:pos x="connsiteX26431" y="connsiteY26431"/>
              </a:cxn>
              <a:cxn ang="0">
                <a:pos x="connsiteX26432" y="connsiteY26432"/>
              </a:cxn>
              <a:cxn ang="0">
                <a:pos x="connsiteX26433" y="connsiteY26433"/>
              </a:cxn>
              <a:cxn ang="0">
                <a:pos x="connsiteX26434" y="connsiteY26434"/>
              </a:cxn>
              <a:cxn ang="0">
                <a:pos x="connsiteX26435" y="connsiteY26435"/>
              </a:cxn>
              <a:cxn ang="0">
                <a:pos x="connsiteX26436" y="connsiteY26436"/>
              </a:cxn>
              <a:cxn ang="0">
                <a:pos x="connsiteX26437" y="connsiteY26437"/>
              </a:cxn>
              <a:cxn ang="0">
                <a:pos x="connsiteX26438" y="connsiteY26438"/>
              </a:cxn>
              <a:cxn ang="0">
                <a:pos x="connsiteX26439" y="connsiteY26439"/>
              </a:cxn>
              <a:cxn ang="0">
                <a:pos x="connsiteX26440" y="connsiteY26440"/>
              </a:cxn>
              <a:cxn ang="0">
                <a:pos x="connsiteX26441" y="connsiteY26441"/>
              </a:cxn>
              <a:cxn ang="0">
                <a:pos x="connsiteX26442" y="connsiteY26442"/>
              </a:cxn>
              <a:cxn ang="0">
                <a:pos x="connsiteX26443" y="connsiteY26443"/>
              </a:cxn>
              <a:cxn ang="0">
                <a:pos x="connsiteX26444" y="connsiteY26444"/>
              </a:cxn>
              <a:cxn ang="0">
                <a:pos x="connsiteX26445" y="connsiteY26445"/>
              </a:cxn>
              <a:cxn ang="0">
                <a:pos x="connsiteX26446" y="connsiteY26446"/>
              </a:cxn>
              <a:cxn ang="0">
                <a:pos x="connsiteX26447" y="connsiteY26447"/>
              </a:cxn>
              <a:cxn ang="0">
                <a:pos x="connsiteX26448" y="connsiteY26448"/>
              </a:cxn>
              <a:cxn ang="0">
                <a:pos x="connsiteX26449" y="connsiteY26449"/>
              </a:cxn>
              <a:cxn ang="0">
                <a:pos x="connsiteX26450" y="connsiteY26450"/>
              </a:cxn>
              <a:cxn ang="0">
                <a:pos x="connsiteX26451" y="connsiteY26451"/>
              </a:cxn>
              <a:cxn ang="0">
                <a:pos x="connsiteX26452" y="connsiteY26452"/>
              </a:cxn>
              <a:cxn ang="0">
                <a:pos x="connsiteX26453" y="connsiteY26453"/>
              </a:cxn>
              <a:cxn ang="0">
                <a:pos x="connsiteX26454" y="connsiteY26454"/>
              </a:cxn>
              <a:cxn ang="0">
                <a:pos x="connsiteX26455" y="connsiteY26455"/>
              </a:cxn>
              <a:cxn ang="0">
                <a:pos x="connsiteX26456" y="connsiteY26456"/>
              </a:cxn>
              <a:cxn ang="0">
                <a:pos x="connsiteX26457" y="connsiteY26457"/>
              </a:cxn>
              <a:cxn ang="0">
                <a:pos x="connsiteX26458" y="connsiteY26458"/>
              </a:cxn>
              <a:cxn ang="0">
                <a:pos x="connsiteX26459" y="connsiteY26459"/>
              </a:cxn>
              <a:cxn ang="0">
                <a:pos x="connsiteX26460" y="connsiteY26460"/>
              </a:cxn>
              <a:cxn ang="0">
                <a:pos x="connsiteX26461" y="connsiteY26461"/>
              </a:cxn>
              <a:cxn ang="0">
                <a:pos x="connsiteX26462" y="connsiteY26462"/>
              </a:cxn>
              <a:cxn ang="0">
                <a:pos x="connsiteX26463" y="connsiteY26463"/>
              </a:cxn>
              <a:cxn ang="0">
                <a:pos x="connsiteX26464" y="connsiteY26464"/>
              </a:cxn>
              <a:cxn ang="0">
                <a:pos x="connsiteX26465" y="connsiteY26465"/>
              </a:cxn>
              <a:cxn ang="0">
                <a:pos x="connsiteX26466" y="connsiteY26466"/>
              </a:cxn>
              <a:cxn ang="0">
                <a:pos x="connsiteX26467" y="connsiteY26467"/>
              </a:cxn>
              <a:cxn ang="0">
                <a:pos x="connsiteX26468" y="connsiteY26468"/>
              </a:cxn>
              <a:cxn ang="0">
                <a:pos x="connsiteX26469" y="connsiteY26469"/>
              </a:cxn>
              <a:cxn ang="0">
                <a:pos x="connsiteX26470" y="connsiteY26470"/>
              </a:cxn>
              <a:cxn ang="0">
                <a:pos x="connsiteX26471" y="connsiteY26471"/>
              </a:cxn>
              <a:cxn ang="0">
                <a:pos x="connsiteX26472" y="connsiteY26472"/>
              </a:cxn>
              <a:cxn ang="0">
                <a:pos x="connsiteX26473" y="connsiteY26473"/>
              </a:cxn>
              <a:cxn ang="0">
                <a:pos x="connsiteX26474" y="connsiteY26474"/>
              </a:cxn>
              <a:cxn ang="0">
                <a:pos x="connsiteX26475" y="connsiteY26475"/>
              </a:cxn>
              <a:cxn ang="0">
                <a:pos x="connsiteX26476" y="connsiteY26476"/>
              </a:cxn>
              <a:cxn ang="0">
                <a:pos x="connsiteX26477" y="connsiteY26477"/>
              </a:cxn>
              <a:cxn ang="0">
                <a:pos x="connsiteX26478" y="connsiteY26478"/>
              </a:cxn>
              <a:cxn ang="0">
                <a:pos x="connsiteX26479" y="connsiteY26479"/>
              </a:cxn>
              <a:cxn ang="0">
                <a:pos x="connsiteX26480" y="connsiteY26480"/>
              </a:cxn>
              <a:cxn ang="0">
                <a:pos x="connsiteX26481" y="connsiteY26481"/>
              </a:cxn>
              <a:cxn ang="0">
                <a:pos x="connsiteX26482" y="connsiteY26482"/>
              </a:cxn>
              <a:cxn ang="0">
                <a:pos x="connsiteX26483" y="connsiteY26483"/>
              </a:cxn>
              <a:cxn ang="0">
                <a:pos x="connsiteX26484" y="connsiteY26484"/>
              </a:cxn>
              <a:cxn ang="0">
                <a:pos x="connsiteX26485" y="connsiteY26485"/>
              </a:cxn>
              <a:cxn ang="0">
                <a:pos x="connsiteX26486" y="connsiteY26486"/>
              </a:cxn>
              <a:cxn ang="0">
                <a:pos x="connsiteX26487" y="connsiteY26487"/>
              </a:cxn>
              <a:cxn ang="0">
                <a:pos x="connsiteX26488" y="connsiteY26488"/>
              </a:cxn>
              <a:cxn ang="0">
                <a:pos x="connsiteX26489" y="connsiteY26489"/>
              </a:cxn>
              <a:cxn ang="0">
                <a:pos x="connsiteX26490" y="connsiteY26490"/>
              </a:cxn>
              <a:cxn ang="0">
                <a:pos x="connsiteX26491" y="connsiteY26491"/>
              </a:cxn>
              <a:cxn ang="0">
                <a:pos x="connsiteX26492" y="connsiteY26492"/>
              </a:cxn>
              <a:cxn ang="0">
                <a:pos x="connsiteX26493" y="connsiteY26493"/>
              </a:cxn>
              <a:cxn ang="0">
                <a:pos x="connsiteX26494" y="connsiteY26494"/>
              </a:cxn>
              <a:cxn ang="0">
                <a:pos x="connsiteX26495" y="connsiteY26495"/>
              </a:cxn>
              <a:cxn ang="0">
                <a:pos x="connsiteX26496" y="connsiteY26496"/>
              </a:cxn>
              <a:cxn ang="0">
                <a:pos x="connsiteX26497" y="connsiteY26497"/>
              </a:cxn>
              <a:cxn ang="0">
                <a:pos x="connsiteX26498" y="connsiteY26498"/>
              </a:cxn>
              <a:cxn ang="0">
                <a:pos x="connsiteX26499" y="connsiteY26499"/>
              </a:cxn>
              <a:cxn ang="0">
                <a:pos x="connsiteX26500" y="connsiteY26500"/>
              </a:cxn>
              <a:cxn ang="0">
                <a:pos x="connsiteX26501" y="connsiteY26501"/>
              </a:cxn>
              <a:cxn ang="0">
                <a:pos x="connsiteX26502" y="connsiteY26502"/>
              </a:cxn>
              <a:cxn ang="0">
                <a:pos x="connsiteX26503" y="connsiteY26503"/>
              </a:cxn>
              <a:cxn ang="0">
                <a:pos x="connsiteX26504" y="connsiteY26504"/>
              </a:cxn>
              <a:cxn ang="0">
                <a:pos x="connsiteX26505" y="connsiteY26505"/>
              </a:cxn>
              <a:cxn ang="0">
                <a:pos x="connsiteX26506" y="connsiteY26506"/>
              </a:cxn>
              <a:cxn ang="0">
                <a:pos x="connsiteX26507" y="connsiteY26507"/>
              </a:cxn>
              <a:cxn ang="0">
                <a:pos x="connsiteX26508" y="connsiteY26508"/>
              </a:cxn>
              <a:cxn ang="0">
                <a:pos x="connsiteX26509" y="connsiteY26509"/>
              </a:cxn>
              <a:cxn ang="0">
                <a:pos x="connsiteX26510" y="connsiteY26510"/>
              </a:cxn>
              <a:cxn ang="0">
                <a:pos x="connsiteX26511" y="connsiteY26511"/>
              </a:cxn>
              <a:cxn ang="0">
                <a:pos x="connsiteX26512" y="connsiteY26512"/>
              </a:cxn>
              <a:cxn ang="0">
                <a:pos x="connsiteX26513" y="connsiteY26513"/>
              </a:cxn>
              <a:cxn ang="0">
                <a:pos x="connsiteX26514" y="connsiteY26514"/>
              </a:cxn>
              <a:cxn ang="0">
                <a:pos x="connsiteX26515" y="connsiteY26515"/>
              </a:cxn>
              <a:cxn ang="0">
                <a:pos x="connsiteX26516" y="connsiteY26516"/>
              </a:cxn>
              <a:cxn ang="0">
                <a:pos x="connsiteX26517" y="connsiteY26517"/>
              </a:cxn>
              <a:cxn ang="0">
                <a:pos x="connsiteX26518" y="connsiteY26518"/>
              </a:cxn>
              <a:cxn ang="0">
                <a:pos x="connsiteX26519" y="connsiteY26519"/>
              </a:cxn>
              <a:cxn ang="0">
                <a:pos x="connsiteX26520" y="connsiteY26520"/>
              </a:cxn>
              <a:cxn ang="0">
                <a:pos x="connsiteX26521" y="connsiteY26521"/>
              </a:cxn>
              <a:cxn ang="0">
                <a:pos x="connsiteX26522" y="connsiteY26522"/>
              </a:cxn>
              <a:cxn ang="0">
                <a:pos x="connsiteX26523" y="connsiteY26523"/>
              </a:cxn>
              <a:cxn ang="0">
                <a:pos x="connsiteX26524" y="connsiteY26524"/>
              </a:cxn>
              <a:cxn ang="0">
                <a:pos x="connsiteX26525" y="connsiteY26525"/>
              </a:cxn>
              <a:cxn ang="0">
                <a:pos x="connsiteX26526" y="connsiteY26526"/>
              </a:cxn>
              <a:cxn ang="0">
                <a:pos x="connsiteX26527" y="connsiteY26527"/>
              </a:cxn>
              <a:cxn ang="0">
                <a:pos x="connsiteX26528" y="connsiteY26528"/>
              </a:cxn>
              <a:cxn ang="0">
                <a:pos x="connsiteX26529" y="connsiteY26529"/>
              </a:cxn>
              <a:cxn ang="0">
                <a:pos x="connsiteX26530" y="connsiteY26530"/>
              </a:cxn>
              <a:cxn ang="0">
                <a:pos x="connsiteX26531" y="connsiteY26531"/>
              </a:cxn>
              <a:cxn ang="0">
                <a:pos x="connsiteX26532" y="connsiteY26532"/>
              </a:cxn>
              <a:cxn ang="0">
                <a:pos x="connsiteX26533" y="connsiteY26533"/>
              </a:cxn>
              <a:cxn ang="0">
                <a:pos x="connsiteX26534" y="connsiteY26534"/>
              </a:cxn>
              <a:cxn ang="0">
                <a:pos x="connsiteX26535" y="connsiteY26535"/>
              </a:cxn>
              <a:cxn ang="0">
                <a:pos x="connsiteX26536" y="connsiteY26536"/>
              </a:cxn>
              <a:cxn ang="0">
                <a:pos x="connsiteX26537" y="connsiteY26537"/>
              </a:cxn>
              <a:cxn ang="0">
                <a:pos x="connsiteX26538" y="connsiteY26538"/>
              </a:cxn>
              <a:cxn ang="0">
                <a:pos x="connsiteX26539" y="connsiteY26539"/>
              </a:cxn>
              <a:cxn ang="0">
                <a:pos x="connsiteX26540" y="connsiteY26540"/>
              </a:cxn>
              <a:cxn ang="0">
                <a:pos x="connsiteX26541" y="connsiteY26541"/>
              </a:cxn>
              <a:cxn ang="0">
                <a:pos x="connsiteX26542" y="connsiteY26542"/>
              </a:cxn>
              <a:cxn ang="0">
                <a:pos x="connsiteX26543" y="connsiteY26543"/>
              </a:cxn>
              <a:cxn ang="0">
                <a:pos x="connsiteX26544" y="connsiteY26544"/>
              </a:cxn>
              <a:cxn ang="0">
                <a:pos x="connsiteX26545" y="connsiteY26545"/>
              </a:cxn>
              <a:cxn ang="0">
                <a:pos x="connsiteX26546" y="connsiteY26546"/>
              </a:cxn>
              <a:cxn ang="0">
                <a:pos x="connsiteX26547" y="connsiteY26547"/>
              </a:cxn>
              <a:cxn ang="0">
                <a:pos x="connsiteX26548" y="connsiteY26548"/>
              </a:cxn>
              <a:cxn ang="0">
                <a:pos x="connsiteX26549" y="connsiteY26549"/>
              </a:cxn>
              <a:cxn ang="0">
                <a:pos x="connsiteX26550" y="connsiteY26550"/>
              </a:cxn>
              <a:cxn ang="0">
                <a:pos x="connsiteX26551" y="connsiteY26551"/>
              </a:cxn>
              <a:cxn ang="0">
                <a:pos x="connsiteX26552" y="connsiteY26552"/>
              </a:cxn>
              <a:cxn ang="0">
                <a:pos x="connsiteX26553" y="connsiteY26553"/>
              </a:cxn>
              <a:cxn ang="0">
                <a:pos x="connsiteX26554" y="connsiteY26554"/>
              </a:cxn>
              <a:cxn ang="0">
                <a:pos x="connsiteX26555" y="connsiteY26555"/>
              </a:cxn>
              <a:cxn ang="0">
                <a:pos x="connsiteX26556" y="connsiteY26556"/>
              </a:cxn>
              <a:cxn ang="0">
                <a:pos x="connsiteX26557" y="connsiteY26557"/>
              </a:cxn>
              <a:cxn ang="0">
                <a:pos x="connsiteX26558" y="connsiteY26558"/>
              </a:cxn>
              <a:cxn ang="0">
                <a:pos x="connsiteX26559" y="connsiteY26559"/>
              </a:cxn>
              <a:cxn ang="0">
                <a:pos x="connsiteX26560" y="connsiteY26560"/>
              </a:cxn>
              <a:cxn ang="0">
                <a:pos x="connsiteX26561" y="connsiteY26561"/>
              </a:cxn>
              <a:cxn ang="0">
                <a:pos x="connsiteX26562" y="connsiteY26562"/>
              </a:cxn>
              <a:cxn ang="0">
                <a:pos x="connsiteX26563" y="connsiteY26563"/>
              </a:cxn>
              <a:cxn ang="0">
                <a:pos x="connsiteX26564" y="connsiteY26564"/>
              </a:cxn>
              <a:cxn ang="0">
                <a:pos x="connsiteX26565" y="connsiteY26565"/>
              </a:cxn>
              <a:cxn ang="0">
                <a:pos x="connsiteX26566" y="connsiteY26566"/>
              </a:cxn>
              <a:cxn ang="0">
                <a:pos x="connsiteX26567" y="connsiteY26567"/>
              </a:cxn>
              <a:cxn ang="0">
                <a:pos x="connsiteX26568" y="connsiteY26568"/>
              </a:cxn>
              <a:cxn ang="0">
                <a:pos x="connsiteX26569" y="connsiteY26569"/>
              </a:cxn>
              <a:cxn ang="0">
                <a:pos x="connsiteX26570" y="connsiteY26570"/>
              </a:cxn>
              <a:cxn ang="0">
                <a:pos x="connsiteX26571" y="connsiteY26571"/>
              </a:cxn>
              <a:cxn ang="0">
                <a:pos x="connsiteX26572" y="connsiteY26572"/>
              </a:cxn>
              <a:cxn ang="0">
                <a:pos x="connsiteX26573" y="connsiteY26573"/>
              </a:cxn>
              <a:cxn ang="0">
                <a:pos x="connsiteX26574" y="connsiteY26574"/>
              </a:cxn>
              <a:cxn ang="0">
                <a:pos x="connsiteX26575" y="connsiteY26575"/>
              </a:cxn>
              <a:cxn ang="0">
                <a:pos x="connsiteX26576" y="connsiteY26576"/>
              </a:cxn>
              <a:cxn ang="0">
                <a:pos x="connsiteX26577" y="connsiteY26577"/>
              </a:cxn>
              <a:cxn ang="0">
                <a:pos x="connsiteX26578" y="connsiteY26578"/>
              </a:cxn>
              <a:cxn ang="0">
                <a:pos x="connsiteX26579" y="connsiteY26579"/>
              </a:cxn>
              <a:cxn ang="0">
                <a:pos x="connsiteX26580" y="connsiteY26580"/>
              </a:cxn>
              <a:cxn ang="0">
                <a:pos x="connsiteX26581" y="connsiteY26581"/>
              </a:cxn>
              <a:cxn ang="0">
                <a:pos x="connsiteX26582" y="connsiteY26582"/>
              </a:cxn>
              <a:cxn ang="0">
                <a:pos x="connsiteX26583" y="connsiteY26583"/>
              </a:cxn>
              <a:cxn ang="0">
                <a:pos x="connsiteX26584" y="connsiteY26584"/>
              </a:cxn>
              <a:cxn ang="0">
                <a:pos x="connsiteX26585" y="connsiteY26585"/>
              </a:cxn>
              <a:cxn ang="0">
                <a:pos x="connsiteX26586" y="connsiteY26586"/>
              </a:cxn>
              <a:cxn ang="0">
                <a:pos x="connsiteX26587" y="connsiteY26587"/>
              </a:cxn>
              <a:cxn ang="0">
                <a:pos x="connsiteX26588" y="connsiteY26588"/>
              </a:cxn>
              <a:cxn ang="0">
                <a:pos x="connsiteX26589" y="connsiteY26589"/>
              </a:cxn>
              <a:cxn ang="0">
                <a:pos x="connsiteX26590" y="connsiteY26590"/>
              </a:cxn>
              <a:cxn ang="0">
                <a:pos x="connsiteX26591" y="connsiteY26591"/>
              </a:cxn>
              <a:cxn ang="0">
                <a:pos x="connsiteX26592" y="connsiteY26592"/>
              </a:cxn>
              <a:cxn ang="0">
                <a:pos x="connsiteX26593" y="connsiteY26593"/>
              </a:cxn>
              <a:cxn ang="0">
                <a:pos x="connsiteX26594" y="connsiteY26594"/>
              </a:cxn>
              <a:cxn ang="0">
                <a:pos x="connsiteX26595" y="connsiteY26595"/>
              </a:cxn>
              <a:cxn ang="0">
                <a:pos x="connsiteX26596" y="connsiteY26596"/>
              </a:cxn>
              <a:cxn ang="0">
                <a:pos x="connsiteX26597" y="connsiteY26597"/>
              </a:cxn>
              <a:cxn ang="0">
                <a:pos x="connsiteX26598" y="connsiteY26598"/>
              </a:cxn>
              <a:cxn ang="0">
                <a:pos x="connsiteX26599" y="connsiteY26599"/>
              </a:cxn>
              <a:cxn ang="0">
                <a:pos x="connsiteX26600" y="connsiteY26600"/>
              </a:cxn>
              <a:cxn ang="0">
                <a:pos x="connsiteX26601" y="connsiteY26601"/>
              </a:cxn>
              <a:cxn ang="0">
                <a:pos x="connsiteX26602" y="connsiteY26602"/>
              </a:cxn>
              <a:cxn ang="0">
                <a:pos x="connsiteX26603" y="connsiteY26603"/>
              </a:cxn>
              <a:cxn ang="0">
                <a:pos x="connsiteX26604" y="connsiteY26604"/>
              </a:cxn>
              <a:cxn ang="0">
                <a:pos x="connsiteX26605" y="connsiteY26605"/>
              </a:cxn>
              <a:cxn ang="0">
                <a:pos x="connsiteX26606" y="connsiteY26606"/>
              </a:cxn>
              <a:cxn ang="0">
                <a:pos x="connsiteX26607" y="connsiteY26607"/>
              </a:cxn>
              <a:cxn ang="0">
                <a:pos x="connsiteX26608" y="connsiteY26608"/>
              </a:cxn>
              <a:cxn ang="0">
                <a:pos x="connsiteX26609" y="connsiteY26609"/>
              </a:cxn>
              <a:cxn ang="0">
                <a:pos x="connsiteX26610" y="connsiteY26610"/>
              </a:cxn>
              <a:cxn ang="0">
                <a:pos x="connsiteX26611" y="connsiteY26611"/>
              </a:cxn>
              <a:cxn ang="0">
                <a:pos x="connsiteX26612" y="connsiteY26612"/>
              </a:cxn>
              <a:cxn ang="0">
                <a:pos x="connsiteX26613" y="connsiteY26613"/>
              </a:cxn>
              <a:cxn ang="0">
                <a:pos x="connsiteX26614" y="connsiteY26614"/>
              </a:cxn>
              <a:cxn ang="0">
                <a:pos x="connsiteX26615" y="connsiteY26615"/>
              </a:cxn>
              <a:cxn ang="0">
                <a:pos x="connsiteX26616" y="connsiteY26616"/>
              </a:cxn>
              <a:cxn ang="0">
                <a:pos x="connsiteX26617" y="connsiteY26617"/>
              </a:cxn>
              <a:cxn ang="0">
                <a:pos x="connsiteX26618" y="connsiteY26618"/>
              </a:cxn>
              <a:cxn ang="0">
                <a:pos x="connsiteX26619" y="connsiteY26619"/>
              </a:cxn>
              <a:cxn ang="0">
                <a:pos x="connsiteX26620" y="connsiteY26620"/>
              </a:cxn>
              <a:cxn ang="0">
                <a:pos x="connsiteX26621" y="connsiteY26621"/>
              </a:cxn>
              <a:cxn ang="0">
                <a:pos x="connsiteX26622" y="connsiteY26622"/>
              </a:cxn>
              <a:cxn ang="0">
                <a:pos x="connsiteX26623" y="connsiteY26623"/>
              </a:cxn>
              <a:cxn ang="0">
                <a:pos x="connsiteX26624" y="connsiteY26624"/>
              </a:cxn>
              <a:cxn ang="0">
                <a:pos x="connsiteX26625" y="connsiteY26625"/>
              </a:cxn>
              <a:cxn ang="0">
                <a:pos x="connsiteX26626" y="connsiteY26626"/>
              </a:cxn>
              <a:cxn ang="0">
                <a:pos x="connsiteX26627" y="connsiteY26627"/>
              </a:cxn>
              <a:cxn ang="0">
                <a:pos x="connsiteX26628" y="connsiteY26628"/>
              </a:cxn>
              <a:cxn ang="0">
                <a:pos x="connsiteX26629" y="connsiteY26629"/>
              </a:cxn>
              <a:cxn ang="0">
                <a:pos x="connsiteX26630" y="connsiteY26630"/>
              </a:cxn>
              <a:cxn ang="0">
                <a:pos x="connsiteX26631" y="connsiteY26631"/>
              </a:cxn>
              <a:cxn ang="0">
                <a:pos x="connsiteX26632" y="connsiteY26632"/>
              </a:cxn>
              <a:cxn ang="0">
                <a:pos x="connsiteX26633" y="connsiteY26633"/>
              </a:cxn>
              <a:cxn ang="0">
                <a:pos x="connsiteX26634" y="connsiteY26634"/>
              </a:cxn>
              <a:cxn ang="0">
                <a:pos x="connsiteX26635" y="connsiteY26635"/>
              </a:cxn>
              <a:cxn ang="0">
                <a:pos x="connsiteX26636" y="connsiteY26636"/>
              </a:cxn>
              <a:cxn ang="0">
                <a:pos x="connsiteX26637" y="connsiteY26637"/>
              </a:cxn>
              <a:cxn ang="0">
                <a:pos x="connsiteX26638" y="connsiteY26638"/>
              </a:cxn>
              <a:cxn ang="0">
                <a:pos x="connsiteX26639" y="connsiteY26639"/>
              </a:cxn>
              <a:cxn ang="0">
                <a:pos x="connsiteX26640" y="connsiteY26640"/>
              </a:cxn>
              <a:cxn ang="0">
                <a:pos x="connsiteX26641" y="connsiteY26641"/>
              </a:cxn>
              <a:cxn ang="0">
                <a:pos x="connsiteX26642" y="connsiteY26642"/>
              </a:cxn>
              <a:cxn ang="0">
                <a:pos x="connsiteX26643" y="connsiteY26643"/>
              </a:cxn>
              <a:cxn ang="0">
                <a:pos x="connsiteX26644" y="connsiteY26644"/>
              </a:cxn>
              <a:cxn ang="0">
                <a:pos x="connsiteX26645" y="connsiteY26645"/>
              </a:cxn>
              <a:cxn ang="0">
                <a:pos x="connsiteX26646" y="connsiteY26646"/>
              </a:cxn>
              <a:cxn ang="0">
                <a:pos x="connsiteX26647" y="connsiteY26647"/>
              </a:cxn>
              <a:cxn ang="0">
                <a:pos x="connsiteX26648" y="connsiteY26648"/>
              </a:cxn>
              <a:cxn ang="0">
                <a:pos x="connsiteX26649" y="connsiteY26649"/>
              </a:cxn>
              <a:cxn ang="0">
                <a:pos x="connsiteX26650" y="connsiteY26650"/>
              </a:cxn>
              <a:cxn ang="0">
                <a:pos x="connsiteX26651" y="connsiteY26651"/>
              </a:cxn>
              <a:cxn ang="0">
                <a:pos x="connsiteX26652" y="connsiteY26652"/>
              </a:cxn>
              <a:cxn ang="0">
                <a:pos x="connsiteX26653" y="connsiteY26653"/>
              </a:cxn>
              <a:cxn ang="0">
                <a:pos x="connsiteX26654" y="connsiteY26654"/>
              </a:cxn>
              <a:cxn ang="0">
                <a:pos x="connsiteX26655" y="connsiteY26655"/>
              </a:cxn>
              <a:cxn ang="0">
                <a:pos x="connsiteX26656" y="connsiteY26656"/>
              </a:cxn>
              <a:cxn ang="0">
                <a:pos x="connsiteX26657" y="connsiteY26657"/>
              </a:cxn>
              <a:cxn ang="0">
                <a:pos x="connsiteX26658" y="connsiteY26658"/>
              </a:cxn>
              <a:cxn ang="0">
                <a:pos x="connsiteX26659" y="connsiteY26659"/>
              </a:cxn>
              <a:cxn ang="0">
                <a:pos x="connsiteX26660" y="connsiteY26660"/>
              </a:cxn>
              <a:cxn ang="0">
                <a:pos x="connsiteX26661" y="connsiteY26661"/>
              </a:cxn>
              <a:cxn ang="0">
                <a:pos x="connsiteX26662" y="connsiteY26662"/>
              </a:cxn>
              <a:cxn ang="0">
                <a:pos x="connsiteX26663" y="connsiteY26663"/>
              </a:cxn>
              <a:cxn ang="0">
                <a:pos x="connsiteX26664" y="connsiteY26664"/>
              </a:cxn>
              <a:cxn ang="0">
                <a:pos x="connsiteX26665" y="connsiteY26665"/>
              </a:cxn>
              <a:cxn ang="0">
                <a:pos x="connsiteX26666" y="connsiteY26666"/>
              </a:cxn>
              <a:cxn ang="0">
                <a:pos x="connsiteX26667" y="connsiteY26667"/>
              </a:cxn>
              <a:cxn ang="0">
                <a:pos x="connsiteX26668" y="connsiteY26668"/>
              </a:cxn>
              <a:cxn ang="0">
                <a:pos x="connsiteX26669" y="connsiteY26669"/>
              </a:cxn>
              <a:cxn ang="0">
                <a:pos x="connsiteX26670" y="connsiteY26670"/>
              </a:cxn>
              <a:cxn ang="0">
                <a:pos x="connsiteX26671" y="connsiteY26671"/>
              </a:cxn>
              <a:cxn ang="0">
                <a:pos x="connsiteX26672" y="connsiteY26672"/>
              </a:cxn>
              <a:cxn ang="0">
                <a:pos x="connsiteX26673" y="connsiteY26673"/>
              </a:cxn>
              <a:cxn ang="0">
                <a:pos x="connsiteX26674" y="connsiteY26674"/>
              </a:cxn>
              <a:cxn ang="0">
                <a:pos x="connsiteX26675" y="connsiteY26675"/>
              </a:cxn>
              <a:cxn ang="0">
                <a:pos x="connsiteX26676" y="connsiteY26676"/>
              </a:cxn>
              <a:cxn ang="0">
                <a:pos x="connsiteX26677" y="connsiteY26677"/>
              </a:cxn>
              <a:cxn ang="0">
                <a:pos x="connsiteX26678" y="connsiteY26678"/>
              </a:cxn>
              <a:cxn ang="0">
                <a:pos x="connsiteX26679" y="connsiteY26679"/>
              </a:cxn>
              <a:cxn ang="0">
                <a:pos x="connsiteX26680" y="connsiteY26680"/>
              </a:cxn>
              <a:cxn ang="0">
                <a:pos x="connsiteX26681" y="connsiteY26681"/>
              </a:cxn>
              <a:cxn ang="0">
                <a:pos x="connsiteX26682" y="connsiteY26682"/>
              </a:cxn>
              <a:cxn ang="0">
                <a:pos x="connsiteX26683" y="connsiteY26683"/>
              </a:cxn>
              <a:cxn ang="0">
                <a:pos x="connsiteX26684" y="connsiteY26684"/>
              </a:cxn>
              <a:cxn ang="0">
                <a:pos x="connsiteX26685" y="connsiteY26685"/>
              </a:cxn>
              <a:cxn ang="0">
                <a:pos x="connsiteX26686" y="connsiteY26686"/>
              </a:cxn>
              <a:cxn ang="0">
                <a:pos x="connsiteX26687" y="connsiteY26687"/>
              </a:cxn>
              <a:cxn ang="0">
                <a:pos x="connsiteX26688" y="connsiteY26688"/>
              </a:cxn>
              <a:cxn ang="0">
                <a:pos x="connsiteX26689" y="connsiteY26689"/>
              </a:cxn>
              <a:cxn ang="0">
                <a:pos x="connsiteX26690" y="connsiteY26690"/>
              </a:cxn>
              <a:cxn ang="0">
                <a:pos x="connsiteX26691" y="connsiteY26691"/>
              </a:cxn>
              <a:cxn ang="0">
                <a:pos x="connsiteX26692" y="connsiteY26692"/>
              </a:cxn>
              <a:cxn ang="0">
                <a:pos x="connsiteX26693" y="connsiteY26693"/>
              </a:cxn>
              <a:cxn ang="0">
                <a:pos x="connsiteX26694" y="connsiteY26694"/>
              </a:cxn>
              <a:cxn ang="0">
                <a:pos x="connsiteX26695" y="connsiteY26695"/>
              </a:cxn>
              <a:cxn ang="0">
                <a:pos x="connsiteX26696" y="connsiteY26696"/>
              </a:cxn>
              <a:cxn ang="0">
                <a:pos x="connsiteX26697" y="connsiteY26697"/>
              </a:cxn>
              <a:cxn ang="0">
                <a:pos x="connsiteX26698" y="connsiteY26698"/>
              </a:cxn>
              <a:cxn ang="0">
                <a:pos x="connsiteX26699" y="connsiteY26699"/>
              </a:cxn>
              <a:cxn ang="0">
                <a:pos x="connsiteX26700" y="connsiteY26700"/>
              </a:cxn>
              <a:cxn ang="0">
                <a:pos x="connsiteX26701" y="connsiteY26701"/>
              </a:cxn>
              <a:cxn ang="0">
                <a:pos x="connsiteX26702" y="connsiteY26702"/>
              </a:cxn>
              <a:cxn ang="0">
                <a:pos x="connsiteX26703" y="connsiteY26703"/>
              </a:cxn>
              <a:cxn ang="0">
                <a:pos x="connsiteX26704" y="connsiteY26704"/>
              </a:cxn>
              <a:cxn ang="0">
                <a:pos x="connsiteX26705" y="connsiteY26705"/>
              </a:cxn>
              <a:cxn ang="0">
                <a:pos x="connsiteX26706" y="connsiteY26706"/>
              </a:cxn>
              <a:cxn ang="0">
                <a:pos x="connsiteX26707" y="connsiteY26707"/>
              </a:cxn>
              <a:cxn ang="0">
                <a:pos x="connsiteX26708" y="connsiteY26708"/>
              </a:cxn>
              <a:cxn ang="0">
                <a:pos x="connsiteX26709" y="connsiteY26709"/>
              </a:cxn>
              <a:cxn ang="0">
                <a:pos x="connsiteX26710" y="connsiteY26710"/>
              </a:cxn>
              <a:cxn ang="0">
                <a:pos x="connsiteX26711" y="connsiteY26711"/>
              </a:cxn>
              <a:cxn ang="0">
                <a:pos x="connsiteX26712" y="connsiteY26712"/>
              </a:cxn>
              <a:cxn ang="0">
                <a:pos x="connsiteX26713" y="connsiteY26713"/>
              </a:cxn>
              <a:cxn ang="0">
                <a:pos x="connsiteX26714" y="connsiteY26714"/>
              </a:cxn>
              <a:cxn ang="0">
                <a:pos x="connsiteX26715" y="connsiteY26715"/>
              </a:cxn>
              <a:cxn ang="0">
                <a:pos x="connsiteX26716" y="connsiteY26716"/>
              </a:cxn>
              <a:cxn ang="0">
                <a:pos x="connsiteX26717" y="connsiteY26717"/>
              </a:cxn>
              <a:cxn ang="0">
                <a:pos x="connsiteX26718" y="connsiteY26718"/>
              </a:cxn>
              <a:cxn ang="0">
                <a:pos x="connsiteX26719" y="connsiteY26719"/>
              </a:cxn>
              <a:cxn ang="0">
                <a:pos x="connsiteX26720" y="connsiteY26720"/>
              </a:cxn>
              <a:cxn ang="0">
                <a:pos x="connsiteX26721" y="connsiteY26721"/>
              </a:cxn>
              <a:cxn ang="0">
                <a:pos x="connsiteX26722" y="connsiteY26722"/>
              </a:cxn>
              <a:cxn ang="0">
                <a:pos x="connsiteX26723" y="connsiteY26723"/>
              </a:cxn>
              <a:cxn ang="0">
                <a:pos x="connsiteX26724" y="connsiteY26724"/>
              </a:cxn>
              <a:cxn ang="0">
                <a:pos x="connsiteX26725" y="connsiteY26725"/>
              </a:cxn>
              <a:cxn ang="0">
                <a:pos x="connsiteX26726" y="connsiteY26726"/>
              </a:cxn>
              <a:cxn ang="0">
                <a:pos x="connsiteX26727" y="connsiteY26727"/>
              </a:cxn>
              <a:cxn ang="0">
                <a:pos x="connsiteX26728" y="connsiteY26728"/>
              </a:cxn>
              <a:cxn ang="0">
                <a:pos x="connsiteX26729" y="connsiteY26729"/>
              </a:cxn>
              <a:cxn ang="0">
                <a:pos x="connsiteX26730" y="connsiteY26730"/>
              </a:cxn>
              <a:cxn ang="0">
                <a:pos x="connsiteX26731" y="connsiteY26731"/>
              </a:cxn>
              <a:cxn ang="0">
                <a:pos x="connsiteX26732" y="connsiteY26732"/>
              </a:cxn>
              <a:cxn ang="0">
                <a:pos x="connsiteX26733" y="connsiteY26733"/>
              </a:cxn>
              <a:cxn ang="0">
                <a:pos x="connsiteX26734" y="connsiteY26734"/>
              </a:cxn>
              <a:cxn ang="0">
                <a:pos x="connsiteX26735" y="connsiteY26735"/>
              </a:cxn>
              <a:cxn ang="0">
                <a:pos x="connsiteX26736" y="connsiteY26736"/>
              </a:cxn>
              <a:cxn ang="0">
                <a:pos x="connsiteX26737" y="connsiteY26737"/>
              </a:cxn>
              <a:cxn ang="0">
                <a:pos x="connsiteX26738" y="connsiteY26738"/>
              </a:cxn>
              <a:cxn ang="0">
                <a:pos x="connsiteX26739" y="connsiteY26739"/>
              </a:cxn>
              <a:cxn ang="0">
                <a:pos x="connsiteX26740" y="connsiteY26740"/>
              </a:cxn>
              <a:cxn ang="0">
                <a:pos x="connsiteX26741" y="connsiteY26741"/>
              </a:cxn>
              <a:cxn ang="0">
                <a:pos x="connsiteX26742" y="connsiteY26742"/>
              </a:cxn>
              <a:cxn ang="0">
                <a:pos x="connsiteX26743" y="connsiteY26743"/>
              </a:cxn>
              <a:cxn ang="0">
                <a:pos x="connsiteX26744" y="connsiteY26744"/>
              </a:cxn>
              <a:cxn ang="0">
                <a:pos x="connsiteX26745" y="connsiteY26745"/>
              </a:cxn>
              <a:cxn ang="0">
                <a:pos x="connsiteX26746" y="connsiteY26746"/>
              </a:cxn>
              <a:cxn ang="0">
                <a:pos x="connsiteX26747" y="connsiteY26747"/>
              </a:cxn>
              <a:cxn ang="0">
                <a:pos x="connsiteX26748" y="connsiteY26748"/>
              </a:cxn>
              <a:cxn ang="0">
                <a:pos x="connsiteX26749" y="connsiteY26749"/>
              </a:cxn>
              <a:cxn ang="0">
                <a:pos x="connsiteX26750" y="connsiteY26750"/>
              </a:cxn>
              <a:cxn ang="0">
                <a:pos x="connsiteX26751" y="connsiteY26751"/>
              </a:cxn>
              <a:cxn ang="0">
                <a:pos x="connsiteX26752" y="connsiteY26752"/>
              </a:cxn>
              <a:cxn ang="0">
                <a:pos x="connsiteX26753" y="connsiteY26753"/>
              </a:cxn>
              <a:cxn ang="0">
                <a:pos x="connsiteX26754" y="connsiteY26754"/>
              </a:cxn>
              <a:cxn ang="0">
                <a:pos x="connsiteX26755" y="connsiteY26755"/>
              </a:cxn>
              <a:cxn ang="0">
                <a:pos x="connsiteX26756" y="connsiteY26756"/>
              </a:cxn>
              <a:cxn ang="0">
                <a:pos x="connsiteX26757" y="connsiteY26757"/>
              </a:cxn>
              <a:cxn ang="0">
                <a:pos x="connsiteX26758" y="connsiteY26758"/>
              </a:cxn>
              <a:cxn ang="0">
                <a:pos x="connsiteX26759" y="connsiteY26759"/>
              </a:cxn>
              <a:cxn ang="0">
                <a:pos x="connsiteX26760" y="connsiteY26760"/>
              </a:cxn>
              <a:cxn ang="0">
                <a:pos x="connsiteX26761" y="connsiteY26761"/>
              </a:cxn>
              <a:cxn ang="0">
                <a:pos x="connsiteX26762" y="connsiteY26762"/>
              </a:cxn>
              <a:cxn ang="0">
                <a:pos x="connsiteX26763" y="connsiteY26763"/>
              </a:cxn>
              <a:cxn ang="0">
                <a:pos x="connsiteX26764" y="connsiteY26764"/>
              </a:cxn>
              <a:cxn ang="0">
                <a:pos x="connsiteX26765" y="connsiteY26765"/>
              </a:cxn>
              <a:cxn ang="0">
                <a:pos x="connsiteX26766" y="connsiteY26766"/>
              </a:cxn>
              <a:cxn ang="0">
                <a:pos x="connsiteX26767" y="connsiteY26767"/>
              </a:cxn>
              <a:cxn ang="0">
                <a:pos x="connsiteX26768" y="connsiteY26768"/>
              </a:cxn>
              <a:cxn ang="0">
                <a:pos x="connsiteX26769" y="connsiteY26769"/>
              </a:cxn>
              <a:cxn ang="0">
                <a:pos x="connsiteX26770" y="connsiteY26770"/>
              </a:cxn>
              <a:cxn ang="0">
                <a:pos x="connsiteX26771" y="connsiteY26771"/>
              </a:cxn>
              <a:cxn ang="0">
                <a:pos x="connsiteX26772" y="connsiteY26772"/>
              </a:cxn>
              <a:cxn ang="0">
                <a:pos x="connsiteX26773" y="connsiteY26773"/>
              </a:cxn>
              <a:cxn ang="0">
                <a:pos x="connsiteX26774" y="connsiteY26774"/>
              </a:cxn>
              <a:cxn ang="0">
                <a:pos x="connsiteX26775" y="connsiteY26775"/>
              </a:cxn>
              <a:cxn ang="0">
                <a:pos x="connsiteX26776" y="connsiteY26776"/>
              </a:cxn>
              <a:cxn ang="0">
                <a:pos x="connsiteX26777" y="connsiteY26777"/>
              </a:cxn>
              <a:cxn ang="0">
                <a:pos x="connsiteX26778" y="connsiteY26778"/>
              </a:cxn>
              <a:cxn ang="0">
                <a:pos x="connsiteX26779" y="connsiteY26779"/>
              </a:cxn>
              <a:cxn ang="0">
                <a:pos x="connsiteX26780" y="connsiteY26780"/>
              </a:cxn>
              <a:cxn ang="0">
                <a:pos x="connsiteX26781" y="connsiteY26781"/>
              </a:cxn>
              <a:cxn ang="0">
                <a:pos x="connsiteX26782" y="connsiteY26782"/>
              </a:cxn>
              <a:cxn ang="0">
                <a:pos x="connsiteX26783" y="connsiteY26783"/>
              </a:cxn>
              <a:cxn ang="0">
                <a:pos x="connsiteX26784" y="connsiteY26784"/>
              </a:cxn>
              <a:cxn ang="0">
                <a:pos x="connsiteX26785" y="connsiteY26785"/>
              </a:cxn>
              <a:cxn ang="0">
                <a:pos x="connsiteX26786" y="connsiteY26786"/>
              </a:cxn>
              <a:cxn ang="0">
                <a:pos x="connsiteX26787" y="connsiteY26787"/>
              </a:cxn>
              <a:cxn ang="0">
                <a:pos x="connsiteX26788" y="connsiteY26788"/>
              </a:cxn>
              <a:cxn ang="0">
                <a:pos x="connsiteX26789" y="connsiteY26789"/>
              </a:cxn>
              <a:cxn ang="0">
                <a:pos x="connsiteX26790" y="connsiteY26790"/>
              </a:cxn>
              <a:cxn ang="0">
                <a:pos x="connsiteX26791" y="connsiteY26791"/>
              </a:cxn>
              <a:cxn ang="0">
                <a:pos x="connsiteX26792" y="connsiteY26792"/>
              </a:cxn>
              <a:cxn ang="0">
                <a:pos x="connsiteX26793" y="connsiteY26793"/>
              </a:cxn>
              <a:cxn ang="0">
                <a:pos x="connsiteX26794" y="connsiteY26794"/>
              </a:cxn>
              <a:cxn ang="0">
                <a:pos x="connsiteX26795" y="connsiteY26795"/>
              </a:cxn>
              <a:cxn ang="0">
                <a:pos x="connsiteX26796" y="connsiteY26796"/>
              </a:cxn>
              <a:cxn ang="0">
                <a:pos x="connsiteX26797" y="connsiteY26797"/>
              </a:cxn>
              <a:cxn ang="0">
                <a:pos x="connsiteX26798" y="connsiteY26798"/>
              </a:cxn>
              <a:cxn ang="0">
                <a:pos x="connsiteX26799" y="connsiteY26799"/>
              </a:cxn>
              <a:cxn ang="0">
                <a:pos x="connsiteX26800" y="connsiteY26800"/>
              </a:cxn>
              <a:cxn ang="0">
                <a:pos x="connsiteX26801" y="connsiteY26801"/>
              </a:cxn>
              <a:cxn ang="0">
                <a:pos x="connsiteX26802" y="connsiteY26802"/>
              </a:cxn>
              <a:cxn ang="0">
                <a:pos x="connsiteX26803" y="connsiteY26803"/>
              </a:cxn>
              <a:cxn ang="0">
                <a:pos x="connsiteX26804" y="connsiteY26804"/>
              </a:cxn>
              <a:cxn ang="0">
                <a:pos x="connsiteX26805" y="connsiteY26805"/>
              </a:cxn>
              <a:cxn ang="0">
                <a:pos x="connsiteX26806" y="connsiteY26806"/>
              </a:cxn>
              <a:cxn ang="0">
                <a:pos x="connsiteX26807" y="connsiteY26807"/>
              </a:cxn>
              <a:cxn ang="0">
                <a:pos x="connsiteX26808" y="connsiteY26808"/>
              </a:cxn>
              <a:cxn ang="0">
                <a:pos x="connsiteX26809" y="connsiteY26809"/>
              </a:cxn>
              <a:cxn ang="0">
                <a:pos x="connsiteX26810" y="connsiteY26810"/>
              </a:cxn>
              <a:cxn ang="0">
                <a:pos x="connsiteX26811" y="connsiteY26811"/>
              </a:cxn>
              <a:cxn ang="0">
                <a:pos x="connsiteX26812" y="connsiteY26812"/>
              </a:cxn>
              <a:cxn ang="0">
                <a:pos x="connsiteX26813" y="connsiteY26813"/>
              </a:cxn>
              <a:cxn ang="0">
                <a:pos x="connsiteX26814" y="connsiteY26814"/>
              </a:cxn>
              <a:cxn ang="0">
                <a:pos x="connsiteX26815" y="connsiteY26815"/>
              </a:cxn>
              <a:cxn ang="0">
                <a:pos x="connsiteX26816" y="connsiteY26816"/>
              </a:cxn>
              <a:cxn ang="0">
                <a:pos x="connsiteX26817" y="connsiteY26817"/>
              </a:cxn>
              <a:cxn ang="0">
                <a:pos x="connsiteX26818" y="connsiteY26818"/>
              </a:cxn>
              <a:cxn ang="0">
                <a:pos x="connsiteX26819" y="connsiteY26819"/>
              </a:cxn>
              <a:cxn ang="0">
                <a:pos x="connsiteX26820" y="connsiteY26820"/>
              </a:cxn>
              <a:cxn ang="0">
                <a:pos x="connsiteX26821" y="connsiteY26821"/>
              </a:cxn>
              <a:cxn ang="0">
                <a:pos x="connsiteX26822" y="connsiteY26822"/>
              </a:cxn>
              <a:cxn ang="0">
                <a:pos x="connsiteX26823" y="connsiteY26823"/>
              </a:cxn>
              <a:cxn ang="0">
                <a:pos x="connsiteX26824" y="connsiteY26824"/>
              </a:cxn>
              <a:cxn ang="0">
                <a:pos x="connsiteX26825" y="connsiteY26825"/>
              </a:cxn>
              <a:cxn ang="0">
                <a:pos x="connsiteX26826" y="connsiteY26826"/>
              </a:cxn>
              <a:cxn ang="0">
                <a:pos x="connsiteX26827" y="connsiteY26827"/>
              </a:cxn>
              <a:cxn ang="0">
                <a:pos x="connsiteX26828" y="connsiteY26828"/>
              </a:cxn>
              <a:cxn ang="0">
                <a:pos x="connsiteX26829" y="connsiteY26829"/>
              </a:cxn>
              <a:cxn ang="0">
                <a:pos x="connsiteX26830" y="connsiteY26830"/>
              </a:cxn>
              <a:cxn ang="0">
                <a:pos x="connsiteX26831" y="connsiteY26831"/>
              </a:cxn>
              <a:cxn ang="0">
                <a:pos x="connsiteX26832" y="connsiteY26832"/>
              </a:cxn>
              <a:cxn ang="0">
                <a:pos x="connsiteX26833" y="connsiteY26833"/>
              </a:cxn>
              <a:cxn ang="0">
                <a:pos x="connsiteX26834" y="connsiteY26834"/>
              </a:cxn>
              <a:cxn ang="0">
                <a:pos x="connsiteX26835" y="connsiteY26835"/>
              </a:cxn>
              <a:cxn ang="0">
                <a:pos x="connsiteX26836" y="connsiteY26836"/>
              </a:cxn>
              <a:cxn ang="0">
                <a:pos x="connsiteX26837" y="connsiteY26837"/>
              </a:cxn>
              <a:cxn ang="0">
                <a:pos x="connsiteX26838" y="connsiteY26838"/>
              </a:cxn>
              <a:cxn ang="0">
                <a:pos x="connsiteX26839" y="connsiteY26839"/>
              </a:cxn>
              <a:cxn ang="0">
                <a:pos x="connsiteX26840" y="connsiteY26840"/>
              </a:cxn>
              <a:cxn ang="0">
                <a:pos x="connsiteX26841" y="connsiteY26841"/>
              </a:cxn>
              <a:cxn ang="0">
                <a:pos x="connsiteX26842" y="connsiteY26842"/>
              </a:cxn>
              <a:cxn ang="0">
                <a:pos x="connsiteX26843" y="connsiteY26843"/>
              </a:cxn>
              <a:cxn ang="0">
                <a:pos x="connsiteX26844" y="connsiteY26844"/>
              </a:cxn>
              <a:cxn ang="0">
                <a:pos x="connsiteX26845" y="connsiteY26845"/>
              </a:cxn>
              <a:cxn ang="0">
                <a:pos x="connsiteX26846" y="connsiteY26846"/>
              </a:cxn>
              <a:cxn ang="0">
                <a:pos x="connsiteX26847" y="connsiteY26847"/>
              </a:cxn>
              <a:cxn ang="0">
                <a:pos x="connsiteX26848" y="connsiteY26848"/>
              </a:cxn>
              <a:cxn ang="0">
                <a:pos x="connsiteX26849" y="connsiteY26849"/>
              </a:cxn>
              <a:cxn ang="0">
                <a:pos x="connsiteX26850" y="connsiteY26850"/>
              </a:cxn>
              <a:cxn ang="0">
                <a:pos x="connsiteX26851" y="connsiteY26851"/>
              </a:cxn>
              <a:cxn ang="0">
                <a:pos x="connsiteX26852" y="connsiteY26852"/>
              </a:cxn>
              <a:cxn ang="0">
                <a:pos x="connsiteX26853" y="connsiteY26853"/>
              </a:cxn>
              <a:cxn ang="0">
                <a:pos x="connsiteX26854" y="connsiteY26854"/>
              </a:cxn>
              <a:cxn ang="0">
                <a:pos x="connsiteX26855" y="connsiteY26855"/>
              </a:cxn>
              <a:cxn ang="0">
                <a:pos x="connsiteX26856" y="connsiteY26856"/>
              </a:cxn>
              <a:cxn ang="0">
                <a:pos x="connsiteX26857" y="connsiteY26857"/>
              </a:cxn>
              <a:cxn ang="0">
                <a:pos x="connsiteX26858" y="connsiteY26858"/>
              </a:cxn>
              <a:cxn ang="0">
                <a:pos x="connsiteX26859" y="connsiteY26859"/>
              </a:cxn>
              <a:cxn ang="0">
                <a:pos x="connsiteX26860" y="connsiteY26860"/>
              </a:cxn>
              <a:cxn ang="0">
                <a:pos x="connsiteX26861" y="connsiteY26861"/>
              </a:cxn>
              <a:cxn ang="0">
                <a:pos x="connsiteX26862" y="connsiteY26862"/>
              </a:cxn>
              <a:cxn ang="0">
                <a:pos x="connsiteX26863" y="connsiteY26863"/>
              </a:cxn>
              <a:cxn ang="0">
                <a:pos x="connsiteX26864" y="connsiteY26864"/>
              </a:cxn>
              <a:cxn ang="0">
                <a:pos x="connsiteX26865" y="connsiteY26865"/>
              </a:cxn>
              <a:cxn ang="0">
                <a:pos x="connsiteX26866" y="connsiteY26866"/>
              </a:cxn>
              <a:cxn ang="0">
                <a:pos x="connsiteX26867" y="connsiteY26867"/>
              </a:cxn>
              <a:cxn ang="0">
                <a:pos x="connsiteX26868" y="connsiteY26868"/>
              </a:cxn>
              <a:cxn ang="0">
                <a:pos x="connsiteX26869" y="connsiteY26869"/>
              </a:cxn>
              <a:cxn ang="0">
                <a:pos x="connsiteX26870" y="connsiteY26870"/>
              </a:cxn>
              <a:cxn ang="0">
                <a:pos x="connsiteX26871" y="connsiteY26871"/>
              </a:cxn>
              <a:cxn ang="0">
                <a:pos x="connsiteX26872" y="connsiteY26872"/>
              </a:cxn>
              <a:cxn ang="0">
                <a:pos x="connsiteX26873" y="connsiteY26873"/>
              </a:cxn>
              <a:cxn ang="0">
                <a:pos x="connsiteX26874" y="connsiteY26874"/>
              </a:cxn>
              <a:cxn ang="0">
                <a:pos x="connsiteX26875" y="connsiteY26875"/>
              </a:cxn>
              <a:cxn ang="0">
                <a:pos x="connsiteX26876" y="connsiteY26876"/>
              </a:cxn>
              <a:cxn ang="0">
                <a:pos x="connsiteX26877" y="connsiteY26877"/>
              </a:cxn>
              <a:cxn ang="0">
                <a:pos x="connsiteX26878" y="connsiteY26878"/>
              </a:cxn>
              <a:cxn ang="0">
                <a:pos x="connsiteX26879" y="connsiteY26879"/>
              </a:cxn>
              <a:cxn ang="0">
                <a:pos x="connsiteX26880" y="connsiteY26880"/>
              </a:cxn>
              <a:cxn ang="0">
                <a:pos x="connsiteX26881" y="connsiteY26881"/>
              </a:cxn>
              <a:cxn ang="0">
                <a:pos x="connsiteX26882" y="connsiteY26882"/>
              </a:cxn>
              <a:cxn ang="0">
                <a:pos x="connsiteX26883" y="connsiteY26883"/>
              </a:cxn>
              <a:cxn ang="0">
                <a:pos x="connsiteX26884" y="connsiteY26884"/>
              </a:cxn>
              <a:cxn ang="0">
                <a:pos x="connsiteX26885" y="connsiteY26885"/>
              </a:cxn>
              <a:cxn ang="0">
                <a:pos x="connsiteX26886" y="connsiteY26886"/>
              </a:cxn>
              <a:cxn ang="0">
                <a:pos x="connsiteX26887" y="connsiteY26887"/>
              </a:cxn>
              <a:cxn ang="0">
                <a:pos x="connsiteX26888" y="connsiteY26888"/>
              </a:cxn>
              <a:cxn ang="0">
                <a:pos x="connsiteX26889" y="connsiteY26889"/>
              </a:cxn>
              <a:cxn ang="0">
                <a:pos x="connsiteX26890" y="connsiteY26890"/>
              </a:cxn>
              <a:cxn ang="0">
                <a:pos x="connsiteX26891" y="connsiteY26891"/>
              </a:cxn>
              <a:cxn ang="0">
                <a:pos x="connsiteX26892" y="connsiteY26892"/>
              </a:cxn>
              <a:cxn ang="0">
                <a:pos x="connsiteX26893" y="connsiteY26893"/>
              </a:cxn>
              <a:cxn ang="0">
                <a:pos x="connsiteX26894" y="connsiteY26894"/>
              </a:cxn>
              <a:cxn ang="0">
                <a:pos x="connsiteX26895" y="connsiteY26895"/>
              </a:cxn>
              <a:cxn ang="0">
                <a:pos x="connsiteX26896" y="connsiteY26896"/>
              </a:cxn>
              <a:cxn ang="0">
                <a:pos x="connsiteX26897" y="connsiteY26897"/>
              </a:cxn>
              <a:cxn ang="0">
                <a:pos x="connsiteX26898" y="connsiteY26898"/>
              </a:cxn>
              <a:cxn ang="0">
                <a:pos x="connsiteX26899" y="connsiteY26899"/>
              </a:cxn>
              <a:cxn ang="0">
                <a:pos x="connsiteX26900" y="connsiteY26900"/>
              </a:cxn>
              <a:cxn ang="0">
                <a:pos x="connsiteX26901" y="connsiteY26901"/>
              </a:cxn>
              <a:cxn ang="0">
                <a:pos x="connsiteX26902" y="connsiteY26902"/>
              </a:cxn>
              <a:cxn ang="0">
                <a:pos x="connsiteX26903" y="connsiteY26903"/>
              </a:cxn>
              <a:cxn ang="0">
                <a:pos x="connsiteX26904" y="connsiteY26904"/>
              </a:cxn>
              <a:cxn ang="0">
                <a:pos x="connsiteX26905" y="connsiteY26905"/>
              </a:cxn>
              <a:cxn ang="0">
                <a:pos x="connsiteX26906" y="connsiteY26906"/>
              </a:cxn>
              <a:cxn ang="0">
                <a:pos x="connsiteX26907" y="connsiteY26907"/>
              </a:cxn>
              <a:cxn ang="0">
                <a:pos x="connsiteX26908" y="connsiteY26908"/>
              </a:cxn>
              <a:cxn ang="0">
                <a:pos x="connsiteX26909" y="connsiteY26909"/>
              </a:cxn>
              <a:cxn ang="0">
                <a:pos x="connsiteX26910" y="connsiteY26910"/>
              </a:cxn>
              <a:cxn ang="0">
                <a:pos x="connsiteX26911" y="connsiteY26911"/>
              </a:cxn>
              <a:cxn ang="0">
                <a:pos x="connsiteX26912" y="connsiteY26912"/>
              </a:cxn>
              <a:cxn ang="0">
                <a:pos x="connsiteX26913" y="connsiteY26913"/>
              </a:cxn>
              <a:cxn ang="0">
                <a:pos x="connsiteX26914" y="connsiteY26914"/>
              </a:cxn>
              <a:cxn ang="0">
                <a:pos x="connsiteX26915" y="connsiteY26915"/>
              </a:cxn>
              <a:cxn ang="0">
                <a:pos x="connsiteX26916" y="connsiteY26916"/>
              </a:cxn>
              <a:cxn ang="0">
                <a:pos x="connsiteX26917" y="connsiteY26917"/>
              </a:cxn>
              <a:cxn ang="0">
                <a:pos x="connsiteX26918" y="connsiteY26918"/>
              </a:cxn>
              <a:cxn ang="0">
                <a:pos x="connsiteX26919" y="connsiteY26919"/>
              </a:cxn>
              <a:cxn ang="0">
                <a:pos x="connsiteX26920" y="connsiteY26920"/>
              </a:cxn>
              <a:cxn ang="0">
                <a:pos x="connsiteX26921" y="connsiteY26921"/>
              </a:cxn>
              <a:cxn ang="0">
                <a:pos x="connsiteX26922" y="connsiteY26922"/>
              </a:cxn>
              <a:cxn ang="0">
                <a:pos x="connsiteX26923" y="connsiteY26923"/>
              </a:cxn>
              <a:cxn ang="0">
                <a:pos x="connsiteX26924" y="connsiteY26924"/>
              </a:cxn>
              <a:cxn ang="0">
                <a:pos x="connsiteX26925" y="connsiteY26925"/>
              </a:cxn>
              <a:cxn ang="0">
                <a:pos x="connsiteX26926" y="connsiteY26926"/>
              </a:cxn>
              <a:cxn ang="0">
                <a:pos x="connsiteX26927" y="connsiteY26927"/>
              </a:cxn>
              <a:cxn ang="0">
                <a:pos x="connsiteX26928" y="connsiteY26928"/>
              </a:cxn>
              <a:cxn ang="0">
                <a:pos x="connsiteX26929" y="connsiteY26929"/>
              </a:cxn>
              <a:cxn ang="0">
                <a:pos x="connsiteX26930" y="connsiteY26930"/>
              </a:cxn>
              <a:cxn ang="0">
                <a:pos x="connsiteX26931" y="connsiteY26931"/>
              </a:cxn>
              <a:cxn ang="0">
                <a:pos x="connsiteX26932" y="connsiteY26932"/>
              </a:cxn>
              <a:cxn ang="0">
                <a:pos x="connsiteX26933" y="connsiteY26933"/>
              </a:cxn>
              <a:cxn ang="0">
                <a:pos x="connsiteX26934" y="connsiteY26934"/>
              </a:cxn>
              <a:cxn ang="0">
                <a:pos x="connsiteX26935" y="connsiteY26935"/>
              </a:cxn>
              <a:cxn ang="0">
                <a:pos x="connsiteX26936" y="connsiteY26936"/>
              </a:cxn>
              <a:cxn ang="0">
                <a:pos x="connsiteX26937" y="connsiteY26937"/>
              </a:cxn>
              <a:cxn ang="0">
                <a:pos x="connsiteX26938" y="connsiteY26938"/>
              </a:cxn>
              <a:cxn ang="0">
                <a:pos x="connsiteX26939" y="connsiteY26939"/>
              </a:cxn>
              <a:cxn ang="0">
                <a:pos x="connsiteX26940" y="connsiteY26940"/>
              </a:cxn>
              <a:cxn ang="0">
                <a:pos x="connsiteX26941" y="connsiteY26941"/>
              </a:cxn>
              <a:cxn ang="0">
                <a:pos x="connsiteX26942" y="connsiteY26942"/>
              </a:cxn>
              <a:cxn ang="0">
                <a:pos x="connsiteX26943" y="connsiteY26943"/>
              </a:cxn>
              <a:cxn ang="0">
                <a:pos x="connsiteX26944" y="connsiteY26944"/>
              </a:cxn>
              <a:cxn ang="0">
                <a:pos x="connsiteX26945" y="connsiteY26945"/>
              </a:cxn>
              <a:cxn ang="0">
                <a:pos x="connsiteX26946" y="connsiteY26946"/>
              </a:cxn>
              <a:cxn ang="0">
                <a:pos x="connsiteX26947" y="connsiteY26947"/>
              </a:cxn>
              <a:cxn ang="0">
                <a:pos x="connsiteX26948" y="connsiteY26948"/>
              </a:cxn>
              <a:cxn ang="0">
                <a:pos x="connsiteX26949" y="connsiteY26949"/>
              </a:cxn>
              <a:cxn ang="0">
                <a:pos x="connsiteX26950" y="connsiteY26950"/>
              </a:cxn>
              <a:cxn ang="0">
                <a:pos x="connsiteX26951" y="connsiteY26951"/>
              </a:cxn>
              <a:cxn ang="0">
                <a:pos x="connsiteX26952" y="connsiteY26952"/>
              </a:cxn>
              <a:cxn ang="0">
                <a:pos x="connsiteX26953" y="connsiteY26953"/>
              </a:cxn>
              <a:cxn ang="0">
                <a:pos x="connsiteX26954" y="connsiteY26954"/>
              </a:cxn>
              <a:cxn ang="0">
                <a:pos x="connsiteX26955" y="connsiteY26955"/>
              </a:cxn>
              <a:cxn ang="0">
                <a:pos x="connsiteX26956" y="connsiteY26956"/>
              </a:cxn>
              <a:cxn ang="0">
                <a:pos x="connsiteX26957" y="connsiteY26957"/>
              </a:cxn>
              <a:cxn ang="0">
                <a:pos x="connsiteX26958" y="connsiteY26958"/>
              </a:cxn>
              <a:cxn ang="0">
                <a:pos x="connsiteX26959" y="connsiteY26959"/>
              </a:cxn>
              <a:cxn ang="0">
                <a:pos x="connsiteX26960" y="connsiteY26960"/>
              </a:cxn>
              <a:cxn ang="0">
                <a:pos x="connsiteX26961" y="connsiteY26961"/>
              </a:cxn>
              <a:cxn ang="0">
                <a:pos x="connsiteX26962" y="connsiteY26962"/>
              </a:cxn>
              <a:cxn ang="0">
                <a:pos x="connsiteX26963" y="connsiteY26963"/>
              </a:cxn>
              <a:cxn ang="0">
                <a:pos x="connsiteX26964" y="connsiteY26964"/>
              </a:cxn>
              <a:cxn ang="0">
                <a:pos x="connsiteX26965" y="connsiteY26965"/>
              </a:cxn>
              <a:cxn ang="0">
                <a:pos x="connsiteX26966" y="connsiteY26966"/>
              </a:cxn>
              <a:cxn ang="0">
                <a:pos x="connsiteX26967" y="connsiteY26967"/>
              </a:cxn>
              <a:cxn ang="0">
                <a:pos x="connsiteX26968" y="connsiteY26968"/>
              </a:cxn>
              <a:cxn ang="0">
                <a:pos x="connsiteX26969" y="connsiteY26969"/>
              </a:cxn>
              <a:cxn ang="0">
                <a:pos x="connsiteX26970" y="connsiteY26970"/>
              </a:cxn>
              <a:cxn ang="0">
                <a:pos x="connsiteX26971" y="connsiteY26971"/>
              </a:cxn>
              <a:cxn ang="0">
                <a:pos x="connsiteX26972" y="connsiteY26972"/>
              </a:cxn>
              <a:cxn ang="0">
                <a:pos x="connsiteX26973" y="connsiteY26973"/>
              </a:cxn>
              <a:cxn ang="0">
                <a:pos x="connsiteX26974" y="connsiteY26974"/>
              </a:cxn>
              <a:cxn ang="0">
                <a:pos x="connsiteX26975" y="connsiteY26975"/>
              </a:cxn>
              <a:cxn ang="0">
                <a:pos x="connsiteX26976" y="connsiteY26976"/>
              </a:cxn>
              <a:cxn ang="0">
                <a:pos x="connsiteX26977" y="connsiteY26977"/>
              </a:cxn>
              <a:cxn ang="0">
                <a:pos x="connsiteX26978" y="connsiteY26978"/>
              </a:cxn>
              <a:cxn ang="0">
                <a:pos x="connsiteX26979" y="connsiteY26979"/>
              </a:cxn>
              <a:cxn ang="0">
                <a:pos x="connsiteX26980" y="connsiteY26980"/>
              </a:cxn>
              <a:cxn ang="0">
                <a:pos x="connsiteX26981" y="connsiteY26981"/>
              </a:cxn>
              <a:cxn ang="0">
                <a:pos x="connsiteX26982" y="connsiteY26982"/>
              </a:cxn>
              <a:cxn ang="0">
                <a:pos x="connsiteX26983" y="connsiteY26983"/>
              </a:cxn>
              <a:cxn ang="0">
                <a:pos x="connsiteX26984" y="connsiteY26984"/>
              </a:cxn>
              <a:cxn ang="0">
                <a:pos x="connsiteX26985" y="connsiteY26985"/>
              </a:cxn>
              <a:cxn ang="0">
                <a:pos x="connsiteX26986" y="connsiteY26986"/>
              </a:cxn>
              <a:cxn ang="0">
                <a:pos x="connsiteX26987" y="connsiteY26987"/>
              </a:cxn>
              <a:cxn ang="0">
                <a:pos x="connsiteX26988" y="connsiteY26988"/>
              </a:cxn>
              <a:cxn ang="0">
                <a:pos x="connsiteX26989" y="connsiteY26989"/>
              </a:cxn>
              <a:cxn ang="0">
                <a:pos x="connsiteX26990" y="connsiteY26990"/>
              </a:cxn>
              <a:cxn ang="0">
                <a:pos x="connsiteX26991" y="connsiteY26991"/>
              </a:cxn>
              <a:cxn ang="0">
                <a:pos x="connsiteX26992" y="connsiteY26992"/>
              </a:cxn>
              <a:cxn ang="0">
                <a:pos x="connsiteX26993" y="connsiteY26993"/>
              </a:cxn>
              <a:cxn ang="0">
                <a:pos x="connsiteX26994" y="connsiteY26994"/>
              </a:cxn>
              <a:cxn ang="0">
                <a:pos x="connsiteX26995" y="connsiteY26995"/>
              </a:cxn>
              <a:cxn ang="0">
                <a:pos x="connsiteX26996" y="connsiteY26996"/>
              </a:cxn>
              <a:cxn ang="0">
                <a:pos x="connsiteX26997" y="connsiteY26997"/>
              </a:cxn>
              <a:cxn ang="0">
                <a:pos x="connsiteX26998" y="connsiteY26998"/>
              </a:cxn>
              <a:cxn ang="0">
                <a:pos x="connsiteX26999" y="connsiteY26999"/>
              </a:cxn>
              <a:cxn ang="0">
                <a:pos x="connsiteX27000" y="connsiteY27000"/>
              </a:cxn>
              <a:cxn ang="0">
                <a:pos x="connsiteX27001" y="connsiteY27001"/>
              </a:cxn>
              <a:cxn ang="0">
                <a:pos x="connsiteX27002" y="connsiteY27002"/>
              </a:cxn>
              <a:cxn ang="0">
                <a:pos x="connsiteX27003" y="connsiteY27003"/>
              </a:cxn>
              <a:cxn ang="0">
                <a:pos x="connsiteX27004" y="connsiteY27004"/>
              </a:cxn>
              <a:cxn ang="0">
                <a:pos x="connsiteX27005" y="connsiteY27005"/>
              </a:cxn>
              <a:cxn ang="0">
                <a:pos x="connsiteX27006" y="connsiteY27006"/>
              </a:cxn>
              <a:cxn ang="0">
                <a:pos x="connsiteX27007" y="connsiteY27007"/>
              </a:cxn>
              <a:cxn ang="0">
                <a:pos x="connsiteX27008" y="connsiteY27008"/>
              </a:cxn>
              <a:cxn ang="0">
                <a:pos x="connsiteX27009" y="connsiteY27009"/>
              </a:cxn>
              <a:cxn ang="0">
                <a:pos x="connsiteX27010" y="connsiteY27010"/>
              </a:cxn>
              <a:cxn ang="0">
                <a:pos x="connsiteX27011" y="connsiteY27011"/>
              </a:cxn>
              <a:cxn ang="0">
                <a:pos x="connsiteX27012" y="connsiteY27012"/>
              </a:cxn>
              <a:cxn ang="0">
                <a:pos x="connsiteX27013" y="connsiteY27013"/>
              </a:cxn>
              <a:cxn ang="0">
                <a:pos x="connsiteX27014" y="connsiteY27014"/>
              </a:cxn>
              <a:cxn ang="0">
                <a:pos x="connsiteX27015" y="connsiteY27015"/>
              </a:cxn>
              <a:cxn ang="0">
                <a:pos x="connsiteX27016" y="connsiteY27016"/>
              </a:cxn>
              <a:cxn ang="0">
                <a:pos x="connsiteX27017" y="connsiteY27017"/>
              </a:cxn>
              <a:cxn ang="0">
                <a:pos x="connsiteX27018" y="connsiteY27018"/>
              </a:cxn>
              <a:cxn ang="0">
                <a:pos x="connsiteX27019" y="connsiteY27019"/>
              </a:cxn>
              <a:cxn ang="0">
                <a:pos x="connsiteX27020" y="connsiteY27020"/>
              </a:cxn>
              <a:cxn ang="0">
                <a:pos x="connsiteX27021" y="connsiteY27021"/>
              </a:cxn>
              <a:cxn ang="0">
                <a:pos x="connsiteX27022" y="connsiteY27022"/>
              </a:cxn>
              <a:cxn ang="0">
                <a:pos x="connsiteX27023" y="connsiteY27023"/>
              </a:cxn>
              <a:cxn ang="0">
                <a:pos x="connsiteX27024" y="connsiteY27024"/>
              </a:cxn>
              <a:cxn ang="0">
                <a:pos x="connsiteX27025" y="connsiteY27025"/>
              </a:cxn>
              <a:cxn ang="0">
                <a:pos x="connsiteX27026" y="connsiteY27026"/>
              </a:cxn>
              <a:cxn ang="0">
                <a:pos x="connsiteX27027" y="connsiteY27027"/>
              </a:cxn>
              <a:cxn ang="0">
                <a:pos x="connsiteX27028" y="connsiteY27028"/>
              </a:cxn>
              <a:cxn ang="0">
                <a:pos x="connsiteX27029" y="connsiteY27029"/>
              </a:cxn>
              <a:cxn ang="0">
                <a:pos x="connsiteX27030" y="connsiteY27030"/>
              </a:cxn>
              <a:cxn ang="0">
                <a:pos x="connsiteX27031" y="connsiteY27031"/>
              </a:cxn>
              <a:cxn ang="0">
                <a:pos x="connsiteX27032" y="connsiteY27032"/>
              </a:cxn>
              <a:cxn ang="0">
                <a:pos x="connsiteX27033" y="connsiteY27033"/>
              </a:cxn>
              <a:cxn ang="0">
                <a:pos x="connsiteX27034" y="connsiteY27034"/>
              </a:cxn>
              <a:cxn ang="0">
                <a:pos x="connsiteX27035" y="connsiteY27035"/>
              </a:cxn>
              <a:cxn ang="0">
                <a:pos x="connsiteX27036" y="connsiteY27036"/>
              </a:cxn>
              <a:cxn ang="0">
                <a:pos x="connsiteX27037" y="connsiteY27037"/>
              </a:cxn>
              <a:cxn ang="0">
                <a:pos x="connsiteX27038" y="connsiteY27038"/>
              </a:cxn>
              <a:cxn ang="0">
                <a:pos x="connsiteX27039" y="connsiteY27039"/>
              </a:cxn>
              <a:cxn ang="0">
                <a:pos x="connsiteX27040" y="connsiteY27040"/>
              </a:cxn>
              <a:cxn ang="0">
                <a:pos x="connsiteX27041" y="connsiteY27041"/>
              </a:cxn>
              <a:cxn ang="0">
                <a:pos x="connsiteX27042" y="connsiteY27042"/>
              </a:cxn>
              <a:cxn ang="0">
                <a:pos x="connsiteX27043" y="connsiteY27043"/>
              </a:cxn>
              <a:cxn ang="0">
                <a:pos x="connsiteX27044" y="connsiteY27044"/>
              </a:cxn>
              <a:cxn ang="0">
                <a:pos x="connsiteX27045" y="connsiteY27045"/>
              </a:cxn>
              <a:cxn ang="0">
                <a:pos x="connsiteX27046" y="connsiteY27046"/>
              </a:cxn>
              <a:cxn ang="0">
                <a:pos x="connsiteX27047" y="connsiteY27047"/>
              </a:cxn>
              <a:cxn ang="0">
                <a:pos x="connsiteX27048" y="connsiteY27048"/>
              </a:cxn>
              <a:cxn ang="0">
                <a:pos x="connsiteX27049" y="connsiteY27049"/>
              </a:cxn>
              <a:cxn ang="0">
                <a:pos x="connsiteX27050" y="connsiteY27050"/>
              </a:cxn>
              <a:cxn ang="0">
                <a:pos x="connsiteX27051" y="connsiteY27051"/>
              </a:cxn>
              <a:cxn ang="0">
                <a:pos x="connsiteX27052" y="connsiteY27052"/>
              </a:cxn>
              <a:cxn ang="0">
                <a:pos x="connsiteX27053" y="connsiteY27053"/>
              </a:cxn>
              <a:cxn ang="0">
                <a:pos x="connsiteX27054" y="connsiteY27054"/>
              </a:cxn>
              <a:cxn ang="0">
                <a:pos x="connsiteX27055" y="connsiteY27055"/>
              </a:cxn>
              <a:cxn ang="0">
                <a:pos x="connsiteX27056" y="connsiteY27056"/>
              </a:cxn>
              <a:cxn ang="0">
                <a:pos x="connsiteX27057" y="connsiteY27057"/>
              </a:cxn>
              <a:cxn ang="0">
                <a:pos x="connsiteX27058" y="connsiteY27058"/>
              </a:cxn>
              <a:cxn ang="0">
                <a:pos x="connsiteX27059" y="connsiteY27059"/>
              </a:cxn>
              <a:cxn ang="0">
                <a:pos x="connsiteX27060" y="connsiteY27060"/>
              </a:cxn>
              <a:cxn ang="0">
                <a:pos x="connsiteX27061" y="connsiteY27061"/>
              </a:cxn>
              <a:cxn ang="0">
                <a:pos x="connsiteX27062" y="connsiteY27062"/>
              </a:cxn>
              <a:cxn ang="0">
                <a:pos x="connsiteX27063" y="connsiteY27063"/>
              </a:cxn>
              <a:cxn ang="0">
                <a:pos x="connsiteX27064" y="connsiteY27064"/>
              </a:cxn>
              <a:cxn ang="0">
                <a:pos x="connsiteX27065" y="connsiteY27065"/>
              </a:cxn>
              <a:cxn ang="0">
                <a:pos x="connsiteX27066" y="connsiteY27066"/>
              </a:cxn>
              <a:cxn ang="0">
                <a:pos x="connsiteX27067" y="connsiteY27067"/>
              </a:cxn>
              <a:cxn ang="0">
                <a:pos x="connsiteX27068" y="connsiteY27068"/>
              </a:cxn>
              <a:cxn ang="0">
                <a:pos x="connsiteX27069" y="connsiteY27069"/>
              </a:cxn>
              <a:cxn ang="0">
                <a:pos x="connsiteX27070" y="connsiteY27070"/>
              </a:cxn>
              <a:cxn ang="0">
                <a:pos x="connsiteX27071" y="connsiteY27071"/>
              </a:cxn>
              <a:cxn ang="0">
                <a:pos x="connsiteX27072" y="connsiteY27072"/>
              </a:cxn>
              <a:cxn ang="0">
                <a:pos x="connsiteX27073" y="connsiteY27073"/>
              </a:cxn>
              <a:cxn ang="0">
                <a:pos x="connsiteX27074" y="connsiteY27074"/>
              </a:cxn>
              <a:cxn ang="0">
                <a:pos x="connsiteX27075" y="connsiteY27075"/>
              </a:cxn>
              <a:cxn ang="0">
                <a:pos x="connsiteX27076" y="connsiteY27076"/>
              </a:cxn>
              <a:cxn ang="0">
                <a:pos x="connsiteX27077" y="connsiteY27077"/>
              </a:cxn>
              <a:cxn ang="0">
                <a:pos x="connsiteX27078" y="connsiteY27078"/>
              </a:cxn>
              <a:cxn ang="0">
                <a:pos x="connsiteX27079" y="connsiteY27079"/>
              </a:cxn>
              <a:cxn ang="0">
                <a:pos x="connsiteX27080" y="connsiteY27080"/>
              </a:cxn>
              <a:cxn ang="0">
                <a:pos x="connsiteX27081" y="connsiteY27081"/>
              </a:cxn>
              <a:cxn ang="0">
                <a:pos x="connsiteX27082" y="connsiteY27082"/>
              </a:cxn>
              <a:cxn ang="0">
                <a:pos x="connsiteX27083" y="connsiteY27083"/>
              </a:cxn>
              <a:cxn ang="0">
                <a:pos x="connsiteX27084" y="connsiteY27084"/>
              </a:cxn>
              <a:cxn ang="0">
                <a:pos x="connsiteX27085" y="connsiteY27085"/>
              </a:cxn>
              <a:cxn ang="0">
                <a:pos x="connsiteX27086" y="connsiteY27086"/>
              </a:cxn>
              <a:cxn ang="0">
                <a:pos x="connsiteX27087" y="connsiteY27087"/>
              </a:cxn>
              <a:cxn ang="0">
                <a:pos x="connsiteX27088" y="connsiteY27088"/>
              </a:cxn>
              <a:cxn ang="0">
                <a:pos x="connsiteX27089" y="connsiteY27089"/>
              </a:cxn>
              <a:cxn ang="0">
                <a:pos x="connsiteX27090" y="connsiteY27090"/>
              </a:cxn>
              <a:cxn ang="0">
                <a:pos x="connsiteX27091" y="connsiteY27091"/>
              </a:cxn>
              <a:cxn ang="0">
                <a:pos x="connsiteX27092" y="connsiteY27092"/>
              </a:cxn>
              <a:cxn ang="0">
                <a:pos x="connsiteX27093" y="connsiteY27093"/>
              </a:cxn>
              <a:cxn ang="0">
                <a:pos x="connsiteX27094" y="connsiteY27094"/>
              </a:cxn>
              <a:cxn ang="0">
                <a:pos x="connsiteX27095" y="connsiteY27095"/>
              </a:cxn>
              <a:cxn ang="0">
                <a:pos x="connsiteX27096" y="connsiteY27096"/>
              </a:cxn>
              <a:cxn ang="0">
                <a:pos x="connsiteX27097" y="connsiteY27097"/>
              </a:cxn>
              <a:cxn ang="0">
                <a:pos x="connsiteX27098" y="connsiteY27098"/>
              </a:cxn>
              <a:cxn ang="0">
                <a:pos x="connsiteX27099" y="connsiteY27099"/>
              </a:cxn>
              <a:cxn ang="0">
                <a:pos x="connsiteX27100" y="connsiteY27100"/>
              </a:cxn>
              <a:cxn ang="0">
                <a:pos x="connsiteX27101" y="connsiteY27101"/>
              </a:cxn>
              <a:cxn ang="0">
                <a:pos x="connsiteX27102" y="connsiteY27102"/>
              </a:cxn>
              <a:cxn ang="0">
                <a:pos x="connsiteX27103" y="connsiteY27103"/>
              </a:cxn>
              <a:cxn ang="0">
                <a:pos x="connsiteX27104" y="connsiteY27104"/>
              </a:cxn>
              <a:cxn ang="0">
                <a:pos x="connsiteX27105" y="connsiteY27105"/>
              </a:cxn>
              <a:cxn ang="0">
                <a:pos x="connsiteX27106" y="connsiteY27106"/>
              </a:cxn>
              <a:cxn ang="0">
                <a:pos x="connsiteX27107" y="connsiteY27107"/>
              </a:cxn>
              <a:cxn ang="0">
                <a:pos x="connsiteX27108" y="connsiteY27108"/>
              </a:cxn>
              <a:cxn ang="0">
                <a:pos x="connsiteX27109" y="connsiteY27109"/>
              </a:cxn>
              <a:cxn ang="0">
                <a:pos x="connsiteX27110" y="connsiteY27110"/>
              </a:cxn>
              <a:cxn ang="0">
                <a:pos x="connsiteX27111" y="connsiteY27111"/>
              </a:cxn>
              <a:cxn ang="0">
                <a:pos x="connsiteX27112" y="connsiteY27112"/>
              </a:cxn>
              <a:cxn ang="0">
                <a:pos x="connsiteX27113" y="connsiteY27113"/>
              </a:cxn>
              <a:cxn ang="0">
                <a:pos x="connsiteX27114" y="connsiteY27114"/>
              </a:cxn>
              <a:cxn ang="0">
                <a:pos x="connsiteX27115" y="connsiteY27115"/>
              </a:cxn>
              <a:cxn ang="0">
                <a:pos x="connsiteX27116" y="connsiteY27116"/>
              </a:cxn>
              <a:cxn ang="0">
                <a:pos x="connsiteX27117" y="connsiteY27117"/>
              </a:cxn>
              <a:cxn ang="0">
                <a:pos x="connsiteX27118" y="connsiteY27118"/>
              </a:cxn>
              <a:cxn ang="0">
                <a:pos x="connsiteX27119" y="connsiteY27119"/>
              </a:cxn>
              <a:cxn ang="0">
                <a:pos x="connsiteX27120" y="connsiteY27120"/>
              </a:cxn>
              <a:cxn ang="0">
                <a:pos x="connsiteX27121" y="connsiteY27121"/>
              </a:cxn>
              <a:cxn ang="0">
                <a:pos x="connsiteX27122" y="connsiteY27122"/>
              </a:cxn>
              <a:cxn ang="0">
                <a:pos x="connsiteX27123" y="connsiteY27123"/>
              </a:cxn>
              <a:cxn ang="0">
                <a:pos x="connsiteX27124" y="connsiteY27124"/>
              </a:cxn>
              <a:cxn ang="0">
                <a:pos x="connsiteX27125" y="connsiteY27125"/>
              </a:cxn>
              <a:cxn ang="0">
                <a:pos x="connsiteX27126" y="connsiteY27126"/>
              </a:cxn>
              <a:cxn ang="0">
                <a:pos x="connsiteX27127" y="connsiteY27127"/>
              </a:cxn>
              <a:cxn ang="0">
                <a:pos x="connsiteX27128" y="connsiteY27128"/>
              </a:cxn>
              <a:cxn ang="0">
                <a:pos x="connsiteX27129" y="connsiteY27129"/>
              </a:cxn>
              <a:cxn ang="0">
                <a:pos x="connsiteX27130" y="connsiteY27130"/>
              </a:cxn>
              <a:cxn ang="0">
                <a:pos x="connsiteX27131" y="connsiteY27131"/>
              </a:cxn>
              <a:cxn ang="0">
                <a:pos x="connsiteX27132" y="connsiteY27132"/>
              </a:cxn>
              <a:cxn ang="0">
                <a:pos x="connsiteX27133" y="connsiteY27133"/>
              </a:cxn>
              <a:cxn ang="0">
                <a:pos x="connsiteX27134" y="connsiteY27134"/>
              </a:cxn>
              <a:cxn ang="0">
                <a:pos x="connsiteX27135" y="connsiteY27135"/>
              </a:cxn>
              <a:cxn ang="0">
                <a:pos x="connsiteX27136" y="connsiteY27136"/>
              </a:cxn>
              <a:cxn ang="0">
                <a:pos x="connsiteX27137" y="connsiteY27137"/>
              </a:cxn>
              <a:cxn ang="0">
                <a:pos x="connsiteX27138" y="connsiteY27138"/>
              </a:cxn>
              <a:cxn ang="0">
                <a:pos x="connsiteX27139" y="connsiteY27139"/>
              </a:cxn>
              <a:cxn ang="0">
                <a:pos x="connsiteX27140" y="connsiteY27140"/>
              </a:cxn>
              <a:cxn ang="0">
                <a:pos x="connsiteX27141" y="connsiteY27141"/>
              </a:cxn>
              <a:cxn ang="0">
                <a:pos x="connsiteX27142" y="connsiteY27142"/>
              </a:cxn>
              <a:cxn ang="0">
                <a:pos x="connsiteX27143" y="connsiteY27143"/>
              </a:cxn>
              <a:cxn ang="0">
                <a:pos x="connsiteX27144" y="connsiteY27144"/>
              </a:cxn>
              <a:cxn ang="0">
                <a:pos x="connsiteX27145" y="connsiteY27145"/>
              </a:cxn>
              <a:cxn ang="0">
                <a:pos x="connsiteX27146" y="connsiteY27146"/>
              </a:cxn>
              <a:cxn ang="0">
                <a:pos x="connsiteX27147" y="connsiteY27147"/>
              </a:cxn>
              <a:cxn ang="0">
                <a:pos x="connsiteX27148" y="connsiteY27148"/>
              </a:cxn>
              <a:cxn ang="0">
                <a:pos x="connsiteX27149" y="connsiteY27149"/>
              </a:cxn>
              <a:cxn ang="0">
                <a:pos x="connsiteX27150" y="connsiteY27150"/>
              </a:cxn>
              <a:cxn ang="0">
                <a:pos x="connsiteX27151" y="connsiteY27151"/>
              </a:cxn>
              <a:cxn ang="0">
                <a:pos x="connsiteX27152" y="connsiteY27152"/>
              </a:cxn>
              <a:cxn ang="0">
                <a:pos x="connsiteX27153" y="connsiteY27153"/>
              </a:cxn>
              <a:cxn ang="0">
                <a:pos x="connsiteX27154" y="connsiteY27154"/>
              </a:cxn>
              <a:cxn ang="0">
                <a:pos x="connsiteX27155" y="connsiteY27155"/>
              </a:cxn>
              <a:cxn ang="0">
                <a:pos x="connsiteX27156" y="connsiteY27156"/>
              </a:cxn>
              <a:cxn ang="0">
                <a:pos x="connsiteX27157" y="connsiteY27157"/>
              </a:cxn>
              <a:cxn ang="0">
                <a:pos x="connsiteX27158" y="connsiteY27158"/>
              </a:cxn>
              <a:cxn ang="0">
                <a:pos x="connsiteX27159" y="connsiteY27159"/>
              </a:cxn>
              <a:cxn ang="0">
                <a:pos x="connsiteX27160" y="connsiteY27160"/>
              </a:cxn>
              <a:cxn ang="0">
                <a:pos x="connsiteX27161" y="connsiteY27161"/>
              </a:cxn>
              <a:cxn ang="0">
                <a:pos x="connsiteX27162" y="connsiteY27162"/>
              </a:cxn>
              <a:cxn ang="0">
                <a:pos x="connsiteX27163" y="connsiteY27163"/>
              </a:cxn>
              <a:cxn ang="0">
                <a:pos x="connsiteX27164" y="connsiteY27164"/>
              </a:cxn>
              <a:cxn ang="0">
                <a:pos x="connsiteX27165" y="connsiteY27165"/>
              </a:cxn>
              <a:cxn ang="0">
                <a:pos x="connsiteX27166" y="connsiteY27166"/>
              </a:cxn>
              <a:cxn ang="0">
                <a:pos x="connsiteX27167" y="connsiteY27167"/>
              </a:cxn>
              <a:cxn ang="0">
                <a:pos x="connsiteX27168" y="connsiteY27168"/>
              </a:cxn>
              <a:cxn ang="0">
                <a:pos x="connsiteX27169" y="connsiteY27169"/>
              </a:cxn>
              <a:cxn ang="0">
                <a:pos x="connsiteX27170" y="connsiteY27170"/>
              </a:cxn>
              <a:cxn ang="0">
                <a:pos x="connsiteX27171" y="connsiteY27171"/>
              </a:cxn>
              <a:cxn ang="0">
                <a:pos x="connsiteX27172" y="connsiteY27172"/>
              </a:cxn>
              <a:cxn ang="0">
                <a:pos x="connsiteX27173" y="connsiteY27173"/>
              </a:cxn>
              <a:cxn ang="0">
                <a:pos x="connsiteX27174" y="connsiteY27174"/>
              </a:cxn>
              <a:cxn ang="0">
                <a:pos x="connsiteX27175" y="connsiteY27175"/>
              </a:cxn>
              <a:cxn ang="0">
                <a:pos x="connsiteX27176" y="connsiteY27176"/>
              </a:cxn>
              <a:cxn ang="0">
                <a:pos x="connsiteX27177" y="connsiteY27177"/>
              </a:cxn>
              <a:cxn ang="0">
                <a:pos x="connsiteX27178" y="connsiteY27178"/>
              </a:cxn>
              <a:cxn ang="0">
                <a:pos x="connsiteX27179" y="connsiteY27179"/>
              </a:cxn>
              <a:cxn ang="0">
                <a:pos x="connsiteX27180" y="connsiteY27180"/>
              </a:cxn>
              <a:cxn ang="0">
                <a:pos x="connsiteX27181" y="connsiteY27181"/>
              </a:cxn>
              <a:cxn ang="0">
                <a:pos x="connsiteX27182" y="connsiteY27182"/>
              </a:cxn>
              <a:cxn ang="0">
                <a:pos x="connsiteX27183" y="connsiteY27183"/>
              </a:cxn>
              <a:cxn ang="0">
                <a:pos x="connsiteX27184" y="connsiteY27184"/>
              </a:cxn>
              <a:cxn ang="0">
                <a:pos x="connsiteX27185" y="connsiteY27185"/>
              </a:cxn>
              <a:cxn ang="0">
                <a:pos x="connsiteX27186" y="connsiteY27186"/>
              </a:cxn>
              <a:cxn ang="0">
                <a:pos x="connsiteX27187" y="connsiteY27187"/>
              </a:cxn>
              <a:cxn ang="0">
                <a:pos x="connsiteX27188" y="connsiteY27188"/>
              </a:cxn>
              <a:cxn ang="0">
                <a:pos x="connsiteX27189" y="connsiteY27189"/>
              </a:cxn>
              <a:cxn ang="0">
                <a:pos x="connsiteX27190" y="connsiteY27190"/>
              </a:cxn>
              <a:cxn ang="0">
                <a:pos x="connsiteX27191" y="connsiteY27191"/>
              </a:cxn>
              <a:cxn ang="0">
                <a:pos x="connsiteX27192" y="connsiteY27192"/>
              </a:cxn>
              <a:cxn ang="0">
                <a:pos x="connsiteX27193" y="connsiteY27193"/>
              </a:cxn>
              <a:cxn ang="0">
                <a:pos x="connsiteX27194" y="connsiteY27194"/>
              </a:cxn>
              <a:cxn ang="0">
                <a:pos x="connsiteX27195" y="connsiteY27195"/>
              </a:cxn>
              <a:cxn ang="0">
                <a:pos x="connsiteX27196" y="connsiteY27196"/>
              </a:cxn>
              <a:cxn ang="0">
                <a:pos x="connsiteX27197" y="connsiteY27197"/>
              </a:cxn>
              <a:cxn ang="0">
                <a:pos x="connsiteX27198" y="connsiteY27198"/>
              </a:cxn>
              <a:cxn ang="0">
                <a:pos x="connsiteX27199" y="connsiteY27199"/>
              </a:cxn>
              <a:cxn ang="0">
                <a:pos x="connsiteX27200" y="connsiteY27200"/>
              </a:cxn>
              <a:cxn ang="0">
                <a:pos x="connsiteX27201" y="connsiteY27201"/>
              </a:cxn>
              <a:cxn ang="0">
                <a:pos x="connsiteX27202" y="connsiteY27202"/>
              </a:cxn>
              <a:cxn ang="0">
                <a:pos x="connsiteX27203" y="connsiteY27203"/>
              </a:cxn>
              <a:cxn ang="0">
                <a:pos x="connsiteX27204" y="connsiteY27204"/>
              </a:cxn>
              <a:cxn ang="0">
                <a:pos x="connsiteX27205" y="connsiteY27205"/>
              </a:cxn>
              <a:cxn ang="0">
                <a:pos x="connsiteX27206" y="connsiteY27206"/>
              </a:cxn>
              <a:cxn ang="0">
                <a:pos x="connsiteX27207" y="connsiteY27207"/>
              </a:cxn>
              <a:cxn ang="0">
                <a:pos x="connsiteX27208" y="connsiteY27208"/>
              </a:cxn>
              <a:cxn ang="0">
                <a:pos x="connsiteX27209" y="connsiteY27209"/>
              </a:cxn>
              <a:cxn ang="0">
                <a:pos x="connsiteX27210" y="connsiteY27210"/>
              </a:cxn>
              <a:cxn ang="0">
                <a:pos x="connsiteX27211" y="connsiteY27211"/>
              </a:cxn>
              <a:cxn ang="0">
                <a:pos x="connsiteX27212" y="connsiteY27212"/>
              </a:cxn>
              <a:cxn ang="0">
                <a:pos x="connsiteX27213" y="connsiteY27213"/>
              </a:cxn>
              <a:cxn ang="0">
                <a:pos x="connsiteX27214" y="connsiteY27214"/>
              </a:cxn>
              <a:cxn ang="0">
                <a:pos x="connsiteX27215" y="connsiteY27215"/>
              </a:cxn>
              <a:cxn ang="0">
                <a:pos x="connsiteX27216" y="connsiteY27216"/>
              </a:cxn>
              <a:cxn ang="0">
                <a:pos x="connsiteX27217" y="connsiteY27217"/>
              </a:cxn>
              <a:cxn ang="0">
                <a:pos x="connsiteX27218" y="connsiteY27218"/>
              </a:cxn>
              <a:cxn ang="0">
                <a:pos x="connsiteX27219" y="connsiteY27219"/>
              </a:cxn>
              <a:cxn ang="0">
                <a:pos x="connsiteX27220" y="connsiteY27220"/>
              </a:cxn>
              <a:cxn ang="0">
                <a:pos x="connsiteX27221" y="connsiteY27221"/>
              </a:cxn>
              <a:cxn ang="0">
                <a:pos x="connsiteX27222" y="connsiteY27222"/>
              </a:cxn>
              <a:cxn ang="0">
                <a:pos x="connsiteX27223" y="connsiteY27223"/>
              </a:cxn>
              <a:cxn ang="0">
                <a:pos x="connsiteX27224" y="connsiteY27224"/>
              </a:cxn>
              <a:cxn ang="0">
                <a:pos x="connsiteX27225" y="connsiteY27225"/>
              </a:cxn>
              <a:cxn ang="0">
                <a:pos x="connsiteX27226" y="connsiteY27226"/>
              </a:cxn>
              <a:cxn ang="0">
                <a:pos x="connsiteX27227" y="connsiteY27227"/>
              </a:cxn>
              <a:cxn ang="0">
                <a:pos x="connsiteX27228" y="connsiteY27228"/>
              </a:cxn>
              <a:cxn ang="0">
                <a:pos x="connsiteX27229" y="connsiteY27229"/>
              </a:cxn>
              <a:cxn ang="0">
                <a:pos x="connsiteX27230" y="connsiteY27230"/>
              </a:cxn>
              <a:cxn ang="0">
                <a:pos x="connsiteX27231" y="connsiteY27231"/>
              </a:cxn>
              <a:cxn ang="0">
                <a:pos x="connsiteX27232" y="connsiteY27232"/>
              </a:cxn>
              <a:cxn ang="0">
                <a:pos x="connsiteX27233" y="connsiteY27233"/>
              </a:cxn>
              <a:cxn ang="0">
                <a:pos x="connsiteX27234" y="connsiteY27234"/>
              </a:cxn>
              <a:cxn ang="0">
                <a:pos x="connsiteX27235" y="connsiteY27235"/>
              </a:cxn>
              <a:cxn ang="0">
                <a:pos x="connsiteX27236" y="connsiteY27236"/>
              </a:cxn>
              <a:cxn ang="0">
                <a:pos x="connsiteX27237" y="connsiteY27237"/>
              </a:cxn>
              <a:cxn ang="0">
                <a:pos x="connsiteX27238" y="connsiteY27238"/>
              </a:cxn>
              <a:cxn ang="0">
                <a:pos x="connsiteX27239" y="connsiteY27239"/>
              </a:cxn>
              <a:cxn ang="0">
                <a:pos x="connsiteX27240" y="connsiteY27240"/>
              </a:cxn>
              <a:cxn ang="0">
                <a:pos x="connsiteX27241" y="connsiteY27241"/>
              </a:cxn>
              <a:cxn ang="0">
                <a:pos x="connsiteX27242" y="connsiteY27242"/>
              </a:cxn>
              <a:cxn ang="0">
                <a:pos x="connsiteX27243" y="connsiteY27243"/>
              </a:cxn>
              <a:cxn ang="0">
                <a:pos x="connsiteX27244" y="connsiteY27244"/>
              </a:cxn>
              <a:cxn ang="0">
                <a:pos x="connsiteX27245" y="connsiteY27245"/>
              </a:cxn>
              <a:cxn ang="0">
                <a:pos x="connsiteX27246" y="connsiteY27246"/>
              </a:cxn>
              <a:cxn ang="0">
                <a:pos x="connsiteX27247" y="connsiteY27247"/>
              </a:cxn>
              <a:cxn ang="0">
                <a:pos x="connsiteX27248" y="connsiteY27248"/>
              </a:cxn>
              <a:cxn ang="0">
                <a:pos x="connsiteX27249" y="connsiteY27249"/>
              </a:cxn>
              <a:cxn ang="0">
                <a:pos x="connsiteX27250" y="connsiteY27250"/>
              </a:cxn>
              <a:cxn ang="0">
                <a:pos x="connsiteX27251" y="connsiteY27251"/>
              </a:cxn>
              <a:cxn ang="0">
                <a:pos x="connsiteX27252" y="connsiteY27252"/>
              </a:cxn>
              <a:cxn ang="0">
                <a:pos x="connsiteX27253" y="connsiteY27253"/>
              </a:cxn>
              <a:cxn ang="0">
                <a:pos x="connsiteX27254" y="connsiteY27254"/>
              </a:cxn>
              <a:cxn ang="0">
                <a:pos x="connsiteX27255" y="connsiteY27255"/>
              </a:cxn>
              <a:cxn ang="0">
                <a:pos x="connsiteX27256" y="connsiteY27256"/>
              </a:cxn>
              <a:cxn ang="0">
                <a:pos x="connsiteX27257" y="connsiteY27257"/>
              </a:cxn>
              <a:cxn ang="0">
                <a:pos x="connsiteX27258" y="connsiteY27258"/>
              </a:cxn>
              <a:cxn ang="0">
                <a:pos x="connsiteX27259" y="connsiteY27259"/>
              </a:cxn>
              <a:cxn ang="0">
                <a:pos x="connsiteX27260" y="connsiteY27260"/>
              </a:cxn>
              <a:cxn ang="0">
                <a:pos x="connsiteX27261" y="connsiteY27261"/>
              </a:cxn>
              <a:cxn ang="0">
                <a:pos x="connsiteX27262" y="connsiteY27262"/>
              </a:cxn>
              <a:cxn ang="0">
                <a:pos x="connsiteX27263" y="connsiteY27263"/>
              </a:cxn>
              <a:cxn ang="0">
                <a:pos x="connsiteX27264" y="connsiteY27264"/>
              </a:cxn>
              <a:cxn ang="0">
                <a:pos x="connsiteX27265" y="connsiteY27265"/>
              </a:cxn>
              <a:cxn ang="0">
                <a:pos x="connsiteX27266" y="connsiteY27266"/>
              </a:cxn>
              <a:cxn ang="0">
                <a:pos x="connsiteX27267" y="connsiteY27267"/>
              </a:cxn>
              <a:cxn ang="0">
                <a:pos x="connsiteX27268" y="connsiteY27268"/>
              </a:cxn>
              <a:cxn ang="0">
                <a:pos x="connsiteX27269" y="connsiteY27269"/>
              </a:cxn>
              <a:cxn ang="0">
                <a:pos x="connsiteX27270" y="connsiteY27270"/>
              </a:cxn>
              <a:cxn ang="0">
                <a:pos x="connsiteX27271" y="connsiteY27271"/>
              </a:cxn>
              <a:cxn ang="0">
                <a:pos x="connsiteX27272" y="connsiteY27272"/>
              </a:cxn>
              <a:cxn ang="0">
                <a:pos x="connsiteX27273" y="connsiteY27273"/>
              </a:cxn>
              <a:cxn ang="0">
                <a:pos x="connsiteX27274" y="connsiteY27274"/>
              </a:cxn>
              <a:cxn ang="0">
                <a:pos x="connsiteX27275" y="connsiteY27275"/>
              </a:cxn>
              <a:cxn ang="0">
                <a:pos x="connsiteX27276" y="connsiteY27276"/>
              </a:cxn>
              <a:cxn ang="0">
                <a:pos x="connsiteX27277" y="connsiteY27277"/>
              </a:cxn>
              <a:cxn ang="0">
                <a:pos x="connsiteX27278" y="connsiteY27278"/>
              </a:cxn>
              <a:cxn ang="0">
                <a:pos x="connsiteX27279" y="connsiteY27279"/>
              </a:cxn>
              <a:cxn ang="0">
                <a:pos x="connsiteX27280" y="connsiteY27280"/>
              </a:cxn>
              <a:cxn ang="0">
                <a:pos x="connsiteX27281" y="connsiteY27281"/>
              </a:cxn>
              <a:cxn ang="0">
                <a:pos x="connsiteX27282" y="connsiteY27282"/>
              </a:cxn>
              <a:cxn ang="0">
                <a:pos x="connsiteX27283" y="connsiteY27283"/>
              </a:cxn>
              <a:cxn ang="0">
                <a:pos x="connsiteX27284" y="connsiteY27284"/>
              </a:cxn>
              <a:cxn ang="0">
                <a:pos x="connsiteX27285" y="connsiteY27285"/>
              </a:cxn>
              <a:cxn ang="0">
                <a:pos x="connsiteX27286" y="connsiteY27286"/>
              </a:cxn>
              <a:cxn ang="0">
                <a:pos x="connsiteX27287" y="connsiteY27287"/>
              </a:cxn>
              <a:cxn ang="0">
                <a:pos x="connsiteX27288" y="connsiteY27288"/>
              </a:cxn>
              <a:cxn ang="0">
                <a:pos x="connsiteX27289" y="connsiteY27289"/>
              </a:cxn>
              <a:cxn ang="0">
                <a:pos x="connsiteX27290" y="connsiteY27290"/>
              </a:cxn>
              <a:cxn ang="0">
                <a:pos x="connsiteX27291" y="connsiteY27291"/>
              </a:cxn>
              <a:cxn ang="0">
                <a:pos x="connsiteX27292" y="connsiteY27292"/>
              </a:cxn>
              <a:cxn ang="0">
                <a:pos x="connsiteX27293" y="connsiteY27293"/>
              </a:cxn>
              <a:cxn ang="0">
                <a:pos x="connsiteX27294" y="connsiteY27294"/>
              </a:cxn>
              <a:cxn ang="0">
                <a:pos x="connsiteX27295" y="connsiteY27295"/>
              </a:cxn>
              <a:cxn ang="0">
                <a:pos x="connsiteX27296" y="connsiteY27296"/>
              </a:cxn>
              <a:cxn ang="0">
                <a:pos x="connsiteX27297" y="connsiteY27297"/>
              </a:cxn>
              <a:cxn ang="0">
                <a:pos x="connsiteX27298" y="connsiteY27298"/>
              </a:cxn>
              <a:cxn ang="0">
                <a:pos x="connsiteX27299" y="connsiteY27299"/>
              </a:cxn>
              <a:cxn ang="0">
                <a:pos x="connsiteX27300" y="connsiteY27300"/>
              </a:cxn>
              <a:cxn ang="0">
                <a:pos x="connsiteX27301" y="connsiteY27301"/>
              </a:cxn>
              <a:cxn ang="0">
                <a:pos x="connsiteX27302" y="connsiteY27302"/>
              </a:cxn>
              <a:cxn ang="0">
                <a:pos x="connsiteX27303" y="connsiteY27303"/>
              </a:cxn>
              <a:cxn ang="0">
                <a:pos x="connsiteX27304" y="connsiteY27304"/>
              </a:cxn>
              <a:cxn ang="0">
                <a:pos x="connsiteX27305" y="connsiteY27305"/>
              </a:cxn>
              <a:cxn ang="0">
                <a:pos x="connsiteX27306" y="connsiteY27306"/>
              </a:cxn>
              <a:cxn ang="0">
                <a:pos x="connsiteX27307" y="connsiteY27307"/>
              </a:cxn>
              <a:cxn ang="0">
                <a:pos x="connsiteX27308" y="connsiteY27308"/>
              </a:cxn>
              <a:cxn ang="0">
                <a:pos x="connsiteX27309" y="connsiteY27309"/>
              </a:cxn>
              <a:cxn ang="0">
                <a:pos x="connsiteX27310" y="connsiteY27310"/>
              </a:cxn>
              <a:cxn ang="0">
                <a:pos x="connsiteX27311" y="connsiteY27311"/>
              </a:cxn>
              <a:cxn ang="0">
                <a:pos x="connsiteX27312" y="connsiteY27312"/>
              </a:cxn>
              <a:cxn ang="0">
                <a:pos x="connsiteX27313" y="connsiteY27313"/>
              </a:cxn>
              <a:cxn ang="0">
                <a:pos x="connsiteX27314" y="connsiteY27314"/>
              </a:cxn>
              <a:cxn ang="0">
                <a:pos x="connsiteX27315" y="connsiteY27315"/>
              </a:cxn>
              <a:cxn ang="0">
                <a:pos x="connsiteX27316" y="connsiteY27316"/>
              </a:cxn>
              <a:cxn ang="0">
                <a:pos x="connsiteX27317" y="connsiteY27317"/>
              </a:cxn>
              <a:cxn ang="0">
                <a:pos x="connsiteX27318" y="connsiteY27318"/>
              </a:cxn>
              <a:cxn ang="0">
                <a:pos x="connsiteX27319" y="connsiteY27319"/>
              </a:cxn>
              <a:cxn ang="0">
                <a:pos x="connsiteX27320" y="connsiteY27320"/>
              </a:cxn>
              <a:cxn ang="0">
                <a:pos x="connsiteX27321" y="connsiteY27321"/>
              </a:cxn>
              <a:cxn ang="0">
                <a:pos x="connsiteX27322" y="connsiteY27322"/>
              </a:cxn>
              <a:cxn ang="0">
                <a:pos x="connsiteX27323" y="connsiteY27323"/>
              </a:cxn>
              <a:cxn ang="0">
                <a:pos x="connsiteX27324" y="connsiteY27324"/>
              </a:cxn>
              <a:cxn ang="0">
                <a:pos x="connsiteX27325" y="connsiteY27325"/>
              </a:cxn>
              <a:cxn ang="0">
                <a:pos x="connsiteX27326" y="connsiteY27326"/>
              </a:cxn>
              <a:cxn ang="0">
                <a:pos x="connsiteX27327" y="connsiteY27327"/>
              </a:cxn>
              <a:cxn ang="0">
                <a:pos x="connsiteX27328" y="connsiteY27328"/>
              </a:cxn>
              <a:cxn ang="0">
                <a:pos x="connsiteX27329" y="connsiteY27329"/>
              </a:cxn>
              <a:cxn ang="0">
                <a:pos x="connsiteX27330" y="connsiteY27330"/>
              </a:cxn>
              <a:cxn ang="0">
                <a:pos x="connsiteX27331" y="connsiteY27331"/>
              </a:cxn>
              <a:cxn ang="0">
                <a:pos x="connsiteX27332" y="connsiteY27332"/>
              </a:cxn>
              <a:cxn ang="0">
                <a:pos x="connsiteX27333" y="connsiteY27333"/>
              </a:cxn>
              <a:cxn ang="0">
                <a:pos x="connsiteX27334" y="connsiteY27334"/>
              </a:cxn>
              <a:cxn ang="0">
                <a:pos x="connsiteX27335" y="connsiteY27335"/>
              </a:cxn>
              <a:cxn ang="0">
                <a:pos x="connsiteX27336" y="connsiteY27336"/>
              </a:cxn>
              <a:cxn ang="0">
                <a:pos x="connsiteX27337" y="connsiteY27337"/>
              </a:cxn>
              <a:cxn ang="0">
                <a:pos x="connsiteX27338" y="connsiteY27338"/>
              </a:cxn>
              <a:cxn ang="0">
                <a:pos x="connsiteX27339" y="connsiteY27339"/>
              </a:cxn>
              <a:cxn ang="0">
                <a:pos x="connsiteX27340" y="connsiteY27340"/>
              </a:cxn>
              <a:cxn ang="0">
                <a:pos x="connsiteX27341" y="connsiteY27341"/>
              </a:cxn>
              <a:cxn ang="0">
                <a:pos x="connsiteX27342" y="connsiteY27342"/>
              </a:cxn>
              <a:cxn ang="0">
                <a:pos x="connsiteX27343" y="connsiteY27343"/>
              </a:cxn>
              <a:cxn ang="0">
                <a:pos x="connsiteX27344" y="connsiteY27344"/>
              </a:cxn>
              <a:cxn ang="0">
                <a:pos x="connsiteX27345" y="connsiteY27345"/>
              </a:cxn>
              <a:cxn ang="0">
                <a:pos x="connsiteX27346" y="connsiteY27346"/>
              </a:cxn>
              <a:cxn ang="0">
                <a:pos x="connsiteX27347" y="connsiteY27347"/>
              </a:cxn>
              <a:cxn ang="0">
                <a:pos x="connsiteX27348" y="connsiteY27348"/>
              </a:cxn>
              <a:cxn ang="0">
                <a:pos x="connsiteX27349" y="connsiteY27349"/>
              </a:cxn>
              <a:cxn ang="0">
                <a:pos x="connsiteX27350" y="connsiteY27350"/>
              </a:cxn>
              <a:cxn ang="0">
                <a:pos x="connsiteX27351" y="connsiteY27351"/>
              </a:cxn>
              <a:cxn ang="0">
                <a:pos x="connsiteX27352" y="connsiteY27352"/>
              </a:cxn>
              <a:cxn ang="0">
                <a:pos x="connsiteX27353" y="connsiteY27353"/>
              </a:cxn>
              <a:cxn ang="0">
                <a:pos x="connsiteX27354" y="connsiteY27354"/>
              </a:cxn>
              <a:cxn ang="0">
                <a:pos x="connsiteX27355" y="connsiteY27355"/>
              </a:cxn>
              <a:cxn ang="0">
                <a:pos x="connsiteX27356" y="connsiteY27356"/>
              </a:cxn>
              <a:cxn ang="0">
                <a:pos x="connsiteX27357" y="connsiteY27357"/>
              </a:cxn>
              <a:cxn ang="0">
                <a:pos x="connsiteX27358" y="connsiteY27358"/>
              </a:cxn>
              <a:cxn ang="0">
                <a:pos x="connsiteX27359" y="connsiteY27359"/>
              </a:cxn>
              <a:cxn ang="0">
                <a:pos x="connsiteX27360" y="connsiteY27360"/>
              </a:cxn>
              <a:cxn ang="0">
                <a:pos x="connsiteX27361" y="connsiteY27361"/>
              </a:cxn>
              <a:cxn ang="0">
                <a:pos x="connsiteX27362" y="connsiteY27362"/>
              </a:cxn>
              <a:cxn ang="0">
                <a:pos x="connsiteX27363" y="connsiteY27363"/>
              </a:cxn>
              <a:cxn ang="0">
                <a:pos x="connsiteX27364" y="connsiteY27364"/>
              </a:cxn>
              <a:cxn ang="0">
                <a:pos x="connsiteX27365" y="connsiteY27365"/>
              </a:cxn>
              <a:cxn ang="0">
                <a:pos x="connsiteX27366" y="connsiteY27366"/>
              </a:cxn>
              <a:cxn ang="0">
                <a:pos x="connsiteX27367" y="connsiteY27367"/>
              </a:cxn>
              <a:cxn ang="0">
                <a:pos x="connsiteX27368" y="connsiteY27368"/>
              </a:cxn>
              <a:cxn ang="0">
                <a:pos x="connsiteX27369" y="connsiteY27369"/>
              </a:cxn>
              <a:cxn ang="0">
                <a:pos x="connsiteX27370" y="connsiteY27370"/>
              </a:cxn>
              <a:cxn ang="0">
                <a:pos x="connsiteX27371" y="connsiteY27371"/>
              </a:cxn>
              <a:cxn ang="0">
                <a:pos x="connsiteX27372" y="connsiteY27372"/>
              </a:cxn>
              <a:cxn ang="0">
                <a:pos x="connsiteX27373" y="connsiteY27373"/>
              </a:cxn>
              <a:cxn ang="0">
                <a:pos x="connsiteX27374" y="connsiteY27374"/>
              </a:cxn>
              <a:cxn ang="0">
                <a:pos x="connsiteX27375" y="connsiteY27375"/>
              </a:cxn>
              <a:cxn ang="0">
                <a:pos x="connsiteX27376" y="connsiteY27376"/>
              </a:cxn>
              <a:cxn ang="0">
                <a:pos x="connsiteX27377" y="connsiteY27377"/>
              </a:cxn>
              <a:cxn ang="0">
                <a:pos x="connsiteX27378" y="connsiteY27378"/>
              </a:cxn>
              <a:cxn ang="0">
                <a:pos x="connsiteX27379" y="connsiteY27379"/>
              </a:cxn>
              <a:cxn ang="0">
                <a:pos x="connsiteX27380" y="connsiteY27380"/>
              </a:cxn>
              <a:cxn ang="0">
                <a:pos x="connsiteX27381" y="connsiteY27381"/>
              </a:cxn>
              <a:cxn ang="0">
                <a:pos x="connsiteX27382" y="connsiteY27382"/>
              </a:cxn>
              <a:cxn ang="0">
                <a:pos x="connsiteX27383" y="connsiteY27383"/>
              </a:cxn>
              <a:cxn ang="0">
                <a:pos x="connsiteX27384" y="connsiteY27384"/>
              </a:cxn>
              <a:cxn ang="0">
                <a:pos x="connsiteX27385" y="connsiteY27385"/>
              </a:cxn>
              <a:cxn ang="0">
                <a:pos x="connsiteX27386" y="connsiteY27386"/>
              </a:cxn>
              <a:cxn ang="0">
                <a:pos x="connsiteX27387" y="connsiteY27387"/>
              </a:cxn>
              <a:cxn ang="0">
                <a:pos x="connsiteX27388" y="connsiteY27388"/>
              </a:cxn>
              <a:cxn ang="0">
                <a:pos x="connsiteX27389" y="connsiteY27389"/>
              </a:cxn>
              <a:cxn ang="0">
                <a:pos x="connsiteX27390" y="connsiteY27390"/>
              </a:cxn>
              <a:cxn ang="0">
                <a:pos x="connsiteX27391" y="connsiteY27391"/>
              </a:cxn>
              <a:cxn ang="0">
                <a:pos x="connsiteX27392" y="connsiteY27392"/>
              </a:cxn>
              <a:cxn ang="0">
                <a:pos x="connsiteX27393" y="connsiteY27393"/>
              </a:cxn>
              <a:cxn ang="0">
                <a:pos x="connsiteX27394" y="connsiteY27394"/>
              </a:cxn>
              <a:cxn ang="0">
                <a:pos x="connsiteX27395" y="connsiteY27395"/>
              </a:cxn>
              <a:cxn ang="0">
                <a:pos x="connsiteX27396" y="connsiteY27396"/>
              </a:cxn>
              <a:cxn ang="0">
                <a:pos x="connsiteX27397" y="connsiteY27397"/>
              </a:cxn>
              <a:cxn ang="0">
                <a:pos x="connsiteX27398" y="connsiteY27398"/>
              </a:cxn>
              <a:cxn ang="0">
                <a:pos x="connsiteX27399" y="connsiteY27399"/>
              </a:cxn>
              <a:cxn ang="0">
                <a:pos x="connsiteX27400" y="connsiteY27400"/>
              </a:cxn>
              <a:cxn ang="0">
                <a:pos x="connsiteX27401" y="connsiteY27401"/>
              </a:cxn>
              <a:cxn ang="0">
                <a:pos x="connsiteX27402" y="connsiteY27402"/>
              </a:cxn>
              <a:cxn ang="0">
                <a:pos x="connsiteX27403" y="connsiteY27403"/>
              </a:cxn>
              <a:cxn ang="0">
                <a:pos x="connsiteX27404" y="connsiteY27404"/>
              </a:cxn>
              <a:cxn ang="0">
                <a:pos x="connsiteX27405" y="connsiteY27405"/>
              </a:cxn>
              <a:cxn ang="0">
                <a:pos x="connsiteX27406" y="connsiteY27406"/>
              </a:cxn>
              <a:cxn ang="0">
                <a:pos x="connsiteX27407" y="connsiteY27407"/>
              </a:cxn>
              <a:cxn ang="0">
                <a:pos x="connsiteX27408" y="connsiteY27408"/>
              </a:cxn>
              <a:cxn ang="0">
                <a:pos x="connsiteX27409" y="connsiteY27409"/>
              </a:cxn>
              <a:cxn ang="0">
                <a:pos x="connsiteX27410" y="connsiteY27410"/>
              </a:cxn>
              <a:cxn ang="0">
                <a:pos x="connsiteX27411" y="connsiteY27411"/>
              </a:cxn>
              <a:cxn ang="0">
                <a:pos x="connsiteX27412" y="connsiteY27412"/>
              </a:cxn>
              <a:cxn ang="0">
                <a:pos x="connsiteX27413" y="connsiteY27413"/>
              </a:cxn>
              <a:cxn ang="0">
                <a:pos x="connsiteX27414" y="connsiteY27414"/>
              </a:cxn>
              <a:cxn ang="0">
                <a:pos x="connsiteX27415" y="connsiteY27415"/>
              </a:cxn>
              <a:cxn ang="0">
                <a:pos x="connsiteX27416" y="connsiteY27416"/>
              </a:cxn>
              <a:cxn ang="0">
                <a:pos x="connsiteX27417" y="connsiteY27417"/>
              </a:cxn>
              <a:cxn ang="0">
                <a:pos x="connsiteX27418" y="connsiteY27418"/>
              </a:cxn>
              <a:cxn ang="0">
                <a:pos x="connsiteX27419" y="connsiteY27419"/>
              </a:cxn>
              <a:cxn ang="0">
                <a:pos x="connsiteX27420" y="connsiteY27420"/>
              </a:cxn>
              <a:cxn ang="0">
                <a:pos x="connsiteX27421" y="connsiteY27421"/>
              </a:cxn>
              <a:cxn ang="0">
                <a:pos x="connsiteX27422" y="connsiteY27422"/>
              </a:cxn>
              <a:cxn ang="0">
                <a:pos x="connsiteX27423" y="connsiteY27423"/>
              </a:cxn>
              <a:cxn ang="0">
                <a:pos x="connsiteX27424" y="connsiteY27424"/>
              </a:cxn>
              <a:cxn ang="0">
                <a:pos x="connsiteX27425" y="connsiteY27425"/>
              </a:cxn>
              <a:cxn ang="0">
                <a:pos x="connsiteX27426" y="connsiteY27426"/>
              </a:cxn>
              <a:cxn ang="0">
                <a:pos x="connsiteX27427" y="connsiteY27427"/>
              </a:cxn>
              <a:cxn ang="0">
                <a:pos x="connsiteX27428" y="connsiteY27428"/>
              </a:cxn>
              <a:cxn ang="0">
                <a:pos x="connsiteX27429" y="connsiteY27429"/>
              </a:cxn>
              <a:cxn ang="0">
                <a:pos x="connsiteX27430" y="connsiteY27430"/>
              </a:cxn>
              <a:cxn ang="0">
                <a:pos x="connsiteX27431" y="connsiteY27431"/>
              </a:cxn>
              <a:cxn ang="0">
                <a:pos x="connsiteX27432" y="connsiteY27432"/>
              </a:cxn>
              <a:cxn ang="0">
                <a:pos x="connsiteX27433" y="connsiteY27433"/>
              </a:cxn>
              <a:cxn ang="0">
                <a:pos x="connsiteX27434" y="connsiteY27434"/>
              </a:cxn>
              <a:cxn ang="0">
                <a:pos x="connsiteX27435" y="connsiteY27435"/>
              </a:cxn>
              <a:cxn ang="0">
                <a:pos x="connsiteX27436" y="connsiteY27436"/>
              </a:cxn>
              <a:cxn ang="0">
                <a:pos x="connsiteX27437" y="connsiteY27437"/>
              </a:cxn>
              <a:cxn ang="0">
                <a:pos x="connsiteX27438" y="connsiteY27438"/>
              </a:cxn>
              <a:cxn ang="0">
                <a:pos x="connsiteX27439" y="connsiteY27439"/>
              </a:cxn>
              <a:cxn ang="0">
                <a:pos x="connsiteX27440" y="connsiteY27440"/>
              </a:cxn>
              <a:cxn ang="0">
                <a:pos x="connsiteX27441" y="connsiteY27441"/>
              </a:cxn>
              <a:cxn ang="0">
                <a:pos x="connsiteX27442" y="connsiteY27442"/>
              </a:cxn>
              <a:cxn ang="0">
                <a:pos x="connsiteX27443" y="connsiteY27443"/>
              </a:cxn>
              <a:cxn ang="0">
                <a:pos x="connsiteX27444" y="connsiteY27444"/>
              </a:cxn>
              <a:cxn ang="0">
                <a:pos x="connsiteX27445" y="connsiteY27445"/>
              </a:cxn>
              <a:cxn ang="0">
                <a:pos x="connsiteX27446" y="connsiteY27446"/>
              </a:cxn>
              <a:cxn ang="0">
                <a:pos x="connsiteX27447" y="connsiteY27447"/>
              </a:cxn>
              <a:cxn ang="0">
                <a:pos x="connsiteX27448" y="connsiteY27448"/>
              </a:cxn>
              <a:cxn ang="0">
                <a:pos x="connsiteX27449" y="connsiteY27449"/>
              </a:cxn>
              <a:cxn ang="0">
                <a:pos x="connsiteX27450" y="connsiteY27450"/>
              </a:cxn>
              <a:cxn ang="0">
                <a:pos x="connsiteX27451" y="connsiteY27451"/>
              </a:cxn>
              <a:cxn ang="0">
                <a:pos x="connsiteX27452" y="connsiteY27452"/>
              </a:cxn>
              <a:cxn ang="0">
                <a:pos x="connsiteX27453" y="connsiteY27453"/>
              </a:cxn>
              <a:cxn ang="0">
                <a:pos x="connsiteX27454" y="connsiteY27454"/>
              </a:cxn>
              <a:cxn ang="0">
                <a:pos x="connsiteX27455" y="connsiteY27455"/>
              </a:cxn>
              <a:cxn ang="0">
                <a:pos x="connsiteX27456" y="connsiteY27456"/>
              </a:cxn>
              <a:cxn ang="0">
                <a:pos x="connsiteX27457" y="connsiteY27457"/>
              </a:cxn>
              <a:cxn ang="0">
                <a:pos x="connsiteX27458" y="connsiteY27458"/>
              </a:cxn>
              <a:cxn ang="0">
                <a:pos x="connsiteX27459" y="connsiteY27459"/>
              </a:cxn>
              <a:cxn ang="0">
                <a:pos x="connsiteX27460" y="connsiteY27460"/>
              </a:cxn>
              <a:cxn ang="0">
                <a:pos x="connsiteX27461" y="connsiteY27461"/>
              </a:cxn>
              <a:cxn ang="0">
                <a:pos x="connsiteX27462" y="connsiteY27462"/>
              </a:cxn>
              <a:cxn ang="0">
                <a:pos x="connsiteX27463" y="connsiteY27463"/>
              </a:cxn>
              <a:cxn ang="0">
                <a:pos x="connsiteX27464" y="connsiteY27464"/>
              </a:cxn>
              <a:cxn ang="0">
                <a:pos x="connsiteX27465" y="connsiteY27465"/>
              </a:cxn>
              <a:cxn ang="0">
                <a:pos x="connsiteX27466" y="connsiteY27466"/>
              </a:cxn>
              <a:cxn ang="0">
                <a:pos x="connsiteX27467" y="connsiteY27467"/>
              </a:cxn>
              <a:cxn ang="0">
                <a:pos x="connsiteX27468" y="connsiteY27468"/>
              </a:cxn>
              <a:cxn ang="0">
                <a:pos x="connsiteX27469" y="connsiteY27469"/>
              </a:cxn>
              <a:cxn ang="0">
                <a:pos x="connsiteX27470" y="connsiteY27470"/>
              </a:cxn>
              <a:cxn ang="0">
                <a:pos x="connsiteX27471" y="connsiteY27471"/>
              </a:cxn>
              <a:cxn ang="0">
                <a:pos x="connsiteX27472" y="connsiteY27472"/>
              </a:cxn>
              <a:cxn ang="0">
                <a:pos x="connsiteX27473" y="connsiteY27473"/>
              </a:cxn>
              <a:cxn ang="0">
                <a:pos x="connsiteX27474" y="connsiteY27474"/>
              </a:cxn>
              <a:cxn ang="0">
                <a:pos x="connsiteX27475" y="connsiteY27475"/>
              </a:cxn>
              <a:cxn ang="0">
                <a:pos x="connsiteX27476" y="connsiteY27476"/>
              </a:cxn>
              <a:cxn ang="0">
                <a:pos x="connsiteX27477" y="connsiteY27477"/>
              </a:cxn>
              <a:cxn ang="0">
                <a:pos x="connsiteX27478" y="connsiteY27478"/>
              </a:cxn>
              <a:cxn ang="0">
                <a:pos x="connsiteX27479" y="connsiteY27479"/>
              </a:cxn>
              <a:cxn ang="0">
                <a:pos x="connsiteX27480" y="connsiteY27480"/>
              </a:cxn>
              <a:cxn ang="0">
                <a:pos x="connsiteX27481" y="connsiteY27481"/>
              </a:cxn>
              <a:cxn ang="0">
                <a:pos x="connsiteX27482" y="connsiteY27482"/>
              </a:cxn>
              <a:cxn ang="0">
                <a:pos x="connsiteX27483" y="connsiteY27483"/>
              </a:cxn>
              <a:cxn ang="0">
                <a:pos x="connsiteX27484" y="connsiteY27484"/>
              </a:cxn>
              <a:cxn ang="0">
                <a:pos x="connsiteX27485" y="connsiteY27485"/>
              </a:cxn>
              <a:cxn ang="0">
                <a:pos x="connsiteX27486" y="connsiteY27486"/>
              </a:cxn>
              <a:cxn ang="0">
                <a:pos x="connsiteX27487" y="connsiteY27487"/>
              </a:cxn>
              <a:cxn ang="0">
                <a:pos x="connsiteX27488" y="connsiteY27488"/>
              </a:cxn>
              <a:cxn ang="0">
                <a:pos x="connsiteX27489" y="connsiteY27489"/>
              </a:cxn>
              <a:cxn ang="0">
                <a:pos x="connsiteX27490" y="connsiteY27490"/>
              </a:cxn>
              <a:cxn ang="0">
                <a:pos x="connsiteX27491" y="connsiteY27491"/>
              </a:cxn>
              <a:cxn ang="0">
                <a:pos x="connsiteX27492" y="connsiteY27492"/>
              </a:cxn>
              <a:cxn ang="0">
                <a:pos x="connsiteX27493" y="connsiteY27493"/>
              </a:cxn>
              <a:cxn ang="0">
                <a:pos x="connsiteX27494" y="connsiteY27494"/>
              </a:cxn>
              <a:cxn ang="0">
                <a:pos x="connsiteX27495" y="connsiteY27495"/>
              </a:cxn>
              <a:cxn ang="0">
                <a:pos x="connsiteX27496" y="connsiteY27496"/>
              </a:cxn>
              <a:cxn ang="0">
                <a:pos x="connsiteX27497" y="connsiteY27497"/>
              </a:cxn>
              <a:cxn ang="0">
                <a:pos x="connsiteX27498" y="connsiteY27498"/>
              </a:cxn>
              <a:cxn ang="0">
                <a:pos x="connsiteX27499" y="connsiteY27499"/>
              </a:cxn>
              <a:cxn ang="0">
                <a:pos x="connsiteX27500" y="connsiteY27500"/>
              </a:cxn>
              <a:cxn ang="0">
                <a:pos x="connsiteX27501" y="connsiteY27501"/>
              </a:cxn>
              <a:cxn ang="0">
                <a:pos x="connsiteX27502" y="connsiteY27502"/>
              </a:cxn>
              <a:cxn ang="0">
                <a:pos x="connsiteX27503" y="connsiteY27503"/>
              </a:cxn>
              <a:cxn ang="0">
                <a:pos x="connsiteX27504" y="connsiteY27504"/>
              </a:cxn>
              <a:cxn ang="0">
                <a:pos x="connsiteX27505" y="connsiteY27505"/>
              </a:cxn>
              <a:cxn ang="0">
                <a:pos x="connsiteX27506" y="connsiteY27506"/>
              </a:cxn>
              <a:cxn ang="0">
                <a:pos x="connsiteX27507" y="connsiteY27507"/>
              </a:cxn>
              <a:cxn ang="0">
                <a:pos x="connsiteX27508" y="connsiteY27508"/>
              </a:cxn>
              <a:cxn ang="0">
                <a:pos x="connsiteX27509" y="connsiteY27509"/>
              </a:cxn>
              <a:cxn ang="0">
                <a:pos x="connsiteX27510" y="connsiteY27510"/>
              </a:cxn>
              <a:cxn ang="0">
                <a:pos x="connsiteX27511" y="connsiteY27511"/>
              </a:cxn>
              <a:cxn ang="0">
                <a:pos x="connsiteX27512" y="connsiteY27512"/>
              </a:cxn>
              <a:cxn ang="0">
                <a:pos x="connsiteX27513" y="connsiteY27513"/>
              </a:cxn>
              <a:cxn ang="0">
                <a:pos x="connsiteX27514" y="connsiteY27514"/>
              </a:cxn>
              <a:cxn ang="0">
                <a:pos x="connsiteX27515" y="connsiteY27515"/>
              </a:cxn>
              <a:cxn ang="0">
                <a:pos x="connsiteX27516" y="connsiteY27516"/>
              </a:cxn>
              <a:cxn ang="0">
                <a:pos x="connsiteX27517" y="connsiteY27517"/>
              </a:cxn>
              <a:cxn ang="0">
                <a:pos x="connsiteX27518" y="connsiteY27518"/>
              </a:cxn>
              <a:cxn ang="0">
                <a:pos x="connsiteX27519" y="connsiteY27519"/>
              </a:cxn>
              <a:cxn ang="0">
                <a:pos x="connsiteX27520" y="connsiteY27520"/>
              </a:cxn>
              <a:cxn ang="0">
                <a:pos x="connsiteX27521" y="connsiteY27521"/>
              </a:cxn>
              <a:cxn ang="0">
                <a:pos x="connsiteX27522" y="connsiteY27522"/>
              </a:cxn>
              <a:cxn ang="0">
                <a:pos x="connsiteX27523" y="connsiteY27523"/>
              </a:cxn>
              <a:cxn ang="0">
                <a:pos x="connsiteX27524" y="connsiteY27524"/>
              </a:cxn>
              <a:cxn ang="0">
                <a:pos x="connsiteX27525" y="connsiteY27525"/>
              </a:cxn>
              <a:cxn ang="0">
                <a:pos x="connsiteX27526" y="connsiteY27526"/>
              </a:cxn>
              <a:cxn ang="0">
                <a:pos x="connsiteX27527" y="connsiteY27527"/>
              </a:cxn>
              <a:cxn ang="0">
                <a:pos x="connsiteX27528" y="connsiteY27528"/>
              </a:cxn>
              <a:cxn ang="0">
                <a:pos x="connsiteX27529" y="connsiteY27529"/>
              </a:cxn>
              <a:cxn ang="0">
                <a:pos x="connsiteX27530" y="connsiteY27530"/>
              </a:cxn>
              <a:cxn ang="0">
                <a:pos x="connsiteX27531" y="connsiteY27531"/>
              </a:cxn>
              <a:cxn ang="0">
                <a:pos x="connsiteX27532" y="connsiteY27532"/>
              </a:cxn>
              <a:cxn ang="0">
                <a:pos x="connsiteX27533" y="connsiteY27533"/>
              </a:cxn>
              <a:cxn ang="0">
                <a:pos x="connsiteX27534" y="connsiteY27534"/>
              </a:cxn>
              <a:cxn ang="0">
                <a:pos x="connsiteX27535" y="connsiteY27535"/>
              </a:cxn>
              <a:cxn ang="0">
                <a:pos x="connsiteX27536" y="connsiteY27536"/>
              </a:cxn>
              <a:cxn ang="0">
                <a:pos x="connsiteX27537" y="connsiteY27537"/>
              </a:cxn>
              <a:cxn ang="0">
                <a:pos x="connsiteX27538" y="connsiteY27538"/>
              </a:cxn>
              <a:cxn ang="0">
                <a:pos x="connsiteX27539" y="connsiteY27539"/>
              </a:cxn>
              <a:cxn ang="0">
                <a:pos x="connsiteX27540" y="connsiteY27540"/>
              </a:cxn>
              <a:cxn ang="0">
                <a:pos x="connsiteX27541" y="connsiteY27541"/>
              </a:cxn>
              <a:cxn ang="0">
                <a:pos x="connsiteX27542" y="connsiteY27542"/>
              </a:cxn>
              <a:cxn ang="0">
                <a:pos x="connsiteX27543" y="connsiteY27543"/>
              </a:cxn>
              <a:cxn ang="0">
                <a:pos x="connsiteX27544" y="connsiteY27544"/>
              </a:cxn>
              <a:cxn ang="0">
                <a:pos x="connsiteX27545" y="connsiteY27545"/>
              </a:cxn>
              <a:cxn ang="0">
                <a:pos x="connsiteX27546" y="connsiteY27546"/>
              </a:cxn>
              <a:cxn ang="0">
                <a:pos x="connsiteX27547" y="connsiteY27547"/>
              </a:cxn>
              <a:cxn ang="0">
                <a:pos x="connsiteX27548" y="connsiteY27548"/>
              </a:cxn>
              <a:cxn ang="0">
                <a:pos x="connsiteX27549" y="connsiteY27549"/>
              </a:cxn>
              <a:cxn ang="0">
                <a:pos x="connsiteX27550" y="connsiteY27550"/>
              </a:cxn>
              <a:cxn ang="0">
                <a:pos x="connsiteX27551" y="connsiteY27551"/>
              </a:cxn>
              <a:cxn ang="0">
                <a:pos x="connsiteX27552" y="connsiteY27552"/>
              </a:cxn>
              <a:cxn ang="0">
                <a:pos x="connsiteX27553" y="connsiteY27553"/>
              </a:cxn>
              <a:cxn ang="0">
                <a:pos x="connsiteX27554" y="connsiteY27554"/>
              </a:cxn>
              <a:cxn ang="0">
                <a:pos x="connsiteX27555" y="connsiteY27555"/>
              </a:cxn>
              <a:cxn ang="0">
                <a:pos x="connsiteX27556" y="connsiteY27556"/>
              </a:cxn>
              <a:cxn ang="0">
                <a:pos x="connsiteX27557" y="connsiteY27557"/>
              </a:cxn>
              <a:cxn ang="0">
                <a:pos x="connsiteX27558" y="connsiteY27558"/>
              </a:cxn>
              <a:cxn ang="0">
                <a:pos x="connsiteX27559" y="connsiteY27559"/>
              </a:cxn>
              <a:cxn ang="0">
                <a:pos x="connsiteX27560" y="connsiteY27560"/>
              </a:cxn>
              <a:cxn ang="0">
                <a:pos x="connsiteX27561" y="connsiteY27561"/>
              </a:cxn>
              <a:cxn ang="0">
                <a:pos x="connsiteX27562" y="connsiteY27562"/>
              </a:cxn>
              <a:cxn ang="0">
                <a:pos x="connsiteX27563" y="connsiteY27563"/>
              </a:cxn>
              <a:cxn ang="0">
                <a:pos x="connsiteX27564" y="connsiteY27564"/>
              </a:cxn>
              <a:cxn ang="0">
                <a:pos x="connsiteX27565" y="connsiteY27565"/>
              </a:cxn>
              <a:cxn ang="0">
                <a:pos x="connsiteX27566" y="connsiteY27566"/>
              </a:cxn>
              <a:cxn ang="0">
                <a:pos x="connsiteX27567" y="connsiteY27567"/>
              </a:cxn>
              <a:cxn ang="0">
                <a:pos x="connsiteX27568" y="connsiteY27568"/>
              </a:cxn>
              <a:cxn ang="0">
                <a:pos x="connsiteX27569" y="connsiteY27569"/>
              </a:cxn>
              <a:cxn ang="0">
                <a:pos x="connsiteX27570" y="connsiteY27570"/>
              </a:cxn>
              <a:cxn ang="0">
                <a:pos x="connsiteX27571" y="connsiteY27571"/>
              </a:cxn>
              <a:cxn ang="0">
                <a:pos x="connsiteX27572" y="connsiteY27572"/>
              </a:cxn>
              <a:cxn ang="0">
                <a:pos x="connsiteX27573" y="connsiteY27573"/>
              </a:cxn>
              <a:cxn ang="0">
                <a:pos x="connsiteX27574" y="connsiteY27574"/>
              </a:cxn>
              <a:cxn ang="0">
                <a:pos x="connsiteX27575" y="connsiteY27575"/>
              </a:cxn>
              <a:cxn ang="0">
                <a:pos x="connsiteX27576" y="connsiteY27576"/>
              </a:cxn>
              <a:cxn ang="0">
                <a:pos x="connsiteX27577" y="connsiteY27577"/>
              </a:cxn>
              <a:cxn ang="0">
                <a:pos x="connsiteX27578" y="connsiteY27578"/>
              </a:cxn>
              <a:cxn ang="0">
                <a:pos x="connsiteX27579" y="connsiteY27579"/>
              </a:cxn>
              <a:cxn ang="0">
                <a:pos x="connsiteX27580" y="connsiteY27580"/>
              </a:cxn>
              <a:cxn ang="0">
                <a:pos x="connsiteX27581" y="connsiteY27581"/>
              </a:cxn>
              <a:cxn ang="0">
                <a:pos x="connsiteX27582" y="connsiteY27582"/>
              </a:cxn>
              <a:cxn ang="0">
                <a:pos x="connsiteX27583" y="connsiteY27583"/>
              </a:cxn>
              <a:cxn ang="0">
                <a:pos x="connsiteX27584" y="connsiteY27584"/>
              </a:cxn>
              <a:cxn ang="0">
                <a:pos x="connsiteX27585" y="connsiteY27585"/>
              </a:cxn>
              <a:cxn ang="0">
                <a:pos x="connsiteX27586" y="connsiteY27586"/>
              </a:cxn>
              <a:cxn ang="0">
                <a:pos x="connsiteX27587" y="connsiteY27587"/>
              </a:cxn>
              <a:cxn ang="0">
                <a:pos x="connsiteX27588" y="connsiteY27588"/>
              </a:cxn>
              <a:cxn ang="0">
                <a:pos x="connsiteX27589" y="connsiteY27589"/>
              </a:cxn>
              <a:cxn ang="0">
                <a:pos x="connsiteX27590" y="connsiteY27590"/>
              </a:cxn>
              <a:cxn ang="0">
                <a:pos x="connsiteX27591" y="connsiteY27591"/>
              </a:cxn>
              <a:cxn ang="0">
                <a:pos x="connsiteX27592" y="connsiteY27592"/>
              </a:cxn>
              <a:cxn ang="0">
                <a:pos x="connsiteX27593" y="connsiteY27593"/>
              </a:cxn>
              <a:cxn ang="0">
                <a:pos x="connsiteX27594" y="connsiteY27594"/>
              </a:cxn>
              <a:cxn ang="0">
                <a:pos x="connsiteX27595" y="connsiteY27595"/>
              </a:cxn>
              <a:cxn ang="0">
                <a:pos x="connsiteX27596" y="connsiteY27596"/>
              </a:cxn>
              <a:cxn ang="0">
                <a:pos x="connsiteX27597" y="connsiteY27597"/>
              </a:cxn>
              <a:cxn ang="0">
                <a:pos x="connsiteX27598" y="connsiteY27598"/>
              </a:cxn>
              <a:cxn ang="0">
                <a:pos x="connsiteX27599" y="connsiteY27599"/>
              </a:cxn>
              <a:cxn ang="0">
                <a:pos x="connsiteX27600" y="connsiteY27600"/>
              </a:cxn>
              <a:cxn ang="0">
                <a:pos x="connsiteX27601" y="connsiteY27601"/>
              </a:cxn>
              <a:cxn ang="0">
                <a:pos x="connsiteX27602" y="connsiteY27602"/>
              </a:cxn>
              <a:cxn ang="0">
                <a:pos x="connsiteX27603" y="connsiteY27603"/>
              </a:cxn>
              <a:cxn ang="0">
                <a:pos x="connsiteX27604" y="connsiteY27604"/>
              </a:cxn>
              <a:cxn ang="0">
                <a:pos x="connsiteX27605" y="connsiteY27605"/>
              </a:cxn>
              <a:cxn ang="0">
                <a:pos x="connsiteX27606" y="connsiteY27606"/>
              </a:cxn>
              <a:cxn ang="0">
                <a:pos x="connsiteX27607" y="connsiteY27607"/>
              </a:cxn>
              <a:cxn ang="0">
                <a:pos x="connsiteX27608" y="connsiteY27608"/>
              </a:cxn>
              <a:cxn ang="0">
                <a:pos x="connsiteX27609" y="connsiteY27609"/>
              </a:cxn>
              <a:cxn ang="0">
                <a:pos x="connsiteX27610" y="connsiteY27610"/>
              </a:cxn>
              <a:cxn ang="0">
                <a:pos x="connsiteX27611" y="connsiteY27611"/>
              </a:cxn>
              <a:cxn ang="0">
                <a:pos x="connsiteX27612" y="connsiteY27612"/>
              </a:cxn>
              <a:cxn ang="0">
                <a:pos x="connsiteX27613" y="connsiteY27613"/>
              </a:cxn>
              <a:cxn ang="0">
                <a:pos x="connsiteX27614" y="connsiteY27614"/>
              </a:cxn>
              <a:cxn ang="0">
                <a:pos x="connsiteX27615" y="connsiteY27615"/>
              </a:cxn>
              <a:cxn ang="0">
                <a:pos x="connsiteX27616" y="connsiteY27616"/>
              </a:cxn>
              <a:cxn ang="0">
                <a:pos x="connsiteX27617" y="connsiteY27617"/>
              </a:cxn>
              <a:cxn ang="0">
                <a:pos x="connsiteX27618" y="connsiteY27618"/>
              </a:cxn>
              <a:cxn ang="0">
                <a:pos x="connsiteX27619" y="connsiteY27619"/>
              </a:cxn>
              <a:cxn ang="0">
                <a:pos x="connsiteX27620" y="connsiteY27620"/>
              </a:cxn>
              <a:cxn ang="0">
                <a:pos x="connsiteX27621" y="connsiteY27621"/>
              </a:cxn>
              <a:cxn ang="0">
                <a:pos x="connsiteX27622" y="connsiteY27622"/>
              </a:cxn>
              <a:cxn ang="0">
                <a:pos x="connsiteX27623" y="connsiteY27623"/>
              </a:cxn>
              <a:cxn ang="0">
                <a:pos x="connsiteX27624" y="connsiteY27624"/>
              </a:cxn>
              <a:cxn ang="0">
                <a:pos x="connsiteX27625" y="connsiteY27625"/>
              </a:cxn>
              <a:cxn ang="0">
                <a:pos x="connsiteX27626" y="connsiteY27626"/>
              </a:cxn>
              <a:cxn ang="0">
                <a:pos x="connsiteX27627" y="connsiteY27627"/>
              </a:cxn>
              <a:cxn ang="0">
                <a:pos x="connsiteX27628" y="connsiteY27628"/>
              </a:cxn>
              <a:cxn ang="0">
                <a:pos x="connsiteX27629" y="connsiteY27629"/>
              </a:cxn>
              <a:cxn ang="0">
                <a:pos x="connsiteX27630" y="connsiteY27630"/>
              </a:cxn>
              <a:cxn ang="0">
                <a:pos x="connsiteX27631" y="connsiteY27631"/>
              </a:cxn>
              <a:cxn ang="0">
                <a:pos x="connsiteX27632" y="connsiteY27632"/>
              </a:cxn>
              <a:cxn ang="0">
                <a:pos x="connsiteX27633" y="connsiteY27633"/>
              </a:cxn>
              <a:cxn ang="0">
                <a:pos x="connsiteX27634" y="connsiteY27634"/>
              </a:cxn>
              <a:cxn ang="0">
                <a:pos x="connsiteX27635" y="connsiteY27635"/>
              </a:cxn>
              <a:cxn ang="0">
                <a:pos x="connsiteX27636" y="connsiteY27636"/>
              </a:cxn>
              <a:cxn ang="0">
                <a:pos x="connsiteX27637" y="connsiteY27637"/>
              </a:cxn>
              <a:cxn ang="0">
                <a:pos x="connsiteX27638" y="connsiteY27638"/>
              </a:cxn>
              <a:cxn ang="0">
                <a:pos x="connsiteX27639" y="connsiteY27639"/>
              </a:cxn>
              <a:cxn ang="0">
                <a:pos x="connsiteX27640" y="connsiteY27640"/>
              </a:cxn>
              <a:cxn ang="0">
                <a:pos x="connsiteX27641" y="connsiteY27641"/>
              </a:cxn>
              <a:cxn ang="0">
                <a:pos x="connsiteX27642" y="connsiteY27642"/>
              </a:cxn>
              <a:cxn ang="0">
                <a:pos x="connsiteX27643" y="connsiteY27643"/>
              </a:cxn>
              <a:cxn ang="0">
                <a:pos x="connsiteX27644" y="connsiteY27644"/>
              </a:cxn>
              <a:cxn ang="0">
                <a:pos x="connsiteX27645" y="connsiteY27645"/>
              </a:cxn>
              <a:cxn ang="0">
                <a:pos x="connsiteX27646" y="connsiteY27646"/>
              </a:cxn>
              <a:cxn ang="0">
                <a:pos x="connsiteX27647" y="connsiteY27647"/>
              </a:cxn>
              <a:cxn ang="0">
                <a:pos x="connsiteX27648" y="connsiteY27648"/>
              </a:cxn>
              <a:cxn ang="0">
                <a:pos x="connsiteX27649" y="connsiteY27649"/>
              </a:cxn>
              <a:cxn ang="0">
                <a:pos x="connsiteX27650" y="connsiteY27650"/>
              </a:cxn>
              <a:cxn ang="0">
                <a:pos x="connsiteX27651" y="connsiteY27651"/>
              </a:cxn>
              <a:cxn ang="0">
                <a:pos x="connsiteX27652" y="connsiteY27652"/>
              </a:cxn>
              <a:cxn ang="0">
                <a:pos x="connsiteX27653" y="connsiteY27653"/>
              </a:cxn>
              <a:cxn ang="0">
                <a:pos x="connsiteX27654" y="connsiteY27654"/>
              </a:cxn>
              <a:cxn ang="0">
                <a:pos x="connsiteX27655" y="connsiteY27655"/>
              </a:cxn>
              <a:cxn ang="0">
                <a:pos x="connsiteX27656" y="connsiteY27656"/>
              </a:cxn>
              <a:cxn ang="0">
                <a:pos x="connsiteX27657" y="connsiteY27657"/>
              </a:cxn>
              <a:cxn ang="0">
                <a:pos x="connsiteX27658" y="connsiteY27658"/>
              </a:cxn>
              <a:cxn ang="0">
                <a:pos x="connsiteX27659" y="connsiteY27659"/>
              </a:cxn>
              <a:cxn ang="0">
                <a:pos x="connsiteX27660" y="connsiteY27660"/>
              </a:cxn>
              <a:cxn ang="0">
                <a:pos x="connsiteX27661" y="connsiteY27661"/>
              </a:cxn>
              <a:cxn ang="0">
                <a:pos x="connsiteX27662" y="connsiteY27662"/>
              </a:cxn>
              <a:cxn ang="0">
                <a:pos x="connsiteX27663" y="connsiteY27663"/>
              </a:cxn>
              <a:cxn ang="0">
                <a:pos x="connsiteX27664" y="connsiteY27664"/>
              </a:cxn>
              <a:cxn ang="0">
                <a:pos x="connsiteX27665" y="connsiteY27665"/>
              </a:cxn>
              <a:cxn ang="0">
                <a:pos x="connsiteX27666" y="connsiteY27666"/>
              </a:cxn>
              <a:cxn ang="0">
                <a:pos x="connsiteX27667" y="connsiteY27667"/>
              </a:cxn>
              <a:cxn ang="0">
                <a:pos x="connsiteX27668" y="connsiteY27668"/>
              </a:cxn>
              <a:cxn ang="0">
                <a:pos x="connsiteX27669" y="connsiteY27669"/>
              </a:cxn>
              <a:cxn ang="0">
                <a:pos x="connsiteX27670" y="connsiteY27670"/>
              </a:cxn>
              <a:cxn ang="0">
                <a:pos x="connsiteX27671" y="connsiteY27671"/>
              </a:cxn>
              <a:cxn ang="0">
                <a:pos x="connsiteX27672" y="connsiteY27672"/>
              </a:cxn>
              <a:cxn ang="0">
                <a:pos x="connsiteX27673" y="connsiteY27673"/>
              </a:cxn>
              <a:cxn ang="0">
                <a:pos x="connsiteX27674" y="connsiteY27674"/>
              </a:cxn>
              <a:cxn ang="0">
                <a:pos x="connsiteX27675" y="connsiteY27675"/>
              </a:cxn>
              <a:cxn ang="0">
                <a:pos x="connsiteX27676" y="connsiteY27676"/>
              </a:cxn>
              <a:cxn ang="0">
                <a:pos x="connsiteX27677" y="connsiteY27677"/>
              </a:cxn>
              <a:cxn ang="0">
                <a:pos x="connsiteX27678" y="connsiteY27678"/>
              </a:cxn>
              <a:cxn ang="0">
                <a:pos x="connsiteX27679" y="connsiteY27679"/>
              </a:cxn>
              <a:cxn ang="0">
                <a:pos x="connsiteX27680" y="connsiteY27680"/>
              </a:cxn>
              <a:cxn ang="0">
                <a:pos x="connsiteX27681" y="connsiteY27681"/>
              </a:cxn>
              <a:cxn ang="0">
                <a:pos x="connsiteX27682" y="connsiteY27682"/>
              </a:cxn>
              <a:cxn ang="0">
                <a:pos x="connsiteX27683" y="connsiteY27683"/>
              </a:cxn>
              <a:cxn ang="0">
                <a:pos x="connsiteX27684" y="connsiteY27684"/>
              </a:cxn>
              <a:cxn ang="0">
                <a:pos x="connsiteX27685" y="connsiteY27685"/>
              </a:cxn>
              <a:cxn ang="0">
                <a:pos x="connsiteX27686" y="connsiteY27686"/>
              </a:cxn>
              <a:cxn ang="0">
                <a:pos x="connsiteX27687" y="connsiteY27687"/>
              </a:cxn>
              <a:cxn ang="0">
                <a:pos x="connsiteX27688" y="connsiteY27688"/>
              </a:cxn>
              <a:cxn ang="0">
                <a:pos x="connsiteX27689" y="connsiteY27689"/>
              </a:cxn>
              <a:cxn ang="0">
                <a:pos x="connsiteX27690" y="connsiteY27690"/>
              </a:cxn>
              <a:cxn ang="0">
                <a:pos x="connsiteX27691" y="connsiteY27691"/>
              </a:cxn>
              <a:cxn ang="0">
                <a:pos x="connsiteX27692" y="connsiteY27692"/>
              </a:cxn>
              <a:cxn ang="0">
                <a:pos x="connsiteX27693" y="connsiteY27693"/>
              </a:cxn>
              <a:cxn ang="0">
                <a:pos x="connsiteX27694" y="connsiteY27694"/>
              </a:cxn>
              <a:cxn ang="0">
                <a:pos x="connsiteX27695" y="connsiteY27695"/>
              </a:cxn>
              <a:cxn ang="0">
                <a:pos x="connsiteX27696" y="connsiteY27696"/>
              </a:cxn>
              <a:cxn ang="0">
                <a:pos x="connsiteX27697" y="connsiteY27697"/>
              </a:cxn>
              <a:cxn ang="0">
                <a:pos x="connsiteX27698" y="connsiteY27698"/>
              </a:cxn>
              <a:cxn ang="0">
                <a:pos x="connsiteX27699" y="connsiteY27699"/>
              </a:cxn>
              <a:cxn ang="0">
                <a:pos x="connsiteX27700" y="connsiteY27700"/>
              </a:cxn>
              <a:cxn ang="0">
                <a:pos x="connsiteX27701" y="connsiteY27701"/>
              </a:cxn>
              <a:cxn ang="0">
                <a:pos x="connsiteX27702" y="connsiteY27702"/>
              </a:cxn>
              <a:cxn ang="0">
                <a:pos x="connsiteX27703" y="connsiteY27703"/>
              </a:cxn>
              <a:cxn ang="0">
                <a:pos x="connsiteX27704" y="connsiteY27704"/>
              </a:cxn>
              <a:cxn ang="0">
                <a:pos x="connsiteX27705" y="connsiteY27705"/>
              </a:cxn>
              <a:cxn ang="0">
                <a:pos x="connsiteX27706" y="connsiteY27706"/>
              </a:cxn>
              <a:cxn ang="0">
                <a:pos x="connsiteX27707" y="connsiteY27707"/>
              </a:cxn>
              <a:cxn ang="0">
                <a:pos x="connsiteX27708" y="connsiteY27708"/>
              </a:cxn>
              <a:cxn ang="0">
                <a:pos x="connsiteX27709" y="connsiteY27709"/>
              </a:cxn>
              <a:cxn ang="0">
                <a:pos x="connsiteX27710" y="connsiteY27710"/>
              </a:cxn>
              <a:cxn ang="0">
                <a:pos x="connsiteX27711" y="connsiteY27711"/>
              </a:cxn>
              <a:cxn ang="0">
                <a:pos x="connsiteX27712" y="connsiteY27712"/>
              </a:cxn>
              <a:cxn ang="0">
                <a:pos x="connsiteX27713" y="connsiteY27713"/>
              </a:cxn>
              <a:cxn ang="0">
                <a:pos x="connsiteX27714" y="connsiteY27714"/>
              </a:cxn>
              <a:cxn ang="0">
                <a:pos x="connsiteX27715" y="connsiteY27715"/>
              </a:cxn>
              <a:cxn ang="0">
                <a:pos x="connsiteX27716" y="connsiteY27716"/>
              </a:cxn>
              <a:cxn ang="0">
                <a:pos x="connsiteX27717" y="connsiteY27717"/>
              </a:cxn>
              <a:cxn ang="0">
                <a:pos x="connsiteX27718" y="connsiteY27718"/>
              </a:cxn>
              <a:cxn ang="0">
                <a:pos x="connsiteX27719" y="connsiteY27719"/>
              </a:cxn>
              <a:cxn ang="0">
                <a:pos x="connsiteX27720" y="connsiteY27720"/>
              </a:cxn>
              <a:cxn ang="0">
                <a:pos x="connsiteX27721" y="connsiteY27721"/>
              </a:cxn>
              <a:cxn ang="0">
                <a:pos x="connsiteX27722" y="connsiteY27722"/>
              </a:cxn>
              <a:cxn ang="0">
                <a:pos x="connsiteX27723" y="connsiteY27723"/>
              </a:cxn>
              <a:cxn ang="0">
                <a:pos x="connsiteX27724" y="connsiteY27724"/>
              </a:cxn>
              <a:cxn ang="0">
                <a:pos x="connsiteX27725" y="connsiteY27725"/>
              </a:cxn>
              <a:cxn ang="0">
                <a:pos x="connsiteX27726" y="connsiteY27726"/>
              </a:cxn>
              <a:cxn ang="0">
                <a:pos x="connsiteX27727" y="connsiteY27727"/>
              </a:cxn>
              <a:cxn ang="0">
                <a:pos x="connsiteX27728" y="connsiteY27728"/>
              </a:cxn>
              <a:cxn ang="0">
                <a:pos x="connsiteX27729" y="connsiteY27729"/>
              </a:cxn>
              <a:cxn ang="0">
                <a:pos x="connsiteX27730" y="connsiteY27730"/>
              </a:cxn>
              <a:cxn ang="0">
                <a:pos x="connsiteX27731" y="connsiteY27731"/>
              </a:cxn>
              <a:cxn ang="0">
                <a:pos x="connsiteX27732" y="connsiteY27732"/>
              </a:cxn>
              <a:cxn ang="0">
                <a:pos x="connsiteX27733" y="connsiteY27733"/>
              </a:cxn>
              <a:cxn ang="0">
                <a:pos x="connsiteX27734" y="connsiteY27734"/>
              </a:cxn>
              <a:cxn ang="0">
                <a:pos x="connsiteX27735" y="connsiteY27735"/>
              </a:cxn>
              <a:cxn ang="0">
                <a:pos x="connsiteX27736" y="connsiteY27736"/>
              </a:cxn>
              <a:cxn ang="0">
                <a:pos x="connsiteX27737" y="connsiteY27737"/>
              </a:cxn>
              <a:cxn ang="0">
                <a:pos x="connsiteX27738" y="connsiteY27738"/>
              </a:cxn>
              <a:cxn ang="0">
                <a:pos x="connsiteX27739" y="connsiteY27739"/>
              </a:cxn>
              <a:cxn ang="0">
                <a:pos x="connsiteX27740" y="connsiteY27740"/>
              </a:cxn>
              <a:cxn ang="0">
                <a:pos x="connsiteX27741" y="connsiteY27741"/>
              </a:cxn>
              <a:cxn ang="0">
                <a:pos x="connsiteX27742" y="connsiteY27742"/>
              </a:cxn>
              <a:cxn ang="0">
                <a:pos x="connsiteX27743" y="connsiteY27743"/>
              </a:cxn>
              <a:cxn ang="0">
                <a:pos x="connsiteX27744" y="connsiteY27744"/>
              </a:cxn>
              <a:cxn ang="0">
                <a:pos x="connsiteX27745" y="connsiteY27745"/>
              </a:cxn>
              <a:cxn ang="0">
                <a:pos x="connsiteX27746" y="connsiteY27746"/>
              </a:cxn>
              <a:cxn ang="0">
                <a:pos x="connsiteX27747" y="connsiteY27747"/>
              </a:cxn>
              <a:cxn ang="0">
                <a:pos x="connsiteX27748" y="connsiteY27748"/>
              </a:cxn>
              <a:cxn ang="0">
                <a:pos x="connsiteX27749" y="connsiteY27749"/>
              </a:cxn>
              <a:cxn ang="0">
                <a:pos x="connsiteX27750" y="connsiteY27750"/>
              </a:cxn>
              <a:cxn ang="0">
                <a:pos x="connsiteX27751" y="connsiteY27751"/>
              </a:cxn>
              <a:cxn ang="0">
                <a:pos x="connsiteX27752" y="connsiteY27752"/>
              </a:cxn>
              <a:cxn ang="0">
                <a:pos x="connsiteX27753" y="connsiteY27753"/>
              </a:cxn>
              <a:cxn ang="0">
                <a:pos x="connsiteX27754" y="connsiteY27754"/>
              </a:cxn>
              <a:cxn ang="0">
                <a:pos x="connsiteX27755" y="connsiteY27755"/>
              </a:cxn>
              <a:cxn ang="0">
                <a:pos x="connsiteX27756" y="connsiteY27756"/>
              </a:cxn>
              <a:cxn ang="0">
                <a:pos x="connsiteX27757" y="connsiteY27757"/>
              </a:cxn>
              <a:cxn ang="0">
                <a:pos x="connsiteX27758" y="connsiteY27758"/>
              </a:cxn>
              <a:cxn ang="0">
                <a:pos x="connsiteX27759" y="connsiteY27759"/>
              </a:cxn>
              <a:cxn ang="0">
                <a:pos x="connsiteX27760" y="connsiteY27760"/>
              </a:cxn>
              <a:cxn ang="0">
                <a:pos x="connsiteX27761" y="connsiteY27761"/>
              </a:cxn>
              <a:cxn ang="0">
                <a:pos x="connsiteX27762" y="connsiteY27762"/>
              </a:cxn>
              <a:cxn ang="0">
                <a:pos x="connsiteX27763" y="connsiteY27763"/>
              </a:cxn>
              <a:cxn ang="0">
                <a:pos x="connsiteX27764" y="connsiteY27764"/>
              </a:cxn>
              <a:cxn ang="0">
                <a:pos x="connsiteX27765" y="connsiteY27765"/>
              </a:cxn>
              <a:cxn ang="0">
                <a:pos x="connsiteX27766" y="connsiteY27766"/>
              </a:cxn>
              <a:cxn ang="0">
                <a:pos x="connsiteX27767" y="connsiteY27767"/>
              </a:cxn>
              <a:cxn ang="0">
                <a:pos x="connsiteX27768" y="connsiteY27768"/>
              </a:cxn>
              <a:cxn ang="0">
                <a:pos x="connsiteX27769" y="connsiteY27769"/>
              </a:cxn>
              <a:cxn ang="0">
                <a:pos x="connsiteX27770" y="connsiteY27770"/>
              </a:cxn>
              <a:cxn ang="0">
                <a:pos x="connsiteX27771" y="connsiteY27771"/>
              </a:cxn>
              <a:cxn ang="0">
                <a:pos x="connsiteX27772" y="connsiteY27772"/>
              </a:cxn>
              <a:cxn ang="0">
                <a:pos x="connsiteX27773" y="connsiteY27773"/>
              </a:cxn>
              <a:cxn ang="0">
                <a:pos x="connsiteX27774" y="connsiteY27774"/>
              </a:cxn>
              <a:cxn ang="0">
                <a:pos x="connsiteX27775" y="connsiteY27775"/>
              </a:cxn>
              <a:cxn ang="0">
                <a:pos x="connsiteX27776" y="connsiteY27776"/>
              </a:cxn>
              <a:cxn ang="0">
                <a:pos x="connsiteX27777" y="connsiteY27777"/>
              </a:cxn>
              <a:cxn ang="0">
                <a:pos x="connsiteX27778" y="connsiteY27778"/>
              </a:cxn>
              <a:cxn ang="0">
                <a:pos x="connsiteX27779" y="connsiteY27779"/>
              </a:cxn>
              <a:cxn ang="0">
                <a:pos x="connsiteX27780" y="connsiteY27780"/>
              </a:cxn>
              <a:cxn ang="0">
                <a:pos x="connsiteX27781" y="connsiteY27781"/>
              </a:cxn>
              <a:cxn ang="0">
                <a:pos x="connsiteX27782" y="connsiteY27782"/>
              </a:cxn>
              <a:cxn ang="0">
                <a:pos x="connsiteX27783" y="connsiteY27783"/>
              </a:cxn>
              <a:cxn ang="0">
                <a:pos x="connsiteX27784" y="connsiteY27784"/>
              </a:cxn>
              <a:cxn ang="0">
                <a:pos x="connsiteX27785" y="connsiteY27785"/>
              </a:cxn>
              <a:cxn ang="0">
                <a:pos x="connsiteX27786" y="connsiteY27786"/>
              </a:cxn>
              <a:cxn ang="0">
                <a:pos x="connsiteX27787" y="connsiteY27787"/>
              </a:cxn>
              <a:cxn ang="0">
                <a:pos x="connsiteX27788" y="connsiteY27788"/>
              </a:cxn>
              <a:cxn ang="0">
                <a:pos x="connsiteX27789" y="connsiteY27789"/>
              </a:cxn>
              <a:cxn ang="0">
                <a:pos x="connsiteX27790" y="connsiteY27790"/>
              </a:cxn>
              <a:cxn ang="0">
                <a:pos x="connsiteX27791" y="connsiteY27791"/>
              </a:cxn>
              <a:cxn ang="0">
                <a:pos x="connsiteX27792" y="connsiteY27792"/>
              </a:cxn>
              <a:cxn ang="0">
                <a:pos x="connsiteX27793" y="connsiteY27793"/>
              </a:cxn>
              <a:cxn ang="0">
                <a:pos x="connsiteX27794" y="connsiteY27794"/>
              </a:cxn>
              <a:cxn ang="0">
                <a:pos x="connsiteX27795" y="connsiteY27795"/>
              </a:cxn>
              <a:cxn ang="0">
                <a:pos x="connsiteX27796" y="connsiteY27796"/>
              </a:cxn>
              <a:cxn ang="0">
                <a:pos x="connsiteX27797" y="connsiteY27797"/>
              </a:cxn>
              <a:cxn ang="0">
                <a:pos x="connsiteX27798" y="connsiteY27798"/>
              </a:cxn>
              <a:cxn ang="0">
                <a:pos x="connsiteX27799" y="connsiteY27799"/>
              </a:cxn>
              <a:cxn ang="0">
                <a:pos x="connsiteX27800" y="connsiteY27800"/>
              </a:cxn>
              <a:cxn ang="0">
                <a:pos x="connsiteX27801" y="connsiteY27801"/>
              </a:cxn>
              <a:cxn ang="0">
                <a:pos x="connsiteX27802" y="connsiteY27802"/>
              </a:cxn>
              <a:cxn ang="0">
                <a:pos x="connsiteX27803" y="connsiteY27803"/>
              </a:cxn>
              <a:cxn ang="0">
                <a:pos x="connsiteX27804" y="connsiteY27804"/>
              </a:cxn>
              <a:cxn ang="0">
                <a:pos x="connsiteX27805" y="connsiteY27805"/>
              </a:cxn>
              <a:cxn ang="0">
                <a:pos x="connsiteX27806" y="connsiteY27806"/>
              </a:cxn>
              <a:cxn ang="0">
                <a:pos x="connsiteX27807" y="connsiteY27807"/>
              </a:cxn>
              <a:cxn ang="0">
                <a:pos x="connsiteX27808" y="connsiteY27808"/>
              </a:cxn>
              <a:cxn ang="0">
                <a:pos x="connsiteX27809" y="connsiteY27809"/>
              </a:cxn>
              <a:cxn ang="0">
                <a:pos x="connsiteX27810" y="connsiteY27810"/>
              </a:cxn>
              <a:cxn ang="0">
                <a:pos x="connsiteX27811" y="connsiteY27811"/>
              </a:cxn>
              <a:cxn ang="0">
                <a:pos x="connsiteX27812" y="connsiteY27812"/>
              </a:cxn>
              <a:cxn ang="0">
                <a:pos x="connsiteX27813" y="connsiteY27813"/>
              </a:cxn>
              <a:cxn ang="0">
                <a:pos x="connsiteX27814" y="connsiteY27814"/>
              </a:cxn>
              <a:cxn ang="0">
                <a:pos x="connsiteX27815" y="connsiteY27815"/>
              </a:cxn>
              <a:cxn ang="0">
                <a:pos x="connsiteX27816" y="connsiteY27816"/>
              </a:cxn>
              <a:cxn ang="0">
                <a:pos x="connsiteX27817" y="connsiteY27817"/>
              </a:cxn>
              <a:cxn ang="0">
                <a:pos x="connsiteX27818" y="connsiteY27818"/>
              </a:cxn>
              <a:cxn ang="0">
                <a:pos x="connsiteX27819" y="connsiteY27819"/>
              </a:cxn>
              <a:cxn ang="0">
                <a:pos x="connsiteX27820" y="connsiteY27820"/>
              </a:cxn>
              <a:cxn ang="0">
                <a:pos x="connsiteX27821" y="connsiteY27821"/>
              </a:cxn>
              <a:cxn ang="0">
                <a:pos x="connsiteX27822" y="connsiteY27822"/>
              </a:cxn>
              <a:cxn ang="0">
                <a:pos x="connsiteX27823" y="connsiteY27823"/>
              </a:cxn>
              <a:cxn ang="0">
                <a:pos x="connsiteX27824" y="connsiteY27824"/>
              </a:cxn>
              <a:cxn ang="0">
                <a:pos x="connsiteX27825" y="connsiteY27825"/>
              </a:cxn>
              <a:cxn ang="0">
                <a:pos x="connsiteX27826" y="connsiteY27826"/>
              </a:cxn>
              <a:cxn ang="0">
                <a:pos x="connsiteX27827" y="connsiteY27827"/>
              </a:cxn>
              <a:cxn ang="0">
                <a:pos x="connsiteX27828" y="connsiteY27828"/>
              </a:cxn>
              <a:cxn ang="0">
                <a:pos x="connsiteX27829" y="connsiteY27829"/>
              </a:cxn>
              <a:cxn ang="0">
                <a:pos x="connsiteX27830" y="connsiteY27830"/>
              </a:cxn>
              <a:cxn ang="0">
                <a:pos x="connsiteX27831" y="connsiteY27831"/>
              </a:cxn>
              <a:cxn ang="0">
                <a:pos x="connsiteX27832" y="connsiteY27832"/>
              </a:cxn>
              <a:cxn ang="0">
                <a:pos x="connsiteX27833" y="connsiteY27833"/>
              </a:cxn>
              <a:cxn ang="0">
                <a:pos x="connsiteX27834" y="connsiteY27834"/>
              </a:cxn>
              <a:cxn ang="0">
                <a:pos x="connsiteX27835" y="connsiteY27835"/>
              </a:cxn>
              <a:cxn ang="0">
                <a:pos x="connsiteX27836" y="connsiteY27836"/>
              </a:cxn>
              <a:cxn ang="0">
                <a:pos x="connsiteX27837" y="connsiteY27837"/>
              </a:cxn>
              <a:cxn ang="0">
                <a:pos x="connsiteX27838" y="connsiteY27838"/>
              </a:cxn>
              <a:cxn ang="0">
                <a:pos x="connsiteX27839" y="connsiteY27839"/>
              </a:cxn>
              <a:cxn ang="0">
                <a:pos x="connsiteX27840" y="connsiteY27840"/>
              </a:cxn>
              <a:cxn ang="0">
                <a:pos x="connsiteX27841" y="connsiteY27841"/>
              </a:cxn>
              <a:cxn ang="0">
                <a:pos x="connsiteX27842" y="connsiteY27842"/>
              </a:cxn>
              <a:cxn ang="0">
                <a:pos x="connsiteX27843" y="connsiteY27843"/>
              </a:cxn>
              <a:cxn ang="0">
                <a:pos x="connsiteX27844" y="connsiteY27844"/>
              </a:cxn>
              <a:cxn ang="0">
                <a:pos x="connsiteX27845" y="connsiteY27845"/>
              </a:cxn>
              <a:cxn ang="0">
                <a:pos x="connsiteX27846" y="connsiteY27846"/>
              </a:cxn>
              <a:cxn ang="0">
                <a:pos x="connsiteX27847" y="connsiteY27847"/>
              </a:cxn>
              <a:cxn ang="0">
                <a:pos x="connsiteX27848" y="connsiteY27848"/>
              </a:cxn>
              <a:cxn ang="0">
                <a:pos x="connsiteX27849" y="connsiteY27849"/>
              </a:cxn>
              <a:cxn ang="0">
                <a:pos x="connsiteX27850" y="connsiteY27850"/>
              </a:cxn>
              <a:cxn ang="0">
                <a:pos x="connsiteX27851" y="connsiteY27851"/>
              </a:cxn>
              <a:cxn ang="0">
                <a:pos x="connsiteX27852" y="connsiteY27852"/>
              </a:cxn>
              <a:cxn ang="0">
                <a:pos x="connsiteX27853" y="connsiteY27853"/>
              </a:cxn>
              <a:cxn ang="0">
                <a:pos x="connsiteX27854" y="connsiteY27854"/>
              </a:cxn>
              <a:cxn ang="0">
                <a:pos x="connsiteX27855" y="connsiteY27855"/>
              </a:cxn>
              <a:cxn ang="0">
                <a:pos x="connsiteX27856" y="connsiteY27856"/>
              </a:cxn>
              <a:cxn ang="0">
                <a:pos x="connsiteX27857" y="connsiteY27857"/>
              </a:cxn>
              <a:cxn ang="0">
                <a:pos x="connsiteX27858" y="connsiteY27858"/>
              </a:cxn>
              <a:cxn ang="0">
                <a:pos x="connsiteX27859" y="connsiteY27859"/>
              </a:cxn>
              <a:cxn ang="0">
                <a:pos x="connsiteX27860" y="connsiteY27860"/>
              </a:cxn>
              <a:cxn ang="0">
                <a:pos x="connsiteX27861" y="connsiteY27861"/>
              </a:cxn>
              <a:cxn ang="0">
                <a:pos x="connsiteX27862" y="connsiteY27862"/>
              </a:cxn>
              <a:cxn ang="0">
                <a:pos x="connsiteX27863" y="connsiteY27863"/>
              </a:cxn>
              <a:cxn ang="0">
                <a:pos x="connsiteX27864" y="connsiteY27864"/>
              </a:cxn>
              <a:cxn ang="0">
                <a:pos x="connsiteX27865" y="connsiteY27865"/>
              </a:cxn>
              <a:cxn ang="0">
                <a:pos x="connsiteX27866" y="connsiteY27866"/>
              </a:cxn>
              <a:cxn ang="0">
                <a:pos x="connsiteX27867" y="connsiteY27867"/>
              </a:cxn>
              <a:cxn ang="0">
                <a:pos x="connsiteX27868" y="connsiteY27868"/>
              </a:cxn>
              <a:cxn ang="0">
                <a:pos x="connsiteX27869" y="connsiteY27869"/>
              </a:cxn>
              <a:cxn ang="0">
                <a:pos x="connsiteX27870" y="connsiteY27870"/>
              </a:cxn>
              <a:cxn ang="0">
                <a:pos x="connsiteX27871" y="connsiteY27871"/>
              </a:cxn>
              <a:cxn ang="0">
                <a:pos x="connsiteX27872" y="connsiteY27872"/>
              </a:cxn>
              <a:cxn ang="0">
                <a:pos x="connsiteX27873" y="connsiteY27873"/>
              </a:cxn>
              <a:cxn ang="0">
                <a:pos x="connsiteX27874" y="connsiteY27874"/>
              </a:cxn>
              <a:cxn ang="0">
                <a:pos x="connsiteX27875" y="connsiteY27875"/>
              </a:cxn>
              <a:cxn ang="0">
                <a:pos x="connsiteX27876" y="connsiteY27876"/>
              </a:cxn>
              <a:cxn ang="0">
                <a:pos x="connsiteX27877" y="connsiteY27877"/>
              </a:cxn>
              <a:cxn ang="0">
                <a:pos x="connsiteX27878" y="connsiteY27878"/>
              </a:cxn>
              <a:cxn ang="0">
                <a:pos x="connsiteX27879" y="connsiteY27879"/>
              </a:cxn>
              <a:cxn ang="0">
                <a:pos x="connsiteX27880" y="connsiteY27880"/>
              </a:cxn>
              <a:cxn ang="0">
                <a:pos x="connsiteX27881" y="connsiteY27881"/>
              </a:cxn>
              <a:cxn ang="0">
                <a:pos x="connsiteX27882" y="connsiteY27882"/>
              </a:cxn>
              <a:cxn ang="0">
                <a:pos x="connsiteX27883" y="connsiteY27883"/>
              </a:cxn>
              <a:cxn ang="0">
                <a:pos x="connsiteX27884" y="connsiteY27884"/>
              </a:cxn>
              <a:cxn ang="0">
                <a:pos x="connsiteX27885" y="connsiteY27885"/>
              </a:cxn>
              <a:cxn ang="0">
                <a:pos x="connsiteX27886" y="connsiteY27886"/>
              </a:cxn>
              <a:cxn ang="0">
                <a:pos x="connsiteX27887" y="connsiteY27887"/>
              </a:cxn>
              <a:cxn ang="0">
                <a:pos x="connsiteX27888" y="connsiteY27888"/>
              </a:cxn>
              <a:cxn ang="0">
                <a:pos x="connsiteX27889" y="connsiteY27889"/>
              </a:cxn>
              <a:cxn ang="0">
                <a:pos x="connsiteX27890" y="connsiteY27890"/>
              </a:cxn>
              <a:cxn ang="0">
                <a:pos x="connsiteX27891" y="connsiteY27891"/>
              </a:cxn>
              <a:cxn ang="0">
                <a:pos x="connsiteX27892" y="connsiteY27892"/>
              </a:cxn>
              <a:cxn ang="0">
                <a:pos x="connsiteX27893" y="connsiteY27893"/>
              </a:cxn>
              <a:cxn ang="0">
                <a:pos x="connsiteX27894" y="connsiteY27894"/>
              </a:cxn>
              <a:cxn ang="0">
                <a:pos x="connsiteX27895" y="connsiteY27895"/>
              </a:cxn>
              <a:cxn ang="0">
                <a:pos x="connsiteX27896" y="connsiteY27896"/>
              </a:cxn>
              <a:cxn ang="0">
                <a:pos x="connsiteX27897" y="connsiteY27897"/>
              </a:cxn>
              <a:cxn ang="0">
                <a:pos x="connsiteX27898" y="connsiteY27898"/>
              </a:cxn>
              <a:cxn ang="0">
                <a:pos x="connsiteX27899" y="connsiteY27899"/>
              </a:cxn>
              <a:cxn ang="0">
                <a:pos x="connsiteX27900" y="connsiteY27900"/>
              </a:cxn>
              <a:cxn ang="0">
                <a:pos x="connsiteX27901" y="connsiteY27901"/>
              </a:cxn>
              <a:cxn ang="0">
                <a:pos x="connsiteX27902" y="connsiteY27902"/>
              </a:cxn>
              <a:cxn ang="0">
                <a:pos x="connsiteX27903" y="connsiteY27903"/>
              </a:cxn>
              <a:cxn ang="0">
                <a:pos x="connsiteX27904" y="connsiteY27904"/>
              </a:cxn>
              <a:cxn ang="0">
                <a:pos x="connsiteX27905" y="connsiteY27905"/>
              </a:cxn>
              <a:cxn ang="0">
                <a:pos x="connsiteX27906" y="connsiteY27906"/>
              </a:cxn>
              <a:cxn ang="0">
                <a:pos x="connsiteX27907" y="connsiteY27907"/>
              </a:cxn>
              <a:cxn ang="0">
                <a:pos x="connsiteX27908" y="connsiteY27908"/>
              </a:cxn>
              <a:cxn ang="0">
                <a:pos x="connsiteX27909" y="connsiteY27909"/>
              </a:cxn>
              <a:cxn ang="0">
                <a:pos x="connsiteX27910" y="connsiteY27910"/>
              </a:cxn>
              <a:cxn ang="0">
                <a:pos x="connsiteX27911" y="connsiteY27911"/>
              </a:cxn>
              <a:cxn ang="0">
                <a:pos x="connsiteX27912" y="connsiteY27912"/>
              </a:cxn>
              <a:cxn ang="0">
                <a:pos x="connsiteX27913" y="connsiteY27913"/>
              </a:cxn>
              <a:cxn ang="0">
                <a:pos x="connsiteX27914" y="connsiteY27914"/>
              </a:cxn>
              <a:cxn ang="0">
                <a:pos x="connsiteX27915" y="connsiteY27915"/>
              </a:cxn>
              <a:cxn ang="0">
                <a:pos x="connsiteX27916" y="connsiteY27916"/>
              </a:cxn>
              <a:cxn ang="0">
                <a:pos x="connsiteX27917" y="connsiteY27917"/>
              </a:cxn>
              <a:cxn ang="0">
                <a:pos x="connsiteX27918" y="connsiteY27918"/>
              </a:cxn>
              <a:cxn ang="0">
                <a:pos x="connsiteX27919" y="connsiteY27919"/>
              </a:cxn>
              <a:cxn ang="0">
                <a:pos x="connsiteX27920" y="connsiteY27920"/>
              </a:cxn>
              <a:cxn ang="0">
                <a:pos x="connsiteX27921" y="connsiteY27921"/>
              </a:cxn>
              <a:cxn ang="0">
                <a:pos x="connsiteX27922" y="connsiteY27922"/>
              </a:cxn>
              <a:cxn ang="0">
                <a:pos x="connsiteX27923" y="connsiteY27923"/>
              </a:cxn>
              <a:cxn ang="0">
                <a:pos x="connsiteX27924" y="connsiteY27924"/>
              </a:cxn>
              <a:cxn ang="0">
                <a:pos x="connsiteX27925" y="connsiteY27925"/>
              </a:cxn>
              <a:cxn ang="0">
                <a:pos x="connsiteX27926" y="connsiteY27926"/>
              </a:cxn>
              <a:cxn ang="0">
                <a:pos x="connsiteX27927" y="connsiteY27927"/>
              </a:cxn>
              <a:cxn ang="0">
                <a:pos x="connsiteX27928" y="connsiteY27928"/>
              </a:cxn>
              <a:cxn ang="0">
                <a:pos x="connsiteX27929" y="connsiteY27929"/>
              </a:cxn>
              <a:cxn ang="0">
                <a:pos x="connsiteX27930" y="connsiteY27930"/>
              </a:cxn>
              <a:cxn ang="0">
                <a:pos x="connsiteX27931" y="connsiteY27931"/>
              </a:cxn>
              <a:cxn ang="0">
                <a:pos x="connsiteX27932" y="connsiteY27932"/>
              </a:cxn>
              <a:cxn ang="0">
                <a:pos x="connsiteX27933" y="connsiteY27933"/>
              </a:cxn>
              <a:cxn ang="0">
                <a:pos x="connsiteX27934" y="connsiteY27934"/>
              </a:cxn>
              <a:cxn ang="0">
                <a:pos x="connsiteX27935" y="connsiteY27935"/>
              </a:cxn>
              <a:cxn ang="0">
                <a:pos x="connsiteX27936" y="connsiteY27936"/>
              </a:cxn>
              <a:cxn ang="0">
                <a:pos x="connsiteX27937" y="connsiteY27937"/>
              </a:cxn>
              <a:cxn ang="0">
                <a:pos x="connsiteX27938" y="connsiteY27938"/>
              </a:cxn>
              <a:cxn ang="0">
                <a:pos x="connsiteX27939" y="connsiteY27939"/>
              </a:cxn>
              <a:cxn ang="0">
                <a:pos x="connsiteX27940" y="connsiteY27940"/>
              </a:cxn>
              <a:cxn ang="0">
                <a:pos x="connsiteX27941" y="connsiteY27941"/>
              </a:cxn>
              <a:cxn ang="0">
                <a:pos x="connsiteX27942" y="connsiteY27942"/>
              </a:cxn>
              <a:cxn ang="0">
                <a:pos x="connsiteX27943" y="connsiteY27943"/>
              </a:cxn>
              <a:cxn ang="0">
                <a:pos x="connsiteX27944" y="connsiteY27944"/>
              </a:cxn>
              <a:cxn ang="0">
                <a:pos x="connsiteX27945" y="connsiteY27945"/>
              </a:cxn>
              <a:cxn ang="0">
                <a:pos x="connsiteX27946" y="connsiteY27946"/>
              </a:cxn>
              <a:cxn ang="0">
                <a:pos x="connsiteX27947" y="connsiteY27947"/>
              </a:cxn>
              <a:cxn ang="0">
                <a:pos x="connsiteX27948" y="connsiteY27948"/>
              </a:cxn>
              <a:cxn ang="0">
                <a:pos x="connsiteX27949" y="connsiteY27949"/>
              </a:cxn>
              <a:cxn ang="0">
                <a:pos x="connsiteX27950" y="connsiteY27950"/>
              </a:cxn>
              <a:cxn ang="0">
                <a:pos x="connsiteX27951" y="connsiteY27951"/>
              </a:cxn>
              <a:cxn ang="0">
                <a:pos x="connsiteX27952" y="connsiteY27952"/>
              </a:cxn>
              <a:cxn ang="0">
                <a:pos x="connsiteX27953" y="connsiteY27953"/>
              </a:cxn>
              <a:cxn ang="0">
                <a:pos x="connsiteX27954" y="connsiteY27954"/>
              </a:cxn>
              <a:cxn ang="0">
                <a:pos x="connsiteX27955" y="connsiteY27955"/>
              </a:cxn>
              <a:cxn ang="0">
                <a:pos x="connsiteX27956" y="connsiteY27956"/>
              </a:cxn>
              <a:cxn ang="0">
                <a:pos x="connsiteX27957" y="connsiteY27957"/>
              </a:cxn>
              <a:cxn ang="0">
                <a:pos x="connsiteX27958" y="connsiteY27958"/>
              </a:cxn>
              <a:cxn ang="0">
                <a:pos x="connsiteX27959" y="connsiteY27959"/>
              </a:cxn>
              <a:cxn ang="0">
                <a:pos x="connsiteX27960" y="connsiteY27960"/>
              </a:cxn>
              <a:cxn ang="0">
                <a:pos x="connsiteX27961" y="connsiteY27961"/>
              </a:cxn>
              <a:cxn ang="0">
                <a:pos x="connsiteX27962" y="connsiteY27962"/>
              </a:cxn>
              <a:cxn ang="0">
                <a:pos x="connsiteX27963" y="connsiteY27963"/>
              </a:cxn>
              <a:cxn ang="0">
                <a:pos x="connsiteX27964" y="connsiteY27964"/>
              </a:cxn>
              <a:cxn ang="0">
                <a:pos x="connsiteX27965" y="connsiteY27965"/>
              </a:cxn>
              <a:cxn ang="0">
                <a:pos x="connsiteX27966" y="connsiteY27966"/>
              </a:cxn>
              <a:cxn ang="0">
                <a:pos x="connsiteX27967" y="connsiteY27967"/>
              </a:cxn>
              <a:cxn ang="0">
                <a:pos x="connsiteX27968" y="connsiteY27968"/>
              </a:cxn>
              <a:cxn ang="0">
                <a:pos x="connsiteX27969" y="connsiteY27969"/>
              </a:cxn>
              <a:cxn ang="0">
                <a:pos x="connsiteX27970" y="connsiteY27970"/>
              </a:cxn>
              <a:cxn ang="0">
                <a:pos x="connsiteX27971" y="connsiteY27971"/>
              </a:cxn>
              <a:cxn ang="0">
                <a:pos x="connsiteX27972" y="connsiteY27972"/>
              </a:cxn>
              <a:cxn ang="0">
                <a:pos x="connsiteX27973" y="connsiteY27973"/>
              </a:cxn>
              <a:cxn ang="0">
                <a:pos x="connsiteX27974" y="connsiteY27974"/>
              </a:cxn>
              <a:cxn ang="0">
                <a:pos x="connsiteX27975" y="connsiteY27975"/>
              </a:cxn>
              <a:cxn ang="0">
                <a:pos x="connsiteX27976" y="connsiteY27976"/>
              </a:cxn>
              <a:cxn ang="0">
                <a:pos x="connsiteX27977" y="connsiteY27977"/>
              </a:cxn>
              <a:cxn ang="0">
                <a:pos x="connsiteX27978" y="connsiteY27978"/>
              </a:cxn>
              <a:cxn ang="0">
                <a:pos x="connsiteX27979" y="connsiteY27979"/>
              </a:cxn>
              <a:cxn ang="0">
                <a:pos x="connsiteX27980" y="connsiteY27980"/>
              </a:cxn>
              <a:cxn ang="0">
                <a:pos x="connsiteX27981" y="connsiteY27981"/>
              </a:cxn>
              <a:cxn ang="0">
                <a:pos x="connsiteX27982" y="connsiteY27982"/>
              </a:cxn>
              <a:cxn ang="0">
                <a:pos x="connsiteX27983" y="connsiteY27983"/>
              </a:cxn>
              <a:cxn ang="0">
                <a:pos x="connsiteX27984" y="connsiteY27984"/>
              </a:cxn>
              <a:cxn ang="0">
                <a:pos x="connsiteX27985" y="connsiteY27985"/>
              </a:cxn>
              <a:cxn ang="0">
                <a:pos x="connsiteX27986" y="connsiteY27986"/>
              </a:cxn>
              <a:cxn ang="0">
                <a:pos x="connsiteX27987" y="connsiteY27987"/>
              </a:cxn>
              <a:cxn ang="0">
                <a:pos x="connsiteX27988" y="connsiteY27988"/>
              </a:cxn>
              <a:cxn ang="0">
                <a:pos x="connsiteX27989" y="connsiteY27989"/>
              </a:cxn>
              <a:cxn ang="0">
                <a:pos x="connsiteX27990" y="connsiteY27990"/>
              </a:cxn>
              <a:cxn ang="0">
                <a:pos x="connsiteX27991" y="connsiteY27991"/>
              </a:cxn>
              <a:cxn ang="0">
                <a:pos x="connsiteX27992" y="connsiteY27992"/>
              </a:cxn>
              <a:cxn ang="0">
                <a:pos x="connsiteX27993" y="connsiteY27993"/>
              </a:cxn>
              <a:cxn ang="0">
                <a:pos x="connsiteX27994" y="connsiteY27994"/>
              </a:cxn>
              <a:cxn ang="0">
                <a:pos x="connsiteX27995" y="connsiteY27995"/>
              </a:cxn>
              <a:cxn ang="0">
                <a:pos x="connsiteX27996" y="connsiteY27996"/>
              </a:cxn>
              <a:cxn ang="0">
                <a:pos x="connsiteX27997" y="connsiteY27997"/>
              </a:cxn>
              <a:cxn ang="0">
                <a:pos x="connsiteX27998" y="connsiteY27998"/>
              </a:cxn>
              <a:cxn ang="0">
                <a:pos x="connsiteX27999" y="connsiteY27999"/>
              </a:cxn>
              <a:cxn ang="0">
                <a:pos x="connsiteX28000" y="connsiteY28000"/>
              </a:cxn>
              <a:cxn ang="0">
                <a:pos x="connsiteX28001" y="connsiteY28001"/>
              </a:cxn>
              <a:cxn ang="0">
                <a:pos x="connsiteX28002" y="connsiteY28002"/>
              </a:cxn>
              <a:cxn ang="0">
                <a:pos x="connsiteX28003" y="connsiteY28003"/>
              </a:cxn>
              <a:cxn ang="0">
                <a:pos x="connsiteX28004" y="connsiteY28004"/>
              </a:cxn>
              <a:cxn ang="0">
                <a:pos x="connsiteX28005" y="connsiteY28005"/>
              </a:cxn>
              <a:cxn ang="0">
                <a:pos x="connsiteX28006" y="connsiteY28006"/>
              </a:cxn>
              <a:cxn ang="0">
                <a:pos x="connsiteX28007" y="connsiteY28007"/>
              </a:cxn>
              <a:cxn ang="0">
                <a:pos x="connsiteX28008" y="connsiteY28008"/>
              </a:cxn>
              <a:cxn ang="0">
                <a:pos x="connsiteX28009" y="connsiteY28009"/>
              </a:cxn>
              <a:cxn ang="0">
                <a:pos x="connsiteX28010" y="connsiteY28010"/>
              </a:cxn>
              <a:cxn ang="0">
                <a:pos x="connsiteX28011" y="connsiteY28011"/>
              </a:cxn>
              <a:cxn ang="0">
                <a:pos x="connsiteX28012" y="connsiteY28012"/>
              </a:cxn>
              <a:cxn ang="0">
                <a:pos x="connsiteX28013" y="connsiteY28013"/>
              </a:cxn>
              <a:cxn ang="0">
                <a:pos x="connsiteX28014" y="connsiteY28014"/>
              </a:cxn>
              <a:cxn ang="0">
                <a:pos x="connsiteX28015" y="connsiteY28015"/>
              </a:cxn>
              <a:cxn ang="0">
                <a:pos x="connsiteX28016" y="connsiteY28016"/>
              </a:cxn>
              <a:cxn ang="0">
                <a:pos x="connsiteX28017" y="connsiteY28017"/>
              </a:cxn>
              <a:cxn ang="0">
                <a:pos x="connsiteX28018" y="connsiteY28018"/>
              </a:cxn>
              <a:cxn ang="0">
                <a:pos x="connsiteX28019" y="connsiteY28019"/>
              </a:cxn>
              <a:cxn ang="0">
                <a:pos x="connsiteX28020" y="connsiteY28020"/>
              </a:cxn>
              <a:cxn ang="0">
                <a:pos x="connsiteX28021" y="connsiteY28021"/>
              </a:cxn>
              <a:cxn ang="0">
                <a:pos x="connsiteX28022" y="connsiteY28022"/>
              </a:cxn>
              <a:cxn ang="0">
                <a:pos x="connsiteX28023" y="connsiteY28023"/>
              </a:cxn>
              <a:cxn ang="0">
                <a:pos x="connsiteX28024" y="connsiteY28024"/>
              </a:cxn>
              <a:cxn ang="0">
                <a:pos x="connsiteX28025" y="connsiteY28025"/>
              </a:cxn>
              <a:cxn ang="0">
                <a:pos x="connsiteX28026" y="connsiteY28026"/>
              </a:cxn>
              <a:cxn ang="0">
                <a:pos x="connsiteX28027" y="connsiteY28027"/>
              </a:cxn>
              <a:cxn ang="0">
                <a:pos x="connsiteX28028" y="connsiteY28028"/>
              </a:cxn>
              <a:cxn ang="0">
                <a:pos x="connsiteX28029" y="connsiteY28029"/>
              </a:cxn>
              <a:cxn ang="0">
                <a:pos x="connsiteX28030" y="connsiteY28030"/>
              </a:cxn>
              <a:cxn ang="0">
                <a:pos x="connsiteX28031" y="connsiteY28031"/>
              </a:cxn>
              <a:cxn ang="0">
                <a:pos x="connsiteX28032" y="connsiteY28032"/>
              </a:cxn>
              <a:cxn ang="0">
                <a:pos x="connsiteX28033" y="connsiteY28033"/>
              </a:cxn>
              <a:cxn ang="0">
                <a:pos x="connsiteX28034" y="connsiteY28034"/>
              </a:cxn>
              <a:cxn ang="0">
                <a:pos x="connsiteX28035" y="connsiteY28035"/>
              </a:cxn>
              <a:cxn ang="0">
                <a:pos x="connsiteX28036" y="connsiteY28036"/>
              </a:cxn>
              <a:cxn ang="0">
                <a:pos x="connsiteX28037" y="connsiteY28037"/>
              </a:cxn>
              <a:cxn ang="0">
                <a:pos x="connsiteX28038" y="connsiteY28038"/>
              </a:cxn>
              <a:cxn ang="0">
                <a:pos x="connsiteX28039" y="connsiteY28039"/>
              </a:cxn>
              <a:cxn ang="0">
                <a:pos x="connsiteX28040" y="connsiteY28040"/>
              </a:cxn>
              <a:cxn ang="0">
                <a:pos x="connsiteX28041" y="connsiteY28041"/>
              </a:cxn>
              <a:cxn ang="0">
                <a:pos x="connsiteX28042" y="connsiteY28042"/>
              </a:cxn>
              <a:cxn ang="0">
                <a:pos x="connsiteX28043" y="connsiteY28043"/>
              </a:cxn>
              <a:cxn ang="0">
                <a:pos x="connsiteX28044" y="connsiteY28044"/>
              </a:cxn>
              <a:cxn ang="0">
                <a:pos x="connsiteX28045" y="connsiteY28045"/>
              </a:cxn>
              <a:cxn ang="0">
                <a:pos x="connsiteX28046" y="connsiteY28046"/>
              </a:cxn>
              <a:cxn ang="0">
                <a:pos x="connsiteX28047" y="connsiteY28047"/>
              </a:cxn>
              <a:cxn ang="0">
                <a:pos x="connsiteX28048" y="connsiteY28048"/>
              </a:cxn>
              <a:cxn ang="0">
                <a:pos x="connsiteX28049" y="connsiteY28049"/>
              </a:cxn>
              <a:cxn ang="0">
                <a:pos x="connsiteX28050" y="connsiteY28050"/>
              </a:cxn>
              <a:cxn ang="0">
                <a:pos x="connsiteX28051" y="connsiteY28051"/>
              </a:cxn>
              <a:cxn ang="0">
                <a:pos x="connsiteX28052" y="connsiteY28052"/>
              </a:cxn>
              <a:cxn ang="0">
                <a:pos x="connsiteX28053" y="connsiteY28053"/>
              </a:cxn>
              <a:cxn ang="0">
                <a:pos x="connsiteX28054" y="connsiteY28054"/>
              </a:cxn>
              <a:cxn ang="0">
                <a:pos x="connsiteX28055" y="connsiteY28055"/>
              </a:cxn>
              <a:cxn ang="0">
                <a:pos x="connsiteX28056" y="connsiteY28056"/>
              </a:cxn>
              <a:cxn ang="0">
                <a:pos x="connsiteX28057" y="connsiteY28057"/>
              </a:cxn>
              <a:cxn ang="0">
                <a:pos x="connsiteX28058" y="connsiteY28058"/>
              </a:cxn>
              <a:cxn ang="0">
                <a:pos x="connsiteX28059" y="connsiteY28059"/>
              </a:cxn>
              <a:cxn ang="0">
                <a:pos x="connsiteX28060" y="connsiteY28060"/>
              </a:cxn>
              <a:cxn ang="0">
                <a:pos x="connsiteX28061" y="connsiteY28061"/>
              </a:cxn>
              <a:cxn ang="0">
                <a:pos x="connsiteX28062" y="connsiteY28062"/>
              </a:cxn>
              <a:cxn ang="0">
                <a:pos x="connsiteX28063" y="connsiteY28063"/>
              </a:cxn>
              <a:cxn ang="0">
                <a:pos x="connsiteX28064" y="connsiteY28064"/>
              </a:cxn>
              <a:cxn ang="0">
                <a:pos x="connsiteX28065" y="connsiteY28065"/>
              </a:cxn>
              <a:cxn ang="0">
                <a:pos x="connsiteX28066" y="connsiteY28066"/>
              </a:cxn>
              <a:cxn ang="0">
                <a:pos x="connsiteX28067" y="connsiteY28067"/>
              </a:cxn>
              <a:cxn ang="0">
                <a:pos x="connsiteX28068" y="connsiteY28068"/>
              </a:cxn>
              <a:cxn ang="0">
                <a:pos x="connsiteX28069" y="connsiteY28069"/>
              </a:cxn>
              <a:cxn ang="0">
                <a:pos x="connsiteX28070" y="connsiteY28070"/>
              </a:cxn>
              <a:cxn ang="0">
                <a:pos x="connsiteX28071" y="connsiteY28071"/>
              </a:cxn>
              <a:cxn ang="0">
                <a:pos x="connsiteX28072" y="connsiteY28072"/>
              </a:cxn>
              <a:cxn ang="0">
                <a:pos x="connsiteX28073" y="connsiteY28073"/>
              </a:cxn>
              <a:cxn ang="0">
                <a:pos x="connsiteX28074" y="connsiteY28074"/>
              </a:cxn>
              <a:cxn ang="0">
                <a:pos x="connsiteX28075" y="connsiteY28075"/>
              </a:cxn>
              <a:cxn ang="0">
                <a:pos x="connsiteX28076" y="connsiteY28076"/>
              </a:cxn>
              <a:cxn ang="0">
                <a:pos x="connsiteX28077" y="connsiteY28077"/>
              </a:cxn>
              <a:cxn ang="0">
                <a:pos x="connsiteX28078" y="connsiteY28078"/>
              </a:cxn>
              <a:cxn ang="0">
                <a:pos x="connsiteX28079" y="connsiteY28079"/>
              </a:cxn>
              <a:cxn ang="0">
                <a:pos x="connsiteX28080" y="connsiteY28080"/>
              </a:cxn>
              <a:cxn ang="0">
                <a:pos x="connsiteX28081" y="connsiteY28081"/>
              </a:cxn>
              <a:cxn ang="0">
                <a:pos x="connsiteX28082" y="connsiteY28082"/>
              </a:cxn>
              <a:cxn ang="0">
                <a:pos x="connsiteX28083" y="connsiteY28083"/>
              </a:cxn>
              <a:cxn ang="0">
                <a:pos x="connsiteX28084" y="connsiteY28084"/>
              </a:cxn>
              <a:cxn ang="0">
                <a:pos x="connsiteX28085" y="connsiteY28085"/>
              </a:cxn>
              <a:cxn ang="0">
                <a:pos x="connsiteX28086" y="connsiteY28086"/>
              </a:cxn>
              <a:cxn ang="0">
                <a:pos x="connsiteX28087" y="connsiteY28087"/>
              </a:cxn>
              <a:cxn ang="0">
                <a:pos x="connsiteX28088" y="connsiteY28088"/>
              </a:cxn>
              <a:cxn ang="0">
                <a:pos x="connsiteX28089" y="connsiteY28089"/>
              </a:cxn>
              <a:cxn ang="0">
                <a:pos x="connsiteX28090" y="connsiteY28090"/>
              </a:cxn>
              <a:cxn ang="0">
                <a:pos x="connsiteX28091" y="connsiteY28091"/>
              </a:cxn>
              <a:cxn ang="0">
                <a:pos x="connsiteX28092" y="connsiteY28092"/>
              </a:cxn>
              <a:cxn ang="0">
                <a:pos x="connsiteX28093" y="connsiteY28093"/>
              </a:cxn>
              <a:cxn ang="0">
                <a:pos x="connsiteX28094" y="connsiteY28094"/>
              </a:cxn>
              <a:cxn ang="0">
                <a:pos x="connsiteX28095" y="connsiteY28095"/>
              </a:cxn>
              <a:cxn ang="0">
                <a:pos x="connsiteX28096" y="connsiteY28096"/>
              </a:cxn>
              <a:cxn ang="0">
                <a:pos x="connsiteX28097" y="connsiteY28097"/>
              </a:cxn>
              <a:cxn ang="0">
                <a:pos x="connsiteX28098" y="connsiteY28098"/>
              </a:cxn>
              <a:cxn ang="0">
                <a:pos x="connsiteX28099" y="connsiteY28099"/>
              </a:cxn>
              <a:cxn ang="0">
                <a:pos x="connsiteX28100" y="connsiteY28100"/>
              </a:cxn>
              <a:cxn ang="0">
                <a:pos x="connsiteX28101" y="connsiteY28101"/>
              </a:cxn>
              <a:cxn ang="0">
                <a:pos x="connsiteX28102" y="connsiteY28102"/>
              </a:cxn>
              <a:cxn ang="0">
                <a:pos x="connsiteX28103" y="connsiteY28103"/>
              </a:cxn>
              <a:cxn ang="0">
                <a:pos x="connsiteX28104" y="connsiteY28104"/>
              </a:cxn>
              <a:cxn ang="0">
                <a:pos x="connsiteX28105" y="connsiteY28105"/>
              </a:cxn>
              <a:cxn ang="0">
                <a:pos x="connsiteX28106" y="connsiteY28106"/>
              </a:cxn>
              <a:cxn ang="0">
                <a:pos x="connsiteX28107" y="connsiteY28107"/>
              </a:cxn>
              <a:cxn ang="0">
                <a:pos x="connsiteX28108" y="connsiteY28108"/>
              </a:cxn>
              <a:cxn ang="0">
                <a:pos x="connsiteX28109" y="connsiteY28109"/>
              </a:cxn>
              <a:cxn ang="0">
                <a:pos x="connsiteX28110" y="connsiteY28110"/>
              </a:cxn>
              <a:cxn ang="0">
                <a:pos x="connsiteX28111" y="connsiteY28111"/>
              </a:cxn>
              <a:cxn ang="0">
                <a:pos x="connsiteX28112" y="connsiteY28112"/>
              </a:cxn>
              <a:cxn ang="0">
                <a:pos x="connsiteX28113" y="connsiteY28113"/>
              </a:cxn>
              <a:cxn ang="0">
                <a:pos x="connsiteX28114" y="connsiteY28114"/>
              </a:cxn>
              <a:cxn ang="0">
                <a:pos x="connsiteX28115" y="connsiteY28115"/>
              </a:cxn>
              <a:cxn ang="0">
                <a:pos x="connsiteX28116" y="connsiteY28116"/>
              </a:cxn>
              <a:cxn ang="0">
                <a:pos x="connsiteX28117" y="connsiteY28117"/>
              </a:cxn>
              <a:cxn ang="0">
                <a:pos x="connsiteX28118" y="connsiteY28118"/>
              </a:cxn>
              <a:cxn ang="0">
                <a:pos x="connsiteX28119" y="connsiteY28119"/>
              </a:cxn>
              <a:cxn ang="0">
                <a:pos x="connsiteX28120" y="connsiteY28120"/>
              </a:cxn>
              <a:cxn ang="0">
                <a:pos x="connsiteX28121" y="connsiteY28121"/>
              </a:cxn>
              <a:cxn ang="0">
                <a:pos x="connsiteX28122" y="connsiteY28122"/>
              </a:cxn>
              <a:cxn ang="0">
                <a:pos x="connsiteX28123" y="connsiteY28123"/>
              </a:cxn>
              <a:cxn ang="0">
                <a:pos x="connsiteX28124" y="connsiteY28124"/>
              </a:cxn>
              <a:cxn ang="0">
                <a:pos x="connsiteX28125" y="connsiteY28125"/>
              </a:cxn>
              <a:cxn ang="0">
                <a:pos x="connsiteX28126" y="connsiteY28126"/>
              </a:cxn>
              <a:cxn ang="0">
                <a:pos x="connsiteX28127" y="connsiteY28127"/>
              </a:cxn>
              <a:cxn ang="0">
                <a:pos x="connsiteX28128" y="connsiteY28128"/>
              </a:cxn>
              <a:cxn ang="0">
                <a:pos x="connsiteX28129" y="connsiteY28129"/>
              </a:cxn>
              <a:cxn ang="0">
                <a:pos x="connsiteX28130" y="connsiteY28130"/>
              </a:cxn>
              <a:cxn ang="0">
                <a:pos x="connsiteX28131" y="connsiteY28131"/>
              </a:cxn>
              <a:cxn ang="0">
                <a:pos x="connsiteX28132" y="connsiteY28132"/>
              </a:cxn>
              <a:cxn ang="0">
                <a:pos x="connsiteX28133" y="connsiteY28133"/>
              </a:cxn>
              <a:cxn ang="0">
                <a:pos x="connsiteX28134" y="connsiteY28134"/>
              </a:cxn>
              <a:cxn ang="0">
                <a:pos x="connsiteX28135" y="connsiteY28135"/>
              </a:cxn>
              <a:cxn ang="0">
                <a:pos x="connsiteX28136" y="connsiteY28136"/>
              </a:cxn>
              <a:cxn ang="0">
                <a:pos x="connsiteX28137" y="connsiteY28137"/>
              </a:cxn>
              <a:cxn ang="0">
                <a:pos x="connsiteX28138" y="connsiteY28138"/>
              </a:cxn>
              <a:cxn ang="0">
                <a:pos x="connsiteX28139" y="connsiteY28139"/>
              </a:cxn>
              <a:cxn ang="0">
                <a:pos x="connsiteX28140" y="connsiteY28140"/>
              </a:cxn>
              <a:cxn ang="0">
                <a:pos x="connsiteX28141" y="connsiteY28141"/>
              </a:cxn>
              <a:cxn ang="0">
                <a:pos x="connsiteX28142" y="connsiteY28142"/>
              </a:cxn>
              <a:cxn ang="0">
                <a:pos x="connsiteX28143" y="connsiteY28143"/>
              </a:cxn>
              <a:cxn ang="0">
                <a:pos x="connsiteX28144" y="connsiteY28144"/>
              </a:cxn>
              <a:cxn ang="0">
                <a:pos x="connsiteX28145" y="connsiteY28145"/>
              </a:cxn>
              <a:cxn ang="0">
                <a:pos x="connsiteX28146" y="connsiteY28146"/>
              </a:cxn>
              <a:cxn ang="0">
                <a:pos x="connsiteX28147" y="connsiteY28147"/>
              </a:cxn>
              <a:cxn ang="0">
                <a:pos x="connsiteX28148" y="connsiteY28148"/>
              </a:cxn>
              <a:cxn ang="0">
                <a:pos x="connsiteX28149" y="connsiteY28149"/>
              </a:cxn>
              <a:cxn ang="0">
                <a:pos x="connsiteX28150" y="connsiteY28150"/>
              </a:cxn>
              <a:cxn ang="0">
                <a:pos x="connsiteX28151" y="connsiteY28151"/>
              </a:cxn>
              <a:cxn ang="0">
                <a:pos x="connsiteX28152" y="connsiteY28152"/>
              </a:cxn>
              <a:cxn ang="0">
                <a:pos x="connsiteX28153" y="connsiteY28153"/>
              </a:cxn>
              <a:cxn ang="0">
                <a:pos x="connsiteX28154" y="connsiteY28154"/>
              </a:cxn>
              <a:cxn ang="0">
                <a:pos x="connsiteX28155" y="connsiteY28155"/>
              </a:cxn>
              <a:cxn ang="0">
                <a:pos x="connsiteX28156" y="connsiteY28156"/>
              </a:cxn>
              <a:cxn ang="0">
                <a:pos x="connsiteX28157" y="connsiteY28157"/>
              </a:cxn>
              <a:cxn ang="0">
                <a:pos x="connsiteX28158" y="connsiteY28158"/>
              </a:cxn>
              <a:cxn ang="0">
                <a:pos x="connsiteX28159" y="connsiteY28159"/>
              </a:cxn>
              <a:cxn ang="0">
                <a:pos x="connsiteX28160" y="connsiteY28160"/>
              </a:cxn>
              <a:cxn ang="0">
                <a:pos x="connsiteX28161" y="connsiteY28161"/>
              </a:cxn>
              <a:cxn ang="0">
                <a:pos x="connsiteX28162" y="connsiteY28162"/>
              </a:cxn>
              <a:cxn ang="0">
                <a:pos x="connsiteX28163" y="connsiteY28163"/>
              </a:cxn>
              <a:cxn ang="0">
                <a:pos x="connsiteX28164" y="connsiteY28164"/>
              </a:cxn>
              <a:cxn ang="0">
                <a:pos x="connsiteX28165" y="connsiteY28165"/>
              </a:cxn>
              <a:cxn ang="0">
                <a:pos x="connsiteX28166" y="connsiteY28166"/>
              </a:cxn>
              <a:cxn ang="0">
                <a:pos x="connsiteX28167" y="connsiteY28167"/>
              </a:cxn>
              <a:cxn ang="0">
                <a:pos x="connsiteX28168" y="connsiteY28168"/>
              </a:cxn>
              <a:cxn ang="0">
                <a:pos x="connsiteX28169" y="connsiteY28169"/>
              </a:cxn>
              <a:cxn ang="0">
                <a:pos x="connsiteX28170" y="connsiteY28170"/>
              </a:cxn>
              <a:cxn ang="0">
                <a:pos x="connsiteX28171" y="connsiteY28171"/>
              </a:cxn>
              <a:cxn ang="0">
                <a:pos x="connsiteX28172" y="connsiteY28172"/>
              </a:cxn>
              <a:cxn ang="0">
                <a:pos x="connsiteX28173" y="connsiteY28173"/>
              </a:cxn>
              <a:cxn ang="0">
                <a:pos x="connsiteX28174" y="connsiteY28174"/>
              </a:cxn>
              <a:cxn ang="0">
                <a:pos x="connsiteX28175" y="connsiteY28175"/>
              </a:cxn>
              <a:cxn ang="0">
                <a:pos x="connsiteX28176" y="connsiteY28176"/>
              </a:cxn>
              <a:cxn ang="0">
                <a:pos x="connsiteX28177" y="connsiteY28177"/>
              </a:cxn>
              <a:cxn ang="0">
                <a:pos x="connsiteX28178" y="connsiteY28178"/>
              </a:cxn>
              <a:cxn ang="0">
                <a:pos x="connsiteX28179" y="connsiteY28179"/>
              </a:cxn>
              <a:cxn ang="0">
                <a:pos x="connsiteX28180" y="connsiteY28180"/>
              </a:cxn>
              <a:cxn ang="0">
                <a:pos x="connsiteX28181" y="connsiteY28181"/>
              </a:cxn>
              <a:cxn ang="0">
                <a:pos x="connsiteX28182" y="connsiteY28182"/>
              </a:cxn>
              <a:cxn ang="0">
                <a:pos x="connsiteX28183" y="connsiteY28183"/>
              </a:cxn>
              <a:cxn ang="0">
                <a:pos x="connsiteX28184" y="connsiteY28184"/>
              </a:cxn>
              <a:cxn ang="0">
                <a:pos x="connsiteX28185" y="connsiteY28185"/>
              </a:cxn>
              <a:cxn ang="0">
                <a:pos x="connsiteX28186" y="connsiteY28186"/>
              </a:cxn>
              <a:cxn ang="0">
                <a:pos x="connsiteX28187" y="connsiteY28187"/>
              </a:cxn>
              <a:cxn ang="0">
                <a:pos x="connsiteX28188" y="connsiteY28188"/>
              </a:cxn>
              <a:cxn ang="0">
                <a:pos x="connsiteX28189" y="connsiteY28189"/>
              </a:cxn>
              <a:cxn ang="0">
                <a:pos x="connsiteX28190" y="connsiteY28190"/>
              </a:cxn>
              <a:cxn ang="0">
                <a:pos x="connsiteX28191" y="connsiteY28191"/>
              </a:cxn>
              <a:cxn ang="0">
                <a:pos x="connsiteX28192" y="connsiteY28192"/>
              </a:cxn>
              <a:cxn ang="0">
                <a:pos x="connsiteX28193" y="connsiteY28193"/>
              </a:cxn>
              <a:cxn ang="0">
                <a:pos x="connsiteX28194" y="connsiteY28194"/>
              </a:cxn>
              <a:cxn ang="0">
                <a:pos x="connsiteX28195" y="connsiteY28195"/>
              </a:cxn>
              <a:cxn ang="0">
                <a:pos x="connsiteX28196" y="connsiteY28196"/>
              </a:cxn>
              <a:cxn ang="0">
                <a:pos x="connsiteX28197" y="connsiteY28197"/>
              </a:cxn>
              <a:cxn ang="0">
                <a:pos x="connsiteX28198" y="connsiteY28198"/>
              </a:cxn>
              <a:cxn ang="0">
                <a:pos x="connsiteX28199" y="connsiteY28199"/>
              </a:cxn>
              <a:cxn ang="0">
                <a:pos x="connsiteX28200" y="connsiteY28200"/>
              </a:cxn>
              <a:cxn ang="0">
                <a:pos x="connsiteX28201" y="connsiteY28201"/>
              </a:cxn>
              <a:cxn ang="0">
                <a:pos x="connsiteX28202" y="connsiteY28202"/>
              </a:cxn>
              <a:cxn ang="0">
                <a:pos x="connsiteX28203" y="connsiteY28203"/>
              </a:cxn>
              <a:cxn ang="0">
                <a:pos x="connsiteX28204" y="connsiteY28204"/>
              </a:cxn>
              <a:cxn ang="0">
                <a:pos x="connsiteX28205" y="connsiteY28205"/>
              </a:cxn>
              <a:cxn ang="0">
                <a:pos x="connsiteX28206" y="connsiteY28206"/>
              </a:cxn>
              <a:cxn ang="0">
                <a:pos x="connsiteX28207" y="connsiteY28207"/>
              </a:cxn>
              <a:cxn ang="0">
                <a:pos x="connsiteX28208" y="connsiteY28208"/>
              </a:cxn>
              <a:cxn ang="0">
                <a:pos x="connsiteX28209" y="connsiteY28209"/>
              </a:cxn>
              <a:cxn ang="0">
                <a:pos x="connsiteX28210" y="connsiteY28210"/>
              </a:cxn>
              <a:cxn ang="0">
                <a:pos x="connsiteX28211" y="connsiteY28211"/>
              </a:cxn>
              <a:cxn ang="0">
                <a:pos x="connsiteX28212" y="connsiteY28212"/>
              </a:cxn>
              <a:cxn ang="0">
                <a:pos x="connsiteX28213" y="connsiteY28213"/>
              </a:cxn>
              <a:cxn ang="0">
                <a:pos x="connsiteX28214" y="connsiteY28214"/>
              </a:cxn>
              <a:cxn ang="0">
                <a:pos x="connsiteX28215" y="connsiteY28215"/>
              </a:cxn>
              <a:cxn ang="0">
                <a:pos x="connsiteX28216" y="connsiteY28216"/>
              </a:cxn>
              <a:cxn ang="0">
                <a:pos x="connsiteX28217" y="connsiteY28217"/>
              </a:cxn>
              <a:cxn ang="0">
                <a:pos x="connsiteX28218" y="connsiteY28218"/>
              </a:cxn>
              <a:cxn ang="0">
                <a:pos x="connsiteX28219" y="connsiteY28219"/>
              </a:cxn>
              <a:cxn ang="0">
                <a:pos x="connsiteX28220" y="connsiteY28220"/>
              </a:cxn>
              <a:cxn ang="0">
                <a:pos x="connsiteX28221" y="connsiteY28221"/>
              </a:cxn>
              <a:cxn ang="0">
                <a:pos x="connsiteX28222" y="connsiteY28222"/>
              </a:cxn>
              <a:cxn ang="0">
                <a:pos x="connsiteX28223" y="connsiteY28223"/>
              </a:cxn>
              <a:cxn ang="0">
                <a:pos x="connsiteX28224" y="connsiteY28224"/>
              </a:cxn>
              <a:cxn ang="0">
                <a:pos x="connsiteX28225" y="connsiteY28225"/>
              </a:cxn>
              <a:cxn ang="0">
                <a:pos x="connsiteX28226" y="connsiteY28226"/>
              </a:cxn>
              <a:cxn ang="0">
                <a:pos x="connsiteX28227" y="connsiteY28227"/>
              </a:cxn>
              <a:cxn ang="0">
                <a:pos x="connsiteX28228" y="connsiteY28228"/>
              </a:cxn>
              <a:cxn ang="0">
                <a:pos x="connsiteX28229" y="connsiteY28229"/>
              </a:cxn>
              <a:cxn ang="0">
                <a:pos x="connsiteX28230" y="connsiteY28230"/>
              </a:cxn>
              <a:cxn ang="0">
                <a:pos x="connsiteX28231" y="connsiteY28231"/>
              </a:cxn>
              <a:cxn ang="0">
                <a:pos x="connsiteX28232" y="connsiteY28232"/>
              </a:cxn>
              <a:cxn ang="0">
                <a:pos x="connsiteX28233" y="connsiteY28233"/>
              </a:cxn>
              <a:cxn ang="0">
                <a:pos x="connsiteX28234" y="connsiteY28234"/>
              </a:cxn>
              <a:cxn ang="0">
                <a:pos x="connsiteX28235" y="connsiteY28235"/>
              </a:cxn>
              <a:cxn ang="0">
                <a:pos x="connsiteX28236" y="connsiteY28236"/>
              </a:cxn>
              <a:cxn ang="0">
                <a:pos x="connsiteX28237" y="connsiteY28237"/>
              </a:cxn>
              <a:cxn ang="0">
                <a:pos x="connsiteX28238" y="connsiteY28238"/>
              </a:cxn>
              <a:cxn ang="0">
                <a:pos x="connsiteX28239" y="connsiteY28239"/>
              </a:cxn>
              <a:cxn ang="0">
                <a:pos x="connsiteX28240" y="connsiteY28240"/>
              </a:cxn>
              <a:cxn ang="0">
                <a:pos x="connsiteX28241" y="connsiteY28241"/>
              </a:cxn>
              <a:cxn ang="0">
                <a:pos x="connsiteX28242" y="connsiteY28242"/>
              </a:cxn>
              <a:cxn ang="0">
                <a:pos x="connsiteX28243" y="connsiteY28243"/>
              </a:cxn>
              <a:cxn ang="0">
                <a:pos x="connsiteX28244" y="connsiteY28244"/>
              </a:cxn>
              <a:cxn ang="0">
                <a:pos x="connsiteX28245" y="connsiteY28245"/>
              </a:cxn>
              <a:cxn ang="0">
                <a:pos x="connsiteX28246" y="connsiteY28246"/>
              </a:cxn>
              <a:cxn ang="0">
                <a:pos x="connsiteX28247" y="connsiteY28247"/>
              </a:cxn>
              <a:cxn ang="0">
                <a:pos x="connsiteX28248" y="connsiteY28248"/>
              </a:cxn>
              <a:cxn ang="0">
                <a:pos x="connsiteX28249" y="connsiteY28249"/>
              </a:cxn>
              <a:cxn ang="0">
                <a:pos x="connsiteX28250" y="connsiteY28250"/>
              </a:cxn>
              <a:cxn ang="0">
                <a:pos x="connsiteX28251" y="connsiteY28251"/>
              </a:cxn>
              <a:cxn ang="0">
                <a:pos x="connsiteX28252" y="connsiteY28252"/>
              </a:cxn>
              <a:cxn ang="0">
                <a:pos x="connsiteX28253" y="connsiteY28253"/>
              </a:cxn>
              <a:cxn ang="0">
                <a:pos x="connsiteX28254" y="connsiteY28254"/>
              </a:cxn>
              <a:cxn ang="0">
                <a:pos x="connsiteX28255" y="connsiteY28255"/>
              </a:cxn>
              <a:cxn ang="0">
                <a:pos x="connsiteX28256" y="connsiteY28256"/>
              </a:cxn>
              <a:cxn ang="0">
                <a:pos x="connsiteX28257" y="connsiteY28257"/>
              </a:cxn>
              <a:cxn ang="0">
                <a:pos x="connsiteX28258" y="connsiteY28258"/>
              </a:cxn>
              <a:cxn ang="0">
                <a:pos x="connsiteX28259" y="connsiteY28259"/>
              </a:cxn>
              <a:cxn ang="0">
                <a:pos x="connsiteX28260" y="connsiteY28260"/>
              </a:cxn>
              <a:cxn ang="0">
                <a:pos x="connsiteX28261" y="connsiteY28261"/>
              </a:cxn>
              <a:cxn ang="0">
                <a:pos x="connsiteX28262" y="connsiteY28262"/>
              </a:cxn>
              <a:cxn ang="0">
                <a:pos x="connsiteX28263" y="connsiteY28263"/>
              </a:cxn>
              <a:cxn ang="0">
                <a:pos x="connsiteX28264" y="connsiteY28264"/>
              </a:cxn>
              <a:cxn ang="0">
                <a:pos x="connsiteX28265" y="connsiteY28265"/>
              </a:cxn>
              <a:cxn ang="0">
                <a:pos x="connsiteX28266" y="connsiteY28266"/>
              </a:cxn>
              <a:cxn ang="0">
                <a:pos x="connsiteX28267" y="connsiteY28267"/>
              </a:cxn>
              <a:cxn ang="0">
                <a:pos x="connsiteX28268" y="connsiteY28268"/>
              </a:cxn>
              <a:cxn ang="0">
                <a:pos x="connsiteX28269" y="connsiteY28269"/>
              </a:cxn>
              <a:cxn ang="0">
                <a:pos x="connsiteX28270" y="connsiteY28270"/>
              </a:cxn>
              <a:cxn ang="0">
                <a:pos x="connsiteX28271" y="connsiteY28271"/>
              </a:cxn>
              <a:cxn ang="0">
                <a:pos x="connsiteX28272" y="connsiteY28272"/>
              </a:cxn>
              <a:cxn ang="0">
                <a:pos x="connsiteX28273" y="connsiteY28273"/>
              </a:cxn>
              <a:cxn ang="0">
                <a:pos x="connsiteX28274" y="connsiteY28274"/>
              </a:cxn>
              <a:cxn ang="0">
                <a:pos x="connsiteX28275" y="connsiteY28275"/>
              </a:cxn>
              <a:cxn ang="0">
                <a:pos x="connsiteX28276" y="connsiteY28276"/>
              </a:cxn>
              <a:cxn ang="0">
                <a:pos x="connsiteX28277" y="connsiteY28277"/>
              </a:cxn>
              <a:cxn ang="0">
                <a:pos x="connsiteX28278" y="connsiteY28278"/>
              </a:cxn>
              <a:cxn ang="0">
                <a:pos x="connsiteX28279" y="connsiteY28279"/>
              </a:cxn>
              <a:cxn ang="0">
                <a:pos x="connsiteX28280" y="connsiteY28280"/>
              </a:cxn>
              <a:cxn ang="0">
                <a:pos x="connsiteX28281" y="connsiteY28281"/>
              </a:cxn>
              <a:cxn ang="0">
                <a:pos x="connsiteX28282" y="connsiteY28282"/>
              </a:cxn>
              <a:cxn ang="0">
                <a:pos x="connsiteX28283" y="connsiteY28283"/>
              </a:cxn>
              <a:cxn ang="0">
                <a:pos x="connsiteX28284" y="connsiteY28284"/>
              </a:cxn>
              <a:cxn ang="0">
                <a:pos x="connsiteX28285" y="connsiteY28285"/>
              </a:cxn>
              <a:cxn ang="0">
                <a:pos x="connsiteX28286" y="connsiteY28286"/>
              </a:cxn>
              <a:cxn ang="0">
                <a:pos x="connsiteX28287" y="connsiteY28287"/>
              </a:cxn>
              <a:cxn ang="0">
                <a:pos x="connsiteX28288" y="connsiteY28288"/>
              </a:cxn>
              <a:cxn ang="0">
                <a:pos x="connsiteX28289" y="connsiteY28289"/>
              </a:cxn>
              <a:cxn ang="0">
                <a:pos x="connsiteX28290" y="connsiteY28290"/>
              </a:cxn>
              <a:cxn ang="0">
                <a:pos x="connsiteX28291" y="connsiteY28291"/>
              </a:cxn>
              <a:cxn ang="0">
                <a:pos x="connsiteX28292" y="connsiteY28292"/>
              </a:cxn>
              <a:cxn ang="0">
                <a:pos x="connsiteX28293" y="connsiteY28293"/>
              </a:cxn>
              <a:cxn ang="0">
                <a:pos x="connsiteX28294" y="connsiteY28294"/>
              </a:cxn>
              <a:cxn ang="0">
                <a:pos x="connsiteX28295" y="connsiteY28295"/>
              </a:cxn>
              <a:cxn ang="0">
                <a:pos x="connsiteX28296" y="connsiteY28296"/>
              </a:cxn>
              <a:cxn ang="0">
                <a:pos x="connsiteX28297" y="connsiteY28297"/>
              </a:cxn>
              <a:cxn ang="0">
                <a:pos x="connsiteX28298" y="connsiteY28298"/>
              </a:cxn>
              <a:cxn ang="0">
                <a:pos x="connsiteX28299" y="connsiteY28299"/>
              </a:cxn>
              <a:cxn ang="0">
                <a:pos x="connsiteX28300" y="connsiteY28300"/>
              </a:cxn>
              <a:cxn ang="0">
                <a:pos x="connsiteX28301" y="connsiteY28301"/>
              </a:cxn>
              <a:cxn ang="0">
                <a:pos x="connsiteX28302" y="connsiteY28302"/>
              </a:cxn>
              <a:cxn ang="0">
                <a:pos x="connsiteX28303" y="connsiteY28303"/>
              </a:cxn>
              <a:cxn ang="0">
                <a:pos x="connsiteX28304" y="connsiteY28304"/>
              </a:cxn>
              <a:cxn ang="0">
                <a:pos x="connsiteX28305" y="connsiteY28305"/>
              </a:cxn>
              <a:cxn ang="0">
                <a:pos x="connsiteX28306" y="connsiteY28306"/>
              </a:cxn>
              <a:cxn ang="0">
                <a:pos x="connsiteX28307" y="connsiteY28307"/>
              </a:cxn>
              <a:cxn ang="0">
                <a:pos x="connsiteX28308" y="connsiteY28308"/>
              </a:cxn>
              <a:cxn ang="0">
                <a:pos x="connsiteX28309" y="connsiteY28309"/>
              </a:cxn>
              <a:cxn ang="0">
                <a:pos x="connsiteX28310" y="connsiteY28310"/>
              </a:cxn>
              <a:cxn ang="0">
                <a:pos x="connsiteX28311" y="connsiteY28311"/>
              </a:cxn>
              <a:cxn ang="0">
                <a:pos x="connsiteX28312" y="connsiteY28312"/>
              </a:cxn>
              <a:cxn ang="0">
                <a:pos x="connsiteX28313" y="connsiteY28313"/>
              </a:cxn>
              <a:cxn ang="0">
                <a:pos x="connsiteX28314" y="connsiteY28314"/>
              </a:cxn>
              <a:cxn ang="0">
                <a:pos x="connsiteX28315" y="connsiteY28315"/>
              </a:cxn>
              <a:cxn ang="0">
                <a:pos x="connsiteX28316" y="connsiteY28316"/>
              </a:cxn>
              <a:cxn ang="0">
                <a:pos x="connsiteX28317" y="connsiteY28317"/>
              </a:cxn>
              <a:cxn ang="0">
                <a:pos x="connsiteX28318" y="connsiteY28318"/>
              </a:cxn>
              <a:cxn ang="0">
                <a:pos x="connsiteX28319" y="connsiteY28319"/>
              </a:cxn>
              <a:cxn ang="0">
                <a:pos x="connsiteX28320" y="connsiteY28320"/>
              </a:cxn>
              <a:cxn ang="0">
                <a:pos x="connsiteX28321" y="connsiteY28321"/>
              </a:cxn>
              <a:cxn ang="0">
                <a:pos x="connsiteX28322" y="connsiteY28322"/>
              </a:cxn>
              <a:cxn ang="0">
                <a:pos x="connsiteX28323" y="connsiteY28323"/>
              </a:cxn>
              <a:cxn ang="0">
                <a:pos x="connsiteX28324" y="connsiteY28324"/>
              </a:cxn>
              <a:cxn ang="0">
                <a:pos x="connsiteX28325" y="connsiteY28325"/>
              </a:cxn>
              <a:cxn ang="0">
                <a:pos x="connsiteX28326" y="connsiteY28326"/>
              </a:cxn>
              <a:cxn ang="0">
                <a:pos x="connsiteX28327" y="connsiteY28327"/>
              </a:cxn>
              <a:cxn ang="0">
                <a:pos x="connsiteX28328" y="connsiteY28328"/>
              </a:cxn>
              <a:cxn ang="0">
                <a:pos x="connsiteX28329" y="connsiteY28329"/>
              </a:cxn>
              <a:cxn ang="0">
                <a:pos x="connsiteX28330" y="connsiteY28330"/>
              </a:cxn>
              <a:cxn ang="0">
                <a:pos x="connsiteX28331" y="connsiteY28331"/>
              </a:cxn>
              <a:cxn ang="0">
                <a:pos x="connsiteX28332" y="connsiteY28332"/>
              </a:cxn>
              <a:cxn ang="0">
                <a:pos x="connsiteX28333" y="connsiteY28333"/>
              </a:cxn>
              <a:cxn ang="0">
                <a:pos x="connsiteX28334" y="connsiteY28334"/>
              </a:cxn>
              <a:cxn ang="0">
                <a:pos x="connsiteX28335" y="connsiteY28335"/>
              </a:cxn>
              <a:cxn ang="0">
                <a:pos x="connsiteX28336" y="connsiteY28336"/>
              </a:cxn>
              <a:cxn ang="0">
                <a:pos x="connsiteX28337" y="connsiteY28337"/>
              </a:cxn>
              <a:cxn ang="0">
                <a:pos x="connsiteX28338" y="connsiteY28338"/>
              </a:cxn>
              <a:cxn ang="0">
                <a:pos x="connsiteX28339" y="connsiteY28339"/>
              </a:cxn>
              <a:cxn ang="0">
                <a:pos x="connsiteX28340" y="connsiteY28340"/>
              </a:cxn>
              <a:cxn ang="0">
                <a:pos x="connsiteX28341" y="connsiteY28341"/>
              </a:cxn>
              <a:cxn ang="0">
                <a:pos x="connsiteX28342" y="connsiteY28342"/>
              </a:cxn>
              <a:cxn ang="0">
                <a:pos x="connsiteX28343" y="connsiteY28343"/>
              </a:cxn>
              <a:cxn ang="0">
                <a:pos x="connsiteX28344" y="connsiteY28344"/>
              </a:cxn>
              <a:cxn ang="0">
                <a:pos x="connsiteX28345" y="connsiteY28345"/>
              </a:cxn>
              <a:cxn ang="0">
                <a:pos x="connsiteX28346" y="connsiteY28346"/>
              </a:cxn>
              <a:cxn ang="0">
                <a:pos x="connsiteX28347" y="connsiteY28347"/>
              </a:cxn>
              <a:cxn ang="0">
                <a:pos x="connsiteX28348" y="connsiteY28348"/>
              </a:cxn>
              <a:cxn ang="0">
                <a:pos x="connsiteX28349" y="connsiteY28349"/>
              </a:cxn>
              <a:cxn ang="0">
                <a:pos x="connsiteX28350" y="connsiteY28350"/>
              </a:cxn>
              <a:cxn ang="0">
                <a:pos x="connsiteX28351" y="connsiteY28351"/>
              </a:cxn>
              <a:cxn ang="0">
                <a:pos x="connsiteX28352" y="connsiteY28352"/>
              </a:cxn>
              <a:cxn ang="0">
                <a:pos x="connsiteX28353" y="connsiteY28353"/>
              </a:cxn>
              <a:cxn ang="0">
                <a:pos x="connsiteX28354" y="connsiteY28354"/>
              </a:cxn>
              <a:cxn ang="0">
                <a:pos x="connsiteX28355" y="connsiteY28355"/>
              </a:cxn>
              <a:cxn ang="0">
                <a:pos x="connsiteX28356" y="connsiteY28356"/>
              </a:cxn>
              <a:cxn ang="0">
                <a:pos x="connsiteX28357" y="connsiteY28357"/>
              </a:cxn>
              <a:cxn ang="0">
                <a:pos x="connsiteX28358" y="connsiteY28358"/>
              </a:cxn>
              <a:cxn ang="0">
                <a:pos x="connsiteX28359" y="connsiteY28359"/>
              </a:cxn>
              <a:cxn ang="0">
                <a:pos x="connsiteX28360" y="connsiteY28360"/>
              </a:cxn>
              <a:cxn ang="0">
                <a:pos x="connsiteX28361" y="connsiteY28361"/>
              </a:cxn>
              <a:cxn ang="0">
                <a:pos x="connsiteX28362" y="connsiteY28362"/>
              </a:cxn>
              <a:cxn ang="0">
                <a:pos x="connsiteX28363" y="connsiteY28363"/>
              </a:cxn>
              <a:cxn ang="0">
                <a:pos x="connsiteX28364" y="connsiteY28364"/>
              </a:cxn>
              <a:cxn ang="0">
                <a:pos x="connsiteX28365" y="connsiteY28365"/>
              </a:cxn>
              <a:cxn ang="0">
                <a:pos x="connsiteX28366" y="connsiteY28366"/>
              </a:cxn>
              <a:cxn ang="0">
                <a:pos x="connsiteX28367" y="connsiteY28367"/>
              </a:cxn>
              <a:cxn ang="0">
                <a:pos x="connsiteX28368" y="connsiteY28368"/>
              </a:cxn>
              <a:cxn ang="0">
                <a:pos x="connsiteX28369" y="connsiteY28369"/>
              </a:cxn>
              <a:cxn ang="0">
                <a:pos x="connsiteX28370" y="connsiteY28370"/>
              </a:cxn>
              <a:cxn ang="0">
                <a:pos x="connsiteX28371" y="connsiteY28371"/>
              </a:cxn>
              <a:cxn ang="0">
                <a:pos x="connsiteX28372" y="connsiteY28372"/>
              </a:cxn>
              <a:cxn ang="0">
                <a:pos x="connsiteX28373" y="connsiteY28373"/>
              </a:cxn>
              <a:cxn ang="0">
                <a:pos x="connsiteX28374" y="connsiteY28374"/>
              </a:cxn>
              <a:cxn ang="0">
                <a:pos x="connsiteX28375" y="connsiteY28375"/>
              </a:cxn>
              <a:cxn ang="0">
                <a:pos x="connsiteX28376" y="connsiteY28376"/>
              </a:cxn>
              <a:cxn ang="0">
                <a:pos x="connsiteX28377" y="connsiteY28377"/>
              </a:cxn>
              <a:cxn ang="0">
                <a:pos x="connsiteX28378" y="connsiteY28378"/>
              </a:cxn>
              <a:cxn ang="0">
                <a:pos x="connsiteX28379" y="connsiteY28379"/>
              </a:cxn>
              <a:cxn ang="0">
                <a:pos x="connsiteX28380" y="connsiteY28380"/>
              </a:cxn>
              <a:cxn ang="0">
                <a:pos x="connsiteX28381" y="connsiteY28381"/>
              </a:cxn>
              <a:cxn ang="0">
                <a:pos x="connsiteX28382" y="connsiteY28382"/>
              </a:cxn>
              <a:cxn ang="0">
                <a:pos x="connsiteX28383" y="connsiteY28383"/>
              </a:cxn>
              <a:cxn ang="0">
                <a:pos x="connsiteX28384" y="connsiteY28384"/>
              </a:cxn>
              <a:cxn ang="0">
                <a:pos x="connsiteX28385" y="connsiteY28385"/>
              </a:cxn>
              <a:cxn ang="0">
                <a:pos x="connsiteX28386" y="connsiteY28386"/>
              </a:cxn>
              <a:cxn ang="0">
                <a:pos x="connsiteX28387" y="connsiteY28387"/>
              </a:cxn>
              <a:cxn ang="0">
                <a:pos x="connsiteX28388" y="connsiteY28388"/>
              </a:cxn>
              <a:cxn ang="0">
                <a:pos x="connsiteX28389" y="connsiteY28389"/>
              </a:cxn>
              <a:cxn ang="0">
                <a:pos x="connsiteX28390" y="connsiteY28390"/>
              </a:cxn>
              <a:cxn ang="0">
                <a:pos x="connsiteX28391" y="connsiteY28391"/>
              </a:cxn>
              <a:cxn ang="0">
                <a:pos x="connsiteX28392" y="connsiteY28392"/>
              </a:cxn>
              <a:cxn ang="0">
                <a:pos x="connsiteX28393" y="connsiteY28393"/>
              </a:cxn>
              <a:cxn ang="0">
                <a:pos x="connsiteX28394" y="connsiteY28394"/>
              </a:cxn>
              <a:cxn ang="0">
                <a:pos x="connsiteX28395" y="connsiteY28395"/>
              </a:cxn>
              <a:cxn ang="0">
                <a:pos x="connsiteX28396" y="connsiteY28396"/>
              </a:cxn>
              <a:cxn ang="0">
                <a:pos x="connsiteX28397" y="connsiteY28397"/>
              </a:cxn>
              <a:cxn ang="0">
                <a:pos x="connsiteX28398" y="connsiteY28398"/>
              </a:cxn>
              <a:cxn ang="0">
                <a:pos x="connsiteX28399" y="connsiteY28399"/>
              </a:cxn>
              <a:cxn ang="0">
                <a:pos x="connsiteX28400" y="connsiteY28400"/>
              </a:cxn>
              <a:cxn ang="0">
                <a:pos x="connsiteX28401" y="connsiteY28401"/>
              </a:cxn>
              <a:cxn ang="0">
                <a:pos x="connsiteX28402" y="connsiteY28402"/>
              </a:cxn>
              <a:cxn ang="0">
                <a:pos x="connsiteX28403" y="connsiteY28403"/>
              </a:cxn>
              <a:cxn ang="0">
                <a:pos x="connsiteX28404" y="connsiteY28404"/>
              </a:cxn>
              <a:cxn ang="0">
                <a:pos x="connsiteX28405" y="connsiteY28405"/>
              </a:cxn>
              <a:cxn ang="0">
                <a:pos x="connsiteX28406" y="connsiteY28406"/>
              </a:cxn>
              <a:cxn ang="0">
                <a:pos x="connsiteX28407" y="connsiteY28407"/>
              </a:cxn>
              <a:cxn ang="0">
                <a:pos x="connsiteX28408" y="connsiteY28408"/>
              </a:cxn>
              <a:cxn ang="0">
                <a:pos x="connsiteX28409" y="connsiteY28409"/>
              </a:cxn>
              <a:cxn ang="0">
                <a:pos x="connsiteX28410" y="connsiteY28410"/>
              </a:cxn>
              <a:cxn ang="0">
                <a:pos x="connsiteX28411" y="connsiteY28411"/>
              </a:cxn>
              <a:cxn ang="0">
                <a:pos x="connsiteX28412" y="connsiteY28412"/>
              </a:cxn>
              <a:cxn ang="0">
                <a:pos x="connsiteX28413" y="connsiteY28413"/>
              </a:cxn>
              <a:cxn ang="0">
                <a:pos x="connsiteX28414" y="connsiteY28414"/>
              </a:cxn>
              <a:cxn ang="0">
                <a:pos x="connsiteX28415" y="connsiteY28415"/>
              </a:cxn>
              <a:cxn ang="0">
                <a:pos x="connsiteX28416" y="connsiteY28416"/>
              </a:cxn>
              <a:cxn ang="0">
                <a:pos x="connsiteX28417" y="connsiteY28417"/>
              </a:cxn>
              <a:cxn ang="0">
                <a:pos x="connsiteX28418" y="connsiteY28418"/>
              </a:cxn>
              <a:cxn ang="0">
                <a:pos x="connsiteX28419" y="connsiteY28419"/>
              </a:cxn>
              <a:cxn ang="0">
                <a:pos x="connsiteX28420" y="connsiteY28420"/>
              </a:cxn>
              <a:cxn ang="0">
                <a:pos x="connsiteX28421" y="connsiteY28421"/>
              </a:cxn>
              <a:cxn ang="0">
                <a:pos x="connsiteX28422" y="connsiteY28422"/>
              </a:cxn>
              <a:cxn ang="0">
                <a:pos x="connsiteX28423" y="connsiteY28423"/>
              </a:cxn>
              <a:cxn ang="0">
                <a:pos x="connsiteX28424" y="connsiteY28424"/>
              </a:cxn>
              <a:cxn ang="0">
                <a:pos x="connsiteX28425" y="connsiteY28425"/>
              </a:cxn>
              <a:cxn ang="0">
                <a:pos x="connsiteX28426" y="connsiteY28426"/>
              </a:cxn>
              <a:cxn ang="0">
                <a:pos x="connsiteX28427" y="connsiteY28427"/>
              </a:cxn>
              <a:cxn ang="0">
                <a:pos x="connsiteX28428" y="connsiteY28428"/>
              </a:cxn>
              <a:cxn ang="0">
                <a:pos x="connsiteX28429" y="connsiteY28429"/>
              </a:cxn>
              <a:cxn ang="0">
                <a:pos x="connsiteX28430" y="connsiteY28430"/>
              </a:cxn>
              <a:cxn ang="0">
                <a:pos x="connsiteX28431" y="connsiteY28431"/>
              </a:cxn>
              <a:cxn ang="0">
                <a:pos x="connsiteX28432" y="connsiteY28432"/>
              </a:cxn>
              <a:cxn ang="0">
                <a:pos x="connsiteX28433" y="connsiteY28433"/>
              </a:cxn>
              <a:cxn ang="0">
                <a:pos x="connsiteX28434" y="connsiteY28434"/>
              </a:cxn>
              <a:cxn ang="0">
                <a:pos x="connsiteX28435" y="connsiteY28435"/>
              </a:cxn>
              <a:cxn ang="0">
                <a:pos x="connsiteX28436" y="connsiteY28436"/>
              </a:cxn>
              <a:cxn ang="0">
                <a:pos x="connsiteX28437" y="connsiteY28437"/>
              </a:cxn>
              <a:cxn ang="0">
                <a:pos x="connsiteX28438" y="connsiteY28438"/>
              </a:cxn>
              <a:cxn ang="0">
                <a:pos x="connsiteX28439" y="connsiteY28439"/>
              </a:cxn>
              <a:cxn ang="0">
                <a:pos x="connsiteX28440" y="connsiteY28440"/>
              </a:cxn>
              <a:cxn ang="0">
                <a:pos x="connsiteX28441" y="connsiteY28441"/>
              </a:cxn>
              <a:cxn ang="0">
                <a:pos x="connsiteX28442" y="connsiteY28442"/>
              </a:cxn>
              <a:cxn ang="0">
                <a:pos x="connsiteX28443" y="connsiteY28443"/>
              </a:cxn>
              <a:cxn ang="0">
                <a:pos x="connsiteX28444" y="connsiteY28444"/>
              </a:cxn>
              <a:cxn ang="0">
                <a:pos x="connsiteX28445" y="connsiteY28445"/>
              </a:cxn>
              <a:cxn ang="0">
                <a:pos x="connsiteX28446" y="connsiteY28446"/>
              </a:cxn>
              <a:cxn ang="0">
                <a:pos x="connsiteX28447" y="connsiteY28447"/>
              </a:cxn>
              <a:cxn ang="0">
                <a:pos x="connsiteX28448" y="connsiteY28448"/>
              </a:cxn>
              <a:cxn ang="0">
                <a:pos x="connsiteX28449" y="connsiteY28449"/>
              </a:cxn>
              <a:cxn ang="0">
                <a:pos x="connsiteX28450" y="connsiteY28450"/>
              </a:cxn>
              <a:cxn ang="0">
                <a:pos x="connsiteX28451" y="connsiteY28451"/>
              </a:cxn>
              <a:cxn ang="0">
                <a:pos x="connsiteX28452" y="connsiteY28452"/>
              </a:cxn>
              <a:cxn ang="0">
                <a:pos x="connsiteX28453" y="connsiteY28453"/>
              </a:cxn>
              <a:cxn ang="0">
                <a:pos x="connsiteX28454" y="connsiteY28454"/>
              </a:cxn>
              <a:cxn ang="0">
                <a:pos x="connsiteX28455" y="connsiteY28455"/>
              </a:cxn>
              <a:cxn ang="0">
                <a:pos x="connsiteX28456" y="connsiteY28456"/>
              </a:cxn>
              <a:cxn ang="0">
                <a:pos x="connsiteX28457" y="connsiteY28457"/>
              </a:cxn>
              <a:cxn ang="0">
                <a:pos x="connsiteX28458" y="connsiteY28458"/>
              </a:cxn>
              <a:cxn ang="0">
                <a:pos x="connsiteX28459" y="connsiteY28459"/>
              </a:cxn>
              <a:cxn ang="0">
                <a:pos x="connsiteX28460" y="connsiteY28460"/>
              </a:cxn>
              <a:cxn ang="0">
                <a:pos x="connsiteX28461" y="connsiteY28461"/>
              </a:cxn>
              <a:cxn ang="0">
                <a:pos x="connsiteX28462" y="connsiteY28462"/>
              </a:cxn>
              <a:cxn ang="0">
                <a:pos x="connsiteX28463" y="connsiteY28463"/>
              </a:cxn>
              <a:cxn ang="0">
                <a:pos x="connsiteX28464" y="connsiteY28464"/>
              </a:cxn>
              <a:cxn ang="0">
                <a:pos x="connsiteX28465" y="connsiteY28465"/>
              </a:cxn>
              <a:cxn ang="0">
                <a:pos x="connsiteX28466" y="connsiteY28466"/>
              </a:cxn>
              <a:cxn ang="0">
                <a:pos x="connsiteX28467" y="connsiteY28467"/>
              </a:cxn>
              <a:cxn ang="0">
                <a:pos x="connsiteX28468" y="connsiteY28468"/>
              </a:cxn>
              <a:cxn ang="0">
                <a:pos x="connsiteX28469" y="connsiteY28469"/>
              </a:cxn>
              <a:cxn ang="0">
                <a:pos x="connsiteX28470" y="connsiteY28470"/>
              </a:cxn>
              <a:cxn ang="0">
                <a:pos x="connsiteX28471" y="connsiteY28471"/>
              </a:cxn>
              <a:cxn ang="0">
                <a:pos x="connsiteX28472" y="connsiteY28472"/>
              </a:cxn>
              <a:cxn ang="0">
                <a:pos x="connsiteX28473" y="connsiteY28473"/>
              </a:cxn>
              <a:cxn ang="0">
                <a:pos x="connsiteX28474" y="connsiteY28474"/>
              </a:cxn>
              <a:cxn ang="0">
                <a:pos x="connsiteX28475" y="connsiteY28475"/>
              </a:cxn>
              <a:cxn ang="0">
                <a:pos x="connsiteX28476" y="connsiteY28476"/>
              </a:cxn>
              <a:cxn ang="0">
                <a:pos x="connsiteX28477" y="connsiteY28477"/>
              </a:cxn>
              <a:cxn ang="0">
                <a:pos x="connsiteX28478" y="connsiteY28478"/>
              </a:cxn>
              <a:cxn ang="0">
                <a:pos x="connsiteX28479" y="connsiteY28479"/>
              </a:cxn>
              <a:cxn ang="0">
                <a:pos x="connsiteX28480" y="connsiteY28480"/>
              </a:cxn>
              <a:cxn ang="0">
                <a:pos x="connsiteX28481" y="connsiteY28481"/>
              </a:cxn>
              <a:cxn ang="0">
                <a:pos x="connsiteX28482" y="connsiteY28482"/>
              </a:cxn>
              <a:cxn ang="0">
                <a:pos x="connsiteX28483" y="connsiteY28483"/>
              </a:cxn>
              <a:cxn ang="0">
                <a:pos x="connsiteX28484" y="connsiteY28484"/>
              </a:cxn>
              <a:cxn ang="0">
                <a:pos x="connsiteX28485" y="connsiteY28485"/>
              </a:cxn>
              <a:cxn ang="0">
                <a:pos x="connsiteX28486" y="connsiteY28486"/>
              </a:cxn>
              <a:cxn ang="0">
                <a:pos x="connsiteX28487" y="connsiteY28487"/>
              </a:cxn>
              <a:cxn ang="0">
                <a:pos x="connsiteX28488" y="connsiteY28488"/>
              </a:cxn>
              <a:cxn ang="0">
                <a:pos x="connsiteX28489" y="connsiteY28489"/>
              </a:cxn>
              <a:cxn ang="0">
                <a:pos x="connsiteX28490" y="connsiteY28490"/>
              </a:cxn>
              <a:cxn ang="0">
                <a:pos x="connsiteX28491" y="connsiteY28491"/>
              </a:cxn>
              <a:cxn ang="0">
                <a:pos x="connsiteX28492" y="connsiteY28492"/>
              </a:cxn>
              <a:cxn ang="0">
                <a:pos x="connsiteX28493" y="connsiteY28493"/>
              </a:cxn>
              <a:cxn ang="0">
                <a:pos x="connsiteX28494" y="connsiteY28494"/>
              </a:cxn>
              <a:cxn ang="0">
                <a:pos x="connsiteX28495" y="connsiteY28495"/>
              </a:cxn>
              <a:cxn ang="0">
                <a:pos x="connsiteX28496" y="connsiteY28496"/>
              </a:cxn>
              <a:cxn ang="0">
                <a:pos x="connsiteX28497" y="connsiteY28497"/>
              </a:cxn>
              <a:cxn ang="0">
                <a:pos x="connsiteX28498" y="connsiteY28498"/>
              </a:cxn>
              <a:cxn ang="0">
                <a:pos x="connsiteX28499" y="connsiteY28499"/>
              </a:cxn>
              <a:cxn ang="0">
                <a:pos x="connsiteX28500" y="connsiteY28500"/>
              </a:cxn>
              <a:cxn ang="0">
                <a:pos x="connsiteX28501" y="connsiteY28501"/>
              </a:cxn>
              <a:cxn ang="0">
                <a:pos x="connsiteX28502" y="connsiteY28502"/>
              </a:cxn>
              <a:cxn ang="0">
                <a:pos x="connsiteX28503" y="connsiteY28503"/>
              </a:cxn>
              <a:cxn ang="0">
                <a:pos x="connsiteX28504" y="connsiteY28504"/>
              </a:cxn>
              <a:cxn ang="0">
                <a:pos x="connsiteX28505" y="connsiteY28505"/>
              </a:cxn>
              <a:cxn ang="0">
                <a:pos x="connsiteX28506" y="connsiteY28506"/>
              </a:cxn>
              <a:cxn ang="0">
                <a:pos x="connsiteX28507" y="connsiteY28507"/>
              </a:cxn>
              <a:cxn ang="0">
                <a:pos x="connsiteX28508" y="connsiteY28508"/>
              </a:cxn>
              <a:cxn ang="0">
                <a:pos x="connsiteX28509" y="connsiteY28509"/>
              </a:cxn>
              <a:cxn ang="0">
                <a:pos x="connsiteX28510" y="connsiteY28510"/>
              </a:cxn>
              <a:cxn ang="0">
                <a:pos x="connsiteX28511" y="connsiteY28511"/>
              </a:cxn>
              <a:cxn ang="0">
                <a:pos x="connsiteX28512" y="connsiteY28512"/>
              </a:cxn>
              <a:cxn ang="0">
                <a:pos x="connsiteX28513" y="connsiteY28513"/>
              </a:cxn>
              <a:cxn ang="0">
                <a:pos x="connsiteX28514" y="connsiteY28514"/>
              </a:cxn>
              <a:cxn ang="0">
                <a:pos x="connsiteX28515" y="connsiteY28515"/>
              </a:cxn>
              <a:cxn ang="0">
                <a:pos x="connsiteX28516" y="connsiteY28516"/>
              </a:cxn>
              <a:cxn ang="0">
                <a:pos x="connsiteX28517" y="connsiteY28517"/>
              </a:cxn>
              <a:cxn ang="0">
                <a:pos x="connsiteX28518" y="connsiteY28518"/>
              </a:cxn>
              <a:cxn ang="0">
                <a:pos x="connsiteX28519" y="connsiteY28519"/>
              </a:cxn>
              <a:cxn ang="0">
                <a:pos x="connsiteX28520" y="connsiteY28520"/>
              </a:cxn>
              <a:cxn ang="0">
                <a:pos x="connsiteX28521" y="connsiteY28521"/>
              </a:cxn>
              <a:cxn ang="0">
                <a:pos x="connsiteX28522" y="connsiteY28522"/>
              </a:cxn>
              <a:cxn ang="0">
                <a:pos x="connsiteX28523" y="connsiteY28523"/>
              </a:cxn>
              <a:cxn ang="0">
                <a:pos x="connsiteX28524" y="connsiteY28524"/>
              </a:cxn>
              <a:cxn ang="0">
                <a:pos x="connsiteX28525" y="connsiteY28525"/>
              </a:cxn>
              <a:cxn ang="0">
                <a:pos x="connsiteX28526" y="connsiteY28526"/>
              </a:cxn>
              <a:cxn ang="0">
                <a:pos x="connsiteX28527" y="connsiteY28527"/>
              </a:cxn>
              <a:cxn ang="0">
                <a:pos x="connsiteX28528" y="connsiteY28528"/>
              </a:cxn>
              <a:cxn ang="0">
                <a:pos x="connsiteX28529" y="connsiteY28529"/>
              </a:cxn>
              <a:cxn ang="0">
                <a:pos x="connsiteX28530" y="connsiteY28530"/>
              </a:cxn>
              <a:cxn ang="0">
                <a:pos x="connsiteX28531" y="connsiteY28531"/>
              </a:cxn>
              <a:cxn ang="0">
                <a:pos x="connsiteX28532" y="connsiteY28532"/>
              </a:cxn>
              <a:cxn ang="0">
                <a:pos x="connsiteX28533" y="connsiteY28533"/>
              </a:cxn>
              <a:cxn ang="0">
                <a:pos x="connsiteX28534" y="connsiteY28534"/>
              </a:cxn>
              <a:cxn ang="0">
                <a:pos x="connsiteX28535" y="connsiteY28535"/>
              </a:cxn>
              <a:cxn ang="0">
                <a:pos x="connsiteX28536" y="connsiteY28536"/>
              </a:cxn>
              <a:cxn ang="0">
                <a:pos x="connsiteX28537" y="connsiteY28537"/>
              </a:cxn>
              <a:cxn ang="0">
                <a:pos x="connsiteX28538" y="connsiteY28538"/>
              </a:cxn>
              <a:cxn ang="0">
                <a:pos x="connsiteX28539" y="connsiteY28539"/>
              </a:cxn>
              <a:cxn ang="0">
                <a:pos x="connsiteX28540" y="connsiteY28540"/>
              </a:cxn>
              <a:cxn ang="0">
                <a:pos x="connsiteX28541" y="connsiteY28541"/>
              </a:cxn>
              <a:cxn ang="0">
                <a:pos x="connsiteX28542" y="connsiteY28542"/>
              </a:cxn>
              <a:cxn ang="0">
                <a:pos x="connsiteX28543" y="connsiteY28543"/>
              </a:cxn>
              <a:cxn ang="0">
                <a:pos x="connsiteX28544" y="connsiteY28544"/>
              </a:cxn>
              <a:cxn ang="0">
                <a:pos x="connsiteX28545" y="connsiteY28545"/>
              </a:cxn>
              <a:cxn ang="0">
                <a:pos x="connsiteX28546" y="connsiteY28546"/>
              </a:cxn>
              <a:cxn ang="0">
                <a:pos x="connsiteX28547" y="connsiteY28547"/>
              </a:cxn>
              <a:cxn ang="0">
                <a:pos x="connsiteX28548" y="connsiteY28548"/>
              </a:cxn>
              <a:cxn ang="0">
                <a:pos x="connsiteX28549" y="connsiteY28549"/>
              </a:cxn>
              <a:cxn ang="0">
                <a:pos x="connsiteX28550" y="connsiteY28550"/>
              </a:cxn>
              <a:cxn ang="0">
                <a:pos x="connsiteX28551" y="connsiteY28551"/>
              </a:cxn>
              <a:cxn ang="0">
                <a:pos x="connsiteX28552" y="connsiteY28552"/>
              </a:cxn>
              <a:cxn ang="0">
                <a:pos x="connsiteX28553" y="connsiteY28553"/>
              </a:cxn>
              <a:cxn ang="0">
                <a:pos x="connsiteX28554" y="connsiteY28554"/>
              </a:cxn>
              <a:cxn ang="0">
                <a:pos x="connsiteX28555" y="connsiteY28555"/>
              </a:cxn>
              <a:cxn ang="0">
                <a:pos x="connsiteX28556" y="connsiteY28556"/>
              </a:cxn>
              <a:cxn ang="0">
                <a:pos x="connsiteX28557" y="connsiteY28557"/>
              </a:cxn>
              <a:cxn ang="0">
                <a:pos x="connsiteX28558" y="connsiteY28558"/>
              </a:cxn>
              <a:cxn ang="0">
                <a:pos x="connsiteX28559" y="connsiteY28559"/>
              </a:cxn>
              <a:cxn ang="0">
                <a:pos x="connsiteX28560" y="connsiteY28560"/>
              </a:cxn>
              <a:cxn ang="0">
                <a:pos x="connsiteX28561" y="connsiteY28561"/>
              </a:cxn>
              <a:cxn ang="0">
                <a:pos x="connsiteX28562" y="connsiteY28562"/>
              </a:cxn>
              <a:cxn ang="0">
                <a:pos x="connsiteX28563" y="connsiteY28563"/>
              </a:cxn>
              <a:cxn ang="0">
                <a:pos x="connsiteX28564" y="connsiteY28564"/>
              </a:cxn>
              <a:cxn ang="0">
                <a:pos x="connsiteX28565" y="connsiteY28565"/>
              </a:cxn>
              <a:cxn ang="0">
                <a:pos x="connsiteX28566" y="connsiteY28566"/>
              </a:cxn>
              <a:cxn ang="0">
                <a:pos x="connsiteX28567" y="connsiteY28567"/>
              </a:cxn>
              <a:cxn ang="0">
                <a:pos x="connsiteX28568" y="connsiteY28568"/>
              </a:cxn>
              <a:cxn ang="0">
                <a:pos x="connsiteX28569" y="connsiteY28569"/>
              </a:cxn>
              <a:cxn ang="0">
                <a:pos x="connsiteX28570" y="connsiteY28570"/>
              </a:cxn>
              <a:cxn ang="0">
                <a:pos x="connsiteX28571" y="connsiteY28571"/>
              </a:cxn>
              <a:cxn ang="0">
                <a:pos x="connsiteX28572" y="connsiteY28572"/>
              </a:cxn>
              <a:cxn ang="0">
                <a:pos x="connsiteX28573" y="connsiteY28573"/>
              </a:cxn>
              <a:cxn ang="0">
                <a:pos x="connsiteX28574" y="connsiteY28574"/>
              </a:cxn>
              <a:cxn ang="0">
                <a:pos x="connsiteX28575" y="connsiteY28575"/>
              </a:cxn>
              <a:cxn ang="0">
                <a:pos x="connsiteX28576" y="connsiteY28576"/>
              </a:cxn>
              <a:cxn ang="0">
                <a:pos x="connsiteX28577" y="connsiteY28577"/>
              </a:cxn>
              <a:cxn ang="0">
                <a:pos x="connsiteX28578" y="connsiteY28578"/>
              </a:cxn>
              <a:cxn ang="0">
                <a:pos x="connsiteX28579" y="connsiteY28579"/>
              </a:cxn>
              <a:cxn ang="0">
                <a:pos x="connsiteX28580" y="connsiteY28580"/>
              </a:cxn>
              <a:cxn ang="0">
                <a:pos x="connsiteX28581" y="connsiteY28581"/>
              </a:cxn>
              <a:cxn ang="0">
                <a:pos x="connsiteX28582" y="connsiteY28582"/>
              </a:cxn>
              <a:cxn ang="0">
                <a:pos x="connsiteX28583" y="connsiteY28583"/>
              </a:cxn>
              <a:cxn ang="0">
                <a:pos x="connsiteX28584" y="connsiteY28584"/>
              </a:cxn>
              <a:cxn ang="0">
                <a:pos x="connsiteX28585" y="connsiteY28585"/>
              </a:cxn>
              <a:cxn ang="0">
                <a:pos x="connsiteX28586" y="connsiteY28586"/>
              </a:cxn>
              <a:cxn ang="0">
                <a:pos x="connsiteX28587" y="connsiteY28587"/>
              </a:cxn>
              <a:cxn ang="0">
                <a:pos x="connsiteX28588" y="connsiteY28588"/>
              </a:cxn>
              <a:cxn ang="0">
                <a:pos x="connsiteX28589" y="connsiteY28589"/>
              </a:cxn>
              <a:cxn ang="0">
                <a:pos x="connsiteX28590" y="connsiteY28590"/>
              </a:cxn>
              <a:cxn ang="0">
                <a:pos x="connsiteX28591" y="connsiteY28591"/>
              </a:cxn>
              <a:cxn ang="0">
                <a:pos x="connsiteX28592" y="connsiteY28592"/>
              </a:cxn>
              <a:cxn ang="0">
                <a:pos x="connsiteX28593" y="connsiteY28593"/>
              </a:cxn>
              <a:cxn ang="0">
                <a:pos x="connsiteX28594" y="connsiteY28594"/>
              </a:cxn>
              <a:cxn ang="0">
                <a:pos x="connsiteX28595" y="connsiteY28595"/>
              </a:cxn>
              <a:cxn ang="0">
                <a:pos x="connsiteX28596" y="connsiteY28596"/>
              </a:cxn>
              <a:cxn ang="0">
                <a:pos x="connsiteX28597" y="connsiteY28597"/>
              </a:cxn>
              <a:cxn ang="0">
                <a:pos x="connsiteX28598" y="connsiteY28598"/>
              </a:cxn>
              <a:cxn ang="0">
                <a:pos x="connsiteX28599" y="connsiteY28599"/>
              </a:cxn>
              <a:cxn ang="0">
                <a:pos x="connsiteX28600" y="connsiteY28600"/>
              </a:cxn>
              <a:cxn ang="0">
                <a:pos x="connsiteX28601" y="connsiteY28601"/>
              </a:cxn>
              <a:cxn ang="0">
                <a:pos x="connsiteX28602" y="connsiteY28602"/>
              </a:cxn>
              <a:cxn ang="0">
                <a:pos x="connsiteX28603" y="connsiteY28603"/>
              </a:cxn>
              <a:cxn ang="0">
                <a:pos x="connsiteX28604" y="connsiteY28604"/>
              </a:cxn>
              <a:cxn ang="0">
                <a:pos x="connsiteX28605" y="connsiteY28605"/>
              </a:cxn>
              <a:cxn ang="0">
                <a:pos x="connsiteX28606" y="connsiteY28606"/>
              </a:cxn>
              <a:cxn ang="0">
                <a:pos x="connsiteX28607" y="connsiteY28607"/>
              </a:cxn>
              <a:cxn ang="0">
                <a:pos x="connsiteX28608" y="connsiteY28608"/>
              </a:cxn>
              <a:cxn ang="0">
                <a:pos x="connsiteX28609" y="connsiteY28609"/>
              </a:cxn>
              <a:cxn ang="0">
                <a:pos x="connsiteX28610" y="connsiteY28610"/>
              </a:cxn>
              <a:cxn ang="0">
                <a:pos x="connsiteX28611" y="connsiteY28611"/>
              </a:cxn>
              <a:cxn ang="0">
                <a:pos x="connsiteX28612" y="connsiteY28612"/>
              </a:cxn>
              <a:cxn ang="0">
                <a:pos x="connsiteX28613" y="connsiteY28613"/>
              </a:cxn>
              <a:cxn ang="0">
                <a:pos x="connsiteX28614" y="connsiteY28614"/>
              </a:cxn>
              <a:cxn ang="0">
                <a:pos x="connsiteX28615" y="connsiteY28615"/>
              </a:cxn>
              <a:cxn ang="0">
                <a:pos x="connsiteX28616" y="connsiteY28616"/>
              </a:cxn>
              <a:cxn ang="0">
                <a:pos x="connsiteX28617" y="connsiteY28617"/>
              </a:cxn>
              <a:cxn ang="0">
                <a:pos x="connsiteX28618" y="connsiteY28618"/>
              </a:cxn>
              <a:cxn ang="0">
                <a:pos x="connsiteX28619" y="connsiteY28619"/>
              </a:cxn>
              <a:cxn ang="0">
                <a:pos x="connsiteX28620" y="connsiteY28620"/>
              </a:cxn>
              <a:cxn ang="0">
                <a:pos x="connsiteX28621" y="connsiteY28621"/>
              </a:cxn>
              <a:cxn ang="0">
                <a:pos x="connsiteX28622" y="connsiteY28622"/>
              </a:cxn>
              <a:cxn ang="0">
                <a:pos x="connsiteX28623" y="connsiteY28623"/>
              </a:cxn>
              <a:cxn ang="0">
                <a:pos x="connsiteX28624" y="connsiteY28624"/>
              </a:cxn>
              <a:cxn ang="0">
                <a:pos x="connsiteX28625" y="connsiteY28625"/>
              </a:cxn>
              <a:cxn ang="0">
                <a:pos x="connsiteX28626" y="connsiteY28626"/>
              </a:cxn>
              <a:cxn ang="0">
                <a:pos x="connsiteX28627" y="connsiteY28627"/>
              </a:cxn>
              <a:cxn ang="0">
                <a:pos x="connsiteX28628" y="connsiteY28628"/>
              </a:cxn>
              <a:cxn ang="0">
                <a:pos x="connsiteX28629" y="connsiteY28629"/>
              </a:cxn>
              <a:cxn ang="0">
                <a:pos x="connsiteX28630" y="connsiteY28630"/>
              </a:cxn>
              <a:cxn ang="0">
                <a:pos x="connsiteX28631" y="connsiteY28631"/>
              </a:cxn>
              <a:cxn ang="0">
                <a:pos x="connsiteX28632" y="connsiteY28632"/>
              </a:cxn>
              <a:cxn ang="0">
                <a:pos x="connsiteX28633" y="connsiteY28633"/>
              </a:cxn>
              <a:cxn ang="0">
                <a:pos x="connsiteX28634" y="connsiteY28634"/>
              </a:cxn>
              <a:cxn ang="0">
                <a:pos x="connsiteX28635" y="connsiteY28635"/>
              </a:cxn>
              <a:cxn ang="0">
                <a:pos x="connsiteX28636" y="connsiteY28636"/>
              </a:cxn>
              <a:cxn ang="0">
                <a:pos x="connsiteX28637" y="connsiteY28637"/>
              </a:cxn>
              <a:cxn ang="0">
                <a:pos x="connsiteX28638" y="connsiteY28638"/>
              </a:cxn>
              <a:cxn ang="0">
                <a:pos x="connsiteX28639" y="connsiteY28639"/>
              </a:cxn>
              <a:cxn ang="0">
                <a:pos x="connsiteX28640" y="connsiteY28640"/>
              </a:cxn>
              <a:cxn ang="0">
                <a:pos x="connsiteX28641" y="connsiteY28641"/>
              </a:cxn>
              <a:cxn ang="0">
                <a:pos x="connsiteX28642" y="connsiteY28642"/>
              </a:cxn>
              <a:cxn ang="0">
                <a:pos x="connsiteX28643" y="connsiteY28643"/>
              </a:cxn>
              <a:cxn ang="0">
                <a:pos x="connsiteX28644" y="connsiteY28644"/>
              </a:cxn>
              <a:cxn ang="0">
                <a:pos x="connsiteX28645" y="connsiteY28645"/>
              </a:cxn>
              <a:cxn ang="0">
                <a:pos x="connsiteX28646" y="connsiteY28646"/>
              </a:cxn>
              <a:cxn ang="0">
                <a:pos x="connsiteX28647" y="connsiteY28647"/>
              </a:cxn>
              <a:cxn ang="0">
                <a:pos x="connsiteX28648" y="connsiteY28648"/>
              </a:cxn>
              <a:cxn ang="0">
                <a:pos x="connsiteX28649" y="connsiteY28649"/>
              </a:cxn>
              <a:cxn ang="0">
                <a:pos x="connsiteX28650" y="connsiteY28650"/>
              </a:cxn>
              <a:cxn ang="0">
                <a:pos x="connsiteX28651" y="connsiteY28651"/>
              </a:cxn>
              <a:cxn ang="0">
                <a:pos x="connsiteX28652" y="connsiteY28652"/>
              </a:cxn>
              <a:cxn ang="0">
                <a:pos x="connsiteX28653" y="connsiteY28653"/>
              </a:cxn>
              <a:cxn ang="0">
                <a:pos x="connsiteX28654" y="connsiteY28654"/>
              </a:cxn>
              <a:cxn ang="0">
                <a:pos x="connsiteX28655" y="connsiteY28655"/>
              </a:cxn>
              <a:cxn ang="0">
                <a:pos x="connsiteX28656" y="connsiteY28656"/>
              </a:cxn>
              <a:cxn ang="0">
                <a:pos x="connsiteX28657" y="connsiteY28657"/>
              </a:cxn>
              <a:cxn ang="0">
                <a:pos x="connsiteX28658" y="connsiteY28658"/>
              </a:cxn>
              <a:cxn ang="0">
                <a:pos x="connsiteX28659" y="connsiteY28659"/>
              </a:cxn>
              <a:cxn ang="0">
                <a:pos x="connsiteX28660" y="connsiteY28660"/>
              </a:cxn>
              <a:cxn ang="0">
                <a:pos x="connsiteX28661" y="connsiteY28661"/>
              </a:cxn>
              <a:cxn ang="0">
                <a:pos x="connsiteX28662" y="connsiteY28662"/>
              </a:cxn>
              <a:cxn ang="0">
                <a:pos x="connsiteX28663" y="connsiteY28663"/>
              </a:cxn>
              <a:cxn ang="0">
                <a:pos x="connsiteX28664" y="connsiteY28664"/>
              </a:cxn>
              <a:cxn ang="0">
                <a:pos x="connsiteX28665" y="connsiteY28665"/>
              </a:cxn>
              <a:cxn ang="0">
                <a:pos x="connsiteX28666" y="connsiteY28666"/>
              </a:cxn>
              <a:cxn ang="0">
                <a:pos x="connsiteX28667" y="connsiteY28667"/>
              </a:cxn>
              <a:cxn ang="0">
                <a:pos x="connsiteX28668" y="connsiteY28668"/>
              </a:cxn>
              <a:cxn ang="0">
                <a:pos x="connsiteX28669" y="connsiteY28669"/>
              </a:cxn>
              <a:cxn ang="0">
                <a:pos x="connsiteX28670" y="connsiteY28670"/>
              </a:cxn>
              <a:cxn ang="0">
                <a:pos x="connsiteX28671" y="connsiteY28671"/>
              </a:cxn>
              <a:cxn ang="0">
                <a:pos x="connsiteX28672" y="connsiteY28672"/>
              </a:cxn>
              <a:cxn ang="0">
                <a:pos x="connsiteX28673" y="connsiteY28673"/>
              </a:cxn>
              <a:cxn ang="0">
                <a:pos x="connsiteX28674" y="connsiteY28674"/>
              </a:cxn>
              <a:cxn ang="0">
                <a:pos x="connsiteX28675" y="connsiteY28675"/>
              </a:cxn>
              <a:cxn ang="0">
                <a:pos x="connsiteX28676" y="connsiteY28676"/>
              </a:cxn>
              <a:cxn ang="0">
                <a:pos x="connsiteX28677" y="connsiteY28677"/>
              </a:cxn>
              <a:cxn ang="0">
                <a:pos x="connsiteX28678" y="connsiteY28678"/>
              </a:cxn>
              <a:cxn ang="0">
                <a:pos x="connsiteX28679" y="connsiteY28679"/>
              </a:cxn>
              <a:cxn ang="0">
                <a:pos x="connsiteX28680" y="connsiteY28680"/>
              </a:cxn>
              <a:cxn ang="0">
                <a:pos x="connsiteX28681" y="connsiteY28681"/>
              </a:cxn>
              <a:cxn ang="0">
                <a:pos x="connsiteX28682" y="connsiteY28682"/>
              </a:cxn>
              <a:cxn ang="0">
                <a:pos x="connsiteX28683" y="connsiteY28683"/>
              </a:cxn>
              <a:cxn ang="0">
                <a:pos x="connsiteX28684" y="connsiteY28684"/>
              </a:cxn>
              <a:cxn ang="0">
                <a:pos x="connsiteX28685" y="connsiteY28685"/>
              </a:cxn>
              <a:cxn ang="0">
                <a:pos x="connsiteX28686" y="connsiteY28686"/>
              </a:cxn>
              <a:cxn ang="0">
                <a:pos x="connsiteX28687" y="connsiteY28687"/>
              </a:cxn>
              <a:cxn ang="0">
                <a:pos x="connsiteX28688" y="connsiteY28688"/>
              </a:cxn>
              <a:cxn ang="0">
                <a:pos x="connsiteX28689" y="connsiteY28689"/>
              </a:cxn>
              <a:cxn ang="0">
                <a:pos x="connsiteX28690" y="connsiteY28690"/>
              </a:cxn>
              <a:cxn ang="0">
                <a:pos x="connsiteX28691" y="connsiteY28691"/>
              </a:cxn>
              <a:cxn ang="0">
                <a:pos x="connsiteX28692" y="connsiteY28692"/>
              </a:cxn>
              <a:cxn ang="0">
                <a:pos x="connsiteX28693" y="connsiteY28693"/>
              </a:cxn>
              <a:cxn ang="0">
                <a:pos x="connsiteX28694" y="connsiteY28694"/>
              </a:cxn>
              <a:cxn ang="0">
                <a:pos x="connsiteX28695" y="connsiteY28695"/>
              </a:cxn>
              <a:cxn ang="0">
                <a:pos x="connsiteX28696" y="connsiteY28696"/>
              </a:cxn>
              <a:cxn ang="0">
                <a:pos x="connsiteX28697" y="connsiteY28697"/>
              </a:cxn>
              <a:cxn ang="0">
                <a:pos x="connsiteX28698" y="connsiteY28698"/>
              </a:cxn>
              <a:cxn ang="0">
                <a:pos x="connsiteX28699" y="connsiteY28699"/>
              </a:cxn>
              <a:cxn ang="0">
                <a:pos x="connsiteX28700" y="connsiteY28700"/>
              </a:cxn>
              <a:cxn ang="0">
                <a:pos x="connsiteX28701" y="connsiteY28701"/>
              </a:cxn>
              <a:cxn ang="0">
                <a:pos x="connsiteX28702" y="connsiteY28702"/>
              </a:cxn>
              <a:cxn ang="0">
                <a:pos x="connsiteX28703" y="connsiteY28703"/>
              </a:cxn>
              <a:cxn ang="0">
                <a:pos x="connsiteX28704" y="connsiteY28704"/>
              </a:cxn>
              <a:cxn ang="0">
                <a:pos x="connsiteX28705" y="connsiteY28705"/>
              </a:cxn>
              <a:cxn ang="0">
                <a:pos x="connsiteX28706" y="connsiteY28706"/>
              </a:cxn>
              <a:cxn ang="0">
                <a:pos x="connsiteX28707" y="connsiteY28707"/>
              </a:cxn>
              <a:cxn ang="0">
                <a:pos x="connsiteX28708" y="connsiteY28708"/>
              </a:cxn>
              <a:cxn ang="0">
                <a:pos x="connsiteX28709" y="connsiteY28709"/>
              </a:cxn>
              <a:cxn ang="0">
                <a:pos x="connsiteX28710" y="connsiteY28710"/>
              </a:cxn>
              <a:cxn ang="0">
                <a:pos x="connsiteX28711" y="connsiteY28711"/>
              </a:cxn>
              <a:cxn ang="0">
                <a:pos x="connsiteX28712" y="connsiteY28712"/>
              </a:cxn>
              <a:cxn ang="0">
                <a:pos x="connsiteX28713" y="connsiteY28713"/>
              </a:cxn>
              <a:cxn ang="0">
                <a:pos x="connsiteX28714" y="connsiteY28714"/>
              </a:cxn>
              <a:cxn ang="0">
                <a:pos x="connsiteX28715" y="connsiteY28715"/>
              </a:cxn>
              <a:cxn ang="0">
                <a:pos x="connsiteX28716" y="connsiteY28716"/>
              </a:cxn>
              <a:cxn ang="0">
                <a:pos x="connsiteX28717" y="connsiteY28717"/>
              </a:cxn>
              <a:cxn ang="0">
                <a:pos x="connsiteX28718" y="connsiteY28718"/>
              </a:cxn>
              <a:cxn ang="0">
                <a:pos x="connsiteX28719" y="connsiteY28719"/>
              </a:cxn>
              <a:cxn ang="0">
                <a:pos x="connsiteX28720" y="connsiteY28720"/>
              </a:cxn>
              <a:cxn ang="0">
                <a:pos x="connsiteX28721" y="connsiteY28721"/>
              </a:cxn>
              <a:cxn ang="0">
                <a:pos x="connsiteX28722" y="connsiteY28722"/>
              </a:cxn>
              <a:cxn ang="0">
                <a:pos x="connsiteX28723" y="connsiteY28723"/>
              </a:cxn>
              <a:cxn ang="0">
                <a:pos x="connsiteX28724" y="connsiteY28724"/>
              </a:cxn>
              <a:cxn ang="0">
                <a:pos x="connsiteX28725" y="connsiteY28725"/>
              </a:cxn>
              <a:cxn ang="0">
                <a:pos x="connsiteX28726" y="connsiteY28726"/>
              </a:cxn>
              <a:cxn ang="0">
                <a:pos x="connsiteX28727" y="connsiteY28727"/>
              </a:cxn>
              <a:cxn ang="0">
                <a:pos x="connsiteX28728" y="connsiteY28728"/>
              </a:cxn>
              <a:cxn ang="0">
                <a:pos x="connsiteX28729" y="connsiteY28729"/>
              </a:cxn>
              <a:cxn ang="0">
                <a:pos x="connsiteX28730" y="connsiteY28730"/>
              </a:cxn>
              <a:cxn ang="0">
                <a:pos x="connsiteX28731" y="connsiteY28731"/>
              </a:cxn>
              <a:cxn ang="0">
                <a:pos x="connsiteX28732" y="connsiteY28732"/>
              </a:cxn>
              <a:cxn ang="0">
                <a:pos x="connsiteX28733" y="connsiteY28733"/>
              </a:cxn>
              <a:cxn ang="0">
                <a:pos x="connsiteX28734" y="connsiteY28734"/>
              </a:cxn>
              <a:cxn ang="0">
                <a:pos x="connsiteX28735" y="connsiteY28735"/>
              </a:cxn>
              <a:cxn ang="0">
                <a:pos x="connsiteX28736" y="connsiteY28736"/>
              </a:cxn>
              <a:cxn ang="0">
                <a:pos x="connsiteX28737" y="connsiteY28737"/>
              </a:cxn>
              <a:cxn ang="0">
                <a:pos x="connsiteX28738" y="connsiteY28738"/>
              </a:cxn>
              <a:cxn ang="0">
                <a:pos x="connsiteX28739" y="connsiteY28739"/>
              </a:cxn>
              <a:cxn ang="0">
                <a:pos x="connsiteX28740" y="connsiteY28740"/>
              </a:cxn>
              <a:cxn ang="0">
                <a:pos x="connsiteX28741" y="connsiteY28741"/>
              </a:cxn>
              <a:cxn ang="0">
                <a:pos x="connsiteX28742" y="connsiteY28742"/>
              </a:cxn>
              <a:cxn ang="0">
                <a:pos x="connsiteX28743" y="connsiteY28743"/>
              </a:cxn>
              <a:cxn ang="0">
                <a:pos x="connsiteX28744" y="connsiteY28744"/>
              </a:cxn>
              <a:cxn ang="0">
                <a:pos x="connsiteX28745" y="connsiteY28745"/>
              </a:cxn>
              <a:cxn ang="0">
                <a:pos x="connsiteX28746" y="connsiteY28746"/>
              </a:cxn>
              <a:cxn ang="0">
                <a:pos x="connsiteX28747" y="connsiteY28747"/>
              </a:cxn>
              <a:cxn ang="0">
                <a:pos x="connsiteX28748" y="connsiteY28748"/>
              </a:cxn>
              <a:cxn ang="0">
                <a:pos x="connsiteX28749" y="connsiteY28749"/>
              </a:cxn>
              <a:cxn ang="0">
                <a:pos x="connsiteX28750" y="connsiteY28750"/>
              </a:cxn>
              <a:cxn ang="0">
                <a:pos x="connsiteX28751" y="connsiteY28751"/>
              </a:cxn>
              <a:cxn ang="0">
                <a:pos x="connsiteX28752" y="connsiteY28752"/>
              </a:cxn>
              <a:cxn ang="0">
                <a:pos x="connsiteX28753" y="connsiteY28753"/>
              </a:cxn>
              <a:cxn ang="0">
                <a:pos x="connsiteX28754" y="connsiteY28754"/>
              </a:cxn>
              <a:cxn ang="0">
                <a:pos x="connsiteX28755" y="connsiteY28755"/>
              </a:cxn>
              <a:cxn ang="0">
                <a:pos x="connsiteX28756" y="connsiteY28756"/>
              </a:cxn>
              <a:cxn ang="0">
                <a:pos x="connsiteX28757" y="connsiteY28757"/>
              </a:cxn>
              <a:cxn ang="0">
                <a:pos x="connsiteX28758" y="connsiteY28758"/>
              </a:cxn>
              <a:cxn ang="0">
                <a:pos x="connsiteX28759" y="connsiteY28759"/>
              </a:cxn>
              <a:cxn ang="0">
                <a:pos x="connsiteX28760" y="connsiteY28760"/>
              </a:cxn>
              <a:cxn ang="0">
                <a:pos x="connsiteX28761" y="connsiteY28761"/>
              </a:cxn>
              <a:cxn ang="0">
                <a:pos x="connsiteX28762" y="connsiteY28762"/>
              </a:cxn>
              <a:cxn ang="0">
                <a:pos x="connsiteX28763" y="connsiteY28763"/>
              </a:cxn>
              <a:cxn ang="0">
                <a:pos x="connsiteX28764" y="connsiteY28764"/>
              </a:cxn>
              <a:cxn ang="0">
                <a:pos x="connsiteX28765" y="connsiteY28765"/>
              </a:cxn>
              <a:cxn ang="0">
                <a:pos x="connsiteX28766" y="connsiteY28766"/>
              </a:cxn>
              <a:cxn ang="0">
                <a:pos x="connsiteX28767" y="connsiteY28767"/>
              </a:cxn>
              <a:cxn ang="0">
                <a:pos x="connsiteX28768" y="connsiteY28768"/>
              </a:cxn>
              <a:cxn ang="0">
                <a:pos x="connsiteX28769" y="connsiteY28769"/>
              </a:cxn>
              <a:cxn ang="0">
                <a:pos x="connsiteX28770" y="connsiteY28770"/>
              </a:cxn>
              <a:cxn ang="0">
                <a:pos x="connsiteX28771" y="connsiteY28771"/>
              </a:cxn>
              <a:cxn ang="0">
                <a:pos x="connsiteX28772" y="connsiteY28772"/>
              </a:cxn>
              <a:cxn ang="0">
                <a:pos x="connsiteX28773" y="connsiteY28773"/>
              </a:cxn>
              <a:cxn ang="0">
                <a:pos x="connsiteX28774" y="connsiteY28774"/>
              </a:cxn>
              <a:cxn ang="0">
                <a:pos x="connsiteX28775" y="connsiteY28775"/>
              </a:cxn>
              <a:cxn ang="0">
                <a:pos x="connsiteX28776" y="connsiteY28776"/>
              </a:cxn>
              <a:cxn ang="0">
                <a:pos x="connsiteX28777" y="connsiteY28777"/>
              </a:cxn>
              <a:cxn ang="0">
                <a:pos x="connsiteX28778" y="connsiteY28778"/>
              </a:cxn>
              <a:cxn ang="0">
                <a:pos x="connsiteX28779" y="connsiteY28779"/>
              </a:cxn>
              <a:cxn ang="0">
                <a:pos x="connsiteX28780" y="connsiteY28780"/>
              </a:cxn>
              <a:cxn ang="0">
                <a:pos x="connsiteX28781" y="connsiteY28781"/>
              </a:cxn>
              <a:cxn ang="0">
                <a:pos x="connsiteX28782" y="connsiteY28782"/>
              </a:cxn>
              <a:cxn ang="0">
                <a:pos x="connsiteX28783" y="connsiteY28783"/>
              </a:cxn>
              <a:cxn ang="0">
                <a:pos x="connsiteX28784" y="connsiteY28784"/>
              </a:cxn>
              <a:cxn ang="0">
                <a:pos x="connsiteX28785" y="connsiteY28785"/>
              </a:cxn>
              <a:cxn ang="0">
                <a:pos x="connsiteX28786" y="connsiteY28786"/>
              </a:cxn>
              <a:cxn ang="0">
                <a:pos x="connsiteX28787" y="connsiteY28787"/>
              </a:cxn>
              <a:cxn ang="0">
                <a:pos x="connsiteX28788" y="connsiteY28788"/>
              </a:cxn>
              <a:cxn ang="0">
                <a:pos x="connsiteX28789" y="connsiteY28789"/>
              </a:cxn>
              <a:cxn ang="0">
                <a:pos x="connsiteX28790" y="connsiteY28790"/>
              </a:cxn>
              <a:cxn ang="0">
                <a:pos x="connsiteX28791" y="connsiteY28791"/>
              </a:cxn>
              <a:cxn ang="0">
                <a:pos x="connsiteX28792" y="connsiteY28792"/>
              </a:cxn>
              <a:cxn ang="0">
                <a:pos x="connsiteX28793" y="connsiteY28793"/>
              </a:cxn>
              <a:cxn ang="0">
                <a:pos x="connsiteX28794" y="connsiteY28794"/>
              </a:cxn>
              <a:cxn ang="0">
                <a:pos x="connsiteX28795" y="connsiteY28795"/>
              </a:cxn>
              <a:cxn ang="0">
                <a:pos x="connsiteX28796" y="connsiteY28796"/>
              </a:cxn>
              <a:cxn ang="0">
                <a:pos x="connsiteX28797" y="connsiteY28797"/>
              </a:cxn>
              <a:cxn ang="0">
                <a:pos x="connsiteX28798" y="connsiteY28798"/>
              </a:cxn>
              <a:cxn ang="0">
                <a:pos x="connsiteX28799" y="connsiteY28799"/>
              </a:cxn>
              <a:cxn ang="0">
                <a:pos x="connsiteX28800" y="connsiteY28800"/>
              </a:cxn>
              <a:cxn ang="0">
                <a:pos x="connsiteX28801" y="connsiteY28801"/>
              </a:cxn>
              <a:cxn ang="0">
                <a:pos x="connsiteX28802" y="connsiteY28802"/>
              </a:cxn>
              <a:cxn ang="0">
                <a:pos x="connsiteX28803" y="connsiteY28803"/>
              </a:cxn>
              <a:cxn ang="0">
                <a:pos x="connsiteX28804" y="connsiteY28804"/>
              </a:cxn>
              <a:cxn ang="0">
                <a:pos x="connsiteX28805" y="connsiteY28805"/>
              </a:cxn>
              <a:cxn ang="0">
                <a:pos x="connsiteX28806" y="connsiteY28806"/>
              </a:cxn>
              <a:cxn ang="0">
                <a:pos x="connsiteX28807" y="connsiteY28807"/>
              </a:cxn>
              <a:cxn ang="0">
                <a:pos x="connsiteX28808" y="connsiteY28808"/>
              </a:cxn>
              <a:cxn ang="0">
                <a:pos x="connsiteX28809" y="connsiteY28809"/>
              </a:cxn>
              <a:cxn ang="0">
                <a:pos x="connsiteX28810" y="connsiteY28810"/>
              </a:cxn>
              <a:cxn ang="0">
                <a:pos x="connsiteX28811" y="connsiteY28811"/>
              </a:cxn>
              <a:cxn ang="0">
                <a:pos x="connsiteX28812" y="connsiteY28812"/>
              </a:cxn>
              <a:cxn ang="0">
                <a:pos x="connsiteX28813" y="connsiteY28813"/>
              </a:cxn>
              <a:cxn ang="0">
                <a:pos x="connsiteX28814" y="connsiteY28814"/>
              </a:cxn>
              <a:cxn ang="0">
                <a:pos x="connsiteX28815" y="connsiteY28815"/>
              </a:cxn>
              <a:cxn ang="0">
                <a:pos x="connsiteX28816" y="connsiteY28816"/>
              </a:cxn>
              <a:cxn ang="0">
                <a:pos x="connsiteX28817" y="connsiteY28817"/>
              </a:cxn>
              <a:cxn ang="0">
                <a:pos x="connsiteX28818" y="connsiteY28818"/>
              </a:cxn>
              <a:cxn ang="0">
                <a:pos x="connsiteX28819" y="connsiteY28819"/>
              </a:cxn>
              <a:cxn ang="0">
                <a:pos x="connsiteX28820" y="connsiteY28820"/>
              </a:cxn>
              <a:cxn ang="0">
                <a:pos x="connsiteX28821" y="connsiteY28821"/>
              </a:cxn>
              <a:cxn ang="0">
                <a:pos x="connsiteX28822" y="connsiteY28822"/>
              </a:cxn>
              <a:cxn ang="0">
                <a:pos x="connsiteX28823" y="connsiteY28823"/>
              </a:cxn>
              <a:cxn ang="0">
                <a:pos x="connsiteX28824" y="connsiteY28824"/>
              </a:cxn>
              <a:cxn ang="0">
                <a:pos x="connsiteX28825" y="connsiteY28825"/>
              </a:cxn>
              <a:cxn ang="0">
                <a:pos x="connsiteX28826" y="connsiteY28826"/>
              </a:cxn>
              <a:cxn ang="0">
                <a:pos x="connsiteX28827" y="connsiteY28827"/>
              </a:cxn>
              <a:cxn ang="0">
                <a:pos x="connsiteX28828" y="connsiteY28828"/>
              </a:cxn>
              <a:cxn ang="0">
                <a:pos x="connsiteX28829" y="connsiteY28829"/>
              </a:cxn>
              <a:cxn ang="0">
                <a:pos x="connsiteX28830" y="connsiteY28830"/>
              </a:cxn>
              <a:cxn ang="0">
                <a:pos x="connsiteX28831" y="connsiteY28831"/>
              </a:cxn>
              <a:cxn ang="0">
                <a:pos x="connsiteX28832" y="connsiteY28832"/>
              </a:cxn>
              <a:cxn ang="0">
                <a:pos x="connsiteX28833" y="connsiteY28833"/>
              </a:cxn>
              <a:cxn ang="0">
                <a:pos x="connsiteX28834" y="connsiteY28834"/>
              </a:cxn>
              <a:cxn ang="0">
                <a:pos x="connsiteX28835" y="connsiteY28835"/>
              </a:cxn>
              <a:cxn ang="0">
                <a:pos x="connsiteX28836" y="connsiteY28836"/>
              </a:cxn>
              <a:cxn ang="0">
                <a:pos x="connsiteX28837" y="connsiteY28837"/>
              </a:cxn>
              <a:cxn ang="0">
                <a:pos x="connsiteX28838" y="connsiteY28838"/>
              </a:cxn>
              <a:cxn ang="0">
                <a:pos x="connsiteX28839" y="connsiteY28839"/>
              </a:cxn>
              <a:cxn ang="0">
                <a:pos x="connsiteX28840" y="connsiteY28840"/>
              </a:cxn>
              <a:cxn ang="0">
                <a:pos x="connsiteX28841" y="connsiteY28841"/>
              </a:cxn>
              <a:cxn ang="0">
                <a:pos x="connsiteX28842" y="connsiteY28842"/>
              </a:cxn>
              <a:cxn ang="0">
                <a:pos x="connsiteX28843" y="connsiteY28843"/>
              </a:cxn>
              <a:cxn ang="0">
                <a:pos x="connsiteX28844" y="connsiteY28844"/>
              </a:cxn>
              <a:cxn ang="0">
                <a:pos x="connsiteX28845" y="connsiteY28845"/>
              </a:cxn>
              <a:cxn ang="0">
                <a:pos x="connsiteX28846" y="connsiteY28846"/>
              </a:cxn>
              <a:cxn ang="0">
                <a:pos x="connsiteX28847" y="connsiteY28847"/>
              </a:cxn>
              <a:cxn ang="0">
                <a:pos x="connsiteX28848" y="connsiteY28848"/>
              </a:cxn>
              <a:cxn ang="0">
                <a:pos x="connsiteX28849" y="connsiteY28849"/>
              </a:cxn>
              <a:cxn ang="0">
                <a:pos x="connsiteX28850" y="connsiteY28850"/>
              </a:cxn>
              <a:cxn ang="0">
                <a:pos x="connsiteX28851" y="connsiteY28851"/>
              </a:cxn>
              <a:cxn ang="0">
                <a:pos x="connsiteX28852" y="connsiteY28852"/>
              </a:cxn>
              <a:cxn ang="0">
                <a:pos x="connsiteX28853" y="connsiteY28853"/>
              </a:cxn>
              <a:cxn ang="0">
                <a:pos x="connsiteX28854" y="connsiteY28854"/>
              </a:cxn>
              <a:cxn ang="0">
                <a:pos x="connsiteX28855" y="connsiteY28855"/>
              </a:cxn>
              <a:cxn ang="0">
                <a:pos x="connsiteX28856" y="connsiteY28856"/>
              </a:cxn>
              <a:cxn ang="0">
                <a:pos x="connsiteX28857" y="connsiteY28857"/>
              </a:cxn>
              <a:cxn ang="0">
                <a:pos x="connsiteX28858" y="connsiteY28858"/>
              </a:cxn>
              <a:cxn ang="0">
                <a:pos x="connsiteX28859" y="connsiteY28859"/>
              </a:cxn>
              <a:cxn ang="0">
                <a:pos x="connsiteX28860" y="connsiteY28860"/>
              </a:cxn>
              <a:cxn ang="0">
                <a:pos x="connsiteX28861" y="connsiteY28861"/>
              </a:cxn>
              <a:cxn ang="0">
                <a:pos x="connsiteX28862" y="connsiteY28862"/>
              </a:cxn>
              <a:cxn ang="0">
                <a:pos x="connsiteX28863" y="connsiteY28863"/>
              </a:cxn>
              <a:cxn ang="0">
                <a:pos x="connsiteX28864" y="connsiteY28864"/>
              </a:cxn>
              <a:cxn ang="0">
                <a:pos x="connsiteX28865" y="connsiteY28865"/>
              </a:cxn>
              <a:cxn ang="0">
                <a:pos x="connsiteX28866" y="connsiteY28866"/>
              </a:cxn>
              <a:cxn ang="0">
                <a:pos x="connsiteX28867" y="connsiteY28867"/>
              </a:cxn>
              <a:cxn ang="0">
                <a:pos x="connsiteX28868" y="connsiteY28868"/>
              </a:cxn>
              <a:cxn ang="0">
                <a:pos x="connsiteX28869" y="connsiteY28869"/>
              </a:cxn>
              <a:cxn ang="0">
                <a:pos x="connsiteX28870" y="connsiteY28870"/>
              </a:cxn>
              <a:cxn ang="0">
                <a:pos x="connsiteX28871" y="connsiteY28871"/>
              </a:cxn>
              <a:cxn ang="0">
                <a:pos x="connsiteX28872" y="connsiteY28872"/>
              </a:cxn>
              <a:cxn ang="0">
                <a:pos x="connsiteX28873" y="connsiteY28873"/>
              </a:cxn>
              <a:cxn ang="0">
                <a:pos x="connsiteX28874" y="connsiteY28874"/>
              </a:cxn>
              <a:cxn ang="0">
                <a:pos x="connsiteX28875" y="connsiteY28875"/>
              </a:cxn>
              <a:cxn ang="0">
                <a:pos x="connsiteX28876" y="connsiteY28876"/>
              </a:cxn>
              <a:cxn ang="0">
                <a:pos x="connsiteX28877" y="connsiteY28877"/>
              </a:cxn>
              <a:cxn ang="0">
                <a:pos x="connsiteX28878" y="connsiteY28878"/>
              </a:cxn>
              <a:cxn ang="0">
                <a:pos x="connsiteX28879" y="connsiteY28879"/>
              </a:cxn>
              <a:cxn ang="0">
                <a:pos x="connsiteX28880" y="connsiteY28880"/>
              </a:cxn>
              <a:cxn ang="0">
                <a:pos x="connsiteX28881" y="connsiteY28881"/>
              </a:cxn>
              <a:cxn ang="0">
                <a:pos x="connsiteX28882" y="connsiteY28882"/>
              </a:cxn>
              <a:cxn ang="0">
                <a:pos x="connsiteX28883" y="connsiteY28883"/>
              </a:cxn>
              <a:cxn ang="0">
                <a:pos x="connsiteX28884" y="connsiteY28884"/>
              </a:cxn>
              <a:cxn ang="0">
                <a:pos x="connsiteX28885" y="connsiteY28885"/>
              </a:cxn>
              <a:cxn ang="0">
                <a:pos x="connsiteX28886" y="connsiteY28886"/>
              </a:cxn>
              <a:cxn ang="0">
                <a:pos x="connsiteX28887" y="connsiteY28887"/>
              </a:cxn>
              <a:cxn ang="0">
                <a:pos x="connsiteX28888" y="connsiteY28888"/>
              </a:cxn>
              <a:cxn ang="0">
                <a:pos x="connsiteX28889" y="connsiteY28889"/>
              </a:cxn>
              <a:cxn ang="0">
                <a:pos x="connsiteX28890" y="connsiteY28890"/>
              </a:cxn>
              <a:cxn ang="0">
                <a:pos x="connsiteX28891" y="connsiteY28891"/>
              </a:cxn>
              <a:cxn ang="0">
                <a:pos x="connsiteX28892" y="connsiteY28892"/>
              </a:cxn>
              <a:cxn ang="0">
                <a:pos x="connsiteX28893" y="connsiteY28893"/>
              </a:cxn>
              <a:cxn ang="0">
                <a:pos x="connsiteX28894" y="connsiteY28894"/>
              </a:cxn>
              <a:cxn ang="0">
                <a:pos x="connsiteX28895" y="connsiteY28895"/>
              </a:cxn>
              <a:cxn ang="0">
                <a:pos x="connsiteX28896" y="connsiteY28896"/>
              </a:cxn>
              <a:cxn ang="0">
                <a:pos x="connsiteX28897" y="connsiteY28897"/>
              </a:cxn>
              <a:cxn ang="0">
                <a:pos x="connsiteX28898" y="connsiteY28898"/>
              </a:cxn>
              <a:cxn ang="0">
                <a:pos x="connsiteX28899" y="connsiteY28899"/>
              </a:cxn>
              <a:cxn ang="0">
                <a:pos x="connsiteX28900" y="connsiteY28900"/>
              </a:cxn>
              <a:cxn ang="0">
                <a:pos x="connsiteX28901" y="connsiteY28901"/>
              </a:cxn>
              <a:cxn ang="0">
                <a:pos x="connsiteX28902" y="connsiteY28902"/>
              </a:cxn>
              <a:cxn ang="0">
                <a:pos x="connsiteX28903" y="connsiteY28903"/>
              </a:cxn>
              <a:cxn ang="0">
                <a:pos x="connsiteX28904" y="connsiteY28904"/>
              </a:cxn>
              <a:cxn ang="0">
                <a:pos x="connsiteX28905" y="connsiteY28905"/>
              </a:cxn>
              <a:cxn ang="0">
                <a:pos x="connsiteX28906" y="connsiteY28906"/>
              </a:cxn>
              <a:cxn ang="0">
                <a:pos x="connsiteX28907" y="connsiteY28907"/>
              </a:cxn>
              <a:cxn ang="0">
                <a:pos x="connsiteX28908" y="connsiteY28908"/>
              </a:cxn>
              <a:cxn ang="0">
                <a:pos x="connsiteX28909" y="connsiteY28909"/>
              </a:cxn>
              <a:cxn ang="0">
                <a:pos x="connsiteX28910" y="connsiteY28910"/>
              </a:cxn>
              <a:cxn ang="0">
                <a:pos x="connsiteX28911" y="connsiteY28911"/>
              </a:cxn>
              <a:cxn ang="0">
                <a:pos x="connsiteX28912" y="connsiteY28912"/>
              </a:cxn>
              <a:cxn ang="0">
                <a:pos x="connsiteX28913" y="connsiteY28913"/>
              </a:cxn>
              <a:cxn ang="0">
                <a:pos x="connsiteX28914" y="connsiteY28914"/>
              </a:cxn>
              <a:cxn ang="0">
                <a:pos x="connsiteX28915" y="connsiteY28915"/>
              </a:cxn>
              <a:cxn ang="0">
                <a:pos x="connsiteX28916" y="connsiteY28916"/>
              </a:cxn>
              <a:cxn ang="0">
                <a:pos x="connsiteX28917" y="connsiteY28917"/>
              </a:cxn>
              <a:cxn ang="0">
                <a:pos x="connsiteX28918" y="connsiteY28918"/>
              </a:cxn>
              <a:cxn ang="0">
                <a:pos x="connsiteX28919" y="connsiteY28919"/>
              </a:cxn>
              <a:cxn ang="0">
                <a:pos x="connsiteX28920" y="connsiteY28920"/>
              </a:cxn>
              <a:cxn ang="0">
                <a:pos x="connsiteX28921" y="connsiteY28921"/>
              </a:cxn>
              <a:cxn ang="0">
                <a:pos x="connsiteX28922" y="connsiteY28922"/>
              </a:cxn>
              <a:cxn ang="0">
                <a:pos x="connsiteX28923" y="connsiteY28923"/>
              </a:cxn>
              <a:cxn ang="0">
                <a:pos x="connsiteX28924" y="connsiteY28924"/>
              </a:cxn>
              <a:cxn ang="0">
                <a:pos x="connsiteX28925" y="connsiteY28925"/>
              </a:cxn>
              <a:cxn ang="0">
                <a:pos x="connsiteX28926" y="connsiteY28926"/>
              </a:cxn>
              <a:cxn ang="0">
                <a:pos x="connsiteX28927" y="connsiteY28927"/>
              </a:cxn>
              <a:cxn ang="0">
                <a:pos x="connsiteX28928" y="connsiteY28928"/>
              </a:cxn>
              <a:cxn ang="0">
                <a:pos x="connsiteX28929" y="connsiteY28929"/>
              </a:cxn>
              <a:cxn ang="0">
                <a:pos x="connsiteX28930" y="connsiteY28930"/>
              </a:cxn>
              <a:cxn ang="0">
                <a:pos x="connsiteX28931" y="connsiteY28931"/>
              </a:cxn>
              <a:cxn ang="0">
                <a:pos x="connsiteX28932" y="connsiteY28932"/>
              </a:cxn>
              <a:cxn ang="0">
                <a:pos x="connsiteX28933" y="connsiteY28933"/>
              </a:cxn>
              <a:cxn ang="0">
                <a:pos x="connsiteX28934" y="connsiteY28934"/>
              </a:cxn>
              <a:cxn ang="0">
                <a:pos x="connsiteX28935" y="connsiteY28935"/>
              </a:cxn>
              <a:cxn ang="0">
                <a:pos x="connsiteX28936" y="connsiteY28936"/>
              </a:cxn>
              <a:cxn ang="0">
                <a:pos x="connsiteX28937" y="connsiteY28937"/>
              </a:cxn>
              <a:cxn ang="0">
                <a:pos x="connsiteX28938" y="connsiteY28938"/>
              </a:cxn>
              <a:cxn ang="0">
                <a:pos x="connsiteX28939" y="connsiteY28939"/>
              </a:cxn>
              <a:cxn ang="0">
                <a:pos x="connsiteX28940" y="connsiteY28940"/>
              </a:cxn>
              <a:cxn ang="0">
                <a:pos x="connsiteX28941" y="connsiteY28941"/>
              </a:cxn>
              <a:cxn ang="0">
                <a:pos x="connsiteX28942" y="connsiteY28942"/>
              </a:cxn>
              <a:cxn ang="0">
                <a:pos x="connsiteX28943" y="connsiteY28943"/>
              </a:cxn>
              <a:cxn ang="0">
                <a:pos x="connsiteX28944" y="connsiteY28944"/>
              </a:cxn>
              <a:cxn ang="0">
                <a:pos x="connsiteX28945" y="connsiteY28945"/>
              </a:cxn>
              <a:cxn ang="0">
                <a:pos x="connsiteX28946" y="connsiteY28946"/>
              </a:cxn>
              <a:cxn ang="0">
                <a:pos x="connsiteX28947" y="connsiteY28947"/>
              </a:cxn>
              <a:cxn ang="0">
                <a:pos x="connsiteX28948" y="connsiteY28948"/>
              </a:cxn>
              <a:cxn ang="0">
                <a:pos x="connsiteX28949" y="connsiteY28949"/>
              </a:cxn>
              <a:cxn ang="0">
                <a:pos x="connsiteX28950" y="connsiteY28950"/>
              </a:cxn>
              <a:cxn ang="0">
                <a:pos x="connsiteX28951" y="connsiteY28951"/>
              </a:cxn>
              <a:cxn ang="0">
                <a:pos x="connsiteX28952" y="connsiteY28952"/>
              </a:cxn>
              <a:cxn ang="0">
                <a:pos x="connsiteX28953" y="connsiteY28953"/>
              </a:cxn>
              <a:cxn ang="0">
                <a:pos x="connsiteX28954" y="connsiteY28954"/>
              </a:cxn>
              <a:cxn ang="0">
                <a:pos x="connsiteX28955" y="connsiteY28955"/>
              </a:cxn>
              <a:cxn ang="0">
                <a:pos x="connsiteX28956" y="connsiteY28956"/>
              </a:cxn>
              <a:cxn ang="0">
                <a:pos x="connsiteX28957" y="connsiteY28957"/>
              </a:cxn>
              <a:cxn ang="0">
                <a:pos x="connsiteX28958" y="connsiteY28958"/>
              </a:cxn>
              <a:cxn ang="0">
                <a:pos x="connsiteX28959" y="connsiteY28959"/>
              </a:cxn>
              <a:cxn ang="0">
                <a:pos x="connsiteX28960" y="connsiteY28960"/>
              </a:cxn>
              <a:cxn ang="0">
                <a:pos x="connsiteX28961" y="connsiteY28961"/>
              </a:cxn>
              <a:cxn ang="0">
                <a:pos x="connsiteX28962" y="connsiteY28962"/>
              </a:cxn>
              <a:cxn ang="0">
                <a:pos x="connsiteX28963" y="connsiteY28963"/>
              </a:cxn>
              <a:cxn ang="0">
                <a:pos x="connsiteX28964" y="connsiteY28964"/>
              </a:cxn>
              <a:cxn ang="0">
                <a:pos x="connsiteX28965" y="connsiteY28965"/>
              </a:cxn>
              <a:cxn ang="0">
                <a:pos x="connsiteX28966" y="connsiteY28966"/>
              </a:cxn>
              <a:cxn ang="0">
                <a:pos x="connsiteX28967" y="connsiteY28967"/>
              </a:cxn>
              <a:cxn ang="0">
                <a:pos x="connsiteX28968" y="connsiteY28968"/>
              </a:cxn>
              <a:cxn ang="0">
                <a:pos x="connsiteX28969" y="connsiteY28969"/>
              </a:cxn>
              <a:cxn ang="0">
                <a:pos x="connsiteX28970" y="connsiteY28970"/>
              </a:cxn>
              <a:cxn ang="0">
                <a:pos x="connsiteX28971" y="connsiteY28971"/>
              </a:cxn>
              <a:cxn ang="0">
                <a:pos x="connsiteX28972" y="connsiteY28972"/>
              </a:cxn>
              <a:cxn ang="0">
                <a:pos x="connsiteX28973" y="connsiteY28973"/>
              </a:cxn>
              <a:cxn ang="0">
                <a:pos x="connsiteX28974" y="connsiteY28974"/>
              </a:cxn>
              <a:cxn ang="0">
                <a:pos x="connsiteX28975" y="connsiteY28975"/>
              </a:cxn>
              <a:cxn ang="0">
                <a:pos x="connsiteX28976" y="connsiteY28976"/>
              </a:cxn>
              <a:cxn ang="0">
                <a:pos x="connsiteX28977" y="connsiteY28977"/>
              </a:cxn>
              <a:cxn ang="0">
                <a:pos x="connsiteX28978" y="connsiteY28978"/>
              </a:cxn>
              <a:cxn ang="0">
                <a:pos x="connsiteX28979" y="connsiteY28979"/>
              </a:cxn>
              <a:cxn ang="0">
                <a:pos x="connsiteX28980" y="connsiteY28980"/>
              </a:cxn>
              <a:cxn ang="0">
                <a:pos x="connsiteX28981" y="connsiteY28981"/>
              </a:cxn>
              <a:cxn ang="0">
                <a:pos x="connsiteX28982" y="connsiteY28982"/>
              </a:cxn>
              <a:cxn ang="0">
                <a:pos x="connsiteX28983" y="connsiteY28983"/>
              </a:cxn>
              <a:cxn ang="0">
                <a:pos x="connsiteX28984" y="connsiteY28984"/>
              </a:cxn>
              <a:cxn ang="0">
                <a:pos x="connsiteX28985" y="connsiteY28985"/>
              </a:cxn>
              <a:cxn ang="0">
                <a:pos x="connsiteX28986" y="connsiteY28986"/>
              </a:cxn>
              <a:cxn ang="0">
                <a:pos x="connsiteX28987" y="connsiteY28987"/>
              </a:cxn>
              <a:cxn ang="0">
                <a:pos x="connsiteX28988" y="connsiteY28988"/>
              </a:cxn>
              <a:cxn ang="0">
                <a:pos x="connsiteX28989" y="connsiteY28989"/>
              </a:cxn>
              <a:cxn ang="0">
                <a:pos x="connsiteX28990" y="connsiteY28990"/>
              </a:cxn>
              <a:cxn ang="0">
                <a:pos x="connsiteX28991" y="connsiteY28991"/>
              </a:cxn>
              <a:cxn ang="0">
                <a:pos x="connsiteX28992" y="connsiteY28992"/>
              </a:cxn>
              <a:cxn ang="0">
                <a:pos x="connsiteX28993" y="connsiteY28993"/>
              </a:cxn>
              <a:cxn ang="0">
                <a:pos x="connsiteX28994" y="connsiteY28994"/>
              </a:cxn>
              <a:cxn ang="0">
                <a:pos x="connsiteX28995" y="connsiteY28995"/>
              </a:cxn>
              <a:cxn ang="0">
                <a:pos x="connsiteX28996" y="connsiteY28996"/>
              </a:cxn>
              <a:cxn ang="0">
                <a:pos x="connsiteX28997" y="connsiteY28997"/>
              </a:cxn>
              <a:cxn ang="0">
                <a:pos x="connsiteX28998" y="connsiteY28998"/>
              </a:cxn>
              <a:cxn ang="0">
                <a:pos x="connsiteX28999" y="connsiteY28999"/>
              </a:cxn>
              <a:cxn ang="0">
                <a:pos x="connsiteX29000" y="connsiteY29000"/>
              </a:cxn>
              <a:cxn ang="0">
                <a:pos x="connsiteX29001" y="connsiteY29001"/>
              </a:cxn>
              <a:cxn ang="0">
                <a:pos x="connsiteX29002" y="connsiteY29002"/>
              </a:cxn>
              <a:cxn ang="0">
                <a:pos x="connsiteX29003" y="connsiteY29003"/>
              </a:cxn>
              <a:cxn ang="0">
                <a:pos x="connsiteX29004" y="connsiteY29004"/>
              </a:cxn>
              <a:cxn ang="0">
                <a:pos x="connsiteX29005" y="connsiteY29005"/>
              </a:cxn>
              <a:cxn ang="0">
                <a:pos x="connsiteX29006" y="connsiteY29006"/>
              </a:cxn>
              <a:cxn ang="0">
                <a:pos x="connsiteX29007" y="connsiteY29007"/>
              </a:cxn>
              <a:cxn ang="0">
                <a:pos x="connsiteX29008" y="connsiteY29008"/>
              </a:cxn>
              <a:cxn ang="0">
                <a:pos x="connsiteX29009" y="connsiteY29009"/>
              </a:cxn>
              <a:cxn ang="0">
                <a:pos x="connsiteX29010" y="connsiteY29010"/>
              </a:cxn>
              <a:cxn ang="0">
                <a:pos x="connsiteX29011" y="connsiteY29011"/>
              </a:cxn>
              <a:cxn ang="0">
                <a:pos x="connsiteX29012" y="connsiteY29012"/>
              </a:cxn>
              <a:cxn ang="0">
                <a:pos x="connsiteX29013" y="connsiteY29013"/>
              </a:cxn>
              <a:cxn ang="0">
                <a:pos x="connsiteX29014" y="connsiteY29014"/>
              </a:cxn>
              <a:cxn ang="0">
                <a:pos x="connsiteX29015" y="connsiteY29015"/>
              </a:cxn>
              <a:cxn ang="0">
                <a:pos x="connsiteX29016" y="connsiteY29016"/>
              </a:cxn>
              <a:cxn ang="0">
                <a:pos x="connsiteX29017" y="connsiteY29017"/>
              </a:cxn>
              <a:cxn ang="0">
                <a:pos x="connsiteX29018" y="connsiteY29018"/>
              </a:cxn>
              <a:cxn ang="0">
                <a:pos x="connsiteX29019" y="connsiteY29019"/>
              </a:cxn>
              <a:cxn ang="0">
                <a:pos x="connsiteX29020" y="connsiteY29020"/>
              </a:cxn>
              <a:cxn ang="0">
                <a:pos x="connsiteX29021" y="connsiteY29021"/>
              </a:cxn>
              <a:cxn ang="0">
                <a:pos x="connsiteX29022" y="connsiteY29022"/>
              </a:cxn>
              <a:cxn ang="0">
                <a:pos x="connsiteX29023" y="connsiteY29023"/>
              </a:cxn>
              <a:cxn ang="0">
                <a:pos x="connsiteX29024" y="connsiteY29024"/>
              </a:cxn>
              <a:cxn ang="0">
                <a:pos x="connsiteX29025" y="connsiteY29025"/>
              </a:cxn>
              <a:cxn ang="0">
                <a:pos x="connsiteX29026" y="connsiteY29026"/>
              </a:cxn>
              <a:cxn ang="0">
                <a:pos x="connsiteX29027" y="connsiteY29027"/>
              </a:cxn>
              <a:cxn ang="0">
                <a:pos x="connsiteX29028" y="connsiteY29028"/>
              </a:cxn>
              <a:cxn ang="0">
                <a:pos x="connsiteX29029" y="connsiteY29029"/>
              </a:cxn>
              <a:cxn ang="0">
                <a:pos x="connsiteX29030" y="connsiteY29030"/>
              </a:cxn>
              <a:cxn ang="0">
                <a:pos x="connsiteX29031" y="connsiteY29031"/>
              </a:cxn>
              <a:cxn ang="0">
                <a:pos x="connsiteX29032" y="connsiteY29032"/>
              </a:cxn>
              <a:cxn ang="0">
                <a:pos x="connsiteX29033" y="connsiteY29033"/>
              </a:cxn>
              <a:cxn ang="0">
                <a:pos x="connsiteX29034" y="connsiteY29034"/>
              </a:cxn>
              <a:cxn ang="0">
                <a:pos x="connsiteX29035" y="connsiteY29035"/>
              </a:cxn>
              <a:cxn ang="0">
                <a:pos x="connsiteX29036" y="connsiteY29036"/>
              </a:cxn>
              <a:cxn ang="0">
                <a:pos x="connsiteX29037" y="connsiteY29037"/>
              </a:cxn>
              <a:cxn ang="0">
                <a:pos x="connsiteX29038" y="connsiteY29038"/>
              </a:cxn>
              <a:cxn ang="0">
                <a:pos x="connsiteX29039" y="connsiteY29039"/>
              </a:cxn>
              <a:cxn ang="0">
                <a:pos x="connsiteX29040" y="connsiteY29040"/>
              </a:cxn>
              <a:cxn ang="0">
                <a:pos x="connsiteX29041" y="connsiteY29041"/>
              </a:cxn>
              <a:cxn ang="0">
                <a:pos x="connsiteX29042" y="connsiteY29042"/>
              </a:cxn>
              <a:cxn ang="0">
                <a:pos x="connsiteX29043" y="connsiteY29043"/>
              </a:cxn>
              <a:cxn ang="0">
                <a:pos x="connsiteX29044" y="connsiteY29044"/>
              </a:cxn>
              <a:cxn ang="0">
                <a:pos x="connsiteX29045" y="connsiteY29045"/>
              </a:cxn>
              <a:cxn ang="0">
                <a:pos x="connsiteX29046" y="connsiteY29046"/>
              </a:cxn>
              <a:cxn ang="0">
                <a:pos x="connsiteX29047" y="connsiteY29047"/>
              </a:cxn>
              <a:cxn ang="0">
                <a:pos x="connsiteX29048" y="connsiteY29048"/>
              </a:cxn>
              <a:cxn ang="0">
                <a:pos x="connsiteX29049" y="connsiteY29049"/>
              </a:cxn>
              <a:cxn ang="0">
                <a:pos x="connsiteX29050" y="connsiteY29050"/>
              </a:cxn>
              <a:cxn ang="0">
                <a:pos x="connsiteX29051" y="connsiteY29051"/>
              </a:cxn>
              <a:cxn ang="0">
                <a:pos x="connsiteX29052" y="connsiteY29052"/>
              </a:cxn>
              <a:cxn ang="0">
                <a:pos x="connsiteX29053" y="connsiteY29053"/>
              </a:cxn>
              <a:cxn ang="0">
                <a:pos x="connsiteX29054" y="connsiteY29054"/>
              </a:cxn>
              <a:cxn ang="0">
                <a:pos x="connsiteX29055" y="connsiteY29055"/>
              </a:cxn>
              <a:cxn ang="0">
                <a:pos x="connsiteX29056" y="connsiteY29056"/>
              </a:cxn>
              <a:cxn ang="0">
                <a:pos x="connsiteX29057" y="connsiteY29057"/>
              </a:cxn>
              <a:cxn ang="0">
                <a:pos x="connsiteX29058" y="connsiteY29058"/>
              </a:cxn>
              <a:cxn ang="0">
                <a:pos x="connsiteX29059" y="connsiteY29059"/>
              </a:cxn>
              <a:cxn ang="0">
                <a:pos x="connsiteX29060" y="connsiteY29060"/>
              </a:cxn>
              <a:cxn ang="0">
                <a:pos x="connsiteX29061" y="connsiteY29061"/>
              </a:cxn>
              <a:cxn ang="0">
                <a:pos x="connsiteX29062" y="connsiteY29062"/>
              </a:cxn>
              <a:cxn ang="0">
                <a:pos x="connsiteX29063" y="connsiteY29063"/>
              </a:cxn>
              <a:cxn ang="0">
                <a:pos x="connsiteX29064" y="connsiteY29064"/>
              </a:cxn>
              <a:cxn ang="0">
                <a:pos x="connsiteX29065" y="connsiteY29065"/>
              </a:cxn>
              <a:cxn ang="0">
                <a:pos x="connsiteX29066" y="connsiteY29066"/>
              </a:cxn>
              <a:cxn ang="0">
                <a:pos x="connsiteX29067" y="connsiteY29067"/>
              </a:cxn>
              <a:cxn ang="0">
                <a:pos x="connsiteX29068" y="connsiteY29068"/>
              </a:cxn>
              <a:cxn ang="0">
                <a:pos x="connsiteX29069" y="connsiteY29069"/>
              </a:cxn>
              <a:cxn ang="0">
                <a:pos x="connsiteX29070" y="connsiteY29070"/>
              </a:cxn>
              <a:cxn ang="0">
                <a:pos x="connsiteX29071" y="connsiteY29071"/>
              </a:cxn>
              <a:cxn ang="0">
                <a:pos x="connsiteX29072" y="connsiteY29072"/>
              </a:cxn>
              <a:cxn ang="0">
                <a:pos x="connsiteX29073" y="connsiteY29073"/>
              </a:cxn>
              <a:cxn ang="0">
                <a:pos x="connsiteX29074" y="connsiteY29074"/>
              </a:cxn>
              <a:cxn ang="0">
                <a:pos x="connsiteX29075" y="connsiteY29075"/>
              </a:cxn>
              <a:cxn ang="0">
                <a:pos x="connsiteX29076" y="connsiteY29076"/>
              </a:cxn>
              <a:cxn ang="0">
                <a:pos x="connsiteX29077" y="connsiteY29077"/>
              </a:cxn>
              <a:cxn ang="0">
                <a:pos x="connsiteX29078" y="connsiteY29078"/>
              </a:cxn>
              <a:cxn ang="0">
                <a:pos x="connsiteX29079" y="connsiteY29079"/>
              </a:cxn>
              <a:cxn ang="0">
                <a:pos x="connsiteX29080" y="connsiteY29080"/>
              </a:cxn>
              <a:cxn ang="0">
                <a:pos x="connsiteX29081" y="connsiteY29081"/>
              </a:cxn>
              <a:cxn ang="0">
                <a:pos x="connsiteX29082" y="connsiteY29082"/>
              </a:cxn>
              <a:cxn ang="0">
                <a:pos x="connsiteX29083" y="connsiteY29083"/>
              </a:cxn>
              <a:cxn ang="0">
                <a:pos x="connsiteX29084" y="connsiteY29084"/>
              </a:cxn>
              <a:cxn ang="0">
                <a:pos x="connsiteX29085" y="connsiteY29085"/>
              </a:cxn>
              <a:cxn ang="0">
                <a:pos x="connsiteX29086" y="connsiteY29086"/>
              </a:cxn>
              <a:cxn ang="0">
                <a:pos x="connsiteX29087" y="connsiteY29087"/>
              </a:cxn>
              <a:cxn ang="0">
                <a:pos x="connsiteX29088" y="connsiteY29088"/>
              </a:cxn>
              <a:cxn ang="0">
                <a:pos x="connsiteX29089" y="connsiteY29089"/>
              </a:cxn>
              <a:cxn ang="0">
                <a:pos x="connsiteX29090" y="connsiteY29090"/>
              </a:cxn>
              <a:cxn ang="0">
                <a:pos x="connsiteX29091" y="connsiteY29091"/>
              </a:cxn>
              <a:cxn ang="0">
                <a:pos x="connsiteX29092" y="connsiteY29092"/>
              </a:cxn>
              <a:cxn ang="0">
                <a:pos x="connsiteX29093" y="connsiteY29093"/>
              </a:cxn>
              <a:cxn ang="0">
                <a:pos x="connsiteX29094" y="connsiteY29094"/>
              </a:cxn>
              <a:cxn ang="0">
                <a:pos x="connsiteX29095" y="connsiteY29095"/>
              </a:cxn>
              <a:cxn ang="0">
                <a:pos x="connsiteX29096" y="connsiteY29096"/>
              </a:cxn>
              <a:cxn ang="0">
                <a:pos x="connsiteX29097" y="connsiteY29097"/>
              </a:cxn>
              <a:cxn ang="0">
                <a:pos x="connsiteX29098" y="connsiteY29098"/>
              </a:cxn>
              <a:cxn ang="0">
                <a:pos x="connsiteX29099" y="connsiteY29099"/>
              </a:cxn>
              <a:cxn ang="0">
                <a:pos x="connsiteX29100" y="connsiteY29100"/>
              </a:cxn>
              <a:cxn ang="0">
                <a:pos x="connsiteX29101" y="connsiteY29101"/>
              </a:cxn>
              <a:cxn ang="0">
                <a:pos x="connsiteX29102" y="connsiteY29102"/>
              </a:cxn>
              <a:cxn ang="0">
                <a:pos x="connsiteX29103" y="connsiteY29103"/>
              </a:cxn>
              <a:cxn ang="0">
                <a:pos x="connsiteX29104" y="connsiteY29104"/>
              </a:cxn>
              <a:cxn ang="0">
                <a:pos x="connsiteX29105" y="connsiteY29105"/>
              </a:cxn>
              <a:cxn ang="0">
                <a:pos x="connsiteX29106" y="connsiteY29106"/>
              </a:cxn>
              <a:cxn ang="0">
                <a:pos x="connsiteX29107" y="connsiteY29107"/>
              </a:cxn>
              <a:cxn ang="0">
                <a:pos x="connsiteX29108" y="connsiteY29108"/>
              </a:cxn>
              <a:cxn ang="0">
                <a:pos x="connsiteX29109" y="connsiteY29109"/>
              </a:cxn>
              <a:cxn ang="0">
                <a:pos x="connsiteX29110" y="connsiteY29110"/>
              </a:cxn>
              <a:cxn ang="0">
                <a:pos x="connsiteX29111" y="connsiteY29111"/>
              </a:cxn>
              <a:cxn ang="0">
                <a:pos x="connsiteX29112" y="connsiteY29112"/>
              </a:cxn>
              <a:cxn ang="0">
                <a:pos x="connsiteX29113" y="connsiteY29113"/>
              </a:cxn>
              <a:cxn ang="0">
                <a:pos x="connsiteX29114" y="connsiteY29114"/>
              </a:cxn>
              <a:cxn ang="0">
                <a:pos x="connsiteX29115" y="connsiteY29115"/>
              </a:cxn>
              <a:cxn ang="0">
                <a:pos x="connsiteX29116" y="connsiteY29116"/>
              </a:cxn>
              <a:cxn ang="0">
                <a:pos x="connsiteX29117" y="connsiteY29117"/>
              </a:cxn>
              <a:cxn ang="0">
                <a:pos x="connsiteX29118" y="connsiteY29118"/>
              </a:cxn>
              <a:cxn ang="0">
                <a:pos x="connsiteX29119" y="connsiteY29119"/>
              </a:cxn>
              <a:cxn ang="0">
                <a:pos x="connsiteX29120" y="connsiteY29120"/>
              </a:cxn>
              <a:cxn ang="0">
                <a:pos x="connsiteX29121" y="connsiteY29121"/>
              </a:cxn>
              <a:cxn ang="0">
                <a:pos x="connsiteX29122" y="connsiteY29122"/>
              </a:cxn>
              <a:cxn ang="0">
                <a:pos x="connsiteX29123" y="connsiteY29123"/>
              </a:cxn>
              <a:cxn ang="0">
                <a:pos x="connsiteX29124" y="connsiteY29124"/>
              </a:cxn>
              <a:cxn ang="0">
                <a:pos x="connsiteX29125" y="connsiteY29125"/>
              </a:cxn>
              <a:cxn ang="0">
                <a:pos x="connsiteX29126" y="connsiteY29126"/>
              </a:cxn>
              <a:cxn ang="0">
                <a:pos x="connsiteX29127" y="connsiteY29127"/>
              </a:cxn>
              <a:cxn ang="0">
                <a:pos x="connsiteX29128" y="connsiteY29128"/>
              </a:cxn>
              <a:cxn ang="0">
                <a:pos x="connsiteX29129" y="connsiteY29129"/>
              </a:cxn>
              <a:cxn ang="0">
                <a:pos x="connsiteX29130" y="connsiteY29130"/>
              </a:cxn>
              <a:cxn ang="0">
                <a:pos x="connsiteX29131" y="connsiteY29131"/>
              </a:cxn>
              <a:cxn ang="0">
                <a:pos x="connsiteX29132" y="connsiteY29132"/>
              </a:cxn>
              <a:cxn ang="0">
                <a:pos x="connsiteX29133" y="connsiteY29133"/>
              </a:cxn>
              <a:cxn ang="0">
                <a:pos x="connsiteX29134" y="connsiteY29134"/>
              </a:cxn>
              <a:cxn ang="0">
                <a:pos x="connsiteX29135" y="connsiteY29135"/>
              </a:cxn>
              <a:cxn ang="0">
                <a:pos x="connsiteX29136" y="connsiteY29136"/>
              </a:cxn>
              <a:cxn ang="0">
                <a:pos x="connsiteX29137" y="connsiteY29137"/>
              </a:cxn>
              <a:cxn ang="0">
                <a:pos x="connsiteX29138" y="connsiteY29138"/>
              </a:cxn>
              <a:cxn ang="0">
                <a:pos x="connsiteX29139" y="connsiteY29139"/>
              </a:cxn>
              <a:cxn ang="0">
                <a:pos x="connsiteX29140" y="connsiteY29140"/>
              </a:cxn>
              <a:cxn ang="0">
                <a:pos x="connsiteX29141" y="connsiteY29141"/>
              </a:cxn>
              <a:cxn ang="0">
                <a:pos x="connsiteX29142" y="connsiteY29142"/>
              </a:cxn>
              <a:cxn ang="0">
                <a:pos x="connsiteX29143" y="connsiteY29143"/>
              </a:cxn>
              <a:cxn ang="0">
                <a:pos x="connsiteX29144" y="connsiteY29144"/>
              </a:cxn>
              <a:cxn ang="0">
                <a:pos x="connsiteX29145" y="connsiteY29145"/>
              </a:cxn>
              <a:cxn ang="0">
                <a:pos x="connsiteX29146" y="connsiteY29146"/>
              </a:cxn>
              <a:cxn ang="0">
                <a:pos x="connsiteX29147" y="connsiteY29147"/>
              </a:cxn>
              <a:cxn ang="0">
                <a:pos x="connsiteX29148" y="connsiteY29148"/>
              </a:cxn>
              <a:cxn ang="0">
                <a:pos x="connsiteX29149" y="connsiteY29149"/>
              </a:cxn>
              <a:cxn ang="0">
                <a:pos x="connsiteX29150" y="connsiteY29150"/>
              </a:cxn>
              <a:cxn ang="0">
                <a:pos x="connsiteX29151" y="connsiteY29151"/>
              </a:cxn>
              <a:cxn ang="0">
                <a:pos x="connsiteX29152" y="connsiteY29152"/>
              </a:cxn>
              <a:cxn ang="0">
                <a:pos x="connsiteX29153" y="connsiteY29153"/>
              </a:cxn>
              <a:cxn ang="0">
                <a:pos x="connsiteX29154" y="connsiteY29154"/>
              </a:cxn>
              <a:cxn ang="0">
                <a:pos x="connsiteX29155" y="connsiteY29155"/>
              </a:cxn>
              <a:cxn ang="0">
                <a:pos x="connsiteX29156" y="connsiteY29156"/>
              </a:cxn>
              <a:cxn ang="0">
                <a:pos x="connsiteX29157" y="connsiteY29157"/>
              </a:cxn>
              <a:cxn ang="0">
                <a:pos x="connsiteX29158" y="connsiteY29158"/>
              </a:cxn>
              <a:cxn ang="0">
                <a:pos x="connsiteX29159" y="connsiteY29159"/>
              </a:cxn>
              <a:cxn ang="0">
                <a:pos x="connsiteX29160" y="connsiteY29160"/>
              </a:cxn>
              <a:cxn ang="0">
                <a:pos x="connsiteX29161" y="connsiteY29161"/>
              </a:cxn>
              <a:cxn ang="0">
                <a:pos x="connsiteX29162" y="connsiteY29162"/>
              </a:cxn>
              <a:cxn ang="0">
                <a:pos x="connsiteX29163" y="connsiteY29163"/>
              </a:cxn>
              <a:cxn ang="0">
                <a:pos x="connsiteX29164" y="connsiteY29164"/>
              </a:cxn>
              <a:cxn ang="0">
                <a:pos x="connsiteX29165" y="connsiteY29165"/>
              </a:cxn>
              <a:cxn ang="0">
                <a:pos x="connsiteX29166" y="connsiteY29166"/>
              </a:cxn>
              <a:cxn ang="0">
                <a:pos x="connsiteX29167" y="connsiteY29167"/>
              </a:cxn>
              <a:cxn ang="0">
                <a:pos x="connsiteX29168" y="connsiteY29168"/>
              </a:cxn>
              <a:cxn ang="0">
                <a:pos x="connsiteX29169" y="connsiteY29169"/>
              </a:cxn>
              <a:cxn ang="0">
                <a:pos x="connsiteX29170" y="connsiteY29170"/>
              </a:cxn>
              <a:cxn ang="0">
                <a:pos x="connsiteX29171" y="connsiteY29171"/>
              </a:cxn>
              <a:cxn ang="0">
                <a:pos x="connsiteX29172" y="connsiteY29172"/>
              </a:cxn>
              <a:cxn ang="0">
                <a:pos x="connsiteX29173" y="connsiteY29173"/>
              </a:cxn>
              <a:cxn ang="0">
                <a:pos x="connsiteX29174" y="connsiteY29174"/>
              </a:cxn>
              <a:cxn ang="0">
                <a:pos x="connsiteX29175" y="connsiteY29175"/>
              </a:cxn>
              <a:cxn ang="0">
                <a:pos x="connsiteX29176" y="connsiteY29176"/>
              </a:cxn>
              <a:cxn ang="0">
                <a:pos x="connsiteX29177" y="connsiteY29177"/>
              </a:cxn>
              <a:cxn ang="0">
                <a:pos x="connsiteX29178" y="connsiteY29178"/>
              </a:cxn>
              <a:cxn ang="0">
                <a:pos x="connsiteX29179" y="connsiteY29179"/>
              </a:cxn>
              <a:cxn ang="0">
                <a:pos x="connsiteX29180" y="connsiteY29180"/>
              </a:cxn>
              <a:cxn ang="0">
                <a:pos x="connsiteX29181" y="connsiteY29181"/>
              </a:cxn>
              <a:cxn ang="0">
                <a:pos x="connsiteX29182" y="connsiteY29182"/>
              </a:cxn>
              <a:cxn ang="0">
                <a:pos x="connsiteX29183" y="connsiteY29183"/>
              </a:cxn>
              <a:cxn ang="0">
                <a:pos x="connsiteX29184" y="connsiteY29184"/>
              </a:cxn>
              <a:cxn ang="0">
                <a:pos x="connsiteX29185" y="connsiteY29185"/>
              </a:cxn>
              <a:cxn ang="0">
                <a:pos x="connsiteX29186" y="connsiteY29186"/>
              </a:cxn>
              <a:cxn ang="0">
                <a:pos x="connsiteX29187" y="connsiteY29187"/>
              </a:cxn>
              <a:cxn ang="0">
                <a:pos x="connsiteX29188" y="connsiteY29188"/>
              </a:cxn>
              <a:cxn ang="0">
                <a:pos x="connsiteX29189" y="connsiteY29189"/>
              </a:cxn>
              <a:cxn ang="0">
                <a:pos x="connsiteX29190" y="connsiteY29190"/>
              </a:cxn>
              <a:cxn ang="0">
                <a:pos x="connsiteX29191" y="connsiteY29191"/>
              </a:cxn>
              <a:cxn ang="0">
                <a:pos x="connsiteX29192" y="connsiteY29192"/>
              </a:cxn>
              <a:cxn ang="0">
                <a:pos x="connsiteX29193" y="connsiteY29193"/>
              </a:cxn>
              <a:cxn ang="0">
                <a:pos x="connsiteX29194" y="connsiteY29194"/>
              </a:cxn>
              <a:cxn ang="0">
                <a:pos x="connsiteX29195" y="connsiteY29195"/>
              </a:cxn>
              <a:cxn ang="0">
                <a:pos x="connsiteX29196" y="connsiteY29196"/>
              </a:cxn>
              <a:cxn ang="0">
                <a:pos x="connsiteX29197" y="connsiteY29197"/>
              </a:cxn>
              <a:cxn ang="0">
                <a:pos x="connsiteX29198" y="connsiteY29198"/>
              </a:cxn>
              <a:cxn ang="0">
                <a:pos x="connsiteX29199" y="connsiteY29199"/>
              </a:cxn>
              <a:cxn ang="0">
                <a:pos x="connsiteX29200" y="connsiteY29200"/>
              </a:cxn>
              <a:cxn ang="0">
                <a:pos x="connsiteX29201" y="connsiteY29201"/>
              </a:cxn>
              <a:cxn ang="0">
                <a:pos x="connsiteX29202" y="connsiteY29202"/>
              </a:cxn>
              <a:cxn ang="0">
                <a:pos x="connsiteX29203" y="connsiteY29203"/>
              </a:cxn>
              <a:cxn ang="0">
                <a:pos x="connsiteX29204" y="connsiteY29204"/>
              </a:cxn>
              <a:cxn ang="0">
                <a:pos x="connsiteX29205" y="connsiteY29205"/>
              </a:cxn>
              <a:cxn ang="0">
                <a:pos x="connsiteX29206" y="connsiteY29206"/>
              </a:cxn>
              <a:cxn ang="0">
                <a:pos x="connsiteX29207" y="connsiteY29207"/>
              </a:cxn>
              <a:cxn ang="0">
                <a:pos x="connsiteX29208" y="connsiteY29208"/>
              </a:cxn>
              <a:cxn ang="0">
                <a:pos x="connsiteX29209" y="connsiteY29209"/>
              </a:cxn>
              <a:cxn ang="0">
                <a:pos x="connsiteX29210" y="connsiteY29210"/>
              </a:cxn>
              <a:cxn ang="0">
                <a:pos x="connsiteX29211" y="connsiteY29211"/>
              </a:cxn>
              <a:cxn ang="0">
                <a:pos x="connsiteX29212" y="connsiteY29212"/>
              </a:cxn>
              <a:cxn ang="0">
                <a:pos x="connsiteX29213" y="connsiteY29213"/>
              </a:cxn>
              <a:cxn ang="0">
                <a:pos x="connsiteX29214" y="connsiteY29214"/>
              </a:cxn>
              <a:cxn ang="0">
                <a:pos x="connsiteX29215" y="connsiteY29215"/>
              </a:cxn>
              <a:cxn ang="0">
                <a:pos x="connsiteX29216" y="connsiteY29216"/>
              </a:cxn>
              <a:cxn ang="0">
                <a:pos x="connsiteX29217" y="connsiteY29217"/>
              </a:cxn>
              <a:cxn ang="0">
                <a:pos x="connsiteX29218" y="connsiteY29218"/>
              </a:cxn>
              <a:cxn ang="0">
                <a:pos x="connsiteX29219" y="connsiteY29219"/>
              </a:cxn>
              <a:cxn ang="0">
                <a:pos x="connsiteX29220" y="connsiteY29220"/>
              </a:cxn>
              <a:cxn ang="0">
                <a:pos x="connsiteX29221" y="connsiteY29221"/>
              </a:cxn>
              <a:cxn ang="0">
                <a:pos x="connsiteX29222" y="connsiteY29222"/>
              </a:cxn>
              <a:cxn ang="0">
                <a:pos x="connsiteX29223" y="connsiteY29223"/>
              </a:cxn>
              <a:cxn ang="0">
                <a:pos x="connsiteX29224" y="connsiteY29224"/>
              </a:cxn>
              <a:cxn ang="0">
                <a:pos x="connsiteX29225" y="connsiteY29225"/>
              </a:cxn>
              <a:cxn ang="0">
                <a:pos x="connsiteX29226" y="connsiteY29226"/>
              </a:cxn>
              <a:cxn ang="0">
                <a:pos x="connsiteX29227" y="connsiteY29227"/>
              </a:cxn>
              <a:cxn ang="0">
                <a:pos x="connsiteX29228" y="connsiteY29228"/>
              </a:cxn>
              <a:cxn ang="0">
                <a:pos x="connsiteX29229" y="connsiteY29229"/>
              </a:cxn>
              <a:cxn ang="0">
                <a:pos x="connsiteX29230" y="connsiteY29230"/>
              </a:cxn>
              <a:cxn ang="0">
                <a:pos x="connsiteX29231" y="connsiteY29231"/>
              </a:cxn>
              <a:cxn ang="0">
                <a:pos x="connsiteX29232" y="connsiteY29232"/>
              </a:cxn>
              <a:cxn ang="0">
                <a:pos x="connsiteX29233" y="connsiteY29233"/>
              </a:cxn>
              <a:cxn ang="0">
                <a:pos x="connsiteX29234" y="connsiteY29234"/>
              </a:cxn>
              <a:cxn ang="0">
                <a:pos x="connsiteX29235" y="connsiteY29235"/>
              </a:cxn>
              <a:cxn ang="0">
                <a:pos x="connsiteX29236" y="connsiteY29236"/>
              </a:cxn>
              <a:cxn ang="0">
                <a:pos x="connsiteX29237" y="connsiteY29237"/>
              </a:cxn>
              <a:cxn ang="0">
                <a:pos x="connsiteX29238" y="connsiteY29238"/>
              </a:cxn>
              <a:cxn ang="0">
                <a:pos x="connsiteX29239" y="connsiteY29239"/>
              </a:cxn>
              <a:cxn ang="0">
                <a:pos x="connsiteX29240" y="connsiteY29240"/>
              </a:cxn>
              <a:cxn ang="0">
                <a:pos x="connsiteX29241" y="connsiteY29241"/>
              </a:cxn>
              <a:cxn ang="0">
                <a:pos x="connsiteX29242" y="connsiteY29242"/>
              </a:cxn>
              <a:cxn ang="0">
                <a:pos x="connsiteX29243" y="connsiteY29243"/>
              </a:cxn>
              <a:cxn ang="0">
                <a:pos x="connsiteX29244" y="connsiteY29244"/>
              </a:cxn>
              <a:cxn ang="0">
                <a:pos x="connsiteX29245" y="connsiteY29245"/>
              </a:cxn>
              <a:cxn ang="0">
                <a:pos x="connsiteX29246" y="connsiteY29246"/>
              </a:cxn>
              <a:cxn ang="0">
                <a:pos x="connsiteX29247" y="connsiteY29247"/>
              </a:cxn>
              <a:cxn ang="0">
                <a:pos x="connsiteX29248" y="connsiteY29248"/>
              </a:cxn>
              <a:cxn ang="0">
                <a:pos x="connsiteX29249" y="connsiteY29249"/>
              </a:cxn>
              <a:cxn ang="0">
                <a:pos x="connsiteX29250" y="connsiteY29250"/>
              </a:cxn>
              <a:cxn ang="0">
                <a:pos x="connsiteX29251" y="connsiteY29251"/>
              </a:cxn>
              <a:cxn ang="0">
                <a:pos x="connsiteX29252" y="connsiteY29252"/>
              </a:cxn>
              <a:cxn ang="0">
                <a:pos x="connsiteX29253" y="connsiteY29253"/>
              </a:cxn>
              <a:cxn ang="0">
                <a:pos x="connsiteX29254" y="connsiteY29254"/>
              </a:cxn>
              <a:cxn ang="0">
                <a:pos x="connsiteX29255" y="connsiteY29255"/>
              </a:cxn>
              <a:cxn ang="0">
                <a:pos x="connsiteX29256" y="connsiteY29256"/>
              </a:cxn>
              <a:cxn ang="0">
                <a:pos x="connsiteX29257" y="connsiteY29257"/>
              </a:cxn>
              <a:cxn ang="0">
                <a:pos x="connsiteX29258" y="connsiteY29258"/>
              </a:cxn>
              <a:cxn ang="0">
                <a:pos x="connsiteX29259" y="connsiteY29259"/>
              </a:cxn>
              <a:cxn ang="0">
                <a:pos x="connsiteX29260" y="connsiteY29260"/>
              </a:cxn>
              <a:cxn ang="0">
                <a:pos x="connsiteX29261" y="connsiteY29261"/>
              </a:cxn>
              <a:cxn ang="0">
                <a:pos x="connsiteX29262" y="connsiteY29262"/>
              </a:cxn>
              <a:cxn ang="0">
                <a:pos x="connsiteX29263" y="connsiteY29263"/>
              </a:cxn>
              <a:cxn ang="0">
                <a:pos x="connsiteX29264" y="connsiteY29264"/>
              </a:cxn>
              <a:cxn ang="0">
                <a:pos x="connsiteX29265" y="connsiteY29265"/>
              </a:cxn>
              <a:cxn ang="0">
                <a:pos x="connsiteX29266" y="connsiteY29266"/>
              </a:cxn>
              <a:cxn ang="0">
                <a:pos x="connsiteX29267" y="connsiteY29267"/>
              </a:cxn>
              <a:cxn ang="0">
                <a:pos x="connsiteX29268" y="connsiteY29268"/>
              </a:cxn>
              <a:cxn ang="0">
                <a:pos x="connsiteX29269" y="connsiteY29269"/>
              </a:cxn>
              <a:cxn ang="0">
                <a:pos x="connsiteX29270" y="connsiteY29270"/>
              </a:cxn>
              <a:cxn ang="0">
                <a:pos x="connsiteX29271" y="connsiteY29271"/>
              </a:cxn>
              <a:cxn ang="0">
                <a:pos x="connsiteX29272" y="connsiteY29272"/>
              </a:cxn>
              <a:cxn ang="0">
                <a:pos x="connsiteX29273" y="connsiteY29273"/>
              </a:cxn>
              <a:cxn ang="0">
                <a:pos x="connsiteX29274" y="connsiteY29274"/>
              </a:cxn>
              <a:cxn ang="0">
                <a:pos x="connsiteX29275" y="connsiteY29275"/>
              </a:cxn>
              <a:cxn ang="0">
                <a:pos x="connsiteX29276" y="connsiteY29276"/>
              </a:cxn>
              <a:cxn ang="0">
                <a:pos x="connsiteX29277" y="connsiteY29277"/>
              </a:cxn>
              <a:cxn ang="0">
                <a:pos x="connsiteX29278" y="connsiteY29278"/>
              </a:cxn>
              <a:cxn ang="0">
                <a:pos x="connsiteX29279" y="connsiteY29279"/>
              </a:cxn>
              <a:cxn ang="0">
                <a:pos x="connsiteX29280" y="connsiteY29280"/>
              </a:cxn>
              <a:cxn ang="0">
                <a:pos x="connsiteX29281" y="connsiteY29281"/>
              </a:cxn>
              <a:cxn ang="0">
                <a:pos x="connsiteX29282" y="connsiteY29282"/>
              </a:cxn>
              <a:cxn ang="0">
                <a:pos x="connsiteX29283" y="connsiteY29283"/>
              </a:cxn>
              <a:cxn ang="0">
                <a:pos x="connsiteX29284" y="connsiteY29284"/>
              </a:cxn>
              <a:cxn ang="0">
                <a:pos x="connsiteX29285" y="connsiteY29285"/>
              </a:cxn>
              <a:cxn ang="0">
                <a:pos x="connsiteX29286" y="connsiteY29286"/>
              </a:cxn>
              <a:cxn ang="0">
                <a:pos x="connsiteX29287" y="connsiteY29287"/>
              </a:cxn>
              <a:cxn ang="0">
                <a:pos x="connsiteX29288" y="connsiteY29288"/>
              </a:cxn>
              <a:cxn ang="0">
                <a:pos x="connsiteX29289" y="connsiteY29289"/>
              </a:cxn>
              <a:cxn ang="0">
                <a:pos x="connsiteX29290" y="connsiteY29290"/>
              </a:cxn>
              <a:cxn ang="0">
                <a:pos x="connsiteX29291" y="connsiteY29291"/>
              </a:cxn>
              <a:cxn ang="0">
                <a:pos x="connsiteX29292" y="connsiteY29292"/>
              </a:cxn>
              <a:cxn ang="0">
                <a:pos x="connsiteX29293" y="connsiteY29293"/>
              </a:cxn>
              <a:cxn ang="0">
                <a:pos x="connsiteX29294" y="connsiteY29294"/>
              </a:cxn>
              <a:cxn ang="0">
                <a:pos x="connsiteX29295" y="connsiteY29295"/>
              </a:cxn>
              <a:cxn ang="0">
                <a:pos x="connsiteX29296" y="connsiteY29296"/>
              </a:cxn>
              <a:cxn ang="0">
                <a:pos x="connsiteX29297" y="connsiteY29297"/>
              </a:cxn>
              <a:cxn ang="0">
                <a:pos x="connsiteX29298" y="connsiteY29298"/>
              </a:cxn>
              <a:cxn ang="0">
                <a:pos x="connsiteX29299" y="connsiteY29299"/>
              </a:cxn>
              <a:cxn ang="0">
                <a:pos x="connsiteX29300" y="connsiteY29300"/>
              </a:cxn>
              <a:cxn ang="0">
                <a:pos x="connsiteX29301" y="connsiteY29301"/>
              </a:cxn>
              <a:cxn ang="0">
                <a:pos x="connsiteX29302" y="connsiteY29302"/>
              </a:cxn>
              <a:cxn ang="0">
                <a:pos x="connsiteX29303" y="connsiteY29303"/>
              </a:cxn>
              <a:cxn ang="0">
                <a:pos x="connsiteX29304" y="connsiteY29304"/>
              </a:cxn>
              <a:cxn ang="0">
                <a:pos x="connsiteX29305" y="connsiteY29305"/>
              </a:cxn>
              <a:cxn ang="0">
                <a:pos x="connsiteX29306" y="connsiteY29306"/>
              </a:cxn>
              <a:cxn ang="0">
                <a:pos x="connsiteX29307" y="connsiteY29307"/>
              </a:cxn>
              <a:cxn ang="0">
                <a:pos x="connsiteX29308" y="connsiteY29308"/>
              </a:cxn>
              <a:cxn ang="0">
                <a:pos x="connsiteX29309" y="connsiteY29309"/>
              </a:cxn>
              <a:cxn ang="0">
                <a:pos x="connsiteX29310" y="connsiteY29310"/>
              </a:cxn>
              <a:cxn ang="0">
                <a:pos x="connsiteX29311" y="connsiteY29311"/>
              </a:cxn>
              <a:cxn ang="0">
                <a:pos x="connsiteX29312" y="connsiteY29312"/>
              </a:cxn>
              <a:cxn ang="0">
                <a:pos x="connsiteX29313" y="connsiteY29313"/>
              </a:cxn>
              <a:cxn ang="0">
                <a:pos x="connsiteX29314" y="connsiteY29314"/>
              </a:cxn>
              <a:cxn ang="0">
                <a:pos x="connsiteX29315" y="connsiteY29315"/>
              </a:cxn>
              <a:cxn ang="0">
                <a:pos x="connsiteX29316" y="connsiteY29316"/>
              </a:cxn>
              <a:cxn ang="0">
                <a:pos x="connsiteX29317" y="connsiteY29317"/>
              </a:cxn>
              <a:cxn ang="0">
                <a:pos x="connsiteX29318" y="connsiteY29318"/>
              </a:cxn>
              <a:cxn ang="0">
                <a:pos x="connsiteX29319" y="connsiteY29319"/>
              </a:cxn>
              <a:cxn ang="0">
                <a:pos x="connsiteX29320" y="connsiteY29320"/>
              </a:cxn>
              <a:cxn ang="0">
                <a:pos x="connsiteX29321" y="connsiteY29321"/>
              </a:cxn>
              <a:cxn ang="0">
                <a:pos x="connsiteX29322" y="connsiteY29322"/>
              </a:cxn>
              <a:cxn ang="0">
                <a:pos x="connsiteX29323" y="connsiteY29323"/>
              </a:cxn>
              <a:cxn ang="0">
                <a:pos x="connsiteX29324" y="connsiteY29324"/>
              </a:cxn>
              <a:cxn ang="0">
                <a:pos x="connsiteX29325" y="connsiteY29325"/>
              </a:cxn>
              <a:cxn ang="0">
                <a:pos x="connsiteX29326" y="connsiteY29326"/>
              </a:cxn>
              <a:cxn ang="0">
                <a:pos x="connsiteX29327" y="connsiteY29327"/>
              </a:cxn>
              <a:cxn ang="0">
                <a:pos x="connsiteX29328" y="connsiteY29328"/>
              </a:cxn>
              <a:cxn ang="0">
                <a:pos x="connsiteX29329" y="connsiteY29329"/>
              </a:cxn>
              <a:cxn ang="0">
                <a:pos x="connsiteX29330" y="connsiteY29330"/>
              </a:cxn>
              <a:cxn ang="0">
                <a:pos x="connsiteX29331" y="connsiteY29331"/>
              </a:cxn>
              <a:cxn ang="0">
                <a:pos x="connsiteX29332" y="connsiteY29332"/>
              </a:cxn>
              <a:cxn ang="0">
                <a:pos x="connsiteX29333" y="connsiteY29333"/>
              </a:cxn>
              <a:cxn ang="0">
                <a:pos x="connsiteX29334" y="connsiteY29334"/>
              </a:cxn>
              <a:cxn ang="0">
                <a:pos x="connsiteX29335" y="connsiteY29335"/>
              </a:cxn>
              <a:cxn ang="0">
                <a:pos x="connsiteX29336" y="connsiteY29336"/>
              </a:cxn>
              <a:cxn ang="0">
                <a:pos x="connsiteX29337" y="connsiteY29337"/>
              </a:cxn>
              <a:cxn ang="0">
                <a:pos x="connsiteX29338" y="connsiteY29338"/>
              </a:cxn>
              <a:cxn ang="0">
                <a:pos x="connsiteX29339" y="connsiteY29339"/>
              </a:cxn>
              <a:cxn ang="0">
                <a:pos x="connsiteX29340" y="connsiteY29340"/>
              </a:cxn>
              <a:cxn ang="0">
                <a:pos x="connsiteX29341" y="connsiteY29341"/>
              </a:cxn>
              <a:cxn ang="0">
                <a:pos x="connsiteX29342" y="connsiteY29342"/>
              </a:cxn>
              <a:cxn ang="0">
                <a:pos x="connsiteX29343" y="connsiteY29343"/>
              </a:cxn>
              <a:cxn ang="0">
                <a:pos x="connsiteX29344" y="connsiteY29344"/>
              </a:cxn>
              <a:cxn ang="0">
                <a:pos x="connsiteX29345" y="connsiteY29345"/>
              </a:cxn>
              <a:cxn ang="0">
                <a:pos x="connsiteX29346" y="connsiteY29346"/>
              </a:cxn>
              <a:cxn ang="0">
                <a:pos x="connsiteX29347" y="connsiteY29347"/>
              </a:cxn>
              <a:cxn ang="0">
                <a:pos x="connsiteX29348" y="connsiteY29348"/>
              </a:cxn>
              <a:cxn ang="0">
                <a:pos x="connsiteX29349" y="connsiteY29349"/>
              </a:cxn>
              <a:cxn ang="0">
                <a:pos x="connsiteX29350" y="connsiteY29350"/>
              </a:cxn>
              <a:cxn ang="0">
                <a:pos x="connsiteX29351" y="connsiteY29351"/>
              </a:cxn>
              <a:cxn ang="0">
                <a:pos x="connsiteX29352" y="connsiteY29352"/>
              </a:cxn>
              <a:cxn ang="0">
                <a:pos x="connsiteX29353" y="connsiteY29353"/>
              </a:cxn>
              <a:cxn ang="0">
                <a:pos x="connsiteX29354" y="connsiteY29354"/>
              </a:cxn>
              <a:cxn ang="0">
                <a:pos x="connsiteX29355" y="connsiteY29355"/>
              </a:cxn>
              <a:cxn ang="0">
                <a:pos x="connsiteX29356" y="connsiteY29356"/>
              </a:cxn>
              <a:cxn ang="0">
                <a:pos x="connsiteX29357" y="connsiteY29357"/>
              </a:cxn>
              <a:cxn ang="0">
                <a:pos x="connsiteX29358" y="connsiteY29358"/>
              </a:cxn>
              <a:cxn ang="0">
                <a:pos x="connsiteX29359" y="connsiteY29359"/>
              </a:cxn>
              <a:cxn ang="0">
                <a:pos x="connsiteX29360" y="connsiteY29360"/>
              </a:cxn>
              <a:cxn ang="0">
                <a:pos x="connsiteX29361" y="connsiteY29361"/>
              </a:cxn>
              <a:cxn ang="0">
                <a:pos x="connsiteX29362" y="connsiteY29362"/>
              </a:cxn>
              <a:cxn ang="0">
                <a:pos x="connsiteX29363" y="connsiteY29363"/>
              </a:cxn>
              <a:cxn ang="0">
                <a:pos x="connsiteX29364" y="connsiteY29364"/>
              </a:cxn>
              <a:cxn ang="0">
                <a:pos x="connsiteX29365" y="connsiteY29365"/>
              </a:cxn>
              <a:cxn ang="0">
                <a:pos x="connsiteX29366" y="connsiteY29366"/>
              </a:cxn>
              <a:cxn ang="0">
                <a:pos x="connsiteX29367" y="connsiteY29367"/>
              </a:cxn>
              <a:cxn ang="0">
                <a:pos x="connsiteX29368" y="connsiteY29368"/>
              </a:cxn>
              <a:cxn ang="0">
                <a:pos x="connsiteX29369" y="connsiteY29369"/>
              </a:cxn>
              <a:cxn ang="0">
                <a:pos x="connsiteX29370" y="connsiteY29370"/>
              </a:cxn>
              <a:cxn ang="0">
                <a:pos x="connsiteX29371" y="connsiteY29371"/>
              </a:cxn>
              <a:cxn ang="0">
                <a:pos x="connsiteX29372" y="connsiteY29372"/>
              </a:cxn>
              <a:cxn ang="0">
                <a:pos x="connsiteX29373" y="connsiteY29373"/>
              </a:cxn>
              <a:cxn ang="0">
                <a:pos x="connsiteX29374" y="connsiteY29374"/>
              </a:cxn>
              <a:cxn ang="0">
                <a:pos x="connsiteX29375" y="connsiteY29375"/>
              </a:cxn>
              <a:cxn ang="0">
                <a:pos x="connsiteX29376" y="connsiteY29376"/>
              </a:cxn>
              <a:cxn ang="0">
                <a:pos x="connsiteX29377" y="connsiteY29377"/>
              </a:cxn>
              <a:cxn ang="0">
                <a:pos x="connsiteX29378" y="connsiteY29378"/>
              </a:cxn>
              <a:cxn ang="0">
                <a:pos x="connsiteX29379" y="connsiteY29379"/>
              </a:cxn>
              <a:cxn ang="0">
                <a:pos x="connsiteX29380" y="connsiteY29380"/>
              </a:cxn>
              <a:cxn ang="0">
                <a:pos x="connsiteX29381" y="connsiteY29381"/>
              </a:cxn>
              <a:cxn ang="0">
                <a:pos x="connsiteX29382" y="connsiteY29382"/>
              </a:cxn>
              <a:cxn ang="0">
                <a:pos x="connsiteX29383" y="connsiteY29383"/>
              </a:cxn>
              <a:cxn ang="0">
                <a:pos x="connsiteX29384" y="connsiteY29384"/>
              </a:cxn>
              <a:cxn ang="0">
                <a:pos x="connsiteX29385" y="connsiteY29385"/>
              </a:cxn>
              <a:cxn ang="0">
                <a:pos x="connsiteX29386" y="connsiteY29386"/>
              </a:cxn>
              <a:cxn ang="0">
                <a:pos x="connsiteX29387" y="connsiteY29387"/>
              </a:cxn>
              <a:cxn ang="0">
                <a:pos x="connsiteX29388" y="connsiteY29388"/>
              </a:cxn>
              <a:cxn ang="0">
                <a:pos x="connsiteX29389" y="connsiteY29389"/>
              </a:cxn>
              <a:cxn ang="0">
                <a:pos x="connsiteX29390" y="connsiteY29390"/>
              </a:cxn>
              <a:cxn ang="0">
                <a:pos x="connsiteX29391" y="connsiteY29391"/>
              </a:cxn>
              <a:cxn ang="0">
                <a:pos x="connsiteX29392" y="connsiteY29392"/>
              </a:cxn>
              <a:cxn ang="0">
                <a:pos x="connsiteX29393" y="connsiteY29393"/>
              </a:cxn>
              <a:cxn ang="0">
                <a:pos x="connsiteX29394" y="connsiteY29394"/>
              </a:cxn>
              <a:cxn ang="0">
                <a:pos x="connsiteX29395" y="connsiteY29395"/>
              </a:cxn>
              <a:cxn ang="0">
                <a:pos x="connsiteX29396" y="connsiteY29396"/>
              </a:cxn>
              <a:cxn ang="0">
                <a:pos x="connsiteX29397" y="connsiteY29397"/>
              </a:cxn>
              <a:cxn ang="0">
                <a:pos x="connsiteX29398" y="connsiteY29398"/>
              </a:cxn>
              <a:cxn ang="0">
                <a:pos x="connsiteX29399" y="connsiteY29399"/>
              </a:cxn>
              <a:cxn ang="0">
                <a:pos x="connsiteX29400" y="connsiteY29400"/>
              </a:cxn>
              <a:cxn ang="0">
                <a:pos x="connsiteX29401" y="connsiteY29401"/>
              </a:cxn>
              <a:cxn ang="0">
                <a:pos x="connsiteX29402" y="connsiteY29402"/>
              </a:cxn>
              <a:cxn ang="0">
                <a:pos x="connsiteX29403" y="connsiteY29403"/>
              </a:cxn>
              <a:cxn ang="0">
                <a:pos x="connsiteX29404" y="connsiteY29404"/>
              </a:cxn>
              <a:cxn ang="0">
                <a:pos x="connsiteX29405" y="connsiteY29405"/>
              </a:cxn>
              <a:cxn ang="0">
                <a:pos x="connsiteX29406" y="connsiteY29406"/>
              </a:cxn>
              <a:cxn ang="0">
                <a:pos x="connsiteX29407" y="connsiteY29407"/>
              </a:cxn>
              <a:cxn ang="0">
                <a:pos x="connsiteX29408" y="connsiteY29408"/>
              </a:cxn>
              <a:cxn ang="0">
                <a:pos x="connsiteX29409" y="connsiteY29409"/>
              </a:cxn>
              <a:cxn ang="0">
                <a:pos x="connsiteX29410" y="connsiteY29410"/>
              </a:cxn>
              <a:cxn ang="0">
                <a:pos x="connsiteX29411" y="connsiteY29411"/>
              </a:cxn>
              <a:cxn ang="0">
                <a:pos x="connsiteX29412" y="connsiteY29412"/>
              </a:cxn>
              <a:cxn ang="0">
                <a:pos x="connsiteX29413" y="connsiteY29413"/>
              </a:cxn>
              <a:cxn ang="0">
                <a:pos x="connsiteX29414" y="connsiteY29414"/>
              </a:cxn>
              <a:cxn ang="0">
                <a:pos x="connsiteX29415" y="connsiteY29415"/>
              </a:cxn>
              <a:cxn ang="0">
                <a:pos x="connsiteX29416" y="connsiteY29416"/>
              </a:cxn>
              <a:cxn ang="0">
                <a:pos x="connsiteX29417" y="connsiteY29417"/>
              </a:cxn>
              <a:cxn ang="0">
                <a:pos x="connsiteX29418" y="connsiteY29418"/>
              </a:cxn>
              <a:cxn ang="0">
                <a:pos x="connsiteX29419" y="connsiteY29419"/>
              </a:cxn>
              <a:cxn ang="0">
                <a:pos x="connsiteX29420" y="connsiteY29420"/>
              </a:cxn>
              <a:cxn ang="0">
                <a:pos x="connsiteX29421" y="connsiteY29421"/>
              </a:cxn>
              <a:cxn ang="0">
                <a:pos x="connsiteX29422" y="connsiteY29422"/>
              </a:cxn>
              <a:cxn ang="0">
                <a:pos x="connsiteX29423" y="connsiteY29423"/>
              </a:cxn>
              <a:cxn ang="0">
                <a:pos x="connsiteX29424" y="connsiteY29424"/>
              </a:cxn>
              <a:cxn ang="0">
                <a:pos x="connsiteX29425" y="connsiteY29425"/>
              </a:cxn>
              <a:cxn ang="0">
                <a:pos x="connsiteX29426" y="connsiteY29426"/>
              </a:cxn>
              <a:cxn ang="0">
                <a:pos x="connsiteX29427" y="connsiteY29427"/>
              </a:cxn>
              <a:cxn ang="0">
                <a:pos x="connsiteX29428" y="connsiteY29428"/>
              </a:cxn>
              <a:cxn ang="0">
                <a:pos x="connsiteX29429" y="connsiteY29429"/>
              </a:cxn>
              <a:cxn ang="0">
                <a:pos x="connsiteX29430" y="connsiteY29430"/>
              </a:cxn>
              <a:cxn ang="0">
                <a:pos x="connsiteX29431" y="connsiteY29431"/>
              </a:cxn>
              <a:cxn ang="0">
                <a:pos x="connsiteX29432" y="connsiteY29432"/>
              </a:cxn>
              <a:cxn ang="0">
                <a:pos x="connsiteX29433" y="connsiteY29433"/>
              </a:cxn>
              <a:cxn ang="0">
                <a:pos x="connsiteX29434" y="connsiteY29434"/>
              </a:cxn>
              <a:cxn ang="0">
                <a:pos x="connsiteX29435" y="connsiteY29435"/>
              </a:cxn>
              <a:cxn ang="0">
                <a:pos x="connsiteX29436" y="connsiteY29436"/>
              </a:cxn>
              <a:cxn ang="0">
                <a:pos x="connsiteX29437" y="connsiteY29437"/>
              </a:cxn>
              <a:cxn ang="0">
                <a:pos x="connsiteX29438" y="connsiteY29438"/>
              </a:cxn>
              <a:cxn ang="0">
                <a:pos x="connsiteX29439" y="connsiteY29439"/>
              </a:cxn>
              <a:cxn ang="0">
                <a:pos x="connsiteX29440" y="connsiteY29440"/>
              </a:cxn>
              <a:cxn ang="0">
                <a:pos x="connsiteX29441" y="connsiteY29441"/>
              </a:cxn>
              <a:cxn ang="0">
                <a:pos x="connsiteX29442" y="connsiteY29442"/>
              </a:cxn>
              <a:cxn ang="0">
                <a:pos x="connsiteX29443" y="connsiteY29443"/>
              </a:cxn>
              <a:cxn ang="0">
                <a:pos x="connsiteX29444" y="connsiteY29444"/>
              </a:cxn>
              <a:cxn ang="0">
                <a:pos x="connsiteX29445" y="connsiteY29445"/>
              </a:cxn>
              <a:cxn ang="0">
                <a:pos x="connsiteX29446" y="connsiteY29446"/>
              </a:cxn>
              <a:cxn ang="0">
                <a:pos x="connsiteX29447" y="connsiteY29447"/>
              </a:cxn>
              <a:cxn ang="0">
                <a:pos x="connsiteX29448" y="connsiteY29448"/>
              </a:cxn>
              <a:cxn ang="0">
                <a:pos x="connsiteX29449" y="connsiteY29449"/>
              </a:cxn>
              <a:cxn ang="0">
                <a:pos x="connsiteX29450" y="connsiteY29450"/>
              </a:cxn>
              <a:cxn ang="0">
                <a:pos x="connsiteX29451" y="connsiteY29451"/>
              </a:cxn>
              <a:cxn ang="0">
                <a:pos x="connsiteX29452" y="connsiteY29452"/>
              </a:cxn>
              <a:cxn ang="0">
                <a:pos x="connsiteX29453" y="connsiteY29453"/>
              </a:cxn>
              <a:cxn ang="0">
                <a:pos x="connsiteX29454" y="connsiteY29454"/>
              </a:cxn>
              <a:cxn ang="0">
                <a:pos x="connsiteX29455" y="connsiteY29455"/>
              </a:cxn>
              <a:cxn ang="0">
                <a:pos x="connsiteX29456" y="connsiteY29456"/>
              </a:cxn>
              <a:cxn ang="0">
                <a:pos x="connsiteX29457" y="connsiteY29457"/>
              </a:cxn>
              <a:cxn ang="0">
                <a:pos x="connsiteX29458" y="connsiteY29458"/>
              </a:cxn>
              <a:cxn ang="0">
                <a:pos x="connsiteX29459" y="connsiteY29459"/>
              </a:cxn>
              <a:cxn ang="0">
                <a:pos x="connsiteX29460" y="connsiteY29460"/>
              </a:cxn>
              <a:cxn ang="0">
                <a:pos x="connsiteX29461" y="connsiteY29461"/>
              </a:cxn>
              <a:cxn ang="0">
                <a:pos x="connsiteX29462" y="connsiteY29462"/>
              </a:cxn>
              <a:cxn ang="0">
                <a:pos x="connsiteX29463" y="connsiteY29463"/>
              </a:cxn>
              <a:cxn ang="0">
                <a:pos x="connsiteX29464" y="connsiteY29464"/>
              </a:cxn>
              <a:cxn ang="0">
                <a:pos x="connsiteX29465" y="connsiteY29465"/>
              </a:cxn>
              <a:cxn ang="0">
                <a:pos x="connsiteX29466" y="connsiteY29466"/>
              </a:cxn>
              <a:cxn ang="0">
                <a:pos x="connsiteX29467" y="connsiteY29467"/>
              </a:cxn>
              <a:cxn ang="0">
                <a:pos x="connsiteX29468" y="connsiteY29468"/>
              </a:cxn>
              <a:cxn ang="0">
                <a:pos x="connsiteX29469" y="connsiteY29469"/>
              </a:cxn>
              <a:cxn ang="0">
                <a:pos x="connsiteX29470" y="connsiteY29470"/>
              </a:cxn>
              <a:cxn ang="0">
                <a:pos x="connsiteX29471" y="connsiteY29471"/>
              </a:cxn>
              <a:cxn ang="0">
                <a:pos x="connsiteX29472" y="connsiteY29472"/>
              </a:cxn>
              <a:cxn ang="0">
                <a:pos x="connsiteX29473" y="connsiteY29473"/>
              </a:cxn>
              <a:cxn ang="0">
                <a:pos x="connsiteX29474" y="connsiteY29474"/>
              </a:cxn>
              <a:cxn ang="0">
                <a:pos x="connsiteX29475" y="connsiteY29475"/>
              </a:cxn>
              <a:cxn ang="0">
                <a:pos x="connsiteX29476" y="connsiteY29476"/>
              </a:cxn>
              <a:cxn ang="0">
                <a:pos x="connsiteX29477" y="connsiteY29477"/>
              </a:cxn>
              <a:cxn ang="0">
                <a:pos x="connsiteX29478" y="connsiteY29478"/>
              </a:cxn>
              <a:cxn ang="0">
                <a:pos x="connsiteX29479" y="connsiteY29479"/>
              </a:cxn>
              <a:cxn ang="0">
                <a:pos x="connsiteX29480" y="connsiteY29480"/>
              </a:cxn>
              <a:cxn ang="0">
                <a:pos x="connsiteX29481" y="connsiteY29481"/>
              </a:cxn>
              <a:cxn ang="0">
                <a:pos x="connsiteX29482" y="connsiteY29482"/>
              </a:cxn>
              <a:cxn ang="0">
                <a:pos x="connsiteX29483" y="connsiteY29483"/>
              </a:cxn>
              <a:cxn ang="0">
                <a:pos x="connsiteX29484" y="connsiteY29484"/>
              </a:cxn>
              <a:cxn ang="0">
                <a:pos x="connsiteX29485" y="connsiteY29485"/>
              </a:cxn>
              <a:cxn ang="0">
                <a:pos x="connsiteX29486" y="connsiteY29486"/>
              </a:cxn>
              <a:cxn ang="0">
                <a:pos x="connsiteX29487" y="connsiteY29487"/>
              </a:cxn>
              <a:cxn ang="0">
                <a:pos x="connsiteX29488" y="connsiteY29488"/>
              </a:cxn>
              <a:cxn ang="0">
                <a:pos x="connsiteX29489" y="connsiteY29489"/>
              </a:cxn>
              <a:cxn ang="0">
                <a:pos x="connsiteX29490" y="connsiteY29490"/>
              </a:cxn>
              <a:cxn ang="0">
                <a:pos x="connsiteX29491" y="connsiteY29491"/>
              </a:cxn>
              <a:cxn ang="0">
                <a:pos x="connsiteX29492" y="connsiteY29492"/>
              </a:cxn>
              <a:cxn ang="0">
                <a:pos x="connsiteX29493" y="connsiteY29493"/>
              </a:cxn>
              <a:cxn ang="0">
                <a:pos x="connsiteX29494" y="connsiteY29494"/>
              </a:cxn>
              <a:cxn ang="0">
                <a:pos x="connsiteX29495" y="connsiteY29495"/>
              </a:cxn>
              <a:cxn ang="0">
                <a:pos x="connsiteX29496" y="connsiteY29496"/>
              </a:cxn>
              <a:cxn ang="0">
                <a:pos x="connsiteX29497" y="connsiteY29497"/>
              </a:cxn>
              <a:cxn ang="0">
                <a:pos x="connsiteX29498" y="connsiteY29498"/>
              </a:cxn>
              <a:cxn ang="0">
                <a:pos x="connsiteX29499" y="connsiteY29499"/>
              </a:cxn>
              <a:cxn ang="0">
                <a:pos x="connsiteX29500" y="connsiteY29500"/>
              </a:cxn>
              <a:cxn ang="0">
                <a:pos x="connsiteX29501" y="connsiteY29501"/>
              </a:cxn>
              <a:cxn ang="0">
                <a:pos x="connsiteX29502" y="connsiteY29502"/>
              </a:cxn>
              <a:cxn ang="0">
                <a:pos x="connsiteX29503" y="connsiteY29503"/>
              </a:cxn>
              <a:cxn ang="0">
                <a:pos x="connsiteX29504" y="connsiteY29504"/>
              </a:cxn>
              <a:cxn ang="0">
                <a:pos x="connsiteX29505" y="connsiteY29505"/>
              </a:cxn>
              <a:cxn ang="0">
                <a:pos x="connsiteX29506" y="connsiteY29506"/>
              </a:cxn>
              <a:cxn ang="0">
                <a:pos x="connsiteX29507" y="connsiteY29507"/>
              </a:cxn>
              <a:cxn ang="0">
                <a:pos x="connsiteX29508" y="connsiteY29508"/>
              </a:cxn>
              <a:cxn ang="0">
                <a:pos x="connsiteX29509" y="connsiteY29509"/>
              </a:cxn>
              <a:cxn ang="0">
                <a:pos x="connsiteX29510" y="connsiteY29510"/>
              </a:cxn>
              <a:cxn ang="0">
                <a:pos x="connsiteX29511" y="connsiteY29511"/>
              </a:cxn>
              <a:cxn ang="0">
                <a:pos x="connsiteX29512" y="connsiteY29512"/>
              </a:cxn>
              <a:cxn ang="0">
                <a:pos x="connsiteX29513" y="connsiteY29513"/>
              </a:cxn>
              <a:cxn ang="0">
                <a:pos x="connsiteX29514" y="connsiteY29514"/>
              </a:cxn>
              <a:cxn ang="0">
                <a:pos x="connsiteX29515" y="connsiteY29515"/>
              </a:cxn>
              <a:cxn ang="0">
                <a:pos x="connsiteX29516" y="connsiteY29516"/>
              </a:cxn>
              <a:cxn ang="0">
                <a:pos x="connsiteX29517" y="connsiteY29517"/>
              </a:cxn>
              <a:cxn ang="0">
                <a:pos x="connsiteX29518" y="connsiteY29518"/>
              </a:cxn>
              <a:cxn ang="0">
                <a:pos x="connsiteX29519" y="connsiteY29519"/>
              </a:cxn>
              <a:cxn ang="0">
                <a:pos x="connsiteX29520" y="connsiteY29520"/>
              </a:cxn>
              <a:cxn ang="0">
                <a:pos x="connsiteX29521" y="connsiteY29521"/>
              </a:cxn>
              <a:cxn ang="0">
                <a:pos x="connsiteX29522" y="connsiteY29522"/>
              </a:cxn>
              <a:cxn ang="0">
                <a:pos x="connsiteX29523" y="connsiteY29523"/>
              </a:cxn>
              <a:cxn ang="0">
                <a:pos x="connsiteX29524" y="connsiteY29524"/>
              </a:cxn>
              <a:cxn ang="0">
                <a:pos x="connsiteX29525" y="connsiteY29525"/>
              </a:cxn>
              <a:cxn ang="0">
                <a:pos x="connsiteX29526" y="connsiteY29526"/>
              </a:cxn>
              <a:cxn ang="0">
                <a:pos x="connsiteX29527" y="connsiteY29527"/>
              </a:cxn>
              <a:cxn ang="0">
                <a:pos x="connsiteX29528" y="connsiteY29528"/>
              </a:cxn>
              <a:cxn ang="0">
                <a:pos x="connsiteX29529" y="connsiteY29529"/>
              </a:cxn>
              <a:cxn ang="0">
                <a:pos x="connsiteX29530" y="connsiteY29530"/>
              </a:cxn>
              <a:cxn ang="0">
                <a:pos x="connsiteX29531" y="connsiteY29531"/>
              </a:cxn>
              <a:cxn ang="0">
                <a:pos x="connsiteX29532" y="connsiteY29532"/>
              </a:cxn>
              <a:cxn ang="0">
                <a:pos x="connsiteX29533" y="connsiteY29533"/>
              </a:cxn>
              <a:cxn ang="0">
                <a:pos x="connsiteX29534" y="connsiteY29534"/>
              </a:cxn>
              <a:cxn ang="0">
                <a:pos x="connsiteX29535" y="connsiteY29535"/>
              </a:cxn>
              <a:cxn ang="0">
                <a:pos x="connsiteX29536" y="connsiteY29536"/>
              </a:cxn>
              <a:cxn ang="0">
                <a:pos x="connsiteX29537" y="connsiteY29537"/>
              </a:cxn>
              <a:cxn ang="0">
                <a:pos x="connsiteX29538" y="connsiteY29538"/>
              </a:cxn>
              <a:cxn ang="0">
                <a:pos x="connsiteX29539" y="connsiteY29539"/>
              </a:cxn>
              <a:cxn ang="0">
                <a:pos x="connsiteX29540" y="connsiteY29540"/>
              </a:cxn>
              <a:cxn ang="0">
                <a:pos x="connsiteX29541" y="connsiteY29541"/>
              </a:cxn>
              <a:cxn ang="0">
                <a:pos x="connsiteX29542" y="connsiteY29542"/>
              </a:cxn>
              <a:cxn ang="0">
                <a:pos x="connsiteX29543" y="connsiteY29543"/>
              </a:cxn>
              <a:cxn ang="0">
                <a:pos x="connsiteX29544" y="connsiteY29544"/>
              </a:cxn>
              <a:cxn ang="0">
                <a:pos x="connsiteX29545" y="connsiteY29545"/>
              </a:cxn>
              <a:cxn ang="0">
                <a:pos x="connsiteX29546" y="connsiteY29546"/>
              </a:cxn>
              <a:cxn ang="0">
                <a:pos x="connsiteX29547" y="connsiteY29547"/>
              </a:cxn>
              <a:cxn ang="0">
                <a:pos x="connsiteX29548" y="connsiteY29548"/>
              </a:cxn>
              <a:cxn ang="0">
                <a:pos x="connsiteX29549" y="connsiteY29549"/>
              </a:cxn>
              <a:cxn ang="0">
                <a:pos x="connsiteX29550" y="connsiteY29550"/>
              </a:cxn>
              <a:cxn ang="0">
                <a:pos x="connsiteX29551" y="connsiteY29551"/>
              </a:cxn>
              <a:cxn ang="0">
                <a:pos x="connsiteX29552" y="connsiteY29552"/>
              </a:cxn>
              <a:cxn ang="0">
                <a:pos x="connsiteX29553" y="connsiteY29553"/>
              </a:cxn>
              <a:cxn ang="0">
                <a:pos x="connsiteX29554" y="connsiteY29554"/>
              </a:cxn>
              <a:cxn ang="0">
                <a:pos x="connsiteX29555" y="connsiteY29555"/>
              </a:cxn>
              <a:cxn ang="0">
                <a:pos x="connsiteX29556" y="connsiteY29556"/>
              </a:cxn>
              <a:cxn ang="0">
                <a:pos x="connsiteX29557" y="connsiteY29557"/>
              </a:cxn>
              <a:cxn ang="0">
                <a:pos x="connsiteX29558" y="connsiteY29558"/>
              </a:cxn>
              <a:cxn ang="0">
                <a:pos x="connsiteX29559" y="connsiteY29559"/>
              </a:cxn>
              <a:cxn ang="0">
                <a:pos x="connsiteX29560" y="connsiteY29560"/>
              </a:cxn>
              <a:cxn ang="0">
                <a:pos x="connsiteX29561" y="connsiteY29561"/>
              </a:cxn>
              <a:cxn ang="0">
                <a:pos x="connsiteX29562" y="connsiteY29562"/>
              </a:cxn>
              <a:cxn ang="0">
                <a:pos x="connsiteX29563" y="connsiteY29563"/>
              </a:cxn>
              <a:cxn ang="0">
                <a:pos x="connsiteX29564" y="connsiteY29564"/>
              </a:cxn>
              <a:cxn ang="0">
                <a:pos x="connsiteX29565" y="connsiteY29565"/>
              </a:cxn>
              <a:cxn ang="0">
                <a:pos x="connsiteX29566" y="connsiteY29566"/>
              </a:cxn>
              <a:cxn ang="0">
                <a:pos x="connsiteX29567" y="connsiteY29567"/>
              </a:cxn>
              <a:cxn ang="0">
                <a:pos x="connsiteX29568" y="connsiteY29568"/>
              </a:cxn>
              <a:cxn ang="0">
                <a:pos x="connsiteX29569" y="connsiteY29569"/>
              </a:cxn>
              <a:cxn ang="0">
                <a:pos x="connsiteX29570" y="connsiteY29570"/>
              </a:cxn>
              <a:cxn ang="0">
                <a:pos x="connsiteX29571" y="connsiteY29571"/>
              </a:cxn>
              <a:cxn ang="0">
                <a:pos x="connsiteX29572" y="connsiteY29572"/>
              </a:cxn>
              <a:cxn ang="0">
                <a:pos x="connsiteX29573" y="connsiteY29573"/>
              </a:cxn>
              <a:cxn ang="0">
                <a:pos x="connsiteX29574" y="connsiteY29574"/>
              </a:cxn>
              <a:cxn ang="0">
                <a:pos x="connsiteX29575" y="connsiteY29575"/>
              </a:cxn>
              <a:cxn ang="0">
                <a:pos x="connsiteX29576" y="connsiteY29576"/>
              </a:cxn>
              <a:cxn ang="0">
                <a:pos x="connsiteX29577" y="connsiteY29577"/>
              </a:cxn>
              <a:cxn ang="0">
                <a:pos x="connsiteX29578" y="connsiteY29578"/>
              </a:cxn>
              <a:cxn ang="0">
                <a:pos x="connsiteX29579" y="connsiteY29579"/>
              </a:cxn>
              <a:cxn ang="0">
                <a:pos x="connsiteX29580" y="connsiteY29580"/>
              </a:cxn>
              <a:cxn ang="0">
                <a:pos x="connsiteX29581" y="connsiteY29581"/>
              </a:cxn>
              <a:cxn ang="0">
                <a:pos x="connsiteX29582" y="connsiteY29582"/>
              </a:cxn>
              <a:cxn ang="0">
                <a:pos x="connsiteX29583" y="connsiteY29583"/>
              </a:cxn>
              <a:cxn ang="0">
                <a:pos x="connsiteX29584" y="connsiteY29584"/>
              </a:cxn>
              <a:cxn ang="0">
                <a:pos x="connsiteX29585" y="connsiteY29585"/>
              </a:cxn>
              <a:cxn ang="0">
                <a:pos x="connsiteX29586" y="connsiteY29586"/>
              </a:cxn>
              <a:cxn ang="0">
                <a:pos x="connsiteX29587" y="connsiteY29587"/>
              </a:cxn>
              <a:cxn ang="0">
                <a:pos x="connsiteX29588" y="connsiteY29588"/>
              </a:cxn>
              <a:cxn ang="0">
                <a:pos x="connsiteX29589" y="connsiteY29589"/>
              </a:cxn>
              <a:cxn ang="0">
                <a:pos x="connsiteX29590" y="connsiteY29590"/>
              </a:cxn>
              <a:cxn ang="0">
                <a:pos x="connsiteX29591" y="connsiteY29591"/>
              </a:cxn>
              <a:cxn ang="0">
                <a:pos x="connsiteX29592" y="connsiteY29592"/>
              </a:cxn>
              <a:cxn ang="0">
                <a:pos x="connsiteX29593" y="connsiteY29593"/>
              </a:cxn>
              <a:cxn ang="0">
                <a:pos x="connsiteX29594" y="connsiteY29594"/>
              </a:cxn>
              <a:cxn ang="0">
                <a:pos x="connsiteX29595" y="connsiteY29595"/>
              </a:cxn>
              <a:cxn ang="0">
                <a:pos x="connsiteX29596" y="connsiteY29596"/>
              </a:cxn>
              <a:cxn ang="0">
                <a:pos x="connsiteX29597" y="connsiteY29597"/>
              </a:cxn>
              <a:cxn ang="0">
                <a:pos x="connsiteX29598" y="connsiteY29598"/>
              </a:cxn>
              <a:cxn ang="0">
                <a:pos x="connsiteX29599" y="connsiteY29599"/>
              </a:cxn>
              <a:cxn ang="0">
                <a:pos x="connsiteX29600" y="connsiteY29600"/>
              </a:cxn>
              <a:cxn ang="0">
                <a:pos x="connsiteX29601" y="connsiteY29601"/>
              </a:cxn>
              <a:cxn ang="0">
                <a:pos x="connsiteX29602" y="connsiteY29602"/>
              </a:cxn>
              <a:cxn ang="0">
                <a:pos x="connsiteX29603" y="connsiteY29603"/>
              </a:cxn>
              <a:cxn ang="0">
                <a:pos x="connsiteX29604" y="connsiteY29604"/>
              </a:cxn>
              <a:cxn ang="0">
                <a:pos x="connsiteX29605" y="connsiteY29605"/>
              </a:cxn>
              <a:cxn ang="0">
                <a:pos x="connsiteX29606" y="connsiteY29606"/>
              </a:cxn>
              <a:cxn ang="0">
                <a:pos x="connsiteX29607" y="connsiteY29607"/>
              </a:cxn>
              <a:cxn ang="0">
                <a:pos x="connsiteX29608" y="connsiteY29608"/>
              </a:cxn>
              <a:cxn ang="0">
                <a:pos x="connsiteX29609" y="connsiteY29609"/>
              </a:cxn>
              <a:cxn ang="0">
                <a:pos x="connsiteX29610" y="connsiteY29610"/>
              </a:cxn>
              <a:cxn ang="0">
                <a:pos x="connsiteX29611" y="connsiteY29611"/>
              </a:cxn>
              <a:cxn ang="0">
                <a:pos x="connsiteX29612" y="connsiteY29612"/>
              </a:cxn>
              <a:cxn ang="0">
                <a:pos x="connsiteX29613" y="connsiteY29613"/>
              </a:cxn>
              <a:cxn ang="0">
                <a:pos x="connsiteX29614" y="connsiteY29614"/>
              </a:cxn>
              <a:cxn ang="0">
                <a:pos x="connsiteX29615" y="connsiteY29615"/>
              </a:cxn>
              <a:cxn ang="0">
                <a:pos x="connsiteX29616" y="connsiteY29616"/>
              </a:cxn>
              <a:cxn ang="0">
                <a:pos x="connsiteX29617" y="connsiteY29617"/>
              </a:cxn>
              <a:cxn ang="0">
                <a:pos x="connsiteX29618" y="connsiteY29618"/>
              </a:cxn>
              <a:cxn ang="0">
                <a:pos x="connsiteX29619" y="connsiteY29619"/>
              </a:cxn>
              <a:cxn ang="0">
                <a:pos x="connsiteX29620" y="connsiteY29620"/>
              </a:cxn>
              <a:cxn ang="0">
                <a:pos x="connsiteX29621" y="connsiteY29621"/>
              </a:cxn>
              <a:cxn ang="0">
                <a:pos x="connsiteX29622" y="connsiteY29622"/>
              </a:cxn>
              <a:cxn ang="0">
                <a:pos x="connsiteX29623" y="connsiteY29623"/>
              </a:cxn>
              <a:cxn ang="0">
                <a:pos x="connsiteX29624" y="connsiteY29624"/>
              </a:cxn>
              <a:cxn ang="0">
                <a:pos x="connsiteX29625" y="connsiteY29625"/>
              </a:cxn>
              <a:cxn ang="0">
                <a:pos x="connsiteX29626" y="connsiteY29626"/>
              </a:cxn>
              <a:cxn ang="0">
                <a:pos x="connsiteX29627" y="connsiteY29627"/>
              </a:cxn>
              <a:cxn ang="0">
                <a:pos x="connsiteX29628" y="connsiteY29628"/>
              </a:cxn>
              <a:cxn ang="0">
                <a:pos x="connsiteX29629" y="connsiteY29629"/>
              </a:cxn>
              <a:cxn ang="0">
                <a:pos x="connsiteX29630" y="connsiteY29630"/>
              </a:cxn>
              <a:cxn ang="0">
                <a:pos x="connsiteX29631" y="connsiteY29631"/>
              </a:cxn>
              <a:cxn ang="0">
                <a:pos x="connsiteX29632" y="connsiteY29632"/>
              </a:cxn>
              <a:cxn ang="0">
                <a:pos x="connsiteX29633" y="connsiteY29633"/>
              </a:cxn>
              <a:cxn ang="0">
                <a:pos x="connsiteX29634" y="connsiteY29634"/>
              </a:cxn>
              <a:cxn ang="0">
                <a:pos x="connsiteX29635" y="connsiteY29635"/>
              </a:cxn>
              <a:cxn ang="0">
                <a:pos x="connsiteX29636" y="connsiteY29636"/>
              </a:cxn>
              <a:cxn ang="0">
                <a:pos x="connsiteX29637" y="connsiteY29637"/>
              </a:cxn>
              <a:cxn ang="0">
                <a:pos x="connsiteX29638" y="connsiteY29638"/>
              </a:cxn>
              <a:cxn ang="0">
                <a:pos x="connsiteX29639" y="connsiteY29639"/>
              </a:cxn>
              <a:cxn ang="0">
                <a:pos x="connsiteX29640" y="connsiteY29640"/>
              </a:cxn>
              <a:cxn ang="0">
                <a:pos x="connsiteX29641" y="connsiteY29641"/>
              </a:cxn>
              <a:cxn ang="0">
                <a:pos x="connsiteX29642" y="connsiteY29642"/>
              </a:cxn>
              <a:cxn ang="0">
                <a:pos x="connsiteX29643" y="connsiteY29643"/>
              </a:cxn>
              <a:cxn ang="0">
                <a:pos x="connsiteX29644" y="connsiteY29644"/>
              </a:cxn>
              <a:cxn ang="0">
                <a:pos x="connsiteX29645" y="connsiteY29645"/>
              </a:cxn>
              <a:cxn ang="0">
                <a:pos x="connsiteX29646" y="connsiteY29646"/>
              </a:cxn>
              <a:cxn ang="0">
                <a:pos x="connsiteX29647" y="connsiteY29647"/>
              </a:cxn>
              <a:cxn ang="0">
                <a:pos x="connsiteX29648" y="connsiteY29648"/>
              </a:cxn>
              <a:cxn ang="0">
                <a:pos x="connsiteX29649" y="connsiteY29649"/>
              </a:cxn>
              <a:cxn ang="0">
                <a:pos x="connsiteX29650" y="connsiteY29650"/>
              </a:cxn>
              <a:cxn ang="0">
                <a:pos x="connsiteX29651" y="connsiteY29651"/>
              </a:cxn>
              <a:cxn ang="0">
                <a:pos x="connsiteX29652" y="connsiteY29652"/>
              </a:cxn>
              <a:cxn ang="0">
                <a:pos x="connsiteX29653" y="connsiteY29653"/>
              </a:cxn>
              <a:cxn ang="0">
                <a:pos x="connsiteX29654" y="connsiteY29654"/>
              </a:cxn>
              <a:cxn ang="0">
                <a:pos x="connsiteX29655" y="connsiteY29655"/>
              </a:cxn>
              <a:cxn ang="0">
                <a:pos x="connsiteX29656" y="connsiteY29656"/>
              </a:cxn>
              <a:cxn ang="0">
                <a:pos x="connsiteX29657" y="connsiteY29657"/>
              </a:cxn>
              <a:cxn ang="0">
                <a:pos x="connsiteX29658" y="connsiteY29658"/>
              </a:cxn>
              <a:cxn ang="0">
                <a:pos x="connsiteX29659" y="connsiteY29659"/>
              </a:cxn>
              <a:cxn ang="0">
                <a:pos x="connsiteX29660" y="connsiteY29660"/>
              </a:cxn>
              <a:cxn ang="0">
                <a:pos x="connsiteX29661" y="connsiteY29661"/>
              </a:cxn>
              <a:cxn ang="0">
                <a:pos x="connsiteX29662" y="connsiteY29662"/>
              </a:cxn>
              <a:cxn ang="0">
                <a:pos x="connsiteX29663" y="connsiteY29663"/>
              </a:cxn>
              <a:cxn ang="0">
                <a:pos x="connsiteX29664" y="connsiteY29664"/>
              </a:cxn>
              <a:cxn ang="0">
                <a:pos x="connsiteX29665" y="connsiteY29665"/>
              </a:cxn>
              <a:cxn ang="0">
                <a:pos x="connsiteX29666" y="connsiteY29666"/>
              </a:cxn>
              <a:cxn ang="0">
                <a:pos x="connsiteX29667" y="connsiteY29667"/>
              </a:cxn>
              <a:cxn ang="0">
                <a:pos x="connsiteX29668" y="connsiteY29668"/>
              </a:cxn>
              <a:cxn ang="0">
                <a:pos x="connsiteX29669" y="connsiteY29669"/>
              </a:cxn>
              <a:cxn ang="0">
                <a:pos x="connsiteX29670" y="connsiteY29670"/>
              </a:cxn>
              <a:cxn ang="0">
                <a:pos x="connsiteX29671" y="connsiteY29671"/>
              </a:cxn>
              <a:cxn ang="0">
                <a:pos x="connsiteX29672" y="connsiteY29672"/>
              </a:cxn>
              <a:cxn ang="0">
                <a:pos x="connsiteX29673" y="connsiteY29673"/>
              </a:cxn>
              <a:cxn ang="0">
                <a:pos x="connsiteX29674" y="connsiteY29674"/>
              </a:cxn>
              <a:cxn ang="0">
                <a:pos x="connsiteX29675" y="connsiteY29675"/>
              </a:cxn>
              <a:cxn ang="0">
                <a:pos x="connsiteX29676" y="connsiteY29676"/>
              </a:cxn>
              <a:cxn ang="0">
                <a:pos x="connsiteX29677" y="connsiteY29677"/>
              </a:cxn>
              <a:cxn ang="0">
                <a:pos x="connsiteX29678" y="connsiteY29678"/>
              </a:cxn>
              <a:cxn ang="0">
                <a:pos x="connsiteX29679" y="connsiteY29679"/>
              </a:cxn>
              <a:cxn ang="0">
                <a:pos x="connsiteX29680" y="connsiteY29680"/>
              </a:cxn>
              <a:cxn ang="0">
                <a:pos x="connsiteX29681" y="connsiteY29681"/>
              </a:cxn>
              <a:cxn ang="0">
                <a:pos x="connsiteX29682" y="connsiteY29682"/>
              </a:cxn>
              <a:cxn ang="0">
                <a:pos x="connsiteX29683" y="connsiteY29683"/>
              </a:cxn>
              <a:cxn ang="0">
                <a:pos x="connsiteX29684" y="connsiteY29684"/>
              </a:cxn>
              <a:cxn ang="0">
                <a:pos x="connsiteX29685" y="connsiteY29685"/>
              </a:cxn>
              <a:cxn ang="0">
                <a:pos x="connsiteX29686" y="connsiteY29686"/>
              </a:cxn>
              <a:cxn ang="0">
                <a:pos x="connsiteX29687" y="connsiteY29687"/>
              </a:cxn>
              <a:cxn ang="0">
                <a:pos x="connsiteX29688" y="connsiteY29688"/>
              </a:cxn>
              <a:cxn ang="0">
                <a:pos x="connsiteX29689" y="connsiteY29689"/>
              </a:cxn>
              <a:cxn ang="0">
                <a:pos x="connsiteX29690" y="connsiteY29690"/>
              </a:cxn>
              <a:cxn ang="0">
                <a:pos x="connsiteX29691" y="connsiteY29691"/>
              </a:cxn>
              <a:cxn ang="0">
                <a:pos x="connsiteX29692" y="connsiteY29692"/>
              </a:cxn>
              <a:cxn ang="0">
                <a:pos x="connsiteX29693" y="connsiteY29693"/>
              </a:cxn>
              <a:cxn ang="0">
                <a:pos x="connsiteX29694" y="connsiteY29694"/>
              </a:cxn>
              <a:cxn ang="0">
                <a:pos x="connsiteX29695" y="connsiteY29695"/>
              </a:cxn>
              <a:cxn ang="0">
                <a:pos x="connsiteX29696" y="connsiteY29696"/>
              </a:cxn>
              <a:cxn ang="0">
                <a:pos x="connsiteX29697" y="connsiteY29697"/>
              </a:cxn>
              <a:cxn ang="0">
                <a:pos x="connsiteX29698" y="connsiteY29698"/>
              </a:cxn>
              <a:cxn ang="0">
                <a:pos x="connsiteX29699" y="connsiteY29699"/>
              </a:cxn>
              <a:cxn ang="0">
                <a:pos x="connsiteX29700" y="connsiteY29700"/>
              </a:cxn>
              <a:cxn ang="0">
                <a:pos x="connsiteX29701" y="connsiteY29701"/>
              </a:cxn>
              <a:cxn ang="0">
                <a:pos x="connsiteX29702" y="connsiteY29702"/>
              </a:cxn>
              <a:cxn ang="0">
                <a:pos x="connsiteX29703" y="connsiteY29703"/>
              </a:cxn>
              <a:cxn ang="0">
                <a:pos x="connsiteX29704" y="connsiteY29704"/>
              </a:cxn>
              <a:cxn ang="0">
                <a:pos x="connsiteX29705" y="connsiteY29705"/>
              </a:cxn>
              <a:cxn ang="0">
                <a:pos x="connsiteX29706" y="connsiteY29706"/>
              </a:cxn>
              <a:cxn ang="0">
                <a:pos x="connsiteX29707" y="connsiteY29707"/>
              </a:cxn>
              <a:cxn ang="0">
                <a:pos x="connsiteX29708" y="connsiteY29708"/>
              </a:cxn>
              <a:cxn ang="0">
                <a:pos x="connsiteX29709" y="connsiteY29709"/>
              </a:cxn>
              <a:cxn ang="0">
                <a:pos x="connsiteX29710" y="connsiteY29710"/>
              </a:cxn>
              <a:cxn ang="0">
                <a:pos x="connsiteX29711" y="connsiteY29711"/>
              </a:cxn>
              <a:cxn ang="0">
                <a:pos x="connsiteX29712" y="connsiteY29712"/>
              </a:cxn>
              <a:cxn ang="0">
                <a:pos x="connsiteX29713" y="connsiteY29713"/>
              </a:cxn>
              <a:cxn ang="0">
                <a:pos x="connsiteX29714" y="connsiteY29714"/>
              </a:cxn>
              <a:cxn ang="0">
                <a:pos x="connsiteX29715" y="connsiteY29715"/>
              </a:cxn>
              <a:cxn ang="0">
                <a:pos x="connsiteX29716" y="connsiteY29716"/>
              </a:cxn>
              <a:cxn ang="0">
                <a:pos x="connsiteX29717" y="connsiteY29717"/>
              </a:cxn>
              <a:cxn ang="0">
                <a:pos x="connsiteX29718" y="connsiteY29718"/>
              </a:cxn>
              <a:cxn ang="0">
                <a:pos x="connsiteX29719" y="connsiteY29719"/>
              </a:cxn>
              <a:cxn ang="0">
                <a:pos x="connsiteX29720" y="connsiteY29720"/>
              </a:cxn>
              <a:cxn ang="0">
                <a:pos x="connsiteX29721" y="connsiteY29721"/>
              </a:cxn>
              <a:cxn ang="0">
                <a:pos x="connsiteX29722" y="connsiteY29722"/>
              </a:cxn>
              <a:cxn ang="0">
                <a:pos x="connsiteX29723" y="connsiteY29723"/>
              </a:cxn>
              <a:cxn ang="0">
                <a:pos x="connsiteX29724" y="connsiteY29724"/>
              </a:cxn>
              <a:cxn ang="0">
                <a:pos x="connsiteX29725" y="connsiteY29725"/>
              </a:cxn>
              <a:cxn ang="0">
                <a:pos x="connsiteX29726" y="connsiteY29726"/>
              </a:cxn>
              <a:cxn ang="0">
                <a:pos x="connsiteX29727" y="connsiteY29727"/>
              </a:cxn>
              <a:cxn ang="0">
                <a:pos x="connsiteX29728" y="connsiteY29728"/>
              </a:cxn>
              <a:cxn ang="0">
                <a:pos x="connsiteX29729" y="connsiteY29729"/>
              </a:cxn>
              <a:cxn ang="0">
                <a:pos x="connsiteX29730" y="connsiteY29730"/>
              </a:cxn>
              <a:cxn ang="0">
                <a:pos x="connsiteX29731" y="connsiteY29731"/>
              </a:cxn>
              <a:cxn ang="0">
                <a:pos x="connsiteX29732" y="connsiteY29732"/>
              </a:cxn>
              <a:cxn ang="0">
                <a:pos x="connsiteX29733" y="connsiteY29733"/>
              </a:cxn>
              <a:cxn ang="0">
                <a:pos x="connsiteX29734" y="connsiteY29734"/>
              </a:cxn>
              <a:cxn ang="0">
                <a:pos x="connsiteX29735" y="connsiteY29735"/>
              </a:cxn>
              <a:cxn ang="0">
                <a:pos x="connsiteX29736" y="connsiteY29736"/>
              </a:cxn>
              <a:cxn ang="0">
                <a:pos x="connsiteX29737" y="connsiteY29737"/>
              </a:cxn>
              <a:cxn ang="0">
                <a:pos x="connsiteX29738" y="connsiteY29738"/>
              </a:cxn>
              <a:cxn ang="0">
                <a:pos x="connsiteX29739" y="connsiteY29739"/>
              </a:cxn>
              <a:cxn ang="0">
                <a:pos x="connsiteX29740" y="connsiteY29740"/>
              </a:cxn>
              <a:cxn ang="0">
                <a:pos x="connsiteX29741" y="connsiteY29741"/>
              </a:cxn>
              <a:cxn ang="0">
                <a:pos x="connsiteX29742" y="connsiteY29742"/>
              </a:cxn>
              <a:cxn ang="0">
                <a:pos x="connsiteX29743" y="connsiteY29743"/>
              </a:cxn>
              <a:cxn ang="0">
                <a:pos x="connsiteX29744" y="connsiteY29744"/>
              </a:cxn>
              <a:cxn ang="0">
                <a:pos x="connsiteX29745" y="connsiteY29745"/>
              </a:cxn>
              <a:cxn ang="0">
                <a:pos x="connsiteX29746" y="connsiteY29746"/>
              </a:cxn>
              <a:cxn ang="0">
                <a:pos x="connsiteX29747" y="connsiteY29747"/>
              </a:cxn>
              <a:cxn ang="0">
                <a:pos x="connsiteX29748" y="connsiteY29748"/>
              </a:cxn>
              <a:cxn ang="0">
                <a:pos x="connsiteX29749" y="connsiteY29749"/>
              </a:cxn>
              <a:cxn ang="0">
                <a:pos x="connsiteX29750" y="connsiteY29750"/>
              </a:cxn>
              <a:cxn ang="0">
                <a:pos x="connsiteX29751" y="connsiteY29751"/>
              </a:cxn>
              <a:cxn ang="0">
                <a:pos x="connsiteX29752" y="connsiteY29752"/>
              </a:cxn>
              <a:cxn ang="0">
                <a:pos x="connsiteX29753" y="connsiteY29753"/>
              </a:cxn>
              <a:cxn ang="0">
                <a:pos x="connsiteX29754" y="connsiteY29754"/>
              </a:cxn>
              <a:cxn ang="0">
                <a:pos x="connsiteX29755" y="connsiteY29755"/>
              </a:cxn>
              <a:cxn ang="0">
                <a:pos x="connsiteX29756" y="connsiteY29756"/>
              </a:cxn>
              <a:cxn ang="0">
                <a:pos x="connsiteX29757" y="connsiteY29757"/>
              </a:cxn>
              <a:cxn ang="0">
                <a:pos x="connsiteX29758" y="connsiteY29758"/>
              </a:cxn>
              <a:cxn ang="0">
                <a:pos x="connsiteX29759" y="connsiteY29759"/>
              </a:cxn>
              <a:cxn ang="0">
                <a:pos x="connsiteX29760" y="connsiteY29760"/>
              </a:cxn>
              <a:cxn ang="0">
                <a:pos x="connsiteX29761" y="connsiteY29761"/>
              </a:cxn>
              <a:cxn ang="0">
                <a:pos x="connsiteX29762" y="connsiteY29762"/>
              </a:cxn>
              <a:cxn ang="0">
                <a:pos x="connsiteX29763" y="connsiteY29763"/>
              </a:cxn>
              <a:cxn ang="0">
                <a:pos x="connsiteX29764" y="connsiteY29764"/>
              </a:cxn>
              <a:cxn ang="0">
                <a:pos x="connsiteX29765" y="connsiteY29765"/>
              </a:cxn>
              <a:cxn ang="0">
                <a:pos x="connsiteX29766" y="connsiteY29766"/>
              </a:cxn>
              <a:cxn ang="0">
                <a:pos x="connsiteX29767" y="connsiteY29767"/>
              </a:cxn>
              <a:cxn ang="0">
                <a:pos x="connsiteX29768" y="connsiteY29768"/>
              </a:cxn>
              <a:cxn ang="0">
                <a:pos x="connsiteX29769" y="connsiteY29769"/>
              </a:cxn>
              <a:cxn ang="0">
                <a:pos x="connsiteX29770" y="connsiteY29770"/>
              </a:cxn>
              <a:cxn ang="0">
                <a:pos x="connsiteX29771" y="connsiteY29771"/>
              </a:cxn>
              <a:cxn ang="0">
                <a:pos x="connsiteX29772" y="connsiteY29772"/>
              </a:cxn>
              <a:cxn ang="0">
                <a:pos x="connsiteX29773" y="connsiteY29773"/>
              </a:cxn>
              <a:cxn ang="0">
                <a:pos x="connsiteX29774" y="connsiteY29774"/>
              </a:cxn>
              <a:cxn ang="0">
                <a:pos x="connsiteX29775" y="connsiteY29775"/>
              </a:cxn>
              <a:cxn ang="0">
                <a:pos x="connsiteX29776" y="connsiteY29776"/>
              </a:cxn>
              <a:cxn ang="0">
                <a:pos x="connsiteX29777" y="connsiteY29777"/>
              </a:cxn>
              <a:cxn ang="0">
                <a:pos x="connsiteX29778" y="connsiteY29778"/>
              </a:cxn>
              <a:cxn ang="0">
                <a:pos x="connsiteX29779" y="connsiteY29779"/>
              </a:cxn>
              <a:cxn ang="0">
                <a:pos x="connsiteX29780" y="connsiteY29780"/>
              </a:cxn>
              <a:cxn ang="0">
                <a:pos x="connsiteX29781" y="connsiteY29781"/>
              </a:cxn>
              <a:cxn ang="0">
                <a:pos x="connsiteX29782" y="connsiteY29782"/>
              </a:cxn>
              <a:cxn ang="0">
                <a:pos x="connsiteX29783" y="connsiteY29783"/>
              </a:cxn>
              <a:cxn ang="0">
                <a:pos x="connsiteX29784" y="connsiteY29784"/>
              </a:cxn>
              <a:cxn ang="0">
                <a:pos x="connsiteX29785" y="connsiteY29785"/>
              </a:cxn>
              <a:cxn ang="0">
                <a:pos x="connsiteX29786" y="connsiteY29786"/>
              </a:cxn>
              <a:cxn ang="0">
                <a:pos x="connsiteX29787" y="connsiteY29787"/>
              </a:cxn>
              <a:cxn ang="0">
                <a:pos x="connsiteX29788" y="connsiteY29788"/>
              </a:cxn>
              <a:cxn ang="0">
                <a:pos x="connsiteX29789" y="connsiteY29789"/>
              </a:cxn>
              <a:cxn ang="0">
                <a:pos x="connsiteX29790" y="connsiteY29790"/>
              </a:cxn>
              <a:cxn ang="0">
                <a:pos x="connsiteX29791" y="connsiteY29791"/>
              </a:cxn>
              <a:cxn ang="0">
                <a:pos x="connsiteX29792" y="connsiteY29792"/>
              </a:cxn>
              <a:cxn ang="0">
                <a:pos x="connsiteX29793" y="connsiteY29793"/>
              </a:cxn>
              <a:cxn ang="0">
                <a:pos x="connsiteX29794" y="connsiteY29794"/>
              </a:cxn>
              <a:cxn ang="0">
                <a:pos x="connsiteX29795" y="connsiteY29795"/>
              </a:cxn>
              <a:cxn ang="0">
                <a:pos x="connsiteX29796" y="connsiteY29796"/>
              </a:cxn>
              <a:cxn ang="0">
                <a:pos x="connsiteX29797" y="connsiteY29797"/>
              </a:cxn>
              <a:cxn ang="0">
                <a:pos x="connsiteX29798" y="connsiteY29798"/>
              </a:cxn>
              <a:cxn ang="0">
                <a:pos x="connsiteX29799" y="connsiteY29799"/>
              </a:cxn>
              <a:cxn ang="0">
                <a:pos x="connsiteX29800" y="connsiteY29800"/>
              </a:cxn>
              <a:cxn ang="0">
                <a:pos x="connsiteX29801" y="connsiteY29801"/>
              </a:cxn>
              <a:cxn ang="0">
                <a:pos x="connsiteX29802" y="connsiteY29802"/>
              </a:cxn>
              <a:cxn ang="0">
                <a:pos x="connsiteX29803" y="connsiteY29803"/>
              </a:cxn>
              <a:cxn ang="0">
                <a:pos x="connsiteX29804" y="connsiteY29804"/>
              </a:cxn>
              <a:cxn ang="0">
                <a:pos x="connsiteX29805" y="connsiteY29805"/>
              </a:cxn>
              <a:cxn ang="0">
                <a:pos x="connsiteX29806" y="connsiteY29806"/>
              </a:cxn>
              <a:cxn ang="0">
                <a:pos x="connsiteX29807" y="connsiteY29807"/>
              </a:cxn>
              <a:cxn ang="0">
                <a:pos x="connsiteX29808" y="connsiteY29808"/>
              </a:cxn>
              <a:cxn ang="0">
                <a:pos x="connsiteX29809" y="connsiteY29809"/>
              </a:cxn>
              <a:cxn ang="0">
                <a:pos x="connsiteX29810" y="connsiteY29810"/>
              </a:cxn>
              <a:cxn ang="0">
                <a:pos x="connsiteX29811" y="connsiteY29811"/>
              </a:cxn>
              <a:cxn ang="0">
                <a:pos x="connsiteX29812" y="connsiteY29812"/>
              </a:cxn>
              <a:cxn ang="0">
                <a:pos x="connsiteX29813" y="connsiteY29813"/>
              </a:cxn>
              <a:cxn ang="0">
                <a:pos x="connsiteX29814" y="connsiteY29814"/>
              </a:cxn>
              <a:cxn ang="0">
                <a:pos x="connsiteX29815" y="connsiteY29815"/>
              </a:cxn>
              <a:cxn ang="0">
                <a:pos x="connsiteX29816" y="connsiteY29816"/>
              </a:cxn>
              <a:cxn ang="0">
                <a:pos x="connsiteX29817" y="connsiteY29817"/>
              </a:cxn>
              <a:cxn ang="0">
                <a:pos x="connsiteX29818" y="connsiteY29818"/>
              </a:cxn>
              <a:cxn ang="0">
                <a:pos x="connsiteX29819" y="connsiteY29819"/>
              </a:cxn>
              <a:cxn ang="0">
                <a:pos x="connsiteX29820" y="connsiteY29820"/>
              </a:cxn>
              <a:cxn ang="0">
                <a:pos x="connsiteX29821" y="connsiteY29821"/>
              </a:cxn>
              <a:cxn ang="0">
                <a:pos x="connsiteX29822" y="connsiteY29822"/>
              </a:cxn>
              <a:cxn ang="0">
                <a:pos x="connsiteX29823" y="connsiteY29823"/>
              </a:cxn>
              <a:cxn ang="0">
                <a:pos x="connsiteX29824" y="connsiteY29824"/>
              </a:cxn>
              <a:cxn ang="0">
                <a:pos x="connsiteX29825" y="connsiteY29825"/>
              </a:cxn>
              <a:cxn ang="0">
                <a:pos x="connsiteX29826" y="connsiteY29826"/>
              </a:cxn>
              <a:cxn ang="0">
                <a:pos x="connsiteX29827" y="connsiteY29827"/>
              </a:cxn>
              <a:cxn ang="0">
                <a:pos x="connsiteX29828" y="connsiteY29828"/>
              </a:cxn>
              <a:cxn ang="0">
                <a:pos x="connsiteX29829" y="connsiteY29829"/>
              </a:cxn>
              <a:cxn ang="0">
                <a:pos x="connsiteX29830" y="connsiteY29830"/>
              </a:cxn>
              <a:cxn ang="0">
                <a:pos x="connsiteX29831" y="connsiteY29831"/>
              </a:cxn>
              <a:cxn ang="0">
                <a:pos x="connsiteX29832" y="connsiteY29832"/>
              </a:cxn>
              <a:cxn ang="0">
                <a:pos x="connsiteX29833" y="connsiteY29833"/>
              </a:cxn>
              <a:cxn ang="0">
                <a:pos x="connsiteX29834" y="connsiteY29834"/>
              </a:cxn>
              <a:cxn ang="0">
                <a:pos x="connsiteX29835" y="connsiteY29835"/>
              </a:cxn>
              <a:cxn ang="0">
                <a:pos x="connsiteX29836" y="connsiteY29836"/>
              </a:cxn>
              <a:cxn ang="0">
                <a:pos x="connsiteX29837" y="connsiteY29837"/>
              </a:cxn>
              <a:cxn ang="0">
                <a:pos x="connsiteX29838" y="connsiteY29838"/>
              </a:cxn>
              <a:cxn ang="0">
                <a:pos x="connsiteX29839" y="connsiteY29839"/>
              </a:cxn>
              <a:cxn ang="0">
                <a:pos x="connsiteX29840" y="connsiteY29840"/>
              </a:cxn>
              <a:cxn ang="0">
                <a:pos x="connsiteX29841" y="connsiteY29841"/>
              </a:cxn>
              <a:cxn ang="0">
                <a:pos x="connsiteX29842" y="connsiteY29842"/>
              </a:cxn>
              <a:cxn ang="0">
                <a:pos x="connsiteX29843" y="connsiteY29843"/>
              </a:cxn>
              <a:cxn ang="0">
                <a:pos x="connsiteX29844" y="connsiteY29844"/>
              </a:cxn>
              <a:cxn ang="0">
                <a:pos x="connsiteX29845" y="connsiteY29845"/>
              </a:cxn>
              <a:cxn ang="0">
                <a:pos x="connsiteX29846" y="connsiteY29846"/>
              </a:cxn>
              <a:cxn ang="0">
                <a:pos x="connsiteX29847" y="connsiteY29847"/>
              </a:cxn>
              <a:cxn ang="0">
                <a:pos x="connsiteX29848" y="connsiteY29848"/>
              </a:cxn>
              <a:cxn ang="0">
                <a:pos x="connsiteX29849" y="connsiteY29849"/>
              </a:cxn>
              <a:cxn ang="0">
                <a:pos x="connsiteX29850" y="connsiteY29850"/>
              </a:cxn>
              <a:cxn ang="0">
                <a:pos x="connsiteX29851" y="connsiteY29851"/>
              </a:cxn>
              <a:cxn ang="0">
                <a:pos x="connsiteX29852" y="connsiteY29852"/>
              </a:cxn>
              <a:cxn ang="0">
                <a:pos x="connsiteX29853" y="connsiteY29853"/>
              </a:cxn>
              <a:cxn ang="0">
                <a:pos x="connsiteX29854" y="connsiteY29854"/>
              </a:cxn>
              <a:cxn ang="0">
                <a:pos x="connsiteX29855" y="connsiteY29855"/>
              </a:cxn>
              <a:cxn ang="0">
                <a:pos x="connsiteX29856" y="connsiteY29856"/>
              </a:cxn>
              <a:cxn ang="0">
                <a:pos x="connsiteX29857" y="connsiteY29857"/>
              </a:cxn>
              <a:cxn ang="0">
                <a:pos x="connsiteX29858" y="connsiteY29858"/>
              </a:cxn>
              <a:cxn ang="0">
                <a:pos x="connsiteX29859" y="connsiteY29859"/>
              </a:cxn>
              <a:cxn ang="0">
                <a:pos x="connsiteX29860" y="connsiteY29860"/>
              </a:cxn>
              <a:cxn ang="0">
                <a:pos x="connsiteX29861" y="connsiteY29861"/>
              </a:cxn>
              <a:cxn ang="0">
                <a:pos x="connsiteX29862" y="connsiteY29862"/>
              </a:cxn>
              <a:cxn ang="0">
                <a:pos x="connsiteX29863" y="connsiteY29863"/>
              </a:cxn>
              <a:cxn ang="0">
                <a:pos x="connsiteX29864" y="connsiteY29864"/>
              </a:cxn>
              <a:cxn ang="0">
                <a:pos x="connsiteX29865" y="connsiteY29865"/>
              </a:cxn>
              <a:cxn ang="0">
                <a:pos x="connsiteX29866" y="connsiteY29866"/>
              </a:cxn>
              <a:cxn ang="0">
                <a:pos x="connsiteX29867" y="connsiteY29867"/>
              </a:cxn>
              <a:cxn ang="0">
                <a:pos x="connsiteX29868" y="connsiteY29868"/>
              </a:cxn>
              <a:cxn ang="0">
                <a:pos x="connsiteX29869" y="connsiteY29869"/>
              </a:cxn>
              <a:cxn ang="0">
                <a:pos x="connsiteX29870" y="connsiteY29870"/>
              </a:cxn>
              <a:cxn ang="0">
                <a:pos x="connsiteX29871" y="connsiteY29871"/>
              </a:cxn>
              <a:cxn ang="0">
                <a:pos x="connsiteX29872" y="connsiteY29872"/>
              </a:cxn>
              <a:cxn ang="0">
                <a:pos x="connsiteX29873" y="connsiteY29873"/>
              </a:cxn>
              <a:cxn ang="0">
                <a:pos x="connsiteX29874" y="connsiteY29874"/>
              </a:cxn>
              <a:cxn ang="0">
                <a:pos x="connsiteX29875" y="connsiteY29875"/>
              </a:cxn>
              <a:cxn ang="0">
                <a:pos x="connsiteX29876" y="connsiteY29876"/>
              </a:cxn>
              <a:cxn ang="0">
                <a:pos x="connsiteX29877" y="connsiteY29877"/>
              </a:cxn>
              <a:cxn ang="0">
                <a:pos x="connsiteX29878" y="connsiteY29878"/>
              </a:cxn>
              <a:cxn ang="0">
                <a:pos x="connsiteX29879" y="connsiteY29879"/>
              </a:cxn>
              <a:cxn ang="0">
                <a:pos x="connsiteX29880" y="connsiteY29880"/>
              </a:cxn>
              <a:cxn ang="0">
                <a:pos x="connsiteX29881" y="connsiteY29881"/>
              </a:cxn>
              <a:cxn ang="0">
                <a:pos x="connsiteX29882" y="connsiteY29882"/>
              </a:cxn>
              <a:cxn ang="0">
                <a:pos x="connsiteX29883" y="connsiteY29883"/>
              </a:cxn>
              <a:cxn ang="0">
                <a:pos x="connsiteX29884" y="connsiteY29884"/>
              </a:cxn>
              <a:cxn ang="0">
                <a:pos x="connsiteX29885" y="connsiteY29885"/>
              </a:cxn>
              <a:cxn ang="0">
                <a:pos x="connsiteX29886" y="connsiteY29886"/>
              </a:cxn>
              <a:cxn ang="0">
                <a:pos x="connsiteX29887" y="connsiteY29887"/>
              </a:cxn>
              <a:cxn ang="0">
                <a:pos x="connsiteX29888" y="connsiteY29888"/>
              </a:cxn>
              <a:cxn ang="0">
                <a:pos x="connsiteX29889" y="connsiteY29889"/>
              </a:cxn>
              <a:cxn ang="0">
                <a:pos x="connsiteX29890" y="connsiteY29890"/>
              </a:cxn>
              <a:cxn ang="0">
                <a:pos x="connsiteX29891" y="connsiteY29891"/>
              </a:cxn>
              <a:cxn ang="0">
                <a:pos x="connsiteX29892" y="connsiteY29892"/>
              </a:cxn>
              <a:cxn ang="0">
                <a:pos x="connsiteX29893" y="connsiteY29893"/>
              </a:cxn>
              <a:cxn ang="0">
                <a:pos x="connsiteX29894" y="connsiteY29894"/>
              </a:cxn>
              <a:cxn ang="0">
                <a:pos x="connsiteX29895" y="connsiteY29895"/>
              </a:cxn>
              <a:cxn ang="0">
                <a:pos x="connsiteX29896" y="connsiteY29896"/>
              </a:cxn>
              <a:cxn ang="0">
                <a:pos x="connsiteX29897" y="connsiteY29897"/>
              </a:cxn>
              <a:cxn ang="0">
                <a:pos x="connsiteX29898" y="connsiteY29898"/>
              </a:cxn>
              <a:cxn ang="0">
                <a:pos x="connsiteX29899" y="connsiteY29899"/>
              </a:cxn>
              <a:cxn ang="0">
                <a:pos x="connsiteX29900" y="connsiteY29900"/>
              </a:cxn>
              <a:cxn ang="0">
                <a:pos x="connsiteX29901" y="connsiteY29901"/>
              </a:cxn>
              <a:cxn ang="0">
                <a:pos x="connsiteX29902" y="connsiteY29902"/>
              </a:cxn>
              <a:cxn ang="0">
                <a:pos x="connsiteX29903" y="connsiteY29903"/>
              </a:cxn>
              <a:cxn ang="0">
                <a:pos x="connsiteX29904" y="connsiteY29904"/>
              </a:cxn>
              <a:cxn ang="0">
                <a:pos x="connsiteX29905" y="connsiteY29905"/>
              </a:cxn>
              <a:cxn ang="0">
                <a:pos x="connsiteX29906" y="connsiteY29906"/>
              </a:cxn>
              <a:cxn ang="0">
                <a:pos x="connsiteX29907" y="connsiteY29907"/>
              </a:cxn>
              <a:cxn ang="0">
                <a:pos x="connsiteX29908" y="connsiteY29908"/>
              </a:cxn>
              <a:cxn ang="0">
                <a:pos x="connsiteX29909" y="connsiteY29909"/>
              </a:cxn>
              <a:cxn ang="0">
                <a:pos x="connsiteX29910" y="connsiteY29910"/>
              </a:cxn>
              <a:cxn ang="0">
                <a:pos x="connsiteX29911" y="connsiteY29911"/>
              </a:cxn>
              <a:cxn ang="0">
                <a:pos x="connsiteX29912" y="connsiteY29912"/>
              </a:cxn>
              <a:cxn ang="0">
                <a:pos x="connsiteX29913" y="connsiteY29913"/>
              </a:cxn>
              <a:cxn ang="0">
                <a:pos x="connsiteX29914" y="connsiteY29914"/>
              </a:cxn>
              <a:cxn ang="0">
                <a:pos x="connsiteX29915" y="connsiteY29915"/>
              </a:cxn>
              <a:cxn ang="0">
                <a:pos x="connsiteX29916" y="connsiteY29916"/>
              </a:cxn>
              <a:cxn ang="0">
                <a:pos x="connsiteX29917" y="connsiteY29917"/>
              </a:cxn>
              <a:cxn ang="0">
                <a:pos x="connsiteX29918" y="connsiteY29918"/>
              </a:cxn>
              <a:cxn ang="0">
                <a:pos x="connsiteX29919" y="connsiteY29919"/>
              </a:cxn>
              <a:cxn ang="0">
                <a:pos x="connsiteX29920" y="connsiteY29920"/>
              </a:cxn>
              <a:cxn ang="0">
                <a:pos x="connsiteX29921" y="connsiteY29921"/>
              </a:cxn>
              <a:cxn ang="0">
                <a:pos x="connsiteX29922" y="connsiteY29922"/>
              </a:cxn>
              <a:cxn ang="0">
                <a:pos x="connsiteX29923" y="connsiteY29923"/>
              </a:cxn>
              <a:cxn ang="0">
                <a:pos x="connsiteX29924" y="connsiteY29924"/>
              </a:cxn>
              <a:cxn ang="0">
                <a:pos x="connsiteX29925" y="connsiteY29925"/>
              </a:cxn>
              <a:cxn ang="0">
                <a:pos x="connsiteX29926" y="connsiteY29926"/>
              </a:cxn>
              <a:cxn ang="0">
                <a:pos x="connsiteX29927" y="connsiteY29927"/>
              </a:cxn>
              <a:cxn ang="0">
                <a:pos x="connsiteX29928" y="connsiteY29928"/>
              </a:cxn>
              <a:cxn ang="0">
                <a:pos x="connsiteX29929" y="connsiteY29929"/>
              </a:cxn>
              <a:cxn ang="0">
                <a:pos x="connsiteX29930" y="connsiteY29930"/>
              </a:cxn>
              <a:cxn ang="0">
                <a:pos x="connsiteX29931" y="connsiteY29931"/>
              </a:cxn>
              <a:cxn ang="0">
                <a:pos x="connsiteX29932" y="connsiteY29932"/>
              </a:cxn>
              <a:cxn ang="0">
                <a:pos x="connsiteX29933" y="connsiteY29933"/>
              </a:cxn>
              <a:cxn ang="0">
                <a:pos x="connsiteX29934" y="connsiteY29934"/>
              </a:cxn>
              <a:cxn ang="0">
                <a:pos x="connsiteX29935" y="connsiteY29935"/>
              </a:cxn>
              <a:cxn ang="0">
                <a:pos x="connsiteX29936" y="connsiteY29936"/>
              </a:cxn>
              <a:cxn ang="0">
                <a:pos x="connsiteX29937" y="connsiteY29937"/>
              </a:cxn>
              <a:cxn ang="0">
                <a:pos x="connsiteX29938" y="connsiteY29938"/>
              </a:cxn>
              <a:cxn ang="0">
                <a:pos x="connsiteX29939" y="connsiteY29939"/>
              </a:cxn>
              <a:cxn ang="0">
                <a:pos x="connsiteX29940" y="connsiteY29940"/>
              </a:cxn>
              <a:cxn ang="0">
                <a:pos x="connsiteX29941" y="connsiteY29941"/>
              </a:cxn>
              <a:cxn ang="0">
                <a:pos x="connsiteX29942" y="connsiteY29942"/>
              </a:cxn>
              <a:cxn ang="0">
                <a:pos x="connsiteX29943" y="connsiteY29943"/>
              </a:cxn>
              <a:cxn ang="0">
                <a:pos x="connsiteX29944" y="connsiteY29944"/>
              </a:cxn>
              <a:cxn ang="0">
                <a:pos x="connsiteX29945" y="connsiteY29945"/>
              </a:cxn>
              <a:cxn ang="0">
                <a:pos x="connsiteX29946" y="connsiteY29946"/>
              </a:cxn>
              <a:cxn ang="0">
                <a:pos x="connsiteX29947" y="connsiteY29947"/>
              </a:cxn>
              <a:cxn ang="0">
                <a:pos x="connsiteX29948" y="connsiteY29948"/>
              </a:cxn>
              <a:cxn ang="0">
                <a:pos x="connsiteX29949" y="connsiteY29949"/>
              </a:cxn>
              <a:cxn ang="0">
                <a:pos x="connsiteX29950" y="connsiteY29950"/>
              </a:cxn>
              <a:cxn ang="0">
                <a:pos x="connsiteX29951" y="connsiteY29951"/>
              </a:cxn>
              <a:cxn ang="0">
                <a:pos x="connsiteX29952" y="connsiteY29952"/>
              </a:cxn>
              <a:cxn ang="0">
                <a:pos x="connsiteX29953" y="connsiteY29953"/>
              </a:cxn>
              <a:cxn ang="0">
                <a:pos x="connsiteX29954" y="connsiteY29954"/>
              </a:cxn>
              <a:cxn ang="0">
                <a:pos x="connsiteX29955" y="connsiteY29955"/>
              </a:cxn>
              <a:cxn ang="0">
                <a:pos x="connsiteX29956" y="connsiteY29956"/>
              </a:cxn>
              <a:cxn ang="0">
                <a:pos x="connsiteX29957" y="connsiteY29957"/>
              </a:cxn>
              <a:cxn ang="0">
                <a:pos x="connsiteX29958" y="connsiteY29958"/>
              </a:cxn>
              <a:cxn ang="0">
                <a:pos x="connsiteX29959" y="connsiteY29959"/>
              </a:cxn>
              <a:cxn ang="0">
                <a:pos x="connsiteX29960" y="connsiteY29960"/>
              </a:cxn>
              <a:cxn ang="0">
                <a:pos x="connsiteX29961" y="connsiteY29961"/>
              </a:cxn>
              <a:cxn ang="0">
                <a:pos x="connsiteX29962" y="connsiteY29962"/>
              </a:cxn>
              <a:cxn ang="0">
                <a:pos x="connsiteX29963" y="connsiteY29963"/>
              </a:cxn>
              <a:cxn ang="0">
                <a:pos x="connsiteX29964" y="connsiteY29964"/>
              </a:cxn>
              <a:cxn ang="0">
                <a:pos x="connsiteX29965" y="connsiteY29965"/>
              </a:cxn>
              <a:cxn ang="0">
                <a:pos x="connsiteX29966" y="connsiteY29966"/>
              </a:cxn>
              <a:cxn ang="0">
                <a:pos x="connsiteX29967" y="connsiteY29967"/>
              </a:cxn>
              <a:cxn ang="0">
                <a:pos x="connsiteX29968" y="connsiteY29968"/>
              </a:cxn>
              <a:cxn ang="0">
                <a:pos x="connsiteX29969" y="connsiteY29969"/>
              </a:cxn>
              <a:cxn ang="0">
                <a:pos x="connsiteX29970" y="connsiteY29970"/>
              </a:cxn>
              <a:cxn ang="0">
                <a:pos x="connsiteX29971" y="connsiteY29971"/>
              </a:cxn>
              <a:cxn ang="0">
                <a:pos x="connsiteX29972" y="connsiteY29972"/>
              </a:cxn>
              <a:cxn ang="0">
                <a:pos x="connsiteX29973" y="connsiteY29973"/>
              </a:cxn>
              <a:cxn ang="0">
                <a:pos x="connsiteX29974" y="connsiteY29974"/>
              </a:cxn>
              <a:cxn ang="0">
                <a:pos x="connsiteX29975" y="connsiteY29975"/>
              </a:cxn>
              <a:cxn ang="0">
                <a:pos x="connsiteX29976" y="connsiteY29976"/>
              </a:cxn>
              <a:cxn ang="0">
                <a:pos x="connsiteX29977" y="connsiteY29977"/>
              </a:cxn>
              <a:cxn ang="0">
                <a:pos x="connsiteX29978" y="connsiteY29978"/>
              </a:cxn>
              <a:cxn ang="0">
                <a:pos x="connsiteX29979" y="connsiteY29979"/>
              </a:cxn>
              <a:cxn ang="0">
                <a:pos x="connsiteX29980" y="connsiteY29980"/>
              </a:cxn>
              <a:cxn ang="0">
                <a:pos x="connsiteX29981" y="connsiteY29981"/>
              </a:cxn>
              <a:cxn ang="0">
                <a:pos x="connsiteX29982" y="connsiteY29982"/>
              </a:cxn>
              <a:cxn ang="0">
                <a:pos x="connsiteX29983" y="connsiteY29983"/>
              </a:cxn>
              <a:cxn ang="0">
                <a:pos x="connsiteX29984" y="connsiteY29984"/>
              </a:cxn>
              <a:cxn ang="0">
                <a:pos x="connsiteX29985" y="connsiteY29985"/>
              </a:cxn>
              <a:cxn ang="0">
                <a:pos x="connsiteX29986" y="connsiteY29986"/>
              </a:cxn>
              <a:cxn ang="0">
                <a:pos x="connsiteX29987" y="connsiteY29987"/>
              </a:cxn>
              <a:cxn ang="0">
                <a:pos x="connsiteX29988" y="connsiteY29988"/>
              </a:cxn>
              <a:cxn ang="0">
                <a:pos x="connsiteX29989" y="connsiteY29989"/>
              </a:cxn>
              <a:cxn ang="0">
                <a:pos x="connsiteX29990" y="connsiteY29990"/>
              </a:cxn>
              <a:cxn ang="0">
                <a:pos x="connsiteX29991" y="connsiteY29991"/>
              </a:cxn>
              <a:cxn ang="0">
                <a:pos x="connsiteX29992" y="connsiteY29992"/>
              </a:cxn>
              <a:cxn ang="0">
                <a:pos x="connsiteX29993" y="connsiteY29993"/>
              </a:cxn>
              <a:cxn ang="0">
                <a:pos x="connsiteX29994" y="connsiteY29994"/>
              </a:cxn>
              <a:cxn ang="0">
                <a:pos x="connsiteX29995" y="connsiteY29995"/>
              </a:cxn>
              <a:cxn ang="0">
                <a:pos x="connsiteX29996" y="connsiteY29996"/>
              </a:cxn>
              <a:cxn ang="0">
                <a:pos x="connsiteX29997" y="connsiteY29997"/>
              </a:cxn>
              <a:cxn ang="0">
                <a:pos x="connsiteX29998" y="connsiteY29998"/>
              </a:cxn>
              <a:cxn ang="0">
                <a:pos x="connsiteX29999" y="connsiteY29999"/>
              </a:cxn>
              <a:cxn ang="0">
                <a:pos x="connsiteX30000" y="connsiteY30000"/>
              </a:cxn>
              <a:cxn ang="0">
                <a:pos x="connsiteX30001" y="connsiteY30001"/>
              </a:cxn>
              <a:cxn ang="0">
                <a:pos x="connsiteX30002" y="connsiteY30002"/>
              </a:cxn>
              <a:cxn ang="0">
                <a:pos x="connsiteX30003" y="connsiteY30003"/>
              </a:cxn>
              <a:cxn ang="0">
                <a:pos x="connsiteX30004" y="connsiteY30004"/>
              </a:cxn>
              <a:cxn ang="0">
                <a:pos x="connsiteX30005" y="connsiteY30005"/>
              </a:cxn>
              <a:cxn ang="0">
                <a:pos x="connsiteX30006" y="connsiteY30006"/>
              </a:cxn>
              <a:cxn ang="0">
                <a:pos x="connsiteX30007" y="connsiteY30007"/>
              </a:cxn>
              <a:cxn ang="0">
                <a:pos x="connsiteX30008" y="connsiteY30008"/>
              </a:cxn>
              <a:cxn ang="0">
                <a:pos x="connsiteX30009" y="connsiteY30009"/>
              </a:cxn>
              <a:cxn ang="0">
                <a:pos x="connsiteX30010" y="connsiteY30010"/>
              </a:cxn>
              <a:cxn ang="0">
                <a:pos x="connsiteX30011" y="connsiteY30011"/>
              </a:cxn>
              <a:cxn ang="0">
                <a:pos x="connsiteX30012" y="connsiteY30012"/>
              </a:cxn>
              <a:cxn ang="0">
                <a:pos x="connsiteX30013" y="connsiteY30013"/>
              </a:cxn>
              <a:cxn ang="0">
                <a:pos x="connsiteX30014" y="connsiteY30014"/>
              </a:cxn>
              <a:cxn ang="0">
                <a:pos x="connsiteX30015" y="connsiteY30015"/>
              </a:cxn>
              <a:cxn ang="0">
                <a:pos x="connsiteX30016" y="connsiteY30016"/>
              </a:cxn>
              <a:cxn ang="0">
                <a:pos x="connsiteX30017" y="connsiteY30017"/>
              </a:cxn>
              <a:cxn ang="0">
                <a:pos x="connsiteX30018" y="connsiteY30018"/>
              </a:cxn>
              <a:cxn ang="0">
                <a:pos x="connsiteX30019" y="connsiteY30019"/>
              </a:cxn>
              <a:cxn ang="0">
                <a:pos x="connsiteX30020" y="connsiteY30020"/>
              </a:cxn>
              <a:cxn ang="0">
                <a:pos x="connsiteX30021" y="connsiteY30021"/>
              </a:cxn>
              <a:cxn ang="0">
                <a:pos x="connsiteX30022" y="connsiteY30022"/>
              </a:cxn>
              <a:cxn ang="0">
                <a:pos x="connsiteX30023" y="connsiteY30023"/>
              </a:cxn>
              <a:cxn ang="0">
                <a:pos x="connsiteX30024" y="connsiteY30024"/>
              </a:cxn>
              <a:cxn ang="0">
                <a:pos x="connsiteX30025" y="connsiteY30025"/>
              </a:cxn>
              <a:cxn ang="0">
                <a:pos x="connsiteX30026" y="connsiteY30026"/>
              </a:cxn>
              <a:cxn ang="0">
                <a:pos x="connsiteX30027" y="connsiteY30027"/>
              </a:cxn>
              <a:cxn ang="0">
                <a:pos x="connsiteX30028" y="connsiteY30028"/>
              </a:cxn>
              <a:cxn ang="0">
                <a:pos x="connsiteX30029" y="connsiteY30029"/>
              </a:cxn>
              <a:cxn ang="0">
                <a:pos x="connsiteX30030" y="connsiteY30030"/>
              </a:cxn>
              <a:cxn ang="0">
                <a:pos x="connsiteX30031" y="connsiteY30031"/>
              </a:cxn>
              <a:cxn ang="0">
                <a:pos x="connsiteX30032" y="connsiteY30032"/>
              </a:cxn>
              <a:cxn ang="0">
                <a:pos x="connsiteX30033" y="connsiteY30033"/>
              </a:cxn>
              <a:cxn ang="0">
                <a:pos x="connsiteX30034" y="connsiteY30034"/>
              </a:cxn>
              <a:cxn ang="0">
                <a:pos x="connsiteX30035" y="connsiteY30035"/>
              </a:cxn>
              <a:cxn ang="0">
                <a:pos x="connsiteX30036" y="connsiteY30036"/>
              </a:cxn>
              <a:cxn ang="0">
                <a:pos x="connsiteX30037" y="connsiteY30037"/>
              </a:cxn>
              <a:cxn ang="0">
                <a:pos x="connsiteX30038" y="connsiteY30038"/>
              </a:cxn>
              <a:cxn ang="0">
                <a:pos x="connsiteX30039" y="connsiteY30039"/>
              </a:cxn>
              <a:cxn ang="0">
                <a:pos x="connsiteX30040" y="connsiteY30040"/>
              </a:cxn>
              <a:cxn ang="0">
                <a:pos x="connsiteX30041" y="connsiteY30041"/>
              </a:cxn>
              <a:cxn ang="0">
                <a:pos x="connsiteX30042" y="connsiteY30042"/>
              </a:cxn>
              <a:cxn ang="0">
                <a:pos x="connsiteX30043" y="connsiteY30043"/>
              </a:cxn>
              <a:cxn ang="0">
                <a:pos x="connsiteX30044" y="connsiteY30044"/>
              </a:cxn>
              <a:cxn ang="0">
                <a:pos x="connsiteX30045" y="connsiteY30045"/>
              </a:cxn>
              <a:cxn ang="0">
                <a:pos x="connsiteX30046" y="connsiteY30046"/>
              </a:cxn>
              <a:cxn ang="0">
                <a:pos x="connsiteX30047" y="connsiteY30047"/>
              </a:cxn>
              <a:cxn ang="0">
                <a:pos x="connsiteX30048" y="connsiteY30048"/>
              </a:cxn>
              <a:cxn ang="0">
                <a:pos x="connsiteX30049" y="connsiteY30049"/>
              </a:cxn>
              <a:cxn ang="0">
                <a:pos x="connsiteX30050" y="connsiteY30050"/>
              </a:cxn>
              <a:cxn ang="0">
                <a:pos x="connsiteX30051" y="connsiteY30051"/>
              </a:cxn>
              <a:cxn ang="0">
                <a:pos x="connsiteX30052" y="connsiteY30052"/>
              </a:cxn>
              <a:cxn ang="0">
                <a:pos x="connsiteX30053" y="connsiteY30053"/>
              </a:cxn>
              <a:cxn ang="0">
                <a:pos x="connsiteX30054" y="connsiteY30054"/>
              </a:cxn>
              <a:cxn ang="0">
                <a:pos x="connsiteX30055" y="connsiteY30055"/>
              </a:cxn>
              <a:cxn ang="0">
                <a:pos x="connsiteX30056" y="connsiteY30056"/>
              </a:cxn>
              <a:cxn ang="0">
                <a:pos x="connsiteX30057" y="connsiteY30057"/>
              </a:cxn>
              <a:cxn ang="0">
                <a:pos x="connsiteX30058" y="connsiteY30058"/>
              </a:cxn>
              <a:cxn ang="0">
                <a:pos x="connsiteX30059" y="connsiteY30059"/>
              </a:cxn>
              <a:cxn ang="0">
                <a:pos x="connsiteX30060" y="connsiteY30060"/>
              </a:cxn>
              <a:cxn ang="0">
                <a:pos x="connsiteX30061" y="connsiteY30061"/>
              </a:cxn>
              <a:cxn ang="0">
                <a:pos x="connsiteX30062" y="connsiteY30062"/>
              </a:cxn>
              <a:cxn ang="0">
                <a:pos x="connsiteX30063" y="connsiteY30063"/>
              </a:cxn>
              <a:cxn ang="0">
                <a:pos x="connsiteX30064" y="connsiteY30064"/>
              </a:cxn>
              <a:cxn ang="0">
                <a:pos x="connsiteX30065" y="connsiteY30065"/>
              </a:cxn>
              <a:cxn ang="0">
                <a:pos x="connsiteX30066" y="connsiteY30066"/>
              </a:cxn>
              <a:cxn ang="0">
                <a:pos x="connsiteX30067" y="connsiteY30067"/>
              </a:cxn>
              <a:cxn ang="0">
                <a:pos x="connsiteX30068" y="connsiteY30068"/>
              </a:cxn>
              <a:cxn ang="0">
                <a:pos x="connsiteX30069" y="connsiteY30069"/>
              </a:cxn>
              <a:cxn ang="0">
                <a:pos x="connsiteX30070" y="connsiteY30070"/>
              </a:cxn>
              <a:cxn ang="0">
                <a:pos x="connsiteX30071" y="connsiteY30071"/>
              </a:cxn>
              <a:cxn ang="0">
                <a:pos x="connsiteX30072" y="connsiteY30072"/>
              </a:cxn>
              <a:cxn ang="0">
                <a:pos x="connsiteX30073" y="connsiteY30073"/>
              </a:cxn>
              <a:cxn ang="0">
                <a:pos x="connsiteX30074" y="connsiteY30074"/>
              </a:cxn>
              <a:cxn ang="0">
                <a:pos x="connsiteX30075" y="connsiteY30075"/>
              </a:cxn>
              <a:cxn ang="0">
                <a:pos x="connsiteX30076" y="connsiteY30076"/>
              </a:cxn>
              <a:cxn ang="0">
                <a:pos x="connsiteX30077" y="connsiteY30077"/>
              </a:cxn>
              <a:cxn ang="0">
                <a:pos x="connsiteX30078" y="connsiteY30078"/>
              </a:cxn>
              <a:cxn ang="0">
                <a:pos x="connsiteX30079" y="connsiteY30079"/>
              </a:cxn>
              <a:cxn ang="0">
                <a:pos x="connsiteX30080" y="connsiteY30080"/>
              </a:cxn>
              <a:cxn ang="0">
                <a:pos x="connsiteX30081" y="connsiteY30081"/>
              </a:cxn>
              <a:cxn ang="0">
                <a:pos x="connsiteX30082" y="connsiteY30082"/>
              </a:cxn>
              <a:cxn ang="0">
                <a:pos x="connsiteX30083" y="connsiteY30083"/>
              </a:cxn>
              <a:cxn ang="0">
                <a:pos x="connsiteX30084" y="connsiteY30084"/>
              </a:cxn>
              <a:cxn ang="0">
                <a:pos x="connsiteX30085" y="connsiteY30085"/>
              </a:cxn>
              <a:cxn ang="0">
                <a:pos x="connsiteX30086" y="connsiteY30086"/>
              </a:cxn>
              <a:cxn ang="0">
                <a:pos x="connsiteX30087" y="connsiteY30087"/>
              </a:cxn>
              <a:cxn ang="0">
                <a:pos x="connsiteX30088" y="connsiteY30088"/>
              </a:cxn>
              <a:cxn ang="0">
                <a:pos x="connsiteX30089" y="connsiteY30089"/>
              </a:cxn>
              <a:cxn ang="0">
                <a:pos x="connsiteX30090" y="connsiteY30090"/>
              </a:cxn>
              <a:cxn ang="0">
                <a:pos x="connsiteX30091" y="connsiteY30091"/>
              </a:cxn>
              <a:cxn ang="0">
                <a:pos x="connsiteX30092" y="connsiteY30092"/>
              </a:cxn>
              <a:cxn ang="0">
                <a:pos x="connsiteX30093" y="connsiteY30093"/>
              </a:cxn>
              <a:cxn ang="0">
                <a:pos x="connsiteX30094" y="connsiteY30094"/>
              </a:cxn>
              <a:cxn ang="0">
                <a:pos x="connsiteX30095" y="connsiteY30095"/>
              </a:cxn>
              <a:cxn ang="0">
                <a:pos x="connsiteX30096" y="connsiteY30096"/>
              </a:cxn>
              <a:cxn ang="0">
                <a:pos x="connsiteX30097" y="connsiteY30097"/>
              </a:cxn>
              <a:cxn ang="0">
                <a:pos x="connsiteX30098" y="connsiteY30098"/>
              </a:cxn>
              <a:cxn ang="0">
                <a:pos x="connsiteX30099" y="connsiteY30099"/>
              </a:cxn>
              <a:cxn ang="0">
                <a:pos x="connsiteX30100" y="connsiteY30100"/>
              </a:cxn>
              <a:cxn ang="0">
                <a:pos x="connsiteX30101" y="connsiteY30101"/>
              </a:cxn>
              <a:cxn ang="0">
                <a:pos x="connsiteX30102" y="connsiteY30102"/>
              </a:cxn>
              <a:cxn ang="0">
                <a:pos x="connsiteX30103" y="connsiteY30103"/>
              </a:cxn>
              <a:cxn ang="0">
                <a:pos x="connsiteX30104" y="connsiteY30104"/>
              </a:cxn>
              <a:cxn ang="0">
                <a:pos x="connsiteX30105" y="connsiteY30105"/>
              </a:cxn>
              <a:cxn ang="0">
                <a:pos x="connsiteX30106" y="connsiteY30106"/>
              </a:cxn>
              <a:cxn ang="0">
                <a:pos x="connsiteX30107" y="connsiteY30107"/>
              </a:cxn>
              <a:cxn ang="0">
                <a:pos x="connsiteX30108" y="connsiteY30108"/>
              </a:cxn>
              <a:cxn ang="0">
                <a:pos x="connsiteX30109" y="connsiteY30109"/>
              </a:cxn>
              <a:cxn ang="0">
                <a:pos x="connsiteX30110" y="connsiteY30110"/>
              </a:cxn>
              <a:cxn ang="0">
                <a:pos x="connsiteX30111" y="connsiteY30111"/>
              </a:cxn>
              <a:cxn ang="0">
                <a:pos x="connsiteX30112" y="connsiteY30112"/>
              </a:cxn>
              <a:cxn ang="0">
                <a:pos x="connsiteX30113" y="connsiteY30113"/>
              </a:cxn>
              <a:cxn ang="0">
                <a:pos x="connsiteX30114" y="connsiteY30114"/>
              </a:cxn>
              <a:cxn ang="0">
                <a:pos x="connsiteX30115" y="connsiteY30115"/>
              </a:cxn>
              <a:cxn ang="0">
                <a:pos x="connsiteX30116" y="connsiteY30116"/>
              </a:cxn>
              <a:cxn ang="0">
                <a:pos x="connsiteX30117" y="connsiteY30117"/>
              </a:cxn>
              <a:cxn ang="0">
                <a:pos x="connsiteX30118" y="connsiteY30118"/>
              </a:cxn>
              <a:cxn ang="0">
                <a:pos x="connsiteX30119" y="connsiteY30119"/>
              </a:cxn>
              <a:cxn ang="0">
                <a:pos x="connsiteX30120" y="connsiteY30120"/>
              </a:cxn>
              <a:cxn ang="0">
                <a:pos x="connsiteX30121" y="connsiteY30121"/>
              </a:cxn>
              <a:cxn ang="0">
                <a:pos x="connsiteX30122" y="connsiteY30122"/>
              </a:cxn>
              <a:cxn ang="0">
                <a:pos x="connsiteX30123" y="connsiteY30123"/>
              </a:cxn>
              <a:cxn ang="0">
                <a:pos x="connsiteX30124" y="connsiteY30124"/>
              </a:cxn>
              <a:cxn ang="0">
                <a:pos x="connsiteX30125" y="connsiteY30125"/>
              </a:cxn>
              <a:cxn ang="0">
                <a:pos x="connsiteX30126" y="connsiteY30126"/>
              </a:cxn>
              <a:cxn ang="0">
                <a:pos x="connsiteX30127" y="connsiteY30127"/>
              </a:cxn>
              <a:cxn ang="0">
                <a:pos x="connsiteX30128" y="connsiteY30128"/>
              </a:cxn>
              <a:cxn ang="0">
                <a:pos x="connsiteX30129" y="connsiteY30129"/>
              </a:cxn>
              <a:cxn ang="0">
                <a:pos x="connsiteX30130" y="connsiteY30130"/>
              </a:cxn>
              <a:cxn ang="0">
                <a:pos x="connsiteX30131" y="connsiteY30131"/>
              </a:cxn>
              <a:cxn ang="0">
                <a:pos x="connsiteX30132" y="connsiteY30132"/>
              </a:cxn>
              <a:cxn ang="0">
                <a:pos x="connsiteX30133" y="connsiteY30133"/>
              </a:cxn>
              <a:cxn ang="0">
                <a:pos x="connsiteX30134" y="connsiteY30134"/>
              </a:cxn>
              <a:cxn ang="0">
                <a:pos x="connsiteX30135" y="connsiteY30135"/>
              </a:cxn>
              <a:cxn ang="0">
                <a:pos x="connsiteX30136" y="connsiteY30136"/>
              </a:cxn>
              <a:cxn ang="0">
                <a:pos x="connsiteX30137" y="connsiteY30137"/>
              </a:cxn>
              <a:cxn ang="0">
                <a:pos x="connsiteX30138" y="connsiteY30138"/>
              </a:cxn>
              <a:cxn ang="0">
                <a:pos x="connsiteX30139" y="connsiteY30139"/>
              </a:cxn>
              <a:cxn ang="0">
                <a:pos x="connsiteX30140" y="connsiteY30140"/>
              </a:cxn>
              <a:cxn ang="0">
                <a:pos x="connsiteX30141" y="connsiteY30141"/>
              </a:cxn>
              <a:cxn ang="0">
                <a:pos x="connsiteX30142" y="connsiteY30142"/>
              </a:cxn>
              <a:cxn ang="0">
                <a:pos x="connsiteX30143" y="connsiteY30143"/>
              </a:cxn>
              <a:cxn ang="0">
                <a:pos x="connsiteX30144" y="connsiteY30144"/>
              </a:cxn>
              <a:cxn ang="0">
                <a:pos x="connsiteX30145" y="connsiteY30145"/>
              </a:cxn>
              <a:cxn ang="0">
                <a:pos x="connsiteX30146" y="connsiteY30146"/>
              </a:cxn>
              <a:cxn ang="0">
                <a:pos x="connsiteX30147" y="connsiteY30147"/>
              </a:cxn>
              <a:cxn ang="0">
                <a:pos x="connsiteX30148" y="connsiteY30148"/>
              </a:cxn>
              <a:cxn ang="0">
                <a:pos x="connsiteX30149" y="connsiteY30149"/>
              </a:cxn>
              <a:cxn ang="0">
                <a:pos x="connsiteX30150" y="connsiteY30150"/>
              </a:cxn>
              <a:cxn ang="0">
                <a:pos x="connsiteX30151" y="connsiteY30151"/>
              </a:cxn>
              <a:cxn ang="0">
                <a:pos x="connsiteX30152" y="connsiteY30152"/>
              </a:cxn>
              <a:cxn ang="0">
                <a:pos x="connsiteX30153" y="connsiteY30153"/>
              </a:cxn>
              <a:cxn ang="0">
                <a:pos x="connsiteX30154" y="connsiteY30154"/>
              </a:cxn>
              <a:cxn ang="0">
                <a:pos x="connsiteX30155" y="connsiteY30155"/>
              </a:cxn>
              <a:cxn ang="0">
                <a:pos x="connsiteX30156" y="connsiteY30156"/>
              </a:cxn>
              <a:cxn ang="0">
                <a:pos x="connsiteX30157" y="connsiteY30157"/>
              </a:cxn>
              <a:cxn ang="0">
                <a:pos x="connsiteX30158" y="connsiteY30158"/>
              </a:cxn>
              <a:cxn ang="0">
                <a:pos x="connsiteX30159" y="connsiteY30159"/>
              </a:cxn>
              <a:cxn ang="0">
                <a:pos x="connsiteX30160" y="connsiteY30160"/>
              </a:cxn>
              <a:cxn ang="0">
                <a:pos x="connsiteX30161" y="connsiteY30161"/>
              </a:cxn>
              <a:cxn ang="0">
                <a:pos x="connsiteX30162" y="connsiteY30162"/>
              </a:cxn>
              <a:cxn ang="0">
                <a:pos x="connsiteX30163" y="connsiteY30163"/>
              </a:cxn>
              <a:cxn ang="0">
                <a:pos x="connsiteX30164" y="connsiteY30164"/>
              </a:cxn>
              <a:cxn ang="0">
                <a:pos x="connsiteX30165" y="connsiteY30165"/>
              </a:cxn>
              <a:cxn ang="0">
                <a:pos x="connsiteX30166" y="connsiteY30166"/>
              </a:cxn>
              <a:cxn ang="0">
                <a:pos x="connsiteX30167" y="connsiteY30167"/>
              </a:cxn>
              <a:cxn ang="0">
                <a:pos x="connsiteX30168" y="connsiteY30168"/>
              </a:cxn>
              <a:cxn ang="0">
                <a:pos x="connsiteX30169" y="connsiteY30169"/>
              </a:cxn>
              <a:cxn ang="0">
                <a:pos x="connsiteX30170" y="connsiteY30170"/>
              </a:cxn>
              <a:cxn ang="0">
                <a:pos x="connsiteX30171" y="connsiteY30171"/>
              </a:cxn>
              <a:cxn ang="0">
                <a:pos x="connsiteX30172" y="connsiteY30172"/>
              </a:cxn>
              <a:cxn ang="0">
                <a:pos x="connsiteX30173" y="connsiteY30173"/>
              </a:cxn>
              <a:cxn ang="0">
                <a:pos x="connsiteX30174" y="connsiteY30174"/>
              </a:cxn>
              <a:cxn ang="0">
                <a:pos x="connsiteX30175" y="connsiteY30175"/>
              </a:cxn>
              <a:cxn ang="0">
                <a:pos x="connsiteX30176" y="connsiteY30176"/>
              </a:cxn>
              <a:cxn ang="0">
                <a:pos x="connsiteX30177" y="connsiteY30177"/>
              </a:cxn>
              <a:cxn ang="0">
                <a:pos x="connsiteX30178" y="connsiteY30178"/>
              </a:cxn>
              <a:cxn ang="0">
                <a:pos x="connsiteX30179" y="connsiteY30179"/>
              </a:cxn>
              <a:cxn ang="0">
                <a:pos x="connsiteX30180" y="connsiteY30180"/>
              </a:cxn>
              <a:cxn ang="0">
                <a:pos x="connsiteX30181" y="connsiteY30181"/>
              </a:cxn>
              <a:cxn ang="0">
                <a:pos x="connsiteX30182" y="connsiteY30182"/>
              </a:cxn>
              <a:cxn ang="0">
                <a:pos x="connsiteX30183" y="connsiteY30183"/>
              </a:cxn>
              <a:cxn ang="0">
                <a:pos x="connsiteX30184" y="connsiteY30184"/>
              </a:cxn>
              <a:cxn ang="0">
                <a:pos x="connsiteX30185" y="connsiteY30185"/>
              </a:cxn>
              <a:cxn ang="0">
                <a:pos x="connsiteX30186" y="connsiteY30186"/>
              </a:cxn>
              <a:cxn ang="0">
                <a:pos x="connsiteX30187" y="connsiteY30187"/>
              </a:cxn>
              <a:cxn ang="0">
                <a:pos x="connsiteX30188" y="connsiteY30188"/>
              </a:cxn>
              <a:cxn ang="0">
                <a:pos x="connsiteX30189" y="connsiteY30189"/>
              </a:cxn>
              <a:cxn ang="0">
                <a:pos x="connsiteX30190" y="connsiteY30190"/>
              </a:cxn>
              <a:cxn ang="0">
                <a:pos x="connsiteX30191" y="connsiteY30191"/>
              </a:cxn>
              <a:cxn ang="0">
                <a:pos x="connsiteX30192" y="connsiteY30192"/>
              </a:cxn>
              <a:cxn ang="0">
                <a:pos x="connsiteX30193" y="connsiteY30193"/>
              </a:cxn>
              <a:cxn ang="0">
                <a:pos x="connsiteX30194" y="connsiteY30194"/>
              </a:cxn>
              <a:cxn ang="0">
                <a:pos x="connsiteX30195" y="connsiteY30195"/>
              </a:cxn>
              <a:cxn ang="0">
                <a:pos x="connsiteX30196" y="connsiteY30196"/>
              </a:cxn>
              <a:cxn ang="0">
                <a:pos x="connsiteX30197" y="connsiteY30197"/>
              </a:cxn>
              <a:cxn ang="0">
                <a:pos x="connsiteX30198" y="connsiteY30198"/>
              </a:cxn>
              <a:cxn ang="0">
                <a:pos x="connsiteX30199" y="connsiteY30199"/>
              </a:cxn>
              <a:cxn ang="0">
                <a:pos x="connsiteX30200" y="connsiteY30200"/>
              </a:cxn>
              <a:cxn ang="0">
                <a:pos x="connsiteX30201" y="connsiteY30201"/>
              </a:cxn>
              <a:cxn ang="0">
                <a:pos x="connsiteX30202" y="connsiteY30202"/>
              </a:cxn>
              <a:cxn ang="0">
                <a:pos x="connsiteX30203" y="connsiteY30203"/>
              </a:cxn>
              <a:cxn ang="0">
                <a:pos x="connsiteX30204" y="connsiteY30204"/>
              </a:cxn>
              <a:cxn ang="0">
                <a:pos x="connsiteX30205" y="connsiteY30205"/>
              </a:cxn>
              <a:cxn ang="0">
                <a:pos x="connsiteX30206" y="connsiteY30206"/>
              </a:cxn>
              <a:cxn ang="0">
                <a:pos x="connsiteX30207" y="connsiteY30207"/>
              </a:cxn>
              <a:cxn ang="0">
                <a:pos x="connsiteX30208" y="connsiteY30208"/>
              </a:cxn>
              <a:cxn ang="0">
                <a:pos x="connsiteX30209" y="connsiteY30209"/>
              </a:cxn>
              <a:cxn ang="0">
                <a:pos x="connsiteX30210" y="connsiteY30210"/>
              </a:cxn>
              <a:cxn ang="0">
                <a:pos x="connsiteX30211" y="connsiteY30211"/>
              </a:cxn>
              <a:cxn ang="0">
                <a:pos x="connsiteX30212" y="connsiteY30212"/>
              </a:cxn>
              <a:cxn ang="0">
                <a:pos x="connsiteX30213" y="connsiteY30213"/>
              </a:cxn>
              <a:cxn ang="0">
                <a:pos x="connsiteX30214" y="connsiteY30214"/>
              </a:cxn>
              <a:cxn ang="0">
                <a:pos x="connsiteX30215" y="connsiteY30215"/>
              </a:cxn>
              <a:cxn ang="0">
                <a:pos x="connsiteX30216" y="connsiteY30216"/>
              </a:cxn>
              <a:cxn ang="0">
                <a:pos x="connsiteX30217" y="connsiteY30217"/>
              </a:cxn>
              <a:cxn ang="0">
                <a:pos x="connsiteX30218" y="connsiteY30218"/>
              </a:cxn>
              <a:cxn ang="0">
                <a:pos x="connsiteX30219" y="connsiteY30219"/>
              </a:cxn>
              <a:cxn ang="0">
                <a:pos x="connsiteX30220" y="connsiteY30220"/>
              </a:cxn>
              <a:cxn ang="0">
                <a:pos x="connsiteX30221" y="connsiteY30221"/>
              </a:cxn>
              <a:cxn ang="0">
                <a:pos x="connsiteX30222" y="connsiteY30222"/>
              </a:cxn>
              <a:cxn ang="0">
                <a:pos x="connsiteX30223" y="connsiteY30223"/>
              </a:cxn>
              <a:cxn ang="0">
                <a:pos x="connsiteX30224" y="connsiteY30224"/>
              </a:cxn>
              <a:cxn ang="0">
                <a:pos x="connsiteX30225" y="connsiteY30225"/>
              </a:cxn>
              <a:cxn ang="0">
                <a:pos x="connsiteX30226" y="connsiteY30226"/>
              </a:cxn>
              <a:cxn ang="0">
                <a:pos x="connsiteX30227" y="connsiteY30227"/>
              </a:cxn>
              <a:cxn ang="0">
                <a:pos x="connsiteX30228" y="connsiteY30228"/>
              </a:cxn>
              <a:cxn ang="0">
                <a:pos x="connsiteX30229" y="connsiteY30229"/>
              </a:cxn>
              <a:cxn ang="0">
                <a:pos x="connsiteX30230" y="connsiteY30230"/>
              </a:cxn>
              <a:cxn ang="0">
                <a:pos x="connsiteX30231" y="connsiteY30231"/>
              </a:cxn>
              <a:cxn ang="0">
                <a:pos x="connsiteX30232" y="connsiteY30232"/>
              </a:cxn>
              <a:cxn ang="0">
                <a:pos x="connsiteX30233" y="connsiteY30233"/>
              </a:cxn>
              <a:cxn ang="0">
                <a:pos x="connsiteX30234" y="connsiteY30234"/>
              </a:cxn>
              <a:cxn ang="0">
                <a:pos x="connsiteX30235" y="connsiteY30235"/>
              </a:cxn>
              <a:cxn ang="0">
                <a:pos x="connsiteX30236" y="connsiteY30236"/>
              </a:cxn>
              <a:cxn ang="0">
                <a:pos x="connsiteX30237" y="connsiteY30237"/>
              </a:cxn>
              <a:cxn ang="0">
                <a:pos x="connsiteX30238" y="connsiteY30238"/>
              </a:cxn>
              <a:cxn ang="0">
                <a:pos x="connsiteX30239" y="connsiteY30239"/>
              </a:cxn>
              <a:cxn ang="0">
                <a:pos x="connsiteX30240" y="connsiteY30240"/>
              </a:cxn>
              <a:cxn ang="0">
                <a:pos x="connsiteX30241" y="connsiteY30241"/>
              </a:cxn>
              <a:cxn ang="0">
                <a:pos x="connsiteX30242" y="connsiteY30242"/>
              </a:cxn>
              <a:cxn ang="0">
                <a:pos x="connsiteX30243" y="connsiteY30243"/>
              </a:cxn>
              <a:cxn ang="0">
                <a:pos x="connsiteX30244" y="connsiteY30244"/>
              </a:cxn>
              <a:cxn ang="0">
                <a:pos x="connsiteX30245" y="connsiteY30245"/>
              </a:cxn>
              <a:cxn ang="0">
                <a:pos x="connsiteX30246" y="connsiteY30246"/>
              </a:cxn>
              <a:cxn ang="0">
                <a:pos x="connsiteX30247" y="connsiteY30247"/>
              </a:cxn>
              <a:cxn ang="0">
                <a:pos x="connsiteX30248" y="connsiteY30248"/>
              </a:cxn>
              <a:cxn ang="0">
                <a:pos x="connsiteX30249" y="connsiteY30249"/>
              </a:cxn>
              <a:cxn ang="0">
                <a:pos x="connsiteX30250" y="connsiteY30250"/>
              </a:cxn>
              <a:cxn ang="0">
                <a:pos x="connsiteX30251" y="connsiteY30251"/>
              </a:cxn>
              <a:cxn ang="0">
                <a:pos x="connsiteX30252" y="connsiteY30252"/>
              </a:cxn>
              <a:cxn ang="0">
                <a:pos x="connsiteX30253" y="connsiteY30253"/>
              </a:cxn>
              <a:cxn ang="0">
                <a:pos x="connsiteX30254" y="connsiteY30254"/>
              </a:cxn>
              <a:cxn ang="0">
                <a:pos x="connsiteX30255" y="connsiteY30255"/>
              </a:cxn>
              <a:cxn ang="0">
                <a:pos x="connsiteX30256" y="connsiteY30256"/>
              </a:cxn>
              <a:cxn ang="0">
                <a:pos x="connsiteX30257" y="connsiteY30257"/>
              </a:cxn>
              <a:cxn ang="0">
                <a:pos x="connsiteX30258" y="connsiteY30258"/>
              </a:cxn>
              <a:cxn ang="0">
                <a:pos x="connsiteX30259" y="connsiteY30259"/>
              </a:cxn>
              <a:cxn ang="0">
                <a:pos x="connsiteX30260" y="connsiteY30260"/>
              </a:cxn>
              <a:cxn ang="0">
                <a:pos x="connsiteX30261" y="connsiteY30261"/>
              </a:cxn>
              <a:cxn ang="0">
                <a:pos x="connsiteX30262" y="connsiteY30262"/>
              </a:cxn>
              <a:cxn ang="0">
                <a:pos x="connsiteX30263" y="connsiteY30263"/>
              </a:cxn>
              <a:cxn ang="0">
                <a:pos x="connsiteX30264" y="connsiteY30264"/>
              </a:cxn>
              <a:cxn ang="0">
                <a:pos x="connsiteX30265" y="connsiteY30265"/>
              </a:cxn>
              <a:cxn ang="0">
                <a:pos x="connsiteX30266" y="connsiteY30266"/>
              </a:cxn>
              <a:cxn ang="0">
                <a:pos x="connsiteX30267" y="connsiteY30267"/>
              </a:cxn>
              <a:cxn ang="0">
                <a:pos x="connsiteX30268" y="connsiteY30268"/>
              </a:cxn>
              <a:cxn ang="0">
                <a:pos x="connsiteX30269" y="connsiteY30269"/>
              </a:cxn>
              <a:cxn ang="0">
                <a:pos x="connsiteX30270" y="connsiteY30270"/>
              </a:cxn>
              <a:cxn ang="0">
                <a:pos x="connsiteX30271" y="connsiteY30271"/>
              </a:cxn>
              <a:cxn ang="0">
                <a:pos x="connsiteX30272" y="connsiteY30272"/>
              </a:cxn>
              <a:cxn ang="0">
                <a:pos x="connsiteX30273" y="connsiteY30273"/>
              </a:cxn>
              <a:cxn ang="0">
                <a:pos x="connsiteX30274" y="connsiteY30274"/>
              </a:cxn>
              <a:cxn ang="0">
                <a:pos x="connsiteX30275" y="connsiteY30275"/>
              </a:cxn>
              <a:cxn ang="0">
                <a:pos x="connsiteX30276" y="connsiteY30276"/>
              </a:cxn>
              <a:cxn ang="0">
                <a:pos x="connsiteX30277" y="connsiteY30277"/>
              </a:cxn>
              <a:cxn ang="0">
                <a:pos x="connsiteX30278" y="connsiteY30278"/>
              </a:cxn>
              <a:cxn ang="0">
                <a:pos x="connsiteX30279" y="connsiteY30279"/>
              </a:cxn>
              <a:cxn ang="0">
                <a:pos x="connsiteX30280" y="connsiteY30280"/>
              </a:cxn>
              <a:cxn ang="0">
                <a:pos x="connsiteX30281" y="connsiteY30281"/>
              </a:cxn>
              <a:cxn ang="0">
                <a:pos x="connsiteX30282" y="connsiteY30282"/>
              </a:cxn>
              <a:cxn ang="0">
                <a:pos x="connsiteX30283" y="connsiteY30283"/>
              </a:cxn>
              <a:cxn ang="0">
                <a:pos x="connsiteX30284" y="connsiteY30284"/>
              </a:cxn>
              <a:cxn ang="0">
                <a:pos x="connsiteX30285" y="connsiteY30285"/>
              </a:cxn>
              <a:cxn ang="0">
                <a:pos x="connsiteX30286" y="connsiteY30286"/>
              </a:cxn>
              <a:cxn ang="0">
                <a:pos x="connsiteX30287" y="connsiteY30287"/>
              </a:cxn>
              <a:cxn ang="0">
                <a:pos x="connsiteX30288" y="connsiteY30288"/>
              </a:cxn>
              <a:cxn ang="0">
                <a:pos x="connsiteX30289" y="connsiteY30289"/>
              </a:cxn>
              <a:cxn ang="0">
                <a:pos x="connsiteX30290" y="connsiteY30290"/>
              </a:cxn>
              <a:cxn ang="0">
                <a:pos x="connsiteX30291" y="connsiteY30291"/>
              </a:cxn>
              <a:cxn ang="0">
                <a:pos x="connsiteX30292" y="connsiteY30292"/>
              </a:cxn>
              <a:cxn ang="0">
                <a:pos x="connsiteX30293" y="connsiteY30293"/>
              </a:cxn>
              <a:cxn ang="0">
                <a:pos x="connsiteX30294" y="connsiteY30294"/>
              </a:cxn>
              <a:cxn ang="0">
                <a:pos x="connsiteX30295" y="connsiteY30295"/>
              </a:cxn>
              <a:cxn ang="0">
                <a:pos x="connsiteX30296" y="connsiteY30296"/>
              </a:cxn>
              <a:cxn ang="0">
                <a:pos x="connsiteX30297" y="connsiteY30297"/>
              </a:cxn>
              <a:cxn ang="0">
                <a:pos x="connsiteX30298" y="connsiteY30298"/>
              </a:cxn>
              <a:cxn ang="0">
                <a:pos x="connsiteX30299" y="connsiteY30299"/>
              </a:cxn>
              <a:cxn ang="0">
                <a:pos x="connsiteX30300" y="connsiteY30300"/>
              </a:cxn>
              <a:cxn ang="0">
                <a:pos x="connsiteX30301" y="connsiteY30301"/>
              </a:cxn>
              <a:cxn ang="0">
                <a:pos x="connsiteX30302" y="connsiteY30302"/>
              </a:cxn>
              <a:cxn ang="0">
                <a:pos x="connsiteX30303" y="connsiteY30303"/>
              </a:cxn>
              <a:cxn ang="0">
                <a:pos x="connsiteX30304" y="connsiteY30304"/>
              </a:cxn>
              <a:cxn ang="0">
                <a:pos x="connsiteX30305" y="connsiteY30305"/>
              </a:cxn>
              <a:cxn ang="0">
                <a:pos x="connsiteX30306" y="connsiteY30306"/>
              </a:cxn>
              <a:cxn ang="0">
                <a:pos x="connsiteX30307" y="connsiteY30307"/>
              </a:cxn>
              <a:cxn ang="0">
                <a:pos x="connsiteX30308" y="connsiteY30308"/>
              </a:cxn>
              <a:cxn ang="0">
                <a:pos x="connsiteX30309" y="connsiteY30309"/>
              </a:cxn>
              <a:cxn ang="0">
                <a:pos x="connsiteX30310" y="connsiteY30310"/>
              </a:cxn>
              <a:cxn ang="0">
                <a:pos x="connsiteX30311" y="connsiteY30311"/>
              </a:cxn>
              <a:cxn ang="0">
                <a:pos x="connsiteX30312" y="connsiteY30312"/>
              </a:cxn>
              <a:cxn ang="0">
                <a:pos x="connsiteX30313" y="connsiteY30313"/>
              </a:cxn>
              <a:cxn ang="0">
                <a:pos x="connsiteX30314" y="connsiteY30314"/>
              </a:cxn>
              <a:cxn ang="0">
                <a:pos x="connsiteX30315" y="connsiteY30315"/>
              </a:cxn>
              <a:cxn ang="0">
                <a:pos x="connsiteX30316" y="connsiteY30316"/>
              </a:cxn>
              <a:cxn ang="0">
                <a:pos x="connsiteX30317" y="connsiteY30317"/>
              </a:cxn>
              <a:cxn ang="0">
                <a:pos x="connsiteX30318" y="connsiteY30318"/>
              </a:cxn>
              <a:cxn ang="0">
                <a:pos x="connsiteX30319" y="connsiteY30319"/>
              </a:cxn>
              <a:cxn ang="0">
                <a:pos x="connsiteX30320" y="connsiteY30320"/>
              </a:cxn>
              <a:cxn ang="0">
                <a:pos x="connsiteX30321" y="connsiteY30321"/>
              </a:cxn>
              <a:cxn ang="0">
                <a:pos x="connsiteX30322" y="connsiteY30322"/>
              </a:cxn>
              <a:cxn ang="0">
                <a:pos x="connsiteX30323" y="connsiteY30323"/>
              </a:cxn>
              <a:cxn ang="0">
                <a:pos x="connsiteX30324" y="connsiteY30324"/>
              </a:cxn>
              <a:cxn ang="0">
                <a:pos x="connsiteX30325" y="connsiteY30325"/>
              </a:cxn>
              <a:cxn ang="0">
                <a:pos x="connsiteX30326" y="connsiteY30326"/>
              </a:cxn>
              <a:cxn ang="0">
                <a:pos x="connsiteX30327" y="connsiteY30327"/>
              </a:cxn>
              <a:cxn ang="0">
                <a:pos x="connsiteX30328" y="connsiteY30328"/>
              </a:cxn>
              <a:cxn ang="0">
                <a:pos x="connsiteX30329" y="connsiteY30329"/>
              </a:cxn>
              <a:cxn ang="0">
                <a:pos x="connsiteX30330" y="connsiteY30330"/>
              </a:cxn>
              <a:cxn ang="0">
                <a:pos x="connsiteX30331" y="connsiteY30331"/>
              </a:cxn>
              <a:cxn ang="0">
                <a:pos x="connsiteX30332" y="connsiteY30332"/>
              </a:cxn>
              <a:cxn ang="0">
                <a:pos x="connsiteX30333" y="connsiteY30333"/>
              </a:cxn>
              <a:cxn ang="0">
                <a:pos x="connsiteX30334" y="connsiteY30334"/>
              </a:cxn>
              <a:cxn ang="0">
                <a:pos x="connsiteX30335" y="connsiteY30335"/>
              </a:cxn>
              <a:cxn ang="0">
                <a:pos x="connsiteX30336" y="connsiteY30336"/>
              </a:cxn>
              <a:cxn ang="0">
                <a:pos x="connsiteX30337" y="connsiteY30337"/>
              </a:cxn>
              <a:cxn ang="0">
                <a:pos x="connsiteX30338" y="connsiteY30338"/>
              </a:cxn>
              <a:cxn ang="0">
                <a:pos x="connsiteX30339" y="connsiteY30339"/>
              </a:cxn>
              <a:cxn ang="0">
                <a:pos x="connsiteX30340" y="connsiteY30340"/>
              </a:cxn>
              <a:cxn ang="0">
                <a:pos x="connsiteX30341" y="connsiteY30341"/>
              </a:cxn>
              <a:cxn ang="0">
                <a:pos x="connsiteX30342" y="connsiteY30342"/>
              </a:cxn>
              <a:cxn ang="0">
                <a:pos x="connsiteX30343" y="connsiteY30343"/>
              </a:cxn>
              <a:cxn ang="0">
                <a:pos x="connsiteX30344" y="connsiteY30344"/>
              </a:cxn>
              <a:cxn ang="0">
                <a:pos x="connsiteX30345" y="connsiteY30345"/>
              </a:cxn>
              <a:cxn ang="0">
                <a:pos x="connsiteX30346" y="connsiteY30346"/>
              </a:cxn>
              <a:cxn ang="0">
                <a:pos x="connsiteX30347" y="connsiteY30347"/>
              </a:cxn>
              <a:cxn ang="0">
                <a:pos x="connsiteX30348" y="connsiteY30348"/>
              </a:cxn>
              <a:cxn ang="0">
                <a:pos x="connsiteX30349" y="connsiteY30349"/>
              </a:cxn>
              <a:cxn ang="0">
                <a:pos x="connsiteX30350" y="connsiteY30350"/>
              </a:cxn>
              <a:cxn ang="0">
                <a:pos x="connsiteX30351" y="connsiteY30351"/>
              </a:cxn>
              <a:cxn ang="0">
                <a:pos x="connsiteX30352" y="connsiteY30352"/>
              </a:cxn>
              <a:cxn ang="0">
                <a:pos x="connsiteX30353" y="connsiteY30353"/>
              </a:cxn>
              <a:cxn ang="0">
                <a:pos x="connsiteX30354" y="connsiteY30354"/>
              </a:cxn>
              <a:cxn ang="0">
                <a:pos x="connsiteX30355" y="connsiteY30355"/>
              </a:cxn>
              <a:cxn ang="0">
                <a:pos x="connsiteX30356" y="connsiteY30356"/>
              </a:cxn>
              <a:cxn ang="0">
                <a:pos x="connsiteX30357" y="connsiteY30357"/>
              </a:cxn>
              <a:cxn ang="0">
                <a:pos x="connsiteX30358" y="connsiteY30358"/>
              </a:cxn>
              <a:cxn ang="0">
                <a:pos x="connsiteX30359" y="connsiteY30359"/>
              </a:cxn>
              <a:cxn ang="0">
                <a:pos x="connsiteX30360" y="connsiteY30360"/>
              </a:cxn>
              <a:cxn ang="0">
                <a:pos x="connsiteX30361" y="connsiteY30361"/>
              </a:cxn>
              <a:cxn ang="0">
                <a:pos x="connsiteX30362" y="connsiteY30362"/>
              </a:cxn>
              <a:cxn ang="0">
                <a:pos x="connsiteX30363" y="connsiteY30363"/>
              </a:cxn>
              <a:cxn ang="0">
                <a:pos x="connsiteX30364" y="connsiteY30364"/>
              </a:cxn>
              <a:cxn ang="0">
                <a:pos x="connsiteX30365" y="connsiteY30365"/>
              </a:cxn>
              <a:cxn ang="0">
                <a:pos x="connsiteX30366" y="connsiteY30366"/>
              </a:cxn>
              <a:cxn ang="0">
                <a:pos x="connsiteX30367" y="connsiteY30367"/>
              </a:cxn>
              <a:cxn ang="0">
                <a:pos x="connsiteX30368" y="connsiteY30368"/>
              </a:cxn>
              <a:cxn ang="0">
                <a:pos x="connsiteX30369" y="connsiteY30369"/>
              </a:cxn>
              <a:cxn ang="0">
                <a:pos x="connsiteX30370" y="connsiteY30370"/>
              </a:cxn>
              <a:cxn ang="0">
                <a:pos x="connsiteX30371" y="connsiteY30371"/>
              </a:cxn>
              <a:cxn ang="0">
                <a:pos x="connsiteX30372" y="connsiteY30372"/>
              </a:cxn>
              <a:cxn ang="0">
                <a:pos x="connsiteX30373" y="connsiteY30373"/>
              </a:cxn>
              <a:cxn ang="0">
                <a:pos x="connsiteX30374" y="connsiteY30374"/>
              </a:cxn>
              <a:cxn ang="0">
                <a:pos x="connsiteX30375" y="connsiteY30375"/>
              </a:cxn>
              <a:cxn ang="0">
                <a:pos x="connsiteX30376" y="connsiteY30376"/>
              </a:cxn>
              <a:cxn ang="0">
                <a:pos x="connsiteX30377" y="connsiteY30377"/>
              </a:cxn>
              <a:cxn ang="0">
                <a:pos x="connsiteX30378" y="connsiteY30378"/>
              </a:cxn>
              <a:cxn ang="0">
                <a:pos x="connsiteX30379" y="connsiteY30379"/>
              </a:cxn>
              <a:cxn ang="0">
                <a:pos x="connsiteX30380" y="connsiteY30380"/>
              </a:cxn>
              <a:cxn ang="0">
                <a:pos x="connsiteX30381" y="connsiteY30381"/>
              </a:cxn>
              <a:cxn ang="0">
                <a:pos x="connsiteX30382" y="connsiteY30382"/>
              </a:cxn>
              <a:cxn ang="0">
                <a:pos x="connsiteX30383" y="connsiteY30383"/>
              </a:cxn>
              <a:cxn ang="0">
                <a:pos x="connsiteX30384" y="connsiteY30384"/>
              </a:cxn>
              <a:cxn ang="0">
                <a:pos x="connsiteX30385" y="connsiteY30385"/>
              </a:cxn>
              <a:cxn ang="0">
                <a:pos x="connsiteX30386" y="connsiteY30386"/>
              </a:cxn>
              <a:cxn ang="0">
                <a:pos x="connsiteX30387" y="connsiteY30387"/>
              </a:cxn>
              <a:cxn ang="0">
                <a:pos x="connsiteX30388" y="connsiteY30388"/>
              </a:cxn>
              <a:cxn ang="0">
                <a:pos x="connsiteX30389" y="connsiteY30389"/>
              </a:cxn>
              <a:cxn ang="0">
                <a:pos x="connsiteX30390" y="connsiteY30390"/>
              </a:cxn>
              <a:cxn ang="0">
                <a:pos x="connsiteX30391" y="connsiteY30391"/>
              </a:cxn>
              <a:cxn ang="0">
                <a:pos x="connsiteX30392" y="connsiteY30392"/>
              </a:cxn>
              <a:cxn ang="0">
                <a:pos x="connsiteX30393" y="connsiteY30393"/>
              </a:cxn>
              <a:cxn ang="0">
                <a:pos x="connsiteX30394" y="connsiteY30394"/>
              </a:cxn>
              <a:cxn ang="0">
                <a:pos x="connsiteX30395" y="connsiteY30395"/>
              </a:cxn>
              <a:cxn ang="0">
                <a:pos x="connsiteX30396" y="connsiteY30396"/>
              </a:cxn>
              <a:cxn ang="0">
                <a:pos x="connsiteX30397" y="connsiteY30397"/>
              </a:cxn>
              <a:cxn ang="0">
                <a:pos x="connsiteX30398" y="connsiteY30398"/>
              </a:cxn>
              <a:cxn ang="0">
                <a:pos x="connsiteX30399" y="connsiteY30399"/>
              </a:cxn>
              <a:cxn ang="0">
                <a:pos x="connsiteX30400" y="connsiteY30400"/>
              </a:cxn>
              <a:cxn ang="0">
                <a:pos x="connsiteX30401" y="connsiteY30401"/>
              </a:cxn>
              <a:cxn ang="0">
                <a:pos x="connsiteX30402" y="connsiteY30402"/>
              </a:cxn>
              <a:cxn ang="0">
                <a:pos x="connsiteX30403" y="connsiteY30403"/>
              </a:cxn>
              <a:cxn ang="0">
                <a:pos x="connsiteX30404" y="connsiteY30404"/>
              </a:cxn>
              <a:cxn ang="0">
                <a:pos x="connsiteX30405" y="connsiteY30405"/>
              </a:cxn>
              <a:cxn ang="0">
                <a:pos x="connsiteX30406" y="connsiteY30406"/>
              </a:cxn>
              <a:cxn ang="0">
                <a:pos x="connsiteX30407" y="connsiteY30407"/>
              </a:cxn>
              <a:cxn ang="0">
                <a:pos x="connsiteX30408" y="connsiteY30408"/>
              </a:cxn>
              <a:cxn ang="0">
                <a:pos x="connsiteX30409" y="connsiteY30409"/>
              </a:cxn>
              <a:cxn ang="0">
                <a:pos x="connsiteX30410" y="connsiteY30410"/>
              </a:cxn>
              <a:cxn ang="0">
                <a:pos x="connsiteX30411" y="connsiteY30411"/>
              </a:cxn>
              <a:cxn ang="0">
                <a:pos x="connsiteX30412" y="connsiteY30412"/>
              </a:cxn>
              <a:cxn ang="0">
                <a:pos x="connsiteX30413" y="connsiteY30413"/>
              </a:cxn>
              <a:cxn ang="0">
                <a:pos x="connsiteX30414" y="connsiteY30414"/>
              </a:cxn>
              <a:cxn ang="0">
                <a:pos x="connsiteX30415" y="connsiteY30415"/>
              </a:cxn>
              <a:cxn ang="0">
                <a:pos x="connsiteX30416" y="connsiteY30416"/>
              </a:cxn>
              <a:cxn ang="0">
                <a:pos x="connsiteX30417" y="connsiteY30417"/>
              </a:cxn>
              <a:cxn ang="0">
                <a:pos x="connsiteX30418" y="connsiteY30418"/>
              </a:cxn>
              <a:cxn ang="0">
                <a:pos x="connsiteX30419" y="connsiteY30419"/>
              </a:cxn>
              <a:cxn ang="0">
                <a:pos x="connsiteX30420" y="connsiteY30420"/>
              </a:cxn>
              <a:cxn ang="0">
                <a:pos x="connsiteX30421" y="connsiteY30421"/>
              </a:cxn>
              <a:cxn ang="0">
                <a:pos x="connsiteX30422" y="connsiteY30422"/>
              </a:cxn>
              <a:cxn ang="0">
                <a:pos x="connsiteX30423" y="connsiteY30423"/>
              </a:cxn>
              <a:cxn ang="0">
                <a:pos x="connsiteX30424" y="connsiteY30424"/>
              </a:cxn>
              <a:cxn ang="0">
                <a:pos x="connsiteX30425" y="connsiteY30425"/>
              </a:cxn>
              <a:cxn ang="0">
                <a:pos x="connsiteX30426" y="connsiteY30426"/>
              </a:cxn>
              <a:cxn ang="0">
                <a:pos x="connsiteX30427" y="connsiteY30427"/>
              </a:cxn>
              <a:cxn ang="0">
                <a:pos x="connsiteX30428" y="connsiteY30428"/>
              </a:cxn>
              <a:cxn ang="0">
                <a:pos x="connsiteX30429" y="connsiteY30429"/>
              </a:cxn>
              <a:cxn ang="0">
                <a:pos x="connsiteX30430" y="connsiteY30430"/>
              </a:cxn>
              <a:cxn ang="0">
                <a:pos x="connsiteX30431" y="connsiteY30431"/>
              </a:cxn>
              <a:cxn ang="0">
                <a:pos x="connsiteX30432" y="connsiteY30432"/>
              </a:cxn>
              <a:cxn ang="0">
                <a:pos x="connsiteX30433" y="connsiteY30433"/>
              </a:cxn>
              <a:cxn ang="0">
                <a:pos x="connsiteX30434" y="connsiteY30434"/>
              </a:cxn>
              <a:cxn ang="0">
                <a:pos x="connsiteX30435" y="connsiteY30435"/>
              </a:cxn>
              <a:cxn ang="0">
                <a:pos x="connsiteX30436" y="connsiteY30436"/>
              </a:cxn>
              <a:cxn ang="0">
                <a:pos x="connsiteX30437" y="connsiteY30437"/>
              </a:cxn>
              <a:cxn ang="0">
                <a:pos x="connsiteX30438" y="connsiteY30438"/>
              </a:cxn>
              <a:cxn ang="0">
                <a:pos x="connsiteX30439" y="connsiteY30439"/>
              </a:cxn>
              <a:cxn ang="0">
                <a:pos x="connsiteX30440" y="connsiteY30440"/>
              </a:cxn>
              <a:cxn ang="0">
                <a:pos x="connsiteX30441" y="connsiteY30441"/>
              </a:cxn>
              <a:cxn ang="0">
                <a:pos x="connsiteX30442" y="connsiteY30442"/>
              </a:cxn>
              <a:cxn ang="0">
                <a:pos x="connsiteX30443" y="connsiteY30443"/>
              </a:cxn>
              <a:cxn ang="0">
                <a:pos x="connsiteX30444" y="connsiteY30444"/>
              </a:cxn>
              <a:cxn ang="0">
                <a:pos x="connsiteX30445" y="connsiteY30445"/>
              </a:cxn>
              <a:cxn ang="0">
                <a:pos x="connsiteX30446" y="connsiteY30446"/>
              </a:cxn>
              <a:cxn ang="0">
                <a:pos x="connsiteX30447" y="connsiteY30447"/>
              </a:cxn>
              <a:cxn ang="0">
                <a:pos x="connsiteX30448" y="connsiteY30448"/>
              </a:cxn>
              <a:cxn ang="0">
                <a:pos x="connsiteX30449" y="connsiteY30449"/>
              </a:cxn>
              <a:cxn ang="0">
                <a:pos x="connsiteX30450" y="connsiteY30450"/>
              </a:cxn>
              <a:cxn ang="0">
                <a:pos x="connsiteX30451" y="connsiteY30451"/>
              </a:cxn>
              <a:cxn ang="0">
                <a:pos x="connsiteX30452" y="connsiteY30452"/>
              </a:cxn>
              <a:cxn ang="0">
                <a:pos x="connsiteX30453" y="connsiteY30453"/>
              </a:cxn>
              <a:cxn ang="0">
                <a:pos x="connsiteX30454" y="connsiteY30454"/>
              </a:cxn>
              <a:cxn ang="0">
                <a:pos x="connsiteX30455" y="connsiteY30455"/>
              </a:cxn>
              <a:cxn ang="0">
                <a:pos x="connsiteX30456" y="connsiteY30456"/>
              </a:cxn>
              <a:cxn ang="0">
                <a:pos x="connsiteX30457" y="connsiteY30457"/>
              </a:cxn>
              <a:cxn ang="0">
                <a:pos x="connsiteX30458" y="connsiteY30458"/>
              </a:cxn>
              <a:cxn ang="0">
                <a:pos x="connsiteX30459" y="connsiteY30459"/>
              </a:cxn>
              <a:cxn ang="0">
                <a:pos x="connsiteX30460" y="connsiteY30460"/>
              </a:cxn>
              <a:cxn ang="0">
                <a:pos x="connsiteX30461" y="connsiteY30461"/>
              </a:cxn>
              <a:cxn ang="0">
                <a:pos x="connsiteX30462" y="connsiteY30462"/>
              </a:cxn>
              <a:cxn ang="0">
                <a:pos x="connsiteX30463" y="connsiteY30463"/>
              </a:cxn>
              <a:cxn ang="0">
                <a:pos x="connsiteX30464" y="connsiteY30464"/>
              </a:cxn>
              <a:cxn ang="0">
                <a:pos x="connsiteX30465" y="connsiteY30465"/>
              </a:cxn>
              <a:cxn ang="0">
                <a:pos x="connsiteX30466" y="connsiteY30466"/>
              </a:cxn>
              <a:cxn ang="0">
                <a:pos x="connsiteX30467" y="connsiteY30467"/>
              </a:cxn>
              <a:cxn ang="0">
                <a:pos x="connsiteX30468" y="connsiteY30468"/>
              </a:cxn>
              <a:cxn ang="0">
                <a:pos x="connsiteX30469" y="connsiteY30469"/>
              </a:cxn>
              <a:cxn ang="0">
                <a:pos x="connsiteX30470" y="connsiteY30470"/>
              </a:cxn>
              <a:cxn ang="0">
                <a:pos x="connsiteX30471" y="connsiteY30471"/>
              </a:cxn>
              <a:cxn ang="0">
                <a:pos x="connsiteX30472" y="connsiteY30472"/>
              </a:cxn>
              <a:cxn ang="0">
                <a:pos x="connsiteX30473" y="connsiteY30473"/>
              </a:cxn>
              <a:cxn ang="0">
                <a:pos x="connsiteX30474" y="connsiteY30474"/>
              </a:cxn>
              <a:cxn ang="0">
                <a:pos x="connsiteX30475" y="connsiteY30475"/>
              </a:cxn>
              <a:cxn ang="0">
                <a:pos x="connsiteX30476" y="connsiteY30476"/>
              </a:cxn>
              <a:cxn ang="0">
                <a:pos x="connsiteX30477" y="connsiteY30477"/>
              </a:cxn>
              <a:cxn ang="0">
                <a:pos x="connsiteX30478" y="connsiteY30478"/>
              </a:cxn>
              <a:cxn ang="0">
                <a:pos x="connsiteX30479" y="connsiteY30479"/>
              </a:cxn>
              <a:cxn ang="0">
                <a:pos x="connsiteX30480" y="connsiteY30480"/>
              </a:cxn>
              <a:cxn ang="0">
                <a:pos x="connsiteX30481" y="connsiteY30481"/>
              </a:cxn>
              <a:cxn ang="0">
                <a:pos x="connsiteX30482" y="connsiteY30482"/>
              </a:cxn>
              <a:cxn ang="0">
                <a:pos x="connsiteX30483" y="connsiteY30483"/>
              </a:cxn>
              <a:cxn ang="0">
                <a:pos x="connsiteX30484" y="connsiteY30484"/>
              </a:cxn>
              <a:cxn ang="0">
                <a:pos x="connsiteX30485" y="connsiteY30485"/>
              </a:cxn>
              <a:cxn ang="0">
                <a:pos x="connsiteX30486" y="connsiteY30486"/>
              </a:cxn>
              <a:cxn ang="0">
                <a:pos x="connsiteX30487" y="connsiteY30487"/>
              </a:cxn>
              <a:cxn ang="0">
                <a:pos x="connsiteX30488" y="connsiteY30488"/>
              </a:cxn>
              <a:cxn ang="0">
                <a:pos x="connsiteX30489" y="connsiteY30489"/>
              </a:cxn>
              <a:cxn ang="0">
                <a:pos x="connsiteX30490" y="connsiteY30490"/>
              </a:cxn>
              <a:cxn ang="0">
                <a:pos x="connsiteX30491" y="connsiteY30491"/>
              </a:cxn>
              <a:cxn ang="0">
                <a:pos x="connsiteX30492" y="connsiteY30492"/>
              </a:cxn>
              <a:cxn ang="0">
                <a:pos x="connsiteX30493" y="connsiteY30493"/>
              </a:cxn>
              <a:cxn ang="0">
                <a:pos x="connsiteX30494" y="connsiteY30494"/>
              </a:cxn>
              <a:cxn ang="0">
                <a:pos x="connsiteX30495" y="connsiteY30495"/>
              </a:cxn>
              <a:cxn ang="0">
                <a:pos x="connsiteX30496" y="connsiteY30496"/>
              </a:cxn>
              <a:cxn ang="0">
                <a:pos x="connsiteX30497" y="connsiteY30497"/>
              </a:cxn>
              <a:cxn ang="0">
                <a:pos x="connsiteX30498" y="connsiteY30498"/>
              </a:cxn>
              <a:cxn ang="0">
                <a:pos x="connsiteX30499" y="connsiteY30499"/>
              </a:cxn>
              <a:cxn ang="0">
                <a:pos x="connsiteX30500" y="connsiteY30500"/>
              </a:cxn>
              <a:cxn ang="0">
                <a:pos x="connsiteX30501" y="connsiteY30501"/>
              </a:cxn>
              <a:cxn ang="0">
                <a:pos x="connsiteX30502" y="connsiteY30502"/>
              </a:cxn>
              <a:cxn ang="0">
                <a:pos x="connsiteX30503" y="connsiteY30503"/>
              </a:cxn>
              <a:cxn ang="0">
                <a:pos x="connsiteX30504" y="connsiteY30504"/>
              </a:cxn>
              <a:cxn ang="0">
                <a:pos x="connsiteX30505" y="connsiteY30505"/>
              </a:cxn>
              <a:cxn ang="0">
                <a:pos x="connsiteX30506" y="connsiteY30506"/>
              </a:cxn>
              <a:cxn ang="0">
                <a:pos x="connsiteX30507" y="connsiteY30507"/>
              </a:cxn>
              <a:cxn ang="0">
                <a:pos x="connsiteX30508" y="connsiteY30508"/>
              </a:cxn>
              <a:cxn ang="0">
                <a:pos x="connsiteX30509" y="connsiteY30509"/>
              </a:cxn>
              <a:cxn ang="0">
                <a:pos x="connsiteX30510" y="connsiteY30510"/>
              </a:cxn>
              <a:cxn ang="0">
                <a:pos x="connsiteX30511" y="connsiteY30511"/>
              </a:cxn>
              <a:cxn ang="0">
                <a:pos x="connsiteX30512" y="connsiteY30512"/>
              </a:cxn>
              <a:cxn ang="0">
                <a:pos x="connsiteX30513" y="connsiteY30513"/>
              </a:cxn>
              <a:cxn ang="0">
                <a:pos x="connsiteX30514" y="connsiteY30514"/>
              </a:cxn>
              <a:cxn ang="0">
                <a:pos x="connsiteX30515" y="connsiteY30515"/>
              </a:cxn>
              <a:cxn ang="0">
                <a:pos x="connsiteX30516" y="connsiteY30516"/>
              </a:cxn>
              <a:cxn ang="0">
                <a:pos x="connsiteX30517" y="connsiteY30517"/>
              </a:cxn>
              <a:cxn ang="0">
                <a:pos x="connsiteX30518" y="connsiteY30518"/>
              </a:cxn>
              <a:cxn ang="0">
                <a:pos x="connsiteX30519" y="connsiteY30519"/>
              </a:cxn>
              <a:cxn ang="0">
                <a:pos x="connsiteX30520" y="connsiteY30520"/>
              </a:cxn>
              <a:cxn ang="0">
                <a:pos x="connsiteX30521" y="connsiteY30521"/>
              </a:cxn>
              <a:cxn ang="0">
                <a:pos x="connsiteX30522" y="connsiteY30522"/>
              </a:cxn>
              <a:cxn ang="0">
                <a:pos x="connsiteX30523" y="connsiteY30523"/>
              </a:cxn>
              <a:cxn ang="0">
                <a:pos x="connsiteX30524" y="connsiteY30524"/>
              </a:cxn>
              <a:cxn ang="0">
                <a:pos x="connsiteX30525" y="connsiteY30525"/>
              </a:cxn>
              <a:cxn ang="0">
                <a:pos x="connsiteX30526" y="connsiteY30526"/>
              </a:cxn>
              <a:cxn ang="0">
                <a:pos x="connsiteX30527" y="connsiteY30527"/>
              </a:cxn>
              <a:cxn ang="0">
                <a:pos x="connsiteX30528" y="connsiteY30528"/>
              </a:cxn>
              <a:cxn ang="0">
                <a:pos x="connsiteX30529" y="connsiteY30529"/>
              </a:cxn>
              <a:cxn ang="0">
                <a:pos x="connsiteX30530" y="connsiteY30530"/>
              </a:cxn>
              <a:cxn ang="0">
                <a:pos x="connsiteX30531" y="connsiteY30531"/>
              </a:cxn>
              <a:cxn ang="0">
                <a:pos x="connsiteX30532" y="connsiteY30532"/>
              </a:cxn>
              <a:cxn ang="0">
                <a:pos x="connsiteX30533" y="connsiteY30533"/>
              </a:cxn>
              <a:cxn ang="0">
                <a:pos x="connsiteX30534" y="connsiteY30534"/>
              </a:cxn>
              <a:cxn ang="0">
                <a:pos x="connsiteX30535" y="connsiteY30535"/>
              </a:cxn>
              <a:cxn ang="0">
                <a:pos x="connsiteX30536" y="connsiteY30536"/>
              </a:cxn>
              <a:cxn ang="0">
                <a:pos x="connsiteX30537" y="connsiteY30537"/>
              </a:cxn>
              <a:cxn ang="0">
                <a:pos x="connsiteX30538" y="connsiteY30538"/>
              </a:cxn>
              <a:cxn ang="0">
                <a:pos x="connsiteX30539" y="connsiteY30539"/>
              </a:cxn>
              <a:cxn ang="0">
                <a:pos x="connsiteX30540" y="connsiteY30540"/>
              </a:cxn>
              <a:cxn ang="0">
                <a:pos x="connsiteX30541" y="connsiteY30541"/>
              </a:cxn>
              <a:cxn ang="0">
                <a:pos x="connsiteX30542" y="connsiteY30542"/>
              </a:cxn>
              <a:cxn ang="0">
                <a:pos x="connsiteX30543" y="connsiteY30543"/>
              </a:cxn>
              <a:cxn ang="0">
                <a:pos x="connsiteX30544" y="connsiteY30544"/>
              </a:cxn>
              <a:cxn ang="0">
                <a:pos x="connsiteX30545" y="connsiteY30545"/>
              </a:cxn>
              <a:cxn ang="0">
                <a:pos x="connsiteX30546" y="connsiteY30546"/>
              </a:cxn>
              <a:cxn ang="0">
                <a:pos x="connsiteX30547" y="connsiteY30547"/>
              </a:cxn>
              <a:cxn ang="0">
                <a:pos x="connsiteX30548" y="connsiteY30548"/>
              </a:cxn>
              <a:cxn ang="0">
                <a:pos x="connsiteX30549" y="connsiteY30549"/>
              </a:cxn>
              <a:cxn ang="0">
                <a:pos x="connsiteX30550" y="connsiteY30550"/>
              </a:cxn>
              <a:cxn ang="0">
                <a:pos x="connsiteX30551" y="connsiteY30551"/>
              </a:cxn>
              <a:cxn ang="0">
                <a:pos x="connsiteX30552" y="connsiteY30552"/>
              </a:cxn>
              <a:cxn ang="0">
                <a:pos x="connsiteX30553" y="connsiteY30553"/>
              </a:cxn>
              <a:cxn ang="0">
                <a:pos x="connsiteX30554" y="connsiteY30554"/>
              </a:cxn>
              <a:cxn ang="0">
                <a:pos x="connsiteX30555" y="connsiteY30555"/>
              </a:cxn>
              <a:cxn ang="0">
                <a:pos x="connsiteX30556" y="connsiteY30556"/>
              </a:cxn>
              <a:cxn ang="0">
                <a:pos x="connsiteX30557" y="connsiteY30557"/>
              </a:cxn>
              <a:cxn ang="0">
                <a:pos x="connsiteX30558" y="connsiteY30558"/>
              </a:cxn>
              <a:cxn ang="0">
                <a:pos x="connsiteX30559" y="connsiteY30559"/>
              </a:cxn>
              <a:cxn ang="0">
                <a:pos x="connsiteX30560" y="connsiteY30560"/>
              </a:cxn>
              <a:cxn ang="0">
                <a:pos x="connsiteX30561" y="connsiteY30561"/>
              </a:cxn>
              <a:cxn ang="0">
                <a:pos x="connsiteX30562" y="connsiteY30562"/>
              </a:cxn>
              <a:cxn ang="0">
                <a:pos x="connsiteX30563" y="connsiteY30563"/>
              </a:cxn>
              <a:cxn ang="0">
                <a:pos x="connsiteX30564" y="connsiteY30564"/>
              </a:cxn>
              <a:cxn ang="0">
                <a:pos x="connsiteX30565" y="connsiteY30565"/>
              </a:cxn>
              <a:cxn ang="0">
                <a:pos x="connsiteX30566" y="connsiteY30566"/>
              </a:cxn>
              <a:cxn ang="0">
                <a:pos x="connsiteX30567" y="connsiteY30567"/>
              </a:cxn>
              <a:cxn ang="0">
                <a:pos x="connsiteX30568" y="connsiteY30568"/>
              </a:cxn>
              <a:cxn ang="0">
                <a:pos x="connsiteX30569" y="connsiteY30569"/>
              </a:cxn>
              <a:cxn ang="0">
                <a:pos x="connsiteX30570" y="connsiteY30570"/>
              </a:cxn>
              <a:cxn ang="0">
                <a:pos x="connsiteX30571" y="connsiteY30571"/>
              </a:cxn>
              <a:cxn ang="0">
                <a:pos x="connsiteX30572" y="connsiteY30572"/>
              </a:cxn>
              <a:cxn ang="0">
                <a:pos x="connsiteX30573" y="connsiteY30573"/>
              </a:cxn>
              <a:cxn ang="0">
                <a:pos x="connsiteX30574" y="connsiteY30574"/>
              </a:cxn>
              <a:cxn ang="0">
                <a:pos x="connsiteX30575" y="connsiteY30575"/>
              </a:cxn>
              <a:cxn ang="0">
                <a:pos x="connsiteX30576" y="connsiteY30576"/>
              </a:cxn>
              <a:cxn ang="0">
                <a:pos x="connsiteX30577" y="connsiteY30577"/>
              </a:cxn>
              <a:cxn ang="0">
                <a:pos x="connsiteX30578" y="connsiteY30578"/>
              </a:cxn>
              <a:cxn ang="0">
                <a:pos x="connsiteX30579" y="connsiteY30579"/>
              </a:cxn>
              <a:cxn ang="0">
                <a:pos x="connsiteX30580" y="connsiteY30580"/>
              </a:cxn>
              <a:cxn ang="0">
                <a:pos x="connsiteX30581" y="connsiteY30581"/>
              </a:cxn>
              <a:cxn ang="0">
                <a:pos x="connsiteX30582" y="connsiteY30582"/>
              </a:cxn>
              <a:cxn ang="0">
                <a:pos x="connsiteX30583" y="connsiteY30583"/>
              </a:cxn>
              <a:cxn ang="0">
                <a:pos x="connsiteX30584" y="connsiteY30584"/>
              </a:cxn>
              <a:cxn ang="0">
                <a:pos x="connsiteX30585" y="connsiteY30585"/>
              </a:cxn>
              <a:cxn ang="0">
                <a:pos x="connsiteX30586" y="connsiteY30586"/>
              </a:cxn>
              <a:cxn ang="0">
                <a:pos x="connsiteX30587" y="connsiteY30587"/>
              </a:cxn>
              <a:cxn ang="0">
                <a:pos x="connsiteX30588" y="connsiteY30588"/>
              </a:cxn>
              <a:cxn ang="0">
                <a:pos x="connsiteX30589" y="connsiteY30589"/>
              </a:cxn>
              <a:cxn ang="0">
                <a:pos x="connsiteX30590" y="connsiteY30590"/>
              </a:cxn>
              <a:cxn ang="0">
                <a:pos x="connsiteX30591" y="connsiteY30591"/>
              </a:cxn>
              <a:cxn ang="0">
                <a:pos x="connsiteX30592" y="connsiteY30592"/>
              </a:cxn>
              <a:cxn ang="0">
                <a:pos x="connsiteX30593" y="connsiteY30593"/>
              </a:cxn>
              <a:cxn ang="0">
                <a:pos x="connsiteX30594" y="connsiteY30594"/>
              </a:cxn>
              <a:cxn ang="0">
                <a:pos x="connsiteX30595" y="connsiteY30595"/>
              </a:cxn>
              <a:cxn ang="0">
                <a:pos x="connsiteX30596" y="connsiteY30596"/>
              </a:cxn>
              <a:cxn ang="0">
                <a:pos x="connsiteX30597" y="connsiteY30597"/>
              </a:cxn>
              <a:cxn ang="0">
                <a:pos x="connsiteX30598" y="connsiteY30598"/>
              </a:cxn>
              <a:cxn ang="0">
                <a:pos x="connsiteX30599" y="connsiteY30599"/>
              </a:cxn>
              <a:cxn ang="0">
                <a:pos x="connsiteX30600" y="connsiteY30600"/>
              </a:cxn>
              <a:cxn ang="0">
                <a:pos x="connsiteX30601" y="connsiteY30601"/>
              </a:cxn>
              <a:cxn ang="0">
                <a:pos x="connsiteX30602" y="connsiteY30602"/>
              </a:cxn>
              <a:cxn ang="0">
                <a:pos x="connsiteX30603" y="connsiteY30603"/>
              </a:cxn>
              <a:cxn ang="0">
                <a:pos x="connsiteX30604" y="connsiteY30604"/>
              </a:cxn>
              <a:cxn ang="0">
                <a:pos x="connsiteX30605" y="connsiteY30605"/>
              </a:cxn>
              <a:cxn ang="0">
                <a:pos x="connsiteX30606" y="connsiteY30606"/>
              </a:cxn>
              <a:cxn ang="0">
                <a:pos x="connsiteX30607" y="connsiteY30607"/>
              </a:cxn>
              <a:cxn ang="0">
                <a:pos x="connsiteX30608" y="connsiteY30608"/>
              </a:cxn>
              <a:cxn ang="0">
                <a:pos x="connsiteX30609" y="connsiteY30609"/>
              </a:cxn>
              <a:cxn ang="0">
                <a:pos x="connsiteX30610" y="connsiteY30610"/>
              </a:cxn>
              <a:cxn ang="0">
                <a:pos x="connsiteX30611" y="connsiteY30611"/>
              </a:cxn>
              <a:cxn ang="0">
                <a:pos x="connsiteX30612" y="connsiteY30612"/>
              </a:cxn>
              <a:cxn ang="0">
                <a:pos x="connsiteX30613" y="connsiteY30613"/>
              </a:cxn>
              <a:cxn ang="0">
                <a:pos x="connsiteX30614" y="connsiteY30614"/>
              </a:cxn>
              <a:cxn ang="0">
                <a:pos x="connsiteX30615" y="connsiteY30615"/>
              </a:cxn>
              <a:cxn ang="0">
                <a:pos x="connsiteX30616" y="connsiteY30616"/>
              </a:cxn>
              <a:cxn ang="0">
                <a:pos x="connsiteX30617" y="connsiteY30617"/>
              </a:cxn>
              <a:cxn ang="0">
                <a:pos x="connsiteX30618" y="connsiteY30618"/>
              </a:cxn>
              <a:cxn ang="0">
                <a:pos x="connsiteX30619" y="connsiteY30619"/>
              </a:cxn>
              <a:cxn ang="0">
                <a:pos x="connsiteX30620" y="connsiteY30620"/>
              </a:cxn>
              <a:cxn ang="0">
                <a:pos x="connsiteX30621" y="connsiteY30621"/>
              </a:cxn>
              <a:cxn ang="0">
                <a:pos x="connsiteX30622" y="connsiteY30622"/>
              </a:cxn>
              <a:cxn ang="0">
                <a:pos x="connsiteX30623" y="connsiteY30623"/>
              </a:cxn>
              <a:cxn ang="0">
                <a:pos x="connsiteX30624" y="connsiteY30624"/>
              </a:cxn>
              <a:cxn ang="0">
                <a:pos x="connsiteX30625" y="connsiteY30625"/>
              </a:cxn>
              <a:cxn ang="0">
                <a:pos x="connsiteX30626" y="connsiteY30626"/>
              </a:cxn>
              <a:cxn ang="0">
                <a:pos x="connsiteX30627" y="connsiteY30627"/>
              </a:cxn>
              <a:cxn ang="0">
                <a:pos x="connsiteX30628" y="connsiteY30628"/>
              </a:cxn>
              <a:cxn ang="0">
                <a:pos x="connsiteX30629" y="connsiteY30629"/>
              </a:cxn>
              <a:cxn ang="0">
                <a:pos x="connsiteX30630" y="connsiteY30630"/>
              </a:cxn>
              <a:cxn ang="0">
                <a:pos x="connsiteX30631" y="connsiteY30631"/>
              </a:cxn>
              <a:cxn ang="0">
                <a:pos x="connsiteX30632" y="connsiteY30632"/>
              </a:cxn>
              <a:cxn ang="0">
                <a:pos x="connsiteX30633" y="connsiteY30633"/>
              </a:cxn>
              <a:cxn ang="0">
                <a:pos x="connsiteX30634" y="connsiteY30634"/>
              </a:cxn>
              <a:cxn ang="0">
                <a:pos x="connsiteX30635" y="connsiteY30635"/>
              </a:cxn>
              <a:cxn ang="0">
                <a:pos x="connsiteX30636" y="connsiteY30636"/>
              </a:cxn>
              <a:cxn ang="0">
                <a:pos x="connsiteX30637" y="connsiteY30637"/>
              </a:cxn>
              <a:cxn ang="0">
                <a:pos x="connsiteX30638" y="connsiteY30638"/>
              </a:cxn>
              <a:cxn ang="0">
                <a:pos x="connsiteX30639" y="connsiteY30639"/>
              </a:cxn>
              <a:cxn ang="0">
                <a:pos x="connsiteX30640" y="connsiteY30640"/>
              </a:cxn>
              <a:cxn ang="0">
                <a:pos x="connsiteX30641" y="connsiteY30641"/>
              </a:cxn>
              <a:cxn ang="0">
                <a:pos x="connsiteX30642" y="connsiteY30642"/>
              </a:cxn>
              <a:cxn ang="0">
                <a:pos x="connsiteX30643" y="connsiteY30643"/>
              </a:cxn>
              <a:cxn ang="0">
                <a:pos x="connsiteX30644" y="connsiteY30644"/>
              </a:cxn>
              <a:cxn ang="0">
                <a:pos x="connsiteX30645" y="connsiteY30645"/>
              </a:cxn>
              <a:cxn ang="0">
                <a:pos x="connsiteX30646" y="connsiteY30646"/>
              </a:cxn>
              <a:cxn ang="0">
                <a:pos x="connsiteX30647" y="connsiteY30647"/>
              </a:cxn>
              <a:cxn ang="0">
                <a:pos x="connsiteX30648" y="connsiteY30648"/>
              </a:cxn>
              <a:cxn ang="0">
                <a:pos x="connsiteX30649" y="connsiteY30649"/>
              </a:cxn>
              <a:cxn ang="0">
                <a:pos x="connsiteX30650" y="connsiteY30650"/>
              </a:cxn>
              <a:cxn ang="0">
                <a:pos x="connsiteX30651" y="connsiteY30651"/>
              </a:cxn>
              <a:cxn ang="0">
                <a:pos x="connsiteX30652" y="connsiteY30652"/>
              </a:cxn>
              <a:cxn ang="0">
                <a:pos x="connsiteX30653" y="connsiteY30653"/>
              </a:cxn>
              <a:cxn ang="0">
                <a:pos x="connsiteX30654" y="connsiteY30654"/>
              </a:cxn>
              <a:cxn ang="0">
                <a:pos x="connsiteX30655" y="connsiteY30655"/>
              </a:cxn>
              <a:cxn ang="0">
                <a:pos x="connsiteX30656" y="connsiteY30656"/>
              </a:cxn>
              <a:cxn ang="0">
                <a:pos x="connsiteX30657" y="connsiteY30657"/>
              </a:cxn>
              <a:cxn ang="0">
                <a:pos x="connsiteX30658" y="connsiteY30658"/>
              </a:cxn>
              <a:cxn ang="0">
                <a:pos x="connsiteX30659" y="connsiteY30659"/>
              </a:cxn>
              <a:cxn ang="0">
                <a:pos x="connsiteX30660" y="connsiteY30660"/>
              </a:cxn>
              <a:cxn ang="0">
                <a:pos x="connsiteX30661" y="connsiteY30661"/>
              </a:cxn>
              <a:cxn ang="0">
                <a:pos x="connsiteX30662" y="connsiteY30662"/>
              </a:cxn>
              <a:cxn ang="0">
                <a:pos x="connsiteX30663" y="connsiteY30663"/>
              </a:cxn>
              <a:cxn ang="0">
                <a:pos x="connsiteX30664" y="connsiteY30664"/>
              </a:cxn>
              <a:cxn ang="0">
                <a:pos x="connsiteX30665" y="connsiteY30665"/>
              </a:cxn>
              <a:cxn ang="0">
                <a:pos x="connsiteX30666" y="connsiteY30666"/>
              </a:cxn>
              <a:cxn ang="0">
                <a:pos x="connsiteX30667" y="connsiteY30667"/>
              </a:cxn>
              <a:cxn ang="0">
                <a:pos x="connsiteX30668" y="connsiteY30668"/>
              </a:cxn>
              <a:cxn ang="0">
                <a:pos x="connsiteX30669" y="connsiteY30669"/>
              </a:cxn>
              <a:cxn ang="0">
                <a:pos x="connsiteX30670" y="connsiteY30670"/>
              </a:cxn>
              <a:cxn ang="0">
                <a:pos x="connsiteX30671" y="connsiteY30671"/>
              </a:cxn>
              <a:cxn ang="0">
                <a:pos x="connsiteX30672" y="connsiteY30672"/>
              </a:cxn>
              <a:cxn ang="0">
                <a:pos x="connsiteX30673" y="connsiteY30673"/>
              </a:cxn>
              <a:cxn ang="0">
                <a:pos x="connsiteX30674" y="connsiteY30674"/>
              </a:cxn>
              <a:cxn ang="0">
                <a:pos x="connsiteX30675" y="connsiteY30675"/>
              </a:cxn>
              <a:cxn ang="0">
                <a:pos x="connsiteX30676" y="connsiteY30676"/>
              </a:cxn>
              <a:cxn ang="0">
                <a:pos x="connsiteX30677" y="connsiteY30677"/>
              </a:cxn>
              <a:cxn ang="0">
                <a:pos x="connsiteX30678" y="connsiteY30678"/>
              </a:cxn>
              <a:cxn ang="0">
                <a:pos x="connsiteX30679" y="connsiteY30679"/>
              </a:cxn>
              <a:cxn ang="0">
                <a:pos x="connsiteX30680" y="connsiteY30680"/>
              </a:cxn>
              <a:cxn ang="0">
                <a:pos x="connsiteX30681" y="connsiteY30681"/>
              </a:cxn>
              <a:cxn ang="0">
                <a:pos x="connsiteX30682" y="connsiteY30682"/>
              </a:cxn>
              <a:cxn ang="0">
                <a:pos x="connsiteX30683" y="connsiteY30683"/>
              </a:cxn>
              <a:cxn ang="0">
                <a:pos x="connsiteX30684" y="connsiteY30684"/>
              </a:cxn>
              <a:cxn ang="0">
                <a:pos x="connsiteX30685" y="connsiteY30685"/>
              </a:cxn>
              <a:cxn ang="0">
                <a:pos x="connsiteX30686" y="connsiteY30686"/>
              </a:cxn>
              <a:cxn ang="0">
                <a:pos x="connsiteX30687" y="connsiteY30687"/>
              </a:cxn>
              <a:cxn ang="0">
                <a:pos x="connsiteX30688" y="connsiteY30688"/>
              </a:cxn>
              <a:cxn ang="0">
                <a:pos x="connsiteX30689" y="connsiteY30689"/>
              </a:cxn>
              <a:cxn ang="0">
                <a:pos x="connsiteX30690" y="connsiteY30690"/>
              </a:cxn>
              <a:cxn ang="0">
                <a:pos x="connsiteX30691" y="connsiteY30691"/>
              </a:cxn>
              <a:cxn ang="0">
                <a:pos x="connsiteX30692" y="connsiteY30692"/>
              </a:cxn>
              <a:cxn ang="0">
                <a:pos x="connsiteX30693" y="connsiteY30693"/>
              </a:cxn>
              <a:cxn ang="0">
                <a:pos x="connsiteX30694" y="connsiteY30694"/>
              </a:cxn>
              <a:cxn ang="0">
                <a:pos x="connsiteX30695" y="connsiteY30695"/>
              </a:cxn>
              <a:cxn ang="0">
                <a:pos x="connsiteX30696" y="connsiteY30696"/>
              </a:cxn>
              <a:cxn ang="0">
                <a:pos x="connsiteX30697" y="connsiteY30697"/>
              </a:cxn>
              <a:cxn ang="0">
                <a:pos x="connsiteX30698" y="connsiteY30698"/>
              </a:cxn>
              <a:cxn ang="0">
                <a:pos x="connsiteX30699" y="connsiteY30699"/>
              </a:cxn>
              <a:cxn ang="0">
                <a:pos x="connsiteX30700" y="connsiteY30700"/>
              </a:cxn>
              <a:cxn ang="0">
                <a:pos x="connsiteX30701" y="connsiteY30701"/>
              </a:cxn>
              <a:cxn ang="0">
                <a:pos x="connsiteX30702" y="connsiteY30702"/>
              </a:cxn>
              <a:cxn ang="0">
                <a:pos x="connsiteX30703" y="connsiteY30703"/>
              </a:cxn>
              <a:cxn ang="0">
                <a:pos x="connsiteX30704" y="connsiteY30704"/>
              </a:cxn>
              <a:cxn ang="0">
                <a:pos x="connsiteX30705" y="connsiteY30705"/>
              </a:cxn>
              <a:cxn ang="0">
                <a:pos x="connsiteX30706" y="connsiteY30706"/>
              </a:cxn>
              <a:cxn ang="0">
                <a:pos x="connsiteX30707" y="connsiteY30707"/>
              </a:cxn>
              <a:cxn ang="0">
                <a:pos x="connsiteX30708" y="connsiteY30708"/>
              </a:cxn>
              <a:cxn ang="0">
                <a:pos x="connsiteX30709" y="connsiteY30709"/>
              </a:cxn>
              <a:cxn ang="0">
                <a:pos x="connsiteX30710" y="connsiteY30710"/>
              </a:cxn>
              <a:cxn ang="0">
                <a:pos x="connsiteX30711" y="connsiteY30711"/>
              </a:cxn>
              <a:cxn ang="0">
                <a:pos x="connsiteX30712" y="connsiteY30712"/>
              </a:cxn>
              <a:cxn ang="0">
                <a:pos x="connsiteX30713" y="connsiteY30713"/>
              </a:cxn>
              <a:cxn ang="0">
                <a:pos x="connsiteX30714" y="connsiteY30714"/>
              </a:cxn>
              <a:cxn ang="0">
                <a:pos x="connsiteX30715" y="connsiteY30715"/>
              </a:cxn>
              <a:cxn ang="0">
                <a:pos x="connsiteX30716" y="connsiteY30716"/>
              </a:cxn>
              <a:cxn ang="0">
                <a:pos x="connsiteX30717" y="connsiteY30717"/>
              </a:cxn>
              <a:cxn ang="0">
                <a:pos x="connsiteX30718" y="connsiteY30718"/>
              </a:cxn>
              <a:cxn ang="0">
                <a:pos x="connsiteX30719" y="connsiteY30719"/>
              </a:cxn>
              <a:cxn ang="0">
                <a:pos x="connsiteX30720" y="connsiteY30720"/>
              </a:cxn>
              <a:cxn ang="0">
                <a:pos x="connsiteX30721" y="connsiteY30721"/>
              </a:cxn>
              <a:cxn ang="0">
                <a:pos x="connsiteX30722" y="connsiteY30722"/>
              </a:cxn>
              <a:cxn ang="0">
                <a:pos x="connsiteX30723" y="connsiteY30723"/>
              </a:cxn>
              <a:cxn ang="0">
                <a:pos x="connsiteX30724" y="connsiteY30724"/>
              </a:cxn>
              <a:cxn ang="0">
                <a:pos x="connsiteX30725" y="connsiteY30725"/>
              </a:cxn>
              <a:cxn ang="0">
                <a:pos x="connsiteX30726" y="connsiteY30726"/>
              </a:cxn>
              <a:cxn ang="0">
                <a:pos x="connsiteX30727" y="connsiteY30727"/>
              </a:cxn>
              <a:cxn ang="0">
                <a:pos x="connsiteX30728" y="connsiteY30728"/>
              </a:cxn>
              <a:cxn ang="0">
                <a:pos x="connsiteX30729" y="connsiteY30729"/>
              </a:cxn>
              <a:cxn ang="0">
                <a:pos x="connsiteX30730" y="connsiteY30730"/>
              </a:cxn>
              <a:cxn ang="0">
                <a:pos x="connsiteX30731" y="connsiteY30731"/>
              </a:cxn>
              <a:cxn ang="0">
                <a:pos x="connsiteX30732" y="connsiteY30732"/>
              </a:cxn>
              <a:cxn ang="0">
                <a:pos x="connsiteX30733" y="connsiteY30733"/>
              </a:cxn>
              <a:cxn ang="0">
                <a:pos x="connsiteX30734" y="connsiteY30734"/>
              </a:cxn>
              <a:cxn ang="0">
                <a:pos x="connsiteX30735" y="connsiteY30735"/>
              </a:cxn>
              <a:cxn ang="0">
                <a:pos x="connsiteX30736" y="connsiteY30736"/>
              </a:cxn>
              <a:cxn ang="0">
                <a:pos x="connsiteX30737" y="connsiteY30737"/>
              </a:cxn>
              <a:cxn ang="0">
                <a:pos x="connsiteX30738" y="connsiteY30738"/>
              </a:cxn>
              <a:cxn ang="0">
                <a:pos x="connsiteX30739" y="connsiteY30739"/>
              </a:cxn>
              <a:cxn ang="0">
                <a:pos x="connsiteX30740" y="connsiteY30740"/>
              </a:cxn>
              <a:cxn ang="0">
                <a:pos x="connsiteX30741" y="connsiteY30741"/>
              </a:cxn>
              <a:cxn ang="0">
                <a:pos x="connsiteX30742" y="connsiteY30742"/>
              </a:cxn>
              <a:cxn ang="0">
                <a:pos x="connsiteX30743" y="connsiteY30743"/>
              </a:cxn>
              <a:cxn ang="0">
                <a:pos x="connsiteX30744" y="connsiteY30744"/>
              </a:cxn>
              <a:cxn ang="0">
                <a:pos x="connsiteX30745" y="connsiteY30745"/>
              </a:cxn>
              <a:cxn ang="0">
                <a:pos x="connsiteX30746" y="connsiteY30746"/>
              </a:cxn>
              <a:cxn ang="0">
                <a:pos x="connsiteX30747" y="connsiteY30747"/>
              </a:cxn>
              <a:cxn ang="0">
                <a:pos x="connsiteX30748" y="connsiteY30748"/>
              </a:cxn>
              <a:cxn ang="0">
                <a:pos x="connsiteX30749" y="connsiteY30749"/>
              </a:cxn>
              <a:cxn ang="0">
                <a:pos x="connsiteX30750" y="connsiteY30750"/>
              </a:cxn>
              <a:cxn ang="0">
                <a:pos x="connsiteX30751" y="connsiteY30751"/>
              </a:cxn>
              <a:cxn ang="0">
                <a:pos x="connsiteX30752" y="connsiteY30752"/>
              </a:cxn>
              <a:cxn ang="0">
                <a:pos x="connsiteX30753" y="connsiteY30753"/>
              </a:cxn>
              <a:cxn ang="0">
                <a:pos x="connsiteX30754" y="connsiteY30754"/>
              </a:cxn>
              <a:cxn ang="0">
                <a:pos x="connsiteX30755" y="connsiteY30755"/>
              </a:cxn>
              <a:cxn ang="0">
                <a:pos x="connsiteX30756" y="connsiteY30756"/>
              </a:cxn>
              <a:cxn ang="0">
                <a:pos x="connsiteX30757" y="connsiteY30757"/>
              </a:cxn>
              <a:cxn ang="0">
                <a:pos x="connsiteX30758" y="connsiteY30758"/>
              </a:cxn>
              <a:cxn ang="0">
                <a:pos x="connsiteX30759" y="connsiteY30759"/>
              </a:cxn>
              <a:cxn ang="0">
                <a:pos x="connsiteX30760" y="connsiteY30760"/>
              </a:cxn>
              <a:cxn ang="0">
                <a:pos x="connsiteX30761" y="connsiteY30761"/>
              </a:cxn>
              <a:cxn ang="0">
                <a:pos x="connsiteX30762" y="connsiteY30762"/>
              </a:cxn>
              <a:cxn ang="0">
                <a:pos x="connsiteX30763" y="connsiteY30763"/>
              </a:cxn>
              <a:cxn ang="0">
                <a:pos x="connsiteX30764" y="connsiteY30764"/>
              </a:cxn>
              <a:cxn ang="0">
                <a:pos x="connsiteX30765" y="connsiteY30765"/>
              </a:cxn>
              <a:cxn ang="0">
                <a:pos x="connsiteX30766" y="connsiteY30766"/>
              </a:cxn>
              <a:cxn ang="0">
                <a:pos x="connsiteX30767" y="connsiteY30767"/>
              </a:cxn>
              <a:cxn ang="0">
                <a:pos x="connsiteX30768" y="connsiteY30768"/>
              </a:cxn>
              <a:cxn ang="0">
                <a:pos x="connsiteX30769" y="connsiteY30769"/>
              </a:cxn>
              <a:cxn ang="0">
                <a:pos x="connsiteX30770" y="connsiteY30770"/>
              </a:cxn>
              <a:cxn ang="0">
                <a:pos x="connsiteX30771" y="connsiteY30771"/>
              </a:cxn>
              <a:cxn ang="0">
                <a:pos x="connsiteX30772" y="connsiteY30772"/>
              </a:cxn>
              <a:cxn ang="0">
                <a:pos x="connsiteX30773" y="connsiteY30773"/>
              </a:cxn>
              <a:cxn ang="0">
                <a:pos x="connsiteX30774" y="connsiteY30774"/>
              </a:cxn>
              <a:cxn ang="0">
                <a:pos x="connsiteX30775" y="connsiteY30775"/>
              </a:cxn>
              <a:cxn ang="0">
                <a:pos x="connsiteX30776" y="connsiteY30776"/>
              </a:cxn>
              <a:cxn ang="0">
                <a:pos x="connsiteX30777" y="connsiteY30777"/>
              </a:cxn>
              <a:cxn ang="0">
                <a:pos x="connsiteX30778" y="connsiteY30778"/>
              </a:cxn>
              <a:cxn ang="0">
                <a:pos x="connsiteX30779" y="connsiteY30779"/>
              </a:cxn>
              <a:cxn ang="0">
                <a:pos x="connsiteX30780" y="connsiteY30780"/>
              </a:cxn>
              <a:cxn ang="0">
                <a:pos x="connsiteX30781" y="connsiteY30781"/>
              </a:cxn>
              <a:cxn ang="0">
                <a:pos x="connsiteX30782" y="connsiteY30782"/>
              </a:cxn>
              <a:cxn ang="0">
                <a:pos x="connsiteX30783" y="connsiteY30783"/>
              </a:cxn>
              <a:cxn ang="0">
                <a:pos x="connsiteX30784" y="connsiteY30784"/>
              </a:cxn>
              <a:cxn ang="0">
                <a:pos x="connsiteX30785" y="connsiteY30785"/>
              </a:cxn>
              <a:cxn ang="0">
                <a:pos x="connsiteX30786" y="connsiteY30786"/>
              </a:cxn>
              <a:cxn ang="0">
                <a:pos x="connsiteX30787" y="connsiteY30787"/>
              </a:cxn>
              <a:cxn ang="0">
                <a:pos x="connsiteX30788" y="connsiteY30788"/>
              </a:cxn>
              <a:cxn ang="0">
                <a:pos x="connsiteX30789" y="connsiteY30789"/>
              </a:cxn>
              <a:cxn ang="0">
                <a:pos x="connsiteX30790" y="connsiteY30790"/>
              </a:cxn>
              <a:cxn ang="0">
                <a:pos x="connsiteX30791" y="connsiteY30791"/>
              </a:cxn>
              <a:cxn ang="0">
                <a:pos x="connsiteX30792" y="connsiteY30792"/>
              </a:cxn>
              <a:cxn ang="0">
                <a:pos x="connsiteX30793" y="connsiteY30793"/>
              </a:cxn>
              <a:cxn ang="0">
                <a:pos x="connsiteX30794" y="connsiteY30794"/>
              </a:cxn>
              <a:cxn ang="0">
                <a:pos x="connsiteX30795" y="connsiteY30795"/>
              </a:cxn>
              <a:cxn ang="0">
                <a:pos x="connsiteX30796" y="connsiteY30796"/>
              </a:cxn>
              <a:cxn ang="0">
                <a:pos x="connsiteX30797" y="connsiteY30797"/>
              </a:cxn>
              <a:cxn ang="0">
                <a:pos x="connsiteX30798" y="connsiteY30798"/>
              </a:cxn>
              <a:cxn ang="0">
                <a:pos x="connsiteX30799" y="connsiteY30799"/>
              </a:cxn>
              <a:cxn ang="0">
                <a:pos x="connsiteX30800" y="connsiteY30800"/>
              </a:cxn>
              <a:cxn ang="0">
                <a:pos x="connsiteX30801" y="connsiteY30801"/>
              </a:cxn>
              <a:cxn ang="0">
                <a:pos x="connsiteX30802" y="connsiteY30802"/>
              </a:cxn>
              <a:cxn ang="0">
                <a:pos x="connsiteX30803" y="connsiteY30803"/>
              </a:cxn>
              <a:cxn ang="0">
                <a:pos x="connsiteX30804" y="connsiteY30804"/>
              </a:cxn>
              <a:cxn ang="0">
                <a:pos x="connsiteX30805" y="connsiteY30805"/>
              </a:cxn>
              <a:cxn ang="0">
                <a:pos x="connsiteX30806" y="connsiteY30806"/>
              </a:cxn>
              <a:cxn ang="0">
                <a:pos x="connsiteX30807" y="connsiteY30807"/>
              </a:cxn>
              <a:cxn ang="0">
                <a:pos x="connsiteX30808" y="connsiteY30808"/>
              </a:cxn>
              <a:cxn ang="0">
                <a:pos x="connsiteX30809" y="connsiteY30809"/>
              </a:cxn>
              <a:cxn ang="0">
                <a:pos x="connsiteX30810" y="connsiteY30810"/>
              </a:cxn>
              <a:cxn ang="0">
                <a:pos x="connsiteX30811" y="connsiteY30811"/>
              </a:cxn>
              <a:cxn ang="0">
                <a:pos x="connsiteX30812" y="connsiteY30812"/>
              </a:cxn>
              <a:cxn ang="0">
                <a:pos x="connsiteX30813" y="connsiteY30813"/>
              </a:cxn>
              <a:cxn ang="0">
                <a:pos x="connsiteX30814" y="connsiteY30814"/>
              </a:cxn>
              <a:cxn ang="0">
                <a:pos x="connsiteX30815" y="connsiteY30815"/>
              </a:cxn>
              <a:cxn ang="0">
                <a:pos x="connsiteX30816" y="connsiteY30816"/>
              </a:cxn>
              <a:cxn ang="0">
                <a:pos x="connsiteX30817" y="connsiteY30817"/>
              </a:cxn>
              <a:cxn ang="0">
                <a:pos x="connsiteX30818" y="connsiteY30818"/>
              </a:cxn>
              <a:cxn ang="0">
                <a:pos x="connsiteX30819" y="connsiteY30819"/>
              </a:cxn>
              <a:cxn ang="0">
                <a:pos x="connsiteX30820" y="connsiteY30820"/>
              </a:cxn>
              <a:cxn ang="0">
                <a:pos x="connsiteX30821" y="connsiteY30821"/>
              </a:cxn>
              <a:cxn ang="0">
                <a:pos x="connsiteX30822" y="connsiteY30822"/>
              </a:cxn>
              <a:cxn ang="0">
                <a:pos x="connsiteX30823" y="connsiteY30823"/>
              </a:cxn>
              <a:cxn ang="0">
                <a:pos x="connsiteX30824" y="connsiteY30824"/>
              </a:cxn>
              <a:cxn ang="0">
                <a:pos x="connsiteX30825" y="connsiteY30825"/>
              </a:cxn>
              <a:cxn ang="0">
                <a:pos x="connsiteX30826" y="connsiteY30826"/>
              </a:cxn>
              <a:cxn ang="0">
                <a:pos x="connsiteX30827" y="connsiteY30827"/>
              </a:cxn>
              <a:cxn ang="0">
                <a:pos x="connsiteX30828" y="connsiteY30828"/>
              </a:cxn>
              <a:cxn ang="0">
                <a:pos x="connsiteX30829" y="connsiteY30829"/>
              </a:cxn>
              <a:cxn ang="0">
                <a:pos x="connsiteX30830" y="connsiteY30830"/>
              </a:cxn>
              <a:cxn ang="0">
                <a:pos x="connsiteX30831" y="connsiteY30831"/>
              </a:cxn>
              <a:cxn ang="0">
                <a:pos x="connsiteX30832" y="connsiteY30832"/>
              </a:cxn>
              <a:cxn ang="0">
                <a:pos x="connsiteX30833" y="connsiteY30833"/>
              </a:cxn>
              <a:cxn ang="0">
                <a:pos x="connsiteX30834" y="connsiteY30834"/>
              </a:cxn>
              <a:cxn ang="0">
                <a:pos x="connsiteX30835" y="connsiteY30835"/>
              </a:cxn>
              <a:cxn ang="0">
                <a:pos x="connsiteX30836" y="connsiteY30836"/>
              </a:cxn>
              <a:cxn ang="0">
                <a:pos x="connsiteX30837" y="connsiteY30837"/>
              </a:cxn>
              <a:cxn ang="0">
                <a:pos x="connsiteX30838" y="connsiteY30838"/>
              </a:cxn>
              <a:cxn ang="0">
                <a:pos x="connsiteX30839" y="connsiteY30839"/>
              </a:cxn>
              <a:cxn ang="0">
                <a:pos x="connsiteX30840" y="connsiteY30840"/>
              </a:cxn>
              <a:cxn ang="0">
                <a:pos x="connsiteX30841" y="connsiteY30841"/>
              </a:cxn>
              <a:cxn ang="0">
                <a:pos x="connsiteX30842" y="connsiteY30842"/>
              </a:cxn>
              <a:cxn ang="0">
                <a:pos x="connsiteX30843" y="connsiteY30843"/>
              </a:cxn>
              <a:cxn ang="0">
                <a:pos x="connsiteX30844" y="connsiteY30844"/>
              </a:cxn>
              <a:cxn ang="0">
                <a:pos x="connsiteX30845" y="connsiteY30845"/>
              </a:cxn>
              <a:cxn ang="0">
                <a:pos x="connsiteX30846" y="connsiteY30846"/>
              </a:cxn>
              <a:cxn ang="0">
                <a:pos x="connsiteX30847" y="connsiteY30847"/>
              </a:cxn>
              <a:cxn ang="0">
                <a:pos x="connsiteX30848" y="connsiteY30848"/>
              </a:cxn>
              <a:cxn ang="0">
                <a:pos x="connsiteX30849" y="connsiteY30849"/>
              </a:cxn>
              <a:cxn ang="0">
                <a:pos x="connsiteX30850" y="connsiteY30850"/>
              </a:cxn>
              <a:cxn ang="0">
                <a:pos x="connsiteX30851" y="connsiteY30851"/>
              </a:cxn>
              <a:cxn ang="0">
                <a:pos x="connsiteX30852" y="connsiteY30852"/>
              </a:cxn>
              <a:cxn ang="0">
                <a:pos x="connsiteX30853" y="connsiteY30853"/>
              </a:cxn>
              <a:cxn ang="0">
                <a:pos x="connsiteX30854" y="connsiteY30854"/>
              </a:cxn>
              <a:cxn ang="0">
                <a:pos x="connsiteX30855" y="connsiteY30855"/>
              </a:cxn>
              <a:cxn ang="0">
                <a:pos x="connsiteX30856" y="connsiteY30856"/>
              </a:cxn>
              <a:cxn ang="0">
                <a:pos x="connsiteX30857" y="connsiteY30857"/>
              </a:cxn>
              <a:cxn ang="0">
                <a:pos x="connsiteX30858" y="connsiteY30858"/>
              </a:cxn>
              <a:cxn ang="0">
                <a:pos x="connsiteX30859" y="connsiteY30859"/>
              </a:cxn>
              <a:cxn ang="0">
                <a:pos x="connsiteX30860" y="connsiteY30860"/>
              </a:cxn>
              <a:cxn ang="0">
                <a:pos x="connsiteX30861" y="connsiteY30861"/>
              </a:cxn>
              <a:cxn ang="0">
                <a:pos x="connsiteX30862" y="connsiteY30862"/>
              </a:cxn>
              <a:cxn ang="0">
                <a:pos x="connsiteX30863" y="connsiteY30863"/>
              </a:cxn>
              <a:cxn ang="0">
                <a:pos x="connsiteX30864" y="connsiteY30864"/>
              </a:cxn>
              <a:cxn ang="0">
                <a:pos x="connsiteX30865" y="connsiteY30865"/>
              </a:cxn>
              <a:cxn ang="0">
                <a:pos x="connsiteX30866" y="connsiteY30866"/>
              </a:cxn>
              <a:cxn ang="0">
                <a:pos x="connsiteX30867" y="connsiteY30867"/>
              </a:cxn>
              <a:cxn ang="0">
                <a:pos x="connsiteX30868" y="connsiteY30868"/>
              </a:cxn>
              <a:cxn ang="0">
                <a:pos x="connsiteX30869" y="connsiteY30869"/>
              </a:cxn>
              <a:cxn ang="0">
                <a:pos x="connsiteX30870" y="connsiteY30870"/>
              </a:cxn>
              <a:cxn ang="0">
                <a:pos x="connsiteX30871" y="connsiteY30871"/>
              </a:cxn>
              <a:cxn ang="0">
                <a:pos x="connsiteX30872" y="connsiteY30872"/>
              </a:cxn>
              <a:cxn ang="0">
                <a:pos x="connsiteX30873" y="connsiteY30873"/>
              </a:cxn>
              <a:cxn ang="0">
                <a:pos x="connsiteX30874" y="connsiteY30874"/>
              </a:cxn>
              <a:cxn ang="0">
                <a:pos x="connsiteX30875" y="connsiteY30875"/>
              </a:cxn>
              <a:cxn ang="0">
                <a:pos x="connsiteX30876" y="connsiteY30876"/>
              </a:cxn>
              <a:cxn ang="0">
                <a:pos x="connsiteX30877" y="connsiteY30877"/>
              </a:cxn>
              <a:cxn ang="0">
                <a:pos x="connsiteX30878" y="connsiteY30878"/>
              </a:cxn>
              <a:cxn ang="0">
                <a:pos x="connsiteX30879" y="connsiteY30879"/>
              </a:cxn>
              <a:cxn ang="0">
                <a:pos x="connsiteX30880" y="connsiteY30880"/>
              </a:cxn>
              <a:cxn ang="0">
                <a:pos x="connsiteX30881" y="connsiteY30881"/>
              </a:cxn>
              <a:cxn ang="0">
                <a:pos x="connsiteX30882" y="connsiteY30882"/>
              </a:cxn>
              <a:cxn ang="0">
                <a:pos x="connsiteX30883" y="connsiteY30883"/>
              </a:cxn>
              <a:cxn ang="0">
                <a:pos x="connsiteX30884" y="connsiteY30884"/>
              </a:cxn>
              <a:cxn ang="0">
                <a:pos x="connsiteX30885" y="connsiteY30885"/>
              </a:cxn>
              <a:cxn ang="0">
                <a:pos x="connsiteX30886" y="connsiteY30886"/>
              </a:cxn>
              <a:cxn ang="0">
                <a:pos x="connsiteX30887" y="connsiteY30887"/>
              </a:cxn>
              <a:cxn ang="0">
                <a:pos x="connsiteX30888" y="connsiteY30888"/>
              </a:cxn>
              <a:cxn ang="0">
                <a:pos x="connsiteX30889" y="connsiteY30889"/>
              </a:cxn>
              <a:cxn ang="0">
                <a:pos x="connsiteX30890" y="connsiteY30890"/>
              </a:cxn>
              <a:cxn ang="0">
                <a:pos x="connsiteX30891" y="connsiteY30891"/>
              </a:cxn>
              <a:cxn ang="0">
                <a:pos x="connsiteX30892" y="connsiteY30892"/>
              </a:cxn>
              <a:cxn ang="0">
                <a:pos x="connsiteX30893" y="connsiteY30893"/>
              </a:cxn>
              <a:cxn ang="0">
                <a:pos x="connsiteX30894" y="connsiteY30894"/>
              </a:cxn>
              <a:cxn ang="0">
                <a:pos x="connsiteX30895" y="connsiteY30895"/>
              </a:cxn>
              <a:cxn ang="0">
                <a:pos x="connsiteX30896" y="connsiteY30896"/>
              </a:cxn>
              <a:cxn ang="0">
                <a:pos x="connsiteX30897" y="connsiteY30897"/>
              </a:cxn>
              <a:cxn ang="0">
                <a:pos x="connsiteX30898" y="connsiteY30898"/>
              </a:cxn>
              <a:cxn ang="0">
                <a:pos x="connsiteX30899" y="connsiteY30899"/>
              </a:cxn>
              <a:cxn ang="0">
                <a:pos x="connsiteX30900" y="connsiteY30900"/>
              </a:cxn>
              <a:cxn ang="0">
                <a:pos x="connsiteX30901" y="connsiteY30901"/>
              </a:cxn>
              <a:cxn ang="0">
                <a:pos x="connsiteX30902" y="connsiteY30902"/>
              </a:cxn>
              <a:cxn ang="0">
                <a:pos x="connsiteX30903" y="connsiteY30903"/>
              </a:cxn>
              <a:cxn ang="0">
                <a:pos x="connsiteX30904" y="connsiteY30904"/>
              </a:cxn>
              <a:cxn ang="0">
                <a:pos x="connsiteX30905" y="connsiteY30905"/>
              </a:cxn>
              <a:cxn ang="0">
                <a:pos x="connsiteX30906" y="connsiteY30906"/>
              </a:cxn>
              <a:cxn ang="0">
                <a:pos x="connsiteX30907" y="connsiteY30907"/>
              </a:cxn>
              <a:cxn ang="0">
                <a:pos x="connsiteX30908" y="connsiteY30908"/>
              </a:cxn>
              <a:cxn ang="0">
                <a:pos x="connsiteX30909" y="connsiteY30909"/>
              </a:cxn>
              <a:cxn ang="0">
                <a:pos x="connsiteX30910" y="connsiteY30910"/>
              </a:cxn>
              <a:cxn ang="0">
                <a:pos x="connsiteX30911" y="connsiteY30911"/>
              </a:cxn>
              <a:cxn ang="0">
                <a:pos x="connsiteX30912" y="connsiteY30912"/>
              </a:cxn>
              <a:cxn ang="0">
                <a:pos x="connsiteX30913" y="connsiteY30913"/>
              </a:cxn>
              <a:cxn ang="0">
                <a:pos x="connsiteX30914" y="connsiteY30914"/>
              </a:cxn>
              <a:cxn ang="0">
                <a:pos x="connsiteX30915" y="connsiteY30915"/>
              </a:cxn>
              <a:cxn ang="0">
                <a:pos x="connsiteX30916" y="connsiteY30916"/>
              </a:cxn>
              <a:cxn ang="0">
                <a:pos x="connsiteX30917" y="connsiteY30917"/>
              </a:cxn>
              <a:cxn ang="0">
                <a:pos x="connsiteX30918" y="connsiteY30918"/>
              </a:cxn>
              <a:cxn ang="0">
                <a:pos x="connsiteX30919" y="connsiteY30919"/>
              </a:cxn>
              <a:cxn ang="0">
                <a:pos x="connsiteX30920" y="connsiteY30920"/>
              </a:cxn>
              <a:cxn ang="0">
                <a:pos x="connsiteX30921" y="connsiteY30921"/>
              </a:cxn>
              <a:cxn ang="0">
                <a:pos x="connsiteX30922" y="connsiteY30922"/>
              </a:cxn>
              <a:cxn ang="0">
                <a:pos x="connsiteX30923" y="connsiteY30923"/>
              </a:cxn>
              <a:cxn ang="0">
                <a:pos x="connsiteX30924" y="connsiteY30924"/>
              </a:cxn>
              <a:cxn ang="0">
                <a:pos x="connsiteX30925" y="connsiteY30925"/>
              </a:cxn>
              <a:cxn ang="0">
                <a:pos x="connsiteX30926" y="connsiteY30926"/>
              </a:cxn>
              <a:cxn ang="0">
                <a:pos x="connsiteX30927" y="connsiteY30927"/>
              </a:cxn>
              <a:cxn ang="0">
                <a:pos x="connsiteX30928" y="connsiteY30928"/>
              </a:cxn>
              <a:cxn ang="0">
                <a:pos x="connsiteX30929" y="connsiteY30929"/>
              </a:cxn>
              <a:cxn ang="0">
                <a:pos x="connsiteX30930" y="connsiteY30930"/>
              </a:cxn>
              <a:cxn ang="0">
                <a:pos x="connsiteX30931" y="connsiteY30931"/>
              </a:cxn>
              <a:cxn ang="0">
                <a:pos x="connsiteX30932" y="connsiteY30932"/>
              </a:cxn>
              <a:cxn ang="0">
                <a:pos x="connsiteX30933" y="connsiteY30933"/>
              </a:cxn>
              <a:cxn ang="0">
                <a:pos x="connsiteX30934" y="connsiteY30934"/>
              </a:cxn>
              <a:cxn ang="0">
                <a:pos x="connsiteX30935" y="connsiteY30935"/>
              </a:cxn>
              <a:cxn ang="0">
                <a:pos x="connsiteX30936" y="connsiteY30936"/>
              </a:cxn>
              <a:cxn ang="0">
                <a:pos x="connsiteX30937" y="connsiteY30937"/>
              </a:cxn>
              <a:cxn ang="0">
                <a:pos x="connsiteX30938" y="connsiteY30938"/>
              </a:cxn>
              <a:cxn ang="0">
                <a:pos x="connsiteX30939" y="connsiteY30939"/>
              </a:cxn>
              <a:cxn ang="0">
                <a:pos x="connsiteX30940" y="connsiteY30940"/>
              </a:cxn>
              <a:cxn ang="0">
                <a:pos x="connsiteX30941" y="connsiteY30941"/>
              </a:cxn>
              <a:cxn ang="0">
                <a:pos x="connsiteX30942" y="connsiteY30942"/>
              </a:cxn>
              <a:cxn ang="0">
                <a:pos x="connsiteX30943" y="connsiteY30943"/>
              </a:cxn>
              <a:cxn ang="0">
                <a:pos x="connsiteX30944" y="connsiteY30944"/>
              </a:cxn>
              <a:cxn ang="0">
                <a:pos x="connsiteX30945" y="connsiteY30945"/>
              </a:cxn>
              <a:cxn ang="0">
                <a:pos x="connsiteX30946" y="connsiteY30946"/>
              </a:cxn>
              <a:cxn ang="0">
                <a:pos x="connsiteX30947" y="connsiteY30947"/>
              </a:cxn>
              <a:cxn ang="0">
                <a:pos x="connsiteX30948" y="connsiteY30948"/>
              </a:cxn>
              <a:cxn ang="0">
                <a:pos x="connsiteX30949" y="connsiteY30949"/>
              </a:cxn>
              <a:cxn ang="0">
                <a:pos x="connsiteX30950" y="connsiteY30950"/>
              </a:cxn>
              <a:cxn ang="0">
                <a:pos x="connsiteX30951" y="connsiteY30951"/>
              </a:cxn>
              <a:cxn ang="0">
                <a:pos x="connsiteX30952" y="connsiteY30952"/>
              </a:cxn>
              <a:cxn ang="0">
                <a:pos x="connsiteX30953" y="connsiteY30953"/>
              </a:cxn>
              <a:cxn ang="0">
                <a:pos x="connsiteX30954" y="connsiteY30954"/>
              </a:cxn>
              <a:cxn ang="0">
                <a:pos x="connsiteX30955" y="connsiteY30955"/>
              </a:cxn>
              <a:cxn ang="0">
                <a:pos x="connsiteX30956" y="connsiteY30956"/>
              </a:cxn>
              <a:cxn ang="0">
                <a:pos x="connsiteX30957" y="connsiteY30957"/>
              </a:cxn>
              <a:cxn ang="0">
                <a:pos x="connsiteX30958" y="connsiteY30958"/>
              </a:cxn>
              <a:cxn ang="0">
                <a:pos x="connsiteX30959" y="connsiteY30959"/>
              </a:cxn>
              <a:cxn ang="0">
                <a:pos x="connsiteX30960" y="connsiteY30960"/>
              </a:cxn>
              <a:cxn ang="0">
                <a:pos x="connsiteX30961" y="connsiteY30961"/>
              </a:cxn>
              <a:cxn ang="0">
                <a:pos x="connsiteX30962" y="connsiteY30962"/>
              </a:cxn>
              <a:cxn ang="0">
                <a:pos x="connsiteX30963" y="connsiteY30963"/>
              </a:cxn>
              <a:cxn ang="0">
                <a:pos x="connsiteX30964" y="connsiteY30964"/>
              </a:cxn>
              <a:cxn ang="0">
                <a:pos x="connsiteX30965" y="connsiteY30965"/>
              </a:cxn>
              <a:cxn ang="0">
                <a:pos x="connsiteX30966" y="connsiteY30966"/>
              </a:cxn>
              <a:cxn ang="0">
                <a:pos x="connsiteX30967" y="connsiteY30967"/>
              </a:cxn>
              <a:cxn ang="0">
                <a:pos x="connsiteX30968" y="connsiteY30968"/>
              </a:cxn>
              <a:cxn ang="0">
                <a:pos x="connsiteX30969" y="connsiteY30969"/>
              </a:cxn>
              <a:cxn ang="0">
                <a:pos x="connsiteX30970" y="connsiteY30970"/>
              </a:cxn>
              <a:cxn ang="0">
                <a:pos x="connsiteX30971" y="connsiteY30971"/>
              </a:cxn>
              <a:cxn ang="0">
                <a:pos x="connsiteX30972" y="connsiteY30972"/>
              </a:cxn>
              <a:cxn ang="0">
                <a:pos x="connsiteX30973" y="connsiteY30973"/>
              </a:cxn>
              <a:cxn ang="0">
                <a:pos x="connsiteX30974" y="connsiteY30974"/>
              </a:cxn>
              <a:cxn ang="0">
                <a:pos x="connsiteX30975" y="connsiteY30975"/>
              </a:cxn>
              <a:cxn ang="0">
                <a:pos x="connsiteX30976" y="connsiteY30976"/>
              </a:cxn>
              <a:cxn ang="0">
                <a:pos x="connsiteX30977" y="connsiteY30977"/>
              </a:cxn>
              <a:cxn ang="0">
                <a:pos x="connsiteX30978" y="connsiteY30978"/>
              </a:cxn>
              <a:cxn ang="0">
                <a:pos x="connsiteX30979" y="connsiteY30979"/>
              </a:cxn>
              <a:cxn ang="0">
                <a:pos x="connsiteX30980" y="connsiteY30980"/>
              </a:cxn>
              <a:cxn ang="0">
                <a:pos x="connsiteX30981" y="connsiteY30981"/>
              </a:cxn>
              <a:cxn ang="0">
                <a:pos x="connsiteX30982" y="connsiteY30982"/>
              </a:cxn>
              <a:cxn ang="0">
                <a:pos x="connsiteX30983" y="connsiteY30983"/>
              </a:cxn>
              <a:cxn ang="0">
                <a:pos x="connsiteX30984" y="connsiteY30984"/>
              </a:cxn>
              <a:cxn ang="0">
                <a:pos x="connsiteX30985" y="connsiteY30985"/>
              </a:cxn>
              <a:cxn ang="0">
                <a:pos x="connsiteX30986" y="connsiteY30986"/>
              </a:cxn>
              <a:cxn ang="0">
                <a:pos x="connsiteX30987" y="connsiteY30987"/>
              </a:cxn>
              <a:cxn ang="0">
                <a:pos x="connsiteX30988" y="connsiteY30988"/>
              </a:cxn>
              <a:cxn ang="0">
                <a:pos x="connsiteX30989" y="connsiteY30989"/>
              </a:cxn>
              <a:cxn ang="0">
                <a:pos x="connsiteX30990" y="connsiteY30990"/>
              </a:cxn>
              <a:cxn ang="0">
                <a:pos x="connsiteX30991" y="connsiteY30991"/>
              </a:cxn>
              <a:cxn ang="0">
                <a:pos x="connsiteX30992" y="connsiteY30992"/>
              </a:cxn>
              <a:cxn ang="0">
                <a:pos x="connsiteX30993" y="connsiteY30993"/>
              </a:cxn>
              <a:cxn ang="0">
                <a:pos x="connsiteX30994" y="connsiteY30994"/>
              </a:cxn>
              <a:cxn ang="0">
                <a:pos x="connsiteX30995" y="connsiteY30995"/>
              </a:cxn>
              <a:cxn ang="0">
                <a:pos x="connsiteX30996" y="connsiteY30996"/>
              </a:cxn>
              <a:cxn ang="0">
                <a:pos x="connsiteX30997" y="connsiteY30997"/>
              </a:cxn>
              <a:cxn ang="0">
                <a:pos x="connsiteX30998" y="connsiteY30998"/>
              </a:cxn>
              <a:cxn ang="0">
                <a:pos x="connsiteX30999" y="connsiteY30999"/>
              </a:cxn>
              <a:cxn ang="0">
                <a:pos x="connsiteX31000" y="connsiteY31000"/>
              </a:cxn>
              <a:cxn ang="0">
                <a:pos x="connsiteX31001" y="connsiteY31001"/>
              </a:cxn>
              <a:cxn ang="0">
                <a:pos x="connsiteX31002" y="connsiteY31002"/>
              </a:cxn>
              <a:cxn ang="0">
                <a:pos x="connsiteX31003" y="connsiteY31003"/>
              </a:cxn>
              <a:cxn ang="0">
                <a:pos x="connsiteX31004" y="connsiteY31004"/>
              </a:cxn>
              <a:cxn ang="0">
                <a:pos x="connsiteX31005" y="connsiteY31005"/>
              </a:cxn>
              <a:cxn ang="0">
                <a:pos x="connsiteX31006" y="connsiteY31006"/>
              </a:cxn>
              <a:cxn ang="0">
                <a:pos x="connsiteX31007" y="connsiteY31007"/>
              </a:cxn>
              <a:cxn ang="0">
                <a:pos x="connsiteX31008" y="connsiteY31008"/>
              </a:cxn>
              <a:cxn ang="0">
                <a:pos x="connsiteX31009" y="connsiteY31009"/>
              </a:cxn>
              <a:cxn ang="0">
                <a:pos x="connsiteX31010" y="connsiteY31010"/>
              </a:cxn>
              <a:cxn ang="0">
                <a:pos x="connsiteX31011" y="connsiteY31011"/>
              </a:cxn>
              <a:cxn ang="0">
                <a:pos x="connsiteX31012" y="connsiteY31012"/>
              </a:cxn>
              <a:cxn ang="0">
                <a:pos x="connsiteX31013" y="connsiteY31013"/>
              </a:cxn>
              <a:cxn ang="0">
                <a:pos x="connsiteX31014" y="connsiteY31014"/>
              </a:cxn>
              <a:cxn ang="0">
                <a:pos x="connsiteX31015" y="connsiteY31015"/>
              </a:cxn>
              <a:cxn ang="0">
                <a:pos x="connsiteX31016" y="connsiteY31016"/>
              </a:cxn>
              <a:cxn ang="0">
                <a:pos x="connsiteX31017" y="connsiteY31017"/>
              </a:cxn>
              <a:cxn ang="0">
                <a:pos x="connsiteX31018" y="connsiteY31018"/>
              </a:cxn>
              <a:cxn ang="0">
                <a:pos x="connsiteX31019" y="connsiteY31019"/>
              </a:cxn>
              <a:cxn ang="0">
                <a:pos x="connsiteX31020" y="connsiteY31020"/>
              </a:cxn>
              <a:cxn ang="0">
                <a:pos x="connsiteX31021" y="connsiteY31021"/>
              </a:cxn>
              <a:cxn ang="0">
                <a:pos x="connsiteX31022" y="connsiteY31022"/>
              </a:cxn>
              <a:cxn ang="0">
                <a:pos x="connsiteX31023" y="connsiteY31023"/>
              </a:cxn>
              <a:cxn ang="0">
                <a:pos x="connsiteX31024" y="connsiteY31024"/>
              </a:cxn>
              <a:cxn ang="0">
                <a:pos x="connsiteX31025" y="connsiteY31025"/>
              </a:cxn>
              <a:cxn ang="0">
                <a:pos x="connsiteX31026" y="connsiteY31026"/>
              </a:cxn>
              <a:cxn ang="0">
                <a:pos x="connsiteX31027" y="connsiteY31027"/>
              </a:cxn>
              <a:cxn ang="0">
                <a:pos x="connsiteX31028" y="connsiteY31028"/>
              </a:cxn>
              <a:cxn ang="0">
                <a:pos x="connsiteX31029" y="connsiteY31029"/>
              </a:cxn>
              <a:cxn ang="0">
                <a:pos x="connsiteX31030" y="connsiteY31030"/>
              </a:cxn>
              <a:cxn ang="0">
                <a:pos x="connsiteX31031" y="connsiteY31031"/>
              </a:cxn>
              <a:cxn ang="0">
                <a:pos x="connsiteX31032" y="connsiteY31032"/>
              </a:cxn>
              <a:cxn ang="0">
                <a:pos x="connsiteX31033" y="connsiteY31033"/>
              </a:cxn>
              <a:cxn ang="0">
                <a:pos x="connsiteX31034" y="connsiteY31034"/>
              </a:cxn>
              <a:cxn ang="0">
                <a:pos x="connsiteX31035" y="connsiteY31035"/>
              </a:cxn>
              <a:cxn ang="0">
                <a:pos x="connsiteX31036" y="connsiteY31036"/>
              </a:cxn>
              <a:cxn ang="0">
                <a:pos x="connsiteX31037" y="connsiteY31037"/>
              </a:cxn>
              <a:cxn ang="0">
                <a:pos x="connsiteX31038" y="connsiteY31038"/>
              </a:cxn>
              <a:cxn ang="0">
                <a:pos x="connsiteX31039" y="connsiteY31039"/>
              </a:cxn>
              <a:cxn ang="0">
                <a:pos x="connsiteX31040" y="connsiteY31040"/>
              </a:cxn>
              <a:cxn ang="0">
                <a:pos x="connsiteX31041" y="connsiteY31041"/>
              </a:cxn>
              <a:cxn ang="0">
                <a:pos x="connsiteX31042" y="connsiteY31042"/>
              </a:cxn>
              <a:cxn ang="0">
                <a:pos x="connsiteX31043" y="connsiteY31043"/>
              </a:cxn>
              <a:cxn ang="0">
                <a:pos x="connsiteX31044" y="connsiteY31044"/>
              </a:cxn>
              <a:cxn ang="0">
                <a:pos x="connsiteX31045" y="connsiteY31045"/>
              </a:cxn>
              <a:cxn ang="0">
                <a:pos x="connsiteX31046" y="connsiteY31046"/>
              </a:cxn>
              <a:cxn ang="0">
                <a:pos x="connsiteX31047" y="connsiteY31047"/>
              </a:cxn>
              <a:cxn ang="0">
                <a:pos x="connsiteX31048" y="connsiteY31048"/>
              </a:cxn>
              <a:cxn ang="0">
                <a:pos x="connsiteX31049" y="connsiteY31049"/>
              </a:cxn>
              <a:cxn ang="0">
                <a:pos x="connsiteX31050" y="connsiteY31050"/>
              </a:cxn>
              <a:cxn ang="0">
                <a:pos x="connsiteX31051" y="connsiteY31051"/>
              </a:cxn>
              <a:cxn ang="0">
                <a:pos x="connsiteX31052" y="connsiteY31052"/>
              </a:cxn>
              <a:cxn ang="0">
                <a:pos x="connsiteX31053" y="connsiteY31053"/>
              </a:cxn>
              <a:cxn ang="0">
                <a:pos x="connsiteX31054" y="connsiteY31054"/>
              </a:cxn>
              <a:cxn ang="0">
                <a:pos x="connsiteX31055" y="connsiteY31055"/>
              </a:cxn>
              <a:cxn ang="0">
                <a:pos x="connsiteX31056" y="connsiteY31056"/>
              </a:cxn>
              <a:cxn ang="0">
                <a:pos x="connsiteX31057" y="connsiteY31057"/>
              </a:cxn>
              <a:cxn ang="0">
                <a:pos x="connsiteX31058" y="connsiteY31058"/>
              </a:cxn>
              <a:cxn ang="0">
                <a:pos x="connsiteX31059" y="connsiteY31059"/>
              </a:cxn>
              <a:cxn ang="0">
                <a:pos x="connsiteX31060" y="connsiteY31060"/>
              </a:cxn>
              <a:cxn ang="0">
                <a:pos x="connsiteX31061" y="connsiteY31061"/>
              </a:cxn>
              <a:cxn ang="0">
                <a:pos x="connsiteX31062" y="connsiteY31062"/>
              </a:cxn>
              <a:cxn ang="0">
                <a:pos x="connsiteX31063" y="connsiteY31063"/>
              </a:cxn>
              <a:cxn ang="0">
                <a:pos x="connsiteX31064" y="connsiteY31064"/>
              </a:cxn>
              <a:cxn ang="0">
                <a:pos x="connsiteX31065" y="connsiteY31065"/>
              </a:cxn>
              <a:cxn ang="0">
                <a:pos x="connsiteX31066" y="connsiteY31066"/>
              </a:cxn>
              <a:cxn ang="0">
                <a:pos x="connsiteX31067" y="connsiteY31067"/>
              </a:cxn>
              <a:cxn ang="0">
                <a:pos x="connsiteX31068" y="connsiteY31068"/>
              </a:cxn>
              <a:cxn ang="0">
                <a:pos x="connsiteX31069" y="connsiteY31069"/>
              </a:cxn>
              <a:cxn ang="0">
                <a:pos x="connsiteX31070" y="connsiteY31070"/>
              </a:cxn>
              <a:cxn ang="0">
                <a:pos x="connsiteX31071" y="connsiteY31071"/>
              </a:cxn>
              <a:cxn ang="0">
                <a:pos x="connsiteX31072" y="connsiteY31072"/>
              </a:cxn>
              <a:cxn ang="0">
                <a:pos x="connsiteX31073" y="connsiteY31073"/>
              </a:cxn>
              <a:cxn ang="0">
                <a:pos x="connsiteX31074" y="connsiteY31074"/>
              </a:cxn>
              <a:cxn ang="0">
                <a:pos x="connsiteX31075" y="connsiteY31075"/>
              </a:cxn>
              <a:cxn ang="0">
                <a:pos x="connsiteX31076" y="connsiteY31076"/>
              </a:cxn>
              <a:cxn ang="0">
                <a:pos x="connsiteX31077" y="connsiteY31077"/>
              </a:cxn>
              <a:cxn ang="0">
                <a:pos x="connsiteX31078" y="connsiteY31078"/>
              </a:cxn>
              <a:cxn ang="0">
                <a:pos x="connsiteX31079" y="connsiteY31079"/>
              </a:cxn>
              <a:cxn ang="0">
                <a:pos x="connsiteX31080" y="connsiteY31080"/>
              </a:cxn>
              <a:cxn ang="0">
                <a:pos x="connsiteX31081" y="connsiteY31081"/>
              </a:cxn>
              <a:cxn ang="0">
                <a:pos x="connsiteX31082" y="connsiteY31082"/>
              </a:cxn>
              <a:cxn ang="0">
                <a:pos x="connsiteX31083" y="connsiteY31083"/>
              </a:cxn>
              <a:cxn ang="0">
                <a:pos x="connsiteX31084" y="connsiteY31084"/>
              </a:cxn>
              <a:cxn ang="0">
                <a:pos x="connsiteX31085" y="connsiteY31085"/>
              </a:cxn>
              <a:cxn ang="0">
                <a:pos x="connsiteX31086" y="connsiteY31086"/>
              </a:cxn>
              <a:cxn ang="0">
                <a:pos x="connsiteX31087" y="connsiteY31087"/>
              </a:cxn>
              <a:cxn ang="0">
                <a:pos x="connsiteX31088" y="connsiteY31088"/>
              </a:cxn>
              <a:cxn ang="0">
                <a:pos x="connsiteX31089" y="connsiteY31089"/>
              </a:cxn>
              <a:cxn ang="0">
                <a:pos x="connsiteX31090" y="connsiteY31090"/>
              </a:cxn>
              <a:cxn ang="0">
                <a:pos x="connsiteX31091" y="connsiteY31091"/>
              </a:cxn>
              <a:cxn ang="0">
                <a:pos x="connsiteX31092" y="connsiteY31092"/>
              </a:cxn>
              <a:cxn ang="0">
                <a:pos x="connsiteX31093" y="connsiteY31093"/>
              </a:cxn>
              <a:cxn ang="0">
                <a:pos x="connsiteX31094" y="connsiteY31094"/>
              </a:cxn>
              <a:cxn ang="0">
                <a:pos x="connsiteX31095" y="connsiteY31095"/>
              </a:cxn>
              <a:cxn ang="0">
                <a:pos x="connsiteX31096" y="connsiteY31096"/>
              </a:cxn>
              <a:cxn ang="0">
                <a:pos x="connsiteX31097" y="connsiteY31097"/>
              </a:cxn>
              <a:cxn ang="0">
                <a:pos x="connsiteX31098" y="connsiteY31098"/>
              </a:cxn>
              <a:cxn ang="0">
                <a:pos x="connsiteX31099" y="connsiteY31099"/>
              </a:cxn>
              <a:cxn ang="0">
                <a:pos x="connsiteX31100" y="connsiteY31100"/>
              </a:cxn>
              <a:cxn ang="0">
                <a:pos x="connsiteX31101" y="connsiteY31101"/>
              </a:cxn>
              <a:cxn ang="0">
                <a:pos x="connsiteX31102" y="connsiteY31102"/>
              </a:cxn>
              <a:cxn ang="0">
                <a:pos x="connsiteX31103" y="connsiteY31103"/>
              </a:cxn>
              <a:cxn ang="0">
                <a:pos x="connsiteX31104" y="connsiteY31104"/>
              </a:cxn>
              <a:cxn ang="0">
                <a:pos x="connsiteX31105" y="connsiteY31105"/>
              </a:cxn>
              <a:cxn ang="0">
                <a:pos x="connsiteX31106" y="connsiteY31106"/>
              </a:cxn>
              <a:cxn ang="0">
                <a:pos x="connsiteX31107" y="connsiteY31107"/>
              </a:cxn>
              <a:cxn ang="0">
                <a:pos x="connsiteX31108" y="connsiteY31108"/>
              </a:cxn>
              <a:cxn ang="0">
                <a:pos x="connsiteX31109" y="connsiteY31109"/>
              </a:cxn>
              <a:cxn ang="0">
                <a:pos x="connsiteX31110" y="connsiteY31110"/>
              </a:cxn>
              <a:cxn ang="0">
                <a:pos x="connsiteX31111" y="connsiteY31111"/>
              </a:cxn>
              <a:cxn ang="0">
                <a:pos x="connsiteX31112" y="connsiteY31112"/>
              </a:cxn>
              <a:cxn ang="0">
                <a:pos x="connsiteX31113" y="connsiteY31113"/>
              </a:cxn>
              <a:cxn ang="0">
                <a:pos x="connsiteX31114" y="connsiteY31114"/>
              </a:cxn>
              <a:cxn ang="0">
                <a:pos x="connsiteX31115" y="connsiteY31115"/>
              </a:cxn>
              <a:cxn ang="0">
                <a:pos x="connsiteX31116" y="connsiteY31116"/>
              </a:cxn>
              <a:cxn ang="0">
                <a:pos x="connsiteX31117" y="connsiteY31117"/>
              </a:cxn>
              <a:cxn ang="0">
                <a:pos x="connsiteX31118" y="connsiteY31118"/>
              </a:cxn>
              <a:cxn ang="0">
                <a:pos x="connsiteX31119" y="connsiteY31119"/>
              </a:cxn>
              <a:cxn ang="0">
                <a:pos x="connsiteX31120" y="connsiteY31120"/>
              </a:cxn>
              <a:cxn ang="0">
                <a:pos x="connsiteX31121" y="connsiteY31121"/>
              </a:cxn>
              <a:cxn ang="0">
                <a:pos x="connsiteX31122" y="connsiteY31122"/>
              </a:cxn>
              <a:cxn ang="0">
                <a:pos x="connsiteX31123" y="connsiteY31123"/>
              </a:cxn>
              <a:cxn ang="0">
                <a:pos x="connsiteX31124" y="connsiteY31124"/>
              </a:cxn>
              <a:cxn ang="0">
                <a:pos x="connsiteX31125" y="connsiteY31125"/>
              </a:cxn>
              <a:cxn ang="0">
                <a:pos x="connsiteX31126" y="connsiteY31126"/>
              </a:cxn>
              <a:cxn ang="0">
                <a:pos x="connsiteX31127" y="connsiteY31127"/>
              </a:cxn>
              <a:cxn ang="0">
                <a:pos x="connsiteX31128" y="connsiteY31128"/>
              </a:cxn>
              <a:cxn ang="0">
                <a:pos x="connsiteX31129" y="connsiteY31129"/>
              </a:cxn>
              <a:cxn ang="0">
                <a:pos x="connsiteX31130" y="connsiteY31130"/>
              </a:cxn>
              <a:cxn ang="0">
                <a:pos x="connsiteX31131" y="connsiteY31131"/>
              </a:cxn>
              <a:cxn ang="0">
                <a:pos x="connsiteX31132" y="connsiteY31132"/>
              </a:cxn>
              <a:cxn ang="0">
                <a:pos x="connsiteX31133" y="connsiteY31133"/>
              </a:cxn>
              <a:cxn ang="0">
                <a:pos x="connsiteX31134" y="connsiteY31134"/>
              </a:cxn>
              <a:cxn ang="0">
                <a:pos x="connsiteX31135" y="connsiteY31135"/>
              </a:cxn>
              <a:cxn ang="0">
                <a:pos x="connsiteX31136" y="connsiteY31136"/>
              </a:cxn>
              <a:cxn ang="0">
                <a:pos x="connsiteX31137" y="connsiteY31137"/>
              </a:cxn>
              <a:cxn ang="0">
                <a:pos x="connsiteX31138" y="connsiteY31138"/>
              </a:cxn>
              <a:cxn ang="0">
                <a:pos x="connsiteX31139" y="connsiteY31139"/>
              </a:cxn>
              <a:cxn ang="0">
                <a:pos x="connsiteX31140" y="connsiteY31140"/>
              </a:cxn>
              <a:cxn ang="0">
                <a:pos x="connsiteX31141" y="connsiteY31141"/>
              </a:cxn>
              <a:cxn ang="0">
                <a:pos x="connsiteX31142" y="connsiteY31142"/>
              </a:cxn>
              <a:cxn ang="0">
                <a:pos x="connsiteX31143" y="connsiteY31143"/>
              </a:cxn>
              <a:cxn ang="0">
                <a:pos x="connsiteX31144" y="connsiteY31144"/>
              </a:cxn>
              <a:cxn ang="0">
                <a:pos x="connsiteX31145" y="connsiteY31145"/>
              </a:cxn>
              <a:cxn ang="0">
                <a:pos x="connsiteX31146" y="connsiteY31146"/>
              </a:cxn>
              <a:cxn ang="0">
                <a:pos x="connsiteX31147" y="connsiteY31147"/>
              </a:cxn>
              <a:cxn ang="0">
                <a:pos x="connsiteX31148" y="connsiteY31148"/>
              </a:cxn>
              <a:cxn ang="0">
                <a:pos x="connsiteX31149" y="connsiteY31149"/>
              </a:cxn>
              <a:cxn ang="0">
                <a:pos x="connsiteX31150" y="connsiteY31150"/>
              </a:cxn>
              <a:cxn ang="0">
                <a:pos x="connsiteX31151" y="connsiteY31151"/>
              </a:cxn>
              <a:cxn ang="0">
                <a:pos x="connsiteX31152" y="connsiteY31152"/>
              </a:cxn>
              <a:cxn ang="0">
                <a:pos x="connsiteX31153" y="connsiteY31153"/>
              </a:cxn>
              <a:cxn ang="0">
                <a:pos x="connsiteX31154" y="connsiteY31154"/>
              </a:cxn>
              <a:cxn ang="0">
                <a:pos x="connsiteX31155" y="connsiteY31155"/>
              </a:cxn>
              <a:cxn ang="0">
                <a:pos x="connsiteX31156" y="connsiteY31156"/>
              </a:cxn>
              <a:cxn ang="0">
                <a:pos x="connsiteX31157" y="connsiteY31157"/>
              </a:cxn>
              <a:cxn ang="0">
                <a:pos x="connsiteX31158" y="connsiteY31158"/>
              </a:cxn>
              <a:cxn ang="0">
                <a:pos x="connsiteX31159" y="connsiteY31159"/>
              </a:cxn>
              <a:cxn ang="0">
                <a:pos x="connsiteX31160" y="connsiteY31160"/>
              </a:cxn>
              <a:cxn ang="0">
                <a:pos x="connsiteX31161" y="connsiteY31161"/>
              </a:cxn>
              <a:cxn ang="0">
                <a:pos x="connsiteX31162" y="connsiteY31162"/>
              </a:cxn>
              <a:cxn ang="0">
                <a:pos x="connsiteX31163" y="connsiteY31163"/>
              </a:cxn>
              <a:cxn ang="0">
                <a:pos x="connsiteX31164" y="connsiteY31164"/>
              </a:cxn>
              <a:cxn ang="0">
                <a:pos x="connsiteX31165" y="connsiteY31165"/>
              </a:cxn>
              <a:cxn ang="0">
                <a:pos x="connsiteX31166" y="connsiteY31166"/>
              </a:cxn>
              <a:cxn ang="0">
                <a:pos x="connsiteX31167" y="connsiteY31167"/>
              </a:cxn>
              <a:cxn ang="0">
                <a:pos x="connsiteX31168" y="connsiteY31168"/>
              </a:cxn>
              <a:cxn ang="0">
                <a:pos x="connsiteX31169" y="connsiteY31169"/>
              </a:cxn>
              <a:cxn ang="0">
                <a:pos x="connsiteX31170" y="connsiteY31170"/>
              </a:cxn>
              <a:cxn ang="0">
                <a:pos x="connsiteX31171" y="connsiteY31171"/>
              </a:cxn>
              <a:cxn ang="0">
                <a:pos x="connsiteX31172" y="connsiteY31172"/>
              </a:cxn>
              <a:cxn ang="0">
                <a:pos x="connsiteX31173" y="connsiteY31173"/>
              </a:cxn>
              <a:cxn ang="0">
                <a:pos x="connsiteX31174" y="connsiteY31174"/>
              </a:cxn>
              <a:cxn ang="0">
                <a:pos x="connsiteX31175" y="connsiteY31175"/>
              </a:cxn>
              <a:cxn ang="0">
                <a:pos x="connsiteX31176" y="connsiteY31176"/>
              </a:cxn>
              <a:cxn ang="0">
                <a:pos x="connsiteX31177" y="connsiteY31177"/>
              </a:cxn>
              <a:cxn ang="0">
                <a:pos x="connsiteX31178" y="connsiteY31178"/>
              </a:cxn>
              <a:cxn ang="0">
                <a:pos x="connsiteX31179" y="connsiteY31179"/>
              </a:cxn>
              <a:cxn ang="0">
                <a:pos x="connsiteX31180" y="connsiteY31180"/>
              </a:cxn>
              <a:cxn ang="0">
                <a:pos x="connsiteX31181" y="connsiteY31181"/>
              </a:cxn>
              <a:cxn ang="0">
                <a:pos x="connsiteX31182" y="connsiteY31182"/>
              </a:cxn>
              <a:cxn ang="0">
                <a:pos x="connsiteX31183" y="connsiteY31183"/>
              </a:cxn>
              <a:cxn ang="0">
                <a:pos x="connsiteX31184" y="connsiteY31184"/>
              </a:cxn>
              <a:cxn ang="0">
                <a:pos x="connsiteX31185" y="connsiteY31185"/>
              </a:cxn>
              <a:cxn ang="0">
                <a:pos x="connsiteX31186" y="connsiteY31186"/>
              </a:cxn>
              <a:cxn ang="0">
                <a:pos x="connsiteX31187" y="connsiteY31187"/>
              </a:cxn>
              <a:cxn ang="0">
                <a:pos x="connsiteX31188" y="connsiteY31188"/>
              </a:cxn>
              <a:cxn ang="0">
                <a:pos x="connsiteX31189" y="connsiteY31189"/>
              </a:cxn>
              <a:cxn ang="0">
                <a:pos x="connsiteX31190" y="connsiteY31190"/>
              </a:cxn>
              <a:cxn ang="0">
                <a:pos x="connsiteX31191" y="connsiteY31191"/>
              </a:cxn>
              <a:cxn ang="0">
                <a:pos x="connsiteX31192" y="connsiteY31192"/>
              </a:cxn>
              <a:cxn ang="0">
                <a:pos x="connsiteX31193" y="connsiteY31193"/>
              </a:cxn>
              <a:cxn ang="0">
                <a:pos x="connsiteX31194" y="connsiteY31194"/>
              </a:cxn>
              <a:cxn ang="0">
                <a:pos x="connsiteX31195" y="connsiteY31195"/>
              </a:cxn>
              <a:cxn ang="0">
                <a:pos x="connsiteX31196" y="connsiteY31196"/>
              </a:cxn>
              <a:cxn ang="0">
                <a:pos x="connsiteX31197" y="connsiteY31197"/>
              </a:cxn>
              <a:cxn ang="0">
                <a:pos x="connsiteX31198" y="connsiteY31198"/>
              </a:cxn>
              <a:cxn ang="0">
                <a:pos x="connsiteX31199" y="connsiteY31199"/>
              </a:cxn>
              <a:cxn ang="0">
                <a:pos x="connsiteX31200" y="connsiteY31200"/>
              </a:cxn>
              <a:cxn ang="0">
                <a:pos x="connsiteX31201" y="connsiteY31201"/>
              </a:cxn>
              <a:cxn ang="0">
                <a:pos x="connsiteX31202" y="connsiteY31202"/>
              </a:cxn>
              <a:cxn ang="0">
                <a:pos x="connsiteX31203" y="connsiteY31203"/>
              </a:cxn>
              <a:cxn ang="0">
                <a:pos x="connsiteX31204" y="connsiteY31204"/>
              </a:cxn>
              <a:cxn ang="0">
                <a:pos x="connsiteX31205" y="connsiteY31205"/>
              </a:cxn>
              <a:cxn ang="0">
                <a:pos x="connsiteX31206" y="connsiteY31206"/>
              </a:cxn>
              <a:cxn ang="0">
                <a:pos x="connsiteX31207" y="connsiteY31207"/>
              </a:cxn>
              <a:cxn ang="0">
                <a:pos x="connsiteX31208" y="connsiteY31208"/>
              </a:cxn>
              <a:cxn ang="0">
                <a:pos x="connsiteX31209" y="connsiteY31209"/>
              </a:cxn>
              <a:cxn ang="0">
                <a:pos x="connsiteX31210" y="connsiteY31210"/>
              </a:cxn>
              <a:cxn ang="0">
                <a:pos x="connsiteX31211" y="connsiteY31211"/>
              </a:cxn>
              <a:cxn ang="0">
                <a:pos x="connsiteX31212" y="connsiteY31212"/>
              </a:cxn>
              <a:cxn ang="0">
                <a:pos x="connsiteX31213" y="connsiteY31213"/>
              </a:cxn>
              <a:cxn ang="0">
                <a:pos x="connsiteX31214" y="connsiteY31214"/>
              </a:cxn>
              <a:cxn ang="0">
                <a:pos x="connsiteX31215" y="connsiteY31215"/>
              </a:cxn>
              <a:cxn ang="0">
                <a:pos x="connsiteX31216" y="connsiteY31216"/>
              </a:cxn>
              <a:cxn ang="0">
                <a:pos x="connsiteX31217" y="connsiteY31217"/>
              </a:cxn>
              <a:cxn ang="0">
                <a:pos x="connsiteX31218" y="connsiteY31218"/>
              </a:cxn>
              <a:cxn ang="0">
                <a:pos x="connsiteX31219" y="connsiteY31219"/>
              </a:cxn>
              <a:cxn ang="0">
                <a:pos x="connsiteX31220" y="connsiteY31220"/>
              </a:cxn>
              <a:cxn ang="0">
                <a:pos x="connsiteX31221" y="connsiteY31221"/>
              </a:cxn>
              <a:cxn ang="0">
                <a:pos x="connsiteX31222" y="connsiteY31222"/>
              </a:cxn>
              <a:cxn ang="0">
                <a:pos x="connsiteX31223" y="connsiteY31223"/>
              </a:cxn>
              <a:cxn ang="0">
                <a:pos x="connsiteX31224" y="connsiteY31224"/>
              </a:cxn>
              <a:cxn ang="0">
                <a:pos x="connsiteX31225" y="connsiteY31225"/>
              </a:cxn>
              <a:cxn ang="0">
                <a:pos x="connsiteX31226" y="connsiteY31226"/>
              </a:cxn>
              <a:cxn ang="0">
                <a:pos x="connsiteX31227" y="connsiteY31227"/>
              </a:cxn>
              <a:cxn ang="0">
                <a:pos x="connsiteX31228" y="connsiteY31228"/>
              </a:cxn>
              <a:cxn ang="0">
                <a:pos x="connsiteX31229" y="connsiteY31229"/>
              </a:cxn>
              <a:cxn ang="0">
                <a:pos x="connsiteX31230" y="connsiteY31230"/>
              </a:cxn>
              <a:cxn ang="0">
                <a:pos x="connsiteX31231" y="connsiteY31231"/>
              </a:cxn>
              <a:cxn ang="0">
                <a:pos x="connsiteX31232" y="connsiteY31232"/>
              </a:cxn>
              <a:cxn ang="0">
                <a:pos x="connsiteX31233" y="connsiteY31233"/>
              </a:cxn>
              <a:cxn ang="0">
                <a:pos x="connsiteX31234" y="connsiteY31234"/>
              </a:cxn>
              <a:cxn ang="0">
                <a:pos x="connsiteX31235" y="connsiteY31235"/>
              </a:cxn>
              <a:cxn ang="0">
                <a:pos x="connsiteX31236" y="connsiteY31236"/>
              </a:cxn>
              <a:cxn ang="0">
                <a:pos x="connsiteX31237" y="connsiteY31237"/>
              </a:cxn>
              <a:cxn ang="0">
                <a:pos x="connsiteX31238" y="connsiteY31238"/>
              </a:cxn>
              <a:cxn ang="0">
                <a:pos x="connsiteX31239" y="connsiteY31239"/>
              </a:cxn>
              <a:cxn ang="0">
                <a:pos x="connsiteX31240" y="connsiteY31240"/>
              </a:cxn>
              <a:cxn ang="0">
                <a:pos x="connsiteX31241" y="connsiteY31241"/>
              </a:cxn>
              <a:cxn ang="0">
                <a:pos x="connsiteX31242" y="connsiteY31242"/>
              </a:cxn>
              <a:cxn ang="0">
                <a:pos x="connsiteX31243" y="connsiteY31243"/>
              </a:cxn>
              <a:cxn ang="0">
                <a:pos x="connsiteX31244" y="connsiteY31244"/>
              </a:cxn>
              <a:cxn ang="0">
                <a:pos x="connsiteX31245" y="connsiteY31245"/>
              </a:cxn>
              <a:cxn ang="0">
                <a:pos x="connsiteX31246" y="connsiteY31246"/>
              </a:cxn>
              <a:cxn ang="0">
                <a:pos x="connsiteX31247" y="connsiteY31247"/>
              </a:cxn>
              <a:cxn ang="0">
                <a:pos x="connsiteX31248" y="connsiteY31248"/>
              </a:cxn>
              <a:cxn ang="0">
                <a:pos x="connsiteX31249" y="connsiteY31249"/>
              </a:cxn>
              <a:cxn ang="0">
                <a:pos x="connsiteX31250" y="connsiteY31250"/>
              </a:cxn>
              <a:cxn ang="0">
                <a:pos x="connsiteX31251" y="connsiteY31251"/>
              </a:cxn>
              <a:cxn ang="0">
                <a:pos x="connsiteX31252" y="connsiteY31252"/>
              </a:cxn>
              <a:cxn ang="0">
                <a:pos x="connsiteX31253" y="connsiteY31253"/>
              </a:cxn>
              <a:cxn ang="0">
                <a:pos x="connsiteX31254" y="connsiteY31254"/>
              </a:cxn>
              <a:cxn ang="0">
                <a:pos x="connsiteX31255" y="connsiteY31255"/>
              </a:cxn>
              <a:cxn ang="0">
                <a:pos x="connsiteX31256" y="connsiteY31256"/>
              </a:cxn>
              <a:cxn ang="0">
                <a:pos x="connsiteX31257" y="connsiteY31257"/>
              </a:cxn>
              <a:cxn ang="0">
                <a:pos x="connsiteX31258" y="connsiteY31258"/>
              </a:cxn>
              <a:cxn ang="0">
                <a:pos x="connsiteX31259" y="connsiteY31259"/>
              </a:cxn>
              <a:cxn ang="0">
                <a:pos x="connsiteX31260" y="connsiteY31260"/>
              </a:cxn>
              <a:cxn ang="0">
                <a:pos x="connsiteX31261" y="connsiteY31261"/>
              </a:cxn>
              <a:cxn ang="0">
                <a:pos x="connsiteX31262" y="connsiteY31262"/>
              </a:cxn>
              <a:cxn ang="0">
                <a:pos x="connsiteX31263" y="connsiteY31263"/>
              </a:cxn>
              <a:cxn ang="0">
                <a:pos x="connsiteX31264" y="connsiteY31264"/>
              </a:cxn>
              <a:cxn ang="0">
                <a:pos x="connsiteX31265" y="connsiteY31265"/>
              </a:cxn>
              <a:cxn ang="0">
                <a:pos x="connsiteX31266" y="connsiteY31266"/>
              </a:cxn>
              <a:cxn ang="0">
                <a:pos x="connsiteX31267" y="connsiteY31267"/>
              </a:cxn>
              <a:cxn ang="0">
                <a:pos x="connsiteX31268" y="connsiteY31268"/>
              </a:cxn>
              <a:cxn ang="0">
                <a:pos x="connsiteX31269" y="connsiteY31269"/>
              </a:cxn>
              <a:cxn ang="0">
                <a:pos x="connsiteX31270" y="connsiteY31270"/>
              </a:cxn>
              <a:cxn ang="0">
                <a:pos x="connsiteX31271" y="connsiteY31271"/>
              </a:cxn>
              <a:cxn ang="0">
                <a:pos x="connsiteX31272" y="connsiteY31272"/>
              </a:cxn>
              <a:cxn ang="0">
                <a:pos x="connsiteX31273" y="connsiteY31273"/>
              </a:cxn>
              <a:cxn ang="0">
                <a:pos x="connsiteX31274" y="connsiteY31274"/>
              </a:cxn>
              <a:cxn ang="0">
                <a:pos x="connsiteX31275" y="connsiteY31275"/>
              </a:cxn>
              <a:cxn ang="0">
                <a:pos x="connsiteX31276" y="connsiteY31276"/>
              </a:cxn>
              <a:cxn ang="0">
                <a:pos x="connsiteX31277" y="connsiteY31277"/>
              </a:cxn>
              <a:cxn ang="0">
                <a:pos x="connsiteX31278" y="connsiteY31278"/>
              </a:cxn>
              <a:cxn ang="0">
                <a:pos x="connsiteX31279" y="connsiteY31279"/>
              </a:cxn>
              <a:cxn ang="0">
                <a:pos x="connsiteX31280" y="connsiteY31280"/>
              </a:cxn>
              <a:cxn ang="0">
                <a:pos x="connsiteX31281" y="connsiteY31281"/>
              </a:cxn>
              <a:cxn ang="0">
                <a:pos x="connsiteX31282" y="connsiteY31282"/>
              </a:cxn>
              <a:cxn ang="0">
                <a:pos x="connsiteX31283" y="connsiteY31283"/>
              </a:cxn>
              <a:cxn ang="0">
                <a:pos x="connsiteX31284" y="connsiteY31284"/>
              </a:cxn>
              <a:cxn ang="0">
                <a:pos x="connsiteX31285" y="connsiteY31285"/>
              </a:cxn>
              <a:cxn ang="0">
                <a:pos x="connsiteX31286" y="connsiteY31286"/>
              </a:cxn>
              <a:cxn ang="0">
                <a:pos x="connsiteX31287" y="connsiteY31287"/>
              </a:cxn>
              <a:cxn ang="0">
                <a:pos x="connsiteX31288" y="connsiteY31288"/>
              </a:cxn>
              <a:cxn ang="0">
                <a:pos x="connsiteX31289" y="connsiteY31289"/>
              </a:cxn>
              <a:cxn ang="0">
                <a:pos x="connsiteX31290" y="connsiteY31290"/>
              </a:cxn>
              <a:cxn ang="0">
                <a:pos x="connsiteX31291" y="connsiteY31291"/>
              </a:cxn>
              <a:cxn ang="0">
                <a:pos x="connsiteX31292" y="connsiteY31292"/>
              </a:cxn>
              <a:cxn ang="0">
                <a:pos x="connsiteX31293" y="connsiteY31293"/>
              </a:cxn>
              <a:cxn ang="0">
                <a:pos x="connsiteX31294" y="connsiteY31294"/>
              </a:cxn>
              <a:cxn ang="0">
                <a:pos x="connsiteX31295" y="connsiteY31295"/>
              </a:cxn>
              <a:cxn ang="0">
                <a:pos x="connsiteX31296" y="connsiteY31296"/>
              </a:cxn>
              <a:cxn ang="0">
                <a:pos x="connsiteX31297" y="connsiteY31297"/>
              </a:cxn>
              <a:cxn ang="0">
                <a:pos x="connsiteX31298" y="connsiteY31298"/>
              </a:cxn>
              <a:cxn ang="0">
                <a:pos x="connsiteX31299" y="connsiteY31299"/>
              </a:cxn>
              <a:cxn ang="0">
                <a:pos x="connsiteX31300" y="connsiteY31300"/>
              </a:cxn>
              <a:cxn ang="0">
                <a:pos x="connsiteX31301" y="connsiteY31301"/>
              </a:cxn>
              <a:cxn ang="0">
                <a:pos x="connsiteX31302" y="connsiteY31302"/>
              </a:cxn>
              <a:cxn ang="0">
                <a:pos x="connsiteX31303" y="connsiteY31303"/>
              </a:cxn>
              <a:cxn ang="0">
                <a:pos x="connsiteX31304" y="connsiteY31304"/>
              </a:cxn>
              <a:cxn ang="0">
                <a:pos x="connsiteX31305" y="connsiteY31305"/>
              </a:cxn>
              <a:cxn ang="0">
                <a:pos x="connsiteX31306" y="connsiteY31306"/>
              </a:cxn>
              <a:cxn ang="0">
                <a:pos x="connsiteX31307" y="connsiteY31307"/>
              </a:cxn>
              <a:cxn ang="0">
                <a:pos x="connsiteX31308" y="connsiteY31308"/>
              </a:cxn>
              <a:cxn ang="0">
                <a:pos x="connsiteX31309" y="connsiteY31309"/>
              </a:cxn>
              <a:cxn ang="0">
                <a:pos x="connsiteX31310" y="connsiteY31310"/>
              </a:cxn>
              <a:cxn ang="0">
                <a:pos x="connsiteX31311" y="connsiteY31311"/>
              </a:cxn>
              <a:cxn ang="0">
                <a:pos x="connsiteX31312" y="connsiteY31312"/>
              </a:cxn>
              <a:cxn ang="0">
                <a:pos x="connsiteX31313" y="connsiteY31313"/>
              </a:cxn>
              <a:cxn ang="0">
                <a:pos x="connsiteX31314" y="connsiteY31314"/>
              </a:cxn>
              <a:cxn ang="0">
                <a:pos x="connsiteX31315" y="connsiteY31315"/>
              </a:cxn>
              <a:cxn ang="0">
                <a:pos x="connsiteX31316" y="connsiteY31316"/>
              </a:cxn>
              <a:cxn ang="0">
                <a:pos x="connsiteX31317" y="connsiteY31317"/>
              </a:cxn>
              <a:cxn ang="0">
                <a:pos x="connsiteX31318" y="connsiteY31318"/>
              </a:cxn>
              <a:cxn ang="0">
                <a:pos x="connsiteX31319" y="connsiteY31319"/>
              </a:cxn>
              <a:cxn ang="0">
                <a:pos x="connsiteX31320" y="connsiteY31320"/>
              </a:cxn>
              <a:cxn ang="0">
                <a:pos x="connsiteX31321" y="connsiteY31321"/>
              </a:cxn>
              <a:cxn ang="0">
                <a:pos x="connsiteX31322" y="connsiteY31322"/>
              </a:cxn>
              <a:cxn ang="0">
                <a:pos x="connsiteX31323" y="connsiteY31323"/>
              </a:cxn>
              <a:cxn ang="0">
                <a:pos x="connsiteX31324" y="connsiteY31324"/>
              </a:cxn>
              <a:cxn ang="0">
                <a:pos x="connsiteX31325" y="connsiteY31325"/>
              </a:cxn>
              <a:cxn ang="0">
                <a:pos x="connsiteX31326" y="connsiteY31326"/>
              </a:cxn>
              <a:cxn ang="0">
                <a:pos x="connsiteX31327" y="connsiteY31327"/>
              </a:cxn>
              <a:cxn ang="0">
                <a:pos x="connsiteX31328" y="connsiteY31328"/>
              </a:cxn>
              <a:cxn ang="0">
                <a:pos x="connsiteX31329" y="connsiteY31329"/>
              </a:cxn>
              <a:cxn ang="0">
                <a:pos x="connsiteX31330" y="connsiteY31330"/>
              </a:cxn>
              <a:cxn ang="0">
                <a:pos x="connsiteX31331" y="connsiteY31331"/>
              </a:cxn>
              <a:cxn ang="0">
                <a:pos x="connsiteX31332" y="connsiteY31332"/>
              </a:cxn>
              <a:cxn ang="0">
                <a:pos x="connsiteX31333" y="connsiteY31333"/>
              </a:cxn>
              <a:cxn ang="0">
                <a:pos x="connsiteX31334" y="connsiteY31334"/>
              </a:cxn>
              <a:cxn ang="0">
                <a:pos x="connsiteX31335" y="connsiteY31335"/>
              </a:cxn>
              <a:cxn ang="0">
                <a:pos x="connsiteX31336" y="connsiteY31336"/>
              </a:cxn>
              <a:cxn ang="0">
                <a:pos x="connsiteX31337" y="connsiteY31337"/>
              </a:cxn>
              <a:cxn ang="0">
                <a:pos x="connsiteX31338" y="connsiteY31338"/>
              </a:cxn>
              <a:cxn ang="0">
                <a:pos x="connsiteX31339" y="connsiteY31339"/>
              </a:cxn>
              <a:cxn ang="0">
                <a:pos x="connsiteX31340" y="connsiteY31340"/>
              </a:cxn>
              <a:cxn ang="0">
                <a:pos x="connsiteX31341" y="connsiteY31341"/>
              </a:cxn>
              <a:cxn ang="0">
                <a:pos x="connsiteX31342" y="connsiteY31342"/>
              </a:cxn>
              <a:cxn ang="0">
                <a:pos x="connsiteX31343" y="connsiteY31343"/>
              </a:cxn>
              <a:cxn ang="0">
                <a:pos x="connsiteX31344" y="connsiteY31344"/>
              </a:cxn>
              <a:cxn ang="0">
                <a:pos x="connsiteX31345" y="connsiteY31345"/>
              </a:cxn>
              <a:cxn ang="0">
                <a:pos x="connsiteX31346" y="connsiteY31346"/>
              </a:cxn>
              <a:cxn ang="0">
                <a:pos x="connsiteX31347" y="connsiteY31347"/>
              </a:cxn>
              <a:cxn ang="0">
                <a:pos x="connsiteX31348" y="connsiteY31348"/>
              </a:cxn>
              <a:cxn ang="0">
                <a:pos x="connsiteX31349" y="connsiteY31349"/>
              </a:cxn>
              <a:cxn ang="0">
                <a:pos x="connsiteX31350" y="connsiteY31350"/>
              </a:cxn>
              <a:cxn ang="0">
                <a:pos x="connsiteX31351" y="connsiteY31351"/>
              </a:cxn>
              <a:cxn ang="0">
                <a:pos x="connsiteX31352" y="connsiteY31352"/>
              </a:cxn>
              <a:cxn ang="0">
                <a:pos x="connsiteX31353" y="connsiteY31353"/>
              </a:cxn>
              <a:cxn ang="0">
                <a:pos x="connsiteX31354" y="connsiteY31354"/>
              </a:cxn>
              <a:cxn ang="0">
                <a:pos x="connsiteX31355" y="connsiteY31355"/>
              </a:cxn>
              <a:cxn ang="0">
                <a:pos x="connsiteX31356" y="connsiteY31356"/>
              </a:cxn>
              <a:cxn ang="0">
                <a:pos x="connsiteX31357" y="connsiteY31357"/>
              </a:cxn>
              <a:cxn ang="0">
                <a:pos x="connsiteX31358" y="connsiteY31358"/>
              </a:cxn>
              <a:cxn ang="0">
                <a:pos x="connsiteX31359" y="connsiteY31359"/>
              </a:cxn>
              <a:cxn ang="0">
                <a:pos x="connsiteX31360" y="connsiteY31360"/>
              </a:cxn>
              <a:cxn ang="0">
                <a:pos x="connsiteX31361" y="connsiteY31361"/>
              </a:cxn>
              <a:cxn ang="0">
                <a:pos x="connsiteX31362" y="connsiteY31362"/>
              </a:cxn>
              <a:cxn ang="0">
                <a:pos x="connsiteX31363" y="connsiteY31363"/>
              </a:cxn>
              <a:cxn ang="0">
                <a:pos x="connsiteX31364" y="connsiteY31364"/>
              </a:cxn>
              <a:cxn ang="0">
                <a:pos x="connsiteX31365" y="connsiteY31365"/>
              </a:cxn>
              <a:cxn ang="0">
                <a:pos x="connsiteX31366" y="connsiteY31366"/>
              </a:cxn>
              <a:cxn ang="0">
                <a:pos x="connsiteX31367" y="connsiteY31367"/>
              </a:cxn>
              <a:cxn ang="0">
                <a:pos x="connsiteX31368" y="connsiteY31368"/>
              </a:cxn>
              <a:cxn ang="0">
                <a:pos x="connsiteX31369" y="connsiteY31369"/>
              </a:cxn>
              <a:cxn ang="0">
                <a:pos x="connsiteX31370" y="connsiteY31370"/>
              </a:cxn>
              <a:cxn ang="0">
                <a:pos x="connsiteX31371" y="connsiteY31371"/>
              </a:cxn>
              <a:cxn ang="0">
                <a:pos x="connsiteX31372" y="connsiteY31372"/>
              </a:cxn>
              <a:cxn ang="0">
                <a:pos x="connsiteX31373" y="connsiteY31373"/>
              </a:cxn>
              <a:cxn ang="0">
                <a:pos x="connsiteX31374" y="connsiteY31374"/>
              </a:cxn>
              <a:cxn ang="0">
                <a:pos x="connsiteX31375" y="connsiteY31375"/>
              </a:cxn>
              <a:cxn ang="0">
                <a:pos x="connsiteX31376" y="connsiteY31376"/>
              </a:cxn>
              <a:cxn ang="0">
                <a:pos x="connsiteX31377" y="connsiteY31377"/>
              </a:cxn>
              <a:cxn ang="0">
                <a:pos x="connsiteX31378" y="connsiteY31378"/>
              </a:cxn>
              <a:cxn ang="0">
                <a:pos x="connsiteX31379" y="connsiteY31379"/>
              </a:cxn>
              <a:cxn ang="0">
                <a:pos x="connsiteX31380" y="connsiteY31380"/>
              </a:cxn>
              <a:cxn ang="0">
                <a:pos x="connsiteX31381" y="connsiteY31381"/>
              </a:cxn>
              <a:cxn ang="0">
                <a:pos x="connsiteX31382" y="connsiteY31382"/>
              </a:cxn>
              <a:cxn ang="0">
                <a:pos x="connsiteX31383" y="connsiteY31383"/>
              </a:cxn>
              <a:cxn ang="0">
                <a:pos x="connsiteX31384" y="connsiteY31384"/>
              </a:cxn>
              <a:cxn ang="0">
                <a:pos x="connsiteX31385" y="connsiteY31385"/>
              </a:cxn>
              <a:cxn ang="0">
                <a:pos x="connsiteX31386" y="connsiteY31386"/>
              </a:cxn>
              <a:cxn ang="0">
                <a:pos x="connsiteX31387" y="connsiteY31387"/>
              </a:cxn>
              <a:cxn ang="0">
                <a:pos x="connsiteX31388" y="connsiteY31388"/>
              </a:cxn>
              <a:cxn ang="0">
                <a:pos x="connsiteX31389" y="connsiteY31389"/>
              </a:cxn>
              <a:cxn ang="0">
                <a:pos x="connsiteX31390" y="connsiteY31390"/>
              </a:cxn>
              <a:cxn ang="0">
                <a:pos x="connsiteX31391" y="connsiteY31391"/>
              </a:cxn>
              <a:cxn ang="0">
                <a:pos x="connsiteX31392" y="connsiteY31392"/>
              </a:cxn>
              <a:cxn ang="0">
                <a:pos x="connsiteX31393" y="connsiteY31393"/>
              </a:cxn>
              <a:cxn ang="0">
                <a:pos x="connsiteX31394" y="connsiteY31394"/>
              </a:cxn>
              <a:cxn ang="0">
                <a:pos x="connsiteX31395" y="connsiteY31395"/>
              </a:cxn>
              <a:cxn ang="0">
                <a:pos x="connsiteX31396" y="connsiteY31396"/>
              </a:cxn>
              <a:cxn ang="0">
                <a:pos x="connsiteX31397" y="connsiteY31397"/>
              </a:cxn>
              <a:cxn ang="0">
                <a:pos x="connsiteX31398" y="connsiteY31398"/>
              </a:cxn>
              <a:cxn ang="0">
                <a:pos x="connsiteX31399" y="connsiteY31399"/>
              </a:cxn>
              <a:cxn ang="0">
                <a:pos x="connsiteX31400" y="connsiteY31400"/>
              </a:cxn>
              <a:cxn ang="0">
                <a:pos x="connsiteX31401" y="connsiteY31401"/>
              </a:cxn>
              <a:cxn ang="0">
                <a:pos x="connsiteX31402" y="connsiteY31402"/>
              </a:cxn>
              <a:cxn ang="0">
                <a:pos x="connsiteX31403" y="connsiteY31403"/>
              </a:cxn>
              <a:cxn ang="0">
                <a:pos x="connsiteX31404" y="connsiteY31404"/>
              </a:cxn>
              <a:cxn ang="0">
                <a:pos x="connsiteX31405" y="connsiteY31405"/>
              </a:cxn>
              <a:cxn ang="0">
                <a:pos x="connsiteX31406" y="connsiteY31406"/>
              </a:cxn>
              <a:cxn ang="0">
                <a:pos x="connsiteX31407" y="connsiteY31407"/>
              </a:cxn>
              <a:cxn ang="0">
                <a:pos x="connsiteX31408" y="connsiteY31408"/>
              </a:cxn>
              <a:cxn ang="0">
                <a:pos x="connsiteX31409" y="connsiteY31409"/>
              </a:cxn>
              <a:cxn ang="0">
                <a:pos x="connsiteX31410" y="connsiteY31410"/>
              </a:cxn>
              <a:cxn ang="0">
                <a:pos x="connsiteX31411" y="connsiteY31411"/>
              </a:cxn>
              <a:cxn ang="0">
                <a:pos x="connsiteX31412" y="connsiteY31412"/>
              </a:cxn>
              <a:cxn ang="0">
                <a:pos x="connsiteX31413" y="connsiteY31413"/>
              </a:cxn>
              <a:cxn ang="0">
                <a:pos x="connsiteX31414" y="connsiteY31414"/>
              </a:cxn>
              <a:cxn ang="0">
                <a:pos x="connsiteX31415" y="connsiteY31415"/>
              </a:cxn>
              <a:cxn ang="0">
                <a:pos x="connsiteX31416" y="connsiteY31416"/>
              </a:cxn>
              <a:cxn ang="0">
                <a:pos x="connsiteX31417" y="connsiteY31417"/>
              </a:cxn>
              <a:cxn ang="0">
                <a:pos x="connsiteX31418" y="connsiteY31418"/>
              </a:cxn>
              <a:cxn ang="0">
                <a:pos x="connsiteX31419" y="connsiteY31419"/>
              </a:cxn>
              <a:cxn ang="0">
                <a:pos x="connsiteX31420" y="connsiteY31420"/>
              </a:cxn>
              <a:cxn ang="0">
                <a:pos x="connsiteX31421" y="connsiteY31421"/>
              </a:cxn>
              <a:cxn ang="0">
                <a:pos x="connsiteX31422" y="connsiteY31422"/>
              </a:cxn>
              <a:cxn ang="0">
                <a:pos x="connsiteX31423" y="connsiteY31423"/>
              </a:cxn>
              <a:cxn ang="0">
                <a:pos x="connsiteX31424" y="connsiteY31424"/>
              </a:cxn>
              <a:cxn ang="0">
                <a:pos x="connsiteX31425" y="connsiteY31425"/>
              </a:cxn>
              <a:cxn ang="0">
                <a:pos x="connsiteX31426" y="connsiteY31426"/>
              </a:cxn>
              <a:cxn ang="0">
                <a:pos x="connsiteX31427" y="connsiteY31427"/>
              </a:cxn>
              <a:cxn ang="0">
                <a:pos x="connsiteX31428" y="connsiteY31428"/>
              </a:cxn>
              <a:cxn ang="0">
                <a:pos x="connsiteX31429" y="connsiteY31429"/>
              </a:cxn>
              <a:cxn ang="0">
                <a:pos x="connsiteX31430" y="connsiteY31430"/>
              </a:cxn>
              <a:cxn ang="0">
                <a:pos x="connsiteX31431" y="connsiteY31431"/>
              </a:cxn>
              <a:cxn ang="0">
                <a:pos x="connsiteX31432" y="connsiteY31432"/>
              </a:cxn>
              <a:cxn ang="0">
                <a:pos x="connsiteX31433" y="connsiteY31433"/>
              </a:cxn>
              <a:cxn ang="0">
                <a:pos x="connsiteX31434" y="connsiteY31434"/>
              </a:cxn>
              <a:cxn ang="0">
                <a:pos x="connsiteX31435" y="connsiteY31435"/>
              </a:cxn>
              <a:cxn ang="0">
                <a:pos x="connsiteX31436" y="connsiteY31436"/>
              </a:cxn>
              <a:cxn ang="0">
                <a:pos x="connsiteX31437" y="connsiteY31437"/>
              </a:cxn>
              <a:cxn ang="0">
                <a:pos x="connsiteX31438" y="connsiteY31438"/>
              </a:cxn>
              <a:cxn ang="0">
                <a:pos x="connsiteX31439" y="connsiteY31439"/>
              </a:cxn>
              <a:cxn ang="0">
                <a:pos x="connsiteX31440" y="connsiteY31440"/>
              </a:cxn>
              <a:cxn ang="0">
                <a:pos x="connsiteX31441" y="connsiteY31441"/>
              </a:cxn>
              <a:cxn ang="0">
                <a:pos x="connsiteX31442" y="connsiteY31442"/>
              </a:cxn>
              <a:cxn ang="0">
                <a:pos x="connsiteX31443" y="connsiteY31443"/>
              </a:cxn>
              <a:cxn ang="0">
                <a:pos x="connsiteX31444" y="connsiteY31444"/>
              </a:cxn>
              <a:cxn ang="0">
                <a:pos x="connsiteX31445" y="connsiteY31445"/>
              </a:cxn>
              <a:cxn ang="0">
                <a:pos x="connsiteX31446" y="connsiteY31446"/>
              </a:cxn>
              <a:cxn ang="0">
                <a:pos x="connsiteX31447" y="connsiteY31447"/>
              </a:cxn>
              <a:cxn ang="0">
                <a:pos x="connsiteX31448" y="connsiteY31448"/>
              </a:cxn>
              <a:cxn ang="0">
                <a:pos x="connsiteX31449" y="connsiteY31449"/>
              </a:cxn>
              <a:cxn ang="0">
                <a:pos x="connsiteX31450" y="connsiteY31450"/>
              </a:cxn>
              <a:cxn ang="0">
                <a:pos x="connsiteX31451" y="connsiteY31451"/>
              </a:cxn>
              <a:cxn ang="0">
                <a:pos x="connsiteX31452" y="connsiteY31452"/>
              </a:cxn>
              <a:cxn ang="0">
                <a:pos x="connsiteX31453" y="connsiteY31453"/>
              </a:cxn>
              <a:cxn ang="0">
                <a:pos x="connsiteX31454" y="connsiteY31454"/>
              </a:cxn>
              <a:cxn ang="0">
                <a:pos x="connsiteX31455" y="connsiteY31455"/>
              </a:cxn>
              <a:cxn ang="0">
                <a:pos x="connsiteX31456" y="connsiteY31456"/>
              </a:cxn>
              <a:cxn ang="0">
                <a:pos x="connsiteX31457" y="connsiteY31457"/>
              </a:cxn>
              <a:cxn ang="0">
                <a:pos x="connsiteX31458" y="connsiteY31458"/>
              </a:cxn>
              <a:cxn ang="0">
                <a:pos x="connsiteX31459" y="connsiteY31459"/>
              </a:cxn>
              <a:cxn ang="0">
                <a:pos x="connsiteX31460" y="connsiteY31460"/>
              </a:cxn>
              <a:cxn ang="0">
                <a:pos x="connsiteX31461" y="connsiteY31461"/>
              </a:cxn>
              <a:cxn ang="0">
                <a:pos x="connsiteX31462" y="connsiteY31462"/>
              </a:cxn>
              <a:cxn ang="0">
                <a:pos x="connsiteX31463" y="connsiteY31463"/>
              </a:cxn>
              <a:cxn ang="0">
                <a:pos x="connsiteX31464" y="connsiteY31464"/>
              </a:cxn>
              <a:cxn ang="0">
                <a:pos x="connsiteX31465" y="connsiteY31465"/>
              </a:cxn>
              <a:cxn ang="0">
                <a:pos x="connsiteX31466" y="connsiteY31466"/>
              </a:cxn>
              <a:cxn ang="0">
                <a:pos x="connsiteX31467" y="connsiteY31467"/>
              </a:cxn>
              <a:cxn ang="0">
                <a:pos x="connsiteX31468" y="connsiteY31468"/>
              </a:cxn>
              <a:cxn ang="0">
                <a:pos x="connsiteX31469" y="connsiteY31469"/>
              </a:cxn>
              <a:cxn ang="0">
                <a:pos x="connsiteX31470" y="connsiteY31470"/>
              </a:cxn>
              <a:cxn ang="0">
                <a:pos x="connsiteX31471" y="connsiteY31471"/>
              </a:cxn>
              <a:cxn ang="0">
                <a:pos x="connsiteX31472" y="connsiteY31472"/>
              </a:cxn>
              <a:cxn ang="0">
                <a:pos x="connsiteX31473" y="connsiteY31473"/>
              </a:cxn>
              <a:cxn ang="0">
                <a:pos x="connsiteX31474" y="connsiteY31474"/>
              </a:cxn>
              <a:cxn ang="0">
                <a:pos x="connsiteX31475" y="connsiteY31475"/>
              </a:cxn>
              <a:cxn ang="0">
                <a:pos x="connsiteX31476" y="connsiteY31476"/>
              </a:cxn>
              <a:cxn ang="0">
                <a:pos x="connsiteX31477" y="connsiteY31477"/>
              </a:cxn>
              <a:cxn ang="0">
                <a:pos x="connsiteX31478" y="connsiteY31478"/>
              </a:cxn>
              <a:cxn ang="0">
                <a:pos x="connsiteX31479" y="connsiteY31479"/>
              </a:cxn>
              <a:cxn ang="0">
                <a:pos x="connsiteX31480" y="connsiteY31480"/>
              </a:cxn>
              <a:cxn ang="0">
                <a:pos x="connsiteX31481" y="connsiteY31481"/>
              </a:cxn>
              <a:cxn ang="0">
                <a:pos x="connsiteX31482" y="connsiteY31482"/>
              </a:cxn>
              <a:cxn ang="0">
                <a:pos x="connsiteX31483" y="connsiteY31483"/>
              </a:cxn>
              <a:cxn ang="0">
                <a:pos x="connsiteX31484" y="connsiteY31484"/>
              </a:cxn>
              <a:cxn ang="0">
                <a:pos x="connsiteX31485" y="connsiteY31485"/>
              </a:cxn>
              <a:cxn ang="0">
                <a:pos x="connsiteX31486" y="connsiteY31486"/>
              </a:cxn>
              <a:cxn ang="0">
                <a:pos x="connsiteX31487" y="connsiteY31487"/>
              </a:cxn>
              <a:cxn ang="0">
                <a:pos x="connsiteX31488" y="connsiteY31488"/>
              </a:cxn>
              <a:cxn ang="0">
                <a:pos x="connsiteX31489" y="connsiteY31489"/>
              </a:cxn>
              <a:cxn ang="0">
                <a:pos x="connsiteX31490" y="connsiteY31490"/>
              </a:cxn>
              <a:cxn ang="0">
                <a:pos x="connsiteX31491" y="connsiteY31491"/>
              </a:cxn>
              <a:cxn ang="0">
                <a:pos x="connsiteX31492" y="connsiteY31492"/>
              </a:cxn>
              <a:cxn ang="0">
                <a:pos x="connsiteX31493" y="connsiteY31493"/>
              </a:cxn>
              <a:cxn ang="0">
                <a:pos x="connsiteX31494" y="connsiteY31494"/>
              </a:cxn>
              <a:cxn ang="0">
                <a:pos x="connsiteX31495" y="connsiteY31495"/>
              </a:cxn>
              <a:cxn ang="0">
                <a:pos x="connsiteX31496" y="connsiteY31496"/>
              </a:cxn>
              <a:cxn ang="0">
                <a:pos x="connsiteX31497" y="connsiteY31497"/>
              </a:cxn>
              <a:cxn ang="0">
                <a:pos x="connsiteX31498" y="connsiteY31498"/>
              </a:cxn>
              <a:cxn ang="0">
                <a:pos x="connsiteX31499" y="connsiteY31499"/>
              </a:cxn>
              <a:cxn ang="0">
                <a:pos x="connsiteX31500" y="connsiteY31500"/>
              </a:cxn>
              <a:cxn ang="0">
                <a:pos x="connsiteX31501" y="connsiteY31501"/>
              </a:cxn>
              <a:cxn ang="0">
                <a:pos x="connsiteX31502" y="connsiteY31502"/>
              </a:cxn>
              <a:cxn ang="0">
                <a:pos x="connsiteX31503" y="connsiteY31503"/>
              </a:cxn>
              <a:cxn ang="0">
                <a:pos x="connsiteX31504" y="connsiteY31504"/>
              </a:cxn>
              <a:cxn ang="0">
                <a:pos x="connsiteX31505" y="connsiteY31505"/>
              </a:cxn>
              <a:cxn ang="0">
                <a:pos x="connsiteX31506" y="connsiteY31506"/>
              </a:cxn>
              <a:cxn ang="0">
                <a:pos x="connsiteX31507" y="connsiteY31507"/>
              </a:cxn>
              <a:cxn ang="0">
                <a:pos x="connsiteX31508" y="connsiteY31508"/>
              </a:cxn>
              <a:cxn ang="0">
                <a:pos x="connsiteX31509" y="connsiteY31509"/>
              </a:cxn>
              <a:cxn ang="0">
                <a:pos x="connsiteX31510" y="connsiteY31510"/>
              </a:cxn>
              <a:cxn ang="0">
                <a:pos x="connsiteX31511" y="connsiteY31511"/>
              </a:cxn>
              <a:cxn ang="0">
                <a:pos x="connsiteX31512" y="connsiteY31512"/>
              </a:cxn>
              <a:cxn ang="0">
                <a:pos x="connsiteX31513" y="connsiteY31513"/>
              </a:cxn>
              <a:cxn ang="0">
                <a:pos x="connsiteX31514" y="connsiteY31514"/>
              </a:cxn>
              <a:cxn ang="0">
                <a:pos x="connsiteX31515" y="connsiteY31515"/>
              </a:cxn>
              <a:cxn ang="0">
                <a:pos x="connsiteX31516" y="connsiteY31516"/>
              </a:cxn>
              <a:cxn ang="0">
                <a:pos x="connsiteX31517" y="connsiteY31517"/>
              </a:cxn>
              <a:cxn ang="0">
                <a:pos x="connsiteX31518" y="connsiteY31518"/>
              </a:cxn>
              <a:cxn ang="0">
                <a:pos x="connsiteX31519" y="connsiteY31519"/>
              </a:cxn>
              <a:cxn ang="0">
                <a:pos x="connsiteX31520" y="connsiteY31520"/>
              </a:cxn>
              <a:cxn ang="0">
                <a:pos x="connsiteX31521" y="connsiteY31521"/>
              </a:cxn>
              <a:cxn ang="0">
                <a:pos x="connsiteX31522" y="connsiteY31522"/>
              </a:cxn>
              <a:cxn ang="0">
                <a:pos x="connsiteX31523" y="connsiteY31523"/>
              </a:cxn>
              <a:cxn ang="0">
                <a:pos x="connsiteX31524" y="connsiteY31524"/>
              </a:cxn>
              <a:cxn ang="0">
                <a:pos x="connsiteX31525" y="connsiteY31525"/>
              </a:cxn>
              <a:cxn ang="0">
                <a:pos x="connsiteX31526" y="connsiteY31526"/>
              </a:cxn>
              <a:cxn ang="0">
                <a:pos x="connsiteX31527" y="connsiteY31527"/>
              </a:cxn>
              <a:cxn ang="0">
                <a:pos x="connsiteX31528" y="connsiteY31528"/>
              </a:cxn>
              <a:cxn ang="0">
                <a:pos x="connsiteX31529" y="connsiteY31529"/>
              </a:cxn>
              <a:cxn ang="0">
                <a:pos x="connsiteX31530" y="connsiteY31530"/>
              </a:cxn>
              <a:cxn ang="0">
                <a:pos x="connsiteX31531" y="connsiteY31531"/>
              </a:cxn>
              <a:cxn ang="0">
                <a:pos x="connsiteX31532" y="connsiteY31532"/>
              </a:cxn>
              <a:cxn ang="0">
                <a:pos x="connsiteX31533" y="connsiteY31533"/>
              </a:cxn>
              <a:cxn ang="0">
                <a:pos x="connsiteX31534" y="connsiteY31534"/>
              </a:cxn>
              <a:cxn ang="0">
                <a:pos x="connsiteX31535" y="connsiteY31535"/>
              </a:cxn>
              <a:cxn ang="0">
                <a:pos x="connsiteX31536" y="connsiteY31536"/>
              </a:cxn>
              <a:cxn ang="0">
                <a:pos x="connsiteX31537" y="connsiteY31537"/>
              </a:cxn>
              <a:cxn ang="0">
                <a:pos x="connsiteX31538" y="connsiteY31538"/>
              </a:cxn>
              <a:cxn ang="0">
                <a:pos x="connsiteX31539" y="connsiteY31539"/>
              </a:cxn>
              <a:cxn ang="0">
                <a:pos x="connsiteX31540" y="connsiteY31540"/>
              </a:cxn>
              <a:cxn ang="0">
                <a:pos x="connsiteX31541" y="connsiteY31541"/>
              </a:cxn>
              <a:cxn ang="0">
                <a:pos x="connsiteX31542" y="connsiteY31542"/>
              </a:cxn>
              <a:cxn ang="0">
                <a:pos x="connsiteX31543" y="connsiteY31543"/>
              </a:cxn>
              <a:cxn ang="0">
                <a:pos x="connsiteX31544" y="connsiteY31544"/>
              </a:cxn>
              <a:cxn ang="0">
                <a:pos x="connsiteX31545" y="connsiteY31545"/>
              </a:cxn>
              <a:cxn ang="0">
                <a:pos x="connsiteX31546" y="connsiteY31546"/>
              </a:cxn>
              <a:cxn ang="0">
                <a:pos x="connsiteX31547" y="connsiteY31547"/>
              </a:cxn>
              <a:cxn ang="0">
                <a:pos x="connsiteX31548" y="connsiteY31548"/>
              </a:cxn>
              <a:cxn ang="0">
                <a:pos x="connsiteX31549" y="connsiteY31549"/>
              </a:cxn>
              <a:cxn ang="0">
                <a:pos x="connsiteX31550" y="connsiteY31550"/>
              </a:cxn>
              <a:cxn ang="0">
                <a:pos x="connsiteX31551" y="connsiteY31551"/>
              </a:cxn>
              <a:cxn ang="0">
                <a:pos x="connsiteX31552" y="connsiteY31552"/>
              </a:cxn>
              <a:cxn ang="0">
                <a:pos x="connsiteX31553" y="connsiteY31553"/>
              </a:cxn>
              <a:cxn ang="0">
                <a:pos x="connsiteX31554" y="connsiteY31554"/>
              </a:cxn>
              <a:cxn ang="0">
                <a:pos x="connsiteX31555" y="connsiteY31555"/>
              </a:cxn>
              <a:cxn ang="0">
                <a:pos x="connsiteX31556" y="connsiteY31556"/>
              </a:cxn>
              <a:cxn ang="0">
                <a:pos x="connsiteX31557" y="connsiteY31557"/>
              </a:cxn>
              <a:cxn ang="0">
                <a:pos x="connsiteX31558" y="connsiteY31558"/>
              </a:cxn>
              <a:cxn ang="0">
                <a:pos x="connsiteX31559" y="connsiteY31559"/>
              </a:cxn>
              <a:cxn ang="0">
                <a:pos x="connsiteX31560" y="connsiteY31560"/>
              </a:cxn>
              <a:cxn ang="0">
                <a:pos x="connsiteX31561" y="connsiteY31561"/>
              </a:cxn>
              <a:cxn ang="0">
                <a:pos x="connsiteX31562" y="connsiteY31562"/>
              </a:cxn>
              <a:cxn ang="0">
                <a:pos x="connsiteX31563" y="connsiteY31563"/>
              </a:cxn>
              <a:cxn ang="0">
                <a:pos x="connsiteX31564" y="connsiteY31564"/>
              </a:cxn>
              <a:cxn ang="0">
                <a:pos x="connsiteX31565" y="connsiteY31565"/>
              </a:cxn>
              <a:cxn ang="0">
                <a:pos x="connsiteX31566" y="connsiteY31566"/>
              </a:cxn>
              <a:cxn ang="0">
                <a:pos x="connsiteX31567" y="connsiteY31567"/>
              </a:cxn>
              <a:cxn ang="0">
                <a:pos x="connsiteX31568" y="connsiteY31568"/>
              </a:cxn>
              <a:cxn ang="0">
                <a:pos x="connsiteX31569" y="connsiteY31569"/>
              </a:cxn>
              <a:cxn ang="0">
                <a:pos x="connsiteX31570" y="connsiteY31570"/>
              </a:cxn>
              <a:cxn ang="0">
                <a:pos x="connsiteX31571" y="connsiteY31571"/>
              </a:cxn>
              <a:cxn ang="0">
                <a:pos x="connsiteX31572" y="connsiteY31572"/>
              </a:cxn>
              <a:cxn ang="0">
                <a:pos x="connsiteX31573" y="connsiteY31573"/>
              </a:cxn>
              <a:cxn ang="0">
                <a:pos x="connsiteX31574" y="connsiteY31574"/>
              </a:cxn>
              <a:cxn ang="0">
                <a:pos x="connsiteX31575" y="connsiteY31575"/>
              </a:cxn>
              <a:cxn ang="0">
                <a:pos x="connsiteX31576" y="connsiteY31576"/>
              </a:cxn>
              <a:cxn ang="0">
                <a:pos x="connsiteX31577" y="connsiteY31577"/>
              </a:cxn>
              <a:cxn ang="0">
                <a:pos x="connsiteX31578" y="connsiteY31578"/>
              </a:cxn>
              <a:cxn ang="0">
                <a:pos x="connsiteX31579" y="connsiteY31579"/>
              </a:cxn>
              <a:cxn ang="0">
                <a:pos x="connsiteX31580" y="connsiteY31580"/>
              </a:cxn>
              <a:cxn ang="0">
                <a:pos x="connsiteX31581" y="connsiteY31581"/>
              </a:cxn>
              <a:cxn ang="0">
                <a:pos x="connsiteX31582" y="connsiteY31582"/>
              </a:cxn>
              <a:cxn ang="0">
                <a:pos x="connsiteX31583" y="connsiteY31583"/>
              </a:cxn>
              <a:cxn ang="0">
                <a:pos x="connsiteX31584" y="connsiteY31584"/>
              </a:cxn>
              <a:cxn ang="0">
                <a:pos x="connsiteX31585" y="connsiteY31585"/>
              </a:cxn>
              <a:cxn ang="0">
                <a:pos x="connsiteX31586" y="connsiteY31586"/>
              </a:cxn>
              <a:cxn ang="0">
                <a:pos x="connsiteX31587" y="connsiteY31587"/>
              </a:cxn>
              <a:cxn ang="0">
                <a:pos x="connsiteX31588" y="connsiteY31588"/>
              </a:cxn>
              <a:cxn ang="0">
                <a:pos x="connsiteX31589" y="connsiteY31589"/>
              </a:cxn>
              <a:cxn ang="0">
                <a:pos x="connsiteX31590" y="connsiteY31590"/>
              </a:cxn>
              <a:cxn ang="0">
                <a:pos x="connsiteX31591" y="connsiteY31591"/>
              </a:cxn>
              <a:cxn ang="0">
                <a:pos x="connsiteX31592" y="connsiteY31592"/>
              </a:cxn>
              <a:cxn ang="0">
                <a:pos x="connsiteX31593" y="connsiteY31593"/>
              </a:cxn>
              <a:cxn ang="0">
                <a:pos x="connsiteX31594" y="connsiteY31594"/>
              </a:cxn>
              <a:cxn ang="0">
                <a:pos x="connsiteX31595" y="connsiteY31595"/>
              </a:cxn>
              <a:cxn ang="0">
                <a:pos x="connsiteX31596" y="connsiteY31596"/>
              </a:cxn>
              <a:cxn ang="0">
                <a:pos x="connsiteX31597" y="connsiteY31597"/>
              </a:cxn>
              <a:cxn ang="0">
                <a:pos x="connsiteX31598" y="connsiteY31598"/>
              </a:cxn>
              <a:cxn ang="0">
                <a:pos x="connsiteX31599" y="connsiteY31599"/>
              </a:cxn>
              <a:cxn ang="0">
                <a:pos x="connsiteX31600" y="connsiteY31600"/>
              </a:cxn>
              <a:cxn ang="0">
                <a:pos x="connsiteX31601" y="connsiteY31601"/>
              </a:cxn>
              <a:cxn ang="0">
                <a:pos x="connsiteX31602" y="connsiteY31602"/>
              </a:cxn>
              <a:cxn ang="0">
                <a:pos x="connsiteX31603" y="connsiteY31603"/>
              </a:cxn>
              <a:cxn ang="0">
                <a:pos x="connsiteX31604" y="connsiteY31604"/>
              </a:cxn>
              <a:cxn ang="0">
                <a:pos x="connsiteX31605" y="connsiteY31605"/>
              </a:cxn>
              <a:cxn ang="0">
                <a:pos x="connsiteX31606" y="connsiteY31606"/>
              </a:cxn>
              <a:cxn ang="0">
                <a:pos x="connsiteX31607" y="connsiteY31607"/>
              </a:cxn>
              <a:cxn ang="0">
                <a:pos x="connsiteX31608" y="connsiteY31608"/>
              </a:cxn>
              <a:cxn ang="0">
                <a:pos x="connsiteX31609" y="connsiteY31609"/>
              </a:cxn>
              <a:cxn ang="0">
                <a:pos x="connsiteX31610" y="connsiteY31610"/>
              </a:cxn>
              <a:cxn ang="0">
                <a:pos x="connsiteX31611" y="connsiteY31611"/>
              </a:cxn>
              <a:cxn ang="0">
                <a:pos x="connsiteX31612" y="connsiteY31612"/>
              </a:cxn>
              <a:cxn ang="0">
                <a:pos x="connsiteX31613" y="connsiteY31613"/>
              </a:cxn>
              <a:cxn ang="0">
                <a:pos x="connsiteX31614" y="connsiteY31614"/>
              </a:cxn>
              <a:cxn ang="0">
                <a:pos x="connsiteX31615" y="connsiteY31615"/>
              </a:cxn>
              <a:cxn ang="0">
                <a:pos x="connsiteX31616" y="connsiteY31616"/>
              </a:cxn>
              <a:cxn ang="0">
                <a:pos x="connsiteX31617" y="connsiteY31617"/>
              </a:cxn>
              <a:cxn ang="0">
                <a:pos x="connsiteX31618" y="connsiteY31618"/>
              </a:cxn>
              <a:cxn ang="0">
                <a:pos x="connsiteX31619" y="connsiteY31619"/>
              </a:cxn>
              <a:cxn ang="0">
                <a:pos x="connsiteX31620" y="connsiteY31620"/>
              </a:cxn>
              <a:cxn ang="0">
                <a:pos x="connsiteX31621" y="connsiteY31621"/>
              </a:cxn>
              <a:cxn ang="0">
                <a:pos x="connsiteX31622" y="connsiteY31622"/>
              </a:cxn>
              <a:cxn ang="0">
                <a:pos x="connsiteX31623" y="connsiteY31623"/>
              </a:cxn>
              <a:cxn ang="0">
                <a:pos x="connsiteX31624" y="connsiteY31624"/>
              </a:cxn>
              <a:cxn ang="0">
                <a:pos x="connsiteX31625" y="connsiteY31625"/>
              </a:cxn>
              <a:cxn ang="0">
                <a:pos x="connsiteX31626" y="connsiteY31626"/>
              </a:cxn>
              <a:cxn ang="0">
                <a:pos x="connsiteX31627" y="connsiteY31627"/>
              </a:cxn>
              <a:cxn ang="0">
                <a:pos x="connsiteX31628" y="connsiteY31628"/>
              </a:cxn>
              <a:cxn ang="0">
                <a:pos x="connsiteX31629" y="connsiteY31629"/>
              </a:cxn>
              <a:cxn ang="0">
                <a:pos x="connsiteX31630" y="connsiteY31630"/>
              </a:cxn>
              <a:cxn ang="0">
                <a:pos x="connsiteX31631" y="connsiteY31631"/>
              </a:cxn>
              <a:cxn ang="0">
                <a:pos x="connsiteX31632" y="connsiteY31632"/>
              </a:cxn>
              <a:cxn ang="0">
                <a:pos x="connsiteX31633" y="connsiteY31633"/>
              </a:cxn>
              <a:cxn ang="0">
                <a:pos x="connsiteX31634" y="connsiteY31634"/>
              </a:cxn>
              <a:cxn ang="0">
                <a:pos x="connsiteX31635" y="connsiteY31635"/>
              </a:cxn>
              <a:cxn ang="0">
                <a:pos x="connsiteX31636" y="connsiteY31636"/>
              </a:cxn>
              <a:cxn ang="0">
                <a:pos x="connsiteX31637" y="connsiteY31637"/>
              </a:cxn>
              <a:cxn ang="0">
                <a:pos x="connsiteX31638" y="connsiteY31638"/>
              </a:cxn>
              <a:cxn ang="0">
                <a:pos x="connsiteX31639" y="connsiteY31639"/>
              </a:cxn>
              <a:cxn ang="0">
                <a:pos x="connsiteX31640" y="connsiteY31640"/>
              </a:cxn>
              <a:cxn ang="0">
                <a:pos x="connsiteX31641" y="connsiteY31641"/>
              </a:cxn>
              <a:cxn ang="0">
                <a:pos x="connsiteX31642" y="connsiteY31642"/>
              </a:cxn>
              <a:cxn ang="0">
                <a:pos x="connsiteX31643" y="connsiteY31643"/>
              </a:cxn>
              <a:cxn ang="0">
                <a:pos x="connsiteX31644" y="connsiteY31644"/>
              </a:cxn>
              <a:cxn ang="0">
                <a:pos x="connsiteX31645" y="connsiteY31645"/>
              </a:cxn>
              <a:cxn ang="0">
                <a:pos x="connsiteX31646" y="connsiteY31646"/>
              </a:cxn>
              <a:cxn ang="0">
                <a:pos x="connsiteX31647" y="connsiteY31647"/>
              </a:cxn>
              <a:cxn ang="0">
                <a:pos x="connsiteX31648" y="connsiteY31648"/>
              </a:cxn>
              <a:cxn ang="0">
                <a:pos x="connsiteX31649" y="connsiteY31649"/>
              </a:cxn>
              <a:cxn ang="0">
                <a:pos x="connsiteX31650" y="connsiteY31650"/>
              </a:cxn>
              <a:cxn ang="0">
                <a:pos x="connsiteX31651" y="connsiteY31651"/>
              </a:cxn>
              <a:cxn ang="0">
                <a:pos x="connsiteX31652" y="connsiteY31652"/>
              </a:cxn>
              <a:cxn ang="0">
                <a:pos x="connsiteX31653" y="connsiteY31653"/>
              </a:cxn>
              <a:cxn ang="0">
                <a:pos x="connsiteX31654" y="connsiteY31654"/>
              </a:cxn>
              <a:cxn ang="0">
                <a:pos x="connsiteX31655" y="connsiteY31655"/>
              </a:cxn>
              <a:cxn ang="0">
                <a:pos x="connsiteX31656" y="connsiteY31656"/>
              </a:cxn>
              <a:cxn ang="0">
                <a:pos x="connsiteX31657" y="connsiteY31657"/>
              </a:cxn>
              <a:cxn ang="0">
                <a:pos x="connsiteX31658" y="connsiteY31658"/>
              </a:cxn>
              <a:cxn ang="0">
                <a:pos x="connsiteX31659" y="connsiteY31659"/>
              </a:cxn>
              <a:cxn ang="0">
                <a:pos x="connsiteX31660" y="connsiteY31660"/>
              </a:cxn>
              <a:cxn ang="0">
                <a:pos x="connsiteX31661" y="connsiteY31661"/>
              </a:cxn>
              <a:cxn ang="0">
                <a:pos x="connsiteX31662" y="connsiteY31662"/>
              </a:cxn>
              <a:cxn ang="0">
                <a:pos x="connsiteX31663" y="connsiteY31663"/>
              </a:cxn>
              <a:cxn ang="0">
                <a:pos x="connsiteX31664" y="connsiteY31664"/>
              </a:cxn>
              <a:cxn ang="0">
                <a:pos x="connsiteX31665" y="connsiteY31665"/>
              </a:cxn>
              <a:cxn ang="0">
                <a:pos x="connsiteX31666" y="connsiteY31666"/>
              </a:cxn>
              <a:cxn ang="0">
                <a:pos x="connsiteX31667" y="connsiteY31667"/>
              </a:cxn>
              <a:cxn ang="0">
                <a:pos x="connsiteX31668" y="connsiteY31668"/>
              </a:cxn>
              <a:cxn ang="0">
                <a:pos x="connsiteX31669" y="connsiteY31669"/>
              </a:cxn>
              <a:cxn ang="0">
                <a:pos x="connsiteX31670" y="connsiteY31670"/>
              </a:cxn>
              <a:cxn ang="0">
                <a:pos x="connsiteX31671" y="connsiteY31671"/>
              </a:cxn>
              <a:cxn ang="0">
                <a:pos x="connsiteX31672" y="connsiteY31672"/>
              </a:cxn>
              <a:cxn ang="0">
                <a:pos x="connsiteX31673" y="connsiteY31673"/>
              </a:cxn>
              <a:cxn ang="0">
                <a:pos x="connsiteX31674" y="connsiteY31674"/>
              </a:cxn>
              <a:cxn ang="0">
                <a:pos x="connsiteX31675" y="connsiteY31675"/>
              </a:cxn>
              <a:cxn ang="0">
                <a:pos x="connsiteX31676" y="connsiteY31676"/>
              </a:cxn>
              <a:cxn ang="0">
                <a:pos x="connsiteX31677" y="connsiteY31677"/>
              </a:cxn>
              <a:cxn ang="0">
                <a:pos x="connsiteX31678" y="connsiteY31678"/>
              </a:cxn>
              <a:cxn ang="0">
                <a:pos x="connsiteX31679" y="connsiteY31679"/>
              </a:cxn>
              <a:cxn ang="0">
                <a:pos x="connsiteX31680" y="connsiteY31680"/>
              </a:cxn>
              <a:cxn ang="0">
                <a:pos x="connsiteX31681" y="connsiteY31681"/>
              </a:cxn>
              <a:cxn ang="0">
                <a:pos x="connsiteX31682" y="connsiteY31682"/>
              </a:cxn>
              <a:cxn ang="0">
                <a:pos x="connsiteX31683" y="connsiteY31683"/>
              </a:cxn>
              <a:cxn ang="0">
                <a:pos x="connsiteX31684" y="connsiteY31684"/>
              </a:cxn>
              <a:cxn ang="0">
                <a:pos x="connsiteX31685" y="connsiteY31685"/>
              </a:cxn>
              <a:cxn ang="0">
                <a:pos x="connsiteX31686" y="connsiteY31686"/>
              </a:cxn>
              <a:cxn ang="0">
                <a:pos x="connsiteX31687" y="connsiteY31687"/>
              </a:cxn>
              <a:cxn ang="0">
                <a:pos x="connsiteX31688" y="connsiteY31688"/>
              </a:cxn>
              <a:cxn ang="0">
                <a:pos x="connsiteX31689" y="connsiteY31689"/>
              </a:cxn>
              <a:cxn ang="0">
                <a:pos x="connsiteX31690" y="connsiteY31690"/>
              </a:cxn>
              <a:cxn ang="0">
                <a:pos x="connsiteX31691" y="connsiteY31691"/>
              </a:cxn>
              <a:cxn ang="0">
                <a:pos x="connsiteX31692" y="connsiteY31692"/>
              </a:cxn>
              <a:cxn ang="0">
                <a:pos x="connsiteX31693" y="connsiteY31693"/>
              </a:cxn>
              <a:cxn ang="0">
                <a:pos x="connsiteX31694" y="connsiteY31694"/>
              </a:cxn>
              <a:cxn ang="0">
                <a:pos x="connsiteX31695" y="connsiteY31695"/>
              </a:cxn>
              <a:cxn ang="0">
                <a:pos x="connsiteX31696" y="connsiteY31696"/>
              </a:cxn>
              <a:cxn ang="0">
                <a:pos x="connsiteX31697" y="connsiteY31697"/>
              </a:cxn>
              <a:cxn ang="0">
                <a:pos x="connsiteX31698" y="connsiteY31698"/>
              </a:cxn>
              <a:cxn ang="0">
                <a:pos x="connsiteX31699" y="connsiteY31699"/>
              </a:cxn>
              <a:cxn ang="0">
                <a:pos x="connsiteX31700" y="connsiteY31700"/>
              </a:cxn>
              <a:cxn ang="0">
                <a:pos x="connsiteX31701" y="connsiteY31701"/>
              </a:cxn>
              <a:cxn ang="0">
                <a:pos x="connsiteX31702" y="connsiteY31702"/>
              </a:cxn>
              <a:cxn ang="0">
                <a:pos x="connsiteX31703" y="connsiteY31703"/>
              </a:cxn>
              <a:cxn ang="0">
                <a:pos x="connsiteX31704" y="connsiteY31704"/>
              </a:cxn>
              <a:cxn ang="0">
                <a:pos x="connsiteX31705" y="connsiteY31705"/>
              </a:cxn>
              <a:cxn ang="0">
                <a:pos x="connsiteX31706" y="connsiteY31706"/>
              </a:cxn>
              <a:cxn ang="0">
                <a:pos x="connsiteX31707" y="connsiteY31707"/>
              </a:cxn>
              <a:cxn ang="0">
                <a:pos x="connsiteX31708" y="connsiteY31708"/>
              </a:cxn>
              <a:cxn ang="0">
                <a:pos x="connsiteX31709" y="connsiteY31709"/>
              </a:cxn>
              <a:cxn ang="0">
                <a:pos x="connsiteX31710" y="connsiteY31710"/>
              </a:cxn>
              <a:cxn ang="0">
                <a:pos x="connsiteX31711" y="connsiteY31711"/>
              </a:cxn>
              <a:cxn ang="0">
                <a:pos x="connsiteX31712" y="connsiteY31712"/>
              </a:cxn>
              <a:cxn ang="0">
                <a:pos x="connsiteX31713" y="connsiteY31713"/>
              </a:cxn>
              <a:cxn ang="0">
                <a:pos x="connsiteX31714" y="connsiteY31714"/>
              </a:cxn>
              <a:cxn ang="0">
                <a:pos x="connsiteX31715" y="connsiteY31715"/>
              </a:cxn>
              <a:cxn ang="0">
                <a:pos x="connsiteX31716" y="connsiteY31716"/>
              </a:cxn>
              <a:cxn ang="0">
                <a:pos x="connsiteX31717" y="connsiteY31717"/>
              </a:cxn>
              <a:cxn ang="0">
                <a:pos x="connsiteX31718" y="connsiteY31718"/>
              </a:cxn>
              <a:cxn ang="0">
                <a:pos x="connsiteX31719" y="connsiteY31719"/>
              </a:cxn>
              <a:cxn ang="0">
                <a:pos x="connsiteX31720" y="connsiteY31720"/>
              </a:cxn>
              <a:cxn ang="0">
                <a:pos x="connsiteX31721" y="connsiteY31721"/>
              </a:cxn>
              <a:cxn ang="0">
                <a:pos x="connsiteX31722" y="connsiteY31722"/>
              </a:cxn>
              <a:cxn ang="0">
                <a:pos x="connsiteX31723" y="connsiteY31723"/>
              </a:cxn>
              <a:cxn ang="0">
                <a:pos x="connsiteX31724" y="connsiteY31724"/>
              </a:cxn>
              <a:cxn ang="0">
                <a:pos x="connsiteX31725" y="connsiteY31725"/>
              </a:cxn>
              <a:cxn ang="0">
                <a:pos x="connsiteX31726" y="connsiteY31726"/>
              </a:cxn>
              <a:cxn ang="0">
                <a:pos x="connsiteX31727" y="connsiteY31727"/>
              </a:cxn>
              <a:cxn ang="0">
                <a:pos x="connsiteX31728" y="connsiteY31728"/>
              </a:cxn>
              <a:cxn ang="0">
                <a:pos x="connsiteX31729" y="connsiteY31729"/>
              </a:cxn>
              <a:cxn ang="0">
                <a:pos x="connsiteX31730" y="connsiteY31730"/>
              </a:cxn>
              <a:cxn ang="0">
                <a:pos x="connsiteX31731" y="connsiteY31731"/>
              </a:cxn>
              <a:cxn ang="0">
                <a:pos x="connsiteX31732" y="connsiteY31732"/>
              </a:cxn>
              <a:cxn ang="0">
                <a:pos x="connsiteX31733" y="connsiteY31733"/>
              </a:cxn>
              <a:cxn ang="0">
                <a:pos x="connsiteX31734" y="connsiteY31734"/>
              </a:cxn>
              <a:cxn ang="0">
                <a:pos x="connsiteX31735" y="connsiteY31735"/>
              </a:cxn>
              <a:cxn ang="0">
                <a:pos x="connsiteX31736" y="connsiteY31736"/>
              </a:cxn>
              <a:cxn ang="0">
                <a:pos x="connsiteX31737" y="connsiteY31737"/>
              </a:cxn>
              <a:cxn ang="0">
                <a:pos x="connsiteX31738" y="connsiteY31738"/>
              </a:cxn>
              <a:cxn ang="0">
                <a:pos x="connsiteX31739" y="connsiteY31739"/>
              </a:cxn>
              <a:cxn ang="0">
                <a:pos x="connsiteX31740" y="connsiteY31740"/>
              </a:cxn>
              <a:cxn ang="0">
                <a:pos x="connsiteX31741" y="connsiteY31741"/>
              </a:cxn>
              <a:cxn ang="0">
                <a:pos x="connsiteX31742" y="connsiteY31742"/>
              </a:cxn>
              <a:cxn ang="0">
                <a:pos x="connsiteX31743" y="connsiteY31743"/>
              </a:cxn>
              <a:cxn ang="0">
                <a:pos x="connsiteX31744" y="connsiteY31744"/>
              </a:cxn>
              <a:cxn ang="0">
                <a:pos x="connsiteX31745" y="connsiteY31745"/>
              </a:cxn>
              <a:cxn ang="0">
                <a:pos x="connsiteX31746" y="connsiteY31746"/>
              </a:cxn>
              <a:cxn ang="0">
                <a:pos x="connsiteX31747" y="connsiteY31747"/>
              </a:cxn>
              <a:cxn ang="0">
                <a:pos x="connsiteX31748" y="connsiteY31748"/>
              </a:cxn>
              <a:cxn ang="0">
                <a:pos x="connsiteX31749" y="connsiteY31749"/>
              </a:cxn>
              <a:cxn ang="0">
                <a:pos x="connsiteX31750" y="connsiteY31750"/>
              </a:cxn>
              <a:cxn ang="0">
                <a:pos x="connsiteX31751" y="connsiteY31751"/>
              </a:cxn>
              <a:cxn ang="0">
                <a:pos x="connsiteX31752" y="connsiteY31752"/>
              </a:cxn>
              <a:cxn ang="0">
                <a:pos x="connsiteX31753" y="connsiteY31753"/>
              </a:cxn>
              <a:cxn ang="0">
                <a:pos x="connsiteX31754" y="connsiteY31754"/>
              </a:cxn>
              <a:cxn ang="0">
                <a:pos x="connsiteX31755" y="connsiteY31755"/>
              </a:cxn>
              <a:cxn ang="0">
                <a:pos x="connsiteX31756" y="connsiteY31756"/>
              </a:cxn>
              <a:cxn ang="0">
                <a:pos x="connsiteX31757" y="connsiteY31757"/>
              </a:cxn>
              <a:cxn ang="0">
                <a:pos x="connsiteX31758" y="connsiteY31758"/>
              </a:cxn>
              <a:cxn ang="0">
                <a:pos x="connsiteX31759" y="connsiteY31759"/>
              </a:cxn>
              <a:cxn ang="0">
                <a:pos x="connsiteX31760" y="connsiteY31760"/>
              </a:cxn>
              <a:cxn ang="0">
                <a:pos x="connsiteX31761" y="connsiteY31761"/>
              </a:cxn>
              <a:cxn ang="0">
                <a:pos x="connsiteX31762" y="connsiteY31762"/>
              </a:cxn>
              <a:cxn ang="0">
                <a:pos x="connsiteX31763" y="connsiteY31763"/>
              </a:cxn>
              <a:cxn ang="0">
                <a:pos x="connsiteX31764" y="connsiteY31764"/>
              </a:cxn>
              <a:cxn ang="0">
                <a:pos x="connsiteX31765" y="connsiteY31765"/>
              </a:cxn>
              <a:cxn ang="0">
                <a:pos x="connsiteX31766" y="connsiteY31766"/>
              </a:cxn>
              <a:cxn ang="0">
                <a:pos x="connsiteX31767" y="connsiteY31767"/>
              </a:cxn>
              <a:cxn ang="0">
                <a:pos x="connsiteX31768" y="connsiteY31768"/>
              </a:cxn>
              <a:cxn ang="0">
                <a:pos x="connsiteX31769" y="connsiteY31769"/>
              </a:cxn>
              <a:cxn ang="0">
                <a:pos x="connsiteX31770" y="connsiteY31770"/>
              </a:cxn>
              <a:cxn ang="0">
                <a:pos x="connsiteX31771" y="connsiteY31771"/>
              </a:cxn>
              <a:cxn ang="0">
                <a:pos x="connsiteX31772" y="connsiteY31772"/>
              </a:cxn>
              <a:cxn ang="0">
                <a:pos x="connsiteX31773" y="connsiteY31773"/>
              </a:cxn>
              <a:cxn ang="0">
                <a:pos x="connsiteX31774" y="connsiteY31774"/>
              </a:cxn>
              <a:cxn ang="0">
                <a:pos x="connsiteX31775" y="connsiteY31775"/>
              </a:cxn>
              <a:cxn ang="0">
                <a:pos x="connsiteX31776" y="connsiteY31776"/>
              </a:cxn>
              <a:cxn ang="0">
                <a:pos x="connsiteX31777" y="connsiteY31777"/>
              </a:cxn>
              <a:cxn ang="0">
                <a:pos x="connsiteX31778" y="connsiteY31778"/>
              </a:cxn>
              <a:cxn ang="0">
                <a:pos x="connsiteX31779" y="connsiteY31779"/>
              </a:cxn>
              <a:cxn ang="0">
                <a:pos x="connsiteX31780" y="connsiteY31780"/>
              </a:cxn>
              <a:cxn ang="0">
                <a:pos x="connsiteX31781" y="connsiteY31781"/>
              </a:cxn>
              <a:cxn ang="0">
                <a:pos x="connsiteX31782" y="connsiteY31782"/>
              </a:cxn>
              <a:cxn ang="0">
                <a:pos x="connsiteX31783" y="connsiteY31783"/>
              </a:cxn>
              <a:cxn ang="0">
                <a:pos x="connsiteX31784" y="connsiteY31784"/>
              </a:cxn>
              <a:cxn ang="0">
                <a:pos x="connsiteX31785" y="connsiteY31785"/>
              </a:cxn>
              <a:cxn ang="0">
                <a:pos x="connsiteX31786" y="connsiteY31786"/>
              </a:cxn>
              <a:cxn ang="0">
                <a:pos x="connsiteX31787" y="connsiteY31787"/>
              </a:cxn>
              <a:cxn ang="0">
                <a:pos x="connsiteX31788" y="connsiteY31788"/>
              </a:cxn>
              <a:cxn ang="0">
                <a:pos x="connsiteX31789" y="connsiteY31789"/>
              </a:cxn>
              <a:cxn ang="0">
                <a:pos x="connsiteX31790" y="connsiteY31790"/>
              </a:cxn>
              <a:cxn ang="0">
                <a:pos x="connsiteX31791" y="connsiteY31791"/>
              </a:cxn>
              <a:cxn ang="0">
                <a:pos x="connsiteX31792" y="connsiteY31792"/>
              </a:cxn>
              <a:cxn ang="0">
                <a:pos x="connsiteX31793" y="connsiteY31793"/>
              </a:cxn>
              <a:cxn ang="0">
                <a:pos x="connsiteX31794" y="connsiteY31794"/>
              </a:cxn>
              <a:cxn ang="0">
                <a:pos x="connsiteX31795" y="connsiteY31795"/>
              </a:cxn>
              <a:cxn ang="0">
                <a:pos x="connsiteX31796" y="connsiteY31796"/>
              </a:cxn>
              <a:cxn ang="0">
                <a:pos x="connsiteX31797" y="connsiteY31797"/>
              </a:cxn>
              <a:cxn ang="0">
                <a:pos x="connsiteX31798" y="connsiteY31798"/>
              </a:cxn>
              <a:cxn ang="0">
                <a:pos x="connsiteX31799" y="connsiteY31799"/>
              </a:cxn>
              <a:cxn ang="0">
                <a:pos x="connsiteX31800" y="connsiteY31800"/>
              </a:cxn>
              <a:cxn ang="0">
                <a:pos x="connsiteX31801" y="connsiteY31801"/>
              </a:cxn>
              <a:cxn ang="0">
                <a:pos x="connsiteX31802" y="connsiteY31802"/>
              </a:cxn>
              <a:cxn ang="0">
                <a:pos x="connsiteX31803" y="connsiteY31803"/>
              </a:cxn>
              <a:cxn ang="0">
                <a:pos x="connsiteX31804" y="connsiteY31804"/>
              </a:cxn>
              <a:cxn ang="0">
                <a:pos x="connsiteX31805" y="connsiteY31805"/>
              </a:cxn>
              <a:cxn ang="0">
                <a:pos x="connsiteX31806" y="connsiteY31806"/>
              </a:cxn>
              <a:cxn ang="0">
                <a:pos x="connsiteX31807" y="connsiteY31807"/>
              </a:cxn>
              <a:cxn ang="0">
                <a:pos x="connsiteX31808" y="connsiteY31808"/>
              </a:cxn>
              <a:cxn ang="0">
                <a:pos x="connsiteX31809" y="connsiteY31809"/>
              </a:cxn>
              <a:cxn ang="0">
                <a:pos x="connsiteX31810" y="connsiteY31810"/>
              </a:cxn>
              <a:cxn ang="0">
                <a:pos x="connsiteX31811" y="connsiteY31811"/>
              </a:cxn>
              <a:cxn ang="0">
                <a:pos x="connsiteX31812" y="connsiteY31812"/>
              </a:cxn>
              <a:cxn ang="0">
                <a:pos x="connsiteX31813" y="connsiteY31813"/>
              </a:cxn>
              <a:cxn ang="0">
                <a:pos x="connsiteX31814" y="connsiteY31814"/>
              </a:cxn>
              <a:cxn ang="0">
                <a:pos x="connsiteX31815" y="connsiteY31815"/>
              </a:cxn>
              <a:cxn ang="0">
                <a:pos x="connsiteX31816" y="connsiteY31816"/>
              </a:cxn>
              <a:cxn ang="0">
                <a:pos x="connsiteX31817" y="connsiteY31817"/>
              </a:cxn>
              <a:cxn ang="0">
                <a:pos x="connsiteX31818" y="connsiteY31818"/>
              </a:cxn>
              <a:cxn ang="0">
                <a:pos x="connsiteX31819" y="connsiteY31819"/>
              </a:cxn>
              <a:cxn ang="0">
                <a:pos x="connsiteX31820" y="connsiteY31820"/>
              </a:cxn>
              <a:cxn ang="0">
                <a:pos x="connsiteX31821" y="connsiteY31821"/>
              </a:cxn>
              <a:cxn ang="0">
                <a:pos x="connsiteX31822" y="connsiteY31822"/>
              </a:cxn>
              <a:cxn ang="0">
                <a:pos x="connsiteX31823" y="connsiteY31823"/>
              </a:cxn>
              <a:cxn ang="0">
                <a:pos x="connsiteX31824" y="connsiteY31824"/>
              </a:cxn>
              <a:cxn ang="0">
                <a:pos x="connsiteX31825" y="connsiteY31825"/>
              </a:cxn>
              <a:cxn ang="0">
                <a:pos x="connsiteX31826" y="connsiteY31826"/>
              </a:cxn>
              <a:cxn ang="0">
                <a:pos x="connsiteX31827" y="connsiteY31827"/>
              </a:cxn>
              <a:cxn ang="0">
                <a:pos x="connsiteX31828" y="connsiteY31828"/>
              </a:cxn>
              <a:cxn ang="0">
                <a:pos x="connsiteX31829" y="connsiteY31829"/>
              </a:cxn>
              <a:cxn ang="0">
                <a:pos x="connsiteX31830" y="connsiteY31830"/>
              </a:cxn>
              <a:cxn ang="0">
                <a:pos x="connsiteX31831" y="connsiteY31831"/>
              </a:cxn>
              <a:cxn ang="0">
                <a:pos x="connsiteX31832" y="connsiteY31832"/>
              </a:cxn>
              <a:cxn ang="0">
                <a:pos x="connsiteX31833" y="connsiteY31833"/>
              </a:cxn>
              <a:cxn ang="0">
                <a:pos x="connsiteX31834" y="connsiteY31834"/>
              </a:cxn>
              <a:cxn ang="0">
                <a:pos x="connsiteX31835" y="connsiteY31835"/>
              </a:cxn>
              <a:cxn ang="0">
                <a:pos x="connsiteX31836" y="connsiteY31836"/>
              </a:cxn>
              <a:cxn ang="0">
                <a:pos x="connsiteX31837" y="connsiteY31837"/>
              </a:cxn>
              <a:cxn ang="0">
                <a:pos x="connsiteX31838" y="connsiteY31838"/>
              </a:cxn>
              <a:cxn ang="0">
                <a:pos x="connsiteX31839" y="connsiteY31839"/>
              </a:cxn>
              <a:cxn ang="0">
                <a:pos x="connsiteX31840" y="connsiteY31840"/>
              </a:cxn>
              <a:cxn ang="0">
                <a:pos x="connsiteX31841" y="connsiteY31841"/>
              </a:cxn>
              <a:cxn ang="0">
                <a:pos x="connsiteX31842" y="connsiteY31842"/>
              </a:cxn>
              <a:cxn ang="0">
                <a:pos x="connsiteX31843" y="connsiteY31843"/>
              </a:cxn>
              <a:cxn ang="0">
                <a:pos x="connsiteX31844" y="connsiteY31844"/>
              </a:cxn>
              <a:cxn ang="0">
                <a:pos x="connsiteX31845" y="connsiteY31845"/>
              </a:cxn>
              <a:cxn ang="0">
                <a:pos x="connsiteX31846" y="connsiteY31846"/>
              </a:cxn>
              <a:cxn ang="0">
                <a:pos x="connsiteX31847" y="connsiteY31847"/>
              </a:cxn>
              <a:cxn ang="0">
                <a:pos x="connsiteX31848" y="connsiteY31848"/>
              </a:cxn>
              <a:cxn ang="0">
                <a:pos x="connsiteX31849" y="connsiteY31849"/>
              </a:cxn>
              <a:cxn ang="0">
                <a:pos x="connsiteX31850" y="connsiteY31850"/>
              </a:cxn>
              <a:cxn ang="0">
                <a:pos x="connsiteX31851" y="connsiteY31851"/>
              </a:cxn>
              <a:cxn ang="0">
                <a:pos x="connsiteX31852" y="connsiteY31852"/>
              </a:cxn>
              <a:cxn ang="0">
                <a:pos x="connsiteX31853" y="connsiteY31853"/>
              </a:cxn>
              <a:cxn ang="0">
                <a:pos x="connsiteX31854" y="connsiteY31854"/>
              </a:cxn>
              <a:cxn ang="0">
                <a:pos x="connsiteX31855" y="connsiteY31855"/>
              </a:cxn>
              <a:cxn ang="0">
                <a:pos x="connsiteX31856" y="connsiteY31856"/>
              </a:cxn>
              <a:cxn ang="0">
                <a:pos x="connsiteX31857" y="connsiteY31857"/>
              </a:cxn>
              <a:cxn ang="0">
                <a:pos x="connsiteX31858" y="connsiteY31858"/>
              </a:cxn>
              <a:cxn ang="0">
                <a:pos x="connsiteX31859" y="connsiteY31859"/>
              </a:cxn>
              <a:cxn ang="0">
                <a:pos x="connsiteX31860" y="connsiteY31860"/>
              </a:cxn>
              <a:cxn ang="0">
                <a:pos x="connsiteX31861" y="connsiteY31861"/>
              </a:cxn>
              <a:cxn ang="0">
                <a:pos x="connsiteX31862" y="connsiteY31862"/>
              </a:cxn>
              <a:cxn ang="0">
                <a:pos x="connsiteX31863" y="connsiteY31863"/>
              </a:cxn>
              <a:cxn ang="0">
                <a:pos x="connsiteX31864" y="connsiteY31864"/>
              </a:cxn>
              <a:cxn ang="0">
                <a:pos x="connsiteX31865" y="connsiteY31865"/>
              </a:cxn>
              <a:cxn ang="0">
                <a:pos x="connsiteX31866" y="connsiteY31866"/>
              </a:cxn>
              <a:cxn ang="0">
                <a:pos x="connsiteX31867" y="connsiteY31867"/>
              </a:cxn>
              <a:cxn ang="0">
                <a:pos x="connsiteX31868" y="connsiteY31868"/>
              </a:cxn>
              <a:cxn ang="0">
                <a:pos x="connsiteX31869" y="connsiteY31869"/>
              </a:cxn>
              <a:cxn ang="0">
                <a:pos x="connsiteX31870" y="connsiteY31870"/>
              </a:cxn>
              <a:cxn ang="0">
                <a:pos x="connsiteX31871" y="connsiteY31871"/>
              </a:cxn>
              <a:cxn ang="0">
                <a:pos x="connsiteX31872" y="connsiteY31872"/>
              </a:cxn>
              <a:cxn ang="0">
                <a:pos x="connsiteX31873" y="connsiteY31873"/>
              </a:cxn>
              <a:cxn ang="0">
                <a:pos x="connsiteX31874" y="connsiteY31874"/>
              </a:cxn>
              <a:cxn ang="0">
                <a:pos x="connsiteX31875" y="connsiteY31875"/>
              </a:cxn>
              <a:cxn ang="0">
                <a:pos x="connsiteX31876" y="connsiteY31876"/>
              </a:cxn>
              <a:cxn ang="0">
                <a:pos x="connsiteX31877" y="connsiteY31877"/>
              </a:cxn>
              <a:cxn ang="0">
                <a:pos x="connsiteX31878" y="connsiteY31878"/>
              </a:cxn>
              <a:cxn ang="0">
                <a:pos x="connsiteX31879" y="connsiteY31879"/>
              </a:cxn>
              <a:cxn ang="0">
                <a:pos x="connsiteX31880" y="connsiteY31880"/>
              </a:cxn>
              <a:cxn ang="0">
                <a:pos x="connsiteX31881" y="connsiteY31881"/>
              </a:cxn>
              <a:cxn ang="0">
                <a:pos x="connsiteX31882" y="connsiteY31882"/>
              </a:cxn>
              <a:cxn ang="0">
                <a:pos x="connsiteX31883" y="connsiteY31883"/>
              </a:cxn>
              <a:cxn ang="0">
                <a:pos x="connsiteX31884" y="connsiteY31884"/>
              </a:cxn>
              <a:cxn ang="0">
                <a:pos x="connsiteX31885" y="connsiteY31885"/>
              </a:cxn>
              <a:cxn ang="0">
                <a:pos x="connsiteX31886" y="connsiteY31886"/>
              </a:cxn>
              <a:cxn ang="0">
                <a:pos x="connsiteX31887" y="connsiteY31887"/>
              </a:cxn>
              <a:cxn ang="0">
                <a:pos x="connsiteX31888" y="connsiteY31888"/>
              </a:cxn>
              <a:cxn ang="0">
                <a:pos x="connsiteX31889" y="connsiteY31889"/>
              </a:cxn>
              <a:cxn ang="0">
                <a:pos x="connsiteX31890" y="connsiteY31890"/>
              </a:cxn>
              <a:cxn ang="0">
                <a:pos x="connsiteX31891" y="connsiteY31891"/>
              </a:cxn>
              <a:cxn ang="0">
                <a:pos x="connsiteX31892" y="connsiteY31892"/>
              </a:cxn>
              <a:cxn ang="0">
                <a:pos x="connsiteX31893" y="connsiteY31893"/>
              </a:cxn>
              <a:cxn ang="0">
                <a:pos x="connsiteX31894" y="connsiteY31894"/>
              </a:cxn>
              <a:cxn ang="0">
                <a:pos x="connsiteX31895" y="connsiteY31895"/>
              </a:cxn>
              <a:cxn ang="0">
                <a:pos x="connsiteX31896" y="connsiteY31896"/>
              </a:cxn>
              <a:cxn ang="0">
                <a:pos x="connsiteX31897" y="connsiteY31897"/>
              </a:cxn>
              <a:cxn ang="0">
                <a:pos x="connsiteX31898" y="connsiteY31898"/>
              </a:cxn>
              <a:cxn ang="0">
                <a:pos x="connsiteX31899" y="connsiteY31899"/>
              </a:cxn>
              <a:cxn ang="0">
                <a:pos x="connsiteX31900" y="connsiteY31900"/>
              </a:cxn>
              <a:cxn ang="0">
                <a:pos x="connsiteX31901" y="connsiteY31901"/>
              </a:cxn>
              <a:cxn ang="0">
                <a:pos x="connsiteX31902" y="connsiteY31902"/>
              </a:cxn>
              <a:cxn ang="0">
                <a:pos x="connsiteX31903" y="connsiteY31903"/>
              </a:cxn>
              <a:cxn ang="0">
                <a:pos x="connsiteX31904" y="connsiteY31904"/>
              </a:cxn>
              <a:cxn ang="0">
                <a:pos x="connsiteX31905" y="connsiteY31905"/>
              </a:cxn>
              <a:cxn ang="0">
                <a:pos x="connsiteX31906" y="connsiteY31906"/>
              </a:cxn>
              <a:cxn ang="0">
                <a:pos x="connsiteX31907" y="connsiteY31907"/>
              </a:cxn>
              <a:cxn ang="0">
                <a:pos x="connsiteX31908" y="connsiteY31908"/>
              </a:cxn>
              <a:cxn ang="0">
                <a:pos x="connsiteX31909" y="connsiteY31909"/>
              </a:cxn>
              <a:cxn ang="0">
                <a:pos x="connsiteX31910" y="connsiteY31910"/>
              </a:cxn>
              <a:cxn ang="0">
                <a:pos x="connsiteX31911" y="connsiteY31911"/>
              </a:cxn>
              <a:cxn ang="0">
                <a:pos x="connsiteX31912" y="connsiteY31912"/>
              </a:cxn>
              <a:cxn ang="0">
                <a:pos x="connsiteX31913" y="connsiteY31913"/>
              </a:cxn>
              <a:cxn ang="0">
                <a:pos x="connsiteX31914" y="connsiteY31914"/>
              </a:cxn>
              <a:cxn ang="0">
                <a:pos x="connsiteX31915" y="connsiteY31915"/>
              </a:cxn>
              <a:cxn ang="0">
                <a:pos x="connsiteX31916" y="connsiteY31916"/>
              </a:cxn>
              <a:cxn ang="0">
                <a:pos x="connsiteX31917" y="connsiteY31917"/>
              </a:cxn>
              <a:cxn ang="0">
                <a:pos x="connsiteX31918" y="connsiteY31918"/>
              </a:cxn>
              <a:cxn ang="0">
                <a:pos x="connsiteX31919" y="connsiteY31919"/>
              </a:cxn>
              <a:cxn ang="0">
                <a:pos x="connsiteX31920" y="connsiteY31920"/>
              </a:cxn>
              <a:cxn ang="0">
                <a:pos x="connsiteX31921" y="connsiteY31921"/>
              </a:cxn>
              <a:cxn ang="0">
                <a:pos x="connsiteX31922" y="connsiteY31922"/>
              </a:cxn>
              <a:cxn ang="0">
                <a:pos x="connsiteX31923" y="connsiteY31923"/>
              </a:cxn>
              <a:cxn ang="0">
                <a:pos x="connsiteX31924" y="connsiteY31924"/>
              </a:cxn>
              <a:cxn ang="0">
                <a:pos x="connsiteX31925" y="connsiteY31925"/>
              </a:cxn>
              <a:cxn ang="0">
                <a:pos x="connsiteX31926" y="connsiteY31926"/>
              </a:cxn>
              <a:cxn ang="0">
                <a:pos x="connsiteX31927" y="connsiteY31927"/>
              </a:cxn>
              <a:cxn ang="0">
                <a:pos x="connsiteX31928" y="connsiteY31928"/>
              </a:cxn>
              <a:cxn ang="0">
                <a:pos x="connsiteX31929" y="connsiteY31929"/>
              </a:cxn>
              <a:cxn ang="0">
                <a:pos x="connsiteX31930" y="connsiteY31930"/>
              </a:cxn>
              <a:cxn ang="0">
                <a:pos x="connsiteX31931" y="connsiteY31931"/>
              </a:cxn>
              <a:cxn ang="0">
                <a:pos x="connsiteX31932" y="connsiteY31932"/>
              </a:cxn>
              <a:cxn ang="0">
                <a:pos x="connsiteX31933" y="connsiteY31933"/>
              </a:cxn>
              <a:cxn ang="0">
                <a:pos x="connsiteX31934" y="connsiteY31934"/>
              </a:cxn>
              <a:cxn ang="0">
                <a:pos x="connsiteX31935" y="connsiteY31935"/>
              </a:cxn>
              <a:cxn ang="0">
                <a:pos x="connsiteX31936" y="connsiteY31936"/>
              </a:cxn>
              <a:cxn ang="0">
                <a:pos x="connsiteX31937" y="connsiteY31937"/>
              </a:cxn>
              <a:cxn ang="0">
                <a:pos x="connsiteX31938" y="connsiteY31938"/>
              </a:cxn>
              <a:cxn ang="0">
                <a:pos x="connsiteX31939" y="connsiteY31939"/>
              </a:cxn>
              <a:cxn ang="0">
                <a:pos x="connsiteX31940" y="connsiteY31940"/>
              </a:cxn>
              <a:cxn ang="0">
                <a:pos x="connsiteX31941" y="connsiteY31941"/>
              </a:cxn>
              <a:cxn ang="0">
                <a:pos x="connsiteX31942" y="connsiteY31942"/>
              </a:cxn>
              <a:cxn ang="0">
                <a:pos x="connsiteX31943" y="connsiteY31943"/>
              </a:cxn>
              <a:cxn ang="0">
                <a:pos x="connsiteX31944" y="connsiteY31944"/>
              </a:cxn>
              <a:cxn ang="0">
                <a:pos x="connsiteX31945" y="connsiteY31945"/>
              </a:cxn>
              <a:cxn ang="0">
                <a:pos x="connsiteX31946" y="connsiteY31946"/>
              </a:cxn>
              <a:cxn ang="0">
                <a:pos x="connsiteX31947" y="connsiteY31947"/>
              </a:cxn>
              <a:cxn ang="0">
                <a:pos x="connsiteX31948" y="connsiteY31948"/>
              </a:cxn>
              <a:cxn ang="0">
                <a:pos x="connsiteX31949" y="connsiteY31949"/>
              </a:cxn>
              <a:cxn ang="0">
                <a:pos x="connsiteX31950" y="connsiteY31950"/>
              </a:cxn>
              <a:cxn ang="0">
                <a:pos x="connsiteX31951" y="connsiteY31951"/>
              </a:cxn>
              <a:cxn ang="0">
                <a:pos x="connsiteX31952" y="connsiteY31952"/>
              </a:cxn>
              <a:cxn ang="0">
                <a:pos x="connsiteX31953" y="connsiteY31953"/>
              </a:cxn>
              <a:cxn ang="0">
                <a:pos x="connsiteX31954" y="connsiteY31954"/>
              </a:cxn>
              <a:cxn ang="0">
                <a:pos x="connsiteX31955" y="connsiteY31955"/>
              </a:cxn>
              <a:cxn ang="0">
                <a:pos x="connsiteX31956" y="connsiteY31956"/>
              </a:cxn>
              <a:cxn ang="0">
                <a:pos x="connsiteX31957" y="connsiteY31957"/>
              </a:cxn>
              <a:cxn ang="0">
                <a:pos x="connsiteX31958" y="connsiteY31958"/>
              </a:cxn>
              <a:cxn ang="0">
                <a:pos x="connsiteX31959" y="connsiteY31959"/>
              </a:cxn>
              <a:cxn ang="0">
                <a:pos x="connsiteX31960" y="connsiteY31960"/>
              </a:cxn>
              <a:cxn ang="0">
                <a:pos x="connsiteX31961" y="connsiteY31961"/>
              </a:cxn>
              <a:cxn ang="0">
                <a:pos x="connsiteX31962" y="connsiteY31962"/>
              </a:cxn>
              <a:cxn ang="0">
                <a:pos x="connsiteX31963" y="connsiteY31963"/>
              </a:cxn>
              <a:cxn ang="0">
                <a:pos x="connsiteX31964" y="connsiteY31964"/>
              </a:cxn>
              <a:cxn ang="0">
                <a:pos x="connsiteX31965" y="connsiteY31965"/>
              </a:cxn>
              <a:cxn ang="0">
                <a:pos x="connsiteX31966" y="connsiteY31966"/>
              </a:cxn>
              <a:cxn ang="0">
                <a:pos x="connsiteX31967" y="connsiteY31967"/>
              </a:cxn>
              <a:cxn ang="0">
                <a:pos x="connsiteX31968" y="connsiteY31968"/>
              </a:cxn>
              <a:cxn ang="0">
                <a:pos x="connsiteX31969" y="connsiteY31969"/>
              </a:cxn>
              <a:cxn ang="0">
                <a:pos x="connsiteX31970" y="connsiteY31970"/>
              </a:cxn>
              <a:cxn ang="0">
                <a:pos x="connsiteX31971" y="connsiteY31971"/>
              </a:cxn>
              <a:cxn ang="0">
                <a:pos x="connsiteX31972" y="connsiteY31972"/>
              </a:cxn>
              <a:cxn ang="0">
                <a:pos x="connsiteX31973" y="connsiteY31973"/>
              </a:cxn>
              <a:cxn ang="0">
                <a:pos x="connsiteX31974" y="connsiteY31974"/>
              </a:cxn>
              <a:cxn ang="0">
                <a:pos x="connsiteX31975" y="connsiteY31975"/>
              </a:cxn>
              <a:cxn ang="0">
                <a:pos x="connsiteX31976" y="connsiteY31976"/>
              </a:cxn>
              <a:cxn ang="0">
                <a:pos x="connsiteX31977" y="connsiteY31977"/>
              </a:cxn>
              <a:cxn ang="0">
                <a:pos x="connsiteX31978" y="connsiteY31978"/>
              </a:cxn>
              <a:cxn ang="0">
                <a:pos x="connsiteX31979" y="connsiteY31979"/>
              </a:cxn>
              <a:cxn ang="0">
                <a:pos x="connsiteX31980" y="connsiteY31980"/>
              </a:cxn>
              <a:cxn ang="0">
                <a:pos x="connsiteX31981" y="connsiteY31981"/>
              </a:cxn>
              <a:cxn ang="0">
                <a:pos x="connsiteX31982" y="connsiteY31982"/>
              </a:cxn>
              <a:cxn ang="0">
                <a:pos x="connsiteX31983" y="connsiteY31983"/>
              </a:cxn>
              <a:cxn ang="0">
                <a:pos x="connsiteX31984" y="connsiteY31984"/>
              </a:cxn>
              <a:cxn ang="0">
                <a:pos x="connsiteX31985" y="connsiteY31985"/>
              </a:cxn>
              <a:cxn ang="0">
                <a:pos x="connsiteX31986" y="connsiteY31986"/>
              </a:cxn>
              <a:cxn ang="0">
                <a:pos x="connsiteX31987" y="connsiteY31987"/>
              </a:cxn>
              <a:cxn ang="0">
                <a:pos x="connsiteX31988" y="connsiteY31988"/>
              </a:cxn>
              <a:cxn ang="0">
                <a:pos x="connsiteX31989" y="connsiteY31989"/>
              </a:cxn>
              <a:cxn ang="0">
                <a:pos x="connsiteX31990" y="connsiteY31990"/>
              </a:cxn>
              <a:cxn ang="0">
                <a:pos x="connsiteX31991" y="connsiteY31991"/>
              </a:cxn>
              <a:cxn ang="0">
                <a:pos x="connsiteX31992" y="connsiteY31992"/>
              </a:cxn>
              <a:cxn ang="0">
                <a:pos x="connsiteX31993" y="connsiteY31993"/>
              </a:cxn>
              <a:cxn ang="0">
                <a:pos x="connsiteX31994" y="connsiteY31994"/>
              </a:cxn>
              <a:cxn ang="0">
                <a:pos x="connsiteX31995" y="connsiteY31995"/>
              </a:cxn>
              <a:cxn ang="0">
                <a:pos x="connsiteX31996" y="connsiteY31996"/>
              </a:cxn>
              <a:cxn ang="0">
                <a:pos x="connsiteX31997" y="connsiteY31997"/>
              </a:cxn>
              <a:cxn ang="0">
                <a:pos x="connsiteX31998" y="connsiteY31998"/>
              </a:cxn>
              <a:cxn ang="0">
                <a:pos x="connsiteX31999" y="connsiteY31999"/>
              </a:cxn>
              <a:cxn ang="0">
                <a:pos x="connsiteX32000" y="connsiteY32000"/>
              </a:cxn>
              <a:cxn ang="0">
                <a:pos x="connsiteX32001" y="connsiteY32001"/>
              </a:cxn>
              <a:cxn ang="0">
                <a:pos x="connsiteX32002" y="connsiteY32002"/>
              </a:cxn>
              <a:cxn ang="0">
                <a:pos x="connsiteX32003" y="connsiteY32003"/>
              </a:cxn>
              <a:cxn ang="0">
                <a:pos x="connsiteX32004" y="connsiteY32004"/>
              </a:cxn>
              <a:cxn ang="0">
                <a:pos x="connsiteX32005" y="connsiteY32005"/>
              </a:cxn>
              <a:cxn ang="0">
                <a:pos x="connsiteX32006" y="connsiteY32006"/>
              </a:cxn>
              <a:cxn ang="0">
                <a:pos x="connsiteX32007" y="connsiteY32007"/>
              </a:cxn>
              <a:cxn ang="0">
                <a:pos x="connsiteX32008" y="connsiteY32008"/>
              </a:cxn>
              <a:cxn ang="0">
                <a:pos x="connsiteX32009" y="connsiteY32009"/>
              </a:cxn>
              <a:cxn ang="0">
                <a:pos x="connsiteX32010" y="connsiteY32010"/>
              </a:cxn>
              <a:cxn ang="0">
                <a:pos x="connsiteX32011" y="connsiteY32011"/>
              </a:cxn>
              <a:cxn ang="0">
                <a:pos x="connsiteX32012" y="connsiteY32012"/>
              </a:cxn>
              <a:cxn ang="0">
                <a:pos x="connsiteX32013" y="connsiteY32013"/>
              </a:cxn>
              <a:cxn ang="0">
                <a:pos x="connsiteX32014" y="connsiteY32014"/>
              </a:cxn>
              <a:cxn ang="0">
                <a:pos x="connsiteX32015" y="connsiteY32015"/>
              </a:cxn>
              <a:cxn ang="0">
                <a:pos x="connsiteX32016" y="connsiteY32016"/>
              </a:cxn>
              <a:cxn ang="0">
                <a:pos x="connsiteX32017" y="connsiteY32017"/>
              </a:cxn>
              <a:cxn ang="0">
                <a:pos x="connsiteX32018" y="connsiteY32018"/>
              </a:cxn>
              <a:cxn ang="0">
                <a:pos x="connsiteX32019" y="connsiteY32019"/>
              </a:cxn>
              <a:cxn ang="0">
                <a:pos x="connsiteX32020" y="connsiteY32020"/>
              </a:cxn>
              <a:cxn ang="0">
                <a:pos x="connsiteX32021" y="connsiteY32021"/>
              </a:cxn>
              <a:cxn ang="0">
                <a:pos x="connsiteX32022" y="connsiteY32022"/>
              </a:cxn>
              <a:cxn ang="0">
                <a:pos x="connsiteX32023" y="connsiteY32023"/>
              </a:cxn>
              <a:cxn ang="0">
                <a:pos x="connsiteX32024" y="connsiteY32024"/>
              </a:cxn>
              <a:cxn ang="0">
                <a:pos x="connsiteX32025" y="connsiteY32025"/>
              </a:cxn>
              <a:cxn ang="0">
                <a:pos x="connsiteX32026" y="connsiteY32026"/>
              </a:cxn>
              <a:cxn ang="0">
                <a:pos x="connsiteX32027" y="connsiteY32027"/>
              </a:cxn>
              <a:cxn ang="0">
                <a:pos x="connsiteX32028" y="connsiteY32028"/>
              </a:cxn>
              <a:cxn ang="0">
                <a:pos x="connsiteX32029" y="connsiteY32029"/>
              </a:cxn>
              <a:cxn ang="0">
                <a:pos x="connsiteX32030" y="connsiteY32030"/>
              </a:cxn>
              <a:cxn ang="0">
                <a:pos x="connsiteX32031" y="connsiteY32031"/>
              </a:cxn>
              <a:cxn ang="0">
                <a:pos x="connsiteX32032" y="connsiteY32032"/>
              </a:cxn>
              <a:cxn ang="0">
                <a:pos x="connsiteX32033" y="connsiteY32033"/>
              </a:cxn>
              <a:cxn ang="0">
                <a:pos x="connsiteX32034" y="connsiteY32034"/>
              </a:cxn>
              <a:cxn ang="0">
                <a:pos x="connsiteX32035" y="connsiteY32035"/>
              </a:cxn>
              <a:cxn ang="0">
                <a:pos x="connsiteX32036" y="connsiteY32036"/>
              </a:cxn>
              <a:cxn ang="0">
                <a:pos x="connsiteX32037" y="connsiteY32037"/>
              </a:cxn>
              <a:cxn ang="0">
                <a:pos x="connsiteX32038" y="connsiteY32038"/>
              </a:cxn>
              <a:cxn ang="0">
                <a:pos x="connsiteX32039" y="connsiteY32039"/>
              </a:cxn>
              <a:cxn ang="0">
                <a:pos x="connsiteX32040" y="connsiteY32040"/>
              </a:cxn>
              <a:cxn ang="0">
                <a:pos x="connsiteX32041" y="connsiteY32041"/>
              </a:cxn>
              <a:cxn ang="0">
                <a:pos x="connsiteX32042" y="connsiteY32042"/>
              </a:cxn>
              <a:cxn ang="0">
                <a:pos x="connsiteX32043" y="connsiteY32043"/>
              </a:cxn>
              <a:cxn ang="0">
                <a:pos x="connsiteX32044" y="connsiteY32044"/>
              </a:cxn>
              <a:cxn ang="0">
                <a:pos x="connsiteX32045" y="connsiteY32045"/>
              </a:cxn>
              <a:cxn ang="0">
                <a:pos x="connsiteX32046" y="connsiteY32046"/>
              </a:cxn>
              <a:cxn ang="0">
                <a:pos x="connsiteX32047" y="connsiteY32047"/>
              </a:cxn>
              <a:cxn ang="0">
                <a:pos x="connsiteX32048" y="connsiteY32048"/>
              </a:cxn>
              <a:cxn ang="0">
                <a:pos x="connsiteX32049" y="connsiteY32049"/>
              </a:cxn>
              <a:cxn ang="0">
                <a:pos x="connsiteX32050" y="connsiteY32050"/>
              </a:cxn>
              <a:cxn ang="0">
                <a:pos x="connsiteX32051" y="connsiteY32051"/>
              </a:cxn>
              <a:cxn ang="0">
                <a:pos x="connsiteX32052" y="connsiteY32052"/>
              </a:cxn>
              <a:cxn ang="0">
                <a:pos x="connsiteX32053" y="connsiteY32053"/>
              </a:cxn>
              <a:cxn ang="0">
                <a:pos x="connsiteX32054" y="connsiteY32054"/>
              </a:cxn>
              <a:cxn ang="0">
                <a:pos x="connsiteX32055" y="connsiteY32055"/>
              </a:cxn>
              <a:cxn ang="0">
                <a:pos x="connsiteX32056" y="connsiteY32056"/>
              </a:cxn>
              <a:cxn ang="0">
                <a:pos x="connsiteX32057" y="connsiteY32057"/>
              </a:cxn>
              <a:cxn ang="0">
                <a:pos x="connsiteX32058" y="connsiteY32058"/>
              </a:cxn>
              <a:cxn ang="0">
                <a:pos x="connsiteX32059" y="connsiteY32059"/>
              </a:cxn>
              <a:cxn ang="0">
                <a:pos x="connsiteX32060" y="connsiteY32060"/>
              </a:cxn>
              <a:cxn ang="0">
                <a:pos x="connsiteX32061" y="connsiteY32061"/>
              </a:cxn>
              <a:cxn ang="0">
                <a:pos x="connsiteX32062" y="connsiteY32062"/>
              </a:cxn>
              <a:cxn ang="0">
                <a:pos x="connsiteX32063" y="connsiteY32063"/>
              </a:cxn>
              <a:cxn ang="0">
                <a:pos x="connsiteX32064" y="connsiteY32064"/>
              </a:cxn>
              <a:cxn ang="0">
                <a:pos x="connsiteX32065" y="connsiteY32065"/>
              </a:cxn>
              <a:cxn ang="0">
                <a:pos x="connsiteX32066" y="connsiteY32066"/>
              </a:cxn>
              <a:cxn ang="0">
                <a:pos x="connsiteX32067" y="connsiteY32067"/>
              </a:cxn>
              <a:cxn ang="0">
                <a:pos x="connsiteX32068" y="connsiteY32068"/>
              </a:cxn>
              <a:cxn ang="0">
                <a:pos x="connsiteX32069" y="connsiteY32069"/>
              </a:cxn>
              <a:cxn ang="0">
                <a:pos x="connsiteX32070" y="connsiteY32070"/>
              </a:cxn>
              <a:cxn ang="0">
                <a:pos x="connsiteX32071" y="connsiteY32071"/>
              </a:cxn>
              <a:cxn ang="0">
                <a:pos x="connsiteX32072" y="connsiteY32072"/>
              </a:cxn>
              <a:cxn ang="0">
                <a:pos x="connsiteX32073" y="connsiteY32073"/>
              </a:cxn>
              <a:cxn ang="0">
                <a:pos x="connsiteX32074" y="connsiteY32074"/>
              </a:cxn>
              <a:cxn ang="0">
                <a:pos x="connsiteX32075" y="connsiteY32075"/>
              </a:cxn>
              <a:cxn ang="0">
                <a:pos x="connsiteX32076" y="connsiteY32076"/>
              </a:cxn>
              <a:cxn ang="0">
                <a:pos x="connsiteX32077" y="connsiteY32077"/>
              </a:cxn>
              <a:cxn ang="0">
                <a:pos x="connsiteX32078" y="connsiteY32078"/>
              </a:cxn>
              <a:cxn ang="0">
                <a:pos x="connsiteX32079" y="connsiteY32079"/>
              </a:cxn>
              <a:cxn ang="0">
                <a:pos x="connsiteX32080" y="connsiteY32080"/>
              </a:cxn>
              <a:cxn ang="0">
                <a:pos x="connsiteX32081" y="connsiteY32081"/>
              </a:cxn>
              <a:cxn ang="0">
                <a:pos x="connsiteX32082" y="connsiteY32082"/>
              </a:cxn>
              <a:cxn ang="0">
                <a:pos x="connsiteX32083" y="connsiteY32083"/>
              </a:cxn>
              <a:cxn ang="0">
                <a:pos x="connsiteX32084" y="connsiteY32084"/>
              </a:cxn>
              <a:cxn ang="0">
                <a:pos x="connsiteX32085" y="connsiteY32085"/>
              </a:cxn>
              <a:cxn ang="0">
                <a:pos x="connsiteX32086" y="connsiteY32086"/>
              </a:cxn>
              <a:cxn ang="0">
                <a:pos x="connsiteX32087" y="connsiteY32087"/>
              </a:cxn>
              <a:cxn ang="0">
                <a:pos x="connsiteX32088" y="connsiteY32088"/>
              </a:cxn>
              <a:cxn ang="0">
                <a:pos x="connsiteX32089" y="connsiteY32089"/>
              </a:cxn>
              <a:cxn ang="0">
                <a:pos x="connsiteX32090" y="connsiteY32090"/>
              </a:cxn>
              <a:cxn ang="0">
                <a:pos x="connsiteX32091" y="connsiteY32091"/>
              </a:cxn>
              <a:cxn ang="0">
                <a:pos x="connsiteX32092" y="connsiteY32092"/>
              </a:cxn>
              <a:cxn ang="0">
                <a:pos x="connsiteX32093" y="connsiteY32093"/>
              </a:cxn>
              <a:cxn ang="0">
                <a:pos x="connsiteX32094" y="connsiteY32094"/>
              </a:cxn>
              <a:cxn ang="0">
                <a:pos x="connsiteX32095" y="connsiteY32095"/>
              </a:cxn>
              <a:cxn ang="0">
                <a:pos x="connsiteX32096" y="connsiteY32096"/>
              </a:cxn>
              <a:cxn ang="0">
                <a:pos x="connsiteX32097" y="connsiteY32097"/>
              </a:cxn>
              <a:cxn ang="0">
                <a:pos x="connsiteX32098" y="connsiteY32098"/>
              </a:cxn>
              <a:cxn ang="0">
                <a:pos x="connsiteX32099" y="connsiteY32099"/>
              </a:cxn>
              <a:cxn ang="0">
                <a:pos x="connsiteX32100" y="connsiteY32100"/>
              </a:cxn>
              <a:cxn ang="0">
                <a:pos x="connsiteX32101" y="connsiteY32101"/>
              </a:cxn>
              <a:cxn ang="0">
                <a:pos x="connsiteX32102" y="connsiteY32102"/>
              </a:cxn>
              <a:cxn ang="0">
                <a:pos x="connsiteX32103" y="connsiteY32103"/>
              </a:cxn>
              <a:cxn ang="0">
                <a:pos x="connsiteX32104" y="connsiteY32104"/>
              </a:cxn>
              <a:cxn ang="0">
                <a:pos x="connsiteX32105" y="connsiteY32105"/>
              </a:cxn>
              <a:cxn ang="0">
                <a:pos x="connsiteX32106" y="connsiteY32106"/>
              </a:cxn>
              <a:cxn ang="0">
                <a:pos x="connsiteX32107" y="connsiteY32107"/>
              </a:cxn>
              <a:cxn ang="0">
                <a:pos x="connsiteX32108" y="connsiteY32108"/>
              </a:cxn>
              <a:cxn ang="0">
                <a:pos x="connsiteX32109" y="connsiteY32109"/>
              </a:cxn>
              <a:cxn ang="0">
                <a:pos x="connsiteX32110" y="connsiteY32110"/>
              </a:cxn>
              <a:cxn ang="0">
                <a:pos x="connsiteX32111" y="connsiteY32111"/>
              </a:cxn>
              <a:cxn ang="0">
                <a:pos x="connsiteX32112" y="connsiteY32112"/>
              </a:cxn>
              <a:cxn ang="0">
                <a:pos x="connsiteX32113" y="connsiteY32113"/>
              </a:cxn>
              <a:cxn ang="0">
                <a:pos x="connsiteX32114" y="connsiteY32114"/>
              </a:cxn>
              <a:cxn ang="0">
                <a:pos x="connsiteX32115" y="connsiteY32115"/>
              </a:cxn>
              <a:cxn ang="0">
                <a:pos x="connsiteX32116" y="connsiteY32116"/>
              </a:cxn>
              <a:cxn ang="0">
                <a:pos x="connsiteX32117" y="connsiteY32117"/>
              </a:cxn>
              <a:cxn ang="0">
                <a:pos x="connsiteX32118" y="connsiteY32118"/>
              </a:cxn>
              <a:cxn ang="0">
                <a:pos x="connsiteX32119" y="connsiteY32119"/>
              </a:cxn>
              <a:cxn ang="0">
                <a:pos x="connsiteX32120" y="connsiteY32120"/>
              </a:cxn>
              <a:cxn ang="0">
                <a:pos x="connsiteX32121" y="connsiteY32121"/>
              </a:cxn>
              <a:cxn ang="0">
                <a:pos x="connsiteX32122" y="connsiteY32122"/>
              </a:cxn>
              <a:cxn ang="0">
                <a:pos x="connsiteX32123" y="connsiteY32123"/>
              </a:cxn>
              <a:cxn ang="0">
                <a:pos x="connsiteX32124" y="connsiteY32124"/>
              </a:cxn>
              <a:cxn ang="0">
                <a:pos x="connsiteX32125" y="connsiteY32125"/>
              </a:cxn>
              <a:cxn ang="0">
                <a:pos x="connsiteX32126" y="connsiteY32126"/>
              </a:cxn>
              <a:cxn ang="0">
                <a:pos x="connsiteX32127" y="connsiteY32127"/>
              </a:cxn>
              <a:cxn ang="0">
                <a:pos x="connsiteX32128" y="connsiteY32128"/>
              </a:cxn>
              <a:cxn ang="0">
                <a:pos x="connsiteX32129" y="connsiteY32129"/>
              </a:cxn>
              <a:cxn ang="0">
                <a:pos x="connsiteX32130" y="connsiteY32130"/>
              </a:cxn>
              <a:cxn ang="0">
                <a:pos x="connsiteX32131" y="connsiteY32131"/>
              </a:cxn>
              <a:cxn ang="0">
                <a:pos x="connsiteX32132" y="connsiteY32132"/>
              </a:cxn>
              <a:cxn ang="0">
                <a:pos x="connsiteX32133" y="connsiteY32133"/>
              </a:cxn>
              <a:cxn ang="0">
                <a:pos x="connsiteX32134" y="connsiteY32134"/>
              </a:cxn>
              <a:cxn ang="0">
                <a:pos x="connsiteX32135" y="connsiteY32135"/>
              </a:cxn>
              <a:cxn ang="0">
                <a:pos x="connsiteX32136" y="connsiteY32136"/>
              </a:cxn>
              <a:cxn ang="0">
                <a:pos x="connsiteX32137" y="connsiteY32137"/>
              </a:cxn>
              <a:cxn ang="0">
                <a:pos x="connsiteX32138" y="connsiteY32138"/>
              </a:cxn>
              <a:cxn ang="0">
                <a:pos x="connsiteX32139" y="connsiteY32139"/>
              </a:cxn>
              <a:cxn ang="0">
                <a:pos x="connsiteX32140" y="connsiteY32140"/>
              </a:cxn>
              <a:cxn ang="0">
                <a:pos x="connsiteX32141" y="connsiteY32141"/>
              </a:cxn>
              <a:cxn ang="0">
                <a:pos x="connsiteX32142" y="connsiteY32142"/>
              </a:cxn>
              <a:cxn ang="0">
                <a:pos x="connsiteX32143" y="connsiteY32143"/>
              </a:cxn>
              <a:cxn ang="0">
                <a:pos x="connsiteX32144" y="connsiteY32144"/>
              </a:cxn>
              <a:cxn ang="0">
                <a:pos x="connsiteX32145" y="connsiteY32145"/>
              </a:cxn>
              <a:cxn ang="0">
                <a:pos x="connsiteX32146" y="connsiteY32146"/>
              </a:cxn>
              <a:cxn ang="0">
                <a:pos x="connsiteX32147" y="connsiteY32147"/>
              </a:cxn>
              <a:cxn ang="0">
                <a:pos x="connsiteX32148" y="connsiteY32148"/>
              </a:cxn>
              <a:cxn ang="0">
                <a:pos x="connsiteX32149" y="connsiteY32149"/>
              </a:cxn>
              <a:cxn ang="0">
                <a:pos x="connsiteX32150" y="connsiteY32150"/>
              </a:cxn>
              <a:cxn ang="0">
                <a:pos x="connsiteX32151" y="connsiteY32151"/>
              </a:cxn>
              <a:cxn ang="0">
                <a:pos x="connsiteX32152" y="connsiteY32152"/>
              </a:cxn>
              <a:cxn ang="0">
                <a:pos x="connsiteX32153" y="connsiteY32153"/>
              </a:cxn>
              <a:cxn ang="0">
                <a:pos x="connsiteX32154" y="connsiteY32154"/>
              </a:cxn>
              <a:cxn ang="0">
                <a:pos x="connsiteX32155" y="connsiteY32155"/>
              </a:cxn>
              <a:cxn ang="0">
                <a:pos x="connsiteX32156" y="connsiteY32156"/>
              </a:cxn>
              <a:cxn ang="0">
                <a:pos x="connsiteX32157" y="connsiteY32157"/>
              </a:cxn>
              <a:cxn ang="0">
                <a:pos x="connsiteX32158" y="connsiteY32158"/>
              </a:cxn>
              <a:cxn ang="0">
                <a:pos x="connsiteX32159" y="connsiteY32159"/>
              </a:cxn>
              <a:cxn ang="0">
                <a:pos x="connsiteX32160" y="connsiteY32160"/>
              </a:cxn>
              <a:cxn ang="0">
                <a:pos x="connsiteX32161" y="connsiteY32161"/>
              </a:cxn>
              <a:cxn ang="0">
                <a:pos x="connsiteX32162" y="connsiteY32162"/>
              </a:cxn>
              <a:cxn ang="0">
                <a:pos x="connsiteX32163" y="connsiteY32163"/>
              </a:cxn>
              <a:cxn ang="0">
                <a:pos x="connsiteX32164" y="connsiteY32164"/>
              </a:cxn>
              <a:cxn ang="0">
                <a:pos x="connsiteX32165" y="connsiteY32165"/>
              </a:cxn>
              <a:cxn ang="0">
                <a:pos x="connsiteX32166" y="connsiteY32166"/>
              </a:cxn>
              <a:cxn ang="0">
                <a:pos x="connsiteX32167" y="connsiteY32167"/>
              </a:cxn>
              <a:cxn ang="0">
                <a:pos x="connsiteX32168" y="connsiteY32168"/>
              </a:cxn>
              <a:cxn ang="0">
                <a:pos x="connsiteX32169" y="connsiteY32169"/>
              </a:cxn>
              <a:cxn ang="0">
                <a:pos x="connsiteX32170" y="connsiteY32170"/>
              </a:cxn>
              <a:cxn ang="0">
                <a:pos x="connsiteX32171" y="connsiteY32171"/>
              </a:cxn>
              <a:cxn ang="0">
                <a:pos x="connsiteX32172" y="connsiteY32172"/>
              </a:cxn>
              <a:cxn ang="0">
                <a:pos x="connsiteX32173" y="connsiteY32173"/>
              </a:cxn>
              <a:cxn ang="0">
                <a:pos x="connsiteX32174" y="connsiteY32174"/>
              </a:cxn>
              <a:cxn ang="0">
                <a:pos x="connsiteX32175" y="connsiteY32175"/>
              </a:cxn>
              <a:cxn ang="0">
                <a:pos x="connsiteX32176" y="connsiteY32176"/>
              </a:cxn>
              <a:cxn ang="0">
                <a:pos x="connsiteX32177" y="connsiteY32177"/>
              </a:cxn>
              <a:cxn ang="0">
                <a:pos x="connsiteX32178" y="connsiteY32178"/>
              </a:cxn>
              <a:cxn ang="0">
                <a:pos x="connsiteX32179" y="connsiteY32179"/>
              </a:cxn>
              <a:cxn ang="0">
                <a:pos x="connsiteX32180" y="connsiteY32180"/>
              </a:cxn>
              <a:cxn ang="0">
                <a:pos x="connsiteX32181" y="connsiteY32181"/>
              </a:cxn>
              <a:cxn ang="0">
                <a:pos x="connsiteX32182" y="connsiteY32182"/>
              </a:cxn>
              <a:cxn ang="0">
                <a:pos x="connsiteX32183" y="connsiteY32183"/>
              </a:cxn>
              <a:cxn ang="0">
                <a:pos x="connsiteX32184" y="connsiteY32184"/>
              </a:cxn>
              <a:cxn ang="0">
                <a:pos x="connsiteX32185" y="connsiteY32185"/>
              </a:cxn>
              <a:cxn ang="0">
                <a:pos x="connsiteX32186" y="connsiteY32186"/>
              </a:cxn>
              <a:cxn ang="0">
                <a:pos x="connsiteX32187" y="connsiteY32187"/>
              </a:cxn>
              <a:cxn ang="0">
                <a:pos x="connsiteX32188" y="connsiteY32188"/>
              </a:cxn>
              <a:cxn ang="0">
                <a:pos x="connsiteX32189" y="connsiteY32189"/>
              </a:cxn>
              <a:cxn ang="0">
                <a:pos x="connsiteX32190" y="connsiteY32190"/>
              </a:cxn>
              <a:cxn ang="0">
                <a:pos x="connsiteX32191" y="connsiteY32191"/>
              </a:cxn>
              <a:cxn ang="0">
                <a:pos x="connsiteX32192" y="connsiteY32192"/>
              </a:cxn>
              <a:cxn ang="0">
                <a:pos x="connsiteX32193" y="connsiteY32193"/>
              </a:cxn>
              <a:cxn ang="0">
                <a:pos x="connsiteX32194" y="connsiteY32194"/>
              </a:cxn>
              <a:cxn ang="0">
                <a:pos x="connsiteX32195" y="connsiteY32195"/>
              </a:cxn>
              <a:cxn ang="0">
                <a:pos x="connsiteX32196" y="connsiteY32196"/>
              </a:cxn>
              <a:cxn ang="0">
                <a:pos x="connsiteX32197" y="connsiteY32197"/>
              </a:cxn>
              <a:cxn ang="0">
                <a:pos x="connsiteX32198" y="connsiteY32198"/>
              </a:cxn>
              <a:cxn ang="0">
                <a:pos x="connsiteX32199" y="connsiteY32199"/>
              </a:cxn>
              <a:cxn ang="0">
                <a:pos x="connsiteX32200" y="connsiteY32200"/>
              </a:cxn>
              <a:cxn ang="0">
                <a:pos x="connsiteX32201" y="connsiteY32201"/>
              </a:cxn>
              <a:cxn ang="0">
                <a:pos x="connsiteX32202" y="connsiteY32202"/>
              </a:cxn>
              <a:cxn ang="0">
                <a:pos x="connsiteX32203" y="connsiteY32203"/>
              </a:cxn>
              <a:cxn ang="0">
                <a:pos x="connsiteX32204" y="connsiteY32204"/>
              </a:cxn>
              <a:cxn ang="0">
                <a:pos x="connsiteX32205" y="connsiteY32205"/>
              </a:cxn>
              <a:cxn ang="0">
                <a:pos x="connsiteX32206" y="connsiteY32206"/>
              </a:cxn>
              <a:cxn ang="0">
                <a:pos x="connsiteX32207" y="connsiteY32207"/>
              </a:cxn>
              <a:cxn ang="0">
                <a:pos x="connsiteX32208" y="connsiteY32208"/>
              </a:cxn>
              <a:cxn ang="0">
                <a:pos x="connsiteX32209" y="connsiteY32209"/>
              </a:cxn>
              <a:cxn ang="0">
                <a:pos x="connsiteX32210" y="connsiteY32210"/>
              </a:cxn>
              <a:cxn ang="0">
                <a:pos x="connsiteX32211" y="connsiteY32211"/>
              </a:cxn>
              <a:cxn ang="0">
                <a:pos x="connsiteX32212" y="connsiteY32212"/>
              </a:cxn>
              <a:cxn ang="0">
                <a:pos x="connsiteX32213" y="connsiteY32213"/>
              </a:cxn>
              <a:cxn ang="0">
                <a:pos x="connsiteX32214" y="connsiteY32214"/>
              </a:cxn>
              <a:cxn ang="0">
                <a:pos x="connsiteX32215" y="connsiteY32215"/>
              </a:cxn>
              <a:cxn ang="0">
                <a:pos x="connsiteX32216" y="connsiteY32216"/>
              </a:cxn>
              <a:cxn ang="0">
                <a:pos x="connsiteX32217" y="connsiteY32217"/>
              </a:cxn>
              <a:cxn ang="0">
                <a:pos x="connsiteX32218" y="connsiteY32218"/>
              </a:cxn>
              <a:cxn ang="0">
                <a:pos x="connsiteX32219" y="connsiteY32219"/>
              </a:cxn>
              <a:cxn ang="0">
                <a:pos x="connsiteX32220" y="connsiteY32220"/>
              </a:cxn>
              <a:cxn ang="0">
                <a:pos x="connsiteX32221" y="connsiteY32221"/>
              </a:cxn>
              <a:cxn ang="0">
                <a:pos x="connsiteX32222" y="connsiteY32222"/>
              </a:cxn>
              <a:cxn ang="0">
                <a:pos x="connsiteX32223" y="connsiteY32223"/>
              </a:cxn>
              <a:cxn ang="0">
                <a:pos x="connsiteX32224" y="connsiteY32224"/>
              </a:cxn>
              <a:cxn ang="0">
                <a:pos x="connsiteX32225" y="connsiteY32225"/>
              </a:cxn>
              <a:cxn ang="0">
                <a:pos x="connsiteX32226" y="connsiteY32226"/>
              </a:cxn>
              <a:cxn ang="0">
                <a:pos x="connsiteX32227" y="connsiteY32227"/>
              </a:cxn>
              <a:cxn ang="0">
                <a:pos x="connsiteX32228" y="connsiteY32228"/>
              </a:cxn>
              <a:cxn ang="0">
                <a:pos x="connsiteX32229" y="connsiteY32229"/>
              </a:cxn>
              <a:cxn ang="0">
                <a:pos x="connsiteX32230" y="connsiteY32230"/>
              </a:cxn>
              <a:cxn ang="0">
                <a:pos x="connsiteX32231" y="connsiteY32231"/>
              </a:cxn>
              <a:cxn ang="0">
                <a:pos x="connsiteX32232" y="connsiteY32232"/>
              </a:cxn>
              <a:cxn ang="0">
                <a:pos x="connsiteX32233" y="connsiteY32233"/>
              </a:cxn>
              <a:cxn ang="0">
                <a:pos x="connsiteX32234" y="connsiteY32234"/>
              </a:cxn>
              <a:cxn ang="0">
                <a:pos x="connsiteX32235" y="connsiteY32235"/>
              </a:cxn>
              <a:cxn ang="0">
                <a:pos x="connsiteX32236" y="connsiteY32236"/>
              </a:cxn>
              <a:cxn ang="0">
                <a:pos x="connsiteX32237" y="connsiteY32237"/>
              </a:cxn>
              <a:cxn ang="0">
                <a:pos x="connsiteX32238" y="connsiteY32238"/>
              </a:cxn>
              <a:cxn ang="0">
                <a:pos x="connsiteX32239" y="connsiteY32239"/>
              </a:cxn>
              <a:cxn ang="0">
                <a:pos x="connsiteX32240" y="connsiteY32240"/>
              </a:cxn>
              <a:cxn ang="0">
                <a:pos x="connsiteX32241" y="connsiteY32241"/>
              </a:cxn>
              <a:cxn ang="0">
                <a:pos x="connsiteX32242" y="connsiteY32242"/>
              </a:cxn>
              <a:cxn ang="0">
                <a:pos x="connsiteX32243" y="connsiteY32243"/>
              </a:cxn>
              <a:cxn ang="0">
                <a:pos x="connsiteX32244" y="connsiteY32244"/>
              </a:cxn>
              <a:cxn ang="0">
                <a:pos x="connsiteX32245" y="connsiteY32245"/>
              </a:cxn>
              <a:cxn ang="0">
                <a:pos x="connsiteX32246" y="connsiteY32246"/>
              </a:cxn>
              <a:cxn ang="0">
                <a:pos x="connsiteX32247" y="connsiteY32247"/>
              </a:cxn>
              <a:cxn ang="0">
                <a:pos x="connsiteX32248" y="connsiteY32248"/>
              </a:cxn>
              <a:cxn ang="0">
                <a:pos x="connsiteX32249" y="connsiteY32249"/>
              </a:cxn>
              <a:cxn ang="0">
                <a:pos x="connsiteX32250" y="connsiteY32250"/>
              </a:cxn>
              <a:cxn ang="0">
                <a:pos x="connsiteX32251" y="connsiteY32251"/>
              </a:cxn>
              <a:cxn ang="0">
                <a:pos x="connsiteX32252" y="connsiteY32252"/>
              </a:cxn>
              <a:cxn ang="0">
                <a:pos x="connsiteX32253" y="connsiteY32253"/>
              </a:cxn>
              <a:cxn ang="0">
                <a:pos x="connsiteX32254" y="connsiteY32254"/>
              </a:cxn>
              <a:cxn ang="0">
                <a:pos x="connsiteX32255" y="connsiteY32255"/>
              </a:cxn>
              <a:cxn ang="0">
                <a:pos x="connsiteX32256" y="connsiteY32256"/>
              </a:cxn>
              <a:cxn ang="0">
                <a:pos x="connsiteX32257" y="connsiteY32257"/>
              </a:cxn>
              <a:cxn ang="0">
                <a:pos x="connsiteX32258" y="connsiteY32258"/>
              </a:cxn>
              <a:cxn ang="0">
                <a:pos x="connsiteX32259" y="connsiteY32259"/>
              </a:cxn>
              <a:cxn ang="0">
                <a:pos x="connsiteX32260" y="connsiteY32260"/>
              </a:cxn>
              <a:cxn ang="0">
                <a:pos x="connsiteX32261" y="connsiteY32261"/>
              </a:cxn>
              <a:cxn ang="0">
                <a:pos x="connsiteX32262" y="connsiteY32262"/>
              </a:cxn>
              <a:cxn ang="0">
                <a:pos x="connsiteX32263" y="connsiteY32263"/>
              </a:cxn>
              <a:cxn ang="0">
                <a:pos x="connsiteX32264" y="connsiteY32264"/>
              </a:cxn>
              <a:cxn ang="0">
                <a:pos x="connsiteX32265" y="connsiteY32265"/>
              </a:cxn>
              <a:cxn ang="0">
                <a:pos x="connsiteX32266" y="connsiteY32266"/>
              </a:cxn>
              <a:cxn ang="0">
                <a:pos x="connsiteX32267" y="connsiteY32267"/>
              </a:cxn>
              <a:cxn ang="0">
                <a:pos x="connsiteX32268" y="connsiteY32268"/>
              </a:cxn>
              <a:cxn ang="0">
                <a:pos x="connsiteX32269" y="connsiteY32269"/>
              </a:cxn>
              <a:cxn ang="0">
                <a:pos x="connsiteX32270" y="connsiteY32270"/>
              </a:cxn>
              <a:cxn ang="0">
                <a:pos x="connsiteX32271" y="connsiteY32271"/>
              </a:cxn>
              <a:cxn ang="0">
                <a:pos x="connsiteX32272" y="connsiteY32272"/>
              </a:cxn>
              <a:cxn ang="0">
                <a:pos x="connsiteX32273" y="connsiteY32273"/>
              </a:cxn>
              <a:cxn ang="0">
                <a:pos x="connsiteX32274" y="connsiteY32274"/>
              </a:cxn>
              <a:cxn ang="0">
                <a:pos x="connsiteX32275" y="connsiteY32275"/>
              </a:cxn>
              <a:cxn ang="0">
                <a:pos x="connsiteX32276" y="connsiteY32276"/>
              </a:cxn>
              <a:cxn ang="0">
                <a:pos x="connsiteX32277" y="connsiteY32277"/>
              </a:cxn>
              <a:cxn ang="0">
                <a:pos x="connsiteX32278" y="connsiteY32278"/>
              </a:cxn>
              <a:cxn ang="0">
                <a:pos x="connsiteX32279" y="connsiteY32279"/>
              </a:cxn>
              <a:cxn ang="0">
                <a:pos x="connsiteX32280" y="connsiteY32280"/>
              </a:cxn>
              <a:cxn ang="0">
                <a:pos x="connsiteX32281" y="connsiteY32281"/>
              </a:cxn>
              <a:cxn ang="0">
                <a:pos x="connsiteX32282" y="connsiteY32282"/>
              </a:cxn>
              <a:cxn ang="0">
                <a:pos x="connsiteX32283" y="connsiteY32283"/>
              </a:cxn>
              <a:cxn ang="0">
                <a:pos x="connsiteX32284" y="connsiteY32284"/>
              </a:cxn>
              <a:cxn ang="0">
                <a:pos x="connsiteX32285" y="connsiteY32285"/>
              </a:cxn>
              <a:cxn ang="0">
                <a:pos x="connsiteX32286" y="connsiteY32286"/>
              </a:cxn>
              <a:cxn ang="0">
                <a:pos x="connsiteX32287" y="connsiteY32287"/>
              </a:cxn>
              <a:cxn ang="0">
                <a:pos x="connsiteX32288" y="connsiteY32288"/>
              </a:cxn>
              <a:cxn ang="0">
                <a:pos x="connsiteX32289" y="connsiteY32289"/>
              </a:cxn>
              <a:cxn ang="0">
                <a:pos x="connsiteX32290" y="connsiteY32290"/>
              </a:cxn>
              <a:cxn ang="0">
                <a:pos x="connsiteX32291" y="connsiteY32291"/>
              </a:cxn>
              <a:cxn ang="0">
                <a:pos x="connsiteX32292" y="connsiteY32292"/>
              </a:cxn>
              <a:cxn ang="0">
                <a:pos x="connsiteX32293" y="connsiteY32293"/>
              </a:cxn>
              <a:cxn ang="0">
                <a:pos x="connsiteX32294" y="connsiteY32294"/>
              </a:cxn>
              <a:cxn ang="0">
                <a:pos x="connsiteX32295" y="connsiteY32295"/>
              </a:cxn>
              <a:cxn ang="0">
                <a:pos x="connsiteX32296" y="connsiteY32296"/>
              </a:cxn>
              <a:cxn ang="0">
                <a:pos x="connsiteX32297" y="connsiteY32297"/>
              </a:cxn>
              <a:cxn ang="0">
                <a:pos x="connsiteX32298" y="connsiteY32298"/>
              </a:cxn>
              <a:cxn ang="0">
                <a:pos x="connsiteX32299" y="connsiteY32299"/>
              </a:cxn>
              <a:cxn ang="0">
                <a:pos x="connsiteX32300" y="connsiteY32300"/>
              </a:cxn>
              <a:cxn ang="0">
                <a:pos x="connsiteX32301" y="connsiteY32301"/>
              </a:cxn>
              <a:cxn ang="0">
                <a:pos x="connsiteX32302" y="connsiteY32302"/>
              </a:cxn>
              <a:cxn ang="0">
                <a:pos x="connsiteX32303" y="connsiteY32303"/>
              </a:cxn>
              <a:cxn ang="0">
                <a:pos x="connsiteX32304" y="connsiteY32304"/>
              </a:cxn>
              <a:cxn ang="0">
                <a:pos x="connsiteX32305" y="connsiteY32305"/>
              </a:cxn>
              <a:cxn ang="0">
                <a:pos x="connsiteX32306" y="connsiteY32306"/>
              </a:cxn>
              <a:cxn ang="0">
                <a:pos x="connsiteX32307" y="connsiteY32307"/>
              </a:cxn>
              <a:cxn ang="0">
                <a:pos x="connsiteX32308" y="connsiteY32308"/>
              </a:cxn>
              <a:cxn ang="0">
                <a:pos x="connsiteX32309" y="connsiteY32309"/>
              </a:cxn>
              <a:cxn ang="0">
                <a:pos x="connsiteX32310" y="connsiteY32310"/>
              </a:cxn>
              <a:cxn ang="0">
                <a:pos x="connsiteX32311" y="connsiteY32311"/>
              </a:cxn>
              <a:cxn ang="0">
                <a:pos x="connsiteX32312" y="connsiteY32312"/>
              </a:cxn>
              <a:cxn ang="0">
                <a:pos x="connsiteX32313" y="connsiteY32313"/>
              </a:cxn>
              <a:cxn ang="0">
                <a:pos x="connsiteX32314" y="connsiteY32314"/>
              </a:cxn>
              <a:cxn ang="0">
                <a:pos x="connsiteX32315" y="connsiteY32315"/>
              </a:cxn>
              <a:cxn ang="0">
                <a:pos x="connsiteX32316" y="connsiteY32316"/>
              </a:cxn>
              <a:cxn ang="0">
                <a:pos x="connsiteX32317" y="connsiteY32317"/>
              </a:cxn>
              <a:cxn ang="0">
                <a:pos x="connsiteX32318" y="connsiteY32318"/>
              </a:cxn>
              <a:cxn ang="0">
                <a:pos x="connsiteX32319" y="connsiteY32319"/>
              </a:cxn>
              <a:cxn ang="0">
                <a:pos x="connsiteX32320" y="connsiteY32320"/>
              </a:cxn>
              <a:cxn ang="0">
                <a:pos x="connsiteX32321" y="connsiteY32321"/>
              </a:cxn>
              <a:cxn ang="0">
                <a:pos x="connsiteX32322" y="connsiteY32322"/>
              </a:cxn>
              <a:cxn ang="0">
                <a:pos x="connsiteX32323" y="connsiteY32323"/>
              </a:cxn>
              <a:cxn ang="0">
                <a:pos x="connsiteX32324" y="connsiteY32324"/>
              </a:cxn>
              <a:cxn ang="0">
                <a:pos x="connsiteX32325" y="connsiteY32325"/>
              </a:cxn>
              <a:cxn ang="0">
                <a:pos x="connsiteX32326" y="connsiteY32326"/>
              </a:cxn>
              <a:cxn ang="0">
                <a:pos x="connsiteX32327" y="connsiteY32327"/>
              </a:cxn>
              <a:cxn ang="0">
                <a:pos x="connsiteX32328" y="connsiteY32328"/>
              </a:cxn>
              <a:cxn ang="0">
                <a:pos x="connsiteX32329" y="connsiteY32329"/>
              </a:cxn>
              <a:cxn ang="0">
                <a:pos x="connsiteX32330" y="connsiteY32330"/>
              </a:cxn>
              <a:cxn ang="0">
                <a:pos x="connsiteX32331" y="connsiteY32331"/>
              </a:cxn>
              <a:cxn ang="0">
                <a:pos x="connsiteX32332" y="connsiteY32332"/>
              </a:cxn>
              <a:cxn ang="0">
                <a:pos x="connsiteX32333" y="connsiteY32333"/>
              </a:cxn>
              <a:cxn ang="0">
                <a:pos x="connsiteX32334" y="connsiteY32334"/>
              </a:cxn>
              <a:cxn ang="0">
                <a:pos x="connsiteX32335" y="connsiteY32335"/>
              </a:cxn>
              <a:cxn ang="0">
                <a:pos x="connsiteX32336" y="connsiteY32336"/>
              </a:cxn>
              <a:cxn ang="0">
                <a:pos x="connsiteX32337" y="connsiteY32337"/>
              </a:cxn>
              <a:cxn ang="0">
                <a:pos x="connsiteX32338" y="connsiteY32338"/>
              </a:cxn>
              <a:cxn ang="0">
                <a:pos x="connsiteX32339" y="connsiteY32339"/>
              </a:cxn>
              <a:cxn ang="0">
                <a:pos x="connsiteX32340" y="connsiteY32340"/>
              </a:cxn>
              <a:cxn ang="0">
                <a:pos x="connsiteX32341" y="connsiteY32341"/>
              </a:cxn>
              <a:cxn ang="0">
                <a:pos x="connsiteX32342" y="connsiteY32342"/>
              </a:cxn>
              <a:cxn ang="0">
                <a:pos x="connsiteX32343" y="connsiteY32343"/>
              </a:cxn>
              <a:cxn ang="0">
                <a:pos x="connsiteX32344" y="connsiteY32344"/>
              </a:cxn>
              <a:cxn ang="0">
                <a:pos x="connsiteX32345" y="connsiteY32345"/>
              </a:cxn>
              <a:cxn ang="0">
                <a:pos x="connsiteX32346" y="connsiteY32346"/>
              </a:cxn>
              <a:cxn ang="0">
                <a:pos x="connsiteX32347" y="connsiteY32347"/>
              </a:cxn>
              <a:cxn ang="0">
                <a:pos x="connsiteX32348" y="connsiteY32348"/>
              </a:cxn>
              <a:cxn ang="0">
                <a:pos x="connsiteX32349" y="connsiteY32349"/>
              </a:cxn>
              <a:cxn ang="0">
                <a:pos x="connsiteX32350" y="connsiteY32350"/>
              </a:cxn>
              <a:cxn ang="0">
                <a:pos x="connsiteX32351" y="connsiteY32351"/>
              </a:cxn>
              <a:cxn ang="0">
                <a:pos x="connsiteX32352" y="connsiteY32352"/>
              </a:cxn>
              <a:cxn ang="0">
                <a:pos x="connsiteX32353" y="connsiteY32353"/>
              </a:cxn>
              <a:cxn ang="0">
                <a:pos x="connsiteX32354" y="connsiteY32354"/>
              </a:cxn>
              <a:cxn ang="0">
                <a:pos x="connsiteX32355" y="connsiteY32355"/>
              </a:cxn>
              <a:cxn ang="0">
                <a:pos x="connsiteX32356" y="connsiteY32356"/>
              </a:cxn>
              <a:cxn ang="0">
                <a:pos x="connsiteX32357" y="connsiteY32357"/>
              </a:cxn>
              <a:cxn ang="0">
                <a:pos x="connsiteX32358" y="connsiteY32358"/>
              </a:cxn>
              <a:cxn ang="0">
                <a:pos x="connsiteX32359" y="connsiteY32359"/>
              </a:cxn>
              <a:cxn ang="0">
                <a:pos x="connsiteX32360" y="connsiteY32360"/>
              </a:cxn>
              <a:cxn ang="0">
                <a:pos x="connsiteX32361" y="connsiteY32361"/>
              </a:cxn>
              <a:cxn ang="0">
                <a:pos x="connsiteX32362" y="connsiteY32362"/>
              </a:cxn>
              <a:cxn ang="0">
                <a:pos x="connsiteX32363" y="connsiteY32363"/>
              </a:cxn>
              <a:cxn ang="0">
                <a:pos x="connsiteX32364" y="connsiteY32364"/>
              </a:cxn>
              <a:cxn ang="0">
                <a:pos x="connsiteX32365" y="connsiteY32365"/>
              </a:cxn>
              <a:cxn ang="0">
                <a:pos x="connsiteX32366" y="connsiteY32366"/>
              </a:cxn>
              <a:cxn ang="0">
                <a:pos x="connsiteX32367" y="connsiteY32367"/>
              </a:cxn>
              <a:cxn ang="0">
                <a:pos x="connsiteX32368" y="connsiteY32368"/>
              </a:cxn>
              <a:cxn ang="0">
                <a:pos x="connsiteX32369" y="connsiteY32369"/>
              </a:cxn>
              <a:cxn ang="0">
                <a:pos x="connsiteX32370" y="connsiteY32370"/>
              </a:cxn>
              <a:cxn ang="0">
                <a:pos x="connsiteX32371" y="connsiteY32371"/>
              </a:cxn>
              <a:cxn ang="0">
                <a:pos x="connsiteX32372" y="connsiteY32372"/>
              </a:cxn>
              <a:cxn ang="0">
                <a:pos x="connsiteX32373" y="connsiteY32373"/>
              </a:cxn>
              <a:cxn ang="0">
                <a:pos x="connsiteX32374" y="connsiteY32374"/>
              </a:cxn>
              <a:cxn ang="0">
                <a:pos x="connsiteX32375" y="connsiteY32375"/>
              </a:cxn>
              <a:cxn ang="0">
                <a:pos x="connsiteX32376" y="connsiteY32376"/>
              </a:cxn>
              <a:cxn ang="0">
                <a:pos x="connsiteX32377" y="connsiteY32377"/>
              </a:cxn>
              <a:cxn ang="0">
                <a:pos x="connsiteX32378" y="connsiteY32378"/>
              </a:cxn>
              <a:cxn ang="0">
                <a:pos x="connsiteX32379" y="connsiteY32379"/>
              </a:cxn>
              <a:cxn ang="0">
                <a:pos x="connsiteX32380" y="connsiteY32380"/>
              </a:cxn>
              <a:cxn ang="0">
                <a:pos x="connsiteX32381" y="connsiteY32381"/>
              </a:cxn>
              <a:cxn ang="0">
                <a:pos x="connsiteX32382" y="connsiteY32382"/>
              </a:cxn>
              <a:cxn ang="0">
                <a:pos x="connsiteX32383" y="connsiteY32383"/>
              </a:cxn>
              <a:cxn ang="0">
                <a:pos x="connsiteX32384" y="connsiteY32384"/>
              </a:cxn>
              <a:cxn ang="0">
                <a:pos x="connsiteX32385" y="connsiteY32385"/>
              </a:cxn>
              <a:cxn ang="0">
                <a:pos x="connsiteX32386" y="connsiteY32386"/>
              </a:cxn>
              <a:cxn ang="0">
                <a:pos x="connsiteX32387" y="connsiteY32387"/>
              </a:cxn>
              <a:cxn ang="0">
                <a:pos x="connsiteX32388" y="connsiteY32388"/>
              </a:cxn>
              <a:cxn ang="0">
                <a:pos x="connsiteX32389" y="connsiteY32389"/>
              </a:cxn>
              <a:cxn ang="0">
                <a:pos x="connsiteX32390" y="connsiteY32390"/>
              </a:cxn>
              <a:cxn ang="0">
                <a:pos x="connsiteX32391" y="connsiteY32391"/>
              </a:cxn>
              <a:cxn ang="0">
                <a:pos x="connsiteX32392" y="connsiteY32392"/>
              </a:cxn>
              <a:cxn ang="0">
                <a:pos x="connsiteX32393" y="connsiteY32393"/>
              </a:cxn>
              <a:cxn ang="0">
                <a:pos x="connsiteX32394" y="connsiteY32394"/>
              </a:cxn>
              <a:cxn ang="0">
                <a:pos x="connsiteX32395" y="connsiteY32395"/>
              </a:cxn>
              <a:cxn ang="0">
                <a:pos x="connsiteX32396" y="connsiteY32396"/>
              </a:cxn>
              <a:cxn ang="0">
                <a:pos x="connsiteX32397" y="connsiteY32397"/>
              </a:cxn>
              <a:cxn ang="0">
                <a:pos x="connsiteX32398" y="connsiteY32398"/>
              </a:cxn>
              <a:cxn ang="0">
                <a:pos x="connsiteX32399" y="connsiteY32399"/>
              </a:cxn>
              <a:cxn ang="0">
                <a:pos x="connsiteX32400" y="connsiteY32400"/>
              </a:cxn>
              <a:cxn ang="0">
                <a:pos x="connsiteX32401" y="connsiteY32401"/>
              </a:cxn>
              <a:cxn ang="0">
                <a:pos x="connsiteX32402" y="connsiteY32402"/>
              </a:cxn>
              <a:cxn ang="0">
                <a:pos x="connsiteX32403" y="connsiteY32403"/>
              </a:cxn>
              <a:cxn ang="0">
                <a:pos x="connsiteX32404" y="connsiteY32404"/>
              </a:cxn>
              <a:cxn ang="0">
                <a:pos x="connsiteX32405" y="connsiteY32405"/>
              </a:cxn>
              <a:cxn ang="0">
                <a:pos x="connsiteX32406" y="connsiteY32406"/>
              </a:cxn>
              <a:cxn ang="0">
                <a:pos x="connsiteX32407" y="connsiteY32407"/>
              </a:cxn>
              <a:cxn ang="0">
                <a:pos x="connsiteX32408" y="connsiteY32408"/>
              </a:cxn>
              <a:cxn ang="0">
                <a:pos x="connsiteX32409" y="connsiteY32409"/>
              </a:cxn>
              <a:cxn ang="0">
                <a:pos x="connsiteX32410" y="connsiteY32410"/>
              </a:cxn>
              <a:cxn ang="0">
                <a:pos x="connsiteX32411" y="connsiteY32411"/>
              </a:cxn>
              <a:cxn ang="0">
                <a:pos x="connsiteX32412" y="connsiteY32412"/>
              </a:cxn>
              <a:cxn ang="0">
                <a:pos x="connsiteX32413" y="connsiteY32413"/>
              </a:cxn>
              <a:cxn ang="0">
                <a:pos x="connsiteX32414" y="connsiteY32414"/>
              </a:cxn>
              <a:cxn ang="0">
                <a:pos x="connsiteX32415" y="connsiteY32415"/>
              </a:cxn>
              <a:cxn ang="0">
                <a:pos x="connsiteX32416" y="connsiteY32416"/>
              </a:cxn>
              <a:cxn ang="0">
                <a:pos x="connsiteX32417" y="connsiteY32417"/>
              </a:cxn>
              <a:cxn ang="0">
                <a:pos x="connsiteX32418" y="connsiteY32418"/>
              </a:cxn>
              <a:cxn ang="0">
                <a:pos x="connsiteX32419" y="connsiteY32419"/>
              </a:cxn>
              <a:cxn ang="0">
                <a:pos x="connsiteX32420" y="connsiteY32420"/>
              </a:cxn>
              <a:cxn ang="0">
                <a:pos x="connsiteX32421" y="connsiteY32421"/>
              </a:cxn>
              <a:cxn ang="0">
                <a:pos x="connsiteX32422" y="connsiteY32422"/>
              </a:cxn>
              <a:cxn ang="0">
                <a:pos x="connsiteX32423" y="connsiteY32423"/>
              </a:cxn>
              <a:cxn ang="0">
                <a:pos x="connsiteX32424" y="connsiteY32424"/>
              </a:cxn>
              <a:cxn ang="0">
                <a:pos x="connsiteX32425" y="connsiteY32425"/>
              </a:cxn>
              <a:cxn ang="0">
                <a:pos x="connsiteX32426" y="connsiteY32426"/>
              </a:cxn>
              <a:cxn ang="0">
                <a:pos x="connsiteX32427" y="connsiteY32427"/>
              </a:cxn>
              <a:cxn ang="0">
                <a:pos x="connsiteX32428" y="connsiteY32428"/>
              </a:cxn>
              <a:cxn ang="0">
                <a:pos x="connsiteX32429" y="connsiteY32429"/>
              </a:cxn>
              <a:cxn ang="0">
                <a:pos x="connsiteX32430" y="connsiteY32430"/>
              </a:cxn>
              <a:cxn ang="0">
                <a:pos x="connsiteX32431" y="connsiteY32431"/>
              </a:cxn>
              <a:cxn ang="0">
                <a:pos x="connsiteX32432" y="connsiteY32432"/>
              </a:cxn>
              <a:cxn ang="0">
                <a:pos x="connsiteX32433" y="connsiteY32433"/>
              </a:cxn>
              <a:cxn ang="0">
                <a:pos x="connsiteX32434" y="connsiteY32434"/>
              </a:cxn>
              <a:cxn ang="0">
                <a:pos x="connsiteX32435" y="connsiteY32435"/>
              </a:cxn>
              <a:cxn ang="0">
                <a:pos x="connsiteX32436" y="connsiteY32436"/>
              </a:cxn>
              <a:cxn ang="0">
                <a:pos x="connsiteX32437" y="connsiteY32437"/>
              </a:cxn>
              <a:cxn ang="0">
                <a:pos x="connsiteX32438" y="connsiteY32438"/>
              </a:cxn>
              <a:cxn ang="0">
                <a:pos x="connsiteX32439" y="connsiteY32439"/>
              </a:cxn>
              <a:cxn ang="0">
                <a:pos x="connsiteX32440" y="connsiteY32440"/>
              </a:cxn>
              <a:cxn ang="0">
                <a:pos x="connsiteX32441" y="connsiteY32441"/>
              </a:cxn>
              <a:cxn ang="0">
                <a:pos x="connsiteX32442" y="connsiteY32442"/>
              </a:cxn>
              <a:cxn ang="0">
                <a:pos x="connsiteX32443" y="connsiteY32443"/>
              </a:cxn>
              <a:cxn ang="0">
                <a:pos x="connsiteX32444" y="connsiteY32444"/>
              </a:cxn>
              <a:cxn ang="0">
                <a:pos x="connsiteX32445" y="connsiteY32445"/>
              </a:cxn>
              <a:cxn ang="0">
                <a:pos x="connsiteX32446" y="connsiteY32446"/>
              </a:cxn>
              <a:cxn ang="0">
                <a:pos x="connsiteX32447" y="connsiteY32447"/>
              </a:cxn>
              <a:cxn ang="0">
                <a:pos x="connsiteX32448" y="connsiteY32448"/>
              </a:cxn>
              <a:cxn ang="0">
                <a:pos x="connsiteX32449" y="connsiteY32449"/>
              </a:cxn>
              <a:cxn ang="0">
                <a:pos x="connsiteX32450" y="connsiteY32450"/>
              </a:cxn>
              <a:cxn ang="0">
                <a:pos x="connsiteX32451" y="connsiteY32451"/>
              </a:cxn>
              <a:cxn ang="0">
                <a:pos x="connsiteX32452" y="connsiteY32452"/>
              </a:cxn>
              <a:cxn ang="0">
                <a:pos x="connsiteX32453" y="connsiteY32453"/>
              </a:cxn>
              <a:cxn ang="0">
                <a:pos x="connsiteX32454" y="connsiteY32454"/>
              </a:cxn>
              <a:cxn ang="0">
                <a:pos x="connsiteX32455" y="connsiteY32455"/>
              </a:cxn>
              <a:cxn ang="0">
                <a:pos x="connsiteX32456" y="connsiteY32456"/>
              </a:cxn>
              <a:cxn ang="0">
                <a:pos x="connsiteX32457" y="connsiteY32457"/>
              </a:cxn>
              <a:cxn ang="0">
                <a:pos x="connsiteX32458" y="connsiteY32458"/>
              </a:cxn>
              <a:cxn ang="0">
                <a:pos x="connsiteX32459" y="connsiteY32459"/>
              </a:cxn>
              <a:cxn ang="0">
                <a:pos x="connsiteX32460" y="connsiteY32460"/>
              </a:cxn>
              <a:cxn ang="0">
                <a:pos x="connsiteX32461" y="connsiteY32461"/>
              </a:cxn>
              <a:cxn ang="0">
                <a:pos x="connsiteX32462" y="connsiteY32462"/>
              </a:cxn>
              <a:cxn ang="0">
                <a:pos x="connsiteX32463" y="connsiteY32463"/>
              </a:cxn>
              <a:cxn ang="0">
                <a:pos x="connsiteX32464" y="connsiteY32464"/>
              </a:cxn>
              <a:cxn ang="0">
                <a:pos x="connsiteX32465" y="connsiteY32465"/>
              </a:cxn>
              <a:cxn ang="0">
                <a:pos x="connsiteX32466" y="connsiteY32466"/>
              </a:cxn>
              <a:cxn ang="0">
                <a:pos x="connsiteX32467" y="connsiteY32467"/>
              </a:cxn>
              <a:cxn ang="0">
                <a:pos x="connsiteX32468" y="connsiteY32468"/>
              </a:cxn>
              <a:cxn ang="0">
                <a:pos x="connsiteX32469" y="connsiteY32469"/>
              </a:cxn>
              <a:cxn ang="0">
                <a:pos x="connsiteX32470" y="connsiteY32470"/>
              </a:cxn>
              <a:cxn ang="0">
                <a:pos x="connsiteX32471" y="connsiteY32471"/>
              </a:cxn>
              <a:cxn ang="0">
                <a:pos x="connsiteX32472" y="connsiteY32472"/>
              </a:cxn>
              <a:cxn ang="0">
                <a:pos x="connsiteX32473" y="connsiteY32473"/>
              </a:cxn>
              <a:cxn ang="0">
                <a:pos x="connsiteX32474" y="connsiteY32474"/>
              </a:cxn>
              <a:cxn ang="0">
                <a:pos x="connsiteX32475" y="connsiteY32475"/>
              </a:cxn>
              <a:cxn ang="0">
                <a:pos x="connsiteX32476" y="connsiteY32476"/>
              </a:cxn>
              <a:cxn ang="0">
                <a:pos x="connsiteX32477" y="connsiteY32477"/>
              </a:cxn>
              <a:cxn ang="0">
                <a:pos x="connsiteX32478" y="connsiteY32478"/>
              </a:cxn>
              <a:cxn ang="0">
                <a:pos x="connsiteX32479" y="connsiteY32479"/>
              </a:cxn>
              <a:cxn ang="0">
                <a:pos x="connsiteX32480" y="connsiteY32480"/>
              </a:cxn>
              <a:cxn ang="0">
                <a:pos x="connsiteX32481" y="connsiteY32481"/>
              </a:cxn>
              <a:cxn ang="0">
                <a:pos x="connsiteX32482" y="connsiteY32482"/>
              </a:cxn>
              <a:cxn ang="0">
                <a:pos x="connsiteX32483" y="connsiteY32483"/>
              </a:cxn>
              <a:cxn ang="0">
                <a:pos x="connsiteX32484" y="connsiteY32484"/>
              </a:cxn>
              <a:cxn ang="0">
                <a:pos x="connsiteX32485" y="connsiteY32485"/>
              </a:cxn>
              <a:cxn ang="0">
                <a:pos x="connsiteX32486" y="connsiteY32486"/>
              </a:cxn>
              <a:cxn ang="0">
                <a:pos x="connsiteX32487" y="connsiteY32487"/>
              </a:cxn>
              <a:cxn ang="0">
                <a:pos x="connsiteX32488" y="connsiteY32488"/>
              </a:cxn>
              <a:cxn ang="0">
                <a:pos x="connsiteX32489" y="connsiteY32489"/>
              </a:cxn>
              <a:cxn ang="0">
                <a:pos x="connsiteX32490" y="connsiteY32490"/>
              </a:cxn>
              <a:cxn ang="0">
                <a:pos x="connsiteX32491" y="connsiteY32491"/>
              </a:cxn>
              <a:cxn ang="0">
                <a:pos x="connsiteX32492" y="connsiteY32492"/>
              </a:cxn>
              <a:cxn ang="0">
                <a:pos x="connsiteX32493" y="connsiteY32493"/>
              </a:cxn>
              <a:cxn ang="0">
                <a:pos x="connsiteX32494" y="connsiteY32494"/>
              </a:cxn>
              <a:cxn ang="0">
                <a:pos x="connsiteX32495" y="connsiteY32495"/>
              </a:cxn>
              <a:cxn ang="0">
                <a:pos x="connsiteX32496" y="connsiteY32496"/>
              </a:cxn>
              <a:cxn ang="0">
                <a:pos x="connsiteX32497" y="connsiteY32497"/>
              </a:cxn>
              <a:cxn ang="0">
                <a:pos x="connsiteX32498" y="connsiteY32498"/>
              </a:cxn>
              <a:cxn ang="0">
                <a:pos x="connsiteX32499" y="connsiteY32499"/>
              </a:cxn>
              <a:cxn ang="0">
                <a:pos x="connsiteX32500" y="connsiteY32500"/>
              </a:cxn>
              <a:cxn ang="0">
                <a:pos x="connsiteX32501" y="connsiteY32501"/>
              </a:cxn>
              <a:cxn ang="0">
                <a:pos x="connsiteX32502" y="connsiteY32502"/>
              </a:cxn>
              <a:cxn ang="0">
                <a:pos x="connsiteX32503" y="connsiteY32503"/>
              </a:cxn>
              <a:cxn ang="0">
                <a:pos x="connsiteX32504" y="connsiteY32504"/>
              </a:cxn>
              <a:cxn ang="0">
                <a:pos x="connsiteX32505" y="connsiteY32505"/>
              </a:cxn>
              <a:cxn ang="0">
                <a:pos x="connsiteX32506" y="connsiteY32506"/>
              </a:cxn>
              <a:cxn ang="0">
                <a:pos x="connsiteX32507" y="connsiteY32507"/>
              </a:cxn>
              <a:cxn ang="0">
                <a:pos x="connsiteX32508" y="connsiteY32508"/>
              </a:cxn>
              <a:cxn ang="0">
                <a:pos x="connsiteX32509" y="connsiteY32509"/>
              </a:cxn>
              <a:cxn ang="0">
                <a:pos x="connsiteX32510" y="connsiteY32510"/>
              </a:cxn>
              <a:cxn ang="0">
                <a:pos x="connsiteX32511" y="connsiteY32511"/>
              </a:cxn>
              <a:cxn ang="0">
                <a:pos x="connsiteX32512" y="connsiteY32512"/>
              </a:cxn>
              <a:cxn ang="0">
                <a:pos x="connsiteX32513" y="connsiteY32513"/>
              </a:cxn>
              <a:cxn ang="0">
                <a:pos x="connsiteX32514" y="connsiteY32514"/>
              </a:cxn>
              <a:cxn ang="0">
                <a:pos x="connsiteX32515" y="connsiteY32515"/>
              </a:cxn>
              <a:cxn ang="0">
                <a:pos x="connsiteX32516" y="connsiteY32516"/>
              </a:cxn>
              <a:cxn ang="0">
                <a:pos x="connsiteX32517" y="connsiteY32517"/>
              </a:cxn>
              <a:cxn ang="0">
                <a:pos x="connsiteX32518" y="connsiteY32518"/>
              </a:cxn>
              <a:cxn ang="0">
                <a:pos x="connsiteX32519" y="connsiteY32519"/>
              </a:cxn>
              <a:cxn ang="0">
                <a:pos x="connsiteX32520" y="connsiteY32520"/>
              </a:cxn>
              <a:cxn ang="0">
                <a:pos x="connsiteX32521" y="connsiteY32521"/>
              </a:cxn>
              <a:cxn ang="0">
                <a:pos x="connsiteX32522" y="connsiteY32522"/>
              </a:cxn>
              <a:cxn ang="0">
                <a:pos x="connsiteX32523" y="connsiteY32523"/>
              </a:cxn>
              <a:cxn ang="0">
                <a:pos x="connsiteX32524" y="connsiteY32524"/>
              </a:cxn>
              <a:cxn ang="0">
                <a:pos x="connsiteX32525" y="connsiteY32525"/>
              </a:cxn>
              <a:cxn ang="0">
                <a:pos x="connsiteX32526" y="connsiteY32526"/>
              </a:cxn>
              <a:cxn ang="0">
                <a:pos x="connsiteX32527" y="connsiteY32527"/>
              </a:cxn>
              <a:cxn ang="0">
                <a:pos x="connsiteX32528" y="connsiteY32528"/>
              </a:cxn>
              <a:cxn ang="0">
                <a:pos x="connsiteX32529" y="connsiteY32529"/>
              </a:cxn>
              <a:cxn ang="0">
                <a:pos x="connsiteX32530" y="connsiteY32530"/>
              </a:cxn>
              <a:cxn ang="0">
                <a:pos x="connsiteX32531" y="connsiteY32531"/>
              </a:cxn>
              <a:cxn ang="0">
                <a:pos x="connsiteX32532" y="connsiteY32532"/>
              </a:cxn>
              <a:cxn ang="0">
                <a:pos x="connsiteX32533" y="connsiteY32533"/>
              </a:cxn>
              <a:cxn ang="0">
                <a:pos x="connsiteX32534" y="connsiteY32534"/>
              </a:cxn>
              <a:cxn ang="0">
                <a:pos x="connsiteX32535" y="connsiteY32535"/>
              </a:cxn>
              <a:cxn ang="0">
                <a:pos x="connsiteX32536" y="connsiteY32536"/>
              </a:cxn>
              <a:cxn ang="0">
                <a:pos x="connsiteX32537" y="connsiteY32537"/>
              </a:cxn>
              <a:cxn ang="0">
                <a:pos x="connsiteX32538" y="connsiteY32538"/>
              </a:cxn>
              <a:cxn ang="0">
                <a:pos x="connsiteX32539" y="connsiteY32539"/>
              </a:cxn>
              <a:cxn ang="0">
                <a:pos x="connsiteX32540" y="connsiteY32540"/>
              </a:cxn>
              <a:cxn ang="0">
                <a:pos x="connsiteX32541" y="connsiteY32541"/>
              </a:cxn>
              <a:cxn ang="0">
                <a:pos x="connsiteX32542" y="connsiteY32542"/>
              </a:cxn>
              <a:cxn ang="0">
                <a:pos x="connsiteX32543" y="connsiteY32543"/>
              </a:cxn>
              <a:cxn ang="0">
                <a:pos x="connsiteX32544" y="connsiteY32544"/>
              </a:cxn>
              <a:cxn ang="0">
                <a:pos x="connsiteX32545" y="connsiteY32545"/>
              </a:cxn>
              <a:cxn ang="0">
                <a:pos x="connsiteX32546" y="connsiteY32546"/>
              </a:cxn>
              <a:cxn ang="0">
                <a:pos x="connsiteX32547" y="connsiteY32547"/>
              </a:cxn>
              <a:cxn ang="0">
                <a:pos x="connsiteX32548" y="connsiteY32548"/>
              </a:cxn>
              <a:cxn ang="0">
                <a:pos x="connsiteX32549" y="connsiteY32549"/>
              </a:cxn>
              <a:cxn ang="0">
                <a:pos x="connsiteX32550" y="connsiteY32550"/>
              </a:cxn>
              <a:cxn ang="0">
                <a:pos x="connsiteX32551" y="connsiteY32551"/>
              </a:cxn>
              <a:cxn ang="0">
                <a:pos x="connsiteX32552" y="connsiteY32552"/>
              </a:cxn>
              <a:cxn ang="0">
                <a:pos x="connsiteX32553" y="connsiteY32553"/>
              </a:cxn>
              <a:cxn ang="0">
                <a:pos x="connsiteX32554" y="connsiteY32554"/>
              </a:cxn>
              <a:cxn ang="0">
                <a:pos x="connsiteX32555" y="connsiteY32555"/>
              </a:cxn>
              <a:cxn ang="0">
                <a:pos x="connsiteX32556" y="connsiteY32556"/>
              </a:cxn>
              <a:cxn ang="0">
                <a:pos x="connsiteX32557" y="connsiteY32557"/>
              </a:cxn>
              <a:cxn ang="0">
                <a:pos x="connsiteX32558" y="connsiteY32558"/>
              </a:cxn>
              <a:cxn ang="0">
                <a:pos x="connsiteX32559" y="connsiteY32559"/>
              </a:cxn>
              <a:cxn ang="0">
                <a:pos x="connsiteX32560" y="connsiteY32560"/>
              </a:cxn>
              <a:cxn ang="0">
                <a:pos x="connsiteX32561" y="connsiteY32561"/>
              </a:cxn>
              <a:cxn ang="0">
                <a:pos x="connsiteX32562" y="connsiteY32562"/>
              </a:cxn>
              <a:cxn ang="0">
                <a:pos x="connsiteX32563" y="connsiteY32563"/>
              </a:cxn>
              <a:cxn ang="0">
                <a:pos x="connsiteX32564" y="connsiteY32564"/>
              </a:cxn>
              <a:cxn ang="0">
                <a:pos x="connsiteX32565" y="connsiteY32565"/>
              </a:cxn>
              <a:cxn ang="0">
                <a:pos x="connsiteX32566" y="connsiteY32566"/>
              </a:cxn>
              <a:cxn ang="0">
                <a:pos x="connsiteX32567" y="connsiteY32567"/>
              </a:cxn>
              <a:cxn ang="0">
                <a:pos x="connsiteX32568" y="connsiteY32568"/>
              </a:cxn>
              <a:cxn ang="0">
                <a:pos x="connsiteX32569" y="connsiteY32569"/>
              </a:cxn>
              <a:cxn ang="0">
                <a:pos x="connsiteX32570" y="connsiteY32570"/>
              </a:cxn>
              <a:cxn ang="0">
                <a:pos x="connsiteX32571" y="connsiteY32571"/>
              </a:cxn>
              <a:cxn ang="0">
                <a:pos x="connsiteX32572" y="connsiteY32572"/>
              </a:cxn>
              <a:cxn ang="0">
                <a:pos x="connsiteX32573" y="connsiteY32573"/>
              </a:cxn>
              <a:cxn ang="0">
                <a:pos x="connsiteX32574" y="connsiteY32574"/>
              </a:cxn>
              <a:cxn ang="0">
                <a:pos x="connsiteX32575" y="connsiteY32575"/>
              </a:cxn>
              <a:cxn ang="0">
                <a:pos x="connsiteX32576" y="connsiteY32576"/>
              </a:cxn>
              <a:cxn ang="0">
                <a:pos x="connsiteX32577" y="connsiteY32577"/>
              </a:cxn>
              <a:cxn ang="0">
                <a:pos x="connsiteX32578" y="connsiteY32578"/>
              </a:cxn>
              <a:cxn ang="0">
                <a:pos x="connsiteX32579" y="connsiteY32579"/>
              </a:cxn>
              <a:cxn ang="0">
                <a:pos x="connsiteX32580" y="connsiteY32580"/>
              </a:cxn>
              <a:cxn ang="0">
                <a:pos x="connsiteX32581" y="connsiteY32581"/>
              </a:cxn>
              <a:cxn ang="0">
                <a:pos x="connsiteX32582" y="connsiteY32582"/>
              </a:cxn>
              <a:cxn ang="0">
                <a:pos x="connsiteX32583" y="connsiteY32583"/>
              </a:cxn>
              <a:cxn ang="0">
                <a:pos x="connsiteX32584" y="connsiteY32584"/>
              </a:cxn>
              <a:cxn ang="0">
                <a:pos x="connsiteX32585" y="connsiteY32585"/>
              </a:cxn>
              <a:cxn ang="0">
                <a:pos x="connsiteX32586" y="connsiteY32586"/>
              </a:cxn>
              <a:cxn ang="0">
                <a:pos x="connsiteX32587" y="connsiteY32587"/>
              </a:cxn>
              <a:cxn ang="0">
                <a:pos x="connsiteX32588" y="connsiteY32588"/>
              </a:cxn>
              <a:cxn ang="0">
                <a:pos x="connsiteX32589" y="connsiteY32589"/>
              </a:cxn>
              <a:cxn ang="0">
                <a:pos x="connsiteX32590" y="connsiteY32590"/>
              </a:cxn>
              <a:cxn ang="0">
                <a:pos x="connsiteX32591" y="connsiteY32591"/>
              </a:cxn>
              <a:cxn ang="0">
                <a:pos x="connsiteX32592" y="connsiteY32592"/>
              </a:cxn>
              <a:cxn ang="0">
                <a:pos x="connsiteX32593" y="connsiteY32593"/>
              </a:cxn>
              <a:cxn ang="0">
                <a:pos x="connsiteX32594" y="connsiteY32594"/>
              </a:cxn>
              <a:cxn ang="0">
                <a:pos x="connsiteX32595" y="connsiteY32595"/>
              </a:cxn>
              <a:cxn ang="0">
                <a:pos x="connsiteX32596" y="connsiteY32596"/>
              </a:cxn>
              <a:cxn ang="0">
                <a:pos x="connsiteX32597" y="connsiteY32597"/>
              </a:cxn>
              <a:cxn ang="0">
                <a:pos x="connsiteX32598" y="connsiteY32598"/>
              </a:cxn>
              <a:cxn ang="0">
                <a:pos x="connsiteX32599" y="connsiteY32599"/>
              </a:cxn>
              <a:cxn ang="0">
                <a:pos x="connsiteX32600" y="connsiteY32600"/>
              </a:cxn>
              <a:cxn ang="0">
                <a:pos x="connsiteX32601" y="connsiteY32601"/>
              </a:cxn>
              <a:cxn ang="0">
                <a:pos x="connsiteX32602" y="connsiteY32602"/>
              </a:cxn>
              <a:cxn ang="0">
                <a:pos x="connsiteX32603" y="connsiteY32603"/>
              </a:cxn>
              <a:cxn ang="0">
                <a:pos x="connsiteX32604" y="connsiteY32604"/>
              </a:cxn>
              <a:cxn ang="0">
                <a:pos x="connsiteX32605" y="connsiteY32605"/>
              </a:cxn>
              <a:cxn ang="0">
                <a:pos x="connsiteX32606" y="connsiteY32606"/>
              </a:cxn>
              <a:cxn ang="0">
                <a:pos x="connsiteX32607" y="connsiteY32607"/>
              </a:cxn>
              <a:cxn ang="0">
                <a:pos x="connsiteX32608" y="connsiteY32608"/>
              </a:cxn>
              <a:cxn ang="0">
                <a:pos x="connsiteX32609" y="connsiteY32609"/>
              </a:cxn>
              <a:cxn ang="0">
                <a:pos x="connsiteX32610" y="connsiteY32610"/>
              </a:cxn>
              <a:cxn ang="0">
                <a:pos x="connsiteX32611" y="connsiteY32611"/>
              </a:cxn>
              <a:cxn ang="0">
                <a:pos x="connsiteX32612" y="connsiteY32612"/>
              </a:cxn>
              <a:cxn ang="0">
                <a:pos x="connsiteX32613" y="connsiteY32613"/>
              </a:cxn>
              <a:cxn ang="0">
                <a:pos x="connsiteX32614" y="connsiteY32614"/>
              </a:cxn>
              <a:cxn ang="0">
                <a:pos x="connsiteX32615" y="connsiteY32615"/>
              </a:cxn>
              <a:cxn ang="0">
                <a:pos x="connsiteX32616" y="connsiteY32616"/>
              </a:cxn>
              <a:cxn ang="0">
                <a:pos x="connsiteX32617" y="connsiteY32617"/>
              </a:cxn>
              <a:cxn ang="0">
                <a:pos x="connsiteX32618" y="connsiteY32618"/>
              </a:cxn>
              <a:cxn ang="0">
                <a:pos x="connsiteX32619" y="connsiteY32619"/>
              </a:cxn>
              <a:cxn ang="0">
                <a:pos x="connsiteX32620" y="connsiteY32620"/>
              </a:cxn>
              <a:cxn ang="0">
                <a:pos x="connsiteX32621" y="connsiteY32621"/>
              </a:cxn>
              <a:cxn ang="0">
                <a:pos x="connsiteX32622" y="connsiteY32622"/>
              </a:cxn>
              <a:cxn ang="0">
                <a:pos x="connsiteX32623" y="connsiteY32623"/>
              </a:cxn>
              <a:cxn ang="0">
                <a:pos x="connsiteX32624" y="connsiteY32624"/>
              </a:cxn>
              <a:cxn ang="0">
                <a:pos x="connsiteX32625" y="connsiteY32625"/>
              </a:cxn>
              <a:cxn ang="0">
                <a:pos x="connsiteX32626" y="connsiteY32626"/>
              </a:cxn>
              <a:cxn ang="0">
                <a:pos x="connsiteX32627" y="connsiteY32627"/>
              </a:cxn>
              <a:cxn ang="0">
                <a:pos x="connsiteX32628" y="connsiteY32628"/>
              </a:cxn>
              <a:cxn ang="0">
                <a:pos x="connsiteX32629" y="connsiteY32629"/>
              </a:cxn>
              <a:cxn ang="0">
                <a:pos x="connsiteX32630" y="connsiteY32630"/>
              </a:cxn>
              <a:cxn ang="0">
                <a:pos x="connsiteX32631" y="connsiteY32631"/>
              </a:cxn>
              <a:cxn ang="0">
                <a:pos x="connsiteX32632" y="connsiteY32632"/>
              </a:cxn>
              <a:cxn ang="0">
                <a:pos x="connsiteX32633" y="connsiteY32633"/>
              </a:cxn>
              <a:cxn ang="0">
                <a:pos x="connsiteX32634" y="connsiteY32634"/>
              </a:cxn>
              <a:cxn ang="0">
                <a:pos x="connsiteX32635" y="connsiteY32635"/>
              </a:cxn>
              <a:cxn ang="0">
                <a:pos x="connsiteX32636" y="connsiteY32636"/>
              </a:cxn>
              <a:cxn ang="0">
                <a:pos x="connsiteX32637" y="connsiteY32637"/>
              </a:cxn>
              <a:cxn ang="0">
                <a:pos x="connsiteX32638" y="connsiteY32638"/>
              </a:cxn>
              <a:cxn ang="0">
                <a:pos x="connsiteX32639" y="connsiteY32639"/>
              </a:cxn>
              <a:cxn ang="0">
                <a:pos x="connsiteX32640" y="connsiteY32640"/>
              </a:cxn>
              <a:cxn ang="0">
                <a:pos x="connsiteX32641" y="connsiteY32641"/>
              </a:cxn>
              <a:cxn ang="0">
                <a:pos x="connsiteX32642" y="connsiteY32642"/>
              </a:cxn>
              <a:cxn ang="0">
                <a:pos x="connsiteX32643" y="connsiteY32643"/>
              </a:cxn>
              <a:cxn ang="0">
                <a:pos x="connsiteX32644" y="connsiteY32644"/>
              </a:cxn>
              <a:cxn ang="0">
                <a:pos x="connsiteX32645" y="connsiteY32645"/>
              </a:cxn>
              <a:cxn ang="0">
                <a:pos x="connsiteX32646" y="connsiteY32646"/>
              </a:cxn>
              <a:cxn ang="0">
                <a:pos x="connsiteX32647" y="connsiteY32647"/>
              </a:cxn>
              <a:cxn ang="0">
                <a:pos x="connsiteX32648" y="connsiteY32648"/>
              </a:cxn>
              <a:cxn ang="0">
                <a:pos x="connsiteX32649" y="connsiteY32649"/>
              </a:cxn>
              <a:cxn ang="0">
                <a:pos x="connsiteX32650" y="connsiteY32650"/>
              </a:cxn>
              <a:cxn ang="0">
                <a:pos x="connsiteX32651" y="connsiteY32651"/>
              </a:cxn>
              <a:cxn ang="0">
                <a:pos x="connsiteX32652" y="connsiteY32652"/>
              </a:cxn>
              <a:cxn ang="0">
                <a:pos x="connsiteX32653" y="connsiteY32653"/>
              </a:cxn>
              <a:cxn ang="0">
                <a:pos x="connsiteX32654" y="connsiteY32654"/>
              </a:cxn>
              <a:cxn ang="0">
                <a:pos x="connsiteX32655" y="connsiteY32655"/>
              </a:cxn>
              <a:cxn ang="0">
                <a:pos x="connsiteX32656" y="connsiteY32656"/>
              </a:cxn>
              <a:cxn ang="0">
                <a:pos x="connsiteX32657" y="connsiteY32657"/>
              </a:cxn>
              <a:cxn ang="0">
                <a:pos x="connsiteX32658" y="connsiteY32658"/>
              </a:cxn>
              <a:cxn ang="0">
                <a:pos x="connsiteX32659" y="connsiteY32659"/>
              </a:cxn>
              <a:cxn ang="0">
                <a:pos x="connsiteX32660" y="connsiteY32660"/>
              </a:cxn>
              <a:cxn ang="0">
                <a:pos x="connsiteX32661" y="connsiteY32661"/>
              </a:cxn>
              <a:cxn ang="0">
                <a:pos x="connsiteX32662" y="connsiteY32662"/>
              </a:cxn>
              <a:cxn ang="0">
                <a:pos x="connsiteX32663" y="connsiteY32663"/>
              </a:cxn>
              <a:cxn ang="0">
                <a:pos x="connsiteX32664" y="connsiteY32664"/>
              </a:cxn>
              <a:cxn ang="0">
                <a:pos x="connsiteX32665" y="connsiteY32665"/>
              </a:cxn>
              <a:cxn ang="0">
                <a:pos x="connsiteX32666" y="connsiteY32666"/>
              </a:cxn>
              <a:cxn ang="0">
                <a:pos x="connsiteX32667" y="connsiteY32667"/>
              </a:cxn>
              <a:cxn ang="0">
                <a:pos x="connsiteX32668" y="connsiteY32668"/>
              </a:cxn>
              <a:cxn ang="0">
                <a:pos x="connsiteX32669" y="connsiteY32669"/>
              </a:cxn>
              <a:cxn ang="0">
                <a:pos x="connsiteX32670" y="connsiteY32670"/>
              </a:cxn>
              <a:cxn ang="0">
                <a:pos x="connsiteX32671" y="connsiteY32671"/>
              </a:cxn>
              <a:cxn ang="0">
                <a:pos x="connsiteX32672" y="connsiteY32672"/>
              </a:cxn>
              <a:cxn ang="0">
                <a:pos x="connsiteX32673" y="connsiteY32673"/>
              </a:cxn>
              <a:cxn ang="0">
                <a:pos x="connsiteX32674" y="connsiteY32674"/>
              </a:cxn>
              <a:cxn ang="0">
                <a:pos x="connsiteX32675" y="connsiteY32675"/>
              </a:cxn>
              <a:cxn ang="0">
                <a:pos x="connsiteX32676" y="connsiteY32676"/>
              </a:cxn>
              <a:cxn ang="0">
                <a:pos x="connsiteX32677" y="connsiteY32677"/>
              </a:cxn>
              <a:cxn ang="0">
                <a:pos x="connsiteX32678" y="connsiteY32678"/>
              </a:cxn>
              <a:cxn ang="0">
                <a:pos x="connsiteX32679" y="connsiteY32679"/>
              </a:cxn>
              <a:cxn ang="0">
                <a:pos x="connsiteX32680" y="connsiteY32680"/>
              </a:cxn>
              <a:cxn ang="0">
                <a:pos x="connsiteX32681" y="connsiteY32681"/>
              </a:cxn>
              <a:cxn ang="0">
                <a:pos x="connsiteX32682" y="connsiteY32682"/>
              </a:cxn>
              <a:cxn ang="0">
                <a:pos x="connsiteX32683" y="connsiteY32683"/>
              </a:cxn>
              <a:cxn ang="0">
                <a:pos x="connsiteX32684" y="connsiteY32684"/>
              </a:cxn>
              <a:cxn ang="0">
                <a:pos x="connsiteX32685" y="connsiteY32685"/>
              </a:cxn>
              <a:cxn ang="0">
                <a:pos x="connsiteX32686" y="connsiteY32686"/>
              </a:cxn>
              <a:cxn ang="0">
                <a:pos x="connsiteX32687" y="connsiteY32687"/>
              </a:cxn>
              <a:cxn ang="0">
                <a:pos x="connsiteX32688" y="connsiteY32688"/>
              </a:cxn>
              <a:cxn ang="0">
                <a:pos x="connsiteX32689" y="connsiteY32689"/>
              </a:cxn>
              <a:cxn ang="0">
                <a:pos x="connsiteX32690" y="connsiteY32690"/>
              </a:cxn>
              <a:cxn ang="0">
                <a:pos x="connsiteX32691" y="connsiteY32691"/>
              </a:cxn>
              <a:cxn ang="0">
                <a:pos x="connsiteX32692" y="connsiteY32692"/>
              </a:cxn>
              <a:cxn ang="0">
                <a:pos x="connsiteX32693" y="connsiteY32693"/>
              </a:cxn>
              <a:cxn ang="0">
                <a:pos x="connsiteX32694" y="connsiteY32694"/>
              </a:cxn>
              <a:cxn ang="0">
                <a:pos x="connsiteX32695" y="connsiteY32695"/>
              </a:cxn>
              <a:cxn ang="0">
                <a:pos x="connsiteX32696" y="connsiteY32696"/>
              </a:cxn>
              <a:cxn ang="0">
                <a:pos x="connsiteX32697" y="connsiteY32697"/>
              </a:cxn>
              <a:cxn ang="0">
                <a:pos x="connsiteX32698" y="connsiteY32698"/>
              </a:cxn>
              <a:cxn ang="0">
                <a:pos x="connsiteX32699" y="connsiteY32699"/>
              </a:cxn>
              <a:cxn ang="0">
                <a:pos x="connsiteX32700" y="connsiteY32700"/>
              </a:cxn>
              <a:cxn ang="0">
                <a:pos x="connsiteX32701" y="connsiteY32701"/>
              </a:cxn>
              <a:cxn ang="0">
                <a:pos x="connsiteX32702" y="connsiteY32702"/>
              </a:cxn>
              <a:cxn ang="0">
                <a:pos x="connsiteX32703" y="connsiteY32703"/>
              </a:cxn>
              <a:cxn ang="0">
                <a:pos x="connsiteX32704" y="connsiteY32704"/>
              </a:cxn>
              <a:cxn ang="0">
                <a:pos x="connsiteX32705" y="connsiteY32705"/>
              </a:cxn>
              <a:cxn ang="0">
                <a:pos x="connsiteX32706" y="connsiteY32706"/>
              </a:cxn>
              <a:cxn ang="0">
                <a:pos x="connsiteX32707" y="connsiteY32707"/>
              </a:cxn>
              <a:cxn ang="0">
                <a:pos x="connsiteX32708" y="connsiteY32708"/>
              </a:cxn>
              <a:cxn ang="0">
                <a:pos x="connsiteX32709" y="connsiteY32709"/>
              </a:cxn>
              <a:cxn ang="0">
                <a:pos x="connsiteX32710" y="connsiteY32710"/>
              </a:cxn>
              <a:cxn ang="0">
                <a:pos x="connsiteX32711" y="connsiteY32711"/>
              </a:cxn>
              <a:cxn ang="0">
                <a:pos x="connsiteX32712" y="connsiteY32712"/>
              </a:cxn>
              <a:cxn ang="0">
                <a:pos x="connsiteX32713" y="connsiteY32713"/>
              </a:cxn>
              <a:cxn ang="0">
                <a:pos x="connsiteX32714" y="connsiteY32714"/>
              </a:cxn>
              <a:cxn ang="0">
                <a:pos x="connsiteX32715" y="connsiteY32715"/>
              </a:cxn>
              <a:cxn ang="0">
                <a:pos x="connsiteX32716" y="connsiteY32716"/>
              </a:cxn>
              <a:cxn ang="0">
                <a:pos x="connsiteX32717" y="connsiteY32717"/>
              </a:cxn>
              <a:cxn ang="0">
                <a:pos x="connsiteX32718" y="connsiteY32718"/>
              </a:cxn>
              <a:cxn ang="0">
                <a:pos x="connsiteX32719" y="connsiteY32719"/>
              </a:cxn>
              <a:cxn ang="0">
                <a:pos x="connsiteX32720" y="connsiteY32720"/>
              </a:cxn>
              <a:cxn ang="0">
                <a:pos x="connsiteX32721" y="connsiteY32721"/>
              </a:cxn>
              <a:cxn ang="0">
                <a:pos x="connsiteX32722" y="connsiteY32722"/>
              </a:cxn>
              <a:cxn ang="0">
                <a:pos x="connsiteX32723" y="connsiteY32723"/>
              </a:cxn>
              <a:cxn ang="0">
                <a:pos x="connsiteX32724" y="connsiteY32724"/>
              </a:cxn>
              <a:cxn ang="0">
                <a:pos x="connsiteX32725" y="connsiteY32725"/>
              </a:cxn>
              <a:cxn ang="0">
                <a:pos x="connsiteX32726" y="connsiteY32726"/>
              </a:cxn>
              <a:cxn ang="0">
                <a:pos x="connsiteX32727" y="connsiteY32727"/>
              </a:cxn>
              <a:cxn ang="0">
                <a:pos x="connsiteX32728" y="connsiteY32728"/>
              </a:cxn>
              <a:cxn ang="0">
                <a:pos x="connsiteX32729" y="connsiteY32729"/>
              </a:cxn>
              <a:cxn ang="0">
                <a:pos x="connsiteX32730" y="connsiteY32730"/>
              </a:cxn>
              <a:cxn ang="0">
                <a:pos x="connsiteX32731" y="connsiteY32731"/>
              </a:cxn>
              <a:cxn ang="0">
                <a:pos x="connsiteX32732" y="connsiteY32732"/>
              </a:cxn>
              <a:cxn ang="0">
                <a:pos x="connsiteX32733" y="connsiteY32733"/>
              </a:cxn>
              <a:cxn ang="0">
                <a:pos x="connsiteX32734" y="connsiteY32734"/>
              </a:cxn>
              <a:cxn ang="0">
                <a:pos x="connsiteX32735" y="connsiteY32735"/>
              </a:cxn>
              <a:cxn ang="0">
                <a:pos x="connsiteX32736" y="connsiteY32736"/>
              </a:cxn>
              <a:cxn ang="0">
                <a:pos x="connsiteX32737" y="connsiteY32737"/>
              </a:cxn>
              <a:cxn ang="0">
                <a:pos x="connsiteX32738" y="connsiteY32738"/>
              </a:cxn>
              <a:cxn ang="0">
                <a:pos x="connsiteX32739" y="connsiteY32739"/>
              </a:cxn>
              <a:cxn ang="0">
                <a:pos x="connsiteX32740" y="connsiteY32740"/>
              </a:cxn>
              <a:cxn ang="0">
                <a:pos x="connsiteX32741" y="connsiteY32741"/>
              </a:cxn>
              <a:cxn ang="0">
                <a:pos x="connsiteX32742" y="connsiteY32742"/>
              </a:cxn>
              <a:cxn ang="0">
                <a:pos x="connsiteX32743" y="connsiteY32743"/>
              </a:cxn>
              <a:cxn ang="0">
                <a:pos x="connsiteX32744" y="connsiteY32744"/>
              </a:cxn>
              <a:cxn ang="0">
                <a:pos x="connsiteX32745" y="connsiteY32745"/>
              </a:cxn>
              <a:cxn ang="0">
                <a:pos x="connsiteX32746" y="connsiteY32746"/>
              </a:cxn>
              <a:cxn ang="0">
                <a:pos x="connsiteX32747" y="connsiteY32747"/>
              </a:cxn>
              <a:cxn ang="0">
                <a:pos x="connsiteX32748" y="connsiteY32748"/>
              </a:cxn>
              <a:cxn ang="0">
                <a:pos x="connsiteX32749" y="connsiteY32749"/>
              </a:cxn>
              <a:cxn ang="0">
                <a:pos x="connsiteX32750" y="connsiteY32750"/>
              </a:cxn>
              <a:cxn ang="0">
                <a:pos x="connsiteX32751" y="connsiteY32751"/>
              </a:cxn>
              <a:cxn ang="0">
                <a:pos x="connsiteX32752" y="connsiteY32752"/>
              </a:cxn>
              <a:cxn ang="0">
                <a:pos x="connsiteX32753" y="connsiteY32753"/>
              </a:cxn>
              <a:cxn ang="0">
                <a:pos x="connsiteX32754" y="connsiteY32754"/>
              </a:cxn>
              <a:cxn ang="0">
                <a:pos x="connsiteX32755" y="connsiteY32755"/>
              </a:cxn>
              <a:cxn ang="0">
                <a:pos x="connsiteX32756" y="connsiteY32756"/>
              </a:cxn>
              <a:cxn ang="0">
                <a:pos x="connsiteX32757" y="connsiteY32757"/>
              </a:cxn>
              <a:cxn ang="0">
                <a:pos x="connsiteX32758" y="connsiteY32758"/>
              </a:cxn>
              <a:cxn ang="0">
                <a:pos x="connsiteX32759" y="connsiteY32759"/>
              </a:cxn>
              <a:cxn ang="0">
                <a:pos x="connsiteX32760" y="connsiteY32760"/>
              </a:cxn>
              <a:cxn ang="0">
                <a:pos x="connsiteX32761" y="connsiteY32761"/>
              </a:cxn>
              <a:cxn ang="0">
                <a:pos x="connsiteX32762" y="connsiteY32762"/>
              </a:cxn>
              <a:cxn ang="0">
                <a:pos x="connsiteX32763" y="connsiteY32763"/>
              </a:cxn>
              <a:cxn ang="0">
                <a:pos x="connsiteX32764" y="connsiteY32764"/>
              </a:cxn>
              <a:cxn ang="0">
                <a:pos x="connsiteX32765" y="connsiteY32765"/>
              </a:cxn>
              <a:cxn ang="0">
                <a:pos x="connsiteX32766" y="connsiteY32766"/>
              </a:cxn>
              <a:cxn ang="0">
                <a:pos x="connsiteX32767" y="connsiteY32767"/>
              </a:cxn>
              <a:cxn ang="0">
                <a:pos x="connsiteX32768" y="connsiteY32768"/>
              </a:cxn>
              <a:cxn ang="0">
                <a:pos x="connsiteX32769" y="connsiteY32769"/>
              </a:cxn>
              <a:cxn ang="0">
                <a:pos x="connsiteX32770" y="connsiteY32770"/>
              </a:cxn>
              <a:cxn ang="0">
                <a:pos x="connsiteX32771" y="connsiteY32771"/>
              </a:cxn>
              <a:cxn ang="0">
                <a:pos x="connsiteX32772" y="connsiteY32772"/>
              </a:cxn>
              <a:cxn ang="0">
                <a:pos x="connsiteX32773" y="connsiteY32773"/>
              </a:cxn>
              <a:cxn ang="0">
                <a:pos x="connsiteX32774" y="connsiteY32774"/>
              </a:cxn>
              <a:cxn ang="0">
                <a:pos x="connsiteX32775" y="connsiteY32775"/>
              </a:cxn>
              <a:cxn ang="0">
                <a:pos x="connsiteX32776" y="connsiteY32776"/>
              </a:cxn>
              <a:cxn ang="0">
                <a:pos x="connsiteX32777" y="connsiteY32777"/>
              </a:cxn>
              <a:cxn ang="0">
                <a:pos x="connsiteX32778" y="connsiteY32778"/>
              </a:cxn>
              <a:cxn ang="0">
                <a:pos x="connsiteX32779" y="connsiteY32779"/>
              </a:cxn>
              <a:cxn ang="0">
                <a:pos x="connsiteX32780" y="connsiteY32780"/>
              </a:cxn>
              <a:cxn ang="0">
                <a:pos x="connsiteX32781" y="connsiteY32781"/>
              </a:cxn>
              <a:cxn ang="0">
                <a:pos x="connsiteX32782" y="connsiteY32782"/>
              </a:cxn>
              <a:cxn ang="0">
                <a:pos x="connsiteX32783" y="connsiteY32783"/>
              </a:cxn>
              <a:cxn ang="0">
                <a:pos x="connsiteX32784" y="connsiteY32784"/>
              </a:cxn>
              <a:cxn ang="0">
                <a:pos x="connsiteX32785" y="connsiteY32785"/>
              </a:cxn>
              <a:cxn ang="0">
                <a:pos x="connsiteX32786" y="connsiteY32786"/>
              </a:cxn>
              <a:cxn ang="0">
                <a:pos x="connsiteX32787" y="connsiteY32787"/>
              </a:cxn>
              <a:cxn ang="0">
                <a:pos x="connsiteX32788" y="connsiteY32788"/>
              </a:cxn>
              <a:cxn ang="0">
                <a:pos x="connsiteX32789" y="connsiteY32789"/>
              </a:cxn>
              <a:cxn ang="0">
                <a:pos x="connsiteX32790" y="connsiteY32790"/>
              </a:cxn>
              <a:cxn ang="0">
                <a:pos x="connsiteX32791" y="connsiteY32791"/>
              </a:cxn>
              <a:cxn ang="0">
                <a:pos x="connsiteX32792" y="connsiteY32792"/>
              </a:cxn>
              <a:cxn ang="0">
                <a:pos x="connsiteX32793" y="connsiteY32793"/>
              </a:cxn>
              <a:cxn ang="0">
                <a:pos x="connsiteX32794" y="connsiteY32794"/>
              </a:cxn>
              <a:cxn ang="0">
                <a:pos x="connsiteX32795" y="connsiteY32795"/>
              </a:cxn>
              <a:cxn ang="0">
                <a:pos x="connsiteX32796" y="connsiteY32796"/>
              </a:cxn>
              <a:cxn ang="0">
                <a:pos x="connsiteX32797" y="connsiteY32797"/>
              </a:cxn>
              <a:cxn ang="0">
                <a:pos x="connsiteX32798" y="connsiteY32798"/>
              </a:cxn>
              <a:cxn ang="0">
                <a:pos x="connsiteX32799" y="connsiteY32799"/>
              </a:cxn>
              <a:cxn ang="0">
                <a:pos x="connsiteX32800" y="connsiteY32800"/>
              </a:cxn>
              <a:cxn ang="0">
                <a:pos x="connsiteX32801" y="connsiteY32801"/>
              </a:cxn>
              <a:cxn ang="0">
                <a:pos x="connsiteX32802" y="connsiteY32802"/>
              </a:cxn>
              <a:cxn ang="0">
                <a:pos x="connsiteX32803" y="connsiteY32803"/>
              </a:cxn>
              <a:cxn ang="0">
                <a:pos x="connsiteX32804" y="connsiteY32804"/>
              </a:cxn>
              <a:cxn ang="0">
                <a:pos x="connsiteX32805" y="connsiteY32805"/>
              </a:cxn>
              <a:cxn ang="0">
                <a:pos x="connsiteX32806" y="connsiteY32806"/>
              </a:cxn>
              <a:cxn ang="0">
                <a:pos x="connsiteX32807" y="connsiteY32807"/>
              </a:cxn>
              <a:cxn ang="0">
                <a:pos x="connsiteX32808" y="connsiteY32808"/>
              </a:cxn>
              <a:cxn ang="0">
                <a:pos x="connsiteX32809" y="connsiteY32809"/>
              </a:cxn>
              <a:cxn ang="0">
                <a:pos x="connsiteX32810" y="connsiteY32810"/>
              </a:cxn>
              <a:cxn ang="0">
                <a:pos x="connsiteX32811" y="connsiteY32811"/>
              </a:cxn>
              <a:cxn ang="0">
                <a:pos x="connsiteX32812" y="connsiteY32812"/>
              </a:cxn>
              <a:cxn ang="0">
                <a:pos x="connsiteX32813" y="connsiteY32813"/>
              </a:cxn>
              <a:cxn ang="0">
                <a:pos x="connsiteX32814" y="connsiteY32814"/>
              </a:cxn>
              <a:cxn ang="0">
                <a:pos x="connsiteX32815" y="connsiteY32815"/>
              </a:cxn>
              <a:cxn ang="0">
                <a:pos x="connsiteX32816" y="connsiteY32816"/>
              </a:cxn>
              <a:cxn ang="0">
                <a:pos x="connsiteX32817" y="connsiteY32817"/>
              </a:cxn>
              <a:cxn ang="0">
                <a:pos x="connsiteX32818" y="connsiteY32818"/>
              </a:cxn>
              <a:cxn ang="0">
                <a:pos x="connsiteX32819" y="connsiteY32819"/>
              </a:cxn>
              <a:cxn ang="0">
                <a:pos x="connsiteX32820" y="connsiteY32820"/>
              </a:cxn>
              <a:cxn ang="0">
                <a:pos x="connsiteX32821" y="connsiteY32821"/>
              </a:cxn>
              <a:cxn ang="0">
                <a:pos x="connsiteX32822" y="connsiteY32822"/>
              </a:cxn>
              <a:cxn ang="0">
                <a:pos x="connsiteX32823" y="connsiteY32823"/>
              </a:cxn>
              <a:cxn ang="0">
                <a:pos x="connsiteX32824" y="connsiteY32824"/>
              </a:cxn>
              <a:cxn ang="0">
                <a:pos x="connsiteX32825" y="connsiteY32825"/>
              </a:cxn>
              <a:cxn ang="0">
                <a:pos x="connsiteX32826" y="connsiteY32826"/>
              </a:cxn>
              <a:cxn ang="0">
                <a:pos x="connsiteX32827" y="connsiteY32827"/>
              </a:cxn>
              <a:cxn ang="0">
                <a:pos x="connsiteX32828" y="connsiteY32828"/>
              </a:cxn>
              <a:cxn ang="0">
                <a:pos x="connsiteX32829" y="connsiteY32829"/>
              </a:cxn>
              <a:cxn ang="0">
                <a:pos x="connsiteX32830" y="connsiteY32830"/>
              </a:cxn>
              <a:cxn ang="0">
                <a:pos x="connsiteX32831" y="connsiteY32831"/>
              </a:cxn>
              <a:cxn ang="0">
                <a:pos x="connsiteX32832" y="connsiteY32832"/>
              </a:cxn>
              <a:cxn ang="0">
                <a:pos x="connsiteX32833" y="connsiteY32833"/>
              </a:cxn>
              <a:cxn ang="0">
                <a:pos x="connsiteX32834" y="connsiteY32834"/>
              </a:cxn>
              <a:cxn ang="0">
                <a:pos x="connsiteX32835" y="connsiteY32835"/>
              </a:cxn>
              <a:cxn ang="0">
                <a:pos x="connsiteX32836" y="connsiteY32836"/>
              </a:cxn>
              <a:cxn ang="0">
                <a:pos x="connsiteX32837" y="connsiteY32837"/>
              </a:cxn>
              <a:cxn ang="0">
                <a:pos x="connsiteX32838" y="connsiteY32838"/>
              </a:cxn>
              <a:cxn ang="0">
                <a:pos x="connsiteX32839" y="connsiteY32839"/>
              </a:cxn>
              <a:cxn ang="0">
                <a:pos x="connsiteX32840" y="connsiteY32840"/>
              </a:cxn>
              <a:cxn ang="0">
                <a:pos x="connsiteX32841" y="connsiteY32841"/>
              </a:cxn>
              <a:cxn ang="0">
                <a:pos x="connsiteX32842" y="connsiteY32842"/>
              </a:cxn>
              <a:cxn ang="0">
                <a:pos x="connsiteX32843" y="connsiteY32843"/>
              </a:cxn>
              <a:cxn ang="0">
                <a:pos x="connsiteX32844" y="connsiteY32844"/>
              </a:cxn>
              <a:cxn ang="0">
                <a:pos x="connsiteX32845" y="connsiteY32845"/>
              </a:cxn>
              <a:cxn ang="0">
                <a:pos x="connsiteX32846" y="connsiteY32846"/>
              </a:cxn>
              <a:cxn ang="0">
                <a:pos x="connsiteX32847" y="connsiteY32847"/>
              </a:cxn>
              <a:cxn ang="0">
                <a:pos x="connsiteX32848" y="connsiteY32848"/>
              </a:cxn>
              <a:cxn ang="0">
                <a:pos x="connsiteX32849" y="connsiteY32849"/>
              </a:cxn>
              <a:cxn ang="0">
                <a:pos x="connsiteX32850" y="connsiteY32850"/>
              </a:cxn>
              <a:cxn ang="0">
                <a:pos x="connsiteX32851" y="connsiteY32851"/>
              </a:cxn>
              <a:cxn ang="0">
                <a:pos x="connsiteX32852" y="connsiteY32852"/>
              </a:cxn>
              <a:cxn ang="0">
                <a:pos x="connsiteX32853" y="connsiteY32853"/>
              </a:cxn>
              <a:cxn ang="0">
                <a:pos x="connsiteX32854" y="connsiteY32854"/>
              </a:cxn>
              <a:cxn ang="0">
                <a:pos x="connsiteX32855" y="connsiteY32855"/>
              </a:cxn>
              <a:cxn ang="0">
                <a:pos x="connsiteX32856" y="connsiteY32856"/>
              </a:cxn>
              <a:cxn ang="0">
                <a:pos x="connsiteX32857" y="connsiteY32857"/>
              </a:cxn>
              <a:cxn ang="0">
                <a:pos x="connsiteX32858" y="connsiteY32858"/>
              </a:cxn>
              <a:cxn ang="0">
                <a:pos x="connsiteX32859" y="connsiteY32859"/>
              </a:cxn>
              <a:cxn ang="0">
                <a:pos x="connsiteX32860" y="connsiteY32860"/>
              </a:cxn>
              <a:cxn ang="0">
                <a:pos x="connsiteX32861" y="connsiteY32861"/>
              </a:cxn>
              <a:cxn ang="0">
                <a:pos x="connsiteX32862" y="connsiteY32862"/>
              </a:cxn>
              <a:cxn ang="0">
                <a:pos x="connsiteX32863" y="connsiteY32863"/>
              </a:cxn>
              <a:cxn ang="0">
                <a:pos x="connsiteX32864" y="connsiteY32864"/>
              </a:cxn>
              <a:cxn ang="0">
                <a:pos x="connsiteX32865" y="connsiteY32865"/>
              </a:cxn>
              <a:cxn ang="0">
                <a:pos x="connsiteX32866" y="connsiteY32866"/>
              </a:cxn>
              <a:cxn ang="0">
                <a:pos x="connsiteX32867" y="connsiteY32867"/>
              </a:cxn>
              <a:cxn ang="0">
                <a:pos x="connsiteX32868" y="connsiteY32868"/>
              </a:cxn>
              <a:cxn ang="0">
                <a:pos x="connsiteX32869" y="connsiteY32869"/>
              </a:cxn>
              <a:cxn ang="0">
                <a:pos x="connsiteX32870" y="connsiteY32870"/>
              </a:cxn>
              <a:cxn ang="0">
                <a:pos x="connsiteX32871" y="connsiteY32871"/>
              </a:cxn>
              <a:cxn ang="0">
                <a:pos x="connsiteX32872" y="connsiteY32872"/>
              </a:cxn>
              <a:cxn ang="0">
                <a:pos x="connsiteX32873" y="connsiteY32873"/>
              </a:cxn>
              <a:cxn ang="0">
                <a:pos x="connsiteX32874" y="connsiteY32874"/>
              </a:cxn>
              <a:cxn ang="0">
                <a:pos x="connsiteX32875" y="connsiteY32875"/>
              </a:cxn>
              <a:cxn ang="0">
                <a:pos x="connsiteX32876" y="connsiteY32876"/>
              </a:cxn>
              <a:cxn ang="0">
                <a:pos x="connsiteX32877" y="connsiteY32877"/>
              </a:cxn>
              <a:cxn ang="0">
                <a:pos x="connsiteX32878" y="connsiteY32878"/>
              </a:cxn>
              <a:cxn ang="0">
                <a:pos x="connsiteX32879" y="connsiteY32879"/>
              </a:cxn>
              <a:cxn ang="0">
                <a:pos x="connsiteX32880" y="connsiteY32880"/>
              </a:cxn>
              <a:cxn ang="0">
                <a:pos x="connsiteX32881" y="connsiteY32881"/>
              </a:cxn>
              <a:cxn ang="0">
                <a:pos x="connsiteX32882" y="connsiteY32882"/>
              </a:cxn>
              <a:cxn ang="0">
                <a:pos x="connsiteX32883" y="connsiteY32883"/>
              </a:cxn>
              <a:cxn ang="0">
                <a:pos x="connsiteX32884" y="connsiteY32884"/>
              </a:cxn>
              <a:cxn ang="0">
                <a:pos x="connsiteX32885" y="connsiteY32885"/>
              </a:cxn>
              <a:cxn ang="0">
                <a:pos x="connsiteX32886" y="connsiteY32886"/>
              </a:cxn>
              <a:cxn ang="0">
                <a:pos x="connsiteX32887" y="connsiteY32887"/>
              </a:cxn>
              <a:cxn ang="0">
                <a:pos x="connsiteX32888" y="connsiteY32888"/>
              </a:cxn>
              <a:cxn ang="0">
                <a:pos x="connsiteX32889" y="connsiteY32889"/>
              </a:cxn>
              <a:cxn ang="0">
                <a:pos x="connsiteX32890" y="connsiteY32890"/>
              </a:cxn>
              <a:cxn ang="0">
                <a:pos x="connsiteX32891" y="connsiteY32891"/>
              </a:cxn>
              <a:cxn ang="0">
                <a:pos x="connsiteX32892" y="connsiteY32892"/>
              </a:cxn>
              <a:cxn ang="0">
                <a:pos x="connsiteX32893" y="connsiteY32893"/>
              </a:cxn>
              <a:cxn ang="0">
                <a:pos x="connsiteX32894" y="connsiteY32894"/>
              </a:cxn>
              <a:cxn ang="0">
                <a:pos x="connsiteX32895" y="connsiteY32895"/>
              </a:cxn>
              <a:cxn ang="0">
                <a:pos x="connsiteX32896" y="connsiteY32896"/>
              </a:cxn>
              <a:cxn ang="0">
                <a:pos x="connsiteX32897" y="connsiteY32897"/>
              </a:cxn>
              <a:cxn ang="0">
                <a:pos x="connsiteX32898" y="connsiteY32898"/>
              </a:cxn>
              <a:cxn ang="0">
                <a:pos x="connsiteX32899" y="connsiteY32899"/>
              </a:cxn>
              <a:cxn ang="0">
                <a:pos x="connsiteX32900" y="connsiteY32900"/>
              </a:cxn>
              <a:cxn ang="0">
                <a:pos x="connsiteX32901" y="connsiteY32901"/>
              </a:cxn>
              <a:cxn ang="0">
                <a:pos x="connsiteX32902" y="connsiteY32902"/>
              </a:cxn>
              <a:cxn ang="0">
                <a:pos x="connsiteX32903" y="connsiteY32903"/>
              </a:cxn>
              <a:cxn ang="0">
                <a:pos x="connsiteX32904" y="connsiteY32904"/>
              </a:cxn>
              <a:cxn ang="0">
                <a:pos x="connsiteX32905" y="connsiteY32905"/>
              </a:cxn>
              <a:cxn ang="0">
                <a:pos x="connsiteX32906" y="connsiteY32906"/>
              </a:cxn>
              <a:cxn ang="0">
                <a:pos x="connsiteX32907" y="connsiteY32907"/>
              </a:cxn>
              <a:cxn ang="0">
                <a:pos x="connsiteX32908" y="connsiteY32908"/>
              </a:cxn>
              <a:cxn ang="0">
                <a:pos x="connsiteX32909" y="connsiteY32909"/>
              </a:cxn>
              <a:cxn ang="0">
                <a:pos x="connsiteX32910" y="connsiteY32910"/>
              </a:cxn>
              <a:cxn ang="0">
                <a:pos x="connsiteX32911" y="connsiteY32911"/>
              </a:cxn>
              <a:cxn ang="0">
                <a:pos x="connsiteX32912" y="connsiteY32912"/>
              </a:cxn>
              <a:cxn ang="0">
                <a:pos x="connsiteX32913" y="connsiteY32913"/>
              </a:cxn>
              <a:cxn ang="0">
                <a:pos x="connsiteX32914" y="connsiteY32914"/>
              </a:cxn>
              <a:cxn ang="0">
                <a:pos x="connsiteX32915" y="connsiteY32915"/>
              </a:cxn>
              <a:cxn ang="0">
                <a:pos x="connsiteX32916" y="connsiteY32916"/>
              </a:cxn>
              <a:cxn ang="0">
                <a:pos x="connsiteX32917" y="connsiteY32917"/>
              </a:cxn>
              <a:cxn ang="0">
                <a:pos x="connsiteX32918" y="connsiteY32918"/>
              </a:cxn>
              <a:cxn ang="0">
                <a:pos x="connsiteX32919" y="connsiteY32919"/>
              </a:cxn>
              <a:cxn ang="0">
                <a:pos x="connsiteX32920" y="connsiteY32920"/>
              </a:cxn>
              <a:cxn ang="0">
                <a:pos x="connsiteX32921" y="connsiteY32921"/>
              </a:cxn>
              <a:cxn ang="0">
                <a:pos x="connsiteX32922" y="connsiteY32922"/>
              </a:cxn>
              <a:cxn ang="0">
                <a:pos x="connsiteX32923" y="connsiteY32923"/>
              </a:cxn>
              <a:cxn ang="0">
                <a:pos x="connsiteX32924" y="connsiteY32924"/>
              </a:cxn>
              <a:cxn ang="0">
                <a:pos x="connsiteX32925" y="connsiteY32925"/>
              </a:cxn>
              <a:cxn ang="0">
                <a:pos x="connsiteX32926" y="connsiteY32926"/>
              </a:cxn>
              <a:cxn ang="0">
                <a:pos x="connsiteX32927" y="connsiteY32927"/>
              </a:cxn>
              <a:cxn ang="0">
                <a:pos x="connsiteX32928" y="connsiteY32928"/>
              </a:cxn>
              <a:cxn ang="0">
                <a:pos x="connsiteX32929" y="connsiteY32929"/>
              </a:cxn>
              <a:cxn ang="0">
                <a:pos x="connsiteX32930" y="connsiteY32930"/>
              </a:cxn>
              <a:cxn ang="0">
                <a:pos x="connsiteX32931" y="connsiteY32931"/>
              </a:cxn>
              <a:cxn ang="0">
                <a:pos x="connsiteX32932" y="connsiteY32932"/>
              </a:cxn>
              <a:cxn ang="0">
                <a:pos x="connsiteX32933" y="connsiteY32933"/>
              </a:cxn>
              <a:cxn ang="0">
                <a:pos x="connsiteX32934" y="connsiteY32934"/>
              </a:cxn>
              <a:cxn ang="0">
                <a:pos x="connsiteX32935" y="connsiteY32935"/>
              </a:cxn>
              <a:cxn ang="0">
                <a:pos x="connsiteX32936" y="connsiteY32936"/>
              </a:cxn>
              <a:cxn ang="0">
                <a:pos x="connsiteX32937" y="connsiteY32937"/>
              </a:cxn>
              <a:cxn ang="0">
                <a:pos x="connsiteX32938" y="connsiteY32938"/>
              </a:cxn>
              <a:cxn ang="0">
                <a:pos x="connsiteX32939" y="connsiteY32939"/>
              </a:cxn>
              <a:cxn ang="0">
                <a:pos x="connsiteX32940" y="connsiteY32940"/>
              </a:cxn>
              <a:cxn ang="0">
                <a:pos x="connsiteX32941" y="connsiteY32941"/>
              </a:cxn>
              <a:cxn ang="0">
                <a:pos x="connsiteX32942" y="connsiteY32942"/>
              </a:cxn>
              <a:cxn ang="0">
                <a:pos x="connsiteX32943" y="connsiteY32943"/>
              </a:cxn>
              <a:cxn ang="0">
                <a:pos x="connsiteX32944" y="connsiteY32944"/>
              </a:cxn>
              <a:cxn ang="0">
                <a:pos x="connsiteX32945" y="connsiteY32945"/>
              </a:cxn>
              <a:cxn ang="0">
                <a:pos x="connsiteX32946" y="connsiteY32946"/>
              </a:cxn>
              <a:cxn ang="0">
                <a:pos x="connsiteX32947" y="connsiteY32947"/>
              </a:cxn>
              <a:cxn ang="0">
                <a:pos x="connsiteX32948" y="connsiteY32948"/>
              </a:cxn>
              <a:cxn ang="0">
                <a:pos x="connsiteX32949" y="connsiteY32949"/>
              </a:cxn>
              <a:cxn ang="0">
                <a:pos x="connsiteX32950" y="connsiteY32950"/>
              </a:cxn>
              <a:cxn ang="0">
                <a:pos x="connsiteX32951" y="connsiteY32951"/>
              </a:cxn>
              <a:cxn ang="0">
                <a:pos x="connsiteX32952" y="connsiteY32952"/>
              </a:cxn>
              <a:cxn ang="0">
                <a:pos x="connsiteX32953" y="connsiteY32953"/>
              </a:cxn>
              <a:cxn ang="0">
                <a:pos x="connsiteX32954" y="connsiteY32954"/>
              </a:cxn>
              <a:cxn ang="0">
                <a:pos x="connsiteX32955" y="connsiteY32955"/>
              </a:cxn>
              <a:cxn ang="0">
                <a:pos x="connsiteX32956" y="connsiteY32956"/>
              </a:cxn>
              <a:cxn ang="0">
                <a:pos x="connsiteX32957" y="connsiteY32957"/>
              </a:cxn>
              <a:cxn ang="0">
                <a:pos x="connsiteX32958" y="connsiteY32958"/>
              </a:cxn>
              <a:cxn ang="0">
                <a:pos x="connsiteX32959" y="connsiteY32959"/>
              </a:cxn>
              <a:cxn ang="0">
                <a:pos x="connsiteX32960" y="connsiteY32960"/>
              </a:cxn>
              <a:cxn ang="0">
                <a:pos x="connsiteX32961" y="connsiteY32961"/>
              </a:cxn>
              <a:cxn ang="0">
                <a:pos x="connsiteX32962" y="connsiteY32962"/>
              </a:cxn>
              <a:cxn ang="0">
                <a:pos x="connsiteX32963" y="connsiteY32963"/>
              </a:cxn>
              <a:cxn ang="0">
                <a:pos x="connsiteX32964" y="connsiteY32964"/>
              </a:cxn>
              <a:cxn ang="0">
                <a:pos x="connsiteX32965" y="connsiteY32965"/>
              </a:cxn>
              <a:cxn ang="0">
                <a:pos x="connsiteX32966" y="connsiteY32966"/>
              </a:cxn>
              <a:cxn ang="0">
                <a:pos x="connsiteX32967" y="connsiteY32967"/>
              </a:cxn>
              <a:cxn ang="0">
                <a:pos x="connsiteX32968" y="connsiteY32968"/>
              </a:cxn>
              <a:cxn ang="0">
                <a:pos x="connsiteX32969" y="connsiteY32969"/>
              </a:cxn>
              <a:cxn ang="0">
                <a:pos x="connsiteX32970" y="connsiteY32970"/>
              </a:cxn>
              <a:cxn ang="0">
                <a:pos x="connsiteX32971" y="connsiteY32971"/>
              </a:cxn>
              <a:cxn ang="0">
                <a:pos x="connsiteX32972" y="connsiteY32972"/>
              </a:cxn>
              <a:cxn ang="0">
                <a:pos x="connsiteX32973" y="connsiteY32973"/>
              </a:cxn>
              <a:cxn ang="0">
                <a:pos x="connsiteX32974" y="connsiteY32974"/>
              </a:cxn>
              <a:cxn ang="0">
                <a:pos x="connsiteX32975" y="connsiteY32975"/>
              </a:cxn>
              <a:cxn ang="0">
                <a:pos x="connsiteX32976" y="connsiteY32976"/>
              </a:cxn>
              <a:cxn ang="0">
                <a:pos x="connsiteX32977" y="connsiteY32977"/>
              </a:cxn>
              <a:cxn ang="0">
                <a:pos x="connsiteX32978" y="connsiteY32978"/>
              </a:cxn>
              <a:cxn ang="0">
                <a:pos x="connsiteX32979" y="connsiteY32979"/>
              </a:cxn>
              <a:cxn ang="0">
                <a:pos x="connsiteX32980" y="connsiteY32980"/>
              </a:cxn>
              <a:cxn ang="0">
                <a:pos x="connsiteX32981" y="connsiteY32981"/>
              </a:cxn>
              <a:cxn ang="0">
                <a:pos x="connsiteX32982" y="connsiteY32982"/>
              </a:cxn>
              <a:cxn ang="0">
                <a:pos x="connsiteX32983" y="connsiteY32983"/>
              </a:cxn>
              <a:cxn ang="0">
                <a:pos x="connsiteX32984" y="connsiteY32984"/>
              </a:cxn>
              <a:cxn ang="0">
                <a:pos x="connsiteX32985" y="connsiteY32985"/>
              </a:cxn>
              <a:cxn ang="0">
                <a:pos x="connsiteX32986" y="connsiteY32986"/>
              </a:cxn>
              <a:cxn ang="0">
                <a:pos x="connsiteX32987" y="connsiteY32987"/>
              </a:cxn>
              <a:cxn ang="0">
                <a:pos x="connsiteX32988" y="connsiteY32988"/>
              </a:cxn>
              <a:cxn ang="0">
                <a:pos x="connsiteX32989" y="connsiteY32989"/>
              </a:cxn>
              <a:cxn ang="0">
                <a:pos x="connsiteX32990" y="connsiteY32990"/>
              </a:cxn>
              <a:cxn ang="0">
                <a:pos x="connsiteX32991" y="connsiteY32991"/>
              </a:cxn>
              <a:cxn ang="0">
                <a:pos x="connsiteX32992" y="connsiteY32992"/>
              </a:cxn>
              <a:cxn ang="0">
                <a:pos x="connsiteX32993" y="connsiteY32993"/>
              </a:cxn>
              <a:cxn ang="0">
                <a:pos x="connsiteX32994" y="connsiteY32994"/>
              </a:cxn>
              <a:cxn ang="0">
                <a:pos x="connsiteX32995" y="connsiteY32995"/>
              </a:cxn>
              <a:cxn ang="0">
                <a:pos x="connsiteX32996" y="connsiteY32996"/>
              </a:cxn>
              <a:cxn ang="0">
                <a:pos x="connsiteX32997" y="connsiteY32997"/>
              </a:cxn>
              <a:cxn ang="0">
                <a:pos x="connsiteX32998" y="connsiteY32998"/>
              </a:cxn>
              <a:cxn ang="0">
                <a:pos x="connsiteX32999" y="connsiteY32999"/>
              </a:cxn>
              <a:cxn ang="0">
                <a:pos x="connsiteX33000" y="connsiteY33000"/>
              </a:cxn>
              <a:cxn ang="0">
                <a:pos x="connsiteX33001" y="connsiteY33001"/>
              </a:cxn>
              <a:cxn ang="0">
                <a:pos x="connsiteX33002" y="connsiteY33002"/>
              </a:cxn>
              <a:cxn ang="0">
                <a:pos x="connsiteX33003" y="connsiteY33003"/>
              </a:cxn>
              <a:cxn ang="0">
                <a:pos x="connsiteX33004" y="connsiteY33004"/>
              </a:cxn>
              <a:cxn ang="0">
                <a:pos x="connsiteX33005" y="connsiteY33005"/>
              </a:cxn>
              <a:cxn ang="0">
                <a:pos x="connsiteX33006" y="connsiteY33006"/>
              </a:cxn>
              <a:cxn ang="0">
                <a:pos x="connsiteX33007" y="connsiteY33007"/>
              </a:cxn>
              <a:cxn ang="0">
                <a:pos x="connsiteX33008" y="connsiteY33008"/>
              </a:cxn>
              <a:cxn ang="0">
                <a:pos x="connsiteX33009" y="connsiteY33009"/>
              </a:cxn>
              <a:cxn ang="0">
                <a:pos x="connsiteX33010" y="connsiteY33010"/>
              </a:cxn>
              <a:cxn ang="0">
                <a:pos x="connsiteX33011" y="connsiteY33011"/>
              </a:cxn>
              <a:cxn ang="0">
                <a:pos x="connsiteX33012" y="connsiteY33012"/>
              </a:cxn>
              <a:cxn ang="0">
                <a:pos x="connsiteX33013" y="connsiteY33013"/>
              </a:cxn>
              <a:cxn ang="0">
                <a:pos x="connsiteX33014" y="connsiteY33014"/>
              </a:cxn>
              <a:cxn ang="0">
                <a:pos x="connsiteX33015" y="connsiteY33015"/>
              </a:cxn>
              <a:cxn ang="0">
                <a:pos x="connsiteX33016" y="connsiteY33016"/>
              </a:cxn>
              <a:cxn ang="0">
                <a:pos x="connsiteX33017" y="connsiteY33017"/>
              </a:cxn>
              <a:cxn ang="0">
                <a:pos x="connsiteX33018" y="connsiteY33018"/>
              </a:cxn>
              <a:cxn ang="0">
                <a:pos x="connsiteX33019" y="connsiteY33019"/>
              </a:cxn>
              <a:cxn ang="0">
                <a:pos x="connsiteX33020" y="connsiteY33020"/>
              </a:cxn>
              <a:cxn ang="0">
                <a:pos x="connsiteX33021" y="connsiteY33021"/>
              </a:cxn>
              <a:cxn ang="0">
                <a:pos x="connsiteX33022" y="connsiteY33022"/>
              </a:cxn>
              <a:cxn ang="0">
                <a:pos x="connsiteX33023" y="connsiteY33023"/>
              </a:cxn>
              <a:cxn ang="0">
                <a:pos x="connsiteX33024" y="connsiteY33024"/>
              </a:cxn>
              <a:cxn ang="0">
                <a:pos x="connsiteX33025" y="connsiteY33025"/>
              </a:cxn>
              <a:cxn ang="0">
                <a:pos x="connsiteX33026" y="connsiteY33026"/>
              </a:cxn>
              <a:cxn ang="0">
                <a:pos x="connsiteX33027" y="connsiteY33027"/>
              </a:cxn>
              <a:cxn ang="0">
                <a:pos x="connsiteX33028" y="connsiteY33028"/>
              </a:cxn>
              <a:cxn ang="0">
                <a:pos x="connsiteX33029" y="connsiteY33029"/>
              </a:cxn>
              <a:cxn ang="0">
                <a:pos x="connsiteX33030" y="connsiteY33030"/>
              </a:cxn>
              <a:cxn ang="0">
                <a:pos x="connsiteX33031" y="connsiteY33031"/>
              </a:cxn>
              <a:cxn ang="0">
                <a:pos x="connsiteX33032" y="connsiteY33032"/>
              </a:cxn>
              <a:cxn ang="0">
                <a:pos x="connsiteX33033" y="connsiteY33033"/>
              </a:cxn>
              <a:cxn ang="0">
                <a:pos x="connsiteX33034" y="connsiteY33034"/>
              </a:cxn>
              <a:cxn ang="0">
                <a:pos x="connsiteX33035" y="connsiteY33035"/>
              </a:cxn>
              <a:cxn ang="0">
                <a:pos x="connsiteX33036" y="connsiteY33036"/>
              </a:cxn>
              <a:cxn ang="0">
                <a:pos x="connsiteX33037" y="connsiteY33037"/>
              </a:cxn>
              <a:cxn ang="0">
                <a:pos x="connsiteX33038" y="connsiteY33038"/>
              </a:cxn>
              <a:cxn ang="0">
                <a:pos x="connsiteX33039" y="connsiteY33039"/>
              </a:cxn>
              <a:cxn ang="0">
                <a:pos x="connsiteX33040" y="connsiteY33040"/>
              </a:cxn>
              <a:cxn ang="0">
                <a:pos x="connsiteX33041" y="connsiteY33041"/>
              </a:cxn>
              <a:cxn ang="0">
                <a:pos x="connsiteX33042" y="connsiteY33042"/>
              </a:cxn>
              <a:cxn ang="0">
                <a:pos x="connsiteX33043" y="connsiteY33043"/>
              </a:cxn>
              <a:cxn ang="0">
                <a:pos x="connsiteX33044" y="connsiteY33044"/>
              </a:cxn>
              <a:cxn ang="0">
                <a:pos x="connsiteX33045" y="connsiteY33045"/>
              </a:cxn>
              <a:cxn ang="0">
                <a:pos x="connsiteX33046" y="connsiteY33046"/>
              </a:cxn>
              <a:cxn ang="0">
                <a:pos x="connsiteX33047" y="connsiteY33047"/>
              </a:cxn>
              <a:cxn ang="0">
                <a:pos x="connsiteX33048" y="connsiteY33048"/>
              </a:cxn>
              <a:cxn ang="0">
                <a:pos x="connsiteX33049" y="connsiteY33049"/>
              </a:cxn>
              <a:cxn ang="0">
                <a:pos x="connsiteX33050" y="connsiteY33050"/>
              </a:cxn>
              <a:cxn ang="0">
                <a:pos x="connsiteX33051" y="connsiteY33051"/>
              </a:cxn>
              <a:cxn ang="0">
                <a:pos x="connsiteX33052" y="connsiteY33052"/>
              </a:cxn>
              <a:cxn ang="0">
                <a:pos x="connsiteX33053" y="connsiteY33053"/>
              </a:cxn>
              <a:cxn ang="0">
                <a:pos x="connsiteX33054" y="connsiteY33054"/>
              </a:cxn>
              <a:cxn ang="0">
                <a:pos x="connsiteX33055" y="connsiteY33055"/>
              </a:cxn>
              <a:cxn ang="0">
                <a:pos x="connsiteX33056" y="connsiteY33056"/>
              </a:cxn>
              <a:cxn ang="0">
                <a:pos x="connsiteX33057" y="connsiteY33057"/>
              </a:cxn>
              <a:cxn ang="0">
                <a:pos x="connsiteX33058" y="connsiteY33058"/>
              </a:cxn>
              <a:cxn ang="0">
                <a:pos x="connsiteX33059" y="connsiteY33059"/>
              </a:cxn>
              <a:cxn ang="0">
                <a:pos x="connsiteX33060" y="connsiteY33060"/>
              </a:cxn>
              <a:cxn ang="0">
                <a:pos x="connsiteX33061" y="connsiteY33061"/>
              </a:cxn>
              <a:cxn ang="0">
                <a:pos x="connsiteX33062" y="connsiteY33062"/>
              </a:cxn>
              <a:cxn ang="0">
                <a:pos x="connsiteX33063" y="connsiteY33063"/>
              </a:cxn>
              <a:cxn ang="0">
                <a:pos x="connsiteX33064" y="connsiteY33064"/>
              </a:cxn>
              <a:cxn ang="0">
                <a:pos x="connsiteX33065" y="connsiteY33065"/>
              </a:cxn>
              <a:cxn ang="0">
                <a:pos x="connsiteX33066" y="connsiteY33066"/>
              </a:cxn>
              <a:cxn ang="0">
                <a:pos x="connsiteX33067" y="connsiteY33067"/>
              </a:cxn>
              <a:cxn ang="0">
                <a:pos x="connsiteX33068" y="connsiteY33068"/>
              </a:cxn>
              <a:cxn ang="0">
                <a:pos x="connsiteX33069" y="connsiteY33069"/>
              </a:cxn>
              <a:cxn ang="0">
                <a:pos x="connsiteX33070" y="connsiteY33070"/>
              </a:cxn>
              <a:cxn ang="0">
                <a:pos x="connsiteX33071" y="connsiteY33071"/>
              </a:cxn>
              <a:cxn ang="0">
                <a:pos x="connsiteX33072" y="connsiteY33072"/>
              </a:cxn>
              <a:cxn ang="0">
                <a:pos x="connsiteX33073" y="connsiteY33073"/>
              </a:cxn>
              <a:cxn ang="0">
                <a:pos x="connsiteX33074" y="connsiteY33074"/>
              </a:cxn>
              <a:cxn ang="0">
                <a:pos x="connsiteX33075" y="connsiteY33075"/>
              </a:cxn>
              <a:cxn ang="0">
                <a:pos x="connsiteX33076" y="connsiteY33076"/>
              </a:cxn>
              <a:cxn ang="0">
                <a:pos x="connsiteX33077" y="connsiteY33077"/>
              </a:cxn>
              <a:cxn ang="0">
                <a:pos x="connsiteX33078" y="connsiteY33078"/>
              </a:cxn>
              <a:cxn ang="0">
                <a:pos x="connsiteX33079" y="connsiteY33079"/>
              </a:cxn>
              <a:cxn ang="0">
                <a:pos x="connsiteX33080" y="connsiteY33080"/>
              </a:cxn>
              <a:cxn ang="0">
                <a:pos x="connsiteX33081" y="connsiteY33081"/>
              </a:cxn>
              <a:cxn ang="0">
                <a:pos x="connsiteX33082" y="connsiteY33082"/>
              </a:cxn>
              <a:cxn ang="0">
                <a:pos x="connsiteX33083" y="connsiteY33083"/>
              </a:cxn>
              <a:cxn ang="0">
                <a:pos x="connsiteX33084" y="connsiteY33084"/>
              </a:cxn>
              <a:cxn ang="0">
                <a:pos x="connsiteX33085" y="connsiteY33085"/>
              </a:cxn>
              <a:cxn ang="0">
                <a:pos x="connsiteX33086" y="connsiteY33086"/>
              </a:cxn>
              <a:cxn ang="0">
                <a:pos x="connsiteX33087" y="connsiteY33087"/>
              </a:cxn>
              <a:cxn ang="0">
                <a:pos x="connsiteX33088" y="connsiteY33088"/>
              </a:cxn>
              <a:cxn ang="0">
                <a:pos x="connsiteX33089" y="connsiteY33089"/>
              </a:cxn>
              <a:cxn ang="0">
                <a:pos x="connsiteX33090" y="connsiteY33090"/>
              </a:cxn>
              <a:cxn ang="0">
                <a:pos x="connsiteX33091" y="connsiteY33091"/>
              </a:cxn>
              <a:cxn ang="0">
                <a:pos x="connsiteX33092" y="connsiteY33092"/>
              </a:cxn>
              <a:cxn ang="0">
                <a:pos x="connsiteX33093" y="connsiteY33093"/>
              </a:cxn>
              <a:cxn ang="0">
                <a:pos x="connsiteX33094" y="connsiteY33094"/>
              </a:cxn>
              <a:cxn ang="0">
                <a:pos x="connsiteX33095" y="connsiteY33095"/>
              </a:cxn>
              <a:cxn ang="0">
                <a:pos x="connsiteX33096" y="connsiteY33096"/>
              </a:cxn>
              <a:cxn ang="0">
                <a:pos x="connsiteX33097" y="connsiteY33097"/>
              </a:cxn>
              <a:cxn ang="0">
                <a:pos x="connsiteX33098" y="connsiteY33098"/>
              </a:cxn>
              <a:cxn ang="0">
                <a:pos x="connsiteX33099" y="connsiteY33099"/>
              </a:cxn>
              <a:cxn ang="0">
                <a:pos x="connsiteX33100" y="connsiteY33100"/>
              </a:cxn>
              <a:cxn ang="0">
                <a:pos x="connsiteX33101" y="connsiteY33101"/>
              </a:cxn>
              <a:cxn ang="0">
                <a:pos x="connsiteX33102" y="connsiteY33102"/>
              </a:cxn>
              <a:cxn ang="0">
                <a:pos x="connsiteX33103" y="connsiteY33103"/>
              </a:cxn>
              <a:cxn ang="0">
                <a:pos x="connsiteX33104" y="connsiteY33104"/>
              </a:cxn>
              <a:cxn ang="0">
                <a:pos x="connsiteX33105" y="connsiteY33105"/>
              </a:cxn>
              <a:cxn ang="0">
                <a:pos x="connsiteX33106" y="connsiteY33106"/>
              </a:cxn>
              <a:cxn ang="0">
                <a:pos x="connsiteX33107" y="connsiteY33107"/>
              </a:cxn>
              <a:cxn ang="0">
                <a:pos x="connsiteX33108" y="connsiteY33108"/>
              </a:cxn>
              <a:cxn ang="0">
                <a:pos x="connsiteX33109" y="connsiteY33109"/>
              </a:cxn>
              <a:cxn ang="0">
                <a:pos x="connsiteX33110" y="connsiteY33110"/>
              </a:cxn>
              <a:cxn ang="0">
                <a:pos x="connsiteX33111" y="connsiteY33111"/>
              </a:cxn>
              <a:cxn ang="0">
                <a:pos x="connsiteX33112" y="connsiteY33112"/>
              </a:cxn>
              <a:cxn ang="0">
                <a:pos x="connsiteX33113" y="connsiteY33113"/>
              </a:cxn>
              <a:cxn ang="0">
                <a:pos x="connsiteX33114" y="connsiteY33114"/>
              </a:cxn>
              <a:cxn ang="0">
                <a:pos x="connsiteX33115" y="connsiteY33115"/>
              </a:cxn>
              <a:cxn ang="0">
                <a:pos x="connsiteX33116" y="connsiteY33116"/>
              </a:cxn>
              <a:cxn ang="0">
                <a:pos x="connsiteX33117" y="connsiteY33117"/>
              </a:cxn>
              <a:cxn ang="0">
                <a:pos x="connsiteX33118" y="connsiteY33118"/>
              </a:cxn>
              <a:cxn ang="0">
                <a:pos x="connsiteX33119" y="connsiteY33119"/>
              </a:cxn>
              <a:cxn ang="0">
                <a:pos x="connsiteX33120" y="connsiteY33120"/>
              </a:cxn>
              <a:cxn ang="0">
                <a:pos x="connsiteX33121" y="connsiteY33121"/>
              </a:cxn>
              <a:cxn ang="0">
                <a:pos x="connsiteX33122" y="connsiteY33122"/>
              </a:cxn>
              <a:cxn ang="0">
                <a:pos x="connsiteX33123" y="connsiteY33123"/>
              </a:cxn>
              <a:cxn ang="0">
                <a:pos x="connsiteX33124" y="connsiteY33124"/>
              </a:cxn>
              <a:cxn ang="0">
                <a:pos x="connsiteX33125" y="connsiteY33125"/>
              </a:cxn>
              <a:cxn ang="0">
                <a:pos x="connsiteX33126" y="connsiteY33126"/>
              </a:cxn>
              <a:cxn ang="0">
                <a:pos x="connsiteX33127" y="connsiteY33127"/>
              </a:cxn>
              <a:cxn ang="0">
                <a:pos x="connsiteX33128" y="connsiteY33128"/>
              </a:cxn>
              <a:cxn ang="0">
                <a:pos x="connsiteX33129" y="connsiteY33129"/>
              </a:cxn>
              <a:cxn ang="0">
                <a:pos x="connsiteX33130" y="connsiteY33130"/>
              </a:cxn>
              <a:cxn ang="0">
                <a:pos x="connsiteX33131" y="connsiteY33131"/>
              </a:cxn>
              <a:cxn ang="0">
                <a:pos x="connsiteX33132" y="connsiteY33132"/>
              </a:cxn>
              <a:cxn ang="0">
                <a:pos x="connsiteX33133" y="connsiteY33133"/>
              </a:cxn>
              <a:cxn ang="0">
                <a:pos x="connsiteX33134" y="connsiteY33134"/>
              </a:cxn>
              <a:cxn ang="0">
                <a:pos x="connsiteX33135" y="connsiteY33135"/>
              </a:cxn>
              <a:cxn ang="0">
                <a:pos x="connsiteX33136" y="connsiteY33136"/>
              </a:cxn>
              <a:cxn ang="0">
                <a:pos x="connsiteX33137" y="connsiteY33137"/>
              </a:cxn>
              <a:cxn ang="0">
                <a:pos x="connsiteX33138" y="connsiteY33138"/>
              </a:cxn>
              <a:cxn ang="0">
                <a:pos x="connsiteX33139" y="connsiteY33139"/>
              </a:cxn>
              <a:cxn ang="0">
                <a:pos x="connsiteX33140" y="connsiteY33140"/>
              </a:cxn>
              <a:cxn ang="0">
                <a:pos x="connsiteX33141" y="connsiteY33141"/>
              </a:cxn>
              <a:cxn ang="0">
                <a:pos x="connsiteX33142" y="connsiteY33142"/>
              </a:cxn>
              <a:cxn ang="0">
                <a:pos x="connsiteX33143" y="connsiteY33143"/>
              </a:cxn>
              <a:cxn ang="0">
                <a:pos x="connsiteX33144" y="connsiteY33144"/>
              </a:cxn>
              <a:cxn ang="0">
                <a:pos x="connsiteX33145" y="connsiteY33145"/>
              </a:cxn>
              <a:cxn ang="0">
                <a:pos x="connsiteX33146" y="connsiteY33146"/>
              </a:cxn>
              <a:cxn ang="0">
                <a:pos x="connsiteX33147" y="connsiteY33147"/>
              </a:cxn>
              <a:cxn ang="0">
                <a:pos x="connsiteX33148" y="connsiteY33148"/>
              </a:cxn>
              <a:cxn ang="0">
                <a:pos x="connsiteX33149" y="connsiteY33149"/>
              </a:cxn>
              <a:cxn ang="0">
                <a:pos x="connsiteX33150" y="connsiteY33150"/>
              </a:cxn>
              <a:cxn ang="0">
                <a:pos x="connsiteX33151" y="connsiteY33151"/>
              </a:cxn>
              <a:cxn ang="0">
                <a:pos x="connsiteX33152" y="connsiteY33152"/>
              </a:cxn>
              <a:cxn ang="0">
                <a:pos x="connsiteX33153" y="connsiteY33153"/>
              </a:cxn>
              <a:cxn ang="0">
                <a:pos x="connsiteX33154" y="connsiteY33154"/>
              </a:cxn>
              <a:cxn ang="0">
                <a:pos x="connsiteX33155" y="connsiteY33155"/>
              </a:cxn>
              <a:cxn ang="0">
                <a:pos x="connsiteX33156" y="connsiteY33156"/>
              </a:cxn>
              <a:cxn ang="0">
                <a:pos x="connsiteX33157" y="connsiteY33157"/>
              </a:cxn>
              <a:cxn ang="0">
                <a:pos x="connsiteX33158" y="connsiteY33158"/>
              </a:cxn>
              <a:cxn ang="0">
                <a:pos x="connsiteX33159" y="connsiteY33159"/>
              </a:cxn>
              <a:cxn ang="0">
                <a:pos x="connsiteX33160" y="connsiteY33160"/>
              </a:cxn>
              <a:cxn ang="0">
                <a:pos x="connsiteX33161" y="connsiteY33161"/>
              </a:cxn>
              <a:cxn ang="0">
                <a:pos x="connsiteX33162" y="connsiteY33162"/>
              </a:cxn>
              <a:cxn ang="0">
                <a:pos x="connsiteX33163" y="connsiteY33163"/>
              </a:cxn>
              <a:cxn ang="0">
                <a:pos x="connsiteX33164" y="connsiteY33164"/>
              </a:cxn>
              <a:cxn ang="0">
                <a:pos x="connsiteX33165" y="connsiteY33165"/>
              </a:cxn>
              <a:cxn ang="0">
                <a:pos x="connsiteX33166" y="connsiteY33166"/>
              </a:cxn>
              <a:cxn ang="0">
                <a:pos x="connsiteX33167" y="connsiteY33167"/>
              </a:cxn>
              <a:cxn ang="0">
                <a:pos x="connsiteX33168" y="connsiteY33168"/>
              </a:cxn>
              <a:cxn ang="0">
                <a:pos x="connsiteX33169" y="connsiteY33169"/>
              </a:cxn>
              <a:cxn ang="0">
                <a:pos x="connsiteX33170" y="connsiteY33170"/>
              </a:cxn>
              <a:cxn ang="0">
                <a:pos x="connsiteX33171" y="connsiteY33171"/>
              </a:cxn>
              <a:cxn ang="0">
                <a:pos x="connsiteX33172" y="connsiteY33172"/>
              </a:cxn>
              <a:cxn ang="0">
                <a:pos x="connsiteX33173" y="connsiteY33173"/>
              </a:cxn>
              <a:cxn ang="0">
                <a:pos x="connsiteX33174" y="connsiteY33174"/>
              </a:cxn>
              <a:cxn ang="0">
                <a:pos x="connsiteX33175" y="connsiteY33175"/>
              </a:cxn>
              <a:cxn ang="0">
                <a:pos x="connsiteX33176" y="connsiteY33176"/>
              </a:cxn>
              <a:cxn ang="0">
                <a:pos x="connsiteX33177" y="connsiteY33177"/>
              </a:cxn>
              <a:cxn ang="0">
                <a:pos x="connsiteX33178" y="connsiteY33178"/>
              </a:cxn>
              <a:cxn ang="0">
                <a:pos x="connsiteX33179" y="connsiteY33179"/>
              </a:cxn>
              <a:cxn ang="0">
                <a:pos x="connsiteX33180" y="connsiteY33180"/>
              </a:cxn>
              <a:cxn ang="0">
                <a:pos x="connsiteX33181" y="connsiteY33181"/>
              </a:cxn>
              <a:cxn ang="0">
                <a:pos x="connsiteX33182" y="connsiteY33182"/>
              </a:cxn>
              <a:cxn ang="0">
                <a:pos x="connsiteX33183" y="connsiteY33183"/>
              </a:cxn>
              <a:cxn ang="0">
                <a:pos x="connsiteX33184" y="connsiteY33184"/>
              </a:cxn>
              <a:cxn ang="0">
                <a:pos x="connsiteX33185" y="connsiteY33185"/>
              </a:cxn>
              <a:cxn ang="0">
                <a:pos x="connsiteX33186" y="connsiteY33186"/>
              </a:cxn>
              <a:cxn ang="0">
                <a:pos x="connsiteX33187" y="connsiteY33187"/>
              </a:cxn>
              <a:cxn ang="0">
                <a:pos x="connsiteX33188" y="connsiteY33188"/>
              </a:cxn>
              <a:cxn ang="0">
                <a:pos x="connsiteX33189" y="connsiteY33189"/>
              </a:cxn>
              <a:cxn ang="0">
                <a:pos x="connsiteX33190" y="connsiteY33190"/>
              </a:cxn>
              <a:cxn ang="0">
                <a:pos x="connsiteX33191" y="connsiteY33191"/>
              </a:cxn>
              <a:cxn ang="0">
                <a:pos x="connsiteX33192" y="connsiteY33192"/>
              </a:cxn>
              <a:cxn ang="0">
                <a:pos x="connsiteX33193" y="connsiteY33193"/>
              </a:cxn>
              <a:cxn ang="0">
                <a:pos x="connsiteX33194" y="connsiteY33194"/>
              </a:cxn>
              <a:cxn ang="0">
                <a:pos x="connsiteX33195" y="connsiteY33195"/>
              </a:cxn>
              <a:cxn ang="0">
                <a:pos x="connsiteX33196" y="connsiteY33196"/>
              </a:cxn>
              <a:cxn ang="0">
                <a:pos x="connsiteX33197" y="connsiteY33197"/>
              </a:cxn>
              <a:cxn ang="0">
                <a:pos x="connsiteX33198" y="connsiteY33198"/>
              </a:cxn>
              <a:cxn ang="0">
                <a:pos x="connsiteX33199" y="connsiteY33199"/>
              </a:cxn>
              <a:cxn ang="0">
                <a:pos x="connsiteX33200" y="connsiteY33200"/>
              </a:cxn>
              <a:cxn ang="0">
                <a:pos x="connsiteX33201" y="connsiteY33201"/>
              </a:cxn>
              <a:cxn ang="0">
                <a:pos x="connsiteX33202" y="connsiteY33202"/>
              </a:cxn>
              <a:cxn ang="0">
                <a:pos x="connsiteX33203" y="connsiteY33203"/>
              </a:cxn>
              <a:cxn ang="0">
                <a:pos x="connsiteX33204" y="connsiteY33204"/>
              </a:cxn>
              <a:cxn ang="0">
                <a:pos x="connsiteX33205" y="connsiteY33205"/>
              </a:cxn>
              <a:cxn ang="0">
                <a:pos x="connsiteX33206" y="connsiteY33206"/>
              </a:cxn>
              <a:cxn ang="0">
                <a:pos x="connsiteX33207" y="connsiteY33207"/>
              </a:cxn>
              <a:cxn ang="0">
                <a:pos x="connsiteX33208" y="connsiteY33208"/>
              </a:cxn>
              <a:cxn ang="0">
                <a:pos x="connsiteX33209" y="connsiteY33209"/>
              </a:cxn>
              <a:cxn ang="0">
                <a:pos x="connsiteX33210" y="connsiteY33210"/>
              </a:cxn>
              <a:cxn ang="0">
                <a:pos x="connsiteX33211" y="connsiteY33211"/>
              </a:cxn>
              <a:cxn ang="0">
                <a:pos x="connsiteX33212" y="connsiteY33212"/>
              </a:cxn>
              <a:cxn ang="0">
                <a:pos x="connsiteX33213" y="connsiteY33213"/>
              </a:cxn>
              <a:cxn ang="0">
                <a:pos x="connsiteX33214" y="connsiteY33214"/>
              </a:cxn>
              <a:cxn ang="0">
                <a:pos x="connsiteX33215" y="connsiteY33215"/>
              </a:cxn>
              <a:cxn ang="0">
                <a:pos x="connsiteX33216" y="connsiteY33216"/>
              </a:cxn>
              <a:cxn ang="0">
                <a:pos x="connsiteX33217" y="connsiteY33217"/>
              </a:cxn>
              <a:cxn ang="0">
                <a:pos x="connsiteX33218" y="connsiteY33218"/>
              </a:cxn>
              <a:cxn ang="0">
                <a:pos x="connsiteX33219" y="connsiteY33219"/>
              </a:cxn>
              <a:cxn ang="0">
                <a:pos x="connsiteX33220" y="connsiteY33220"/>
              </a:cxn>
              <a:cxn ang="0">
                <a:pos x="connsiteX33221" y="connsiteY33221"/>
              </a:cxn>
              <a:cxn ang="0">
                <a:pos x="connsiteX33222" y="connsiteY33222"/>
              </a:cxn>
              <a:cxn ang="0">
                <a:pos x="connsiteX33223" y="connsiteY33223"/>
              </a:cxn>
              <a:cxn ang="0">
                <a:pos x="connsiteX33224" y="connsiteY33224"/>
              </a:cxn>
              <a:cxn ang="0">
                <a:pos x="connsiteX33225" y="connsiteY33225"/>
              </a:cxn>
              <a:cxn ang="0">
                <a:pos x="connsiteX33226" y="connsiteY33226"/>
              </a:cxn>
              <a:cxn ang="0">
                <a:pos x="connsiteX33227" y="connsiteY33227"/>
              </a:cxn>
              <a:cxn ang="0">
                <a:pos x="connsiteX33228" y="connsiteY33228"/>
              </a:cxn>
              <a:cxn ang="0">
                <a:pos x="connsiteX33229" y="connsiteY33229"/>
              </a:cxn>
              <a:cxn ang="0">
                <a:pos x="connsiteX33230" y="connsiteY33230"/>
              </a:cxn>
              <a:cxn ang="0">
                <a:pos x="connsiteX33231" y="connsiteY33231"/>
              </a:cxn>
              <a:cxn ang="0">
                <a:pos x="connsiteX33232" y="connsiteY33232"/>
              </a:cxn>
              <a:cxn ang="0">
                <a:pos x="connsiteX33233" y="connsiteY33233"/>
              </a:cxn>
              <a:cxn ang="0">
                <a:pos x="connsiteX33234" y="connsiteY33234"/>
              </a:cxn>
              <a:cxn ang="0">
                <a:pos x="connsiteX33235" y="connsiteY33235"/>
              </a:cxn>
              <a:cxn ang="0">
                <a:pos x="connsiteX33236" y="connsiteY33236"/>
              </a:cxn>
              <a:cxn ang="0">
                <a:pos x="connsiteX33237" y="connsiteY33237"/>
              </a:cxn>
              <a:cxn ang="0">
                <a:pos x="connsiteX33238" y="connsiteY33238"/>
              </a:cxn>
              <a:cxn ang="0">
                <a:pos x="connsiteX33239" y="connsiteY33239"/>
              </a:cxn>
              <a:cxn ang="0">
                <a:pos x="connsiteX33240" y="connsiteY33240"/>
              </a:cxn>
              <a:cxn ang="0">
                <a:pos x="connsiteX33241" y="connsiteY33241"/>
              </a:cxn>
              <a:cxn ang="0">
                <a:pos x="connsiteX33242" y="connsiteY33242"/>
              </a:cxn>
              <a:cxn ang="0">
                <a:pos x="connsiteX33243" y="connsiteY33243"/>
              </a:cxn>
              <a:cxn ang="0">
                <a:pos x="connsiteX33244" y="connsiteY33244"/>
              </a:cxn>
              <a:cxn ang="0">
                <a:pos x="connsiteX33245" y="connsiteY33245"/>
              </a:cxn>
              <a:cxn ang="0">
                <a:pos x="connsiteX33246" y="connsiteY33246"/>
              </a:cxn>
              <a:cxn ang="0">
                <a:pos x="connsiteX33247" y="connsiteY33247"/>
              </a:cxn>
              <a:cxn ang="0">
                <a:pos x="connsiteX33248" y="connsiteY33248"/>
              </a:cxn>
              <a:cxn ang="0">
                <a:pos x="connsiteX33249" y="connsiteY33249"/>
              </a:cxn>
              <a:cxn ang="0">
                <a:pos x="connsiteX33250" y="connsiteY33250"/>
              </a:cxn>
              <a:cxn ang="0">
                <a:pos x="connsiteX33251" y="connsiteY33251"/>
              </a:cxn>
              <a:cxn ang="0">
                <a:pos x="connsiteX33252" y="connsiteY33252"/>
              </a:cxn>
              <a:cxn ang="0">
                <a:pos x="connsiteX33253" y="connsiteY33253"/>
              </a:cxn>
              <a:cxn ang="0">
                <a:pos x="connsiteX33254" y="connsiteY33254"/>
              </a:cxn>
              <a:cxn ang="0">
                <a:pos x="connsiteX33255" y="connsiteY33255"/>
              </a:cxn>
              <a:cxn ang="0">
                <a:pos x="connsiteX33256" y="connsiteY33256"/>
              </a:cxn>
              <a:cxn ang="0">
                <a:pos x="connsiteX33257" y="connsiteY33257"/>
              </a:cxn>
              <a:cxn ang="0">
                <a:pos x="connsiteX33258" y="connsiteY33258"/>
              </a:cxn>
              <a:cxn ang="0">
                <a:pos x="connsiteX33259" y="connsiteY33259"/>
              </a:cxn>
              <a:cxn ang="0">
                <a:pos x="connsiteX33260" y="connsiteY33260"/>
              </a:cxn>
              <a:cxn ang="0">
                <a:pos x="connsiteX33261" y="connsiteY33261"/>
              </a:cxn>
              <a:cxn ang="0">
                <a:pos x="connsiteX33262" y="connsiteY33262"/>
              </a:cxn>
              <a:cxn ang="0">
                <a:pos x="connsiteX33263" y="connsiteY33263"/>
              </a:cxn>
              <a:cxn ang="0">
                <a:pos x="connsiteX33264" y="connsiteY33264"/>
              </a:cxn>
              <a:cxn ang="0">
                <a:pos x="connsiteX33265" y="connsiteY33265"/>
              </a:cxn>
              <a:cxn ang="0">
                <a:pos x="connsiteX33266" y="connsiteY33266"/>
              </a:cxn>
              <a:cxn ang="0">
                <a:pos x="connsiteX33267" y="connsiteY33267"/>
              </a:cxn>
              <a:cxn ang="0">
                <a:pos x="connsiteX33268" y="connsiteY33268"/>
              </a:cxn>
              <a:cxn ang="0">
                <a:pos x="connsiteX33269" y="connsiteY33269"/>
              </a:cxn>
              <a:cxn ang="0">
                <a:pos x="connsiteX33270" y="connsiteY33270"/>
              </a:cxn>
              <a:cxn ang="0">
                <a:pos x="connsiteX33271" y="connsiteY33271"/>
              </a:cxn>
              <a:cxn ang="0">
                <a:pos x="connsiteX33272" y="connsiteY33272"/>
              </a:cxn>
              <a:cxn ang="0">
                <a:pos x="connsiteX33273" y="connsiteY33273"/>
              </a:cxn>
              <a:cxn ang="0">
                <a:pos x="connsiteX33274" y="connsiteY33274"/>
              </a:cxn>
              <a:cxn ang="0">
                <a:pos x="connsiteX33275" y="connsiteY33275"/>
              </a:cxn>
              <a:cxn ang="0">
                <a:pos x="connsiteX33276" y="connsiteY33276"/>
              </a:cxn>
              <a:cxn ang="0">
                <a:pos x="connsiteX33277" y="connsiteY33277"/>
              </a:cxn>
              <a:cxn ang="0">
                <a:pos x="connsiteX33278" y="connsiteY33278"/>
              </a:cxn>
              <a:cxn ang="0">
                <a:pos x="connsiteX33279" y="connsiteY33279"/>
              </a:cxn>
              <a:cxn ang="0">
                <a:pos x="connsiteX33280" y="connsiteY33280"/>
              </a:cxn>
              <a:cxn ang="0">
                <a:pos x="connsiteX33281" y="connsiteY33281"/>
              </a:cxn>
              <a:cxn ang="0">
                <a:pos x="connsiteX33282" y="connsiteY33282"/>
              </a:cxn>
              <a:cxn ang="0">
                <a:pos x="connsiteX33283" y="connsiteY33283"/>
              </a:cxn>
              <a:cxn ang="0">
                <a:pos x="connsiteX33284" y="connsiteY33284"/>
              </a:cxn>
              <a:cxn ang="0">
                <a:pos x="connsiteX33285" y="connsiteY33285"/>
              </a:cxn>
              <a:cxn ang="0">
                <a:pos x="connsiteX33286" y="connsiteY33286"/>
              </a:cxn>
              <a:cxn ang="0">
                <a:pos x="connsiteX33287" y="connsiteY33287"/>
              </a:cxn>
              <a:cxn ang="0">
                <a:pos x="connsiteX33288" y="connsiteY33288"/>
              </a:cxn>
              <a:cxn ang="0">
                <a:pos x="connsiteX33289" y="connsiteY33289"/>
              </a:cxn>
              <a:cxn ang="0">
                <a:pos x="connsiteX33290" y="connsiteY33290"/>
              </a:cxn>
              <a:cxn ang="0">
                <a:pos x="connsiteX33291" y="connsiteY33291"/>
              </a:cxn>
              <a:cxn ang="0">
                <a:pos x="connsiteX33292" y="connsiteY33292"/>
              </a:cxn>
              <a:cxn ang="0">
                <a:pos x="connsiteX33293" y="connsiteY33293"/>
              </a:cxn>
              <a:cxn ang="0">
                <a:pos x="connsiteX33294" y="connsiteY33294"/>
              </a:cxn>
              <a:cxn ang="0">
                <a:pos x="connsiteX33295" y="connsiteY33295"/>
              </a:cxn>
              <a:cxn ang="0">
                <a:pos x="connsiteX33296" y="connsiteY33296"/>
              </a:cxn>
              <a:cxn ang="0">
                <a:pos x="connsiteX33297" y="connsiteY33297"/>
              </a:cxn>
              <a:cxn ang="0">
                <a:pos x="connsiteX33298" y="connsiteY33298"/>
              </a:cxn>
              <a:cxn ang="0">
                <a:pos x="connsiteX33299" y="connsiteY33299"/>
              </a:cxn>
              <a:cxn ang="0">
                <a:pos x="connsiteX33300" y="connsiteY33300"/>
              </a:cxn>
              <a:cxn ang="0">
                <a:pos x="connsiteX33301" y="connsiteY33301"/>
              </a:cxn>
              <a:cxn ang="0">
                <a:pos x="connsiteX33302" y="connsiteY33302"/>
              </a:cxn>
              <a:cxn ang="0">
                <a:pos x="connsiteX33303" y="connsiteY33303"/>
              </a:cxn>
              <a:cxn ang="0">
                <a:pos x="connsiteX33304" y="connsiteY33304"/>
              </a:cxn>
              <a:cxn ang="0">
                <a:pos x="connsiteX33305" y="connsiteY33305"/>
              </a:cxn>
              <a:cxn ang="0">
                <a:pos x="connsiteX33306" y="connsiteY33306"/>
              </a:cxn>
              <a:cxn ang="0">
                <a:pos x="connsiteX33307" y="connsiteY33307"/>
              </a:cxn>
              <a:cxn ang="0">
                <a:pos x="connsiteX33308" y="connsiteY33308"/>
              </a:cxn>
              <a:cxn ang="0">
                <a:pos x="connsiteX33309" y="connsiteY33309"/>
              </a:cxn>
              <a:cxn ang="0">
                <a:pos x="connsiteX33310" y="connsiteY33310"/>
              </a:cxn>
              <a:cxn ang="0">
                <a:pos x="connsiteX33311" y="connsiteY33311"/>
              </a:cxn>
              <a:cxn ang="0">
                <a:pos x="connsiteX33312" y="connsiteY33312"/>
              </a:cxn>
              <a:cxn ang="0">
                <a:pos x="connsiteX33313" y="connsiteY33313"/>
              </a:cxn>
              <a:cxn ang="0">
                <a:pos x="connsiteX33314" y="connsiteY33314"/>
              </a:cxn>
              <a:cxn ang="0">
                <a:pos x="connsiteX33315" y="connsiteY33315"/>
              </a:cxn>
              <a:cxn ang="0">
                <a:pos x="connsiteX33316" y="connsiteY33316"/>
              </a:cxn>
              <a:cxn ang="0">
                <a:pos x="connsiteX33317" y="connsiteY33317"/>
              </a:cxn>
              <a:cxn ang="0">
                <a:pos x="connsiteX33318" y="connsiteY33318"/>
              </a:cxn>
              <a:cxn ang="0">
                <a:pos x="connsiteX33319" y="connsiteY33319"/>
              </a:cxn>
              <a:cxn ang="0">
                <a:pos x="connsiteX33320" y="connsiteY33320"/>
              </a:cxn>
              <a:cxn ang="0">
                <a:pos x="connsiteX33321" y="connsiteY33321"/>
              </a:cxn>
              <a:cxn ang="0">
                <a:pos x="connsiteX33322" y="connsiteY33322"/>
              </a:cxn>
              <a:cxn ang="0">
                <a:pos x="connsiteX33323" y="connsiteY33323"/>
              </a:cxn>
              <a:cxn ang="0">
                <a:pos x="connsiteX33324" y="connsiteY33324"/>
              </a:cxn>
              <a:cxn ang="0">
                <a:pos x="connsiteX33325" y="connsiteY33325"/>
              </a:cxn>
              <a:cxn ang="0">
                <a:pos x="connsiteX33326" y="connsiteY33326"/>
              </a:cxn>
              <a:cxn ang="0">
                <a:pos x="connsiteX33327" y="connsiteY33327"/>
              </a:cxn>
              <a:cxn ang="0">
                <a:pos x="connsiteX33328" y="connsiteY33328"/>
              </a:cxn>
              <a:cxn ang="0">
                <a:pos x="connsiteX33329" y="connsiteY33329"/>
              </a:cxn>
              <a:cxn ang="0">
                <a:pos x="connsiteX33330" y="connsiteY33330"/>
              </a:cxn>
              <a:cxn ang="0">
                <a:pos x="connsiteX33331" y="connsiteY33331"/>
              </a:cxn>
              <a:cxn ang="0">
                <a:pos x="connsiteX33332" y="connsiteY33332"/>
              </a:cxn>
              <a:cxn ang="0">
                <a:pos x="connsiteX33333" y="connsiteY33333"/>
              </a:cxn>
              <a:cxn ang="0">
                <a:pos x="connsiteX33334" y="connsiteY33334"/>
              </a:cxn>
              <a:cxn ang="0">
                <a:pos x="connsiteX33335" y="connsiteY33335"/>
              </a:cxn>
              <a:cxn ang="0">
                <a:pos x="connsiteX33336" y="connsiteY33336"/>
              </a:cxn>
              <a:cxn ang="0">
                <a:pos x="connsiteX33337" y="connsiteY33337"/>
              </a:cxn>
              <a:cxn ang="0">
                <a:pos x="connsiteX33338" y="connsiteY33338"/>
              </a:cxn>
              <a:cxn ang="0">
                <a:pos x="connsiteX33339" y="connsiteY33339"/>
              </a:cxn>
              <a:cxn ang="0">
                <a:pos x="connsiteX33340" y="connsiteY33340"/>
              </a:cxn>
              <a:cxn ang="0">
                <a:pos x="connsiteX33341" y="connsiteY33341"/>
              </a:cxn>
              <a:cxn ang="0">
                <a:pos x="connsiteX33342" y="connsiteY33342"/>
              </a:cxn>
              <a:cxn ang="0">
                <a:pos x="connsiteX33343" y="connsiteY33343"/>
              </a:cxn>
              <a:cxn ang="0">
                <a:pos x="connsiteX33344" y="connsiteY33344"/>
              </a:cxn>
              <a:cxn ang="0">
                <a:pos x="connsiteX33345" y="connsiteY33345"/>
              </a:cxn>
              <a:cxn ang="0">
                <a:pos x="connsiteX33346" y="connsiteY33346"/>
              </a:cxn>
              <a:cxn ang="0">
                <a:pos x="connsiteX33347" y="connsiteY33347"/>
              </a:cxn>
              <a:cxn ang="0">
                <a:pos x="connsiteX33348" y="connsiteY33348"/>
              </a:cxn>
              <a:cxn ang="0">
                <a:pos x="connsiteX33349" y="connsiteY33349"/>
              </a:cxn>
              <a:cxn ang="0">
                <a:pos x="connsiteX33350" y="connsiteY33350"/>
              </a:cxn>
              <a:cxn ang="0">
                <a:pos x="connsiteX33351" y="connsiteY33351"/>
              </a:cxn>
              <a:cxn ang="0">
                <a:pos x="connsiteX33352" y="connsiteY33352"/>
              </a:cxn>
              <a:cxn ang="0">
                <a:pos x="connsiteX33353" y="connsiteY33353"/>
              </a:cxn>
              <a:cxn ang="0">
                <a:pos x="connsiteX33354" y="connsiteY33354"/>
              </a:cxn>
              <a:cxn ang="0">
                <a:pos x="connsiteX33355" y="connsiteY33355"/>
              </a:cxn>
              <a:cxn ang="0">
                <a:pos x="connsiteX33356" y="connsiteY33356"/>
              </a:cxn>
              <a:cxn ang="0">
                <a:pos x="connsiteX33357" y="connsiteY33357"/>
              </a:cxn>
              <a:cxn ang="0">
                <a:pos x="connsiteX33358" y="connsiteY33358"/>
              </a:cxn>
              <a:cxn ang="0">
                <a:pos x="connsiteX33359" y="connsiteY33359"/>
              </a:cxn>
              <a:cxn ang="0">
                <a:pos x="connsiteX33360" y="connsiteY33360"/>
              </a:cxn>
              <a:cxn ang="0">
                <a:pos x="connsiteX33361" y="connsiteY33361"/>
              </a:cxn>
              <a:cxn ang="0">
                <a:pos x="connsiteX33362" y="connsiteY33362"/>
              </a:cxn>
              <a:cxn ang="0">
                <a:pos x="connsiteX33363" y="connsiteY33363"/>
              </a:cxn>
              <a:cxn ang="0">
                <a:pos x="connsiteX33364" y="connsiteY33364"/>
              </a:cxn>
              <a:cxn ang="0">
                <a:pos x="connsiteX33365" y="connsiteY33365"/>
              </a:cxn>
              <a:cxn ang="0">
                <a:pos x="connsiteX33366" y="connsiteY33366"/>
              </a:cxn>
              <a:cxn ang="0">
                <a:pos x="connsiteX33367" y="connsiteY33367"/>
              </a:cxn>
              <a:cxn ang="0">
                <a:pos x="connsiteX33368" y="connsiteY33368"/>
              </a:cxn>
              <a:cxn ang="0">
                <a:pos x="connsiteX33369" y="connsiteY33369"/>
              </a:cxn>
              <a:cxn ang="0">
                <a:pos x="connsiteX33370" y="connsiteY33370"/>
              </a:cxn>
              <a:cxn ang="0">
                <a:pos x="connsiteX33371" y="connsiteY33371"/>
              </a:cxn>
              <a:cxn ang="0">
                <a:pos x="connsiteX33372" y="connsiteY33372"/>
              </a:cxn>
              <a:cxn ang="0">
                <a:pos x="connsiteX33373" y="connsiteY33373"/>
              </a:cxn>
              <a:cxn ang="0">
                <a:pos x="connsiteX33374" y="connsiteY33374"/>
              </a:cxn>
              <a:cxn ang="0">
                <a:pos x="connsiteX33375" y="connsiteY33375"/>
              </a:cxn>
              <a:cxn ang="0">
                <a:pos x="connsiteX33376" y="connsiteY33376"/>
              </a:cxn>
              <a:cxn ang="0">
                <a:pos x="connsiteX33377" y="connsiteY33377"/>
              </a:cxn>
              <a:cxn ang="0">
                <a:pos x="connsiteX33378" y="connsiteY33378"/>
              </a:cxn>
              <a:cxn ang="0">
                <a:pos x="connsiteX33379" y="connsiteY33379"/>
              </a:cxn>
              <a:cxn ang="0">
                <a:pos x="connsiteX33380" y="connsiteY33380"/>
              </a:cxn>
              <a:cxn ang="0">
                <a:pos x="connsiteX33381" y="connsiteY33381"/>
              </a:cxn>
              <a:cxn ang="0">
                <a:pos x="connsiteX33382" y="connsiteY33382"/>
              </a:cxn>
              <a:cxn ang="0">
                <a:pos x="connsiteX33383" y="connsiteY33383"/>
              </a:cxn>
              <a:cxn ang="0">
                <a:pos x="connsiteX33384" y="connsiteY33384"/>
              </a:cxn>
              <a:cxn ang="0">
                <a:pos x="connsiteX33385" y="connsiteY33385"/>
              </a:cxn>
              <a:cxn ang="0">
                <a:pos x="connsiteX33386" y="connsiteY33386"/>
              </a:cxn>
              <a:cxn ang="0">
                <a:pos x="connsiteX33387" y="connsiteY33387"/>
              </a:cxn>
              <a:cxn ang="0">
                <a:pos x="connsiteX33388" y="connsiteY33388"/>
              </a:cxn>
              <a:cxn ang="0">
                <a:pos x="connsiteX33389" y="connsiteY33389"/>
              </a:cxn>
              <a:cxn ang="0">
                <a:pos x="connsiteX33390" y="connsiteY33390"/>
              </a:cxn>
              <a:cxn ang="0">
                <a:pos x="connsiteX33391" y="connsiteY33391"/>
              </a:cxn>
              <a:cxn ang="0">
                <a:pos x="connsiteX33392" y="connsiteY33392"/>
              </a:cxn>
              <a:cxn ang="0">
                <a:pos x="connsiteX33393" y="connsiteY33393"/>
              </a:cxn>
              <a:cxn ang="0">
                <a:pos x="connsiteX33394" y="connsiteY33394"/>
              </a:cxn>
              <a:cxn ang="0">
                <a:pos x="connsiteX33395" y="connsiteY33395"/>
              </a:cxn>
              <a:cxn ang="0">
                <a:pos x="connsiteX33396" y="connsiteY33396"/>
              </a:cxn>
              <a:cxn ang="0">
                <a:pos x="connsiteX33397" y="connsiteY33397"/>
              </a:cxn>
              <a:cxn ang="0">
                <a:pos x="connsiteX33398" y="connsiteY33398"/>
              </a:cxn>
              <a:cxn ang="0">
                <a:pos x="connsiteX33399" y="connsiteY33399"/>
              </a:cxn>
              <a:cxn ang="0">
                <a:pos x="connsiteX33400" y="connsiteY33400"/>
              </a:cxn>
              <a:cxn ang="0">
                <a:pos x="connsiteX33401" y="connsiteY33401"/>
              </a:cxn>
              <a:cxn ang="0">
                <a:pos x="connsiteX33402" y="connsiteY33402"/>
              </a:cxn>
              <a:cxn ang="0">
                <a:pos x="connsiteX33403" y="connsiteY33403"/>
              </a:cxn>
              <a:cxn ang="0">
                <a:pos x="connsiteX33404" y="connsiteY33404"/>
              </a:cxn>
              <a:cxn ang="0">
                <a:pos x="connsiteX33405" y="connsiteY33405"/>
              </a:cxn>
              <a:cxn ang="0">
                <a:pos x="connsiteX33406" y="connsiteY33406"/>
              </a:cxn>
              <a:cxn ang="0">
                <a:pos x="connsiteX33407" y="connsiteY33407"/>
              </a:cxn>
              <a:cxn ang="0">
                <a:pos x="connsiteX33408" y="connsiteY33408"/>
              </a:cxn>
              <a:cxn ang="0">
                <a:pos x="connsiteX33409" y="connsiteY33409"/>
              </a:cxn>
              <a:cxn ang="0">
                <a:pos x="connsiteX33410" y="connsiteY33410"/>
              </a:cxn>
              <a:cxn ang="0">
                <a:pos x="connsiteX33411" y="connsiteY33411"/>
              </a:cxn>
              <a:cxn ang="0">
                <a:pos x="connsiteX33412" y="connsiteY33412"/>
              </a:cxn>
              <a:cxn ang="0">
                <a:pos x="connsiteX33413" y="connsiteY33413"/>
              </a:cxn>
              <a:cxn ang="0">
                <a:pos x="connsiteX33414" y="connsiteY33414"/>
              </a:cxn>
              <a:cxn ang="0">
                <a:pos x="connsiteX33415" y="connsiteY33415"/>
              </a:cxn>
              <a:cxn ang="0">
                <a:pos x="connsiteX33416" y="connsiteY33416"/>
              </a:cxn>
              <a:cxn ang="0">
                <a:pos x="connsiteX33417" y="connsiteY33417"/>
              </a:cxn>
              <a:cxn ang="0">
                <a:pos x="connsiteX33418" y="connsiteY33418"/>
              </a:cxn>
              <a:cxn ang="0">
                <a:pos x="connsiteX33419" y="connsiteY33419"/>
              </a:cxn>
              <a:cxn ang="0">
                <a:pos x="connsiteX33420" y="connsiteY33420"/>
              </a:cxn>
              <a:cxn ang="0">
                <a:pos x="connsiteX33421" y="connsiteY33421"/>
              </a:cxn>
              <a:cxn ang="0">
                <a:pos x="connsiteX33422" y="connsiteY33422"/>
              </a:cxn>
              <a:cxn ang="0">
                <a:pos x="connsiteX33423" y="connsiteY33423"/>
              </a:cxn>
              <a:cxn ang="0">
                <a:pos x="connsiteX33424" y="connsiteY33424"/>
              </a:cxn>
              <a:cxn ang="0">
                <a:pos x="connsiteX33425" y="connsiteY33425"/>
              </a:cxn>
              <a:cxn ang="0">
                <a:pos x="connsiteX33426" y="connsiteY33426"/>
              </a:cxn>
              <a:cxn ang="0">
                <a:pos x="connsiteX33427" y="connsiteY33427"/>
              </a:cxn>
              <a:cxn ang="0">
                <a:pos x="connsiteX33428" y="connsiteY33428"/>
              </a:cxn>
              <a:cxn ang="0">
                <a:pos x="connsiteX33429" y="connsiteY33429"/>
              </a:cxn>
              <a:cxn ang="0">
                <a:pos x="connsiteX33430" y="connsiteY33430"/>
              </a:cxn>
              <a:cxn ang="0">
                <a:pos x="connsiteX33431" y="connsiteY33431"/>
              </a:cxn>
              <a:cxn ang="0">
                <a:pos x="connsiteX33432" y="connsiteY33432"/>
              </a:cxn>
              <a:cxn ang="0">
                <a:pos x="connsiteX33433" y="connsiteY33433"/>
              </a:cxn>
              <a:cxn ang="0">
                <a:pos x="connsiteX33434" y="connsiteY33434"/>
              </a:cxn>
              <a:cxn ang="0">
                <a:pos x="connsiteX33435" y="connsiteY33435"/>
              </a:cxn>
              <a:cxn ang="0">
                <a:pos x="connsiteX33436" y="connsiteY33436"/>
              </a:cxn>
              <a:cxn ang="0">
                <a:pos x="connsiteX33437" y="connsiteY33437"/>
              </a:cxn>
              <a:cxn ang="0">
                <a:pos x="connsiteX33438" y="connsiteY33438"/>
              </a:cxn>
              <a:cxn ang="0">
                <a:pos x="connsiteX33439" y="connsiteY33439"/>
              </a:cxn>
              <a:cxn ang="0">
                <a:pos x="connsiteX33440" y="connsiteY33440"/>
              </a:cxn>
              <a:cxn ang="0">
                <a:pos x="connsiteX33441" y="connsiteY33441"/>
              </a:cxn>
              <a:cxn ang="0">
                <a:pos x="connsiteX33442" y="connsiteY33442"/>
              </a:cxn>
              <a:cxn ang="0">
                <a:pos x="connsiteX33443" y="connsiteY33443"/>
              </a:cxn>
              <a:cxn ang="0">
                <a:pos x="connsiteX33444" y="connsiteY33444"/>
              </a:cxn>
              <a:cxn ang="0">
                <a:pos x="connsiteX33445" y="connsiteY33445"/>
              </a:cxn>
              <a:cxn ang="0">
                <a:pos x="connsiteX33446" y="connsiteY33446"/>
              </a:cxn>
              <a:cxn ang="0">
                <a:pos x="connsiteX33447" y="connsiteY33447"/>
              </a:cxn>
              <a:cxn ang="0">
                <a:pos x="connsiteX33448" y="connsiteY33448"/>
              </a:cxn>
              <a:cxn ang="0">
                <a:pos x="connsiteX33449" y="connsiteY33449"/>
              </a:cxn>
              <a:cxn ang="0">
                <a:pos x="connsiteX33450" y="connsiteY33450"/>
              </a:cxn>
              <a:cxn ang="0">
                <a:pos x="connsiteX33451" y="connsiteY33451"/>
              </a:cxn>
              <a:cxn ang="0">
                <a:pos x="connsiteX33452" y="connsiteY33452"/>
              </a:cxn>
              <a:cxn ang="0">
                <a:pos x="connsiteX33453" y="connsiteY33453"/>
              </a:cxn>
              <a:cxn ang="0">
                <a:pos x="connsiteX33454" y="connsiteY33454"/>
              </a:cxn>
              <a:cxn ang="0">
                <a:pos x="connsiteX33455" y="connsiteY33455"/>
              </a:cxn>
              <a:cxn ang="0">
                <a:pos x="connsiteX33456" y="connsiteY33456"/>
              </a:cxn>
              <a:cxn ang="0">
                <a:pos x="connsiteX33457" y="connsiteY33457"/>
              </a:cxn>
              <a:cxn ang="0">
                <a:pos x="connsiteX33458" y="connsiteY33458"/>
              </a:cxn>
              <a:cxn ang="0">
                <a:pos x="connsiteX33459" y="connsiteY33459"/>
              </a:cxn>
              <a:cxn ang="0">
                <a:pos x="connsiteX33460" y="connsiteY33460"/>
              </a:cxn>
              <a:cxn ang="0">
                <a:pos x="connsiteX33461" y="connsiteY33461"/>
              </a:cxn>
              <a:cxn ang="0">
                <a:pos x="connsiteX33462" y="connsiteY33462"/>
              </a:cxn>
              <a:cxn ang="0">
                <a:pos x="connsiteX33463" y="connsiteY33463"/>
              </a:cxn>
              <a:cxn ang="0">
                <a:pos x="connsiteX33464" y="connsiteY33464"/>
              </a:cxn>
              <a:cxn ang="0">
                <a:pos x="connsiteX33465" y="connsiteY33465"/>
              </a:cxn>
              <a:cxn ang="0">
                <a:pos x="connsiteX33466" y="connsiteY33466"/>
              </a:cxn>
              <a:cxn ang="0">
                <a:pos x="connsiteX33467" y="connsiteY33467"/>
              </a:cxn>
              <a:cxn ang="0">
                <a:pos x="connsiteX33468" y="connsiteY33468"/>
              </a:cxn>
              <a:cxn ang="0">
                <a:pos x="connsiteX33469" y="connsiteY33469"/>
              </a:cxn>
              <a:cxn ang="0">
                <a:pos x="connsiteX33470" y="connsiteY33470"/>
              </a:cxn>
              <a:cxn ang="0">
                <a:pos x="connsiteX33471" y="connsiteY33471"/>
              </a:cxn>
              <a:cxn ang="0">
                <a:pos x="connsiteX33472" y="connsiteY33472"/>
              </a:cxn>
              <a:cxn ang="0">
                <a:pos x="connsiteX33473" y="connsiteY33473"/>
              </a:cxn>
              <a:cxn ang="0">
                <a:pos x="connsiteX33474" y="connsiteY33474"/>
              </a:cxn>
              <a:cxn ang="0">
                <a:pos x="connsiteX33475" y="connsiteY33475"/>
              </a:cxn>
              <a:cxn ang="0">
                <a:pos x="connsiteX33476" y="connsiteY33476"/>
              </a:cxn>
              <a:cxn ang="0">
                <a:pos x="connsiteX33477" y="connsiteY33477"/>
              </a:cxn>
              <a:cxn ang="0">
                <a:pos x="connsiteX33478" y="connsiteY33478"/>
              </a:cxn>
              <a:cxn ang="0">
                <a:pos x="connsiteX33479" y="connsiteY33479"/>
              </a:cxn>
              <a:cxn ang="0">
                <a:pos x="connsiteX33480" y="connsiteY33480"/>
              </a:cxn>
              <a:cxn ang="0">
                <a:pos x="connsiteX33481" y="connsiteY33481"/>
              </a:cxn>
              <a:cxn ang="0">
                <a:pos x="connsiteX33482" y="connsiteY33482"/>
              </a:cxn>
              <a:cxn ang="0">
                <a:pos x="connsiteX33483" y="connsiteY33483"/>
              </a:cxn>
              <a:cxn ang="0">
                <a:pos x="connsiteX33484" y="connsiteY33484"/>
              </a:cxn>
              <a:cxn ang="0">
                <a:pos x="connsiteX33485" y="connsiteY33485"/>
              </a:cxn>
              <a:cxn ang="0">
                <a:pos x="connsiteX33486" y="connsiteY33486"/>
              </a:cxn>
              <a:cxn ang="0">
                <a:pos x="connsiteX33487" y="connsiteY33487"/>
              </a:cxn>
              <a:cxn ang="0">
                <a:pos x="connsiteX33488" y="connsiteY33488"/>
              </a:cxn>
              <a:cxn ang="0">
                <a:pos x="connsiteX33489" y="connsiteY33489"/>
              </a:cxn>
              <a:cxn ang="0">
                <a:pos x="connsiteX33490" y="connsiteY33490"/>
              </a:cxn>
              <a:cxn ang="0">
                <a:pos x="connsiteX33491" y="connsiteY33491"/>
              </a:cxn>
              <a:cxn ang="0">
                <a:pos x="connsiteX33492" y="connsiteY33492"/>
              </a:cxn>
              <a:cxn ang="0">
                <a:pos x="connsiteX33493" y="connsiteY33493"/>
              </a:cxn>
              <a:cxn ang="0">
                <a:pos x="connsiteX33494" y="connsiteY33494"/>
              </a:cxn>
              <a:cxn ang="0">
                <a:pos x="connsiteX33495" y="connsiteY33495"/>
              </a:cxn>
              <a:cxn ang="0">
                <a:pos x="connsiteX33496" y="connsiteY33496"/>
              </a:cxn>
              <a:cxn ang="0">
                <a:pos x="connsiteX33497" y="connsiteY33497"/>
              </a:cxn>
              <a:cxn ang="0">
                <a:pos x="connsiteX33498" y="connsiteY33498"/>
              </a:cxn>
              <a:cxn ang="0">
                <a:pos x="connsiteX33499" y="connsiteY33499"/>
              </a:cxn>
              <a:cxn ang="0">
                <a:pos x="connsiteX33500" y="connsiteY33500"/>
              </a:cxn>
              <a:cxn ang="0">
                <a:pos x="connsiteX33501" y="connsiteY33501"/>
              </a:cxn>
              <a:cxn ang="0">
                <a:pos x="connsiteX33502" y="connsiteY33502"/>
              </a:cxn>
              <a:cxn ang="0">
                <a:pos x="connsiteX33503" y="connsiteY33503"/>
              </a:cxn>
              <a:cxn ang="0">
                <a:pos x="connsiteX33504" y="connsiteY33504"/>
              </a:cxn>
              <a:cxn ang="0">
                <a:pos x="connsiteX33505" y="connsiteY33505"/>
              </a:cxn>
              <a:cxn ang="0">
                <a:pos x="connsiteX33506" y="connsiteY33506"/>
              </a:cxn>
              <a:cxn ang="0">
                <a:pos x="connsiteX33507" y="connsiteY33507"/>
              </a:cxn>
              <a:cxn ang="0">
                <a:pos x="connsiteX33508" y="connsiteY33508"/>
              </a:cxn>
              <a:cxn ang="0">
                <a:pos x="connsiteX33509" y="connsiteY33509"/>
              </a:cxn>
              <a:cxn ang="0">
                <a:pos x="connsiteX33510" y="connsiteY33510"/>
              </a:cxn>
              <a:cxn ang="0">
                <a:pos x="connsiteX33511" y="connsiteY33511"/>
              </a:cxn>
              <a:cxn ang="0">
                <a:pos x="connsiteX33512" y="connsiteY33512"/>
              </a:cxn>
              <a:cxn ang="0">
                <a:pos x="connsiteX33513" y="connsiteY33513"/>
              </a:cxn>
              <a:cxn ang="0">
                <a:pos x="connsiteX33514" y="connsiteY33514"/>
              </a:cxn>
              <a:cxn ang="0">
                <a:pos x="connsiteX33515" y="connsiteY33515"/>
              </a:cxn>
              <a:cxn ang="0">
                <a:pos x="connsiteX33516" y="connsiteY33516"/>
              </a:cxn>
              <a:cxn ang="0">
                <a:pos x="connsiteX33517" y="connsiteY33517"/>
              </a:cxn>
              <a:cxn ang="0">
                <a:pos x="connsiteX33518" y="connsiteY33518"/>
              </a:cxn>
              <a:cxn ang="0">
                <a:pos x="connsiteX33519" y="connsiteY33519"/>
              </a:cxn>
              <a:cxn ang="0">
                <a:pos x="connsiteX33520" y="connsiteY33520"/>
              </a:cxn>
              <a:cxn ang="0">
                <a:pos x="connsiteX33521" y="connsiteY33521"/>
              </a:cxn>
              <a:cxn ang="0">
                <a:pos x="connsiteX33522" y="connsiteY33522"/>
              </a:cxn>
              <a:cxn ang="0">
                <a:pos x="connsiteX33523" y="connsiteY33523"/>
              </a:cxn>
              <a:cxn ang="0">
                <a:pos x="connsiteX33524" y="connsiteY33524"/>
              </a:cxn>
              <a:cxn ang="0">
                <a:pos x="connsiteX33525" y="connsiteY33525"/>
              </a:cxn>
              <a:cxn ang="0">
                <a:pos x="connsiteX33526" y="connsiteY33526"/>
              </a:cxn>
              <a:cxn ang="0">
                <a:pos x="connsiteX33527" y="connsiteY33527"/>
              </a:cxn>
              <a:cxn ang="0">
                <a:pos x="connsiteX33528" y="connsiteY33528"/>
              </a:cxn>
              <a:cxn ang="0">
                <a:pos x="connsiteX33529" y="connsiteY33529"/>
              </a:cxn>
              <a:cxn ang="0">
                <a:pos x="connsiteX33530" y="connsiteY33530"/>
              </a:cxn>
              <a:cxn ang="0">
                <a:pos x="connsiteX33531" y="connsiteY33531"/>
              </a:cxn>
              <a:cxn ang="0">
                <a:pos x="connsiteX33532" y="connsiteY33532"/>
              </a:cxn>
              <a:cxn ang="0">
                <a:pos x="connsiteX33533" y="connsiteY33533"/>
              </a:cxn>
              <a:cxn ang="0">
                <a:pos x="connsiteX33534" y="connsiteY33534"/>
              </a:cxn>
              <a:cxn ang="0">
                <a:pos x="connsiteX33535" y="connsiteY33535"/>
              </a:cxn>
              <a:cxn ang="0">
                <a:pos x="connsiteX33536" y="connsiteY33536"/>
              </a:cxn>
              <a:cxn ang="0">
                <a:pos x="connsiteX33537" y="connsiteY33537"/>
              </a:cxn>
              <a:cxn ang="0">
                <a:pos x="connsiteX33538" y="connsiteY33538"/>
              </a:cxn>
              <a:cxn ang="0">
                <a:pos x="connsiteX33539" y="connsiteY33539"/>
              </a:cxn>
              <a:cxn ang="0">
                <a:pos x="connsiteX33540" y="connsiteY33540"/>
              </a:cxn>
              <a:cxn ang="0">
                <a:pos x="connsiteX33541" y="connsiteY33541"/>
              </a:cxn>
              <a:cxn ang="0">
                <a:pos x="connsiteX33542" y="connsiteY33542"/>
              </a:cxn>
              <a:cxn ang="0">
                <a:pos x="connsiteX33543" y="connsiteY33543"/>
              </a:cxn>
              <a:cxn ang="0">
                <a:pos x="connsiteX33544" y="connsiteY33544"/>
              </a:cxn>
              <a:cxn ang="0">
                <a:pos x="connsiteX33545" y="connsiteY33545"/>
              </a:cxn>
              <a:cxn ang="0">
                <a:pos x="connsiteX33546" y="connsiteY33546"/>
              </a:cxn>
              <a:cxn ang="0">
                <a:pos x="connsiteX33547" y="connsiteY33547"/>
              </a:cxn>
              <a:cxn ang="0">
                <a:pos x="connsiteX33548" y="connsiteY33548"/>
              </a:cxn>
              <a:cxn ang="0">
                <a:pos x="connsiteX33549" y="connsiteY33549"/>
              </a:cxn>
              <a:cxn ang="0">
                <a:pos x="connsiteX33550" y="connsiteY33550"/>
              </a:cxn>
              <a:cxn ang="0">
                <a:pos x="connsiteX33551" y="connsiteY33551"/>
              </a:cxn>
              <a:cxn ang="0">
                <a:pos x="connsiteX33552" y="connsiteY33552"/>
              </a:cxn>
              <a:cxn ang="0">
                <a:pos x="connsiteX33553" y="connsiteY33553"/>
              </a:cxn>
              <a:cxn ang="0">
                <a:pos x="connsiteX33554" y="connsiteY33554"/>
              </a:cxn>
              <a:cxn ang="0">
                <a:pos x="connsiteX33555" y="connsiteY33555"/>
              </a:cxn>
              <a:cxn ang="0">
                <a:pos x="connsiteX33556" y="connsiteY33556"/>
              </a:cxn>
              <a:cxn ang="0">
                <a:pos x="connsiteX33557" y="connsiteY33557"/>
              </a:cxn>
              <a:cxn ang="0">
                <a:pos x="connsiteX33558" y="connsiteY33558"/>
              </a:cxn>
              <a:cxn ang="0">
                <a:pos x="connsiteX33559" y="connsiteY33559"/>
              </a:cxn>
              <a:cxn ang="0">
                <a:pos x="connsiteX33560" y="connsiteY33560"/>
              </a:cxn>
              <a:cxn ang="0">
                <a:pos x="connsiteX33561" y="connsiteY33561"/>
              </a:cxn>
              <a:cxn ang="0">
                <a:pos x="connsiteX33562" y="connsiteY33562"/>
              </a:cxn>
              <a:cxn ang="0">
                <a:pos x="connsiteX33563" y="connsiteY33563"/>
              </a:cxn>
              <a:cxn ang="0">
                <a:pos x="connsiteX33564" y="connsiteY33564"/>
              </a:cxn>
              <a:cxn ang="0">
                <a:pos x="connsiteX33565" y="connsiteY33565"/>
              </a:cxn>
              <a:cxn ang="0">
                <a:pos x="connsiteX33566" y="connsiteY33566"/>
              </a:cxn>
              <a:cxn ang="0">
                <a:pos x="connsiteX33567" y="connsiteY33567"/>
              </a:cxn>
              <a:cxn ang="0">
                <a:pos x="connsiteX33568" y="connsiteY33568"/>
              </a:cxn>
              <a:cxn ang="0">
                <a:pos x="connsiteX33569" y="connsiteY33569"/>
              </a:cxn>
              <a:cxn ang="0">
                <a:pos x="connsiteX33570" y="connsiteY33570"/>
              </a:cxn>
              <a:cxn ang="0">
                <a:pos x="connsiteX33571" y="connsiteY33571"/>
              </a:cxn>
              <a:cxn ang="0">
                <a:pos x="connsiteX33572" y="connsiteY33572"/>
              </a:cxn>
              <a:cxn ang="0">
                <a:pos x="connsiteX33573" y="connsiteY33573"/>
              </a:cxn>
              <a:cxn ang="0">
                <a:pos x="connsiteX33574" y="connsiteY33574"/>
              </a:cxn>
              <a:cxn ang="0">
                <a:pos x="connsiteX33575" y="connsiteY33575"/>
              </a:cxn>
              <a:cxn ang="0">
                <a:pos x="connsiteX33576" y="connsiteY33576"/>
              </a:cxn>
              <a:cxn ang="0">
                <a:pos x="connsiteX33577" y="connsiteY33577"/>
              </a:cxn>
              <a:cxn ang="0">
                <a:pos x="connsiteX33578" y="connsiteY33578"/>
              </a:cxn>
              <a:cxn ang="0">
                <a:pos x="connsiteX33579" y="connsiteY33579"/>
              </a:cxn>
              <a:cxn ang="0">
                <a:pos x="connsiteX33580" y="connsiteY33580"/>
              </a:cxn>
              <a:cxn ang="0">
                <a:pos x="connsiteX33581" y="connsiteY33581"/>
              </a:cxn>
              <a:cxn ang="0">
                <a:pos x="connsiteX33582" y="connsiteY33582"/>
              </a:cxn>
              <a:cxn ang="0">
                <a:pos x="connsiteX33583" y="connsiteY33583"/>
              </a:cxn>
              <a:cxn ang="0">
                <a:pos x="connsiteX33584" y="connsiteY33584"/>
              </a:cxn>
              <a:cxn ang="0">
                <a:pos x="connsiteX33585" y="connsiteY33585"/>
              </a:cxn>
              <a:cxn ang="0">
                <a:pos x="connsiteX33586" y="connsiteY33586"/>
              </a:cxn>
              <a:cxn ang="0">
                <a:pos x="connsiteX33587" y="connsiteY33587"/>
              </a:cxn>
              <a:cxn ang="0">
                <a:pos x="connsiteX33588" y="connsiteY33588"/>
              </a:cxn>
              <a:cxn ang="0">
                <a:pos x="connsiteX33589" y="connsiteY33589"/>
              </a:cxn>
              <a:cxn ang="0">
                <a:pos x="connsiteX33590" y="connsiteY33590"/>
              </a:cxn>
              <a:cxn ang="0">
                <a:pos x="connsiteX33591" y="connsiteY33591"/>
              </a:cxn>
              <a:cxn ang="0">
                <a:pos x="connsiteX33592" y="connsiteY33592"/>
              </a:cxn>
              <a:cxn ang="0">
                <a:pos x="connsiteX33593" y="connsiteY33593"/>
              </a:cxn>
              <a:cxn ang="0">
                <a:pos x="connsiteX33594" y="connsiteY33594"/>
              </a:cxn>
              <a:cxn ang="0">
                <a:pos x="connsiteX33595" y="connsiteY33595"/>
              </a:cxn>
              <a:cxn ang="0">
                <a:pos x="connsiteX33596" y="connsiteY33596"/>
              </a:cxn>
              <a:cxn ang="0">
                <a:pos x="connsiteX33597" y="connsiteY33597"/>
              </a:cxn>
              <a:cxn ang="0">
                <a:pos x="connsiteX33598" y="connsiteY33598"/>
              </a:cxn>
              <a:cxn ang="0">
                <a:pos x="connsiteX33599" y="connsiteY33599"/>
              </a:cxn>
              <a:cxn ang="0">
                <a:pos x="connsiteX33600" y="connsiteY33600"/>
              </a:cxn>
              <a:cxn ang="0">
                <a:pos x="connsiteX33601" y="connsiteY33601"/>
              </a:cxn>
              <a:cxn ang="0">
                <a:pos x="connsiteX33602" y="connsiteY33602"/>
              </a:cxn>
              <a:cxn ang="0">
                <a:pos x="connsiteX33603" y="connsiteY33603"/>
              </a:cxn>
              <a:cxn ang="0">
                <a:pos x="connsiteX33604" y="connsiteY33604"/>
              </a:cxn>
              <a:cxn ang="0">
                <a:pos x="connsiteX33605" y="connsiteY33605"/>
              </a:cxn>
              <a:cxn ang="0">
                <a:pos x="connsiteX33606" y="connsiteY33606"/>
              </a:cxn>
              <a:cxn ang="0">
                <a:pos x="connsiteX33607" y="connsiteY33607"/>
              </a:cxn>
              <a:cxn ang="0">
                <a:pos x="connsiteX33608" y="connsiteY33608"/>
              </a:cxn>
              <a:cxn ang="0">
                <a:pos x="connsiteX33609" y="connsiteY33609"/>
              </a:cxn>
              <a:cxn ang="0">
                <a:pos x="connsiteX33610" y="connsiteY33610"/>
              </a:cxn>
              <a:cxn ang="0">
                <a:pos x="connsiteX33611" y="connsiteY33611"/>
              </a:cxn>
              <a:cxn ang="0">
                <a:pos x="connsiteX33612" y="connsiteY33612"/>
              </a:cxn>
              <a:cxn ang="0">
                <a:pos x="connsiteX33613" y="connsiteY33613"/>
              </a:cxn>
              <a:cxn ang="0">
                <a:pos x="connsiteX33614" y="connsiteY33614"/>
              </a:cxn>
              <a:cxn ang="0">
                <a:pos x="connsiteX33615" y="connsiteY33615"/>
              </a:cxn>
              <a:cxn ang="0">
                <a:pos x="connsiteX33616" y="connsiteY33616"/>
              </a:cxn>
              <a:cxn ang="0">
                <a:pos x="connsiteX33617" y="connsiteY33617"/>
              </a:cxn>
              <a:cxn ang="0">
                <a:pos x="connsiteX33618" y="connsiteY33618"/>
              </a:cxn>
              <a:cxn ang="0">
                <a:pos x="connsiteX33619" y="connsiteY33619"/>
              </a:cxn>
              <a:cxn ang="0">
                <a:pos x="connsiteX33620" y="connsiteY33620"/>
              </a:cxn>
              <a:cxn ang="0">
                <a:pos x="connsiteX33621" y="connsiteY33621"/>
              </a:cxn>
              <a:cxn ang="0">
                <a:pos x="connsiteX33622" y="connsiteY33622"/>
              </a:cxn>
              <a:cxn ang="0">
                <a:pos x="connsiteX33623" y="connsiteY33623"/>
              </a:cxn>
              <a:cxn ang="0">
                <a:pos x="connsiteX33624" y="connsiteY33624"/>
              </a:cxn>
              <a:cxn ang="0">
                <a:pos x="connsiteX33625" y="connsiteY33625"/>
              </a:cxn>
              <a:cxn ang="0">
                <a:pos x="connsiteX33626" y="connsiteY33626"/>
              </a:cxn>
              <a:cxn ang="0">
                <a:pos x="connsiteX33627" y="connsiteY33627"/>
              </a:cxn>
              <a:cxn ang="0">
                <a:pos x="connsiteX33628" y="connsiteY33628"/>
              </a:cxn>
              <a:cxn ang="0">
                <a:pos x="connsiteX33629" y="connsiteY33629"/>
              </a:cxn>
              <a:cxn ang="0">
                <a:pos x="connsiteX33630" y="connsiteY33630"/>
              </a:cxn>
              <a:cxn ang="0">
                <a:pos x="connsiteX33631" y="connsiteY33631"/>
              </a:cxn>
              <a:cxn ang="0">
                <a:pos x="connsiteX33632" y="connsiteY33632"/>
              </a:cxn>
              <a:cxn ang="0">
                <a:pos x="connsiteX33633" y="connsiteY33633"/>
              </a:cxn>
              <a:cxn ang="0">
                <a:pos x="connsiteX33634" y="connsiteY33634"/>
              </a:cxn>
              <a:cxn ang="0">
                <a:pos x="connsiteX33635" y="connsiteY33635"/>
              </a:cxn>
              <a:cxn ang="0">
                <a:pos x="connsiteX33636" y="connsiteY33636"/>
              </a:cxn>
              <a:cxn ang="0">
                <a:pos x="connsiteX33637" y="connsiteY33637"/>
              </a:cxn>
              <a:cxn ang="0">
                <a:pos x="connsiteX33638" y="connsiteY33638"/>
              </a:cxn>
              <a:cxn ang="0">
                <a:pos x="connsiteX33639" y="connsiteY33639"/>
              </a:cxn>
              <a:cxn ang="0">
                <a:pos x="connsiteX33640" y="connsiteY33640"/>
              </a:cxn>
              <a:cxn ang="0">
                <a:pos x="connsiteX33641" y="connsiteY33641"/>
              </a:cxn>
              <a:cxn ang="0">
                <a:pos x="connsiteX33642" y="connsiteY33642"/>
              </a:cxn>
              <a:cxn ang="0">
                <a:pos x="connsiteX33643" y="connsiteY33643"/>
              </a:cxn>
              <a:cxn ang="0">
                <a:pos x="connsiteX33644" y="connsiteY33644"/>
              </a:cxn>
              <a:cxn ang="0">
                <a:pos x="connsiteX33645" y="connsiteY33645"/>
              </a:cxn>
              <a:cxn ang="0">
                <a:pos x="connsiteX33646" y="connsiteY33646"/>
              </a:cxn>
              <a:cxn ang="0">
                <a:pos x="connsiteX33647" y="connsiteY33647"/>
              </a:cxn>
              <a:cxn ang="0">
                <a:pos x="connsiteX33648" y="connsiteY33648"/>
              </a:cxn>
              <a:cxn ang="0">
                <a:pos x="connsiteX33649" y="connsiteY33649"/>
              </a:cxn>
              <a:cxn ang="0">
                <a:pos x="connsiteX33650" y="connsiteY33650"/>
              </a:cxn>
              <a:cxn ang="0">
                <a:pos x="connsiteX33651" y="connsiteY33651"/>
              </a:cxn>
              <a:cxn ang="0">
                <a:pos x="connsiteX33652" y="connsiteY33652"/>
              </a:cxn>
              <a:cxn ang="0">
                <a:pos x="connsiteX33653" y="connsiteY33653"/>
              </a:cxn>
              <a:cxn ang="0">
                <a:pos x="connsiteX33654" y="connsiteY33654"/>
              </a:cxn>
              <a:cxn ang="0">
                <a:pos x="connsiteX33655" y="connsiteY33655"/>
              </a:cxn>
              <a:cxn ang="0">
                <a:pos x="connsiteX33656" y="connsiteY33656"/>
              </a:cxn>
              <a:cxn ang="0">
                <a:pos x="connsiteX33657" y="connsiteY33657"/>
              </a:cxn>
              <a:cxn ang="0">
                <a:pos x="connsiteX33658" y="connsiteY33658"/>
              </a:cxn>
              <a:cxn ang="0">
                <a:pos x="connsiteX33659" y="connsiteY33659"/>
              </a:cxn>
              <a:cxn ang="0">
                <a:pos x="connsiteX33660" y="connsiteY33660"/>
              </a:cxn>
              <a:cxn ang="0">
                <a:pos x="connsiteX33661" y="connsiteY33661"/>
              </a:cxn>
              <a:cxn ang="0">
                <a:pos x="connsiteX33662" y="connsiteY33662"/>
              </a:cxn>
              <a:cxn ang="0">
                <a:pos x="connsiteX33663" y="connsiteY33663"/>
              </a:cxn>
              <a:cxn ang="0">
                <a:pos x="connsiteX33664" y="connsiteY33664"/>
              </a:cxn>
              <a:cxn ang="0">
                <a:pos x="connsiteX33665" y="connsiteY33665"/>
              </a:cxn>
              <a:cxn ang="0">
                <a:pos x="connsiteX33666" y="connsiteY33666"/>
              </a:cxn>
              <a:cxn ang="0">
                <a:pos x="connsiteX33667" y="connsiteY33667"/>
              </a:cxn>
              <a:cxn ang="0">
                <a:pos x="connsiteX33668" y="connsiteY33668"/>
              </a:cxn>
              <a:cxn ang="0">
                <a:pos x="connsiteX33669" y="connsiteY33669"/>
              </a:cxn>
              <a:cxn ang="0">
                <a:pos x="connsiteX33670" y="connsiteY33670"/>
              </a:cxn>
              <a:cxn ang="0">
                <a:pos x="connsiteX33671" y="connsiteY33671"/>
              </a:cxn>
              <a:cxn ang="0">
                <a:pos x="connsiteX33672" y="connsiteY33672"/>
              </a:cxn>
              <a:cxn ang="0">
                <a:pos x="connsiteX33673" y="connsiteY33673"/>
              </a:cxn>
              <a:cxn ang="0">
                <a:pos x="connsiteX33674" y="connsiteY33674"/>
              </a:cxn>
              <a:cxn ang="0">
                <a:pos x="connsiteX33675" y="connsiteY33675"/>
              </a:cxn>
              <a:cxn ang="0">
                <a:pos x="connsiteX33676" y="connsiteY33676"/>
              </a:cxn>
              <a:cxn ang="0">
                <a:pos x="connsiteX33677" y="connsiteY33677"/>
              </a:cxn>
              <a:cxn ang="0">
                <a:pos x="connsiteX33678" y="connsiteY33678"/>
              </a:cxn>
              <a:cxn ang="0">
                <a:pos x="connsiteX33679" y="connsiteY33679"/>
              </a:cxn>
              <a:cxn ang="0">
                <a:pos x="connsiteX33680" y="connsiteY33680"/>
              </a:cxn>
              <a:cxn ang="0">
                <a:pos x="connsiteX33681" y="connsiteY33681"/>
              </a:cxn>
              <a:cxn ang="0">
                <a:pos x="connsiteX33682" y="connsiteY33682"/>
              </a:cxn>
              <a:cxn ang="0">
                <a:pos x="connsiteX33683" y="connsiteY33683"/>
              </a:cxn>
              <a:cxn ang="0">
                <a:pos x="connsiteX33684" y="connsiteY33684"/>
              </a:cxn>
              <a:cxn ang="0">
                <a:pos x="connsiteX33685" y="connsiteY33685"/>
              </a:cxn>
              <a:cxn ang="0">
                <a:pos x="connsiteX33686" y="connsiteY33686"/>
              </a:cxn>
              <a:cxn ang="0">
                <a:pos x="connsiteX33687" y="connsiteY33687"/>
              </a:cxn>
              <a:cxn ang="0">
                <a:pos x="connsiteX33688" y="connsiteY33688"/>
              </a:cxn>
              <a:cxn ang="0">
                <a:pos x="connsiteX33689" y="connsiteY33689"/>
              </a:cxn>
              <a:cxn ang="0">
                <a:pos x="connsiteX33690" y="connsiteY33690"/>
              </a:cxn>
              <a:cxn ang="0">
                <a:pos x="connsiteX33691" y="connsiteY33691"/>
              </a:cxn>
              <a:cxn ang="0">
                <a:pos x="connsiteX33692" y="connsiteY33692"/>
              </a:cxn>
              <a:cxn ang="0">
                <a:pos x="connsiteX33693" y="connsiteY33693"/>
              </a:cxn>
              <a:cxn ang="0">
                <a:pos x="connsiteX33694" y="connsiteY33694"/>
              </a:cxn>
              <a:cxn ang="0">
                <a:pos x="connsiteX33695" y="connsiteY33695"/>
              </a:cxn>
              <a:cxn ang="0">
                <a:pos x="connsiteX33696" y="connsiteY33696"/>
              </a:cxn>
              <a:cxn ang="0">
                <a:pos x="connsiteX33697" y="connsiteY33697"/>
              </a:cxn>
              <a:cxn ang="0">
                <a:pos x="connsiteX33698" y="connsiteY33698"/>
              </a:cxn>
              <a:cxn ang="0">
                <a:pos x="connsiteX33699" y="connsiteY33699"/>
              </a:cxn>
              <a:cxn ang="0">
                <a:pos x="connsiteX33700" y="connsiteY33700"/>
              </a:cxn>
              <a:cxn ang="0">
                <a:pos x="connsiteX33701" y="connsiteY33701"/>
              </a:cxn>
              <a:cxn ang="0">
                <a:pos x="connsiteX33702" y="connsiteY33702"/>
              </a:cxn>
              <a:cxn ang="0">
                <a:pos x="connsiteX33703" y="connsiteY33703"/>
              </a:cxn>
              <a:cxn ang="0">
                <a:pos x="connsiteX33704" y="connsiteY33704"/>
              </a:cxn>
              <a:cxn ang="0">
                <a:pos x="connsiteX33705" y="connsiteY33705"/>
              </a:cxn>
              <a:cxn ang="0">
                <a:pos x="connsiteX33706" y="connsiteY33706"/>
              </a:cxn>
              <a:cxn ang="0">
                <a:pos x="connsiteX33707" y="connsiteY33707"/>
              </a:cxn>
              <a:cxn ang="0">
                <a:pos x="connsiteX33708" y="connsiteY33708"/>
              </a:cxn>
              <a:cxn ang="0">
                <a:pos x="connsiteX33709" y="connsiteY33709"/>
              </a:cxn>
              <a:cxn ang="0">
                <a:pos x="connsiteX33710" y="connsiteY33710"/>
              </a:cxn>
              <a:cxn ang="0">
                <a:pos x="connsiteX33711" y="connsiteY33711"/>
              </a:cxn>
              <a:cxn ang="0">
                <a:pos x="connsiteX33712" y="connsiteY33712"/>
              </a:cxn>
              <a:cxn ang="0">
                <a:pos x="connsiteX33713" y="connsiteY33713"/>
              </a:cxn>
              <a:cxn ang="0">
                <a:pos x="connsiteX33714" y="connsiteY33714"/>
              </a:cxn>
              <a:cxn ang="0">
                <a:pos x="connsiteX33715" y="connsiteY33715"/>
              </a:cxn>
              <a:cxn ang="0">
                <a:pos x="connsiteX33716" y="connsiteY33716"/>
              </a:cxn>
              <a:cxn ang="0">
                <a:pos x="connsiteX33717" y="connsiteY33717"/>
              </a:cxn>
              <a:cxn ang="0">
                <a:pos x="connsiteX33718" y="connsiteY33718"/>
              </a:cxn>
              <a:cxn ang="0">
                <a:pos x="connsiteX33719" y="connsiteY33719"/>
              </a:cxn>
              <a:cxn ang="0">
                <a:pos x="connsiteX33720" y="connsiteY33720"/>
              </a:cxn>
              <a:cxn ang="0">
                <a:pos x="connsiteX33721" y="connsiteY33721"/>
              </a:cxn>
              <a:cxn ang="0">
                <a:pos x="connsiteX33722" y="connsiteY33722"/>
              </a:cxn>
              <a:cxn ang="0">
                <a:pos x="connsiteX33723" y="connsiteY33723"/>
              </a:cxn>
              <a:cxn ang="0">
                <a:pos x="connsiteX33724" y="connsiteY33724"/>
              </a:cxn>
              <a:cxn ang="0">
                <a:pos x="connsiteX33725" y="connsiteY33725"/>
              </a:cxn>
              <a:cxn ang="0">
                <a:pos x="connsiteX33726" y="connsiteY33726"/>
              </a:cxn>
              <a:cxn ang="0">
                <a:pos x="connsiteX33727" y="connsiteY33727"/>
              </a:cxn>
              <a:cxn ang="0">
                <a:pos x="connsiteX33728" y="connsiteY33728"/>
              </a:cxn>
              <a:cxn ang="0">
                <a:pos x="connsiteX33729" y="connsiteY33729"/>
              </a:cxn>
              <a:cxn ang="0">
                <a:pos x="connsiteX33730" y="connsiteY33730"/>
              </a:cxn>
              <a:cxn ang="0">
                <a:pos x="connsiteX33731" y="connsiteY33731"/>
              </a:cxn>
              <a:cxn ang="0">
                <a:pos x="connsiteX33732" y="connsiteY33732"/>
              </a:cxn>
              <a:cxn ang="0">
                <a:pos x="connsiteX33733" y="connsiteY33733"/>
              </a:cxn>
              <a:cxn ang="0">
                <a:pos x="connsiteX33734" y="connsiteY33734"/>
              </a:cxn>
              <a:cxn ang="0">
                <a:pos x="connsiteX33735" y="connsiteY33735"/>
              </a:cxn>
              <a:cxn ang="0">
                <a:pos x="connsiteX33736" y="connsiteY33736"/>
              </a:cxn>
              <a:cxn ang="0">
                <a:pos x="connsiteX33737" y="connsiteY33737"/>
              </a:cxn>
              <a:cxn ang="0">
                <a:pos x="connsiteX33738" y="connsiteY33738"/>
              </a:cxn>
              <a:cxn ang="0">
                <a:pos x="connsiteX33739" y="connsiteY33739"/>
              </a:cxn>
              <a:cxn ang="0">
                <a:pos x="connsiteX33740" y="connsiteY33740"/>
              </a:cxn>
              <a:cxn ang="0">
                <a:pos x="connsiteX33741" y="connsiteY33741"/>
              </a:cxn>
              <a:cxn ang="0">
                <a:pos x="connsiteX33742" y="connsiteY33742"/>
              </a:cxn>
              <a:cxn ang="0">
                <a:pos x="connsiteX33743" y="connsiteY33743"/>
              </a:cxn>
              <a:cxn ang="0">
                <a:pos x="connsiteX33744" y="connsiteY33744"/>
              </a:cxn>
              <a:cxn ang="0">
                <a:pos x="connsiteX33745" y="connsiteY33745"/>
              </a:cxn>
              <a:cxn ang="0">
                <a:pos x="connsiteX33746" y="connsiteY33746"/>
              </a:cxn>
              <a:cxn ang="0">
                <a:pos x="connsiteX33747" y="connsiteY33747"/>
              </a:cxn>
              <a:cxn ang="0">
                <a:pos x="connsiteX33748" y="connsiteY33748"/>
              </a:cxn>
              <a:cxn ang="0">
                <a:pos x="connsiteX33749" y="connsiteY33749"/>
              </a:cxn>
              <a:cxn ang="0">
                <a:pos x="connsiteX33750" y="connsiteY33750"/>
              </a:cxn>
              <a:cxn ang="0">
                <a:pos x="connsiteX33751" y="connsiteY33751"/>
              </a:cxn>
              <a:cxn ang="0">
                <a:pos x="connsiteX33752" y="connsiteY33752"/>
              </a:cxn>
              <a:cxn ang="0">
                <a:pos x="connsiteX33753" y="connsiteY33753"/>
              </a:cxn>
              <a:cxn ang="0">
                <a:pos x="connsiteX33754" y="connsiteY33754"/>
              </a:cxn>
              <a:cxn ang="0">
                <a:pos x="connsiteX33755" y="connsiteY33755"/>
              </a:cxn>
              <a:cxn ang="0">
                <a:pos x="connsiteX33756" y="connsiteY33756"/>
              </a:cxn>
              <a:cxn ang="0">
                <a:pos x="connsiteX33757" y="connsiteY33757"/>
              </a:cxn>
              <a:cxn ang="0">
                <a:pos x="connsiteX33758" y="connsiteY33758"/>
              </a:cxn>
              <a:cxn ang="0">
                <a:pos x="connsiteX33759" y="connsiteY33759"/>
              </a:cxn>
              <a:cxn ang="0">
                <a:pos x="connsiteX33760" y="connsiteY33760"/>
              </a:cxn>
              <a:cxn ang="0">
                <a:pos x="connsiteX33761" y="connsiteY33761"/>
              </a:cxn>
              <a:cxn ang="0">
                <a:pos x="connsiteX33762" y="connsiteY33762"/>
              </a:cxn>
              <a:cxn ang="0">
                <a:pos x="connsiteX33763" y="connsiteY33763"/>
              </a:cxn>
              <a:cxn ang="0">
                <a:pos x="connsiteX33764" y="connsiteY33764"/>
              </a:cxn>
              <a:cxn ang="0">
                <a:pos x="connsiteX33765" y="connsiteY33765"/>
              </a:cxn>
              <a:cxn ang="0">
                <a:pos x="connsiteX33766" y="connsiteY33766"/>
              </a:cxn>
              <a:cxn ang="0">
                <a:pos x="connsiteX33767" y="connsiteY33767"/>
              </a:cxn>
              <a:cxn ang="0">
                <a:pos x="connsiteX33768" y="connsiteY33768"/>
              </a:cxn>
              <a:cxn ang="0">
                <a:pos x="connsiteX33769" y="connsiteY33769"/>
              </a:cxn>
              <a:cxn ang="0">
                <a:pos x="connsiteX33770" y="connsiteY33770"/>
              </a:cxn>
              <a:cxn ang="0">
                <a:pos x="connsiteX33771" y="connsiteY33771"/>
              </a:cxn>
              <a:cxn ang="0">
                <a:pos x="connsiteX33772" y="connsiteY33772"/>
              </a:cxn>
              <a:cxn ang="0">
                <a:pos x="connsiteX33773" y="connsiteY33773"/>
              </a:cxn>
              <a:cxn ang="0">
                <a:pos x="connsiteX33774" y="connsiteY33774"/>
              </a:cxn>
              <a:cxn ang="0">
                <a:pos x="connsiteX33775" y="connsiteY33775"/>
              </a:cxn>
              <a:cxn ang="0">
                <a:pos x="connsiteX33776" y="connsiteY33776"/>
              </a:cxn>
              <a:cxn ang="0">
                <a:pos x="connsiteX33777" y="connsiteY33777"/>
              </a:cxn>
              <a:cxn ang="0">
                <a:pos x="connsiteX33778" y="connsiteY33778"/>
              </a:cxn>
              <a:cxn ang="0">
                <a:pos x="connsiteX33779" y="connsiteY33779"/>
              </a:cxn>
              <a:cxn ang="0">
                <a:pos x="connsiteX33780" y="connsiteY33780"/>
              </a:cxn>
              <a:cxn ang="0">
                <a:pos x="connsiteX33781" y="connsiteY33781"/>
              </a:cxn>
              <a:cxn ang="0">
                <a:pos x="connsiteX33782" y="connsiteY33782"/>
              </a:cxn>
              <a:cxn ang="0">
                <a:pos x="connsiteX33783" y="connsiteY33783"/>
              </a:cxn>
              <a:cxn ang="0">
                <a:pos x="connsiteX33784" y="connsiteY33784"/>
              </a:cxn>
              <a:cxn ang="0">
                <a:pos x="connsiteX33785" y="connsiteY33785"/>
              </a:cxn>
              <a:cxn ang="0">
                <a:pos x="connsiteX33786" y="connsiteY33786"/>
              </a:cxn>
              <a:cxn ang="0">
                <a:pos x="connsiteX33787" y="connsiteY33787"/>
              </a:cxn>
              <a:cxn ang="0">
                <a:pos x="connsiteX33788" y="connsiteY33788"/>
              </a:cxn>
              <a:cxn ang="0">
                <a:pos x="connsiteX33789" y="connsiteY33789"/>
              </a:cxn>
              <a:cxn ang="0">
                <a:pos x="connsiteX33790" y="connsiteY33790"/>
              </a:cxn>
              <a:cxn ang="0">
                <a:pos x="connsiteX33791" y="connsiteY33791"/>
              </a:cxn>
              <a:cxn ang="0">
                <a:pos x="connsiteX33792" y="connsiteY33792"/>
              </a:cxn>
              <a:cxn ang="0">
                <a:pos x="connsiteX33793" y="connsiteY33793"/>
              </a:cxn>
              <a:cxn ang="0">
                <a:pos x="connsiteX33794" y="connsiteY33794"/>
              </a:cxn>
              <a:cxn ang="0">
                <a:pos x="connsiteX33795" y="connsiteY33795"/>
              </a:cxn>
              <a:cxn ang="0">
                <a:pos x="connsiteX33796" y="connsiteY33796"/>
              </a:cxn>
              <a:cxn ang="0">
                <a:pos x="connsiteX33797" y="connsiteY33797"/>
              </a:cxn>
              <a:cxn ang="0">
                <a:pos x="connsiteX33798" y="connsiteY33798"/>
              </a:cxn>
              <a:cxn ang="0">
                <a:pos x="connsiteX33799" y="connsiteY33799"/>
              </a:cxn>
              <a:cxn ang="0">
                <a:pos x="connsiteX33800" y="connsiteY33800"/>
              </a:cxn>
              <a:cxn ang="0">
                <a:pos x="connsiteX33801" y="connsiteY33801"/>
              </a:cxn>
              <a:cxn ang="0">
                <a:pos x="connsiteX33802" y="connsiteY33802"/>
              </a:cxn>
              <a:cxn ang="0">
                <a:pos x="connsiteX33803" y="connsiteY33803"/>
              </a:cxn>
              <a:cxn ang="0">
                <a:pos x="connsiteX33804" y="connsiteY33804"/>
              </a:cxn>
              <a:cxn ang="0">
                <a:pos x="connsiteX33805" y="connsiteY33805"/>
              </a:cxn>
              <a:cxn ang="0">
                <a:pos x="connsiteX33806" y="connsiteY33806"/>
              </a:cxn>
              <a:cxn ang="0">
                <a:pos x="connsiteX33807" y="connsiteY33807"/>
              </a:cxn>
              <a:cxn ang="0">
                <a:pos x="connsiteX33808" y="connsiteY33808"/>
              </a:cxn>
              <a:cxn ang="0">
                <a:pos x="connsiteX33809" y="connsiteY33809"/>
              </a:cxn>
              <a:cxn ang="0">
                <a:pos x="connsiteX33810" y="connsiteY33810"/>
              </a:cxn>
              <a:cxn ang="0">
                <a:pos x="connsiteX33811" y="connsiteY33811"/>
              </a:cxn>
              <a:cxn ang="0">
                <a:pos x="connsiteX33812" y="connsiteY33812"/>
              </a:cxn>
              <a:cxn ang="0">
                <a:pos x="connsiteX33813" y="connsiteY33813"/>
              </a:cxn>
              <a:cxn ang="0">
                <a:pos x="connsiteX33814" y="connsiteY33814"/>
              </a:cxn>
              <a:cxn ang="0">
                <a:pos x="connsiteX33815" y="connsiteY33815"/>
              </a:cxn>
              <a:cxn ang="0">
                <a:pos x="connsiteX33816" y="connsiteY33816"/>
              </a:cxn>
              <a:cxn ang="0">
                <a:pos x="connsiteX33817" y="connsiteY33817"/>
              </a:cxn>
              <a:cxn ang="0">
                <a:pos x="connsiteX33818" y="connsiteY33818"/>
              </a:cxn>
              <a:cxn ang="0">
                <a:pos x="connsiteX33819" y="connsiteY33819"/>
              </a:cxn>
              <a:cxn ang="0">
                <a:pos x="connsiteX33820" y="connsiteY33820"/>
              </a:cxn>
              <a:cxn ang="0">
                <a:pos x="connsiteX33821" y="connsiteY33821"/>
              </a:cxn>
              <a:cxn ang="0">
                <a:pos x="connsiteX33822" y="connsiteY33822"/>
              </a:cxn>
              <a:cxn ang="0">
                <a:pos x="connsiteX33823" y="connsiteY33823"/>
              </a:cxn>
              <a:cxn ang="0">
                <a:pos x="connsiteX33824" y="connsiteY33824"/>
              </a:cxn>
              <a:cxn ang="0">
                <a:pos x="connsiteX33825" y="connsiteY33825"/>
              </a:cxn>
              <a:cxn ang="0">
                <a:pos x="connsiteX33826" y="connsiteY33826"/>
              </a:cxn>
              <a:cxn ang="0">
                <a:pos x="connsiteX33827" y="connsiteY33827"/>
              </a:cxn>
              <a:cxn ang="0">
                <a:pos x="connsiteX33828" y="connsiteY33828"/>
              </a:cxn>
              <a:cxn ang="0">
                <a:pos x="connsiteX33829" y="connsiteY33829"/>
              </a:cxn>
              <a:cxn ang="0">
                <a:pos x="connsiteX33830" y="connsiteY33830"/>
              </a:cxn>
              <a:cxn ang="0">
                <a:pos x="connsiteX33831" y="connsiteY33831"/>
              </a:cxn>
              <a:cxn ang="0">
                <a:pos x="connsiteX33832" y="connsiteY33832"/>
              </a:cxn>
              <a:cxn ang="0">
                <a:pos x="connsiteX33833" y="connsiteY33833"/>
              </a:cxn>
              <a:cxn ang="0">
                <a:pos x="connsiteX33834" y="connsiteY33834"/>
              </a:cxn>
              <a:cxn ang="0">
                <a:pos x="connsiteX33835" y="connsiteY33835"/>
              </a:cxn>
              <a:cxn ang="0">
                <a:pos x="connsiteX33836" y="connsiteY33836"/>
              </a:cxn>
              <a:cxn ang="0">
                <a:pos x="connsiteX33837" y="connsiteY33837"/>
              </a:cxn>
              <a:cxn ang="0">
                <a:pos x="connsiteX33838" y="connsiteY33838"/>
              </a:cxn>
              <a:cxn ang="0">
                <a:pos x="connsiteX33839" y="connsiteY33839"/>
              </a:cxn>
              <a:cxn ang="0">
                <a:pos x="connsiteX33840" y="connsiteY33840"/>
              </a:cxn>
              <a:cxn ang="0">
                <a:pos x="connsiteX33841" y="connsiteY33841"/>
              </a:cxn>
              <a:cxn ang="0">
                <a:pos x="connsiteX33842" y="connsiteY33842"/>
              </a:cxn>
              <a:cxn ang="0">
                <a:pos x="connsiteX33843" y="connsiteY33843"/>
              </a:cxn>
              <a:cxn ang="0">
                <a:pos x="connsiteX33844" y="connsiteY33844"/>
              </a:cxn>
              <a:cxn ang="0">
                <a:pos x="connsiteX33845" y="connsiteY33845"/>
              </a:cxn>
              <a:cxn ang="0">
                <a:pos x="connsiteX33846" y="connsiteY33846"/>
              </a:cxn>
              <a:cxn ang="0">
                <a:pos x="connsiteX33847" y="connsiteY33847"/>
              </a:cxn>
              <a:cxn ang="0">
                <a:pos x="connsiteX33848" y="connsiteY33848"/>
              </a:cxn>
              <a:cxn ang="0">
                <a:pos x="connsiteX33849" y="connsiteY33849"/>
              </a:cxn>
              <a:cxn ang="0">
                <a:pos x="connsiteX33850" y="connsiteY33850"/>
              </a:cxn>
              <a:cxn ang="0">
                <a:pos x="connsiteX33851" y="connsiteY33851"/>
              </a:cxn>
              <a:cxn ang="0">
                <a:pos x="connsiteX33852" y="connsiteY33852"/>
              </a:cxn>
              <a:cxn ang="0">
                <a:pos x="connsiteX33853" y="connsiteY33853"/>
              </a:cxn>
              <a:cxn ang="0">
                <a:pos x="connsiteX33854" y="connsiteY33854"/>
              </a:cxn>
              <a:cxn ang="0">
                <a:pos x="connsiteX33855" y="connsiteY33855"/>
              </a:cxn>
              <a:cxn ang="0">
                <a:pos x="connsiteX33856" y="connsiteY33856"/>
              </a:cxn>
              <a:cxn ang="0">
                <a:pos x="connsiteX33857" y="connsiteY33857"/>
              </a:cxn>
              <a:cxn ang="0">
                <a:pos x="connsiteX33858" y="connsiteY33858"/>
              </a:cxn>
              <a:cxn ang="0">
                <a:pos x="connsiteX33859" y="connsiteY33859"/>
              </a:cxn>
              <a:cxn ang="0">
                <a:pos x="connsiteX33860" y="connsiteY33860"/>
              </a:cxn>
              <a:cxn ang="0">
                <a:pos x="connsiteX33861" y="connsiteY33861"/>
              </a:cxn>
              <a:cxn ang="0">
                <a:pos x="connsiteX33862" y="connsiteY33862"/>
              </a:cxn>
              <a:cxn ang="0">
                <a:pos x="connsiteX33863" y="connsiteY33863"/>
              </a:cxn>
              <a:cxn ang="0">
                <a:pos x="connsiteX33864" y="connsiteY33864"/>
              </a:cxn>
              <a:cxn ang="0">
                <a:pos x="connsiteX33865" y="connsiteY33865"/>
              </a:cxn>
              <a:cxn ang="0">
                <a:pos x="connsiteX33866" y="connsiteY33866"/>
              </a:cxn>
              <a:cxn ang="0">
                <a:pos x="connsiteX33867" y="connsiteY33867"/>
              </a:cxn>
              <a:cxn ang="0">
                <a:pos x="connsiteX33868" y="connsiteY33868"/>
              </a:cxn>
              <a:cxn ang="0">
                <a:pos x="connsiteX33869" y="connsiteY33869"/>
              </a:cxn>
              <a:cxn ang="0">
                <a:pos x="connsiteX33870" y="connsiteY33870"/>
              </a:cxn>
              <a:cxn ang="0">
                <a:pos x="connsiteX33871" y="connsiteY33871"/>
              </a:cxn>
              <a:cxn ang="0">
                <a:pos x="connsiteX33872" y="connsiteY33872"/>
              </a:cxn>
              <a:cxn ang="0">
                <a:pos x="connsiteX33873" y="connsiteY33873"/>
              </a:cxn>
              <a:cxn ang="0">
                <a:pos x="connsiteX33874" y="connsiteY33874"/>
              </a:cxn>
              <a:cxn ang="0">
                <a:pos x="connsiteX33875" y="connsiteY33875"/>
              </a:cxn>
              <a:cxn ang="0">
                <a:pos x="connsiteX33876" y="connsiteY33876"/>
              </a:cxn>
              <a:cxn ang="0">
                <a:pos x="connsiteX33877" y="connsiteY33877"/>
              </a:cxn>
              <a:cxn ang="0">
                <a:pos x="connsiteX33878" y="connsiteY33878"/>
              </a:cxn>
              <a:cxn ang="0">
                <a:pos x="connsiteX33879" y="connsiteY33879"/>
              </a:cxn>
              <a:cxn ang="0">
                <a:pos x="connsiteX33880" y="connsiteY33880"/>
              </a:cxn>
              <a:cxn ang="0">
                <a:pos x="connsiteX33881" y="connsiteY33881"/>
              </a:cxn>
              <a:cxn ang="0">
                <a:pos x="connsiteX33882" y="connsiteY33882"/>
              </a:cxn>
              <a:cxn ang="0">
                <a:pos x="connsiteX33883" y="connsiteY33883"/>
              </a:cxn>
              <a:cxn ang="0">
                <a:pos x="connsiteX33884" y="connsiteY33884"/>
              </a:cxn>
              <a:cxn ang="0">
                <a:pos x="connsiteX33885" y="connsiteY33885"/>
              </a:cxn>
              <a:cxn ang="0">
                <a:pos x="connsiteX33886" y="connsiteY33886"/>
              </a:cxn>
              <a:cxn ang="0">
                <a:pos x="connsiteX33887" y="connsiteY33887"/>
              </a:cxn>
              <a:cxn ang="0">
                <a:pos x="connsiteX33888" y="connsiteY33888"/>
              </a:cxn>
              <a:cxn ang="0">
                <a:pos x="connsiteX33889" y="connsiteY33889"/>
              </a:cxn>
              <a:cxn ang="0">
                <a:pos x="connsiteX33890" y="connsiteY33890"/>
              </a:cxn>
              <a:cxn ang="0">
                <a:pos x="connsiteX33891" y="connsiteY33891"/>
              </a:cxn>
              <a:cxn ang="0">
                <a:pos x="connsiteX33892" y="connsiteY33892"/>
              </a:cxn>
              <a:cxn ang="0">
                <a:pos x="connsiteX33893" y="connsiteY33893"/>
              </a:cxn>
              <a:cxn ang="0">
                <a:pos x="connsiteX33894" y="connsiteY33894"/>
              </a:cxn>
              <a:cxn ang="0">
                <a:pos x="connsiteX33895" y="connsiteY33895"/>
              </a:cxn>
              <a:cxn ang="0">
                <a:pos x="connsiteX33896" y="connsiteY33896"/>
              </a:cxn>
              <a:cxn ang="0">
                <a:pos x="connsiteX33897" y="connsiteY33897"/>
              </a:cxn>
              <a:cxn ang="0">
                <a:pos x="connsiteX33898" y="connsiteY33898"/>
              </a:cxn>
              <a:cxn ang="0">
                <a:pos x="connsiteX33899" y="connsiteY33899"/>
              </a:cxn>
              <a:cxn ang="0">
                <a:pos x="connsiteX33900" y="connsiteY33900"/>
              </a:cxn>
              <a:cxn ang="0">
                <a:pos x="connsiteX33901" y="connsiteY33901"/>
              </a:cxn>
              <a:cxn ang="0">
                <a:pos x="connsiteX33902" y="connsiteY33902"/>
              </a:cxn>
              <a:cxn ang="0">
                <a:pos x="connsiteX33903" y="connsiteY33903"/>
              </a:cxn>
              <a:cxn ang="0">
                <a:pos x="connsiteX33904" y="connsiteY33904"/>
              </a:cxn>
              <a:cxn ang="0">
                <a:pos x="connsiteX33905" y="connsiteY33905"/>
              </a:cxn>
              <a:cxn ang="0">
                <a:pos x="connsiteX33906" y="connsiteY33906"/>
              </a:cxn>
              <a:cxn ang="0">
                <a:pos x="connsiteX33907" y="connsiteY33907"/>
              </a:cxn>
              <a:cxn ang="0">
                <a:pos x="connsiteX33908" y="connsiteY33908"/>
              </a:cxn>
              <a:cxn ang="0">
                <a:pos x="connsiteX33909" y="connsiteY33909"/>
              </a:cxn>
              <a:cxn ang="0">
                <a:pos x="connsiteX33910" y="connsiteY33910"/>
              </a:cxn>
              <a:cxn ang="0">
                <a:pos x="connsiteX33911" y="connsiteY33911"/>
              </a:cxn>
              <a:cxn ang="0">
                <a:pos x="connsiteX33912" y="connsiteY33912"/>
              </a:cxn>
              <a:cxn ang="0">
                <a:pos x="connsiteX33913" y="connsiteY33913"/>
              </a:cxn>
              <a:cxn ang="0">
                <a:pos x="connsiteX33914" y="connsiteY33914"/>
              </a:cxn>
              <a:cxn ang="0">
                <a:pos x="connsiteX33915" y="connsiteY33915"/>
              </a:cxn>
              <a:cxn ang="0">
                <a:pos x="connsiteX33916" y="connsiteY33916"/>
              </a:cxn>
              <a:cxn ang="0">
                <a:pos x="connsiteX33917" y="connsiteY33917"/>
              </a:cxn>
              <a:cxn ang="0">
                <a:pos x="connsiteX33918" y="connsiteY33918"/>
              </a:cxn>
              <a:cxn ang="0">
                <a:pos x="connsiteX33919" y="connsiteY33919"/>
              </a:cxn>
              <a:cxn ang="0">
                <a:pos x="connsiteX33920" y="connsiteY33920"/>
              </a:cxn>
              <a:cxn ang="0">
                <a:pos x="connsiteX33921" y="connsiteY33921"/>
              </a:cxn>
              <a:cxn ang="0">
                <a:pos x="connsiteX33922" y="connsiteY33922"/>
              </a:cxn>
              <a:cxn ang="0">
                <a:pos x="connsiteX33923" y="connsiteY33923"/>
              </a:cxn>
              <a:cxn ang="0">
                <a:pos x="connsiteX33924" y="connsiteY33924"/>
              </a:cxn>
              <a:cxn ang="0">
                <a:pos x="connsiteX33925" y="connsiteY33925"/>
              </a:cxn>
              <a:cxn ang="0">
                <a:pos x="connsiteX33926" y="connsiteY33926"/>
              </a:cxn>
              <a:cxn ang="0">
                <a:pos x="connsiteX33927" y="connsiteY33927"/>
              </a:cxn>
              <a:cxn ang="0">
                <a:pos x="connsiteX33928" y="connsiteY33928"/>
              </a:cxn>
              <a:cxn ang="0">
                <a:pos x="connsiteX33929" y="connsiteY33929"/>
              </a:cxn>
              <a:cxn ang="0">
                <a:pos x="connsiteX33930" y="connsiteY33930"/>
              </a:cxn>
              <a:cxn ang="0">
                <a:pos x="connsiteX33931" y="connsiteY33931"/>
              </a:cxn>
              <a:cxn ang="0">
                <a:pos x="connsiteX33932" y="connsiteY33932"/>
              </a:cxn>
              <a:cxn ang="0">
                <a:pos x="connsiteX33933" y="connsiteY33933"/>
              </a:cxn>
              <a:cxn ang="0">
                <a:pos x="connsiteX33934" y="connsiteY33934"/>
              </a:cxn>
              <a:cxn ang="0">
                <a:pos x="connsiteX33935" y="connsiteY33935"/>
              </a:cxn>
              <a:cxn ang="0">
                <a:pos x="connsiteX33936" y="connsiteY33936"/>
              </a:cxn>
              <a:cxn ang="0">
                <a:pos x="connsiteX33937" y="connsiteY33937"/>
              </a:cxn>
              <a:cxn ang="0">
                <a:pos x="connsiteX33938" y="connsiteY33938"/>
              </a:cxn>
              <a:cxn ang="0">
                <a:pos x="connsiteX33939" y="connsiteY33939"/>
              </a:cxn>
              <a:cxn ang="0">
                <a:pos x="connsiteX33940" y="connsiteY33940"/>
              </a:cxn>
              <a:cxn ang="0">
                <a:pos x="connsiteX33941" y="connsiteY33941"/>
              </a:cxn>
              <a:cxn ang="0">
                <a:pos x="connsiteX33942" y="connsiteY33942"/>
              </a:cxn>
              <a:cxn ang="0">
                <a:pos x="connsiteX33943" y="connsiteY33943"/>
              </a:cxn>
              <a:cxn ang="0">
                <a:pos x="connsiteX33944" y="connsiteY33944"/>
              </a:cxn>
              <a:cxn ang="0">
                <a:pos x="connsiteX33945" y="connsiteY33945"/>
              </a:cxn>
              <a:cxn ang="0">
                <a:pos x="connsiteX33946" y="connsiteY33946"/>
              </a:cxn>
              <a:cxn ang="0">
                <a:pos x="connsiteX33947" y="connsiteY33947"/>
              </a:cxn>
              <a:cxn ang="0">
                <a:pos x="connsiteX33948" y="connsiteY33948"/>
              </a:cxn>
              <a:cxn ang="0">
                <a:pos x="connsiteX33949" y="connsiteY33949"/>
              </a:cxn>
              <a:cxn ang="0">
                <a:pos x="connsiteX33950" y="connsiteY33950"/>
              </a:cxn>
              <a:cxn ang="0">
                <a:pos x="connsiteX33951" y="connsiteY33951"/>
              </a:cxn>
              <a:cxn ang="0">
                <a:pos x="connsiteX33952" y="connsiteY33952"/>
              </a:cxn>
              <a:cxn ang="0">
                <a:pos x="connsiteX33953" y="connsiteY33953"/>
              </a:cxn>
              <a:cxn ang="0">
                <a:pos x="connsiteX33954" y="connsiteY33954"/>
              </a:cxn>
              <a:cxn ang="0">
                <a:pos x="connsiteX33955" y="connsiteY33955"/>
              </a:cxn>
              <a:cxn ang="0">
                <a:pos x="connsiteX33956" y="connsiteY33956"/>
              </a:cxn>
              <a:cxn ang="0">
                <a:pos x="connsiteX33957" y="connsiteY33957"/>
              </a:cxn>
              <a:cxn ang="0">
                <a:pos x="connsiteX33958" y="connsiteY33958"/>
              </a:cxn>
              <a:cxn ang="0">
                <a:pos x="connsiteX33959" y="connsiteY33959"/>
              </a:cxn>
              <a:cxn ang="0">
                <a:pos x="connsiteX33960" y="connsiteY33960"/>
              </a:cxn>
              <a:cxn ang="0">
                <a:pos x="connsiteX33961" y="connsiteY33961"/>
              </a:cxn>
              <a:cxn ang="0">
                <a:pos x="connsiteX33962" y="connsiteY33962"/>
              </a:cxn>
              <a:cxn ang="0">
                <a:pos x="connsiteX33963" y="connsiteY33963"/>
              </a:cxn>
              <a:cxn ang="0">
                <a:pos x="connsiteX33964" y="connsiteY33964"/>
              </a:cxn>
              <a:cxn ang="0">
                <a:pos x="connsiteX33965" y="connsiteY33965"/>
              </a:cxn>
              <a:cxn ang="0">
                <a:pos x="connsiteX33966" y="connsiteY33966"/>
              </a:cxn>
              <a:cxn ang="0">
                <a:pos x="connsiteX33967" y="connsiteY33967"/>
              </a:cxn>
              <a:cxn ang="0">
                <a:pos x="connsiteX33968" y="connsiteY33968"/>
              </a:cxn>
              <a:cxn ang="0">
                <a:pos x="connsiteX33969" y="connsiteY33969"/>
              </a:cxn>
              <a:cxn ang="0">
                <a:pos x="connsiteX33970" y="connsiteY33970"/>
              </a:cxn>
              <a:cxn ang="0">
                <a:pos x="connsiteX33971" y="connsiteY33971"/>
              </a:cxn>
              <a:cxn ang="0">
                <a:pos x="connsiteX33972" y="connsiteY33972"/>
              </a:cxn>
              <a:cxn ang="0">
                <a:pos x="connsiteX33973" y="connsiteY33973"/>
              </a:cxn>
              <a:cxn ang="0">
                <a:pos x="connsiteX33974" y="connsiteY33974"/>
              </a:cxn>
              <a:cxn ang="0">
                <a:pos x="connsiteX33975" y="connsiteY33975"/>
              </a:cxn>
              <a:cxn ang="0">
                <a:pos x="connsiteX33976" y="connsiteY33976"/>
              </a:cxn>
              <a:cxn ang="0">
                <a:pos x="connsiteX33977" y="connsiteY33977"/>
              </a:cxn>
              <a:cxn ang="0">
                <a:pos x="connsiteX33978" y="connsiteY33978"/>
              </a:cxn>
              <a:cxn ang="0">
                <a:pos x="connsiteX33979" y="connsiteY33979"/>
              </a:cxn>
              <a:cxn ang="0">
                <a:pos x="connsiteX33980" y="connsiteY33980"/>
              </a:cxn>
              <a:cxn ang="0">
                <a:pos x="connsiteX33981" y="connsiteY33981"/>
              </a:cxn>
              <a:cxn ang="0">
                <a:pos x="connsiteX33982" y="connsiteY33982"/>
              </a:cxn>
              <a:cxn ang="0">
                <a:pos x="connsiteX33983" y="connsiteY33983"/>
              </a:cxn>
              <a:cxn ang="0">
                <a:pos x="connsiteX33984" y="connsiteY33984"/>
              </a:cxn>
              <a:cxn ang="0">
                <a:pos x="connsiteX33985" y="connsiteY33985"/>
              </a:cxn>
              <a:cxn ang="0">
                <a:pos x="connsiteX33986" y="connsiteY33986"/>
              </a:cxn>
              <a:cxn ang="0">
                <a:pos x="connsiteX33987" y="connsiteY33987"/>
              </a:cxn>
              <a:cxn ang="0">
                <a:pos x="connsiteX33988" y="connsiteY33988"/>
              </a:cxn>
              <a:cxn ang="0">
                <a:pos x="connsiteX33989" y="connsiteY33989"/>
              </a:cxn>
              <a:cxn ang="0">
                <a:pos x="connsiteX33990" y="connsiteY33990"/>
              </a:cxn>
              <a:cxn ang="0">
                <a:pos x="connsiteX33991" y="connsiteY33991"/>
              </a:cxn>
              <a:cxn ang="0">
                <a:pos x="connsiteX33992" y="connsiteY33992"/>
              </a:cxn>
              <a:cxn ang="0">
                <a:pos x="connsiteX33993" y="connsiteY33993"/>
              </a:cxn>
              <a:cxn ang="0">
                <a:pos x="connsiteX33994" y="connsiteY33994"/>
              </a:cxn>
              <a:cxn ang="0">
                <a:pos x="connsiteX33995" y="connsiteY33995"/>
              </a:cxn>
              <a:cxn ang="0">
                <a:pos x="connsiteX33996" y="connsiteY33996"/>
              </a:cxn>
              <a:cxn ang="0">
                <a:pos x="connsiteX33997" y="connsiteY33997"/>
              </a:cxn>
              <a:cxn ang="0">
                <a:pos x="connsiteX33998" y="connsiteY33998"/>
              </a:cxn>
              <a:cxn ang="0">
                <a:pos x="connsiteX33999" y="connsiteY33999"/>
              </a:cxn>
              <a:cxn ang="0">
                <a:pos x="connsiteX34000" y="connsiteY34000"/>
              </a:cxn>
              <a:cxn ang="0">
                <a:pos x="connsiteX34001" y="connsiteY34001"/>
              </a:cxn>
              <a:cxn ang="0">
                <a:pos x="connsiteX34002" y="connsiteY34002"/>
              </a:cxn>
              <a:cxn ang="0">
                <a:pos x="connsiteX34003" y="connsiteY34003"/>
              </a:cxn>
              <a:cxn ang="0">
                <a:pos x="connsiteX34004" y="connsiteY34004"/>
              </a:cxn>
              <a:cxn ang="0">
                <a:pos x="connsiteX34005" y="connsiteY34005"/>
              </a:cxn>
              <a:cxn ang="0">
                <a:pos x="connsiteX34006" y="connsiteY34006"/>
              </a:cxn>
              <a:cxn ang="0">
                <a:pos x="connsiteX34007" y="connsiteY34007"/>
              </a:cxn>
              <a:cxn ang="0">
                <a:pos x="connsiteX34008" y="connsiteY34008"/>
              </a:cxn>
              <a:cxn ang="0">
                <a:pos x="connsiteX34009" y="connsiteY34009"/>
              </a:cxn>
              <a:cxn ang="0">
                <a:pos x="connsiteX34010" y="connsiteY34010"/>
              </a:cxn>
              <a:cxn ang="0">
                <a:pos x="connsiteX34011" y="connsiteY34011"/>
              </a:cxn>
              <a:cxn ang="0">
                <a:pos x="connsiteX34012" y="connsiteY34012"/>
              </a:cxn>
              <a:cxn ang="0">
                <a:pos x="connsiteX34013" y="connsiteY34013"/>
              </a:cxn>
              <a:cxn ang="0">
                <a:pos x="connsiteX34014" y="connsiteY34014"/>
              </a:cxn>
              <a:cxn ang="0">
                <a:pos x="connsiteX34015" y="connsiteY34015"/>
              </a:cxn>
              <a:cxn ang="0">
                <a:pos x="connsiteX34016" y="connsiteY34016"/>
              </a:cxn>
              <a:cxn ang="0">
                <a:pos x="connsiteX34017" y="connsiteY34017"/>
              </a:cxn>
              <a:cxn ang="0">
                <a:pos x="connsiteX34018" y="connsiteY34018"/>
              </a:cxn>
              <a:cxn ang="0">
                <a:pos x="connsiteX34019" y="connsiteY34019"/>
              </a:cxn>
              <a:cxn ang="0">
                <a:pos x="connsiteX34020" y="connsiteY34020"/>
              </a:cxn>
              <a:cxn ang="0">
                <a:pos x="connsiteX34021" y="connsiteY34021"/>
              </a:cxn>
              <a:cxn ang="0">
                <a:pos x="connsiteX34022" y="connsiteY34022"/>
              </a:cxn>
              <a:cxn ang="0">
                <a:pos x="connsiteX34023" y="connsiteY34023"/>
              </a:cxn>
              <a:cxn ang="0">
                <a:pos x="connsiteX34024" y="connsiteY34024"/>
              </a:cxn>
              <a:cxn ang="0">
                <a:pos x="connsiteX34025" y="connsiteY34025"/>
              </a:cxn>
              <a:cxn ang="0">
                <a:pos x="connsiteX34026" y="connsiteY34026"/>
              </a:cxn>
              <a:cxn ang="0">
                <a:pos x="connsiteX34027" y="connsiteY34027"/>
              </a:cxn>
              <a:cxn ang="0">
                <a:pos x="connsiteX34028" y="connsiteY34028"/>
              </a:cxn>
              <a:cxn ang="0">
                <a:pos x="connsiteX34029" y="connsiteY34029"/>
              </a:cxn>
              <a:cxn ang="0">
                <a:pos x="connsiteX34030" y="connsiteY34030"/>
              </a:cxn>
              <a:cxn ang="0">
                <a:pos x="connsiteX34031" y="connsiteY34031"/>
              </a:cxn>
              <a:cxn ang="0">
                <a:pos x="connsiteX34032" y="connsiteY34032"/>
              </a:cxn>
              <a:cxn ang="0">
                <a:pos x="connsiteX34033" y="connsiteY34033"/>
              </a:cxn>
              <a:cxn ang="0">
                <a:pos x="connsiteX34034" y="connsiteY34034"/>
              </a:cxn>
              <a:cxn ang="0">
                <a:pos x="connsiteX34035" y="connsiteY34035"/>
              </a:cxn>
              <a:cxn ang="0">
                <a:pos x="connsiteX34036" y="connsiteY34036"/>
              </a:cxn>
              <a:cxn ang="0">
                <a:pos x="connsiteX34037" y="connsiteY34037"/>
              </a:cxn>
              <a:cxn ang="0">
                <a:pos x="connsiteX34038" y="connsiteY34038"/>
              </a:cxn>
              <a:cxn ang="0">
                <a:pos x="connsiteX34039" y="connsiteY34039"/>
              </a:cxn>
              <a:cxn ang="0">
                <a:pos x="connsiteX34040" y="connsiteY34040"/>
              </a:cxn>
              <a:cxn ang="0">
                <a:pos x="connsiteX34041" y="connsiteY34041"/>
              </a:cxn>
              <a:cxn ang="0">
                <a:pos x="connsiteX34042" y="connsiteY34042"/>
              </a:cxn>
              <a:cxn ang="0">
                <a:pos x="connsiteX34043" y="connsiteY34043"/>
              </a:cxn>
              <a:cxn ang="0">
                <a:pos x="connsiteX34044" y="connsiteY34044"/>
              </a:cxn>
              <a:cxn ang="0">
                <a:pos x="connsiteX34045" y="connsiteY34045"/>
              </a:cxn>
              <a:cxn ang="0">
                <a:pos x="connsiteX34046" y="connsiteY34046"/>
              </a:cxn>
              <a:cxn ang="0">
                <a:pos x="connsiteX34047" y="connsiteY34047"/>
              </a:cxn>
              <a:cxn ang="0">
                <a:pos x="connsiteX34048" y="connsiteY34048"/>
              </a:cxn>
              <a:cxn ang="0">
                <a:pos x="connsiteX34049" y="connsiteY34049"/>
              </a:cxn>
              <a:cxn ang="0">
                <a:pos x="connsiteX34050" y="connsiteY34050"/>
              </a:cxn>
              <a:cxn ang="0">
                <a:pos x="connsiteX34051" y="connsiteY34051"/>
              </a:cxn>
              <a:cxn ang="0">
                <a:pos x="connsiteX34052" y="connsiteY34052"/>
              </a:cxn>
              <a:cxn ang="0">
                <a:pos x="connsiteX34053" y="connsiteY34053"/>
              </a:cxn>
              <a:cxn ang="0">
                <a:pos x="connsiteX34054" y="connsiteY34054"/>
              </a:cxn>
              <a:cxn ang="0">
                <a:pos x="connsiteX34055" y="connsiteY34055"/>
              </a:cxn>
              <a:cxn ang="0">
                <a:pos x="connsiteX34056" y="connsiteY34056"/>
              </a:cxn>
              <a:cxn ang="0">
                <a:pos x="connsiteX34057" y="connsiteY34057"/>
              </a:cxn>
              <a:cxn ang="0">
                <a:pos x="connsiteX34058" y="connsiteY34058"/>
              </a:cxn>
              <a:cxn ang="0">
                <a:pos x="connsiteX34059" y="connsiteY34059"/>
              </a:cxn>
              <a:cxn ang="0">
                <a:pos x="connsiteX34060" y="connsiteY34060"/>
              </a:cxn>
              <a:cxn ang="0">
                <a:pos x="connsiteX34061" y="connsiteY34061"/>
              </a:cxn>
              <a:cxn ang="0">
                <a:pos x="connsiteX34062" y="connsiteY34062"/>
              </a:cxn>
              <a:cxn ang="0">
                <a:pos x="connsiteX34063" y="connsiteY34063"/>
              </a:cxn>
              <a:cxn ang="0">
                <a:pos x="connsiteX34064" y="connsiteY34064"/>
              </a:cxn>
              <a:cxn ang="0">
                <a:pos x="connsiteX34065" y="connsiteY34065"/>
              </a:cxn>
              <a:cxn ang="0">
                <a:pos x="connsiteX34066" y="connsiteY34066"/>
              </a:cxn>
              <a:cxn ang="0">
                <a:pos x="connsiteX34067" y="connsiteY34067"/>
              </a:cxn>
              <a:cxn ang="0">
                <a:pos x="connsiteX34068" y="connsiteY34068"/>
              </a:cxn>
              <a:cxn ang="0">
                <a:pos x="connsiteX34069" y="connsiteY34069"/>
              </a:cxn>
              <a:cxn ang="0">
                <a:pos x="connsiteX34070" y="connsiteY34070"/>
              </a:cxn>
              <a:cxn ang="0">
                <a:pos x="connsiteX34071" y="connsiteY34071"/>
              </a:cxn>
              <a:cxn ang="0">
                <a:pos x="connsiteX34072" y="connsiteY34072"/>
              </a:cxn>
              <a:cxn ang="0">
                <a:pos x="connsiteX34073" y="connsiteY34073"/>
              </a:cxn>
              <a:cxn ang="0">
                <a:pos x="connsiteX34074" y="connsiteY34074"/>
              </a:cxn>
              <a:cxn ang="0">
                <a:pos x="connsiteX34075" y="connsiteY34075"/>
              </a:cxn>
              <a:cxn ang="0">
                <a:pos x="connsiteX34076" y="connsiteY34076"/>
              </a:cxn>
              <a:cxn ang="0">
                <a:pos x="connsiteX34077" y="connsiteY34077"/>
              </a:cxn>
              <a:cxn ang="0">
                <a:pos x="connsiteX34078" y="connsiteY34078"/>
              </a:cxn>
              <a:cxn ang="0">
                <a:pos x="connsiteX34079" y="connsiteY34079"/>
              </a:cxn>
              <a:cxn ang="0">
                <a:pos x="connsiteX34080" y="connsiteY34080"/>
              </a:cxn>
              <a:cxn ang="0">
                <a:pos x="connsiteX34081" y="connsiteY34081"/>
              </a:cxn>
              <a:cxn ang="0">
                <a:pos x="connsiteX34082" y="connsiteY34082"/>
              </a:cxn>
              <a:cxn ang="0">
                <a:pos x="connsiteX34083" y="connsiteY34083"/>
              </a:cxn>
              <a:cxn ang="0">
                <a:pos x="connsiteX34084" y="connsiteY34084"/>
              </a:cxn>
              <a:cxn ang="0">
                <a:pos x="connsiteX34085" y="connsiteY34085"/>
              </a:cxn>
              <a:cxn ang="0">
                <a:pos x="connsiteX34086" y="connsiteY34086"/>
              </a:cxn>
              <a:cxn ang="0">
                <a:pos x="connsiteX34087" y="connsiteY34087"/>
              </a:cxn>
              <a:cxn ang="0">
                <a:pos x="connsiteX34088" y="connsiteY34088"/>
              </a:cxn>
              <a:cxn ang="0">
                <a:pos x="connsiteX34089" y="connsiteY34089"/>
              </a:cxn>
              <a:cxn ang="0">
                <a:pos x="connsiteX34090" y="connsiteY34090"/>
              </a:cxn>
              <a:cxn ang="0">
                <a:pos x="connsiteX34091" y="connsiteY34091"/>
              </a:cxn>
              <a:cxn ang="0">
                <a:pos x="connsiteX34092" y="connsiteY34092"/>
              </a:cxn>
              <a:cxn ang="0">
                <a:pos x="connsiteX34093" y="connsiteY34093"/>
              </a:cxn>
              <a:cxn ang="0">
                <a:pos x="connsiteX34094" y="connsiteY34094"/>
              </a:cxn>
              <a:cxn ang="0">
                <a:pos x="connsiteX34095" y="connsiteY34095"/>
              </a:cxn>
              <a:cxn ang="0">
                <a:pos x="connsiteX34096" y="connsiteY34096"/>
              </a:cxn>
              <a:cxn ang="0">
                <a:pos x="connsiteX34097" y="connsiteY34097"/>
              </a:cxn>
              <a:cxn ang="0">
                <a:pos x="connsiteX34098" y="connsiteY34098"/>
              </a:cxn>
              <a:cxn ang="0">
                <a:pos x="connsiteX34099" y="connsiteY34099"/>
              </a:cxn>
              <a:cxn ang="0">
                <a:pos x="connsiteX34100" y="connsiteY34100"/>
              </a:cxn>
              <a:cxn ang="0">
                <a:pos x="connsiteX34101" y="connsiteY34101"/>
              </a:cxn>
              <a:cxn ang="0">
                <a:pos x="connsiteX34102" y="connsiteY34102"/>
              </a:cxn>
              <a:cxn ang="0">
                <a:pos x="connsiteX34103" y="connsiteY34103"/>
              </a:cxn>
              <a:cxn ang="0">
                <a:pos x="connsiteX34104" y="connsiteY34104"/>
              </a:cxn>
              <a:cxn ang="0">
                <a:pos x="connsiteX34105" y="connsiteY34105"/>
              </a:cxn>
              <a:cxn ang="0">
                <a:pos x="connsiteX34106" y="connsiteY34106"/>
              </a:cxn>
              <a:cxn ang="0">
                <a:pos x="connsiteX34107" y="connsiteY34107"/>
              </a:cxn>
              <a:cxn ang="0">
                <a:pos x="connsiteX34108" y="connsiteY34108"/>
              </a:cxn>
              <a:cxn ang="0">
                <a:pos x="connsiteX34109" y="connsiteY34109"/>
              </a:cxn>
              <a:cxn ang="0">
                <a:pos x="connsiteX34110" y="connsiteY34110"/>
              </a:cxn>
              <a:cxn ang="0">
                <a:pos x="connsiteX34111" y="connsiteY34111"/>
              </a:cxn>
              <a:cxn ang="0">
                <a:pos x="connsiteX34112" y="connsiteY34112"/>
              </a:cxn>
              <a:cxn ang="0">
                <a:pos x="connsiteX34113" y="connsiteY34113"/>
              </a:cxn>
              <a:cxn ang="0">
                <a:pos x="connsiteX34114" y="connsiteY34114"/>
              </a:cxn>
              <a:cxn ang="0">
                <a:pos x="connsiteX34115" y="connsiteY34115"/>
              </a:cxn>
              <a:cxn ang="0">
                <a:pos x="connsiteX34116" y="connsiteY34116"/>
              </a:cxn>
              <a:cxn ang="0">
                <a:pos x="connsiteX34117" y="connsiteY34117"/>
              </a:cxn>
              <a:cxn ang="0">
                <a:pos x="connsiteX34118" y="connsiteY34118"/>
              </a:cxn>
              <a:cxn ang="0">
                <a:pos x="connsiteX34119" y="connsiteY34119"/>
              </a:cxn>
              <a:cxn ang="0">
                <a:pos x="connsiteX34120" y="connsiteY34120"/>
              </a:cxn>
              <a:cxn ang="0">
                <a:pos x="connsiteX34121" y="connsiteY34121"/>
              </a:cxn>
              <a:cxn ang="0">
                <a:pos x="connsiteX34122" y="connsiteY34122"/>
              </a:cxn>
              <a:cxn ang="0">
                <a:pos x="connsiteX34123" y="connsiteY34123"/>
              </a:cxn>
              <a:cxn ang="0">
                <a:pos x="connsiteX34124" y="connsiteY34124"/>
              </a:cxn>
              <a:cxn ang="0">
                <a:pos x="connsiteX34125" y="connsiteY34125"/>
              </a:cxn>
              <a:cxn ang="0">
                <a:pos x="connsiteX34126" y="connsiteY34126"/>
              </a:cxn>
              <a:cxn ang="0">
                <a:pos x="connsiteX34127" y="connsiteY34127"/>
              </a:cxn>
              <a:cxn ang="0">
                <a:pos x="connsiteX34128" y="connsiteY34128"/>
              </a:cxn>
              <a:cxn ang="0">
                <a:pos x="connsiteX34129" y="connsiteY34129"/>
              </a:cxn>
              <a:cxn ang="0">
                <a:pos x="connsiteX34130" y="connsiteY34130"/>
              </a:cxn>
              <a:cxn ang="0">
                <a:pos x="connsiteX34131" y="connsiteY34131"/>
              </a:cxn>
              <a:cxn ang="0">
                <a:pos x="connsiteX34132" y="connsiteY34132"/>
              </a:cxn>
              <a:cxn ang="0">
                <a:pos x="connsiteX34133" y="connsiteY34133"/>
              </a:cxn>
              <a:cxn ang="0">
                <a:pos x="connsiteX34134" y="connsiteY34134"/>
              </a:cxn>
              <a:cxn ang="0">
                <a:pos x="connsiteX34135" y="connsiteY34135"/>
              </a:cxn>
              <a:cxn ang="0">
                <a:pos x="connsiteX34136" y="connsiteY34136"/>
              </a:cxn>
              <a:cxn ang="0">
                <a:pos x="connsiteX34137" y="connsiteY34137"/>
              </a:cxn>
              <a:cxn ang="0">
                <a:pos x="connsiteX34138" y="connsiteY34138"/>
              </a:cxn>
              <a:cxn ang="0">
                <a:pos x="connsiteX34139" y="connsiteY34139"/>
              </a:cxn>
              <a:cxn ang="0">
                <a:pos x="connsiteX34140" y="connsiteY34140"/>
              </a:cxn>
              <a:cxn ang="0">
                <a:pos x="connsiteX34141" y="connsiteY34141"/>
              </a:cxn>
              <a:cxn ang="0">
                <a:pos x="connsiteX34142" y="connsiteY34142"/>
              </a:cxn>
              <a:cxn ang="0">
                <a:pos x="connsiteX34143" y="connsiteY34143"/>
              </a:cxn>
              <a:cxn ang="0">
                <a:pos x="connsiteX34144" y="connsiteY34144"/>
              </a:cxn>
              <a:cxn ang="0">
                <a:pos x="connsiteX34145" y="connsiteY34145"/>
              </a:cxn>
              <a:cxn ang="0">
                <a:pos x="connsiteX34146" y="connsiteY34146"/>
              </a:cxn>
              <a:cxn ang="0">
                <a:pos x="connsiteX34147" y="connsiteY34147"/>
              </a:cxn>
              <a:cxn ang="0">
                <a:pos x="connsiteX34148" y="connsiteY34148"/>
              </a:cxn>
              <a:cxn ang="0">
                <a:pos x="connsiteX34149" y="connsiteY34149"/>
              </a:cxn>
              <a:cxn ang="0">
                <a:pos x="connsiteX34150" y="connsiteY34150"/>
              </a:cxn>
              <a:cxn ang="0">
                <a:pos x="connsiteX34151" y="connsiteY34151"/>
              </a:cxn>
              <a:cxn ang="0">
                <a:pos x="connsiteX34152" y="connsiteY34152"/>
              </a:cxn>
              <a:cxn ang="0">
                <a:pos x="connsiteX34153" y="connsiteY34153"/>
              </a:cxn>
              <a:cxn ang="0">
                <a:pos x="connsiteX34154" y="connsiteY34154"/>
              </a:cxn>
              <a:cxn ang="0">
                <a:pos x="connsiteX34155" y="connsiteY34155"/>
              </a:cxn>
              <a:cxn ang="0">
                <a:pos x="connsiteX34156" y="connsiteY34156"/>
              </a:cxn>
              <a:cxn ang="0">
                <a:pos x="connsiteX34157" y="connsiteY34157"/>
              </a:cxn>
              <a:cxn ang="0">
                <a:pos x="connsiteX34158" y="connsiteY34158"/>
              </a:cxn>
              <a:cxn ang="0">
                <a:pos x="connsiteX34159" y="connsiteY34159"/>
              </a:cxn>
              <a:cxn ang="0">
                <a:pos x="connsiteX34160" y="connsiteY34160"/>
              </a:cxn>
              <a:cxn ang="0">
                <a:pos x="connsiteX34161" y="connsiteY34161"/>
              </a:cxn>
              <a:cxn ang="0">
                <a:pos x="connsiteX34162" y="connsiteY34162"/>
              </a:cxn>
              <a:cxn ang="0">
                <a:pos x="connsiteX34163" y="connsiteY34163"/>
              </a:cxn>
              <a:cxn ang="0">
                <a:pos x="connsiteX34164" y="connsiteY34164"/>
              </a:cxn>
              <a:cxn ang="0">
                <a:pos x="connsiteX34165" y="connsiteY34165"/>
              </a:cxn>
              <a:cxn ang="0">
                <a:pos x="connsiteX34166" y="connsiteY34166"/>
              </a:cxn>
              <a:cxn ang="0">
                <a:pos x="connsiteX34167" y="connsiteY34167"/>
              </a:cxn>
              <a:cxn ang="0">
                <a:pos x="connsiteX34168" y="connsiteY34168"/>
              </a:cxn>
              <a:cxn ang="0">
                <a:pos x="connsiteX34169" y="connsiteY34169"/>
              </a:cxn>
              <a:cxn ang="0">
                <a:pos x="connsiteX34170" y="connsiteY34170"/>
              </a:cxn>
              <a:cxn ang="0">
                <a:pos x="connsiteX34171" y="connsiteY34171"/>
              </a:cxn>
              <a:cxn ang="0">
                <a:pos x="connsiteX34172" y="connsiteY34172"/>
              </a:cxn>
              <a:cxn ang="0">
                <a:pos x="connsiteX34173" y="connsiteY34173"/>
              </a:cxn>
              <a:cxn ang="0">
                <a:pos x="connsiteX34174" y="connsiteY34174"/>
              </a:cxn>
              <a:cxn ang="0">
                <a:pos x="connsiteX34175" y="connsiteY34175"/>
              </a:cxn>
              <a:cxn ang="0">
                <a:pos x="connsiteX34176" y="connsiteY34176"/>
              </a:cxn>
              <a:cxn ang="0">
                <a:pos x="connsiteX34177" y="connsiteY34177"/>
              </a:cxn>
              <a:cxn ang="0">
                <a:pos x="connsiteX34178" y="connsiteY34178"/>
              </a:cxn>
              <a:cxn ang="0">
                <a:pos x="connsiteX34179" y="connsiteY34179"/>
              </a:cxn>
              <a:cxn ang="0">
                <a:pos x="connsiteX34180" y="connsiteY34180"/>
              </a:cxn>
              <a:cxn ang="0">
                <a:pos x="connsiteX34181" y="connsiteY34181"/>
              </a:cxn>
              <a:cxn ang="0">
                <a:pos x="connsiteX34182" y="connsiteY34182"/>
              </a:cxn>
              <a:cxn ang="0">
                <a:pos x="connsiteX34183" y="connsiteY34183"/>
              </a:cxn>
              <a:cxn ang="0">
                <a:pos x="connsiteX34184" y="connsiteY34184"/>
              </a:cxn>
              <a:cxn ang="0">
                <a:pos x="connsiteX34185" y="connsiteY34185"/>
              </a:cxn>
              <a:cxn ang="0">
                <a:pos x="connsiteX34186" y="connsiteY34186"/>
              </a:cxn>
              <a:cxn ang="0">
                <a:pos x="connsiteX34187" y="connsiteY34187"/>
              </a:cxn>
              <a:cxn ang="0">
                <a:pos x="connsiteX34188" y="connsiteY34188"/>
              </a:cxn>
              <a:cxn ang="0">
                <a:pos x="connsiteX34189" y="connsiteY34189"/>
              </a:cxn>
              <a:cxn ang="0">
                <a:pos x="connsiteX34190" y="connsiteY34190"/>
              </a:cxn>
              <a:cxn ang="0">
                <a:pos x="connsiteX34191" y="connsiteY34191"/>
              </a:cxn>
              <a:cxn ang="0">
                <a:pos x="connsiteX34192" y="connsiteY34192"/>
              </a:cxn>
              <a:cxn ang="0">
                <a:pos x="connsiteX34193" y="connsiteY34193"/>
              </a:cxn>
              <a:cxn ang="0">
                <a:pos x="connsiteX34194" y="connsiteY34194"/>
              </a:cxn>
              <a:cxn ang="0">
                <a:pos x="connsiteX34195" y="connsiteY34195"/>
              </a:cxn>
              <a:cxn ang="0">
                <a:pos x="connsiteX34196" y="connsiteY34196"/>
              </a:cxn>
              <a:cxn ang="0">
                <a:pos x="connsiteX34197" y="connsiteY34197"/>
              </a:cxn>
              <a:cxn ang="0">
                <a:pos x="connsiteX34198" y="connsiteY34198"/>
              </a:cxn>
              <a:cxn ang="0">
                <a:pos x="connsiteX34199" y="connsiteY34199"/>
              </a:cxn>
              <a:cxn ang="0">
                <a:pos x="connsiteX34200" y="connsiteY34200"/>
              </a:cxn>
              <a:cxn ang="0">
                <a:pos x="connsiteX34201" y="connsiteY34201"/>
              </a:cxn>
              <a:cxn ang="0">
                <a:pos x="connsiteX34202" y="connsiteY34202"/>
              </a:cxn>
              <a:cxn ang="0">
                <a:pos x="connsiteX34203" y="connsiteY34203"/>
              </a:cxn>
              <a:cxn ang="0">
                <a:pos x="connsiteX34204" y="connsiteY34204"/>
              </a:cxn>
              <a:cxn ang="0">
                <a:pos x="connsiteX34205" y="connsiteY34205"/>
              </a:cxn>
              <a:cxn ang="0">
                <a:pos x="connsiteX34206" y="connsiteY34206"/>
              </a:cxn>
              <a:cxn ang="0">
                <a:pos x="connsiteX34207" y="connsiteY34207"/>
              </a:cxn>
              <a:cxn ang="0">
                <a:pos x="connsiteX34208" y="connsiteY34208"/>
              </a:cxn>
              <a:cxn ang="0">
                <a:pos x="connsiteX34209" y="connsiteY34209"/>
              </a:cxn>
              <a:cxn ang="0">
                <a:pos x="connsiteX34210" y="connsiteY34210"/>
              </a:cxn>
              <a:cxn ang="0">
                <a:pos x="connsiteX34211" y="connsiteY34211"/>
              </a:cxn>
              <a:cxn ang="0">
                <a:pos x="connsiteX34212" y="connsiteY34212"/>
              </a:cxn>
              <a:cxn ang="0">
                <a:pos x="connsiteX34213" y="connsiteY34213"/>
              </a:cxn>
              <a:cxn ang="0">
                <a:pos x="connsiteX34214" y="connsiteY34214"/>
              </a:cxn>
              <a:cxn ang="0">
                <a:pos x="connsiteX34215" y="connsiteY34215"/>
              </a:cxn>
              <a:cxn ang="0">
                <a:pos x="connsiteX34216" y="connsiteY34216"/>
              </a:cxn>
              <a:cxn ang="0">
                <a:pos x="connsiteX34217" y="connsiteY34217"/>
              </a:cxn>
              <a:cxn ang="0">
                <a:pos x="connsiteX34218" y="connsiteY34218"/>
              </a:cxn>
              <a:cxn ang="0">
                <a:pos x="connsiteX34219" y="connsiteY34219"/>
              </a:cxn>
              <a:cxn ang="0">
                <a:pos x="connsiteX34220" y="connsiteY34220"/>
              </a:cxn>
              <a:cxn ang="0">
                <a:pos x="connsiteX34221" y="connsiteY34221"/>
              </a:cxn>
              <a:cxn ang="0">
                <a:pos x="connsiteX34222" y="connsiteY34222"/>
              </a:cxn>
              <a:cxn ang="0">
                <a:pos x="connsiteX34223" y="connsiteY34223"/>
              </a:cxn>
              <a:cxn ang="0">
                <a:pos x="connsiteX34224" y="connsiteY34224"/>
              </a:cxn>
              <a:cxn ang="0">
                <a:pos x="connsiteX34225" y="connsiteY34225"/>
              </a:cxn>
              <a:cxn ang="0">
                <a:pos x="connsiteX34226" y="connsiteY34226"/>
              </a:cxn>
              <a:cxn ang="0">
                <a:pos x="connsiteX34227" y="connsiteY34227"/>
              </a:cxn>
              <a:cxn ang="0">
                <a:pos x="connsiteX34228" y="connsiteY34228"/>
              </a:cxn>
              <a:cxn ang="0">
                <a:pos x="connsiteX34229" y="connsiteY34229"/>
              </a:cxn>
              <a:cxn ang="0">
                <a:pos x="connsiteX34230" y="connsiteY34230"/>
              </a:cxn>
              <a:cxn ang="0">
                <a:pos x="connsiteX34231" y="connsiteY34231"/>
              </a:cxn>
              <a:cxn ang="0">
                <a:pos x="connsiteX34232" y="connsiteY34232"/>
              </a:cxn>
              <a:cxn ang="0">
                <a:pos x="connsiteX34233" y="connsiteY34233"/>
              </a:cxn>
              <a:cxn ang="0">
                <a:pos x="connsiteX34234" y="connsiteY34234"/>
              </a:cxn>
              <a:cxn ang="0">
                <a:pos x="connsiteX34235" y="connsiteY34235"/>
              </a:cxn>
              <a:cxn ang="0">
                <a:pos x="connsiteX34236" y="connsiteY34236"/>
              </a:cxn>
              <a:cxn ang="0">
                <a:pos x="connsiteX34237" y="connsiteY34237"/>
              </a:cxn>
              <a:cxn ang="0">
                <a:pos x="connsiteX34238" y="connsiteY34238"/>
              </a:cxn>
              <a:cxn ang="0">
                <a:pos x="connsiteX34239" y="connsiteY34239"/>
              </a:cxn>
              <a:cxn ang="0">
                <a:pos x="connsiteX34240" y="connsiteY34240"/>
              </a:cxn>
              <a:cxn ang="0">
                <a:pos x="connsiteX34241" y="connsiteY34241"/>
              </a:cxn>
              <a:cxn ang="0">
                <a:pos x="connsiteX34242" y="connsiteY34242"/>
              </a:cxn>
              <a:cxn ang="0">
                <a:pos x="connsiteX34243" y="connsiteY34243"/>
              </a:cxn>
              <a:cxn ang="0">
                <a:pos x="connsiteX34244" y="connsiteY34244"/>
              </a:cxn>
              <a:cxn ang="0">
                <a:pos x="connsiteX34245" y="connsiteY34245"/>
              </a:cxn>
              <a:cxn ang="0">
                <a:pos x="connsiteX34246" y="connsiteY34246"/>
              </a:cxn>
              <a:cxn ang="0">
                <a:pos x="connsiteX34247" y="connsiteY34247"/>
              </a:cxn>
              <a:cxn ang="0">
                <a:pos x="connsiteX34248" y="connsiteY34248"/>
              </a:cxn>
              <a:cxn ang="0">
                <a:pos x="connsiteX34249" y="connsiteY34249"/>
              </a:cxn>
              <a:cxn ang="0">
                <a:pos x="connsiteX34250" y="connsiteY34250"/>
              </a:cxn>
              <a:cxn ang="0">
                <a:pos x="connsiteX34251" y="connsiteY34251"/>
              </a:cxn>
              <a:cxn ang="0">
                <a:pos x="connsiteX34252" y="connsiteY34252"/>
              </a:cxn>
              <a:cxn ang="0">
                <a:pos x="connsiteX34253" y="connsiteY34253"/>
              </a:cxn>
              <a:cxn ang="0">
                <a:pos x="connsiteX34254" y="connsiteY34254"/>
              </a:cxn>
              <a:cxn ang="0">
                <a:pos x="connsiteX34255" y="connsiteY34255"/>
              </a:cxn>
              <a:cxn ang="0">
                <a:pos x="connsiteX34256" y="connsiteY34256"/>
              </a:cxn>
              <a:cxn ang="0">
                <a:pos x="connsiteX34257" y="connsiteY34257"/>
              </a:cxn>
              <a:cxn ang="0">
                <a:pos x="connsiteX34258" y="connsiteY34258"/>
              </a:cxn>
              <a:cxn ang="0">
                <a:pos x="connsiteX34259" y="connsiteY34259"/>
              </a:cxn>
              <a:cxn ang="0">
                <a:pos x="connsiteX34260" y="connsiteY34260"/>
              </a:cxn>
              <a:cxn ang="0">
                <a:pos x="connsiteX34261" y="connsiteY34261"/>
              </a:cxn>
              <a:cxn ang="0">
                <a:pos x="connsiteX34262" y="connsiteY34262"/>
              </a:cxn>
              <a:cxn ang="0">
                <a:pos x="connsiteX34263" y="connsiteY34263"/>
              </a:cxn>
              <a:cxn ang="0">
                <a:pos x="connsiteX34264" y="connsiteY34264"/>
              </a:cxn>
              <a:cxn ang="0">
                <a:pos x="connsiteX34265" y="connsiteY34265"/>
              </a:cxn>
              <a:cxn ang="0">
                <a:pos x="connsiteX34266" y="connsiteY34266"/>
              </a:cxn>
              <a:cxn ang="0">
                <a:pos x="connsiteX34267" y="connsiteY34267"/>
              </a:cxn>
              <a:cxn ang="0">
                <a:pos x="connsiteX34268" y="connsiteY34268"/>
              </a:cxn>
              <a:cxn ang="0">
                <a:pos x="connsiteX34269" y="connsiteY34269"/>
              </a:cxn>
              <a:cxn ang="0">
                <a:pos x="connsiteX34270" y="connsiteY34270"/>
              </a:cxn>
              <a:cxn ang="0">
                <a:pos x="connsiteX34271" y="connsiteY34271"/>
              </a:cxn>
              <a:cxn ang="0">
                <a:pos x="connsiteX34272" y="connsiteY34272"/>
              </a:cxn>
              <a:cxn ang="0">
                <a:pos x="connsiteX34273" y="connsiteY34273"/>
              </a:cxn>
              <a:cxn ang="0">
                <a:pos x="connsiteX34274" y="connsiteY34274"/>
              </a:cxn>
              <a:cxn ang="0">
                <a:pos x="connsiteX34275" y="connsiteY34275"/>
              </a:cxn>
              <a:cxn ang="0">
                <a:pos x="connsiteX34276" y="connsiteY34276"/>
              </a:cxn>
              <a:cxn ang="0">
                <a:pos x="connsiteX34277" y="connsiteY34277"/>
              </a:cxn>
              <a:cxn ang="0">
                <a:pos x="connsiteX34278" y="connsiteY34278"/>
              </a:cxn>
              <a:cxn ang="0">
                <a:pos x="connsiteX34279" y="connsiteY34279"/>
              </a:cxn>
              <a:cxn ang="0">
                <a:pos x="connsiteX34280" y="connsiteY34280"/>
              </a:cxn>
              <a:cxn ang="0">
                <a:pos x="connsiteX34281" y="connsiteY34281"/>
              </a:cxn>
              <a:cxn ang="0">
                <a:pos x="connsiteX34282" y="connsiteY34282"/>
              </a:cxn>
              <a:cxn ang="0">
                <a:pos x="connsiteX34283" y="connsiteY34283"/>
              </a:cxn>
              <a:cxn ang="0">
                <a:pos x="connsiteX34284" y="connsiteY34284"/>
              </a:cxn>
              <a:cxn ang="0">
                <a:pos x="connsiteX34285" y="connsiteY34285"/>
              </a:cxn>
              <a:cxn ang="0">
                <a:pos x="connsiteX34286" y="connsiteY34286"/>
              </a:cxn>
              <a:cxn ang="0">
                <a:pos x="connsiteX34287" y="connsiteY34287"/>
              </a:cxn>
              <a:cxn ang="0">
                <a:pos x="connsiteX34288" y="connsiteY34288"/>
              </a:cxn>
              <a:cxn ang="0">
                <a:pos x="connsiteX34289" y="connsiteY34289"/>
              </a:cxn>
              <a:cxn ang="0">
                <a:pos x="connsiteX34290" y="connsiteY34290"/>
              </a:cxn>
              <a:cxn ang="0">
                <a:pos x="connsiteX34291" y="connsiteY34291"/>
              </a:cxn>
              <a:cxn ang="0">
                <a:pos x="connsiteX34292" y="connsiteY34292"/>
              </a:cxn>
              <a:cxn ang="0">
                <a:pos x="connsiteX34293" y="connsiteY34293"/>
              </a:cxn>
              <a:cxn ang="0">
                <a:pos x="connsiteX34294" y="connsiteY34294"/>
              </a:cxn>
              <a:cxn ang="0">
                <a:pos x="connsiteX34295" y="connsiteY34295"/>
              </a:cxn>
              <a:cxn ang="0">
                <a:pos x="connsiteX34296" y="connsiteY34296"/>
              </a:cxn>
              <a:cxn ang="0">
                <a:pos x="connsiteX34297" y="connsiteY34297"/>
              </a:cxn>
              <a:cxn ang="0">
                <a:pos x="connsiteX34298" y="connsiteY34298"/>
              </a:cxn>
              <a:cxn ang="0">
                <a:pos x="connsiteX34299" y="connsiteY34299"/>
              </a:cxn>
              <a:cxn ang="0">
                <a:pos x="connsiteX34300" y="connsiteY34300"/>
              </a:cxn>
              <a:cxn ang="0">
                <a:pos x="connsiteX34301" y="connsiteY34301"/>
              </a:cxn>
              <a:cxn ang="0">
                <a:pos x="connsiteX34302" y="connsiteY34302"/>
              </a:cxn>
              <a:cxn ang="0">
                <a:pos x="connsiteX34303" y="connsiteY34303"/>
              </a:cxn>
              <a:cxn ang="0">
                <a:pos x="connsiteX34304" y="connsiteY34304"/>
              </a:cxn>
              <a:cxn ang="0">
                <a:pos x="connsiteX34305" y="connsiteY34305"/>
              </a:cxn>
              <a:cxn ang="0">
                <a:pos x="connsiteX34306" y="connsiteY34306"/>
              </a:cxn>
              <a:cxn ang="0">
                <a:pos x="connsiteX34307" y="connsiteY34307"/>
              </a:cxn>
              <a:cxn ang="0">
                <a:pos x="connsiteX34308" y="connsiteY34308"/>
              </a:cxn>
              <a:cxn ang="0">
                <a:pos x="connsiteX34309" y="connsiteY34309"/>
              </a:cxn>
              <a:cxn ang="0">
                <a:pos x="connsiteX34310" y="connsiteY34310"/>
              </a:cxn>
              <a:cxn ang="0">
                <a:pos x="connsiteX34311" y="connsiteY34311"/>
              </a:cxn>
              <a:cxn ang="0">
                <a:pos x="connsiteX34312" y="connsiteY34312"/>
              </a:cxn>
              <a:cxn ang="0">
                <a:pos x="connsiteX34313" y="connsiteY34313"/>
              </a:cxn>
              <a:cxn ang="0">
                <a:pos x="connsiteX34314" y="connsiteY34314"/>
              </a:cxn>
              <a:cxn ang="0">
                <a:pos x="connsiteX34315" y="connsiteY34315"/>
              </a:cxn>
              <a:cxn ang="0">
                <a:pos x="connsiteX34316" y="connsiteY34316"/>
              </a:cxn>
              <a:cxn ang="0">
                <a:pos x="connsiteX34317" y="connsiteY34317"/>
              </a:cxn>
              <a:cxn ang="0">
                <a:pos x="connsiteX34318" y="connsiteY34318"/>
              </a:cxn>
              <a:cxn ang="0">
                <a:pos x="connsiteX34319" y="connsiteY34319"/>
              </a:cxn>
              <a:cxn ang="0">
                <a:pos x="connsiteX34320" y="connsiteY34320"/>
              </a:cxn>
              <a:cxn ang="0">
                <a:pos x="connsiteX34321" y="connsiteY34321"/>
              </a:cxn>
              <a:cxn ang="0">
                <a:pos x="connsiteX34322" y="connsiteY34322"/>
              </a:cxn>
              <a:cxn ang="0">
                <a:pos x="connsiteX34323" y="connsiteY34323"/>
              </a:cxn>
              <a:cxn ang="0">
                <a:pos x="connsiteX34324" y="connsiteY34324"/>
              </a:cxn>
              <a:cxn ang="0">
                <a:pos x="connsiteX34325" y="connsiteY34325"/>
              </a:cxn>
              <a:cxn ang="0">
                <a:pos x="connsiteX34326" y="connsiteY34326"/>
              </a:cxn>
              <a:cxn ang="0">
                <a:pos x="connsiteX34327" y="connsiteY34327"/>
              </a:cxn>
              <a:cxn ang="0">
                <a:pos x="connsiteX34328" y="connsiteY34328"/>
              </a:cxn>
              <a:cxn ang="0">
                <a:pos x="connsiteX34329" y="connsiteY34329"/>
              </a:cxn>
              <a:cxn ang="0">
                <a:pos x="connsiteX34330" y="connsiteY34330"/>
              </a:cxn>
              <a:cxn ang="0">
                <a:pos x="connsiteX34331" y="connsiteY34331"/>
              </a:cxn>
              <a:cxn ang="0">
                <a:pos x="connsiteX34332" y="connsiteY34332"/>
              </a:cxn>
              <a:cxn ang="0">
                <a:pos x="connsiteX34333" y="connsiteY34333"/>
              </a:cxn>
              <a:cxn ang="0">
                <a:pos x="connsiteX34334" y="connsiteY34334"/>
              </a:cxn>
              <a:cxn ang="0">
                <a:pos x="connsiteX34335" y="connsiteY34335"/>
              </a:cxn>
              <a:cxn ang="0">
                <a:pos x="connsiteX34336" y="connsiteY34336"/>
              </a:cxn>
              <a:cxn ang="0">
                <a:pos x="connsiteX34337" y="connsiteY34337"/>
              </a:cxn>
              <a:cxn ang="0">
                <a:pos x="connsiteX34338" y="connsiteY34338"/>
              </a:cxn>
              <a:cxn ang="0">
                <a:pos x="connsiteX34339" y="connsiteY34339"/>
              </a:cxn>
              <a:cxn ang="0">
                <a:pos x="connsiteX34340" y="connsiteY34340"/>
              </a:cxn>
              <a:cxn ang="0">
                <a:pos x="connsiteX34341" y="connsiteY34341"/>
              </a:cxn>
              <a:cxn ang="0">
                <a:pos x="connsiteX34342" y="connsiteY34342"/>
              </a:cxn>
              <a:cxn ang="0">
                <a:pos x="connsiteX34343" y="connsiteY34343"/>
              </a:cxn>
              <a:cxn ang="0">
                <a:pos x="connsiteX34344" y="connsiteY34344"/>
              </a:cxn>
              <a:cxn ang="0">
                <a:pos x="connsiteX34345" y="connsiteY34345"/>
              </a:cxn>
              <a:cxn ang="0">
                <a:pos x="connsiteX34346" y="connsiteY34346"/>
              </a:cxn>
              <a:cxn ang="0">
                <a:pos x="connsiteX34347" y="connsiteY34347"/>
              </a:cxn>
              <a:cxn ang="0">
                <a:pos x="connsiteX34348" y="connsiteY34348"/>
              </a:cxn>
              <a:cxn ang="0">
                <a:pos x="connsiteX34349" y="connsiteY34349"/>
              </a:cxn>
              <a:cxn ang="0">
                <a:pos x="connsiteX34350" y="connsiteY34350"/>
              </a:cxn>
              <a:cxn ang="0">
                <a:pos x="connsiteX34351" y="connsiteY34351"/>
              </a:cxn>
              <a:cxn ang="0">
                <a:pos x="connsiteX34352" y="connsiteY34352"/>
              </a:cxn>
              <a:cxn ang="0">
                <a:pos x="connsiteX34353" y="connsiteY34353"/>
              </a:cxn>
              <a:cxn ang="0">
                <a:pos x="connsiteX34354" y="connsiteY34354"/>
              </a:cxn>
              <a:cxn ang="0">
                <a:pos x="connsiteX34355" y="connsiteY34355"/>
              </a:cxn>
              <a:cxn ang="0">
                <a:pos x="connsiteX34356" y="connsiteY34356"/>
              </a:cxn>
              <a:cxn ang="0">
                <a:pos x="connsiteX34357" y="connsiteY34357"/>
              </a:cxn>
              <a:cxn ang="0">
                <a:pos x="connsiteX34358" y="connsiteY34358"/>
              </a:cxn>
              <a:cxn ang="0">
                <a:pos x="connsiteX34359" y="connsiteY34359"/>
              </a:cxn>
              <a:cxn ang="0">
                <a:pos x="connsiteX34360" y="connsiteY34360"/>
              </a:cxn>
              <a:cxn ang="0">
                <a:pos x="connsiteX34361" y="connsiteY34361"/>
              </a:cxn>
              <a:cxn ang="0">
                <a:pos x="connsiteX34362" y="connsiteY34362"/>
              </a:cxn>
              <a:cxn ang="0">
                <a:pos x="connsiteX34363" y="connsiteY34363"/>
              </a:cxn>
              <a:cxn ang="0">
                <a:pos x="connsiteX34364" y="connsiteY34364"/>
              </a:cxn>
              <a:cxn ang="0">
                <a:pos x="connsiteX34365" y="connsiteY34365"/>
              </a:cxn>
              <a:cxn ang="0">
                <a:pos x="connsiteX34366" y="connsiteY34366"/>
              </a:cxn>
              <a:cxn ang="0">
                <a:pos x="connsiteX34367" y="connsiteY34367"/>
              </a:cxn>
              <a:cxn ang="0">
                <a:pos x="connsiteX34368" y="connsiteY34368"/>
              </a:cxn>
              <a:cxn ang="0">
                <a:pos x="connsiteX34369" y="connsiteY34369"/>
              </a:cxn>
              <a:cxn ang="0">
                <a:pos x="connsiteX34370" y="connsiteY34370"/>
              </a:cxn>
              <a:cxn ang="0">
                <a:pos x="connsiteX34371" y="connsiteY34371"/>
              </a:cxn>
              <a:cxn ang="0">
                <a:pos x="connsiteX34372" y="connsiteY34372"/>
              </a:cxn>
              <a:cxn ang="0">
                <a:pos x="connsiteX34373" y="connsiteY34373"/>
              </a:cxn>
              <a:cxn ang="0">
                <a:pos x="connsiteX34374" y="connsiteY34374"/>
              </a:cxn>
              <a:cxn ang="0">
                <a:pos x="connsiteX34375" y="connsiteY34375"/>
              </a:cxn>
              <a:cxn ang="0">
                <a:pos x="connsiteX34376" y="connsiteY34376"/>
              </a:cxn>
              <a:cxn ang="0">
                <a:pos x="connsiteX34377" y="connsiteY34377"/>
              </a:cxn>
              <a:cxn ang="0">
                <a:pos x="connsiteX34378" y="connsiteY34378"/>
              </a:cxn>
              <a:cxn ang="0">
                <a:pos x="connsiteX34379" y="connsiteY34379"/>
              </a:cxn>
              <a:cxn ang="0">
                <a:pos x="connsiteX34380" y="connsiteY34380"/>
              </a:cxn>
              <a:cxn ang="0">
                <a:pos x="connsiteX34381" y="connsiteY34381"/>
              </a:cxn>
              <a:cxn ang="0">
                <a:pos x="connsiteX34382" y="connsiteY34382"/>
              </a:cxn>
              <a:cxn ang="0">
                <a:pos x="connsiteX34383" y="connsiteY34383"/>
              </a:cxn>
              <a:cxn ang="0">
                <a:pos x="connsiteX34384" y="connsiteY34384"/>
              </a:cxn>
              <a:cxn ang="0">
                <a:pos x="connsiteX34385" y="connsiteY34385"/>
              </a:cxn>
              <a:cxn ang="0">
                <a:pos x="connsiteX34386" y="connsiteY34386"/>
              </a:cxn>
              <a:cxn ang="0">
                <a:pos x="connsiteX34387" y="connsiteY34387"/>
              </a:cxn>
              <a:cxn ang="0">
                <a:pos x="connsiteX34388" y="connsiteY34388"/>
              </a:cxn>
              <a:cxn ang="0">
                <a:pos x="connsiteX34389" y="connsiteY34389"/>
              </a:cxn>
              <a:cxn ang="0">
                <a:pos x="connsiteX34390" y="connsiteY34390"/>
              </a:cxn>
              <a:cxn ang="0">
                <a:pos x="connsiteX34391" y="connsiteY34391"/>
              </a:cxn>
              <a:cxn ang="0">
                <a:pos x="connsiteX34392" y="connsiteY34392"/>
              </a:cxn>
              <a:cxn ang="0">
                <a:pos x="connsiteX34393" y="connsiteY34393"/>
              </a:cxn>
              <a:cxn ang="0">
                <a:pos x="connsiteX34394" y="connsiteY34394"/>
              </a:cxn>
              <a:cxn ang="0">
                <a:pos x="connsiteX34395" y="connsiteY34395"/>
              </a:cxn>
              <a:cxn ang="0">
                <a:pos x="connsiteX34396" y="connsiteY34396"/>
              </a:cxn>
              <a:cxn ang="0">
                <a:pos x="connsiteX34397" y="connsiteY34397"/>
              </a:cxn>
              <a:cxn ang="0">
                <a:pos x="connsiteX34398" y="connsiteY34398"/>
              </a:cxn>
              <a:cxn ang="0">
                <a:pos x="connsiteX34399" y="connsiteY34399"/>
              </a:cxn>
              <a:cxn ang="0">
                <a:pos x="connsiteX34400" y="connsiteY34400"/>
              </a:cxn>
              <a:cxn ang="0">
                <a:pos x="connsiteX34401" y="connsiteY34401"/>
              </a:cxn>
              <a:cxn ang="0">
                <a:pos x="connsiteX34402" y="connsiteY34402"/>
              </a:cxn>
              <a:cxn ang="0">
                <a:pos x="connsiteX34403" y="connsiteY34403"/>
              </a:cxn>
              <a:cxn ang="0">
                <a:pos x="connsiteX34404" y="connsiteY34404"/>
              </a:cxn>
              <a:cxn ang="0">
                <a:pos x="connsiteX34405" y="connsiteY34405"/>
              </a:cxn>
              <a:cxn ang="0">
                <a:pos x="connsiteX34406" y="connsiteY34406"/>
              </a:cxn>
              <a:cxn ang="0">
                <a:pos x="connsiteX34407" y="connsiteY34407"/>
              </a:cxn>
              <a:cxn ang="0">
                <a:pos x="connsiteX34408" y="connsiteY34408"/>
              </a:cxn>
              <a:cxn ang="0">
                <a:pos x="connsiteX34409" y="connsiteY34409"/>
              </a:cxn>
              <a:cxn ang="0">
                <a:pos x="connsiteX34410" y="connsiteY34410"/>
              </a:cxn>
              <a:cxn ang="0">
                <a:pos x="connsiteX34411" y="connsiteY34411"/>
              </a:cxn>
              <a:cxn ang="0">
                <a:pos x="connsiteX34412" y="connsiteY34412"/>
              </a:cxn>
              <a:cxn ang="0">
                <a:pos x="connsiteX34413" y="connsiteY34413"/>
              </a:cxn>
              <a:cxn ang="0">
                <a:pos x="connsiteX34414" y="connsiteY34414"/>
              </a:cxn>
              <a:cxn ang="0">
                <a:pos x="connsiteX34415" y="connsiteY34415"/>
              </a:cxn>
              <a:cxn ang="0">
                <a:pos x="connsiteX34416" y="connsiteY34416"/>
              </a:cxn>
              <a:cxn ang="0">
                <a:pos x="connsiteX34417" y="connsiteY34417"/>
              </a:cxn>
              <a:cxn ang="0">
                <a:pos x="connsiteX34418" y="connsiteY34418"/>
              </a:cxn>
              <a:cxn ang="0">
                <a:pos x="connsiteX34419" y="connsiteY34419"/>
              </a:cxn>
              <a:cxn ang="0">
                <a:pos x="connsiteX34420" y="connsiteY34420"/>
              </a:cxn>
              <a:cxn ang="0">
                <a:pos x="connsiteX34421" y="connsiteY34421"/>
              </a:cxn>
              <a:cxn ang="0">
                <a:pos x="connsiteX34422" y="connsiteY34422"/>
              </a:cxn>
              <a:cxn ang="0">
                <a:pos x="connsiteX34423" y="connsiteY34423"/>
              </a:cxn>
              <a:cxn ang="0">
                <a:pos x="connsiteX34424" y="connsiteY34424"/>
              </a:cxn>
              <a:cxn ang="0">
                <a:pos x="connsiteX34425" y="connsiteY34425"/>
              </a:cxn>
              <a:cxn ang="0">
                <a:pos x="connsiteX34426" y="connsiteY34426"/>
              </a:cxn>
              <a:cxn ang="0">
                <a:pos x="connsiteX34427" y="connsiteY34427"/>
              </a:cxn>
              <a:cxn ang="0">
                <a:pos x="connsiteX34428" y="connsiteY34428"/>
              </a:cxn>
              <a:cxn ang="0">
                <a:pos x="connsiteX34429" y="connsiteY34429"/>
              </a:cxn>
              <a:cxn ang="0">
                <a:pos x="connsiteX34430" y="connsiteY34430"/>
              </a:cxn>
              <a:cxn ang="0">
                <a:pos x="connsiteX34431" y="connsiteY34431"/>
              </a:cxn>
              <a:cxn ang="0">
                <a:pos x="connsiteX34432" y="connsiteY34432"/>
              </a:cxn>
              <a:cxn ang="0">
                <a:pos x="connsiteX34433" y="connsiteY34433"/>
              </a:cxn>
              <a:cxn ang="0">
                <a:pos x="connsiteX34434" y="connsiteY34434"/>
              </a:cxn>
              <a:cxn ang="0">
                <a:pos x="connsiteX34435" y="connsiteY34435"/>
              </a:cxn>
              <a:cxn ang="0">
                <a:pos x="connsiteX34436" y="connsiteY34436"/>
              </a:cxn>
              <a:cxn ang="0">
                <a:pos x="connsiteX34437" y="connsiteY34437"/>
              </a:cxn>
              <a:cxn ang="0">
                <a:pos x="connsiteX34438" y="connsiteY34438"/>
              </a:cxn>
              <a:cxn ang="0">
                <a:pos x="connsiteX34439" y="connsiteY34439"/>
              </a:cxn>
              <a:cxn ang="0">
                <a:pos x="connsiteX34440" y="connsiteY34440"/>
              </a:cxn>
              <a:cxn ang="0">
                <a:pos x="connsiteX34441" y="connsiteY34441"/>
              </a:cxn>
              <a:cxn ang="0">
                <a:pos x="connsiteX34442" y="connsiteY34442"/>
              </a:cxn>
              <a:cxn ang="0">
                <a:pos x="connsiteX34443" y="connsiteY34443"/>
              </a:cxn>
              <a:cxn ang="0">
                <a:pos x="connsiteX34444" y="connsiteY34444"/>
              </a:cxn>
              <a:cxn ang="0">
                <a:pos x="connsiteX34445" y="connsiteY34445"/>
              </a:cxn>
              <a:cxn ang="0">
                <a:pos x="connsiteX34446" y="connsiteY34446"/>
              </a:cxn>
              <a:cxn ang="0">
                <a:pos x="connsiteX34447" y="connsiteY34447"/>
              </a:cxn>
              <a:cxn ang="0">
                <a:pos x="connsiteX34448" y="connsiteY34448"/>
              </a:cxn>
              <a:cxn ang="0">
                <a:pos x="connsiteX34449" y="connsiteY34449"/>
              </a:cxn>
              <a:cxn ang="0">
                <a:pos x="connsiteX34450" y="connsiteY34450"/>
              </a:cxn>
              <a:cxn ang="0">
                <a:pos x="connsiteX34451" y="connsiteY34451"/>
              </a:cxn>
              <a:cxn ang="0">
                <a:pos x="connsiteX34452" y="connsiteY34452"/>
              </a:cxn>
              <a:cxn ang="0">
                <a:pos x="connsiteX34453" y="connsiteY34453"/>
              </a:cxn>
              <a:cxn ang="0">
                <a:pos x="connsiteX34454" y="connsiteY34454"/>
              </a:cxn>
              <a:cxn ang="0">
                <a:pos x="connsiteX34455" y="connsiteY34455"/>
              </a:cxn>
              <a:cxn ang="0">
                <a:pos x="connsiteX34456" y="connsiteY34456"/>
              </a:cxn>
              <a:cxn ang="0">
                <a:pos x="connsiteX34457" y="connsiteY34457"/>
              </a:cxn>
              <a:cxn ang="0">
                <a:pos x="connsiteX34458" y="connsiteY34458"/>
              </a:cxn>
              <a:cxn ang="0">
                <a:pos x="connsiteX34459" y="connsiteY34459"/>
              </a:cxn>
              <a:cxn ang="0">
                <a:pos x="connsiteX34460" y="connsiteY34460"/>
              </a:cxn>
              <a:cxn ang="0">
                <a:pos x="connsiteX34461" y="connsiteY34461"/>
              </a:cxn>
              <a:cxn ang="0">
                <a:pos x="connsiteX34462" y="connsiteY34462"/>
              </a:cxn>
              <a:cxn ang="0">
                <a:pos x="connsiteX34463" y="connsiteY34463"/>
              </a:cxn>
              <a:cxn ang="0">
                <a:pos x="connsiteX34464" y="connsiteY34464"/>
              </a:cxn>
              <a:cxn ang="0">
                <a:pos x="connsiteX34465" y="connsiteY34465"/>
              </a:cxn>
              <a:cxn ang="0">
                <a:pos x="connsiteX34466" y="connsiteY34466"/>
              </a:cxn>
              <a:cxn ang="0">
                <a:pos x="connsiteX34467" y="connsiteY34467"/>
              </a:cxn>
              <a:cxn ang="0">
                <a:pos x="connsiteX34468" y="connsiteY34468"/>
              </a:cxn>
              <a:cxn ang="0">
                <a:pos x="connsiteX34469" y="connsiteY34469"/>
              </a:cxn>
              <a:cxn ang="0">
                <a:pos x="connsiteX34470" y="connsiteY34470"/>
              </a:cxn>
              <a:cxn ang="0">
                <a:pos x="connsiteX34471" y="connsiteY34471"/>
              </a:cxn>
              <a:cxn ang="0">
                <a:pos x="connsiteX34472" y="connsiteY34472"/>
              </a:cxn>
              <a:cxn ang="0">
                <a:pos x="connsiteX34473" y="connsiteY34473"/>
              </a:cxn>
              <a:cxn ang="0">
                <a:pos x="connsiteX34474" y="connsiteY34474"/>
              </a:cxn>
              <a:cxn ang="0">
                <a:pos x="connsiteX34475" y="connsiteY34475"/>
              </a:cxn>
              <a:cxn ang="0">
                <a:pos x="connsiteX34476" y="connsiteY34476"/>
              </a:cxn>
              <a:cxn ang="0">
                <a:pos x="connsiteX34477" y="connsiteY34477"/>
              </a:cxn>
              <a:cxn ang="0">
                <a:pos x="connsiteX34478" y="connsiteY34478"/>
              </a:cxn>
              <a:cxn ang="0">
                <a:pos x="connsiteX34479" y="connsiteY34479"/>
              </a:cxn>
              <a:cxn ang="0">
                <a:pos x="connsiteX34480" y="connsiteY34480"/>
              </a:cxn>
              <a:cxn ang="0">
                <a:pos x="connsiteX34481" y="connsiteY34481"/>
              </a:cxn>
              <a:cxn ang="0">
                <a:pos x="connsiteX34482" y="connsiteY34482"/>
              </a:cxn>
              <a:cxn ang="0">
                <a:pos x="connsiteX34483" y="connsiteY34483"/>
              </a:cxn>
              <a:cxn ang="0">
                <a:pos x="connsiteX34484" y="connsiteY34484"/>
              </a:cxn>
              <a:cxn ang="0">
                <a:pos x="connsiteX34485" y="connsiteY34485"/>
              </a:cxn>
              <a:cxn ang="0">
                <a:pos x="connsiteX34486" y="connsiteY34486"/>
              </a:cxn>
              <a:cxn ang="0">
                <a:pos x="connsiteX34487" y="connsiteY34487"/>
              </a:cxn>
              <a:cxn ang="0">
                <a:pos x="connsiteX34488" y="connsiteY34488"/>
              </a:cxn>
              <a:cxn ang="0">
                <a:pos x="connsiteX34489" y="connsiteY34489"/>
              </a:cxn>
              <a:cxn ang="0">
                <a:pos x="connsiteX34490" y="connsiteY34490"/>
              </a:cxn>
              <a:cxn ang="0">
                <a:pos x="connsiteX34491" y="connsiteY34491"/>
              </a:cxn>
              <a:cxn ang="0">
                <a:pos x="connsiteX34492" y="connsiteY34492"/>
              </a:cxn>
              <a:cxn ang="0">
                <a:pos x="connsiteX34493" y="connsiteY34493"/>
              </a:cxn>
              <a:cxn ang="0">
                <a:pos x="connsiteX34494" y="connsiteY34494"/>
              </a:cxn>
              <a:cxn ang="0">
                <a:pos x="connsiteX34495" y="connsiteY34495"/>
              </a:cxn>
              <a:cxn ang="0">
                <a:pos x="connsiteX34496" y="connsiteY34496"/>
              </a:cxn>
              <a:cxn ang="0">
                <a:pos x="connsiteX34497" y="connsiteY34497"/>
              </a:cxn>
              <a:cxn ang="0">
                <a:pos x="connsiteX34498" y="connsiteY34498"/>
              </a:cxn>
              <a:cxn ang="0">
                <a:pos x="connsiteX34499" y="connsiteY34499"/>
              </a:cxn>
              <a:cxn ang="0">
                <a:pos x="connsiteX34500" y="connsiteY34500"/>
              </a:cxn>
              <a:cxn ang="0">
                <a:pos x="connsiteX34501" y="connsiteY34501"/>
              </a:cxn>
              <a:cxn ang="0">
                <a:pos x="connsiteX34502" y="connsiteY34502"/>
              </a:cxn>
              <a:cxn ang="0">
                <a:pos x="connsiteX34503" y="connsiteY34503"/>
              </a:cxn>
              <a:cxn ang="0">
                <a:pos x="connsiteX34504" y="connsiteY34504"/>
              </a:cxn>
              <a:cxn ang="0">
                <a:pos x="connsiteX34505" y="connsiteY34505"/>
              </a:cxn>
              <a:cxn ang="0">
                <a:pos x="connsiteX34506" y="connsiteY34506"/>
              </a:cxn>
              <a:cxn ang="0">
                <a:pos x="connsiteX34507" y="connsiteY34507"/>
              </a:cxn>
              <a:cxn ang="0">
                <a:pos x="connsiteX34508" y="connsiteY34508"/>
              </a:cxn>
              <a:cxn ang="0">
                <a:pos x="connsiteX34509" y="connsiteY34509"/>
              </a:cxn>
              <a:cxn ang="0">
                <a:pos x="connsiteX34510" y="connsiteY34510"/>
              </a:cxn>
              <a:cxn ang="0">
                <a:pos x="connsiteX34511" y="connsiteY34511"/>
              </a:cxn>
              <a:cxn ang="0">
                <a:pos x="connsiteX34512" y="connsiteY34512"/>
              </a:cxn>
              <a:cxn ang="0">
                <a:pos x="connsiteX34513" y="connsiteY34513"/>
              </a:cxn>
              <a:cxn ang="0">
                <a:pos x="connsiteX34514" y="connsiteY34514"/>
              </a:cxn>
              <a:cxn ang="0">
                <a:pos x="connsiteX34515" y="connsiteY34515"/>
              </a:cxn>
              <a:cxn ang="0">
                <a:pos x="connsiteX34516" y="connsiteY34516"/>
              </a:cxn>
              <a:cxn ang="0">
                <a:pos x="connsiteX34517" y="connsiteY34517"/>
              </a:cxn>
              <a:cxn ang="0">
                <a:pos x="connsiteX34518" y="connsiteY34518"/>
              </a:cxn>
              <a:cxn ang="0">
                <a:pos x="connsiteX34519" y="connsiteY34519"/>
              </a:cxn>
              <a:cxn ang="0">
                <a:pos x="connsiteX34520" y="connsiteY34520"/>
              </a:cxn>
              <a:cxn ang="0">
                <a:pos x="connsiteX34521" y="connsiteY34521"/>
              </a:cxn>
              <a:cxn ang="0">
                <a:pos x="connsiteX34522" y="connsiteY34522"/>
              </a:cxn>
              <a:cxn ang="0">
                <a:pos x="connsiteX34523" y="connsiteY34523"/>
              </a:cxn>
              <a:cxn ang="0">
                <a:pos x="connsiteX34524" y="connsiteY34524"/>
              </a:cxn>
              <a:cxn ang="0">
                <a:pos x="connsiteX34525" y="connsiteY34525"/>
              </a:cxn>
              <a:cxn ang="0">
                <a:pos x="connsiteX34526" y="connsiteY34526"/>
              </a:cxn>
              <a:cxn ang="0">
                <a:pos x="connsiteX34527" y="connsiteY34527"/>
              </a:cxn>
              <a:cxn ang="0">
                <a:pos x="connsiteX34528" y="connsiteY34528"/>
              </a:cxn>
              <a:cxn ang="0">
                <a:pos x="connsiteX34529" y="connsiteY34529"/>
              </a:cxn>
              <a:cxn ang="0">
                <a:pos x="connsiteX34530" y="connsiteY34530"/>
              </a:cxn>
              <a:cxn ang="0">
                <a:pos x="connsiteX34531" y="connsiteY34531"/>
              </a:cxn>
              <a:cxn ang="0">
                <a:pos x="connsiteX34532" y="connsiteY34532"/>
              </a:cxn>
              <a:cxn ang="0">
                <a:pos x="connsiteX34533" y="connsiteY34533"/>
              </a:cxn>
              <a:cxn ang="0">
                <a:pos x="connsiteX34534" y="connsiteY34534"/>
              </a:cxn>
              <a:cxn ang="0">
                <a:pos x="connsiteX34535" y="connsiteY34535"/>
              </a:cxn>
              <a:cxn ang="0">
                <a:pos x="connsiteX34536" y="connsiteY34536"/>
              </a:cxn>
              <a:cxn ang="0">
                <a:pos x="connsiteX34537" y="connsiteY34537"/>
              </a:cxn>
              <a:cxn ang="0">
                <a:pos x="connsiteX34538" y="connsiteY34538"/>
              </a:cxn>
              <a:cxn ang="0">
                <a:pos x="connsiteX34539" y="connsiteY34539"/>
              </a:cxn>
              <a:cxn ang="0">
                <a:pos x="connsiteX34540" y="connsiteY34540"/>
              </a:cxn>
              <a:cxn ang="0">
                <a:pos x="connsiteX34541" y="connsiteY34541"/>
              </a:cxn>
              <a:cxn ang="0">
                <a:pos x="connsiteX34542" y="connsiteY34542"/>
              </a:cxn>
              <a:cxn ang="0">
                <a:pos x="connsiteX34543" y="connsiteY34543"/>
              </a:cxn>
              <a:cxn ang="0">
                <a:pos x="connsiteX34544" y="connsiteY34544"/>
              </a:cxn>
              <a:cxn ang="0">
                <a:pos x="connsiteX34545" y="connsiteY34545"/>
              </a:cxn>
              <a:cxn ang="0">
                <a:pos x="connsiteX34546" y="connsiteY34546"/>
              </a:cxn>
              <a:cxn ang="0">
                <a:pos x="connsiteX34547" y="connsiteY34547"/>
              </a:cxn>
              <a:cxn ang="0">
                <a:pos x="connsiteX34548" y="connsiteY34548"/>
              </a:cxn>
              <a:cxn ang="0">
                <a:pos x="connsiteX34549" y="connsiteY34549"/>
              </a:cxn>
              <a:cxn ang="0">
                <a:pos x="connsiteX34550" y="connsiteY34550"/>
              </a:cxn>
              <a:cxn ang="0">
                <a:pos x="connsiteX34551" y="connsiteY34551"/>
              </a:cxn>
              <a:cxn ang="0">
                <a:pos x="connsiteX34552" y="connsiteY34552"/>
              </a:cxn>
              <a:cxn ang="0">
                <a:pos x="connsiteX34553" y="connsiteY34553"/>
              </a:cxn>
              <a:cxn ang="0">
                <a:pos x="connsiteX34554" y="connsiteY34554"/>
              </a:cxn>
              <a:cxn ang="0">
                <a:pos x="connsiteX34555" y="connsiteY34555"/>
              </a:cxn>
              <a:cxn ang="0">
                <a:pos x="connsiteX34556" y="connsiteY34556"/>
              </a:cxn>
              <a:cxn ang="0">
                <a:pos x="connsiteX34557" y="connsiteY34557"/>
              </a:cxn>
              <a:cxn ang="0">
                <a:pos x="connsiteX34558" y="connsiteY34558"/>
              </a:cxn>
              <a:cxn ang="0">
                <a:pos x="connsiteX34559" y="connsiteY34559"/>
              </a:cxn>
              <a:cxn ang="0">
                <a:pos x="connsiteX34560" y="connsiteY34560"/>
              </a:cxn>
              <a:cxn ang="0">
                <a:pos x="connsiteX34561" y="connsiteY34561"/>
              </a:cxn>
              <a:cxn ang="0">
                <a:pos x="connsiteX34562" y="connsiteY34562"/>
              </a:cxn>
              <a:cxn ang="0">
                <a:pos x="connsiteX34563" y="connsiteY34563"/>
              </a:cxn>
              <a:cxn ang="0">
                <a:pos x="connsiteX34564" y="connsiteY34564"/>
              </a:cxn>
              <a:cxn ang="0">
                <a:pos x="connsiteX34565" y="connsiteY34565"/>
              </a:cxn>
              <a:cxn ang="0">
                <a:pos x="connsiteX34566" y="connsiteY34566"/>
              </a:cxn>
              <a:cxn ang="0">
                <a:pos x="connsiteX34567" y="connsiteY34567"/>
              </a:cxn>
              <a:cxn ang="0">
                <a:pos x="connsiteX34568" y="connsiteY34568"/>
              </a:cxn>
              <a:cxn ang="0">
                <a:pos x="connsiteX34569" y="connsiteY34569"/>
              </a:cxn>
              <a:cxn ang="0">
                <a:pos x="connsiteX34570" y="connsiteY34570"/>
              </a:cxn>
              <a:cxn ang="0">
                <a:pos x="connsiteX34571" y="connsiteY34571"/>
              </a:cxn>
              <a:cxn ang="0">
                <a:pos x="connsiteX34572" y="connsiteY34572"/>
              </a:cxn>
              <a:cxn ang="0">
                <a:pos x="connsiteX34573" y="connsiteY34573"/>
              </a:cxn>
              <a:cxn ang="0">
                <a:pos x="connsiteX34574" y="connsiteY34574"/>
              </a:cxn>
              <a:cxn ang="0">
                <a:pos x="connsiteX34575" y="connsiteY34575"/>
              </a:cxn>
              <a:cxn ang="0">
                <a:pos x="connsiteX34576" y="connsiteY34576"/>
              </a:cxn>
              <a:cxn ang="0">
                <a:pos x="connsiteX34577" y="connsiteY34577"/>
              </a:cxn>
              <a:cxn ang="0">
                <a:pos x="connsiteX34578" y="connsiteY34578"/>
              </a:cxn>
              <a:cxn ang="0">
                <a:pos x="connsiteX34579" y="connsiteY34579"/>
              </a:cxn>
              <a:cxn ang="0">
                <a:pos x="connsiteX34580" y="connsiteY34580"/>
              </a:cxn>
              <a:cxn ang="0">
                <a:pos x="connsiteX34581" y="connsiteY34581"/>
              </a:cxn>
              <a:cxn ang="0">
                <a:pos x="connsiteX34582" y="connsiteY34582"/>
              </a:cxn>
              <a:cxn ang="0">
                <a:pos x="connsiteX34583" y="connsiteY34583"/>
              </a:cxn>
              <a:cxn ang="0">
                <a:pos x="connsiteX34584" y="connsiteY34584"/>
              </a:cxn>
              <a:cxn ang="0">
                <a:pos x="connsiteX34585" y="connsiteY34585"/>
              </a:cxn>
              <a:cxn ang="0">
                <a:pos x="connsiteX34586" y="connsiteY34586"/>
              </a:cxn>
              <a:cxn ang="0">
                <a:pos x="connsiteX34587" y="connsiteY34587"/>
              </a:cxn>
              <a:cxn ang="0">
                <a:pos x="connsiteX34588" y="connsiteY34588"/>
              </a:cxn>
              <a:cxn ang="0">
                <a:pos x="connsiteX34589" y="connsiteY34589"/>
              </a:cxn>
              <a:cxn ang="0">
                <a:pos x="connsiteX34590" y="connsiteY34590"/>
              </a:cxn>
              <a:cxn ang="0">
                <a:pos x="connsiteX34591" y="connsiteY34591"/>
              </a:cxn>
              <a:cxn ang="0">
                <a:pos x="connsiteX34592" y="connsiteY34592"/>
              </a:cxn>
              <a:cxn ang="0">
                <a:pos x="connsiteX34593" y="connsiteY34593"/>
              </a:cxn>
              <a:cxn ang="0">
                <a:pos x="connsiteX34594" y="connsiteY34594"/>
              </a:cxn>
              <a:cxn ang="0">
                <a:pos x="connsiteX34595" y="connsiteY34595"/>
              </a:cxn>
              <a:cxn ang="0">
                <a:pos x="connsiteX34596" y="connsiteY34596"/>
              </a:cxn>
              <a:cxn ang="0">
                <a:pos x="connsiteX34597" y="connsiteY34597"/>
              </a:cxn>
              <a:cxn ang="0">
                <a:pos x="connsiteX34598" y="connsiteY34598"/>
              </a:cxn>
              <a:cxn ang="0">
                <a:pos x="connsiteX34599" y="connsiteY34599"/>
              </a:cxn>
              <a:cxn ang="0">
                <a:pos x="connsiteX34600" y="connsiteY34600"/>
              </a:cxn>
              <a:cxn ang="0">
                <a:pos x="connsiteX34601" y="connsiteY34601"/>
              </a:cxn>
              <a:cxn ang="0">
                <a:pos x="connsiteX34602" y="connsiteY34602"/>
              </a:cxn>
              <a:cxn ang="0">
                <a:pos x="connsiteX34603" y="connsiteY34603"/>
              </a:cxn>
              <a:cxn ang="0">
                <a:pos x="connsiteX34604" y="connsiteY34604"/>
              </a:cxn>
              <a:cxn ang="0">
                <a:pos x="connsiteX34605" y="connsiteY34605"/>
              </a:cxn>
              <a:cxn ang="0">
                <a:pos x="connsiteX34606" y="connsiteY34606"/>
              </a:cxn>
              <a:cxn ang="0">
                <a:pos x="connsiteX34607" y="connsiteY34607"/>
              </a:cxn>
              <a:cxn ang="0">
                <a:pos x="connsiteX34608" y="connsiteY34608"/>
              </a:cxn>
              <a:cxn ang="0">
                <a:pos x="connsiteX34609" y="connsiteY34609"/>
              </a:cxn>
              <a:cxn ang="0">
                <a:pos x="connsiteX34610" y="connsiteY34610"/>
              </a:cxn>
              <a:cxn ang="0">
                <a:pos x="connsiteX34611" y="connsiteY34611"/>
              </a:cxn>
              <a:cxn ang="0">
                <a:pos x="connsiteX34612" y="connsiteY34612"/>
              </a:cxn>
              <a:cxn ang="0">
                <a:pos x="connsiteX34613" y="connsiteY34613"/>
              </a:cxn>
              <a:cxn ang="0">
                <a:pos x="connsiteX34614" y="connsiteY34614"/>
              </a:cxn>
              <a:cxn ang="0">
                <a:pos x="connsiteX34615" y="connsiteY34615"/>
              </a:cxn>
              <a:cxn ang="0">
                <a:pos x="connsiteX34616" y="connsiteY34616"/>
              </a:cxn>
              <a:cxn ang="0">
                <a:pos x="connsiteX34617" y="connsiteY34617"/>
              </a:cxn>
              <a:cxn ang="0">
                <a:pos x="connsiteX34618" y="connsiteY34618"/>
              </a:cxn>
              <a:cxn ang="0">
                <a:pos x="connsiteX34619" y="connsiteY34619"/>
              </a:cxn>
              <a:cxn ang="0">
                <a:pos x="connsiteX34620" y="connsiteY34620"/>
              </a:cxn>
              <a:cxn ang="0">
                <a:pos x="connsiteX34621" y="connsiteY34621"/>
              </a:cxn>
              <a:cxn ang="0">
                <a:pos x="connsiteX34622" y="connsiteY34622"/>
              </a:cxn>
              <a:cxn ang="0">
                <a:pos x="connsiteX34623" y="connsiteY34623"/>
              </a:cxn>
              <a:cxn ang="0">
                <a:pos x="connsiteX34624" y="connsiteY34624"/>
              </a:cxn>
              <a:cxn ang="0">
                <a:pos x="connsiteX34625" y="connsiteY34625"/>
              </a:cxn>
              <a:cxn ang="0">
                <a:pos x="connsiteX34626" y="connsiteY34626"/>
              </a:cxn>
              <a:cxn ang="0">
                <a:pos x="connsiteX34627" y="connsiteY34627"/>
              </a:cxn>
              <a:cxn ang="0">
                <a:pos x="connsiteX34628" y="connsiteY34628"/>
              </a:cxn>
              <a:cxn ang="0">
                <a:pos x="connsiteX34629" y="connsiteY34629"/>
              </a:cxn>
              <a:cxn ang="0">
                <a:pos x="connsiteX34630" y="connsiteY34630"/>
              </a:cxn>
              <a:cxn ang="0">
                <a:pos x="connsiteX34631" y="connsiteY34631"/>
              </a:cxn>
              <a:cxn ang="0">
                <a:pos x="connsiteX34632" y="connsiteY34632"/>
              </a:cxn>
              <a:cxn ang="0">
                <a:pos x="connsiteX34633" y="connsiteY34633"/>
              </a:cxn>
              <a:cxn ang="0">
                <a:pos x="connsiteX34634" y="connsiteY34634"/>
              </a:cxn>
              <a:cxn ang="0">
                <a:pos x="connsiteX34635" y="connsiteY34635"/>
              </a:cxn>
              <a:cxn ang="0">
                <a:pos x="connsiteX34636" y="connsiteY34636"/>
              </a:cxn>
              <a:cxn ang="0">
                <a:pos x="connsiteX34637" y="connsiteY34637"/>
              </a:cxn>
              <a:cxn ang="0">
                <a:pos x="connsiteX34638" y="connsiteY34638"/>
              </a:cxn>
              <a:cxn ang="0">
                <a:pos x="connsiteX34639" y="connsiteY34639"/>
              </a:cxn>
              <a:cxn ang="0">
                <a:pos x="connsiteX34640" y="connsiteY34640"/>
              </a:cxn>
              <a:cxn ang="0">
                <a:pos x="connsiteX34641" y="connsiteY34641"/>
              </a:cxn>
              <a:cxn ang="0">
                <a:pos x="connsiteX34642" y="connsiteY34642"/>
              </a:cxn>
              <a:cxn ang="0">
                <a:pos x="connsiteX34643" y="connsiteY34643"/>
              </a:cxn>
              <a:cxn ang="0">
                <a:pos x="connsiteX34644" y="connsiteY34644"/>
              </a:cxn>
              <a:cxn ang="0">
                <a:pos x="connsiteX34645" y="connsiteY34645"/>
              </a:cxn>
              <a:cxn ang="0">
                <a:pos x="connsiteX34646" y="connsiteY34646"/>
              </a:cxn>
              <a:cxn ang="0">
                <a:pos x="connsiteX34647" y="connsiteY34647"/>
              </a:cxn>
              <a:cxn ang="0">
                <a:pos x="connsiteX34648" y="connsiteY34648"/>
              </a:cxn>
              <a:cxn ang="0">
                <a:pos x="connsiteX34649" y="connsiteY34649"/>
              </a:cxn>
              <a:cxn ang="0">
                <a:pos x="connsiteX34650" y="connsiteY34650"/>
              </a:cxn>
              <a:cxn ang="0">
                <a:pos x="connsiteX34651" y="connsiteY34651"/>
              </a:cxn>
              <a:cxn ang="0">
                <a:pos x="connsiteX34652" y="connsiteY34652"/>
              </a:cxn>
              <a:cxn ang="0">
                <a:pos x="connsiteX34653" y="connsiteY34653"/>
              </a:cxn>
              <a:cxn ang="0">
                <a:pos x="connsiteX34654" y="connsiteY34654"/>
              </a:cxn>
              <a:cxn ang="0">
                <a:pos x="connsiteX34655" y="connsiteY34655"/>
              </a:cxn>
              <a:cxn ang="0">
                <a:pos x="connsiteX34656" y="connsiteY34656"/>
              </a:cxn>
              <a:cxn ang="0">
                <a:pos x="connsiteX34657" y="connsiteY34657"/>
              </a:cxn>
              <a:cxn ang="0">
                <a:pos x="connsiteX34658" y="connsiteY34658"/>
              </a:cxn>
              <a:cxn ang="0">
                <a:pos x="connsiteX34659" y="connsiteY34659"/>
              </a:cxn>
              <a:cxn ang="0">
                <a:pos x="connsiteX34660" y="connsiteY34660"/>
              </a:cxn>
              <a:cxn ang="0">
                <a:pos x="connsiteX34661" y="connsiteY34661"/>
              </a:cxn>
              <a:cxn ang="0">
                <a:pos x="connsiteX34662" y="connsiteY34662"/>
              </a:cxn>
              <a:cxn ang="0">
                <a:pos x="connsiteX34663" y="connsiteY34663"/>
              </a:cxn>
              <a:cxn ang="0">
                <a:pos x="connsiteX34664" y="connsiteY34664"/>
              </a:cxn>
              <a:cxn ang="0">
                <a:pos x="connsiteX34665" y="connsiteY34665"/>
              </a:cxn>
              <a:cxn ang="0">
                <a:pos x="connsiteX34666" y="connsiteY34666"/>
              </a:cxn>
              <a:cxn ang="0">
                <a:pos x="connsiteX34667" y="connsiteY34667"/>
              </a:cxn>
              <a:cxn ang="0">
                <a:pos x="connsiteX34668" y="connsiteY34668"/>
              </a:cxn>
              <a:cxn ang="0">
                <a:pos x="connsiteX34669" y="connsiteY34669"/>
              </a:cxn>
              <a:cxn ang="0">
                <a:pos x="connsiteX34670" y="connsiteY34670"/>
              </a:cxn>
              <a:cxn ang="0">
                <a:pos x="connsiteX34671" y="connsiteY34671"/>
              </a:cxn>
              <a:cxn ang="0">
                <a:pos x="connsiteX34672" y="connsiteY34672"/>
              </a:cxn>
              <a:cxn ang="0">
                <a:pos x="connsiteX34673" y="connsiteY34673"/>
              </a:cxn>
              <a:cxn ang="0">
                <a:pos x="connsiteX34674" y="connsiteY34674"/>
              </a:cxn>
              <a:cxn ang="0">
                <a:pos x="connsiteX34675" y="connsiteY34675"/>
              </a:cxn>
              <a:cxn ang="0">
                <a:pos x="connsiteX34676" y="connsiteY34676"/>
              </a:cxn>
              <a:cxn ang="0">
                <a:pos x="connsiteX34677" y="connsiteY34677"/>
              </a:cxn>
              <a:cxn ang="0">
                <a:pos x="connsiteX34678" y="connsiteY34678"/>
              </a:cxn>
              <a:cxn ang="0">
                <a:pos x="connsiteX34679" y="connsiteY34679"/>
              </a:cxn>
              <a:cxn ang="0">
                <a:pos x="connsiteX34680" y="connsiteY34680"/>
              </a:cxn>
              <a:cxn ang="0">
                <a:pos x="connsiteX34681" y="connsiteY34681"/>
              </a:cxn>
              <a:cxn ang="0">
                <a:pos x="connsiteX34682" y="connsiteY34682"/>
              </a:cxn>
              <a:cxn ang="0">
                <a:pos x="connsiteX34683" y="connsiteY34683"/>
              </a:cxn>
              <a:cxn ang="0">
                <a:pos x="connsiteX34684" y="connsiteY34684"/>
              </a:cxn>
              <a:cxn ang="0">
                <a:pos x="connsiteX34685" y="connsiteY34685"/>
              </a:cxn>
              <a:cxn ang="0">
                <a:pos x="connsiteX34686" y="connsiteY34686"/>
              </a:cxn>
              <a:cxn ang="0">
                <a:pos x="connsiteX34687" y="connsiteY34687"/>
              </a:cxn>
              <a:cxn ang="0">
                <a:pos x="connsiteX34688" y="connsiteY34688"/>
              </a:cxn>
              <a:cxn ang="0">
                <a:pos x="connsiteX34689" y="connsiteY34689"/>
              </a:cxn>
              <a:cxn ang="0">
                <a:pos x="connsiteX34690" y="connsiteY34690"/>
              </a:cxn>
              <a:cxn ang="0">
                <a:pos x="connsiteX34691" y="connsiteY34691"/>
              </a:cxn>
              <a:cxn ang="0">
                <a:pos x="connsiteX34692" y="connsiteY34692"/>
              </a:cxn>
              <a:cxn ang="0">
                <a:pos x="connsiteX34693" y="connsiteY34693"/>
              </a:cxn>
              <a:cxn ang="0">
                <a:pos x="connsiteX34694" y="connsiteY34694"/>
              </a:cxn>
              <a:cxn ang="0">
                <a:pos x="connsiteX34695" y="connsiteY34695"/>
              </a:cxn>
              <a:cxn ang="0">
                <a:pos x="connsiteX34696" y="connsiteY34696"/>
              </a:cxn>
              <a:cxn ang="0">
                <a:pos x="connsiteX34697" y="connsiteY34697"/>
              </a:cxn>
              <a:cxn ang="0">
                <a:pos x="connsiteX34698" y="connsiteY34698"/>
              </a:cxn>
              <a:cxn ang="0">
                <a:pos x="connsiteX34699" y="connsiteY34699"/>
              </a:cxn>
              <a:cxn ang="0">
                <a:pos x="connsiteX34700" y="connsiteY34700"/>
              </a:cxn>
              <a:cxn ang="0">
                <a:pos x="connsiteX34701" y="connsiteY34701"/>
              </a:cxn>
              <a:cxn ang="0">
                <a:pos x="connsiteX34702" y="connsiteY34702"/>
              </a:cxn>
              <a:cxn ang="0">
                <a:pos x="connsiteX34703" y="connsiteY34703"/>
              </a:cxn>
              <a:cxn ang="0">
                <a:pos x="connsiteX34704" y="connsiteY34704"/>
              </a:cxn>
              <a:cxn ang="0">
                <a:pos x="connsiteX34705" y="connsiteY34705"/>
              </a:cxn>
              <a:cxn ang="0">
                <a:pos x="connsiteX34706" y="connsiteY34706"/>
              </a:cxn>
              <a:cxn ang="0">
                <a:pos x="connsiteX34707" y="connsiteY34707"/>
              </a:cxn>
              <a:cxn ang="0">
                <a:pos x="connsiteX34708" y="connsiteY34708"/>
              </a:cxn>
              <a:cxn ang="0">
                <a:pos x="connsiteX34709" y="connsiteY34709"/>
              </a:cxn>
              <a:cxn ang="0">
                <a:pos x="connsiteX34710" y="connsiteY34710"/>
              </a:cxn>
              <a:cxn ang="0">
                <a:pos x="connsiteX34711" y="connsiteY34711"/>
              </a:cxn>
              <a:cxn ang="0">
                <a:pos x="connsiteX34712" y="connsiteY34712"/>
              </a:cxn>
              <a:cxn ang="0">
                <a:pos x="connsiteX34713" y="connsiteY34713"/>
              </a:cxn>
              <a:cxn ang="0">
                <a:pos x="connsiteX34714" y="connsiteY34714"/>
              </a:cxn>
              <a:cxn ang="0">
                <a:pos x="connsiteX34715" y="connsiteY34715"/>
              </a:cxn>
              <a:cxn ang="0">
                <a:pos x="connsiteX34716" y="connsiteY34716"/>
              </a:cxn>
              <a:cxn ang="0">
                <a:pos x="connsiteX34717" y="connsiteY34717"/>
              </a:cxn>
              <a:cxn ang="0">
                <a:pos x="connsiteX34718" y="connsiteY34718"/>
              </a:cxn>
              <a:cxn ang="0">
                <a:pos x="connsiteX34719" y="connsiteY34719"/>
              </a:cxn>
              <a:cxn ang="0">
                <a:pos x="connsiteX34720" y="connsiteY34720"/>
              </a:cxn>
              <a:cxn ang="0">
                <a:pos x="connsiteX34721" y="connsiteY34721"/>
              </a:cxn>
              <a:cxn ang="0">
                <a:pos x="connsiteX34722" y="connsiteY34722"/>
              </a:cxn>
              <a:cxn ang="0">
                <a:pos x="connsiteX34723" y="connsiteY34723"/>
              </a:cxn>
              <a:cxn ang="0">
                <a:pos x="connsiteX34724" y="connsiteY34724"/>
              </a:cxn>
              <a:cxn ang="0">
                <a:pos x="connsiteX34725" y="connsiteY34725"/>
              </a:cxn>
              <a:cxn ang="0">
                <a:pos x="connsiteX34726" y="connsiteY34726"/>
              </a:cxn>
              <a:cxn ang="0">
                <a:pos x="connsiteX34727" y="connsiteY34727"/>
              </a:cxn>
              <a:cxn ang="0">
                <a:pos x="connsiteX34728" y="connsiteY34728"/>
              </a:cxn>
              <a:cxn ang="0">
                <a:pos x="connsiteX34729" y="connsiteY34729"/>
              </a:cxn>
              <a:cxn ang="0">
                <a:pos x="connsiteX34730" y="connsiteY34730"/>
              </a:cxn>
              <a:cxn ang="0">
                <a:pos x="connsiteX34731" y="connsiteY34731"/>
              </a:cxn>
              <a:cxn ang="0">
                <a:pos x="connsiteX34732" y="connsiteY34732"/>
              </a:cxn>
              <a:cxn ang="0">
                <a:pos x="connsiteX34733" y="connsiteY34733"/>
              </a:cxn>
              <a:cxn ang="0">
                <a:pos x="connsiteX34734" y="connsiteY34734"/>
              </a:cxn>
              <a:cxn ang="0">
                <a:pos x="connsiteX34735" y="connsiteY34735"/>
              </a:cxn>
              <a:cxn ang="0">
                <a:pos x="connsiteX34736" y="connsiteY34736"/>
              </a:cxn>
              <a:cxn ang="0">
                <a:pos x="connsiteX34737" y="connsiteY34737"/>
              </a:cxn>
              <a:cxn ang="0">
                <a:pos x="connsiteX34738" y="connsiteY34738"/>
              </a:cxn>
              <a:cxn ang="0">
                <a:pos x="connsiteX34739" y="connsiteY34739"/>
              </a:cxn>
              <a:cxn ang="0">
                <a:pos x="connsiteX34740" y="connsiteY34740"/>
              </a:cxn>
              <a:cxn ang="0">
                <a:pos x="connsiteX34741" y="connsiteY34741"/>
              </a:cxn>
              <a:cxn ang="0">
                <a:pos x="connsiteX34742" y="connsiteY34742"/>
              </a:cxn>
              <a:cxn ang="0">
                <a:pos x="connsiteX34743" y="connsiteY34743"/>
              </a:cxn>
              <a:cxn ang="0">
                <a:pos x="connsiteX34744" y="connsiteY34744"/>
              </a:cxn>
              <a:cxn ang="0">
                <a:pos x="connsiteX34745" y="connsiteY34745"/>
              </a:cxn>
              <a:cxn ang="0">
                <a:pos x="connsiteX34746" y="connsiteY34746"/>
              </a:cxn>
              <a:cxn ang="0">
                <a:pos x="connsiteX34747" y="connsiteY34747"/>
              </a:cxn>
              <a:cxn ang="0">
                <a:pos x="connsiteX34748" y="connsiteY34748"/>
              </a:cxn>
              <a:cxn ang="0">
                <a:pos x="connsiteX34749" y="connsiteY34749"/>
              </a:cxn>
              <a:cxn ang="0">
                <a:pos x="connsiteX34750" y="connsiteY34750"/>
              </a:cxn>
              <a:cxn ang="0">
                <a:pos x="connsiteX34751" y="connsiteY34751"/>
              </a:cxn>
              <a:cxn ang="0">
                <a:pos x="connsiteX34752" y="connsiteY34752"/>
              </a:cxn>
              <a:cxn ang="0">
                <a:pos x="connsiteX34753" y="connsiteY34753"/>
              </a:cxn>
              <a:cxn ang="0">
                <a:pos x="connsiteX34754" y="connsiteY34754"/>
              </a:cxn>
              <a:cxn ang="0">
                <a:pos x="connsiteX34755" y="connsiteY34755"/>
              </a:cxn>
              <a:cxn ang="0">
                <a:pos x="connsiteX34756" y="connsiteY34756"/>
              </a:cxn>
              <a:cxn ang="0">
                <a:pos x="connsiteX34757" y="connsiteY34757"/>
              </a:cxn>
              <a:cxn ang="0">
                <a:pos x="connsiteX34758" y="connsiteY34758"/>
              </a:cxn>
              <a:cxn ang="0">
                <a:pos x="connsiteX34759" y="connsiteY34759"/>
              </a:cxn>
              <a:cxn ang="0">
                <a:pos x="connsiteX34760" y="connsiteY34760"/>
              </a:cxn>
              <a:cxn ang="0">
                <a:pos x="connsiteX34761" y="connsiteY34761"/>
              </a:cxn>
              <a:cxn ang="0">
                <a:pos x="connsiteX34762" y="connsiteY34762"/>
              </a:cxn>
              <a:cxn ang="0">
                <a:pos x="connsiteX34763" y="connsiteY34763"/>
              </a:cxn>
              <a:cxn ang="0">
                <a:pos x="connsiteX34764" y="connsiteY34764"/>
              </a:cxn>
              <a:cxn ang="0">
                <a:pos x="connsiteX34765" y="connsiteY34765"/>
              </a:cxn>
              <a:cxn ang="0">
                <a:pos x="connsiteX34766" y="connsiteY34766"/>
              </a:cxn>
              <a:cxn ang="0">
                <a:pos x="connsiteX34767" y="connsiteY34767"/>
              </a:cxn>
              <a:cxn ang="0">
                <a:pos x="connsiteX34768" y="connsiteY34768"/>
              </a:cxn>
              <a:cxn ang="0">
                <a:pos x="connsiteX34769" y="connsiteY34769"/>
              </a:cxn>
              <a:cxn ang="0">
                <a:pos x="connsiteX34770" y="connsiteY34770"/>
              </a:cxn>
              <a:cxn ang="0">
                <a:pos x="connsiteX34771" y="connsiteY34771"/>
              </a:cxn>
              <a:cxn ang="0">
                <a:pos x="connsiteX34772" y="connsiteY34772"/>
              </a:cxn>
              <a:cxn ang="0">
                <a:pos x="connsiteX34773" y="connsiteY34773"/>
              </a:cxn>
              <a:cxn ang="0">
                <a:pos x="connsiteX34774" y="connsiteY34774"/>
              </a:cxn>
              <a:cxn ang="0">
                <a:pos x="connsiteX34775" y="connsiteY34775"/>
              </a:cxn>
              <a:cxn ang="0">
                <a:pos x="connsiteX34776" y="connsiteY34776"/>
              </a:cxn>
              <a:cxn ang="0">
                <a:pos x="connsiteX34777" y="connsiteY34777"/>
              </a:cxn>
              <a:cxn ang="0">
                <a:pos x="connsiteX34778" y="connsiteY34778"/>
              </a:cxn>
              <a:cxn ang="0">
                <a:pos x="connsiteX34779" y="connsiteY34779"/>
              </a:cxn>
              <a:cxn ang="0">
                <a:pos x="connsiteX34780" y="connsiteY34780"/>
              </a:cxn>
              <a:cxn ang="0">
                <a:pos x="connsiteX34781" y="connsiteY34781"/>
              </a:cxn>
              <a:cxn ang="0">
                <a:pos x="connsiteX34782" y="connsiteY34782"/>
              </a:cxn>
              <a:cxn ang="0">
                <a:pos x="connsiteX34783" y="connsiteY34783"/>
              </a:cxn>
              <a:cxn ang="0">
                <a:pos x="connsiteX34784" y="connsiteY34784"/>
              </a:cxn>
              <a:cxn ang="0">
                <a:pos x="connsiteX34785" y="connsiteY34785"/>
              </a:cxn>
              <a:cxn ang="0">
                <a:pos x="connsiteX34786" y="connsiteY34786"/>
              </a:cxn>
              <a:cxn ang="0">
                <a:pos x="connsiteX34787" y="connsiteY34787"/>
              </a:cxn>
              <a:cxn ang="0">
                <a:pos x="connsiteX34788" y="connsiteY34788"/>
              </a:cxn>
              <a:cxn ang="0">
                <a:pos x="connsiteX34789" y="connsiteY34789"/>
              </a:cxn>
              <a:cxn ang="0">
                <a:pos x="connsiteX34790" y="connsiteY34790"/>
              </a:cxn>
              <a:cxn ang="0">
                <a:pos x="connsiteX34791" y="connsiteY34791"/>
              </a:cxn>
              <a:cxn ang="0">
                <a:pos x="connsiteX34792" y="connsiteY34792"/>
              </a:cxn>
              <a:cxn ang="0">
                <a:pos x="connsiteX34793" y="connsiteY34793"/>
              </a:cxn>
              <a:cxn ang="0">
                <a:pos x="connsiteX34794" y="connsiteY34794"/>
              </a:cxn>
              <a:cxn ang="0">
                <a:pos x="connsiteX34795" y="connsiteY34795"/>
              </a:cxn>
              <a:cxn ang="0">
                <a:pos x="connsiteX34796" y="connsiteY34796"/>
              </a:cxn>
              <a:cxn ang="0">
                <a:pos x="connsiteX34797" y="connsiteY34797"/>
              </a:cxn>
              <a:cxn ang="0">
                <a:pos x="connsiteX34798" y="connsiteY34798"/>
              </a:cxn>
              <a:cxn ang="0">
                <a:pos x="connsiteX34799" y="connsiteY34799"/>
              </a:cxn>
              <a:cxn ang="0">
                <a:pos x="connsiteX34800" y="connsiteY34800"/>
              </a:cxn>
              <a:cxn ang="0">
                <a:pos x="connsiteX34801" y="connsiteY34801"/>
              </a:cxn>
              <a:cxn ang="0">
                <a:pos x="connsiteX34802" y="connsiteY34802"/>
              </a:cxn>
              <a:cxn ang="0">
                <a:pos x="connsiteX34803" y="connsiteY34803"/>
              </a:cxn>
              <a:cxn ang="0">
                <a:pos x="connsiteX34804" y="connsiteY34804"/>
              </a:cxn>
              <a:cxn ang="0">
                <a:pos x="connsiteX34805" y="connsiteY34805"/>
              </a:cxn>
              <a:cxn ang="0">
                <a:pos x="connsiteX34806" y="connsiteY34806"/>
              </a:cxn>
              <a:cxn ang="0">
                <a:pos x="connsiteX34807" y="connsiteY34807"/>
              </a:cxn>
              <a:cxn ang="0">
                <a:pos x="connsiteX34808" y="connsiteY34808"/>
              </a:cxn>
              <a:cxn ang="0">
                <a:pos x="connsiteX34809" y="connsiteY34809"/>
              </a:cxn>
              <a:cxn ang="0">
                <a:pos x="connsiteX34810" y="connsiteY34810"/>
              </a:cxn>
              <a:cxn ang="0">
                <a:pos x="connsiteX34811" y="connsiteY34811"/>
              </a:cxn>
              <a:cxn ang="0">
                <a:pos x="connsiteX34812" y="connsiteY34812"/>
              </a:cxn>
              <a:cxn ang="0">
                <a:pos x="connsiteX34813" y="connsiteY34813"/>
              </a:cxn>
              <a:cxn ang="0">
                <a:pos x="connsiteX34814" y="connsiteY34814"/>
              </a:cxn>
              <a:cxn ang="0">
                <a:pos x="connsiteX34815" y="connsiteY34815"/>
              </a:cxn>
              <a:cxn ang="0">
                <a:pos x="connsiteX34816" y="connsiteY34816"/>
              </a:cxn>
              <a:cxn ang="0">
                <a:pos x="connsiteX34817" y="connsiteY34817"/>
              </a:cxn>
              <a:cxn ang="0">
                <a:pos x="connsiteX34818" y="connsiteY34818"/>
              </a:cxn>
              <a:cxn ang="0">
                <a:pos x="connsiteX34819" y="connsiteY34819"/>
              </a:cxn>
              <a:cxn ang="0">
                <a:pos x="connsiteX34820" y="connsiteY34820"/>
              </a:cxn>
              <a:cxn ang="0">
                <a:pos x="connsiteX34821" y="connsiteY34821"/>
              </a:cxn>
              <a:cxn ang="0">
                <a:pos x="connsiteX34822" y="connsiteY34822"/>
              </a:cxn>
              <a:cxn ang="0">
                <a:pos x="connsiteX34823" y="connsiteY34823"/>
              </a:cxn>
              <a:cxn ang="0">
                <a:pos x="connsiteX34824" y="connsiteY34824"/>
              </a:cxn>
              <a:cxn ang="0">
                <a:pos x="connsiteX34825" y="connsiteY34825"/>
              </a:cxn>
              <a:cxn ang="0">
                <a:pos x="connsiteX34826" y="connsiteY34826"/>
              </a:cxn>
              <a:cxn ang="0">
                <a:pos x="connsiteX34827" y="connsiteY34827"/>
              </a:cxn>
              <a:cxn ang="0">
                <a:pos x="connsiteX34828" y="connsiteY34828"/>
              </a:cxn>
              <a:cxn ang="0">
                <a:pos x="connsiteX34829" y="connsiteY34829"/>
              </a:cxn>
              <a:cxn ang="0">
                <a:pos x="connsiteX34830" y="connsiteY34830"/>
              </a:cxn>
              <a:cxn ang="0">
                <a:pos x="connsiteX34831" y="connsiteY34831"/>
              </a:cxn>
              <a:cxn ang="0">
                <a:pos x="connsiteX34832" y="connsiteY34832"/>
              </a:cxn>
              <a:cxn ang="0">
                <a:pos x="connsiteX34833" y="connsiteY34833"/>
              </a:cxn>
              <a:cxn ang="0">
                <a:pos x="connsiteX34834" y="connsiteY34834"/>
              </a:cxn>
              <a:cxn ang="0">
                <a:pos x="connsiteX34835" y="connsiteY34835"/>
              </a:cxn>
              <a:cxn ang="0">
                <a:pos x="connsiteX34836" y="connsiteY34836"/>
              </a:cxn>
              <a:cxn ang="0">
                <a:pos x="connsiteX34837" y="connsiteY34837"/>
              </a:cxn>
              <a:cxn ang="0">
                <a:pos x="connsiteX34838" y="connsiteY34838"/>
              </a:cxn>
              <a:cxn ang="0">
                <a:pos x="connsiteX34839" y="connsiteY34839"/>
              </a:cxn>
              <a:cxn ang="0">
                <a:pos x="connsiteX34840" y="connsiteY34840"/>
              </a:cxn>
              <a:cxn ang="0">
                <a:pos x="connsiteX34841" y="connsiteY34841"/>
              </a:cxn>
              <a:cxn ang="0">
                <a:pos x="connsiteX34842" y="connsiteY34842"/>
              </a:cxn>
              <a:cxn ang="0">
                <a:pos x="connsiteX34843" y="connsiteY34843"/>
              </a:cxn>
              <a:cxn ang="0">
                <a:pos x="connsiteX34844" y="connsiteY34844"/>
              </a:cxn>
              <a:cxn ang="0">
                <a:pos x="connsiteX34845" y="connsiteY34845"/>
              </a:cxn>
              <a:cxn ang="0">
                <a:pos x="connsiteX34846" y="connsiteY34846"/>
              </a:cxn>
              <a:cxn ang="0">
                <a:pos x="connsiteX34847" y="connsiteY34847"/>
              </a:cxn>
              <a:cxn ang="0">
                <a:pos x="connsiteX34848" y="connsiteY34848"/>
              </a:cxn>
              <a:cxn ang="0">
                <a:pos x="connsiteX34849" y="connsiteY34849"/>
              </a:cxn>
              <a:cxn ang="0">
                <a:pos x="connsiteX34850" y="connsiteY34850"/>
              </a:cxn>
              <a:cxn ang="0">
                <a:pos x="connsiteX34851" y="connsiteY34851"/>
              </a:cxn>
              <a:cxn ang="0">
                <a:pos x="connsiteX34852" y="connsiteY34852"/>
              </a:cxn>
              <a:cxn ang="0">
                <a:pos x="connsiteX34853" y="connsiteY34853"/>
              </a:cxn>
              <a:cxn ang="0">
                <a:pos x="connsiteX34854" y="connsiteY34854"/>
              </a:cxn>
              <a:cxn ang="0">
                <a:pos x="connsiteX34855" y="connsiteY34855"/>
              </a:cxn>
              <a:cxn ang="0">
                <a:pos x="connsiteX34856" y="connsiteY34856"/>
              </a:cxn>
              <a:cxn ang="0">
                <a:pos x="connsiteX34857" y="connsiteY34857"/>
              </a:cxn>
              <a:cxn ang="0">
                <a:pos x="connsiteX34858" y="connsiteY34858"/>
              </a:cxn>
              <a:cxn ang="0">
                <a:pos x="connsiteX34859" y="connsiteY34859"/>
              </a:cxn>
              <a:cxn ang="0">
                <a:pos x="connsiteX34860" y="connsiteY34860"/>
              </a:cxn>
              <a:cxn ang="0">
                <a:pos x="connsiteX34861" y="connsiteY34861"/>
              </a:cxn>
              <a:cxn ang="0">
                <a:pos x="connsiteX34862" y="connsiteY34862"/>
              </a:cxn>
              <a:cxn ang="0">
                <a:pos x="connsiteX34863" y="connsiteY34863"/>
              </a:cxn>
              <a:cxn ang="0">
                <a:pos x="connsiteX34864" y="connsiteY34864"/>
              </a:cxn>
              <a:cxn ang="0">
                <a:pos x="connsiteX34865" y="connsiteY34865"/>
              </a:cxn>
              <a:cxn ang="0">
                <a:pos x="connsiteX34866" y="connsiteY34866"/>
              </a:cxn>
              <a:cxn ang="0">
                <a:pos x="connsiteX34867" y="connsiteY34867"/>
              </a:cxn>
              <a:cxn ang="0">
                <a:pos x="connsiteX34868" y="connsiteY34868"/>
              </a:cxn>
              <a:cxn ang="0">
                <a:pos x="connsiteX34869" y="connsiteY34869"/>
              </a:cxn>
              <a:cxn ang="0">
                <a:pos x="connsiteX34870" y="connsiteY34870"/>
              </a:cxn>
              <a:cxn ang="0">
                <a:pos x="connsiteX34871" y="connsiteY34871"/>
              </a:cxn>
              <a:cxn ang="0">
                <a:pos x="connsiteX34872" y="connsiteY34872"/>
              </a:cxn>
              <a:cxn ang="0">
                <a:pos x="connsiteX34873" y="connsiteY34873"/>
              </a:cxn>
              <a:cxn ang="0">
                <a:pos x="connsiteX34874" y="connsiteY34874"/>
              </a:cxn>
              <a:cxn ang="0">
                <a:pos x="connsiteX34875" y="connsiteY34875"/>
              </a:cxn>
              <a:cxn ang="0">
                <a:pos x="connsiteX34876" y="connsiteY34876"/>
              </a:cxn>
              <a:cxn ang="0">
                <a:pos x="connsiteX34877" y="connsiteY34877"/>
              </a:cxn>
              <a:cxn ang="0">
                <a:pos x="connsiteX34878" y="connsiteY34878"/>
              </a:cxn>
              <a:cxn ang="0">
                <a:pos x="connsiteX34879" y="connsiteY34879"/>
              </a:cxn>
              <a:cxn ang="0">
                <a:pos x="connsiteX34880" y="connsiteY34880"/>
              </a:cxn>
              <a:cxn ang="0">
                <a:pos x="connsiteX34881" y="connsiteY34881"/>
              </a:cxn>
              <a:cxn ang="0">
                <a:pos x="connsiteX34882" y="connsiteY34882"/>
              </a:cxn>
              <a:cxn ang="0">
                <a:pos x="connsiteX34883" y="connsiteY34883"/>
              </a:cxn>
              <a:cxn ang="0">
                <a:pos x="connsiteX34884" y="connsiteY34884"/>
              </a:cxn>
              <a:cxn ang="0">
                <a:pos x="connsiteX34885" y="connsiteY34885"/>
              </a:cxn>
              <a:cxn ang="0">
                <a:pos x="connsiteX34886" y="connsiteY34886"/>
              </a:cxn>
              <a:cxn ang="0">
                <a:pos x="connsiteX34887" y="connsiteY34887"/>
              </a:cxn>
              <a:cxn ang="0">
                <a:pos x="connsiteX34888" y="connsiteY34888"/>
              </a:cxn>
              <a:cxn ang="0">
                <a:pos x="connsiteX34889" y="connsiteY34889"/>
              </a:cxn>
              <a:cxn ang="0">
                <a:pos x="connsiteX34890" y="connsiteY34890"/>
              </a:cxn>
              <a:cxn ang="0">
                <a:pos x="connsiteX34891" y="connsiteY34891"/>
              </a:cxn>
              <a:cxn ang="0">
                <a:pos x="connsiteX34892" y="connsiteY34892"/>
              </a:cxn>
              <a:cxn ang="0">
                <a:pos x="connsiteX34893" y="connsiteY34893"/>
              </a:cxn>
              <a:cxn ang="0">
                <a:pos x="connsiteX34894" y="connsiteY34894"/>
              </a:cxn>
              <a:cxn ang="0">
                <a:pos x="connsiteX34895" y="connsiteY34895"/>
              </a:cxn>
              <a:cxn ang="0">
                <a:pos x="connsiteX34896" y="connsiteY34896"/>
              </a:cxn>
              <a:cxn ang="0">
                <a:pos x="connsiteX34897" y="connsiteY34897"/>
              </a:cxn>
              <a:cxn ang="0">
                <a:pos x="connsiteX34898" y="connsiteY34898"/>
              </a:cxn>
              <a:cxn ang="0">
                <a:pos x="connsiteX34899" y="connsiteY34899"/>
              </a:cxn>
              <a:cxn ang="0">
                <a:pos x="connsiteX34900" y="connsiteY34900"/>
              </a:cxn>
              <a:cxn ang="0">
                <a:pos x="connsiteX34901" y="connsiteY34901"/>
              </a:cxn>
              <a:cxn ang="0">
                <a:pos x="connsiteX34902" y="connsiteY34902"/>
              </a:cxn>
              <a:cxn ang="0">
                <a:pos x="connsiteX34903" y="connsiteY34903"/>
              </a:cxn>
              <a:cxn ang="0">
                <a:pos x="connsiteX34904" y="connsiteY34904"/>
              </a:cxn>
              <a:cxn ang="0">
                <a:pos x="connsiteX34905" y="connsiteY34905"/>
              </a:cxn>
              <a:cxn ang="0">
                <a:pos x="connsiteX34906" y="connsiteY34906"/>
              </a:cxn>
              <a:cxn ang="0">
                <a:pos x="connsiteX34907" y="connsiteY34907"/>
              </a:cxn>
              <a:cxn ang="0">
                <a:pos x="connsiteX34908" y="connsiteY34908"/>
              </a:cxn>
              <a:cxn ang="0">
                <a:pos x="connsiteX34909" y="connsiteY34909"/>
              </a:cxn>
              <a:cxn ang="0">
                <a:pos x="connsiteX34910" y="connsiteY34910"/>
              </a:cxn>
              <a:cxn ang="0">
                <a:pos x="connsiteX34911" y="connsiteY34911"/>
              </a:cxn>
              <a:cxn ang="0">
                <a:pos x="connsiteX34912" y="connsiteY34912"/>
              </a:cxn>
              <a:cxn ang="0">
                <a:pos x="connsiteX34913" y="connsiteY34913"/>
              </a:cxn>
              <a:cxn ang="0">
                <a:pos x="connsiteX34914" y="connsiteY34914"/>
              </a:cxn>
              <a:cxn ang="0">
                <a:pos x="connsiteX34915" y="connsiteY34915"/>
              </a:cxn>
              <a:cxn ang="0">
                <a:pos x="connsiteX34916" y="connsiteY34916"/>
              </a:cxn>
              <a:cxn ang="0">
                <a:pos x="connsiteX34917" y="connsiteY34917"/>
              </a:cxn>
              <a:cxn ang="0">
                <a:pos x="connsiteX34918" y="connsiteY34918"/>
              </a:cxn>
              <a:cxn ang="0">
                <a:pos x="connsiteX34919" y="connsiteY34919"/>
              </a:cxn>
              <a:cxn ang="0">
                <a:pos x="connsiteX34920" y="connsiteY34920"/>
              </a:cxn>
              <a:cxn ang="0">
                <a:pos x="connsiteX34921" y="connsiteY34921"/>
              </a:cxn>
              <a:cxn ang="0">
                <a:pos x="connsiteX34922" y="connsiteY34922"/>
              </a:cxn>
              <a:cxn ang="0">
                <a:pos x="connsiteX34923" y="connsiteY34923"/>
              </a:cxn>
              <a:cxn ang="0">
                <a:pos x="connsiteX34924" y="connsiteY34924"/>
              </a:cxn>
              <a:cxn ang="0">
                <a:pos x="connsiteX34925" y="connsiteY34925"/>
              </a:cxn>
              <a:cxn ang="0">
                <a:pos x="connsiteX34926" y="connsiteY34926"/>
              </a:cxn>
              <a:cxn ang="0">
                <a:pos x="connsiteX34927" y="connsiteY34927"/>
              </a:cxn>
              <a:cxn ang="0">
                <a:pos x="connsiteX34928" y="connsiteY34928"/>
              </a:cxn>
              <a:cxn ang="0">
                <a:pos x="connsiteX34929" y="connsiteY34929"/>
              </a:cxn>
              <a:cxn ang="0">
                <a:pos x="connsiteX34930" y="connsiteY34930"/>
              </a:cxn>
              <a:cxn ang="0">
                <a:pos x="connsiteX34931" y="connsiteY34931"/>
              </a:cxn>
              <a:cxn ang="0">
                <a:pos x="connsiteX34932" y="connsiteY34932"/>
              </a:cxn>
              <a:cxn ang="0">
                <a:pos x="connsiteX34933" y="connsiteY34933"/>
              </a:cxn>
              <a:cxn ang="0">
                <a:pos x="connsiteX34934" y="connsiteY34934"/>
              </a:cxn>
              <a:cxn ang="0">
                <a:pos x="connsiteX34935" y="connsiteY34935"/>
              </a:cxn>
              <a:cxn ang="0">
                <a:pos x="connsiteX34936" y="connsiteY34936"/>
              </a:cxn>
              <a:cxn ang="0">
                <a:pos x="connsiteX34937" y="connsiteY34937"/>
              </a:cxn>
              <a:cxn ang="0">
                <a:pos x="connsiteX34938" y="connsiteY34938"/>
              </a:cxn>
              <a:cxn ang="0">
                <a:pos x="connsiteX34939" y="connsiteY34939"/>
              </a:cxn>
              <a:cxn ang="0">
                <a:pos x="connsiteX34940" y="connsiteY34940"/>
              </a:cxn>
              <a:cxn ang="0">
                <a:pos x="connsiteX34941" y="connsiteY34941"/>
              </a:cxn>
              <a:cxn ang="0">
                <a:pos x="connsiteX34942" y="connsiteY34942"/>
              </a:cxn>
              <a:cxn ang="0">
                <a:pos x="connsiteX34943" y="connsiteY34943"/>
              </a:cxn>
              <a:cxn ang="0">
                <a:pos x="connsiteX34944" y="connsiteY34944"/>
              </a:cxn>
              <a:cxn ang="0">
                <a:pos x="connsiteX34945" y="connsiteY34945"/>
              </a:cxn>
              <a:cxn ang="0">
                <a:pos x="connsiteX34946" y="connsiteY34946"/>
              </a:cxn>
              <a:cxn ang="0">
                <a:pos x="connsiteX34947" y="connsiteY34947"/>
              </a:cxn>
              <a:cxn ang="0">
                <a:pos x="connsiteX34948" y="connsiteY34948"/>
              </a:cxn>
              <a:cxn ang="0">
                <a:pos x="connsiteX34949" y="connsiteY34949"/>
              </a:cxn>
              <a:cxn ang="0">
                <a:pos x="connsiteX34950" y="connsiteY34950"/>
              </a:cxn>
              <a:cxn ang="0">
                <a:pos x="connsiteX34951" y="connsiteY34951"/>
              </a:cxn>
              <a:cxn ang="0">
                <a:pos x="connsiteX34952" y="connsiteY34952"/>
              </a:cxn>
              <a:cxn ang="0">
                <a:pos x="connsiteX34953" y="connsiteY34953"/>
              </a:cxn>
              <a:cxn ang="0">
                <a:pos x="connsiteX34954" y="connsiteY34954"/>
              </a:cxn>
              <a:cxn ang="0">
                <a:pos x="connsiteX34955" y="connsiteY34955"/>
              </a:cxn>
              <a:cxn ang="0">
                <a:pos x="connsiteX34956" y="connsiteY34956"/>
              </a:cxn>
              <a:cxn ang="0">
                <a:pos x="connsiteX34957" y="connsiteY34957"/>
              </a:cxn>
              <a:cxn ang="0">
                <a:pos x="connsiteX34958" y="connsiteY34958"/>
              </a:cxn>
              <a:cxn ang="0">
                <a:pos x="connsiteX34959" y="connsiteY34959"/>
              </a:cxn>
              <a:cxn ang="0">
                <a:pos x="connsiteX34960" y="connsiteY34960"/>
              </a:cxn>
              <a:cxn ang="0">
                <a:pos x="connsiteX34961" y="connsiteY34961"/>
              </a:cxn>
              <a:cxn ang="0">
                <a:pos x="connsiteX34962" y="connsiteY34962"/>
              </a:cxn>
              <a:cxn ang="0">
                <a:pos x="connsiteX34963" y="connsiteY34963"/>
              </a:cxn>
              <a:cxn ang="0">
                <a:pos x="connsiteX34964" y="connsiteY34964"/>
              </a:cxn>
              <a:cxn ang="0">
                <a:pos x="connsiteX34965" y="connsiteY34965"/>
              </a:cxn>
              <a:cxn ang="0">
                <a:pos x="connsiteX34966" y="connsiteY34966"/>
              </a:cxn>
              <a:cxn ang="0">
                <a:pos x="connsiteX34967" y="connsiteY34967"/>
              </a:cxn>
              <a:cxn ang="0">
                <a:pos x="connsiteX34968" y="connsiteY34968"/>
              </a:cxn>
              <a:cxn ang="0">
                <a:pos x="connsiteX34969" y="connsiteY34969"/>
              </a:cxn>
              <a:cxn ang="0">
                <a:pos x="connsiteX34970" y="connsiteY34970"/>
              </a:cxn>
              <a:cxn ang="0">
                <a:pos x="connsiteX34971" y="connsiteY34971"/>
              </a:cxn>
              <a:cxn ang="0">
                <a:pos x="connsiteX34972" y="connsiteY34972"/>
              </a:cxn>
              <a:cxn ang="0">
                <a:pos x="connsiteX34973" y="connsiteY34973"/>
              </a:cxn>
              <a:cxn ang="0">
                <a:pos x="connsiteX34974" y="connsiteY34974"/>
              </a:cxn>
              <a:cxn ang="0">
                <a:pos x="connsiteX34975" y="connsiteY34975"/>
              </a:cxn>
              <a:cxn ang="0">
                <a:pos x="connsiteX34976" y="connsiteY34976"/>
              </a:cxn>
              <a:cxn ang="0">
                <a:pos x="connsiteX34977" y="connsiteY34977"/>
              </a:cxn>
              <a:cxn ang="0">
                <a:pos x="connsiteX34978" y="connsiteY34978"/>
              </a:cxn>
              <a:cxn ang="0">
                <a:pos x="connsiteX34979" y="connsiteY34979"/>
              </a:cxn>
              <a:cxn ang="0">
                <a:pos x="connsiteX34980" y="connsiteY34980"/>
              </a:cxn>
              <a:cxn ang="0">
                <a:pos x="connsiteX34981" y="connsiteY34981"/>
              </a:cxn>
              <a:cxn ang="0">
                <a:pos x="connsiteX34982" y="connsiteY34982"/>
              </a:cxn>
              <a:cxn ang="0">
                <a:pos x="connsiteX34983" y="connsiteY34983"/>
              </a:cxn>
              <a:cxn ang="0">
                <a:pos x="connsiteX34984" y="connsiteY34984"/>
              </a:cxn>
              <a:cxn ang="0">
                <a:pos x="connsiteX34985" y="connsiteY34985"/>
              </a:cxn>
              <a:cxn ang="0">
                <a:pos x="connsiteX34986" y="connsiteY34986"/>
              </a:cxn>
              <a:cxn ang="0">
                <a:pos x="connsiteX34987" y="connsiteY34987"/>
              </a:cxn>
              <a:cxn ang="0">
                <a:pos x="connsiteX34988" y="connsiteY34988"/>
              </a:cxn>
              <a:cxn ang="0">
                <a:pos x="connsiteX34989" y="connsiteY34989"/>
              </a:cxn>
              <a:cxn ang="0">
                <a:pos x="connsiteX34990" y="connsiteY34990"/>
              </a:cxn>
              <a:cxn ang="0">
                <a:pos x="connsiteX34991" y="connsiteY34991"/>
              </a:cxn>
              <a:cxn ang="0">
                <a:pos x="connsiteX34992" y="connsiteY34992"/>
              </a:cxn>
              <a:cxn ang="0">
                <a:pos x="connsiteX34993" y="connsiteY34993"/>
              </a:cxn>
              <a:cxn ang="0">
                <a:pos x="connsiteX34994" y="connsiteY34994"/>
              </a:cxn>
              <a:cxn ang="0">
                <a:pos x="connsiteX34995" y="connsiteY34995"/>
              </a:cxn>
              <a:cxn ang="0">
                <a:pos x="connsiteX34996" y="connsiteY34996"/>
              </a:cxn>
              <a:cxn ang="0">
                <a:pos x="connsiteX34997" y="connsiteY34997"/>
              </a:cxn>
              <a:cxn ang="0">
                <a:pos x="connsiteX34998" y="connsiteY34998"/>
              </a:cxn>
              <a:cxn ang="0">
                <a:pos x="connsiteX34999" y="connsiteY34999"/>
              </a:cxn>
              <a:cxn ang="0">
                <a:pos x="connsiteX35000" y="connsiteY35000"/>
              </a:cxn>
              <a:cxn ang="0">
                <a:pos x="connsiteX35001" y="connsiteY35001"/>
              </a:cxn>
              <a:cxn ang="0">
                <a:pos x="connsiteX35002" y="connsiteY35002"/>
              </a:cxn>
              <a:cxn ang="0">
                <a:pos x="connsiteX35003" y="connsiteY35003"/>
              </a:cxn>
              <a:cxn ang="0">
                <a:pos x="connsiteX35004" y="connsiteY35004"/>
              </a:cxn>
              <a:cxn ang="0">
                <a:pos x="connsiteX35005" y="connsiteY35005"/>
              </a:cxn>
              <a:cxn ang="0">
                <a:pos x="connsiteX35006" y="connsiteY35006"/>
              </a:cxn>
              <a:cxn ang="0">
                <a:pos x="connsiteX35007" y="connsiteY35007"/>
              </a:cxn>
              <a:cxn ang="0">
                <a:pos x="connsiteX35008" y="connsiteY35008"/>
              </a:cxn>
              <a:cxn ang="0">
                <a:pos x="connsiteX35009" y="connsiteY35009"/>
              </a:cxn>
              <a:cxn ang="0">
                <a:pos x="connsiteX35010" y="connsiteY35010"/>
              </a:cxn>
              <a:cxn ang="0">
                <a:pos x="connsiteX35011" y="connsiteY35011"/>
              </a:cxn>
              <a:cxn ang="0">
                <a:pos x="connsiteX35012" y="connsiteY35012"/>
              </a:cxn>
              <a:cxn ang="0">
                <a:pos x="connsiteX35013" y="connsiteY35013"/>
              </a:cxn>
              <a:cxn ang="0">
                <a:pos x="connsiteX35014" y="connsiteY35014"/>
              </a:cxn>
              <a:cxn ang="0">
                <a:pos x="connsiteX35015" y="connsiteY35015"/>
              </a:cxn>
              <a:cxn ang="0">
                <a:pos x="connsiteX35016" y="connsiteY35016"/>
              </a:cxn>
              <a:cxn ang="0">
                <a:pos x="connsiteX35017" y="connsiteY35017"/>
              </a:cxn>
              <a:cxn ang="0">
                <a:pos x="connsiteX35018" y="connsiteY35018"/>
              </a:cxn>
              <a:cxn ang="0">
                <a:pos x="connsiteX35019" y="connsiteY35019"/>
              </a:cxn>
              <a:cxn ang="0">
                <a:pos x="connsiteX35020" y="connsiteY35020"/>
              </a:cxn>
              <a:cxn ang="0">
                <a:pos x="connsiteX35021" y="connsiteY35021"/>
              </a:cxn>
              <a:cxn ang="0">
                <a:pos x="connsiteX35022" y="connsiteY35022"/>
              </a:cxn>
              <a:cxn ang="0">
                <a:pos x="connsiteX35023" y="connsiteY35023"/>
              </a:cxn>
              <a:cxn ang="0">
                <a:pos x="connsiteX35024" y="connsiteY35024"/>
              </a:cxn>
              <a:cxn ang="0">
                <a:pos x="connsiteX35025" y="connsiteY35025"/>
              </a:cxn>
              <a:cxn ang="0">
                <a:pos x="connsiteX35026" y="connsiteY35026"/>
              </a:cxn>
              <a:cxn ang="0">
                <a:pos x="connsiteX35027" y="connsiteY35027"/>
              </a:cxn>
              <a:cxn ang="0">
                <a:pos x="connsiteX35028" y="connsiteY35028"/>
              </a:cxn>
              <a:cxn ang="0">
                <a:pos x="connsiteX35029" y="connsiteY35029"/>
              </a:cxn>
              <a:cxn ang="0">
                <a:pos x="connsiteX35030" y="connsiteY35030"/>
              </a:cxn>
              <a:cxn ang="0">
                <a:pos x="connsiteX35031" y="connsiteY35031"/>
              </a:cxn>
              <a:cxn ang="0">
                <a:pos x="connsiteX35032" y="connsiteY35032"/>
              </a:cxn>
              <a:cxn ang="0">
                <a:pos x="connsiteX35033" y="connsiteY35033"/>
              </a:cxn>
              <a:cxn ang="0">
                <a:pos x="connsiteX35034" y="connsiteY35034"/>
              </a:cxn>
              <a:cxn ang="0">
                <a:pos x="connsiteX35035" y="connsiteY35035"/>
              </a:cxn>
              <a:cxn ang="0">
                <a:pos x="connsiteX35036" y="connsiteY35036"/>
              </a:cxn>
              <a:cxn ang="0">
                <a:pos x="connsiteX35037" y="connsiteY35037"/>
              </a:cxn>
              <a:cxn ang="0">
                <a:pos x="connsiteX35038" y="connsiteY35038"/>
              </a:cxn>
              <a:cxn ang="0">
                <a:pos x="connsiteX35039" y="connsiteY35039"/>
              </a:cxn>
              <a:cxn ang="0">
                <a:pos x="connsiteX35040" y="connsiteY35040"/>
              </a:cxn>
              <a:cxn ang="0">
                <a:pos x="connsiteX35041" y="connsiteY35041"/>
              </a:cxn>
              <a:cxn ang="0">
                <a:pos x="connsiteX35042" y="connsiteY35042"/>
              </a:cxn>
              <a:cxn ang="0">
                <a:pos x="connsiteX35043" y="connsiteY35043"/>
              </a:cxn>
              <a:cxn ang="0">
                <a:pos x="connsiteX35044" y="connsiteY35044"/>
              </a:cxn>
              <a:cxn ang="0">
                <a:pos x="connsiteX35045" y="connsiteY35045"/>
              </a:cxn>
              <a:cxn ang="0">
                <a:pos x="connsiteX35046" y="connsiteY35046"/>
              </a:cxn>
              <a:cxn ang="0">
                <a:pos x="connsiteX35047" y="connsiteY35047"/>
              </a:cxn>
              <a:cxn ang="0">
                <a:pos x="connsiteX35048" y="connsiteY35048"/>
              </a:cxn>
              <a:cxn ang="0">
                <a:pos x="connsiteX35049" y="connsiteY35049"/>
              </a:cxn>
              <a:cxn ang="0">
                <a:pos x="connsiteX35050" y="connsiteY35050"/>
              </a:cxn>
              <a:cxn ang="0">
                <a:pos x="connsiteX35051" y="connsiteY35051"/>
              </a:cxn>
              <a:cxn ang="0">
                <a:pos x="connsiteX35052" y="connsiteY35052"/>
              </a:cxn>
              <a:cxn ang="0">
                <a:pos x="connsiteX35053" y="connsiteY35053"/>
              </a:cxn>
              <a:cxn ang="0">
                <a:pos x="connsiteX35054" y="connsiteY35054"/>
              </a:cxn>
              <a:cxn ang="0">
                <a:pos x="connsiteX35055" y="connsiteY35055"/>
              </a:cxn>
              <a:cxn ang="0">
                <a:pos x="connsiteX35056" y="connsiteY35056"/>
              </a:cxn>
              <a:cxn ang="0">
                <a:pos x="connsiteX35057" y="connsiteY35057"/>
              </a:cxn>
              <a:cxn ang="0">
                <a:pos x="connsiteX35058" y="connsiteY35058"/>
              </a:cxn>
              <a:cxn ang="0">
                <a:pos x="connsiteX35059" y="connsiteY35059"/>
              </a:cxn>
              <a:cxn ang="0">
                <a:pos x="connsiteX35060" y="connsiteY35060"/>
              </a:cxn>
              <a:cxn ang="0">
                <a:pos x="connsiteX35061" y="connsiteY35061"/>
              </a:cxn>
              <a:cxn ang="0">
                <a:pos x="connsiteX35062" y="connsiteY35062"/>
              </a:cxn>
              <a:cxn ang="0">
                <a:pos x="connsiteX35063" y="connsiteY35063"/>
              </a:cxn>
              <a:cxn ang="0">
                <a:pos x="connsiteX35064" y="connsiteY35064"/>
              </a:cxn>
              <a:cxn ang="0">
                <a:pos x="connsiteX35065" y="connsiteY35065"/>
              </a:cxn>
              <a:cxn ang="0">
                <a:pos x="connsiteX35066" y="connsiteY35066"/>
              </a:cxn>
              <a:cxn ang="0">
                <a:pos x="connsiteX35067" y="connsiteY35067"/>
              </a:cxn>
              <a:cxn ang="0">
                <a:pos x="connsiteX35068" y="connsiteY35068"/>
              </a:cxn>
              <a:cxn ang="0">
                <a:pos x="connsiteX35069" y="connsiteY35069"/>
              </a:cxn>
              <a:cxn ang="0">
                <a:pos x="connsiteX35070" y="connsiteY35070"/>
              </a:cxn>
              <a:cxn ang="0">
                <a:pos x="connsiteX35071" y="connsiteY35071"/>
              </a:cxn>
              <a:cxn ang="0">
                <a:pos x="connsiteX35072" y="connsiteY35072"/>
              </a:cxn>
              <a:cxn ang="0">
                <a:pos x="connsiteX35073" y="connsiteY35073"/>
              </a:cxn>
              <a:cxn ang="0">
                <a:pos x="connsiteX35074" y="connsiteY35074"/>
              </a:cxn>
              <a:cxn ang="0">
                <a:pos x="connsiteX35075" y="connsiteY35075"/>
              </a:cxn>
              <a:cxn ang="0">
                <a:pos x="connsiteX35076" y="connsiteY35076"/>
              </a:cxn>
              <a:cxn ang="0">
                <a:pos x="connsiteX35077" y="connsiteY35077"/>
              </a:cxn>
              <a:cxn ang="0">
                <a:pos x="connsiteX35078" y="connsiteY35078"/>
              </a:cxn>
              <a:cxn ang="0">
                <a:pos x="connsiteX35079" y="connsiteY35079"/>
              </a:cxn>
              <a:cxn ang="0">
                <a:pos x="connsiteX35080" y="connsiteY35080"/>
              </a:cxn>
              <a:cxn ang="0">
                <a:pos x="connsiteX35081" y="connsiteY35081"/>
              </a:cxn>
              <a:cxn ang="0">
                <a:pos x="connsiteX35082" y="connsiteY35082"/>
              </a:cxn>
              <a:cxn ang="0">
                <a:pos x="connsiteX35083" y="connsiteY35083"/>
              </a:cxn>
              <a:cxn ang="0">
                <a:pos x="connsiteX35084" y="connsiteY35084"/>
              </a:cxn>
              <a:cxn ang="0">
                <a:pos x="connsiteX35085" y="connsiteY35085"/>
              </a:cxn>
              <a:cxn ang="0">
                <a:pos x="connsiteX35086" y="connsiteY35086"/>
              </a:cxn>
              <a:cxn ang="0">
                <a:pos x="connsiteX35087" y="connsiteY35087"/>
              </a:cxn>
              <a:cxn ang="0">
                <a:pos x="connsiteX35088" y="connsiteY35088"/>
              </a:cxn>
              <a:cxn ang="0">
                <a:pos x="connsiteX35089" y="connsiteY35089"/>
              </a:cxn>
              <a:cxn ang="0">
                <a:pos x="connsiteX35090" y="connsiteY35090"/>
              </a:cxn>
              <a:cxn ang="0">
                <a:pos x="connsiteX35091" y="connsiteY35091"/>
              </a:cxn>
              <a:cxn ang="0">
                <a:pos x="connsiteX35092" y="connsiteY35092"/>
              </a:cxn>
              <a:cxn ang="0">
                <a:pos x="connsiteX35093" y="connsiteY35093"/>
              </a:cxn>
              <a:cxn ang="0">
                <a:pos x="connsiteX35094" y="connsiteY35094"/>
              </a:cxn>
              <a:cxn ang="0">
                <a:pos x="connsiteX35095" y="connsiteY35095"/>
              </a:cxn>
              <a:cxn ang="0">
                <a:pos x="connsiteX35096" y="connsiteY35096"/>
              </a:cxn>
              <a:cxn ang="0">
                <a:pos x="connsiteX35097" y="connsiteY35097"/>
              </a:cxn>
              <a:cxn ang="0">
                <a:pos x="connsiteX35098" y="connsiteY35098"/>
              </a:cxn>
              <a:cxn ang="0">
                <a:pos x="connsiteX35099" y="connsiteY35099"/>
              </a:cxn>
              <a:cxn ang="0">
                <a:pos x="connsiteX35100" y="connsiteY35100"/>
              </a:cxn>
              <a:cxn ang="0">
                <a:pos x="connsiteX35101" y="connsiteY35101"/>
              </a:cxn>
              <a:cxn ang="0">
                <a:pos x="connsiteX35102" y="connsiteY35102"/>
              </a:cxn>
              <a:cxn ang="0">
                <a:pos x="connsiteX35103" y="connsiteY35103"/>
              </a:cxn>
              <a:cxn ang="0">
                <a:pos x="connsiteX35104" y="connsiteY35104"/>
              </a:cxn>
              <a:cxn ang="0">
                <a:pos x="connsiteX35105" y="connsiteY35105"/>
              </a:cxn>
              <a:cxn ang="0">
                <a:pos x="connsiteX35106" y="connsiteY35106"/>
              </a:cxn>
              <a:cxn ang="0">
                <a:pos x="connsiteX35107" y="connsiteY35107"/>
              </a:cxn>
              <a:cxn ang="0">
                <a:pos x="connsiteX35108" y="connsiteY35108"/>
              </a:cxn>
              <a:cxn ang="0">
                <a:pos x="connsiteX35109" y="connsiteY35109"/>
              </a:cxn>
              <a:cxn ang="0">
                <a:pos x="connsiteX35110" y="connsiteY35110"/>
              </a:cxn>
              <a:cxn ang="0">
                <a:pos x="connsiteX35111" y="connsiteY35111"/>
              </a:cxn>
              <a:cxn ang="0">
                <a:pos x="connsiteX35112" y="connsiteY35112"/>
              </a:cxn>
              <a:cxn ang="0">
                <a:pos x="connsiteX35113" y="connsiteY35113"/>
              </a:cxn>
              <a:cxn ang="0">
                <a:pos x="connsiteX35114" y="connsiteY35114"/>
              </a:cxn>
              <a:cxn ang="0">
                <a:pos x="connsiteX35115" y="connsiteY35115"/>
              </a:cxn>
              <a:cxn ang="0">
                <a:pos x="connsiteX35116" y="connsiteY35116"/>
              </a:cxn>
              <a:cxn ang="0">
                <a:pos x="connsiteX35117" y="connsiteY35117"/>
              </a:cxn>
              <a:cxn ang="0">
                <a:pos x="connsiteX35118" y="connsiteY35118"/>
              </a:cxn>
              <a:cxn ang="0">
                <a:pos x="connsiteX35119" y="connsiteY35119"/>
              </a:cxn>
              <a:cxn ang="0">
                <a:pos x="connsiteX35120" y="connsiteY35120"/>
              </a:cxn>
              <a:cxn ang="0">
                <a:pos x="connsiteX35121" y="connsiteY35121"/>
              </a:cxn>
              <a:cxn ang="0">
                <a:pos x="connsiteX35122" y="connsiteY35122"/>
              </a:cxn>
              <a:cxn ang="0">
                <a:pos x="connsiteX35123" y="connsiteY35123"/>
              </a:cxn>
              <a:cxn ang="0">
                <a:pos x="connsiteX35124" y="connsiteY35124"/>
              </a:cxn>
              <a:cxn ang="0">
                <a:pos x="connsiteX35125" y="connsiteY35125"/>
              </a:cxn>
              <a:cxn ang="0">
                <a:pos x="connsiteX35126" y="connsiteY35126"/>
              </a:cxn>
              <a:cxn ang="0">
                <a:pos x="connsiteX35127" y="connsiteY35127"/>
              </a:cxn>
              <a:cxn ang="0">
                <a:pos x="connsiteX35128" y="connsiteY35128"/>
              </a:cxn>
              <a:cxn ang="0">
                <a:pos x="connsiteX35129" y="connsiteY35129"/>
              </a:cxn>
              <a:cxn ang="0">
                <a:pos x="connsiteX35130" y="connsiteY35130"/>
              </a:cxn>
              <a:cxn ang="0">
                <a:pos x="connsiteX35131" y="connsiteY35131"/>
              </a:cxn>
              <a:cxn ang="0">
                <a:pos x="connsiteX35132" y="connsiteY35132"/>
              </a:cxn>
              <a:cxn ang="0">
                <a:pos x="connsiteX35133" y="connsiteY35133"/>
              </a:cxn>
              <a:cxn ang="0">
                <a:pos x="connsiteX35134" y="connsiteY35134"/>
              </a:cxn>
              <a:cxn ang="0">
                <a:pos x="connsiteX35135" y="connsiteY35135"/>
              </a:cxn>
              <a:cxn ang="0">
                <a:pos x="connsiteX35136" y="connsiteY35136"/>
              </a:cxn>
              <a:cxn ang="0">
                <a:pos x="connsiteX35137" y="connsiteY35137"/>
              </a:cxn>
              <a:cxn ang="0">
                <a:pos x="connsiteX35138" y="connsiteY35138"/>
              </a:cxn>
              <a:cxn ang="0">
                <a:pos x="connsiteX35139" y="connsiteY35139"/>
              </a:cxn>
              <a:cxn ang="0">
                <a:pos x="connsiteX35140" y="connsiteY35140"/>
              </a:cxn>
              <a:cxn ang="0">
                <a:pos x="connsiteX35141" y="connsiteY35141"/>
              </a:cxn>
              <a:cxn ang="0">
                <a:pos x="connsiteX35142" y="connsiteY35142"/>
              </a:cxn>
              <a:cxn ang="0">
                <a:pos x="connsiteX35143" y="connsiteY35143"/>
              </a:cxn>
              <a:cxn ang="0">
                <a:pos x="connsiteX35144" y="connsiteY35144"/>
              </a:cxn>
              <a:cxn ang="0">
                <a:pos x="connsiteX35145" y="connsiteY35145"/>
              </a:cxn>
              <a:cxn ang="0">
                <a:pos x="connsiteX35146" y="connsiteY35146"/>
              </a:cxn>
              <a:cxn ang="0">
                <a:pos x="connsiteX35147" y="connsiteY35147"/>
              </a:cxn>
              <a:cxn ang="0">
                <a:pos x="connsiteX35148" y="connsiteY35148"/>
              </a:cxn>
              <a:cxn ang="0">
                <a:pos x="connsiteX35149" y="connsiteY35149"/>
              </a:cxn>
              <a:cxn ang="0">
                <a:pos x="connsiteX35150" y="connsiteY35150"/>
              </a:cxn>
              <a:cxn ang="0">
                <a:pos x="connsiteX35151" y="connsiteY35151"/>
              </a:cxn>
              <a:cxn ang="0">
                <a:pos x="connsiteX35152" y="connsiteY35152"/>
              </a:cxn>
              <a:cxn ang="0">
                <a:pos x="connsiteX35153" y="connsiteY35153"/>
              </a:cxn>
              <a:cxn ang="0">
                <a:pos x="connsiteX35154" y="connsiteY35154"/>
              </a:cxn>
              <a:cxn ang="0">
                <a:pos x="connsiteX35155" y="connsiteY35155"/>
              </a:cxn>
              <a:cxn ang="0">
                <a:pos x="connsiteX35156" y="connsiteY35156"/>
              </a:cxn>
              <a:cxn ang="0">
                <a:pos x="connsiteX35157" y="connsiteY35157"/>
              </a:cxn>
              <a:cxn ang="0">
                <a:pos x="connsiteX35158" y="connsiteY35158"/>
              </a:cxn>
              <a:cxn ang="0">
                <a:pos x="connsiteX35159" y="connsiteY35159"/>
              </a:cxn>
              <a:cxn ang="0">
                <a:pos x="connsiteX35160" y="connsiteY35160"/>
              </a:cxn>
              <a:cxn ang="0">
                <a:pos x="connsiteX35161" y="connsiteY35161"/>
              </a:cxn>
              <a:cxn ang="0">
                <a:pos x="connsiteX35162" y="connsiteY35162"/>
              </a:cxn>
              <a:cxn ang="0">
                <a:pos x="connsiteX35163" y="connsiteY35163"/>
              </a:cxn>
              <a:cxn ang="0">
                <a:pos x="connsiteX35164" y="connsiteY35164"/>
              </a:cxn>
              <a:cxn ang="0">
                <a:pos x="connsiteX35165" y="connsiteY35165"/>
              </a:cxn>
              <a:cxn ang="0">
                <a:pos x="connsiteX35166" y="connsiteY35166"/>
              </a:cxn>
              <a:cxn ang="0">
                <a:pos x="connsiteX35167" y="connsiteY35167"/>
              </a:cxn>
              <a:cxn ang="0">
                <a:pos x="connsiteX35168" y="connsiteY35168"/>
              </a:cxn>
              <a:cxn ang="0">
                <a:pos x="connsiteX35169" y="connsiteY35169"/>
              </a:cxn>
              <a:cxn ang="0">
                <a:pos x="connsiteX35170" y="connsiteY35170"/>
              </a:cxn>
              <a:cxn ang="0">
                <a:pos x="connsiteX35171" y="connsiteY35171"/>
              </a:cxn>
              <a:cxn ang="0">
                <a:pos x="connsiteX35172" y="connsiteY35172"/>
              </a:cxn>
              <a:cxn ang="0">
                <a:pos x="connsiteX35173" y="connsiteY35173"/>
              </a:cxn>
              <a:cxn ang="0">
                <a:pos x="connsiteX35174" y="connsiteY35174"/>
              </a:cxn>
              <a:cxn ang="0">
                <a:pos x="connsiteX35175" y="connsiteY35175"/>
              </a:cxn>
              <a:cxn ang="0">
                <a:pos x="connsiteX35176" y="connsiteY35176"/>
              </a:cxn>
              <a:cxn ang="0">
                <a:pos x="connsiteX35177" y="connsiteY35177"/>
              </a:cxn>
              <a:cxn ang="0">
                <a:pos x="connsiteX35178" y="connsiteY35178"/>
              </a:cxn>
              <a:cxn ang="0">
                <a:pos x="connsiteX35179" y="connsiteY35179"/>
              </a:cxn>
              <a:cxn ang="0">
                <a:pos x="connsiteX35180" y="connsiteY35180"/>
              </a:cxn>
              <a:cxn ang="0">
                <a:pos x="connsiteX35181" y="connsiteY35181"/>
              </a:cxn>
              <a:cxn ang="0">
                <a:pos x="connsiteX35182" y="connsiteY35182"/>
              </a:cxn>
              <a:cxn ang="0">
                <a:pos x="connsiteX35183" y="connsiteY35183"/>
              </a:cxn>
              <a:cxn ang="0">
                <a:pos x="connsiteX35184" y="connsiteY35184"/>
              </a:cxn>
              <a:cxn ang="0">
                <a:pos x="connsiteX35185" y="connsiteY35185"/>
              </a:cxn>
              <a:cxn ang="0">
                <a:pos x="connsiteX35186" y="connsiteY35186"/>
              </a:cxn>
              <a:cxn ang="0">
                <a:pos x="connsiteX35187" y="connsiteY35187"/>
              </a:cxn>
              <a:cxn ang="0">
                <a:pos x="connsiteX35188" y="connsiteY35188"/>
              </a:cxn>
              <a:cxn ang="0">
                <a:pos x="connsiteX35189" y="connsiteY35189"/>
              </a:cxn>
              <a:cxn ang="0">
                <a:pos x="connsiteX35190" y="connsiteY35190"/>
              </a:cxn>
              <a:cxn ang="0">
                <a:pos x="connsiteX35191" y="connsiteY35191"/>
              </a:cxn>
              <a:cxn ang="0">
                <a:pos x="connsiteX35192" y="connsiteY35192"/>
              </a:cxn>
              <a:cxn ang="0">
                <a:pos x="connsiteX35193" y="connsiteY35193"/>
              </a:cxn>
              <a:cxn ang="0">
                <a:pos x="connsiteX35194" y="connsiteY35194"/>
              </a:cxn>
              <a:cxn ang="0">
                <a:pos x="connsiteX35195" y="connsiteY35195"/>
              </a:cxn>
              <a:cxn ang="0">
                <a:pos x="connsiteX35196" y="connsiteY35196"/>
              </a:cxn>
              <a:cxn ang="0">
                <a:pos x="connsiteX35197" y="connsiteY35197"/>
              </a:cxn>
              <a:cxn ang="0">
                <a:pos x="connsiteX35198" y="connsiteY35198"/>
              </a:cxn>
              <a:cxn ang="0">
                <a:pos x="connsiteX35199" y="connsiteY35199"/>
              </a:cxn>
              <a:cxn ang="0">
                <a:pos x="connsiteX35200" y="connsiteY35200"/>
              </a:cxn>
              <a:cxn ang="0">
                <a:pos x="connsiteX35201" y="connsiteY35201"/>
              </a:cxn>
              <a:cxn ang="0">
                <a:pos x="connsiteX35202" y="connsiteY35202"/>
              </a:cxn>
              <a:cxn ang="0">
                <a:pos x="connsiteX35203" y="connsiteY35203"/>
              </a:cxn>
              <a:cxn ang="0">
                <a:pos x="connsiteX35204" y="connsiteY35204"/>
              </a:cxn>
              <a:cxn ang="0">
                <a:pos x="connsiteX35205" y="connsiteY35205"/>
              </a:cxn>
              <a:cxn ang="0">
                <a:pos x="connsiteX35206" y="connsiteY35206"/>
              </a:cxn>
              <a:cxn ang="0">
                <a:pos x="connsiteX35207" y="connsiteY35207"/>
              </a:cxn>
              <a:cxn ang="0">
                <a:pos x="connsiteX35208" y="connsiteY35208"/>
              </a:cxn>
              <a:cxn ang="0">
                <a:pos x="connsiteX35209" y="connsiteY35209"/>
              </a:cxn>
              <a:cxn ang="0">
                <a:pos x="connsiteX35210" y="connsiteY35210"/>
              </a:cxn>
              <a:cxn ang="0">
                <a:pos x="connsiteX35211" y="connsiteY35211"/>
              </a:cxn>
              <a:cxn ang="0">
                <a:pos x="connsiteX35212" y="connsiteY35212"/>
              </a:cxn>
              <a:cxn ang="0">
                <a:pos x="connsiteX35213" y="connsiteY35213"/>
              </a:cxn>
              <a:cxn ang="0">
                <a:pos x="connsiteX35214" y="connsiteY35214"/>
              </a:cxn>
              <a:cxn ang="0">
                <a:pos x="connsiteX35215" y="connsiteY35215"/>
              </a:cxn>
              <a:cxn ang="0">
                <a:pos x="connsiteX35216" y="connsiteY35216"/>
              </a:cxn>
              <a:cxn ang="0">
                <a:pos x="connsiteX35217" y="connsiteY35217"/>
              </a:cxn>
              <a:cxn ang="0">
                <a:pos x="connsiteX35218" y="connsiteY35218"/>
              </a:cxn>
              <a:cxn ang="0">
                <a:pos x="connsiteX35219" y="connsiteY35219"/>
              </a:cxn>
              <a:cxn ang="0">
                <a:pos x="connsiteX35220" y="connsiteY35220"/>
              </a:cxn>
              <a:cxn ang="0">
                <a:pos x="connsiteX35221" y="connsiteY35221"/>
              </a:cxn>
              <a:cxn ang="0">
                <a:pos x="connsiteX35222" y="connsiteY35222"/>
              </a:cxn>
              <a:cxn ang="0">
                <a:pos x="connsiteX35223" y="connsiteY35223"/>
              </a:cxn>
              <a:cxn ang="0">
                <a:pos x="connsiteX35224" y="connsiteY35224"/>
              </a:cxn>
              <a:cxn ang="0">
                <a:pos x="connsiteX35225" y="connsiteY35225"/>
              </a:cxn>
              <a:cxn ang="0">
                <a:pos x="connsiteX35226" y="connsiteY35226"/>
              </a:cxn>
              <a:cxn ang="0">
                <a:pos x="connsiteX35227" y="connsiteY35227"/>
              </a:cxn>
              <a:cxn ang="0">
                <a:pos x="connsiteX35228" y="connsiteY35228"/>
              </a:cxn>
              <a:cxn ang="0">
                <a:pos x="connsiteX35229" y="connsiteY35229"/>
              </a:cxn>
              <a:cxn ang="0">
                <a:pos x="connsiteX35230" y="connsiteY35230"/>
              </a:cxn>
              <a:cxn ang="0">
                <a:pos x="connsiteX35231" y="connsiteY35231"/>
              </a:cxn>
              <a:cxn ang="0">
                <a:pos x="connsiteX35232" y="connsiteY35232"/>
              </a:cxn>
              <a:cxn ang="0">
                <a:pos x="connsiteX35233" y="connsiteY35233"/>
              </a:cxn>
              <a:cxn ang="0">
                <a:pos x="connsiteX35234" y="connsiteY35234"/>
              </a:cxn>
              <a:cxn ang="0">
                <a:pos x="connsiteX35235" y="connsiteY35235"/>
              </a:cxn>
              <a:cxn ang="0">
                <a:pos x="connsiteX35236" y="connsiteY35236"/>
              </a:cxn>
              <a:cxn ang="0">
                <a:pos x="connsiteX35237" y="connsiteY35237"/>
              </a:cxn>
              <a:cxn ang="0">
                <a:pos x="connsiteX35238" y="connsiteY35238"/>
              </a:cxn>
              <a:cxn ang="0">
                <a:pos x="connsiteX35239" y="connsiteY35239"/>
              </a:cxn>
              <a:cxn ang="0">
                <a:pos x="connsiteX35240" y="connsiteY35240"/>
              </a:cxn>
              <a:cxn ang="0">
                <a:pos x="connsiteX35241" y="connsiteY35241"/>
              </a:cxn>
              <a:cxn ang="0">
                <a:pos x="connsiteX35242" y="connsiteY35242"/>
              </a:cxn>
              <a:cxn ang="0">
                <a:pos x="connsiteX35243" y="connsiteY35243"/>
              </a:cxn>
              <a:cxn ang="0">
                <a:pos x="connsiteX35244" y="connsiteY35244"/>
              </a:cxn>
              <a:cxn ang="0">
                <a:pos x="connsiteX35245" y="connsiteY35245"/>
              </a:cxn>
              <a:cxn ang="0">
                <a:pos x="connsiteX35246" y="connsiteY35246"/>
              </a:cxn>
              <a:cxn ang="0">
                <a:pos x="connsiteX35247" y="connsiteY35247"/>
              </a:cxn>
              <a:cxn ang="0">
                <a:pos x="connsiteX35248" y="connsiteY35248"/>
              </a:cxn>
              <a:cxn ang="0">
                <a:pos x="connsiteX35249" y="connsiteY35249"/>
              </a:cxn>
              <a:cxn ang="0">
                <a:pos x="connsiteX35250" y="connsiteY35250"/>
              </a:cxn>
              <a:cxn ang="0">
                <a:pos x="connsiteX35251" y="connsiteY35251"/>
              </a:cxn>
              <a:cxn ang="0">
                <a:pos x="connsiteX35252" y="connsiteY35252"/>
              </a:cxn>
              <a:cxn ang="0">
                <a:pos x="connsiteX35253" y="connsiteY35253"/>
              </a:cxn>
              <a:cxn ang="0">
                <a:pos x="connsiteX35254" y="connsiteY35254"/>
              </a:cxn>
              <a:cxn ang="0">
                <a:pos x="connsiteX35255" y="connsiteY35255"/>
              </a:cxn>
              <a:cxn ang="0">
                <a:pos x="connsiteX35256" y="connsiteY35256"/>
              </a:cxn>
              <a:cxn ang="0">
                <a:pos x="connsiteX35257" y="connsiteY35257"/>
              </a:cxn>
              <a:cxn ang="0">
                <a:pos x="connsiteX35258" y="connsiteY35258"/>
              </a:cxn>
              <a:cxn ang="0">
                <a:pos x="connsiteX35259" y="connsiteY35259"/>
              </a:cxn>
              <a:cxn ang="0">
                <a:pos x="connsiteX35260" y="connsiteY35260"/>
              </a:cxn>
              <a:cxn ang="0">
                <a:pos x="connsiteX35261" y="connsiteY35261"/>
              </a:cxn>
              <a:cxn ang="0">
                <a:pos x="connsiteX35262" y="connsiteY35262"/>
              </a:cxn>
              <a:cxn ang="0">
                <a:pos x="connsiteX35263" y="connsiteY35263"/>
              </a:cxn>
              <a:cxn ang="0">
                <a:pos x="connsiteX35264" y="connsiteY35264"/>
              </a:cxn>
              <a:cxn ang="0">
                <a:pos x="connsiteX35265" y="connsiteY35265"/>
              </a:cxn>
              <a:cxn ang="0">
                <a:pos x="connsiteX35266" y="connsiteY35266"/>
              </a:cxn>
              <a:cxn ang="0">
                <a:pos x="connsiteX35267" y="connsiteY35267"/>
              </a:cxn>
              <a:cxn ang="0">
                <a:pos x="connsiteX35268" y="connsiteY35268"/>
              </a:cxn>
              <a:cxn ang="0">
                <a:pos x="connsiteX35269" y="connsiteY35269"/>
              </a:cxn>
              <a:cxn ang="0">
                <a:pos x="connsiteX35270" y="connsiteY35270"/>
              </a:cxn>
              <a:cxn ang="0">
                <a:pos x="connsiteX35271" y="connsiteY35271"/>
              </a:cxn>
              <a:cxn ang="0">
                <a:pos x="connsiteX35272" y="connsiteY35272"/>
              </a:cxn>
              <a:cxn ang="0">
                <a:pos x="connsiteX35273" y="connsiteY35273"/>
              </a:cxn>
              <a:cxn ang="0">
                <a:pos x="connsiteX35274" y="connsiteY35274"/>
              </a:cxn>
              <a:cxn ang="0">
                <a:pos x="connsiteX35275" y="connsiteY35275"/>
              </a:cxn>
              <a:cxn ang="0">
                <a:pos x="connsiteX35276" y="connsiteY35276"/>
              </a:cxn>
              <a:cxn ang="0">
                <a:pos x="connsiteX35277" y="connsiteY35277"/>
              </a:cxn>
              <a:cxn ang="0">
                <a:pos x="connsiteX35278" y="connsiteY35278"/>
              </a:cxn>
              <a:cxn ang="0">
                <a:pos x="connsiteX35279" y="connsiteY35279"/>
              </a:cxn>
              <a:cxn ang="0">
                <a:pos x="connsiteX35280" y="connsiteY35280"/>
              </a:cxn>
              <a:cxn ang="0">
                <a:pos x="connsiteX35281" y="connsiteY35281"/>
              </a:cxn>
              <a:cxn ang="0">
                <a:pos x="connsiteX35282" y="connsiteY35282"/>
              </a:cxn>
              <a:cxn ang="0">
                <a:pos x="connsiteX35283" y="connsiteY35283"/>
              </a:cxn>
              <a:cxn ang="0">
                <a:pos x="connsiteX35284" y="connsiteY35284"/>
              </a:cxn>
              <a:cxn ang="0">
                <a:pos x="connsiteX35285" y="connsiteY35285"/>
              </a:cxn>
              <a:cxn ang="0">
                <a:pos x="connsiteX35286" y="connsiteY35286"/>
              </a:cxn>
              <a:cxn ang="0">
                <a:pos x="connsiteX35287" y="connsiteY35287"/>
              </a:cxn>
              <a:cxn ang="0">
                <a:pos x="connsiteX35288" y="connsiteY35288"/>
              </a:cxn>
              <a:cxn ang="0">
                <a:pos x="connsiteX35289" y="connsiteY35289"/>
              </a:cxn>
              <a:cxn ang="0">
                <a:pos x="connsiteX35290" y="connsiteY35290"/>
              </a:cxn>
              <a:cxn ang="0">
                <a:pos x="connsiteX35291" y="connsiteY35291"/>
              </a:cxn>
              <a:cxn ang="0">
                <a:pos x="connsiteX35292" y="connsiteY35292"/>
              </a:cxn>
              <a:cxn ang="0">
                <a:pos x="connsiteX35293" y="connsiteY35293"/>
              </a:cxn>
              <a:cxn ang="0">
                <a:pos x="connsiteX35294" y="connsiteY35294"/>
              </a:cxn>
              <a:cxn ang="0">
                <a:pos x="connsiteX35295" y="connsiteY35295"/>
              </a:cxn>
              <a:cxn ang="0">
                <a:pos x="connsiteX35296" y="connsiteY35296"/>
              </a:cxn>
              <a:cxn ang="0">
                <a:pos x="connsiteX35297" y="connsiteY35297"/>
              </a:cxn>
              <a:cxn ang="0">
                <a:pos x="connsiteX35298" y="connsiteY35298"/>
              </a:cxn>
              <a:cxn ang="0">
                <a:pos x="connsiteX35299" y="connsiteY35299"/>
              </a:cxn>
              <a:cxn ang="0">
                <a:pos x="connsiteX35300" y="connsiteY35300"/>
              </a:cxn>
              <a:cxn ang="0">
                <a:pos x="connsiteX35301" y="connsiteY35301"/>
              </a:cxn>
              <a:cxn ang="0">
                <a:pos x="connsiteX35302" y="connsiteY35302"/>
              </a:cxn>
              <a:cxn ang="0">
                <a:pos x="connsiteX35303" y="connsiteY35303"/>
              </a:cxn>
              <a:cxn ang="0">
                <a:pos x="connsiteX35304" y="connsiteY35304"/>
              </a:cxn>
              <a:cxn ang="0">
                <a:pos x="connsiteX35305" y="connsiteY35305"/>
              </a:cxn>
              <a:cxn ang="0">
                <a:pos x="connsiteX35306" y="connsiteY35306"/>
              </a:cxn>
              <a:cxn ang="0">
                <a:pos x="connsiteX35307" y="connsiteY35307"/>
              </a:cxn>
              <a:cxn ang="0">
                <a:pos x="connsiteX35308" y="connsiteY35308"/>
              </a:cxn>
              <a:cxn ang="0">
                <a:pos x="connsiteX35309" y="connsiteY35309"/>
              </a:cxn>
              <a:cxn ang="0">
                <a:pos x="connsiteX35310" y="connsiteY35310"/>
              </a:cxn>
              <a:cxn ang="0">
                <a:pos x="connsiteX35311" y="connsiteY35311"/>
              </a:cxn>
              <a:cxn ang="0">
                <a:pos x="connsiteX35312" y="connsiteY35312"/>
              </a:cxn>
              <a:cxn ang="0">
                <a:pos x="connsiteX35313" y="connsiteY35313"/>
              </a:cxn>
              <a:cxn ang="0">
                <a:pos x="connsiteX35314" y="connsiteY35314"/>
              </a:cxn>
              <a:cxn ang="0">
                <a:pos x="connsiteX35315" y="connsiteY35315"/>
              </a:cxn>
              <a:cxn ang="0">
                <a:pos x="connsiteX35316" y="connsiteY35316"/>
              </a:cxn>
              <a:cxn ang="0">
                <a:pos x="connsiteX35317" y="connsiteY35317"/>
              </a:cxn>
              <a:cxn ang="0">
                <a:pos x="connsiteX35318" y="connsiteY35318"/>
              </a:cxn>
              <a:cxn ang="0">
                <a:pos x="connsiteX35319" y="connsiteY35319"/>
              </a:cxn>
              <a:cxn ang="0">
                <a:pos x="connsiteX35320" y="connsiteY35320"/>
              </a:cxn>
              <a:cxn ang="0">
                <a:pos x="connsiteX35321" y="connsiteY35321"/>
              </a:cxn>
              <a:cxn ang="0">
                <a:pos x="connsiteX35322" y="connsiteY35322"/>
              </a:cxn>
              <a:cxn ang="0">
                <a:pos x="connsiteX35323" y="connsiteY35323"/>
              </a:cxn>
              <a:cxn ang="0">
                <a:pos x="connsiteX35324" y="connsiteY35324"/>
              </a:cxn>
              <a:cxn ang="0">
                <a:pos x="connsiteX35325" y="connsiteY35325"/>
              </a:cxn>
              <a:cxn ang="0">
                <a:pos x="connsiteX35326" y="connsiteY35326"/>
              </a:cxn>
              <a:cxn ang="0">
                <a:pos x="connsiteX35327" y="connsiteY35327"/>
              </a:cxn>
              <a:cxn ang="0">
                <a:pos x="connsiteX35328" y="connsiteY35328"/>
              </a:cxn>
              <a:cxn ang="0">
                <a:pos x="connsiteX35329" y="connsiteY35329"/>
              </a:cxn>
              <a:cxn ang="0">
                <a:pos x="connsiteX35330" y="connsiteY35330"/>
              </a:cxn>
              <a:cxn ang="0">
                <a:pos x="connsiteX35331" y="connsiteY35331"/>
              </a:cxn>
              <a:cxn ang="0">
                <a:pos x="connsiteX35332" y="connsiteY35332"/>
              </a:cxn>
              <a:cxn ang="0">
                <a:pos x="connsiteX35333" y="connsiteY35333"/>
              </a:cxn>
              <a:cxn ang="0">
                <a:pos x="connsiteX35334" y="connsiteY35334"/>
              </a:cxn>
              <a:cxn ang="0">
                <a:pos x="connsiteX35335" y="connsiteY35335"/>
              </a:cxn>
              <a:cxn ang="0">
                <a:pos x="connsiteX35336" y="connsiteY35336"/>
              </a:cxn>
              <a:cxn ang="0">
                <a:pos x="connsiteX35337" y="connsiteY35337"/>
              </a:cxn>
              <a:cxn ang="0">
                <a:pos x="connsiteX35338" y="connsiteY35338"/>
              </a:cxn>
              <a:cxn ang="0">
                <a:pos x="connsiteX35339" y="connsiteY35339"/>
              </a:cxn>
              <a:cxn ang="0">
                <a:pos x="connsiteX35340" y="connsiteY35340"/>
              </a:cxn>
              <a:cxn ang="0">
                <a:pos x="connsiteX35341" y="connsiteY35341"/>
              </a:cxn>
              <a:cxn ang="0">
                <a:pos x="connsiteX35342" y="connsiteY35342"/>
              </a:cxn>
              <a:cxn ang="0">
                <a:pos x="connsiteX35343" y="connsiteY35343"/>
              </a:cxn>
              <a:cxn ang="0">
                <a:pos x="connsiteX35344" y="connsiteY35344"/>
              </a:cxn>
              <a:cxn ang="0">
                <a:pos x="connsiteX35345" y="connsiteY35345"/>
              </a:cxn>
              <a:cxn ang="0">
                <a:pos x="connsiteX35346" y="connsiteY35346"/>
              </a:cxn>
              <a:cxn ang="0">
                <a:pos x="connsiteX35347" y="connsiteY35347"/>
              </a:cxn>
              <a:cxn ang="0">
                <a:pos x="connsiteX35348" y="connsiteY35348"/>
              </a:cxn>
              <a:cxn ang="0">
                <a:pos x="connsiteX35349" y="connsiteY35349"/>
              </a:cxn>
              <a:cxn ang="0">
                <a:pos x="connsiteX35350" y="connsiteY35350"/>
              </a:cxn>
              <a:cxn ang="0">
                <a:pos x="connsiteX35351" y="connsiteY35351"/>
              </a:cxn>
              <a:cxn ang="0">
                <a:pos x="connsiteX35352" y="connsiteY35352"/>
              </a:cxn>
              <a:cxn ang="0">
                <a:pos x="connsiteX35353" y="connsiteY35353"/>
              </a:cxn>
              <a:cxn ang="0">
                <a:pos x="connsiteX35354" y="connsiteY35354"/>
              </a:cxn>
              <a:cxn ang="0">
                <a:pos x="connsiteX35355" y="connsiteY35355"/>
              </a:cxn>
              <a:cxn ang="0">
                <a:pos x="connsiteX35356" y="connsiteY35356"/>
              </a:cxn>
              <a:cxn ang="0">
                <a:pos x="connsiteX35357" y="connsiteY35357"/>
              </a:cxn>
              <a:cxn ang="0">
                <a:pos x="connsiteX35358" y="connsiteY35358"/>
              </a:cxn>
              <a:cxn ang="0">
                <a:pos x="connsiteX35359" y="connsiteY35359"/>
              </a:cxn>
              <a:cxn ang="0">
                <a:pos x="connsiteX35360" y="connsiteY35360"/>
              </a:cxn>
              <a:cxn ang="0">
                <a:pos x="connsiteX35361" y="connsiteY35361"/>
              </a:cxn>
              <a:cxn ang="0">
                <a:pos x="connsiteX35362" y="connsiteY35362"/>
              </a:cxn>
              <a:cxn ang="0">
                <a:pos x="connsiteX35363" y="connsiteY35363"/>
              </a:cxn>
              <a:cxn ang="0">
                <a:pos x="connsiteX35364" y="connsiteY35364"/>
              </a:cxn>
              <a:cxn ang="0">
                <a:pos x="connsiteX35365" y="connsiteY35365"/>
              </a:cxn>
              <a:cxn ang="0">
                <a:pos x="connsiteX35366" y="connsiteY35366"/>
              </a:cxn>
              <a:cxn ang="0">
                <a:pos x="connsiteX35367" y="connsiteY35367"/>
              </a:cxn>
              <a:cxn ang="0">
                <a:pos x="connsiteX35368" y="connsiteY35368"/>
              </a:cxn>
              <a:cxn ang="0">
                <a:pos x="connsiteX35369" y="connsiteY35369"/>
              </a:cxn>
              <a:cxn ang="0">
                <a:pos x="connsiteX35370" y="connsiteY35370"/>
              </a:cxn>
              <a:cxn ang="0">
                <a:pos x="connsiteX35371" y="connsiteY35371"/>
              </a:cxn>
              <a:cxn ang="0">
                <a:pos x="connsiteX35372" y="connsiteY35372"/>
              </a:cxn>
              <a:cxn ang="0">
                <a:pos x="connsiteX35373" y="connsiteY35373"/>
              </a:cxn>
              <a:cxn ang="0">
                <a:pos x="connsiteX35374" y="connsiteY35374"/>
              </a:cxn>
              <a:cxn ang="0">
                <a:pos x="connsiteX35375" y="connsiteY35375"/>
              </a:cxn>
              <a:cxn ang="0">
                <a:pos x="connsiteX35376" y="connsiteY35376"/>
              </a:cxn>
              <a:cxn ang="0">
                <a:pos x="connsiteX35377" y="connsiteY35377"/>
              </a:cxn>
              <a:cxn ang="0">
                <a:pos x="connsiteX35378" y="connsiteY35378"/>
              </a:cxn>
              <a:cxn ang="0">
                <a:pos x="connsiteX35379" y="connsiteY35379"/>
              </a:cxn>
              <a:cxn ang="0">
                <a:pos x="connsiteX35380" y="connsiteY35380"/>
              </a:cxn>
              <a:cxn ang="0">
                <a:pos x="connsiteX35381" y="connsiteY35381"/>
              </a:cxn>
              <a:cxn ang="0">
                <a:pos x="connsiteX35382" y="connsiteY35382"/>
              </a:cxn>
              <a:cxn ang="0">
                <a:pos x="connsiteX35383" y="connsiteY35383"/>
              </a:cxn>
              <a:cxn ang="0">
                <a:pos x="connsiteX35384" y="connsiteY35384"/>
              </a:cxn>
              <a:cxn ang="0">
                <a:pos x="connsiteX35385" y="connsiteY35385"/>
              </a:cxn>
              <a:cxn ang="0">
                <a:pos x="connsiteX35386" y="connsiteY35386"/>
              </a:cxn>
              <a:cxn ang="0">
                <a:pos x="connsiteX35387" y="connsiteY35387"/>
              </a:cxn>
              <a:cxn ang="0">
                <a:pos x="connsiteX35388" y="connsiteY35388"/>
              </a:cxn>
              <a:cxn ang="0">
                <a:pos x="connsiteX35389" y="connsiteY35389"/>
              </a:cxn>
              <a:cxn ang="0">
                <a:pos x="connsiteX35390" y="connsiteY35390"/>
              </a:cxn>
              <a:cxn ang="0">
                <a:pos x="connsiteX35391" y="connsiteY35391"/>
              </a:cxn>
              <a:cxn ang="0">
                <a:pos x="connsiteX35392" y="connsiteY35392"/>
              </a:cxn>
              <a:cxn ang="0">
                <a:pos x="connsiteX35393" y="connsiteY35393"/>
              </a:cxn>
              <a:cxn ang="0">
                <a:pos x="connsiteX35394" y="connsiteY35394"/>
              </a:cxn>
              <a:cxn ang="0">
                <a:pos x="connsiteX35395" y="connsiteY35395"/>
              </a:cxn>
              <a:cxn ang="0">
                <a:pos x="connsiteX35396" y="connsiteY35396"/>
              </a:cxn>
              <a:cxn ang="0">
                <a:pos x="connsiteX35397" y="connsiteY35397"/>
              </a:cxn>
              <a:cxn ang="0">
                <a:pos x="connsiteX35398" y="connsiteY35398"/>
              </a:cxn>
              <a:cxn ang="0">
                <a:pos x="connsiteX35399" y="connsiteY35399"/>
              </a:cxn>
              <a:cxn ang="0">
                <a:pos x="connsiteX35400" y="connsiteY35400"/>
              </a:cxn>
              <a:cxn ang="0">
                <a:pos x="connsiteX35401" y="connsiteY35401"/>
              </a:cxn>
              <a:cxn ang="0">
                <a:pos x="connsiteX35402" y="connsiteY35402"/>
              </a:cxn>
              <a:cxn ang="0">
                <a:pos x="connsiteX35403" y="connsiteY35403"/>
              </a:cxn>
              <a:cxn ang="0">
                <a:pos x="connsiteX35404" y="connsiteY35404"/>
              </a:cxn>
              <a:cxn ang="0">
                <a:pos x="connsiteX35405" y="connsiteY35405"/>
              </a:cxn>
              <a:cxn ang="0">
                <a:pos x="connsiteX35406" y="connsiteY35406"/>
              </a:cxn>
              <a:cxn ang="0">
                <a:pos x="connsiteX35407" y="connsiteY35407"/>
              </a:cxn>
              <a:cxn ang="0">
                <a:pos x="connsiteX35408" y="connsiteY35408"/>
              </a:cxn>
              <a:cxn ang="0">
                <a:pos x="connsiteX35409" y="connsiteY35409"/>
              </a:cxn>
              <a:cxn ang="0">
                <a:pos x="connsiteX35410" y="connsiteY35410"/>
              </a:cxn>
              <a:cxn ang="0">
                <a:pos x="connsiteX35411" y="connsiteY35411"/>
              </a:cxn>
              <a:cxn ang="0">
                <a:pos x="connsiteX35412" y="connsiteY35412"/>
              </a:cxn>
              <a:cxn ang="0">
                <a:pos x="connsiteX35413" y="connsiteY35413"/>
              </a:cxn>
              <a:cxn ang="0">
                <a:pos x="connsiteX35414" y="connsiteY35414"/>
              </a:cxn>
              <a:cxn ang="0">
                <a:pos x="connsiteX35415" y="connsiteY35415"/>
              </a:cxn>
              <a:cxn ang="0">
                <a:pos x="connsiteX35416" y="connsiteY35416"/>
              </a:cxn>
              <a:cxn ang="0">
                <a:pos x="connsiteX35417" y="connsiteY35417"/>
              </a:cxn>
              <a:cxn ang="0">
                <a:pos x="connsiteX35418" y="connsiteY35418"/>
              </a:cxn>
              <a:cxn ang="0">
                <a:pos x="connsiteX35419" y="connsiteY35419"/>
              </a:cxn>
              <a:cxn ang="0">
                <a:pos x="connsiteX35420" y="connsiteY35420"/>
              </a:cxn>
              <a:cxn ang="0">
                <a:pos x="connsiteX35421" y="connsiteY35421"/>
              </a:cxn>
              <a:cxn ang="0">
                <a:pos x="connsiteX35422" y="connsiteY35422"/>
              </a:cxn>
              <a:cxn ang="0">
                <a:pos x="connsiteX35423" y="connsiteY35423"/>
              </a:cxn>
              <a:cxn ang="0">
                <a:pos x="connsiteX35424" y="connsiteY35424"/>
              </a:cxn>
              <a:cxn ang="0">
                <a:pos x="connsiteX35425" y="connsiteY35425"/>
              </a:cxn>
              <a:cxn ang="0">
                <a:pos x="connsiteX35426" y="connsiteY35426"/>
              </a:cxn>
              <a:cxn ang="0">
                <a:pos x="connsiteX35427" y="connsiteY35427"/>
              </a:cxn>
              <a:cxn ang="0">
                <a:pos x="connsiteX35428" y="connsiteY35428"/>
              </a:cxn>
              <a:cxn ang="0">
                <a:pos x="connsiteX35429" y="connsiteY35429"/>
              </a:cxn>
              <a:cxn ang="0">
                <a:pos x="connsiteX35430" y="connsiteY35430"/>
              </a:cxn>
              <a:cxn ang="0">
                <a:pos x="connsiteX35431" y="connsiteY35431"/>
              </a:cxn>
              <a:cxn ang="0">
                <a:pos x="connsiteX35432" y="connsiteY35432"/>
              </a:cxn>
              <a:cxn ang="0">
                <a:pos x="connsiteX35433" y="connsiteY35433"/>
              </a:cxn>
              <a:cxn ang="0">
                <a:pos x="connsiteX35434" y="connsiteY35434"/>
              </a:cxn>
              <a:cxn ang="0">
                <a:pos x="connsiteX35435" y="connsiteY35435"/>
              </a:cxn>
              <a:cxn ang="0">
                <a:pos x="connsiteX35436" y="connsiteY35436"/>
              </a:cxn>
              <a:cxn ang="0">
                <a:pos x="connsiteX35437" y="connsiteY35437"/>
              </a:cxn>
              <a:cxn ang="0">
                <a:pos x="connsiteX35438" y="connsiteY35438"/>
              </a:cxn>
              <a:cxn ang="0">
                <a:pos x="connsiteX35439" y="connsiteY35439"/>
              </a:cxn>
              <a:cxn ang="0">
                <a:pos x="connsiteX35440" y="connsiteY35440"/>
              </a:cxn>
              <a:cxn ang="0">
                <a:pos x="connsiteX35441" y="connsiteY35441"/>
              </a:cxn>
              <a:cxn ang="0">
                <a:pos x="connsiteX35442" y="connsiteY35442"/>
              </a:cxn>
              <a:cxn ang="0">
                <a:pos x="connsiteX35443" y="connsiteY35443"/>
              </a:cxn>
              <a:cxn ang="0">
                <a:pos x="connsiteX35444" y="connsiteY35444"/>
              </a:cxn>
              <a:cxn ang="0">
                <a:pos x="connsiteX35445" y="connsiteY35445"/>
              </a:cxn>
              <a:cxn ang="0">
                <a:pos x="connsiteX35446" y="connsiteY35446"/>
              </a:cxn>
              <a:cxn ang="0">
                <a:pos x="connsiteX35447" y="connsiteY35447"/>
              </a:cxn>
              <a:cxn ang="0">
                <a:pos x="connsiteX35448" y="connsiteY35448"/>
              </a:cxn>
              <a:cxn ang="0">
                <a:pos x="connsiteX35449" y="connsiteY35449"/>
              </a:cxn>
              <a:cxn ang="0">
                <a:pos x="connsiteX35450" y="connsiteY35450"/>
              </a:cxn>
              <a:cxn ang="0">
                <a:pos x="connsiteX35451" y="connsiteY35451"/>
              </a:cxn>
              <a:cxn ang="0">
                <a:pos x="connsiteX35452" y="connsiteY35452"/>
              </a:cxn>
              <a:cxn ang="0">
                <a:pos x="connsiteX35453" y="connsiteY35453"/>
              </a:cxn>
              <a:cxn ang="0">
                <a:pos x="connsiteX35454" y="connsiteY35454"/>
              </a:cxn>
              <a:cxn ang="0">
                <a:pos x="connsiteX35455" y="connsiteY35455"/>
              </a:cxn>
              <a:cxn ang="0">
                <a:pos x="connsiteX35456" y="connsiteY35456"/>
              </a:cxn>
              <a:cxn ang="0">
                <a:pos x="connsiteX35457" y="connsiteY35457"/>
              </a:cxn>
              <a:cxn ang="0">
                <a:pos x="connsiteX35458" y="connsiteY35458"/>
              </a:cxn>
              <a:cxn ang="0">
                <a:pos x="connsiteX35459" y="connsiteY35459"/>
              </a:cxn>
              <a:cxn ang="0">
                <a:pos x="connsiteX35460" y="connsiteY35460"/>
              </a:cxn>
              <a:cxn ang="0">
                <a:pos x="connsiteX35461" y="connsiteY35461"/>
              </a:cxn>
              <a:cxn ang="0">
                <a:pos x="connsiteX35462" y="connsiteY35462"/>
              </a:cxn>
              <a:cxn ang="0">
                <a:pos x="connsiteX35463" y="connsiteY35463"/>
              </a:cxn>
              <a:cxn ang="0">
                <a:pos x="connsiteX35464" y="connsiteY35464"/>
              </a:cxn>
              <a:cxn ang="0">
                <a:pos x="connsiteX35465" y="connsiteY35465"/>
              </a:cxn>
              <a:cxn ang="0">
                <a:pos x="connsiteX35466" y="connsiteY35466"/>
              </a:cxn>
              <a:cxn ang="0">
                <a:pos x="connsiteX35467" y="connsiteY35467"/>
              </a:cxn>
              <a:cxn ang="0">
                <a:pos x="connsiteX35468" y="connsiteY35468"/>
              </a:cxn>
              <a:cxn ang="0">
                <a:pos x="connsiteX35469" y="connsiteY35469"/>
              </a:cxn>
              <a:cxn ang="0">
                <a:pos x="connsiteX35470" y="connsiteY35470"/>
              </a:cxn>
              <a:cxn ang="0">
                <a:pos x="connsiteX35471" y="connsiteY35471"/>
              </a:cxn>
              <a:cxn ang="0">
                <a:pos x="connsiteX35472" y="connsiteY35472"/>
              </a:cxn>
              <a:cxn ang="0">
                <a:pos x="connsiteX35473" y="connsiteY35473"/>
              </a:cxn>
              <a:cxn ang="0">
                <a:pos x="connsiteX35474" y="connsiteY35474"/>
              </a:cxn>
              <a:cxn ang="0">
                <a:pos x="connsiteX35475" y="connsiteY35475"/>
              </a:cxn>
              <a:cxn ang="0">
                <a:pos x="connsiteX35476" y="connsiteY35476"/>
              </a:cxn>
              <a:cxn ang="0">
                <a:pos x="connsiteX35477" y="connsiteY35477"/>
              </a:cxn>
              <a:cxn ang="0">
                <a:pos x="connsiteX35478" y="connsiteY35478"/>
              </a:cxn>
              <a:cxn ang="0">
                <a:pos x="connsiteX35479" y="connsiteY35479"/>
              </a:cxn>
              <a:cxn ang="0">
                <a:pos x="connsiteX35480" y="connsiteY35480"/>
              </a:cxn>
              <a:cxn ang="0">
                <a:pos x="connsiteX35481" y="connsiteY35481"/>
              </a:cxn>
              <a:cxn ang="0">
                <a:pos x="connsiteX35482" y="connsiteY35482"/>
              </a:cxn>
              <a:cxn ang="0">
                <a:pos x="connsiteX35483" y="connsiteY35483"/>
              </a:cxn>
              <a:cxn ang="0">
                <a:pos x="connsiteX35484" y="connsiteY35484"/>
              </a:cxn>
              <a:cxn ang="0">
                <a:pos x="connsiteX35485" y="connsiteY35485"/>
              </a:cxn>
              <a:cxn ang="0">
                <a:pos x="connsiteX35486" y="connsiteY35486"/>
              </a:cxn>
              <a:cxn ang="0">
                <a:pos x="connsiteX35487" y="connsiteY35487"/>
              </a:cxn>
              <a:cxn ang="0">
                <a:pos x="connsiteX35488" y="connsiteY35488"/>
              </a:cxn>
              <a:cxn ang="0">
                <a:pos x="connsiteX35489" y="connsiteY35489"/>
              </a:cxn>
              <a:cxn ang="0">
                <a:pos x="connsiteX35490" y="connsiteY35490"/>
              </a:cxn>
              <a:cxn ang="0">
                <a:pos x="connsiteX35491" y="connsiteY35491"/>
              </a:cxn>
              <a:cxn ang="0">
                <a:pos x="connsiteX35492" y="connsiteY35492"/>
              </a:cxn>
              <a:cxn ang="0">
                <a:pos x="connsiteX35493" y="connsiteY35493"/>
              </a:cxn>
              <a:cxn ang="0">
                <a:pos x="connsiteX35494" y="connsiteY35494"/>
              </a:cxn>
              <a:cxn ang="0">
                <a:pos x="connsiteX35495" y="connsiteY35495"/>
              </a:cxn>
              <a:cxn ang="0">
                <a:pos x="connsiteX35496" y="connsiteY35496"/>
              </a:cxn>
              <a:cxn ang="0">
                <a:pos x="connsiteX35497" y="connsiteY35497"/>
              </a:cxn>
              <a:cxn ang="0">
                <a:pos x="connsiteX35498" y="connsiteY35498"/>
              </a:cxn>
              <a:cxn ang="0">
                <a:pos x="connsiteX35499" y="connsiteY35499"/>
              </a:cxn>
              <a:cxn ang="0">
                <a:pos x="connsiteX35500" y="connsiteY35500"/>
              </a:cxn>
              <a:cxn ang="0">
                <a:pos x="connsiteX35501" y="connsiteY35501"/>
              </a:cxn>
              <a:cxn ang="0">
                <a:pos x="connsiteX35502" y="connsiteY35502"/>
              </a:cxn>
              <a:cxn ang="0">
                <a:pos x="connsiteX35503" y="connsiteY35503"/>
              </a:cxn>
              <a:cxn ang="0">
                <a:pos x="connsiteX35504" y="connsiteY35504"/>
              </a:cxn>
              <a:cxn ang="0">
                <a:pos x="connsiteX35505" y="connsiteY35505"/>
              </a:cxn>
              <a:cxn ang="0">
                <a:pos x="connsiteX35506" y="connsiteY35506"/>
              </a:cxn>
              <a:cxn ang="0">
                <a:pos x="connsiteX35507" y="connsiteY35507"/>
              </a:cxn>
              <a:cxn ang="0">
                <a:pos x="connsiteX35508" y="connsiteY35508"/>
              </a:cxn>
              <a:cxn ang="0">
                <a:pos x="connsiteX35509" y="connsiteY35509"/>
              </a:cxn>
              <a:cxn ang="0">
                <a:pos x="connsiteX35510" y="connsiteY35510"/>
              </a:cxn>
              <a:cxn ang="0">
                <a:pos x="connsiteX35511" y="connsiteY35511"/>
              </a:cxn>
              <a:cxn ang="0">
                <a:pos x="connsiteX35512" y="connsiteY35512"/>
              </a:cxn>
              <a:cxn ang="0">
                <a:pos x="connsiteX35513" y="connsiteY35513"/>
              </a:cxn>
              <a:cxn ang="0">
                <a:pos x="connsiteX35514" y="connsiteY35514"/>
              </a:cxn>
              <a:cxn ang="0">
                <a:pos x="connsiteX35515" y="connsiteY35515"/>
              </a:cxn>
              <a:cxn ang="0">
                <a:pos x="connsiteX35516" y="connsiteY35516"/>
              </a:cxn>
              <a:cxn ang="0">
                <a:pos x="connsiteX35517" y="connsiteY35517"/>
              </a:cxn>
              <a:cxn ang="0">
                <a:pos x="connsiteX35518" y="connsiteY35518"/>
              </a:cxn>
              <a:cxn ang="0">
                <a:pos x="connsiteX35519" y="connsiteY35519"/>
              </a:cxn>
              <a:cxn ang="0">
                <a:pos x="connsiteX35520" y="connsiteY35520"/>
              </a:cxn>
              <a:cxn ang="0">
                <a:pos x="connsiteX35521" y="connsiteY35521"/>
              </a:cxn>
              <a:cxn ang="0">
                <a:pos x="connsiteX35522" y="connsiteY35522"/>
              </a:cxn>
              <a:cxn ang="0">
                <a:pos x="connsiteX35523" y="connsiteY35523"/>
              </a:cxn>
              <a:cxn ang="0">
                <a:pos x="connsiteX35524" y="connsiteY35524"/>
              </a:cxn>
              <a:cxn ang="0">
                <a:pos x="connsiteX35525" y="connsiteY35525"/>
              </a:cxn>
              <a:cxn ang="0">
                <a:pos x="connsiteX35526" y="connsiteY35526"/>
              </a:cxn>
              <a:cxn ang="0">
                <a:pos x="connsiteX35527" y="connsiteY35527"/>
              </a:cxn>
              <a:cxn ang="0">
                <a:pos x="connsiteX35528" y="connsiteY35528"/>
              </a:cxn>
              <a:cxn ang="0">
                <a:pos x="connsiteX35529" y="connsiteY35529"/>
              </a:cxn>
              <a:cxn ang="0">
                <a:pos x="connsiteX35530" y="connsiteY35530"/>
              </a:cxn>
              <a:cxn ang="0">
                <a:pos x="connsiteX35531" y="connsiteY35531"/>
              </a:cxn>
              <a:cxn ang="0">
                <a:pos x="connsiteX35532" y="connsiteY35532"/>
              </a:cxn>
              <a:cxn ang="0">
                <a:pos x="connsiteX35533" y="connsiteY35533"/>
              </a:cxn>
              <a:cxn ang="0">
                <a:pos x="connsiteX35534" y="connsiteY35534"/>
              </a:cxn>
              <a:cxn ang="0">
                <a:pos x="connsiteX35535" y="connsiteY35535"/>
              </a:cxn>
              <a:cxn ang="0">
                <a:pos x="connsiteX35536" y="connsiteY35536"/>
              </a:cxn>
              <a:cxn ang="0">
                <a:pos x="connsiteX35537" y="connsiteY35537"/>
              </a:cxn>
              <a:cxn ang="0">
                <a:pos x="connsiteX35538" y="connsiteY35538"/>
              </a:cxn>
              <a:cxn ang="0">
                <a:pos x="connsiteX35539" y="connsiteY35539"/>
              </a:cxn>
              <a:cxn ang="0">
                <a:pos x="connsiteX35540" y="connsiteY35540"/>
              </a:cxn>
              <a:cxn ang="0">
                <a:pos x="connsiteX35541" y="connsiteY35541"/>
              </a:cxn>
              <a:cxn ang="0">
                <a:pos x="connsiteX35542" y="connsiteY35542"/>
              </a:cxn>
              <a:cxn ang="0">
                <a:pos x="connsiteX35543" y="connsiteY35543"/>
              </a:cxn>
              <a:cxn ang="0">
                <a:pos x="connsiteX35544" y="connsiteY35544"/>
              </a:cxn>
              <a:cxn ang="0">
                <a:pos x="connsiteX35545" y="connsiteY35545"/>
              </a:cxn>
              <a:cxn ang="0">
                <a:pos x="connsiteX35546" y="connsiteY35546"/>
              </a:cxn>
              <a:cxn ang="0">
                <a:pos x="connsiteX35547" y="connsiteY35547"/>
              </a:cxn>
              <a:cxn ang="0">
                <a:pos x="connsiteX35548" y="connsiteY35548"/>
              </a:cxn>
              <a:cxn ang="0">
                <a:pos x="connsiteX35549" y="connsiteY35549"/>
              </a:cxn>
              <a:cxn ang="0">
                <a:pos x="connsiteX35550" y="connsiteY35550"/>
              </a:cxn>
              <a:cxn ang="0">
                <a:pos x="connsiteX35551" y="connsiteY35551"/>
              </a:cxn>
              <a:cxn ang="0">
                <a:pos x="connsiteX35552" y="connsiteY35552"/>
              </a:cxn>
              <a:cxn ang="0">
                <a:pos x="connsiteX35553" y="connsiteY35553"/>
              </a:cxn>
              <a:cxn ang="0">
                <a:pos x="connsiteX35554" y="connsiteY35554"/>
              </a:cxn>
              <a:cxn ang="0">
                <a:pos x="connsiteX35555" y="connsiteY35555"/>
              </a:cxn>
              <a:cxn ang="0">
                <a:pos x="connsiteX35556" y="connsiteY35556"/>
              </a:cxn>
              <a:cxn ang="0">
                <a:pos x="connsiteX35557" y="connsiteY35557"/>
              </a:cxn>
              <a:cxn ang="0">
                <a:pos x="connsiteX35558" y="connsiteY35558"/>
              </a:cxn>
              <a:cxn ang="0">
                <a:pos x="connsiteX35559" y="connsiteY35559"/>
              </a:cxn>
              <a:cxn ang="0">
                <a:pos x="connsiteX35560" y="connsiteY35560"/>
              </a:cxn>
              <a:cxn ang="0">
                <a:pos x="connsiteX35561" y="connsiteY35561"/>
              </a:cxn>
              <a:cxn ang="0">
                <a:pos x="connsiteX35562" y="connsiteY35562"/>
              </a:cxn>
              <a:cxn ang="0">
                <a:pos x="connsiteX35563" y="connsiteY35563"/>
              </a:cxn>
              <a:cxn ang="0">
                <a:pos x="connsiteX35564" y="connsiteY35564"/>
              </a:cxn>
              <a:cxn ang="0">
                <a:pos x="connsiteX35565" y="connsiteY35565"/>
              </a:cxn>
              <a:cxn ang="0">
                <a:pos x="connsiteX35566" y="connsiteY35566"/>
              </a:cxn>
              <a:cxn ang="0">
                <a:pos x="connsiteX35567" y="connsiteY35567"/>
              </a:cxn>
              <a:cxn ang="0">
                <a:pos x="connsiteX35568" y="connsiteY35568"/>
              </a:cxn>
              <a:cxn ang="0">
                <a:pos x="connsiteX35569" y="connsiteY35569"/>
              </a:cxn>
              <a:cxn ang="0">
                <a:pos x="connsiteX35570" y="connsiteY35570"/>
              </a:cxn>
              <a:cxn ang="0">
                <a:pos x="connsiteX35571" y="connsiteY35571"/>
              </a:cxn>
              <a:cxn ang="0">
                <a:pos x="connsiteX35572" y="connsiteY35572"/>
              </a:cxn>
              <a:cxn ang="0">
                <a:pos x="connsiteX35573" y="connsiteY35573"/>
              </a:cxn>
              <a:cxn ang="0">
                <a:pos x="connsiteX35574" y="connsiteY35574"/>
              </a:cxn>
              <a:cxn ang="0">
                <a:pos x="connsiteX35575" y="connsiteY35575"/>
              </a:cxn>
              <a:cxn ang="0">
                <a:pos x="connsiteX35576" y="connsiteY35576"/>
              </a:cxn>
              <a:cxn ang="0">
                <a:pos x="connsiteX35577" y="connsiteY35577"/>
              </a:cxn>
              <a:cxn ang="0">
                <a:pos x="connsiteX35578" y="connsiteY35578"/>
              </a:cxn>
              <a:cxn ang="0">
                <a:pos x="connsiteX35579" y="connsiteY35579"/>
              </a:cxn>
              <a:cxn ang="0">
                <a:pos x="connsiteX35580" y="connsiteY35580"/>
              </a:cxn>
              <a:cxn ang="0">
                <a:pos x="connsiteX35581" y="connsiteY35581"/>
              </a:cxn>
              <a:cxn ang="0">
                <a:pos x="connsiteX35582" y="connsiteY35582"/>
              </a:cxn>
              <a:cxn ang="0">
                <a:pos x="connsiteX35583" y="connsiteY35583"/>
              </a:cxn>
              <a:cxn ang="0">
                <a:pos x="connsiteX35584" y="connsiteY35584"/>
              </a:cxn>
              <a:cxn ang="0">
                <a:pos x="connsiteX35585" y="connsiteY35585"/>
              </a:cxn>
              <a:cxn ang="0">
                <a:pos x="connsiteX35586" y="connsiteY35586"/>
              </a:cxn>
              <a:cxn ang="0">
                <a:pos x="connsiteX35587" y="connsiteY35587"/>
              </a:cxn>
              <a:cxn ang="0">
                <a:pos x="connsiteX35588" y="connsiteY35588"/>
              </a:cxn>
              <a:cxn ang="0">
                <a:pos x="connsiteX35589" y="connsiteY35589"/>
              </a:cxn>
              <a:cxn ang="0">
                <a:pos x="connsiteX35590" y="connsiteY35590"/>
              </a:cxn>
              <a:cxn ang="0">
                <a:pos x="connsiteX35591" y="connsiteY35591"/>
              </a:cxn>
              <a:cxn ang="0">
                <a:pos x="connsiteX35592" y="connsiteY35592"/>
              </a:cxn>
              <a:cxn ang="0">
                <a:pos x="connsiteX35593" y="connsiteY35593"/>
              </a:cxn>
              <a:cxn ang="0">
                <a:pos x="connsiteX35594" y="connsiteY35594"/>
              </a:cxn>
              <a:cxn ang="0">
                <a:pos x="connsiteX35595" y="connsiteY35595"/>
              </a:cxn>
              <a:cxn ang="0">
                <a:pos x="connsiteX35596" y="connsiteY35596"/>
              </a:cxn>
              <a:cxn ang="0">
                <a:pos x="connsiteX35597" y="connsiteY35597"/>
              </a:cxn>
              <a:cxn ang="0">
                <a:pos x="connsiteX35598" y="connsiteY35598"/>
              </a:cxn>
              <a:cxn ang="0">
                <a:pos x="connsiteX35599" y="connsiteY35599"/>
              </a:cxn>
              <a:cxn ang="0">
                <a:pos x="connsiteX35600" y="connsiteY35600"/>
              </a:cxn>
              <a:cxn ang="0">
                <a:pos x="connsiteX35601" y="connsiteY35601"/>
              </a:cxn>
              <a:cxn ang="0">
                <a:pos x="connsiteX35602" y="connsiteY35602"/>
              </a:cxn>
              <a:cxn ang="0">
                <a:pos x="connsiteX35603" y="connsiteY35603"/>
              </a:cxn>
              <a:cxn ang="0">
                <a:pos x="connsiteX35604" y="connsiteY35604"/>
              </a:cxn>
              <a:cxn ang="0">
                <a:pos x="connsiteX35605" y="connsiteY35605"/>
              </a:cxn>
              <a:cxn ang="0">
                <a:pos x="connsiteX35606" y="connsiteY35606"/>
              </a:cxn>
              <a:cxn ang="0">
                <a:pos x="connsiteX35607" y="connsiteY35607"/>
              </a:cxn>
              <a:cxn ang="0">
                <a:pos x="connsiteX35608" y="connsiteY35608"/>
              </a:cxn>
              <a:cxn ang="0">
                <a:pos x="connsiteX35609" y="connsiteY35609"/>
              </a:cxn>
              <a:cxn ang="0">
                <a:pos x="connsiteX35610" y="connsiteY35610"/>
              </a:cxn>
              <a:cxn ang="0">
                <a:pos x="connsiteX35611" y="connsiteY35611"/>
              </a:cxn>
              <a:cxn ang="0">
                <a:pos x="connsiteX35612" y="connsiteY35612"/>
              </a:cxn>
              <a:cxn ang="0">
                <a:pos x="connsiteX35613" y="connsiteY35613"/>
              </a:cxn>
              <a:cxn ang="0">
                <a:pos x="connsiteX35614" y="connsiteY35614"/>
              </a:cxn>
              <a:cxn ang="0">
                <a:pos x="connsiteX35615" y="connsiteY35615"/>
              </a:cxn>
              <a:cxn ang="0">
                <a:pos x="connsiteX35616" y="connsiteY35616"/>
              </a:cxn>
              <a:cxn ang="0">
                <a:pos x="connsiteX35617" y="connsiteY35617"/>
              </a:cxn>
              <a:cxn ang="0">
                <a:pos x="connsiteX35618" y="connsiteY35618"/>
              </a:cxn>
              <a:cxn ang="0">
                <a:pos x="connsiteX35619" y="connsiteY35619"/>
              </a:cxn>
              <a:cxn ang="0">
                <a:pos x="connsiteX35620" y="connsiteY35620"/>
              </a:cxn>
              <a:cxn ang="0">
                <a:pos x="connsiteX35621" y="connsiteY35621"/>
              </a:cxn>
              <a:cxn ang="0">
                <a:pos x="connsiteX35622" y="connsiteY35622"/>
              </a:cxn>
              <a:cxn ang="0">
                <a:pos x="connsiteX35623" y="connsiteY35623"/>
              </a:cxn>
              <a:cxn ang="0">
                <a:pos x="connsiteX35624" y="connsiteY35624"/>
              </a:cxn>
              <a:cxn ang="0">
                <a:pos x="connsiteX35625" y="connsiteY35625"/>
              </a:cxn>
              <a:cxn ang="0">
                <a:pos x="connsiteX35626" y="connsiteY35626"/>
              </a:cxn>
              <a:cxn ang="0">
                <a:pos x="connsiteX35627" y="connsiteY35627"/>
              </a:cxn>
              <a:cxn ang="0">
                <a:pos x="connsiteX35628" y="connsiteY35628"/>
              </a:cxn>
              <a:cxn ang="0">
                <a:pos x="connsiteX35629" y="connsiteY35629"/>
              </a:cxn>
              <a:cxn ang="0">
                <a:pos x="connsiteX35630" y="connsiteY35630"/>
              </a:cxn>
              <a:cxn ang="0">
                <a:pos x="connsiteX35631" y="connsiteY35631"/>
              </a:cxn>
              <a:cxn ang="0">
                <a:pos x="connsiteX35632" y="connsiteY35632"/>
              </a:cxn>
              <a:cxn ang="0">
                <a:pos x="connsiteX35633" y="connsiteY35633"/>
              </a:cxn>
              <a:cxn ang="0">
                <a:pos x="connsiteX35634" y="connsiteY35634"/>
              </a:cxn>
              <a:cxn ang="0">
                <a:pos x="connsiteX35635" y="connsiteY35635"/>
              </a:cxn>
              <a:cxn ang="0">
                <a:pos x="connsiteX35636" y="connsiteY35636"/>
              </a:cxn>
              <a:cxn ang="0">
                <a:pos x="connsiteX35637" y="connsiteY35637"/>
              </a:cxn>
              <a:cxn ang="0">
                <a:pos x="connsiteX35638" y="connsiteY35638"/>
              </a:cxn>
              <a:cxn ang="0">
                <a:pos x="connsiteX35639" y="connsiteY35639"/>
              </a:cxn>
              <a:cxn ang="0">
                <a:pos x="connsiteX35640" y="connsiteY35640"/>
              </a:cxn>
              <a:cxn ang="0">
                <a:pos x="connsiteX35641" y="connsiteY35641"/>
              </a:cxn>
              <a:cxn ang="0">
                <a:pos x="connsiteX35642" y="connsiteY35642"/>
              </a:cxn>
              <a:cxn ang="0">
                <a:pos x="connsiteX35643" y="connsiteY35643"/>
              </a:cxn>
              <a:cxn ang="0">
                <a:pos x="connsiteX35644" y="connsiteY35644"/>
              </a:cxn>
              <a:cxn ang="0">
                <a:pos x="connsiteX35645" y="connsiteY35645"/>
              </a:cxn>
              <a:cxn ang="0">
                <a:pos x="connsiteX35646" y="connsiteY35646"/>
              </a:cxn>
              <a:cxn ang="0">
                <a:pos x="connsiteX35647" y="connsiteY35647"/>
              </a:cxn>
              <a:cxn ang="0">
                <a:pos x="connsiteX35648" y="connsiteY35648"/>
              </a:cxn>
              <a:cxn ang="0">
                <a:pos x="connsiteX35649" y="connsiteY35649"/>
              </a:cxn>
              <a:cxn ang="0">
                <a:pos x="connsiteX35650" y="connsiteY35650"/>
              </a:cxn>
              <a:cxn ang="0">
                <a:pos x="connsiteX35651" y="connsiteY35651"/>
              </a:cxn>
              <a:cxn ang="0">
                <a:pos x="connsiteX35652" y="connsiteY35652"/>
              </a:cxn>
              <a:cxn ang="0">
                <a:pos x="connsiteX35653" y="connsiteY35653"/>
              </a:cxn>
              <a:cxn ang="0">
                <a:pos x="connsiteX35654" y="connsiteY35654"/>
              </a:cxn>
              <a:cxn ang="0">
                <a:pos x="connsiteX35655" y="connsiteY35655"/>
              </a:cxn>
              <a:cxn ang="0">
                <a:pos x="connsiteX35656" y="connsiteY35656"/>
              </a:cxn>
              <a:cxn ang="0">
                <a:pos x="connsiteX35657" y="connsiteY35657"/>
              </a:cxn>
              <a:cxn ang="0">
                <a:pos x="connsiteX35658" y="connsiteY35658"/>
              </a:cxn>
              <a:cxn ang="0">
                <a:pos x="connsiteX35659" y="connsiteY35659"/>
              </a:cxn>
              <a:cxn ang="0">
                <a:pos x="connsiteX35660" y="connsiteY35660"/>
              </a:cxn>
              <a:cxn ang="0">
                <a:pos x="connsiteX35661" y="connsiteY35661"/>
              </a:cxn>
              <a:cxn ang="0">
                <a:pos x="connsiteX35662" y="connsiteY35662"/>
              </a:cxn>
              <a:cxn ang="0">
                <a:pos x="connsiteX35663" y="connsiteY35663"/>
              </a:cxn>
              <a:cxn ang="0">
                <a:pos x="connsiteX35664" y="connsiteY35664"/>
              </a:cxn>
              <a:cxn ang="0">
                <a:pos x="connsiteX35665" y="connsiteY35665"/>
              </a:cxn>
              <a:cxn ang="0">
                <a:pos x="connsiteX35666" y="connsiteY35666"/>
              </a:cxn>
              <a:cxn ang="0">
                <a:pos x="connsiteX35667" y="connsiteY35667"/>
              </a:cxn>
              <a:cxn ang="0">
                <a:pos x="connsiteX35668" y="connsiteY35668"/>
              </a:cxn>
              <a:cxn ang="0">
                <a:pos x="connsiteX35669" y="connsiteY35669"/>
              </a:cxn>
              <a:cxn ang="0">
                <a:pos x="connsiteX35670" y="connsiteY35670"/>
              </a:cxn>
              <a:cxn ang="0">
                <a:pos x="connsiteX35671" y="connsiteY35671"/>
              </a:cxn>
              <a:cxn ang="0">
                <a:pos x="connsiteX35672" y="connsiteY35672"/>
              </a:cxn>
              <a:cxn ang="0">
                <a:pos x="connsiteX35673" y="connsiteY35673"/>
              </a:cxn>
              <a:cxn ang="0">
                <a:pos x="connsiteX35674" y="connsiteY35674"/>
              </a:cxn>
              <a:cxn ang="0">
                <a:pos x="connsiteX35675" y="connsiteY35675"/>
              </a:cxn>
              <a:cxn ang="0">
                <a:pos x="connsiteX35676" y="connsiteY35676"/>
              </a:cxn>
              <a:cxn ang="0">
                <a:pos x="connsiteX35677" y="connsiteY35677"/>
              </a:cxn>
              <a:cxn ang="0">
                <a:pos x="connsiteX35678" y="connsiteY35678"/>
              </a:cxn>
              <a:cxn ang="0">
                <a:pos x="connsiteX35679" y="connsiteY35679"/>
              </a:cxn>
              <a:cxn ang="0">
                <a:pos x="connsiteX35680" y="connsiteY35680"/>
              </a:cxn>
              <a:cxn ang="0">
                <a:pos x="connsiteX35681" y="connsiteY35681"/>
              </a:cxn>
              <a:cxn ang="0">
                <a:pos x="connsiteX35682" y="connsiteY35682"/>
              </a:cxn>
              <a:cxn ang="0">
                <a:pos x="connsiteX35683" y="connsiteY35683"/>
              </a:cxn>
              <a:cxn ang="0">
                <a:pos x="connsiteX35684" y="connsiteY35684"/>
              </a:cxn>
              <a:cxn ang="0">
                <a:pos x="connsiteX35685" y="connsiteY35685"/>
              </a:cxn>
              <a:cxn ang="0">
                <a:pos x="connsiteX35686" y="connsiteY35686"/>
              </a:cxn>
              <a:cxn ang="0">
                <a:pos x="connsiteX35687" y="connsiteY35687"/>
              </a:cxn>
              <a:cxn ang="0">
                <a:pos x="connsiteX35688" y="connsiteY35688"/>
              </a:cxn>
              <a:cxn ang="0">
                <a:pos x="connsiteX35689" y="connsiteY35689"/>
              </a:cxn>
              <a:cxn ang="0">
                <a:pos x="connsiteX35690" y="connsiteY35690"/>
              </a:cxn>
              <a:cxn ang="0">
                <a:pos x="connsiteX35691" y="connsiteY35691"/>
              </a:cxn>
              <a:cxn ang="0">
                <a:pos x="connsiteX35692" y="connsiteY35692"/>
              </a:cxn>
              <a:cxn ang="0">
                <a:pos x="connsiteX35693" y="connsiteY35693"/>
              </a:cxn>
              <a:cxn ang="0">
                <a:pos x="connsiteX35694" y="connsiteY35694"/>
              </a:cxn>
              <a:cxn ang="0">
                <a:pos x="connsiteX35695" y="connsiteY35695"/>
              </a:cxn>
              <a:cxn ang="0">
                <a:pos x="connsiteX35696" y="connsiteY35696"/>
              </a:cxn>
              <a:cxn ang="0">
                <a:pos x="connsiteX35697" y="connsiteY35697"/>
              </a:cxn>
              <a:cxn ang="0">
                <a:pos x="connsiteX35698" y="connsiteY35698"/>
              </a:cxn>
              <a:cxn ang="0">
                <a:pos x="connsiteX35699" y="connsiteY35699"/>
              </a:cxn>
              <a:cxn ang="0">
                <a:pos x="connsiteX35700" y="connsiteY35700"/>
              </a:cxn>
              <a:cxn ang="0">
                <a:pos x="connsiteX35701" y="connsiteY35701"/>
              </a:cxn>
              <a:cxn ang="0">
                <a:pos x="connsiteX35702" y="connsiteY35702"/>
              </a:cxn>
              <a:cxn ang="0">
                <a:pos x="connsiteX35703" y="connsiteY35703"/>
              </a:cxn>
              <a:cxn ang="0">
                <a:pos x="connsiteX35704" y="connsiteY35704"/>
              </a:cxn>
              <a:cxn ang="0">
                <a:pos x="connsiteX35705" y="connsiteY35705"/>
              </a:cxn>
              <a:cxn ang="0">
                <a:pos x="connsiteX35706" y="connsiteY35706"/>
              </a:cxn>
              <a:cxn ang="0">
                <a:pos x="connsiteX35707" y="connsiteY35707"/>
              </a:cxn>
              <a:cxn ang="0">
                <a:pos x="connsiteX35708" y="connsiteY35708"/>
              </a:cxn>
              <a:cxn ang="0">
                <a:pos x="connsiteX35709" y="connsiteY35709"/>
              </a:cxn>
              <a:cxn ang="0">
                <a:pos x="connsiteX35710" y="connsiteY35710"/>
              </a:cxn>
              <a:cxn ang="0">
                <a:pos x="connsiteX35711" y="connsiteY35711"/>
              </a:cxn>
              <a:cxn ang="0">
                <a:pos x="connsiteX35712" y="connsiteY35712"/>
              </a:cxn>
              <a:cxn ang="0">
                <a:pos x="connsiteX35713" y="connsiteY35713"/>
              </a:cxn>
              <a:cxn ang="0">
                <a:pos x="connsiteX35714" y="connsiteY35714"/>
              </a:cxn>
              <a:cxn ang="0">
                <a:pos x="connsiteX35715" y="connsiteY35715"/>
              </a:cxn>
              <a:cxn ang="0">
                <a:pos x="connsiteX35716" y="connsiteY35716"/>
              </a:cxn>
              <a:cxn ang="0">
                <a:pos x="connsiteX35717" y="connsiteY35717"/>
              </a:cxn>
              <a:cxn ang="0">
                <a:pos x="connsiteX35718" y="connsiteY35718"/>
              </a:cxn>
              <a:cxn ang="0">
                <a:pos x="connsiteX35719" y="connsiteY35719"/>
              </a:cxn>
              <a:cxn ang="0">
                <a:pos x="connsiteX35720" y="connsiteY35720"/>
              </a:cxn>
              <a:cxn ang="0">
                <a:pos x="connsiteX35721" y="connsiteY35721"/>
              </a:cxn>
              <a:cxn ang="0">
                <a:pos x="connsiteX35722" y="connsiteY35722"/>
              </a:cxn>
              <a:cxn ang="0">
                <a:pos x="connsiteX35723" y="connsiteY35723"/>
              </a:cxn>
              <a:cxn ang="0">
                <a:pos x="connsiteX35724" y="connsiteY35724"/>
              </a:cxn>
              <a:cxn ang="0">
                <a:pos x="connsiteX35725" y="connsiteY35725"/>
              </a:cxn>
              <a:cxn ang="0">
                <a:pos x="connsiteX35726" y="connsiteY35726"/>
              </a:cxn>
              <a:cxn ang="0">
                <a:pos x="connsiteX35727" y="connsiteY35727"/>
              </a:cxn>
              <a:cxn ang="0">
                <a:pos x="connsiteX35728" y="connsiteY35728"/>
              </a:cxn>
              <a:cxn ang="0">
                <a:pos x="connsiteX35729" y="connsiteY35729"/>
              </a:cxn>
              <a:cxn ang="0">
                <a:pos x="connsiteX35730" y="connsiteY35730"/>
              </a:cxn>
              <a:cxn ang="0">
                <a:pos x="connsiteX35731" y="connsiteY35731"/>
              </a:cxn>
              <a:cxn ang="0">
                <a:pos x="connsiteX35732" y="connsiteY35732"/>
              </a:cxn>
              <a:cxn ang="0">
                <a:pos x="connsiteX35733" y="connsiteY35733"/>
              </a:cxn>
              <a:cxn ang="0">
                <a:pos x="connsiteX35734" y="connsiteY35734"/>
              </a:cxn>
              <a:cxn ang="0">
                <a:pos x="connsiteX35735" y="connsiteY35735"/>
              </a:cxn>
              <a:cxn ang="0">
                <a:pos x="connsiteX35736" y="connsiteY35736"/>
              </a:cxn>
              <a:cxn ang="0">
                <a:pos x="connsiteX35737" y="connsiteY35737"/>
              </a:cxn>
              <a:cxn ang="0">
                <a:pos x="connsiteX35738" y="connsiteY35738"/>
              </a:cxn>
              <a:cxn ang="0">
                <a:pos x="connsiteX35739" y="connsiteY35739"/>
              </a:cxn>
              <a:cxn ang="0">
                <a:pos x="connsiteX35740" y="connsiteY35740"/>
              </a:cxn>
              <a:cxn ang="0">
                <a:pos x="connsiteX35741" y="connsiteY35741"/>
              </a:cxn>
              <a:cxn ang="0">
                <a:pos x="connsiteX35742" y="connsiteY35742"/>
              </a:cxn>
              <a:cxn ang="0">
                <a:pos x="connsiteX35743" y="connsiteY35743"/>
              </a:cxn>
              <a:cxn ang="0">
                <a:pos x="connsiteX35744" y="connsiteY35744"/>
              </a:cxn>
              <a:cxn ang="0">
                <a:pos x="connsiteX35745" y="connsiteY35745"/>
              </a:cxn>
              <a:cxn ang="0">
                <a:pos x="connsiteX35746" y="connsiteY35746"/>
              </a:cxn>
              <a:cxn ang="0">
                <a:pos x="connsiteX35747" y="connsiteY35747"/>
              </a:cxn>
              <a:cxn ang="0">
                <a:pos x="connsiteX35748" y="connsiteY35748"/>
              </a:cxn>
              <a:cxn ang="0">
                <a:pos x="connsiteX35749" y="connsiteY35749"/>
              </a:cxn>
              <a:cxn ang="0">
                <a:pos x="connsiteX35750" y="connsiteY35750"/>
              </a:cxn>
              <a:cxn ang="0">
                <a:pos x="connsiteX35751" y="connsiteY35751"/>
              </a:cxn>
              <a:cxn ang="0">
                <a:pos x="connsiteX35752" y="connsiteY35752"/>
              </a:cxn>
              <a:cxn ang="0">
                <a:pos x="connsiteX35753" y="connsiteY35753"/>
              </a:cxn>
              <a:cxn ang="0">
                <a:pos x="connsiteX35754" y="connsiteY35754"/>
              </a:cxn>
              <a:cxn ang="0">
                <a:pos x="connsiteX35755" y="connsiteY35755"/>
              </a:cxn>
              <a:cxn ang="0">
                <a:pos x="connsiteX35756" y="connsiteY35756"/>
              </a:cxn>
              <a:cxn ang="0">
                <a:pos x="connsiteX35757" y="connsiteY35757"/>
              </a:cxn>
              <a:cxn ang="0">
                <a:pos x="connsiteX35758" y="connsiteY35758"/>
              </a:cxn>
              <a:cxn ang="0">
                <a:pos x="connsiteX35759" y="connsiteY35759"/>
              </a:cxn>
              <a:cxn ang="0">
                <a:pos x="connsiteX35760" y="connsiteY35760"/>
              </a:cxn>
              <a:cxn ang="0">
                <a:pos x="connsiteX35761" y="connsiteY35761"/>
              </a:cxn>
              <a:cxn ang="0">
                <a:pos x="connsiteX35762" y="connsiteY35762"/>
              </a:cxn>
              <a:cxn ang="0">
                <a:pos x="connsiteX35763" y="connsiteY35763"/>
              </a:cxn>
              <a:cxn ang="0">
                <a:pos x="connsiteX35764" y="connsiteY35764"/>
              </a:cxn>
              <a:cxn ang="0">
                <a:pos x="connsiteX35765" y="connsiteY35765"/>
              </a:cxn>
              <a:cxn ang="0">
                <a:pos x="connsiteX35766" y="connsiteY35766"/>
              </a:cxn>
              <a:cxn ang="0">
                <a:pos x="connsiteX35767" y="connsiteY35767"/>
              </a:cxn>
              <a:cxn ang="0">
                <a:pos x="connsiteX35768" y="connsiteY35768"/>
              </a:cxn>
              <a:cxn ang="0">
                <a:pos x="connsiteX35769" y="connsiteY35769"/>
              </a:cxn>
              <a:cxn ang="0">
                <a:pos x="connsiteX35770" y="connsiteY35770"/>
              </a:cxn>
              <a:cxn ang="0">
                <a:pos x="connsiteX35771" y="connsiteY35771"/>
              </a:cxn>
              <a:cxn ang="0">
                <a:pos x="connsiteX35772" y="connsiteY35772"/>
              </a:cxn>
              <a:cxn ang="0">
                <a:pos x="connsiteX35773" y="connsiteY35773"/>
              </a:cxn>
              <a:cxn ang="0">
                <a:pos x="connsiteX35774" y="connsiteY35774"/>
              </a:cxn>
              <a:cxn ang="0">
                <a:pos x="connsiteX35775" y="connsiteY35775"/>
              </a:cxn>
              <a:cxn ang="0">
                <a:pos x="connsiteX35776" y="connsiteY35776"/>
              </a:cxn>
              <a:cxn ang="0">
                <a:pos x="connsiteX35777" y="connsiteY35777"/>
              </a:cxn>
              <a:cxn ang="0">
                <a:pos x="connsiteX35778" y="connsiteY35778"/>
              </a:cxn>
              <a:cxn ang="0">
                <a:pos x="connsiteX35779" y="connsiteY35779"/>
              </a:cxn>
              <a:cxn ang="0">
                <a:pos x="connsiteX35780" y="connsiteY35780"/>
              </a:cxn>
              <a:cxn ang="0">
                <a:pos x="connsiteX35781" y="connsiteY35781"/>
              </a:cxn>
              <a:cxn ang="0">
                <a:pos x="connsiteX35782" y="connsiteY35782"/>
              </a:cxn>
              <a:cxn ang="0">
                <a:pos x="connsiteX35783" y="connsiteY35783"/>
              </a:cxn>
              <a:cxn ang="0">
                <a:pos x="connsiteX35784" y="connsiteY35784"/>
              </a:cxn>
              <a:cxn ang="0">
                <a:pos x="connsiteX35785" y="connsiteY35785"/>
              </a:cxn>
              <a:cxn ang="0">
                <a:pos x="connsiteX35786" y="connsiteY35786"/>
              </a:cxn>
              <a:cxn ang="0">
                <a:pos x="connsiteX35787" y="connsiteY35787"/>
              </a:cxn>
              <a:cxn ang="0">
                <a:pos x="connsiteX35788" y="connsiteY35788"/>
              </a:cxn>
              <a:cxn ang="0">
                <a:pos x="connsiteX35789" y="connsiteY35789"/>
              </a:cxn>
              <a:cxn ang="0">
                <a:pos x="connsiteX35790" y="connsiteY35790"/>
              </a:cxn>
              <a:cxn ang="0">
                <a:pos x="connsiteX35791" y="connsiteY35791"/>
              </a:cxn>
              <a:cxn ang="0">
                <a:pos x="connsiteX35792" y="connsiteY35792"/>
              </a:cxn>
              <a:cxn ang="0">
                <a:pos x="connsiteX35793" y="connsiteY35793"/>
              </a:cxn>
              <a:cxn ang="0">
                <a:pos x="connsiteX35794" y="connsiteY35794"/>
              </a:cxn>
              <a:cxn ang="0">
                <a:pos x="connsiteX35795" y="connsiteY35795"/>
              </a:cxn>
              <a:cxn ang="0">
                <a:pos x="connsiteX35796" y="connsiteY35796"/>
              </a:cxn>
              <a:cxn ang="0">
                <a:pos x="connsiteX35797" y="connsiteY35797"/>
              </a:cxn>
              <a:cxn ang="0">
                <a:pos x="connsiteX35798" y="connsiteY35798"/>
              </a:cxn>
              <a:cxn ang="0">
                <a:pos x="connsiteX35799" y="connsiteY35799"/>
              </a:cxn>
              <a:cxn ang="0">
                <a:pos x="connsiteX35800" y="connsiteY35800"/>
              </a:cxn>
              <a:cxn ang="0">
                <a:pos x="connsiteX35801" y="connsiteY35801"/>
              </a:cxn>
              <a:cxn ang="0">
                <a:pos x="connsiteX35802" y="connsiteY35802"/>
              </a:cxn>
              <a:cxn ang="0">
                <a:pos x="connsiteX35803" y="connsiteY35803"/>
              </a:cxn>
              <a:cxn ang="0">
                <a:pos x="connsiteX35804" y="connsiteY35804"/>
              </a:cxn>
              <a:cxn ang="0">
                <a:pos x="connsiteX35805" y="connsiteY35805"/>
              </a:cxn>
              <a:cxn ang="0">
                <a:pos x="connsiteX35806" y="connsiteY35806"/>
              </a:cxn>
              <a:cxn ang="0">
                <a:pos x="connsiteX35807" y="connsiteY35807"/>
              </a:cxn>
              <a:cxn ang="0">
                <a:pos x="connsiteX35808" y="connsiteY35808"/>
              </a:cxn>
              <a:cxn ang="0">
                <a:pos x="connsiteX35809" y="connsiteY35809"/>
              </a:cxn>
              <a:cxn ang="0">
                <a:pos x="connsiteX35810" y="connsiteY35810"/>
              </a:cxn>
              <a:cxn ang="0">
                <a:pos x="connsiteX35811" y="connsiteY35811"/>
              </a:cxn>
              <a:cxn ang="0">
                <a:pos x="connsiteX35812" y="connsiteY35812"/>
              </a:cxn>
              <a:cxn ang="0">
                <a:pos x="connsiteX35813" y="connsiteY35813"/>
              </a:cxn>
              <a:cxn ang="0">
                <a:pos x="connsiteX35814" y="connsiteY35814"/>
              </a:cxn>
              <a:cxn ang="0">
                <a:pos x="connsiteX35815" y="connsiteY35815"/>
              </a:cxn>
              <a:cxn ang="0">
                <a:pos x="connsiteX35816" y="connsiteY35816"/>
              </a:cxn>
              <a:cxn ang="0">
                <a:pos x="connsiteX35817" y="connsiteY35817"/>
              </a:cxn>
              <a:cxn ang="0">
                <a:pos x="connsiteX35818" y="connsiteY35818"/>
              </a:cxn>
              <a:cxn ang="0">
                <a:pos x="connsiteX35819" y="connsiteY35819"/>
              </a:cxn>
              <a:cxn ang="0">
                <a:pos x="connsiteX35820" y="connsiteY35820"/>
              </a:cxn>
              <a:cxn ang="0">
                <a:pos x="connsiteX35821" y="connsiteY35821"/>
              </a:cxn>
              <a:cxn ang="0">
                <a:pos x="connsiteX35822" y="connsiteY35822"/>
              </a:cxn>
              <a:cxn ang="0">
                <a:pos x="connsiteX35823" y="connsiteY35823"/>
              </a:cxn>
              <a:cxn ang="0">
                <a:pos x="connsiteX35824" y="connsiteY35824"/>
              </a:cxn>
              <a:cxn ang="0">
                <a:pos x="connsiteX35825" y="connsiteY35825"/>
              </a:cxn>
              <a:cxn ang="0">
                <a:pos x="connsiteX35826" y="connsiteY35826"/>
              </a:cxn>
              <a:cxn ang="0">
                <a:pos x="connsiteX35827" y="connsiteY35827"/>
              </a:cxn>
              <a:cxn ang="0">
                <a:pos x="connsiteX35828" y="connsiteY35828"/>
              </a:cxn>
              <a:cxn ang="0">
                <a:pos x="connsiteX35829" y="connsiteY35829"/>
              </a:cxn>
              <a:cxn ang="0">
                <a:pos x="connsiteX35830" y="connsiteY35830"/>
              </a:cxn>
              <a:cxn ang="0">
                <a:pos x="connsiteX35831" y="connsiteY35831"/>
              </a:cxn>
              <a:cxn ang="0">
                <a:pos x="connsiteX35832" y="connsiteY35832"/>
              </a:cxn>
              <a:cxn ang="0">
                <a:pos x="connsiteX35833" y="connsiteY35833"/>
              </a:cxn>
              <a:cxn ang="0">
                <a:pos x="connsiteX35834" y="connsiteY35834"/>
              </a:cxn>
              <a:cxn ang="0">
                <a:pos x="connsiteX35835" y="connsiteY35835"/>
              </a:cxn>
              <a:cxn ang="0">
                <a:pos x="connsiteX35836" y="connsiteY35836"/>
              </a:cxn>
              <a:cxn ang="0">
                <a:pos x="connsiteX35837" y="connsiteY35837"/>
              </a:cxn>
              <a:cxn ang="0">
                <a:pos x="connsiteX35838" y="connsiteY35838"/>
              </a:cxn>
              <a:cxn ang="0">
                <a:pos x="connsiteX35839" y="connsiteY35839"/>
              </a:cxn>
              <a:cxn ang="0">
                <a:pos x="connsiteX35840" y="connsiteY35840"/>
              </a:cxn>
              <a:cxn ang="0">
                <a:pos x="connsiteX35841" y="connsiteY35841"/>
              </a:cxn>
              <a:cxn ang="0">
                <a:pos x="connsiteX35842" y="connsiteY35842"/>
              </a:cxn>
              <a:cxn ang="0">
                <a:pos x="connsiteX35843" y="connsiteY35843"/>
              </a:cxn>
              <a:cxn ang="0">
                <a:pos x="connsiteX35844" y="connsiteY35844"/>
              </a:cxn>
              <a:cxn ang="0">
                <a:pos x="connsiteX35845" y="connsiteY35845"/>
              </a:cxn>
              <a:cxn ang="0">
                <a:pos x="connsiteX35846" y="connsiteY35846"/>
              </a:cxn>
              <a:cxn ang="0">
                <a:pos x="connsiteX35847" y="connsiteY35847"/>
              </a:cxn>
              <a:cxn ang="0">
                <a:pos x="connsiteX35848" y="connsiteY35848"/>
              </a:cxn>
              <a:cxn ang="0">
                <a:pos x="connsiteX35849" y="connsiteY35849"/>
              </a:cxn>
              <a:cxn ang="0">
                <a:pos x="connsiteX35850" y="connsiteY35850"/>
              </a:cxn>
              <a:cxn ang="0">
                <a:pos x="connsiteX35851" y="connsiteY35851"/>
              </a:cxn>
              <a:cxn ang="0">
                <a:pos x="connsiteX35852" y="connsiteY35852"/>
              </a:cxn>
              <a:cxn ang="0">
                <a:pos x="connsiteX35853" y="connsiteY35853"/>
              </a:cxn>
              <a:cxn ang="0">
                <a:pos x="connsiteX35854" y="connsiteY35854"/>
              </a:cxn>
              <a:cxn ang="0">
                <a:pos x="connsiteX35855" y="connsiteY35855"/>
              </a:cxn>
              <a:cxn ang="0">
                <a:pos x="connsiteX35856" y="connsiteY35856"/>
              </a:cxn>
              <a:cxn ang="0">
                <a:pos x="connsiteX35857" y="connsiteY35857"/>
              </a:cxn>
              <a:cxn ang="0">
                <a:pos x="connsiteX35858" y="connsiteY35858"/>
              </a:cxn>
              <a:cxn ang="0">
                <a:pos x="connsiteX35859" y="connsiteY35859"/>
              </a:cxn>
              <a:cxn ang="0">
                <a:pos x="connsiteX35860" y="connsiteY35860"/>
              </a:cxn>
              <a:cxn ang="0">
                <a:pos x="connsiteX35861" y="connsiteY35861"/>
              </a:cxn>
              <a:cxn ang="0">
                <a:pos x="connsiteX35862" y="connsiteY35862"/>
              </a:cxn>
              <a:cxn ang="0">
                <a:pos x="connsiteX35863" y="connsiteY35863"/>
              </a:cxn>
              <a:cxn ang="0">
                <a:pos x="connsiteX35864" y="connsiteY35864"/>
              </a:cxn>
              <a:cxn ang="0">
                <a:pos x="connsiteX35865" y="connsiteY35865"/>
              </a:cxn>
              <a:cxn ang="0">
                <a:pos x="connsiteX35866" y="connsiteY35866"/>
              </a:cxn>
              <a:cxn ang="0">
                <a:pos x="connsiteX35867" y="connsiteY35867"/>
              </a:cxn>
              <a:cxn ang="0">
                <a:pos x="connsiteX35868" y="connsiteY35868"/>
              </a:cxn>
              <a:cxn ang="0">
                <a:pos x="connsiteX35869" y="connsiteY35869"/>
              </a:cxn>
              <a:cxn ang="0">
                <a:pos x="connsiteX35870" y="connsiteY35870"/>
              </a:cxn>
              <a:cxn ang="0">
                <a:pos x="connsiteX35871" y="connsiteY35871"/>
              </a:cxn>
              <a:cxn ang="0">
                <a:pos x="connsiteX35872" y="connsiteY35872"/>
              </a:cxn>
              <a:cxn ang="0">
                <a:pos x="connsiteX35873" y="connsiteY35873"/>
              </a:cxn>
              <a:cxn ang="0">
                <a:pos x="connsiteX35874" y="connsiteY35874"/>
              </a:cxn>
              <a:cxn ang="0">
                <a:pos x="connsiteX35875" y="connsiteY35875"/>
              </a:cxn>
              <a:cxn ang="0">
                <a:pos x="connsiteX35876" y="connsiteY35876"/>
              </a:cxn>
              <a:cxn ang="0">
                <a:pos x="connsiteX35877" y="connsiteY35877"/>
              </a:cxn>
              <a:cxn ang="0">
                <a:pos x="connsiteX35878" y="connsiteY35878"/>
              </a:cxn>
              <a:cxn ang="0">
                <a:pos x="connsiteX35879" y="connsiteY35879"/>
              </a:cxn>
              <a:cxn ang="0">
                <a:pos x="connsiteX35880" y="connsiteY35880"/>
              </a:cxn>
              <a:cxn ang="0">
                <a:pos x="connsiteX35881" y="connsiteY35881"/>
              </a:cxn>
              <a:cxn ang="0">
                <a:pos x="connsiteX35882" y="connsiteY35882"/>
              </a:cxn>
              <a:cxn ang="0">
                <a:pos x="connsiteX35883" y="connsiteY35883"/>
              </a:cxn>
              <a:cxn ang="0">
                <a:pos x="connsiteX35884" y="connsiteY35884"/>
              </a:cxn>
              <a:cxn ang="0">
                <a:pos x="connsiteX35885" y="connsiteY35885"/>
              </a:cxn>
              <a:cxn ang="0">
                <a:pos x="connsiteX35886" y="connsiteY35886"/>
              </a:cxn>
              <a:cxn ang="0">
                <a:pos x="connsiteX35887" y="connsiteY35887"/>
              </a:cxn>
              <a:cxn ang="0">
                <a:pos x="connsiteX35888" y="connsiteY35888"/>
              </a:cxn>
              <a:cxn ang="0">
                <a:pos x="connsiteX35889" y="connsiteY35889"/>
              </a:cxn>
              <a:cxn ang="0">
                <a:pos x="connsiteX35890" y="connsiteY35890"/>
              </a:cxn>
              <a:cxn ang="0">
                <a:pos x="connsiteX35891" y="connsiteY35891"/>
              </a:cxn>
              <a:cxn ang="0">
                <a:pos x="connsiteX35892" y="connsiteY35892"/>
              </a:cxn>
              <a:cxn ang="0">
                <a:pos x="connsiteX35893" y="connsiteY35893"/>
              </a:cxn>
              <a:cxn ang="0">
                <a:pos x="connsiteX35894" y="connsiteY35894"/>
              </a:cxn>
              <a:cxn ang="0">
                <a:pos x="connsiteX35895" y="connsiteY35895"/>
              </a:cxn>
              <a:cxn ang="0">
                <a:pos x="connsiteX35896" y="connsiteY35896"/>
              </a:cxn>
              <a:cxn ang="0">
                <a:pos x="connsiteX35897" y="connsiteY35897"/>
              </a:cxn>
              <a:cxn ang="0">
                <a:pos x="connsiteX35898" y="connsiteY35898"/>
              </a:cxn>
              <a:cxn ang="0">
                <a:pos x="connsiteX35899" y="connsiteY35899"/>
              </a:cxn>
              <a:cxn ang="0">
                <a:pos x="connsiteX35900" y="connsiteY35900"/>
              </a:cxn>
              <a:cxn ang="0">
                <a:pos x="connsiteX35901" y="connsiteY35901"/>
              </a:cxn>
              <a:cxn ang="0">
                <a:pos x="connsiteX35902" y="connsiteY35902"/>
              </a:cxn>
              <a:cxn ang="0">
                <a:pos x="connsiteX35903" y="connsiteY35903"/>
              </a:cxn>
              <a:cxn ang="0">
                <a:pos x="connsiteX35904" y="connsiteY35904"/>
              </a:cxn>
              <a:cxn ang="0">
                <a:pos x="connsiteX35905" y="connsiteY35905"/>
              </a:cxn>
              <a:cxn ang="0">
                <a:pos x="connsiteX35906" y="connsiteY35906"/>
              </a:cxn>
              <a:cxn ang="0">
                <a:pos x="connsiteX35907" y="connsiteY35907"/>
              </a:cxn>
              <a:cxn ang="0">
                <a:pos x="connsiteX35908" y="connsiteY35908"/>
              </a:cxn>
              <a:cxn ang="0">
                <a:pos x="connsiteX35909" y="connsiteY35909"/>
              </a:cxn>
              <a:cxn ang="0">
                <a:pos x="connsiteX35910" y="connsiteY35910"/>
              </a:cxn>
              <a:cxn ang="0">
                <a:pos x="connsiteX35911" y="connsiteY35911"/>
              </a:cxn>
              <a:cxn ang="0">
                <a:pos x="connsiteX35912" y="connsiteY35912"/>
              </a:cxn>
              <a:cxn ang="0">
                <a:pos x="connsiteX35913" y="connsiteY35913"/>
              </a:cxn>
              <a:cxn ang="0">
                <a:pos x="connsiteX35914" y="connsiteY35914"/>
              </a:cxn>
              <a:cxn ang="0">
                <a:pos x="connsiteX35915" y="connsiteY35915"/>
              </a:cxn>
              <a:cxn ang="0">
                <a:pos x="connsiteX35916" y="connsiteY35916"/>
              </a:cxn>
              <a:cxn ang="0">
                <a:pos x="connsiteX35917" y="connsiteY35917"/>
              </a:cxn>
              <a:cxn ang="0">
                <a:pos x="connsiteX35918" y="connsiteY35918"/>
              </a:cxn>
              <a:cxn ang="0">
                <a:pos x="connsiteX35919" y="connsiteY35919"/>
              </a:cxn>
              <a:cxn ang="0">
                <a:pos x="connsiteX35920" y="connsiteY35920"/>
              </a:cxn>
              <a:cxn ang="0">
                <a:pos x="connsiteX35921" y="connsiteY35921"/>
              </a:cxn>
              <a:cxn ang="0">
                <a:pos x="connsiteX35922" y="connsiteY35922"/>
              </a:cxn>
              <a:cxn ang="0">
                <a:pos x="connsiteX35923" y="connsiteY35923"/>
              </a:cxn>
              <a:cxn ang="0">
                <a:pos x="connsiteX35924" y="connsiteY35924"/>
              </a:cxn>
              <a:cxn ang="0">
                <a:pos x="connsiteX35925" y="connsiteY35925"/>
              </a:cxn>
              <a:cxn ang="0">
                <a:pos x="connsiteX35926" y="connsiteY35926"/>
              </a:cxn>
              <a:cxn ang="0">
                <a:pos x="connsiteX35927" y="connsiteY35927"/>
              </a:cxn>
              <a:cxn ang="0">
                <a:pos x="connsiteX35928" y="connsiteY35928"/>
              </a:cxn>
              <a:cxn ang="0">
                <a:pos x="connsiteX35929" y="connsiteY35929"/>
              </a:cxn>
              <a:cxn ang="0">
                <a:pos x="connsiteX35930" y="connsiteY35930"/>
              </a:cxn>
              <a:cxn ang="0">
                <a:pos x="connsiteX35931" y="connsiteY35931"/>
              </a:cxn>
              <a:cxn ang="0">
                <a:pos x="connsiteX35932" y="connsiteY35932"/>
              </a:cxn>
              <a:cxn ang="0">
                <a:pos x="connsiteX35933" y="connsiteY35933"/>
              </a:cxn>
              <a:cxn ang="0">
                <a:pos x="connsiteX35934" y="connsiteY35934"/>
              </a:cxn>
              <a:cxn ang="0">
                <a:pos x="connsiteX35935" y="connsiteY35935"/>
              </a:cxn>
              <a:cxn ang="0">
                <a:pos x="connsiteX35936" y="connsiteY35936"/>
              </a:cxn>
              <a:cxn ang="0">
                <a:pos x="connsiteX35937" y="connsiteY35937"/>
              </a:cxn>
              <a:cxn ang="0">
                <a:pos x="connsiteX35938" y="connsiteY35938"/>
              </a:cxn>
              <a:cxn ang="0">
                <a:pos x="connsiteX35939" y="connsiteY35939"/>
              </a:cxn>
              <a:cxn ang="0">
                <a:pos x="connsiteX35940" y="connsiteY35940"/>
              </a:cxn>
              <a:cxn ang="0">
                <a:pos x="connsiteX35941" y="connsiteY35941"/>
              </a:cxn>
              <a:cxn ang="0">
                <a:pos x="connsiteX35942" y="connsiteY35942"/>
              </a:cxn>
              <a:cxn ang="0">
                <a:pos x="connsiteX35943" y="connsiteY35943"/>
              </a:cxn>
              <a:cxn ang="0">
                <a:pos x="connsiteX35944" y="connsiteY35944"/>
              </a:cxn>
              <a:cxn ang="0">
                <a:pos x="connsiteX35945" y="connsiteY35945"/>
              </a:cxn>
              <a:cxn ang="0">
                <a:pos x="connsiteX35946" y="connsiteY35946"/>
              </a:cxn>
              <a:cxn ang="0">
                <a:pos x="connsiteX35947" y="connsiteY35947"/>
              </a:cxn>
              <a:cxn ang="0">
                <a:pos x="connsiteX35948" y="connsiteY35948"/>
              </a:cxn>
              <a:cxn ang="0">
                <a:pos x="connsiteX35949" y="connsiteY35949"/>
              </a:cxn>
              <a:cxn ang="0">
                <a:pos x="connsiteX35950" y="connsiteY35950"/>
              </a:cxn>
              <a:cxn ang="0">
                <a:pos x="connsiteX35951" y="connsiteY35951"/>
              </a:cxn>
              <a:cxn ang="0">
                <a:pos x="connsiteX35952" y="connsiteY35952"/>
              </a:cxn>
              <a:cxn ang="0">
                <a:pos x="connsiteX35953" y="connsiteY35953"/>
              </a:cxn>
              <a:cxn ang="0">
                <a:pos x="connsiteX35954" y="connsiteY35954"/>
              </a:cxn>
              <a:cxn ang="0">
                <a:pos x="connsiteX35955" y="connsiteY35955"/>
              </a:cxn>
              <a:cxn ang="0">
                <a:pos x="connsiteX35956" y="connsiteY35956"/>
              </a:cxn>
              <a:cxn ang="0">
                <a:pos x="connsiteX35957" y="connsiteY35957"/>
              </a:cxn>
              <a:cxn ang="0">
                <a:pos x="connsiteX35958" y="connsiteY35958"/>
              </a:cxn>
              <a:cxn ang="0">
                <a:pos x="connsiteX35959" y="connsiteY35959"/>
              </a:cxn>
              <a:cxn ang="0">
                <a:pos x="connsiteX35960" y="connsiteY35960"/>
              </a:cxn>
              <a:cxn ang="0">
                <a:pos x="connsiteX35961" y="connsiteY35961"/>
              </a:cxn>
              <a:cxn ang="0">
                <a:pos x="connsiteX35962" y="connsiteY35962"/>
              </a:cxn>
              <a:cxn ang="0">
                <a:pos x="connsiteX35963" y="connsiteY35963"/>
              </a:cxn>
              <a:cxn ang="0">
                <a:pos x="connsiteX35964" y="connsiteY35964"/>
              </a:cxn>
              <a:cxn ang="0">
                <a:pos x="connsiteX35965" y="connsiteY35965"/>
              </a:cxn>
              <a:cxn ang="0">
                <a:pos x="connsiteX35966" y="connsiteY35966"/>
              </a:cxn>
              <a:cxn ang="0">
                <a:pos x="connsiteX35967" y="connsiteY35967"/>
              </a:cxn>
              <a:cxn ang="0">
                <a:pos x="connsiteX35968" y="connsiteY35968"/>
              </a:cxn>
              <a:cxn ang="0">
                <a:pos x="connsiteX35969" y="connsiteY35969"/>
              </a:cxn>
              <a:cxn ang="0">
                <a:pos x="connsiteX35970" y="connsiteY35970"/>
              </a:cxn>
              <a:cxn ang="0">
                <a:pos x="connsiteX35971" y="connsiteY35971"/>
              </a:cxn>
              <a:cxn ang="0">
                <a:pos x="connsiteX35972" y="connsiteY35972"/>
              </a:cxn>
              <a:cxn ang="0">
                <a:pos x="connsiteX35973" y="connsiteY35973"/>
              </a:cxn>
              <a:cxn ang="0">
                <a:pos x="connsiteX35974" y="connsiteY35974"/>
              </a:cxn>
              <a:cxn ang="0">
                <a:pos x="connsiteX35975" y="connsiteY35975"/>
              </a:cxn>
              <a:cxn ang="0">
                <a:pos x="connsiteX35976" y="connsiteY35976"/>
              </a:cxn>
              <a:cxn ang="0">
                <a:pos x="connsiteX35977" y="connsiteY35977"/>
              </a:cxn>
              <a:cxn ang="0">
                <a:pos x="connsiteX35978" y="connsiteY35978"/>
              </a:cxn>
              <a:cxn ang="0">
                <a:pos x="connsiteX35979" y="connsiteY35979"/>
              </a:cxn>
              <a:cxn ang="0">
                <a:pos x="connsiteX35980" y="connsiteY35980"/>
              </a:cxn>
              <a:cxn ang="0">
                <a:pos x="connsiteX35981" y="connsiteY35981"/>
              </a:cxn>
              <a:cxn ang="0">
                <a:pos x="connsiteX35982" y="connsiteY35982"/>
              </a:cxn>
              <a:cxn ang="0">
                <a:pos x="connsiteX35983" y="connsiteY35983"/>
              </a:cxn>
              <a:cxn ang="0">
                <a:pos x="connsiteX35984" y="connsiteY35984"/>
              </a:cxn>
              <a:cxn ang="0">
                <a:pos x="connsiteX35985" y="connsiteY35985"/>
              </a:cxn>
              <a:cxn ang="0">
                <a:pos x="connsiteX35986" y="connsiteY35986"/>
              </a:cxn>
              <a:cxn ang="0">
                <a:pos x="connsiteX35987" y="connsiteY35987"/>
              </a:cxn>
              <a:cxn ang="0">
                <a:pos x="connsiteX35988" y="connsiteY35988"/>
              </a:cxn>
              <a:cxn ang="0">
                <a:pos x="connsiteX35989" y="connsiteY35989"/>
              </a:cxn>
              <a:cxn ang="0">
                <a:pos x="connsiteX35990" y="connsiteY35990"/>
              </a:cxn>
              <a:cxn ang="0">
                <a:pos x="connsiteX35991" y="connsiteY35991"/>
              </a:cxn>
              <a:cxn ang="0">
                <a:pos x="connsiteX35992" y="connsiteY35992"/>
              </a:cxn>
              <a:cxn ang="0">
                <a:pos x="connsiteX35993" y="connsiteY35993"/>
              </a:cxn>
              <a:cxn ang="0">
                <a:pos x="connsiteX35994" y="connsiteY35994"/>
              </a:cxn>
              <a:cxn ang="0">
                <a:pos x="connsiteX35995" y="connsiteY35995"/>
              </a:cxn>
              <a:cxn ang="0">
                <a:pos x="connsiteX35996" y="connsiteY35996"/>
              </a:cxn>
              <a:cxn ang="0">
                <a:pos x="connsiteX35997" y="connsiteY35997"/>
              </a:cxn>
              <a:cxn ang="0">
                <a:pos x="connsiteX35998" y="connsiteY35998"/>
              </a:cxn>
              <a:cxn ang="0">
                <a:pos x="connsiteX35999" y="connsiteY35999"/>
              </a:cxn>
              <a:cxn ang="0">
                <a:pos x="connsiteX36000" y="connsiteY36000"/>
              </a:cxn>
              <a:cxn ang="0">
                <a:pos x="connsiteX36001" y="connsiteY36001"/>
              </a:cxn>
              <a:cxn ang="0">
                <a:pos x="connsiteX36002" y="connsiteY36002"/>
              </a:cxn>
              <a:cxn ang="0">
                <a:pos x="connsiteX36003" y="connsiteY36003"/>
              </a:cxn>
              <a:cxn ang="0">
                <a:pos x="connsiteX36004" y="connsiteY36004"/>
              </a:cxn>
              <a:cxn ang="0">
                <a:pos x="connsiteX36005" y="connsiteY36005"/>
              </a:cxn>
              <a:cxn ang="0">
                <a:pos x="connsiteX36006" y="connsiteY36006"/>
              </a:cxn>
              <a:cxn ang="0">
                <a:pos x="connsiteX36007" y="connsiteY36007"/>
              </a:cxn>
              <a:cxn ang="0">
                <a:pos x="connsiteX36008" y="connsiteY36008"/>
              </a:cxn>
              <a:cxn ang="0">
                <a:pos x="connsiteX36009" y="connsiteY36009"/>
              </a:cxn>
              <a:cxn ang="0">
                <a:pos x="connsiteX36010" y="connsiteY36010"/>
              </a:cxn>
              <a:cxn ang="0">
                <a:pos x="connsiteX36011" y="connsiteY36011"/>
              </a:cxn>
              <a:cxn ang="0">
                <a:pos x="connsiteX36012" y="connsiteY36012"/>
              </a:cxn>
              <a:cxn ang="0">
                <a:pos x="connsiteX36013" y="connsiteY36013"/>
              </a:cxn>
              <a:cxn ang="0">
                <a:pos x="connsiteX36014" y="connsiteY36014"/>
              </a:cxn>
              <a:cxn ang="0">
                <a:pos x="connsiteX36015" y="connsiteY36015"/>
              </a:cxn>
              <a:cxn ang="0">
                <a:pos x="connsiteX36016" y="connsiteY36016"/>
              </a:cxn>
              <a:cxn ang="0">
                <a:pos x="connsiteX36017" y="connsiteY36017"/>
              </a:cxn>
              <a:cxn ang="0">
                <a:pos x="connsiteX36018" y="connsiteY36018"/>
              </a:cxn>
              <a:cxn ang="0">
                <a:pos x="connsiteX36019" y="connsiteY36019"/>
              </a:cxn>
              <a:cxn ang="0">
                <a:pos x="connsiteX36020" y="connsiteY36020"/>
              </a:cxn>
              <a:cxn ang="0">
                <a:pos x="connsiteX36021" y="connsiteY36021"/>
              </a:cxn>
              <a:cxn ang="0">
                <a:pos x="connsiteX36022" y="connsiteY36022"/>
              </a:cxn>
              <a:cxn ang="0">
                <a:pos x="connsiteX36023" y="connsiteY36023"/>
              </a:cxn>
              <a:cxn ang="0">
                <a:pos x="connsiteX36024" y="connsiteY36024"/>
              </a:cxn>
              <a:cxn ang="0">
                <a:pos x="connsiteX36025" y="connsiteY36025"/>
              </a:cxn>
              <a:cxn ang="0">
                <a:pos x="connsiteX36026" y="connsiteY36026"/>
              </a:cxn>
              <a:cxn ang="0">
                <a:pos x="connsiteX36027" y="connsiteY36027"/>
              </a:cxn>
              <a:cxn ang="0">
                <a:pos x="connsiteX36028" y="connsiteY36028"/>
              </a:cxn>
              <a:cxn ang="0">
                <a:pos x="connsiteX36029" y="connsiteY36029"/>
              </a:cxn>
              <a:cxn ang="0">
                <a:pos x="connsiteX36030" y="connsiteY36030"/>
              </a:cxn>
              <a:cxn ang="0">
                <a:pos x="connsiteX36031" y="connsiteY36031"/>
              </a:cxn>
              <a:cxn ang="0">
                <a:pos x="connsiteX36032" y="connsiteY36032"/>
              </a:cxn>
              <a:cxn ang="0">
                <a:pos x="connsiteX36033" y="connsiteY36033"/>
              </a:cxn>
              <a:cxn ang="0">
                <a:pos x="connsiteX36034" y="connsiteY36034"/>
              </a:cxn>
              <a:cxn ang="0">
                <a:pos x="connsiteX36035" y="connsiteY36035"/>
              </a:cxn>
              <a:cxn ang="0">
                <a:pos x="connsiteX36036" y="connsiteY36036"/>
              </a:cxn>
              <a:cxn ang="0">
                <a:pos x="connsiteX36037" y="connsiteY36037"/>
              </a:cxn>
              <a:cxn ang="0">
                <a:pos x="connsiteX36038" y="connsiteY36038"/>
              </a:cxn>
              <a:cxn ang="0">
                <a:pos x="connsiteX36039" y="connsiteY36039"/>
              </a:cxn>
              <a:cxn ang="0">
                <a:pos x="connsiteX36040" y="connsiteY36040"/>
              </a:cxn>
              <a:cxn ang="0">
                <a:pos x="connsiteX36041" y="connsiteY36041"/>
              </a:cxn>
              <a:cxn ang="0">
                <a:pos x="connsiteX36042" y="connsiteY36042"/>
              </a:cxn>
              <a:cxn ang="0">
                <a:pos x="connsiteX36043" y="connsiteY36043"/>
              </a:cxn>
              <a:cxn ang="0">
                <a:pos x="connsiteX36044" y="connsiteY36044"/>
              </a:cxn>
              <a:cxn ang="0">
                <a:pos x="connsiteX36045" y="connsiteY36045"/>
              </a:cxn>
              <a:cxn ang="0">
                <a:pos x="connsiteX36046" y="connsiteY36046"/>
              </a:cxn>
              <a:cxn ang="0">
                <a:pos x="connsiteX36047" y="connsiteY36047"/>
              </a:cxn>
              <a:cxn ang="0">
                <a:pos x="connsiteX36048" y="connsiteY36048"/>
              </a:cxn>
              <a:cxn ang="0">
                <a:pos x="connsiteX36049" y="connsiteY36049"/>
              </a:cxn>
              <a:cxn ang="0">
                <a:pos x="connsiteX36050" y="connsiteY36050"/>
              </a:cxn>
              <a:cxn ang="0">
                <a:pos x="connsiteX36051" y="connsiteY36051"/>
              </a:cxn>
              <a:cxn ang="0">
                <a:pos x="connsiteX36052" y="connsiteY36052"/>
              </a:cxn>
              <a:cxn ang="0">
                <a:pos x="connsiteX36053" y="connsiteY36053"/>
              </a:cxn>
              <a:cxn ang="0">
                <a:pos x="connsiteX36054" y="connsiteY36054"/>
              </a:cxn>
              <a:cxn ang="0">
                <a:pos x="connsiteX36055" y="connsiteY36055"/>
              </a:cxn>
              <a:cxn ang="0">
                <a:pos x="connsiteX36056" y="connsiteY36056"/>
              </a:cxn>
              <a:cxn ang="0">
                <a:pos x="connsiteX36057" y="connsiteY36057"/>
              </a:cxn>
              <a:cxn ang="0">
                <a:pos x="connsiteX36058" y="connsiteY36058"/>
              </a:cxn>
              <a:cxn ang="0">
                <a:pos x="connsiteX36059" y="connsiteY36059"/>
              </a:cxn>
              <a:cxn ang="0">
                <a:pos x="connsiteX36060" y="connsiteY36060"/>
              </a:cxn>
              <a:cxn ang="0">
                <a:pos x="connsiteX36061" y="connsiteY36061"/>
              </a:cxn>
              <a:cxn ang="0">
                <a:pos x="connsiteX36062" y="connsiteY36062"/>
              </a:cxn>
              <a:cxn ang="0">
                <a:pos x="connsiteX36063" y="connsiteY36063"/>
              </a:cxn>
              <a:cxn ang="0">
                <a:pos x="connsiteX36064" y="connsiteY36064"/>
              </a:cxn>
              <a:cxn ang="0">
                <a:pos x="connsiteX36065" y="connsiteY36065"/>
              </a:cxn>
              <a:cxn ang="0">
                <a:pos x="connsiteX36066" y="connsiteY36066"/>
              </a:cxn>
              <a:cxn ang="0">
                <a:pos x="connsiteX36067" y="connsiteY36067"/>
              </a:cxn>
              <a:cxn ang="0">
                <a:pos x="connsiteX36068" y="connsiteY36068"/>
              </a:cxn>
              <a:cxn ang="0">
                <a:pos x="connsiteX36069" y="connsiteY36069"/>
              </a:cxn>
              <a:cxn ang="0">
                <a:pos x="connsiteX36070" y="connsiteY36070"/>
              </a:cxn>
              <a:cxn ang="0">
                <a:pos x="connsiteX36071" y="connsiteY36071"/>
              </a:cxn>
              <a:cxn ang="0">
                <a:pos x="connsiteX36072" y="connsiteY36072"/>
              </a:cxn>
              <a:cxn ang="0">
                <a:pos x="connsiteX36073" y="connsiteY36073"/>
              </a:cxn>
              <a:cxn ang="0">
                <a:pos x="connsiteX36074" y="connsiteY36074"/>
              </a:cxn>
              <a:cxn ang="0">
                <a:pos x="connsiteX36075" y="connsiteY36075"/>
              </a:cxn>
              <a:cxn ang="0">
                <a:pos x="connsiteX36076" y="connsiteY36076"/>
              </a:cxn>
              <a:cxn ang="0">
                <a:pos x="connsiteX36077" y="connsiteY36077"/>
              </a:cxn>
              <a:cxn ang="0">
                <a:pos x="connsiteX36078" y="connsiteY36078"/>
              </a:cxn>
              <a:cxn ang="0">
                <a:pos x="connsiteX36079" y="connsiteY36079"/>
              </a:cxn>
              <a:cxn ang="0">
                <a:pos x="connsiteX36080" y="connsiteY36080"/>
              </a:cxn>
              <a:cxn ang="0">
                <a:pos x="connsiteX36081" y="connsiteY36081"/>
              </a:cxn>
              <a:cxn ang="0">
                <a:pos x="connsiteX36082" y="connsiteY36082"/>
              </a:cxn>
              <a:cxn ang="0">
                <a:pos x="connsiteX36083" y="connsiteY36083"/>
              </a:cxn>
              <a:cxn ang="0">
                <a:pos x="connsiteX36084" y="connsiteY36084"/>
              </a:cxn>
              <a:cxn ang="0">
                <a:pos x="connsiteX36085" y="connsiteY36085"/>
              </a:cxn>
              <a:cxn ang="0">
                <a:pos x="connsiteX36086" y="connsiteY36086"/>
              </a:cxn>
              <a:cxn ang="0">
                <a:pos x="connsiteX36087" y="connsiteY36087"/>
              </a:cxn>
              <a:cxn ang="0">
                <a:pos x="connsiteX36088" y="connsiteY36088"/>
              </a:cxn>
              <a:cxn ang="0">
                <a:pos x="connsiteX36089" y="connsiteY36089"/>
              </a:cxn>
              <a:cxn ang="0">
                <a:pos x="connsiteX36090" y="connsiteY36090"/>
              </a:cxn>
              <a:cxn ang="0">
                <a:pos x="connsiteX36091" y="connsiteY36091"/>
              </a:cxn>
              <a:cxn ang="0">
                <a:pos x="connsiteX36092" y="connsiteY36092"/>
              </a:cxn>
              <a:cxn ang="0">
                <a:pos x="connsiteX36093" y="connsiteY36093"/>
              </a:cxn>
              <a:cxn ang="0">
                <a:pos x="connsiteX36094" y="connsiteY36094"/>
              </a:cxn>
              <a:cxn ang="0">
                <a:pos x="connsiteX36095" y="connsiteY36095"/>
              </a:cxn>
              <a:cxn ang="0">
                <a:pos x="connsiteX36096" y="connsiteY36096"/>
              </a:cxn>
              <a:cxn ang="0">
                <a:pos x="connsiteX36097" y="connsiteY36097"/>
              </a:cxn>
              <a:cxn ang="0">
                <a:pos x="connsiteX36098" y="connsiteY36098"/>
              </a:cxn>
              <a:cxn ang="0">
                <a:pos x="connsiteX36099" y="connsiteY36099"/>
              </a:cxn>
              <a:cxn ang="0">
                <a:pos x="connsiteX36100" y="connsiteY36100"/>
              </a:cxn>
              <a:cxn ang="0">
                <a:pos x="connsiteX36101" y="connsiteY36101"/>
              </a:cxn>
              <a:cxn ang="0">
                <a:pos x="connsiteX36102" y="connsiteY36102"/>
              </a:cxn>
              <a:cxn ang="0">
                <a:pos x="connsiteX36103" y="connsiteY36103"/>
              </a:cxn>
              <a:cxn ang="0">
                <a:pos x="connsiteX36104" y="connsiteY36104"/>
              </a:cxn>
              <a:cxn ang="0">
                <a:pos x="connsiteX36105" y="connsiteY36105"/>
              </a:cxn>
              <a:cxn ang="0">
                <a:pos x="connsiteX36106" y="connsiteY36106"/>
              </a:cxn>
              <a:cxn ang="0">
                <a:pos x="connsiteX36107" y="connsiteY36107"/>
              </a:cxn>
              <a:cxn ang="0">
                <a:pos x="connsiteX36108" y="connsiteY36108"/>
              </a:cxn>
              <a:cxn ang="0">
                <a:pos x="connsiteX36109" y="connsiteY36109"/>
              </a:cxn>
              <a:cxn ang="0">
                <a:pos x="connsiteX36110" y="connsiteY36110"/>
              </a:cxn>
              <a:cxn ang="0">
                <a:pos x="connsiteX36111" y="connsiteY36111"/>
              </a:cxn>
              <a:cxn ang="0">
                <a:pos x="connsiteX36112" y="connsiteY36112"/>
              </a:cxn>
              <a:cxn ang="0">
                <a:pos x="connsiteX36113" y="connsiteY36113"/>
              </a:cxn>
              <a:cxn ang="0">
                <a:pos x="connsiteX36114" y="connsiteY36114"/>
              </a:cxn>
              <a:cxn ang="0">
                <a:pos x="connsiteX36115" y="connsiteY36115"/>
              </a:cxn>
              <a:cxn ang="0">
                <a:pos x="connsiteX36116" y="connsiteY36116"/>
              </a:cxn>
              <a:cxn ang="0">
                <a:pos x="connsiteX36117" y="connsiteY36117"/>
              </a:cxn>
              <a:cxn ang="0">
                <a:pos x="connsiteX36118" y="connsiteY36118"/>
              </a:cxn>
              <a:cxn ang="0">
                <a:pos x="connsiteX36119" y="connsiteY36119"/>
              </a:cxn>
              <a:cxn ang="0">
                <a:pos x="connsiteX36120" y="connsiteY36120"/>
              </a:cxn>
              <a:cxn ang="0">
                <a:pos x="connsiteX36121" y="connsiteY36121"/>
              </a:cxn>
              <a:cxn ang="0">
                <a:pos x="connsiteX36122" y="connsiteY36122"/>
              </a:cxn>
              <a:cxn ang="0">
                <a:pos x="connsiteX36123" y="connsiteY36123"/>
              </a:cxn>
              <a:cxn ang="0">
                <a:pos x="connsiteX36124" y="connsiteY36124"/>
              </a:cxn>
              <a:cxn ang="0">
                <a:pos x="connsiteX36125" y="connsiteY36125"/>
              </a:cxn>
              <a:cxn ang="0">
                <a:pos x="connsiteX36126" y="connsiteY36126"/>
              </a:cxn>
              <a:cxn ang="0">
                <a:pos x="connsiteX36127" y="connsiteY36127"/>
              </a:cxn>
              <a:cxn ang="0">
                <a:pos x="connsiteX36128" y="connsiteY36128"/>
              </a:cxn>
              <a:cxn ang="0">
                <a:pos x="connsiteX36129" y="connsiteY36129"/>
              </a:cxn>
              <a:cxn ang="0">
                <a:pos x="connsiteX36130" y="connsiteY36130"/>
              </a:cxn>
              <a:cxn ang="0">
                <a:pos x="connsiteX36131" y="connsiteY36131"/>
              </a:cxn>
              <a:cxn ang="0">
                <a:pos x="connsiteX36132" y="connsiteY36132"/>
              </a:cxn>
              <a:cxn ang="0">
                <a:pos x="connsiteX36133" y="connsiteY36133"/>
              </a:cxn>
              <a:cxn ang="0">
                <a:pos x="connsiteX36134" y="connsiteY36134"/>
              </a:cxn>
              <a:cxn ang="0">
                <a:pos x="connsiteX36135" y="connsiteY36135"/>
              </a:cxn>
              <a:cxn ang="0">
                <a:pos x="connsiteX36136" y="connsiteY36136"/>
              </a:cxn>
              <a:cxn ang="0">
                <a:pos x="connsiteX36137" y="connsiteY36137"/>
              </a:cxn>
              <a:cxn ang="0">
                <a:pos x="connsiteX36138" y="connsiteY36138"/>
              </a:cxn>
              <a:cxn ang="0">
                <a:pos x="connsiteX36139" y="connsiteY36139"/>
              </a:cxn>
              <a:cxn ang="0">
                <a:pos x="connsiteX36140" y="connsiteY36140"/>
              </a:cxn>
              <a:cxn ang="0">
                <a:pos x="connsiteX36141" y="connsiteY36141"/>
              </a:cxn>
              <a:cxn ang="0">
                <a:pos x="connsiteX36142" y="connsiteY36142"/>
              </a:cxn>
              <a:cxn ang="0">
                <a:pos x="connsiteX36143" y="connsiteY36143"/>
              </a:cxn>
              <a:cxn ang="0">
                <a:pos x="connsiteX36144" y="connsiteY36144"/>
              </a:cxn>
              <a:cxn ang="0">
                <a:pos x="connsiteX36145" y="connsiteY36145"/>
              </a:cxn>
              <a:cxn ang="0">
                <a:pos x="connsiteX36146" y="connsiteY36146"/>
              </a:cxn>
              <a:cxn ang="0">
                <a:pos x="connsiteX36147" y="connsiteY36147"/>
              </a:cxn>
              <a:cxn ang="0">
                <a:pos x="connsiteX36148" y="connsiteY36148"/>
              </a:cxn>
              <a:cxn ang="0">
                <a:pos x="connsiteX36149" y="connsiteY36149"/>
              </a:cxn>
              <a:cxn ang="0">
                <a:pos x="connsiteX36150" y="connsiteY36150"/>
              </a:cxn>
              <a:cxn ang="0">
                <a:pos x="connsiteX36151" y="connsiteY36151"/>
              </a:cxn>
              <a:cxn ang="0">
                <a:pos x="connsiteX36152" y="connsiteY36152"/>
              </a:cxn>
              <a:cxn ang="0">
                <a:pos x="connsiteX36153" y="connsiteY36153"/>
              </a:cxn>
              <a:cxn ang="0">
                <a:pos x="connsiteX36154" y="connsiteY36154"/>
              </a:cxn>
              <a:cxn ang="0">
                <a:pos x="connsiteX36155" y="connsiteY36155"/>
              </a:cxn>
              <a:cxn ang="0">
                <a:pos x="connsiteX36156" y="connsiteY36156"/>
              </a:cxn>
              <a:cxn ang="0">
                <a:pos x="connsiteX36157" y="connsiteY36157"/>
              </a:cxn>
              <a:cxn ang="0">
                <a:pos x="connsiteX36158" y="connsiteY36158"/>
              </a:cxn>
              <a:cxn ang="0">
                <a:pos x="connsiteX36159" y="connsiteY36159"/>
              </a:cxn>
              <a:cxn ang="0">
                <a:pos x="connsiteX36160" y="connsiteY36160"/>
              </a:cxn>
              <a:cxn ang="0">
                <a:pos x="connsiteX36161" y="connsiteY36161"/>
              </a:cxn>
              <a:cxn ang="0">
                <a:pos x="connsiteX36162" y="connsiteY36162"/>
              </a:cxn>
              <a:cxn ang="0">
                <a:pos x="connsiteX36163" y="connsiteY36163"/>
              </a:cxn>
              <a:cxn ang="0">
                <a:pos x="connsiteX36164" y="connsiteY36164"/>
              </a:cxn>
              <a:cxn ang="0">
                <a:pos x="connsiteX36165" y="connsiteY36165"/>
              </a:cxn>
              <a:cxn ang="0">
                <a:pos x="connsiteX36166" y="connsiteY36166"/>
              </a:cxn>
              <a:cxn ang="0">
                <a:pos x="connsiteX36167" y="connsiteY36167"/>
              </a:cxn>
              <a:cxn ang="0">
                <a:pos x="connsiteX36168" y="connsiteY36168"/>
              </a:cxn>
              <a:cxn ang="0">
                <a:pos x="connsiteX36169" y="connsiteY36169"/>
              </a:cxn>
              <a:cxn ang="0">
                <a:pos x="connsiteX36170" y="connsiteY36170"/>
              </a:cxn>
              <a:cxn ang="0">
                <a:pos x="connsiteX36171" y="connsiteY36171"/>
              </a:cxn>
              <a:cxn ang="0">
                <a:pos x="connsiteX36172" y="connsiteY36172"/>
              </a:cxn>
              <a:cxn ang="0">
                <a:pos x="connsiteX36173" y="connsiteY36173"/>
              </a:cxn>
              <a:cxn ang="0">
                <a:pos x="connsiteX36174" y="connsiteY36174"/>
              </a:cxn>
              <a:cxn ang="0">
                <a:pos x="connsiteX36175" y="connsiteY36175"/>
              </a:cxn>
              <a:cxn ang="0">
                <a:pos x="connsiteX36176" y="connsiteY36176"/>
              </a:cxn>
              <a:cxn ang="0">
                <a:pos x="connsiteX36177" y="connsiteY36177"/>
              </a:cxn>
              <a:cxn ang="0">
                <a:pos x="connsiteX36178" y="connsiteY36178"/>
              </a:cxn>
              <a:cxn ang="0">
                <a:pos x="connsiteX36179" y="connsiteY36179"/>
              </a:cxn>
              <a:cxn ang="0">
                <a:pos x="connsiteX36180" y="connsiteY36180"/>
              </a:cxn>
              <a:cxn ang="0">
                <a:pos x="connsiteX36181" y="connsiteY36181"/>
              </a:cxn>
              <a:cxn ang="0">
                <a:pos x="connsiteX36182" y="connsiteY36182"/>
              </a:cxn>
              <a:cxn ang="0">
                <a:pos x="connsiteX36183" y="connsiteY36183"/>
              </a:cxn>
              <a:cxn ang="0">
                <a:pos x="connsiteX36184" y="connsiteY36184"/>
              </a:cxn>
              <a:cxn ang="0">
                <a:pos x="connsiteX36185" y="connsiteY36185"/>
              </a:cxn>
              <a:cxn ang="0">
                <a:pos x="connsiteX36186" y="connsiteY36186"/>
              </a:cxn>
              <a:cxn ang="0">
                <a:pos x="connsiteX36187" y="connsiteY36187"/>
              </a:cxn>
              <a:cxn ang="0">
                <a:pos x="connsiteX36188" y="connsiteY36188"/>
              </a:cxn>
              <a:cxn ang="0">
                <a:pos x="connsiteX36189" y="connsiteY36189"/>
              </a:cxn>
              <a:cxn ang="0">
                <a:pos x="connsiteX36190" y="connsiteY36190"/>
              </a:cxn>
              <a:cxn ang="0">
                <a:pos x="connsiteX36191" y="connsiteY36191"/>
              </a:cxn>
              <a:cxn ang="0">
                <a:pos x="connsiteX36192" y="connsiteY36192"/>
              </a:cxn>
              <a:cxn ang="0">
                <a:pos x="connsiteX36193" y="connsiteY36193"/>
              </a:cxn>
              <a:cxn ang="0">
                <a:pos x="connsiteX36194" y="connsiteY36194"/>
              </a:cxn>
              <a:cxn ang="0">
                <a:pos x="connsiteX36195" y="connsiteY36195"/>
              </a:cxn>
              <a:cxn ang="0">
                <a:pos x="connsiteX36196" y="connsiteY36196"/>
              </a:cxn>
              <a:cxn ang="0">
                <a:pos x="connsiteX36197" y="connsiteY36197"/>
              </a:cxn>
              <a:cxn ang="0">
                <a:pos x="connsiteX36198" y="connsiteY36198"/>
              </a:cxn>
              <a:cxn ang="0">
                <a:pos x="connsiteX36199" y="connsiteY36199"/>
              </a:cxn>
              <a:cxn ang="0">
                <a:pos x="connsiteX36200" y="connsiteY36200"/>
              </a:cxn>
              <a:cxn ang="0">
                <a:pos x="connsiteX36201" y="connsiteY36201"/>
              </a:cxn>
              <a:cxn ang="0">
                <a:pos x="connsiteX36202" y="connsiteY36202"/>
              </a:cxn>
              <a:cxn ang="0">
                <a:pos x="connsiteX36203" y="connsiteY36203"/>
              </a:cxn>
              <a:cxn ang="0">
                <a:pos x="connsiteX36204" y="connsiteY36204"/>
              </a:cxn>
              <a:cxn ang="0">
                <a:pos x="connsiteX36205" y="connsiteY36205"/>
              </a:cxn>
              <a:cxn ang="0">
                <a:pos x="connsiteX36206" y="connsiteY36206"/>
              </a:cxn>
              <a:cxn ang="0">
                <a:pos x="connsiteX36207" y="connsiteY36207"/>
              </a:cxn>
              <a:cxn ang="0">
                <a:pos x="connsiteX36208" y="connsiteY36208"/>
              </a:cxn>
              <a:cxn ang="0">
                <a:pos x="connsiteX36209" y="connsiteY36209"/>
              </a:cxn>
              <a:cxn ang="0">
                <a:pos x="connsiteX36210" y="connsiteY36210"/>
              </a:cxn>
              <a:cxn ang="0">
                <a:pos x="connsiteX36211" y="connsiteY36211"/>
              </a:cxn>
              <a:cxn ang="0">
                <a:pos x="connsiteX36212" y="connsiteY36212"/>
              </a:cxn>
              <a:cxn ang="0">
                <a:pos x="connsiteX36213" y="connsiteY36213"/>
              </a:cxn>
              <a:cxn ang="0">
                <a:pos x="connsiteX36214" y="connsiteY36214"/>
              </a:cxn>
              <a:cxn ang="0">
                <a:pos x="connsiteX36215" y="connsiteY36215"/>
              </a:cxn>
              <a:cxn ang="0">
                <a:pos x="connsiteX36216" y="connsiteY36216"/>
              </a:cxn>
              <a:cxn ang="0">
                <a:pos x="connsiteX36217" y="connsiteY36217"/>
              </a:cxn>
              <a:cxn ang="0">
                <a:pos x="connsiteX36218" y="connsiteY36218"/>
              </a:cxn>
              <a:cxn ang="0">
                <a:pos x="connsiteX36219" y="connsiteY36219"/>
              </a:cxn>
              <a:cxn ang="0">
                <a:pos x="connsiteX36220" y="connsiteY36220"/>
              </a:cxn>
              <a:cxn ang="0">
                <a:pos x="connsiteX36221" y="connsiteY36221"/>
              </a:cxn>
              <a:cxn ang="0">
                <a:pos x="connsiteX36222" y="connsiteY36222"/>
              </a:cxn>
              <a:cxn ang="0">
                <a:pos x="connsiteX36223" y="connsiteY36223"/>
              </a:cxn>
              <a:cxn ang="0">
                <a:pos x="connsiteX36224" y="connsiteY36224"/>
              </a:cxn>
              <a:cxn ang="0">
                <a:pos x="connsiteX36225" y="connsiteY36225"/>
              </a:cxn>
              <a:cxn ang="0">
                <a:pos x="connsiteX36226" y="connsiteY36226"/>
              </a:cxn>
              <a:cxn ang="0">
                <a:pos x="connsiteX36227" y="connsiteY36227"/>
              </a:cxn>
              <a:cxn ang="0">
                <a:pos x="connsiteX36228" y="connsiteY36228"/>
              </a:cxn>
              <a:cxn ang="0">
                <a:pos x="connsiteX36229" y="connsiteY36229"/>
              </a:cxn>
              <a:cxn ang="0">
                <a:pos x="connsiteX36230" y="connsiteY36230"/>
              </a:cxn>
              <a:cxn ang="0">
                <a:pos x="connsiteX36231" y="connsiteY36231"/>
              </a:cxn>
              <a:cxn ang="0">
                <a:pos x="connsiteX36232" y="connsiteY36232"/>
              </a:cxn>
              <a:cxn ang="0">
                <a:pos x="connsiteX36233" y="connsiteY36233"/>
              </a:cxn>
              <a:cxn ang="0">
                <a:pos x="connsiteX36234" y="connsiteY36234"/>
              </a:cxn>
              <a:cxn ang="0">
                <a:pos x="connsiteX36235" y="connsiteY36235"/>
              </a:cxn>
              <a:cxn ang="0">
                <a:pos x="connsiteX36236" y="connsiteY36236"/>
              </a:cxn>
              <a:cxn ang="0">
                <a:pos x="connsiteX36237" y="connsiteY36237"/>
              </a:cxn>
              <a:cxn ang="0">
                <a:pos x="connsiteX36238" y="connsiteY36238"/>
              </a:cxn>
              <a:cxn ang="0">
                <a:pos x="connsiteX36239" y="connsiteY36239"/>
              </a:cxn>
              <a:cxn ang="0">
                <a:pos x="connsiteX36240" y="connsiteY36240"/>
              </a:cxn>
              <a:cxn ang="0">
                <a:pos x="connsiteX36241" y="connsiteY36241"/>
              </a:cxn>
              <a:cxn ang="0">
                <a:pos x="connsiteX36242" y="connsiteY36242"/>
              </a:cxn>
              <a:cxn ang="0">
                <a:pos x="connsiteX36243" y="connsiteY36243"/>
              </a:cxn>
              <a:cxn ang="0">
                <a:pos x="connsiteX36244" y="connsiteY36244"/>
              </a:cxn>
              <a:cxn ang="0">
                <a:pos x="connsiteX36245" y="connsiteY36245"/>
              </a:cxn>
              <a:cxn ang="0">
                <a:pos x="connsiteX36246" y="connsiteY36246"/>
              </a:cxn>
              <a:cxn ang="0">
                <a:pos x="connsiteX36247" y="connsiteY36247"/>
              </a:cxn>
              <a:cxn ang="0">
                <a:pos x="connsiteX36248" y="connsiteY36248"/>
              </a:cxn>
              <a:cxn ang="0">
                <a:pos x="connsiteX36249" y="connsiteY36249"/>
              </a:cxn>
              <a:cxn ang="0">
                <a:pos x="connsiteX36250" y="connsiteY36250"/>
              </a:cxn>
              <a:cxn ang="0">
                <a:pos x="connsiteX36251" y="connsiteY36251"/>
              </a:cxn>
              <a:cxn ang="0">
                <a:pos x="connsiteX36252" y="connsiteY36252"/>
              </a:cxn>
              <a:cxn ang="0">
                <a:pos x="connsiteX36253" y="connsiteY36253"/>
              </a:cxn>
              <a:cxn ang="0">
                <a:pos x="connsiteX36254" y="connsiteY36254"/>
              </a:cxn>
              <a:cxn ang="0">
                <a:pos x="connsiteX36255" y="connsiteY36255"/>
              </a:cxn>
              <a:cxn ang="0">
                <a:pos x="connsiteX36256" y="connsiteY36256"/>
              </a:cxn>
              <a:cxn ang="0">
                <a:pos x="connsiteX36257" y="connsiteY36257"/>
              </a:cxn>
              <a:cxn ang="0">
                <a:pos x="connsiteX36258" y="connsiteY36258"/>
              </a:cxn>
              <a:cxn ang="0">
                <a:pos x="connsiteX36259" y="connsiteY36259"/>
              </a:cxn>
              <a:cxn ang="0">
                <a:pos x="connsiteX36260" y="connsiteY36260"/>
              </a:cxn>
              <a:cxn ang="0">
                <a:pos x="connsiteX36261" y="connsiteY36261"/>
              </a:cxn>
              <a:cxn ang="0">
                <a:pos x="connsiteX36262" y="connsiteY36262"/>
              </a:cxn>
              <a:cxn ang="0">
                <a:pos x="connsiteX36263" y="connsiteY36263"/>
              </a:cxn>
              <a:cxn ang="0">
                <a:pos x="connsiteX36264" y="connsiteY36264"/>
              </a:cxn>
              <a:cxn ang="0">
                <a:pos x="connsiteX36265" y="connsiteY36265"/>
              </a:cxn>
              <a:cxn ang="0">
                <a:pos x="connsiteX36266" y="connsiteY36266"/>
              </a:cxn>
              <a:cxn ang="0">
                <a:pos x="connsiteX36267" y="connsiteY36267"/>
              </a:cxn>
              <a:cxn ang="0">
                <a:pos x="connsiteX36268" y="connsiteY36268"/>
              </a:cxn>
              <a:cxn ang="0">
                <a:pos x="connsiteX36269" y="connsiteY36269"/>
              </a:cxn>
              <a:cxn ang="0">
                <a:pos x="connsiteX36270" y="connsiteY36270"/>
              </a:cxn>
              <a:cxn ang="0">
                <a:pos x="connsiteX36271" y="connsiteY36271"/>
              </a:cxn>
              <a:cxn ang="0">
                <a:pos x="connsiteX36272" y="connsiteY36272"/>
              </a:cxn>
              <a:cxn ang="0">
                <a:pos x="connsiteX36273" y="connsiteY36273"/>
              </a:cxn>
              <a:cxn ang="0">
                <a:pos x="connsiteX36274" y="connsiteY36274"/>
              </a:cxn>
              <a:cxn ang="0">
                <a:pos x="connsiteX36275" y="connsiteY36275"/>
              </a:cxn>
              <a:cxn ang="0">
                <a:pos x="connsiteX36276" y="connsiteY36276"/>
              </a:cxn>
              <a:cxn ang="0">
                <a:pos x="connsiteX36277" y="connsiteY36277"/>
              </a:cxn>
              <a:cxn ang="0">
                <a:pos x="connsiteX36278" y="connsiteY36278"/>
              </a:cxn>
              <a:cxn ang="0">
                <a:pos x="connsiteX36279" y="connsiteY36279"/>
              </a:cxn>
              <a:cxn ang="0">
                <a:pos x="connsiteX36280" y="connsiteY36280"/>
              </a:cxn>
              <a:cxn ang="0">
                <a:pos x="connsiteX36281" y="connsiteY36281"/>
              </a:cxn>
              <a:cxn ang="0">
                <a:pos x="connsiteX36282" y="connsiteY36282"/>
              </a:cxn>
              <a:cxn ang="0">
                <a:pos x="connsiteX36283" y="connsiteY36283"/>
              </a:cxn>
              <a:cxn ang="0">
                <a:pos x="connsiteX36284" y="connsiteY36284"/>
              </a:cxn>
              <a:cxn ang="0">
                <a:pos x="connsiteX36285" y="connsiteY36285"/>
              </a:cxn>
              <a:cxn ang="0">
                <a:pos x="connsiteX36286" y="connsiteY36286"/>
              </a:cxn>
              <a:cxn ang="0">
                <a:pos x="connsiteX36287" y="connsiteY36287"/>
              </a:cxn>
              <a:cxn ang="0">
                <a:pos x="connsiteX36288" y="connsiteY36288"/>
              </a:cxn>
              <a:cxn ang="0">
                <a:pos x="connsiteX36289" y="connsiteY36289"/>
              </a:cxn>
              <a:cxn ang="0">
                <a:pos x="connsiteX36290" y="connsiteY36290"/>
              </a:cxn>
              <a:cxn ang="0">
                <a:pos x="connsiteX36291" y="connsiteY36291"/>
              </a:cxn>
              <a:cxn ang="0">
                <a:pos x="connsiteX36292" y="connsiteY36292"/>
              </a:cxn>
              <a:cxn ang="0">
                <a:pos x="connsiteX36293" y="connsiteY36293"/>
              </a:cxn>
              <a:cxn ang="0">
                <a:pos x="connsiteX36294" y="connsiteY36294"/>
              </a:cxn>
              <a:cxn ang="0">
                <a:pos x="connsiteX36295" y="connsiteY36295"/>
              </a:cxn>
              <a:cxn ang="0">
                <a:pos x="connsiteX36296" y="connsiteY36296"/>
              </a:cxn>
              <a:cxn ang="0">
                <a:pos x="connsiteX36297" y="connsiteY36297"/>
              </a:cxn>
              <a:cxn ang="0">
                <a:pos x="connsiteX36298" y="connsiteY36298"/>
              </a:cxn>
              <a:cxn ang="0">
                <a:pos x="connsiteX36299" y="connsiteY36299"/>
              </a:cxn>
              <a:cxn ang="0">
                <a:pos x="connsiteX36300" y="connsiteY36300"/>
              </a:cxn>
              <a:cxn ang="0">
                <a:pos x="connsiteX36301" y="connsiteY36301"/>
              </a:cxn>
              <a:cxn ang="0">
                <a:pos x="connsiteX36302" y="connsiteY36302"/>
              </a:cxn>
              <a:cxn ang="0">
                <a:pos x="connsiteX36303" y="connsiteY36303"/>
              </a:cxn>
              <a:cxn ang="0">
                <a:pos x="connsiteX36304" y="connsiteY36304"/>
              </a:cxn>
              <a:cxn ang="0">
                <a:pos x="connsiteX36305" y="connsiteY36305"/>
              </a:cxn>
              <a:cxn ang="0">
                <a:pos x="connsiteX36306" y="connsiteY36306"/>
              </a:cxn>
              <a:cxn ang="0">
                <a:pos x="connsiteX36307" y="connsiteY36307"/>
              </a:cxn>
              <a:cxn ang="0">
                <a:pos x="connsiteX36308" y="connsiteY36308"/>
              </a:cxn>
              <a:cxn ang="0">
                <a:pos x="connsiteX36309" y="connsiteY36309"/>
              </a:cxn>
              <a:cxn ang="0">
                <a:pos x="connsiteX36310" y="connsiteY36310"/>
              </a:cxn>
              <a:cxn ang="0">
                <a:pos x="connsiteX36311" y="connsiteY36311"/>
              </a:cxn>
              <a:cxn ang="0">
                <a:pos x="connsiteX36312" y="connsiteY36312"/>
              </a:cxn>
              <a:cxn ang="0">
                <a:pos x="connsiteX36313" y="connsiteY36313"/>
              </a:cxn>
              <a:cxn ang="0">
                <a:pos x="connsiteX36314" y="connsiteY36314"/>
              </a:cxn>
              <a:cxn ang="0">
                <a:pos x="connsiteX36315" y="connsiteY36315"/>
              </a:cxn>
              <a:cxn ang="0">
                <a:pos x="connsiteX36316" y="connsiteY36316"/>
              </a:cxn>
              <a:cxn ang="0">
                <a:pos x="connsiteX36317" y="connsiteY36317"/>
              </a:cxn>
              <a:cxn ang="0">
                <a:pos x="connsiteX36318" y="connsiteY36318"/>
              </a:cxn>
              <a:cxn ang="0">
                <a:pos x="connsiteX36319" y="connsiteY36319"/>
              </a:cxn>
              <a:cxn ang="0">
                <a:pos x="connsiteX36320" y="connsiteY36320"/>
              </a:cxn>
              <a:cxn ang="0">
                <a:pos x="connsiteX36321" y="connsiteY36321"/>
              </a:cxn>
              <a:cxn ang="0">
                <a:pos x="connsiteX36322" y="connsiteY36322"/>
              </a:cxn>
              <a:cxn ang="0">
                <a:pos x="connsiteX36323" y="connsiteY36323"/>
              </a:cxn>
              <a:cxn ang="0">
                <a:pos x="connsiteX36324" y="connsiteY36324"/>
              </a:cxn>
              <a:cxn ang="0">
                <a:pos x="connsiteX36325" y="connsiteY36325"/>
              </a:cxn>
              <a:cxn ang="0">
                <a:pos x="connsiteX36326" y="connsiteY36326"/>
              </a:cxn>
              <a:cxn ang="0">
                <a:pos x="connsiteX36327" y="connsiteY36327"/>
              </a:cxn>
              <a:cxn ang="0">
                <a:pos x="connsiteX36328" y="connsiteY36328"/>
              </a:cxn>
              <a:cxn ang="0">
                <a:pos x="connsiteX36329" y="connsiteY36329"/>
              </a:cxn>
              <a:cxn ang="0">
                <a:pos x="connsiteX36330" y="connsiteY36330"/>
              </a:cxn>
              <a:cxn ang="0">
                <a:pos x="connsiteX36331" y="connsiteY36331"/>
              </a:cxn>
              <a:cxn ang="0">
                <a:pos x="connsiteX36332" y="connsiteY36332"/>
              </a:cxn>
              <a:cxn ang="0">
                <a:pos x="connsiteX36333" y="connsiteY36333"/>
              </a:cxn>
              <a:cxn ang="0">
                <a:pos x="connsiteX36334" y="connsiteY36334"/>
              </a:cxn>
              <a:cxn ang="0">
                <a:pos x="connsiteX36335" y="connsiteY36335"/>
              </a:cxn>
              <a:cxn ang="0">
                <a:pos x="connsiteX36336" y="connsiteY36336"/>
              </a:cxn>
              <a:cxn ang="0">
                <a:pos x="connsiteX36337" y="connsiteY36337"/>
              </a:cxn>
              <a:cxn ang="0">
                <a:pos x="connsiteX36338" y="connsiteY36338"/>
              </a:cxn>
              <a:cxn ang="0">
                <a:pos x="connsiteX36339" y="connsiteY36339"/>
              </a:cxn>
              <a:cxn ang="0">
                <a:pos x="connsiteX36340" y="connsiteY36340"/>
              </a:cxn>
              <a:cxn ang="0">
                <a:pos x="connsiteX36341" y="connsiteY36341"/>
              </a:cxn>
              <a:cxn ang="0">
                <a:pos x="connsiteX36342" y="connsiteY36342"/>
              </a:cxn>
              <a:cxn ang="0">
                <a:pos x="connsiteX36343" y="connsiteY36343"/>
              </a:cxn>
              <a:cxn ang="0">
                <a:pos x="connsiteX36344" y="connsiteY36344"/>
              </a:cxn>
              <a:cxn ang="0">
                <a:pos x="connsiteX36345" y="connsiteY36345"/>
              </a:cxn>
              <a:cxn ang="0">
                <a:pos x="connsiteX36346" y="connsiteY36346"/>
              </a:cxn>
              <a:cxn ang="0">
                <a:pos x="connsiteX36347" y="connsiteY36347"/>
              </a:cxn>
              <a:cxn ang="0">
                <a:pos x="connsiteX36348" y="connsiteY36348"/>
              </a:cxn>
              <a:cxn ang="0">
                <a:pos x="connsiteX36349" y="connsiteY36349"/>
              </a:cxn>
              <a:cxn ang="0">
                <a:pos x="connsiteX36350" y="connsiteY36350"/>
              </a:cxn>
              <a:cxn ang="0">
                <a:pos x="connsiteX36351" y="connsiteY36351"/>
              </a:cxn>
              <a:cxn ang="0">
                <a:pos x="connsiteX36352" y="connsiteY36352"/>
              </a:cxn>
              <a:cxn ang="0">
                <a:pos x="connsiteX36353" y="connsiteY36353"/>
              </a:cxn>
              <a:cxn ang="0">
                <a:pos x="connsiteX36354" y="connsiteY36354"/>
              </a:cxn>
              <a:cxn ang="0">
                <a:pos x="connsiteX36355" y="connsiteY36355"/>
              </a:cxn>
              <a:cxn ang="0">
                <a:pos x="connsiteX36356" y="connsiteY36356"/>
              </a:cxn>
              <a:cxn ang="0">
                <a:pos x="connsiteX36357" y="connsiteY36357"/>
              </a:cxn>
              <a:cxn ang="0">
                <a:pos x="connsiteX36358" y="connsiteY36358"/>
              </a:cxn>
              <a:cxn ang="0">
                <a:pos x="connsiteX36359" y="connsiteY36359"/>
              </a:cxn>
              <a:cxn ang="0">
                <a:pos x="connsiteX36360" y="connsiteY36360"/>
              </a:cxn>
              <a:cxn ang="0">
                <a:pos x="connsiteX36361" y="connsiteY36361"/>
              </a:cxn>
              <a:cxn ang="0">
                <a:pos x="connsiteX36362" y="connsiteY36362"/>
              </a:cxn>
              <a:cxn ang="0">
                <a:pos x="connsiteX36363" y="connsiteY36363"/>
              </a:cxn>
              <a:cxn ang="0">
                <a:pos x="connsiteX36364" y="connsiteY36364"/>
              </a:cxn>
              <a:cxn ang="0">
                <a:pos x="connsiteX36365" y="connsiteY36365"/>
              </a:cxn>
              <a:cxn ang="0">
                <a:pos x="connsiteX36366" y="connsiteY36366"/>
              </a:cxn>
              <a:cxn ang="0">
                <a:pos x="connsiteX36367" y="connsiteY36367"/>
              </a:cxn>
              <a:cxn ang="0">
                <a:pos x="connsiteX36368" y="connsiteY36368"/>
              </a:cxn>
              <a:cxn ang="0">
                <a:pos x="connsiteX36369" y="connsiteY36369"/>
              </a:cxn>
              <a:cxn ang="0">
                <a:pos x="connsiteX36370" y="connsiteY36370"/>
              </a:cxn>
              <a:cxn ang="0">
                <a:pos x="connsiteX36371" y="connsiteY36371"/>
              </a:cxn>
              <a:cxn ang="0">
                <a:pos x="connsiteX36372" y="connsiteY36372"/>
              </a:cxn>
              <a:cxn ang="0">
                <a:pos x="connsiteX36373" y="connsiteY36373"/>
              </a:cxn>
              <a:cxn ang="0">
                <a:pos x="connsiteX36374" y="connsiteY36374"/>
              </a:cxn>
              <a:cxn ang="0">
                <a:pos x="connsiteX36375" y="connsiteY36375"/>
              </a:cxn>
              <a:cxn ang="0">
                <a:pos x="connsiteX36376" y="connsiteY36376"/>
              </a:cxn>
              <a:cxn ang="0">
                <a:pos x="connsiteX36377" y="connsiteY36377"/>
              </a:cxn>
              <a:cxn ang="0">
                <a:pos x="connsiteX36378" y="connsiteY36378"/>
              </a:cxn>
              <a:cxn ang="0">
                <a:pos x="connsiteX36379" y="connsiteY36379"/>
              </a:cxn>
              <a:cxn ang="0">
                <a:pos x="connsiteX36380" y="connsiteY36380"/>
              </a:cxn>
              <a:cxn ang="0">
                <a:pos x="connsiteX36381" y="connsiteY36381"/>
              </a:cxn>
              <a:cxn ang="0">
                <a:pos x="connsiteX36382" y="connsiteY36382"/>
              </a:cxn>
              <a:cxn ang="0">
                <a:pos x="connsiteX36383" y="connsiteY36383"/>
              </a:cxn>
              <a:cxn ang="0">
                <a:pos x="connsiteX36384" y="connsiteY36384"/>
              </a:cxn>
              <a:cxn ang="0">
                <a:pos x="connsiteX36385" y="connsiteY36385"/>
              </a:cxn>
              <a:cxn ang="0">
                <a:pos x="connsiteX36386" y="connsiteY36386"/>
              </a:cxn>
              <a:cxn ang="0">
                <a:pos x="connsiteX36387" y="connsiteY36387"/>
              </a:cxn>
              <a:cxn ang="0">
                <a:pos x="connsiteX36388" y="connsiteY36388"/>
              </a:cxn>
              <a:cxn ang="0">
                <a:pos x="connsiteX36389" y="connsiteY36389"/>
              </a:cxn>
              <a:cxn ang="0">
                <a:pos x="connsiteX36390" y="connsiteY36390"/>
              </a:cxn>
              <a:cxn ang="0">
                <a:pos x="connsiteX36391" y="connsiteY36391"/>
              </a:cxn>
              <a:cxn ang="0">
                <a:pos x="connsiteX36392" y="connsiteY36392"/>
              </a:cxn>
              <a:cxn ang="0">
                <a:pos x="connsiteX36393" y="connsiteY36393"/>
              </a:cxn>
              <a:cxn ang="0">
                <a:pos x="connsiteX36394" y="connsiteY36394"/>
              </a:cxn>
              <a:cxn ang="0">
                <a:pos x="connsiteX36395" y="connsiteY36395"/>
              </a:cxn>
              <a:cxn ang="0">
                <a:pos x="connsiteX36396" y="connsiteY36396"/>
              </a:cxn>
              <a:cxn ang="0">
                <a:pos x="connsiteX36397" y="connsiteY36397"/>
              </a:cxn>
              <a:cxn ang="0">
                <a:pos x="connsiteX36398" y="connsiteY36398"/>
              </a:cxn>
              <a:cxn ang="0">
                <a:pos x="connsiteX36399" y="connsiteY36399"/>
              </a:cxn>
              <a:cxn ang="0">
                <a:pos x="connsiteX36400" y="connsiteY36400"/>
              </a:cxn>
              <a:cxn ang="0">
                <a:pos x="connsiteX36401" y="connsiteY36401"/>
              </a:cxn>
              <a:cxn ang="0">
                <a:pos x="connsiteX36402" y="connsiteY36402"/>
              </a:cxn>
              <a:cxn ang="0">
                <a:pos x="connsiteX36403" y="connsiteY36403"/>
              </a:cxn>
              <a:cxn ang="0">
                <a:pos x="connsiteX36404" y="connsiteY36404"/>
              </a:cxn>
              <a:cxn ang="0">
                <a:pos x="connsiteX36405" y="connsiteY36405"/>
              </a:cxn>
              <a:cxn ang="0">
                <a:pos x="connsiteX36406" y="connsiteY36406"/>
              </a:cxn>
              <a:cxn ang="0">
                <a:pos x="connsiteX36407" y="connsiteY36407"/>
              </a:cxn>
              <a:cxn ang="0">
                <a:pos x="connsiteX36408" y="connsiteY36408"/>
              </a:cxn>
              <a:cxn ang="0">
                <a:pos x="connsiteX36409" y="connsiteY36409"/>
              </a:cxn>
              <a:cxn ang="0">
                <a:pos x="connsiteX36410" y="connsiteY36410"/>
              </a:cxn>
              <a:cxn ang="0">
                <a:pos x="connsiteX36411" y="connsiteY36411"/>
              </a:cxn>
              <a:cxn ang="0">
                <a:pos x="connsiteX36412" y="connsiteY36412"/>
              </a:cxn>
              <a:cxn ang="0">
                <a:pos x="connsiteX36413" y="connsiteY36413"/>
              </a:cxn>
              <a:cxn ang="0">
                <a:pos x="connsiteX36414" y="connsiteY36414"/>
              </a:cxn>
              <a:cxn ang="0">
                <a:pos x="connsiteX36415" y="connsiteY36415"/>
              </a:cxn>
              <a:cxn ang="0">
                <a:pos x="connsiteX36416" y="connsiteY36416"/>
              </a:cxn>
              <a:cxn ang="0">
                <a:pos x="connsiteX36417" y="connsiteY36417"/>
              </a:cxn>
              <a:cxn ang="0">
                <a:pos x="connsiteX36418" y="connsiteY36418"/>
              </a:cxn>
              <a:cxn ang="0">
                <a:pos x="connsiteX36419" y="connsiteY36419"/>
              </a:cxn>
              <a:cxn ang="0">
                <a:pos x="connsiteX36420" y="connsiteY36420"/>
              </a:cxn>
              <a:cxn ang="0">
                <a:pos x="connsiteX36421" y="connsiteY36421"/>
              </a:cxn>
              <a:cxn ang="0">
                <a:pos x="connsiteX36422" y="connsiteY36422"/>
              </a:cxn>
              <a:cxn ang="0">
                <a:pos x="connsiteX36423" y="connsiteY36423"/>
              </a:cxn>
              <a:cxn ang="0">
                <a:pos x="connsiteX36424" y="connsiteY36424"/>
              </a:cxn>
              <a:cxn ang="0">
                <a:pos x="connsiteX36425" y="connsiteY36425"/>
              </a:cxn>
              <a:cxn ang="0">
                <a:pos x="connsiteX36426" y="connsiteY36426"/>
              </a:cxn>
              <a:cxn ang="0">
                <a:pos x="connsiteX36427" y="connsiteY36427"/>
              </a:cxn>
              <a:cxn ang="0">
                <a:pos x="connsiteX36428" y="connsiteY36428"/>
              </a:cxn>
              <a:cxn ang="0">
                <a:pos x="connsiteX36429" y="connsiteY36429"/>
              </a:cxn>
              <a:cxn ang="0">
                <a:pos x="connsiteX36430" y="connsiteY36430"/>
              </a:cxn>
              <a:cxn ang="0">
                <a:pos x="connsiteX36431" y="connsiteY36431"/>
              </a:cxn>
              <a:cxn ang="0">
                <a:pos x="connsiteX36432" y="connsiteY36432"/>
              </a:cxn>
              <a:cxn ang="0">
                <a:pos x="connsiteX36433" y="connsiteY36433"/>
              </a:cxn>
              <a:cxn ang="0">
                <a:pos x="connsiteX36434" y="connsiteY36434"/>
              </a:cxn>
              <a:cxn ang="0">
                <a:pos x="connsiteX36435" y="connsiteY36435"/>
              </a:cxn>
              <a:cxn ang="0">
                <a:pos x="connsiteX36436" y="connsiteY36436"/>
              </a:cxn>
              <a:cxn ang="0">
                <a:pos x="connsiteX36437" y="connsiteY36437"/>
              </a:cxn>
              <a:cxn ang="0">
                <a:pos x="connsiteX36438" y="connsiteY36438"/>
              </a:cxn>
              <a:cxn ang="0">
                <a:pos x="connsiteX36439" y="connsiteY36439"/>
              </a:cxn>
              <a:cxn ang="0">
                <a:pos x="connsiteX36440" y="connsiteY36440"/>
              </a:cxn>
              <a:cxn ang="0">
                <a:pos x="connsiteX36441" y="connsiteY36441"/>
              </a:cxn>
              <a:cxn ang="0">
                <a:pos x="connsiteX36442" y="connsiteY36442"/>
              </a:cxn>
              <a:cxn ang="0">
                <a:pos x="connsiteX36443" y="connsiteY36443"/>
              </a:cxn>
              <a:cxn ang="0">
                <a:pos x="connsiteX36444" y="connsiteY36444"/>
              </a:cxn>
              <a:cxn ang="0">
                <a:pos x="connsiteX36445" y="connsiteY36445"/>
              </a:cxn>
              <a:cxn ang="0">
                <a:pos x="connsiteX36446" y="connsiteY36446"/>
              </a:cxn>
              <a:cxn ang="0">
                <a:pos x="connsiteX36447" y="connsiteY36447"/>
              </a:cxn>
              <a:cxn ang="0">
                <a:pos x="connsiteX36448" y="connsiteY36448"/>
              </a:cxn>
              <a:cxn ang="0">
                <a:pos x="connsiteX36449" y="connsiteY36449"/>
              </a:cxn>
              <a:cxn ang="0">
                <a:pos x="connsiteX36450" y="connsiteY36450"/>
              </a:cxn>
              <a:cxn ang="0">
                <a:pos x="connsiteX36451" y="connsiteY36451"/>
              </a:cxn>
              <a:cxn ang="0">
                <a:pos x="connsiteX36452" y="connsiteY36452"/>
              </a:cxn>
              <a:cxn ang="0">
                <a:pos x="connsiteX36453" y="connsiteY36453"/>
              </a:cxn>
              <a:cxn ang="0">
                <a:pos x="connsiteX36454" y="connsiteY36454"/>
              </a:cxn>
              <a:cxn ang="0">
                <a:pos x="connsiteX36455" y="connsiteY36455"/>
              </a:cxn>
              <a:cxn ang="0">
                <a:pos x="connsiteX36456" y="connsiteY36456"/>
              </a:cxn>
              <a:cxn ang="0">
                <a:pos x="connsiteX36457" y="connsiteY36457"/>
              </a:cxn>
              <a:cxn ang="0">
                <a:pos x="connsiteX36458" y="connsiteY36458"/>
              </a:cxn>
              <a:cxn ang="0">
                <a:pos x="connsiteX36459" y="connsiteY36459"/>
              </a:cxn>
              <a:cxn ang="0">
                <a:pos x="connsiteX36460" y="connsiteY36460"/>
              </a:cxn>
              <a:cxn ang="0">
                <a:pos x="connsiteX36461" y="connsiteY36461"/>
              </a:cxn>
              <a:cxn ang="0">
                <a:pos x="connsiteX36462" y="connsiteY36462"/>
              </a:cxn>
              <a:cxn ang="0">
                <a:pos x="connsiteX36463" y="connsiteY36463"/>
              </a:cxn>
              <a:cxn ang="0">
                <a:pos x="connsiteX36464" y="connsiteY36464"/>
              </a:cxn>
              <a:cxn ang="0">
                <a:pos x="connsiteX36465" y="connsiteY36465"/>
              </a:cxn>
              <a:cxn ang="0">
                <a:pos x="connsiteX36466" y="connsiteY36466"/>
              </a:cxn>
              <a:cxn ang="0">
                <a:pos x="connsiteX36467" y="connsiteY36467"/>
              </a:cxn>
              <a:cxn ang="0">
                <a:pos x="connsiteX36468" y="connsiteY36468"/>
              </a:cxn>
              <a:cxn ang="0">
                <a:pos x="connsiteX36469" y="connsiteY36469"/>
              </a:cxn>
              <a:cxn ang="0">
                <a:pos x="connsiteX36470" y="connsiteY36470"/>
              </a:cxn>
              <a:cxn ang="0">
                <a:pos x="connsiteX36471" y="connsiteY36471"/>
              </a:cxn>
              <a:cxn ang="0">
                <a:pos x="connsiteX36472" y="connsiteY36472"/>
              </a:cxn>
              <a:cxn ang="0">
                <a:pos x="connsiteX36473" y="connsiteY36473"/>
              </a:cxn>
              <a:cxn ang="0">
                <a:pos x="connsiteX36474" y="connsiteY36474"/>
              </a:cxn>
              <a:cxn ang="0">
                <a:pos x="connsiteX36475" y="connsiteY36475"/>
              </a:cxn>
              <a:cxn ang="0">
                <a:pos x="connsiteX36476" y="connsiteY36476"/>
              </a:cxn>
              <a:cxn ang="0">
                <a:pos x="connsiteX36477" y="connsiteY36477"/>
              </a:cxn>
              <a:cxn ang="0">
                <a:pos x="connsiteX36478" y="connsiteY36478"/>
              </a:cxn>
              <a:cxn ang="0">
                <a:pos x="connsiteX36479" y="connsiteY36479"/>
              </a:cxn>
              <a:cxn ang="0">
                <a:pos x="connsiteX36480" y="connsiteY36480"/>
              </a:cxn>
              <a:cxn ang="0">
                <a:pos x="connsiteX36481" y="connsiteY36481"/>
              </a:cxn>
              <a:cxn ang="0">
                <a:pos x="connsiteX36482" y="connsiteY36482"/>
              </a:cxn>
              <a:cxn ang="0">
                <a:pos x="connsiteX36483" y="connsiteY36483"/>
              </a:cxn>
              <a:cxn ang="0">
                <a:pos x="connsiteX36484" y="connsiteY36484"/>
              </a:cxn>
              <a:cxn ang="0">
                <a:pos x="connsiteX36485" y="connsiteY36485"/>
              </a:cxn>
              <a:cxn ang="0">
                <a:pos x="connsiteX36486" y="connsiteY36486"/>
              </a:cxn>
              <a:cxn ang="0">
                <a:pos x="connsiteX36487" y="connsiteY36487"/>
              </a:cxn>
              <a:cxn ang="0">
                <a:pos x="connsiteX36488" y="connsiteY36488"/>
              </a:cxn>
              <a:cxn ang="0">
                <a:pos x="connsiteX36489" y="connsiteY36489"/>
              </a:cxn>
              <a:cxn ang="0">
                <a:pos x="connsiteX36490" y="connsiteY36490"/>
              </a:cxn>
              <a:cxn ang="0">
                <a:pos x="connsiteX36491" y="connsiteY36491"/>
              </a:cxn>
              <a:cxn ang="0">
                <a:pos x="connsiteX36492" y="connsiteY36492"/>
              </a:cxn>
              <a:cxn ang="0">
                <a:pos x="connsiteX36493" y="connsiteY36493"/>
              </a:cxn>
              <a:cxn ang="0">
                <a:pos x="connsiteX36494" y="connsiteY36494"/>
              </a:cxn>
              <a:cxn ang="0">
                <a:pos x="connsiteX36495" y="connsiteY36495"/>
              </a:cxn>
              <a:cxn ang="0">
                <a:pos x="connsiteX36496" y="connsiteY36496"/>
              </a:cxn>
              <a:cxn ang="0">
                <a:pos x="connsiteX36497" y="connsiteY36497"/>
              </a:cxn>
              <a:cxn ang="0">
                <a:pos x="connsiteX36498" y="connsiteY36498"/>
              </a:cxn>
              <a:cxn ang="0">
                <a:pos x="connsiteX36499" y="connsiteY36499"/>
              </a:cxn>
              <a:cxn ang="0">
                <a:pos x="connsiteX36500" y="connsiteY36500"/>
              </a:cxn>
              <a:cxn ang="0">
                <a:pos x="connsiteX36501" y="connsiteY36501"/>
              </a:cxn>
              <a:cxn ang="0">
                <a:pos x="connsiteX36502" y="connsiteY36502"/>
              </a:cxn>
              <a:cxn ang="0">
                <a:pos x="connsiteX36503" y="connsiteY36503"/>
              </a:cxn>
              <a:cxn ang="0">
                <a:pos x="connsiteX36504" y="connsiteY36504"/>
              </a:cxn>
              <a:cxn ang="0">
                <a:pos x="connsiteX36505" y="connsiteY36505"/>
              </a:cxn>
              <a:cxn ang="0">
                <a:pos x="connsiteX36506" y="connsiteY36506"/>
              </a:cxn>
              <a:cxn ang="0">
                <a:pos x="connsiteX36507" y="connsiteY36507"/>
              </a:cxn>
              <a:cxn ang="0">
                <a:pos x="connsiteX36508" y="connsiteY36508"/>
              </a:cxn>
              <a:cxn ang="0">
                <a:pos x="connsiteX36509" y="connsiteY36509"/>
              </a:cxn>
              <a:cxn ang="0">
                <a:pos x="connsiteX36510" y="connsiteY36510"/>
              </a:cxn>
              <a:cxn ang="0">
                <a:pos x="connsiteX36511" y="connsiteY36511"/>
              </a:cxn>
              <a:cxn ang="0">
                <a:pos x="connsiteX36512" y="connsiteY36512"/>
              </a:cxn>
              <a:cxn ang="0">
                <a:pos x="connsiteX36513" y="connsiteY36513"/>
              </a:cxn>
              <a:cxn ang="0">
                <a:pos x="connsiteX36514" y="connsiteY36514"/>
              </a:cxn>
              <a:cxn ang="0">
                <a:pos x="connsiteX36515" y="connsiteY36515"/>
              </a:cxn>
              <a:cxn ang="0">
                <a:pos x="connsiteX36516" y="connsiteY36516"/>
              </a:cxn>
              <a:cxn ang="0">
                <a:pos x="connsiteX36517" y="connsiteY36517"/>
              </a:cxn>
              <a:cxn ang="0">
                <a:pos x="connsiteX36518" y="connsiteY36518"/>
              </a:cxn>
              <a:cxn ang="0">
                <a:pos x="connsiteX36519" y="connsiteY36519"/>
              </a:cxn>
              <a:cxn ang="0">
                <a:pos x="connsiteX36520" y="connsiteY36520"/>
              </a:cxn>
              <a:cxn ang="0">
                <a:pos x="connsiteX36521" y="connsiteY36521"/>
              </a:cxn>
              <a:cxn ang="0">
                <a:pos x="connsiteX36522" y="connsiteY36522"/>
              </a:cxn>
              <a:cxn ang="0">
                <a:pos x="connsiteX36523" y="connsiteY36523"/>
              </a:cxn>
              <a:cxn ang="0">
                <a:pos x="connsiteX36524" y="connsiteY36524"/>
              </a:cxn>
              <a:cxn ang="0">
                <a:pos x="connsiteX36525" y="connsiteY36525"/>
              </a:cxn>
              <a:cxn ang="0">
                <a:pos x="connsiteX36526" y="connsiteY36526"/>
              </a:cxn>
              <a:cxn ang="0">
                <a:pos x="connsiteX36527" y="connsiteY36527"/>
              </a:cxn>
              <a:cxn ang="0">
                <a:pos x="connsiteX36528" y="connsiteY36528"/>
              </a:cxn>
              <a:cxn ang="0">
                <a:pos x="connsiteX36529" y="connsiteY36529"/>
              </a:cxn>
              <a:cxn ang="0">
                <a:pos x="connsiteX36530" y="connsiteY36530"/>
              </a:cxn>
              <a:cxn ang="0">
                <a:pos x="connsiteX36531" y="connsiteY36531"/>
              </a:cxn>
              <a:cxn ang="0">
                <a:pos x="connsiteX36532" y="connsiteY36532"/>
              </a:cxn>
              <a:cxn ang="0">
                <a:pos x="connsiteX36533" y="connsiteY36533"/>
              </a:cxn>
              <a:cxn ang="0">
                <a:pos x="connsiteX36534" y="connsiteY36534"/>
              </a:cxn>
              <a:cxn ang="0">
                <a:pos x="connsiteX36535" y="connsiteY36535"/>
              </a:cxn>
              <a:cxn ang="0">
                <a:pos x="connsiteX36536" y="connsiteY36536"/>
              </a:cxn>
              <a:cxn ang="0">
                <a:pos x="connsiteX36537" y="connsiteY36537"/>
              </a:cxn>
              <a:cxn ang="0">
                <a:pos x="connsiteX36538" y="connsiteY36538"/>
              </a:cxn>
              <a:cxn ang="0">
                <a:pos x="connsiteX36539" y="connsiteY36539"/>
              </a:cxn>
              <a:cxn ang="0">
                <a:pos x="connsiteX36540" y="connsiteY36540"/>
              </a:cxn>
              <a:cxn ang="0">
                <a:pos x="connsiteX36541" y="connsiteY36541"/>
              </a:cxn>
              <a:cxn ang="0">
                <a:pos x="connsiteX36542" y="connsiteY36542"/>
              </a:cxn>
              <a:cxn ang="0">
                <a:pos x="connsiteX36543" y="connsiteY36543"/>
              </a:cxn>
              <a:cxn ang="0">
                <a:pos x="connsiteX36544" y="connsiteY36544"/>
              </a:cxn>
              <a:cxn ang="0">
                <a:pos x="connsiteX36545" y="connsiteY36545"/>
              </a:cxn>
              <a:cxn ang="0">
                <a:pos x="connsiteX36546" y="connsiteY36546"/>
              </a:cxn>
              <a:cxn ang="0">
                <a:pos x="connsiteX36547" y="connsiteY36547"/>
              </a:cxn>
              <a:cxn ang="0">
                <a:pos x="connsiteX36548" y="connsiteY36548"/>
              </a:cxn>
              <a:cxn ang="0">
                <a:pos x="connsiteX36549" y="connsiteY36549"/>
              </a:cxn>
              <a:cxn ang="0">
                <a:pos x="connsiteX36550" y="connsiteY36550"/>
              </a:cxn>
              <a:cxn ang="0">
                <a:pos x="connsiteX36551" y="connsiteY36551"/>
              </a:cxn>
              <a:cxn ang="0">
                <a:pos x="connsiteX36552" y="connsiteY36552"/>
              </a:cxn>
              <a:cxn ang="0">
                <a:pos x="connsiteX36553" y="connsiteY36553"/>
              </a:cxn>
              <a:cxn ang="0">
                <a:pos x="connsiteX36554" y="connsiteY36554"/>
              </a:cxn>
              <a:cxn ang="0">
                <a:pos x="connsiteX36555" y="connsiteY36555"/>
              </a:cxn>
              <a:cxn ang="0">
                <a:pos x="connsiteX36556" y="connsiteY36556"/>
              </a:cxn>
              <a:cxn ang="0">
                <a:pos x="connsiteX36557" y="connsiteY36557"/>
              </a:cxn>
              <a:cxn ang="0">
                <a:pos x="connsiteX36558" y="connsiteY36558"/>
              </a:cxn>
              <a:cxn ang="0">
                <a:pos x="connsiteX36559" y="connsiteY36559"/>
              </a:cxn>
              <a:cxn ang="0">
                <a:pos x="connsiteX36560" y="connsiteY36560"/>
              </a:cxn>
              <a:cxn ang="0">
                <a:pos x="connsiteX36561" y="connsiteY36561"/>
              </a:cxn>
              <a:cxn ang="0">
                <a:pos x="connsiteX36562" y="connsiteY36562"/>
              </a:cxn>
              <a:cxn ang="0">
                <a:pos x="connsiteX36563" y="connsiteY36563"/>
              </a:cxn>
              <a:cxn ang="0">
                <a:pos x="connsiteX36564" y="connsiteY36564"/>
              </a:cxn>
              <a:cxn ang="0">
                <a:pos x="connsiteX36565" y="connsiteY36565"/>
              </a:cxn>
              <a:cxn ang="0">
                <a:pos x="connsiteX36566" y="connsiteY36566"/>
              </a:cxn>
              <a:cxn ang="0">
                <a:pos x="connsiteX36567" y="connsiteY36567"/>
              </a:cxn>
              <a:cxn ang="0">
                <a:pos x="connsiteX36568" y="connsiteY36568"/>
              </a:cxn>
              <a:cxn ang="0">
                <a:pos x="connsiteX36569" y="connsiteY36569"/>
              </a:cxn>
              <a:cxn ang="0">
                <a:pos x="connsiteX36570" y="connsiteY36570"/>
              </a:cxn>
              <a:cxn ang="0">
                <a:pos x="connsiteX36571" y="connsiteY36571"/>
              </a:cxn>
              <a:cxn ang="0">
                <a:pos x="connsiteX36572" y="connsiteY36572"/>
              </a:cxn>
              <a:cxn ang="0">
                <a:pos x="connsiteX36573" y="connsiteY36573"/>
              </a:cxn>
              <a:cxn ang="0">
                <a:pos x="connsiteX36574" y="connsiteY36574"/>
              </a:cxn>
              <a:cxn ang="0">
                <a:pos x="connsiteX36575" y="connsiteY36575"/>
              </a:cxn>
              <a:cxn ang="0">
                <a:pos x="connsiteX36576" y="connsiteY36576"/>
              </a:cxn>
              <a:cxn ang="0">
                <a:pos x="connsiteX36577" y="connsiteY36577"/>
              </a:cxn>
              <a:cxn ang="0">
                <a:pos x="connsiteX36578" y="connsiteY36578"/>
              </a:cxn>
              <a:cxn ang="0">
                <a:pos x="connsiteX36579" y="connsiteY36579"/>
              </a:cxn>
              <a:cxn ang="0">
                <a:pos x="connsiteX36580" y="connsiteY36580"/>
              </a:cxn>
              <a:cxn ang="0">
                <a:pos x="connsiteX36581" y="connsiteY36581"/>
              </a:cxn>
              <a:cxn ang="0">
                <a:pos x="connsiteX36582" y="connsiteY36582"/>
              </a:cxn>
              <a:cxn ang="0">
                <a:pos x="connsiteX36583" y="connsiteY36583"/>
              </a:cxn>
              <a:cxn ang="0">
                <a:pos x="connsiteX36584" y="connsiteY36584"/>
              </a:cxn>
              <a:cxn ang="0">
                <a:pos x="connsiteX36585" y="connsiteY36585"/>
              </a:cxn>
              <a:cxn ang="0">
                <a:pos x="connsiteX36586" y="connsiteY36586"/>
              </a:cxn>
              <a:cxn ang="0">
                <a:pos x="connsiteX36587" y="connsiteY36587"/>
              </a:cxn>
              <a:cxn ang="0">
                <a:pos x="connsiteX36588" y="connsiteY36588"/>
              </a:cxn>
              <a:cxn ang="0">
                <a:pos x="connsiteX36589" y="connsiteY36589"/>
              </a:cxn>
              <a:cxn ang="0">
                <a:pos x="connsiteX36590" y="connsiteY36590"/>
              </a:cxn>
              <a:cxn ang="0">
                <a:pos x="connsiteX36591" y="connsiteY36591"/>
              </a:cxn>
              <a:cxn ang="0">
                <a:pos x="connsiteX36592" y="connsiteY36592"/>
              </a:cxn>
              <a:cxn ang="0">
                <a:pos x="connsiteX36593" y="connsiteY36593"/>
              </a:cxn>
              <a:cxn ang="0">
                <a:pos x="connsiteX36594" y="connsiteY36594"/>
              </a:cxn>
              <a:cxn ang="0">
                <a:pos x="connsiteX36595" y="connsiteY36595"/>
              </a:cxn>
              <a:cxn ang="0">
                <a:pos x="connsiteX36596" y="connsiteY36596"/>
              </a:cxn>
              <a:cxn ang="0">
                <a:pos x="connsiteX36597" y="connsiteY36597"/>
              </a:cxn>
              <a:cxn ang="0">
                <a:pos x="connsiteX36598" y="connsiteY36598"/>
              </a:cxn>
              <a:cxn ang="0">
                <a:pos x="connsiteX36599" y="connsiteY36599"/>
              </a:cxn>
              <a:cxn ang="0">
                <a:pos x="connsiteX36600" y="connsiteY36600"/>
              </a:cxn>
              <a:cxn ang="0">
                <a:pos x="connsiteX36601" y="connsiteY36601"/>
              </a:cxn>
              <a:cxn ang="0">
                <a:pos x="connsiteX36602" y="connsiteY36602"/>
              </a:cxn>
              <a:cxn ang="0">
                <a:pos x="connsiteX36603" y="connsiteY36603"/>
              </a:cxn>
              <a:cxn ang="0">
                <a:pos x="connsiteX36604" y="connsiteY36604"/>
              </a:cxn>
              <a:cxn ang="0">
                <a:pos x="connsiteX36605" y="connsiteY36605"/>
              </a:cxn>
              <a:cxn ang="0">
                <a:pos x="connsiteX36606" y="connsiteY36606"/>
              </a:cxn>
              <a:cxn ang="0">
                <a:pos x="connsiteX36607" y="connsiteY36607"/>
              </a:cxn>
              <a:cxn ang="0">
                <a:pos x="connsiteX36608" y="connsiteY36608"/>
              </a:cxn>
              <a:cxn ang="0">
                <a:pos x="connsiteX36609" y="connsiteY36609"/>
              </a:cxn>
              <a:cxn ang="0">
                <a:pos x="connsiteX36610" y="connsiteY36610"/>
              </a:cxn>
              <a:cxn ang="0">
                <a:pos x="connsiteX36611" y="connsiteY36611"/>
              </a:cxn>
              <a:cxn ang="0">
                <a:pos x="connsiteX36612" y="connsiteY36612"/>
              </a:cxn>
              <a:cxn ang="0">
                <a:pos x="connsiteX36613" y="connsiteY36613"/>
              </a:cxn>
              <a:cxn ang="0">
                <a:pos x="connsiteX36614" y="connsiteY36614"/>
              </a:cxn>
              <a:cxn ang="0">
                <a:pos x="connsiteX36615" y="connsiteY36615"/>
              </a:cxn>
              <a:cxn ang="0">
                <a:pos x="connsiteX36616" y="connsiteY36616"/>
              </a:cxn>
              <a:cxn ang="0">
                <a:pos x="connsiteX36617" y="connsiteY36617"/>
              </a:cxn>
              <a:cxn ang="0">
                <a:pos x="connsiteX36618" y="connsiteY36618"/>
              </a:cxn>
              <a:cxn ang="0">
                <a:pos x="connsiteX36619" y="connsiteY36619"/>
              </a:cxn>
              <a:cxn ang="0">
                <a:pos x="connsiteX36620" y="connsiteY36620"/>
              </a:cxn>
              <a:cxn ang="0">
                <a:pos x="connsiteX36621" y="connsiteY36621"/>
              </a:cxn>
              <a:cxn ang="0">
                <a:pos x="connsiteX36622" y="connsiteY36622"/>
              </a:cxn>
              <a:cxn ang="0">
                <a:pos x="connsiteX36623" y="connsiteY36623"/>
              </a:cxn>
              <a:cxn ang="0">
                <a:pos x="connsiteX36624" y="connsiteY36624"/>
              </a:cxn>
              <a:cxn ang="0">
                <a:pos x="connsiteX36625" y="connsiteY36625"/>
              </a:cxn>
              <a:cxn ang="0">
                <a:pos x="connsiteX36626" y="connsiteY36626"/>
              </a:cxn>
              <a:cxn ang="0">
                <a:pos x="connsiteX36627" y="connsiteY36627"/>
              </a:cxn>
              <a:cxn ang="0">
                <a:pos x="connsiteX36628" y="connsiteY36628"/>
              </a:cxn>
              <a:cxn ang="0">
                <a:pos x="connsiteX36629" y="connsiteY36629"/>
              </a:cxn>
              <a:cxn ang="0">
                <a:pos x="connsiteX36630" y="connsiteY36630"/>
              </a:cxn>
              <a:cxn ang="0">
                <a:pos x="connsiteX36631" y="connsiteY36631"/>
              </a:cxn>
              <a:cxn ang="0">
                <a:pos x="connsiteX36632" y="connsiteY36632"/>
              </a:cxn>
              <a:cxn ang="0">
                <a:pos x="connsiteX36633" y="connsiteY36633"/>
              </a:cxn>
              <a:cxn ang="0">
                <a:pos x="connsiteX36634" y="connsiteY36634"/>
              </a:cxn>
              <a:cxn ang="0">
                <a:pos x="connsiteX36635" y="connsiteY36635"/>
              </a:cxn>
              <a:cxn ang="0">
                <a:pos x="connsiteX36636" y="connsiteY36636"/>
              </a:cxn>
              <a:cxn ang="0">
                <a:pos x="connsiteX36637" y="connsiteY36637"/>
              </a:cxn>
              <a:cxn ang="0">
                <a:pos x="connsiteX36638" y="connsiteY36638"/>
              </a:cxn>
              <a:cxn ang="0">
                <a:pos x="connsiteX36639" y="connsiteY36639"/>
              </a:cxn>
              <a:cxn ang="0">
                <a:pos x="connsiteX36640" y="connsiteY36640"/>
              </a:cxn>
              <a:cxn ang="0">
                <a:pos x="connsiteX36641" y="connsiteY36641"/>
              </a:cxn>
              <a:cxn ang="0">
                <a:pos x="connsiteX36642" y="connsiteY36642"/>
              </a:cxn>
              <a:cxn ang="0">
                <a:pos x="connsiteX36643" y="connsiteY36643"/>
              </a:cxn>
              <a:cxn ang="0">
                <a:pos x="connsiteX36644" y="connsiteY36644"/>
              </a:cxn>
              <a:cxn ang="0">
                <a:pos x="connsiteX36645" y="connsiteY36645"/>
              </a:cxn>
              <a:cxn ang="0">
                <a:pos x="connsiteX36646" y="connsiteY36646"/>
              </a:cxn>
              <a:cxn ang="0">
                <a:pos x="connsiteX36647" y="connsiteY36647"/>
              </a:cxn>
              <a:cxn ang="0">
                <a:pos x="connsiteX36648" y="connsiteY36648"/>
              </a:cxn>
              <a:cxn ang="0">
                <a:pos x="connsiteX36649" y="connsiteY36649"/>
              </a:cxn>
              <a:cxn ang="0">
                <a:pos x="connsiteX36650" y="connsiteY36650"/>
              </a:cxn>
              <a:cxn ang="0">
                <a:pos x="connsiteX36651" y="connsiteY36651"/>
              </a:cxn>
              <a:cxn ang="0">
                <a:pos x="connsiteX36652" y="connsiteY36652"/>
              </a:cxn>
              <a:cxn ang="0">
                <a:pos x="connsiteX36653" y="connsiteY36653"/>
              </a:cxn>
              <a:cxn ang="0">
                <a:pos x="connsiteX36654" y="connsiteY36654"/>
              </a:cxn>
              <a:cxn ang="0">
                <a:pos x="connsiteX36655" y="connsiteY36655"/>
              </a:cxn>
              <a:cxn ang="0">
                <a:pos x="connsiteX36656" y="connsiteY36656"/>
              </a:cxn>
              <a:cxn ang="0">
                <a:pos x="connsiteX36657" y="connsiteY36657"/>
              </a:cxn>
              <a:cxn ang="0">
                <a:pos x="connsiteX36658" y="connsiteY36658"/>
              </a:cxn>
              <a:cxn ang="0">
                <a:pos x="connsiteX36659" y="connsiteY36659"/>
              </a:cxn>
              <a:cxn ang="0">
                <a:pos x="connsiteX36660" y="connsiteY36660"/>
              </a:cxn>
              <a:cxn ang="0">
                <a:pos x="connsiteX36661" y="connsiteY36661"/>
              </a:cxn>
              <a:cxn ang="0">
                <a:pos x="connsiteX36662" y="connsiteY36662"/>
              </a:cxn>
              <a:cxn ang="0">
                <a:pos x="connsiteX36663" y="connsiteY36663"/>
              </a:cxn>
              <a:cxn ang="0">
                <a:pos x="connsiteX36664" y="connsiteY36664"/>
              </a:cxn>
              <a:cxn ang="0">
                <a:pos x="connsiteX36665" y="connsiteY36665"/>
              </a:cxn>
              <a:cxn ang="0">
                <a:pos x="connsiteX36666" y="connsiteY36666"/>
              </a:cxn>
              <a:cxn ang="0">
                <a:pos x="connsiteX36667" y="connsiteY36667"/>
              </a:cxn>
              <a:cxn ang="0">
                <a:pos x="connsiteX36668" y="connsiteY36668"/>
              </a:cxn>
              <a:cxn ang="0">
                <a:pos x="connsiteX36669" y="connsiteY36669"/>
              </a:cxn>
              <a:cxn ang="0">
                <a:pos x="connsiteX36670" y="connsiteY36670"/>
              </a:cxn>
              <a:cxn ang="0">
                <a:pos x="connsiteX36671" y="connsiteY36671"/>
              </a:cxn>
              <a:cxn ang="0">
                <a:pos x="connsiteX36672" y="connsiteY36672"/>
              </a:cxn>
              <a:cxn ang="0">
                <a:pos x="connsiteX36673" y="connsiteY36673"/>
              </a:cxn>
              <a:cxn ang="0">
                <a:pos x="connsiteX36674" y="connsiteY36674"/>
              </a:cxn>
              <a:cxn ang="0">
                <a:pos x="connsiteX36675" y="connsiteY36675"/>
              </a:cxn>
              <a:cxn ang="0">
                <a:pos x="connsiteX36676" y="connsiteY36676"/>
              </a:cxn>
              <a:cxn ang="0">
                <a:pos x="connsiteX36677" y="connsiteY36677"/>
              </a:cxn>
              <a:cxn ang="0">
                <a:pos x="connsiteX36678" y="connsiteY36678"/>
              </a:cxn>
              <a:cxn ang="0">
                <a:pos x="connsiteX36679" y="connsiteY36679"/>
              </a:cxn>
              <a:cxn ang="0">
                <a:pos x="connsiteX36680" y="connsiteY36680"/>
              </a:cxn>
              <a:cxn ang="0">
                <a:pos x="connsiteX36681" y="connsiteY36681"/>
              </a:cxn>
              <a:cxn ang="0">
                <a:pos x="connsiteX36682" y="connsiteY36682"/>
              </a:cxn>
              <a:cxn ang="0">
                <a:pos x="connsiteX36683" y="connsiteY36683"/>
              </a:cxn>
              <a:cxn ang="0">
                <a:pos x="connsiteX36684" y="connsiteY36684"/>
              </a:cxn>
              <a:cxn ang="0">
                <a:pos x="connsiteX36685" y="connsiteY36685"/>
              </a:cxn>
              <a:cxn ang="0">
                <a:pos x="connsiteX36686" y="connsiteY36686"/>
              </a:cxn>
              <a:cxn ang="0">
                <a:pos x="connsiteX36687" y="connsiteY36687"/>
              </a:cxn>
              <a:cxn ang="0">
                <a:pos x="connsiteX36688" y="connsiteY36688"/>
              </a:cxn>
              <a:cxn ang="0">
                <a:pos x="connsiteX36689" y="connsiteY36689"/>
              </a:cxn>
              <a:cxn ang="0">
                <a:pos x="connsiteX36690" y="connsiteY36690"/>
              </a:cxn>
              <a:cxn ang="0">
                <a:pos x="connsiteX36691" y="connsiteY36691"/>
              </a:cxn>
              <a:cxn ang="0">
                <a:pos x="connsiteX36692" y="connsiteY36692"/>
              </a:cxn>
              <a:cxn ang="0">
                <a:pos x="connsiteX36693" y="connsiteY36693"/>
              </a:cxn>
              <a:cxn ang="0">
                <a:pos x="connsiteX36694" y="connsiteY36694"/>
              </a:cxn>
              <a:cxn ang="0">
                <a:pos x="connsiteX36695" y="connsiteY36695"/>
              </a:cxn>
              <a:cxn ang="0">
                <a:pos x="connsiteX36696" y="connsiteY36696"/>
              </a:cxn>
              <a:cxn ang="0">
                <a:pos x="connsiteX36697" y="connsiteY36697"/>
              </a:cxn>
              <a:cxn ang="0">
                <a:pos x="connsiteX36698" y="connsiteY36698"/>
              </a:cxn>
              <a:cxn ang="0">
                <a:pos x="connsiteX36699" y="connsiteY36699"/>
              </a:cxn>
              <a:cxn ang="0">
                <a:pos x="connsiteX36700" y="connsiteY36700"/>
              </a:cxn>
              <a:cxn ang="0">
                <a:pos x="connsiteX36701" y="connsiteY36701"/>
              </a:cxn>
              <a:cxn ang="0">
                <a:pos x="connsiteX36702" y="connsiteY36702"/>
              </a:cxn>
              <a:cxn ang="0">
                <a:pos x="connsiteX36703" y="connsiteY36703"/>
              </a:cxn>
              <a:cxn ang="0">
                <a:pos x="connsiteX36704" y="connsiteY36704"/>
              </a:cxn>
              <a:cxn ang="0">
                <a:pos x="connsiteX36705" y="connsiteY36705"/>
              </a:cxn>
              <a:cxn ang="0">
                <a:pos x="connsiteX36706" y="connsiteY36706"/>
              </a:cxn>
              <a:cxn ang="0">
                <a:pos x="connsiteX36707" y="connsiteY36707"/>
              </a:cxn>
              <a:cxn ang="0">
                <a:pos x="connsiteX36708" y="connsiteY36708"/>
              </a:cxn>
              <a:cxn ang="0">
                <a:pos x="connsiteX36709" y="connsiteY36709"/>
              </a:cxn>
              <a:cxn ang="0">
                <a:pos x="connsiteX36710" y="connsiteY36710"/>
              </a:cxn>
              <a:cxn ang="0">
                <a:pos x="connsiteX36711" y="connsiteY36711"/>
              </a:cxn>
              <a:cxn ang="0">
                <a:pos x="connsiteX36712" y="connsiteY36712"/>
              </a:cxn>
              <a:cxn ang="0">
                <a:pos x="connsiteX36713" y="connsiteY36713"/>
              </a:cxn>
              <a:cxn ang="0">
                <a:pos x="connsiteX36714" y="connsiteY36714"/>
              </a:cxn>
              <a:cxn ang="0">
                <a:pos x="connsiteX36715" y="connsiteY36715"/>
              </a:cxn>
              <a:cxn ang="0">
                <a:pos x="connsiteX36716" y="connsiteY36716"/>
              </a:cxn>
              <a:cxn ang="0">
                <a:pos x="connsiteX36717" y="connsiteY36717"/>
              </a:cxn>
              <a:cxn ang="0">
                <a:pos x="connsiteX36718" y="connsiteY36718"/>
              </a:cxn>
              <a:cxn ang="0">
                <a:pos x="connsiteX36719" y="connsiteY36719"/>
              </a:cxn>
              <a:cxn ang="0">
                <a:pos x="connsiteX36720" y="connsiteY36720"/>
              </a:cxn>
              <a:cxn ang="0">
                <a:pos x="connsiteX36721" y="connsiteY36721"/>
              </a:cxn>
              <a:cxn ang="0">
                <a:pos x="connsiteX36722" y="connsiteY36722"/>
              </a:cxn>
              <a:cxn ang="0">
                <a:pos x="connsiteX36723" y="connsiteY36723"/>
              </a:cxn>
              <a:cxn ang="0">
                <a:pos x="connsiteX36724" y="connsiteY36724"/>
              </a:cxn>
              <a:cxn ang="0">
                <a:pos x="connsiteX36725" y="connsiteY36725"/>
              </a:cxn>
              <a:cxn ang="0">
                <a:pos x="connsiteX36726" y="connsiteY36726"/>
              </a:cxn>
              <a:cxn ang="0">
                <a:pos x="connsiteX36727" y="connsiteY36727"/>
              </a:cxn>
              <a:cxn ang="0">
                <a:pos x="connsiteX36728" y="connsiteY36728"/>
              </a:cxn>
              <a:cxn ang="0">
                <a:pos x="connsiteX36729" y="connsiteY36729"/>
              </a:cxn>
              <a:cxn ang="0">
                <a:pos x="connsiteX36730" y="connsiteY36730"/>
              </a:cxn>
              <a:cxn ang="0">
                <a:pos x="connsiteX36731" y="connsiteY36731"/>
              </a:cxn>
              <a:cxn ang="0">
                <a:pos x="connsiteX36732" y="connsiteY36732"/>
              </a:cxn>
              <a:cxn ang="0">
                <a:pos x="connsiteX36733" y="connsiteY36733"/>
              </a:cxn>
              <a:cxn ang="0">
                <a:pos x="connsiteX36734" y="connsiteY36734"/>
              </a:cxn>
              <a:cxn ang="0">
                <a:pos x="connsiteX36735" y="connsiteY36735"/>
              </a:cxn>
              <a:cxn ang="0">
                <a:pos x="connsiteX36736" y="connsiteY36736"/>
              </a:cxn>
              <a:cxn ang="0">
                <a:pos x="connsiteX36737" y="connsiteY36737"/>
              </a:cxn>
              <a:cxn ang="0">
                <a:pos x="connsiteX36738" y="connsiteY36738"/>
              </a:cxn>
              <a:cxn ang="0">
                <a:pos x="connsiteX36739" y="connsiteY36739"/>
              </a:cxn>
              <a:cxn ang="0">
                <a:pos x="connsiteX36740" y="connsiteY36740"/>
              </a:cxn>
              <a:cxn ang="0">
                <a:pos x="connsiteX36741" y="connsiteY36741"/>
              </a:cxn>
              <a:cxn ang="0">
                <a:pos x="connsiteX36742" y="connsiteY36742"/>
              </a:cxn>
              <a:cxn ang="0">
                <a:pos x="connsiteX36743" y="connsiteY36743"/>
              </a:cxn>
              <a:cxn ang="0">
                <a:pos x="connsiteX36744" y="connsiteY36744"/>
              </a:cxn>
              <a:cxn ang="0">
                <a:pos x="connsiteX36745" y="connsiteY36745"/>
              </a:cxn>
              <a:cxn ang="0">
                <a:pos x="connsiteX36746" y="connsiteY36746"/>
              </a:cxn>
              <a:cxn ang="0">
                <a:pos x="connsiteX36747" y="connsiteY36747"/>
              </a:cxn>
              <a:cxn ang="0">
                <a:pos x="connsiteX36748" y="connsiteY36748"/>
              </a:cxn>
              <a:cxn ang="0">
                <a:pos x="connsiteX36749" y="connsiteY36749"/>
              </a:cxn>
              <a:cxn ang="0">
                <a:pos x="connsiteX36750" y="connsiteY36750"/>
              </a:cxn>
              <a:cxn ang="0">
                <a:pos x="connsiteX36751" y="connsiteY36751"/>
              </a:cxn>
              <a:cxn ang="0">
                <a:pos x="connsiteX36752" y="connsiteY36752"/>
              </a:cxn>
              <a:cxn ang="0">
                <a:pos x="connsiteX36753" y="connsiteY36753"/>
              </a:cxn>
              <a:cxn ang="0">
                <a:pos x="connsiteX36754" y="connsiteY36754"/>
              </a:cxn>
              <a:cxn ang="0">
                <a:pos x="connsiteX36755" y="connsiteY36755"/>
              </a:cxn>
              <a:cxn ang="0">
                <a:pos x="connsiteX36756" y="connsiteY36756"/>
              </a:cxn>
              <a:cxn ang="0">
                <a:pos x="connsiteX36757" y="connsiteY36757"/>
              </a:cxn>
              <a:cxn ang="0">
                <a:pos x="connsiteX36758" y="connsiteY36758"/>
              </a:cxn>
              <a:cxn ang="0">
                <a:pos x="connsiteX36759" y="connsiteY36759"/>
              </a:cxn>
              <a:cxn ang="0">
                <a:pos x="connsiteX36760" y="connsiteY36760"/>
              </a:cxn>
              <a:cxn ang="0">
                <a:pos x="connsiteX36761" y="connsiteY36761"/>
              </a:cxn>
              <a:cxn ang="0">
                <a:pos x="connsiteX36762" y="connsiteY36762"/>
              </a:cxn>
              <a:cxn ang="0">
                <a:pos x="connsiteX36763" y="connsiteY36763"/>
              </a:cxn>
              <a:cxn ang="0">
                <a:pos x="connsiteX36764" y="connsiteY36764"/>
              </a:cxn>
              <a:cxn ang="0">
                <a:pos x="connsiteX36765" y="connsiteY36765"/>
              </a:cxn>
              <a:cxn ang="0">
                <a:pos x="connsiteX36766" y="connsiteY36766"/>
              </a:cxn>
              <a:cxn ang="0">
                <a:pos x="connsiteX36767" y="connsiteY36767"/>
              </a:cxn>
              <a:cxn ang="0">
                <a:pos x="connsiteX36768" y="connsiteY36768"/>
              </a:cxn>
              <a:cxn ang="0">
                <a:pos x="connsiteX36769" y="connsiteY36769"/>
              </a:cxn>
              <a:cxn ang="0">
                <a:pos x="connsiteX36770" y="connsiteY36770"/>
              </a:cxn>
              <a:cxn ang="0">
                <a:pos x="connsiteX36771" y="connsiteY36771"/>
              </a:cxn>
              <a:cxn ang="0">
                <a:pos x="connsiteX36772" y="connsiteY36772"/>
              </a:cxn>
              <a:cxn ang="0">
                <a:pos x="connsiteX36773" y="connsiteY36773"/>
              </a:cxn>
              <a:cxn ang="0">
                <a:pos x="connsiteX36774" y="connsiteY36774"/>
              </a:cxn>
              <a:cxn ang="0">
                <a:pos x="connsiteX36775" y="connsiteY36775"/>
              </a:cxn>
              <a:cxn ang="0">
                <a:pos x="connsiteX36776" y="connsiteY36776"/>
              </a:cxn>
              <a:cxn ang="0">
                <a:pos x="connsiteX36777" y="connsiteY36777"/>
              </a:cxn>
              <a:cxn ang="0">
                <a:pos x="connsiteX36778" y="connsiteY36778"/>
              </a:cxn>
              <a:cxn ang="0">
                <a:pos x="connsiteX36779" y="connsiteY36779"/>
              </a:cxn>
              <a:cxn ang="0">
                <a:pos x="connsiteX36780" y="connsiteY36780"/>
              </a:cxn>
              <a:cxn ang="0">
                <a:pos x="connsiteX36781" y="connsiteY36781"/>
              </a:cxn>
              <a:cxn ang="0">
                <a:pos x="connsiteX36782" y="connsiteY36782"/>
              </a:cxn>
              <a:cxn ang="0">
                <a:pos x="connsiteX36783" y="connsiteY36783"/>
              </a:cxn>
              <a:cxn ang="0">
                <a:pos x="connsiteX36784" y="connsiteY36784"/>
              </a:cxn>
              <a:cxn ang="0">
                <a:pos x="connsiteX36785" y="connsiteY36785"/>
              </a:cxn>
              <a:cxn ang="0">
                <a:pos x="connsiteX36786" y="connsiteY36786"/>
              </a:cxn>
              <a:cxn ang="0">
                <a:pos x="connsiteX36787" y="connsiteY36787"/>
              </a:cxn>
              <a:cxn ang="0">
                <a:pos x="connsiteX36788" y="connsiteY36788"/>
              </a:cxn>
              <a:cxn ang="0">
                <a:pos x="connsiteX36789" y="connsiteY36789"/>
              </a:cxn>
              <a:cxn ang="0">
                <a:pos x="connsiteX36790" y="connsiteY36790"/>
              </a:cxn>
              <a:cxn ang="0">
                <a:pos x="connsiteX36791" y="connsiteY36791"/>
              </a:cxn>
              <a:cxn ang="0">
                <a:pos x="connsiteX36792" y="connsiteY36792"/>
              </a:cxn>
              <a:cxn ang="0">
                <a:pos x="connsiteX36793" y="connsiteY36793"/>
              </a:cxn>
              <a:cxn ang="0">
                <a:pos x="connsiteX36794" y="connsiteY36794"/>
              </a:cxn>
              <a:cxn ang="0">
                <a:pos x="connsiteX36795" y="connsiteY36795"/>
              </a:cxn>
              <a:cxn ang="0">
                <a:pos x="connsiteX36796" y="connsiteY36796"/>
              </a:cxn>
              <a:cxn ang="0">
                <a:pos x="connsiteX36797" y="connsiteY36797"/>
              </a:cxn>
              <a:cxn ang="0">
                <a:pos x="connsiteX36798" y="connsiteY36798"/>
              </a:cxn>
              <a:cxn ang="0">
                <a:pos x="connsiteX36799" y="connsiteY36799"/>
              </a:cxn>
              <a:cxn ang="0">
                <a:pos x="connsiteX36800" y="connsiteY36800"/>
              </a:cxn>
              <a:cxn ang="0">
                <a:pos x="connsiteX36801" y="connsiteY36801"/>
              </a:cxn>
              <a:cxn ang="0">
                <a:pos x="connsiteX36802" y="connsiteY36802"/>
              </a:cxn>
              <a:cxn ang="0">
                <a:pos x="connsiteX36803" y="connsiteY36803"/>
              </a:cxn>
              <a:cxn ang="0">
                <a:pos x="connsiteX36804" y="connsiteY36804"/>
              </a:cxn>
              <a:cxn ang="0">
                <a:pos x="connsiteX36805" y="connsiteY36805"/>
              </a:cxn>
              <a:cxn ang="0">
                <a:pos x="connsiteX36806" y="connsiteY36806"/>
              </a:cxn>
              <a:cxn ang="0">
                <a:pos x="connsiteX36807" y="connsiteY36807"/>
              </a:cxn>
              <a:cxn ang="0">
                <a:pos x="connsiteX36808" y="connsiteY36808"/>
              </a:cxn>
              <a:cxn ang="0">
                <a:pos x="connsiteX36809" y="connsiteY36809"/>
              </a:cxn>
              <a:cxn ang="0">
                <a:pos x="connsiteX36810" y="connsiteY36810"/>
              </a:cxn>
              <a:cxn ang="0">
                <a:pos x="connsiteX36811" y="connsiteY36811"/>
              </a:cxn>
              <a:cxn ang="0">
                <a:pos x="connsiteX36812" y="connsiteY36812"/>
              </a:cxn>
              <a:cxn ang="0">
                <a:pos x="connsiteX36813" y="connsiteY36813"/>
              </a:cxn>
              <a:cxn ang="0">
                <a:pos x="connsiteX36814" y="connsiteY36814"/>
              </a:cxn>
              <a:cxn ang="0">
                <a:pos x="connsiteX36815" y="connsiteY36815"/>
              </a:cxn>
              <a:cxn ang="0">
                <a:pos x="connsiteX36816" y="connsiteY36816"/>
              </a:cxn>
              <a:cxn ang="0">
                <a:pos x="connsiteX36817" y="connsiteY36817"/>
              </a:cxn>
              <a:cxn ang="0">
                <a:pos x="connsiteX36818" y="connsiteY36818"/>
              </a:cxn>
              <a:cxn ang="0">
                <a:pos x="connsiteX36819" y="connsiteY36819"/>
              </a:cxn>
              <a:cxn ang="0">
                <a:pos x="connsiteX36820" y="connsiteY36820"/>
              </a:cxn>
              <a:cxn ang="0">
                <a:pos x="connsiteX36821" y="connsiteY36821"/>
              </a:cxn>
              <a:cxn ang="0">
                <a:pos x="connsiteX36822" y="connsiteY36822"/>
              </a:cxn>
              <a:cxn ang="0">
                <a:pos x="connsiteX36823" y="connsiteY36823"/>
              </a:cxn>
              <a:cxn ang="0">
                <a:pos x="connsiteX36824" y="connsiteY36824"/>
              </a:cxn>
              <a:cxn ang="0">
                <a:pos x="connsiteX36825" y="connsiteY36825"/>
              </a:cxn>
              <a:cxn ang="0">
                <a:pos x="connsiteX36826" y="connsiteY36826"/>
              </a:cxn>
              <a:cxn ang="0">
                <a:pos x="connsiteX36827" y="connsiteY36827"/>
              </a:cxn>
              <a:cxn ang="0">
                <a:pos x="connsiteX36828" y="connsiteY36828"/>
              </a:cxn>
              <a:cxn ang="0">
                <a:pos x="connsiteX36829" y="connsiteY36829"/>
              </a:cxn>
              <a:cxn ang="0">
                <a:pos x="connsiteX36830" y="connsiteY36830"/>
              </a:cxn>
              <a:cxn ang="0">
                <a:pos x="connsiteX36831" y="connsiteY36831"/>
              </a:cxn>
              <a:cxn ang="0">
                <a:pos x="connsiteX36832" y="connsiteY36832"/>
              </a:cxn>
              <a:cxn ang="0">
                <a:pos x="connsiteX36833" y="connsiteY36833"/>
              </a:cxn>
              <a:cxn ang="0">
                <a:pos x="connsiteX36834" y="connsiteY36834"/>
              </a:cxn>
              <a:cxn ang="0">
                <a:pos x="connsiteX36835" y="connsiteY36835"/>
              </a:cxn>
              <a:cxn ang="0">
                <a:pos x="connsiteX36836" y="connsiteY36836"/>
              </a:cxn>
              <a:cxn ang="0">
                <a:pos x="connsiteX36837" y="connsiteY36837"/>
              </a:cxn>
              <a:cxn ang="0">
                <a:pos x="connsiteX36838" y="connsiteY36838"/>
              </a:cxn>
              <a:cxn ang="0">
                <a:pos x="connsiteX36839" y="connsiteY36839"/>
              </a:cxn>
              <a:cxn ang="0">
                <a:pos x="connsiteX36840" y="connsiteY36840"/>
              </a:cxn>
              <a:cxn ang="0">
                <a:pos x="connsiteX36841" y="connsiteY36841"/>
              </a:cxn>
              <a:cxn ang="0">
                <a:pos x="connsiteX36842" y="connsiteY36842"/>
              </a:cxn>
              <a:cxn ang="0">
                <a:pos x="connsiteX36843" y="connsiteY36843"/>
              </a:cxn>
              <a:cxn ang="0">
                <a:pos x="connsiteX36844" y="connsiteY36844"/>
              </a:cxn>
              <a:cxn ang="0">
                <a:pos x="connsiteX36845" y="connsiteY36845"/>
              </a:cxn>
              <a:cxn ang="0">
                <a:pos x="connsiteX36846" y="connsiteY36846"/>
              </a:cxn>
              <a:cxn ang="0">
                <a:pos x="connsiteX36847" y="connsiteY36847"/>
              </a:cxn>
              <a:cxn ang="0">
                <a:pos x="connsiteX36848" y="connsiteY36848"/>
              </a:cxn>
              <a:cxn ang="0">
                <a:pos x="connsiteX36849" y="connsiteY36849"/>
              </a:cxn>
              <a:cxn ang="0">
                <a:pos x="connsiteX36850" y="connsiteY36850"/>
              </a:cxn>
              <a:cxn ang="0">
                <a:pos x="connsiteX36851" y="connsiteY36851"/>
              </a:cxn>
              <a:cxn ang="0">
                <a:pos x="connsiteX36852" y="connsiteY36852"/>
              </a:cxn>
              <a:cxn ang="0">
                <a:pos x="connsiteX36853" y="connsiteY36853"/>
              </a:cxn>
              <a:cxn ang="0">
                <a:pos x="connsiteX36854" y="connsiteY36854"/>
              </a:cxn>
              <a:cxn ang="0">
                <a:pos x="connsiteX36855" y="connsiteY36855"/>
              </a:cxn>
              <a:cxn ang="0">
                <a:pos x="connsiteX36856" y="connsiteY36856"/>
              </a:cxn>
              <a:cxn ang="0">
                <a:pos x="connsiteX36857" y="connsiteY36857"/>
              </a:cxn>
              <a:cxn ang="0">
                <a:pos x="connsiteX36858" y="connsiteY36858"/>
              </a:cxn>
              <a:cxn ang="0">
                <a:pos x="connsiteX36859" y="connsiteY36859"/>
              </a:cxn>
              <a:cxn ang="0">
                <a:pos x="connsiteX36860" y="connsiteY36860"/>
              </a:cxn>
              <a:cxn ang="0">
                <a:pos x="connsiteX36861" y="connsiteY36861"/>
              </a:cxn>
              <a:cxn ang="0">
                <a:pos x="connsiteX36862" y="connsiteY36862"/>
              </a:cxn>
              <a:cxn ang="0">
                <a:pos x="connsiteX36863" y="connsiteY36863"/>
              </a:cxn>
              <a:cxn ang="0">
                <a:pos x="connsiteX36864" y="connsiteY36864"/>
              </a:cxn>
              <a:cxn ang="0">
                <a:pos x="connsiteX36865" y="connsiteY36865"/>
              </a:cxn>
              <a:cxn ang="0">
                <a:pos x="connsiteX36866" y="connsiteY36866"/>
              </a:cxn>
              <a:cxn ang="0">
                <a:pos x="connsiteX36867" y="connsiteY36867"/>
              </a:cxn>
              <a:cxn ang="0">
                <a:pos x="connsiteX36868" y="connsiteY36868"/>
              </a:cxn>
              <a:cxn ang="0">
                <a:pos x="connsiteX36869" y="connsiteY36869"/>
              </a:cxn>
              <a:cxn ang="0">
                <a:pos x="connsiteX36870" y="connsiteY36870"/>
              </a:cxn>
              <a:cxn ang="0">
                <a:pos x="connsiteX36871" y="connsiteY36871"/>
              </a:cxn>
              <a:cxn ang="0">
                <a:pos x="connsiteX36872" y="connsiteY36872"/>
              </a:cxn>
              <a:cxn ang="0">
                <a:pos x="connsiteX36873" y="connsiteY36873"/>
              </a:cxn>
              <a:cxn ang="0">
                <a:pos x="connsiteX36874" y="connsiteY36874"/>
              </a:cxn>
              <a:cxn ang="0">
                <a:pos x="connsiteX36875" y="connsiteY36875"/>
              </a:cxn>
              <a:cxn ang="0">
                <a:pos x="connsiteX36876" y="connsiteY36876"/>
              </a:cxn>
              <a:cxn ang="0">
                <a:pos x="connsiteX36877" y="connsiteY36877"/>
              </a:cxn>
              <a:cxn ang="0">
                <a:pos x="connsiteX36878" y="connsiteY36878"/>
              </a:cxn>
              <a:cxn ang="0">
                <a:pos x="connsiteX36879" y="connsiteY36879"/>
              </a:cxn>
              <a:cxn ang="0">
                <a:pos x="connsiteX36880" y="connsiteY36880"/>
              </a:cxn>
              <a:cxn ang="0">
                <a:pos x="connsiteX36881" y="connsiteY36881"/>
              </a:cxn>
              <a:cxn ang="0">
                <a:pos x="connsiteX36882" y="connsiteY36882"/>
              </a:cxn>
              <a:cxn ang="0">
                <a:pos x="connsiteX36883" y="connsiteY36883"/>
              </a:cxn>
              <a:cxn ang="0">
                <a:pos x="connsiteX36884" y="connsiteY36884"/>
              </a:cxn>
              <a:cxn ang="0">
                <a:pos x="connsiteX36885" y="connsiteY36885"/>
              </a:cxn>
              <a:cxn ang="0">
                <a:pos x="connsiteX36886" y="connsiteY36886"/>
              </a:cxn>
              <a:cxn ang="0">
                <a:pos x="connsiteX36887" y="connsiteY36887"/>
              </a:cxn>
              <a:cxn ang="0">
                <a:pos x="connsiteX36888" y="connsiteY36888"/>
              </a:cxn>
              <a:cxn ang="0">
                <a:pos x="connsiteX36889" y="connsiteY36889"/>
              </a:cxn>
              <a:cxn ang="0">
                <a:pos x="connsiteX36890" y="connsiteY36890"/>
              </a:cxn>
              <a:cxn ang="0">
                <a:pos x="connsiteX36891" y="connsiteY36891"/>
              </a:cxn>
              <a:cxn ang="0">
                <a:pos x="connsiteX36892" y="connsiteY36892"/>
              </a:cxn>
              <a:cxn ang="0">
                <a:pos x="connsiteX36893" y="connsiteY36893"/>
              </a:cxn>
              <a:cxn ang="0">
                <a:pos x="connsiteX36894" y="connsiteY36894"/>
              </a:cxn>
              <a:cxn ang="0">
                <a:pos x="connsiteX36895" y="connsiteY36895"/>
              </a:cxn>
              <a:cxn ang="0">
                <a:pos x="connsiteX36896" y="connsiteY36896"/>
              </a:cxn>
              <a:cxn ang="0">
                <a:pos x="connsiteX36897" y="connsiteY36897"/>
              </a:cxn>
              <a:cxn ang="0">
                <a:pos x="connsiteX36898" y="connsiteY36898"/>
              </a:cxn>
              <a:cxn ang="0">
                <a:pos x="connsiteX36899" y="connsiteY36899"/>
              </a:cxn>
              <a:cxn ang="0">
                <a:pos x="connsiteX36900" y="connsiteY36900"/>
              </a:cxn>
              <a:cxn ang="0">
                <a:pos x="connsiteX36901" y="connsiteY36901"/>
              </a:cxn>
              <a:cxn ang="0">
                <a:pos x="connsiteX36902" y="connsiteY36902"/>
              </a:cxn>
              <a:cxn ang="0">
                <a:pos x="connsiteX36903" y="connsiteY36903"/>
              </a:cxn>
              <a:cxn ang="0">
                <a:pos x="connsiteX36904" y="connsiteY36904"/>
              </a:cxn>
              <a:cxn ang="0">
                <a:pos x="connsiteX36905" y="connsiteY36905"/>
              </a:cxn>
              <a:cxn ang="0">
                <a:pos x="connsiteX36906" y="connsiteY36906"/>
              </a:cxn>
              <a:cxn ang="0">
                <a:pos x="connsiteX36907" y="connsiteY36907"/>
              </a:cxn>
              <a:cxn ang="0">
                <a:pos x="connsiteX36908" y="connsiteY36908"/>
              </a:cxn>
              <a:cxn ang="0">
                <a:pos x="connsiteX36909" y="connsiteY36909"/>
              </a:cxn>
              <a:cxn ang="0">
                <a:pos x="connsiteX36910" y="connsiteY36910"/>
              </a:cxn>
              <a:cxn ang="0">
                <a:pos x="connsiteX36911" y="connsiteY36911"/>
              </a:cxn>
              <a:cxn ang="0">
                <a:pos x="connsiteX36912" y="connsiteY36912"/>
              </a:cxn>
              <a:cxn ang="0">
                <a:pos x="connsiteX36913" y="connsiteY36913"/>
              </a:cxn>
              <a:cxn ang="0">
                <a:pos x="connsiteX36914" y="connsiteY36914"/>
              </a:cxn>
              <a:cxn ang="0">
                <a:pos x="connsiteX36915" y="connsiteY36915"/>
              </a:cxn>
              <a:cxn ang="0">
                <a:pos x="connsiteX36916" y="connsiteY36916"/>
              </a:cxn>
              <a:cxn ang="0">
                <a:pos x="connsiteX36917" y="connsiteY36917"/>
              </a:cxn>
              <a:cxn ang="0">
                <a:pos x="connsiteX36918" y="connsiteY36918"/>
              </a:cxn>
              <a:cxn ang="0">
                <a:pos x="connsiteX36919" y="connsiteY36919"/>
              </a:cxn>
              <a:cxn ang="0">
                <a:pos x="connsiteX36920" y="connsiteY36920"/>
              </a:cxn>
              <a:cxn ang="0">
                <a:pos x="connsiteX36921" y="connsiteY36921"/>
              </a:cxn>
              <a:cxn ang="0">
                <a:pos x="connsiteX36922" y="connsiteY36922"/>
              </a:cxn>
              <a:cxn ang="0">
                <a:pos x="connsiteX36923" y="connsiteY36923"/>
              </a:cxn>
              <a:cxn ang="0">
                <a:pos x="connsiteX36924" y="connsiteY36924"/>
              </a:cxn>
              <a:cxn ang="0">
                <a:pos x="connsiteX36925" y="connsiteY36925"/>
              </a:cxn>
              <a:cxn ang="0">
                <a:pos x="connsiteX36926" y="connsiteY36926"/>
              </a:cxn>
              <a:cxn ang="0">
                <a:pos x="connsiteX36927" y="connsiteY36927"/>
              </a:cxn>
              <a:cxn ang="0">
                <a:pos x="connsiteX36928" y="connsiteY36928"/>
              </a:cxn>
              <a:cxn ang="0">
                <a:pos x="connsiteX36929" y="connsiteY36929"/>
              </a:cxn>
              <a:cxn ang="0">
                <a:pos x="connsiteX36930" y="connsiteY36930"/>
              </a:cxn>
              <a:cxn ang="0">
                <a:pos x="connsiteX36931" y="connsiteY36931"/>
              </a:cxn>
              <a:cxn ang="0">
                <a:pos x="connsiteX36932" y="connsiteY36932"/>
              </a:cxn>
              <a:cxn ang="0">
                <a:pos x="connsiteX36933" y="connsiteY36933"/>
              </a:cxn>
              <a:cxn ang="0">
                <a:pos x="connsiteX36934" y="connsiteY36934"/>
              </a:cxn>
              <a:cxn ang="0">
                <a:pos x="connsiteX36935" y="connsiteY36935"/>
              </a:cxn>
              <a:cxn ang="0">
                <a:pos x="connsiteX36936" y="connsiteY36936"/>
              </a:cxn>
              <a:cxn ang="0">
                <a:pos x="connsiteX36937" y="connsiteY36937"/>
              </a:cxn>
              <a:cxn ang="0">
                <a:pos x="connsiteX36938" y="connsiteY36938"/>
              </a:cxn>
              <a:cxn ang="0">
                <a:pos x="connsiteX36939" y="connsiteY36939"/>
              </a:cxn>
              <a:cxn ang="0">
                <a:pos x="connsiteX36940" y="connsiteY36940"/>
              </a:cxn>
              <a:cxn ang="0">
                <a:pos x="connsiteX36941" y="connsiteY36941"/>
              </a:cxn>
              <a:cxn ang="0">
                <a:pos x="connsiteX36942" y="connsiteY36942"/>
              </a:cxn>
              <a:cxn ang="0">
                <a:pos x="connsiteX36943" y="connsiteY36943"/>
              </a:cxn>
              <a:cxn ang="0">
                <a:pos x="connsiteX36944" y="connsiteY36944"/>
              </a:cxn>
              <a:cxn ang="0">
                <a:pos x="connsiteX36945" y="connsiteY36945"/>
              </a:cxn>
              <a:cxn ang="0">
                <a:pos x="connsiteX36946" y="connsiteY36946"/>
              </a:cxn>
              <a:cxn ang="0">
                <a:pos x="connsiteX36947" y="connsiteY36947"/>
              </a:cxn>
              <a:cxn ang="0">
                <a:pos x="connsiteX36948" y="connsiteY36948"/>
              </a:cxn>
              <a:cxn ang="0">
                <a:pos x="connsiteX36949" y="connsiteY36949"/>
              </a:cxn>
              <a:cxn ang="0">
                <a:pos x="connsiteX36950" y="connsiteY36950"/>
              </a:cxn>
              <a:cxn ang="0">
                <a:pos x="connsiteX36951" y="connsiteY36951"/>
              </a:cxn>
              <a:cxn ang="0">
                <a:pos x="connsiteX36952" y="connsiteY36952"/>
              </a:cxn>
              <a:cxn ang="0">
                <a:pos x="connsiteX36953" y="connsiteY36953"/>
              </a:cxn>
              <a:cxn ang="0">
                <a:pos x="connsiteX36954" y="connsiteY36954"/>
              </a:cxn>
              <a:cxn ang="0">
                <a:pos x="connsiteX36955" y="connsiteY36955"/>
              </a:cxn>
              <a:cxn ang="0">
                <a:pos x="connsiteX36956" y="connsiteY36956"/>
              </a:cxn>
              <a:cxn ang="0">
                <a:pos x="connsiteX36957" y="connsiteY36957"/>
              </a:cxn>
              <a:cxn ang="0">
                <a:pos x="connsiteX36958" y="connsiteY36958"/>
              </a:cxn>
              <a:cxn ang="0">
                <a:pos x="connsiteX36959" y="connsiteY36959"/>
              </a:cxn>
              <a:cxn ang="0">
                <a:pos x="connsiteX36960" y="connsiteY36960"/>
              </a:cxn>
              <a:cxn ang="0">
                <a:pos x="connsiteX36961" y="connsiteY36961"/>
              </a:cxn>
              <a:cxn ang="0">
                <a:pos x="connsiteX36962" y="connsiteY36962"/>
              </a:cxn>
              <a:cxn ang="0">
                <a:pos x="connsiteX36963" y="connsiteY36963"/>
              </a:cxn>
              <a:cxn ang="0">
                <a:pos x="connsiteX36964" y="connsiteY36964"/>
              </a:cxn>
              <a:cxn ang="0">
                <a:pos x="connsiteX36965" y="connsiteY36965"/>
              </a:cxn>
              <a:cxn ang="0">
                <a:pos x="connsiteX36966" y="connsiteY36966"/>
              </a:cxn>
              <a:cxn ang="0">
                <a:pos x="connsiteX36967" y="connsiteY36967"/>
              </a:cxn>
              <a:cxn ang="0">
                <a:pos x="connsiteX36968" y="connsiteY36968"/>
              </a:cxn>
              <a:cxn ang="0">
                <a:pos x="connsiteX36969" y="connsiteY36969"/>
              </a:cxn>
              <a:cxn ang="0">
                <a:pos x="connsiteX36970" y="connsiteY36970"/>
              </a:cxn>
              <a:cxn ang="0">
                <a:pos x="connsiteX36971" y="connsiteY36971"/>
              </a:cxn>
              <a:cxn ang="0">
                <a:pos x="connsiteX36972" y="connsiteY36972"/>
              </a:cxn>
              <a:cxn ang="0">
                <a:pos x="connsiteX36973" y="connsiteY36973"/>
              </a:cxn>
              <a:cxn ang="0">
                <a:pos x="connsiteX36974" y="connsiteY36974"/>
              </a:cxn>
              <a:cxn ang="0">
                <a:pos x="connsiteX36975" y="connsiteY36975"/>
              </a:cxn>
              <a:cxn ang="0">
                <a:pos x="connsiteX36976" y="connsiteY36976"/>
              </a:cxn>
              <a:cxn ang="0">
                <a:pos x="connsiteX36977" y="connsiteY36977"/>
              </a:cxn>
              <a:cxn ang="0">
                <a:pos x="connsiteX36978" y="connsiteY36978"/>
              </a:cxn>
              <a:cxn ang="0">
                <a:pos x="connsiteX36979" y="connsiteY36979"/>
              </a:cxn>
              <a:cxn ang="0">
                <a:pos x="connsiteX36980" y="connsiteY36980"/>
              </a:cxn>
              <a:cxn ang="0">
                <a:pos x="connsiteX36981" y="connsiteY36981"/>
              </a:cxn>
              <a:cxn ang="0">
                <a:pos x="connsiteX36982" y="connsiteY36982"/>
              </a:cxn>
              <a:cxn ang="0">
                <a:pos x="connsiteX36983" y="connsiteY36983"/>
              </a:cxn>
              <a:cxn ang="0">
                <a:pos x="connsiteX36984" y="connsiteY36984"/>
              </a:cxn>
              <a:cxn ang="0">
                <a:pos x="connsiteX36985" y="connsiteY36985"/>
              </a:cxn>
              <a:cxn ang="0">
                <a:pos x="connsiteX36986" y="connsiteY36986"/>
              </a:cxn>
              <a:cxn ang="0">
                <a:pos x="connsiteX36987" y="connsiteY36987"/>
              </a:cxn>
              <a:cxn ang="0">
                <a:pos x="connsiteX36988" y="connsiteY36988"/>
              </a:cxn>
              <a:cxn ang="0">
                <a:pos x="connsiteX36989" y="connsiteY36989"/>
              </a:cxn>
              <a:cxn ang="0">
                <a:pos x="connsiteX36990" y="connsiteY36990"/>
              </a:cxn>
              <a:cxn ang="0">
                <a:pos x="connsiteX36991" y="connsiteY36991"/>
              </a:cxn>
              <a:cxn ang="0">
                <a:pos x="connsiteX36992" y="connsiteY36992"/>
              </a:cxn>
              <a:cxn ang="0">
                <a:pos x="connsiteX36993" y="connsiteY36993"/>
              </a:cxn>
              <a:cxn ang="0">
                <a:pos x="connsiteX36994" y="connsiteY36994"/>
              </a:cxn>
              <a:cxn ang="0">
                <a:pos x="connsiteX36995" y="connsiteY36995"/>
              </a:cxn>
              <a:cxn ang="0">
                <a:pos x="connsiteX36996" y="connsiteY36996"/>
              </a:cxn>
              <a:cxn ang="0">
                <a:pos x="connsiteX36997" y="connsiteY36997"/>
              </a:cxn>
              <a:cxn ang="0">
                <a:pos x="connsiteX36998" y="connsiteY36998"/>
              </a:cxn>
              <a:cxn ang="0">
                <a:pos x="connsiteX36999" y="connsiteY36999"/>
              </a:cxn>
              <a:cxn ang="0">
                <a:pos x="connsiteX37000" y="connsiteY37000"/>
              </a:cxn>
              <a:cxn ang="0">
                <a:pos x="connsiteX37001" y="connsiteY37001"/>
              </a:cxn>
              <a:cxn ang="0">
                <a:pos x="connsiteX37002" y="connsiteY37002"/>
              </a:cxn>
              <a:cxn ang="0">
                <a:pos x="connsiteX37003" y="connsiteY37003"/>
              </a:cxn>
              <a:cxn ang="0">
                <a:pos x="connsiteX37004" y="connsiteY37004"/>
              </a:cxn>
              <a:cxn ang="0">
                <a:pos x="connsiteX37005" y="connsiteY37005"/>
              </a:cxn>
              <a:cxn ang="0">
                <a:pos x="connsiteX37006" y="connsiteY37006"/>
              </a:cxn>
              <a:cxn ang="0">
                <a:pos x="connsiteX37007" y="connsiteY37007"/>
              </a:cxn>
              <a:cxn ang="0">
                <a:pos x="connsiteX37008" y="connsiteY37008"/>
              </a:cxn>
              <a:cxn ang="0">
                <a:pos x="connsiteX37009" y="connsiteY37009"/>
              </a:cxn>
              <a:cxn ang="0">
                <a:pos x="connsiteX37010" y="connsiteY37010"/>
              </a:cxn>
              <a:cxn ang="0">
                <a:pos x="connsiteX37011" y="connsiteY37011"/>
              </a:cxn>
              <a:cxn ang="0">
                <a:pos x="connsiteX37012" y="connsiteY37012"/>
              </a:cxn>
              <a:cxn ang="0">
                <a:pos x="connsiteX37013" y="connsiteY37013"/>
              </a:cxn>
              <a:cxn ang="0">
                <a:pos x="connsiteX37014" y="connsiteY37014"/>
              </a:cxn>
              <a:cxn ang="0">
                <a:pos x="connsiteX37015" y="connsiteY37015"/>
              </a:cxn>
              <a:cxn ang="0">
                <a:pos x="connsiteX37016" y="connsiteY37016"/>
              </a:cxn>
              <a:cxn ang="0">
                <a:pos x="connsiteX37017" y="connsiteY37017"/>
              </a:cxn>
              <a:cxn ang="0">
                <a:pos x="connsiteX37018" y="connsiteY37018"/>
              </a:cxn>
              <a:cxn ang="0">
                <a:pos x="connsiteX37019" y="connsiteY37019"/>
              </a:cxn>
              <a:cxn ang="0">
                <a:pos x="connsiteX37020" y="connsiteY37020"/>
              </a:cxn>
              <a:cxn ang="0">
                <a:pos x="connsiteX37021" y="connsiteY37021"/>
              </a:cxn>
              <a:cxn ang="0">
                <a:pos x="connsiteX37022" y="connsiteY37022"/>
              </a:cxn>
              <a:cxn ang="0">
                <a:pos x="connsiteX37023" y="connsiteY37023"/>
              </a:cxn>
              <a:cxn ang="0">
                <a:pos x="connsiteX37024" y="connsiteY37024"/>
              </a:cxn>
              <a:cxn ang="0">
                <a:pos x="connsiteX37025" y="connsiteY37025"/>
              </a:cxn>
              <a:cxn ang="0">
                <a:pos x="connsiteX37026" y="connsiteY37026"/>
              </a:cxn>
              <a:cxn ang="0">
                <a:pos x="connsiteX37027" y="connsiteY37027"/>
              </a:cxn>
              <a:cxn ang="0">
                <a:pos x="connsiteX37028" y="connsiteY37028"/>
              </a:cxn>
              <a:cxn ang="0">
                <a:pos x="connsiteX37029" y="connsiteY37029"/>
              </a:cxn>
              <a:cxn ang="0">
                <a:pos x="connsiteX37030" y="connsiteY37030"/>
              </a:cxn>
              <a:cxn ang="0">
                <a:pos x="connsiteX37031" y="connsiteY37031"/>
              </a:cxn>
              <a:cxn ang="0">
                <a:pos x="connsiteX37032" y="connsiteY37032"/>
              </a:cxn>
              <a:cxn ang="0">
                <a:pos x="connsiteX37033" y="connsiteY37033"/>
              </a:cxn>
              <a:cxn ang="0">
                <a:pos x="connsiteX37034" y="connsiteY37034"/>
              </a:cxn>
              <a:cxn ang="0">
                <a:pos x="connsiteX37035" y="connsiteY37035"/>
              </a:cxn>
              <a:cxn ang="0">
                <a:pos x="connsiteX37036" y="connsiteY37036"/>
              </a:cxn>
              <a:cxn ang="0">
                <a:pos x="connsiteX37037" y="connsiteY37037"/>
              </a:cxn>
              <a:cxn ang="0">
                <a:pos x="connsiteX37038" y="connsiteY37038"/>
              </a:cxn>
              <a:cxn ang="0">
                <a:pos x="connsiteX37039" y="connsiteY37039"/>
              </a:cxn>
              <a:cxn ang="0">
                <a:pos x="connsiteX37040" y="connsiteY37040"/>
              </a:cxn>
              <a:cxn ang="0">
                <a:pos x="connsiteX37041" y="connsiteY37041"/>
              </a:cxn>
              <a:cxn ang="0">
                <a:pos x="connsiteX37042" y="connsiteY37042"/>
              </a:cxn>
              <a:cxn ang="0">
                <a:pos x="connsiteX37043" y="connsiteY37043"/>
              </a:cxn>
              <a:cxn ang="0">
                <a:pos x="connsiteX37044" y="connsiteY37044"/>
              </a:cxn>
              <a:cxn ang="0">
                <a:pos x="connsiteX37045" y="connsiteY37045"/>
              </a:cxn>
              <a:cxn ang="0">
                <a:pos x="connsiteX37046" y="connsiteY37046"/>
              </a:cxn>
              <a:cxn ang="0">
                <a:pos x="connsiteX37047" y="connsiteY37047"/>
              </a:cxn>
              <a:cxn ang="0">
                <a:pos x="connsiteX37048" y="connsiteY37048"/>
              </a:cxn>
              <a:cxn ang="0">
                <a:pos x="connsiteX37049" y="connsiteY37049"/>
              </a:cxn>
              <a:cxn ang="0">
                <a:pos x="connsiteX37050" y="connsiteY37050"/>
              </a:cxn>
              <a:cxn ang="0">
                <a:pos x="connsiteX37051" y="connsiteY37051"/>
              </a:cxn>
              <a:cxn ang="0">
                <a:pos x="connsiteX37052" y="connsiteY37052"/>
              </a:cxn>
              <a:cxn ang="0">
                <a:pos x="connsiteX37053" y="connsiteY37053"/>
              </a:cxn>
              <a:cxn ang="0">
                <a:pos x="connsiteX37054" y="connsiteY37054"/>
              </a:cxn>
              <a:cxn ang="0">
                <a:pos x="connsiteX37055" y="connsiteY37055"/>
              </a:cxn>
              <a:cxn ang="0">
                <a:pos x="connsiteX37056" y="connsiteY37056"/>
              </a:cxn>
              <a:cxn ang="0">
                <a:pos x="connsiteX37057" y="connsiteY37057"/>
              </a:cxn>
              <a:cxn ang="0">
                <a:pos x="connsiteX37058" y="connsiteY37058"/>
              </a:cxn>
              <a:cxn ang="0">
                <a:pos x="connsiteX37059" y="connsiteY37059"/>
              </a:cxn>
              <a:cxn ang="0">
                <a:pos x="connsiteX37060" y="connsiteY37060"/>
              </a:cxn>
              <a:cxn ang="0">
                <a:pos x="connsiteX37061" y="connsiteY37061"/>
              </a:cxn>
              <a:cxn ang="0">
                <a:pos x="connsiteX37062" y="connsiteY37062"/>
              </a:cxn>
              <a:cxn ang="0">
                <a:pos x="connsiteX37063" y="connsiteY37063"/>
              </a:cxn>
              <a:cxn ang="0">
                <a:pos x="connsiteX37064" y="connsiteY37064"/>
              </a:cxn>
              <a:cxn ang="0">
                <a:pos x="connsiteX37065" y="connsiteY37065"/>
              </a:cxn>
              <a:cxn ang="0">
                <a:pos x="connsiteX37066" y="connsiteY37066"/>
              </a:cxn>
              <a:cxn ang="0">
                <a:pos x="connsiteX37067" y="connsiteY37067"/>
              </a:cxn>
              <a:cxn ang="0">
                <a:pos x="connsiteX37068" y="connsiteY37068"/>
              </a:cxn>
              <a:cxn ang="0">
                <a:pos x="connsiteX37069" y="connsiteY37069"/>
              </a:cxn>
              <a:cxn ang="0">
                <a:pos x="connsiteX37070" y="connsiteY37070"/>
              </a:cxn>
              <a:cxn ang="0">
                <a:pos x="connsiteX37071" y="connsiteY37071"/>
              </a:cxn>
              <a:cxn ang="0">
                <a:pos x="connsiteX37072" y="connsiteY37072"/>
              </a:cxn>
              <a:cxn ang="0">
                <a:pos x="connsiteX37073" y="connsiteY37073"/>
              </a:cxn>
              <a:cxn ang="0">
                <a:pos x="connsiteX37074" y="connsiteY37074"/>
              </a:cxn>
              <a:cxn ang="0">
                <a:pos x="connsiteX37075" y="connsiteY37075"/>
              </a:cxn>
              <a:cxn ang="0">
                <a:pos x="connsiteX37076" y="connsiteY37076"/>
              </a:cxn>
              <a:cxn ang="0">
                <a:pos x="connsiteX37077" y="connsiteY37077"/>
              </a:cxn>
              <a:cxn ang="0">
                <a:pos x="connsiteX37078" y="connsiteY37078"/>
              </a:cxn>
              <a:cxn ang="0">
                <a:pos x="connsiteX37079" y="connsiteY37079"/>
              </a:cxn>
              <a:cxn ang="0">
                <a:pos x="connsiteX37080" y="connsiteY37080"/>
              </a:cxn>
              <a:cxn ang="0">
                <a:pos x="connsiteX37081" y="connsiteY37081"/>
              </a:cxn>
              <a:cxn ang="0">
                <a:pos x="connsiteX37082" y="connsiteY37082"/>
              </a:cxn>
              <a:cxn ang="0">
                <a:pos x="connsiteX37083" y="connsiteY37083"/>
              </a:cxn>
              <a:cxn ang="0">
                <a:pos x="connsiteX37084" y="connsiteY37084"/>
              </a:cxn>
              <a:cxn ang="0">
                <a:pos x="connsiteX37085" y="connsiteY37085"/>
              </a:cxn>
              <a:cxn ang="0">
                <a:pos x="connsiteX37086" y="connsiteY37086"/>
              </a:cxn>
              <a:cxn ang="0">
                <a:pos x="connsiteX37087" y="connsiteY37087"/>
              </a:cxn>
              <a:cxn ang="0">
                <a:pos x="connsiteX37088" y="connsiteY37088"/>
              </a:cxn>
              <a:cxn ang="0">
                <a:pos x="connsiteX37089" y="connsiteY37089"/>
              </a:cxn>
              <a:cxn ang="0">
                <a:pos x="connsiteX37090" y="connsiteY37090"/>
              </a:cxn>
              <a:cxn ang="0">
                <a:pos x="connsiteX37091" y="connsiteY37091"/>
              </a:cxn>
              <a:cxn ang="0">
                <a:pos x="connsiteX37092" y="connsiteY37092"/>
              </a:cxn>
              <a:cxn ang="0">
                <a:pos x="connsiteX37093" y="connsiteY37093"/>
              </a:cxn>
              <a:cxn ang="0">
                <a:pos x="connsiteX37094" y="connsiteY37094"/>
              </a:cxn>
              <a:cxn ang="0">
                <a:pos x="connsiteX37095" y="connsiteY37095"/>
              </a:cxn>
              <a:cxn ang="0">
                <a:pos x="connsiteX37096" y="connsiteY37096"/>
              </a:cxn>
              <a:cxn ang="0">
                <a:pos x="connsiteX37097" y="connsiteY37097"/>
              </a:cxn>
              <a:cxn ang="0">
                <a:pos x="connsiteX37098" y="connsiteY37098"/>
              </a:cxn>
              <a:cxn ang="0">
                <a:pos x="connsiteX37099" y="connsiteY37099"/>
              </a:cxn>
              <a:cxn ang="0">
                <a:pos x="connsiteX37100" y="connsiteY37100"/>
              </a:cxn>
              <a:cxn ang="0">
                <a:pos x="connsiteX37101" y="connsiteY37101"/>
              </a:cxn>
              <a:cxn ang="0">
                <a:pos x="connsiteX37102" y="connsiteY37102"/>
              </a:cxn>
              <a:cxn ang="0">
                <a:pos x="connsiteX37103" y="connsiteY37103"/>
              </a:cxn>
              <a:cxn ang="0">
                <a:pos x="connsiteX37104" y="connsiteY37104"/>
              </a:cxn>
              <a:cxn ang="0">
                <a:pos x="connsiteX37105" y="connsiteY37105"/>
              </a:cxn>
              <a:cxn ang="0">
                <a:pos x="connsiteX37106" y="connsiteY37106"/>
              </a:cxn>
              <a:cxn ang="0">
                <a:pos x="connsiteX37107" y="connsiteY37107"/>
              </a:cxn>
              <a:cxn ang="0">
                <a:pos x="connsiteX37108" y="connsiteY37108"/>
              </a:cxn>
              <a:cxn ang="0">
                <a:pos x="connsiteX37109" y="connsiteY37109"/>
              </a:cxn>
              <a:cxn ang="0">
                <a:pos x="connsiteX37110" y="connsiteY37110"/>
              </a:cxn>
              <a:cxn ang="0">
                <a:pos x="connsiteX37111" y="connsiteY37111"/>
              </a:cxn>
              <a:cxn ang="0">
                <a:pos x="connsiteX37112" y="connsiteY37112"/>
              </a:cxn>
              <a:cxn ang="0">
                <a:pos x="connsiteX37113" y="connsiteY37113"/>
              </a:cxn>
              <a:cxn ang="0">
                <a:pos x="connsiteX37114" y="connsiteY37114"/>
              </a:cxn>
              <a:cxn ang="0">
                <a:pos x="connsiteX37115" y="connsiteY37115"/>
              </a:cxn>
              <a:cxn ang="0">
                <a:pos x="connsiteX37116" y="connsiteY37116"/>
              </a:cxn>
              <a:cxn ang="0">
                <a:pos x="connsiteX37117" y="connsiteY37117"/>
              </a:cxn>
              <a:cxn ang="0">
                <a:pos x="connsiteX37118" y="connsiteY37118"/>
              </a:cxn>
              <a:cxn ang="0">
                <a:pos x="connsiteX37119" y="connsiteY37119"/>
              </a:cxn>
              <a:cxn ang="0">
                <a:pos x="connsiteX37120" y="connsiteY37120"/>
              </a:cxn>
              <a:cxn ang="0">
                <a:pos x="connsiteX37121" y="connsiteY37121"/>
              </a:cxn>
              <a:cxn ang="0">
                <a:pos x="connsiteX37122" y="connsiteY37122"/>
              </a:cxn>
              <a:cxn ang="0">
                <a:pos x="connsiteX37123" y="connsiteY37123"/>
              </a:cxn>
              <a:cxn ang="0">
                <a:pos x="connsiteX37124" y="connsiteY37124"/>
              </a:cxn>
              <a:cxn ang="0">
                <a:pos x="connsiteX37125" y="connsiteY37125"/>
              </a:cxn>
              <a:cxn ang="0">
                <a:pos x="connsiteX37126" y="connsiteY37126"/>
              </a:cxn>
              <a:cxn ang="0">
                <a:pos x="connsiteX37127" y="connsiteY37127"/>
              </a:cxn>
              <a:cxn ang="0">
                <a:pos x="connsiteX37128" y="connsiteY37128"/>
              </a:cxn>
              <a:cxn ang="0">
                <a:pos x="connsiteX37129" y="connsiteY37129"/>
              </a:cxn>
              <a:cxn ang="0">
                <a:pos x="connsiteX37130" y="connsiteY37130"/>
              </a:cxn>
              <a:cxn ang="0">
                <a:pos x="connsiteX37131" y="connsiteY37131"/>
              </a:cxn>
              <a:cxn ang="0">
                <a:pos x="connsiteX37132" y="connsiteY37132"/>
              </a:cxn>
              <a:cxn ang="0">
                <a:pos x="connsiteX37133" y="connsiteY37133"/>
              </a:cxn>
              <a:cxn ang="0">
                <a:pos x="connsiteX37134" y="connsiteY37134"/>
              </a:cxn>
              <a:cxn ang="0">
                <a:pos x="connsiteX37135" y="connsiteY37135"/>
              </a:cxn>
              <a:cxn ang="0">
                <a:pos x="connsiteX37136" y="connsiteY37136"/>
              </a:cxn>
              <a:cxn ang="0">
                <a:pos x="connsiteX37137" y="connsiteY37137"/>
              </a:cxn>
              <a:cxn ang="0">
                <a:pos x="connsiteX37138" y="connsiteY37138"/>
              </a:cxn>
              <a:cxn ang="0">
                <a:pos x="connsiteX37139" y="connsiteY37139"/>
              </a:cxn>
              <a:cxn ang="0">
                <a:pos x="connsiteX37140" y="connsiteY37140"/>
              </a:cxn>
              <a:cxn ang="0">
                <a:pos x="connsiteX37141" y="connsiteY37141"/>
              </a:cxn>
              <a:cxn ang="0">
                <a:pos x="connsiteX37142" y="connsiteY37142"/>
              </a:cxn>
              <a:cxn ang="0">
                <a:pos x="connsiteX37143" y="connsiteY37143"/>
              </a:cxn>
              <a:cxn ang="0">
                <a:pos x="connsiteX37144" y="connsiteY37144"/>
              </a:cxn>
              <a:cxn ang="0">
                <a:pos x="connsiteX37145" y="connsiteY37145"/>
              </a:cxn>
              <a:cxn ang="0">
                <a:pos x="connsiteX37146" y="connsiteY37146"/>
              </a:cxn>
              <a:cxn ang="0">
                <a:pos x="connsiteX37147" y="connsiteY37147"/>
              </a:cxn>
              <a:cxn ang="0">
                <a:pos x="connsiteX37148" y="connsiteY37148"/>
              </a:cxn>
              <a:cxn ang="0">
                <a:pos x="connsiteX37149" y="connsiteY37149"/>
              </a:cxn>
              <a:cxn ang="0">
                <a:pos x="connsiteX37150" y="connsiteY37150"/>
              </a:cxn>
              <a:cxn ang="0">
                <a:pos x="connsiteX37151" y="connsiteY37151"/>
              </a:cxn>
              <a:cxn ang="0">
                <a:pos x="connsiteX37152" y="connsiteY37152"/>
              </a:cxn>
              <a:cxn ang="0">
                <a:pos x="connsiteX37153" y="connsiteY37153"/>
              </a:cxn>
              <a:cxn ang="0">
                <a:pos x="connsiteX37154" y="connsiteY37154"/>
              </a:cxn>
              <a:cxn ang="0">
                <a:pos x="connsiteX37155" y="connsiteY37155"/>
              </a:cxn>
              <a:cxn ang="0">
                <a:pos x="connsiteX37156" y="connsiteY37156"/>
              </a:cxn>
              <a:cxn ang="0">
                <a:pos x="connsiteX37157" y="connsiteY37157"/>
              </a:cxn>
              <a:cxn ang="0">
                <a:pos x="connsiteX37158" y="connsiteY37158"/>
              </a:cxn>
              <a:cxn ang="0">
                <a:pos x="connsiteX37159" y="connsiteY37159"/>
              </a:cxn>
              <a:cxn ang="0">
                <a:pos x="connsiteX37160" y="connsiteY37160"/>
              </a:cxn>
              <a:cxn ang="0">
                <a:pos x="connsiteX37161" y="connsiteY37161"/>
              </a:cxn>
              <a:cxn ang="0">
                <a:pos x="connsiteX37162" y="connsiteY37162"/>
              </a:cxn>
              <a:cxn ang="0">
                <a:pos x="connsiteX37163" y="connsiteY37163"/>
              </a:cxn>
              <a:cxn ang="0">
                <a:pos x="connsiteX37164" y="connsiteY37164"/>
              </a:cxn>
              <a:cxn ang="0">
                <a:pos x="connsiteX37165" y="connsiteY37165"/>
              </a:cxn>
              <a:cxn ang="0">
                <a:pos x="connsiteX37166" y="connsiteY37166"/>
              </a:cxn>
              <a:cxn ang="0">
                <a:pos x="connsiteX37167" y="connsiteY37167"/>
              </a:cxn>
              <a:cxn ang="0">
                <a:pos x="connsiteX37168" y="connsiteY37168"/>
              </a:cxn>
              <a:cxn ang="0">
                <a:pos x="connsiteX37169" y="connsiteY37169"/>
              </a:cxn>
              <a:cxn ang="0">
                <a:pos x="connsiteX37170" y="connsiteY37170"/>
              </a:cxn>
              <a:cxn ang="0">
                <a:pos x="connsiteX37171" y="connsiteY37171"/>
              </a:cxn>
              <a:cxn ang="0">
                <a:pos x="connsiteX37172" y="connsiteY37172"/>
              </a:cxn>
              <a:cxn ang="0">
                <a:pos x="connsiteX37173" y="connsiteY37173"/>
              </a:cxn>
              <a:cxn ang="0">
                <a:pos x="connsiteX37174" y="connsiteY37174"/>
              </a:cxn>
              <a:cxn ang="0">
                <a:pos x="connsiteX37175" y="connsiteY37175"/>
              </a:cxn>
              <a:cxn ang="0">
                <a:pos x="connsiteX37176" y="connsiteY37176"/>
              </a:cxn>
              <a:cxn ang="0">
                <a:pos x="connsiteX37177" y="connsiteY37177"/>
              </a:cxn>
              <a:cxn ang="0">
                <a:pos x="connsiteX37178" y="connsiteY37178"/>
              </a:cxn>
              <a:cxn ang="0">
                <a:pos x="connsiteX37179" y="connsiteY37179"/>
              </a:cxn>
              <a:cxn ang="0">
                <a:pos x="connsiteX37180" y="connsiteY37180"/>
              </a:cxn>
              <a:cxn ang="0">
                <a:pos x="connsiteX37181" y="connsiteY37181"/>
              </a:cxn>
              <a:cxn ang="0">
                <a:pos x="connsiteX37182" y="connsiteY37182"/>
              </a:cxn>
              <a:cxn ang="0">
                <a:pos x="connsiteX37183" y="connsiteY37183"/>
              </a:cxn>
              <a:cxn ang="0">
                <a:pos x="connsiteX37184" y="connsiteY37184"/>
              </a:cxn>
              <a:cxn ang="0">
                <a:pos x="connsiteX37185" y="connsiteY37185"/>
              </a:cxn>
              <a:cxn ang="0">
                <a:pos x="connsiteX37186" y="connsiteY37186"/>
              </a:cxn>
              <a:cxn ang="0">
                <a:pos x="connsiteX37187" y="connsiteY37187"/>
              </a:cxn>
              <a:cxn ang="0">
                <a:pos x="connsiteX37188" y="connsiteY37188"/>
              </a:cxn>
              <a:cxn ang="0">
                <a:pos x="connsiteX37189" y="connsiteY37189"/>
              </a:cxn>
              <a:cxn ang="0">
                <a:pos x="connsiteX37190" y="connsiteY37190"/>
              </a:cxn>
              <a:cxn ang="0">
                <a:pos x="connsiteX37191" y="connsiteY37191"/>
              </a:cxn>
              <a:cxn ang="0">
                <a:pos x="connsiteX37192" y="connsiteY37192"/>
              </a:cxn>
              <a:cxn ang="0">
                <a:pos x="connsiteX37193" y="connsiteY37193"/>
              </a:cxn>
              <a:cxn ang="0">
                <a:pos x="connsiteX37194" y="connsiteY37194"/>
              </a:cxn>
              <a:cxn ang="0">
                <a:pos x="connsiteX37195" y="connsiteY37195"/>
              </a:cxn>
              <a:cxn ang="0">
                <a:pos x="connsiteX37196" y="connsiteY37196"/>
              </a:cxn>
              <a:cxn ang="0">
                <a:pos x="connsiteX37197" y="connsiteY37197"/>
              </a:cxn>
              <a:cxn ang="0">
                <a:pos x="connsiteX37198" y="connsiteY37198"/>
              </a:cxn>
              <a:cxn ang="0">
                <a:pos x="connsiteX37199" y="connsiteY37199"/>
              </a:cxn>
              <a:cxn ang="0">
                <a:pos x="connsiteX37200" y="connsiteY37200"/>
              </a:cxn>
              <a:cxn ang="0">
                <a:pos x="connsiteX37201" y="connsiteY37201"/>
              </a:cxn>
              <a:cxn ang="0">
                <a:pos x="connsiteX37202" y="connsiteY37202"/>
              </a:cxn>
              <a:cxn ang="0">
                <a:pos x="connsiteX37203" y="connsiteY37203"/>
              </a:cxn>
              <a:cxn ang="0">
                <a:pos x="connsiteX37204" y="connsiteY37204"/>
              </a:cxn>
              <a:cxn ang="0">
                <a:pos x="connsiteX37205" y="connsiteY37205"/>
              </a:cxn>
              <a:cxn ang="0">
                <a:pos x="connsiteX37206" y="connsiteY37206"/>
              </a:cxn>
              <a:cxn ang="0">
                <a:pos x="connsiteX37207" y="connsiteY37207"/>
              </a:cxn>
              <a:cxn ang="0">
                <a:pos x="connsiteX37208" y="connsiteY37208"/>
              </a:cxn>
              <a:cxn ang="0">
                <a:pos x="connsiteX37209" y="connsiteY37209"/>
              </a:cxn>
              <a:cxn ang="0">
                <a:pos x="connsiteX37210" y="connsiteY37210"/>
              </a:cxn>
              <a:cxn ang="0">
                <a:pos x="connsiteX37211" y="connsiteY37211"/>
              </a:cxn>
              <a:cxn ang="0">
                <a:pos x="connsiteX37212" y="connsiteY37212"/>
              </a:cxn>
              <a:cxn ang="0">
                <a:pos x="connsiteX37213" y="connsiteY37213"/>
              </a:cxn>
              <a:cxn ang="0">
                <a:pos x="connsiteX37214" y="connsiteY37214"/>
              </a:cxn>
              <a:cxn ang="0">
                <a:pos x="connsiteX37215" y="connsiteY37215"/>
              </a:cxn>
              <a:cxn ang="0">
                <a:pos x="connsiteX37216" y="connsiteY37216"/>
              </a:cxn>
              <a:cxn ang="0">
                <a:pos x="connsiteX37217" y="connsiteY37217"/>
              </a:cxn>
              <a:cxn ang="0">
                <a:pos x="connsiteX37218" y="connsiteY37218"/>
              </a:cxn>
              <a:cxn ang="0">
                <a:pos x="connsiteX37219" y="connsiteY37219"/>
              </a:cxn>
              <a:cxn ang="0">
                <a:pos x="connsiteX37220" y="connsiteY37220"/>
              </a:cxn>
              <a:cxn ang="0">
                <a:pos x="connsiteX37221" y="connsiteY37221"/>
              </a:cxn>
              <a:cxn ang="0">
                <a:pos x="connsiteX37222" y="connsiteY37222"/>
              </a:cxn>
              <a:cxn ang="0">
                <a:pos x="connsiteX37223" y="connsiteY37223"/>
              </a:cxn>
              <a:cxn ang="0">
                <a:pos x="connsiteX37224" y="connsiteY37224"/>
              </a:cxn>
              <a:cxn ang="0">
                <a:pos x="connsiteX37225" y="connsiteY37225"/>
              </a:cxn>
              <a:cxn ang="0">
                <a:pos x="connsiteX37226" y="connsiteY37226"/>
              </a:cxn>
              <a:cxn ang="0">
                <a:pos x="connsiteX37227" y="connsiteY37227"/>
              </a:cxn>
              <a:cxn ang="0">
                <a:pos x="connsiteX37228" y="connsiteY37228"/>
              </a:cxn>
              <a:cxn ang="0">
                <a:pos x="connsiteX37229" y="connsiteY37229"/>
              </a:cxn>
              <a:cxn ang="0">
                <a:pos x="connsiteX37230" y="connsiteY37230"/>
              </a:cxn>
              <a:cxn ang="0">
                <a:pos x="connsiteX37231" y="connsiteY37231"/>
              </a:cxn>
              <a:cxn ang="0">
                <a:pos x="connsiteX37232" y="connsiteY37232"/>
              </a:cxn>
              <a:cxn ang="0">
                <a:pos x="connsiteX37233" y="connsiteY37233"/>
              </a:cxn>
              <a:cxn ang="0">
                <a:pos x="connsiteX37234" y="connsiteY37234"/>
              </a:cxn>
              <a:cxn ang="0">
                <a:pos x="connsiteX37235" y="connsiteY37235"/>
              </a:cxn>
              <a:cxn ang="0">
                <a:pos x="connsiteX37236" y="connsiteY37236"/>
              </a:cxn>
              <a:cxn ang="0">
                <a:pos x="connsiteX37237" y="connsiteY37237"/>
              </a:cxn>
              <a:cxn ang="0">
                <a:pos x="connsiteX37238" y="connsiteY37238"/>
              </a:cxn>
              <a:cxn ang="0">
                <a:pos x="connsiteX37239" y="connsiteY37239"/>
              </a:cxn>
              <a:cxn ang="0">
                <a:pos x="connsiteX37240" y="connsiteY37240"/>
              </a:cxn>
              <a:cxn ang="0">
                <a:pos x="connsiteX37241" y="connsiteY37241"/>
              </a:cxn>
              <a:cxn ang="0">
                <a:pos x="connsiteX37242" y="connsiteY37242"/>
              </a:cxn>
              <a:cxn ang="0">
                <a:pos x="connsiteX37243" y="connsiteY37243"/>
              </a:cxn>
              <a:cxn ang="0">
                <a:pos x="connsiteX37244" y="connsiteY37244"/>
              </a:cxn>
              <a:cxn ang="0">
                <a:pos x="connsiteX37245" y="connsiteY37245"/>
              </a:cxn>
              <a:cxn ang="0">
                <a:pos x="connsiteX37246" y="connsiteY37246"/>
              </a:cxn>
              <a:cxn ang="0">
                <a:pos x="connsiteX37247" y="connsiteY37247"/>
              </a:cxn>
              <a:cxn ang="0">
                <a:pos x="connsiteX37248" y="connsiteY37248"/>
              </a:cxn>
              <a:cxn ang="0">
                <a:pos x="connsiteX37249" y="connsiteY37249"/>
              </a:cxn>
              <a:cxn ang="0">
                <a:pos x="connsiteX37250" y="connsiteY37250"/>
              </a:cxn>
              <a:cxn ang="0">
                <a:pos x="connsiteX37251" y="connsiteY37251"/>
              </a:cxn>
              <a:cxn ang="0">
                <a:pos x="connsiteX37252" y="connsiteY37252"/>
              </a:cxn>
              <a:cxn ang="0">
                <a:pos x="connsiteX37253" y="connsiteY37253"/>
              </a:cxn>
              <a:cxn ang="0">
                <a:pos x="connsiteX37254" y="connsiteY37254"/>
              </a:cxn>
              <a:cxn ang="0">
                <a:pos x="connsiteX37255" y="connsiteY37255"/>
              </a:cxn>
              <a:cxn ang="0">
                <a:pos x="connsiteX37256" y="connsiteY37256"/>
              </a:cxn>
              <a:cxn ang="0">
                <a:pos x="connsiteX37257" y="connsiteY37257"/>
              </a:cxn>
              <a:cxn ang="0">
                <a:pos x="connsiteX37258" y="connsiteY37258"/>
              </a:cxn>
              <a:cxn ang="0">
                <a:pos x="connsiteX37259" y="connsiteY37259"/>
              </a:cxn>
              <a:cxn ang="0">
                <a:pos x="connsiteX37260" y="connsiteY37260"/>
              </a:cxn>
              <a:cxn ang="0">
                <a:pos x="connsiteX37261" y="connsiteY37261"/>
              </a:cxn>
              <a:cxn ang="0">
                <a:pos x="connsiteX37262" y="connsiteY37262"/>
              </a:cxn>
              <a:cxn ang="0">
                <a:pos x="connsiteX37263" y="connsiteY37263"/>
              </a:cxn>
              <a:cxn ang="0">
                <a:pos x="connsiteX37264" y="connsiteY37264"/>
              </a:cxn>
              <a:cxn ang="0">
                <a:pos x="connsiteX37265" y="connsiteY37265"/>
              </a:cxn>
              <a:cxn ang="0">
                <a:pos x="connsiteX37266" y="connsiteY37266"/>
              </a:cxn>
              <a:cxn ang="0">
                <a:pos x="connsiteX37267" y="connsiteY37267"/>
              </a:cxn>
              <a:cxn ang="0">
                <a:pos x="connsiteX37268" y="connsiteY37268"/>
              </a:cxn>
              <a:cxn ang="0">
                <a:pos x="connsiteX37269" y="connsiteY37269"/>
              </a:cxn>
              <a:cxn ang="0">
                <a:pos x="connsiteX37270" y="connsiteY37270"/>
              </a:cxn>
              <a:cxn ang="0">
                <a:pos x="connsiteX37271" y="connsiteY37271"/>
              </a:cxn>
              <a:cxn ang="0">
                <a:pos x="connsiteX37272" y="connsiteY37272"/>
              </a:cxn>
              <a:cxn ang="0">
                <a:pos x="connsiteX37273" y="connsiteY37273"/>
              </a:cxn>
              <a:cxn ang="0">
                <a:pos x="connsiteX37274" y="connsiteY37274"/>
              </a:cxn>
              <a:cxn ang="0">
                <a:pos x="connsiteX37275" y="connsiteY37275"/>
              </a:cxn>
              <a:cxn ang="0">
                <a:pos x="connsiteX37276" y="connsiteY37276"/>
              </a:cxn>
              <a:cxn ang="0">
                <a:pos x="connsiteX37277" y="connsiteY37277"/>
              </a:cxn>
              <a:cxn ang="0">
                <a:pos x="connsiteX37278" y="connsiteY37278"/>
              </a:cxn>
              <a:cxn ang="0">
                <a:pos x="connsiteX37279" y="connsiteY37279"/>
              </a:cxn>
              <a:cxn ang="0">
                <a:pos x="connsiteX37280" y="connsiteY37280"/>
              </a:cxn>
              <a:cxn ang="0">
                <a:pos x="connsiteX37281" y="connsiteY37281"/>
              </a:cxn>
              <a:cxn ang="0">
                <a:pos x="connsiteX37282" y="connsiteY37282"/>
              </a:cxn>
              <a:cxn ang="0">
                <a:pos x="connsiteX37283" y="connsiteY37283"/>
              </a:cxn>
              <a:cxn ang="0">
                <a:pos x="connsiteX37284" y="connsiteY37284"/>
              </a:cxn>
              <a:cxn ang="0">
                <a:pos x="connsiteX37285" y="connsiteY37285"/>
              </a:cxn>
              <a:cxn ang="0">
                <a:pos x="connsiteX37286" y="connsiteY37286"/>
              </a:cxn>
              <a:cxn ang="0">
                <a:pos x="connsiteX37287" y="connsiteY37287"/>
              </a:cxn>
              <a:cxn ang="0">
                <a:pos x="connsiteX37288" y="connsiteY37288"/>
              </a:cxn>
              <a:cxn ang="0">
                <a:pos x="connsiteX37289" y="connsiteY37289"/>
              </a:cxn>
              <a:cxn ang="0">
                <a:pos x="connsiteX37290" y="connsiteY37290"/>
              </a:cxn>
              <a:cxn ang="0">
                <a:pos x="connsiteX37291" y="connsiteY37291"/>
              </a:cxn>
              <a:cxn ang="0">
                <a:pos x="connsiteX37292" y="connsiteY37292"/>
              </a:cxn>
              <a:cxn ang="0">
                <a:pos x="connsiteX37293" y="connsiteY37293"/>
              </a:cxn>
              <a:cxn ang="0">
                <a:pos x="connsiteX37294" y="connsiteY37294"/>
              </a:cxn>
              <a:cxn ang="0">
                <a:pos x="connsiteX37295" y="connsiteY37295"/>
              </a:cxn>
              <a:cxn ang="0">
                <a:pos x="connsiteX37296" y="connsiteY37296"/>
              </a:cxn>
              <a:cxn ang="0">
                <a:pos x="connsiteX37297" y="connsiteY37297"/>
              </a:cxn>
              <a:cxn ang="0">
                <a:pos x="connsiteX37298" y="connsiteY37298"/>
              </a:cxn>
              <a:cxn ang="0">
                <a:pos x="connsiteX37299" y="connsiteY37299"/>
              </a:cxn>
              <a:cxn ang="0">
                <a:pos x="connsiteX37300" y="connsiteY37300"/>
              </a:cxn>
              <a:cxn ang="0">
                <a:pos x="connsiteX37301" y="connsiteY37301"/>
              </a:cxn>
              <a:cxn ang="0">
                <a:pos x="connsiteX37302" y="connsiteY37302"/>
              </a:cxn>
              <a:cxn ang="0">
                <a:pos x="connsiteX37303" y="connsiteY37303"/>
              </a:cxn>
              <a:cxn ang="0">
                <a:pos x="connsiteX37304" y="connsiteY37304"/>
              </a:cxn>
              <a:cxn ang="0">
                <a:pos x="connsiteX37305" y="connsiteY37305"/>
              </a:cxn>
              <a:cxn ang="0">
                <a:pos x="connsiteX37306" y="connsiteY37306"/>
              </a:cxn>
              <a:cxn ang="0">
                <a:pos x="connsiteX37307" y="connsiteY37307"/>
              </a:cxn>
              <a:cxn ang="0">
                <a:pos x="connsiteX37308" y="connsiteY37308"/>
              </a:cxn>
              <a:cxn ang="0">
                <a:pos x="connsiteX37309" y="connsiteY37309"/>
              </a:cxn>
              <a:cxn ang="0">
                <a:pos x="connsiteX37310" y="connsiteY37310"/>
              </a:cxn>
              <a:cxn ang="0">
                <a:pos x="connsiteX37311" y="connsiteY37311"/>
              </a:cxn>
              <a:cxn ang="0">
                <a:pos x="connsiteX37312" y="connsiteY37312"/>
              </a:cxn>
              <a:cxn ang="0">
                <a:pos x="connsiteX37313" y="connsiteY37313"/>
              </a:cxn>
              <a:cxn ang="0">
                <a:pos x="connsiteX37314" y="connsiteY37314"/>
              </a:cxn>
              <a:cxn ang="0">
                <a:pos x="connsiteX37315" y="connsiteY37315"/>
              </a:cxn>
              <a:cxn ang="0">
                <a:pos x="connsiteX37316" y="connsiteY37316"/>
              </a:cxn>
              <a:cxn ang="0">
                <a:pos x="connsiteX37317" y="connsiteY37317"/>
              </a:cxn>
              <a:cxn ang="0">
                <a:pos x="connsiteX37318" y="connsiteY37318"/>
              </a:cxn>
              <a:cxn ang="0">
                <a:pos x="connsiteX37319" y="connsiteY37319"/>
              </a:cxn>
              <a:cxn ang="0">
                <a:pos x="connsiteX37320" y="connsiteY37320"/>
              </a:cxn>
              <a:cxn ang="0">
                <a:pos x="connsiteX37321" y="connsiteY37321"/>
              </a:cxn>
              <a:cxn ang="0">
                <a:pos x="connsiteX37322" y="connsiteY37322"/>
              </a:cxn>
              <a:cxn ang="0">
                <a:pos x="connsiteX37323" y="connsiteY37323"/>
              </a:cxn>
              <a:cxn ang="0">
                <a:pos x="connsiteX37324" y="connsiteY37324"/>
              </a:cxn>
              <a:cxn ang="0">
                <a:pos x="connsiteX37325" y="connsiteY37325"/>
              </a:cxn>
              <a:cxn ang="0">
                <a:pos x="connsiteX37326" y="connsiteY37326"/>
              </a:cxn>
              <a:cxn ang="0">
                <a:pos x="connsiteX37327" y="connsiteY37327"/>
              </a:cxn>
              <a:cxn ang="0">
                <a:pos x="connsiteX37328" y="connsiteY37328"/>
              </a:cxn>
              <a:cxn ang="0">
                <a:pos x="connsiteX37329" y="connsiteY37329"/>
              </a:cxn>
              <a:cxn ang="0">
                <a:pos x="connsiteX37330" y="connsiteY37330"/>
              </a:cxn>
              <a:cxn ang="0">
                <a:pos x="connsiteX37331" y="connsiteY37331"/>
              </a:cxn>
              <a:cxn ang="0">
                <a:pos x="connsiteX37332" y="connsiteY37332"/>
              </a:cxn>
              <a:cxn ang="0">
                <a:pos x="connsiteX37333" y="connsiteY37333"/>
              </a:cxn>
              <a:cxn ang="0">
                <a:pos x="connsiteX37334" y="connsiteY37334"/>
              </a:cxn>
              <a:cxn ang="0">
                <a:pos x="connsiteX37335" y="connsiteY37335"/>
              </a:cxn>
              <a:cxn ang="0">
                <a:pos x="connsiteX37336" y="connsiteY37336"/>
              </a:cxn>
              <a:cxn ang="0">
                <a:pos x="connsiteX37337" y="connsiteY37337"/>
              </a:cxn>
              <a:cxn ang="0">
                <a:pos x="connsiteX37338" y="connsiteY37338"/>
              </a:cxn>
              <a:cxn ang="0">
                <a:pos x="connsiteX37339" y="connsiteY37339"/>
              </a:cxn>
              <a:cxn ang="0">
                <a:pos x="connsiteX37340" y="connsiteY37340"/>
              </a:cxn>
              <a:cxn ang="0">
                <a:pos x="connsiteX37341" y="connsiteY37341"/>
              </a:cxn>
              <a:cxn ang="0">
                <a:pos x="connsiteX37342" y="connsiteY37342"/>
              </a:cxn>
              <a:cxn ang="0">
                <a:pos x="connsiteX37343" y="connsiteY37343"/>
              </a:cxn>
              <a:cxn ang="0">
                <a:pos x="connsiteX37344" y="connsiteY37344"/>
              </a:cxn>
              <a:cxn ang="0">
                <a:pos x="connsiteX37345" y="connsiteY37345"/>
              </a:cxn>
              <a:cxn ang="0">
                <a:pos x="connsiteX37346" y="connsiteY37346"/>
              </a:cxn>
              <a:cxn ang="0">
                <a:pos x="connsiteX37347" y="connsiteY37347"/>
              </a:cxn>
              <a:cxn ang="0">
                <a:pos x="connsiteX37348" y="connsiteY37348"/>
              </a:cxn>
              <a:cxn ang="0">
                <a:pos x="connsiteX37349" y="connsiteY37349"/>
              </a:cxn>
              <a:cxn ang="0">
                <a:pos x="connsiteX37350" y="connsiteY37350"/>
              </a:cxn>
              <a:cxn ang="0">
                <a:pos x="connsiteX37351" y="connsiteY37351"/>
              </a:cxn>
              <a:cxn ang="0">
                <a:pos x="connsiteX37352" y="connsiteY37352"/>
              </a:cxn>
              <a:cxn ang="0">
                <a:pos x="connsiteX37353" y="connsiteY37353"/>
              </a:cxn>
              <a:cxn ang="0">
                <a:pos x="connsiteX37354" y="connsiteY37354"/>
              </a:cxn>
              <a:cxn ang="0">
                <a:pos x="connsiteX37355" y="connsiteY37355"/>
              </a:cxn>
              <a:cxn ang="0">
                <a:pos x="connsiteX37356" y="connsiteY37356"/>
              </a:cxn>
              <a:cxn ang="0">
                <a:pos x="connsiteX37357" y="connsiteY37357"/>
              </a:cxn>
              <a:cxn ang="0">
                <a:pos x="connsiteX37358" y="connsiteY37358"/>
              </a:cxn>
              <a:cxn ang="0">
                <a:pos x="connsiteX37359" y="connsiteY37359"/>
              </a:cxn>
              <a:cxn ang="0">
                <a:pos x="connsiteX37360" y="connsiteY37360"/>
              </a:cxn>
              <a:cxn ang="0">
                <a:pos x="connsiteX37361" y="connsiteY37361"/>
              </a:cxn>
              <a:cxn ang="0">
                <a:pos x="connsiteX37362" y="connsiteY37362"/>
              </a:cxn>
              <a:cxn ang="0">
                <a:pos x="connsiteX37363" y="connsiteY37363"/>
              </a:cxn>
              <a:cxn ang="0">
                <a:pos x="connsiteX37364" y="connsiteY37364"/>
              </a:cxn>
              <a:cxn ang="0">
                <a:pos x="connsiteX37365" y="connsiteY37365"/>
              </a:cxn>
              <a:cxn ang="0">
                <a:pos x="connsiteX37366" y="connsiteY37366"/>
              </a:cxn>
              <a:cxn ang="0">
                <a:pos x="connsiteX37367" y="connsiteY37367"/>
              </a:cxn>
              <a:cxn ang="0">
                <a:pos x="connsiteX37368" y="connsiteY37368"/>
              </a:cxn>
              <a:cxn ang="0">
                <a:pos x="connsiteX37369" y="connsiteY37369"/>
              </a:cxn>
              <a:cxn ang="0">
                <a:pos x="connsiteX37370" y="connsiteY37370"/>
              </a:cxn>
              <a:cxn ang="0">
                <a:pos x="connsiteX37371" y="connsiteY37371"/>
              </a:cxn>
              <a:cxn ang="0">
                <a:pos x="connsiteX37372" y="connsiteY37372"/>
              </a:cxn>
              <a:cxn ang="0">
                <a:pos x="connsiteX37373" y="connsiteY37373"/>
              </a:cxn>
              <a:cxn ang="0">
                <a:pos x="connsiteX37374" y="connsiteY37374"/>
              </a:cxn>
              <a:cxn ang="0">
                <a:pos x="connsiteX37375" y="connsiteY37375"/>
              </a:cxn>
              <a:cxn ang="0">
                <a:pos x="connsiteX37376" y="connsiteY37376"/>
              </a:cxn>
              <a:cxn ang="0">
                <a:pos x="connsiteX37377" y="connsiteY37377"/>
              </a:cxn>
              <a:cxn ang="0">
                <a:pos x="connsiteX37378" y="connsiteY37378"/>
              </a:cxn>
              <a:cxn ang="0">
                <a:pos x="connsiteX37379" y="connsiteY37379"/>
              </a:cxn>
              <a:cxn ang="0">
                <a:pos x="connsiteX37380" y="connsiteY37380"/>
              </a:cxn>
              <a:cxn ang="0">
                <a:pos x="connsiteX37381" y="connsiteY37381"/>
              </a:cxn>
              <a:cxn ang="0">
                <a:pos x="connsiteX37382" y="connsiteY37382"/>
              </a:cxn>
              <a:cxn ang="0">
                <a:pos x="connsiteX37383" y="connsiteY37383"/>
              </a:cxn>
              <a:cxn ang="0">
                <a:pos x="connsiteX37384" y="connsiteY37384"/>
              </a:cxn>
              <a:cxn ang="0">
                <a:pos x="connsiteX37385" y="connsiteY37385"/>
              </a:cxn>
              <a:cxn ang="0">
                <a:pos x="connsiteX37386" y="connsiteY37386"/>
              </a:cxn>
              <a:cxn ang="0">
                <a:pos x="connsiteX37387" y="connsiteY37387"/>
              </a:cxn>
              <a:cxn ang="0">
                <a:pos x="connsiteX37388" y="connsiteY37388"/>
              </a:cxn>
              <a:cxn ang="0">
                <a:pos x="connsiteX37389" y="connsiteY37389"/>
              </a:cxn>
              <a:cxn ang="0">
                <a:pos x="connsiteX37390" y="connsiteY37390"/>
              </a:cxn>
              <a:cxn ang="0">
                <a:pos x="connsiteX37391" y="connsiteY37391"/>
              </a:cxn>
              <a:cxn ang="0">
                <a:pos x="connsiteX37392" y="connsiteY37392"/>
              </a:cxn>
              <a:cxn ang="0">
                <a:pos x="connsiteX37393" y="connsiteY37393"/>
              </a:cxn>
              <a:cxn ang="0">
                <a:pos x="connsiteX37394" y="connsiteY37394"/>
              </a:cxn>
              <a:cxn ang="0">
                <a:pos x="connsiteX37395" y="connsiteY37395"/>
              </a:cxn>
              <a:cxn ang="0">
                <a:pos x="connsiteX37396" y="connsiteY37396"/>
              </a:cxn>
              <a:cxn ang="0">
                <a:pos x="connsiteX37397" y="connsiteY37397"/>
              </a:cxn>
              <a:cxn ang="0">
                <a:pos x="connsiteX37398" y="connsiteY37398"/>
              </a:cxn>
              <a:cxn ang="0">
                <a:pos x="connsiteX37399" y="connsiteY37399"/>
              </a:cxn>
              <a:cxn ang="0">
                <a:pos x="connsiteX37400" y="connsiteY37400"/>
              </a:cxn>
              <a:cxn ang="0">
                <a:pos x="connsiteX37401" y="connsiteY37401"/>
              </a:cxn>
              <a:cxn ang="0">
                <a:pos x="connsiteX37402" y="connsiteY37402"/>
              </a:cxn>
              <a:cxn ang="0">
                <a:pos x="connsiteX37403" y="connsiteY37403"/>
              </a:cxn>
              <a:cxn ang="0">
                <a:pos x="connsiteX37404" y="connsiteY37404"/>
              </a:cxn>
              <a:cxn ang="0">
                <a:pos x="connsiteX37405" y="connsiteY37405"/>
              </a:cxn>
              <a:cxn ang="0">
                <a:pos x="connsiteX37406" y="connsiteY37406"/>
              </a:cxn>
              <a:cxn ang="0">
                <a:pos x="connsiteX37407" y="connsiteY37407"/>
              </a:cxn>
              <a:cxn ang="0">
                <a:pos x="connsiteX37408" y="connsiteY37408"/>
              </a:cxn>
              <a:cxn ang="0">
                <a:pos x="connsiteX37409" y="connsiteY37409"/>
              </a:cxn>
              <a:cxn ang="0">
                <a:pos x="connsiteX37410" y="connsiteY37410"/>
              </a:cxn>
              <a:cxn ang="0">
                <a:pos x="connsiteX37411" y="connsiteY37411"/>
              </a:cxn>
              <a:cxn ang="0">
                <a:pos x="connsiteX37412" y="connsiteY37412"/>
              </a:cxn>
              <a:cxn ang="0">
                <a:pos x="connsiteX37413" y="connsiteY37413"/>
              </a:cxn>
              <a:cxn ang="0">
                <a:pos x="connsiteX37414" y="connsiteY37414"/>
              </a:cxn>
              <a:cxn ang="0">
                <a:pos x="connsiteX37415" y="connsiteY37415"/>
              </a:cxn>
              <a:cxn ang="0">
                <a:pos x="connsiteX37416" y="connsiteY37416"/>
              </a:cxn>
              <a:cxn ang="0">
                <a:pos x="connsiteX37417" y="connsiteY37417"/>
              </a:cxn>
              <a:cxn ang="0">
                <a:pos x="connsiteX37418" y="connsiteY37418"/>
              </a:cxn>
              <a:cxn ang="0">
                <a:pos x="connsiteX37419" y="connsiteY37419"/>
              </a:cxn>
              <a:cxn ang="0">
                <a:pos x="connsiteX37420" y="connsiteY37420"/>
              </a:cxn>
              <a:cxn ang="0">
                <a:pos x="connsiteX37421" y="connsiteY37421"/>
              </a:cxn>
              <a:cxn ang="0">
                <a:pos x="connsiteX37422" y="connsiteY37422"/>
              </a:cxn>
              <a:cxn ang="0">
                <a:pos x="connsiteX37423" y="connsiteY37423"/>
              </a:cxn>
              <a:cxn ang="0">
                <a:pos x="connsiteX37424" y="connsiteY37424"/>
              </a:cxn>
              <a:cxn ang="0">
                <a:pos x="connsiteX37425" y="connsiteY37425"/>
              </a:cxn>
              <a:cxn ang="0">
                <a:pos x="connsiteX37426" y="connsiteY37426"/>
              </a:cxn>
              <a:cxn ang="0">
                <a:pos x="connsiteX37427" y="connsiteY37427"/>
              </a:cxn>
              <a:cxn ang="0">
                <a:pos x="connsiteX37428" y="connsiteY37428"/>
              </a:cxn>
              <a:cxn ang="0">
                <a:pos x="connsiteX37429" y="connsiteY37429"/>
              </a:cxn>
              <a:cxn ang="0">
                <a:pos x="connsiteX37430" y="connsiteY37430"/>
              </a:cxn>
              <a:cxn ang="0">
                <a:pos x="connsiteX37431" y="connsiteY37431"/>
              </a:cxn>
              <a:cxn ang="0">
                <a:pos x="connsiteX37432" y="connsiteY37432"/>
              </a:cxn>
              <a:cxn ang="0">
                <a:pos x="connsiteX37433" y="connsiteY37433"/>
              </a:cxn>
              <a:cxn ang="0">
                <a:pos x="connsiteX37434" y="connsiteY37434"/>
              </a:cxn>
              <a:cxn ang="0">
                <a:pos x="connsiteX37435" y="connsiteY37435"/>
              </a:cxn>
              <a:cxn ang="0">
                <a:pos x="connsiteX37436" y="connsiteY37436"/>
              </a:cxn>
              <a:cxn ang="0">
                <a:pos x="connsiteX37437" y="connsiteY37437"/>
              </a:cxn>
              <a:cxn ang="0">
                <a:pos x="connsiteX37438" y="connsiteY37438"/>
              </a:cxn>
              <a:cxn ang="0">
                <a:pos x="connsiteX37439" y="connsiteY37439"/>
              </a:cxn>
              <a:cxn ang="0">
                <a:pos x="connsiteX37440" y="connsiteY37440"/>
              </a:cxn>
              <a:cxn ang="0">
                <a:pos x="connsiteX37441" y="connsiteY37441"/>
              </a:cxn>
              <a:cxn ang="0">
                <a:pos x="connsiteX37442" y="connsiteY37442"/>
              </a:cxn>
              <a:cxn ang="0">
                <a:pos x="connsiteX37443" y="connsiteY37443"/>
              </a:cxn>
              <a:cxn ang="0">
                <a:pos x="connsiteX37444" y="connsiteY37444"/>
              </a:cxn>
              <a:cxn ang="0">
                <a:pos x="connsiteX37445" y="connsiteY37445"/>
              </a:cxn>
              <a:cxn ang="0">
                <a:pos x="connsiteX37446" y="connsiteY37446"/>
              </a:cxn>
              <a:cxn ang="0">
                <a:pos x="connsiteX37447" y="connsiteY37447"/>
              </a:cxn>
              <a:cxn ang="0">
                <a:pos x="connsiteX37448" y="connsiteY37448"/>
              </a:cxn>
              <a:cxn ang="0">
                <a:pos x="connsiteX37449" y="connsiteY37449"/>
              </a:cxn>
              <a:cxn ang="0">
                <a:pos x="connsiteX37450" y="connsiteY37450"/>
              </a:cxn>
              <a:cxn ang="0">
                <a:pos x="connsiteX37451" y="connsiteY37451"/>
              </a:cxn>
              <a:cxn ang="0">
                <a:pos x="connsiteX37452" y="connsiteY37452"/>
              </a:cxn>
              <a:cxn ang="0">
                <a:pos x="connsiteX37453" y="connsiteY37453"/>
              </a:cxn>
              <a:cxn ang="0">
                <a:pos x="connsiteX37454" y="connsiteY37454"/>
              </a:cxn>
              <a:cxn ang="0">
                <a:pos x="connsiteX37455" y="connsiteY37455"/>
              </a:cxn>
              <a:cxn ang="0">
                <a:pos x="connsiteX37456" y="connsiteY37456"/>
              </a:cxn>
              <a:cxn ang="0">
                <a:pos x="connsiteX37457" y="connsiteY37457"/>
              </a:cxn>
              <a:cxn ang="0">
                <a:pos x="connsiteX37458" y="connsiteY37458"/>
              </a:cxn>
              <a:cxn ang="0">
                <a:pos x="connsiteX37459" y="connsiteY37459"/>
              </a:cxn>
              <a:cxn ang="0">
                <a:pos x="connsiteX37460" y="connsiteY37460"/>
              </a:cxn>
              <a:cxn ang="0">
                <a:pos x="connsiteX37461" y="connsiteY37461"/>
              </a:cxn>
              <a:cxn ang="0">
                <a:pos x="connsiteX37462" y="connsiteY37462"/>
              </a:cxn>
              <a:cxn ang="0">
                <a:pos x="connsiteX37463" y="connsiteY37463"/>
              </a:cxn>
              <a:cxn ang="0">
                <a:pos x="connsiteX37464" y="connsiteY37464"/>
              </a:cxn>
              <a:cxn ang="0">
                <a:pos x="connsiteX37465" y="connsiteY37465"/>
              </a:cxn>
              <a:cxn ang="0">
                <a:pos x="connsiteX37466" y="connsiteY37466"/>
              </a:cxn>
              <a:cxn ang="0">
                <a:pos x="connsiteX37467" y="connsiteY37467"/>
              </a:cxn>
              <a:cxn ang="0">
                <a:pos x="connsiteX37468" y="connsiteY37468"/>
              </a:cxn>
              <a:cxn ang="0">
                <a:pos x="connsiteX37469" y="connsiteY37469"/>
              </a:cxn>
              <a:cxn ang="0">
                <a:pos x="connsiteX37470" y="connsiteY37470"/>
              </a:cxn>
              <a:cxn ang="0">
                <a:pos x="connsiteX37471" y="connsiteY37471"/>
              </a:cxn>
              <a:cxn ang="0">
                <a:pos x="connsiteX37472" y="connsiteY37472"/>
              </a:cxn>
              <a:cxn ang="0">
                <a:pos x="connsiteX37473" y="connsiteY37473"/>
              </a:cxn>
              <a:cxn ang="0">
                <a:pos x="connsiteX37474" y="connsiteY37474"/>
              </a:cxn>
              <a:cxn ang="0">
                <a:pos x="connsiteX37475" y="connsiteY37475"/>
              </a:cxn>
              <a:cxn ang="0">
                <a:pos x="connsiteX37476" y="connsiteY37476"/>
              </a:cxn>
              <a:cxn ang="0">
                <a:pos x="connsiteX37477" y="connsiteY37477"/>
              </a:cxn>
              <a:cxn ang="0">
                <a:pos x="connsiteX37478" y="connsiteY37478"/>
              </a:cxn>
              <a:cxn ang="0">
                <a:pos x="connsiteX37479" y="connsiteY37479"/>
              </a:cxn>
              <a:cxn ang="0">
                <a:pos x="connsiteX37480" y="connsiteY37480"/>
              </a:cxn>
              <a:cxn ang="0">
                <a:pos x="connsiteX37481" y="connsiteY37481"/>
              </a:cxn>
              <a:cxn ang="0">
                <a:pos x="connsiteX37482" y="connsiteY37482"/>
              </a:cxn>
              <a:cxn ang="0">
                <a:pos x="connsiteX37483" y="connsiteY37483"/>
              </a:cxn>
              <a:cxn ang="0">
                <a:pos x="connsiteX37484" y="connsiteY37484"/>
              </a:cxn>
              <a:cxn ang="0">
                <a:pos x="connsiteX37485" y="connsiteY37485"/>
              </a:cxn>
              <a:cxn ang="0">
                <a:pos x="connsiteX37486" y="connsiteY37486"/>
              </a:cxn>
              <a:cxn ang="0">
                <a:pos x="connsiteX37487" y="connsiteY37487"/>
              </a:cxn>
              <a:cxn ang="0">
                <a:pos x="connsiteX37488" y="connsiteY37488"/>
              </a:cxn>
              <a:cxn ang="0">
                <a:pos x="connsiteX37489" y="connsiteY37489"/>
              </a:cxn>
              <a:cxn ang="0">
                <a:pos x="connsiteX37490" y="connsiteY37490"/>
              </a:cxn>
              <a:cxn ang="0">
                <a:pos x="connsiteX37491" y="connsiteY37491"/>
              </a:cxn>
              <a:cxn ang="0">
                <a:pos x="connsiteX37492" y="connsiteY37492"/>
              </a:cxn>
              <a:cxn ang="0">
                <a:pos x="connsiteX37493" y="connsiteY37493"/>
              </a:cxn>
              <a:cxn ang="0">
                <a:pos x="connsiteX37494" y="connsiteY37494"/>
              </a:cxn>
              <a:cxn ang="0">
                <a:pos x="connsiteX37495" y="connsiteY37495"/>
              </a:cxn>
              <a:cxn ang="0">
                <a:pos x="connsiteX37496" y="connsiteY37496"/>
              </a:cxn>
              <a:cxn ang="0">
                <a:pos x="connsiteX37497" y="connsiteY37497"/>
              </a:cxn>
              <a:cxn ang="0">
                <a:pos x="connsiteX37498" y="connsiteY37498"/>
              </a:cxn>
              <a:cxn ang="0">
                <a:pos x="connsiteX37499" y="connsiteY37499"/>
              </a:cxn>
              <a:cxn ang="0">
                <a:pos x="connsiteX37500" y="connsiteY37500"/>
              </a:cxn>
              <a:cxn ang="0">
                <a:pos x="connsiteX37501" y="connsiteY37501"/>
              </a:cxn>
              <a:cxn ang="0">
                <a:pos x="connsiteX37502" y="connsiteY37502"/>
              </a:cxn>
              <a:cxn ang="0">
                <a:pos x="connsiteX37503" y="connsiteY37503"/>
              </a:cxn>
              <a:cxn ang="0">
                <a:pos x="connsiteX37504" y="connsiteY37504"/>
              </a:cxn>
              <a:cxn ang="0">
                <a:pos x="connsiteX37505" y="connsiteY37505"/>
              </a:cxn>
              <a:cxn ang="0">
                <a:pos x="connsiteX37506" y="connsiteY37506"/>
              </a:cxn>
              <a:cxn ang="0">
                <a:pos x="connsiteX37507" y="connsiteY37507"/>
              </a:cxn>
              <a:cxn ang="0">
                <a:pos x="connsiteX37508" y="connsiteY37508"/>
              </a:cxn>
              <a:cxn ang="0">
                <a:pos x="connsiteX37509" y="connsiteY37509"/>
              </a:cxn>
              <a:cxn ang="0">
                <a:pos x="connsiteX37510" y="connsiteY37510"/>
              </a:cxn>
              <a:cxn ang="0">
                <a:pos x="connsiteX37511" y="connsiteY37511"/>
              </a:cxn>
              <a:cxn ang="0">
                <a:pos x="connsiteX37512" y="connsiteY37512"/>
              </a:cxn>
              <a:cxn ang="0">
                <a:pos x="connsiteX37513" y="connsiteY37513"/>
              </a:cxn>
              <a:cxn ang="0">
                <a:pos x="connsiteX37514" y="connsiteY37514"/>
              </a:cxn>
              <a:cxn ang="0">
                <a:pos x="connsiteX37515" y="connsiteY37515"/>
              </a:cxn>
              <a:cxn ang="0">
                <a:pos x="connsiteX37516" y="connsiteY37516"/>
              </a:cxn>
              <a:cxn ang="0">
                <a:pos x="connsiteX37517" y="connsiteY37517"/>
              </a:cxn>
              <a:cxn ang="0">
                <a:pos x="connsiteX37518" y="connsiteY37518"/>
              </a:cxn>
              <a:cxn ang="0">
                <a:pos x="connsiteX37519" y="connsiteY37519"/>
              </a:cxn>
              <a:cxn ang="0">
                <a:pos x="connsiteX37520" y="connsiteY37520"/>
              </a:cxn>
              <a:cxn ang="0">
                <a:pos x="connsiteX37521" y="connsiteY37521"/>
              </a:cxn>
              <a:cxn ang="0">
                <a:pos x="connsiteX37522" y="connsiteY37522"/>
              </a:cxn>
              <a:cxn ang="0">
                <a:pos x="connsiteX37523" y="connsiteY37523"/>
              </a:cxn>
              <a:cxn ang="0">
                <a:pos x="connsiteX37524" y="connsiteY37524"/>
              </a:cxn>
              <a:cxn ang="0">
                <a:pos x="connsiteX37525" y="connsiteY37525"/>
              </a:cxn>
              <a:cxn ang="0">
                <a:pos x="connsiteX37526" y="connsiteY37526"/>
              </a:cxn>
              <a:cxn ang="0">
                <a:pos x="connsiteX37527" y="connsiteY37527"/>
              </a:cxn>
              <a:cxn ang="0">
                <a:pos x="connsiteX37528" y="connsiteY37528"/>
              </a:cxn>
              <a:cxn ang="0">
                <a:pos x="connsiteX37529" y="connsiteY37529"/>
              </a:cxn>
              <a:cxn ang="0">
                <a:pos x="connsiteX37530" y="connsiteY37530"/>
              </a:cxn>
              <a:cxn ang="0">
                <a:pos x="connsiteX37531" y="connsiteY37531"/>
              </a:cxn>
              <a:cxn ang="0">
                <a:pos x="connsiteX37532" y="connsiteY37532"/>
              </a:cxn>
              <a:cxn ang="0">
                <a:pos x="connsiteX37533" y="connsiteY37533"/>
              </a:cxn>
              <a:cxn ang="0">
                <a:pos x="connsiteX37534" y="connsiteY37534"/>
              </a:cxn>
              <a:cxn ang="0">
                <a:pos x="connsiteX37535" y="connsiteY37535"/>
              </a:cxn>
              <a:cxn ang="0">
                <a:pos x="connsiteX37536" y="connsiteY37536"/>
              </a:cxn>
              <a:cxn ang="0">
                <a:pos x="connsiteX37537" y="connsiteY37537"/>
              </a:cxn>
              <a:cxn ang="0">
                <a:pos x="connsiteX37538" y="connsiteY37538"/>
              </a:cxn>
              <a:cxn ang="0">
                <a:pos x="connsiteX37539" y="connsiteY37539"/>
              </a:cxn>
              <a:cxn ang="0">
                <a:pos x="connsiteX37540" y="connsiteY37540"/>
              </a:cxn>
              <a:cxn ang="0">
                <a:pos x="connsiteX37541" y="connsiteY37541"/>
              </a:cxn>
              <a:cxn ang="0">
                <a:pos x="connsiteX37542" y="connsiteY37542"/>
              </a:cxn>
              <a:cxn ang="0">
                <a:pos x="connsiteX37543" y="connsiteY37543"/>
              </a:cxn>
              <a:cxn ang="0">
                <a:pos x="connsiteX37544" y="connsiteY37544"/>
              </a:cxn>
              <a:cxn ang="0">
                <a:pos x="connsiteX37545" y="connsiteY37545"/>
              </a:cxn>
              <a:cxn ang="0">
                <a:pos x="connsiteX37546" y="connsiteY37546"/>
              </a:cxn>
              <a:cxn ang="0">
                <a:pos x="connsiteX37547" y="connsiteY37547"/>
              </a:cxn>
              <a:cxn ang="0">
                <a:pos x="connsiteX37548" y="connsiteY37548"/>
              </a:cxn>
              <a:cxn ang="0">
                <a:pos x="connsiteX37549" y="connsiteY37549"/>
              </a:cxn>
              <a:cxn ang="0">
                <a:pos x="connsiteX37550" y="connsiteY37550"/>
              </a:cxn>
              <a:cxn ang="0">
                <a:pos x="connsiteX37551" y="connsiteY37551"/>
              </a:cxn>
              <a:cxn ang="0">
                <a:pos x="connsiteX37552" y="connsiteY37552"/>
              </a:cxn>
              <a:cxn ang="0">
                <a:pos x="connsiteX37553" y="connsiteY37553"/>
              </a:cxn>
              <a:cxn ang="0">
                <a:pos x="connsiteX37554" y="connsiteY37554"/>
              </a:cxn>
              <a:cxn ang="0">
                <a:pos x="connsiteX37555" y="connsiteY37555"/>
              </a:cxn>
              <a:cxn ang="0">
                <a:pos x="connsiteX37556" y="connsiteY37556"/>
              </a:cxn>
              <a:cxn ang="0">
                <a:pos x="connsiteX37557" y="connsiteY37557"/>
              </a:cxn>
              <a:cxn ang="0">
                <a:pos x="connsiteX37558" y="connsiteY37558"/>
              </a:cxn>
              <a:cxn ang="0">
                <a:pos x="connsiteX37559" y="connsiteY37559"/>
              </a:cxn>
              <a:cxn ang="0">
                <a:pos x="connsiteX37560" y="connsiteY37560"/>
              </a:cxn>
              <a:cxn ang="0">
                <a:pos x="connsiteX37561" y="connsiteY37561"/>
              </a:cxn>
              <a:cxn ang="0">
                <a:pos x="connsiteX37562" y="connsiteY37562"/>
              </a:cxn>
              <a:cxn ang="0">
                <a:pos x="connsiteX37563" y="connsiteY37563"/>
              </a:cxn>
              <a:cxn ang="0">
                <a:pos x="connsiteX37564" y="connsiteY37564"/>
              </a:cxn>
              <a:cxn ang="0">
                <a:pos x="connsiteX37565" y="connsiteY37565"/>
              </a:cxn>
              <a:cxn ang="0">
                <a:pos x="connsiteX37566" y="connsiteY37566"/>
              </a:cxn>
              <a:cxn ang="0">
                <a:pos x="connsiteX37567" y="connsiteY37567"/>
              </a:cxn>
              <a:cxn ang="0">
                <a:pos x="connsiteX37568" y="connsiteY37568"/>
              </a:cxn>
              <a:cxn ang="0">
                <a:pos x="connsiteX37569" y="connsiteY37569"/>
              </a:cxn>
              <a:cxn ang="0">
                <a:pos x="connsiteX37570" y="connsiteY37570"/>
              </a:cxn>
              <a:cxn ang="0">
                <a:pos x="connsiteX37571" y="connsiteY37571"/>
              </a:cxn>
              <a:cxn ang="0">
                <a:pos x="connsiteX37572" y="connsiteY37572"/>
              </a:cxn>
              <a:cxn ang="0">
                <a:pos x="connsiteX37573" y="connsiteY37573"/>
              </a:cxn>
              <a:cxn ang="0">
                <a:pos x="connsiteX37574" y="connsiteY37574"/>
              </a:cxn>
              <a:cxn ang="0">
                <a:pos x="connsiteX37575" y="connsiteY37575"/>
              </a:cxn>
              <a:cxn ang="0">
                <a:pos x="connsiteX37576" y="connsiteY37576"/>
              </a:cxn>
              <a:cxn ang="0">
                <a:pos x="connsiteX37577" y="connsiteY37577"/>
              </a:cxn>
              <a:cxn ang="0">
                <a:pos x="connsiteX37578" y="connsiteY37578"/>
              </a:cxn>
              <a:cxn ang="0">
                <a:pos x="connsiteX37579" y="connsiteY37579"/>
              </a:cxn>
              <a:cxn ang="0">
                <a:pos x="connsiteX37580" y="connsiteY37580"/>
              </a:cxn>
              <a:cxn ang="0">
                <a:pos x="connsiteX37581" y="connsiteY37581"/>
              </a:cxn>
              <a:cxn ang="0">
                <a:pos x="connsiteX37582" y="connsiteY37582"/>
              </a:cxn>
              <a:cxn ang="0">
                <a:pos x="connsiteX37583" y="connsiteY37583"/>
              </a:cxn>
              <a:cxn ang="0">
                <a:pos x="connsiteX37584" y="connsiteY37584"/>
              </a:cxn>
              <a:cxn ang="0">
                <a:pos x="connsiteX37585" y="connsiteY37585"/>
              </a:cxn>
              <a:cxn ang="0">
                <a:pos x="connsiteX37586" y="connsiteY37586"/>
              </a:cxn>
              <a:cxn ang="0">
                <a:pos x="connsiteX37587" y="connsiteY37587"/>
              </a:cxn>
              <a:cxn ang="0">
                <a:pos x="connsiteX37588" y="connsiteY37588"/>
              </a:cxn>
              <a:cxn ang="0">
                <a:pos x="connsiteX37589" y="connsiteY37589"/>
              </a:cxn>
              <a:cxn ang="0">
                <a:pos x="connsiteX37590" y="connsiteY37590"/>
              </a:cxn>
              <a:cxn ang="0">
                <a:pos x="connsiteX37591" y="connsiteY37591"/>
              </a:cxn>
              <a:cxn ang="0">
                <a:pos x="connsiteX37592" y="connsiteY37592"/>
              </a:cxn>
              <a:cxn ang="0">
                <a:pos x="connsiteX37593" y="connsiteY37593"/>
              </a:cxn>
              <a:cxn ang="0">
                <a:pos x="connsiteX37594" y="connsiteY37594"/>
              </a:cxn>
              <a:cxn ang="0">
                <a:pos x="connsiteX37595" y="connsiteY37595"/>
              </a:cxn>
              <a:cxn ang="0">
                <a:pos x="connsiteX37596" y="connsiteY37596"/>
              </a:cxn>
              <a:cxn ang="0">
                <a:pos x="connsiteX37597" y="connsiteY37597"/>
              </a:cxn>
              <a:cxn ang="0">
                <a:pos x="connsiteX37598" y="connsiteY37598"/>
              </a:cxn>
              <a:cxn ang="0">
                <a:pos x="connsiteX37599" y="connsiteY37599"/>
              </a:cxn>
              <a:cxn ang="0">
                <a:pos x="connsiteX37600" y="connsiteY37600"/>
              </a:cxn>
              <a:cxn ang="0">
                <a:pos x="connsiteX37601" y="connsiteY37601"/>
              </a:cxn>
              <a:cxn ang="0">
                <a:pos x="connsiteX37602" y="connsiteY37602"/>
              </a:cxn>
              <a:cxn ang="0">
                <a:pos x="connsiteX37603" y="connsiteY37603"/>
              </a:cxn>
              <a:cxn ang="0">
                <a:pos x="connsiteX37604" y="connsiteY37604"/>
              </a:cxn>
              <a:cxn ang="0">
                <a:pos x="connsiteX37605" y="connsiteY37605"/>
              </a:cxn>
              <a:cxn ang="0">
                <a:pos x="connsiteX37606" y="connsiteY37606"/>
              </a:cxn>
              <a:cxn ang="0">
                <a:pos x="connsiteX37607" y="connsiteY37607"/>
              </a:cxn>
              <a:cxn ang="0">
                <a:pos x="connsiteX37608" y="connsiteY37608"/>
              </a:cxn>
              <a:cxn ang="0">
                <a:pos x="connsiteX37609" y="connsiteY37609"/>
              </a:cxn>
              <a:cxn ang="0">
                <a:pos x="connsiteX37610" y="connsiteY37610"/>
              </a:cxn>
              <a:cxn ang="0">
                <a:pos x="connsiteX37611" y="connsiteY37611"/>
              </a:cxn>
              <a:cxn ang="0">
                <a:pos x="connsiteX37612" y="connsiteY37612"/>
              </a:cxn>
              <a:cxn ang="0">
                <a:pos x="connsiteX37613" y="connsiteY37613"/>
              </a:cxn>
              <a:cxn ang="0">
                <a:pos x="connsiteX37614" y="connsiteY37614"/>
              </a:cxn>
              <a:cxn ang="0">
                <a:pos x="connsiteX37615" y="connsiteY37615"/>
              </a:cxn>
              <a:cxn ang="0">
                <a:pos x="connsiteX37616" y="connsiteY37616"/>
              </a:cxn>
              <a:cxn ang="0">
                <a:pos x="connsiteX37617" y="connsiteY37617"/>
              </a:cxn>
              <a:cxn ang="0">
                <a:pos x="connsiteX37618" y="connsiteY37618"/>
              </a:cxn>
              <a:cxn ang="0">
                <a:pos x="connsiteX37619" y="connsiteY37619"/>
              </a:cxn>
              <a:cxn ang="0">
                <a:pos x="connsiteX37620" y="connsiteY37620"/>
              </a:cxn>
              <a:cxn ang="0">
                <a:pos x="connsiteX37621" y="connsiteY37621"/>
              </a:cxn>
              <a:cxn ang="0">
                <a:pos x="connsiteX37622" y="connsiteY37622"/>
              </a:cxn>
              <a:cxn ang="0">
                <a:pos x="connsiteX37623" y="connsiteY37623"/>
              </a:cxn>
              <a:cxn ang="0">
                <a:pos x="connsiteX37624" y="connsiteY37624"/>
              </a:cxn>
              <a:cxn ang="0">
                <a:pos x="connsiteX37625" y="connsiteY37625"/>
              </a:cxn>
              <a:cxn ang="0">
                <a:pos x="connsiteX37626" y="connsiteY37626"/>
              </a:cxn>
              <a:cxn ang="0">
                <a:pos x="connsiteX37627" y="connsiteY37627"/>
              </a:cxn>
              <a:cxn ang="0">
                <a:pos x="connsiteX37628" y="connsiteY37628"/>
              </a:cxn>
              <a:cxn ang="0">
                <a:pos x="connsiteX37629" y="connsiteY37629"/>
              </a:cxn>
              <a:cxn ang="0">
                <a:pos x="connsiteX37630" y="connsiteY37630"/>
              </a:cxn>
              <a:cxn ang="0">
                <a:pos x="connsiteX37631" y="connsiteY37631"/>
              </a:cxn>
              <a:cxn ang="0">
                <a:pos x="connsiteX37632" y="connsiteY37632"/>
              </a:cxn>
              <a:cxn ang="0">
                <a:pos x="connsiteX37633" y="connsiteY37633"/>
              </a:cxn>
              <a:cxn ang="0">
                <a:pos x="connsiteX37634" y="connsiteY37634"/>
              </a:cxn>
              <a:cxn ang="0">
                <a:pos x="connsiteX37635" y="connsiteY37635"/>
              </a:cxn>
              <a:cxn ang="0">
                <a:pos x="connsiteX37636" y="connsiteY37636"/>
              </a:cxn>
              <a:cxn ang="0">
                <a:pos x="connsiteX37637" y="connsiteY37637"/>
              </a:cxn>
              <a:cxn ang="0">
                <a:pos x="connsiteX37638" y="connsiteY37638"/>
              </a:cxn>
              <a:cxn ang="0">
                <a:pos x="connsiteX37639" y="connsiteY37639"/>
              </a:cxn>
              <a:cxn ang="0">
                <a:pos x="connsiteX37640" y="connsiteY37640"/>
              </a:cxn>
              <a:cxn ang="0">
                <a:pos x="connsiteX37641" y="connsiteY37641"/>
              </a:cxn>
              <a:cxn ang="0">
                <a:pos x="connsiteX37642" y="connsiteY37642"/>
              </a:cxn>
              <a:cxn ang="0">
                <a:pos x="connsiteX37643" y="connsiteY37643"/>
              </a:cxn>
              <a:cxn ang="0">
                <a:pos x="connsiteX37644" y="connsiteY37644"/>
              </a:cxn>
              <a:cxn ang="0">
                <a:pos x="connsiteX37645" y="connsiteY37645"/>
              </a:cxn>
              <a:cxn ang="0">
                <a:pos x="connsiteX37646" y="connsiteY37646"/>
              </a:cxn>
              <a:cxn ang="0">
                <a:pos x="connsiteX37647" y="connsiteY37647"/>
              </a:cxn>
              <a:cxn ang="0">
                <a:pos x="connsiteX37648" y="connsiteY37648"/>
              </a:cxn>
              <a:cxn ang="0">
                <a:pos x="connsiteX37649" y="connsiteY37649"/>
              </a:cxn>
              <a:cxn ang="0">
                <a:pos x="connsiteX37650" y="connsiteY37650"/>
              </a:cxn>
              <a:cxn ang="0">
                <a:pos x="connsiteX37651" y="connsiteY37651"/>
              </a:cxn>
              <a:cxn ang="0">
                <a:pos x="connsiteX37652" y="connsiteY37652"/>
              </a:cxn>
              <a:cxn ang="0">
                <a:pos x="connsiteX37653" y="connsiteY37653"/>
              </a:cxn>
              <a:cxn ang="0">
                <a:pos x="connsiteX37654" y="connsiteY37654"/>
              </a:cxn>
              <a:cxn ang="0">
                <a:pos x="connsiteX37655" y="connsiteY37655"/>
              </a:cxn>
              <a:cxn ang="0">
                <a:pos x="connsiteX37656" y="connsiteY37656"/>
              </a:cxn>
              <a:cxn ang="0">
                <a:pos x="connsiteX37657" y="connsiteY37657"/>
              </a:cxn>
              <a:cxn ang="0">
                <a:pos x="connsiteX37658" y="connsiteY37658"/>
              </a:cxn>
              <a:cxn ang="0">
                <a:pos x="connsiteX37659" y="connsiteY37659"/>
              </a:cxn>
              <a:cxn ang="0">
                <a:pos x="connsiteX37660" y="connsiteY37660"/>
              </a:cxn>
              <a:cxn ang="0">
                <a:pos x="connsiteX37661" y="connsiteY37661"/>
              </a:cxn>
              <a:cxn ang="0">
                <a:pos x="connsiteX37662" y="connsiteY37662"/>
              </a:cxn>
              <a:cxn ang="0">
                <a:pos x="connsiteX37663" y="connsiteY37663"/>
              </a:cxn>
              <a:cxn ang="0">
                <a:pos x="connsiteX37664" y="connsiteY37664"/>
              </a:cxn>
              <a:cxn ang="0">
                <a:pos x="connsiteX37665" y="connsiteY37665"/>
              </a:cxn>
              <a:cxn ang="0">
                <a:pos x="connsiteX37666" y="connsiteY37666"/>
              </a:cxn>
              <a:cxn ang="0">
                <a:pos x="connsiteX37667" y="connsiteY37667"/>
              </a:cxn>
              <a:cxn ang="0">
                <a:pos x="connsiteX37668" y="connsiteY37668"/>
              </a:cxn>
              <a:cxn ang="0">
                <a:pos x="connsiteX37669" y="connsiteY37669"/>
              </a:cxn>
              <a:cxn ang="0">
                <a:pos x="connsiteX37670" y="connsiteY37670"/>
              </a:cxn>
              <a:cxn ang="0">
                <a:pos x="connsiteX37671" y="connsiteY37671"/>
              </a:cxn>
              <a:cxn ang="0">
                <a:pos x="connsiteX37672" y="connsiteY37672"/>
              </a:cxn>
              <a:cxn ang="0">
                <a:pos x="connsiteX37673" y="connsiteY37673"/>
              </a:cxn>
              <a:cxn ang="0">
                <a:pos x="connsiteX37674" y="connsiteY37674"/>
              </a:cxn>
              <a:cxn ang="0">
                <a:pos x="connsiteX37675" y="connsiteY37675"/>
              </a:cxn>
              <a:cxn ang="0">
                <a:pos x="connsiteX37676" y="connsiteY37676"/>
              </a:cxn>
              <a:cxn ang="0">
                <a:pos x="connsiteX37677" y="connsiteY37677"/>
              </a:cxn>
              <a:cxn ang="0">
                <a:pos x="connsiteX37678" y="connsiteY37678"/>
              </a:cxn>
              <a:cxn ang="0">
                <a:pos x="connsiteX37679" y="connsiteY37679"/>
              </a:cxn>
              <a:cxn ang="0">
                <a:pos x="connsiteX37680" y="connsiteY37680"/>
              </a:cxn>
              <a:cxn ang="0">
                <a:pos x="connsiteX37681" y="connsiteY37681"/>
              </a:cxn>
              <a:cxn ang="0">
                <a:pos x="connsiteX37682" y="connsiteY37682"/>
              </a:cxn>
              <a:cxn ang="0">
                <a:pos x="connsiteX37683" y="connsiteY37683"/>
              </a:cxn>
              <a:cxn ang="0">
                <a:pos x="connsiteX37684" y="connsiteY37684"/>
              </a:cxn>
              <a:cxn ang="0">
                <a:pos x="connsiteX37685" y="connsiteY37685"/>
              </a:cxn>
              <a:cxn ang="0">
                <a:pos x="connsiteX37686" y="connsiteY37686"/>
              </a:cxn>
              <a:cxn ang="0">
                <a:pos x="connsiteX37687" y="connsiteY37687"/>
              </a:cxn>
              <a:cxn ang="0">
                <a:pos x="connsiteX37688" y="connsiteY37688"/>
              </a:cxn>
              <a:cxn ang="0">
                <a:pos x="connsiteX37689" y="connsiteY37689"/>
              </a:cxn>
              <a:cxn ang="0">
                <a:pos x="connsiteX37690" y="connsiteY37690"/>
              </a:cxn>
              <a:cxn ang="0">
                <a:pos x="connsiteX37691" y="connsiteY37691"/>
              </a:cxn>
              <a:cxn ang="0">
                <a:pos x="connsiteX37692" y="connsiteY37692"/>
              </a:cxn>
              <a:cxn ang="0">
                <a:pos x="connsiteX37693" y="connsiteY37693"/>
              </a:cxn>
              <a:cxn ang="0">
                <a:pos x="connsiteX37694" y="connsiteY37694"/>
              </a:cxn>
              <a:cxn ang="0">
                <a:pos x="connsiteX37695" y="connsiteY37695"/>
              </a:cxn>
              <a:cxn ang="0">
                <a:pos x="connsiteX37696" y="connsiteY37696"/>
              </a:cxn>
              <a:cxn ang="0">
                <a:pos x="connsiteX37697" y="connsiteY37697"/>
              </a:cxn>
              <a:cxn ang="0">
                <a:pos x="connsiteX37698" y="connsiteY37698"/>
              </a:cxn>
              <a:cxn ang="0">
                <a:pos x="connsiteX37699" y="connsiteY37699"/>
              </a:cxn>
              <a:cxn ang="0">
                <a:pos x="connsiteX37700" y="connsiteY37700"/>
              </a:cxn>
              <a:cxn ang="0">
                <a:pos x="connsiteX37701" y="connsiteY37701"/>
              </a:cxn>
              <a:cxn ang="0">
                <a:pos x="connsiteX37702" y="connsiteY37702"/>
              </a:cxn>
              <a:cxn ang="0">
                <a:pos x="connsiteX37703" y="connsiteY37703"/>
              </a:cxn>
              <a:cxn ang="0">
                <a:pos x="connsiteX37704" y="connsiteY37704"/>
              </a:cxn>
              <a:cxn ang="0">
                <a:pos x="connsiteX37705" y="connsiteY37705"/>
              </a:cxn>
              <a:cxn ang="0">
                <a:pos x="connsiteX37706" y="connsiteY37706"/>
              </a:cxn>
              <a:cxn ang="0">
                <a:pos x="connsiteX37707" y="connsiteY37707"/>
              </a:cxn>
              <a:cxn ang="0">
                <a:pos x="connsiteX37708" y="connsiteY37708"/>
              </a:cxn>
              <a:cxn ang="0">
                <a:pos x="connsiteX37709" y="connsiteY37709"/>
              </a:cxn>
              <a:cxn ang="0">
                <a:pos x="connsiteX37710" y="connsiteY37710"/>
              </a:cxn>
              <a:cxn ang="0">
                <a:pos x="connsiteX37711" y="connsiteY37711"/>
              </a:cxn>
              <a:cxn ang="0">
                <a:pos x="connsiteX37712" y="connsiteY37712"/>
              </a:cxn>
              <a:cxn ang="0">
                <a:pos x="connsiteX37713" y="connsiteY37713"/>
              </a:cxn>
              <a:cxn ang="0">
                <a:pos x="connsiteX37714" y="connsiteY37714"/>
              </a:cxn>
              <a:cxn ang="0">
                <a:pos x="connsiteX37715" y="connsiteY37715"/>
              </a:cxn>
              <a:cxn ang="0">
                <a:pos x="connsiteX37716" y="connsiteY37716"/>
              </a:cxn>
              <a:cxn ang="0">
                <a:pos x="connsiteX37717" y="connsiteY37717"/>
              </a:cxn>
              <a:cxn ang="0">
                <a:pos x="connsiteX37718" y="connsiteY37718"/>
              </a:cxn>
              <a:cxn ang="0">
                <a:pos x="connsiteX37719" y="connsiteY37719"/>
              </a:cxn>
              <a:cxn ang="0">
                <a:pos x="connsiteX37720" y="connsiteY37720"/>
              </a:cxn>
              <a:cxn ang="0">
                <a:pos x="connsiteX37721" y="connsiteY37721"/>
              </a:cxn>
              <a:cxn ang="0">
                <a:pos x="connsiteX37722" y="connsiteY37722"/>
              </a:cxn>
              <a:cxn ang="0">
                <a:pos x="connsiteX37723" y="connsiteY37723"/>
              </a:cxn>
              <a:cxn ang="0">
                <a:pos x="connsiteX37724" y="connsiteY37724"/>
              </a:cxn>
              <a:cxn ang="0">
                <a:pos x="connsiteX37725" y="connsiteY37725"/>
              </a:cxn>
              <a:cxn ang="0">
                <a:pos x="connsiteX37726" y="connsiteY37726"/>
              </a:cxn>
              <a:cxn ang="0">
                <a:pos x="connsiteX37727" y="connsiteY37727"/>
              </a:cxn>
              <a:cxn ang="0">
                <a:pos x="connsiteX37728" y="connsiteY37728"/>
              </a:cxn>
              <a:cxn ang="0">
                <a:pos x="connsiteX37729" y="connsiteY37729"/>
              </a:cxn>
              <a:cxn ang="0">
                <a:pos x="connsiteX37730" y="connsiteY37730"/>
              </a:cxn>
              <a:cxn ang="0">
                <a:pos x="connsiteX37731" y="connsiteY37731"/>
              </a:cxn>
              <a:cxn ang="0">
                <a:pos x="connsiteX37732" y="connsiteY37732"/>
              </a:cxn>
              <a:cxn ang="0">
                <a:pos x="connsiteX37733" y="connsiteY37733"/>
              </a:cxn>
              <a:cxn ang="0">
                <a:pos x="connsiteX37734" y="connsiteY37734"/>
              </a:cxn>
              <a:cxn ang="0">
                <a:pos x="connsiteX37735" y="connsiteY37735"/>
              </a:cxn>
              <a:cxn ang="0">
                <a:pos x="connsiteX37736" y="connsiteY37736"/>
              </a:cxn>
              <a:cxn ang="0">
                <a:pos x="connsiteX37737" y="connsiteY37737"/>
              </a:cxn>
              <a:cxn ang="0">
                <a:pos x="connsiteX37738" y="connsiteY37738"/>
              </a:cxn>
              <a:cxn ang="0">
                <a:pos x="connsiteX37739" y="connsiteY37739"/>
              </a:cxn>
              <a:cxn ang="0">
                <a:pos x="connsiteX37740" y="connsiteY37740"/>
              </a:cxn>
              <a:cxn ang="0">
                <a:pos x="connsiteX37741" y="connsiteY37741"/>
              </a:cxn>
              <a:cxn ang="0">
                <a:pos x="connsiteX37742" y="connsiteY37742"/>
              </a:cxn>
              <a:cxn ang="0">
                <a:pos x="connsiteX37743" y="connsiteY37743"/>
              </a:cxn>
              <a:cxn ang="0">
                <a:pos x="connsiteX37744" y="connsiteY37744"/>
              </a:cxn>
              <a:cxn ang="0">
                <a:pos x="connsiteX37745" y="connsiteY37745"/>
              </a:cxn>
              <a:cxn ang="0">
                <a:pos x="connsiteX37746" y="connsiteY37746"/>
              </a:cxn>
              <a:cxn ang="0">
                <a:pos x="connsiteX37747" y="connsiteY37747"/>
              </a:cxn>
              <a:cxn ang="0">
                <a:pos x="connsiteX37748" y="connsiteY37748"/>
              </a:cxn>
              <a:cxn ang="0">
                <a:pos x="connsiteX37749" y="connsiteY37749"/>
              </a:cxn>
              <a:cxn ang="0">
                <a:pos x="connsiteX37750" y="connsiteY37750"/>
              </a:cxn>
              <a:cxn ang="0">
                <a:pos x="connsiteX37751" y="connsiteY37751"/>
              </a:cxn>
              <a:cxn ang="0">
                <a:pos x="connsiteX37752" y="connsiteY37752"/>
              </a:cxn>
              <a:cxn ang="0">
                <a:pos x="connsiteX37753" y="connsiteY37753"/>
              </a:cxn>
              <a:cxn ang="0">
                <a:pos x="connsiteX37754" y="connsiteY37754"/>
              </a:cxn>
              <a:cxn ang="0">
                <a:pos x="connsiteX37755" y="connsiteY37755"/>
              </a:cxn>
              <a:cxn ang="0">
                <a:pos x="connsiteX37756" y="connsiteY37756"/>
              </a:cxn>
              <a:cxn ang="0">
                <a:pos x="connsiteX37757" y="connsiteY37757"/>
              </a:cxn>
              <a:cxn ang="0">
                <a:pos x="connsiteX37758" y="connsiteY37758"/>
              </a:cxn>
              <a:cxn ang="0">
                <a:pos x="connsiteX37759" y="connsiteY37759"/>
              </a:cxn>
              <a:cxn ang="0">
                <a:pos x="connsiteX37760" y="connsiteY37760"/>
              </a:cxn>
              <a:cxn ang="0">
                <a:pos x="connsiteX37761" y="connsiteY37761"/>
              </a:cxn>
              <a:cxn ang="0">
                <a:pos x="connsiteX37762" y="connsiteY37762"/>
              </a:cxn>
              <a:cxn ang="0">
                <a:pos x="connsiteX37763" y="connsiteY37763"/>
              </a:cxn>
              <a:cxn ang="0">
                <a:pos x="connsiteX37764" y="connsiteY37764"/>
              </a:cxn>
              <a:cxn ang="0">
                <a:pos x="connsiteX37765" y="connsiteY37765"/>
              </a:cxn>
              <a:cxn ang="0">
                <a:pos x="connsiteX37766" y="connsiteY37766"/>
              </a:cxn>
              <a:cxn ang="0">
                <a:pos x="connsiteX37767" y="connsiteY37767"/>
              </a:cxn>
              <a:cxn ang="0">
                <a:pos x="connsiteX37768" y="connsiteY37768"/>
              </a:cxn>
              <a:cxn ang="0">
                <a:pos x="connsiteX37769" y="connsiteY37769"/>
              </a:cxn>
              <a:cxn ang="0">
                <a:pos x="connsiteX37770" y="connsiteY37770"/>
              </a:cxn>
              <a:cxn ang="0">
                <a:pos x="connsiteX37771" y="connsiteY37771"/>
              </a:cxn>
              <a:cxn ang="0">
                <a:pos x="connsiteX37772" y="connsiteY37772"/>
              </a:cxn>
              <a:cxn ang="0">
                <a:pos x="connsiteX37773" y="connsiteY37773"/>
              </a:cxn>
              <a:cxn ang="0">
                <a:pos x="connsiteX37774" y="connsiteY37774"/>
              </a:cxn>
              <a:cxn ang="0">
                <a:pos x="connsiteX37775" y="connsiteY37775"/>
              </a:cxn>
              <a:cxn ang="0">
                <a:pos x="connsiteX37776" y="connsiteY37776"/>
              </a:cxn>
              <a:cxn ang="0">
                <a:pos x="connsiteX37777" y="connsiteY37777"/>
              </a:cxn>
              <a:cxn ang="0">
                <a:pos x="connsiteX37778" y="connsiteY37778"/>
              </a:cxn>
              <a:cxn ang="0">
                <a:pos x="connsiteX37779" y="connsiteY37779"/>
              </a:cxn>
              <a:cxn ang="0">
                <a:pos x="connsiteX37780" y="connsiteY37780"/>
              </a:cxn>
              <a:cxn ang="0">
                <a:pos x="connsiteX37781" y="connsiteY37781"/>
              </a:cxn>
              <a:cxn ang="0">
                <a:pos x="connsiteX37782" y="connsiteY37782"/>
              </a:cxn>
              <a:cxn ang="0">
                <a:pos x="connsiteX37783" y="connsiteY37783"/>
              </a:cxn>
              <a:cxn ang="0">
                <a:pos x="connsiteX37784" y="connsiteY37784"/>
              </a:cxn>
              <a:cxn ang="0">
                <a:pos x="connsiteX37785" y="connsiteY37785"/>
              </a:cxn>
              <a:cxn ang="0">
                <a:pos x="connsiteX37786" y="connsiteY37786"/>
              </a:cxn>
              <a:cxn ang="0">
                <a:pos x="connsiteX37787" y="connsiteY37787"/>
              </a:cxn>
              <a:cxn ang="0">
                <a:pos x="connsiteX37788" y="connsiteY37788"/>
              </a:cxn>
              <a:cxn ang="0">
                <a:pos x="connsiteX37789" y="connsiteY37789"/>
              </a:cxn>
              <a:cxn ang="0">
                <a:pos x="connsiteX37790" y="connsiteY37790"/>
              </a:cxn>
              <a:cxn ang="0">
                <a:pos x="connsiteX37791" y="connsiteY37791"/>
              </a:cxn>
              <a:cxn ang="0">
                <a:pos x="connsiteX37792" y="connsiteY37792"/>
              </a:cxn>
              <a:cxn ang="0">
                <a:pos x="connsiteX37793" y="connsiteY37793"/>
              </a:cxn>
              <a:cxn ang="0">
                <a:pos x="connsiteX37794" y="connsiteY37794"/>
              </a:cxn>
              <a:cxn ang="0">
                <a:pos x="connsiteX37795" y="connsiteY37795"/>
              </a:cxn>
              <a:cxn ang="0">
                <a:pos x="connsiteX37796" y="connsiteY37796"/>
              </a:cxn>
              <a:cxn ang="0">
                <a:pos x="connsiteX37797" y="connsiteY37797"/>
              </a:cxn>
              <a:cxn ang="0">
                <a:pos x="connsiteX37798" y="connsiteY37798"/>
              </a:cxn>
              <a:cxn ang="0">
                <a:pos x="connsiteX37799" y="connsiteY37799"/>
              </a:cxn>
              <a:cxn ang="0">
                <a:pos x="connsiteX37800" y="connsiteY37800"/>
              </a:cxn>
              <a:cxn ang="0">
                <a:pos x="connsiteX37801" y="connsiteY37801"/>
              </a:cxn>
              <a:cxn ang="0">
                <a:pos x="connsiteX37802" y="connsiteY37802"/>
              </a:cxn>
              <a:cxn ang="0">
                <a:pos x="connsiteX37803" y="connsiteY37803"/>
              </a:cxn>
              <a:cxn ang="0">
                <a:pos x="connsiteX37804" y="connsiteY37804"/>
              </a:cxn>
              <a:cxn ang="0">
                <a:pos x="connsiteX37805" y="connsiteY37805"/>
              </a:cxn>
              <a:cxn ang="0">
                <a:pos x="connsiteX37806" y="connsiteY37806"/>
              </a:cxn>
              <a:cxn ang="0">
                <a:pos x="connsiteX37807" y="connsiteY37807"/>
              </a:cxn>
              <a:cxn ang="0">
                <a:pos x="connsiteX37808" y="connsiteY37808"/>
              </a:cxn>
              <a:cxn ang="0">
                <a:pos x="connsiteX37809" y="connsiteY37809"/>
              </a:cxn>
              <a:cxn ang="0">
                <a:pos x="connsiteX37810" y="connsiteY37810"/>
              </a:cxn>
              <a:cxn ang="0">
                <a:pos x="connsiteX37811" y="connsiteY37811"/>
              </a:cxn>
              <a:cxn ang="0">
                <a:pos x="connsiteX37812" y="connsiteY37812"/>
              </a:cxn>
              <a:cxn ang="0">
                <a:pos x="connsiteX37813" y="connsiteY37813"/>
              </a:cxn>
              <a:cxn ang="0">
                <a:pos x="connsiteX37814" y="connsiteY37814"/>
              </a:cxn>
              <a:cxn ang="0">
                <a:pos x="connsiteX37815" y="connsiteY37815"/>
              </a:cxn>
              <a:cxn ang="0">
                <a:pos x="connsiteX37816" y="connsiteY37816"/>
              </a:cxn>
              <a:cxn ang="0">
                <a:pos x="connsiteX37817" y="connsiteY37817"/>
              </a:cxn>
              <a:cxn ang="0">
                <a:pos x="connsiteX37818" y="connsiteY37818"/>
              </a:cxn>
              <a:cxn ang="0">
                <a:pos x="connsiteX37819" y="connsiteY37819"/>
              </a:cxn>
              <a:cxn ang="0">
                <a:pos x="connsiteX37820" y="connsiteY37820"/>
              </a:cxn>
              <a:cxn ang="0">
                <a:pos x="connsiteX37821" y="connsiteY37821"/>
              </a:cxn>
              <a:cxn ang="0">
                <a:pos x="connsiteX37822" y="connsiteY37822"/>
              </a:cxn>
              <a:cxn ang="0">
                <a:pos x="connsiteX37823" y="connsiteY37823"/>
              </a:cxn>
              <a:cxn ang="0">
                <a:pos x="connsiteX37824" y="connsiteY37824"/>
              </a:cxn>
              <a:cxn ang="0">
                <a:pos x="connsiteX37825" y="connsiteY37825"/>
              </a:cxn>
              <a:cxn ang="0">
                <a:pos x="connsiteX37826" y="connsiteY37826"/>
              </a:cxn>
              <a:cxn ang="0">
                <a:pos x="connsiteX37827" y="connsiteY37827"/>
              </a:cxn>
              <a:cxn ang="0">
                <a:pos x="connsiteX37828" y="connsiteY37828"/>
              </a:cxn>
              <a:cxn ang="0">
                <a:pos x="connsiteX37829" y="connsiteY37829"/>
              </a:cxn>
              <a:cxn ang="0">
                <a:pos x="connsiteX37830" y="connsiteY37830"/>
              </a:cxn>
              <a:cxn ang="0">
                <a:pos x="connsiteX37831" y="connsiteY37831"/>
              </a:cxn>
              <a:cxn ang="0">
                <a:pos x="connsiteX37832" y="connsiteY37832"/>
              </a:cxn>
              <a:cxn ang="0">
                <a:pos x="connsiteX37833" y="connsiteY37833"/>
              </a:cxn>
              <a:cxn ang="0">
                <a:pos x="connsiteX37834" y="connsiteY37834"/>
              </a:cxn>
              <a:cxn ang="0">
                <a:pos x="connsiteX37835" y="connsiteY37835"/>
              </a:cxn>
              <a:cxn ang="0">
                <a:pos x="connsiteX37836" y="connsiteY37836"/>
              </a:cxn>
              <a:cxn ang="0">
                <a:pos x="connsiteX37837" y="connsiteY37837"/>
              </a:cxn>
              <a:cxn ang="0">
                <a:pos x="connsiteX37838" y="connsiteY37838"/>
              </a:cxn>
              <a:cxn ang="0">
                <a:pos x="connsiteX37839" y="connsiteY37839"/>
              </a:cxn>
              <a:cxn ang="0">
                <a:pos x="connsiteX37840" y="connsiteY37840"/>
              </a:cxn>
              <a:cxn ang="0">
                <a:pos x="connsiteX37841" y="connsiteY37841"/>
              </a:cxn>
              <a:cxn ang="0">
                <a:pos x="connsiteX37842" y="connsiteY37842"/>
              </a:cxn>
              <a:cxn ang="0">
                <a:pos x="connsiteX37843" y="connsiteY37843"/>
              </a:cxn>
              <a:cxn ang="0">
                <a:pos x="connsiteX37844" y="connsiteY37844"/>
              </a:cxn>
              <a:cxn ang="0">
                <a:pos x="connsiteX37845" y="connsiteY37845"/>
              </a:cxn>
              <a:cxn ang="0">
                <a:pos x="connsiteX37846" y="connsiteY37846"/>
              </a:cxn>
              <a:cxn ang="0">
                <a:pos x="connsiteX37847" y="connsiteY37847"/>
              </a:cxn>
              <a:cxn ang="0">
                <a:pos x="connsiteX37848" y="connsiteY37848"/>
              </a:cxn>
              <a:cxn ang="0">
                <a:pos x="connsiteX37849" y="connsiteY37849"/>
              </a:cxn>
              <a:cxn ang="0">
                <a:pos x="connsiteX37850" y="connsiteY37850"/>
              </a:cxn>
              <a:cxn ang="0">
                <a:pos x="connsiteX37851" y="connsiteY37851"/>
              </a:cxn>
              <a:cxn ang="0">
                <a:pos x="connsiteX37852" y="connsiteY37852"/>
              </a:cxn>
              <a:cxn ang="0">
                <a:pos x="connsiteX37853" y="connsiteY37853"/>
              </a:cxn>
              <a:cxn ang="0">
                <a:pos x="connsiteX37854" y="connsiteY37854"/>
              </a:cxn>
              <a:cxn ang="0">
                <a:pos x="connsiteX37855" y="connsiteY37855"/>
              </a:cxn>
              <a:cxn ang="0">
                <a:pos x="connsiteX37856" y="connsiteY37856"/>
              </a:cxn>
              <a:cxn ang="0">
                <a:pos x="connsiteX37857" y="connsiteY37857"/>
              </a:cxn>
              <a:cxn ang="0">
                <a:pos x="connsiteX37858" y="connsiteY37858"/>
              </a:cxn>
              <a:cxn ang="0">
                <a:pos x="connsiteX37859" y="connsiteY37859"/>
              </a:cxn>
              <a:cxn ang="0">
                <a:pos x="connsiteX37860" y="connsiteY37860"/>
              </a:cxn>
              <a:cxn ang="0">
                <a:pos x="connsiteX37861" y="connsiteY37861"/>
              </a:cxn>
              <a:cxn ang="0">
                <a:pos x="connsiteX37862" y="connsiteY37862"/>
              </a:cxn>
              <a:cxn ang="0">
                <a:pos x="connsiteX37863" y="connsiteY37863"/>
              </a:cxn>
              <a:cxn ang="0">
                <a:pos x="connsiteX37864" y="connsiteY37864"/>
              </a:cxn>
              <a:cxn ang="0">
                <a:pos x="connsiteX37865" y="connsiteY37865"/>
              </a:cxn>
              <a:cxn ang="0">
                <a:pos x="connsiteX37866" y="connsiteY37866"/>
              </a:cxn>
              <a:cxn ang="0">
                <a:pos x="connsiteX37867" y="connsiteY37867"/>
              </a:cxn>
              <a:cxn ang="0">
                <a:pos x="connsiteX37868" y="connsiteY37868"/>
              </a:cxn>
              <a:cxn ang="0">
                <a:pos x="connsiteX37869" y="connsiteY37869"/>
              </a:cxn>
              <a:cxn ang="0">
                <a:pos x="connsiteX37870" y="connsiteY37870"/>
              </a:cxn>
              <a:cxn ang="0">
                <a:pos x="connsiteX37871" y="connsiteY37871"/>
              </a:cxn>
              <a:cxn ang="0">
                <a:pos x="connsiteX37872" y="connsiteY37872"/>
              </a:cxn>
              <a:cxn ang="0">
                <a:pos x="connsiteX37873" y="connsiteY37873"/>
              </a:cxn>
              <a:cxn ang="0">
                <a:pos x="connsiteX37874" y="connsiteY37874"/>
              </a:cxn>
              <a:cxn ang="0">
                <a:pos x="connsiteX37875" y="connsiteY37875"/>
              </a:cxn>
              <a:cxn ang="0">
                <a:pos x="connsiteX37876" y="connsiteY37876"/>
              </a:cxn>
              <a:cxn ang="0">
                <a:pos x="connsiteX37877" y="connsiteY37877"/>
              </a:cxn>
              <a:cxn ang="0">
                <a:pos x="connsiteX37878" y="connsiteY37878"/>
              </a:cxn>
              <a:cxn ang="0">
                <a:pos x="connsiteX37879" y="connsiteY37879"/>
              </a:cxn>
              <a:cxn ang="0">
                <a:pos x="connsiteX37880" y="connsiteY37880"/>
              </a:cxn>
              <a:cxn ang="0">
                <a:pos x="connsiteX37881" y="connsiteY37881"/>
              </a:cxn>
              <a:cxn ang="0">
                <a:pos x="connsiteX37882" y="connsiteY37882"/>
              </a:cxn>
              <a:cxn ang="0">
                <a:pos x="connsiteX37883" y="connsiteY37883"/>
              </a:cxn>
              <a:cxn ang="0">
                <a:pos x="connsiteX37884" y="connsiteY37884"/>
              </a:cxn>
              <a:cxn ang="0">
                <a:pos x="connsiteX37885" y="connsiteY37885"/>
              </a:cxn>
              <a:cxn ang="0">
                <a:pos x="connsiteX37886" y="connsiteY37886"/>
              </a:cxn>
              <a:cxn ang="0">
                <a:pos x="connsiteX37887" y="connsiteY37887"/>
              </a:cxn>
              <a:cxn ang="0">
                <a:pos x="connsiteX37888" y="connsiteY37888"/>
              </a:cxn>
              <a:cxn ang="0">
                <a:pos x="connsiteX37889" y="connsiteY37889"/>
              </a:cxn>
              <a:cxn ang="0">
                <a:pos x="connsiteX37890" y="connsiteY37890"/>
              </a:cxn>
              <a:cxn ang="0">
                <a:pos x="connsiteX37891" y="connsiteY37891"/>
              </a:cxn>
              <a:cxn ang="0">
                <a:pos x="connsiteX37892" y="connsiteY37892"/>
              </a:cxn>
              <a:cxn ang="0">
                <a:pos x="connsiteX37893" y="connsiteY37893"/>
              </a:cxn>
              <a:cxn ang="0">
                <a:pos x="connsiteX37894" y="connsiteY37894"/>
              </a:cxn>
              <a:cxn ang="0">
                <a:pos x="connsiteX37895" y="connsiteY37895"/>
              </a:cxn>
              <a:cxn ang="0">
                <a:pos x="connsiteX37896" y="connsiteY37896"/>
              </a:cxn>
              <a:cxn ang="0">
                <a:pos x="connsiteX37897" y="connsiteY37897"/>
              </a:cxn>
              <a:cxn ang="0">
                <a:pos x="connsiteX37898" y="connsiteY37898"/>
              </a:cxn>
              <a:cxn ang="0">
                <a:pos x="connsiteX37899" y="connsiteY37899"/>
              </a:cxn>
              <a:cxn ang="0">
                <a:pos x="connsiteX37900" y="connsiteY37900"/>
              </a:cxn>
              <a:cxn ang="0">
                <a:pos x="connsiteX37901" y="connsiteY37901"/>
              </a:cxn>
              <a:cxn ang="0">
                <a:pos x="connsiteX37902" y="connsiteY37902"/>
              </a:cxn>
              <a:cxn ang="0">
                <a:pos x="connsiteX37903" y="connsiteY37903"/>
              </a:cxn>
              <a:cxn ang="0">
                <a:pos x="connsiteX37904" y="connsiteY37904"/>
              </a:cxn>
              <a:cxn ang="0">
                <a:pos x="connsiteX37905" y="connsiteY37905"/>
              </a:cxn>
              <a:cxn ang="0">
                <a:pos x="connsiteX37906" y="connsiteY37906"/>
              </a:cxn>
              <a:cxn ang="0">
                <a:pos x="connsiteX37907" y="connsiteY37907"/>
              </a:cxn>
              <a:cxn ang="0">
                <a:pos x="connsiteX37908" y="connsiteY37908"/>
              </a:cxn>
              <a:cxn ang="0">
                <a:pos x="connsiteX37909" y="connsiteY37909"/>
              </a:cxn>
              <a:cxn ang="0">
                <a:pos x="connsiteX37910" y="connsiteY37910"/>
              </a:cxn>
              <a:cxn ang="0">
                <a:pos x="connsiteX37911" y="connsiteY37911"/>
              </a:cxn>
              <a:cxn ang="0">
                <a:pos x="connsiteX37912" y="connsiteY37912"/>
              </a:cxn>
              <a:cxn ang="0">
                <a:pos x="connsiteX37913" y="connsiteY37913"/>
              </a:cxn>
              <a:cxn ang="0">
                <a:pos x="connsiteX37914" y="connsiteY37914"/>
              </a:cxn>
              <a:cxn ang="0">
                <a:pos x="connsiteX37915" y="connsiteY37915"/>
              </a:cxn>
              <a:cxn ang="0">
                <a:pos x="connsiteX37916" y="connsiteY37916"/>
              </a:cxn>
              <a:cxn ang="0">
                <a:pos x="connsiteX37917" y="connsiteY37917"/>
              </a:cxn>
              <a:cxn ang="0">
                <a:pos x="connsiteX37918" y="connsiteY37918"/>
              </a:cxn>
              <a:cxn ang="0">
                <a:pos x="connsiteX37919" y="connsiteY37919"/>
              </a:cxn>
              <a:cxn ang="0">
                <a:pos x="connsiteX37920" y="connsiteY37920"/>
              </a:cxn>
              <a:cxn ang="0">
                <a:pos x="connsiteX37921" y="connsiteY37921"/>
              </a:cxn>
              <a:cxn ang="0">
                <a:pos x="connsiteX37922" y="connsiteY37922"/>
              </a:cxn>
              <a:cxn ang="0">
                <a:pos x="connsiteX37923" y="connsiteY37923"/>
              </a:cxn>
              <a:cxn ang="0">
                <a:pos x="connsiteX37924" y="connsiteY37924"/>
              </a:cxn>
              <a:cxn ang="0">
                <a:pos x="connsiteX37925" y="connsiteY37925"/>
              </a:cxn>
              <a:cxn ang="0">
                <a:pos x="connsiteX37926" y="connsiteY37926"/>
              </a:cxn>
              <a:cxn ang="0">
                <a:pos x="connsiteX37927" y="connsiteY37927"/>
              </a:cxn>
              <a:cxn ang="0">
                <a:pos x="connsiteX37928" y="connsiteY37928"/>
              </a:cxn>
              <a:cxn ang="0">
                <a:pos x="connsiteX37929" y="connsiteY37929"/>
              </a:cxn>
              <a:cxn ang="0">
                <a:pos x="connsiteX37930" y="connsiteY37930"/>
              </a:cxn>
              <a:cxn ang="0">
                <a:pos x="connsiteX37931" y="connsiteY37931"/>
              </a:cxn>
              <a:cxn ang="0">
                <a:pos x="connsiteX37932" y="connsiteY37932"/>
              </a:cxn>
              <a:cxn ang="0">
                <a:pos x="connsiteX37933" y="connsiteY37933"/>
              </a:cxn>
              <a:cxn ang="0">
                <a:pos x="connsiteX37934" y="connsiteY37934"/>
              </a:cxn>
              <a:cxn ang="0">
                <a:pos x="connsiteX37935" y="connsiteY37935"/>
              </a:cxn>
              <a:cxn ang="0">
                <a:pos x="connsiteX37936" y="connsiteY37936"/>
              </a:cxn>
              <a:cxn ang="0">
                <a:pos x="connsiteX37937" y="connsiteY37937"/>
              </a:cxn>
              <a:cxn ang="0">
                <a:pos x="connsiteX37938" y="connsiteY37938"/>
              </a:cxn>
              <a:cxn ang="0">
                <a:pos x="connsiteX37939" y="connsiteY37939"/>
              </a:cxn>
              <a:cxn ang="0">
                <a:pos x="connsiteX37940" y="connsiteY37940"/>
              </a:cxn>
              <a:cxn ang="0">
                <a:pos x="connsiteX37941" y="connsiteY37941"/>
              </a:cxn>
              <a:cxn ang="0">
                <a:pos x="connsiteX37942" y="connsiteY37942"/>
              </a:cxn>
              <a:cxn ang="0">
                <a:pos x="connsiteX37943" y="connsiteY37943"/>
              </a:cxn>
              <a:cxn ang="0">
                <a:pos x="connsiteX37944" y="connsiteY37944"/>
              </a:cxn>
              <a:cxn ang="0">
                <a:pos x="connsiteX37945" y="connsiteY37945"/>
              </a:cxn>
              <a:cxn ang="0">
                <a:pos x="connsiteX37946" y="connsiteY37946"/>
              </a:cxn>
              <a:cxn ang="0">
                <a:pos x="connsiteX37947" y="connsiteY37947"/>
              </a:cxn>
              <a:cxn ang="0">
                <a:pos x="connsiteX37948" y="connsiteY37948"/>
              </a:cxn>
              <a:cxn ang="0">
                <a:pos x="connsiteX37949" y="connsiteY37949"/>
              </a:cxn>
              <a:cxn ang="0">
                <a:pos x="connsiteX37950" y="connsiteY37950"/>
              </a:cxn>
              <a:cxn ang="0">
                <a:pos x="connsiteX37951" y="connsiteY37951"/>
              </a:cxn>
              <a:cxn ang="0">
                <a:pos x="connsiteX37952" y="connsiteY37952"/>
              </a:cxn>
              <a:cxn ang="0">
                <a:pos x="connsiteX37953" y="connsiteY37953"/>
              </a:cxn>
              <a:cxn ang="0">
                <a:pos x="connsiteX37954" y="connsiteY37954"/>
              </a:cxn>
              <a:cxn ang="0">
                <a:pos x="connsiteX37955" y="connsiteY37955"/>
              </a:cxn>
              <a:cxn ang="0">
                <a:pos x="connsiteX37956" y="connsiteY37956"/>
              </a:cxn>
              <a:cxn ang="0">
                <a:pos x="connsiteX37957" y="connsiteY37957"/>
              </a:cxn>
              <a:cxn ang="0">
                <a:pos x="connsiteX37958" y="connsiteY37958"/>
              </a:cxn>
              <a:cxn ang="0">
                <a:pos x="connsiteX37959" y="connsiteY37959"/>
              </a:cxn>
              <a:cxn ang="0">
                <a:pos x="connsiteX37960" y="connsiteY37960"/>
              </a:cxn>
              <a:cxn ang="0">
                <a:pos x="connsiteX37961" y="connsiteY37961"/>
              </a:cxn>
              <a:cxn ang="0">
                <a:pos x="connsiteX37962" y="connsiteY37962"/>
              </a:cxn>
              <a:cxn ang="0">
                <a:pos x="connsiteX37963" y="connsiteY37963"/>
              </a:cxn>
              <a:cxn ang="0">
                <a:pos x="connsiteX37964" y="connsiteY37964"/>
              </a:cxn>
              <a:cxn ang="0">
                <a:pos x="connsiteX37965" y="connsiteY37965"/>
              </a:cxn>
              <a:cxn ang="0">
                <a:pos x="connsiteX37966" y="connsiteY37966"/>
              </a:cxn>
              <a:cxn ang="0">
                <a:pos x="connsiteX37967" y="connsiteY37967"/>
              </a:cxn>
              <a:cxn ang="0">
                <a:pos x="connsiteX37968" y="connsiteY37968"/>
              </a:cxn>
              <a:cxn ang="0">
                <a:pos x="connsiteX37969" y="connsiteY37969"/>
              </a:cxn>
              <a:cxn ang="0">
                <a:pos x="connsiteX37970" y="connsiteY37970"/>
              </a:cxn>
              <a:cxn ang="0">
                <a:pos x="connsiteX37971" y="connsiteY37971"/>
              </a:cxn>
              <a:cxn ang="0">
                <a:pos x="connsiteX37972" y="connsiteY37972"/>
              </a:cxn>
              <a:cxn ang="0">
                <a:pos x="connsiteX37973" y="connsiteY37973"/>
              </a:cxn>
              <a:cxn ang="0">
                <a:pos x="connsiteX37974" y="connsiteY37974"/>
              </a:cxn>
              <a:cxn ang="0">
                <a:pos x="connsiteX37975" y="connsiteY37975"/>
              </a:cxn>
              <a:cxn ang="0">
                <a:pos x="connsiteX37976" y="connsiteY37976"/>
              </a:cxn>
              <a:cxn ang="0">
                <a:pos x="connsiteX37977" y="connsiteY37977"/>
              </a:cxn>
              <a:cxn ang="0">
                <a:pos x="connsiteX37978" y="connsiteY37978"/>
              </a:cxn>
              <a:cxn ang="0">
                <a:pos x="connsiteX37979" y="connsiteY37979"/>
              </a:cxn>
              <a:cxn ang="0">
                <a:pos x="connsiteX37980" y="connsiteY37980"/>
              </a:cxn>
              <a:cxn ang="0">
                <a:pos x="connsiteX37981" y="connsiteY37981"/>
              </a:cxn>
              <a:cxn ang="0">
                <a:pos x="connsiteX37982" y="connsiteY37982"/>
              </a:cxn>
              <a:cxn ang="0">
                <a:pos x="connsiteX37983" y="connsiteY37983"/>
              </a:cxn>
              <a:cxn ang="0">
                <a:pos x="connsiteX37984" y="connsiteY37984"/>
              </a:cxn>
              <a:cxn ang="0">
                <a:pos x="connsiteX37985" y="connsiteY37985"/>
              </a:cxn>
              <a:cxn ang="0">
                <a:pos x="connsiteX37986" y="connsiteY37986"/>
              </a:cxn>
              <a:cxn ang="0">
                <a:pos x="connsiteX37987" y="connsiteY37987"/>
              </a:cxn>
              <a:cxn ang="0">
                <a:pos x="connsiteX37988" y="connsiteY37988"/>
              </a:cxn>
              <a:cxn ang="0">
                <a:pos x="connsiteX37989" y="connsiteY37989"/>
              </a:cxn>
              <a:cxn ang="0">
                <a:pos x="connsiteX37990" y="connsiteY37990"/>
              </a:cxn>
              <a:cxn ang="0">
                <a:pos x="connsiteX37991" y="connsiteY37991"/>
              </a:cxn>
              <a:cxn ang="0">
                <a:pos x="connsiteX37992" y="connsiteY37992"/>
              </a:cxn>
              <a:cxn ang="0">
                <a:pos x="connsiteX37993" y="connsiteY37993"/>
              </a:cxn>
              <a:cxn ang="0">
                <a:pos x="connsiteX37994" y="connsiteY37994"/>
              </a:cxn>
              <a:cxn ang="0">
                <a:pos x="connsiteX37995" y="connsiteY37995"/>
              </a:cxn>
              <a:cxn ang="0">
                <a:pos x="connsiteX37996" y="connsiteY37996"/>
              </a:cxn>
              <a:cxn ang="0">
                <a:pos x="connsiteX37997" y="connsiteY37997"/>
              </a:cxn>
              <a:cxn ang="0">
                <a:pos x="connsiteX37998" y="connsiteY37998"/>
              </a:cxn>
              <a:cxn ang="0">
                <a:pos x="connsiteX37999" y="connsiteY37999"/>
              </a:cxn>
              <a:cxn ang="0">
                <a:pos x="connsiteX38000" y="connsiteY38000"/>
              </a:cxn>
              <a:cxn ang="0">
                <a:pos x="connsiteX38001" y="connsiteY38001"/>
              </a:cxn>
              <a:cxn ang="0">
                <a:pos x="connsiteX38002" y="connsiteY38002"/>
              </a:cxn>
              <a:cxn ang="0">
                <a:pos x="connsiteX38003" y="connsiteY38003"/>
              </a:cxn>
              <a:cxn ang="0">
                <a:pos x="connsiteX38004" y="connsiteY38004"/>
              </a:cxn>
              <a:cxn ang="0">
                <a:pos x="connsiteX38005" y="connsiteY38005"/>
              </a:cxn>
              <a:cxn ang="0">
                <a:pos x="connsiteX38006" y="connsiteY38006"/>
              </a:cxn>
              <a:cxn ang="0">
                <a:pos x="connsiteX38007" y="connsiteY38007"/>
              </a:cxn>
              <a:cxn ang="0">
                <a:pos x="connsiteX38008" y="connsiteY38008"/>
              </a:cxn>
              <a:cxn ang="0">
                <a:pos x="connsiteX38009" y="connsiteY38009"/>
              </a:cxn>
              <a:cxn ang="0">
                <a:pos x="connsiteX38010" y="connsiteY38010"/>
              </a:cxn>
              <a:cxn ang="0">
                <a:pos x="connsiteX38011" y="connsiteY38011"/>
              </a:cxn>
              <a:cxn ang="0">
                <a:pos x="connsiteX38012" y="connsiteY38012"/>
              </a:cxn>
              <a:cxn ang="0">
                <a:pos x="connsiteX38013" y="connsiteY38013"/>
              </a:cxn>
              <a:cxn ang="0">
                <a:pos x="connsiteX38014" y="connsiteY38014"/>
              </a:cxn>
              <a:cxn ang="0">
                <a:pos x="connsiteX38015" y="connsiteY38015"/>
              </a:cxn>
              <a:cxn ang="0">
                <a:pos x="connsiteX38016" y="connsiteY38016"/>
              </a:cxn>
              <a:cxn ang="0">
                <a:pos x="connsiteX38017" y="connsiteY38017"/>
              </a:cxn>
              <a:cxn ang="0">
                <a:pos x="connsiteX38018" y="connsiteY38018"/>
              </a:cxn>
              <a:cxn ang="0">
                <a:pos x="connsiteX38019" y="connsiteY38019"/>
              </a:cxn>
              <a:cxn ang="0">
                <a:pos x="connsiteX38020" y="connsiteY38020"/>
              </a:cxn>
              <a:cxn ang="0">
                <a:pos x="connsiteX38021" y="connsiteY38021"/>
              </a:cxn>
              <a:cxn ang="0">
                <a:pos x="connsiteX38022" y="connsiteY38022"/>
              </a:cxn>
              <a:cxn ang="0">
                <a:pos x="connsiteX38023" y="connsiteY38023"/>
              </a:cxn>
              <a:cxn ang="0">
                <a:pos x="connsiteX38024" y="connsiteY38024"/>
              </a:cxn>
              <a:cxn ang="0">
                <a:pos x="connsiteX38025" y="connsiteY38025"/>
              </a:cxn>
              <a:cxn ang="0">
                <a:pos x="connsiteX38026" y="connsiteY38026"/>
              </a:cxn>
              <a:cxn ang="0">
                <a:pos x="connsiteX38027" y="connsiteY38027"/>
              </a:cxn>
              <a:cxn ang="0">
                <a:pos x="connsiteX38028" y="connsiteY38028"/>
              </a:cxn>
              <a:cxn ang="0">
                <a:pos x="connsiteX38029" y="connsiteY38029"/>
              </a:cxn>
              <a:cxn ang="0">
                <a:pos x="connsiteX38030" y="connsiteY38030"/>
              </a:cxn>
              <a:cxn ang="0">
                <a:pos x="connsiteX38031" y="connsiteY38031"/>
              </a:cxn>
              <a:cxn ang="0">
                <a:pos x="connsiteX38032" y="connsiteY38032"/>
              </a:cxn>
              <a:cxn ang="0">
                <a:pos x="connsiteX38033" y="connsiteY38033"/>
              </a:cxn>
              <a:cxn ang="0">
                <a:pos x="connsiteX38034" y="connsiteY38034"/>
              </a:cxn>
              <a:cxn ang="0">
                <a:pos x="connsiteX38035" y="connsiteY38035"/>
              </a:cxn>
              <a:cxn ang="0">
                <a:pos x="connsiteX38036" y="connsiteY38036"/>
              </a:cxn>
              <a:cxn ang="0">
                <a:pos x="connsiteX38037" y="connsiteY38037"/>
              </a:cxn>
              <a:cxn ang="0">
                <a:pos x="connsiteX38038" y="connsiteY38038"/>
              </a:cxn>
              <a:cxn ang="0">
                <a:pos x="connsiteX38039" y="connsiteY38039"/>
              </a:cxn>
              <a:cxn ang="0">
                <a:pos x="connsiteX38040" y="connsiteY38040"/>
              </a:cxn>
              <a:cxn ang="0">
                <a:pos x="connsiteX38041" y="connsiteY38041"/>
              </a:cxn>
              <a:cxn ang="0">
                <a:pos x="connsiteX38042" y="connsiteY38042"/>
              </a:cxn>
              <a:cxn ang="0">
                <a:pos x="connsiteX38043" y="connsiteY38043"/>
              </a:cxn>
              <a:cxn ang="0">
                <a:pos x="connsiteX38044" y="connsiteY38044"/>
              </a:cxn>
              <a:cxn ang="0">
                <a:pos x="connsiteX38045" y="connsiteY38045"/>
              </a:cxn>
              <a:cxn ang="0">
                <a:pos x="connsiteX38046" y="connsiteY38046"/>
              </a:cxn>
              <a:cxn ang="0">
                <a:pos x="connsiteX38047" y="connsiteY38047"/>
              </a:cxn>
              <a:cxn ang="0">
                <a:pos x="connsiteX38048" y="connsiteY38048"/>
              </a:cxn>
              <a:cxn ang="0">
                <a:pos x="connsiteX38049" y="connsiteY38049"/>
              </a:cxn>
              <a:cxn ang="0">
                <a:pos x="connsiteX38050" y="connsiteY38050"/>
              </a:cxn>
              <a:cxn ang="0">
                <a:pos x="connsiteX38051" y="connsiteY38051"/>
              </a:cxn>
              <a:cxn ang="0">
                <a:pos x="connsiteX38052" y="connsiteY38052"/>
              </a:cxn>
              <a:cxn ang="0">
                <a:pos x="connsiteX38053" y="connsiteY38053"/>
              </a:cxn>
              <a:cxn ang="0">
                <a:pos x="connsiteX38054" y="connsiteY38054"/>
              </a:cxn>
              <a:cxn ang="0">
                <a:pos x="connsiteX38055" y="connsiteY38055"/>
              </a:cxn>
              <a:cxn ang="0">
                <a:pos x="connsiteX38056" y="connsiteY38056"/>
              </a:cxn>
              <a:cxn ang="0">
                <a:pos x="connsiteX38057" y="connsiteY38057"/>
              </a:cxn>
              <a:cxn ang="0">
                <a:pos x="connsiteX38058" y="connsiteY38058"/>
              </a:cxn>
              <a:cxn ang="0">
                <a:pos x="connsiteX38059" y="connsiteY38059"/>
              </a:cxn>
              <a:cxn ang="0">
                <a:pos x="connsiteX38060" y="connsiteY38060"/>
              </a:cxn>
              <a:cxn ang="0">
                <a:pos x="connsiteX38061" y="connsiteY38061"/>
              </a:cxn>
              <a:cxn ang="0">
                <a:pos x="connsiteX38062" y="connsiteY38062"/>
              </a:cxn>
              <a:cxn ang="0">
                <a:pos x="connsiteX38063" y="connsiteY38063"/>
              </a:cxn>
              <a:cxn ang="0">
                <a:pos x="connsiteX38064" y="connsiteY38064"/>
              </a:cxn>
              <a:cxn ang="0">
                <a:pos x="connsiteX38065" y="connsiteY38065"/>
              </a:cxn>
              <a:cxn ang="0">
                <a:pos x="connsiteX38066" y="connsiteY38066"/>
              </a:cxn>
              <a:cxn ang="0">
                <a:pos x="connsiteX38067" y="connsiteY38067"/>
              </a:cxn>
              <a:cxn ang="0">
                <a:pos x="connsiteX38068" y="connsiteY38068"/>
              </a:cxn>
              <a:cxn ang="0">
                <a:pos x="connsiteX38069" y="connsiteY38069"/>
              </a:cxn>
              <a:cxn ang="0">
                <a:pos x="connsiteX38070" y="connsiteY38070"/>
              </a:cxn>
              <a:cxn ang="0">
                <a:pos x="connsiteX38071" y="connsiteY38071"/>
              </a:cxn>
              <a:cxn ang="0">
                <a:pos x="connsiteX38072" y="connsiteY38072"/>
              </a:cxn>
              <a:cxn ang="0">
                <a:pos x="connsiteX38073" y="connsiteY38073"/>
              </a:cxn>
              <a:cxn ang="0">
                <a:pos x="connsiteX38074" y="connsiteY38074"/>
              </a:cxn>
              <a:cxn ang="0">
                <a:pos x="connsiteX38075" y="connsiteY38075"/>
              </a:cxn>
              <a:cxn ang="0">
                <a:pos x="connsiteX38076" y="connsiteY38076"/>
              </a:cxn>
              <a:cxn ang="0">
                <a:pos x="connsiteX38077" y="connsiteY38077"/>
              </a:cxn>
              <a:cxn ang="0">
                <a:pos x="connsiteX38078" y="connsiteY38078"/>
              </a:cxn>
              <a:cxn ang="0">
                <a:pos x="connsiteX38079" y="connsiteY38079"/>
              </a:cxn>
              <a:cxn ang="0">
                <a:pos x="connsiteX38080" y="connsiteY38080"/>
              </a:cxn>
              <a:cxn ang="0">
                <a:pos x="connsiteX38081" y="connsiteY38081"/>
              </a:cxn>
              <a:cxn ang="0">
                <a:pos x="connsiteX38082" y="connsiteY38082"/>
              </a:cxn>
              <a:cxn ang="0">
                <a:pos x="connsiteX38083" y="connsiteY38083"/>
              </a:cxn>
              <a:cxn ang="0">
                <a:pos x="connsiteX38084" y="connsiteY38084"/>
              </a:cxn>
              <a:cxn ang="0">
                <a:pos x="connsiteX38085" y="connsiteY38085"/>
              </a:cxn>
              <a:cxn ang="0">
                <a:pos x="connsiteX38086" y="connsiteY38086"/>
              </a:cxn>
              <a:cxn ang="0">
                <a:pos x="connsiteX38087" y="connsiteY38087"/>
              </a:cxn>
              <a:cxn ang="0">
                <a:pos x="connsiteX38088" y="connsiteY38088"/>
              </a:cxn>
              <a:cxn ang="0">
                <a:pos x="connsiteX38089" y="connsiteY38089"/>
              </a:cxn>
              <a:cxn ang="0">
                <a:pos x="connsiteX38090" y="connsiteY38090"/>
              </a:cxn>
              <a:cxn ang="0">
                <a:pos x="connsiteX38091" y="connsiteY38091"/>
              </a:cxn>
              <a:cxn ang="0">
                <a:pos x="connsiteX38092" y="connsiteY38092"/>
              </a:cxn>
              <a:cxn ang="0">
                <a:pos x="connsiteX38093" y="connsiteY38093"/>
              </a:cxn>
              <a:cxn ang="0">
                <a:pos x="connsiteX38094" y="connsiteY38094"/>
              </a:cxn>
              <a:cxn ang="0">
                <a:pos x="connsiteX38095" y="connsiteY38095"/>
              </a:cxn>
              <a:cxn ang="0">
                <a:pos x="connsiteX38096" y="connsiteY38096"/>
              </a:cxn>
              <a:cxn ang="0">
                <a:pos x="connsiteX38097" y="connsiteY38097"/>
              </a:cxn>
              <a:cxn ang="0">
                <a:pos x="connsiteX38098" y="connsiteY38098"/>
              </a:cxn>
              <a:cxn ang="0">
                <a:pos x="connsiteX38099" y="connsiteY38099"/>
              </a:cxn>
              <a:cxn ang="0">
                <a:pos x="connsiteX38100" y="connsiteY38100"/>
              </a:cxn>
              <a:cxn ang="0">
                <a:pos x="connsiteX38101" y="connsiteY38101"/>
              </a:cxn>
              <a:cxn ang="0">
                <a:pos x="connsiteX38102" y="connsiteY38102"/>
              </a:cxn>
              <a:cxn ang="0">
                <a:pos x="connsiteX38103" y="connsiteY38103"/>
              </a:cxn>
              <a:cxn ang="0">
                <a:pos x="connsiteX38104" y="connsiteY38104"/>
              </a:cxn>
              <a:cxn ang="0">
                <a:pos x="connsiteX38105" y="connsiteY38105"/>
              </a:cxn>
              <a:cxn ang="0">
                <a:pos x="connsiteX38106" y="connsiteY38106"/>
              </a:cxn>
              <a:cxn ang="0">
                <a:pos x="connsiteX38107" y="connsiteY38107"/>
              </a:cxn>
              <a:cxn ang="0">
                <a:pos x="connsiteX38108" y="connsiteY38108"/>
              </a:cxn>
              <a:cxn ang="0">
                <a:pos x="connsiteX38109" y="connsiteY38109"/>
              </a:cxn>
              <a:cxn ang="0">
                <a:pos x="connsiteX38110" y="connsiteY38110"/>
              </a:cxn>
              <a:cxn ang="0">
                <a:pos x="connsiteX38111" y="connsiteY38111"/>
              </a:cxn>
              <a:cxn ang="0">
                <a:pos x="connsiteX38112" y="connsiteY38112"/>
              </a:cxn>
              <a:cxn ang="0">
                <a:pos x="connsiteX38113" y="connsiteY38113"/>
              </a:cxn>
              <a:cxn ang="0">
                <a:pos x="connsiteX38114" y="connsiteY38114"/>
              </a:cxn>
              <a:cxn ang="0">
                <a:pos x="connsiteX38115" y="connsiteY38115"/>
              </a:cxn>
              <a:cxn ang="0">
                <a:pos x="connsiteX38116" y="connsiteY38116"/>
              </a:cxn>
              <a:cxn ang="0">
                <a:pos x="connsiteX38117" y="connsiteY38117"/>
              </a:cxn>
              <a:cxn ang="0">
                <a:pos x="connsiteX38118" y="connsiteY38118"/>
              </a:cxn>
              <a:cxn ang="0">
                <a:pos x="connsiteX38119" y="connsiteY38119"/>
              </a:cxn>
              <a:cxn ang="0">
                <a:pos x="connsiteX38120" y="connsiteY38120"/>
              </a:cxn>
              <a:cxn ang="0">
                <a:pos x="connsiteX38121" y="connsiteY38121"/>
              </a:cxn>
              <a:cxn ang="0">
                <a:pos x="connsiteX38122" y="connsiteY38122"/>
              </a:cxn>
              <a:cxn ang="0">
                <a:pos x="connsiteX38123" y="connsiteY38123"/>
              </a:cxn>
              <a:cxn ang="0">
                <a:pos x="connsiteX38124" y="connsiteY38124"/>
              </a:cxn>
              <a:cxn ang="0">
                <a:pos x="connsiteX38125" y="connsiteY38125"/>
              </a:cxn>
              <a:cxn ang="0">
                <a:pos x="connsiteX38126" y="connsiteY38126"/>
              </a:cxn>
              <a:cxn ang="0">
                <a:pos x="connsiteX38127" y="connsiteY38127"/>
              </a:cxn>
              <a:cxn ang="0">
                <a:pos x="connsiteX38128" y="connsiteY38128"/>
              </a:cxn>
              <a:cxn ang="0">
                <a:pos x="connsiteX38129" y="connsiteY38129"/>
              </a:cxn>
              <a:cxn ang="0">
                <a:pos x="connsiteX38130" y="connsiteY38130"/>
              </a:cxn>
              <a:cxn ang="0">
                <a:pos x="connsiteX38131" y="connsiteY38131"/>
              </a:cxn>
              <a:cxn ang="0">
                <a:pos x="connsiteX38132" y="connsiteY38132"/>
              </a:cxn>
              <a:cxn ang="0">
                <a:pos x="connsiteX38133" y="connsiteY38133"/>
              </a:cxn>
              <a:cxn ang="0">
                <a:pos x="connsiteX38134" y="connsiteY38134"/>
              </a:cxn>
              <a:cxn ang="0">
                <a:pos x="connsiteX38135" y="connsiteY38135"/>
              </a:cxn>
              <a:cxn ang="0">
                <a:pos x="connsiteX38136" y="connsiteY38136"/>
              </a:cxn>
              <a:cxn ang="0">
                <a:pos x="connsiteX38137" y="connsiteY38137"/>
              </a:cxn>
              <a:cxn ang="0">
                <a:pos x="connsiteX38138" y="connsiteY38138"/>
              </a:cxn>
              <a:cxn ang="0">
                <a:pos x="connsiteX38139" y="connsiteY38139"/>
              </a:cxn>
              <a:cxn ang="0">
                <a:pos x="connsiteX38140" y="connsiteY38140"/>
              </a:cxn>
              <a:cxn ang="0">
                <a:pos x="connsiteX38141" y="connsiteY38141"/>
              </a:cxn>
              <a:cxn ang="0">
                <a:pos x="connsiteX38142" y="connsiteY38142"/>
              </a:cxn>
              <a:cxn ang="0">
                <a:pos x="connsiteX38143" y="connsiteY38143"/>
              </a:cxn>
              <a:cxn ang="0">
                <a:pos x="connsiteX38144" y="connsiteY38144"/>
              </a:cxn>
              <a:cxn ang="0">
                <a:pos x="connsiteX38145" y="connsiteY38145"/>
              </a:cxn>
              <a:cxn ang="0">
                <a:pos x="connsiteX38146" y="connsiteY38146"/>
              </a:cxn>
              <a:cxn ang="0">
                <a:pos x="connsiteX38147" y="connsiteY38147"/>
              </a:cxn>
              <a:cxn ang="0">
                <a:pos x="connsiteX38148" y="connsiteY38148"/>
              </a:cxn>
              <a:cxn ang="0">
                <a:pos x="connsiteX38149" y="connsiteY38149"/>
              </a:cxn>
              <a:cxn ang="0">
                <a:pos x="connsiteX38150" y="connsiteY38150"/>
              </a:cxn>
              <a:cxn ang="0">
                <a:pos x="connsiteX38151" y="connsiteY38151"/>
              </a:cxn>
              <a:cxn ang="0">
                <a:pos x="connsiteX38152" y="connsiteY38152"/>
              </a:cxn>
              <a:cxn ang="0">
                <a:pos x="connsiteX38153" y="connsiteY38153"/>
              </a:cxn>
              <a:cxn ang="0">
                <a:pos x="connsiteX38154" y="connsiteY38154"/>
              </a:cxn>
              <a:cxn ang="0">
                <a:pos x="connsiteX38155" y="connsiteY38155"/>
              </a:cxn>
              <a:cxn ang="0">
                <a:pos x="connsiteX38156" y="connsiteY38156"/>
              </a:cxn>
              <a:cxn ang="0">
                <a:pos x="connsiteX38157" y="connsiteY38157"/>
              </a:cxn>
              <a:cxn ang="0">
                <a:pos x="connsiteX38158" y="connsiteY38158"/>
              </a:cxn>
              <a:cxn ang="0">
                <a:pos x="connsiteX38159" y="connsiteY38159"/>
              </a:cxn>
              <a:cxn ang="0">
                <a:pos x="connsiteX38160" y="connsiteY38160"/>
              </a:cxn>
              <a:cxn ang="0">
                <a:pos x="connsiteX38161" y="connsiteY38161"/>
              </a:cxn>
              <a:cxn ang="0">
                <a:pos x="connsiteX38162" y="connsiteY38162"/>
              </a:cxn>
              <a:cxn ang="0">
                <a:pos x="connsiteX38163" y="connsiteY38163"/>
              </a:cxn>
              <a:cxn ang="0">
                <a:pos x="connsiteX38164" y="connsiteY38164"/>
              </a:cxn>
              <a:cxn ang="0">
                <a:pos x="connsiteX38165" y="connsiteY38165"/>
              </a:cxn>
              <a:cxn ang="0">
                <a:pos x="connsiteX38166" y="connsiteY38166"/>
              </a:cxn>
              <a:cxn ang="0">
                <a:pos x="connsiteX38167" y="connsiteY38167"/>
              </a:cxn>
              <a:cxn ang="0">
                <a:pos x="connsiteX38168" y="connsiteY38168"/>
              </a:cxn>
              <a:cxn ang="0">
                <a:pos x="connsiteX38169" y="connsiteY38169"/>
              </a:cxn>
              <a:cxn ang="0">
                <a:pos x="connsiteX38170" y="connsiteY38170"/>
              </a:cxn>
              <a:cxn ang="0">
                <a:pos x="connsiteX38171" y="connsiteY38171"/>
              </a:cxn>
              <a:cxn ang="0">
                <a:pos x="connsiteX38172" y="connsiteY38172"/>
              </a:cxn>
              <a:cxn ang="0">
                <a:pos x="connsiteX38173" y="connsiteY38173"/>
              </a:cxn>
              <a:cxn ang="0">
                <a:pos x="connsiteX38174" y="connsiteY38174"/>
              </a:cxn>
              <a:cxn ang="0">
                <a:pos x="connsiteX38175" y="connsiteY38175"/>
              </a:cxn>
              <a:cxn ang="0">
                <a:pos x="connsiteX38176" y="connsiteY38176"/>
              </a:cxn>
              <a:cxn ang="0">
                <a:pos x="connsiteX38177" y="connsiteY38177"/>
              </a:cxn>
              <a:cxn ang="0">
                <a:pos x="connsiteX38178" y="connsiteY38178"/>
              </a:cxn>
              <a:cxn ang="0">
                <a:pos x="connsiteX38179" y="connsiteY38179"/>
              </a:cxn>
              <a:cxn ang="0">
                <a:pos x="connsiteX38180" y="connsiteY38180"/>
              </a:cxn>
              <a:cxn ang="0">
                <a:pos x="connsiteX38181" y="connsiteY38181"/>
              </a:cxn>
              <a:cxn ang="0">
                <a:pos x="connsiteX38182" y="connsiteY38182"/>
              </a:cxn>
              <a:cxn ang="0">
                <a:pos x="connsiteX38183" y="connsiteY38183"/>
              </a:cxn>
              <a:cxn ang="0">
                <a:pos x="connsiteX38184" y="connsiteY38184"/>
              </a:cxn>
              <a:cxn ang="0">
                <a:pos x="connsiteX38185" y="connsiteY38185"/>
              </a:cxn>
              <a:cxn ang="0">
                <a:pos x="connsiteX38186" y="connsiteY38186"/>
              </a:cxn>
              <a:cxn ang="0">
                <a:pos x="connsiteX38187" y="connsiteY38187"/>
              </a:cxn>
              <a:cxn ang="0">
                <a:pos x="connsiteX38188" y="connsiteY38188"/>
              </a:cxn>
              <a:cxn ang="0">
                <a:pos x="connsiteX38189" y="connsiteY38189"/>
              </a:cxn>
              <a:cxn ang="0">
                <a:pos x="connsiteX38190" y="connsiteY38190"/>
              </a:cxn>
              <a:cxn ang="0">
                <a:pos x="connsiteX38191" y="connsiteY38191"/>
              </a:cxn>
              <a:cxn ang="0">
                <a:pos x="connsiteX38192" y="connsiteY38192"/>
              </a:cxn>
              <a:cxn ang="0">
                <a:pos x="connsiteX38193" y="connsiteY38193"/>
              </a:cxn>
              <a:cxn ang="0">
                <a:pos x="connsiteX38194" y="connsiteY38194"/>
              </a:cxn>
              <a:cxn ang="0">
                <a:pos x="connsiteX38195" y="connsiteY38195"/>
              </a:cxn>
              <a:cxn ang="0">
                <a:pos x="connsiteX38196" y="connsiteY38196"/>
              </a:cxn>
              <a:cxn ang="0">
                <a:pos x="connsiteX38197" y="connsiteY38197"/>
              </a:cxn>
              <a:cxn ang="0">
                <a:pos x="connsiteX38198" y="connsiteY38198"/>
              </a:cxn>
              <a:cxn ang="0">
                <a:pos x="connsiteX38199" y="connsiteY38199"/>
              </a:cxn>
              <a:cxn ang="0">
                <a:pos x="connsiteX38200" y="connsiteY38200"/>
              </a:cxn>
              <a:cxn ang="0">
                <a:pos x="connsiteX38201" y="connsiteY38201"/>
              </a:cxn>
              <a:cxn ang="0">
                <a:pos x="connsiteX38202" y="connsiteY38202"/>
              </a:cxn>
              <a:cxn ang="0">
                <a:pos x="connsiteX38203" y="connsiteY38203"/>
              </a:cxn>
              <a:cxn ang="0">
                <a:pos x="connsiteX38204" y="connsiteY38204"/>
              </a:cxn>
              <a:cxn ang="0">
                <a:pos x="connsiteX38205" y="connsiteY38205"/>
              </a:cxn>
              <a:cxn ang="0">
                <a:pos x="connsiteX38206" y="connsiteY38206"/>
              </a:cxn>
              <a:cxn ang="0">
                <a:pos x="connsiteX38207" y="connsiteY38207"/>
              </a:cxn>
              <a:cxn ang="0">
                <a:pos x="connsiteX38208" y="connsiteY38208"/>
              </a:cxn>
              <a:cxn ang="0">
                <a:pos x="connsiteX38209" y="connsiteY38209"/>
              </a:cxn>
              <a:cxn ang="0">
                <a:pos x="connsiteX38210" y="connsiteY38210"/>
              </a:cxn>
              <a:cxn ang="0">
                <a:pos x="connsiteX38211" y="connsiteY38211"/>
              </a:cxn>
              <a:cxn ang="0">
                <a:pos x="connsiteX38212" y="connsiteY38212"/>
              </a:cxn>
              <a:cxn ang="0">
                <a:pos x="connsiteX38213" y="connsiteY38213"/>
              </a:cxn>
              <a:cxn ang="0">
                <a:pos x="connsiteX38214" y="connsiteY38214"/>
              </a:cxn>
              <a:cxn ang="0">
                <a:pos x="connsiteX38215" y="connsiteY38215"/>
              </a:cxn>
              <a:cxn ang="0">
                <a:pos x="connsiteX38216" y="connsiteY38216"/>
              </a:cxn>
              <a:cxn ang="0">
                <a:pos x="connsiteX38217" y="connsiteY38217"/>
              </a:cxn>
              <a:cxn ang="0">
                <a:pos x="connsiteX38218" y="connsiteY38218"/>
              </a:cxn>
              <a:cxn ang="0">
                <a:pos x="connsiteX38219" y="connsiteY38219"/>
              </a:cxn>
              <a:cxn ang="0">
                <a:pos x="connsiteX38220" y="connsiteY38220"/>
              </a:cxn>
              <a:cxn ang="0">
                <a:pos x="connsiteX38221" y="connsiteY38221"/>
              </a:cxn>
              <a:cxn ang="0">
                <a:pos x="connsiteX38222" y="connsiteY38222"/>
              </a:cxn>
              <a:cxn ang="0">
                <a:pos x="connsiteX38223" y="connsiteY38223"/>
              </a:cxn>
              <a:cxn ang="0">
                <a:pos x="connsiteX38224" y="connsiteY38224"/>
              </a:cxn>
              <a:cxn ang="0">
                <a:pos x="connsiteX38225" y="connsiteY38225"/>
              </a:cxn>
              <a:cxn ang="0">
                <a:pos x="connsiteX38226" y="connsiteY38226"/>
              </a:cxn>
              <a:cxn ang="0">
                <a:pos x="connsiteX38227" y="connsiteY38227"/>
              </a:cxn>
              <a:cxn ang="0">
                <a:pos x="connsiteX38228" y="connsiteY38228"/>
              </a:cxn>
              <a:cxn ang="0">
                <a:pos x="connsiteX38229" y="connsiteY38229"/>
              </a:cxn>
              <a:cxn ang="0">
                <a:pos x="connsiteX38230" y="connsiteY38230"/>
              </a:cxn>
              <a:cxn ang="0">
                <a:pos x="connsiteX38231" y="connsiteY38231"/>
              </a:cxn>
              <a:cxn ang="0">
                <a:pos x="connsiteX38232" y="connsiteY38232"/>
              </a:cxn>
              <a:cxn ang="0">
                <a:pos x="connsiteX38233" y="connsiteY38233"/>
              </a:cxn>
              <a:cxn ang="0">
                <a:pos x="connsiteX38234" y="connsiteY38234"/>
              </a:cxn>
              <a:cxn ang="0">
                <a:pos x="connsiteX38235" y="connsiteY38235"/>
              </a:cxn>
              <a:cxn ang="0">
                <a:pos x="connsiteX38236" y="connsiteY38236"/>
              </a:cxn>
              <a:cxn ang="0">
                <a:pos x="connsiteX38237" y="connsiteY38237"/>
              </a:cxn>
              <a:cxn ang="0">
                <a:pos x="connsiteX38238" y="connsiteY38238"/>
              </a:cxn>
              <a:cxn ang="0">
                <a:pos x="connsiteX38239" y="connsiteY38239"/>
              </a:cxn>
              <a:cxn ang="0">
                <a:pos x="connsiteX38240" y="connsiteY38240"/>
              </a:cxn>
              <a:cxn ang="0">
                <a:pos x="connsiteX38241" y="connsiteY38241"/>
              </a:cxn>
              <a:cxn ang="0">
                <a:pos x="connsiteX38242" y="connsiteY38242"/>
              </a:cxn>
              <a:cxn ang="0">
                <a:pos x="connsiteX38243" y="connsiteY38243"/>
              </a:cxn>
              <a:cxn ang="0">
                <a:pos x="connsiteX38244" y="connsiteY38244"/>
              </a:cxn>
              <a:cxn ang="0">
                <a:pos x="connsiteX38245" y="connsiteY38245"/>
              </a:cxn>
              <a:cxn ang="0">
                <a:pos x="connsiteX38246" y="connsiteY38246"/>
              </a:cxn>
              <a:cxn ang="0">
                <a:pos x="connsiteX38247" y="connsiteY38247"/>
              </a:cxn>
              <a:cxn ang="0">
                <a:pos x="connsiteX38248" y="connsiteY38248"/>
              </a:cxn>
              <a:cxn ang="0">
                <a:pos x="connsiteX38249" y="connsiteY38249"/>
              </a:cxn>
              <a:cxn ang="0">
                <a:pos x="connsiteX38250" y="connsiteY38250"/>
              </a:cxn>
              <a:cxn ang="0">
                <a:pos x="connsiteX38251" y="connsiteY38251"/>
              </a:cxn>
              <a:cxn ang="0">
                <a:pos x="connsiteX38252" y="connsiteY38252"/>
              </a:cxn>
              <a:cxn ang="0">
                <a:pos x="connsiteX38253" y="connsiteY38253"/>
              </a:cxn>
              <a:cxn ang="0">
                <a:pos x="connsiteX38254" y="connsiteY38254"/>
              </a:cxn>
              <a:cxn ang="0">
                <a:pos x="connsiteX38255" y="connsiteY38255"/>
              </a:cxn>
              <a:cxn ang="0">
                <a:pos x="connsiteX38256" y="connsiteY38256"/>
              </a:cxn>
              <a:cxn ang="0">
                <a:pos x="connsiteX38257" y="connsiteY38257"/>
              </a:cxn>
              <a:cxn ang="0">
                <a:pos x="connsiteX38258" y="connsiteY38258"/>
              </a:cxn>
              <a:cxn ang="0">
                <a:pos x="connsiteX38259" y="connsiteY38259"/>
              </a:cxn>
              <a:cxn ang="0">
                <a:pos x="connsiteX38260" y="connsiteY38260"/>
              </a:cxn>
              <a:cxn ang="0">
                <a:pos x="connsiteX38261" y="connsiteY38261"/>
              </a:cxn>
              <a:cxn ang="0">
                <a:pos x="connsiteX38262" y="connsiteY38262"/>
              </a:cxn>
              <a:cxn ang="0">
                <a:pos x="connsiteX38263" y="connsiteY38263"/>
              </a:cxn>
              <a:cxn ang="0">
                <a:pos x="connsiteX38264" y="connsiteY38264"/>
              </a:cxn>
              <a:cxn ang="0">
                <a:pos x="connsiteX38265" y="connsiteY38265"/>
              </a:cxn>
              <a:cxn ang="0">
                <a:pos x="connsiteX38266" y="connsiteY38266"/>
              </a:cxn>
              <a:cxn ang="0">
                <a:pos x="connsiteX38267" y="connsiteY38267"/>
              </a:cxn>
              <a:cxn ang="0">
                <a:pos x="connsiteX38268" y="connsiteY38268"/>
              </a:cxn>
              <a:cxn ang="0">
                <a:pos x="connsiteX38269" y="connsiteY38269"/>
              </a:cxn>
              <a:cxn ang="0">
                <a:pos x="connsiteX38270" y="connsiteY38270"/>
              </a:cxn>
              <a:cxn ang="0">
                <a:pos x="connsiteX38271" y="connsiteY38271"/>
              </a:cxn>
              <a:cxn ang="0">
                <a:pos x="connsiteX38272" y="connsiteY38272"/>
              </a:cxn>
              <a:cxn ang="0">
                <a:pos x="connsiteX38273" y="connsiteY38273"/>
              </a:cxn>
              <a:cxn ang="0">
                <a:pos x="connsiteX38274" y="connsiteY38274"/>
              </a:cxn>
              <a:cxn ang="0">
                <a:pos x="connsiteX38275" y="connsiteY38275"/>
              </a:cxn>
              <a:cxn ang="0">
                <a:pos x="connsiteX38276" y="connsiteY38276"/>
              </a:cxn>
              <a:cxn ang="0">
                <a:pos x="connsiteX38277" y="connsiteY38277"/>
              </a:cxn>
              <a:cxn ang="0">
                <a:pos x="connsiteX38278" y="connsiteY38278"/>
              </a:cxn>
              <a:cxn ang="0">
                <a:pos x="connsiteX38279" y="connsiteY38279"/>
              </a:cxn>
              <a:cxn ang="0">
                <a:pos x="connsiteX38280" y="connsiteY38280"/>
              </a:cxn>
              <a:cxn ang="0">
                <a:pos x="connsiteX38281" y="connsiteY38281"/>
              </a:cxn>
              <a:cxn ang="0">
                <a:pos x="connsiteX38282" y="connsiteY38282"/>
              </a:cxn>
              <a:cxn ang="0">
                <a:pos x="connsiteX38283" y="connsiteY38283"/>
              </a:cxn>
              <a:cxn ang="0">
                <a:pos x="connsiteX38284" y="connsiteY38284"/>
              </a:cxn>
              <a:cxn ang="0">
                <a:pos x="connsiteX38285" y="connsiteY38285"/>
              </a:cxn>
              <a:cxn ang="0">
                <a:pos x="connsiteX38286" y="connsiteY38286"/>
              </a:cxn>
              <a:cxn ang="0">
                <a:pos x="connsiteX38287" y="connsiteY38287"/>
              </a:cxn>
              <a:cxn ang="0">
                <a:pos x="connsiteX38288" y="connsiteY38288"/>
              </a:cxn>
              <a:cxn ang="0">
                <a:pos x="connsiteX38289" y="connsiteY38289"/>
              </a:cxn>
              <a:cxn ang="0">
                <a:pos x="connsiteX38290" y="connsiteY38290"/>
              </a:cxn>
              <a:cxn ang="0">
                <a:pos x="connsiteX38291" y="connsiteY38291"/>
              </a:cxn>
              <a:cxn ang="0">
                <a:pos x="connsiteX38292" y="connsiteY38292"/>
              </a:cxn>
              <a:cxn ang="0">
                <a:pos x="connsiteX38293" y="connsiteY38293"/>
              </a:cxn>
              <a:cxn ang="0">
                <a:pos x="connsiteX38294" y="connsiteY38294"/>
              </a:cxn>
              <a:cxn ang="0">
                <a:pos x="connsiteX38295" y="connsiteY38295"/>
              </a:cxn>
              <a:cxn ang="0">
                <a:pos x="connsiteX38296" y="connsiteY38296"/>
              </a:cxn>
              <a:cxn ang="0">
                <a:pos x="connsiteX38297" y="connsiteY38297"/>
              </a:cxn>
              <a:cxn ang="0">
                <a:pos x="connsiteX38298" y="connsiteY38298"/>
              </a:cxn>
              <a:cxn ang="0">
                <a:pos x="connsiteX38299" y="connsiteY38299"/>
              </a:cxn>
              <a:cxn ang="0">
                <a:pos x="connsiteX38300" y="connsiteY38300"/>
              </a:cxn>
              <a:cxn ang="0">
                <a:pos x="connsiteX38301" y="connsiteY38301"/>
              </a:cxn>
              <a:cxn ang="0">
                <a:pos x="connsiteX38302" y="connsiteY38302"/>
              </a:cxn>
              <a:cxn ang="0">
                <a:pos x="connsiteX38303" y="connsiteY38303"/>
              </a:cxn>
              <a:cxn ang="0">
                <a:pos x="connsiteX38304" y="connsiteY38304"/>
              </a:cxn>
              <a:cxn ang="0">
                <a:pos x="connsiteX38305" y="connsiteY38305"/>
              </a:cxn>
              <a:cxn ang="0">
                <a:pos x="connsiteX38306" y="connsiteY38306"/>
              </a:cxn>
              <a:cxn ang="0">
                <a:pos x="connsiteX38307" y="connsiteY38307"/>
              </a:cxn>
              <a:cxn ang="0">
                <a:pos x="connsiteX38308" y="connsiteY38308"/>
              </a:cxn>
              <a:cxn ang="0">
                <a:pos x="connsiteX38309" y="connsiteY38309"/>
              </a:cxn>
              <a:cxn ang="0">
                <a:pos x="connsiteX38310" y="connsiteY38310"/>
              </a:cxn>
              <a:cxn ang="0">
                <a:pos x="connsiteX38311" y="connsiteY38311"/>
              </a:cxn>
              <a:cxn ang="0">
                <a:pos x="connsiteX38312" y="connsiteY38312"/>
              </a:cxn>
              <a:cxn ang="0">
                <a:pos x="connsiteX38313" y="connsiteY38313"/>
              </a:cxn>
              <a:cxn ang="0">
                <a:pos x="connsiteX38314" y="connsiteY38314"/>
              </a:cxn>
              <a:cxn ang="0">
                <a:pos x="connsiteX38315" y="connsiteY38315"/>
              </a:cxn>
              <a:cxn ang="0">
                <a:pos x="connsiteX38316" y="connsiteY38316"/>
              </a:cxn>
              <a:cxn ang="0">
                <a:pos x="connsiteX38317" y="connsiteY38317"/>
              </a:cxn>
              <a:cxn ang="0">
                <a:pos x="connsiteX38318" y="connsiteY38318"/>
              </a:cxn>
              <a:cxn ang="0">
                <a:pos x="connsiteX38319" y="connsiteY38319"/>
              </a:cxn>
              <a:cxn ang="0">
                <a:pos x="connsiteX38320" y="connsiteY38320"/>
              </a:cxn>
              <a:cxn ang="0">
                <a:pos x="connsiteX38321" y="connsiteY38321"/>
              </a:cxn>
              <a:cxn ang="0">
                <a:pos x="connsiteX38322" y="connsiteY38322"/>
              </a:cxn>
              <a:cxn ang="0">
                <a:pos x="connsiteX38323" y="connsiteY38323"/>
              </a:cxn>
              <a:cxn ang="0">
                <a:pos x="connsiteX38324" y="connsiteY38324"/>
              </a:cxn>
              <a:cxn ang="0">
                <a:pos x="connsiteX38325" y="connsiteY38325"/>
              </a:cxn>
              <a:cxn ang="0">
                <a:pos x="connsiteX38326" y="connsiteY38326"/>
              </a:cxn>
              <a:cxn ang="0">
                <a:pos x="connsiteX38327" y="connsiteY38327"/>
              </a:cxn>
              <a:cxn ang="0">
                <a:pos x="connsiteX38328" y="connsiteY38328"/>
              </a:cxn>
              <a:cxn ang="0">
                <a:pos x="connsiteX38329" y="connsiteY38329"/>
              </a:cxn>
              <a:cxn ang="0">
                <a:pos x="connsiteX38330" y="connsiteY38330"/>
              </a:cxn>
              <a:cxn ang="0">
                <a:pos x="connsiteX38331" y="connsiteY38331"/>
              </a:cxn>
              <a:cxn ang="0">
                <a:pos x="connsiteX38332" y="connsiteY38332"/>
              </a:cxn>
              <a:cxn ang="0">
                <a:pos x="connsiteX38333" y="connsiteY38333"/>
              </a:cxn>
              <a:cxn ang="0">
                <a:pos x="connsiteX38334" y="connsiteY38334"/>
              </a:cxn>
              <a:cxn ang="0">
                <a:pos x="connsiteX38335" y="connsiteY38335"/>
              </a:cxn>
              <a:cxn ang="0">
                <a:pos x="connsiteX38336" y="connsiteY38336"/>
              </a:cxn>
              <a:cxn ang="0">
                <a:pos x="connsiteX38337" y="connsiteY38337"/>
              </a:cxn>
              <a:cxn ang="0">
                <a:pos x="connsiteX38338" y="connsiteY38338"/>
              </a:cxn>
              <a:cxn ang="0">
                <a:pos x="connsiteX38339" y="connsiteY38339"/>
              </a:cxn>
              <a:cxn ang="0">
                <a:pos x="connsiteX38340" y="connsiteY38340"/>
              </a:cxn>
              <a:cxn ang="0">
                <a:pos x="connsiteX38341" y="connsiteY38341"/>
              </a:cxn>
              <a:cxn ang="0">
                <a:pos x="connsiteX38342" y="connsiteY38342"/>
              </a:cxn>
              <a:cxn ang="0">
                <a:pos x="connsiteX38343" y="connsiteY38343"/>
              </a:cxn>
              <a:cxn ang="0">
                <a:pos x="connsiteX38344" y="connsiteY38344"/>
              </a:cxn>
              <a:cxn ang="0">
                <a:pos x="connsiteX38345" y="connsiteY38345"/>
              </a:cxn>
              <a:cxn ang="0">
                <a:pos x="connsiteX38346" y="connsiteY38346"/>
              </a:cxn>
              <a:cxn ang="0">
                <a:pos x="connsiteX38347" y="connsiteY38347"/>
              </a:cxn>
              <a:cxn ang="0">
                <a:pos x="connsiteX38348" y="connsiteY38348"/>
              </a:cxn>
              <a:cxn ang="0">
                <a:pos x="connsiteX38349" y="connsiteY38349"/>
              </a:cxn>
              <a:cxn ang="0">
                <a:pos x="connsiteX38350" y="connsiteY38350"/>
              </a:cxn>
              <a:cxn ang="0">
                <a:pos x="connsiteX38351" y="connsiteY38351"/>
              </a:cxn>
              <a:cxn ang="0">
                <a:pos x="connsiteX38352" y="connsiteY38352"/>
              </a:cxn>
              <a:cxn ang="0">
                <a:pos x="connsiteX38353" y="connsiteY38353"/>
              </a:cxn>
              <a:cxn ang="0">
                <a:pos x="connsiteX38354" y="connsiteY38354"/>
              </a:cxn>
              <a:cxn ang="0">
                <a:pos x="connsiteX38355" y="connsiteY38355"/>
              </a:cxn>
              <a:cxn ang="0">
                <a:pos x="connsiteX38356" y="connsiteY38356"/>
              </a:cxn>
              <a:cxn ang="0">
                <a:pos x="connsiteX38357" y="connsiteY38357"/>
              </a:cxn>
              <a:cxn ang="0">
                <a:pos x="connsiteX38358" y="connsiteY38358"/>
              </a:cxn>
              <a:cxn ang="0">
                <a:pos x="connsiteX38359" y="connsiteY38359"/>
              </a:cxn>
              <a:cxn ang="0">
                <a:pos x="connsiteX38360" y="connsiteY38360"/>
              </a:cxn>
              <a:cxn ang="0">
                <a:pos x="connsiteX38361" y="connsiteY38361"/>
              </a:cxn>
              <a:cxn ang="0">
                <a:pos x="connsiteX38362" y="connsiteY38362"/>
              </a:cxn>
              <a:cxn ang="0">
                <a:pos x="connsiteX38363" y="connsiteY38363"/>
              </a:cxn>
              <a:cxn ang="0">
                <a:pos x="connsiteX38364" y="connsiteY38364"/>
              </a:cxn>
              <a:cxn ang="0">
                <a:pos x="connsiteX38365" y="connsiteY38365"/>
              </a:cxn>
              <a:cxn ang="0">
                <a:pos x="connsiteX38366" y="connsiteY38366"/>
              </a:cxn>
              <a:cxn ang="0">
                <a:pos x="connsiteX38367" y="connsiteY38367"/>
              </a:cxn>
              <a:cxn ang="0">
                <a:pos x="connsiteX38368" y="connsiteY38368"/>
              </a:cxn>
              <a:cxn ang="0">
                <a:pos x="connsiteX38369" y="connsiteY38369"/>
              </a:cxn>
              <a:cxn ang="0">
                <a:pos x="connsiteX38370" y="connsiteY38370"/>
              </a:cxn>
              <a:cxn ang="0">
                <a:pos x="connsiteX38371" y="connsiteY38371"/>
              </a:cxn>
              <a:cxn ang="0">
                <a:pos x="connsiteX38372" y="connsiteY38372"/>
              </a:cxn>
              <a:cxn ang="0">
                <a:pos x="connsiteX38373" y="connsiteY38373"/>
              </a:cxn>
              <a:cxn ang="0">
                <a:pos x="connsiteX38374" y="connsiteY38374"/>
              </a:cxn>
              <a:cxn ang="0">
                <a:pos x="connsiteX38375" y="connsiteY38375"/>
              </a:cxn>
              <a:cxn ang="0">
                <a:pos x="connsiteX38376" y="connsiteY38376"/>
              </a:cxn>
              <a:cxn ang="0">
                <a:pos x="connsiteX38377" y="connsiteY38377"/>
              </a:cxn>
              <a:cxn ang="0">
                <a:pos x="connsiteX38378" y="connsiteY38378"/>
              </a:cxn>
              <a:cxn ang="0">
                <a:pos x="connsiteX38379" y="connsiteY38379"/>
              </a:cxn>
              <a:cxn ang="0">
                <a:pos x="connsiteX38380" y="connsiteY38380"/>
              </a:cxn>
              <a:cxn ang="0">
                <a:pos x="connsiteX38381" y="connsiteY38381"/>
              </a:cxn>
              <a:cxn ang="0">
                <a:pos x="connsiteX38382" y="connsiteY38382"/>
              </a:cxn>
              <a:cxn ang="0">
                <a:pos x="connsiteX38383" y="connsiteY38383"/>
              </a:cxn>
              <a:cxn ang="0">
                <a:pos x="connsiteX38384" y="connsiteY38384"/>
              </a:cxn>
              <a:cxn ang="0">
                <a:pos x="connsiteX38385" y="connsiteY38385"/>
              </a:cxn>
              <a:cxn ang="0">
                <a:pos x="connsiteX38386" y="connsiteY38386"/>
              </a:cxn>
              <a:cxn ang="0">
                <a:pos x="connsiteX38387" y="connsiteY38387"/>
              </a:cxn>
              <a:cxn ang="0">
                <a:pos x="connsiteX38388" y="connsiteY38388"/>
              </a:cxn>
              <a:cxn ang="0">
                <a:pos x="connsiteX38389" y="connsiteY38389"/>
              </a:cxn>
              <a:cxn ang="0">
                <a:pos x="connsiteX38390" y="connsiteY38390"/>
              </a:cxn>
              <a:cxn ang="0">
                <a:pos x="connsiteX38391" y="connsiteY38391"/>
              </a:cxn>
              <a:cxn ang="0">
                <a:pos x="connsiteX38392" y="connsiteY38392"/>
              </a:cxn>
              <a:cxn ang="0">
                <a:pos x="connsiteX38393" y="connsiteY38393"/>
              </a:cxn>
              <a:cxn ang="0">
                <a:pos x="connsiteX38394" y="connsiteY38394"/>
              </a:cxn>
              <a:cxn ang="0">
                <a:pos x="connsiteX38395" y="connsiteY38395"/>
              </a:cxn>
              <a:cxn ang="0">
                <a:pos x="connsiteX38396" y="connsiteY38396"/>
              </a:cxn>
              <a:cxn ang="0">
                <a:pos x="connsiteX38397" y="connsiteY38397"/>
              </a:cxn>
              <a:cxn ang="0">
                <a:pos x="connsiteX38398" y="connsiteY38398"/>
              </a:cxn>
              <a:cxn ang="0">
                <a:pos x="connsiteX38399" y="connsiteY38399"/>
              </a:cxn>
              <a:cxn ang="0">
                <a:pos x="connsiteX38400" y="connsiteY38400"/>
              </a:cxn>
              <a:cxn ang="0">
                <a:pos x="connsiteX38401" y="connsiteY38401"/>
              </a:cxn>
              <a:cxn ang="0">
                <a:pos x="connsiteX38402" y="connsiteY38402"/>
              </a:cxn>
              <a:cxn ang="0">
                <a:pos x="connsiteX38403" y="connsiteY38403"/>
              </a:cxn>
              <a:cxn ang="0">
                <a:pos x="connsiteX38404" y="connsiteY38404"/>
              </a:cxn>
              <a:cxn ang="0">
                <a:pos x="connsiteX38405" y="connsiteY38405"/>
              </a:cxn>
              <a:cxn ang="0">
                <a:pos x="connsiteX38406" y="connsiteY38406"/>
              </a:cxn>
              <a:cxn ang="0">
                <a:pos x="connsiteX38407" y="connsiteY38407"/>
              </a:cxn>
              <a:cxn ang="0">
                <a:pos x="connsiteX38408" y="connsiteY38408"/>
              </a:cxn>
              <a:cxn ang="0">
                <a:pos x="connsiteX38409" y="connsiteY38409"/>
              </a:cxn>
              <a:cxn ang="0">
                <a:pos x="connsiteX38410" y="connsiteY38410"/>
              </a:cxn>
              <a:cxn ang="0">
                <a:pos x="connsiteX38411" y="connsiteY38411"/>
              </a:cxn>
              <a:cxn ang="0">
                <a:pos x="connsiteX38412" y="connsiteY38412"/>
              </a:cxn>
              <a:cxn ang="0">
                <a:pos x="connsiteX38413" y="connsiteY38413"/>
              </a:cxn>
              <a:cxn ang="0">
                <a:pos x="connsiteX38414" y="connsiteY38414"/>
              </a:cxn>
              <a:cxn ang="0">
                <a:pos x="connsiteX38415" y="connsiteY38415"/>
              </a:cxn>
              <a:cxn ang="0">
                <a:pos x="connsiteX38416" y="connsiteY38416"/>
              </a:cxn>
              <a:cxn ang="0">
                <a:pos x="connsiteX38417" y="connsiteY38417"/>
              </a:cxn>
              <a:cxn ang="0">
                <a:pos x="connsiteX38418" y="connsiteY38418"/>
              </a:cxn>
              <a:cxn ang="0">
                <a:pos x="connsiteX38419" y="connsiteY38419"/>
              </a:cxn>
              <a:cxn ang="0">
                <a:pos x="connsiteX38420" y="connsiteY38420"/>
              </a:cxn>
              <a:cxn ang="0">
                <a:pos x="connsiteX38421" y="connsiteY38421"/>
              </a:cxn>
              <a:cxn ang="0">
                <a:pos x="connsiteX38422" y="connsiteY38422"/>
              </a:cxn>
              <a:cxn ang="0">
                <a:pos x="connsiteX38423" y="connsiteY38423"/>
              </a:cxn>
              <a:cxn ang="0">
                <a:pos x="connsiteX38424" y="connsiteY38424"/>
              </a:cxn>
              <a:cxn ang="0">
                <a:pos x="connsiteX38425" y="connsiteY38425"/>
              </a:cxn>
              <a:cxn ang="0">
                <a:pos x="connsiteX38426" y="connsiteY38426"/>
              </a:cxn>
              <a:cxn ang="0">
                <a:pos x="connsiteX38427" y="connsiteY38427"/>
              </a:cxn>
              <a:cxn ang="0">
                <a:pos x="connsiteX38428" y="connsiteY38428"/>
              </a:cxn>
              <a:cxn ang="0">
                <a:pos x="connsiteX38429" y="connsiteY38429"/>
              </a:cxn>
              <a:cxn ang="0">
                <a:pos x="connsiteX38430" y="connsiteY38430"/>
              </a:cxn>
              <a:cxn ang="0">
                <a:pos x="connsiteX38431" y="connsiteY38431"/>
              </a:cxn>
              <a:cxn ang="0">
                <a:pos x="connsiteX38432" y="connsiteY38432"/>
              </a:cxn>
              <a:cxn ang="0">
                <a:pos x="connsiteX38433" y="connsiteY38433"/>
              </a:cxn>
              <a:cxn ang="0">
                <a:pos x="connsiteX38434" y="connsiteY38434"/>
              </a:cxn>
              <a:cxn ang="0">
                <a:pos x="connsiteX38435" y="connsiteY38435"/>
              </a:cxn>
              <a:cxn ang="0">
                <a:pos x="connsiteX38436" y="connsiteY38436"/>
              </a:cxn>
              <a:cxn ang="0">
                <a:pos x="connsiteX38437" y="connsiteY38437"/>
              </a:cxn>
              <a:cxn ang="0">
                <a:pos x="connsiteX38438" y="connsiteY38438"/>
              </a:cxn>
              <a:cxn ang="0">
                <a:pos x="connsiteX38439" y="connsiteY38439"/>
              </a:cxn>
              <a:cxn ang="0">
                <a:pos x="connsiteX38440" y="connsiteY38440"/>
              </a:cxn>
              <a:cxn ang="0">
                <a:pos x="connsiteX38441" y="connsiteY38441"/>
              </a:cxn>
              <a:cxn ang="0">
                <a:pos x="connsiteX38442" y="connsiteY38442"/>
              </a:cxn>
              <a:cxn ang="0">
                <a:pos x="connsiteX38443" y="connsiteY38443"/>
              </a:cxn>
              <a:cxn ang="0">
                <a:pos x="connsiteX38444" y="connsiteY38444"/>
              </a:cxn>
              <a:cxn ang="0">
                <a:pos x="connsiteX38445" y="connsiteY38445"/>
              </a:cxn>
              <a:cxn ang="0">
                <a:pos x="connsiteX38446" y="connsiteY38446"/>
              </a:cxn>
              <a:cxn ang="0">
                <a:pos x="connsiteX38447" y="connsiteY38447"/>
              </a:cxn>
              <a:cxn ang="0">
                <a:pos x="connsiteX38448" y="connsiteY38448"/>
              </a:cxn>
              <a:cxn ang="0">
                <a:pos x="connsiteX38449" y="connsiteY38449"/>
              </a:cxn>
              <a:cxn ang="0">
                <a:pos x="connsiteX38450" y="connsiteY38450"/>
              </a:cxn>
              <a:cxn ang="0">
                <a:pos x="connsiteX38451" y="connsiteY38451"/>
              </a:cxn>
              <a:cxn ang="0">
                <a:pos x="connsiteX38452" y="connsiteY38452"/>
              </a:cxn>
              <a:cxn ang="0">
                <a:pos x="connsiteX38453" y="connsiteY38453"/>
              </a:cxn>
              <a:cxn ang="0">
                <a:pos x="connsiteX38454" y="connsiteY38454"/>
              </a:cxn>
              <a:cxn ang="0">
                <a:pos x="connsiteX38455" y="connsiteY38455"/>
              </a:cxn>
              <a:cxn ang="0">
                <a:pos x="connsiteX38456" y="connsiteY38456"/>
              </a:cxn>
              <a:cxn ang="0">
                <a:pos x="connsiteX38457" y="connsiteY38457"/>
              </a:cxn>
              <a:cxn ang="0">
                <a:pos x="connsiteX38458" y="connsiteY38458"/>
              </a:cxn>
              <a:cxn ang="0">
                <a:pos x="connsiteX38459" y="connsiteY38459"/>
              </a:cxn>
              <a:cxn ang="0">
                <a:pos x="connsiteX38460" y="connsiteY38460"/>
              </a:cxn>
              <a:cxn ang="0">
                <a:pos x="connsiteX38461" y="connsiteY38461"/>
              </a:cxn>
              <a:cxn ang="0">
                <a:pos x="connsiteX38462" y="connsiteY38462"/>
              </a:cxn>
              <a:cxn ang="0">
                <a:pos x="connsiteX38463" y="connsiteY38463"/>
              </a:cxn>
              <a:cxn ang="0">
                <a:pos x="connsiteX38464" y="connsiteY38464"/>
              </a:cxn>
              <a:cxn ang="0">
                <a:pos x="connsiteX38465" y="connsiteY38465"/>
              </a:cxn>
              <a:cxn ang="0">
                <a:pos x="connsiteX38466" y="connsiteY38466"/>
              </a:cxn>
              <a:cxn ang="0">
                <a:pos x="connsiteX38467" y="connsiteY38467"/>
              </a:cxn>
              <a:cxn ang="0">
                <a:pos x="connsiteX38468" y="connsiteY38468"/>
              </a:cxn>
              <a:cxn ang="0">
                <a:pos x="connsiteX38469" y="connsiteY38469"/>
              </a:cxn>
              <a:cxn ang="0">
                <a:pos x="connsiteX38470" y="connsiteY38470"/>
              </a:cxn>
              <a:cxn ang="0">
                <a:pos x="connsiteX38471" y="connsiteY38471"/>
              </a:cxn>
              <a:cxn ang="0">
                <a:pos x="connsiteX38472" y="connsiteY38472"/>
              </a:cxn>
              <a:cxn ang="0">
                <a:pos x="connsiteX38473" y="connsiteY38473"/>
              </a:cxn>
              <a:cxn ang="0">
                <a:pos x="connsiteX38474" y="connsiteY38474"/>
              </a:cxn>
              <a:cxn ang="0">
                <a:pos x="connsiteX38475" y="connsiteY38475"/>
              </a:cxn>
              <a:cxn ang="0">
                <a:pos x="connsiteX38476" y="connsiteY38476"/>
              </a:cxn>
              <a:cxn ang="0">
                <a:pos x="connsiteX38477" y="connsiteY38477"/>
              </a:cxn>
              <a:cxn ang="0">
                <a:pos x="connsiteX38478" y="connsiteY38478"/>
              </a:cxn>
              <a:cxn ang="0">
                <a:pos x="connsiteX38479" y="connsiteY38479"/>
              </a:cxn>
              <a:cxn ang="0">
                <a:pos x="connsiteX38480" y="connsiteY38480"/>
              </a:cxn>
              <a:cxn ang="0">
                <a:pos x="connsiteX38481" y="connsiteY38481"/>
              </a:cxn>
              <a:cxn ang="0">
                <a:pos x="connsiteX38482" y="connsiteY38482"/>
              </a:cxn>
              <a:cxn ang="0">
                <a:pos x="connsiteX38483" y="connsiteY38483"/>
              </a:cxn>
              <a:cxn ang="0">
                <a:pos x="connsiteX38484" y="connsiteY38484"/>
              </a:cxn>
              <a:cxn ang="0">
                <a:pos x="connsiteX38485" y="connsiteY38485"/>
              </a:cxn>
              <a:cxn ang="0">
                <a:pos x="connsiteX38486" y="connsiteY38486"/>
              </a:cxn>
              <a:cxn ang="0">
                <a:pos x="connsiteX38487" y="connsiteY38487"/>
              </a:cxn>
              <a:cxn ang="0">
                <a:pos x="connsiteX38488" y="connsiteY38488"/>
              </a:cxn>
              <a:cxn ang="0">
                <a:pos x="connsiteX38489" y="connsiteY38489"/>
              </a:cxn>
              <a:cxn ang="0">
                <a:pos x="connsiteX38490" y="connsiteY38490"/>
              </a:cxn>
              <a:cxn ang="0">
                <a:pos x="connsiteX38491" y="connsiteY38491"/>
              </a:cxn>
              <a:cxn ang="0">
                <a:pos x="connsiteX38492" y="connsiteY38492"/>
              </a:cxn>
              <a:cxn ang="0">
                <a:pos x="connsiteX38493" y="connsiteY38493"/>
              </a:cxn>
              <a:cxn ang="0">
                <a:pos x="connsiteX38494" y="connsiteY38494"/>
              </a:cxn>
              <a:cxn ang="0">
                <a:pos x="connsiteX38495" y="connsiteY38495"/>
              </a:cxn>
              <a:cxn ang="0">
                <a:pos x="connsiteX38496" y="connsiteY38496"/>
              </a:cxn>
              <a:cxn ang="0">
                <a:pos x="connsiteX38497" y="connsiteY38497"/>
              </a:cxn>
              <a:cxn ang="0">
                <a:pos x="connsiteX38498" y="connsiteY38498"/>
              </a:cxn>
              <a:cxn ang="0">
                <a:pos x="connsiteX38499" y="connsiteY38499"/>
              </a:cxn>
              <a:cxn ang="0">
                <a:pos x="connsiteX38500" y="connsiteY38500"/>
              </a:cxn>
              <a:cxn ang="0">
                <a:pos x="connsiteX38501" y="connsiteY38501"/>
              </a:cxn>
              <a:cxn ang="0">
                <a:pos x="connsiteX38502" y="connsiteY38502"/>
              </a:cxn>
              <a:cxn ang="0">
                <a:pos x="connsiteX38503" y="connsiteY38503"/>
              </a:cxn>
              <a:cxn ang="0">
                <a:pos x="connsiteX38504" y="connsiteY38504"/>
              </a:cxn>
              <a:cxn ang="0">
                <a:pos x="connsiteX38505" y="connsiteY38505"/>
              </a:cxn>
              <a:cxn ang="0">
                <a:pos x="connsiteX38506" y="connsiteY38506"/>
              </a:cxn>
              <a:cxn ang="0">
                <a:pos x="connsiteX38507" y="connsiteY38507"/>
              </a:cxn>
              <a:cxn ang="0">
                <a:pos x="connsiteX38508" y="connsiteY38508"/>
              </a:cxn>
              <a:cxn ang="0">
                <a:pos x="connsiteX38509" y="connsiteY38509"/>
              </a:cxn>
              <a:cxn ang="0">
                <a:pos x="connsiteX38510" y="connsiteY38510"/>
              </a:cxn>
              <a:cxn ang="0">
                <a:pos x="connsiteX38511" y="connsiteY38511"/>
              </a:cxn>
              <a:cxn ang="0">
                <a:pos x="connsiteX38512" y="connsiteY38512"/>
              </a:cxn>
              <a:cxn ang="0">
                <a:pos x="connsiteX38513" y="connsiteY38513"/>
              </a:cxn>
              <a:cxn ang="0">
                <a:pos x="connsiteX38514" y="connsiteY38514"/>
              </a:cxn>
              <a:cxn ang="0">
                <a:pos x="connsiteX38515" y="connsiteY38515"/>
              </a:cxn>
              <a:cxn ang="0">
                <a:pos x="connsiteX38516" y="connsiteY38516"/>
              </a:cxn>
              <a:cxn ang="0">
                <a:pos x="connsiteX38517" y="connsiteY38517"/>
              </a:cxn>
              <a:cxn ang="0">
                <a:pos x="connsiteX38518" y="connsiteY38518"/>
              </a:cxn>
              <a:cxn ang="0">
                <a:pos x="connsiteX38519" y="connsiteY38519"/>
              </a:cxn>
              <a:cxn ang="0">
                <a:pos x="connsiteX38520" y="connsiteY38520"/>
              </a:cxn>
              <a:cxn ang="0">
                <a:pos x="connsiteX38521" y="connsiteY38521"/>
              </a:cxn>
              <a:cxn ang="0">
                <a:pos x="connsiteX38522" y="connsiteY38522"/>
              </a:cxn>
              <a:cxn ang="0">
                <a:pos x="connsiteX38523" y="connsiteY38523"/>
              </a:cxn>
              <a:cxn ang="0">
                <a:pos x="connsiteX38524" y="connsiteY38524"/>
              </a:cxn>
              <a:cxn ang="0">
                <a:pos x="connsiteX38525" y="connsiteY38525"/>
              </a:cxn>
              <a:cxn ang="0">
                <a:pos x="connsiteX38526" y="connsiteY38526"/>
              </a:cxn>
              <a:cxn ang="0">
                <a:pos x="connsiteX38527" y="connsiteY38527"/>
              </a:cxn>
              <a:cxn ang="0">
                <a:pos x="connsiteX38528" y="connsiteY38528"/>
              </a:cxn>
              <a:cxn ang="0">
                <a:pos x="connsiteX38529" y="connsiteY38529"/>
              </a:cxn>
              <a:cxn ang="0">
                <a:pos x="connsiteX38530" y="connsiteY38530"/>
              </a:cxn>
              <a:cxn ang="0">
                <a:pos x="connsiteX38531" y="connsiteY38531"/>
              </a:cxn>
              <a:cxn ang="0">
                <a:pos x="connsiteX38532" y="connsiteY38532"/>
              </a:cxn>
              <a:cxn ang="0">
                <a:pos x="connsiteX38533" y="connsiteY38533"/>
              </a:cxn>
              <a:cxn ang="0">
                <a:pos x="connsiteX38534" y="connsiteY38534"/>
              </a:cxn>
              <a:cxn ang="0">
                <a:pos x="connsiteX38535" y="connsiteY38535"/>
              </a:cxn>
              <a:cxn ang="0">
                <a:pos x="connsiteX38536" y="connsiteY38536"/>
              </a:cxn>
              <a:cxn ang="0">
                <a:pos x="connsiteX38537" y="connsiteY38537"/>
              </a:cxn>
              <a:cxn ang="0">
                <a:pos x="connsiteX38538" y="connsiteY38538"/>
              </a:cxn>
              <a:cxn ang="0">
                <a:pos x="connsiteX38539" y="connsiteY38539"/>
              </a:cxn>
              <a:cxn ang="0">
                <a:pos x="connsiteX38540" y="connsiteY38540"/>
              </a:cxn>
              <a:cxn ang="0">
                <a:pos x="connsiteX38541" y="connsiteY38541"/>
              </a:cxn>
              <a:cxn ang="0">
                <a:pos x="connsiteX38542" y="connsiteY38542"/>
              </a:cxn>
              <a:cxn ang="0">
                <a:pos x="connsiteX38543" y="connsiteY38543"/>
              </a:cxn>
              <a:cxn ang="0">
                <a:pos x="connsiteX38544" y="connsiteY38544"/>
              </a:cxn>
              <a:cxn ang="0">
                <a:pos x="connsiteX38545" y="connsiteY38545"/>
              </a:cxn>
              <a:cxn ang="0">
                <a:pos x="connsiteX38546" y="connsiteY38546"/>
              </a:cxn>
              <a:cxn ang="0">
                <a:pos x="connsiteX38547" y="connsiteY38547"/>
              </a:cxn>
              <a:cxn ang="0">
                <a:pos x="connsiteX38548" y="connsiteY38548"/>
              </a:cxn>
              <a:cxn ang="0">
                <a:pos x="connsiteX38549" y="connsiteY38549"/>
              </a:cxn>
              <a:cxn ang="0">
                <a:pos x="connsiteX38550" y="connsiteY38550"/>
              </a:cxn>
              <a:cxn ang="0">
                <a:pos x="connsiteX38551" y="connsiteY38551"/>
              </a:cxn>
              <a:cxn ang="0">
                <a:pos x="connsiteX38552" y="connsiteY38552"/>
              </a:cxn>
              <a:cxn ang="0">
                <a:pos x="connsiteX38553" y="connsiteY38553"/>
              </a:cxn>
              <a:cxn ang="0">
                <a:pos x="connsiteX38554" y="connsiteY38554"/>
              </a:cxn>
              <a:cxn ang="0">
                <a:pos x="connsiteX38555" y="connsiteY38555"/>
              </a:cxn>
              <a:cxn ang="0">
                <a:pos x="connsiteX38556" y="connsiteY38556"/>
              </a:cxn>
              <a:cxn ang="0">
                <a:pos x="connsiteX38557" y="connsiteY38557"/>
              </a:cxn>
              <a:cxn ang="0">
                <a:pos x="connsiteX38558" y="connsiteY38558"/>
              </a:cxn>
              <a:cxn ang="0">
                <a:pos x="connsiteX38559" y="connsiteY38559"/>
              </a:cxn>
              <a:cxn ang="0">
                <a:pos x="connsiteX38560" y="connsiteY38560"/>
              </a:cxn>
              <a:cxn ang="0">
                <a:pos x="connsiteX38561" y="connsiteY38561"/>
              </a:cxn>
              <a:cxn ang="0">
                <a:pos x="connsiteX38562" y="connsiteY38562"/>
              </a:cxn>
              <a:cxn ang="0">
                <a:pos x="connsiteX38563" y="connsiteY38563"/>
              </a:cxn>
              <a:cxn ang="0">
                <a:pos x="connsiteX38564" y="connsiteY38564"/>
              </a:cxn>
              <a:cxn ang="0">
                <a:pos x="connsiteX38565" y="connsiteY38565"/>
              </a:cxn>
              <a:cxn ang="0">
                <a:pos x="connsiteX38566" y="connsiteY38566"/>
              </a:cxn>
              <a:cxn ang="0">
                <a:pos x="connsiteX38567" y="connsiteY38567"/>
              </a:cxn>
              <a:cxn ang="0">
                <a:pos x="connsiteX38568" y="connsiteY38568"/>
              </a:cxn>
              <a:cxn ang="0">
                <a:pos x="connsiteX38569" y="connsiteY38569"/>
              </a:cxn>
              <a:cxn ang="0">
                <a:pos x="connsiteX38570" y="connsiteY38570"/>
              </a:cxn>
              <a:cxn ang="0">
                <a:pos x="connsiteX38571" y="connsiteY38571"/>
              </a:cxn>
              <a:cxn ang="0">
                <a:pos x="connsiteX38572" y="connsiteY38572"/>
              </a:cxn>
              <a:cxn ang="0">
                <a:pos x="connsiteX38573" y="connsiteY38573"/>
              </a:cxn>
              <a:cxn ang="0">
                <a:pos x="connsiteX38574" y="connsiteY38574"/>
              </a:cxn>
              <a:cxn ang="0">
                <a:pos x="connsiteX38575" y="connsiteY38575"/>
              </a:cxn>
              <a:cxn ang="0">
                <a:pos x="connsiteX38576" y="connsiteY38576"/>
              </a:cxn>
              <a:cxn ang="0">
                <a:pos x="connsiteX38577" y="connsiteY38577"/>
              </a:cxn>
              <a:cxn ang="0">
                <a:pos x="connsiteX38578" y="connsiteY38578"/>
              </a:cxn>
              <a:cxn ang="0">
                <a:pos x="connsiteX38579" y="connsiteY38579"/>
              </a:cxn>
              <a:cxn ang="0">
                <a:pos x="connsiteX38580" y="connsiteY38580"/>
              </a:cxn>
              <a:cxn ang="0">
                <a:pos x="connsiteX38581" y="connsiteY38581"/>
              </a:cxn>
              <a:cxn ang="0">
                <a:pos x="connsiteX38582" y="connsiteY38582"/>
              </a:cxn>
              <a:cxn ang="0">
                <a:pos x="connsiteX38583" y="connsiteY38583"/>
              </a:cxn>
              <a:cxn ang="0">
                <a:pos x="connsiteX38584" y="connsiteY38584"/>
              </a:cxn>
              <a:cxn ang="0">
                <a:pos x="connsiteX38585" y="connsiteY38585"/>
              </a:cxn>
              <a:cxn ang="0">
                <a:pos x="connsiteX38586" y="connsiteY38586"/>
              </a:cxn>
              <a:cxn ang="0">
                <a:pos x="connsiteX38587" y="connsiteY38587"/>
              </a:cxn>
              <a:cxn ang="0">
                <a:pos x="connsiteX38588" y="connsiteY38588"/>
              </a:cxn>
              <a:cxn ang="0">
                <a:pos x="connsiteX38589" y="connsiteY38589"/>
              </a:cxn>
              <a:cxn ang="0">
                <a:pos x="connsiteX38590" y="connsiteY38590"/>
              </a:cxn>
              <a:cxn ang="0">
                <a:pos x="connsiteX38591" y="connsiteY38591"/>
              </a:cxn>
              <a:cxn ang="0">
                <a:pos x="connsiteX38592" y="connsiteY38592"/>
              </a:cxn>
              <a:cxn ang="0">
                <a:pos x="connsiteX38593" y="connsiteY38593"/>
              </a:cxn>
              <a:cxn ang="0">
                <a:pos x="connsiteX38594" y="connsiteY38594"/>
              </a:cxn>
              <a:cxn ang="0">
                <a:pos x="connsiteX38595" y="connsiteY38595"/>
              </a:cxn>
              <a:cxn ang="0">
                <a:pos x="connsiteX38596" y="connsiteY38596"/>
              </a:cxn>
              <a:cxn ang="0">
                <a:pos x="connsiteX38597" y="connsiteY38597"/>
              </a:cxn>
              <a:cxn ang="0">
                <a:pos x="connsiteX38598" y="connsiteY38598"/>
              </a:cxn>
              <a:cxn ang="0">
                <a:pos x="connsiteX38599" y="connsiteY38599"/>
              </a:cxn>
              <a:cxn ang="0">
                <a:pos x="connsiteX38600" y="connsiteY38600"/>
              </a:cxn>
              <a:cxn ang="0">
                <a:pos x="connsiteX38601" y="connsiteY38601"/>
              </a:cxn>
              <a:cxn ang="0">
                <a:pos x="connsiteX38602" y="connsiteY38602"/>
              </a:cxn>
              <a:cxn ang="0">
                <a:pos x="connsiteX38603" y="connsiteY38603"/>
              </a:cxn>
              <a:cxn ang="0">
                <a:pos x="connsiteX38604" y="connsiteY38604"/>
              </a:cxn>
              <a:cxn ang="0">
                <a:pos x="connsiteX38605" y="connsiteY38605"/>
              </a:cxn>
              <a:cxn ang="0">
                <a:pos x="connsiteX38606" y="connsiteY38606"/>
              </a:cxn>
              <a:cxn ang="0">
                <a:pos x="connsiteX38607" y="connsiteY38607"/>
              </a:cxn>
              <a:cxn ang="0">
                <a:pos x="connsiteX38608" y="connsiteY38608"/>
              </a:cxn>
              <a:cxn ang="0">
                <a:pos x="connsiteX38609" y="connsiteY38609"/>
              </a:cxn>
              <a:cxn ang="0">
                <a:pos x="connsiteX38610" y="connsiteY38610"/>
              </a:cxn>
              <a:cxn ang="0">
                <a:pos x="connsiteX38611" y="connsiteY38611"/>
              </a:cxn>
              <a:cxn ang="0">
                <a:pos x="connsiteX38612" y="connsiteY38612"/>
              </a:cxn>
              <a:cxn ang="0">
                <a:pos x="connsiteX38613" y="connsiteY38613"/>
              </a:cxn>
              <a:cxn ang="0">
                <a:pos x="connsiteX38614" y="connsiteY38614"/>
              </a:cxn>
              <a:cxn ang="0">
                <a:pos x="connsiteX38615" y="connsiteY38615"/>
              </a:cxn>
              <a:cxn ang="0">
                <a:pos x="connsiteX38616" y="connsiteY38616"/>
              </a:cxn>
              <a:cxn ang="0">
                <a:pos x="connsiteX38617" y="connsiteY38617"/>
              </a:cxn>
              <a:cxn ang="0">
                <a:pos x="connsiteX38618" y="connsiteY38618"/>
              </a:cxn>
              <a:cxn ang="0">
                <a:pos x="connsiteX38619" y="connsiteY38619"/>
              </a:cxn>
              <a:cxn ang="0">
                <a:pos x="connsiteX38620" y="connsiteY38620"/>
              </a:cxn>
              <a:cxn ang="0">
                <a:pos x="connsiteX38621" y="connsiteY38621"/>
              </a:cxn>
              <a:cxn ang="0">
                <a:pos x="connsiteX38622" y="connsiteY38622"/>
              </a:cxn>
              <a:cxn ang="0">
                <a:pos x="connsiteX38623" y="connsiteY38623"/>
              </a:cxn>
              <a:cxn ang="0">
                <a:pos x="connsiteX38624" y="connsiteY38624"/>
              </a:cxn>
              <a:cxn ang="0">
                <a:pos x="connsiteX38625" y="connsiteY38625"/>
              </a:cxn>
              <a:cxn ang="0">
                <a:pos x="connsiteX38626" y="connsiteY38626"/>
              </a:cxn>
              <a:cxn ang="0">
                <a:pos x="connsiteX38627" y="connsiteY38627"/>
              </a:cxn>
              <a:cxn ang="0">
                <a:pos x="connsiteX38628" y="connsiteY38628"/>
              </a:cxn>
              <a:cxn ang="0">
                <a:pos x="connsiteX38629" y="connsiteY38629"/>
              </a:cxn>
              <a:cxn ang="0">
                <a:pos x="connsiteX38630" y="connsiteY38630"/>
              </a:cxn>
              <a:cxn ang="0">
                <a:pos x="connsiteX38631" y="connsiteY38631"/>
              </a:cxn>
              <a:cxn ang="0">
                <a:pos x="connsiteX38632" y="connsiteY38632"/>
              </a:cxn>
              <a:cxn ang="0">
                <a:pos x="connsiteX38633" y="connsiteY38633"/>
              </a:cxn>
              <a:cxn ang="0">
                <a:pos x="connsiteX38634" y="connsiteY38634"/>
              </a:cxn>
              <a:cxn ang="0">
                <a:pos x="connsiteX38635" y="connsiteY38635"/>
              </a:cxn>
              <a:cxn ang="0">
                <a:pos x="connsiteX38636" y="connsiteY38636"/>
              </a:cxn>
              <a:cxn ang="0">
                <a:pos x="connsiteX38637" y="connsiteY38637"/>
              </a:cxn>
              <a:cxn ang="0">
                <a:pos x="connsiteX38638" y="connsiteY38638"/>
              </a:cxn>
              <a:cxn ang="0">
                <a:pos x="connsiteX38639" y="connsiteY38639"/>
              </a:cxn>
              <a:cxn ang="0">
                <a:pos x="connsiteX38640" y="connsiteY38640"/>
              </a:cxn>
              <a:cxn ang="0">
                <a:pos x="connsiteX38641" y="connsiteY38641"/>
              </a:cxn>
              <a:cxn ang="0">
                <a:pos x="connsiteX38642" y="connsiteY38642"/>
              </a:cxn>
              <a:cxn ang="0">
                <a:pos x="connsiteX38643" y="connsiteY38643"/>
              </a:cxn>
              <a:cxn ang="0">
                <a:pos x="connsiteX38644" y="connsiteY38644"/>
              </a:cxn>
              <a:cxn ang="0">
                <a:pos x="connsiteX38645" y="connsiteY38645"/>
              </a:cxn>
              <a:cxn ang="0">
                <a:pos x="connsiteX38646" y="connsiteY38646"/>
              </a:cxn>
              <a:cxn ang="0">
                <a:pos x="connsiteX38647" y="connsiteY38647"/>
              </a:cxn>
              <a:cxn ang="0">
                <a:pos x="connsiteX38648" y="connsiteY38648"/>
              </a:cxn>
              <a:cxn ang="0">
                <a:pos x="connsiteX38649" y="connsiteY38649"/>
              </a:cxn>
              <a:cxn ang="0">
                <a:pos x="connsiteX38650" y="connsiteY38650"/>
              </a:cxn>
              <a:cxn ang="0">
                <a:pos x="connsiteX38651" y="connsiteY38651"/>
              </a:cxn>
              <a:cxn ang="0">
                <a:pos x="connsiteX38652" y="connsiteY38652"/>
              </a:cxn>
              <a:cxn ang="0">
                <a:pos x="connsiteX38653" y="connsiteY38653"/>
              </a:cxn>
              <a:cxn ang="0">
                <a:pos x="connsiteX38654" y="connsiteY38654"/>
              </a:cxn>
              <a:cxn ang="0">
                <a:pos x="connsiteX38655" y="connsiteY38655"/>
              </a:cxn>
              <a:cxn ang="0">
                <a:pos x="connsiteX38656" y="connsiteY38656"/>
              </a:cxn>
              <a:cxn ang="0">
                <a:pos x="connsiteX38657" y="connsiteY38657"/>
              </a:cxn>
              <a:cxn ang="0">
                <a:pos x="connsiteX38658" y="connsiteY38658"/>
              </a:cxn>
              <a:cxn ang="0">
                <a:pos x="connsiteX38659" y="connsiteY38659"/>
              </a:cxn>
              <a:cxn ang="0">
                <a:pos x="connsiteX38660" y="connsiteY38660"/>
              </a:cxn>
              <a:cxn ang="0">
                <a:pos x="connsiteX38661" y="connsiteY38661"/>
              </a:cxn>
              <a:cxn ang="0">
                <a:pos x="connsiteX38662" y="connsiteY38662"/>
              </a:cxn>
              <a:cxn ang="0">
                <a:pos x="connsiteX38663" y="connsiteY38663"/>
              </a:cxn>
              <a:cxn ang="0">
                <a:pos x="connsiteX38664" y="connsiteY38664"/>
              </a:cxn>
              <a:cxn ang="0">
                <a:pos x="connsiteX38665" y="connsiteY38665"/>
              </a:cxn>
              <a:cxn ang="0">
                <a:pos x="connsiteX38666" y="connsiteY38666"/>
              </a:cxn>
              <a:cxn ang="0">
                <a:pos x="connsiteX38667" y="connsiteY38667"/>
              </a:cxn>
              <a:cxn ang="0">
                <a:pos x="connsiteX38668" y="connsiteY38668"/>
              </a:cxn>
              <a:cxn ang="0">
                <a:pos x="connsiteX38669" y="connsiteY38669"/>
              </a:cxn>
              <a:cxn ang="0">
                <a:pos x="connsiteX38670" y="connsiteY38670"/>
              </a:cxn>
              <a:cxn ang="0">
                <a:pos x="connsiteX38671" y="connsiteY38671"/>
              </a:cxn>
              <a:cxn ang="0">
                <a:pos x="connsiteX38672" y="connsiteY38672"/>
              </a:cxn>
              <a:cxn ang="0">
                <a:pos x="connsiteX38673" y="connsiteY38673"/>
              </a:cxn>
              <a:cxn ang="0">
                <a:pos x="connsiteX38674" y="connsiteY38674"/>
              </a:cxn>
              <a:cxn ang="0">
                <a:pos x="connsiteX38675" y="connsiteY38675"/>
              </a:cxn>
              <a:cxn ang="0">
                <a:pos x="connsiteX38676" y="connsiteY38676"/>
              </a:cxn>
              <a:cxn ang="0">
                <a:pos x="connsiteX38677" y="connsiteY38677"/>
              </a:cxn>
              <a:cxn ang="0">
                <a:pos x="connsiteX38678" y="connsiteY38678"/>
              </a:cxn>
              <a:cxn ang="0">
                <a:pos x="connsiteX38679" y="connsiteY38679"/>
              </a:cxn>
              <a:cxn ang="0">
                <a:pos x="connsiteX38680" y="connsiteY38680"/>
              </a:cxn>
              <a:cxn ang="0">
                <a:pos x="connsiteX38681" y="connsiteY38681"/>
              </a:cxn>
              <a:cxn ang="0">
                <a:pos x="connsiteX38682" y="connsiteY38682"/>
              </a:cxn>
              <a:cxn ang="0">
                <a:pos x="connsiteX38683" y="connsiteY38683"/>
              </a:cxn>
              <a:cxn ang="0">
                <a:pos x="connsiteX38684" y="connsiteY38684"/>
              </a:cxn>
              <a:cxn ang="0">
                <a:pos x="connsiteX38685" y="connsiteY38685"/>
              </a:cxn>
              <a:cxn ang="0">
                <a:pos x="connsiteX38686" y="connsiteY38686"/>
              </a:cxn>
              <a:cxn ang="0">
                <a:pos x="connsiteX38687" y="connsiteY38687"/>
              </a:cxn>
              <a:cxn ang="0">
                <a:pos x="connsiteX38688" y="connsiteY38688"/>
              </a:cxn>
              <a:cxn ang="0">
                <a:pos x="connsiteX38689" y="connsiteY38689"/>
              </a:cxn>
              <a:cxn ang="0">
                <a:pos x="connsiteX38690" y="connsiteY38690"/>
              </a:cxn>
              <a:cxn ang="0">
                <a:pos x="connsiteX38691" y="connsiteY38691"/>
              </a:cxn>
              <a:cxn ang="0">
                <a:pos x="connsiteX38692" y="connsiteY38692"/>
              </a:cxn>
              <a:cxn ang="0">
                <a:pos x="connsiteX38693" y="connsiteY38693"/>
              </a:cxn>
              <a:cxn ang="0">
                <a:pos x="connsiteX38694" y="connsiteY38694"/>
              </a:cxn>
              <a:cxn ang="0">
                <a:pos x="connsiteX38695" y="connsiteY38695"/>
              </a:cxn>
              <a:cxn ang="0">
                <a:pos x="connsiteX38696" y="connsiteY38696"/>
              </a:cxn>
              <a:cxn ang="0">
                <a:pos x="connsiteX38697" y="connsiteY38697"/>
              </a:cxn>
              <a:cxn ang="0">
                <a:pos x="connsiteX38698" y="connsiteY38698"/>
              </a:cxn>
              <a:cxn ang="0">
                <a:pos x="connsiteX38699" y="connsiteY38699"/>
              </a:cxn>
              <a:cxn ang="0">
                <a:pos x="connsiteX38700" y="connsiteY38700"/>
              </a:cxn>
              <a:cxn ang="0">
                <a:pos x="connsiteX38701" y="connsiteY38701"/>
              </a:cxn>
              <a:cxn ang="0">
                <a:pos x="connsiteX38702" y="connsiteY38702"/>
              </a:cxn>
              <a:cxn ang="0">
                <a:pos x="connsiteX38703" y="connsiteY38703"/>
              </a:cxn>
              <a:cxn ang="0">
                <a:pos x="connsiteX38704" y="connsiteY38704"/>
              </a:cxn>
              <a:cxn ang="0">
                <a:pos x="connsiteX38705" y="connsiteY38705"/>
              </a:cxn>
              <a:cxn ang="0">
                <a:pos x="connsiteX38706" y="connsiteY38706"/>
              </a:cxn>
              <a:cxn ang="0">
                <a:pos x="connsiteX38707" y="connsiteY38707"/>
              </a:cxn>
              <a:cxn ang="0">
                <a:pos x="connsiteX38708" y="connsiteY38708"/>
              </a:cxn>
              <a:cxn ang="0">
                <a:pos x="connsiteX38709" y="connsiteY38709"/>
              </a:cxn>
              <a:cxn ang="0">
                <a:pos x="connsiteX38710" y="connsiteY38710"/>
              </a:cxn>
              <a:cxn ang="0">
                <a:pos x="connsiteX38711" y="connsiteY38711"/>
              </a:cxn>
              <a:cxn ang="0">
                <a:pos x="connsiteX38712" y="connsiteY38712"/>
              </a:cxn>
              <a:cxn ang="0">
                <a:pos x="connsiteX38713" y="connsiteY38713"/>
              </a:cxn>
              <a:cxn ang="0">
                <a:pos x="connsiteX38714" y="connsiteY38714"/>
              </a:cxn>
              <a:cxn ang="0">
                <a:pos x="connsiteX38715" y="connsiteY38715"/>
              </a:cxn>
              <a:cxn ang="0">
                <a:pos x="connsiteX38716" y="connsiteY38716"/>
              </a:cxn>
              <a:cxn ang="0">
                <a:pos x="connsiteX38717" y="connsiteY38717"/>
              </a:cxn>
              <a:cxn ang="0">
                <a:pos x="connsiteX38718" y="connsiteY38718"/>
              </a:cxn>
              <a:cxn ang="0">
                <a:pos x="connsiteX38719" y="connsiteY38719"/>
              </a:cxn>
              <a:cxn ang="0">
                <a:pos x="connsiteX38720" y="connsiteY38720"/>
              </a:cxn>
              <a:cxn ang="0">
                <a:pos x="connsiteX38721" y="connsiteY38721"/>
              </a:cxn>
              <a:cxn ang="0">
                <a:pos x="connsiteX38722" y="connsiteY38722"/>
              </a:cxn>
              <a:cxn ang="0">
                <a:pos x="connsiteX38723" y="connsiteY38723"/>
              </a:cxn>
              <a:cxn ang="0">
                <a:pos x="connsiteX38724" y="connsiteY38724"/>
              </a:cxn>
              <a:cxn ang="0">
                <a:pos x="connsiteX38725" y="connsiteY38725"/>
              </a:cxn>
              <a:cxn ang="0">
                <a:pos x="connsiteX38726" y="connsiteY38726"/>
              </a:cxn>
              <a:cxn ang="0">
                <a:pos x="connsiteX38727" y="connsiteY38727"/>
              </a:cxn>
              <a:cxn ang="0">
                <a:pos x="connsiteX38728" y="connsiteY38728"/>
              </a:cxn>
              <a:cxn ang="0">
                <a:pos x="connsiteX38729" y="connsiteY38729"/>
              </a:cxn>
              <a:cxn ang="0">
                <a:pos x="connsiteX38730" y="connsiteY38730"/>
              </a:cxn>
              <a:cxn ang="0">
                <a:pos x="connsiteX38731" y="connsiteY38731"/>
              </a:cxn>
              <a:cxn ang="0">
                <a:pos x="connsiteX38732" y="connsiteY38732"/>
              </a:cxn>
              <a:cxn ang="0">
                <a:pos x="connsiteX38733" y="connsiteY38733"/>
              </a:cxn>
              <a:cxn ang="0">
                <a:pos x="connsiteX38734" y="connsiteY38734"/>
              </a:cxn>
              <a:cxn ang="0">
                <a:pos x="connsiteX38735" y="connsiteY38735"/>
              </a:cxn>
              <a:cxn ang="0">
                <a:pos x="connsiteX38736" y="connsiteY38736"/>
              </a:cxn>
              <a:cxn ang="0">
                <a:pos x="connsiteX38737" y="connsiteY38737"/>
              </a:cxn>
              <a:cxn ang="0">
                <a:pos x="connsiteX38738" y="connsiteY38738"/>
              </a:cxn>
              <a:cxn ang="0">
                <a:pos x="connsiteX38739" y="connsiteY38739"/>
              </a:cxn>
              <a:cxn ang="0">
                <a:pos x="connsiteX38740" y="connsiteY38740"/>
              </a:cxn>
              <a:cxn ang="0">
                <a:pos x="connsiteX38741" y="connsiteY38741"/>
              </a:cxn>
              <a:cxn ang="0">
                <a:pos x="connsiteX38742" y="connsiteY38742"/>
              </a:cxn>
              <a:cxn ang="0">
                <a:pos x="connsiteX38743" y="connsiteY38743"/>
              </a:cxn>
              <a:cxn ang="0">
                <a:pos x="connsiteX38744" y="connsiteY38744"/>
              </a:cxn>
              <a:cxn ang="0">
                <a:pos x="connsiteX38745" y="connsiteY38745"/>
              </a:cxn>
              <a:cxn ang="0">
                <a:pos x="connsiteX38746" y="connsiteY38746"/>
              </a:cxn>
              <a:cxn ang="0">
                <a:pos x="connsiteX38747" y="connsiteY38747"/>
              </a:cxn>
              <a:cxn ang="0">
                <a:pos x="connsiteX38748" y="connsiteY38748"/>
              </a:cxn>
              <a:cxn ang="0">
                <a:pos x="connsiteX38749" y="connsiteY38749"/>
              </a:cxn>
              <a:cxn ang="0">
                <a:pos x="connsiteX38750" y="connsiteY38750"/>
              </a:cxn>
              <a:cxn ang="0">
                <a:pos x="connsiteX38751" y="connsiteY38751"/>
              </a:cxn>
              <a:cxn ang="0">
                <a:pos x="connsiteX38752" y="connsiteY38752"/>
              </a:cxn>
              <a:cxn ang="0">
                <a:pos x="connsiteX38753" y="connsiteY38753"/>
              </a:cxn>
              <a:cxn ang="0">
                <a:pos x="connsiteX38754" y="connsiteY38754"/>
              </a:cxn>
              <a:cxn ang="0">
                <a:pos x="connsiteX38755" y="connsiteY38755"/>
              </a:cxn>
              <a:cxn ang="0">
                <a:pos x="connsiteX38756" y="connsiteY38756"/>
              </a:cxn>
              <a:cxn ang="0">
                <a:pos x="connsiteX38757" y="connsiteY38757"/>
              </a:cxn>
              <a:cxn ang="0">
                <a:pos x="connsiteX38758" y="connsiteY38758"/>
              </a:cxn>
              <a:cxn ang="0">
                <a:pos x="connsiteX38759" y="connsiteY38759"/>
              </a:cxn>
              <a:cxn ang="0">
                <a:pos x="connsiteX38760" y="connsiteY38760"/>
              </a:cxn>
              <a:cxn ang="0">
                <a:pos x="connsiteX38761" y="connsiteY38761"/>
              </a:cxn>
              <a:cxn ang="0">
                <a:pos x="connsiteX38762" y="connsiteY38762"/>
              </a:cxn>
              <a:cxn ang="0">
                <a:pos x="connsiteX38763" y="connsiteY38763"/>
              </a:cxn>
              <a:cxn ang="0">
                <a:pos x="connsiteX38764" y="connsiteY38764"/>
              </a:cxn>
              <a:cxn ang="0">
                <a:pos x="connsiteX38765" y="connsiteY38765"/>
              </a:cxn>
              <a:cxn ang="0">
                <a:pos x="connsiteX38766" y="connsiteY38766"/>
              </a:cxn>
              <a:cxn ang="0">
                <a:pos x="connsiteX38767" y="connsiteY38767"/>
              </a:cxn>
              <a:cxn ang="0">
                <a:pos x="connsiteX38768" y="connsiteY38768"/>
              </a:cxn>
              <a:cxn ang="0">
                <a:pos x="connsiteX38769" y="connsiteY38769"/>
              </a:cxn>
              <a:cxn ang="0">
                <a:pos x="connsiteX38770" y="connsiteY38770"/>
              </a:cxn>
              <a:cxn ang="0">
                <a:pos x="connsiteX38771" y="connsiteY38771"/>
              </a:cxn>
              <a:cxn ang="0">
                <a:pos x="connsiteX38772" y="connsiteY38772"/>
              </a:cxn>
              <a:cxn ang="0">
                <a:pos x="connsiteX38773" y="connsiteY38773"/>
              </a:cxn>
              <a:cxn ang="0">
                <a:pos x="connsiteX38774" y="connsiteY38774"/>
              </a:cxn>
              <a:cxn ang="0">
                <a:pos x="connsiteX38775" y="connsiteY38775"/>
              </a:cxn>
              <a:cxn ang="0">
                <a:pos x="connsiteX38776" y="connsiteY38776"/>
              </a:cxn>
              <a:cxn ang="0">
                <a:pos x="connsiteX38777" y="connsiteY38777"/>
              </a:cxn>
              <a:cxn ang="0">
                <a:pos x="connsiteX38778" y="connsiteY38778"/>
              </a:cxn>
              <a:cxn ang="0">
                <a:pos x="connsiteX38779" y="connsiteY38779"/>
              </a:cxn>
              <a:cxn ang="0">
                <a:pos x="connsiteX38780" y="connsiteY38780"/>
              </a:cxn>
              <a:cxn ang="0">
                <a:pos x="connsiteX38781" y="connsiteY38781"/>
              </a:cxn>
              <a:cxn ang="0">
                <a:pos x="connsiteX38782" y="connsiteY38782"/>
              </a:cxn>
              <a:cxn ang="0">
                <a:pos x="connsiteX38783" y="connsiteY38783"/>
              </a:cxn>
              <a:cxn ang="0">
                <a:pos x="connsiteX38784" y="connsiteY38784"/>
              </a:cxn>
              <a:cxn ang="0">
                <a:pos x="connsiteX38785" y="connsiteY38785"/>
              </a:cxn>
              <a:cxn ang="0">
                <a:pos x="connsiteX38786" y="connsiteY38786"/>
              </a:cxn>
              <a:cxn ang="0">
                <a:pos x="connsiteX38787" y="connsiteY38787"/>
              </a:cxn>
              <a:cxn ang="0">
                <a:pos x="connsiteX38788" y="connsiteY38788"/>
              </a:cxn>
              <a:cxn ang="0">
                <a:pos x="connsiteX38789" y="connsiteY38789"/>
              </a:cxn>
              <a:cxn ang="0">
                <a:pos x="connsiteX38790" y="connsiteY38790"/>
              </a:cxn>
              <a:cxn ang="0">
                <a:pos x="connsiteX38791" y="connsiteY38791"/>
              </a:cxn>
              <a:cxn ang="0">
                <a:pos x="connsiteX38792" y="connsiteY38792"/>
              </a:cxn>
              <a:cxn ang="0">
                <a:pos x="connsiteX38793" y="connsiteY38793"/>
              </a:cxn>
              <a:cxn ang="0">
                <a:pos x="connsiteX38794" y="connsiteY38794"/>
              </a:cxn>
              <a:cxn ang="0">
                <a:pos x="connsiteX38795" y="connsiteY38795"/>
              </a:cxn>
              <a:cxn ang="0">
                <a:pos x="connsiteX38796" y="connsiteY38796"/>
              </a:cxn>
              <a:cxn ang="0">
                <a:pos x="connsiteX38797" y="connsiteY38797"/>
              </a:cxn>
              <a:cxn ang="0">
                <a:pos x="connsiteX38798" y="connsiteY38798"/>
              </a:cxn>
              <a:cxn ang="0">
                <a:pos x="connsiteX38799" y="connsiteY38799"/>
              </a:cxn>
              <a:cxn ang="0">
                <a:pos x="connsiteX38800" y="connsiteY38800"/>
              </a:cxn>
              <a:cxn ang="0">
                <a:pos x="connsiteX38801" y="connsiteY38801"/>
              </a:cxn>
              <a:cxn ang="0">
                <a:pos x="connsiteX38802" y="connsiteY38802"/>
              </a:cxn>
              <a:cxn ang="0">
                <a:pos x="connsiteX38803" y="connsiteY38803"/>
              </a:cxn>
              <a:cxn ang="0">
                <a:pos x="connsiteX38804" y="connsiteY38804"/>
              </a:cxn>
              <a:cxn ang="0">
                <a:pos x="connsiteX38805" y="connsiteY38805"/>
              </a:cxn>
              <a:cxn ang="0">
                <a:pos x="connsiteX38806" y="connsiteY38806"/>
              </a:cxn>
              <a:cxn ang="0">
                <a:pos x="connsiteX38807" y="connsiteY38807"/>
              </a:cxn>
              <a:cxn ang="0">
                <a:pos x="connsiteX38808" y="connsiteY38808"/>
              </a:cxn>
              <a:cxn ang="0">
                <a:pos x="connsiteX38809" y="connsiteY38809"/>
              </a:cxn>
              <a:cxn ang="0">
                <a:pos x="connsiteX38810" y="connsiteY38810"/>
              </a:cxn>
              <a:cxn ang="0">
                <a:pos x="connsiteX38811" y="connsiteY38811"/>
              </a:cxn>
              <a:cxn ang="0">
                <a:pos x="connsiteX38812" y="connsiteY38812"/>
              </a:cxn>
              <a:cxn ang="0">
                <a:pos x="connsiteX38813" y="connsiteY38813"/>
              </a:cxn>
              <a:cxn ang="0">
                <a:pos x="connsiteX38814" y="connsiteY38814"/>
              </a:cxn>
              <a:cxn ang="0">
                <a:pos x="connsiteX38815" y="connsiteY38815"/>
              </a:cxn>
              <a:cxn ang="0">
                <a:pos x="connsiteX38816" y="connsiteY38816"/>
              </a:cxn>
              <a:cxn ang="0">
                <a:pos x="connsiteX38817" y="connsiteY38817"/>
              </a:cxn>
              <a:cxn ang="0">
                <a:pos x="connsiteX38818" y="connsiteY38818"/>
              </a:cxn>
              <a:cxn ang="0">
                <a:pos x="connsiteX38819" y="connsiteY38819"/>
              </a:cxn>
              <a:cxn ang="0">
                <a:pos x="connsiteX38820" y="connsiteY38820"/>
              </a:cxn>
              <a:cxn ang="0">
                <a:pos x="connsiteX38821" y="connsiteY38821"/>
              </a:cxn>
              <a:cxn ang="0">
                <a:pos x="connsiteX38822" y="connsiteY38822"/>
              </a:cxn>
              <a:cxn ang="0">
                <a:pos x="connsiteX38823" y="connsiteY38823"/>
              </a:cxn>
              <a:cxn ang="0">
                <a:pos x="connsiteX38824" y="connsiteY38824"/>
              </a:cxn>
              <a:cxn ang="0">
                <a:pos x="connsiteX38825" y="connsiteY38825"/>
              </a:cxn>
              <a:cxn ang="0">
                <a:pos x="connsiteX38826" y="connsiteY38826"/>
              </a:cxn>
              <a:cxn ang="0">
                <a:pos x="connsiteX38827" y="connsiteY38827"/>
              </a:cxn>
              <a:cxn ang="0">
                <a:pos x="connsiteX38828" y="connsiteY38828"/>
              </a:cxn>
              <a:cxn ang="0">
                <a:pos x="connsiteX38829" y="connsiteY38829"/>
              </a:cxn>
              <a:cxn ang="0">
                <a:pos x="connsiteX38830" y="connsiteY38830"/>
              </a:cxn>
              <a:cxn ang="0">
                <a:pos x="connsiteX38831" y="connsiteY38831"/>
              </a:cxn>
              <a:cxn ang="0">
                <a:pos x="connsiteX38832" y="connsiteY38832"/>
              </a:cxn>
              <a:cxn ang="0">
                <a:pos x="connsiteX38833" y="connsiteY38833"/>
              </a:cxn>
              <a:cxn ang="0">
                <a:pos x="connsiteX38834" y="connsiteY38834"/>
              </a:cxn>
              <a:cxn ang="0">
                <a:pos x="connsiteX38835" y="connsiteY38835"/>
              </a:cxn>
              <a:cxn ang="0">
                <a:pos x="connsiteX38836" y="connsiteY38836"/>
              </a:cxn>
              <a:cxn ang="0">
                <a:pos x="connsiteX38837" y="connsiteY38837"/>
              </a:cxn>
              <a:cxn ang="0">
                <a:pos x="connsiteX38838" y="connsiteY38838"/>
              </a:cxn>
              <a:cxn ang="0">
                <a:pos x="connsiteX38839" y="connsiteY38839"/>
              </a:cxn>
              <a:cxn ang="0">
                <a:pos x="connsiteX38840" y="connsiteY38840"/>
              </a:cxn>
              <a:cxn ang="0">
                <a:pos x="connsiteX38841" y="connsiteY38841"/>
              </a:cxn>
              <a:cxn ang="0">
                <a:pos x="connsiteX38842" y="connsiteY38842"/>
              </a:cxn>
              <a:cxn ang="0">
                <a:pos x="connsiteX38843" y="connsiteY38843"/>
              </a:cxn>
              <a:cxn ang="0">
                <a:pos x="connsiteX38844" y="connsiteY38844"/>
              </a:cxn>
              <a:cxn ang="0">
                <a:pos x="connsiteX38845" y="connsiteY38845"/>
              </a:cxn>
              <a:cxn ang="0">
                <a:pos x="connsiteX38846" y="connsiteY38846"/>
              </a:cxn>
              <a:cxn ang="0">
                <a:pos x="connsiteX38847" y="connsiteY38847"/>
              </a:cxn>
              <a:cxn ang="0">
                <a:pos x="connsiteX38848" y="connsiteY38848"/>
              </a:cxn>
              <a:cxn ang="0">
                <a:pos x="connsiteX38849" y="connsiteY38849"/>
              </a:cxn>
              <a:cxn ang="0">
                <a:pos x="connsiteX38850" y="connsiteY38850"/>
              </a:cxn>
              <a:cxn ang="0">
                <a:pos x="connsiteX38851" y="connsiteY38851"/>
              </a:cxn>
              <a:cxn ang="0">
                <a:pos x="connsiteX38852" y="connsiteY38852"/>
              </a:cxn>
              <a:cxn ang="0">
                <a:pos x="connsiteX38853" y="connsiteY38853"/>
              </a:cxn>
              <a:cxn ang="0">
                <a:pos x="connsiteX38854" y="connsiteY38854"/>
              </a:cxn>
              <a:cxn ang="0">
                <a:pos x="connsiteX38855" y="connsiteY38855"/>
              </a:cxn>
              <a:cxn ang="0">
                <a:pos x="connsiteX38856" y="connsiteY38856"/>
              </a:cxn>
              <a:cxn ang="0">
                <a:pos x="connsiteX38857" y="connsiteY38857"/>
              </a:cxn>
              <a:cxn ang="0">
                <a:pos x="connsiteX38858" y="connsiteY38858"/>
              </a:cxn>
              <a:cxn ang="0">
                <a:pos x="connsiteX38859" y="connsiteY38859"/>
              </a:cxn>
              <a:cxn ang="0">
                <a:pos x="connsiteX38860" y="connsiteY38860"/>
              </a:cxn>
              <a:cxn ang="0">
                <a:pos x="connsiteX38861" y="connsiteY38861"/>
              </a:cxn>
              <a:cxn ang="0">
                <a:pos x="connsiteX38862" y="connsiteY38862"/>
              </a:cxn>
              <a:cxn ang="0">
                <a:pos x="connsiteX38863" y="connsiteY38863"/>
              </a:cxn>
              <a:cxn ang="0">
                <a:pos x="connsiteX38864" y="connsiteY38864"/>
              </a:cxn>
              <a:cxn ang="0">
                <a:pos x="connsiteX38865" y="connsiteY38865"/>
              </a:cxn>
              <a:cxn ang="0">
                <a:pos x="connsiteX38866" y="connsiteY38866"/>
              </a:cxn>
              <a:cxn ang="0">
                <a:pos x="connsiteX38867" y="connsiteY38867"/>
              </a:cxn>
              <a:cxn ang="0">
                <a:pos x="connsiteX38868" y="connsiteY38868"/>
              </a:cxn>
              <a:cxn ang="0">
                <a:pos x="connsiteX38869" y="connsiteY38869"/>
              </a:cxn>
              <a:cxn ang="0">
                <a:pos x="connsiteX38870" y="connsiteY38870"/>
              </a:cxn>
              <a:cxn ang="0">
                <a:pos x="connsiteX38871" y="connsiteY38871"/>
              </a:cxn>
              <a:cxn ang="0">
                <a:pos x="connsiteX38872" y="connsiteY38872"/>
              </a:cxn>
              <a:cxn ang="0">
                <a:pos x="connsiteX38873" y="connsiteY38873"/>
              </a:cxn>
              <a:cxn ang="0">
                <a:pos x="connsiteX38874" y="connsiteY38874"/>
              </a:cxn>
              <a:cxn ang="0">
                <a:pos x="connsiteX38875" y="connsiteY38875"/>
              </a:cxn>
              <a:cxn ang="0">
                <a:pos x="connsiteX38876" y="connsiteY38876"/>
              </a:cxn>
              <a:cxn ang="0">
                <a:pos x="connsiteX38877" y="connsiteY38877"/>
              </a:cxn>
              <a:cxn ang="0">
                <a:pos x="connsiteX38878" y="connsiteY38878"/>
              </a:cxn>
              <a:cxn ang="0">
                <a:pos x="connsiteX38879" y="connsiteY38879"/>
              </a:cxn>
              <a:cxn ang="0">
                <a:pos x="connsiteX38880" y="connsiteY38880"/>
              </a:cxn>
              <a:cxn ang="0">
                <a:pos x="connsiteX38881" y="connsiteY38881"/>
              </a:cxn>
              <a:cxn ang="0">
                <a:pos x="connsiteX38882" y="connsiteY38882"/>
              </a:cxn>
              <a:cxn ang="0">
                <a:pos x="connsiteX38883" y="connsiteY38883"/>
              </a:cxn>
              <a:cxn ang="0">
                <a:pos x="connsiteX38884" y="connsiteY38884"/>
              </a:cxn>
              <a:cxn ang="0">
                <a:pos x="connsiteX38885" y="connsiteY38885"/>
              </a:cxn>
              <a:cxn ang="0">
                <a:pos x="connsiteX38886" y="connsiteY38886"/>
              </a:cxn>
              <a:cxn ang="0">
                <a:pos x="connsiteX38887" y="connsiteY38887"/>
              </a:cxn>
              <a:cxn ang="0">
                <a:pos x="connsiteX38888" y="connsiteY38888"/>
              </a:cxn>
              <a:cxn ang="0">
                <a:pos x="connsiteX38889" y="connsiteY38889"/>
              </a:cxn>
              <a:cxn ang="0">
                <a:pos x="connsiteX38890" y="connsiteY38890"/>
              </a:cxn>
              <a:cxn ang="0">
                <a:pos x="connsiteX38891" y="connsiteY38891"/>
              </a:cxn>
              <a:cxn ang="0">
                <a:pos x="connsiteX38892" y="connsiteY38892"/>
              </a:cxn>
              <a:cxn ang="0">
                <a:pos x="connsiteX38893" y="connsiteY38893"/>
              </a:cxn>
              <a:cxn ang="0">
                <a:pos x="connsiteX38894" y="connsiteY38894"/>
              </a:cxn>
              <a:cxn ang="0">
                <a:pos x="connsiteX38895" y="connsiteY38895"/>
              </a:cxn>
              <a:cxn ang="0">
                <a:pos x="connsiteX38896" y="connsiteY38896"/>
              </a:cxn>
              <a:cxn ang="0">
                <a:pos x="connsiteX38897" y="connsiteY38897"/>
              </a:cxn>
              <a:cxn ang="0">
                <a:pos x="connsiteX38898" y="connsiteY38898"/>
              </a:cxn>
              <a:cxn ang="0">
                <a:pos x="connsiteX38899" y="connsiteY38899"/>
              </a:cxn>
              <a:cxn ang="0">
                <a:pos x="connsiteX38900" y="connsiteY38900"/>
              </a:cxn>
              <a:cxn ang="0">
                <a:pos x="connsiteX38901" y="connsiteY38901"/>
              </a:cxn>
              <a:cxn ang="0">
                <a:pos x="connsiteX38902" y="connsiteY38902"/>
              </a:cxn>
              <a:cxn ang="0">
                <a:pos x="connsiteX38903" y="connsiteY38903"/>
              </a:cxn>
              <a:cxn ang="0">
                <a:pos x="connsiteX38904" y="connsiteY38904"/>
              </a:cxn>
              <a:cxn ang="0">
                <a:pos x="connsiteX38905" y="connsiteY38905"/>
              </a:cxn>
              <a:cxn ang="0">
                <a:pos x="connsiteX38906" y="connsiteY38906"/>
              </a:cxn>
              <a:cxn ang="0">
                <a:pos x="connsiteX38907" y="connsiteY38907"/>
              </a:cxn>
              <a:cxn ang="0">
                <a:pos x="connsiteX38908" y="connsiteY38908"/>
              </a:cxn>
              <a:cxn ang="0">
                <a:pos x="connsiteX38909" y="connsiteY38909"/>
              </a:cxn>
              <a:cxn ang="0">
                <a:pos x="connsiteX38910" y="connsiteY38910"/>
              </a:cxn>
              <a:cxn ang="0">
                <a:pos x="connsiteX38911" y="connsiteY38911"/>
              </a:cxn>
              <a:cxn ang="0">
                <a:pos x="connsiteX38912" y="connsiteY38912"/>
              </a:cxn>
              <a:cxn ang="0">
                <a:pos x="connsiteX38913" y="connsiteY38913"/>
              </a:cxn>
              <a:cxn ang="0">
                <a:pos x="connsiteX38914" y="connsiteY38914"/>
              </a:cxn>
              <a:cxn ang="0">
                <a:pos x="connsiteX38915" y="connsiteY38915"/>
              </a:cxn>
              <a:cxn ang="0">
                <a:pos x="connsiteX38916" y="connsiteY38916"/>
              </a:cxn>
              <a:cxn ang="0">
                <a:pos x="connsiteX38917" y="connsiteY38917"/>
              </a:cxn>
              <a:cxn ang="0">
                <a:pos x="connsiteX38918" y="connsiteY38918"/>
              </a:cxn>
              <a:cxn ang="0">
                <a:pos x="connsiteX38919" y="connsiteY38919"/>
              </a:cxn>
              <a:cxn ang="0">
                <a:pos x="connsiteX38920" y="connsiteY38920"/>
              </a:cxn>
              <a:cxn ang="0">
                <a:pos x="connsiteX38921" y="connsiteY38921"/>
              </a:cxn>
              <a:cxn ang="0">
                <a:pos x="connsiteX38922" y="connsiteY38922"/>
              </a:cxn>
              <a:cxn ang="0">
                <a:pos x="connsiteX38923" y="connsiteY38923"/>
              </a:cxn>
              <a:cxn ang="0">
                <a:pos x="connsiteX38924" y="connsiteY38924"/>
              </a:cxn>
              <a:cxn ang="0">
                <a:pos x="connsiteX38925" y="connsiteY38925"/>
              </a:cxn>
              <a:cxn ang="0">
                <a:pos x="connsiteX38926" y="connsiteY38926"/>
              </a:cxn>
              <a:cxn ang="0">
                <a:pos x="connsiteX38927" y="connsiteY38927"/>
              </a:cxn>
              <a:cxn ang="0">
                <a:pos x="connsiteX38928" y="connsiteY38928"/>
              </a:cxn>
              <a:cxn ang="0">
                <a:pos x="connsiteX38929" y="connsiteY38929"/>
              </a:cxn>
              <a:cxn ang="0">
                <a:pos x="connsiteX38930" y="connsiteY38930"/>
              </a:cxn>
              <a:cxn ang="0">
                <a:pos x="connsiteX38931" y="connsiteY38931"/>
              </a:cxn>
              <a:cxn ang="0">
                <a:pos x="connsiteX38932" y="connsiteY38932"/>
              </a:cxn>
              <a:cxn ang="0">
                <a:pos x="connsiteX38933" y="connsiteY38933"/>
              </a:cxn>
              <a:cxn ang="0">
                <a:pos x="connsiteX38934" y="connsiteY38934"/>
              </a:cxn>
              <a:cxn ang="0">
                <a:pos x="connsiteX38935" y="connsiteY38935"/>
              </a:cxn>
              <a:cxn ang="0">
                <a:pos x="connsiteX38936" y="connsiteY38936"/>
              </a:cxn>
              <a:cxn ang="0">
                <a:pos x="connsiteX38937" y="connsiteY38937"/>
              </a:cxn>
              <a:cxn ang="0">
                <a:pos x="connsiteX38938" y="connsiteY38938"/>
              </a:cxn>
              <a:cxn ang="0">
                <a:pos x="connsiteX38939" y="connsiteY38939"/>
              </a:cxn>
              <a:cxn ang="0">
                <a:pos x="connsiteX38940" y="connsiteY38940"/>
              </a:cxn>
              <a:cxn ang="0">
                <a:pos x="connsiteX38941" y="connsiteY38941"/>
              </a:cxn>
              <a:cxn ang="0">
                <a:pos x="connsiteX38942" y="connsiteY38942"/>
              </a:cxn>
              <a:cxn ang="0">
                <a:pos x="connsiteX38943" y="connsiteY38943"/>
              </a:cxn>
              <a:cxn ang="0">
                <a:pos x="connsiteX38944" y="connsiteY38944"/>
              </a:cxn>
              <a:cxn ang="0">
                <a:pos x="connsiteX38945" y="connsiteY38945"/>
              </a:cxn>
              <a:cxn ang="0">
                <a:pos x="connsiteX38946" y="connsiteY38946"/>
              </a:cxn>
              <a:cxn ang="0">
                <a:pos x="connsiteX38947" y="connsiteY38947"/>
              </a:cxn>
              <a:cxn ang="0">
                <a:pos x="connsiteX38948" y="connsiteY38948"/>
              </a:cxn>
              <a:cxn ang="0">
                <a:pos x="connsiteX38949" y="connsiteY38949"/>
              </a:cxn>
              <a:cxn ang="0">
                <a:pos x="connsiteX38950" y="connsiteY38950"/>
              </a:cxn>
              <a:cxn ang="0">
                <a:pos x="connsiteX38951" y="connsiteY38951"/>
              </a:cxn>
              <a:cxn ang="0">
                <a:pos x="connsiteX38952" y="connsiteY38952"/>
              </a:cxn>
              <a:cxn ang="0">
                <a:pos x="connsiteX38953" y="connsiteY38953"/>
              </a:cxn>
              <a:cxn ang="0">
                <a:pos x="connsiteX38954" y="connsiteY38954"/>
              </a:cxn>
              <a:cxn ang="0">
                <a:pos x="connsiteX38955" y="connsiteY38955"/>
              </a:cxn>
              <a:cxn ang="0">
                <a:pos x="connsiteX38956" y="connsiteY38956"/>
              </a:cxn>
              <a:cxn ang="0">
                <a:pos x="connsiteX38957" y="connsiteY38957"/>
              </a:cxn>
              <a:cxn ang="0">
                <a:pos x="connsiteX38958" y="connsiteY38958"/>
              </a:cxn>
              <a:cxn ang="0">
                <a:pos x="connsiteX38959" y="connsiteY38959"/>
              </a:cxn>
              <a:cxn ang="0">
                <a:pos x="connsiteX38960" y="connsiteY38960"/>
              </a:cxn>
              <a:cxn ang="0">
                <a:pos x="connsiteX38961" y="connsiteY38961"/>
              </a:cxn>
              <a:cxn ang="0">
                <a:pos x="connsiteX38962" y="connsiteY38962"/>
              </a:cxn>
              <a:cxn ang="0">
                <a:pos x="connsiteX38963" y="connsiteY38963"/>
              </a:cxn>
              <a:cxn ang="0">
                <a:pos x="connsiteX38964" y="connsiteY38964"/>
              </a:cxn>
              <a:cxn ang="0">
                <a:pos x="connsiteX38965" y="connsiteY38965"/>
              </a:cxn>
              <a:cxn ang="0">
                <a:pos x="connsiteX38966" y="connsiteY38966"/>
              </a:cxn>
              <a:cxn ang="0">
                <a:pos x="connsiteX38967" y="connsiteY38967"/>
              </a:cxn>
              <a:cxn ang="0">
                <a:pos x="connsiteX38968" y="connsiteY38968"/>
              </a:cxn>
              <a:cxn ang="0">
                <a:pos x="connsiteX38969" y="connsiteY38969"/>
              </a:cxn>
              <a:cxn ang="0">
                <a:pos x="connsiteX38970" y="connsiteY38970"/>
              </a:cxn>
              <a:cxn ang="0">
                <a:pos x="connsiteX38971" y="connsiteY38971"/>
              </a:cxn>
              <a:cxn ang="0">
                <a:pos x="connsiteX38972" y="connsiteY38972"/>
              </a:cxn>
              <a:cxn ang="0">
                <a:pos x="connsiteX38973" y="connsiteY38973"/>
              </a:cxn>
              <a:cxn ang="0">
                <a:pos x="connsiteX38974" y="connsiteY38974"/>
              </a:cxn>
              <a:cxn ang="0">
                <a:pos x="connsiteX38975" y="connsiteY38975"/>
              </a:cxn>
              <a:cxn ang="0">
                <a:pos x="connsiteX38976" y="connsiteY38976"/>
              </a:cxn>
              <a:cxn ang="0">
                <a:pos x="connsiteX38977" y="connsiteY38977"/>
              </a:cxn>
              <a:cxn ang="0">
                <a:pos x="connsiteX38978" y="connsiteY38978"/>
              </a:cxn>
              <a:cxn ang="0">
                <a:pos x="connsiteX38979" y="connsiteY38979"/>
              </a:cxn>
              <a:cxn ang="0">
                <a:pos x="connsiteX38980" y="connsiteY38980"/>
              </a:cxn>
              <a:cxn ang="0">
                <a:pos x="connsiteX38981" y="connsiteY38981"/>
              </a:cxn>
              <a:cxn ang="0">
                <a:pos x="connsiteX38982" y="connsiteY38982"/>
              </a:cxn>
              <a:cxn ang="0">
                <a:pos x="connsiteX38983" y="connsiteY38983"/>
              </a:cxn>
              <a:cxn ang="0">
                <a:pos x="connsiteX38984" y="connsiteY38984"/>
              </a:cxn>
              <a:cxn ang="0">
                <a:pos x="connsiteX38985" y="connsiteY38985"/>
              </a:cxn>
              <a:cxn ang="0">
                <a:pos x="connsiteX38986" y="connsiteY38986"/>
              </a:cxn>
              <a:cxn ang="0">
                <a:pos x="connsiteX38987" y="connsiteY38987"/>
              </a:cxn>
              <a:cxn ang="0">
                <a:pos x="connsiteX38988" y="connsiteY38988"/>
              </a:cxn>
              <a:cxn ang="0">
                <a:pos x="connsiteX38989" y="connsiteY38989"/>
              </a:cxn>
              <a:cxn ang="0">
                <a:pos x="connsiteX38990" y="connsiteY38990"/>
              </a:cxn>
              <a:cxn ang="0">
                <a:pos x="connsiteX38991" y="connsiteY38991"/>
              </a:cxn>
              <a:cxn ang="0">
                <a:pos x="connsiteX38992" y="connsiteY38992"/>
              </a:cxn>
              <a:cxn ang="0">
                <a:pos x="connsiteX38993" y="connsiteY38993"/>
              </a:cxn>
              <a:cxn ang="0">
                <a:pos x="connsiteX38994" y="connsiteY38994"/>
              </a:cxn>
              <a:cxn ang="0">
                <a:pos x="connsiteX38995" y="connsiteY38995"/>
              </a:cxn>
              <a:cxn ang="0">
                <a:pos x="connsiteX38996" y="connsiteY38996"/>
              </a:cxn>
              <a:cxn ang="0">
                <a:pos x="connsiteX38997" y="connsiteY38997"/>
              </a:cxn>
              <a:cxn ang="0">
                <a:pos x="connsiteX38998" y="connsiteY38998"/>
              </a:cxn>
              <a:cxn ang="0">
                <a:pos x="connsiteX38999" y="connsiteY38999"/>
              </a:cxn>
              <a:cxn ang="0">
                <a:pos x="connsiteX39000" y="connsiteY39000"/>
              </a:cxn>
              <a:cxn ang="0">
                <a:pos x="connsiteX39001" y="connsiteY39001"/>
              </a:cxn>
              <a:cxn ang="0">
                <a:pos x="connsiteX39002" y="connsiteY39002"/>
              </a:cxn>
              <a:cxn ang="0">
                <a:pos x="connsiteX39003" y="connsiteY39003"/>
              </a:cxn>
              <a:cxn ang="0">
                <a:pos x="connsiteX39004" y="connsiteY39004"/>
              </a:cxn>
              <a:cxn ang="0">
                <a:pos x="connsiteX39005" y="connsiteY39005"/>
              </a:cxn>
              <a:cxn ang="0">
                <a:pos x="connsiteX39006" y="connsiteY39006"/>
              </a:cxn>
              <a:cxn ang="0">
                <a:pos x="connsiteX39007" y="connsiteY39007"/>
              </a:cxn>
              <a:cxn ang="0">
                <a:pos x="connsiteX39008" y="connsiteY39008"/>
              </a:cxn>
              <a:cxn ang="0">
                <a:pos x="connsiteX39009" y="connsiteY39009"/>
              </a:cxn>
              <a:cxn ang="0">
                <a:pos x="connsiteX39010" y="connsiteY39010"/>
              </a:cxn>
              <a:cxn ang="0">
                <a:pos x="connsiteX39011" y="connsiteY39011"/>
              </a:cxn>
              <a:cxn ang="0">
                <a:pos x="connsiteX39012" y="connsiteY39012"/>
              </a:cxn>
              <a:cxn ang="0">
                <a:pos x="connsiteX39013" y="connsiteY39013"/>
              </a:cxn>
              <a:cxn ang="0">
                <a:pos x="connsiteX39014" y="connsiteY39014"/>
              </a:cxn>
              <a:cxn ang="0">
                <a:pos x="connsiteX39015" y="connsiteY39015"/>
              </a:cxn>
              <a:cxn ang="0">
                <a:pos x="connsiteX39016" y="connsiteY39016"/>
              </a:cxn>
              <a:cxn ang="0">
                <a:pos x="connsiteX39017" y="connsiteY39017"/>
              </a:cxn>
              <a:cxn ang="0">
                <a:pos x="connsiteX39018" y="connsiteY39018"/>
              </a:cxn>
              <a:cxn ang="0">
                <a:pos x="connsiteX39019" y="connsiteY39019"/>
              </a:cxn>
              <a:cxn ang="0">
                <a:pos x="connsiteX39020" y="connsiteY39020"/>
              </a:cxn>
              <a:cxn ang="0">
                <a:pos x="connsiteX39021" y="connsiteY39021"/>
              </a:cxn>
              <a:cxn ang="0">
                <a:pos x="connsiteX39022" y="connsiteY39022"/>
              </a:cxn>
              <a:cxn ang="0">
                <a:pos x="connsiteX39023" y="connsiteY39023"/>
              </a:cxn>
              <a:cxn ang="0">
                <a:pos x="connsiteX39024" y="connsiteY39024"/>
              </a:cxn>
              <a:cxn ang="0">
                <a:pos x="connsiteX39025" y="connsiteY39025"/>
              </a:cxn>
              <a:cxn ang="0">
                <a:pos x="connsiteX39026" y="connsiteY39026"/>
              </a:cxn>
              <a:cxn ang="0">
                <a:pos x="connsiteX39027" y="connsiteY39027"/>
              </a:cxn>
              <a:cxn ang="0">
                <a:pos x="connsiteX39028" y="connsiteY39028"/>
              </a:cxn>
              <a:cxn ang="0">
                <a:pos x="connsiteX39029" y="connsiteY39029"/>
              </a:cxn>
              <a:cxn ang="0">
                <a:pos x="connsiteX39030" y="connsiteY39030"/>
              </a:cxn>
              <a:cxn ang="0">
                <a:pos x="connsiteX39031" y="connsiteY39031"/>
              </a:cxn>
              <a:cxn ang="0">
                <a:pos x="connsiteX39032" y="connsiteY39032"/>
              </a:cxn>
              <a:cxn ang="0">
                <a:pos x="connsiteX39033" y="connsiteY39033"/>
              </a:cxn>
              <a:cxn ang="0">
                <a:pos x="connsiteX39034" y="connsiteY39034"/>
              </a:cxn>
              <a:cxn ang="0">
                <a:pos x="connsiteX39035" y="connsiteY39035"/>
              </a:cxn>
              <a:cxn ang="0">
                <a:pos x="connsiteX39036" y="connsiteY39036"/>
              </a:cxn>
              <a:cxn ang="0">
                <a:pos x="connsiteX39037" y="connsiteY39037"/>
              </a:cxn>
              <a:cxn ang="0">
                <a:pos x="connsiteX39038" y="connsiteY39038"/>
              </a:cxn>
              <a:cxn ang="0">
                <a:pos x="connsiteX39039" y="connsiteY39039"/>
              </a:cxn>
              <a:cxn ang="0">
                <a:pos x="connsiteX39040" y="connsiteY39040"/>
              </a:cxn>
              <a:cxn ang="0">
                <a:pos x="connsiteX39041" y="connsiteY39041"/>
              </a:cxn>
              <a:cxn ang="0">
                <a:pos x="connsiteX39042" y="connsiteY39042"/>
              </a:cxn>
              <a:cxn ang="0">
                <a:pos x="connsiteX39043" y="connsiteY39043"/>
              </a:cxn>
              <a:cxn ang="0">
                <a:pos x="connsiteX39044" y="connsiteY39044"/>
              </a:cxn>
              <a:cxn ang="0">
                <a:pos x="connsiteX39045" y="connsiteY39045"/>
              </a:cxn>
              <a:cxn ang="0">
                <a:pos x="connsiteX39046" y="connsiteY39046"/>
              </a:cxn>
              <a:cxn ang="0">
                <a:pos x="connsiteX39047" y="connsiteY39047"/>
              </a:cxn>
              <a:cxn ang="0">
                <a:pos x="connsiteX39048" y="connsiteY39048"/>
              </a:cxn>
              <a:cxn ang="0">
                <a:pos x="connsiteX39049" y="connsiteY39049"/>
              </a:cxn>
              <a:cxn ang="0">
                <a:pos x="connsiteX39050" y="connsiteY39050"/>
              </a:cxn>
              <a:cxn ang="0">
                <a:pos x="connsiteX39051" y="connsiteY39051"/>
              </a:cxn>
              <a:cxn ang="0">
                <a:pos x="connsiteX39052" y="connsiteY39052"/>
              </a:cxn>
              <a:cxn ang="0">
                <a:pos x="connsiteX39053" y="connsiteY39053"/>
              </a:cxn>
              <a:cxn ang="0">
                <a:pos x="connsiteX39054" y="connsiteY39054"/>
              </a:cxn>
              <a:cxn ang="0">
                <a:pos x="connsiteX39055" y="connsiteY39055"/>
              </a:cxn>
              <a:cxn ang="0">
                <a:pos x="connsiteX39056" y="connsiteY39056"/>
              </a:cxn>
              <a:cxn ang="0">
                <a:pos x="connsiteX39057" y="connsiteY39057"/>
              </a:cxn>
              <a:cxn ang="0">
                <a:pos x="connsiteX39058" y="connsiteY39058"/>
              </a:cxn>
              <a:cxn ang="0">
                <a:pos x="connsiteX39059" y="connsiteY39059"/>
              </a:cxn>
              <a:cxn ang="0">
                <a:pos x="connsiteX39060" y="connsiteY39060"/>
              </a:cxn>
              <a:cxn ang="0">
                <a:pos x="connsiteX39061" y="connsiteY39061"/>
              </a:cxn>
              <a:cxn ang="0">
                <a:pos x="connsiteX39062" y="connsiteY39062"/>
              </a:cxn>
              <a:cxn ang="0">
                <a:pos x="connsiteX39063" y="connsiteY39063"/>
              </a:cxn>
              <a:cxn ang="0">
                <a:pos x="connsiteX39064" y="connsiteY39064"/>
              </a:cxn>
              <a:cxn ang="0">
                <a:pos x="connsiteX39065" y="connsiteY39065"/>
              </a:cxn>
              <a:cxn ang="0">
                <a:pos x="connsiteX39066" y="connsiteY39066"/>
              </a:cxn>
              <a:cxn ang="0">
                <a:pos x="connsiteX39067" y="connsiteY39067"/>
              </a:cxn>
              <a:cxn ang="0">
                <a:pos x="connsiteX39068" y="connsiteY39068"/>
              </a:cxn>
              <a:cxn ang="0">
                <a:pos x="connsiteX39069" y="connsiteY39069"/>
              </a:cxn>
              <a:cxn ang="0">
                <a:pos x="connsiteX39070" y="connsiteY39070"/>
              </a:cxn>
              <a:cxn ang="0">
                <a:pos x="connsiteX39071" y="connsiteY39071"/>
              </a:cxn>
              <a:cxn ang="0">
                <a:pos x="connsiteX39072" y="connsiteY39072"/>
              </a:cxn>
              <a:cxn ang="0">
                <a:pos x="connsiteX39073" y="connsiteY39073"/>
              </a:cxn>
              <a:cxn ang="0">
                <a:pos x="connsiteX39074" y="connsiteY39074"/>
              </a:cxn>
              <a:cxn ang="0">
                <a:pos x="connsiteX39075" y="connsiteY39075"/>
              </a:cxn>
              <a:cxn ang="0">
                <a:pos x="connsiteX39076" y="connsiteY39076"/>
              </a:cxn>
              <a:cxn ang="0">
                <a:pos x="connsiteX39077" y="connsiteY39077"/>
              </a:cxn>
              <a:cxn ang="0">
                <a:pos x="connsiteX39078" y="connsiteY39078"/>
              </a:cxn>
              <a:cxn ang="0">
                <a:pos x="connsiteX39079" y="connsiteY39079"/>
              </a:cxn>
              <a:cxn ang="0">
                <a:pos x="connsiteX39080" y="connsiteY39080"/>
              </a:cxn>
              <a:cxn ang="0">
                <a:pos x="connsiteX39081" y="connsiteY39081"/>
              </a:cxn>
              <a:cxn ang="0">
                <a:pos x="connsiteX39082" y="connsiteY39082"/>
              </a:cxn>
              <a:cxn ang="0">
                <a:pos x="connsiteX39083" y="connsiteY39083"/>
              </a:cxn>
              <a:cxn ang="0">
                <a:pos x="connsiteX39084" y="connsiteY39084"/>
              </a:cxn>
              <a:cxn ang="0">
                <a:pos x="connsiteX39085" y="connsiteY39085"/>
              </a:cxn>
              <a:cxn ang="0">
                <a:pos x="connsiteX39086" y="connsiteY39086"/>
              </a:cxn>
              <a:cxn ang="0">
                <a:pos x="connsiteX39087" y="connsiteY39087"/>
              </a:cxn>
              <a:cxn ang="0">
                <a:pos x="connsiteX39088" y="connsiteY39088"/>
              </a:cxn>
              <a:cxn ang="0">
                <a:pos x="connsiteX39089" y="connsiteY39089"/>
              </a:cxn>
              <a:cxn ang="0">
                <a:pos x="connsiteX39090" y="connsiteY39090"/>
              </a:cxn>
              <a:cxn ang="0">
                <a:pos x="connsiteX39091" y="connsiteY39091"/>
              </a:cxn>
              <a:cxn ang="0">
                <a:pos x="connsiteX39092" y="connsiteY39092"/>
              </a:cxn>
              <a:cxn ang="0">
                <a:pos x="connsiteX39093" y="connsiteY39093"/>
              </a:cxn>
              <a:cxn ang="0">
                <a:pos x="connsiteX39094" y="connsiteY39094"/>
              </a:cxn>
              <a:cxn ang="0">
                <a:pos x="connsiteX39095" y="connsiteY39095"/>
              </a:cxn>
              <a:cxn ang="0">
                <a:pos x="connsiteX39096" y="connsiteY39096"/>
              </a:cxn>
              <a:cxn ang="0">
                <a:pos x="connsiteX39097" y="connsiteY39097"/>
              </a:cxn>
              <a:cxn ang="0">
                <a:pos x="connsiteX39098" y="connsiteY39098"/>
              </a:cxn>
              <a:cxn ang="0">
                <a:pos x="connsiteX39099" y="connsiteY39099"/>
              </a:cxn>
              <a:cxn ang="0">
                <a:pos x="connsiteX39100" y="connsiteY39100"/>
              </a:cxn>
              <a:cxn ang="0">
                <a:pos x="connsiteX39101" y="connsiteY39101"/>
              </a:cxn>
              <a:cxn ang="0">
                <a:pos x="connsiteX39102" y="connsiteY39102"/>
              </a:cxn>
              <a:cxn ang="0">
                <a:pos x="connsiteX39103" y="connsiteY39103"/>
              </a:cxn>
              <a:cxn ang="0">
                <a:pos x="connsiteX39104" y="connsiteY39104"/>
              </a:cxn>
              <a:cxn ang="0">
                <a:pos x="connsiteX39105" y="connsiteY39105"/>
              </a:cxn>
              <a:cxn ang="0">
                <a:pos x="connsiteX39106" y="connsiteY39106"/>
              </a:cxn>
              <a:cxn ang="0">
                <a:pos x="connsiteX39107" y="connsiteY39107"/>
              </a:cxn>
              <a:cxn ang="0">
                <a:pos x="connsiteX39108" y="connsiteY39108"/>
              </a:cxn>
              <a:cxn ang="0">
                <a:pos x="connsiteX39109" y="connsiteY39109"/>
              </a:cxn>
              <a:cxn ang="0">
                <a:pos x="connsiteX39110" y="connsiteY39110"/>
              </a:cxn>
              <a:cxn ang="0">
                <a:pos x="connsiteX39111" y="connsiteY39111"/>
              </a:cxn>
              <a:cxn ang="0">
                <a:pos x="connsiteX39112" y="connsiteY39112"/>
              </a:cxn>
              <a:cxn ang="0">
                <a:pos x="connsiteX39113" y="connsiteY39113"/>
              </a:cxn>
              <a:cxn ang="0">
                <a:pos x="connsiteX39114" y="connsiteY39114"/>
              </a:cxn>
              <a:cxn ang="0">
                <a:pos x="connsiteX39115" y="connsiteY39115"/>
              </a:cxn>
              <a:cxn ang="0">
                <a:pos x="connsiteX39116" y="connsiteY39116"/>
              </a:cxn>
              <a:cxn ang="0">
                <a:pos x="connsiteX39117" y="connsiteY39117"/>
              </a:cxn>
              <a:cxn ang="0">
                <a:pos x="connsiteX39118" y="connsiteY39118"/>
              </a:cxn>
              <a:cxn ang="0">
                <a:pos x="connsiteX39119" y="connsiteY39119"/>
              </a:cxn>
              <a:cxn ang="0">
                <a:pos x="connsiteX39120" y="connsiteY39120"/>
              </a:cxn>
              <a:cxn ang="0">
                <a:pos x="connsiteX39121" y="connsiteY39121"/>
              </a:cxn>
              <a:cxn ang="0">
                <a:pos x="connsiteX39122" y="connsiteY39122"/>
              </a:cxn>
              <a:cxn ang="0">
                <a:pos x="connsiteX39123" y="connsiteY39123"/>
              </a:cxn>
              <a:cxn ang="0">
                <a:pos x="connsiteX39124" y="connsiteY39124"/>
              </a:cxn>
              <a:cxn ang="0">
                <a:pos x="connsiteX39125" y="connsiteY39125"/>
              </a:cxn>
              <a:cxn ang="0">
                <a:pos x="connsiteX39126" y="connsiteY39126"/>
              </a:cxn>
              <a:cxn ang="0">
                <a:pos x="connsiteX39127" y="connsiteY39127"/>
              </a:cxn>
              <a:cxn ang="0">
                <a:pos x="connsiteX39128" y="connsiteY39128"/>
              </a:cxn>
              <a:cxn ang="0">
                <a:pos x="connsiteX39129" y="connsiteY39129"/>
              </a:cxn>
              <a:cxn ang="0">
                <a:pos x="connsiteX39130" y="connsiteY39130"/>
              </a:cxn>
              <a:cxn ang="0">
                <a:pos x="connsiteX39131" y="connsiteY39131"/>
              </a:cxn>
              <a:cxn ang="0">
                <a:pos x="connsiteX39132" y="connsiteY39132"/>
              </a:cxn>
              <a:cxn ang="0">
                <a:pos x="connsiteX39133" y="connsiteY39133"/>
              </a:cxn>
              <a:cxn ang="0">
                <a:pos x="connsiteX39134" y="connsiteY39134"/>
              </a:cxn>
              <a:cxn ang="0">
                <a:pos x="connsiteX39135" y="connsiteY39135"/>
              </a:cxn>
              <a:cxn ang="0">
                <a:pos x="connsiteX39136" y="connsiteY39136"/>
              </a:cxn>
              <a:cxn ang="0">
                <a:pos x="connsiteX39137" y="connsiteY39137"/>
              </a:cxn>
              <a:cxn ang="0">
                <a:pos x="connsiteX39138" y="connsiteY39138"/>
              </a:cxn>
              <a:cxn ang="0">
                <a:pos x="connsiteX39139" y="connsiteY39139"/>
              </a:cxn>
              <a:cxn ang="0">
                <a:pos x="connsiteX39140" y="connsiteY39140"/>
              </a:cxn>
              <a:cxn ang="0">
                <a:pos x="connsiteX39141" y="connsiteY39141"/>
              </a:cxn>
              <a:cxn ang="0">
                <a:pos x="connsiteX39142" y="connsiteY39142"/>
              </a:cxn>
              <a:cxn ang="0">
                <a:pos x="connsiteX39143" y="connsiteY39143"/>
              </a:cxn>
              <a:cxn ang="0">
                <a:pos x="connsiteX39144" y="connsiteY39144"/>
              </a:cxn>
              <a:cxn ang="0">
                <a:pos x="connsiteX39145" y="connsiteY39145"/>
              </a:cxn>
              <a:cxn ang="0">
                <a:pos x="connsiteX39146" y="connsiteY39146"/>
              </a:cxn>
              <a:cxn ang="0">
                <a:pos x="connsiteX39147" y="connsiteY39147"/>
              </a:cxn>
              <a:cxn ang="0">
                <a:pos x="connsiteX39148" y="connsiteY39148"/>
              </a:cxn>
              <a:cxn ang="0">
                <a:pos x="connsiteX39149" y="connsiteY39149"/>
              </a:cxn>
              <a:cxn ang="0">
                <a:pos x="connsiteX39150" y="connsiteY39150"/>
              </a:cxn>
              <a:cxn ang="0">
                <a:pos x="connsiteX39151" y="connsiteY39151"/>
              </a:cxn>
              <a:cxn ang="0">
                <a:pos x="connsiteX39152" y="connsiteY39152"/>
              </a:cxn>
              <a:cxn ang="0">
                <a:pos x="connsiteX39153" y="connsiteY39153"/>
              </a:cxn>
              <a:cxn ang="0">
                <a:pos x="connsiteX39154" y="connsiteY39154"/>
              </a:cxn>
              <a:cxn ang="0">
                <a:pos x="connsiteX39155" y="connsiteY39155"/>
              </a:cxn>
              <a:cxn ang="0">
                <a:pos x="connsiteX39156" y="connsiteY39156"/>
              </a:cxn>
              <a:cxn ang="0">
                <a:pos x="connsiteX39157" y="connsiteY39157"/>
              </a:cxn>
              <a:cxn ang="0">
                <a:pos x="connsiteX39158" y="connsiteY39158"/>
              </a:cxn>
              <a:cxn ang="0">
                <a:pos x="connsiteX39159" y="connsiteY39159"/>
              </a:cxn>
              <a:cxn ang="0">
                <a:pos x="connsiteX39160" y="connsiteY39160"/>
              </a:cxn>
              <a:cxn ang="0">
                <a:pos x="connsiteX39161" y="connsiteY39161"/>
              </a:cxn>
              <a:cxn ang="0">
                <a:pos x="connsiteX39162" y="connsiteY39162"/>
              </a:cxn>
              <a:cxn ang="0">
                <a:pos x="connsiteX39163" y="connsiteY39163"/>
              </a:cxn>
              <a:cxn ang="0">
                <a:pos x="connsiteX39164" y="connsiteY39164"/>
              </a:cxn>
              <a:cxn ang="0">
                <a:pos x="connsiteX39165" y="connsiteY39165"/>
              </a:cxn>
              <a:cxn ang="0">
                <a:pos x="connsiteX39166" y="connsiteY39166"/>
              </a:cxn>
              <a:cxn ang="0">
                <a:pos x="connsiteX39167" y="connsiteY39167"/>
              </a:cxn>
              <a:cxn ang="0">
                <a:pos x="connsiteX39168" y="connsiteY39168"/>
              </a:cxn>
              <a:cxn ang="0">
                <a:pos x="connsiteX39169" y="connsiteY39169"/>
              </a:cxn>
              <a:cxn ang="0">
                <a:pos x="connsiteX39170" y="connsiteY39170"/>
              </a:cxn>
              <a:cxn ang="0">
                <a:pos x="connsiteX39171" y="connsiteY39171"/>
              </a:cxn>
              <a:cxn ang="0">
                <a:pos x="connsiteX39172" y="connsiteY39172"/>
              </a:cxn>
              <a:cxn ang="0">
                <a:pos x="connsiteX39173" y="connsiteY39173"/>
              </a:cxn>
              <a:cxn ang="0">
                <a:pos x="connsiteX39174" y="connsiteY39174"/>
              </a:cxn>
              <a:cxn ang="0">
                <a:pos x="connsiteX39175" y="connsiteY39175"/>
              </a:cxn>
              <a:cxn ang="0">
                <a:pos x="connsiteX39176" y="connsiteY39176"/>
              </a:cxn>
              <a:cxn ang="0">
                <a:pos x="connsiteX39177" y="connsiteY39177"/>
              </a:cxn>
              <a:cxn ang="0">
                <a:pos x="connsiteX39178" y="connsiteY39178"/>
              </a:cxn>
              <a:cxn ang="0">
                <a:pos x="connsiteX39179" y="connsiteY39179"/>
              </a:cxn>
              <a:cxn ang="0">
                <a:pos x="connsiteX39180" y="connsiteY39180"/>
              </a:cxn>
              <a:cxn ang="0">
                <a:pos x="connsiteX39181" y="connsiteY39181"/>
              </a:cxn>
              <a:cxn ang="0">
                <a:pos x="connsiteX39182" y="connsiteY39182"/>
              </a:cxn>
              <a:cxn ang="0">
                <a:pos x="connsiteX39183" y="connsiteY39183"/>
              </a:cxn>
              <a:cxn ang="0">
                <a:pos x="connsiteX39184" y="connsiteY39184"/>
              </a:cxn>
              <a:cxn ang="0">
                <a:pos x="connsiteX39185" y="connsiteY39185"/>
              </a:cxn>
              <a:cxn ang="0">
                <a:pos x="connsiteX39186" y="connsiteY39186"/>
              </a:cxn>
              <a:cxn ang="0">
                <a:pos x="connsiteX39187" y="connsiteY39187"/>
              </a:cxn>
              <a:cxn ang="0">
                <a:pos x="connsiteX39188" y="connsiteY39188"/>
              </a:cxn>
              <a:cxn ang="0">
                <a:pos x="connsiteX39189" y="connsiteY39189"/>
              </a:cxn>
              <a:cxn ang="0">
                <a:pos x="connsiteX39190" y="connsiteY39190"/>
              </a:cxn>
              <a:cxn ang="0">
                <a:pos x="connsiteX39191" y="connsiteY39191"/>
              </a:cxn>
              <a:cxn ang="0">
                <a:pos x="connsiteX39192" y="connsiteY39192"/>
              </a:cxn>
              <a:cxn ang="0">
                <a:pos x="connsiteX39193" y="connsiteY39193"/>
              </a:cxn>
              <a:cxn ang="0">
                <a:pos x="connsiteX39194" y="connsiteY39194"/>
              </a:cxn>
              <a:cxn ang="0">
                <a:pos x="connsiteX39195" y="connsiteY39195"/>
              </a:cxn>
              <a:cxn ang="0">
                <a:pos x="connsiteX39196" y="connsiteY39196"/>
              </a:cxn>
              <a:cxn ang="0">
                <a:pos x="connsiteX39197" y="connsiteY39197"/>
              </a:cxn>
              <a:cxn ang="0">
                <a:pos x="connsiteX39198" y="connsiteY39198"/>
              </a:cxn>
              <a:cxn ang="0">
                <a:pos x="connsiteX39199" y="connsiteY39199"/>
              </a:cxn>
              <a:cxn ang="0">
                <a:pos x="connsiteX39200" y="connsiteY39200"/>
              </a:cxn>
              <a:cxn ang="0">
                <a:pos x="connsiteX39201" y="connsiteY39201"/>
              </a:cxn>
              <a:cxn ang="0">
                <a:pos x="connsiteX39202" y="connsiteY39202"/>
              </a:cxn>
              <a:cxn ang="0">
                <a:pos x="connsiteX39203" y="connsiteY39203"/>
              </a:cxn>
              <a:cxn ang="0">
                <a:pos x="connsiteX39204" y="connsiteY39204"/>
              </a:cxn>
              <a:cxn ang="0">
                <a:pos x="connsiteX39205" y="connsiteY39205"/>
              </a:cxn>
              <a:cxn ang="0">
                <a:pos x="connsiteX39206" y="connsiteY39206"/>
              </a:cxn>
              <a:cxn ang="0">
                <a:pos x="connsiteX39207" y="connsiteY39207"/>
              </a:cxn>
              <a:cxn ang="0">
                <a:pos x="connsiteX39208" y="connsiteY39208"/>
              </a:cxn>
              <a:cxn ang="0">
                <a:pos x="connsiteX39209" y="connsiteY39209"/>
              </a:cxn>
              <a:cxn ang="0">
                <a:pos x="connsiteX39210" y="connsiteY39210"/>
              </a:cxn>
              <a:cxn ang="0">
                <a:pos x="connsiteX39211" y="connsiteY39211"/>
              </a:cxn>
              <a:cxn ang="0">
                <a:pos x="connsiteX39212" y="connsiteY39212"/>
              </a:cxn>
              <a:cxn ang="0">
                <a:pos x="connsiteX39213" y="connsiteY39213"/>
              </a:cxn>
              <a:cxn ang="0">
                <a:pos x="connsiteX39214" y="connsiteY39214"/>
              </a:cxn>
              <a:cxn ang="0">
                <a:pos x="connsiteX39215" y="connsiteY39215"/>
              </a:cxn>
              <a:cxn ang="0">
                <a:pos x="connsiteX39216" y="connsiteY39216"/>
              </a:cxn>
              <a:cxn ang="0">
                <a:pos x="connsiteX39217" y="connsiteY39217"/>
              </a:cxn>
              <a:cxn ang="0">
                <a:pos x="connsiteX39218" y="connsiteY39218"/>
              </a:cxn>
              <a:cxn ang="0">
                <a:pos x="connsiteX39219" y="connsiteY39219"/>
              </a:cxn>
              <a:cxn ang="0">
                <a:pos x="connsiteX39220" y="connsiteY39220"/>
              </a:cxn>
              <a:cxn ang="0">
                <a:pos x="connsiteX39221" y="connsiteY39221"/>
              </a:cxn>
              <a:cxn ang="0">
                <a:pos x="connsiteX39222" y="connsiteY39222"/>
              </a:cxn>
              <a:cxn ang="0">
                <a:pos x="connsiteX39223" y="connsiteY39223"/>
              </a:cxn>
              <a:cxn ang="0">
                <a:pos x="connsiteX39224" y="connsiteY39224"/>
              </a:cxn>
              <a:cxn ang="0">
                <a:pos x="connsiteX39225" y="connsiteY39225"/>
              </a:cxn>
              <a:cxn ang="0">
                <a:pos x="connsiteX39226" y="connsiteY39226"/>
              </a:cxn>
              <a:cxn ang="0">
                <a:pos x="connsiteX39227" y="connsiteY39227"/>
              </a:cxn>
              <a:cxn ang="0">
                <a:pos x="connsiteX39228" y="connsiteY39228"/>
              </a:cxn>
              <a:cxn ang="0">
                <a:pos x="connsiteX39229" y="connsiteY39229"/>
              </a:cxn>
              <a:cxn ang="0">
                <a:pos x="connsiteX39230" y="connsiteY39230"/>
              </a:cxn>
              <a:cxn ang="0">
                <a:pos x="connsiteX39231" y="connsiteY39231"/>
              </a:cxn>
              <a:cxn ang="0">
                <a:pos x="connsiteX39232" y="connsiteY39232"/>
              </a:cxn>
              <a:cxn ang="0">
                <a:pos x="connsiteX39233" y="connsiteY39233"/>
              </a:cxn>
              <a:cxn ang="0">
                <a:pos x="connsiteX39234" y="connsiteY39234"/>
              </a:cxn>
              <a:cxn ang="0">
                <a:pos x="connsiteX39235" y="connsiteY39235"/>
              </a:cxn>
              <a:cxn ang="0">
                <a:pos x="connsiteX39236" y="connsiteY39236"/>
              </a:cxn>
              <a:cxn ang="0">
                <a:pos x="connsiteX39237" y="connsiteY39237"/>
              </a:cxn>
              <a:cxn ang="0">
                <a:pos x="connsiteX39238" y="connsiteY39238"/>
              </a:cxn>
              <a:cxn ang="0">
                <a:pos x="connsiteX39239" y="connsiteY39239"/>
              </a:cxn>
              <a:cxn ang="0">
                <a:pos x="connsiteX39240" y="connsiteY39240"/>
              </a:cxn>
              <a:cxn ang="0">
                <a:pos x="connsiteX39241" y="connsiteY39241"/>
              </a:cxn>
              <a:cxn ang="0">
                <a:pos x="connsiteX39242" y="connsiteY39242"/>
              </a:cxn>
              <a:cxn ang="0">
                <a:pos x="connsiteX39243" y="connsiteY39243"/>
              </a:cxn>
              <a:cxn ang="0">
                <a:pos x="connsiteX39244" y="connsiteY39244"/>
              </a:cxn>
              <a:cxn ang="0">
                <a:pos x="connsiteX39245" y="connsiteY39245"/>
              </a:cxn>
              <a:cxn ang="0">
                <a:pos x="connsiteX39246" y="connsiteY39246"/>
              </a:cxn>
              <a:cxn ang="0">
                <a:pos x="connsiteX39247" y="connsiteY39247"/>
              </a:cxn>
              <a:cxn ang="0">
                <a:pos x="connsiteX39248" y="connsiteY39248"/>
              </a:cxn>
              <a:cxn ang="0">
                <a:pos x="connsiteX39249" y="connsiteY39249"/>
              </a:cxn>
              <a:cxn ang="0">
                <a:pos x="connsiteX39250" y="connsiteY39250"/>
              </a:cxn>
              <a:cxn ang="0">
                <a:pos x="connsiteX39251" y="connsiteY39251"/>
              </a:cxn>
              <a:cxn ang="0">
                <a:pos x="connsiteX39252" y="connsiteY39252"/>
              </a:cxn>
              <a:cxn ang="0">
                <a:pos x="connsiteX39253" y="connsiteY39253"/>
              </a:cxn>
              <a:cxn ang="0">
                <a:pos x="connsiteX39254" y="connsiteY39254"/>
              </a:cxn>
              <a:cxn ang="0">
                <a:pos x="connsiteX39255" y="connsiteY39255"/>
              </a:cxn>
              <a:cxn ang="0">
                <a:pos x="connsiteX39256" y="connsiteY39256"/>
              </a:cxn>
              <a:cxn ang="0">
                <a:pos x="connsiteX39257" y="connsiteY39257"/>
              </a:cxn>
              <a:cxn ang="0">
                <a:pos x="connsiteX39258" y="connsiteY39258"/>
              </a:cxn>
              <a:cxn ang="0">
                <a:pos x="connsiteX39259" y="connsiteY39259"/>
              </a:cxn>
              <a:cxn ang="0">
                <a:pos x="connsiteX39260" y="connsiteY39260"/>
              </a:cxn>
              <a:cxn ang="0">
                <a:pos x="connsiteX39261" y="connsiteY39261"/>
              </a:cxn>
              <a:cxn ang="0">
                <a:pos x="connsiteX39262" y="connsiteY39262"/>
              </a:cxn>
              <a:cxn ang="0">
                <a:pos x="connsiteX39263" y="connsiteY39263"/>
              </a:cxn>
              <a:cxn ang="0">
                <a:pos x="connsiteX39264" y="connsiteY39264"/>
              </a:cxn>
              <a:cxn ang="0">
                <a:pos x="connsiteX39265" y="connsiteY39265"/>
              </a:cxn>
              <a:cxn ang="0">
                <a:pos x="connsiteX39266" y="connsiteY39266"/>
              </a:cxn>
              <a:cxn ang="0">
                <a:pos x="connsiteX39267" y="connsiteY39267"/>
              </a:cxn>
              <a:cxn ang="0">
                <a:pos x="connsiteX39268" y="connsiteY39268"/>
              </a:cxn>
              <a:cxn ang="0">
                <a:pos x="connsiteX39269" y="connsiteY39269"/>
              </a:cxn>
              <a:cxn ang="0">
                <a:pos x="connsiteX39270" y="connsiteY39270"/>
              </a:cxn>
              <a:cxn ang="0">
                <a:pos x="connsiteX39271" y="connsiteY39271"/>
              </a:cxn>
              <a:cxn ang="0">
                <a:pos x="connsiteX39272" y="connsiteY39272"/>
              </a:cxn>
              <a:cxn ang="0">
                <a:pos x="connsiteX39273" y="connsiteY39273"/>
              </a:cxn>
              <a:cxn ang="0">
                <a:pos x="connsiteX39274" y="connsiteY39274"/>
              </a:cxn>
              <a:cxn ang="0">
                <a:pos x="connsiteX39275" y="connsiteY39275"/>
              </a:cxn>
              <a:cxn ang="0">
                <a:pos x="connsiteX39276" y="connsiteY39276"/>
              </a:cxn>
              <a:cxn ang="0">
                <a:pos x="connsiteX39277" y="connsiteY39277"/>
              </a:cxn>
              <a:cxn ang="0">
                <a:pos x="connsiteX39278" y="connsiteY39278"/>
              </a:cxn>
              <a:cxn ang="0">
                <a:pos x="connsiteX39279" y="connsiteY39279"/>
              </a:cxn>
              <a:cxn ang="0">
                <a:pos x="connsiteX39280" y="connsiteY39280"/>
              </a:cxn>
              <a:cxn ang="0">
                <a:pos x="connsiteX39281" y="connsiteY39281"/>
              </a:cxn>
              <a:cxn ang="0">
                <a:pos x="connsiteX39282" y="connsiteY39282"/>
              </a:cxn>
              <a:cxn ang="0">
                <a:pos x="connsiteX39283" y="connsiteY39283"/>
              </a:cxn>
              <a:cxn ang="0">
                <a:pos x="connsiteX39284" y="connsiteY39284"/>
              </a:cxn>
              <a:cxn ang="0">
                <a:pos x="connsiteX39285" y="connsiteY39285"/>
              </a:cxn>
              <a:cxn ang="0">
                <a:pos x="connsiteX39286" y="connsiteY39286"/>
              </a:cxn>
              <a:cxn ang="0">
                <a:pos x="connsiteX39287" y="connsiteY39287"/>
              </a:cxn>
              <a:cxn ang="0">
                <a:pos x="connsiteX39288" y="connsiteY39288"/>
              </a:cxn>
              <a:cxn ang="0">
                <a:pos x="connsiteX39289" y="connsiteY39289"/>
              </a:cxn>
              <a:cxn ang="0">
                <a:pos x="connsiteX39290" y="connsiteY39290"/>
              </a:cxn>
              <a:cxn ang="0">
                <a:pos x="connsiteX39291" y="connsiteY39291"/>
              </a:cxn>
              <a:cxn ang="0">
                <a:pos x="connsiteX39292" y="connsiteY39292"/>
              </a:cxn>
              <a:cxn ang="0">
                <a:pos x="connsiteX39293" y="connsiteY39293"/>
              </a:cxn>
              <a:cxn ang="0">
                <a:pos x="connsiteX39294" y="connsiteY39294"/>
              </a:cxn>
              <a:cxn ang="0">
                <a:pos x="connsiteX39295" y="connsiteY39295"/>
              </a:cxn>
              <a:cxn ang="0">
                <a:pos x="connsiteX39296" y="connsiteY39296"/>
              </a:cxn>
              <a:cxn ang="0">
                <a:pos x="connsiteX39297" y="connsiteY39297"/>
              </a:cxn>
              <a:cxn ang="0">
                <a:pos x="connsiteX39298" y="connsiteY39298"/>
              </a:cxn>
              <a:cxn ang="0">
                <a:pos x="connsiteX39299" y="connsiteY39299"/>
              </a:cxn>
              <a:cxn ang="0">
                <a:pos x="connsiteX39300" y="connsiteY39300"/>
              </a:cxn>
              <a:cxn ang="0">
                <a:pos x="connsiteX39301" y="connsiteY39301"/>
              </a:cxn>
              <a:cxn ang="0">
                <a:pos x="connsiteX39302" y="connsiteY39302"/>
              </a:cxn>
              <a:cxn ang="0">
                <a:pos x="connsiteX39303" y="connsiteY39303"/>
              </a:cxn>
              <a:cxn ang="0">
                <a:pos x="connsiteX39304" y="connsiteY39304"/>
              </a:cxn>
              <a:cxn ang="0">
                <a:pos x="connsiteX39305" y="connsiteY39305"/>
              </a:cxn>
              <a:cxn ang="0">
                <a:pos x="connsiteX39306" y="connsiteY39306"/>
              </a:cxn>
              <a:cxn ang="0">
                <a:pos x="connsiteX39307" y="connsiteY39307"/>
              </a:cxn>
              <a:cxn ang="0">
                <a:pos x="connsiteX39308" y="connsiteY39308"/>
              </a:cxn>
              <a:cxn ang="0">
                <a:pos x="connsiteX39309" y="connsiteY39309"/>
              </a:cxn>
              <a:cxn ang="0">
                <a:pos x="connsiteX39310" y="connsiteY39310"/>
              </a:cxn>
              <a:cxn ang="0">
                <a:pos x="connsiteX39311" y="connsiteY39311"/>
              </a:cxn>
              <a:cxn ang="0">
                <a:pos x="connsiteX39312" y="connsiteY39312"/>
              </a:cxn>
              <a:cxn ang="0">
                <a:pos x="connsiteX39313" y="connsiteY39313"/>
              </a:cxn>
              <a:cxn ang="0">
                <a:pos x="connsiteX39314" y="connsiteY39314"/>
              </a:cxn>
              <a:cxn ang="0">
                <a:pos x="connsiteX39315" y="connsiteY39315"/>
              </a:cxn>
              <a:cxn ang="0">
                <a:pos x="connsiteX39316" y="connsiteY39316"/>
              </a:cxn>
              <a:cxn ang="0">
                <a:pos x="connsiteX39317" y="connsiteY39317"/>
              </a:cxn>
              <a:cxn ang="0">
                <a:pos x="connsiteX39318" y="connsiteY39318"/>
              </a:cxn>
              <a:cxn ang="0">
                <a:pos x="connsiteX39319" y="connsiteY39319"/>
              </a:cxn>
              <a:cxn ang="0">
                <a:pos x="connsiteX39320" y="connsiteY39320"/>
              </a:cxn>
              <a:cxn ang="0">
                <a:pos x="connsiteX39321" y="connsiteY39321"/>
              </a:cxn>
              <a:cxn ang="0">
                <a:pos x="connsiteX39322" y="connsiteY39322"/>
              </a:cxn>
              <a:cxn ang="0">
                <a:pos x="connsiteX39323" y="connsiteY39323"/>
              </a:cxn>
              <a:cxn ang="0">
                <a:pos x="connsiteX39324" y="connsiteY39324"/>
              </a:cxn>
              <a:cxn ang="0">
                <a:pos x="connsiteX39325" y="connsiteY39325"/>
              </a:cxn>
              <a:cxn ang="0">
                <a:pos x="connsiteX39326" y="connsiteY39326"/>
              </a:cxn>
              <a:cxn ang="0">
                <a:pos x="connsiteX39327" y="connsiteY39327"/>
              </a:cxn>
              <a:cxn ang="0">
                <a:pos x="connsiteX39328" y="connsiteY39328"/>
              </a:cxn>
              <a:cxn ang="0">
                <a:pos x="connsiteX39329" y="connsiteY39329"/>
              </a:cxn>
              <a:cxn ang="0">
                <a:pos x="connsiteX39330" y="connsiteY39330"/>
              </a:cxn>
              <a:cxn ang="0">
                <a:pos x="connsiteX39331" y="connsiteY39331"/>
              </a:cxn>
              <a:cxn ang="0">
                <a:pos x="connsiteX39332" y="connsiteY39332"/>
              </a:cxn>
              <a:cxn ang="0">
                <a:pos x="connsiteX39333" y="connsiteY39333"/>
              </a:cxn>
              <a:cxn ang="0">
                <a:pos x="connsiteX39334" y="connsiteY39334"/>
              </a:cxn>
              <a:cxn ang="0">
                <a:pos x="connsiteX39335" y="connsiteY39335"/>
              </a:cxn>
              <a:cxn ang="0">
                <a:pos x="connsiteX39336" y="connsiteY39336"/>
              </a:cxn>
              <a:cxn ang="0">
                <a:pos x="connsiteX39337" y="connsiteY39337"/>
              </a:cxn>
              <a:cxn ang="0">
                <a:pos x="connsiteX39338" y="connsiteY39338"/>
              </a:cxn>
              <a:cxn ang="0">
                <a:pos x="connsiteX39339" y="connsiteY39339"/>
              </a:cxn>
              <a:cxn ang="0">
                <a:pos x="connsiteX39340" y="connsiteY39340"/>
              </a:cxn>
              <a:cxn ang="0">
                <a:pos x="connsiteX39341" y="connsiteY39341"/>
              </a:cxn>
              <a:cxn ang="0">
                <a:pos x="connsiteX39342" y="connsiteY39342"/>
              </a:cxn>
              <a:cxn ang="0">
                <a:pos x="connsiteX39343" y="connsiteY39343"/>
              </a:cxn>
              <a:cxn ang="0">
                <a:pos x="connsiteX39344" y="connsiteY39344"/>
              </a:cxn>
              <a:cxn ang="0">
                <a:pos x="connsiteX39345" y="connsiteY39345"/>
              </a:cxn>
              <a:cxn ang="0">
                <a:pos x="connsiteX39346" y="connsiteY39346"/>
              </a:cxn>
              <a:cxn ang="0">
                <a:pos x="connsiteX39347" y="connsiteY39347"/>
              </a:cxn>
              <a:cxn ang="0">
                <a:pos x="connsiteX39348" y="connsiteY39348"/>
              </a:cxn>
              <a:cxn ang="0">
                <a:pos x="connsiteX39349" y="connsiteY39349"/>
              </a:cxn>
              <a:cxn ang="0">
                <a:pos x="connsiteX39350" y="connsiteY39350"/>
              </a:cxn>
              <a:cxn ang="0">
                <a:pos x="connsiteX39351" y="connsiteY39351"/>
              </a:cxn>
              <a:cxn ang="0">
                <a:pos x="connsiteX39352" y="connsiteY39352"/>
              </a:cxn>
              <a:cxn ang="0">
                <a:pos x="connsiteX39353" y="connsiteY39353"/>
              </a:cxn>
              <a:cxn ang="0">
                <a:pos x="connsiteX39354" y="connsiteY39354"/>
              </a:cxn>
              <a:cxn ang="0">
                <a:pos x="connsiteX39355" y="connsiteY39355"/>
              </a:cxn>
              <a:cxn ang="0">
                <a:pos x="connsiteX39356" y="connsiteY39356"/>
              </a:cxn>
              <a:cxn ang="0">
                <a:pos x="connsiteX39357" y="connsiteY39357"/>
              </a:cxn>
              <a:cxn ang="0">
                <a:pos x="connsiteX39358" y="connsiteY39358"/>
              </a:cxn>
              <a:cxn ang="0">
                <a:pos x="connsiteX39359" y="connsiteY39359"/>
              </a:cxn>
              <a:cxn ang="0">
                <a:pos x="connsiteX39360" y="connsiteY39360"/>
              </a:cxn>
              <a:cxn ang="0">
                <a:pos x="connsiteX39361" y="connsiteY39361"/>
              </a:cxn>
              <a:cxn ang="0">
                <a:pos x="connsiteX39362" y="connsiteY39362"/>
              </a:cxn>
              <a:cxn ang="0">
                <a:pos x="connsiteX39363" y="connsiteY39363"/>
              </a:cxn>
              <a:cxn ang="0">
                <a:pos x="connsiteX39364" y="connsiteY39364"/>
              </a:cxn>
              <a:cxn ang="0">
                <a:pos x="connsiteX39365" y="connsiteY39365"/>
              </a:cxn>
              <a:cxn ang="0">
                <a:pos x="connsiteX39366" y="connsiteY39366"/>
              </a:cxn>
              <a:cxn ang="0">
                <a:pos x="connsiteX39367" y="connsiteY39367"/>
              </a:cxn>
              <a:cxn ang="0">
                <a:pos x="connsiteX39368" y="connsiteY39368"/>
              </a:cxn>
              <a:cxn ang="0">
                <a:pos x="connsiteX39369" y="connsiteY39369"/>
              </a:cxn>
              <a:cxn ang="0">
                <a:pos x="connsiteX39370" y="connsiteY39370"/>
              </a:cxn>
              <a:cxn ang="0">
                <a:pos x="connsiteX39371" y="connsiteY39371"/>
              </a:cxn>
              <a:cxn ang="0">
                <a:pos x="connsiteX39372" y="connsiteY39372"/>
              </a:cxn>
              <a:cxn ang="0">
                <a:pos x="connsiteX39373" y="connsiteY39373"/>
              </a:cxn>
              <a:cxn ang="0">
                <a:pos x="connsiteX39374" y="connsiteY39374"/>
              </a:cxn>
              <a:cxn ang="0">
                <a:pos x="connsiteX39375" y="connsiteY39375"/>
              </a:cxn>
              <a:cxn ang="0">
                <a:pos x="connsiteX39376" y="connsiteY39376"/>
              </a:cxn>
              <a:cxn ang="0">
                <a:pos x="connsiteX39377" y="connsiteY39377"/>
              </a:cxn>
              <a:cxn ang="0">
                <a:pos x="connsiteX39378" y="connsiteY39378"/>
              </a:cxn>
              <a:cxn ang="0">
                <a:pos x="connsiteX39379" y="connsiteY39379"/>
              </a:cxn>
              <a:cxn ang="0">
                <a:pos x="connsiteX39380" y="connsiteY39380"/>
              </a:cxn>
              <a:cxn ang="0">
                <a:pos x="connsiteX39381" y="connsiteY39381"/>
              </a:cxn>
              <a:cxn ang="0">
                <a:pos x="connsiteX39382" y="connsiteY39382"/>
              </a:cxn>
              <a:cxn ang="0">
                <a:pos x="connsiteX39383" y="connsiteY39383"/>
              </a:cxn>
              <a:cxn ang="0">
                <a:pos x="connsiteX39384" y="connsiteY39384"/>
              </a:cxn>
              <a:cxn ang="0">
                <a:pos x="connsiteX39385" y="connsiteY39385"/>
              </a:cxn>
              <a:cxn ang="0">
                <a:pos x="connsiteX39386" y="connsiteY39386"/>
              </a:cxn>
              <a:cxn ang="0">
                <a:pos x="connsiteX39387" y="connsiteY39387"/>
              </a:cxn>
              <a:cxn ang="0">
                <a:pos x="connsiteX39388" y="connsiteY39388"/>
              </a:cxn>
              <a:cxn ang="0">
                <a:pos x="connsiteX39389" y="connsiteY39389"/>
              </a:cxn>
              <a:cxn ang="0">
                <a:pos x="connsiteX39390" y="connsiteY39390"/>
              </a:cxn>
              <a:cxn ang="0">
                <a:pos x="connsiteX39391" y="connsiteY39391"/>
              </a:cxn>
              <a:cxn ang="0">
                <a:pos x="connsiteX39392" y="connsiteY39392"/>
              </a:cxn>
              <a:cxn ang="0">
                <a:pos x="connsiteX39393" y="connsiteY39393"/>
              </a:cxn>
              <a:cxn ang="0">
                <a:pos x="connsiteX39394" y="connsiteY39394"/>
              </a:cxn>
              <a:cxn ang="0">
                <a:pos x="connsiteX39395" y="connsiteY39395"/>
              </a:cxn>
              <a:cxn ang="0">
                <a:pos x="connsiteX39396" y="connsiteY39396"/>
              </a:cxn>
              <a:cxn ang="0">
                <a:pos x="connsiteX39397" y="connsiteY39397"/>
              </a:cxn>
              <a:cxn ang="0">
                <a:pos x="connsiteX39398" y="connsiteY39398"/>
              </a:cxn>
              <a:cxn ang="0">
                <a:pos x="connsiteX39399" y="connsiteY39399"/>
              </a:cxn>
              <a:cxn ang="0">
                <a:pos x="connsiteX39400" y="connsiteY39400"/>
              </a:cxn>
              <a:cxn ang="0">
                <a:pos x="connsiteX39401" y="connsiteY39401"/>
              </a:cxn>
              <a:cxn ang="0">
                <a:pos x="connsiteX39402" y="connsiteY39402"/>
              </a:cxn>
              <a:cxn ang="0">
                <a:pos x="connsiteX39403" y="connsiteY39403"/>
              </a:cxn>
              <a:cxn ang="0">
                <a:pos x="connsiteX39404" y="connsiteY39404"/>
              </a:cxn>
              <a:cxn ang="0">
                <a:pos x="connsiteX39405" y="connsiteY39405"/>
              </a:cxn>
              <a:cxn ang="0">
                <a:pos x="connsiteX39406" y="connsiteY39406"/>
              </a:cxn>
              <a:cxn ang="0">
                <a:pos x="connsiteX39407" y="connsiteY39407"/>
              </a:cxn>
              <a:cxn ang="0">
                <a:pos x="connsiteX39408" y="connsiteY39408"/>
              </a:cxn>
              <a:cxn ang="0">
                <a:pos x="connsiteX39409" y="connsiteY39409"/>
              </a:cxn>
              <a:cxn ang="0">
                <a:pos x="connsiteX39410" y="connsiteY39410"/>
              </a:cxn>
              <a:cxn ang="0">
                <a:pos x="connsiteX39411" y="connsiteY39411"/>
              </a:cxn>
              <a:cxn ang="0">
                <a:pos x="connsiteX39412" y="connsiteY39412"/>
              </a:cxn>
              <a:cxn ang="0">
                <a:pos x="connsiteX39413" y="connsiteY39413"/>
              </a:cxn>
              <a:cxn ang="0">
                <a:pos x="connsiteX39414" y="connsiteY39414"/>
              </a:cxn>
              <a:cxn ang="0">
                <a:pos x="connsiteX39415" y="connsiteY39415"/>
              </a:cxn>
              <a:cxn ang="0">
                <a:pos x="connsiteX39416" y="connsiteY39416"/>
              </a:cxn>
              <a:cxn ang="0">
                <a:pos x="connsiteX39417" y="connsiteY39417"/>
              </a:cxn>
              <a:cxn ang="0">
                <a:pos x="connsiteX39418" y="connsiteY39418"/>
              </a:cxn>
              <a:cxn ang="0">
                <a:pos x="connsiteX39419" y="connsiteY39419"/>
              </a:cxn>
              <a:cxn ang="0">
                <a:pos x="connsiteX39420" y="connsiteY39420"/>
              </a:cxn>
              <a:cxn ang="0">
                <a:pos x="connsiteX39421" y="connsiteY39421"/>
              </a:cxn>
              <a:cxn ang="0">
                <a:pos x="connsiteX39422" y="connsiteY39422"/>
              </a:cxn>
              <a:cxn ang="0">
                <a:pos x="connsiteX39423" y="connsiteY39423"/>
              </a:cxn>
              <a:cxn ang="0">
                <a:pos x="connsiteX39424" y="connsiteY39424"/>
              </a:cxn>
              <a:cxn ang="0">
                <a:pos x="connsiteX39425" y="connsiteY39425"/>
              </a:cxn>
              <a:cxn ang="0">
                <a:pos x="connsiteX39426" y="connsiteY39426"/>
              </a:cxn>
              <a:cxn ang="0">
                <a:pos x="connsiteX39427" y="connsiteY39427"/>
              </a:cxn>
              <a:cxn ang="0">
                <a:pos x="connsiteX39428" y="connsiteY39428"/>
              </a:cxn>
              <a:cxn ang="0">
                <a:pos x="connsiteX39429" y="connsiteY39429"/>
              </a:cxn>
              <a:cxn ang="0">
                <a:pos x="connsiteX39430" y="connsiteY39430"/>
              </a:cxn>
              <a:cxn ang="0">
                <a:pos x="connsiteX39431" y="connsiteY39431"/>
              </a:cxn>
              <a:cxn ang="0">
                <a:pos x="connsiteX39432" y="connsiteY39432"/>
              </a:cxn>
              <a:cxn ang="0">
                <a:pos x="connsiteX39433" y="connsiteY39433"/>
              </a:cxn>
              <a:cxn ang="0">
                <a:pos x="connsiteX39434" y="connsiteY39434"/>
              </a:cxn>
              <a:cxn ang="0">
                <a:pos x="connsiteX39435" y="connsiteY39435"/>
              </a:cxn>
              <a:cxn ang="0">
                <a:pos x="connsiteX39436" y="connsiteY39436"/>
              </a:cxn>
              <a:cxn ang="0">
                <a:pos x="connsiteX39437" y="connsiteY39437"/>
              </a:cxn>
              <a:cxn ang="0">
                <a:pos x="connsiteX39438" y="connsiteY39438"/>
              </a:cxn>
              <a:cxn ang="0">
                <a:pos x="connsiteX39439" y="connsiteY39439"/>
              </a:cxn>
              <a:cxn ang="0">
                <a:pos x="connsiteX39440" y="connsiteY39440"/>
              </a:cxn>
              <a:cxn ang="0">
                <a:pos x="connsiteX39441" y="connsiteY39441"/>
              </a:cxn>
              <a:cxn ang="0">
                <a:pos x="connsiteX39442" y="connsiteY39442"/>
              </a:cxn>
              <a:cxn ang="0">
                <a:pos x="connsiteX39443" y="connsiteY39443"/>
              </a:cxn>
              <a:cxn ang="0">
                <a:pos x="connsiteX39444" y="connsiteY39444"/>
              </a:cxn>
              <a:cxn ang="0">
                <a:pos x="connsiteX39445" y="connsiteY39445"/>
              </a:cxn>
              <a:cxn ang="0">
                <a:pos x="connsiteX39446" y="connsiteY39446"/>
              </a:cxn>
              <a:cxn ang="0">
                <a:pos x="connsiteX39447" y="connsiteY39447"/>
              </a:cxn>
              <a:cxn ang="0">
                <a:pos x="connsiteX39448" y="connsiteY39448"/>
              </a:cxn>
              <a:cxn ang="0">
                <a:pos x="connsiteX39449" y="connsiteY39449"/>
              </a:cxn>
              <a:cxn ang="0">
                <a:pos x="connsiteX39450" y="connsiteY39450"/>
              </a:cxn>
              <a:cxn ang="0">
                <a:pos x="connsiteX39451" y="connsiteY39451"/>
              </a:cxn>
              <a:cxn ang="0">
                <a:pos x="connsiteX39452" y="connsiteY39452"/>
              </a:cxn>
              <a:cxn ang="0">
                <a:pos x="connsiteX39453" y="connsiteY39453"/>
              </a:cxn>
              <a:cxn ang="0">
                <a:pos x="connsiteX39454" y="connsiteY39454"/>
              </a:cxn>
              <a:cxn ang="0">
                <a:pos x="connsiteX39455" y="connsiteY39455"/>
              </a:cxn>
              <a:cxn ang="0">
                <a:pos x="connsiteX39456" y="connsiteY39456"/>
              </a:cxn>
              <a:cxn ang="0">
                <a:pos x="connsiteX39457" y="connsiteY39457"/>
              </a:cxn>
              <a:cxn ang="0">
                <a:pos x="connsiteX39458" y="connsiteY39458"/>
              </a:cxn>
              <a:cxn ang="0">
                <a:pos x="connsiteX39459" y="connsiteY39459"/>
              </a:cxn>
              <a:cxn ang="0">
                <a:pos x="connsiteX39460" y="connsiteY39460"/>
              </a:cxn>
              <a:cxn ang="0">
                <a:pos x="connsiteX39461" y="connsiteY39461"/>
              </a:cxn>
              <a:cxn ang="0">
                <a:pos x="connsiteX39462" y="connsiteY39462"/>
              </a:cxn>
              <a:cxn ang="0">
                <a:pos x="connsiteX39463" y="connsiteY39463"/>
              </a:cxn>
              <a:cxn ang="0">
                <a:pos x="connsiteX39464" y="connsiteY39464"/>
              </a:cxn>
              <a:cxn ang="0">
                <a:pos x="connsiteX39465" y="connsiteY39465"/>
              </a:cxn>
              <a:cxn ang="0">
                <a:pos x="connsiteX39466" y="connsiteY39466"/>
              </a:cxn>
              <a:cxn ang="0">
                <a:pos x="connsiteX39467" y="connsiteY39467"/>
              </a:cxn>
              <a:cxn ang="0">
                <a:pos x="connsiteX39468" y="connsiteY39468"/>
              </a:cxn>
              <a:cxn ang="0">
                <a:pos x="connsiteX39469" y="connsiteY39469"/>
              </a:cxn>
              <a:cxn ang="0">
                <a:pos x="connsiteX39470" y="connsiteY39470"/>
              </a:cxn>
              <a:cxn ang="0">
                <a:pos x="connsiteX39471" y="connsiteY39471"/>
              </a:cxn>
              <a:cxn ang="0">
                <a:pos x="connsiteX39472" y="connsiteY39472"/>
              </a:cxn>
              <a:cxn ang="0">
                <a:pos x="connsiteX39473" y="connsiteY39473"/>
              </a:cxn>
              <a:cxn ang="0">
                <a:pos x="connsiteX39474" y="connsiteY39474"/>
              </a:cxn>
              <a:cxn ang="0">
                <a:pos x="connsiteX39475" y="connsiteY39475"/>
              </a:cxn>
              <a:cxn ang="0">
                <a:pos x="connsiteX39476" y="connsiteY39476"/>
              </a:cxn>
              <a:cxn ang="0">
                <a:pos x="connsiteX39477" y="connsiteY39477"/>
              </a:cxn>
              <a:cxn ang="0">
                <a:pos x="connsiteX39478" y="connsiteY39478"/>
              </a:cxn>
              <a:cxn ang="0">
                <a:pos x="connsiteX39479" y="connsiteY39479"/>
              </a:cxn>
              <a:cxn ang="0">
                <a:pos x="connsiteX39480" y="connsiteY39480"/>
              </a:cxn>
              <a:cxn ang="0">
                <a:pos x="connsiteX39481" y="connsiteY39481"/>
              </a:cxn>
              <a:cxn ang="0">
                <a:pos x="connsiteX39482" y="connsiteY39482"/>
              </a:cxn>
              <a:cxn ang="0">
                <a:pos x="connsiteX39483" y="connsiteY39483"/>
              </a:cxn>
              <a:cxn ang="0">
                <a:pos x="connsiteX39484" y="connsiteY39484"/>
              </a:cxn>
              <a:cxn ang="0">
                <a:pos x="connsiteX39485" y="connsiteY39485"/>
              </a:cxn>
              <a:cxn ang="0">
                <a:pos x="connsiteX39486" y="connsiteY39486"/>
              </a:cxn>
              <a:cxn ang="0">
                <a:pos x="connsiteX39487" y="connsiteY39487"/>
              </a:cxn>
              <a:cxn ang="0">
                <a:pos x="connsiteX39488" y="connsiteY39488"/>
              </a:cxn>
              <a:cxn ang="0">
                <a:pos x="connsiteX39489" y="connsiteY39489"/>
              </a:cxn>
              <a:cxn ang="0">
                <a:pos x="connsiteX39490" y="connsiteY39490"/>
              </a:cxn>
              <a:cxn ang="0">
                <a:pos x="connsiteX39491" y="connsiteY39491"/>
              </a:cxn>
              <a:cxn ang="0">
                <a:pos x="connsiteX39492" y="connsiteY39492"/>
              </a:cxn>
              <a:cxn ang="0">
                <a:pos x="connsiteX39493" y="connsiteY39493"/>
              </a:cxn>
              <a:cxn ang="0">
                <a:pos x="connsiteX39494" y="connsiteY39494"/>
              </a:cxn>
              <a:cxn ang="0">
                <a:pos x="connsiteX39495" y="connsiteY39495"/>
              </a:cxn>
              <a:cxn ang="0">
                <a:pos x="connsiteX39496" y="connsiteY39496"/>
              </a:cxn>
              <a:cxn ang="0">
                <a:pos x="connsiteX39497" y="connsiteY39497"/>
              </a:cxn>
              <a:cxn ang="0">
                <a:pos x="connsiteX39498" y="connsiteY39498"/>
              </a:cxn>
              <a:cxn ang="0">
                <a:pos x="connsiteX39499" y="connsiteY39499"/>
              </a:cxn>
              <a:cxn ang="0">
                <a:pos x="connsiteX39500" y="connsiteY39500"/>
              </a:cxn>
              <a:cxn ang="0">
                <a:pos x="connsiteX39501" y="connsiteY39501"/>
              </a:cxn>
              <a:cxn ang="0">
                <a:pos x="connsiteX39502" y="connsiteY39502"/>
              </a:cxn>
              <a:cxn ang="0">
                <a:pos x="connsiteX39503" y="connsiteY39503"/>
              </a:cxn>
              <a:cxn ang="0">
                <a:pos x="connsiteX39504" y="connsiteY39504"/>
              </a:cxn>
              <a:cxn ang="0">
                <a:pos x="connsiteX39505" y="connsiteY39505"/>
              </a:cxn>
              <a:cxn ang="0">
                <a:pos x="connsiteX39506" y="connsiteY39506"/>
              </a:cxn>
              <a:cxn ang="0">
                <a:pos x="connsiteX39507" y="connsiteY39507"/>
              </a:cxn>
              <a:cxn ang="0">
                <a:pos x="connsiteX39508" y="connsiteY39508"/>
              </a:cxn>
              <a:cxn ang="0">
                <a:pos x="connsiteX39509" y="connsiteY39509"/>
              </a:cxn>
              <a:cxn ang="0">
                <a:pos x="connsiteX39510" y="connsiteY39510"/>
              </a:cxn>
              <a:cxn ang="0">
                <a:pos x="connsiteX39511" y="connsiteY39511"/>
              </a:cxn>
              <a:cxn ang="0">
                <a:pos x="connsiteX39512" y="connsiteY39512"/>
              </a:cxn>
              <a:cxn ang="0">
                <a:pos x="connsiteX39513" y="connsiteY39513"/>
              </a:cxn>
              <a:cxn ang="0">
                <a:pos x="connsiteX39514" y="connsiteY39514"/>
              </a:cxn>
              <a:cxn ang="0">
                <a:pos x="connsiteX39515" y="connsiteY39515"/>
              </a:cxn>
              <a:cxn ang="0">
                <a:pos x="connsiteX39516" y="connsiteY39516"/>
              </a:cxn>
              <a:cxn ang="0">
                <a:pos x="connsiteX39517" y="connsiteY39517"/>
              </a:cxn>
              <a:cxn ang="0">
                <a:pos x="connsiteX39518" y="connsiteY39518"/>
              </a:cxn>
              <a:cxn ang="0">
                <a:pos x="connsiteX39519" y="connsiteY39519"/>
              </a:cxn>
              <a:cxn ang="0">
                <a:pos x="connsiteX39520" y="connsiteY39520"/>
              </a:cxn>
              <a:cxn ang="0">
                <a:pos x="connsiteX39521" y="connsiteY39521"/>
              </a:cxn>
              <a:cxn ang="0">
                <a:pos x="connsiteX39522" y="connsiteY39522"/>
              </a:cxn>
              <a:cxn ang="0">
                <a:pos x="connsiteX39523" y="connsiteY39523"/>
              </a:cxn>
              <a:cxn ang="0">
                <a:pos x="connsiteX39524" y="connsiteY39524"/>
              </a:cxn>
              <a:cxn ang="0">
                <a:pos x="connsiteX39525" y="connsiteY39525"/>
              </a:cxn>
              <a:cxn ang="0">
                <a:pos x="connsiteX39526" y="connsiteY39526"/>
              </a:cxn>
              <a:cxn ang="0">
                <a:pos x="connsiteX39527" y="connsiteY39527"/>
              </a:cxn>
              <a:cxn ang="0">
                <a:pos x="connsiteX39528" y="connsiteY39528"/>
              </a:cxn>
              <a:cxn ang="0">
                <a:pos x="connsiteX39529" y="connsiteY39529"/>
              </a:cxn>
              <a:cxn ang="0">
                <a:pos x="connsiteX39530" y="connsiteY39530"/>
              </a:cxn>
              <a:cxn ang="0">
                <a:pos x="connsiteX39531" y="connsiteY39531"/>
              </a:cxn>
              <a:cxn ang="0">
                <a:pos x="connsiteX39532" y="connsiteY39532"/>
              </a:cxn>
              <a:cxn ang="0">
                <a:pos x="connsiteX39533" y="connsiteY39533"/>
              </a:cxn>
              <a:cxn ang="0">
                <a:pos x="connsiteX39534" y="connsiteY39534"/>
              </a:cxn>
              <a:cxn ang="0">
                <a:pos x="connsiteX39535" y="connsiteY39535"/>
              </a:cxn>
              <a:cxn ang="0">
                <a:pos x="connsiteX39536" y="connsiteY39536"/>
              </a:cxn>
              <a:cxn ang="0">
                <a:pos x="connsiteX39537" y="connsiteY39537"/>
              </a:cxn>
              <a:cxn ang="0">
                <a:pos x="connsiteX39538" y="connsiteY39538"/>
              </a:cxn>
              <a:cxn ang="0">
                <a:pos x="connsiteX39539" y="connsiteY39539"/>
              </a:cxn>
              <a:cxn ang="0">
                <a:pos x="connsiteX39540" y="connsiteY39540"/>
              </a:cxn>
              <a:cxn ang="0">
                <a:pos x="connsiteX39541" y="connsiteY39541"/>
              </a:cxn>
              <a:cxn ang="0">
                <a:pos x="connsiteX39542" y="connsiteY39542"/>
              </a:cxn>
              <a:cxn ang="0">
                <a:pos x="connsiteX39543" y="connsiteY39543"/>
              </a:cxn>
              <a:cxn ang="0">
                <a:pos x="connsiteX39544" y="connsiteY39544"/>
              </a:cxn>
              <a:cxn ang="0">
                <a:pos x="connsiteX39545" y="connsiteY39545"/>
              </a:cxn>
              <a:cxn ang="0">
                <a:pos x="connsiteX39546" y="connsiteY39546"/>
              </a:cxn>
              <a:cxn ang="0">
                <a:pos x="connsiteX39547" y="connsiteY39547"/>
              </a:cxn>
              <a:cxn ang="0">
                <a:pos x="connsiteX39548" y="connsiteY39548"/>
              </a:cxn>
              <a:cxn ang="0">
                <a:pos x="connsiteX39549" y="connsiteY39549"/>
              </a:cxn>
              <a:cxn ang="0">
                <a:pos x="connsiteX39550" y="connsiteY39550"/>
              </a:cxn>
              <a:cxn ang="0">
                <a:pos x="connsiteX39551" y="connsiteY39551"/>
              </a:cxn>
              <a:cxn ang="0">
                <a:pos x="connsiteX39552" y="connsiteY39552"/>
              </a:cxn>
              <a:cxn ang="0">
                <a:pos x="connsiteX39553" y="connsiteY39553"/>
              </a:cxn>
              <a:cxn ang="0">
                <a:pos x="connsiteX39554" y="connsiteY39554"/>
              </a:cxn>
              <a:cxn ang="0">
                <a:pos x="connsiteX39555" y="connsiteY39555"/>
              </a:cxn>
              <a:cxn ang="0">
                <a:pos x="connsiteX39556" y="connsiteY39556"/>
              </a:cxn>
              <a:cxn ang="0">
                <a:pos x="connsiteX39557" y="connsiteY39557"/>
              </a:cxn>
              <a:cxn ang="0">
                <a:pos x="connsiteX39558" y="connsiteY39558"/>
              </a:cxn>
              <a:cxn ang="0">
                <a:pos x="connsiteX39559" y="connsiteY39559"/>
              </a:cxn>
              <a:cxn ang="0">
                <a:pos x="connsiteX39560" y="connsiteY39560"/>
              </a:cxn>
              <a:cxn ang="0">
                <a:pos x="connsiteX39561" y="connsiteY39561"/>
              </a:cxn>
              <a:cxn ang="0">
                <a:pos x="connsiteX39562" y="connsiteY39562"/>
              </a:cxn>
              <a:cxn ang="0">
                <a:pos x="connsiteX39563" y="connsiteY39563"/>
              </a:cxn>
              <a:cxn ang="0">
                <a:pos x="connsiteX39564" y="connsiteY39564"/>
              </a:cxn>
              <a:cxn ang="0">
                <a:pos x="connsiteX39565" y="connsiteY39565"/>
              </a:cxn>
              <a:cxn ang="0">
                <a:pos x="connsiteX39566" y="connsiteY39566"/>
              </a:cxn>
              <a:cxn ang="0">
                <a:pos x="connsiteX39567" y="connsiteY39567"/>
              </a:cxn>
              <a:cxn ang="0">
                <a:pos x="connsiteX39568" y="connsiteY39568"/>
              </a:cxn>
              <a:cxn ang="0">
                <a:pos x="connsiteX39569" y="connsiteY39569"/>
              </a:cxn>
              <a:cxn ang="0">
                <a:pos x="connsiteX39570" y="connsiteY39570"/>
              </a:cxn>
              <a:cxn ang="0">
                <a:pos x="connsiteX39571" y="connsiteY39571"/>
              </a:cxn>
              <a:cxn ang="0">
                <a:pos x="connsiteX39572" y="connsiteY39572"/>
              </a:cxn>
              <a:cxn ang="0">
                <a:pos x="connsiteX39573" y="connsiteY39573"/>
              </a:cxn>
              <a:cxn ang="0">
                <a:pos x="connsiteX39574" y="connsiteY39574"/>
              </a:cxn>
              <a:cxn ang="0">
                <a:pos x="connsiteX39575" y="connsiteY39575"/>
              </a:cxn>
              <a:cxn ang="0">
                <a:pos x="connsiteX39576" y="connsiteY39576"/>
              </a:cxn>
              <a:cxn ang="0">
                <a:pos x="connsiteX39577" y="connsiteY39577"/>
              </a:cxn>
              <a:cxn ang="0">
                <a:pos x="connsiteX39578" y="connsiteY39578"/>
              </a:cxn>
              <a:cxn ang="0">
                <a:pos x="connsiteX39579" y="connsiteY39579"/>
              </a:cxn>
              <a:cxn ang="0">
                <a:pos x="connsiteX39580" y="connsiteY39580"/>
              </a:cxn>
              <a:cxn ang="0">
                <a:pos x="connsiteX39581" y="connsiteY39581"/>
              </a:cxn>
              <a:cxn ang="0">
                <a:pos x="connsiteX39582" y="connsiteY39582"/>
              </a:cxn>
              <a:cxn ang="0">
                <a:pos x="connsiteX39583" y="connsiteY39583"/>
              </a:cxn>
              <a:cxn ang="0">
                <a:pos x="connsiteX39584" y="connsiteY39584"/>
              </a:cxn>
              <a:cxn ang="0">
                <a:pos x="connsiteX39585" y="connsiteY39585"/>
              </a:cxn>
              <a:cxn ang="0">
                <a:pos x="connsiteX39586" y="connsiteY39586"/>
              </a:cxn>
              <a:cxn ang="0">
                <a:pos x="connsiteX39587" y="connsiteY39587"/>
              </a:cxn>
              <a:cxn ang="0">
                <a:pos x="connsiteX39588" y="connsiteY39588"/>
              </a:cxn>
              <a:cxn ang="0">
                <a:pos x="connsiteX39589" y="connsiteY39589"/>
              </a:cxn>
              <a:cxn ang="0">
                <a:pos x="connsiteX39590" y="connsiteY39590"/>
              </a:cxn>
              <a:cxn ang="0">
                <a:pos x="connsiteX39591" y="connsiteY39591"/>
              </a:cxn>
              <a:cxn ang="0">
                <a:pos x="connsiteX39592" y="connsiteY39592"/>
              </a:cxn>
              <a:cxn ang="0">
                <a:pos x="connsiteX39593" y="connsiteY39593"/>
              </a:cxn>
              <a:cxn ang="0">
                <a:pos x="connsiteX39594" y="connsiteY39594"/>
              </a:cxn>
              <a:cxn ang="0">
                <a:pos x="connsiteX39595" y="connsiteY39595"/>
              </a:cxn>
              <a:cxn ang="0">
                <a:pos x="connsiteX39596" y="connsiteY39596"/>
              </a:cxn>
              <a:cxn ang="0">
                <a:pos x="connsiteX39597" y="connsiteY39597"/>
              </a:cxn>
              <a:cxn ang="0">
                <a:pos x="connsiteX39598" y="connsiteY39598"/>
              </a:cxn>
              <a:cxn ang="0">
                <a:pos x="connsiteX39599" y="connsiteY39599"/>
              </a:cxn>
              <a:cxn ang="0">
                <a:pos x="connsiteX39600" y="connsiteY39600"/>
              </a:cxn>
              <a:cxn ang="0">
                <a:pos x="connsiteX39601" y="connsiteY39601"/>
              </a:cxn>
              <a:cxn ang="0">
                <a:pos x="connsiteX39602" y="connsiteY39602"/>
              </a:cxn>
              <a:cxn ang="0">
                <a:pos x="connsiteX39603" y="connsiteY39603"/>
              </a:cxn>
              <a:cxn ang="0">
                <a:pos x="connsiteX39604" y="connsiteY39604"/>
              </a:cxn>
              <a:cxn ang="0">
                <a:pos x="connsiteX39605" y="connsiteY39605"/>
              </a:cxn>
              <a:cxn ang="0">
                <a:pos x="connsiteX39606" y="connsiteY39606"/>
              </a:cxn>
              <a:cxn ang="0">
                <a:pos x="connsiteX39607" y="connsiteY39607"/>
              </a:cxn>
              <a:cxn ang="0">
                <a:pos x="connsiteX39608" y="connsiteY39608"/>
              </a:cxn>
              <a:cxn ang="0">
                <a:pos x="connsiteX39609" y="connsiteY39609"/>
              </a:cxn>
              <a:cxn ang="0">
                <a:pos x="connsiteX39610" y="connsiteY39610"/>
              </a:cxn>
              <a:cxn ang="0">
                <a:pos x="connsiteX39611" y="connsiteY39611"/>
              </a:cxn>
              <a:cxn ang="0">
                <a:pos x="connsiteX39612" y="connsiteY39612"/>
              </a:cxn>
              <a:cxn ang="0">
                <a:pos x="connsiteX39613" y="connsiteY39613"/>
              </a:cxn>
              <a:cxn ang="0">
                <a:pos x="connsiteX39614" y="connsiteY39614"/>
              </a:cxn>
              <a:cxn ang="0">
                <a:pos x="connsiteX39615" y="connsiteY39615"/>
              </a:cxn>
              <a:cxn ang="0">
                <a:pos x="connsiteX39616" y="connsiteY39616"/>
              </a:cxn>
              <a:cxn ang="0">
                <a:pos x="connsiteX39617" y="connsiteY39617"/>
              </a:cxn>
              <a:cxn ang="0">
                <a:pos x="connsiteX39618" y="connsiteY39618"/>
              </a:cxn>
              <a:cxn ang="0">
                <a:pos x="connsiteX39619" y="connsiteY39619"/>
              </a:cxn>
              <a:cxn ang="0">
                <a:pos x="connsiteX39620" y="connsiteY39620"/>
              </a:cxn>
              <a:cxn ang="0">
                <a:pos x="connsiteX39621" y="connsiteY39621"/>
              </a:cxn>
              <a:cxn ang="0">
                <a:pos x="connsiteX39622" y="connsiteY39622"/>
              </a:cxn>
              <a:cxn ang="0">
                <a:pos x="connsiteX39623" y="connsiteY39623"/>
              </a:cxn>
              <a:cxn ang="0">
                <a:pos x="connsiteX39624" y="connsiteY39624"/>
              </a:cxn>
              <a:cxn ang="0">
                <a:pos x="connsiteX39625" y="connsiteY39625"/>
              </a:cxn>
              <a:cxn ang="0">
                <a:pos x="connsiteX39626" y="connsiteY39626"/>
              </a:cxn>
              <a:cxn ang="0">
                <a:pos x="connsiteX39627" y="connsiteY39627"/>
              </a:cxn>
              <a:cxn ang="0">
                <a:pos x="connsiteX39628" y="connsiteY39628"/>
              </a:cxn>
              <a:cxn ang="0">
                <a:pos x="connsiteX39629" y="connsiteY39629"/>
              </a:cxn>
              <a:cxn ang="0">
                <a:pos x="connsiteX39630" y="connsiteY39630"/>
              </a:cxn>
              <a:cxn ang="0">
                <a:pos x="connsiteX39631" y="connsiteY39631"/>
              </a:cxn>
              <a:cxn ang="0">
                <a:pos x="connsiteX39632" y="connsiteY39632"/>
              </a:cxn>
              <a:cxn ang="0">
                <a:pos x="connsiteX39633" y="connsiteY39633"/>
              </a:cxn>
              <a:cxn ang="0">
                <a:pos x="connsiteX39634" y="connsiteY39634"/>
              </a:cxn>
              <a:cxn ang="0">
                <a:pos x="connsiteX39635" y="connsiteY39635"/>
              </a:cxn>
              <a:cxn ang="0">
                <a:pos x="connsiteX39636" y="connsiteY39636"/>
              </a:cxn>
              <a:cxn ang="0">
                <a:pos x="connsiteX39637" y="connsiteY39637"/>
              </a:cxn>
              <a:cxn ang="0">
                <a:pos x="connsiteX39638" y="connsiteY39638"/>
              </a:cxn>
              <a:cxn ang="0">
                <a:pos x="connsiteX39639" y="connsiteY39639"/>
              </a:cxn>
              <a:cxn ang="0">
                <a:pos x="connsiteX39640" y="connsiteY39640"/>
              </a:cxn>
              <a:cxn ang="0">
                <a:pos x="connsiteX39641" y="connsiteY39641"/>
              </a:cxn>
              <a:cxn ang="0">
                <a:pos x="connsiteX39642" y="connsiteY39642"/>
              </a:cxn>
              <a:cxn ang="0">
                <a:pos x="connsiteX39643" y="connsiteY39643"/>
              </a:cxn>
              <a:cxn ang="0">
                <a:pos x="connsiteX39644" y="connsiteY39644"/>
              </a:cxn>
              <a:cxn ang="0">
                <a:pos x="connsiteX39645" y="connsiteY39645"/>
              </a:cxn>
              <a:cxn ang="0">
                <a:pos x="connsiteX39646" y="connsiteY39646"/>
              </a:cxn>
              <a:cxn ang="0">
                <a:pos x="connsiteX39647" y="connsiteY39647"/>
              </a:cxn>
              <a:cxn ang="0">
                <a:pos x="connsiteX39648" y="connsiteY39648"/>
              </a:cxn>
              <a:cxn ang="0">
                <a:pos x="connsiteX39649" y="connsiteY39649"/>
              </a:cxn>
              <a:cxn ang="0">
                <a:pos x="connsiteX39650" y="connsiteY39650"/>
              </a:cxn>
              <a:cxn ang="0">
                <a:pos x="connsiteX39651" y="connsiteY39651"/>
              </a:cxn>
              <a:cxn ang="0">
                <a:pos x="connsiteX39652" y="connsiteY39652"/>
              </a:cxn>
              <a:cxn ang="0">
                <a:pos x="connsiteX39653" y="connsiteY39653"/>
              </a:cxn>
              <a:cxn ang="0">
                <a:pos x="connsiteX39654" y="connsiteY39654"/>
              </a:cxn>
              <a:cxn ang="0">
                <a:pos x="connsiteX39655" y="connsiteY39655"/>
              </a:cxn>
              <a:cxn ang="0">
                <a:pos x="connsiteX39656" y="connsiteY39656"/>
              </a:cxn>
              <a:cxn ang="0">
                <a:pos x="connsiteX39657" y="connsiteY39657"/>
              </a:cxn>
              <a:cxn ang="0">
                <a:pos x="connsiteX39658" y="connsiteY39658"/>
              </a:cxn>
              <a:cxn ang="0">
                <a:pos x="connsiteX39659" y="connsiteY39659"/>
              </a:cxn>
              <a:cxn ang="0">
                <a:pos x="connsiteX39660" y="connsiteY39660"/>
              </a:cxn>
              <a:cxn ang="0">
                <a:pos x="connsiteX39661" y="connsiteY39661"/>
              </a:cxn>
              <a:cxn ang="0">
                <a:pos x="connsiteX39662" y="connsiteY39662"/>
              </a:cxn>
              <a:cxn ang="0">
                <a:pos x="connsiteX39663" y="connsiteY39663"/>
              </a:cxn>
              <a:cxn ang="0">
                <a:pos x="connsiteX39664" y="connsiteY39664"/>
              </a:cxn>
              <a:cxn ang="0">
                <a:pos x="connsiteX39665" y="connsiteY39665"/>
              </a:cxn>
              <a:cxn ang="0">
                <a:pos x="connsiteX39666" y="connsiteY39666"/>
              </a:cxn>
              <a:cxn ang="0">
                <a:pos x="connsiteX39667" y="connsiteY39667"/>
              </a:cxn>
              <a:cxn ang="0">
                <a:pos x="connsiteX39668" y="connsiteY39668"/>
              </a:cxn>
              <a:cxn ang="0">
                <a:pos x="connsiteX39669" y="connsiteY39669"/>
              </a:cxn>
              <a:cxn ang="0">
                <a:pos x="connsiteX39670" y="connsiteY39670"/>
              </a:cxn>
              <a:cxn ang="0">
                <a:pos x="connsiteX39671" y="connsiteY39671"/>
              </a:cxn>
              <a:cxn ang="0">
                <a:pos x="connsiteX39672" y="connsiteY39672"/>
              </a:cxn>
              <a:cxn ang="0">
                <a:pos x="connsiteX39673" y="connsiteY39673"/>
              </a:cxn>
              <a:cxn ang="0">
                <a:pos x="connsiteX39674" y="connsiteY39674"/>
              </a:cxn>
              <a:cxn ang="0">
                <a:pos x="connsiteX39675" y="connsiteY39675"/>
              </a:cxn>
              <a:cxn ang="0">
                <a:pos x="connsiteX39676" y="connsiteY39676"/>
              </a:cxn>
              <a:cxn ang="0">
                <a:pos x="connsiteX39677" y="connsiteY39677"/>
              </a:cxn>
              <a:cxn ang="0">
                <a:pos x="connsiteX39678" y="connsiteY39678"/>
              </a:cxn>
              <a:cxn ang="0">
                <a:pos x="connsiteX39679" y="connsiteY39679"/>
              </a:cxn>
              <a:cxn ang="0">
                <a:pos x="connsiteX39680" y="connsiteY39680"/>
              </a:cxn>
              <a:cxn ang="0">
                <a:pos x="connsiteX39681" y="connsiteY39681"/>
              </a:cxn>
              <a:cxn ang="0">
                <a:pos x="connsiteX39682" y="connsiteY39682"/>
              </a:cxn>
              <a:cxn ang="0">
                <a:pos x="connsiteX39683" y="connsiteY39683"/>
              </a:cxn>
              <a:cxn ang="0">
                <a:pos x="connsiteX39684" y="connsiteY39684"/>
              </a:cxn>
              <a:cxn ang="0">
                <a:pos x="connsiteX39685" y="connsiteY39685"/>
              </a:cxn>
              <a:cxn ang="0">
                <a:pos x="connsiteX39686" y="connsiteY39686"/>
              </a:cxn>
              <a:cxn ang="0">
                <a:pos x="connsiteX39687" y="connsiteY39687"/>
              </a:cxn>
              <a:cxn ang="0">
                <a:pos x="connsiteX39688" y="connsiteY39688"/>
              </a:cxn>
              <a:cxn ang="0">
                <a:pos x="connsiteX39689" y="connsiteY39689"/>
              </a:cxn>
              <a:cxn ang="0">
                <a:pos x="connsiteX39690" y="connsiteY39690"/>
              </a:cxn>
              <a:cxn ang="0">
                <a:pos x="connsiteX39691" y="connsiteY39691"/>
              </a:cxn>
              <a:cxn ang="0">
                <a:pos x="connsiteX39692" y="connsiteY39692"/>
              </a:cxn>
              <a:cxn ang="0">
                <a:pos x="connsiteX39693" y="connsiteY39693"/>
              </a:cxn>
              <a:cxn ang="0">
                <a:pos x="connsiteX39694" y="connsiteY39694"/>
              </a:cxn>
              <a:cxn ang="0">
                <a:pos x="connsiteX39695" y="connsiteY39695"/>
              </a:cxn>
              <a:cxn ang="0">
                <a:pos x="connsiteX39696" y="connsiteY39696"/>
              </a:cxn>
              <a:cxn ang="0">
                <a:pos x="connsiteX39697" y="connsiteY39697"/>
              </a:cxn>
              <a:cxn ang="0">
                <a:pos x="connsiteX39698" y="connsiteY39698"/>
              </a:cxn>
              <a:cxn ang="0">
                <a:pos x="connsiteX39699" y="connsiteY39699"/>
              </a:cxn>
              <a:cxn ang="0">
                <a:pos x="connsiteX39700" y="connsiteY39700"/>
              </a:cxn>
              <a:cxn ang="0">
                <a:pos x="connsiteX39701" y="connsiteY39701"/>
              </a:cxn>
              <a:cxn ang="0">
                <a:pos x="connsiteX39702" y="connsiteY39702"/>
              </a:cxn>
              <a:cxn ang="0">
                <a:pos x="connsiteX39703" y="connsiteY39703"/>
              </a:cxn>
              <a:cxn ang="0">
                <a:pos x="connsiteX39704" y="connsiteY39704"/>
              </a:cxn>
              <a:cxn ang="0">
                <a:pos x="connsiteX39705" y="connsiteY39705"/>
              </a:cxn>
              <a:cxn ang="0">
                <a:pos x="connsiteX39706" y="connsiteY39706"/>
              </a:cxn>
              <a:cxn ang="0">
                <a:pos x="connsiteX39707" y="connsiteY39707"/>
              </a:cxn>
              <a:cxn ang="0">
                <a:pos x="connsiteX39708" y="connsiteY39708"/>
              </a:cxn>
              <a:cxn ang="0">
                <a:pos x="connsiteX39709" y="connsiteY39709"/>
              </a:cxn>
              <a:cxn ang="0">
                <a:pos x="connsiteX39710" y="connsiteY39710"/>
              </a:cxn>
              <a:cxn ang="0">
                <a:pos x="connsiteX39711" y="connsiteY39711"/>
              </a:cxn>
              <a:cxn ang="0">
                <a:pos x="connsiteX39712" y="connsiteY39712"/>
              </a:cxn>
              <a:cxn ang="0">
                <a:pos x="connsiteX39713" y="connsiteY39713"/>
              </a:cxn>
              <a:cxn ang="0">
                <a:pos x="connsiteX39714" y="connsiteY39714"/>
              </a:cxn>
              <a:cxn ang="0">
                <a:pos x="connsiteX39715" y="connsiteY39715"/>
              </a:cxn>
              <a:cxn ang="0">
                <a:pos x="connsiteX39716" y="connsiteY39716"/>
              </a:cxn>
              <a:cxn ang="0">
                <a:pos x="connsiteX39717" y="connsiteY39717"/>
              </a:cxn>
              <a:cxn ang="0">
                <a:pos x="connsiteX39718" y="connsiteY39718"/>
              </a:cxn>
              <a:cxn ang="0">
                <a:pos x="connsiteX39719" y="connsiteY39719"/>
              </a:cxn>
              <a:cxn ang="0">
                <a:pos x="connsiteX39720" y="connsiteY39720"/>
              </a:cxn>
              <a:cxn ang="0">
                <a:pos x="connsiteX39721" y="connsiteY39721"/>
              </a:cxn>
              <a:cxn ang="0">
                <a:pos x="connsiteX39722" y="connsiteY39722"/>
              </a:cxn>
              <a:cxn ang="0">
                <a:pos x="connsiteX39723" y="connsiteY39723"/>
              </a:cxn>
              <a:cxn ang="0">
                <a:pos x="connsiteX39724" y="connsiteY39724"/>
              </a:cxn>
              <a:cxn ang="0">
                <a:pos x="connsiteX39725" y="connsiteY39725"/>
              </a:cxn>
              <a:cxn ang="0">
                <a:pos x="connsiteX39726" y="connsiteY39726"/>
              </a:cxn>
              <a:cxn ang="0">
                <a:pos x="connsiteX39727" y="connsiteY39727"/>
              </a:cxn>
              <a:cxn ang="0">
                <a:pos x="connsiteX39728" y="connsiteY39728"/>
              </a:cxn>
              <a:cxn ang="0">
                <a:pos x="connsiteX39729" y="connsiteY39729"/>
              </a:cxn>
              <a:cxn ang="0">
                <a:pos x="connsiteX39730" y="connsiteY39730"/>
              </a:cxn>
              <a:cxn ang="0">
                <a:pos x="connsiteX39731" y="connsiteY39731"/>
              </a:cxn>
              <a:cxn ang="0">
                <a:pos x="connsiteX39732" y="connsiteY39732"/>
              </a:cxn>
              <a:cxn ang="0">
                <a:pos x="connsiteX39733" y="connsiteY39733"/>
              </a:cxn>
              <a:cxn ang="0">
                <a:pos x="connsiteX39734" y="connsiteY39734"/>
              </a:cxn>
              <a:cxn ang="0">
                <a:pos x="connsiteX39735" y="connsiteY39735"/>
              </a:cxn>
              <a:cxn ang="0">
                <a:pos x="connsiteX39736" y="connsiteY39736"/>
              </a:cxn>
              <a:cxn ang="0">
                <a:pos x="connsiteX39737" y="connsiteY39737"/>
              </a:cxn>
              <a:cxn ang="0">
                <a:pos x="connsiteX39738" y="connsiteY39738"/>
              </a:cxn>
              <a:cxn ang="0">
                <a:pos x="connsiteX39739" y="connsiteY39739"/>
              </a:cxn>
              <a:cxn ang="0">
                <a:pos x="connsiteX39740" y="connsiteY39740"/>
              </a:cxn>
              <a:cxn ang="0">
                <a:pos x="connsiteX39741" y="connsiteY39741"/>
              </a:cxn>
              <a:cxn ang="0">
                <a:pos x="connsiteX39742" y="connsiteY39742"/>
              </a:cxn>
              <a:cxn ang="0">
                <a:pos x="connsiteX39743" y="connsiteY39743"/>
              </a:cxn>
              <a:cxn ang="0">
                <a:pos x="connsiteX39744" y="connsiteY39744"/>
              </a:cxn>
              <a:cxn ang="0">
                <a:pos x="connsiteX39745" y="connsiteY39745"/>
              </a:cxn>
              <a:cxn ang="0">
                <a:pos x="connsiteX39746" y="connsiteY39746"/>
              </a:cxn>
              <a:cxn ang="0">
                <a:pos x="connsiteX39747" y="connsiteY39747"/>
              </a:cxn>
              <a:cxn ang="0">
                <a:pos x="connsiteX39748" y="connsiteY39748"/>
              </a:cxn>
              <a:cxn ang="0">
                <a:pos x="connsiteX39749" y="connsiteY39749"/>
              </a:cxn>
              <a:cxn ang="0">
                <a:pos x="connsiteX39750" y="connsiteY39750"/>
              </a:cxn>
              <a:cxn ang="0">
                <a:pos x="connsiteX39751" y="connsiteY39751"/>
              </a:cxn>
              <a:cxn ang="0">
                <a:pos x="connsiteX39752" y="connsiteY39752"/>
              </a:cxn>
              <a:cxn ang="0">
                <a:pos x="connsiteX39753" y="connsiteY39753"/>
              </a:cxn>
              <a:cxn ang="0">
                <a:pos x="connsiteX39754" y="connsiteY39754"/>
              </a:cxn>
              <a:cxn ang="0">
                <a:pos x="connsiteX39755" y="connsiteY39755"/>
              </a:cxn>
              <a:cxn ang="0">
                <a:pos x="connsiteX39756" y="connsiteY39756"/>
              </a:cxn>
              <a:cxn ang="0">
                <a:pos x="connsiteX39757" y="connsiteY39757"/>
              </a:cxn>
              <a:cxn ang="0">
                <a:pos x="connsiteX39758" y="connsiteY39758"/>
              </a:cxn>
              <a:cxn ang="0">
                <a:pos x="connsiteX39759" y="connsiteY39759"/>
              </a:cxn>
              <a:cxn ang="0">
                <a:pos x="connsiteX39760" y="connsiteY39760"/>
              </a:cxn>
              <a:cxn ang="0">
                <a:pos x="connsiteX39761" y="connsiteY39761"/>
              </a:cxn>
              <a:cxn ang="0">
                <a:pos x="connsiteX39762" y="connsiteY39762"/>
              </a:cxn>
              <a:cxn ang="0">
                <a:pos x="connsiteX39763" y="connsiteY39763"/>
              </a:cxn>
              <a:cxn ang="0">
                <a:pos x="connsiteX39764" y="connsiteY39764"/>
              </a:cxn>
              <a:cxn ang="0">
                <a:pos x="connsiteX39765" y="connsiteY39765"/>
              </a:cxn>
              <a:cxn ang="0">
                <a:pos x="connsiteX39766" y="connsiteY39766"/>
              </a:cxn>
              <a:cxn ang="0">
                <a:pos x="connsiteX39767" y="connsiteY39767"/>
              </a:cxn>
              <a:cxn ang="0">
                <a:pos x="connsiteX39768" y="connsiteY39768"/>
              </a:cxn>
              <a:cxn ang="0">
                <a:pos x="connsiteX39769" y="connsiteY39769"/>
              </a:cxn>
              <a:cxn ang="0">
                <a:pos x="connsiteX39770" y="connsiteY39770"/>
              </a:cxn>
              <a:cxn ang="0">
                <a:pos x="connsiteX39771" y="connsiteY39771"/>
              </a:cxn>
              <a:cxn ang="0">
                <a:pos x="connsiteX39772" y="connsiteY39772"/>
              </a:cxn>
              <a:cxn ang="0">
                <a:pos x="connsiteX39773" y="connsiteY39773"/>
              </a:cxn>
              <a:cxn ang="0">
                <a:pos x="connsiteX39774" y="connsiteY39774"/>
              </a:cxn>
              <a:cxn ang="0">
                <a:pos x="connsiteX39775" y="connsiteY39775"/>
              </a:cxn>
              <a:cxn ang="0">
                <a:pos x="connsiteX39776" y="connsiteY39776"/>
              </a:cxn>
              <a:cxn ang="0">
                <a:pos x="connsiteX39777" y="connsiteY39777"/>
              </a:cxn>
              <a:cxn ang="0">
                <a:pos x="connsiteX39778" y="connsiteY39778"/>
              </a:cxn>
              <a:cxn ang="0">
                <a:pos x="connsiteX39779" y="connsiteY39779"/>
              </a:cxn>
              <a:cxn ang="0">
                <a:pos x="connsiteX39780" y="connsiteY39780"/>
              </a:cxn>
              <a:cxn ang="0">
                <a:pos x="connsiteX39781" y="connsiteY39781"/>
              </a:cxn>
              <a:cxn ang="0">
                <a:pos x="connsiteX39782" y="connsiteY39782"/>
              </a:cxn>
              <a:cxn ang="0">
                <a:pos x="connsiteX39783" y="connsiteY39783"/>
              </a:cxn>
              <a:cxn ang="0">
                <a:pos x="connsiteX39784" y="connsiteY39784"/>
              </a:cxn>
              <a:cxn ang="0">
                <a:pos x="connsiteX39785" y="connsiteY39785"/>
              </a:cxn>
              <a:cxn ang="0">
                <a:pos x="connsiteX39786" y="connsiteY39786"/>
              </a:cxn>
              <a:cxn ang="0">
                <a:pos x="connsiteX39787" y="connsiteY39787"/>
              </a:cxn>
              <a:cxn ang="0">
                <a:pos x="connsiteX39788" y="connsiteY39788"/>
              </a:cxn>
              <a:cxn ang="0">
                <a:pos x="connsiteX39789" y="connsiteY39789"/>
              </a:cxn>
              <a:cxn ang="0">
                <a:pos x="connsiteX39790" y="connsiteY39790"/>
              </a:cxn>
              <a:cxn ang="0">
                <a:pos x="connsiteX39791" y="connsiteY39791"/>
              </a:cxn>
              <a:cxn ang="0">
                <a:pos x="connsiteX39792" y="connsiteY39792"/>
              </a:cxn>
              <a:cxn ang="0">
                <a:pos x="connsiteX39793" y="connsiteY39793"/>
              </a:cxn>
              <a:cxn ang="0">
                <a:pos x="connsiteX39794" y="connsiteY39794"/>
              </a:cxn>
              <a:cxn ang="0">
                <a:pos x="connsiteX39795" y="connsiteY39795"/>
              </a:cxn>
              <a:cxn ang="0">
                <a:pos x="connsiteX39796" y="connsiteY39796"/>
              </a:cxn>
              <a:cxn ang="0">
                <a:pos x="connsiteX39797" y="connsiteY39797"/>
              </a:cxn>
              <a:cxn ang="0">
                <a:pos x="connsiteX39798" y="connsiteY39798"/>
              </a:cxn>
              <a:cxn ang="0">
                <a:pos x="connsiteX39799" y="connsiteY39799"/>
              </a:cxn>
              <a:cxn ang="0">
                <a:pos x="connsiteX39800" y="connsiteY39800"/>
              </a:cxn>
              <a:cxn ang="0">
                <a:pos x="connsiteX39801" y="connsiteY39801"/>
              </a:cxn>
              <a:cxn ang="0">
                <a:pos x="connsiteX39802" y="connsiteY39802"/>
              </a:cxn>
              <a:cxn ang="0">
                <a:pos x="connsiteX39803" y="connsiteY39803"/>
              </a:cxn>
              <a:cxn ang="0">
                <a:pos x="connsiteX39804" y="connsiteY39804"/>
              </a:cxn>
              <a:cxn ang="0">
                <a:pos x="connsiteX39805" y="connsiteY39805"/>
              </a:cxn>
              <a:cxn ang="0">
                <a:pos x="connsiteX39806" y="connsiteY39806"/>
              </a:cxn>
              <a:cxn ang="0">
                <a:pos x="connsiteX39807" y="connsiteY39807"/>
              </a:cxn>
              <a:cxn ang="0">
                <a:pos x="connsiteX39808" y="connsiteY39808"/>
              </a:cxn>
              <a:cxn ang="0">
                <a:pos x="connsiteX39809" y="connsiteY39809"/>
              </a:cxn>
              <a:cxn ang="0">
                <a:pos x="connsiteX39810" y="connsiteY39810"/>
              </a:cxn>
              <a:cxn ang="0">
                <a:pos x="connsiteX39811" y="connsiteY39811"/>
              </a:cxn>
              <a:cxn ang="0">
                <a:pos x="connsiteX39812" y="connsiteY39812"/>
              </a:cxn>
              <a:cxn ang="0">
                <a:pos x="connsiteX39813" y="connsiteY39813"/>
              </a:cxn>
              <a:cxn ang="0">
                <a:pos x="connsiteX39814" y="connsiteY39814"/>
              </a:cxn>
              <a:cxn ang="0">
                <a:pos x="connsiteX39815" y="connsiteY39815"/>
              </a:cxn>
              <a:cxn ang="0">
                <a:pos x="connsiteX39816" y="connsiteY39816"/>
              </a:cxn>
              <a:cxn ang="0">
                <a:pos x="connsiteX39817" y="connsiteY39817"/>
              </a:cxn>
              <a:cxn ang="0">
                <a:pos x="connsiteX39818" y="connsiteY39818"/>
              </a:cxn>
              <a:cxn ang="0">
                <a:pos x="connsiteX39819" y="connsiteY39819"/>
              </a:cxn>
              <a:cxn ang="0">
                <a:pos x="connsiteX39820" y="connsiteY39820"/>
              </a:cxn>
              <a:cxn ang="0">
                <a:pos x="connsiteX39821" y="connsiteY39821"/>
              </a:cxn>
              <a:cxn ang="0">
                <a:pos x="connsiteX39822" y="connsiteY39822"/>
              </a:cxn>
              <a:cxn ang="0">
                <a:pos x="connsiteX39823" y="connsiteY39823"/>
              </a:cxn>
              <a:cxn ang="0">
                <a:pos x="connsiteX39824" y="connsiteY39824"/>
              </a:cxn>
              <a:cxn ang="0">
                <a:pos x="connsiteX39825" y="connsiteY39825"/>
              </a:cxn>
              <a:cxn ang="0">
                <a:pos x="connsiteX39826" y="connsiteY39826"/>
              </a:cxn>
              <a:cxn ang="0">
                <a:pos x="connsiteX39827" y="connsiteY39827"/>
              </a:cxn>
              <a:cxn ang="0">
                <a:pos x="connsiteX39828" y="connsiteY39828"/>
              </a:cxn>
              <a:cxn ang="0">
                <a:pos x="connsiteX39829" y="connsiteY39829"/>
              </a:cxn>
              <a:cxn ang="0">
                <a:pos x="connsiteX39830" y="connsiteY39830"/>
              </a:cxn>
              <a:cxn ang="0">
                <a:pos x="connsiteX39831" y="connsiteY39831"/>
              </a:cxn>
              <a:cxn ang="0">
                <a:pos x="connsiteX39832" y="connsiteY39832"/>
              </a:cxn>
              <a:cxn ang="0">
                <a:pos x="connsiteX39833" y="connsiteY39833"/>
              </a:cxn>
              <a:cxn ang="0">
                <a:pos x="connsiteX39834" y="connsiteY39834"/>
              </a:cxn>
              <a:cxn ang="0">
                <a:pos x="connsiteX39835" y="connsiteY39835"/>
              </a:cxn>
              <a:cxn ang="0">
                <a:pos x="connsiteX39836" y="connsiteY39836"/>
              </a:cxn>
              <a:cxn ang="0">
                <a:pos x="connsiteX39837" y="connsiteY39837"/>
              </a:cxn>
              <a:cxn ang="0">
                <a:pos x="connsiteX39838" y="connsiteY39838"/>
              </a:cxn>
              <a:cxn ang="0">
                <a:pos x="connsiteX39839" y="connsiteY39839"/>
              </a:cxn>
              <a:cxn ang="0">
                <a:pos x="connsiteX39840" y="connsiteY39840"/>
              </a:cxn>
              <a:cxn ang="0">
                <a:pos x="connsiteX39841" y="connsiteY39841"/>
              </a:cxn>
              <a:cxn ang="0">
                <a:pos x="connsiteX39842" y="connsiteY39842"/>
              </a:cxn>
              <a:cxn ang="0">
                <a:pos x="connsiteX39843" y="connsiteY39843"/>
              </a:cxn>
              <a:cxn ang="0">
                <a:pos x="connsiteX39844" y="connsiteY39844"/>
              </a:cxn>
              <a:cxn ang="0">
                <a:pos x="connsiteX39845" y="connsiteY39845"/>
              </a:cxn>
              <a:cxn ang="0">
                <a:pos x="connsiteX39846" y="connsiteY39846"/>
              </a:cxn>
              <a:cxn ang="0">
                <a:pos x="connsiteX39847" y="connsiteY39847"/>
              </a:cxn>
              <a:cxn ang="0">
                <a:pos x="connsiteX39848" y="connsiteY39848"/>
              </a:cxn>
              <a:cxn ang="0">
                <a:pos x="connsiteX39849" y="connsiteY39849"/>
              </a:cxn>
              <a:cxn ang="0">
                <a:pos x="connsiteX39850" y="connsiteY39850"/>
              </a:cxn>
              <a:cxn ang="0">
                <a:pos x="connsiteX39851" y="connsiteY39851"/>
              </a:cxn>
              <a:cxn ang="0">
                <a:pos x="connsiteX39852" y="connsiteY39852"/>
              </a:cxn>
              <a:cxn ang="0">
                <a:pos x="connsiteX39853" y="connsiteY39853"/>
              </a:cxn>
              <a:cxn ang="0">
                <a:pos x="connsiteX39854" y="connsiteY39854"/>
              </a:cxn>
              <a:cxn ang="0">
                <a:pos x="connsiteX39855" y="connsiteY39855"/>
              </a:cxn>
              <a:cxn ang="0">
                <a:pos x="connsiteX39856" y="connsiteY39856"/>
              </a:cxn>
              <a:cxn ang="0">
                <a:pos x="connsiteX39857" y="connsiteY39857"/>
              </a:cxn>
              <a:cxn ang="0">
                <a:pos x="connsiteX39858" y="connsiteY39858"/>
              </a:cxn>
              <a:cxn ang="0">
                <a:pos x="connsiteX39859" y="connsiteY39859"/>
              </a:cxn>
              <a:cxn ang="0">
                <a:pos x="connsiteX39860" y="connsiteY39860"/>
              </a:cxn>
              <a:cxn ang="0">
                <a:pos x="connsiteX39861" y="connsiteY39861"/>
              </a:cxn>
              <a:cxn ang="0">
                <a:pos x="connsiteX39862" y="connsiteY39862"/>
              </a:cxn>
              <a:cxn ang="0">
                <a:pos x="connsiteX39863" y="connsiteY39863"/>
              </a:cxn>
              <a:cxn ang="0">
                <a:pos x="connsiteX39864" y="connsiteY39864"/>
              </a:cxn>
              <a:cxn ang="0">
                <a:pos x="connsiteX39865" y="connsiteY39865"/>
              </a:cxn>
              <a:cxn ang="0">
                <a:pos x="connsiteX39866" y="connsiteY39866"/>
              </a:cxn>
              <a:cxn ang="0">
                <a:pos x="connsiteX39867" y="connsiteY39867"/>
              </a:cxn>
              <a:cxn ang="0">
                <a:pos x="connsiteX39868" y="connsiteY39868"/>
              </a:cxn>
              <a:cxn ang="0">
                <a:pos x="connsiteX39869" y="connsiteY39869"/>
              </a:cxn>
              <a:cxn ang="0">
                <a:pos x="connsiteX39870" y="connsiteY39870"/>
              </a:cxn>
              <a:cxn ang="0">
                <a:pos x="connsiteX39871" y="connsiteY39871"/>
              </a:cxn>
              <a:cxn ang="0">
                <a:pos x="connsiteX39872" y="connsiteY39872"/>
              </a:cxn>
              <a:cxn ang="0">
                <a:pos x="connsiteX39873" y="connsiteY39873"/>
              </a:cxn>
              <a:cxn ang="0">
                <a:pos x="connsiteX39874" y="connsiteY39874"/>
              </a:cxn>
              <a:cxn ang="0">
                <a:pos x="connsiteX39875" y="connsiteY39875"/>
              </a:cxn>
              <a:cxn ang="0">
                <a:pos x="connsiteX39876" y="connsiteY39876"/>
              </a:cxn>
              <a:cxn ang="0">
                <a:pos x="connsiteX39877" y="connsiteY39877"/>
              </a:cxn>
              <a:cxn ang="0">
                <a:pos x="connsiteX39878" y="connsiteY39878"/>
              </a:cxn>
              <a:cxn ang="0">
                <a:pos x="connsiteX39879" y="connsiteY39879"/>
              </a:cxn>
              <a:cxn ang="0">
                <a:pos x="connsiteX39880" y="connsiteY39880"/>
              </a:cxn>
              <a:cxn ang="0">
                <a:pos x="connsiteX39881" y="connsiteY39881"/>
              </a:cxn>
              <a:cxn ang="0">
                <a:pos x="connsiteX39882" y="connsiteY39882"/>
              </a:cxn>
              <a:cxn ang="0">
                <a:pos x="connsiteX39883" y="connsiteY39883"/>
              </a:cxn>
              <a:cxn ang="0">
                <a:pos x="connsiteX39884" y="connsiteY39884"/>
              </a:cxn>
              <a:cxn ang="0">
                <a:pos x="connsiteX39885" y="connsiteY39885"/>
              </a:cxn>
              <a:cxn ang="0">
                <a:pos x="connsiteX39886" y="connsiteY39886"/>
              </a:cxn>
              <a:cxn ang="0">
                <a:pos x="connsiteX39887" y="connsiteY39887"/>
              </a:cxn>
              <a:cxn ang="0">
                <a:pos x="connsiteX39888" y="connsiteY39888"/>
              </a:cxn>
              <a:cxn ang="0">
                <a:pos x="connsiteX39889" y="connsiteY39889"/>
              </a:cxn>
              <a:cxn ang="0">
                <a:pos x="connsiteX39890" y="connsiteY39890"/>
              </a:cxn>
              <a:cxn ang="0">
                <a:pos x="connsiteX39891" y="connsiteY39891"/>
              </a:cxn>
              <a:cxn ang="0">
                <a:pos x="connsiteX39892" y="connsiteY39892"/>
              </a:cxn>
              <a:cxn ang="0">
                <a:pos x="connsiteX39893" y="connsiteY39893"/>
              </a:cxn>
              <a:cxn ang="0">
                <a:pos x="connsiteX39894" y="connsiteY39894"/>
              </a:cxn>
              <a:cxn ang="0">
                <a:pos x="connsiteX39895" y="connsiteY39895"/>
              </a:cxn>
              <a:cxn ang="0">
                <a:pos x="connsiteX39896" y="connsiteY39896"/>
              </a:cxn>
              <a:cxn ang="0">
                <a:pos x="connsiteX39897" y="connsiteY39897"/>
              </a:cxn>
              <a:cxn ang="0">
                <a:pos x="connsiteX39898" y="connsiteY39898"/>
              </a:cxn>
              <a:cxn ang="0">
                <a:pos x="connsiteX39899" y="connsiteY39899"/>
              </a:cxn>
              <a:cxn ang="0">
                <a:pos x="connsiteX39900" y="connsiteY39900"/>
              </a:cxn>
              <a:cxn ang="0">
                <a:pos x="connsiteX39901" y="connsiteY39901"/>
              </a:cxn>
              <a:cxn ang="0">
                <a:pos x="connsiteX39902" y="connsiteY39902"/>
              </a:cxn>
              <a:cxn ang="0">
                <a:pos x="connsiteX39903" y="connsiteY39903"/>
              </a:cxn>
              <a:cxn ang="0">
                <a:pos x="connsiteX39904" y="connsiteY39904"/>
              </a:cxn>
              <a:cxn ang="0">
                <a:pos x="connsiteX39905" y="connsiteY39905"/>
              </a:cxn>
              <a:cxn ang="0">
                <a:pos x="connsiteX39906" y="connsiteY39906"/>
              </a:cxn>
              <a:cxn ang="0">
                <a:pos x="connsiteX39907" y="connsiteY39907"/>
              </a:cxn>
              <a:cxn ang="0">
                <a:pos x="connsiteX39908" y="connsiteY39908"/>
              </a:cxn>
              <a:cxn ang="0">
                <a:pos x="connsiteX39909" y="connsiteY39909"/>
              </a:cxn>
              <a:cxn ang="0">
                <a:pos x="connsiteX39910" y="connsiteY39910"/>
              </a:cxn>
              <a:cxn ang="0">
                <a:pos x="connsiteX39911" y="connsiteY39911"/>
              </a:cxn>
              <a:cxn ang="0">
                <a:pos x="connsiteX39912" y="connsiteY39912"/>
              </a:cxn>
              <a:cxn ang="0">
                <a:pos x="connsiteX39913" y="connsiteY39913"/>
              </a:cxn>
              <a:cxn ang="0">
                <a:pos x="connsiteX39914" y="connsiteY39914"/>
              </a:cxn>
              <a:cxn ang="0">
                <a:pos x="connsiteX39915" y="connsiteY39915"/>
              </a:cxn>
              <a:cxn ang="0">
                <a:pos x="connsiteX39916" y="connsiteY39916"/>
              </a:cxn>
              <a:cxn ang="0">
                <a:pos x="connsiteX39917" y="connsiteY39917"/>
              </a:cxn>
              <a:cxn ang="0">
                <a:pos x="connsiteX39918" y="connsiteY39918"/>
              </a:cxn>
              <a:cxn ang="0">
                <a:pos x="connsiteX39919" y="connsiteY39919"/>
              </a:cxn>
              <a:cxn ang="0">
                <a:pos x="connsiteX39920" y="connsiteY39920"/>
              </a:cxn>
              <a:cxn ang="0">
                <a:pos x="connsiteX39921" y="connsiteY39921"/>
              </a:cxn>
              <a:cxn ang="0">
                <a:pos x="connsiteX39922" y="connsiteY39922"/>
              </a:cxn>
              <a:cxn ang="0">
                <a:pos x="connsiteX39923" y="connsiteY39923"/>
              </a:cxn>
              <a:cxn ang="0">
                <a:pos x="connsiteX39924" y="connsiteY39924"/>
              </a:cxn>
              <a:cxn ang="0">
                <a:pos x="connsiteX39925" y="connsiteY39925"/>
              </a:cxn>
              <a:cxn ang="0">
                <a:pos x="connsiteX39926" y="connsiteY39926"/>
              </a:cxn>
              <a:cxn ang="0">
                <a:pos x="connsiteX39927" y="connsiteY39927"/>
              </a:cxn>
              <a:cxn ang="0">
                <a:pos x="connsiteX39928" y="connsiteY39928"/>
              </a:cxn>
              <a:cxn ang="0">
                <a:pos x="connsiteX39929" y="connsiteY39929"/>
              </a:cxn>
              <a:cxn ang="0">
                <a:pos x="connsiteX39930" y="connsiteY39930"/>
              </a:cxn>
              <a:cxn ang="0">
                <a:pos x="connsiteX39931" y="connsiteY39931"/>
              </a:cxn>
              <a:cxn ang="0">
                <a:pos x="connsiteX39932" y="connsiteY39932"/>
              </a:cxn>
              <a:cxn ang="0">
                <a:pos x="connsiteX39933" y="connsiteY39933"/>
              </a:cxn>
              <a:cxn ang="0">
                <a:pos x="connsiteX39934" y="connsiteY39934"/>
              </a:cxn>
              <a:cxn ang="0">
                <a:pos x="connsiteX39935" y="connsiteY39935"/>
              </a:cxn>
              <a:cxn ang="0">
                <a:pos x="connsiteX39936" y="connsiteY39936"/>
              </a:cxn>
              <a:cxn ang="0">
                <a:pos x="connsiteX39937" y="connsiteY39937"/>
              </a:cxn>
              <a:cxn ang="0">
                <a:pos x="connsiteX39938" y="connsiteY39938"/>
              </a:cxn>
              <a:cxn ang="0">
                <a:pos x="connsiteX39939" y="connsiteY39939"/>
              </a:cxn>
              <a:cxn ang="0">
                <a:pos x="connsiteX39940" y="connsiteY39940"/>
              </a:cxn>
              <a:cxn ang="0">
                <a:pos x="connsiteX39941" y="connsiteY39941"/>
              </a:cxn>
              <a:cxn ang="0">
                <a:pos x="connsiteX39942" y="connsiteY39942"/>
              </a:cxn>
              <a:cxn ang="0">
                <a:pos x="connsiteX39943" y="connsiteY39943"/>
              </a:cxn>
              <a:cxn ang="0">
                <a:pos x="connsiteX39944" y="connsiteY39944"/>
              </a:cxn>
              <a:cxn ang="0">
                <a:pos x="connsiteX39945" y="connsiteY39945"/>
              </a:cxn>
              <a:cxn ang="0">
                <a:pos x="connsiteX39946" y="connsiteY39946"/>
              </a:cxn>
              <a:cxn ang="0">
                <a:pos x="connsiteX39947" y="connsiteY39947"/>
              </a:cxn>
              <a:cxn ang="0">
                <a:pos x="connsiteX39948" y="connsiteY39948"/>
              </a:cxn>
              <a:cxn ang="0">
                <a:pos x="connsiteX39949" y="connsiteY39949"/>
              </a:cxn>
              <a:cxn ang="0">
                <a:pos x="connsiteX39950" y="connsiteY39950"/>
              </a:cxn>
              <a:cxn ang="0">
                <a:pos x="connsiteX39951" y="connsiteY39951"/>
              </a:cxn>
              <a:cxn ang="0">
                <a:pos x="connsiteX39952" y="connsiteY39952"/>
              </a:cxn>
              <a:cxn ang="0">
                <a:pos x="connsiteX39953" y="connsiteY39953"/>
              </a:cxn>
              <a:cxn ang="0">
                <a:pos x="connsiteX39954" y="connsiteY39954"/>
              </a:cxn>
              <a:cxn ang="0">
                <a:pos x="connsiteX39955" y="connsiteY39955"/>
              </a:cxn>
              <a:cxn ang="0">
                <a:pos x="connsiteX39956" y="connsiteY39956"/>
              </a:cxn>
              <a:cxn ang="0">
                <a:pos x="connsiteX39957" y="connsiteY39957"/>
              </a:cxn>
              <a:cxn ang="0">
                <a:pos x="connsiteX39958" y="connsiteY39958"/>
              </a:cxn>
              <a:cxn ang="0">
                <a:pos x="connsiteX39959" y="connsiteY39959"/>
              </a:cxn>
              <a:cxn ang="0">
                <a:pos x="connsiteX39960" y="connsiteY39960"/>
              </a:cxn>
              <a:cxn ang="0">
                <a:pos x="connsiteX39961" y="connsiteY39961"/>
              </a:cxn>
              <a:cxn ang="0">
                <a:pos x="connsiteX39962" y="connsiteY39962"/>
              </a:cxn>
              <a:cxn ang="0">
                <a:pos x="connsiteX39963" y="connsiteY39963"/>
              </a:cxn>
              <a:cxn ang="0">
                <a:pos x="connsiteX39964" y="connsiteY39964"/>
              </a:cxn>
              <a:cxn ang="0">
                <a:pos x="connsiteX39965" y="connsiteY39965"/>
              </a:cxn>
              <a:cxn ang="0">
                <a:pos x="connsiteX39966" y="connsiteY39966"/>
              </a:cxn>
              <a:cxn ang="0">
                <a:pos x="connsiteX39967" y="connsiteY39967"/>
              </a:cxn>
              <a:cxn ang="0">
                <a:pos x="connsiteX39968" y="connsiteY39968"/>
              </a:cxn>
              <a:cxn ang="0">
                <a:pos x="connsiteX39969" y="connsiteY39969"/>
              </a:cxn>
              <a:cxn ang="0">
                <a:pos x="connsiteX39970" y="connsiteY39970"/>
              </a:cxn>
              <a:cxn ang="0">
                <a:pos x="connsiteX39971" y="connsiteY39971"/>
              </a:cxn>
              <a:cxn ang="0">
                <a:pos x="connsiteX39972" y="connsiteY39972"/>
              </a:cxn>
              <a:cxn ang="0">
                <a:pos x="connsiteX39973" y="connsiteY39973"/>
              </a:cxn>
              <a:cxn ang="0">
                <a:pos x="connsiteX39974" y="connsiteY39974"/>
              </a:cxn>
              <a:cxn ang="0">
                <a:pos x="connsiteX39975" y="connsiteY39975"/>
              </a:cxn>
              <a:cxn ang="0">
                <a:pos x="connsiteX39976" y="connsiteY39976"/>
              </a:cxn>
              <a:cxn ang="0">
                <a:pos x="connsiteX39977" y="connsiteY39977"/>
              </a:cxn>
              <a:cxn ang="0">
                <a:pos x="connsiteX39978" y="connsiteY39978"/>
              </a:cxn>
              <a:cxn ang="0">
                <a:pos x="connsiteX39979" y="connsiteY39979"/>
              </a:cxn>
              <a:cxn ang="0">
                <a:pos x="connsiteX39980" y="connsiteY39980"/>
              </a:cxn>
              <a:cxn ang="0">
                <a:pos x="connsiteX39981" y="connsiteY39981"/>
              </a:cxn>
              <a:cxn ang="0">
                <a:pos x="connsiteX39982" y="connsiteY39982"/>
              </a:cxn>
              <a:cxn ang="0">
                <a:pos x="connsiteX39983" y="connsiteY39983"/>
              </a:cxn>
              <a:cxn ang="0">
                <a:pos x="connsiteX39984" y="connsiteY39984"/>
              </a:cxn>
              <a:cxn ang="0">
                <a:pos x="connsiteX39985" y="connsiteY39985"/>
              </a:cxn>
              <a:cxn ang="0">
                <a:pos x="connsiteX39986" y="connsiteY39986"/>
              </a:cxn>
              <a:cxn ang="0">
                <a:pos x="connsiteX39987" y="connsiteY39987"/>
              </a:cxn>
              <a:cxn ang="0">
                <a:pos x="connsiteX39988" y="connsiteY39988"/>
              </a:cxn>
              <a:cxn ang="0">
                <a:pos x="connsiteX39989" y="connsiteY39989"/>
              </a:cxn>
              <a:cxn ang="0">
                <a:pos x="connsiteX39990" y="connsiteY39990"/>
              </a:cxn>
              <a:cxn ang="0">
                <a:pos x="connsiteX39991" y="connsiteY39991"/>
              </a:cxn>
              <a:cxn ang="0">
                <a:pos x="connsiteX39992" y="connsiteY39992"/>
              </a:cxn>
              <a:cxn ang="0">
                <a:pos x="connsiteX39993" y="connsiteY39993"/>
              </a:cxn>
              <a:cxn ang="0">
                <a:pos x="connsiteX39994" y="connsiteY39994"/>
              </a:cxn>
              <a:cxn ang="0">
                <a:pos x="connsiteX39995" y="connsiteY39995"/>
              </a:cxn>
              <a:cxn ang="0">
                <a:pos x="connsiteX39996" y="connsiteY39996"/>
              </a:cxn>
              <a:cxn ang="0">
                <a:pos x="connsiteX39997" y="connsiteY39997"/>
              </a:cxn>
              <a:cxn ang="0">
                <a:pos x="connsiteX39998" y="connsiteY39998"/>
              </a:cxn>
              <a:cxn ang="0">
                <a:pos x="connsiteX39999" y="connsiteY39999"/>
              </a:cxn>
              <a:cxn ang="0">
                <a:pos x="connsiteX40000" y="connsiteY40000"/>
              </a:cxn>
              <a:cxn ang="0">
                <a:pos x="connsiteX40001" y="connsiteY40001"/>
              </a:cxn>
              <a:cxn ang="0">
                <a:pos x="connsiteX40002" y="connsiteY40002"/>
              </a:cxn>
              <a:cxn ang="0">
                <a:pos x="connsiteX40003" y="connsiteY40003"/>
              </a:cxn>
              <a:cxn ang="0">
                <a:pos x="connsiteX40004" y="connsiteY40004"/>
              </a:cxn>
              <a:cxn ang="0">
                <a:pos x="connsiteX40005" y="connsiteY40005"/>
              </a:cxn>
              <a:cxn ang="0">
                <a:pos x="connsiteX40006" y="connsiteY40006"/>
              </a:cxn>
              <a:cxn ang="0">
                <a:pos x="connsiteX40007" y="connsiteY40007"/>
              </a:cxn>
              <a:cxn ang="0">
                <a:pos x="connsiteX40008" y="connsiteY40008"/>
              </a:cxn>
              <a:cxn ang="0">
                <a:pos x="connsiteX40009" y="connsiteY40009"/>
              </a:cxn>
              <a:cxn ang="0">
                <a:pos x="connsiteX40010" y="connsiteY40010"/>
              </a:cxn>
              <a:cxn ang="0">
                <a:pos x="connsiteX40011" y="connsiteY40011"/>
              </a:cxn>
              <a:cxn ang="0">
                <a:pos x="connsiteX40012" y="connsiteY40012"/>
              </a:cxn>
              <a:cxn ang="0">
                <a:pos x="connsiteX40013" y="connsiteY40013"/>
              </a:cxn>
              <a:cxn ang="0">
                <a:pos x="connsiteX40014" y="connsiteY40014"/>
              </a:cxn>
              <a:cxn ang="0">
                <a:pos x="connsiteX40015" y="connsiteY40015"/>
              </a:cxn>
              <a:cxn ang="0">
                <a:pos x="connsiteX40016" y="connsiteY40016"/>
              </a:cxn>
              <a:cxn ang="0">
                <a:pos x="connsiteX40017" y="connsiteY40017"/>
              </a:cxn>
              <a:cxn ang="0">
                <a:pos x="connsiteX40018" y="connsiteY40018"/>
              </a:cxn>
              <a:cxn ang="0">
                <a:pos x="connsiteX40019" y="connsiteY40019"/>
              </a:cxn>
              <a:cxn ang="0">
                <a:pos x="connsiteX40020" y="connsiteY40020"/>
              </a:cxn>
              <a:cxn ang="0">
                <a:pos x="connsiteX40021" y="connsiteY40021"/>
              </a:cxn>
              <a:cxn ang="0">
                <a:pos x="connsiteX40022" y="connsiteY40022"/>
              </a:cxn>
              <a:cxn ang="0">
                <a:pos x="connsiteX40023" y="connsiteY40023"/>
              </a:cxn>
              <a:cxn ang="0">
                <a:pos x="connsiteX40024" y="connsiteY40024"/>
              </a:cxn>
              <a:cxn ang="0">
                <a:pos x="connsiteX40025" y="connsiteY40025"/>
              </a:cxn>
              <a:cxn ang="0">
                <a:pos x="connsiteX40026" y="connsiteY40026"/>
              </a:cxn>
              <a:cxn ang="0">
                <a:pos x="connsiteX40027" y="connsiteY40027"/>
              </a:cxn>
              <a:cxn ang="0">
                <a:pos x="connsiteX40028" y="connsiteY40028"/>
              </a:cxn>
              <a:cxn ang="0">
                <a:pos x="connsiteX40029" y="connsiteY40029"/>
              </a:cxn>
              <a:cxn ang="0">
                <a:pos x="connsiteX40030" y="connsiteY40030"/>
              </a:cxn>
              <a:cxn ang="0">
                <a:pos x="connsiteX40031" y="connsiteY40031"/>
              </a:cxn>
              <a:cxn ang="0">
                <a:pos x="connsiteX40032" y="connsiteY40032"/>
              </a:cxn>
              <a:cxn ang="0">
                <a:pos x="connsiteX40033" y="connsiteY40033"/>
              </a:cxn>
              <a:cxn ang="0">
                <a:pos x="connsiteX40034" y="connsiteY40034"/>
              </a:cxn>
              <a:cxn ang="0">
                <a:pos x="connsiteX40035" y="connsiteY40035"/>
              </a:cxn>
              <a:cxn ang="0">
                <a:pos x="connsiteX40036" y="connsiteY40036"/>
              </a:cxn>
              <a:cxn ang="0">
                <a:pos x="connsiteX40037" y="connsiteY40037"/>
              </a:cxn>
              <a:cxn ang="0">
                <a:pos x="connsiteX40038" y="connsiteY40038"/>
              </a:cxn>
              <a:cxn ang="0">
                <a:pos x="connsiteX40039" y="connsiteY40039"/>
              </a:cxn>
              <a:cxn ang="0">
                <a:pos x="connsiteX40040" y="connsiteY40040"/>
              </a:cxn>
              <a:cxn ang="0">
                <a:pos x="connsiteX40041" y="connsiteY40041"/>
              </a:cxn>
              <a:cxn ang="0">
                <a:pos x="connsiteX40042" y="connsiteY40042"/>
              </a:cxn>
              <a:cxn ang="0">
                <a:pos x="connsiteX40043" y="connsiteY40043"/>
              </a:cxn>
              <a:cxn ang="0">
                <a:pos x="connsiteX40044" y="connsiteY40044"/>
              </a:cxn>
              <a:cxn ang="0">
                <a:pos x="connsiteX40045" y="connsiteY40045"/>
              </a:cxn>
              <a:cxn ang="0">
                <a:pos x="connsiteX40046" y="connsiteY40046"/>
              </a:cxn>
              <a:cxn ang="0">
                <a:pos x="connsiteX40047" y="connsiteY40047"/>
              </a:cxn>
              <a:cxn ang="0">
                <a:pos x="connsiteX40048" y="connsiteY40048"/>
              </a:cxn>
              <a:cxn ang="0">
                <a:pos x="connsiteX40049" y="connsiteY40049"/>
              </a:cxn>
              <a:cxn ang="0">
                <a:pos x="connsiteX40050" y="connsiteY40050"/>
              </a:cxn>
              <a:cxn ang="0">
                <a:pos x="connsiteX40051" y="connsiteY40051"/>
              </a:cxn>
              <a:cxn ang="0">
                <a:pos x="connsiteX40052" y="connsiteY40052"/>
              </a:cxn>
              <a:cxn ang="0">
                <a:pos x="connsiteX40053" y="connsiteY40053"/>
              </a:cxn>
              <a:cxn ang="0">
                <a:pos x="connsiteX40054" y="connsiteY40054"/>
              </a:cxn>
              <a:cxn ang="0">
                <a:pos x="connsiteX40055" y="connsiteY40055"/>
              </a:cxn>
              <a:cxn ang="0">
                <a:pos x="connsiteX40056" y="connsiteY40056"/>
              </a:cxn>
              <a:cxn ang="0">
                <a:pos x="connsiteX40057" y="connsiteY40057"/>
              </a:cxn>
              <a:cxn ang="0">
                <a:pos x="connsiteX40058" y="connsiteY40058"/>
              </a:cxn>
              <a:cxn ang="0">
                <a:pos x="connsiteX40059" y="connsiteY40059"/>
              </a:cxn>
              <a:cxn ang="0">
                <a:pos x="connsiteX40060" y="connsiteY40060"/>
              </a:cxn>
              <a:cxn ang="0">
                <a:pos x="connsiteX40061" y="connsiteY40061"/>
              </a:cxn>
              <a:cxn ang="0">
                <a:pos x="connsiteX40062" y="connsiteY40062"/>
              </a:cxn>
              <a:cxn ang="0">
                <a:pos x="connsiteX40063" y="connsiteY40063"/>
              </a:cxn>
              <a:cxn ang="0">
                <a:pos x="connsiteX40064" y="connsiteY40064"/>
              </a:cxn>
              <a:cxn ang="0">
                <a:pos x="connsiteX40065" y="connsiteY40065"/>
              </a:cxn>
              <a:cxn ang="0">
                <a:pos x="connsiteX40066" y="connsiteY40066"/>
              </a:cxn>
              <a:cxn ang="0">
                <a:pos x="connsiteX40067" y="connsiteY40067"/>
              </a:cxn>
              <a:cxn ang="0">
                <a:pos x="connsiteX40068" y="connsiteY40068"/>
              </a:cxn>
              <a:cxn ang="0">
                <a:pos x="connsiteX40069" y="connsiteY40069"/>
              </a:cxn>
              <a:cxn ang="0">
                <a:pos x="connsiteX40070" y="connsiteY40070"/>
              </a:cxn>
              <a:cxn ang="0">
                <a:pos x="connsiteX40071" y="connsiteY40071"/>
              </a:cxn>
              <a:cxn ang="0">
                <a:pos x="connsiteX40072" y="connsiteY40072"/>
              </a:cxn>
              <a:cxn ang="0">
                <a:pos x="connsiteX40073" y="connsiteY40073"/>
              </a:cxn>
              <a:cxn ang="0">
                <a:pos x="connsiteX40074" y="connsiteY40074"/>
              </a:cxn>
              <a:cxn ang="0">
                <a:pos x="connsiteX40075" y="connsiteY40075"/>
              </a:cxn>
              <a:cxn ang="0">
                <a:pos x="connsiteX40076" y="connsiteY40076"/>
              </a:cxn>
              <a:cxn ang="0">
                <a:pos x="connsiteX40077" y="connsiteY40077"/>
              </a:cxn>
              <a:cxn ang="0">
                <a:pos x="connsiteX40078" y="connsiteY40078"/>
              </a:cxn>
              <a:cxn ang="0">
                <a:pos x="connsiteX40079" y="connsiteY40079"/>
              </a:cxn>
              <a:cxn ang="0">
                <a:pos x="connsiteX40080" y="connsiteY40080"/>
              </a:cxn>
              <a:cxn ang="0">
                <a:pos x="connsiteX40081" y="connsiteY40081"/>
              </a:cxn>
              <a:cxn ang="0">
                <a:pos x="connsiteX40082" y="connsiteY40082"/>
              </a:cxn>
              <a:cxn ang="0">
                <a:pos x="connsiteX40083" y="connsiteY40083"/>
              </a:cxn>
              <a:cxn ang="0">
                <a:pos x="connsiteX40084" y="connsiteY40084"/>
              </a:cxn>
              <a:cxn ang="0">
                <a:pos x="connsiteX40085" y="connsiteY40085"/>
              </a:cxn>
              <a:cxn ang="0">
                <a:pos x="connsiteX40086" y="connsiteY40086"/>
              </a:cxn>
              <a:cxn ang="0">
                <a:pos x="connsiteX40087" y="connsiteY40087"/>
              </a:cxn>
              <a:cxn ang="0">
                <a:pos x="connsiteX40088" y="connsiteY40088"/>
              </a:cxn>
              <a:cxn ang="0">
                <a:pos x="connsiteX40089" y="connsiteY40089"/>
              </a:cxn>
              <a:cxn ang="0">
                <a:pos x="connsiteX40090" y="connsiteY40090"/>
              </a:cxn>
              <a:cxn ang="0">
                <a:pos x="connsiteX40091" y="connsiteY40091"/>
              </a:cxn>
              <a:cxn ang="0">
                <a:pos x="connsiteX40092" y="connsiteY40092"/>
              </a:cxn>
              <a:cxn ang="0">
                <a:pos x="connsiteX40093" y="connsiteY40093"/>
              </a:cxn>
              <a:cxn ang="0">
                <a:pos x="connsiteX40094" y="connsiteY40094"/>
              </a:cxn>
              <a:cxn ang="0">
                <a:pos x="connsiteX40095" y="connsiteY40095"/>
              </a:cxn>
              <a:cxn ang="0">
                <a:pos x="connsiteX40096" y="connsiteY40096"/>
              </a:cxn>
              <a:cxn ang="0">
                <a:pos x="connsiteX40097" y="connsiteY40097"/>
              </a:cxn>
              <a:cxn ang="0">
                <a:pos x="connsiteX40098" y="connsiteY40098"/>
              </a:cxn>
              <a:cxn ang="0">
                <a:pos x="connsiteX40099" y="connsiteY40099"/>
              </a:cxn>
              <a:cxn ang="0">
                <a:pos x="connsiteX40100" y="connsiteY40100"/>
              </a:cxn>
              <a:cxn ang="0">
                <a:pos x="connsiteX40101" y="connsiteY40101"/>
              </a:cxn>
              <a:cxn ang="0">
                <a:pos x="connsiteX40102" y="connsiteY40102"/>
              </a:cxn>
              <a:cxn ang="0">
                <a:pos x="connsiteX40103" y="connsiteY40103"/>
              </a:cxn>
              <a:cxn ang="0">
                <a:pos x="connsiteX40104" y="connsiteY40104"/>
              </a:cxn>
              <a:cxn ang="0">
                <a:pos x="connsiteX40105" y="connsiteY40105"/>
              </a:cxn>
              <a:cxn ang="0">
                <a:pos x="connsiteX40106" y="connsiteY40106"/>
              </a:cxn>
              <a:cxn ang="0">
                <a:pos x="connsiteX40107" y="connsiteY40107"/>
              </a:cxn>
              <a:cxn ang="0">
                <a:pos x="connsiteX40108" y="connsiteY40108"/>
              </a:cxn>
              <a:cxn ang="0">
                <a:pos x="connsiteX40109" y="connsiteY40109"/>
              </a:cxn>
              <a:cxn ang="0">
                <a:pos x="connsiteX40110" y="connsiteY40110"/>
              </a:cxn>
              <a:cxn ang="0">
                <a:pos x="connsiteX40111" y="connsiteY40111"/>
              </a:cxn>
              <a:cxn ang="0">
                <a:pos x="connsiteX40112" y="connsiteY40112"/>
              </a:cxn>
              <a:cxn ang="0">
                <a:pos x="connsiteX40113" y="connsiteY40113"/>
              </a:cxn>
              <a:cxn ang="0">
                <a:pos x="connsiteX40114" y="connsiteY40114"/>
              </a:cxn>
              <a:cxn ang="0">
                <a:pos x="connsiteX40115" y="connsiteY40115"/>
              </a:cxn>
              <a:cxn ang="0">
                <a:pos x="connsiteX40116" y="connsiteY40116"/>
              </a:cxn>
              <a:cxn ang="0">
                <a:pos x="connsiteX40117" y="connsiteY40117"/>
              </a:cxn>
              <a:cxn ang="0">
                <a:pos x="connsiteX40118" y="connsiteY40118"/>
              </a:cxn>
              <a:cxn ang="0">
                <a:pos x="connsiteX40119" y="connsiteY40119"/>
              </a:cxn>
              <a:cxn ang="0">
                <a:pos x="connsiteX40120" y="connsiteY40120"/>
              </a:cxn>
              <a:cxn ang="0">
                <a:pos x="connsiteX40121" y="connsiteY40121"/>
              </a:cxn>
              <a:cxn ang="0">
                <a:pos x="connsiteX40122" y="connsiteY40122"/>
              </a:cxn>
              <a:cxn ang="0">
                <a:pos x="connsiteX40123" y="connsiteY40123"/>
              </a:cxn>
              <a:cxn ang="0">
                <a:pos x="connsiteX40124" y="connsiteY40124"/>
              </a:cxn>
              <a:cxn ang="0">
                <a:pos x="connsiteX40125" y="connsiteY40125"/>
              </a:cxn>
              <a:cxn ang="0">
                <a:pos x="connsiteX40126" y="connsiteY40126"/>
              </a:cxn>
              <a:cxn ang="0">
                <a:pos x="connsiteX40127" y="connsiteY40127"/>
              </a:cxn>
              <a:cxn ang="0">
                <a:pos x="connsiteX40128" y="connsiteY40128"/>
              </a:cxn>
              <a:cxn ang="0">
                <a:pos x="connsiteX40129" y="connsiteY40129"/>
              </a:cxn>
              <a:cxn ang="0">
                <a:pos x="connsiteX40130" y="connsiteY40130"/>
              </a:cxn>
              <a:cxn ang="0">
                <a:pos x="connsiteX40131" y="connsiteY40131"/>
              </a:cxn>
              <a:cxn ang="0">
                <a:pos x="connsiteX40132" y="connsiteY40132"/>
              </a:cxn>
              <a:cxn ang="0">
                <a:pos x="connsiteX40133" y="connsiteY40133"/>
              </a:cxn>
              <a:cxn ang="0">
                <a:pos x="connsiteX40134" y="connsiteY40134"/>
              </a:cxn>
              <a:cxn ang="0">
                <a:pos x="connsiteX40135" y="connsiteY40135"/>
              </a:cxn>
              <a:cxn ang="0">
                <a:pos x="connsiteX40136" y="connsiteY40136"/>
              </a:cxn>
              <a:cxn ang="0">
                <a:pos x="connsiteX40137" y="connsiteY40137"/>
              </a:cxn>
              <a:cxn ang="0">
                <a:pos x="connsiteX40138" y="connsiteY40138"/>
              </a:cxn>
              <a:cxn ang="0">
                <a:pos x="connsiteX40139" y="connsiteY40139"/>
              </a:cxn>
              <a:cxn ang="0">
                <a:pos x="connsiteX40140" y="connsiteY40140"/>
              </a:cxn>
              <a:cxn ang="0">
                <a:pos x="connsiteX40141" y="connsiteY40141"/>
              </a:cxn>
              <a:cxn ang="0">
                <a:pos x="connsiteX40142" y="connsiteY40142"/>
              </a:cxn>
              <a:cxn ang="0">
                <a:pos x="connsiteX40143" y="connsiteY40143"/>
              </a:cxn>
              <a:cxn ang="0">
                <a:pos x="connsiteX40144" y="connsiteY40144"/>
              </a:cxn>
              <a:cxn ang="0">
                <a:pos x="connsiteX40145" y="connsiteY40145"/>
              </a:cxn>
              <a:cxn ang="0">
                <a:pos x="connsiteX40146" y="connsiteY40146"/>
              </a:cxn>
              <a:cxn ang="0">
                <a:pos x="connsiteX40147" y="connsiteY40147"/>
              </a:cxn>
              <a:cxn ang="0">
                <a:pos x="connsiteX40148" y="connsiteY40148"/>
              </a:cxn>
              <a:cxn ang="0">
                <a:pos x="connsiteX40149" y="connsiteY40149"/>
              </a:cxn>
              <a:cxn ang="0">
                <a:pos x="connsiteX40150" y="connsiteY40150"/>
              </a:cxn>
              <a:cxn ang="0">
                <a:pos x="connsiteX40151" y="connsiteY40151"/>
              </a:cxn>
              <a:cxn ang="0">
                <a:pos x="connsiteX40152" y="connsiteY40152"/>
              </a:cxn>
              <a:cxn ang="0">
                <a:pos x="connsiteX40153" y="connsiteY40153"/>
              </a:cxn>
              <a:cxn ang="0">
                <a:pos x="connsiteX40154" y="connsiteY40154"/>
              </a:cxn>
              <a:cxn ang="0">
                <a:pos x="connsiteX40155" y="connsiteY40155"/>
              </a:cxn>
              <a:cxn ang="0">
                <a:pos x="connsiteX40156" y="connsiteY40156"/>
              </a:cxn>
              <a:cxn ang="0">
                <a:pos x="connsiteX40157" y="connsiteY40157"/>
              </a:cxn>
              <a:cxn ang="0">
                <a:pos x="connsiteX40158" y="connsiteY40158"/>
              </a:cxn>
              <a:cxn ang="0">
                <a:pos x="connsiteX40159" y="connsiteY40159"/>
              </a:cxn>
              <a:cxn ang="0">
                <a:pos x="connsiteX40160" y="connsiteY40160"/>
              </a:cxn>
              <a:cxn ang="0">
                <a:pos x="connsiteX40161" y="connsiteY40161"/>
              </a:cxn>
              <a:cxn ang="0">
                <a:pos x="connsiteX40162" y="connsiteY40162"/>
              </a:cxn>
              <a:cxn ang="0">
                <a:pos x="connsiteX40163" y="connsiteY40163"/>
              </a:cxn>
              <a:cxn ang="0">
                <a:pos x="connsiteX40164" y="connsiteY40164"/>
              </a:cxn>
              <a:cxn ang="0">
                <a:pos x="connsiteX40165" y="connsiteY40165"/>
              </a:cxn>
              <a:cxn ang="0">
                <a:pos x="connsiteX40166" y="connsiteY40166"/>
              </a:cxn>
              <a:cxn ang="0">
                <a:pos x="connsiteX40167" y="connsiteY40167"/>
              </a:cxn>
              <a:cxn ang="0">
                <a:pos x="connsiteX40168" y="connsiteY40168"/>
              </a:cxn>
              <a:cxn ang="0">
                <a:pos x="connsiteX40169" y="connsiteY40169"/>
              </a:cxn>
              <a:cxn ang="0">
                <a:pos x="connsiteX40170" y="connsiteY40170"/>
              </a:cxn>
              <a:cxn ang="0">
                <a:pos x="connsiteX40171" y="connsiteY40171"/>
              </a:cxn>
              <a:cxn ang="0">
                <a:pos x="connsiteX40172" y="connsiteY40172"/>
              </a:cxn>
              <a:cxn ang="0">
                <a:pos x="connsiteX40173" y="connsiteY40173"/>
              </a:cxn>
              <a:cxn ang="0">
                <a:pos x="connsiteX40174" y="connsiteY40174"/>
              </a:cxn>
              <a:cxn ang="0">
                <a:pos x="connsiteX40175" y="connsiteY40175"/>
              </a:cxn>
              <a:cxn ang="0">
                <a:pos x="connsiteX40176" y="connsiteY40176"/>
              </a:cxn>
              <a:cxn ang="0">
                <a:pos x="connsiteX40177" y="connsiteY40177"/>
              </a:cxn>
              <a:cxn ang="0">
                <a:pos x="connsiteX40178" y="connsiteY40178"/>
              </a:cxn>
              <a:cxn ang="0">
                <a:pos x="connsiteX40179" y="connsiteY40179"/>
              </a:cxn>
              <a:cxn ang="0">
                <a:pos x="connsiteX40180" y="connsiteY40180"/>
              </a:cxn>
              <a:cxn ang="0">
                <a:pos x="connsiteX40181" y="connsiteY40181"/>
              </a:cxn>
              <a:cxn ang="0">
                <a:pos x="connsiteX40182" y="connsiteY40182"/>
              </a:cxn>
              <a:cxn ang="0">
                <a:pos x="connsiteX40183" y="connsiteY40183"/>
              </a:cxn>
              <a:cxn ang="0">
                <a:pos x="connsiteX40184" y="connsiteY40184"/>
              </a:cxn>
              <a:cxn ang="0">
                <a:pos x="connsiteX40185" y="connsiteY40185"/>
              </a:cxn>
              <a:cxn ang="0">
                <a:pos x="connsiteX40186" y="connsiteY40186"/>
              </a:cxn>
              <a:cxn ang="0">
                <a:pos x="connsiteX40187" y="connsiteY40187"/>
              </a:cxn>
              <a:cxn ang="0">
                <a:pos x="connsiteX40188" y="connsiteY40188"/>
              </a:cxn>
              <a:cxn ang="0">
                <a:pos x="connsiteX40189" y="connsiteY40189"/>
              </a:cxn>
              <a:cxn ang="0">
                <a:pos x="connsiteX40190" y="connsiteY40190"/>
              </a:cxn>
              <a:cxn ang="0">
                <a:pos x="connsiteX40191" y="connsiteY40191"/>
              </a:cxn>
              <a:cxn ang="0">
                <a:pos x="connsiteX40192" y="connsiteY40192"/>
              </a:cxn>
              <a:cxn ang="0">
                <a:pos x="connsiteX40193" y="connsiteY40193"/>
              </a:cxn>
              <a:cxn ang="0">
                <a:pos x="connsiteX40194" y="connsiteY40194"/>
              </a:cxn>
              <a:cxn ang="0">
                <a:pos x="connsiteX40195" y="connsiteY40195"/>
              </a:cxn>
              <a:cxn ang="0">
                <a:pos x="connsiteX40196" y="connsiteY40196"/>
              </a:cxn>
              <a:cxn ang="0">
                <a:pos x="connsiteX40197" y="connsiteY40197"/>
              </a:cxn>
              <a:cxn ang="0">
                <a:pos x="connsiteX40198" y="connsiteY40198"/>
              </a:cxn>
              <a:cxn ang="0">
                <a:pos x="connsiteX40199" y="connsiteY40199"/>
              </a:cxn>
              <a:cxn ang="0">
                <a:pos x="connsiteX40200" y="connsiteY40200"/>
              </a:cxn>
              <a:cxn ang="0">
                <a:pos x="connsiteX40201" y="connsiteY40201"/>
              </a:cxn>
              <a:cxn ang="0">
                <a:pos x="connsiteX40202" y="connsiteY40202"/>
              </a:cxn>
              <a:cxn ang="0">
                <a:pos x="connsiteX40203" y="connsiteY40203"/>
              </a:cxn>
              <a:cxn ang="0">
                <a:pos x="connsiteX40204" y="connsiteY40204"/>
              </a:cxn>
              <a:cxn ang="0">
                <a:pos x="connsiteX40205" y="connsiteY40205"/>
              </a:cxn>
              <a:cxn ang="0">
                <a:pos x="connsiteX40206" y="connsiteY40206"/>
              </a:cxn>
              <a:cxn ang="0">
                <a:pos x="connsiteX40207" y="connsiteY40207"/>
              </a:cxn>
              <a:cxn ang="0">
                <a:pos x="connsiteX40208" y="connsiteY40208"/>
              </a:cxn>
              <a:cxn ang="0">
                <a:pos x="connsiteX40209" y="connsiteY40209"/>
              </a:cxn>
              <a:cxn ang="0">
                <a:pos x="connsiteX40210" y="connsiteY40210"/>
              </a:cxn>
              <a:cxn ang="0">
                <a:pos x="connsiteX40211" y="connsiteY40211"/>
              </a:cxn>
              <a:cxn ang="0">
                <a:pos x="connsiteX40212" y="connsiteY40212"/>
              </a:cxn>
              <a:cxn ang="0">
                <a:pos x="connsiteX40213" y="connsiteY40213"/>
              </a:cxn>
              <a:cxn ang="0">
                <a:pos x="connsiteX40214" y="connsiteY40214"/>
              </a:cxn>
              <a:cxn ang="0">
                <a:pos x="connsiteX40215" y="connsiteY40215"/>
              </a:cxn>
              <a:cxn ang="0">
                <a:pos x="connsiteX40216" y="connsiteY40216"/>
              </a:cxn>
              <a:cxn ang="0">
                <a:pos x="connsiteX40217" y="connsiteY40217"/>
              </a:cxn>
              <a:cxn ang="0">
                <a:pos x="connsiteX40218" y="connsiteY40218"/>
              </a:cxn>
              <a:cxn ang="0">
                <a:pos x="connsiteX40219" y="connsiteY40219"/>
              </a:cxn>
              <a:cxn ang="0">
                <a:pos x="connsiteX40220" y="connsiteY40220"/>
              </a:cxn>
              <a:cxn ang="0">
                <a:pos x="connsiteX40221" y="connsiteY40221"/>
              </a:cxn>
              <a:cxn ang="0">
                <a:pos x="connsiteX40222" y="connsiteY40222"/>
              </a:cxn>
              <a:cxn ang="0">
                <a:pos x="connsiteX40223" y="connsiteY40223"/>
              </a:cxn>
              <a:cxn ang="0">
                <a:pos x="connsiteX40224" y="connsiteY40224"/>
              </a:cxn>
              <a:cxn ang="0">
                <a:pos x="connsiteX40225" y="connsiteY40225"/>
              </a:cxn>
              <a:cxn ang="0">
                <a:pos x="connsiteX40226" y="connsiteY40226"/>
              </a:cxn>
              <a:cxn ang="0">
                <a:pos x="connsiteX40227" y="connsiteY40227"/>
              </a:cxn>
              <a:cxn ang="0">
                <a:pos x="connsiteX40228" y="connsiteY40228"/>
              </a:cxn>
              <a:cxn ang="0">
                <a:pos x="connsiteX40229" y="connsiteY40229"/>
              </a:cxn>
              <a:cxn ang="0">
                <a:pos x="connsiteX40230" y="connsiteY40230"/>
              </a:cxn>
              <a:cxn ang="0">
                <a:pos x="connsiteX40231" y="connsiteY40231"/>
              </a:cxn>
              <a:cxn ang="0">
                <a:pos x="connsiteX40232" y="connsiteY40232"/>
              </a:cxn>
              <a:cxn ang="0">
                <a:pos x="connsiteX40233" y="connsiteY40233"/>
              </a:cxn>
              <a:cxn ang="0">
                <a:pos x="connsiteX40234" y="connsiteY40234"/>
              </a:cxn>
              <a:cxn ang="0">
                <a:pos x="connsiteX40235" y="connsiteY40235"/>
              </a:cxn>
              <a:cxn ang="0">
                <a:pos x="connsiteX40236" y="connsiteY40236"/>
              </a:cxn>
              <a:cxn ang="0">
                <a:pos x="connsiteX40237" y="connsiteY40237"/>
              </a:cxn>
              <a:cxn ang="0">
                <a:pos x="connsiteX40238" y="connsiteY40238"/>
              </a:cxn>
              <a:cxn ang="0">
                <a:pos x="connsiteX40239" y="connsiteY40239"/>
              </a:cxn>
              <a:cxn ang="0">
                <a:pos x="connsiteX40240" y="connsiteY40240"/>
              </a:cxn>
              <a:cxn ang="0">
                <a:pos x="connsiteX40241" y="connsiteY40241"/>
              </a:cxn>
              <a:cxn ang="0">
                <a:pos x="connsiteX40242" y="connsiteY40242"/>
              </a:cxn>
              <a:cxn ang="0">
                <a:pos x="connsiteX40243" y="connsiteY40243"/>
              </a:cxn>
              <a:cxn ang="0">
                <a:pos x="connsiteX40244" y="connsiteY40244"/>
              </a:cxn>
              <a:cxn ang="0">
                <a:pos x="connsiteX40245" y="connsiteY40245"/>
              </a:cxn>
              <a:cxn ang="0">
                <a:pos x="connsiteX40246" y="connsiteY40246"/>
              </a:cxn>
              <a:cxn ang="0">
                <a:pos x="connsiteX40247" y="connsiteY40247"/>
              </a:cxn>
              <a:cxn ang="0">
                <a:pos x="connsiteX40248" y="connsiteY40248"/>
              </a:cxn>
              <a:cxn ang="0">
                <a:pos x="connsiteX40249" y="connsiteY40249"/>
              </a:cxn>
              <a:cxn ang="0">
                <a:pos x="connsiteX40250" y="connsiteY40250"/>
              </a:cxn>
              <a:cxn ang="0">
                <a:pos x="connsiteX40251" y="connsiteY40251"/>
              </a:cxn>
              <a:cxn ang="0">
                <a:pos x="connsiteX40252" y="connsiteY40252"/>
              </a:cxn>
              <a:cxn ang="0">
                <a:pos x="connsiteX40253" y="connsiteY40253"/>
              </a:cxn>
              <a:cxn ang="0">
                <a:pos x="connsiteX40254" y="connsiteY40254"/>
              </a:cxn>
              <a:cxn ang="0">
                <a:pos x="connsiteX40255" y="connsiteY40255"/>
              </a:cxn>
              <a:cxn ang="0">
                <a:pos x="connsiteX40256" y="connsiteY40256"/>
              </a:cxn>
              <a:cxn ang="0">
                <a:pos x="connsiteX40257" y="connsiteY40257"/>
              </a:cxn>
              <a:cxn ang="0">
                <a:pos x="connsiteX40258" y="connsiteY40258"/>
              </a:cxn>
              <a:cxn ang="0">
                <a:pos x="connsiteX40259" y="connsiteY40259"/>
              </a:cxn>
              <a:cxn ang="0">
                <a:pos x="connsiteX40260" y="connsiteY40260"/>
              </a:cxn>
              <a:cxn ang="0">
                <a:pos x="connsiteX40261" y="connsiteY40261"/>
              </a:cxn>
              <a:cxn ang="0">
                <a:pos x="connsiteX40262" y="connsiteY40262"/>
              </a:cxn>
              <a:cxn ang="0">
                <a:pos x="connsiteX40263" y="connsiteY40263"/>
              </a:cxn>
              <a:cxn ang="0">
                <a:pos x="connsiteX40264" y="connsiteY40264"/>
              </a:cxn>
              <a:cxn ang="0">
                <a:pos x="connsiteX40265" y="connsiteY40265"/>
              </a:cxn>
              <a:cxn ang="0">
                <a:pos x="connsiteX40266" y="connsiteY40266"/>
              </a:cxn>
              <a:cxn ang="0">
                <a:pos x="connsiteX40267" y="connsiteY40267"/>
              </a:cxn>
              <a:cxn ang="0">
                <a:pos x="connsiteX40268" y="connsiteY40268"/>
              </a:cxn>
              <a:cxn ang="0">
                <a:pos x="connsiteX40269" y="connsiteY40269"/>
              </a:cxn>
              <a:cxn ang="0">
                <a:pos x="connsiteX40270" y="connsiteY40270"/>
              </a:cxn>
              <a:cxn ang="0">
                <a:pos x="connsiteX40271" y="connsiteY40271"/>
              </a:cxn>
              <a:cxn ang="0">
                <a:pos x="connsiteX40272" y="connsiteY40272"/>
              </a:cxn>
              <a:cxn ang="0">
                <a:pos x="connsiteX40273" y="connsiteY40273"/>
              </a:cxn>
              <a:cxn ang="0">
                <a:pos x="connsiteX40274" y="connsiteY40274"/>
              </a:cxn>
              <a:cxn ang="0">
                <a:pos x="connsiteX40275" y="connsiteY40275"/>
              </a:cxn>
              <a:cxn ang="0">
                <a:pos x="connsiteX40276" y="connsiteY40276"/>
              </a:cxn>
              <a:cxn ang="0">
                <a:pos x="connsiteX40277" y="connsiteY40277"/>
              </a:cxn>
              <a:cxn ang="0">
                <a:pos x="connsiteX40278" y="connsiteY40278"/>
              </a:cxn>
              <a:cxn ang="0">
                <a:pos x="connsiteX40279" y="connsiteY40279"/>
              </a:cxn>
              <a:cxn ang="0">
                <a:pos x="connsiteX40280" y="connsiteY40280"/>
              </a:cxn>
              <a:cxn ang="0">
                <a:pos x="connsiteX40281" y="connsiteY40281"/>
              </a:cxn>
              <a:cxn ang="0">
                <a:pos x="connsiteX40282" y="connsiteY40282"/>
              </a:cxn>
              <a:cxn ang="0">
                <a:pos x="connsiteX40283" y="connsiteY40283"/>
              </a:cxn>
              <a:cxn ang="0">
                <a:pos x="connsiteX40284" y="connsiteY40284"/>
              </a:cxn>
              <a:cxn ang="0">
                <a:pos x="connsiteX40285" y="connsiteY40285"/>
              </a:cxn>
              <a:cxn ang="0">
                <a:pos x="connsiteX40286" y="connsiteY40286"/>
              </a:cxn>
              <a:cxn ang="0">
                <a:pos x="connsiteX40287" y="connsiteY40287"/>
              </a:cxn>
              <a:cxn ang="0">
                <a:pos x="connsiteX40288" y="connsiteY40288"/>
              </a:cxn>
              <a:cxn ang="0">
                <a:pos x="connsiteX40289" y="connsiteY40289"/>
              </a:cxn>
              <a:cxn ang="0">
                <a:pos x="connsiteX40290" y="connsiteY40290"/>
              </a:cxn>
              <a:cxn ang="0">
                <a:pos x="connsiteX40291" y="connsiteY40291"/>
              </a:cxn>
              <a:cxn ang="0">
                <a:pos x="connsiteX40292" y="connsiteY40292"/>
              </a:cxn>
              <a:cxn ang="0">
                <a:pos x="connsiteX40293" y="connsiteY40293"/>
              </a:cxn>
              <a:cxn ang="0">
                <a:pos x="connsiteX40294" y="connsiteY40294"/>
              </a:cxn>
              <a:cxn ang="0">
                <a:pos x="connsiteX40295" y="connsiteY40295"/>
              </a:cxn>
              <a:cxn ang="0">
                <a:pos x="connsiteX40296" y="connsiteY40296"/>
              </a:cxn>
              <a:cxn ang="0">
                <a:pos x="connsiteX40297" y="connsiteY40297"/>
              </a:cxn>
              <a:cxn ang="0">
                <a:pos x="connsiteX40298" y="connsiteY40298"/>
              </a:cxn>
              <a:cxn ang="0">
                <a:pos x="connsiteX40299" y="connsiteY40299"/>
              </a:cxn>
              <a:cxn ang="0">
                <a:pos x="connsiteX40300" y="connsiteY40300"/>
              </a:cxn>
              <a:cxn ang="0">
                <a:pos x="connsiteX40301" y="connsiteY40301"/>
              </a:cxn>
              <a:cxn ang="0">
                <a:pos x="connsiteX40302" y="connsiteY40302"/>
              </a:cxn>
              <a:cxn ang="0">
                <a:pos x="connsiteX40303" y="connsiteY40303"/>
              </a:cxn>
              <a:cxn ang="0">
                <a:pos x="connsiteX40304" y="connsiteY40304"/>
              </a:cxn>
              <a:cxn ang="0">
                <a:pos x="connsiteX40305" y="connsiteY40305"/>
              </a:cxn>
              <a:cxn ang="0">
                <a:pos x="connsiteX40306" y="connsiteY40306"/>
              </a:cxn>
              <a:cxn ang="0">
                <a:pos x="connsiteX40307" y="connsiteY40307"/>
              </a:cxn>
              <a:cxn ang="0">
                <a:pos x="connsiteX40308" y="connsiteY40308"/>
              </a:cxn>
              <a:cxn ang="0">
                <a:pos x="connsiteX40309" y="connsiteY40309"/>
              </a:cxn>
              <a:cxn ang="0">
                <a:pos x="connsiteX40310" y="connsiteY40310"/>
              </a:cxn>
              <a:cxn ang="0">
                <a:pos x="connsiteX40311" y="connsiteY40311"/>
              </a:cxn>
              <a:cxn ang="0">
                <a:pos x="connsiteX40312" y="connsiteY40312"/>
              </a:cxn>
              <a:cxn ang="0">
                <a:pos x="connsiteX40313" y="connsiteY40313"/>
              </a:cxn>
              <a:cxn ang="0">
                <a:pos x="connsiteX40314" y="connsiteY40314"/>
              </a:cxn>
              <a:cxn ang="0">
                <a:pos x="connsiteX40315" y="connsiteY40315"/>
              </a:cxn>
              <a:cxn ang="0">
                <a:pos x="connsiteX40316" y="connsiteY40316"/>
              </a:cxn>
              <a:cxn ang="0">
                <a:pos x="connsiteX40317" y="connsiteY40317"/>
              </a:cxn>
              <a:cxn ang="0">
                <a:pos x="connsiteX40318" y="connsiteY40318"/>
              </a:cxn>
              <a:cxn ang="0">
                <a:pos x="connsiteX40319" y="connsiteY40319"/>
              </a:cxn>
              <a:cxn ang="0">
                <a:pos x="connsiteX40320" y="connsiteY40320"/>
              </a:cxn>
              <a:cxn ang="0">
                <a:pos x="connsiteX40321" y="connsiteY40321"/>
              </a:cxn>
              <a:cxn ang="0">
                <a:pos x="connsiteX40322" y="connsiteY40322"/>
              </a:cxn>
              <a:cxn ang="0">
                <a:pos x="connsiteX40323" y="connsiteY40323"/>
              </a:cxn>
              <a:cxn ang="0">
                <a:pos x="connsiteX40324" y="connsiteY40324"/>
              </a:cxn>
              <a:cxn ang="0">
                <a:pos x="connsiteX40325" y="connsiteY40325"/>
              </a:cxn>
              <a:cxn ang="0">
                <a:pos x="connsiteX40326" y="connsiteY40326"/>
              </a:cxn>
              <a:cxn ang="0">
                <a:pos x="connsiteX40327" y="connsiteY40327"/>
              </a:cxn>
              <a:cxn ang="0">
                <a:pos x="connsiteX40328" y="connsiteY40328"/>
              </a:cxn>
              <a:cxn ang="0">
                <a:pos x="connsiteX40329" y="connsiteY40329"/>
              </a:cxn>
              <a:cxn ang="0">
                <a:pos x="connsiteX40330" y="connsiteY40330"/>
              </a:cxn>
              <a:cxn ang="0">
                <a:pos x="connsiteX40331" y="connsiteY40331"/>
              </a:cxn>
              <a:cxn ang="0">
                <a:pos x="connsiteX40332" y="connsiteY40332"/>
              </a:cxn>
              <a:cxn ang="0">
                <a:pos x="connsiteX40333" y="connsiteY40333"/>
              </a:cxn>
              <a:cxn ang="0">
                <a:pos x="connsiteX40334" y="connsiteY40334"/>
              </a:cxn>
              <a:cxn ang="0">
                <a:pos x="connsiteX40335" y="connsiteY40335"/>
              </a:cxn>
              <a:cxn ang="0">
                <a:pos x="connsiteX40336" y="connsiteY40336"/>
              </a:cxn>
              <a:cxn ang="0">
                <a:pos x="connsiteX40337" y="connsiteY40337"/>
              </a:cxn>
              <a:cxn ang="0">
                <a:pos x="connsiteX40338" y="connsiteY40338"/>
              </a:cxn>
              <a:cxn ang="0">
                <a:pos x="connsiteX40339" y="connsiteY40339"/>
              </a:cxn>
              <a:cxn ang="0">
                <a:pos x="connsiteX40340" y="connsiteY40340"/>
              </a:cxn>
              <a:cxn ang="0">
                <a:pos x="connsiteX40341" y="connsiteY40341"/>
              </a:cxn>
              <a:cxn ang="0">
                <a:pos x="connsiteX40342" y="connsiteY40342"/>
              </a:cxn>
              <a:cxn ang="0">
                <a:pos x="connsiteX40343" y="connsiteY40343"/>
              </a:cxn>
              <a:cxn ang="0">
                <a:pos x="connsiteX40344" y="connsiteY40344"/>
              </a:cxn>
              <a:cxn ang="0">
                <a:pos x="connsiteX40345" y="connsiteY40345"/>
              </a:cxn>
              <a:cxn ang="0">
                <a:pos x="connsiteX40346" y="connsiteY40346"/>
              </a:cxn>
              <a:cxn ang="0">
                <a:pos x="connsiteX40347" y="connsiteY40347"/>
              </a:cxn>
              <a:cxn ang="0">
                <a:pos x="connsiteX40348" y="connsiteY40348"/>
              </a:cxn>
              <a:cxn ang="0">
                <a:pos x="connsiteX40349" y="connsiteY40349"/>
              </a:cxn>
              <a:cxn ang="0">
                <a:pos x="connsiteX40350" y="connsiteY40350"/>
              </a:cxn>
              <a:cxn ang="0">
                <a:pos x="connsiteX40351" y="connsiteY40351"/>
              </a:cxn>
              <a:cxn ang="0">
                <a:pos x="connsiteX40352" y="connsiteY40352"/>
              </a:cxn>
              <a:cxn ang="0">
                <a:pos x="connsiteX40353" y="connsiteY40353"/>
              </a:cxn>
              <a:cxn ang="0">
                <a:pos x="connsiteX40354" y="connsiteY40354"/>
              </a:cxn>
              <a:cxn ang="0">
                <a:pos x="connsiteX40355" y="connsiteY40355"/>
              </a:cxn>
              <a:cxn ang="0">
                <a:pos x="connsiteX40356" y="connsiteY40356"/>
              </a:cxn>
              <a:cxn ang="0">
                <a:pos x="connsiteX40357" y="connsiteY40357"/>
              </a:cxn>
              <a:cxn ang="0">
                <a:pos x="connsiteX40358" y="connsiteY40358"/>
              </a:cxn>
              <a:cxn ang="0">
                <a:pos x="connsiteX40359" y="connsiteY40359"/>
              </a:cxn>
              <a:cxn ang="0">
                <a:pos x="connsiteX40360" y="connsiteY40360"/>
              </a:cxn>
              <a:cxn ang="0">
                <a:pos x="connsiteX40361" y="connsiteY40361"/>
              </a:cxn>
              <a:cxn ang="0">
                <a:pos x="connsiteX40362" y="connsiteY40362"/>
              </a:cxn>
              <a:cxn ang="0">
                <a:pos x="connsiteX40363" y="connsiteY40363"/>
              </a:cxn>
              <a:cxn ang="0">
                <a:pos x="connsiteX40364" y="connsiteY40364"/>
              </a:cxn>
              <a:cxn ang="0">
                <a:pos x="connsiteX40365" y="connsiteY40365"/>
              </a:cxn>
              <a:cxn ang="0">
                <a:pos x="connsiteX40366" y="connsiteY40366"/>
              </a:cxn>
              <a:cxn ang="0">
                <a:pos x="connsiteX40367" y="connsiteY40367"/>
              </a:cxn>
              <a:cxn ang="0">
                <a:pos x="connsiteX40368" y="connsiteY40368"/>
              </a:cxn>
              <a:cxn ang="0">
                <a:pos x="connsiteX40369" y="connsiteY40369"/>
              </a:cxn>
              <a:cxn ang="0">
                <a:pos x="connsiteX40370" y="connsiteY40370"/>
              </a:cxn>
              <a:cxn ang="0">
                <a:pos x="connsiteX40371" y="connsiteY40371"/>
              </a:cxn>
              <a:cxn ang="0">
                <a:pos x="connsiteX40372" y="connsiteY40372"/>
              </a:cxn>
              <a:cxn ang="0">
                <a:pos x="connsiteX40373" y="connsiteY40373"/>
              </a:cxn>
              <a:cxn ang="0">
                <a:pos x="connsiteX40374" y="connsiteY40374"/>
              </a:cxn>
              <a:cxn ang="0">
                <a:pos x="connsiteX40375" y="connsiteY40375"/>
              </a:cxn>
              <a:cxn ang="0">
                <a:pos x="connsiteX40376" y="connsiteY40376"/>
              </a:cxn>
              <a:cxn ang="0">
                <a:pos x="connsiteX40377" y="connsiteY40377"/>
              </a:cxn>
              <a:cxn ang="0">
                <a:pos x="connsiteX40378" y="connsiteY40378"/>
              </a:cxn>
              <a:cxn ang="0">
                <a:pos x="connsiteX40379" y="connsiteY40379"/>
              </a:cxn>
              <a:cxn ang="0">
                <a:pos x="connsiteX40380" y="connsiteY40380"/>
              </a:cxn>
              <a:cxn ang="0">
                <a:pos x="connsiteX40381" y="connsiteY40381"/>
              </a:cxn>
              <a:cxn ang="0">
                <a:pos x="connsiteX40382" y="connsiteY40382"/>
              </a:cxn>
              <a:cxn ang="0">
                <a:pos x="connsiteX40383" y="connsiteY40383"/>
              </a:cxn>
              <a:cxn ang="0">
                <a:pos x="connsiteX40384" y="connsiteY40384"/>
              </a:cxn>
              <a:cxn ang="0">
                <a:pos x="connsiteX40385" y="connsiteY40385"/>
              </a:cxn>
              <a:cxn ang="0">
                <a:pos x="connsiteX40386" y="connsiteY40386"/>
              </a:cxn>
              <a:cxn ang="0">
                <a:pos x="connsiteX40387" y="connsiteY40387"/>
              </a:cxn>
              <a:cxn ang="0">
                <a:pos x="connsiteX40388" y="connsiteY40388"/>
              </a:cxn>
              <a:cxn ang="0">
                <a:pos x="connsiteX40389" y="connsiteY40389"/>
              </a:cxn>
              <a:cxn ang="0">
                <a:pos x="connsiteX40390" y="connsiteY40390"/>
              </a:cxn>
              <a:cxn ang="0">
                <a:pos x="connsiteX40391" y="connsiteY40391"/>
              </a:cxn>
              <a:cxn ang="0">
                <a:pos x="connsiteX40392" y="connsiteY40392"/>
              </a:cxn>
              <a:cxn ang="0">
                <a:pos x="connsiteX40393" y="connsiteY40393"/>
              </a:cxn>
              <a:cxn ang="0">
                <a:pos x="connsiteX40394" y="connsiteY40394"/>
              </a:cxn>
              <a:cxn ang="0">
                <a:pos x="connsiteX40395" y="connsiteY40395"/>
              </a:cxn>
              <a:cxn ang="0">
                <a:pos x="connsiteX40396" y="connsiteY40396"/>
              </a:cxn>
              <a:cxn ang="0">
                <a:pos x="connsiteX40397" y="connsiteY40397"/>
              </a:cxn>
              <a:cxn ang="0">
                <a:pos x="connsiteX40398" y="connsiteY40398"/>
              </a:cxn>
              <a:cxn ang="0">
                <a:pos x="connsiteX40399" y="connsiteY40399"/>
              </a:cxn>
              <a:cxn ang="0">
                <a:pos x="connsiteX40400" y="connsiteY40400"/>
              </a:cxn>
              <a:cxn ang="0">
                <a:pos x="connsiteX40401" y="connsiteY40401"/>
              </a:cxn>
              <a:cxn ang="0">
                <a:pos x="connsiteX40402" y="connsiteY40402"/>
              </a:cxn>
              <a:cxn ang="0">
                <a:pos x="connsiteX40403" y="connsiteY40403"/>
              </a:cxn>
              <a:cxn ang="0">
                <a:pos x="connsiteX40404" y="connsiteY40404"/>
              </a:cxn>
              <a:cxn ang="0">
                <a:pos x="connsiteX40405" y="connsiteY40405"/>
              </a:cxn>
              <a:cxn ang="0">
                <a:pos x="connsiteX40406" y="connsiteY40406"/>
              </a:cxn>
              <a:cxn ang="0">
                <a:pos x="connsiteX40407" y="connsiteY40407"/>
              </a:cxn>
              <a:cxn ang="0">
                <a:pos x="connsiteX40408" y="connsiteY40408"/>
              </a:cxn>
              <a:cxn ang="0">
                <a:pos x="connsiteX40409" y="connsiteY40409"/>
              </a:cxn>
              <a:cxn ang="0">
                <a:pos x="connsiteX40410" y="connsiteY40410"/>
              </a:cxn>
              <a:cxn ang="0">
                <a:pos x="connsiteX40411" y="connsiteY40411"/>
              </a:cxn>
              <a:cxn ang="0">
                <a:pos x="connsiteX40412" y="connsiteY40412"/>
              </a:cxn>
              <a:cxn ang="0">
                <a:pos x="connsiteX40413" y="connsiteY40413"/>
              </a:cxn>
              <a:cxn ang="0">
                <a:pos x="connsiteX40414" y="connsiteY40414"/>
              </a:cxn>
              <a:cxn ang="0">
                <a:pos x="connsiteX40415" y="connsiteY40415"/>
              </a:cxn>
              <a:cxn ang="0">
                <a:pos x="connsiteX40416" y="connsiteY40416"/>
              </a:cxn>
              <a:cxn ang="0">
                <a:pos x="connsiteX40417" y="connsiteY40417"/>
              </a:cxn>
              <a:cxn ang="0">
                <a:pos x="connsiteX40418" y="connsiteY40418"/>
              </a:cxn>
              <a:cxn ang="0">
                <a:pos x="connsiteX40419" y="connsiteY40419"/>
              </a:cxn>
              <a:cxn ang="0">
                <a:pos x="connsiteX40420" y="connsiteY40420"/>
              </a:cxn>
              <a:cxn ang="0">
                <a:pos x="connsiteX40421" y="connsiteY40421"/>
              </a:cxn>
              <a:cxn ang="0">
                <a:pos x="connsiteX40422" y="connsiteY40422"/>
              </a:cxn>
              <a:cxn ang="0">
                <a:pos x="connsiteX40423" y="connsiteY40423"/>
              </a:cxn>
              <a:cxn ang="0">
                <a:pos x="connsiteX40424" y="connsiteY40424"/>
              </a:cxn>
              <a:cxn ang="0">
                <a:pos x="connsiteX40425" y="connsiteY40425"/>
              </a:cxn>
              <a:cxn ang="0">
                <a:pos x="connsiteX40426" y="connsiteY40426"/>
              </a:cxn>
              <a:cxn ang="0">
                <a:pos x="connsiteX40427" y="connsiteY40427"/>
              </a:cxn>
              <a:cxn ang="0">
                <a:pos x="connsiteX40428" y="connsiteY40428"/>
              </a:cxn>
              <a:cxn ang="0">
                <a:pos x="connsiteX40429" y="connsiteY40429"/>
              </a:cxn>
              <a:cxn ang="0">
                <a:pos x="connsiteX40430" y="connsiteY40430"/>
              </a:cxn>
              <a:cxn ang="0">
                <a:pos x="connsiteX40431" y="connsiteY40431"/>
              </a:cxn>
              <a:cxn ang="0">
                <a:pos x="connsiteX40432" y="connsiteY40432"/>
              </a:cxn>
              <a:cxn ang="0">
                <a:pos x="connsiteX40433" y="connsiteY40433"/>
              </a:cxn>
              <a:cxn ang="0">
                <a:pos x="connsiteX40434" y="connsiteY40434"/>
              </a:cxn>
              <a:cxn ang="0">
                <a:pos x="connsiteX40435" y="connsiteY40435"/>
              </a:cxn>
              <a:cxn ang="0">
                <a:pos x="connsiteX40436" y="connsiteY40436"/>
              </a:cxn>
              <a:cxn ang="0">
                <a:pos x="connsiteX40437" y="connsiteY40437"/>
              </a:cxn>
              <a:cxn ang="0">
                <a:pos x="connsiteX40438" y="connsiteY40438"/>
              </a:cxn>
              <a:cxn ang="0">
                <a:pos x="connsiteX40439" y="connsiteY40439"/>
              </a:cxn>
              <a:cxn ang="0">
                <a:pos x="connsiteX40440" y="connsiteY40440"/>
              </a:cxn>
              <a:cxn ang="0">
                <a:pos x="connsiteX40441" y="connsiteY40441"/>
              </a:cxn>
              <a:cxn ang="0">
                <a:pos x="connsiteX40442" y="connsiteY40442"/>
              </a:cxn>
              <a:cxn ang="0">
                <a:pos x="connsiteX40443" y="connsiteY40443"/>
              </a:cxn>
              <a:cxn ang="0">
                <a:pos x="connsiteX40444" y="connsiteY40444"/>
              </a:cxn>
              <a:cxn ang="0">
                <a:pos x="connsiteX40445" y="connsiteY40445"/>
              </a:cxn>
              <a:cxn ang="0">
                <a:pos x="connsiteX40446" y="connsiteY40446"/>
              </a:cxn>
              <a:cxn ang="0">
                <a:pos x="connsiteX40447" y="connsiteY40447"/>
              </a:cxn>
              <a:cxn ang="0">
                <a:pos x="connsiteX40448" y="connsiteY40448"/>
              </a:cxn>
              <a:cxn ang="0">
                <a:pos x="connsiteX40449" y="connsiteY40449"/>
              </a:cxn>
              <a:cxn ang="0">
                <a:pos x="connsiteX40450" y="connsiteY40450"/>
              </a:cxn>
              <a:cxn ang="0">
                <a:pos x="connsiteX40451" y="connsiteY40451"/>
              </a:cxn>
              <a:cxn ang="0">
                <a:pos x="connsiteX40452" y="connsiteY40452"/>
              </a:cxn>
              <a:cxn ang="0">
                <a:pos x="connsiteX40453" y="connsiteY40453"/>
              </a:cxn>
              <a:cxn ang="0">
                <a:pos x="connsiteX40454" y="connsiteY40454"/>
              </a:cxn>
              <a:cxn ang="0">
                <a:pos x="connsiteX40455" y="connsiteY40455"/>
              </a:cxn>
              <a:cxn ang="0">
                <a:pos x="connsiteX40456" y="connsiteY40456"/>
              </a:cxn>
              <a:cxn ang="0">
                <a:pos x="connsiteX40457" y="connsiteY40457"/>
              </a:cxn>
              <a:cxn ang="0">
                <a:pos x="connsiteX40458" y="connsiteY40458"/>
              </a:cxn>
              <a:cxn ang="0">
                <a:pos x="connsiteX40459" y="connsiteY40459"/>
              </a:cxn>
              <a:cxn ang="0">
                <a:pos x="connsiteX40460" y="connsiteY40460"/>
              </a:cxn>
              <a:cxn ang="0">
                <a:pos x="connsiteX40461" y="connsiteY40461"/>
              </a:cxn>
              <a:cxn ang="0">
                <a:pos x="connsiteX40462" y="connsiteY40462"/>
              </a:cxn>
              <a:cxn ang="0">
                <a:pos x="connsiteX40463" y="connsiteY40463"/>
              </a:cxn>
              <a:cxn ang="0">
                <a:pos x="connsiteX40464" y="connsiteY40464"/>
              </a:cxn>
              <a:cxn ang="0">
                <a:pos x="connsiteX40465" y="connsiteY40465"/>
              </a:cxn>
              <a:cxn ang="0">
                <a:pos x="connsiteX40466" y="connsiteY40466"/>
              </a:cxn>
              <a:cxn ang="0">
                <a:pos x="connsiteX40467" y="connsiteY40467"/>
              </a:cxn>
              <a:cxn ang="0">
                <a:pos x="connsiteX40468" y="connsiteY40468"/>
              </a:cxn>
              <a:cxn ang="0">
                <a:pos x="connsiteX40469" y="connsiteY40469"/>
              </a:cxn>
              <a:cxn ang="0">
                <a:pos x="connsiteX40470" y="connsiteY40470"/>
              </a:cxn>
              <a:cxn ang="0">
                <a:pos x="connsiteX40471" y="connsiteY40471"/>
              </a:cxn>
              <a:cxn ang="0">
                <a:pos x="connsiteX40472" y="connsiteY40472"/>
              </a:cxn>
              <a:cxn ang="0">
                <a:pos x="connsiteX40473" y="connsiteY40473"/>
              </a:cxn>
              <a:cxn ang="0">
                <a:pos x="connsiteX40474" y="connsiteY40474"/>
              </a:cxn>
              <a:cxn ang="0">
                <a:pos x="connsiteX40475" y="connsiteY40475"/>
              </a:cxn>
              <a:cxn ang="0">
                <a:pos x="connsiteX40476" y="connsiteY40476"/>
              </a:cxn>
              <a:cxn ang="0">
                <a:pos x="connsiteX40477" y="connsiteY40477"/>
              </a:cxn>
              <a:cxn ang="0">
                <a:pos x="connsiteX40478" y="connsiteY40478"/>
              </a:cxn>
              <a:cxn ang="0">
                <a:pos x="connsiteX40479" y="connsiteY40479"/>
              </a:cxn>
              <a:cxn ang="0">
                <a:pos x="connsiteX40480" y="connsiteY40480"/>
              </a:cxn>
              <a:cxn ang="0">
                <a:pos x="connsiteX40481" y="connsiteY40481"/>
              </a:cxn>
              <a:cxn ang="0">
                <a:pos x="connsiteX40482" y="connsiteY40482"/>
              </a:cxn>
              <a:cxn ang="0">
                <a:pos x="connsiteX40483" y="connsiteY40483"/>
              </a:cxn>
              <a:cxn ang="0">
                <a:pos x="connsiteX40484" y="connsiteY40484"/>
              </a:cxn>
              <a:cxn ang="0">
                <a:pos x="connsiteX40485" y="connsiteY40485"/>
              </a:cxn>
              <a:cxn ang="0">
                <a:pos x="connsiteX40486" y="connsiteY40486"/>
              </a:cxn>
              <a:cxn ang="0">
                <a:pos x="connsiteX40487" y="connsiteY40487"/>
              </a:cxn>
              <a:cxn ang="0">
                <a:pos x="connsiteX40488" y="connsiteY40488"/>
              </a:cxn>
              <a:cxn ang="0">
                <a:pos x="connsiteX40489" y="connsiteY40489"/>
              </a:cxn>
              <a:cxn ang="0">
                <a:pos x="connsiteX40490" y="connsiteY40490"/>
              </a:cxn>
              <a:cxn ang="0">
                <a:pos x="connsiteX40491" y="connsiteY40491"/>
              </a:cxn>
              <a:cxn ang="0">
                <a:pos x="connsiteX40492" y="connsiteY40492"/>
              </a:cxn>
              <a:cxn ang="0">
                <a:pos x="connsiteX40493" y="connsiteY40493"/>
              </a:cxn>
              <a:cxn ang="0">
                <a:pos x="connsiteX40494" y="connsiteY40494"/>
              </a:cxn>
              <a:cxn ang="0">
                <a:pos x="connsiteX40495" y="connsiteY40495"/>
              </a:cxn>
              <a:cxn ang="0">
                <a:pos x="connsiteX40496" y="connsiteY40496"/>
              </a:cxn>
              <a:cxn ang="0">
                <a:pos x="connsiteX40497" y="connsiteY40497"/>
              </a:cxn>
              <a:cxn ang="0">
                <a:pos x="connsiteX40498" y="connsiteY40498"/>
              </a:cxn>
              <a:cxn ang="0">
                <a:pos x="connsiteX40499" y="connsiteY40499"/>
              </a:cxn>
              <a:cxn ang="0">
                <a:pos x="connsiteX40500" y="connsiteY40500"/>
              </a:cxn>
              <a:cxn ang="0">
                <a:pos x="connsiteX40501" y="connsiteY40501"/>
              </a:cxn>
              <a:cxn ang="0">
                <a:pos x="connsiteX40502" y="connsiteY40502"/>
              </a:cxn>
              <a:cxn ang="0">
                <a:pos x="connsiteX40503" y="connsiteY40503"/>
              </a:cxn>
              <a:cxn ang="0">
                <a:pos x="connsiteX40504" y="connsiteY40504"/>
              </a:cxn>
              <a:cxn ang="0">
                <a:pos x="connsiteX40505" y="connsiteY40505"/>
              </a:cxn>
              <a:cxn ang="0">
                <a:pos x="connsiteX40506" y="connsiteY40506"/>
              </a:cxn>
              <a:cxn ang="0">
                <a:pos x="connsiteX40507" y="connsiteY40507"/>
              </a:cxn>
              <a:cxn ang="0">
                <a:pos x="connsiteX40508" y="connsiteY40508"/>
              </a:cxn>
              <a:cxn ang="0">
                <a:pos x="connsiteX40509" y="connsiteY40509"/>
              </a:cxn>
              <a:cxn ang="0">
                <a:pos x="connsiteX40510" y="connsiteY40510"/>
              </a:cxn>
              <a:cxn ang="0">
                <a:pos x="connsiteX40511" y="connsiteY40511"/>
              </a:cxn>
              <a:cxn ang="0">
                <a:pos x="connsiteX40512" y="connsiteY40512"/>
              </a:cxn>
              <a:cxn ang="0">
                <a:pos x="connsiteX40513" y="connsiteY40513"/>
              </a:cxn>
              <a:cxn ang="0">
                <a:pos x="connsiteX40514" y="connsiteY40514"/>
              </a:cxn>
              <a:cxn ang="0">
                <a:pos x="connsiteX40515" y="connsiteY40515"/>
              </a:cxn>
              <a:cxn ang="0">
                <a:pos x="connsiteX40516" y="connsiteY40516"/>
              </a:cxn>
              <a:cxn ang="0">
                <a:pos x="connsiteX40517" y="connsiteY40517"/>
              </a:cxn>
              <a:cxn ang="0">
                <a:pos x="connsiteX40518" y="connsiteY40518"/>
              </a:cxn>
              <a:cxn ang="0">
                <a:pos x="connsiteX40519" y="connsiteY40519"/>
              </a:cxn>
              <a:cxn ang="0">
                <a:pos x="connsiteX40520" y="connsiteY40520"/>
              </a:cxn>
              <a:cxn ang="0">
                <a:pos x="connsiteX40521" y="connsiteY40521"/>
              </a:cxn>
              <a:cxn ang="0">
                <a:pos x="connsiteX40522" y="connsiteY40522"/>
              </a:cxn>
              <a:cxn ang="0">
                <a:pos x="connsiteX40523" y="connsiteY40523"/>
              </a:cxn>
              <a:cxn ang="0">
                <a:pos x="connsiteX40524" y="connsiteY40524"/>
              </a:cxn>
              <a:cxn ang="0">
                <a:pos x="connsiteX40525" y="connsiteY40525"/>
              </a:cxn>
              <a:cxn ang="0">
                <a:pos x="connsiteX40526" y="connsiteY40526"/>
              </a:cxn>
              <a:cxn ang="0">
                <a:pos x="connsiteX40527" y="connsiteY40527"/>
              </a:cxn>
              <a:cxn ang="0">
                <a:pos x="connsiteX40528" y="connsiteY40528"/>
              </a:cxn>
              <a:cxn ang="0">
                <a:pos x="connsiteX40529" y="connsiteY40529"/>
              </a:cxn>
              <a:cxn ang="0">
                <a:pos x="connsiteX40530" y="connsiteY40530"/>
              </a:cxn>
              <a:cxn ang="0">
                <a:pos x="connsiteX40531" y="connsiteY40531"/>
              </a:cxn>
              <a:cxn ang="0">
                <a:pos x="connsiteX40532" y="connsiteY40532"/>
              </a:cxn>
              <a:cxn ang="0">
                <a:pos x="connsiteX40533" y="connsiteY40533"/>
              </a:cxn>
              <a:cxn ang="0">
                <a:pos x="connsiteX40534" y="connsiteY40534"/>
              </a:cxn>
              <a:cxn ang="0">
                <a:pos x="connsiteX40535" y="connsiteY40535"/>
              </a:cxn>
              <a:cxn ang="0">
                <a:pos x="connsiteX40536" y="connsiteY40536"/>
              </a:cxn>
              <a:cxn ang="0">
                <a:pos x="connsiteX40537" y="connsiteY40537"/>
              </a:cxn>
              <a:cxn ang="0">
                <a:pos x="connsiteX40538" y="connsiteY40538"/>
              </a:cxn>
              <a:cxn ang="0">
                <a:pos x="connsiteX40539" y="connsiteY40539"/>
              </a:cxn>
              <a:cxn ang="0">
                <a:pos x="connsiteX40540" y="connsiteY40540"/>
              </a:cxn>
              <a:cxn ang="0">
                <a:pos x="connsiteX40541" y="connsiteY40541"/>
              </a:cxn>
              <a:cxn ang="0">
                <a:pos x="connsiteX40542" y="connsiteY40542"/>
              </a:cxn>
              <a:cxn ang="0">
                <a:pos x="connsiteX40543" y="connsiteY40543"/>
              </a:cxn>
              <a:cxn ang="0">
                <a:pos x="connsiteX40544" y="connsiteY40544"/>
              </a:cxn>
              <a:cxn ang="0">
                <a:pos x="connsiteX40545" y="connsiteY40545"/>
              </a:cxn>
              <a:cxn ang="0">
                <a:pos x="connsiteX40546" y="connsiteY40546"/>
              </a:cxn>
              <a:cxn ang="0">
                <a:pos x="connsiteX40547" y="connsiteY40547"/>
              </a:cxn>
              <a:cxn ang="0">
                <a:pos x="connsiteX40548" y="connsiteY40548"/>
              </a:cxn>
              <a:cxn ang="0">
                <a:pos x="connsiteX40549" y="connsiteY40549"/>
              </a:cxn>
              <a:cxn ang="0">
                <a:pos x="connsiteX40550" y="connsiteY40550"/>
              </a:cxn>
              <a:cxn ang="0">
                <a:pos x="connsiteX40551" y="connsiteY40551"/>
              </a:cxn>
              <a:cxn ang="0">
                <a:pos x="connsiteX40552" y="connsiteY40552"/>
              </a:cxn>
              <a:cxn ang="0">
                <a:pos x="connsiteX40553" y="connsiteY40553"/>
              </a:cxn>
              <a:cxn ang="0">
                <a:pos x="connsiteX40554" y="connsiteY40554"/>
              </a:cxn>
              <a:cxn ang="0">
                <a:pos x="connsiteX40555" y="connsiteY40555"/>
              </a:cxn>
              <a:cxn ang="0">
                <a:pos x="connsiteX40556" y="connsiteY40556"/>
              </a:cxn>
              <a:cxn ang="0">
                <a:pos x="connsiteX40557" y="connsiteY40557"/>
              </a:cxn>
              <a:cxn ang="0">
                <a:pos x="connsiteX40558" y="connsiteY40558"/>
              </a:cxn>
              <a:cxn ang="0">
                <a:pos x="connsiteX40559" y="connsiteY40559"/>
              </a:cxn>
              <a:cxn ang="0">
                <a:pos x="connsiteX40560" y="connsiteY40560"/>
              </a:cxn>
              <a:cxn ang="0">
                <a:pos x="connsiteX40561" y="connsiteY40561"/>
              </a:cxn>
              <a:cxn ang="0">
                <a:pos x="connsiteX40562" y="connsiteY40562"/>
              </a:cxn>
              <a:cxn ang="0">
                <a:pos x="connsiteX40563" y="connsiteY40563"/>
              </a:cxn>
              <a:cxn ang="0">
                <a:pos x="connsiteX40564" y="connsiteY40564"/>
              </a:cxn>
              <a:cxn ang="0">
                <a:pos x="connsiteX40565" y="connsiteY40565"/>
              </a:cxn>
              <a:cxn ang="0">
                <a:pos x="connsiteX40566" y="connsiteY40566"/>
              </a:cxn>
              <a:cxn ang="0">
                <a:pos x="connsiteX40567" y="connsiteY40567"/>
              </a:cxn>
              <a:cxn ang="0">
                <a:pos x="connsiteX40568" y="connsiteY40568"/>
              </a:cxn>
              <a:cxn ang="0">
                <a:pos x="connsiteX40569" y="connsiteY40569"/>
              </a:cxn>
              <a:cxn ang="0">
                <a:pos x="connsiteX40570" y="connsiteY40570"/>
              </a:cxn>
              <a:cxn ang="0">
                <a:pos x="connsiteX40571" y="connsiteY40571"/>
              </a:cxn>
              <a:cxn ang="0">
                <a:pos x="connsiteX40572" y="connsiteY40572"/>
              </a:cxn>
              <a:cxn ang="0">
                <a:pos x="connsiteX40573" y="connsiteY40573"/>
              </a:cxn>
              <a:cxn ang="0">
                <a:pos x="connsiteX40574" y="connsiteY40574"/>
              </a:cxn>
              <a:cxn ang="0">
                <a:pos x="connsiteX40575" y="connsiteY40575"/>
              </a:cxn>
              <a:cxn ang="0">
                <a:pos x="connsiteX40576" y="connsiteY40576"/>
              </a:cxn>
              <a:cxn ang="0">
                <a:pos x="connsiteX40577" y="connsiteY40577"/>
              </a:cxn>
              <a:cxn ang="0">
                <a:pos x="connsiteX40578" y="connsiteY40578"/>
              </a:cxn>
              <a:cxn ang="0">
                <a:pos x="connsiteX40579" y="connsiteY40579"/>
              </a:cxn>
              <a:cxn ang="0">
                <a:pos x="connsiteX40580" y="connsiteY40580"/>
              </a:cxn>
              <a:cxn ang="0">
                <a:pos x="connsiteX40581" y="connsiteY40581"/>
              </a:cxn>
              <a:cxn ang="0">
                <a:pos x="connsiteX40582" y="connsiteY40582"/>
              </a:cxn>
              <a:cxn ang="0">
                <a:pos x="connsiteX40583" y="connsiteY40583"/>
              </a:cxn>
              <a:cxn ang="0">
                <a:pos x="connsiteX40584" y="connsiteY40584"/>
              </a:cxn>
              <a:cxn ang="0">
                <a:pos x="connsiteX40585" y="connsiteY40585"/>
              </a:cxn>
              <a:cxn ang="0">
                <a:pos x="connsiteX40586" y="connsiteY40586"/>
              </a:cxn>
              <a:cxn ang="0">
                <a:pos x="connsiteX40587" y="connsiteY40587"/>
              </a:cxn>
              <a:cxn ang="0">
                <a:pos x="connsiteX40588" y="connsiteY40588"/>
              </a:cxn>
              <a:cxn ang="0">
                <a:pos x="connsiteX40589" y="connsiteY40589"/>
              </a:cxn>
              <a:cxn ang="0">
                <a:pos x="connsiteX40590" y="connsiteY40590"/>
              </a:cxn>
              <a:cxn ang="0">
                <a:pos x="connsiteX40591" y="connsiteY40591"/>
              </a:cxn>
              <a:cxn ang="0">
                <a:pos x="connsiteX40592" y="connsiteY40592"/>
              </a:cxn>
              <a:cxn ang="0">
                <a:pos x="connsiteX40593" y="connsiteY40593"/>
              </a:cxn>
              <a:cxn ang="0">
                <a:pos x="connsiteX40594" y="connsiteY40594"/>
              </a:cxn>
              <a:cxn ang="0">
                <a:pos x="connsiteX40595" y="connsiteY40595"/>
              </a:cxn>
              <a:cxn ang="0">
                <a:pos x="connsiteX40596" y="connsiteY40596"/>
              </a:cxn>
              <a:cxn ang="0">
                <a:pos x="connsiteX40597" y="connsiteY40597"/>
              </a:cxn>
              <a:cxn ang="0">
                <a:pos x="connsiteX40598" y="connsiteY40598"/>
              </a:cxn>
              <a:cxn ang="0">
                <a:pos x="connsiteX40599" y="connsiteY40599"/>
              </a:cxn>
              <a:cxn ang="0">
                <a:pos x="connsiteX40600" y="connsiteY40600"/>
              </a:cxn>
              <a:cxn ang="0">
                <a:pos x="connsiteX40601" y="connsiteY40601"/>
              </a:cxn>
              <a:cxn ang="0">
                <a:pos x="connsiteX40602" y="connsiteY40602"/>
              </a:cxn>
              <a:cxn ang="0">
                <a:pos x="connsiteX40603" y="connsiteY40603"/>
              </a:cxn>
              <a:cxn ang="0">
                <a:pos x="connsiteX40604" y="connsiteY40604"/>
              </a:cxn>
              <a:cxn ang="0">
                <a:pos x="connsiteX40605" y="connsiteY40605"/>
              </a:cxn>
              <a:cxn ang="0">
                <a:pos x="connsiteX40606" y="connsiteY40606"/>
              </a:cxn>
              <a:cxn ang="0">
                <a:pos x="connsiteX40607" y="connsiteY40607"/>
              </a:cxn>
              <a:cxn ang="0">
                <a:pos x="connsiteX40608" y="connsiteY40608"/>
              </a:cxn>
              <a:cxn ang="0">
                <a:pos x="connsiteX40609" y="connsiteY40609"/>
              </a:cxn>
              <a:cxn ang="0">
                <a:pos x="connsiteX40610" y="connsiteY40610"/>
              </a:cxn>
              <a:cxn ang="0">
                <a:pos x="connsiteX40611" y="connsiteY40611"/>
              </a:cxn>
              <a:cxn ang="0">
                <a:pos x="connsiteX40612" y="connsiteY40612"/>
              </a:cxn>
              <a:cxn ang="0">
                <a:pos x="connsiteX40613" y="connsiteY40613"/>
              </a:cxn>
              <a:cxn ang="0">
                <a:pos x="connsiteX40614" y="connsiteY40614"/>
              </a:cxn>
              <a:cxn ang="0">
                <a:pos x="connsiteX40615" y="connsiteY40615"/>
              </a:cxn>
              <a:cxn ang="0">
                <a:pos x="connsiteX40616" y="connsiteY40616"/>
              </a:cxn>
              <a:cxn ang="0">
                <a:pos x="connsiteX40617" y="connsiteY40617"/>
              </a:cxn>
              <a:cxn ang="0">
                <a:pos x="connsiteX40618" y="connsiteY40618"/>
              </a:cxn>
              <a:cxn ang="0">
                <a:pos x="connsiteX40619" y="connsiteY40619"/>
              </a:cxn>
              <a:cxn ang="0">
                <a:pos x="connsiteX40620" y="connsiteY40620"/>
              </a:cxn>
              <a:cxn ang="0">
                <a:pos x="connsiteX40621" y="connsiteY40621"/>
              </a:cxn>
              <a:cxn ang="0">
                <a:pos x="connsiteX40622" y="connsiteY40622"/>
              </a:cxn>
              <a:cxn ang="0">
                <a:pos x="connsiteX40623" y="connsiteY40623"/>
              </a:cxn>
              <a:cxn ang="0">
                <a:pos x="connsiteX40624" y="connsiteY40624"/>
              </a:cxn>
              <a:cxn ang="0">
                <a:pos x="connsiteX40625" y="connsiteY40625"/>
              </a:cxn>
              <a:cxn ang="0">
                <a:pos x="connsiteX40626" y="connsiteY40626"/>
              </a:cxn>
              <a:cxn ang="0">
                <a:pos x="connsiteX40627" y="connsiteY40627"/>
              </a:cxn>
              <a:cxn ang="0">
                <a:pos x="connsiteX40628" y="connsiteY40628"/>
              </a:cxn>
              <a:cxn ang="0">
                <a:pos x="connsiteX40629" y="connsiteY40629"/>
              </a:cxn>
              <a:cxn ang="0">
                <a:pos x="connsiteX40630" y="connsiteY40630"/>
              </a:cxn>
              <a:cxn ang="0">
                <a:pos x="connsiteX40631" y="connsiteY40631"/>
              </a:cxn>
              <a:cxn ang="0">
                <a:pos x="connsiteX40632" y="connsiteY40632"/>
              </a:cxn>
              <a:cxn ang="0">
                <a:pos x="connsiteX40633" y="connsiteY40633"/>
              </a:cxn>
              <a:cxn ang="0">
                <a:pos x="connsiteX40634" y="connsiteY40634"/>
              </a:cxn>
              <a:cxn ang="0">
                <a:pos x="connsiteX40635" y="connsiteY40635"/>
              </a:cxn>
              <a:cxn ang="0">
                <a:pos x="connsiteX40636" y="connsiteY40636"/>
              </a:cxn>
              <a:cxn ang="0">
                <a:pos x="connsiteX40637" y="connsiteY40637"/>
              </a:cxn>
              <a:cxn ang="0">
                <a:pos x="connsiteX40638" y="connsiteY40638"/>
              </a:cxn>
              <a:cxn ang="0">
                <a:pos x="connsiteX40639" y="connsiteY40639"/>
              </a:cxn>
              <a:cxn ang="0">
                <a:pos x="connsiteX40640" y="connsiteY40640"/>
              </a:cxn>
              <a:cxn ang="0">
                <a:pos x="connsiteX40641" y="connsiteY40641"/>
              </a:cxn>
              <a:cxn ang="0">
                <a:pos x="connsiteX40642" y="connsiteY40642"/>
              </a:cxn>
              <a:cxn ang="0">
                <a:pos x="connsiteX40643" y="connsiteY40643"/>
              </a:cxn>
              <a:cxn ang="0">
                <a:pos x="connsiteX40644" y="connsiteY40644"/>
              </a:cxn>
              <a:cxn ang="0">
                <a:pos x="connsiteX40645" y="connsiteY40645"/>
              </a:cxn>
              <a:cxn ang="0">
                <a:pos x="connsiteX40646" y="connsiteY40646"/>
              </a:cxn>
              <a:cxn ang="0">
                <a:pos x="connsiteX40647" y="connsiteY40647"/>
              </a:cxn>
              <a:cxn ang="0">
                <a:pos x="connsiteX40648" y="connsiteY40648"/>
              </a:cxn>
              <a:cxn ang="0">
                <a:pos x="connsiteX40649" y="connsiteY40649"/>
              </a:cxn>
              <a:cxn ang="0">
                <a:pos x="connsiteX40650" y="connsiteY40650"/>
              </a:cxn>
              <a:cxn ang="0">
                <a:pos x="connsiteX40651" y="connsiteY40651"/>
              </a:cxn>
              <a:cxn ang="0">
                <a:pos x="connsiteX40652" y="connsiteY40652"/>
              </a:cxn>
              <a:cxn ang="0">
                <a:pos x="connsiteX40653" y="connsiteY40653"/>
              </a:cxn>
              <a:cxn ang="0">
                <a:pos x="connsiteX40654" y="connsiteY40654"/>
              </a:cxn>
              <a:cxn ang="0">
                <a:pos x="connsiteX40655" y="connsiteY40655"/>
              </a:cxn>
              <a:cxn ang="0">
                <a:pos x="connsiteX40656" y="connsiteY40656"/>
              </a:cxn>
              <a:cxn ang="0">
                <a:pos x="connsiteX40657" y="connsiteY40657"/>
              </a:cxn>
              <a:cxn ang="0">
                <a:pos x="connsiteX40658" y="connsiteY40658"/>
              </a:cxn>
              <a:cxn ang="0">
                <a:pos x="connsiteX40659" y="connsiteY40659"/>
              </a:cxn>
              <a:cxn ang="0">
                <a:pos x="connsiteX40660" y="connsiteY40660"/>
              </a:cxn>
              <a:cxn ang="0">
                <a:pos x="connsiteX40661" y="connsiteY40661"/>
              </a:cxn>
              <a:cxn ang="0">
                <a:pos x="connsiteX40662" y="connsiteY40662"/>
              </a:cxn>
              <a:cxn ang="0">
                <a:pos x="connsiteX40663" y="connsiteY40663"/>
              </a:cxn>
              <a:cxn ang="0">
                <a:pos x="connsiteX40664" y="connsiteY40664"/>
              </a:cxn>
              <a:cxn ang="0">
                <a:pos x="connsiteX40665" y="connsiteY40665"/>
              </a:cxn>
              <a:cxn ang="0">
                <a:pos x="connsiteX40666" y="connsiteY40666"/>
              </a:cxn>
              <a:cxn ang="0">
                <a:pos x="connsiteX40667" y="connsiteY40667"/>
              </a:cxn>
              <a:cxn ang="0">
                <a:pos x="connsiteX40668" y="connsiteY40668"/>
              </a:cxn>
              <a:cxn ang="0">
                <a:pos x="connsiteX40669" y="connsiteY40669"/>
              </a:cxn>
              <a:cxn ang="0">
                <a:pos x="connsiteX40670" y="connsiteY40670"/>
              </a:cxn>
              <a:cxn ang="0">
                <a:pos x="connsiteX40671" y="connsiteY40671"/>
              </a:cxn>
              <a:cxn ang="0">
                <a:pos x="connsiteX40672" y="connsiteY40672"/>
              </a:cxn>
              <a:cxn ang="0">
                <a:pos x="connsiteX40673" y="connsiteY40673"/>
              </a:cxn>
              <a:cxn ang="0">
                <a:pos x="connsiteX40674" y="connsiteY40674"/>
              </a:cxn>
              <a:cxn ang="0">
                <a:pos x="connsiteX40675" y="connsiteY40675"/>
              </a:cxn>
              <a:cxn ang="0">
                <a:pos x="connsiteX40676" y="connsiteY40676"/>
              </a:cxn>
              <a:cxn ang="0">
                <a:pos x="connsiteX40677" y="connsiteY40677"/>
              </a:cxn>
              <a:cxn ang="0">
                <a:pos x="connsiteX40678" y="connsiteY40678"/>
              </a:cxn>
              <a:cxn ang="0">
                <a:pos x="connsiteX40679" y="connsiteY40679"/>
              </a:cxn>
              <a:cxn ang="0">
                <a:pos x="connsiteX40680" y="connsiteY40680"/>
              </a:cxn>
              <a:cxn ang="0">
                <a:pos x="connsiteX40681" y="connsiteY40681"/>
              </a:cxn>
              <a:cxn ang="0">
                <a:pos x="connsiteX40682" y="connsiteY40682"/>
              </a:cxn>
              <a:cxn ang="0">
                <a:pos x="connsiteX40683" y="connsiteY40683"/>
              </a:cxn>
              <a:cxn ang="0">
                <a:pos x="connsiteX40684" y="connsiteY40684"/>
              </a:cxn>
              <a:cxn ang="0">
                <a:pos x="connsiteX40685" y="connsiteY40685"/>
              </a:cxn>
              <a:cxn ang="0">
                <a:pos x="connsiteX40686" y="connsiteY40686"/>
              </a:cxn>
              <a:cxn ang="0">
                <a:pos x="connsiteX40687" y="connsiteY40687"/>
              </a:cxn>
              <a:cxn ang="0">
                <a:pos x="connsiteX40688" y="connsiteY40688"/>
              </a:cxn>
              <a:cxn ang="0">
                <a:pos x="connsiteX40689" y="connsiteY40689"/>
              </a:cxn>
              <a:cxn ang="0">
                <a:pos x="connsiteX40690" y="connsiteY40690"/>
              </a:cxn>
              <a:cxn ang="0">
                <a:pos x="connsiteX40691" y="connsiteY40691"/>
              </a:cxn>
              <a:cxn ang="0">
                <a:pos x="connsiteX40692" y="connsiteY40692"/>
              </a:cxn>
              <a:cxn ang="0">
                <a:pos x="connsiteX40693" y="connsiteY40693"/>
              </a:cxn>
              <a:cxn ang="0">
                <a:pos x="connsiteX40694" y="connsiteY40694"/>
              </a:cxn>
              <a:cxn ang="0">
                <a:pos x="connsiteX40695" y="connsiteY40695"/>
              </a:cxn>
              <a:cxn ang="0">
                <a:pos x="connsiteX40696" y="connsiteY40696"/>
              </a:cxn>
              <a:cxn ang="0">
                <a:pos x="connsiteX40697" y="connsiteY40697"/>
              </a:cxn>
              <a:cxn ang="0">
                <a:pos x="connsiteX40698" y="connsiteY40698"/>
              </a:cxn>
              <a:cxn ang="0">
                <a:pos x="connsiteX40699" y="connsiteY40699"/>
              </a:cxn>
              <a:cxn ang="0">
                <a:pos x="connsiteX40700" y="connsiteY40700"/>
              </a:cxn>
              <a:cxn ang="0">
                <a:pos x="connsiteX40701" y="connsiteY40701"/>
              </a:cxn>
              <a:cxn ang="0">
                <a:pos x="connsiteX40702" y="connsiteY40702"/>
              </a:cxn>
              <a:cxn ang="0">
                <a:pos x="connsiteX40703" y="connsiteY40703"/>
              </a:cxn>
              <a:cxn ang="0">
                <a:pos x="connsiteX40704" y="connsiteY40704"/>
              </a:cxn>
              <a:cxn ang="0">
                <a:pos x="connsiteX40705" y="connsiteY40705"/>
              </a:cxn>
              <a:cxn ang="0">
                <a:pos x="connsiteX40706" y="connsiteY40706"/>
              </a:cxn>
              <a:cxn ang="0">
                <a:pos x="connsiteX40707" y="connsiteY40707"/>
              </a:cxn>
              <a:cxn ang="0">
                <a:pos x="connsiteX40708" y="connsiteY40708"/>
              </a:cxn>
              <a:cxn ang="0">
                <a:pos x="connsiteX40709" y="connsiteY40709"/>
              </a:cxn>
              <a:cxn ang="0">
                <a:pos x="connsiteX40710" y="connsiteY40710"/>
              </a:cxn>
              <a:cxn ang="0">
                <a:pos x="connsiteX40711" y="connsiteY40711"/>
              </a:cxn>
              <a:cxn ang="0">
                <a:pos x="connsiteX40712" y="connsiteY40712"/>
              </a:cxn>
              <a:cxn ang="0">
                <a:pos x="connsiteX40713" y="connsiteY40713"/>
              </a:cxn>
              <a:cxn ang="0">
                <a:pos x="connsiteX40714" y="connsiteY40714"/>
              </a:cxn>
              <a:cxn ang="0">
                <a:pos x="connsiteX40715" y="connsiteY40715"/>
              </a:cxn>
              <a:cxn ang="0">
                <a:pos x="connsiteX40716" y="connsiteY40716"/>
              </a:cxn>
              <a:cxn ang="0">
                <a:pos x="connsiteX40717" y="connsiteY40717"/>
              </a:cxn>
              <a:cxn ang="0">
                <a:pos x="connsiteX40718" y="connsiteY40718"/>
              </a:cxn>
              <a:cxn ang="0">
                <a:pos x="connsiteX40719" y="connsiteY40719"/>
              </a:cxn>
              <a:cxn ang="0">
                <a:pos x="connsiteX40720" y="connsiteY40720"/>
              </a:cxn>
              <a:cxn ang="0">
                <a:pos x="connsiteX40721" y="connsiteY40721"/>
              </a:cxn>
              <a:cxn ang="0">
                <a:pos x="connsiteX40722" y="connsiteY40722"/>
              </a:cxn>
              <a:cxn ang="0">
                <a:pos x="connsiteX40723" y="connsiteY40723"/>
              </a:cxn>
              <a:cxn ang="0">
                <a:pos x="connsiteX40724" y="connsiteY40724"/>
              </a:cxn>
              <a:cxn ang="0">
                <a:pos x="connsiteX40725" y="connsiteY40725"/>
              </a:cxn>
              <a:cxn ang="0">
                <a:pos x="connsiteX40726" y="connsiteY40726"/>
              </a:cxn>
              <a:cxn ang="0">
                <a:pos x="connsiteX40727" y="connsiteY40727"/>
              </a:cxn>
              <a:cxn ang="0">
                <a:pos x="connsiteX40728" y="connsiteY40728"/>
              </a:cxn>
              <a:cxn ang="0">
                <a:pos x="connsiteX40729" y="connsiteY40729"/>
              </a:cxn>
              <a:cxn ang="0">
                <a:pos x="connsiteX40730" y="connsiteY40730"/>
              </a:cxn>
              <a:cxn ang="0">
                <a:pos x="connsiteX40731" y="connsiteY40731"/>
              </a:cxn>
              <a:cxn ang="0">
                <a:pos x="connsiteX40732" y="connsiteY40732"/>
              </a:cxn>
              <a:cxn ang="0">
                <a:pos x="connsiteX40733" y="connsiteY40733"/>
              </a:cxn>
              <a:cxn ang="0">
                <a:pos x="connsiteX40734" y="connsiteY40734"/>
              </a:cxn>
              <a:cxn ang="0">
                <a:pos x="connsiteX40735" y="connsiteY40735"/>
              </a:cxn>
              <a:cxn ang="0">
                <a:pos x="connsiteX40736" y="connsiteY40736"/>
              </a:cxn>
              <a:cxn ang="0">
                <a:pos x="connsiteX40737" y="connsiteY40737"/>
              </a:cxn>
              <a:cxn ang="0">
                <a:pos x="connsiteX40738" y="connsiteY40738"/>
              </a:cxn>
              <a:cxn ang="0">
                <a:pos x="connsiteX40739" y="connsiteY40739"/>
              </a:cxn>
              <a:cxn ang="0">
                <a:pos x="connsiteX40740" y="connsiteY40740"/>
              </a:cxn>
              <a:cxn ang="0">
                <a:pos x="connsiteX40741" y="connsiteY40741"/>
              </a:cxn>
              <a:cxn ang="0">
                <a:pos x="connsiteX40742" y="connsiteY40742"/>
              </a:cxn>
              <a:cxn ang="0">
                <a:pos x="connsiteX40743" y="connsiteY40743"/>
              </a:cxn>
              <a:cxn ang="0">
                <a:pos x="connsiteX40744" y="connsiteY40744"/>
              </a:cxn>
              <a:cxn ang="0">
                <a:pos x="connsiteX40745" y="connsiteY40745"/>
              </a:cxn>
              <a:cxn ang="0">
                <a:pos x="connsiteX40746" y="connsiteY40746"/>
              </a:cxn>
              <a:cxn ang="0">
                <a:pos x="connsiteX40747" y="connsiteY40747"/>
              </a:cxn>
              <a:cxn ang="0">
                <a:pos x="connsiteX40748" y="connsiteY40748"/>
              </a:cxn>
              <a:cxn ang="0">
                <a:pos x="connsiteX40749" y="connsiteY40749"/>
              </a:cxn>
              <a:cxn ang="0">
                <a:pos x="connsiteX40750" y="connsiteY40750"/>
              </a:cxn>
              <a:cxn ang="0">
                <a:pos x="connsiteX40751" y="connsiteY40751"/>
              </a:cxn>
              <a:cxn ang="0">
                <a:pos x="connsiteX40752" y="connsiteY40752"/>
              </a:cxn>
              <a:cxn ang="0">
                <a:pos x="connsiteX40753" y="connsiteY40753"/>
              </a:cxn>
              <a:cxn ang="0">
                <a:pos x="connsiteX40754" y="connsiteY40754"/>
              </a:cxn>
              <a:cxn ang="0">
                <a:pos x="connsiteX40755" y="connsiteY40755"/>
              </a:cxn>
              <a:cxn ang="0">
                <a:pos x="connsiteX40756" y="connsiteY40756"/>
              </a:cxn>
              <a:cxn ang="0">
                <a:pos x="connsiteX40757" y="connsiteY40757"/>
              </a:cxn>
              <a:cxn ang="0">
                <a:pos x="connsiteX40758" y="connsiteY40758"/>
              </a:cxn>
              <a:cxn ang="0">
                <a:pos x="connsiteX40759" y="connsiteY40759"/>
              </a:cxn>
              <a:cxn ang="0">
                <a:pos x="connsiteX40760" y="connsiteY40760"/>
              </a:cxn>
              <a:cxn ang="0">
                <a:pos x="connsiteX40761" y="connsiteY40761"/>
              </a:cxn>
              <a:cxn ang="0">
                <a:pos x="connsiteX40762" y="connsiteY40762"/>
              </a:cxn>
              <a:cxn ang="0">
                <a:pos x="connsiteX40763" y="connsiteY40763"/>
              </a:cxn>
              <a:cxn ang="0">
                <a:pos x="connsiteX40764" y="connsiteY40764"/>
              </a:cxn>
              <a:cxn ang="0">
                <a:pos x="connsiteX40765" y="connsiteY40765"/>
              </a:cxn>
              <a:cxn ang="0">
                <a:pos x="connsiteX40766" y="connsiteY40766"/>
              </a:cxn>
              <a:cxn ang="0">
                <a:pos x="connsiteX40767" y="connsiteY40767"/>
              </a:cxn>
              <a:cxn ang="0">
                <a:pos x="connsiteX40768" y="connsiteY40768"/>
              </a:cxn>
              <a:cxn ang="0">
                <a:pos x="connsiteX40769" y="connsiteY40769"/>
              </a:cxn>
              <a:cxn ang="0">
                <a:pos x="connsiteX40770" y="connsiteY40770"/>
              </a:cxn>
              <a:cxn ang="0">
                <a:pos x="connsiteX40771" y="connsiteY40771"/>
              </a:cxn>
              <a:cxn ang="0">
                <a:pos x="connsiteX40772" y="connsiteY40772"/>
              </a:cxn>
              <a:cxn ang="0">
                <a:pos x="connsiteX40773" y="connsiteY40773"/>
              </a:cxn>
              <a:cxn ang="0">
                <a:pos x="connsiteX40774" y="connsiteY40774"/>
              </a:cxn>
              <a:cxn ang="0">
                <a:pos x="connsiteX40775" y="connsiteY40775"/>
              </a:cxn>
              <a:cxn ang="0">
                <a:pos x="connsiteX40776" y="connsiteY40776"/>
              </a:cxn>
              <a:cxn ang="0">
                <a:pos x="connsiteX40777" y="connsiteY40777"/>
              </a:cxn>
              <a:cxn ang="0">
                <a:pos x="connsiteX40778" y="connsiteY40778"/>
              </a:cxn>
              <a:cxn ang="0">
                <a:pos x="connsiteX40779" y="connsiteY40779"/>
              </a:cxn>
              <a:cxn ang="0">
                <a:pos x="connsiteX40780" y="connsiteY40780"/>
              </a:cxn>
              <a:cxn ang="0">
                <a:pos x="connsiteX40781" y="connsiteY40781"/>
              </a:cxn>
              <a:cxn ang="0">
                <a:pos x="connsiteX40782" y="connsiteY40782"/>
              </a:cxn>
              <a:cxn ang="0">
                <a:pos x="connsiteX40783" y="connsiteY40783"/>
              </a:cxn>
              <a:cxn ang="0">
                <a:pos x="connsiteX40784" y="connsiteY40784"/>
              </a:cxn>
              <a:cxn ang="0">
                <a:pos x="connsiteX40785" y="connsiteY40785"/>
              </a:cxn>
              <a:cxn ang="0">
                <a:pos x="connsiteX40786" y="connsiteY40786"/>
              </a:cxn>
              <a:cxn ang="0">
                <a:pos x="connsiteX40787" y="connsiteY40787"/>
              </a:cxn>
              <a:cxn ang="0">
                <a:pos x="connsiteX40788" y="connsiteY40788"/>
              </a:cxn>
              <a:cxn ang="0">
                <a:pos x="connsiteX40789" y="connsiteY40789"/>
              </a:cxn>
              <a:cxn ang="0">
                <a:pos x="connsiteX40790" y="connsiteY40790"/>
              </a:cxn>
              <a:cxn ang="0">
                <a:pos x="connsiteX40791" y="connsiteY40791"/>
              </a:cxn>
              <a:cxn ang="0">
                <a:pos x="connsiteX40792" y="connsiteY40792"/>
              </a:cxn>
              <a:cxn ang="0">
                <a:pos x="connsiteX40793" y="connsiteY40793"/>
              </a:cxn>
              <a:cxn ang="0">
                <a:pos x="connsiteX40794" y="connsiteY40794"/>
              </a:cxn>
              <a:cxn ang="0">
                <a:pos x="connsiteX40795" y="connsiteY40795"/>
              </a:cxn>
              <a:cxn ang="0">
                <a:pos x="connsiteX40796" y="connsiteY40796"/>
              </a:cxn>
              <a:cxn ang="0">
                <a:pos x="connsiteX40797" y="connsiteY40797"/>
              </a:cxn>
              <a:cxn ang="0">
                <a:pos x="connsiteX40798" y="connsiteY40798"/>
              </a:cxn>
              <a:cxn ang="0">
                <a:pos x="connsiteX40799" y="connsiteY40799"/>
              </a:cxn>
              <a:cxn ang="0">
                <a:pos x="connsiteX40800" y="connsiteY40800"/>
              </a:cxn>
              <a:cxn ang="0">
                <a:pos x="connsiteX40801" y="connsiteY40801"/>
              </a:cxn>
              <a:cxn ang="0">
                <a:pos x="connsiteX40802" y="connsiteY40802"/>
              </a:cxn>
              <a:cxn ang="0">
                <a:pos x="connsiteX40803" y="connsiteY40803"/>
              </a:cxn>
              <a:cxn ang="0">
                <a:pos x="connsiteX40804" y="connsiteY40804"/>
              </a:cxn>
              <a:cxn ang="0">
                <a:pos x="connsiteX40805" y="connsiteY40805"/>
              </a:cxn>
              <a:cxn ang="0">
                <a:pos x="connsiteX40806" y="connsiteY40806"/>
              </a:cxn>
              <a:cxn ang="0">
                <a:pos x="connsiteX40807" y="connsiteY40807"/>
              </a:cxn>
              <a:cxn ang="0">
                <a:pos x="connsiteX40808" y="connsiteY40808"/>
              </a:cxn>
              <a:cxn ang="0">
                <a:pos x="connsiteX40809" y="connsiteY40809"/>
              </a:cxn>
              <a:cxn ang="0">
                <a:pos x="connsiteX40810" y="connsiteY40810"/>
              </a:cxn>
              <a:cxn ang="0">
                <a:pos x="connsiteX40811" y="connsiteY40811"/>
              </a:cxn>
              <a:cxn ang="0">
                <a:pos x="connsiteX40812" y="connsiteY40812"/>
              </a:cxn>
              <a:cxn ang="0">
                <a:pos x="connsiteX40813" y="connsiteY40813"/>
              </a:cxn>
              <a:cxn ang="0">
                <a:pos x="connsiteX40814" y="connsiteY40814"/>
              </a:cxn>
              <a:cxn ang="0">
                <a:pos x="connsiteX40815" y="connsiteY40815"/>
              </a:cxn>
              <a:cxn ang="0">
                <a:pos x="connsiteX40816" y="connsiteY40816"/>
              </a:cxn>
              <a:cxn ang="0">
                <a:pos x="connsiteX40817" y="connsiteY40817"/>
              </a:cxn>
              <a:cxn ang="0">
                <a:pos x="connsiteX40818" y="connsiteY40818"/>
              </a:cxn>
              <a:cxn ang="0">
                <a:pos x="connsiteX40819" y="connsiteY40819"/>
              </a:cxn>
              <a:cxn ang="0">
                <a:pos x="connsiteX40820" y="connsiteY40820"/>
              </a:cxn>
              <a:cxn ang="0">
                <a:pos x="connsiteX40821" y="connsiteY40821"/>
              </a:cxn>
              <a:cxn ang="0">
                <a:pos x="connsiteX40822" y="connsiteY40822"/>
              </a:cxn>
              <a:cxn ang="0">
                <a:pos x="connsiteX40823" y="connsiteY40823"/>
              </a:cxn>
              <a:cxn ang="0">
                <a:pos x="connsiteX40824" y="connsiteY40824"/>
              </a:cxn>
              <a:cxn ang="0">
                <a:pos x="connsiteX40825" y="connsiteY40825"/>
              </a:cxn>
              <a:cxn ang="0">
                <a:pos x="connsiteX40826" y="connsiteY40826"/>
              </a:cxn>
              <a:cxn ang="0">
                <a:pos x="connsiteX40827" y="connsiteY40827"/>
              </a:cxn>
              <a:cxn ang="0">
                <a:pos x="connsiteX40828" y="connsiteY40828"/>
              </a:cxn>
              <a:cxn ang="0">
                <a:pos x="connsiteX40829" y="connsiteY40829"/>
              </a:cxn>
              <a:cxn ang="0">
                <a:pos x="connsiteX40830" y="connsiteY40830"/>
              </a:cxn>
              <a:cxn ang="0">
                <a:pos x="connsiteX40831" y="connsiteY40831"/>
              </a:cxn>
              <a:cxn ang="0">
                <a:pos x="connsiteX40832" y="connsiteY40832"/>
              </a:cxn>
              <a:cxn ang="0">
                <a:pos x="connsiteX40833" y="connsiteY40833"/>
              </a:cxn>
              <a:cxn ang="0">
                <a:pos x="connsiteX40834" y="connsiteY40834"/>
              </a:cxn>
              <a:cxn ang="0">
                <a:pos x="connsiteX40835" y="connsiteY40835"/>
              </a:cxn>
              <a:cxn ang="0">
                <a:pos x="connsiteX40836" y="connsiteY40836"/>
              </a:cxn>
              <a:cxn ang="0">
                <a:pos x="connsiteX40837" y="connsiteY40837"/>
              </a:cxn>
              <a:cxn ang="0">
                <a:pos x="connsiteX40838" y="connsiteY40838"/>
              </a:cxn>
              <a:cxn ang="0">
                <a:pos x="connsiteX40839" y="connsiteY40839"/>
              </a:cxn>
              <a:cxn ang="0">
                <a:pos x="connsiteX40840" y="connsiteY40840"/>
              </a:cxn>
              <a:cxn ang="0">
                <a:pos x="connsiteX40841" y="connsiteY40841"/>
              </a:cxn>
              <a:cxn ang="0">
                <a:pos x="connsiteX40842" y="connsiteY40842"/>
              </a:cxn>
              <a:cxn ang="0">
                <a:pos x="connsiteX40843" y="connsiteY40843"/>
              </a:cxn>
              <a:cxn ang="0">
                <a:pos x="connsiteX40844" y="connsiteY40844"/>
              </a:cxn>
              <a:cxn ang="0">
                <a:pos x="connsiteX40845" y="connsiteY40845"/>
              </a:cxn>
              <a:cxn ang="0">
                <a:pos x="connsiteX40846" y="connsiteY40846"/>
              </a:cxn>
              <a:cxn ang="0">
                <a:pos x="connsiteX40847" y="connsiteY40847"/>
              </a:cxn>
              <a:cxn ang="0">
                <a:pos x="connsiteX40848" y="connsiteY40848"/>
              </a:cxn>
              <a:cxn ang="0">
                <a:pos x="connsiteX40849" y="connsiteY40849"/>
              </a:cxn>
              <a:cxn ang="0">
                <a:pos x="connsiteX40850" y="connsiteY40850"/>
              </a:cxn>
              <a:cxn ang="0">
                <a:pos x="connsiteX40851" y="connsiteY40851"/>
              </a:cxn>
              <a:cxn ang="0">
                <a:pos x="connsiteX40852" y="connsiteY40852"/>
              </a:cxn>
              <a:cxn ang="0">
                <a:pos x="connsiteX40853" y="connsiteY40853"/>
              </a:cxn>
              <a:cxn ang="0">
                <a:pos x="connsiteX40854" y="connsiteY40854"/>
              </a:cxn>
              <a:cxn ang="0">
                <a:pos x="connsiteX40855" y="connsiteY40855"/>
              </a:cxn>
              <a:cxn ang="0">
                <a:pos x="connsiteX40856" y="connsiteY40856"/>
              </a:cxn>
              <a:cxn ang="0">
                <a:pos x="connsiteX40857" y="connsiteY40857"/>
              </a:cxn>
              <a:cxn ang="0">
                <a:pos x="connsiteX40858" y="connsiteY40858"/>
              </a:cxn>
              <a:cxn ang="0">
                <a:pos x="connsiteX40859" y="connsiteY40859"/>
              </a:cxn>
              <a:cxn ang="0">
                <a:pos x="connsiteX40860" y="connsiteY40860"/>
              </a:cxn>
              <a:cxn ang="0">
                <a:pos x="connsiteX40861" y="connsiteY40861"/>
              </a:cxn>
              <a:cxn ang="0">
                <a:pos x="connsiteX40862" y="connsiteY40862"/>
              </a:cxn>
              <a:cxn ang="0">
                <a:pos x="connsiteX40863" y="connsiteY40863"/>
              </a:cxn>
              <a:cxn ang="0">
                <a:pos x="connsiteX40864" y="connsiteY40864"/>
              </a:cxn>
              <a:cxn ang="0">
                <a:pos x="connsiteX40865" y="connsiteY40865"/>
              </a:cxn>
              <a:cxn ang="0">
                <a:pos x="connsiteX40866" y="connsiteY40866"/>
              </a:cxn>
              <a:cxn ang="0">
                <a:pos x="connsiteX40867" y="connsiteY40867"/>
              </a:cxn>
              <a:cxn ang="0">
                <a:pos x="connsiteX40868" y="connsiteY40868"/>
              </a:cxn>
              <a:cxn ang="0">
                <a:pos x="connsiteX40869" y="connsiteY40869"/>
              </a:cxn>
              <a:cxn ang="0">
                <a:pos x="connsiteX40870" y="connsiteY40870"/>
              </a:cxn>
              <a:cxn ang="0">
                <a:pos x="connsiteX40871" y="connsiteY40871"/>
              </a:cxn>
              <a:cxn ang="0">
                <a:pos x="connsiteX40872" y="connsiteY40872"/>
              </a:cxn>
              <a:cxn ang="0">
                <a:pos x="connsiteX40873" y="connsiteY40873"/>
              </a:cxn>
              <a:cxn ang="0">
                <a:pos x="connsiteX40874" y="connsiteY40874"/>
              </a:cxn>
              <a:cxn ang="0">
                <a:pos x="connsiteX40875" y="connsiteY40875"/>
              </a:cxn>
              <a:cxn ang="0">
                <a:pos x="connsiteX40876" y="connsiteY40876"/>
              </a:cxn>
              <a:cxn ang="0">
                <a:pos x="connsiteX40877" y="connsiteY40877"/>
              </a:cxn>
              <a:cxn ang="0">
                <a:pos x="connsiteX40878" y="connsiteY40878"/>
              </a:cxn>
              <a:cxn ang="0">
                <a:pos x="connsiteX40879" y="connsiteY40879"/>
              </a:cxn>
              <a:cxn ang="0">
                <a:pos x="connsiteX40880" y="connsiteY40880"/>
              </a:cxn>
              <a:cxn ang="0">
                <a:pos x="connsiteX40881" y="connsiteY40881"/>
              </a:cxn>
              <a:cxn ang="0">
                <a:pos x="connsiteX40882" y="connsiteY40882"/>
              </a:cxn>
              <a:cxn ang="0">
                <a:pos x="connsiteX40883" y="connsiteY40883"/>
              </a:cxn>
              <a:cxn ang="0">
                <a:pos x="connsiteX40884" y="connsiteY40884"/>
              </a:cxn>
              <a:cxn ang="0">
                <a:pos x="connsiteX40885" y="connsiteY40885"/>
              </a:cxn>
              <a:cxn ang="0">
                <a:pos x="connsiteX40886" y="connsiteY40886"/>
              </a:cxn>
              <a:cxn ang="0">
                <a:pos x="connsiteX40887" y="connsiteY40887"/>
              </a:cxn>
              <a:cxn ang="0">
                <a:pos x="connsiteX40888" y="connsiteY40888"/>
              </a:cxn>
              <a:cxn ang="0">
                <a:pos x="connsiteX40889" y="connsiteY40889"/>
              </a:cxn>
              <a:cxn ang="0">
                <a:pos x="connsiteX40890" y="connsiteY40890"/>
              </a:cxn>
              <a:cxn ang="0">
                <a:pos x="connsiteX40891" y="connsiteY40891"/>
              </a:cxn>
              <a:cxn ang="0">
                <a:pos x="connsiteX40892" y="connsiteY40892"/>
              </a:cxn>
              <a:cxn ang="0">
                <a:pos x="connsiteX40893" y="connsiteY40893"/>
              </a:cxn>
              <a:cxn ang="0">
                <a:pos x="connsiteX40894" y="connsiteY40894"/>
              </a:cxn>
              <a:cxn ang="0">
                <a:pos x="connsiteX40895" y="connsiteY40895"/>
              </a:cxn>
              <a:cxn ang="0">
                <a:pos x="connsiteX40896" y="connsiteY40896"/>
              </a:cxn>
              <a:cxn ang="0">
                <a:pos x="connsiteX40897" y="connsiteY40897"/>
              </a:cxn>
              <a:cxn ang="0">
                <a:pos x="connsiteX40898" y="connsiteY40898"/>
              </a:cxn>
              <a:cxn ang="0">
                <a:pos x="connsiteX40899" y="connsiteY40899"/>
              </a:cxn>
              <a:cxn ang="0">
                <a:pos x="connsiteX40900" y="connsiteY40900"/>
              </a:cxn>
              <a:cxn ang="0">
                <a:pos x="connsiteX40901" y="connsiteY40901"/>
              </a:cxn>
              <a:cxn ang="0">
                <a:pos x="connsiteX40902" y="connsiteY40902"/>
              </a:cxn>
              <a:cxn ang="0">
                <a:pos x="connsiteX40903" y="connsiteY40903"/>
              </a:cxn>
              <a:cxn ang="0">
                <a:pos x="connsiteX40904" y="connsiteY40904"/>
              </a:cxn>
              <a:cxn ang="0">
                <a:pos x="connsiteX40905" y="connsiteY40905"/>
              </a:cxn>
              <a:cxn ang="0">
                <a:pos x="connsiteX40906" y="connsiteY40906"/>
              </a:cxn>
              <a:cxn ang="0">
                <a:pos x="connsiteX40907" y="connsiteY40907"/>
              </a:cxn>
              <a:cxn ang="0">
                <a:pos x="connsiteX40908" y="connsiteY40908"/>
              </a:cxn>
              <a:cxn ang="0">
                <a:pos x="connsiteX40909" y="connsiteY40909"/>
              </a:cxn>
              <a:cxn ang="0">
                <a:pos x="connsiteX40910" y="connsiteY40910"/>
              </a:cxn>
              <a:cxn ang="0">
                <a:pos x="connsiteX40911" y="connsiteY40911"/>
              </a:cxn>
              <a:cxn ang="0">
                <a:pos x="connsiteX40912" y="connsiteY40912"/>
              </a:cxn>
              <a:cxn ang="0">
                <a:pos x="connsiteX40913" y="connsiteY40913"/>
              </a:cxn>
              <a:cxn ang="0">
                <a:pos x="connsiteX40914" y="connsiteY40914"/>
              </a:cxn>
              <a:cxn ang="0">
                <a:pos x="connsiteX40915" y="connsiteY40915"/>
              </a:cxn>
              <a:cxn ang="0">
                <a:pos x="connsiteX40916" y="connsiteY40916"/>
              </a:cxn>
              <a:cxn ang="0">
                <a:pos x="connsiteX40917" y="connsiteY40917"/>
              </a:cxn>
              <a:cxn ang="0">
                <a:pos x="connsiteX40918" y="connsiteY40918"/>
              </a:cxn>
              <a:cxn ang="0">
                <a:pos x="connsiteX40919" y="connsiteY40919"/>
              </a:cxn>
              <a:cxn ang="0">
                <a:pos x="connsiteX40920" y="connsiteY40920"/>
              </a:cxn>
              <a:cxn ang="0">
                <a:pos x="connsiteX40921" y="connsiteY40921"/>
              </a:cxn>
              <a:cxn ang="0">
                <a:pos x="connsiteX40922" y="connsiteY40922"/>
              </a:cxn>
              <a:cxn ang="0">
                <a:pos x="connsiteX40923" y="connsiteY40923"/>
              </a:cxn>
              <a:cxn ang="0">
                <a:pos x="connsiteX40924" y="connsiteY40924"/>
              </a:cxn>
              <a:cxn ang="0">
                <a:pos x="connsiteX40925" y="connsiteY40925"/>
              </a:cxn>
              <a:cxn ang="0">
                <a:pos x="connsiteX40926" y="connsiteY40926"/>
              </a:cxn>
              <a:cxn ang="0">
                <a:pos x="connsiteX40927" y="connsiteY40927"/>
              </a:cxn>
              <a:cxn ang="0">
                <a:pos x="connsiteX40928" y="connsiteY40928"/>
              </a:cxn>
              <a:cxn ang="0">
                <a:pos x="connsiteX40929" y="connsiteY40929"/>
              </a:cxn>
              <a:cxn ang="0">
                <a:pos x="connsiteX40930" y="connsiteY40930"/>
              </a:cxn>
              <a:cxn ang="0">
                <a:pos x="connsiteX40931" y="connsiteY40931"/>
              </a:cxn>
              <a:cxn ang="0">
                <a:pos x="connsiteX40932" y="connsiteY40932"/>
              </a:cxn>
              <a:cxn ang="0">
                <a:pos x="connsiteX40933" y="connsiteY40933"/>
              </a:cxn>
              <a:cxn ang="0">
                <a:pos x="connsiteX40934" y="connsiteY40934"/>
              </a:cxn>
              <a:cxn ang="0">
                <a:pos x="connsiteX40935" y="connsiteY40935"/>
              </a:cxn>
              <a:cxn ang="0">
                <a:pos x="connsiteX40936" y="connsiteY40936"/>
              </a:cxn>
              <a:cxn ang="0">
                <a:pos x="connsiteX40937" y="connsiteY40937"/>
              </a:cxn>
              <a:cxn ang="0">
                <a:pos x="connsiteX40938" y="connsiteY40938"/>
              </a:cxn>
              <a:cxn ang="0">
                <a:pos x="connsiteX40939" y="connsiteY40939"/>
              </a:cxn>
              <a:cxn ang="0">
                <a:pos x="connsiteX40940" y="connsiteY40940"/>
              </a:cxn>
              <a:cxn ang="0">
                <a:pos x="connsiteX40941" y="connsiteY40941"/>
              </a:cxn>
              <a:cxn ang="0">
                <a:pos x="connsiteX40942" y="connsiteY40942"/>
              </a:cxn>
              <a:cxn ang="0">
                <a:pos x="connsiteX40943" y="connsiteY40943"/>
              </a:cxn>
              <a:cxn ang="0">
                <a:pos x="connsiteX40944" y="connsiteY40944"/>
              </a:cxn>
              <a:cxn ang="0">
                <a:pos x="connsiteX40945" y="connsiteY40945"/>
              </a:cxn>
              <a:cxn ang="0">
                <a:pos x="connsiteX40946" y="connsiteY40946"/>
              </a:cxn>
              <a:cxn ang="0">
                <a:pos x="connsiteX40947" y="connsiteY40947"/>
              </a:cxn>
              <a:cxn ang="0">
                <a:pos x="connsiteX40948" y="connsiteY40948"/>
              </a:cxn>
              <a:cxn ang="0">
                <a:pos x="connsiteX40949" y="connsiteY40949"/>
              </a:cxn>
              <a:cxn ang="0">
                <a:pos x="connsiteX40950" y="connsiteY40950"/>
              </a:cxn>
              <a:cxn ang="0">
                <a:pos x="connsiteX40951" y="connsiteY40951"/>
              </a:cxn>
              <a:cxn ang="0">
                <a:pos x="connsiteX40952" y="connsiteY40952"/>
              </a:cxn>
              <a:cxn ang="0">
                <a:pos x="connsiteX40953" y="connsiteY40953"/>
              </a:cxn>
              <a:cxn ang="0">
                <a:pos x="connsiteX40954" y="connsiteY40954"/>
              </a:cxn>
              <a:cxn ang="0">
                <a:pos x="connsiteX40955" y="connsiteY40955"/>
              </a:cxn>
              <a:cxn ang="0">
                <a:pos x="connsiteX40956" y="connsiteY40956"/>
              </a:cxn>
              <a:cxn ang="0">
                <a:pos x="connsiteX40957" y="connsiteY40957"/>
              </a:cxn>
              <a:cxn ang="0">
                <a:pos x="connsiteX40958" y="connsiteY40958"/>
              </a:cxn>
              <a:cxn ang="0">
                <a:pos x="connsiteX40959" y="connsiteY40959"/>
              </a:cxn>
              <a:cxn ang="0">
                <a:pos x="connsiteX40960" y="connsiteY40960"/>
              </a:cxn>
              <a:cxn ang="0">
                <a:pos x="connsiteX40961" y="connsiteY40961"/>
              </a:cxn>
              <a:cxn ang="0">
                <a:pos x="connsiteX40962" y="connsiteY40962"/>
              </a:cxn>
              <a:cxn ang="0">
                <a:pos x="connsiteX40963" y="connsiteY40963"/>
              </a:cxn>
              <a:cxn ang="0">
                <a:pos x="connsiteX40964" y="connsiteY40964"/>
              </a:cxn>
              <a:cxn ang="0">
                <a:pos x="connsiteX40965" y="connsiteY40965"/>
              </a:cxn>
              <a:cxn ang="0">
                <a:pos x="connsiteX40966" y="connsiteY40966"/>
              </a:cxn>
              <a:cxn ang="0">
                <a:pos x="connsiteX40967" y="connsiteY40967"/>
              </a:cxn>
              <a:cxn ang="0">
                <a:pos x="connsiteX40968" y="connsiteY40968"/>
              </a:cxn>
              <a:cxn ang="0">
                <a:pos x="connsiteX40969" y="connsiteY40969"/>
              </a:cxn>
              <a:cxn ang="0">
                <a:pos x="connsiteX40970" y="connsiteY40970"/>
              </a:cxn>
              <a:cxn ang="0">
                <a:pos x="connsiteX40971" y="connsiteY40971"/>
              </a:cxn>
              <a:cxn ang="0">
                <a:pos x="connsiteX40972" y="connsiteY40972"/>
              </a:cxn>
              <a:cxn ang="0">
                <a:pos x="connsiteX40973" y="connsiteY40973"/>
              </a:cxn>
              <a:cxn ang="0">
                <a:pos x="connsiteX40974" y="connsiteY40974"/>
              </a:cxn>
              <a:cxn ang="0">
                <a:pos x="connsiteX40975" y="connsiteY40975"/>
              </a:cxn>
              <a:cxn ang="0">
                <a:pos x="connsiteX40976" y="connsiteY40976"/>
              </a:cxn>
              <a:cxn ang="0">
                <a:pos x="connsiteX40977" y="connsiteY40977"/>
              </a:cxn>
              <a:cxn ang="0">
                <a:pos x="connsiteX40978" y="connsiteY40978"/>
              </a:cxn>
              <a:cxn ang="0">
                <a:pos x="connsiteX40979" y="connsiteY40979"/>
              </a:cxn>
              <a:cxn ang="0">
                <a:pos x="connsiteX40980" y="connsiteY40980"/>
              </a:cxn>
              <a:cxn ang="0">
                <a:pos x="connsiteX40981" y="connsiteY40981"/>
              </a:cxn>
              <a:cxn ang="0">
                <a:pos x="connsiteX40982" y="connsiteY40982"/>
              </a:cxn>
              <a:cxn ang="0">
                <a:pos x="connsiteX40983" y="connsiteY40983"/>
              </a:cxn>
              <a:cxn ang="0">
                <a:pos x="connsiteX40984" y="connsiteY40984"/>
              </a:cxn>
              <a:cxn ang="0">
                <a:pos x="connsiteX40985" y="connsiteY40985"/>
              </a:cxn>
              <a:cxn ang="0">
                <a:pos x="connsiteX40986" y="connsiteY40986"/>
              </a:cxn>
              <a:cxn ang="0">
                <a:pos x="connsiteX40987" y="connsiteY40987"/>
              </a:cxn>
              <a:cxn ang="0">
                <a:pos x="connsiteX40988" y="connsiteY40988"/>
              </a:cxn>
              <a:cxn ang="0">
                <a:pos x="connsiteX40989" y="connsiteY40989"/>
              </a:cxn>
              <a:cxn ang="0">
                <a:pos x="connsiteX40990" y="connsiteY40990"/>
              </a:cxn>
              <a:cxn ang="0">
                <a:pos x="connsiteX40991" y="connsiteY40991"/>
              </a:cxn>
              <a:cxn ang="0">
                <a:pos x="connsiteX40992" y="connsiteY40992"/>
              </a:cxn>
              <a:cxn ang="0">
                <a:pos x="connsiteX40993" y="connsiteY40993"/>
              </a:cxn>
              <a:cxn ang="0">
                <a:pos x="connsiteX40994" y="connsiteY40994"/>
              </a:cxn>
              <a:cxn ang="0">
                <a:pos x="connsiteX40995" y="connsiteY40995"/>
              </a:cxn>
              <a:cxn ang="0">
                <a:pos x="connsiteX40996" y="connsiteY40996"/>
              </a:cxn>
              <a:cxn ang="0">
                <a:pos x="connsiteX40997" y="connsiteY40997"/>
              </a:cxn>
              <a:cxn ang="0">
                <a:pos x="connsiteX40998" y="connsiteY40998"/>
              </a:cxn>
              <a:cxn ang="0">
                <a:pos x="connsiteX40999" y="connsiteY40999"/>
              </a:cxn>
              <a:cxn ang="0">
                <a:pos x="connsiteX41000" y="connsiteY41000"/>
              </a:cxn>
              <a:cxn ang="0">
                <a:pos x="connsiteX41001" y="connsiteY41001"/>
              </a:cxn>
              <a:cxn ang="0">
                <a:pos x="connsiteX41002" y="connsiteY41002"/>
              </a:cxn>
              <a:cxn ang="0">
                <a:pos x="connsiteX41003" y="connsiteY41003"/>
              </a:cxn>
              <a:cxn ang="0">
                <a:pos x="connsiteX41004" y="connsiteY41004"/>
              </a:cxn>
              <a:cxn ang="0">
                <a:pos x="connsiteX41005" y="connsiteY41005"/>
              </a:cxn>
              <a:cxn ang="0">
                <a:pos x="connsiteX41006" y="connsiteY41006"/>
              </a:cxn>
              <a:cxn ang="0">
                <a:pos x="connsiteX41007" y="connsiteY41007"/>
              </a:cxn>
              <a:cxn ang="0">
                <a:pos x="connsiteX41008" y="connsiteY41008"/>
              </a:cxn>
              <a:cxn ang="0">
                <a:pos x="connsiteX41009" y="connsiteY41009"/>
              </a:cxn>
              <a:cxn ang="0">
                <a:pos x="connsiteX41010" y="connsiteY41010"/>
              </a:cxn>
              <a:cxn ang="0">
                <a:pos x="connsiteX41011" y="connsiteY41011"/>
              </a:cxn>
              <a:cxn ang="0">
                <a:pos x="connsiteX41012" y="connsiteY41012"/>
              </a:cxn>
              <a:cxn ang="0">
                <a:pos x="connsiteX41013" y="connsiteY41013"/>
              </a:cxn>
              <a:cxn ang="0">
                <a:pos x="connsiteX41014" y="connsiteY41014"/>
              </a:cxn>
              <a:cxn ang="0">
                <a:pos x="connsiteX41015" y="connsiteY41015"/>
              </a:cxn>
              <a:cxn ang="0">
                <a:pos x="connsiteX41016" y="connsiteY41016"/>
              </a:cxn>
              <a:cxn ang="0">
                <a:pos x="connsiteX41017" y="connsiteY41017"/>
              </a:cxn>
              <a:cxn ang="0">
                <a:pos x="connsiteX41018" y="connsiteY41018"/>
              </a:cxn>
              <a:cxn ang="0">
                <a:pos x="connsiteX41019" y="connsiteY41019"/>
              </a:cxn>
              <a:cxn ang="0">
                <a:pos x="connsiteX41020" y="connsiteY41020"/>
              </a:cxn>
              <a:cxn ang="0">
                <a:pos x="connsiteX41021" y="connsiteY41021"/>
              </a:cxn>
              <a:cxn ang="0">
                <a:pos x="connsiteX41022" y="connsiteY41022"/>
              </a:cxn>
              <a:cxn ang="0">
                <a:pos x="connsiteX41023" y="connsiteY41023"/>
              </a:cxn>
              <a:cxn ang="0">
                <a:pos x="connsiteX41024" y="connsiteY41024"/>
              </a:cxn>
              <a:cxn ang="0">
                <a:pos x="connsiteX41025" y="connsiteY41025"/>
              </a:cxn>
              <a:cxn ang="0">
                <a:pos x="connsiteX41026" y="connsiteY41026"/>
              </a:cxn>
              <a:cxn ang="0">
                <a:pos x="connsiteX41027" y="connsiteY41027"/>
              </a:cxn>
              <a:cxn ang="0">
                <a:pos x="connsiteX41028" y="connsiteY41028"/>
              </a:cxn>
              <a:cxn ang="0">
                <a:pos x="connsiteX41029" y="connsiteY41029"/>
              </a:cxn>
              <a:cxn ang="0">
                <a:pos x="connsiteX41030" y="connsiteY41030"/>
              </a:cxn>
              <a:cxn ang="0">
                <a:pos x="connsiteX41031" y="connsiteY41031"/>
              </a:cxn>
              <a:cxn ang="0">
                <a:pos x="connsiteX41032" y="connsiteY41032"/>
              </a:cxn>
              <a:cxn ang="0">
                <a:pos x="connsiteX41033" y="connsiteY41033"/>
              </a:cxn>
              <a:cxn ang="0">
                <a:pos x="connsiteX41034" y="connsiteY41034"/>
              </a:cxn>
              <a:cxn ang="0">
                <a:pos x="connsiteX41035" y="connsiteY41035"/>
              </a:cxn>
              <a:cxn ang="0">
                <a:pos x="connsiteX41036" y="connsiteY41036"/>
              </a:cxn>
              <a:cxn ang="0">
                <a:pos x="connsiteX41037" y="connsiteY41037"/>
              </a:cxn>
              <a:cxn ang="0">
                <a:pos x="connsiteX41038" y="connsiteY41038"/>
              </a:cxn>
              <a:cxn ang="0">
                <a:pos x="connsiteX41039" y="connsiteY41039"/>
              </a:cxn>
              <a:cxn ang="0">
                <a:pos x="connsiteX41040" y="connsiteY41040"/>
              </a:cxn>
              <a:cxn ang="0">
                <a:pos x="connsiteX41041" y="connsiteY41041"/>
              </a:cxn>
              <a:cxn ang="0">
                <a:pos x="connsiteX41042" y="connsiteY41042"/>
              </a:cxn>
              <a:cxn ang="0">
                <a:pos x="connsiteX41043" y="connsiteY41043"/>
              </a:cxn>
              <a:cxn ang="0">
                <a:pos x="connsiteX41044" y="connsiteY41044"/>
              </a:cxn>
              <a:cxn ang="0">
                <a:pos x="connsiteX41045" y="connsiteY41045"/>
              </a:cxn>
              <a:cxn ang="0">
                <a:pos x="connsiteX41046" y="connsiteY41046"/>
              </a:cxn>
              <a:cxn ang="0">
                <a:pos x="connsiteX41047" y="connsiteY41047"/>
              </a:cxn>
              <a:cxn ang="0">
                <a:pos x="connsiteX41048" y="connsiteY41048"/>
              </a:cxn>
              <a:cxn ang="0">
                <a:pos x="connsiteX41049" y="connsiteY41049"/>
              </a:cxn>
              <a:cxn ang="0">
                <a:pos x="connsiteX41050" y="connsiteY41050"/>
              </a:cxn>
              <a:cxn ang="0">
                <a:pos x="connsiteX41051" y="connsiteY41051"/>
              </a:cxn>
              <a:cxn ang="0">
                <a:pos x="connsiteX41052" y="connsiteY41052"/>
              </a:cxn>
              <a:cxn ang="0">
                <a:pos x="connsiteX41053" y="connsiteY41053"/>
              </a:cxn>
              <a:cxn ang="0">
                <a:pos x="connsiteX41054" y="connsiteY41054"/>
              </a:cxn>
              <a:cxn ang="0">
                <a:pos x="connsiteX41055" y="connsiteY41055"/>
              </a:cxn>
              <a:cxn ang="0">
                <a:pos x="connsiteX41056" y="connsiteY41056"/>
              </a:cxn>
              <a:cxn ang="0">
                <a:pos x="connsiteX41057" y="connsiteY41057"/>
              </a:cxn>
              <a:cxn ang="0">
                <a:pos x="connsiteX41058" y="connsiteY41058"/>
              </a:cxn>
              <a:cxn ang="0">
                <a:pos x="connsiteX41059" y="connsiteY41059"/>
              </a:cxn>
              <a:cxn ang="0">
                <a:pos x="connsiteX41060" y="connsiteY41060"/>
              </a:cxn>
              <a:cxn ang="0">
                <a:pos x="connsiteX41061" y="connsiteY41061"/>
              </a:cxn>
              <a:cxn ang="0">
                <a:pos x="connsiteX41062" y="connsiteY41062"/>
              </a:cxn>
              <a:cxn ang="0">
                <a:pos x="connsiteX41063" y="connsiteY41063"/>
              </a:cxn>
              <a:cxn ang="0">
                <a:pos x="connsiteX41064" y="connsiteY41064"/>
              </a:cxn>
              <a:cxn ang="0">
                <a:pos x="connsiteX41065" y="connsiteY41065"/>
              </a:cxn>
              <a:cxn ang="0">
                <a:pos x="connsiteX41066" y="connsiteY41066"/>
              </a:cxn>
              <a:cxn ang="0">
                <a:pos x="connsiteX41067" y="connsiteY41067"/>
              </a:cxn>
              <a:cxn ang="0">
                <a:pos x="connsiteX41068" y="connsiteY41068"/>
              </a:cxn>
              <a:cxn ang="0">
                <a:pos x="connsiteX41069" y="connsiteY41069"/>
              </a:cxn>
              <a:cxn ang="0">
                <a:pos x="connsiteX41070" y="connsiteY41070"/>
              </a:cxn>
              <a:cxn ang="0">
                <a:pos x="connsiteX41071" y="connsiteY41071"/>
              </a:cxn>
              <a:cxn ang="0">
                <a:pos x="connsiteX41072" y="connsiteY41072"/>
              </a:cxn>
              <a:cxn ang="0">
                <a:pos x="connsiteX41073" y="connsiteY41073"/>
              </a:cxn>
              <a:cxn ang="0">
                <a:pos x="connsiteX41074" y="connsiteY41074"/>
              </a:cxn>
              <a:cxn ang="0">
                <a:pos x="connsiteX41075" y="connsiteY41075"/>
              </a:cxn>
              <a:cxn ang="0">
                <a:pos x="connsiteX41076" y="connsiteY41076"/>
              </a:cxn>
              <a:cxn ang="0">
                <a:pos x="connsiteX41077" y="connsiteY41077"/>
              </a:cxn>
              <a:cxn ang="0">
                <a:pos x="connsiteX41078" y="connsiteY41078"/>
              </a:cxn>
              <a:cxn ang="0">
                <a:pos x="connsiteX41079" y="connsiteY41079"/>
              </a:cxn>
              <a:cxn ang="0">
                <a:pos x="connsiteX41080" y="connsiteY41080"/>
              </a:cxn>
              <a:cxn ang="0">
                <a:pos x="connsiteX41081" y="connsiteY41081"/>
              </a:cxn>
              <a:cxn ang="0">
                <a:pos x="connsiteX41082" y="connsiteY41082"/>
              </a:cxn>
              <a:cxn ang="0">
                <a:pos x="connsiteX41083" y="connsiteY41083"/>
              </a:cxn>
              <a:cxn ang="0">
                <a:pos x="connsiteX41084" y="connsiteY41084"/>
              </a:cxn>
              <a:cxn ang="0">
                <a:pos x="connsiteX41085" y="connsiteY41085"/>
              </a:cxn>
              <a:cxn ang="0">
                <a:pos x="connsiteX41086" y="connsiteY41086"/>
              </a:cxn>
              <a:cxn ang="0">
                <a:pos x="connsiteX41087" y="connsiteY41087"/>
              </a:cxn>
              <a:cxn ang="0">
                <a:pos x="connsiteX41088" y="connsiteY41088"/>
              </a:cxn>
              <a:cxn ang="0">
                <a:pos x="connsiteX41089" y="connsiteY41089"/>
              </a:cxn>
              <a:cxn ang="0">
                <a:pos x="connsiteX41090" y="connsiteY41090"/>
              </a:cxn>
              <a:cxn ang="0">
                <a:pos x="connsiteX41091" y="connsiteY41091"/>
              </a:cxn>
              <a:cxn ang="0">
                <a:pos x="connsiteX41092" y="connsiteY41092"/>
              </a:cxn>
              <a:cxn ang="0">
                <a:pos x="connsiteX41093" y="connsiteY41093"/>
              </a:cxn>
              <a:cxn ang="0">
                <a:pos x="connsiteX41094" y="connsiteY41094"/>
              </a:cxn>
              <a:cxn ang="0">
                <a:pos x="connsiteX41095" y="connsiteY41095"/>
              </a:cxn>
              <a:cxn ang="0">
                <a:pos x="connsiteX41096" y="connsiteY41096"/>
              </a:cxn>
              <a:cxn ang="0">
                <a:pos x="connsiteX41097" y="connsiteY41097"/>
              </a:cxn>
              <a:cxn ang="0">
                <a:pos x="connsiteX41098" y="connsiteY41098"/>
              </a:cxn>
              <a:cxn ang="0">
                <a:pos x="connsiteX41099" y="connsiteY41099"/>
              </a:cxn>
              <a:cxn ang="0">
                <a:pos x="connsiteX41100" y="connsiteY41100"/>
              </a:cxn>
              <a:cxn ang="0">
                <a:pos x="connsiteX41101" y="connsiteY41101"/>
              </a:cxn>
              <a:cxn ang="0">
                <a:pos x="connsiteX41102" y="connsiteY41102"/>
              </a:cxn>
              <a:cxn ang="0">
                <a:pos x="connsiteX41103" y="connsiteY41103"/>
              </a:cxn>
              <a:cxn ang="0">
                <a:pos x="connsiteX41104" y="connsiteY41104"/>
              </a:cxn>
              <a:cxn ang="0">
                <a:pos x="connsiteX41105" y="connsiteY41105"/>
              </a:cxn>
              <a:cxn ang="0">
                <a:pos x="connsiteX41106" y="connsiteY41106"/>
              </a:cxn>
              <a:cxn ang="0">
                <a:pos x="connsiteX41107" y="connsiteY41107"/>
              </a:cxn>
              <a:cxn ang="0">
                <a:pos x="connsiteX41108" y="connsiteY41108"/>
              </a:cxn>
              <a:cxn ang="0">
                <a:pos x="connsiteX41109" y="connsiteY41109"/>
              </a:cxn>
              <a:cxn ang="0">
                <a:pos x="connsiteX41110" y="connsiteY41110"/>
              </a:cxn>
              <a:cxn ang="0">
                <a:pos x="connsiteX41111" y="connsiteY41111"/>
              </a:cxn>
              <a:cxn ang="0">
                <a:pos x="connsiteX41112" y="connsiteY41112"/>
              </a:cxn>
              <a:cxn ang="0">
                <a:pos x="connsiteX41113" y="connsiteY41113"/>
              </a:cxn>
              <a:cxn ang="0">
                <a:pos x="connsiteX41114" y="connsiteY41114"/>
              </a:cxn>
              <a:cxn ang="0">
                <a:pos x="connsiteX41115" y="connsiteY41115"/>
              </a:cxn>
              <a:cxn ang="0">
                <a:pos x="connsiteX41116" y="connsiteY41116"/>
              </a:cxn>
              <a:cxn ang="0">
                <a:pos x="connsiteX41117" y="connsiteY41117"/>
              </a:cxn>
              <a:cxn ang="0">
                <a:pos x="connsiteX41118" y="connsiteY41118"/>
              </a:cxn>
              <a:cxn ang="0">
                <a:pos x="connsiteX41119" y="connsiteY41119"/>
              </a:cxn>
              <a:cxn ang="0">
                <a:pos x="connsiteX41120" y="connsiteY41120"/>
              </a:cxn>
              <a:cxn ang="0">
                <a:pos x="connsiteX41121" y="connsiteY41121"/>
              </a:cxn>
              <a:cxn ang="0">
                <a:pos x="connsiteX41122" y="connsiteY41122"/>
              </a:cxn>
              <a:cxn ang="0">
                <a:pos x="connsiteX41123" y="connsiteY41123"/>
              </a:cxn>
              <a:cxn ang="0">
                <a:pos x="connsiteX41124" y="connsiteY41124"/>
              </a:cxn>
              <a:cxn ang="0">
                <a:pos x="connsiteX41125" y="connsiteY41125"/>
              </a:cxn>
              <a:cxn ang="0">
                <a:pos x="connsiteX41126" y="connsiteY41126"/>
              </a:cxn>
              <a:cxn ang="0">
                <a:pos x="connsiteX41127" y="connsiteY41127"/>
              </a:cxn>
              <a:cxn ang="0">
                <a:pos x="connsiteX41128" y="connsiteY41128"/>
              </a:cxn>
              <a:cxn ang="0">
                <a:pos x="connsiteX41129" y="connsiteY41129"/>
              </a:cxn>
              <a:cxn ang="0">
                <a:pos x="connsiteX41130" y="connsiteY41130"/>
              </a:cxn>
              <a:cxn ang="0">
                <a:pos x="connsiteX41131" y="connsiteY41131"/>
              </a:cxn>
              <a:cxn ang="0">
                <a:pos x="connsiteX41132" y="connsiteY41132"/>
              </a:cxn>
              <a:cxn ang="0">
                <a:pos x="connsiteX41133" y="connsiteY41133"/>
              </a:cxn>
              <a:cxn ang="0">
                <a:pos x="connsiteX41134" y="connsiteY41134"/>
              </a:cxn>
              <a:cxn ang="0">
                <a:pos x="connsiteX41135" y="connsiteY41135"/>
              </a:cxn>
              <a:cxn ang="0">
                <a:pos x="connsiteX41136" y="connsiteY41136"/>
              </a:cxn>
              <a:cxn ang="0">
                <a:pos x="connsiteX41137" y="connsiteY41137"/>
              </a:cxn>
              <a:cxn ang="0">
                <a:pos x="connsiteX41138" y="connsiteY41138"/>
              </a:cxn>
              <a:cxn ang="0">
                <a:pos x="connsiteX41139" y="connsiteY41139"/>
              </a:cxn>
              <a:cxn ang="0">
                <a:pos x="connsiteX41140" y="connsiteY41140"/>
              </a:cxn>
              <a:cxn ang="0">
                <a:pos x="connsiteX41141" y="connsiteY41141"/>
              </a:cxn>
              <a:cxn ang="0">
                <a:pos x="connsiteX41142" y="connsiteY41142"/>
              </a:cxn>
              <a:cxn ang="0">
                <a:pos x="connsiteX41143" y="connsiteY41143"/>
              </a:cxn>
              <a:cxn ang="0">
                <a:pos x="connsiteX41144" y="connsiteY41144"/>
              </a:cxn>
              <a:cxn ang="0">
                <a:pos x="connsiteX41145" y="connsiteY41145"/>
              </a:cxn>
              <a:cxn ang="0">
                <a:pos x="connsiteX41146" y="connsiteY41146"/>
              </a:cxn>
              <a:cxn ang="0">
                <a:pos x="connsiteX41147" y="connsiteY41147"/>
              </a:cxn>
              <a:cxn ang="0">
                <a:pos x="connsiteX41148" y="connsiteY41148"/>
              </a:cxn>
              <a:cxn ang="0">
                <a:pos x="connsiteX41149" y="connsiteY41149"/>
              </a:cxn>
              <a:cxn ang="0">
                <a:pos x="connsiteX41150" y="connsiteY41150"/>
              </a:cxn>
              <a:cxn ang="0">
                <a:pos x="connsiteX41151" y="connsiteY41151"/>
              </a:cxn>
              <a:cxn ang="0">
                <a:pos x="connsiteX41152" y="connsiteY41152"/>
              </a:cxn>
              <a:cxn ang="0">
                <a:pos x="connsiteX41153" y="connsiteY41153"/>
              </a:cxn>
              <a:cxn ang="0">
                <a:pos x="connsiteX41154" y="connsiteY41154"/>
              </a:cxn>
              <a:cxn ang="0">
                <a:pos x="connsiteX41155" y="connsiteY41155"/>
              </a:cxn>
              <a:cxn ang="0">
                <a:pos x="connsiteX41156" y="connsiteY41156"/>
              </a:cxn>
              <a:cxn ang="0">
                <a:pos x="connsiteX41157" y="connsiteY41157"/>
              </a:cxn>
              <a:cxn ang="0">
                <a:pos x="connsiteX41158" y="connsiteY41158"/>
              </a:cxn>
              <a:cxn ang="0">
                <a:pos x="connsiteX41159" y="connsiteY41159"/>
              </a:cxn>
              <a:cxn ang="0">
                <a:pos x="connsiteX41160" y="connsiteY41160"/>
              </a:cxn>
              <a:cxn ang="0">
                <a:pos x="connsiteX41161" y="connsiteY41161"/>
              </a:cxn>
              <a:cxn ang="0">
                <a:pos x="connsiteX41162" y="connsiteY41162"/>
              </a:cxn>
              <a:cxn ang="0">
                <a:pos x="connsiteX41163" y="connsiteY41163"/>
              </a:cxn>
              <a:cxn ang="0">
                <a:pos x="connsiteX41164" y="connsiteY41164"/>
              </a:cxn>
              <a:cxn ang="0">
                <a:pos x="connsiteX41165" y="connsiteY41165"/>
              </a:cxn>
              <a:cxn ang="0">
                <a:pos x="connsiteX41166" y="connsiteY41166"/>
              </a:cxn>
              <a:cxn ang="0">
                <a:pos x="connsiteX41167" y="connsiteY41167"/>
              </a:cxn>
              <a:cxn ang="0">
                <a:pos x="connsiteX41168" y="connsiteY41168"/>
              </a:cxn>
              <a:cxn ang="0">
                <a:pos x="connsiteX41169" y="connsiteY41169"/>
              </a:cxn>
              <a:cxn ang="0">
                <a:pos x="connsiteX41170" y="connsiteY41170"/>
              </a:cxn>
              <a:cxn ang="0">
                <a:pos x="connsiteX41171" y="connsiteY41171"/>
              </a:cxn>
              <a:cxn ang="0">
                <a:pos x="connsiteX41172" y="connsiteY41172"/>
              </a:cxn>
              <a:cxn ang="0">
                <a:pos x="connsiteX41173" y="connsiteY41173"/>
              </a:cxn>
              <a:cxn ang="0">
                <a:pos x="connsiteX41174" y="connsiteY41174"/>
              </a:cxn>
              <a:cxn ang="0">
                <a:pos x="connsiteX41175" y="connsiteY41175"/>
              </a:cxn>
              <a:cxn ang="0">
                <a:pos x="connsiteX41176" y="connsiteY41176"/>
              </a:cxn>
              <a:cxn ang="0">
                <a:pos x="connsiteX41177" y="connsiteY41177"/>
              </a:cxn>
              <a:cxn ang="0">
                <a:pos x="connsiteX41178" y="connsiteY41178"/>
              </a:cxn>
              <a:cxn ang="0">
                <a:pos x="connsiteX41179" y="connsiteY41179"/>
              </a:cxn>
              <a:cxn ang="0">
                <a:pos x="connsiteX41180" y="connsiteY41180"/>
              </a:cxn>
              <a:cxn ang="0">
                <a:pos x="connsiteX41181" y="connsiteY41181"/>
              </a:cxn>
              <a:cxn ang="0">
                <a:pos x="connsiteX41182" y="connsiteY41182"/>
              </a:cxn>
              <a:cxn ang="0">
                <a:pos x="connsiteX41183" y="connsiteY41183"/>
              </a:cxn>
              <a:cxn ang="0">
                <a:pos x="connsiteX41184" y="connsiteY41184"/>
              </a:cxn>
              <a:cxn ang="0">
                <a:pos x="connsiteX41185" y="connsiteY41185"/>
              </a:cxn>
              <a:cxn ang="0">
                <a:pos x="connsiteX41186" y="connsiteY41186"/>
              </a:cxn>
              <a:cxn ang="0">
                <a:pos x="connsiteX41187" y="connsiteY41187"/>
              </a:cxn>
              <a:cxn ang="0">
                <a:pos x="connsiteX41188" y="connsiteY41188"/>
              </a:cxn>
              <a:cxn ang="0">
                <a:pos x="connsiteX41189" y="connsiteY41189"/>
              </a:cxn>
              <a:cxn ang="0">
                <a:pos x="connsiteX41190" y="connsiteY41190"/>
              </a:cxn>
              <a:cxn ang="0">
                <a:pos x="connsiteX41191" y="connsiteY41191"/>
              </a:cxn>
              <a:cxn ang="0">
                <a:pos x="connsiteX41192" y="connsiteY41192"/>
              </a:cxn>
              <a:cxn ang="0">
                <a:pos x="connsiteX41193" y="connsiteY41193"/>
              </a:cxn>
              <a:cxn ang="0">
                <a:pos x="connsiteX41194" y="connsiteY41194"/>
              </a:cxn>
              <a:cxn ang="0">
                <a:pos x="connsiteX41195" y="connsiteY41195"/>
              </a:cxn>
              <a:cxn ang="0">
                <a:pos x="connsiteX41196" y="connsiteY41196"/>
              </a:cxn>
              <a:cxn ang="0">
                <a:pos x="connsiteX41197" y="connsiteY41197"/>
              </a:cxn>
              <a:cxn ang="0">
                <a:pos x="connsiteX41198" y="connsiteY41198"/>
              </a:cxn>
              <a:cxn ang="0">
                <a:pos x="connsiteX41199" y="connsiteY41199"/>
              </a:cxn>
              <a:cxn ang="0">
                <a:pos x="connsiteX41200" y="connsiteY41200"/>
              </a:cxn>
              <a:cxn ang="0">
                <a:pos x="connsiteX41201" y="connsiteY41201"/>
              </a:cxn>
              <a:cxn ang="0">
                <a:pos x="connsiteX41202" y="connsiteY41202"/>
              </a:cxn>
              <a:cxn ang="0">
                <a:pos x="connsiteX41203" y="connsiteY41203"/>
              </a:cxn>
              <a:cxn ang="0">
                <a:pos x="connsiteX41204" y="connsiteY41204"/>
              </a:cxn>
              <a:cxn ang="0">
                <a:pos x="connsiteX41205" y="connsiteY41205"/>
              </a:cxn>
              <a:cxn ang="0">
                <a:pos x="connsiteX41206" y="connsiteY41206"/>
              </a:cxn>
              <a:cxn ang="0">
                <a:pos x="connsiteX41207" y="connsiteY41207"/>
              </a:cxn>
              <a:cxn ang="0">
                <a:pos x="connsiteX41208" y="connsiteY41208"/>
              </a:cxn>
              <a:cxn ang="0">
                <a:pos x="connsiteX41209" y="connsiteY41209"/>
              </a:cxn>
              <a:cxn ang="0">
                <a:pos x="connsiteX41210" y="connsiteY41210"/>
              </a:cxn>
              <a:cxn ang="0">
                <a:pos x="connsiteX41211" y="connsiteY41211"/>
              </a:cxn>
              <a:cxn ang="0">
                <a:pos x="connsiteX41212" y="connsiteY41212"/>
              </a:cxn>
              <a:cxn ang="0">
                <a:pos x="connsiteX41213" y="connsiteY41213"/>
              </a:cxn>
              <a:cxn ang="0">
                <a:pos x="connsiteX41214" y="connsiteY41214"/>
              </a:cxn>
              <a:cxn ang="0">
                <a:pos x="connsiteX41215" y="connsiteY41215"/>
              </a:cxn>
              <a:cxn ang="0">
                <a:pos x="connsiteX41216" y="connsiteY41216"/>
              </a:cxn>
              <a:cxn ang="0">
                <a:pos x="connsiteX41217" y="connsiteY41217"/>
              </a:cxn>
              <a:cxn ang="0">
                <a:pos x="connsiteX41218" y="connsiteY41218"/>
              </a:cxn>
              <a:cxn ang="0">
                <a:pos x="connsiteX41219" y="connsiteY41219"/>
              </a:cxn>
              <a:cxn ang="0">
                <a:pos x="connsiteX41220" y="connsiteY41220"/>
              </a:cxn>
              <a:cxn ang="0">
                <a:pos x="connsiteX41221" y="connsiteY41221"/>
              </a:cxn>
              <a:cxn ang="0">
                <a:pos x="connsiteX41222" y="connsiteY41222"/>
              </a:cxn>
              <a:cxn ang="0">
                <a:pos x="connsiteX41223" y="connsiteY41223"/>
              </a:cxn>
              <a:cxn ang="0">
                <a:pos x="connsiteX41224" y="connsiteY41224"/>
              </a:cxn>
              <a:cxn ang="0">
                <a:pos x="connsiteX41225" y="connsiteY41225"/>
              </a:cxn>
              <a:cxn ang="0">
                <a:pos x="connsiteX41226" y="connsiteY41226"/>
              </a:cxn>
              <a:cxn ang="0">
                <a:pos x="connsiteX41227" y="connsiteY41227"/>
              </a:cxn>
              <a:cxn ang="0">
                <a:pos x="connsiteX41228" y="connsiteY41228"/>
              </a:cxn>
              <a:cxn ang="0">
                <a:pos x="connsiteX41229" y="connsiteY41229"/>
              </a:cxn>
              <a:cxn ang="0">
                <a:pos x="connsiteX41230" y="connsiteY41230"/>
              </a:cxn>
              <a:cxn ang="0">
                <a:pos x="connsiteX41231" y="connsiteY41231"/>
              </a:cxn>
              <a:cxn ang="0">
                <a:pos x="connsiteX41232" y="connsiteY41232"/>
              </a:cxn>
              <a:cxn ang="0">
                <a:pos x="connsiteX41233" y="connsiteY41233"/>
              </a:cxn>
              <a:cxn ang="0">
                <a:pos x="connsiteX41234" y="connsiteY41234"/>
              </a:cxn>
              <a:cxn ang="0">
                <a:pos x="connsiteX41235" y="connsiteY41235"/>
              </a:cxn>
              <a:cxn ang="0">
                <a:pos x="connsiteX41236" y="connsiteY41236"/>
              </a:cxn>
              <a:cxn ang="0">
                <a:pos x="connsiteX41237" y="connsiteY41237"/>
              </a:cxn>
              <a:cxn ang="0">
                <a:pos x="connsiteX41238" y="connsiteY41238"/>
              </a:cxn>
              <a:cxn ang="0">
                <a:pos x="connsiteX41239" y="connsiteY41239"/>
              </a:cxn>
              <a:cxn ang="0">
                <a:pos x="connsiteX41240" y="connsiteY41240"/>
              </a:cxn>
              <a:cxn ang="0">
                <a:pos x="connsiteX41241" y="connsiteY41241"/>
              </a:cxn>
              <a:cxn ang="0">
                <a:pos x="connsiteX41242" y="connsiteY41242"/>
              </a:cxn>
              <a:cxn ang="0">
                <a:pos x="connsiteX41243" y="connsiteY41243"/>
              </a:cxn>
              <a:cxn ang="0">
                <a:pos x="connsiteX41244" y="connsiteY41244"/>
              </a:cxn>
              <a:cxn ang="0">
                <a:pos x="connsiteX41245" y="connsiteY41245"/>
              </a:cxn>
              <a:cxn ang="0">
                <a:pos x="connsiteX41246" y="connsiteY41246"/>
              </a:cxn>
              <a:cxn ang="0">
                <a:pos x="connsiteX41247" y="connsiteY41247"/>
              </a:cxn>
              <a:cxn ang="0">
                <a:pos x="connsiteX41248" y="connsiteY41248"/>
              </a:cxn>
              <a:cxn ang="0">
                <a:pos x="connsiteX41249" y="connsiteY41249"/>
              </a:cxn>
              <a:cxn ang="0">
                <a:pos x="connsiteX41250" y="connsiteY41250"/>
              </a:cxn>
              <a:cxn ang="0">
                <a:pos x="connsiteX41251" y="connsiteY41251"/>
              </a:cxn>
              <a:cxn ang="0">
                <a:pos x="connsiteX41252" y="connsiteY41252"/>
              </a:cxn>
              <a:cxn ang="0">
                <a:pos x="connsiteX41253" y="connsiteY41253"/>
              </a:cxn>
              <a:cxn ang="0">
                <a:pos x="connsiteX41254" y="connsiteY41254"/>
              </a:cxn>
              <a:cxn ang="0">
                <a:pos x="connsiteX41255" y="connsiteY41255"/>
              </a:cxn>
              <a:cxn ang="0">
                <a:pos x="connsiteX41256" y="connsiteY41256"/>
              </a:cxn>
              <a:cxn ang="0">
                <a:pos x="connsiteX41257" y="connsiteY41257"/>
              </a:cxn>
              <a:cxn ang="0">
                <a:pos x="connsiteX41258" y="connsiteY41258"/>
              </a:cxn>
              <a:cxn ang="0">
                <a:pos x="connsiteX41259" y="connsiteY41259"/>
              </a:cxn>
              <a:cxn ang="0">
                <a:pos x="connsiteX41260" y="connsiteY41260"/>
              </a:cxn>
              <a:cxn ang="0">
                <a:pos x="connsiteX41261" y="connsiteY41261"/>
              </a:cxn>
              <a:cxn ang="0">
                <a:pos x="connsiteX41262" y="connsiteY41262"/>
              </a:cxn>
              <a:cxn ang="0">
                <a:pos x="connsiteX41263" y="connsiteY41263"/>
              </a:cxn>
              <a:cxn ang="0">
                <a:pos x="connsiteX41264" y="connsiteY41264"/>
              </a:cxn>
              <a:cxn ang="0">
                <a:pos x="connsiteX41265" y="connsiteY41265"/>
              </a:cxn>
              <a:cxn ang="0">
                <a:pos x="connsiteX41266" y="connsiteY41266"/>
              </a:cxn>
              <a:cxn ang="0">
                <a:pos x="connsiteX41267" y="connsiteY41267"/>
              </a:cxn>
              <a:cxn ang="0">
                <a:pos x="connsiteX41268" y="connsiteY41268"/>
              </a:cxn>
              <a:cxn ang="0">
                <a:pos x="connsiteX41269" y="connsiteY41269"/>
              </a:cxn>
              <a:cxn ang="0">
                <a:pos x="connsiteX41270" y="connsiteY41270"/>
              </a:cxn>
              <a:cxn ang="0">
                <a:pos x="connsiteX41271" y="connsiteY41271"/>
              </a:cxn>
              <a:cxn ang="0">
                <a:pos x="connsiteX41272" y="connsiteY41272"/>
              </a:cxn>
              <a:cxn ang="0">
                <a:pos x="connsiteX41273" y="connsiteY41273"/>
              </a:cxn>
              <a:cxn ang="0">
                <a:pos x="connsiteX41274" y="connsiteY41274"/>
              </a:cxn>
              <a:cxn ang="0">
                <a:pos x="connsiteX41275" y="connsiteY41275"/>
              </a:cxn>
              <a:cxn ang="0">
                <a:pos x="connsiteX41276" y="connsiteY41276"/>
              </a:cxn>
              <a:cxn ang="0">
                <a:pos x="connsiteX41277" y="connsiteY41277"/>
              </a:cxn>
              <a:cxn ang="0">
                <a:pos x="connsiteX41278" y="connsiteY41278"/>
              </a:cxn>
              <a:cxn ang="0">
                <a:pos x="connsiteX41279" y="connsiteY41279"/>
              </a:cxn>
              <a:cxn ang="0">
                <a:pos x="connsiteX41280" y="connsiteY41280"/>
              </a:cxn>
              <a:cxn ang="0">
                <a:pos x="connsiteX41281" y="connsiteY41281"/>
              </a:cxn>
              <a:cxn ang="0">
                <a:pos x="connsiteX41282" y="connsiteY41282"/>
              </a:cxn>
              <a:cxn ang="0">
                <a:pos x="connsiteX41283" y="connsiteY41283"/>
              </a:cxn>
              <a:cxn ang="0">
                <a:pos x="connsiteX41284" y="connsiteY41284"/>
              </a:cxn>
              <a:cxn ang="0">
                <a:pos x="connsiteX41285" y="connsiteY41285"/>
              </a:cxn>
              <a:cxn ang="0">
                <a:pos x="connsiteX41286" y="connsiteY41286"/>
              </a:cxn>
              <a:cxn ang="0">
                <a:pos x="connsiteX41287" y="connsiteY41287"/>
              </a:cxn>
              <a:cxn ang="0">
                <a:pos x="connsiteX41288" y="connsiteY41288"/>
              </a:cxn>
              <a:cxn ang="0">
                <a:pos x="connsiteX41289" y="connsiteY41289"/>
              </a:cxn>
              <a:cxn ang="0">
                <a:pos x="connsiteX41290" y="connsiteY41290"/>
              </a:cxn>
              <a:cxn ang="0">
                <a:pos x="connsiteX41291" y="connsiteY41291"/>
              </a:cxn>
              <a:cxn ang="0">
                <a:pos x="connsiteX41292" y="connsiteY41292"/>
              </a:cxn>
              <a:cxn ang="0">
                <a:pos x="connsiteX41293" y="connsiteY41293"/>
              </a:cxn>
              <a:cxn ang="0">
                <a:pos x="connsiteX41294" y="connsiteY41294"/>
              </a:cxn>
              <a:cxn ang="0">
                <a:pos x="connsiteX41295" y="connsiteY41295"/>
              </a:cxn>
              <a:cxn ang="0">
                <a:pos x="connsiteX41296" y="connsiteY41296"/>
              </a:cxn>
              <a:cxn ang="0">
                <a:pos x="connsiteX41297" y="connsiteY41297"/>
              </a:cxn>
              <a:cxn ang="0">
                <a:pos x="connsiteX41298" y="connsiteY41298"/>
              </a:cxn>
              <a:cxn ang="0">
                <a:pos x="connsiteX41299" y="connsiteY41299"/>
              </a:cxn>
              <a:cxn ang="0">
                <a:pos x="connsiteX41300" y="connsiteY41300"/>
              </a:cxn>
              <a:cxn ang="0">
                <a:pos x="connsiteX41301" y="connsiteY41301"/>
              </a:cxn>
              <a:cxn ang="0">
                <a:pos x="connsiteX41302" y="connsiteY41302"/>
              </a:cxn>
              <a:cxn ang="0">
                <a:pos x="connsiteX41303" y="connsiteY41303"/>
              </a:cxn>
              <a:cxn ang="0">
                <a:pos x="connsiteX41304" y="connsiteY41304"/>
              </a:cxn>
              <a:cxn ang="0">
                <a:pos x="connsiteX41305" y="connsiteY41305"/>
              </a:cxn>
              <a:cxn ang="0">
                <a:pos x="connsiteX41306" y="connsiteY41306"/>
              </a:cxn>
              <a:cxn ang="0">
                <a:pos x="connsiteX41307" y="connsiteY41307"/>
              </a:cxn>
              <a:cxn ang="0">
                <a:pos x="connsiteX41308" y="connsiteY41308"/>
              </a:cxn>
              <a:cxn ang="0">
                <a:pos x="connsiteX41309" y="connsiteY41309"/>
              </a:cxn>
              <a:cxn ang="0">
                <a:pos x="connsiteX41310" y="connsiteY41310"/>
              </a:cxn>
              <a:cxn ang="0">
                <a:pos x="connsiteX41311" y="connsiteY41311"/>
              </a:cxn>
              <a:cxn ang="0">
                <a:pos x="connsiteX41312" y="connsiteY41312"/>
              </a:cxn>
              <a:cxn ang="0">
                <a:pos x="connsiteX41313" y="connsiteY41313"/>
              </a:cxn>
              <a:cxn ang="0">
                <a:pos x="connsiteX41314" y="connsiteY41314"/>
              </a:cxn>
              <a:cxn ang="0">
                <a:pos x="connsiteX41315" y="connsiteY41315"/>
              </a:cxn>
              <a:cxn ang="0">
                <a:pos x="connsiteX41316" y="connsiteY41316"/>
              </a:cxn>
              <a:cxn ang="0">
                <a:pos x="connsiteX41317" y="connsiteY41317"/>
              </a:cxn>
              <a:cxn ang="0">
                <a:pos x="connsiteX41318" y="connsiteY41318"/>
              </a:cxn>
              <a:cxn ang="0">
                <a:pos x="connsiteX41319" y="connsiteY41319"/>
              </a:cxn>
              <a:cxn ang="0">
                <a:pos x="connsiteX41320" y="connsiteY41320"/>
              </a:cxn>
              <a:cxn ang="0">
                <a:pos x="connsiteX41321" y="connsiteY41321"/>
              </a:cxn>
              <a:cxn ang="0">
                <a:pos x="connsiteX41322" y="connsiteY41322"/>
              </a:cxn>
              <a:cxn ang="0">
                <a:pos x="connsiteX41323" y="connsiteY41323"/>
              </a:cxn>
              <a:cxn ang="0">
                <a:pos x="connsiteX41324" y="connsiteY41324"/>
              </a:cxn>
              <a:cxn ang="0">
                <a:pos x="connsiteX41325" y="connsiteY41325"/>
              </a:cxn>
              <a:cxn ang="0">
                <a:pos x="connsiteX41326" y="connsiteY41326"/>
              </a:cxn>
              <a:cxn ang="0">
                <a:pos x="connsiteX41327" y="connsiteY41327"/>
              </a:cxn>
              <a:cxn ang="0">
                <a:pos x="connsiteX41328" y="connsiteY41328"/>
              </a:cxn>
              <a:cxn ang="0">
                <a:pos x="connsiteX41329" y="connsiteY41329"/>
              </a:cxn>
              <a:cxn ang="0">
                <a:pos x="connsiteX41330" y="connsiteY41330"/>
              </a:cxn>
              <a:cxn ang="0">
                <a:pos x="connsiteX41331" y="connsiteY41331"/>
              </a:cxn>
              <a:cxn ang="0">
                <a:pos x="connsiteX41332" y="connsiteY41332"/>
              </a:cxn>
              <a:cxn ang="0">
                <a:pos x="connsiteX41333" y="connsiteY41333"/>
              </a:cxn>
              <a:cxn ang="0">
                <a:pos x="connsiteX41334" y="connsiteY41334"/>
              </a:cxn>
              <a:cxn ang="0">
                <a:pos x="connsiteX41335" y="connsiteY41335"/>
              </a:cxn>
              <a:cxn ang="0">
                <a:pos x="connsiteX41336" y="connsiteY41336"/>
              </a:cxn>
              <a:cxn ang="0">
                <a:pos x="connsiteX41337" y="connsiteY41337"/>
              </a:cxn>
              <a:cxn ang="0">
                <a:pos x="connsiteX41338" y="connsiteY41338"/>
              </a:cxn>
              <a:cxn ang="0">
                <a:pos x="connsiteX41339" y="connsiteY41339"/>
              </a:cxn>
              <a:cxn ang="0">
                <a:pos x="connsiteX41340" y="connsiteY41340"/>
              </a:cxn>
              <a:cxn ang="0">
                <a:pos x="connsiteX41341" y="connsiteY41341"/>
              </a:cxn>
              <a:cxn ang="0">
                <a:pos x="connsiteX41342" y="connsiteY41342"/>
              </a:cxn>
              <a:cxn ang="0">
                <a:pos x="connsiteX41343" y="connsiteY41343"/>
              </a:cxn>
              <a:cxn ang="0">
                <a:pos x="connsiteX41344" y="connsiteY41344"/>
              </a:cxn>
              <a:cxn ang="0">
                <a:pos x="connsiteX41345" y="connsiteY41345"/>
              </a:cxn>
              <a:cxn ang="0">
                <a:pos x="connsiteX41346" y="connsiteY41346"/>
              </a:cxn>
              <a:cxn ang="0">
                <a:pos x="connsiteX41347" y="connsiteY41347"/>
              </a:cxn>
              <a:cxn ang="0">
                <a:pos x="connsiteX41348" y="connsiteY41348"/>
              </a:cxn>
              <a:cxn ang="0">
                <a:pos x="connsiteX41349" y="connsiteY41349"/>
              </a:cxn>
              <a:cxn ang="0">
                <a:pos x="connsiteX41350" y="connsiteY41350"/>
              </a:cxn>
              <a:cxn ang="0">
                <a:pos x="connsiteX41351" y="connsiteY41351"/>
              </a:cxn>
              <a:cxn ang="0">
                <a:pos x="connsiteX41352" y="connsiteY41352"/>
              </a:cxn>
              <a:cxn ang="0">
                <a:pos x="connsiteX41353" y="connsiteY41353"/>
              </a:cxn>
              <a:cxn ang="0">
                <a:pos x="connsiteX41354" y="connsiteY41354"/>
              </a:cxn>
              <a:cxn ang="0">
                <a:pos x="connsiteX41355" y="connsiteY41355"/>
              </a:cxn>
              <a:cxn ang="0">
                <a:pos x="connsiteX41356" y="connsiteY41356"/>
              </a:cxn>
              <a:cxn ang="0">
                <a:pos x="connsiteX41357" y="connsiteY41357"/>
              </a:cxn>
              <a:cxn ang="0">
                <a:pos x="connsiteX41358" y="connsiteY41358"/>
              </a:cxn>
              <a:cxn ang="0">
                <a:pos x="connsiteX41359" y="connsiteY41359"/>
              </a:cxn>
              <a:cxn ang="0">
                <a:pos x="connsiteX41360" y="connsiteY41360"/>
              </a:cxn>
              <a:cxn ang="0">
                <a:pos x="connsiteX41361" y="connsiteY41361"/>
              </a:cxn>
              <a:cxn ang="0">
                <a:pos x="connsiteX41362" y="connsiteY41362"/>
              </a:cxn>
              <a:cxn ang="0">
                <a:pos x="connsiteX41363" y="connsiteY41363"/>
              </a:cxn>
              <a:cxn ang="0">
                <a:pos x="connsiteX41364" y="connsiteY41364"/>
              </a:cxn>
              <a:cxn ang="0">
                <a:pos x="connsiteX41365" y="connsiteY41365"/>
              </a:cxn>
              <a:cxn ang="0">
                <a:pos x="connsiteX41366" y="connsiteY41366"/>
              </a:cxn>
              <a:cxn ang="0">
                <a:pos x="connsiteX41367" y="connsiteY41367"/>
              </a:cxn>
              <a:cxn ang="0">
                <a:pos x="connsiteX41368" y="connsiteY41368"/>
              </a:cxn>
              <a:cxn ang="0">
                <a:pos x="connsiteX41369" y="connsiteY41369"/>
              </a:cxn>
              <a:cxn ang="0">
                <a:pos x="connsiteX41370" y="connsiteY41370"/>
              </a:cxn>
              <a:cxn ang="0">
                <a:pos x="connsiteX41371" y="connsiteY41371"/>
              </a:cxn>
              <a:cxn ang="0">
                <a:pos x="connsiteX41372" y="connsiteY41372"/>
              </a:cxn>
              <a:cxn ang="0">
                <a:pos x="connsiteX41373" y="connsiteY41373"/>
              </a:cxn>
              <a:cxn ang="0">
                <a:pos x="connsiteX41374" y="connsiteY41374"/>
              </a:cxn>
              <a:cxn ang="0">
                <a:pos x="connsiteX41375" y="connsiteY41375"/>
              </a:cxn>
              <a:cxn ang="0">
                <a:pos x="connsiteX41376" y="connsiteY41376"/>
              </a:cxn>
              <a:cxn ang="0">
                <a:pos x="connsiteX41377" y="connsiteY41377"/>
              </a:cxn>
              <a:cxn ang="0">
                <a:pos x="connsiteX41378" y="connsiteY41378"/>
              </a:cxn>
              <a:cxn ang="0">
                <a:pos x="connsiteX41379" y="connsiteY41379"/>
              </a:cxn>
              <a:cxn ang="0">
                <a:pos x="connsiteX41380" y="connsiteY41380"/>
              </a:cxn>
              <a:cxn ang="0">
                <a:pos x="connsiteX41381" y="connsiteY41381"/>
              </a:cxn>
              <a:cxn ang="0">
                <a:pos x="connsiteX41382" y="connsiteY41382"/>
              </a:cxn>
              <a:cxn ang="0">
                <a:pos x="connsiteX41383" y="connsiteY41383"/>
              </a:cxn>
              <a:cxn ang="0">
                <a:pos x="connsiteX41384" y="connsiteY41384"/>
              </a:cxn>
              <a:cxn ang="0">
                <a:pos x="connsiteX41385" y="connsiteY41385"/>
              </a:cxn>
              <a:cxn ang="0">
                <a:pos x="connsiteX41386" y="connsiteY41386"/>
              </a:cxn>
              <a:cxn ang="0">
                <a:pos x="connsiteX41387" y="connsiteY41387"/>
              </a:cxn>
              <a:cxn ang="0">
                <a:pos x="connsiteX41388" y="connsiteY41388"/>
              </a:cxn>
              <a:cxn ang="0">
                <a:pos x="connsiteX41389" y="connsiteY41389"/>
              </a:cxn>
              <a:cxn ang="0">
                <a:pos x="connsiteX41390" y="connsiteY41390"/>
              </a:cxn>
              <a:cxn ang="0">
                <a:pos x="connsiteX41391" y="connsiteY41391"/>
              </a:cxn>
              <a:cxn ang="0">
                <a:pos x="connsiteX41392" y="connsiteY41392"/>
              </a:cxn>
              <a:cxn ang="0">
                <a:pos x="connsiteX41393" y="connsiteY41393"/>
              </a:cxn>
              <a:cxn ang="0">
                <a:pos x="connsiteX41394" y="connsiteY41394"/>
              </a:cxn>
              <a:cxn ang="0">
                <a:pos x="connsiteX41395" y="connsiteY41395"/>
              </a:cxn>
              <a:cxn ang="0">
                <a:pos x="connsiteX41396" y="connsiteY41396"/>
              </a:cxn>
              <a:cxn ang="0">
                <a:pos x="connsiteX41397" y="connsiteY41397"/>
              </a:cxn>
              <a:cxn ang="0">
                <a:pos x="connsiteX41398" y="connsiteY41398"/>
              </a:cxn>
              <a:cxn ang="0">
                <a:pos x="connsiteX41399" y="connsiteY41399"/>
              </a:cxn>
              <a:cxn ang="0">
                <a:pos x="connsiteX41400" y="connsiteY41400"/>
              </a:cxn>
              <a:cxn ang="0">
                <a:pos x="connsiteX41401" y="connsiteY41401"/>
              </a:cxn>
              <a:cxn ang="0">
                <a:pos x="connsiteX41402" y="connsiteY41402"/>
              </a:cxn>
              <a:cxn ang="0">
                <a:pos x="connsiteX41403" y="connsiteY41403"/>
              </a:cxn>
              <a:cxn ang="0">
                <a:pos x="connsiteX41404" y="connsiteY41404"/>
              </a:cxn>
              <a:cxn ang="0">
                <a:pos x="connsiteX41405" y="connsiteY41405"/>
              </a:cxn>
              <a:cxn ang="0">
                <a:pos x="connsiteX41406" y="connsiteY41406"/>
              </a:cxn>
              <a:cxn ang="0">
                <a:pos x="connsiteX41407" y="connsiteY41407"/>
              </a:cxn>
              <a:cxn ang="0">
                <a:pos x="connsiteX41408" y="connsiteY41408"/>
              </a:cxn>
              <a:cxn ang="0">
                <a:pos x="connsiteX41409" y="connsiteY41409"/>
              </a:cxn>
              <a:cxn ang="0">
                <a:pos x="connsiteX41410" y="connsiteY41410"/>
              </a:cxn>
              <a:cxn ang="0">
                <a:pos x="connsiteX41411" y="connsiteY41411"/>
              </a:cxn>
              <a:cxn ang="0">
                <a:pos x="connsiteX41412" y="connsiteY41412"/>
              </a:cxn>
              <a:cxn ang="0">
                <a:pos x="connsiteX41413" y="connsiteY41413"/>
              </a:cxn>
              <a:cxn ang="0">
                <a:pos x="connsiteX41414" y="connsiteY41414"/>
              </a:cxn>
              <a:cxn ang="0">
                <a:pos x="connsiteX41415" y="connsiteY41415"/>
              </a:cxn>
              <a:cxn ang="0">
                <a:pos x="connsiteX41416" y="connsiteY41416"/>
              </a:cxn>
              <a:cxn ang="0">
                <a:pos x="connsiteX41417" y="connsiteY41417"/>
              </a:cxn>
              <a:cxn ang="0">
                <a:pos x="connsiteX41418" y="connsiteY41418"/>
              </a:cxn>
              <a:cxn ang="0">
                <a:pos x="connsiteX41419" y="connsiteY41419"/>
              </a:cxn>
              <a:cxn ang="0">
                <a:pos x="connsiteX41420" y="connsiteY41420"/>
              </a:cxn>
              <a:cxn ang="0">
                <a:pos x="connsiteX41421" y="connsiteY41421"/>
              </a:cxn>
              <a:cxn ang="0">
                <a:pos x="connsiteX41422" y="connsiteY41422"/>
              </a:cxn>
              <a:cxn ang="0">
                <a:pos x="connsiteX41423" y="connsiteY41423"/>
              </a:cxn>
              <a:cxn ang="0">
                <a:pos x="connsiteX41424" y="connsiteY41424"/>
              </a:cxn>
              <a:cxn ang="0">
                <a:pos x="connsiteX41425" y="connsiteY41425"/>
              </a:cxn>
              <a:cxn ang="0">
                <a:pos x="connsiteX41426" y="connsiteY41426"/>
              </a:cxn>
              <a:cxn ang="0">
                <a:pos x="connsiteX41427" y="connsiteY41427"/>
              </a:cxn>
              <a:cxn ang="0">
                <a:pos x="connsiteX41428" y="connsiteY41428"/>
              </a:cxn>
              <a:cxn ang="0">
                <a:pos x="connsiteX41429" y="connsiteY41429"/>
              </a:cxn>
              <a:cxn ang="0">
                <a:pos x="connsiteX41430" y="connsiteY41430"/>
              </a:cxn>
              <a:cxn ang="0">
                <a:pos x="connsiteX41431" y="connsiteY41431"/>
              </a:cxn>
              <a:cxn ang="0">
                <a:pos x="connsiteX41432" y="connsiteY41432"/>
              </a:cxn>
              <a:cxn ang="0">
                <a:pos x="connsiteX41433" y="connsiteY41433"/>
              </a:cxn>
              <a:cxn ang="0">
                <a:pos x="connsiteX41434" y="connsiteY41434"/>
              </a:cxn>
              <a:cxn ang="0">
                <a:pos x="connsiteX41435" y="connsiteY41435"/>
              </a:cxn>
              <a:cxn ang="0">
                <a:pos x="connsiteX41436" y="connsiteY41436"/>
              </a:cxn>
              <a:cxn ang="0">
                <a:pos x="connsiteX41437" y="connsiteY41437"/>
              </a:cxn>
              <a:cxn ang="0">
                <a:pos x="connsiteX41438" y="connsiteY41438"/>
              </a:cxn>
              <a:cxn ang="0">
                <a:pos x="connsiteX41439" y="connsiteY41439"/>
              </a:cxn>
              <a:cxn ang="0">
                <a:pos x="connsiteX41440" y="connsiteY41440"/>
              </a:cxn>
              <a:cxn ang="0">
                <a:pos x="connsiteX41441" y="connsiteY41441"/>
              </a:cxn>
              <a:cxn ang="0">
                <a:pos x="connsiteX41442" y="connsiteY41442"/>
              </a:cxn>
              <a:cxn ang="0">
                <a:pos x="connsiteX41443" y="connsiteY41443"/>
              </a:cxn>
              <a:cxn ang="0">
                <a:pos x="connsiteX41444" y="connsiteY41444"/>
              </a:cxn>
              <a:cxn ang="0">
                <a:pos x="connsiteX41445" y="connsiteY41445"/>
              </a:cxn>
              <a:cxn ang="0">
                <a:pos x="connsiteX41446" y="connsiteY41446"/>
              </a:cxn>
              <a:cxn ang="0">
                <a:pos x="connsiteX41447" y="connsiteY41447"/>
              </a:cxn>
              <a:cxn ang="0">
                <a:pos x="connsiteX41448" y="connsiteY41448"/>
              </a:cxn>
              <a:cxn ang="0">
                <a:pos x="connsiteX41449" y="connsiteY41449"/>
              </a:cxn>
              <a:cxn ang="0">
                <a:pos x="connsiteX41450" y="connsiteY41450"/>
              </a:cxn>
              <a:cxn ang="0">
                <a:pos x="connsiteX41451" y="connsiteY41451"/>
              </a:cxn>
              <a:cxn ang="0">
                <a:pos x="connsiteX41452" y="connsiteY41452"/>
              </a:cxn>
              <a:cxn ang="0">
                <a:pos x="connsiteX41453" y="connsiteY41453"/>
              </a:cxn>
              <a:cxn ang="0">
                <a:pos x="connsiteX41454" y="connsiteY41454"/>
              </a:cxn>
              <a:cxn ang="0">
                <a:pos x="connsiteX41455" y="connsiteY41455"/>
              </a:cxn>
              <a:cxn ang="0">
                <a:pos x="connsiteX41456" y="connsiteY41456"/>
              </a:cxn>
              <a:cxn ang="0">
                <a:pos x="connsiteX41457" y="connsiteY41457"/>
              </a:cxn>
              <a:cxn ang="0">
                <a:pos x="connsiteX41458" y="connsiteY41458"/>
              </a:cxn>
              <a:cxn ang="0">
                <a:pos x="connsiteX41459" y="connsiteY41459"/>
              </a:cxn>
              <a:cxn ang="0">
                <a:pos x="connsiteX41460" y="connsiteY41460"/>
              </a:cxn>
              <a:cxn ang="0">
                <a:pos x="connsiteX41461" y="connsiteY41461"/>
              </a:cxn>
              <a:cxn ang="0">
                <a:pos x="connsiteX41462" y="connsiteY41462"/>
              </a:cxn>
              <a:cxn ang="0">
                <a:pos x="connsiteX41463" y="connsiteY41463"/>
              </a:cxn>
              <a:cxn ang="0">
                <a:pos x="connsiteX41464" y="connsiteY41464"/>
              </a:cxn>
              <a:cxn ang="0">
                <a:pos x="connsiteX41465" y="connsiteY41465"/>
              </a:cxn>
              <a:cxn ang="0">
                <a:pos x="connsiteX41466" y="connsiteY41466"/>
              </a:cxn>
              <a:cxn ang="0">
                <a:pos x="connsiteX41467" y="connsiteY41467"/>
              </a:cxn>
              <a:cxn ang="0">
                <a:pos x="connsiteX41468" y="connsiteY41468"/>
              </a:cxn>
              <a:cxn ang="0">
                <a:pos x="connsiteX41469" y="connsiteY41469"/>
              </a:cxn>
              <a:cxn ang="0">
                <a:pos x="connsiteX41470" y="connsiteY41470"/>
              </a:cxn>
              <a:cxn ang="0">
                <a:pos x="connsiteX41471" y="connsiteY41471"/>
              </a:cxn>
              <a:cxn ang="0">
                <a:pos x="connsiteX41472" y="connsiteY41472"/>
              </a:cxn>
              <a:cxn ang="0">
                <a:pos x="connsiteX41473" y="connsiteY41473"/>
              </a:cxn>
              <a:cxn ang="0">
                <a:pos x="connsiteX41474" y="connsiteY41474"/>
              </a:cxn>
              <a:cxn ang="0">
                <a:pos x="connsiteX41475" y="connsiteY41475"/>
              </a:cxn>
              <a:cxn ang="0">
                <a:pos x="connsiteX41476" y="connsiteY41476"/>
              </a:cxn>
              <a:cxn ang="0">
                <a:pos x="connsiteX41477" y="connsiteY41477"/>
              </a:cxn>
              <a:cxn ang="0">
                <a:pos x="connsiteX41478" y="connsiteY41478"/>
              </a:cxn>
              <a:cxn ang="0">
                <a:pos x="connsiteX41479" y="connsiteY41479"/>
              </a:cxn>
              <a:cxn ang="0">
                <a:pos x="connsiteX41480" y="connsiteY41480"/>
              </a:cxn>
              <a:cxn ang="0">
                <a:pos x="connsiteX41481" y="connsiteY41481"/>
              </a:cxn>
              <a:cxn ang="0">
                <a:pos x="connsiteX41482" y="connsiteY41482"/>
              </a:cxn>
              <a:cxn ang="0">
                <a:pos x="connsiteX41483" y="connsiteY41483"/>
              </a:cxn>
              <a:cxn ang="0">
                <a:pos x="connsiteX41484" y="connsiteY41484"/>
              </a:cxn>
              <a:cxn ang="0">
                <a:pos x="connsiteX41485" y="connsiteY41485"/>
              </a:cxn>
              <a:cxn ang="0">
                <a:pos x="connsiteX41486" y="connsiteY41486"/>
              </a:cxn>
              <a:cxn ang="0">
                <a:pos x="connsiteX41487" y="connsiteY41487"/>
              </a:cxn>
              <a:cxn ang="0">
                <a:pos x="connsiteX41488" y="connsiteY41488"/>
              </a:cxn>
              <a:cxn ang="0">
                <a:pos x="connsiteX41489" y="connsiteY41489"/>
              </a:cxn>
              <a:cxn ang="0">
                <a:pos x="connsiteX41490" y="connsiteY41490"/>
              </a:cxn>
              <a:cxn ang="0">
                <a:pos x="connsiteX41491" y="connsiteY41491"/>
              </a:cxn>
              <a:cxn ang="0">
                <a:pos x="connsiteX41492" y="connsiteY41492"/>
              </a:cxn>
              <a:cxn ang="0">
                <a:pos x="connsiteX41493" y="connsiteY41493"/>
              </a:cxn>
              <a:cxn ang="0">
                <a:pos x="connsiteX41494" y="connsiteY41494"/>
              </a:cxn>
              <a:cxn ang="0">
                <a:pos x="connsiteX41495" y="connsiteY41495"/>
              </a:cxn>
              <a:cxn ang="0">
                <a:pos x="connsiteX41496" y="connsiteY41496"/>
              </a:cxn>
              <a:cxn ang="0">
                <a:pos x="connsiteX41497" y="connsiteY41497"/>
              </a:cxn>
              <a:cxn ang="0">
                <a:pos x="connsiteX41498" y="connsiteY41498"/>
              </a:cxn>
              <a:cxn ang="0">
                <a:pos x="connsiteX41499" y="connsiteY41499"/>
              </a:cxn>
              <a:cxn ang="0">
                <a:pos x="connsiteX41500" y="connsiteY41500"/>
              </a:cxn>
              <a:cxn ang="0">
                <a:pos x="connsiteX41501" y="connsiteY41501"/>
              </a:cxn>
              <a:cxn ang="0">
                <a:pos x="connsiteX41502" y="connsiteY41502"/>
              </a:cxn>
              <a:cxn ang="0">
                <a:pos x="connsiteX41503" y="connsiteY41503"/>
              </a:cxn>
              <a:cxn ang="0">
                <a:pos x="connsiteX41504" y="connsiteY41504"/>
              </a:cxn>
              <a:cxn ang="0">
                <a:pos x="connsiteX41505" y="connsiteY41505"/>
              </a:cxn>
              <a:cxn ang="0">
                <a:pos x="connsiteX41506" y="connsiteY41506"/>
              </a:cxn>
              <a:cxn ang="0">
                <a:pos x="connsiteX41507" y="connsiteY41507"/>
              </a:cxn>
              <a:cxn ang="0">
                <a:pos x="connsiteX41508" y="connsiteY41508"/>
              </a:cxn>
              <a:cxn ang="0">
                <a:pos x="connsiteX41509" y="connsiteY41509"/>
              </a:cxn>
              <a:cxn ang="0">
                <a:pos x="connsiteX41510" y="connsiteY41510"/>
              </a:cxn>
              <a:cxn ang="0">
                <a:pos x="connsiteX41511" y="connsiteY41511"/>
              </a:cxn>
              <a:cxn ang="0">
                <a:pos x="connsiteX41512" y="connsiteY41512"/>
              </a:cxn>
              <a:cxn ang="0">
                <a:pos x="connsiteX41513" y="connsiteY41513"/>
              </a:cxn>
              <a:cxn ang="0">
                <a:pos x="connsiteX41514" y="connsiteY41514"/>
              </a:cxn>
              <a:cxn ang="0">
                <a:pos x="connsiteX41515" y="connsiteY41515"/>
              </a:cxn>
              <a:cxn ang="0">
                <a:pos x="connsiteX41516" y="connsiteY41516"/>
              </a:cxn>
              <a:cxn ang="0">
                <a:pos x="connsiteX41517" y="connsiteY41517"/>
              </a:cxn>
              <a:cxn ang="0">
                <a:pos x="connsiteX41518" y="connsiteY41518"/>
              </a:cxn>
              <a:cxn ang="0">
                <a:pos x="connsiteX41519" y="connsiteY41519"/>
              </a:cxn>
              <a:cxn ang="0">
                <a:pos x="connsiteX41520" y="connsiteY41520"/>
              </a:cxn>
              <a:cxn ang="0">
                <a:pos x="connsiteX41521" y="connsiteY41521"/>
              </a:cxn>
              <a:cxn ang="0">
                <a:pos x="connsiteX41522" y="connsiteY41522"/>
              </a:cxn>
              <a:cxn ang="0">
                <a:pos x="connsiteX41523" y="connsiteY41523"/>
              </a:cxn>
              <a:cxn ang="0">
                <a:pos x="connsiteX41524" y="connsiteY41524"/>
              </a:cxn>
              <a:cxn ang="0">
                <a:pos x="connsiteX41525" y="connsiteY41525"/>
              </a:cxn>
              <a:cxn ang="0">
                <a:pos x="connsiteX41526" y="connsiteY41526"/>
              </a:cxn>
              <a:cxn ang="0">
                <a:pos x="connsiteX41527" y="connsiteY41527"/>
              </a:cxn>
              <a:cxn ang="0">
                <a:pos x="connsiteX41528" y="connsiteY41528"/>
              </a:cxn>
              <a:cxn ang="0">
                <a:pos x="connsiteX41529" y="connsiteY41529"/>
              </a:cxn>
              <a:cxn ang="0">
                <a:pos x="connsiteX41530" y="connsiteY41530"/>
              </a:cxn>
              <a:cxn ang="0">
                <a:pos x="connsiteX41531" y="connsiteY41531"/>
              </a:cxn>
              <a:cxn ang="0">
                <a:pos x="connsiteX41532" y="connsiteY41532"/>
              </a:cxn>
              <a:cxn ang="0">
                <a:pos x="connsiteX41533" y="connsiteY41533"/>
              </a:cxn>
              <a:cxn ang="0">
                <a:pos x="connsiteX41534" y="connsiteY41534"/>
              </a:cxn>
              <a:cxn ang="0">
                <a:pos x="connsiteX41535" y="connsiteY41535"/>
              </a:cxn>
              <a:cxn ang="0">
                <a:pos x="connsiteX41536" y="connsiteY41536"/>
              </a:cxn>
              <a:cxn ang="0">
                <a:pos x="connsiteX41537" y="connsiteY41537"/>
              </a:cxn>
              <a:cxn ang="0">
                <a:pos x="connsiteX41538" y="connsiteY41538"/>
              </a:cxn>
              <a:cxn ang="0">
                <a:pos x="connsiteX41539" y="connsiteY41539"/>
              </a:cxn>
              <a:cxn ang="0">
                <a:pos x="connsiteX41540" y="connsiteY41540"/>
              </a:cxn>
              <a:cxn ang="0">
                <a:pos x="connsiteX41541" y="connsiteY41541"/>
              </a:cxn>
              <a:cxn ang="0">
                <a:pos x="connsiteX41542" y="connsiteY41542"/>
              </a:cxn>
              <a:cxn ang="0">
                <a:pos x="connsiteX41543" y="connsiteY41543"/>
              </a:cxn>
              <a:cxn ang="0">
                <a:pos x="connsiteX41544" y="connsiteY41544"/>
              </a:cxn>
              <a:cxn ang="0">
                <a:pos x="connsiteX41545" y="connsiteY41545"/>
              </a:cxn>
              <a:cxn ang="0">
                <a:pos x="connsiteX41546" y="connsiteY41546"/>
              </a:cxn>
              <a:cxn ang="0">
                <a:pos x="connsiteX41547" y="connsiteY41547"/>
              </a:cxn>
              <a:cxn ang="0">
                <a:pos x="connsiteX41548" y="connsiteY41548"/>
              </a:cxn>
              <a:cxn ang="0">
                <a:pos x="connsiteX41549" y="connsiteY41549"/>
              </a:cxn>
              <a:cxn ang="0">
                <a:pos x="connsiteX41550" y="connsiteY41550"/>
              </a:cxn>
              <a:cxn ang="0">
                <a:pos x="connsiteX41551" y="connsiteY41551"/>
              </a:cxn>
              <a:cxn ang="0">
                <a:pos x="connsiteX41552" y="connsiteY41552"/>
              </a:cxn>
              <a:cxn ang="0">
                <a:pos x="connsiteX41553" y="connsiteY41553"/>
              </a:cxn>
              <a:cxn ang="0">
                <a:pos x="connsiteX41554" y="connsiteY41554"/>
              </a:cxn>
              <a:cxn ang="0">
                <a:pos x="connsiteX41555" y="connsiteY41555"/>
              </a:cxn>
              <a:cxn ang="0">
                <a:pos x="connsiteX41556" y="connsiteY41556"/>
              </a:cxn>
              <a:cxn ang="0">
                <a:pos x="connsiteX41557" y="connsiteY41557"/>
              </a:cxn>
              <a:cxn ang="0">
                <a:pos x="connsiteX41558" y="connsiteY41558"/>
              </a:cxn>
              <a:cxn ang="0">
                <a:pos x="connsiteX41559" y="connsiteY41559"/>
              </a:cxn>
              <a:cxn ang="0">
                <a:pos x="connsiteX41560" y="connsiteY41560"/>
              </a:cxn>
              <a:cxn ang="0">
                <a:pos x="connsiteX41561" y="connsiteY41561"/>
              </a:cxn>
              <a:cxn ang="0">
                <a:pos x="connsiteX41562" y="connsiteY41562"/>
              </a:cxn>
              <a:cxn ang="0">
                <a:pos x="connsiteX41563" y="connsiteY41563"/>
              </a:cxn>
              <a:cxn ang="0">
                <a:pos x="connsiteX41564" y="connsiteY41564"/>
              </a:cxn>
              <a:cxn ang="0">
                <a:pos x="connsiteX41565" y="connsiteY41565"/>
              </a:cxn>
              <a:cxn ang="0">
                <a:pos x="connsiteX41566" y="connsiteY41566"/>
              </a:cxn>
              <a:cxn ang="0">
                <a:pos x="connsiteX41567" y="connsiteY41567"/>
              </a:cxn>
              <a:cxn ang="0">
                <a:pos x="connsiteX41568" y="connsiteY41568"/>
              </a:cxn>
              <a:cxn ang="0">
                <a:pos x="connsiteX41569" y="connsiteY41569"/>
              </a:cxn>
              <a:cxn ang="0">
                <a:pos x="connsiteX41570" y="connsiteY41570"/>
              </a:cxn>
              <a:cxn ang="0">
                <a:pos x="connsiteX41571" y="connsiteY41571"/>
              </a:cxn>
              <a:cxn ang="0">
                <a:pos x="connsiteX41572" y="connsiteY41572"/>
              </a:cxn>
              <a:cxn ang="0">
                <a:pos x="connsiteX41573" y="connsiteY41573"/>
              </a:cxn>
              <a:cxn ang="0">
                <a:pos x="connsiteX41574" y="connsiteY41574"/>
              </a:cxn>
              <a:cxn ang="0">
                <a:pos x="connsiteX41575" y="connsiteY41575"/>
              </a:cxn>
              <a:cxn ang="0">
                <a:pos x="connsiteX41576" y="connsiteY41576"/>
              </a:cxn>
              <a:cxn ang="0">
                <a:pos x="connsiteX41577" y="connsiteY41577"/>
              </a:cxn>
              <a:cxn ang="0">
                <a:pos x="connsiteX41578" y="connsiteY41578"/>
              </a:cxn>
              <a:cxn ang="0">
                <a:pos x="connsiteX41579" y="connsiteY41579"/>
              </a:cxn>
              <a:cxn ang="0">
                <a:pos x="connsiteX41580" y="connsiteY41580"/>
              </a:cxn>
              <a:cxn ang="0">
                <a:pos x="connsiteX41581" y="connsiteY41581"/>
              </a:cxn>
              <a:cxn ang="0">
                <a:pos x="connsiteX41582" y="connsiteY41582"/>
              </a:cxn>
              <a:cxn ang="0">
                <a:pos x="connsiteX41583" y="connsiteY41583"/>
              </a:cxn>
              <a:cxn ang="0">
                <a:pos x="connsiteX41584" y="connsiteY41584"/>
              </a:cxn>
              <a:cxn ang="0">
                <a:pos x="connsiteX41585" y="connsiteY41585"/>
              </a:cxn>
              <a:cxn ang="0">
                <a:pos x="connsiteX41586" y="connsiteY41586"/>
              </a:cxn>
              <a:cxn ang="0">
                <a:pos x="connsiteX41587" y="connsiteY41587"/>
              </a:cxn>
              <a:cxn ang="0">
                <a:pos x="connsiteX41588" y="connsiteY41588"/>
              </a:cxn>
              <a:cxn ang="0">
                <a:pos x="connsiteX41589" y="connsiteY41589"/>
              </a:cxn>
              <a:cxn ang="0">
                <a:pos x="connsiteX41590" y="connsiteY41590"/>
              </a:cxn>
              <a:cxn ang="0">
                <a:pos x="connsiteX41591" y="connsiteY41591"/>
              </a:cxn>
              <a:cxn ang="0">
                <a:pos x="connsiteX41592" y="connsiteY41592"/>
              </a:cxn>
              <a:cxn ang="0">
                <a:pos x="connsiteX41593" y="connsiteY41593"/>
              </a:cxn>
              <a:cxn ang="0">
                <a:pos x="connsiteX41594" y="connsiteY41594"/>
              </a:cxn>
              <a:cxn ang="0">
                <a:pos x="connsiteX41595" y="connsiteY41595"/>
              </a:cxn>
              <a:cxn ang="0">
                <a:pos x="connsiteX41596" y="connsiteY41596"/>
              </a:cxn>
              <a:cxn ang="0">
                <a:pos x="connsiteX41597" y="connsiteY41597"/>
              </a:cxn>
              <a:cxn ang="0">
                <a:pos x="connsiteX41598" y="connsiteY41598"/>
              </a:cxn>
              <a:cxn ang="0">
                <a:pos x="connsiteX41599" y="connsiteY41599"/>
              </a:cxn>
              <a:cxn ang="0">
                <a:pos x="connsiteX41600" y="connsiteY41600"/>
              </a:cxn>
              <a:cxn ang="0">
                <a:pos x="connsiteX41601" y="connsiteY41601"/>
              </a:cxn>
              <a:cxn ang="0">
                <a:pos x="connsiteX41602" y="connsiteY41602"/>
              </a:cxn>
              <a:cxn ang="0">
                <a:pos x="connsiteX41603" y="connsiteY41603"/>
              </a:cxn>
              <a:cxn ang="0">
                <a:pos x="connsiteX41604" y="connsiteY41604"/>
              </a:cxn>
              <a:cxn ang="0">
                <a:pos x="connsiteX41605" y="connsiteY41605"/>
              </a:cxn>
              <a:cxn ang="0">
                <a:pos x="connsiteX41606" y="connsiteY41606"/>
              </a:cxn>
              <a:cxn ang="0">
                <a:pos x="connsiteX41607" y="connsiteY41607"/>
              </a:cxn>
              <a:cxn ang="0">
                <a:pos x="connsiteX41608" y="connsiteY41608"/>
              </a:cxn>
              <a:cxn ang="0">
                <a:pos x="connsiteX41609" y="connsiteY41609"/>
              </a:cxn>
              <a:cxn ang="0">
                <a:pos x="connsiteX41610" y="connsiteY41610"/>
              </a:cxn>
              <a:cxn ang="0">
                <a:pos x="connsiteX41611" y="connsiteY41611"/>
              </a:cxn>
              <a:cxn ang="0">
                <a:pos x="connsiteX41612" y="connsiteY41612"/>
              </a:cxn>
              <a:cxn ang="0">
                <a:pos x="connsiteX41613" y="connsiteY41613"/>
              </a:cxn>
              <a:cxn ang="0">
                <a:pos x="connsiteX41614" y="connsiteY41614"/>
              </a:cxn>
              <a:cxn ang="0">
                <a:pos x="connsiteX41615" y="connsiteY41615"/>
              </a:cxn>
              <a:cxn ang="0">
                <a:pos x="connsiteX41616" y="connsiteY41616"/>
              </a:cxn>
              <a:cxn ang="0">
                <a:pos x="connsiteX41617" y="connsiteY41617"/>
              </a:cxn>
              <a:cxn ang="0">
                <a:pos x="connsiteX41618" y="connsiteY41618"/>
              </a:cxn>
              <a:cxn ang="0">
                <a:pos x="connsiteX41619" y="connsiteY41619"/>
              </a:cxn>
              <a:cxn ang="0">
                <a:pos x="connsiteX41620" y="connsiteY41620"/>
              </a:cxn>
              <a:cxn ang="0">
                <a:pos x="connsiteX41621" y="connsiteY41621"/>
              </a:cxn>
              <a:cxn ang="0">
                <a:pos x="connsiteX41622" y="connsiteY41622"/>
              </a:cxn>
              <a:cxn ang="0">
                <a:pos x="connsiteX41623" y="connsiteY41623"/>
              </a:cxn>
              <a:cxn ang="0">
                <a:pos x="connsiteX41624" y="connsiteY41624"/>
              </a:cxn>
              <a:cxn ang="0">
                <a:pos x="connsiteX41625" y="connsiteY41625"/>
              </a:cxn>
              <a:cxn ang="0">
                <a:pos x="connsiteX41626" y="connsiteY41626"/>
              </a:cxn>
              <a:cxn ang="0">
                <a:pos x="connsiteX41627" y="connsiteY41627"/>
              </a:cxn>
              <a:cxn ang="0">
                <a:pos x="connsiteX41628" y="connsiteY41628"/>
              </a:cxn>
              <a:cxn ang="0">
                <a:pos x="connsiteX41629" y="connsiteY41629"/>
              </a:cxn>
              <a:cxn ang="0">
                <a:pos x="connsiteX41630" y="connsiteY41630"/>
              </a:cxn>
              <a:cxn ang="0">
                <a:pos x="connsiteX41631" y="connsiteY41631"/>
              </a:cxn>
              <a:cxn ang="0">
                <a:pos x="connsiteX41632" y="connsiteY41632"/>
              </a:cxn>
              <a:cxn ang="0">
                <a:pos x="connsiteX41633" y="connsiteY41633"/>
              </a:cxn>
              <a:cxn ang="0">
                <a:pos x="connsiteX41634" y="connsiteY41634"/>
              </a:cxn>
              <a:cxn ang="0">
                <a:pos x="connsiteX41635" y="connsiteY41635"/>
              </a:cxn>
              <a:cxn ang="0">
                <a:pos x="connsiteX41636" y="connsiteY41636"/>
              </a:cxn>
              <a:cxn ang="0">
                <a:pos x="connsiteX41637" y="connsiteY41637"/>
              </a:cxn>
              <a:cxn ang="0">
                <a:pos x="connsiteX41638" y="connsiteY41638"/>
              </a:cxn>
              <a:cxn ang="0">
                <a:pos x="connsiteX41639" y="connsiteY41639"/>
              </a:cxn>
              <a:cxn ang="0">
                <a:pos x="connsiteX41640" y="connsiteY41640"/>
              </a:cxn>
              <a:cxn ang="0">
                <a:pos x="connsiteX41641" y="connsiteY41641"/>
              </a:cxn>
              <a:cxn ang="0">
                <a:pos x="connsiteX41642" y="connsiteY41642"/>
              </a:cxn>
              <a:cxn ang="0">
                <a:pos x="connsiteX41643" y="connsiteY41643"/>
              </a:cxn>
              <a:cxn ang="0">
                <a:pos x="connsiteX41644" y="connsiteY41644"/>
              </a:cxn>
              <a:cxn ang="0">
                <a:pos x="connsiteX41645" y="connsiteY41645"/>
              </a:cxn>
              <a:cxn ang="0">
                <a:pos x="connsiteX41646" y="connsiteY41646"/>
              </a:cxn>
              <a:cxn ang="0">
                <a:pos x="connsiteX41647" y="connsiteY41647"/>
              </a:cxn>
              <a:cxn ang="0">
                <a:pos x="connsiteX41648" y="connsiteY41648"/>
              </a:cxn>
              <a:cxn ang="0">
                <a:pos x="connsiteX41649" y="connsiteY41649"/>
              </a:cxn>
              <a:cxn ang="0">
                <a:pos x="connsiteX41650" y="connsiteY41650"/>
              </a:cxn>
              <a:cxn ang="0">
                <a:pos x="connsiteX41651" y="connsiteY41651"/>
              </a:cxn>
              <a:cxn ang="0">
                <a:pos x="connsiteX41652" y="connsiteY41652"/>
              </a:cxn>
              <a:cxn ang="0">
                <a:pos x="connsiteX41653" y="connsiteY41653"/>
              </a:cxn>
              <a:cxn ang="0">
                <a:pos x="connsiteX41654" y="connsiteY41654"/>
              </a:cxn>
              <a:cxn ang="0">
                <a:pos x="connsiteX41655" y="connsiteY41655"/>
              </a:cxn>
              <a:cxn ang="0">
                <a:pos x="connsiteX41656" y="connsiteY41656"/>
              </a:cxn>
              <a:cxn ang="0">
                <a:pos x="connsiteX41657" y="connsiteY41657"/>
              </a:cxn>
              <a:cxn ang="0">
                <a:pos x="connsiteX41658" y="connsiteY41658"/>
              </a:cxn>
              <a:cxn ang="0">
                <a:pos x="connsiteX41659" y="connsiteY41659"/>
              </a:cxn>
              <a:cxn ang="0">
                <a:pos x="connsiteX41660" y="connsiteY41660"/>
              </a:cxn>
              <a:cxn ang="0">
                <a:pos x="connsiteX41661" y="connsiteY41661"/>
              </a:cxn>
              <a:cxn ang="0">
                <a:pos x="connsiteX41662" y="connsiteY41662"/>
              </a:cxn>
              <a:cxn ang="0">
                <a:pos x="connsiteX41663" y="connsiteY41663"/>
              </a:cxn>
              <a:cxn ang="0">
                <a:pos x="connsiteX41664" y="connsiteY41664"/>
              </a:cxn>
              <a:cxn ang="0">
                <a:pos x="connsiteX41665" y="connsiteY41665"/>
              </a:cxn>
              <a:cxn ang="0">
                <a:pos x="connsiteX41666" y="connsiteY41666"/>
              </a:cxn>
              <a:cxn ang="0">
                <a:pos x="connsiteX41667" y="connsiteY41667"/>
              </a:cxn>
              <a:cxn ang="0">
                <a:pos x="connsiteX41668" y="connsiteY41668"/>
              </a:cxn>
              <a:cxn ang="0">
                <a:pos x="connsiteX41669" y="connsiteY41669"/>
              </a:cxn>
              <a:cxn ang="0">
                <a:pos x="connsiteX41670" y="connsiteY41670"/>
              </a:cxn>
              <a:cxn ang="0">
                <a:pos x="connsiteX41671" y="connsiteY41671"/>
              </a:cxn>
              <a:cxn ang="0">
                <a:pos x="connsiteX41672" y="connsiteY41672"/>
              </a:cxn>
              <a:cxn ang="0">
                <a:pos x="connsiteX41673" y="connsiteY41673"/>
              </a:cxn>
              <a:cxn ang="0">
                <a:pos x="connsiteX41674" y="connsiteY41674"/>
              </a:cxn>
              <a:cxn ang="0">
                <a:pos x="connsiteX41675" y="connsiteY41675"/>
              </a:cxn>
              <a:cxn ang="0">
                <a:pos x="connsiteX41676" y="connsiteY41676"/>
              </a:cxn>
              <a:cxn ang="0">
                <a:pos x="connsiteX41677" y="connsiteY41677"/>
              </a:cxn>
              <a:cxn ang="0">
                <a:pos x="connsiteX41678" y="connsiteY41678"/>
              </a:cxn>
              <a:cxn ang="0">
                <a:pos x="connsiteX41679" y="connsiteY41679"/>
              </a:cxn>
              <a:cxn ang="0">
                <a:pos x="connsiteX41680" y="connsiteY41680"/>
              </a:cxn>
              <a:cxn ang="0">
                <a:pos x="connsiteX41681" y="connsiteY41681"/>
              </a:cxn>
              <a:cxn ang="0">
                <a:pos x="connsiteX41682" y="connsiteY41682"/>
              </a:cxn>
              <a:cxn ang="0">
                <a:pos x="connsiteX41683" y="connsiteY41683"/>
              </a:cxn>
              <a:cxn ang="0">
                <a:pos x="connsiteX41684" y="connsiteY41684"/>
              </a:cxn>
              <a:cxn ang="0">
                <a:pos x="connsiteX41685" y="connsiteY41685"/>
              </a:cxn>
              <a:cxn ang="0">
                <a:pos x="connsiteX41686" y="connsiteY41686"/>
              </a:cxn>
              <a:cxn ang="0">
                <a:pos x="connsiteX41687" y="connsiteY41687"/>
              </a:cxn>
              <a:cxn ang="0">
                <a:pos x="connsiteX41688" y="connsiteY41688"/>
              </a:cxn>
              <a:cxn ang="0">
                <a:pos x="connsiteX41689" y="connsiteY41689"/>
              </a:cxn>
              <a:cxn ang="0">
                <a:pos x="connsiteX41690" y="connsiteY41690"/>
              </a:cxn>
              <a:cxn ang="0">
                <a:pos x="connsiteX41691" y="connsiteY41691"/>
              </a:cxn>
              <a:cxn ang="0">
                <a:pos x="connsiteX41692" y="connsiteY41692"/>
              </a:cxn>
              <a:cxn ang="0">
                <a:pos x="connsiteX41693" y="connsiteY41693"/>
              </a:cxn>
              <a:cxn ang="0">
                <a:pos x="connsiteX41694" y="connsiteY41694"/>
              </a:cxn>
              <a:cxn ang="0">
                <a:pos x="connsiteX41695" y="connsiteY41695"/>
              </a:cxn>
              <a:cxn ang="0">
                <a:pos x="connsiteX41696" y="connsiteY41696"/>
              </a:cxn>
              <a:cxn ang="0">
                <a:pos x="connsiteX41697" y="connsiteY41697"/>
              </a:cxn>
              <a:cxn ang="0">
                <a:pos x="connsiteX41698" y="connsiteY41698"/>
              </a:cxn>
              <a:cxn ang="0">
                <a:pos x="connsiteX41699" y="connsiteY41699"/>
              </a:cxn>
              <a:cxn ang="0">
                <a:pos x="connsiteX41700" y="connsiteY41700"/>
              </a:cxn>
              <a:cxn ang="0">
                <a:pos x="connsiteX41701" y="connsiteY41701"/>
              </a:cxn>
              <a:cxn ang="0">
                <a:pos x="connsiteX41702" y="connsiteY41702"/>
              </a:cxn>
              <a:cxn ang="0">
                <a:pos x="connsiteX41703" y="connsiteY41703"/>
              </a:cxn>
              <a:cxn ang="0">
                <a:pos x="connsiteX41704" y="connsiteY41704"/>
              </a:cxn>
              <a:cxn ang="0">
                <a:pos x="connsiteX41705" y="connsiteY41705"/>
              </a:cxn>
              <a:cxn ang="0">
                <a:pos x="connsiteX41706" y="connsiteY41706"/>
              </a:cxn>
              <a:cxn ang="0">
                <a:pos x="connsiteX41707" y="connsiteY41707"/>
              </a:cxn>
              <a:cxn ang="0">
                <a:pos x="connsiteX41708" y="connsiteY41708"/>
              </a:cxn>
              <a:cxn ang="0">
                <a:pos x="connsiteX41709" y="connsiteY41709"/>
              </a:cxn>
              <a:cxn ang="0">
                <a:pos x="connsiteX41710" y="connsiteY41710"/>
              </a:cxn>
              <a:cxn ang="0">
                <a:pos x="connsiteX41711" y="connsiteY41711"/>
              </a:cxn>
              <a:cxn ang="0">
                <a:pos x="connsiteX41712" y="connsiteY41712"/>
              </a:cxn>
              <a:cxn ang="0">
                <a:pos x="connsiteX41713" y="connsiteY41713"/>
              </a:cxn>
              <a:cxn ang="0">
                <a:pos x="connsiteX41714" y="connsiteY41714"/>
              </a:cxn>
              <a:cxn ang="0">
                <a:pos x="connsiteX41715" y="connsiteY41715"/>
              </a:cxn>
              <a:cxn ang="0">
                <a:pos x="connsiteX41716" y="connsiteY41716"/>
              </a:cxn>
              <a:cxn ang="0">
                <a:pos x="connsiteX41717" y="connsiteY41717"/>
              </a:cxn>
              <a:cxn ang="0">
                <a:pos x="connsiteX41718" y="connsiteY41718"/>
              </a:cxn>
              <a:cxn ang="0">
                <a:pos x="connsiteX41719" y="connsiteY41719"/>
              </a:cxn>
              <a:cxn ang="0">
                <a:pos x="connsiteX41720" y="connsiteY41720"/>
              </a:cxn>
              <a:cxn ang="0">
                <a:pos x="connsiteX41721" y="connsiteY41721"/>
              </a:cxn>
              <a:cxn ang="0">
                <a:pos x="connsiteX41722" y="connsiteY41722"/>
              </a:cxn>
              <a:cxn ang="0">
                <a:pos x="connsiteX41723" y="connsiteY41723"/>
              </a:cxn>
              <a:cxn ang="0">
                <a:pos x="connsiteX41724" y="connsiteY41724"/>
              </a:cxn>
              <a:cxn ang="0">
                <a:pos x="connsiteX41725" y="connsiteY41725"/>
              </a:cxn>
              <a:cxn ang="0">
                <a:pos x="connsiteX41726" y="connsiteY41726"/>
              </a:cxn>
              <a:cxn ang="0">
                <a:pos x="connsiteX41727" y="connsiteY41727"/>
              </a:cxn>
              <a:cxn ang="0">
                <a:pos x="connsiteX41728" y="connsiteY41728"/>
              </a:cxn>
              <a:cxn ang="0">
                <a:pos x="connsiteX41729" y="connsiteY41729"/>
              </a:cxn>
              <a:cxn ang="0">
                <a:pos x="connsiteX41730" y="connsiteY41730"/>
              </a:cxn>
              <a:cxn ang="0">
                <a:pos x="connsiteX41731" y="connsiteY41731"/>
              </a:cxn>
              <a:cxn ang="0">
                <a:pos x="connsiteX41732" y="connsiteY41732"/>
              </a:cxn>
              <a:cxn ang="0">
                <a:pos x="connsiteX41733" y="connsiteY41733"/>
              </a:cxn>
              <a:cxn ang="0">
                <a:pos x="connsiteX41734" y="connsiteY41734"/>
              </a:cxn>
              <a:cxn ang="0">
                <a:pos x="connsiteX41735" y="connsiteY41735"/>
              </a:cxn>
              <a:cxn ang="0">
                <a:pos x="connsiteX41736" y="connsiteY41736"/>
              </a:cxn>
              <a:cxn ang="0">
                <a:pos x="connsiteX41737" y="connsiteY41737"/>
              </a:cxn>
              <a:cxn ang="0">
                <a:pos x="connsiteX41738" y="connsiteY41738"/>
              </a:cxn>
              <a:cxn ang="0">
                <a:pos x="connsiteX41739" y="connsiteY41739"/>
              </a:cxn>
              <a:cxn ang="0">
                <a:pos x="connsiteX41740" y="connsiteY41740"/>
              </a:cxn>
              <a:cxn ang="0">
                <a:pos x="connsiteX41741" y="connsiteY41741"/>
              </a:cxn>
              <a:cxn ang="0">
                <a:pos x="connsiteX41742" y="connsiteY41742"/>
              </a:cxn>
              <a:cxn ang="0">
                <a:pos x="connsiteX41743" y="connsiteY41743"/>
              </a:cxn>
              <a:cxn ang="0">
                <a:pos x="connsiteX41744" y="connsiteY41744"/>
              </a:cxn>
              <a:cxn ang="0">
                <a:pos x="connsiteX41745" y="connsiteY41745"/>
              </a:cxn>
              <a:cxn ang="0">
                <a:pos x="connsiteX41746" y="connsiteY41746"/>
              </a:cxn>
              <a:cxn ang="0">
                <a:pos x="connsiteX41747" y="connsiteY41747"/>
              </a:cxn>
              <a:cxn ang="0">
                <a:pos x="connsiteX41748" y="connsiteY41748"/>
              </a:cxn>
              <a:cxn ang="0">
                <a:pos x="connsiteX41749" y="connsiteY41749"/>
              </a:cxn>
              <a:cxn ang="0">
                <a:pos x="connsiteX41750" y="connsiteY41750"/>
              </a:cxn>
              <a:cxn ang="0">
                <a:pos x="connsiteX41751" y="connsiteY41751"/>
              </a:cxn>
              <a:cxn ang="0">
                <a:pos x="connsiteX41752" y="connsiteY41752"/>
              </a:cxn>
              <a:cxn ang="0">
                <a:pos x="connsiteX41753" y="connsiteY41753"/>
              </a:cxn>
              <a:cxn ang="0">
                <a:pos x="connsiteX41754" y="connsiteY41754"/>
              </a:cxn>
              <a:cxn ang="0">
                <a:pos x="connsiteX41755" y="connsiteY41755"/>
              </a:cxn>
              <a:cxn ang="0">
                <a:pos x="connsiteX41756" y="connsiteY41756"/>
              </a:cxn>
              <a:cxn ang="0">
                <a:pos x="connsiteX41757" y="connsiteY41757"/>
              </a:cxn>
              <a:cxn ang="0">
                <a:pos x="connsiteX41758" y="connsiteY41758"/>
              </a:cxn>
              <a:cxn ang="0">
                <a:pos x="connsiteX41759" y="connsiteY41759"/>
              </a:cxn>
              <a:cxn ang="0">
                <a:pos x="connsiteX41760" y="connsiteY41760"/>
              </a:cxn>
              <a:cxn ang="0">
                <a:pos x="connsiteX41761" y="connsiteY41761"/>
              </a:cxn>
              <a:cxn ang="0">
                <a:pos x="connsiteX41762" y="connsiteY41762"/>
              </a:cxn>
              <a:cxn ang="0">
                <a:pos x="connsiteX41763" y="connsiteY41763"/>
              </a:cxn>
              <a:cxn ang="0">
                <a:pos x="connsiteX41764" y="connsiteY41764"/>
              </a:cxn>
              <a:cxn ang="0">
                <a:pos x="connsiteX41765" y="connsiteY41765"/>
              </a:cxn>
              <a:cxn ang="0">
                <a:pos x="connsiteX41766" y="connsiteY41766"/>
              </a:cxn>
              <a:cxn ang="0">
                <a:pos x="connsiteX41767" y="connsiteY41767"/>
              </a:cxn>
              <a:cxn ang="0">
                <a:pos x="connsiteX41768" y="connsiteY41768"/>
              </a:cxn>
              <a:cxn ang="0">
                <a:pos x="connsiteX41769" y="connsiteY41769"/>
              </a:cxn>
              <a:cxn ang="0">
                <a:pos x="connsiteX41770" y="connsiteY41770"/>
              </a:cxn>
              <a:cxn ang="0">
                <a:pos x="connsiteX41771" y="connsiteY41771"/>
              </a:cxn>
              <a:cxn ang="0">
                <a:pos x="connsiteX41772" y="connsiteY41772"/>
              </a:cxn>
              <a:cxn ang="0">
                <a:pos x="connsiteX41773" y="connsiteY41773"/>
              </a:cxn>
              <a:cxn ang="0">
                <a:pos x="connsiteX41774" y="connsiteY41774"/>
              </a:cxn>
              <a:cxn ang="0">
                <a:pos x="connsiteX41775" y="connsiteY41775"/>
              </a:cxn>
              <a:cxn ang="0">
                <a:pos x="connsiteX41776" y="connsiteY41776"/>
              </a:cxn>
              <a:cxn ang="0">
                <a:pos x="connsiteX41777" y="connsiteY41777"/>
              </a:cxn>
              <a:cxn ang="0">
                <a:pos x="connsiteX41778" y="connsiteY41778"/>
              </a:cxn>
              <a:cxn ang="0">
                <a:pos x="connsiteX41779" y="connsiteY41779"/>
              </a:cxn>
              <a:cxn ang="0">
                <a:pos x="connsiteX41780" y="connsiteY41780"/>
              </a:cxn>
              <a:cxn ang="0">
                <a:pos x="connsiteX41781" y="connsiteY41781"/>
              </a:cxn>
              <a:cxn ang="0">
                <a:pos x="connsiteX41782" y="connsiteY41782"/>
              </a:cxn>
              <a:cxn ang="0">
                <a:pos x="connsiteX41783" y="connsiteY41783"/>
              </a:cxn>
              <a:cxn ang="0">
                <a:pos x="connsiteX41784" y="connsiteY41784"/>
              </a:cxn>
              <a:cxn ang="0">
                <a:pos x="connsiteX41785" y="connsiteY41785"/>
              </a:cxn>
              <a:cxn ang="0">
                <a:pos x="connsiteX41786" y="connsiteY41786"/>
              </a:cxn>
              <a:cxn ang="0">
                <a:pos x="connsiteX41787" y="connsiteY41787"/>
              </a:cxn>
              <a:cxn ang="0">
                <a:pos x="connsiteX41788" y="connsiteY41788"/>
              </a:cxn>
              <a:cxn ang="0">
                <a:pos x="connsiteX41789" y="connsiteY41789"/>
              </a:cxn>
              <a:cxn ang="0">
                <a:pos x="connsiteX41790" y="connsiteY41790"/>
              </a:cxn>
              <a:cxn ang="0">
                <a:pos x="connsiteX41791" y="connsiteY41791"/>
              </a:cxn>
              <a:cxn ang="0">
                <a:pos x="connsiteX41792" y="connsiteY41792"/>
              </a:cxn>
              <a:cxn ang="0">
                <a:pos x="connsiteX41793" y="connsiteY41793"/>
              </a:cxn>
              <a:cxn ang="0">
                <a:pos x="connsiteX41794" y="connsiteY41794"/>
              </a:cxn>
              <a:cxn ang="0">
                <a:pos x="connsiteX41795" y="connsiteY41795"/>
              </a:cxn>
              <a:cxn ang="0">
                <a:pos x="connsiteX41796" y="connsiteY41796"/>
              </a:cxn>
              <a:cxn ang="0">
                <a:pos x="connsiteX41797" y="connsiteY41797"/>
              </a:cxn>
              <a:cxn ang="0">
                <a:pos x="connsiteX41798" y="connsiteY41798"/>
              </a:cxn>
              <a:cxn ang="0">
                <a:pos x="connsiteX41799" y="connsiteY41799"/>
              </a:cxn>
              <a:cxn ang="0">
                <a:pos x="connsiteX41800" y="connsiteY41800"/>
              </a:cxn>
              <a:cxn ang="0">
                <a:pos x="connsiteX41801" y="connsiteY41801"/>
              </a:cxn>
              <a:cxn ang="0">
                <a:pos x="connsiteX41802" y="connsiteY41802"/>
              </a:cxn>
              <a:cxn ang="0">
                <a:pos x="connsiteX41803" y="connsiteY41803"/>
              </a:cxn>
              <a:cxn ang="0">
                <a:pos x="connsiteX41804" y="connsiteY41804"/>
              </a:cxn>
              <a:cxn ang="0">
                <a:pos x="connsiteX41805" y="connsiteY41805"/>
              </a:cxn>
              <a:cxn ang="0">
                <a:pos x="connsiteX41806" y="connsiteY41806"/>
              </a:cxn>
              <a:cxn ang="0">
                <a:pos x="connsiteX41807" y="connsiteY41807"/>
              </a:cxn>
              <a:cxn ang="0">
                <a:pos x="connsiteX41808" y="connsiteY41808"/>
              </a:cxn>
              <a:cxn ang="0">
                <a:pos x="connsiteX41809" y="connsiteY41809"/>
              </a:cxn>
              <a:cxn ang="0">
                <a:pos x="connsiteX41810" y="connsiteY41810"/>
              </a:cxn>
              <a:cxn ang="0">
                <a:pos x="connsiteX41811" y="connsiteY41811"/>
              </a:cxn>
              <a:cxn ang="0">
                <a:pos x="connsiteX41812" y="connsiteY41812"/>
              </a:cxn>
              <a:cxn ang="0">
                <a:pos x="connsiteX41813" y="connsiteY41813"/>
              </a:cxn>
              <a:cxn ang="0">
                <a:pos x="connsiteX41814" y="connsiteY41814"/>
              </a:cxn>
              <a:cxn ang="0">
                <a:pos x="connsiteX41815" y="connsiteY41815"/>
              </a:cxn>
              <a:cxn ang="0">
                <a:pos x="connsiteX41816" y="connsiteY41816"/>
              </a:cxn>
              <a:cxn ang="0">
                <a:pos x="connsiteX41817" y="connsiteY41817"/>
              </a:cxn>
              <a:cxn ang="0">
                <a:pos x="connsiteX41818" y="connsiteY41818"/>
              </a:cxn>
              <a:cxn ang="0">
                <a:pos x="connsiteX41819" y="connsiteY41819"/>
              </a:cxn>
              <a:cxn ang="0">
                <a:pos x="connsiteX41820" y="connsiteY41820"/>
              </a:cxn>
              <a:cxn ang="0">
                <a:pos x="connsiteX41821" y="connsiteY41821"/>
              </a:cxn>
              <a:cxn ang="0">
                <a:pos x="connsiteX41822" y="connsiteY41822"/>
              </a:cxn>
              <a:cxn ang="0">
                <a:pos x="connsiteX41823" y="connsiteY41823"/>
              </a:cxn>
              <a:cxn ang="0">
                <a:pos x="connsiteX41824" y="connsiteY41824"/>
              </a:cxn>
              <a:cxn ang="0">
                <a:pos x="connsiteX41825" y="connsiteY41825"/>
              </a:cxn>
              <a:cxn ang="0">
                <a:pos x="connsiteX41826" y="connsiteY41826"/>
              </a:cxn>
              <a:cxn ang="0">
                <a:pos x="connsiteX41827" y="connsiteY41827"/>
              </a:cxn>
              <a:cxn ang="0">
                <a:pos x="connsiteX41828" y="connsiteY41828"/>
              </a:cxn>
              <a:cxn ang="0">
                <a:pos x="connsiteX41829" y="connsiteY41829"/>
              </a:cxn>
              <a:cxn ang="0">
                <a:pos x="connsiteX41830" y="connsiteY41830"/>
              </a:cxn>
              <a:cxn ang="0">
                <a:pos x="connsiteX41831" y="connsiteY41831"/>
              </a:cxn>
              <a:cxn ang="0">
                <a:pos x="connsiteX41832" y="connsiteY41832"/>
              </a:cxn>
              <a:cxn ang="0">
                <a:pos x="connsiteX41833" y="connsiteY41833"/>
              </a:cxn>
              <a:cxn ang="0">
                <a:pos x="connsiteX41834" y="connsiteY41834"/>
              </a:cxn>
              <a:cxn ang="0">
                <a:pos x="connsiteX41835" y="connsiteY41835"/>
              </a:cxn>
              <a:cxn ang="0">
                <a:pos x="connsiteX41836" y="connsiteY41836"/>
              </a:cxn>
              <a:cxn ang="0">
                <a:pos x="connsiteX41837" y="connsiteY41837"/>
              </a:cxn>
              <a:cxn ang="0">
                <a:pos x="connsiteX41838" y="connsiteY41838"/>
              </a:cxn>
              <a:cxn ang="0">
                <a:pos x="connsiteX41839" y="connsiteY41839"/>
              </a:cxn>
              <a:cxn ang="0">
                <a:pos x="connsiteX41840" y="connsiteY41840"/>
              </a:cxn>
              <a:cxn ang="0">
                <a:pos x="connsiteX41841" y="connsiteY41841"/>
              </a:cxn>
              <a:cxn ang="0">
                <a:pos x="connsiteX41842" y="connsiteY41842"/>
              </a:cxn>
              <a:cxn ang="0">
                <a:pos x="connsiteX41843" y="connsiteY41843"/>
              </a:cxn>
              <a:cxn ang="0">
                <a:pos x="connsiteX41844" y="connsiteY41844"/>
              </a:cxn>
              <a:cxn ang="0">
                <a:pos x="connsiteX41845" y="connsiteY41845"/>
              </a:cxn>
              <a:cxn ang="0">
                <a:pos x="connsiteX41846" y="connsiteY41846"/>
              </a:cxn>
              <a:cxn ang="0">
                <a:pos x="connsiteX41847" y="connsiteY41847"/>
              </a:cxn>
              <a:cxn ang="0">
                <a:pos x="connsiteX41848" y="connsiteY41848"/>
              </a:cxn>
              <a:cxn ang="0">
                <a:pos x="connsiteX41849" y="connsiteY41849"/>
              </a:cxn>
              <a:cxn ang="0">
                <a:pos x="connsiteX41850" y="connsiteY41850"/>
              </a:cxn>
              <a:cxn ang="0">
                <a:pos x="connsiteX41851" y="connsiteY41851"/>
              </a:cxn>
              <a:cxn ang="0">
                <a:pos x="connsiteX41852" y="connsiteY41852"/>
              </a:cxn>
              <a:cxn ang="0">
                <a:pos x="connsiteX41853" y="connsiteY41853"/>
              </a:cxn>
              <a:cxn ang="0">
                <a:pos x="connsiteX41854" y="connsiteY41854"/>
              </a:cxn>
              <a:cxn ang="0">
                <a:pos x="connsiteX41855" y="connsiteY41855"/>
              </a:cxn>
              <a:cxn ang="0">
                <a:pos x="connsiteX41856" y="connsiteY41856"/>
              </a:cxn>
              <a:cxn ang="0">
                <a:pos x="connsiteX41857" y="connsiteY41857"/>
              </a:cxn>
              <a:cxn ang="0">
                <a:pos x="connsiteX41858" y="connsiteY41858"/>
              </a:cxn>
              <a:cxn ang="0">
                <a:pos x="connsiteX41859" y="connsiteY41859"/>
              </a:cxn>
              <a:cxn ang="0">
                <a:pos x="connsiteX41860" y="connsiteY41860"/>
              </a:cxn>
              <a:cxn ang="0">
                <a:pos x="connsiteX41861" y="connsiteY41861"/>
              </a:cxn>
              <a:cxn ang="0">
                <a:pos x="connsiteX41862" y="connsiteY41862"/>
              </a:cxn>
              <a:cxn ang="0">
                <a:pos x="connsiteX41863" y="connsiteY41863"/>
              </a:cxn>
              <a:cxn ang="0">
                <a:pos x="connsiteX41864" y="connsiteY41864"/>
              </a:cxn>
              <a:cxn ang="0">
                <a:pos x="connsiteX41865" y="connsiteY41865"/>
              </a:cxn>
              <a:cxn ang="0">
                <a:pos x="connsiteX41866" y="connsiteY41866"/>
              </a:cxn>
              <a:cxn ang="0">
                <a:pos x="connsiteX41867" y="connsiteY41867"/>
              </a:cxn>
              <a:cxn ang="0">
                <a:pos x="connsiteX41868" y="connsiteY41868"/>
              </a:cxn>
              <a:cxn ang="0">
                <a:pos x="connsiteX41869" y="connsiteY41869"/>
              </a:cxn>
              <a:cxn ang="0">
                <a:pos x="connsiteX41870" y="connsiteY41870"/>
              </a:cxn>
              <a:cxn ang="0">
                <a:pos x="connsiteX41871" y="connsiteY41871"/>
              </a:cxn>
              <a:cxn ang="0">
                <a:pos x="connsiteX41872" y="connsiteY41872"/>
              </a:cxn>
              <a:cxn ang="0">
                <a:pos x="connsiteX41873" y="connsiteY41873"/>
              </a:cxn>
              <a:cxn ang="0">
                <a:pos x="connsiteX41874" y="connsiteY41874"/>
              </a:cxn>
              <a:cxn ang="0">
                <a:pos x="connsiteX41875" y="connsiteY41875"/>
              </a:cxn>
              <a:cxn ang="0">
                <a:pos x="connsiteX41876" y="connsiteY41876"/>
              </a:cxn>
              <a:cxn ang="0">
                <a:pos x="connsiteX41877" y="connsiteY41877"/>
              </a:cxn>
              <a:cxn ang="0">
                <a:pos x="connsiteX41878" y="connsiteY41878"/>
              </a:cxn>
              <a:cxn ang="0">
                <a:pos x="connsiteX41879" y="connsiteY41879"/>
              </a:cxn>
              <a:cxn ang="0">
                <a:pos x="connsiteX41880" y="connsiteY41880"/>
              </a:cxn>
              <a:cxn ang="0">
                <a:pos x="connsiteX41881" y="connsiteY41881"/>
              </a:cxn>
              <a:cxn ang="0">
                <a:pos x="connsiteX41882" y="connsiteY41882"/>
              </a:cxn>
              <a:cxn ang="0">
                <a:pos x="connsiteX41883" y="connsiteY41883"/>
              </a:cxn>
              <a:cxn ang="0">
                <a:pos x="connsiteX41884" y="connsiteY41884"/>
              </a:cxn>
              <a:cxn ang="0">
                <a:pos x="connsiteX41885" y="connsiteY41885"/>
              </a:cxn>
              <a:cxn ang="0">
                <a:pos x="connsiteX41886" y="connsiteY41886"/>
              </a:cxn>
              <a:cxn ang="0">
                <a:pos x="connsiteX41887" y="connsiteY41887"/>
              </a:cxn>
              <a:cxn ang="0">
                <a:pos x="connsiteX41888" y="connsiteY41888"/>
              </a:cxn>
              <a:cxn ang="0">
                <a:pos x="connsiteX41889" y="connsiteY41889"/>
              </a:cxn>
              <a:cxn ang="0">
                <a:pos x="connsiteX41890" y="connsiteY41890"/>
              </a:cxn>
              <a:cxn ang="0">
                <a:pos x="connsiteX41891" y="connsiteY41891"/>
              </a:cxn>
              <a:cxn ang="0">
                <a:pos x="connsiteX41892" y="connsiteY41892"/>
              </a:cxn>
              <a:cxn ang="0">
                <a:pos x="connsiteX41893" y="connsiteY41893"/>
              </a:cxn>
              <a:cxn ang="0">
                <a:pos x="connsiteX41894" y="connsiteY41894"/>
              </a:cxn>
              <a:cxn ang="0">
                <a:pos x="connsiteX41895" y="connsiteY41895"/>
              </a:cxn>
              <a:cxn ang="0">
                <a:pos x="connsiteX41896" y="connsiteY41896"/>
              </a:cxn>
              <a:cxn ang="0">
                <a:pos x="connsiteX41897" y="connsiteY41897"/>
              </a:cxn>
              <a:cxn ang="0">
                <a:pos x="connsiteX41898" y="connsiteY41898"/>
              </a:cxn>
              <a:cxn ang="0">
                <a:pos x="connsiteX41899" y="connsiteY41899"/>
              </a:cxn>
              <a:cxn ang="0">
                <a:pos x="connsiteX41900" y="connsiteY41900"/>
              </a:cxn>
              <a:cxn ang="0">
                <a:pos x="connsiteX41901" y="connsiteY41901"/>
              </a:cxn>
              <a:cxn ang="0">
                <a:pos x="connsiteX41902" y="connsiteY41902"/>
              </a:cxn>
              <a:cxn ang="0">
                <a:pos x="connsiteX41903" y="connsiteY41903"/>
              </a:cxn>
              <a:cxn ang="0">
                <a:pos x="connsiteX41904" y="connsiteY41904"/>
              </a:cxn>
              <a:cxn ang="0">
                <a:pos x="connsiteX41905" y="connsiteY41905"/>
              </a:cxn>
              <a:cxn ang="0">
                <a:pos x="connsiteX41906" y="connsiteY41906"/>
              </a:cxn>
              <a:cxn ang="0">
                <a:pos x="connsiteX41907" y="connsiteY41907"/>
              </a:cxn>
              <a:cxn ang="0">
                <a:pos x="connsiteX41908" y="connsiteY41908"/>
              </a:cxn>
              <a:cxn ang="0">
                <a:pos x="connsiteX41909" y="connsiteY41909"/>
              </a:cxn>
              <a:cxn ang="0">
                <a:pos x="connsiteX41910" y="connsiteY41910"/>
              </a:cxn>
              <a:cxn ang="0">
                <a:pos x="connsiteX41911" y="connsiteY41911"/>
              </a:cxn>
              <a:cxn ang="0">
                <a:pos x="connsiteX41912" y="connsiteY41912"/>
              </a:cxn>
              <a:cxn ang="0">
                <a:pos x="connsiteX41913" y="connsiteY41913"/>
              </a:cxn>
              <a:cxn ang="0">
                <a:pos x="connsiteX41914" y="connsiteY41914"/>
              </a:cxn>
              <a:cxn ang="0">
                <a:pos x="connsiteX41915" y="connsiteY41915"/>
              </a:cxn>
              <a:cxn ang="0">
                <a:pos x="connsiteX41916" y="connsiteY41916"/>
              </a:cxn>
              <a:cxn ang="0">
                <a:pos x="connsiteX41917" y="connsiteY41917"/>
              </a:cxn>
              <a:cxn ang="0">
                <a:pos x="connsiteX41918" y="connsiteY41918"/>
              </a:cxn>
              <a:cxn ang="0">
                <a:pos x="connsiteX41919" y="connsiteY41919"/>
              </a:cxn>
              <a:cxn ang="0">
                <a:pos x="connsiteX41920" y="connsiteY41920"/>
              </a:cxn>
              <a:cxn ang="0">
                <a:pos x="connsiteX41921" y="connsiteY41921"/>
              </a:cxn>
              <a:cxn ang="0">
                <a:pos x="connsiteX41922" y="connsiteY41922"/>
              </a:cxn>
              <a:cxn ang="0">
                <a:pos x="connsiteX41923" y="connsiteY41923"/>
              </a:cxn>
              <a:cxn ang="0">
                <a:pos x="connsiteX41924" y="connsiteY41924"/>
              </a:cxn>
              <a:cxn ang="0">
                <a:pos x="connsiteX41925" y="connsiteY41925"/>
              </a:cxn>
              <a:cxn ang="0">
                <a:pos x="connsiteX41926" y="connsiteY41926"/>
              </a:cxn>
              <a:cxn ang="0">
                <a:pos x="connsiteX41927" y="connsiteY41927"/>
              </a:cxn>
              <a:cxn ang="0">
                <a:pos x="connsiteX41928" y="connsiteY41928"/>
              </a:cxn>
              <a:cxn ang="0">
                <a:pos x="connsiteX41929" y="connsiteY41929"/>
              </a:cxn>
              <a:cxn ang="0">
                <a:pos x="connsiteX41930" y="connsiteY41930"/>
              </a:cxn>
              <a:cxn ang="0">
                <a:pos x="connsiteX41931" y="connsiteY41931"/>
              </a:cxn>
              <a:cxn ang="0">
                <a:pos x="connsiteX41932" y="connsiteY41932"/>
              </a:cxn>
              <a:cxn ang="0">
                <a:pos x="connsiteX41933" y="connsiteY41933"/>
              </a:cxn>
              <a:cxn ang="0">
                <a:pos x="connsiteX41934" y="connsiteY41934"/>
              </a:cxn>
              <a:cxn ang="0">
                <a:pos x="connsiteX41935" y="connsiteY41935"/>
              </a:cxn>
              <a:cxn ang="0">
                <a:pos x="connsiteX41936" y="connsiteY41936"/>
              </a:cxn>
              <a:cxn ang="0">
                <a:pos x="connsiteX41937" y="connsiteY41937"/>
              </a:cxn>
              <a:cxn ang="0">
                <a:pos x="connsiteX41938" y="connsiteY41938"/>
              </a:cxn>
              <a:cxn ang="0">
                <a:pos x="connsiteX41939" y="connsiteY41939"/>
              </a:cxn>
              <a:cxn ang="0">
                <a:pos x="connsiteX41940" y="connsiteY41940"/>
              </a:cxn>
              <a:cxn ang="0">
                <a:pos x="connsiteX41941" y="connsiteY41941"/>
              </a:cxn>
              <a:cxn ang="0">
                <a:pos x="connsiteX41942" y="connsiteY41942"/>
              </a:cxn>
              <a:cxn ang="0">
                <a:pos x="connsiteX41943" y="connsiteY41943"/>
              </a:cxn>
              <a:cxn ang="0">
                <a:pos x="connsiteX41944" y="connsiteY41944"/>
              </a:cxn>
              <a:cxn ang="0">
                <a:pos x="connsiteX41945" y="connsiteY41945"/>
              </a:cxn>
              <a:cxn ang="0">
                <a:pos x="connsiteX41946" y="connsiteY41946"/>
              </a:cxn>
              <a:cxn ang="0">
                <a:pos x="connsiteX41947" y="connsiteY41947"/>
              </a:cxn>
              <a:cxn ang="0">
                <a:pos x="connsiteX41948" y="connsiteY41948"/>
              </a:cxn>
              <a:cxn ang="0">
                <a:pos x="connsiteX41949" y="connsiteY41949"/>
              </a:cxn>
              <a:cxn ang="0">
                <a:pos x="connsiteX41950" y="connsiteY41950"/>
              </a:cxn>
              <a:cxn ang="0">
                <a:pos x="connsiteX41951" y="connsiteY41951"/>
              </a:cxn>
              <a:cxn ang="0">
                <a:pos x="connsiteX41952" y="connsiteY41952"/>
              </a:cxn>
              <a:cxn ang="0">
                <a:pos x="connsiteX41953" y="connsiteY41953"/>
              </a:cxn>
              <a:cxn ang="0">
                <a:pos x="connsiteX41954" y="connsiteY41954"/>
              </a:cxn>
              <a:cxn ang="0">
                <a:pos x="connsiteX41955" y="connsiteY41955"/>
              </a:cxn>
              <a:cxn ang="0">
                <a:pos x="connsiteX41956" y="connsiteY41956"/>
              </a:cxn>
              <a:cxn ang="0">
                <a:pos x="connsiteX41957" y="connsiteY41957"/>
              </a:cxn>
              <a:cxn ang="0">
                <a:pos x="connsiteX41958" y="connsiteY41958"/>
              </a:cxn>
              <a:cxn ang="0">
                <a:pos x="connsiteX41959" y="connsiteY41959"/>
              </a:cxn>
              <a:cxn ang="0">
                <a:pos x="connsiteX41960" y="connsiteY41960"/>
              </a:cxn>
              <a:cxn ang="0">
                <a:pos x="connsiteX41961" y="connsiteY41961"/>
              </a:cxn>
              <a:cxn ang="0">
                <a:pos x="connsiteX41962" y="connsiteY41962"/>
              </a:cxn>
              <a:cxn ang="0">
                <a:pos x="connsiteX41963" y="connsiteY41963"/>
              </a:cxn>
              <a:cxn ang="0">
                <a:pos x="connsiteX41964" y="connsiteY41964"/>
              </a:cxn>
              <a:cxn ang="0">
                <a:pos x="connsiteX41965" y="connsiteY41965"/>
              </a:cxn>
              <a:cxn ang="0">
                <a:pos x="connsiteX41966" y="connsiteY41966"/>
              </a:cxn>
              <a:cxn ang="0">
                <a:pos x="connsiteX41967" y="connsiteY41967"/>
              </a:cxn>
              <a:cxn ang="0">
                <a:pos x="connsiteX41968" y="connsiteY41968"/>
              </a:cxn>
              <a:cxn ang="0">
                <a:pos x="connsiteX41969" y="connsiteY41969"/>
              </a:cxn>
              <a:cxn ang="0">
                <a:pos x="connsiteX41970" y="connsiteY41970"/>
              </a:cxn>
              <a:cxn ang="0">
                <a:pos x="connsiteX41971" y="connsiteY41971"/>
              </a:cxn>
              <a:cxn ang="0">
                <a:pos x="connsiteX41972" y="connsiteY41972"/>
              </a:cxn>
              <a:cxn ang="0">
                <a:pos x="connsiteX41973" y="connsiteY41973"/>
              </a:cxn>
              <a:cxn ang="0">
                <a:pos x="connsiteX41974" y="connsiteY41974"/>
              </a:cxn>
              <a:cxn ang="0">
                <a:pos x="connsiteX41975" y="connsiteY41975"/>
              </a:cxn>
              <a:cxn ang="0">
                <a:pos x="connsiteX41976" y="connsiteY41976"/>
              </a:cxn>
              <a:cxn ang="0">
                <a:pos x="connsiteX41977" y="connsiteY41977"/>
              </a:cxn>
              <a:cxn ang="0">
                <a:pos x="connsiteX41978" y="connsiteY41978"/>
              </a:cxn>
              <a:cxn ang="0">
                <a:pos x="connsiteX41979" y="connsiteY41979"/>
              </a:cxn>
              <a:cxn ang="0">
                <a:pos x="connsiteX41980" y="connsiteY41980"/>
              </a:cxn>
              <a:cxn ang="0">
                <a:pos x="connsiteX41981" y="connsiteY41981"/>
              </a:cxn>
              <a:cxn ang="0">
                <a:pos x="connsiteX41982" y="connsiteY41982"/>
              </a:cxn>
              <a:cxn ang="0">
                <a:pos x="connsiteX41983" y="connsiteY41983"/>
              </a:cxn>
              <a:cxn ang="0">
                <a:pos x="connsiteX41984" y="connsiteY41984"/>
              </a:cxn>
              <a:cxn ang="0">
                <a:pos x="connsiteX41985" y="connsiteY41985"/>
              </a:cxn>
              <a:cxn ang="0">
                <a:pos x="connsiteX41986" y="connsiteY41986"/>
              </a:cxn>
              <a:cxn ang="0">
                <a:pos x="connsiteX41987" y="connsiteY41987"/>
              </a:cxn>
              <a:cxn ang="0">
                <a:pos x="connsiteX41988" y="connsiteY41988"/>
              </a:cxn>
              <a:cxn ang="0">
                <a:pos x="connsiteX41989" y="connsiteY41989"/>
              </a:cxn>
              <a:cxn ang="0">
                <a:pos x="connsiteX41990" y="connsiteY41990"/>
              </a:cxn>
              <a:cxn ang="0">
                <a:pos x="connsiteX41991" y="connsiteY41991"/>
              </a:cxn>
              <a:cxn ang="0">
                <a:pos x="connsiteX41992" y="connsiteY41992"/>
              </a:cxn>
              <a:cxn ang="0">
                <a:pos x="connsiteX41993" y="connsiteY41993"/>
              </a:cxn>
              <a:cxn ang="0">
                <a:pos x="connsiteX41994" y="connsiteY41994"/>
              </a:cxn>
              <a:cxn ang="0">
                <a:pos x="connsiteX41995" y="connsiteY41995"/>
              </a:cxn>
              <a:cxn ang="0">
                <a:pos x="connsiteX41996" y="connsiteY41996"/>
              </a:cxn>
              <a:cxn ang="0">
                <a:pos x="connsiteX41997" y="connsiteY41997"/>
              </a:cxn>
              <a:cxn ang="0">
                <a:pos x="connsiteX41998" y="connsiteY41998"/>
              </a:cxn>
              <a:cxn ang="0">
                <a:pos x="connsiteX41999" y="connsiteY41999"/>
              </a:cxn>
              <a:cxn ang="0">
                <a:pos x="connsiteX42000" y="connsiteY42000"/>
              </a:cxn>
              <a:cxn ang="0">
                <a:pos x="connsiteX42001" y="connsiteY42001"/>
              </a:cxn>
              <a:cxn ang="0">
                <a:pos x="connsiteX42002" y="connsiteY42002"/>
              </a:cxn>
              <a:cxn ang="0">
                <a:pos x="connsiteX42003" y="connsiteY42003"/>
              </a:cxn>
              <a:cxn ang="0">
                <a:pos x="connsiteX42004" y="connsiteY42004"/>
              </a:cxn>
              <a:cxn ang="0">
                <a:pos x="connsiteX42005" y="connsiteY42005"/>
              </a:cxn>
              <a:cxn ang="0">
                <a:pos x="connsiteX42006" y="connsiteY42006"/>
              </a:cxn>
              <a:cxn ang="0">
                <a:pos x="connsiteX42007" y="connsiteY42007"/>
              </a:cxn>
              <a:cxn ang="0">
                <a:pos x="connsiteX42008" y="connsiteY42008"/>
              </a:cxn>
              <a:cxn ang="0">
                <a:pos x="connsiteX42009" y="connsiteY42009"/>
              </a:cxn>
              <a:cxn ang="0">
                <a:pos x="connsiteX42010" y="connsiteY42010"/>
              </a:cxn>
              <a:cxn ang="0">
                <a:pos x="connsiteX42011" y="connsiteY42011"/>
              </a:cxn>
              <a:cxn ang="0">
                <a:pos x="connsiteX42012" y="connsiteY42012"/>
              </a:cxn>
              <a:cxn ang="0">
                <a:pos x="connsiteX42013" y="connsiteY42013"/>
              </a:cxn>
              <a:cxn ang="0">
                <a:pos x="connsiteX42014" y="connsiteY42014"/>
              </a:cxn>
              <a:cxn ang="0">
                <a:pos x="connsiteX42015" y="connsiteY42015"/>
              </a:cxn>
              <a:cxn ang="0">
                <a:pos x="connsiteX42016" y="connsiteY42016"/>
              </a:cxn>
              <a:cxn ang="0">
                <a:pos x="connsiteX42017" y="connsiteY42017"/>
              </a:cxn>
              <a:cxn ang="0">
                <a:pos x="connsiteX42018" y="connsiteY42018"/>
              </a:cxn>
              <a:cxn ang="0">
                <a:pos x="connsiteX42019" y="connsiteY42019"/>
              </a:cxn>
              <a:cxn ang="0">
                <a:pos x="connsiteX42020" y="connsiteY42020"/>
              </a:cxn>
              <a:cxn ang="0">
                <a:pos x="connsiteX42021" y="connsiteY42021"/>
              </a:cxn>
              <a:cxn ang="0">
                <a:pos x="connsiteX42022" y="connsiteY42022"/>
              </a:cxn>
              <a:cxn ang="0">
                <a:pos x="connsiteX42023" y="connsiteY42023"/>
              </a:cxn>
              <a:cxn ang="0">
                <a:pos x="connsiteX42024" y="connsiteY42024"/>
              </a:cxn>
              <a:cxn ang="0">
                <a:pos x="connsiteX42025" y="connsiteY42025"/>
              </a:cxn>
              <a:cxn ang="0">
                <a:pos x="connsiteX42026" y="connsiteY42026"/>
              </a:cxn>
              <a:cxn ang="0">
                <a:pos x="connsiteX42027" y="connsiteY42027"/>
              </a:cxn>
              <a:cxn ang="0">
                <a:pos x="connsiteX42028" y="connsiteY42028"/>
              </a:cxn>
              <a:cxn ang="0">
                <a:pos x="connsiteX42029" y="connsiteY42029"/>
              </a:cxn>
              <a:cxn ang="0">
                <a:pos x="connsiteX42030" y="connsiteY42030"/>
              </a:cxn>
              <a:cxn ang="0">
                <a:pos x="connsiteX42031" y="connsiteY42031"/>
              </a:cxn>
              <a:cxn ang="0">
                <a:pos x="connsiteX42032" y="connsiteY42032"/>
              </a:cxn>
              <a:cxn ang="0">
                <a:pos x="connsiteX42033" y="connsiteY42033"/>
              </a:cxn>
              <a:cxn ang="0">
                <a:pos x="connsiteX42034" y="connsiteY42034"/>
              </a:cxn>
              <a:cxn ang="0">
                <a:pos x="connsiteX42035" y="connsiteY42035"/>
              </a:cxn>
              <a:cxn ang="0">
                <a:pos x="connsiteX42036" y="connsiteY42036"/>
              </a:cxn>
              <a:cxn ang="0">
                <a:pos x="connsiteX42037" y="connsiteY42037"/>
              </a:cxn>
              <a:cxn ang="0">
                <a:pos x="connsiteX42038" y="connsiteY42038"/>
              </a:cxn>
              <a:cxn ang="0">
                <a:pos x="connsiteX42039" y="connsiteY42039"/>
              </a:cxn>
              <a:cxn ang="0">
                <a:pos x="connsiteX42040" y="connsiteY42040"/>
              </a:cxn>
              <a:cxn ang="0">
                <a:pos x="connsiteX42041" y="connsiteY42041"/>
              </a:cxn>
              <a:cxn ang="0">
                <a:pos x="connsiteX42042" y="connsiteY42042"/>
              </a:cxn>
              <a:cxn ang="0">
                <a:pos x="connsiteX42043" y="connsiteY42043"/>
              </a:cxn>
              <a:cxn ang="0">
                <a:pos x="connsiteX42044" y="connsiteY42044"/>
              </a:cxn>
              <a:cxn ang="0">
                <a:pos x="connsiteX42045" y="connsiteY42045"/>
              </a:cxn>
              <a:cxn ang="0">
                <a:pos x="connsiteX42046" y="connsiteY42046"/>
              </a:cxn>
              <a:cxn ang="0">
                <a:pos x="connsiteX42047" y="connsiteY42047"/>
              </a:cxn>
              <a:cxn ang="0">
                <a:pos x="connsiteX42048" y="connsiteY42048"/>
              </a:cxn>
              <a:cxn ang="0">
                <a:pos x="connsiteX42049" y="connsiteY42049"/>
              </a:cxn>
              <a:cxn ang="0">
                <a:pos x="connsiteX42050" y="connsiteY42050"/>
              </a:cxn>
              <a:cxn ang="0">
                <a:pos x="connsiteX42051" y="connsiteY42051"/>
              </a:cxn>
              <a:cxn ang="0">
                <a:pos x="connsiteX42052" y="connsiteY42052"/>
              </a:cxn>
              <a:cxn ang="0">
                <a:pos x="connsiteX42053" y="connsiteY42053"/>
              </a:cxn>
              <a:cxn ang="0">
                <a:pos x="connsiteX42054" y="connsiteY42054"/>
              </a:cxn>
              <a:cxn ang="0">
                <a:pos x="connsiteX42055" y="connsiteY42055"/>
              </a:cxn>
              <a:cxn ang="0">
                <a:pos x="connsiteX42056" y="connsiteY42056"/>
              </a:cxn>
              <a:cxn ang="0">
                <a:pos x="connsiteX42057" y="connsiteY42057"/>
              </a:cxn>
              <a:cxn ang="0">
                <a:pos x="connsiteX42058" y="connsiteY42058"/>
              </a:cxn>
              <a:cxn ang="0">
                <a:pos x="connsiteX42059" y="connsiteY42059"/>
              </a:cxn>
              <a:cxn ang="0">
                <a:pos x="connsiteX42060" y="connsiteY42060"/>
              </a:cxn>
              <a:cxn ang="0">
                <a:pos x="connsiteX42061" y="connsiteY42061"/>
              </a:cxn>
              <a:cxn ang="0">
                <a:pos x="connsiteX42062" y="connsiteY42062"/>
              </a:cxn>
              <a:cxn ang="0">
                <a:pos x="connsiteX42063" y="connsiteY42063"/>
              </a:cxn>
              <a:cxn ang="0">
                <a:pos x="connsiteX42064" y="connsiteY42064"/>
              </a:cxn>
              <a:cxn ang="0">
                <a:pos x="connsiteX42065" y="connsiteY42065"/>
              </a:cxn>
              <a:cxn ang="0">
                <a:pos x="connsiteX42066" y="connsiteY42066"/>
              </a:cxn>
              <a:cxn ang="0">
                <a:pos x="connsiteX42067" y="connsiteY42067"/>
              </a:cxn>
              <a:cxn ang="0">
                <a:pos x="connsiteX42068" y="connsiteY42068"/>
              </a:cxn>
              <a:cxn ang="0">
                <a:pos x="connsiteX42069" y="connsiteY42069"/>
              </a:cxn>
              <a:cxn ang="0">
                <a:pos x="connsiteX42070" y="connsiteY42070"/>
              </a:cxn>
              <a:cxn ang="0">
                <a:pos x="connsiteX42071" y="connsiteY42071"/>
              </a:cxn>
              <a:cxn ang="0">
                <a:pos x="connsiteX42072" y="connsiteY42072"/>
              </a:cxn>
              <a:cxn ang="0">
                <a:pos x="connsiteX42073" y="connsiteY42073"/>
              </a:cxn>
              <a:cxn ang="0">
                <a:pos x="connsiteX42074" y="connsiteY42074"/>
              </a:cxn>
              <a:cxn ang="0">
                <a:pos x="connsiteX42075" y="connsiteY42075"/>
              </a:cxn>
              <a:cxn ang="0">
                <a:pos x="connsiteX42076" y="connsiteY42076"/>
              </a:cxn>
              <a:cxn ang="0">
                <a:pos x="connsiteX42077" y="connsiteY42077"/>
              </a:cxn>
              <a:cxn ang="0">
                <a:pos x="connsiteX42078" y="connsiteY42078"/>
              </a:cxn>
              <a:cxn ang="0">
                <a:pos x="connsiteX42079" y="connsiteY42079"/>
              </a:cxn>
              <a:cxn ang="0">
                <a:pos x="connsiteX42080" y="connsiteY42080"/>
              </a:cxn>
              <a:cxn ang="0">
                <a:pos x="connsiteX42081" y="connsiteY42081"/>
              </a:cxn>
              <a:cxn ang="0">
                <a:pos x="connsiteX42082" y="connsiteY42082"/>
              </a:cxn>
              <a:cxn ang="0">
                <a:pos x="connsiteX42083" y="connsiteY42083"/>
              </a:cxn>
              <a:cxn ang="0">
                <a:pos x="connsiteX42084" y="connsiteY42084"/>
              </a:cxn>
              <a:cxn ang="0">
                <a:pos x="connsiteX42085" y="connsiteY42085"/>
              </a:cxn>
              <a:cxn ang="0">
                <a:pos x="connsiteX42086" y="connsiteY42086"/>
              </a:cxn>
              <a:cxn ang="0">
                <a:pos x="connsiteX42087" y="connsiteY42087"/>
              </a:cxn>
              <a:cxn ang="0">
                <a:pos x="connsiteX42088" y="connsiteY42088"/>
              </a:cxn>
              <a:cxn ang="0">
                <a:pos x="connsiteX42089" y="connsiteY42089"/>
              </a:cxn>
              <a:cxn ang="0">
                <a:pos x="connsiteX42090" y="connsiteY42090"/>
              </a:cxn>
              <a:cxn ang="0">
                <a:pos x="connsiteX42091" y="connsiteY42091"/>
              </a:cxn>
              <a:cxn ang="0">
                <a:pos x="connsiteX42092" y="connsiteY42092"/>
              </a:cxn>
              <a:cxn ang="0">
                <a:pos x="connsiteX42093" y="connsiteY42093"/>
              </a:cxn>
              <a:cxn ang="0">
                <a:pos x="connsiteX42094" y="connsiteY42094"/>
              </a:cxn>
              <a:cxn ang="0">
                <a:pos x="connsiteX42095" y="connsiteY42095"/>
              </a:cxn>
              <a:cxn ang="0">
                <a:pos x="connsiteX42096" y="connsiteY42096"/>
              </a:cxn>
              <a:cxn ang="0">
                <a:pos x="connsiteX42097" y="connsiteY42097"/>
              </a:cxn>
              <a:cxn ang="0">
                <a:pos x="connsiteX42098" y="connsiteY42098"/>
              </a:cxn>
              <a:cxn ang="0">
                <a:pos x="connsiteX42099" y="connsiteY42099"/>
              </a:cxn>
              <a:cxn ang="0">
                <a:pos x="connsiteX42100" y="connsiteY42100"/>
              </a:cxn>
              <a:cxn ang="0">
                <a:pos x="connsiteX42101" y="connsiteY42101"/>
              </a:cxn>
              <a:cxn ang="0">
                <a:pos x="connsiteX42102" y="connsiteY42102"/>
              </a:cxn>
              <a:cxn ang="0">
                <a:pos x="connsiteX42103" y="connsiteY42103"/>
              </a:cxn>
              <a:cxn ang="0">
                <a:pos x="connsiteX42104" y="connsiteY42104"/>
              </a:cxn>
              <a:cxn ang="0">
                <a:pos x="connsiteX42105" y="connsiteY42105"/>
              </a:cxn>
              <a:cxn ang="0">
                <a:pos x="connsiteX42106" y="connsiteY42106"/>
              </a:cxn>
              <a:cxn ang="0">
                <a:pos x="connsiteX42107" y="connsiteY42107"/>
              </a:cxn>
              <a:cxn ang="0">
                <a:pos x="connsiteX42108" y="connsiteY42108"/>
              </a:cxn>
              <a:cxn ang="0">
                <a:pos x="connsiteX42109" y="connsiteY42109"/>
              </a:cxn>
              <a:cxn ang="0">
                <a:pos x="connsiteX42110" y="connsiteY42110"/>
              </a:cxn>
              <a:cxn ang="0">
                <a:pos x="connsiteX42111" y="connsiteY42111"/>
              </a:cxn>
              <a:cxn ang="0">
                <a:pos x="connsiteX42112" y="connsiteY42112"/>
              </a:cxn>
              <a:cxn ang="0">
                <a:pos x="connsiteX42113" y="connsiteY42113"/>
              </a:cxn>
              <a:cxn ang="0">
                <a:pos x="connsiteX42114" y="connsiteY42114"/>
              </a:cxn>
              <a:cxn ang="0">
                <a:pos x="connsiteX42115" y="connsiteY42115"/>
              </a:cxn>
              <a:cxn ang="0">
                <a:pos x="connsiteX42116" y="connsiteY42116"/>
              </a:cxn>
              <a:cxn ang="0">
                <a:pos x="connsiteX42117" y="connsiteY42117"/>
              </a:cxn>
              <a:cxn ang="0">
                <a:pos x="connsiteX42118" y="connsiteY42118"/>
              </a:cxn>
              <a:cxn ang="0">
                <a:pos x="connsiteX42119" y="connsiteY42119"/>
              </a:cxn>
              <a:cxn ang="0">
                <a:pos x="connsiteX42120" y="connsiteY42120"/>
              </a:cxn>
              <a:cxn ang="0">
                <a:pos x="connsiteX42121" y="connsiteY42121"/>
              </a:cxn>
              <a:cxn ang="0">
                <a:pos x="connsiteX42122" y="connsiteY42122"/>
              </a:cxn>
              <a:cxn ang="0">
                <a:pos x="connsiteX42123" y="connsiteY42123"/>
              </a:cxn>
              <a:cxn ang="0">
                <a:pos x="connsiteX42124" y="connsiteY42124"/>
              </a:cxn>
              <a:cxn ang="0">
                <a:pos x="connsiteX42125" y="connsiteY42125"/>
              </a:cxn>
              <a:cxn ang="0">
                <a:pos x="connsiteX42126" y="connsiteY42126"/>
              </a:cxn>
              <a:cxn ang="0">
                <a:pos x="connsiteX42127" y="connsiteY42127"/>
              </a:cxn>
              <a:cxn ang="0">
                <a:pos x="connsiteX42128" y="connsiteY42128"/>
              </a:cxn>
              <a:cxn ang="0">
                <a:pos x="connsiteX42129" y="connsiteY42129"/>
              </a:cxn>
              <a:cxn ang="0">
                <a:pos x="connsiteX42130" y="connsiteY42130"/>
              </a:cxn>
              <a:cxn ang="0">
                <a:pos x="connsiteX42131" y="connsiteY42131"/>
              </a:cxn>
              <a:cxn ang="0">
                <a:pos x="connsiteX42132" y="connsiteY42132"/>
              </a:cxn>
              <a:cxn ang="0">
                <a:pos x="connsiteX42133" y="connsiteY42133"/>
              </a:cxn>
              <a:cxn ang="0">
                <a:pos x="connsiteX42134" y="connsiteY42134"/>
              </a:cxn>
              <a:cxn ang="0">
                <a:pos x="connsiteX42135" y="connsiteY42135"/>
              </a:cxn>
              <a:cxn ang="0">
                <a:pos x="connsiteX42136" y="connsiteY42136"/>
              </a:cxn>
              <a:cxn ang="0">
                <a:pos x="connsiteX42137" y="connsiteY42137"/>
              </a:cxn>
              <a:cxn ang="0">
                <a:pos x="connsiteX42138" y="connsiteY42138"/>
              </a:cxn>
              <a:cxn ang="0">
                <a:pos x="connsiteX42139" y="connsiteY42139"/>
              </a:cxn>
              <a:cxn ang="0">
                <a:pos x="connsiteX42140" y="connsiteY42140"/>
              </a:cxn>
              <a:cxn ang="0">
                <a:pos x="connsiteX42141" y="connsiteY42141"/>
              </a:cxn>
              <a:cxn ang="0">
                <a:pos x="connsiteX42142" y="connsiteY42142"/>
              </a:cxn>
              <a:cxn ang="0">
                <a:pos x="connsiteX42143" y="connsiteY42143"/>
              </a:cxn>
              <a:cxn ang="0">
                <a:pos x="connsiteX42144" y="connsiteY42144"/>
              </a:cxn>
              <a:cxn ang="0">
                <a:pos x="connsiteX42145" y="connsiteY42145"/>
              </a:cxn>
              <a:cxn ang="0">
                <a:pos x="connsiteX42146" y="connsiteY42146"/>
              </a:cxn>
              <a:cxn ang="0">
                <a:pos x="connsiteX42147" y="connsiteY42147"/>
              </a:cxn>
              <a:cxn ang="0">
                <a:pos x="connsiteX42148" y="connsiteY42148"/>
              </a:cxn>
              <a:cxn ang="0">
                <a:pos x="connsiteX42149" y="connsiteY42149"/>
              </a:cxn>
              <a:cxn ang="0">
                <a:pos x="connsiteX42150" y="connsiteY42150"/>
              </a:cxn>
              <a:cxn ang="0">
                <a:pos x="connsiteX42151" y="connsiteY42151"/>
              </a:cxn>
              <a:cxn ang="0">
                <a:pos x="connsiteX42152" y="connsiteY42152"/>
              </a:cxn>
              <a:cxn ang="0">
                <a:pos x="connsiteX42153" y="connsiteY42153"/>
              </a:cxn>
              <a:cxn ang="0">
                <a:pos x="connsiteX42154" y="connsiteY42154"/>
              </a:cxn>
              <a:cxn ang="0">
                <a:pos x="connsiteX42155" y="connsiteY42155"/>
              </a:cxn>
              <a:cxn ang="0">
                <a:pos x="connsiteX42156" y="connsiteY42156"/>
              </a:cxn>
              <a:cxn ang="0">
                <a:pos x="connsiteX42157" y="connsiteY42157"/>
              </a:cxn>
              <a:cxn ang="0">
                <a:pos x="connsiteX42158" y="connsiteY42158"/>
              </a:cxn>
              <a:cxn ang="0">
                <a:pos x="connsiteX42159" y="connsiteY42159"/>
              </a:cxn>
              <a:cxn ang="0">
                <a:pos x="connsiteX42160" y="connsiteY42160"/>
              </a:cxn>
              <a:cxn ang="0">
                <a:pos x="connsiteX42161" y="connsiteY42161"/>
              </a:cxn>
              <a:cxn ang="0">
                <a:pos x="connsiteX42162" y="connsiteY42162"/>
              </a:cxn>
              <a:cxn ang="0">
                <a:pos x="connsiteX42163" y="connsiteY42163"/>
              </a:cxn>
              <a:cxn ang="0">
                <a:pos x="connsiteX42164" y="connsiteY42164"/>
              </a:cxn>
              <a:cxn ang="0">
                <a:pos x="connsiteX42165" y="connsiteY42165"/>
              </a:cxn>
              <a:cxn ang="0">
                <a:pos x="connsiteX42166" y="connsiteY42166"/>
              </a:cxn>
              <a:cxn ang="0">
                <a:pos x="connsiteX42167" y="connsiteY42167"/>
              </a:cxn>
              <a:cxn ang="0">
                <a:pos x="connsiteX42168" y="connsiteY42168"/>
              </a:cxn>
              <a:cxn ang="0">
                <a:pos x="connsiteX42169" y="connsiteY42169"/>
              </a:cxn>
              <a:cxn ang="0">
                <a:pos x="connsiteX42170" y="connsiteY42170"/>
              </a:cxn>
              <a:cxn ang="0">
                <a:pos x="connsiteX42171" y="connsiteY42171"/>
              </a:cxn>
              <a:cxn ang="0">
                <a:pos x="connsiteX42172" y="connsiteY42172"/>
              </a:cxn>
              <a:cxn ang="0">
                <a:pos x="connsiteX42173" y="connsiteY42173"/>
              </a:cxn>
              <a:cxn ang="0">
                <a:pos x="connsiteX42174" y="connsiteY42174"/>
              </a:cxn>
              <a:cxn ang="0">
                <a:pos x="connsiteX42175" y="connsiteY42175"/>
              </a:cxn>
              <a:cxn ang="0">
                <a:pos x="connsiteX42176" y="connsiteY42176"/>
              </a:cxn>
              <a:cxn ang="0">
                <a:pos x="connsiteX42177" y="connsiteY42177"/>
              </a:cxn>
              <a:cxn ang="0">
                <a:pos x="connsiteX42178" y="connsiteY42178"/>
              </a:cxn>
              <a:cxn ang="0">
                <a:pos x="connsiteX42179" y="connsiteY42179"/>
              </a:cxn>
              <a:cxn ang="0">
                <a:pos x="connsiteX42180" y="connsiteY42180"/>
              </a:cxn>
              <a:cxn ang="0">
                <a:pos x="connsiteX42181" y="connsiteY42181"/>
              </a:cxn>
              <a:cxn ang="0">
                <a:pos x="connsiteX42182" y="connsiteY42182"/>
              </a:cxn>
              <a:cxn ang="0">
                <a:pos x="connsiteX42183" y="connsiteY42183"/>
              </a:cxn>
              <a:cxn ang="0">
                <a:pos x="connsiteX42184" y="connsiteY42184"/>
              </a:cxn>
              <a:cxn ang="0">
                <a:pos x="connsiteX42185" y="connsiteY42185"/>
              </a:cxn>
              <a:cxn ang="0">
                <a:pos x="connsiteX42186" y="connsiteY42186"/>
              </a:cxn>
              <a:cxn ang="0">
                <a:pos x="connsiteX42187" y="connsiteY42187"/>
              </a:cxn>
              <a:cxn ang="0">
                <a:pos x="connsiteX42188" y="connsiteY42188"/>
              </a:cxn>
              <a:cxn ang="0">
                <a:pos x="connsiteX42189" y="connsiteY42189"/>
              </a:cxn>
              <a:cxn ang="0">
                <a:pos x="connsiteX42190" y="connsiteY42190"/>
              </a:cxn>
              <a:cxn ang="0">
                <a:pos x="connsiteX42191" y="connsiteY42191"/>
              </a:cxn>
              <a:cxn ang="0">
                <a:pos x="connsiteX42192" y="connsiteY42192"/>
              </a:cxn>
              <a:cxn ang="0">
                <a:pos x="connsiteX42193" y="connsiteY42193"/>
              </a:cxn>
              <a:cxn ang="0">
                <a:pos x="connsiteX42194" y="connsiteY42194"/>
              </a:cxn>
              <a:cxn ang="0">
                <a:pos x="connsiteX42195" y="connsiteY42195"/>
              </a:cxn>
              <a:cxn ang="0">
                <a:pos x="connsiteX42196" y="connsiteY42196"/>
              </a:cxn>
              <a:cxn ang="0">
                <a:pos x="connsiteX42197" y="connsiteY42197"/>
              </a:cxn>
              <a:cxn ang="0">
                <a:pos x="connsiteX42198" y="connsiteY42198"/>
              </a:cxn>
              <a:cxn ang="0">
                <a:pos x="connsiteX42199" y="connsiteY42199"/>
              </a:cxn>
              <a:cxn ang="0">
                <a:pos x="connsiteX42200" y="connsiteY42200"/>
              </a:cxn>
              <a:cxn ang="0">
                <a:pos x="connsiteX42201" y="connsiteY42201"/>
              </a:cxn>
              <a:cxn ang="0">
                <a:pos x="connsiteX42202" y="connsiteY42202"/>
              </a:cxn>
              <a:cxn ang="0">
                <a:pos x="connsiteX42203" y="connsiteY42203"/>
              </a:cxn>
              <a:cxn ang="0">
                <a:pos x="connsiteX42204" y="connsiteY42204"/>
              </a:cxn>
              <a:cxn ang="0">
                <a:pos x="connsiteX42205" y="connsiteY42205"/>
              </a:cxn>
              <a:cxn ang="0">
                <a:pos x="connsiteX42206" y="connsiteY42206"/>
              </a:cxn>
              <a:cxn ang="0">
                <a:pos x="connsiteX42207" y="connsiteY42207"/>
              </a:cxn>
              <a:cxn ang="0">
                <a:pos x="connsiteX42208" y="connsiteY42208"/>
              </a:cxn>
              <a:cxn ang="0">
                <a:pos x="connsiteX42209" y="connsiteY42209"/>
              </a:cxn>
              <a:cxn ang="0">
                <a:pos x="connsiteX42210" y="connsiteY42210"/>
              </a:cxn>
              <a:cxn ang="0">
                <a:pos x="connsiteX42211" y="connsiteY42211"/>
              </a:cxn>
              <a:cxn ang="0">
                <a:pos x="connsiteX42212" y="connsiteY42212"/>
              </a:cxn>
              <a:cxn ang="0">
                <a:pos x="connsiteX42213" y="connsiteY42213"/>
              </a:cxn>
              <a:cxn ang="0">
                <a:pos x="connsiteX42214" y="connsiteY42214"/>
              </a:cxn>
              <a:cxn ang="0">
                <a:pos x="connsiteX42215" y="connsiteY42215"/>
              </a:cxn>
              <a:cxn ang="0">
                <a:pos x="connsiteX42216" y="connsiteY42216"/>
              </a:cxn>
              <a:cxn ang="0">
                <a:pos x="connsiteX42217" y="connsiteY42217"/>
              </a:cxn>
              <a:cxn ang="0">
                <a:pos x="connsiteX42218" y="connsiteY42218"/>
              </a:cxn>
              <a:cxn ang="0">
                <a:pos x="connsiteX42219" y="connsiteY42219"/>
              </a:cxn>
              <a:cxn ang="0">
                <a:pos x="connsiteX42220" y="connsiteY42220"/>
              </a:cxn>
              <a:cxn ang="0">
                <a:pos x="connsiteX42221" y="connsiteY42221"/>
              </a:cxn>
              <a:cxn ang="0">
                <a:pos x="connsiteX42222" y="connsiteY42222"/>
              </a:cxn>
              <a:cxn ang="0">
                <a:pos x="connsiteX42223" y="connsiteY42223"/>
              </a:cxn>
              <a:cxn ang="0">
                <a:pos x="connsiteX42224" y="connsiteY42224"/>
              </a:cxn>
              <a:cxn ang="0">
                <a:pos x="connsiteX42225" y="connsiteY42225"/>
              </a:cxn>
              <a:cxn ang="0">
                <a:pos x="connsiteX42226" y="connsiteY42226"/>
              </a:cxn>
              <a:cxn ang="0">
                <a:pos x="connsiteX42227" y="connsiteY42227"/>
              </a:cxn>
              <a:cxn ang="0">
                <a:pos x="connsiteX42228" y="connsiteY42228"/>
              </a:cxn>
              <a:cxn ang="0">
                <a:pos x="connsiteX42229" y="connsiteY42229"/>
              </a:cxn>
              <a:cxn ang="0">
                <a:pos x="connsiteX42230" y="connsiteY42230"/>
              </a:cxn>
              <a:cxn ang="0">
                <a:pos x="connsiteX42231" y="connsiteY42231"/>
              </a:cxn>
              <a:cxn ang="0">
                <a:pos x="connsiteX42232" y="connsiteY42232"/>
              </a:cxn>
              <a:cxn ang="0">
                <a:pos x="connsiteX42233" y="connsiteY42233"/>
              </a:cxn>
              <a:cxn ang="0">
                <a:pos x="connsiteX42234" y="connsiteY42234"/>
              </a:cxn>
              <a:cxn ang="0">
                <a:pos x="connsiteX42235" y="connsiteY42235"/>
              </a:cxn>
              <a:cxn ang="0">
                <a:pos x="connsiteX42236" y="connsiteY42236"/>
              </a:cxn>
              <a:cxn ang="0">
                <a:pos x="connsiteX42237" y="connsiteY42237"/>
              </a:cxn>
              <a:cxn ang="0">
                <a:pos x="connsiteX42238" y="connsiteY42238"/>
              </a:cxn>
              <a:cxn ang="0">
                <a:pos x="connsiteX42239" y="connsiteY42239"/>
              </a:cxn>
              <a:cxn ang="0">
                <a:pos x="connsiteX42240" y="connsiteY42240"/>
              </a:cxn>
              <a:cxn ang="0">
                <a:pos x="connsiteX42241" y="connsiteY42241"/>
              </a:cxn>
              <a:cxn ang="0">
                <a:pos x="connsiteX42242" y="connsiteY42242"/>
              </a:cxn>
              <a:cxn ang="0">
                <a:pos x="connsiteX42243" y="connsiteY42243"/>
              </a:cxn>
              <a:cxn ang="0">
                <a:pos x="connsiteX42244" y="connsiteY42244"/>
              </a:cxn>
              <a:cxn ang="0">
                <a:pos x="connsiteX42245" y="connsiteY42245"/>
              </a:cxn>
              <a:cxn ang="0">
                <a:pos x="connsiteX42246" y="connsiteY42246"/>
              </a:cxn>
              <a:cxn ang="0">
                <a:pos x="connsiteX42247" y="connsiteY42247"/>
              </a:cxn>
              <a:cxn ang="0">
                <a:pos x="connsiteX42248" y="connsiteY42248"/>
              </a:cxn>
              <a:cxn ang="0">
                <a:pos x="connsiteX42249" y="connsiteY42249"/>
              </a:cxn>
              <a:cxn ang="0">
                <a:pos x="connsiteX42250" y="connsiteY42250"/>
              </a:cxn>
              <a:cxn ang="0">
                <a:pos x="connsiteX42251" y="connsiteY42251"/>
              </a:cxn>
              <a:cxn ang="0">
                <a:pos x="connsiteX42252" y="connsiteY42252"/>
              </a:cxn>
              <a:cxn ang="0">
                <a:pos x="connsiteX42253" y="connsiteY42253"/>
              </a:cxn>
              <a:cxn ang="0">
                <a:pos x="connsiteX42254" y="connsiteY42254"/>
              </a:cxn>
              <a:cxn ang="0">
                <a:pos x="connsiteX42255" y="connsiteY42255"/>
              </a:cxn>
              <a:cxn ang="0">
                <a:pos x="connsiteX42256" y="connsiteY42256"/>
              </a:cxn>
              <a:cxn ang="0">
                <a:pos x="connsiteX42257" y="connsiteY42257"/>
              </a:cxn>
              <a:cxn ang="0">
                <a:pos x="connsiteX42258" y="connsiteY42258"/>
              </a:cxn>
              <a:cxn ang="0">
                <a:pos x="connsiteX42259" y="connsiteY42259"/>
              </a:cxn>
              <a:cxn ang="0">
                <a:pos x="connsiteX42260" y="connsiteY42260"/>
              </a:cxn>
              <a:cxn ang="0">
                <a:pos x="connsiteX42261" y="connsiteY42261"/>
              </a:cxn>
              <a:cxn ang="0">
                <a:pos x="connsiteX42262" y="connsiteY42262"/>
              </a:cxn>
              <a:cxn ang="0">
                <a:pos x="connsiteX42263" y="connsiteY42263"/>
              </a:cxn>
              <a:cxn ang="0">
                <a:pos x="connsiteX42264" y="connsiteY42264"/>
              </a:cxn>
              <a:cxn ang="0">
                <a:pos x="connsiteX42265" y="connsiteY42265"/>
              </a:cxn>
              <a:cxn ang="0">
                <a:pos x="connsiteX42266" y="connsiteY42266"/>
              </a:cxn>
              <a:cxn ang="0">
                <a:pos x="connsiteX42267" y="connsiteY42267"/>
              </a:cxn>
              <a:cxn ang="0">
                <a:pos x="connsiteX42268" y="connsiteY42268"/>
              </a:cxn>
              <a:cxn ang="0">
                <a:pos x="connsiteX42269" y="connsiteY42269"/>
              </a:cxn>
              <a:cxn ang="0">
                <a:pos x="connsiteX42270" y="connsiteY42270"/>
              </a:cxn>
              <a:cxn ang="0">
                <a:pos x="connsiteX42271" y="connsiteY42271"/>
              </a:cxn>
              <a:cxn ang="0">
                <a:pos x="connsiteX42272" y="connsiteY42272"/>
              </a:cxn>
              <a:cxn ang="0">
                <a:pos x="connsiteX42273" y="connsiteY42273"/>
              </a:cxn>
              <a:cxn ang="0">
                <a:pos x="connsiteX42274" y="connsiteY42274"/>
              </a:cxn>
              <a:cxn ang="0">
                <a:pos x="connsiteX42275" y="connsiteY42275"/>
              </a:cxn>
              <a:cxn ang="0">
                <a:pos x="connsiteX42276" y="connsiteY42276"/>
              </a:cxn>
              <a:cxn ang="0">
                <a:pos x="connsiteX42277" y="connsiteY42277"/>
              </a:cxn>
              <a:cxn ang="0">
                <a:pos x="connsiteX42278" y="connsiteY42278"/>
              </a:cxn>
              <a:cxn ang="0">
                <a:pos x="connsiteX42279" y="connsiteY42279"/>
              </a:cxn>
              <a:cxn ang="0">
                <a:pos x="connsiteX42280" y="connsiteY42280"/>
              </a:cxn>
              <a:cxn ang="0">
                <a:pos x="connsiteX42281" y="connsiteY42281"/>
              </a:cxn>
              <a:cxn ang="0">
                <a:pos x="connsiteX42282" y="connsiteY42282"/>
              </a:cxn>
              <a:cxn ang="0">
                <a:pos x="connsiteX42283" y="connsiteY42283"/>
              </a:cxn>
              <a:cxn ang="0">
                <a:pos x="connsiteX42284" y="connsiteY42284"/>
              </a:cxn>
              <a:cxn ang="0">
                <a:pos x="connsiteX42285" y="connsiteY42285"/>
              </a:cxn>
              <a:cxn ang="0">
                <a:pos x="connsiteX42286" y="connsiteY42286"/>
              </a:cxn>
              <a:cxn ang="0">
                <a:pos x="connsiteX42287" y="connsiteY42287"/>
              </a:cxn>
              <a:cxn ang="0">
                <a:pos x="connsiteX42288" y="connsiteY42288"/>
              </a:cxn>
              <a:cxn ang="0">
                <a:pos x="connsiteX42289" y="connsiteY42289"/>
              </a:cxn>
              <a:cxn ang="0">
                <a:pos x="connsiteX42290" y="connsiteY42290"/>
              </a:cxn>
              <a:cxn ang="0">
                <a:pos x="connsiteX42291" y="connsiteY42291"/>
              </a:cxn>
              <a:cxn ang="0">
                <a:pos x="connsiteX42292" y="connsiteY42292"/>
              </a:cxn>
              <a:cxn ang="0">
                <a:pos x="connsiteX42293" y="connsiteY42293"/>
              </a:cxn>
              <a:cxn ang="0">
                <a:pos x="connsiteX42294" y="connsiteY42294"/>
              </a:cxn>
              <a:cxn ang="0">
                <a:pos x="connsiteX42295" y="connsiteY42295"/>
              </a:cxn>
              <a:cxn ang="0">
                <a:pos x="connsiteX42296" y="connsiteY42296"/>
              </a:cxn>
              <a:cxn ang="0">
                <a:pos x="connsiteX42297" y="connsiteY42297"/>
              </a:cxn>
              <a:cxn ang="0">
                <a:pos x="connsiteX42298" y="connsiteY42298"/>
              </a:cxn>
              <a:cxn ang="0">
                <a:pos x="connsiteX42299" y="connsiteY42299"/>
              </a:cxn>
              <a:cxn ang="0">
                <a:pos x="connsiteX42300" y="connsiteY42300"/>
              </a:cxn>
              <a:cxn ang="0">
                <a:pos x="connsiteX42301" y="connsiteY42301"/>
              </a:cxn>
              <a:cxn ang="0">
                <a:pos x="connsiteX42302" y="connsiteY42302"/>
              </a:cxn>
              <a:cxn ang="0">
                <a:pos x="connsiteX42303" y="connsiteY42303"/>
              </a:cxn>
              <a:cxn ang="0">
                <a:pos x="connsiteX42304" y="connsiteY42304"/>
              </a:cxn>
              <a:cxn ang="0">
                <a:pos x="connsiteX42305" y="connsiteY42305"/>
              </a:cxn>
              <a:cxn ang="0">
                <a:pos x="connsiteX42306" y="connsiteY42306"/>
              </a:cxn>
              <a:cxn ang="0">
                <a:pos x="connsiteX42307" y="connsiteY42307"/>
              </a:cxn>
              <a:cxn ang="0">
                <a:pos x="connsiteX42308" y="connsiteY42308"/>
              </a:cxn>
              <a:cxn ang="0">
                <a:pos x="connsiteX42309" y="connsiteY42309"/>
              </a:cxn>
              <a:cxn ang="0">
                <a:pos x="connsiteX42310" y="connsiteY42310"/>
              </a:cxn>
              <a:cxn ang="0">
                <a:pos x="connsiteX42311" y="connsiteY42311"/>
              </a:cxn>
              <a:cxn ang="0">
                <a:pos x="connsiteX42312" y="connsiteY42312"/>
              </a:cxn>
              <a:cxn ang="0">
                <a:pos x="connsiteX42313" y="connsiteY42313"/>
              </a:cxn>
              <a:cxn ang="0">
                <a:pos x="connsiteX42314" y="connsiteY42314"/>
              </a:cxn>
              <a:cxn ang="0">
                <a:pos x="connsiteX42315" y="connsiteY42315"/>
              </a:cxn>
              <a:cxn ang="0">
                <a:pos x="connsiteX42316" y="connsiteY42316"/>
              </a:cxn>
              <a:cxn ang="0">
                <a:pos x="connsiteX42317" y="connsiteY42317"/>
              </a:cxn>
              <a:cxn ang="0">
                <a:pos x="connsiteX42318" y="connsiteY42318"/>
              </a:cxn>
              <a:cxn ang="0">
                <a:pos x="connsiteX42319" y="connsiteY42319"/>
              </a:cxn>
              <a:cxn ang="0">
                <a:pos x="connsiteX42320" y="connsiteY42320"/>
              </a:cxn>
              <a:cxn ang="0">
                <a:pos x="connsiteX42321" y="connsiteY42321"/>
              </a:cxn>
              <a:cxn ang="0">
                <a:pos x="connsiteX42322" y="connsiteY42322"/>
              </a:cxn>
              <a:cxn ang="0">
                <a:pos x="connsiteX42323" y="connsiteY42323"/>
              </a:cxn>
              <a:cxn ang="0">
                <a:pos x="connsiteX42324" y="connsiteY42324"/>
              </a:cxn>
              <a:cxn ang="0">
                <a:pos x="connsiteX42325" y="connsiteY42325"/>
              </a:cxn>
              <a:cxn ang="0">
                <a:pos x="connsiteX42326" y="connsiteY42326"/>
              </a:cxn>
              <a:cxn ang="0">
                <a:pos x="connsiteX42327" y="connsiteY42327"/>
              </a:cxn>
              <a:cxn ang="0">
                <a:pos x="connsiteX42328" y="connsiteY42328"/>
              </a:cxn>
              <a:cxn ang="0">
                <a:pos x="connsiteX42329" y="connsiteY42329"/>
              </a:cxn>
              <a:cxn ang="0">
                <a:pos x="connsiteX42330" y="connsiteY42330"/>
              </a:cxn>
              <a:cxn ang="0">
                <a:pos x="connsiteX42331" y="connsiteY42331"/>
              </a:cxn>
              <a:cxn ang="0">
                <a:pos x="connsiteX42332" y="connsiteY42332"/>
              </a:cxn>
              <a:cxn ang="0">
                <a:pos x="connsiteX42333" y="connsiteY42333"/>
              </a:cxn>
              <a:cxn ang="0">
                <a:pos x="connsiteX42334" y="connsiteY42334"/>
              </a:cxn>
              <a:cxn ang="0">
                <a:pos x="connsiteX42335" y="connsiteY42335"/>
              </a:cxn>
              <a:cxn ang="0">
                <a:pos x="connsiteX42336" y="connsiteY42336"/>
              </a:cxn>
              <a:cxn ang="0">
                <a:pos x="connsiteX42337" y="connsiteY42337"/>
              </a:cxn>
              <a:cxn ang="0">
                <a:pos x="connsiteX42338" y="connsiteY42338"/>
              </a:cxn>
              <a:cxn ang="0">
                <a:pos x="connsiteX42339" y="connsiteY42339"/>
              </a:cxn>
              <a:cxn ang="0">
                <a:pos x="connsiteX42340" y="connsiteY42340"/>
              </a:cxn>
              <a:cxn ang="0">
                <a:pos x="connsiteX42341" y="connsiteY42341"/>
              </a:cxn>
              <a:cxn ang="0">
                <a:pos x="connsiteX42342" y="connsiteY42342"/>
              </a:cxn>
              <a:cxn ang="0">
                <a:pos x="connsiteX42343" y="connsiteY42343"/>
              </a:cxn>
              <a:cxn ang="0">
                <a:pos x="connsiteX42344" y="connsiteY42344"/>
              </a:cxn>
              <a:cxn ang="0">
                <a:pos x="connsiteX42345" y="connsiteY42345"/>
              </a:cxn>
              <a:cxn ang="0">
                <a:pos x="connsiteX42346" y="connsiteY42346"/>
              </a:cxn>
              <a:cxn ang="0">
                <a:pos x="connsiteX42347" y="connsiteY42347"/>
              </a:cxn>
              <a:cxn ang="0">
                <a:pos x="connsiteX42348" y="connsiteY42348"/>
              </a:cxn>
              <a:cxn ang="0">
                <a:pos x="connsiteX42349" y="connsiteY42349"/>
              </a:cxn>
              <a:cxn ang="0">
                <a:pos x="connsiteX42350" y="connsiteY42350"/>
              </a:cxn>
              <a:cxn ang="0">
                <a:pos x="connsiteX42351" y="connsiteY42351"/>
              </a:cxn>
              <a:cxn ang="0">
                <a:pos x="connsiteX42352" y="connsiteY42352"/>
              </a:cxn>
              <a:cxn ang="0">
                <a:pos x="connsiteX42353" y="connsiteY42353"/>
              </a:cxn>
              <a:cxn ang="0">
                <a:pos x="connsiteX42354" y="connsiteY42354"/>
              </a:cxn>
              <a:cxn ang="0">
                <a:pos x="connsiteX42355" y="connsiteY42355"/>
              </a:cxn>
              <a:cxn ang="0">
                <a:pos x="connsiteX42356" y="connsiteY42356"/>
              </a:cxn>
              <a:cxn ang="0">
                <a:pos x="connsiteX42357" y="connsiteY42357"/>
              </a:cxn>
              <a:cxn ang="0">
                <a:pos x="connsiteX42358" y="connsiteY42358"/>
              </a:cxn>
              <a:cxn ang="0">
                <a:pos x="connsiteX42359" y="connsiteY42359"/>
              </a:cxn>
              <a:cxn ang="0">
                <a:pos x="connsiteX42360" y="connsiteY42360"/>
              </a:cxn>
              <a:cxn ang="0">
                <a:pos x="connsiteX42361" y="connsiteY42361"/>
              </a:cxn>
              <a:cxn ang="0">
                <a:pos x="connsiteX42362" y="connsiteY42362"/>
              </a:cxn>
              <a:cxn ang="0">
                <a:pos x="connsiteX42363" y="connsiteY42363"/>
              </a:cxn>
              <a:cxn ang="0">
                <a:pos x="connsiteX42364" y="connsiteY42364"/>
              </a:cxn>
              <a:cxn ang="0">
                <a:pos x="connsiteX42365" y="connsiteY42365"/>
              </a:cxn>
              <a:cxn ang="0">
                <a:pos x="connsiteX42366" y="connsiteY42366"/>
              </a:cxn>
              <a:cxn ang="0">
                <a:pos x="connsiteX42367" y="connsiteY42367"/>
              </a:cxn>
              <a:cxn ang="0">
                <a:pos x="connsiteX42368" y="connsiteY42368"/>
              </a:cxn>
              <a:cxn ang="0">
                <a:pos x="connsiteX42369" y="connsiteY42369"/>
              </a:cxn>
              <a:cxn ang="0">
                <a:pos x="connsiteX42370" y="connsiteY42370"/>
              </a:cxn>
              <a:cxn ang="0">
                <a:pos x="connsiteX42371" y="connsiteY42371"/>
              </a:cxn>
              <a:cxn ang="0">
                <a:pos x="connsiteX42372" y="connsiteY42372"/>
              </a:cxn>
              <a:cxn ang="0">
                <a:pos x="connsiteX42373" y="connsiteY42373"/>
              </a:cxn>
              <a:cxn ang="0">
                <a:pos x="connsiteX42374" y="connsiteY42374"/>
              </a:cxn>
              <a:cxn ang="0">
                <a:pos x="connsiteX42375" y="connsiteY42375"/>
              </a:cxn>
              <a:cxn ang="0">
                <a:pos x="connsiteX42376" y="connsiteY42376"/>
              </a:cxn>
              <a:cxn ang="0">
                <a:pos x="connsiteX42377" y="connsiteY42377"/>
              </a:cxn>
              <a:cxn ang="0">
                <a:pos x="connsiteX42378" y="connsiteY42378"/>
              </a:cxn>
              <a:cxn ang="0">
                <a:pos x="connsiteX42379" y="connsiteY42379"/>
              </a:cxn>
              <a:cxn ang="0">
                <a:pos x="connsiteX42380" y="connsiteY42380"/>
              </a:cxn>
              <a:cxn ang="0">
                <a:pos x="connsiteX42381" y="connsiteY42381"/>
              </a:cxn>
              <a:cxn ang="0">
                <a:pos x="connsiteX42382" y="connsiteY42382"/>
              </a:cxn>
              <a:cxn ang="0">
                <a:pos x="connsiteX42383" y="connsiteY42383"/>
              </a:cxn>
              <a:cxn ang="0">
                <a:pos x="connsiteX42384" y="connsiteY42384"/>
              </a:cxn>
              <a:cxn ang="0">
                <a:pos x="connsiteX42385" y="connsiteY42385"/>
              </a:cxn>
              <a:cxn ang="0">
                <a:pos x="connsiteX42386" y="connsiteY42386"/>
              </a:cxn>
              <a:cxn ang="0">
                <a:pos x="connsiteX42387" y="connsiteY42387"/>
              </a:cxn>
              <a:cxn ang="0">
                <a:pos x="connsiteX42388" y="connsiteY42388"/>
              </a:cxn>
              <a:cxn ang="0">
                <a:pos x="connsiteX42389" y="connsiteY42389"/>
              </a:cxn>
              <a:cxn ang="0">
                <a:pos x="connsiteX42390" y="connsiteY42390"/>
              </a:cxn>
              <a:cxn ang="0">
                <a:pos x="connsiteX42391" y="connsiteY42391"/>
              </a:cxn>
              <a:cxn ang="0">
                <a:pos x="connsiteX42392" y="connsiteY42392"/>
              </a:cxn>
              <a:cxn ang="0">
                <a:pos x="connsiteX42393" y="connsiteY42393"/>
              </a:cxn>
              <a:cxn ang="0">
                <a:pos x="connsiteX42394" y="connsiteY42394"/>
              </a:cxn>
              <a:cxn ang="0">
                <a:pos x="connsiteX42395" y="connsiteY42395"/>
              </a:cxn>
              <a:cxn ang="0">
                <a:pos x="connsiteX42396" y="connsiteY42396"/>
              </a:cxn>
              <a:cxn ang="0">
                <a:pos x="connsiteX42397" y="connsiteY42397"/>
              </a:cxn>
              <a:cxn ang="0">
                <a:pos x="connsiteX42398" y="connsiteY42398"/>
              </a:cxn>
              <a:cxn ang="0">
                <a:pos x="connsiteX42399" y="connsiteY42399"/>
              </a:cxn>
              <a:cxn ang="0">
                <a:pos x="connsiteX42400" y="connsiteY42400"/>
              </a:cxn>
              <a:cxn ang="0">
                <a:pos x="connsiteX42401" y="connsiteY42401"/>
              </a:cxn>
              <a:cxn ang="0">
                <a:pos x="connsiteX42402" y="connsiteY42402"/>
              </a:cxn>
              <a:cxn ang="0">
                <a:pos x="connsiteX42403" y="connsiteY42403"/>
              </a:cxn>
              <a:cxn ang="0">
                <a:pos x="connsiteX42404" y="connsiteY42404"/>
              </a:cxn>
              <a:cxn ang="0">
                <a:pos x="connsiteX42405" y="connsiteY42405"/>
              </a:cxn>
              <a:cxn ang="0">
                <a:pos x="connsiteX42406" y="connsiteY42406"/>
              </a:cxn>
              <a:cxn ang="0">
                <a:pos x="connsiteX42407" y="connsiteY42407"/>
              </a:cxn>
              <a:cxn ang="0">
                <a:pos x="connsiteX42408" y="connsiteY42408"/>
              </a:cxn>
              <a:cxn ang="0">
                <a:pos x="connsiteX42409" y="connsiteY42409"/>
              </a:cxn>
              <a:cxn ang="0">
                <a:pos x="connsiteX42410" y="connsiteY42410"/>
              </a:cxn>
              <a:cxn ang="0">
                <a:pos x="connsiteX42411" y="connsiteY42411"/>
              </a:cxn>
              <a:cxn ang="0">
                <a:pos x="connsiteX42412" y="connsiteY42412"/>
              </a:cxn>
              <a:cxn ang="0">
                <a:pos x="connsiteX42413" y="connsiteY42413"/>
              </a:cxn>
              <a:cxn ang="0">
                <a:pos x="connsiteX42414" y="connsiteY42414"/>
              </a:cxn>
              <a:cxn ang="0">
                <a:pos x="connsiteX42415" y="connsiteY42415"/>
              </a:cxn>
              <a:cxn ang="0">
                <a:pos x="connsiteX42416" y="connsiteY42416"/>
              </a:cxn>
              <a:cxn ang="0">
                <a:pos x="connsiteX42417" y="connsiteY42417"/>
              </a:cxn>
              <a:cxn ang="0">
                <a:pos x="connsiteX42418" y="connsiteY42418"/>
              </a:cxn>
              <a:cxn ang="0">
                <a:pos x="connsiteX42419" y="connsiteY42419"/>
              </a:cxn>
              <a:cxn ang="0">
                <a:pos x="connsiteX42420" y="connsiteY42420"/>
              </a:cxn>
              <a:cxn ang="0">
                <a:pos x="connsiteX42421" y="connsiteY42421"/>
              </a:cxn>
              <a:cxn ang="0">
                <a:pos x="connsiteX42422" y="connsiteY42422"/>
              </a:cxn>
              <a:cxn ang="0">
                <a:pos x="connsiteX42423" y="connsiteY42423"/>
              </a:cxn>
              <a:cxn ang="0">
                <a:pos x="connsiteX42424" y="connsiteY42424"/>
              </a:cxn>
              <a:cxn ang="0">
                <a:pos x="connsiteX42425" y="connsiteY42425"/>
              </a:cxn>
              <a:cxn ang="0">
                <a:pos x="connsiteX42426" y="connsiteY42426"/>
              </a:cxn>
              <a:cxn ang="0">
                <a:pos x="connsiteX42427" y="connsiteY42427"/>
              </a:cxn>
              <a:cxn ang="0">
                <a:pos x="connsiteX42428" y="connsiteY42428"/>
              </a:cxn>
              <a:cxn ang="0">
                <a:pos x="connsiteX42429" y="connsiteY42429"/>
              </a:cxn>
              <a:cxn ang="0">
                <a:pos x="connsiteX42430" y="connsiteY42430"/>
              </a:cxn>
              <a:cxn ang="0">
                <a:pos x="connsiteX42431" y="connsiteY42431"/>
              </a:cxn>
              <a:cxn ang="0">
                <a:pos x="connsiteX42432" y="connsiteY42432"/>
              </a:cxn>
              <a:cxn ang="0">
                <a:pos x="connsiteX42433" y="connsiteY42433"/>
              </a:cxn>
              <a:cxn ang="0">
                <a:pos x="connsiteX42434" y="connsiteY42434"/>
              </a:cxn>
              <a:cxn ang="0">
                <a:pos x="connsiteX42435" y="connsiteY42435"/>
              </a:cxn>
              <a:cxn ang="0">
                <a:pos x="connsiteX42436" y="connsiteY42436"/>
              </a:cxn>
              <a:cxn ang="0">
                <a:pos x="connsiteX42437" y="connsiteY42437"/>
              </a:cxn>
              <a:cxn ang="0">
                <a:pos x="connsiteX42438" y="connsiteY42438"/>
              </a:cxn>
              <a:cxn ang="0">
                <a:pos x="connsiteX42439" y="connsiteY42439"/>
              </a:cxn>
              <a:cxn ang="0">
                <a:pos x="connsiteX42440" y="connsiteY42440"/>
              </a:cxn>
              <a:cxn ang="0">
                <a:pos x="connsiteX42441" y="connsiteY42441"/>
              </a:cxn>
              <a:cxn ang="0">
                <a:pos x="connsiteX42442" y="connsiteY42442"/>
              </a:cxn>
              <a:cxn ang="0">
                <a:pos x="connsiteX42443" y="connsiteY42443"/>
              </a:cxn>
              <a:cxn ang="0">
                <a:pos x="connsiteX42444" y="connsiteY42444"/>
              </a:cxn>
              <a:cxn ang="0">
                <a:pos x="connsiteX42445" y="connsiteY42445"/>
              </a:cxn>
              <a:cxn ang="0">
                <a:pos x="connsiteX42446" y="connsiteY42446"/>
              </a:cxn>
              <a:cxn ang="0">
                <a:pos x="connsiteX42447" y="connsiteY42447"/>
              </a:cxn>
              <a:cxn ang="0">
                <a:pos x="connsiteX42448" y="connsiteY42448"/>
              </a:cxn>
              <a:cxn ang="0">
                <a:pos x="connsiteX42449" y="connsiteY42449"/>
              </a:cxn>
              <a:cxn ang="0">
                <a:pos x="connsiteX42450" y="connsiteY42450"/>
              </a:cxn>
              <a:cxn ang="0">
                <a:pos x="connsiteX42451" y="connsiteY42451"/>
              </a:cxn>
              <a:cxn ang="0">
                <a:pos x="connsiteX42452" y="connsiteY42452"/>
              </a:cxn>
              <a:cxn ang="0">
                <a:pos x="connsiteX42453" y="connsiteY42453"/>
              </a:cxn>
              <a:cxn ang="0">
                <a:pos x="connsiteX42454" y="connsiteY42454"/>
              </a:cxn>
              <a:cxn ang="0">
                <a:pos x="connsiteX42455" y="connsiteY42455"/>
              </a:cxn>
              <a:cxn ang="0">
                <a:pos x="connsiteX42456" y="connsiteY42456"/>
              </a:cxn>
              <a:cxn ang="0">
                <a:pos x="connsiteX42457" y="connsiteY42457"/>
              </a:cxn>
              <a:cxn ang="0">
                <a:pos x="connsiteX42458" y="connsiteY42458"/>
              </a:cxn>
              <a:cxn ang="0">
                <a:pos x="connsiteX42459" y="connsiteY42459"/>
              </a:cxn>
              <a:cxn ang="0">
                <a:pos x="connsiteX42460" y="connsiteY42460"/>
              </a:cxn>
              <a:cxn ang="0">
                <a:pos x="connsiteX42461" y="connsiteY42461"/>
              </a:cxn>
              <a:cxn ang="0">
                <a:pos x="connsiteX42462" y="connsiteY42462"/>
              </a:cxn>
              <a:cxn ang="0">
                <a:pos x="connsiteX42463" y="connsiteY42463"/>
              </a:cxn>
              <a:cxn ang="0">
                <a:pos x="connsiteX42464" y="connsiteY42464"/>
              </a:cxn>
              <a:cxn ang="0">
                <a:pos x="connsiteX42465" y="connsiteY42465"/>
              </a:cxn>
              <a:cxn ang="0">
                <a:pos x="connsiteX42466" y="connsiteY42466"/>
              </a:cxn>
              <a:cxn ang="0">
                <a:pos x="connsiteX42467" y="connsiteY42467"/>
              </a:cxn>
              <a:cxn ang="0">
                <a:pos x="connsiteX42468" y="connsiteY42468"/>
              </a:cxn>
              <a:cxn ang="0">
                <a:pos x="connsiteX42469" y="connsiteY42469"/>
              </a:cxn>
              <a:cxn ang="0">
                <a:pos x="connsiteX42470" y="connsiteY42470"/>
              </a:cxn>
              <a:cxn ang="0">
                <a:pos x="connsiteX42471" y="connsiteY42471"/>
              </a:cxn>
              <a:cxn ang="0">
                <a:pos x="connsiteX42472" y="connsiteY42472"/>
              </a:cxn>
              <a:cxn ang="0">
                <a:pos x="connsiteX42473" y="connsiteY42473"/>
              </a:cxn>
              <a:cxn ang="0">
                <a:pos x="connsiteX42474" y="connsiteY42474"/>
              </a:cxn>
              <a:cxn ang="0">
                <a:pos x="connsiteX42475" y="connsiteY42475"/>
              </a:cxn>
              <a:cxn ang="0">
                <a:pos x="connsiteX42476" y="connsiteY42476"/>
              </a:cxn>
              <a:cxn ang="0">
                <a:pos x="connsiteX42477" y="connsiteY42477"/>
              </a:cxn>
              <a:cxn ang="0">
                <a:pos x="connsiteX42478" y="connsiteY42478"/>
              </a:cxn>
              <a:cxn ang="0">
                <a:pos x="connsiteX42479" y="connsiteY42479"/>
              </a:cxn>
              <a:cxn ang="0">
                <a:pos x="connsiteX42480" y="connsiteY42480"/>
              </a:cxn>
              <a:cxn ang="0">
                <a:pos x="connsiteX42481" y="connsiteY42481"/>
              </a:cxn>
              <a:cxn ang="0">
                <a:pos x="connsiteX42482" y="connsiteY42482"/>
              </a:cxn>
              <a:cxn ang="0">
                <a:pos x="connsiteX42483" y="connsiteY42483"/>
              </a:cxn>
              <a:cxn ang="0">
                <a:pos x="connsiteX42484" y="connsiteY42484"/>
              </a:cxn>
              <a:cxn ang="0">
                <a:pos x="connsiteX42485" y="connsiteY42485"/>
              </a:cxn>
              <a:cxn ang="0">
                <a:pos x="connsiteX42486" y="connsiteY42486"/>
              </a:cxn>
              <a:cxn ang="0">
                <a:pos x="connsiteX42487" y="connsiteY42487"/>
              </a:cxn>
              <a:cxn ang="0">
                <a:pos x="connsiteX42488" y="connsiteY42488"/>
              </a:cxn>
              <a:cxn ang="0">
                <a:pos x="connsiteX42489" y="connsiteY42489"/>
              </a:cxn>
              <a:cxn ang="0">
                <a:pos x="connsiteX42490" y="connsiteY42490"/>
              </a:cxn>
              <a:cxn ang="0">
                <a:pos x="connsiteX42491" y="connsiteY42491"/>
              </a:cxn>
              <a:cxn ang="0">
                <a:pos x="connsiteX42492" y="connsiteY42492"/>
              </a:cxn>
              <a:cxn ang="0">
                <a:pos x="connsiteX42493" y="connsiteY42493"/>
              </a:cxn>
              <a:cxn ang="0">
                <a:pos x="connsiteX42494" y="connsiteY42494"/>
              </a:cxn>
              <a:cxn ang="0">
                <a:pos x="connsiteX42495" y="connsiteY42495"/>
              </a:cxn>
              <a:cxn ang="0">
                <a:pos x="connsiteX42496" y="connsiteY42496"/>
              </a:cxn>
              <a:cxn ang="0">
                <a:pos x="connsiteX42497" y="connsiteY42497"/>
              </a:cxn>
              <a:cxn ang="0">
                <a:pos x="connsiteX42498" y="connsiteY42498"/>
              </a:cxn>
              <a:cxn ang="0">
                <a:pos x="connsiteX42499" y="connsiteY42499"/>
              </a:cxn>
              <a:cxn ang="0">
                <a:pos x="connsiteX42500" y="connsiteY42500"/>
              </a:cxn>
              <a:cxn ang="0">
                <a:pos x="connsiteX42501" y="connsiteY42501"/>
              </a:cxn>
              <a:cxn ang="0">
                <a:pos x="connsiteX42502" y="connsiteY42502"/>
              </a:cxn>
              <a:cxn ang="0">
                <a:pos x="connsiteX42503" y="connsiteY42503"/>
              </a:cxn>
              <a:cxn ang="0">
                <a:pos x="connsiteX42504" y="connsiteY42504"/>
              </a:cxn>
              <a:cxn ang="0">
                <a:pos x="connsiteX42505" y="connsiteY42505"/>
              </a:cxn>
              <a:cxn ang="0">
                <a:pos x="connsiteX42506" y="connsiteY42506"/>
              </a:cxn>
              <a:cxn ang="0">
                <a:pos x="connsiteX42507" y="connsiteY42507"/>
              </a:cxn>
              <a:cxn ang="0">
                <a:pos x="connsiteX42508" y="connsiteY42508"/>
              </a:cxn>
              <a:cxn ang="0">
                <a:pos x="connsiteX42509" y="connsiteY42509"/>
              </a:cxn>
              <a:cxn ang="0">
                <a:pos x="connsiteX42510" y="connsiteY42510"/>
              </a:cxn>
              <a:cxn ang="0">
                <a:pos x="connsiteX42511" y="connsiteY42511"/>
              </a:cxn>
              <a:cxn ang="0">
                <a:pos x="connsiteX42512" y="connsiteY42512"/>
              </a:cxn>
              <a:cxn ang="0">
                <a:pos x="connsiteX42513" y="connsiteY42513"/>
              </a:cxn>
              <a:cxn ang="0">
                <a:pos x="connsiteX42514" y="connsiteY42514"/>
              </a:cxn>
              <a:cxn ang="0">
                <a:pos x="connsiteX42515" y="connsiteY42515"/>
              </a:cxn>
              <a:cxn ang="0">
                <a:pos x="connsiteX42516" y="connsiteY42516"/>
              </a:cxn>
              <a:cxn ang="0">
                <a:pos x="connsiteX42517" y="connsiteY42517"/>
              </a:cxn>
              <a:cxn ang="0">
                <a:pos x="connsiteX42518" y="connsiteY42518"/>
              </a:cxn>
              <a:cxn ang="0">
                <a:pos x="connsiteX42519" y="connsiteY42519"/>
              </a:cxn>
              <a:cxn ang="0">
                <a:pos x="connsiteX42520" y="connsiteY42520"/>
              </a:cxn>
              <a:cxn ang="0">
                <a:pos x="connsiteX42521" y="connsiteY42521"/>
              </a:cxn>
              <a:cxn ang="0">
                <a:pos x="connsiteX42522" y="connsiteY42522"/>
              </a:cxn>
              <a:cxn ang="0">
                <a:pos x="connsiteX42523" y="connsiteY42523"/>
              </a:cxn>
              <a:cxn ang="0">
                <a:pos x="connsiteX42524" y="connsiteY42524"/>
              </a:cxn>
              <a:cxn ang="0">
                <a:pos x="connsiteX42525" y="connsiteY42525"/>
              </a:cxn>
              <a:cxn ang="0">
                <a:pos x="connsiteX42526" y="connsiteY42526"/>
              </a:cxn>
              <a:cxn ang="0">
                <a:pos x="connsiteX42527" y="connsiteY42527"/>
              </a:cxn>
              <a:cxn ang="0">
                <a:pos x="connsiteX42528" y="connsiteY42528"/>
              </a:cxn>
              <a:cxn ang="0">
                <a:pos x="connsiteX42529" y="connsiteY42529"/>
              </a:cxn>
              <a:cxn ang="0">
                <a:pos x="connsiteX42530" y="connsiteY42530"/>
              </a:cxn>
              <a:cxn ang="0">
                <a:pos x="connsiteX42531" y="connsiteY42531"/>
              </a:cxn>
              <a:cxn ang="0">
                <a:pos x="connsiteX42532" y="connsiteY42532"/>
              </a:cxn>
              <a:cxn ang="0">
                <a:pos x="connsiteX42533" y="connsiteY42533"/>
              </a:cxn>
              <a:cxn ang="0">
                <a:pos x="connsiteX42534" y="connsiteY42534"/>
              </a:cxn>
              <a:cxn ang="0">
                <a:pos x="connsiteX42535" y="connsiteY42535"/>
              </a:cxn>
              <a:cxn ang="0">
                <a:pos x="connsiteX42536" y="connsiteY42536"/>
              </a:cxn>
              <a:cxn ang="0">
                <a:pos x="connsiteX42537" y="connsiteY42537"/>
              </a:cxn>
              <a:cxn ang="0">
                <a:pos x="connsiteX42538" y="connsiteY42538"/>
              </a:cxn>
              <a:cxn ang="0">
                <a:pos x="connsiteX42539" y="connsiteY42539"/>
              </a:cxn>
              <a:cxn ang="0">
                <a:pos x="connsiteX42540" y="connsiteY42540"/>
              </a:cxn>
              <a:cxn ang="0">
                <a:pos x="connsiteX42541" y="connsiteY42541"/>
              </a:cxn>
              <a:cxn ang="0">
                <a:pos x="connsiteX42542" y="connsiteY42542"/>
              </a:cxn>
              <a:cxn ang="0">
                <a:pos x="connsiteX42543" y="connsiteY42543"/>
              </a:cxn>
              <a:cxn ang="0">
                <a:pos x="connsiteX42544" y="connsiteY42544"/>
              </a:cxn>
              <a:cxn ang="0">
                <a:pos x="connsiteX42545" y="connsiteY42545"/>
              </a:cxn>
              <a:cxn ang="0">
                <a:pos x="connsiteX42546" y="connsiteY42546"/>
              </a:cxn>
              <a:cxn ang="0">
                <a:pos x="connsiteX42547" y="connsiteY42547"/>
              </a:cxn>
              <a:cxn ang="0">
                <a:pos x="connsiteX42548" y="connsiteY42548"/>
              </a:cxn>
              <a:cxn ang="0">
                <a:pos x="connsiteX42549" y="connsiteY42549"/>
              </a:cxn>
              <a:cxn ang="0">
                <a:pos x="connsiteX42550" y="connsiteY42550"/>
              </a:cxn>
              <a:cxn ang="0">
                <a:pos x="connsiteX42551" y="connsiteY42551"/>
              </a:cxn>
              <a:cxn ang="0">
                <a:pos x="connsiteX42552" y="connsiteY42552"/>
              </a:cxn>
              <a:cxn ang="0">
                <a:pos x="connsiteX42553" y="connsiteY42553"/>
              </a:cxn>
              <a:cxn ang="0">
                <a:pos x="connsiteX42554" y="connsiteY42554"/>
              </a:cxn>
              <a:cxn ang="0">
                <a:pos x="connsiteX42555" y="connsiteY42555"/>
              </a:cxn>
              <a:cxn ang="0">
                <a:pos x="connsiteX42556" y="connsiteY42556"/>
              </a:cxn>
              <a:cxn ang="0">
                <a:pos x="connsiteX42557" y="connsiteY42557"/>
              </a:cxn>
              <a:cxn ang="0">
                <a:pos x="connsiteX42558" y="connsiteY42558"/>
              </a:cxn>
              <a:cxn ang="0">
                <a:pos x="connsiteX42559" y="connsiteY42559"/>
              </a:cxn>
              <a:cxn ang="0">
                <a:pos x="connsiteX42560" y="connsiteY42560"/>
              </a:cxn>
              <a:cxn ang="0">
                <a:pos x="connsiteX42561" y="connsiteY42561"/>
              </a:cxn>
              <a:cxn ang="0">
                <a:pos x="connsiteX42562" y="connsiteY42562"/>
              </a:cxn>
              <a:cxn ang="0">
                <a:pos x="connsiteX42563" y="connsiteY42563"/>
              </a:cxn>
              <a:cxn ang="0">
                <a:pos x="connsiteX42564" y="connsiteY42564"/>
              </a:cxn>
              <a:cxn ang="0">
                <a:pos x="connsiteX42565" y="connsiteY42565"/>
              </a:cxn>
              <a:cxn ang="0">
                <a:pos x="connsiteX42566" y="connsiteY42566"/>
              </a:cxn>
              <a:cxn ang="0">
                <a:pos x="connsiteX42567" y="connsiteY42567"/>
              </a:cxn>
              <a:cxn ang="0">
                <a:pos x="connsiteX42568" y="connsiteY42568"/>
              </a:cxn>
              <a:cxn ang="0">
                <a:pos x="connsiteX42569" y="connsiteY42569"/>
              </a:cxn>
              <a:cxn ang="0">
                <a:pos x="connsiteX42570" y="connsiteY42570"/>
              </a:cxn>
              <a:cxn ang="0">
                <a:pos x="connsiteX42571" y="connsiteY42571"/>
              </a:cxn>
              <a:cxn ang="0">
                <a:pos x="connsiteX42572" y="connsiteY42572"/>
              </a:cxn>
              <a:cxn ang="0">
                <a:pos x="connsiteX42573" y="connsiteY42573"/>
              </a:cxn>
              <a:cxn ang="0">
                <a:pos x="connsiteX42574" y="connsiteY42574"/>
              </a:cxn>
              <a:cxn ang="0">
                <a:pos x="connsiteX42575" y="connsiteY42575"/>
              </a:cxn>
              <a:cxn ang="0">
                <a:pos x="connsiteX42576" y="connsiteY42576"/>
              </a:cxn>
              <a:cxn ang="0">
                <a:pos x="connsiteX42577" y="connsiteY42577"/>
              </a:cxn>
              <a:cxn ang="0">
                <a:pos x="connsiteX42578" y="connsiteY42578"/>
              </a:cxn>
              <a:cxn ang="0">
                <a:pos x="connsiteX42579" y="connsiteY42579"/>
              </a:cxn>
              <a:cxn ang="0">
                <a:pos x="connsiteX42580" y="connsiteY42580"/>
              </a:cxn>
              <a:cxn ang="0">
                <a:pos x="connsiteX42581" y="connsiteY42581"/>
              </a:cxn>
              <a:cxn ang="0">
                <a:pos x="connsiteX42582" y="connsiteY42582"/>
              </a:cxn>
              <a:cxn ang="0">
                <a:pos x="connsiteX42583" y="connsiteY42583"/>
              </a:cxn>
              <a:cxn ang="0">
                <a:pos x="connsiteX42584" y="connsiteY42584"/>
              </a:cxn>
              <a:cxn ang="0">
                <a:pos x="connsiteX42585" y="connsiteY42585"/>
              </a:cxn>
              <a:cxn ang="0">
                <a:pos x="connsiteX42586" y="connsiteY42586"/>
              </a:cxn>
              <a:cxn ang="0">
                <a:pos x="connsiteX42587" y="connsiteY42587"/>
              </a:cxn>
              <a:cxn ang="0">
                <a:pos x="connsiteX42588" y="connsiteY42588"/>
              </a:cxn>
              <a:cxn ang="0">
                <a:pos x="connsiteX42589" y="connsiteY42589"/>
              </a:cxn>
              <a:cxn ang="0">
                <a:pos x="connsiteX42590" y="connsiteY42590"/>
              </a:cxn>
              <a:cxn ang="0">
                <a:pos x="connsiteX42591" y="connsiteY42591"/>
              </a:cxn>
              <a:cxn ang="0">
                <a:pos x="connsiteX42592" y="connsiteY42592"/>
              </a:cxn>
              <a:cxn ang="0">
                <a:pos x="connsiteX42593" y="connsiteY42593"/>
              </a:cxn>
              <a:cxn ang="0">
                <a:pos x="connsiteX42594" y="connsiteY42594"/>
              </a:cxn>
              <a:cxn ang="0">
                <a:pos x="connsiteX42595" y="connsiteY42595"/>
              </a:cxn>
              <a:cxn ang="0">
                <a:pos x="connsiteX42596" y="connsiteY42596"/>
              </a:cxn>
              <a:cxn ang="0">
                <a:pos x="connsiteX42597" y="connsiteY42597"/>
              </a:cxn>
              <a:cxn ang="0">
                <a:pos x="connsiteX42598" y="connsiteY42598"/>
              </a:cxn>
              <a:cxn ang="0">
                <a:pos x="connsiteX42599" y="connsiteY42599"/>
              </a:cxn>
              <a:cxn ang="0">
                <a:pos x="connsiteX42600" y="connsiteY42600"/>
              </a:cxn>
              <a:cxn ang="0">
                <a:pos x="connsiteX42601" y="connsiteY42601"/>
              </a:cxn>
              <a:cxn ang="0">
                <a:pos x="connsiteX42602" y="connsiteY42602"/>
              </a:cxn>
              <a:cxn ang="0">
                <a:pos x="connsiteX42603" y="connsiteY42603"/>
              </a:cxn>
              <a:cxn ang="0">
                <a:pos x="connsiteX42604" y="connsiteY42604"/>
              </a:cxn>
              <a:cxn ang="0">
                <a:pos x="connsiteX42605" y="connsiteY42605"/>
              </a:cxn>
              <a:cxn ang="0">
                <a:pos x="connsiteX42606" y="connsiteY42606"/>
              </a:cxn>
              <a:cxn ang="0">
                <a:pos x="connsiteX42607" y="connsiteY42607"/>
              </a:cxn>
              <a:cxn ang="0">
                <a:pos x="connsiteX42608" y="connsiteY42608"/>
              </a:cxn>
              <a:cxn ang="0">
                <a:pos x="connsiteX42609" y="connsiteY42609"/>
              </a:cxn>
              <a:cxn ang="0">
                <a:pos x="connsiteX42610" y="connsiteY42610"/>
              </a:cxn>
              <a:cxn ang="0">
                <a:pos x="connsiteX42611" y="connsiteY42611"/>
              </a:cxn>
              <a:cxn ang="0">
                <a:pos x="connsiteX42612" y="connsiteY42612"/>
              </a:cxn>
              <a:cxn ang="0">
                <a:pos x="connsiteX42613" y="connsiteY42613"/>
              </a:cxn>
              <a:cxn ang="0">
                <a:pos x="connsiteX42614" y="connsiteY42614"/>
              </a:cxn>
              <a:cxn ang="0">
                <a:pos x="connsiteX42615" y="connsiteY42615"/>
              </a:cxn>
              <a:cxn ang="0">
                <a:pos x="connsiteX42616" y="connsiteY42616"/>
              </a:cxn>
              <a:cxn ang="0">
                <a:pos x="connsiteX42617" y="connsiteY42617"/>
              </a:cxn>
              <a:cxn ang="0">
                <a:pos x="connsiteX42618" y="connsiteY42618"/>
              </a:cxn>
              <a:cxn ang="0">
                <a:pos x="connsiteX42619" y="connsiteY42619"/>
              </a:cxn>
              <a:cxn ang="0">
                <a:pos x="connsiteX42620" y="connsiteY42620"/>
              </a:cxn>
              <a:cxn ang="0">
                <a:pos x="connsiteX42621" y="connsiteY42621"/>
              </a:cxn>
              <a:cxn ang="0">
                <a:pos x="connsiteX42622" y="connsiteY42622"/>
              </a:cxn>
              <a:cxn ang="0">
                <a:pos x="connsiteX42623" y="connsiteY42623"/>
              </a:cxn>
              <a:cxn ang="0">
                <a:pos x="connsiteX42624" y="connsiteY42624"/>
              </a:cxn>
              <a:cxn ang="0">
                <a:pos x="connsiteX42625" y="connsiteY42625"/>
              </a:cxn>
              <a:cxn ang="0">
                <a:pos x="connsiteX42626" y="connsiteY42626"/>
              </a:cxn>
              <a:cxn ang="0">
                <a:pos x="connsiteX42627" y="connsiteY42627"/>
              </a:cxn>
              <a:cxn ang="0">
                <a:pos x="connsiteX42628" y="connsiteY42628"/>
              </a:cxn>
              <a:cxn ang="0">
                <a:pos x="connsiteX42629" y="connsiteY42629"/>
              </a:cxn>
              <a:cxn ang="0">
                <a:pos x="connsiteX42630" y="connsiteY42630"/>
              </a:cxn>
              <a:cxn ang="0">
                <a:pos x="connsiteX42631" y="connsiteY42631"/>
              </a:cxn>
              <a:cxn ang="0">
                <a:pos x="connsiteX42632" y="connsiteY42632"/>
              </a:cxn>
              <a:cxn ang="0">
                <a:pos x="connsiteX42633" y="connsiteY42633"/>
              </a:cxn>
              <a:cxn ang="0">
                <a:pos x="connsiteX42634" y="connsiteY42634"/>
              </a:cxn>
              <a:cxn ang="0">
                <a:pos x="connsiteX42635" y="connsiteY42635"/>
              </a:cxn>
              <a:cxn ang="0">
                <a:pos x="connsiteX42636" y="connsiteY42636"/>
              </a:cxn>
              <a:cxn ang="0">
                <a:pos x="connsiteX42637" y="connsiteY42637"/>
              </a:cxn>
              <a:cxn ang="0">
                <a:pos x="connsiteX42638" y="connsiteY42638"/>
              </a:cxn>
              <a:cxn ang="0">
                <a:pos x="connsiteX42639" y="connsiteY42639"/>
              </a:cxn>
              <a:cxn ang="0">
                <a:pos x="connsiteX42640" y="connsiteY42640"/>
              </a:cxn>
              <a:cxn ang="0">
                <a:pos x="connsiteX42641" y="connsiteY42641"/>
              </a:cxn>
              <a:cxn ang="0">
                <a:pos x="connsiteX42642" y="connsiteY42642"/>
              </a:cxn>
              <a:cxn ang="0">
                <a:pos x="connsiteX42643" y="connsiteY42643"/>
              </a:cxn>
              <a:cxn ang="0">
                <a:pos x="connsiteX42644" y="connsiteY42644"/>
              </a:cxn>
              <a:cxn ang="0">
                <a:pos x="connsiteX42645" y="connsiteY42645"/>
              </a:cxn>
              <a:cxn ang="0">
                <a:pos x="connsiteX42646" y="connsiteY42646"/>
              </a:cxn>
              <a:cxn ang="0">
                <a:pos x="connsiteX42647" y="connsiteY42647"/>
              </a:cxn>
              <a:cxn ang="0">
                <a:pos x="connsiteX42648" y="connsiteY42648"/>
              </a:cxn>
              <a:cxn ang="0">
                <a:pos x="connsiteX42649" y="connsiteY42649"/>
              </a:cxn>
              <a:cxn ang="0">
                <a:pos x="connsiteX42650" y="connsiteY42650"/>
              </a:cxn>
              <a:cxn ang="0">
                <a:pos x="connsiteX42651" y="connsiteY42651"/>
              </a:cxn>
              <a:cxn ang="0">
                <a:pos x="connsiteX42652" y="connsiteY42652"/>
              </a:cxn>
              <a:cxn ang="0">
                <a:pos x="connsiteX42653" y="connsiteY42653"/>
              </a:cxn>
              <a:cxn ang="0">
                <a:pos x="connsiteX42654" y="connsiteY42654"/>
              </a:cxn>
              <a:cxn ang="0">
                <a:pos x="connsiteX42655" y="connsiteY42655"/>
              </a:cxn>
              <a:cxn ang="0">
                <a:pos x="connsiteX42656" y="connsiteY42656"/>
              </a:cxn>
              <a:cxn ang="0">
                <a:pos x="connsiteX42657" y="connsiteY42657"/>
              </a:cxn>
              <a:cxn ang="0">
                <a:pos x="connsiteX42658" y="connsiteY42658"/>
              </a:cxn>
              <a:cxn ang="0">
                <a:pos x="connsiteX42659" y="connsiteY42659"/>
              </a:cxn>
              <a:cxn ang="0">
                <a:pos x="connsiteX42660" y="connsiteY42660"/>
              </a:cxn>
              <a:cxn ang="0">
                <a:pos x="connsiteX42661" y="connsiteY42661"/>
              </a:cxn>
              <a:cxn ang="0">
                <a:pos x="connsiteX42662" y="connsiteY42662"/>
              </a:cxn>
              <a:cxn ang="0">
                <a:pos x="connsiteX42663" y="connsiteY42663"/>
              </a:cxn>
              <a:cxn ang="0">
                <a:pos x="connsiteX42664" y="connsiteY42664"/>
              </a:cxn>
              <a:cxn ang="0">
                <a:pos x="connsiteX42665" y="connsiteY42665"/>
              </a:cxn>
              <a:cxn ang="0">
                <a:pos x="connsiteX42666" y="connsiteY42666"/>
              </a:cxn>
              <a:cxn ang="0">
                <a:pos x="connsiteX42667" y="connsiteY42667"/>
              </a:cxn>
              <a:cxn ang="0">
                <a:pos x="connsiteX42668" y="connsiteY42668"/>
              </a:cxn>
              <a:cxn ang="0">
                <a:pos x="connsiteX42669" y="connsiteY42669"/>
              </a:cxn>
              <a:cxn ang="0">
                <a:pos x="connsiteX42670" y="connsiteY42670"/>
              </a:cxn>
              <a:cxn ang="0">
                <a:pos x="connsiteX42671" y="connsiteY42671"/>
              </a:cxn>
              <a:cxn ang="0">
                <a:pos x="connsiteX42672" y="connsiteY42672"/>
              </a:cxn>
              <a:cxn ang="0">
                <a:pos x="connsiteX42673" y="connsiteY42673"/>
              </a:cxn>
              <a:cxn ang="0">
                <a:pos x="connsiteX42674" y="connsiteY42674"/>
              </a:cxn>
              <a:cxn ang="0">
                <a:pos x="connsiteX42675" y="connsiteY42675"/>
              </a:cxn>
              <a:cxn ang="0">
                <a:pos x="connsiteX42676" y="connsiteY42676"/>
              </a:cxn>
              <a:cxn ang="0">
                <a:pos x="connsiteX42677" y="connsiteY42677"/>
              </a:cxn>
              <a:cxn ang="0">
                <a:pos x="connsiteX42678" y="connsiteY42678"/>
              </a:cxn>
              <a:cxn ang="0">
                <a:pos x="connsiteX42679" y="connsiteY42679"/>
              </a:cxn>
              <a:cxn ang="0">
                <a:pos x="connsiteX42680" y="connsiteY42680"/>
              </a:cxn>
              <a:cxn ang="0">
                <a:pos x="connsiteX42681" y="connsiteY42681"/>
              </a:cxn>
              <a:cxn ang="0">
                <a:pos x="connsiteX42682" y="connsiteY42682"/>
              </a:cxn>
              <a:cxn ang="0">
                <a:pos x="connsiteX42683" y="connsiteY42683"/>
              </a:cxn>
              <a:cxn ang="0">
                <a:pos x="connsiteX42684" y="connsiteY42684"/>
              </a:cxn>
              <a:cxn ang="0">
                <a:pos x="connsiteX42685" y="connsiteY42685"/>
              </a:cxn>
              <a:cxn ang="0">
                <a:pos x="connsiteX42686" y="connsiteY42686"/>
              </a:cxn>
              <a:cxn ang="0">
                <a:pos x="connsiteX42687" y="connsiteY42687"/>
              </a:cxn>
              <a:cxn ang="0">
                <a:pos x="connsiteX42688" y="connsiteY42688"/>
              </a:cxn>
              <a:cxn ang="0">
                <a:pos x="connsiteX42689" y="connsiteY42689"/>
              </a:cxn>
              <a:cxn ang="0">
                <a:pos x="connsiteX42690" y="connsiteY42690"/>
              </a:cxn>
              <a:cxn ang="0">
                <a:pos x="connsiteX42691" y="connsiteY42691"/>
              </a:cxn>
              <a:cxn ang="0">
                <a:pos x="connsiteX42692" y="connsiteY42692"/>
              </a:cxn>
              <a:cxn ang="0">
                <a:pos x="connsiteX42693" y="connsiteY42693"/>
              </a:cxn>
              <a:cxn ang="0">
                <a:pos x="connsiteX42694" y="connsiteY42694"/>
              </a:cxn>
              <a:cxn ang="0">
                <a:pos x="connsiteX42695" y="connsiteY42695"/>
              </a:cxn>
              <a:cxn ang="0">
                <a:pos x="connsiteX42696" y="connsiteY42696"/>
              </a:cxn>
              <a:cxn ang="0">
                <a:pos x="connsiteX42697" y="connsiteY42697"/>
              </a:cxn>
              <a:cxn ang="0">
                <a:pos x="connsiteX42698" y="connsiteY42698"/>
              </a:cxn>
              <a:cxn ang="0">
                <a:pos x="connsiteX42699" y="connsiteY42699"/>
              </a:cxn>
              <a:cxn ang="0">
                <a:pos x="connsiteX42700" y="connsiteY42700"/>
              </a:cxn>
              <a:cxn ang="0">
                <a:pos x="connsiteX42701" y="connsiteY42701"/>
              </a:cxn>
              <a:cxn ang="0">
                <a:pos x="connsiteX42702" y="connsiteY42702"/>
              </a:cxn>
              <a:cxn ang="0">
                <a:pos x="connsiteX42703" y="connsiteY42703"/>
              </a:cxn>
              <a:cxn ang="0">
                <a:pos x="connsiteX42704" y="connsiteY42704"/>
              </a:cxn>
              <a:cxn ang="0">
                <a:pos x="connsiteX42705" y="connsiteY42705"/>
              </a:cxn>
              <a:cxn ang="0">
                <a:pos x="connsiteX42706" y="connsiteY42706"/>
              </a:cxn>
              <a:cxn ang="0">
                <a:pos x="connsiteX42707" y="connsiteY42707"/>
              </a:cxn>
              <a:cxn ang="0">
                <a:pos x="connsiteX42708" y="connsiteY42708"/>
              </a:cxn>
              <a:cxn ang="0">
                <a:pos x="connsiteX42709" y="connsiteY42709"/>
              </a:cxn>
              <a:cxn ang="0">
                <a:pos x="connsiteX42710" y="connsiteY42710"/>
              </a:cxn>
              <a:cxn ang="0">
                <a:pos x="connsiteX42711" y="connsiteY42711"/>
              </a:cxn>
              <a:cxn ang="0">
                <a:pos x="connsiteX42712" y="connsiteY42712"/>
              </a:cxn>
              <a:cxn ang="0">
                <a:pos x="connsiteX42713" y="connsiteY42713"/>
              </a:cxn>
              <a:cxn ang="0">
                <a:pos x="connsiteX42714" y="connsiteY42714"/>
              </a:cxn>
              <a:cxn ang="0">
                <a:pos x="connsiteX42715" y="connsiteY42715"/>
              </a:cxn>
              <a:cxn ang="0">
                <a:pos x="connsiteX42716" y="connsiteY42716"/>
              </a:cxn>
              <a:cxn ang="0">
                <a:pos x="connsiteX42717" y="connsiteY42717"/>
              </a:cxn>
              <a:cxn ang="0">
                <a:pos x="connsiteX42718" y="connsiteY42718"/>
              </a:cxn>
              <a:cxn ang="0">
                <a:pos x="connsiteX42719" y="connsiteY42719"/>
              </a:cxn>
              <a:cxn ang="0">
                <a:pos x="connsiteX42720" y="connsiteY42720"/>
              </a:cxn>
              <a:cxn ang="0">
                <a:pos x="connsiteX42721" y="connsiteY42721"/>
              </a:cxn>
              <a:cxn ang="0">
                <a:pos x="connsiteX42722" y="connsiteY42722"/>
              </a:cxn>
              <a:cxn ang="0">
                <a:pos x="connsiteX42723" y="connsiteY42723"/>
              </a:cxn>
              <a:cxn ang="0">
                <a:pos x="connsiteX42724" y="connsiteY42724"/>
              </a:cxn>
              <a:cxn ang="0">
                <a:pos x="connsiteX42725" y="connsiteY42725"/>
              </a:cxn>
              <a:cxn ang="0">
                <a:pos x="connsiteX42726" y="connsiteY42726"/>
              </a:cxn>
              <a:cxn ang="0">
                <a:pos x="connsiteX42727" y="connsiteY42727"/>
              </a:cxn>
              <a:cxn ang="0">
                <a:pos x="connsiteX42728" y="connsiteY42728"/>
              </a:cxn>
              <a:cxn ang="0">
                <a:pos x="connsiteX42729" y="connsiteY42729"/>
              </a:cxn>
              <a:cxn ang="0">
                <a:pos x="connsiteX42730" y="connsiteY42730"/>
              </a:cxn>
              <a:cxn ang="0">
                <a:pos x="connsiteX42731" y="connsiteY42731"/>
              </a:cxn>
              <a:cxn ang="0">
                <a:pos x="connsiteX42732" y="connsiteY42732"/>
              </a:cxn>
              <a:cxn ang="0">
                <a:pos x="connsiteX42733" y="connsiteY42733"/>
              </a:cxn>
              <a:cxn ang="0">
                <a:pos x="connsiteX42734" y="connsiteY42734"/>
              </a:cxn>
              <a:cxn ang="0">
                <a:pos x="connsiteX42735" y="connsiteY42735"/>
              </a:cxn>
              <a:cxn ang="0">
                <a:pos x="connsiteX42736" y="connsiteY42736"/>
              </a:cxn>
              <a:cxn ang="0">
                <a:pos x="connsiteX42737" y="connsiteY42737"/>
              </a:cxn>
              <a:cxn ang="0">
                <a:pos x="connsiteX42738" y="connsiteY42738"/>
              </a:cxn>
              <a:cxn ang="0">
                <a:pos x="connsiteX42739" y="connsiteY42739"/>
              </a:cxn>
              <a:cxn ang="0">
                <a:pos x="connsiteX42740" y="connsiteY42740"/>
              </a:cxn>
              <a:cxn ang="0">
                <a:pos x="connsiteX42741" y="connsiteY42741"/>
              </a:cxn>
              <a:cxn ang="0">
                <a:pos x="connsiteX42742" y="connsiteY42742"/>
              </a:cxn>
              <a:cxn ang="0">
                <a:pos x="connsiteX42743" y="connsiteY42743"/>
              </a:cxn>
              <a:cxn ang="0">
                <a:pos x="connsiteX42744" y="connsiteY42744"/>
              </a:cxn>
              <a:cxn ang="0">
                <a:pos x="connsiteX42745" y="connsiteY42745"/>
              </a:cxn>
              <a:cxn ang="0">
                <a:pos x="connsiteX42746" y="connsiteY42746"/>
              </a:cxn>
              <a:cxn ang="0">
                <a:pos x="connsiteX42747" y="connsiteY42747"/>
              </a:cxn>
              <a:cxn ang="0">
                <a:pos x="connsiteX42748" y="connsiteY42748"/>
              </a:cxn>
              <a:cxn ang="0">
                <a:pos x="connsiteX42749" y="connsiteY42749"/>
              </a:cxn>
              <a:cxn ang="0">
                <a:pos x="connsiteX42750" y="connsiteY42750"/>
              </a:cxn>
              <a:cxn ang="0">
                <a:pos x="connsiteX42751" y="connsiteY42751"/>
              </a:cxn>
              <a:cxn ang="0">
                <a:pos x="connsiteX42752" y="connsiteY42752"/>
              </a:cxn>
              <a:cxn ang="0">
                <a:pos x="connsiteX42753" y="connsiteY42753"/>
              </a:cxn>
              <a:cxn ang="0">
                <a:pos x="connsiteX42754" y="connsiteY42754"/>
              </a:cxn>
              <a:cxn ang="0">
                <a:pos x="connsiteX42755" y="connsiteY42755"/>
              </a:cxn>
              <a:cxn ang="0">
                <a:pos x="connsiteX42756" y="connsiteY42756"/>
              </a:cxn>
              <a:cxn ang="0">
                <a:pos x="connsiteX42757" y="connsiteY42757"/>
              </a:cxn>
              <a:cxn ang="0">
                <a:pos x="connsiteX42758" y="connsiteY42758"/>
              </a:cxn>
              <a:cxn ang="0">
                <a:pos x="connsiteX42759" y="connsiteY42759"/>
              </a:cxn>
              <a:cxn ang="0">
                <a:pos x="connsiteX42760" y="connsiteY42760"/>
              </a:cxn>
              <a:cxn ang="0">
                <a:pos x="connsiteX42761" y="connsiteY42761"/>
              </a:cxn>
              <a:cxn ang="0">
                <a:pos x="connsiteX42762" y="connsiteY42762"/>
              </a:cxn>
              <a:cxn ang="0">
                <a:pos x="connsiteX42763" y="connsiteY42763"/>
              </a:cxn>
              <a:cxn ang="0">
                <a:pos x="connsiteX42764" y="connsiteY42764"/>
              </a:cxn>
              <a:cxn ang="0">
                <a:pos x="connsiteX42765" y="connsiteY42765"/>
              </a:cxn>
              <a:cxn ang="0">
                <a:pos x="connsiteX42766" y="connsiteY42766"/>
              </a:cxn>
              <a:cxn ang="0">
                <a:pos x="connsiteX42767" y="connsiteY42767"/>
              </a:cxn>
              <a:cxn ang="0">
                <a:pos x="connsiteX42768" y="connsiteY42768"/>
              </a:cxn>
              <a:cxn ang="0">
                <a:pos x="connsiteX42769" y="connsiteY42769"/>
              </a:cxn>
              <a:cxn ang="0">
                <a:pos x="connsiteX42770" y="connsiteY42770"/>
              </a:cxn>
              <a:cxn ang="0">
                <a:pos x="connsiteX42771" y="connsiteY42771"/>
              </a:cxn>
              <a:cxn ang="0">
                <a:pos x="connsiteX42772" y="connsiteY42772"/>
              </a:cxn>
              <a:cxn ang="0">
                <a:pos x="connsiteX42773" y="connsiteY42773"/>
              </a:cxn>
              <a:cxn ang="0">
                <a:pos x="connsiteX42774" y="connsiteY42774"/>
              </a:cxn>
              <a:cxn ang="0">
                <a:pos x="connsiteX42775" y="connsiteY42775"/>
              </a:cxn>
              <a:cxn ang="0">
                <a:pos x="connsiteX42776" y="connsiteY42776"/>
              </a:cxn>
              <a:cxn ang="0">
                <a:pos x="connsiteX42777" y="connsiteY42777"/>
              </a:cxn>
              <a:cxn ang="0">
                <a:pos x="connsiteX42778" y="connsiteY42778"/>
              </a:cxn>
              <a:cxn ang="0">
                <a:pos x="connsiteX42779" y="connsiteY42779"/>
              </a:cxn>
              <a:cxn ang="0">
                <a:pos x="connsiteX42780" y="connsiteY42780"/>
              </a:cxn>
              <a:cxn ang="0">
                <a:pos x="connsiteX42781" y="connsiteY42781"/>
              </a:cxn>
              <a:cxn ang="0">
                <a:pos x="connsiteX42782" y="connsiteY42782"/>
              </a:cxn>
              <a:cxn ang="0">
                <a:pos x="connsiteX42783" y="connsiteY42783"/>
              </a:cxn>
              <a:cxn ang="0">
                <a:pos x="connsiteX42784" y="connsiteY42784"/>
              </a:cxn>
              <a:cxn ang="0">
                <a:pos x="connsiteX42785" y="connsiteY42785"/>
              </a:cxn>
              <a:cxn ang="0">
                <a:pos x="connsiteX42786" y="connsiteY42786"/>
              </a:cxn>
              <a:cxn ang="0">
                <a:pos x="connsiteX42787" y="connsiteY42787"/>
              </a:cxn>
              <a:cxn ang="0">
                <a:pos x="connsiteX42788" y="connsiteY42788"/>
              </a:cxn>
              <a:cxn ang="0">
                <a:pos x="connsiteX42789" y="connsiteY42789"/>
              </a:cxn>
              <a:cxn ang="0">
                <a:pos x="connsiteX42790" y="connsiteY42790"/>
              </a:cxn>
              <a:cxn ang="0">
                <a:pos x="connsiteX42791" y="connsiteY42791"/>
              </a:cxn>
              <a:cxn ang="0">
                <a:pos x="connsiteX42792" y="connsiteY42792"/>
              </a:cxn>
              <a:cxn ang="0">
                <a:pos x="connsiteX42793" y="connsiteY42793"/>
              </a:cxn>
              <a:cxn ang="0">
                <a:pos x="connsiteX42794" y="connsiteY42794"/>
              </a:cxn>
              <a:cxn ang="0">
                <a:pos x="connsiteX42795" y="connsiteY42795"/>
              </a:cxn>
              <a:cxn ang="0">
                <a:pos x="connsiteX42796" y="connsiteY42796"/>
              </a:cxn>
              <a:cxn ang="0">
                <a:pos x="connsiteX42797" y="connsiteY42797"/>
              </a:cxn>
              <a:cxn ang="0">
                <a:pos x="connsiteX42798" y="connsiteY42798"/>
              </a:cxn>
              <a:cxn ang="0">
                <a:pos x="connsiteX42799" y="connsiteY42799"/>
              </a:cxn>
              <a:cxn ang="0">
                <a:pos x="connsiteX42800" y="connsiteY42800"/>
              </a:cxn>
              <a:cxn ang="0">
                <a:pos x="connsiteX42801" y="connsiteY42801"/>
              </a:cxn>
              <a:cxn ang="0">
                <a:pos x="connsiteX42802" y="connsiteY42802"/>
              </a:cxn>
              <a:cxn ang="0">
                <a:pos x="connsiteX42803" y="connsiteY42803"/>
              </a:cxn>
              <a:cxn ang="0">
                <a:pos x="connsiteX42804" y="connsiteY42804"/>
              </a:cxn>
              <a:cxn ang="0">
                <a:pos x="connsiteX42805" y="connsiteY42805"/>
              </a:cxn>
              <a:cxn ang="0">
                <a:pos x="connsiteX42806" y="connsiteY42806"/>
              </a:cxn>
              <a:cxn ang="0">
                <a:pos x="connsiteX42807" y="connsiteY42807"/>
              </a:cxn>
              <a:cxn ang="0">
                <a:pos x="connsiteX42808" y="connsiteY42808"/>
              </a:cxn>
              <a:cxn ang="0">
                <a:pos x="connsiteX42809" y="connsiteY42809"/>
              </a:cxn>
              <a:cxn ang="0">
                <a:pos x="connsiteX42810" y="connsiteY42810"/>
              </a:cxn>
              <a:cxn ang="0">
                <a:pos x="connsiteX42811" y="connsiteY42811"/>
              </a:cxn>
              <a:cxn ang="0">
                <a:pos x="connsiteX42812" y="connsiteY42812"/>
              </a:cxn>
              <a:cxn ang="0">
                <a:pos x="connsiteX42813" y="connsiteY42813"/>
              </a:cxn>
              <a:cxn ang="0">
                <a:pos x="connsiteX42814" y="connsiteY42814"/>
              </a:cxn>
              <a:cxn ang="0">
                <a:pos x="connsiteX42815" y="connsiteY42815"/>
              </a:cxn>
              <a:cxn ang="0">
                <a:pos x="connsiteX42816" y="connsiteY42816"/>
              </a:cxn>
              <a:cxn ang="0">
                <a:pos x="connsiteX42817" y="connsiteY42817"/>
              </a:cxn>
              <a:cxn ang="0">
                <a:pos x="connsiteX42818" y="connsiteY42818"/>
              </a:cxn>
              <a:cxn ang="0">
                <a:pos x="connsiteX42819" y="connsiteY42819"/>
              </a:cxn>
              <a:cxn ang="0">
                <a:pos x="connsiteX42820" y="connsiteY42820"/>
              </a:cxn>
              <a:cxn ang="0">
                <a:pos x="connsiteX42821" y="connsiteY42821"/>
              </a:cxn>
              <a:cxn ang="0">
                <a:pos x="connsiteX42822" y="connsiteY42822"/>
              </a:cxn>
              <a:cxn ang="0">
                <a:pos x="connsiteX42823" y="connsiteY42823"/>
              </a:cxn>
              <a:cxn ang="0">
                <a:pos x="connsiteX42824" y="connsiteY42824"/>
              </a:cxn>
              <a:cxn ang="0">
                <a:pos x="connsiteX42825" y="connsiteY42825"/>
              </a:cxn>
              <a:cxn ang="0">
                <a:pos x="connsiteX42826" y="connsiteY42826"/>
              </a:cxn>
              <a:cxn ang="0">
                <a:pos x="connsiteX42827" y="connsiteY42827"/>
              </a:cxn>
              <a:cxn ang="0">
                <a:pos x="connsiteX42828" y="connsiteY42828"/>
              </a:cxn>
              <a:cxn ang="0">
                <a:pos x="connsiteX42829" y="connsiteY42829"/>
              </a:cxn>
              <a:cxn ang="0">
                <a:pos x="connsiteX42830" y="connsiteY42830"/>
              </a:cxn>
              <a:cxn ang="0">
                <a:pos x="connsiteX42831" y="connsiteY42831"/>
              </a:cxn>
              <a:cxn ang="0">
                <a:pos x="connsiteX42832" y="connsiteY42832"/>
              </a:cxn>
              <a:cxn ang="0">
                <a:pos x="connsiteX42833" y="connsiteY42833"/>
              </a:cxn>
              <a:cxn ang="0">
                <a:pos x="connsiteX42834" y="connsiteY42834"/>
              </a:cxn>
              <a:cxn ang="0">
                <a:pos x="connsiteX42835" y="connsiteY42835"/>
              </a:cxn>
              <a:cxn ang="0">
                <a:pos x="connsiteX42836" y="connsiteY42836"/>
              </a:cxn>
              <a:cxn ang="0">
                <a:pos x="connsiteX42837" y="connsiteY42837"/>
              </a:cxn>
              <a:cxn ang="0">
                <a:pos x="connsiteX42838" y="connsiteY42838"/>
              </a:cxn>
              <a:cxn ang="0">
                <a:pos x="connsiteX42839" y="connsiteY42839"/>
              </a:cxn>
              <a:cxn ang="0">
                <a:pos x="connsiteX42840" y="connsiteY42840"/>
              </a:cxn>
              <a:cxn ang="0">
                <a:pos x="connsiteX42841" y="connsiteY42841"/>
              </a:cxn>
              <a:cxn ang="0">
                <a:pos x="connsiteX42842" y="connsiteY42842"/>
              </a:cxn>
              <a:cxn ang="0">
                <a:pos x="connsiteX42843" y="connsiteY42843"/>
              </a:cxn>
              <a:cxn ang="0">
                <a:pos x="connsiteX42844" y="connsiteY42844"/>
              </a:cxn>
              <a:cxn ang="0">
                <a:pos x="connsiteX42845" y="connsiteY42845"/>
              </a:cxn>
              <a:cxn ang="0">
                <a:pos x="connsiteX42846" y="connsiteY42846"/>
              </a:cxn>
              <a:cxn ang="0">
                <a:pos x="connsiteX42847" y="connsiteY42847"/>
              </a:cxn>
              <a:cxn ang="0">
                <a:pos x="connsiteX42848" y="connsiteY42848"/>
              </a:cxn>
              <a:cxn ang="0">
                <a:pos x="connsiteX42849" y="connsiteY42849"/>
              </a:cxn>
              <a:cxn ang="0">
                <a:pos x="connsiteX42850" y="connsiteY42850"/>
              </a:cxn>
              <a:cxn ang="0">
                <a:pos x="connsiteX42851" y="connsiteY42851"/>
              </a:cxn>
              <a:cxn ang="0">
                <a:pos x="connsiteX42852" y="connsiteY42852"/>
              </a:cxn>
              <a:cxn ang="0">
                <a:pos x="connsiteX42853" y="connsiteY42853"/>
              </a:cxn>
              <a:cxn ang="0">
                <a:pos x="connsiteX42854" y="connsiteY42854"/>
              </a:cxn>
              <a:cxn ang="0">
                <a:pos x="connsiteX42855" y="connsiteY42855"/>
              </a:cxn>
              <a:cxn ang="0">
                <a:pos x="connsiteX42856" y="connsiteY42856"/>
              </a:cxn>
              <a:cxn ang="0">
                <a:pos x="connsiteX42857" y="connsiteY42857"/>
              </a:cxn>
              <a:cxn ang="0">
                <a:pos x="connsiteX42858" y="connsiteY42858"/>
              </a:cxn>
              <a:cxn ang="0">
                <a:pos x="connsiteX42859" y="connsiteY42859"/>
              </a:cxn>
              <a:cxn ang="0">
                <a:pos x="connsiteX42860" y="connsiteY42860"/>
              </a:cxn>
              <a:cxn ang="0">
                <a:pos x="connsiteX42861" y="connsiteY42861"/>
              </a:cxn>
              <a:cxn ang="0">
                <a:pos x="connsiteX42862" y="connsiteY42862"/>
              </a:cxn>
              <a:cxn ang="0">
                <a:pos x="connsiteX42863" y="connsiteY42863"/>
              </a:cxn>
              <a:cxn ang="0">
                <a:pos x="connsiteX42864" y="connsiteY42864"/>
              </a:cxn>
              <a:cxn ang="0">
                <a:pos x="connsiteX42865" y="connsiteY42865"/>
              </a:cxn>
              <a:cxn ang="0">
                <a:pos x="connsiteX42866" y="connsiteY42866"/>
              </a:cxn>
              <a:cxn ang="0">
                <a:pos x="connsiteX42867" y="connsiteY42867"/>
              </a:cxn>
              <a:cxn ang="0">
                <a:pos x="connsiteX42868" y="connsiteY42868"/>
              </a:cxn>
              <a:cxn ang="0">
                <a:pos x="connsiteX42869" y="connsiteY42869"/>
              </a:cxn>
              <a:cxn ang="0">
                <a:pos x="connsiteX42870" y="connsiteY42870"/>
              </a:cxn>
              <a:cxn ang="0">
                <a:pos x="connsiteX42871" y="connsiteY42871"/>
              </a:cxn>
              <a:cxn ang="0">
                <a:pos x="connsiteX42872" y="connsiteY42872"/>
              </a:cxn>
              <a:cxn ang="0">
                <a:pos x="connsiteX42873" y="connsiteY42873"/>
              </a:cxn>
              <a:cxn ang="0">
                <a:pos x="connsiteX42874" y="connsiteY42874"/>
              </a:cxn>
              <a:cxn ang="0">
                <a:pos x="connsiteX42875" y="connsiteY42875"/>
              </a:cxn>
              <a:cxn ang="0">
                <a:pos x="connsiteX42876" y="connsiteY42876"/>
              </a:cxn>
              <a:cxn ang="0">
                <a:pos x="connsiteX42877" y="connsiteY42877"/>
              </a:cxn>
              <a:cxn ang="0">
                <a:pos x="connsiteX42878" y="connsiteY42878"/>
              </a:cxn>
              <a:cxn ang="0">
                <a:pos x="connsiteX42879" y="connsiteY42879"/>
              </a:cxn>
              <a:cxn ang="0">
                <a:pos x="connsiteX42880" y="connsiteY42880"/>
              </a:cxn>
              <a:cxn ang="0">
                <a:pos x="connsiteX42881" y="connsiteY42881"/>
              </a:cxn>
              <a:cxn ang="0">
                <a:pos x="connsiteX42882" y="connsiteY42882"/>
              </a:cxn>
              <a:cxn ang="0">
                <a:pos x="connsiteX42883" y="connsiteY42883"/>
              </a:cxn>
              <a:cxn ang="0">
                <a:pos x="connsiteX42884" y="connsiteY42884"/>
              </a:cxn>
              <a:cxn ang="0">
                <a:pos x="connsiteX42885" y="connsiteY42885"/>
              </a:cxn>
              <a:cxn ang="0">
                <a:pos x="connsiteX42886" y="connsiteY42886"/>
              </a:cxn>
              <a:cxn ang="0">
                <a:pos x="connsiteX42887" y="connsiteY42887"/>
              </a:cxn>
              <a:cxn ang="0">
                <a:pos x="connsiteX42888" y="connsiteY42888"/>
              </a:cxn>
              <a:cxn ang="0">
                <a:pos x="connsiteX42889" y="connsiteY42889"/>
              </a:cxn>
              <a:cxn ang="0">
                <a:pos x="connsiteX42890" y="connsiteY42890"/>
              </a:cxn>
              <a:cxn ang="0">
                <a:pos x="connsiteX42891" y="connsiteY42891"/>
              </a:cxn>
              <a:cxn ang="0">
                <a:pos x="connsiteX42892" y="connsiteY42892"/>
              </a:cxn>
              <a:cxn ang="0">
                <a:pos x="connsiteX42893" y="connsiteY42893"/>
              </a:cxn>
              <a:cxn ang="0">
                <a:pos x="connsiteX42894" y="connsiteY42894"/>
              </a:cxn>
              <a:cxn ang="0">
                <a:pos x="connsiteX42895" y="connsiteY42895"/>
              </a:cxn>
              <a:cxn ang="0">
                <a:pos x="connsiteX42896" y="connsiteY42896"/>
              </a:cxn>
              <a:cxn ang="0">
                <a:pos x="connsiteX42897" y="connsiteY42897"/>
              </a:cxn>
              <a:cxn ang="0">
                <a:pos x="connsiteX42898" y="connsiteY42898"/>
              </a:cxn>
              <a:cxn ang="0">
                <a:pos x="connsiteX42899" y="connsiteY42899"/>
              </a:cxn>
              <a:cxn ang="0">
                <a:pos x="connsiteX42900" y="connsiteY42900"/>
              </a:cxn>
              <a:cxn ang="0">
                <a:pos x="connsiteX42901" y="connsiteY42901"/>
              </a:cxn>
              <a:cxn ang="0">
                <a:pos x="connsiteX42902" y="connsiteY42902"/>
              </a:cxn>
              <a:cxn ang="0">
                <a:pos x="connsiteX42903" y="connsiteY42903"/>
              </a:cxn>
              <a:cxn ang="0">
                <a:pos x="connsiteX42904" y="connsiteY42904"/>
              </a:cxn>
              <a:cxn ang="0">
                <a:pos x="connsiteX42905" y="connsiteY42905"/>
              </a:cxn>
              <a:cxn ang="0">
                <a:pos x="connsiteX42906" y="connsiteY42906"/>
              </a:cxn>
              <a:cxn ang="0">
                <a:pos x="connsiteX42907" y="connsiteY42907"/>
              </a:cxn>
              <a:cxn ang="0">
                <a:pos x="connsiteX42908" y="connsiteY42908"/>
              </a:cxn>
              <a:cxn ang="0">
                <a:pos x="connsiteX42909" y="connsiteY42909"/>
              </a:cxn>
              <a:cxn ang="0">
                <a:pos x="connsiteX42910" y="connsiteY42910"/>
              </a:cxn>
              <a:cxn ang="0">
                <a:pos x="connsiteX42911" y="connsiteY42911"/>
              </a:cxn>
              <a:cxn ang="0">
                <a:pos x="connsiteX42912" y="connsiteY42912"/>
              </a:cxn>
              <a:cxn ang="0">
                <a:pos x="connsiteX42913" y="connsiteY42913"/>
              </a:cxn>
              <a:cxn ang="0">
                <a:pos x="connsiteX42914" y="connsiteY42914"/>
              </a:cxn>
              <a:cxn ang="0">
                <a:pos x="connsiteX42915" y="connsiteY42915"/>
              </a:cxn>
              <a:cxn ang="0">
                <a:pos x="connsiteX42916" y="connsiteY42916"/>
              </a:cxn>
              <a:cxn ang="0">
                <a:pos x="connsiteX42917" y="connsiteY42917"/>
              </a:cxn>
              <a:cxn ang="0">
                <a:pos x="connsiteX42918" y="connsiteY42918"/>
              </a:cxn>
              <a:cxn ang="0">
                <a:pos x="connsiteX42919" y="connsiteY42919"/>
              </a:cxn>
              <a:cxn ang="0">
                <a:pos x="connsiteX42920" y="connsiteY42920"/>
              </a:cxn>
              <a:cxn ang="0">
                <a:pos x="connsiteX42921" y="connsiteY42921"/>
              </a:cxn>
              <a:cxn ang="0">
                <a:pos x="connsiteX42922" y="connsiteY42922"/>
              </a:cxn>
              <a:cxn ang="0">
                <a:pos x="connsiteX42923" y="connsiteY42923"/>
              </a:cxn>
              <a:cxn ang="0">
                <a:pos x="connsiteX42924" y="connsiteY42924"/>
              </a:cxn>
              <a:cxn ang="0">
                <a:pos x="connsiteX42925" y="connsiteY42925"/>
              </a:cxn>
              <a:cxn ang="0">
                <a:pos x="connsiteX42926" y="connsiteY42926"/>
              </a:cxn>
              <a:cxn ang="0">
                <a:pos x="connsiteX42927" y="connsiteY42927"/>
              </a:cxn>
              <a:cxn ang="0">
                <a:pos x="connsiteX42928" y="connsiteY42928"/>
              </a:cxn>
              <a:cxn ang="0">
                <a:pos x="connsiteX42929" y="connsiteY42929"/>
              </a:cxn>
              <a:cxn ang="0">
                <a:pos x="connsiteX42930" y="connsiteY42930"/>
              </a:cxn>
              <a:cxn ang="0">
                <a:pos x="connsiteX42931" y="connsiteY42931"/>
              </a:cxn>
              <a:cxn ang="0">
                <a:pos x="connsiteX42932" y="connsiteY42932"/>
              </a:cxn>
              <a:cxn ang="0">
                <a:pos x="connsiteX42933" y="connsiteY42933"/>
              </a:cxn>
              <a:cxn ang="0">
                <a:pos x="connsiteX42934" y="connsiteY42934"/>
              </a:cxn>
              <a:cxn ang="0">
                <a:pos x="connsiteX42935" y="connsiteY42935"/>
              </a:cxn>
              <a:cxn ang="0">
                <a:pos x="connsiteX42936" y="connsiteY42936"/>
              </a:cxn>
              <a:cxn ang="0">
                <a:pos x="connsiteX42937" y="connsiteY42937"/>
              </a:cxn>
              <a:cxn ang="0">
                <a:pos x="connsiteX42938" y="connsiteY42938"/>
              </a:cxn>
              <a:cxn ang="0">
                <a:pos x="connsiteX42939" y="connsiteY42939"/>
              </a:cxn>
              <a:cxn ang="0">
                <a:pos x="connsiteX42940" y="connsiteY42940"/>
              </a:cxn>
              <a:cxn ang="0">
                <a:pos x="connsiteX42941" y="connsiteY42941"/>
              </a:cxn>
              <a:cxn ang="0">
                <a:pos x="connsiteX42942" y="connsiteY42942"/>
              </a:cxn>
              <a:cxn ang="0">
                <a:pos x="connsiteX42943" y="connsiteY42943"/>
              </a:cxn>
              <a:cxn ang="0">
                <a:pos x="connsiteX42944" y="connsiteY42944"/>
              </a:cxn>
              <a:cxn ang="0">
                <a:pos x="connsiteX42945" y="connsiteY42945"/>
              </a:cxn>
              <a:cxn ang="0">
                <a:pos x="connsiteX42946" y="connsiteY42946"/>
              </a:cxn>
              <a:cxn ang="0">
                <a:pos x="connsiteX42947" y="connsiteY42947"/>
              </a:cxn>
              <a:cxn ang="0">
                <a:pos x="connsiteX42948" y="connsiteY42948"/>
              </a:cxn>
              <a:cxn ang="0">
                <a:pos x="connsiteX42949" y="connsiteY42949"/>
              </a:cxn>
              <a:cxn ang="0">
                <a:pos x="connsiteX42950" y="connsiteY42950"/>
              </a:cxn>
              <a:cxn ang="0">
                <a:pos x="connsiteX42951" y="connsiteY42951"/>
              </a:cxn>
              <a:cxn ang="0">
                <a:pos x="connsiteX42952" y="connsiteY42952"/>
              </a:cxn>
              <a:cxn ang="0">
                <a:pos x="connsiteX42953" y="connsiteY42953"/>
              </a:cxn>
              <a:cxn ang="0">
                <a:pos x="connsiteX42954" y="connsiteY42954"/>
              </a:cxn>
              <a:cxn ang="0">
                <a:pos x="connsiteX42955" y="connsiteY42955"/>
              </a:cxn>
              <a:cxn ang="0">
                <a:pos x="connsiteX42956" y="connsiteY42956"/>
              </a:cxn>
              <a:cxn ang="0">
                <a:pos x="connsiteX42957" y="connsiteY42957"/>
              </a:cxn>
              <a:cxn ang="0">
                <a:pos x="connsiteX42958" y="connsiteY42958"/>
              </a:cxn>
              <a:cxn ang="0">
                <a:pos x="connsiteX42959" y="connsiteY42959"/>
              </a:cxn>
              <a:cxn ang="0">
                <a:pos x="connsiteX42960" y="connsiteY42960"/>
              </a:cxn>
              <a:cxn ang="0">
                <a:pos x="connsiteX42961" y="connsiteY42961"/>
              </a:cxn>
              <a:cxn ang="0">
                <a:pos x="connsiteX42962" y="connsiteY42962"/>
              </a:cxn>
              <a:cxn ang="0">
                <a:pos x="connsiteX42963" y="connsiteY42963"/>
              </a:cxn>
              <a:cxn ang="0">
                <a:pos x="connsiteX42964" y="connsiteY42964"/>
              </a:cxn>
              <a:cxn ang="0">
                <a:pos x="connsiteX42965" y="connsiteY42965"/>
              </a:cxn>
              <a:cxn ang="0">
                <a:pos x="connsiteX42966" y="connsiteY42966"/>
              </a:cxn>
              <a:cxn ang="0">
                <a:pos x="connsiteX42967" y="connsiteY42967"/>
              </a:cxn>
              <a:cxn ang="0">
                <a:pos x="connsiteX42968" y="connsiteY42968"/>
              </a:cxn>
              <a:cxn ang="0">
                <a:pos x="connsiteX42969" y="connsiteY42969"/>
              </a:cxn>
              <a:cxn ang="0">
                <a:pos x="connsiteX42970" y="connsiteY42970"/>
              </a:cxn>
              <a:cxn ang="0">
                <a:pos x="connsiteX42971" y="connsiteY42971"/>
              </a:cxn>
              <a:cxn ang="0">
                <a:pos x="connsiteX42972" y="connsiteY42972"/>
              </a:cxn>
              <a:cxn ang="0">
                <a:pos x="connsiteX42973" y="connsiteY42973"/>
              </a:cxn>
              <a:cxn ang="0">
                <a:pos x="connsiteX42974" y="connsiteY42974"/>
              </a:cxn>
              <a:cxn ang="0">
                <a:pos x="connsiteX42975" y="connsiteY42975"/>
              </a:cxn>
              <a:cxn ang="0">
                <a:pos x="connsiteX42976" y="connsiteY42976"/>
              </a:cxn>
              <a:cxn ang="0">
                <a:pos x="connsiteX42977" y="connsiteY42977"/>
              </a:cxn>
              <a:cxn ang="0">
                <a:pos x="connsiteX42978" y="connsiteY42978"/>
              </a:cxn>
              <a:cxn ang="0">
                <a:pos x="connsiteX42979" y="connsiteY42979"/>
              </a:cxn>
              <a:cxn ang="0">
                <a:pos x="connsiteX42980" y="connsiteY42980"/>
              </a:cxn>
              <a:cxn ang="0">
                <a:pos x="connsiteX42981" y="connsiteY42981"/>
              </a:cxn>
              <a:cxn ang="0">
                <a:pos x="connsiteX42982" y="connsiteY42982"/>
              </a:cxn>
              <a:cxn ang="0">
                <a:pos x="connsiteX42983" y="connsiteY42983"/>
              </a:cxn>
              <a:cxn ang="0">
                <a:pos x="connsiteX42984" y="connsiteY42984"/>
              </a:cxn>
              <a:cxn ang="0">
                <a:pos x="connsiteX42985" y="connsiteY42985"/>
              </a:cxn>
              <a:cxn ang="0">
                <a:pos x="connsiteX42986" y="connsiteY42986"/>
              </a:cxn>
              <a:cxn ang="0">
                <a:pos x="connsiteX42987" y="connsiteY42987"/>
              </a:cxn>
              <a:cxn ang="0">
                <a:pos x="connsiteX42988" y="connsiteY42988"/>
              </a:cxn>
              <a:cxn ang="0">
                <a:pos x="connsiteX42989" y="connsiteY42989"/>
              </a:cxn>
              <a:cxn ang="0">
                <a:pos x="connsiteX42990" y="connsiteY42990"/>
              </a:cxn>
              <a:cxn ang="0">
                <a:pos x="connsiteX42991" y="connsiteY42991"/>
              </a:cxn>
              <a:cxn ang="0">
                <a:pos x="connsiteX42992" y="connsiteY42992"/>
              </a:cxn>
              <a:cxn ang="0">
                <a:pos x="connsiteX42993" y="connsiteY42993"/>
              </a:cxn>
              <a:cxn ang="0">
                <a:pos x="connsiteX42994" y="connsiteY42994"/>
              </a:cxn>
              <a:cxn ang="0">
                <a:pos x="connsiteX42995" y="connsiteY42995"/>
              </a:cxn>
              <a:cxn ang="0">
                <a:pos x="connsiteX42996" y="connsiteY42996"/>
              </a:cxn>
              <a:cxn ang="0">
                <a:pos x="connsiteX42997" y="connsiteY42997"/>
              </a:cxn>
              <a:cxn ang="0">
                <a:pos x="connsiteX42998" y="connsiteY42998"/>
              </a:cxn>
              <a:cxn ang="0">
                <a:pos x="connsiteX42999" y="connsiteY42999"/>
              </a:cxn>
              <a:cxn ang="0">
                <a:pos x="connsiteX43000" y="connsiteY43000"/>
              </a:cxn>
              <a:cxn ang="0">
                <a:pos x="connsiteX43001" y="connsiteY43001"/>
              </a:cxn>
              <a:cxn ang="0">
                <a:pos x="connsiteX43002" y="connsiteY43002"/>
              </a:cxn>
              <a:cxn ang="0">
                <a:pos x="connsiteX43003" y="connsiteY43003"/>
              </a:cxn>
              <a:cxn ang="0">
                <a:pos x="connsiteX43004" y="connsiteY43004"/>
              </a:cxn>
              <a:cxn ang="0">
                <a:pos x="connsiteX43005" y="connsiteY43005"/>
              </a:cxn>
              <a:cxn ang="0">
                <a:pos x="connsiteX43006" y="connsiteY43006"/>
              </a:cxn>
              <a:cxn ang="0">
                <a:pos x="connsiteX43007" y="connsiteY43007"/>
              </a:cxn>
              <a:cxn ang="0">
                <a:pos x="connsiteX43008" y="connsiteY43008"/>
              </a:cxn>
              <a:cxn ang="0">
                <a:pos x="connsiteX43009" y="connsiteY43009"/>
              </a:cxn>
              <a:cxn ang="0">
                <a:pos x="connsiteX43010" y="connsiteY43010"/>
              </a:cxn>
              <a:cxn ang="0">
                <a:pos x="connsiteX43011" y="connsiteY43011"/>
              </a:cxn>
              <a:cxn ang="0">
                <a:pos x="connsiteX43012" y="connsiteY43012"/>
              </a:cxn>
              <a:cxn ang="0">
                <a:pos x="connsiteX43013" y="connsiteY43013"/>
              </a:cxn>
              <a:cxn ang="0">
                <a:pos x="connsiteX43014" y="connsiteY43014"/>
              </a:cxn>
              <a:cxn ang="0">
                <a:pos x="connsiteX43015" y="connsiteY43015"/>
              </a:cxn>
              <a:cxn ang="0">
                <a:pos x="connsiteX43016" y="connsiteY43016"/>
              </a:cxn>
              <a:cxn ang="0">
                <a:pos x="connsiteX43017" y="connsiteY43017"/>
              </a:cxn>
              <a:cxn ang="0">
                <a:pos x="connsiteX43018" y="connsiteY43018"/>
              </a:cxn>
              <a:cxn ang="0">
                <a:pos x="connsiteX43019" y="connsiteY43019"/>
              </a:cxn>
              <a:cxn ang="0">
                <a:pos x="connsiteX43020" y="connsiteY43020"/>
              </a:cxn>
              <a:cxn ang="0">
                <a:pos x="connsiteX43021" y="connsiteY43021"/>
              </a:cxn>
              <a:cxn ang="0">
                <a:pos x="connsiteX43022" y="connsiteY43022"/>
              </a:cxn>
              <a:cxn ang="0">
                <a:pos x="connsiteX43023" y="connsiteY43023"/>
              </a:cxn>
              <a:cxn ang="0">
                <a:pos x="connsiteX43024" y="connsiteY43024"/>
              </a:cxn>
              <a:cxn ang="0">
                <a:pos x="connsiteX43025" y="connsiteY43025"/>
              </a:cxn>
              <a:cxn ang="0">
                <a:pos x="connsiteX43026" y="connsiteY43026"/>
              </a:cxn>
              <a:cxn ang="0">
                <a:pos x="connsiteX43027" y="connsiteY43027"/>
              </a:cxn>
              <a:cxn ang="0">
                <a:pos x="connsiteX43028" y="connsiteY43028"/>
              </a:cxn>
              <a:cxn ang="0">
                <a:pos x="connsiteX43029" y="connsiteY43029"/>
              </a:cxn>
              <a:cxn ang="0">
                <a:pos x="connsiteX43030" y="connsiteY43030"/>
              </a:cxn>
              <a:cxn ang="0">
                <a:pos x="connsiteX43031" y="connsiteY43031"/>
              </a:cxn>
              <a:cxn ang="0">
                <a:pos x="connsiteX43032" y="connsiteY43032"/>
              </a:cxn>
              <a:cxn ang="0">
                <a:pos x="connsiteX43033" y="connsiteY43033"/>
              </a:cxn>
              <a:cxn ang="0">
                <a:pos x="connsiteX43034" y="connsiteY43034"/>
              </a:cxn>
              <a:cxn ang="0">
                <a:pos x="connsiteX43035" y="connsiteY43035"/>
              </a:cxn>
              <a:cxn ang="0">
                <a:pos x="connsiteX43036" y="connsiteY43036"/>
              </a:cxn>
              <a:cxn ang="0">
                <a:pos x="connsiteX43037" y="connsiteY43037"/>
              </a:cxn>
              <a:cxn ang="0">
                <a:pos x="connsiteX43038" y="connsiteY43038"/>
              </a:cxn>
              <a:cxn ang="0">
                <a:pos x="connsiteX43039" y="connsiteY43039"/>
              </a:cxn>
              <a:cxn ang="0">
                <a:pos x="connsiteX43040" y="connsiteY43040"/>
              </a:cxn>
              <a:cxn ang="0">
                <a:pos x="connsiteX43041" y="connsiteY43041"/>
              </a:cxn>
              <a:cxn ang="0">
                <a:pos x="connsiteX43042" y="connsiteY43042"/>
              </a:cxn>
              <a:cxn ang="0">
                <a:pos x="connsiteX43043" y="connsiteY43043"/>
              </a:cxn>
              <a:cxn ang="0">
                <a:pos x="connsiteX43044" y="connsiteY43044"/>
              </a:cxn>
              <a:cxn ang="0">
                <a:pos x="connsiteX43045" y="connsiteY43045"/>
              </a:cxn>
              <a:cxn ang="0">
                <a:pos x="connsiteX43046" y="connsiteY43046"/>
              </a:cxn>
              <a:cxn ang="0">
                <a:pos x="connsiteX43047" y="connsiteY43047"/>
              </a:cxn>
              <a:cxn ang="0">
                <a:pos x="connsiteX43048" y="connsiteY43048"/>
              </a:cxn>
              <a:cxn ang="0">
                <a:pos x="connsiteX43049" y="connsiteY43049"/>
              </a:cxn>
              <a:cxn ang="0">
                <a:pos x="connsiteX43050" y="connsiteY43050"/>
              </a:cxn>
              <a:cxn ang="0">
                <a:pos x="connsiteX43051" y="connsiteY43051"/>
              </a:cxn>
              <a:cxn ang="0">
                <a:pos x="connsiteX43052" y="connsiteY43052"/>
              </a:cxn>
              <a:cxn ang="0">
                <a:pos x="connsiteX43053" y="connsiteY43053"/>
              </a:cxn>
              <a:cxn ang="0">
                <a:pos x="connsiteX43054" y="connsiteY43054"/>
              </a:cxn>
              <a:cxn ang="0">
                <a:pos x="connsiteX43055" y="connsiteY43055"/>
              </a:cxn>
              <a:cxn ang="0">
                <a:pos x="connsiteX43056" y="connsiteY43056"/>
              </a:cxn>
              <a:cxn ang="0">
                <a:pos x="connsiteX43057" y="connsiteY43057"/>
              </a:cxn>
              <a:cxn ang="0">
                <a:pos x="connsiteX43058" y="connsiteY43058"/>
              </a:cxn>
              <a:cxn ang="0">
                <a:pos x="connsiteX43059" y="connsiteY43059"/>
              </a:cxn>
              <a:cxn ang="0">
                <a:pos x="connsiteX43060" y="connsiteY43060"/>
              </a:cxn>
              <a:cxn ang="0">
                <a:pos x="connsiteX43061" y="connsiteY43061"/>
              </a:cxn>
              <a:cxn ang="0">
                <a:pos x="connsiteX43062" y="connsiteY43062"/>
              </a:cxn>
              <a:cxn ang="0">
                <a:pos x="connsiteX43063" y="connsiteY43063"/>
              </a:cxn>
              <a:cxn ang="0">
                <a:pos x="connsiteX43064" y="connsiteY43064"/>
              </a:cxn>
              <a:cxn ang="0">
                <a:pos x="connsiteX43065" y="connsiteY43065"/>
              </a:cxn>
              <a:cxn ang="0">
                <a:pos x="connsiteX43066" y="connsiteY43066"/>
              </a:cxn>
              <a:cxn ang="0">
                <a:pos x="connsiteX43067" y="connsiteY43067"/>
              </a:cxn>
              <a:cxn ang="0">
                <a:pos x="connsiteX43068" y="connsiteY43068"/>
              </a:cxn>
              <a:cxn ang="0">
                <a:pos x="connsiteX43069" y="connsiteY43069"/>
              </a:cxn>
              <a:cxn ang="0">
                <a:pos x="connsiteX43070" y="connsiteY43070"/>
              </a:cxn>
              <a:cxn ang="0">
                <a:pos x="connsiteX43071" y="connsiteY43071"/>
              </a:cxn>
              <a:cxn ang="0">
                <a:pos x="connsiteX43072" y="connsiteY43072"/>
              </a:cxn>
              <a:cxn ang="0">
                <a:pos x="connsiteX43073" y="connsiteY43073"/>
              </a:cxn>
              <a:cxn ang="0">
                <a:pos x="connsiteX43074" y="connsiteY43074"/>
              </a:cxn>
              <a:cxn ang="0">
                <a:pos x="connsiteX43075" y="connsiteY43075"/>
              </a:cxn>
              <a:cxn ang="0">
                <a:pos x="connsiteX43076" y="connsiteY43076"/>
              </a:cxn>
              <a:cxn ang="0">
                <a:pos x="connsiteX43077" y="connsiteY43077"/>
              </a:cxn>
              <a:cxn ang="0">
                <a:pos x="connsiteX43078" y="connsiteY43078"/>
              </a:cxn>
              <a:cxn ang="0">
                <a:pos x="connsiteX43079" y="connsiteY43079"/>
              </a:cxn>
              <a:cxn ang="0">
                <a:pos x="connsiteX43080" y="connsiteY43080"/>
              </a:cxn>
              <a:cxn ang="0">
                <a:pos x="connsiteX43081" y="connsiteY43081"/>
              </a:cxn>
              <a:cxn ang="0">
                <a:pos x="connsiteX43082" y="connsiteY43082"/>
              </a:cxn>
              <a:cxn ang="0">
                <a:pos x="connsiteX43083" y="connsiteY43083"/>
              </a:cxn>
              <a:cxn ang="0">
                <a:pos x="connsiteX43084" y="connsiteY43084"/>
              </a:cxn>
              <a:cxn ang="0">
                <a:pos x="connsiteX43085" y="connsiteY43085"/>
              </a:cxn>
              <a:cxn ang="0">
                <a:pos x="connsiteX43086" y="connsiteY43086"/>
              </a:cxn>
              <a:cxn ang="0">
                <a:pos x="connsiteX43087" y="connsiteY43087"/>
              </a:cxn>
              <a:cxn ang="0">
                <a:pos x="connsiteX43088" y="connsiteY43088"/>
              </a:cxn>
              <a:cxn ang="0">
                <a:pos x="connsiteX43089" y="connsiteY43089"/>
              </a:cxn>
              <a:cxn ang="0">
                <a:pos x="connsiteX43090" y="connsiteY43090"/>
              </a:cxn>
              <a:cxn ang="0">
                <a:pos x="connsiteX43091" y="connsiteY43091"/>
              </a:cxn>
              <a:cxn ang="0">
                <a:pos x="connsiteX43092" y="connsiteY43092"/>
              </a:cxn>
              <a:cxn ang="0">
                <a:pos x="connsiteX43093" y="connsiteY43093"/>
              </a:cxn>
              <a:cxn ang="0">
                <a:pos x="connsiteX43094" y="connsiteY43094"/>
              </a:cxn>
              <a:cxn ang="0">
                <a:pos x="connsiteX43095" y="connsiteY43095"/>
              </a:cxn>
              <a:cxn ang="0">
                <a:pos x="connsiteX43096" y="connsiteY43096"/>
              </a:cxn>
              <a:cxn ang="0">
                <a:pos x="connsiteX43097" y="connsiteY43097"/>
              </a:cxn>
              <a:cxn ang="0">
                <a:pos x="connsiteX43098" y="connsiteY43098"/>
              </a:cxn>
              <a:cxn ang="0">
                <a:pos x="connsiteX43099" y="connsiteY43099"/>
              </a:cxn>
              <a:cxn ang="0">
                <a:pos x="connsiteX43100" y="connsiteY43100"/>
              </a:cxn>
              <a:cxn ang="0">
                <a:pos x="connsiteX43101" y="connsiteY43101"/>
              </a:cxn>
              <a:cxn ang="0">
                <a:pos x="connsiteX43102" y="connsiteY43102"/>
              </a:cxn>
              <a:cxn ang="0">
                <a:pos x="connsiteX43103" y="connsiteY43103"/>
              </a:cxn>
              <a:cxn ang="0">
                <a:pos x="connsiteX43104" y="connsiteY43104"/>
              </a:cxn>
              <a:cxn ang="0">
                <a:pos x="connsiteX43105" y="connsiteY43105"/>
              </a:cxn>
              <a:cxn ang="0">
                <a:pos x="connsiteX43106" y="connsiteY43106"/>
              </a:cxn>
              <a:cxn ang="0">
                <a:pos x="connsiteX43107" y="connsiteY43107"/>
              </a:cxn>
              <a:cxn ang="0">
                <a:pos x="connsiteX43108" y="connsiteY43108"/>
              </a:cxn>
              <a:cxn ang="0">
                <a:pos x="connsiteX43109" y="connsiteY43109"/>
              </a:cxn>
              <a:cxn ang="0">
                <a:pos x="connsiteX43110" y="connsiteY43110"/>
              </a:cxn>
              <a:cxn ang="0">
                <a:pos x="connsiteX43111" y="connsiteY43111"/>
              </a:cxn>
              <a:cxn ang="0">
                <a:pos x="connsiteX43112" y="connsiteY43112"/>
              </a:cxn>
              <a:cxn ang="0">
                <a:pos x="connsiteX43113" y="connsiteY43113"/>
              </a:cxn>
              <a:cxn ang="0">
                <a:pos x="connsiteX43114" y="connsiteY43114"/>
              </a:cxn>
              <a:cxn ang="0">
                <a:pos x="connsiteX43115" y="connsiteY43115"/>
              </a:cxn>
              <a:cxn ang="0">
                <a:pos x="connsiteX43116" y="connsiteY43116"/>
              </a:cxn>
              <a:cxn ang="0">
                <a:pos x="connsiteX43117" y="connsiteY43117"/>
              </a:cxn>
              <a:cxn ang="0">
                <a:pos x="connsiteX43118" y="connsiteY43118"/>
              </a:cxn>
              <a:cxn ang="0">
                <a:pos x="connsiteX43119" y="connsiteY43119"/>
              </a:cxn>
              <a:cxn ang="0">
                <a:pos x="connsiteX43120" y="connsiteY43120"/>
              </a:cxn>
              <a:cxn ang="0">
                <a:pos x="connsiteX43121" y="connsiteY43121"/>
              </a:cxn>
              <a:cxn ang="0">
                <a:pos x="connsiteX43122" y="connsiteY43122"/>
              </a:cxn>
              <a:cxn ang="0">
                <a:pos x="connsiteX43123" y="connsiteY43123"/>
              </a:cxn>
              <a:cxn ang="0">
                <a:pos x="connsiteX43124" y="connsiteY43124"/>
              </a:cxn>
              <a:cxn ang="0">
                <a:pos x="connsiteX43125" y="connsiteY43125"/>
              </a:cxn>
              <a:cxn ang="0">
                <a:pos x="connsiteX43126" y="connsiteY43126"/>
              </a:cxn>
              <a:cxn ang="0">
                <a:pos x="connsiteX43127" y="connsiteY43127"/>
              </a:cxn>
              <a:cxn ang="0">
                <a:pos x="connsiteX43128" y="connsiteY43128"/>
              </a:cxn>
              <a:cxn ang="0">
                <a:pos x="connsiteX43129" y="connsiteY43129"/>
              </a:cxn>
              <a:cxn ang="0">
                <a:pos x="connsiteX43130" y="connsiteY43130"/>
              </a:cxn>
              <a:cxn ang="0">
                <a:pos x="connsiteX43131" y="connsiteY43131"/>
              </a:cxn>
              <a:cxn ang="0">
                <a:pos x="connsiteX43132" y="connsiteY43132"/>
              </a:cxn>
              <a:cxn ang="0">
                <a:pos x="connsiteX43133" y="connsiteY43133"/>
              </a:cxn>
              <a:cxn ang="0">
                <a:pos x="connsiteX43134" y="connsiteY43134"/>
              </a:cxn>
              <a:cxn ang="0">
                <a:pos x="connsiteX43135" y="connsiteY43135"/>
              </a:cxn>
              <a:cxn ang="0">
                <a:pos x="connsiteX43136" y="connsiteY43136"/>
              </a:cxn>
              <a:cxn ang="0">
                <a:pos x="connsiteX43137" y="connsiteY43137"/>
              </a:cxn>
              <a:cxn ang="0">
                <a:pos x="connsiteX43138" y="connsiteY43138"/>
              </a:cxn>
              <a:cxn ang="0">
                <a:pos x="connsiteX43139" y="connsiteY43139"/>
              </a:cxn>
              <a:cxn ang="0">
                <a:pos x="connsiteX43140" y="connsiteY43140"/>
              </a:cxn>
              <a:cxn ang="0">
                <a:pos x="connsiteX43141" y="connsiteY43141"/>
              </a:cxn>
              <a:cxn ang="0">
                <a:pos x="connsiteX43142" y="connsiteY43142"/>
              </a:cxn>
              <a:cxn ang="0">
                <a:pos x="connsiteX43143" y="connsiteY43143"/>
              </a:cxn>
              <a:cxn ang="0">
                <a:pos x="connsiteX43144" y="connsiteY43144"/>
              </a:cxn>
              <a:cxn ang="0">
                <a:pos x="connsiteX43145" y="connsiteY43145"/>
              </a:cxn>
              <a:cxn ang="0">
                <a:pos x="connsiteX43146" y="connsiteY43146"/>
              </a:cxn>
              <a:cxn ang="0">
                <a:pos x="connsiteX43147" y="connsiteY43147"/>
              </a:cxn>
              <a:cxn ang="0">
                <a:pos x="connsiteX43148" y="connsiteY43148"/>
              </a:cxn>
              <a:cxn ang="0">
                <a:pos x="connsiteX43149" y="connsiteY43149"/>
              </a:cxn>
              <a:cxn ang="0">
                <a:pos x="connsiteX43150" y="connsiteY43150"/>
              </a:cxn>
              <a:cxn ang="0">
                <a:pos x="connsiteX43151" y="connsiteY43151"/>
              </a:cxn>
              <a:cxn ang="0">
                <a:pos x="connsiteX43152" y="connsiteY43152"/>
              </a:cxn>
              <a:cxn ang="0">
                <a:pos x="connsiteX43153" y="connsiteY43153"/>
              </a:cxn>
              <a:cxn ang="0">
                <a:pos x="connsiteX43154" y="connsiteY43154"/>
              </a:cxn>
              <a:cxn ang="0">
                <a:pos x="connsiteX43155" y="connsiteY43155"/>
              </a:cxn>
              <a:cxn ang="0">
                <a:pos x="connsiteX43156" y="connsiteY43156"/>
              </a:cxn>
              <a:cxn ang="0">
                <a:pos x="connsiteX43157" y="connsiteY43157"/>
              </a:cxn>
              <a:cxn ang="0">
                <a:pos x="connsiteX43158" y="connsiteY43158"/>
              </a:cxn>
              <a:cxn ang="0">
                <a:pos x="connsiteX43159" y="connsiteY43159"/>
              </a:cxn>
              <a:cxn ang="0">
                <a:pos x="connsiteX43160" y="connsiteY43160"/>
              </a:cxn>
              <a:cxn ang="0">
                <a:pos x="connsiteX43161" y="connsiteY43161"/>
              </a:cxn>
              <a:cxn ang="0">
                <a:pos x="connsiteX43162" y="connsiteY43162"/>
              </a:cxn>
              <a:cxn ang="0">
                <a:pos x="connsiteX43163" y="connsiteY43163"/>
              </a:cxn>
              <a:cxn ang="0">
                <a:pos x="connsiteX43164" y="connsiteY43164"/>
              </a:cxn>
              <a:cxn ang="0">
                <a:pos x="connsiteX43165" y="connsiteY43165"/>
              </a:cxn>
              <a:cxn ang="0">
                <a:pos x="connsiteX43166" y="connsiteY43166"/>
              </a:cxn>
              <a:cxn ang="0">
                <a:pos x="connsiteX43167" y="connsiteY43167"/>
              </a:cxn>
              <a:cxn ang="0">
                <a:pos x="connsiteX43168" y="connsiteY43168"/>
              </a:cxn>
              <a:cxn ang="0">
                <a:pos x="connsiteX43169" y="connsiteY43169"/>
              </a:cxn>
              <a:cxn ang="0">
                <a:pos x="connsiteX43170" y="connsiteY43170"/>
              </a:cxn>
              <a:cxn ang="0">
                <a:pos x="connsiteX43171" y="connsiteY43171"/>
              </a:cxn>
              <a:cxn ang="0">
                <a:pos x="connsiteX43172" y="connsiteY43172"/>
              </a:cxn>
              <a:cxn ang="0">
                <a:pos x="connsiteX43173" y="connsiteY43173"/>
              </a:cxn>
              <a:cxn ang="0">
                <a:pos x="connsiteX43174" y="connsiteY43174"/>
              </a:cxn>
              <a:cxn ang="0">
                <a:pos x="connsiteX43175" y="connsiteY43175"/>
              </a:cxn>
              <a:cxn ang="0">
                <a:pos x="connsiteX43176" y="connsiteY43176"/>
              </a:cxn>
              <a:cxn ang="0">
                <a:pos x="connsiteX43177" y="connsiteY43177"/>
              </a:cxn>
              <a:cxn ang="0">
                <a:pos x="connsiteX43178" y="connsiteY43178"/>
              </a:cxn>
              <a:cxn ang="0">
                <a:pos x="connsiteX43179" y="connsiteY43179"/>
              </a:cxn>
              <a:cxn ang="0">
                <a:pos x="connsiteX43180" y="connsiteY43180"/>
              </a:cxn>
              <a:cxn ang="0">
                <a:pos x="connsiteX43181" y="connsiteY43181"/>
              </a:cxn>
              <a:cxn ang="0">
                <a:pos x="connsiteX43182" y="connsiteY43182"/>
              </a:cxn>
              <a:cxn ang="0">
                <a:pos x="connsiteX43183" y="connsiteY43183"/>
              </a:cxn>
              <a:cxn ang="0">
                <a:pos x="connsiteX43184" y="connsiteY43184"/>
              </a:cxn>
              <a:cxn ang="0">
                <a:pos x="connsiteX43185" y="connsiteY43185"/>
              </a:cxn>
              <a:cxn ang="0">
                <a:pos x="connsiteX43186" y="connsiteY43186"/>
              </a:cxn>
              <a:cxn ang="0">
                <a:pos x="connsiteX43187" y="connsiteY43187"/>
              </a:cxn>
              <a:cxn ang="0">
                <a:pos x="connsiteX43188" y="connsiteY43188"/>
              </a:cxn>
              <a:cxn ang="0">
                <a:pos x="connsiteX43189" y="connsiteY43189"/>
              </a:cxn>
              <a:cxn ang="0">
                <a:pos x="connsiteX43190" y="connsiteY43190"/>
              </a:cxn>
              <a:cxn ang="0">
                <a:pos x="connsiteX43191" y="connsiteY43191"/>
              </a:cxn>
              <a:cxn ang="0">
                <a:pos x="connsiteX43192" y="connsiteY43192"/>
              </a:cxn>
              <a:cxn ang="0">
                <a:pos x="connsiteX43193" y="connsiteY43193"/>
              </a:cxn>
              <a:cxn ang="0">
                <a:pos x="connsiteX43194" y="connsiteY43194"/>
              </a:cxn>
              <a:cxn ang="0">
                <a:pos x="connsiteX43195" y="connsiteY43195"/>
              </a:cxn>
              <a:cxn ang="0">
                <a:pos x="connsiteX43196" y="connsiteY43196"/>
              </a:cxn>
              <a:cxn ang="0">
                <a:pos x="connsiteX43197" y="connsiteY43197"/>
              </a:cxn>
              <a:cxn ang="0">
                <a:pos x="connsiteX43198" y="connsiteY43198"/>
              </a:cxn>
              <a:cxn ang="0">
                <a:pos x="connsiteX43199" y="connsiteY43199"/>
              </a:cxn>
              <a:cxn ang="0">
                <a:pos x="connsiteX43200" y="connsiteY43200"/>
              </a:cxn>
              <a:cxn ang="0">
                <a:pos x="connsiteX43201" y="connsiteY43201"/>
              </a:cxn>
              <a:cxn ang="0">
                <a:pos x="connsiteX43202" y="connsiteY43202"/>
              </a:cxn>
              <a:cxn ang="0">
                <a:pos x="connsiteX43203" y="connsiteY43203"/>
              </a:cxn>
              <a:cxn ang="0">
                <a:pos x="connsiteX43204" y="connsiteY43204"/>
              </a:cxn>
              <a:cxn ang="0">
                <a:pos x="connsiteX43205" y="connsiteY43205"/>
              </a:cxn>
              <a:cxn ang="0">
                <a:pos x="connsiteX43206" y="connsiteY43206"/>
              </a:cxn>
              <a:cxn ang="0">
                <a:pos x="connsiteX43207" y="connsiteY43207"/>
              </a:cxn>
              <a:cxn ang="0">
                <a:pos x="connsiteX43208" y="connsiteY43208"/>
              </a:cxn>
              <a:cxn ang="0">
                <a:pos x="connsiteX43209" y="connsiteY43209"/>
              </a:cxn>
              <a:cxn ang="0">
                <a:pos x="connsiteX43210" y="connsiteY43210"/>
              </a:cxn>
              <a:cxn ang="0">
                <a:pos x="connsiteX43211" y="connsiteY43211"/>
              </a:cxn>
              <a:cxn ang="0">
                <a:pos x="connsiteX43212" y="connsiteY43212"/>
              </a:cxn>
              <a:cxn ang="0">
                <a:pos x="connsiteX43213" y="connsiteY43213"/>
              </a:cxn>
              <a:cxn ang="0">
                <a:pos x="connsiteX43214" y="connsiteY43214"/>
              </a:cxn>
              <a:cxn ang="0">
                <a:pos x="connsiteX43215" y="connsiteY43215"/>
              </a:cxn>
              <a:cxn ang="0">
                <a:pos x="connsiteX43216" y="connsiteY43216"/>
              </a:cxn>
              <a:cxn ang="0">
                <a:pos x="connsiteX43217" y="connsiteY43217"/>
              </a:cxn>
              <a:cxn ang="0">
                <a:pos x="connsiteX43218" y="connsiteY43218"/>
              </a:cxn>
              <a:cxn ang="0">
                <a:pos x="connsiteX43219" y="connsiteY43219"/>
              </a:cxn>
              <a:cxn ang="0">
                <a:pos x="connsiteX43220" y="connsiteY43220"/>
              </a:cxn>
              <a:cxn ang="0">
                <a:pos x="connsiteX43221" y="connsiteY43221"/>
              </a:cxn>
              <a:cxn ang="0">
                <a:pos x="connsiteX43222" y="connsiteY43222"/>
              </a:cxn>
              <a:cxn ang="0">
                <a:pos x="connsiteX43223" y="connsiteY43223"/>
              </a:cxn>
              <a:cxn ang="0">
                <a:pos x="connsiteX43224" y="connsiteY43224"/>
              </a:cxn>
              <a:cxn ang="0">
                <a:pos x="connsiteX43225" y="connsiteY43225"/>
              </a:cxn>
              <a:cxn ang="0">
                <a:pos x="connsiteX43226" y="connsiteY43226"/>
              </a:cxn>
              <a:cxn ang="0">
                <a:pos x="connsiteX43227" y="connsiteY43227"/>
              </a:cxn>
              <a:cxn ang="0">
                <a:pos x="connsiteX43228" y="connsiteY43228"/>
              </a:cxn>
              <a:cxn ang="0">
                <a:pos x="connsiteX43229" y="connsiteY43229"/>
              </a:cxn>
              <a:cxn ang="0">
                <a:pos x="connsiteX43230" y="connsiteY43230"/>
              </a:cxn>
              <a:cxn ang="0">
                <a:pos x="connsiteX43231" y="connsiteY43231"/>
              </a:cxn>
              <a:cxn ang="0">
                <a:pos x="connsiteX43232" y="connsiteY43232"/>
              </a:cxn>
              <a:cxn ang="0">
                <a:pos x="connsiteX43233" y="connsiteY43233"/>
              </a:cxn>
              <a:cxn ang="0">
                <a:pos x="connsiteX43234" y="connsiteY43234"/>
              </a:cxn>
              <a:cxn ang="0">
                <a:pos x="connsiteX43235" y="connsiteY43235"/>
              </a:cxn>
              <a:cxn ang="0">
                <a:pos x="connsiteX43236" y="connsiteY43236"/>
              </a:cxn>
              <a:cxn ang="0">
                <a:pos x="connsiteX43237" y="connsiteY43237"/>
              </a:cxn>
              <a:cxn ang="0">
                <a:pos x="connsiteX43238" y="connsiteY43238"/>
              </a:cxn>
              <a:cxn ang="0">
                <a:pos x="connsiteX43239" y="connsiteY43239"/>
              </a:cxn>
              <a:cxn ang="0">
                <a:pos x="connsiteX43240" y="connsiteY43240"/>
              </a:cxn>
              <a:cxn ang="0">
                <a:pos x="connsiteX43241" y="connsiteY43241"/>
              </a:cxn>
              <a:cxn ang="0">
                <a:pos x="connsiteX43242" y="connsiteY43242"/>
              </a:cxn>
              <a:cxn ang="0">
                <a:pos x="connsiteX43243" y="connsiteY43243"/>
              </a:cxn>
              <a:cxn ang="0">
                <a:pos x="connsiteX43244" y="connsiteY43244"/>
              </a:cxn>
              <a:cxn ang="0">
                <a:pos x="connsiteX43245" y="connsiteY43245"/>
              </a:cxn>
              <a:cxn ang="0">
                <a:pos x="connsiteX43246" y="connsiteY43246"/>
              </a:cxn>
              <a:cxn ang="0">
                <a:pos x="connsiteX43247" y="connsiteY43247"/>
              </a:cxn>
              <a:cxn ang="0">
                <a:pos x="connsiteX43248" y="connsiteY43248"/>
              </a:cxn>
              <a:cxn ang="0">
                <a:pos x="connsiteX43249" y="connsiteY43249"/>
              </a:cxn>
              <a:cxn ang="0">
                <a:pos x="connsiteX43250" y="connsiteY43250"/>
              </a:cxn>
              <a:cxn ang="0">
                <a:pos x="connsiteX43251" y="connsiteY43251"/>
              </a:cxn>
              <a:cxn ang="0">
                <a:pos x="connsiteX43252" y="connsiteY43252"/>
              </a:cxn>
              <a:cxn ang="0">
                <a:pos x="connsiteX43253" y="connsiteY43253"/>
              </a:cxn>
              <a:cxn ang="0">
                <a:pos x="connsiteX43254" y="connsiteY43254"/>
              </a:cxn>
              <a:cxn ang="0">
                <a:pos x="connsiteX43255" y="connsiteY43255"/>
              </a:cxn>
              <a:cxn ang="0">
                <a:pos x="connsiteX43256" y="connsiteY43256"/>
              </a:cxn>
              <a:cxn ang="0">
                <a:pos x="connsiteX43257" y="connsiteY43257"/>
              </a:cxn>
              <a:cxn ang="0">
                <a:pos x="connsiteX43258" y="connsiteY43258"/>
              </a:cxn>
              <a:cxn ang="0">
                <a:pos x="connsiteX43259" y="connsiteY43259"/>
              </a:cxn>
              <a:cxn ang="0">
                <a:pos x="connsiteX43260" y="connsiteY43260"/>
              </a:cxn>
              <a:cxn ang="0">
                <a:pos x="connsiteX43261" y="connsiteY43261"/>
              </a:cxn>
              <a:cxn ang="0">
                <a:pos x="connsiteX43262" y="connsiteY43262"/>
              </a:cxn>
              <a:cxn ang="0">
                <a:pos x="connsiteX43263" y="connsiteY43263"/>
              </a:cxn>
              <a:cxn ang="0">
                <a:pos x="connsiteX43264" y="connsiteY43264"/>
              </a:cxn>
              <a:cxn ang="0">
                <a:pos x="connsiteX43265" y="connsiteY43265"/>
              </a:cxn>
              <a:cxn ang="0">
                <a:pos x="connsiteX43266" y="connsiteY43266"/>
              </a:cxn>
              <a:cxn ang="0">
                <a:pos x="connsiteX43267" y="connsiteY43267"/>
              </a:cxn>
              <a:cxn ang="0">
                <a:pos x="connsiteX43268" y="connsiteY43268"/>
              </a:cxn>
              <a:cxn ang="0">
                <a:pos x="connsiteX43269" y="connsiteY43269"/>
              </a:cxn>
              <a:cxn ang="0">
                <a:pos x="connsiteX43270" y="connsiteY43270"/>
              </a:cxn>
              <a:cxn ang="0">
                <a:pos x="connsiteX43271" y="connsiteY43271"/>
              </a:cxn>
              <a:cxn ang="0">
                <a:pos x="connsiteX43272" y="connsiteY43272"/>
              </a:cxn>
              <a:cxn ang="0">
                <a:pos x="connsiteX43273" y="connsiteY43273"/>
              </a:cxn>
              <a:cxn ang="0">
                <a:pos x="connsiteX43274" y="connsiteY43274"/>
              </a:cxn>
              <a:cxn ang="0">
                <a:pos x="connsiteX43275" y="connsiteY43275"/>
              </a:cxn>
              <a:cxn ang="0">
                <a:pos x="connsiteX43276" y="connsiteY43276"/>
              </a:cxn>
              <a:cxn ang="0">
                <a:pos x="connsiteX43277" y="connsiteY43277"/>
              </a:cxn>
              <a:cxn ang="0">
                <a:pos x="connsiteX43278" y="connsiteY43278"/>
              </a:cxn>
              <a:cxn ang="0">
                <a:pos x="connsiteX43279" y="connsiteY43279"/>
              </a:cxn>
              <a:cxn ang="0">
                <a:pos x="connsiteX43280" y="connsiteY43280"/>
              </a:cxn>
              <a:cxn ang="0">
                <a:pos x="connsiteX43281" y="connsiteY43281"/>
              </a:cxn>
              <a:cxn ang="0">
                <a:pos x="connsiteX43282" y="connsiteY43282"/>
              </a:cxn>
              <a:cxn ang="0">
                <a:pos x="connsiteX43283" y="connsiteY43283"/>
              </a:cxn>
              <a:cxn ang="0">
                <a:pos x="connsiteX43284" y="connsiteY43284"/>
              </a:cxn>
              <a:cxn ang="0">
                <a:pos x="connsiteX43285" y="connsiteY43285"/>
              </a:cxn>
              <a:cxn ang="0">
                <a:pos x="connsiteX43286" y="connsiteY43286"/>
              </a:cxn>
              <a:cxn ang="0">
                <a:pos x="connsiteX43287" y="connsiteY43287"/>
              </a:cxn>
              <a:cxn ang="0">
                <a:pos x="connsiteX43288" y="connsiteY43288"/>
              </a:cxn>
              <a:cxn ang="0">
                <a:pos x="connsiteX43289" y="connsiteY43289"/>
              </a:cxn>
              <a:cxn ang="0">
                <a:pos x="connsiteX43290" y="connsiteY43290"/>
              </a:cxn>
              <a:cxn ang="0">
                <a:pos x="connsiteX43291" y="connsiteY43291"/>
              </a:cxn>
              <a:cxn ang="0">
                <a:pos x="connsiteX43292" y="connsiteY43292"/>
              </a:cxn>
              <a:cxn ang="0">
                <a:pos x="connsiteX43293" y="connsiteY43293"/>
              </a:cxn>
              <a:cxn ang="0">
                <a:pos x="connsiteX43294" y="connsiteY43294"/>
              </a:cxn>
              <a:cxn ang="0">
                <a:pos x="connsiteX43295" y="connsiteY43295"/>
              </a:cxn>
              <a:cxn ang="0">
                <a:pos x="connsiteX43296" y="connsiteY43296"/>
              </a:cxn>
              <a:cxn ang="0">
                <a:pos x="connsiteX43297" y="connsiteY43297"/>
              </a:cxn>
              <a:cxn ang="0">
                <a:pos x="connsiteX43298" y="connsiteY43298"/>
              </a:cxn>
              <a:cxn ang="0">
                <a:pos x="connsiteX43299" y="connsiteY43299"/>
              </a:cxn>
              <a:cxn ang="0">
                <a:pos x="connsiteX43300" y="connsiteY43300"/>
              </a:cxn>
              <a:cxn ang="0">
                <a:pos x="connsiteX43301" y="connsiteY43301"/>
              </a:cxn>
              <a:cxn ang="0">
                <a:pos x="connsiteX43302" y="connsiteY43302"/>
              </a:cxn>
              <a:cxn ang="0">
                <a:pos x="connsiteX43303" y="connsiteY43303"/>
              </a:cxn>
              <a:cxn ang="0">
                <a:pos x="connsiteX43304" y="connsiteY43304"/>
              </a:cxn>
              <a:cxn ang="0">
                <a:pos x="connsiteX43305" y="connsiteY43305"/>
              </a:cxn>
              <a:cxn ang="0">
                <a:pos x="connsiteX43306" y="connsiteY43306"/>
              </a:cxn>
              <a:cxn ang="0">
                <a:pos x="connsiteX43307" y="connsiteY43307"/>
              </a:cxn>
              <a:cxn ang="0">
                <a:pos x="connsiteX43308" y="connsiteY43308"/>
              </a:cxn>
              <a:cxn ang="0">
                <a:pos x="connsiteX43309" y="connsiteY43309"/>
              </a:cxn>
              <a:cxn ang="0">
                <a:pos x="connsiteX43310" y="connsiteY43310"/>
              </a:cxn>
              <a:cxn ang="0">
                <a:pos x="connsiteX43311" y="connsiteY43311"/>
              </a:cxn>
              <a:cxn ang="0">
                <a:pos x="connsiteX43312" y="connsiteY43312"/>
              </a:cxn>
              <a:cxn ang="0">
                <a:pos x="connsiteX43313" y="connsiteY43313"/>
              </a:cxn>
              <a:cxn ang="0">
                <a:pos x="connsiteX43314" y="connsiteY43314"/>
              </a:cxn>
              <a:cxn ang="0">
                <a:pos x="connsiteX43315" y="connsiteY43315"/>
              </a:cxn>
              <a:cxn ang="0">
                <a:pos x="connsiteX43316" y="connsiteY43316"/>
              </a:cxn>
              <a:cxn ang="0">
                <a:pos x="connsiteX43317" y="connsiteY43317"/>
              </a:cxn>
              <a:cxn ang="0">
                <a:pos x="connsiteX43318" y="connsiteY43318"/>
              </a:cxn>
              <a:cxn ang="0">
                <a:pos x="connsiteX43319" y="connsiteY43319"/>
              </a:cxn>
              <a:cxn ang="0">
                <a:pos x="connsiteX43320" y="connsiteY43320"/>
              </a:cxn>
              <a:cxn ang="0">
                <a:pos x="connsiteX43321" y="connsiteY43321"/>
              </a:cxn>
              <a:cxn ang="0">
                <a:pos x="connsiteX43322" y="connsiteY43322"/>
              </a:cxn>
              <a:cxn ang="0">
                <a:pos x="connsiteX43323" y="connsiteY43323"/>
              </a:cxn>
              <a:cxn ang="0">
                <a:pos x="connsiteX43324" y="connsiteY43324"/>
              </a:cxn>
              <a:cxn ang="0">
                <a:pos x="connsiteX43325" y="connsiteY43325"/>
              </a:cxn>
              <a:cxn ang="0">
                <a:pos x="connsiteX43326" y="connsiteY43326"/>
              </a:cxn>
              <a:cxn ang="0">
                <a:pos x="connsiteX43327" y="connsiteY43327"/>
              </a:cxn>
              <a:cxn ang="0">
                <a:pos x="connsiteX43328" y="connsiteY43328"/>
              </a:cxn>
              <a:cxn ang="0">
                <a:pos x="connsiteX43329" y="connsiteY43329"/>
              </a:cxn>
              <a:cxn ang="0">
                <a:pos x="connsiteX43330" y="connsiteY43330"/>
              </a:cxn>
              <a:cxn ang="0">
                <a:pos x="connsiteX43331" y="connsiteY43331"/>
              </a:cxn>
              <a:cxn ang="0">
                <a:pos x="connsiteX43332" y="connsiteY43332"/>
              </a:cxn>
              <a:cxn ang="0">
                <a:pos x="connsiteX43333" y="connsiteY43333"/>
              </a:cxn>
              <a:cxn ang="0">
                <a:pos x="connsiteX43334" y="connsiteY43334"/>
              </a:cxn>
              <a:cxn ang="0">
                <a:pos x="connsiteX43335" y="connsiteY43335"/>
              </a:cxn>
              <a:cxn ang="0">
                <a:pos x="connsiteX43336" y="connsiteY43336"/>
              </a:cxn>
              <a:cxn ang="0">
                <a:pos x="connsiteX43337" y="connsiteY43337"/>
              </a:cxn>
              <a:cxn ang="0">
                <a:pos x="connsiteX43338" y="connsiteY43338"/>
              </a:cxn>
              <a:cxn ang="0">
                <a:pos x="connsiteX43339" y="connsiteY43339"/>
              </a:cxn>
              <a:cxn ang="0">
                <a:pos x="connsiteX43340" y="connsiteY43340"/>
              </a:cxn>
              <a:cxn ang="0">
                <a:pos x="connsiteX43341" y="connsiteY43341"/>
              </a:cxn>
              <a:cxn ang="0">
                <a:pos x="connsiteX43342" y="connsiteY43342"/>
              </a:cxn>
              <a:cxn ang="0">
                <a:pos x="connsiteX43343" y="connsiteY43343"/>
              </a:cxn>
              <a:cxn ang="0">
                <a:pos x="connsiteX43344" y="connsiteY43344"/>
              </a:cxn>
              <a:cxn ang="0">
                <a:pos x="connsiteX43345" y="connsiteY43345"/>
              </a:cxn>
              <a:cxn ang="0">
                <a:pos x="connsiteX43346" y="connsiteY43346"/>
              </a:cxn>
              <a:cxn ang="0">
                <a:pos x="connsiteX43347" y="connsiteY43347"/>
              </a:cxn>
              <a:cxn ang="0">
                <a:pos x="connsiteX43348" y="connsiteY43348"/>
              </a:cxn>
              <a:cxn ang="0">
                <a:pos x="connsiteX43349" y="connsiteY43349"/>
              </a:cxn>
              <a:cxn ang="0">
                <a:pos x="connsiteX43350" y="connsiteY43350"/>
              </a:cxn>
              <a:cxn ang="0">
                <a:pos x="connsiteX43351" y="connsiteY43351"/>
              </a:cxn>
              <a:cxn ang="0">
                <a:pos x="connsiteX43352" y="connsiteY43352"/>
              </a:cxn>
              <a:cxn ang="0">
                <a:pos x="connsiteX43353" y="connsiteY43353"/>
              </a:cxn>
              <a:cxn ang="0">
                <a:pos x="connsiteX43354" y="connsiteY43354"/>
              </a:cxn>
              <a:cxn ang="0">
                <a:pos x="connsiteX43355" y="connsiteY43355"/>
              </a:cxn>
              <a:cxn ang="0">
                <a:pos x="connsiteX43356" y="connsiteY43356"/>
              </a:cxn>
              <a:cxn ang="0">
                <a:pos x="connsiteX43357" y="connsiteY43357"/>
              </a:cxn>
              <a:cxn ang="0">
                <a:pos x="connsiteX43358" y="connsiteY43358"/>
              </a:cxn>
              <a:cxn ang="0">
                <a:pos x="connsiteX43359" y="connsiteY43359"/>
              </a:cxn>
              <a:cxn ang="0">
                <a:pos x="connsiteX43360" y="connsiteY43360"/>
              </a:cxn>
              <a:cxn ang="0">
                <a:pos x="connsiteX43361" y="connsiteY43361"/>
              </a:cxn>
              <a:cxn ang="0">
                <a:pos x="connsiteX43362" y="connsiteY43362"/>
              </a:cxn>
              <a:cxn ang="0">
                <a:pos x="connsiteX43363" y="connsiteY43363"/>
              </a:cxn>
              <a:cxn ang="0">
                <a:pos x="connsiteX43364" y="connsiteY43364"/>
              </a:cxn>
              <a:cxn ang="0">
                <a:pos x="connsiteX43365" y="connsiteY43365"/>
              </a:cxn>
              <a:cxn ang="0">
                <a:pos x="connsiteX43366" y="connsiteY43366"/>
              </a:cxn>
              <a:cxn ang="0">
                <a:pos x="connsiteX43367" y="connsiteY43367"/>
              </a:cxn>
              <a:cxn ang="0">
                <a:pos x="connsiteX43368" y="connsiteY43368"/>
              </a:cxn>
              <a:cxn ang="0">
                <a:pos x="connsiteX43369" y="connsiteY43369"/>
              </a:cxn>
              <a:cxn ang="0">
                <a:pos x="connsiteX43370" y="connsiteY43370"/>
              </a:cxn>
              <a:cxn ang="0">
                <a:pos x="connsiteX43371" y="connsiteY43371"/>
              </a:cxn>
              <a:cxn ang="0">
                <a:pos x="connsiteX43372" y="connsiteY43372"/>
              </a:cxn>
              <a:cxn ang="0">
                <a:pos x="connsiteX43373" y="connsiteY43373"/>
              </a:cxn>
              <a:cxn ang="0">
                <a:pos x="connsiteX43374" y="connsiteY43374"/>
              </a:cxn>
              <a:cxn ang="0">
                <a:pos x="connsiteX43375" y="connsiteY43375"/>
              </a:cxn>
              <a:cxn ang="0">
                <a:pos x="connsiteX43376" y="connsiteY43376"/>
              </a:cxn>
              <a:cxn ang="0">
                <a:pos x="connsiteX43377" y="connsiteY43377"/>
              </a:cxn>
              <a:cxn ang="0">
                <a:pos x="connsiteX43378" y="connsiteY43378"/>
              </a:cxn>
              <a:cxn ang="0">
                <a:pos x="connsiteX43379" y="connsiteY43379"/>
              </a:cxn>
              <a:cxn ang="0">
                <a:pos x="connsiteX43380" y="connsiteY43380"/>
              </a:cxn>
              <a:cxn ang="0">
                <a:pos x="connsiteX43381" y="connsiteY43381"/>
              </a:cxn>
              <a:cxn ang="0">
                <a:pos x="connsiteX43382" y="connsiteY43382"/>
              </a:cxn>
              <a:cxn ang="0">
                <a:pos x="connsiteX43383" y="connsiteY43383"/>
              </a:cxn>
              <a:cxn ang="0">
                <a:pos x="connsiteX43384" y="connsiteY43384"/>
              </a:cxn>
              <a:cxn ang="0">
                <a:pos x="connsiteX43385" y="connsiteY43385"/>
              </a:cxn>
              <a:cxn ang="0">
                <a:pos x="connsiteX43386" y="connsiteY43386"/>
              </a:cxn>
              <a:cxn ang="0">
                <a:pos x="connsiteX43387" y="connsiteY43387"/>
              </a:cxn>
              <a:cxn ang="0">
                <a:pos x="connsiteX43388" y="connsiteY43388"/>
              </a:cxn>
              <a:cxn ang="0">
                <a:pos x="connsiteX43389" y="connsiteY43389"/>
              </a:cxn>
              <a:cxn ang="0">
                <a:pos x="connsiteX43390" y="connsiteY43390"/>
              </a:cxn>
              <a:cxn ang="0">
                <a:pos x="connsiteX43391" y="connsiteY43391"/>
              </a:cxn>
              <a:cxn ang="0">
                <a:pos x="connsiteX43392" y="connsiteY43392"/>
              </a:cxn>
              <a:cxn ang="0">
                <a:pos x="connsiteX43393" y="connsiteY43393"/>
              </a:cxn>
              <a:cxn ang="0">
                <a:pos x="connsiteX43394" y="connsiteY43394"/>
              </a:cxn>
              <a:cxn ang="0">
                <a:pos x="connsiteX43395" y="connsiteY43395"/>
              </a:cxn>
              <a:cxn ang="0">
                <a:pos x="connsiteX43396" y="connsiteY43396"/>
              </a:cxn>
              <a:cxn ang="0">
                <a:pos x="connsiteX43397" y="connsiteY43397"/>
              </a:cxn>
              <a:cxn ang="0">
                <a:pos x="connsiteX43398" y="connsiteY43398"/>
              </a:cxn>
              <a:cxn ang="0">
                <a:pos x="connsiteX43399" y="connsiteY43399"/>
              </a:cxn>
              <a:cxn ang="0">
                <a:pos x="connsiteX43400" y="connsiteY43400"/>
              </a:cxn>
              <a:cxn ang="0">
                <a:pos x="connsiteX43401" y="connsiteY43401"/>
              </a:cxn>
              <a:cxn ang="0">
                <a:pos x="connsiteX43402" y="connsiteY43402"/>
              </a:cxn>
              <a:cxn ang="0">
                <a:pos x="connsiteX43403" y="connsiteY43403"/>
              </a:cxn>
              <a:cxn ang="0">
                <a:pos x="connsiteX43404" y="connsiteY43404"/>
              </a:cxn>
              <a:cxn ang="0">
                <a:pos x="connsiteX43405" y="connsiteY43405"/>
              </a:cxn>
              <a:cxn ang="0">
                <a:pos x="connsiteX43406" y="connsiteY43406"/>
              </a:cxn>
              <a:cxn ang="0">
                <a:pos x="connsiteX43407" y="connsiteY43407"/>
              </a:cxn>
              <a:cxn ang="0">
                <a:pos x="connsiteX43408" y="connsiteY43408"/>
              </a:cxn>
              <a:cxn ang="0">
                <a:pos x="connsiteX43409" y="connsiteY43409"/>
              </a:cxn>
              <a:cxn ang="0">
                <a:pos x="connsiteX43410" y="connsiteY43410"/>
              </a:cxn>
              <a:cxn ang="0">
                <a:pos x="connsiteX43411" y="connsiteY43411"/>
              </a:cxn>
              <a:cxn ang="0">
                <a:pos x="connsiteX43412" y="connsiteY43412"/>
              </a:cxn>
              <a:cxn ang="0">
                <a:pos x="connsiteX43413" y="connsiteY43413"/>
              </a:cxn>
              <a:cxn ang="0">
                <a:pos x="connsiteX43414" y="connsiteY43414"/>
              </a:cxn>
              <a:cxn ang="0">
                <a:pos x="connsiteX43415" y="connsiteY43415"/>
              </a:cxn>
              <a:cxn ang="0">
                <a:pos x="connsiteX43416" y="connsiteY43416"/>
              </a:cxn>
              <a:cxn ang="0">
                <a:pos x="connsiteX43417" y="connsiteY43417"/>
              </a:cxn>
              <a:cxn ang="0">
                <a:pos x="connsiteX43418" y="connsiteY43418"/>
              </a:cxn>
              <a:cxn ang="0">
                <a:pos x="connsiteX43419" y="connsiteY43419"/>
              </a:cxn>
              <a:cxn ang="0">
                <a:pos x="connsiteX43420" y="connsiteY43420"/>
              </a:cxn>
              <a:cxn ang="0">
                <a:pos x="connsiteX43421" y="connsiteY43421"/>
              </a:cxn>
              <a:cxn ang="0">
                <a:pos x="connsiteX43422" y="connsiteY43422"/>
              </a:cxn>
              <a:cxn ang="0">
                <a:pos x="connsiteX43423" y="connsiteY43423"/>
              </a:cxn>
              <a:cxn ang="0">
                <a:pos x="connsiteX43424" y="connsiteY43424"/>
              </a:cxn>
              <a:cxn ang="0">
                <a:pos x="connsiteX43425" y="connsiteY43425"/>
              </a:cxn>
              <a:cxn ang="0">
                <a:pos x="connsiteX43426" y="connsiteY43426"/>
              </a:cxn>
              <a:cxn ang="0">
                <a:pos x="connsiteX43427" y="connsiteY43427"/>
              </a:cxn>
              <a:cxn ang="0">
                <a:pos x="connsiteX43428" y="connsiteY43428"/>
              </a:cxn>
              <a:cxn ang="0">
                <a:pos x="connsiteX43429" y="connsiteY43429"/>
              </a:cxn>
              <a:cxn ang="0">
                <a:pos x="connsiteX43430" y="connsiteY43430"/>
              </a:cxn>
              <a:cxn ang="0">
                <a:pos x="connsiteX43431" y="connsiteY43431"/>
              </a:cxn>
              <a:cxn ang="0">
                <a:pos x="connsiteX43432" y="connsiteY43432"/>
              </a:cxn>
              <a:cxn ang="0">
                <a:pos x="connsiteX43433" y="connsiteY43433"/>
              </a:cxn>
              <a:cxn ang="0">
                <a:pos x="connsiteX43434" y="connsiteY43434"/>
              </a:cxn>
              <a:cxn ang="0">
                <a:pos x="connsiteX43435" y="connsiteY43435"/>
              </a:cxn>
              <a:cxn ang="0">
                <a:pos x="connsiteX43436" y="connsiteY43436"/>
              </a:cxn>
              <a:cxn ang="0">
                <a:pos x="connsiteX43437" y="connsiteY43437"/>
              </a:cxn>
              <a:cxn ang="0">
                <a:pos x="connsiteX43438" y="connsiteY43438"/>
              </a:cxn>
              <a:cxn ang="0">
                <a:pos x="connsiteX43439" y="connsiteY43439"/>
              </a:cxn>
              <a:cxn ang="0">
                <a:pos x="connsiteX43440" y="connsiteY43440"/>
              </a:cxn>
              <a:cxn ang="0">
                <a:pos x="connsiteX43441" y="connsiteY43441"/>
              </a:cxn>
              <a:cxn ang="0">
                <a:pos x="connsiteX43442" y="connsiteY43442"/>
              </a:cxn>
              <a:cxn ang="0">
                <a:pos x="connsiteX43443" y="connsiteY43443"/>
              </a:cxn>
              <a:cxn ang="0">
                <a:pos x="connsiteX43444" y="connsiteY43444"/>
              </a:cxn>
              <a:cxn ang="0">
                <a:pos x="connsiteX43445" y="connsiteY43445"/>
              </a:cxn>
              <a:cxn ang="0">
                <a:pos x="connsiteX43446" y="connsiteY43446"/>
              </a:cxn>
              <a:cxn ang="0">
                <a:pos x="connsiteX43447" y="connsiteY43447"/>
              </a:cxn>
              <a:cxn ang="0">
                <a:pos x="connsiteX43448" y="connsiteY43448"/>
              </a:cxn>
              <a:cxn ang="0">
                <a:pos x="connsiteX43449" y="connsiteY43449"/>
              </a:cxn>
              <a:cxn ang="0">
                <a:pos x="connsiteX43450" y="connsiteY43450"/>
              </a:cxn>
              <a:cxn ang="0">
                <a:pos x="connsiteX43451" y="connsiteY43451"/>
              </a:cxn>
              <a:cxn ang="0">
                <a:pos x="connsiteX43452" y="connsiteY43452"/>
              </a:cxn>
              <a:cxn ang="0">
                <a:pos x="connsiteX43453" y="connsiteY43453"/>
              </a:cxn>
              <a:cxn ang="0">
                <a:pos x="connsiteX43454" y="connsiteY43454"/>
              </a:cxn>
              <a:cxn ang="0">
                <a:pos x="connsiteX43455" y="connsiteY43455"/>
              </a:cxn>
              <a:cxn ang="0">
                <a:pos x="connsiteX43456" y="connsiteY43456"/>
              </a:cxn>
              <a:cxn ang="0">
                <a:pos x="connsiteX43457" y="connsiteY43457"/>
              </a:cxn>
              <a:cxn ang="0">
                <a:pos x="connsiteX43458" y="connsiteY43458"/>
              </a:cxn>
              <a:cxn ang="0">
                <a:pos x="connsiteX43459" y="connsiteY43459"/>
              </a:cxn>
              <a:cxn ang="0">
                <a:pos x="connsiteX43460" y="connsiteY43460"/>
              </a:cxn>
              <a:cxn ang="0">
                <a:pos x="connsiteX43461" y="connsiteY43461"/>
              </a:cxn>
              <a:cxn ang="0">
                <a:pos x="connsiteX43462" y="connsiteY43462"/>
              </a:cxn>
              <a:cxn ang="0">
                <a:pos x="connsiteX43463" y="connsiteY43463"/>
              </a:cxn>
              <a:cxn ang="0">
                <a:pos x="connsiteX43464" y="connsiteY43464"/>
              </a:cxn>
              <a:cxn ang="0">
                <a:pos x="connsiteX43465" y="connsiteY43465"/>
              </a:cxn>
              <a:cxn ang="0">
                <a:pos x="connsiteX43466" y="connsiteY43466"/>
              </a:cxn>
              <a:cxn ang="0">
                <a:pos x="connsiteX43467" y="connsiteY43467"/>
              </a:cxn>
              <a:cxn ang="0">
                <a:pos x="connsiteX43468" y="connsiteY43468"/>
              </a:cxn>
              <a:cxn ang="0">
                <a:pos x="connsiteX43469" y="connsiteY43469"/>
              </a:cxn>
              <a:cxn ang="0">
                <a:pos x="connsiteX43470" y="connsiteY43470"/>
              </a:cxn>
              <a:cxn ang="0">
                <a:pos x="connsiteX43471" y="connsiteY43471"/>
              </a:cxn>
              <a:cxn ang="0">
                <a:pos x="connsiteX43472" y="connsiteY43472"/>
              </a:cxn>
              <a:cxn ang="0">
                <a:pos x="connsiteX43473" y="connsiteY43473"/>
              </a:cxn>
              <a:cxn ang="0">
                <a:pos x="connsiteX43474" y="connsiteY43474"/>
              </a:cxn>
              <a:cxn ang="0">
                <a:pos x="connsiteX43475" y="connsiteY43475"/>
              </a:cxn>
              <a:cxn ang="0">
                <a:pos x="connsiteX43476" y="connsiteY43476"/>
              </a:cxn>
              <a:cxn ang="0">
                <a:pos x="connsiteX43477" y="connsiteY43477"/>
              </a:cxn>
              <a:cxn ang="0">
                <a:pos x="connsiteX43478" y="connsiteY43478"/>
              </a:cxn>
              <a:cxn ang="0">
                <a:pos x="connsiteX43479" y="connsiteY43479"/>
              </a:cxn>
              <a:cxn ang="0">
                <a:pos x="connsiteX43480" y="connsiteY43480"/>
              </a:cxn>
              <a:cxn ang="0">
                <a:pos x="connsiteX43481" y="connsiteY43481"/>
              </a:cxn>
              <a:cxn ang="0">
                <a:pos x="connsiteX43482" y="connsiteY43482"/>
              </a:cxn>
              <a:cxn ang="0">
                <a:pos x="connsiteX43483" y="connsiteY43483"/>
              </a:cxn>
              <a:cxn ang="0">
                <a:pos x="connsiteX43484" y="connsiteY43484"/>
              </a:cxn>
              <a:cxn ang="0">
                <a:pos x="connsiteX43485" y="connsiteY43485"/>
              </a:cxn>
              <a:cxn ang="0">
                <a:pos x="connsiteX43486" y="connsiteY43486"/>
              </a:cxn>
              <a:cxn ang="0">
                <a:pos x="connsiteX43487" y="connsiteY43487"/>
              </a:cxn>
              <a:cxn ang="0">
                <a:pos x="connsiteX43488" y="connsiteY43488"/>
              </a:cxn>
              <a:cxn ang="0">
                <a:pos x="connsiteX43489" y="connsiteY43489"/>
              </a:cxn>
              <a:cxn ang="0">
                <a:pos x="connsiteX43490" y="connsiteY43490"/>
              </a:cxn>
              <a:cxn ang="0">
                <a:pos x="connsiteX43491" y="connsiteY43491"/>
              </a:cxn>
              <a:cxn ang="0">
                <a:pos x="connsiteX43492" y="connsiteY43492"/>
              </a:cxn>
              <a:cxn ang="0">
                <a:pos x="connsiteX43493" y="connsiteY43493"/>
              </a:cxn>
              <a:cxn ang="0">
                <a:pos x="connsiteX43494" y="connsiteY43494"/>
              </a:cxn>
              <a:cxn ang="0">
                <a:pos x="connsiteX43495" y="connsiteY43495"/>
              </a:cxn>
              <a:cxn ang="0">
                <a:pos x="connsiteX43496" y="connsiteY43496"/>
              </a:cxn>
              <a:cxn ang="0">
                <a:pos x="connsiteX43497" y="connsiteY43497"/>
              </a:cxn>
              <a:cxn ang="0">
                <a:pos x="connsiteX43498" y="connsiteY43498"/>
              </a:cxn>
              <a:cxn ang="0">
                <a:pos x="connsiteX43499" y="connsiteY43499"/>
              </a:cxn>
              <a:cxn ang="0">
                <a:pos x="connsiteX43500" y="connsiteY43500"/>
              </a:cxn>
              <a:cxn ang="0">
                <a:pos x="connsiteX43501" y="connsiteY43501"/>
              </a:cxn>
              <a:cxn ang="0">
                <a:pos x="connsiteX43502" y="connsiteY43502"/>
              </a:cxn>
              <a:cxn ang="0">
                <a:pos x="connsiteX43503" y="connsiteY43503"/>
              </a:cxn>
              <a:cxn ang="0">
                <a:pos x="connsiteX43504" y="connsiteY43504"/>
              </a:cxn>
              <a:cxn ang="0">
                <a:pos x="connsiteX43505" y="connsiteY43505"/>
              </a:cxn>
              <a:cxn ang="0">
                <a:pos x="connsiteX43506" y="connsiteY43506"/>
              </a:cxn>
              <a:cxn ang="0">
                <a:pos x="connsiteX43507" y="connsiteY43507"/>
              </a:cxn>
              <a:cxn ang="0">
                <a:pos x="connsiteX43508" y="connsiteY43508"/>
              </a:cxn>
              <a:cxn ang="0">
                <a:pos x="connsiteX43509" y="connsiteY43509"/>
              </a:cxn>
              <a:cxn ang="0">
                <a:pos x="connsiteX43510" y="connsiteY43510"/>
              </a:cxn>
              <a:cxn ang="0">
                <a:pos x="connsiteX43511" y="connsiteY43511"/>
              </a:cxn>
              <a:cxn ang="0">
                <a:pos x="connsiteX43512" y="connsiteY43512"/>
              </a:cxn>
              <a:cxn ang="0">
                <a:pos x="connsiteX43513" y="connsiteY43513"/>
              </a:cxn>
              <a:cxn ang="0">
                <a:pos x="connsiteX43514" y="connsiteY43514"/>
              </a:cxn>
              <a:cxn ang="0">
                <a:pos x="connsiteX43515" y="connsiteY43515"/>
              </a:cxn>
              <a:cxn ang="0">
                <a:pos x="connsiteX43516" y="connsiteY43516"/>
              </a:cxn>
              <a:cxn ang="0">
                <a:pos x="connsiteX43517" y="connsiteY43517"/>
              </a:cxn>
              <a:cxn ang="0">
                <a:pos x="connsiteX43518" y="connsiteY43518"/>
              </a:cxn>
              <a:cxn ang="0">
                <a:pos x="connsiteX43519" y="connsiteY43519"/>
              </a:cxn>
              <a:cxn ang="0">
                <a:pos x="connsiteX43520" y="connsiteY43520"/>
              </a:cxn>
              <a:cxn ang="0">
                <a:pos x="connsiteX43521" y="connsiteY43521"/>
              </a:cxn>
              <a:cxn ang="0">
                <a:pos x="connsiteX43522" y="connsiteY43522"/>
              </a:cxn>
              <a:cxn ang="0">
                <a:pos x="connsiteX43523" y="connsiteY43523"/>
              </a:cxn>
              <a:cxn ang="0">
                <a:pos x="connsiteX43524" y="connsiteY43524"/>
              </a:cxn>
              <a:cxn ang="0">
                <a:pos x="connsiteX43525" y="connsiteY43525"/>
              </a:cxn>
              <a:cxn ang="0">
                <a:pos x="connsiteX43526" y="connsiteY43526"/>
              </a:cxn>
              <a:cxn ang="0">
                <a:pos x="connsiteX43527" y="connsiteY43527"/>
              </a:cxn>
              <a:cxn ang="0">
                <a:pos x="connsiteX43528" y="connsiteY43528"/>
              </a:cxn>
              <a:cxn ang="0">
                <a:pos x="connsiteX43529" y="connsiteY43529"/>
              </a:cxn>
              <a:cxn ang="0">
                <a:pos x="connsiteX43530" y="connsiteY43530"/>
              </a:cxn>
              <a:cxn ang="0">
                <a:pos x="connsiteX43531" y="connsiteY43531"/>
              </a:cxn>
              <a:cxn ang="0">
                <a:pos x="connsiteX43532" y="connsiteY43532"/>
              </a:cxn>
              <a:cxn ang="0">
                <a:pos x="connsiteX43533" y="connsiteY43533"/>
              </a:cxn>
              <a:cxn ang="0">
                <a:pos x="connsiteX43534" y="connsiteY43534"/>
              </a:cxn>
              <a:cxn ang="0">
                <a:pos x="connsiteX43535" y="connsiteY43535"/>
              </a:cxn>
              <a:cxn ang="0">
                <a:pos x="connsiteX43536" y="connsiteY43536"/>
              </a:cxn>
              <a:cxn ang="0">
                <a:pos x="connsiteX43537" y="connsiteY43537"/>
              </a:cxn>
              <a:cxn ang="0">
                <a:pos x="connsiteX43538" y="connsiteY43538"/>
              </a:cxn>
              <a:cxn ang="0">
                <a:pos x="connsiteX43539" y="connsiteY43539"/>
              </a:cxn>
              <a:cxn ang="0">
                <a:pos x="connsiteX43540" y="connsiteY43540"/>
              </a:cxn>
              <a:cxn ang="0">
                <a:pos x="connsiteX43541" y="connsiteY43541"/>
              </a:cxn>
              <a:cxn ang="0">
                <a:pos x="connsiteX43542" y="connsiteY43542"/>
              </a:cxn>
              <a:cxn ang="0">
                <a:pos x="connsiteX43543" y="connsiteY43543"/>
              </a:cxn>
              <a:cxn ang="0">
                <a:pos x="connsiteX43544" y="connsiteY43544"/>
              </a:cxn>
              <a:cxn ang="0">
                <a:pos x="connsiteX43545" y="connsiteY43545"/>
              </a:cxn>
              <a:cxn ang="0">
                <a:pos x="connsiteX43546" y="connsiteY43546"/>
              </a:cxn>
              <a:cxn ang="0">
                <a:pos x="connsiteX43547" y="connsiteY43547"/>
              </a:cxn>
              <a:cxn ang="0">
                <a:pos x="connsiteX43548" y="connsiteY43548"/>
              </a:cxn>
              <a:cxn ang="0">
                <a:pos x="connsiteX43549" y="connsiteY43549"/>
              </a:cxn>
              <a:cxn ang="0">
                <a:pos x="connsiteX43550" y="connsiteY43550"/>
              </a:cxn>
              <a:cxn ang="0">
                <a:pos x="connsiteX43551" y="connsiteY43551"/>
              </a:cxn>
              <a:cxn ang="0">
                <a:pos x="connsiteX43552" y="connsiteY43552"/>
              </a:cxn>
              <a:cxn ang="0">
                <a:pos x="connsiteX43553" y="connsiteY43553"/>
              </a:cxn>
              <a:cxn ang="0">
                <a:pos x="connsiteX43554" y="connsiteY43554"/>
              </a:cxn>
              <a:cxn ang="0">
                <a:pos x="connsiteX43555" y="connsiteY43555"/>
              </a:cxn>
              <a:cxn ang="0">
                <a:pos x="connsiteX43556" y="connsiteY43556"/>
              </a:cxn>
              <a:cxn ang="0">
                <a:pos x="connsiteX43557" y="connsiteY43557"/>
              </a:cxn>
              <a:cxn ang="0">
                <a:pos x="connsiteX43558" y="connsiteY43558"/>
              </a:cxn>
              <a:cxn ang="0">
                <a:pos x="connsiteX43559" y="connsiteY43559"/>
              </a:cxn>
              <a:cxn ang="0">
                <a:pos x="connsiteX43560" y="connsiteY43560"/>
              </a:cxn>
              <a:cxn ang="0">
                <a:pos x="connsiteX43561" y="connsiteY43561"/>
              </a:cxn>
              <a:cxn ang="0">
                <a:pos x="connsiteX43562" y="connsiteY43562"/>
              </a:cxn>
              <a:cxn ang="0">
                <a:pos x="connsiteX43563" y="connsiteY43563"/>
              </a:cxn>
              <a:cxn ang="0">
                <a:pos x="connsiteX43564" y="connsiteY43564"/>
              </a:cxn>
              <a:cxn ang="0">
                <a:pos x="connsiteX43565" y="connsiteY43565"/>
              </a:cxn>
              <a:cxn ang="0">
                <a:pos x="connsiteX43566" y="connsiteY43566"/>
              </a:cxn>
              <a:cxn ang="0">
                <a:pos x="connsiteX43567" y="connsiteY43567"/>
              </a:cxn>
              <a:cxn ang="0">
                <a:pos x="connsiteX43568" y="connsiteY43568"/>
              </a:cxn>
              <a:cxn ang="0">
                <a:pos x="connsiteX43569" y="connsiteY43569"/>
              </a:cxn>
              <a:cxn ang="0">
                <a:pos x="connsiteX43570" y="connsiteY43570"/>
              </a:cxn>
              <a:cxn ang="0">
                <a:pos x="connsiteX43571" y="connsiteY43571"/>
              </a:cxn>
              <a:cxn ang="0">
                <a:pos x="connsiteX43572" y="connsiteY43572"/>
              </a:cxn>
              <a:cxn ang="0">
                <a:pos x="connsiteX43573" y="connsiteY43573"/>
              </a:cxn>
              <a:cxn ang="0">
                <a:pos x="connsiteX43574" y="connsiteY43574"/>
              </a:cxn>
              <a:cxn ang="0">
                <a:pos x="connsiteX43575" y="connsiteY43575"/>
              </a:cxn>
              <a:cxn ang="0">
                <a:pos x="connsiteX43576" y="connsiteY43576"/>
              </a:cxn>
              <a:cxn ang="0">
                <a:pos x="connsiteX43577" y="connsiteY43577"/>
              </a:cxn>
              <a:cxn ang="0">
                <a:pos x="connsiteX43578" y="connsiteY43578"/>
              </a:cxn>
              <a:cxn ang="0">
                <a:pos x="connsiteX43579" y="connsiteY43579"/>
              </a:cxn>
              <a:cxn ang="0">
                <a:pos x="connsiteX43580" y="connsiteY43580"/>
              </a:cxn>
              <a:cxn ang="0">
                <a:pos x="connsiteX43581" y="connsiteY43581"/>
              </a:cxn>
              <a:cxn ang="0">
                <a:pos x="connsiteX43582" y="connsiteY43582"/>
              </a:cxn>
              <a:cxn ang="0">
                <a:pos x="connsiteX43583" y="connsiteY43583"/>
              </a:cxn>
              <a:cxn ang="0">
                <a:pos x="connsiteX43584" y="connsiteY43584"/>
              </a:cxn>
              <a:cxn ang="0">
                <a:pos x="connsiteX43585" y="connsiteY43585"/>
              </a:cxn>
              <a:cxn ang="0">
                <a:pos x="connsiteX43586" y="connsiteY43586"/>
              </a:cxn>
              <a:cxn ang="0">
                <a:pos x="connsiteX43587" y="connsiteY43587"/>
              </a:cxn>
              <a:cxn ang="0">
                <a:pos x="connsiteX43588" y="connsiteY43588"/>
              </a:cxn>
              <a:cxn ang="0">
                <a:pos x="connsiteX43589" y="connsiteY43589"/>
              </a:cxn>
              <a:cxn ang="0">
                <a:pos x="connsiteX43590" y="connsiteY43590"/>
              </a:cxn>
              <a:cxn ang="0">
                <a:pos x="connsiteX43591" y="connsiteY43591"/>
              </a:cxn>
              <a:cxn ang="0">
                <a:pos x="connsiteX43592" y="connsiteY43592"/>
              </a:cxn>
              <a:cxn ang="0">
                <a:pos x="connsiteX43593" y="connsiteY43593"/>
              </a:cxn>
              <a:cxn ang="0">
                <a:pos x="connsiteX43594" y="connsiteY43594"/>
              </a:cxn>
              <a:cxn ang="0">
                <a:pos x="connsiteX43595" y="connsiteY43595"/>
              </a:cxn>
              <a:cxn ang="0">
                <a:pos x="connsiteX43596" y="connsiteY43596"/>
              </a:cxn>
              <a:cxn ang="0">
                <a:pos x="connsiteX43597" y="connsiteY43597"/>
              </a:cxn>
              <a:cxn ang="0">
                <a:pos x="connsiteX43598" y="connsiteY43598"/>
              </a:cxn>
              <a:cxn ang="0">
                <a:pos x="connsiteX43599" y="connsiteY43599"/>
              </a:cxn>
              <a:cxn ang="0">
                <a:pos x="connsiteX43600" y="connsiteY43600"/>
              </a:cxn>
              <a:cxn ang="0">
                <a:pos x="connsiteX43601" y="connsiteY43601"/>
              </a:cxn>
              <a:cxn ang="0">
                <a:pos x="connsiteX43602" y="connsiteY43602"/>
              </a:cxn>
              <a:cxn ang="0">
                <a:pos x="connsiteX43603" y="connsiteY43603"/>
              </a:cxn>
              <a:cxn ang="0">
                <a:pos x="connsiteX43604" y="connsiteY43604"/>
              </a:cxn>
              <a:cxn ang="0">
                <a:pos x="connsiteX43605" y="connsiteY43605"/>
              </a:cxn>
              <a:cxn ang="0">
                <a:pos x="connsiteX43606" y="connsiteY43606"/>
              </a:cxn>
              <a:cxn ang="0">
                <a:pos x="connsiteX43607" y="connsiteY43607"/>
              </a:cxn>
              <a:cxn ang="0">
                <a:pos x="connsiteX43608" y="connsiteY43608"/>
              </a:cxn>
              <a:cxn ang="0">
                <a:pos x="connsiteX43609" y="connsiteY43609"/>
              </a:cxn>
              <a:cxn ang="0">
                <a:pos x="connsiteX43610" y="connsiteY43610"/>
              </a:cxn>
              <a:cxn ang="0">
                <a:pos x="connsiteX43611" y="connsiteY43611"/>
              </a:cxn>
              <a:cxn ang="0">
                <a:pos x="connsiteX43612" y="connsiteY43612"/>
              </a:cxn>
              <a:cxn ang="0">
                <a:pos x="connsiteX43613" y="connsiteY43613"/>
              </a:cxn>
              <a:cxn ang="0">
                <a:pos x="connsiteX43614" y="connsiteY43614"/>
              </a:cxn>
              <a:cxn ang="0">
                <a:pos x="connsiteX43615" y="connsiteY43615"/>
              </a:cxn>
              <a:cxn ang="0">
                <a:pos x="connsiteX43616" y="connsiteY43616"/>
              </a:cxn>
              <a:cxn ang="0">
                <a:pos x="connsiteX43617" y="connsiteY43617"/>
              </a:cxn>
              <a:cxn ang="0">
                <a:pos x="connsiteX43618" y="connsiteY43618"/>
              </a:cxn>
              <a:cxn ang="0">
                <a:pos x="connsiteX43619" y="connsiteY43619"/>
              </a:cxn>
              <a:cxn ang="0">
                <a:pos x="connsiteX43620" y="connsiteY43620"/>
              </a:cxn>
              <a:cxn ang="0">
                <a:pos x="connsiteX43621" y="connsiteY43621"/>
              </a:cxn>
              <a:cxn ang="0">
                <a:pos x="connsiteX43622" y="connsiteY43622"/>
              </a:cxn>
              <a:cxn ang="0">
                <a:pos x="connsiteX43623" y="connsiteY43623"/>
              </a:cxn>
              <a:cxn ang="0">
                <a:pos x="connsiteX43624" y="connsiteY43624"/>
              </a:cxn>
              <a:cxn ang="0">
                <a:pos x="connsiteX43625" y="connsiteY43625"/>
              </a:cxn>
              <a:cxn ang="0">
                <a:pos x="connsiteX43626" y="connsiteY43626"/>
              </a:cxn>
              <a:cxn ang="0">
                <a:pos x="connsiteX43627" y="connsiteY43627"/>
              </a:cxn>
              <a:cxn ang="0">
                <a:pos x="connsiteX43628" y="connsiteY43628"/>
              </a:cxn>
              <a:cxn ang="0">
                <a:pos x="connsiteX43629" y="connsiteY43629"/>
              </a:cxn>
              <a:cxn ang="0">
                <a:pos x="connsiteX43630" y="connsiteY43630"/>
              </a:cxn>
              <a:cxn ang="0">
                <a:pos x="connsiteX43631" y="connsiteY43631"/>
              </a:cxn>
              <a:cxn ang="0">
                <a:pos x="connsiteX43632" y="connsiteY43632"/>
              </a:cxn>
              <a:cxn ang="0">
                <a:pos x="connsiteX43633" y="connsiteY43633"/>
              </a:cxn>
              <a:cxn ang="0">
                <a:pos x="connsiteX43634" y="connsiteY43634"/>
              </a:cxn>
              <a:cxn ang="0">
                <a:pos x="connsiteX43635" y="connsiteY43635"/>
              </a:cxn>
              <a:cxn ang="0">
                <a:pos x="connsiteX43636" y="connsiteY43636"/>
              </a:cxn>
              <a:cxn ang="0">
                <a:pos x="connsiteX43637" y="connsiteY43637"/>
              </a:cxn>
              <a:cxn ang="0">
                <a:pos x="connsiteX43638" y="connsiteY43638"/>
              </a:cxn>
              <a:cxn ang="0">
                <a:pos x="connsiteX43639" y="connsiteY43639"/>
              </a:cxn>
              <a:cxn ang="0">
                <a:pos x="connsiteX43640" y="connsiteY43640"/>
              </a:cxn>
              <a:cxn ang="0">
                <a:pos x="connsiteX43641" y="connsiteY43641"/>
              </a:cxn>
              <a:cxn ang="0">
                <a:pos x="connsiteX43642" y="connsiteY43642"/>
              </a:cxn>
              <a:cxn ang="0">
                <a:pos x="connsiteX43643" y="connsiteY43643"/>
              </a:cxn>
              <a:cxn ang="0">
                <a:pos x="connsiteX43644" y="connsiteY43644"/>
              </a:cxn>
              <a:cxn ang="0">
                <a:pos x="connsiteX43645" y="connsiteY43645"/>
              </a:cxn>
              <a:cxn ang="0">
                <a:pos x="connsiteX43646" y="connsiteY43646"/>
              </a:cxn>
              <a:cxn ang="0">
                <a:pos x="connsiteX43647" y="connsiteY43647"/>
              </a:cxn>
              <a:cxn ang="0">
                <a:pos x="connsiteX43648" y="connsiteY43648"/>
              </a:cxn>
              <a:cxn ang="0">
                <a:pos x="connsiteX43649" y="connsiteY43649"/>
              </a:cxn>
              <a:cxn ang="0">
                <a:pos x="connsiteX43650" y="connsiteY43650"/>
              </a:cxn>
              <a:cxn ang="0">
                <a:pos x="connsiteX43651" y="connsiteY43651"/>
              </a:cxn>
              <a:cxn ang="0">
                <a:pos x="connsiteX43652" y="connsiteY43652"/>
              </a:cxn>
              <a:cxn ang="0">
                <a:pos x="connsiteX43653" y="connsiteY43653"/>
              </a:cxn>
              <a:cxn ang="0">
                <a:pos x="connsiteX43654" y="connsiteY43654"/>
              </a:cxn>
              <a:cxn ang="0">
                <a:pos x="connsiteX43655" y="connsiteY43655"/>
              </a:cxn>
              <a:cxn ang="0">
                <a:pos x="connsiteX43656" y="connsiteY43656"/>
              </a:cxn>
              <a:cxn ang="0">
                <a:pos x="connsiteX43657" y="connsiteY43657"/>
              </a:cxn>
              <a:cxn ang="0">
                <a:pos x="connsiteX43658" y="connsiteY43658"/>
              </a:cxn>
              <a:cxn ang="0">
                <a:pos x="connsiteX43659" y="connsiteY43659"/>
              </a:cxn>
              <a:cxn ang="0">
                <a:pos x="connsiteX43660" y="connsiteY43660"/>
              </a:cxn>
              <a:cxn ang="0">
                <a:pos x="connsiteX43661" y="connsiteY43661"/>
              </a:cxn>
              <a:cxn ang="0">
                <a:pos x="connsiteX43662" y="connsiteY43662"/>
              </a:cxn>
              <a:cxn ang="0">
                <a:pos x="connsiteX43663" y="connsiteY43663"/>
              </a:cxn>
              <a:cxn ang="0">
                <a:pos x="connsiteX43664" y="connsiteY43664"/>
              </a:cxn>
              <a:cxn ang="0">
                <a:pos x="connsiteX43665" y="connsiteY43665"/>
              </a:cxn>
              <a:cxn ang="0">
                <a:pos x="connsiteX43666" y="connsiteY43666"/>
              </a:cxn>
              <a:cxn ang="0">
                <a:pos x="connsiteX43667" y="connsiteY43667"/>
              </a:cxn>
              <a:cxn ang="0">
                <a:pos x="connsiteX43668" y="connsiteY43668"/>
              </a:cxn>
              <a:cxn ang="0">
                <a:pos x="connsiteX43669" y="connsiteY43669"/>
              </a:cxn>
              <a:cxn ang="0">
                <a:pos x="connsiteX43670" y="connsiteY43670"/>
              </a:cxn>
              <a:cxn ang="0">
                <a:pos x="connsiteX43671" y="connsiteY43671"/>
              </a:cxn>
              <a:cxn ang="0">
                <a:pos x="connsiteX43672" y="connsiteY43672"/>
              </a:cxn>
              <a:cxn ang="0">
                <a:pos x="connsiteX43673" y="connsiteY43673"/>
              </a:cxn>
              <a:cxn ang="0">
                <a:pos x="connsiteX43674" y="connsiteY43674"/>
              </a:cxn>
              <a:cxn ang="0">
                <a:pos x="connsiteX43675" y="connsiteY43675"/>
              </a:cxn>
              <a:cxn ang="0">
                <a:pos x="connsiteX43676" y="connsiteY43676"/>
              </a:cxn>
              <a:cxn ang="0">
                <a:pos x="connsiteX43677" y="connsiteY43677"/>
              </a:cxn>
              <a:cxn ang="0">
                <a:pos x="connsiteX43678" y="connsiteY43678"/>
              </a:cxn>
              <a:cxn ang="0">
                <a:pos x="connsiteX43679" y="connsiteY43679"/>
              </a:cxn>
              <a:cxn ang="0">
                <a:pos x="connsiteX43680" y="connsiteY43680"/>
              </a:cxn>
              <a:cxn ang="0">
                <a:pos x="connsiteX43681" y="connsiteY43681"/>
              </a:cxn>
              <a:cxn ang="0">
                <a:pos x="connsiteX43682" y="connsiteY43682"/>
              </a:cxn>
              <a:cxn ang="0">
                <a:pos x="connsiteX43683" y="connsiteY43683"/>
              </a:cxn>
              <a:cxn ang="0">
                <a:pos x="connsiteX43684" y="connsiteY43684"/>
              </a:cxn>
              <a:cxn ang="0">
                <a:pos x="connsiteX43685" y="connsiteY43685"/>
              </a:cxn>
              <a:cxn ang="0">
                <a:pos x="connsiteX43686" y="connsiteY43686"/>
              </a:cxn>
              <a:cxn ang="0">
                <a:pos x="connsiteX43687" y="connsiteY43687"/>
              </a:cxn>
              <a:cxn ang="0">
                <a:pos x="connsiteX43688" y="connsiteY43688"/>
              </a:cxn>
              <a:cxn ang="0">
                <a:pos x="connsiteX43689" y="connsiteY43689"/>
              </a:cxn>
              <a:cxn ang="0">
                <a:pos x="connsiteX43690" y="connsiteY43690"/>
              </a:cxn>
              <a:cxn ang="0">
                <a:pos x="connsiteX43691" y="connsiteY43691"/>
              </a:cxn>
              <a:cxn ang="0">
                <a:pos x="connsiteX43692" y="connsiteY43692"/>
              </a:cxn>
              <a:cxn ang="0">
                <a:pos x="connsiteX43693" y="connsiteY43693"/>
              </a:cxn>
              <a:cxn ang="0">
                <a:pos x="connsiteX43694" y="connsiteY43694"/>
              </a:cxn>
              <a:cxn ang="0">
                <a:pos x="connsiteX43695" y="connsiteY43695"/>
              </a:cxn>
              <a:cxn ang="0">
                <a:pos x="connsiteX43696" y="connsiteY43696"/>
              </a:cxn>
              <a:cxn ang="0">
                <a:pos x="connsiteX43697" y="connsiteY43697"/>
              </a:cxn>
              <a:cxn ang="0">
                <a:pos x="connsiteX43698" y="connsiteY43698"/>
              </a:cxn>
              <a:cxn ang="0">
                <a:pos x="connsiteX43699" y="connsiteY43699"/>
              </a:cxn>
              <a:cxn ang="0">
                <a:pos x="connsiteX43700" y="connsiteY43700"/>
              </a:cxn>
              <a:cxn ang="0">
                <a:pos x="connsiteX43701" y="connsiteY43701"/>
              </a:cxn>
              <a:cxn ang="0">
                <a:pos x="connsiteX43702" y="connsiteY43702"/>
              </a:cxn>
              <a:cxn ang="0">
                <a:pos x="connsiteX43703" y="connsiteY43703"/>
              </a:cxn>
              <a:cxn ang="0">
                <a:pos x="connsiteX43704" y="connsiteY43704"/>
              </a:cxn>
              <a:cxn ang="0">
                <a:pos x="connsiteX43705" y="connsiteY43705"/>
              </a:cxn>
              <a:cxn ang="0">
                <a:pos x="connsiteX43706" y="connsiteY43706"/>
              </a:cxn>
              <a:cxn ang="0">
                <a:pos x="connsiteX43707" y="connsiteY43707"/>
              </a:cxn>
              <a:cxn ang="0">
                <a:pos x="connsiteX43708" y="connsiteY43708"/>
              </a:cxn>
              <a:cxn ang="0">
                <a:pos x="connsiteX43709" y="connsiteY43709"/>
              </a:cxn>
              <a:cxn ang="0">
                <a:pos x="connsiteX43710" y="connsiteY43710"/>
              </a:cxn>
              <a:cxn ang="0">
                <a:pos x="connsiteX43711" y="connsiteY43711"/>
              </a:cxn>
              <a:cxn ang="0">
                <a:pos x="connsiteX43712" y="connsiteY43712"/>
              </a:cxn>
              <a:cxn ang="0">
                <a:pos x="connsiteX43713" y="connsiteY43713"/>
              </a:cxn>
              <a:cxn ang="0">
                <a:pos x="connsiteX43714" y="connsiteY43714"/>
              </a:cxn>
              <a:cxn ang="0">
                <a:pos x="connsiteX43715" y="connsiteY43715"/>
              </a:cxn>
              <a:cxn ang="0">
                <a:pos x="connsiteX43716" y="connsiteY43716"/>
              </a:cxn>
              <a:cxn ang="0">
                <a:pos x="connsiteX43717" y="connsiteY43717"/>
              </a:cxn>
              <a:cxn ang="0">
                <a:pos x="connsiteX43718" y="connsiteY43718"/>
              </a:cxn>
              <a:cxn ang="0">
                <a:pos x="connsiteX43719" y="connsiteY43719"/>
              </a:cxn>
              <a:cxn ang="0">
                <a:pos x="connsiteX43720" y="connsiteY43720"/>
              </a:cxn>
              <a:cxn ang="0">
                <a:pos x="connsiteX43721" y="connsiteY43721"/>
              </a:cxn>
              <a:cxn ang="0">
                <a:pos x="connsiteX43722" y="connsiteY43722"/>
              </a:cxn>
              <a:cxn ang="0">
                <a:pos x="connsiteX43723" y="connsiteY43723"/>
              </a:cxn>
              <a:cxn ang="0">
                <a:pos x="connsiteX43724" y="connsiteY43724"/>
              </a:cxn>
              <a:cxn ang="0">
                <a:pos x="connsiteX43725" y="connsiteY43725"/>
              </a:cxn>
              <a:cxn ang="0">
                <a:pos x="connsiteX43726" y="connsiteY43726"/>
              </a:cxn>
              <a:cxn ang="0">
                <a:pos x="connsiteX43727" y="connsiteY43727"/>
              </a:cxn>
              <a:cxn ang="0">
                <a:pos x="connsiteX43728" y="connsiteY43728"/>
              </a:cxn>
              <a:cxn ang="0">
                <a:pos x="connsiteX43729" y="connsiteY43729"/>
              </a:cxn>
              <a:cxn ang="0">
                <a:pos x="connsiteX43730" y="connsiteY43730"/>
              </a:cxn>
              <a:cxn ang="0">
                <a:pos x="connsiteX43731" y="connsiteY43731"/>
              </a:cxn>
              <a:cxn ang="0">
                <a:pos x="connsiteX43732" y="connsiteY43732"/>
              </a:cxn>
              <a:cxn ang="0">
                <a:pos x="connsiteX43733" y="connsiteY43733"/>
              </a:cxn>
              <a:cxn ang="0">
                <a:pos x="connsiteX43734" y="connsiteY43734"/>
              </a:cxn>
              <a:cxn ang="0">
                <a:pos x="connsiteX43735" y="connsiteY43735"/>
              </a:cxn>
              <a:cxn ang="0">
                <a:pos x="connsiteX43736" y="connsiteY43736"/>
              </a:cxn>
              <a:cxn ang="0">
                <a:pos x="connsiteX43737" y="connsiteY43737"/>
              </a:cxn>
              <a:cxn ang="0">
                <a:pos x="connsiteX43738" y="connsiteY43738"/>
              </a:cxn>
              <a:cxn ang="0">
                <a:pos x="connsiteX43739" y="connsiteY43739"/>
              </a:cxn>
              <a:cxn ang="0">
                <a:pos x="connsiteX43740" y="connsiteY43740"/>
              </a:cxn>
              <a:cxn ang="0">
                <a:pos x="connsiteX43741" y="connsiteY43741"/>
              </a:cxn>
              <a:cxn ang="0">
                <a:pos x="connsiteX43742" y="connsiteY43742"/>
              </a:cxn>
              <a:cxn ang="0">
                <a:pos x="connsiteX43743" y="connsiteY43743"/>
              </a:cxn>
              <a:cxn ang="0">
                <a:pos x="connsiteX43744" y="connsiteY43744"/>
              </a:cxn>
              <a:cxn ang="0">
                <a:pos x="connsiteX43745" y="connsiteY43745"/>
              </a:cxn>
              <a:cxn ang="0">
                <a:pos x="connsiteX43746" y="connsiteY43746"/>
              </a:cxn>
              <a:cxn ang="0">
                <a:pos x="connsiteX43747" y="connsiteY43747"/>
              </a:cxn>
              <a:cxn ang="0">
                <a:pos x="connsiteX43748" y="connsiteY43748"/>
              </a:cxn>
              <a:cxn ang="0">
                <a:pos x="connsiteX43749" y="connsiteY43749"/>
              </a:cxn>
              <a:cxn ang="0">
                <a:pos x="connsiteX43750" y="connsiteY43750"/>
              </a:cxn>
              <a:cxn ang="0">
                <a:pos x="connsiteX43751" y="connsiteY43751"/>
              </a:cxn>
              <a:cxn ang="0">
                <a:pos x="connsiteX43752" y="connsiteY43752"/>
              </a:cxn>
              <a:cxn ang="0">
                <a:pos x="connsiteX43753" y="connsiteY43753"/>
              </a:cxn>
              <a:cxn ang="0">
                <a:pos x="connsiteX43754" y="connsiteY43754"/>
              </a:cxn>
              <a:cxn ang="0">
                <a:pos x="connsiteX43755" y="connsiteY43755"/>
              </a:cxn>
              <a:cxn ang="0">
                <a:pos x="connsiteX43756" y="connsiteY43756"/>
              </a:cxn>
              <a:cxn ang="0">
                <a:pos x="connsiteX43757" y="connsiteY43757"/>
              </a:cxn>
              <a:cxn ang="0">
                <a:pos x="connsiteX43758" y="connsiteY43758"/>
              </a:cxn>
              <a:cxn ang="0">
                <a:pos x="connsiteX43759" y="connsiteY43759"/>
              </a:cxn>
              <a:cxn ang="0">
                <a:pos x="connsiteX43760" y="connsiteY43760"/>
              </a:cxn>
              <a:cxn ang="0">
                <a:pos x="connsiteX43761" y="connsiteY43761"/>
              </a:cxn>
              <a:cxn ang="0">
                <a:pos x="connsiteX43762" y="connsiteY43762"/>
              </a:cxn>
              <a:cxn ang="0">
                <a:pos x="connsiteX43763" y="connsiteY43763"/>
              </a:cxn>
              <a:cxn ang="0">
                <a:pos x="connsiteX43764" y="connsiteY43764"/>
              </a:cxn>
              <a:cxn ang="0">
                <a:pos x="connsiteX43765" y="connsiteY43765"/>
              </a:cxn>
              <a:cxn ang="0">
                <a:pos x="connsiteX43766" y="connsiteY43766"/>
              </a:cxn>
              <a:cxn ang="0">
                <a:pos x="connsiteX43767" y="connsiteY43767"/>
              </a:cxn>
              <a:cxn ang="0">
                <a:pos x="connsiteX43768" y="connsiteY43768"/>
              </a:cxn>
              <a:cxn ang="0">
                <a:pos x="connsiteX43769" y="connsiteY43769"/>
              </a:cxn>
              <a:cxn ang="0">
                <a:pos x="connsiteX43770" y="connsiteY43770"/>
              </a:cxn>
              <a:cxn ang="0">
                <a:pos x="connsiteX43771" y="connsiteY43771"/>
              </a:cxn>
              <a:cxn ang="0">
                <a:pos x="connsiteX43772" y="connsiteY43772"/>
              </a:cxn>
              <a:cxn ang="0">
                <a:pos x="connsiteX43773" y="connsiteY43773"/>
              </a:cxn>
              <a:cxn ang="0">
                <a:pos x="connsiteX43774" y="connsiteY43774"/>
              </a:cxn>
              <a:cxn ang="0">
                <a:pos x="connsiteX43775" y="connsiteY43775"/>
              </a:cxn>
              <a:cxn ang="0">
                <a:pos x="connsiteX43776" y="connsiteY43776"/>
              </a:cxn>
              <a:cxn ang="0">
                <a:pos x="connsiteX43777" y="connsiteY43777"/>
              </a:cxn>
              <a:cxn ang="0">
                <a:pos x="connsiteX43778" y="connsiteY43778"/>
              </a:cxn>
              <a:cxn ang="0">
                <a:pos x="connsiteX43779" y="connsiteY43779"/>
              </a:cxn>
              <a:cxn ang="0">
                <a:pos x="connsiteX43780" y="connsiteY43780"/>
              </a:cxn>
              <a:cxn ang="0">
                <a:pos x="connsiteX43781" y="connsiteY43781"/>
              </a:cxn>
              <a:cxn ang="0">
                <a:pos x="connsiteX43782" y="connsiteY43782"/>
              </a:cxn>
              <a:cxn ang="0">
                <a:pos x="connsiteX43783" y="connsiteY43783"/>
              </a:cxn>
              <a:cxn ang="0">
                <a:pos x="connsiteX43784" y="connsiteY43784"/>
              </a:cxn>
              <a:cxn ang="0">
                <a:pos x="connsiteX43785" y="connsiteY43785"/>
              </a:cxn>
              <a:cxn ang="0">
                <a:pos x="connsiteX43786" y="connsiteY43786"/>
              </a:cxn>
              <a:cxn ang="0">
                <a:pos x="connsiteX43787" y="connsiteY43787"/>
              </a:cxn>
              <a:cxn ang="0">
                <a:pos x="connsiteX43788" y="connsiteY43788"/>
              </a:cxn>
              <a:cxn ang="0">
                <a:pos x="connsiteX43789" y="connsiteY43789"/>
              </a:cxn>
              <a:cxn ang="0">
                <a:pos x="connsiteX43790" y="connsiteY43790"/>
              </a:cxn>
              <a:cxn ang="0">
                <a:pos x="connsiteX43791" y="connsiteY43791"/>
              </a:cxn>
              <a:cxn ang="0">
                <a:pos x="connsiteX43792" y="connsiteY43792"/>
              </a:cxn>
              <a:cxn ang="0">
                <a:pos x="connsiteX43793" y="connsiteY43793"/>
              </a:cxn>
              <a:cxn ang="0">
                <a:pos x="connsiteX43794" y="connsiteY43794"/>
              </a:cxn>
              <a:cxn ang="0">
                <a:pos x="connsiteX43795" y="connsiteY43795"/>
              </a:cxn>
              <a:cxn ang="0">
                <a:pos x="connsiteX43796" y="connsiteY43796"/>
              </a:cxn>
              <a:cxn ang="0">
                <a:pos x="connsiteX43797" y="connsiteY43797"/>
              </a:cxn>
              <a:cxn ang="0">
                <a:pos x="connsiteX43798" y="connsiteY43798"/>
              </a:cxn>
              <a:cxn ang="0">
                <a:pos x="connsiteX43799" y="connsiteY43799"/>
              </a:cxn>
              <a:cxn ang="0">
                <a:pos x="connsiteX43800" y="connsiteY43800"/>
              </a:cxn>
              <a:cxn ang="0">
                <a:pos x="connsiteX43801" y="connsiteY43801"/>
              </a:cxn>
              <a:cxn ang="0">
                <a:pos x="connsiteX43802" y="connsiteY43802"/>
              </a:cxn>
              <a:cxn ang="0">
                <a:pos x="connsiteX43803" y="connsiteY43803"/>
              </a:cxn>
              <a:cxn ang="0">
                <a:pos x="connsiteX43804" y="connsiteY43804"/>
              </a:cxn>
              <a:cxn ang="0">
                <a:pos x="connsiteX43805" y="connsiteY43805"/>
              </a:cxn>
              <a:cxn ang="0">
                <a:pos x="connsiteX43806" y="connsiteY43806"/>
              </a:cxn>
              <a:cxn ang="0">
                <a:pos x="connsiteX43807" y="connsiteY43807"/>
              </a:cxn>
              <a:cxn ang="0">
                <a:pos x="connsiteX43808" y="connsiteY43808"/>
              </a:cxn>
              <a:cxn ang="0">
                <a:pos x="connsiteX43809" y="connsiteY43809"/>
              </a:cxn>
              <a:cxn ang="0">
                <a:pos x="connsiteX43810" y="connsiteY43810"/>
              </a:cxn>
              <a:cxn ang="0">
                <a:pos x="connsiteX43811" y="connsiteY43811"/>
              </a:cxn>
              <a:cxn ang="0">
                <a:pos x="connsiteX43812" y="connsiteY43812"/>
              </a:cxn>
              <a:cxn ang="0">
                <a:pos x="connsiteX43813" y="connsiteY43813"/>
              </a:cxn>
              <a:cxn ang="0">
                <a:pos x="connsiteX43814" y="connsiteY43814"/>
              </a:cxn>
              <a:cxn ang="0">
                <a:pos x="connsiteX43815" y="connsiteY43815"/>
              </a:cxn>
              <a:cxn ang="0">
                <a:pos x="connsiteX43816" y="connsiteY43816"/>
              </a:cxn>
              <a:cxn ang="0">
                <a:pos x="connsiteX43817" y="connsiteY43817"/>
              </a:cxn>
              <a:cxn ang="0">
                <a:pos x="connsiteX43818" y="connsiteY43818"/>
              </a:cxn>
              <a:cxn ang="0">
                <a:pos x="connsiteX43819" y="connsiteY43819"/>
              </a:cxn>
              <a:cxn ang="0">
                <a:pos x="connsiteX43820" y="connsiteY43820"/>
              </a:cxn>
              <a:cxn ang="0">
                <a:pos x="connsiteX43821" y="connsiteY43821"/>
              </a:cxn>
              <a:cxn ang="0">
                <a:pos x="connsiteX43822" y="connsiteY43822"/>
              </a:cxn>
              <a:cxn ang="0">
                <a:pos x="connsiteX43823" y="connsiteY43823"/>
              </a:cxn>
              <a:cxn ang="0">
                <a:pos x="connsiteX43824" y="connsiteY43824"/>
              </a:cxn>
              <a:cxn ang="0">
                <a:pos x="connsiteX43825" y="connsiteY43825"/>
              </a:cxn>
              <a:cxn ang="0">
                <a:pos x="connsiteX43826" y="connsiteY43826"/>
              </a:cxn>
              <a:cxn ang="0">
                <a:pos x="connsiteX43827" y="connsiteY43827"/>
              </a:cxn>
              <a:cxn ang="0">
                <a:pos x="connsiteX43828" y="connsiteY43828"/>
              </a:cxn>
              <a:cxn ang="0">
                <a:pos x="connsiteX43829" y="connsiteY43829"/>
              </a:cxn>
              <a:cxn ang="0">
                <a:pos x="connsiteX43830" y="connsiteY43830"/>
              </a:cxn>
              <a:cxn ang="0">
                <a:pos x="connsiteX43831" y="connsiteY43831"/>
              </a:cxn>
              <a:cxn ang="0">
                <a:pos x="connsiteX43832" y="connsiteY43832"/>
              </a:cxn>
              <a:cxn ang="0">
                <a:pos x="connsiteX43833" y="connsiteY43833"/>
              </a:cxn>
              <a:cxn ang="0">
                <a:pos x="connsiteX43834" y="connsiteY43834"/>
              </a:cxn>
              <a:cxn ang="0">
                <a:pos x="connsiteX43835" y="connsiteY43835"/>
              </a:cxn>
              <a:cxn ang="0">
                <a:pos x="connsiteX43836" y="connsiteY43836"/>
              </a:cxn>
              <a:cxn ang="0">
                <a:pos x="connsiteX43837" y="connsiteY43837"/>
              </a:cxn>
              <a:cxn ang="0">
                <a:pos x="connsiteX43838" y="connsiteY43838"/>
              </a:cxn>
              <a:cxn ang="0">
                <a:pos x="connsiteX43839" y="connsiteY43839"/>
              </a:cxn>
              <a:cxn ang="0">
                <a:pos x="connsiteX43840" y="connsiteY43840"/>
              </a:cxn>
              <a:cxn ang="0">
                <a:pos x="connsiteX43841" y="connsiteY43841"/>
              </a:cxn>
              <a:cxn ang="0">
                <a:pos x="connsiteX43842" y="connsiteY43842"/>
              </a:cxn>
              <a:cxn ang="0">
                <a:pos x="connsiteX43843" y="connsiteY43843"/>
              </a:cxn>
              <a:cxn ang="0">
                <a:pos x="connsiteX43844" y="connsiteY43844"/>
              </a:cxn>
              <a:cxn ang="0">
                <a:pos x="connsiteX43845" y="connsiteY43845"/>
              </a:cxn>
              <a:cxn ang="0">
                <a:pos x="connsiteX43846" y="connsiteY43846"/>
              </a:cxn>
              <a:cxn ang="0">
                <a:pos x="connsiteX43847" y="connsiteY43847"/>
              </a:cxn>
              <a:cxn ang="0">
                <a:pos x="connsiteX43848" y="connsiteY43848"/>
              </a:cxn>
              <a:cxn ang="0">
                <a:pos x="connsiteX43849" y="connsiteY43849"/>
              </a:cxn>
              <a:cxn ang="0">
                <a:pos x="connsiteX43850" y="connsiteY43850"/>
              </a:cxn>
              <a:cxn ang="0">
                <a:pos x="connsiteX43851" y="connsiteY43851"/>
              </a:cxn>
              <a:cxn ang="0">
                <a:pos x="connsiteX43852" y="connsiteY43852"/>
              </a:cxn>
              <a:cxn ang="0">
                <a:pos x="connsiteX43853" y="connsiteY43853"/>
              </a:cxn>
              <a:cxn ang="0">
                <a:pos x="connsiteX43854" y="connsiteY43854"/>
              </a:cxn>
              <a:cxn ang="0">
                <a:pos x="connsiteX43855" y="connsiteY43855"/>
              </a:cxn>
              <a:cxn ang="0">
                <a:pos x="connsiteX43856" y="connsiteY43856"/>
              </a:cxn>
              <a:cxn ang="0">
                <a:pos x="connsiteX43857" y="connsiteY43857"/>
              </a:cxn>
              <a:cxn ang="0">
                <a:pos x="connsiteX43858" y="connsiteY43858"/>
              </a:cxn>
              <a:cxn ang="0">
                <a:pos x="connsiteX43859" y="connsiteY43859"/>
              </a:cxn>
              <a:cxn ang="0">
                <a:pos x="connsiteX43860" y="connsiteY43860"/>
              </a:cxn>
              <a:cxn ang="0">
                <a:pos x="connsiteX43861" y="connsiteY43861"/>
              </a:cxn>
              <a:cxn ang="0">
                <a:pos x="connsiteX43862" y="connsiteY43862"/>
              </a:cxn>
              <a:cxn ang="0">
                <a:pos x="connsiteX43863" y="connsiteY43863"/>
              </a:cxn>
              <a:cxn ang="0">
                <a:pos x="connsiteX43864" y="connsiteY43864"/>
              </a:cxn>
              <a:cxn ang="0">
                <a:pos x="connsiteX43865" y="connsiteY43865"/>
              </a:cxn>
              <a:cxn ang="0">
                <a:pos x="connsiteX43866" y="connsiteY43866"/>
              </a:cxn>
              <a:cxn ang="0">
                <a:pos x="connsiteX43867" y="connsiteY43867"/>
              </a:cxn>
              <a:cxn ang="0">
                <a:pos x="connsiteX43868" y="connsiteY43868"/>
              </a:cxn>
              <a:cxn ang="0">
                <a:pos x="connsiteX43869" y="connsiteY43869"/>
              </a:cxn>
              <a:cxn ang="0">
                <a:pos x="connsiteX43870" y="connsiteY43870"/>
              </a:cxn>
              <a:cxn ang="0">
                <a:pos x="connsiteX43871" y="connsiteY43871"/>
              </a:cxn>
              <a:cxn ang="0">
                <a:pos x="connsiteX43872" y="connsiteY43872"/>
              </a:cxn>
              <a:cxn ang="0">
                <a:pos x="connsiteX43873" y="connsiteY43873"/>
              </a:cxn>
              <a:cxn ang="0">
                <a:pos x="connsiteX43874" y="connsiteY43874"/>
              </a:cxn>
              <a:cxn ang="0">
                <a:pos x="connsiteX43875" y="connsiteY43875"/>
              </a:cxn>
              <a:cxn ang="0">
                <a:pos x="connsiteX43876" y="connsiteY43876"/>
              </a:cxn>
              <a:cxn ang="0">
                <a:pos x="connsiteX43877" y="connsiteY43877"/>
              </a:cxn>
              <a:cxn ang="0">
                <a:pos x="connsiteX43878" y="connsiteY43878"/>
              </a:cxn>
              <a:cxn ang="0">
                <a:pos x="connsiteX43879" y="connsiteY43879"/>
              </a:cxn>
              <a:cxn ang="0">
                <a:pos x="connsiteX43880" y="connsiteY43880"/>
              </a:cxn>
              <a:cxn ang="0">
                <a:pos x="connsiteX43881" y="connsiteY43881"/>
              </a:cxn>
              <a:cxn ang="0">
                <a:pos x="connsiteX43882" y="connsiteY43882"/>
              </a:cxn>
              <a:cxn ang="0">
                <a:pos x="connsiteX43883" y="connsiteY43883"/>
              </a:cxn>
              <a:cxn ang="0">
                <a:pos x="connsiteX43884" y="connsiteY43884"/>
              </a:cxn>
              <a:cxn ang="0">
                <a:pos x="connsiteX43885" y="connsiteY43885"/>
              </a:cxn>
              <a:cxn ang="0">
                <a:pos x="connsiteX43886" y="connsiteY43886"/>
              </a:cxn>
              <a:cxn ang="0">
                <a:pos x="connsiteX43887" y="connsiteY43887"/>
              </a:cxn>
              <a:cxn ang="0">
                <a:pos x="connsiteX43888" y="connsiteY43888"/>
              </a:cxn>
              <a:cxn ang="0">
                <a:pos x="connsiteX43889" y="connsiteY43889"/>
              </a:cxn>
              <a:cxn ang="0">
                <a:pos x="connsiteX43890" y="connsiteY43890"/>
              </a:cxn>
              <a:cxn ang="0">
                <a:pos x="connsiteX43891" y="connsiteY43891"/>
              </a:cxn>
              <a:cxn ang="0">
                <a:pos x="connsiteX43892" y="connsiteY43892"/>
              </a:cxn>
              <a:cxn ang="0">
                <a:pos x="connsiteX43893" y="connsiteY43893"/>
              </a:cxn>
              <a:cxn ang="0">
                <a:pos x="connsiteX43894" y="connsiteY43894"/>
              </a:cxn>
              <a:cxn ang="0">
                <a:pos x="connsiteX43895" y="connsiteY43895"/>
              </a:cxn>
              <a:cxn ang="0">
                <a:pos x="connsiteX43896" y="connsiteY43896"/>
              </a:cxn>
              <a:cxn ang="0">
                <a:pos x="connsiteX43897" y="connsiteY43897"/>
              </a:cxn>
              <a:cxn ang="0">
                <a:pos x="connsiteX43898" y="connsiteY43898"/>
              </a:cxn>
              <a:cxn ang="0">
                <a:pos x="connsiteX43899" y="connsiteY43899"/>
              </a:cxn>
              <a:cxn ang="0">
                <a:pos x="connsiteX43900" y="connsiteY43900"/>
              </a:cxn>
              <a:cxn ang="0">
                <a:pos x="connsiteX43901" y="connsiteY43901"/>
              </a:cxn>
              <a:cxn ang="0">
                <a:pos x="connsiteX43902" y="connsiteY43902"/>
              </a:cxn>
              <a:cxn ang="0">
                <a:pos x="connsiteX43903" y="connsiteY43903"/>
              </a:cxn>
              <a:cxn ang="0">
                <a:pos x="connsiteX43904" y="connsiteY43904"/>
              </a:cxn>
              <a:cxn ang="0">
                <a:pos x="connsiteX43905" y="connsiteY43905"/>
              </a:cxn>
              <a:cxn ang="0">
                <a:pos x="connsiteX43906" y="connsiteY43906"/>
              </a:cxn>
              <a:cxn ang="0">
                <a:pos x="connsiteX43907" y="connsiteY43907"/>
              </a:cxn>
              <a:cxn ang="0">
                <a:pos x="connsiteX43908" y="connsiteY43908"/>
              </a:cxn>
              <a:cxn ang="0">
                <a:pos x="connsiteX43909" y="connsiteY43909"/>
              </a:cxn>
              <a:cxn ang="0">
                <a:pos x="connsiteX43910" y="connsiteY43910"/>
              </a:cxn>
              <a:cxn ang="0">
                <a:pos x="connsiteX43911" y="connsiteY43911"/>
              </a:cxn>
              <a:cxn ang="0">
                <a:pos x="connsiteX43912" y="connsiteY43912"/>
              </a:cxn>
              <a:cxn ang="0">
                <a:pos x="connsiteX43913" y="connsiteY43913"/>
              </a:cxn>
              <a:cxn ang="0">
                <a:pos x="connsiteX43914" y="connsiteY43914"/>
              </a:cxn>
              <a:cxn ang="0">
                <a:pos x="connsiteX43915" y="connsiteY43915"/>
              </a:cxn>
              <a:cxn ang="0">
                <a:pos x="connsiteX43916" y="connsiteY43916"/>
              </a:cxn>
              <a:cxn ang="0">
                <a:pos x="connsiteX43917" y="connsiteY43917"/>
              </a:cxn>
              <a:cxn ang="0">
                <a:pos x="connsiteX43918" y="connsiteY43918"/>
              </a:cxn>
              <a:cxn ang="0">
                <a:pos x="connsiteX43919" y="connsiteY43919"/>
              </a:cxn>
              <a:cxn ang="0">
                <a:pos x="connsiteX43920" y="connsiteY43920"/>
              </a:cxn>
              <a:cxn ang="0">
                <a:pos x="connsiteX43921" y="connsiteY43921"/>
              </a:cxn>
              <a:cxn ang="0">
                <a:pos x="connsiteX43922" y="connsiteY43922"/>
              </a:cxn>
              <a:cxn ang="0">
                <a:pos x="connsiteX43923" y="connsiteY43923"/>
              </a:cxn>
              <a:cxn ang="0">
                <a:pos x="connsiteX43924" y="connsiteY43924"/>
              </a:cxn>
              <a:cxn ang="0">
                <a:pos x="connsiteX43925" y="connsiteY43925"/>
              </a:cxn>
              <a:cxn ang="0">
                <a:pos x="connsiteX43926" y="connsiteY43926"/>
              </a:cxn>
              <a:cxn ang="0">
                <a:pos x="connsiteX43927" y="connsiteY43927"/>
              </a:cxn>
              <a:cxn ang="0">
                <a:pos x="connsiteX43928" y="connsiteY43928"/>
              </a:cxn>
              <a:cxn ang="0">
                <a:pos x="connsiteX43929" y="connsiteY43929"/>
              </a:cxn>
              <a:cxn ang="0">
                <a:pos x="connsiteX43930" y="connsiteY43930"/>
              </a:cxn>
              <a:cxn ang="0">
                <a:pos x="connsiteX43931" y="connsiteY43931"/>
              </a:cxn>
              <a:cxn ang="0">
                <a:pos x="connsiteX43932" y="connsiteY43932"/>
              </a:cxn>
              <a:cxn ang="0">
                <a:pos x="connsiteX43933" y="connsiteY43933"/>
              </a:cxn>
              <a:cxn ang="0">
                <a:pos x="connsiteX43934" y="connsiteY43934"/>
              </a:cxn>
              <a:cxn ang="0">
                <a:pos x="connsiteX43935" y="connsiteY43935"/>
              </a:cxn>
              <a:cxn ang="0">
                <a:pos x="connsiteX43936" y="connsiteY43936"/>
              </a:cxn>
              <a:cxn ang="0">
                <a:pos x="connsiteX43937" y="connsiteY43937"/>
              </a:cxn>
              <a:cxn ang="0">
                <a:pos x="connsiteX43938" y="connsiteY43938"/>
              </a:cxn>
              <a:cxn ang="0">
                <a:pos x="connsiteX43939" y="connsiteY43939"/>
              </a:cxn>
              <a:cxn ang="0">
                <a:pos x="connsiteX43940" y="connsiteY43940"/>
              </a:cxn>
              <a:cxn ang="0">
                <a:pos x="connsiteX43941" y="connsiteY43941"/>
              </a:cxn>
              <a:cxn ang="0">
                <a:pos x="connsiteX43942" y="connsiteY43942"/>
              </a:cxn>
              <a:cxn ang="0">
                <a:pos x="connsiteX43943" y="connsiteY43943"/>
              </a:cxn>
              <a:cxn ang="0">
                <a:pos x="connsiteX43944" y="connsiteY43944"/>
              </a:cxn>
              <a:cxn ang="0">
                <a:pos x="connsiteX43945" y="connsiteY43945"/>
              </a:cxn>
              <a:cxn ang="0">
                <a:pos x="connsiteX43946" y="connsiteY43946"/>
              </a:cxn>
              <a:cxn ang="0">
                <a:pos x="connsiteX43947" y="connsiteY43947"/>
              </a:cxn>
              <a:cxn ang="0">
                <a:pos x="connsiteX43948" y="connsiteY43948"/>
              </a:cxn>
              <a:cxn ang="0">
                <a:pos x="connsiteX43949" y="connsiteY43949"/>
              </a:cxn>
              <a:cxn ang="0">
                <a:pos x="connsiteX43950" y="connsiteY43950"/>
              </a:cxn>
              <a:cxn ang="0">
                <a:pos x="connsiteX43951" y="connsiteY43951"/>
              </a:cxn>
              <a:cxn ang="0">
                <a:pos x="connsiteX43952" y="connsiteY43952"/>
              </a:cxn>
              <a:cxn ang="0">
                <a:pos x="connsiteX43953" y="connsiteY43953"/>
              </a:cxn>
              <a:cxn ang="0">
                <a:pos x="connsiteX43954" y="connsiteY43954"/>
              </a:cxn>
              <a:cxn ang="0">
                <a:pos x="connsiteX43955" y="connsiteY43955"/>
              </a:cxn>
              <a:cxn ang="0">
                <a:pos x="connsiteX43956" y="connsiteY43956"/>
              </a:cxn>
              <a:cxn ang="0">
                <a:pos x="connsiteX43957" y="connsiteY43957"/>
              </a:cxn>
              <a:cxn ang="0">
                <a:pos x="connsiteX43958" y="connsiteY43958"/>
              </a:cxn>
              <a:cxn ang="0">
                <a:pos x="connsiteX43959" y="connsiteY43959"/>
              </a:cxn>
              <a:cxn ang="0">
                <a:pos x="connsiteX43960" y="connsiteY43960"/>
              </a:cxn>
              <a:cxn ang="0">
                <a:pos x="connsiteX43961" y="connsiteY43961"/>
              </a:cxn>
              <a:cxn ang="0">
                <a:pos x="connsiteX43962" y="connsiteY43962"/>
              </a:cxn>
              <a:cxn ang="0">
                <a:pos x="connsiteX43963" y="connsiteY43963"/>
              </a:cxn>
              <a:cxn ang="0">
                <a:pos x="connsiteX43964" y="connsiteY43964"/>
              </a:cxn>
              <a:cxn ang="0">
                <a:pos x="connsiteX43965" y="connsiteY43965"/>
              </a:cxn>
              <a:cxn ang="0">
                <a:pos x="connsiteX43966" y="connsiteY43966"/>
              </a:cxn>
              <a:cxn ang="0">
                <a:pos x="connsiteX43967" y="connsiteY43967"/>
              </a:cxn>
              <a:cxn ang="0">
                <a:pos x="connsiteX43968" y="connsiteY43968"/>
              </a:cxn>
              <a:cxn ang="0">
                <a:pos x="connsiteX43969" y="connsiteY43969"/>
              </a:cxn>
              <a:cxn ang="0">
                <a:pos x="connsiteX43970" y="connsiteY43970"/>
              </a:cxn>
              <a:cxn ang="0">
                <a:pos x="connsiteX43971" y="connsiteY43971"/>
              </a:cxn>
              <a:cxn ang="0">
                <a:pos x="connsiteX43972" y="connsiteY43972"/>
              </a:cxn>
              <a:cxn ang="0">
                <a:pos x="connsiteX43973" y="connsiteY43973"/>
              </a:cxn>
              <a:cxn ang="0">
                <a:pos x="connsiteX43974" y="connsiteY43974"/>
              </a:cxn>
              <a:cxn ang="0">
                <a:pos x="connsiteX43975" y="connsiteY43975"/>
              </a:cxn>
              <a:cxn ang="0">
                <a:pos x="connsiteX43976" y="connsiteY43976"/>
              </a:cxn>
              <a:cxn ang="0">
                <a:pos x="connsiteX43977" y="connsiteY43977"/>
              </a:cxn>
              <a:cxn ang="0">
                <a:pos x="connsiteX43978" y="connsiteY43978"/>
              </a:cxn>
              <a:cxn ang="0">
                <a:pos x="connsiteX43979" y="connsiteY43979"/>
              </a:cxn>
              <a:cxn ang="0">
                <a:pos x="connsiteX43980" y="connsiteY43980"/>
              </a:cxn>
              <a:cxn ang="0">
                <a:pos x="connsiteX43981" y="connsiteY43981"/>
              </a:cxn>
              <a:cxn ang="0">
                <a:pos x="connsiteX43982" y="connsiteY43982"/>
              </a:cxn>
              <a:cxn ang="0">
                <a:pos x="connsiteX43983" y="connsiteY43983"/>
              </a:cxn>
              <a:cxn ang="0">
                <a:pos x="connsiteX43984" y="connsiteY43984"/>
              </a:cxn>
              <a:cxn ang="0">
                <a:pos x="connsiteX43985" y="connsiteY43985"/>
              </a:cxn>
              <a:cxn ang="0">
                <a:pos x="connsiteX43986" y="connsiteY43986"/>
              </a:cxn>
              <a:cxn ang="0">
                <a:pos x="connsiteX43987" y="connsiteY43987"/>
              </a:cxn>
              <a:cxn ang="0">
                <a:pos x="connsiteX43988" y="connsiteY43988"/>
              </a:cxn>
              <a:cxn ang="0">
                <a:pos x="connsiteX43989" y="connsiteY43989"/>
              </a:cxn>
              <a:cxn ang="0">
                <a:pos x="connsiteX43990" y="connsiteY43990"/>
              </a:cxn>
              <a:cxn ang="0">
                <a:pos x="connsiteX43991" y="connsiteY43991"/>
              </a:cxn>
              <a:cxn ang="0">
                <a:pos x="connsiteX43992" y="connsiteY43992"/>
              </a:cxn>
              <a:cxn ang="0">
                <a:pos x="connsiteX43993" y="connsiteY43993"/>
              </a:cxn>
              <a:cxn ang="0">
                <a:pos x="connsiteX43994" y="connsiteY43994"/>
              </a:cxn>
              <a:cxn ang="0">
                <a:pos x="connsiteX43995" y="connsiteY43995"/>
              </a:cxn>
              <a:cxn ang="0">
                <a:pos x="connsiteX43996" y="connsiteY43996"/>
              </a:cxn>
              <a:cxn ang="0">
                <a:pos x="connsiteX43997" y="connsiteY43997"/>
              </a:cxn>
              <a:cxn ang="0">
                <a:pos x="connsiteX43998" y="connsiteY43998"/>
              </a:cxn>
              <a:cxn ang="0">
                <a:pos x="connsiteX43999" y="connsiteY43999"/>
              </a:cxn>
              <a:cxn ang="0">
                <a:pos x="connsiteX44000" y="connsiteY44000"/>
              </a:cxn>
              <a:cxn ang="0">
                <a:pos x="connsiteX44001" y="connsiteY44001"/>
              </a:cxn>
              <a:cxn ang="0">
                <a:pos x="connsiteX44002" y="connsiteY44002"/>
              </a:cxn>
              <a:cxn ang="0">
                <a:pos x="connsiteX44003" y="connsiteY44003"/>
              </a:cxn>
              <a:cxn ang="0">
                <a:pos x="connsiteX44004" y="connsiteY44004"/>
              </a:cxn>
              <a:cxn ang="0">
                <a:pos x="connsiteX44005" y="connsiteY44005"/>
              </a:cxn>
              <a:cxn ang="0">
                <a:pos x="connsiteX44006" y="connsiteY44006"/>
              </a:cxn>
              <a:cxn ang="0">
                <a:pos x="connsiteX44007" y="connsiteY44007"/>
              </a:cxn>
              <a:cxn ang="0">
                <a:pos x="connsiteX44008" y="connsiteY44008"/>
              </a:cxn>
              <a:cxn ang="0">
                <a:pos x="connsiteX44009" y="connsiteY44009"/>
              </a:cxn>
              <a:cxn ang="0">
                <a:pos x="connsiteX44010" y="connsiteY44010"/>
              </a:cxn>
              <a:cxn ang="0">
                <a:pos x="connsiteX44011" y="connsiteY44011"/>
              </a:cxn>
              <a:cxn ang="0">
                <a:pos x="connsiteX44012" y="connsiteY44012"/>
              </a:cxn>
              <a:cxn ang="0">
                <a:pos x="connsiteX44013" y="connsiteY44013"/>
              </a:cxn>
              <a:cxn ang="0">
                <a:pos x="connsiteX44014" y="connsiteY44014"/>
              </a:cxn>
              <a:cxn ang="0">
                <a:pos x="connsiteX44015" y="connsiteY44015"/>
              </a:cxn>
              <a:cxn ang="0">
                <a:pos x="connsiteX44016" y="connsiteY44016"/>
              </a:cxn>
              <a:cxn ang="0">
                <a:pos x="connsiteX44017" y="connsiteY44017"/>
              </a:cxn>
              <a:cxn ang="0">
                <a:pos x="connsiteX44018" y="connsiteY44018"/>
              </a:cxn>
              <a:cxn ang="0">
                <a:pos x="connsiteX44019" y="connsiteY44019"/>
              </a:cxn>
              <a:cxn ang="0">
                <a:pos x="connsiteX44020" y="connsiteY44020"/>
              </a:cxn>
              <a:cxn ang="0">
                <a:pos x="connsiteX44021" y="connsiteY44021"/>
              </a:cxn>
              <a:cxn ang="0">
                <a:pos x="connsiteX44022" y="connsiteY44022"/>
              </a:cxn>
              <a:cxn ang="0">
                <a:pos x="connsiteX44023" y="connsiteY44023"/>
              </a:cxn>
              <a:cxn ang="0">
                <a:pos x="connsiteX44024" y="connsiteY44024"/>
              </a:cxn>
              <a:cxn ang="0">
                <a:pos x="connsiteX44025" y="connsiteY44025"/>
              </a:cxn>
              <a:cxn ang="0">
                <a:pos x="connsiteX44026" y="connsiteY44026"/>
              </a:cxn>
              <a:cxn ang="0">
                <a:pos x="connsiteX44027" y="connsiteY44027"/>
              </a:cxn>
              <a:cxn ang="0">
                <a:pos x="connsiteX44028" y="connsiteY44028"/>
              </a:cxn>
              <a:cxn ang="0">
                <a:pos x="connsiteX44029" y="connsiteY44029"/>
              </a:cxn>
              <a:cxn ang="0">
                <a:pos x="connsiteX44030" y="connsiteY44030"/>
              </a:cxn>
              <a:cxn ang="0">
                <a:pos x="connsiteX44031" y="connsiteY44031"/>
              </a:cxn>
              <a:cxn ang="0">
                <a:pos x="connsiteX44032" y="connsiteY44032"/>
              </a:cxn>
              <a:cxn ang="0">
                <a:pos x="connsiteX44033" y="connsiteY44033"/>
              </a:cxn>
              <a:cxn ang="0">
                <a:pos x="connsiteX44034" y="connsiteY44034"/>
              </a:cxn>
              <a:cxn ang="0">
                <a:pos x="connsiteX44035" y="connsiteY44035"/>
              </a:cxn>
              <a:cxn ang="0">
                <a:pos x="connsiteX44036" y="connsiteY44036"/>
              </a:cxn>
              <a:cxn ang="0">
                <a:pos x="connsiteX44037" y="connsiteY44037"/>
              </a:cxn>
              <a:cxn ang="0">
                <a:pos x="connsiteX44038" y="connsiteY44038"/>
              </a:cxn>
              <a:cxn ang="0">
                <a:pos x="connsiteX44039" y="connsiteY44039"/>
              </a:cxn>
              <a:cxn ang="0">
                <a:pos x="connsiteX44040" y="connsiteY44040"/>
              </a:cxn>
              <a:cxn ang="0">
                <a:pos x="connsiteX44041" y="connsiteY44041"/>
              </a:cxn>
              <a:cxn ang="0">
                <a:pos x="connsiteX44042" y="connsiteY44042"/>
              </a:cxn>
              <a:cxn ang="0">
                <a:pos x="connsiteX44043" y="connsiteY44043"/>
              </a:cxn>
              <a:cxn ang="0">
                <a:pos x="connsiteX44044" y="connsiteY44044"/>
              </a:cxn>
              <a:cxn ang="0">
                <a:pos x="connsiteX44045" y="connsiteY44045"/>
              </a:cxn>
              <a:cxn ang="0">
                <a:pos x="connsiteX44046" y="connsiteY44046"/>
              </a:cxn>
              <a:cxn ang="0">
                <a:pos x="connsiteX44047" y="connsiteY44047"/>
              </a:cxn>
              <a:cxn ang="0">
                <a:pos x="connsiteX44048" y="connsiteY44048"/>
              </a:cxn>
              <a:cxn ang="0">
                <a:pos x="connsiteX44049" y="connsiteY44049"/>
              </a:cxn>
              <a:cxn ang="0">
                <a:pos x="connsiteX44050" y="connsiteY44050"/>
              </a:cxn>
              <a:cxn ang="0">
                <a:pos x="connsiteX44051" y="connsiteY44051"/>
              </a:cxn>
              <a:cxn ang="0">
                <a:pos x="connsiteX44052" y="connsiteY44052"/>
              </a:cxn>
              <a:cxn ang="0">
                <a:pos x="connsiteX44053" y="connsiteY44053"/>
              </a:cxn>
              <a:cxn ang="0">
                <a:pos x="connsiteX44054" y="connsiteY44054"/>
              </a:cxn>
              <a:cxn ang="0">
                <a:pos x="connsiteX44055" y="connsiteY44055"/>
              </a:cxn>
              <a:cxn ang="0">
                <a:pos x="connsiteX44056" y="connsiteY44056"/>
              </a:cxn>
              <a:cxn ang="0">
                <a:pos x="connsiteX44057" y="connsiteY44057"/>
              </a:cxn>
              <a:cxn ang="0">
                <a:pos x="connsiteX44058" y="connsiteY44058"/>
              </a:cxn>
              <a:cxn ang="0">
                <a:pos x="connsiteX44059" y="connsiteY44059"/>
              </a:cxn>
              <a:cxn ang="0">
                <a:pos x="connsiteX44060" y="connsiteY44060"/>
              </a:cxn>
              <a:cxn ang="0">
                <a:pos x="connsiteX44061" y="connsiteY44061"/>
              </a:cxn>
              <a:cxn ang="0">
                <a:pos x="connsiteX44062" y="connsiteY44062"/>
              </a:cxn>
              <a:cxn ang="0">
                <a:pos x="connsiteX44063" y="connsiteY44063"/>
              </a:cxn>
              <a:cxn ang="0">
                <a:pos x="connsiteX44064" y="connsiteY44064"/>
              </a:cxn>
              <a:cxn ang="0">
                <a:pos x="connsiteX44065" y="connsiteY44065"/>
              </a:cxn>
              <a:cxn ang="0">
                <a:pos x="connsiteX44066" y="connsiteY44066"/>
              </a:cxn>
              <a:cxn ang="0">
                <a:pos x="connsiteX44067" y="connsiteY44067"/>
              </a:cxn>
              <a:cxn ang="0">
                <a:pos x="connsiteX44068" y="connsiteY44068"/>
              </a:cxn>
              <a:cxn ang="0">
                <a:pos x="connsiteX44069" y="connsiteY44069"/>
              </a:cxn>
              <a:cxn ang="0">
                <a:pos x="connsiteX44070" y="connsiteY44070"/>
              </a:cxn>
              <a:cxn ang="0">
                <a:pos x="connsiteX44071" y="connsiteY44071"/>
              </a:cxn>
              <a:cxn ang="0">
                <a:pos x="connsiteX44072" y="connsiteY44072"/>
              </a:cxn>
              <a:cxn ang="0">
                <a:pos x="connsiteX44073" y="connsiteY44073"/>
              </a:cxn>
              <a:cxn ang="0">
                <a:pos x="connsiteX44074" y="connsiteY44074"/>
              </a:cxn>
              <a:cxn ang="0">
                <a:pos x="connsiteX44075" y="connsiteY44075"/>
              </a:cxn>
              <a:cxn ang="0">
                <a:pos x="connsiteX44076" y="connsiteY44076"/>
              </a:cxn>
              <a:cxn ang="0">
                <a:pos x="connsiteX44077" y="connsiteY44077"/>
              </a:cxn>
              <a:cxn ang="0">
                <a:pos x="connsiteX44078" y="connsiteY44078"/>
              </a:cxn>
              <a:cxn ang="0">
                <a:pos x="connsiteX44079" y="connsiteY44079"/>
              </a:cxn>
              <a:cxn ang="0">
                <a:pos x="connsiteX44080" y="connsiteY44080"/>
              </a:cxn>
              <a:cxn ang="0">
                <a:pos x="connsiteX44081" y="connsiteY44081"/>
              </a:cxn>
              <a:cxn ang="0">
                <a:pos x="connsiteX44082" y="connsiteY44082"/>
              </a:cxn>
              <a:cxn ang="0">
                <a:pos x="connsiteX44083" y="connsiteY44083"/>
              </a:cxn>
              <a:cxn ang="0">
                <a:pos x="connsiteX44084" y="connsiteY44084"/>
              </a:cxn>
              <a:cxn ang="0">
                <a:pos x="connsiteX44085" y="connsiteY44085"/>
              </a:cxn>
              <a:cxn ang="0">
                <a:pos x="connsiteX44086" y="connsiteY44086"/>
              </a:cxn>
              <a:cxn ang="0">
                <a:pos x="connsiteX44087" y="connsiteY44087"/>
              </a:cxn>
              <a:cxn ang="0">
                <a:pos x="connsiteX44088" y="connsiteY44088"/>
              </a:cxn>
              <a:cxn ang="0">
                <a:pos x="connsiteX44089" y="connsiteY44089"/>
              </a:cxn>
              <a:cxn ang="0">
                <a:pos x="connsiteX44090" y="connsiteY44090"/>
              </a:cxn>
              <a:cxn ang="0">
                <a:pos x="connsiteX44091" y="connsiteY44091"/>
              </a:cxn>
              <a:cxn ang="0">
                <a:pos x="connsiteX44092" y="connsiteY44092"/>
              </a:cxn>
              <a:cxn ang="0">
                <a:pos x="connsiteX44093" y="connsiteY44093"/>
              </a:cxn>
              <a:cxn ang="0">
                <a:pos x="connsiteX44094" y="connsiteY44094"/>
              </a:cxn>
              <a:cxn ang="0">
                <a:pos x="connsiteX44095" y="connsiteY44095"/>
              </a:cxn>
              <a:cxn ang="0">
                <a:pos x="connsiteX44096" y="connsiteY44096"/>
              </a:cxn>
              <a:cxn ang="0">
                <a:pos x="connsiteX44097" y="connsiteY44097"/>
              </a:cxn>
              <a:cxn ang="0">
                <a:pos x="connsiteX44098" y="connsiteY44098"/>
              </a:cxn>
              <a:cxn ang="0">
                <a:pos x="connsiteX44099" y="connsiteY44099"/>
              </a:cxn>
              <a:cxn ang="0">
                <a:pos x="connsiteX44100" y="connsiteY44100"/>
              </a:cxn>
              <a:cxn ang="0">
                <a:pos x="connsiteX44101" y="connsiteY44101"/>
              </a:cxn>
              <a:cxn ang="0">
                <a:pos x="connsiteX44102" y="connsiteY44102"/>
              </a:cxn>
              <a:cxn ang="0">
                <a:pos x="connsiteX44103" y="connsiteY44103"/>
              </a:cxn>
              <a:cxn ang="0">
                <a:pos x="connsiteX44104" y="connsiteY44104"/>
              </a:cxn>
              <a:cxn ang="0">
                <a:pos x="connsiteX44105" y="connsiteY44105"/>
              </a:cxn>
              <a:cxn ang="0">
                <a:pos x="connsiteX44106" y="connsiteY44106"/>
              </a:cxn>
              <a:cxn ang="0">
                <a:pos x="connsiteX44107" y="connsiteY44107"/>
              </a:cxn>
              <a:cxn ang="0">
                <a:pos x="connsiteX44108" y="connsiteY44108"/>
              </a:cxn>
              <a:cxn ang="0">
                <a:pos x="connsiteX44109" y="connsiteY44109"/>
              </a:cxn>
              <a:cxn ang="0">
                <a:pos x="connsiteX44110" y="connsiteY44110"/>
              </a:cxn>
              <a:cxn ang="0">
                <a:pos x="connsiteX44111" y="connsiteY44111"/>
              </a:cxn>
              <a:cxn ang="0">
                <a:pos x="connsiteX44112" y="connsiteY44112"/>
              </a:cxn>
              <a:cxn ang="0">
                <a:pos x="connsiteX44113" y="connsiteY44113"/>
              </a:cxn>
              <a:cxn ang="0">
                <a:pos x="connsiteX44114" y="connsiteY44114"/>
              </a:cxn>
              <a:cxn ang="0">
                <a:pos x="connsiteX44115" y="connsiteY44115"/>
              </a:cxn>
              <a:cxn ang="0">
                <a:pos x="connsiteX44116" y="connsiteY44116"/>
              </a:cxn>
              <a:cxn ang="0">
                <a:pos x="connsiteX44117" y="connsiteY44117"/>
              </a:cxn>
              <a:cxn ang="0">
                <a:pos x="connsiteX44118" y="connsiteY44118"/>
              </a:cxn>
              <a:cxn ang="0">
                <a:pos x="connsiteX44119" y="connsiteY44119"/>
              </a:cxn>
              <a:cxn ang="0">
                <a:pos x="connsiteX44120" y="connsiteY44120"/>
              </a:cxn>
              <a:cxn ang="0">
                <a:pos x="connsiteX44121" y="connsiteY44121"/>
              </a:cxn>
              <a:cxn ang="0">
                <a:pos x="connsiteX44122" y="connsiteY44122"/>
              </a:cxn>
              <a:cxn ang="0">
                <a:pos x="connsiteX44123" y="connsiteY44123"/>
              </a:cxn>
              <a:cxn ang="0">
                <a:pos x="connsiteX44124" y="connsiteY44124"/>
              </a:cxn>
              <a:cxn ang="0">
                <a:pos x="connsiteX44125" y="connsiteY44125"/>
              </a:cxn>
              <a:cxn ang="0">
                <a:pos x="connsiteX44126" y="connsiteY44126"/>
              </a:cxn>
              <a:cxn ang="0">
                <a:pos x="connsiteX44127" y="connsiteY44127"/>
              </a:cxn>
              <a:cxn ang="0">
                <a:pos x="connsiteX44128" y="connsiteY44128"/>
              </a:cxn>
              <a:cxn ang="0">
                <a:pos x="connsiteX44129" y="connsiteY44129"/>
              </a:cxn>
              <a:cxn ang="0">
                <a:pos x="connsiteX44130" y="connsiteY44130"/>
              </a:cxn>
              <a:cxn ang="0">
                <a:pos x="connsiteX44131" y="connsiteY44131"/>
              </a:cxn>
              <a:cxn ang="0">
                <a:pos x="connsiteX44132" y="connsiteY44132"/>
              </a:cxn>
              <a:cxn ang="0">
                <a:pos x="connsiteX44133" y="connsiteY44133"/>
              </a:cxn>
              <a:cxn ang="0">
                <a:pos x="connsiteX44134" y="connsiteY44134"/>
              </a:cxn>
              <a:cxn ang="0">
                <a:pos x="connsiteX44135" y="connsiteY44135"/>
              </a:cxn>
              <a:cxn ang="0">
                <a:pos x="connsiteX44136" y="connsiteY44136"/>
              </a:cxn>
              <a:cxn ang="0">
                <a:pos x="connsiteX44137" y="connsiteY44137"/>
              </a:cxn>
              <a:cxn ang="0">
                <a:pos x="connsiteX44138" y="connsiteY44138"/>
              </a:cxn>
              <a:cxn ang="0">
                <a:pos x="connsiteX44139" y="connsiteY44139"/>
              </a:cxn>
              <a:cxn ang="0">
                <a:pos x="connsiteX44140" y="connsiteY44140"/>
              </a:cxn>
              <a:cxn ang="0">
                <a:pos x="connsiteX44141" y="connsiteY44141"/>
              </a:cxn>
              <a:cxn ang="0">
                <a:pos x="connsiteX44142" y="connsiteY44142"/>
              </a:cxn>
              <a:cxn ang="0">
                <a:pos x="connsiteX44143" y="connsiteY44143"/>
              </a:cxn>
              <a:cxn ang="0">
                <a:pos x="connsiteX44144" y="connsiteY44144"/>
              </a:cxn>
              <a:cxn ang="0">
                <a:pos x="connsiteX44145" y="connsiteY44145"/>
              </a:cxn>
              <a:cxn ang="0">
                <a:pos x="connsiteX44146" y="connsiteY44146"/>
              </a:cxn>
              <a:cxn ang="0">
                <a:pos x="connsiteX44147" y="connsiteY44147"/>
              </a:cxn>
              <a:cxn ang="0">
                <a:pos x="connsiteX44148" y="connsiteY44148"/>
              </a:cxn>
              <a:cxn ang="0">
                <a:pos x="connsiteX44149" y="connsiteY44149"/>
              </a:cxn>
              <a:cxn ang="0">
                <a:pos x="connsiteX44150" y="connsiteY44150"/>
              </a:cxn>
              <a:cxn ang="0">
                <a:pos x="connsiteX44151" y="connsiteY44151"/>
              </a:cxn>
              <a:cxn ang="0">
                <a:pos x="connsiteX44152" y="connsiteY44152"/>
              </a:cxn>
              <a:cxn ang="0">
                <a:pos x="connsiteX44153" y="connsiteY44153"/>
              </a:cxn>
              <a:cxn ang="0">
                <a:pos x="connsiteX44154" y="connsiteY44154"/>
              </a:cxn>
              <a:cxn ang="0">
                <a:pos x="connsiteX44155" y="connsiteY44155"/>
              </a:cxn>
              <a:cxn ang="0">
                <a:pos x="connsiteX44156" y="connsiteY44156"/>
              </a:cxn>
              <a:cxn ang="0">
                <a:pos x="connsiteX44157" y="connsiteY44157"/>
              </a:cxn>
              <a:cxn ang="0">
                <a:pos x="connsiteX44158" y="connsiteY44158"/>
              </a:cxn>
              <a:cxn ang="0">
                <a:pos x="connsiteX44159" y="connsiteY44159"/>
              </a:cxn>
              <a:cxn ang="0">
                <a:pos x="connsiteX44160" y="connsiteY44160"/>
              </a:cxn>
              <a:cxn ang="0">
                <a:pos x="connsiteX44161" y="connsiteY44161"/>
              </a:cxn>
              <a:cxn ang="0">
                <a:pos x="connsiteX44162" y="connsiteY44162"/>
              </a:cxn>
              <a:cxn ang="0">
                <a:pos x="connsiteX44163" y="connsiteY44163"/>
              </a:cxn>
              <a:cxn ang="0">
                <a:pos x="connsiteX44164" y="connsiteY44164"/>
              </a:cxn>
              <a:cxn ang="0">
                <a:pos x="connsiteX44165" y="connsiteY44165"/>
              </a:cxn>
              <a:cxn ang="0">
                <a:pos x="connsiteX44166" y="connsiteY44166"/>
              </a:cxn>
              <a:cxn ang="0">
                <a:pos x="connsiteX44167" y="connsiteY44167"/>
              </a:cxn>
              <a:cxn ang="0">
                <a:pos x="connsiteX44168" y="connsiteY44168"/>
              </a:cxn>
              <a:cxn ang="0">
                <a:pos x="connsiteX44169" y="connsiteY44169"/>
              </a:cxn>
              <a:cxn ang="0">
                <a:pos x="connsiteX44170" y="connsiteY44170"/>
              </a:cxn>
              <a:cxn ang="0">
                <a:pos x="connsiteX44171" y="connsiteY44171"/>
              </a:cxn>
              <a:cxn ang="0">
                <a:pos x="connsiteX44172" y="connsiteY44172"/>
              </a:cxn>
              <a:cxn ang="0">
                <a:pos x="connsiteX44173" y="connsiteY44173"/>
              </a:cxn>
              <a:cxn ang="0">
                <a:pos x="connsiteX44174" y="connsiteY44174"/>
              </a:cxn>
              <a:cxn ang="0">
                <a:pos x="connsiteX44175" y="connsiteY44175"/>
              </a:cxn>
              <a:cxn ang="0">
                <a:pos x="connsiteX44176" y="connsiteY44176"/>
              </a:cxn>
              <a:cxn ang="0">
                <a:pos x="connsiteX44177" y="connsiteY44177"/>
              </a:cxn>
              <a:cxn ang="0">
                <a:pos x="connsiteX44178" y="connsiteY44178"/>
              </a:cxn>
              <a:cxn ang="0">
                <a:pos x="connsiteX44179" y="connsiteY44179"/>
              </a:cxn>
              <a:cxn ang="0">
                <a:pos x="connsiteX44180" y="connsiteY44180"/>
              </a:cxn>
              <a:cxn ang="0">
                <a:pos x="connsiteX44181" y="connsiteY44181"/>
              </a:cxn>
              <a:cxn ang="0">
                <a:pos x="connsiteX44182" y="connsiteY44182"/>
              </a:cxn>
              <a:cxn ang="0">
                <a:pos x="connsiteX44183" y="connsiteY44183"/>
              </a:cxn>
              <a:cxn ang="0">
                <a:pos x="connsiteX44184" y="connsiteY44184"/>
              </a:cxn>
              <a:cxn ang="0">
                <a:pos x="connsiteX44185" y="connsiteY44185"/>
              </a:cxn>
              <a:cxn ang="0">
                <a:pos x="connsiteX44186" y="connsiteY44186"/>
              </a:cxn>
              <a:cxn ang="0">
                <a:pos x="connsiteX44187" y="connsiteY44187"/>
              </a:cxn>
              <a:cxn ang="0">
                <a:pos x="connsiteX44188" y="connsiteY44188"/>
              </a:cxn>
              <a:cxn ang="0">
                <a:pos x="connsiteX44189" y="connsiteY44189"/>
              </a:cxn>
              <a:cxn ang="0">
                <a:pos x="connsiteX44190" y="connsiteY44190"/>
              </a:cxn>
              <a:cxn ang="0">
                <a:pos x="connsiteX44191" y="connsiteY44191"/>
              </a:cxn>
              <a:cxn ang="0">
                <a:pos x="connsiteX44192" y="connsiteY44192"/>
              </a:cxn>
              <a:cxn ang="0">
                <a:pos x="connsiteX44193" y="connsiteY44193"/>
              </a:cxn>
              <a:cxn ang="0">
                <a:pos x="connsiteX44194" y="connsiteY44194"/>
              </a:cxn>
              <a:cxn ang="0">
                <a:pos x="connsiteX44195" y="connsiteY44195"/>
              </a:cxn>
              <a:cxn ang="0">
                <a:pos x="connsiteX44196" y="connsiteY44196"/>
              </a:cxn>
              <a:cxn ang="0">
                <a:pos x="connsiteX44197" y="connsiteY44197"/>
              </a:cxn>
              <a:cxn ang="0">
                <a:pos x="connsiteX44198" y="connsiteY44198"/>
              </a:cxn>
              <a:cxn ang="0">
                <a:pos x="connsiteX44199" y="connsiteY44199"/>
              </a:cxn>
              <a:cxn ang="0">
                <a:pos x="connsiteX44200" y="connsiteY44200"/>
              </a:cxn>
              <a:cxn ang="0">
                <a:pos x="connsiteX44201" y="connsiteY44201"/>
              </a:cxn>
              <a:cxn ang="0">
                <a:pos x="connsiteX44202" y="connsiteY44202"/>
              </a:cxn>
              <a:cxn ang="0">
                <a:pos x="connsiteX44203" y="connsiteY44203"/>
              </a:cxn>
              <a:cxn ang="0">
                <a:pos x="connsiteX44204" y="connsiteY44204"/>
              </a:cxn>
              <a:cxn ang="0">
                <a:pos x="connsiteX44205" y="connsiteY44205"/>
              </a:cxn>
              <a:cxn ang="0">
                <a:pos x="connsiteX44206" y="connsiteY44206"/>
              </a:cxn>
              <a:cxn ang="0">
                <a:pos x="connsiteX44207" y="connsiteY44207"/>
              </a:cxn>
              <a:cxn ang="0">
                <a:pos x="connsiteX44208" y="connsiteY44208"/>
              </a:cxn>
              <a:cxn ang="0">
                <a:pos x="connsiteX44209" y="connsiteY44209"/>
              </a:cxn>
              <a:cxn ang="0">
                <a:pos x="connsiteX44210" y="connsiteY44210"/>
              </a:cxn>
              <a:cxn ang="0">
                <a:pos x="connsiteX44211" y="connsiteY44211"/>
              </a:cxn>
              <a:cxn ang="0">
                <a:pos x="connsiteX44212" y="connsiteY44212"/>
              </a:cxn>
              <a:cxn ang="0">
                <a:pos x="connsiteX44213" y="connsiteY44213"/>
              </a:cxn>
              <a:cxn ang="0">
                <a:pos x="connsiteX44214" y="connsiteY44214"/>
              </a:cxn>
              <a:cxn ang="0">
                <a:pos x="connsiteX44215" y="connsiteY44215"/>
              </a:cxn>
              <a:cxn ang="0">
                <a:pos x="connsiteX44216" y="connsiteY44216"/>
              </a:cxn>
              <a:cxn ang="0">
                <a:pos x="connsiteX44217" y="connsiteY44217"/>
              </a:cxn>
              <a:cxn ang="0">
                <a:pos x="connsiteX44218" y="connsiteY44218"/>
              </a:cxn>
              <a:cxn ang="0">
                <a:pos x="connsiteX44219" y="connsiteY44219"/>
              </a:cxn>
              <a:cxn ang="0">
                <a:pos x="connsiteX44220" y="connsiteY44220"/>
              </a:cxn>
              <a:cxn ang="0">
                <a:pos x="connsiteX44221" y="connsiteY44221"/>
              </a:cxn>
              <a:cxn ang="0">
                <a:pos x="connsiteX44222" y="connsiteY44222"/>
              </a:cxn>
              <a:cxn ang="0">
                <a:pos x="connsiteX44223" y="connsiteY44223"/>
              </a:cxn>
              <a:cxn ang="0">
                <a:pos x="connsiteX44224" y="connsiteY44224"/>
              </a:cxn>
              <a:cxn ang="0">
                <a:pos x="connsiteX44225" y="connsiteY44225"/>
              </a:cxn>
              <a:cxn ang="0">
                <a:pos x="connsiteX44226" y="connsiteY44226"/>
              </a:cxn>
              <a:cxn ang="0">
                <a:pos x="connsiteX44227" y="connsiteY44227"/>
              </a:cxn>
              <a:cxn ang="0">
                <a:pos x="connsiteX44228" y="connsiteY44228"/>
              </a:cxn>
              <a:cxn ang="0">
                <a:pos x="connsiteX44229" y="connsiteY44229"/>
              </a:cxn>
              <a:cxn ang="0">
                <a:pos x="connsiteX44230" y="connsiteY44230"/>
              </a:cxn>
              <a:cxn ang="0">
                <a:pos x="connsiteX44231" y="connsiteY44231"/>
              </a:cxn>
              <a:cxn ang="0">
                <a:pos x="connsiteX44232" y="connsiteY44232"/>
              </a:cxn>
              <a:cxn ang="0">
                <a:pos x="connsiteX44233" y="connsiteY44233"/>
              </a:cxn>
              <a:cxn ang="0">
                <a:pos x="connsiteX44234" y="connsiteY44234"/>
              </a:cxn>
              <a:cxn ang="0">
                <a:pos x="connsiteX44235" y="connsiteY44235"/>
              </a:cxn>
              <a:cxn ang="0">
                <a:pos x="connsiteX44236" y="connsiteY44236"/>
              </a:cxn>
              <a:cxn ang="0">
                <a:pos x="connsiteX44237" y="connsiteY44237"/>
              </a:cxn>
              <a:cxn ang="0">
                <a:pos x="connsiteX44238" y="connsiteY44238"/>
              </a:cxn>
              <a:cxn ang="0">
                <a:pos x="connsiteX44239" y="connsiteY44239"/>
              </a:cxn>
              <a:cxn ang="0">
                <a:pos x="connsiteX44240" y="connsiteY44240"/>
              </a:cxn>
              <a:cxn ang="0">
                <a:pos x="connsiteX44241" y="connsiteY44241"/>
              </a:cxn>
              <a:cxn ang="0">
                <a:pos x="connsiteX44242" y="connsiteY44242"/>
              </a:cxn>
              <a:cxn ang="0">
                <a:pos x="connsiteX44243" y="connsiteY44243"/>
              </a:cxn>
              <a:cxn ang="0">
                <a:pos x="connsiteX44244" y="connsiteY44244"/>
              </a:cxn>
              <a:cxn ang="0">
                <a:pos x="connsiteX44245" y="connsiteY44245"/>
              </a:cxn>
              <a:cxn ang="0">
                <a:pos x="connsiteX44246" y="connsiteY44246"/>
              </a:cxn>
              <a:cxn ang="0">
                <a:pos x="connsiteX44247" y="connsiteY44247"/>
              </a:cxn>
              <a:cxn ang="0">
                <a:pos x="connsiteX44248" y="connsiteY44248"/>
              </a:cxn>
              <a:cxn ang="0">
                <a:pos x="connsiteX44249" y="connsiteY44249"/>
              </a:cxn>
              <a:cxn ang="0">
                <a:pos x="connsiteX44250" y="connsiteY44250"/>
              </a:cxn>
              <a:cxn ang="0">
                <a:pos x="connsiteX44251" y="connsiteY44251"/>
              </a:cxn>
              <a:cxn ang="0">
                <a:pos x="connsiteX44252" y="connsiteY44252"/>
              </a:cxn>
              <a:cxn ang="0">
                <a:pos x="connsiteX44253" y="connsiteY44253"/>
              </a:cxn>
              <a:cxn ang="0">
                <a:pos x="connsiteX44254" y="connsiteY44254"/>
              </a:cxn>
              <a:cxn ang="0">
                <a:pos x="connsiteX44255" y="connsiteY44255"/>
              </a:cxn>
              <a:cxn ang="0">
                <a:pos x="connsiteX44256" y="connsiteY44256"/>
              </a:cxn>
              <a:cxn ang="0">
                <a:pos x="connsiteX44257" y="connsiteY44257"/>
              </a:cxn>
              <a:cxn ang="0">
                <a:pos x="connsiteX44258" y="connsiteY44258"/>
              </a:cxn>
              <a:cxn ang="0">
                <a:pos x="connsiteX44259" y="connsiteY44259"/>
              </a:cxn>
              <a:cxn ang="0">
                <a:pos x="connsiteX44260" y="connsiteY44260"/>
              </a:cxn>
              <a:cxn ang="0">
                <a:pos x="connsiteX44261" y="connsiteY44261"/>
              </a:cxn>
              <a:cxn ang="0">
                <a:pos x="connsiteX44262" y="connsiteY44262"/>
              </a:cxn>
              <a:cxn ang="0">
                <a:pos x="connsiteX44263" y="connsiteY44263"/>
              </a:cxn>
              <a:cxn ang="0">
                <a:pos x="connsiteX44264" y="connsiteY44264"/>
              </a:cxn>
              <a:cxn ang="0">
                <a:pos x="connsiteX44265" y="connsiteY44265"/>
              </a:cxn>
              <a:cxn ang="0">
                <a:pos x="connsiteX44266" y="connsiteY44266"/>
              </a:cxn>
              <a:cxn ang="0">
                <a:pos x="connsiteX44267" y="connsiteY44267"/>
              </a:cxn>
              <a:cxn ang="0">
                <a:pos x="connsiteX44268" y="connsiteY44268"/>
              </a:cxn>
              <a:cxn ang="0">
                <a:pos x="connsiteX44269" y="connsiteY44269"/>
              </a:cxn>
              <a:cxn ang="0">
                <a:pos x="connsiteX44270" y="connsiteY44270"/>
              </a:cxn>
              <a:cxn ang="0">
                <a:pos x="connsiteX44271" y="connsiteY44271"/>
              </a:cxn>
              <a:cxn ang="0">
                <a:pos x="connsiteX44272" y="connsiteY44272"/>
              </a:cxn>
              <a:cxn ang="0">
                <a:pos x="connsiteX44273" y="connsiteY44273"/>
              </a:cxn>
              <a:cxn ang="0">
                <a:pos x="connsiteX44274" y="connsiteY44274"/>
              </a:cxn>
              <a:cxn ang="0">
                <a:pos x="connsiteX44275" y="connsiteY44275"/>
              </a:cxn>
              <a:cxn ang="0">
                <a:pos x="connsiteX44276" y="connsiteY44276"/>
              </a:cxn>
              <a:cxn ang="0">
                <a:pos x="connsiteX44277" y="connsiteY44277"/>
              </a:cxn>
              <a:cxn ang="0">
                <a:pos x="connsiteX44278" y="connsiteY44278"/>
              </a:cxn>
              <a:cxn ang="0">
                <a:pos x="connsiteX44279" y="connsiteY44279"/>
              </a:cxn>
              <a:cxn ang="0">
                <a:pos x="connsiteX44280" y="connsiteY44280"/>
              </a:cxn>
              <a:cxn ang="0">
                <a:pos x="connsiteX44281" y="connsiteY44281"/>
              </a:cxn>
              <a:cxn ang="0">
                <a:pos x="connsiteX44282" y="connsiteY44282"/>
              </a:cxn>
              <a:cxn ang="0">
                <a:pos x="connsiteX44283" y="connsiteY44283"/>
              </a:cxn>
              <a:cxn ang="0">
                <a:pos x="connsiteX44284" y="connsiteY44284"/>
              </a:cxn>
              <a:cxn ang="0">
                <a:pos x="connsiteX44285" y="connsiteY44285"/>
              </a:cxn>
              <a:cxn ang="0">
                <a:pos x="connsiteX44286" y="connsiteY44286"/>
              </a:cxn>
              <a:cxn ang="0">
                <a:pos x="connsiteX44287" y="connsiteY44287"/>
              </a:cxn>
              <a:cxn ang="0">
                <a:pos x="connsiteX44288" y="connsiteY44288"/>
              </a:cxn>
              <a:cxn ang="0">
                <a:pos x="connsiteX44289" y="connsiteY44289"/>
              </a:cxn>
              <a:cxn ang="0">
                <a:pos x="connsiteX44290" y="connsiteY44290"/>
              </a:cxn>
              <a:cxn ang="0">
                <a:pos x="connsiteX44291" y="connsiteY44291"/>
              </a:cxn>
              <a:cxn ang="0">
                <a:pos x="connsiteX44292" y="connsiteY44292"/>
              </a:cxn>
              <a:cxn ang="0">
                <a:pos x="connsiteX44293" y="connsiteY44293"/>
              </a:cxn>
              <a:cxn ang="0">
                <a:pos x="connsiteX44294" y="connsiteY44294"/>
              </a:cxn>
              <a:cxn ang="0">
                <a:pos x="connsiteX44295" y="connsiteY44295"/>
              </a:cxn>
              <a:cxn ang="0">
                <a:pos x="connsiteX44296" y="connsiteY44296"/>
              </a:cxn>
              <a:cxn ang="0">
                <a:pos x="connsiteX44297" y="connsiteY44297"/>
              </a:cxn>
              <a:cxn ang="0">
                <a:pos x="connsiteX44298" y="connsiteY44298"/>
              </a:cxn>
              <a:cxn ang="0">
                <a:pos x="connsiteX44299" y="connsiteY44299"/>
              </a:cxn>
              <a:cxn ang="0">
                <a:pos x="connsiteX44300" y="connsiteY44300"/>
              </a:cxn>
              <a:cxn ang="0">
                <a:pos x="connsiteX44301" y="connsiteY44301"/>
              </a:cxn>
              <a:cxn ang="0">
                <a:pos x="connsiteX44302" y="connsiteY44302"/>
              </a:cxn>
              <a:cxn ang="0">
                <a:pos x="connsiteX44303" y="connsiteY44303"/>
              </a:cxn>
              <a:cxn ang="0">
                <a:pos x="connsiteX44304" y="connsiteY44304"/>
              </a:cxn>
              <a:cxn ang="0">
                <a:pos x="connsiteX44305" y="connsiteY44305"/>
              </a:cxn>
              <a:cxn ang="0">
                <a:pos x="connsiteX44306" y="connsiteY44306"/>
              </a:cxn>
              <a:cxn ang="0">
                <a:pos x="connsiteX44307" y="connsiteY44307"/>
              </a:cxn>
              <a:cxn ang="0">
                <a:pos x="connsiteX44308" y="connsiteY44308"/>
              </a:cxn>
              <a:cxn ang="0">
                <a:pos x="connsiteX44309" y="connsiteY44309"/>
              </a:cxn>
              <a:cxn ang="0">
                <a:pos x="connsiteX44310" y="connsiteY44310"/>
              </a:cxn>
              <a:cxn ang="0">
                <a:pos x="connsiteX44311" y="connsiteY44311"/>
              </a:cxn>
              <a:cxn ang="0">
                <a:pos x="connsiteX44312" y="connsiteY44312"/>
              </a:cxn>
              <a:cxn ang="0">
                <a:pos x="connsiteX44313" y="connsiteY44313"/>
              </a:cxn>
              <a:cxn ang="0">
                <a:pos x="connsiteX44314" y="connsiteY44314"/>
              </a:cxn>
              <a:cxn ang="0">
                <a:pos x="connsiteX44315" y="connsiteY44315"/>
              </a:cxn>
              <a:cxn ang="0">
                <a:pos x="connsiteX44316" y="connsiteY44316"/>
              </a:cxn>
              <a:cxn ang="0">
                <a:pos x="connsiteX44317" y="connsiteY44317"/>
              </a:cxn>
              <a:cxn ang="0">
                <a:pos x="connsiteX44318" y="connsiteY44318"/>
              </a:cxn>
              <a:cxn ang="0">
                <a:pos x="connsiteX44319" y="connsiteY44319"/>
              </a:cxn>
              <a:cxn ang="0">
                <a:pos x="connsiteX44320" y="connsiteY44320"/>
              </a:cxn>
              <a:cxn ang="0">
                <a:pos x="connsiteX44321" y="connsiteY44321"/>
              </a:cxn>
              <a:cxn ang="0">
                <a:pos x="connsiteX44322" y="connsiteY44322"/>
              </a:cxn>
              <a:cxn ang="0">
                <a:pos x="connsiteX44323" y="connsiteY44323"/>
              </a:cxn>
              <a:cxn ang="0">
                <a:pos x="connsiteX44324" y="connsiteY44324"/>
              </a:cxn>
              <a:cxn ang="0">
                <a:pos x="connsiteX44325" y="connsiteY44325"/>
              </a:cxn>
              <a:cxn ang="0">
                <a:pos x="connsiteX44326" y="connsiteY44326"/>
              </a:cxn>
              <a:cxn ang="0">
                <a:pos x="connsiteX44327" y="connsiteY44327"/>
              </a:cxn>
              <a:cxn ang="0">
                <a:pos x="connsiteX44328" y="connsiteY44328"/>
              </a:cxn>
              <a:cxn ang="0">
                <a:pos x="connsiteX44329" y="connsiteY44329"/>
              </a:cxn>
              <a:cxn ang="0">
                <a:pos x="connsiteX44330" y="connsiteY44330"/>
              </a:cxn>
              <a:cxn ang="0">
                <a:pos x="connsiteX44331" y="connsiteY44331"/>
              </a:cxn>
              <a:cxn ang="0">
                <a:pos x="connsiteX44332" y="connsiteY44332"/>
              </a:cxn>
              <a:cxn ang="0">
                <a:pos x="connsiteX44333" y="connsiteY44333"/>
              </a:cxn>
              <a:cxn ang="0">
                <a:pos x="connsiteX44334" y="connsiteY44334"/>
              </a:cxn>
              <a:cxn ang="0">
                <a:pos x="connsiteX44335" y="connsiteY44335"/>
              </a:cxn>
              <a:cxn ang="0">
                <a:pos x="connsiteX44336" y="connsiteY44336"/>
              </a:cxn>
              <a:cxn ang="0">
                <a:pos x="connsiteX44337" y="connsiteY44337"/>
              </a:cxn>
              <a:cxn ang="0">
                <a:pos x="connsiteX44338" y="connsiteY44338"/>
              </a:cxn>
              <a:cxn ang="0">
                <a:pos x="connsiteX44339" y="connsiteY44339"/>
              </a:cxn>
              <a:cxn ang="0">
                <a:pos x="connsiteX44340" y="connsiteY44340"/>
              </a:cxn>
              <a:cxn ang="0">
                <a:pos x="connsiteX44341" y="connsiteY44341"/>
              </a:cxn>
              <a:cxn ang="0">
                <a:pos x="connsiteX44342" y="connsiteY44342"/>
              </a:cxn>
              <a:cxn ang="0">
                <a:pos x="connsiteX44343" y="connsiteY44343"/>
              </a:cxn>
              <a:cxn ang="0">
                <a:pos x="connsiteX44344" y="connsiteY44344"/>
              </a:cxn>
              <a:cxn ang="0">
                <a:pos x="connsiteX44345" y="connsiteY44345"/>
              </a:cxn>
              <a:cxn ang="0">
                <a:pos x="connsiteX44346" y="connsiteY44346"/>
              </a:cxn>
              <a:cxn ang="0">
                <a:pos x="connsiteX44347" y="connsiteY44347"/>
              </a:cxn>
              <a:cxn ang="0">
                <a:pos x="connsiteX44348" y="connsiteY44348"/>
              </a:cxn>
              <a:cxn ang="0">
                <a:pos x="connsiteX44349" y="connsiteY44349"/>
              </a:cxn>
              <a:cxn ang="0">
                <a:pos x="connsiteX44350" y="connsiteY44350"/>
              </a:cxn>
              <a:cxn ang="0">
                <a:pos x="connsiteX44351" y="connsiteY44351"/>
              </a:cxn>
              <a:cxn ang="0">
                <a:pos x="connsiteX44352" y="connsiteY44352"/>
              </a:cxn>
              <a:cxn ang="0">
                <a:pos x="connsiteX44353" y="connsiteY44353"/>
              </a:cxn>
              <a:cxn ang="0">
                <a:pos x="connsiteX44354" y="connsiteY44354"/>
              </a:cxn>
              <a:cxn ang="0">
                <a:pos x="connsiteX44355" y="connsiteY44355"/>
              </a:cxn>
              <a:cxn ang="0">
                <a:pos x="connsiteX44356" y="connsiteY44356"/>
              </a:cxn>
              <a:cxn ang="0">
                <a:pos x="connsiteX44357" y="connsiteY44357"/>
              </a:cxn>
              <a:cxn ang="0">
                <a:pos x="connsiteX44358" y="connsiteY44358"/>
              </a:cxn>
              <a:cxn ang="0">
                <a:pos x="connsiteX44359" y="connsiteY44359"/>
              </a:cxn>
              <a:cxn ang="0">
                <a:pos x="connsiteX44360" y="connsiteY44360"/>
              </a:cxn>
              <a:cxn ang="0">
                <a:pos x="connsiteX44361" y="connsiteY44361"/>
              </a:cxn>
              <a:cxn ang="0">
                <a:pos x="connsiteX44362" y="connsiteY44362"/>
              </a:cxn>
              <a:cxn ang="0">
                <a:pos x="connsiteX44363" y="connsiteY44363"/>
              </a:cxn>
              <a:cxn ang="0">
                <a:pos x="connsiteX44364" y="connsiteY44364"/>
              </a:cxn>
              <a:cxn ang="0">
                <a:pos x="connsiteX44365" y="connsiteY44365"/>
              </a:cxn>
              <a:cxn ang="0">
                <a:pos x="connsiteX44366" y="connsiteY44366"/>
              </a:cxn>
              <a:cxn ang="0">
                <a:pos x="connsiteX44367" y="connsiteY44367"/>
              </a:cxn>
              <a:cxn ang="0">
                <a:pos x="connsiteX44368" y="connsiteY44368"/>
              </a:cxn>
              <a:cxn ang="0">
                <a:pos x="connsiteX44369" y="connsiteY44369"/>
              </a:cxn>
              <a:cxn ang="0">
                <a:pos x="connsiteX44370" y="connsiteY44370"/>
              </a:cxn>
              <a:cxn ang="0">
                <a:pos x="connsiteX44371" y="connsiteY44371"/>
              </a:cxn>
              <a:cxn ang="0">
                <a:pos x="connsiteX44372" y="connsiteY44372"/>
              </a:cxn>
              <a:cxn ang="0">
                <a:pos x="connsiteX44373" y="connsiteY44373"/>
              </a:cxn>
              <a:cxn ang="0">
                <a:pos x="connsiteX44374" y="connsiteY44374"/>
              </a:cxn>
              <a:cxn ang="0">
                <a:pos x="connsiteX44375" y="connsiteY44375"/>
              </a:cxn>
              <a:cxn ang="0">
                <a:pos x="connsiteX44376" y="connsiteY44376"/>
              </a:cxn>
              <a:cxn ang="0">
                <a:pos x="connsiteX44377" y="connsiteY44377"/>
              </a:cxn>
              <a:cxn ang="0">
                <a:pos x="connsiteX44378" y="connsiteY44378"/>
              </a:cxn>
              <a:cxn ang="0">
                <a:pos x="connsiteX44379" y="connsiteY44379"/>
              </a:cxn>
              <a:cxn ang="0">
                <a:pos x="connsiteX44380" y="connsiteY44380"/>
              </a:cxn>
              <a:cxn ang="0">
                <a:pos x="connsiteX44381" y="connsiteY44381"/>
              </a:cxn>
              <a:cxn ang="0">
                <a:pos x="connsiteX44382" y="connsiteY44382"/>
              </a:cxn>
              <a:cxn ang="0">
                <a:pos x="connsiteX44383" y="connsiteY44383"/>
              </a:cxn>
              <a:cxn ang="0">
                <a:pos x="connsiteX44384" y="connsiteY44384"/>
              </a:cxn>
              <a:cxn ang="0">
                <a:pos x="connsiteX44385" y="connsiteY44385"/>
              </a:cxn>
              <a:cxn ang="0">
                <a:pos x="connsiteX44386" y="connsiteY44386"/>
              </a:cxn>
              <a:cxn ang="0">
                <a:pos x="connsiteX44387" y="connsiteY44387"/>
              </a:cxn>
              <a:cxn ang="0">
                <a:pos x="connsiteX44388" y="connsiteY44388"/>
              </a:cxn>
              <a:cxn ang="0">
                <a:pos x="connsiteX44389" y="connsiteY44389"/>
              </a:cxn>
              <a:cxn ang="0">
                <a:pos x="connsiteX44390" y="connsiteY44390"/>
              </a:cxn>
              <a:cxn ang="0">
                <a:pos x="connsiteX44391" y="connsiteY44391"/>
              </a:cxn>
              <a:cxn ang="0">
                <a:pos x="connsiteX44392" y="connsiteY44392"/>
              </a:cxn>
              <a:cxn ang="0">
                <a:pos x="connsiteX44393" y="connsiteY44393"/>
              </a:cxn>
              <a:cxn ang="0">
                <a:pos x="connsiteX44394" y="connsiteY44394"/>
              </a:cxn>
              <a:cxn ang="0">
                <a:pos x="connsiteX44395" y="connsiteY44395"/>
              </a:cxn>
              <a:cxn ang="0">
                <a:pos x="connsiteX44396" y="connsiteY44396"/>
              </a:cxn>
              <a:cxn ang="0">
                <a:pos x="connsiteX44397" y="connsiteY44397"/>
              </a:cxn>
              <a:cxn ang="0">
                <a:pos x="connsiteX44398" y="connsiteY44398"/>
              </a:cxn>
              <a:cxn ang="0">
                <a:pos x="connsiteX44399" y="connsiteY44399"/>
              </a:cxn>
              <a:cxn ang="0">
                <a:pos x="connsiteX44400" y="connsiteY44400"/>
              </a:cxn>
              <a:cxn ang="0">
                <a:pos x="connsiteX44401" y="connsiteY44401"/>
              </a:cxn>
              <a:cxn ang="0">
                <a:pos x="connsiteX44402" y="connsiteY44402"/>
              </a:cxn>
              <a:cxn ang="0">
                <a:pos x="connsiteX44403" y="connsiteY44403"/>
              </a:cxn>
              <a:cxn ang="0">
                <a:pos x="connsiteX44404" y="connsiteY44404"/>
              </a:cxn>
              <a:cxn ang="0">
                <a:pos x="connsiteX44405" y="connsiteY44405"/>
              </a:cxn>
              <a:cxn ang="0">
                <a:pos x="connsiteX44406" y="connsiteY44406"/>
              </a:cxn>
              <a:cxn ang="0">
                <a:pos x="connsiteX44407" y="connsiteY44407"/>
              </a:cxn>
              <a:cxn ang="0">
                <a:pos x="connsiteX44408" y="connsiteY44408"/>
              </a:cxn>
              <a:cxn ang="0">
                <a:pos x="connsiteX44409" y="connsiteY44409"/>
              </a:cxn>
              <a:cxn ang="0">
                <a:pos x="connsiteX44410" y="connsiteY44410"/>
              </a:cxn>
              <a:cxn ang="0">
                <a:pos x="connsiteX44411" y="connsiteY44411"/>
              </a:cxn>
              <a:cxn ang="0">
                <a:pos x="connsiteX44412" y="connsiteY44412"/>
              </a:cxn>
              <a:cxn ang="0">
                <a:pos x="connsiteX44413" y="connsiteY44413"/>
              </a:cxn>
              <a:cxn ang="0">
                <a:pos x="connsiteX44414" y="connsiteY44414"/>
              </a:cxn>
              <a:cxn ang="0">
                <a:pos x="connsiteX44415" y="connsiteY44415"/>
              </a:cxn>
              <a:cxn ang="0">
                <a:pos x="connsiteX44416" y="connsiteY44416"/>
              </a:cxn>
              <a:cxn ang="0">
                <a:pos x="connsiteX44417" y="connsiteY44417"/>
              </a:cxn>
              <a:cxn ang="0">
                <a:pos x="connsiteX44418" y="connsiteY44418"/>
              </a:cxn>
              <a:cxn ang="0">
                <a:pos x="connsiteX44419" y="connsiteY44419"/>
              </a:cxn>
              <a:cxn ang="0">
                <a:pos x="connsiteX44420" y="connsiteY44420"/>
              </a:cxn>
              <a:cxn ang="0">
                <a:pos x="connsiteX44421" y="connsiteY44421"/>
              </a:cxn>
              <a:cxn ang="0">
                <a:pos x="connsiteX44422" y="connsiteY44422"/>
              </a:cxn>
              <a:cxn ang="0">
                <a:pos x="connsiteX44423" y="connsiteY44423"/>
              </a:cxn>
              <a:cxn ang="0">
                <a:pos x="connsiteX44424" y="connsiteY44424"/>
              </a:cxn>
              <a:cxn ang="0">
                <a:pos x="connsiteX44425" y="connsiteY44425"/>
              </a:cxn>
              <a:cxn ang="0">
                <a:pos x="connsiteX44426" y="connsiteY44426"/>
              </a:cxn>
              <a:cxn ang="0">
                <a:pos x="connsiteX44427" y="connsiteY44427"/>
              </a:cxn>
              <a:cxn ang="0">
                <a:pos x="connsiteX44428" y="connsiteY44428"/>
              </a:cxn>
              <a:cxn ang="0">
                <a:pos x="connsiteX44429" y="connsiteY44429"/>
              </a:cxn>
              <a:cxn ang="0">
                <a:pos x="connsiteX44430" y="connsiteY44430"/>
              </a:cxn>
              <a:cxn ang="0">
                <a:pos x="connsiteX44431" y="connsiteY44431"/>
              </a:cxn>
              <a:cxn ang="0">
                <a:pos x="connsiteX44432" y="connsiteY44432"/>
              </a:cxn>
              <a:cxn ang="0">
                <a:pos x="connsiteX44433" y="connsiteY44433"/>
              </a:cxn>
              <a:cxn ang="0">
                <a:pos x="connsiteX44434" y="connsiteY44434"/>
              </a:cxn>
              <a:cxn ang="0">
                <a:pos x="connsiteX44435" y="connsiteY44435"/>
              </a:cxn>
              <a:cxn ang="0">
                <a:pos x="connsiteX44436" y="connsiteY44436"/>
              </a:cxn>
              <a:cxn ang="0">
                <a:pos x="connsiteX44437" y="connsiteY44437"/>
              </a:cxn>
              <a:cxn ang="0">
                <a:pos x="connsiteX44438" y="connsiteY44438"/>
              </a:cxn>
              <a:cxn ang="0">
                <a:pos x="connsiteX44439" y="connsiteY44439"/>
              </a:cxn>
              <a:cxn ang="0">
                <a:pos x="connsiteX44440" y="connsiteY44440"/>
              </a:cxn>
              <a:cxn ang="0">
                <a:pos x="connsiteX44441" y="connsiteY44441"/>
              </a:cxn>
              <a:cxn ang="0">
                <a:pos x="connsiteX44442" y="connsiteY44442"/>
              </a:cxn>
              <a:cxn ang="0">
                <a:pos x="connsiteX44443" y="connsiteY44443"/>
              </a:cxn>
              <a:cxn ang="0">
                <a:pos x="connsiteX44444" y="connsiteY44444"/>
              </a:cxn>
              <a:cxn ang="0">
                <a:pos x="connsiteX44445" y="connsiteY44445"/>
              </a:cxn>
              <a:cxn ang="0">
                <a:pos x="connsiteX44446" y="connsiteY44446"/>
              </a:cxn>
              <a:cxn ang="0">
                <a:pos x="connsiteX44447" y="connsiteY44447"/>
              </a:cxn>
              <a:cxn ang="0">
                <a:pos x="connsiteX44448" y="connsiteY44448"/>
              </a:cxn>
              <a:cxn ang="0">
                <a:pos x="connsiteX44449" y="connsiteY44449"/>
              </a:cxn>
              <a:cxn ang="0">
                <a:pos x="connsiteX44450" y="connsiteY44450"/>
              </a:cxn>
              <a:cxn ang="0">
                <a:pos x="connsiteX44451" y="connsiteY44451"/>
              </a:cxn>
              <a:cxn ang="0">
                <a:pos x="connsiteX44452" y="connsiteY44452"/>
              </a:cxn>
              <a:cxn ang="0">
                <a:pos x="connsiteX44453" y="connsiteY44453"/>
              </a:cxn>
              <a:cxn ang="0">
                <a:pos x="connsiteX44454" y="connsiteY44454"/>
              </a:cxn>
              <a:cxn ang="0">
                <a:pos x="connsiteX44455" y="connsiteY44455"/>
              </a:cxn>
              <a:cxn ang="0">
                <a:pos x="connsiteX44456" y="connsiteY44456"/>
              </a:cxn>
              <a:cxn ang="0">
                <a:pos x="connsiteX44457" y="connsiteY44457"/>
              </a:cxn>
              <a:cxn ang="0">
                <a:pos x="connsiteX44458" y="connsiteY44458"/>
              </a:cxn>
              <a:cxn ang="0">
                <a:pos x="connsiteX44459" y="connsiteY44459"/>
              </a:cxn>
              <a:cxn ang="0">
                <a:pos x="connsiteX44460" y="connsiteY44460"/>
              </a:cxn>
              <a:cxn ang="0">
                <a:pos x="connsiteX44461" y="connsiteY44461"/>
              </a:cxn>
              <a:cxn ang="0">
                <a:pos x="connsiteX44462" y="connsiteY44462"/>
              </a:cxn>
              <a:cxn ang="0">
                <a:pos x="connsiteX44463" y="connsiteY44463"/>
              </a:cxn>
              <a:cxn ang="0">
                <a:pos x="connsiteX44464" y="connsiteY44464"/>
              </a:cxn>
              <a:cxn ang="0">
                <a:pos x="connsiteX44465" y="connsiteY44465"/>
              </a:cxn>
              <a:cxn ang="0">
                <a:pos x="connsiteX44466" y="connsiteY44466"/>
              </a:cxn>
              <a:cxn ang="0">
                <a:pos x="connsiteX44467" y="connsiteY44467"/>
              </a:cxn>
              <a:cxn ang="0">
                <a:pos x="connsiteX44468" y="connsiteY44468"/>
              </a:cxn>
              <a:cxn ang="0">
                <a:pos x="connsiteX44469" y="connsiteY44469"/>
              </a:cxn>
              <a:cxn ang="0">
                <a:pos x="connsiteX44470" y="connsiteY44470"/>
              </a:cxn>
              <a:cxn ang="0">
                <a:pos x="connsiteX44471" y="connsiteY44471"/>
              </a:cxn>
              <a:cxn ang="0">
                <a:pos x="connsiteX44472" y="connsiteY44472"/>
              </a:cxn>
              <a:cxn ang="0">
                <a:pos x="connsiteX44473" y="connsiteY44473"/>
              </a:cxn>
              <a:cxn ang="0">
                <a:pos x="connsiteX44474" y="connsiteY44474"/>
              </a:cxn>
              <a:cxn ang="0">
                <a:pos x="connsiteX44475" y="connsiteY44475"/>
              </a:cxn>
              <a:cxn ang="0">
                <a:pos x="connsiteX44476" y="connsiteY44476"/>
              </a:cxn>
              <a:cxn ang="0">
                <a:pos x="connsiteX44477" y="connsiteY44477"/>
              </a:cxn>
              <a:cxn ang="0">
                <a:pos x="connsiteX44478" y="connsiteY44478"/>
              </a:cxn>
              <a:cxn ang="0">
                <a:pos x="connsiteX44479" y="connsiteY44479"/>
              </a:cxn>
              <a:cxn ang="0">
                <a:pos x="connsiteX44480" y="connsiteY44480"/>
              </a:cxn>
              <a:cxn ang="0">
                <a:pos x="connsiteX44481" y="connsiteY44481"/>
              </a:cxn>
              <a:cxn ang="0">
                <a:pos x="connsiteX44482" y="connsiteY44482"/>
              </a:cxn>
              <a:cxn ang="0">
                <a:pos x="connsiteX44483" y="connsiteY44483"/>
              </a:cxn>
              <a:cxn ang="0">
                <a:pos x="connsiteX44484" y="connsiteY44484"/>
              </a:cxn>
              <a:cxn ang="0">
                <a:pos x="connsiteX44485" y="connsiteY44485"/>
              </a:cxn>
              <a:cxn ang="0">
                <a:pos x="connsiteX44486" y="connsiteY44486"/>
              </a:cxn>
              <a:cxn ang="0">
                <a:pos x="connsiteX44487" y="connsiteY44487"/>
              </a:cxn>
              <a:cxn ang="0">
                <a:pos x="connsiteX44488" y="connsiteY44488"/>
              </a:cxn>
              <a:cxn ang="0">
                <a:pos x="connsiteX44489" y="connsiteY44489"/>
              </a:cxn>
              <a:cxn ang="0">
                <a:pos x="connsiteX44490" y="connsiteY44490"/>
              </a:cxn>
              <a:cxn ang="0">
                <a:pos x="connsiteX44491" y="connsiteY44491"/>
              </a:cxn>
              <a:cxn ang="0">
                <a:pos x="connsiteX44492" y="connsiteY44492"/>
              </a:cxn>
              <a:cxn ang="0">
                <a:pos x="connsiteX44493" y="connsiteY44493"/>
              </a:cxn>
              <a:cxn ang="0">
                <a:pos x="connsiteX44494" y="connsiteY44494"/>
              </a:cxn>
              <a:cxn ang="0">
                <a:pos x="connsiteX44495" y="connsiteY44495"/>
              </a:cxn>
              <a:cxn ang="0">
                <a:pos x="connsiteX44496" y="connsiteY44496"/>
              </a:cxn>
              <a:cxn ang="0">
                <a:pos x="connsiteX44497" y="connsiteY44497"/>
              </a:cxn>
              <a:cxn ang="0">
                <a:pos x="connsiteX44498" y="connsiteY44498"/>
              </a:cxn>
              <a:cxn ang="0">
                <a:pos x="connsiteX44499" y="connsiteY44499"/>
              </a:cxn>
              <a:cxn ang="0">
                <a:pos x="connsiteX44500" y="connsiteY44500"/>
              </a:cxn>
              <a:cxn ang="0">
                <a:pos x="connsiteX44501" y="connsiteY44501"/>
              </a:cxn>
              <a:cxn ang="0">
                <a:pos x="connsiteX44502" y="connsiteY44502"/>
              </a:cxn>
              <a:cxn ang="0">
                <a:pos x="connsiteX44503" y="connsiteY44503"/>
              </a:cxn>
              <a:cxn ang="0">
                <a:pos x="connsiteX44504" y="connsiteY44504"/>
              </a:cxn>
              <a:cxn ang="0">
                <a:pos x="connsiteX44505" y="connsiteY44505"/>
              </a:cxn>
              <a:cxn ang="0">
                <a:pos x="connsiteX44506" y="connsiteY44506"/>
              </a:cxn>
              <a:cxn ang="0">
                <a:pos x="connsiteX44507" y="connsiteY44507"/>
              </a:cxn>
              <a:cxn ang="0">
                <a:pos x="connsiteX44508" y="connsiteY44508"/>
              </a:cxn>
              <a:cxn ang="0">
                <a:pos x="connsiteX44509" y="connsiteY44509"/>
              </a:cxn>
              <a:cxn ang="0">
                <a:pos x="connsiteX44510" y="connsiteY44510"/>
              </a:cxn>
              <a:cxn ang="0">
                <a:pos x="connsiteX44511" y="connsiteY44511"/>
              </a:cxn>
              <a:cxn ang="0">
                <a:pos x="connsiteX44512" y="connsiteY44512"/>
              </a:cxn>
              <a:cxn ang="0">
                <a:pos x="connsiteX44513" y="connsiteY44513"/>
              </a:cxn>
              <a:cxn ang="0">
                <a:pos x="connsiteX44514" y="connsiteY44514"/>
              </a:cxn>
              <a:cxn ang="0">
                <a:pos x="connsiteX44515" y="connsiteY44515"/>
              </a:cxn>
              <a:cxn ang="0">
                <a:pos x="connsiteX44516" y="connsiteY44516"/>
              </a:cxn>
              <a:cxn ang="0">
                <a:pos x="connsiteX44517" y="connsiteY44517"/>
              </a:cxn>
              <a:cxn ang="0">
                <a:pos x="connsiteX44518" y="connsiteY44518"/>
              </a:cxn>
              <a:cxn ang="0">
                <a:pos x="connsiteX44519" y="connsiteY44519"/>
              </a:cxn>
              <a:cxn ang="0">
                <a:pos x="connsiteX44520" y="connsiteY44520"/>
              </a:cxn>
              <a:cxn ang="0">
                <a:pos x="connsiteX44521" y="connsiteY44521"/>
              </a:cxn>
              <a:cxn ang="0">
                <a:pos x="connsiteX44522" y="connsiteY44522"/>
              </a:cxn>
              <a:cxn ang="0">
                <a:pos x="connsiteX44523" y="connsiteY44523"/>
              </a:cxn>
              <a:cxn ang="0">
                <a:pos x="connsiteX44524" y="connsiteY44524"/>
              </a:cxn>
              <a:cxn ang="0">
                <a:pos x="connsiteX44525" y="connsiteY44525"/>
              </a:cxn>
              <a:cxn ang="0">
                <a:pos x="connsiteX44526" y="connsiteY44526"/>
              </a:cxn>
              <a:cxn ang="0">
                <a:pos x="connsiteX44527" y="connsiteY44527"/>
              </a:cxn>
              <a:cxn ang="0">
                <a:pos x="connsiteX44528" y="connsiteY44528"/>
              </a:cxn>
              <a:cxn ang="0">
                <a:pos x="connsiteX44529" y="connsiteY44529"/>
              </a:cxn>
              <a:cxn ang="0">
                <a:pos x="connsiteX44530" y="connsiteY44530"/>
              </a:cxn>
              <a:cxn ang="0">
                <a:pos x="connsiteX44531" y="connsiteY44531"/>
              </a:cxn>
              <a:cxn ang="0">
                <a:pos x="connsiteX44532" y="connsiteY44532"/>
              </a:cxn>
              <a:cxn ang="0">
                <a:pos x="connsiteX44533" y="connsiteY44533"/>
              </a:cxn>
              <a:cxn ang="0">
                <a:pos x="connsiteX44534" y="connsiteY44534"/>
              </a:cxn>
              <a:cxn ang="0">
                <a:pos x="connsiteX44535" y="connsiteY44535"/>
              </a:cxn>
              <a:cxn ang="0">
                <a:pos x="connsiteX44536" y="connsiteY44536"/>
              </a:cxn>
              <a:cxn ang="0">
                <a:pos x="connsiteX44537" y="connsiteY44537"/>
              </a:cxn>
              <a:cxn ang="0">
                <a:pos x="connsiteX44538" y="connsiteY44538"/>
              </a:cxn>
              <a:cxn ang="0">
                <a:pos x="connsiteX44539" y="connsiteY44539"/>
              </a:cxn>
              <a:cxn ang="0">
                <a:pos x="connsiteX44540" y="connsiteY44540"/>
              </a:cxn>
              <a:cxn ang="0">
                <a:pos x="connsiteX44541" y="connsiteY44541"/>
              </a:cxn>
              <a:cxn ang="0">
                <a:pos x="connsiteX44542" y="connsiteY44542"/>
              </a:cxn>
              <a:cxn ang="0">
                <a:pos x="connsiteX44543" y="connsiteY44543"/>
              </a:cxn>
              <a:cxn ang="0">
                <a:pos x="connsiteX44544" y="connsiteY44544"/>
              </a:cxn>
              <a:cxn ang="0">
                <a:pos x="connsiteX44545" y="connsiteY44545"/>
              </a:cxn>
              <a:cxn ang="0">
                <a:pos x="connsiteX44546" y="connsiteY44546"/>
              </a:cxn>
              <a:cxn ang="0">
                <a:pos x="connsiteX44547" y="connsiteY44547"/>
              </a:cxn>
              <a:cxn ang="0">
                <a:pos x="connsiteX44548" y="connsiteY44548"/>
              </a:cxn>
              <a:cxn ang="0">
                <a:pos x="connsiteX44549" y="connsiteY44549"/>
              </a:cxn>
              <a:cxn ang="0">
                <a:pos x="connsiteX44550" y="connsiteY44550"/>
              </a:cxn>
              <a:cxn ang="0">
                <a:pos x="connsiteX44551" y="connsiteY44551"/>
              </a:cxn>
              <a:cxn ang="0">
                <a:pos x="connsiteX44552" y="connsiteY44552"/>
              </a:cxn>
              <a:cxn ang="0">
                <a:pos x="connsiteX44553" y="connsiteY44553"/>
              </a:cxn>
              <a:cxn ang="0">
                <a:pos x="connsiteX44554" y="connsiteY44554"/>
              </a:cxn>
              <a:cxn ang="0">
                <a:pos x="connsiteX44555" y="connsiteY44555"/>
              </a:cxn>
              <a:cxn ang="0">
                <a:pos x="connsiteX44556" y="connsiteY44556"/>
              </a:cxn>
              <a:cxn ang="0">
                <a:pos x="connsiteX44557" y="connsiteY44557"/>
              </a:cxn>
              <a:cxn ang="0">
                <a:pos x="connsiteX44558" y="connsiteY44558"/>
              </a:cxn>
              <a:cxn ang="0">
                <a:pos x="connsiteX44559" y="connsiteY44559"/>
              </a:cxn>
              <a:cxn ang="0">
                <a:pos x="connsiteX44560" y="connsiteY44560"/>
              </a:cxn>
              <a:cxn ang="0">
                <a:pos x="connsiteX44561" y="connsiteY44561"/>
              </a:cxn>
              <a:cxn ang="0">
                <a:pos x="connsiteX44562" y="connsiteY44562"/>
              </a:cxn>
              <a:cxn ang="0">
                <a:pos x="connsiteX44563" y="connsiteY44563"/>
              </a:cxn>
              <a:cxn ang="0">
                <a:pos x="connsiteX44564" y="connsiteY44564"/>
              </a:cxn>
              <a:cxn ang="0">
                <a:pos x="connsiteX44565" y="connsiteY44565"/>
              </a:cxn>
              <a:cxn ang="0">
                <a:pos x="connsiteX44566" y="connsiteY44566"/>
              </a:cxn>
              <a:cxn ang="0">
                <a:pos x="connsiteX44567" y="connsiteY44567"/>
              </a:cxn>
              <a:cxn ang="0">
                <a:pos x="connsiteX44568" y="connsiteY44568"/>
              </a:cxn>
              <a:cxn ang="0">
                <a:pos x="connsiteX44569" y="connsiteY44569"/>
              </a:cxn>
              <a:cxn ang="0">
                <a:pos x="connsiteX44570" y="connsiteY44570"/>
              </a:cxn>
              <a:cxn ang="0">
                <a:pos x="connsiteX44571" y="connsiteY44571"/>
              </a:cxn>
              <a:cxn ang="0">
                <a:pos x="connsiteX44572" y="connsiteY44572"/>
              </a:cxn>
              <a:cxn ang="0">
                <a:pos x="connsiteX44573" y="connsiteY44573"/>
              </a:cxn>
              <a:cxn ang="0">
                <a:pos x="connsiteX44574" y="connsiteY44574"/>
              </a:cxn>
              <a:cxn ang="0">
                <a:pos x="connsiteX44575" y="connsiteY44575"/>
              </a:cxn>
              <a:cxn ang="0">
                <a:pos x="connsiteX44576" y="connsiteY44576"/>
              </a:cxn>
              <a:cxn ang="0">
                <a:pos x="connsiteX44577" y="connsiteY44577"/>
              </a:cxn>
              <a:cxn ang="0">
                <a:pos x="connsiteX44578" y="connsiteY44578"/>
              </a:cxn>
              <a:cxn ang="0">
                <a:pos x="connsiteX44579" y="connsiteY44579"/>
              </a:cxn>
              <a:cxn ang="0">
                <a:pos x="connsiteX44580" y="connsiteY44580"/>
              </a:cxn>
              <a:cxn ang="0">
                <a:pos x="connsiteX44581" y="connsiteY44581"/>
              </a:cxn>
              <a:cxn ang="0">
                <a:pos x="connsiteX44582" y="connsiteY44582"/>
              </a:cxn>
              <a:cxn ang="0">
                <a:pos x="connsiteX44583" y="connsiteY44583"/>
              </a:cxn>
              <a:cxn ang="0">
                <a:pos x="connsiteX44584" y="connsiteY44584"/>
              </a:cxn>
              <a:cxn ang="0">
                <a:pos x="connsiteX44585" y="connsiteY44585"/>
              </a:cxn>
              <a:cxn ang="0">
                <a:pos x="connsiteX44586" y="connsiteY44586"/>
              </a:cxn>
              <a:cxn ang="0">
                <a:pos x="connsiteX44587" y="connsiteY44587"/>
              </a:cxn>
              <a:cxn ang="0">
                <a:pos x="connsiteX44588" y="connsiteY44588"/>
              </a:cxn>
              <a:cxn ang="0">
                <a:pos x="connsiteX44589" y="connsiteY44589"/>
              </a:cxn>
            </a:cxnLst>
            <a:rect l="l" t="t" r="r" b="b"/>
            <a:pathLst>
              <a:path w="10505529" h="7458372">
                <a:moveTo>
                  <a:pt x="10475977" y="7415641"/>
                </a:moveTo>
                <a:cubicBezTo>
                  <a:pt x="10470119" y="7415641"/>
                  <a:pt x="10467589" y="7417505"/>
                  <a:pt x="10465992" y="7419236"/>
                </a:cubicBezTo>
                <a:cubicBezTo>
                  <a:pt x="10463463" y="7421898"/>
                  <a:pt x="10462399" y="7424694"/>
                  <a:pt x="10462399" y="7428687"/>
                </a:cubicBezTo>
                <a:cubicBezTo>
                  <a:pt x="10462399" y="7432814"/>
                  <a:pt x="10463463" y="7435609"/>
                  <a:pt x="10465992" y="7438138"/>
                </a:cubicBezTo>
                <a:cubicBezTo>
                  <a:pt x="10467589" y="7439869"/>
                  <a:pt x="10470119" y="7441732"/>
                  <a:pt x="10475977" y="7441732"/>
                </a:cubicBezTo>
                <a:cubicBezTo>
                  <a:pt x="10478107" y="7441732"/>
                  <a:pt x="10479838" y="7441333"/>
                  <a:pt x="10481302" y="7440535"/>
                </a:cubicBezTo>
                <a:cubicBezTo>
                  <a:pt x="10482899" y="7440002"/>
                  <a:pt x="10484098" y="7439203"/>
                  <a:pt x="10485029" y="7438138"/>
                </a:cubicBezTo>
                <a:cubicBezTo>
                  <a:pt x="10486094" y="7437074"/>
                  <a:pt x="10487026" y="7435742"/>
                  <a:pt x="10487691" y="7434011"/>
                </a:cubicBezTo>
                <a:cubicBezTo>
                  <a:pt x="10488357" y="7432414"/>
                  <a:pt x="10488623" y="7430551"/>
                  <a:pt x="10488623" y="7428554"/>
                </a:cubicBezTo>
                <a:cubicBezTo>
                  <a:pt x="10488623" y="7426690"/>
                  <a:pt x="10488357" y="7424960"/>
                  <a:pt x="10487691" y="7423362"/>
                </a:cubicBezTo>
                <a:cubicBezTo>
                  <a:pt x="10487026" y="7421765"/>
                  <a:pt x="10486094" y="7420434"/>
                  <a:pt x="10485029" y="7419236"/>
                </a:cubicBezTo>
                <a:cubicBezTo>
                  <a:pt x="10483964" y="7418171"/>
                  <a:pt x="10482633" y="7417239"/>
                  <a:pt x="10481035" y="7416573"/>
                </a:cubicBezTo>
                <a:cubicBezTo>
                  <a:pt x="10479571" y="7415908"/>
                  <a:pt x="10477974" y="7415641"/>
                  <a:pt x="10475977" y="7415641"/>
                </a:cubicBezTo>
                <a:close/>
                <a:moveTo>
                  <a:pt x="10258466" y="7415641"/>
                </a:moveTo>
                <a:cubicBezTo>
                  <a:pt x="10252608" y="7415641"/>
                  <a:pt x="10250078" y="7417505"/>
                  <a:pt x="10248481" y="7419236"/>
                </a:cubicBezTo>
                <a:cubicBezTo>
                  <a:pt x="10245952" y="7421898"/>
                  <a:pt x="10244887" y="7424694"/>
                  <a:pt x="10244887" y="7428687"/>
                </a:cubicBezTo>
                <a:cubicBezTo>
                  <a:pt x="10244887" y="7432814"/>
                  <a:pt x="10245952" y="7435609"/>
                  <a:pt x="10248481" y="7438138"/>
                </a:cubicBezTo>
                <a:cubicBezTo>
                  <a:pt x="10250078" y="7439869"/>
                  <a:pt x="10252608" y="7441732"/>
                  <a:pt x="10258466" y="7441732"/>
                </a:cubicBezTo>
                <a:cubicBezTo>
                  <a:pt x="10260462" y="7441732"/>
                  <a:pt x="10262192" y="7441333"/>
                  <a:pt x="10263790" y="7440535"/>
                </a:cubicBezTo>
                <a:cubicBezTo>
                  <a:pt x="10265388" y="7440002"/>
                  <a:pt x="10266586" y="7439203"/>
                  <a:pt x="10267517" y="7438138"/>
                </a:cubicBezTo>
                <a:cubicBezTo>
                  <a:pt x="10268583" y="7437074"/>
                  <a:pt x="10269515" y="7435742"/>
                  <a:pt x="10270180" y="7434011"/>
                </a:cubicBezTo>
                <a:cubicBezTo>
                  <a:pt x="10270845" y="7432414"/>
                  <a:pt x="10271112" y="7430551"/>
                  <a:pt x="10271112" y="7428554"/>
                </a:cubicBezTo>
                <a:cubicBezTo>
                  <a:pt x="10271112" y="7426690"/>
                  <a:pt x="10270845" y="7424960"/>
                  <a:pt x="10270180" y="7423362"/>
                </a:cubicBezTo>
                <a:cubicBezTo>
                  <a:pt x="10269515" y="7421765"/>
                  <a:pt x="10268583" y="7420434"/>
                  <a:pt x="10267517" y="7419236"/>
                </a:cubicBezTo>
                <a:cubicBezTo>
                  <a:pt x="10266452" y="7418171"/>
                  <a:pt x="10265121" y="7417239"/>
                  <a:pt x="10263524" y="7416573"/>
                </a:cubicBezTo>
                <a:cubicBezTo>
                  <a:pt x="10262060" y="7415908"/>
                  <a:pt x="10260462" y="7415641"/>
                  <a:pt x="10258466" y="7415641"/>
                </a:cubicBezTo>
                <a:close/>
                <a:moveTo>
                  <a:pt x="10040820" y="7415641"/>
                </a:moveTo>
                <a:cubicBezTo>
                  <a:pt x="10034962" y="7415641"/>
                  <a:pt x="10032433" y="7417505"/>
                  <a:pt x="10030835" y="7419236"/>
                </a:cubicBezTo>
                <a:cubicBezTo>
                  <a:pt x="10028306" y="7421898"/>
                  <a:pt x="10027242" y="7424694"/>
                  <a:pt x="10027242" y="7428687"/>
                </a:cubicBezTo>
                <a:cubicBezTo>
                  <a:pt x="10027242" y="7432814"/>
                  <a:pt x="10028306" y="7435609"/>
                  <a:pt x="10030835" y="7438138"/>
                </a:cubicBezTo>
                <a:cubicBezTo>
                  <a:pt x="10032433" y="7439869"/>
                  <a:pt x="10034962" y="7441732"/>
                  <a:pt x="10040820" y="7441732"/>
                </a:cubicBezTo>
                <a:cubicBezTo>
                  <a:pt x="10042817" y="7441732"/>
                  <a:pt x="10044681" y="7441333"/>
                  <a:pt x="10046145" y="7440535"/>
                </a:cubicBezTo>
                <a:cubicBezTo>
                  <a:pt x="10047742" y="7440002"/>
                  <a:pt x="10048941" y="7439203"/>
                  <a:pt x="10049872" y="7438138"/>
                </a:cubicBezTo>
                <a:cubicBezTo>
                  <a:pt x="10050937" y="7437074"/>
                  <a:pt x="10051869" y="7435742"/>
                  <a:pt x="10052534" y="7434011"/>
                </a:cubicBezTo>
                <a:cubicBezTo>
                  <a:pt x="10053333" y="7432414"/>
                  <a:pt x="10053599" y="7430551"/>
                  <a:pt x="10053599" y="7428554"/>
                </a:cubicBezTo>
                <a:cubicBezTo>
                  <a:pt x="10053599" y="7426690"/>
                  <a:pt x="10053200" y="7424960"/>
                  <a:pt x="10052534" y="7423362"/>
                </a:cubicBezTo>
                <a:cubicBezTo>
                  <a:pt x="10051869" y="7421765"/>
                  <a:pt x="10050937" y="7420434"/>
                  <a:pt x="10049872" y="7419236"/>
                </a:cubicBezTo>
                <a:cubicBezTo>
                  <a:pt x="10048807" y="7418171"/>
                  <a:pt x="10047476" y="7417239"/>
                  <a:pt x="10045878" y="7416573"/>
                </a:cubicBezTo>
                <a:cubicBezTo>
                  <a:pt x="10044414" y="7415908"/>
                  <a:pt x="10042817" y="7415641"/>
                  <a:pt x="10040820" y="7415641"/>
                </a:cubicBezTo>
                <a:close/>
                <a:moveTo>
                  <a:pt x="9823176" y="7415641"/>
                </a:moveTo>
                <a:cubicBezTo>
                  <a:pt x="9817318" y="7415641"/>
                  <a:pt x="9814788" y="7417505"/>
                  <a:pt x="9813191" y="7419236"/>
                </a:cubicBezTo>
                <a:cubicBezTo>
                  <a:pt x="9810662" y="7421898"/>
                  <a:pt x="9809597" y="7424694"/>
                  <a:pt x="9809597" y="7428687"/>
                </a:cubicBezTo>
                <a:cubicBezTo>
                  <a:pt x="9809597" y="7432814"/>
                  <a:pt x="9810662" y="7435609"/>
                  <a:pt x="9813191" y="7438138"/>
                </a:cubicBezTo>
                <a:cubicBezTo>
                  <a:pt x="9814788" y="7439869"/>
                  <a:pt x="9817318" y="7441732"/>
                  <a:pt x="9823176" y="7441732"/>
                </a:cubicBezTo>
                <a:cubicBezTo>
                  <a:pt x="9825173" y="7441732"/>
                  <a:pt x="9827036" y="7441333"/>
                  <a:pt x="9828501" y="7440535"/>
                </a:cubicBezTo>
                <a:cubicBezTo>
                  <a:pt x="9830098" y="7440002"/>
                  <a:pt x="9831296" y="7439203"/>
                  <a:pt x="9832227" y="7438138"/>
                </a:cubicBezTo>
                <a:cubicBezTo>
                  <a:pt x="9833293" y="7437074"/>
                  <a:pt x="9834225" y="7435742"/>
                  <a:pt x="9834890" y="7434011"/>
                </a:cubicBezTo>
                <a:cubicBezTo>
                  <a:pt x="9835689" y="7432414"/>
                  <a:pt x="9835955" y="7430551"/>
                  <a:pt x="9835955" y="7428554"/>
                </a:cubicBezTo>
                <a:cubicBezTo>
                  <a:pt x="9835955" y="7426690"/>
                  <a:pt x="9835555" y="7424960"/>
                  <a:pt x="9834890" y="7423362"/>
                </a:cubicBezTo>
                <a:cubicBezTo>
                  <a:pt x="9834225" y="7421765"/>
                  <a:pt x="9833293" y="7420434"/>
                  <a:pt x="9832227" y="7419236"/>
                </a:cubicBezTo>
                <a:cubicBezTo>
                  <a:pt x="9831162" y="7418171"/>
                  <a:pt x="9829831" y="7417239"/>
                  <a:pt x="9828234" y="7416573"/>
                </a:cubicBezTo>
                <a:cubicBezTo>
                  <a:pt x="9826770" y="7415908"/>
                  <a:pt x="9825173" y="7415641"/>
                  <a:pt x="9823176" y="7415641"/>
                </a:cubicBezTo>
                <a:close/>
                <a:moveTo>
                  <a:pt x="9605531" y="7415641"/>
                </a:moveTo>
                <a:cubicBezTo>
                  <a:pt x="9599673" y="7415641"/>
                  <a:pt x="9597143" y="7417505"/>
                  <a:pt x="9595546" y="7419236"/>
                </a:cubicBezTo>
                <a:cubicBezTo>
                  <a:pt x="9593017" y="7421898"/>
                  <a:pt x="9591952" y="7424694"/>
                  <a:pt x="9591952" y="7428687"/>
                </a:cubicBezTo>
                <a:cubicBezTo>
                  <a:pt x="9591952" y="7432814"/>
                  <a:pt x="9593017" y="7435609"/>
                  <a:pt x="9595546" y="7438138"/>
                </a:cubicBezTo>
                <a:cubicBezTo>
                  <a:pt x="9597143" y="7439869"/>
                  <a:pt x="9599673" y="7441732"/>
                  <a:pt x="9605531" y="7441732"/>
                </a:cubicBezTo>
                <a:cubicBezTo>
                  <a:pt x="9607660" y="7441732"/>
                  <a:pt x="9609391" y="7441333"/>
                  <a:pt x="9610855" y="7440535"/>
                </a:cubicBezTo>
                <a:cubicBezTo>
                  <a:pt x="9612319" y="7440002"/>
                  <a:pt x="9613651" y="7439203"/>
                  <a:pt x="9614582" y="7438138"/>
                </a:cubicBezTo>
                <a:cubicBezTo>
                  <a:pt x="9615647" y="7437074"/>
                  <a:pt x="9616579" y="7435742"/>
                  <a:pt x="9617245" y="7434011"/>
                </a:cubicBezTo>
                <a:cubicBezTo>
                  <a:pt x="9618044" y="7432414"/>
                  <a:pt x="9618309" y="7430551"/>
                  <a:pt x="9618309" y="7428554"/>
                </a:cubicBezTo>
                <a:cubicBezTo>
                  <a:pt x="9618309" y="7426690"/>
                  <a:pt x="9617910" y="7424960"/>
                  <a:pt x="9617245" y="7423362"/>
                </a:cubicBezTo>
                <a:cubicBezTo>
                  <a:pt x="9616579" y="7421765"/>
                  <a:pt x="9615647" y="7420434"/>
                  <a:pt x="9614582" y="7419236"/>
                </a:cubicBezTo>
                <a:cubicBezTo>
                  <a:pt x="9613517" y="7418171"/>
                  <a:pt x="9612186" y="7417239"/>
                  <a:pt x="9610589" y="7416573"/>
                </a:cubicBezTo>
                <a:cubicBezTo>
                  <a:pt x="9609124" y="7415908"/>
                  <a:pt x="9607394" y="7415641"/>
                  <a:pt x="9605531" y="7415641"/>
                </a:cubicBezTo>
                <a:close/>
                <a:moveTo>
                  <a:pt x="9387885" y="7415641"/>
                </a:moveTo>
                <a:cubicBezTo>
                  <a:pt x="9382027" y="7415641"/>
                  <a:pt x="9379497" y="7417505"/>
                  <a:pt x="9377900" y="7419236"/>
                </a:cubicBezTo>
                <a:cubicBezTo>
                  <a:pt x="9375371" y="7421898"/>
                  <a:pt x="9374307" y="7424694"/>
                  <a:pt x="9374307" y="7428687"/>
                </a:cubicBezTo>
                <a:cubicBezTo>
                  <a:pt x="9374307" y="7432814"/>
                  <a:pt x="9375371" y="7435609"/>
                  <a:pt x="9377900" y="7438138"/>
                </a:cubicBezTo>
                <a:cubicBezTo>
                  <a:pt x="9379497" y="7439869"/>
                  <a:pt x="9382027" y="7441732"/>
                  <a:pt x="9387885" y="7441732"/>
                </a:cubicBezTo>
                <a:cubicBezTo>
                  <a:pt x="9390015" y="7441732"/>
                  <a:pt x="9391746" y="7441333"/>
                  <a:pt x="9393210" y="7440535"/>
                </a:cubicBezTo>
                <a:cubicBezTo>
                  <a:pt x="9394674" y="7440002"/>
                  <a:pt x="9396005" y="7439203"/>
                  <a:pt x="9396937" y="7438138"/>
                </a:cubicBezTo>
                <a:cubicBezTo>
                  <a:pt x="9398002" y="7437074"/>
                  <a:pt x="9398934" y="7435742"/>
                  <a:pt x="9399599" y="7434011"/>
                </a:cubicBezTo>
                <a:cubicBezTo>
                  <a:pt x="9400398" y="7432414"/>
                  <a:pt x="9400664" y="7430551"/>
                  <a:pt x="9400664" y="7428554"/>
                </a:cubicBezTo>
                <a:cubicBezTo>
                  <a:pt x="9400664" y="7426690"/>
                  <a:pt x="9400265" y="7424960"/>
                  <a:pt x="9399599" y="7423362"/>
                </a:cubicBezTo>
                <a:cubicBezTo>
                  <a:pt x="9398934" y="7421765"/>
                  <a:pt x="9398002" y="7420434"/>
                  <a:pt x="9396937" y="7419236"/>
                </a:cubicBezTo>
                <a:cubicBezTo>
                  <a:pt x="9395872" y="7418171"/>
                  <a:pt x="9394541" y="7417239"/>
                  <a:pt x="9392943" y="7416573"/>
                </a:cubicBezTo>
                <a:cubicBezTo>
                  <a:pt x="9391479" y="7415908"/>
                  <a:pt x="9389749" y="7415641"/>
                  <a:pt x="9387885" y="7415641"/>
                </a:cubicBezTo>
                <a:close/>
                <a:moveTo>
                  <a:pt x="9170374" y="7415641"/>
                </a:moveTo>
                <a:cubicBezTo>
                  <a:pt x="9164649" y="7415641"/>
                  <a:pt x="9161986" y="7417505"/>
                  <a:pt x="9160389" y="7419236"/>
                </a:cubicBezTo>
                <a:cubicBezTo>
                  <a:pt x="9157860" y="7421898"/>
                  <a:pt x="9156795" y="7424694"/>
                  <a:pt x="9156795" y="7428687"/>
                </a:cubicBezTo>
                <a:cubicBezTo>
                  <a:pt x="9156795" y="7432814"/>
                  <a:pt x="9157860" y="7435609"/>
                  <a:pt x="9160389" y="7438138"/>
                </a:cubicBezTo>
                <a:cubicBezTo>
                  <a:pt x="9161986" y="7439869"/>
                  <a:pt x="9164516" y="7441732"/>
                  <a:pt x="9170374" y="7441732"/>
                </a:cubicBezTo>
                <a:cubicBezTo>
                  <a:pt x="9172370" y="7441732"/>
                  <a:pt x="9174100" y="7441333"/>
                  <a:pt x="9175698" y="7440535"/>
                </a:cubicBezTo>
                <a:cubicBezTo>
                  <a:pt x="9177163" y="7440002"/>
                  <a:pt x="9178494" y="7439203"/>
                  <a:pt x="9179425" y="7438138"/>
                </a:cubicBezTo>
                <a:cubicBezTo>
                  <a:pt x="9180491" y="7437074"/>
                  <a:pt x="9181422" y="7435742"/>
                  <a:pt x="9182088" y="7434011"/>
                </a:cubicBezTo>
                <a:cubicBezTo>
                  <a:pt x="9182887" y="7432414"/>
                  <a:pt x="9183152" y="7430551"/>
                  <a:pt x="9183152" y="7428554"/>
                </a:cubicBezTo>
                <a:cubicBezTo>
                  <a:pt x="9183152" y="7426690"/>
                  <a:pt x="9182753" y="7424960"/>
                  <a:pt x="9182088" y="7423362"/>
                </a:cubicBezTo>
                <a:cubicBezTo>
                  <a:pt x="9181422" y="7421765"/>
                  <a:pt x="9180491" y="7420434"/>
                  <a:pt x="9179425" y="7419236"/>
                </a:cubicBezTo>
                <a:cubicBezTo>
                  <a:pt x="9178360" y="7418171"/>
                  <a:pt x="9177029" y="7417239"/>
                  <a:pt x="9175432" y="7416573"/>
                </a:cubicBezTo>
                <a:cubicBezTo>
                  <a:pt x="9173967" y="7415908"/>
                  <a:pt x="9172237" y="7415641"/>
                  <a:pt x="9170374" y="7415641"/>
                </a:cubicBezTo>
                <a:close/>
                <a:moveTo>
                  <a:pt x="8952728" y="7415641"/>
                </a:moveTo>
                <a:cubicBezTo>
                  <a:pt x="8947003" y="7415641"/>
                  <a:pt x="8944340" y="7417505"/>
                  <a:pt x="8942743" y="7419236"/>
                </a:cubicBezTo>
                <a:cubicBezTo>
                  <a:pt x="8940214" y="7421898"/>
                  <a:pt x="8939150" y="7424694"/>
                  <a:pt x="8939150" y="7428687"/>
                </a:cubicBezTo>
                <a:cubicBezTo>
                  <a:pt x="8939150" y="7432814"/>
                  <a:pt x="8940214" y="7435609"/>
                  <a:pt x="8942743" y="7438138"/>
                </a:cubicBezTo>
                <a:cubicBezTo>
                  <a:pt x="8944340" y="7439869"/>
                  <a:pt x="8946870" y="7441732"/>
                  <a:pt x="8952728" y="7441732"/>
                </a:cubicBezTo>
                <a:cubicBezTo>
                  <a:pt x="8954725" y="7441732"/>
                  <a:pt x="8956589" y="7441333"/>
                  <a:pt x="8958053" y="7440535"/>
                </a:cubicBezTo>
                <a:cubicBezTo>
                  <a:pt x="8959517" y="7440002"/>
                  <a:pt x="8960849" y="7439203"/>
                  <a:pt x="8961780" y="7438138"/>
                </a:cubicBezTo>
                <a:cubicBezTo>
                  <a:pt x="8962845" y="7437074"/>
                  <a:pt x="8963777" y="7435742"/>
                  <a:pt x="8964442" y="7434011"/>
                </a:cubicBezTo>
                <a:cubicBezTo>
                  <a:pt x="8965241" y="7432414"/>
                  <a:pt x="8965507" y="7430551"/>
                  <a:pt x="8965507" y="7428554"/>
                </a:cubicBezTo>
                <a:cubicBezTo>
                  <a:pt x="8965507" y="7426690"/>
                  <a:pt x="8965108" y="7424960"/>
                  <a:pt x="8964442" y="7423362"/>
                </a:cubicBezTo>
                <a:cubicBezTo>
                  <a:pt x="8963777" y="7421765"/>
                  <a:pt x="8962845" y="7420434"/>
                  <a:pt x="8961780" y="7419236"/>
                </a:cubicBezTo>
                <a:cubicBezTo>
                  <a:pt x="8960715" y="7418171"/>
                  <a:pt x="8959384" y="7417239"/>
                  <a:pt x="8957786" y="7416573"/>
                </a:cubicBezTo>
                <a:cubicBezTo>
                  <a:pt x="8956322" y="7415908"/>
                  <a:pt x="8954592" y="7415641"/>
                  <a:pt x="8952728" y="7415641"/>
                </a:cubicBezTo>
                <a:close/>
                <a:moveTo>
                  <a:pt x="8735083" y="7415641"/>
                </a:moveTo>
                <a:cubicBezTo>
                  <a:pt x="8729358" y="7415641"/>
                  <a:pt x="8726695" y="7417505"/>
                  <a:pt x="8725098" y="7419236"/>
                </a:cubicBezTo>
                <a:cubicBezTo>
                  <a:pt x="8722569" y="7421898"/>
                  <a:pt x="8721504" y="7424694"/>
                  <a:pt x="8721504" y="7428687"/>
                </a:cubicBezTo>
                <a:cubicBezTo>
                  <a:pt x="8721504" y="7432814"/>
                  <a:pt x="8722569" y="7435609"/>
                  <a:pt x="8725098" y="7438138"/>
                </a:cubicBezTo>
                <a:cubicBezTo>
                  <a:pt x="8726695" y="7439869"/>
                  <a:pt x="8729225" y="7441732"/>
                  <a:pt x="8735083" y="7441732"/>
                </a:cubicBezTo>
                <a:cubicBezTo>
                  <a:pt x="8737079" y="7441732"/>
                  <a:pt x="8738943" y="7441333"/>
                  <a:pt x="8740407" y="7440535"/>
                </a:cubicBezTo>
                <a:cubicBezTo>
                  <a:pt x="8741872" y="7440002"/>
                  <a:pt x="8743203" y="7439203"/>
                  <a:pt x="8744134" y="7438138"/>
                </a:cubicBezTo>
                <a:cubicBezTo>
                  <a:pt x="8745200" y="7437074"/>
                  <a:pt x="8746132" y="7435742"/>
                  <a:pt x="8746797" y="7434011"/>
                </a:cubicBezTo>
                <a:cubicBezTo>
                  <a:pt x="8747596" y="7432414"/>
                  <a:pt x="8747862" y="7430551"/>
                  <a:pt x="8747862" y="7428554"/>
                </a:cubicBezTo>
                <a:cubicBezTo>
                  <a:pt x="8747862" y="7426690"/>
                  <a:pt x="8747462" y="7424960"/>
                  <a:pt x="8746797" y="7423362"/>
                </a:cubicBezTo>
                <a:cubicBezTo>
                  <a:pt x="8746132" y="7421765"/>
                  <a:pt x="8745200" y="7420434"/>
                  <a:pt x="8744134" y="7419236"/>
                </a:cubicBezTo>
                <a:cubicBezTo>
                  <a:pt x="8743069" y="7418171"/>
                  <a:pt x="8741738" y="7417239"/>
                  <a:pt x="8740141" y="7416573"/>
                </a:cubicBezTo>
                <a:cubicBezTo>
                  <a:pt x="8738677" y="7415908"/>
                  <a:pt x="8736946" y="7415641"/>
                  <a:pt x="8735083" y="7415641"/>
                </a:cubicBezTo>
                <a:close/>
                <a:moveTo>
                  <a:pt x="8517438" y="7415641"/>
                </a:moveTo>
                <a:cubicBezTo>
                  <a:pt x="8511713" y="7415641"/>
                  <a:pt x="8509051" y="7417505"/>
                  <a:pt x="8507453" y="7419236"/>
                </a:cubicBezTo>
                <a:cubicBezTo>
                  <a:pt x="8504925" y="7421898"/>
                  <a:pt x="8503860" y="7424694"/>
                  <a:pt x="8503860" y="7428687"/>
                </a:cubicBezTo>
                <a:cubicBezTo>
                  <a:pt x="8503860" y="7432814"/>
                  <a:pt x="8504925" y="7435609"/>
                  <a:pt x="8507453" y="7438138"/>
                </a:cubicBezTo>
                <a:cubicBezTo>
                  <a:pt x="8509051" y="7439869"/>
                  <a:pt x="8511581" y="7441732"/>
                  <a:pt x="8517438" y="7441732"/>
                </a:cubicBezTo>
                <a:cubicBezTo>
                  <a:pt x="8519568" y="7441732"/>
                  <a:pt x="8521299" y="7441333"/>
                  <a:pt x="8522763" y="7440535"/>
                </a:cubicBezTo>
                <a:cubicBezTo>
                  <a:pt x="8524227" y="7440002"/>
                  <a:pt x="8525559" y="7439203"/>
                  <a:pt x="8526490" y="7438138"/>
                </a:cubicBezTo>
                <a:cubicBezTo>
                  <a:pt x="8527555" y="7437074"/>
                  <a:pt x="8528487" y="7435742"/>
                  <a:pt x="8529152" y="7434011"/>
                </a:cubicBezTo>
                <a:cubicBezTo>
                  <a:pt x="8529818" y="7432414"/>
                  <a:pt x="8530084" y="7430551"/>
                  <a:pt x="8530084" y="7428554"/>
                </a:cubicBezTo>
                <a:cubicBezTo>
                  <a:pt x="8530084" y="7426690"/>
                  <a:pt x="8529818" y="7424960"/>
                  <a:pt x="8529152" y="7423362"/>
                </a:cubicBezTo>
                <a:cubicBezTo>
                  <a:pt x="8528487" y="7421765"/>
                  <a:pt x="8527555" y="7420434"/>
                  <a:pt x="8526490" y="7419236"/>
                </a:cubicBezTo>
                <a:cubicBezTo>
                  <a:pt x="8525425" y="7418171"/>
                  <a:pt x="8524094" y="7417239"/>
                  <a:pt x="8522496" y="7416573"/>
                </a:cubicBezTo>
                <a:cubicBezTo>
                  <a:pt x="8521032" y="7415908"/>
                  <a:pt x="8519302" y="7415641"/>
                  <a:pt x="8517438" y="7415641"/>
                </a:cubicBezTo>
                <a:close/>
                <a:moveTo>
                  <a:pt x="8299793" y="7415641"/>
                </a:moveTo>
                <a:cubicBezTo>
                  <a:pt x="8294068" y="7415641"/>
                  <a:pt x="8291406" y="7417505"/>
                  <a:pt x="8289809" y="7419236"/>
                </a:cubicBezTo>
                <a:cubicBezTo>
                  <a:pt x="8287280" y="7421898"/>
                  <a:pt x="8286215" y="7424694"/>
                  <a:pt x="8286215" y="7428687"/>
                </a:cubicBezTo>
                <a:cubicBezTo>
                  <a:pt x="8286215" y="7432814"/>
                  <a:pt x="8287280" y="7435609"/>
                  <a:pt x="8289809" y="7438138"/>
                </a:cubicBezTo>
                <a:cubicBezTo>
                  <a:pt x="8291406" y="7439869"/>
                  <a:pt x="8293935" y="7441732"/>
                  <a:pt x="8299793" y="7441732"/>
                </a:cubicBezTo>
                <a:cubicBezTo>
                  <a:pt x="8301923" y="7441732"/>
                  <a:pt x="8303653" y="7441333"/>
                  <a:pt x="8305118" y="7440535"/>
                </a:cubicBezTo>
                <a:cubicBezTo>
                  <a:pt x="8306582" y="7440002"/>
                  <a:pt x="8307913" y="7439203"/>
                  <a:pt x="8308844" y="7438138"/>
                </a:cubicBezTo>
                <a:cubicBezTo>
                  <a:pt x="8309910" y="7437074"/>
                  <a:pt x="8310842" y="7435742"/>
                  <a:pt x="8311507" y="7434011"/>
                </a:cubicBezTo>
                <a:cubicBezTo>
                  <a:pt x="8312172" y="7432414"/>
                  <a:pt x="8312439" y="7430551"/>
                  <a:pt x="8312439" y="7428554"/>
                </a:cubicBezTo>
                <a:cubicBezTo>
                  <a:pt x="8312439" y="7426690"/>
                  <a:pt x="8312172" y="7424960"/>
                  <a:pt x="8311507" y="7423362"/>
                </a:cubicBezTo>
                <a:cubicBezTo>
                  <a:pt x="8310842" y="7421765"/>
                  <a:pt x="8309910" y="7420434"/>
                  <a:pt x="8308844" y="7419236"/>
                </a:cubicBezTo>
                <a:cubicBezTo>
                  <a:pt x="8307779" y="7418171"/>
                  <a:pt x="8306448" y="7417239"/>
                  <a:pt x="8304851" y="7416573"/>
                </a:cubicBezTo>
                <a:cubicBezTo>
                  <a:pt x="8303387" y="7415908"/>
                  <a:pt x="8301790" y="7415641"/>
                  <a:pt x="8299793" y="7415641"/>
                </a:cubicBezTo>
                <a:close/>
                <a:moveTo>
                  <a:pt x="8082281" y="7415641"/>
                </a:moveTo>
                <a:cubicBezTo>
                  <a:pt x="8076424" y="7415641"/>
                  <a:pt x="8073894" y="7417505"/>
                  <a:pt x="8072297" y="7419236"/>
                </a:cubicBezTo>
                <a:cubicBezTo>
                  <a:pt x="8069768" y="7421898"/>
                  <a:pt x="8068703" y="7424694"/>
                  <a:pt x="8068703" y="7428687"/>
                </a:cubicBezTo>
                <a:cubicBezTo>
                  <a:pt x="8068703" y="7432814"/>
                  <a:pt x="8069768" y="7435609"/>
                  <a:pt x="8072297" y="7438138"/>
                </a:cubicBezTo>
                <a:cubicBezTo>
                  <a:pt x="8073894" y="7439869"/>
                  <a:pt x="8076424" y="7441732"/>
                  <a:pt x="8082281" y="7441732"/>
                </a:cubicBezTo>
                <a:cubicBezTo>
                  <a:pt x="8084277" y="7441732"/>
                  <a:pt x="8086007" y="7441333"/>
                  <a:pt x="8087605" y="7440535"/>
                </a:cubicBezTo>
                <a:cubicBezTo>
                  <a:pt x="8089069" y="7440002"/>
                  <a:pt x="8090401" y="7439203"/>
                  <a:pt x="8091332" y="7438138"/>
                </a:cubicBezTo>
                <a:cubicBezTo>
                  <a:pt x="8092397" y="7437074"/>
                  <a:pt x="8093329" y="7435742"/>
                  <a:pt x="8093994" y="7434011"/>
                </a:cubicBezTo>
                <a:cubicBezTo>
                  <a:pt x="8094660" y="7432414"/>
                  <a:pt x="8094926" y="7430551"/>
                  <a:pt x="8094926" y="7428554"/>
                </a:cubicBezTo>
                <a:cubicBezTo>
                  <a:pt x="8094926" y="7426690"/>
                  <a:pt x="8094660" y="7424960"/>
                  <a:pt x="8093994" y="7423362"/>
                </a:cubicBezTo>
                <a:cubicBezTo>
                  <a:pt x="8093329" y="7421765"/>
                  <a:pt x="8092397" y="7420434"/>
                  <a:pt x="8091332" y="7419236"/>
                </a:cubicBezTo>
                <a:cubicBezTo>
                  <a:pt x="8090267" y="7418171"/>
                  <a:pt x="8088936" y="7417239"/>
                  <a:pt x="8087338" y="7416573"/>
                </a:cubicBezTo>
                <a:cubicBezTo>
                  <a:pt x="8085874" y="7415908"/>
                  <a:pt x="8084277" y="7415641"/>
                  <a:pt x="8082281" y="7415641"/>
                </a:cubicBezTo>
                <a:close/>
                <a:moveTo>
                  <a:pt x="7864636" y="7415641"/>
                </a:moveTo>
                <a:cubicBezTo>
                  <a:pt x="7858779" y="7415641"/>
                  <a:pt x="7856249" y="7417505"/>
                  <a:pt x="7854652" y="7419236"/>
                </a:cubicBezTo>
                <a:cubicBezTo>
                  <a:pt x="7852123" y="7421898"/>
                  <a:pt x="7851058" y="7424694"/>
                  <a:pt x="7851058" y="7428687"/>
                </a:cubicBezTo>
                <a:cubicBezTo>
                  <a:pt x="7851058" y="7432814"/>
                  <a:pt x="7852123" y="7435609"/>
                  <a:pt x="7854652" y="7438138"/>
                </a:cubicBezTo>
                <a:cubicBezTo>
                  <a:pt x="7856249" y="7439869"/>
                  <a:pt x="7858779" y="7441732"/>
                  <a:pt x="7864636" y="7441732"/>
                </a:cubicBezTo>
                <a:cubicBezTo>
                  <a:pt x="7866633" y="7441732"/>
                  <a:pt x="7868363" y="7441333"/>
                  <a:pt x="7869961" y="7440535"/>
                </a:cubicBezTo>
                <a:cubicBezTo>
                  <a:pt x="7871425" y="7440002"/>
                  <a:pt x="7872756" y="7439203"/>
                  <a:pt x="7873687" y="7438138"/>
                </a:cubicBezTo>
                <a:cubicBezTo>
                  <a:pt x="7874753" y="7437074"/>
                  <a:pt x="7875685" y="7435742"/>
                  <a:pt x="7876350" y="7434011"/>
                </a:cubicBezTo>
                <a:cubicBezTo>
                  <a:pt x="7877015" y="7432414"/>
                  <a:pt x="7877282" y="7430551"/>
                  <a:pt x="7877282" y="7428554"/>
                </a:cubicBezTo>
                <a:cubicBezTo>
                  <a:pt x="7877282" y="7426690"/>
                  <a:pt x="7877015" y="7424960"/>
                  <a:pt x="7876350" y="7423362"/>
                </a:cubicBezTo>
                <a:cubicBezTo>
                  <a:pt x="7875685" y="7421765"/>
                  <a:pt x="7874753" y="7420434"/>
                  <a:pt x="7873687" y="7419236"/>
                </a:cubicBezTo>
                <a:cubicBezTo>
                  <a:pt x="7872623" y="7418171"/>
                  <a:pt x="7871291" y="7417239"/>
                  <a:pt x="7869694" y="7416573"/>
                </a:cubicBezTo>
                <a:cubicBezTo>
                  <a:pt x="7868230" y="7415908"/>
                  <a:pt x="7866633" y="7415641"/>
                  <a:pt x="7864636" y="7415641"/>
                </a:cubicBezTo>
                <a:close/>
                <a:moveTo>
                  <a:pt x="7646991" y="7415641"/>
                </a:moveTo>
                <a:cubicBezTo>
                  <a:pt x="7641134" y="7415641"/>
                  <a:pt x="7638604" y="7417505"/>
                  <a:pt x="7637007" y="7419236"/>
                </a:cubicBezTo>
                <a:cubicBezTo>
                  <a:pt x="7634478" y="7421898"/>
                  <a:pt x="7633413" y="7424694"/>
                  <a:pt x="7633413" y="7428687"/>
                </a:cubicBezTo>
                <a:cubicBezTo>
                  <a:pt x="7633413" y="7432814"/>
                  <a:pt x="7634478" y="7435609"/>
                  <a:pt x="7637007" y="7438138"/>
                </a:cubicBezTo>
                <a:cubicBezTo>
                  <a:pt x="7638604" y="7439869"/>
                  <a:pt x="7641134" y="7441732"/>
                  <a:pt x="7646991" y="7441732"/>
                </a:cubicBezTo>
                <a:cubicBezTo>
                  <a:pt x="7648987" y="7441732"/>
                  <a:pt x="7650851" y="7441333"/>
                  <a:pt x="7652315" y="7440535"/>
                </a:cubicBezTo>
                <a:cubicBezTo>
                  <a:pt x="7653780" y="7440002"/>
                  <a:pt x="7655111" y="7439203"/>
                  <a:pt x="7656042" y="7438138"/>
                </a:cubicBezTo>
                <a:cubicBezTo>
                  <a:pt x="7657108" y="7437074"/>
                  <a:pt x="7658039" y="7435742"/>
                  <a:pt x="7658705" y="7434011"/>
                </a:cubicBezTo>
                <a:cubicBezTo>
                  <a:pt x="7659504" y="7432414"/>
                  <a:pt x="7659769" y="7430551"/>
                  <a:pt x="7659769" y="7428554"/>
                </a:cubicBezTo>
                <a:cubicBezTo>
                  <a:pt x="7659769" y="7426690"/>
                  <a:pt x="7659370" y="7424960"/>
                  <a:pt x="7658705" y="7423362"/>
                </a:cubicBezTo>
                <a:cubicBezTo>
                  <a:pt x="7658039" y="7421765"/>
                  <a:pt x="7657108" y="7420434"/>
                  <a:pt x="7656042" y="7419236"/>
                </a:cubicBezTo>
                <a:cubicBezTo>
                  <a:pt x="7654977" y="7418171"/>
                  <a:pt x="7653646" y="7417239"/>
                  <a:pt x="7652049" y="7416573"/>
                </a:cubicBezTo>
                <a:cubicBezTo>
                  <a:pt x="7650584" y="7415908"/>
                  <a:pt x="7648987" y="7415641"/>
                  <a:pt x="7646991" y="7415641"/>
                </a:cubicBezTo>
                <a:close/>
                <a:moveTo>
                  <a:pt x="7429345" y="7415641"/>
                </a:moveTo>
                <a:cubicBezTo>
                  <a:pt x="7423488" y="7415641"/>
                  <a:pt x="7420958" y="7417505"/>
                  <a:pt x="7419361" y="7419236"/>
                </a:cubicBezTo>
                <a:cubicBezTo>
                  <a:pt x="7416832" y="7421898"/>
                  <a:pt x="7415768" y="7424694"/>
                  <a:pt x="7415768" y="7428687"/>
                </a:cubicBezTo>
                <a:cubicBezTo>
                  <a:pt x="7415768" y="7432814"/>
                  <a:pt x="7416832" y="7435609"/>
                  <a:pt x="7419361" y="7438138"/>
                </a:cubicBezTo>
                <a:cubicBezTo>
                  <a:pt x="7420958" y="7439869"/>
                  <a:pt x="7423488" y="7441732"/>
                  <a:pt x="7429345" y="7441732"/>
                </a:cubicBezTo>
                <a:cubicBezTo>
                  <a:pt x="7431342" y="7441732"/>
                  <a:pt x="7433206" y="7441333"/>
                  <a:pt x="7434670" y="7440535"/>
                </a:cubicBezTo>
                <a:cubicBezTo>
                  <a:pt x="7436134" y="7440002"/>
                  <a:pt x="7437466" y="7439203"/>
                  <a:pt x="7438397" y="7438138"/>
                </a:cubicBezTo>
                <a:cubicBezTo>
                  <a:pt x="7439462" y="7437074"/>
                  <a:pt x="7440394" y="7435742"/>
                  <a:pt x="7441059" y="7434011"/>
                </a:cubicBezTo>
                <a:cubicBezTo>
                  <a:pt x="7441858" y="7432414"/>
                  <a:pt x="7442124" y="7430551"/>
                  <a:pt x="7442124" y="7428554"/>
                </a:cubicBezTo>
                <a:cubicBezTo>
                  <a:pt x="7442124" y="7426690"/>
                  <a:pt x="7441725" y="7424960"/>
                  <a:pt x="7441059" y="7423362"/>
                </a:cubicBezTo>
                <a:cubicBezTo>
                  <a:pt x="7440394" y="7421765"/>
                  <a:pt x="7439462" y="7420434"/>
                  <a:pt x="7438397" y="7419236"/>
                </a:cubicBezTo>
                <a:cubicBezTo>
                  <a:pt x="7437332" y="7418171"/>
                  <a:pt x="7436001" y="7417239"/>
                  <a:pt x="7434403" y="7416573"/>
                </a:cubicBezTo>
                <a:cubicBezTo>
                  <a:pt x="7432939" y="7415908"/>
                  <a:pt x="7431342" y="7415641"/>
                  <a:pt x="7429345" y="7415641"/>
                </a:cubicBezTo>
                <a:close/>
                <a:moveTo>
                  <a:pt x="7211701" y="7415641"/>
                </a:moveTo>
                <a:cubicBezTo>
                  <a:pt x="7205844" y="7415641"/>
                  <a:pt x="7203314" y="7417505"/>
                  <a:pt x="7201717" y="7419236"/>
                </a:cubicBezTo>
                <a:cubicBezTo>
                  <a:pt x="7199188" y="7421898"/>
                  <a:pt x="7198123" y="7424694"/>
                  <a:pt x="7198123" y="7428687"/>
                </a:cubicBezTo>
                <a:cubicBezTo>
                  <a:pt x="7198123" y="7432814"/>
                  <a:pt x="7199188" y="7435609"/>
                  <a:pt x="7201717" y="7438138"/>
                </a:cubicBezTo>
                <a:cubicBezTo>
                  <a:pt x="7203314" y="7439869"/>
                  <a:pt x="7205844" y="7441732"/>
                  <a:pt x="7211701" y="7441732"/>
                </a:cubicBezTo>
                <a:cubicBezTo>
                  <a:pt x="7213830" y="7441732"/>
                  <a:pt x="7215561" y="7441333"/>
                  <a:pt x="7217026" y="7440535"/>
                </a:cubicBezTo>
                <a:cubicBezTo>
                  <a:pt x="7218490" y="7440002"/>
                  <a:pt x="7219821" y="7439203"/>
                  <a:pt x="7220752" y="7438138"/>
                </a:cubicBezTo>
                <a:cubicBezTo>
                  <a:pt x="7221818" y="7437074"/>
                  <a:pt x="7222750" y="7435742"/>
                  <a:pt x="7223415" y="7434011"/>
                </a:cubicBezTo>
                <a:cubicBezTo>
                  <a:pt x="7224214" y="7432414"/>
                  <a:pt x="7224480" y="7430551"/>
                  <a:pt x="7224480" y="7428554"/>
                </a:cubicBezTo>
                <a:cubicBezTo>
                  <a:pt x="7224480" y="7426690"/>
                  <a:pt x="7224080" y="7424960"/>
                  <a:pt x="7223415" y="7423362"/>
                </a:cubicBezTo>
                <a:cubicBezTo>
                  <a:pt x="7222750" y="7421765"/>
                  <a:pt x="7221818" y="7420434"/>
                  <a:pt x="7220752" y="7419236"/>
                </a:cubicBezTo>
                <a:cubicBezTo>
                  <a:pt x="7219687" y="7418171"/>
                  <a:pt x="7218356" y="7417239"/>
                  <a:pt x="7216759" y="7416573"/>
                </a:cubicBezTo>
                <a:cubicBezTo>
                  <a:pt x="7215295" y="7415908"/>
                  <a:pt x="7213698" y="7415641"/>
                  <a:pt x="7211701" y="7415641"/>
                </a:cubicBezTo>
                <a:close/>
                <a:moveTo>
                  <a:pt x="6994056" y="7415641"/>
                </a:moveTo>
                <a:cubicBezTo>
                  <a:pt x="6988199" y="7415641"/>
                  <a:pt x="6985669" y="7417505"/>
                  <a:pt x="6984072" y="7419236"/>
                </a:cubicBezTo>
                <a:cubicBezTo>
                  <a:pt x="6981543" y="7421898"/>
                  <a:pt x="6980478" y="7424694"/>
                  <a:pt x="6980478" y="7428687"/>
                </a:cubicBezTo>
                <a:cubicBezTo>
                  <a:pt x="6980478" y="7432814"/>
                  <a:pt x="6981543" y="7435609"/>
                  <a:pt x="6984072" y="7438138"/>
                </a:cubicBezTo>
                <a:cubicBezTo>
                  <a:pt x="6985669" y="7439869"/>
                  <a:pt x="6988199" y="7441732"/>
                  <a:pt x="6994056" y="7441732"/>
                </a:cubicBezTo>
                <a:cubicBezTo>
                  <a:pt x="6996185" y="7441732"/>
                  <a:pt x="6997916" y="7441333"/>
                  <a:pt x="6999380" y="7440535"/>
                </a:cubicBezTo>
                <a:cubicBezTo>
                  <a:pt x="7000844" y="7440002"/>
                  <a:pt x="7002176" y="7439203"/>
                  <a:pt x="7003107" y="7438138"/>
                </a:cubicBezTo>
                <a:cubicBezTo>
                  <a:pt x="7004172" y="7437074"/>
                  <a:pt x="7005104" y="7435742"/>
                  <a:pt x="7005769" y="7434011"/>
                </a:cubicBezTo>
                <a:cubicBezTo>
                  <a:pt x="7006568" y="7432414"/>
                  <a:pt x="7006834" y="7430551"/>
                  <a:pt x="7006834" y="7428554"/>
                </a:cubicBezTo>
                <a:cubicBezTo>
                  <a:pt x="7006834" y="7426690"/>
                  <a:pt x="7006435" y="7424960"/>
                  <a:pt x="7005769" y="7423362"/>
                </a:cubicBezTo>
                <a:cubicBezTo>
                  <a:pt x="7005104" y="7421765"/>
                  <a:pt x="7004172" y="7420434"/>
                  <a:pt x="7003107" y="7419236"/>
                </a:cubicBezTo>
                <a:cubicBezTo>
                  <a:pt x="7002042" y="7418171"/>
                  <a:pt x="7000711" y="7417239"/>
                  <a:pt x="6999113" y="7416573"/>
                </a:cubicBezTo>
                <a:cubicBezTo>
                  <a:pt x="6997649" y="7415908"/>
                  <a:pt x="6996052" y="7415641"/>
                  <a:pt x="6994056" y="7415641"/>
                </a:cubicBezTo>
                <a:close/>
                <a:moveTo>
                  <a:pt x="6776544" y="7415641"/>
                </a:moveTo>
                <a:cubicBezTo>
                  <a:pt x="6770687" y="7415641"/>
                  <a:pt x="6768157" y="7417505"/>
                  <a:pt x="6766560" y="7419236"/>
                </a:cubicBezTo>
                <a:cubicBezTo>
                  <a:pt x="6764031" y="7421898"/>
                  <a:pt x="6762966" y="7424694"/>
                  <a:pt x="6762966" y="7428687"/>
                </a:cubicBezTo>
                <a:cubicBezTo>
                  <a:pt x="6762966" y="7432814"/>
                  <a:pt x="6764031" y="7435609"/>
                  <a:pt x="6766560" y="7438138"/>
                </a:cubicBezTo>
                <a:cubicBezTo>
                  <a:pt x="6768157" y="7439869"/>
                  <a:pt x="6770687" y="7441732"/>
                  <a:pt x="6776544" y="7441732"/>
                </a:cubicBezTo>
                <a:cubicBezTo>
                  <a:pt x="6778541" y="7441732"/>
                  <a:pt x="6780270" y="7441333"/>
                  <a:pt x="6781869" y="7440535"/>
                </a:cubicBezTo>
                <a:cubicBezTo>
                  <a:pt x="6783333" y="7440002"/>
                  <a:pt x="6784664" y="7439203"/>
                  <a:pt x="6785595" y="7438138"/>
                </a:cubicBezTo>
                <a:cubicBezTo>
                  <a:pt x="6786661" y="7437074"/>
                  <a:pt x="6787593" y="7435742"/>
                  <a:pt x="6788258" y="7434011"/>
                </a:cubicBezTo>
                <a:cubicBezTo>
                  <a:pt x="6789057" y="7432414"/>
                  <a:pt x="6789323" y="7430551"/>
                  <a:pt x="6789323" y="7428554"/>
                </a:cubicBezTo>
                <a:cubicBezTo>
                  <a:pt x="6789323" y="7426690"/>
                  <a:pt x="6788923" y="7424960"/>
                  <a:pt x="6788258" y="7423362"/>
                </a:cubicBezTo>
                <a:cubicBezTo>
                  <a:pt x="6787593" y="7421765"/>
                  <a:pt x="6786661" y="7420434"/>
                  <a:pt x="6785595" y="7419236"/>
                </a:cubicBezTo>
                <a:cubicBezTo>
                  <a:pt x="6784530" y="7418171"/>
                  <a:pt x="6783199" y="7417239"/>
                  <a:pt x="6781602" y="7416573"/>
                </a:cubicBezTo>
                <a:cubicBezTo>
                  <a:pt x="6780138" y="7415908"/>
                  <a:pt x="6778541" y="7415641"/>
                  <a:pt x="6776544" y="7415641"/>
                </a:cubicBezTo>
                <a:close/>
                <a:moveTo>
                  <a:pt x="6558899" y="7415641"/>
                </a:moveTo>
                <a:cubicBezTo>
                  <a:pt x="6553042" y="7415641"/>
                  <a:pt x="6550512" y="7417505"/>
                  <a:pt x="6548915" y="7419236"/>
                </a:cubicBezTo>
                <a:cubicBezTo>
                  <a:pt x="6546386" y="7421898"/>
                  <a:pt x="6545321" y="7424694"/>
                  <a:pt x="6545321" y="7428687"/>
                </a:cubicBezTo>
                <a:cubicBezTo>
                  <a:pt x="6545321" y="7432814"/>
                  <a:pt x="6546386" y="7435609"/>
                  <a:pt x="6548915" y="7438138"/>
                </a:cubicBezTo>
                <a:cubicBezTo>
                  <a:pt x="6550512" y="7439869"/>
                  <a:pt x="6553042" y="7441732"/>
                  <a:pt x="6558899" y="7441732"/>
                </a:cubicBezTo>
                <a:cubicBezTo>
                  <a:pt x="6560895" y="7441732"/>
                  <a:pt x="6562759" y="7441333"/>
                  <a:pt x="6564223" y="7440535"/>
                </a:cubicBezTo>
                <a:cubicBezTo>
                  <a:pt x="6565687" y="7440002"/>
                  <a:pt x="6567019" y="7439203"/>
                  <a:pt x="6567950" y="7438138"/>
                </a:cubicBezTo>
                <a:cubicBezTo>
                  <a:pt x="6569015" y="7437074"/>
                  <a:pt x="6569947" y="7435742"/>
                  <a:pt x="6570612" y="7434011"/>
                </a:cubicBezTo>
                <a:cubicBezTo>
                  <a:pt x="6571412" y="7432414"/>
                  <a:pt x="6571677" y="7430551"/>
                  <a:pt x="6571677" y="7428554"/>
                </a:cubicBezTo>
                <a:cubicBezTo>
                  <a:pt x="6571677" y="7426690"/>
                  <a:pt x="6571278" y="7424960"/>
                  <a:pt x="6570612" y="7423362"/>
                </a:cubicBezTo>
                <a:cubicBezTo>
                  <a:pt x="6569947" y="7421765"/>
                  <a:pt x="6569015" y="7420434"/>
                  <a:pt x="6567950" y="7419236"/>
                </a:cubicBezTo>
                <a:cubicBezTo>
                  <a:pt x="6566885" y="7418171"/>
                  <a:pt x="6565554" y="7417239"/>
                  <a:pt x="6563956" y="7416573"/>
                </a:cubicBezTo>
                <a:cubicBezTo>
                  <a:pt x="6562492" y="7415908"/>
                  <a:pt x="6560895" y="7415641"/>
                  <a:pt x="6558899" y="7415641"/>
                </a:cubicBezTo>
                <a:close/>
                <a:moveTo>
                  <a:pt x="6341253" y="7415641"/>
                </a:moveTo>
                <a:cubicBezTo>
                  <a:pt x="6335396" y="7415641"/>
                  <a:pt x="6332867" y="7417505"/>
                  <a:pt x="6331270" y="7419236"/>
                </a:cubicBezTo>
                <a:cubicBezTo>
                  <a:pt x="6328740" y="7421898"/>
                  <a:pt x="6327675" y="7424694"/>
                  <a:pt x="6327675" y="7428687"/>
                </a:cubicBezTo>
                <a:cubicBezTo>
                  <a:pt x="6327675" y="7432814"/>
                  <a:pt x="6328740" y="7435609"/>
                  <a:pt x="6331270" y="7438138"/>
                </a:cubicBezTo>
                <a:cubicBezTo>
                  <a:pt x="6332867" y="7439869"/>
                  <a:pt x="6335396" y="7441732"/>
                  <a:pt x="6341253" y="7441732"/>
                </a:cubicBezTo>
                <a:cubicBezTo>
                  <a:pt x="6343250" y="7441732"/>
                  <a:pt x="6345114" y="7441333"/>
                  <a:pt x="6346578" y="7440535"/>
                </a:cubicBezTo>
                <a:cubicBezTo>
                  <a:pt x="6348042" y="7440002"/>
                  <a:pt x="6349373" y="7439203"/>
                  <a:pt x="6350305" y="7438138"/>
                </a:cubicBezTo>
                <a:cubicBezTo>
                  <a:pt x="6351370" y="7437074"/>
                  <a:pt x="6352302" y="7435742"/>
                  <a:pt x="6352968" y="7434011"/>
                </a:cubicBezTo>
                <a:cubicBezTo>
                  <a:pt x="6353766" y="7432414"/>
                  <a:pt x="6354033" y="7430551"/>
                  <a:pt x="6354033" y="7428554"/>
                </a:cubicBezTo>
                <a:cubicBezTo>
                  <a:pt x="6354033" y="7426690"/>
                  <a:pt x="6353633" y="7424960"/>
                  <a:pt x="6352968" y="7423362"/>
                </a:cubicBezTo>
                <a:cubicBezTo>
                  <a:pt x="6352302" y="7421765"/>
                  <a:pt x="6351370" y="7420434"/>
                  <a:pt x="6350305" y="7419236"/>
                </a:cubicBezTo>
                <a:cubicBezTo>
                  <a:pt x="6349241" y="7418171"/>
                  <a:pt x="6347909" y="7417239"/>
                  <a:pt x="6346312" y="7416573"/>
                </a:cubicBezTo>
                <a:cubicBezTo>
                  <a:pt x="6344848" y="7415908"/>
                  <a:pt x="6343250" y="7415641"/>
                  <a:pt x="6341253" y="7415641"/>
                </a:cubicBezTo>
                <a:close/>
                <a:moveTo>
                  <a:pt x="6123608" y="7415641"/>
                </a:moveTo>
                <a:cubicBezTo>
                  <a:pt x="6117751" y="7415641"/>
                  <a:pt x="6115221" y="7417505"/>
                  <a:pt x="6113624" y="7419236"/>
                </a:cubicBezTo>
                <a:cubicBezTo>
                  <a:pt x="6111095" y="7421898"/>
                  <a:pt x="6110030" y="7424694"/>
                  <a:pt x="6110030" y="7428687"/>
                </a:cubicBezTo>
                <a:cubicBezTo>
                  <a:pt x="6110030" y="7432814"/>
                  <a:pt x="6111095" y="7435609"/>
                  <a:pt x="6113624" y="7438138"/>
                </a:cubicBezTo>
                <a:cubicBezTo>
                  <a:pt x="6115221" y="7439869"/>
                  <a:pt x="6117751" y="7441732"/>
                  <a:pt x="6123608" y="7441732"/>
                </a:cubicBezTo>
                <a:cubicBezTo>
                  <a:pt x="6125737" y="7441732"/>
                  <a:pt x="6127468" y="7441333"/>
                  <a:pt x="6128932" y="7440535"/>
                </a:cubicBezTo>
                <a:cubicBezTo>
                  <a:pt x="6130530" y="7440002"/>
                  <a:pt x="6131728" y="7439203"/>
                  <a:pt x="6132659" y="7438138"/>
                </a:cubicBezTo>
                <a:cubicBezTo>
                  <a:pt x="6133724" y="7437074"/>
                  <a:pt x="6134656" y="7435742"/>
                  <a:pt x="6135322" y="7434011"/>
                </a:cubicBezTo>
                <a:cubicBezTo>
                  <a:pt x="6135987" y="7432414"/>
                  <a:pt x="6136387" y="7430551"/>
                  <a:pt x="6136387" y="7428554"/>
                </a:cubicBezTo>
                <a:cubicBezTo>
                  <a:pt x="6136387" y="7426690"/>
                  <a:pt x="6135987" y="7424960"/>
                  <a:pt x="6135322" y="7423362"/>
                </a:cubicBezTo>
                <a:cubicBezTo>
                  <a:pt x="6134656" y="7421765"/>
                  <a:pt x="6133724" y="7420434"/>
                  <a:pt x="6132659" y="7419236"/>
                </a:cubicBezTo>
                <a:cubicBezTo>
                  <a:pt x="6131594" y="7418171"/>
                  <a:pt x="6130263" y="7417239"/>
                  <a:pt x="6128666" y="7416573"/>
                </a:cubicBezTo>
                <a:cubicBezTo>
                  <a:pt x="6127202" y="7415908"/>
                  <a:pt x="6125604" y="7415641"/>
                  <a:pt x="6123608" y="7415641"/>
                </a:cubicBezTo>
                <a:close/>
                <a:moveTo>
                  <a:pt x="5905963" y="7415641"/>
                </a:moveTo>
                <a:cubicBezTo>
                  <a:pt x="5900106" y="7415641"/>
                  <a:pt x="5897576" y="7417505"/>
                  <a:pt x="5895979" y="7419236"/>
                </a:cubicBezTo>
                <a:cubicBezTo>
                  <a:pt x="5893450" y="7421898"/>
                  <a:pt x="5892385" y="7424694"/>
                  <a:pt x="5892385" y="7428687"/>
                </a:cubicBezTo>
                <a:cubicBezTo>
                  <a:pt x="5892385" y="7432814"/>
                  <a:pt x="5893450" y="7435609"/>
                  <a:pt x="5895979" y="7438138"/>
                </a:cubicBezTo>
                <a:cubicBezTo>
                  <a:pt x="5897576" y="7439869"/>
                  <a:pt x="5900106" y="7441732"/>
                  <a:pt x="5905963" y="7441732"/>
                </a:cubicBezTo>
                <a:cubicBezTo>
                  <a:pt x="5908093" y="7441732"/>
                  <a:pt x="5909823" y="7441333"/>
                  <a:pt x="5911287" y="7440535"/>
                </a:cubicBezTo>
                <a:cubicBezTo>
                  <a:pt x="5912751" y="7440002"/>
                  <a:pt x="5914083" y="7439203"/>
                  <a:pt x="5915014" y="7438138"/>
                </a:cubicBezTo>
                <a:cubicBezTo>
                  <a:pt x="5916079" y="7437074"/>
                  <a:pt x="5917011" y="7435742"/>
                  <a:pt x="5917677" y="7434011"/>
                </a:cubicBezTo>
                <a:cubicBezTo>
                  <a:pt x="5918342" y="7432414"/>
                  <a:pt x="5918742" y="7430551"/>
                  <a:pt x="5918742" y="7428554"/>
                </a:cubicBezTo>
                <a:cubicBezTo>
                  <a:pt x="5918742" y="7426690"/>
                  <a:pt x="5918342" y="7424960"/>
                  <a:pt x="5917677" y="7423362"/>
                </a:cubicBezTo>
                <a:cubicBezTo>
                  <a:pt x="5917011" y="7421765"/>
                  <a:pt x="5916079" y="7420434"/>
                  <a:pt x="5915014" y="7419236"/>
                </a:cubicBezTo>
                <a:cubicBezTo>
                  <a:pt x="5913950" y="7418171"/>
                  <a:pt x="5912618" y="7417239"/>
                  <a:pt x="5911021" y="7416573"/>
                </a:cubicBezTo>
                <a:cubicBezTo>
                  <a:pt x="5909557" y="7415908"/>
                  <a:pt x="5907826" y="7415641"/>
                  <a:pt x="5905963" y="7415641"/>
                </a:cubicBezTo>
                <a:close/>
                <a:moveTo>
                  <a:pt x="5688451" y="7415641"/>
                </a:moveTo>
                <a:cubicBezTo>
                  <a:pt x="5682594" y="7415641"/>
                  <a:pt x="5680064" y="7417505"/>
                  <a:pt x="5678467" y="7419236"/>
                </a:cubicBezTo>
                <a:cubicBezTo>
                  <a:pt x="5675938" y="7421898"/>
                  <a:pt x="5674873" y="7424694"/>
                  <a:pt x="5674873" y="7428687"/>
                </a:cubicBezTo>
                <a:cubicBezTo>
                  <a:pt x="5674873" y="7432814"/>
                  <a:pt x="5675938" y="7435609"/>
                  <a:pt x="5678467" y="7438138"/>
                </a:cubicBezTo>
                <a:cubicBezTo>
                  <a:pt x="5680064" y="7439869"/>
                  <a:pt x="5682594" y="7441732"/>
                  <a:pt x="5688451" y="7441732"/>
                </a:cubicBezTo>
                <a:cubicBezTo>
                  <a:pt x="5690447" y="7441732"/>
                  <a:pt x="5692178" y="7441333"/>
                  <a:pt x="5693775" y="7440535"/>
                </a:cubicBezTo>
                <a:cubicBezTo>
                  <a:pt x="5695239" y="7440002"/>
                  <a:pt x="5696571" y="7439203"/>
                  <a:pt x="5697502" y="7438138"/>
                </a:cubicBezTo>
                <a:cubicBezTo>
                  <a:pt x="5698567" y="7437074"/>
                  <a:pt x="5699499" y="7435742"/>
                  <a:pt x="5700165" y="7434011"/>
                </a:cubicBezTo>
                <a:cubicBezTo>
                  <a:pt x="5700830" y="7432414"/>
                  <a:pt x="5701230" y="7430551"/>
                  <a:pt x="5701230" y="7428554"/>
                </a:cubicBezTo>
                <a:cubicBezTo>
                  <a:pt x="5701230" y="7426690"/>
                  <a:pt x="5700830" y="7424960"/>
                  <a:pt x="5700165" y="7423362"/>
                </a:cubicBezTo>
                <a:cubicBezTo>
                  <a:pt x="5699499" y="7421765"/>
                  <a:pt x="5698567" y="7420434"/>
                  <a:pt x="5697502" y="7419236"/>
                </a:cubicBezTo>
                <a:cubicBezTo>
                  <a:pt x="5696437" y="7418171"/>
                  <a:pt x="5695106" y="7417239"/>
                  <a:pt x="5693509" y="7416573"/>
                </a:cubicBezTo>
                <a:cubicBezTo>
                  <a:pt x="5692045" y="7415908"/>
                  <a:pt x="5690314" y="7415641"/>
                  <a:pt x="5688451" y="7415641"/>
                </a:cubicBezTo>
                <a:close/>
                <a:moveTo>
                  <a:pt x="5470806" y="7415641"/>
                </a:moveTo>
                <a:cubicBezTo>
                  <a:pt x="5464949" y="7415641"/>
                  <a:pt x="5462419" y="7417505"/>
                  <a:pt x="5460822" y="7419236"/>
                </a:cubicBezTo>
                <a:cubicBezTo>
                  <a:pt x="5458293" y="7421898"/>
                  <a:pt x="5457228" y="7424694"/>
                  <a:pt x="5457228" y="7428687"/>
                </a:cubicBezTo>
                <a:cubicBezTo>
                  <a:pt x="5457228" y="7432814"/>
                  <a:pt x="5458293" y="7435609"/>
                  <a:pt x="5460822" y="7438138"/>
                </a:cubicBezTo>
                <a:cubicBezTo>
                  <a:pt x="5462419" y="7439869"/>
                  <a:pt x="5464949" y="7441732"/>
                  <a:pt x="5470806" y="7441732"/>
                </a:cubicBezTo>
                <a:cubicBezTo>
                  <a:pt x="5472802" y="7441732"/>
                  <a:pt x="5474666" y="7441333"/>
                  <a:pt x="5476130" y="7440535"/>
                </a:cubicBezTo>
                <a:cubicBezTo>
                  <a:pt x="5477594" y="7440002"/>
                  <a:pt x="5478926" y="7439203"/>
                  <a:pt x="5479857" y="7438138"/>
                </a:cubicBezTo>
                <a:cubicBezTo>
                  <a:pt x="5480922" y="7437074"/>
                  <a:pt x="5481854" y="7435742"/>
                  <a:pt x="5482520" y="7434011"/>
                </a:cubicBezTo>
                <a:cubicBezTo>
                  <a:pt x="5483319" y="7432414"/>
                  <a:pt x="5483585" y="7430551"/>
                  <a:pt x="5483585" y="7428554"/>
                </a:cubicBezTo>
                <a:cubicBezTo>
                  <a:pt x="5483585" y="7426690"/>
                  <a:pt x="5483185" y="7424960"/>
                  <a:pt x="5482520" y="7423362"/>
                </a:cubicBezTo>
                <a:cubicBezTo>
                  <a:pt x="5481854" y="7421765"/>
                  <a:pt x="5480922" y="7420434"/>
                  <a:pt x="5479857" y="7419236"/>
                </a:cubicBezTo>
                <a:cubicBezTo>
                  <a:pt x="5478793" y="7418171"/>
                  <a:pt x="5477461" y="7417239"/>
                  <a:pt x="5475864" y="7416573"/>
                </a:cubicBezTo>
                <a:cubicBezTo>
                  <a:pt x="5474400" y="7415908"/>
                  <a:pt x="5472669" y="7415641"/>
                  <a:pt x="5470806" y="7415641"/>
                </a:cubicBezTo>
                <a:close/>
                <a:moveTo>
                  <a:pt x="5253160" y="7415641"/>
                </a:moveTo>
                <a:cubicBezTo>
                  <a:pt x="5247303" y="7415641"/>
                  <a:pt x="5244774" y="7417505"/>
                  <a:pt x="5243177" y="7419236"/>
                </a:cubicBezTo>
                <a:cubicBezTo>
                  <a:pt x="5240647" y="7421898"/>
                  <a:pt x="5239583" y="7424694"/>
                  <a:pt x="5239583" y="7428687"/>
                </a:cubicBezTo>
                <a:cubicBezTo>
                  <a:pt x="5239583" y="7432814"/>
                  <a:pt x="5240647" y="7435609"/>
                  <a:pt x="5243177" y="7438138"/>
                </a:cubicBezTo>
                <a:cubicBezTo>
                  <a:pt x="5244774" y="7439869"/>
                  <a:pt x="5247303" y="7441732"/>
                  <a:pt x="5253160" y="7441732"/>
                </a:cubicBezTo>
                <a:cubicBezTo>
                  <a:pt x="5255157" y="7441732"/>
                  <a:pt x="5257021" y="7441333"/>
                  <a:pt x="5258485" y="7440535"/>
                </a:cubicBezTo>
                <a:cubicBezTo>
                  <a:pt x="5259949" y="7440002"/>
                  <a:pt x="5261280" y="7439203"/>
                  <a:pt x="5262212" y="7438138"/>
                </a:cubicBezTo>
                <a:cubicBezTo>
                  <a:pt x="5263277" y="7437074"/>
                  <a:pt x="5264209" y="7435742"/>
                  <a:pt x="5264875" y="7434011"/>
                </a:cubicBezTo>
                <a:cubicBezTo>
                  <a:pt x="5265673" y="7432414"/>
                  <a:pt x="5265939" y="7430551"/>
                  <a:pt x="5265939" y="7428554"/>
                </a:cubicBezTo>
                <a:cubicBezTo>
                  <a:pt x="5265939" y="7426690"/>
                  <a:pt x="5265540" y="7424960"/>
                  <a:pt x="5264875" y="7423362"/>
                </a:cubicBezTo>
                <a:cubicBezTo>
                  <a:pt x="5264209" y="7421765"/>
                  <a:pt x="5263277" y="7420434"/>
                  <a:pt x="5262212" y="7419236"/>
                </a:cubicBezTo>
                <a:cubicBezTo>
                  <a:pt x="5261147" y="7418171"/>
                  <a:pt x="5259816" y="7417239"/>
                  <a:pt x="5258219" y="7416573"/>
                </a:cubicBezTo>
                <a:cubicBezTo>
                  <a:pt x="5256754" y="7415908"/>
                  <a:pt x="5255024" y="7415641"/>
                  <a:pt x="5253160" y="7415641"/>
                </a:cubicBezTo>
                <a:close/>
                <a:moveTo>
                  <a:pt x="5035515" y="7415641"/>
                </a:moveTo>
                <a:cubicBezTo>
                  <a:pt x="5029658" y="7415641"/>
                  <a:pt x="5027129" y="7417505"/>
                  <a:pt x="5025532" y="7419236"/>
                </a:cubicBezTo>
                <a:cubicBezTo>
                  <a:pt x="5023002" y="7421898"/>
                  <a:pt x="5021938" y="7424694"/>
                  <a:pt x="5021938" y="7428687"/>
                </a:cubicBezTo>
                <a:cubicBezTo>
                  <a:pt x="5021938" y="7432814"/>
                  <a:pt x="5023002" y="7435609"/>
                  <a:pt x="5025532" y="7438138"/>
                </a:cubicBezTo>
                <a:cubicBezTo>
                  <a:pt x="5027129" y="7439869"/>
                  <a:pt x="5029658" y="7441732"/>
                  <a:pt x="5035515" y="7441732"/>
                </a:cubicBezTo>
                <a:cubicBezTo>
                  <a:pt x="5037645" y="7441732"/>
                  <a:pt x="5039376" y="7441333"/>
                  <a:pt x="5040840" y="7440535"/>
                </a:cubicBezTo>
                <a:cubicBezTo>
                  <a:pt x="5042304" y="7440002"/>
                  <a:pt x="5043636" y="7439203"/>
                  <a:pt x="5044567" y="7438138"/>
                </a:cubicBezTo>
                <a:cubicBezTo>
                  <a:pt x="5045632" y="7437074"/>
                  <a:pt x="5046564" y="7435742"/>
                  <a:pt x="5047230" y="7434011"/>
                </a:cubicBezTo>
                <a:cubicBezTo>
                  <a:pt x="5048028" y="7432414"/>
                  <a:pt x="5048294" y="7430551"/>
                  <a:pt x="5048294" y="7428554"/>
                </a:cubicBezTo>
                <a:cubicBezTo>
                  <a:pt x="5048294" y="7426690"/>
                  <a:pt x="5047895" y="7424960"/>
                  <a:pt x="5047230" y="7423362"/>
                </a:cubicBezTo>
                <a:cubicBezTo>
                  <a:pt x="5046564" y="7421765"/>
                  <a:pt x="5045632" y="7420434"/>
                  <a:pt x="5044567" y="7419236"/>
                </a:cubicBezTo>
                <a:cubicBezTo>
                  <a:pt x="5043502" y="7418171"/>
                  <a:pt x="5042171" y="7417239"/>
                  <a:pt x="5040574" y="7416573"/>
                </a:cubicBezTo>
                <a:cubicBezTo>
                  <a:pt x="5039110" y="7415908"/>
                  <a:pt x="5037379" y="7415641"/>
                  <a:pt x="5035515" y="7415641"/>
                </a:cubicBezTo>
                <a:close/>
                <a:moveTo>
                  <a:pt x="4817870" y="7415641"/>
                </a:moveTo>
                <a:cubicBezTo>
                  <a:pt x="4812013" y="7415641"/>
                  <a:pt x="4809484" y="7417505"/>
                  <a:pt x="4807887" y="7419236"/>
                </a:cubicBezTo>
                <a:cubicBezTo>
                  <a:pt x="4805357" y="7421898"/>
                  <a:pt x="4804293" y="7424694"/>
                  <a:pt x="4804293" y="7428687"/>
                </a:cubicBezTo>
                <a:cubicBezTo>
                  <a:pt x="4804293" y="7432814"/>
                  <a:pt x="4805357" y="7435609"/>
                  <a:pt x="4807887" y="7438138"/>
                </a:cubicBezTo>
                <a:cubicBezTo>
                  <a:pt x="4809484" y="7439869"/>
                  <a:pt x="4812013" y="7441732"/>
                  <a:pt x="4817870" y="7441732"/>
                </a:cubicBezTo>
                <a:cubicBezTo>
                  <a:pt x="4820000" y="7441732"/>
                  <a:pt x="4821731" y="7441333"/>
                  <a:pt x="4823195" y="7440535"/>
                </a:cubicBezTo>
                <a:cubicBezTo>
                  <a:pt x="4824659" y="7440002"/>
                  <a:pt x="4825857" y="7439203"/>
                  <a:pt x="4826922" y="7438138"/>
                </a:cubicBezTo>
                <a:cubicBezTo>
                  <a:pt x="4827987" y="7437074"/>
                  <a:pt x="4828919" y="7435742"/>
                  <a:pt x="4829585" y="7434011"/>
                </a:cubicBezTo>
                <a:cubicBezTo>
                  <a:pt x="4830383" y="7432414"/>
                  <a:pt x="4830650" y="7430551"/>
                  <a:pt x="4830650" y="7428554"/>
                </a:cubicBezTo>
                <a:cubicBezTo>
                  <a:pt x="4830650" y="7426690"/>
                  <a:pt x="4830250" y="7424960"/>
                  <a:pt x="4829585" y="7423362"/>
                </a:cubicBezTo>
                <a:cubicBezTo>
                  <a:pt x="4828919" y="7421765"/>
                  <a:pt x="4827987" y="7420434"/>
                  <a:pt x="4826922" y="7419236"/>
                </a:cubicBezTo>
                <a:cubicBezTo>
                  <a:pt x="4825857" y="7418171"/>
                  <a:pt x="4824526" y="7417239"/>
                  <a:pt x="4822929" y="7416573"/>
                </a:cubicBezTo>
                <a:cubicBezTo>
                  <a:pt x="4821465" y="7415908"/>
                  <a:pt x="4819734" y="7415641"/>
                  <a:pt x="4817870" y="7415641"/>
                </a:cubicBezTo>
                <a:close/>
                <a:moveTo>
                  <a:pt x="4600226" y="7415641"/>
                </a:moveTo>
                <a:cubicBezTo>
                  <a:pt x="4594369" y="7415641"/>
                  <a:pt x="4591839" y="7417505"/>
                  <a:pt x="4590242" y="7419236"/>
                </a:cubicBezTo>
                <a:cubicBezTo>
                  <a:pt x="4587713" y="7421898"/>
                  <a:pt x="4586648" y="7424694"/>
                  <a:pt x="4586648" y="7428687"/>
                </a:cubicBezTo>
                <a:cubicBezTo>
                  <a:pt x="4586648" y="7432814"/>
                  <a:pt x="4587713" y="7435609"/>
                  <a:pt x="4590242" y="7438138"/>
                </a:cubicBezTo>
                <a:cubicBezTo>
                  <a:pt x="4591839" y="7439869"/>
                  <a:pt x="4594369" y="7441732"/>
                  <a:pt x="4600226" y="7441732"/>
                </a:cubicBezTo>
                <a:cubicBezTo>
                  <a:pt x="4602355" y="7441732"/>
                  <a:pt x="4604086" y="7441333"/>
                  <a:pt x="4605550" y="7440535"/>
                </a:cubicBezTo>
                <a:cubicBezTo>
                  <a:pt x="4607148" y="7440002"/>
                  <a:pt x="4608346" y="7439203"/>
                  <a:pt x="4609277" y="7438138"/>
                </a:cubicBezTo>
                <a:cubicBezTo>
                  <a:pt x="4610342" y="7437074"/>
                  <a:pt x="4611274" y="7435742"/>
                  <a:pt x="4611940" y="7434011"/>
                </a:cubicBezTo>
                <a:cubicBezTo>
                  <a:pt x="4612605" y="7432414"/>
                  <a:pt x="4613005" y="7430551"/>
                  <a:pt x="4613005" y="7428554"/>
                </a:cubicBezTo>
                <a:cubicBezTo>
                  <a:pt x="4613005" y="7426690"/>
                  <a:pt x="4612605" y="7424960"/>
                  <a:pt x="4611940" y="7423362"/>
                </a:cubicBezTo>
                <a:cubicBezTo>
                  <a:pt x="4611274" y="7421765"/>
                  <a:pt x="4610342" y="7420434"/>
                  <a:pt x="4609277" y="7419236"/>
                </a:cubicBezTo>
                <a:cubicBezTo>
                  <a:pt x="4608212" y="7418171"/>
                  <a:pt x="4606881" y="7417239"/>
                  <a:pt x="4605284" y="7416573"/>
                </a:cubicBezTo>
                <a:cubicBezTo>
                  <a:pt x="4603820" y="7415908"/>
                  <a:pt x="4602222" y="7415641"/>
                  <a:pt x="4600226" y="7415641"/>
                </a:cubicBezTo>
                <a:close/>
                <a:moveTo>
                  <a:pt x="4382713" y="7415641"/>
                </a:moveTo>
                <a:cubicBezTo>
                  <a:pt x="4376857" y="7415641"/>
                  <a:pt x="4374327" y="7417505"/>
                  <a:pt x="4372730" y="7419236"/>
                </a:cubicBezTo>
                <a:cubicBezTo>
                  <a:pt x="4370201" y="7421898"/>
                  <a:pt x="4369136" y="7424694"/>
                  <a:pt x="4369136" y="7428687"/>
                </a:cubicBezTo>
                <a:cubicBezTo>
                  <a:pt x="4369136" y="7432814"/>
                  <a:pt x="4370201" y="7435609"/>
                  <a:pt x="4372730" y="7438138"/>
                </a:cubicBezTo>
                <a:cubicBezTo>
                  <a:pt x="4374327" y="7439869"/>
                  <a:pt x="4376857" y="7441732"/>
                  <a:pt x="4382713" y="7441732"/>
                </a:cubicBezTo>
                <a:cubicBezTo>
                  <a:pt x="4384710" y="7441732"/>
                  <a:pt x="4386441" y="7441333"/>
                  <a:pt x="4388038" y="7440535"/>
                </a:cubicBezTo>
                <a:cubicBezTo>
                  <a:pt x="4389502" y="7440002"/>
                  <a:pt x="4390834" y="7439203"/>
                  <a:pt x="4391765" y="7438138"/>
                </a:cubicBezTo>
                <a:cubicBezTo>
                  <a:pt x="4392830" y="7437074"/>
                  <a:pt x="4393762" y="7435742"/>
                  <a:pt x="4394428" y="7434011"/>
                </a:cubicBezTo>
                <a:cubicBezTo>
                  <a:pt x="4395093" y="7432414"/>
                  <a:pt x="4395493" y="7430551"/>
                  <a:pt x="4395493" y="7428554"/>
                </a:cubicBezTo>
                <a:cubicBezTo>
                  <a:pt x="4395493" y="7426690"/>
                  <a:pt x="4395093" y="7424960"/>
                  <a:pt x="4394428" y="7423362"/>
                </a:cubicBezTo>
                <a:cubicBezTo>
                  <a:pt x="4393762" y="7421765"/>
                  <a:pt x="4392830" y="7420434"/>
                  <a:pt x="4391765" y="7419236"/>
                </a:cubicBezTo>
                <a:cubicBezTo>
                  <a:pt x="4390700" y="7418171"/>
                  <a:pt x="4389369" y="7417239"/>
                  <a:pt x="4387772" y="7416573"/>
                </a:cubicBezTo>
                <a:cubicBezTo>
                  <a:pt x="4386308" y="7415908"/>
                  <a:pt x="4384710" y="7415641"/>
                  <a:pt x="4382713" y="7415641"/>
                </a:cubicBezTo>
                <a:close/>
                <a:moveTo>
                  <a:pt x="4165068" y="7415641"/>
                </a:moveTo>
                <a:cubicBezTo>
                  <a:pt x="4159211" y="7415641"/>
                  <a:pt x="4156681" y="7417505"/>
                  <a:pt x="4155084" y="7419236"/>
                </a:cubicBezTo>
                <a:cubicBezTo>
                  <a:pt x="4152555" y="7421898"/>
                  <a:pt x="4151490" y="7424694"/>
                  <a:pt x="4151490" y="7428687"/>
                </a:cubicBezTo>
                <a:cubicBezTo>
                  <a:pt x="4151490" y="7432814"/>
                  <a:pt x="4152555" y="7435609"/>
                  <a:pt x="4155084" y="7438138"/>
                </a:cubicBezTo>
                <a:cubicBezTo>
                  <a:pt x="4156681" y="7439869"/>
                  <a:pt x="4159211" y="7441732"/>
                  <a:pt x="4165068" y="7441732"/>
                </a:cubicBezTo>
                <a:cubicBezTo>
                  <a:pt x="4167064" y="7441732"/>
                  <a:pt x="4168928" y="7441333"/>
                  <a:pt x="4170392" y="7440535"/>
                </a:cubicBezTo>
                <a:cubicBezTo>
                  <a:pt x="4171856" y="7440002"/>
                  <a:pt x="4173188" y="7439203"/>
                  <a:pt x="4174119" y="7438138"/>
                </a:cubicBezTo>
                <a:cubicBezTo>
                  <a:pt x="4175184" y="7437074"/>
                  <a:pt x="4176116" y="7435742"/>
                  <a:pt x="4176782" y="7434011"/>
                </a:cubicBezTo>
                <a:cubicBezTo>
                  <a:pt x="4177447" y="7432414"/>
                  <a:pt x="4177847" y="7430551"/>
                  <a:pt x="4177847" y="7428554"/>
                </a:cubicBezTo>
                <a:cubicBezTo>
                  <a:pt x="4177847" y="7426690"/>
                  <a:pt x="4177447" y="7424960"/>
                  <a:pt x="4176782" y="7423362"/>
                </a:cubicBezTo>
                <a:cubicBezTo>
                  <a:pt x="4176116" y="7421765"/>
                  <a:pt x="4175184" y="7420434"/>
                  <a:pt x="4174119" y="7419236"/>
                </a:cubicBezTo>
                <a:cubicBezTo>
                  <a:pt x="4173054" y="7418171"/>
                  <a:pt x="4171723" y="7417239"/>
                  <a:pt x="4170126" y="7416573"/>
                </a:cubicBezTo>
                <a:cubicBezTo>
                  <a:pt x="4168662" y="7415908"/>
                  <a:pt x="4167064" y="7415641"/>
                  <a:pt x="4165068" y="7415641"/>
                </a:cubicBezTo>
                <a:close/>
                <a:moveTo>
                  <a:pt x="3947819" y="7415641"/>
                </a:moveTo>
                <a:cubicBezTo>
                  <a:pt x="3941962" y="7415641"/>
                  <a:pt x="3939434" y="7417505"/>
                  <a:pt x="3937835" y="7419236"/>
                </a:cubicBezTo>
                <a:cubicBezTo>
                  <a:pt x="3935307" y="7421898"/>
                  <a:pt x="3934241" y="7424694"/>
                  <a:pt x="3934241" y="7428687"/>
                </a:cubicBezTo>
                <a:cubicBezTo>
                  <a:pt x="3934241" y="7432814"/>
                  <a:pt x="3935307" y="7435609"/>
                  <a:pt x="3937835" y="7438138"/>
                </a:cubicBezTo>
                <a:cubicBezTo>
                  <a:pt x="3939434" y="7439869"/>
                  <a:pt x="3941962" y="7441732"/>
                  <a:pt x="3947819" y="7441732"/>
                </a:cubicBezTo>
                <a:cubicBezTo>
                  <a:pt x="3949816" y="7441732"/>
                  <a:pt x="3951683" y="7441333"/>
                  <a:pt x="3953150" y="7440535"/>
                </a:cubicBezTo>
                <a:cubicBezTo>
                  <a:pt x="3954613" y="7440002"/>
                  <a:pt x="3955944" y="7439203"/>
                  <a:pt x="3956876" y="7438138"/>
                </a:cubicBezTo>
                <a:cubicBezTo>
                  <a:pt x="3957942" y="7437074"/>
                  <a:pt x="3958874" y="7435742"/>
                  <a:pt x="3959539" y="7434011"/>
                </a:cubicBezTo>
                <a:cubicBezTo>
                  <a:pt x="3960205" y="7432414"/>
                  <a:pt x="3960603" y="7430551"/>
                  <a:pt x="3960603" y="7428554"/>
                </a:cubicBezTo>
                <a:cubicBezTo>
                  <a:pt x="3960603" y="7426690"/>
                  <a:pt x="3960205" y="7424960"/>
                  <a:pt x="3959539" y="7423362"/>
                </a:cubicBezTo>
                <a:cubicBezTo>
                  <a:pt x="3958874" y="7421765"/>
                  <a:pt x="3957942" y="7420434"/>
                  <a:pt x="3956876" y="7419236"/>
                </a:cubicBezTo>
                <a:cubicBezTo>
                  <a:pt x="3955811" y="7418171"/>
                  <a:pt x="3954481" y="7417239"/>
                  <a:pt x="3952883" y="7416573"/>
                </a:cubicBezTo>
                <a:cubicBezTo>
                  <a:pt x="3951413" y="7415908"/>
                  <a:pt x="3949816" y="7415641"/>
                  <a:pt x="3947819" y="7415641"/>
                </a:cubicBezTo>
                <a:close/>
                <a:moveTo>
                  <a:pt x="3730157" y="7415641"/>
                </a:moveTo>
                <a:cubicBezTo>
                  <a:pt x="3724300" y="7415641"/>
                  <a:pt x="3721769" y="7417505"/>
                  <a:pt x="3720169" y="7419236"/>
                </a:cubicBezTo>
                <a:cubicBezTo>
                  <a:pt x="3717640" y="7421898"/>
                  <a:pt x="3716577" y="7424694"/>
                  <a:pt x="3716577" y="7428687"/>
                </a:cubicBezTo>
                <a:cubicBezTo>
                  <a:pt x="3716577" y="7432814"/>
                  <a:pt x="3717640" y="7435609"/>
                  <a:pt x="3720169" y="7438138"/>
                </a:cubicBezTo>
                <a:cubicBezTo>
                  <a:pt x="3721769" y="7439869"/>
                  <a:pt x="3724300" y="7441732"/>
                  <a:pt x="3730157" y="7441732"/>
                </a:cubicBezTo>
                <a:cubicBezTo>
                  <a:pt x="3732286" y="7441732"/>
                  <a:pt x="3734020" y="7441333"/>
                  <a:pt x="3735484" y="7440535"/>
                </a:cubicBezTo>
                <a:cubicBezTo>
                  <a:pt x="3736948" y="7440002"/>
                  <a:pt x="3738279" y="7439203"/>
                  <a:pt x="3739210" y="7438138"/>
                </a:cubicBezTo>
                <a:cubicBezTo>
                  <a:pt x="3740274" y="7437074"/>
                  <a:pt x="3741207" y="7435742"/>
                  <a:pt x="3741874" y="7434011"/>
                </a:cubicBezTo>
                <a:cubicBezTo>
                  <a:pt x="3742538" y="7432414"/>
                  <a:pt x="3742937" y="7430551"/>
                  <a:pt x="3742937" y="7428554"/>
                </a:cubicBezTo>
                <a:cubicBezTo>
                  <a:pt x="3742937" y="7426690"/>
                  <a:pt x="3742538" y="7424960"/>
                  <a:pt x="3741874" y="7423362"/>
                </a:cubicBezTo>
                <a:cubicBezTo>
                  <a:pt x="3741207" y="7421765"/>
                  <a:pt x="3740274" y="7420434"/>
                  <a:pt x="3739210" y="7419236"/>
                </a:cubicBezTo>
                <a:cubicBezTo>
                  <a:pt x="3738144" y="7418171"/>
                  <a:pt x="3736815" y="7417239"/>
                  <a:pt x="3735217" y="7416573"/>
                </a:cubicBezTo>
                <a:cubicBezTo>
                  <a:pt x="3733751" y="7415908"/>
                  <a:pt x="3732154" y="7415641"/>
                  <a:pt x="3730157" y="7415641"/>
                </a:cubicBezTo>
                <a:close/>
                <a:moveTo>
                  <a:pt x="3512490" y="7415641"/>
                </a:moveTo>
                <a:cubicBezTo>
                  <a:pt x="3506630" y="7415641"/>
                  <a:pt x="3504101" y="7417505"/>
                  <a:pt x="3502502" y="7419236"/>
                </a:cubicBezTo>
                <a:cubicBezTo>
                  <a:pt x="3499971" y="7421898"/>
                  <a:pt x="3498909" y="7424694"/>
                  <a:pt x="3498909" y="7428687"/>
                </a:cubicBezTo>
                <a:cubicBezTo>
                  <a:pt x="3498909" y="7432814"/>
                  <a:pt x="3499971" y="7435609"/>
                  <a:pt x="3502502" y="7438138"/>
                </a:cubicBezTo>
                <a:cubicBezTo>
                  <a:pt x="3504101" y="7439869"/>
                  <a:pt x="3506630" y="7441732"/>
                  <a:pt x="3512490" y="7441732"/>
                </a:cubicBezTo>
                <a:cubicBezTo>
                  <a:pt x="3514622" y="7441732"/>
                  <a:pt x="3516353" y="7441333"/>
                  <a:pt x="3517817" y="7440535"/>
                </a:cubicBezTo>
                <a:cubicBezTo>
                  <a:pt x="3519281" y="7440002"/>
                  <a:pt x="3520613" y="7439203"/>
                  <a:pt x="3521545" y="7438138"/>
                </a:cubicBezTo>
                <a:cubicBezTo>
                  <a:pt x="3522609" y="7437074"/>
                  <a:pt x="3523541" y="7435742"/>
                  <a:pt x="3524207" y="7434011"/>
                </a:cubicBezTo>
                <a:cubicBezTo>
                  <a:pt x="3524873" y="7432414"/>
                  <a:pt x="3525272" y="7430551"/>
                  <a:pt x="3525272" y="7428554"/>
                </a:cubicBezTo>
                <a:cubicBezTo>
                  <a:pt x="3525272" y="7426690"/>
                  <a:pt x="3524873" y="7424960"/>
                  <a:pt x="3524207" y="7423362"/>
                </a:cubicBezTo>
                <a:cubicBezTo>
                  <a:pt x="3523541" y="7421765"/>
                  <a:pt x="3522609" y="7420434"/>
                  <a:pt x="3521545" y="7419236"/>
                </a:cubicBezTo>
                <a:cubicBezTo>
                  <a:pt x="3520479" y="7418171"/>
                  <a:pt x="3519148" y="7417239"/>
                  <a:pt x="3517552" y="7416573"/>
                </a:cubicBezTo>
                <a:cubicBezTo>
                  <a:pt x="3516088" y="7415908"/>
                  <a:pt x="3514490" y="7415641"/>
                  <a:pt x="3512490" y="7415641"/>
                </a:cubicBezTo>
                <a:close/>
                <a:moveTo>
                  <a:pt x="3294959" y="7415641"/>
                </a:moveTo>
                <a:cubicBezTo>
                  <a:pt x="3289098" y="7415641"/>
                  <a:pt x="3286569" y="7417505"/>
                  <a:pt x="3284972" y="7419236"/>
                </a:cubicBezTo>
                <a:cubicBezTo>
                  <a:pt x="3282441" y="7421898"/>
                  <a:pt x="3281378" y="7424694"/>
                  <a:pt x="3281378" y="7428687"/>
                </a:cubicBezTo>
                <a:cubicBezTo>
                  <a:pt x="3281378" y="7432814"/>
                  <a:pt x="3282441" y="7435609"/>
                  <a:pt x="3284972" y="7438138"/>
                </a:cubicBezTo>
                <a:cubicBezTo>
                  <a:pt x="3286569" y="7439869"/>
                  <a:pt x="3289098" y="7441732"/>
                  <a:pt x="3294959" y="7441732"/>
                </a:cubicBezTo>
                <a:cubicBezTo>
                  <a:pt x="3296957" y="7441732"/>
                  <a:pt x="3298685" y="7441333"/>
                  <a:pt x="3300283" y="7440535"/>
                </a:cubicBezTo>
                <a:cubicBezTo>
                  <a:pt x="3301749" y="7440002"/>
                  <a:pt x="3303080" y="7439203"/>
                  <a:pt x="3304011" y="7438138"/>
                </a:cubicBezTo>
                <a:cubicBezTo>
                  <a:pt x="3305076" y="7437074"/>
                  <a:pt x="3306008" y="7435742"/>
                  <a:pt x="3306674" y="7434011"/>
                </a:cubicBezTo>
                <a:cubicBezTo>
                  <a:pt x="3307339" y="7432414"/>
                  <a:pt x="3307739" y="7430551"/>
                  <a:pt x="3307739" y="7428554"/>
                </a:cubicBezTo>
                <a:cubicBezTo>
                  <a:pt x="3307739" y="7426690"/>
                  <a:pt x="3307339" y="7424960"/>
                  <a:pt x="3306674" y="7423362"/>
                </a:cubicBezTo>
                <a:cubicBezTo>
                  <a:pt x="3306008" y="7421765"/>
                  <a:pt x="3305076" y="7420434"/>
                  <a:pt x="3304011" y="7419236"/>
                </a:cubicBezTo>
                <a:cubicBezTo>
                  <a:pt x="3302946" y="7418171"/>
                  <a:pt x="3301615" y="7417239"/>
                  <a:pt x="3300018" y="7416573"/>
                </a:cubicBezTo>
                <a:cubicBezTo>
                  <a:pt x="3298554" y="7415908"/>
                  <a:pt x="3296957" y="7415641"/>
                  <a:pt x="3294959" y="7415641"/>
                </a:cubicBezTo>
                <a:close/>
                <a:moveTo>
                  <a:pt x="3077427" y="7415641"/>
                </a:moveTo>
                <a:cubicBezTo>
                  <a:pt x="3071568" y="7415641"/>
                  <a:pt x="3069039" y="7417505"/>
                  <a:pt x="3067441" y="7419236"/>
                </a:cubicBezTo>
                <a:cubicBezTo>
                  <a:pt x="3064775" y="7421898"/>
                  <a:pt x="3063711" y="7424694"/>
                  <a:pt x="3063711" y="7428687"/>
                </a:cubicBezTo>
                <a:cubicBezTo>
                  <a:pt x="3063711" y="7432814"/>
                  <a:pt x="3064775" y="7435609"/>
                  <a:pt x="3067306" y="7438138"/>
                </a:cubicBezTo>
                <a:cubicBezTo>
                  <a:pt x="3068906" y="7439869"/>
                  <a:pt x="3071436" y="7441732"/>
                  <a:pt x="3077293" y="7441732"/>
                </a:cubicBezTo>
                <a:cubicBezTo>
                  <a:pt x="3079291" y="7441732"/>
                  <a:pt x="3081020" y="7441333"/>
                  <a:pt x="3082752" y="7440535"/>
                </a:cubicBezTo>
                <a:cubicBezTo>
                  <a:pt x="3084217" y="7440002"/>
                  <a:pt x="3085548" y="7439203"/>
                  <a:pt x="3086479" y="7438138"/>
                </a:cubicBezTo>
                <a:cubicBezTo>
                  <a:pt x="3087544" y="7437074"/>
                  <a:pt x="3088476" y="7435742"/>
                  <a:pt x="3089142" y="7434011"/>
                </a:cubicBezTo>
                <a:cubicBezTo>
                  <a:pt x="3089806" y="7432414"/>
                  <a:pt x="3090073" y="7430551"/>
                  <a:pt x="3090073" y="7428554"/>
                </a:cubicBezTo>
                <a:cubicBezTo>
                  <a:pt x="3090073" y="7426690"/>
                  <a:pt x="3089806" y="7424960"/>
                  <a:pt x="3089142" y="7423362"/>
                </a:cubicBezTo>
                <a:cubicBezTo>
                  <a:pt x="3088476" y="7421765"/>
                  <a:pt x="3087544" y="7420434"/>
                  <a:pt x="3086479" y="7419236"/>
                </a:cubicBezTo>
                <a:cubicBezTo>
                  <a:pt x="3085414" y="7418171"/>
                  <a:pt x="3084084" y="7417239"/>
                  <a:pt x="3082484" y="7416573"/>
                </a:cubicBezTo>
                <a:cubicBezTo>
                  <a:pt x="3081020" y="7415908"/>
                  <a:pt x="3079423" y="7415641"/>
                  <a:pt x="3077427" y="7415641"/>
                </a:cubicBezTo>
                <a:close/>
                <a:moveTo>
                  <a:pt x="2859628" y="7415641"/>
                </a:moveTo>
                <a:cubicBezTo>
                  <a:pt x="2853770" y="7415641"/>
                  <a:pt x="2851241" y="7417505"/>
                  <a:pt x="2849644" y="7419236"/>
                </a:cubicBezTo>
                <a:cubicBezTo>
                  <a:pt x="2847106" y="7421898"/>
                  <a:pt x="2846043" y="7424694"/>
                  <a:pt x="2846043" y="7428687"/>
                </a:cubicBezTo>
                <a:cubicBezTo>
                  <a:pt x="2846043" y="7432814"/>
                  <a:pt x="2847106" y="7435609"/>
                  <a:pt x="2849644" y="7438138"/>
                </a:cubicBezTo>
                <a:cubicBezTo>
                  <a:pt x="2851241" y="7439869"/>
                  <a:pt x="2853770" y="7441732"/>
                  <a:pt x="2859628" y="7441732"/>
                </a:cubicBezTo>
                <a:cubicBezTo>
                  <a:pt x="2861624" y="7441732"/>
                  <a:pt x="2863489" y="7441333"/>
                  <a:pt x="2864953" y="7440535"/>
                </a:cubicBezTo>
                <a:cubicBezTo>
                  <a:pt x="2866550" y="7440002"/>
                  <a:pt x="2867748" y="7439203"/>
                  <a:pt x="2868679" y="7438138"/>
                </a:cubicBezTo>
                <a:cubicBezTo>
                  <a:pt x="2869744" y="7437074"/>
                  <a:pt x="2870676" y="7435742"/>
                  <a:pt x="2871343" y="7434011"/>
                </a:cubicBezTo>
                <a:cubicBezTo>
                  <a:pt x="2871875" y="7432414"/>
                  <a:pt x="2872274" y="7430551"/>
                  <a:pt x="2872274" y="7428554"/>
                </a:cubicBezTo>
                <a:cubicBezTo>
                  <a:pt x="2872274" y="7426690"/>
                  <a:pt x="2872008" y="7424960"/>
                  <a:pt x="2871343" y="7423362"/>
                </a:cubicBezTo>
                <a:cubicBezTo>
                  <a:pt x="2870676" y="7421765"/>
                  <a:pt x="2869744" y="7420434"/>
                  <a:pt x="2868679" y="7419236"/>
                </a:cubicBezTo>
                <a:cubicBezTo>
                  <a:pt x="2867615" y="7418171"/>
                  <a:pt x="2866283" y="7417239"/>
                  <a:pt x="2864687" y="7416573"/>
                </a:cubicBezTo>
                <a:cubicBezTo>
                  <a:pt x="2863222" y="7415908"/>
                  <a:pt x="2861624" y="7415641"/>
                  <a:pt x="2859628" y="7415641"/>
                </a:cubicBezTo>
                <a:close/>
                <a:moveTo>
                  <a:pt x="2641962" y="7415641"/>
                </a:moveTo>
                <a:cubicBezTo>
                  <a:pt x="2636103" y="7415641"/>
                  <a:pt x="2633575" y="7417505"/>
                  <a:pt x="2631978" y="7419236"/>
                </a:cubicBezTo>
                <a:cubicBezTo>
                  <a:pt x="2629447" y="7421898"/>
                  <a:pt x="2628383" y="7424694"/>
                  <a:pt x="2628383" y="7428687"/>
                </a:cubicBezTo>
                <a:cubicBezTo>
                  <a:pt x="2628383" y="7432814"/>
                  <a:pt x="2629447" y="7435609"/>
                  <a:pt x="2631978" y="7438138"/>
                </a:cubicBezTo>
                <a:cubicBezTo>
                  <a:pt x="2633575" y="7439869"/>
                  <a:pt x="2636103" y="7441732"/>
                  <a:pt x="2641962" y="7441732"/>
                </a:cubicBezTo>
                <a:cubicBezTo>
                  <a:pt x="2643958" y="7441732"/>
                  <a:pt x="2645823" y="7441333"/>
                  <a:pt x="2647287" y="7440535"/>
                </a:cubicBezTo>
                <a:cubicBezTo>
                  <a:pt x="2648885" y="7440002"/>
                  <a:pt x="2650081" y="7439203"/>
                  <a:pt x="2651014" y="7438138"/>
                </a:cubicBezTo>
                <a:cubicBezTo>
                  <a:pt x="2652079" y="7437074"/>
                  <a:pt x="2653010" y="7435742"/>
                  <a:pt x="2653677" y="7434011"/>
                </a:cubicBezTo>
                <a:cubicBezTo>
                  <a:pt x="2654209" y="7432414"/>
                  <a:pt x="2654608" y="7430551"/>
                  <a:pt x="2654608" y="7428554"/>
                </a:cubicBezTo>
                <a:cubicBezTo>
                  <a:pt x="2654608" y="7426690"/>
                  <a:pt x="2654342" y="7424960"/>
                  <a:pt x="2653677" y="7423362"/>
                </a:cubicBezTo>
                <a:cubicBezTo>
                  <a:pt x="2653010" y="7421765"/>
                  <a:pt x="2652079" y="7420434"/>
                  <a:pt x="2651014" y="7419236"/>
                </a:cubicBezTo>
                <a:cubicBezTo>
                  <a:pt x="2649948" y="7418171"/>
                  <a:pt x="2648617" y="7417239"/>
                  <a:pt x="2647020" y="7416573"/>
                </a:cubicBezTo>
                <a:cubicBezTo>
                  <a:pt x="2645555" y="7415908"/>
                  <a:pt x="2643958" y="7415641"/>
                  <a:pt x="2641962" y="7415641"/>
                </a:cubicBezTo>
                <a:close/>
                <a:moveTo>
                  <a:pt x="2424294" y="7415641"/>
                </a:moveTo>
                <a:cubicBezTo>
                  <a:pt x="2418438" y="7415641"/>
                  <a:pt x="2415908" y="7417505"/>
                  <a:pt x="2414312" y="7419236"/>
                </a:cubicBezTo>
                <a:cubicBezTo>
                  <a:pt x="2411782" y="7421898"/>
                  <a:pt x="2410717" y="7424694"/>
                  <a:pt x="2410717" y="7428687"/>
                </a:cubicBezTo>
                <a:cubicBezTo>
                  <a:pt x="2410717" y="7432814"/>
                  <a:pt x="2411782" y="7435609"/>
                  <a:pt x="2414312" y="7438138"/>
                </a:cubicBezTo>
                <a:cubicBezTo>
                  <a:pt x="2415908" y="7439869"/>
                  <a:pt x="2418438" y="7441732"/>
                  <a:pt x="2424294" y="7441732"/>
                </a:cubicBezTo>
                <a:cubicBezTo>
                  <a:pt x="2426425" y="7441732"/>
                  <a:pt x="2428156" y="7441333"/>
                  <a:pt x="2429620" y="7440535"/>
                </a:cubicBezTo>
                <a:cubicBezTo>
                  <a:pt x="2431218" y="7440002"/>
                  <a:pt x="2432416" y="7439203"/>
                  <a:pt x="2433348" y="7438138"/>
                </a:cubicBezTo>
                <a:cubicBezTo>
                  <a:pt x="2434412" y="7437074"/>
                  <a:pt x="2435344" y="7435742"/>
                  <a:pt x="2436011" y="7434011"/>
                </a:cubicBezTo>
                <a:cubicBezTo>
                  <a:pt x="2436541" y="7432414"/>
                  <a:pt x="2436942" y="7430551"/>
                  <a:pt x="2436942" y="7428554"/>
                </a:cubicBezTo>
                <a:cubicBezTo>
                  <a:pt x="2436942" y="7426690"/>
                  <a:pt x="2436675" y="7424960"/>
                  <a:pt x="2436011" y="7423362"/>
                </a:cubicBezTo>
                <a:cubicBezTo>
                  <a:pt x="2435344" y="7421765"/>
                  <a:pt x="2434412" y="7420434"/>
                  <a:pt x="2433348" y="7419236"/>
                </a:cubicBezTo>
                <a:cubicBezTo>
                  <a:pt x="2432283" y="7418171"/>
                  <a:pt x="2430951" y="7417239"/>
                  <a:pt x="2429355" y="7416573"/>
                </a:cubicBezTo>
                <a:cubicBezTo>
                  <a:pt x="2427891" y="7415908"/>
                  <a:pt x="2426292" y="7415641"/>
                  <a:pt x="2424294" y="7415641"/>
                </a:cubicBezTo>
                <a:close/>
                <a:moveTo>
                  <a:pt x="2206629" y="7415641"/>
                </a:moveTo>
                <a:cubicBezTo>
                  <a:pt x="2200772" y="7415641"/>
                  <a:pt x="2198244" y="7417505"/>
                  <a:pt x="2196646" y="7419236"/>
                </a:cubicBezTo>
                <a:cubicBezTo>
                  <a:pt x="2194115" y="7421898"/>
                  <a:pt x="2193052" y="7424694"/>
                  <a:pt x="2193052" y="7428687"/>
                </a:cubicBezTo>
                <a:cubicBezTo>
                  <a:pt x="2193052" y="7432814"/>
                  <a:pt x="2194115" y="7435609"/>
                  <a:pt x="2196646" y="7438138"/>
                </a:cubicBezTo>
                <a:cubicBezTo>
                  <a:pt x="2198244" y="7439869"/>
                  <a:pt x="2200772" y="7441732"/>
                  <a:pt x="2206629" y="7441732"/>
                </a:cubicBezTo>
                <a:cubicBezTo>
                  <a:pt x="2208759" y="7441732"/>
                  <a:pt x="2210490" y="7441333"/>
                  <a:pt x="2211955" y="7440535"/>
                </a:cubicBezTo>
                <a:cubicBezTo>
                  <a:pt x="2213551" y="7440002"/>
                  <a:pt x="2214750" y="7439203"/>
                  <a:pt x="2215681" y="7438138"/>
                </a:cubicBezTo>
                <a:cubicBezTo>
                  <a:pt x="2216746" y="7437074"/>
                  <a:pt x="2217679" y="7435742"/>
                  <a:pt x="2218344" y="7434011"/>
                </a:cubicBezTo>
                <a:cubicBezTo>
                  <a:pt x="2218876" y="7432414"/>
                  <a:pt x="2219275" y="7430551"/>
                  <a:pt x="2219275" y="7428554"/>
                </a:cubicBezTo>
                <a:cubicBezTo>
                  <a:pt x="2219275" y="7426690"/>
                  <a:pt x="2219009" y="7424960"/>
                  <a:pt x="2218344" y="7423362"/>
                </a:cubicBezTo>
                <a:cubicBezTo>
                  <a:pt x="2217679" y="7421765"/>
                  <a:pt x="2216746" y="7420434"/>
                  <a:pt x="2215681" y="7419236"/>
                </a:cubicBezTo>
                <a:cubicBezTo>
                  <a:pt x="2214616" y="7418171"/>
                  <a:pt x="2213285" y="7417239"/>
                  <a:pt x="2211687" y="7416573"/>
                </a:cubicBezTo>
                <a:cubicBezTo>
                  <a:pt x="2210223" y="7415908"/>
                  <a:pt x="2208624" y="7415641"/>
                  <a:pt x="2206629" y="7415641"/>
                </a:cubicBezTo>
                <a:close/>
                <a:moveTo>
                  <a:pt x="1989097" y="7415641"/>
                </a:moveTo>
                <a:cubicBezTo>
                  <a:pt x="1983240" y="7415641"/>
                  <a:pt x="1980711" y="7417505"/>
                  <a:pt x="1979114" y="7419236"/>
                </a:cubicBezTo>
                <a:cubicBezTo>
                  <a:pt x="1976584" y="7421898"/>
                  <a:pt x="1975520" y="7424694"/>
                  <a:pt x="1975520" y="7428687"/>
                </a:cubicBezTo>
                <a:cubicBezTo>
                  <a:pt x="1975520" y="7432814"/>
                  <a:pt x="1976584" y="7435609"/>
                  <a:pt x="1979114" y="7438138"/>
                </a:cubicBezTo>
                <a:cubicBezTo>
                  <a:pt x="1980711" y="7439869"/>
                  <a:pt x="1983240" y="7441732"/>
                  <a:pt x="1989097" y="7441732"/>
                </a:cubicBezTo>
                <a:cubicBezTo>
                  <a:pt x="1991095" y="7441732"/>
                  <a:pt x="1992825" y="7441333"/>
                  <a:pt x="1994422" y="7440535"/>
                </a:cubicBezTo>
                <a:cubicBezTo>
                  <a:pt x="1996020" y="7440002"/>
                  <a:pt x="1997218" y="7439203"/>
                  <a:pt x="1998149" y="7438138"/>
                </a:cubicBezTo>
                <a:cubicBezTo>
                  <a:pt x="1999214" y="7437074"/>
                  <a:pt x="2000147" y="7435742"/>
                  <a:pt x="2000811" y="7434011"/>
                </a:cubicBezTo>
                <a:cubicBezTo>
                  <a:pt x="2001344" y="7432414"/>
                  <a:pt x="2001741" y="7430551"/>
                  <a:pt x="2001741" y="7428554"/>
                </a:cubicBezTo>
                <a:cubicBezTo>
                  <a:pt x="2001741" y="7426690"/>
                  <a:pt x="2001477" y="7424960"/>
                  <a:pt x="2000811" y="7423362"/>
                </a:cubicBezTo>
                <a:cubicBezTo>
                  <a:pt x="2000147" y="7421765"/>
                  <a:pt x="1999214" y="7420434"/>
                  <a:pt x="1998149" y="7419236"/>
                </a:cubicBezTo>
                <a:cubicBezTo>
                  <a:pt x="1997085" y="7418171"/>
                  <a:pt x="1995754" y="7417239"/>
                  <a:pt x="1994156" y="7416573"/>
                </a:cubicBezTo>
                <a:cubicBezTo>
                  <a:pt x="1992692" y="7415908"/>
                  <a:pt x="1991095" y="7415641"/>
                  <a:pt x="1989097" y="7415641"/>
                </a:cubicBezTo>
                <a:close/>
                <a:moveTo>
                  <a:pt x="1771467" y="7415641"/>
                </a:moveTo>
                <a:cubicBezTo>
                  <a:pt x="1765610" y="7415641"/>
                  <a:pt x="1763081" y="7417505"/>
                  <a:pt x="1761486" y="7419236"/>
                </a:cubicBezTo>
                <a:cubicBezTo>
                  <a:pt x="1758955" y="7421898"/>
                  <a:pt x="1757891" y="7424694"/>
                  <a:pt x="1757891" y="7428687"/>
                </a:cubicBezTo>
                <a:cubicBezTo>
                  <a:pt x="1757891" y="7432814"/>
                  <a:pt x="1758955" y="7435609"/>
                  <a:pt x="1761486" y="7438138"/>
                </a:cubicBezTo>
                <a:cubicBezTo>
                  <a:pt x="1763081" y="7439869"/>
                  <a:pt x="1765610" y="7441732"/>
                  <a:pt x="1771467" y="7441732"/>
                </a:cubicBezTo>
                <a:cubicBezTo>
                  <a:pt x="1773464" y="7441732"/>
                  <a:pt x="1775327" y="7441333"/>
                  <a:pt x="1776790" y="7440535"/>
                </a:cubicBezTo>
                <a:cubicBezTo>
                  <a:pt x="1778254" y="7440002"/>
                  <a:pt x="1779585" y="7439203"/>
                  <a:pt x="1780517" y="7438138"/>
                </a:cubicBezTo>
                <a:cubicBezTo>
                  <a:pt x="1781582" y="7437074"/>
                  <a:pt x="1782514" y="7435742"/>
                  <a:pt x="1783180" y="7434011"/>
                </a:cubicBezTo>
                <a:cubicBezTo>
                  <a:pt x="1783846" y="7432414"/>
                  <a:pt x="1784245" y="7430551"/>
                  <a:pt x="1784245" y="7428554"/>
                </a:cubicBezTo>
                <a:cubicBezTo>
                  <a:pt x="1784245" y="7426690"/>
                  <a:pt x="1783846" y="7424960"/>
                  <a:pt x="1783180" y="7423362"/>
                </a:cubicBezTo>
                <a:cubicBezTo>
                  <a:pt x="1782514" y="7421765"/>
                  <a:pt x="1781582" y="7420434"/>
                  <a:pt x="1780517" y="7419236"/>
                </a:cubicBezTo>
                <a:cubicBezTo>
                  <a:pt x="1779452" y="7418171"/>
                  <a:pt x="1778122" y="7417239"/>
                  <a:pt x="1776525" y="7416573"/>
                </a:cubicBezTo>
                <a:cubicBezTo>
                  <a:pt x="1775061" y="7415908"/>
                  <a:pt x="1773464" y="7415641"/>
                  <a:pt x="1771467" y="7415641"/>
                </a:cubicBezTo>
                <a:close/>
                <a:moveTo>
                  <a:pt x="1553833" y="7415641"/>
                </a:moveTo>
                <a:cubicBezTo>
                  <a:pt x="1547975" y="7415641"/>
                  <a:pt x="1545446" y="7417505"/>
                  <a:pt x="1543850" y="7419236"/>
                </a:cubicBezTo>
                <a:cubicBezTo>
                  <a:pt x="1541319" y="7421898"/>
                  <a:pt x="1540255" y="7424694"/>
                  <a:pt x="1540255" y="7428687"/>
                </a:cubicBezTo>
                <a:cubicBezTo>
                  <a:pt x="1540255" y="7432814"/>
                  <a:pt x="1541319" y="7435609"/>
                  <a:pt x="1543850" y="7438138"/>
                </a:cubicBezTo>
                <a:cubicBezTo>
                  <a:pt x="1545446" y="7439869"/>
                  <a:pt x="1547975" y="7441732"/>
                  <a:pt x="1553833" y="7441732"/>
                </a:cubicBezTo>
                <a:cubicBezTo>
                  <a:pt x="1555829" y="7441732"/>
                  <a:pt x="1557693" y="7441333"/>
                  <a:pt x="1559157" y="7440535"/>
                </a:cubicBezTo>
                <a:cubicBezTo>
                  <a:pt x="1560622" y="7440002"/>
                  <a:pt x="1561953" y="7439203"/>
                  <a:pt x="1562884" y="7438138"/>
                </a:cubicBezTo>
                <a:cubicBezTo>
                  <a:pt x="1563949" y="7437074"/>
                  <a:pt x="1564881" y="7435742"/>
                  <a:pt x="1565547" y="7434011"/>
                </a:cubicBezTo>
                <a:cubicBezTo>
                  <a:pt x="1566212" y="7432414"/>
                  <a:pt x="1566612" y="7430551"/>
                  <a:pt x="1566612" y="7428554"/>
                </a:cubicBezTo>
                <a:cubicBezTo>
                  <a:pt x="1566612" y="7426690"/>
                  <a:pt x="1566212" y="7424960"/>
                  <a:pt x="1565547" y="7423362"/>
                </a:cubicBezTo>
                <a:cubicBezTo>
                  <a:pt x="1564881" y="7421765"/>
                  <a:pt x="1563949" y="7420434"/>
                  <a:pt x="1562884" y="7419236"/>
                </a:cubicBezTo>
                <a:cubicBezTo>
                  <a:pt x="1561819" y="7418171"/>
                  <a:pt x="1560488" y="7417239"/>
                  <a:pt x="1558891" y="7416573"/>
                </a:cubicBezTo>
                <a:cubicBezTo>
                  <a:pt x="1557427" y="7415908"/>
                  <a:pt x="1555829" y="7415641"/>
                  <a:pt x="1553833" y="7415641"/>
                </a:cubicBezTo>
                <a:close/>
                <a:moveTo>
                  <a:pt x="1336190" y="7415641"/>
                </a:moveTo>
                <a:cubicBezTo>
                  <a:pt x="1330331" y="7415641"/>
                  <a:pt x="1327802" y="7417505"/>
                  <a:pt x="1326204" y="7419236"/>
                </a:cubicBezTo>
                <a:cubicBezTo>
                  <a:pt x="1323674" y="7421898"/>
                  <a:pt x="1322610" y="7424694"/>
                  <a:pt x="1322610" y="7428687"/>
                </a:cubicBezTo>
                <a:cubicBezTo>
                  <a:pt x="1322610" y="7432814"/>
                  <a:pt x="1323674" y="7435609"/>
                  <a:pt x="1326204" y="7438138"/>
                </a:cubicBezTo>
                <a:cubicBezTo>
                  <a:pt x="1327802" y="7439869"/>
                  <a:pt x="1330331" y="7441732"/>
                  <a:pt x="1336190" y="7441732"/>
                </a:cubicBezTo>
                <a:cubicBezTo>
                  <a:pt x="1338319" y="7441732"/>
                  <a:pt x="1340051" y="7441333"/>
                  <a:pt x="1341515" y="7440535"/>
                </a:cubicBezTo>
                <a:cubicBezTo>
                  <a:pt x="1342979" y="7440002"/>
                  <a:pt x="1344312" y="7439203"/>
                  <a:pt x="1345242" y="7438138"/>
                </a:cubicBezTo>
                <a:cubicBezTo>
                  <a:pt x="1346307" y="7437074"/>
                  <a:pt x="1347239" y="7435742"/>
                  <a:pt x="1347905" y="7434011"/>
                </a:cubicBezTo>
                <a:cubicBezTo>
                  <a:pt x="1348570" y="7432414"/>
                  <a:pt x="1348971" y="7430551"/>
                  <a:pt x="1348971" y="7428554"/>
                </a:cubicBezTo>
                <a:cubicBezTo>
                  <a:pt x="1348971" y="7426690"/>
                  <a:pt x="1348570" y="7424960"/>
                  <a:pt x="1347905" y="7423362"/>
                </a:cubicBezTo>
                <a:cubicBezTo>
                  <a:pt x="1347239" y="7421765"/>
                  <a:pt x="1346307" y="7420434"/>
                  <a:pt x="1345242" y="7419236"/>
                </a:cubicBezTo>
                <a:cubicBezTo>
                  <a:pt x="1344177" y="7418171"/>
                  <a:pt x="1342846" y="7417239"/>
                  <a:pt x="1341250" y="7416573"/>
                </a:cubicBezTo>
                <a:cubicBezTo>
                  <a:pt x="1339782" y="7415908"/>
                  <a:pt x="1338187" y="7415641"/>
                  <a:pt x="1336190" y="7415641"/>
                </a:cubicBezTo>
                <a:close/>
                <a:moveTo>
                  <a:pt x="1118675" y="7415641"/>
                </a:moveTo>
                <a:cubicBezTo>
                  <a:pt x="1112817" y="7415641"/>
                  <a:pt x="1110287" y="7417505"/>
                  <a:pt x="1108691" y="7419236"/>
                </a:cubicBezTo>
                <a:cubicBezTo>
                  <a:pt x="1106028" y="7421898"/>
                  <a:pt x="1104964" y="7424694"/>
                  <a:pt x="1104964" y="7428687"/>
                </a:cubicBezTo>
                <a:cubicBezTo>
                  <a:pt x="1104964" y="7432814"/>
                  <a:pt x="1106028" y="7435609"/>
                  <a:pt x="1108557" y="7438138"/>
                </a:cubicBezTo>
                <a:cubicBezTo>
                  <a:pt x="1110154" y="7439869"/>
                  <a:pt x="1112684" y="7441732"/>
                  <a:pt x="1118543" y="7441732"/>
                </a:cubicBezTo>
                <a:cubicBezTo>
                  <a:pt x="1120674" y="7441732"/>
                  <a:pt x="1122403" y="7441333"/>
                  <a:pt x="1124001" y="7440535"/>
                </a:cubicBezTo>
                <a:cubicBezTo>
                  <a:pt x="1125464" y="7440002"/>
                  <a:pt x="1126799" y="7439203"/>
                  <a:pt x="1127732" y="7438138"/>
                </a:cubicBezTo>
                <a:cubicBezTo>
                  <a:pt x="1128797" y="7437074"/>
                  <a:pt x="1129729" y="7435742"/>
                  <a:pt x="1130395" y="7434011"/>
                </a:cubicBezTo>
                <a:cubicBezTo>
                  <a:pt x="1131059" y="7432414"/>
                  <a:pt x="1131460" y="7430551"/>
                  <a:pt x="1131460" y="7428554"/>
                </a:cubicBezTo>
                <a:cubicBezTo>
                  <a:pt x="1131460" y="7426690"/>
                  <a:pt x="1131059" y="7424960"/>
                  <a:pt x="1130395" y="7423362"/>
                </a:cubicBezTo>
                <a:cubicBezTo>
                  <a:pt x="1129729" y="7421765"/>
                  <a:pt x="1128797" y="7420434"/>
                  <a:pt x="1127732" y="7419236"/>
                </a:cubicBezTo>
                <a:cubicBezTo>
                  <a:pt x="1126665" y="7418171"/>
                  <a:pt x="1125333" y="7417239"/>
                  <a:pt x="1123734" y="7416573"/>
                </a:cubicBezTo>
                <a:cubicBezTo>
                  <a:pt x="1122271" y="7415908"/>
                  <a:pt x="1120674" y="7415641"/>
                  <a:pt x="1118675" y="7415641"/>
                </a:cubicBezTo>
                <a:close/>
                <a:moveTo>
                  <a:pt x="901164" y="7415641"/>
                </a:moveTo>
                <a:cubicBezTo>
                  <a:pt x="895306" y="7415641"/>
                  <a:pt x="892777" y="7417505"/>
                  <a:pt x="891180" y="7419236"/>
                </a:cubicBezTo>
                <a:cubicBezTo>
                  <a:pt x="888516" y="7421898"/>
                  <a:pt x="887452" y="7424694"/>
                  <a:pt x="887452" y="7428687"/>
                </a:cubicBezTo>
                <a:cubicBezTo>
                  <a:pt x="887452" y="7432814"/>
                  <a:pt x="888516" y="7435609"/>
                  <a:pt x="891047" y="7438138"/>
                </a:cubicBezTo>
                <a:cubicBezTo>
                  <a:pt x="892644" y="7439869"/>
                  <a:pt x="895172" y="7441732"/>
                  <a:pt x="901029" y="7441732"/>
                </a:cubicBezTo>
                <a:cubicBezTo>
                  <a:pt x="903027" y="7441732"/>
                  <a:pt x="904758" y="7441333"/>
                  <a:pt x="906488" y="7440535"/>
                </a:cubicBezTo>
                <a:cubicBezTo>
                  <a:pt x="907952" y="7440002"/>
                  <a:pt x="909284" y="7439203"/>
                  <a:pt x="910216" y="7438138"/>
                </a:cubicBezTo>
                <a:cubicBezTo>
                  <a:pt x="911280" y="7437074"/>
                  <a:pt x="912212" y="7435742"/>
                  <a:pt x="912878" y="7434011"/>
                </a:cubicBezTo>
                <a:cubicBezTo>
                  <a:pt x="913543" y="7432414"/>
                  <a:pt x="913943" y="7430551"/>
                  <a:pt x="913943" y="7428554"/>
                </a:cubicBezTo>
                <a:cubicBezTo>
                  <a:pt x="913943" y="7426690"/>
                  <a:pt x="913543" y="7424960"/>
                  <a:pt x="912878" y="7423362"/>
                </a:cubicBezTo>
                <a:cubicBezTo>
                  <a:pt x="912212" y="7421765"/>
                  <a:pt x="911280" y="7420434"/>
                  <a:pt x="910216" y="7419236"/>
                </a:cubicBezTo>
                <a:cubicBezTo>
                  <a:pt x="909151" y="7418171"/>
                  <a:pt x="907819" y="7417239"/>
                  <a:pt x="906222" y="7416573"/>
                </a:cubicBezTo>
                <a:cubicBezTo>
                  <a:pt x="904758" y="7415908"/>
                  <a:pt x="903160" y="7415641"/>
                  <a:pt x="901164" y="7415641"/>
                </a:cubicBezTo>
                <a:close/>
                <a:moveTo>
                  <a:pt x="683390" y="7415641"/>
                </a:moveTo>
                <a:cubicBezTo>
                  <a:pt x="677534" y="7415641"/>
                  <a:pt x="675005" y="7417505"/>
                  <a:pt x="673407" y="7419236"/>
                </a:cubicBezTo>
                <a:cubicBezTo>
                  <a:pt x="670878" y="7421898"/>
                  <a:pt x="669814" y="7424694"/>
                  <a:pt x="669814" y="7428687"/>
                </a:cubicBezTo>
                <a:cubicBezTo>
                  <a:pt x="669814" y="7432814"/>
                  <a:pt x="670878" y="7435609"/>
                  <a:pt x="673407" y="7438138"/>
                </a:cubicBezTo>
                <a:cubicBezTo>
                  <a:pt x="675005" y="7439869"/>
                  <a:pt x="677534" y="7441732"/>
                  <a:pt x="683390" y="7441732"/>
                </a:cubicBezTo>
                <a:cubicBezTo>
                  <a:pt x="685388" y="7441732"/>
                  <a:pt x="687252" y="7441333"/>
                  <a:pt x="688716" y="7440535"/>
                </a:cubicBezTo>
                <a:cubicBezTo>
                  <a:pt x="690180" y="7440002"/>
                  <a:pt x="691512" y="7439203"/>
                  <a:pt x="692443" y="7438138"/>
                </a:cubicBezTo>
                <a:cubicBezTo>
                  <a:pt x="693508" y="7437074"/>
                  <a:pt x="694440" y="7435742"/>
                  <a:pt x="695106" y="7434011"/>
                </a:cubicBezTo>
                <a:cubicBezTo>
                  <a:pt x="695771" y="7432414"/>
                  <a:pt x="696171" y="7430551"/>
                  <a:pt x="696171" y="7428554"/>
                </a:cubicBezTo>
                <a:cubicBezTo>
                  <a:pt x="696171" y="7426690"/>
                  <a:pt x="695771" y="7424960"/>
                  <a:pt x="695106" y="7423362"/>
                </a:cubicBezTo>
                <a:cubicBezTo>
                  <a:pt x="694440" y="7421765"/>
                  <a:pt x="693508" y="7420434"/>
                  <a:pt x="692443" y="7419236"/>
                </a:cubicBezTo>
                <a:cubicBezTo>
                  <a:pt x="691378" y="7418171"/>
                  <a:pt x="690047" y="7417239"/>
                  <a:pt x="688450" y="7416573"/>
                </a:cubicBezTo>
                <a:cubicBezTo>
                  <a:pt x="686986" y="7415908"/>
                  <a:pt x="685388" y="7415641"/>
                  <a:pt x="683390" y="7415641"/>
                </a:cubicBezTo>
                <a:close/>
                <a:moveTo>
                  <a:pt x="465751" y="7415641"/>
                </a:moveTo>
                <a:cubicBezTo>
                  <a:pt x="459893" y="7415641"/>
                  <a:pt x="457365" y="7417505"/>
                  <a:pt x="455767" y="7419236"/>
                </a:cubicBezTo>
                <a:cubicBezTo>
                  <a:pt x="453237" y="7421898"/>
                  <a:pt x="452173" y="7424694"/>
                  <a:pt x="452173" y="7428687"/>
                </a:cubicBezTo>
                <a:cubicBezTo>
                  <a:pt x="452173" y="7432814"/>
                  <a:pt x="453237" y="7435609"/>
                  <a:pt x="455767" y="7438138"/>
                </a:cubicBezTo>
                <a:cubicBezTo>
                  <a:pt x="457365" y="7439869"/>
                  <a:pt x="459893" y="7441732"/>
                  <a:pt x="465751" y="7441732"/>
                </a:cubicBezTo>
                <a:cubicBezTo>
                  <a:pt x="467748" y="7441732"/>
                  <a:pt x="469611" y="7441333"/>
                  <a:pt x="471076" y="7440535"/>
                </a:cubicBezTo>
                <a:cubicBezTo>
                  <a:pt x="472540" y="7440002"/>
                  <a:pt x="473871" y="7439203"/>
                  <a:pt x="474803" y="7438138"/>
                </a:cubicBezTo>
                <a:cubicBezTo>
                  <a:pt x="475868" y="7437074"/>
                  <a:pt x="476799" y="7435742"/>
                  <a:pt x="477466" y="7434011"/>
                </a:cubicBezTo>
                <a:cubicBezTo>
                  <a:pt x="478131" y="7432414"/>
                  <a:pt x="478531" y="7430551"/>
                  <a:pt x="478531" y="7428554"/>
                </a:cubicBezTo>
                <a:cubicBezTo>
                  <a:pt x="478531" y="7426690"/>
                  <a:pt x="478131" y="7424960"/>
                  <a:pt x="477466" y="7423362"/>
                </a:cubicBezTo>
                <a:cubicBezTo>
                  <a:pt x="476799" y="7421765"/>
                  <a:pt x="475868" y="7420434"/>
                  <a:pt x="474803" y="7419236"/>
                </a:cubicBezTo>
                <a:cubicBezTo>
                  <a:pt x="473738" y="7418171"/>
                  <a:pt x="472407" y="7417239"/>
                  <a:pt x="470810" y="7416573"/>
                </a:cubicBezTo>
                <a:cubicBezTo>
                  <a:pt x="469346" y="7415908"/>
                  <a:pt x="467748" y="7415641"/>
                  <a:pt x="465751" y="7415641"/>
                </a:cubicBezTo>
                <a:close/>
                <a:moveTo>
                  <a:pt x="248110" y="7415641"/>
                </a:moveTo>
                <a:cubicBezTo>
                  <a:pt x="242253" y="7415641"/>
                  <a:pt x="239725" y="7417505"/>
                  <a:pt x="238128" y="7419236"/>
                </a:cubicBezTo>
                <a:cubicBezTo>
                  <a:pt x="235598" y="7421898"/>
                  <a:pt x="234534" y="7424694"/>
                  <a:pt x="234534" y="7428687"/>
                </a:cubicBezTo>
                <a:cubicBezTo>
                  <a:pt x="234534" y="7432814"/>
                  <a:pt x="235598" y="7435609"/>
                  <a:pt x="238128" y="7438138"/>
                </a:cubicBezTo>
                <a:cubicBezTo>
                  <a:pt x="239725" y="7439869"/>
                  <a:pt x="242253" y="7441732"/>
                  <a:pt x="248110" y="7441732"/>
                </a:cubicBezTo>
                <a:cubicBezTo>
                  <a:pt x="250240" y="7441732"/>
                  <a:pt x="251970" y="7441333"/>
                  <a:pt x="253434" y="7440535"/>
                </a:cubicBezTo>
                <a:cubicBezTo>
                  <a:pt x="254898" y="7440002"/>
                  <a:pt x="256229" y="7439203"/>
                  <a:pt x="257161" y="7438138"/>
                </a:cubicBezTo>
                <a:cubicBezTo>
                  <a:pt x="258226" y="7437074"/>
                  <a:pt x="259158" y="7435742"/>
                  <a:pt x="259824" y="7434011"/>
                </a:cubicBezTo>
                <a:cubicBezTo>
                  <a:pt x="260489" y="7432414"/>
                  <a:pt x="260889" y="7430551"/>
                  <a:pt x="260889" y="7428554"/>
                </a:cubicBezTo>
                <a:cubicBezTo>
                  <a:pt x="260889" y="7426690"/>
                  <a:pt x="260489" y="7424960"/>
                  <a:pt x="259824" y="7423362"/>
                </a:cubicBezTo>
                <a:cubicBezTo>
                  <a:pt x="259158" y="7421765"/>
                  <a:pt x="258226" y="7420434"/>
                  <a:pt x="257161" y="7419236"/>
                </a:cubicBezTo>
                <a:cubicBezTo>
                  <a:pt x="256096" y="7418171"/>
                  <a:pt x="254766" y="7417239"/>
                  <a:pt x="253168" y="7416573"/>
                </a:cubicBezTo>
                <a:cubicBezTo>
                  <a:pt x="251703" y="7415908"/>
                  <a:pt x="250107" y="7415641"/>
                  <a:pt x="248110" y="7415641"/>
                </a:cubicBezTo>
                <a:close/>
                <a:moveTo>
                  <a:pt x="30469" y="7415641"/>
                </a:moveTo>
                <a:cubicBezTo>
                  <a:pt x="24612" y="7415641"/>
                  <a:pt x="22083" y="7417505"/>
                  <a:pt x="20486" y="7419236"/>
                </a:cubicBezTo>
                <a:cubicBezTo>
                  <a:pt x="17957" y="7421898"/>
                  <a:pt x="16893" y="7424694"/>
                  <a:pt x="16893" y="7428687"/>
                </a:cubicBezTo>
                <a:cubicBezTo>
                  <a:pt x="16893" y="7432814"/>
                  <a:pt x="17957" y="7435609"/>
                  <a:pt x="20486" y="7438138"/>
                </a:cubicBezTo>
                <a:cubicBezTo>
                  <a:pt x="22083" y="7439869"/>
                  <a:pt x="24612" y="7441732"/>
                  <a:pt x="30469" y="7441732"/>
                </a:cubicBezTo>
                <a:cubicBezTo>
                  <a:pt x="32599" y="7441732"/>
                  <a:pt x="34330" y="7441333"/>
                  <a:pt x="35794" y="7440535"/>
                </a:cubicBezTo>
                <a:cubicBezTo>
                  <a:pt x="37258" y="7440002"/>
                  <a:pt x="38590" y="7439203"/>
                  <a:pt x="39521" y="7438138"/>
                </a:cubicBezTo>
                <a:cubicBezTo>
                  <a:pt x="40586" y="7437074"/>
                  <a:pt x="41518" y="7435742"/>
                  <a:pt x="42184" y="7434011"/>
                </a:cubicBezTo>
                <a:cubicBezTo>
                  <a:pt x="42849" y="7432414"/>
                  <a:pt x="43115" y="7430551"/>
                  <a:pt x="43115" y="7428554"/>
                </a:cubicBezTo>
                <a:cubicBezTo>
                  <a:pt x="43115" y="7426690"/>
                  <a:pt x="42849" y="7424960"/>
                  <a:pt x="42184" y="7423362"/>
                </a:cubicBezTo>
                <a:cubicBezTo>
                  <a:pt x="41518" y="7421765"/>
                  <a:pt x="40586" y="7420434"/>
                  <a:pt x="39521" y="7419236"/>
                </a:cubicBezTo>
                <a:cubicBezTo>
                  <a:pt x="38456" y="7418171"/>
                  <a:pt x="37125" y="7417239"/>
                  <a:pt x="35528" y="7416573"/>
                </a:cubicBezTo>
                <a:cubicBezTo>
                  <a:pt x="34064" y="7415908"/>
                  <a:pt x="32466" y="7415641"/>
                  <a:pt x="30469" y="7415641"/>
                </a:cubicBezTo>
                <a:close/>
                <a:moveTo>
                  <a:pt x="10475977" y="7399134"/>
                </a:moveTo>
                <a:cubicBezTo>
                  <a:pt x="10480237" y="7399134"/>
                  <a:pt x="10484230" y="7399933"/>
                  <a:pt x="10487824" y="7401530"/>
                </a:cubicBezTo>
                <a:cubicBezTo>
                  <a:pt x="10491419" y="7402995"/>
                  <a:pt x="10494613" y="7405124"/>
                  <a:pt x="10497143" y="7407787"/>
                </a:cubicBezTo>
                <a:cubicBezTo>
                  <a:pt x="10499672" y="7410449"/>
                  <a:pt x="10501801" y="7413645"/>
                  <a:pt x="10503266" y="7417239"/>
                </a:cubicBezTo>
                <a:cubicBezTo>
                  <a:pt x="10504730" y="7420833"/>
                  <a:pt x="10505529" y="7424561"/>
                  <a:pt x="10505529" y="7428687"/>
                </a:cubicBezTo>
                <a:cubicBezTo>
                  <a:pt x="10505529" y="7432814"/>
                  <a:pt x="10504730" y="7436807"/>
                  <a:pt x="10503266" y="7440402"/>
                </a:cubicBezTo>
                <a:cubicBezTo>
                  <a:pt x="10501669" y="7444128"/>
                  <a:pt x="10499672" y="7447191"/>
                  <a:pt x="10497143" y="7449852"/>
                </a:cubicBezTo>
                <a:cubicBezTo>
                  <a:pt x="10494480" y="7452515"/>
                  <a:pt x="10491419" y="7454645"/>
                  <a:pt x="10487824" y="7456109"/>
                </a:cubicBezTo>
                <a:cubicBezTo>
                  <a:pt x="10484098" y="7457573"/>
                  <a:pt x="10480237" y="7458372"/>
                  <a:pt x="10475977" y="7458372"/>
                </a:cubicBezTo>
                <a:cubicBezTo>
                  <a:pt x="10466924" y="7458372"/>
                  <a:pt x="10459736" y="7455444"/>
                  <a:pt x="10454145" y="7449852"/>
                </a:cubicBezTo>
                <a:cubicBezTo>
                  <a:pt x="10448554" y="7444128"/>
                  <a:pt x="10445759" y="7437074"/>
                  <a:pt x="10445759" y="7428687"/>
                </a:cubicBezTo>
                <a:cubicBezTo>
                  <a:pt x="10445759" y="7420434"/>
                  <a:pt x="10448554" y="7413379"/>
                  <a:pt x="10454145" y="7407654"/>
                </a:cubicBezTo>
                <a:cubicBezTo>
                  <a:pt x="10459603" y="7401930"/>
                  <a:pt x="10466924" y="7399134"/>
                  <a:pt x="10475977" y="7399134"/>
                </a:cubicBezTo>
                <a:close/>
                <a:moveTo>
                  <a:pt x="10258466" y="7399134"/>
                </a:moveTo>
                <a:cubicBezTo>
                  <a:pt x="10262592" y="7399134"/>
                  <a:pt x="10266586" y="7399933"/>
                  <a:pt x="10270313" y="7401530"/>
                </a:cubicBezTo>
                <a:cubicBezTo>
                  <a:pt x="10273907" y="7402995"/>
                  <a:pt x="10277101" y="7405124"/>
                  <a:pt x="10279631" y="7407787"/>
                </a:cubicBezTo>
                <a:cubicBezTo>
                  <a:pt x="10282160" y="7410449"/>
                  <a:pt x="10284290" y="7413645"/>
                  <a:pt x="10285754" y="7417239"/>
                </a:cubicBezTo>
                <a:cubicBezTo>
                  <a:pt x="10287218" y="7420833"/>
                  <a:pt x="10288017" y="7424561"/>
                  <a:pt x="10288017" y="7428687"/>
                </a:cubicBezTo>
                <a:cubicBezTo>
                  <a:pt x="10288017" y="7432814"/>
                  <a:pt x="10287218" y="7436807"/>
                  <a:pt x="10285754" y="7440402"/>
                </a:cubicBezTo>
                <a:cubicBezTo>
                  <a:pt x="10284157" y="7444128"/>
                  <a:pt x="10282160" y="7447191"/>
                  <a:pt x="10279631" y="7449852"/>
                </a:cubicBezTo>
                <a:cubicBezTo>
                  <a:pt x="10276969" y="7452515"/>
                  <a:pt x="10273907" y="7454645"/>
                  <a:pt x="10270313" y="7456109"/>
                </a:cubicBezTo>
                <a:cubicBezTo>
                  <a:pt x="10266586" y="7457573"/>
                  <a:pt x="10262725" y="7458372"/>
                  <a:pt x="10258466" y="7458372"/>
                </a:cubicBezTo>
                <a:cubicBezTo>
                  <a:pt x="10249546" y="7458372"/>
                  <a:pt x="10242224" y="7455444"/>
                  <a:pt x="10236633" y="7449852"/>
                </a:cubicBezTo>
                <a:cubicBezTo>
                  <a:pt x="10231043" y="7444128"/>
                  <a:pt x="10228247" y="7437074"/>
                  <a:pt x="10228247" y="7428687"/>
                </a:cubicBezTo>
                <a:cubicBezTo>
                  <a:pt x="10228247" y="7420434"/>
                  <a:pt x="10231043" y="7413379"/>
                  <a:pt x="10236633" y="7407654"/>
                </a:cubicBezTo>
                <a:cubicBezTo>
                  <a:pt x="10242092" y="7401930"/>
                  <a:pt x="10249413" y="7399134"/>
                  <a:pt x="10258466" y="7399134"/>
                </a:cubicBezTo>
                <a:close/>
                <a:moveTo>
                  <a:pt x="10040820" y="7399134"/>
                </a:moveTo>
                <a:cubicBezTo>
                  <a:pt x="10045080" y="7399134"/>
                  <a:pt x="10048941" y="7399933"/>
                  <a:pt x="10052534" y="7401530"/>
                </a:cubicBezTo>
                <a:cubicBezTo>
                  <a:pt x="10056129" y="7402995"/>
                  <a:pt x="10059323" y="7405124"/>
                  <a:pt x="10061852" y="7407787"/>
                </a:cubicBezTo>
                <a:cubicBezTo>
                  <a:pt x="10064382" y="7410449"/>
                  <a:pt x="10066512" y="7413645"/>
                  <a:pt x="10067976" y="7417239"/>
                </a:cubicBezTo>
                <a:cubicBezTo>
                  <a:pt x="10069440" y="7420833"/>
                  <a:pt x="10070239" y="7424561"/>
                  <a:pt x="10070239" y="7428687"/>
                </a:cubicBezTo>
                <a:cubicBezTo>
                  <a:pt x="10070239" y="7432814"/>
                  <a:pt x="10069440" y="7436807"/>
                  <a:pt x="10067976" y="7440402"/>
                </a:cubicBezTo>
                <a:cubicBezTo>
                  <a:pt x="10066379" y="7444128"/>
                  <a:pt x="10064382" y="7447191"/>
                  <a:pt x="10061852" y="7449852"/>
                </a:cubicBezTo>
                <a:cubicBezTo>
                  <a:pt x="10059190" y="7452515"/>
                  <a:pt x="10056129" y="7454645"/>
                  <a:pt x="10052534" y="7456109"/>
                </a:cubicBezTo>
                <a:cubicBezTo>
                  <a:pt x="10048941" y="7457573"/>
                  <a:pt x="10045080" y="7458372"/>
                  <a:pt x="10040820" y="7458372"/>
                </a:cubicBezTo>
                <a:cubicBezTo>
                  <a:pt x="10031767" y="7458372"/>
                  <a:pt x="10024579" y="7455444"/>
                  <a:pt x="10018988" y="7449852"/>
                </a:cubicBezTo>
                <a:cubicBezTo>
                  <a:pt x="10013397" y="7444128"/>
                  <a:pt x="10010602" y="7437074"/>
                  <a:pt x="10010602" y="7428687"/>
                </a:cubicBezTo>
                <a:cubicBezTo>
                  <a:pt x="10010602" y="7420434"/>
                  <a:pt x="10013397" y="7413379"/>
                  <a:pt x="10018988" y="7407654"/>
                </a:cubicBezTo>
                <a:cubicBezTo>
                  <a:pt x="10024579" y="7401930"/>
                  <a:pt x="10031767" y="7399134"/>
                  <a:pt x="10040820" y="7399134"/>
                </a:cubicBezTo>
                <a:close/>
                <a:moveTo>
                  <a:pt x="9823176" y="7399134"/>
                </a:moveTo>
                <a:cubicBezTo>
                  <a:pt x="9827435" y="7399134"/>
                  <a:pt x="9831296" y="7399933"/>
                  <a:pt x="9834890" y="7401530"/>
                </a:cubicBezTo>
                <a:cubicBezTo>
                  <a:pt x="9838617" y="7402995"/>
                  <a:pt x="9841679" y="7405124"/>
                  <a:pt x="9844208" y="7407787"/>
                </a:cubicBezTo>
                <a:cubicBezTo>
                  <a:pt x="9846737" y="7410449"/>
                  <a:pt x="9848867" y="7413645"/>
                  <a:pt x="9850331" y="7417239"/>
                </a:cubicBezTo>
                <a:cubicBezTo>
                  <a:pt x="9851796" y="7420833"/>
                  <a:pt x="9852595" y="7424561"/>
                  <a:pt x="9852595" y="7428687"/>
                </a:cubicBezTo>
                <a:cubicBezTo>
                  <a:pt x="9852595" y="7432814"/>
                  <a:pt x="9851796" y="7436807"/>
                  <a:pt x="9850331" y="7440402"/>
                </a:cubicBezTo>
                <a:cubicBezTo>
                  <a:pt x="9848734" y="7444128"/>
                  <a:pt x="9846737" y="7447191"/>
                  <a:pt x="9844208" y="7449852"/>
                </a:cubicBezTo>
                <a:cubicBezTo>
                  <a:pt x="9841546" y="7452515"/>
                  <a:pt x="9838484" y="7454645"/>
                  <a:pt x="9834890" y="7456109"/>
                </a:cubicBezTo>
                <a:cubicBezTo>
                  <a:pt x="9831296" y="7457573"/>
                  <a:pt x="9827435" y="7458372"/>
                  <a:pt x="9823176" y="7458372"/>
                </a:cubicBezTo>
                <a:cubicBezTo>
                  <a:pt x="9814123" y="7458372"/>
                  <a:pt x="9806935" y="7455444"/>
                  <a:pt x="9801343" y="7449852"/>
                </a:cubicBezTo>
                <a:cubicBezTo>
                  <a:pt x="9795753" y="7444128"/>
                  <a:pt x="9792957" y="7437074"/>
                  <a:pt x="9792957" y="7428687"/>
                </a:cubicBezTo>
                <a:cubicBezTo>
                  <a:pt x="9792957" y="7420434"/>
                  <a:pt x="9795753" y="7413379"/>
                  <a:pt x="9801343" y="7407654"/>
                </a:cubicBezTo>
                <a:cubicBezTo>
                  <a:pt x="9806935" y="7401930"/>
                  <a:pt x="9814123" y="7399134"/>
                  <a:pt x="9823176" y="7399134"/>
                </a:cubicBezTo>
                <a:close/>
                <a:moveTo>
                  <a:pt x="9605531" y="7399134"/>
                </a:moveTo>
                <a:cubicBezTo>
                  <a:pt x="9609790" y="7399134"/>
                  <a:pt x="9613784" y="7399933"/>
                  <a:pt x="9617245" y="7401530"/>
                </a:cubicBezTo>
                <a:cubicBezTo>
                  <a:pt x="9620839" y="7402995"/>
                  <a:pt x="9624033" y="7405124"/>
                  <a:pt x="9626562" y="7407787"/>
                </a:cubicBezTo>
                <a:cubicBezTo>
                  <a:pt x="9629092" y="7410449"/>
                  <a:pt x="9631222" y="7413645"/>
                  <a:pt x="9632686" y="7417239"/>
                </a:cubicBezTo>
                <a:cubicBezTo>
                  <a:pt x="9634150" y="7420833"/>
                  <a:pt x="9634949" y="7424561"/>
                  <a:pt x="9634949" y="7428687"/>
                </a:cubicBezTo>
                <a:cubicBezTo>
                  <a:pt x="9634949" y="7432814"/>
                  <a:pt x="9634150" y="7436807"/>
                  <a:pt x="9632686" y="7440402"/>
                </a:cubicBezTo>
                <a:cubicBezTo>
                  <a:pt x="9631089" y="7444128"/>
                  <a:pt x="9629092" y="7447191"/>
                  <a:pt x="9626562" y="7449852"/>
                </a:cubicBezTo>
                <a:cubicBezTo>
                  <a:pt x="9623901" y="7452515"/>
                  <a:pt x="9620839" y="7454645"/>
                  <a:pt x="9617245" y="7456109"/>
                </a:cubicBezTo>
                <a:cubicBezTo>
                  <a:pt x="9613651" y="7457573"/>
                  <a:pt x="9609790" y="7458372"/>
                  <a:pt x="9605531" y="7458372"/>
                </a:cubicBezTo>
                <a:cubicBezTo>
                  <a:pt x="9596610" y="7458372"/>
                  <a:pt x="9589289" y="7455444"/>
                  <a:pt x="9583698" y="7449852"/>
                </a:cubicBezTo>
                <a:cubicBezTo>
                  <a:pt x="9578108" y="7444128"/>
                  <a:pt x="9575312" y="7437074"/>
                  <a:pt x="9575312" y="7428687"/>
                </a:cubicBezTo>
                <a:cubicBezTo>
                  <a:pt x="9575312" y="7420434"/>
                  <a:pt x="9578108" y="7413379"/>
                  <a:pt x="9583698" y="7407654"/>
                </a:cubicBezTo>
                <a:cubicBezTo>
                  <a:pt x="9589289" y="7401930"/>
                  <a:pt x="9596478" y="7399134"/>
                  <a:pt x="9605531" y="7399134"/>
                </a:cubicBezTo>
                <a:close/>
                <a:moveTo>
                  <a:pt x="9387885" y="7399134"/>
                </a:moveTo>
                <a:cubicBezTo>
                  <a:pt x="9392145" y="7399134"/>
                  <a:pt x="9396138" y="7399933"/>
                  <a:pt x="9399599" y="7401530"/>
                </a:cubicBezTo>
                <a:cubicBezTo>
                  <a:pt x="9403194" y="7402995"/>
                  <a:pt x="9406388" y="7405124"/>
                  <a:pt x="9408917" y="7407787"/>
                </a:cubicBezTo>
                <a:cubicBezTo>
                  <a:pt x="9411447" y="7410449"/>
                  <a:pt x="9413576" y="7413645"/>
                  <a:pt x="9415041" y="7417239"/>
                </a:cubicBezTo>
                <a:cubicBezTo>
                  <a:pt x="9416505" y="7420833"/>
                  <a:pt x="9417304" y="7424561"/>
                  <a:pt x="9417304" y="7428687"/>
                </a:cubicBezTo>
                <a:cubicBezTo>
                  <a:pt x="9417304" y="7432814"/>
                  <a:pt x="9416505" y="7436807"/>
                  <a:pt x="9415041" y="7440402"/>
                </a:cubicBezTo>
                <a:cubicBezTo>
                  <a:pt x="9413444" y="7444128"/>
                  <a:pt x="9411447" y="7447191"/>
                  <a:pt x="9408917" y="7449852"/>
                </a:cubicBezTo>
                <a:cubicBezTo>
                  <a:pt x="9406255" y="7452515"/>
                  <a:pt x="9403194" y="7454645"/>
                  <a:pt x="9399599" y="7456109"/>
                </a:cubicBezTo>
                <a:cubicBezTo>
                  <a:pt x="9396005" y="7457573"/>
                  <a:pt x="9392145" y="7458372"/>
                  <a:pt x="9387885" y="7458372"/>
                </a:cubicBezTo>
                <a:cubicBezTo>
                  <a:pt x="9378965" y="7458372"/>
                  <a:pt x="9371644" y="7455444"/>
                  <a:pt x="9366053" y="7449852"/>
                </a:cubicBezTo>
                <a:cubicBezTo>
                  <a:pt x="9360462" y="7444128"/>
                  <a:pt x="9357667" y="7437074"/>
                  <a:pt x="9357667" y="7428687"/>
                </a:cubicBezTo>
                <a:cubicBezTo>
                  <a:pt x="9357667" y="7420434"/>
                  <a:pt x="9360462" y="7413379"/>
                  <a:pt x="9366053" y="7407654"/>
                </a:cubicBezTo>
                <a:cubicBezTo>
                  <a:pt x="9371644" y="7401930"/>
                  <a:pt x="9378832" y="7399134"/>
                  <a:pt x="9387885" y="7399134"/>
                </a:cubicBezTo>
                <a:close/>
                <a:moveTo>
                  <a:pt x="9170374" y="7399134"/>
                </a:moveTo>
                <a:cubicBezTo>
                  <a:pt x="9174500" y="7399134"/>
                  <a:pt x="9178494" y="7399933"/>
                  <a:pt x="9182088" y="7401530"/>
                </a:cubicBezTo>
                <a:cubicBezTo>
                  <a:pt x="9185682" y="7402995"/>
                  <a:pt x="9188876" y="7405124"/>
                  <a:pt x="9191405" y="7407787"/>
                </a:cubicBezTo>
                <a:cubicBezTo>
                  <a:pt x="9193935" y="7410449"/>
                  <a:pt x="9196065" y="7413645"/>
                  <a:pt x="9197529" y="7417239"/>
                </a:cubicBezTo>
                <a:cubicBezTo>
                  <a:pt x="9198993" y="7420833"/>
                  <a:pt x="9199792" y="7424561"/>
                  <a:pt x="9199792" y="7428687"/>
                </a:cubicBezTo>
                <a:cubicBezTo>
                  <a:pt x="9199792" y="7432814"/>
                  <a:pt x="9198993" y="7436807"/>
                  <a:pt x="9197529" y="7440402"/>
                </a:cubicBezTo>
                <a:cubicBezTo>
                  <a:pt x="9195932" y="7444128"/>
                  <a:pt x="9193935" y="7447191"/>
                  <a:pt x="9191405" y="7449852"/>
                </a:cubicBezTo>
                <a:cubicBezTo>
                  <a:pt x="9188744" y="7452515"/>
                  <a:pt x="9185682" y="7454645"/>
                  <a:pt x="9182088" y="7456109"/>
                </a:cubicBezTo>
                <a:cubicBezTo>
                  <a:pt x="9178494" y="7457573"/>
                  <a:pt x="9174633" y="7458372"/>
                  <a:pt x="9170374" y="7458372"/>
                </a:cubicBezTo>
                <a:cubicBezTo>
                  <a:pt x="9161453" y="7458372"/>
                  <a:pt x="9154132" y="7455444"/>
                  <a:pt x="9148541" y="7449852"/>
                </a:cubicBezTo>
                <a:cubicBezTo>
                  <a:pt x="9142951" y="7444128"/>
                  <a:pt x="9140155" y="7437074"/>
                  <a:pt x="9140155" y="7428687"/>
                </a:cubicBezTo>
                <a:cubicBezTo>
                  <a:pt x="9140155" y="7420434"/>
                  <a:pt x="9142951" y="7413379"/>
                  <a:pt x="9148541" y="7407654"/>
                </a:cubicBezTo>
                <a:cubicBezTo>
                  <a:pt x="9154132" y="7401930"/>
                  <a:pt x="9161321" y="7399134"/>
                  <a:pt x="9170374" y="7399134"/>
                </a:cubicBezTo>
                <a:close/>
                <a:moveTo>
                  <a:pt x="8952728" y="7399134"/>
                </a:moveTo>
                <a:cubicBezTo>
                  <a:pt x="8956988" y="7399134"/>
                  <a:pt x="8960849" y="7399933"/>
                  <a:pt x="8964442" y="7401530"/>
                </a:cubicBezTo>
                <a:cubicBezTo>
                  <a:pt x="8968037" y="7402995"/>
                  <a:pt x="8971231" y="7405124"/>
                  <a:pt x="8973760" y="7407787"/>
                </a:cubicBezTo>
                <a:cubicBezTo>
                  <a:pt x="8976290" y="7410449"/>
                  <a:pt x="8978419" y="7413645"/>
                  <a:pt x="8979884" y="7417239"/>
                </a:cubicBezTo>
                <a:cubicBezTo>
                  <a:pt x="8981348" y="7420833"/>
                  <a:pt x="8982147" y="7424561"/>
                  <a:pt x="8982147" y="7428687"/>
                </a:cubicBezTo>
                <a:cubicBezTo>
                  <a:pt x="8982147" y="7432814"/>
                  <a:pt x="8981348" y="7436807"/>
                  <a:pt x="8979884" y="7440402"/>
                </a:cubicBezTo>
                <a:cubicBezTo>
                  <a:pt x="8978287" y="7444128"/>
                  <a:pt x="8976290" y="7447191"/>
                  <a:pt x="8973760" y="7449852"/>
                </a:cubicBezTo>
                <a:cubicBezTo>
                  <a:pt x="8971098" y="7452515"/>
                  <a:pt x="8968037" y="7454645"/>
                  <a:pt x="8964442" y="7456109"/>
                </a:cubicBezTo>
                <a:cubicBezTo>
                  <a:pt x="8960849" y="7457573"/>
                  <a:pt x="8956988" y="7458372"/>
                  <a:pt x="8952728" y="7458372"/>
                </a:cubicBezTo>
                <a:cubicBezTo>
                  <a:pt x="8943808" y="7458372"/>
                  <a:pt x="8936487" y="7455444"/>
                  <a:pt x="8930896" y="7449852"/>
                </a:cubicBezTo>
                <a:cubicBezTo>
                  <a:pt x="8925305" y="7444128"/>
                  <a:pt x="8922510" y="7437074"/>
                  <a:pt x="8922510" y="7428687"/>
                </a:cubicBezTo>
                <a:cubicBezTo>
                  <a:pt x="8922510" y="7420434"/>
                  <a:pt x="8925305" y="7413379"/>
                  <a:pt x="8930896" y="7407654"/>
                </a:cubicBezTo>
                <a:cubicBezTo>
                  <a:pt x="8936487" y="7401930"/>
                  <a:pt x="8943675" y="7399134"/>
                  <a:pt x="8952728" y="7399134"/>
                </a:cubicBezTo>
                <a:close/>
                <a:moveTo>
                  <a:pt x="8735083" y="7399134"/>
                </a:moveTo>
                <a:cubicBezTo>
                  <a:pt x="8739342" y="7399134"/>
                  <a:pt x="8743203" y="7399933"/>
                  <a:pt x="8746797" y="7401530"/>
                </a:cubicBezTo>
                <a:cubicBezTo>
                  <a:pt x="8750391" y="7402995"/>
                  <a:pt x="8753586" y="7405124"/>
                  <a:pt x="8756115" y="7407787"/>
                </a:cubicBezTo>
                <a:cubicBezTo>
                  <a:pt x="8758644" y="7410449"/>
                  <a:pt x="8760774" y="7413645"/>
                  <a:pt x="8762238" y="7417239"/>
                </a:cubicBezTo>
                <a:cubicBezTo>
                  <a:pt x="8763702" y="7420833"/>
                  <a:pt x="8764502" y="7424561"/>
                  <a:pt x="8764502" y="7428687"/>
                </a:cubicBezTo>
                <a:cubicBezTo>
                  <a:pt x="8764502" y="7432814"/>
                  <a:pt x="8763702" y="7436807"/>
                  <a:pt x="8762238" y="7440402"/>
                </a:cubicBezTo>
                <a:cubicBezTo>
                  <a:pt x="8760641" y="7444128"/>
                  <a:pt x="8758644" y="7447191"/>
                  <a:pt x="8756115" y="7449852"/>
                </a:cubicBezTo>
                <a:cubicBezTo>
                  <a:pt x="8753453" y="7452515"/>
                  <a:pt x="8750391" y="7454645"/>
                  <a:pt x="8746797" y="7456109"/>
                </a:cubicBezTo>
                <a:cubicBezTo>
                  <a:pt x="8743203" y="7457573"/>
                  <a:pt x="8739342" y="7458372"/>
                  <a:pt x="8735083" y="7458372"/>
                </a:cubicBezTo>
                <a:cubicBezTo>
                  <a:pt x="8726030" y="7458372"/>
                  <a:pt x="8718841" y="7455444"/>
                  <a:pt x="8713250" y="7449852"/>
                </a:cubicBezTo>
                <a:cubicBezTo>
                  <a:pt x="8707660" y="7444128"/>
                  <a:pt x="8704864" y="7437074"/>
                  <a:pt x="8704864" y="7428687"/>
                </a:cubicBezTo>
                <a:cubicBezTo>
                  <a:pt x="8704864" y="7420434"/>
                  <a:pt x="8707660" y="7413379"/>
                  <a:pt x="8713250" y="7407654"/>
                </a:cubicBezTo>
                <a:cubicBezTo>
                  <a:pt x="8718841" y="7401930"/>
                  <a:pt x="8726030" y="7399134"/>
                  <a:pt x="8735083" y="7399134"/>
                </a:cubicBezTo>
                <a:close/>
                <a:moveTo>
                  <a:pt x="8517438" y="7399134"/>
                </a:moveTo>
                <a:cubicBezTo>
                  <a:pt x="8521698" y="7399134"/>
                  <a:pt x="8525559" y="7399933"/>
                  <a:pt x="8529152" y="7401530"/>
                </a:cubicBezTo>
                <a:cubicBezTo>
                  <a:pt x="8532880" y="7402995"/>
                  <a:pt x="8535941" y="7405124"/>
                  <a:pt x="8538470" y="7407787"/>
                </a:cubicBezTo>
                <a:cubicBezTo>
                  <a:pt x="8541000" y="7410449"/>
                  <a:pt x="8543130" y="7413645"/>
                  <a:pt x="8544594" y="7417239"/>
                </a:cubicBezTo>
                <a:cubicBezTo>
                  <a:pt x="8546058" y="7420833"/>
                  <a:pt x="8546857" y="7424561"/>
                  <a:pt x="8546857" y="7428687"/>
                </a:cubicBezTo>
                <a:cubicBezTo>
                  <a:pt x="8546857" y="7432814"/>
                  <a:pt x="8546058" y="7436807"/>
                  <a:pt x="8544594" y="7440402"/>
                </a:cubicBezTo>
                <a:cubicBezTo>
                  <a:pt x="8542997" y="7444128"/>
                  <a:pt x="8541000" y="7447191"/>
                  <a:pt x="8538470" y="7449852"/>
                </a:cubicBezTo>
                <a:cubicBezTo>
                  <a:pt x="8535808" y="7452515"/>
                  <a:pt x="8532747" y="7454645"/>
                  <a:pt x="8529152" y="7456109"/>
                </a:cubicBezTo>
                <a:cubicBezTo>
                  <a:pt x="8525559" y="7457573"/>
                  <a:pt x="8521698" y="7458372"/>
                  <a:pt x="8517438" y="7458372"/>
                </a:cubicBezTo>
                <a:cubicBezTo>
                  <a:pt x="8508385" y="7458372"/>
                  <a:pt x="8501197" y="7455444"/>
                  <a:pt x="8495606" y="7449852"/>
                </a:cubicBezTo>
                <a:cubicBezTo>
                  <a:pt x="8490015" y="7444128"/>
                  <a:pt x="8487220" y="7437074"/>
                  <a:pt x="8487220" y="7428687"/>
                </a:cubicBezTo>
                <a:cubicBezTo>
                  <a:pt x="8487220" y="7420434"/>
                  <a:pt x="8490015" y="7413379"/>
                  <a:pt x="8495606" y="7407654"/>
                </a:cubicBezTo>
                <a:cubicBezTo>
                  <a:pt x="8501197" y="7401930"/>
                  <a:pt x="8508385" y="7399134"/>
                  <a:pt x="8517438" y="7399134"/>
                </a:cubicBezTo>
                <a:close/>
                <a:moveTo>
                  <a:pt x="8299793" y="7399134"/>
                </a:moveTo>
                <a:cubicBezTo>
                  <a:pt x="8304052" y="7399134"/>
                  <a:pt x="8308046" y="7399933"/>
                  <a:pt x="8311507" y="7401530"/>
                </a:cubicBezTo>
                <a:cubicBezTo>
                  <a:pt x="8315235" y="7402995"/>
                  <a:pt x="8318296" y="7405124"/>
                  <a:pt x="8320825" y="7407787"/>
                </a:cubicBezTo>
                <a:cubicBezTo>
                  <a:pt x="8323354" y="7410449"/>
                  <a:pt x="8325484" y="7413645"/>
                  <a:pt x="8326948" y="7417239"/>
                </a:cubicBezTo>
                <a:cubicBezTo>
                  <a:pt x="8328413" y="7420833"/>
                  <a:pt x="8329212" y="7424561"/>
                  <a:pt x="8329212" y="7428687"/>
                </a:cubicBezTo>
                <a:cubicBezTo>
                  <a:pt x="8329212" y="7432814"/>
                  <a:pt x="8328413" y="7436807"/>
                  <a:pt x="8326948" y="7440402"/>
                </a:cubicBezTo>
                <a:cubicBezTo>
                  <a:pt x="8325351" y="7444128"/>
                  <a:pt x="8323354" y="7447191"/>
                  <a:pt x="8320825" y="7449852"/>
                </a:cubicBezTo>
                <a:cubicBezTo>
                  <a:pt x="8318163" y="7452515"/>
                  <a:pt x="8315101" y="7454645"/>
                  <a:pt x="8311507" y="7456109"/>
                </a:cubicBezTo>
                <a:cubicBezTo>
                  <a:pt x="8307913" y="7457573"/>
                  <a:pt x="8304052" y="7458372"/>
                  <a:pt x="8299793" y="7458372"/>
                </a:cubicBezTo>
                <a:cubicBezTo>
                  <a:pt x="8290874" y="7458372"/>
                  <a:pt x="8283553" y="7455444"/>
                  <a:pt x="8277960" y="7449852"/>
                </a:cubicBezTo>
                <a:cubicBezTo>
                  <a:pt x="8272370" y="7444128"/>
                  <a:pt x="8269574" y="7437074"/>
                  <a:pt x="8269574" y="7428687"/>
                </a:cubicBezTo>
                <a:cubicBezTo>
                  <a:pt x="8269574" y="7420434"/>
                  <a:pt x="8272370" y="7413379"/>
                  <a:pt x="8277960" y="7407654"/>
                </a:cubicBezTo>
                <a:cubicBezTo>
                  <a:pt x="8283553" y="7401930"/>
                  <a:pt x="8290741" y="7399134"/>
                  <a:pt x="8299793" y="7399134"/>
                </a:cubicBezTo>
                <a:close/>
                <a:moveTo>
                  <a:pt x="8082281" y="7399134"/>
                </a:moveTo>
                <a:cubicBezTo>
                  <a:pt x="8086407" y="7399134"/>
                  <a:pt x="8090401" y="7399933"/>
                  <a:pt x="8094127" y="7401530"/>
                </a:cubicBezTo>
                <a:cubicBezTo>
                  <a:pt x="8097855" y="7402995"/>
                  <a:pt x="8100916" y="7405124"/>
                  <a:pt x="8103446" y="7407787"/>
                </a:cubicBezTo>
                <a:cubicBezTo>
                  <a:pt x="8105975" y="7410449"/>
                  <a:pt x="8108104" y="7413645"/>
                  <a:pt x="8109569" y="7417239"/>
                </a:cubicBezTo>
                <a:cubicBezTo>
                  <a:pt x="8111033" y="7420833"/>
                  <a:pt x="8111832" y="7424561"/>
                  <a:pt x="8111832" y="7428687"/>
                </a:cubicBezTo>
                <a:cubicBezTo>
                  <a:pt x="8111832" y="7432814"/>
                  <a:pt x="8111033" y="7436807"/>
                  <a:pt x="8109569" y="7440402"/>
                </a:cubicBezTo>
                <a:cubicBezTo>
                  <a:pt x="8107972" y="7444128"/>
                  <a:pt x="8105975" y="7447191"/>
                  <a:pt x="8103446" y="7449852"/>
                </a:cubicBezTo>
                <a:cubicBezTo>
                  <a:pt x="8100783" y="7452515"/>
                  <a:pt x="8097722" y="7454645"/>
                  <a:pt x="8094127" y="7456109"/>
                </a:cubicBezTo>
                <a:cubicBezTo>
                  <a:pt x="8090401" y="7457573"/>
                  <a:pt x="8086540" y="7458372"/>
                  <a:pt x="8082281" y="7458372"/>
                </a:cubicBezTo>
                <a:cubicBezTo>
                  <a:pt x="8073361" y="7458372"/>
                  <a:pt x="8066040" y="7455444"/>
                  <a:pt x="8060448" y="7449852"/>
                </a:cubicBezTo>
                <a:cubicBezTo>
                  <a:pt x="8054857" y="7444128"/>
                  <a:pt x="8052062" y="7437074"/>
                  <a:pt x="8052062" y="7428687"/>
                </a:cubicBezTo>
                <a:cubicBezTo>
                  <a:pt x="8052062" y="7420434"/>
                  <a:pt x="8054857" y="7413379"/>
                  <a:pt x="8060448" y="7407654"/>
                </a:cubicBezTo>
                <a:cubicBezTo>
                  <a:pt x="8066040" y="7401930"/>
                  <a:pt x="8073228" y="7399134"/>
                  <a:pt x="8082281" y="7399134"/>
                </a:cubicBezTo>
                <a:close/>
                <a:moveTo>
                  <a:pt x="7864636" y="7399134"/>
                </a:moveTo>
                <a:cubicBezTo>
                  <a:pt x="7868762" y="7399134"/>
                  <a:pt x="7872756" y="7399933"/>
                  <a:pt x="7876483" y="7401530"/>
                </a:cubicBezTo>
                <a:cubicBezTo>
                  <a:pt x="7880210" y="7402995"/>
                  <a:pt x="7883272" y="7405124"/>
                  <a:pt x="7885802" y="7407787"/>
                </a:cubicBezTo>
                <a:cubicBezTo>
                  <a:pt x="7888331" y="7410449"/>
                  <a:pt x="7890460" y="7413645"/>
                  <a:pt x="7891924" y="7417239"/>
                </a:cubicBezTo>
                <a:cubicBezTo>
                  <a:pt x="7893389" y="7420833"/>
                  <a:pt x="7894188" y="7424561"/>
                  <a:pt x="7894188" y="7428687"/>
                </a:cubicBezTo>
                <a:cubicBezTo>
                  <a:pt x="7894188" y="7432814"/>
                  <a:pt x="7893389" y="7436807"/>
                  <a:pt x="7891924" y="7440402"/>
                </a:cubicBezTo>
                <a:cubicBezTo>
                  <a:pt x="7890327" y="7444128"/>
                  <a:pt x="7888331" y="7447191"/>
                  <a:pt x="7885802" y="7449852"/>
                </a:cubicBezTo>
                <a:cubicBezTo>
                  <a:pt x="7883139" y="7452515"/>
                  <a:pt x="7880078" y="7454645"/>
                  <a:pt x="7876483" y="7456109"/>
                </a:cubicBezTo>
                <a:cubicBezTo>
                  <a:pt x="7872756" y="7457573"/>
                  <a:pt x="7868895" y="7458372"/>
                  <a:pt x="7864636" y="7458372"/>
                </a:cubicBezTo>
                <a:cubicBezTo>
                  <a:pt x="7855717" y="7458372"/>
                  <a:pt x="7848396" y="7455444"/>
                  <a:pt x="7842803" y="7449852"/>
                </a:cubicBezTo>
                <a:cubicBezTo>
                  <a:pt x="7837213" y="7444128"/>
                  <a:pt x="7834417" y="7437074"/>
                  <a:pt x="7834417" y="7428687"/>
                </a:cubicBezTo>
                <a:cubicBezTo>
                  <a:pt x="7834417" y="7420434"/>
                  <a:pt x="7837213" y="7413379"/>
                  <a:pt x="7842803" y="7407654"/>
                </a:cubicBezTo>
                <a:cubicBezTo>
                  <a:pt x="7848396" y="7401930"/>
                  <a:pt x="7855584" y="7399134"/>
                  <a:pt x="7864636" y="7399134"/>
                </a:cubicBezTo>
                <a:close/>
                <a:moveTo>
                  <a:pt x="7646991" y="7399134"/>
                </a:moveTo>
                <a:cubicBezTo>
                  <a:pt x="7651250" y="7399134"/>
                  <a:pt x="7655111" y="7399933"/>
                  <a:pt x="7658705" y="7401530"/>
                </a:cubicBezTo>
                <a:cubicBezTo>
                  <a:pt x="7662432" y="7402995"/>
                  <a:pt x="7665493" y="7405124"/>
                  <a:pt x="7668022" y="7407787"/>
                </a:cubicBezTo>
                <a:cubicBezTo>
                  <a:pt x="7670552" y="7410449"/>
                  <a:pt x="7672682" y="7413645"/>
                  <a:pt x="7674146" y="7417239"/>
                </a:cubicBezTo>
                <a:cubicBezTo>
                  <a:pt x="7675610" y="7420833"/>
                  <a:pt x="7676409" y="7424561"/>
                  <a:pt x="7676409" y="7428687"/>
                </a:cubicBezTo>
                <a:cubicBezTo>
                  <a:pt x="7676409" y="7432814"/>
                  <a:pt x="7675610" y="7436807"/>
                  <a:pt x="7674146" y="7440402"/>
                </a:cubicBezTo>
                <a:cubicBezTo>
                  <a:pt x="7672549" y="7444128"/>
                  <a:pt x="7670552" y="7447191"/>
                  <a:pt x="7668022" y="7449852"/>
                </a:cubicBezTo>
                <a:cubicBezTo>
                  <a:pt x="7665361" y="7452515"/>
                  <a:pt x="7662299" y="7454645"/>
                  <a:pt x="7658705" y="7456109"/>
                </a:cubicBezTo>
                <a:cubicBezTo>
                  <a:pt x="7655111" y="7457573"/>
                  <a:pt x="7651250" y="7458372"/>
                  <a:pt x="7646991" y="7458372"/>
                </a:cubicBezTo>
                <a:cubicBezTo>
                  <a:pt x="7638071" y="7458372"/>
                  <a:pt x="7630750" y="7455444"/>
                  <a:pt x="7625158" y="7449852"/>
                </a:cubicBezTo>
                <a:cubicBezTo>
                  <a:pt x="7619568" y="7444128"/>
                  <a:pt x="7616772" y="7437074"/>
                  <a:pt x="7616772" y="7428687"/>
                </a:cubicBezTo>
                <a:cubicBezTo>
                  <a:pt x="7616772" y="7420434"/>
                  <a:pt x="7619568" y="7413379"/>
                  <a:pt x="7625158" y="7407654"/>
                </a:cubicBezTo>
                <a:cubicBezTo>
                  <a:pt x="7630750" y="7401930"/>
                  <a:pt x="7637939" y="7399134"/>
                  <a:pt x="7646991" y="7399134"/>
                </a:cubicBezTo>
                <a:close/>
                <a:moveTo>
                  <a:pt x="7429345" y="7399134"/>
                </a:moveTo>
                <a:cubicBezTo>
                  <a:pt x="7433605" y="7399134"/>
                  <a:pt x="7437466" y="7399933"/>
                  <a:pt x="7441059" y="7401530"/>
                </a:cubicBezTo>
                <a:cubicBezTo>
                  <a:pt x="7444787" y="7402995"/>
                  <a:pt x="7447848" y="7405124"/>
                  <a:pt x="7450377" y="7407787"/>
                </a:cubicBezTo>
                <a:cubicBezTo>
                  <a:pt x="7452907" y="7410449"/>
                  <a:pt x="7455036" y="7413645"/>
                  <a:pt x="7456501" y="7417239"/>
                </a:cubicBezTo>
                <a:cubicBezTo>
                  <a:pt x="7457965" y="7420833"/>
                  <a:pt x="7458764" y="7424561"/>
                  <a:pt x="7458764" y="7428687"/>
                </a:cubicBezTo>
                <a:cubicBezTo>
                  <a:pt x="7458764" y="7432814"/>
                  <a:pt x="7457965" y="7436807"/>
                  <a:pt x="7456501" y="7440402"/>
                </a:cubicBezTo>
                <a:cubicBezTo>
                  <a:pt x="7454904" y="7444128"/>
                  <a:pt x="7452907" y="7447191"/>
                  <a:pt x="7450377" y="7449852"/>
                </a:cubicBezTo>
                <a:cubicBezTo>
                  <a:pt x="7447715" y="7452515"/>
                  <a:pt x="7444654" y="7454645"/>
                  <a:pt x="7441059" y="7456109"/>
                </a:cubicBezTo>
                <a:cubicBezTo>
                  <a:pt x="7437466" y="7457573"/>
                  <a:pt x="7433605" y="7458372"/>
                  <a:pt x="7429345" y="7458372"/>
                </a:cubicBezTo>
                <a:cubicBezTo>
                  <a:pt x="7420426" y="7458372"/>
                  <a:pt x="7413105" y="7455444"/>
                  <a:pt x="7407513" y="7449852"/>
                </a:cubicBezTo>
                <a:cubicBezTo>
                  <a:pt x="7401922" y="7444128"/>
                  <a:pt x="7399127" y="7437074"/>
                  <a:pt x="7399127" y="7428687"/>
                </a:cubicBezTo>
                <a:cubicBezTo>
                  <a:pt x="7399127" y="7420434"/>
                  <a:pt x="7401922" y="7413379"/>
                  <a:pt x="7407513" y="7407654"/>
                </a:cubicBezTo>
                <a:cubicBezTo>
                  <a:pt x="7413105" y="7401930"/>
                  <a:pt x="7420293" y="7399134"/>
                  <a:pt x="7429345" y="7399134"/>
                </a:cubicBezTo>
                <a:close/>
                <a:moveTo>
                  <a:pt x="7211701" y="7399134"/>
                </a:moveTo>
                <a:cubicBezTo>
                  <a:pt x="7215960" y="7399134"/>
                  <a:pt x="7219954" y="7399933"/>
                  <a:pt x="7223415" y="7401530"/>
                </a:cubicBezTo>
                <a:cubicBezTo>
                  <a:pt x="7227142" y="7402995"/>
                  <a:pt x="7230204" y="7405124"/>
                  <a:pt x="7232733" y="7407787"/>
                </a:cubicBezTo>
                <a:cubicBezTo>
                  <a:pt x="7235262" y="7410449"/>
                  <a:pt x="7237392" y="7413645"/>
                  <a:pt x="7238856" y="7417239"/>
                </a:cubicBezTo>
                <a:cubicBezTo>
                  <a:pt x="7240321" y="7420833"/>
                  <a:pt x="7241120" y="7424561"/>
                  <a:pt x="7241120" y="7428687"/>
                </a:cubicBezTo>
                <a:cubicBezTo>
                  <a:pt x="7241120" y="7432814"/>
                  <a:pt x="7240321" y="7436807"/>
                  <a:pt x="7238856" y="7440402"/>
                </a:cubicBezTo>
                <a:cubicBezTo>
                  <a:pt x="7237259" y="7444128"/>
                  <a:pt x="7235262" y="7447191"/>
                  <a:pt x="7232733" y="7449852"/>
                </a:cubicBezTo>
                <a:cubicBezTo>
                  <a:pt x="7230071" y="7452515"/>
                  <a:pt x="7227009" y="7454645"/>
                  <a:pt x="7223415" y="7456109"/>
                </a:cubicBezTo>
                <a:cubicBezTo>
                  <a:pt x="7219821" y="7457573"/>
                  <a:pt x="7215960" y="7458372"/>
                  <a:pt x="7211701" y="7458372"/>
                </a:cubicBezTo>
                <a:cubicBezTo>
                  <a:pt x="7202782" y="7458372"/>
                  <a:pt x="7195460" y="7455444"/>
                  <a:pt x="7189868" y="7449852"/>
                </a:cubicBezTo>
                <a:cubicBezTo>
                  <a:pt x="7184278" y="7444128"/>
                  <a:pt x="7181482" y="7437074"/>
                  <a:pt x="7181482" y="7428687"/>
                </a:cubicBezTo>
                <a:cubicBezTo>
                  <a:pt x="7181482" y="7420434"/>
                  <a:pt x="7184278" y="7413379"/>
                  <a:pt x="7189868" y="7407654"/>
                </a:cubicBezTo>
                <a:cubicBezTo>
                  <a:pt x="7195460" y="7401930"/>
                  <a:pt x="7202649" y="7399134"/>
                  <a:pt x="7211701" y="7399134"/>
                </a:cubicBezTo>
                <a:close/>
                <a:moveTo>
                  <a:pt x="6994056" y="7399134"/>
                </a:moveTo>
                <a:cubicBezTo>
                  <a:pt x="6998315" y="7399134"/>
                  <a:pt x="7002309" y="7399933"/>
                  <a:pt x="7005769" y="7401530"/>
                </a:cubicBezTo>
                <a:cubicBezTo>
                  <a:pt x="7009497" y="7402995"/>
                  <a:pt x="7012558" y="7405124"/>
                  <a:pt x="7015087" y="7407787"/>
                </a:cubicBezTo>
                <a:cubicBezTo>
                  <a:pt x="7017617" y="7410449"/>
                  <a:pt x="7019747" y="7413645"/>
                  <a:pt x="7021211" y="7417239"/>
                </a:cubicBezTo>
                <a:cubicBezTo>
                  <a:pt x="7022675" y="7420833"/>
                  <a:pt x="7023474" y="7424561"/>
                  <a:pt x="7023474" y="7428687"/>
                </a:cubicBezTo>
                <a:cubicBezTo>
                  <a:pt x="7023474" y="7432814"/>
                  <a:pt x="7022675" y="7436807"/>
                  <a:pt x="7021211" y="7440402"/>
                </a:cubicBezTo>
                <a:cubicBezTo>
                  <a:pt x="7019614" y="7444128"/>
                  <a:pt x="7017617" y="7447191"/>
                  <a:pt x="7015087" y="7449852"/>
                </a:cubicBezTo>
                <a:cubicBezTo>
                  <a:pt x="7012425" y="7452515"/>
                  <a:pt x="7009364" y="7454645"/>
                  <a:pt x="7005769" y="7456109"/>
                </a:cubicBezTo>
                <a:cubicBezTo>
                  <a:pt x="7002176" y="7457573"/>
                  <a:pt x="6998315" y="7458372"/>
                  <a:pt x="6994056" y="7458372"/>
                </a:cubicBezTo>
                <a:cubicBezTo>
                  <a:pt x="6985136" y="7458372"/>
                  <a:pt x="6977815" y="7455444"/>
                  <a:pt x="6972223" y="7449852"/>
                </a:cubicBezTo>
                <a:cubicBezTo>
                  <a:pt x="6966632" y="7444128"/>
                  <a:pt x="6963837" y="7437074"/>
                  <a:pt x="6963837" y="7428687"/>
                </a:cubicBezTo>
                <a:cubicBezTo>
                  <a:pt x="6963837" y="7420434"/>
                  <a:pt x="6966632" y="7413379"/>
                  <a:pt x="6972223" y="7407654"/>
                </a:cubicBezTo>
                <a:cubicBezTo>
                  <a:pt x="6977815" y="7401930"/>
                  <a:pt x="6985003" y="7399134"/>
                  <a:pt x="6994056" y="7399134"/>
                </a:cubicBezTo>
                <a:close/>
                <a:moveTo>
                  <a:pt x="6776544" y="7399134"/>
                </a:moveTo>
                <a:cubicBezTo>
                  <a:pt x="6780670" y="7399134"/>
                  <a:pt x="6784664" y="7399933"/>
                  <a:pt x="6788258" y="7401530"/>
                </a:cubicBezTo>
                <a:cubicBezTo>
                  <a:pt x="6791985" y="7402995"/>
                  <a:pt x="6795047" y="7405124"/>
                  <a:pt x="6797576" y="7407787"/>
                </a:cubicBezTo>
                <a:cubicBezTo>
                  <a:pt x="6800105" y="7410449"/>
                  <a:pt x="6802235" y="7413645"/>
                  <a:pt x="6803699" y="7417239"/>
                </a:cubicBezTo>
                <a:cubicBezTo>
                  <a:pt x="6805164" y="7420833"/>
                  <a:pt x="6805963" y="7424561"/>
                  <a:pt x="6805963" y="7428687"/>
                </a:cubicBezTo>
                <a:cubicBezTo>
                  <a:pt x="6805963" y="7432814"/>
                  <a:pt x="6805164" y="7436807"/>
                  <a:pt x="6803699" y="7440402"/>
                </a:cubicBezTo>
                <a:cubicBezTo>
                  <a:pt x="6802102" y="7444128"/>
                  <a:pt x="6800105" y="7447191"/>
                  <a:pt x="6797576" y="7449852"/>
                </a:cubicBezTo>
                <a:cubicBezTo>
                  <a:pt x="6794914" y="7452515"/>
                  <a:pt x="6791852" y="7454645"/>
                  <a:pt x="6788258" y="7456109"/>
                </a:cubicBezTo>
                <a:cubicBezTo>
                  <a:pt x="6784664" y="7457573"/>
                  <a:pt x="6780803" y="7458372"/>
                  <a:pt x="6776544" y="7458372"/>
                </a:cubicBezTo>
                <a:cubicBezTo>
                  <a:pt x="6767625" y="7458372"/>
                  <a:pt x="6760303" y="7455444"/>
                  <a:pt x="6754711" y="7449852"/>
                </a:cubicBezTo>
                <a:cubicBezTo>
                  <a:pt x="6749121" y="7444128"/>
                  <a:pt x="6746325" y="7437074"/>
                  <a:pt x="6746325" y="7428687"/>
                </a:cubicBezTo>
                <a:cubicBezTo>
                  <a:pt x="6746325" y="7420434"/>
                  <a:pt x="6749121" y="7413379"/>
                  <a:pt x="6754711" y="7407654"/>
                </a:cubicBezTo>
                <a:cubicBezTo>
                  <a:pt x="6760303" y="7401930"/>
                  <a:pt x="6767492" y="7399134"/>
                  <a:pt x="6776544" y="7399134"/>
                </a:cubicBezTo>
                <a:close/>
                <a:moveTo>
                  <a:pt x="6558899" y="7399134"/>
                </a:moveTo>
                <a:cubicBezTo>
                  <a:pt x="6563158" y="7399134"/>
                  <a:pt x="6567019" y="7399933"/>
                  <a:pt x="6570612" y="7401530"/>
                </a:cubicBezTo>
                <a:cubicBezTo>
                  <a:pt x="6574340" y="7402995"/>
                  <a:pt x="6577401" y="7405124"/>
                  <a:pt x="6579930" y="7407787"/>
                </a:cubicBezTo>
                <a:cubicBezTo>
                  <a:pt x="6582460" y="7410449"/>
                  <a:pt x="6584590" y="7413645"/>
                  <a:pt x="6586054" y="7417239"/>
                </a:cubicBezTo>
                <a:cubicBezTo>
                  <a:pt x="6587518" y="7420833"/>
                  <a:pt x="6588317" y="7424561"/>
                  <a:pt x="6588317" y="7428687"/>
                </a:cubicBezTo>
                <a:cubicBezTo>
                  <a:pt x="6588317" y="7432814"/>
                  <a:pt x="6587518" y="7436807"/>
                  <a:pt x="6586054" y="7440402"/>
                </a:cubicBezTo>
                <a:cubicBezTo>
                  <a:pt x="6584457" y="7444128"/>
                  <a:pt x="6582460" y="7447191"/>
                  <a:pt x="6579930" y="7449852"/>
                </a:cubicBezTo>
                <a:cubicBezTo>
                  <a:pt x="6577268" y="7452515"/>
                  <a:pt x="6574207" y="7454645"/>
                  <a:pt x="6570612" y="7456109"/>
                </a:cubicBezTo>
                <a:cubicBezTo>
                  <a:pt x="6567019" y="7457573"/>
                  <a:pt x="6563158" y="7458372"/>
                  <a:pt x="6558899" y="7458372"/>
                </a:cubicBezTo>
                <a:cubicBezTo>
                  <a:pt x="6549979" y="7458372"/>
                  <a:pt x="6542658" y="7455444"/>
                  <a:pt x="6537066" y="7449852"/>
                </a:cubicBezTo>
                <a:cubicBezTo>
                  <a:pt x="6531476" y="7444128"/>
                  <a:pt x="6528680" y="7437074"/>
                  <a:pt x="6528680" y="7428687"/>
                </a:cubicBezTo>
                <a:cubicBezTo>
                  <a:pt x="6528680" y="7420434"/>
                  <a:pt x="6531476" y="7413379"/>
                  <a:pt x="6537066" y="7407654"/>
                </a:cubicBezTo>
                <a:cubicBezTo>
                  <a:pt x="6542658" y="7401930"/>
                  <a:pt x="6549846" y="7399134"/>
                  <a:pt x="6558899" y="7399134"/>
                </a:cubicBezTo>
                <a:close/>
                <a:moveTo>
                  <a:pt x="6341253" y="7399134"/>
                </a:moveTo>
                <a:cubicBezTo>
                  <a:pt x="6345513" y="7399134"/>
                  <a:pt x="6349373" y="7399933"/>
                  <a:pt x="6352968" y="7401530"/>
                </a:cubicBezTo>
                <a:cubicBezTo>
                  <a:pt x="6356695" y="7402995"/>
                  <a:pt x="6359757" y="7405124"/>
                  <a:pt x="6362286" y="7407787"/>
                </a:cubicBezTo>
                <a:cubicBezTo>
                  <a:pt x="6364815" y="7410449"/>
                  <a:pt x="6366945" y="7413645"/>
                  <a:pt x="6368409" y="7417239"/>
                </a:cubicBezTo>
                <a:cubicBezTo>
                  <a:pt x="6369874" y="7420833"/>
                  <a:pt x="6370672" y="7424561"/>
                  <a:pt x="6370672" y="7428687"/>
                </a:cubicBezTo>
                <a:cubicBezTo>
                  <a:pt x="6370672" y="7432814"/>
                  <a:pt x="6369874" y="7436807"/>
                  <a:pt x="6368409" y="7440402"/>
                </a:cubicBezTo>
                <a:cubicBezTo>
                  <a:pt x="6366811" y="7444128"/>
                  <a:pt x="6364815" y="7447191"/>
                  <a:pt x="6362286" y="7449852"/>
                </a:cubicBezTo>
                <a:cubicBezTo>
                  <a:pt x="6359623" y="7452515"/>
                  <a:pt x="6356562" y="7454645"/>
                  <a:pt x="6352968" y="7456109"/>
                </a:cubicBezTo>
                <a:cubicBezTo>
                  <a:pt x="6349373" y="7457573"/>
                  <a:pt x="6345513" y="7458372"/>
                  <a:pt x="6341253" y="7458372"/>
                </a:cubicBezTo>
                <a:cubicBezTo>
                  <a:pt x="6332335" y="7458372"/>
                  <a:pt x="6325013" y="7455444"/>
                  <a:pt x="6319421" y="7449852"/>
                </a:cubicBezTo>
                <a:cubicBezTo>
                  <a:pt x="6313830" y="7444128"/>
                  <a:pt x="6311035" y="7437074"/>
                  <a:pt x="6311035" y="7428687"/>
                </a:cubicBezTo>
                <a:cubicBezTo>
                  <a:pt x="6311035" y="7420434"/>
                  <a:pt x="6313830" y="7413379"/>
                  <a:pt x="6319421" y="7407654"/>
                </a:cubicBezTo>
                <a:cubicBezTo>
                  <a:pt x="6325013" y="7401930"/>
                  <a:pt x="6332201" y="7399134"/>
                  <a:pt x="6341253" y="7399134"/>
                </a:cubicBezTo>
                <a:close/>
                <a:moveTo>
                  <a:pt x="6123608" y="7399134"/>
                </a:moveTo>
                <a:cubicBezTo>
                  <a:pt x="6127867" y="7399134"/>
                  <a:pt x="6131728" y="7399933"/>
                  <a:pt x="6135322" y="7401530"/>
                </a:cubicBezTo>
                <a:cubicBezTo>
                  <a:pt x="6139049" y="7402995"/>
                  <a:pt x="6142111" y="7405124"/>
                  <a:pt x="6144640" y="7407787"/>
                </a:cubicBezTo>
                <a:cubicBezTo>
                  <a:pt x="6147169" y="7410449"/>
                  <a:pt x="6149299" y="7413645"/>
                  <a:pt x="6150763" y="7417239"/>
                </a:cubicBezTo>
                <a:cubicBezTo>
                  <a:pt x="6152228" y="7420833"/>
                  <a:pt x="6153026" y="7424561"/>
                  <a:pt x="6153026" y="7428687"/>
                </a:cubicBezTo>
                <a:cubicBezTo>
                  <a:pt x="6153026" y="7432814"/>
                  <a:pt x="6152228" y="7436807"/>
                  <a:pt x="6150763" y="7440402"/>
                </a:cubicBezTo>
                <a:cubicBezTo>
                  <a:pt x="6149299" y="7444128"/>
                  <a:pt x="6147169" y="7447191"/>
                  <a:pt x="6144640" y="7449852"/>
                </a:cubicBezTo>
                <a:cubicBezTo>
                  <a:pt x="6141977" y="7452515"/>
                  <a:pt x="6138916" y="7454645"/>
                  <a:pt x="6135322" y="7456109"/>
                </a:cubicBezTo>
                <a:cubicBezTo>
                  <a:pt x="6131728" y="7457573"/>
                  <a:pt x="6127867" y="7458372"/>
                  <a:pt x="6123608" y="7458372"/>
                </a:cubicBezTo>
                <a:cubicBezTo>
                  <a:pt x="6114689" y="7458372"/>
                  <a:pt x="6107367" y="7455444"/>
                  <a:pt x="6101775" y="7449852"/>
                </a:cubicBezTo>
                <a:cubicBezTo>
                  <a:pt x="6096184" y="7444128"/>
                  <a:pt x="6093389" y="7437074"/>
                  <a:pt x="6093389" y="7428687"/>
                </a:cubicBezTo>
                <a:cubicBezTo>
                  <a:pt x="6093389" y="7420434"/>
                  <a:pt x="6096184" y="7413379"/>
                  <a:pt x="6101775" y="7407654"/>
                </a:cubicBezTo>
                <a:cubicBezTo>
                  <a:pt x="6107367" y="7401930"/>
                  <a:pt x="6114555" y="7399134"/>
                  <a:pt x="6123608" y="7399134"/>
                </a:cubicBezTo>
                <a:close/>
                <a:moveTo>
                  <a:pt x="5905963" y="7399134"/>
                </a:moveTo>
                <a:cubicBezTo>
                  <a:pt x="5910222" y="7399134"/>
                  <a:pt x="5914216" y="7399933"/>
                  <a:pt x="5917677" y="7401530"/>
                </a:cubicBezTo>
                <a:cubicBezTo>
                  <a:pt x="5921404" y="7402995"/>
                  <a:pt x="5924466" y="7405124"/>
                  <a:pt x="5926995" y="7407787"/>
                </a:cubicBezTo>
                <a:cubicBezTo>
                  <a:pt x="5929524" y="7410449"/>
                  <a:pt x="5931654" y="7413645"/>
                  <a:pt x="5933118" y="7417239"/>
                </a:cubicBezTo>
                <a:cubicBezTo>
                  <a:pt x="5934583" y="7420833"/>
                  <a:pt x="5935381" y="7424561"/>
                  <a:pt x="5935381" y="7428687"/>
                </a:cubicBezTo>
                <a:cubicBezTo>
                  <a:pt x="5935381" y="7432814"/>
                  <a:pt x="5934583" y="7436807"/>
                  <a:pt x="5933118" y="7440402"/>
                </a:cubicBezTo>
                <a:cubicBezTo>
                  <a:pt x="5931654" y="7444128"/>
                  <a:pt x="5929524" y="7447191"/>
                  <a:pt x="5926995" y="7449852"/>
                </a:cubicBezTo>
                <a:cubicBezTo>
                  <a:pt x="5924333" y="7452515"/>
                  <a:pt x="5921271" y="7454645"/>
                  <a:pt x="5917677" y="7456109"/>
                </a:cubicBezTo>
                <a:cubicBezTo>
                  <a:pt x="5914083" y="7457573"/>
                  <a:pt x="5910222" y="7458372"/>
                  <a:pt x="5905963" y="7458372"/>
                </a:cubicBezTo>
                <a:cubicBezTo>
                  <a:pt x="5897044" y="7458372"/>
                  <a:pt x="5889722" y="7455444"/>
                  <a:pt x="5884130" y="7449852"/>
                </a:cubicBezTo>
                <a:cubicBezTo>
                  <a:pt x="5878540" y="7444128"/>
                  <a:pt x="5875744" y="7437074"/>
                  <a:pt x="5875744" y="7428687"/>
                </a:cubicBezTo>
                <a:cubicBezTo>
                  <a:pt x="5875744" y="7420434"/>
                  <a:pt x="5878540" y="7413379"/>
                  <a:pt x="5884130" y="7407654"/>
                </a:cubicBezTo>
                <a:cubicBezTo>
                  <a:pt x="5889722" y="7401930"/>
                  <a:pt x="5896910" y="7399134"/>
                  <a:pt x="5905963" y="7399134"/>
                </a:cubicBezTo>
                <a:close/>
                <a:moveTo>
                  <a:pt x="5688451" y="7399134"/>
                </a:moveTo>
                <a:cubicBezTo>
                  <a:pt x="5692577" y="7399134"/>
                  <a:pt x="5696571" y="7399933"/>
                  <a:pt x="5700165" y="7401530"/>
                </a:cubicBezTo>
                <a:cubicBezTo>
                  <a:pt x="5703892" y="7402995"/>
                  <a:pt x="5706954" y="7405124"/>
                  <a:pt x="5709483" y="7407787"/>
                </a:cubicBezTo>
                <a:cubicBezTo>
                  <a:pt x="5712012" y="7410449"/>
                  <a:pt x="5714142" y="7413645"/>
                  <a:pt x="5715606" y="7417239"/>
                </a:cubicBezTo>
                <a:cubicBezTo>
                  <a:pt x="5717071" y="7420833"/>
                  <a:pt x="5717869" y="7424561"/>
                  <a:pt x="5717869" y="7428687"/>
                </a:cubicBezTo>
                <a:cubicBezTo>
                  <a:pt x="5717869" y="7432814"/>
                  <a:pt x="5717071" y="7436807"/>
                  <a:pt x="5715606" y="7440402"/>
                </a:cubicBezTo>
                <a:cubicBezTo>
                  <a:pt x="5714142" y="7444128"/>
                  <a:pt x="5712012" y="7447191"/>
                  <a:pt x="5709483" y="7449852"/>
                </a:cubicBezTo>
                <a:cubicBezTo>
                  <a:pt x="5706820" y="7452515"/>
                  <a:pt x="5703759" y="7454645"/>
                  <a:pt x="5700165" y="7456109"/>
                </a:cubicBezTo>
                <a:cubicBezTo>
                  <a:pt x="5696571" y="7457573"/>
                  <a:pt x="5692710" y="7458372"/>
                  <a:pt x="5688451" y="7458372"/>
                </a:cubicBezTo>
                <a:cubicBezTo>
                  <a:pt x="5679532" y="7458372"/>
                  <a:pt x="5672210" y="7455444"/>
                  <a:pt x="5666618" y="7449852"/>
                </a:cubicBezTo>
                <a:cubicBezTo>
                  <a:pt x="5661028" y="7444128"/>
                  <a:pt x="5658232" y="7437074"/>
                  <a:pt x="5658232" y="7428687"/>
                </a:cubicBezTo>
                <a:cubicBezTo>
                  <a:pt x="5658232" y="7420434"/>
                  <a:pt x="5661028" y="7413379"/>
                  <a:pt x="5666618" y="7407654"/>
                </a:cubicBezTo>
                <a:cubicBezTo>
                  <a:pt x="5672210" y="7401930"/>
                  <a:pt x="5679398" y="7399134"/>
                  <a:pt x="5688451" y="7399134"/>
                </a:cubicBezTo>
                <a:close/>
                <a:moveTo>
                  <a:pt x="5470806" y="7399134"/>
                </a:moveTo>
                <a:cubicBezTo>
                  <a:pt x="5475065" y="7399134"/>
                  <a:pt x="5478926" y="7399933"/>
                  <a:pt x="5482520" y="7401530"/>
                </a:cubicBezTo>
                <a:cubicBezTo>
                  <a:pt x="5486247" y="7402995"/>
                  <a:pt x="5489309" y="7405124"/>
                  <a:pt x="5491838" y="7407787"/>
                </a:cubicBezTo>
                <a:cubicBezTo>
                  <a:pt x="5494367" y="7410449"/>
                  <a:pt x="5496497" y="7413645"/>
                  <a:pt x="5497961" y="7417239"/>
                </a:cubicBezTo>
                <a:cubicBezTo>
                  <a:pt x="5499426" y="7420833"/>
                  <a:pt x="5500224" y="7424561"/>
                  <a:pt x="5500224" y="7428687"/>
                </a:cubicBezTo>
                <a:cubicBezTo>
                  <a:pt x="5500224" y="7432814"/>
                  <a:pt x="5499426" y="7436807"/>
                  <a:pt x="5497961" y="7440402"/>
                </a:cubicBezTo>
                <a:cubicBezTo>
                  <a:pt x="5496497" y="7444128"/>
                  <a:pt x="5494367" y="7447191"/>
                  <a:pt x="5491838" y="7449852"/>
                </a:cubicBezTo>
                <a:cubicBezTo>
                  <a:pt x="5489176" y="7452515"/>
                  <a:pt x="5486114" y="7454645"/>
                  <a:pt x="5482520" y="7456109"/>
                </a:cubicBezTo>
                <a:cubicBezTo>
                  <a:pt x="5478926" y="7457573"/>
                  <a:pt x="5475065" y="7458372"/>
                  <a:pt x="5470806" y="7458372"/>
                </a:cubicBezTo>
                <a:cubicBezTo>
                  <a:pt x="5461887" y="7458372"/>
                  <a:pt x="5454565" y="7455444"/>
                  <a:pt x="5448973" y="7449852"/>
                </a:cubicBezTo>
                <a:cubicBezTo>
                  <a:pt x="5443383" y="7444128"/>
                  <a:pt x="5440587" y="7437074"/>
                  <a:pt x="5440587" y="7428687"/>
                </a:cubicBezTo>
                <a:cubicBezTo>
                  <a:pt x="5440587" y="7420434"/>
                  <a:pt x="5443383" y="7413379"/>
                  <a:pt x="5448973" y="7407654"/>
                </a:cubicBezTo>
                <a:cubicBezTo>
                  <a:pt x="5454565" y="7401930"/>
                  <a:pt x="5461754" y="7399134"/>
                  <a:pt x="5470806" y="7399134"/>
                </a:cubicBezTo>
                <a:close/>
                <a:moveTo>
                  <a:pt x="5253160" y="7399134"/>
                </a:moveTo>
                <a:cubicBezTo>
                  <a:pt x="5257420" y="7399134"/>
                  <a:pt x="5261280" y="7399933"/>
                  <a:pt x="5264875" y="7401530"/>
                </a:cubicBezTo>
                <a:cubicBezTo>
                  <a:pt x="5268602" y="7402995"/>
                  <a:pt x="5271664" y="7405124"/>
                  <a:pt x="5274192" y="7407787"/>
                </a:cubicBezTo>
                <a:cubicBezTo>
                  <a:pt x="5276722" y="7410449"/>
                  <a:pt x="5278852" y="7413645"/>
                  <a:pt x="5280316" y="7417239"/>
                </a:cubicBezTo>
                <a:cubicBezTo>
                  <a:pt x="5281780" y="7420833"/>
                  <a:pt x="5282579" y="7424561"/>
                  <a:pt x="5282579" y="7428687"/>
                </a:cubicBezTo>
                <a:cubicBezTo>
                  <a:pt x="5282579" y="7432814"/>
                  <a:pt x="5281780" y="7436807"/>
                  <a:pt x="5280316" y="7440402"/>
                </a:cubicBezTo>
                <a:cubicBezTo>
                  <a:pt x="5278852" y="7444128"/>
                  <a:pt x="5276722" y="7447191"/>
                  <a:pt x="5274192" y="7449852"/>
                </a:cubicBezTo>
                <a:cubicBezTo>
                  <a:pt x="5271664" y="7452515"/>
                  <a:pt x="5268469" y="7454645"/>
                  <a:pt x="5264875" y="7456109"/>
                </a:cubicBezTo>
                <a:cubicBezTo>
                  <a:pt x="5261280" y="7457573"/>
                  <a:pt x="5257420" y="7458372"/>
                  <a:pt x="5253160" y="7458372"/>
                </a:cubicBezTo>
                <a:cubicBezTo>
                  <a:pt x="5244241" y="7458372"/>
                  <a:pt x="5236920" y="7455444"/>
                  <a:pt x="5231328" y="7449852"/>
                </a:cubicBezTo>
                <a:cubicBezTo>
                  <a:pt x="5225737" y="7444128"/>
                  <a:pt x="5222942" y="7437074"/>
                  <a:pt x="5222942" y="7428687"/>
                </a:cubicBezTo>
                <a:cubicBezTo>
                  <a:pt x="5222942" y="7420434"/>
                  <a:pt x="5225737" y="7413379"/>
                  <a:pt x="5231328" y="7407654"/>
                </a:cubicBezTo>
                <a:cubicBezTo>
                  <a:pt x="5236920" y="7401930"/>
                  <a:pt x="5244108" y="7399134"/>
                  <a:pt x="5253160" y="7399134"/>
                </a:cubicBezTo>
                <a:close/>
                <a:moveTo>
                  <a:pt x="5035515" y="7399134"/>
                </a:moveTo>
                <a:cubicBezTo>
                  <a:pt x="5039775" y="7399134"/>
                  <a:pt x="5043636" y="7399933"/>
                  <a:pt x="5047230" y="7401530"/>
                </a:cubicBezTo>
                <a:cubicBezTo>
                  <a:pt x="5050957" y="7402995"/>
                  <a:pt x="5054019" y="7405124"/>
                  <a:pt x="5056548" y="7407787"/>
                </a:cubicBezTo>
                <a:cubicBezTo>
                  <a:pt x="5059077" y="7410449"/>
                  <a:pt x="5061207" y="7413645"/>
                  <a:pt x="5062671" y="7417239"/>
                </a:cubicBezTo>
                <a:cubicBezTo>
                  <a:pt x="5064135" y="7420833"/>
                  <a:pt x="5064934" y="7424561"/>
                  <a:pt x="5064934" y="7428687"/>
                </a:cubicBezTo>
                <a:cubicBezTo>
                  <a:pt x="5064934" y="7432814"/>
                  <a:pt x="5064135" y="7436807"/>
                  <a:pt x="5062671" y="7440402"/>
                </a:cubicBezTo>
                <a:cubicBezTo>
                  <a:pt x="5061207" y="7444128"/>
                  <a:pt x="5059077" y="7447191"/>
                  <a:pt x="5056548" y="7449852"/>
                </a:cubicBezTo>
                <a:cubicBezTo>
                  <a:pt x="5053885" y="7452515"/>
                  <a:pt x="5050824" y="7454645"/>
                  <a:pt x="5047230" y="7456109"/>
                </a:cubicBezTo>
                <a:cubicBezTo>
                  <a:pt x="5043636" y="7457573"/>
                  <a:pt x="5039775" y="7458372"/>
                  <a:pt x="5035515" y="7458372"/>
                </a:cubicBezTo>
                <a:cubicBezTo>
                  <a:pt x="5026597" y="7458372"/>
                  <a:pt x="5019275" y="7455444"/>
                  <a:pt x="5013683" y="7449852"/>
                </a:cubicBezTo>
                <a:cubicBezTo>
                  <a:pt x="5008092" y="7444128"/>
                  <a:pt x="5005297" y="7437074"/>
                  <a:pt x="5005297" y="7428687"/>
                </a:cubicBezTo>
                <a:cubicBezTo>
                  <a:pt x="5005297" y="7420434"/>
                  <a:pt x="5008092" y="7413379"/>
                  <a:pt x="5013683" y="7407654"/>
                </a:cubicBezTo>
                <a:cubicBezTo>
                  <a:pt x="5019275" y="7401930"/>
                  <a:pt x="5026463" y="7399134"/>
                  <a:pt x="5035515" y="7399134"/>
                </a:cubicBezTo>
                <a:close/>
                <a:moveTo>
                  <a:pt x="4817870" y="7399134"/>
                </a:moveTo>
                <a:cubicBezTo>
                  <a:pt x="4822130" y="7399134"/>
                  <a:pt x="4826124" y="7399933"/>
                  <a:pt x="4829585" y="7401530"/>
                </a:cubicBezTo>
                <a:cubicBezTo>
                  <a:pt x="4833312" y="7402995"/>
                  <a:pt x="4836374" y="7405124"/>
                  <a:pt x="4838903" y="7407787"/>
                </a:cubicBezTo>
                <a:cubicBezTo>
                  <a:pt x="4841432" y="7410449"/>
                  <a:pt x="4843562" y="7413645"/>
                  <a:pt x="4845026" y="7417239"/>
                </a:cubicBezTo>
                <a:cubicBezTo>
                  <a:pt x="4846491" y="7420833"/>
                  <a:pt x="4847289" y="7424561"/>
                  <a:pt x="4847289" y="7428687"/>
                </a:cubicBezTo>
                <a:cubicBezTo>
                  <a:pt x="4847289" y="7432814"/>
                  <a:pt x="4846491" y="7436807"/>
                  <a:pt x="4845026" y="7440402"/>
                </a:cubicBezTo>
                <a:cubicBezTo>
                  <a:pt x="4843562" y="7444128"/>
                  <a:pt x="4841432" y="7447191"/>
                  <a:pt x="4838903" y="7449852"/>
                </a:cubicBezTo>
                <a:cubicBezTo>
                  <a:pt x="4836240" y="7452515"/>
                  <a:pt x="4833179" y="7454645"/>
                  <a:pt x="4829585" y="7456109"/>
                </a:cubicBezTo>
                <a:cubicBezTo>
                  <a:pt x="4825991" y="7457573"/>
                  <a:pt x="4822130" y="7458372"/>
                  <a:pt x="4817870" y="7458372"/>
                </a:cubicBezTo>
                <a:cubicBezTo>
                  <a:pt x="4808952" y="7458372"/>
                  <a:pt x="4801630" y="7455444"/>
                  <a:pt x="4796038" y="7449852"/>
                </a:cubicBezTo>
                <a:cubicBezTo>
                  <a:pt x="4790447" y="7444128"/>
                  <a:pt x="4787652" y="7437074"/>
                  <a:pt x="4787652" y="7428687"/>
                </a:cubicBezTo>
                <a:cubicBezTo>
                  <a:pt x="4787652" y="7420434"/>
                  <a:pt x="4790447" y="7413379"/>
                  <a:pt x="4796038" y="7407654"/>
                </a:cubicBezTo>
                <a:cubicBezTo>
                  <a:pt x="4801630" y="7401930"/>
                  <a:pt x="4808818" y="7399134"/>
                  <a:pt x="4817870" y="7399134"/>
                </a:cubicBezTo>
                <a:close/>
                <a:moveTo>
                  <a:pt x="4600226" y="7399134"/>
                </a:moveTo>
                <a:cubicBezTo>
                  <a:pt x="4604485" y="7399134"/>
                  <a:pt x="4608479" y="7399933"/>
                  <a:pt x="4612073" y="7401530"/>
                </a:cubicBezTo>
                <a:cubicBezTo>
                  <a:pt x="4615800" y="7402995"/>
                  <a:pt x="4618862" y="7405124"/>
                  <a:pt x="4621391" y="7407787"/>
                </a:cubicBezTo>
                <a:cubicBezTo>
                  <a:pt x="4623920" y="7410449"/>
                  <a:pt x="4626050" y="7413645"/>
                  <a:pt x="4627514" y="7417239"/>
                </a:cubicBezTo>
                <a:cubicBezTo>
                  <a:pt x="4628978" y="7420833"/>
                  <a:pt x="4629777" y="7424561"/>
                  <a:pt x="4629777" y="7428687"/>
                </a:cubicBezTo>
                <a:cubicBezTo>
                  <a:pt x="4629777" y="7432814"/>
                  <a:pt x="4628978" y="7436807"/>
                  <a:pt x="4627514" y="7440402"/>
                </a:cubicBezTo>
                <a:cubicBezTo>
                  <a:pt x="4626050" y="7444128"/>
                  <a:pt x="4623920" y="7447191"/>
                  <a:pt x="4621391" y="7449852"/>
                </a:cubicBezTo>
                <a:cubicBezTo>
                  <a:pt x="4618729" y="7452515"/>
                  <a:pt x="4615667" y="7454645"/>
                  <a:pt x="4612073" y="7456109"/>
                </a:cubicBezTo>
                <a:cubicBezTo>
                  <a:pt x="4608346" y="7457573"/>
                  <a:pt x="4604485" y="7458372"/>
                  <a:pt x="4600226" y="7458372"/>
                </a:cubicBezTo>
                <a:cubicBezTo>
                  <a:pt x="4591173" y="7458372"/>
                  <a:pt x="4583985" y="7455444"/>
                  <a:pt x="4578393" y="7449852"/>
                </a:cubicBezTo>
                <a:cubicBezTo>
                  <a:pt x="4572803" y="7444128"/>
                  <a:pt x="4570007" y="7437074"/>
                  <a:pt x="4570007" y="7428687"/>
                </a:cubicBezTo>
                <a:cubicBezTo>
                  <a:pt x="4570007" y="7420434"/>
                  <a:pt x="4572803" y="7413379"/>
                  <a:pt x="4578393" y="7407654"/>
                </a:cubicBezTo>
                <a:cubicBezTo>
                  <a:pt x="4583985" y="7401930"/>
                  <a:pt x="4591173" y="7399134"/>
                  <a:pt x="4600226" y="7399134"/>
                </a:cubicBezTo>
                <a:close/>
                <a:moveTo>
                  <a:pt x="4382713" y="7399134"/>
                </a:moveTo>
                <a:cubicBezTo>
                  <a:pt x="4386840" y="7399134"/>
                  <a:pt x="4390834" y="7399933"/>
                  <a:pt x="4394428" y="7401530"/>
                </a:cubicBezTo>
                <a:cubicBezTo>
                  <a:pt x="4398155" y="7402995"/>
                  <a:pt x="4401217" y="7405124"/>
                  <a:pt x="4403746" y="7407787"/>
                </a:cubicBezTo>
                <a:cubicBezTo>
                  <a:pt x="4406275" y="7410449"/>
                  <a:pt x="4408405" y="7413645"/>
                  <a:pt x="4409869" y="7417239"/>
                </a:cubicBezTo>
                <a:cubicBezTo>
                  <a:pt x="4411334" y="7420833"/>
                  <a:pt x="4412132" y="7424561"/>
                  <a:pt x="4412132" y="7428687"/>
                </a:cubicBezTo>
                <a:cubicBezTo>
                  <a:pt x="4412132" y="7432814"/>
                  <a:pt x="4411334" y="7436807"/>
                  <a:pt x="4409869" y="7440402"/>
                </a:cubicBezTo>
                <a:cubicBezTo>
                  <a:pt x="4408405" y="7444128"/>
                  <a:pt x="4406275" y="7447191"/>
                  <a:pt x="4403746" y="7449852"/>
                </a:cubicBezTo>
                <a:cubicBezTo>
                  <a:pt x="4401083" y="7452515"/>
                  <a:pt x="4398022" y="7454645"/>
                  <a:pt x="4394428" y="7456109"/>
                </a:cubicBezTo>
                <a:cubicBezTo>
                  <a:pt x="4390834" y="7457573"/>
                  <a:pt x="4386973" y="7458372"/>
                  <a:pt x="4382713" y="7458372"/>
                </a:cubicBezTo>
                <a:cubicBezTo>
                  <a:pt x="4373661" y="7458372"/>
                  <a:pt x="4366473" y="7455444"/>
                  <a:pt x="4360881" y="7449852"/>
                </a:cubicBezTo>
                <a:cubicBezTo>
                  <a:pt x="4355290" y="7444128"/>
                  <a:pt x="4352495" y="7437074"/>
                  <a:pt x="4352495" y="7428687"/>
                </a:cubicBezTo>
                <a:cubicBezTo>
                  <a:pt x="4352495" y="7420434"/>
                  <a:pt x="4355290" y="7413379"/>
                  <a:pt x="4360881" y="7407654"/>
                </a:cubicBezTo>
                <a:cubicBezTo>
                  <a:pt x="4366473" y="7401930"/>
                  <a:pt x="4373661" y="7399134"/>
                  <a:pt x="4382713" y="7399134"/>
                </a:cubicBezTo>
                <a:close/>
                <a:moveTo>
                  <a:pt x="4165068" y="7399134"/>
                </a:moveTo>
                <a:cubicBezTo>
                  <a:pt x="4169327" y="7399134"/>
                  <a:pt x="4173188" y="7399933"/>
                  <a:pt x="4176782" y="7401530"/>
                </a:cubicBezTo>
                <a:cubicBezTo>
                  <a:pt x="4180509" y="7402995"/>
                  <a:pt x="4183571" y="7405124"/>
                  <a:pt x="4186100" y="7407787"/>
                </a:cubicBezTo>
                <a:cubicBezTo>
                  <a:pt x="4188629" y="7410449"/>
                  <a:pt x="4190759" y="7413645"/>
                  <a:pt x="4192223" y="7417239"/>
                </a:cubicBezTo>
                <a:cubicBezTo>
                  <a:pt x="4193688" y="7420833"/>
                  <a:pt x="4194486" y="7424561"/>
                  <a:pt x="4194486" y="7428687"/>
                </a:cubicBezTo>
                <a:cubicBezTo>
                  <a:pt x="4194486" y="7432814"/>
                  <a:pt x="4193688" y="7436807"/>
                  <a:pt x="4192223" y="7440402"/>
                </a:cubicBezTo>
                <a:cubicBezTo>
                  <a:pt x="4190759" y="7444128"/>
                  <a:pt x="4188629" y="7447191"/>
                  <a:pt x="4186100" y="7449852"/>
                </a:cubicBezTo>
                <a:cubicBezTo>
                  <a:pt x="4183438" y="7452515"/>
                  <a:pt x="4180376" y="7454645"/>
                  <a:pt x="4176782" y="7456109"/>
                </a:cubicBezTo>
                <a:cubicBezTo>
                  <a:pt x="4173188" y="7457573"/>
                  <a:pt x="4169327" y="7458372"/>
                  <a:pt x="4165068" y="7458372"/>
                </a:cubicBezTo>
                <a:cubicBezTo>
                  <a:pt x="4156015" y="7458372"/>
                  <a:pt x="4148827" y="7455444"/>
                  <a:pt x="4143235" y="7449852"/>
                </a:cubicBezTo>
                <a:cubicBezTo>
                  <a:pt x="4137645" y="7444128"/>
                  <a:pt x="4134849" y="7437074"/>
                  <a:pt x="4134849" y="7428687"/>
                </a:cubicBezTo>
                <a:cubicBezTo>
                  <a:pt x="4134849" y="7420434"/>
                  <a:pt x="4137645" y="7413379"/>
                  <a:pt x="4143235" y="7407654"/>
                </a:cubicBezTo>
                <a:cubicBezTo>
                  <a:pt x="4148827" y="7401930"/>
                  <a:pt x="4156015" y="7399134"/>
                  <a:pt x="4165068" y="7399134"/>
                </a:cubicBezTo>
                <a:close/>
                <a:moveTo>
                  <a:pt x="3947819" y="7399134"/>
                </a:moveTo>
                <a:cubicBezTo>
                  <a:pt x="3952085" y="7399134"/>
                  <a:pt x="3955944" y="7399933"/>
                  <a:pt x="3959539" y="7401530"/>
                </a:cubicBezTo>
                <a:cubicBezTo>
                  <a:pt x="3963267" y="7402995"/>
                  <a:pt x="3966330" y="7405124"/>
                  <a:pt x="3968857" y="7407787"/>
                </a:cubicBezTo>
                <a:cubicBezTo>
                  <a:pt x="3971388" y="7410449"/>
                  <a:pt x="3973518" y="7413645"/>
                  <a:pt x="3974981" y="7417239"/>
                </a:cubicBezTo>
                <a:cubicBezTo>
                  <a:pt x="3976446" y="7420833"/>
                  <a:pt x="3977244" y="7424561"/>
                  <a:pt x="3977244" y="7428687"/>
                </a:cubicBezTo>
                <a:cubicBezTo>
                  <a:pt x="3977244" y="7432814"/>
                  <a:pt x="3976446" y="7436807"/>
                  <a:pt x="3974981" y="7440402"/>
                </a:cubicBezTo>
                <a:cubicBezTo>
                  <a:pt x="3973518" y="7444128"/>
                  <a:pt x="3971388" y="7447191"/>
                  <a:pt x="3968857" y="7449852"/>
                </a:cubicBezTo>
                <a:cubicBezTo>
                  <a:pt x="3966196" y="7452515"/>
                  <a:pt x="3963134" y="7454645"/>
                  <a:pt x="3959539" y="7456109"/>
                </a:cubicBezTo>
                <a:cubicBezTo>
                  <a:pt x="3955944" y="7457573"/>
                  <a:pt x="3952085" y="7458372"/>
                  <a:pt x="3947819" y="7458372"/>
                </a:cubicBezTo>
                <a:cubicBezTo>
                  <a:pt x="3938768" y="7458372"/>
                  <a:pt x="3931578" y="7455444"/>
                  <a:pt x="3925988" y="7449852"/>
                </a:cubicBezTo>
                <a:cubicBezTo>
                  <a:pt x="3920397" y="7444128"/>
                  <a:pt x="3917601" y="7437074"/>
                  <a:pt x="3917601" y="7428687"/>
                </a:cubicBezTo>
                <a:cubicBezTo>
                  <a:pt x="3917601" y="7420434"/>
                  <a:pt x="3920397" y="7413379"/>
                  <a:pt x="3925988" y="7407654"/>
                </a:cubicBezTo>
                <a:cubicBezTo>
                  <a:pt x="3931578" y="7401930"/>
                  <a:pt x="3938768" y="7399134"/>
                  <a:pt x="3947819" y="7399134"/>
                </a:cubicBezTo>
                <a:close/>
                <a:moveTo>
                  <a:pt x="3730157" y="7399134"/>
                </a:moveTo>
                <a:cubicBezTo>
                  <a:pt x="3734418" y="7399134"/>
                  <a:pt x="3738411" y="7399933"/>
                  <a:pt x="3741874" y="7401530"/>
                </a:cubicBezTo>
                <a:cubicBezTo>
                  <a:pt x="3745467" y="7402995"/>
                  <a:pt x="3748662" y="7405124"/>
                  <a:pt x="3751192" y="7407787"/>
                </a:cubicBezTo>
                <a:cubicBezTo>
                  <a:pt x="3753721" y="7410449"/>
                  <a:pt x="3755851" y="7413645"/>
                  <a:pt x="3757314" y="7417239"/>
                </a:cubicBezTo>
                <a:cubicBezTo>
                  <a:pt x="3758779" y="7420833"/>
                  <a:pt x="3759578" y="7424561"/>
                  <a:pt x="3759578" y="7428687"/>
                </a:cubicBezTo>
                <a:cubicBezTo>
                  <a:pt x="3759578" y="7432814"/>
                  <a:pt x="3758779" y="7436807"/>
                  <a:pt x="3757314" y="7440402"/>
                </a:cubicBezTo>
                <a:cubicBezTo>
                  <a:pt x="3755851" y="7444128"/>
                  <a:pt x="3753721" y="7447191"/>
                  <a:pt x="3751192" y="7449852"/>
                </a:cubicBezTo>
                <a:cubicBezTo>
                  <a:pt x="3748528" y="7452515"/>
                  <a:pt x="3745467" y="7454645"/>
                  <a:pt x="3741874" y="7456109"/>
                </a:cubicBezTo>
                <a:cubicBezTo>
                  <a:pt x="3738279" y="7457573"/>
                  <a:pt x="3734418" y="7458372"/>
                  <a:pt x="3730157" y="7458372"/>
                </a:cubicBezTo>
                <a:cubicBezTo>
                  <a:pt x="3721106" y="7458372"/>
                  <a:pt x="3713909" y="7455444"/>
                  <a:pt x="3708314" y="7449852"/>
                </a:cubicBezTo>
                <a:cubicBezTo>
                  <a:pt x="3702723" y="7444128"/>
                  <a:pt x="3699927" y="7437074"/>
                  <a:pt x="3699927" y="7428687"/>
                </a:cubicBezTo>
                <a:cubicBezTo>
                  <a:pt x="3699927" y="7420434"/>
                  <a:pt x="3702723" y="7413379"/>
                  <a:pt x="3708314" y="7407654"/>
                </a:cubicBezTo>
                <a:cubicBezTo>
                  <a:pt x="3713909" y="7401930"/>
                  <a:pt x="3721106" y="7399134"/>
                  <a:pt x="3730157" y="7399134"/>
                </a:cubicBezTo>
                <a:close/>
                <a:moveTo>
                  <a:pt x="3512490" y="7399134"/>
                </a:moveTo>
                <a:cubicBezTo>
                  <a:pt x="3516752" y="7399134"/>
                  <a:pt x="3520746" y="7399933"/>
                  <a:pt x="3524207" y="7401530"/>
                </a:cubicBezTo>
                <a:cubicBezTo>
                  <a:pt x="3527801" y="7402995"/>
                  <a:pt x="3530998" y="7405124"/>
                  <a:pt x="3533526" y="7407787"/>
                </a:cubicBezTo>
                <a:cubicBezTo>
                  <a:pt x="3536055" y="7410449"/>
                  <a:pt x="3538184" y="7413645"/>
                  <a:pt x="3539648" y="7417239"/>
                </a:cubicBezTo>
                <a:cubicBezTo>
                  <a:pt x="3541113" y="7420833"/>
                  <a:pt x="3541912" y="7424561"/>
                  <a:pt x="3541912" y="7428687"/>
                </a:cubicBezTo>
                <a:cubicBezTo>
                  <a:pt x="3541912" y="7432814"/>
                  <a:pt x="3541113" y="7436807"/>
                  <a:pt x="3539648" y="7440402"/>
                </a:cubicBezTo>
                <a:cubicBezTo>
                  <a:pt x="3538184" y="7444128"/>
                  <a:pt x="3536055" y="7447191"/>
                  <a:pt x="3533526" y="7449852"/>
                </a:cubicBezTo>
                <a:cubicBezTo>
                  <a:pt x="3530864" y="7452515"/>
                  <a:pt x="3527801" y="7454645"/>
                  <a:pt x="3524207" y="7456109"/>
                </a:cubicBezTo>
                <a:cubicBezTo>
                  <a:pt x="3520613" y="7457573"/>
                  <a:pt x="3516752" y="7458372"/>
                  <a:pt x="3512490" y="7458372"/>
                </a:cubicBezTo>
                <a:cubicBezTo>
                  <a:pt x="3503436" y="7458372"/>
                  <a:pt x="3496246" y="7455444"/>
                  <a:pt x="3490654" y="7449852"/>
                </a:cubicBezTo>
                <a:cubicBezTo>
                  <a:pt x="3485062" y="7444128"/>
                  <a:pt x="3482266" y="7437074"/>
                  <a:pt x="3482266" y="7428687"/>
                </a:cubicBezTo>
                <a:cubicBezTo>
                  <a:pt x="3482266" y="7420434"/>
                  <a:pt x="3485062" y="7413379"/>
                  <a:pt x="3490654" y="7407654"/>
                </a:cubicBezTo>
                <a:cubicBezTo>
                  <a:pt x="3496246" y="7401930"/>
                  <a:pt x="3503436" y="7399134"/>
                  <a:pt x="3512490" y="7399134"/>
                </a:cubicBezTo>
                <a:close/>
                <a:moveTo>
                  <a:pt x="3294959" y="7399134"/>
                </a:moveTo>
                <a:cubicBezTo>
                  <a:pt x="3299087" y="7399134"/>
                  <a:pt x="3303080" y="7399933"/>
                  <a:pt x="3306674" y="7401530"/>
                </a:cubicBezTo>
                <a:cubicBezTo>
                  <a:pt x="3310401" y="7402995"/>
                  <a:pt x="3313464" y="7405124"/>
                  <a:pt x="3315992" y="7407787"/>
                </a:cubicBezTo>
                <a:cubicBezTo>
                  <a:pt x="3318523" y="7410449"/>
                  <a:pt x="3320652" y="7413645"/>
                  <a:pt x="3322116" y="7417239"/>
                </a:cubicBezTo>
                <a:cubicBezTo>
                  <a:pt x="3323580" y="7420833"/>
                  <a:pt x="3324377" y="7424561"/>
                  <a:pt x="3324377" y="7428687"/>
                </a:cubicBezTo>
                <a:cubicBezTo>
                  <a:pt x="3324377" y="7432814"/>
                  <a:pt x="3323580" y="7436807"/>
                  <a:pt x="3322116" y="7440402"/>
                </a:cubicBezTo>
                <a:cubicBezTo>
                  <a:pt x="3320652" y="7444128"/>
                  <a:pt x="3318523" y="7447191"/>
                  <a:pt x="3315992" y="7449852"/>
                </a:cubicBezTo>
                <a:cubicBezTo>
                  <a:pt x="3313330" y="7452515"/>
                  <a:pt x="3310269" y="7454645"/>
                  <a:pt x="3306674" y="7456109"/>
                </a:cubicBezTo>
                <a:cubicBezTo>
                  <a:pt x="3303080" y="7457573"/>
                  <a:pt x="3299220" y="7458372"/>
                  <a:pt x="3294959" y="7458372"/>
                </a:cubicBezTo>
                <a:cubicBezTo>
                  <a:pt x="3285904" y="7458372"/>
                  <a:pt x="3278713" y="7455444"/>
                  <a:pt x="3273121" y="7449852"/>
                </a:cubicBezTo>
                <a:cubicBezTo>
                  <a:pt x="3267525" y="7444128"/>
                  <a:pt x="3264731" y="7437074"/>
                  <a:pt x="3264731" y="7428687"/>
                </a:cubicBezTo>
                <a:cubicBezTo>
                  <a:pt x="3264731" y="7420434"/>
                  <a:pt x="3267525" y="7413379"/>
                  <a:pt x="3273121" y="7407654"/>
                </a:cubicBezTo>
                <a:cubicBezTo>
                  <a:pt x="3278713" y="7401930"/>
                  <a:pt x="3285904" y="7399134"/>
                  <a:pt x="3294959" y="7399134"/>
                </a:cubicBezTo>
                <a:close/>
                <a:moveTo>
                  <a:pt x="3077293" y="7399134"/>
                </a:moveTo>
                <a:cubicBezTo>
                  <a:pt x="3081421" y="7399134"/>
                  <a:pt x="3085414" y="7399933"/>
                  <a:pt x="3089008" y="7401530"/>
                </a:cubicBezTo>
                <a:cubicBezTo>
                  <a:pt x="3092602" y="7402995"/>
                  <a:pt x="3095798" y="7405124"/>
                  <a:pt x="3098326" y="7407787"/>
                </a:cubicBezTo>
                <a:cubicBezTo>
                  <a:pt x="3100855" y="7410449"/>
                  <a:pt x="3102985" y="7413645"/>
                  <a:pt x="3104449" y="7417239"/>
                </a:cubicBezTo>
                <a:cubicBezTo>
                  <a:pt x="3105915" y="7420833"/>
                  <a:pt x="3106713" y="7424561"/>
                  <a:pt x="3106713" y="7428687"/>
                </a:cubicBezTo>
                <a:cubicBezTo>
                  <a:pt x="3106713" y="7432814"/>
                  <a:pt x="3105915" y="7436807"/>
                  <a:pt x="3104449" y="7440402"/>
                </a:cubicBezTo>
                <a:cubicBezTo>
                  <a:pt x="3102985" y="7444128"/>
                  <a:pt x="3100855" y="7447191"/>
                  <a:pt x="3098326" y="7449852"/>
                </a:cubicBezTo>
                <a:cubicBezTo>
                  <a:pt x="3095664" y="7452515"/>
                  <a:pt x="3092602" y="7454645"/>
                  <a:pt x="3089008" y="7456109"/>
                </a:cubicBezTo>
                <a:cubicBezTo>
                  <a:pt x="3085414" y="7457573"/>
                  <a:pt x="3081555" y="7458372"/>
                  <a:pt x="3077293" y="7458372"/>
                </a:cubicBezTo>
                <a:cubicBezTo>
                  <a:pt x="3068374" y="7458372"/>
                  <a:pt x="3061048" y="7455444"/>
                  <a:pt x="3055452" y="7449852"/>
                </a:cubicBezTo>
                <a:cubicBezTo>
                  <a:pt x="3049862" y="7444128"/>
                  <a:pt x="3047067" y="7437074"/>
                  <a:pt x="3047067" y="7428687"/>
                </a:cubicBezTo>
                <a:cubicBezTo>
                  <a:pt x="3047067" y="7420434"/>
                  <a:pt x="3049862" y="7413379"/>
                  <a:pt x="3055452" y="7407654"/>
                </a:cubicBezTo>
                <a:cubicBezTo>
                  <a:pt x="3061048" y="7401930"/>
                  <a:pt x="3068237" y="7399134"/>
                  <a:pt x="3077293" y="7399134"/>
                </a:cubicBezTo>
                <a:close/>
                <a:moveTo>
                  <a:pt x="2859628" y="7399134"/>
                </a:moveTo>
                <a:cubicBezTo>
                  <a:pt x="2863888" y="7399134"/>
                  <a:pt x="2867748" y="7399933"/>
                  <a:pt x="2871477" y="7401530"/>
                </a:cubicBezTo>
                <a:cubicBezTo>
                  <a:pt x="2875202" y="7402995"/>
                  <a:pt x="2878265" y="7405124"/>
                  <a:pt x="2880793" y="7407787"/>
                </a:cubicBezTo>
                <a:cubicBezTo>
                  <a:pt x="2883456" y="7410449"/>
                  <a:pt x="2885453" y="7413645"/>
                  <a:pt x="2886917" y="7417239"/>
                </a:cubicBezTo>
                <a:cubicBezTo>
                  <a:pt x="2888382" y="7420833"/>
                  <a:pt x="2889179" y="7424561"/>
                  <a:pt x="2889179" y="7428687"/>
                </a:cubicBezTo>
                <a:cubicBezTo>
                  <a:pt x="2889179" y="7432814"/>
                  <a:pt x="2888382" y="7436807"/>
                  <a:pt x="2886917" y="7440402"/>
                </a:cubicBezTo>
                <a:cubicBezTo>
                  <a:pt x="2885453" y="7444128"/>
                  <a:pt x="2883324" y="7447191"/>
                  <a:pt x="2880793" y="7449852"/>
                </a:cubicBezTo>
                <a:cubicBezTo>
                  <a:pt x="2878132" y="7452515"/>
                  <a:pt x="2875069" y="7454645"/>
                  <a:pt x="2871477" y="7456109"/>
                </a:cubicBezTo>
                <a:cubicBezTo>
                  <a:pt x="2867748" y="7457573"/>
                  <a:pt x="2863888" y="7458372"/>
                  <a:pt x="2859628" y="7458372"/>
                </a:cubicBezTo>
                <a:cubicBezTo>
                  <a:pt x="2850708" y="7458372"/>
                  <a:pt x="2843378" y="7455444"/>
                  <a:pt x="2837788" y="7449852"/>
                </a:cubicBezTo>
                <a:cubicBezTo>
                  <a:pt x="2832196" y="7444128"/>
                  <a:pt x="2829398" y="7437074"/>
                  <a:pt x="2829398" y="7428687"/>
                </a:cubicBezTo>
                <a:cubicBezTo>
                  <a:pt x="2829398" y="7420434"/>
                  <a:pt x="2832196" y="7413379"/>
                  <a:pt x="2837788" y="7407654"/>
                </a:cubicBezTo>
                <a:cubicBezTo>
                  <a:pt x="2843378" y="7401930"/>
                  <a:pt x="2850573" y="7399134"/>
                  <a:pt x="2859628" y="7399134"/>
                </a:cubicBezTo>
                <a:close/>
                <a:moveTo>
                  <a:pt x="2641962" y="7399134"/>
                </a:moveTo>
                <a:cubicBezTo>
                  <a:pt x="2646222" y="7399134"/>
                  <a:pt x="2650081" y="7399933"/>
                  <a:pt x="2653677" y="7401530"/>
                </a:cubicBezTo>
                <a:cubicBezTo>
                  <a:pt x="2657402" y="7402995"/>
                  <a:pt x="2660465" y="7405124"/>
                  <a:pt x="2662995" y="7407787"/>
                </a:cubicBezTo>
                <a:cubicBezTo>
                  <a:pt x="2665656" y="7410449"/>
                  <a:pt x="2667654" y="7413645"/>
                  <a:pt x="2669117" y="7417239"/>
                </a:cubicBezTo>
                <a:cubicBezTo>
                  <a:pt x="2670582" y="7420833"/>
                  <a:pt x="2671381" y="7424561"/>
                  <a:pt x="2671381" y="7428687"/>
                </a:cubicBezTo>
                <a:cubicBezTo>
                  <a:pt x="2671381" y="7432814"/>
                  <a:pt x="2670582" y="7436807"/>
                  <a:pt x="2669117" y="7440402"/>
                </a:cubicBezTo>
                <a:cubicBezTo>
                  <a:pt x="2667654" y="7444128"/>
                  <a:pt x="2665524" y="7447191"/>
                  <a:pt x="2662995" y="7449852"/>
                </a:cubicBezTo>
                <a:cubicBezTo>
                  <a:pt x="2660465" y="7452515"/>
                  <a:pt x="2657270" y="7454645"/>
                  <a:pt x="2653677" y="7456109"/>
                </a:cubicBezTo>
                <a:cubicBezTo>
                  <a:pt x="2650081" y="7457573"/>
                  <a:pt x="2646222" y="7458372"/>
                  <a:pt x="2641962" y="7458372"/>
                </a:cubicBezTo>
                <a:cubicBezTo>
                  <a:pt x="2633041" y="7458372"/>
                  <a:pt x="2625719" y="7455444"/>
                  <a:pt x="2620127" y="7449852"/>
                </a:cubicBezTo>
                <a:cubicBezTo>
                  <a:pt x="2614533" y="7444128"/>
                  <a:pt x="2611735" y="7437074"/>
                  <a:pt x="2611735" y="7428687"/>
                </a:cubicBezTo>
                <a:cubicBezTo>
                  <a:pt x="2611735" y="7420434"/>
                  <a:pt x="2614533" y="7413379"/>
                  <a:pt x="2620127" y="7407654"/>
                </a:cubicBezTo>
                <a:cubicBezTo>
                  <a:pt x="2625719" y="7401930"/>
                  <a:pt x="2632909" y="7399134"/>
                  <a:pt x="2641962" y="7399134"/>
                </a:cubicBezTo>
                <a:close/>
                <a:moveTo>
                  <a:pt x="2424294" y="7399134"/>
                </a:moveTo>
                <a:cubicBezTo>
                  <a:pt x="2428554" y="7399134"/>
                  <a:pt x="2432550" y="7399933"/>
                  <a:pt x="2436011" y="7401530"/>
                </a:cubicBezTo>
                <a:cubicBezTo>
                  <a:pt x="2439737" y="7402995"/>
                  <a:pt x="2442800" y="7405124"/>
                  <a:pt x="2445329" y="7407787"/>
                </a:cubicBezTo>
                <a:cubicBezTo>
                  <a:pt x="2447990" y="7410449"/>
                  <a:pt x="2449987" y="7413645"/>
                  <a:pt x="2451451" y="7417239"/>
                </a:cubicBezTo>
                <a:cubicBezTo>
                  <a:pt x="2452916" y="7420833"/>
                  <a:pt x="2453715" y="7424561"/>
                  <a:pt x="2453715" y="7428687"/>
                </a:cubicBezTo>
                <a:cubicBezTo>
                  <a:pt x="2453715" y="7432814"/>
                  <a:pt x="2452916" y="7436807"/>
                  <a:pt x="2451451" y="7440402"/>
                </a:cubicBezTo>
                <a:cubicBezTo>
                  <a:pt x="2449987" y="7444128"/>
                  <a:pt x="2447858" y="7447191"/>
                  <a:pt x="2445329" y="7449852"/>
                </a:cubicBezTo>
                <a:cubicBezTo>
                  <a:pt x="2442800" y="7452515"/>
                  <a:pt x="2439605" y="7454645"/>
                  <a:pt x="2436011" y="7456109"/>
                </a:cubicBezTo>
                <a:cubicBezTo>
                  <a:pt x="2432416" y="7457573"/>
                  <a:pt x="2428554" y="7458372"/>
                  <a:pt x="2424294" y="7458372"/>
                </a:cubicBezTo>
                <a:cubicBezTo>
                  <a:pt x="2415377" y="7458372"/>
                  <a:pt x="2408055" y="7455444"/>
                  <a:pt x="2402462" y="7449852"/>
                </a:cubicBezTo>
                <a:cubicBezTo>
                  <a:pt x="2396869" y="7444128"/>
                  <a:pt x="2394072" y="7437074"/>
                  <a:pt x="2394072" y="7428687"/>
                </a:cubicBezTo>
                <a:cubicBezTo>
                  <a:pt x="2394072" y="7420434"/>
                  <a:pt x="2396869" y="7413379"/>
                  <a:pt x="2402462" y="7407654"/>
                </a:cubicBezTo>
                <a:cubicBezTo>
                  <a:pt x="2408055" y="7401930"/>
                  <a:pt x="2415243" y="7399134"/>
                  <a:pt x="2424294" y="7399134"/>
                </a:cubicBezTo>
                <a:close/>
                <a:moveTo>
                  <a:pt x="2206629" y="7399134"/>
                </a:moveTo>
                <a:cubicBezTo>
                  <a:pt x="2210888" y="7399134"/>
                  <a:pt x="2214883" y="7399933"/>
                  <a:pt x="2218344" y="7401530"/>
                </a:cubicBezTo>
                <a:cubicBezTo>
                  <a:pt x="2222070" y="7402995"/>
                  <a:pt x="2225132" y="7405124"/>
                  <a:pt x="2227663" y="7407787"/>
                </a:cubicBezTo>
                <a:cubicBezTo>
                  <a:pt x="2230324" y="7410449"/>
                  <a:pt x="2232321" y="7413645"/>
                  <a:pt x="2233786" y="7417239"/>
                </a:cubicBezTo>
                <a:cubicBezTo>
                  <a:pt x="2235250" y="7420833"/>
                  <a:pt x="2236050" y="7424561"/>
                  <a:pt x="2236050" y="7428687"/>
                </a:cubicBezTo>
                <a:cubicBezTo>
                  <a:pt x="2236050" y="7432814"/>
                  <a:pt x="2235250" y="7436807"/>
                  <a:pt x="2233786" y="7440402"/>
                </a:cubicBezTo>
                <a:cubicBezTo>
                  <a:pt x="2232321" y="7444128"/>
                  <a:pt x="2230191" y="7447191"/>
                  <a:pt x="2227663" y="7449852"/>
                </a:cubicBezTo>
                <a:cubicBezTo>
                  <a:pt x="2225132" y="7452515"/>
                  <a:pt x="2221939" y="7454645"/>
                  <a:pt x="2218344" y="7456109"/>
                </a:cubicBezTo>
                <a:cubicBezTo>
                  <a:pt x="2214750" y="7457573"/>
                  <a:pt x="2210888" y="7458372"/>
                  <a:pt x="2206629" y="7458372"/>
                </a:cubicBezTo>
                <a:cubicBezTo>
                  <a:pt x="2197577" y="7458372"/>
                  <a:pt x="2190388" y="7455444"/>
                  <a:pt x="2184796" y="7449852"/>
                </a:cubicBezTo>
                <a:cubicBezTo>
                  <a:pt x="2179204" y="7444128"/>
                  <a:pt x="2176408" y="7437074"/>
                  <a:pt x="2176408" y="7428687"/>
                </a:cubicBezTo>
                <a:cubicBezTo>
                  <a:pt x="2176408" y="7420434"/>
                  <a:pt x="2179204" y="7413379"/>
                  <a:pt x="2184796" y="7407654"/>
                </a:cubicBezTo>
                <a:cubicBezTo>
                  <a:pt x="2190388" y="7401930"/>
                  <a:pt x="2197577" y="7399134"/>
                  <a:pt x="2206629" y="7399134"/>
                </a:cubicBezTo>
                <a:close/>
                <a:moveTo>
                  <a:pt x="1989097" y="7399134"/>
                </a:moveTo>
                <a:cubicBezTo>
                  <a:pt x="1993224" y="7399134"/>
                  <a:pt x="1997218" y="7399933"/>
                  <a:pt x="2000811" y="7401530"/>
                </a:cubicBezTo>
                <a:cubicBezTo>
                  <a:pt x="2004539" y="7402995"/>
                  <a:pt x="2007600" y="7405124"/>
                  <a:pt x="2010130" y="7407787"/>
                </a:cubicBezTo>
                <a:cubicBezTo>
                  <a:pt x="2012791" y="7410449"/>
                  <a:pt x="2014788" y="7413645"/>
                  <a:pt x="2016252" y="7417239"/>
                </a:cubicBezTo>
                <a:cubicBezTo>
                  <a:pt x="2017718" y="7420833"/>
                  <a:pt x="2018515" y="7424561"/>
                  <a:pt x="2018515" y="7428687"/>
                </a:cubicBezTo>
                <a:cubicBezTo>
                  <a:pt x="2018515" y="7432814"/>
                  <a:pt x="2017718" y="7436807"/>
                  <a:pt x="2016252" y="7440402"/>
                </a:cubicBezTo>
                <a:cubicBezTo>
                  <a:pt x="2014788" y="7444128"/>
                  <a:pt x="2012658" y="7447191"/>
                  <a:pt x="2010130" y="7449852"/>
                </a:cubicBezTo>
                <a:cubicBezTo>
                  <a:pt x="2007600" y="7452515"/>
                  <a:pt x="2004405" y="7454645"/>
                  <a:pt x="2000811" y="7456109"/>
                </a:cubicBezTo>
                <a:cubicBezTo>
                  <a:pt x="1997218" y="7457573"/>
                  <a:pt x="1993357" y="7458372"/>
                  <a:pt x="1989097" y="7458372"/>
                </a:cubicBezTo>
                <a:cubicBezTo>
                  <a:pt x="1980046" y="7458372"/>
                  <a:pt x="1972857" y="7455444"/>
                  <a:pt x="1967266" y="7449852"/>
                </a:cubicBezTo>
                <a:cubicBezTo>
                  <a:pt x="1961676" y="7444128"/>
                  <a:pt x="1958880" y="7437074"/>
                  <a:pt x="1958880" y="7428687"/>
                </a:cubicBezTo>
                <a:cubicBezTo>
                  <a:pt x="1958880" y="7420434"/>
                  <a:pt x="1961676" y="7413379"/>
                  <a:pt x="1967266" y="7407654"/>
                </a:cubicBezTo>
                <a:cubicBezTo>
                  <a:pt x="1972857" y="7401930"/>
                  <a:pt x="1980046" y="7399134"/>
                  <a:pt x="1989097" y="7399134"/>
                </a:cubicBezTo>
                <a:close/>
                <a:moveTo>
                  <a:pt x="1771467" y="7399134"/>
                </a:moveTo>
                <a:cubicBezTo>
                  <a:pt x="1775727" y="7399134"/>
                  <a:pt x="1779585" y="7399933"/>
                  <a:pt x="1783180" y="7401530"/>
                </a:cubicBezTo>
                <a:cubicBezTo>
                  <a:pt x="1786907" y="7402995"/>
                  <a:pt x="1789969" y="7405124"/>
                  <a:pt x="1792498" y="7407787"/>
                </a:cubicBezTo>
                <a:cubicBezTo>
                  <a:pt x="1795160" y="7410449"/>
                  <a:pt x="1797157" y="7413645"/>
                  <a:pt x="1798621" y="7417239"/>
                </a:cubicBezTo>
                <a:cubicBezTo>
                  <a:pt x="1800084" y="7420833"/>
                  <a:pt x="1800883" y="7424561"/>
                  <a:pt x="1800883" y="7428687"/>
                </a:cubicBezTo>
                <a:cubicBezTo>
                  <a:pt x="1800883" y="7432814"/>
                  <a:pt x="1800084" y="7436807"/>
                  <a:pt x="1798621" y="7440402"/>
                </a:cubicBezTo>
                <a:cubicBezTo>
                  <a:pt x="1797157" y="7444128"/>
                  <a:pt x="1795027" y="7447191"/>
                  <a:pt x="1792498" y="7449852"/>
                </a:cubicBezTo>
                <a:cubicBezTo>
                  <a:pt x="1789835" y="7452515"/>
                  <a:pt x="1786775" y="7454645"/>
                  <a:pt x="1783180" y="7456109"/>
                </a:cubicBezTo>
                <a:cubicBezTo>
                  <a:pt x="1779585" y="7457573"/>
                  <a:pt x="1775727" y="7458372"/>
                  <a:pt x="1771467" y="7458372"/>
                </a:cubicBezTo>
                <a:cubicBezTo>
                  <a:pt x="1762549" y="7458372"/>
                  <a:pt x="1755229" y="7455444"/>
                  <a:pt x="1749638" y="7449852"/>
                </a:cubicBezTo>
                <a:cubicBezTo>
                  <a:pt x="1744049" y="7444128"/>
                  <a:pt x="1741255" y="7437074"/>
                  <a:pt x="1741255" y="7428687"/>
                </a:cubicBezTo>
                <a:cubicBezTo>
                  <a:pt x="1741255" y="7420434"/>
                  <a:pt x="1744049" y="7413379"/>
                  <a:pt x="1749638" y="7407654"/>
                </a:cubicBezTo>
                <a:cubicBezTo>
                  <a:pt x="1755229" y="7401930"/>
                  <a:pt x="1762416" y="7399134"/>
                  <a:pt x="1771467" y="7399134"/>
                </a:cubicBezTo>
                <a:close/>
                <a:moveTo>
                  <a:pt x="1553833" y="7399134"/>
                </a:moveTo>
                <a:cubicBezTo>
                  <a:pt x="1558091" y="7399134"/>
                  <a:pt x="1561953" y="7399933"/>
                  <a:pt x="1565547" y="7401530"/>
                </a:cubicBezTo>
                <a:cubicBezTo>
                  <a:pt x="1569141" y="7402995"/>
                  <a:pt x="1572336" y="7405124"/>
                  <a:pt x="1574865" y="7407787"/>
                </a:cubicBezTo>
                <a:cubicBezTo>
                  <a:pt x="1577527" y="7410449"/>
                  <a:pt x="1579524" y="7413645"/>
                  <a:pt x="1580988" y="7417239"/>
                </a:cubicBezTo>
                <a:cubicBezTo>
                  <a:pt x="1582452" y="7420833"/>
                  <a:pt x="1583251" y="7424561"/>
                  <a:pt x="1583251" y="7428687"/>
                </a:cubicBezTo>
                <a:cubicBezTo>
                  <a:pt x="1583251" y="7432814"/>
                  <a:pt x="1582452" y="7436807"/>
                  <a:pt x="1580988" y="7440402"/>
                </a:cubicBezTo>
                <a:cubicBezTo>
                  <a:pt x="1579524" y="7444128"/>
                  <a:pt x="1577395" y="7447191"/>
                  <a:pt x="1574865" y="7449852"/>
                </a:cubicBezTo>
                <a:cubicBezTo>
                  <a:pt x="1572203" y="7452515"/>
                  <a:pt x="1569141" y="7454645"/>
                  <a:pt x="1565547" y="7456109"/>
                </a:cubicBezTo>
                <a:cubicBezTo>
                  <a:pt x="1561953" y="7457573"/>
                  <a:pt x="1558091" y="7458372"/>
                  <a:pt x="1553833" y="7458372"/>
                </a:cubicBezTo>
                <a:cubicBezTo>
                  <a:pt x="1544914" y="7458372"/>
                  <a:pt x="1537592" y="7455444"/>
                  <a:pt x="1532003" y="7449852"/>
                </a:cubicBezTo>
                <a:cubicBezTo>
                  <a:pt x="1526415" y="7444128"/>
                  <a:pt x="1523618" y="7437074"/>
                  <a:pt x="1523618" y="7428687"/>
                </a:cubicBezTo>
                <a:cubicBezTo>
                  <a:pt x="1523618" y="7420434"/>
                  <a:pt x="1526415" y="7413379"/>
                  <a:pt x="1532003" y="7407654"/>
                </a:cubicBezTo>
                <a:cubicBezTo>
                  <a:pt x="1537592" y="7401930"/>
                  <a:pt x="1544780" y="7399134"/>
                  <a:pt x="1553833" y="7399134"/>
                </a:cubicBezTo>
                <a:close/>
                <a:moveTo>
                  <a:pt x="1336190" y="7399134"/>
                </a:moveTo>
                <a:cubicBezTo>
                  <a:pt x="1340450" y="7399134"/>
                  <a:pt x="1344444" y="7399933"/>
                  <a:pt x="1347905" y="7401530"/>
                </a:cubicBezTo>
                <a:cubicBezTo>
                  <a:pt x="1351497" y="7402995"/>
                  <a:pt x="1354692" y="7405124"/>
                  <a:pt x="1357222" y="7407787"/>
                </a:cubicBezTo>
                <a:cubicBezTo>
                  <a:pt x="1359884" y="7410449"/>
                  <a:pt x="1361882" y="7413645"/>
                  <a:pt x="1363345" y="7417239"/>
                </a:cubicBezTo>
                <a:cubicBezTo>
                  <a:pt x="1364810" y="7420833"/>
                  <a:pt x="1365608" y="7424561"/>
                  <a:pt x="1365608" y="7428687"/>
                </a:cubicBezTo>
                <a:cubicBezTo>
                  <a:pt x="1365608" y="7432814"/>
                  <a:pt x="1364810" y="7436807"/>
                  <a:pt x="1363345" y="7440402"/>
                </a:cubicBezTo>
                <a:cubicBezTo>
                  <a:pt x="1361882" y="7444128"/>
                  <a:pt x="1359752" y="7447191"/>
                  <a:pt x="1357222" y="7449852"/>
                </a:cubicBezTo>
                <a:cubicBezTo>
                  <a:pt x="1354560" y="7452515"/>
                  <a:pt x="1351497" y="7454645"/>
                  <a:pt x="1347905" y="7456109"/>
                </a:cubicBezTo>
                <a:cubicBezTo>
                  <a:pt x="1344312" y="7457573"/>
                  <a:pt x="1340450" y="7458372"/>
                  <a:pt x="1336190" y="7458372"/>
                </a:cubicBezTo>
                <a:cubicBezTo>
                  <a:pt x="1327268" y="7458372"/>
                  <a:pt x="1319947" y="7455444"/>
                  <a:pt x="1314356" y="7449852"/>
                </a:cubicBezTo>
                <a:cubicBezTo>
                  <a:pt x="1308766" y="7444128"/>
                  <a:pt x="1305970" y="7437074"/>
                  <a:pt x="1305970" y="7428687"/>
                </a:cubicBezTo>
                <a:cubicBezTo>
                  <a:pt x="1305970" y="7420434"/>
                  <a:pt x="1308766" y="7413379"/>
                  <a:pt x="1314356" y="7407654"/>
                </a:cubicBezTo>
                <a:cubicBezTo>
                  <a:pt x="1319947" y="7401930"/>
                  <a:pt x="1327136" y="7399134"/>
                  <a:pt x="1336190" y="7399134"/>
                </a:cubicBezTo>
                <a:close/>
                <a:moveTo>
                  <a:pt x="1118543" y="7399134"/>
                </a:moveTo>
                <a:cubicBezTo>
                  <a:pt x="1122804" y="7399134"/>
                  <a:pt x="1126799" y="7399933"/>
                  <a:pt x="1130262" y="7401530"/>
                </a:cubicBezTo>
                <a:cubicBezTo>
                  <a:pt x="1133989" y="7402995"/>
                  <a:pt x="1137051" y="7405124"/>
                  <a:pt x="1139575" y="7407787"/>
                </a:cubicBezTo>
                <a:cubicBezTo>
                  <a:pt x="1142236" y="7410449"/>
                  <a:pt x="1144231" y="7413645"/>
                  <a:pt x="1145695" y="7417239"/>
                </a:cubicBezTo>
                <a:cubicBezTo>
                  <a:pt x="1147160" y="7420833"/>
                  <a:pt x="1147959" y="7424561"/>
                  <a:pt x="1147959" y="7428687"/>
                </a:cubicBezTo>
                <a:cubicBezTo>
                  <a:pt x="1147959" y="7432814"/>
                  <a:pt x="1147160" y="7436807"/>
                  <a:pt x="1145695" y="7440402"/>
                </a:cubicBezTo>
                <a:cubicBezTo>
                  <a:pt x="1144231" y="7444128"/>
                  <a:pt x="1142103" y="7447191"/>
                  <a:pt x="1139575" y="7449852"/>
                </a:cubicBezTo>
                <a:cubicBezTo>
                  <a:pt x="1137051" y="7452515"/>
                  <a:pt x="1133856" y="7454645"/>
                  <a:pt x="1130262" y="7456109"/>
                </a:cubicBezTo>
                <a:cubicBezTo>
                  <a:pt x="1126665" y="7457573"/>
                  <a:pt x="1122804" y="7458372"/>
                  <a:pt x="1118543" y="7458372"/>
                </a:cubicBezTo>
                <a:cubicBezTo>
                  <a:pt x="1109623" y="7458372"/>
                  <a:pt x="1102301" y="7455444"/>
                  <a:pt x="1096707" y="7449852"/>
                </a:cubicBezTo>
                <a:cubicBezTo>
                  <a:pt x="1091118" y="7444128"/>
                  <a:pt x="1088323" y="7437074"/>
                  <a:pt x="1088323" y="7428687"/>
                </a:cubicBezTo>
                <a:cubicBezTo>
                  <a:pt x="1088323" y="7420434"/>
                  <a:pt x="1091118" y="7413379"/>
                  <a:pt x="1096707" y="7407654"/>
                </a:cubicBezTo>
                <a:cubicBezTo>
                  <a:pt x="1102301" y="7401930"/>
                  <a:pt x="1109489" y="7399134"/>
                  <a:pt x="1118543" y="7399134"/>
                </a:cubicBezTo>
                <a:close/>
                <a:moveTo>
                  <a:pt x="901029" y="7399134"/>
                </a:moveTo>
                <a:cubicBezTo>
                  <a:pt x="905157" y="7399134"/>
                  <a:pt x="909151" y="7399933"/>
                  <a:pt x="912745" y="7401530"/>
                </a:cubicBezTo>
                <a:cubicBezTo>
                  <a:pt x="916472" y="7402995"/>
                  <a:pt x="919534" y="7405124"/>
                  <a:pt x="922063" y="7407787"/>
                </a:cubicBezTo>
                <a:cubicBezTo>
                  <a:pt x="924725" y="7410449"/>
                  <a:pt x="926722" y="7413645"/>
                  <a:pt x="928186" y="7417239"/>
                </a:cubicBezTo>
                <a:cubicBezTo>
                  <a:pt x="929650" y="7420833"/>
                  <a:pt x="930448" y="7424561"/>
                  <a:pt x="930448" y="7428687"/>
                </a:cubicBezTo>
                <a:cubicBezTo>
                  <a:pt x="930448" y="7432814"/>
                  <a:pt x="929650" y="7436807"/>
                  <a:pt x="928186" y="7440402"/>
                </a:cubicBezTo>
                <a:cubicBezTo>
                  <a:pt x="926722" y="7444128"/>
                  <a:pt x="924592" y="7447191"/>
                  <a:pt x="922063" y="7449852"/>
                </a:cubicBezTo>
                <a:cubicBezTo>
                  <a:pt x="919534" y="7452515"/>
                  <a:pt x="916339" y="7454645"/>
                  <a:pt x="912745" y="7456109"/>
                </a:cubicBezTo>
                <a:cubicBezTo>
                  <a:pt x="909151" y="7457573"/>
                  <a:pt x="905290" y="7458372"/>
                  <a:pt x="901029" y="7458372"/>
                </a:cubicBezTo>
                <a:cubicBezTo>
                  <a:pt x="892111" y="7458372"/>
                  <a:pt x="884790" y="7455444"/>
                  <a:pt x="879200" y="7449852"/>
                </a:cubicBezTo>
                <a:cubicBezTo>
                  <a:pt x="873610" y="7444128"/>
                  <a:pt x="870814" y="7437074"/>
                  <a:pt x="870814" y="7428687"/>
                </a:cubicBezTo>
                <a:cubicBezTo>
                  <a:pt x="870814" y="7420434"/>
                  <a:pt x="873610" y="7413379"/>
                  <a:pt x="879200" y="7407654"/>
                </a:cubicBezTo>
                <a:cubicBezTo>
                  <a:pt x="884790" y="7401930"/>
                  <a:pt x="891979" y="7399134"/>
                  <a:pt x="901029" y="7399134"/>
                </a:cubicBezTo>
                <a:close/>
                <a:moveTo>
                  <a:pt x="683390" y="7399134"/>
                </a:moveTo>
                <a:cubicBezTo>
                  <a:pt x="687651" y="7399134"/>
                  <a:pt x="691512" y="7399933"/>
                  <a:pt x="695106" y="7401530"/>
                </a:cubicBezTo>
                <a:cubicBezTo>
                  <a:pt x="698833" y="7402995"/>
                  <a:pt x="701893" y="7405124"/>
                  <a:pt x="704423" y="7407787"/>
                </a:cubicBezTo>
                <a:cubicBezTo>
                  <a:pt x="707085" y="7410449"/>
                  <a:pt x="709082" y="7413645"/>
                  <a:pt x="710546" y="7417239"/>
                </a:cubicBezTo>
                <a:cubicBezTo>
                  <a:pt x="712009" y="7420833"/>
                  <a:pt x="712808" y="7424561"/>
                  <a:pt x="712808" y="7428687"/>
                </a:cubicBezTo>
                <a:cubicBezTo>
                  <a:pt x="712808" y="7432814"/>
                  <a:pt x="712009" y="7436807"/>
                  <a:pt x="710546" y="7440402"/>
                </a:cubicBezTo>
                <a:cubicBezTo>
                  <a:pt x="709082" y="7444128"/>
                  <a:pt x="706952" y="7447191"/>
                  <a:pt x="704423" y="7449852"/>
                </a:cubicBezTo>
                <a:cubicBezTo>
                  <a:pt x="701893" y="7452515"/>
                  <a:pt x="698700" y="7454645"/>
                  <a:pt x="695106" y="7456109"/>
                </a:cubicBezTo>
                <a:cubicBezTo>
                  <a:pt x="691512" y="7457573"/>
                  <a:pt x="687651" y="7458372"/>
                  <a:pt x="683390" y="7458372"/>
                </a:cubicBezTo>
                <a:cubicBezTo>
                  <a:pt x="674472" y="7458372"/>
                  <a:pt x="667151" y="7455444"/>
                  <a:pt x="661560" y="7449852"/>
                </a:cubicBezTo>
                <a:cubicBezTo>
                  <a:pt x="655968" y="7444128"/>
                  <a:pt x="653174" y="7437074"/>
                  <a:pt x="653174" y="7428687"/>
                </a:cubicBezTo>
                <a:cubicBezTo>
                  <a:pt x="653174" y="7420434"/>
                  <a:pt x="655968" y="7413379"/>
                  <a:pt x="661560" y="7407654"/>
                </a:cubicBezTo>
                <a:cubicBezTo>
                  <a:pt x="667151" y="7401930"/>
                  <a:pt x="674340" y="7399134"/>
                  <a:pt x="683390" y="7399134"/>
                </a:cubicBezTo>
                <a:close/>
                <a:moveTo>
                  <a:pt x="465751" y="7399134"/>
                </a:moveTo>
                <a:cubicBezTo>
                  <a:pt x="470010" y="7399134"/>
                  <a:pt x="473871" y="7399933"/>
                  <a:pt x="477466" y="7401530"/>
                </a:cubicBezTo>
                <a:cubicBezTo>
                  <a:pt x="481193" y="7402995"/>
                  <a:pt x="484254" y="7405124"/>
                  <a:pt x="486783" y="7407787"/>
                </a:cubicBezTo>
                <a:cubicBezTo>
                  <a:pt x="489445" y="7410449"/>
                  <a:pt x="491442" y="7413645"/>
                  <a:pt x="492906" y="7417239"/>
                </a:cubicBezTo>
                <a:cubicBezTo>
                  <a:pt x="494369" y="7420833"/>
                  <a:pt x="495169" y="7424561"/>
                  <a:pt x="495169" y="7428687"/>
                </a:cubicBezTo>
                <a:cubicBezTo>
                  <a:pt x="495169" y="7432814"/>
                  <a:pt x="494369" y="7436807"/>
                  <a:pt x="492906" y="7440402"/>
                </a:cubicBezTo>
                <a:cubicBezTo>
                  <a:pt x="491442" y="7444128"/>
                  <a:pt x="489311" y="7447191"/>
                  <a:pt x="486783" y="7449852"/>
                </a:cubicBezTo>
                <a:cubicBezTo>
                  <a:pt x="484120" y="7452515"/>
                  <a:pt x="481060" y="7454645"/>
                  <a:pt x="477466" y="7456109"/>
                </a:cubicBezTo>
                <a:cubicBezTo>
                  <a:pt x="473871" y="7457573"/>
                  <a:pt x="470010" y="7458372"/>
                  <a:pt x="465751" y="7458372"/>
                </a:cubicBezTo>
                <a:cubicBezTo>
                  <a:pt x="456832" y="7458372"/>
                  <a:pt x="449511" y="7455444"/>
                  <a:pt x="443920" y="7449852"/>
                </a:cubicBezTo>
                <a:cubicBezTo>
                  <a:pt x="438328" y="7444128"/>
                  <a:pt x="435534" y="7437074"/>
                  <a:pt x="435534" y="7428687"/>
                </a:cubicBezTo>
                <a:cubicBezTo>
                  <a:pt x="435534" y="7420434"/>
                  <a:pt x="438328" y="7413379"/>
                  <a:pt x="443920" y="7407654"/>
                </a:cubicBezTo>
                <a:cubicBezTo>
                  <a:pt x="449511" y="7401930"/>
                  <a:pt x="456699" y="7399134"/>
                  <a:pt x="465751" y="7399134"/>
                </a:cubicBezTo>
                <a:close/>
                <a:moveTo>
                  <a:pt x="248110" y="7399134"/>
                </a:moveTo>
                <a:cubicBezTo>
                  <a:pt x="252369" y="7399134"/>
                  <a:pt x="256363" y="7399933"/>
                  <a:pt x="259824" y="7401530"/>
                </a:cubicBezTo>
                <a:cubicBezTo>
                  <a:pt x="263551" y="7402995"/>
                  <a:pt x="266613" y="7405124"/>
                  <a:pt x="269142" y="7407787"/>
                </a:cubicBezTo>
                <a:cubicBezTo>
                  <a:pt x="271804" y="7410449"/>
                  <a:pt x="273801" y="7413645"/>
                  <a:pt x="275265" y="7417239"/>
                </a:cubicBezTo>
                <a:cubicBezTo>
                  <a:pt x="276729" y="7420833"/>
                  <a:pt x="277528" y="7424561"/>
                  <a:pt x="277528" y="7428687"/>
                </a:cubicBezTo>
                <a:cubicBezTo>
                  <a:pt x="277528" y="7432814"/>
                  <a:pt x="276729" y="7436807"/>
                  <a:pt x="275265" y="7440402"/>
                </a:cubicBezTo>
                <a:cubicBezTo>
                  <a:pt x="273801" y="7444128"/>
                  <a:pt x="271671" y="7447191"/>
                  <a:pt x="269142" y="7449852"/>
                </a:cubicBezTo>
                <a:cubicBezTo>
                  <a:pt x="266479" y="7452515"/>
                  <a:pt x="263418" y="7454645"/>
                  <a:pt x="259824" y="7456109"/>
                </a:cubicBezTo>
                <a:cubicBezTo>
                  <a:pt x="256229" y="7457573"/>
                  <a:pt x="252369" y="7458372"/>
                  <a:pt x="248110" y="7458372"/>
                </a:cubicBezTo>
                <a:cubicBezTo>
                  <a:pt x="239193" y="7458372"/>
                  <a:pt x="231871" y="7455444"/>
                  <a:pt x="226281" y="7449852"/>
                </a:cubicBezTo>
                <a:cubicBezTo>
                  <a:pt x="220691" y="7444128"/>
                  <a:pt x="217896" y="7437074"/>
                  <a:pt x="217896" y="7428687"/>
                </a:cubicBezTo>
                <a:cubicBezTo>
                  <a:pt x="217896" y="7420434"/>
                  <a:pt x="220691" y="7413379"/>
                  <a:pt x="226281" y="7407654"/>
                </a:cubicBezTo>
                <a:cubicBezTo>
                  <a:pt x="231871" y="7401930"/>
                  <a:pt x="239059" y="7399134"/>
                  <a:pt x="248110" y="7399134"/>
                </a:cubicBezTo>
                <a:close/>
                <a:moveTo>
                  <a:pt x="30469" y="7399134"/>
                </a:moveTo>
                <a:cubicBezTo>
                  <a:pt x="34729" y="7399134"/>
                  <a:pt x="38723" y="7399933"/>
                  <a:pt x="42184" y="7401530"/>
                </a:cubicBezTo>
                <a:cubicBezTo>
                  <a:pt x="45911" y="7402995"/>
                  <a:pt x="48973" y="7405124"/>
                  <a:pt x="51502" y="7407787"/>
                </a:cubicBezTo>
                <a:cubicBezTo>
                  <a:pt x="54165" y="7410449"/>
                  <a:pt x="56162" y="7413645"/>
                  <a:pt x="57626" y="7417239"/>
                </a:cubicBezTo>
                <a:cubicBezTo>
                  <a:pt x="59090" y="7420833"/>
                  <a:pt x="59888" y="7424561"/>
                  <a:pt x="59888" y="7428687"/>
                </a:cubicBezTo>
                <a:cubicBezTo>
                  <a:pt x="59888" y="7432814"/>
                  <a:pt x="59090" y="7436807"/>
                  <a:pt x="57626" y="7440402"/>
                </a:cubicBezTo>
                <a:cubicBezTo>
                  <a:pt x="56162" y="7444128"/>
                  <a:pt x="54032" y="7447191"/>
                  <a:pt x="51502" y="7449852"/>
                </a:cubicBezTo>
                <a:cubicBezTo>
                  <a:pt x="48839" y="7452515"/>
                  <a:pt x="45778" y="7454645"/>
                  <a:pt x="42184" y="7456109"/>
                </a:cubicBezTo>
                <a:cubicBezTo>
                  <a:pt x="38590" y="7457573"/>
                  <a:pt x="34729" y="7458372"/>
                  <a:pt x="30469" y="7458372"/>
                </a:cubicBezTo>
                <a:cubicBezTo>
                  <a:pt x="21551" y="7458372"/>
                  <a:pt x="14231" y="7455444"/>
                  <a:pt x="8643" y="7449852"/>
                </a:cubicBezTo>
                <a:cubicBezTo>
                  <a:pt x="3052" y="7444128"/>
                  <a:pt x="256" y="7437074"/>
                  <a:pt x="256" y="7428687"/>
                </a:cubicBezTo>
                <a:cubicBezTo>
                  <a:pt x="256" y="7420434"/>
                  <a:pt x="3052" y="7413379"/>
                  <a:pt x="8643" y="7407654"/>
                </a:cubicBezTo>
                <a:cubicBezTo>
                  <a:pt x="14231" y="7401930"/>
                  <a:pt x="21417" y="7399134"/>
                  <a:pt x="30469" y="7399134"/>
                </a:cubicBezTo>
                <a:close/>
                <a:moveTo>
                  <a:pt x="10475977" y="7198129"/>
                </a:moveTo>
                <a:cubicBezTo>
                  <a:pt x="10470119" y="7198129"/>
                  <a:pt x="10467589" y="7199992"/>
                  <a:pt x="10465992" y="7201723"/>
                </a:cubicBezTo>
                <a:cubicBezTo>
                  <a:pt x="10463463" y="7204385"/>
                  <a:pt x="10462399" y="7207180"/>
                  <a:pt x="10462399" y="7211174"/>
                </a:cubicBezTo>
                <a:cubicBezTo>
                  <a:pt x="10462399" y="7215300"/>
                  <a:pt x="10463463" y="7218096"/>
                  <a:pt x="10465992" y="7220625"/>
                </a:cubicBezTo>
                <a:cubicBezTo>
                  <a:pt x="10467589" y="7222224"/>
                  <a:pt x="10470119" y="7224087"/>
                  <a:pt x="10475977" y="7224087"/>
                </a:cubicBezTo>
                <a:cubicBezTo>
                  <a:pt x="10478107" y="7224087"/>
                  <a:pt x="10479838" y="7223821"/>
                  <a:pt x="10481302" y="7223155"/>
                </a:cubicBezTo>
                <a:cubicBezTo>
                  <a:pt x="10482899" y="7222622"/>
                  <a:pt x="10484098" y="7221824"/>
                  <a:pt x="10485029" y="7220758"/>
                </a:cubicBezTo>
                <a:cubicBezTo>
                  <a:pt x="10486094" y="7219560"/>
                  <a:pt x="10487026" y="7218229"/>
                  <a:pt x="10487691" y="7216499"/>
                </a:cubicBezTo>
                <a:cubicBezTo>
                  <a:pt x="10488357" y="7214901"/>
                  <a:pt x="10488623" y="7213037"/>
                  <a:pt x="10488623" y="7211040"/>
                </a:cubicBezTo>
                <a:cubicBezTo>
                  <a:pt x="10488623" y="7209177"/>
                  <a:pt x="10488357" y="7207447"/>
                  <a:pt x="10487691" y="7205850"/>
                </a:cubicBezTo>
                <a:cubicBezTo>
                  <a:pt x="10487026" y="7204252"/>
                  <a:pt x="10486094" y="7202921"/>
                  <a:pt x="10485029" y="7201723"/>
                </a:cubicBezTo>
                <a:cubicBezTo>
                  <a:pt x="10483964" y="7200658"/>
                  <a:pt x="10482633" y="7199726"/>
                  <a:pt x="10481035" y="7199060"/>
                </a:cubicBezTo>
                <a:cubicBezTo>
                  <a:pt x="10479571" y="7198395"/>
                  <a:pt x="10477974" y="7198129"/>
                  <a:pt x="10475977" y="7198129"/>
                </a:cubicBezTo>
                <a:close/>
                <a:moveTo>
                  <a:pt x="10258466" y="7198129"/>
                </a:moveTo>
                <a:cubicBezTo>
                  <a:pt x="10252608" y="7198129"/>
                  <a:pt x="10250078" y="7199992"/>
                  <a:pt x="10248481" y="7201723"/>
                </a:cubicBezTo>
                <a:cubicBezTo>
                  <a:pt x="10245952" y="7204385"/>
                  <a:pt x="10244887" y="7207180"/>
                  <a:pt x="10244887" y="7211174"/>
                </a:cubicBezTo>
                <a:cubicBezTo>
                  <a:pt x="10244887" y="7215300"/>
                  <a:pt x="10245952" y="7218096"/>
                  <a:pt x="10248481" y="7220625"/>
                </a:cubicBezTo>
                <a:cubicBezTo>
                  <a:pt x="10250078" y="7222224"/>
                  <a:pt x="10252608" y="7224087"/>
                  <a:pt x="10258466" y="7224087"/>
                </a:cubicBezTo>
                <a:cubicBezTo>
                  <a:pt x="10260462" y="7224087"/>
                  <a:pt x="10262192" y="7223821"/>
                  <a:pt x="10263790" y="7223155"/>
                </a:cubicBezTo>
                <a:cubicBezTo>
                  <a:pt x="10265388" y="7222622"/>
                  <a:pt x="10266586" y="7221824"/>
                  <a:pt x="10267517" y="7220758"/>
                </a:cubicBezTo>
                <a:cubicBezTo>
                  <a:pt x="10268583" y="7219560"/>
                  <a:pt x="10269515" y="7218229"/>
                  <a:pt x="10270180" y="7216499"/>
                </a:cubicBezTo>
                <a:cubicBezTo>
                  <a:pt x="10270845" y="7214901"/>
                  <a:pt x="10271112" y="7213037"/>
                  <a:pt x="10271112" y="7211040"/>
                </a:cubicBezTo>
                <a:cubicBezTo>
                  <a:pt x="10271112" y="7209177"/>
                  <a:pt x="10270845" y="7207447"/>
                  <a:pt x="10270180" y="7205850"/>
                </a:cubicBezTo>
                <a:cubicBezTo>
                  <a:pt x="10269515" y="7204252"/>
                  <a:pt x="10268583" y="7202921"/>
                  <a:pt x="10267517" y="7201723"/>
                </a:cubicBezTo>
                <a:cubicBezTo>
                  <a:pt x="10266452" y="7200658"/>
                  <a:pt x="10265121" y="7199726"/>
                  <a:pt x="10263524" y="7199060"/>
                </a:cubicBezTo>
                <a:cubicBezTo>
                  <a:pt x="10262060" y="7198395"/>
                  <a:pt x="10260462" y="7198129"/>
                  <a:pt x="10258466" y="7198129"/>
                </a:cubicBezTo>
                <a:close/>
                <a:moveTo>
                  <a:pt x="10040820" y="7198129"/>
                </a:moveTo>
                <a:cubicBezTo>
                  <a:pt x="10034962" y="7198129"/>
                  <a:pt x="10032433" y="7199992"/>
                  <a:pt x="10030835" y="7201723"/>
                </a:cubicBezTo>
                <a:cubicBezTo>
                  <a:pt x="10028306" y="7204385"/>
                  <a:pt x="10027242" y="7207180"/>
                  <a:pt x="10027242" y="7211174"/>
                </a:cubicBezTo>
                <a:cubicBezTo>
                  <a:pt x="10027242" y="7215300"/>
                  <a:pt x="10028306" y="7218096"/>
                  <a:pt x="10030835" y="7220625"/>
                </a:cubicBezTo>
                <a:cubicBezTo>
                  <a:pt x="10032433" y="7222224"/>
                  <a:pt x="10034962" y="7224087"/>
                  <a:pt x="10040820" y="7224087"/>
                </a:cubicBezTo>
                <a:cubicBezTo>
                  <a:pt x="10042817" y="7224087"/>
                  <a:pt x="10044681" y="7223821"/>
                  <a:pt x="10046145" y="7223155"/>
                </a:cubicBezTo>
                <a:cubicBezTo>
                  <a:pt x="10047742" y="7222622"/>
                  <a:pt x="10048941" y="7221824"/>
                  <a:pt x="10049872" y="7220758"/>
                </a:cubicBezTo>
                <a:cubicBezTo>
                  <a:pt x="10050937" y="7219560"/>
                  <a:pt x="10051869" y="7218229"/>
                  <a:pt x="10052534" y="7216499"/>
                </a:cubicBezTo>
                <a:cubicBezTo>
                  <a:pt x="10053333" y="7214901"/>
                  <a:pt x="10053599" y="7213037"/>
                  <a:pt x="10053599" y="7211040"/>
                </a:cubicBezTo>
                <a:cubicBezTo>
                  <a:pt x="10053599" y="7209177"/>
                  <a:pt x="10053200" y="7207447"/>
                  <a:pt x="10052534" y="7205850"/>
                </a:cubicBezTo>
                <a:cubicBezTo>
                  <a:pt x="10051869" y="7204252"/>
                  <a:pt x="10050937" y="7202921"/>
                  <a:pt x="10049872" y="7201723"/>
                </a:cubicBezTo>
                <a:cubicBezTo>
                  <a:pt x="10048807" y="7200658"/>
                  <a:pt x="10047476" y="7199726"/>
                  <a:pt x="10045878" y="7199060"/>
                </a:cubicBezTo>
                <a:cubicBezTo>
                  <a:pt x="10044414" y="7198395"/>
                  <a:pt x="10042817" y="7198129"/>
                  <a:pt x="10040820" y="7198129"/>
                </a:cubicBezTo>
                <a:close/>
                <a:moveTo>
                  <a:pt x="9823176" y="7198129"/>
                </a:moveTo>
                <a:cubicBezTo>
                  <a:pt x="9817318" y="7198129"/>
                  <a:pt x="9814788" y="7199992"/>
                  <a:pt x="9813191" y="7201723"/>
                </a:cubicBezTo>
                <a:cubicBezTo>
                  <a:pt x="9810662" y="7204385"/>
                  <a:pt x="9809597" y="7207180"/>
                  <a:pt x="9809597" y="7211174"/>
                </a:cubicBezTo>
                <a:cubicBezTo>
                  <a:pt x="9809597" y="7215300"/>
                  <a:pt x="9810662" y="7218096"/>
                  <a:pt x="9813191" y="7220625"/>
                </a:cubicBezTo>
                <a:cubicBezTo>
                  <a:pt x="9814788" y="7222224"/>
                  <a:pt x="9817318" y="7224087"/>
                  <a:pt x="9823176" y="7224087"/>
                </a:cubicBezTo>
                <a:cubicBezTo>
                  <a:pt x="9825173" y="7224087"/>
                  <a:pt x="9827036" y="7223821"/>
                  <a:pt x="9828501" y="7223155"/>
                </a:cubicBezTo>
                <a:cubicBezTo>
                  <a:pt x="9830098" y="7222622"/>
                  <a:pt x="9831296" y="7221824"/>
                  <a:pt x="9832227" y="7220758"/>
                </a:cubicBezTo>
                <a:cubicBezTo>
                  <a:pt x="9833293" y="7219560"/>
                  <a:pt x="9834225" y="7218229"/>
                  <a:pt x="9834890" y="7216499"/>
                </a:cubicBezTo>
                <a:cubicBezTo>
                  <a:pt x="9835689" y="7214901"/>
                  <a:pt x="9835955" y="7213037"/>
                  <a:pt x="9835955" y="7211040"/>
                </a:cubicBezTo>
                <a:cubicBezTo>
                  <a:pt x="9835955" y="7209177"/>
                  <a:pt x="9835555" y="7207447"/>
                  <a:pt x="9834890" y="7205850"/>
                </a:cubicBezTo>
                <a:cubicBezTo>
                  <a:pt x="9834225" y="7204252"/>
                  <a:pt x="9833293" y="7202921"/>
                  <a:pt x="9832227" y="7201723"/>
                </a:cubicBezTo>
                <a:cubicBezTo>
                  <a:pt x="9831162" y="7200658"/>
                  <a:pt x="9829831" y="7199726"/>
                  <a:pt x="9828234" y="7199060"/>
                </a:cubicBezTo>
                <a:cubicBezTo>
                  <a:pt x="9826770" y="7198395"/>
                  <a:pt x="9825173" y="7198129"/>
                  <a:pt x="9823176" y="7198129"/>
                </a:cubicBezTo>
                <a:close/>
                <a:moveTo>
                  <a:pt x="9605531" y="7198129"/>
                </a:moveTo>
                <a:cubicBezTo>
                  <a:pt x="9599673" y="7198129"/>
                  <a:pt x="9597143" y="7199992"/>
                  <a:pt x="9595546" y="7201723"/>
                </a:cubicBezTo>
                <a:cubicBezTo>
                  <a:pt x="9593017" y="7204385"/>
                  <a:pt x="9591952" y="7207180"/>
                  <a:pt x="9591952" y="7211174"/>
                </a:cubicBezTo>
                <a:cubicBezTo>
                  <a:pt x="9591952" y="7215300"/>
                  <a:pt x="9593017" y="7218096"/>
                  <a:pt x="9595546" y="7220625"/>
                </a:cubicBezTo>
                <a:cubicBezTo>
                  <a:pt x="9597143" y="7222224"/>
                  <a:pt x="9599673" y="7224087"/>
                  <a:pt x="9605531" y="7224087"/>
                </a:cubicBezTo>
                <a:cubicBezTo>
                  <a:pt x="9607660" y="7224087"/>
                  <a:pt x="9609391" y="7223821"/>
                  <a:pt x="9610855" y="7223155"/>
                </a:cubicBezTo>
                <a:cubicBezTo>
                  <a:pt x="9612319" y="7222622"/>
                  <a:pt x="9613651" y="7221824"/>
                  <a:pt x="9614582" y="7220758"/>
                </a:cubicBezTo>
                <a:cubicBezTo>
                  <a:pt x="9615647" y="7219560"/>
                  <a:pt x="9616579" y="7218229"/>
                  <a:pt x="9617245" y="7216499"/>
                </a:cubicBezTo>
                <a:cubicBezTo>
                  <a:pt x="9618044" y="7214901"/>
                  <a:pt x="9618309" y="7213037"/>
                  <a:pt x="9618309" y="7211040"/>
                </a:cubicBezTo>
                <a:cubicBezTo>
                  <a:pt x="9618309" y="7209177"/>
                  <a:pt x="9617910" y="7207447"/>
                  <a:pt x="9617245" y="7205850"/>
                </a:cubicBezTo>
                <a:cubicBezTo>
                  <a:pt x="9616579" y="7204252"/>
                  <a:pt x="9615647" y="7202921"/>
                  <a:pt x="9614582" y="7201723"/>
                </a:cubicBezTo>
                <a:cubicBezTo>
                  <a:pt x="9613517" y="7200658"/>
                  <a:pt x="9612186" y="7199726"/>
                  <a:pt x="9610589" y="7199060"/>
                </a:cubicBezTo>
                <a:cubicBezTo>
                  <a:pt x="9609124" y="7198395"/>
                  <a:pt x="9607394" y="7198129"/>
                  <a:pt x="9605531" y="7198129"/>
                </a:cubicBezTo>
                <a:close/>
                <a:moveTo>
                  <a:pt x="9387885" y="7198129"/>
                </a:moveTo>
                <a:cubicBezTo>
                  <a:pt x="9382027" y="7198129"/>
                  <a:pt x="9379497" y="7199992"/>
                  <a:pt x="9377900" y="7201723"/>
                </a:cubicBezTo>
                <a:cubicBezTo>
                  <a:pt x="9375371" y="7204385"/>
                  <a:pt x="9374307" y="7207180"/>
                  <a:pt x="9374307" y="7211174"/>
                </a:cubicBezTo>
                <a:cubicBezTo>
                  <a:pt x="9374307" y="7215300"/>
                  <a:pt x="9375371" y="7218096"/>
                  <a:pt x="9377900" y="7220625"/>
                </a:cubicBezTo>
                <a:cubicBezTo>
                  <a:pt x="9379497" y="7222224"/>
                  <a:pt x="9382027" y="7224087"/>
                  <a:pt x="9387885" y="7224087"/>
                </a:cubicBezTo>
                <a:cubicBezTo>
                  <a:pt x="9390015" y="7224087"/>
                  <a:pt x="9391746" y="7223821"/>
                  <a:pt x="9393210" y="7223155"/>
                </a:cubicBezTo>
                <a:cubicBezTo>
                  <a:pt x="9394674" y="7222622"/>
                  <a:pt x="9396005" y="7221824"/>
                  <a:pt x="9396937" y="7220758"/>
                </a:cubicBezTo>
                <a:cubicBezTo>
                  <a:pt x="9398002" y="7219560"/>
                  <a:pt x="9398934" y="7218229"/>
                  <a:pt x="9399599" y="7216499"/>
                </a:cubicBezTo>
                <a:cubicBezTo>
                  <a:pt x="9400398" y="7214901"/>
                  <a:pt x="9400664" y="7213037"/>
                  <a:pt x="9400664" y="7211040"/>
                </a:cubicBezTo>
                <a:cubicBezTo>
                  <a:pt x="9400664" y="7209177"/>
                  <a:pt x="9400265" y="7207447"/>
                  <a:pt x="9399599" y="7205850"/>
                </a:cubicBezTo>
                <a:cubicBezTo>
                  <a:pt x="9398934" y="7204252"/>
                  <a:pt x="9398002" y="7202921"/>
                  <a:pt x="9396937" y="7201723"/>
                </a:cubicBezTo>
                <a:cubicBezTo>
                  <a:pt x="9395872" y="7200658"/>
                  <a:pt x="9394541" y="7199726"/>
                  <a:pt x="9392943" y="7199060"/>
                </a:cubicBezTo>
                <a:cubicBezTo>
                  <a:pt x="9391479" y="7198395"/>
                  <a:pt x="9389749" y="7198129"/>
                  <a:pt x="9387885" y="7198129"/>
                </a:cubicBezTo>
                <a:close/>
                <a:moveTo>
                  <a:pt x="9170374" y="7198129"/>
                </a:moveTo>
                <a:cubicBezTo>
                  <a:pt x="9164649" y="7198129"/>
                  <a:pt x="9161986" y="7199992"/>
                  <a:pt x="9160389" y="7201723"/>
                </a:cubicBezTo>
                <a:cubicBezTo>
                  <a:pt x="9157860" y="7204385"/>
                  <a:pt x="9156795" y="7207180"/>
                  <a:pt x="9156795" y="7211174"/>
                </a:cubicBezTo>
                <a:cubicBezTo>
                  <a:pt x="9156795" y="7215300"/>
                  <a:pt x="9157860" y="7218096"/>
                  <a:pt x="9160389" y="7220625"/>
                </a:cubicBezTo>
                <a:cubicBezTo>
                  <a:pt x="9161986" y="7222224"/>
                  <a:pt x="9164516" y="7224087"/>
                  <a:pt x="9170374" y="7224087"/>
                </a:cubicBezTo>
                <a:cubicBezTo>
                  <a:pt x="9172370" y="7224087"/>
                  <a:pt x="9174100" y="7223821"/>
                  <a:pt x="9175698" y="7223155"/>
                </a:cubicBezTo>
                <a:cubicBezTo>
                  <a:pt x="9177163" y="7222622"/>
                  <a:pt x="9178494" y="7221824"/>
                  <a:pt x="9179425" y="7220758"/>
                </a:cubicBezTo>
                <a:cubicBezTo>
                  <a:pt x="9180491" y="7219560"/>
                  <a:pt x="9181422" y="7218229"/>
                  <a:pt x="9182088" y="7216499"/>
                </a:cubicBezTo>
                <a:cubicBezTo>
                  <a:pt x="9182887" y="7214901"/>
                  <a:pt x="9183152" y="7213037"/>
                  <a:pt x="9183152" y="7211040"/>
                </a:cubicBezTo>
                <a:cubicBezTo>
                  <a:pt x="9183152" y="7209177"/>
                  <a:pt x="9182753" y="7207447"/>
                  <a:pt x="9182088" y="7205850"/>
                </a:cubicBezTo>
                <a:cubicBezTo>
                  <a:pt x="9181422" y="7204252"/>
                  <a:pt x="9180491" y="7202921"/>
                  <a:pt x="9179425" y="7201723"/>
                </a:cubicBezTo>
                <a:cubicBezTo>
                  <a:pt x="9178360" y="7200658"/>
                  <a:pt x="9177029" y="7199726"/>
                  <a:pt x="9175432" y="7199060"/>
                </a:cubicBezTo>
                <a:cubicBezTo>
                  <a:pt x="9173967" y="7198395"/>
                  <a:pt x="9172237" y="7198129"/>
                  <a:pt x="9170374" y="7198129"/>
                </a:cubicBezTo>
                <a:close/>
                <a:moveTo>
                  <a:pt x="8952728" y="7198129"/>
                </a:moveTo>
                <a:cubicBezTo>
                  <a:pt x="8947003" y="7198129"/>
                  <a:pt x="8944340" y="7199992"/>
                  <a:pt x="8942743" y="7201723"/>
                </a:cubicBezTo>
                <a:cubicBezTo>
                  <a:pt x="8940214" y="7204385"/>
                  <a:pt x="8939150" y="7207180"/>
                  <a:pt x="8939150" y="7211174"/>
                </a:cubicBezTo>
                <a:cubicBezTo>
                  <a:pt x="8939150" y="7215300"/>
                  <a:pt x="8940214" y="7218096"/>
                  <a:pt x="8942743" y="7220625"/>
                </a:cubicBezTo>
                <a:cubicBezTo>
                  <a:pt x="8944340" y="7222224"/>
                  <a:pt x="8946870" y="7224087"/>
                  <a:pt x="8952728" y="7224087"/>
                </a:cubicBezTo>
                <a:cubicBezTo>
                  <a:pt x="8954725" y="7224087"/>
                  <a:pt x="8956589" y="7223821"/>
                  <a:pt x="8958053" y="7223155"/>
                </a:cubicBezTo>
                <a:cubicBezTo>
                  <a:pt x="8959517" y="7222622"/>
                  <a:pt x="8960849" y="7221824"/>
                  <a:pt x="8961780" y="7220758"/>
                </a:cubicBezTo>
                <a:cubicBezTo>
                  <a:pt x="8962845" y="7219560"/>
                  <a:pt x="8963777" y="7218229"/>
                  <a:pt x="8964442" y="7216499"/>
                </a:cubicBezTo>
                <a:cubicBezTo>
                  <a:pt x="8965241" y="7214901"/>
                  <a:pt x="8965507" y="7213037"/>
                  <a:pt x="8965507" y="7211040"/>
                </a:cubicBezTo>
                <a:cubicBezTo>
                  <a:pt x="8965507" y="7209177"/>
                  <a:pt x="8965108" y="7207447"/>
                  <a:pt x="8964442" y="7205850"/>
                </a:cubicBezTo>
                <a:cubicBezTo>
                  <a:pt x="8963777" y="7204252"/>
                  <a:pt x="8962845" y="7202921"/>
                  <a:pt x="8961780" y="7201723"/>
                </a:cubicBezTo>
                <a:cubicBezTo>
                  <a:pt x="8960715" y="7200658"/>
                  <a:pt x="8959384" y="7199726"/>
                  <a:pt x="8957786" y="7199060"/>
                </a:cubicBezTo>
                <a:cubicBezTo>
                  <a:pt x="8956322" y="7198395"/>
                  <a:pt x="8954592" y="7198129"/>
                  <a:pt x="8952728" y="7198129"/>
                </a:cubicBezTo>
                <a:close/>
                <a:moveTo>
                  <a:pt x="8735083" y="7198129"/>
                </a:moveTo>
                <a:cubicBezTo>
                  <a:pt x="8729358" y="7198129"/>
                  <a:pt x="8726695" y="7199992"/>
                  <a:pt x="8725098" y="7201723"/>
                </a:cubicBezTo>
                <a:cubicBezTo>
                  <a:pt x="8722569" y="7204385"/>
                  <a:pt x="8721504" y="7207180"/>
                  <a:pt x="8721504" y="7211174"/>
                </a:cubicBezTo>
                <a:cubicBezTo>
                  <a:pt x="8721504" y="7215300"/>
                  <a:pt x="8722569" y="7218096"/>
                  <a:pt x="8725098" y="7220625"/>
                </a:cubicBezTo>
                <a:cubicBezTo>
                  <a:pt x="8726695" y="7222224"/>
                  <a:pt x="8729225" y="7224087"/>
                  <a:pt x="8735083" y="7224087"/>
                </a:cubicBezTo>
                <a:cubicBezTo>
                  <a:pt x="8737079" y="7224087"/>
                  <a:pt x="8738943" y="7223821"/>
                  <a:pt x="8740407" y="7223155"/>
                </a:cubicBezTo>
                <a:cubicBezTo>
                  <a:pt x="8741872" y="7222622"/>
                  <a:pt x="8743203" y="7221824"/>
                  <a:pt x="8744134" y="7220758"/>
                </a:cubicBezTo>
                <a:cubicBezTo>
                  <a:pt x="8745200" y="7219560"/>
                  <a:pt x="8746132" y="7218229"/>
                  <a:pt x="8746797" y="7216499"/>
                </a:cubicBezTo>
                <a:cubicBezTo>
                  <a:pt x="8747596" y="7214901"/>
                  <a:pt x="8747862" y="7213037"/>
                  <a:pt x="8747862" y="7211040"/>
                </a:cubicBezTo>
                <a:cubicBezTo>
                  <a:pt x="8747862" y="7209177"/>
                  <a:pt x="8747462" y="7207447"/>
                  <a:pt x="8746797" y="7205850"/>
                </a:cubicBezTo>
                <a:cubicBezTo>
                  <a:pt x="8746132" y="7204252"/>
                  <a:pt x="8745200" y="7202921"/>
                  <a:pt x="8744134" y="7201723"/>
                </a:cubicBezTo>
                <a:cubicBezTo>
                  <a:pt x="8743069" y="7200658"/>
                  <a:pt x="8741738" y="7199726"/>
                  <a:pt x="8740141" y="7199060"/>
                </a:cubicBezTo>
                <a:cubicBezTo>
                  <a:pt x="8738677" y="7198395"/>
                  <a:pt x="8736946" y="7198129"/>
                  <a:pt x="8735083" y="7198129"/>
                </a:cubicBezTo>
                <a:close/>
                <a:moveTo>
                  <a:pt x="8517438" y="7198129"/>
                </a:moveTo>
                <a:cubicBezTo>
                  <a:pt x="8511713" y="7198129"/>
                  <a:pt x="8509051" y="7199992"/>
                  <a:pt x="8507453" y="7201723"/>
                </a:cubicBezTo>
                <a:cubicBezTo>
                  <a:pt x="8504925" y="7204385"/>
                  <a:pt x="8503860" y="7207180"/>
                  <a:pt x="8503860" y="7211174"/>
                </a:cubicBezTo>
                <a:cubicBezTo>
                  <a:pt x="8503860" y="7215300"/>
                  <a:pt x="8504925" y="7218096"/>
                  <a:pt x="8507453" y="7220625"/>
                </a:cubicBezTo>
                <a:cubicBezTo>
                  <a:pt x="8509051" y="7222224"/>
                  <a:pt x="8511581" y="7224087"/>
                  <a:pt x="8517438" y="7224087"/>
                </a:cubicBezTo>
                <a:cubicBezTo>
                  <a:pt x="8519568" y="7224087"/>
                  <a:pt x="8521299" y="7223821"/>
                  <a:pt x="8522763" y="7223155"/>
                </a:cubicBezTo>
                <a:cubicBezTo>
                  <a:pt x="8524227" y="7222622"/>
                  <a:pt x="8525559" y="7221824"/>
                  <a:pt x="8526490" y="7220758"/>
                </a:cubicBezTo>
                <a:cubicBezTo>
                  <a:pt x="8527555" y="7219560"/>
                  <a:pt x="8528487" y="7218229"/>
                  <a:pt x="8529152" y="7216499"/>
                </a:cubicBezTo>
                <a:cubicBezTo>
                  <a:pt x="8529818" y="7214901"/>
                  <a:pt x="8530084" y="7213037"/>
                  <a:pt x="8530084" y="7211040"/>
                </a:cubicBezTo>
                <a:cubicBezTo>
                  <a:pt x="8530084" y="7209177"/>
                  <a:pt x="8529818" y="7207447"/>
                  <a:pt x="8529152" y="7205850"/>
                </a:cubicBezTo>
                <a:cubicBezTo>
                  <a:pt x="8528487" y="7204252"/>
                  <a:pt x="8527555" y="7202921"/>
                  <a:pt x="8526490" y="7201723"/>
                </a:cubicBezTo>
                <a:cubicBezTo>
                  <a:pt x="8525425" y="7200658"/>
                  <a:pt x="8524094" y="7199726"/>
                  <a:pt x="8522496" y="7199060"/>
                </a:cubicBezTo>
                <a:cubicBezTo>
                  <a:pt x="8521032" y="7198395"/>
                  <a:pt x="8519302" y="7198129"/>
                  <a:pt x="8517438" y="7198129"/>
                </a:cubicBezTo>
                <a:close/>
                <a:moveTo>
                  <a:pt x="8299793" y="7198129"/>
                </a:moveTo>
                <a:cubicBezTo>
                  <a:pt x="8294068" y="7198129"/>
                  <a:pt x="8291406" y="7199992"/>
                  <a:pt x="8289809" y="7201723"/>
                </a:cubicBezTo>
                <a:cubicBezTo>
                  <a:pt x="8287280" y="7204385"/>
                  <a:pt x="8286215" y="7207180"/>
                  <a:pt x="8286215" y="7211174"/>
                </a:cubicBezTo>
                <a:cubicBezTo>
                  <a:pt x="8286215" y="7215300"/>
                  <a:pt x="8287280" y="7218096"/>
                  <a:pt x="8289809" y="7220625"/>
                </a:cubicBezTo>
                <a:cubicBezTo>
                  <a:pt x="8291406" y="7222224"/>
                  <a:pt x="8293935" y="7224087"/>
                  <a:pt x="8299793" y="7224087"/>
                </a:cubicBezTo>
                <a:cubicBezTo>
                  <a:pt x="8301923" y="7224087"/>
                  <a:pt x="8303653" y="7223821"/>
                  <a:pt x="8305118" y="7223155"/>
                </a:cubicBezTo>
                <a:cubicBezTo>
                  <a:pt x="8306582" y="7222622"/>
                  <a:pt x="8307913" y="7221824"/>
                  <a:pt x="8308844" y="7220758"/>
                </a:cubicBezTo>
                <a:cubicBezTo>
                  <a:pt x="8309910" y="7219560"/>
                  <a:pt x="8310842" y="7218229"/>
                  <a:pt x="8311507" y="7216499"/>
                </a:cubicBezTo>
                <a:cubicBezTo>
                  <a:pt x="8312172" y="7214901"/>
                  <a:pt x="8312439" y="7213037"/>
                  <a:pt x="8312439" y="7211040"/>
                </a:cubicBezTo>
                <a:cubicBezTo>
                  <a:pt x="8312439" y="7209177"/>
                  <a:pt x="8312172" y="7207447"/>
                  <a:pt x="8311507" y="7205850"/>
                </a:cubicBezTo>
                <a:cubicBezTo>
                  <a:pt x="8310842" y="7204252"/>
                  <a:pt x="8309910" y="7202921"/>
                  <a:pt x="8308844" y="7201723"/>
                </a:cubicBezTo>
                <a:cubicBezTo>
                  <a:pt x="8307779" y="7200658"/>
                  <a:pt x="8306448" y="7199726"/>
                  <a:pt x="8304851" y="7199060"/>
                </a:cubicBezTo>
                <a:cubicBezTo>
                  <a:pt x="8303387" y="7198395"/>
                  <a:pt x="8301790" y="7198129"/>
                  <a:pt x="8299793" y="7198129"/>
                </a:cubicBezTo>
                <a:close/>
                <a:moveTo>
                  <a:pt x="8082281" y="7198129"/>
                </a:moveTo>
                <a:cubicBezTo>
                  <a:pt x="8076424" y="7198129"/>
                  <a:pt x="8073894" y="7199992"/>
                  <a:pt x="8072297" y="7201723"/>
                </a:cubicBezTo>
                <a:cubicBezTo>
                  <a:pt x="8069768" y="7204385"/>
                  <a:pt x="8068703" y="7207180"/>
                  <a:pt x="8068703" y="7211174"/>
                </a:cubicBezTo>
                <a:cubicBezTo>
                  <a:pt x="8068703" y="7215300"/>
                  <a:pt x="8069768" y="7218096"/>
                  <a:pt x="8072297" y="7220625"/>
                </a:cubicBezTo>
                <a:cubicBezTo>
                  <a:pt x="8073894" y="7222224"/>
                  <a:pt x="8076424" y="7224087"/>
                  <a:pt x="8082281" y="7224087"/>
                </a:cubicBezTo>
                <a:cubicBezTo>
                  <a:pt x="8084277" y="7224087"/>
                  <a:pt x="8086007" y="7223821"/>
                  <a:pt x="8087605" y="7223155"/>
                </a:cubicBezTo>
                <a:cubicBezTo>
                  <a:pt x="8089069" y="7222622"/>
                  <a:pt x="8090401" y="7221824"/>
                  <a:pt x="8091332" y="7220758"/>
                </a:cubicBezTo>
                <a:cubicBezTo>
                  <a:pt x="8092397" y="7219560"/>
                  <a:pt x="8093329" y="7218229"/>
                  <a:pt x="8093994" y="7216499"/>
                </a:cubicBezTo>
                <a:cubicBezTo>
                  <a:pt x="8094660" y="7214901"/>
                  <a:pt x="8094926" y="7213037"/>
                  <a:pt x="8094926" y="7211040"/>
                </a:cubicBezTo>
                <a:cubicBezTo>
                  <a:pt x="8094926" y="7209177"/>
                  <a:pt x="8094660" y="7207447"/>
                  <a:pt x="8093994" y="7205850"/>
                </a:cubicBezTo>
                <a:cubicBezTo>
                  <a:pt x="8093329" y="7204252"/>
                  <a:pt x="8092397" y="7202921"/>
                  <a:pt x="8091332" y="7201723"/>
                </a:cubicBezTo>
                <a:cubicBezTo>
                  <a:pt x="8090267" y="7200658"/>
                  <a:pt x="8088936" y="7199726"/>
                  <a:pt x="8087338" y="7199060"/>
                </a:cubicBezTo>
                <a:cubicBezTo>
                  <a:pt x="8085874" y="7198395"/>
                  <a:pt x="8084277" y="7198129"/>
                  <a:pt x="8082281" y="7198129"/>
                </a:cubicBezTo>
                <a:close/>
                <a:moveTo>
                  <a:pt x="7864636" y="7198129"/>
                </a:moveTo>
                <a:cubicBezTo>
                  <a:pt x="7858779" y="7198129"/>
                  <a:pt x="7856249" y="7199992"/>
                  <a:pt x="7854652" y="7201723"/>
                </a:cubicBezTo>
                <a:cubicBezTo>
                  <a:pt x="7852123" y="7204385"/>
                  <a:pt x="7851058" y="7207180"/>
                  <a:pt x="7851058" y="7211174"/>
                </a:cubicBezTo>
                <a:cubicBezTo>
                  <a:pt x="7851058" y="7215300"/>
                  <a:pt x="7852123" y="7218096"/>
                  <a:pt x="7854652" y="7220625"/>
                </a:cubicBezTo>
                <a:cubicBezTo>
                  <a:pt x="7856249" y="7222224"/>
                  <a:pt x="7858779" y="7224087"/>
                  <a:pt x="7864636" y="7224087"/>
                </a:cubicBezTo>
                <a:cubicBezTo>
                  <a:pt x="7866633" y="7224087"/>
                  <a:pt x="7868363" y="7223821"/>
                  <a:pt x="7869961" y="7223155"/>
                </a:cubicBezTo>
                <a:cubicBezTo>
                  <a:pt x="7871425" y="7222622"/>
                  <a:pt x="7872756" y="7221824"/>
                  <a:pt x="7873687" y="7220758"/>
                </a:cubicBezTo>
                <a:cubicBezTo>
                  <a:pt x="7874753" y="7219560"/>
                  <a:pt x="7875685" y="7218229"/>
                  <a:pt x="7876350" y="7216499"/>
                </a:cubicBezTo>
                <a:cubicBezTo>
                  <a:pt x="7877015" y="7214901"/>
                  <a:pt x="7877282" y="7213037"/>
                  <a:pt x="7877282" y="7211040"/>
                </a:cubicBezTo>
                <a:cubicBezTo>
                  <a:pt x="7877282" y="7209177"/>
                  <a:pt x="7877015" y="7207447"/>
                  <a:pt x="7876350" y="7205850"/>
                </a:cubicBezTo>
                <a:cubicBezTo>
                  <a:pt x="7875685" y="7204252"/>
                  <a:pt x="7874753" y="7202921"/>
                  <a:pt x="7873687" y="7201723"/>
                </a:cubicBezTo>
                <a:cubicBezTo>
                  <a:pt x="7872623" y="7200658"/>
                  <a:pt x="7871291" y="7199726"/>
                  <a:pt x="7869694" y="7199060"/>
                </a:cubicBezTo>
                <a:cubicBezTo>
                  <a:pt x="7868230" y="7198395"/>
                  <a:pt x="7866633" y="7198129"/>
                  <a:pt x="7864636" y="7198129"/>
                </a:cubicBezTo>
                <a:close/>
                <a:moveTo>
                  <a:pt x="7646991" y="7198129"/>
                </a:moveTo>
                <a:cubicBezTo>
                  <a:pt x="7641134" y="7198129"/>
                  <a:pt x="7638604" y="7199992"/>
                  <a:pt x="7637007" y="7201723"/>
                </a:cubicBezTo>
                <a:cubicBezTo>
                  <a:pt x="7634478" y="7204385"/>
                  <a:pt x="7633413" y="7207180"/>
                  <a:pt x="7633413" y="7211174"/>
                </a:cubicBezTo>
                <a:cubicBezTo>
                  <a:pt x="7633413" y="7215300"/>
                  <a:pt x="7634478" y="7218096"/>
                  <a:pt x="7637007" y="7220625"/>
                </a:cubicBezTo>
                <a:cubicBezTo>
                  <a:pt x="7638604" y="7222224"/>
                  <a:pt x="7641134" y="7224087"/>
                  <a:pt x="7646991" y="7224087"/>
                </a:cubicBezTo>
                <a:cubicBezTo>
                  <a:pt x="7648987" y="7224087"/>
                  <a:pt x="7650851" y="7223821"/>
                  <a:pt x="7652315" y="7223155"/>
                </a:cubicBezTo>
                <a:cubicBezTo>
                  <a:pt x="7653780" y="7222622"/>
                  <a:pt x="7655111" y="7221824"/>
                  <a:pt x="7656042" y="7220758"/>
                </a:cubicBezTo>
                <a:cubicBezTo>
                  <a:pt x="7657108" y="7219560"/>
                  <a:pt x="7658039" y="7218229"/>
                  <a:pt x="7658705" y="7216499"/>
                </a:cubicBezTo>
                <a:cubicBezTo>
                  <a:pt x="7659504" y="7214901"/>
                  <a:pt x="7659769" y="7213037"/>
                  <a:pt x="7659769" y="7211040"/>
                </a:cubicBezTo>
                <a:cubicBezTo>
                  <a:pt x="7659769" y="7209177"/>
                  <a:pt x="7659370" y="7207447"/>
                  <a:pt x="7658705" y="7205850"/>
                </a:cubicBezTo>
                <a:cubicBezTo>
                  <a:pt x="7658039" y="7204252"/>
                  <a:pt x="7657108" y="7202921"/>
                  <a:pt x="7656042" y="7201723"/>
                </a:cubicBezTo>
                <a:cubicBezTo>
                  <a:pt x="7654977" y="7200658"/>
                  <a:pt x="7653646" y="7199726"/>
                  <a:pt x="7652049" y="7199060"/>
                </a:cubicBezTo>
                <a:cubicBezTo>
                  <a:pt x="7650584" y="7198395"/>
                  <a:pt x="7648987" y="7198129"/>
                  <a:pt x="7646991" y="7198129"/>
                </a:cubicBezTo>
                <a:close/>
                <a:moveTo>
                  <a:pt x="7429345" y="7198129"/>
                </a:moveTo>
                <a:cubicBezTo>
                  <a:pt x="7423488" y="7198129"/>
                  <a:pt x="7420958" y="7199992"/>
                  <a:pt x="7419361" y="7201723"/>
                </a:cubicBezTo>
                <a:cubicBezTo>
                  <a:pt x="7416832" y="7204385"/>
                  <a:pt x="7415768" y="7207180"/>
                  <a:pt x="7415768" y="7211174"/>
                </a:cubicBezTo>
                <a:cubicBezTo>
                  <a:pt x="7415768" y="7215300"/>
                  <a:pt x="7416832" y="7218096"/>
                  <a:pt x="7419361" y="7220625"/>
                </a:cubicBezTo>
                <a:cubicBezTo>
                  <a:pt x="7420958" y="7222224"/>
                  <a:pt x="7423488" y="7224087"/>
                  <a:pt x="7429345" y="7224087"/>
                </a:cubicBezTo>
                <a:cubicBezTo>
                  <a:pt x="7431342" y="7224087"/>
                  <a:pt x="7433206" y="7223821"/>
                  <a:pt x="7434670" y="7223155"/>
                </a:cubicBezTo>
                <a:cubicBezTo>
                  <a:pt x="7436134" y="7222622"/>
                  <a:pt x="7437466" y="7221824"/>
                  <a:pt x="7438397" y="7220758"/>
                </a:cubicBezTo>
                <a:cubicBezTo>
                  <a:pt x="7439462" y="7219560"/>
                  <a:pt x="7440394" y="7218229"/>
                  <a:pt x="7441059" y="7216499"/>
                </a:cubicBezTo>
                <a:cubicBezTo>
                  <a:pt x="7441858" y="7214901"/>
                  <a:pt x="7442124" y="7213037"/>
                  <a:pt x="7442124" y="7211040"/>
                </a:cubicBezTo>
                <a:cubicBezTo>
                  <a:pt x="7442124" y="7209177"/>
                  <a:pt x="7441725" y="7207447"/>
                  <a:pt x="7441059" y="7205850"/>
                </a:cubicBezTo>
                <a:cubicBezTo>
                  <a:pt x="7440394" y="7204252"/>
                  <a:pt x="7439462" y="7202921"/>
                  <a:pt x="7438397" y="7201723"/>
                </a:cubicBezTo>
                <a:cubicBezTo>
                  <a:pt x="7437332" y="7200658"/>
                  <a:pt x="7436001" y="7199726"/>
                  <a:pt x="7434403" y="7199060"/>
                </a:cubicBezTo>
                <a:cubicBezTo>
                  <a:pt x="7432939" y="7198395"/>
                  <a:pt x="7431342" y="7198129"/>
                  <a:pt x="7429345" y="7198129"/>
                </a:cubicBezTo>
                <a:close/>
                <a:moveTo>
                  <a:pt x="7211701" y="7198129"/>
                </a:moveTo>
                <a:cubicBezTo>
                  <a:pt x="7205844" y="7198129"/>
                  <a:pt x="7203314" y="7199992"/>
                  <a:pt x="7201717" y="7201723"/>
                </a:cubicBezTo>
                <a:cubicBezTo>
                  <a:pt x="7199188" y="7204385"/>
                  <a:pt x="7198123" y="7207180"/>
                  <a:pt x="7198123" y="7211174"/>
                </a:cubicBezTo>
                <a:cubicBezTo>
                  <a:pt x="7198123" y="7215300"/>
                  <a:pt x="7199188" y="7218096"/>
                  <a:pt x="7201717" y="7220625"/>
                </a:cubicBezTo>
                <a:cubicBezTo>
                  <a:pt x="7203314" y="7222224"/>
                  <a:pt x="7205844" y="7224087"/>
                  <a:pt x="7211701" y="7224087"/>
                </a:cubicBezTo>
                <a:cubicBezTo>
                  <a:pt x="7213830" y="7224087"/>
                  <a:pt x="7215561" y="7223821"/>
                  <a:pt x="7217026" y="7223155"/>
                </a:cubicBezTo>
                <a:cubicBezTo>
                  <a:pt x="7218490" y="7222622"/>
                  <a:pt x="7219821" y="7221824"/>
                  <a:pt x="7220752" y="7220758"/>
                </a:cubicBezTo>
                <a:cubicBezTo>
                  <a:pt x="7221818" y="7219560"/>
                  <a:pt x="7222750" y="7218229"/>
                  <a:pt x="7223415" y="7216499"/>
                </a:cubicBezTo>
                <a:cubicBezTo>
                  <a:pt x="7224214" y="7214901"/>
                  <a:pt x="7224480" y="7213037"/>
                  <a:pt x="7224480" y="7211040"/>
                </a:cubicBezTo>
                <a:cubicBezTo>
                  <a:pt x="7224480" y="7209177"/>
                  <a:pt x="7224080" y="7207447"/>
                  <a:pt x="7223415" y="7205850"/>
                </a:cubicBezTo>
                <a:cubicBezTo>
                  <a:pt x="7222750" y="7204252"/>
                  <a:pt x="7221818" y="7202921"/>
                  <a:pt x="7220752" y="7201723"/>
                </a:cubicBezTo>
                <a:cubicBezTo>
                  <a:pt x="7219687" y="7200658"/>
                  <a:pt x="7218356" y="7199726"/>
                  <a:pt x="7216759" y="7199060"/>
                </a:cubicBezTo>
                <a:cubicBezTo>
                  <a:pt x="7215295" y="7198395"/>
                  <a:pt x="7213698" y="7198129"/>
                  <a:pt x="7211701" y="7198129"/>
                </a:cubicBezTo>
                <a:close/>
                <a:moveTo>
                  <a:pt x="6994056" y="7198129"/>
                </a:moveTo>
                <a:cubicBezTo>
                  <a:pt x="6988199" y="7198129"/>
                  <a:pt x="6985669" y="7199992"/>
                  <a:pt x="6984072" y="7201723"/>
                </a:cubicBezTo>
                <a:cubicBezTo>
                  <a:pt x="6981543" y="7204385"/>
                  <a:pt x="6980478" y="7207180"/>
                  <a:pt x="6980478" y="7211174"/>
                </a:cubicBezTo>
                <a:cubicBezTo>
                  <a:pt x="6980478" y="7215300"/>
                  <a:pt x="6981543" y="7218096"/>
                  <a:pt x="6984072" y="7220625"/>
                </a:cubicBezTo>
                <a:cubicBezTo>
                  <a:pt x="6985669" y="7222224"/>
                  <a:pt x="6988199" y="7224087"/>
                  <a:pt x="6994056" y="7224087"/>
                </a:cubicBezTo>
                <a:cubicBezTo>
                  <a:pt x="6996185" y="7224087"/>
                  <a:pt x="6997916" y="7223821"/>
                  <a:pt x="6999380" y="7223155"/>
                </a:cubicBezTo>
                <a:cubicBezTo>
                  <a:pt x="7000844" y="7222622"/>
                  <a:pt x="7002176" y="7221824"/>
                  <a:pt x="7003107" y="7220758"/>
                </a:cubicBezTo>
                <a:cubicBezTo>
                  <a:pt x="7004172" y="7219560"/>
                  <a:pt x="7005104" y="7218229"/>
                  <a:pt x="7005769" y="7216499"/>
                </a:cubicBezTo>
                <a:cubicBezTo>
                  <a:pt x="7006568" y="7214901"/>
                  <a:pt x="7006834" y="7213037"/>
                  <a:pt x="7006834" y="7211040"/>
                </a:cubicBezTo>
                <a:cubicBezTo>
                  <a:pt x="7006834" y="7209177"/>
                  <a:pt x="7006435" y="7207447"/>
                  <a:pt x="7005769" y="7205850"/>
                </a:cubicBezTo>
                <a:cubicBezTo>
                  <a:pt x="7005104" y="7204252"/>
                  <a:pt x="7004172" y="7202921"/>
                  <a:pt x="7003107" y="7201723"/>
                </a:cubicBezTo>
                <a:cubicBezTo>
                  <a:pt x="7002042" y="7200658"/>
                  <a:pt x="7000711" y="7199726"/>
                  <a:pt x="6999113" y="7199060"/>
                </a:cubicBezTo>
                <a:cubicBezTo>
                  <a:pt x="6997649" y="7198395"/>
                  <a:pt x="6996052" y="7198129"/>
                  <a:pt x="6994056" y="7198129"/>
                </a:cubicBezTo>
                <a:close/>
                <a:moveTo>
                  <a:pt x="6776544" y="7198129"/>
                </a:moveTo>
                <a:cubicBezTo>
                  <a:pt x="6770687" y="7198129"/>
                  <a:pt x="6768157" y="7199992"/>
                  <a:pt x="6766560" y="7201723"/>
                </a:cubicBezTo>
                <a:cubicBezTo>
                  <a:pt x="6764031" y="7204385"/>
                  <a:pt x="6762966" y="7207180"/>
                  <a:pt x="6762966" y="7211174"/>
                </a:cubicBezTo>
                <a:cubicBezTo>
                  <a:pt x="6762966" y="7215300"/>
                  <a:pt x="6764031" y="7218096"/>
                  <a:pt x="6766560" y="7220625"/>
                </a:cubicBezTo>
                <a:cubicBezTo>
                  <a:pt x="6768157" y="7222224"/>
                  <a:pt x="6770687" y="7224087"/>
                  <a:pt x="6776544" y="7224087"/>
                </a:cubicBezTo>
                <a:cubicBezTo>
                  <a:pt x="6778541" y="7224087"/>
                  <a:pt x="6780270" y="7223821"/>
                  <a:pt x="6781869" y="7223155"/>
                </a:cubicBezTo>
                <a:cubicBezTo>
                  <a:pt x="6783333" y="7222622"/>
                  <a:pt x="6784664" y="7221824"/>
                  <a:pt x="6785595" y="7220758"/>
                </a:cubicBezTo>
                <a:cubicBezTo>
                  <a:pt x="6786661" y="7219560"/>
                  <a:pt x="6787593" y="7218229"/>
                  <a:pt x="6788258" y="7216499"/>
                </a:cubicBezTo>
                <a:cubicBezTo>
                  <a:pt x="6789057" y="7214901"/>
                  <a:pt x="6789323" y="7213037"/>
                  <a:pt x="6789323" y="7211040"/>
                </a:cubicBezTo>
                <a:cubicBezTo>
                  <a:pt x="6789323" y="7209177"/>
                  <a:pt x="6788923" y="7207447"/>
                  <a:pt x="6788258" y="7205850"/>
                </a:cubicBezTo>
                <a:cubicBezTo>
                  <a:pt x="6787593" y="7204252"/>
                  <a:pt x="6786661" y="7202921"/>
                  <a:pt x="6785595" y="7201723"/>
                </a:cubicBezTo>
                <a:cubicBezTo>
                  <a:pt x="6784530" y="7200658"/>
                  <a:pt x="6783199" y="7199726"/>
                  <a:pt x="6781602" y="7199060"/>
                </a:cubicBezTo>
                <a:cubicBezTo>
                  <a:pt x="6780138" y="7198395"/>
                  <a:pt x="6778541" y="7198129"/>
                  <a:pt x="6776544" y="7198129"/>
                </a:cubicBezTo>
                <a:close/>
                <a:moveTo>
                  <a:pt x="6558899" y="7198129"/>
                </a:moveTo>
                <a:cubicBezTo>
                  <a:pt x="6553042" y="7198129"/>
                  <a:pt x="6550512" y="7199992"/>
                  <a:pt x="6548915" y="7201723"/>
                </a:cubicBezTo>
                <a:cubicBezTo>
                  <a:pt x="6546386" y="7204385"/>
                  <a:pt x="6545321" y="7207180"/>
                  <a:pt x="6545321" y="7211174"/>
                </a:cubicBezTo>
                <a:cubicBezTo>
                  <a:pt x="6545321" y="7215300"/>
                  <a:pt x="6546386" y="7218096"/>
                  <a:pt x="6548915" y="7220625"/>
                </a:cubicBezTo>
                <a:cubicBezTo>
                  <a:pt x="6550512" y="7222224"/>
                  <a:pt x="6553042" y="7224087"/>
                  <a:pt x="6558899" y="7224087"/>
                </a:cubicBezTo>
                <a:cubicBezTo>
                  <a:pt x="6560895" y="7224087"/>
                  <a:pt x="6562759" y="7223821"/>
                  <a:pt x="6564223" y="7223155"/>
                </a:cubicBezTo>
                <a:cubicBezTo>
                  <a:pt x="6565687" y="7222622"/>
                  <a:pt x="6567019" y="7221824"/>
                  <a:pt x="6567950" y="7220758"/>
                </a:cubicBezTo>
                <a:cubicBezTo>
                  <a:pt x="6569015" y="7219560"/>
                  <a:pt x="6569947" y="7218229"/>
                  <a:pt x="6570612" y="7216499"/>
                </a:cubicBezTo>
                <a:cubicBezTo>
                  <a:pt x="6571412" y="7214901"/>
                  <a:pt x="6571677" y="7213037"/>
                  <a:pt x="6571677" y="7211040"/>
                </a:cubicBezTo>
                <a:cubicBezTo>
                  <a:pt x="6571677" y="7209177"/>
                  <a:pt x="6571278" y="7207447"/>
                  <a:pt x="6570612" y="7205850"/>
                </a:cubicBezTo>
                <a:cubicBezTo>
                  <a:pt x="6569947" y="7204252"/>
                  <a:pt x="6569015" y="7202921"/>
                  <a:pt x="6567950" y="7201723"/>
                </a:cubicBezTo>
                <a:cubicBezTo>
                  <a:pt x="6566885" y="7200658"/>
                  <a:pt x="6565554" y="7199726"/>
                  <a:pt x="6563956" y="7199060"/>
                </a:cubicBezTo>
                <a:cubicBezTo>
                  <a:pt x="6562492" y="7198395"/>
                  <a:pt x="6560895" y="7198129"/>
                  <a:pt x="6558899" y="7198129"/>
                </a:cubicBezTo>
                <a:close/>
                <a:moveTo>
                  <a:pt x="6341253" y="7198129"/>
                </a:moveTo>
                <a:cubicBezTo>
                  <a:pt x="6335396" y="7198129"/>
                  <a:pt x="6332867" y="7199992"/>
                  <a:pt x="6331270" y="7201723"/>
                </a:cubicBezTo>
                <a:cubicBezTo>
                  <a:pt x="6328740" y="7204385"/>
                  <a:pt x="6327675" y="7207180"/>
                  <a:pt x="6327675" y="7211174"/>
                </a:cubicBezTo>
                <a:cubicBezTo>
                  <a:pt x="6327675" y="7215300"/>
                  <a:pt x="6328740" y="7218096"/>
                  <a:pt x="6331270" y="7220625"/>
                </a:cubicBezTo>
                <a:cubicBezTo>
                  <a:pt x="6332867" y="7222224"/>
                  <a:pt x="6335396" y="7224087"/>
                  <a:pt x="6341253" y="7224087"/>
                </a:cubicBezTo>
                <a:cubicBezTo>
                  <a:pt x="6343250" y="7224087"/>
                  <a:pt x="6345114" y="7223821"/>
                  <a:pt x="6346578" y="7223155"/>
                </a:cubicBezTo>
                <a:cubicBezTo>
                  <a:pt x="6348042" y="7222622"/>
                  <a:pt x="6349373" y="7221824"/>
                  <a:pt x="6350305" y="7220758"/>
                </a:cubicBezTo>
                <a:cubicBezTo>
                  <a:pt x="6351370" y="7219560"/>
                  <a:pt x="6352302" y="7218229"/>
                  <a:pt x="6352968" y="7216499"/>
                </a:cubicBezTo>
                <a:cubicBezTo>
                  <a:pt x="6353766" y="7214901"/>
                  <a:pt x="6354033" y="7213037"/>
                  <a:pt x="6354033" y="7211040"/>
                </a:cubicBezTo>
                <a:cubicBezTo>
                  <a:pt x="6354033" y="7209177"/>
                  <a:pt x="6353633" y="7207447"/>
                  <a:pt x="6352968" y="7205850"/>
                </a:cubicBezTo>
                <a:cubicBezTo>
                  <a:pt x="6352302" y="7204252"/>
                  <a:pt x="6351370" y="7202921"/>
                  <a:pt x="6350305" y="7201723"/>
                </a:cubicBezTo>
                <a:cubicBezTo>
                  <a:pt x="6349241" y="7200658"/>
                  <a:pt x="6347909" y="7199726"/>
                  <a:pt x="6346312" y="7199060"/>
                </a:cubicBezTo>
                <a:cubicBezTo>
                  <a:pt x="6344848" y="7198395"/>
                  <a:pt x="6343250" y="7198129"/>
                  <a:pt x="6341253" y="7198129"/>
                </a:cubicBezTo>
                <a:close/>
                <a:moveTo>
                  <a:pt x="6123608" y="7198129"/>
                </a:moveTo>
                <a:cubicBezTo>
                  <a:pt x="6117751" y="7198129"/>
                  <a:pt x="6115221" y="7199992"/>
                  <a:pt x="6113624" y="7201723"/>
                </a:cubicBezTo>
                <a:cubicBezTo>
                  <a:pt x="6111095" y="7204385"/>
                  <a:pt x="6110030" y="7207180"/>
                  <a:pt x="6110030" y="7211174"/>
                </a:cubicBezTo>
                <a:cubicBezTo>
                  <a:pt x="6110030" y="7215300"/>
                  <a:pt x="6111095" y="7218096"/>
                  <a:pt x="6113624" y="7220625"/>
                </a:cubicBezTo>
                <a:cubicBezTo>
                  <a:pt x="6115221" y="7222224"/>
                  <a:pt x="6117751" y="7224087"/>
                  <a:pt x="6123608" y="7224087"/>
                </a:cubicBezTo>
                <a:cubicBezTo>
                  <a:pt x="6125737" y="7224087"/>
                  <a:pt x="6127468" y="7223821"/>
                  <a:pt x="6128932" y="7223155"/>
                </a:cubicBezTo>
                <a:cubicBezTo>
                  <a:pt x="6130530" y="7222622"/>
                  <a:pt x="6131728" y="7221824"/>
                  <a:pt x="6132659" y="7220758"/>
                </a:cubicBezTo>
                <a:cubicBezTo>
                  <a:pt x="6133724" y="7219560"/>
                  <a:pt x="6134656" y="7218229"/>
                  <a:pt x="6135322" y="7216499"/>
                </a:cubicBezTo>
                <a:cubicBezTo>
                  <a:pt x="6135987" y="7214901"/>
                  <a:pt x="6136387" y="7213037"/>
                  <a:pt x="6136387" y="7211040"/>
                </a:cubicBezTo>
                <a:cubicBezTo>
                  <a:pt x="6136387" y="7209177"/>
                  <a:pt x="6135987" y="7207447"/>
                  <a:pt x="6135322" y="7205850"/>
                </a:cubicBezTo>
                <a:cubicBezTo>
                  <a:pt x="6134656" y="7204252"/>
                  <a:pt x="6133724" y="7202921"/>
                  <a:pt x="6132659" y="7201723"/>
                </a:cubicBezTo>
                <a:cubicBezTo>
                  <a:pt x="6131594" y="7200658"/>
                  <a:pt x="6130263" y="7199726"/>
                  <a:pt x="6128666" y="7199060"/>
                </a:cubicBezTo>
                <a:cubicBezTo>
                  <a:pt x="6127202" y="7198395"/>
                  <a:pt x="6125604" y="7198129"/>
                  <a:pt x="6123608" y="7198129"/>
                </a:cubicBezTo>
                <a:close/>
                <a:moveTo>
                  <a:pt x="5905963" y="7198129"/>
                </a:moveTo>
                <a:cubicBezTo>
                  <a:pt x="5900106" y="7198129"/>
                  <a:pt x="5897576" y="7199992"/>
                  <a:pt x="5895979" y="7201723"/>
                </a:cubicBezTo>
                <a:cubicBezTo>
                  <a:pt x="5893450" y="7204385"/>
                  <a:pt x="5892385" y="7207180"/>
                  <a:pt x="5892385" y="7211174"/>
                </a:cubicBezTo>
                <a:cubicBezTo>
                  <a:pt x="5892385" y="7215300"/>
                  <a:pt x="5893450" y="7218096"/>
                  <a:pt x="5895979" y="7220625"/>
                </a:cubicBezTo>
                <a:cubicBezTo>
                  <a:pt x="5897576" y="7222224"/>
                  <a:pt x="5900106" y="7224087"/>
                  <a:pt x="5905963" y="7224087"/>
                </a:cubicBezTo>
                <a:cubicBezTo>
                  <a:pt x="5908093" y="7224087"/>
                  <a:pt x="5909823" y="7223821"/>
                  <a:pt x="5911287" y="7223155"/>
                </a:cubicBezTo>
                <a:cubicBezTo>
                  <a:pt x="5912751" y="7222622"/>
                  <a:pt x="5914083" y="7221824"/>
                  <a:pt x="5915014" y="7220758"/>
                </a:cubicBezTo>
                <a:cubicBezTo>
                  <a:pt x="5916079" y="7219560"/>
                  <a:pt x="5917011" y="7218229"/>
                  <a:pt x="5917677" y="7216499"/>
                </a:cubicBezTo>
                <a:cubicBezTo>
                  <a:pt x="5918342" y="7214901"/>
                  <a:pt x="5918742" y="7213037"/>
                  <a:pt x="5918742" y="7211040"/>
                </a:cubicBezTo>
                <a:cubicBezTo>
                  <a:pt x="5918742" y="7209177"/>
                  <a:pt x="5918342" y="7207447"/>
                  <a:pt x="5917677" y="7205850"/>
                </a:cubicBezTo>
                <a:cubicBezTo>
                  <a:pt x="5917011" y="7204252"/>
                  <a:pt x="5916079" y="7202921"/>
                  <a:pt x="5915014" y="7201723"/>
                </a:cubicBezTo>
                <a:cubicBezTo>
                  <a:pt x="5913950" y="7200658"/>
                  <a:pt x="5912618" y="7199726"/>
                  <a:pt x="5911021" y="7199060"/>
                </a:cubicBezTo>
                <a:cubicBezTo>
                  <a:pt x="5909557" y="7198395"/>
                  <a:pt x="5907826" y="7198129"/>
                  <a:pt x="5905963" y="7198129"/>
                </a:cubicBezTo>
                <a:close/>
                <a:moveTo>
                  <a:pt x="5688451" y="7198129"/>
                </a:moveTo>
                <a:cubicBezTo>
                  <a:pt x="5682594" y="7198129"/>
                  <a:pt x="5680064" y="7199992"/>
                  <a:pt x="5678467" y="7201723"/>
                </a:cubicBezTo>
                <a:cubicBezTo>
                  <a:pt x="5675938" y="7204385"/>
                  <a:pt x="5674873" y="7207180"/>
                  <a:pt x="5674873" y="7211174"/>
                </a:cubicBezTo>
                <a:cubicBezTo>
                  <a:pt x="5674873" y="7215300"/>
                  <a:pt x="5675938" y="7218096"/>
                  <a:pt x="5678467" y="7220625"/>
                </a:cubicBezTo>
                <a:cubicBezTo>
                  <a:pt x="5680064" y="7222224"/>
                  <a:pt x="5682594" y="7224087"/>
                  <a:pt x="5688451" y="7224087"/>
                </a:cubicBezTo>
                <a:cubicBezTo>
                  <a:pt x="5690447" y="7224087"/>
                  <a:pt x="5692178" y="7223821"/>
                  <a:pt x="5693775" y="7223155"/>
                </a:cubicBezTo>
                <a:cubicBezTo>
                  <a:pt x="5695239" y="7222622"/>
                  <a:pt x="5696571" y="7221824"/>
                  <a:pt x="5697502" y="7220758"/>
                </a:cubicBezTo>
                <a:cubicBezTo>
                  <a:pt x="5698567" y="7219560"/>
                  <a:pt x="5699499" y="7218229"/>
                  <a:pt x="5700165" y="7216499"/>
                </a:cubicBezTo>
                <a:cubicBezTo>
                  <a:pt x="5700830" y="7214901"/>
                  <a:pt x="5701230" y="7213037"/>
                  <a:pt x="5701230" y="7211040"/>
                </a:cubicBezTo>
                <a:cubicBezTo>
                  <a:pt x="5701230" y="7209177"/>
                  <a:pt x="5700830" y="7207447"/>
                  <a:pt x="5700165" y="7205850"/>
                </a:cubicBezTo>
                <a:cubicBezTo>
                  <a:pt x="5699499" y="7204252"/>
                  <a:pt x="5698567" y="7202921"/>
                  <a:pt x="5697502" y="7201723"/>
                </a:cubicBezTo>
                <a:cubicBezTo>
                  <a:pt x="5696437" y="7200658"/>
                  <a:pt x="5695106" y="7199726"/>
                  <a:pt x="5693509" y="7199060"/>
                </a:cubicBezTo>
                <a:cubicBezTo>
                  <a:pt x="5692045" y="7198395"/>
                  <a:pt x="5690314" y="7198129"/>
                  <a:pt x="5688451" y="7198129"/>
                </a:cubicBezTo>
                <a:close/>
                <a:moveTo>
                  <a:pt x="5470806" y="7198129"/>
                </a:moveTo>
                <a:cubicBezTo>
                  <a:pt x="5464949" y="7198129"/>
                  <a:pt x="5462419" y="7199992"/>
                  <a:pt x="5460822" y="7201723"/>
                </a:cubicBezTo>
                <a:cubicBezTo>
                  <a:pt x="5458293" y="7204385"/>
                  <a:pt x="5457228" y="7207180"/>
                  <a:pt x="5457228" y="7211174"/>
                </a:cubicBezTo>
                <a:cubicBezTo>
                  <a:pt x="5457228" y="7215300"/>
                  <a:pt x="5458293" y="7218096"/>
                  <a:pt x="5460822" y="7220625"/>
                </a:cubicBezTo>
                <a:cubicBezTo>
                  <a:pt x="5462419" y="7222224"/>
                  <a:pt x="5464949" y="7224087"/>
                  <a:pt x="5470806" y="7224087"/>
                </a:cubicBezTo>
                <a:cubicBezTo>
                  <a:pt x="5472802" y="7224087"/>
                  <a:pt x="5474666" y="7223821"/>
                  <a:pt x="5476130" y="7223155"/>
                </a:cubicBezTo>
                <a:cubicBezTo>
                  <a:pt x="5477594" y="7222622"/>
                  <a:pt x="5478926" y="7221824"/>
                  <a:pt x="5479857" y="7220758"/>
                </a:cubicBezTo>
                <a:cubicBezTo>
                  <a:pt x="5480922" y="7219560"/>
                  <a:pt x="5481854" y="7218229"/>
                  <a:pt x="5482520" y="7216499"/>
                </a:cubicBezTo>
                <a:cubicBezTo>
                  <a:pt x="5483319" y="7214901"/>
                  <a:pt x="5483585" y="7213037"/>
                  <a:pt x="5483585" y="7211040"/>
                </a:cubicBezTo>
                <a:cubicBezTo>
                  <a:pt x="5483585" y="7209177"/>
                  <a:pt x="5483185" y="7207447"/>
                  <a:pt x="5482520" y="7205850"/>
                </a:cubicBezTo>
                <a:cubicBezTo>
                  <a:pt x="5481854" y="7204252"/>
                  <a:pt x="5480922" y="7202921"/>
                  <a:pt x="5479857" y="7201723"/>
                </a:cubicBezTo>
                <a:cubicBezTo>
                  <a:pt x="5478793" y="7200658"/>
                  <a:pt x="5477461" y="7199726"/>
                  <a:pt x="5475864" y="7199060"/>
                </a:cubicBezTo>
                <a:cubicBezTo>
                  <a:pt x="5474400" y="7198395"/>
                  <a:pt x="5472669" y="7198129"/>
                  <a:pt x="5470806" y="7198129"/>
                </a:cubicBezTo>
                <a:close/>
                <a:moveTo>
                  <a:pt x="5253160" y="7198129"/>
                </a:moveTo>
                <a:cubicBezTo>
                  <a:pt x="5247303" y="7198129"/>
                  <a:pt x="5244774" y="7199992"/>
                  <a:pt x="5243177" y="7201723"/>
                </a:cubicBezTo>
                <a:cubicBezTo>
                  <a:pt x="5240647" y="7204385"/>
                  <a:pt x="5239583" y="7207180"/>
                  <a:pt x="5239583" y="7211174"/>
                </a:cubicBezTo>
                <a:cubicBezTo>
                  <a:pt x="5239583" y="7215300"/>
                  <a:pt x="5240647" y="7218096"/>
                  <a:pt x="5243177" y="7220625"/>
                </a:cubicBezTo>
                <a:cubicBezTo>
                  <a:pt x="5244774" y="7222224"/>
                  <a:pt x="5247303" y="7224087"/>
                  <a:pt x="5253160" y="7224087"/>
                </a:cubicBezTo>
                <a:cubicBezTo>
                  <a:pt x="5255157" y="7224087"/>
                  <a:pt x="5257021" y="7223821"/>
                  <a:pt x="5258485" y="7223155"/>
                </a:cubicBezTo>
                <a:cubicBezTo>
                  <a:pt x="5259949" y="7222622"/>
                  <a:pt x="5261280" y="7221824"/>
                  <a:pt x="5262212" y="7220758"/>
                </a:cubicBezTo>
                <a:cubicBezTo>
                  <a:pt x="5263277" y="7219560"/>
                  <a:pt x="5264209" y="7218229"/>
                  <a:pt x="5264875" y="7216499"/>
                </a:cubicBezTo>
                <a:cubicBezTo>
                  <a:pt x="5265673" y="7214901"/>
                  <a:pt x="5265939" y="7213037"/>
                  <a:pt x="5265939" y="7211040"/>
                </a:cubicBezTo>
                <a:cubicBezTo>
                  <a:pt x="5265939" y="7209177"/>
                  <a:pt x="5265540" y="7207447"/>
                  <a:pt x="5264875" y="7205850"/>
                </a:cubicBezTo>
                <a:cubicBezTo>
                  <a:pt x="5264209" y="7204252"/>
                  <a:pt x="5263277" y="7202921"/>
                  <a:pt x="5262212" y="7201723"/>
                </a:cubicBezTo>
                <a:cubicBezTo>
                  <a:pt x="5261147" y="7200658"/>
                  <a:pt x="5259816" y="7199726"/>
                  <a:pt x="5258219" y="7199060"/>
                </a:cubicBezTo>
                <a:cubicBezTo>
                  <a:pt x="5256754" y="7198395"/>
                  <a:pt x="5255024" y="7198129"/>
                  <a:pt x="5253160" y="7198129"/>
                </a:cubicBezTo>
                <a:close/>
                <a:moveTo>
                  <a:pt x="5035515" y="7198129"/>
                </a:moveTo>
                <a:cubicBezTo>
                  <a:pt x="5029658" y="7198129"/>
                  <a:pt x="5027129" y="7199992"/>
                  <a:pt x="5025532" y="7201723"/>
                </a:cubicBezTo>
                <a:cubicBezTo>
                  <a:pt x="5023002" y="7204385"/>
                  <a:pt x="5021938" y="7207180"/>
                  <a:pt x="5021938" y="7211174"/>
                </a:cubicBezTo>
                <a:cubicBezTo>
                  <a:pt x="5021938" y="7215300"/>
                  <a:pt x="5023002" y="7218096"/>
                  <a:pt x="5025532" y="7220625"/>
                </a:cubicBezTo>
                <a:cubicBezTo>
                  <a:pt x="5027129" y="7222224"/>
                  <a:pt x="5029658" y="7224087"/>
                  <a:pt x="5035515" y="7224087"/>
                </a:cubicBezTo>
                <a:cubicBezTo>
                  <a:pt x="5037645" y="7224087"/>
                  <a:pt x="5039376" y="7223821"/>
                  <a:pt x="5040840" y="7223155"/>
                </a:cubicBezTo>
                <a:cubicBezTo>
                  <a:pt x="5042304" y="7222622"/>
                  <a:pt x="5043636" y="7221824"/>
                  <a:pt x="5044567" y="7220758"/>
                </a:cubicBezTo>
                <a:cubicBezTo>
                  <a:pt x="5045632" y="7219560"/>
                  <a:pt x="5046564" y="7218229"/>
                  <a:pt x="5047230" y="7216499"/>
                </a:cubicBezTo>
                <a:cubicBezTo>
                  <a:pt x="5048028" y="7214901"/>
                  <a:pt x="5048294" y="7213037"/>
                  <a:pt x="5048294" y="7211040"/>
                </a:cubicBezTo>
                <a:cubicBezTo>
                  <a:pt x="5048294" y="7209177"/>
                  <a:pt x="5047895" y="7207447"/>
                  <a:pt x="5047230" y="7205850"/>
                </a:cubicBezTo>
                <a:cubicBezTo>
                  <a:pt x="5046564" y="7204252"/>
                  <a:pt x="5045632" y="7202921"/>
                  <a:pt x="5044567" y="7201723"/>
                </a:cubicBezTo>
                <a:cubicBezTo>
                  <a:pt x="5043502" y="7200658"/>
                  <a:pt x="5042171" y="7199726"/>
                  <a:pt x="5040574" y="7199060"/>
                </a:cubicBezTo>
                <a:cubicBezTo>
                  <a:pt x="5039110" y="7198395"/>
                  <a:pt x="5037379" y="7198129"/>
                  <a:pt x="5035515" y="7198129"/>
                </a:cubicBezTo>
                <a:close/>
                <a:moveTo>
                  <a:pt x="4817870" y="7198129"/>
                </a:moveTo>
                <a:cubicBezTo>
                  <a:pt x="4812013" y="7198129"/>
                  <a:pt x="4809484" y="7199992"/>
                  <a:pt x="4807887" y="7201723"/>
                </a:cubicBezTo>
                <a:cubicBezTo>
                  <a:pt x="4805357" y="7204385"/>
                  <a:pt x="4804293" y="7207180"/>
                  <a:pt x="4804293" y="7211174"/>
                </a:cubicBezTo>
                <a:cubicBezTo>
                  <a:pt x="4804293" y="7215300"/>
                  <a:pt x="4805357" y="7218096"/>
                  <a:pt x="4807887" y="7220625"/>
                </a:cubicBezTo>
                <a:cubicBezTo>
                  <a:pt x="4809484" y="7222224"/>
                  <a:pt x="4812013" y="7224087"/>
                  <a:pt x="4817870" y="7224087"/>
                </a:cubicBezTo>
                <a:cubicBezTo>
                  <a:pt x="4820000" y="7224087"/>
                  <a:pt x="4821731" y="7223821"/>
                  <a:pt x="4823195" y="7223155"/>
                </a:cubicBezTo>
                <a:cubicBezTo>
                  <a:pt x="4824659" y="7222622"/>
                  <a:pt x="4825857" y="7221824"/>
                  <a:pt x="4826922" y="7220758"/>
                </a:cubicBezTo>
                <a:cubicBezTo>
                  <a:pt x="4827987" y="7219560"/>
                  <a:pt x="4828919" y="7218229"/>
                  <a:pt x="4829585" y="7216499"/>
                </a:cubicBezTo>
                <a:cubicBezTo>
                  <a:pt x="4830383" y="7214901"/>
                  <a:pt x="4830650" y="7213037"/>
                  <a:pt x="4830650" y="7211040"/>
                </a:cubicBezTo>
                <a:cubicBezTo>
                  <a:pt x="4830650" y="7209177"/>
                  <a:pt x="4830250" y="7207447"/>
                  <a:pt x="4829585" y="7205850"/>
                </a:cubicBezTo>
                <a:cubicBezTo>
                  <a:pt x="4828919" y="7204252"/>
                  <a:pt x="4827987" y="7202921"/>
                  <a:pt x="4826922" y="7201723"/>
                </a:cubicBezTo>
                <a:cubicBezTo>
                  <a:pt x="4825857" y="7200658"/>
                  <a:pt x="4824526" y="7199726"/>
                  <a:pt x="4822929" y="7199060"/>
                </a:cubicBezTo>
                <a:cubicBezTo>
                  <a:pt x="4821465" y="7198395"/>
                  <a:pt x="4819734" y="7198129"/>
                  <a:pt x="4817870" y="7198129"/>
                </a:cubicBezTo>
                <a:close/>
                <a:moveTo>
                  <a:pt x="4600226" y="7198129"/>
                </a:moveTo>
                <a:cubicBezTo>
                  <a:pt x="4594369" y="7198129"/>
                  <a:pt x="4591839" y="7199992"/>
                  <a:pt x="4590242" y="7201723"/>
                </a:cubicBezTo>
                <a:cubicBezTo>
                  <a:pt x="4587713" y="7204385"/>
                  <a:pt x="4586648" y="7207180"/>
                  <a:pt x="4586648" y="7211174"/>
                </a:cubicBezTo>
                <a:cubicBezTo>
                  <a:pt x="4586648" y="7215300"/>
                  <a:pt x="4587713" y="7218096"/>
                  <a:pt x="4590242" y="7220625"/>
                </a:cubicBezTo>
                <a:cubicBezTo>
                  <a:pt x="4591839" y="7222224"/>
                  <a:pt x="4594369" y="7224087"/>
                  <a:pt x="4600226" y="7224087"/>
                </a:cubicBezTo>
                <a:cubicBezTo>
                  <a:pt x="4602355" y="7224087"/>
                  <a:pt x="4604086" y="7223821"/>
                  <a:pt x="4605550" y="7223155"/>
                </a:cubicBezTo>
                <a:cubicBezTo>
                  <a:pt x="4607148" y="7222622"/>
                  <a:pt x="4608346" y="7221824"/>
                  <a:pt x="4609277" y="7220758"/>
                </a:cubicBezTo>
                <a:cubicBezTo>
                  <a:pt x="4610342" y="7219560"/>
                  <a:pt x="4611274" y="7218229"/>
                  <a:pt x="4611940" y="7216499"/>
                </a:cubicBezTo>
                <a:cubicBezTo>
                  <a:pt x="4612605" y="7214901"/>
                  <a:pt x="4613005" y="7213037"/>
                  <a:pt x="4613005" y="7211040"/>
                </a:cubicBezTo>
                <a:cubicBezTo>
                  <a:pt x="4613005" y="7209177"/>
                  <a:pt x="4612605" y="7207447"/>
                  <a:pt x="4611940" y="7205850"/>
                </a:cubicBezTo>
                <a:cubicBezTo>
                  <a:pt x="4611274" y="7204252"/>
                  <a:pt x="4610342" y="7202921"/>
                  <a:pt x="4609277" y="7201723"/>
                </a:cubicBezTo>
                <a:cubicBezTo>
                  <a:pt x="4608212" y="7200658"/>
                  <a:pt x="4606881" y="7199726"/>
                  <a:pt x="4605284" y="7199060"/>
                </a:cubicBezTo>
                <a:cubicBezTo>
                  <a:pt x="4603820" y="7198395"/>
                  <a:pt x="4602222" y="7198129"/>
                  <a:pt x="4600226" y="7198129"/>
                </a:cubicBezTo>
                <a:close/>
                <a:moveTo>
                  <a:pt x="4382713" y="7198129"/>
                </a:moveTo>
                <a:cubicBezTo>
                  <a:pt x="4376857" y="7198129"/>
                  <a:pt x="4374327" y="7199992"/>
                  <a:pt x="4372730" y="7201723"/>
                </a:cubicBezTo>
                <a:cubicBezTo>
                  <a:pt x="4370201" y="7204385"/>
                  <a:pt x="4369136" y="7207180"/>
                  <a:pt x="4369136" y="7211174"/>
                </a:cubicBezTo>
                <a:cubicBezTo>
                  <a:pt x="4369136" y="7215300"/>
                  <a:pt x="4370201" y="7218096"/>
                  <a:pt x="4372730" y="7220625"/>
                </a:cubicBezTo>
                <a:cubicBezTo>
                  <a:pt x="4374327" y="7222224"/>
                  <a:pt x="4376857" y="7224087"/>
                  <a:pt x="4382713" y="7224087"/>
                </a:cubicBezTo>
                <a:cubicBezTo>
                  <a:pt x="4384710" y="7224087"/>
                  <a:pt x="4386441" y="7223821"/>
                  <a:pt x="4388038" y="7223155"/>
                </a:cubicBezTo>
                <a:cubicBezTo>
                  <a:pt x="4389502" y="7222622"/>
                  <a:pt x="4390834" y="7221824"/>
                  <a:pt x="4391765" y="7220758"/>
                </a:cubicBezTo>
                <a:cubicBezTo>
                  <a:pt x="4392830" y="7219560"/>
                  <a:pt x="4393762" y="7218229"/>
                  <a:pt x="4394428" y="7216499"/>
                </a:cubicBezTo>
                <a:cubicBezTo>
                  <a:pt x="4395093" y="7214901"/>
                  <a:pt x="4395493" y="7213037"/>
                  <a:pt x="4395493" y="7211040"/>
                </a:cubicBezTo>
                <a:cubicBezTo>
                  <a:pt x="4395493" y="7209177"/>
                  <a:pt x="4395093" y="7207447"/>
                  <a:pt x="4394428" y="7205850"/>
                </a:cubicBezTo>
                <a:cubicBezTo>
                  <a:pt x="4393762" y="7204252"/>
                  <a:pt x="4392830" y="7202921"/>
                  <a:pt x="4391765" y="7201723"/>
                </a:cubicBezTo>
                <a:cubicBezTo>
                  <a:pt x="4390700" y="7200658"/>
                  <a:pt x="4389369" y="7199726"/>
                  <a:pt x="4387772" y="7199060"/>
                </a:cubicBezTo>
                <a:cubicBezTo>
                  <a:pt x="4386308" y="7198395"/>
                  <a:pt x="4384710" y="7198129"/>
                  <a:pt x="4382713" y="7198129"/>
                </a:cubicBezTo>
                <a:close/>
                <a:moveTo>
                  <a:pt x="4165068" y="7198129"/>
                </a:moveTo>
                <a:cubicBezTo>
                  <a:pt x="4159211" y="7198129"/>
                  <a:pt x="4156681" y="7199992"/>
                  <a:pt x="4155084" y="7201723"/>
                </a:cubicBezTo>
                <a:cubicBezTo>
                  <a:pt x="4152555" y="7204385"/>
                  <a:pt x="4151490" y="7207180"/>
                  <a:pt x="4151490" y="7211174"/>
                </a:cubicBezTo>
                <a:cubicBezTo>
                  <a:pt x="4151490" y="7215300"/>
                  <a:pt x="4152555" y="7218096"/>
                  <a:pt x="4155084" y="7220625"/>
                </a:cubicBezTo>
                <a:cubicBezTo>
                  <a:pt x="4156681" y="7222224"/>
                  <a:pt x="4159211" y="7224087"/>
                  <a:pt x="4165068" y="7224087"/>
                </a:cubicBezTo>
                <a:cubicBezTo>
                  <a:pt x="4167064" y="7224087"/>
                  <a:pt x="4168928" y="7223821"/>
                  <a:pt x="4170392" y="7223155"/>
                </a:cubicBezTo>
                <a:cubicBezTo>
                  <a:pt x="4171856" y="7222622"/>
                  <a:pt x="4173188" y="7221824"/>
                  <a:pt x="4174119" y="7220758"/>
                </a:cubicBezTo>
                <a:cubicBezTo>
                  <a:pt x="4175184" y="7219560"/>
                  <a:pt x="4176116" y="7218229"/>
                  <a:pt x="4176782" y="7216499"/>
                </a:cubicBezTo>
                <a:cubicBezTo>
                  <a:pt x="4177447" y="7214901"/>
                  <a:pt x="4177847" y="7213037"/>
                  <a:pt x="4177847" y="7211040"/>
                </a:cubicBezTo>
                <a:cubicBezTo>
                  <a:pt x="4177847" y="7209177"/>
                  <a:pt x="4177447" y="7207447"/>
                  <a:pt x="4176782" y="7205850"/>
                </a:cubicBezTo>
                <a:cubicBezTo>
                  <a:pt x="4176116" y="7204252"/>
                  <a:pt x="4175184" y="7202921"/>
                  <a:pt x="4174119" y="7201723"/>
                </a:cubicBezTo>
                <a:cubicBezTo>
                  <a:pt x="4173054" y="7200658"/>
                  <a:pt x="4171723" y="7199726"/>
                  <a:pt x="4170126" y="7199060"/>
                </a:cubicBezTo>
                <a:cubicBezTo>
                  <a:pt x="4168662" y="7198395"/>
                  <a:pt x="4167064" y="7198129"/>
                  <a:pt x="4165068" y="7198129"/>
                </a:cubicBezTo>
                <a:close/>
                <a:moveTo>
                  <a:pt x="3947814" y="7198129"/>
                </a:moveTo>
                <a:cubicBezTo>
                  <a:pt x="3941956" y="7198129"/>
                  <a:pt x="3939427" y="7199992"/>
                  <a:pt x="3937830" y="7201723"/>
                </a:cubicBezTo>
                <a:cubicBezTo>
                  <a:pt x="3935299" y="7204385"/>
                  <a:pt x="3934236" y="7207180"/>
                  <a:pt x="3934236" y="7211174"/>
                </a:cubicBezTo>
                <a:cubicBezTo>
                  <a:pt x="3934236" y="7215300"/>
                  <a:pt x="3935299" y="7218096"/>
                  <a:pt x="3937830" y="7220625"/>
                </a:cubicBezTo>
                <a:cubicBezTo>
                  <a:pt x="3939427" y="7222224"/>
                  <a:pt x="3941956" y="7224087"/>
                  <a:pt x="3947814" y="7224087"/>
                </a:cubicBezTo>
                <a:cubicBezTo>
                  <a:pt x="3949811" y="7224087"/>
                  <a:pt x="3951677" y="7223821"/>
                  <a:pt x="3953143" y="7223155"/>
                </a:cubicBezTo>
                <a:cubicBezTo>
                  <a:pt x="3954607" y="7222622"/>
                  <a:pt x="3955937" y="7221824"/>
                  <a:pt x="3956870" y="7220758"/>
                </a:cubicBezTo>
                <a:cubicBezTo>
                  <a:pt x="3957935" y="7219560"/>
                  <a:pt x="3958868" y="7218229"/>
                  <a:pt x="3959533" y="7216499"/>
                </a:cubicBezTo>
                <a:cubicBezTo>
                  <a:pt x="3960198" y="7214901"/>
                  <a:pt x="3960598" y="7213037"/>
                  <a:pt x="3960598" y="7211040"/>
                </a:cubicBezTo>
                <a:cubicBezTo>
                  <a:pt x="3960598" y="7209177"/>
                  <a:pt x="3960198" y="7207447"/>
                  <a:pt x="3959533" y="7205850"/>
                </a:cubicBezTo>
                <a:cubicBezTo>
                  <a:pt x="3958868" y="7204252"/>
                  <a:pt x="3957935" y="7202921"/>
                  <a:pt x="3956870" y="7201723"/>
                </a:cubicBezTo>
                <a:cubicBezTo>
                  <a:pt x="3955804" y="7200658"/>
                  <a:pt x="3954474" y="7199726"/>
                  <a:pt x="3952876" y="7199060"/>
                </a:cubicBezTo>
                <a:cubicBezTo>
                  <a:pt x="3951409" y="7198395"/>
                  <a:pt x="3949811" y="7198129"/>
                  <a:pt x="3947814" y="7198129"/>
                </a:cubicBezTo>
                <a:close/>
                <a:moveTo>
                  <a:pt x="3730152" y="7198129"/>
                </a:moveTo>
                <a:cubicBezTo>
                  <a:pt x="3724294" y="7198129"/>
                  <a:pt x="3721764" y="7199992"/>
                  <a:pt x="3720164" y="7201723"/>
                </a:cubicBezTo>
                <a:cubicBezTo>
                  <a:pt x="3717635" y="7204385"/>
                  <a:pt x="3716572" y="7207180"/>
                  <a:pt x="3716572" y="7211174"/>
                </a:cubicBezTo>
                <a:cubicBezTo>
                  <a:pt x="3716572" y="7215300"/>
                  <a:pt x="3717635" y="7218096"/>
                  <a:pt x="3720164" y="7220625"/>
                </a:cubicBezTo>
                <a:cubicBezTo>
                  <a:pt x="3721764" y="7222224"/>
                  <a:pt x="3724294" y="7224087"/>
                  <a:pt x="3730152" y="7224087"/>
                </a:cubicBezTo>
                <a:cubicBezTo>
                  <a:pt x="3732281" y="7224087"/>
                  <a:pt x="3734013" y="7223821"/>
                  <a:pt x="3735477" y="7223155"/>
                </a:cubicBezTo>
                <a:cubicBezTo>
                  <a:pt x="3736941" y="7222622"/>
                  <a:pt x="3738274" y="7221824"/>
                  <a:pt x="3739204" y="7220758"/>
                </a:cubicBezTo>
                <a:cubicBezTo>
                  <a:pt x="3740269" y="7219560"/>
                  <a:pt x="3741202" y="7218229"/>
                  <a:pt x="3741867" y="7216499"/>
                </a:cubicBezTo>
                <a:cubicBezTo>
                  <a:pt x="3742532" y="7214901"/>
                  <a:pt x="3742932" y="7213037"/>
                  <a:pt x="3742932" y="7211040"/>
                </a:cubicBezTo>
                <a:cubicBezTo>
                  <a:pt x="3742932" y="7209177"/>
                  <a:pt x="3742532" y="7207447"/>
                  <a:pt x="3741867" y="7205850"/>
                </a:cubicBezTo>
                <a:cubicBezTo>
                  <a:pt x="3741202" y="7204252"/>
                  <a:pt x="3740269" y="7202921"/>
                  <a:pt x="3739204" y="7201723"/>
                </a:cubicBezTo>
                <a:cubicBezTo>
                  <a:pt x="3738140" y="7200658"/>
                  <a:pt x="3736809" y="7199726"/>
                  <a:pt x="3735211" y="7199060"/>
                </a:cubicBezTo>
                <a:cubicBezTo>
                  <a:pt x="3733747" y="7198395"/>
                  <a:pt x="3732149" y="7198129"/>
                  <a:pt x="3730152" y="7198129"/>
                </a:cubicBezTo>
                <a:close/>
                <a:moveTo>
                  <a:pt x="3512486" y="7198129"/>
                </a:moveTo>
                <a:cubicBezTo>
                  <a:pt x="3506626" y="7198129"/>
                  <a:pt x="3504095" y="7199992"/>
                  <a:pt x="3502495" y="7201723"/>
                </a:cubicBezTo>
                <a:cubicBezTo>
                  <a:pt x="3499966" y="7204385"/>
                  <a:pt x="3498902" y="7207180"/>
                  <a:pt x="3498902" y="7211174"/>
                </a:cubicBezTo>
                <a:cubicBezTo>
                  <a:pt x="3498902" y="7215300"/>
                  <a:pt x="3499966" y="7218096"/>
                  <a:pt x="3502495" y="7220625"/>
                </a:cubicBezTo>
                <a:cubicBezTo>
                  <a:pt x="3504095" y="7222224"/>
                  <a:pt x="3506626" y="7224087"/>
                  <a:pt x="3512486" y="7224087"/>
                </a:cubicBezTo>
                <a:cubicBezTo>
                  <a:pt x="3514615" y="7224087"/>
                  <a:pt x="3516347" y="7223821"/>
                  <a:pt x="3517811" y="7223155"/>
                </a:cubicBezTo>
                <a:cubicBezTo>
                  <a:pt x="3519276" y="7222622"/>
                  <a:pt x="3520608" y="7221824"/>
                  <a:pt x="3521539" y="7220758"/>
                </a:cubicBezTo>
                <a:cubicBezTo>
                  <a:pt x="3522604" y="7219560"/>
                  <a:pt x="3523536" y="7218229"/>
                  <a:pt x="3524202" y="7216499"/>
                </a:cubicBezTo>
                <a:cubicBezTo>
                  <a:pt x="3524867" y="7214901"/>
                  <a:pt x="3525267" y="7213037"/>
                  <a:pt x="3525267" y="7211040"/>
                </a:cubicBezTo>
                <a:cubicBezTo>
                  <a:pt x="3525267" y="7209177"/>
                  <a:pt x="3524867" y="7207447"/>
                  <a:pt x="3524202" y="7205850"/>
                </a:cubicBezTo>
                <a:cubicBezTo>
                  <a:pt x="3523536" y="7204252"/>
                  <a:pt x="3522604" y="7202921"/>
                  <a:pt x="3521539" y="7201723"/>
                </a:cubicBezTo>
                <a:cubicBezTo>
                  <a:pt x="3520474" y="7200658"/>
                  <a:pt x="3519143" y="7199726"/>
                  <a:pt x="3517546" y="7199060"/>
                </a:cubicBezTo>
                <a:cubicBezTo>
                  <a:pt x="3516082" y="7198395"/>
                  <a:pt x="3514483" y="7198129"/>
                  <a:pt x="3512486" y="7198129"/>
                </a:cubicBezTo>
                <a:close/>
                <a:moveTo>
                  <a:pt x="3294953" y="7198129"/>
                </a:moveTo>
                <a:cubicBezTo>
                  <a:pt x="3289095" y="7198129"/>
                  <a:pt x="3286563" y="7199992"/>
                  <a:pt x="3284966" y="7201723"/>
                </a:cubicBezTo>
                <a:cubicBezTo>
                  <a:pt x="3282436" y="7204385"/>
                  <a:pt x="3281372" y="7207180"/>
                  <a:pt x="3281372" y="7211174"/>
                </a:cubicBezTo>
                <a:cubicBezTo>
                  <a:pt x="3281372" y="7215300"/>
                  <a:pt x="3282436" y="7218096"/>
                  <a:pt x="3284966" y="7220625"/>
                </a:cubicBezTo>
                <a:cubicBezTo>
                  <a:pt x="3286563" y="7222224"/>
                  <a:pt x="3289095" y="7224087"/>
                  <a:pt x="3294953" y="7224087"/>
                </a:cubicBezTo>
                <a:cubicBezTo>
                  <a:pt x="3296951" y="7224087"/>
                  <a:pt x="3298681" y="7223821"/>
                  <a:pt x="3300279" y="7223155"/>
                </a:cubicBezTo>
                <a:cubicBezTo>
                  <a:pt x="3301743" y="7222622"/>
                  <a:pt x="3303075" y="7221824"/>
                  <a:pt x="3304006" y="7220758"/>
                </a:cubicBezTo>
                <a:cubicBezTo>
                  <a:pt x="3305071" y="7219560"/>
                  <a:pt x="3306003" y="7218229"/>
                  <a:pt x="3306669" y="7216499"/>
                </a:cubicBezTo>
                <a:cubicBezTo>
                  <a:pt x="3307334" y="7214901"/>
                  <a:pt x="3307733" y="7213037"/>
                  <a:pt x="3307733" y="7211040"/>
                </a:cubicBezTo>
                <a:cubicBezTo>
                  <a:pt x="3307733" y="7209177"/>
                  <a:pt x="3307334" y="7207447"/>
                  <a:pt x="3306669" y="7205850"/>
                </a:cubicBezTo>
                <a:cubicBezTo>
                  <a:pt x="3306003" y="7204252"/>
                  <a:pt x="3305071" y="7202921"/>
                  <a:pt x="3304006" y="7201723"/>
                </a:cubicBezTo>
                <a:cubicBezTo>
                  <a:pt x="3302941" y="7200658"/>
                  <a:pt x="3301610" y="7199726"/>
                  <a:pt x="3300013" y="7199060"/>
                </a:cubicBezTo>
                <a:cubicBezTo>
                  <a:pt x="3298549" y="7198395"/>
                  <a:pt x="3296951" y="7198129"/>
                  <a:pt x="3294953" y="7198129"/>
                </a:cubicBezTo>
                <a:close/>
                <a:moveTo>
                  <a:pt x="3077421" y="7198129"/>
                </a:moveTo>
                <a:cubicBezTo>
                  <a:pt x="3071563" y="7198129"/>
                  <a:pt x="3069033" y="7199992"/>
                  <a:pt x="3067437" y="7201723"/>
                </a:cubicBezTo>
                <a:cubicBezTo>
                  <a:pt x="3064771" y="7204385"/>
                  <a:pt x="3063706" y="7207180"/>
                  <a:pt x="3063706" y="7211174"/>
                </a:cubicBezTo>
                <a:cubicBezTo>
                  <a:pt x="3063706" y="7215300"/>
                  <a:pt x="3064771" y="7218096"/>
                  <a:pt x="3067303" y="7220625"/>
                </a:cubicBezTo>
                <a:cubicBezTo>
                  <a:pt x="3068900" y="7222224"/>
                  <a:pt x="3071430" y="7224087"/>
                  <a:pt x="3077288" y="7224087"/>
                </a:cubicBezTo>
                <a:cubicBezTo>
                  <a:pt x="3079285" y="7224087"/>
                  <a:pt x="3081016" y="7223821"/>
                  <a:pt x="3082746" y="7223155"/>
                </a:cubicBezTo>
                <a:cubicBezTo>
                  <a:pt x="3084211" y="7222622"/>
                  <a:pt x="3085543" y="7221824"/>
                  <a:pt x="3086474" y="7220758"/>
                </a:cubicBezTo>
                <a:cubicBezTo>
                  <a:pt x="3087538" y="7219560"/>
                  <a:pt x="3088471" y="7218229"/>
                  <a:pt x="3089136" y="7216499"/>
                </a:cubicBezTo>
                <a:cubicBezTo>
                  <a:pt x="3089801" y="7214901"/>
                  <a:pt x="3090069" y="7213037"/>
                  <a:pt x="3090069" y="7211040"/>
                </a:cubicBezTo>
                <a:cubicBezTo>
                  <a:pt x="3090069" y="7209177"/>
                  <a:pt x="3089801" y="7207447"/>
                  <a:pt x="3089136" y="7205850"/>
                </a:cubicBezTo>
                <a:cubicBezTo>
                  <a:pt x="3088471" y="7204252"/>
                  <a:pt x="3087538" y="7202921"/>
                  <a:pt x="3086474" y="7201723"/>
                </a:cubicBezTo>
                <a:cubicBezTo>
                  <a:pt x="3085409" y="7200658"/>
                  <a:pt x="3084077" y="7199726"/>
                  <a:pt x="3082481" y="7199060"/>
                </a:cubicBezTo>
                <a:cubicBezTo>
                  <a:pt x="3081016" y="7198395"/>
                  <a:pt x="3079418" y="7198129"/>
                  <a:pt x="3077421" y="7198129"/>
                </a:cubicBezTo>
                <a:close/>
                <a:moveTo>
                  <a:pt x="2859623" y="7198129"/>
                </a:moveTo>
                <a:cubicBezTo>
                  <a:pt x="2853765" y="7198129"/>
                  <a:pt x="2851236" y="7199992"/>
                  <a:pt x="2849637" y="7201723"/>
                </a:cubicBezTo>
                <a:cubicBezTo>
                  <a:pt x="2847103" y="7204385"/>
                  <a:pt x="2846036" y="7207180"/>
                  <a:pt x="2846036" y="7211174"/>
                </a:cubicBezTo>
                <a:cubicBezTo>
                  <a:pt x="2846036" y="7215300"/>
                  <a:pt x="2847103" y="7218096"/>
                  <a:pt x="2849637" y="7220625"/>
                </a:cubicBezTo>
                <a:cubicBezTo>
                  <a:pt x="2851236" y="7222224"/>
                  <a:pt x="2853765" y="7224087"/>
                  <a:pt x="2859623" y="7224087"/>
                </a:cubicBezTo>
                <a:cubicBezTo>
                  <a:pt x="2861619" y="7224087"/>
                  <a:pt x="2863484" y="7223821"/>
                  <a:pt x="2864948" y="7223155"/>
                </a:cubicBezTo>
                <a:cubicBezTo>
                  <a:pt x="2866546" y="7222622"/>
                  <a:pt x="2867744" y="7221824"/>
                  <a:pt x="2868675" y="7220758"/>
                </a:cubicBezTo>
                <a:cubicBezTo>
                  <a:pt x="2869740" y="7219560"/>
                  <a:pt x="2870672" y="7218229"/>
                  <a:pt x="2871338" y="7216499"/>
                </a:cubicBezTo>
                <a:cubicBezTo>
                  <a:pt x="2871870" y="7214901"/>
                  <a:pt x="2872269" y="7213037"/>
                  <a:pt x="2872269" y="7211040"/>
                </a:cubicBezTo>
                <a:cubicBezTo>
                  <a:pt x="2872269" y="7209177"/>
                  <a:pt x="2872003" y="7207447"/>
                  <a:pt x="2871338" y="7205850"/>
                </a:cubicBezTo>
                <a:cubicBezTo>
                  <a:pt x="2870672" y="7204252"/>
                  <a:pt x="2869740" y="7202921"/>
                  <a:pt x="2868675" y="7201723"/>
                </a:cubicBezTo>
                <a:cubicBezTo>
                  <a:pt x="2867611" y="7200658"/>
                  <a:pt x="2866279" y="7199726"/>
                  <a:pt x="2864682" y="7199060"/>
                </a:cubicBezTo>
                <a:cubicBezTo>
                  <a:pt x="2863218" y="7198395"/>
                  <a:pt x="2861619" y="7198129"/>
                  <a:pt x="2859623" y="7198129"/>
                </a:cubicBezTo>
                <a:close/>
                <a:moveTo>
                  <a:pt x="2641957" y="7198129"/>
                </a:moveTo>
                <a:cubicBezTo>
                  <a:pt x="2636100" y="7198129"/>
                  <a:pt x="2633570" y="7199992"/>
                  <a:pt x="2631974" y="7201723"/>
                </a:cubicBezTo>
                <a:cubicBezTo>
                  <a:pt x="2629443" y="7204385"/>
                  <a:pt x="2628379" y="7207180"/>
                  <a:pt x="2628379" y="7211174"/>
                </a:cubicBezTo>
                <a:cubicBezTo>
                  <a:pt x="2628379" y="7215300"/>
                  <a:pt x="2629443" y="7218096"/>
                  <a:pt x="2631974" y="7220625"/>
                </a:cubicBezTo>
                <a:cubicBezTo>
                  <a:pt x="2633570" y="7222224"/>
                  <a:pt x="2636100" y="7224087"/>
                  <a:pt x="2641957" y="7224087"/>
                </a:cubicBezTo>
                <a:cubicBezTo>
                  <a:pt x="2643954" y="7224087"/>
                  <a:pt x="2645818" y="7223821"/>
                  <a:pt x="2647282" y="7223155"/>
                </a:cubicBezTo>
                <a:cubicBezTo>
                  <a:pt x="2648879" y="7222622"/>
                  <a:pt x="2650077" y="7221824"/>
                  <a:pt x="2651009" y="7220758"/>
                </a:cubicBezTo>
                <a:cubicBezTo>
                  <a:pt x="2652074" y="7219560"/>
                  <a:pt x="2653006" y="7218229"/>
                  <a:pt x="2653672" y="7216499"/>
                </a:cubicBezTo>
                <a:cubicBezTo>
                  <a:pt x="2654204" y="7214901"/>
                  <a:pt x="2654603" y="7213037"/>
                  <a:pt x="2654603" y="7211040"/>
                </a:cubicBezTo>
                <a:cubicBezTo>
                  <a:pt x="2654603" y="7209177"/>
                  <a:pt x="2654337" y="7207447"/>
                  <a:pt x="2653672" y="7205850"/>
                </a:cubicBezTo>
                <a:cubicBezTo>
                  <a:pt x="2653006" y="7204252"/>
                  <a:pt x="2652074" y="7202921"/>
                  <a:pt x="2651009" y="7201723"/>
                </a:cubicBezTo>
                <a:cubicBezTo>
                  <a:pt x="2649944" y="7200658"/>
                  <a:pt x="2648613" y="7199726"/>
                  <a:pt x="2647016" y="7199060"/>
                </a:cubicBezTo>
                <a:cubicBezTo>
                  <a:pt x="2645551" y="7198395"/>
                  <a:pt x="2643954" y="7198129"/>
                  <a:pt x="2641957" y="7198129"/>
                </a:cubicBezTo>
                <a:close/>
                <a:moveTo>
                  <a:pt x="2424291" y="7198129"/>
                </a:moveTo>
                <a:cubicBezTo>
                  <a:pt x="2418434" y="7198129"/>
                  <a:pt x="2415905" y="7199992"/>
                  <a:pt x="2414308" y="7201723"/>
                </a:cubicBezTo>
                <a:cubicBezTo>
                  <a:pt x="2411777" y="7204385"/>
                  <a:pt x="2410714" y="7207180"/>
                  <a:pt x="2410714" y="7211174"/>
                </a:cubicBezTo>
                <a:cubicBezTo>
                  <a:pt x="2410714" y="7215300"/>
                  <a:pt x="2411777" y="7218096"/>
                  <a:pt x="2414308" y="7220625"/>
                </a:cubicBezTo>
                <a:cubicBezTo>
                  <a:pt x="2415905" y="7222224"/>
                  <a:pt x="2418434" y="7224087"/>
                  <a:pt x="2424291" y="7224087"/>
                </a:cubicBezTo>
                <a:cubicBezTo>
                  <a:pt x="2426421" y="7224087"/>
                  <a:pt x="2428152" y="7223821"/>
                  <a:pt x="2429616" y="7223155"/>
                </a:cubicBezTo>
                <a:cubicBezTo>
                  <a:pt x="2431214" y="7222622"/>
                  <a:pt x="2432412" y="7221824"/>
                  <a:pt x="2433343" y="7220758"/>
                </a:cubicBezTo>
                <a:cubicBezTo>
                  <a:pt x="2434408" y="7219560"/>
                  <a:pt x="2435340" y="7218229"/>
                  <a:pt x="2436006" y="7216499"/>
                </a:cubicBezTo>
                <a:cubicBezTo>
                  <a:pt x="2436538" y="7214901"/>
                  <a:pt x="2436937" y="7213037"/>
                  <a:pt x="2436937" y="7211040"/>
                </a:cubicBezTo>
                <a:cubicBezTo>
                  <a:pt x="2436937" y="7209177"/>
                  <a:pt x="2436671" y="7207447"/>
                  <a:pt x="2436006" y="7205850"/>
                </a:cubicBezTo>
                <a:cubicBezTo>
                  <a:pt x="2435340" y="7204252"/>
                  <a:pt x="2434408" y="7202921"/>
                  <a:pt x="2433343" y="7201723"/>
                </a:cubicBezTo>
                <a:cubicBezTo>
                  <a:pt x="2432279" y="7200658"/>
                  <a:pt x="2430948" y="7199726"/>
                  <a:pt x="2429350" y="7199060"/>
                </a:cubicBezTo>
                <a:cubicBezTo>
                  <a:pt x="2427886" y="7198395"/>
                  <a:pt x="2426288" y="7198129"/>
                  <a:pt x="2424291" y="7198129"/>
                </a:cubicBezTo>
                <a:close/>
                <a:moveTo>
                  <a:pt x="2206625" y="7198129"/>
                </a:moveTo>
                <a:cubicBezTo>
                  <a:pt x="2200768" y="7198129"/>
                  <a:pt x="2198239" y="7199992"/>
                  <a:pt x="2196642" y="7201723"/>
                </a:cubicBezTo>
                <a:cubicBezTo>
                  <a:pt x="2194112" y="7204385"/>
                  <a:pt x="2193048" y="7207180"/>
                  <a:pt x="2193048" y="7211174"/>
                </a:cubicBezTo>
                <a:cubicBezTo>
                  <a:pt x="2193048" y="7215300"/>
                  <a:pt x="2194112" y="7218096"/>
                  <a:pt x="2196642" y="7220625"/>
                </a:cubicBezTo>
                <a:cubicBezTo>
                  <a:pt x="2198239" y="7222224"/>
                  <a:pt x="2200768" y="7224087"/>
                  <a:pt x="2206625" y="7224087"/>
                </a:cubicBezTo>
                <a:cubicBezTo>
                  <a:pt x="2208755" y="7224087"/>
                  <a:pt x="2210486" y="7223821"/>
                  <a:pt x="2211950" y="7223155"/>
                </a:cubicBezTo>
                <a:cubicBezTo>
                  <a:pt x="2213548" y="7222622"/>
                  <a:pt x="2214746" y="7221824"/>
                  <a:pt x="2215677" y="7220758"/>
                </a:cubicBezTo>
                <a:cubicBezTo>
                  <a:pt x="2216742" y="7219560"/>
                  <a:pt x="2217674" y="7218229"/>
                  <a:pt x="2218340" y="7216499"/>
                </a:cubicBezTo>
                <a:cubicBezTo>
                  <a:pt x="2218873" y="7214901"/>
                  <a:pt x="2219272" y="7213037"/>
                  <a:pt x="2219272" y="7211040"/>
                </a:cubicBezTo>
                <a:cubicBezTo>
                  <a:pt x="2219272" y="7209177"/>
                  <a:pt x="2219005" y="7207447"/>
                  <a:pt x="2218340" y="7205850"/>
                </a:cubicBezTo>
                <a:cubicBezTo>
                  <a:pt x="2217674" y="7204252"/>
                  <a:pt x="2216742" y="7202921"/>
                  <a:pt x="2215677" y="7201723"/>
                </a:cubicBezTo>
                <a:cubicBezTo>
                  <a:pt x="2214612" y="7200658"/>
                  <a:pt x="2213282" y="7199726"/>
                  <a:pt x="2211684" y="7199060"/>
                </a:cubicBezTo>
                <a:cubicBezTo>
                  <a:pt x="2210220" y="7198395"/>
                  <a:pt x="2208622" y="7198129"/>
                  <a:pt x="2206625" y="7198129"/>
                </a:cubicBezTo>
                <a:close/>
                <a:moveTo>
                  <a:pt x="1989092" y="7198129"/>
                </a:moveTo>
                <a:cubicBezTo>
                  <a:pt x="1983235" y="7198129"/>
                  <a:pt x="1980706" y="7199992"/>
                  <a:pt x="1979109" y="7201723"/>
                </a:cubicBezTo>
                <a:cubicBezTo>
                  <a:pt x="1976579" y="7204385"/>
                  <a:pt x="1975515" y="7207180"/>
                  <a:pt x="1975515" y="7211174"/>
                </a:cubicBezTo>
                <a:cubicBezTo>
                  <a:pt x="1975515" y="7215300"/>
                  <a:pt x="1976579" y="7218096"/>
                  <a:pt x="1979109" y="7220625"/>
                </a:cubicBezTo>
                <a:cubicBezTo>
                  <a:pt x="1980706" y="7222224"/>
                  <a:pt x="1983235" y="7224087"/>
                  <a:pt x="1989092" y="7224087"/>
                </a:cubicBezTo>
                <a:cubicBezTo>
                  <a:pt x="1991089" y="7224087"/>
                  <a:pt x="1992821" y="7223821"/>
                  <a:pt x="1994417" y="7223155"/>
                </a:cubicBezTo>
                <a:cubicBezTo>
                  <a:pt x="1996015" y="7222622"/>
                  <a:pt x="1997214" y="7221824"/>
                  <a:pt x="1998145" y="7220758"/>
                </a:cubicBezTo>
                <a:cubicBezTo>
                  <a:pt x="1999209" y="7219560"/>
                  <a:pt x="2000142" y="7218229"/>
                  <a:pt x="2000808" y="7216499"/>
                </a:cubicBezTo>
                <a:cubicBezTo>
                  <a:pt x="2001339" y="7214901"/>
                  <a:pt x="2001738" y="7213037"/>
                  <a:pt x="2001738" y="7211040"/>
                </a:cubicBezTo>
                <a:cubicBezTo>
                  <a:pt x="2001738" y="7209177"/>
                  <a:pt x="2001473" y="7207447"/>
                  <a:pt x="2000808" y="7205850"/>
                </a:cubicBezTo>
                <a:cubicBezTo>
                  <a:pt x="2000142" y="7204252"/>
                  <a:pt x="1999209" y="7202921"/>
                  <a:pt x="1998145" y="7201723"/>
                </a:cubicBezTo>
                <a:cubicBezTo>
                  <a:pt x="1997080" y="7200658"/>
                  <a:pt x="1995749" y="7199726"/>
                  <a:pt x="1994151" y="7199060"/>
                </a:cubicBezTo>
                <a:cubicBezTo>
                  <a:pt x="1992687" y="7198395"/>
                  <a:pt x="1991089" y="7198129"/>
                  <a:pt x="1989092" y="7198129"/>
                </a:cubicBezTo>
                <a:close/>
                <a:moveTo>
                  <a:pt x="1771462" y="7198129"/>
                </a:moveTo>
                <a:cubicBezTo>
                  <a:pt x="1765605" y="7198129"/>
                  <a:pt x="1763077" y="7199992"/>
                  <a:pt x="1761480" y="7201723"/>
                </a:cubicBezTo>
                <a:cubicBezTo>
                  <a:pt x="1758952" y="7204385"/>
                  <a:pt x="1757887" y="7207180"/>
                  <a:pt x="1757887" y="7211174"/>
                </a:cubicBezTo>
                <a:cubicBezTo>
                  <a:pt x="1757887" y="7215300"/>
                  <a:pt x="1758952" y="7218096"/>
                  <a:pt x="1761480" y="7220625"/>
                </a:cubicBezTo>
                <a:cubicBezTo>
                  <a:pt x="1763077" y="7222224"/>
                  <a:pt x="1765605" y="7224087"/>
                  <a:pt x="1771462" y="7224087"/>
                </a:cubicBezTo>
                <a:cubicBezTo>
                  <a:pt x="1773459" y="7224087"/>
                  <a:pt x="1775323" y="7223821"/>
                  <a:pt x="1776787" y="7223155"/>
                </a:cubicBezTo>
                <a:cubicBezTo>
                  <a:pt x="1778251" y="7222622"/>
                  <a:pt x="1779580" y="7221824"/>
                  <a:pt x="1780512" y="7220758"/>
                </a:cubicBezTo>
                <a:cubicBezTo>
                  <a:pt x="1781578" y="7219560"/>
                  <a:pt x="1782509" y="7218229"/>
                  <a:pt x="1783175" y="7216499"/>
                </a:cubicBezTo>
                <a:cubicBezTo>
                  <a:pt x="1783840" y="7214901"/>
                  <a:pt x="1784240" y="7213037"/>
                  <a:pt x="1784240" y="7211040"/>
                </a:cubicBezTo>
                <a:cubicBezTo>
                  <a:pt x="1784240" y="7209177"/>
                  <a:pt x="1783840" y="7207447"/>
                  <a:pt x="1783175" y="7205850"/>
                </a:cubicBezTo>
                <a:cubicBezTo>
                  <a:pt x="1782509" y="7204252"/>
                  <a:pt x="1781578" y="7202921"/>
                  <a:pt x="1780512" y="7201723"/>
                </a:cubicBezTo>
                <a:cubicBezTo>
                  <a:pt x="1779448" y="7200658"/>
                  <a:pt x="1778118" y="7199726"/>
                  <a:pt x="1776521" y="7199060"/>
                </a:cubicBezTo>
                <a:cubicBezTo>
                  <a:pt x="1775056" y="7198395"/>
                  <a:pt x="1773459" y="7198129"/>
                  <a:pt x="1771462" y="7198129"/>
                </a:cubicBezTo>
                <a:close/>
                <a:moveTo>
                  <a:pt x="1553827" y="7198129"/>
                </a:moveTo>
                <a:cubicBezTo>
                  <a:pt x="1547970" y="7198129"/>
                  <a:pt x="1545441" y="7199992"/>
                  <a:pt x="1543845" y="7201723"/>
                </a:cubicBezTo>
                <a:cubicBezTo>
                  <a:pt x="1541315" y="7204385"/>
                  <a:pt x="1540250" y="7207180"/>
                  <a:pt x="1540250" y="7211174"/>
                </a:cubicBezTo>
                <a:cubicBezTo>
                  <a:pt x="1540250" y="7215300"/>
                  <a:pt x="1541315" y="7218096"/>
                  <a:pt x="1543845" y="7220625"/>
                </a:cubicBezTo>
                <a:cubicBezTo>
                  <a:pt x="1545441" y="7222224"/>
                  <a:pt x="1547970" y="7224087"/>
                  <a:pt x="1553827" y="7224087"/>
                </a:cubicBezTo>
                <a:cubicBezTo>
                  <a:pt x="1555824" y="7224087"/>
                  <a:pt x="1557688" y="7223821"/>
                  <a:pt x="1559152" y="7223155"/>
                </a:cubicBezTo>
                <a:cubicBezTo>
                  <a:pt x="1560616" y="7222622"/>
                  <a:pt x="1561948" y="7221824"/>
                  <a:pt x="1562879" y="7220758"/>
                </a:cubicBezTo>
                <a:cubicBezTo>
                  <a:pt x="1563944" y="7219560"/>
                  <a:pt x="1564876" y="7218229"/>
                  <a:pt x="1565542" y="7216499"/>
                </a:cubicBezTo>
                <a:cubicBezTo>
                  <a:pt x="1566207" y="7214901"/>
                  <a:pt x="1566607" y="7213037"/>
                  <a:pt x="1566607" y="7211040"/>
                </a:cubicBezTo>
                <a:cubicBezTo>
                  <a:pt x="1566607" y="7209177"/>
                  <a:pt x="1566207" y="7207447"/>
                  <a:pt x="1565542" y="7205850"/>
                </a:cubicBezTo>
                <a:cubicBezTo>
                  <a:pt x="1564876" y="7204252"/>
                  <a:pt x="1563944" y="7202921"/>
                  <a:pt x="1562879" y="7201723"/>
                </a:cubicBezTo>
                <a:cubicBezTo>
                  <a:pt x="1561814" y="7200658"/>
                  <a:pt x="1560483" y="7199726"/>
                  <a:pt x="1558886" y="7199060"/>
                </a:cubicBezTo>
                <a:cubicBezTo>
                  <a:pt x="1557422" y="7198395"/>
                  <a:pt x="1555824" y="7198129"/>
                  <a:pt x="1553827" y="7198129"/>
                </a:cubicBezTo>
                <a:close/>
                <a:moveTo>
                  <a:pt x="1336184" y="7198129"/>
                </a:moveTo>
                <a:cubicBezTo>
                  <a:pt x="1330326" y="7198129"/>
                  <a:pt x="1327797" y="7199992"/>
                  <a:pt x="1326200" y="7201723"/>
                </a:cubicBezTo>
                <a:cubicBezTo>
                  <a:pt x="1323670" y="7204385"/>
                  <a:pt x="1322606" y="7207180"/>
                  <a:pt x="1322606" y="7211174"/>
                </a:cubicBezTo>
                <a:cubicBezTo>
                  <a:pt x="1322606" y="7215300"/>
                  <a:pt x="1323670" y="7218096"/>
                  <a:pt x="1326200" y="7220625"/>
                </a:cubicBezTo>
                <a:cubicBezTo>
                  <a:pt x="1327797" y="7222224"/>
                  <a:pt x="1330326" y="7224087"/>
                  <a:pt x="1336184" y="7224087"/>
                </a:cubicBezTo>
                <a:cubicBezTo>
                  <a:pt x="1338314" y="7224087"/>
                  <a:pt x="1340044" y="7223821"/>
                  <a:pt x="1341511" y="7223155"/>
                </a:cubicBezTo>
                <a:cubicBezTo>
                  <a:pt x="1342974" y="7222622"/>
                  <a:pt x="1344306" y="7221824"/>
                  <a:pt x="1345238" y="7220758"/>
                </a:cubicBezTo>
                <a:cubicBezTo>
                  <a:pt x="1346302" y="7219560"/>
                  <a:pt x="1347235" y="7218229"/>
                  <a:pt x="1347900" y="7216499"/>
                </a:cubicBezTo>
                <a:cubicBezTo>
                  <a:pt x="1348566" y="7214901"/>
                  <a:pt x="1348966" y="7213037"/>
                  <a:pt x="1348966" y="7211040"/>
                </a:cubicBezTo>
                <a:cubicBezTo>
                  <a:pt x="1348966" y="7209177"/>
                  <a:pt x="1348566" y="7207447"/>
                  <a:pt x="1347900" y="7205850"/>
                </a:cubicBezTo>
                <a:cubicBezTo>
                  <a:pt x="1347235" y="7204252"/>
                  <a:pt x="1346302" y="7202921"/>
                  <a:pt x="1345238" y="7201723"/>
                </a:cubicBezTo>
                <a:cubicBezTo>
                  <a:pt x="1344173" y="7200658"/>
                  <a:pt x="1342842" y="7199726"/>
                  <a:pt x="1341243" y="7199060"/>
                </a:cubicBezTo>
                <a:cubicBezTo>
                  <a:pt x="1339780" y="7198395"/>
                  <a:pt x="1338180" y="7198129"/>
                  <a:pt x="1336184" y="7198129"/>
                </a:cubicBezTo>
                <a:close/>
                <a:moveTo>
                  <a:pt x="1118672" y="7198129"/>
                </a:moveTo>
                <a:cubicBezTo>
                  <a:pt x="1112813" y="7198129"/>
                  <a:pt x="1110283" y="7199992"/>
                  <a:pt x="1108686" y="7201723"/>
                </a:cubicBezTo>
                <a:cubicBezTo>
                  <a:pt x="1106023" y="7204385"/>
                  <a:pt x="1104959" y="7207180"/>
                  <a:pt x="1104959" y="7211174"/>
                </a:cubicBezTo>
                <a:cubicBezTo>
                  <a:pt x="1104959" y="7215300"/>
                  <a:pt x="1106023" y="7218096"/>
                  <a:pt x="1108553" y="7220625"/>
                </a:cubicBezTo>
                <a:cubicBezTo>
                  <a:pt x="1110150" y="7222224"/>
                  <a:pt x="1112680" y="7224087"/>
                  <a:pt x="1118539" y="7224087"/>
                </a:cubicBezTo>
                <a:cubicBezTo>
                  <a:pt x="1120669" y="7224087"/>
                  <a:pt x="1122400" y="7223821"/>
                  <a:pt x="1123995" y="7223155"/>
                </a:cubicBezTo>
                <a:cubicBezTo>
                  <a:pt x="1125461" y="7222622"/>
                  <a:pt x="1126797" y="7221824"/>
                  <a:pt x="1127727" y="7220758"/>
                </a:cubicBezTo>
                <a:cubicBezTo>
                  <a:pt x="1128792" y="7219560"/>
                  <a:pt x="1129724" y="7218229"/>
                  <a:pt x="1130391" y="7216499"/>
                </a:cubicBezTo>
                <a:cubicBezTo>
                  <a:pt x="1131055" y="7214901"/>
                  <a:pt x="1131456" y="7213037"/>
                  <a:pt x="1131456" y="7211040"/>
                </a:cubicBezTo>
                <a:cubicBezTo>
                  <a:pt x="1131456" y="7209177"/>
                  <a:pt x="1131055" y="7207447"/>
                  <a:pt x="1130391" y="7205850"/>
                </a:cubicBezTo>
                <a:cubicBezTo>
                  <a:pt x="1129724" y="7204252"/>
                  <a:pt x="1128792" y="7202921"/>
                  <a:pt x="1127727" y="7201723"/>
                </a:cubicBezTo>
                <a:cubicBezTo>
                  <a:pt x="1126662" y="7200658"/>
                  <a:pt x="1125329" y="7199726"/>
                  <a:pt x="1123731" y="7199060"/>
                </a:cubicBezTo>
                <a:cubicBezTo>
                  <a:pt x="1122268" y="7198395"/>
                  <a:pt x="1120669" y="7198129"/>
                  <a:pt x="1118672" y="7198129"/>
                </a:cubicBezTo>
                <a:close/>
                <a:moveTo>
                  <a:pt x="901159" y="7198129"/>
                </a:moveTo>
                <a:cubicBezTo>
                  <a:pt x="895301" y="7198129"/>
                  <a:pt x="892772" y="7199992"/>
                  <a:pt x="891175" y="7201723"/>
                </a:cubicBezTo>
                <a:cubicBezTo>
                  <a:pt x="888512" y="7204385"/>
                  <a:pt x="887448" y="7207180"/>
                  <a:pt x="887448" y="7211174"/>
                </a:cubicBezTo>
                <a:cubicBezTo>
                  <a:pt x="887448" y="7215300"/>
                  <a:pt x="888512" y="7218096"/>
                  <a:pt x="891042" y="7220625"/>
                </a:cubicBezTo>
                <a:cubicBezTo>
                  <a:pt x="892640" y="7222224"/>
                  <a:pt x="895168" y="7224087"/>
                  <a:pt x="901025" y="7224087"/>
                </a:cubicBezTo>
                <a:cubicBezTo>
                  <a:pt x="903022" y="7224087"/>
                  <a:pt x="904753" y="7223821"/>
                  <a:pt x="906484" y="7223155"/>
                </a:cubicBezTo>
                <a:cubicBezTo>
                  <a:pt x="907948" y="7222622"/>
                  <a:pt x="909280" y="7221824"/>
                  <a:pt x="910212" y="7220758"/>
                </a:cubicBezTo>
                <a:cubicBezTo>
                  <a:pt x="911276" y="7219560"/>
                  <a:pt x="912208" y="7218229"/>
                  <a:pt x="912874" y="7216499"/>
                </a:cubicBezTo>
                <a:cubicBezTo>
                  <a:pt x="913539" y="7214901"/>
                  <a:pt x="913939" y="7213037"/>
                  <a:pt x="913939" y="7211040"/>
                </a:cubicBezTo>
                <a:cubicBezTo>
                  <a:pt x="913939" y="7209177"/>
                  <a:pt x="913539" y="7207447"/>
                  <a:pt x="912874" y="7205850"/>
                </a:cubicBezTo>
                <a:cubicBezTo>
                  <a:pt x="912208" y="7204252"/>
                  <a:pt x="911276" y="7202921"/>
                  <a:pt x="910212" y="7201723"/>
                </a:cubicBezTo>
                <a:cubicBezTo>
                  <a:pt x="909147" y="7200658"/>
                  <a:pt x="907815" y="7199726"/>
                  <a:pt x="906217" y="7199060"/>
                </a:cubicBezTo>
                <a:cubicBezTo>
                  <a:pt x="904753" y="7198395"/>
                  <a:pt x="903155" y="7198129"/>
                  <a:pt x="901159" y="7198129"/>
                </a:cubicBezTo>
                <a:close/>
                <a:moveTo>
                  <a:pt x="683387" y="7198129"/>
                </a:moveTo>
                <a:cubicBezTo>
                  <a:pt x="677530" y="7198129"/>
                  <a:pt x="675000" y="7199992"/>
                  <a:pt x="673403" y="7201723"/>
                </a:cubicBezTo>
                <a:cubicBezTo>
                  <a:pt x="670873" y="7204385"/>
                  <a:pt x="669810" y="7207180"/>
                  <a:pt x="669810" y="7211174"/>
                </a:cubicBezTo>
                <a:cubicBezTo>
                  <a:pt x="669810" y="7215300"/>
                  <a:pt x="670873" y="7218096"/>
                  <a:pt x="673403" y="7220625"/>
                </a:cubicBezTo>
                <a:cubicBezTo>
                  <a:pt x="675000" y="7222224"/>
                  <a:pt x="677530" y="7224087"/>
                  <a:pt x="683387" y="7224087"/>
                </a:cubicBezTo>
                <a:cubicBezTo>
                  <a:pt x="685384" y="7224087"/>
                  <a:pt x="687248" y="7223821"/>
                  <a:pt x="688712" y="7223155"/>
                </a:cubicBezTo>
                <a:cubicBezTo>
                  <a:pt x="690176" y="7222622"/>
                  <a:pt x="691508" y="7221824"/>
                  <a:pt x="692439" y="7220758"/>
                </a:cubicBezTo>
                <a:cubicBezTo>
                  <a:pt x="693504" y="7219560"/>
                  <a:pt x="694436" y="7218229"/>
                  <a:pt x="695102" y="7216499"/>
                </a:cubicBezTo>
                <a:cubicBezTo>
                  <a:pt x="695767" y="7214901"/>
                  <a:pt x="696167" y="7213037"/>
                  <a:pt x="696167" y="7211040"/>
                </a:cubicBezTo>
                <a:cubicBezTo>
                  <a:pt x="696167" y="7209177"/>
                  <a:pt x="695767" y="7207447"/>
                  <a:pt x="695102" y="7205850"/>
                </a:cubicBezTo>
                <a:cubicBezTo>
                  <a:pt x="694436" y="7204252"/>
                  <a:pt x="693504" y="7202921"/>
                  <a:pt x="692439" y="7201723"/>
                </a:cubicBezTo>
                <a:cubicBezTo>
                  <a:pt x="691374" y="7200658"/>
                  <a:pt x="690043" y="7199726"/>
                  <a:pt x="688446" y="7199060"/>
                </a:cubicBezTo>
                <a:cubicBezTo>
                  <a:pt x="686982" y="7198395"/>
                  <a:pt x="685384" y="7198129"/>
                  <a:pt x="683387" y="7198129"/>
                </a:cubicBezTo>
                <a:close/>
                <a:moveTo>
                  <a:pt x="465746" y="7198129"/>
                </a:moveTo>
                <a:cubicBezTo>
                  <a:pt x="459889" y="7198129"/>
                  <a:pt x="457360" y="7199992"/>
                  <a:pt x="455763" y="7201723"/>
                </a:cubicBezTo>
                <a:cubicBezTo>
                  <a:pt x="453233" y="7204385"/>
                  <a:pt x="452169" y="7207180"/>
                  <a:pt x="452169" y="7211174"/>
                </a:cubicBezTo>
                <a:cubicBezTo>
                  <a:pt x="452169" y="7215300"/>
                  <a:pt x="453233" y="7218096"/>
                  <a:pt x="455763" y="7220625"/>
                </a:cubicBezTo>
                <a:cubicBezTo>
                  <a:pt x="457360" y="7222224"/>
                  <a:pt x="459889" y="7224087"/>
                  <a:pt x="465746" y="7224087"/>
                </a:cubicBezTo>
                <a:cubicBezTo>
                  <a:pt x="467744" y="7224087"/>
                  <a:pt x="469607" y="7223821"/>
                  <a:pt x="471072" y="7223155"/>
                </a:cubicBezTo>
                <a:cubicBezTo>
                  <a:pt x="472536" y="7222622"/>
                  <a:pt x="473867" y="7221824"/>
                  <a:pt x="474799" y="7220758"/>
                </a:cubicBezTo>
                <a:cubicBezTo>
                  <a:pt x="475863" y="7219560"/>
                  <a:pt x="476795" y="7218229"/>
                  <a:pt x="477462" y="7216499"/>
                </a:cubicBezTo>
                <a:cubicBezTo>
                  <a:pt x="478127" y="7214901"/>
                  <a:pt x="478527" y="7213037"/>
                  <a:pt x="478527" y="7211040"/>
                </a:cubicBezTo>
                <a:cubicBezTo>
                  <a:pt x="478527" y="7209177"/>
                  <a:pt x="478127" y="7207447"/>
                  <a:pt x="477462" y="7205850"/>
                </a:cubicBezTo>
                <a:cubicBezTo>
                  <a:pt x="476795" y="7204252"/>
                  <a:pt x="475863" y="7202921"/>
                  <a:pt x="474799" y="7201723"/>
                </a:cubicBezTo>
                <a:cubicBezTo>
                  <a:pt x="473734" y="7200658"/>
                  <a:pt x="472402" y="7199726"/>
                  <a:pt x="470806" y="7199060"/>
                </a:cubicBezTo>
                <a:cubicBezTo>
                  <a:pt x="469341" y="7198395"/>
                  <a:pt x="467744" y="7198129"/>
                  <a:pt x="465746" y="7198129"/>
                </a:cubicBezTo>
                <a:close/>
                <a:moveTo>
                  <a:pt x="248106" y="7198129"/>
                </a:moveTo>
                <a:cubicBezTo>
                  <a:pt x="242249" y="7198129"/>
                  <a:pt x="239721" y="7199992"/>
                  <a:pt x="238124" y="7201723"/>
                </a:cubicBezTo>
                <a:cubicBezTo>
                  <a:pt x="235594" y="7204385"/>
                  <a:pt x="234530" y="7207180"/>
                  <a:pt x="234530" y="7211174"/>
                </a:cubicBezTo>
                <a:cubicBezTo>
                  <a:pt x="234530" y="7215300"/>
                  <a:pt x="235594" y="7218096"/>
                  <a:pt x="238124" y="7220625"/>
                </a:cubicBezTo>
                <a:cubicBezTo>
                  <a:pt x="239721" y="7222224"/>
                  <a:pt x="242249" y="7224087"/>
                  <a:pt x="248106" y="7224087"/>
                </a:cubicBezTo>
                <a:cubicBezTo>
                  <a:pt x="250236" y="7224087"/>
                  <a:pt x="251966" y="7223821"/>
                  <a:pt x="253430" y="7223155"/>
                </a:cubicBezTo>
                <a:cubicBezTo>
                  <a:pt x="254894" y="7222622"/>
                  <a:pt x="256225" y="7221824"/>
                  <a:pt x="257157" y="7220758"/>
                </a:cubicBezTo>
                <a:cubicBezTo>
                  <a:pt x="258222" y="7219560"/>
                  <a:pt x="259154" y="7218229"/>
                  <a:pt x="259820" y="7216499"/>
                </a:cubicBezTo>
                <a:cubicBezTo>
                  <a:pt x="260485" y="7214901"/>
                  <a:pt x="260885" y="7213037"/>
                  <a:pt x="260885" y="7211040"/>
                </a:cubicBezTo>
                <a:cubicBezTo>
                  <a:pt x="260885" y="7209177"/>
                  <a:pt x="260485" y="7207447"/>
                  <a:pt x="259820" y="7205850"/>
                </a:cubicBezTo>
                <a:cubicBezTo>
                  <a:pt x="259154" y="7204252"/>
                  <a:pt x="258222" y="7202921"/>
                  <a:pt x="257157" y="7201723"/>
                </a:cubicBezTo>
                <a:cubicBezTo>
                  <a:pt x="256092" y="7200658"/>
                  <a:pt x="254761" y="7199726"/>
                  <a:pt x="253164" y="7199060"/>
                </a:cubicBezTo>
                <a:cubicBezTo>
                  <a:pt x="251699" y="7198395"/>
                  <a:pt x="250103" y="7198129"/>
                  <a:pt x="248106" y="7198129"/>
                </a:cubicBezTo>
                <a:close/>
                <a:moveTo>
                  <a:pt x="30465" y="7198129"/>
                </a:moveTo>
                <a:cubicBezTo>
                  <a:pt x="24608" y="7198129"/>
                  <a:pt x="22079" y="7199992"/>
                  <a:pt x="20482" y="7201723"/>
                </a:cubicBezTo>
                <a:cubicBezTo>
                  <a:pt x="17952" y="7204385"/>
                  <a:pt x="16889" y="7207180"/>
                  <a:pt x="16889" y="7211174"/>
                </a:cubicBezTo>
                <a:cubicBezTo>
                  <a:pt x="16889" y="7215300"/>
                  <a:pt x="17952" y="7218096"/>
                  <a:pt x="20482" y="7220625"/>
                </a:cubicBezTo>
                <a:cubicBezTo>
                  <a:pt x="22079" y="7222224"/>
                  <a:pt x="24608" y="7224087"/>
                  <a:pt x="30465" y="7224087"/>
                </a:cubicBezTo>
                <a:cubicBezTo>
                  <a:pt x="32595" y="7224087"/>
                  <a:pt x="34326" y="7223821"/>
                  <a:pt x="35790" y="7223155"/>
                </a:cubicBezTo>
                <a:cubicBezTo>
                  <a:pt x="37254" y="7222622"/>
                  <a:pt x="38586" y="7221824"/>
                  <a:pt x="39517" y="7220758"/>
                </a:cubicBezTo>
                <a:cubicBezTo>
                  <a:pt x="40582" y="7219560"/>
                  <a:pt x="41514" y="7218229"/>
                  <a:pt x="42180" y="7216499"/>
                </a:cubicBezTo>
                <a:cubicBezTo>
                  <a:pt x="42845" y="7214901"/>
                  <a:pt x="43111" y="7213037"/>
                  <a:pt x="43111" y="7211040"/>
                </a:cubicBezTo>
                <a:cubicBezTo>
                  <a:pt x="43111" y="7209177"/>
                  <a:pt x="42845" y="7207447"/>
                  <a:pt x="42180" y="7205850"/>
                </a:cubicBezTo>
                <a:cubicBezTo>
                  <a:pt x="41514" y="7204252"/>
                  <a:pt x="40582" y="7202921"/>
                  <a:pt x="39517" y="7201723"/>
                </a:cubicBezTo>
                <a:cubicBezTo>
                  <a:pt x="38452" y="7200658"/>
                  <a:pt x="37121" y="7199726"/>
                  <a:pt x="35524" y="7199060"/>
                </a:cubicBezTo>
                <a:cubicBezTo>
                  <a:pt x="34060" y="7198395"/>
                  <a:pt x="32462" y="7198129"/>
                  <a:pt x="30465" y="7198129"/>
                </a:cubicBezTo>
                <a:close/>
                <a:moveTo>
                  <a:pt x="10475977" y="7181489"/>
                </a:moveTo>
                <a:cubicBezTo>
                  <a:pt x="10480237" y="7181489"/>
                  <a:pt x="10484230" y="7182288"/>
                  <a:pt x="10487824" y="7183752"/>
                </a:cubicBezTo>
                <a:cubicBezTo>
                  <a:pt x="10491419" y="7185349"/>
                  <a:pt x="10494613" y="7187479"/>
                  <a:pt x="10497143" y="7190141"/>
                </a:cubicBezTo>
                <a:cubicBezTo>
                  <a:pt x="10499672" y="7192670"/>
                  <a:pt x="10501801" y="7195866"/>
                  <a:pt x="10503266" y="7199459"/>
                </a:cubicBezTo>
                <a:cubicBezTo>
                  <a:pt x="10504730" y="7203054"/>
                  <a:pt x="10505529" y="7206914"/>
                  <a:pt x="10505529" y="7210908"/>
                </a:cubicBezTo>
                <a:cubicBezTo>
                  <a:pt x="10505529" y="7215035"/>
                  <a:pt x="10504730" y="7219028"/>
                  <a:pt x="10503266" y="7222622"/>
                </a:cubicBezTo>
                <a:cubicBezTo>
                  <a:pt x="10501669" y="7226350"/>
                  <a:pt x="10499672" y="7229412"/>
                  <a:pt x="10497143" y="7232074"/>
                </a:cubicBezTo>
                <a:cubicBezTo>
                  <a:pt x="10494480" y="7234737"/>
                  <a:pt x="10491419" y="7236866"/>
                  <a:pt x="10487824" y="7238331"/>
                </a:cubicBezTo>
                <a:cubicBezTo>
                  <a:pt x="10484098" y="7239795"/>
                  <a:pt x="10480237" y="7240594"/>
                  <a:pt x="10475977" y="7240594"/>
                </a:cubicBezTo>
                <a:cubicBezTo>
                  <a:pt x="10466924" y="7240594"/>
                  <a:pt x="10459736" y="7237798"/>
                  <a:pt x="10454145" y="7232207"/>
                </a:cubicBezTo>
                <a:cubicBezTo>
                  <a:pt x="10448554" y="7226617"/>
                  <a:pt x="10445759" y="7219560"/>
                  <a:pt x="10445759" y="7211040"/>
                </a:cubicBezTo>
                <a:cubicBezTo>
                  <a:pt x="10445759" y="7202787"/>
                  <a:pt x="10448554" y="7195733"/>
                  <a:pt x="10454145" y="7190009"/>
                </a:cubicBezTo>
                <a:cubicBezTo>
                  <a:pt x="10459603" y="7184285"/>
                  <a:pt x="10466924" y="7181489"/>
                  <a:pt x="10475977" y="7181489"/>
                </a:cubicBezTo>
                <a:close/>
                <a:moveTo>
                  <a:pt x="10258466" y="7181489"/>
                </a:moveTo>
                <a:cubicBezTo>
                  <a:pt x="10262592" y="7181489"/>
                  <a:pt x="10266586" y="7182288"/>
                  <a:pt x="10270313" y="7183752"/>
                </a:cubicBezTo>
                <a:cubicBezTo>
                  <a:pt x="10273907" y="7185349"/>
                  <a:pt x="10277101" y="7187479"/>
                  <a:pt x="10279631" y="7190141"/>
                </a:cubicBezTo>
                <a:cubicBezTo>
                  <a:pt x="10282160" y="7192670"/>
                  <a:pt x="10284290" y="7195866"/>
                  <a:pt x="10285754" y="7199459"/>
                </a:cubicBezTo>
                <a:cubicBezTo>
                  <a:pt x="10287218" y="7203054"/>
                  <a:pt x="10288017" y="7206914"/>
                  <a:pt x="10288017" y="7210908"/>
                </a:cubicBezTo>
                <a:cubicBezTo>
                  <a:pt x="10288017" y="7215035"/>
                  <a:pt x="10287218" y="7219028"/>
                  <a:pt x="10285754" y="7222622"/>
                </a:cubicBezTo>
                <a:cubicBezTo>
                  <a:pt x="10284157" y="7226350"/>
                  <a:pt x="10282160" y="7229412"/>
                  <a:pt x="10279631" y="7232074"/>
                </a:cubicBezTo>
                <a:cubicBezTo>
                  <a:pt x="10276969" y="7234737"/>
                  <a:pt x="10273907" y="7236866"/>
                  <a:pt x="10270313" y="7238331"/>
                </a:cubicBezTo>
                <a:cubicBezTo>
                  <a:pt x="10266586" y="7239795"/>
                  <a:pt x="10262725" y="7240594"/>
                  <a:pt x="10258466" y="7240594"/>
                </a:cubicBezTo>
                <a:cubicBezTo>
                  <a:pt x="10249546" y="7240594"/>
                  <a:pt x="10242224" y="7237798"/>
                  <a:pt x="10236633" y="7232207"/>
                </a:cubicBezTo>
                <a:cubicBezTo>
                  <a:pt x="10231043" y="7226617"/>
                  <a:pt x="10228247" y="7219560"/>
                  <a:pt x="10228247" y="7211040"/>
                </a:cubicBezTo>
                <a:cubicBezTo>
                  <a:pt x="10228247" y="7202787"/>
                  <a:pt x="10231043" y="7195733"/>
                  <a:pt x="10236633" y="7190009"/>
                </a:cubicBezTo>
                <a:cubicBezTo>
                  <a:pt x="10242092" y="7184285"/>
                  <a:pt x="10249413" y="7181489"/>
                  <a:pt x="10258466" y="7181489"/>
                </a:cubicBezTo>
                <a:close/>
                <a:moveTo>
                  <a:pt x="10040820" y="7181489"/>
                </a:moveTo>
                <a:cubicBezTo>
                  <a:pt x="10045080" y="7181489"/>
                  <a:pt x="10048941" y="7182288"/>
                  <a:pt x="10052534" y="7183752"/>
                </a:cubicBezTo>
                <a:cubicBezTo>
                  <a:pt x="10056129" y="7185349"/>
                  <a:pt x="10059323" y="7187479"/>
                  <a:pt x="10061852" y="7190141"/>
                </a:cubicBezTo>
                <a:cubicBezTo>
                  <a:pt x="10064382" y="7192670"/>
                  <a:pt x="10066512" y="7195866"/>
                  <a:pt x="10067976" y="7199459"/>
                </a:cubicBezTo>
                <a:cubicBezTo>
                  <a:pt x="10069440" y="7203054"/>
                  <a:pt x="10070239" y="7206914"/>
                  <a:pt x="10070239" y="7210908"/>
                </a:cubicBezTo>
                <a:cubicBezTo>
                  <a:pt x="10070239" y="7215035"/>
                  <a:pt x="10069440" y="7219028"/>
                  <a:pt x="10067976" y="7222622"/>
                </a:cubicBezTo>
                <a:cubicBezTo>
                  <a:pt x="10066379" y="7226350"/>
                  <a:pt x="10064382" y="7229412"/>
                  <a:pt x="10061852" y="7232074"/>
                </a:cubicBezTo>
                <a:cubicBezTo>
                  <a:pt x="10059190" y="7234737"/>
                  <a:pt x="10056129" y="7236866"/>
                  <a:pt x="10052534" y="7238331"/>
                </a:cubicBezTo>
                <a:cubicBezTo>
                  <a:pt x="10048941" y="7239795"/>
                  <a:pt x="10045080" y="7240594"/>
                  <a:pt x="10040820" y="7240594"/>
                </a:cubicBezTo>
                <a:cubicBezTo>
                  <a:pt x="10031767" y="7240594"/>
                  <a:pt x="10024579" y="7237798"/>
                  <a:pt x="10018988" y="7232207"/>
                </a:cubicBezTo>
                <a:cubicBezTo>
                  <a:pt x="10013397" y="7226617"/>
                  <a:pt x="10010602" y="7219560"/>
                  <a:pt x="10010602" y="7211040"/>
                </a:cubicBezTo>
                <a:cubicBezTo>
                  <a:pt x="10010602" y="7202787"/>
                  <a:pt x="10013397" y="7195733"/>
                  <a:pt x="10018988" y="7190009"/>
                </a:cubicBezTo>
                <a:cubicBezTo>
                  <a:pt x="10024579" y="7184285"/>
                  <a:pt x="10031767" y="7181489"/>
                  <a:pt x="10040820" y="7181489"/>
                </a:cubicBezTo>
                <a:close/>
                <a:moveTo>
                  <a:pt x="9823176" y="7181489"/>
                </a:moveTo>
                <a:cubicBezTo>
                  <a:pt x="9827435" y="7181489"/>
                  <a:pt x="9831296" y="7182288"/>
                  <a:pt x="9834890" y="7183752"/>
                </a:cubicBezTo>
                <a:cubicBezTo>
                  <a:pt x="9838617" y="7185349"/>
                  <a:pt x="9841679" y="7187479"/>
                  <a:pt x="9844208" y="7190141"/>
                </a:cubicBezTo>
                <a:cubicBezTo>
                  <a:pt x="9846737" y="7192670"/>
                  <a:pt x="9848867" y="7195866"/>
                  <a:pt x="9850331" y="7199459"/>
                </a:cubicBezTo>
                <a:cubicBezTo>
                  <a:pt x="9851796" y="7203054"/>
                  <a:pt x="9852595" y="7206914"/>
                  <a:pt x="9852595" y="7210908"/>
                </a:cubicBezTo>
                <a:cubicBezTo>
                  <a:pt x="9852595" y="7215035"/>
                  <a:pt x="9851796" y="7219028"/>
                  <a:pt x="9850331" y="7222622"/>
                </a:cubicBezTo>
                <a:cubicBezTo>
                  <a:pt x="9848734" y="7226350"/>
                  <a:pt x="9846737" y="7229412"/>
                  <a:pt x="9844208" y="7232074"/>
                </a:cubicBezTo>
                <a:cubicBezTo>
                  <a:pt x="9841546" y="7234737"/>
                  <a:pt x="9838484" y="7236866"/>
                  <a:pt x="9834890" y="7238331"/>
                </a:cubicBezTo>
                <a:cubicBezTo>
                  <a:pt x="9831296" y="7239795"/>
                  <a:pt x="9827435" y="7240594"/>
                  <a:pt x="9823176" y="7240594"/>
                </a:cubicBezTo>
                <a:cubicBezTo>
                  <a:pt x="9814123" y="7240594"/>
                  <a:pt x="9806935" y="7237798"/>
                  <a:pt x="9801343" y="7232207"/>
                </a:cubicBezTo>
                <a:cubicBezTo>
                  <a:pt x="9795753" y="7226617"/>
                  <a:pt x="9792957" y="7219560"/>
                  <a:pt x="9792957" y="7211040"/>
                </a:cubicBezTo>
                <a:cubicBezTo>
                  <a:pt x="9792957" y="7202787"/>
                  <a:pt x="9795753" y="7195733"/>
                  <a:pt x="9801343" y="7190009"/>
                </a:cubicBezTo>
                <a:cubicBezTo>
                  <a:pt x="9806935" y="7184285"/>
                  <a:pt x="9814123" y="7181489"/>
                  <a:pt x="9823176" y="7181489"/>
                </a:cubicBezTo>
                <a:close/>
                <a:moveTo>
                  <a:pt x="9605531" y="7181489"/>
                </a:moveTo>
                <a:cubicBezTo>
                  <a:pt x="9609790" y="7181489"/>
                  <a:pt x="9613784" y="7182288"/>
                  <a:pt x="9617245" y="7183752"/>
                </a:cubicBezTo>
                <a:cubicBezTo>
                  <a:pt x="9620839" y="7185349"/>
                  <a:pt x="9624033" y="7187479"/>
                  <a:pt x="9626562" y="7190141"/>
                </a:cubicBezTo>
                <a:cubicBezTo>
                  <a:pt x="9629092" y="7192670"/>
                  <a:pt x="9631222" y="7195866"/>
                  <a:pt x="9632686" y="7199459"/>
                </a:cubicBezTo>
                <a:cubicBezTo>
                  <a:pt x="9634150" y="7203054"/>
                  <a:pt x="9634949" y="7206914"/>
                  <a:pt x="9634949" y="7210908"/>
                </a:cubicBezTo>
                <a:cubicBezTo>
                  <a:pt x="9634949" y="7215035"/>
                  <a:pt x="9634150" y="7219028"/>
                  <a:pt x="9632686" y="7222622"/>
                </a:cubicBezTo>
                <a:cubicBezTo>
                  <a:pt x="9631089" y="7226350"/>
                  <a:pt x="9629092" y="7229412"/>
                  <a:pt x="9626562" y="7232074"/>
                </a:cubicBezTo>
                <a:cubicBezTo>
                  <a:pt x="9623901" y="7234737"/>
                  <a:pt x="9620839" y="7236866"/>
                  <a:pt x="9617245" y="7238331"/>
                </a:cubicBezTo>
                <a:cubicBezTo>
                  <a:pt x="9613651" y="7239795"/>
                  <a:pt x="9609790" y="7240594"/>
                  <a:pt x="9605531" y="7240594"/>
                </a:cubicBezTo>
                <a:cubicBezTo>
                  <a:pt x="9596610" y="7240594"/>
                  <a:pt x="9589289" y="7237798"/>
                  <a:pt x="9583698" y="7232207"/>
                </a:cubicBezTo>
                <a:cubicBezTo>
                  <a:pt x="9578108" y="7226617"/>
                  <a:pt x="9575312" y="7219560"/>
                  <a:pt x="9575312" y="7211040"/>
                </a:cubicBezTo>
                <a:cubicBezTo>
                  <a:pt x="9575312" y="7202787"/>
                  <a:pt x="9578108" y="7195733"/>
                  <a:pt x="9583698" y="7190009"/>
                </a:cubicBezTo>
                <a:cubicBezTo>
                  <a:pt x="9589289" y="7184285"/>
                  <a:pt x="9596478" y="7181489"/>
                  <a:pt x="9605531" y="7181489"/>
                </a:cubicBezTo>
                <a:close/>
                <a:moveTo>
                  <a:pt x="9387885" y="7181489"/>
                </a:moveTo>
                <a:cubicBezTo>
                  <a:pt x="9392145" y="7181489"/>
                  <a:pt x="9396138" y="7182288"/>
                  <a:pt x="9399599" y="7183752"/>
                </a:cubicBezTo>
                <a:cubicBezTo>
                  <a:pt x="9403194" y="7185349"/>
                  <a:pt x="9406388" y="7187479"/>
                  <a:pt x="9408917" y="7190141"/>
                </a:cubicBezTo>
                <a:cubicBezTo>
                  <a:pt x="9411447" y="7192670"/>
                  <a:pt x="9413576" y="7195866"/>
                  <a:pt x="9415041" y="7199459"/>
                </a:cubicBezTo>
                <a:cubicBezTo>
                  <a:pt x="9416505" y="7203054"/>
                  <a:pt x="9417304" y="7206914"/>
                  <a:pt x="9417304" y="7210908"/>
                </a:cubicBezTo>
                <a:cubicBezTo>
                  <a:pt x="9417304" y="7215035"/>
                  <a:pt x="9416505" y="7219028"/>
                  <a:pt x="9415041" y="7222622"/>
                </a:cubicBezTo>
                <a:cubicBezTo>
                  <a:pt x="9413444" y="7226350"/>
                  <a:pt x="9411447" y="7229412"/>
                  <a:pt x="9408917" y="7232074"/>
                </a:cubicBezTo>
                <a:cubicBezTo>
                  <a:pt x="9406255" y="7234737"/>
                  <a:pt x="9403194" y="7236866"/>
                  <a:pt x="9399599" y="7238331"/>
                </a:cubicBezTo>
                <a:cubicBezTo>
                  <a:pt x="9396005" y="7239795"/>
                  <a:pt x="9392145" y="7240594"/>
                  <a:pt x="9387885" y="7240594"/>
                </a:cubicBezTo>
                <a:cubicBezTo>
                  <a:pt x="9378965" y="7240594"/>
                  <a:pt x="9371644" y="7237798"/>
                  <a:pt x="9366053" y="7232207"/>
                </a:cubicBezTo>
                <a:cubicBezTo>
                  <a:pt x="9360462" y="7226617"/>
                  <a:pt x="9357667" y="7219560"/>
                  <a:pt x="9357667" y="7211040"/>
                </a:cubicBezTo>
                <a:cubicBezTo>
                  <a:pt x="9357667" y="7202787"/>
                  <a:pt x="9360462" y="7195733"/>
                  <a:pt x="9366053" y="7190009"/>
                </a:cubicBezTo>
                <a:cubicBezTo>
                  <a:pt x="9371644" y="7184285"/>
                  <a:pt x="9378832" y="7181489"/>
                  <a:pt x="9387885" y="7181489"/>
                </a:cubicBezTo>
                <a:close/>
                <a:moveTo>
                  <a:pt x="9170374" y="7181489"/>
                </a:moveTo>
                <a:cubicBezTo>
                  <a:pt x="9174500" y="7181489"/>
                  <a:pt x="9178494" y="7182288"/>
                  <a:pt x="9182088" y="7183752"/>
                </a:cubicBezTo>
                <a:cubicBezTo>
                  <a:pt x="9185682" y="7185349"/>
                  <a:pt x="9188876" y="7187479"/>
                  <a:pt x="9191405" y="7190141"/>
                </a:cubicBezTo>
                <a:cubicBezTo>
                  <a:pt x="9193935" y="7192670"/>
                  <a:pt x="9196065" y="7195866"/>
                  <a:pt x="9197529" y="7199459"/>
                </a:cubicBezTo>
                <a:cubicBezTo>
                  <a:pt x="9198993" y="7203054"/>
                  <a:pt x="9199792" y="7206914"/>
                  <a:pt x="9199792" y="7210908"/>
                </a:cubicBezTo>
                <a:cubicBezTo>
                  <a:pt x="9199792" y="7215035"/>
                  <a:pt x="9198993" y="7219028"/>
                  <a:pt x="9197529" y="7222622"/>
                </a:cubicBezTo>
                <a:cubicBezTo>
                  <a:pt x="9195932" y="7226350"/>
                  <a:pt x="9193935" y="7229412"/>
                  <a:pt x="9191405" y="7232074"/>
                </a:cubicBezTo>
                <a:cubicBezTo>
                  <a:pt x="9188744" y="7234737"/>
                  <a:pt x="9185682" y="7236866"/>
                  <a:pt x="9182088" y="7238331"/>
                </a:cubicBezTo>
                <a:cubicBezTo>
                  <a:pt x="9178494" y="7239795"/>
                  <a:pt x="9174633" y="7240594"/>
                  <a:pt x="9170374" y="7240594"/>
                </a:cubicBezTo>
                <a:cubicBezTo>
                  <a:pt x="9161453" y="7240594"/>
                  <a:pt x="9154132" y="7237798"/>
                  <a:pt x="9148541" y="7232207"/>
                </a:cubicBezTo>
                <a:cubicBezTo>
                  <a:pt x="9142951" y="7226617"/>
                  <a:pt x="9140155" y="7219560"/>
                  <a:pt x="9140155" y="7211040"/>
                </a:cubicBezTo>
                <a:cubicBezTo>
                  <a:pt x="9140155" y="7202787"/>
                  <a:pt x="9142951" y="7195733"/>
                  <a:pt x="9148541" y="7190009"/>
                </a:cubicBezTo>
                <a:cubicBezTo>
                  <a:pt x="9154132" y="7184285"/>
                  <a:pt x="9161321" y="7181489"/>
                  <a:pt x="9170374" y="7181489"/>
                </a:cubicBezTo>
                <a:close/>
                <a:moveTo>
                  <a:pt x="8952728" y="7181489"/>
                </a:moveTo>
                <a:cubicBezTo>
                  <a:pt x="8956988" y="7181489"/>
                  <a:pt x="8960849" y="7182288"/>
                  <a:pt x="8964442" y="7183752"/>
                </a:cubicBezTo>
                <a:cubicBezTo>
                  <a:pt x="8968037" y="7185349"/>
                  <a:pt x="8971231" y="7187479"/>
                  <a:pt x="8973760" y="7190141"/>
                </a:cubicBezTo>
                <a:cubicBezTo>
                  <a:pt x="8976290" y="7192670"/>
                  <a:pt x="8978419" y="7195866"/>
                  <a:pt x="8979884" y="7199459"/>
                </a:cubicBezTo>
                <a:cubicBezTo>
                  <a:pt x="8981348" y="7203054"/>
                  <a:pt x="8982147" y="7206914"/>
                  <a:pt x="8982147" y="7210908"/>
                </a:cubicBezTo>
                <a:cubicBezTo>
                  <a:pt x="8982147" y="7215035"/>
                  <a:pt x="8981348" y="7219028"/>
                  <a:pt x="8979884" y="7222622"/>
                </a:cubicBezTo>
                <a:cubicBezTo>
                  <a:pt x="8978287" y="7226350"/>
                  <a:pt x="8976290" y="7229412"/>
                  <a:pt x="8973760" y="7232074"/>
                </a:cubicBezTo>
                <a:cubicBezTo>
                  <a:pt x="8971098" y="7234737"/>
                  <a:pt x="8968037" y="7236866"/>
                  <a:pt x="8964442" y="7238331"/>
                </a:cubicBezTo>
                <a:cubicBezTo>
                  <a:pt x="8960849" y="7239795"/>
                  <a:pt x="8956988" y="7240594"/>
                  <a:pt x="8952728" y="7240594"/>
                </a:cubicBezTo>
                <a:cubicBezTo>
                  <a:pt x="8943808" y="7240594"/>
                  <a:pt x="8936487" y="7237798"/>
                  <a:pt x="8930896" y="7232207"/>
                </a:cubicBezTo>
                <a:cubicBezTo>
                  <a:pt x="8925305" y="7226617"/>
                  <a:pt x="8922510" y="7219560"/>
                  <a:pt x="8922510" y="7211040"/>
                </a:cubicBezTo>
                <a:cubicBezTo>
                  <a:pt x="8922510" y="7202787"/>
                  <a:pt x="8925305" y="7195733"/>
                  <a:pt x="8930896" y="7190009"/>
                </a:cubicBezTo>
                <a:cubicBezTo>
                  <a:pt x="8936487" y="7184285"/>
                  <a:pt x="8943675" y="7181489"/>
                  <a:pt x="8952728" y="7181489"/>
                </a:cubicBezTo>
                <a:close/>
                <a:moveTo>
                  <a:pt x="8735083" y="7181489"/>
                </a:moveTo>
                <a:cubicBezTo>
                  <a:pt x="8739342" y="7181489"/>
                  <a:pt x="8743203" y="7182288"/>
                  <a:pt x="8746797" y="7183752"/>
                </a:cubicBezTo>
                <a:cubicBezTo>
                  <a:pt x="8750391" y="7185349"/>
                  <a:pt x="8753586" y="7187479"/>
                  <a:pt x="8756115" y="7190141"/>
                </a:cubicBezTo>
                <a:cubicBezTo>
                  <a:pt x="8758644" y="7192670"/>
                  <a:pt x="8760774" y="7195866"/>
                  <a:pt x="8762238" y="7199459"/>
                </a:cubicBezTo>
                <a:cubicBezTo>
                  <a:pt x="8763702" y="7203054"/>
                  <a:pt x="8764502" y="7206914"/>
                  <a:pt x="8764502" y="7210908"/>
                </a:cubicBezTo>
                <a:cubicBezTo>
                  <a:pt x="8764502" y="7215035"/>
                  <a:pt x="8763702" y="7219028"/>
                  <a:pt x="8762238" y="7222622"/>
                </a:cubicBezTo>
                <a:cubicBezTo>
                  <a:pt x="8760641" y="7226350"/>
                  <a:pt x="8758644" y="7229412"/>
                  <a:pt x="8756115" y="7232074"/>
                </a:cubicBezTo>
                <a:cubicBezTo>
                  <a:pt x="8753453" y="7234737"/>
                  <a:pt x="8750391" y="7236866"/>
                  <a:pt x="8746797" y="7238331"/>
                </a:cubicBezTo>
                <a:cubicBezTo>
                  <a:pt x="8743203" y="7239795"/>
                  <a:pt x="8739342" y="7240594"/>
                  <a:pt x="8735083" y="7240594"/>
                </a:cubicBezTo>
                <a:cubicBezTo>
                  <a:pt x="8726030" y="7240594"/>
                  <a:pt x="8718841" y="7237798"/>
                  <a:pt x="8713250" y="7232207"/>
                </a:cubicBezTo>
                <a:cubicBezTo>
                  <a:pt x="8707660" y="7226617"/>
                  <a:pt x="8704864" y="7219560"/>
                  <a:pt x="8704864" y="7211040"/>
                </a:cubicBezTo>
                <a:cubicBezTo>
                  <a:pt x="8704864" y="7202787"/>
                  <a:pt x="8707660" y="7195733"/>
                  <a:pt x="8713250" y="7190009"/>
                </a:cubicBezTo>
                <a:cubicBezTo>
                  <a:pt x="8718841" y="7184285"/>
                  <a:pt x="8726030" y="7181489"/>
                  <a:pt x="8735083" y="7181489"/>
                </a:cubicBezTo>
                <a:close/>
                <a:moveTo>
                  <a:pt x="8517438" y="7181489"/>
                </a:moveTo>
                <a:cubicBezTo>
                  <a:pt x="8521698" y="7181489"/>
                  <a:pt x="8525559" y="7182288"/>
                  <a:pt x="8529152" y="7183752"/>
                </a:cubicBezTo>
                <a:cubicBezTo>
                  <a:pt x="8532880" y="7185349"/>
                  <a:pt x="8535941" y="7187479"/>
                  <a:pt x="8538470" y="7190141"/>
                </a:cubicBezTo>
                <a:cubicBezTo>
                  <a:pt x="8541000" y="7192670"/>
                  <a:pt x="8543130" y="7195866"/>
                  <a:pt x="8544594" y="7199459"/>
                </a:cubicBezTo>
                <a:cubicBezTo>
                  <a:pt x="8546058" y="7203054"/>
                  <a:pt x="8546857" y="7206914"/>
                  <a:pt x="8546857" y="7210908"/>
                </a:cubicBezTo>
                <a:cubicBezTo>
                  <a:pt x="8546857" y="7215035"/>
                  <a:pt x="8546058" y="7219028"/>
                  <a:pt x="8544594" y="7222622"/>
                </a:cubicBezTo>
                <a:cubicBezTo>
                  <a:pt x="8542997" y="7226350"/>
                  <a:pt x="8541000" y="7229412"/>
                  <a:pt x="8538470" y="7232074"/>
                </a:cubicBezTo>
                <a:cubicBezTo>
                  <a:pt x="8535808" y="7234737"/>
                  <a:pt x="8532747" y="7236866"/>
                  <a:pt x="8529152" y="7238331"/>
                </a:cubicBezTo>
                <a:cubicBezTo>
                  <a:pt x="8525559" y="7239795"/>
                  <a:pt x="8521698" y="7240594"/>
                  <a:pt x="8517438" y="7240594"/>
                </a:cubicBezTo>
                <a:cubicBezTo>
                  <a:pt x="8508385" y="7240594"/>
                  <a:pt x="8501197" y="7237798"/>
                  <a:pt x="8495606" y="7232207"/>
                </a:cubicBezTo>
                <a:cubicBezTo>
                  <a:pt x="8490015" y="7226617"/>
                  <a:pt x="8487220" y="7219560"/>
                  <a:pt x="8487220" y="7211040"/>
                </a:cubicBezTo>
                <a:cubicBezTo>
                  <a:pt x="8487220" y="7202787"/>
                  <a:pt x="8490015" y="7195733"/>
                  <a:pt x="8495606" y="7190009"/>
                </a:cubicBezTo>
                <a:cubicBezTo>
                  <a:pt x="8501197" y="7184285"/>
                  <a:pt x="8508385" y="7181489"/>
                  <a:pt x="8517438" y="7181489"/>
                </a:cubicBezTo>
                <a:close/>
                <a:moveTo>
                  <a:pt x="8299793" y="7181489"/>
                </a:moveTo>
                <a:cubicBezTo>
                  <a:pt x="8304052" y="7181489"/>
                  <a:pt x="8308046" y="7182288"/>
                  <a:pt x="8311507" y="7183752"/>
                </a:cubicBezTo>
                <a:cubicBezTo>
                  <a:pt x="8315235" y="7185349"/>
                  <a:pt x="8318296" y="7187479"/>
                  <a:pt x="8320825" y="7190141"/>
                </a:cubicBezTo>
                <a:cubicBezTo>
                  <a:pt x="8323354" y="7192670"/>
                  <a:pt x="8325484" y="7195866"/>
                  <a:pt x="8326948" y="7199459"/>
                </a:cubicBezTo>
                <a:cubicBezTo>
                  <a:pt x="8328413" y="7203054"/>
                  <a:pt x="8329212" y="7206914"/>
                  <a:pt x="8329212" y="7210908"/>
                </a:cubicBezTo>
                <a:cubicBezTo>
                  <a:pt x="8329212" y="7215035"/>
                  <a:pt x="8328413" y="7219028"/>
                  <a:pt x="8326948" y="7222622"/>
                </a:cubicBezTo>
                <a:cubicBezTo>
                  <a:pt x="8325351" y="7226350"/>
                  <a:pt x="8323354" y="7229412"/>
                  <a:pt x="8320825" y="7232074"/>
                </a:cubicBezTo>
                <a:cubicBezTo>
                  <a:pt x="8318163" y="7234737"/>
                  <a:pt x="8315101" y="7236866"/>
                  <a:pt x="8311507" y="7238331"/>
                </a:cubicBezTo>
                <a:cubicBezTo>
                  <a:pt x="8307913" y="7239795"/>
                  <a:pt x="8304052" y="7240594"/>
                  <a:pt x="8299793" y="7240594"/>
                </a:cubicBezTo>
                <a:cubicBezTo>
                  <a:pt x="8290874" y="7240594"/>
                  <a:pt x="8283553" y="7237798"/>
                  <a:pt x="8277960" y="7232207"/>
                </a:cubicBezTo>
                <a:cubicBezTo>
                  <a:pt x="8272370" y="7226617"/>
                  <a:pt x="8269574" y="7219560"/>
                  <a:pt x="8269574" y="7211040"/>
                </a:cubicBezTo>
                <a:cubicBezTo>
                  <a:pt x="8269574" y="7202787"/>
                  <a:pt x="8272370" y="7195733"/>
                  <a:pt x="8277960" y="7190009"/>
                </a:cubicBezTo>
                <a:cubicBezTo>
                  <a:pt x="8283553" y="7184285"/>
                  <a:pt x="8290741" y="7181489"/>
                  <a:pt x="8299793" y="7181489"/>
                </a:cubicBezTo>
                <a:close/>
                <a:moveTo>
                  <a:pt x="8082281" y="7181489"/>
                </a:moveTo>
                <a:cubicBezTo>
                  <a:pt x="8086407" y="7181489"/>
                  <a:pt x="8090401" y="7182288"/>
                  <a:pt x="8094127" y="7183752"/>
                </a:cubicBezTo>
                <a:cubicBezTo>
                  <a:pt x="8097855" y="7185349"/>
                  <a:pt x="8100916" y="7187479"/>
                  <a:pt x="8103446" y="7190141"/>
                </a:cubicBezTo>
                <a:cubicBezTo>
                  <a:pt x="8105975" y="7192670"/>
                  <a:pt x="8108104" y="7195866"/>
                  <a:pt x="8109569" y="7199459"/>
                </a:cubicBezTo>
                <a:cubicBezTo>
                  <a:pt x="8111033" y="7203054"/>
                  <a:pt x="8111832" y="7206914"/>
                  <a:pt x="8111832" y="7210908"/>
                </a:cubicBezTo>
                <a:cubicBezTo>
                  <a:pt x="8111832" y="7215035"/>
                  <a:pt x="8111033" y="7219028"/>
                  <a:pt x="8109569" y="7222622"/>
                </a:cubicBezTo>
                <a:cubicBezTo>
                  <a:pt x="8107972" y="7226350"/>
                  <a:pt x="8105975" y="7229412"/>
                  <a:pt x="8103446" y="7232074"/>
                </a:cubicBezTo>
                <a:cubicBezTo>
                  <a:pt x="8100783" y="7234737"/>
                  <a:pt x="8097722" y="7236866"/>
                  <a:pt x="8094127" y="7238331"/>
                </a:cubicBezTo>
                <a:cubicBezTo>
                  <a:pt x="8090401" y="7239795"/>
                  <a:pt x="8086540" y="7240594"/>
                  <a:pt x="8082281" y="7240594"/>
                </a:cubicBezTo>
                <a:cubicBezTo>
                  <a:pt x="8073361" y="7240594"/>
                  <a:pt x="8066040" y="7237798"/>
                  <a:pt x="8060448" y="7232207"/>
                </a:cubicBezTo>
                <a:cubicBezTo>
                  <a:pt x="8054857" y="7226617"/>
                  <a:pt x="8052062" y="7219560"/>
                  <a:pt x="8052062" y="7211040"/>
                </a:cubicBezTo>
                <a:cubicBezTo>
                  <a:pt x="8052062" y="7202787"/>
                  <a:pt x="8054857" y="7195733"/>
                  <a:pt x="8060448" y="7190009"/>
                </a:cubicBezTo>
                <a:cubicBezTo>
                  <a:pt x="8066040" y="7184285"/>
                  <a:pt x="8073228" y="7181489"/>
                  <a:pt x="8082281" y="7181489"/>
                </a:cubicBezTo>
                <a:close/>
                <a:moveTo>
                  <a:pt x="7864636" y="7181489"/>
                </a:moveTo>
                <a:cubicBezTo>
                  <a:pt x="7868762" y="7181489"/>
                  <a:pt x="7872756" y="7182288"/>
                  <a:pt x="7876483" y="7183752"/>
                </a:cubicBezTo>
                <a:cubicBezTo>
                  <a:pt x="7880210" y="7185349"/>
                  <a:pt x="7883272" y="7187479"/>
                  <a:pt x="7885802" y="7190141"/>
                </a:cubicBezTo>
                <a:cubicBezTo>
                  <a:pt x="7888331" y="7192670"/>
                  <a:pt x="7890460" y="7195866"/>
                  <a:pt x="7891924" y="7199459"/>
                </a:cubicBezTo>
                <a:cubicBezTo>
                  <a:pt x="7893389" y="7203054"/>
                  <a:pt x="7894188" y="7206914"/>
                  <a:pt x="7894188" y="7210908"/>
                </a:cubicBezTo>
                <a:cubicBezTo>
                  <a:pt x="7894188" y="7215035"/>
                  <a:pt x="7893389" y="7219028"/>
                  <a:pt x="7891924" y="7222622"/>
                </a:cubicBezTo>
                <a:cubicBezTo>
                  <a:pt x="7890327" y="7226350"/>
                  <a:pt x="7888331" y="7229412"/>
                  <a:pt x="7885802" y="7232074"/>
                </a:cubicBezTo>
                <a:cubicBezTo>
                  <a:pt x="7883139" y="7234737"/>
                  <a:pt x="7880078" y="7236866"/>
                  <a:pt x="7876483" y="7238331"/>
                </a:cubicBezTo>
                <a:cubicBezTo>
                  <a:pt x="7872756" y="7239795"/>
                  <a:pt x="7868895" y="7240594"/>
                  <a:pt x="7864636" y="7240594"/>
                </a:cubicBezTo>
                <a:cubicBezTo>
                  <a:pt x="7855717" y="7240594"/>
                  <a:pt x="7848396" y="7237798"/>
                  <a:pt x="7842803" y="7232207"/>
                </a:cubicBezTo>
                <a:cubicBezTo>
                  <a:pt x="7837213" y="7226617"/>
                  <a:pt x="7834417" y="7219560"/>
                  <a:pt x="7834417" y="7211040"/>
                </a:cubicBezTo>
                <a:cubicBezTo>
                  <a:pt x="7834417" y="7202787"/>
                  <a:pt x="7837213" y="7195733"/>
                  <a:pt x="7842803" y="7190009"/>
                </a:cubicBezTo>
                <a:cubicBezTo>
                  <a:pt x="7848396" y="7184285"/>
                  <a:pt x="7855584" y="7181489"/>
                  <a:pt x="7864636" y="7181489"/>
                </a:cubicBezTo>
                <a:close/>
                <a:moveTo>
                  <a:pt x="7646991" y="7181489"/>
                </a:moveTo>
                <a:cubicBezTo>
                  <a:pt x="7651250" y="7181489"/>
                  <a:pt x="7655111" y="7182288"/>
                  <a:pt x="7658705" y="7183752"/>
                </a:cubicBezTo>
                <a:cubicBezTo>
                  <a:pt x="7662432" y="7185349"/>
                  <a:pt x="7665493" y="7187479"/>
                  <a:pt x="7668022" y="7190141"/>
                </a:cubicBezTo>
                <a:cubicBezTo>
                  <a:pt x="7670552" y="7192670"/>
                  <a:pt x="7672682" y="7195866"/>
                  <a:pt x="7674146" y="7199459"/>
                </a:cubicBezTo>
                <a:cubicBezTo>
                  <a:pt x="7675610" y="7203054"/>
                  <a:pt x="7676409" y="7206914"/>
                  <a:pt x="7676409" y="7210908"/>
                </a:cubicBezTo>
                <a:cubicBezTo>
                  <a:pt x="7676409" y="7215035"/>
                  <a:pt x="7675610" y="7219028"/>
                  <a:pt x="7674146" y="7222622"/>
                </a:cubicBezTo>
                <a:cubicBezTo>
                  <a:pt x="7672549" y="7226350"/>
                  <a:pt x="7670552" y="7229412"/>
                  <a:pt x="7668022" y="7232074"/>
                </a:cubicBezTo>
                <a:cubicBezTo>
                  <a:pt x="7665361" y="7234737"/>
                  <a:pt x="7662299" y="7236866"/>
                  <a:pt x="7658705" y="7238331"/>
                </a:cubicBezTo>
                <a:cubicBezTo>
                  <a:pt x="7655111" y="7239795"/>
                  <a:pt x="7651250" y="7240594"/>
                  <a:pt x="7646991" y="7240594"/>
                </a:cubicBezTo>
                <a:cubicBezTo>
                  <a:pt x="7638071" y="7240594"/>
                  <a:pt x="7630750" y="7237798"/>
                  <a:pt x="7625158" y="7232207"/>
                </a:cubicBezTo>
                <a:cubicBezTo>
                  <a:pt x="7619568" y="7226617"/>
                  <a:pt x="7616772" y="7219560"/>
                  <a:pt x="7616772" y="7211040"/>
                </a:cubicBezTo>
                <a:cubicBezTo>
                  <a:pt x="7616772" y="7202787"/>
                  <a:pt x="7619568" y="7195733"/>
                  <a:pt x="7625158" y="7190009"/>
                </a:cubicBezTo>
                <a:cubicBezTo>
                  <a:pt x="7630750" y="7184285"/>
                  <a:pt x="7637939" y="7181489"/>
                  <a:pt x="7646991" y="7181489"/>
                </a:cubicBezTo>
                <a:close/>
                <a:moveTo>
                  <a:pt x="7429345" y="7181489"/>
                </a:moveTo>
                <a:cubicBezTo>
                  <a:pt x="7433605" y="7181489"/>
                  <a:pt x="7437466" y="7182288"/>
                  <a:pt x="7441059" y="7183752"/>
                </a:cubicBezTo>
                <a:cubicBezTo>
                  <a:pt x="7444787" y="7185349"/>
                  <a:pt x="7447848" y="7187479"/>
                  <a:pt x="7450377" y="7190141"/>
                </a:cubicBezTo>
                <a:cubicBezTo>
                  <a:pt x="7452907" y="7192670"/>
                  <a:pt x="7455036" y="7195866"/>
                  <a:pt x="7456501" y="7199459"/>
                </a:cubicBezTo>
                <a:cubicBezTo>
                  <a:pt x="7457965" y="7203054"/>
                  <a:pt x="7458764" y="7206914"/>
                  <a:pt x="7458764" y="7210908"/>
                </a:cubicBezTo>
                <a:cubicBezTo>
                  <a:pt x="7458764" y="7215035"/>
                  <a:pt x="7457965" y="7219028"/>
                  <a:pt x="7456501" y="7222622"/>
                </a:cubicBezTo>
                <a:cubicBezTo>
                  <a:pt x="7454904" y="7226350"/>
                  <a:pt x="7452907" y="7229412"/>
                  <a:pt x="7450377" y="7232074"/>
                </a:cubicBezTo>
                <a:cubicBezTo>
                  <a:pt x="7447715" y="7234737"/>
                  <a:pt x="7444654" y="7236866"/>
                  <a:pt x="7441059" y="7238331"/>
                </a:cubicBezTo>
                <a:cubicBezTo>
                  <a:pt x="7437466" y="7239795"/>
                  <a:pt x="7433605" y="7240594"/>
                  <a:pt x="7429345" y="7240594"/>
                </a:cubicBezTo>
                <a:cubicBezTo>
                  <a:pt x="7420426" y="7240594"/>
                  <a:pt x="7413105" y="7237798"/>
                  <a:pt x="7407513" y="7232207"/>
                </a:cubicBezTo>
                <a:cubicBezTo>
                  <a:pt x="7401922" y="7226617"/>
                  <a:pt x="7399127" y="7219560"/>
                  <a:pt x="7399127" y="7211040"/>
                </a:cubicBezTo>
                <a:cubicBezTo>
                  <a:pt x="7399127" y="7202787"/>
                  <a:pt x="7401922" y="7195733"/>
                  <a:pt x="7407513" y="7190009"/>
                </a:cubicBezTo>
                <a:cubicBezTo>
                  <a:pt x="7413105" y="7184285"/>
                  <a:pt x="7420293" y="7181489"/>
                  <a:pt x="7429345" y="7181489"/>
                </a:cubicBezTo>
                <a:close/>
                <a:moveTo>
                  <a:pt x="7211701" y="7181489"/>
                </a:moveTo>
                <a:cubicBezTo>
                  <a:pt x="7215960" y="7181489"/>
                  <a:pt x="7219954" y="7182288"/>
                  <a:pt x="7223415" y="7183752"/>
                </a:cubicBezTo>
                <a:cubicBezTo>
                  <a:pt x="7227142" y="7185349"/>
                  <a:pt x="7230204" y="7187479"/>
                  <a:pt x="7232733" y="7190141"/>
                </a:cubicBezTo>
                <a:cubicBezTo>
                  <a:pt x="7235262" y="7192670"/>
                  <a:pt x="7237392" y="7195866"/>
                  <a:pt x="7238856" y="7199459"/>
                </a:cubicBezTo>
                <a:cubicBezTo>
                  <a:pt x="7240321" y="7203054"/>
                  <a:pt x="7241120" y="7206914"/>
                  <a:pt x="7241120" y="7210908"/>
                </a:cubicBezTo>
                <a:cubicBezTo>
                  <a:pt x="7241120" y="7215035"/>
                  <a:pt x="7240321" y="7219028"/>
                  <a:pt x="7238856" y="7222622"/>
                </a:cubicBezTo>
                <a:cubicBezTo>
                  <a:pt x="7237259" y="7226350"/>
                  <a:pt x="7235262" y="7229412"/>
                  <a:pt x="7232733" y="7232074"/>
                </a:cubicBezTo>
                <a:cubicBezTo>
                  <a:pt x="7230071" y="7234737"/>
                  <a:pt x="7227009" y="7236866"/>
                  <a:pt x="7223415" y="7238331"/>
                </a:cubicBezTo>
                <a:cubicBezTo>
                  <a:pt x="7219821" y="7239795"/>
                  <a:pt x="7215960" y="7240594"/>
                  <a:pt x="7211701" y="7240594"/>
                </a:cubicBezTo>
                <a:cubicBezTo>
                  <a:pt x="7202782" y="7240594"/>
                  <a:pt x="7195460" y="7237798"/>
                  <a:pt x="7189868" y="7232207"/>
                </a:cubicBezTo>
                <a:cubicBezTo>
                  <a:pt x="7184278" y="7226617"/>
                  <a:pt x="7181482" y="7219560"/>
                  <a:pt x="7181482" y="7211040"/>
                </a:cubicBezTo>
                <a:cubicBezTo>
                  <a:pt x="7181482" y="7202787"/>
                  <a:pt x="7184278" y="7195733"/>
                  <a:pt x="7189868" y="7190009"/>
                </a:cubicBezTo>
                <a:cubicBezTo>
                  <a:pt x="7195460" y="7184285"/>
                  <a:pt x="7202649" y="7181489"/>
                  <a:pt x="7211701" y="7181489"/>
                </a:cubicBezTo>
                <a:close/>
                <a:moveTo>
                  <a:pt x="6994056" y="7181489"/>
                </a:moveTo>
                <a:cubicBezTo>
                  <a:pt x="6998315" y="7181489"/>
                  <a:pt x="7002309" y="7182288"/>
                  <a:pt x="7005769" y="7183752"/>
                </a:cubicBezTo>
                <a:cubicBezTo>
                  <a:pt x="7009497" y="7185349"/>
                  <a:pt x="7012558" y="7187479"/>
                  <a:pt x="7015087" y="7190141"/>
                </a:cubicBezTo>
                <a:cubicBezTo>
                  <a:pt x="7017617" y="7192670"/>
                  <a:pt x="7019747" y="7195866"/>
                  <a:pt x="7021211" y="7199459"/>
                </a:cubicBezTo>
                <a:cubicBezTo>
                  <a:pt x="7022675" y="7203054"/>
                  <a:pt x="7023474" y="7206914"/>
                  <a:pt x="7023474" y="7210908"/>
                </a:cubicBezTo>
                <a:cubicBezTo>
                  <a:pt x="7023474" y="7215035"/>
                  <a:pt x="7022675" y="7219028"/>
                  <a:pt x="7021211" y="7222622"/>
                </a:cubicBezTo>
                <a:cubicBezTo>
                  <a:pt x="7019614" y="7226350"/>
                  <a:pt x="7017617" y="7229412"/>
                  <a:pt x="7015087" y="7232074"/>
                </a:cubicBezTo>
                <a:cubicBezTo>
                  <a:pt x="7012425" y="7234737"/>
                  <a:pt x="7009364" y="7236866"/>
                  <a:pt x="7005769" y="7238331"/>
                </a:cubicBezTo>
                <a:cubicBezTo>
                  <a:pt x="7002176" y="7239795"/>
                  <a:pt x="6998315" y="7240594"/>
                  <a:pt x="6994056" y="7240594"/>
                </a:cubicBezTo>
                <a:cubicBezTo>
                  <a:pt x="6985136" y="7240594"/>
                  <a:pt x="6977815" y="7237798"/>
                  <a:pt x="6972223" y="7232207"/>
                </a:cubicBezTo>
                <a:cubicBezTo>
                  <a:pt x="6966632" y="7226617"/>
                  <a:pt x="6963837" y="7219560"/>
                  <a:pt x="6963837" y="7211040"/>
                </a:cubicBezTo>
                <a:cubicBezTo>
                  <a:pt x="6963837" y="7202787"/>
                  <a:pt x="6966632" y="7195733"/>
                  <a:pt x="6972223" y="7190009"/>
                </a:cubicBezTo>
                <a:cubicBezTo>
                  <a:pt x="6977815" y="7184285"/>
                  <a:pt x="6985003" y="7181489"/>
                  <a:pt x="6994056" y="7181489"/>
                </a:cubicBezTo>
                <a:close/>
                <a:moveTo>
                  <a:pt x="6776544" y="7181489"/>
                </a:moveTo>
                <a:cubicBezTo>
                  <a:pt x="6780670" y="7181489"/>
                  <a:pt x="6784664" y="7182288"/>
                  <a:pt x="6788258" y="7183752"/>
                </a:cubicBezTo>
                <a:cubicBezTo>
                  <a:pt x="6791985" y="7185349"/>
                  <a:pt x="6795047" y="7187479"/>
                  <a:pt x="6797576" y="7190141"/>
                </a:cubicBezTo>
                <a:cubicBezTo>
                  <a:pt x="6800105" y="7192670"/>
                  <a:pt x="6802235" y="7195866"/>
                  <a:pt x="6803699" y="7199459"/>
                </a:cubicBezTo>
                <a:cubicBezTo>
                  <a:pt x="6805164" y="7203054"/>
                  <a:pt x="6805963" y="7206914"/>
                  <a:pt x="6805963" y="7210908"/>
                </a:cubicBezTo>
                <a:cubicBezTo>
                  <a:pt x="6805963" y="7215035"/>
                  <a:pt x="6805164" y="7219028"/>
                  <a:pt x="6803699" y="7222622"/>
                </a:cubicBezTo>
                <a:cubicBezTo>
                  <a:pt x="6802102" y="7226350"/>
                  <a:pt x="6800105" y="7229412"/>
                  <a:pt x="6797576" y="7232074"/>
                </a:cubicBezTo>
                <a:cubicBezTo>
                  <a:pt x="6794914" y="7234737"/>
                  <a:pt x="6791852" y="7236866"/>
                  <a:pt x="6788258" y="7238331"/>
                </a:cubicBezTo>
                <a:cubicBezTo>
                  <a:pt x="6784664" y="7239795"/>
                  <a:pt x="6780803" y="7240594"/>
                  <a:pt x="6776544" y="7240594"/>
                </a:cubicBezTo>
                <a:cubicBezTo>
                  <a:pt x="6767625" y="7240594"/>
                  <a:pt x="6760303" y="7237798"/>
                  <a:pt x="6754711" y="7232207"/>
                </a:cubicBezTo>
                <a:cubicBezTo>
                  <a:pt x="6749121" y="7226617"/>
                  <a:pt x="6746325" y="7219560"/>
                  <a:pt x="6746325" y="7211040"/>
                </a:cubicBezTo>
                <a:cubicBezTo>
                  <a:pt x="6746325" y="7202787"/>
                  <a:pt x="6749121" y="7195733"/>
                  <a:pt x="6754711" y="7190009"/>
                </a:cubicBezTo>
                <a:cubicBezTo>
                  <a:pt x="6760303" y="7184285"/>
                  <a:pt x="6767492" y="7181489"/>
                  <a:pt x="6776544" y="7181489"/>
                </a:cubicBezTo>
                <a:close/>
                <a:moveTo>
                  <a:pt x="6558899" y="7181489"/>
                </a:moveTo>
                <a:cubicBezTo>
                  <a:pt x="6563158" y="7181489"/>
                  <a:pt x="6567019" y="7182288"/>
                  <a:pt x="6570612" y="7183752"/>
                </a:cubicBezTo>
                <a:cubicBezTo>
                  <a:pt x="6574340" y="7185349"/>
                  <a:pt x="6577401" y="7187479"/>
                  <a:pt x="6579930" y="7190141"/>
                </a:cubicBezTo>
                <a:cubicBezTo>
                  <a:pt x="6582460" y="7192670"/>
                  <a:pt x="6584590" y="7195866"/>
                  <a:pt x="6586054" y="7199459"/>
                </a:cubicBezTo>
                <a:cubicBezTo>
                  <a:pt x="6587518" y="7203054"/>
                  <a:pt x="6588317" y="7206914"/>
                  <a:pt x="6588317" y="7210908"/>
                </a:cubicBezTo>
                <a:cubicBezTo>
                  <a:pt x="6588317" y="7215035"/>
                  <a:pt x="6587518" y="7219028"/>
                  <a:pt x="6586054" y="7222622"/>
                </a:cubicBezTo>
                <a:cubicBezTo>
                  <a:pt x="6584457" y="7226350"/>
                  <a:pt x="6582460" y="7229412"/>
                  <a:pt x="6579930" y="7232074"/>
                </a:cubicBezTo>
                <a:cubicBezTo>
                  <a:pt x="6577268" y="7234737"/>
                  <a:pt x="6574207" y="7236866"/>
                  <a:pt x="6570612" y="7238331"/>
                </a:cubicBezTo>
                <a:cubicBezTo>
                  <a:pt x="6567019" y="7239795"/>
                  <a:pt x="6563158" y="7240594"/>
                  <a:pt x="6558899" y="7240594"/>
                </a:cubicBezTo>
                <a:cubicBezTo>
                  <a:pt x="6549979" y="7240594"/>
                  <a:pt x="6542658" y="7237798"/>
                  <a:pt x="6537066" y="7232207"/>
                </a:cubicBezTo>
                <a:cubicBezTo>
                  <a:pt x="6531476" y="7226617"/>
                  <a:pt x="6528680" y="7219560"/>
                  <a:pt x="6528680" y="7211040"/>
                </a:cubicBezTo>
                <a:cubicBezTo>
                  <a:pt x="6528680" y="7202787"/>
                  <a:pt x="6531476" y="7195733"/>
                  <a:pt x="6537066" y="7190009"/>
                </a:cubicBezTo>
                <a:cubicBezTo>
                  <a:pt x="6542658" y="7184285"/>
                  <a:pt x="6549846" y="7181489"/>
                  <a:pt x="6558899" y="7181489"/>
                </a:cubicBezTo>
                <a:close/>
                <a:moveTo>
                  <a:pt x="6341253" y="7181489"/>
                </a:moveTo>
                <a:cubicBezTo>
                  <a:pt x="6345513" y="7181489"/>
                  <a:pt x="6349373" y="7182288"/>
                  <a:pt x="6352968" y="7183752"/>
                </a:cubicBezTo>
                <a:cubicBezTo>
                  <a:pt x="6356695" y="7185349"/>
                  <a:pt x="6359757" y="7187479"/>
                  <a:pt x="6362286" y="7190141"/>
                </a:cubicBezTo>
                <a:cubicBezTo>
                  <a:pt x="6364815" y="7192670"/>
                  <a:pt x="6366945" y="7195866"/>
                  <a:pt x="6368409" y="7199459"/>
                </a:cubicBezTo>
                <a:cubicBezTo>
                  <a:pt x="6369874" y="7203054"/>
                  <a:pt x="6370672" y="7206914"/>
                  <a:pt x="6370672" y="7210908"/>
                </a:cubicBezTo>
                <a:cubicBezTo>
                  <a:pt x="6370672" y="7215035"/>
                  <a:pt x="6369874" y="7219028"/>
                  <a:pt x="6368409" y="7222622"/>
                </a:cubicBezTo>
                <a:cubicBezTo>
                  <a:pt x="6366811" y="7226350"/>
                  <a:pt x="6364815" y="7229412"/>
                  <a:pt x="6362286" y="7232074"/>
                </a:cubicBezTo>
                <a:cubicBezTo>
                  <a:pt x="6359623" y="7234737"/>
                  <a:pt x="6356562" y="7236866"/>
                  <a:pt x="6352968" y="7238331"/>
                </a:cubicBezTo>
                <a:cubicBezTo>
                  <a:pt x="6349373" y="7239795"/>
                  <a:pt x="6345513" y="7240594"/>
                  <a:pt x="6341253" y="7240594"/>
                </a:cubicBezTo>
                <a:cubicBezTo>
                  <a:pt x="6332335" y="7240594"/>
                  <a:pt x="6325013" y="7237798"/>
                  <a:pt x="6319421" y="7232207"/>
                </a:cubicBezTo>
                <a:cubicBezTo>
                  <a:pt x="6313830" y="7226617"/>
                  <a:pt x="6311035" y="7219560"/>
                  <a:pt x="6311035" y="7211040"/>
                </a:cubicBezTo>
                <a:cubicBezTo>
                  <a:pt x="6311035" y="7202787"/>
                  <a:pt x="6313830" y="7195733"/>
                  <a:pt x="6319421" y="7190009"/>
                </a:cubicBezTo>
                <a:cubicBezTo>
                  <a:pt x="6325013" y="7184285"/>
                  <a:pt x="6332201" y="7181489"/>
                  <a:pt x="6341253" y="7181489"/>
                </a:cubicBezTo>
                <a:close/>
                <a:moveTo>
                  <a:pt x="6123608" y="7181489"/>
                </a:moveTo>
                <a:cubicBezTo>
                  <a:pt x="6127867" y="7181489"/>
                  <a:pt x="6131728" y="7182288"/>
                  <a:pt x="6135322" y="7183752"/>
                </a:cubicBezTo>
                <a:cubicBezTo>
                  <a:pt x="6139049" y="7185349"/>
                  <a:pt x="6142111" y="7187479"/>
                  <a:pt x="6144640" y="7190141"/>
                </a:cubicBezTo>
                <a:cubicBezTo>
                  <a:pt x="6147169" y="7192670"/>
                  <a:pt x="6149299" y="7195866"/>
                  <a:pt x="6150763" y="7199459"/>
                </a:cubicBezTo>
                <a:cubicBezTo>
                  <a:pt x="6152228" y="7203054"/>
                  <a:pt x="6153026" y="7206914"/>
                  <a:pt x="6153026" y="7210908"/>
                </a:cubicBezTo>
                <a:cubicBezTo>
                  <a:pt x="6153026" y="7215035"/>
                  <a:pt x="6152228" y="7219028"/>
                  <a:pt x="6150763" y="7222622"/>
                </a:cubicBezTo>
                <a:cubicBezTo>
                  <a:pt x="6149299" y="7226350"/>
                  <a:pt x="6147169" y="7229412"/>
                  <a:pt x="6144640" y="7232074"/>
                </a:cubicBezTo>
                <a:cubicBezTo>
                  <a:pt x="6141977" y="7234737"/>
                  <a:pt x="6138916" y="7236866"/>
                  <a:pt x="6135322" y="7238331"/>
                </a:cubicBezTo>
                <a:cubicBezTo>
                  <a:pt x="6131728" y="7239795"/>
                  <a:pt x="6127867" y="7240594"/>
                  <a:pt x="6123608" y="7240594"/>
                </a:cubicBezTo>
                <a:cubicBezTo>
                  <a:pt x="6114689" y="7240594"/>
                  <a:pt x="6107367" y="7237798"/>
                  <a:pt x="6101775" y="7232207"/>
                </a:cubicBezTo>
                <a:cubicBezTo>
                  <a:pt x="6096184" y="7226617"/>
                  <a:pt x="6093389" y="7219560"/>
                  <a:pt x="6093389" y="7211040"/>
                </a:cubicBezTo>
                <a:cubicBezTo>
                  <a:pt x="6093389" y="7202787"/>
                  <a:pt x="6096184" y="7195733"/>
                  <a:pt x="6101775" y="7190009"/>
                </a:cubicBezTo>
                <a:cubicBezTo>
                  <a:pt x="6107367" y="7184285"/>
                  <a:pt x="6114555" y="7181489"/>
                  <a:pt x="6123608" y="7181489"/>
                </a:cubicBezTo>
                <a:close/>
                <a:moveTo>
                  <a:pt x="5905963" y="7181489"/>
                </a:moveTo>
                <a:cubicBezTo>
                  <a:pt x="5910222" y="7181489"/>
                  <a:pt x="5914216" y="7182288"/>
                  <a:pt x="5917677" y="7183752"/>
                </a:cubicBezTo>
                <a:cubicBezTo>
                  <a:pt x="5921404" y="7185349"/>
                  <a:pt x="5924466" y="7187479"/>
                  <a:pt x="5926995" y="7190141"/>
                </a:cubicBezTo>
                <a:cubicBezTo>
                  <a:pt x="5929524" y="7192670"/>
                  <a:pt x="5931654" y="7195866"/>
                  <a:pt x="5933118" y="7199459"/>
                </a:cubicBezTo>
                <a:cubicBezTo>
                  <a:pt x="5934583" y="7203054"/>
                  <a:pt x="5935381" y="7206914"/>
                  <a:pt x="5935381" y="7210908"/>
                </a:cubicBezTo>
                <a:cubicBezTo>
                  <a:pt x="5935381" y="7215035"/>
                  <a:pt x="5934583" y="7219028"/>
                  <a:pt x="5933118" y="7222622"/>
                </a:cubicBezTo>
                <a:cubicBezTo>
                  <a:pt x="5931654" y="7226350"/>
                  <a:pt x="5929524" y="7229412"/>
                  <a:pt x="5926995" y="7232074"/>
                </a:cubicBezTo>
                <a:cubicBezTo>
                  <a:pt x="5924333" y="7234737"/>
                  <a:pt x="5921271" y="7236866"/>
                  <a:pt x="5917677" y="7238331"/>
                </a:cubicBezTo>
                <a:cubicBezTo>
                  <a:pt x="5914083" y="7239795"/>
                  <a:pt x="5910222" y="7240594"/>
                  <a:pt x="5905963" y="7240594"/>
                </a:cubicBezTo>
                <a:cubicBezTo>
                  <a:pt x="5897044" y="7240594"/>
                  <a:pt x="5889722" y="7237798"/>
                  <a:pt x="5884130" y="7232207"/>
                </a:cubicBezTo>
                <a:cubicBezTo>
                  <a:pt x="5878540" y="7226617"/>
                  <a:pt x="5875744" y="7219560"/>
                  <a:pt x="5875744" y="7211040"/>
                </a:cubicBezTo>
                <a:cubicBezTo>
                  <a:pt x="5875744" y="7202787"/>
                  <a:pt x="5878540" y="7195733"/>
                  <a:pt x="5884130" y="7190009"/>
                </a:cubicBezTo>
                <a:cubicBezTo>
                  <a:pt x="5889722" y="7184285"/>
                  <a:pt x="5896910" y="7181489"/>
                  <a:pt x="5905963" y="7181489"/>
                </a:cubicBezTo>
                <a:close/>
                <a:moveTo>
                  <a:pt x="5688451" y="7181489"/>
                </a:moveTo>
                <a:cubicBezTo>
                  <a:pt x="5692577" y="7181489"/>
                  <a:pt x="5696571" y="7182288"/>
                  <a:pt x="5700165" y="7183752"/>
                </a:cubicBezTo>
                <a:cubicBezTo>
                  <a:pt x="5703892" y="7185349"/>
                  <a:pt x="5706954" y="7187479"/>
                  <a:pt x="5709483" y="7190141"/>
                </a:cubicBezTo>
                <a:cubicBezTo>
                  <a:pt x="5712012" y="7192670"/>
                  <a:pt x="5714142" y="7195866"/>
                  <a:pt x="5715606" y="7199459"/>
                </a:cubicBezTo>
                <a:cubicBezTo>
                  <a:pt x="5717071" y="7203054"/>
                  <a:pt x="5717869" y="7206914"/>
                  <a:pt x="5717869" y="7210908"/>
                </a:cubicBezTo>
                <a:cubicBezTo>
                  <a:pt x="5717869" y="7215035"/>
                  <a:pt x="5717071" y="7219028"/>
                  <a:pt x="5715606" y="7222622"/>
                </a:cubicBezTo>
                <a:cubicBezTo>
                  <a:pt x="5714142" y="7226350"/>
                  <a:pt x="5712012" y="7229412"/>
                  <a:pt x="5709483" y="7232074"/>
                </a:cubicBezTo>
                <a:cubicBezTo>
                  <a:pt x="5706820" y="7234737"/>
                  <a:pt x="5703759" y="7236866"/>
                  <a:pt x="5700165" y="7238331"/>
                </a:cubicBezTo>
                <a:cubicBezTo>
                  <a:pt x="5696571" y="7239795"/>
                  <a:pt x="5692710" y="7240594"/>
                  <a:pt x="5688451" y="7240594"/>
                </a:cubicBezTo>
                <a:cubicBezTo>
                  <a:pt x="5679532" y="7240594"/>
                  <a:pt x="5672210" y="7237798"/>
                  <a:pt x="5666618" y="7232207"/>
                </a:cubicBezTo>
                <a:cubicBezTo>
                  <a:pt x="5661028" y="7226617"/>
                  <a:pt x="5658232" y="7219560"/>
                  <a:pt x="5658232" y="7211040"/>
                </a:cubicBezTo>
                <a:cubicBezTo>
                  <a:pt x="5658232" y="7202787"/>
                  <a:pt x="5661028" y="7195733"/>
                  <a:pt x="5666618" y="7190009"/>
                </a:cubicBezTo>
                <a:cubicBezTo>
                  <a:pt x="5672210" y="7184285"/>
                  <a:pt x="5679398" y="7181489"/>
                  <a:pt x="5688451" y="7181489"/>
                </a:cubicBezTo>
                <a:close/>
                <a:moveTo>
                  <a:pt x="5470806" y="7181489"/>
                </a:moveTo>
                <a:cubicBezTo>
                  <a:pt x="5475065" y="7181489"/>
                  <a:pt x="5478926" y="7182288"/>
                  <a:pt x="5482520" y="7183752"/>
                </a:cubicBezTo>
                <a:cubicBezTo>
                  <a:pt x="5486247" y="7185349"/>
                  <a:pt x="5489309" y="7187479"/>
                  <a:pt x="5491838" y="7190141"/>
                </a:cubicBezTo>
                <a:cubicBezTo>
                  <a:pt x="5494367" y="7192670"/>
                  <a:pt x="5496497" y="7195866"/>
                  <a:pt x="5497961" y="7199459"/>
                </a:cubicBezTo>
                <a:cubicBezTo>
                  <a:pt x="5499426" y="7203054"/>
                  <a:pt x="5500224" y="7206914"/>
                  <a:pt x="5500224" y="7210908"/>
                </a:cubicBezTo>
                <a:cubicBezTo>
                  <a:pt x="5500224" y="7215035"/>
                  <a:pt x="5499426" y="7219028"/>
                  <a:pt x="5497961" y="7222622"/>
                </a:cubicBezTo>
                <a:cubicBezTo>
                  <a:pt x="5496497" y="7226350"/>
                  <a:pt x="5494367" y="7229412"/>
                  <a:pt x="5491838" y="7232074"/>
                </a:cubicBezTo>
                <a:cubicBezTo>
                  <a:pt x="5489176" y="7234737"/>
                  <a:pt x="5486114" y="7236866"/>
                  <a:pt x="5482520" y="7238331"/>
                </a:cubicBezTo>
                <a:cubicBezTo>
                  <a:pt x="5478926" y="7239795"/>
                  <a:pt x="5475065" y="7240594"/>
                  <a:pt x="5470806" y="7240594"/>
                </a:cubicBezTo>
                <a:cubicBezTo>
                  <a:pt x="5461887" y="7240594"/>
                  <a:pt x="5454565" y="7237798"/>
                  <a:pt x="5448973" y="7232207"/>
                </a:cubicBezTo>
                <a:cubicBezTo>
                  <a:pt x="5443383" y="7226617"/>
                  <a:pt x="5440587" y="7219560"/>
                  <a:pt x="5440587" y="7211040"/>
                </a:cubicBezTo>
                <a:cubicBezTo>
                  <a:pt x="5440587" y="7202787"/>
                  <a:pt x="5443383" y="7195733"/>
                  <a:pt x="5448973" y="7190009"/>
                </a:cubicBezTo>
                <a:cubicBezTo>
                  <a:pt x="5454565" y="7184285"/>
                  <a:pt x="5461754" y="7181489"/>
                  <a:pt x="5470806" y="7181489"/>
                </a:cubicBezTo>
                <a:close/>
                <a:moveTo>
                  <a:pt x="5253160" y="7181489"/>
                </a:moveTo>
                <a:cubicBezTo>
                  <a:pt x="5257420" y="7181489"/>
                  <a:pt x="5261280" y="7182288"/>
                  <a:pt x="5264875" y="7183752"/>
                </a:cubicBezTo>
                <a:cubicBezTo>
                  <a:pt x="5268602" y="7185349"/>
                  <a:pt x="5271664" y="7187479"/>
                  <a:pt x="5274192" y="7190141"/>
                </a:cubicBezTo>
                <a:cubicBezTo>
                  <a:pt x="5276722" y="7192670"/>
                  <a:pt x="5278852" y="7195866"/>
                  <a:pt x="5280316" y="7199459"/>
                </a:cubicBezTo>
                <a:cubicBezTo>
                  <a:pt x="5281780" y="7203054"/>
                  <a:pt x="5282579" y="7206914"/>
                  <a:pt x="5282579" y="7210908"/>
                </a:cubicBezTo>
                <a:cubicBezTo>
                  <a:pt x="5282579" y="7215035"/>
                  <a:pt x="5281780" y="7219028"/>
                  <a:pt x="5280316" y="7222622"/>
                </a:cubicBezTo>
                <a:cubicBezTo>
                  <a:pt x="5278852" y="7226350"/>
                  <a:pt x="5276722" y="7229412"/>
                  <a:pt x="5274192" y="7232074"/>
                </a:cubicBezTo>
                <a:cubicBezTo>
                  <a:pt x="5271664" y="7234737"/>
                  <a:pt x="5268469" y="7236866"/>
                  <a:pt x="5264875" y="7238331"/>
                </a:cubicBezTo>
                <a:cubicBezTo>
                  <a:pt x="5261280" y="7239795"/>
                  <a:pt x="5257420" y="7240594"/>
                  <a:pt x="5253160" y="7240594"/>
                </a:cubicBezTo>
                <a:cubicBezTo>
                  <a:pt x="5244241" y="7240594"/>
                  <a:pt x="5236920" y="7237798"/>
                  <a:pt x="5231328" y="7232207"/>
                </a:cubicBezTo>
                <a:cubicBezTo>
                  <a:pt x="5225737" y="7226617"/>
                  <a:pt x="5222942" y="7219560"/>
                  <a:pt x="5222942" y="7211040"/>
                </a:cubicBezTo>
                <a:cubicBezTo>
                  <a:pt x="5222942" y="7202787"/>
                  <a:pt x="5225737" y="7195733"/>
                  <a:pt x="5231328" y="7190009"/>
                </a:cubicBezTo>
                <a:cubicBezTo>
                  <a:pt x="5236920" y="7184285"/>
                  <a:pt x="5244108" y="7181489"/>
                  <a:pt x="5253160" y="7181489"/>
                </a:cubicBezTo>
                <a:close/>
                <a:moveTo>
                  <a:pt x="5035515" y="7181489"/>
                </a:moveTo>
                <a:cubicBezTo>
                  <a:pt x="5039775" y="7181489"/>
                  <a:pt x="5043636" y="7182288"/>
                  <a:pt x="5047230" y="7183752"/>
                </a:cubicBezTo>
                <a:cubicBezTo>
                  <a:pt x="5050957" y="7185349"/>
                  <a:pt x="5054019" y="7187479"/>
                  <a:pt x="5056548" y="7190141"/>
                </a:cubicBezTo>
                <a:cubicBezTo>
                  <a:pt x="5059077" y="7192670"/>
                  <a:pt x="5061207" y="7195866"/>
                  <a:pt x="5062671" y="7199459"/>
                </a:cubicBezTo>
                <a:cubicBezTo>
                  <a:pt x="5064135" y="7203054"/>
                  <a:pt x="5064934" y="7206914"/>
                  <a:pt x="5064934" y="7210908"/>
                </a:cubicBezTo>
                <a:cubicBezTo>
                  <a:pt x="5064934" y="7215035"/>
                  <a:pt x="5064135" y="7219028"/>
                  <a:pt x="5062671" y="7222622"/>
                </a:cubicBezTo>
                <a:cubicBezTo>
                  <a:pt x="5061207" y="7226350"/>
                  <a:pt x="5059077" y="7229412"/>
                  <a:pt x="5056548" y="7232074"/>
                </a:cubicBezTo>
                <a:cubicBezTo>
                  <a:pt x="5053885" y="7234737"/>
                  <a:pt x="5050824" y="7236866"/>
                  <a:pt x="5047230" y="7238331"/>
                </a:cubicBezTo>
                <a:cubicBezTo>
                  <a:pt x="5043636" y="7239795"/>
                  <a:pt x="5039775" y="7240594"/>
                  <a:pt x="5035515" y="7240594"/>
                </a:cubicBezTo>
                <a:cubicBezTo>
                  <a:pt x="5026597" y="7240594"/>
                  <a:pt x="5019275" y="7237798"/>
                  <a:pt x="5013683" y="7232207"/>
                </a:cubicBezTo>
                <a:cubicBezTo>
                  <a:pt x="5008092" y="7226617"/>
                  <a:pt x="5005297" y="7219560"/>
                  <a:pt x="5005297" y="7211040"/>
                </a:cubicBezTo>
                <a:cubicBezTo>
                  <a:pt x="5005297" y="7202787"/>
                  <a:pt x="5008092" y="7195733"/>
                  <a:pt x="5013683" y="7190009"/>
                </a:cubicBezTo>
                <a:cubicBezTo>
                  <a:pt x="5019275" y="7184285"/>
                  <a:pt x="5026463" y="7181489"/>
                  <a:pt x="5035515" y="7181489"/>
                </a:cubicBezTo>
                <a:close/>
                <a:moveTo>
                  <a:pt x="4817870" y="7181489"/>
                </a:moveTo>
                <a:cubicBezTo>
                  <a:pt x="4822130" y="7181489"/>
                  <a:pt x="4826124" y="7182288"/>
                  <a:pt x="4829585" y="7183752"/>
                </a:cubicBezTo>
                <a:cubicBezTo>
                  <a:pt x="4833312" y="7185349"/>
                  <a:pt x="4836374" y="7187479"/>
                  <a:pt x="4838903" y="7190141"/>
                </a:cubicBezTo>
                <a:cubicBezTo>
                  <a:pt x="4841432" y="7192670"/>
                  <a:pt x="4843562" y="7195866"/>
                  <a:pt x="4845026" y="7199459"/>
                </a:cubicBezTo>
                <a:cubicBezTo>
                  <a:pt x="4846491" y="7203054"/>
                  <a:pt x="4847289" y="7206914"/>
                  <a:pt x="4847289" y="7210908"/>
                </a:cubicBezTo>
                <a:cubicBezTo>
                  <a:pt x="4847289" y="7215035"/>
                  <a:pt x="4846491" y="7219028"/>
                  <a:pt x="4845026" y="7222622"/>
                </a:cubicBezTo>
                <a:cubicBezTo>
                  <a:pt x="4843562" y="7226350"/>
                  <a:pt x="4841432" y="7229412"/>
                  <a:pt x="4838903" y="7232074"/>
                </a:cubicBezTo>
                <a:cubicBezTo>
                  <a:pt x="4836240" y="7234737"/>
                  <a:pt x="4833179" y="7236866"/>
                  <a:pt x="4829585" y="7238331"/>
                </a:cubicBezTo>
                <a:cubicBezTo>
                  <a:pt x="4825991" y="7239795"/>
                  <a:pt x="4822130" y="7240594"/>
                  <a:pt x="4817870" y="7240594"/>
                </a:cubicBezTo>
                <a:cubicBezTo>
                  <a:pt x="4808952" y="7240594"/>
                  <a:pt x="4801630" y="7237798"/>
                  <a:pt x="4796038" y="7232207"/>
                </a:cubicBezTo>
                <a:cubicBezTo>
                  <a:pt x="4790447" y="7226617"/>
                  <a:pt x="4787652" y="7219560"/>
                  <a:pt x="4787652" y="7211040"/>
                </a:cubicBezTo>
                <a:cubicBezTo>
                  <a:pt x="4787652" y="7202787"/>
                  <a:pt x="4790447" y="7195733"/>
                  <a:pt x="4796038" y="7190009"/>
                </a:cubicBezTo>
                <a:cubicBezTo>
                  <a:pt x="4801630" y="7184285"/>
                  <a:pt x="4808818" y="7181489"/>
                  <a:pt x="4817870" y="7181489"/>
                </a:cubicBezTo>
                <a:close/>
                <a:moveTo>
                  <a:pt x="4600226" y="7181489"/>
                </a:moveTo>
                <a:cubicBezTo>
                  <a:pt x="4604485" y="7181489"/>
                  <a:pt x="4608479" y="7182288"/>
                  <a:pt x="4612073" y="7183752"/>
                </a:cubicBezTo>
                <a:cubicBezTo>
                  <a:pt x="4615800" y="7185349"/>
                  <a:pt x="4618862" y="7187479"/>
                  <a:pt x="4621391" y="7190141"/>
                </a:cubicBezTo>
                <a:cubicBezTo>
                  <a:pt x="4623920" y="7192670"/>
                  <a:pt x="4626050" y="7195866"/>
                  <a:pt x="4627514" y="7199459"/>
                </a:cubicBezTo>
                <a:cubicBezTo>
                  <a:pt x="4628978" y="7203054"/>
                  <a:pt x="4629777" y="7206914"/>
                  <a:pt x="4629777" y="7210908"/>
                </a:cubicBezTo>
                <a:cubicBezTo>
                  <a:pt x="4629777" y="7215035"/>
                  <a:pt x="4628978" y="7219028"/>
                  <a:pt x="4627514" y="7222622"/>
                </a:cubicBezTo>
                <a:cubicBezTo>
                  <a:pt x="4626050" y="7226350"/>
                  <a:pt x="4623920" y="7229412"/>
                  <a:pt x="4621391" y="7232074"/>
                </a:cubicBezTo>
                <a:cubicBezTo>
                  <a:pt x="4618729" y="7234737"/>
                  <a:pt x="4615667" y="7236866"/>
                  <a:pt x="4612073" y="7238331"/>
                </a:cubicBezTo>
                <a:cubicBezTo>
                  <a:pt x="4608346" y="7239795"/>
                  <a:pt x="4604485" y="7240594"/>
                  <a:pt x="4600226" y="7240594"/>
                </a:cubicBezTo>
                <a:cubicBezTo>
                  <a:pt x="4591173" y="7240594"/>
                  <a:pt x="4583985" y="7237798"/>
                  <a:pt x="4578393" y="7232207"/>
                </a:cubicBezTo>
                <a:cubicBezTo>
                  <a:pt x="4572803" y="7226617"/>
                  <a:pt x="4570007" y="7219560"/>
                  <a:pt x="4570007" y="7211040"/>
                </a:cubicBezTo>
                <a:cubicBezTo>
                  <a:pt x="4570007" y="7202787"/>
                  <a:pt x="4572803" y="7195733"/>
                  <a:pt x="4578393" y="7190009"/>
                </a:cubicBezTo>
                <a:cubicBezTo>
                  <a:pt x="4583985" y="7184285"/>
                  <a:pt x="4591173" y="7181489"/>
                  <a:pt x="4600226" y="7181489"/>
                </a:cubicBezTo>
                <a:close/>
                <a:moveTo>
                  <a:pt x="4382713" y="7181489"/>
                </a:moveTo>
                <a:cubicBezTo>
                  <a:pt x="4386840" y="7181489"/>
                  <a:pt x="4390834" y="7182288"/>
                  <a:pt x="4394428" y="7183752"/>
                </a:cubicBezTo>
                <a:cubicBezTo>
                  <a:pt x="4398155" y="7185349"/>
                  <a:pt x="4401217" y="7187479"/>
                  <a:pt x="4403746" y="7190141"/>
                </a:cubicBezTo>
                <a:cubicBezTo>
                  <a:pt x="4406275" y="7192670"/>
                  <a:pt x="4408405" y="7195866"/>
                  <a:pt x="4409869" y="7199459"/>
                </a:cubicBezTo>
                <a:cubicBezTo>
                  <a:pt x="4411334" y="7203054"/>
                  <a:pt x="4412132" y="7206914"/>
                  <a:pt x="4412132" y="7210908"/>
                </a:cubicBezTo>
                <a:cubicBezTo>
                  <a:pt x="4412132" y="7215035"/>
                  <a:pt x="4411334" y="7219028"/>
                  <a:pt x="4409869" y="7222622"/>
                </a:cubicBezTo>
                <a:cubicBezTo>
                  <a:pt x="4408405" y="7226350"/>
                  <a:pt x="4406275" y="7229412"/>
                  <a:pt x="4403746" y="7232074"/>
                </a:cubicBezTo>
                <a:cubicBezTo>
                  <a:pt x="4401083" y="7234737"/>
                  <a:pt x="4398022" y="7236866"/>
                  <a:pt x="4394428" y="7238331"/>
                </a:cubicBezTo>
                <a:cubicBezTo>
                  <a:pt x="4390834" y="7239795"/>
                  <a:pt x="4386973" y="7240594"/>
                  <a:pt x="4382713" y="7240594"/>
                </a:cubicBezTo>
                <a:cubicBezTo>
                  <a:pt x="4373661" y="7240594"/>
                  <a:pt x="4366473" y="7237798"/>
                  <a:pt x="4360881" y="7232207"/>
                </a:cubicBezTo>
                <a:cubicBezTo>
                  <a:pt x="4355290" y="7226617"/>
                  <a:pt x="4352495" y="7219560"/>
                  <a:pt x="4352495" y="7211040"/>
                </a:cubicBezTo>
                <a:cubicBezTo>
                  <a:pt x="4352495" y="7202787"/>
                  <a:pt x="4355290" y="7195733"/>
                  <a:pt x="4360881" y="7190009"/>
                </a:cubicBezTo>
                <a:cubicBezTo>
                  <a:pt x="4366473" y="7184285"/>
                  <a:pt x="4373661" y="7181489"/>
                  <a:pt x="4382713" y="7181489"/>
                </a:cubicBezTo>
                <a:close/>
                <a:moveTo>
                  <a:pt x="4165068" y="7181489"/>
                </a:moveTo>
                <a:cubicBezTo>
                  <a:pt x="4169327" y="7181489"/>
                  <a:pt x="4173188" y="7182288"/>
                  <a:pt x="4176782" y="7183752"/>
                </a:cubicBezTo>
                <a:cubicBezTo>
                  <a:pt x="4180509" y="7185349"/>
                  <a:pt x="4183571" y="7187479"/>
                  <a:pt x="4186100" y="7190141"/>
                </a:cubicBezTo>
                <a:cubicBezTo>
                  <a:pt x="4188629" y="7192670"/>
                  <a:pt x="4190759" y="7195866"/>
                  <a:pt x="4192223" y="7199459"/>
                </a:cubicBezTo>
                <a:cubicBezTo>
                  <a:pt x="4193688" y="7203054"/>
                  <a:pt x="4194486" y="7206914"/>
                  <a:pt x="4194486" y="7210908"/>
                </a:cubicBezTo>
                <a:cubicBezTo>
                  <a:pt x="4194486" y="7215035"/>
                  <a:pt x="4193688" y="7219028"/>
                  <a:pt x="4192223" y="7222622"/>
                </a:cubicBezTo>
                <a:cubicBezTo>
                  <a:pt x="4190759" y="7226350"/>
                  <a:pt x="4188629" y="7229412"/>
                  <a:pt x="4186100" y="7232074"/>
                </a:cubicBezTo>
                <a:cubicBezTo>
                  <a:pt x="4183438" y="7234737"/>
                  <a:pt x="4180376" y="7236866"/>
                  <a:pt x="4176782" y="7238331"/>
                </a:cubicBezTo>
                <a:cubicBezTo>
                  <a:pt x="4173188" y="7239795"/>
                  <a:pt x="4169327" y="7240594"/>
                  <a:pt x="4165068" y="7240594"/>
                </a:cubicBezTo>
                <a:cubicBezTo>
                  <a:pt x="4156015" y="7240594"/>
                  <a:pt x="4148827" y="7237798"/>
                  <a:pt x="4143235" y="7232207"/>
                </a:cubicBezTo>
                <a:cubicBezTo>
                  <a:pt x="4137645" y="7226617"/>
                  <a:pt x="4134849" y="7219560"/>
                  <a:pt x="4134849" y="7211040"/>
                </a:cubicBezTo>
                <a:cubicBezTo>
                  <a:pt x="4134849" y="7202787"/>
                  <a:pt x="4137645" y="7195733"/>
                  <a:pt x="4143235" y="7190009"/>
                </a:cubicBezTo>
                <a:cubicBezTo>
                  <a:pt x="4148827" y="7184285"/>
                  <a:pt x="4156015" y="7181489"/>
                  <a:pt x="4165068" y="7181489"/>
                </a:cubicBezTo>
                <a:close/>
                <a:moveTo>
                  <a:pt x="3947814" y="7181489"/>
                </a:moveTo>
                <a:cubicBezTo>
                  <a:pt x="3952076" y="7181489"/>
                  <a:pt x="3955937" y="7182288"/>
                  <a:pt x="3959533" y="7183752"/>
                </a:cubicBezTo>
                <a:cubicBezTo>
                  <a:pt x="3963261" y="7185349"/>
                  <a:pt x="3966322" y="7187479"/>
                  <a:pt x="3968851" y="7190141"/>
                </a:cubicBezTo>
                <a:cubicBezTo>
                  <a:pt x="3971382" y="7192670"/>
                  <a:pt x="3973511" y="7195866"/>
                  <a:pt x="3974975" y="7199459"/>
                </a:cubicBezTo>
                <a:cubicBezTo>
                  <a:pt x="3976440" y="7203054"/>
                  <a:pt x="3977239" y="7206914"/>
                  <a:pt x="3977239" y="7210908"/>
                </a:cubicBezTo>
                <a:cubicBezTo>
                  <a:pt x="3977239" y="7215035"/>
                  <a:pt x="3976440" y="7219028"/>
                  <a:pt x="3974975" y="7222622"/>
                </a:cubicBezTo>
                <a:cubicBezTo>
                  <a:pt x="3973511" y="7226350"/>
                  <a:pt x="3971382" y="7229412"/>
                  <a:pt x="3968851" y="7232074"/>
                </a:cubicBezTo>
                <a:cubicBezTo>
                  <a:pt x="3966189" y="7234737"/>
                  <a:pt x="3963128" y="7236866"/>
                  <a:pt x="3959533" y="7238331"/>
                </a:cubicBezTo>
                <a:cubicBezTo>
                  <a:pt x="3955937" y="7239795"/>
                  <a:pt x="3952076" y="7240594"/>
                  <a:pt x="3947814" y="7240594"/>
                </a:cubicBezTo>
                <a:cubicBezTo>
                  <a:pt x="3938761" y="7240594"/>
                  <a:pt x="3931573" y="7237798"/>
                  <a:pt x="3925981" y="7232207"/>
                </a:cubicBezTo>
                <a:cubicBezTo>
                  <a:pt x="3920390" y="7226617"/>
                  <a:pt x="3917595" y="7219560"/>
                  <a:pt x="3917595" y="7211040"/>
                </a:cubicBezTo>
                <a:cubicBezTo>
                  <a:pt x="3917595" y="7202787"/>
                  <a:pt x="3920390" y="7195733"/>
                  <a:pt x="3925981" y="7190009"/>
                </a:cubicBezTo>
                <a:cubicBezTo>
                  <a:pt x="3931573" y="7184285"/>
                  <a:pt x="3938761" y="7181489"/>
                  <a:pt x="3947814" y="7181489"/>
                </a:cubicBezTo>
                <a:close/>
                <a:moveTo>
                  <a:pt x="3730152" y="7181489"/>
                </a:moveTo>
                <a:cubicBezTo>
                  <a:pt x="3734412" y="7181489"/>
                  <a:pt x="3738405" y="7182288"/>
                  <a:pt x="3741867" y="7183752"/>
                </a:cubicBezTo>
                <a:cubicBezTo>
                  <a:pt x="3745462" y="7185349"/>
                  <a:pt x="3748657" y="7187479"/>
                  <a:pt x="3751186" y="7190141"/>
                </a:cubicBezTo>
                <a:cubicBezTo>
                  <a:pt x="3753715" y="7192670"/>
                  <a:pt x="3755845" y="7195866"/>
                  <a:pt x="3757309" y="7199459"/>
                </a:cubicBezTo>
                <a:cubicBezTo>
                  <a:pt x="3758773" y="7203054"/>
                  <a:pt x="3759572" y="7206914"/>
                  <a:pt x="3759572" y="7210908"/>
                </a:cubicBezTo>
                <a:cubicBezTo>
                  <a:pt x="3759572" y="7215035"/>
                  <a:pt x="3758773" y="7219028"/>
                  <a:pt x="3757309" y="7222622"/>
                </a:cubicBezTo>
                <a:cubicBezTo>
                  <a:pt x="3755845" y="7226350"/>
                  <a:pt x="3753715" y="7229412"/>
                  <a:pt x="3751186" y="7232074"/>
                </a:cubicBezTo>
                <a:cubicBezTo>
                  <a:pt x="3748523" y="7234737"/>
                  <a:pt x="3745462" y="7236866"/>
                  <a:pt x="3741867" y="7238331"/>
                </a:cubicBezTo>
                <a:cubicBezTo>
                  <a:pt x="3738274" y="7239795"/>
                  <a:pt x="3734412" y="7240594"/>
                  <a:pt x="3730152" y="7240594"/>
                </a:cubicBezTo>
                <a:cubicBezTo>
                  <a:pt x="3721100" y="7240594"/>
                  <a:pt x="3713909" y="7237798"/>
                  <a:pt x="3708309" y="7232207"/>
                </a:cubicBezTo>
                <a:cubicBezTo>
                  <a:pt x="3702716" y="7226617"/>
                  <a:pt x="3699922" y="7219560"/>
                  <a:pt x="3699922" y="7211040"/>
                </a:cubicBezTo>
                <a:cubicBezTo>
                  <a:pt x="3699922" y="7202787"/>
                  <a:pt x="3702716" y="7195733"/>
                  <a:pt x="3708309" y="7190009"/>
                </a:cubicBezTo>
                <a:cubicBezTo>
                  <a:pt x="3713909" y="7184285"/>
                  <a:pt x="3721100" y="7181489"/>
                  <a:pt x="3730152" y="7181489"/>
                </a:cubicBezTo>
                <a:close/>
                <a:moveTo>
                  <a:pt x="3512486" y="7181489"/>
                </a:moveTo>
                <a:cubicBezTo>
                  <a:pt x="3516747" y="7181489"/>
                  <a:pt x="3520740" y="7182288"/>
                  <a:pt x="3524202" y="7183752"/>
                </a:cubicBezTo>
                <a:cubicBezTo>
                  <a:pt x="3527796" y="7185349"/>
                  <a:pt x="3530991" y="7187479"/>
                  <a:pt x="3533520" y="7190141"/>
                </a:cubicBezTo>
                <a:cubicBezTo>
                  <a:pt x="3536049" y="7192670"/>
                  <a:pt x="3538179" y="7195866"/>
                  <a:pt x="3539643" y="7199459"/>
                </a:cubicBezTo>
                <a:cubicBezTo>
                  <a:pt x="3541107" y="7203054"/>
                  <a:pt x="3541906" y="7206914"/>
                  <a:pt x="3541906" y="7210908"/>
                </a:cubicBezTo>
                <a:cubicBezTo>
                  <a:pt x="3541906" y="7215035"/>
                  <a:pt x="3541107" y="7219028"/>
                  <a:pt x="3539643" y="7222622"/>
                </a:cubicBezTo>
                <a:cubicBezTo>
                  <a:pt x="3538179" y="7226350"/>
                  <a:pt x="3536049" y="7229412"/>
                  <a:pt x="3533520" y="7232074"/>
                </a:cubicBezTo>
                <a:cubicBezTo>
                  <a:pt x="3530857" y="7234737"/>
                  <a:pt x="3527796" y="7236866"/>
                  <a:pt x="3524202" y="7238331"/>
                </a:cubicBezTo>
                <a:cubicBezTo>
                  <a:pt x="3520608" y="7239795"/>
                  <a:pt x="3516747" y="7240594"/>
                  <a:pt x="3512486" y="7240594"/>
                </a:cubicBezTo>
                <a:cubicBezTo>
                  <a:pt x="3503430" y="7240594"/>
                  <a:pt x="3496238" y="7237798"/>
                  <a:pt x="3490647" y="7232207"/>
                </a:cubicBezTo>
                <a:cubicBezTo>
                  <a:pt x="3485057" y="7226617"/>
                  <a:pt x="3482261" y="7219560"/>
                  <a:pt x="3482261" y="7211040"/>
                </a:cubicBezTo>
                <a:cubicBezTo>
                  <a:pt x="3482261" y="7202787"/>
                  <a:pt x="3485057" y="7195733"/>
                  <a:pt x="3490647" y="7190009"/>
                </a:cubicBezTo>
                <a:cubicBezTo>
                  <a:pt x="3496238" y="7184285"/>
                  <a:pt x="3503430" y="7181489"/>
                  <a:pt x="3512486" y="7181489"/>
                </a:cubicBezTo>
                <a:close/>
                <a:moveTo>
                  <a:pt x="3294953" y="7181489"/>
                </a:moveTo>
                <a:cubicBezTo>
                  <a:pt x="3299081" y="7181489"/>
                  <a:pt x="3303075" y="7182288"/>
                  <a:pt x="3306669" y="7183752"/>
                </a:cubicBezTo>
                <a:cubicBezTo>
                  <a:pt x="3310396" y="7185349"/>
                  <a:pt x="3313458" y="7187479"/>
                  <a:pt x="3315987" y="7190141"/>
                </a:cubicBezTo>
                <a:cubicBezTo>
                  <a:pt x="3318517" y="7192670"/>
                  <a:pt x="3320647" y="7195866"/>
                  <a:pt x="3322111" y="7199459"/>
                </a:cubicBezTo>
                <a:cubicBezTo>
                  <a:pt x="3323575" y="7203054"/>
                  <a:pt x="3324374" y="7206914"/>
                  <a:pt x="3324374" y="7210908"/>
                </a:cubicBezTo>
                <a:cubicBezTo>
                  <a:pt x="3324374" y="7215035"/>
                  <a:pt x="3323575" y="7219028"/>
                  <a:pt x="3322111" y="7222622"/>
                </a:cubicBezTo>
                <a:cubicBezTo>
                  <a:pt x="3320647" y="7226350"/>
                  <a:pt x="3318517" y="7229412"/>
                  <a:pt x="3315987" y="7232074"/>
                </a:cubicBezTo>
                <a:cubicBezTo>
                  <a:pt x="3313324" y="7234737"/>
                  <a:pt x="3310263" y="7236866"/>
                  <a:pt x="3306669" y="7238331"/>
                </a:cubicBezTo>
                <a:cubicBezTo>
                  <a:pt x="3303075" y="7239795"/>
                  <a:pt x="3299214" y="7240594"/>
                  <a:pt x="3294953" y="7240594"/>
                </a:cubicBezTo>
                <a:cubicBezTo>
                  <a:pt x="3285898" y="7240594"/>
                  <a:pt x="3278709" y="7237798"/>
                  <a:pt x="3273113" y="7232207"/>
                </a:cubicBezTo>
                <a:cubicBezTo>
                  <a:pt x="3267520" y="7226617"/>
                  <a:pt x="3264725" y="7219560"/>
                  <a:pt x="3264725" y="7211040"/>
                </a:cubicBezTo>
                <a:cubicBezTo>
                  <a:pt x="3264725" y="7202787"/>
                  <a:pt x="3267520" y="7195733"/>
                  <a:pt x="3273113" y="7190009"/>
                </a:cubicBezTo>
                <a:cubicBezTo>
                  <a:pt x="3278709" y="7184285"/>
                  <a:pt x="3285898" y="7181489"/>
                  <a:pt x="3294953" y="7181489"/>
                </a:cubicBezTo>
                <a:close/>
                <a:moveTo>
                  <a:pt x="3077288" y="7181489"/>
                </a:moveTo>
                <a:cubicBezTo>
                  <a:pt x="3081416" y="7181489"/>
                  <a:pt x="3085409" y="7182288"/>
                  <a:pt x="3089004" y="7183752"/>
                </a:cubicBezTo>
                <a:cubicBezTo>
                  <a:pt x="3092598" y="7185349"/>
                  <a:pt x="3095793" y="7187479"/>
                  <a:pt x="3098322" y="7190141"/>
                </a:cubicBezTo>
                <a:cubicBezTo>
                  <a:pt x="3100851" y="7192670"/>
                  <a:pt x="3102981" y="7195866"/>
                  <a:pt x="3104445" y="7199459"/>
                </a:cubicBezTo>
                <a:cubicBezTo>
                  <a:pt x="3105910" y="7203054"/>
                  <a:pt x="3106708" y="7206914"/>
                  <a:pt x="3106708" y="7210908"/>
                </a:cubicBezTo>
                <a:cubicBezTo>
                  <a:pt x="3106708" y="7215035"/>
                  <a:pt x="3105910" y="7219028"/>
                  <a:pt x="3104445" y="7222622"/>
                </a:cubicBezTo>
                <a:cubicBezTo>
                  <a:pt x="3102981" y="7226350"/>
                  <a:pt x="3100851" y="7229412"/>
                  <a:pt x="3098322" y="7232074"/>
                </a:cubicBezTo>
                <a:cubicBezTo>
                  <a:pt x="3095659" y="7234737"/>
                  <a:pt x="3092598" y="7236866"/>
                  <a:pt x="3089004" y="7238331"/>
                </a:cubicBezTo>
                <a:cubicBezTo>
                  <a:pt x="3085409" y="7239795"/>
                  <a:pt x="3081548" y="7240594"/>
                  <a:pt x="3077288" y="7240594"/>
                </a:cubicBezTo>
                <a:cubicBezTo>
                  <a:pt x="3068367" y="7240594"/>
                  <a:pt x="3061044" y="7237798"/>
                  <a:pt x="3055448" y="7232207"/>
                </a:cubicBezTo>
                <a:cubicBezTo>
                  <a:pt x="3049857" y="7226617"/>
                  <a:pt x="3047061" y="7219560"/>
                  <a:pt x="3047061" y="7211040"/>
                </a:cubicBezTo>
                <a:cubicBezTo>
                  <a:pt x="3047061" y="7202787"/>
                  <a:pt x="3049857" y="7195733"/>
                  <a:pt x="3055448" y="7190009"/>
                </a:cubicBezTo>
                <a:cubicBezTo>
                  <a:pt x="3061044" y="7184285"/>
                  <a:pt x="3068234" y="7181489"/>
                  <a:pt x="3077288" y="7181489"/>
                </a:cubicBezTo>
                <a:close/>
                <a:moveTo>
                  <a:pt x="2859623" y="7181489"/>
                </a:moveTo>
                <a:cubicBezTo>
                  <a:pt x="2863883" y="7181489"/>
                  <a:pt x="2867744" y="7182288"/>
                  <a:pt x="2871471" y="7183752"/>
                </a:cubicBezTo>
                <a:cubicBezTo>
                  <a:pt x="2875198" y="7185349"/>
                  <a:pt x="2878260" y="7187479"/>
                  <a:pt x="2880789" y="7190141"/>
                </a:cubicBezTo>
                <a:cubicBezTo>
                  <a:pt x="2883451" y="7192670"/>
                  <a:pt x="2885448" y="7195866"/>
                  <a:pt x="2886912" y="7199459"/>
                </a:cubicBezTo>
                <a:cubicBezTo>
                  <a:pt x="2888377" y="7203054"/>
                  <a:pt x="2889175" y="7206914"/>
                  <a:pt x="2889175" y="7210908"/>
                </a:cubicBezTo>
                <a:cubicBezTo>
                  <a:pt x="2889175" y="7215035"/>
                  <a:pt x="2888377" y="7219028"/>
                  <a:pt x="2886912" y="7222622"/>
                </a:cubicBezTo>
                <a:cubicBezTo>
                  <a:pt x="2885448" y="7226350"/>
                  <a:pt x="2883318" y="7229412"/>
                  <a:pt x="2880789" y="7232074"/>
                </a:cubicBezTo>
                <a:cubicBezTo>
                  <a:pt x="2878127" y="7234737"/>
                  <a:pt x="2875065" y="7236866"/>
                  <a:pt x="2871471" y="7238331"/>
                </a:cubicBezTo>
                <a:cubicBezTo>
                  <a:pt x="2867744" y="7239795"/>
                  <a:pt x="2863883" y="7240594"/>
                  <a:pt x="2859623" y="7240594"/>
                </a:cubicBezTo>
                <a:cubicBezTo>
                  <a:pt x="2850705" y="7240594"/>
                  <a:pt x="2843377" y="7237798"/>
                  <a:pt x="2837782" y="7232207"/>
                </a:cubicBezTo>
                <a:cubicBezTo>
                  <a:pt x="2832191" y="7226617"/>
                  <a:pt x="2829395" y="7219560"/>
                  <a:pt x="2829395" y="7211040"/>
                </a:cubicBezTo>
                <a:cubicBezTo>
                  <a:pt x="2829395" y="7202787"/>
                  <a:pt x="2832191" y="7195733"/>
                  <a:pt x="2837782" y="7190009"/>
                </a:cubicBezTo>
                <a:cubicBezTo>
                  <a:pt x="2843377" y="7184285"/>
                  <a:pt x="2850571" y="7181489"/>
                  <a:pt x="2859623" y="7181489"/>
                </a:cubicBezTo>
                <a:close/>
                <a:moveTo>
                  <a:pt x="2641957" y="7181489"/>
                </a:moveTo>
                <a:cubicBezTo>
                  <a:pt x="2646217" y="7181489"/>
                  <a:pt x="2650077" y="7182288"/>
                  <a:pt x="2653672" y="7183752"/>
                </a:cubicBezTo>
                <a:cubicBezTo>
                  <a:pt x="2657399" y="7185349"/>
                  <a:pt x="2660461" y="7187479"/>
                  <a:pt x="2662990" y="7190141"/>
                </a:cubicBezTo>
                <a:cubicBezTo>
                  <a:pt x="2665652" y="7192670"/>
                  <a:pt x="2667650" y="7195866"/>
                  <a:pt x="2669114" y="7199459"/>
                </a:cubicBezTo>
                <a:cubicBezTo>
                  <a:pt x="2670578" y="7203054"/>
                  <a:pt x="2671377" y="7206914"/>
                  <a:pt x="2671377" y="7210908"/>
                </a:cubicBezTo>
                <a:cubicBezTo>
                  <a:pt x="2671377" y="7215035"/>
                  <a:pt x="2670578" y="7219028"/>
                  <a:pt x="2669114" y="7222622"/>
                </a:cubicBezTo>
                <a:cubicBezTo>
                  <a:pt x="2667650" y="7226350"/>
                  <a:pt x="2665519" y="7229412"/>
                  <a:pt x="2662990" y="7232074"/>
                </a:cubicBezTo>
                <a:cubicBezTo>
                  <a:pt x="2660461" y="7234737"/>
                  <a:pt x="2657266" y="7236866"/>
                  <a:pt x="2653672" y="7238331"/>
                </a:cubicBezTo>
                <a:cubicBezTo>
                  <a:pt x="2650077" y="7239795"/>
                  <a:pt x="2646217" y="7240594"/>
                  <a:pt x="2641957" y="7240594"/>
                </a:cubicBezTo>
                <a:cubicBezTo>
                  <a:pt x="2633038" y="7240594"/>
                  <a:pt x="2625715" y="7237798"/>
                  <a:pt x="2620122" y="7232207"/>
                </a:cubicBezTo>
                <a:cubicBezTo>
                  <a:pt x="2614531" y="7226617"/>
                  <a:pt x="2611732" y="7219560"/>
                  <a:pt x="2611732" y="7211040"/>
                </a:cubicBezTo>
                <a:cubicBezTo>
                  <a:pt x="2611732" y="7202787"/>
                  <a:pt x="2614531" y="7195733"/>
                  <a:pt x="2620122" y="7190009"/>
                </a:cubicBezTo>
                <a:cubicBezTo>
                  <a:pt x="2625715" y="7184285"/>
                  <a:pt x="2632905" y="7181489"/>
                  <a:pt x="2641957" y="7181489"/>
                </a:cubicBezTo>
                <a:close/>
                <a:moveTo>
                  <a:pt x="2424291" y="7181489"/>
                </a:moveTo>
                <a:cubicBezTo>
                  <a:pt x="2428551" y="7181489"/>
                  <a:pt x="2432546" y="7182288"/>
                  <a:pt x="2436006" y="7183752"/>
                </a:cubicBezTo>
                <a:cubicBezTo>
                  <a:pt x="2439733" y="7185349"/>
                  <a:pt x="2442795" y="7187479"/>
                  <a:pt x="2445324" y="7190141"/>
                </a:cubicBezTo>
                <a:cubicBezTo>
                  <a:pt x="2447987" y="7192670"/>
                  <a:pt x="2449984" y="7195866"/>
                  <a:pt x="2451448" y="7199459"/>
                </a:cubicBezTo>
                <a:cubicBezTo>
                  <a:pt x="2452912" y="7203054"/>
                  <a:pt x="2453711" y="7206914"/>
                  <a:pt x="2453711" y="7210908"/>
                </a:cubicBezTo>
                <a:cubicBezTo>
                  <a:pt x="2453711" y="7215035"/>
                  <a:pt x="2452912" y="7219028"/>
                  <a:pt x="2451448" y="7222622"/>
                </a:cubicBezTo>
                <a:cubicBezTo>
                  <a:pt x="2449984" y="7226350"/>
                  <a:pt x="2447853" y="7229412"/>
                  <a:pt x="2445324" y="7232074"/>
                </a:cubicBezTo>
                <a:cubicBezTo>
                  <a:pt x="2442795" y="7234737"/>
                  <a:pt x="2439601" y="7236866"/>
                  <a:pt x="2436006" y="7238331"/>
                </a:cubicBezTo>
                <a:cubicBezTo>
                  <a:pt x="2432412" y="7239795"/>
                  <a:pt x="2428551" y="7240594"/>
                  <a:pt x="2424291" y="7240594"/>
                </a:cubicBezTo>
                <a:cubicBezTo>
                  <a:pt x="2415373" y="7240594"/>
                  <a:pt x="2408051" y="7237798"/>
                  <a:pt x="2402459" y="7232207"/>
                </a:cubicBezTo>
                <a:cubicBezTo>
                  <a:pt x="2396865" y="7226617"/>
                  <a:pt x="2394068" y="7219560"/>
                  <a:pt x="2394068" y="7211040"/>
                </a:cubicBezTo>
                <a:cubicBezTo>
                  <a:pt x="2394068" y="7202787"/>
                  <a:pt x="2396865" y="7195733"/>
                  <a:pt x="2402459" y="7190009"/>
                </a:cubicBezTo>
                <a:cubicBezTo>
                  <a:pt x="2408051" y="7184285"/>
                  <a:pt x="2415239" y="7181489"/>
                  <a:pt x="2424291" y="7181489"/>
                </a:cubicBezTo>
                <a:close/>
                <a:moveTo>
                  <a:pt x="2206625" y="7181489"/>
                </a:moveTo>
                <a:cubicBezTo>
                  <a:pt x="2210885" y="7181489"/>
                  <a:pt x="2214880" y="7182288"/>
                  <a:pt x="2218340" y="7183752"/>
                </a:cubicBezTo>
                <a:cubicBezTo>
                  <a:pt x="2222067" y="7185349"/>
                  <a:pt x="2225129" y="7187479"/>
                  <a:pt x="2227659" y="7190141"/>
                </a:cubicBezTo>
                <a:cubicBezTo>
                  <a:pt x="2230321" y="7192670"/>
                  <a:pt x="2232318" y="7195866"/>
                  <a:pt x="2233782" y="7199459"/>
                </a:cubicBezTo>
                <a:cubicBezTo>
                  <a:pt x="2235246" y="7203054"/>
                  <a:pt x="2236045" y="7206914"/>
                  <a:pt x="2236045" y="7210908"/>
                </a:cubicBezTo>
                <a:cubicBezTo>
                  <a:pt x="2236045" y="7215035"/>
                  <a:pt x="2235246" y="7219028"/>
                  <a:pt x="2233782" y="7222622"/>
                </a:cubicBezTo>
                <a:cubicBezTo>
                  <a:pt x="2232318" y="7226350"/>
                  <a:pt x="2230187" y="7229412"/>
                  <a:pt x="2227659" y="7232074"/>
                </a:cubicBezTo>
                <a:cubicBezTo>
                  <a:pt x="2225129" y="7234737"/>
                  <a:pt x="2221935" y="7236866"/>
                  <a:pt x="2218340" y="7238331"/>
                </a:cubicBezTo>
                <a:cubicBezTo>
                  <a:pt x="2214746" y="7239795"/>
                  <a:pt x="2210885" y="7240594"/>
                  <a:pt x="2206625" y="7240594"/>
                </a:cubicBezTo>
                <a:cubicBezTo>
                  <a:pt x="2197573" y="7240594"/>
                  <a:pt x="2190385" y="7237798"/>
                  <a:pt x="2184792" y="7232207"/>
                </a:cubicBezTo>
                <a:cubicBezTo>
                  <a:pt x="2179200" y="7226617"/>
                  <a:pt x="2176403" y="7219560"/>
                  <a:pt x="2176403" y="7211040"/>
                </a:cubicBezTo>
                <a:cubicBezTo>
                  <a:pt x="2176403" y="7202787"/>
                  <a:pt x="2179200" y="7195733"/>
                  <a:pt x="2184792" y="7190009"/>
                </a:cubicBezTo>
                <a:cubicBezTo>
                  <a:pt x="2190385" y="7184285"/>
                  <a:pt x="2197573" y="7181489"/>
                  <a:pt x="2206625" y="7181489"/>
                </a:cubicBezTo>
                <a:close/>
                <a:moveTo>
                  <a:pt x="1989092" y="7181489"/>
                </a:moveTo>
                <a:cubicBezTo>
                  <a:pt x="1993219" y="7181489"/>
                  <a:pt x="1997214" y="7182288"/>
                  <a:pt x="2000808" y="7183752"/>
                </a:cubicBezTo>
                <a:cubicBezTo>
                  <a:pt x="2004535" y="7185349"/>
                  <a:pt x="2007597" y="7187479"/>
                  <a:pt x="2010126" y="7190141"/>
                </a:cubicBezTo>
                <a:cubicBezTo>
                  <a:pt x="2012788" y="7192670"/>
                  <a:pt x="2014785" y="7195866"/>
                  <a:pt x="2016249" y="7199459"/>
                </a:cubicBezTo>
                <a:cubicBezTo>
                  <a:pt x="2017713" y="7203054"/>
                  <a:pt x="2018512" y="7206914"/>
                  <a:pt x="2018512" y="7210908"/>
                </a:cubicBezTo>
                <a:cubicBezTo>
                  <a:pt x="2018512" y="7215035"/>
                  <a:pt x="2017713" y="7219028"/>
                  <a:pt x="2016249" y="7222622"/>
                </a:cubicBezTo>
                <a:cubicBezTo>
                  <a:pt x="2014785" y="7226350"/>
                  <a:pt x="2012655" y="7229412"/>
                  <a:pt x="2010126" y="7232074"/>
                </a:cubicBezTo>
                <a:cubicBezTo>
                  <a:pt x="2007597" y="7234737"/>
                  <a:pt x="2004401" y="7236866"/>
                  <a:pt x="2000808" y="7238331"/>
                </a:cubicBezTo>
                <a:cubicBezTo>
                  <a:pt x="1997214" y="7239795"/>
                  <a:pt x="1993352" y="7240594"/>
                  <a:pt x="1989092" y="7240594"/>
                </a:cubicBezTo>
                <a:cubicBezTo>
                  <a:pt x="1980041" y="7240594"/>
                  <a:pt x="1972852" y="7237798"/>
                  <a:pt x="1967261" y="7232207"/>
                </a:cubicBezTo>
                <a:cubicBezTo>
                  <a:pt x="1961671" y="7226617"/>
                  <a:pt x="1958875" y="7219560"/>
                  <a:pt x="1958875" y="7211040"/>
                </a:cubicBezTo>
                <a:cubicBezTo>
                  <a:pt x="1958875" y="7202787"/>
                  <a:pt x="1961671" y="7195733"/>
                  <a:pt x="1967261" y="7190009"/>
                </a:cubicBezTo>
                <a:cubicBezTo>
                  <a:pt x="1972852" y="7184285"/>
                  <a:pt x="1980041" y="7181489"/>
                  <a:pt x="1989092" y="7181489"/>
                </a:cubicBezTo>
                <a:close/>
                <a:moveTo>
                  <a:pt x="1771462" y="7181489"/>
                </a:moveTo>
                <a:cubicBezTo>
                  <a:pt x="1775721" y="7181489"/>
                  <a:pt x="1779580" y="7182288"/>
                  <a:pt x="1783175" y="7183752"/>
                </a:cubicBezTo>
                <a:cubicBezTo>
                  <a:pt x="1786903" y="7185349"/>
                  <a:pt x="1789964" y="7187479"/>
                  <a:pt x="1792493" y="7190141"/>
                </a:cubicBezTo>
                <a:cubicBezTo>
                  <a:pt x="1795155" y="7192670"/>
                  <a:pt x="1797153" y="7195866"/>
                  <a:pt x="1798616" y="7199459"/>
                </a:cubicBezTo>
                <a:cubicBezTo>
                  <a:pt x="1800080" y="7203054"/>
                  <a:pt x="1800879" y="7206914"/>
                  <a:pt x="1800879" y="7210908"/>
                </a:cubicBezTo>
                <a:cubicBezTo>
                  <a:pt x="1800879" y="7215035"/>
                  <a:pt x="1800080" y="7219028"/>
                  <a:pt x="1798616" y="7222622"/>
                </a:cubicBezTo>
                <a:cubicBezTo>
                  <a:pt x="1797153" y="7226350"/>
                  <a:pt x="1795023" y="7229412"/>
                  <a:pt x="1792493" y="7232074"/>
                </a:cubicBezTo>
                <a:cubicBezTo>
                  <a:pt x="1789830" y="7234737"/>
                  <a:pt x="1786770" y="7236866"/>
                  <a:pt x="1783175" y="7238331"/>
                </a:cubicBezTo>
                <a:cubicBezTo>
                  <a:pt x="1779580" y="7239795"/>
                  <a:pt x="1775721" y="7240594"/>
                  <a:pt x="1771462" y="7240594"/>
                </a:cubicBezTo>
                <a:cubicBezTo>
                  <a:pt x="1762543" y="7240594"/>
                  <a:pt x="1755224" y="7237798"/>
                  <a:pt x="1749633" y="7232207"/>
                </a:cubicBezTo>
                <a:cubicBezTo>
                  <a:pt x="1744044" y="7226617"/>
                  <a:pt x="1741251" y="7219560"/>
                  <a:pt x="1741251" y="7211040"/>
                </a:cubicBezTo>
                <a:cubicBezTo>
                  <a:pt x="1741251" y="7202787"/>
                  <a:pt x="1744044" y="7195733"/>
                  <a:pt x="1749633" y="7190009"/>
                </a:cubicBezTo>
                <a:cubicBezTo>
                  <a:pt x="1755224" y="7184285"/>
                  <a:pt x="1762410" y="7181489"/>
                  <a:pt x="1771462" y="7181489"/>
                </a:cubicBezTo>
                <a:close/>
                <a:moveTo>
                  <a:pt x="1553827" y="7181489"/>
                </a:moveTo>
                <a:cubicBezTo>
                  <a:pt x="1558087" y="7181489"/>
                  <a:pt x="1561948" y="7182288"/>
                  <a:pt x="1565542" y="7183752"/>
                </a:cubicBezTo>
                <a:cubicBezTo>
                  <a:pt x="1569137" y="7185349"/>
                  <a:pt x="1572331" y="7187479"/>
                  <a:pt x="1574861" y="7190141"/>
                </a:cubicBezTo>
                <a:cubicBezTo>
                  <a:pt x="1577522" y="7192670"/>
                  <a:pt x="1579519" y="7195866"/>
                  <a:pt x="1580983" y="7199459"/>
                </a:cubicBezTo>
                <a:cubicBezTo>
                  <a:pt x="1582447" y="7203054"/>
                  <a:pt x="1583246" y="7206914"/>
                  <a:pt x="1583246" y="7210908"/>
                </a:cubicBezTo>
                <a:cubicBezTo>
                  <a:pt x="1583246" y="7215035"/>
                  <a:pt x="1582447" y="7219028"/>
                  <a:pt x="1580983" y="7222622"/>
                </a:cubicBezTo>
                <a:cubicBezTo>
                  <a:pt x="1579519" y="7226350"/>
                  <a:pt x="1577389" y="7229412"/>
                  <a:pt x="1574861" y="7232074"/>
                </a:cubicBezTo>
                <a:cubicBezTo>
                  <a:pt x="1572198" y="7234737"/>
                  <a:pt x="1569137" y="7236866"/>
                  <a:pt x="1565542" y="7238331"/>
                </a:cubicBezTo>
                <a:cubicBezTo>
                  <a:pt x="1561948" y="7239795"/>
                  <a:pt x="1558087" y="7240594"/>
                  <a:pt x="1553827" y="7240594"/>
                </a:cubicBezTo>
                <a:cubicBezTo>
                  <a:pt x="1544909" y="7240594"/>
                  <a:pt x="1537588" y="7237798"/>
                  <a:pt x="1531999" y="7232207"/>
                </a:cubicBezTo>
                <a:cubicBezTo>
                  <a:pt x="1526410" y="7226617"/>
                  <a:pt x="1523613" y="7219560"/>
                  <a:pt x="1523613" y="7211040"/>
                </a:cubicBezTo>
                <a:cubicBezTo>
                  <a:pt x="1523613" y="7202787"/>
                  <a:pt x="1526410" y="7195733"/>
                  <a:pt x="1531999" y="7190009"/>
                </a:cubicBezTo>
                <a:cubicBezTo>
                  <a:pt x="1537588" y="7184285"/>
                  <a:pt x="1544776" y="7181489"/>
                  <a:pt x="1553827" y="7181489"/>
                </a:cubicBezTo>
                <a:close/>
                <a:moveTo>
                  <a:pt x="1336184" y="7181489"/>
                </a:moveTo>
                <a:cubicBezTo>
                  <a:pt x="1340444" y="7181489"/>
                  <a:pt x="1344440" y="7182288"/>
                  <a:pt x="1347900" y="7183752"/>
                </a:cubicBezTo>
                <a:cubicBezTo>
                  <a:pt x="1351493" y="7185349"/>
                  <a:pt x="1354688" y="7187479"/>
                  <a:pt x="1357218" y="7190141"/>
                </a:cubicBezTo>
                <a:cubicBezTo>
                  <a:pt x="1359880" y="7192670"/>
                  <a:pt x="1361877" y="7195866"/>
                  <a:pt x="1363341" y="7199459"/>
                </a:cubicBezTo>
                <a:cubicBezTo>
                  <a:pt x="1364804" y="7203054"/>
                  <a:pt x="1365603" y="7206914"/>
                  <a:pt x="1365603" y="7210908"/>
                </a:cubicBezTo>
                <a:cubicBezTo>
                  <a:pt x="1365603" y="7215035"/>
                  <a:pt x="1364804" y="7219028"/>
                  <a:pt x="1363341" y="7222622"/>
                </a:cubicBezTo>
                <a:cubicBezTo>
                  <a:pt x="1361877" y="7226350"/>
                  <a:pt x="1359747" y="7229412"/>
                  <a:pt x="1357218" y="7232074"/>
                </a:cubicBezTo>
                <a:cubicBezTo>
                  <a:pt x="1354554" y="7234737"/>
                  <a:pt x="1351493" y="7236866"/>
                  <a:pt x="1347900" y="7238331"/>
                </a:cubicBezTo>
                <a:cubicBezTo>
                  <a:pt x="1344306" y="7239795"/>
                  <a:pt x="1340444" y="7240594"/>
                  <a:pt x="1336184" y="7240594"/>
                </a:cubicBezTo>
                <a:cubicBezTo>
                  <a:pt x="1327264" y="7240594"/>
                  <a:pt x="1319943" y="7237798"/>
                  <a:pt x="1314351" y="7232207"/>
                </a:cubicBezTo>
                <a:cubicBezTo>
                  <a:pt x="1308762" y="7226617"/>
                  <a:pt x="1305966" y="7219560"/>
                  <a:pt x="1305966" y="7211040"/>
                </a:cubicBezTo>
                <a:cubicBezTo>
                  <a:pt x="1305966" y="7202787"/>
                  <a:pt x="1308762" y="7195733"/>
                  <a:pt x="1314351" y="7190009"/>
                </a:cubicBezTo>
                <a:cubicBezTo>
                  <a:pt x="1319943" y="7184285"/>
                  <a:pt x="1327131" y="7181489"/>
                  <a:pt x="1336184" y="7181489"/>
                </a:cubicBezTo>
                <a:close/>
                <a:moveTo>
                  <a:pt x="1118539" y="7181489"/>
                </a:moveTo>
                <a:cubicBezTo>
                  <a:pt x="1122800" y="7181489"/>
                  <a:pt x="1126797" y="7182288"/>
                  <a:pt x="1130258" y="7183752"/>
                </a:cubicBezTo>
                <a:cubicBezTo>
                  <a:pt x="1133984" y="7185349"/>
                  <a:pt x="1137047" y="7187479"/>
                  <a:pt x="1139572" y="7190141"/>
                </a:cubicBezTo>
                <a:cubicBezTo>
                  <a:pt x="1142232" y="7192670"/>
                  <a:pt x="1144228" y="7195866"/>
                  <a:pt x="1145691" y="7199459"/>
                </a:cubicBezTo>
                <a:cubicBezTo>
                  <a:pt x="1147155" y="7203054"/>
                  <a:pt x="1147954" y="7206914"/>
                  <a:pt x="1147954" y="7210908"/>
                </a:cubicBezTo>
                <a:cubicBezTo>
                  <a:pt x="1147954" y="7215035"/>
                  <a:pt x="1147155" y="7219028"/>
                  <a:pt x="1145691" y="7222622"/>
                </a:cubicBezTo>
                <a:cubicBezTo>
                  <a:pt x="1144228" y="7226350"/>
                  <a:pt x="1142099" y="7229412"/>
                  <a:pt x="1139572" y="7232074"/>
                </a:cubicBezTo>
                <a:cubicBezTo>
                  <a:pt x="1137047" y="7234737"/>
                  <a:pt x="1133852" y="7236866"/>
                  <a:pt x="1130258" y="7238331"/>
                </a:cubicBezTo>
                <a:cubicBezTo>
                  <a:pt x="1126662" y="7239795"/>
                  <a:pt x="1122800" y="7240594"/>
                  <a:pt x="1118539" y="7240594"/>
                </a:cubicBezTo>
                <a:cubicBezTo>
                  <a:pt x="1109618" y="7240594"/>
                  <a:pt x="1102294" y="7237798"/>
                  <a:pt x="1096703" y="7232207"/>
                </a:cubicBezTo>
                <a:cubicBezTo>
                  <a:pt x="1091113" y="7226617"/>
                  <a:pt x="1088318" y="7219560"/>
                  <a:pt x="1088318" y="7211040"/>
                </a:cubicBezTo>
                <a:cubicBezTo>
                  <a:pt x="1088318" y="7202787"/>
                  <a:pt x="1091113" y="7195733"/>
                  <a:pt x="1096703" y="7190009"/>
                </a:cubicBezTo>
                <a:cubicBezTo>
                  <a:pt x="1102294" y="7184285"/>
                  <a:pt x="1109484" y="7181489"/>
                  <a:pt x="1118539" y="7181489"/>
                </a:cubicBezTo>
                <a:close/>
                <a:moveTo>
                  <a:pt x="901025" y="7181489"/>
                </a:moveTo>
                <a:cubicBezTo>
                  <a:pt x="905152" y="7181489"/>
                  <a:pt x="909147" y="7182288"/>
                  <a:pt x="912741" y="7183752"/>
                </a:cubicBezTo>
                <a:cubicBezTo>
                  <a:pt x="916468" y="7185349"/>
                  <a:pt x="919530" y="7187479"/>
                  <a:pt x="922059" y="7190141"/>
                </a:cubicBezTo>
                <a:cubicBezTo>
                  <a:pt x="924721" y="7192670"/>
                  <a:pt x="926718" y="7195866"/>
                  <a:pt x="928181" y="7199459"/>
                </a:cubicBezTo>
                <a:cubicBezTo>
                  <a:pt x="929646" y="7203054"/>
                  <a:pt x="930444" y="7206914"/>
                  <a:pt x="930444" y="7210908"/>
                </a:cubicBezTo>
                <a:cubicBezTo>
                  <a:pt x="930444" y="7215035"/>
                  <a:pt x="929646" y="7219028"/>
                  <a:pt x="928181" y="7222622"/>
                </a:cubicBezTo>
                <a:cubicBezTo>
                  <a:pt x="926718" y="7226350"/>
                  <a:pt x="924588" y="7229412"/>
                  <a:pt x="922059" y="7232074"/>
                </a:cubicBezTo>
                <a:cubicBezTo>
                  <a:pt x="919530" y="7234737"/>
                  <a:pt x="916335" y="7236866"/>
                  <a:pt x="912741" y="7238331"/>
                </a:cubicBezTo>
                <a:cubicBezTo>
                  <a:pt x="909147" y="7239795"/>
                  <a:pt x="905285" y="7240594"/>
                  <a:pt x="901025" y="7240594"/>
                </a:cubicBezTo>
                <a:cubicBezTo>
                  <a:pt x="892107" y="7240594"/>
                  <a:pt x="884785" y="7237798"/>
                  <a:pt x="879195" y="7232207"/>
                </a:cubicBezTo>
                <a:cubicBezTo>
                  <a:pt x="873606" y="7226617"/>
                  <a:pt x="870810" y="7219560"/>
                  <a:pt x="870810" y="7211040"/>
                </a:cubicBezTo>
                <a:cubicBezTo>
                  <a:pt x="870810" y="7202787"/>
                  <a:pt x="873606" y="7195733"/>
                  <a:pt x="879195" y="7190009"/>
                </a:cubicBezTo>
                <a:cubicBezTo>
                  <a:pt x="884785" y="7184285"/>
                  <a:pt x="891974" y="7181489"/>
                  <a:pt x="901025" y="7181489"/>
                </a:cubicBezTo>
                <a:close/>
                <a:moveTo>
                  <a:pt x="683387" y="7181489"/>
                </a:moveTo>
                <a:cubicBezTo>
                  <a:pt x="687647" y="7181489"/>
                  <a:pt x="691508" y="7182288"/>
                  <a:pt x="695102" y="7183752"/>
                </a:cubicBezTo>
                <a:cubicBezTo>
                  <a:pt x="698829" y="7185349"/>
                  <a:pt x="701890" y="7187479"/>
                  <a:pt x="704418" y="7190141"/>
                </a:cubicBezTo>
                <a:cubicBezTo>
                  <a:pt x="707081" y="7192670"/>
                  <a:pt x="709078" y="7195866"/>
                  <a:pt x="710542" y="7199459"/>
                </a:cubicBezTo>
                <a:cubicBezTo>
                  <a:pt x="712006" y="7203054"/>
                  <a:pt x="712805" y="7206914"/>
                  <a:pt x="712805" y="7210908"/>
                </a:cubicBezTo>
                <a:cubicBezTo>
                  <a:pt x="712805" y="7215035"/>
                  <a:pt x="712006" y="7219028"/>
                  <a:pt x="710542" y="7222622"/>
                </a:cubicBezTo>
                <a:cubicBezTo>
                  <a:pt x="709078" y="7226350"/>
                  <a:pt x="706948" y="7229412"/>
                  <a:pt x="704418" y="7232074"/>
                </a:cubicBezTo>
                <a:cubicBezTo>
                  <a:pt x="701890" y="7234737"/>
                  <a:pt x="698696" y="7236866"/>
                  <a:pt x="695102" y="7238331"/>
                </a:cubicBezTo>
                <a:cubicBezTo>
                  <a:pt x="691508" y="7239795"/>
                  <a:pt x="687647" y="7240594"/>
                  <a:pt x="683387" y="7240594"/>
                </a:cubicBezTo>
                <a:cubicBezTo>
                  <a:pt x="674469" y="7240594"/>
                  <a:pt x="667146" y="7237798"/>
                  <a:pt x="661555" y="7232207"/>
                </a:cubicBezTo>
                <a:cubicBezTo>
                  <a:pt x="655964" y="7226617"/>
                  <a:pt x="653169" y="7219560"/>
                  <a:pt x="653169" y="7211040"/>
                </a:cubicBezTo>
                <a:cubicBezTo>
                  <a:pt x="653169" y="7202787"/>
                  <a:pt x="655964" y="7195733"/>
                  <a:pt x="661555" y="7190009"/>
                </a:cubicBezTo>
                <a:cubicBezTo>
                  <a:pt x="667146" y="7184285"/>
                  <a:pt x="674335" y="7181489"/>
                  <a:pt x="683387" y="7181489"/>
                </a:cubicBezTo>
                <a:close/>
                <a:moveTo>
                  <a:pt x="465746" y="7181489"/>
                </a:moveTo>
                <a:cubicBezTo>
                  <a:pt x="470006" y="7181489"/>
                  <a:pt x="473867" y="7182288"/>
                  <a:pt x="477462" y="7183752"/>
                </a:cubicBezTo>
                <a:cubicBezTo>
                  <a:pt x="481189" y="7185349"/>
                  <a:pt x="484250" y="7187479"/>
                  <a:pt x="486779" y="7190141"/>
                </a:cubicBezTo>
                <a:cubicBezTo>
                  <a:pt x="489440" y="7192670"/>
                  <a:pt x="491438" y="7195866"/>
                  <a:pt x="492902" y="7199459"/>
                </a:cubicBezTo>
                <a:cubicBezTo>
                  <a:pt x="494365" y="7203054"/>
                  <a:pt x="495164" y="7206914"/>
                  <a:pt x="495164" y="7210908"/>
                </a:cubicBezTo>
                <a:cubicBezTo>
                  <a:pt x="495164" y="7215035"/>
                  <a:pt x="494365" y="7219028"/>
                  <a:pt x="492902" y="7222622"/>
                </a:cubicBezTo>
                <a:cubicBezTo>
                  <a:pt x="491438" y="7226350"/>
                  <a:pt x="489308" y="7229412"/>
                  <a:pt x="486779" y="7232074"/>
                </a:cubicBezTo>
                <a:cubicBezTo>
                  <a:pt x="484116" y="7234737"/>
                  <a:pt x="481056" y="7236866"/>
                  <a:pt x="477462" y="7238331"/>
                </a:cubicBezTo>
                <a:cubicBezTo>
                  <a:pt x="473867" y="7239795"/>
                  <a:pt x="470006" y="7240594"/>
                  <a:pt x="465746" y="7240594"/>
                </a:cubicBezTo>
                <a:cubicBezTo>
                  <a:pt x="456828" y="7240594"/>
                  <a:pt x="449506" y="7237798"/>
                  <a:pt x="443915" y="7232207"/>
                </a:cubicBezTo>
                <a:cubicBezTo>
                  <a:pt x="438324" y="7226617"/>
                  <a:pt x="435529" y="7219560"/>
                  <a:pt x="435529" y="7211040"/>
                </a:cubicBezTo>
                <a:cubicBezTo>
                  <a:pt x="435529" y="7202787"/>
                  <a:pt x="438324" y="7195733"/>
                  <a:pt x="443915" y="7190009"/>
                </a:cubicBezTo>
                <a:cubicBezTo>
                  <a:pt x="449506" y="7184285"/>
                  <a:pt x="456695" y="7181489"/>
                  <a:pt x="465746" y="7181489"/>
                </a:cubicBezTo>
                <a:close/>
                <a:moveTo>
                  <a:pt x="248106" y="7181489"/>
                </a:moveTo>
                <a:cubicBezTo>
                  <a:pt x="252365" y="7181489"/>
                  <a:pt x="256359" y="7182288"/>
                  <a:pt x="259820" y="7183752"/>
                </a:cubicBezTo>
                <a:cubicBezTo>
                  <a:pt x="263547" y="7185349"/>
                  <a:pt x="266609" y="7187479"/>
                  <a:pt x="269138" y="7190141"/>
                </a:cubicBezTo>
                <a:cubicBezTo>
                  <a:pt x="271800" y="7192670"/>
                  <a:pt x="273797" y="7195866"/>
                  <a:pt x="275261" y="7199459"/>
                </a:cubicBezTo>
                <a:cubicBezTo>
                  <a:pt x="276725" y="7203054"/>
                  <a:pt x="277524" y="7206914"/>
                  <a:pt x="277524" y="7210908"/>
                </a:cubicBezTo>
                <a:cubicBezTo>
                  <a:pt x="277524" y="7215035"/>
                  <a:pt x="276725" y="7219028"/>
                  <a:pt x="275261" y="7222622"/>
                </a:cubicBezTo>
                <a:cubicBezTo>
                  <a:pt x="273797" y="7226350"/>
                  <a:pt x="271667" y="7229412"/>
                  <a:pt x="269138" y="7232074"/>
                </a:cubicBezTo>
                <a:cubicBezTo>
                  <a:pt x="266475" y="7234737"/>
                  <a:pt x="263414" y="7236866"/>
                  <a:pt x="259820" y="7238331"/>
                </a:cubicBezTo>
                <a:cubicBezTo>
                  <a:pt x="256225" y="7239795"/>
                  <a:pt x="252365" y="7240594"/>
                  <a:pt x="248106" y="7240594"/>
                </a:cubicBezTo>
                <a:cubicBezTo>
                  <a:pt x="239188" y="7240594"/>
                  <a:pt x="231867" y="7237798"/>
                  <a:pt x="226277" y="7232207"/>
                </a:cubicBezTo>
                <a:cubicBezTo>
                  <a:pt x="220687" y="7226617"/>
                  <a:pt x="217892" y="7219560"/>
                  <a:pt x="217892" y="7211040"/>
                </a:cubicBezTo>
                <a:cubicBezTo>
                  <a:pt x="217892" y="7202787"/>
                  <a:pt x="220687" y="7195733"/>
                  <a:pt x="226277" y="7190009"/>
                </a:cubicBezTo>
                <a:cubicBezTo>
                  <a:pt x="231867" y="7184285"/>
                  <a:pt x="239055" y="7181489"/>
                  <a:pt x="248106" y="7181489"/>
                </a:cubicBezTo>
                <a:close/>
                <a:moveTo>
                  <a:pt x="30465" y="7181489"/>
                </a:moveTo>
                <a:cubicBezTo>
                  <a:pt x="34725" y="7181489"/>
                  <a:pt x="38719" y="7182288"/>
                  <a:pt x="42180" y="7183752"/>
                </a:cubicBezTo>
                <a:cubicBezTo>
                  <a:pt x="45907" y="7185349"/>
                  <a:pt x="48969" y="7187479"/>
                  <a:pt x="51499" y="7190141"/>
                </a:cubicBezTo>
                <a:cubicBezTo>
                  <a:pt x="54161" y="7192670"/>
                  <a:pt x="56158" y="7195866"/>
                  <a:pt x="57622" y="7199459"/>
                </a:cubicBezTo>
                <a:cubicBezTo>
                  <a:pt x="59086" y="7203054"/>
                  <a:pt x="59885" y="7206914"/>
                  <a:pt x="59885" y="7210908"/>
                </a:cubicBezTo>
                <a:cubicBezTo>
                  <a:pt x="59885" y="7215035"/>
                  <a:pt x="59086" y="7219028"/>
                  <a:pt x="57622" y="7222622"/>
                </a:cubicBezTo>
                <a:cubicBezTo>
                  <a:pt x="56158" y="7226350"/>
                  <a:pt x="54027" y="7229412"/>
                  <a:pt x="51499" y="7232074"/>
                </a:cubicBezTo>
                <a:cubicBezTo>
                  <a:pt x="48835" y="7234737"/>
                  <a:pt x="45774" y="7236866"/>
                  <a:pt x="42180" y="7238331"/>
                </a:cubicBezTo>
                <a:cubicBezTo>
                  <a:pt x="38586" y="7239795"/>
                  <a:pt x="34725" y="7240594"/>
                  <a:pt x="30465" y="7240594"/>
                </a:cubicBezTo>
                <a:cubicBezTo>
                  <a:pt x="21547" y="7240594"/>
                  <a:pt x="14227" y="7237798"/>
                  <a:pt x="8639" y="7232207"/>
                </a:cubicBezTo>
                <a:cubicBezTo>
                  <a:pt x="3048" y="7226617"/>
                  <a:pt x="253" y="7219560"/>
                  <a:pt x="253" y="7211040"/>
                </a:cubicBezTo>
                <a:cubicBezTo>
                  <a:pt x="253" y="7202787"/>
                  <a:pt x="3048" y="7195733"/>
                  <a:pt x="8639" y="7190009"/>
                </a:cubicBezTo>
                <a:cubicBezTo>
                  <a:pt x="14227" y="7184285"/>
                  <a:pt x="21413" y="7181489"/>
                  <a:pt x="30465" y="7181489"/>
                </a:cubicBezTo>
                <a:close/>
                <a:moveTo>
                  <a:pt x="10475977" y="6980351"/>
                </a:moveTo>
                <a:cubicBezTo>
                  <a:pt x="10470119" y="6980351"/>
                  <a:pt x="10467589" y="6982214"/>
                  <a:pt x="10465992" y="6983945"/>
                </a:cubicBezTo>
                <a:cubicBezTo>
                  <a:pt x="10463463" y="6986607"/>
                  <a:pt x="10462399" y="6989403"/>
                  <a:pt x="10462399" y="6993396"/>
                </a:cubicBezTo>
                <a:cubicBezTo>
                  <a:pt x="10462399" y="6997523"/>
                  <a:pt x="10463463" y="7000319"/>
                  <a:pt x="10465992" y="7002848"/>
                </a:cubicBezTo>
                <a:cubicBezTo>
                  <a:pt x="10467589" y="7004579"/>
                  <a:pt x="10470119" y="7006442"/>
                  <a:pt x="10475977" y="7006442"/>
                </a:cubicBezTo>
                <a:cubicBezTo>
                  <a:pt x="10478107" y="7006442"/>
                  <a:pt x="10479838" y="7006177"/>
                  <a:pt x="10481302" y="7005378"/>
                </a:cubicBezTo>
                <a:cubicBezTo>
                  <a:pt x="10482899" y="7004845"/>
                  <a:pt x="10484098" y="7004046"/>
                  <a:pt x="10485029" y="7002980"/>
                </a:cubicBezTo>
                <a:cubicBezTo>
                  <a:pt x="10486094" y="7001783"/>
                  <a:pt x="10487026" y="7000451"/>
                  <a:pt x="10487691" y="6998721"/>
                </a:cubicBezTo>
                <a:cubicBezTo>
                  <a:pt x="10488357" y="6997123"/>
                  <a:pt x="10488623" y="6995260"/>
                  <a:pt x="10488623" y="6993263"/>
                </a:cubicBezTo>
                <a:cubicBezTo>
                  <a:pt x="10488623" y="6991399"/>
                  <a:pt x="10488357" y="6989669"/>
                  <a:pt x="10487691" y="6988071"/>
                </a:cubicBezTo>
                <a:cubicBezTo>
                  <a:pt x="10487026" y="6986474"/>
                  <a:pt x="10486094" y="6985143"/>
                  <a:pt x="10485029" y="6983945"/>
                </a:cubicBezTo>
                <a:cubicBezTo>
                  <a:pt x="10483964" y="6982880"/>
                  <a:pt x="10482633" y="6981948"/>
                  <a:pt x="10481035" y="6981283"/>
                </a:cubicBezTo>
                <a:cubicBezTo>
                  <a:pt x="10479571" y="6980617"/>
                  <a:pt x="10477974" y="6980351"/>
                  <a:pt x="10475977" y="6980351"/>
                </a:cubicBezTo>
                <a:close/>
                <a:moveTo>
                  <a:pt x="10258466" y="6980351"/>
                </a:moveTo>
                <a:cubicBezTo>
                  <a:pt x="10252608" y="6980351"/>
                  <a:pt x="10250078" y="6982214"/>
                  <a:pt x="10248481" y="6983945"/>
                </a:cubicBezTo>
                <a:cubicBezTo>
                  <a:pt x="10245952" y="6986607"/>
                  <a:pt x="10244887" y="6989403"/>
                  <a:pt x="10244887" y="6993396"/>
                </a:cubicBezTo>
                <a:cubicBezTo>
                  <a:pt x="10244887" y="6997523"/>
                  <a:pt x="10245952" y="7000319"/>
                  <a:pt x="10248481" y="7002848"/>
                </a:cubicBezTo>
                <a:cubicBezTo>
                  <a:pt x="10250078" y="7004579"/>
                  <a:pt x="10252608" y="7006442"/>
                  <a:pt x="10258466" y="7006442"/>
                </a:cubicBezTo>
                <a:cubicBezTo>
                  <a:pt x="10260462" y="7006442"/>
                  <a:pt x="10262192" y="7006177"/>
                  <a:pt x="10263790" y="7005378"/>
                </a:cubicBezTo>
                <a:cubicBezTo>
                  <a:pt x="10265388" y="7004845"/>
                  <a:pt x="10266586" y="7004046"/>
                  <a:pt x="10267517" y="7002980"/>
                </a:cubicBezTo>
                <a:cubicBezTo>
                  <a:pt x="10268583" y="7001783"/>
                  <a:pt x="10269515" y="7000451"/>
                  <a:pt x="10270180" y="6998721"/>
                </a:cubicBezTo>
                <a:cubicBezTo>
                  <a:pt x="10270845" y="6997123"/>
                  <a:pt x="10271112" y="6995260"/>
                  <a:pt x="10271112" y="6993263"/>
                </a:cubicBezTo>
                <a:cubicBezTo>
                  <a:pt x="10271112" y="6991399"/>
                  <a:pt x="10270845" y="6989669"/>
                  <a:pt x="10270180" y="6988071"/>
                </a:cubicBezTo>
                <a:cubicBezTo>
                  <a:pt x="10269515" y="6986474"/>
                  <a:pt x="10268583" y="6985143"/>
                  <a:pt x="10267517" y="6983945"/>
                </a:cubicBezTo>
                <a:cubicBezTo>
                  <a:pt x="10266452" y="6982880"/>
                  <a:pt x="10265121" y="6981948"/>
                  <a:pt x="10263524" y="6981283"/>
                </a:cubicBezTo>
                <a:cubicBezTo>
                  <a:pt x="10262060" y="6980617"/>
                  <a:pt x="10260462" y="6980351"/>
                  <a:pt x="10258466" y="6980351"/>
                </a:cubicBezTo>
                <a:close/>
                <a:moveTo>
                  <a:pt x="10040820" y="6980351"/>
                </a:moveTo>
                <a:cubicBezTo>
                  <a:pt x="10034962" y="6980351"/>
                  <a:pt x="10032433" y="6982214"/>
                  <a:pt x="10030835" y="6983945"/>
                </a:cubicBezTo>
                <a:cubicBezTo>
                  <a:pt x="10028306" y="6986607"/>
                  <a:pt x="10027242" y="6989403"/>
                  <a:pt x="10027242" y="6993396"/>
                </a:cubicBezTo>
                <a:cubicBezTo>
                  <a:pt x="10027242" y="6997523"/>
                  <a:pt x="10028306" y="7000319"/>
                  <a:pt x="10030835" y="7002848"/>
                </a:cubicBezTo>
                <a:cubicBezTo>
                  <a:pt x="10032433" y="7004579"/>
                  <a:pt x="10034962" y="7006442"/>
                  <a:pt x="10040820" y="7006442"/>
                </a:cubicBezTo>
                <a:cubicBezTo>
                  <a:pt x="10042817" y="7006442"/>
                  <a:pt x="10044681" y="7006177"/>
                  <a:pt x="10046145" y="7005378"/>
                </a:cubicBezTo>
                <a:cubicBezTo>
                  <a:pt x="10047742" y="7004845"/>
                  <a:pt x="10048941" y="7004046"/>
                  <a:pt x="10049872" y="7002980"/>
                </a:cubicBezTo>
                <a:cubicBezTo>
                  <a:pt x="10050937" y="7001783"/>
                  <a:pt x="10051869" y="7000451"/>
                  <a:pt x="10052534" y="6998721"/>
                </a:cubicBezTo>
                <a:cubicBezTo>
                  <a:pt x="10053333" y="6997123"/>
                  <a:pt x="10053599" y="6995260"/>
                  <a:pt x="10053599" y="6993263"/>
                </a:cubicBezTo>
                <a:cubicBezTo>
                  <a:pt x="10053599" y="6991399"/>
                  <a:pt x="10053200" y="6989669"/>
                  <a:pt x="10052534" y="6988071"/>
                </a:cubicBezTo>
                <a:cubicBezTo>
                  <a:pt x="10051869" y="6986474"/>
                  <a:pt x="10050937" y="6985143"/>
                  <a:pt x="10049872" y="6983945"/>
                </a:cubicBezTo>
                <a:cubicBezTo>
                  <a:pt x="10048807" y="6982880"/>
                  <a:pt x="10047476" y="6981948"/>
                  <a:pt x="10045878" y="6981283"/>
                </a:cubicBezTo>
                <a:cubicBezTo>
                  <a:pt x="10044414" y="6980617"/>
                  <a:pt x="10042817" y="6980351"/>
                  <a:pt x="10040820" y="6980351"/>
                </a:cubicBezTo>
                <a:close/>
                <a:moveTo>
                  <a:pt x="9823176" y="6980351"/>
                </a:moveTo>
                <a:cubicBezTo>
                  <a:pt x="9817318" y="6980351"/>
                  <a:pt x="9814788" y="6982214"/>
                  <a:pt x="9813191" y="6983945"/>
                </a:cubicBezTo>
                <a:cubicBezTo>
                  <a:pt x="9810662" y="6986607"/>
                  <a:pt x="9809597" y="6989403"/>
                  <a:pt x="9809597" y="6993396"/>
                </a:cubicBezTo>
                <a:cubicBezTo>
                  <a:pt x="9809597" y="6997523"/>
                  <a:pt x="9810662" y="7000319"/>
                  <a:pt x="9813191" y="7002848"/>
                </a:cubicBezTo>
                <a:cubicBezTo>
                  <a:pt x="9814788" y="7004579"/>
                  <a:pt x="9817318" y="7006442"/>
                  <a:pt x="9823176" y="7006442"/>
                </a:cubicBezTo>
                <a:cubicBezTo>
                  <a:pt x="9825173" y="7006442"/>
                  <a:pt x="9827036" y="7006177"/>
                  <a:pt x="9828501" y="7005378"/>
                </a:cubicBezTo>
                <a:cubicBezTo>
                  <a:pt x="9830098" y="7004845"/>
                  <a:pt x="9831296" y="7004046"/>
                  <a:pt x="9832227" y="7002980"/>
                </a:cubicBezTo>
                <a:cubicBezTo>
                  <a:pt x="9833293" y="7001783"/>
                  <a:pt x="9834225" y="7000451"/>
                  <a:pt x="9834890" y="6998721"/>
                </a:cubicBezTo>
                <a:cubicBezTo>
                  <a:pt x="9835689" y="6997123"/>
                  <a:pt x="9835955" y="6995260"/>
                  <a:pt x="9835955" y="6993263"/>
                </a:cubicBezTo>
                <a:cubicBezTo>
                  <a:pt x="9835955" y="6991399"/>
                  <a:pt x="9835555" y="6989669"/>
                  <a:pt x="9834890" y="6988071"/>
                </a:cubicBezTo>
                <a:cubicBezTo>
                  <a:pt x="9834225" y="6986474"/>
                  <a:pt x="9833293" y="6985143"/>
                  <a:pt x="9832227" y="6983945"/>
                </a:cubicBezTo>
                <a:cubicBezTo>
                  <a:pt x="9831162" y="6982880"/>
                  <a:pt x="9829831" y="6981948"/>
                  <a:pt x="9828234" y="6981283"/>
                </a:cubicBezTo>
                <a:cubicBezTo>
                  <a:pt x="9826770" y="6980617"/>
                  <a:pt x="9825173" y="6980351"/>
                  <a:pt x="9823176" y="6980351"/>
                </a:cubicBezTo>
                <a:close/>
                <a:moveTo>
                  <a:pt x="9605531" y="6980351"/>
                </a:moveTo>
                <a:cubicBezTo>
                  <a:pt x="9599673" y="6980351"/>
                  <a:pt x="9597143" y="6982214"/>
                  <a:pt x="9595546" y="6983945"/>
                </a:cubicBezTo>
                <a:cubicBezTo>
                  <a:pt x="9593017" y="6986607"/>
                  <a:pt x="9591952" y="6989403"/>
                  <a:pt x="9591952" y="6993396"/>
                </a:cubicBezTo>
                <a:cubicBezTo>
                  <a:pt x="9591952" y="6997523"/>
                  <a:pt x="9593017" y="7000319"/>
                  <a:pt x="9595546" y="7002848"/>
                </a:cubicBezTo>
                <a:cubicBezTo>
                  <a:pt x="9597143" y="7004579"/>
                  <a:pt x="9599673" y="7006442"/>
                  <a:pt x="9605531" y="7006442"/>
                </a:cubicBezTo>
                <a:cubicBezTo>
                  <a:pt x="9607660" y="7006442"/>
                  <a:pt x="9609391" y="7006177"/>
                  <a:pt x="9610855" y="7005378"/>
                </a:cubicBezTo>
                <a:cubicBezTo>
                  <a:pt x="9612319" y="7004845"/>
                  <a:pt x="9613651" y="7004046"/>
                  <a:pt x="9614582" y="7002980"/>
                </a:cubicBezTo>
                <a:cubicBezTo>
                  <a:pt x="9615647" y="7001783"/>
                  <a:pt x="9616579" y="7000451"/>
                  <a:pt x="9617245" y="6998721"/>
                </a:cubicBezTo>
                <a:cubicBezTo>
                  <a:pt x="9618044" y="6997123"/>
                  <a:pt x="9618309" y="6995260"/>
                  <a:pt x="9618309" y="6993263"/>
                </a:cubicBezTo>
                <a:cubicBezTo>
                  <a:pt x="9618309" y="6991399"/>
                  <a:pt x="9617910" y="6989669"/>
                  <a:pt x="9617245" y="6988071"/>
                </a:cubicBezTo>
                <a:cubicBezTo>
                  <a:pt x="9616579" y="6986474"/>
                  <a:pt x="9615647" y="6985143"/>
                  <a:pt x="9614582" y="6983945"/>
                </a:cubicBezTo>
                <a:cubicBezTo>
                  <a:pt x="9613517" y="6982880"/>
                  <a:pt x="9612186" y="6981948"/>
                  <a:pt x="9610589" y="6981283"/>
                </a:cubicBezTo>
                <a:cubicBezTo>
                  <a:pt x="9609124" y="6980617"/>
                  <a:pt x="9607394" y="6980351"/>
                  <a:pt x="9605531" y="6980351"/>
                </a:cubicBezTo>
                <a:close/>
                <a:moveTo>
                  <a:pt x="9387885" y="6980351"/>
                </a:moveTo>
                <a:cubicBezTo>
                  <a:pt x="9382027" y="6980351"/>
                  <a:pt x="9379497" y="6982214"/>
                  <a:pt x="9377900" y="6983945"/>
                </a:cubicBezTo>
                <a:cubicBezTo>
                  <a:pt x="9375371" y="6986607"/>
                  <a:pt x="9374307" y="6989403"/>
                  <a:pt x="9374307" y="6993396"/>
                </a:cubicBezTo>
                <a:cubicBezTo>
                  <a:pt x="9374307" y="6997523"/>
                  <a:pt x="9375371" y="7000319"/>
                  <a:pt x="9377900" y="7002848"/>
                </a:cubicBezTo>
                <a:cubicBezTo>
                  <a:pt x="9379497" y="7004579"/>
                  <a:pt x="9382027" y="7006442"/>
                  <a:pt x="9387885" y="7006442"/>
                </a:cubicBezTo>
                <a:cubicBezTo>
                  <a:pt x="9390015" y="7006442"/>
                  <a:pt x="9391746" y="7006177"/>
                  <a:pt x="9393210" y="7005378"/>
                </a:cubicBezTo>
                <a:cubicBezTo>
                  <a:pt x="9394674" y="7004845"/>
                  <a:pt x="9396005" y="7004046"/>
                  <a:pt x="9396937" y="7002980"/>
                </a:cubicBezTo>
                <a:cubicBezTo>
                  <a:pt x="9398002" y="7001783"/>
                  <a:pt x="9398934" y="7000451"/>
                  <a:pt x="9399599" y="6998721"/>
                </a:cubicBezTo>
                <a:cubicBezTo>
                  <a:pt x="9400398" y="6997123"/>
                  <a:pt x="9400664" y="6995260"/>
                  <a:pt x="9400664" y="6993263"/>
                </a:cubicBezTo>
                <a:cubicBezTo>
                  <a:pt x="9400664" y="6991399"/>
                  <a:pt x="9400265" y="6989669"/>
                  <a:pt x="9399599" y="6988071"/>
                </a:cubicBezTo>
                <a:cubicBezTo>
                  <a:pt x="9398934" y="6986474"/>
                  <a:pt x="9398002" y="6985143"/>
                  <a:pt x="9396937" y="6983945"/>
                </a:cubicBezTo>
                <a:cubicBezTo>
                  <a:pt x="9395872" y="6982880"/>
                  <a:pt x="9394541" y="6981948"/>
                  <a:pt x="9392943" y="6981283"/>
                </a:cubicBezTo>
                <a:cubicBezTo>
                  <a:pt x="9391479" y="6980617"/>
                  <a:pt x="9389749" y="6980351"/>
                  <a:pt x="9387885" y="6980351"/>
                </a:cubicBezTo>
                <a:close/>
                <a:moveTo>
                  <a:pt x="9170374" y="6980351"/>
                </a:moveTo>
                <a:cubicBezTo>
                  <a:pt x="9164649" y="6980351"/>
                  <a:pt x="9161986" y="6982214"/>
                  <a:pt x="9160389" y="6983945"/>
                </a:cubicBezTo>
                <a:cubicBezTo>
                  <a:pt x="9157860" y="6986607"/>
                  <a:pt x="9156795" y="6989403"/>
                  <a:pt x="9156795" y="6993396"/>
                </a:cubicBezTo>
                <a:cubicBezTo>
                  <a:pt x="9156795" y="6997523"/>
                  <a:pt x="9157860" y="7000319"/>
                  <a:pt x="9160389" y="7002848"/>
                </a:cubicBezTo>
                <a:cubicBezTo>
                  <a:pt x="9161986" y="7004579"/>
                  <a:pt x="9164516" y="7006442"/>
                  <a:pt x="9170374" y="7006442"/>
                </a:cubicBezTo>
                <a:cubicBezTo>
                  <a:pt x="9172370" y="7006442"/>
                  <a:pt x="9174100" y="7006177"/>
                  <a:pt x="9175698" y="7005378"/>
                </a:cubicBezTo>
                <a:cubicBezTo>
                  <a:pt x="9177163" y="7004845"/>
                  <a:pt x="9178494" y="7004046"/>
                  <a:pt x="9179425" y="7002980"/>
                </a:cubicBezTo>
                <a:cubicBezTo>
                  <a:pt x="9180491" y="7001783"/>
                  <a:pt x="9181422" y="7000451"/>
                  <a:pt x="9182088" y="6998721"/>
                </a:cubicBezTo>
                <a:cubicBezTo>
                  <a:pt x="9182887" y="6997123"/>
                  <a:pt x="9183152" y="6995260"/>
                  <a:pt x="9183152" y="6993263"/>
                </a:cubicBezTo>
                <a:cubicBezTo>
                  <a:pt x="9183152" y="6991399"/>
                  <a:pt x="9182753" y="6989669"/>
                  <a:pt x="9182088" y="6988071"/>
                </a:cubicBezTo>
                <a:cubicBezTo>
                  <a:pt x="9181422" y="6986474"/>
                  <a:pt x="9180491" y="6985143"/>
                  <a:pt x="9179425" y="6983945"/>
                </a:cubicBezTo>
                <a:cubicBezTo>
                  <a:pt x="9178360" y="6982880"/>
                  <a:pt x="9177029" y="6981948"/>
                  <a:pt x="9175432" y="6981283"/>
                </a:cubicBezTo>
                <a:cubicBezTo>
                  <a:pt x="9173967" y="6980617"/>
                  <a:pt x="9172237" y="6980351"/>
                  <a:pt x="9170374" y="6980351"/>
                </a:cubicBezTo>
                <a:close/>
                <a:moveTo>
                  <a:pt x="8952728" y="6980351"/>
                </a:moveTo>
                <a:cubicBezTo>
                  <a:pt x="8947003" y="6980351"/>
                  <a:pt x="8944340" y="6982214"/>
                  <a:pt x="8942743" y="6983945"/>
                </a:cubicBezTo>
                <a:cubicBezTo>
                  <a:pt x="8940214" y="6986607"/>
                  <a:pt x="8939150" y="6989403"/>
                  <a:pt x="8939150" y="6993396"/>
                </a:cubicBezTo>
                <a:cubicBezTo>
                  <a:pt x="8939150" y="6997523"/>
                  <a:pt x="8940214" y="7000319"/>
                  <a:pt x="8942743" y="7002848"/>
                </a:cubicBezTo>
                <a:cubicBezTo>
                  <a:pt x="8944340" y="7004579"/>
                  <a:pt x="8946870" y="7006442"/>
                  <a:pt x="8952728" y="7006442"/>
                </a:cubicBezTo>
                <a:cubicBezTo>
                  <a:pt x="8954725" y="7006442"/>
                  <a:pt x="8956589" y="7006177"/>
                  <a:pt x="8958053" y="7005378"/>
                </a:cubicBezTo>
                <a:cubicBezTo>
                  <a:pt x="8959517" y="7004845"/>
                  <a:pt x="8960849" y="7004046"/>
                  <a:pt x="8961780" y="7002980"/>
                </a:cubicBezTo>
                <a:cubicBezTo>
                  <a:pt x="8962845" y="7001783"/>
                  <a:pt x="8963777" y="7000451"/>
                  <a:pt x="8964442" y="6998721"/>
                </a:cubicBezTo>
                <a:cubicBezTo>
                  <a:pt x="8965241" y="6997123"/>
                  <a:pt x="8965507" y="6995260"/>
                  <a:pt x="8965507" y="6993263"/>
                </a:cubicBezTo>
                <a:cubicBezTo>
                  <a:pt x="8965507" y="6991399"/>
                  <a:pt x="8965108" y="6989669"/>
                  <a:pt x="8964442" y="6988071"/>
                </a:cubicBezTo>
                <a:cubicBezTo>
                  <a:pt x="8963777" y="6986474"/>
                  <a:pt x="8962845" y="6985143"/>
                  <a:pt x="8961780" y="6983945"/>
                </a:cubicBezTo>
                <a:cubicBezTo>
                  <a:pt x="8960715" y="6982880"/>
                  <a:pt x="8959384" y="6981948"/>
                  <a:pt x="8957786" y="6981283"/>
                </a:cubicBezTo>
                <a:cubicBezTo>
                  <a:pt x="8956322" y="6980617"/>
                  <a:pt x="8954592" y="6980351"/>
                  <a:pt x="8952728" y="6980351"/>
                </a:cubicBezTo>
                <a:close/>
                <a:moveTo>
                  <a:pt x="8735083" y="6980351"/>
                </a:moveTo>
                <a:cubicBezTo>
                  <a:pt x="8729358" y="6980351"/>
                  <a:pt x="8726695" y="6982214"/>
                  <a:pt x="8725098" y="6983945"/>
                </a:cubicBezTo>
                <a:cubicBezTo>
                  <a:pt x="8722569" y="6986607"/>
                  <a:pt x="8721504" y="6989403"/>
                  <a:pt x="8721504" y="6993396"/>
                </a:cubicBezTo>
                <a:cubicBezTo>
                  <a:pt x="8721504" y="6997523"/>
                  <a:pt x="8722569" y="7000319"/>
                  <a:pt x="8725098" y="7002848"/>
                </a:cubicBezTo>
                <a:cubicBezTo>
                  <a:pt x="8726695" y="7004579"/>
                  <a:pt x="8729225" y="7006442"/>
                  <a:pt x="8735083" y="7006442"/>
                </a:cubicBezTo>
                <a:cubicBezTo>
                  <a:pt x="8737079" y="7006442"/>
                  <a:pt x="8738943" y="7006177"/>
                  <a:pt x="8740407" y="7005378"/>
                </a:cubicBezTo>
                <a:cubicBezTo>
                  <a:pt x="8741872" y="7004845"/>
                  <a:pt x="8743203" y="7004046"/>
                  <a:pt x="8744134" y="7002980"/>
                </a:cubicBezTo>
                <a:cubicBezTo>
                  <a:pt x="8745200" y="7001783"/>
                  <a:pt x="8746132" y="7000451"/>
                  <a:pt x="8746797" y="6998721"/>
                </a:cubicBezTo>
                <a:cubicBezTo>
                  <a:pt x="8747596" y="6997123"/>
                  <a:pt x="8747862" y="6995260"/>
                  <a:pt x="8747862" y="6993263"/>
                </a:cubicBezTo>
                <a:cubicBezTo>
                  <a:pt x="8747862" y="6991399"/>
                  <a:pt x="8747462" y="6989669"/>
                  <a:pt x="8746797" y="6988071"/>
                </a:cubicBezTo>
                <a:cubicBezTo>
                  <a:pt x="8746132" y="6986474"/>
                  <a:pt x="8745200" y="6985143"/>
                  <a:pt x="8744134" y="6983945"/>
                </a:cubicBezTo>
                <a:cubicBezTo>
                  <a:pt x="8743069" y="6982880"/>
                  <a:pt x="8741738" y="6981948"/>
                  <a:pt x="8740141" y="6981283"/>
                </a:cubicBezTo>
                <a:cubicBezTo>
                  <a:pt x="8738677" y="6980617"/>
                  <a:pt x="8736946" y="6980351"/>
                  <a:pt x="8735083" y="6980351"/>
                </a:cubicBezTo>
                <a:close/>
                <a:moveTo>
                  <a:pt x="8517438" y="6980351"/>
                </a:moveTo>
                <a:cubicBezTo>
                  <a:pt x="8511713" y="6980351"/>
                  <a:pt x="8509051" y="6982214"/>
                  <a:pt x="8507453" y="6983945"/>
                </a:cubicBezTo>
                <a:cubicBezTo>
                  <a:pt x="8504925" y="6986607"/>
                  <a:pt x="8503860" y="6989403"/>
                  <a:pt x="8503860" y="6993396"/>
                </a:cubicBezTo>
                <a:cubicBezTo>
                  <a:pt x="8503860" y="6997523"/>
                  <a:pt x="8504925" y="7000319"/>
                  <a:pt x="8507453" y="7002848"/>
                </a:cubicBezTo>
                <a:cubicBezTo>
                  <a:pt x="8509051" y="7004579"/>
                  <a:pt x="8511581" y="7006442"/>
                  <a:pt x="8517438" y="7006442"/>
                </a:cubicBezTo>
                <a:cubicBezTo>
                  <a:pt x="8519568" y="7006442"/>
                  <a:pt x="8521299" y="7006177"/>
                  <a:pt x="8522763" y="7005378"/>
                </a:cubicBezTo>
                <a:cubicBezTo>
                  <a:pt x="8524227" y="7004845"/>
                  <a:pt x="8525559" y="7004046"/>
                  <a:pt x="8526490" y="7002980"/>
                </a:cubicBezTo>
                <a:cubicBezTo>
                  <a:pt x="8527555" y="7001783"/>
                  <a:pt x="8528487" y="7000451"/>
                  <a:pt x="8529152" y="6998721"/>
                </a:cubicBezTo>
                <a:cubicBezTo>
                  <a:pt x="8529818" y="6997123"/>
                  <a:pt x="8530084" y="6995260"/>
                  <a:pt x="8530084" y="6993263"/>
                </a:cubicBezTo>
                <a:cubicBezTo>
                  <a:pt x="8530084" y="6991399"/>
                  <a:pt x="8529818" y="6989669"/>
                  <a:pt x="8529152" y="6988071"/>
                </a:cubicBezTo>
                <a:cubicBezTo>
                  <a:pt x="8528487" y="6986474"/>
                  <a:pt x="8527555" y="6985143"/>
                  <a:pt x="8526490" y="6983945"/>
                </a:cubicBezTo>
                <a:cubicBezTo>
                  <a:pt x="8525425" y="6982880"/>
                  <a:pt x="8524094" y="6981948"/>
                  <a:pt x="8522496" y="6981283"/>
                </a:cubicBezTo>
                <a:cubicBezTo>
                  <a:pt x="8521032" y="6980617"/>
                  <a:pt x="8519302" y="6980351"/>
                  <a:pt x="8517438" y="6980351"/>
                </a:cubicBezTo>
                <a:close/>
                <a:moveTo>
                  <a:pt x="8299793" y="6980351"/>
                </a:moveTo>
                <a:cubicBezTo>
                  <a:pt x="8294068" y="6980351"/>
                  <a:pt x="8291406" y="6982214"/>
                  <a:pt x="8289809" y="6983945"/>
                </a:cubicBezTo>
                <a:cubicBezTo>
                  <a:pt x="8287280" y="6986607"/>
                  <a:pt x="8286215" y="6989403"/>
                  <a:pt x="8286215" y="6993396"/>
                </a:cubicBezTo>
                <a:cubicBezTo>
                  <a:pt x="8286215" y="6997523"/>
                  <a:pt x="8287280" y="7000319"/>
                  <a:pt x="8289809" y="7002848"/>
                </a:cubicBezTo>
                <a:cubicBezTo>
                  <a:pt x="8291406" y="7004579"/>
                  <a:pt x="8293935" y="7006442"/>
                  <a:pt x="8299793" y="7006442"/>
                </a:cubicBezTo>
                <a:cubicBezTo>
                  <a:pt x="8301923" y="7006442"/>
                  <a:pt x="8303653" y="7006177"/>
                  <a:pt x="8305118" y="7005378"/>
                </a:cubicBezTo>
                <a:cubicBezTo>
                  <a:pt x="8306582" y="7004845"/>
                  <a:pt x="8307913" y="7004046"/>
                  <a:pt x="8308844" y="7002980"/>
                </a:cubicBezTo>
                <a:cubicBezTo>
                  <a:pt x="8309910" y="7001783"/>
                  <a:pt x="8310842" y="7000451"/>
                  <a:pt x="8311507" y="6998721"/>
                </a:cubicBezTo>
                <a:cubicBezTo>
                  <a:pt x="8312172" y="6997123"/>
                  <a:pt x="8312439" y="6995260"/>
                  <a:pt x="8312439" y="6993263"/>
                </a:cubicBezTo>
                <a:cubicBezTo>
                  <a:pt x="8312439" y="6991399"/>
                  <a:pt x="8312172" y="6989669"/>
                  <a:pt x="8311507" y="6988071"/>
                </a:cubicBezTo>
                <a:cubicBezTo>
                  <a:pt x="8310842" y="6986474"/>
                  <a:pt x="8309910" y="6985143"/>
                  <a:pt x="8308844" y="6983945"/>
                </a:cubicBezTo>
                <a:cubicBezTo>
                  <a:pt x="8307779" y="6982880"/>
                  <a:pt x="8306448" y="6981948"/>
                  <a:pt x="8304851" y="6981283"/>
                </a:cubicBezTo>
                <a:cubicBezTo>
                  <a:pt x="8303387" y="6980617"/>
                  <a:pt x="8301790" y="6980351"/>
                  <a:pt x="8299793" y="6980351"/>
                </a:cubicBezTo>
                <a:close/>
                <a:moveTo>
                  <a:pt x="8082281" y="6980351"/>
                </a:moveTo>
                <a:cubicBezTo>
                  <a:pt x="8076424" y="6980351"/>
                  <a:pt x="8073894" y="6982214"/>
                  <a:pt x="8072297" y="6983945"/>
                </a:cubicBezTo>
                <a:cubicBezTo>
                  <a:pt x="8069768" y="6986607"/>
                  <a:pt x="8068703" y="6989403"/>
                  <a:pt x="8068703" y="6993396"/>
                </a:cubicBezTo>
                <a:cubicBezTo>
                  <a:pt x="8068703" y="6997523"/>
                  <a:pt x="8069768" y="7000319"/>
                  <a:pt x="8072297" y="7002848"/>
                </a:cubicBezTo>
                <a:cubicBezTo>
                  <a:pt x="8073894" y="7004579"/>
                  <a:pt x="8076424" y="7006442"/>
                  <a:pt x="8082281" y="7006442"/>
                </a:cubicBezTo>
                <a:cubicBezTo>
                  <a:pt x="8084277" y="7006442"/>
                  <a:pt x="8086007" y="7006177"/>
                  <a:pt x="8087605" y="7005378"/>
                </a:cubicBezTo>
                <a:cubicBezTo>
                  <a:pt x="8089069" y="7004845"/>
                  <a:pt x="8090401" y="7004046"/>
                  <a:pt x="8091332" y="7002980"/>
                </a:cubicBezTo>
                <a:cubicBezTo>
                  <a:pt x="8092397" y="7001783"/>
                  <a:pt x="8093329" y="7000451"/>
                  <a:pt x="8093994" y="6998721"/>
                </a:cubicBezTo>
                <a:cubicBezTo>
                  <a:pt x="8094660" y="6997123"/>
                  <a:pt x="8094926" y="6995260"/>
                  <a:pt x="8094926" y="6993263"/>
                </a:cubicBezTo>
                <a:cubicBezTo>
                  <a:pt x="8094926" y="6991399"/>
                  <a:pt x="8094660" y="6989669"/>
                  <a:pt x="8093994" y="6988071"/>
                </a:cubicBezTo>
                <a:cubicBezTo>
                  <a:pt x="8093329" y="6986474"/>
                  <a:pt x="8092397" y="6985143"/>
                  <a:pt x="8091332" y="6983945"/>
                </a:cubicBezTo>
                <a:cubicBezTo>
                  <a:pt x="8090267" y="6982880"/>
                  <a:pt x="8088936" y="6981948"/>
                  <a:pt x="8087338" y="6981283"/>
                </a:cubicBezTo>
                <a:cubicBezTo>
                  <a:pt x="8085874" y="6980617"/>
                  <a:pt x="8084277" y="6980351"/>
                  <a:pt x="8082281" y="6980351"/>
                </a:cubicBezTo>
                <a:close/>
                <a:moveTo>
                  <a:pt x="7864636" y="6980351"/>
                </a:moveTo>
                <a:cubicBezTo>
                  <a:pt x="7858779" y="6980351"/>
                  <a:pt x="7856249" y="6982214"/>
                  <a:pt x="7854652" y="6983945"/>
                </a:cubicBezTo>
                <a:cubicBezTo>
                  <a:pt x="7852123" y="6986607"/>
                  <a:pt x="7851058" y="6989403"/>
                  <a:pt x="7851058" y="6993396"/>
                </a:cubicBezTo>
                <a:cubicBezTo>
                  <a:pt x="7851058" y="6997523"/>
                  <a:pt x="7852123" y="7000319"/>
                  <a:pt x="7854652" y="7002848"/>
                </a:cubicBezTo>
                <a:cubicBezTo>
                  <a:pt x="7856249" y="7004579"/>
                  <a:pt x="7858779" y="7006442"/>
                  <a:pt x="7864636" y="7006442"/>
                </a:cubicBezTo>
                <a:cubicBezTo>
                  <a:pt x="7866633" y="7006442"/>
                  <a:pt x="7868363" y="7006177"/>
                  <a:pt x="7869961" y="7005378"/>
                </a:cubicBezTo>
                <a:cubicBezTo>
                  <a:pt x="7871425" y="7004845"/>
                  <a:pt x="7872756" y="7004046"/>
                  <a:pt x="7873687" y="7002980"/>
                </a:cubicBezTo>
                <a:cubicBezTo>
                  <a:pt x="7874753" y="7001783"/>
                  <a:pt x="7875685" y="7000451"/>
                  <a:pt x="7876350" y="6998721"/>
                </a:cubicBezTo>
                <a:cubicBezTo>
                  <a:pt x="7877015" y="6997123"/>
                  <a:pt x="7877282" y="6995260"/>
                  <a:pt x="7877282" y="6993263"/>
                </a:cubicBezTo>
                <a:cubicBezTo>
                  <a:pt x="7877282" y="6991399"/>
                  <a:pt x="7877015" y="6989669"/>
                  <a:pt x="7876350" y="6988071"/>
                </a:cubicBezTo>
                <a:cubicBezTo>
                  <a:pt x="7875685" y="6986474"/>
                  <a:pt x="7874753" y="6985143"/>
                  <a:pt x="7873687" y="6983945"/>
                </a:cubicBezTo>
                <a:cubicBezTo>
                  <a:pt x="7872623" y="6982880"/>
                  <a:pt x="7871291" y="6981948"/>
                  <a:pt x="7869694" y="6981283"/>
                </a:cubicBezTo>
                <a:cubicBezTo>
                  <a:pt x="7868230" y="6980617"/>
                  <a:pt x="7866633" y="6980351"/>
                  <a:pt x="7864636" y="6980351"/>
                </a:cubicBezTo>
                <a:close/>
                <a:moveTo>
                  <a:pt x="7646991" y="6980351"/>
                </a:moveTo>
                <a:cubicBezTo>
                  <a:pt x="7641134" y="6980351"/>
                  <a:pt x="7638604" y="6982214"/>
                  <a:pt x="7637007" y="6983945"/>
                </a:cubicBezTo>
                <a:cubicBezTo>
                  <a:pt x="7634478" y="6986607"/>
                  <a:pt x="7633413" y="6989403"/>
                  <a:pt x="7633413" y="6993396"/>
                </a:cubicBezTo>
                <a:cubicBezTo>
                  <a:pt x="7633413" y="6997523"/>
                  <a:pt x="7634478" y="7000319"/>
                  <a:pt x="7637007" y="7002848"/>
                </a:cubicBezTo>
                <a:cubicBezTo>
                  <a:pt x="7638604" y="7004579"/>
                  <a:pt x="7641134" y="7006442"/>
                  <a:pt x="7646991" y="7006442"/>
                </a:cubicBezTo>
                <a:cubicBezTo>
                  <a:pt x="7648987" y="7006442"/>
                  <a:pt x="7650851" y="7006177"/>
                  <a:pt x="7652315" y="7005378"/>
                </a:cubicBezTo>
                <a:cubicBezTo>
                  <a:pt x="7653780" y="7004845"/>
                  <a:pt x="7655111" y="7004046"/>
                  <a:pt x="7656042" y="7002980"/>
                </a:cubicBezTo>
                <a:cubicBezTo>
                  <a:pt x="7657108" y="7001783"/>
                  <a:pt x="7658039" y="7000451"/>
                  <a:pt x="7658705" y="6998721"/>
                </a:cubicBezTo>
                <a:cubicBezTo>
                  <a:pt x="7659504" y="6997123"/>
                  <a:pt x="7659769" y="6995260"/>
                  <a:pt x="7659769" y="6993263"/>
                </a:cubicBezTo>
                <a:cubicBezTo>
                  <a:pt x="7659769" y="6991399"/>
                  <a:pt x="7659370" y="6989669"/>
                  <a:pt x="7658705" y="6988071"/>
                </a:cubicBezTo>
                <a:cubicBezTo>
                  <a:pt x="7658039" y="6986474"/>
                  <a:pt x="7657108" y="6985143"/>
                  <a:pt x="7656042" y="6983945"/>
                </a:cubicBezTo>
                <a:cubicBezTo>
                  <a:pt x="7654977" y="6982880"/>
                  <a:pt x="7653646" y="6981948"/>
                  <a:pt x="7652049" y="6981283"/>
                </a:cubicBezTo>
                <a:cubicBezTo>
                  <a:pt x="7650584" y="6980617"/>
                  <a:pt x="7648987" y="6980351"/>
                  <a:pt x="7646991" y="6980351"/>
                </a:cubicBezTo>
                <a:close/>
                <a:moveTo>
                  <a:pt x="7429345" y="6980351"/>
                </a:moveTo>
                <a:cubicBezTo>
                  <a:pt x="7423488" y="6980351"/>
                  <a:pt x="7420958" y="6982214"/>
                  <a:pt x="7419361" y="6983945"/>
                </a:cubicBezTo>
                <a:cubicBezTo>
                  <a:pt x="7416832" y="6986607"/>
                  <a:pt x="7415768" y="6989403"/>
                  <a:pt x="7415768" y="6993396"/>
                </a:cubicBezTo>
                <a:cubicBezTo>
                  <a:pt x="7415768" y="6997523"/>
                  <a:pt x="7416832" y="7000319"/>
                  <a:pt x="7419361" y="7002848"/>
                </a:cubicBezTo>
                <a:cubicBezTo>
                  <a:pt x="7420958" y="7004579"/>
                  <a:pt x="7423488" y="7006442"/>
                  <a:pt x="7429345" y="7006442"/>
                </a:cubicBezTo>
                <a:cubicBezTo>
                  <a:pt x="7431342" y="7006442"/>
                  <a:pt x="7433206" y="7006177"/>
                  <a:pt x="7434670" y="7005378"/>
                </a:cubicBezTo>
                <a:cubicBezTo>
                  <a:pt x="7436134" y="7004845"/>
                  <a:pt x="7437466" y="7004046"/>
                  <a:pt x="7438397" y="7002980"/>
                </a:cubicBezTo>
                <a:cubicBezTo>
                  <a:pt x="7439462" y="7001783"/>
                  <a:pt x="7440394" y="7000451"/>
                  <a:pt x="7441059" y="6998721"/>
                </a:cubicBezTo>
                <a:cubicBezTo>
                  <a:pt x="7441858" y="6997123"/>
                  <a:pt x="7442124" y="6995260"/>
                  <a:pt x="7442124" y="6993263"/>
                </a:cubicBezTo>
                <a:cubicBezTo>
                  <a:pt x="7442124" y="6991399"/>
                  <a:pt x="7441725" y="6989669"/>
                  <a:pt x="7441059" y="6988071"/>
                </a:cubicBezTo>
                <a:cubicBezTo>
                  <a:pt x="7440394" y="6986474"/>
                  <a:pt x="7439462" y="6985143"/>
                  <a:pt x="7438397" y="6983945"/>
                </a:cubicBezTo>
                <a:cubicBezTo>
                  <a:pt x="7437332" y="6982880"/>
                  <a:pt x="7436001" y="6981948"/>
                  <a:pt x="7434403" y="6981283"/>
                </a:cubicBezTo>
                <a:cubicBezTo>
                  <a:pt x="7432939" y="6980617"/>
                  <a:pt x="7431342" y="6980351"/>
                  <a:pt x="7429345" y="6980351"/>
                </a:cubicBezTo>
                <a:close/>
                <a:moveTo>
                  <a:pt x="7211701" y="6980351"/>
                </a:moveTo>
                <a:cubicBezTo>
                  <a:pt x="7205844" y="6980351"/>
                  <a:pt x="7203314" y="6982214"/>
                  <a:pt x="7201717" y="6983945"/>
                </a:cubicBezTo>
                <a:cubicBezTo>
                  <a:pt x="7199188" y="6986607"/>
                  <a:pt x="7198123" y="6989403"/>
                  <a:pt x="7198123" y="6993396"/>
                </a:cubicBezTo>
                <a:cubicBezTo>
                  <a:pt x="7198123" y="6997523"/>
                  <a:pt x="7199188" y="7000319"/>
                  <a:pt x="7201717" y="7002848"/>
                </a:cubicBezTo>
                <a:cubicBezTo>
                  <a:pt x="7203314" y="7004579"/>
                  <a:pt x="7205844" y="7006442"/>
                  <a:pt x="7211701" y="7006442"/>
                </a:cubicBezTo>
                <a:cubicBezTo>
                  <a:pt x="7213830" y="7006442"/>
                  <a:pt x="7215561" y="7006177"/>
                  <a:pt x="7217026" y="7005378"/>
                </a:cubicBezTo>
                <a:cubicBezTo>
                  <a:pt x="7218490" y="7004845"/>
                  <a:pt x="7219821" y="7004046"/>
                  <a:pt x="7220752" y="7002980"/>
                </a:cubicBezTo>
                <a:cubicBezTo>
                  <a:pt x="7221818" y="7001783"/>
                  <a:pt x="7222750" y="7000451"/>
                  <a:pt x="7223415" y="6998721"/>
                </a:cubicBezTo>
                <a:cubicBezTo>
                  <a:pt x="7224214" y="6997123"/>
                  <a:pt x="7224480" y="6995260"/>
                  <a:pt x="7224480" y="6993263"/>
                </a:cubicBezTo>
                <a:cubicBezTo>
                  <a:pt x="7224480" y="6991399"/>
                  <a:pt x="7224080" y="6989669"/>
                  <a:pt x="7223415" y="6988071"/>
                </a:cubicBezTo>
                <a:cubicBezTo>
                  <a:pt x="7222750" y="6986474"/>
                  <a:pt x="7221818" y="6985143"/>
                  <a:pt x="7220752" y="6983945"/>
                </a:cubicBezTo>
                <a:cubicBezTo>
                  <a:pt x="7219687" y="6982880"/>
                  <a:pt x="7218356" y="6981948"/>
                  <a:pt x="7216759" y="6981283"/>
                </a:cubicBezTo>
                <a:cubicBezTo>
                  <a:pt x="7215295" y="6980617"/>
                  <a:pt x="7213698" y="6980351"/>
                  <a:pt x="7211701" y="6980351"/>
                </a:cubicBezTo>
                <a:close/>
                <a:moveTo>
                  <a:pt x="6994056" y="6980351"/>
                </a:moveTo>
                <a:cubicBezTo>
                  <a:pt x="6988199" y="6980351"/>
                  <a:pt x="6985669" y="6982214"/>
                  <a:pt x="6984072" y="6983945"/>
                </a:cubicBezTo>
                <a:cubicBezTo>
                  <a:pt x="6981543" y="6986607"/>
                  <a:pt x="6980478" y="6989403"/>
                  <a:pt x="6980478" y="6993396"/>
                </a:cubicBezTo>
                <a:cubicBezTo>
                  <a:pt x="6980478" y="6997523"/>
                  <a:pt x="6981543" y="7000319"/>
                  <a:pt x="6984072" y="7002848"/>
                </a:cubicBezTo>
                <a:cubicBezTo>
                  <a:pt x="6985669" y="7004579"/>
                  <a:pt x="6988199" y="7006442"/>
                  <a:pt x="6994056" y="7006442"/>
                </a:cubicBezTo>
                <a:cubicBezTo>
                  <a:pt x="6996185" y="7006442"/>
                  <a:pt x="6997916" y="7006177"/>
                  <a:pt x="6999380" y="7005378"/>
                </a:cubicBezTo>
                <a:cubicBezTo>
                  <a:pt x="7000844" y="7004845"/>
                  <a:pt x="7002176" y="7004046"/>
                  <a:pt x="7003107" y="7002980"/>
                </a:cubicBezTo>
                <a:cubicBezTo>
                  <a:pt x="7004172" y="7001783"/>
                  <a:pt x="7005104" y="7000451"/>
                  <a:pt x="7005769" y="6998721"/>
                </a:cubicBezTo>
                <a:cubicBezTo>
                  <a:pt x="7006568" y="6997123"/>
                  <a:pt x="7006834" y="6995260"/>
                  <a:pt x="7006834" y="6993263"/>
                </a:cubicBezTo>
                <a:cubicBezTo>
                  <a:pt x="7006834" y="6991399"/>
                  <a:pt x="7006435" y="6989669"/>
                  <a:pt x="7005769" y="6988071"/>
                </a:cubicBezTo>
                <a:cubicBezTo>
                  <a:pt x="7005104" y="6986474"/>
                  <a:pt x="7004172" y="6985143"/>
                  <a:pt x="7003107" y="6983945"/>
                </a:cubicBezTo>
                <a:cubicBezTo>
                  <a:pt x="7002042" y="6982880"/>
                  <a:pt x="7000711" y="6981948"/>
                  <a:pt x="6999113" y="6981283"/>
                </a:cubicBezTo>
                <a:cubicBezTo>
                  <a:pt x="6997649" y="6980617"/>
                  <a:pt x="6996052" y="6980351"/>
                  <a:pt x="6994056" y="6980351"/>
                </a:cubicBezTo>
                <a:close/>
                <a:moveTo>
                  <a:pt x="6776544" y="6980351"/>
                </a:moveTo>
                <a:cubicBezTo>
                  <a:pt x="6770687" y="6980351"/>
                  <a:pt x="6768157" y="6982214"/>
                  <a:pt x="6766560" y="6983945"/>
                </a:cubicBezTo>
                <a:cubicBezTo>
                  <a:pt x="6764031" y="6986607"/>
                  <a:pt x="6762966" y="6989403"/>
                  <a:pt x="6762966" y="6993396"/>
                </a:cubicBezTo>
                <a:cubicBezTo>
                  <a:pt x="6762966" y="6997523"/>
                  <a:pt x="6764031" y="7000319"/>
                  <a:pt x="6766560" y="7002848"/>
                </a:cubicBezTo>
                <a:cubicBezTo>
                  <a:pt x="6768157" y="7004579"/>
                  <a:pt x="6770687" y="7006442"/>
                  <a:pt x="6776544" y="7006442"/>
                </a:cubicBezTo>
                <a:cubicBezTo>
                  <a:pt x="6778541" y="7006442"/>
                  <a:pt x="6780270" y="7006177"/>
                  <a:pt x="6781869" y="7005378"/>
                </a:cubicBezTo>
                <a:cubicBezTo>
                  <a:pt x="6783333" y="7004845"/>
                  <a:pt x="6784664" y="7004046"/>
                  <a:pt x="6785595" y="7002980"/>
                </a:cubicBezTo>
                <a:cubicBezTo>
                  <a:pt x="6786661" y="7001783"/>
                  <a:pt x="6787593" y="7000451"/>
                  <a:pt x="6788258" y="6998721"/>
                </a:cubicBezTo>
                <a:cubicBezTo>
                  <a:pt x="6789057" y="6997123"/>
                  <a:pt x="6789323" y="6995260"/>
                  <a:pt x="6789323" y="6993263"/>
                </a:cubicBezTo>
                <a:cubicBezTo>
                  <a:pt x="6789323" y="6991399"/>
                  <a:pt x="6788923" y="6989669"/>
                  <a:pt x="6788258" y="6988071"/>
                </a:cubicBezTo>
                <a:cubicBezTo>
                  <a:pt x="6787593" y="6986474"/>
                  <a:pt x="6786661" y="6985143"/>
                  <a:pt x="6785595" y="6983945"/>
                </a:cubicBezTo>
                <a:cubicBezTo>
                  <a:pt x="6784530" y="6982880"/>
                  <a:pt x="6783199" y="6981948"/>
                  <a:pt x="6781602" y="6981283"/>
                </a:cubicBezTo>
                <a:cubicBezTo>
                  <a:pt x="6780138" y="6980617"/>
                  <a:pt x="6778541" y="6980351"/>
                  <a:pt x="6776544" y="6980351"/>
                </a:cubicBezTo>
                <a:close/>
                <a:moveTo>
                  <a:pt x="6558899" y="6980351"/>
                </a:moveTo>
                <a:cubicBezTo>
                  <a:pt x="6553042" y="6980351"/>
                  <a:pt x="6550512" y="6982214"/>
                  <a:pt x="6548915" y="6983945"/>
                </a:cubicBezTo>
                <a:cubicBezTo>
                  <a:pt x="6546386" y="6986607"/>
                  <a:pt x="6545321" y="6989403"/>
                  <a:pt x="6545321" y="6993396"/>
                </a:cubicBezTo>
                <a:cubicBezTo>
                  <a:pt x="6545321" y="6997523"/>
                  <a:pt x="6546386" y="7000319"/>
                  <a:pt x="6548915" y="7002848"/>
                </a:cubicBezTo>
                <a:cubicBezTo>
                  <a:pt x="6550512" y="7004579"/>
                  <a:pt x="6553042" y="7006442"/>
                  <a:pt x="6558899" y="7006442"/>
                </a:cubicBezTo>
                <a:cubicBezTo>
                  <a:pt x="6560895" y="7006442"/>
                  <a:pt x="6562759" y="7006177"/>
                  <a:pt x="6564223" y="7005378"/>
                </a:cubicBezTo>
                <a:cubicBezTo>
                  <a:pt x="6565687" y="7004845"/>
                  <a:pt x="6567019" y="7004046"/>
                  <a:pt x="6567950" y="7002980"/>
                </a:cubicBezTo>
                <a:cubicBezTo>
                  <a:pt x="6569015" y="7001783"/>
                  <a:pt x="6569947" y="7000451"/>
                  <a:pt x="6570612" y="6998721"/>
                </a:cubicBezTo>
                <a:cubicBezTo>
                  <a:pt x="6571412" y="6997123"/>
                  <a:pt x="6571677" y="6995260"/>
                  <a:pt x="6571677" y="6993263"/>
                </a:cubicBezTo>
                <a:cubicBezTo>
                  <a:pt x="6571677" y="6991399"/>
                  <a:pt x="6571278" y="6989669"/>
                  <a:pt x="6570612" y="6988071"/>
                </a:cubicBezTo>
                <a:cubicBezTo>
                  <a:pt x="6569947" y="6986474"/>
                  <a:pt x="6569015" y="6985143"/>
                  <a:pt x="6567950" y="6983945"/>
                </a:cubicBezTo>
                <a:cubicBezTo>
                  <a:pt x="6566885" y="6982880"/>
                  <a:pt x="6565554" y="6981948"/>
                  <a:pt x="6563956" y="6981283"/>
                </a:cubicBezTo>
                <a:cubicBezTo>
                  <a:pt x="6562492" y="6980617"/>
                  <a:pt x="6560895" y="6980351"/>
                  <a:pt x="6558899" y="6980351"/>
                </a:cubicBezTo>
                <a:close/>
                <a:moveTo>
                  <a:pt x="6341253" y="6980351"/>
                </a:moveTo>
                <a:cubicBezTo>
                  <a:pt x="6335396" y="6980351"/>
                  <a:pt x="6332867" y="6982214"/>
                  <a:pt x="6331270" y="6983945"/>
                </a:cubicBezTo>
                <a:cubicBezTo>
                  <a:pt x="6328740" y="6986607"/>
                  <a:pt x="6327675" y="6989403"/>
                  <a:pt x="6327675" y="6993396"/>
                </a:cubicBezTo>
                <a:cubicBezTo>
                  <a:pt x="6327675" y="6997523"/>
                  <a:pt x="6328740" y="7000319"/>
                  <a:pt x="6331270" y="7002848"/>
                </a:cubicBezTo>
                <a:cubicBezTo>
                  <a:pt x="6332867" y="7004579"/>
                  <a:pt x="6335396" y="7006442"/>
                  <a:pt x="6341253" y="7006442"/>
                </a:cubicBezTo>
                <a:cubicBezTo>
                  <a:pt x="6343250" y="7006442"/>
                  <a:pt x="6345114" y="7006177"/>
                  <a:pt x="6346578" y="7005378"/>
                </a:cubicBezTo>
                <a:cubicBezTo>
                  <a:pt x="6348042" y="7004845"/>
                  <a:pt x="6349373" y="7004046"/>
                  <a:pt x="6350305" y="7002980"/>
                </a:cubicBezTo>
                <a:cubicBezTo>
                  <a:pt x="6351370" y="7001783"/>
                  <a:pt x="6352302" y="7000451"/>
                  <a:pt x="6352968" y="6998721"/>
                </a:cubicBezTo>
                <a:cubicBezTo>
                  <a:pt x="6353766" y="6997123"/>
                  <a:pt x="6354033" y="6995260"/>
                  <a:pt x="6354033" y="6993263"/>
                </a:cubicBezTo>
                <a:cubicBezTo>
                  <a:pt x="6354033" y="6991399"/>
                  <a:pt x="6353633" y="6989669"/>
                  <a:pt x="6352968" y="6988071"/>
                </a:cubicBezTo>
                <a:cubicBezTo>
                  <a:pt x="6352302" y="6986474"/>
                  <a:pt x="6351370" y="6985143"/>
                  <a:pt x="6350305" y="6983945"/>
                </a:cubicBezTo>
                <a:cubicBezTo>
                  <a:pt x="6349241" y="6982880"/>
                  <a:pt x="6347909" y="6981948"/>
                  <a:pt x="6346312" y="6981283"/>
                </a:cubicBezTo>
                <a:cubicBezTo>
                  <a:pt x="6344848" y="6980617"/>
                  <a:pt x="6343250" y="6980351"/>
                  <a:pt x="6341253" y="6980351"/>
                </a:cubicBezTo>
                <a:close/>
                <a:moveTo>
                  <a:pt x="6123608" y="6980351"/>
                </a:moveTo>
                <a:cubicBezTo>
                  <a:pt x="6117751" y="6980351"/>
                  <a:pt x="6115221" y="6982214"/>
                  <a:pt x="6113624" y="6983945"/>
                </a:cubicBezTo>
                <a:cubicBezTo>
                  <a:pt x="6111095" y="6986607"/>
                  <a:pt x="6110030" y="6989403"/>
                  <a:pt x="6110030" y="6993396"/>
                </a:cubicBezTo>
                <a:cubicBezTo>
                  <a:pt x="6110030" y="6997523"/>
                  <a:pt x="6111095" y="7000319"/>
                  <a:pt x="6113624" y="7002848"/>
                </a:cubicBezTo>
                <a:cubicBezTo>
                  <a:pt x="6115221" y="7004579"/>
                  <a:pt x="6117751" y="7006442"/>
                  <a:pt x="6123608" y="7006442"/>
                </a:cubicBezTo>
                <a:cubicBezTo>
                  <a:pt x="6125737" y="7006442"/>
                  <a:pt x="6127468" y="7006177"/>
                  <a:pt x="6128932" y="7005378"/>
                </a:cubicBezTo>
                <a:cubicBezTo>
                  <a:pt x="6130530" y="7004845"/>
                  <a:pt x="6131728" y="7004046"/>
                  <a:pt x="6132659" y="7002980"/>
                </a:cubicBezTo>
                <a:cubicBezTo>
                  <a:pt x="6133724" y="7001783"/>
                  <a:pt x="6134656" y="7000451"/>
                  <a:pt x="6135322" y="6998721"/>
                </a:cubicBezTo>
                <a:cubicBezTo>
                  <a:pt x="6135987" y="6997123"/>
                  <a:pt x="6136387" y="6995260"/>
                  <a:pt x="6136387" y="6993263"/>
                </a:cubicBezTo>
                <a:cubicBezTo>
                  <a:pt x="6136387" y="6991399"/>
                  <a:pt x="6135987" y="6989669"/>
                  <a:pt x="6135322" y="6988071"/>
                </a:cubicBezTo>
                <a:cubicBezTo>
                  <a:pt x="6134656" y="6986474"/>
                  <a:pt x="6133724" y="6985143"/>
                  <a:pt x="6132659" y="6983945"/>
                </a:cubicBezTo>
                <a:cubicBezTo>
                  <a:pt x="6131594" y="6982880"/>
                  <a:pt x="6130263" y="6981948"/>
                  <a:pt x="6128666" y="6981283"/>
                </a:cubicBezTo>
                <a:cubicBezTo>
                  <a:pt x="6127202" y="6980617"/>
                  <a:pt x="6125604" y="6980351"/>
                  <a:pt x="6123608" y="6980351"/>
                </a:cubicBezTo>
                <a:close/>
                <a:moveTo>
                  <a:pt x="5905963" y="6980351"/>
                </a:moveTo>
                <a:cubicBezTo>
                  <a:pt x="5900106" y="6980351"/>
                  <a:pt x="5897576" y="6982214"/>
                  <a:pt x="5895979" y="6983945"/>
                </a:cubicBezTo>
                <a:cubicBezTo>
                  <a:pt x="5893450" y="6986607"/>
                  <a:pt x="5892385" y="6989403"/>
                  <a:pt x="5892385" y="6993396"/>
                </a:cubicBezTo>
                <a:cubicBezTo>
                  <a:pt x="5892385" y="6997523"/>
                  <a:pt x="5893450" y="7000319"/>
                  <a:pt x="5895979" y="7002848"/>
                </a:cubicBezTo>
                <a:cubicBezTo>
                  <a:pt x="5897576" y="7004579"/>
                  <a:pt x="5900106" y="7006442"/>
                  <a:pt x="5905963" y="7006442"/>
                </a:cubicBezTo>
                <a:cubicBezTo>
                  <a:pt x="5908093" y="7006442"/>
                  <a:pt x="5909823" y="7006177"/>
                  <a:pt x="5911287" y="7005378"/>
                </a:cubicBezTo>
                <a:cubicBezTo>
                  <a:pt x="5912751" y="7004845"/>
                  <a:pt x="5914083" y="7004046"/>
                  <a:pt x="5915014" y="7002980"/>
                </a:cubicBezTo>
                <a:cubicBezTo>
                  <a:pt x="5916079" y="7001783"/>
                  <a:pt x="5917011" y="7000451"/>
                  <a:pt x="5917677" y="6998721"/>
                </a:cubicBezTo>
                <a:cubicBezTo>
                  <a:pt x="5918342" y="6997123"/>
                  <a:pt x="5918742" y="6995260"/>
                  <a:pt x="5918742" y="6993263"/>
                </a:cubicBezTo>
                <a:cubicBezTo>
                  <a:pt x="5918742" y="6991399"/>
                  <a:pt x="5918342" y="6989669"/>
                  <a:pt x="5917677" y="6988071"/>
                </a:cubicBezTo>
                <a:cubicBezTo>
                  <a:pt x="5917011" y="6986474"/>
                  <a:pt x="5916079" y="6985143"/>
                  <a:pt x="5915014" y="6983945"/>
                </a:cubicBezTo>
                <a:cubicBezTo>
                  <a:pt x="5913950" y="6982880"/>
                  <a:pt x="5912618" y="6981948"/>
                  <a:pt x="5911021" y="6981283"/>
                </a:cubicBezTo>
                <a:cubicBezTo>
                  <a:pt x="5909557" y="6980617"/>
                  <a:pt x="5907826" y="6980351"/>
                  <a:pt x="5905963" y="6980351"/>
                </a:cubicBezTo>
                <a:close/>
                <a:moveTo>
                  <a:pt x="5688451" y="6980351"/>
                </a:moveTo>
                <a:cubicBezTo>
                  <a:pt x="5682594" y="6980351"/>
                  <a:pt x="5680064" y="6982214"/>
                  <a:pt x="5678467" y="6983945"/>
                </a:cubicBezTo>
                <a:cubicBezTo>
                  <a:pt x="5675938" y="6986607"/>
                  <a:pt x="5674873" y="6989403"/>
                  <a:pt x="5674873" y="6993396"/>
                </a:cubicBezTo>
                <a:cubicBezTo>
                  <a:pt x="5674873" y="6997523"/>
                  <a:pt x="5675938" y="7000319"/>
                  <a:pt x="5678467" y="7002848"/>
                </a:cubicBezTo>
                <a:cubicBezTo>
                  <a:pt x="5680064" y="7004579"/>
                  <a:pt x="5682594" y="7006442"/>
                  <a:pt x="5688451" y="7006442"/>
                </a:cubicBezTo>
                <a:cubicBezTo>
                  <a:pt x="5690447" y="7006442"/>
                  <a:pt x="5692178" y="7006177"/>
                  <a:pt x="5693775" y="7005378"/>
                </a:cubicBezTo>
                <a:cubicBezTo>
                  <a:pt x="5695239" y="7004845"/>
                  <a:pt x="5696571" y="7004046"/>
                  <a:pt x="5697502" y="7002980"/>
                </a:cubicBezTo>
                <a:cubicBezTo>
                  <a:pt x="5698567" y="7001783"/>
                  <a:pt x="5699499" y="7000451"/>
                  <a:pt x="5700165" y="6998721"/>
                </a:cubicBezTo>
                <a:cubicBezTo>
                  <a:pt x="5700830" y="6997123"/>
                  <a:pt x="5701230" y="6995260"/>
                  <a:pt x="5701230" y="6993263"/>
                </a:cubicBezTo>
                <a:cubicBezTo>
                  <a:pt x="5701230" y="6991399"/>
                  <a:pt x="5700830" y="6989669"/>
                  <a:pt x="5700165" y="6988071"/>
                </a:cubicBezTo>
                <a:cubicBezTo>
                  <a:pt x="5699499" y="6986474"/>
                  <a:pt x="5698567" y="6985143"/>
                  <a:pt x="5697502" y="6983945"/>
                </a:cubicBezTo>
                <a:cubicBezTo>
                  <a:pt x="5696437" y="6982880"/>
                  <a:pt x="5695106" y="6981948"/>
                  <a:pt x="5693509" y="6981283"/>
                </a:cubicBezTo>
                <a:cubicBezTo>
                  <a:pt x="5692045" y="6980617"/>
                  <a:pt x="5690314" y="6980351"/>
                  <a:pt x="5688451" y="6980351"/>
                </a:cubicBezTo>
                <a:close/>
                <a:moveTo>
                  <a:pt x="5470806" y="6980351"/>
                </a:moveTo>
                <a:cubicBezTo>
                  <a:pt x="5464949" y="6980351"/>
                  <a:pt x="5462419" y="6982214"/>
                  <a:pt x="5460822" y="6983945"/>
                </a:cubicBezTo>
                <a:cubicBezTo>
                  <a:pt x="5458293" y="6986607"/>
                  <a:pt x="5457228" y="6989403"/>
                  <a:pt x="5457228" y="6993396"/>
                </a:cubicBezTo>
                <a:cubicBezTo>
                  <a:pt x="5457228" y="6997523"/>
                  <a:pt x="5458293" y="7000319"/>
                  <a:pt x="5460822" y="7002848"/>
                </a:cubicBezTo>
                <a:cubicBezTo>
                  <a:pt x="5462419" y="7004579"/>
                  <a:pt x="5464949" y="7006442"/>
                  <a:pt x="5470806" y="7006442"/>
                </a:cubicBezTo>
                <a:cubicBezTo>
                  <a:pt x="5472802" y="7006442"/>
                  <a:pt x="5474666" y="7006177"/>
                  <a:pt x="5476130" y="7005378"/>
                </a:cubicBezTo>
                <a:cubicBezTo>
                  <a:pt x="5477594" y="7004845"/>
                  <a:pt x="5478926" y="7004046"/>
                  <a:pt x="5479857" y="7002980"/>
                </a:cubicBezTo>
                <a:cubicBezTo>
                  <a:pt x="5480922" y="7001783"/>
                  <a:pt x="5481854" y="7000451"/>
                  <a:pt x="5482520" y="6998721"/>
                </a:cubicBezTo>
                <a:cubicBezTo>
                  <a:pt x="5483319" y="6997123"/>
                  <a:pt x="5483585" y="6995260"/>
                  <a:pt x="5483585" y="6993263"/>
                </a:cubicBezTo>
                <a:cubicBezTo>
                  <a:pt x="5483585" y="6991399"/>
                  <a:pt x="5483185" y="6989669"/>
                  <a:pt x="5482520" y="6988071"/>
                </a:cubicBezTo>
                <a:cubicBezTo>
                  <a:pt x="5481854" y="6986474"/>
                  <a:pt x="5480922" y="6985143"/>
                  <a:pt x="5479857" y="6983945"/>
                </a:cubicBezTo>
                <a:cubicBezTo>
                  <a:pt x="5478793" y="6982880"/>
                  <a:pt x="5477461" y="6981948"/>
                  <a:pt x="5475864" y="6981283"/>
                </a:cubicBezTo>
                <a:cubicBezTo>
                  <a:pt x="5474400" y="6980617"/>
                  <a:pt x="5472669" y="6980351"/>
                  <a:pt x="5470806" y="6980351"/>
                </a:cubicBezTo>
                <a:close/>
                <a:moveTo>
                  <a:pt x="5253160" y="6980351"/>
                </a:moveTo>
                <a:cubicBezTo>
                  <a:pt x="5247303" y="6980351"/>
                  <a:pt x="5244774" y="6982214"/>
                  <a:pt x="5243177" y="6983945"/>
                </a:cubicBezTo>
                <a:cubicBezTo>
                  <a:pt x="5240647" y="6986607"/>
                  <a:pt x="5239583" y="6989403"/>
                  <a:pt x="5239583" y="6993396"/>
                </a:cubicBezTo>
                <a:cubicBezTo>
                  <a:pt x="5239583" y="6997523"/>
                  <a:pt x="5240647" y="7000319"/>
                  <a:pt x="5243177" y="7002848"/>
                </a:cubicBezTo>
                <a:cubicBezTo>
                  <a:pt x="5244774" y="7004579"/>
                  <a:pt x="5247303" y="7006442"/>
                  <a:pt x="5253160" y="7006442"/>
                </a:cubicBezTo>
                <a:cubicBezTo>
                  <a:pt x="5255157" y="7006442"/>
                  <a:pt x="5257021" y="7006177"/>
                  <a:pt x="5258485" y="7005378"/>
                </a:cubicBezTo>
                <a:cubicBezTo>
                  <a:pt x="5259949" y="7004845"/>
                  <a:pt x="5261280" y="7004046"/>
                  <a:pt x="5262212" y="7002980"/>
                </a:cubicBezTo>
                <a:cubicBezTo>
                  <a:pt x="5263277" y="7001783"/>
                  <a:pt x="5264209" y="7000451"/>
                  <a:pt x="5264875" y="6998721"/>
                </a:cubicBezTo>
                <a:cubicBezTo>
                  <a:pt x="5265673" y="6997123"/>
                  <a:pt x="5265939" y="6995260"/>
                  <a:pt x="5265939" y="6993263"/>
                </a:cubicBezTo>
                <a:cubicBezTo>
                  <a:pt x="5265939" y="6991399"/>
                  <a:pt x="5265540" y="6989669"/>
                  <a:pt x="5264875" y="6988071"/>
                </a:cubicBezTo>
                <a:cubicBezTo>
                  <a:pt x="5264209" y="6986474"/>
                  <a:pt x="5263277" y="6985143"/>
                  <a:pt x="5262212" y="6983945"/>
                </a:cubicBezTo>
                <a:cubicBezTo>
                  <a:pt x="5261147" y="6982880"/>
                  <a:pt x="5259816" y="6981948"/>
                  <a:pt x="5258219" y="6981283"/>
                </a:cubicBezTo>
                <a:cubicBezTo>
                  <a:pt x="5256754" y="6980617"/>
                  <a:pt x="5255024" y="6980351"/>
                  <a:pt x="5253160" y="6980351"/>
                </a:cubicBezTo>
                <a:close/>
                <a:moveTo>
                  <a:pt x="5035515" y="6980351"/>
                </a:moveTo>
                <a:cubicBezTo>
                  <a:pt x="5029658" y="6980351"/>
                  <a:pt x="5027129" y="6982214"/>
                  <a:pt x="5025532" y="6983945"/>
                </a:cubicBezTo>
                <a:cubicBezTo>
                  <a:pt x="5023002" y="6986607"/>
                  <a:pt x="5021938" y="6989403"/>
                  <a:pt x="5021938" y="6993396"/>
                </a:cubicBezTo>
                <a:cubicBezTo>
                  <a:pt x="5021938" y="6997523"/>
                  <a:pt x="5023002" y="7000319"/>
                  <a:pt x="5025532" y="7002848"/>
                </a:cubicBezTo>
                <a:cubicBezTo>
                  <a:pt x="5027129" y="7004579"/>
                  <a:pt x="5029658" y="7006442"/>
                  <a:pt x="5035515" y="7006442"/>
                </a:cubicBezTo>
                <a:cubicBezTo>
                  <a:pt x="5037645" y="7006442"/>
                  <a:pt x="5039376" y="7006177"/>
                  <a:pt x="5040840" y="7005378"/>
                </a:cubicBezTo>
                <a:cubicBezTo>
                  <a:pt x="5042304" y="7004845"/>
                  <a:pt x="5043636" y="7004046"/>
                  <a:pt x="5044567" y="7002980"/>
                </a:cubicBezTo>
                <a:cubicBezTo>
                  <a:pt x="5045632" y="7001783"/>
                  <a:pt x="5046564" y="7000451"/>
                  <a:pt x="5047230" y="6998721"/>
                </a:cubicBezTo>
                <a:cubicBezTo>
                  <a:pt x="5048028" y="6997123"/>
                  <a:pt x="5048294" y="6995260"/>
                  <a:pt x="5048294" y="6993263"/>
                </a:cubicBezTo>
                <a:cubicBezTo>
                  <a:pt x="5048294" y="6991399"/>
                  <a:pt x="5047895" y="6989669"/>
                  <a:pt x="5047230" y="6988071"/>
                </a:cubicBezTo>
                <a:cubicBezTo>
                  <a:pt x="5046564" y="6986474"/>
                  <a:pt x="5045632" y="6985143"/>
                  <a:pt x="5044567" y="6983945"/>
                </a:cubicBezTo>
                <a:cubicBezTo>
                  <a:pt x="5043502" y="6982880"/>
                  <a:pt x="5042171" y="6981948"/>
                  <a:pt x="5040574" y="6981283"/>
                </a:cubicBezTo>
                <a:cubicBezTo>
                  <a:pt x="5039110" y="6980617"/>
                  <a:pt x="5037379" y="6980351"/>
                  <a:pt x="5035515" y="6980351"/>
                </a:cubicBezTo>
                <a:close/>
                <a:moveTo>
                  <a:pt x="4817870" y="6980351"/>
                </a:moveTo>
                <a:cubicBezTo>
                  <a:pt x="4812013" y="6980351"/>
                  <a:pt x="4809484" y="6982214"/>
                  <a:pt x="4807887" y="6983945"/>
                </a:cubicBezTo>
                <a:cubicBezTo>
                  <a:pt x="4805357" y="6986607"/>
                  <a:pt x="4804293" y="6989403"/>
                  <a:pt x="4804293" y="6993396"/>
                </a:cubicBezTo>
                <a:cubicBezTo>
                  <a:pt x="4804293" y="6997523"/>
                  <a:pt x="4805357" y="7000319"/>
                  <a:pt x="4807887" y="7002848"/>
                </a:cubicBezTo>
                <a:cubicBezTo>
                  <a:pt x="4809484" y="7004579"/>
                  <a:pt x="4812013" y="7006442"/>
                  <a:pt x="4817870" y="7006442"/>
                </a:cubicBezTo>
                <a:cubicBezTo>
                  <a:pt x="4820000" y="7006442"/>
                  <a:pt x="4821731" y="7006177"/>
                  <a:pt x="4823195" y="7005378"/>
                </a:cubicBezTo>
                <a:cubicBezTo>
                  <a:pt x="4824659" y="7004845"/>
                  <a:pt x="4825857" y="7004046"/>
                  <a:pt x="4826922" y="7002980"/>
                </a:cubicBezTo>
                <a:cubicBezTo>
                  <a:pt x="4827987" y="7001783"/>
                  <a:pt x="4828919" y="7000451"/>
                  <a:pt x="4829585" y="6998721"/>
                </a:cubicBezTo>
                <a:cubicBezTo>
                  <a:pt x="4830383" y="6997123"/>
                  <a:pt x="4830650" y="6995260"/>
                  <a:pt x="4830650" y="6993263"/>
                </a:cubicBezTo>
                <a:cubicBezTo>
                  <a:pt x="4830650" y="6991399"/>
                  <a:pt x="4830250" y="6989669"/>
                  <a:pt x="4829585" y="6988071"/>
                </a:cubicBezTo>
                <a:cubicBezTo>
                  <a:pt x="4828919" y="6986474"/>
                  <a:pt x="4827987" y="6985143"/>
                  <a:pt x="4826922" y="6983945"/>
                </a:cubicBezTo>
                <a:cubicBezTo>
                  <a:pt x="4825857" y="6982880"/>
                  <a:pt x="4824526" y="6981948"/>
                  <a:pt x="4822929" y="6981283"/>
                </a:cubicBezTo>
                <a:cubicBezTo>
                  <a:pt x="4821465" y="6980617"/>
                  <a:pt x="4819734" y="6980351"/>
                  <a:pt x="4817870" y="6980351"/>
                </a:cubicBezTo>
                <a:close/>
                <a:moveTo>
                  <a:pt x="4600226" y="6980351"/>
                </a:moveTo>
                <a:cubicBezTo>
                  <a:pt x="4594369" y="6980351"/>
                  <a:pt x="4591839" y="6982214"/>
                  <a:pt x="4590242" y="6983945"/>
                </a:cubicBezTo>
                <a:cubicBezTo>
                  <a:pt x="4587713" y="6986607"/>
                  <a:pt x="4586648" y="6989403"/>
                  <a:pt x="4586648" y="6993396"/>
                </a:cubicBezTo>
                <a:cubicBezTo>
                  <a:pt x="4586648" y="6997523"/>
                  <a:pt x="4587713" y="7000319"/>
                  <a:pt x="4590242" y="7002848"/>
                </a:cubicBezTo>
                <a:cubicBezTo>
                  <a:pt x="4591839" y="7004579"/>
                  <a:pt x="4594369" y="7006442"/>
                  <a:pt x="4600226" y="7006442"/>
                </a:cubicBezTo>
                <a:cubicBezTo>
                  <a:pt x="4602355" y="7006442"/>
                  <a:pt x="4604086" y="7006177"/>
                  <a:pt x="4605550" y="7005378"/>
                </a:cubicBezTo>
                <a:cubicBezTo>
                  <a:pt x="4607148" y="7004845"/>
                  <a:pt x="4608346" y="7004046"/>
                  <a:pt x="4609277" y="7002980"/>
                </a:cubicBezTo>
                <a:cubicBezTo>
                  <a:pt x="4610342" y="7001783"/>
                  <a:pt x="4611274" y="7000451"/>
                  <a:pt x="4611940" y="6998721"/>
                </a:cubicBezTo>
                <a:cubicBezTo>
                  <a:pt x="4612605" y="6997123"/>
                  <a:pt x="4613005" y="6995260"/>
                  <a:pt x="4613005" y="6993263"/>
                </a:cubicBezTo>
                <a:cubicBezTo>
                  <a:pt x="4613005" y="6991399"/>
                  <a:pt x="4612605" y="6989669"/>
                  <a:pt x="4611940" y="6988071"/>
                </a:cubicBezTo>
                <a:cubicBezTo>
                  <a:pt x="4611274" y="6986474"/>
                  <a:pt x="4610342" y="6985143"/>
                  <a:pt x="4609277" y="6983945"/>
                </a:cubicBezTo>
                <a:cubicBezTo>
                  <a:pt x="4608212" y="6982880"/>
                  <a:pt x="4606881" y="6981948"/>
                  <a:pt x="4605284" y="6981283"/>
                </a:cubicBezTo>
                <a:cubicBezTo>
                  <a:pt x="4603820" y="6980617"/>
                  <a:pt x="4602222" y="6980351"/>
                  <a:pt x="4600226" y="6980351"/>
                </a:cubicBezTo>
                <a:close/>
                <a:moveTo>
                  <a:pt x="4382713" y="6980351"/>
                </a:moveTo>
                <a:cubicBezTo>
                  <a:pt x="4376857" y="6980351"/>
                  <a:pt x="4374327" y="6982214"/>
                  <a:pt x="4372730" y="6983945"/>
                </a:cubicBezTo>
                <a:cubicBezTo>
                  <a:pt x="4370201" y="6986607"/>
                  <a:pt x="4369136" y="6989403"/>
                  <a:pt x="4369136" y="6993396"/>
                </a:cubicBezTo>
                <a:cubicBezTo>
                  <a:pt x="4369136" y="6997523"/>
                  <a:pt x="4370201" y="7000319"/>
                  <a:pt x="4372730" y="7002848"/>
                </a:cubicBezTo>
                <a:cubicBezTo>
                  <a:pt x="4374327" y="7004579"/>
                  <a:pt x="4376857" y="7006442"/>
                  <a:pt x="4382713" y="7006442"/>
                </a:cubicBezTo>
                <a:cubicBezTo>
                  <a:pt x="4384710" y="7006442"/>
                  <a:pt x="4386441" y="7006177"/>
                  <a:pt x="4388038" y="7005378"/>
                </a:cubicBezTo>
                <a:cubicBezTo>
                  <a:pt x="4389502" y="7004845"/>
                  <a:pt x="4390834" y="7004046"/>
                  <a:pt x="4391765" y="7002980"/>
                </a:cubicBezTo>
                <a:cubicBezTo>
                  <a:pt x="4392830" y="7001783"/>
                  <a:pt x="4393762" y="7000451"/>
                  <a:pt x="4394428" y="6998721"/>
                </a:cubicBezTo>
                <a:cubicBezTo>
                  <a:pt x="4395093" y="6997123"/>
                  <a:pt x="4395493" y="6995260"/>
                  <a:pt x="4395493" y="6993263"/>
                </a:cubicBezTo>
                <a:cubicBezTo>
                  <a:pt x="4395493" y="6991399"/>
                  <a:pt x="4395093" y="6989669"/>
                  <a:pt x="4394428" y="6988071"/>
                </a:cubicBezTo>
                <a:cubicBezTo>
                  <a:pt x="4393762" y="6986474"/>
                  <a:pt x="4392830" y="6985143"/>
                  <a:pt x="4391765" y="6983945"/>
                </a:cubicBezTo>
                <a:cubicBezTo>
                  <a:pt x="4390700" y="6982880"/>
                  <a:pt x="4389369" y="6981948"/>
                  <a:pt x="4387772" y="6981283"/>
                </a:cubicBezTo>
                <a:cubicBezTo>
                  <a:pt x="4386308" y="6980617"/>
                  <a:pt x="4384710" y="6980351"/>
                  <a:pt x="4382713" y="6980351"/>
                </a:cubicBezTo>
                <a:close/>
                <a:moveTo>
                  <a:pt x="4165068" y="6980351"/>
                </a:moveTo>
                <a:cubicBezTo>
                  <a:pt x="4159211" y="6980351"/>
                  <a:pt x="4156681" y="6982214"/>
                  <a:pt x="4155084" y="6983945"/>
                </a:cubicBezTo>
                <a:cubicBezTo>
                  <a:pt x="4152555" y="6986607"/>
                  <a:pt x="4151490" y="6989403"/>
                  <a:pt x="4151490" y="6993396"/>
                </a:cubicBezTo>
                <a:cubicBezTo>
                  <a:pt x="4151490" y="6997523"/>
                  <a:pt x="4152555" y="7000319"/>
                  <a:pt x="4155084" y="7002848"/>
                </a:cubicBezTo>
                <a:cubicBezTo>
                  <a:pt x="4156681" y="7004579"/>
                  <a:pt x="4159211" y="7006442"/>
                  <a:pt x="4165068" y="7006442"/>
                </a:cubicBezTo>
                <a:cubicBezTo>
                  <a:pt x="4167064" y="7006442"/>
                  <a:pt x="4168928" y="7006177"/>
                  <a:pt x="4170392" y="7005378"/>
                </a:cubicBezTo>
                <a:cubicBezTo>
                  <a:pt x="4171856" y="7004845"/>
                  <a:pt x="4173188" y="7004046"/>
                  <a:pt x="4174119" y="7002980"/>
                </a:cubicBezTo>
                <a:cubicBezTo>
                  <a:pt x="4175184" y="7001783"/>
                  <a:pt x="4176116" y="7000451"/>
                  <a:pt x="4176782" y="6998721"/>
                </a:cubicBezTo>
                <a:cubicBezTo>
                  <a:pt x="4177447" y="6997123"/>
                  <a:pt x="4177847" y="6995260"/>
                  <a:pt x="4177847" y="6993263"/>
                </a:cubicBezTo>
                <a:cubicBezTo>
                  <a:pt x="4177847" y="6991399"/>
                  <a:pt x="4177447" y="6989669"/>
                  <a:pt x="4176782" y="6988071"/>
                </a:cubicBezTo>
                <a:cubicBezTo>
                  <a:pt x="4176116" y="6986474"/>
                  <a:pt x="4175184" y="6985143"/>
                  <a:pt x="4174119" y="6983945"/>
                </a:cubicBezTo>
                <a:cubicBezTo>
                  <a:pt x="4173054" y="6982880"/>
                  <a:pt x="4171723" y="6981948"/>
                  <a:pt x="4170126" y="6981283"/>
                </a:cubicBezTo>
                <a:cubicBezTo>
                  <a:pt x="4168662" y="6980617"/>
                  <a:pt x="4167064" y="6980351"/>
                  <a:pt x="4165068" y="6980351"/>
                </a:cubicBezTo>
                <a:close/>
                <a:moveTo>
                  <a:pt x="3947802" y="6980351"/>
                </a:moveTo>
                <a:cubicBezTo>
                  <a:pt x="3941944" y="6980351"/>
                  <a:pt x="3939416" y="6982214"/>
                  <a:pt x="3937819" y="6983945"/>
                </a:cubicBezTo>
                <a:cubicBezTo>
                  <a:pt x="3935288" y="6986607"/>
                  <a:pt x="3934224" y="6989403"/>
                  <a:pt x="3934224" y="6993396"/>
                </a:cubicBezTo>
                <a:cubicBezTo>
                  <a:pt x="3934224" y="6997523"/>
                  <a:pt x="3935288" y="7000319"/>
                  <a:pt x="3937819" y="7002848"/>
                </a:cubicBezTo>
                <a:cubicBezTo>
                  <a:pt x="3939416" y="7004579"/>
                  <a:pt x="3941944" y="7006442"/>
                  <a:pt x="3947802" y="7006442"/>
                </a:cubicBezTo>
                <a:cubicBezTo>
                  <a:pt x="3949800" y="7006442"/>
                  <a:pt x="3951665" y="7006177"/>
                  <a:pt x="3953131" y="7005378"/>
                </a:cubicBezTo>
                <a:cubicBezTo>
                  <a:pt x="3954595" y="7004845"/>
                  <a:pt x="3955925" y="7004046"/>
                  <a:pt x="3956858" y="7002980"/>
                </a:cubicBezTo>
                <a:cubicBezTo>
                  <a:pt x="3957924" y="7001783"/>
                  <a:pt x="3958856" y="7000451"/>
                  <a:pt x="3959521" y="6998721"/>
                </a:cubicBezTo>
                <a:cubicBezTo>
                  <a:pt x="3960186" y="6997123"/>
                  <a:pt x="3960587" y="6995260"/>
                  <a:pt x="3960587" y="6993263"/>
                </a:cubicBezTo>
                <a:cubicBezTo>
                  <a:pt x="3960587" y="6991399"/>
                  <a:pt x="3960186" y="6989669"/>
                  <a:pt x="3959521" y="6988071"/>
                </a:cubicBezTo>
                <a:cubicBezTo>
                  <a:pt x="3958856" y="6986474"/>
                  <a:pt x="3957924" y="6985143"/>
                  <a:pt x="3956858" y="6983945"/>
                </a:cubicBezTo>
                <a:cubicBezTo>
                  <a:pt x="3955793" y="6982880"/>
                  <a:pt x="3954462" y="6981948"/>
                  <a:pt x="3952865" y="6981283"/>
                </a:cubicBezTo>
                <a:cubicBezTo>
                  <a:pt x="3951398" y="6980617"/>
                  <a:pt x="3949800" y="6980351"/>
                  <a:pt x="3947802" y="6980351"/>
                </a:cubicBezTo>
                <a:close/>
                <a:moveTo>
                  <a:pt x="3730141" y="6980351"/>
                </a:moveTo>
                <a:cubicBezTo>
                  <a:pt x="3724283" y="6980351"/>
                  <a:pt x="3721753" y="6982214"/>
                  <a:pt x="3720153" y="6983945"/>
                </a:cubicBezTo>
                <a:cubicBezTo>
                  <a:pt x="3717624" y="6986607"/>
                  <a:pt x="3716560" y="6989403"/>
                  <a:pt x="3716560" y="6993396"/>
                </a:cubicBezTo>
                <a:cubicBezTo>
                  <a:pt x="3716560" y="6997523"/>
                  <a:pt x="3717624" y="7000319"/>
                  <a:pt x="3720153" y="7002848"/>
                </a:cubicBezTo>
                <a:cubicBezTo>
                  <a:pt x="3721753" y="7004579"/>
                  <a:pt x="3724283" y="7006442"/>
                  <a:pt x="3730141" y="7006442"/>
                </a:cubicBezTo>
                <a:cubicBezTo>
                  <a:pt x="3732270" y="7006442"/>
                  <a:pt x="3734002" y="7006177"/>
                  <a:pt x="3735466" y="7005378"/>
                </a:cubicBezTo>
                <a:cubicBezTo>
                  <a:pt x="3736930" y="7004845"/>
                  <a:pt x="3738263" y="7004046"/>
                  <a:pt x="3739193" y="7002980"/>
                </a:cubicBezTo>
                <a:cubicBezTo>
                  <a:pt x="3740258" y="7001783"/>
                  <a:pt x="3741191" y="7000451"/>
                  <a:pt x="3741856" y="6998721"/>
                </a:cubicBezTo>
                <a:cubicBezTo>
                  <a:pt x="3742521" y="6997123"/>
                  <a:pt x="3742921" y="6995260"/>
                  <a:pt x="3742921" y="6993263"/>
                </a:cubicBezTo>
                <a:cubicBezTo>
                  <a:pt x="3742921" y="6991399"/>
                  <a:pt x="3742521" y="6989669"/>
                  <a:pt x="3741856" y="6988071"/>
                </a:cubicBezTo>
                <a:cubicBezTo>
                  <a:pt x="3741191" y="6986474"/>
                  <a:pt x="3740258" y="6985143"/>
                  <a:pt x="3739193" y="6983945"/>
                </a:cubicBezTo>
                <a:cubicBezTo>
                  <a:pt x="3738129" y="6982880"/>
                  <a:pt x="3736797" y="6981948"/>
                  <a:pt x="3735200" y="6981283"/>
                </a:cubicBezTo>
                <a:cubicBezTo>
                  <a:pt x="3733735" y="6980617"/>
                  <a:pt x="3732137" y="6980351"/>
                  <a:pt x="3730141" y="6980351"/>
                </a:cubicBezTo>
                <a:close/>
                <a:moveTo>
                  <a:pt x="3512475" y="6980351"/>
                </a:moveTo>
                <a:cubicBezTo>
                  <a:pt x="3506616" y="6980351"/>
                  <a:pt x="3504085" y="6982214"/>
                  <a:pt x="3502485" y="6983945"/>
                </a:cubicBezTo>
                <a:cubicBezTo>
                  <a:pt x="3499955" y="6986607"/>
                  <a:pt x="3498892" y="6989403"/>
                  <a:pt x="3498892" y="6993396"/>
                </a:cubicBezTo>
                <a:cubicBezTo>
                  <a:pt x="3498892" y="6997523"/>
                  <a:pt x="3499955" y="7000319"/>
                  <a:pt x="3502485" y="7002848"/>
                </a:cubicBezTo>
                <a:cubicBezTo>
                  <a:pt x="3504085" y="7004579"/>
                  <a:pt x="3506616" y="7006442"/>
                  <a:pt x="3512475" y="7006442"/>
                </a:cubicBezTo>
                <a:cubicBezTo>
                  <a:pt x="3514605" y="7006442"/>
                  <a:pt x="3516337" y="7006177"/>
                  <a:pt x="3517801" y="7005378"/>
                </a:cubicBezTo>
                <a:cubicBezTo>
                  <a:pt x="3519265" y="7004845"/>
                  <a:pt x="3520597" y="7004046"/>
                  <a:pt x="3521528" y="7002980"/>
                </a:cubicBezTo>
                <a:cubicBezTo>
                  <a:pt x="3522594" y="7001783"/>
                  <a:pt x="3523525" y="7000451"/>
                  <a:pt x="3524191" y="6998721"/>
                </a:cubicBezTo>
                <a:cubicBezTo>
                  <a:pt x="3524856" y="6997123"/>
                  <a:pt x="3525257" y="6995260"/>
                  <a:pt x="3525257" y="6993263"/>
                </a:cubicBezTo>
                <a:cubicBezTo>
                  <a:pt x="3525257" y="6991399"/>
                  <a:pt x="3524856" y="6989669"/>
                  <a:pt x="3524191" y="6988071"/>
                </a:cubicBezTo>
                <a:cubicBezTo>
                  <a:pt x="3523525" y="6986474"/>
                  <a:pt x="3522594" y="6985143"/>
                  <a:pt x="3521528" y="6983945"/>
                </a:cubicBezTo>
                <a:cubicBezTo>
                  <a:pt x="3520463" y="6982880"/>
                  <a:pt x="3519132" y="6981948"/>
                  <a:pt x="3517535" y="6981283"/>
                </a:cubicBezTo>
                <a:cubicBezTo>
                  <a:pt x="3516071" y="6980617"/>
                  <a:pt x="3514473" y="6980351"/>
                  <a:pt x="3512475" y="6980351"/>
                </a:cubicBezTo>
                <a:close/>
                <a:moveTo>
                  <a:pt x="3294943" y="6980351"/>
                </a:moveTo>
                <a:cubicBezTo>
                  <a:pt x="3289085" y="6980351"/>
                  <a:pt x="3286553" y="6982214"/>
                  <a:pt x="3284956" y="6983945"/>
                </a:cubicBezTo>
                <a:cubicBezTo>
                  <a:pt x="3282426" y="6986607"/>
                  <a:pt x="3281362" y="6989403"/>
                  <a:pt x="3281362" y="6993396"/>
                </a:cubicBezTo>
                <a:cubicBezTo>
                  <a:pt x="3281362" y="6997523"/>
                  <a:pt x="3282426" y="7000319"/>
                  <a:pt x="3284956" y="7002848"/>
                </a:cubicBezTo>
                <a:cubicBezTo>
                  <a:pt x="3286553" y="7004579"/>
                  <a:pt x="3289085" y="7006442"/>
                  <a:pt x="3294943" y="7006442"/>
                </a:cubicBezTo>
                <a:cubicBezTo>
                  <a:pt x="3296941" y="7006442"/>
                  <a:pt x="3298672" y="7006177"/>
                  <a:pt x="3300270" y="7005378"/>
                </a:cubicBezTo>
                <a:cubicBezTo>
                  <a:pt x="3301733" y="7004845"/>
                  <a:pt x="3303065" y="7004046"/>
                  <a:pt x="3303996" y="7002980"/>
                </a:cubicBezTo>
                <a:cubicBezTo>
                  <a:pt x="3305062" y="7001783"/>
                  <a:pt x="3305993" y="7000451"/>
                  <a:pt x="3306660" y="6998721"/>
                </a:cubicBezTo>
                <a:cubicBezTo>
                  <a:pt x="3307325" y="6997123"/>
                  <a:pt x="3307723" y="6995260"/>
                  <a:pt x="3307723" y="6993263"/>
                </a:cubicBezTo>
                <a:cubicBezTo>
                  <a:pt x="3307723" y="6991399"/>
                  <a:pt x="3307325" y="6989669"/>
                  <a:pt x="3306660" y="6988071"/>
                </a:cubicBezTo>
                <a:cubicBezTo>
                  <a:pt x="3305993" y="6986474"/>
                  <a:pt x="3305062" y="6985143"/>
                  <a:pt x="3303996" y="6983945"/>
                </a:cubicBezTo>
                <a:cubicBezTo>
                  <a:pt x="3302931" y="6982880"/>
                  <a:pt x="3301600" y="6981948"/>
                  <a:pt x="3300003" y="6981283"/>
                </a:cubicBezTo>
                <a:cubicBezTo>
                  <a:pt x="3298539" y="6980617"/>
                  <a:pt x="3296941" y="6980351"/>
                  <a:pt x="3294943" y="6980351"/>
                </a:cubicBezTo>
                <a:close/>
                <a:moveTo>
                  <a:pt x="3077412" y="6980351"/>
                </a:moveTo>
                <a:cubicBezTo>
                  <a:pt x="3071554" y="6980351"/>
                  <a:pt x="3069024" y="6982214"/>
                  <a:pt x="3067428" y="6983945"/>
                </a:cubicBezTo>
                <a:cubicBezTo>
                  <a:pt x="3064762" y="6986607"/>
                  <a:pt x="3063697" y="6989403"/>
                  <a:pt x="3063697" y="6993396"/>
                </a:cubicBezTo>
                <a:cubicBezTo>
                  <a:pt x="3063697" y="6997523"/>
                  <a:pt x="3064762" y="7000319"/>
                  <a:pt x="3067293" y="7002848"/>
                </a:cubicBezTo>
                <a:cubicBezTo>
                  <a:pt x="3068891" y="7004579"/>
                  <a:pt x="3071421" y="7006442"/>
                  <a:pt x="3077279" y="7006442"/>
                </a:cubicBezTo>
                <a:cubicBezTo>
                  <a:pt x="3079276" y="7006442"/>
                  <a:pt x="3081006" y="7006177"/>
                  <a:pt x="3082737" y="7005378"/>
                </a:cubicBezTo>
                <a:cubicBezTo>
                  <a:pt x="3084202" y="7004845"/>
                  <a:pt x="3085533" y="7004046"/>
                  <a:pt x="3086465" y="7002980"/>
                </a:cubicBezTo>
                <a:cubicBezTo>
                  <a:pt x="3087529" y="7001783"/>
                  <a:pt x="3088461" y="7000451"/>
                  <a:pt x="3089127" y="6998721"/>
                </a:cubicBezTo>
                <a:cubicBezTo>
                  <a:pt x="3089792" y="6997123"/>
                  <a:pt x="3090059" y="6995260"/>
                  <a:pt x="3090059" y="6993263"/>
                </a:cubicBezTo>
                <a:cubicBezTo>
                  <a:pt x="3090059" y="6991399"/>
                  <a:pt x="3089792" y="6989669"/>
                  <a:pt x="3089127" y="6988071"/>
                </a:cubicBezTo>
                <a:cubicBezTo>
                  <a:pt x="3088461" y="6986474"/>
                  <a:pt x="3087529" y="6985143"/>
                  <a:pt x="3086465" y="6983945"/>
                </a:cubicBezTo>
                <a:cubicBezTo>
                  <a:pt x="3085400" y="6982880"/>
                  <a:pt x="3084068" y="6981948"/>
                  <a:pt x="3082471" y="6981283"/>
                </a:cubicBezTo>
                <a:cubicBezTo>
                  <a:pt x="3081006" y="6980617"/>
                  <a:pt x="3079409" y="6980351"/>
                  <a:pt x="3077412" y="6980351"/>
                </a:cubicBezTo>
                <a:close/>
                <a:moveTo>
                  <a:pt x="2859614" y="6980351"/>
                </a:moveTo>
                <a:cubicBezTo>
                  <a:pt x="2853757" y="6980351"/>
                  <a:pt x="2851227" y="6982214"/>
                  <a:pt x="2849628" y="6983945"/>
                </a:cubicBezTo>
                <a:cubicBezTo>
                  <a:pt x="2847094" y="6986607"/>
                  <a:pt x="2846027" y="6989403"/>
                  <a:pt x="2846027" y="6993396"/>
                </a:cubicBezTo>
                <a:cubicBezTo>
                  <a:pt x="2846027" y="6997523"/>
                  <a:pt x="2847094" y="7000319"/>
                  <a:pt x="2849628" y="7002848"/>
                </a:cubicBezTo>
                <a:cubicBezTo>
                  <a:pt x="2851227" y="7004579"/>
                  <a:pt x="2853757" y="7006442"/>
                  <a:pt x="2859614" y="7006442"/>
                </a:cubicBezTo>
                <a:cubicBezTo>
                  <a:pt x="2861611" y="7006442"/>
                  <a:pt x="2863475" y="7006177"/>
                  <a:pt x="2864939" y="7005378"/>
                </a:cubicBezTo>
                <a:cubicBezTo>
                  <a:pt x="2866537" y="7004845"/>
                  <a:pt x="2867735" y="7004046"/>
                  <a:pt x="2868666" y="7002980"/>
                </a:cubicBezTo>
                <a:cubicBezTo>
                  <a:pt x="2869731" y="7001783"/>
                  <a:pt x="2870663" y="7000451"/>
                  <a:pt x="2871329" y="6998721"/>
                </a:cubicBezTo>
                <a:cubicBezTo>
                  <a:pt x="2871861" y="6997123"/>
                  <a:pt x="2872260" y="6995260"/>
                  <a:pt x="2872260" y="6993263"/>
                </a:cubicBezTo>
                <a:cubicBezTo>
                  <a:pt x="2872260" y="6991399"/>
                  <a:pt x="2871994" y="6989669"/>
                  <a:pt x="2871329" y="6988071"/>
                </a:cubicBezTo>
                <a:cubicBezTo>
                  <a:pt x="2870663" y="6986474"/>
                  <a:pt x="2869731" y="6985143"/>
                  <a:pt x="2868666" y="6983945"/>
                </a:cubicBezTo>
                <a:cubicBezTo>
                  <a:pt x="2867602" y="6982880"/>
                  <a:pt x="2866270" y="6981948"/>
                  <a:pt x="2864673" y="6981283"/>
                </a:cubicBezTo>
                <a:cubicBezTo>
                  <a:pt x="2863209" y="6980617"/>
                  <a:pt x="2861611" y="6980351"/>
                  <a:pt x="2859614" y="6980351"/>
                </a:cubicBezTo>
                <a:close/>
                <a:moveTo>
                  <a:pt x="2641949" y="6980351"/>
                </a:moveTo>
                <a:cubicBezTo>
                  <a:pt x="2636091" y="6980351"/>
                  <a:pt x="2633562" y="6982214"/>
                  <a:pt x="2631966" y="6983945"/>
                </a:cubicBezTo>
                <a:cubicBezTo>
                  <a:pt x="2629435" y="6986607"/>
                  <a:pt x="2628371" y="6989403"/>
                  <a:pt x="2628371" y="6993396"/>
                </a:cubicBezTo>
                <a:cubicBezTo>
                  <a:pt x="2628371" y="6997523"/>
                  <a:pt x="2629435" y="7000319"/>
                  <a:pt x="2631966" y="7002848"/>
                </a:cubicBezTo>
                <a:cubicBezTo>
                  <a:pt x="2633562" y="7004579"/>
                  <a:pt x="2636091" y="7006442"/>
                  <a:pt x="2641949" y="7006442"/>
                </a:cubicBezTo>
                <a:cubicBezTo>
                  <a:pt x="2643945" y="7006442"/>
                  <a:pt x="2645810" y="7006177"/>
                  <a:pt x="2647274" y="7005378"/>
                </a:cubicBezTo>
                <a:cubicBezTo>
                  <a:pt x="2648871" y="7004845"/>
                  <a:pt x="2650069" y="7004046"/>
                  <a:pt x="2651001" y="7002980"/>
                </a:cubicBezTo>
                <a:cubicBezTo>
                  <a:pt x="2652066" y="7001783"/>
                  <a:pt x="2652998" y="7000451"/>
                  <a:pt x="2653664" y="6998721"/>
                </a:cubicBezTo>
                <a:cubicBezTo>
                  <a:pt x="2654196" y="6997123"/>
                  <a:pt x="2654595" y="6995260"/>
                  <a:pt x="2654595" y="6993263"/>
                </a:cubicBezTo>
                <a:cubicBezTo>
                  <a:pt x="2654595" y="6991399"/>
                  <a:pt x="2654329" y="6989669"/>
                  <a:pt x="2653664" y="6988071"/>
                </a:cubicBezTo>
                <a:cubicBezTo>
                  <a:pt x="2652998" y="6986474"/>
                  <a:pt x="2652066" y="6985143"/>
                  <a:pt x="2651001" y="6983945"/>
                </a:cubicBezTo>
                <a:cubicBezTo>
                  <a:pt x="2649936" y="6982880"/>
                  <a:pt x="2648605" y="6981948"/>
                  <a:pt x="2647008" y="6981283"/>
                </a:cubicBezTo>
                <a:cubicBezTo>
                  <a:pt x="2645543" y="6980617"/>
                  <a:pt x="2643945" y="6980351"/>
                  <a:pt x="2641949" y="6980351"/>
                </a:cubicBezTo>
                <a:close/>
                <a:moveTo>
                  <a:pt x="2424283" y="6980351"/>
                </a:moveTo>
                <a:cubicBezTo>
                  <a:pt x="2418427" y="6980351"/>
                  <a:pt x="2415898" y="6982214"/>
                  <a:pt x="2414300" y="6983945"/>
                </a:cubicBezTo>
                <a:cubicBezTo>
                  <a:pt x="2411770" y="6986607"/>
                  <a:pt x="2410706" y="6989403"/>
                  <a:pt x="2410706" y="6993396"/>
                </a:cubicBezTo>
                <a:cubicBezTo>
                  <a:pt x="2410706" y="6997523"/>
                  <a:pt x="2411770" y="7000319"/>
                  <a:pt x="2414300" y="7002848"/>
                </a:cubicBezTo>
                <a:cubicBezTo>
                  <a:pt x="2415898" y="7004579"/>
                  <a:pt x="2418427" y="7006442"/>
                  <a:pt x="2424283" y="7006442"/>
                </a:cubicBezTo>
                <a:cubicBezTo>
                  <a:pt x="2426414" y="7006442"/>
                  <a:pt x="2428145" y="7006177"/>
                  <a:pt x="2429609" y="7005378"/>
                </a:cubicBezTo>
                <a:cubicBezTo>
                  <a:pt x="2431207" y="7004845"/>
                  <a:pt x="2432405" y="7004046"/>
                  <a:pt x="2433336" y="7002980"/>
                </a:cubicBezTo>
                <a:cubicBezTo>
                  <a:pt x="2434401" y="7001783"/>
                  <a:pt x="2435333" y="7000451"/>
                  <a:pt x="2435999" y="6998721"/>
                </a:cubicBezTo>
                <a:cubicBezTo>
                  <a:pt x="2436531" y="6997123"/>
                  <a:pt x="2436930" y="6995260"/>
                  <a:pt x="2436930" y="6993263"/>
                </a:cubicBezTo>
                <a:cubicBezTo>
                  <a:pt x="2436930" y="6991399"/>
                  <a:pt x="2436664" y="6989669"/>
                  <a:pt x="2435999" y="6988071"/>
                </a:cubicBezTo>
                <a:cubicBezTo>
                  <a:pt x="2435333" y="6986474"/>
                  <a:pt x="2434401" y="6985143"/>
                  <a:pt x="2433336" y="6983945"/>
                </a:cubicBezTo>
                <a:cubicBezTo>
                  <a:pt x="2432272" y="6982880"/>
                  <a:pt x="2430940" y="6981948"/>
                  <a:pt x="2429343" y="6981283"/>
                </a:cubicBezTo>
                <a:cubicBezTo>
                  <a:pt x="2427879" y="6980617"/>
                  <a:pt x="2426281" y="6980351"/>
                  <a:pt x="2424283" y="6980351"/>
                </a:cubicBezTo>
                <a:close/>
                <a:moveTo>
                  <a:pt x="2206619" y="6980351"/>
                </a:moveTo>
                <a:cubicBezTo>
                  <a:pt x="2200761" y="6980351"/>
                  <a:pt x="2198232" y="6982214"/>
                  <a:pt x="2196635" y="6983945"/>
                </a:cubicBezTo>
                <a:cubicBezTo>
                  <a:pt x="2194105" y="6986607"/>
                  <a:pt x="2193041" y="6989403"/>
                  <a:pt x="2193041" y="6993396"/>
                </a:cubicBezTo>
                <a:cubicBezTo>
                  <a:pt x="2193041" y="6997523"/>
                  <a:pt x="2194105" y="7000319"/>
                  <a:pt x="2196635" y="7002848"/>
                </a:cubicBezTo>
                <a:cubicBezTo>
                  <a:pt x="2198232" y="7004579"/>
                  <a:pt x="2200761" y="7006442"/>
                  <a:pt x="2206619" y="7006442"/>
                </a:cubicBezTo>
                <a:cubicBezTo>
                  <a:pt x="2208748" y="7006442"/>
                  <a:pt x="2210480" y="7006177"/>
                  <a:pt x="2211944" y="7005378"/>
                </a:cubicBezTo>
                <a:cubicBezTo>
                  <a:pt x="2213541" y="7004845"/>
                  <a:pt x="2214739" y="7004046"/>
                  <a:pt x="2215670" y="7002980"/>
                </a:cubicBezTo>
                <a:cubicBezTo>
                  <a:pt x="2216736" y="7001783"/>
                  <a:pt x="2217667" y="7000451"/>
                  <a:pt x="2218334" y="6998721"/>
                </a:cubicBezTo>
                <a:cubicBezTo>
                  <a:pt x="2218866" y="6997123"/>
                  <a:pt x="2219265" y="6995260"/>
                  <a:pt x="2219265" y="6993263"/>
                </a:cubicBezTo>
                <a:cubicBezTo>
                  <a:pt x="2219265" y="6991399"/>
                  <a:pt x="2218999" y="6989669"/>
                  <a:pt x="2218334" y="6988071"/>
                </a:cubicBezTo>
                <a:cubicBezTo>
                  <a:pt x="2217667" y="6986474"/>
                  <a:pt x="2216736" y="6985143"/>
                  <a:pt x="2215670" y="6983945"/>
                </a:cubicBezTo>
                <a:cubicBezTo>
                  <a:pt x="2214605" y="6982880"/>
                  <a:pt x="2213275" y="6981948"/>
                  <a:pt x="2211677" y="6981283"/>
                </a:cubicBezTo>
                <a:cubicBezTo>
                  <a:pt x="2210213" y="6980617"/>
                  <a:pt x="2208615" y="6980351"/>
                  <a:pt x="2206619" y="6980351"/>
                </a:cubicBezTo>
                <a:close/>
                <a:moveTo>
                  <a:pt x="1989086" y="6980351"/>
                </a:moveTo>
                <a:cubicBezTo>
                  <a:pt x="1983229" y="6980351"/>
                  <a:pt x="1980700" y="6982214"/>
                  <a:pt x="1979103" y="6983945"/>
                </a:cubicBezTo>
                <a:cubicBezTo>
                  <a:pt x="1976573" y="6986607"/>
                  <a:pt x="1975509" y="6989403"/>
                  <a:pt x="1975509" y="6993396"/>
                </a:cubicBezTo>
                <a:cubicBezTo>
                  <a:pt x="1975509" y="6997523"/>
                  <a:pt x="1976573" y="7000319"/>
                  <a:pt x="1979103" y="7002848"/>
                </a:cubicBezTo>
                <a:cubicBezTo>
                  <a:pt x="1980700" y="7004579"/>
                  <a:pt x="1983229" y="7006442"/>
                  <a:pt x="1989086" y="7006442"/>
                </a:cubicBezTo>
                <a:cubicBezTo>
                  <a:pt x="1991083" y="7006442"/>
                  <a:pt x="1992814" y="7006177"/>
                  <a:pt x="1994411" y="7005378"/>
                </a:cubicBezTo>
                <a:cubicBezTo>
                  <a:pt x="1996009" y="7004845"/>
                  <a:pt x="1997208" y="7004046"/>
                  <a:pt x="1998139" y="7002980"/>
                </a:cubicBezTo>
                <a:cubicBezTo>
                  <a:pt x="1999203" y="7001783"/>
                  <a:pt x="2000135" y="7000451"/>
                  <a:pt x="2000802" y="6998721"/>
                </a:cubicBezTo>
                <a:cubicBezTo>
                  <a:pt x="2001333" y="6997123"/>
                  <a:pt x="2001732" y="6995260"/>
                  <a:pt x="2001732" y="6993263"/>
                </a:cubicBezTo>
                <a:cubicBezTo>
                  <a:pt x="2001732" y="6991399"/>
                  <a:pt x="2001467" y="6989669"/>
                  <a:pt x="2000802" y="6988071"/>
                </a:cubicBezTo>
                <a:cubicBezTo>
                  <a:pt x="2000135" y="6986474"/>
                  <a:pt x="1999203" y="6985143"/>
                  <a:pt x="1998139" y="6983945"/>
                </a:cubicBezTo>
                <a:cubicBezTo>
                  <a:pt x="1997074" y="6982880"/>
                  <a:pt x="1995742" y="6981948"/>
                  <a:pt x="1994145" y="6981283"/>
                </a:cubicBezTo>
                <a:cubicBezTo>
                  <a:pt x="1992681" y="6980617"/>
                  <a:pt x="1991083" y="6980351"/>
                  <a:pt x="1989086" y="6980351"/>
                </a:cubicBezTo>
                <a:close/>
                <a:moveTo>
                  <a:pt x="1771456" y="6980351"/>
                </a:moveTo>
                <a:cubicBezTo>
                  <a:pt x="1765598" y="6980351"/>
                  <a:pt x="1763071" y="6982214"/>
                  <a:pt x="1761473" y="6983945"/>
                </a:cubicBezTo>
                <a:cubicBezTo>
                  <a:pt x="1758945" y="6986607"/>
                  <a:pt x="1757880" y="6989403"/>
                  <a:pt x="1757880" y="6993396"/>
                </a:cubicBezTo>
                <a:cubicBezTo>
                  <a:pt x="1757880" y="6997523"/>
                  <a:pt x="1758945" y="7000319"/>
                  <a:pt x="1761473" y="7002848"/>
                </a:cubicBezTo>
                <a:cubicBezTo>
                  <a:pt x="1763071" y="7004579"/>
                  <a:pt x="1765598" y="7006442"/>
                  <a:pt x="1771456" y="7006442"/>
                </a:cubicBezTo>
                <a:cubicBezTo>
                  <a:pt x="1773453" y="7006442"/>
                  <a:pt x="1775316" y="7006177"/>
                  <a:pt x="1776780" y="7005378"/>
                </a:cubicBezTo>
                <a:cubicBezTo>
                  <a:pt x="1778244" y="7004845"/>
                  <a:pt x="1779574" y="7004046"/>
                  <a:pt x="1780506" y="7002980"/>
                </a:cubicBezTo>
                <a:cubicBezTo>
                  <a:pt x="1781571" y="7001783"/>
                  <a:pt x="1782503" y="7000451"/>
                  <a:pt x="1783169" y="6998721"/>
                </a:cubicBezTo>
                <a:cubicBezTo>
                  <a:pt x="1783834" y="6997123"/>
                  <a:pt x="1784234" y="6995260"/>
                  <a:pt x="1784234" y="6993263"/>
                </a:cubicBezTo>
                <a:cubicBezTo>
                  <a:pt x="1784234" y="6991399"/>
                  <a:pt x="1783834" y="6989669"/>
                  <a:pt x="1783169" y="6988071"/>
                </a:cubicBezTo>
                <a:cubicBezTo>
                  <a:pt x="1782503" y="6986474"/>
                  <a:pt x="1781571" y="6985143"/>
                  <a:pt x="1780506" y="6983945"/>
                </a:cubicBezTo>
                <a:cubicBezTo>
                  <a:pt x="1779441" y="6982880"/>
                  <a:pt x="1778112" y="6981948"/>
                  <a:pt x="1776514" y="6981283"/>
                </a:cubicBezTo>
                <a:cubicBezTo>
                  <a:pt x="1775050" y="6980617"/>
                  <a:pt x="1773453" y="6980351"/>
                  <a:pt x="1771456" y="6980351"/>
                </a:cubicBezTo>
                <a:close/>
                <a:moveTo>
                  <a:pt x="1553820" y="6980351"/>
                </a:moveTo>
                <a:cubicBezTo>
                  <a:pt x="1547963" y="6980351"/>
                  <a:pt x="1545434" y="6982214"/>
                  <a:pt x="1543838" y="6983945"/>
                </a:cubicBezTo>
                <a:cubicBezTo>
                  <a:pt x="1541308" y="6986607"/>
                  <a:pt x="1540243" y="6989403"/>
                  <a:pt x="1540243" y="6993396"/>
                </a:cubicBezTo>
                <a:cubicBezTo>
                  <a:pt x="1540243" y="6997523"/>
                  <a:pt x="1541308" y="7000319"/>
                  <a:pt x="1543838" y="7002848"/>
                </a:cubicBezTo>
                <a:cubicBezTo>
                  <a:pt x="1545434" y="7004579"/>
                  <a:pt x="1547963" y="7006442"/>
                  <a:pt x="1553820" y="7006442"/>
                </a:cubicBezTo>
                <a:cubicBezTo>
                  <a:pt x="1555817" y="7006442"/>
                  <a:pt x="1557681" y="7006177"/>
                  <a:pt x="1559145" y="7005378"/>
                </a:cubicBezTo>
                <a:cubicBezTo>
                  <a:pt x="1560609" y="7004845"/>
                  <a:pt x="1561941" y="7004046"/>
                  <a:pt x="1562872" y="7002980"/>
                </a:cubicBezTo>
                <a:cubicBezTo>
                  <a:pt x="1563937" y="7001783"/>
                  <a:pt x="1564869" y="7000451"/>
                  <a:pt x="1565535" y="6998721"/>
                </a:cubicBezTo>
                <a:cubicBezTo>
                  <a:pt x="1566200" y="6997123"/>
                  <a:pt x="1566600" y="6995260"/>
                  <a:pt x="1566600" y="6993263"/>
                </a:cubicBezTo>
                <a:cubicBezTo>
                  <a:pt x="1566600" y="6991399"/>
                  <a:pt x="1566200" y="6989669"/>
                  <a:pt x="1565535" y="6988071"/>
                </a:cubicBezTo>
                <a:cubicBezTo>
                  <a:pt x="1564869" y="6986474"/>
                  <a:pt x="1563937" y="6985143"/>
                  <a:pt x="1562872" y="6983945"/>
                </a:cubicBezTo>
                <a:cubicBezTo>
                  <a:pt x="1561807" y="6982880"/>
                  <a:pt x="1560476" y="6981948"/>
                  <a:pt x="1558879" y="6981283"/>
                </a:cubicBezTo>
                <a:cubicBezTo>
                  <a:pt x="1557415" y="6980617"/>
                  <a:pt x="1555817" y="6980351"/>
                  <a:pt x="1553820" y="6980351"/>
                </a:cubicBezTo>
                <a:close/>
                <a:moveTo>
                  <a:pt x="1336178" y="6980351"/>
                </a:moveTo>
                <a:cubicBezTo>
                  <a:pt x="1330319" y="6980351"/>
                  <a:pt x="1327790" y="6982214"/>
                  <a:pt x="1326194" y="6983945"/>
                </a:cubicBezTo>
                <a:cubicBezTo>
                  <a:pt x="1323663" y="6986607"/>
                  <a:pt x="1322599" y="6989403"/>
                  <a:pt x="1322599" y="6993396"/>
                </a:cubicBezTo>
                <a:cubicBezTo>
                  <a:pt x="1322599" y="6997523"/>
                  <a:pt x="1323663" y="7000319"/>
                  <a:pt x="1326194" y="7002848"/>
                </a:cubicBezTo>
                <a:cubicBezTo>
                  <a:pt x="1327790" y="7004579"/>
                  <a:pt x="1330319" y="7006442"/>
                  <a:pt x="1336178" y="7006442"/>
                </a:cubicBezTo>
                <a:cubicBezTo>
                  <a:pt x="1338307" y="7006442"/>
                  <a:pt x="1340037" y="7006177"/>
                  <a:pt x="1341504" y="7005378"/>
                </a:cubicBezTo>
                <a:cubicBezTo>
                  <a:pt x="1342967" y="7004845"/>
                  <a:pt x="1344298" y="7004046"/>
                  <a:pt x="1345232" y="7002980"/>
                </a:cubicBezTo>
                <a:cubicBezTo>
                  <a:pt x="1346295" y="7001783"/>
                  <a:pt x="1347228" y="7000451"/>
                  <a:pt x="1347893" y="6998721"/>
                </a:cubicBezTo>
                <a:cubicBezTo>
                  <a:pt x="1348559" y="6997123"/>
                  <a:pt x="1348959" y="6995260"/>
                  <a:pt x="1348959" y="6993263"/>
                </a:cubicBezTo>
                <a:cubicBezTo>
                  <a:pt x="1348959" y="6991399"/>
                  <a:pt x="1348559" y="6989669"/>
                  <a:pt x="1347893" y="6988071"/>
                </a:cubicBezTo>
                <a:cubicBezTo>
                  <a:pt x="1347228" y="6986474"/>
                  <a:pt x="1346295" y="6985143"/>
                  <a:pt x="1345232" y="6983945"/>
                </a:cubicBezTo>
                <a:cubicBezTo>
                  <a:pt x="1344166" y="6982880"/>
                  <a:pt x="1342835" y="6981948"/>
                  <a:pt x="1341236" y="6981283"/>
                </a:cubicBezTo>
                <a:cubicBezTo>
                  <a:pt x="1339772" y="6980617"/>
                  <a:pt x="1338173" y="6980351"/>
                  <a:pt x="1336178" y="6980351"/>
                </a:cubicBezTo>
                <a:close/>
                <a:moveTo>
                  <a:pt x="1118665" y="6980351"/>
                </a:moveTo>
                <a:cubicBezTo>
                  <a:pt x="1112805" y="6980351"/>
                  <a:pt x="1110276" y="6982214"/>
                  <a:pt x="1108679" y="6983945"/>
                </a:cubicBezTo>
                <a:cubicBezTo>
                  <a:pt x="1106016" y="6986607"/>
                  <a:pt x="1104952" y="6989403"/>
                  <a:pt x="1104952" y="6993396"/>
                </a:cubicBezTo>
                <a:cubicBezTo>
                  <a:pt x="1104952" y="6997523"/>
                  <a:pt x="1106016" y="7000319"/>
                  <a:pt x="1108546" y="7002848"/>
                </a:cubicBezTo>
                <a:cubicBezTo>
                  <a:pt x="1110143" y="7004579"/>
                  <a:pt x="1112673" y="7006442"/>
                  <a:pt x="1118532" y="7006442"/>
                </a:cubicBezTo>
                <a:cubicBezTo>
                  <a:pt x="1120662" y="7006442"/>
                  <a:pt x="1122393" y="7006177"/>
                  <a:pt x="1123988" y="7005378"/>
                </a:cubicBezTo>
                <a:cubicBezTo>
                  <a:pt x="1125454" y="7004845"/>
                  <a:pt x="1126790" y="7004046"/>
                  <a:pt x="1127720" y="7002980"/>
                </a:cubicBezTo>
                <a:cubicBezTo>
                  <a:pt x="1128785" y="7001783"/>
                  <a:pt x="1129717" y="7000451"/>
                  <a:pt x="1130384" y="6998721"/>
                </a:cubicBezTo>
                <a:cubicBezTo>
                  <a:pt x="1131048" y="6997123"/>
                  <a:pt x="1131449" y="6995260"/>
                  <a:pt x="1131449" y="6993263"/>
                </a:cubicBezTo>
                <a:cubicBezTo>
                  <a:pt x="1131449" y="6991399"/>
                  <a:pt x="1131048" y="6989669"/>
                  <a:pt x="1130384" y="6988071"/>
                </a:cubicBezTo>
                <a:cubicBezTo>
                  <a:pt x="1129717" y="6986474"/>
                  <a:pt x="1128785" y="6985143"/>
                  <a:pt x="1127720" y="6983945"/>
                </a:cubicBezTo>
                <a:cubicBezTo>
                  <a:pt x="1126655" y="6982880"/>
                  <a:pt x="1125322" y="6981948"/>
                  <a:pt x="1123724" y="6981283"/>
                </a:cubicBezTo>
                <a:cubicBezTo>
                  <a:pt x="1122260" y="6980617"/>
                  <a:pt x="1120662" y="6980351"/>
                  <a:pt x="1118665" y="6980351"/>
                </a:cubicBezTo>
                <a:close/>
                <a:moveTo>
                  <a:pt x="901152" y="6980351"/>
                </a:moveTo>
                <a:cubicBezTo>
                  <a:pt x="895295" y="6980351"/>
                  <a:pt x="892765" y="6982214"/>
                  <a:pt x="891168" y="6983945"/>
                </a:cubicBezTo>
                <a:cubicBezTo>
                  <a:pt x="888505" y="6986607"/>
                  <a:pt x="887441" y="6989403"/>
                  <a:pt x="887441" y="6993396"/>
                </a:cubicBezTo>
                <a:cubicBezTo>
                  <a:pt x="887441" y="6997523"/>
                  <a:pt x="888505" y="7000319"/>
                  <a:pt x="891035" y="7002848"/>
                </a:cubicBezTo>
                <a:cubicBezTo>
                  <a:pt x="892633" y="7004579"/>
                  <a:pt x="895161" y="7006442"/>
                  <a:pt x="901018" y="7006442"/>
                </a:cubicBezTo>
                <a:cubicBezTo>
                  <a:pt x="903015" y="7006442"/>
                  <a:pt x="904747" y="7006177"/>
                  <a:pt x="906477" y="7005378"/>
                </a:cubicBezTo>
                <a:cubicBezTo>
                  <a:pt x="907941" y="7004845"/>
                  <a:pt x="909273" y="7004046"/>
                  <a:pt x="910205" y="7002980"/>
                </a:cubicBezTo>
                <a:cubicBezTo>
                  <a:pt x="911269" y="7001783"/>
                  <a:pt x="912201" y="7000451"/>
                  <a:pt x="912867" y="6998721"/>
                </a:cubicBezTo>
                <a:cubicBezTo>
                  <a:pt x="913532" y="6997123"/>
                  <a:pt x="913932" y="6995260"/>
                  <a:pt x="913932" y="6993263"/>
                </a:cubicBezTo>
                <a:cubicBezTo>
                  <a:pt x="913932" y="6991399"/>
                  <a:pt x="913532" y="6989669"/>
                  <a:pt x="912867" y="6988071"/>
                </a:cubicBezTo>
                <a:cubicBezTo>
                  <a:pt x="912201" y="6986474"/>
                  <a:pt x="911269" y="6985143"/>
                  <a:pt x="910205" y="6983945"/>
                </a:cubicBezTo>
                <a:cubicBezTo>
                  <a:pt x="909140" y="6982880"/>
                  <a:pt x="907808" y="6981948"/>
                  <a:pt x="906211" y="6981283"/>
                </a:cubicBezTo>
                <a:cubicBezTo>
                  <a:pt x="904747" y="6980617"/>
                  <a:pt x="903149" y="6980351"/>
                  <a:pt x="901152" y="6980351"/>
                </a:cubicBezTo>
                <a:close/>
                <a:moveTo>
                  <a:pt x="683380" y="6980351"/>
                </a:moveTo>
                <a:cubicBezTo>
                  <a:pt x="677522" y="6980351"/>
                  <a:pt x="674993" y="6982214"/>
                  <a:pt x="673396" y="6983945"/>
                </a:cubicBezTo>
                <a:cubicBezTo>
                  <a:pt x="670866" y="6986607"/>
                  <a:pt x="669802" y="6989403"/>
                  <a:pt x="669802" y="6993396"/>
                </a:cubicBezTo>
                <a:cubicBezTo>
                  <a:pt x="669802" y="6997523"/>
                  <a:pt x="670866" y="7000319"/>
                  <a:pt x="673396" y="7002848"/>
                </a:cubicBezTo>
                <a:cubicBezTo>
                  <a:pt x="674993" y="7004579"/>
                  <a:pt x="677522" y="7006442"/>
                  <a:pt x="683380" y="7006442"/>
                </a:cubicBezTo>
                <a:cubicBezTo>
                  <a:pt x="685376" y="7006442"/>
                  <a:pt x="687241" y="7006177"/>
                  <a:pt x="688705" y="7005378"/>
                </a:cubicBezTo>
                <a:cubicBezTo>
                  <a:pt x="690169" y="7004845"/>
                  <a:pt x="691501" y="7004046"/>
                  <a:pt x="692432" y="7002980"/>
                </a:cubicBezTo>
                <a:cubicBezTo>
                  <a:pt x="693497" y="7001783"/>
                  <a:pt x="694429" y="7000451"/>
                  <a:pt x="695095" y="6998721"/>
                </a:cubicBezTo>
                <a:cubicBezTo>
                  <a:pt x="695760" y="6997123"/>
                  <a:pt x="696160" y="6995260"/>
                  <a:pt x="696160" y="6993263"/>
                </a:cubicBezTo>
                <a:cubicBezTo>
                  <a:pt x="696160" y="6991399"/>
                  <a:pt x="695760" y="6989669"/>
                  <a:pt x="695095" y="6988071"/>
                </a:cubicBezTo>
                <a:cubicBezTo>
                  <a:pt x="694429" y="6986474"/>
                  <a:pt x="693497" y="6985143"/>
                  <a:pt x="692432" y="6983945"/>
                </a:cubicBezTo>
                <a:cubicBezTo>
                  <a:pt x="691367" y="6982880"/>
                  <a:pt x="690036" y="6981948"/>
                  <a:pt x="688439" y="6981283"/>
                </a:cubicBezTo>
                <a:cubicBezTo>
                  <a:pt x="686975" y="6980617"/>
                  <a:pt x="685376" y="6980351"/>
                  <a:pt x="683380" y="6980351"/>
                </a:cubicBezTo>
                <a:close/>
                <a:moveTo>
                  <a:pt x="465739" y="6980351"/>
                </a:moveTo>
                <a:cubicBezTo>
                  <a:pt x="459882" y="6980351"/>
                  <a:pt x="457353" y="6982214"/>
                  <a:pt x="455756" y="6983945"/>
                </a:cubicBezTo>
                <a:cubicBezTo>
                  <a:pt x="453226" y="6986607"/>
                  <a:pt x="452162" y="6989403"/>
                  <a:pt x="452162" y="6993396"/>
                </a:cubicBezTo>
                <a:cubicBezTo>
                  <a:pt x="452162" y="6997523"/>
                  <a:pt x="453226" y="7000319"/>
                  <a:pt x="455756" y="7002848"/>
                </a:cubicBezTo>
                <a:cubicBezTo>
                  <a:pt x="457353" y="7004579"/>
                  <a:pt x="459882" y="7006442"/>
                  <a:pt x="465739" y="7006442"/>
                </a:cubicBezTo>
                <a:cubicBezTo>
                  <a:pt x="467736" y="7006442"/>
                  <a:pt x="469600" y="7006177"/>
                  <a:pt x="471064" y="7005378"/>
                </a:cubicBezTo>
                <a:cubicBezTo>
                  <a:pt x="472528" y="7004845"/>
                  <a:pt x="473859" y="7004046"/>
                  <a:pt x="474791" y="7002980"/>
                </a:cubicBezTo>
                <a:cubicBezTo>
                  <a:pt x="475856" y="7001783"/>
                  <a:pt x="476788" y="7000451"/>
                  <a:pt x="477454" y="6998721"/>
                </a:cubicBezTo>
                <a:cubicBezTo>
                  <a:pt x="478119" y="6997123"/>
                  <a:pt x="478519" y="6995260"/>
                  <a:pt x="478519" y="6993263"/>
                </a:cubicBezTo>
                <a:cubicBezTo>
                  <a:pt x="478519" y="6991399"/>
                  <a:pt x="478119" y="6989669"/>
                  <a:pt x="477454" y="6988071"/>
                </a:cubicBezTo>
                <a:cubicBezTo>
                  <a:pt x="476788" y="6986474"/>
                  <a:pt x="475856" y="6985143"/>
                  <a:pt x="474791" y="6983945"/>
                </a:cubicBezTo>
                <a:cubicBezTo>
                  <a:pt x="473726" y="6982880"/>
                  <a:pt x="472395" y="6981948"/>
                  <a:pt x="470798" y="6981283"/>
                </a:cubicBezTo>
                <a:cubicBezTo>
                  <a:pt x="469334" y="6980617"/>
                  <a:pt x="467736" y="6980351"/>
                  <a:pt x="465739" y="6980351"/>
                </a:cubicBezTo>
                <a:close/>
                <a:moveTo>
                  <a:pt x="248098" y="6980351"/>
                </a:moveTo>
                <a:cubicBezTo>
                  <a:pt x="242242" y="6980351"/>
                  <a:pt x="239713" y="6982214"/>
                  <a:pt x="238116" y="6983945"/>
                </a:cubicBezTo>
                <a:cubicBezTo>
                  <a:pt x="235586" y="6986607"/>
                  <a:pt x="234523" y="6989403"/>
                  <a:pt x="234523" y="6993396"/>
                </a:cubicBezTo>
                <a:cubicBezTo>
                  <a:pt x="234523" y="6997523"/>
                  <a:pt x="235586" y="7000319"/>
                  <a:pt x="238116" y="7002848"/>
                </a:cubicBezTo>
                <a:cubicBezTo>
                  <a:pt x="239713" y="7004579"/>
                  <a:pt x="242242" y="7006442"/>
                  <a:pt x="248098" y="7006442"/>
                </a:cubicBezTo>
                <a:cubicBezTo>
                  <a:pt x="250228" y="7006442"/>
                  <a:pt x="251959" y="7006177"/>
                  <a:pt x="253423" y="7005378"/>
                </a:cubicBezTo>
                <a:cubicBezTo>
                  <a:pt x="254887" y="7004845"/>
                  <a:pt x="256217" y="7004046"/>
                  <a:pt x="257149" y="7002980"/>
                </a:cubicBezTo>
                <a:cubicBezTo>
                  <a:pt x="258214" y="7001783"/>
                  <a:pt x="259146" y="7000451"/>
                  <a:pt x="259813" y="6998721"/>
                </a:cubicBezTo>
                <a:cubicBezTo>
                  <a:pt x="260478" y="6997123"/>
                  <a:pt x="260878" y="6995260"/>
                  <a:pt x="260878" y="6993263"/>
                </a:cubicBezTo>
                <a:cubicBezTo>
                  <a:pt x="260878" y="6991399"/>
                  <a:pt x="260478" y="6989669"/>
                  <a:pt x="259813" y="6988071"/>
                </a:cubicBezTo>
                <a:cubicBezTo>
                  <a:pt x="259146" y="6986474"/>
                  <a:pt x="258214" y="6985143"/>
                  <a:pt x="257149" y="6983945"/>
                </a:cubicBezTo>
                <a:cubicBezTo>
                  <a:pt x="256085" y="6982880"/>
                  <a:pt x="254754" y="6981948"/>
                  <a:pt x="253157" y="6981283"/>
                </a:cubicBezTo>
                <a:cubicBezTo>
                  <a:pt x="251692" y="6980617"/>
                  <a:pt x="250095" y="6980351"/>
                  <a:pt x="248098" y="6980351"/>
                </a:cubicBezTo>
                <a:close/>
                <a:moveTo>
                  <a:pt x="30458" y="6980351"/>
                </a:moveTo>
                <a:cubicBezTo>
                  <a:pt x="24601" y="6980351"/>
                  <a:pt x="22071" y="6982214"/>
                  <a:pt x="20474" y="6983945"/>
                </a:cubicBezTo>
                <a:cubicBezTo>
                  <a:pt x="17945" y="6986607"/>
                  <a:pt x="16882" y="6989403"/>
                  <a:pt x="16882" y="6993396"/>
                </a:cubicBezTo>
                <a:cubicBezTo>
                  <a:pt x="16882" y="6997523"/>
                  <a:pt x="17945" y="7000319"/>
                  <a:pt x="20474" y="7002848"/>
                </a:cubicBezTo>
                <a:cubicBezTo>
                  <a:pt x="22071" y="7004579"/>
                  <a:pt x="24601" y="7006442"/>
                  <a:pt x="30458" y="7006442"/>
                </a:cubicBezTo>
                <a:cubicBezTo>
                  <a:pt x="32588" y="7006442"/>
                  <a:pt x="34319" y="7006177"/>
                  <a:pt x="35783" y="7005378"/>
                </a:cubicBezTo>
                <a:cubicBezTo>
                  <a:pt x="37247" y="7004845"/>
                  <a:pt x="38579" y="7004046"/>
                  <a:pt x="39510" y="7002980"/>
                </a:cubicBezTo>
                <a:cubicBezTo>
                  <a:pt x="40575" y="7001783"/>
                  <a:pt x="41507" y="7000451"/>
                  <a:pt x="42173" y="6998721"/>
                </a:cubicBezTo>
                <a:cubicBezTo>
                  <a:pt x="42838" y="6997123"/>
                  <a:pt x="43104" y="6995260"/>
                  <a:pt x="43104" y="6993263"/>
                </a:cubicBezTo>
                <a:cubicBezTo>
                  <a:pt x="43104" y="6991399"/>
                  <a:pt x="42838" y="6989669"/>
                  <a:pt x="42173" y="6988071"/>
                </a:cubicBezTo>
                <a:cubicBezTo>
                  <a:pt x="41507" y="6986474"/>
                  <a:pt x="40575" y="6985143"/>
                  <a:pt x="39510" y="6983945"/>
                </a:cubicBezTo>
                <a:cubicBezTo>
                  <a:pt x="38445" y="6982880"/>
                  <a:pt x="37114" y="6981948"/>
                  <a:pt x="35517" y="6981283"/>
                </a:cubicBezTo>
                <a:cubicBezTo>
                  <a:pt x="34053" y="6980617"/>
                  <a:pt x="32455" y="6980351"/>
                  <a:pt x="30458" y="6980351"/>
                </a:cubicBezTo>
                <a:close/>
                <a:moveTo>
                  <a:pt x="10475977" y="6963844"/>
                </a:moveTo>
                <a:cubicBezTo>
                  <a:pt x="10480237" y="6963844"/>
                  <a:pt x="10484230" y="6964643"/>
                  <a:pt x="10487824" y="6966373"/>
                </a:cubicBezTo>
                <a:cubicBezTo>
                  <a:pt x="10491419" y="6967971"/>
                  <a:pt x="10494613" y="6970101"/>
                  <a:pt x="10497143" y="6972763"/>
                </a:cubicBezTo>
                <a:cubicBezTo>
                  <a:pt x="10499672" y="6975293"/>
                  <a:pt x="10501801" y="6978487"/>
                  <a:pt x="10503266" y="6982082"/>
                </a:cubicBezTo>
                <a:cubicBezTo>
                  <a:pt x="10504730" y="6985675"/>
                  <a:pt x="10505529" y="6989536"/>
                  <a:pt x="10505529" y="6993529"/>
                </a:cubicBezTo>
                <a:cubicBezTo>
                  <a:pt x="10505529" y="6997656"/>
                  <a:pt x="10504730" y="7001649"/>
                  <a:pt x="10503266" y="7005245"/>
                </a:cubicBezTo>
                <a:cubicBezTo>
                  <a:pt x="10501669" y="7008838"/>
                  <a:pt x="10499672" y="7011901"/>
                  <a:pt x="10497143" y="7014563"/>
                </a:cubicBezTo>
                <a:cubicBezTo>
                  <a:pt x="10494480" y="7017225"/>
                  <a:pt x="10491419" y="7019355"/>
                  <a:pt x="10487824" y="7020819"/>
                </a:cubicBezTo>
                <a:cubicBezTo>
                  <a:pt x="10484098" y="7022283"/>
                  <a:pt x="10480237" y="7023082"/>
                  <a:pt x="10475977" y="7023082"/>
                </a:cubicBezTo>
                <a:cubicBezTo>
                  <a:pt x="10466924" y="7023082"/>
                  <a:pt x="10459736" y="7020154"/>
                  <a:pt x="10454145" y="7014563"/>
                </a:cubicBezTo>
                <a:cubicBezTo>
                  <a:pt x="10448554" y="7008838"/>
                  <a:pt x="10445759" y="7001916"/>
                  <a:pt x="10445759" y="6993396"/>
                </a:cubicBezTo>
                <a:cubicBezTo>
                  <a:pt x="10445759" y="6985143"/>
                  <a:pt x="10448554" y="6978088"/>
                  <a:pt x="10454145" y="6972364"/>
                </a:cubicBezTo>
                <a:cubicBezTo>
                  <a:pt x="10459603" y="6966640"/>
                  <a:pt x="10466924" y="6963844"/>
                  <a:pt x="10475977" y="6963844"/>
                </a:cubicBezTo>
                <a:close/>
                <a:moveTo>
                  <a:pt x="10258466" y="6963844"/>
                </a:moveTo>
                <a:cubicBezTo>
                  <a:pt x="10262592" y="6963844"/>
                  <a:pt x="10266586" y="6964643"/>
                  <a:pt x="10270313" y="6966373"/>
                </a:cubicBezTo>
                <a:cubicBezTo>
                  <a:pt x="10273907" y="6967971"/>
                  <a:pt x="10277101" y="6970101"/>
                  <a:pt x="10279631" y="6972763"/>
                </a:cubicBezTo>
                <a:cubicBezTo>
                  <a:pt x="10282160" y="6975293"/>
                  <a:pt x="10284290" y="6978487"/>
                  <a:pt x="10285754" y="6982082"/>
                </a:cubicBezTo>
                <a:cubicBezTo>
                  <a:pt x="10287218" y="6985675"/>
                  <a:pt x="10288017" y="6989536"/>
                  <a:pt x="10288017" y="6993529"/>
                </a:cubicBezTo>
                <a:cubicBezTo>
                  <a:pt x="10288017" y="6997656"/>
                  <a:pt x="10287218" y="7001649"/>
                  <a:pt x="10285754" y="7005245"/>
                </a:cubicBezTo>
                <a:cubicBezTo>
                  <a:pt x="10284157" y="7008838"/>
                  <a:pt x="10282160" y="7011901"/>
                  <a:pt x="10279631" y="7014563"/>
                </a:cubicBezTo>
                <a:cubicBezTo>
                  <a:pt x="10276969" y="7017225"/>
                  <a:pt x="10273907" y="7019355"/>
                  <a:pt x="10270313" y="7020819"/>
                </a:cubicBezTo>
                <a:cubicBezTo>
                  <a:pt x="10266586" y="7022283"/>
                  <a:pt x="10262725" y="7023082"/>
                  <a:pt x="10258466" y="7023082"/>
                </a:cubicBezTo>
                <a:cubicBezTo>
                  <a:pt x="10249546" y="7023082"/>
                  <a:pt x="10242224" y="7020154"/>
                  <a:pt x="10236633" y="7014563"/>
                </a:cubicBezTo>
                <a:cubicBezTo>
                  <a:pt x="10231043" y="7008838"/>
                  <a:pt x="10228247" y="7001916"/>
                  <a:pt x="10228247" y="6993396"/>
                </a:cubicBezTo>
                <a:cubicBezTo>
                  <a:pt x="10228247" y="6985143"/>
                  <a:pt x="10231043" y="6978088"/>
                  <a:pt x="10236633" y="6972364"/>
                </a:cubicBezTo>
                <a:cubicBezTo>
                  <a:pt x="10242092" y="6966640"/>
                  <a:pt x="10249413" y="6963844"/>
                  <a:pt x="10258466" y="6963844"/>
                </a:cubicBezTo>
                <a:close/>
                <a:moveTo>
                  <a:pt x="10040820" y="6963844"/>
                </a:moveTo>
                <a:cubicBezTo>
                  <a:pt x="10045080" y="6963844"/>
                  <a:pt x="10048941" y="6964643"/>
                  <a:pt x="10052534" y="6966373"/>
                </a:cubicBezTo>
                <a:cubicBezTo>
                  <a:pt x="10056129" y="6967971"/>
                  <a:pt x="10059323" y="6970101"/>
                  <a:pt x="10061852" y="6972763"/>
                </a:cubicBezTo>
                <a:cubicBezTo>
                  <a:pt x="10064382" y="6975293"/>
                  <a:pt x="10066512" y="6978487"/>
                  <a:pt x="10067976" y="6982082"/>
                </a:cubicBezTo>
                <a:cubicBezTo>
                  <a:pt x="10069440" y="6985675"/>
                  <a:pt x="10070239" y="6989536"/>
                  <a:pt x="10070239" y="6993529"/>
                </a:cubicBezTo>
                <a:cubicBezTo>
                  <a:pt x="10070239" y="6997656"/>
                  <a:pt x="10069440" y="7001649"/>
                  <a:pt x="10067976" y="7005245"/>
                </a:cubicBezTo>
                <a:cubicBezTo>
                  <a:pt x="10066379" y="7008838"/>
                  <a:pt x="10064382" y="7011901"/>
                  <a:pt x="10061852" y="7014563"/>
                </a:cubicBezTo>
                <a:cubicBezTo>
                  <a:pt x="10059190" y="7017225"/>
                  <a:pt x="10056129" y="7019355"/>
                  <a:pt x="10052534" y="7020819"/>
                </a:cubicBezTo>
                <a:cubicBezTo>
                  <a:pt x="10048941" y="7022283"/>
                  <a:pt x="10045080" y="7023082"/>
                  <a:pt x="10040820" y="7023082"/>
                </a:cubicBezTo>
                <a:cubicBezTo>
                  <a:pt x="10031767" y="7023082"/>
                  <a:pt x="10024579" y="7020154"/>
                  <a:pt x="10018988" y="7014563"/>
                </a:cubicBezTo>
                <a:cubicBezTo>
                  <a:pt x="10013397" y="7008838"/>
                  <a:pt x="10010602" y="7001916"/>
                  <a:pt x="10010602" y="6993396"/>
                </a:cubicBezTo>
                <a:cubicBezTo>
                  <a:pt x="10010602" y="6985143"/>
                  <a:pt x="10013397" y="6978088"/>
                  <a:pt x="10018988" y="6972364"/>
                </a:cubicBezTo>
                <a:cubicBezTo>
                  <a:pt x="10024579" y="6966640"/>
                  <a:pt x="10031767" y="6963844"/>
                  <a:pt x="10040820" y="6963844"/>
                </a:cubicBezTo>
                <a:close/>
                <a:moveTo>
                  <a:pt x="9823176" y="6963844"/>
                </a:moveTo>
                <a:cubicBezTo>
                  <a:pt x="9827435" y="6963844"/>
                  <a:pt x="9831296" y="6964643"/>
                  <a:pt x="9834890" y="6966373"/>
                </a:cubicBezTo>
                <a:cubicBezTo>
                  <a:pt x="9838617" y="6967971"/>
                  <a:pt x="9841679" y="6970101"/>
                  <a:pt x="9844208" y="6972763"/>
                </a:cubicBezTo>
                <a:cubicBezTo>
                  <a:pt x="9846737" y="6975293"/>
                  <a:pt x="9848867" y="6978487"/>
                  <a:pt x="9850331" y="6982082"/>
                </a:cubicBezTo>
                <a:cubicBezTo>
                  <a:pt x="9851796" y="6985675"/>
                  <a:pt x="9852595" y="6989536"/>
                  <a:pt x="9852595" y="6993529"/>
                </a:cubicBezTo>
                <a:cubicBezTo>
                  <a:pt x="9852595" y="6997656"/>
                  <a:pt x="9851796" y="7001649"/>
                  <a:pt x="9850331" y="7005245"/>
                </a:cubicBezTo>
                <a:cubicBezTo>
                  <a:pt x="9848734" y="7008838"/>
                  <a:pt x="9846737" y="7011901"/>
                  <a:pt x="9844208" y="7014563"/>
                </a:cubicBezTo>
                <a:cubicBezTo>
                  <a:pt x="9841546" y="7017225"/>
                  <a:pt x="9838484" y="7019355"/>
                  <a:pt x="9834890" y="7020819"/>
                </a:cubicBezTo>
                <a:cubicBezTo>
                  <a:pt x="9831296" y="7022283"/>
                  <a:pt x="9827435" y="7023082"/>
                  <a:pt x="9823176" y="7023082"/>
                </a:cubicBezTo>
                <a:cubicBezTo>
                  <a:pt x="9814123" y="7023082"/>
                  <a:pt x="9806935" y="7020154"/>
                  <a:pt x="9801343" y="7014563"/>
                </a:cubicBezTo>
                <a:cubicBezTo>
                  <a:pt x="9795753" y="7008838"/>
                  <a:pt x="9792957" y="7001916"/>
                  <a:pt x="9792957" y="6993396"/>
                </a:cubicBezTo>
                <a:cubicBezTo>
                  <a:pt x="9792957" y="6985143"/>
                  <a:pt x="9795753" y="6978088"/>
                  <a:pt x="9801343" y="6972364"/>
                </a:cubicBezTo>
                <a:cubicBezTo>
                  <a:pt x="9806935" y="6966640"/>
                  <a:pt x="9814123" y="6963844"/>
                  <a:pt x="9823176" y="6963844"/>
                </a:cubicBezTo>
                <a:close/>
                <a:moveTo>
                  <a:pt x="9605531" y="6963844"/>
                </a:moveTo>
                <a:cubicBezTo>
                  <a:pt x="9609790" y="6963844"/>
                  <a:pt x="9613784" y="6964643"/>
                  <a:pt x="9617245" y="6966373"/>
                </a:cubicBezTo>
                <a:cubicBezTo>
                  <a:pt x="9620839" y="6967971"/>
                  <a:pt x="9624033" y="6970101"/>
                  <a:pt x="9626562" y="6972763"/>
                </a:cubicBezTo>
                <a:cubicBezTo>
                  <a:pt x="9629092" y="6975293"/>
                  <a:pt x="9631222" y="6978487"/>
                  <a:pt x="9632686" y="6982082"/>
                </a:cubicBezTo>
                <a:cubicBezTo>
                  <a:pt x="9634150" y="6985675"/>
                  <a:pt x="9634949" y="6989536"/>
                  <a:pt x="9634949" y="6993529"/>
                </a:cubicBezTo>
                <a:cubicBezTo>
                  <a:pt x="9634949" y="6997656"/>
                  <a:pt x="9634150" y="7001649"/>
                  <a:pt x="9632686" y="7005245"/>
                </a:cubicBezTo>
                <a:cubicBezTo>
                  <a:pt x="9631089" y="7008838"/>
                  <a:pt x="9629092" y="7011901"/>
                  <a:pt x="9626562" y="7014563"/>
                </a:cubicBezTo>
                <a:cubicBezTo>
                  <a:pt x="9623901" y="7017225"/>
                  <a:pt x="9620839" y="7019355"/>
                  <a:pt x="9617245" y="7020819"/>
                </a:cubicBezTo>
                <a:cubicBezTo>
                  <a:pt x="9613651" y="7022283"/>
                  <a:pt x="9609790" y="7023082"/>
                  <a:pt x="9605531" y="7023082"/>
                </a:cubicBezTo>
                <a:cubicBezTo>
                  <a:pt x="9596610" y="7023082"/>
                  <a:pt x="9589289" y="7020154"/>
                  <a:pt x="9583698" y="7014563"/>
                </a:cubicBezTo>
                <a:cubicBezTo>
                  <a:pt x="9578108" y="7008838"/>
                  <a:pt x="9575312" y="7001916"/>
                  <a:pt x="9575312" y="6993396"/>
                </a:cubicBezTo>
                <a:cubicBezTo>
                  <a:pt x="9575312" y="6985143"/>
                  <a:pt x="9578108" y="6978088"/>
                  <a:pt x="9583698" y="6972364"/>
                </a:cubicBezTo>
                <a:cubicBezTo>
                  <a:pt x="9589289" y="6966640"/>
                  <a:pt x="9596478" y="6963844"/>
                  <a:pt x="9605531" y="6963844"/>
                </a:cubicBezTo>
                <a:close/>
                <a:moveTo>
                  <a:pt x="9387885" y="6963844"/>
                </a:moveTo>
                <a:cubicBezTo>
                  <a:pt x="9392145" y="6963844"/>
                  <a:pt x="9396138" y="6964643"/>
                  <a:pt x="9399599" y="6966373"/>
                </a:cubicBezTo>
                <a:cubicBezTo>
                  <a:pt x="9403194" y="6967971"/>
                  <a:pt x="9406388" y="6970101"/>
                  <a:pt x="9408917" y="6972763"/>
                </a:cubicBezTo>
                <a:cubicBezTo>
                  <a:pt x="9411447" y="6975293"/>
                  <a:pt x="9413576" y="6978487"/>
                  <a:pt x="9415041" y="6982082"/>
                </a:cubicBezTo>
                <a:cubicBezTo>
                  <a:pt x="9416505" y="6985675"/>
                  <a:pt x="9417304" y="6989536"/>
                  <a:pt x="9417304" y="6993529"/>
                </a:cubicBezTo>
                <a:cubicBezTo>
                  <a:pt x="9417304" y="6997656"/>
                  <a:pt x="9416505" y="7001649"/>
                  <a:pt x="9415041" y="7005245"/>
                </a:cubicBezTo>
                <a:cubicBezTo>
                  <a:pt x="9413444" y="7008838"/>
                  <a:pt x="9411447" y="7011901"/>
                  <a:pt x="9408917" y="7014563"/>
                </a:cubicBezTo>
                <a:cubicBezTo>
                  <a:pt x="9406255" y="7017225"/>
                  <a:pt x="9403194" y="7019355"/>
                  <a:pt x="9399599" y="7020819"/>
                </a:cubicBezTo>
                <a:cubicBezTo>
                  <a:pt x="9396005" y="7022283"/>
                  <a:pt x="9392145" y="7023082"/>
                  <a:pt x="9387885" y="7023082"/>
                </a:cubicBezTo>
                <a:cubicBezTo>
                  <a:pt x="9378965" y="7023082"/>
                  <a:pt x="9371644" y="7020154"/>
                  <a:pt x="9366053" y="7014563"/>
                </a:cubicBezTo>
                <a:cubicBezTo>
                  <a:pt x="9360462" y="7008838"/>
                  <a:pt x="9357667" y="7001916"/>
                  <a:pt x="9357667" y="6993396"/>
                </a:cubicBezTo>
                <a:cubicBezTo>
                  <a:pt x="9357667" y="6985143"/>
                  <a:pt x="9360462" y="6978088"/>
                  <a:pt x="9366053" y="6972364"/>
                </a:cubicBezTo>
                <a:cubicBezTo>
                  <a:pt x="9371644" y="6966640"/>
                  <a:pt x="9378832" y="6963844"/>
                  <a:pt x="9387885" y="6963844"/>
                </a:cubicBezTo>
                <a:close/>
                <a:moveTo>
                  <a:pt x="9170374" y="6963844"/>
                </a:moveTo>
                <a:cubicBezTo>
                  <a:pt x="9174500" y="6963844"/>
                  <a:pt x="9178494" y="6964643"/>
                  <a:pt x="9182088" y="6966373"/>
                </a:cubicBezTo>
                <a:cubicBezTo>
                  <a:pt x="9185682" y="6967971"/>
                  <a:pt x="9188876" y="6970101"/>
                  <a:pt x="9191405" y="6972763"/>
                </a:cubicBezTo>
                <a:cubicBezTo>
                  <a:pt x="9193935" y="6975293"/>
                  <a:pt x="9196065" y="6978487"/>
                  <a:pt x="9197529" y="6982082"/>
                </a:cubicBezTo>
                <a:cubicBezTo>
                  <a:pt x="9198993" y="6985675"/>
                  <a:pt x="9199792" y="6989536"/>
                  <a:pt x="9199792" y="6993529"/>
                </a:cubicBezTo>
                <a:cubicBezTo>
                  <a:pt x="9199792" y="6997656"/>
                  <a:pt x="9198993" y="7001649"/>
                  <a:pt x="9197529" y="7005245"/>
                </a:cubicBezTo>
                <a:cubicBezTo>
                  <a:pt x="9195932" y="7008838"/>
                  <a:pt x="9193935" y="7011901"/>
                  <a:pt x="9191405" y="7014563"/>
                </a:cubicBezTo>
                <a:cubicBezTo>
                  <a:pt x="9188744" y="7017225"/>
                  <a:pt x="9185682" y="7019355"/>
                  <a:pt x="9182088" y="7020819"/>
                </a:cubicBezTo>
                <a:cubicBezTo>
                  <a:pt x="9178494" y="7022283"/>
                  <a:pt x="9174633" y="7023082"/>
                  <a:pt x="9170374" y="7023082"/>
                </a:cubicBezTo>
                <a:cubicBezTo>
                  <a:pt x="9161453" y="7023082"/>
                  <a:pt x="9154132" y="7020154"/>
                  <a:pt x="9148541" y="7014563"/>
                </a:cubicBezTo>
                <a:cubicBezTo>
                  <a:pt x="9142951" y="7008838"/>
                  <a:pt x="9140155" y="7001916"/>
                  <a:pt x="9140155" y="6993396"/>
                </a:cubicBezTo>
                <a:cubicBezTo>
                  <a:pt x="9140155" y="6985143"/>
                  <a:pt x="9142951" y="6978088"/>
                  <a:pt x="9148541" y="6972364"/>
                </a:cubicBezTo>
                <a:cubicBezTo>
                  <a:pt x="9154132" y="6966640"/>
                  <a:pt x="9161321" y="6963844"/>
                  <a:pt x="9170374" y="6963844"/>
                </a:cubicBezTo>
                <a:close/>
                <a:moveTo>
                  <a:pt x="8952728" y="6963844"/>
                </a:moveTo>
                <a:cubicBezTo>
                  <a:pt x="8956988" y="6963844"/>
                  <a:pt x="8960849" y="6964643"/>
                  <a:pt x="8964442" y="6966373"/>
                </a:cubicBezTo>
                <a:cubicBezTo>
                  <a:pt x="8968037" y="6967971"/>
                  <a:pt x="8971231" y="6970101"/>
                  <a:pt x="8973760" y="6972763"/>
                </a:cubicBezTo>
                <a:cubicBezTo>
                  <a:pt x="8976290" y="6975293"/>
                  <a:pt x="8978419" y="6978487"/>
                  <a:pt x="8979884" y="6982082"/>
                </a:cubicBezTo>
                <a:cubicBezTo>
                  <a:pt x="8981348" y="6985675"/>
                  <a:pt x="8982147" y="6989536"/>
                  <a:pt x="8982147" y="6993529"/>
                </a:cubicBezTo>
                <a:cubicBezTo>
                  <a:pt x="8982147" y="6997656"/>
                  <a:pt x="8981348" y="7001649"/>
                  <a:pt x="8979884" y="7005245"/>
                </a:cubicBezTo>
                <a:cubicBezTo>
                  <a:pt x="8978287" y="7008838"/>
                  <a:pt x="8976290" y="7011901"/>
                  <a:pt x="8973760" y="7014563"/>
                </a:cubicBezTo>
                <a:cubicBezTo>
                  <a:pt x="8971098" y="7017225"/>
                  <a:pt x="8968037" y="7019355"/>
                  <a:pt x="8964442" y="7020819"/>
                </a:cubicBezTo>
                <a:cubicBezTo>
                  <a:pt x="8960849" y="7022283"/>
                  <a:pt x="8956988" y="7023082"/>
                  <a:pt x="8952728" y="7023082"/>
                </a:cubicBezTo>
                <a:cubicBezTo>
                  <a:pt x="8943808" y="7023082"/>
                  <a:pt x="8936487" y="7020154"/>
                  <a:pt x="8930896" y="7014563"/>
                </a:cubicBezTo>
                <a:cubicBezTo>
                  <a:pt x="8925305" y="7008838"/>
                  <a:pt x="8922510" y="7001916"/>
                  <a:pt x="8922510" y="6993396"/>
                </a:cubicBezTo>
                <a:cubicBezTo>
                  <a:pt x="8922510" y="6985143"/>
                  <a:pt x="8925305" y="6978088"/>
                  <a:pt x="8930896" y="6972364"/>
                </a:cubicBezTo>
                <a:cubicBezTo>
                  <a:pt x="8936487" y="6966640"/>
                  <a:pt x="8943675" y="6963844"/>
                  <a:pt x="8952728" y="6963844"/>
                </a:cubicBezTo>
                <a:close/>
                <a:moveTo>
                  <a:pt x="8735083" y="6963844"/>
                </a:moveTo>
                <a:cubicBezTo>
                  <a:pt x="8739342" y="6963844"/>
                  <a:pt x="8743203" y="6964643"/>
                  <a:pt x="8746797" y="6966373"/>
                </a:cubicBezTo>
                <a:cubicBezTo>
                  <a:pt x="8750391" y="6967971"/>
                  <a:pt x="8753586" y="6970101"/>
                  <a:pt x="8756115" y="6972763"/>
                </a:cubicBezTo>
                <a:cubicBezTo>
                  <a:pt x="8758644" y="6975293"/>
                  <a:pt x="8760774" y="6978487"/>
                  <a:pt x="8762238" y="6982082"/>
                </a:cubicBezTo>
                <a:cubicBezTo>
                  <a:pt x="8763702" y="6985675"/>
                  <a:pt x="8764502" y="6989536"/>
                  <a:pt x="8764502" y="6993529"/>
                </a:cubicBezTo>
                <a:cubicBezTo>
                  <a:pt x="8764502" y="6997656"/>
                  <a:pt x="8763702" y="7001649"/>
                  <a:pt x="8762238" y="7005245"/>
                </a:cubicBezTo>
                <a:cubicBezTo>
                  <a:pt x="8760641" y="7008838"/>
                  <a:pt x="8758644" y="7011901"/>
                  <a:pt x="8756115" y="7014563"/>
                </a:cubicBezTo>
                <a:cubicBezTo>
                  <a:pt x="8753453" y="7017225"/>
                  <a:pt x="8750391" y="7019355"/>
                  <a:pt x="8746797" y="7020819"/>
                </a:cubicBezTo>
                <a:cubicBezTo>
                  <a:pt x="8743203" y="7022283"/>
                  <a:pt x="8739342" y="7023082"/>
                  <a:pt x="8735083" y="7023082"/>
                </a:cubicBezTo>
                <a:cubicBezTo>
                  <a:pt x="8726030" y="7023082"/>
                  <a:pt x="8718841" y="7020154"/>
                  <a:pt x="8713250" y="7014563"/>
                </a:cubicBezTo>
                <a:cubicBezTo>
                  <a:pt x="8707660" y="7008838"/>
                  <a:pt x="8704864" y="7001916"/>
                  <a:pt x="8704864" y="6993396"/>
                </a:cubicBezTo>
                <a:cubicBezTo>
                  <a:pt x="8704864" y="6985143"/>
                  <a:pt x="8707660" y="6978088"/>
                  <a:pt x="8713250" y="6972364"/>
                </a:cubicBezTo>
                <a:cubicBezTo>
                  <a:pt x="8718841" y="6966640"/>
                  <a:pt x="8726030" y="6963844"/>
                  <a:pt x="8735083" y="6963844"/>
                </a:cubicBezTo>
                <a:close/>
                <a:moveTo>
                  <a:pt x="8517438" y="6963844"/>
                </a:moveTo>
                <a:cubicBezTo>
                  <a:pt x="8521698" y="6963844"/>
                  <a:pt x="8525559" y="6964643"/>
                  <a:pt x="8529152" y="6966373"/>
                </a:cubicBezTo>
                <a:cubicBezTo>
                  <a:pt x="8532880" y="6967971"/>
                  <a:pt x="8535941" y="6970101"/>
                  <a:pt x="8538470" y="6972763"/>
                </a:cubicBezTo>
                <a:cubicBezTo>
                  <a:pt x="8541000" y="6975293"/>
                  <a:pt x="8543130" y="6978487"/>
                  <a:pt x="8544594" y="6982082"/>
                </a:cubicBezTo>
                <a:cubicBezTo>
                  <a:pt x="8546058" y="6985675"/>
                  <a:pt x="8546857" y="6989536"/>
                  <a:pt x="8546857" y="6993529"/>
                </a:cubicBezTo>
                <a:cubicBezTo>
                  <a:pt x="8546857" y="6997656"/>
                  <a:pt x="8546058" y="7001649"/>
                  <a:pt x="8544594" y="7005245"/>
                </a:cubicBezTo>
                <a:cubicBezTo>
                  <a:pt x="8542997" y="7008838"/>
                  <a:pt x="8541000" y="7011901"/>
                  <a:pt x="8538470" y="7014563"/>
                </a:cubicBezTo>
                <a:cubicBezTo>
                  <a:pt x="8535808" y="7017225"/>
                  <a:pt x="8532747" y="7019355"/>
                  <a:pt x="8529152" y="7020819"/>
                </a:cubicBezTo>
                <a:cubicBezTo>
                  <a:pt x="8525559" y="7022283"/>
                  <a:pt x="8521698" y="7023082"/>
                  <a:pt x="8517438" y="7023082"/>
                </a:cubicBezTo>
                <a:cubicBezTo>
                  <a:pt x="8508385" y="7023082"/>
                  <a:pt x="8501197" y="7020154"/>
                  <a:pt x="8495606" y="7014563"/>
                </a:cubicBezTo>
                <a:cubicBezTo>
                  <a:pt x="8490015" y="7008838"/>
                  <a:pt x="8487220" y="7001916"/>
                  <a:pt x="8487220" y="6993396"/>
                </a:cubicBezTo>
                <a:cubicBezTo>
                  <a:pt x="8487220" y="6985143"/>
                  <a:pt x="8490015" y="6978088"/>
                  <a:pt x="8495606" y="6972364"/>
                </a:cubicBezTo>
                <a:cubicBezTo>
                  <a:pt x="8501197" y="6966640"/>
                  <a:pt x="8508385" y="6963844"/>
                  <a:pt x="8517438" y="6963844"/>
                </a:cubicBezTo>
                <a:close/>
                <a:moveTo>
                  <a:pt x="8299793" y="6963844"/>
                </a:moveTo>
                <a:cubicBezTo>
                  <a:pt x="8304052" y="6963844"/>
                  <a:pt x="8308046" y="6964643"/>
                  <a:pt x="8311507" y="6966373"/>
                </a:cubicBezTo>
                <a:cubicBezTo>
                  <a:pt x="8315235" y="6967971"/>
                  <a:pt x="8318296" y="6970101"/>
                  <a:pt x="8320825" y="6972763"/>
                </a:cubicBezTo>
                <a:cubicBezTo>
                  <a:pt x="8323354" y="6975293"/>
                  <a:pt x="8325484" y="6978487"/>
                  <a:pt x="8326948" y="6982082"/>
                </a:cubicBezTo>
                <a:cubicBezTo>
                  <a:pt x="8328413" y="6985675"/>
                  <a:pt x="8329212" y="6989536"/>
                  <a:pt x="8329212" y="6993529"/>
                </a:cubicBezTo>
                <a:cubicBezTo>
                  <a:pt x="8329212" y="6997656"/>
                  <a:pt x="8328413" y="7001649"/>
                  <a:pt x="8326948" y="7005245"/>
                </a:cubicBezTo>
                <a:cubicBezTo>
                  <a:pt x="8325351" y="7008838"/>
                  <a:pt x="8323354" y="7011901"/>
                  <a:pt x="8320825" y="7014563"/>
                </a:cubicBezTo>
                <a:cubicBezTo>
                  <a:pt x="8318163" y="7017225"/>
                  <a:pt x="8315101" y="7019355"/>
                  <a:pt x="8311507" y="7020819"/>
                </a:cubicBezTo>
                <a:cubicBezTo>
                  <a:pt x="8307913" y="7022283"/>
                  <a:pt x="8304052" y="7023082"/>
                  <a:pt x="8299793" y="7023082"/>
                </a:cubicBezTo>
                <a:cubicBezTo>
                  <a:pt x="8290874" y="7023082"/>
                  <a:pt x="8283553" y="7020154"/>
                  <a:pt x="8277960" y="7014563"/>
                </a:cubicBezTo>
                <a:cubicBezTo>
                  <a:pt x="8272370" y="7008838"/>
                  <a:pt x="8269574" y="7001916"/>
                  <a:pt x="8269574" y="6993396"/>
                </a:cubicBezTo>
                <a:cubicBezTo>
                  <a:pt x="8269574" y="6985143"/>
                  <a:pt x="8272370" y="6978088"/>
                  <a:pt x="8277960" y="6972364"/>
                </a:cubicBezTo>
                <a:cubicBezTo>
                  <a:pt x="8283553" y="6966640"/>
                  <a:pt x="8290741" y="6963844"/>
                  <a:pt x="8299793" y="6963844"/>
                </a:cubicBezTo>
                <a:close/>
                <a:moveTo>
                  <a:pt x="8082281" y="6963844"/>
                </a:moveTo>
                <a:cubicBezTo>
                  <a:pt x="8086407" y="6963844"/>
                  <a:pt x="8090401" y="6964643"/>
                  <a:pt x="8094127" y="6966373"/>
                </a:cubicBezTo>
                <a:cubicBezTo>
                  <a:pt x="8097855" y="6967971"/>
                  <a:pt x="8100916" y="6970101"/>
                  <a:pt x="8103446" y="6972763"/>
                </a:cubicBezTo>
                <a:cubicBezTo>
                  <a:pt x="8105975" y="6975293"/>
                  <a:pt x="8108104" y="6978487"/>
                  <a:pt x="8109569" y="6982082"/>
                </a:cubicBezTo>
                <a:cubicBezTo>
                  <a:pt x="8111033" y="6985675"/>
                  <a:pt x="8111832" y="6989536"/>
                  <a:pt x="8111832" y="6993529"/>
                </a:cubicBezTo>
                <a:cubicBezTo>
                  <a:pt x="8111832" y="6997656"/>
                  <a:pt x="8111033" y="7001649"/>
                  <a:pt x="8109569" y="7005245"/>
                </a:cubicBezTo>
                <a:cubicBezTo>
                  <a:pt x="8107972" y="7008838"/>
                  <a:pt x="8105975" y="7011901"/>
                  <a:pt x="8103446" y="7014563"/>
                </a:cubicBezTo>
                <a:cubicBezTo>
                  <a:pt x="8100783" y="7017225"/>
                  <a:pt x="8097722" y="7019355"/>
                  <a:pt x="8094127" y="7020819"/>
                </a:cubicBezTo>
                <a:cubicBezTo>
                  <a:pt x="8090401" y="7022283"/>
                  <a:pt x="8086540" y="7023082"/>
                  <a:pt x="8082281" y="7023082"/>
                </a:cubicBezTo>
                <a:cubicBezTo>
                  <a:pt x="8073361" y="7023082"/>
                  <a:pt x="8066040" y="7020154"/>
                  <a:pt x="8060448" y="7014563"/>
                </a:cubicBezTo>
                <a:cubicBezTo>
                  <a:pt x="8054857" y="7008838"/>
                  <a:pt x="8052062" y="7001916"/>
                  <a:pt x="8052062" y="6993396"/>
                </a:cubicBezTo>
                <a:cubicBezTo>
                  <a:pt x="8052062" y="6985143"/>
                  <a:pt x="8054857" y="6978088"/>
                  <a:pt x="8060448" y="6972364"/>
                </a:cubicBezTo>
                <a:cubicBezTo>
                  <a:pt x="8066040" y="6966640"/>
                  <a:pt x="8073228" y="6963844"/>
                  <a:pt x="8082281" y="6963844"/>
                </a:cubicBezTo>
                <a:close/>
                <a:moveTo>
                  <a:pt x="7864636" y="6963844"/>
                </a:moveTo>
                <a:cubicBezTo>
                  <a:pt x="7868762" y="6963844"/>
                  <a:pt x="7872756" y="6964643"/>
                  <a:pt x="7876483" y="6966373"/>
                </a:cubicBezTo>
                <a:cubicBezTo>
                  <a:pt x="7880210" y="6967971"/>
                  <a:pt x="7883272" y="6970101"/>
                  <a:pt x="7885802" y="6972763"/>
                </a:cubicBezTo>
                <a:cubicBezTo>
                  <a:pt x="7888331" y="6975293"/>
                  <a:pt x="7890460" y="6978487"/>
                  <a:pt x="7891924" y="6982082"/>
                </a:cubicBezTo>
                <a:cubicBezTo>
                  <a:pt x="7893389" y="6985675"/>
                  <a:pt x="7894188" y="6989536"/>
                  <a:pt x="7894188" y="6993529"/>
                </a:cubicBezTo>
                <a:cubicBezTo>
                  <a:pt x="7894188" y="6997656"/>
                  <a:pt x="7893389" y="7001649"/>
                  <a:pt x="7891924" y="7005245"/>
                </a:cubicBezTo>
                <a:cubicBezTo>
                  <a:pt x="7890327" y="7008838"/>
                  <a:pt x="7888331" y="7011901"/>
                  <a:pt x="7885802" y="7014563"/>
                </a:cubicBezTo>
                <a:cubicBezTo>
                  <a:pt x="7883139" y="7017225"/>
                  <a:pt x="7880078" y="7019355"/>
                  <a:pt x="7876483" y="7020819"/>
                </a:cubicBezTo>
                <a:cubicBezTo>
                  <a:pt x="7872756" y="7022283"/>
                  <a:pt x="7868895" y="7023082"/>
                  <a:pt x="7864636" y="7023082"/>
                </a:cubicBezTo>
                <a:cubicBezTo>
                  <a:pt x="7855717" y="7023082"/>
                  <a:pt x="7848396" y="7020154"/>
                  <a:pt x="7842803" y="7014563"/>
                </a:cubicBezTo>
                <a:cubicBezTo>
                  <a:pt x="7837213" y="7008838"/>
                  <a:pt x="7834417" y="7001916"/>
                  <a:pt x="7834417" y="6993396"/>
                </a:cubicBezTo>
                <a:cubicBezTo>
                  <a:pt x="7834417" y="6985143"/>
                  <a:pt x="7837213" y="6978088"/>
                  <a:pt x="7842803" y="6972364"/>
                </a:cubicBezTo>
                <a:cubicBezTo>
                  <a:pt x="7848396" y="6966640"/>
                  <a:pt x="7855584" y="6963844"/>
                  <a:pt x="7864636" y="6963844"/>
                </a:cubicBezTo>
                <a:close/>
                <a:moveTo>
                  <a:pt x="7646991" y="6963844"/>
                </a:moveTo>
                <a:cubicBezTo>
                  <a:pt x="7651250" y="6963844"/>
                  <a:pt x="7655111" y="6964643"/>
                  <a:pt x="7658705" y="6966373"/>
                </a:cubicBezTo>
                <a:cubicBezTo>
                  <a:pt x="7662432" y="6967971"/>
                  <a:pt x="7665493" y="6970101"/>
                  <a:pt x="7668022" y="6972763"/>
                </a:cubicBezTo>
                <a:cubicBezTo>
                  <a:pt x="7670552" y="6975293"/>
                  <a:pt x="7672682" y="6978487"/>
                  <a:pt x="7674146" y="6982082"/>
                </a:cubicBezTo>
                <a:cubicBezTo>
                  <a:pt x="7675610" y="6985675"/>
                  <a:pt x="7676409" y="6989536"/>
                  <a:pt x="7676409" y="6993529"/>
                </a:cubicBezTo>
                <a:cubicBezTo>
                  <a:pt x="7676409" y="6997656"/>
                  <a:pt x="7675610" y="7001649"/>
                  <a:pt x="7674146" y="7005245"/>
                </a:cubicBezTo>
                <a:cubicBezTo>
                  <a:pt x="7672549" y="7008838"/>
                  <a:pt x="7670552" y="7011901"/>
                  <a:pt x="7668022" y="7014563"/>
                </a:cubicBezTo>
                <a:cubicBezTo>
                  <a:pt x="7665361" y="7017225"/>
                  <a:pt x="7662299" y="7019355"/>
                  <a:pt x="7658705" y="7020819"/>
                </a:cubicBezTo>
                <a:cubicBezTo>
                  <a:pt x="7655111" y="7022283"/>
                  <a:pt x="7651250" y="7023082"/>
                  <a:pt x="7646991" y="7023082"/>
                </a:cubicBezTo>
                <a:cubicBezTo>
                  <a:pt x="7638071" y="7023082"/>
                  <a:pt x="7630750" y="7020154"/>
                  <a:pt x="7625158" y="7014563"/>
                </a:cubicBezTo>
                <a:cubicBezTo>
                  <a:pt x="7619568" y="7008838"/>
                  <a:pt x="7616772" y="7001916"/>
                  <a:pt x="7616772" y="6993396"/>
                </a:cubicBezTo>
                <a:cubicBezTo>
                  <a:pt x="7616772" y="6985143"/>
                  <a:pt x="7619568" y="6978088"/>
                  <a:pt x="7625158" y="6972364"/>
                </a:cubicBezTo>
                <a:cubicBezTo>
                  <a:pt x="7630750" y="6966640"/>
                  <a:pt x="7637939" y="6963844"/>
                  <a:pt x="7646991" y="6963844"/>
                </a:cubicBezTo>
                <a:close/>
                <a:moveTo>
                  <a:pt x="7429345" y="6963844"/>
                </a:moveTo>
                <a:cubicBezTo>
                  <a:pt x="7433605" y="6963844"/>
                  <a:pt x="7437466" y="6964643"/>
                  <a:pt x="7441059" y="6966373"/>
                </a:cubicBezTo>
                <a:cubicBezTo>
                  <a:pt x="7444787" y="6967971"/>
                  <a:pt x="7447848" y="6970101"/>
                  <a:pt x="7450377" y="6972763"/>
                </a:cubicBezTo>
                <a:cubicBezTo>
                  <a:pt x="7452907" y="6975293"/>
                  <a:pt x="7455036" y="6978487"/>
                  <a:pt x="7456501" y="6982082"/>
                </a:cubicBezTo>
                <a:cubicBezTo>
                  <a:pt x="7457965" y="6985675"/>
                  <a:pt x="7458764" y="6989536"/>
                  <a:pt x="7458764" y="6993529"/>
                </a:cubicBezTo>
                <a:cubicBezTo>
                  <a:pt x="7458764" y="6997656"/>
                  <a:pt x="7457965" y="7001649"/>
                  <a:pt x="7456501" y="7005245"/>
                </a:cubicBezTo>
                <a:cubicBezTo>
                  <a:pt x="7454904" y="7008838"/>
                  <a:pt x="7452907" y="7011901"/>
                  <a:pt x="7450377" y="7014563"/>
                </a:cubicBezTo>
                <a:cubicBezTo>
                  <a:pt x="7447715" y="7017225"/>
                  <a:pt x="7444654" y="7019355"/>
                  <a:pt x="7441059" y="7020819"/>
                </a:cubicBezTo>
                <a:cubicBezTo>
                  <a:pt x="7437466" y="7022283"/>
                  <a:pt x="7433605" y="7023082"/>
                  <a:pt x="7429345" y="7023082"/>
                </a:cubicBezTo>
                <a:cubicBezTo>
                  <a:pt x="7420426" y="7023082"/>
                  <a:pt x="7413105" y="7020154"/>
                  <a:pt x="7407513" y="7014563"/>
                </a:cubicBezTo>
                <a:cubicBezTo>
                  <a:pt x="7401922" y="7008838"/>
                  <a:pt x="7399127" y="7001916"/>
                  <a:pt x="7399127" y="6993396"/>
                </a:cubicBezTo>
                <a:cubicBezTo>
                  <a:pt x="7399127" y="6985143"/>
                  <a:pt x="7401922" y="6978088"/>
                  <a:pt x="7407513" y="6972364"/>
                </a:cubicBezTo>
                <a:cubicBezTo>
                  <a:pt x="7413105" y="6966640"/>
                  <a:pt x="7420293" y="6963844"/>
                  <a:pt x="7429345" y="6963844"/>
                </a:cubicBezTo>
                <a:close/>
                <a:moveTo>
                  <a:pt x="7211701" y="6963844"/>
                </a:moveTo>
                <a:cubicBezTo>
                  <a:pt x="7215960" y="6963844"/>
                  <a:pt x="7219954" y="6964643"/>
                  <a:pt x="7223415" y="6966373"/>
                </a:cubicBezTo>
                <a:cubicBezTo>
                  <a:pt x="7227142" y="6967971"/>
                  <a:pt x="7230204" y="6970101"/>
                  <a:pt x="7232733" y="6972763"/>
                </a:cubicBezTo>
                <a:cubicBezTo>
                  <a:pt x="7235262" y="6975293"/>
                  <a:pt x="7237392" y="6978487"/>
                  <a:pt x="7238856" y="6982082"/>
                </a:cubicBezTo>
                <a:cubicBezTo>
                  <a:pt x="7240321" y="6985675"/>
                  <a:pt x="7241120" y="6989536"/>
                  <a:pt x="7241120" y="6993529"/>
                </a:cubicBezTo>
                <a:cubicBezTo>
                  <a:pt x="7241120" y="6997656"/>
                  <a:pt x="7240321" y="7001649"/>
                  <a:pt x="7238856" y="7005245"/>
                </a:cubicBezTo>
                <a:cubicBezTo>
                  <a:pt x="7237259" y="7008838"/>
                  <a:pt x="7235262" y="7011901"/>
                  <a:pt x="7232733" y="7014563"/>
                </a:cubicBezTo>
                <a:cubicBezTo>
                  <a:pt x="7230071" y="7017225"/>
                  <a:pt x="7227009" y="7019355"/>
                  <a:pt x="7223415" y="7020819"/>
                </a:cubicBezTo>
                <a:cubicBezTo>
                  <a:pt x="7219821" y="7022283"/>
                  <a:pt x="7215960" y="7023082"/>
                  <a:pt x="7211701" y="7023082"/>
                </a:cubicBezTo>
                <a:cubicBezTo>
                  <a:pt x="7202782" y="7023082"/>
                  <a:pt x="7195460" y="7020154"/>
                  <a:pt x="7189868" y="7014563"/>
                </a:cubicBezTo>
                <a:cubicBezTo>
                  <a:pt x="7184278" y="7008838"/>
                  <a:pt x="7181482" y="7001916"/>
                  <a:pt x="7181482" y="6993396"/>
                </a:cubicBezTo>
                <a:cubicBezTo>
                  <a:pt x="7181482" y="6985143"/>
                  <a:pt x="7184278" y="6978088"/>
                  <a:pt x="7189868" y="6972364"/>
                </a:cubicBezTo>
                <a:cubicBezTo>
                  <a:pt x="7195460" y="6966640"/>
                  <a:pt x="7202649" y="6963844"/>
                  <a:pt x="7211701" y="6963844"/>
                </a:cubicBezTo>
                <a:close/>
                <a:moveTo>
                  <a:pt x="6994056" y="6963844"/>
                </a:moveTo>
                <a:cubicBezTo>
                  <a:pt x="6998315" y="6963844"/>
                  <a:pt x="7002309" y="6964643"/>
                  <a:pt x="7005769" y="6966373"/>
                </a:cubicBezTo>
                <a:cubicBezTo>
                  <a:pt x="7009497" y="6967971"/>
                  <a:pt x="7012558" y="6970101"/>
                  <a:pt x="7015087" y="6972763"/>
                </a:cubicBezTo>
                <a:cubicBezTo>
                  <a:pt x="7017617" y="6975293"/>
                  <a:pt x="7019747" y="6978487"/>
                  <a:pt x="7021211" y="6982082"/>
                </a:cubicBezTo>
                <a:cubicBezTo>
                  <a:pt x="7022675" y="6985675"/>
                  <a:pt x="7023474" y="6989536"/>
                  <a:pt x="7023474" y="6993529"/>
                </a:cubicBezTo>
                <a:cubicBezTo>
                  <a:pt x="7023474" y="6997656"/>
                  <a:pt x="7022675" y="7001649"/>
                  <a:pt x="7021211" y="7005245"/>
                </a:cubicBezTo>
                <a:cubicBezTo>
                  <a:pt x="7019614" y="7008838"/>
                  <a:pt x="7017617" y="7011901"/>
                  <a:pt x="7015087" y="7014563"/>
                </a:cubicBezTo>
                <a:cubicBezTo>
                  <a:pt x="7012425" y="7017225"/>
                  <a:pt x="7009364" y="7019355"/>
                  <a:pt x="7005769" y="7020819"/>
                </a:cubicBezTo>
                <a:cubicBezTo>
                  <a:pt x="7002176" y="7022283"/>
                  <a:pt x="6998315" y="7023082"/>
                  <a:pt x="6994056" y="7023082"/>
                </a:cubicBezTo>
                <a:cubicBezTo>
                  <a:pt x="6985136" y="7023082"/>
                  <a:pt x="6977815" y="7020154"/>
                  <a:pt x="6972223" y="7014563"/>
                </a:cubicBezTo>
                <a:cubicBezTo>
                  <a:pt x="6966632" y="7008838"/>
                  <a:pt x="6963837" y="7001916"/>
                  <a:pt x="6963837" y="6993396"/>
                </a:cubicBezTo>
                <a:cubicBezTo>
                  <a:pt x="6963837" y="6985143"/>
                  <a:pt x="6966632" y="6978088"/>
                  <a:pt x="6972223" y="6972364"/>
                </a:cubicBezTo>
                <a:cubicBezTo>
                  <a:pt x="6977815" y="6966640"/>
                  <a:pt x="6985003" y="6963844"/>
                  <a:pt x="6994056" y="6963844"/>
                </a:cubicBezTo>
                <a:close/>
                <a:moveTo>
                  <a:pt x="6776544" y="6963844"/>
                </a:moveTo>
                <a:cubicBezTo>
                  <a:pt x="6780670" y="6963844"/>
                  <a:pt x="6784664" y="6964643"/>
                  <a:pt x="6788258" y="6966373"/>
                </a:cubicBezTo>
                <a:cubicBezTo>
                  <a:pt x="6791985" y="6967971"/>
                  <a:pt x="6795047" y="6970101"/>
                  <a:pt x="6797576" y="6972763"/>
                </a:cubicBezTo>
                <a:cubicBezTo>
                  <a:pt x="6800105" y="6975293"/>
                  <a:pt x="6802235" y="6978487"/>
                  <a:pt x="6803699" y="6982082"/>
                </a:cubicBezTo>
                <a:cubicBezTo>
                  <a:pt x="6805164" y="6985675"/>
                  <a:pt x="6805963" y="6989536"/>
                  <a:pt x="6805963" y="6993529"/>
                </a:cubicBezTo>
                <a:cubicBezTo>
                  <a:pt x="6805963" y="6997656"/>
                  <a:pt x="6805164" y="7001649"/>
                  <a:pt x="6803699" y="7005245"/>
                </a:cubicBezTo>
                <a:cubicBezTo>
                  <a:pt x="6802102" y="7008838"/>
                  <a:pt x="6800105" y="7011901"/>
                  <a:pt x="6797576" y="7014563"/>
                </a:cubicBezTo>
                <a:cubicBezTo>
                  <a:pt x="6794914" y="7017225"/>
                  <a:pt x="6791852" y="7019355"/>
                  <a:pt x="6788258" y="7020819"/>
                </a:cubicBezTo>
                <a:cubicBezTo>
                  <a:pt x="6784664" y="7022283"/>
                  <a:pt x="6780803" y="7023082"/>
                  <a:pt x="6776544" y="7023082"/>
                </a:cubicBezTo>
                <a:cubicBezTo>
                  <a:pt x="6767625" y="7023082"/>
                  <a:pt x="6760303" y="7020154"/>
                  <a:pt x="6754711" y="7014563"/>
                </a:cubicBezTo>
                <a:cubicBezTo>
                  <a:pt x="6749121" y="7008838"/>
                  <a:pt x="6746325" y="7001916"/>
                  <a:pt x="6746325" y="6993396"/>
                </a:cubicBezTo>
                <a:cubicBezTo>
                  <a:pt x="6746325" y="6985143"/>
                  <a:pt x="6749121" y="6978088"/>
                  <a:pt x="6754711" y="6972364"/>
                </a:cubicBezTo>
                <a:cubicBezTo>
                  <a:pt x="6760303" y="6966640"/>
                  <a:pt x="6767492" y="6963844"/>
                  <a:pt x="6776544" y="6963844"/>
                </a:cubicBezTo>
                <a:close/>
                <a:moveTo>
                  <a:pt x="6558899" y="6963844"/>
                </a:moveTo>
                <a:cubicBezTo>
                  <a:pt x="6563158" y="6963844"/>
                  <a:pt x="6567019" y="6964643"/>
                  <a:pt x="6570612" y="6966373"/>
                </a:cubicBezTo>
                <a:cubicBezTo>
                  <a:pt x="6574340" y="6967971"/>
                  <a:pt x="6577401" y="6970101"/>
                  <a:pt x="6579930" y="6972763"/>
                </a:cubicBezTo>
                <a:cubicBezTo>
                  <a:pt x="6582460" y="6975293"/>
                  <a:pt x="6584590" y="6978487"/>
                  <a:pt x="6586054" y="6982082"/>
                </a:cubicBezTo>
                <a:cubicBezTo>
                  <a:pt x="6587518" y="6985675"/>
                  <a:pt x="6588317" y="6989536"/>
                  <a:pt x="6588317" y="6993529"/>
                </a:cubicBezTo>
                <a:cubicBezTo>
                  <a:pt x="6588317" y="6997656"/>
                  <a:pt x="6587518" y="7001649"/>
                  <a:pt x="6586054" y="7005245"/>
                </a:cubicBezTo>
                <a:cubicBezTo>
                  <a:pt x="6584457" y="7008838"/>
                  <a:pt x="6582460" y="7011901"/>
                  <a:pt x="6579930" y="7014563"/>
                </a:cubicBezTo>
                <a:cubicBezTo>
                  <a:pt x="6577268" y="7017225"/>
                  <a:pt x="6574207" y="7019355"/>
                  <a:pt x="6570612" y="7020819"/>
                </a:cubicBezTo>
                <a:cubicBezTo>
                  <a:pt x="6567019" y="7022283"/>
                  <a:pt x="6563158" y="7023082"/>
                  <a:pt x="6558899" y="7023082"/>
                </a:cubicBezTo>
                <a:cubicBezTo>
                  <a:pt x="6549979" y="7023082"/>
                  <a:pt x="6542658" y="7020154"/>
                  <a:pt x="6537066" y="7014563"/>
                </a:cubicBezTo>
                <a:cubicBezTo>
                  <a:pt x="6531476" y="7008838"/>
                  <a:pt x="6528680" y="7001916"/>
                  <a:pt x="6528680" y="6993396"/>
                </a:cubicBezTo>
                <a:cubicBezTo>
                  <a:pt x="6528680" y="6985143"/>
                  <a:pt x="6531476" y="6978088"/>
                  <a:pt x="6537066" y="6972364"/>
                </a:cubicBezTo>
                <a:cubicBezTo>
                  <a:pt x="6542658" y="6966640"/>
                  <a:pt x="6549846" y="6963844"/>
                  <a:pt x="6558899" y="6963844"/>
                </a:cubicBezTo>
                <a:close/>
                <a:moveTo>
                  <a:pt x="6341253" y="6963844"/>
                </a:moveTo>
                <a:cubicBezTo>
                  <a:pt x="6345513" y="6963844"/>
                  <a:pt x="6349373" y="6964643"/>
                  <a:pt x="6352968" y="6966373"/>
                </a:cubicBezTo>
                <a:cubicBezTo>
                  <a:pt x="6356695" y="6967971"/>
                  <a:pt x="6359757" y="6970101"/>
                  <a:pt x="6362286" y="6972763"/>
                </a:cubicBezTo>
                <a:cubicBezTo>
                  <a:pt x="6364815" y="6975293"/>
                  <a:pt x="6366945" y="6978487"/>
                  <a:pt x="6368409" y="6982082"/>
                </a:cubicBezTo>
                <a:cubicBezTo>
                  <a:pt x="6369874" y="6985675"/>
                  <a:pt x="6370672" y="6989536"/>
                  <a:pt x="6370672" y="6993529"/>
                </a:cubicBezTo>
                <a:cubicBezTo>
                  <a:pt x="6370672" y="6997656"/>
                  <a:pt x="6369874" y="7001649"/>
                  <a:pt x="6368409" y="7005245"/>
                </a:cubicBezTo>
                <a:cubicBezTo>
                  <a:pt x="6366811" y="7008838"/>
                  <a:pt x="6364815" y="7011901"/>
                  <a:pt x="6362286" y="7014563"/>
                </a:cubicBezTo>
                <a:cubicBezTo>
                  <a:pt x="6359623" y="7017225"/>
                  <a:pt x="6356562" y="7019355"/>
                  <a:pt x="6352968" y="7020819"/>
                </a:cubicBezTo>
                <a:cubicBezTo>
                  <a:pt x="6349373" y="7022283"/>
                  <a:pt x="6345513" y="7023082"/>
                  <a:pt x="6341253" y="7023082"/>
                </a:cubicBezTo>
                <a:cubicBezTo>
                  <a:pt x="6332335" y="7023082"/>
                  <a:pt x="6325013" y="7020154"/>
                  <a:pt x="6319421" y="7014563"/>
                </a:cubicBezTo>
                <a:cubicBezTo>
                  <a:pt x="6313830" y="7008838"/>
                  <a:pt x="6311035" y="7001916"/>
                  <a:pt x="6311035" y="6993396"/>
                </a:cubicBezTo>
                <a:cubicBezTo>
                  <a:pt x="6311035" y="6985143"/>
                  <a:pt x="6313830" y="6978088"/>
                  <a:pt x="6319421" y="6972364"/>
                </a:cubicBezTo>
                <a:cubicBezTo>
                  <a:pt x="6325013" y="6966640"/>
                  <a:pt x="6332201" y="6963844"/>
                  <a:pt x="6341253" y="6963844"/>
                </a:cubicBezTo>
                <a:close/>
                <a:moveTo>
                  <a:pt x="6123608" y="6963844"/>
                </a:moveTo>
                <a:cubicBezTo>
                  <a:pt x="6127867" y="6963844"/>
                  <a:pt x="6131728" y="6964643"/>
                  <a:pt x="6135322" y="6966373"/>
                </a:cubicBezTo>
                <a:cubicBezTo>
                  <a:pt x="6139049" y="6967971"/>
                  <a:pt x="6142111" y="6970101"/>
                  <a:pt x="6144640" y="6972763"/>
                </a:cubicBezTo>
                <a:cubicBezTo>
                  <a:pt x="6147169" y="6975293"/>
                  <a:pt x="6149299" y="6978487"/>
                  <a:pt x="6150763" y="6982082"/>
                </a:cubicBezTo>
                <a:cubicBezTo>
                  <a:pt x="6152228" y="6985675"/>
                  <a:pt x="6153026" y="6989536"/>
                  <a:pt x="6153026" y="6993529"/>
                </a:cubicBezTo>
                <a:cubicBezTo>
                  <a:pt x="6153026" y="6997656"/>
                  <a:pt x="6152228" y="7001649"/>
                  <a:pt x="6150763" y="7005245"/>
                </a:cubicBezTo>
                <a:cubicBezTo>
                  <a:pt x="6149299" y="7008838"/>
                  <a:pt x="6147169" y="7011901"/>
                  <a:pt x="6144640" y="7014563"/>
                </a:cubicBezTo>
                <a:cubicBezTo>
                  <a:pt x="6141977" y="7017225"/>
                  <a:pt x="6138916" y="7019355"/>
                  <a:pt x="6135322" y="7020819"/>
                </a:cubicBezTo>
                <a:cubicBezTo>
                  <a:pt x="6131728" y="7022283"/>
                  <a:pt x="6127867" y="7023082"/>
                  <a:pt x="6123608" y="7023082"/>
                </a:cubicBezTo>
                <a:cubicBezTo>
                  <a:pt x="6114689" y="7023082"/>
                  <a:pt x="6107367" y="7020154"/>
                  <a:pt x="6101775" y="7014563"/>
                </a:cubicBezTo>
                <a:cubicBezTo>
                  <a:pt x="6096184" y="7008838"/>
                  <a:pt x="6093389" y="7001916"/>
                  <a:pt x="6093389" y="6993396"/>
                </a:cubicBezTo>
                <a:cubicBezTo>
                  <a:pt x="6093389" y="6985143"/>
                  <a:pt x="6096184" y="6978088"/>
                  <a:pt x="6101775" y="6972364"/>
                </a:cubicBezTo>
                <a:cubicBezTo>
                  <a:pt x="6107367" y="6966640"/>
                  <a:pt x="6114555" y="6963844"/>
                  <a:pt x="6123608" y="6963844"/>
                </a:cubicBezTo>
                <a:close/>
                <a:moveTo>
                  <a:pt x="5905963" y="6963844"/>
                </a:moveTo>
                <a:cubicBezTo>
                  <a:pt x="5910222" y="6963844"/>
                  <a:pt x="5914216" y="6964643"/>
                  <a:pt x="5917677" y="6966373"/>
                </a:cubicBezTo>
                <a:cubicBezTo>
                  <a:pt x="5921404" y="6967971"/>
                  <a:pt x="5924466" y="6970101"/>
                  <a:pt x="5926995" y="6972763"/>
                </a:cubicBezTo>
                <a:cubicBezTo>
                  <a:pt x="5929524" y="6975293"/>
                  <a:pt x="5931654" y="6978487"/>
                  <a:pt x="5933118" y="6982082"/>
                </a:cubicBezTo>
                <a:cubicBezTo>
                  <a:pt x="5934583" y="6985675"/>
                  <a:pt x="5935381" y="6989536"/>
                  <a:pt x="5935381" y="6993529"/>
                </a:cubicBezTo>
                <a:cubicBezTo>
                  <a:pt x="5935381" y="6997656"/>
                  <a:pt x="5934583" y="7001649"/>
                  <a:pt x="5933118" y="7005245"/>
                </a:cubicBezTo>
                <a:cubicBezTo>
                  <a:pt x="5931654" y="7008838"/>
                  <a:pt x="5929524" y="7011901"/>
                  <a:pt x="5926995" y="7014563"/>
                </a:cubicBezTo>
                <a:cubicBezTo>
                  <a:pt x="5924333" y="7017225"/>
                  <a:pt x="5921271" y="7019355"/>
                  <a:pt x="5917677" y="7020819"/>
                </a:cubicBezTo>
                <a:cubicBezTo>
                  <a:pt x="5914083" y="7022283"/>
                  <a:pt x="5910222" y="7023082"/>
                  <a:pt x="5905963" y="7023082"/>
                </a:cubicBezTo>
                <a:cubicBezTo>
                  <a:pt x="5897044" y="7023082"/>
                  <a:pt x="5889722" y="7020154"/>
                  <a:pt x="5884130" y="7014563"/>
                </a:cubicBezTo>
                <a:cubicBezTo>
                  <a:pt x="5878540" y="7008838"/>
                  <a:pt x="5875744" y="7001916"/>
                  <a:pt x="5875744" y="6993396"/>
                </a:cubicBezTo>
                <a:cubicBezTo>
                  <a:pt x="5875744" y="6985143"/>
                  <a:pt x="5878540" y="6978088"/>
                  <a:pt x="5884130" y="6972364"/>
                </a:cubicBezTo>
                <a:cubicBezTo>
                  <a:pt x="5889722" y="6966640"/>
                  <a:pt x="5896910" y="6963844"/>
                  <a:pt x="5905963" y="6963844"/>
                </a:cubicBezTo>
                <a:close/>
                <a:moveTo>
                  <a:pt x="5688451" y="6963844"/>
                </a:moveTo>
                <a:cubicBezTo>
                  <a:pt x="5692577" y="6963844"/>
                  <a:pt x="5696571" y="6964643"/>
                  <a:pt x="5700165" y="6966373"/>
                </a:cubicBezTo>
                <a:cubicBezTo>
                  <a:pt x="5703892" y="6967971"/>
                  <a:pt x="5706954" y="6970101"/>
                  <a:pt x="5709483" y="6972763"/>
                </a:cubicBezTo>
                <a:cubicBezTo>
                  <a:pt x="5712012" y="6975293"/>
                  <a:pt x="5714142" y="6978487"/>
                  <a:pt x="5715606" y="6982082"/>
                </a:cubicBezTo>
                <a:cubicBezTo>
                  <a:pt x="5717071" y="6985675"/>
                  <a:pt x="5717869" y="6989536"/>
                  <a:pt x="5717869" y="6993529"/>
                </a:cubicBezTo>
                <a:cubicBezTo>
                  <a:pt x="5717869" y="6997656"/>
                  <a:pt x="5717071" y="7001649"/>
                  <a:pt x="5715606" y="7005245"/>
                </a:cubicBezTo>
                <a:cubicBezTo>
                  <a:pt x="5714142" y="7008838"/>
                  <a:pt x="5712012" y="7011901"/>
                  <a:pt x="5709483" y="7014563"/>
                </a:cubicBezTo>
                <a:cubicBezTo>
                  <a:pt x="5706820" y="7017225"/>
                  <a:pt x="5703759" y="7019355"/>
                  <a:pt x="5700165" y="7020819"/>
                </a:cubicBezTo>
                <a:cubicBezTo>
                  <a:pt x="5696571" y="7022283"/>
                  <a:pt x="5692710" y="7023082"/>
                  <a:pt x="5688451" y="7023082"/>
                </a:cubicBezTo>
                <a:cubicBezTo>
                  <a:pt x="5679532" y="7023082"/>
                  <a:pt x="5672210" y="7020154"/>
                  <a:pt x="5666618" y="7014563"/>
                </a:cubicBezTo>
                <a:cubicBezTo>
                  <a:pt x="5661028" y="7008838"/>
                  <a:pt x="5658232" y="7001916"/>
                  <a:pt x="5658232" y="6993396"/>
                </a:cubicBezTo>
                <a:cubicBezTo>
                  <a:pt x="5658232" y="6985143"/>
                  <a:pt x="5661028" y="6978088"/>
                  <a:pt x="5666618" y="6972364"/>
                </a:cubicBezTo>
                <a:cubicBezTo>
                  <a:pt x="5672210" y="6966640"/>
                  <a:pt x="5679398" y="6963844"/>
                  <a:pt x="5688451" y="6963844"/>
                </a:cubicBezTo>
                <a:close/>
                <a:moveTo>
                  <a:pt x="5470806" y="6963844"/>
                </a:moveTo>
                <a:cubicBezTo>
                  <a:pt x="5475065" y="6963844"/>
                  <a:pt x="5478926" y="6964643"/>
                  <a:pt x="5482520" y="6966373"/>
                </a:cubicBezTo>
                <a:cubicBezTo>
                  <a:pt x="5486247" y="6967971"/>
                  <a:pt x="5489309" y="6970101"/>
                  <a:pt x="5491838" y="6972763"/>
                </a:cubicBezTo>
                <a:cubicBezTo>
                  <a:pt x="5494367" y="6975293"/>
                  <a:pt x="5496497" y="6978487"/>
                  <a:pt x="5497961" y="6982082"/>
                </a:cubicBezTo>
                <a:cubicBezTo>
                  <a:pt x="5499426" y="6985675"/>
                  <a:pt x="5500224" y="6989536"/>
                  <a:pt x="5500224" y="6993529"/>
                </a:cubicBezTo>
                <a:cubicBezTo>
                  <a:pt x="5500224" y="6997656"/>
                  <a:pt x="5499426" y="7001649"/>
                  <a:pt x="5497961" y="7005245"/>
                </a:cubicBezTo>
                <a:cubicBezTo>
                  <a:pt x="5496497" y="7008838"/>
                  <a:pt x="5494367" y="7011901"/>
                  <a:pt x="5491838" y="7014563"/>
                </a:cubicBezTo>
                <a:cubicBezTo>
                  <a:pt x="5489176" y="7017225"/>
                  <a:pt x="5486114" y="7019355"/>
                  <a:pt x="5482520" y="7020819"/>
                </a:cubicBezTo>
                <a:cubicBezTo>
                  <a:pt x="5478926" y="7022283"/>
                  <a:pt x="5475065" y="7023082"/>
                  <a:pt x="5470806" y="7023082"/>
                </a:cubicBezTo>
                <a:cubicBezTo>
                  <a:pt x="5461887" y="7023082"/>
                  <a:pt x="5454565" y="7020154"/>
                  <a:pt x="5448973" y="7014563"/>
                </a:cubicBezTo>
                <a:cubicBezTo>
                  <a:pt x="5443383" y="7008838"/>
                  <a:pt x="5440587" y="7001916"/>
                  <a:pt x="5440587" y="6993396"/>
                </a:cubicBezTo>
                <a:cubicBezTo>
                  <a:pt x="5440587" y="6985143"/>
                  <a:pt x="5443383" y="6978088"/>
                  <a:pt x="5448973" y="6972364"/>
                </a:cubicBezTo>
                <a:cubicBezTo>
                  <a:pt x="5454565" y="6966640"/>
                  <a:pt x="5461754" y="6963844"/>
                  <a:pt x="5470806" y="6963844"/>
                </a:cubicBezTo>
                <a:close/>
                <a:moveTo>
                  <a:pt x="5253160" y="6963844"/>
                </a:moveTo>
                <a:cubicBezTo>
                  <a:pt x="5257420" y="6963844"/>
                  <a:pt x="5261280" y="6964643"/>
                  <a:pt x="5264875" y="6966373"/>
                </a:cubicBezTo>
                <a:cubicBezTo>
                  <a:pt x="5268602" y="6967971"/>
                  <a:pt x="5271664" y="6970101"/>
                  <a:pt x="5274192" y="6972763"/>
                </a:cubicBezTo>
                <a:cubicBezTo>
                  <a:pt x="5276722" y="6975293"/>
                  <a:pt x="5278852" y="6978487"/>
                  <a:pt x="5280316" y="6982082"/>
                </a:cubicBezTo>
                <a:cubicBezTo>
                  <a:pt x="5281780" y="6985675"/>
                  <a:pt x="5282579" y="6989536"/>
                  <a:pt x="5282579" y="6993529"/>
                </a:cubicBezTo>
                <a:cubicBezTo>
                  <a:pt x="5282579" y="6997656"/>
                  <a:pt x="5281780" y="7001649"/>
                  <a:pt x="5280316" y="7005245"/>
                </a:cubicBezTo>
                <a:cubicBezTo>
                  <a:pt x="5278852" y="7008838"/>
                  <a:pt x="5276722" y="7011901"/>
                  <a:pt x="5274192" y="7014563"/>
                </a:cubicBezTo>
                <a:cubicBezTo>
                  <a:pt x="5271664" y="7017225"/>
                  <a:pt x="5268469" y="7019355"/>
                  <a:pt x="5264875" y="7020819"/>
                </a:cubicBezTo>
                <a:cubicBezTo>
                  <a:pt x="5261280" y="7022283"/>
                  <a:pt x="5257420" y="7023082"/>
                  <a:pt x="5253160" y="7023082"/>
                </a:cubicBezTo>
                <a:cubicBezTo>
                  <a:pt x="5244241" y="7023082"/>
                  <a:pt x="5236920" y="7020154"/>
                  <a:pt x="5231328" y="7014563"/>
                </a:cubicBezTo>
                <a:cubicBezTo>
                  <a:pt x="5225737" y="7008838"/>
                  <a:pt x="5222942" y="7001916"/>
                  <a:pt x="5222942" y="6993396"/>
                </a:cubicBezTo>
                <a:cubicBezTo>
                  <a:pt x="5222942" y="6985143"/>
                  <a:pt x="5225737" y="6978088"/>
                  <a:pt x="5231328" y="6972364"/>
                </a:cubicBezTo>
                <a:cubicBezTo>
                  <a:pt x="5236920" y="6966640"/>
                  <a:pt x="5244108" y="6963844"/>
                  <a:pt x="5253160" y="6963844"/>
                </a:cubicBezTo>
                <a:close/>
                <a:moveTo>
                  <a:pt x="5035515" y="6963844"/>
                </a:moveTo>
                <a:cubicBezTo>
                  <a:pt x="5039775" y="6963844"/>
                  <a:pt x="5043636" y="6964643"/>
                  <a:pt x="5047230" y="6966373"/>
                </a:cubicBezTo>
                <a:cubicBezTo>
                  <a:pt x="5050957" y="6967971"/>
                  <a:pt x="5054019" y="6970101"/>
                  <a:pt x="5056548" y="6972763"/>
                </a:cubicBezTo>
                <a:cubicBezTo>
                  <a:pt x="5059077" y="6975293"/>
                  <a:pt x="5061207" y="6978487"/>
                  <a:pt x="5062671" y="6982082"/>
                </a:cubicBezTo>
                <a:cubicBezTo>
                  <a:pt x="5064135" y="6985675"/>
                  <a:pt x="5064934" y="6989536"/>
                  <a:pt x="5064934" y="6993529"/>
                </a:cubicBezTo>
                <a:cubicBezTo>
                  <a:pt x="5064934" y="6997656"/>
                  <a:pt x="5064135" y="7001649"/>
                  <a:pt x="5062671" y="7005245"/>
                </a:cubicBezTo>
                <a:cubicBezTo>
                  <a:pt x="5061207" y="7008838"/>
                  <a:pt x="5059077" y="7011901"/>
                  <a:pt x="5056548" y="7014563"/>
                </a:cubicBezTo>
                <a:cubicBezTo>
                  <a:pt x="5053885" y="7017225"/>
                  <a:pt x="5050824" y="7019355"/>
                  <a:pt x="5047230" y="7020819"/>
                </a:cubicBezTo>
                <a:cubicBezTo>
                  <a:pt x="5043636" y="7022283"/>
                  <a:pt x="5039775" y="7023082"/>
                  <a:pt x="5035515" y="7023082"/>
                </a:cubicBezTo>
                <a:cubicBezTo>
                  <a:pt x="5026597" y="7023082"/>
                  <a:pt x="5019275" y="7020154"/>
                  <a:pt x="5013683" y="7014563"/>
                </a:cubicBezTo>
                <a:cubicBezTo>
                  <a:pt x="5008092" y="7008838"/>
                  <a:pt x="5005297" y="7001916"/>
                  <a:pt x="5005297" y="6993396"/>
                </a:cubicBezTo>
                <a:cubicBezTo>
                  <a:pt x="5005297" y="6985143"/>
                  <a:pt x="5008092" y="6978088"/>
                  <a:pt x="5013683" y="6972364"/>
                </a:cubicBezTo>
                <a:cubicBezTo>
                  <a:pt x="5019275" y="6966640"/>
                  <a:pt x="5026463" y="6963844"/>
                  <a:pt x="5035515" y="6963844"/>
                </a:cubicBezTo>
                <a:close/>
                <a:moveTo>
                  <a:pt x="4817870" y="6963844"/>
                </a:moveTo>
                <a:cubicBezTo>
                  <a:pt x="4822130" y="6963844"/>
                  <a:pt x="4826124" y="6964643"/>
                  <a:pt x="4829585" y="6966373"/>
                </a:cubicBezTo>
                <a:cubicBezTo>
                  <a:pt x="4833312" y="6967971"/>
                  <a:pt x="4836374" y="6970101"/>
                  <a:pt x="4838903" y="6972763"/>
                </a:cubicBezTo>
                <a:cubicBezTo>
                  <a:pt x="4841432" y="6975293"/>
                  <a:pt x="4843562" y="6978487"/>
                  <a:pt x="4845026" y="6982082"/>
                </a:cubicBezTo>
                <a:cubicBezTo>
                  <a:pt x="4846491" y="6985675"/>
                  <a:pt x="4847289" y="6989536"/>
                  <a:pt x="4847289" y="6993529"/>
                </a:cubicBezTo>
                <a:cubicBezTo>
                  <a:pt x="4847289" y="6997656"/>
                  <a:pt x="4846491" y="7001649"/>
                  <a:pt x="4845026" y="7005245"/>
                </a:cubicBezTo>
                <a:cubicBezTo>
                  <a:pt x="4843562" y="7008838"/>
                  <a:pt x="4841432" y="7011901"/>
                  <a:pt x="4838903" y="7014563"/>
                </a:cubicBezTo>
                <a:cubicBezTo>
                  <a:pt x="4836240" y="7017225"/>
                  <a:pt x="4833179" y="7019355"/>
                  <a:pt x="4829585" y="7020819"/>
                </a:cubicBezTo>
                <a:cubicBezTo>
                  <a:pt x="4825991" y="7022283"/>
                  <a:pt x="4822130" y="7023082"/>
                  <a:pt x="4817870" y="7023082"/>
                </a:cubicBezTo>
                <a:cubicBezTo>
                  <a:pt x="4808952" y="7023082"/>
                  <a:pt x="4801630" y="7020154"/>
                  <a:pt x="4796038" y="7014563"/>
                </a:cubicBezTo>
                <a:cubicBezTo>
                  <a:pt x="4790447" y="7008838"/>
                  <a:pt x="4787652" y="7001916"/>
                  <a:pt x="4787652" y="6993396"/>
                </a:cubicBezTo>
                <a:cubicBezTo>
                  <a:pt x="4787652" y="6985143"/>
                  <a:pt x="4790447" y="6978088"/>
                  <a:pt x="4796038" y="6972364"/>
                </a:cubicBezTo>
                <a:cubicBezTo>
                  <a:pt x="4801630" y="6966640"/>
                  <a:pt x="4808818" y="6963844"/>
                  <a:pt x="4817870" y="6963844"/>
                </a:cubicBezTo>
                <a:close/>
                <a:moveTo>
                  <a:pt x="4600226" y="6963844"/>
                </a:moveTo>
                <a:cubicBezTo>
                  <a:pt x="4604485" y="6963844"/>
                  <a:pt x="4608479" y="6964643"/>
                  <a:pt x="4612073" y="6966373"/>
                </a:cubicBezTo>
                <a:cubicBezTo>
                  <a:pt x="4615800" y="6967971"/>
                  <a:pt x="4618862" y="6970101"/>
                  <a:pt x="4621391" y="6972763"/>
                </a:cubicBezTo>
                <a:cubicBezTo>
                  <a:pt x="4623920" y="6975293"/>
                  <a:pt x="4626050" y="6978487"/>
                  <a:pt x="4627514" y="6982082"/>
                </a:cubicBezTo>
                <a:cubicBezTo>
                  <a:pt x="4628978" y="6985675"/>
                  <a:pt x="4629777" y="6989536"/>
                  <a:pt x="4629777" y="6993529"/>
                </a:cubicBezTo>
                <a:cubicBezTo>
                  <a:pt x="4629777" y="6997656"/>
                  <a:pt x="4628978" y="7001649"/>
                  <a:pt x="4627514" y="7005245"/>
                </a:cubicBezTo>
                <a:cubicBezTo>
                  <a:pt x="4626050" y="7008838"/>
                  <a:pt x="4623920" y="7011901"/>
                  <a:pt x="4621391" y="7014563"/>
                </a:cubicBezTo>
                <a:cubicBezTo>
                  <a:pt x="4618729" y="7017225"/>
                  <a:pt x="4615667" y="7019355"/>
                  <a:pt x="4612073" y="7020819"/>
                </a:cubicBezTo>
                <a:cubicBezTo>
                  <a:pt x="4608346" y="7022283"/>
                  <a:pt x="4604485" y="7023082"/>
                  <a:pt x="4600226" y="7023082"/>
                </a:cubicBezTo>
                <a:cubicBezTo>
                  <a:pt x="4591173" y="7023082"/>
                  <a:pt x="4583985" y="7020154"/>
                  <a:pt x="4578393" y="7014563"/>
                </a:cubicBezTo>
                <a:cubicBezTo>
                  <a:pt x="4572803" y="7008838"/>
                  <a:pt x="4570007" y="7001916"/>
                  <a:pt x="4570007" y="6993396"/>
                </a:cubicBezTo>
                <a:cubicBezTo>
                  <a:pt x="4570007" y="6985143"/>
                  <a:pt x="4572803" y="6978088"/>
                  <a:pt x="4578393" y="6972364"/>
                </a:cubicBezTo>
                <a:cubicBezTo>
                  <a:pt x="4583985" y="6966640"/>
                  <a:pt x="4591173" y="6963844"/>
                  <a:pt x="4600226" y="6963844"/>
                </a:cubicBezTo>
                <a:close/>
                <a:moveTo>
                  <a:pt x="4382713" y="6963844"/>
                </a:moveTo>
                <a:cubicBezTo>
                  <a:pt x="4386840" y="6963844"/>
                  <a:pt x="4390834" y="6964643"/>
                  <a:pt x="4394428" y="6966373"/>
                </a:cubicBezTo>
                <a:cubicBezTo>
                  <a:pt x="4398155" y="6967971"/>
                  <a:pt x="4401217" y="6970101"/>
                  <a:pt x="4403746" y="6972763"/>
                </a:cubicBezTo>
                <a:cubicBezTo>
                  <a:pt x="4406275" y="6975293"/>
                  <a:pt x="4408405" y="6978487"/>
                  <a:pt x="4409869" y="6982082"/>
                </a:cubicBezTo>
                <a:cubicBezTo>
                  <a:pt x="4411334" y="6985675"/>
                  <a:pt x="4412132" y="6989536"/>
                  <a:pt x="4412132" y="6993529"/>
                </a:cubicBezTo>
                <a:cubicBezTo>
                  <a:pt x="4412132" y="6997656"/>
                  <a:pt x="4411334" y="7001649"/>
                  <a:pt x="4409869" y="7005245"/>
                </a:cubicBezTo>
                <a:cubicBezTo>
                  <a:pt x="4408405" y="7008838"/>
                  <a:pt x="4406275" y="7011901"/>
                  <a:pt x="4403746" y="7014563"/>
                </a:cubicBezTo>
                <a:cubicBezTo>
                  <a:pt x="4401083" y="7017225"/>
                  <a:pt x="4398022" y="7019355"/>
                  <a:pt x="4394428" y="7020819"/>
                </a:cubicBezTo>
                <a:cubicBezTo>
                  <a:pt x="4390834" y="7022283"/>
                  <a:pt x="4386973" y="7023082"/>
                  <a:pt x="4382713" y="7023082"/>
                </a:cubicBezTo>
                <a:cubicBezTo>
                  <a:pt x="4373661" y="7023082"/>
                  <a:pt x="4366473" y="7020154"/>
                  <a:pt x="4360881" y="7014563"/>
                </a:cubicBezTo>
                <a:cubicBezTo>
                  <a:pt x="4355290" y="7008838"/>
                  <a:pt x="4352495" y="7001916"/>
                  <a:pt x="4352495" y="6993396"/>
                </a:cubicBezTo>
                <a:cubicBezTo>
                  <a:pt x="4352495" y="6985143"/>
                  <a:pt x="4355290" y="6978088"/>
                  <a:pt x="4360881" y="6972364"/>
                </a:cubicBezTo>
                <a:cubicBezTo>
                  <a:pt x="4366473" y="6966640"/>
                  <a:pt x="4373661" y="6963844"/>
                  <a:pt x="4382713" y="6963844"/>
                </a:cubicBezTo>
                <a:close/>
                <a:moveTo>
                  <a:pt x="4165068" y="6963844"/>
                </a:moveTo>
                <a:cubicBezTo>
                  <a:pt x="4169327" y="6963844"/>
                  <a:pt x="4173188" y="6964643"/>
                  <a:pt x="4176782" y="6966373"/>
                </a:cubicBezTo>
                <a:cubicBezTo>
                  <a:pt x="4180509" y="6967971"/>
                  <a:pt x="4183571" y="6970101"/>
                  <a:pt x="4186100" y="6972763"/>
                </a:cubicBezTo>
                <a:cubicBezTo>
                  <a:pt x="4188629" y="6975293"/>
                  <a:pt x="4190759" y="6978487"/>
                  <a:pt x="4192223" y="6982082"/>
                </a:cubicBezTo>
                <a:cubicBezTo>
                  <a:pt x="4193688" y="6985675"/>
                  <a:pt x="4194486" y="6989536"/>
                  <a:pt x="4194486" y="6993529"/>
                </a:cubicBezTo>
                <a:cubicBezTo>
                  <a:pt x="4194486" y="6997656"/>
                  <a:pt x="4193688" y="7001649"/>
                  <a:pt x="4192223" y="7005245"/>
                </a:cubicBezTo>
                <a:cubicBezTo>
                  <a:pt x="4190759" y="7008838"/>
                  <a:pt x="4188629" y="7011901"/>
                  <a:pt x="4186100" y="7014563"/>
                </a:cubicBezTo>
                <a:cubicBezTo>
                  <a:pt x="4183438" y="7017225"/>
                  <a:pt x="4180376" y="7019355"/>
                  <a:pt x="4176782" y="7020819"/>
                </a:cubicBezTo>
                <a:cubicBezTo>
                  <a:pt x="4173188" y="7022283"/>
                  <a:pt x="4169327" y="7023082"/>
                  <a:pt x="4165068" y="7023082"/>
                </a:cubicBezTo>
                <a:cubicBezTo>
                  <a:pt x="4156015" y="7023082"/>
                  <a:pt x="4148827" y="7020154"/>
                  <a:pt x="4143235" y="7014563"/>
                </a:cubicBezTo>
                <a:cubicBezTo>
                  <a:pt x="4137645" y="7008838"/>
                  <a:pt x="4134849" y="7001916"/>
                  <a:pt x="4134849" y="6993396"/>
                </a:cubicBezTo>
                <a:cubicBezTo>
                  <a:pt x="4134849" y="6985143"/>
                  <a:pt x="4137645" y="6978088"/>
                  <a:pt x="4143235" y="6972364"/>
                </a:cubicBezTo>
                <a:cubicBezTo>
                  <a:pt x="4148827" y="6966640"/>
                  <a:pt x="4156015" y="6963844"/>
                  <a:pt x="4165068" y="6963844"/>
                </a:cubicBezTo>
                <a:close/>
                <a:moveTo>
                  <a:pt x="3947802" y="6963844"/>
                </a:moveTo>
                <a:cubicBezTo>
                  <a:pt x="3952065" y="6963844"/>
                  <a:pt x="3955925" y="6964643"/>
                  <a:pt x="3959521" y="6966373"/>
                </a:cubicBezTo>
                <a:cubicBezTo>
                  <a:pt x="3963250" y="6967971"/>
                  <a:pt x="3966310" y="6970101"/>
                  <a:pt x="3968839" y="6972763"/>
                </a:cubicBezTo>
                <a:cubicBezTo>
                  <a:pt x="3971370" y="6975293"/>
                  <a:pt x="3973499" y="6978487"/>
                  <a:pt x="3974963" y="6982082"/>
                </a:cubicBezTo>
                <a:cubicBezTo>
                  <a:pt x="3976428" y="6985675"/>
                  <a:pt x="3977227" y="6989536"/>
                  <a:pt x="3977227" y="6993529"/>
                </a:cubicBezTo>
                <a:cubicBezTo>
                  <a:pt x="3977227" y="6997656"/>
                  <a:pt x="3976428" y="7001649"/>
                  <a:pt x="3974963" y="7005245"/>
                </a:cubicBezTo>
                <a:cubicBezTo>
                  <a:pt x="3973499" y="7008838"/>
                  <a:pt x="3971370" y="7011901"/>
                  <a:pt x="3968839" y="7014563"/>
                </a:cubicBezTo>
                <a:cubicBezTo>
                  <a:pt x="3966178" y="7017225"/>
                  <a:pt x="3963116" y="7019355"/>
                  <a:pt x="3959521" y="7020819"/>
                </a:cubicBezTo>
                <a:cubicBezTo>
                  <a:pt x="3955925" y="7022283"/>
                  <a:pt x="3952065" y="7023082"/>
                  <a:pt x="3947802" y="7023082"/>
                </a:cubicBezTo>
                <a:cubicBezTo>
                  <a:pt x="3938749" y="7023082"/>
                  <a:pt x="3931561" y="7020154"/>
                  <a:pt x="3925970" y="7014563"/>
                </a:cubicBezTo>
                <a:cubicBezTo>
                  <a:pt x="3920379" y="7008838"/>
                  <a:pt x="3917583" y="7001916"/>
                  <a:pt x="3917583" y="6993396"/>
                </a:cubicBezTo>
                <a:cubicBezTo>
                  <a:pt x="3917583" y="6985143"/>
                  <a:pt x="3920379" y="6978088"/>
                  <a:pt x="3925970" y="6972364"/>
                </a:cubicBezTo>
                <a:cubicBezTo>
                  <a:pt x="3931561" y="6966640"/>
                  <a:pt x="3938749" y="6963844"/>
                  <a:pt x="3947802" y="6963844"/>
                </a:cubicBezTo>
                <a:close/>
                <a:moveTo>
                  <a:pt x="3730141" y="6963844"/>
                </a:moveTo>
                <a:cubicBezTo>
                  <a:pt x="3734401" y="6963844"/>
                  <a:pt x="3738394" y="6964643"/>
                  <a:pt x="3741856" y="6966373"/>
                </a:cubicBezTo>
                <a:cubicBezTo>
                  <a:pt x="3745450" y="6967971"/>
                  <a:pt x="3748646" y="6970101"/>
                  <a:pt x="3751175" y="6972763"/>
                </a:cubicBezTo>
                <a:cubicBezTo>
                  <a:pt x="3753704" y="6975293"/>
                  <a:pt x="3755833" y="6978487"/>
                  <a:pt x="3757297" y="6982082"/>
                </a:cubicBezTo>
                <a:cubicBezTo>
                  <a:pt x="3758761" y="6985675"/>
                  <a:pt x="3759560" y="6989536"/>
                  <a:pt x="3759560" y="6993529"/>
                </a:cubicBezTo>
                <a:cubicBezTo>
                  <a:pt x="3759560" y="6997656"/>
                  <a:pt x="3758761" y="7001649"/>
                  <a:pt x="3757297" y="7005245"/>
                </a:cubicBezTo>
                <a:cubicBezTo>
                  <a:pt x="3755833" y="7008838"/>
                  <a:pt x="3753704" y="7011901"/>
                  <a:pt x="3751175" y="7014563"/>
                </a:cubicBezTo>
                <a:cubicBezTo>
                  <a:pt x="3748512" y="7017225"/>
                  <a:pt x="3745450" y="7019355"/>
                  <a:pt x="3741856" y="7020819"/>
                </a:cubicBezTo>
                <a:cubicBezTo>
                  <a:pt x="3738263" y="7022283"/>
                  <a:pt x="3734401" y="7023082"/>
                  <a:pt x="3730141" y="7023082"/>
                </a:cubicBezTo>
                <a:cubicBezTo>
                  <a:pt x="3721089" y="7023082"/>
                  <a:pt x="3713898" y="7020154"/>
                  <a:pt x="3708298" y="7014563"/>
                </a:cubicBezTo>
                <a:cubicBezTo>
                  <a:pt x="3702705" y="7008838"/>
                  <a:pt x="3699911" y="7001916"/>
                  <a:pt x="3699911" y="6993396"/>
                </a:cubicBezTo>
                <a:cubicBezTo>
                  <a:pt x="3699911" y="6985143"/>
                  <a:pt x="3702705" y="6978088"/>
                  <a:pt x="3708298" y="6972364"/>
                </a:cubicBezTo>
                <a:cubicBezTo>
                  <a:pt x="3713898" y="6966640"/>
                  <a:pt x="3721089" y="6963844"/>
                  <a:pt x="3730141" y="6963844"/>
                </a:cubicBezTo>
                <a:close/>
                <a:moveTo>
                  <a:pt x="3512475" y="6963844"/>
                </a:moveTo>
                <a:cubicBezTo>
                  <a:pt x="3516736" y="6963844"/>
                  <a:pt x="3520729" y="6964643"/>
                  <a:pt x="3524191" y="6966373"/>
                </a:cubicBezTo>
                <a:cubicBezTo>
                  <a:pt x="3527785" y="6967971"/>
                  <a:pt x="3530980" y="6970101"/>
                  <a:pt x="3533509" y="6972763"/>
                </a:cubicBezTo>
                <a:cubicBezTo>
                  <a:pt x="3536039" y="6975293"/>
                  <a:pt x="3538169" y="6978487"/>
                  <a:pt x="3539633" y="6982082"/>
                </a:cubicBezTo>
                <a:cubicBezTo>
                  <a:pt x="3541097" y="6985675"/>
                  <a:pt x="3541896" y="6989536"/>
                  <a:pt x="3541896" y="6993529"/>
                </a:cubicBezTo>
                <a:cubicBezTo>
                  <a:pt x="3541896" y="6997656"/>
                  <a:pt x="3541097" y="7001649"/>
                  <a:pt x="3539633" y="7005245"/>
                </a:cubicBezTo>
                <a:cubicBezTo>
                  <a:pt x="3538169" y="7008838"/>
                  <a:pt x="3536039" y="7011901"/>
                  <a:pt x="3533509" y="7014563"/>
                </a:cubicBezTo>
                <a:cubicBezTo>
                  <a:pt x="3530846" y="7017225"/>
                  <a:pt x="3527785" y="7019355"/>
                  <a:pt x="3524191" y="7020819"/>
                </a:cubicBezTo>
                <a:cubicBezTo>
                  <a:pt x="3520597" y="7022283"/>
                  <a:pt x="3516736" y="7023082"/>
                  <a:pt x="3512475" y="7023082"/>
                </a:cubicBezTo>
                <a:cubicBezTo>
                  <a:pt x="3503419" y="7023082"/>
                  <a:pt x="3496228" y="7020154"/>
                  <a:pt x="3490637" y="7014563"/>
                </a:cubicBezTo>
                <a:cubicBezTo>
                  <a:pt x="3485046" y="7008838"/>
                  <a:pt x="3482251" y="7001916"/>
                  <a:pt x="3482251" y="6993396"/>
                </a:cubicBezTo>
                <a:cubicBezTo>
                  <a:pt x="3482251" y="6985143"/>
                  <a:pt x="3485046" y="6978088"/>
                  <a:pt x="3490637" y="6972364"/>
                </a:cubicBezTo>
                <a:cubicBezTo>
                  <a:pt x="3496228" y="6966640"/>
                  <a:pt x="3503419" y="6963844"/>
                  <a:pt x="3512475" y="6963844"/>
                </a:cubicBezTo>
                <a:close/>
                <a:moveTo>
                  <a:pt x="3294943" y="6963844"/>
                </a:moveTo>
                <a:cubicBezTo>
                  <a:pt x="3299071" y="6963844"/>
                  <a:pt x="3303065" y="6964643"/>
                  <a:pt x="3306660" y="6966373"/>
                </a:cubicBezTo>
                <a:cubicBezTo>
                  <a:pt x="3310386" y="6967971"/>
                  <a:pt x="3313448" y="6970101"/>
                  <a:pt x="3315978" y="6972763"/>
                </a:cubicBezTo>
                <a:cubicBezTo>
                  <a:pt x="3318507" y="6975293"/>
                  <a:pt x="3320637" y="6978487"/>
                  <a:pt x="3322101" y="6982082"/>
                </a:cubicBezTo>
                <a:cubicBezTo>
                  <a:pt x="3323565" y="6985675"/>
                  <a:pt x="3324364" y="6989536"/>
                  <a:pt x="3324364" y="6993529"/>
                </a:cubicBezTo>
                <a:cubicBezTo>
                  <a:pt x="3324364" y="6997656"/>
                  <a:pt x="3323565" y="7001649"/>
                  <a:pt x="3322101" y="7005245"/>
                </a:cubicBezTo>
                <a:cubicBezTo>
                  <a:pt x="3320637" y="7008838"/>
                  <a:pt x="3318507" y="7011901"/>
                  <a:pt x="3315978" y="7014563"/>
                </a:cubicBezTo>
                <a:cubicBezTo>
                  <a:pt x="3313314" y="7017225"/>
                  <a:pt x="3310253" y="7019355"/>
                  <a:pt x="3306660" y="7020819"/>
                </a:cubicBezTo>
                <a:cubicBezTo>
                  <a:pt x="3303065" y="7022283"/>
                  <a:pt x="3299204" y="7023082"/>
                  <a:pt x="3294943" y="7023082"/>
                </a:cubicBezTo>
                <a:cubicBezTo>
                  <a:pt x="3285888" y="7023082"/>
                  <a:pt x="3278699" y="7020154"/>
                  <a:pt x="3273104" y="7014563"/>
                </a:cubicBezTo>
                <a:cubicBezTo>
                  <a:pt x="3267510" y="7008838"/>
                  <a:pt x="3264715" y="7001916"/>
                  <a:pt x="3264715" y="6993396"/>
                </a:cubicBezTo>
                <a:cubicBezTo>
                  <a:pt x="3264715" y="6985143"/>
                  <a:pt x="3267510" y="6978088"/>
                  <a:pt x="3273104" y="6972364"/>
                </a:cubicBezTo>
                <a:cubicBezTo>
                  <a:pt x="3278699" y="6966640"/>
                  <a:pt x="3285888" y="6963844"/>
                  <a:pt x="3294943" y="6963844"/>
                </a:cubicBezTo>
                <a:close/>
                <a:moveTo>
                  <a:pt x="3077279" y="6963844"/>
                </a:moveTo>
                <a:cubicBezTo>
                  <a:pt x="3081406" y="6963844"/>
                  <a:pt x="3085400" y="6964643"/>
                  <a:pt x="3088994" y="6966373"/>
                </a:cubicBezTo>
                <a:cubicBezTo>
                  <a:pt x="3092588" y="6967971"/>
                  <a:pt x="3095784" y="6970101"/>
                  <a:pt x="3098312" y="6972763"/>
                </a:cubicBezTo>
                <a:cubicBezTo>
                  <a:pt x="3100841" y="6975293"/>
                  <a:pt x="3102972" y="6978487"/>
                  <a:pt x="3104435" y="6982082"/>
                </a:cubicBezTo>
                <a:cubicBezTo>
                  <a:pt x="3105901" y="6985675"/>
                  <a:pt x="3106698" y="6989536"/>
                  <a:pt x="3106698" y="6993529"/>
                </a:cubicBezTo>
                <a:cubicBezTo>
                  <a:pt x="3106698" y="6997656"/>
                  <a:pt x="3105901" y="7001649"/>
                  <a:pt x="3104435" y="7005245"/>
                </a:cubicBezTo>
                <a:cubicBezTo>
                  <a:pt x="3102972" y="7008838"/>
                  <a:pt x="3100841" y="7011901"/>
                  <a:pt x="3098312" y="7014563"/>
                </a:cubicBezTo>
                <a:cubicBezTo>
                  <a:pt x="3095650" y="7017225"/>
                  <a:pt x="3092588" y="7019355"/>
                  <a:pt x="3088994" y="7020819"/>
                </a:cubicBezTo>
                <a:cubicBezTo>
                  <a:pt x="3085400" y="7022283"/>
                  <a:pt x="3081539" y="7023082"/>
                  <a:pt x="3077279" y="7023082"/>
                </a:cubicBezTo>
                <a:cubicBezTo>
                  <a:pt x="3068358" y="7023082"/>
                  <a:pt x="3061035" y="7020154"/>
                  <a:pt x="3055439" y="7014563"/>
                </a:cubicBezTo>
                <a:cubicBezTo>
                  <a:pt x="3049848" y="7008838"/>
                  <a:pt x="3047052" y="7001916"/>
                  <a:pt x="3047052" y="6993396"/>
                </a:cubicBezTo>
                <a:cubicBezTo>
                  <a:pt x="3047052" y="6985143"/>
                  <a:pt x="3049848" y="6978088"/>
                  <a:pt x="3055439" y="6972364"/>
                </a:cubicBezTo>
                <a:cubicBezTo>
                  <a:pt x="3061035" y="6966640"/>
                  <a:pt x="3068225" y="6963844"/>
                  <a:pt x="3077279" y="6963844"/>
                </a:cubicBezTo>
                <a:close/>
                <a:moveTo>
                  <a:pt x="2859614" y="6963844"/>
                </a:moveTo>
                <a:cubicBezTo>
                  <a:pt x="2863874" y="6963844"/>
                  <a:pt x="2867735" y="6964643"/>
                  <a:pt x="2871462" y="6966373"/>
                </a:cubicBezTo>
                <a:cubicBezTo>
                  <a:pt x="2875189" y="6967971"/>
                  <a:pt x="2878251" y="6970101"/>
                  <a:pt x="2880780" y="6972763"/>
                </a:cubicBezTo>
                <a:cubicBezTo>
                  <a:pt x="2883442" y="6975293"/>
                  <a:pt x="2885440" y="6978487"/>
                  <a:pt x="2886904" y="6982082"/>
                </a:cubicBezTo>
                <a:cubicBezTo>
                  <a:pt x="2888368" y="6985675"/>
                  <a:pt x="2889167" y="6989536"/>
                  <a:pt x="2889167" y="6993529"/>
                </a:cubicBezTo>
                <a:cubicBezTo>
                  <a:pt x="2889167" y="6997656"/>
                  <a:pt x="2888368" y="7001649"/>
                  <a:pt x="2886904" y="7005245"/>
                </a:cubicBezTo>
                <a:cubicBezTo>
                  <a:pt x="2885440" y="7008838"/>
                  <a:pt x="2883309" y="7011901"/>
                  <a:pt x="2880780" y="7014563"/>
                </a:cubicBezTo>
                <a:cubicBezTo>
                  <a:pt x="2878118" y="7017225"/>
                  <a:pt x="2875056" y="7019355"/>
                  <a:pt x="2871462" y="7020819"/>
                </a:cubicBezTo>
                <a:cubicBezTo>
                  <a:pt x="2867735" y="7022283"/>
                  <a:pt x="2863874" y="7023082"/>
                  <a:pt x="2859614" y="7023082"/>
                </a:cubicBezTo>
                <a:cubicBezTo>
                  <a:pt x="2850696" y="7023082"/>
                  <a:pt x="2843368" y="7020154"/>
                  <a:pt x="2837774" y="7014563"/>
                </a:cubicBezTo>
                <a:cubicBezTo>
                  <a:pt x="2832183" y="7008838"/>
                  <a:pt x="2829386" y="7001916"/>
                  <a:pt x="2829386" y="6993396"/>
                </a:cubicBezTo>
                <a:cubicBezTo>
                  <a:pt x="2829386" y="6985143"/>
                  <a:pt x="2832183" y="6978088"/>
                  <a:pt x="2837774" y="6972364"/>
                </a:cubicBezTo>
                <a:cubicBezTo>
                  <a:pt x="2843368" y="6966640"/>
                  <a:pt x="2850562" y="6963844"/>
                  <a:pt x="2859614" y="6963844"/>
                </a:cubicBezTo>
                <a:close/>
                <a:moveTo>
                  <a:pt x="2641949" y="6963844"/>
                </a:moveTo>
                <a:cubicBezTo>
                  <a:pt x="2646209" y="6963844"/>
                  <a:pt x="2650069" y="6964643"/>
                  <a:pt x="2653664" y="6966373"/>
                </a:cubicBezTo>
                <a:cubicBezTo>
                  <a:pt x="2657391" y="6967971"/>
                  <a:pt x="2660453" y="6970101"/>
                  <a:pt x="2662982" y="6972763"/>
                </a:cubicBezTo>
                <a:cubicBezTo>
                  <a:pt x="2665644" y="6975293"/>
                  <a:pt x="2667641" y="6978487"/>
                  <a:pt x="2669105" y="6982082"/>
                </a:cubicBezTo>
                <a:cubicBezTo>
                  <a:pt x="2670569" y="6985675"/>
                  <a:pt x="2671368" y="6989536"/>
                  <a:pt x="2671368" y="6993529"/>
                </a:cubicBezTo>
                <a:cubicBezTo>
                  <a:pt x="2671368" y="6997656"/>
                  <a:pt x="2670569" y="7001649"/>
                  <a:pt x="2669105" y="7005245"/>
                </a:cubicBezTo>
                <a:cubicBezTo>
                  <a:pt x="2667641" y="7008838"/>
                  <a:pt x="2665511" y="7011901"/>
                  <a:pt x="2662982" y="7014563"/>
                </a:cubicBezTo>
                <a:cubicBezTo>
                  <a:pt x="2660453" y="7017225"/>
                  <a:pt x="2657258" y="7019355"/>
                  <a:pt x="2653664" y="7020819"/>
                </a:cubicBezTo>
                <a:cubicBezTo>
                  <a:pt x="2650069" y="7022283"/>
                  <a:pt x="2646209" y="7023082"/>
                  <a:pt x="2641949" y="7023082"/>
                </a:cubicBezTo>
                <a:cubicBezTo>
                  <a:pt x="2633030" y="7023082"/>
                  <a:pt x="2625707" y="7020154"/>
                  <a:pt x="2620114" y="7014563"/>
                </a:cubicBezTo>
                <a:cubicBezTo>
                  <a:pt x="2614523" y="7008838"/>
                  <a:pt x="2611724" y="7001916"/>
                  <a:pt x="2611724" y="6993396"/>
                </a:cubicBezTo>
                <a:cubicBezTo>
                  <a:pt x="2611724" y="6985143"/>
                  <a:pt x="2614523" y="6978088"/>
                  <a:pt x="2620114" y="6972364"/>
                </a:cubicBezTo>
                <a:cubicBezTo>
                  <a:pt x="2625707" y="6966640"/>
                  <a:pt x="2632897" y="6963844"/>
                  <a:pt x="2641949" y="6963844"/>
                </a:cubicBezTo>
                <a:close/>
                <a:moveTo>
                  <a:pt x="2424283" y="6963844"/>
                </a:moveTo>
                <a:cubicBezTo>
                  <a:pt x="2428544" y="6963844"/>
                  <a:pt x="2432538" y="6964643"/>
                  <a:pt x="2435999" y="6966373"/>
                </a:cubicBezTo>
                <a:cubicBezTo>
                  <a:pt x="2439726" y="6967971"/>
                  <a:pt x="2442788" y="6970101"/>
                  <a:pt x="2445317" y="6972763"/>
                </a:cubicBezTo>
                <a:cubicBezTo>
                  <a:pt x="2447979" y="6975293"/>
                  <a:pt x="2449976" y="6978487"/>
                  <a:pt x="2451440" y="6982082"/>
                </a:cubicBezTo>
                <a:cubicBezTo>
                  <a:pt x="2452904" y="6985675"/>
                  <a:pt x="2453703" y="6989536"/>
                  <a:pt x="2453703" y="6993529"/>
                </a:cubicBezTo>
                <a:cubicBezTo>
                  <a:pt x="2453703" y="6997656"/>
                  <a:pt x="2452904" y="7001649"/>
                  <a:pt x="2451440" y="7005245"/>
                </a:cubicBezTo>
                <a:cubicBezTo>
                  <a:pt x="2449976" y="7008838"/>
                  <a:pt x="2447846" y="7011901"/>
                  <a:pt x="2445317" y="7014563"/>
                </a:cubicBezTo>
                <a:cubicBezTo>
                  <a:pt x="2442788" y="7017225"/>
                  <a:pt x="2439593" y="7019355"/>
                  <a:pt x="2435999" y="7020819"/>
                </a:cubicBezTo>
                <a:cubicBezTo>
                  <a:pt x="2432405" y="7022283"/>
                  <a:pt x="2428544" y="7023082"/>
                  <a:pt x="2424283" y="7023082"/>
                </a:cubicBezTo>
                <a:cubicBezTo>
                  <a:pt x="2415365" y="7023082"/>
                  <a:pt x="2408043" y="7020154"/>
                  <a:pt x="2402451" y="7014563"/>
                </a:cubicBezTo>
                <a:cubicBezTo>
                  <a:pt x="2396858" y="7008838"/>
                  <a:pt x="2394061" y="7001916"/>
                  <a:pt x="2394061" y="6993396"/>
                </a:cubicBezTo>
                <a:cubicBezTo>
                  <a:pt x="2394061" y="6985143"/>
                  <a:pt x="2396858" y="6978088"/>
                  <a:pt x="2402451" y="6972364"/>
                </a:cubicBezTo>
                <a:cubicBezTo>
                  <a:pt x="2408043" y="6966640"/>
                  <a:pt x="2415231" y="6963844"/>
                  <a:pt x="2424283" y="6963844"/>
                </a:cubicBezTo>
                <a:close/>
                <a:moveTo>
                  <a:pt x="2206619" y="6963844"/>
                </a:moveTo>
                <a:cubicBezTo>
                  <a:pt x="2210878" y="6963844"/>
                  <a:pt x="2214873" y="6964643"/>
                  <a:pt x="2218334" y="6966373"/>
                </a:cubicBezTo>
                <a:cubicBezTo>
                  <a:pt x="2222061" y="6967971"/>
                  <a:pt x="2225122" y="6970101"/>
                  <a:pt x="2227652" y="6972763"/>
                </a:cubicBezTo>
                <a:cubicBezTo>
                  <a:pt x="2230314" y="6975293"/>
                  <a:pt x="2232311" y="6978487"/>
                  <a:pt x="2233775" y="6982082"/>
                </a:cubicBezTo>
                <a:cubicBezTo>
                  <a:pt x="2235239" y="6985675"/>
                  <a:pt x="2236038" y="6989536"/>
                  <a:pt x="2236038" y="6993529"/>
                </a:cubicBezTo>
                <a:cubicBezTo>
                  <a:pt x="2236038" y="6997656"/>
                  <a:pt x="2235239" y="7001649"/>
                  <a:pt x="2233775" y="7005245"/>
                </a:cubicBezTo>
                <a:cubicBezTo>
                  <a:pt x="2232311" y="7008838"/>
                  <a:pt x="2230181" y="7011901"/>
                  <a:pt x="2227652" y="7014563"/>
                </a:cubicBezTo>
                <a:cubicBezTo>
                  <a:pt x="2225122" y="7017225"/>
                  <a:pt x="2221928" y="7019355"/>
                  <a:pt x="2218334" y="7020819"/>
                </a:cubicBezTo>
                <a:cubicBezTo>
                  <a:pt x="2214739" y="7022283"/>
                  <a:pt x="2210878" y="7023082"/>
                  <a:pt x="2206619" y="7023082"/>
                </a:cubicBezTo>
                <a:cubicBezTo>
                  <a:pt x="2197566" y="7023082"/>
                  <a:pt x="2190378" y="7020154"/>
                  <a:pt x="2184785" y="7014563"/>
                </a:cubicBezTo>
                <a:cubicBezTo>
                  <a:pt x="2179193" y="7008838"/>
                  <a:pt x="2176397" y="7001916"/>
                  <a:pt x="2176397" y="6993396"/>
                </a:cubicBezTo>
                <a:cubicBezTo>
                  <a:pt x="2176397" y="6985143"/>
                  <a:pt x="2179193" y="6978088"/>
                  <a:pt x="2184785" y="6972364"/>
                </a:cubicBezTo>
                <a:cubicBezTo>
                  <a:pt x="2190378" y="6966640"/>
                  <a:pt x="2197566" y="6963844"/>
                  <a:pt x="2206619" y="6963844"/>
                </a:cubicBezTo>
                <a:close/>
                <a:moveTo>
                  <a:pt x="1989086" y="6963844"/>
                </a:moveTo>
                <a:cubicBezTo>
                  <a:pt x="1993213" y="6963844"/>
                  <a:pt x="1997208" y="6964643"/>
                  <a:pt x="2000802" y="6966373"/>
                </a:cubicBezTo>
                <a:cubicBezTo>
                  <a:pt x="2004529" y="6967971"/>
                  <a:pt x="2007591" y="6970101"/>
                  <a:pt x="2010120" y="6972763"/>
                </a:cubicBezTo>
                <a:cubicBezTo>
                  <a:pt x="2012781" y="6975293"/>
                  <a:pt x="2014779" y="6978487"/>
                  <a:pt x="2016243" y="6982082"/>
                </a:cubicBezTo>
                <a:cubicBezTo>
                  <a:pt x="2017707" y="6985675"/>
                  <a:pt x="2018506" y="6989536"/>
                  <a:pt x="2018506" y="6993529"/>
                </a:cubicBezTo>
                <a:cubicBezTo>
                  <a:pt x="2018506" y="6997656"/>
                  <a:pt x="2017707" y="7001649"/>
                  <a:pt x="2016243" y="7005245"/>
                </a:cubicBezTo>
                <a:cubicBezTo>
                  <a:pt x="2014779" y="7008838"/>
                  <a:pt x="2012649" y="7011901"/>
                  <a:pt x="2010120" y="7014563"/>
                </a:cubicBezTo>
                <a:cubicBezTo>
                  <a:pt x="2007591" y="7017225"/>
                  <a:pt x="2004395" y="7019355"/>
                  <a:pt x="2000802" y="7020819"/>
                </a:cubicBezTo>
                <a:cubicBezTo>
                  <a:pt x="1997208" y="7022283"/>
                  <a:pt x="1993346" y="7023082"/>
                  <a:pt x="1989086" y="7023082"/>
                </a:cubicBezTo>
                <a:cubicBezTo>
                  <a:pt x="1980035" y="7023082"/>
                  <a:pt x="1972846" y="7020154"/>
                  <a:pt x="1967255" y="7014563"/>
                </a:cubicBezTo>
                <a:cubicBezTo>
                  <a:pt x="1961665" y="7008838"/>
                  <a:pt x="1958869" y="7001916"/>
                  <a:pt x="1958869" y="6993396"/>
                </a:cubicBezTo>
                <a:cubicBezTo>
                  <a:pt x="1958869" y="6985143"/>
                  <a:pt x="1961665" y="6978088"/>
                  <a:pt x="1967255" y="6972364"/>
                </a:cubicBezTo>
                <a:cubicBezTo>
                  <a:pt x="1972846" y="6966640"/>
                  <a:pt x="1980035" y="6963844"/>
                  <a:pt x="1989086" y="6963844"/>
                </a:cubicBezTo>
                <a:close/>
                <a:moveTo>
                  <a:pt x="1771456" y="6963844"/>
                </a:moveTo>
                <a:cubicBezTo>
                  <a:pt x="1775715" y="6963844"/>
                  <a:pt x="1779574" y="6964643"/>
                  <a:pt x="1783169" y="6966373"/>
                </a:cubicBezTo>
                <a:cubicBezTo>
                  <a:pt x="1786896" y="6967971"/>
                  <a:pt x="1789958" y="6970101"/>
                  <a:pt x="1792487" y="6972763"/>
                </a:cubicBezTo>
                <a:cubicBezTo>
                  <a:pt x="1795149" y="6975293"/>
                  <a:pt x="1797146" y="6978487"/>
                  <a:pt x="1798610" y="6982082"/>
                </a:cubicBezTo>
                <a:cubicBezTo>
                  <a:pt x="1800073" y="6985675"/>
                  <a:pt x="1800872" y="6989536"/>
                  <a:pt x="1800872" y="6993529"/>
                </a:cubicBezTo>
                <a:cubicBezTo>
                  <a:pt x="1800872" y="6997656"/>
                  <a:pt x="1800073" y="7001649"/>
                  <a:pt x="1798610" y="7005245"/>
                </a:cubicBezTo>
                <a:cubicBezTo>
                  <a:pt x="1797146" y="7008838"/>
                  <a:pt x="1795016" y="7011901"/>
                  <a:pt x="1792487" y="7014563"/>
                </a:cubicBezTo>
                <a:cubicBezTo>
                  <a:pt x="1789824" y="7017225"/>
                  <a:pt x="1786763" y="7019355"/>
                  <a:pt x="1783169" y="7020819"/>
                </a:cubicBezTo>
                <a:cubicBezTo>
                  <a:pt x="1779574" y="7022283"/>
                  <a:pt x="1775715" y="7023082"/>
                  <a:pt x="1771456" y="7023082"/>
                </a:cubicBezTo>
                <a:cubicBezTo>
                  <a:pt x="1762536" y="7023082"/>
                  <a:pt x="1755217" y="7020154"/>
                  <a:pt x="1749627" y="7014563"/>
                </a:cubicBezTo>
                <a:cubicBezTo>
                  <a:pt x="1744037" y="7008838"/>
                  <a:pt x="1741244" y="7001916"/>
                  <a:pt x="1741244" y="6993396"/>
                </a:cubicBezTo>
                <a:cubicBezTo>
                  <a:pt x="1741244" y="6985143"/>
                  <a:pt x="1744037" y="6978088"/>
                  <a:pt x="1749627" y="6972364"/>
                </a:cubicBezTo>
                <a:cubicBezTo>
                  <a:pt x="1755217" y="6966640"/>
                  <a:pt x="1762403" y="6963844"/>
                  <a:pt x="1771456" y="6963844"/>
                </a:cubicBezTo>
                <a:close/>
                <a:moveTo>
                  <a:pt x="1553820" y="6963844"/>
                </a:moveTo>
                <a:cubicBezTo>
                  <a:pt x="1558080" y="6963844"/>
                  <a:pt x="1561941" y="6964643"/>
                  <a:pt x="1565535" y="6966373"/>
                </a:cubicBezTo>
                <a:cubicBezTo>
                  <a:pt x="1569129" y="6967971"/>
                  <a:pt x="1572324" y="6970101"/>
                  <a:pt x="1574854" y="6972763"/>
                </a:cubicBezTo>
                <a:cubicBezTo>
                  <a:pt x="1577516" y="6975293"/>
                  <a:pt x="1579512" y="6978487"/>
                  <a:pt x="1580976" y="6982082"/>
                </a:cubicBezTo>
                <a:cubicBezTo>
                  <a:pt x="1582440" y="6985675"/>
                  <a:pt x="1583239" y="6989536"/>
                  <a:pt x="1583239" y="6993529"/>
                </a:cubicBezTo>
                <a:cubicBezTo>
                  <a:pt x="1583239" y="6997656"/>
                  <a:pt x="1582440" y="7001649"/>
                  <a:pt x="1580976" y="7005245"/>
                </a:cubicBezTo>
                <a:cubicBezTo>
                  <a:pt x="1579512" y="7008838"/>
                  <a:pt x="1577382" y="7011901"/>
                  <a:pt x="1574854" y="7014563"/>
                </a:cubicBezTo>
                <a:cubicBezTo>
                  <a:pt x="1572191" y="7017225"/>
                  <a:pt x="1569129" y="7019355"/>
                  <a:pt x="1565535" y="7020819"/>
                </a:cubicBezTo>
                <a:cubicBezTo>
                  <a:pt x="1561941" y="7022283"/>
                  <a:pt x="1558080" y="7023082"/>
                  <a:pt x="1553820" y="7023082"/>
                </a:cubicBezTo>
                <a:cubicBezTo>
                  <a:pt x="1544902" y="7023082"/>
                  <a:pt x="1537581" y="7020154"/>
                  <a:pt x="1531992" y="7014563"/>
                </a:cubicBezTo>
                <a:cubicBezTo>
                  <a:pt x="1526403" y="7008838"/>
                  <a:pt x="1523606" y="7001916"/>
                  <a:pt x="1523606" y="6993396"/>
                </a:cubicBezTo>
                <a:cubicBezTo>
                  <a:pt x="1523606" y="6985143"/>
                  <a:pt x="1526403" y="6978088"/>
                  <a:pt x="1531992" y="6972364"/>
                </a:cubicBezTo>
                <a:cubicBezTo>
                  <a:pt x="1537581" y="6966640"/>
                  <a:pt x="1544768" y="6963844"/>
                  <a:pt x="1553820" y="6963844"/>
                </a:cubicBezTo>
                <a:close/>
                <a:moveTo>
                  <a:pt x="1336178" y="6963844"/>
                </a:moveTo>
                <a:cubicBezTo>
                  <a:pt x="1340436" y="6963844"/>
                  <a:pt x="1344433" y="6964643"/>
                  <a:pt x="1347893" y="6966373"/>
                </a:cubicBezTo>
                <a:cubicBezTo>
                  <a:pt x="1351486" y="6967971"/>
                  <a:pt x="1354682" y="6970101"/>
                  <a:pt x="1357211" y="6972763"/>
                </a:cubicBezTo>
                <a:cubicBezTo>
                  <a:pt x="1359873" y="6975293"/>
                  <a:pt x="1361870" y="6978487"/>
                  <a:pt x="1363334" y="6982082"/>
                </a:cubicBezTo>
                <a:cubicBezTo>
                  <a:pt x="1364797" y="6985675"/>
                  <a:pt x="1365596" y="6989536"/>
                  <a:pt x="1365596" y="6993529"/>
                </a:cubicBezTo>
                <a:cubicBezTo>
                  <a:pt x="1365596" y="6997656"/>
                  <a:pt x="1364797" y="7001649"/>
                  <a:pt x="1363334" y="7005245"/>
                </a:cubicBezTo>
                <a:cubicBezTo>
                  <a:pt x="1361870" y="7008838"/>
                  <a:pt x="1359740" y="7011901"/>
                  <a:pt x="1357211" y="7014563"/>
                </a:cubicBezTo>
                <a:cubicBezTo>
                  <a:pt x="1354548" y="7017225"/>
                  <a:pt x="1351486" y="7019355"/>
                  <a:pt x="1347893" y="7020819"/>
                </a:cubicBezTo>
                <a:cubicBezTo>
                  <a:pt x="1344298" y="7022283"/>
                  <a:pt x="1340436" y="7023082"/>
                  <a:pt x="1336178" y="7023082"/>
                </a:cubicBezTo>
                <a:cubicBezTo>
                  <a:pt x="1327257" y="7023082"/>
                  <a:pt x="1319936" y="7020154"/>
                  <a:pt x="1314344" y="7014563"/>
                </a:cubicBezTo>
                <a:cubicBezTo>
                  <a:pt x="1308755" y="7008838"/>
                  <a:pt x="1305959" y="7001916"/>
                  <a:pt x="1305959" y="6993396"/>
                </a:cubicBezTo>
                <a:cubicBezTo>
                  <a:pt x="1305959" y="6985143"/>
                  <a:pt x="1308755" y="6978088"/>
                  <a:pt x="1314344" y="6972364"/>
                </a:cubicBezTo>
                <a:cubicBezTo>
                  <a:pt x="1319936" y="6966640"/>
                  <a:pt x="1327124" y="6963844"/>
                  <a:pt x="1336178" y="6963844"/>
                </a:cubicBezTo>
                <a:close/>
                <a:moveTo>
                  <a:pt x="1118532" y="6963844"/>
                </a:moveTo>
                <a:cubicBezTo>
                  <a:pt x="1122793" y="6963844"/>
                  <a:pt x="1126790" y="6964643"/>
                  <a:pt x="1130251" y="6966373"/>
                </a:cubicBezTo>
                <a:cubicBezTo>
                  <a:pt x="1133977" y="6967971"/>
                  <a:pt x="1137039" y="6970101"/>
                  <a:pt x="1139565" y="6972763"/>
                </a:cubicBezTo>
                <a:cubicBezTo>
                  <a:pt x="1142225" y="6975293"/>
                  <a:pt x="1144221" y="6978487"/>
                  <a:pt x="1145684" y="6982082"/>
                </a:cubicBezTo>
                <a:cubicBezTo>
                  <a:pt x="1147149" y="6985675"/>
                  <a:pt x="1147947" y="6989536"/>
                  <a:pt x="1147947" y="6993529"/>
                </a:cubicBezTo>
                <a:cubicBezTo>
                  <a:pt x="1147947" y="6997656"/>
                  <a:pt x="1147149" y="7001649"/>
                  <a:pt x="1145684" y="7005245"/>
                </a:cubicBezTo>
                <a:cubicBezTo>
                  <a:pt x="1144221" y="7008838"/>
                  <a:pt x="1142092" y="7011901"/>
                  <a:pt x="1139565" y="7014563"/>
                </a:cubicBezTo>
                <a:cubicBezTo>
                  <a:pt x="1137039" y="7017225"/>
                  <a:pt x="1133844" y="7019355"/>
                  <a:pt x="1130251" y="7020819"/>
                </a:cubicBezTo>
                <a:cubicBezTo>
                  <a:pt x="1126655" y="7022283"/>
                  <a:pt x="1122793" y="7023082"/>
                  <a:pt x="1118532" y="7023082"/>
                </a:cubicBezTo>
                <a:cubicBezTo>
                  <a:pt x="1109611" y="7023082"/>
                  <a:pt x="1102287" y="7020154"/>
                  <a:pt x="1096696" y="7014563"/>
                </a:cubicBezTo>
                <a:cubicBezTo>
                  <a:pt x="1091106" y="7008838"/>
                  <a:pt x="1088312" y="7001916"/>
                  <a:pt x="1088312" y="6993396"/>
                </a:cubicBezTo>
                <a:cubicBezTo>
                  <a:pt x="1088312" y="6985143"/>
                  <a:pt x="1091106" y="6978088"/>
                  <a:pt x="1096696" y="6972364"/>
                </a:cubicBezTo>
                <a:cubicBezTo>
                  <a:pt x="1102287" y="6966640"/>
                  <a:pt x="1109477" y="6963844"/>
                  <a:pt x="1118532" y="6963844"/>
                </a:cubicBezTo>
                <a:close/>
                <a:moveTo>
                  <a:pt x="901018" y="6963844"/>
                </a:moveTo>
                <a:cubicBezTo>
                  <a:pt x="905145" y="6963844"/>
                  <a:pt x="909140" y="6964643"/>
                  <a:pt x="912734" y="6966373"/>
                </a:cubicBezTo>
                <a:cubicBezTo>
                  <a:pt x="916461" y="6967971"/>
                  <a:pt x="919523" y="6970101"/>
                  <a:pt x="922052" y="6972763"/>
                </a:cubicBezTo>
                <a:cubicBezTo>
                  <a:pt x="924714" y="6975293"/>
                  <a:pt x="926711" y="6978487"/>
                  <a:pt x="928174" y="6982082"/>
                </a:cubicBezTo>
                <a:cubicBezTo>
                  <a:pt x="929639" y="6985675"/>
                  <a:pt x="930437" y="6989536"/>
                  <a:pt x="930437" y="6993529"/>
                </a:cubicBezTo>
                <a:cubicBezTo>
                  <a:pt x="930437" y="6997656"/>
                  <a:pt x="929639" y="7001649"/>
                  <a:pt x="928174" y="7005245"/>
                </a:cubicBezTo>
                <a:cubicBezTo>
                  <a:pt x="926711" y="7008838"/>
                  <a:pt x="924581" y="7011901"/>
                  <a:pt x="922052" y="7014563"/>
                </a:cubicBezTo>
                <a:cubicBezTo>
                  <a:pt x="919523" y="7017225"/>
                  <a:pt x="916328" y="7019355"/>
                  <a:pt x="912734" y="7020819"/>
                </a:cubicBezTo>
                <a:cubicBezTo>
                  <a:pt x="909140" y="7022283"/>
                  <a:pt x="905278" y="7023082"/>
                  <a:pt x="901018" y="7023082"/>
                </a:cubicBezTo>
                <a:cubicBezTo>
                  <a:pt x="892100" y="7023082"/>
                  <a:pt x="884778" y="7020154"/>
                  <a:pt x="879188" y="7014563"/>
                </a:cubicBezTo>
                <a:cubicBezTo>
                  <a:pt x="873599" y="7008838"/>
                  <a:pt x="870803" y="7001916"/>
                  <a:pt x="870803" y="6993396"/>
                </a:cubicBezTo>
                <a:cubicBezTo>
                  <a:pt x="870803" y="6985143"/>
                  <a:pt x="873599" y="6978088"/>
                  <a:pt x="879188" y="6972364"/>
                </a:cubicBezTo>
                <a:cubicBezTo>
                  <a:pt x="884778" y="6966640"/>
                  <a:pt x="891967" y="6963844"/>
                  <a:pt x="901018" y="6963844"/>
                </a:cubicBezTo>
                <a:close/>
                <a:moveTo>
                  <a:pt x="683380" y="6963844"/>
                </a:moveTo>
                <a:cubicBezTo>
                  <a:pt x="687640" y="6963844"/>
                  <a:pt x="691501" y="6964643"/>
                  <a:pt x="695095" y="6966373"/>
                </a:cubicBezTo>
                <a:cubicBezTo>
                  <a:pt x="698822" y="6967971"/>
                  <a:pt x="701883" y="6970101"/>
                  <a:pt x="704411" y="6972763"/>
                </a:cubicBezTo>
                <a:cubicBezTo>
                  <a:pt x="707073" y="6975293"/>
                  <a:pt x="709071" y="6978487"/>
                  <a:pt x="710535" y="6982082"/>
                </a:cubicBezTo>
                <a:cubicBezTo>
                  <a:pt x="711999" y="6985675"/>
                  <a:pt x="712798" y="6989536"/>
                  <a:pt x="712798" y="6993529"/>
                </a:cubicBezTo>
                <a:cubicBezTo>
                  <a:pt x="712798" y="6997656"/>
                  <a:pt x="711999" y="7001649"/>
                  <a:pt x="710535" y="7005245"/>
                </a:cubicBezTo>
                <a:cubicBezTo>
                  <a:pt x="709071" y="7008838"/>
                  <a:pt x="706941" y="7011901"/>
                  <a:pt x="704411" y="7014563"/>
                </a:cubicBezTo>
                <a:cubicBezTo>
                  <a:pt x="701883" y="7017225"/>
                  <a:pt x="698689" y="7019355"/>
                  <a:pt x="695095" y="7020819"/>
                </a:cubicBezTo>
                <a:cubicBezTo>
                  <a:pt x="691501" y="7022283"/>
                  <a:pt x="687640" y="7023082"/>
                  <a:pt x="683380" y="7023082"/>
                </a:cubicBezTo>
                <a:cubicBezTo>
                  <a:pt x="674461" y="7023082"/>
                  <a:pt x="667139" y="7020154"/>
                  <a:pt x="661548" y="7014563"/>
                </a:cubicBezTo>
                <a:cubicBezTo>
                  <a:pt x="655957" y="7008838"/>
                  <a:pt x="653162" y="7001916"/>
                  <a:pt x="653162" y="6993396"/>
                </a:cubicBezTo>
                <a:cubicBezTo>
                  <a:pt x="653162" y="6985143"/>
                  <a:pt x="655957" y="6978088"/>
                  <a:pt x="661548" y="6972364"/>
                </a:cubicBezTo>
                <a:cubicBezTo>
                  <a:pt x="667139" y="6966640"/>
                  <a:pt x="674328" y="6963844"/>
                  <a:pt x="683380" y="6963844"/>
                </a:cubicBezTo>
                <a:close/>
                <a:moveTo>
                  <a:pt x="465739" y="6963844"/>
                </a:moveTo>
                <a:cubicBezTo>
                  <a:pt x="469999" y="6963844"/>
                  <a:pt x="473859" y="6964643"/>
                  <a:pt x="477454" y="6966373"/>
                </a:cubicBezTo>
                <a:cubicBezTo>
                  <a:pt x="481182" y="6967971"/>
                  <a:pt x="484243" y="6970101"/>
                  <a:pt x="486772" y="6972763"/>
                </a:cubicBezTo>
                <a:cubicBezTo>
                  <a:pt x="489433" y="6975293"/>
                  <a:pt x="491430" y="6978487"/>
                  <a:pt x="492894" y="6982082"/>
                </a:cubicBezTo>
                <a:cubicBezTo>
                  <a:pt x="494358" y="6985675"/>
                  <a:pt x="495157" y="6989536"/>
                  <a:pt x="495157" y="6993529"/>
                </a:cubicBezTo>
                <a:cubicBezTo>
                  <a:pt x="495157" y="6997656"/>
                  <a:pt x="494358" y="7001649"/>
                  <a:pt x="492894" y="7005245"/>
                </a:cubicBezTo>
                <a:cubicBezTo>
                  <a:pt x="491430" y="7008838"/>
                  <a:pt x="489301" y="7011901"/>
                  <a:pt x="486772" y="7014563"/>
                </a:cubicBezTo>
                <a:cubicBezTo>
                  <a:pt x="484109" y="7017225"/>
                  <a:pt x="481048" y="7019355"/>
                  <a:pt x="477454" y="7020819"/>
                </a:cubicBezTo>
                <a:cubicBezTo>
                  <a:pt x="473859" y="7022283"/>
                  <a:pt x="469999" y="7023082"/>
                  <a:pt x="465739" y="7023082"/>
                </a:cubicBezTo>
                <a:cubicBezTo>
                  <a:pt x="456821" y="7023082"/>
                  <a:pt x="449499" y="7020154"/>
                  <a:pt x="443908" y="7014563"/>
                </a:cubicBezTo>
                <a:cubicBezTo>
                  <a:pt x="438317" y="7008838"/>
                  <a:pt x="435522" y="7001916"/>
                  <a:pt x="435522" y="6993396"/>
                </a:cubicBezTo>
                <a:cubicBezTo>
                  <a:pt x="435522" y="6985143"/>
                  <a:pt x="438317" y="6978088"/>
                  <a:pt x="443908" y="6972364"/>
                </a:cubicBezTo>
                <a:cubicBezTo>
                  <a:pt x="449499" y="6966640"/>
                  <a:pt x="456688" y="6963844"/>
                  <a:pt x="465739" y="6963844"/>
                </a:cubicBezTo>
                <a:close/>
                <a:moveTo>
                  <a:pt x="248098" y="6963844"/>
                </a:moveTo>
                <a:cubicBezTo>
                  <a:pt x="252358" y="6963844"/>
                  <a:pt x="256352" y="6964643"/>
                  <a:pt x="259813" y="6966373"/>
                </a:cubicBezTo>
                <a:cubicBezTo>
                  <a:pt x="263540" y="6967971"/>
                  <a:pt x="266602" y="6970101"/>
                  <a:pt x="269131" y="6972763"/>
                </a:cubicBezTo>
                <a:cubicBezTo>
                  <a:pt x="271793" y="6975293"/>
                  <a:pt x="273790" y="6978487"/>
                  <a:pt x="275254" y="6982082"/>
                </a:cubicBezTo>
                <a:cubicBezTo>
                  <a:pt x="276718" y="6985675"/>
                  <a:pt x="277517" y="6989536"/>
                  <a:pt x="277517" y="6993529"/>
                </a:cubicBezTo>
                <a:cubicBezTo>
                  <a:pt x="277517" y="6997656"/>
                  <a:pt x="276718" y="7001649"/>
                  <a:pt x="275254" y="7005245"/>
                </a:cubicBezTo>
                <a:cubicBezTo>
                  <a:pt x="273790" y="7008838"/>
                  <a:pt x="271660" y="7011901"/>
                  <a:pt x="269131" y="7014563"/>
                </a:cubicBezTo>
                <a:cubicBezTo>
                  <a:pt x="266468" y="7017225"/>
                  <a:pt x="263407" y="7019355"/>
                  <a:pt x="259813" y="7020819"/>
                </a:cubicBezTo>
                <a:cubicBezTo>
                  <a:pt x="256217" y="7022283"/>
                  <a:pt x="252358" y="7023082"/>
                  <a:pt x="248098" y="7023082"/>
                </a:cubicBezTo>
                <a:cubicBezTo>
                  <a:pt x="239181" y="7023082"/>
                  <a:pt x="231860" y="7020154"/>
                  <a:pt x="226269" y="7014563"/>
                </a:cubicBezTo>
                <a:cubicBezTo>
                  <a:pt x="220679" y="7008838"/>
                  <a:pt x="217884" y="7001916"/>
                  <a:pt x="217884" y="6993396"/>
                </a:cubicBezTo>
                <a:cubicBezTo>
                  <a:pt x="217884" y="6985143"/>
                  <a:pt x="220679" y="6978088"/>
                  <a:pt x="226269" y="6972364"/>
                </a:cubicBezTo>
                <a:cubicBezTo>
                  <a:pt x="231860" y="6966640"/>
                  <a:pt x="239047" y="6963844"/>
                  <a:pt x="248098" y="6963844"/>
                </a:cubicBezTo>
                <a:close/>
                <a:moveTo>
                  <a:pt x="30458" y="6963844"/>
                </a:moveTo>
                <a:cubicBezTo>
                  <a:pt x="34718" y="6963844"/>
                  <a:pt x="38712" y="6964643"/>
                  <a:pt x="42173" y="6966373"/>
                </a:cubicBezTo>
                <a:cubicBezTo>
                  <a:pt x="45900" y="6967971"/>
                  <a:pt x="48962" y="6970101"/>
                  <a:pt x="51491" y="6972763"/>
                </a:cubicBezTo>
                <a:cubicBezTo>
                  <a:pt x="54153" y="6975293"/>
                  <a:pt x="56150" y="6978487"/>
                  <a:pt x="57614" y="6982082"/>
                </a:cubicBezTo>
                <a:cubicBezTo>
                  <a:pt x="59078" y="6985675"/>
                  <a:pt x="59877" y="6989536"/>
                  <a:pt x="59877" y="6993529"/>
                </a:cubicBezTo>
                <a:cubicBezTo>
                  <a:pt x="59877" y="6997656"/>
                  <a:pt x="59078" y="7001649"/>
                  <a:pt x="57614" y="7005245"/>
                </a:cubicBezTo>
                <a:cubicBezTo>
                  <a:pt x="56150" y="7008838"/>
                  <a:pt x="54020" y="7011901"/>
                  <a:pt x="51491" y="7014563"/>
                </a:cubicBezTo>
                <a:cubicBezTo>
                  <a:pt x="48828" y="7017225"/>
                  <a:pt x="45767" y="7019355"/>
                  <a:pt x="42173" y="7020819"/>
                </a:cubicBezTo>
                <a:cubicBezTo>
                  <a:pt x="38579" y="7022283"/>
                  <a:pt x="34718" y="7023082"/>
                  <a:pt x="30458" y="7023082"/>
                </a:cubicBezTo>
                <a:cubicBezTo>
                  <a:pt x="21539" y="7023082"/>
                  <a:pt x="14220" y="7020154"/>
                  <a:pt x="8631" y="7014563"/>
                </a:cubicBezTo>
                <a:cubicBezTo>
                  <a:pt x="3040" y="7008838"/>
                  <a:pt x="245" y="7001916"/>
                  <a:pt x="245" y="6993396"/>
                </a:cubicBezTo>
                <a:cubicBezTo>
                  <a:pt x="245" y="6985143"/>
                  <a:pt x="3040" y="6978088"/>
                  <a:pt x="8631" y="6972364"/>
                </a:cubicBezTo>
                <a:cubicBezTo>
                  <a:pt x="14220" y="6966640"/>
                  <a:pt x="21405" y="6963844"/>
                  <a:pt x="30458" y="6963844"/>
                </a:cubicBezTo>
                <a:close/>
                <a:moveTo>
                  <a:pt x="10475977" y="6762839"/>
                </a:moveTo>
                <a:cubicBezTo>
                  <a:pt x="10470119" y="6762839"/>
                  <a:pt x="10467589" y="6764702"/>
                  <a:pt x="10465992" y="6766433"/>
                </a:cubicBezTo>
                <a:cubicBezTo>
                  <a:pt x="10463463" y="6769095"/>
                  <a:pt x="10462399" y="6771890"/>
                  <a:pt x="10462399" y="6775884"/>
                </a:cubicBezTo>
                <a:cubicBezTo>
                  <a:pt x="10462399" y="6780010"/>
                  <a:pt x="10463463" y="6782806"/>
                  <a:pt x="10465992" y="6785335"/>
                </a:cubicBezTo>
                <a:cubicBezTo>
                  <a:pt x="10467589" y="6786934"/>
                  <a:pt x="10470119" y="6788797"/>
                  <a:pt x="10475977" y="6788797"/>
                </a:cubicBezTo>
                <a:cubicBezTo>
                  <a:pt x="10478107" y="6788797"/>
                  <a:pt x="10479838" y="6788531"/>
                  <a:pt x="10481302" y="6787865"/>
                </a:cubicBezTo>
                <a:cubicBezTo>
                  <a:pt x="10482899" y="6787333"/>
                  <a:pt x="10484098" y="6786535"/>
                  <a:pt x="10485029" y="6785468"/>
                </a:cubicBezTo>
                <a:cubicBezTo>
                  <a:pt x="10486094" y="6784270"/>
                  <a:pt x="10487026" y="6782939"/>
                  <a:pt x="10487691" y="6781209"/>
                </a:cubicBezTo>
                <a:cubicBezTo>
                  <a:pt x="10488357" y="6779611"/>
                  <a:pt x="10488623" y="6777747"/>
                  <a:pt x="10488623" y="6775751"/>
                </a:cubicBezTo>
                <a:cubicBezTo>
                  <a:pt x="10488623" y="6773887"/>
                  <a:pt x="10488357" y="6772157"/>
                  <a:pt x="10487691" y="6770560"/>
                </a:cubicBezTo>
                <a:cubicBezTo>
                  <a:pt x="10487026" y="6768962"/>
                  <a:pt x="10486094" y="6767631"/>
                  <a:pt x="10485029" y="6766433"/>
                </a:cubicBezTo>
                <a:cubicBezTo>
                  <a:pt x="10483964" y="6765368"/>
                  <a:pt x="10482633" y="6764436"/>
                  <a:pt x="10481035" y="6763770"/>
                </a:cubicBezTo>
                <a:cubicBezTo>
                  <a:pt x="10479571" y="6763105"/>
                  <a:pt x="10477974" y="6762839"/>
                  <a:pt x="10475977" y="6762839"/>
                </a:cubicBezTo>
                <a:close/>
                <a:moveTo>
                  <a:pt x="10258466" y="6762839"/>
                </a:moveTo>
                <a:cubicBezTo>
                  <a:pt x="10252608" y="6762839"/>
                  <a:pt x="10250078" y="6764702"/>
                  <a:pt x="10248481" y="6766433"/>
                </a:cubicBezTo>
                <a:cubicBezTo>
                  <a:pt x="10245952" y="6769095"/>
                  <a:pt x="10244887" y="6771890"/>
                  <a:pt x="10244887" y="6775884"/>
                </a:cubicBezTo>
                <a:cubicBezTo>
                  <a:pt x="10244887" y="6780010"/>
                  <a:pt x="10245952" y="6782806"/>
                  <a:pt x="10248481" y="6785335"/>
                </a:cubicBezTo>
                <a:cubicBezTo>
                  <a:pt x="10250078" y="6786934"/>
                  <a:pt x="10252608" y="6788797"/>
                  <a:pt x="10258466" y="6788797"/>
                </a:cubicBezTo>
                <a:cubicBezTo>
                  <a:pt x="10260462" y="6788797"/>
                  <a:pt x="10262192" y="6788531"/>
                  <a:pt x="10263790" y="6787865"/>
                </a:cubicBezTo>
                <a:cubicBezTo>
                  <a:pt x="10265388" y="6787333"/>
                  <a:pt x="10266586" y="6786535"/>
                  <a:pt x="10267517" y="6785468"/>
                </a:cubicBezTo>
                <a:cubicBezTo>
                  <a:pt x="10268583" y="6784270"/>
                  <a:pt x="10269515" y="6782939"/>
                  <a:pt x="10270180" y="6781209"/>
                </a:cubicBezTo>
                <a:cubicBezTo>
                  <a:pt x="10270845" y="6779611"/>
                  <a:pt x="10271112" y="6777747"/>
                  <a:pt x="10271112" y="6775751"/>
                </a:cubicBezTo>
                <a:cubicBezTo>
                  <a:pt x="10271112" y="6773887"/>
                  <a:pt x="10270845" y="6772157"/>
                  <a:pt x="10270180" y="6770560"/>
                </a:cubicBezTo>
                <a:cubicBezTo>
                  <a:pt x="10269515" y="6768962"/>
                  <a:pt x="10268583" y="6767631"/>
                  <a:pt x="10267517" y="6766433"/>
                </a:cubicBezTo>
                <a:cubicBezTo>
                  <a:pt x="10266452" y="6765368"/>
                  <a:pt x="10265121" y="6764436"/>
                  <a:pt x="10263524" y="6763770"/>
                </a:cubicBezTo>
                <a:cubicBezTo>
                  <a:pt x="10262060" y="6763105"/>
                  <a:pt x="10260462" y="6762839"/>
                  <a:pt x="10258466" y="6762839"/>
                </a:cubicBezTo>
                <a:close/>
                <a:moveTo>
                  <a:pt x="10040820" y="6762839"/>
                </a:moveTo>
                <a:cubicBezTo>
                  <a:pt x="10034962" y="6762839"/>
                  <a:pt x="10032433" y="6764702"/>
                  <a:pt x="10030835" y="6766433"/>
                </a:cubicBezTo>
                <a:cubicBezTo>
                  <a:pt x="10028306" y="6769095"/>
                  <a:pt x="10027242" y="6771890"/>
                  <a:pt x="10027242" y="6775884"/>
                </a:cubicBezTo>
                <a:cubicBezTo>
                  <a:pt x="10027242" y="6780010"/>
                  <a:pt x="10028306" y="6782806"/>
                  <a:pt x="10030835" y="6785335"/>
                </a:cubicBezTo>
                <a:cubicBezTo>
                  <a:pt x="10032433" y="6786934"/>
                  <a:pt x="10034962" y="6788797"/>
                  <a:pt x="10040820" y="6788797"/>
                </a:cubicBezTo>
                <a:cubicBezTo>
                  <a:pt x="10042817" y="6788797"/>
                  <a:pt x="10044681" y="6788531"/>
                  <a:pt x="10046145" y="6787865"/>
                </a:cubicBezTo>
                <a:cubicBezTo>
                  <a:pt x="10047742" y="6787333"/>
                  <a:pt x="10048941" y="6786535"/>
                  <a:pt x="10049872" y="6785468"/>
                </a:cubicBezTo>
                <a:cubicBezTo>
                  <a:pt x="10050937" y="6784270"/>
                  <a:pt x="10051869" y="6782939"/>
                  <a:pt x="10052534" y="6781209"/>
                </a:cubicBezTo>
                <a:cubicBezTo>
                  <a:pt x="10053333" y="6779611"/>
                  <a:pt x="10053599" y="6777747"/>
                  <a:pt x="10053599" y="6775751"/>
                </a:cubicBezTo>
                <a:cubicBezTo>
                  <a:pt x="10053599" y="6773887"/>
                  <a:pt x="10053200" y="6772157"/>
                  <a:pt x="10052534" y="6770560"/>
                </a:cubicBezTo>
                <a:cubicBezTo>
                  <a:pt x="10051869" y="6768962"/>
                  <a:pt x="10050937" y="6767631"/>
                  <a:pt x="10049872" y="6766433"/>
                </a:cubicBezTo>
                <a:cubicBezTo>
                  <a:pt x="10048807" y="6765368"/>
                  <a:pt x="10047476" y="6764436"/>
                  <a:pt x="10045878" y="6763770"/>
                </a:cubicBezTo>
                <a:cubicBezTo>
                  <a:pt x="10044414" y="6763105"/>
                  <a:pt x="10042817" y="6762839"/>
                  <a:pt x="10040820" y="6762839"/>
                </a:cubicBezTo>
                <a:close/>
                <a:moveTo>
                  <a:pt x="9823176" y="6762839"/>
                </a:moveTo>
                <a:cubicBezTo>
                  <a:pt x="9817318" y="6762839"/>
                  <a:pt x="9814788" y="6764702"/>
                  <a:pt x="9813191" y="6766433"/>
                </a:cubicBezTo>
                <a:cubicBezTo>
                  <a:pt x="9810662" y="6769095"/>
                  <a:pt x="9809597" y="6771890"/>
                  <a:pt x="9809597" y="6775884"/>
                </a:cubicBezTo>
                <a:cubicBezTo>
                  <a:pt x="9809597" y="6780010"/>
                  <a:pt x="9810662" y="6782806"/>
                  <a:pt x="9813191" y="6785335"/>
                </a:cubicBezTo>
                <a:cubicBezTo>
                  <a:pt x="9814788" y="6786934"/>
                  <a:pt x="9817318" y="6788797"/>
                  <a:pt x="9823176" y="6788797"/>
                </a:cubicBezTo>
                <a:cubicBezTo>
                  <a:pt x="9825173" y="6788797"/>
                  <a:pt x="9827036" y="6788531"/>
                  <a:pt x="9828501" y="6787865"/>
                </a:cubicBezTo>
                <a:cubicBezTo>
                  <a:pt x="9830098" y="6787333"/>
                  <a:pt x="9831296" y="6786535"/>
                  <a:pt x="9832227" y="6785468"/>
                </a:cubicBezTo>
                <a:cubicBezTo>
                  <a:pt x="9833293" y="6784270"/>
                  <a:pt x="9834225" y="6782939"/>
                  <a:pt x="9834890" y="6781209"/>
                </a:cubicBezTo>
                <a:cubicBezTo>
                  <a:pt x="9835689" y="6779611"/>
                  <a:pt x="9835955" y="6777747"/>
                  <a:pt x="9835955" y="6775751"/>
                </a:cubicBezTo>
                <a:cubicBezTo>
                  <a:pt x="9835955" y="6773887"/>
                  <a:pt x="9835555" y="6772157"/>
                  <a:pt x="9834890" y="6770560"/>
                </a:cubicBezTo>
                <a:cubicBezTo>
                  <a:pt x="9834225" y="6768962"/>
                  <a:pt x="9833293" y="6767631"/>
                  <a:pt x="9832227" y="6766433"/>
                </a:cubicBezTo>
                <a:cubicBezTo>
                  <a:pt x="9831162" y="6765368"/>
                  <a:pt x="9829831" y="6764436"/>
                  <a:pt x="9828234" y="6763770"/>
                </a:cubicBezTo>
                <a:cubicBezTo>
                  <a:pt x="9826770" y="6763105"/>
                  <a:pt x="9825173" y="6762839"/>
                  <a:pt x="9823176" y="6762839"/>
                </a:cubicBezTo>
                <a:close/>
                <a:moveTo>
                  <a:pt x="9605531" y="6762839"/>
                </a:moveTo>
                <a:cubicBezTo>
                  <a:pt x="9599673" y="6762839"/>
                  <a:pt x="9597143" y="6764702"/>
                  <a:pt x="9595546" y="6766433"/>
                </a:cubicBezTo>
                <a:cubicBezTo>
                  <a:pt x="9593017" y="6769095"/>
                  <a:pt x="9591952" y="6771890"/>
                  <a:pt x="9591952" y="6775884"/>
                </a:cubicBezTo>
                <a:cubicBezTo>
                  <a:pt x="9591952" y="6780010"/>
                  <a:pt x="9593017" y="6782806"/>
                  <a:pt x="9595546" y="6785335"/>
                </a:cubicBezTo>
                <a:cubicBezTo>
                  <a:pt x="9597143" y="6786934"/>
                  <a:pt x="9599673" y="6788797"/>
                  <a:pt x="9605531" y="6788797"/>
                </a:cubicBezTo>
                <a:cubicBezTo>
                  <a:pt x="9607660" y="6788797"/>
                  <a:pt x="9609391" y="6788531"/>
                  <a:pt x="9610855" y="6787865"/>
                </a:cubicBezTo>
                <a:cubicBezTo>
                  <a:pt x="9612319" y="6787333"/>
                  <a:pt x="9613651" y="6786535"/>
                  <a:pt x="9614582" y="6785468"/>
                </a:cubicBezTo>
                <a:cubicBezTo>
                  <a:pt x="9615647" y="6784270"/>
                  <a:pt x="9616579" y="6782939"/>
                  <a:pt x="9617245" y="6781209"/>
                </a:cubicBezTo>
                <a:cubicBezTo>
                  <a:pt x="9618044" y="6779611"/>
                  <a:pt x="9618309" y="6777747"/>
                  <a:pt x="9618309" y="6775751"/>
                </a:cubicBezTo>
                <a:cubicBezTo>
                  <a:pt x="9618309" y="6773887"/>
                  <a:pt x="9617910" y="6772157"/>
                  <a:pt x="9617245" y="6770560"/>
                </a:cubicBezTo>
                <a:cubicBezTo>
                  <a:pt x="9616579" y="6768962"/>
                  <a:pt x="9615647" y="6767631"/>
                  <a:pt x="9614582" y="6766433"/>
                </a:cubicBezTo>
                <a:cubicBezTo>
                  <a:pt x="9613517" y="6765368"/>
                  <a:pt x="9612186" y="6764436"/>
                  <a:pt x="9610589" y="6763770"/>
                </a:cubicBezTo>
                <a:cubicBezTo>
                  <a:pt x="9609124" y="6763105"/>
                  <a:pt x="9607394" y="6762839"/>
                  <a:pt x="9605531" y="6762839"/>
                </a:cubicBezTo>
                <a:close/>
                <a:moveTo>
                  <a:pt x="9387885" y="6762839"/>
                </a:moveTo>
                <a:cubicBezTo>
                  <a:pt x="9382027" y="6762839"/>
                  <a:pt x="9379497" y="6764702"/>
                  <a:pt x="9377900" y="6766433"/>
                </a:cubicBezTo>
                <a:cubicBezTo>
                  <a:pt x="9375371" y="6769095"/>
                  <a:pt x="9374307" y="6771890"/>
                  <a:pt x="9374307" y="6775884"/>
                </a:cubicBezTo>
                <a:cubicBezTo>
                  <a:pt x="9374307" y="6780010"/>
                  <a:pt x="9375371" y="6782806"/>
                  <a:pt x="9377900" y="6785335"/>
                </a:cubicBezTo>
                <a:cubicBezTo>
                  <a:pt x="9379497" y="6786934"/>
                  <a:pt x="9382027" y="6788797"/>
                  <a:pt x="9387885" y="6788797"/>
                </a:cubicBezTo>
                <a:cubicBezTo>
                  <a:pt x="9390015" y="6788797"/>
                  <a:pt x="9391746" y="6788531"/>
                  <a:pt x="9393210" y="6787865"/>
                </a:cubicBezTo>
                <a:cubicBezTo>
                  <a:pt x="9394674" y="6787333"/>
                  <a:pt x="9396005" y="6786535"/>
                  <a:pt x="9396937" y="6785468"/>
                </a:cubicBezTo>
                <a:cubicBezTo>
                  <a:pt x="9398002" y="6784270"/>
                  <a:pt x="9398934" y="6782939"/>
                  <a:pt x="9399599" y="6781209"/>
                </a:cubicBezTo>
                <a:cubicBezTo>
                  <a:pt x="9400398" y="6779611"/>
                  <a:pt x="9400664" y="6777747"/>
                  <a:pt x="9400664" y="6775751"/>
                </a:cubicBezTo>
                <a:cubicBezTo>
                  <a:pt x="9400664" y="6773887"/>
                  <a:pt x="9400265" y="6772157"/>
                  <a:pt x="9399599" y="6770560"/>
                </a:cubicBezTo>
                <a:cubicBezTo>
                  <a:pt x="9398934" y="6768962"/>
                  <a:pt x="9398002" y="6767631"/>
                  <a:pt x="9396937" y="6766433"/>
                </a:cubicBezTo>
                <a:cubicBezTo>
                  <a:pt x="9395872" y="6765368"/>
                  <a:pt x="9394541" y="6764436"/>
                  <a:pt x="9392943" y="6763770"/>
                </a:cubicBezTo>
                <a:cubicBezTo>
                  <a:pt x="9391479" y="6763105"/>
                  <a:pt x="9389749" y="6762839"/>
                  <a:pt x="9387885" y="6762839"/>
                </a:cubicBezTo>
                <a:close/>
                <a:moveTo>
                  <a:pt x="9170374" y="6762839"/>
                </a:moveTo>
                <a:cubicBezTo>
                  <a:pt x="9164649" y="6762839"/>
                  <a:pt x="9161986" y="6764702"/>
                  <a:pt x="9160389" y="6766433"/>
                </a:cubicBezTo>
                <a:cubicBezTo>
                  <a:pt x="9157860" y="6769095"/>
                  <a:pt x="9156795" y="6771890"/>
                  <a:pt x="9156795" y="6775884"/>
                </a:cubicBezTo>
                <a:cubicBezTo>
                  <a:pt x="9156795" y="6780010"/>
                  <a:pt x="9157860" y="6782806"/>
                  <a:pt x="9160389" y="6785335"/>
                </a:cubicBezTo>
                <a:cubicBezTo>
                  <a:pt x="9161986" y="6786934"/>
                  <a:pt x="9164516" y="6788797"/>
                  <a:pt x="9170374" y="6788797"/>
                </a:cubicBezTo>
                <a:cubicBezTo>
                  <a:pt x="9172370" y="6788797"/>
                  <a:pt x="9174100" y="6788531"/>
                  <a:pt x="9175698" y="6787865"/>
                </a:cubicBezTo>
                <a:cubicBezTo>
                  <a:pt x="9177163" y="6787333"/>
                  <a:pt x="9178494" y="6786535"/>
                  <a:pt x="9179425" y="6785468"/>
                </a:cubicBezTo>
                <a:cubicBezTo>
                  <a:pt x="9180491" y="6784270"/>
                  <a:pt x="9181422" y="6782939"/>
                  <a:pt x="9182088" y="6781209"/>
                </a:cubicBezTo>
                <a:cubicBezTo>
                  <a:pt x="9182887" y="6779611"/>
                  <a:pt x="9183152" y="6777747"/>
                  <a:pt x="9183152" y="6775751"/>
                </a:cubicBezTo>
                <a:cubicBezTo>
                  <a:pt x="9183152" y="6773887"/>
                  <a:pt x="9182753" y="6772157"/>
                  <a:pt x="9182088" y="6770560"/>
                </a:cubicBezTo>
                <a:cubicBezTo>
                  <a:pt x="9181422" y="6768962"/>
                  <a:pt x="9180491" y="6767631"/>
                  <a:pt x="9179425" y="6766433"/>
                </a:cubicBezTo>
                <a:cubicBezTo>
                  <a:pt x="9178360" y="6765368"/>
                  <a:pt x="9177029" y="6764436"/>
                  <a:pt x="9175432" y="6763770"/>
                </a:cubicBezTo>
                <a:cubicBezTo>
                  <a:pt x="9173967" y="6763105"/>
                  <a:pt x="9172237" y="6762839"/>
                  <a:pt x="9170374" y="6762839"/>
                </a:cubicBezTo>
                <a:close/>
                <a:moveTo>
                  <a:pt x="8952728" y="6762839"/>
                </a:moveTo>
                <a:cubicBezTo>
                  <a:pt x="8947003" y="6762839"/>
                  <a:pt x="8944340" y="6764702"/>
                  <a:pt x="8942743" y="6766433"/>
                </a:cubicBezTo>
                <a:cubicBezTo>
                  <a:pt x="8940214" y="6769095"/>
                  <a:pt x="8939150" y="6771890"/>
                  <a:pt x="8939150" y="6775884"/>
                </a:cubicBezTo>
                <a:cubicBezTo>
                  <a:pt x="8939150" y="6780010"/>
                  <a:pt x="8940214" y="6782806"/>
                  <a:pt x="8942743" y="6785335"/>
                </a:cubicBezTo>
                <a:cubicBezTo>
                  <a:pt x="8944340" y="6786934"/>
                  <a:pt x="8946870" y="6788797"/>
                  <a:pt x="8952728" y="6788797"/>
                </a:cubicBezTo>
                <a:cubicBezTo>
                  <a:pt x="8954725" y="6788797"/>
                  <a:pt x="8956589" y="6788531"/>
                  <a:pt x="8958053" y="6787865"/>
                </a:cubicBezTo>
                <a:cubicBezTo>
                  <a:pt x="8959517" y="6787333"/>
                  <a:pt x="8960849" y="6786535"/>
                  <a:pt x="8961780" y="6785468"/>
                </a:cubicBezTo>
                <a:cubicBezTo>
                  <a:pt x="8962845" y="6784270"/>
                  <a:pt x="8963777" y="6782939"/>
                  <a:pt x="8964442" y="6781209"/>
                </a:cubicBezTo>
                <a:cubicBezTo>
                  <a:pt x="8965241" y="6779611"/>
                  <a:pt x="8965507" y="6777747"/>
                  <a:pt x="8965507" y="6775751"/>
                </a:cubicBezTo>
                <a:cubicBezTo>
                  <a:pt x="8965507" y="6773887"/>
                  <a:pt x="8965108" y="6772157"/>
                  <a:pt x="8964442" y="6770560"/>
                </a:cubicBezTo>
                <a:cubicBezTo>
                  <a:pt x="8963777" y="6768962"/>
                  <a:pt x="8962845" y="6767631"/>
                  <a:pt x="8961780" y="6766433"/>
                </a:cubicBezTo>
                <a:cubicBezTo>
                  <a:pt x="8960715" y="6765368"/>
                  <a:pt x="8959384" y="6764436"/>
                  <a:pt x="8957786" y="6763770"/>
                </a:cubicBezTo>
                <a:cubicBezTo>
                  <a:pt x="8956322" y="6763105"/>
                  <a:pt x="8954592" y="6762839"/>
                  <a:pt x="8952728" y="6762839"/>
                </a:cubicBezTo>
                <a:close/>
                <a:moveTo>
                  <a:pt x="8735083" y="6762839"/>
                </a:moveTo>
                <a:cubicBezTo>
                  <a:pt x="8729358" y="6762839"/>
                  <a:pt x="8726695" y="6764702"/>
                  <a:pt x="8725098" y="6766433"/>
                </a:cubicBezTo>
                <a:cubicBezTo>
                  <a:pt x="8722569" y="6769095"/>
                  <a:pt x="8721504" y="6771890"/>
                  <a:pt x="8721504" y="6775884"/>
                </a:cubicBezTo>
                <a:cubicBezTo>
                  <a:pt x="8721504" y="6780010"/>
                  <a:pt x="8722569" y="6782806"/>
                  <a:pt x="8725098" y="6785335"/>
                </a:cubicBezTo>
                <a:cubicBezTo>
                  <a:pt x="8726695" y="6786934"/>
                  <a:pt x="8729225" y="6788797"/>
                  <a:pt x="8735083" y="6788797"/>
                </a:cubicBezTo>
                <a:cubicBezTo>
                  <a:pt x="8737079" y="6788797"/>
                  <a:pt x="8738943" y="6788531"/>
                  <a:pt x="8740407" y="6787865"/>
                </a:cubicBezTo>
                <a:cubicBezTo>
                  <a:pt x="8741872" y="6787333"/>
                  <a:pt x="8743203" y="6786535"/>
                  <a:pt x="8744134" y="6785468"/>
                </a:cubicBezTo>
                <a:cubicBezTo>
                  <a:pt x="8745200" y="6784270"/>
                  <a:pt x="8746132" y="6782939"/>
                  <a:pt x="8746797" y="6781209"/>
                </a:cubicBezTo>
                <a:cubicBezTo>
                  <a:pt x="8747596" y="6779611"/>
                  <a:pt x="8747862" y="6777747"/>
                  <a:pt x="8747862" y="6775751"/>
                </a:cubicBezTo>
                <a:cubicBezTo>
                  <a:pt x="8747862" y="6773887"/>
                  <a:pt x="8747462" y="6772157"/>
                  <a:pt x="8746797" y="6770560"/>
                </a:cubicBezTo>
                <a:cubicBezTo>
                  <a:pt x="8746132" y="6768962"/>
                  <a:pt x="8745200" y="6767631"/>
                  <a:pt x="8744134" y="6766433"/>
                </a:cubicBezTo>
                <a:cubicBezTo>
                  <a:pt x="8743069" y="6765368"/>
                  <a:pt x="8741738" y="6764436"/>
                  <a:pt x="8740141" y="6763770"/>
                </a:cubicBezTo>
                <a:cubicBezTo>
                  <a:pt x="8738677" y="6763105"/>
                  <a:pt x="8736946" y="6762839"/>
                  <a:pt x="8735083" y="6762839"/>
                </a:cubicBezTo>
                <a:close/>
                <a:moveTo>
                  <a:pt x="8517438" y="6762839"/>
                </a:moveTo>
                <a:cubicBezTo>
                  <a:pt x="8511713" y="6762839"/>
                  <a:pt x="8509051" y="6764702"/>
                  <a:pt x="8507453" y="6766433"/>
                </a:cubicBezTo>
                <a:cubicBezTo>
                  <a:pt x="8504925" y="6769095"/>
                  <a:pt x="8503860" y="6771890"/>
                  <a:pt x="8503860" y="6775884"/>
                </a:cubicBezTo>
                <a:cubicBezTo>
                  <a:pt x="8503860" y="6780010"/>
                  <a:pt x="8504925" y="6782806"/>
                  <a:pt x="8507453" y="6785335"/>
                </a:cubicBezTo>
                <a:cubicBezTo>
                  <a:pt x="8509051" y="6786934"/>
                  <a:pt x="8511581" y="6788797"/>
                  <a:pt x="8517438" y="6788797"/>
                </a:cubicBezTo>
                <a:cubicBezTo>
                  <a:pt x="8519568" y="6788797"/>
                  <a:pt x="8521299" y="6788531"/>
                  <a:pt x="8522763" y="6787865"/>
                </a:cubicBezTo>
                <a:cubicBezTo>
                  <a:pt x="8524227" y="6787333"/>
                  <a:pt x="8525559" y="6786535"/>
                  <a:pt x="8526490" y="6785468"/>
                </a:cubicBezTo>
                <a:cubicBezTo>
                  <a:pt x="8527555" y="6784270"/>
                  <a:pt x="8528487" y="6782939"/>
                  <a:pt x="8529152" y="6781209"/>
                </a:cubicBezTo>
                <a:cubicBezTo>
                  <a:pt x="8529818" y="6779611"/>
                  <a:pt x="8530084" y="6777747"/>
                  <a:pt x="8530084" y="6775751"/>
                </a:cubicBezTo>
                <a:cubicBezTo>
                  <a:pt x="8530084" y="6773887"/>
                  <a:pt x="8529818" y="6772157"/>
                  <a:pt x="8529152" y="6770560"/>
                </a:cubicBezTo>
                <a:cubicBezTo>
                  <a:pt x="8528487" y="6768962"/>
                  <a:pt x="8527555" y="6767631"/>
                  <a:pt x="8526490" y="6766433"/>
                </a:cubicBezTo>
                <a:cubicBezTo>
                  <a:pt x="8525425" y="6765368"/>
                  <a:pt x="8524094" y="6764436"/>
                  <a:pt x="8522496" y="6763770"/>
                </a:cubicBezTo>
                <a:cubicBezTo>
                  <a:pt x="8521032" y="6763105"/>
                  <a:pt x="8519302" y="6762839"/>
                  <a:pt x="8517438" y="6762839"/>
                </a:cubicBezTo>
                <a:close/>
                <a:moveTo>
                  <a:pt x="8299793" y="6762839"/>
                </a:moveTo>
                <a:cubicBezTo>
                  <a:pt x="8294068" y="6762839"/>
                  <a:pt x="8291406" y="6764702"/>
                  <a:pt x="8289809" y="6766433"/>
                </a:cubicBezTo>
                <a:cubicBezTo>
                  <a:pt x="8287280" y="6769095"/>
                  <a:pt x="8286215" y="6771890"/>
                  <a:pt x="8286215" y="6775884"/>
                </a:cubicBezTo>
                <a:cubicBezTo>
                  <a:pt x="8286215" y="6780010"/>
                  <a:pt x="8287280" y="6782806"/>
                  <a:pt x="8289809" y="6785335"/>
                </a:cubicBezTo>
                <a:cubicBezTo>
                  <a:pt x="8291406" y="6786934"/>
                  <a:pt x="8293935" y="6788797"/>
                  <a:pt x="8299793" y="6788797"/>
                </a:cubicBezTo>
                <a:cubicBezTo>
                  <a:pt x="8301923" y="6788797"/>
                  <a:pt x="8303653" y="6788531"/>
                  <a:pt x="8305118" y="6787865"/>
                </a:cubicBezTo>
                <a:cubicBezTo>
                  <a:pt x="8306582" y="6787333"/>
                  <a:pt x="8307913" y="6786535"/>
                  <a:pt x="8308844" y="6785468"/>
                </a:cubicBezTo>
                <a:cubicBezTo>
                  <a:pt x="8309910" y="6784270"/>
                  <a:pt x="8310842" y="6782939"/>
                  <a:pt x="8311507" y="6781209"/>
                </a:cubicBezTo>
                <a:cubicBezTo>
                  <a:pt x="8312172" y="6779611"/>
                  <a:pt x="8312439" y="6777747"/>
                  <a:pt x="8312439" y="6775751"/>
                </a:cubicBezTo>
                <a:cubicBezTo>
                  <a:pt x="8312439" y="6773887"/>
                  <a:pt x="8312172" y="6772157"/>
                  <a:pt x="8311507" y="6770560"/>
                </a:cubicBezTo>
                <a:cubicBezTo>
                  <a:pt x="8310842" y="6768962"/>
                  <a:pt x="8309910" y="6767631"/>
                  <a:pt x="8308844" y="6766433"/>
                </a:cubicBezTo>
                <a:cubicBezTo>
                  <a:pt x="8307779" y="6765368"/>
                  <a:pt x="8306448" y="6764436"/>
                  <a:pt x="8304851" y="6763770"/>
                </a:cubicBezTo>
                <a:cubicBezTo>
                  <a:pt x="8303387" y="6763105"/>
                  <a:pt x="8301790" y="6762839"/>
                  <a:pt x="8299793" y="6762839"/>
                </a:cubicBezTo>
                <a:close/>
                <a:moveTo>
                  <a:pt x="8082281" y="6762839"/>
                </a:moveTo>
                <a:cubicBezTo>
                  <a:pt x="8076424" y="6762839"/>
                  <a:pt x="8073894" y="6764702"/>
                  <a:pt x="8072297" y="6766433"/>
                </a:cubicBezTo>
                <a:cubicBezTo>
                  <a:pt x="8069768" y="6769095"/>
                  <a:pt x="8068703" y="6771890"/>
                  <a:pt x="8068703" y="6775884"/>
                </a:cubicBezTo>
                <a:cubicBezTo>
                  <a:pt x="8068703" y="6780010"/>
                  <a:pt x="8069768" y="6782806"/>
                  <a:pt x="8072297" y="6785335"/>
                </a:cubicBezTo>
                <a:cubicBezTo>
                  <a:pt x="8073894" y="6786934"/>
                  <a:pt x="8076424" y="6788797"/>
                  <a:pt x="8082281" y="6788797"/>
                </a:cubicBezTo>
                <a:cubicBezTo>
                  <a:pt x="8084277" y="6788797"/>
                  <a:pt x="8086007" y="6788531"/>
                  <a:pt x="8087605" y="6787865"/>
                </a:cubicBezTo>
                <a:cubicBezTo>
                  <a:pt x="8089069" y="6787333"/>
                  <a:pt x="8090401" y="6786535"/>
                  <a:pt x="8091332" y="6785468"/>
                </a:cubicBezTo>
                <a:cubicBezTo>
                  <a:pt x="8092397" y="6784270"/>
                  <a:pt x="8093329" y="6782939"/>
                  <a:pt x="8093994" y="6781209"/>
                </a:cubicBezTo>
                <a:cubicBezTo>
                  <a:pt x="8094660" y="6779611"/>
                  <a:pt x="8094926" y="6777747"/>
                  <a:pt x="8094926" y="6775751"/>
                </a:cubicBezTo>
                <a:cubicBezTo>
                  <a:pt x="8094926" y="6773887"/>
                  <a:pt x="8094660" y="6772157"/>
                  <a:pt x="8093994" y="6770560"/>
                </a:cubicBezTo>
                <a:cubicBezTo>
                  <a:pt x="8093329" y="6768962"/>
                  <a:pt x="8092397" y="6767631"/>
                  <a:pt x="8091332" y="6766433"/>
                </a:cubicBezTo>
                <a:cubicBezTo>
                  <a:pt x="8090267" y="6765368"/>
                  <a:pt x="8088936" y="6764436"/>
                  <a:pt x="8087338" y="6763770"/>
                </a:cubicBezTo>
                <a:cubicBezTo>
                  <a:pt x="8085874" y="6763105"/>
                  <a:pt x="8084277" y="6762839"/>
                  <a:pt x="8082281" y="6762839"/>
                </a:cubicBezTo>
                <a:close/>
                <a:moveTo>
                  <a:pt x="7864636" y="6762839"/>
                </a:moveTo>
                <a:cubicBezTo>
                  <a:pt x="7858779" y="6762839"/>
                  <a:pt x="7856249" y="6764702"/>
                  <a:pt x="7854652" y="6766433"/>
                </a:cubicBezTo>
                <a:cubicBezTo>
                  <a:pt x="7852123" y="6769095"/>
                  <a:pt x="7851058" y="6771890"/>
                  <a:pt x="7851058" y="6775884"/>
                </a:cubicBezTo>
                <a:cubicBezTo>
                  <a:pt x="7851058" y="6780010"/>
                  <a:pt x="7852123" y="6782806"/>
                  <a:pt x="7854652" y="6785335"/>
                </a:cubicBezTo>
                <a:cubicBezTo>
                  <a:pt x="7856249" y="6786934"/>
                  <a:pt x="7858779" y="6788797"/>
                  <a:pt x="7864636" y="6788797"/>
                </a:cubicBezTo>
                <a:cubicBezTo>
                  <a:pt x="7866633" y="6788797"/>
                  <a:pt x="7868363" y="6788531"/>
                  <a:pt x="7869961" y="6787865"/>
                </a:cubicBezTo>
                <a:cubicBezTo>
                  <a:pt x="7871425" y="6787333"/>
                  <a:pt x="7872756" y="6786535"/>
                  <a:pt x="7873687" y="6785468"/>
                </a:cubicBezTo>
                <a:cubicBezTo>
                  <a:pt x="7874753" y="6784270"/>
                  <a:pt x="7875685" y="6782939"/>
                  <a:pt x="7876350" y="6781209"/>
                </a:cubicBezTo>
                <a:cubicBezTo>
                  <a:pt x="7877015" y="6779611"/>
                  <a:pt x="7877282" y="6777747"/>
                  <a:pt x="7877282" y="6775751"/>
                </a:cubicBezTo>
                <a:cubicBezTo>
                  <a:pt x="7877282" y="6773887"/>
                  <a:pt x="7877015" y="6772157"/>
                  <a:pt x="7876350" y="6770560"/>
                </a:cubicBezTo>
                <a:cubicBezTo>
                  <a:pt x="7875685" y="6768962"/>
                  <a:pt x="7874753" y="6767631"/>
                  <a:pt x="7873687" y="6766433"/>
                </a:cubicBezTo>
                <a:cubicBezTo>
                  <a:pt x="7872623" y="6765368"/>
                  <a:pt x="7871291" y="6764436"/>
                  <a:pt x="7869694" y="6763770"/>
                </a:cubicBezTo>
                <a:cubicBezTo>
                  <a:pt x="7868230" y="6763105"/>
                  <a:pt x="7866633" y="6762839"/>
                  <a:pt x="7864636" y="6762839"/>
                </a:cubicBezTo>
                <a:close/>
                <a:moveTo>
                  <a:pt x="7646991" y="6762839"/>
                </a:moveTo>
                <a:cubicBezTo>
                  <a:pt x="7641134" y="6762839"/>
                  <a:pt x="7638604" y="6764702"/>
                  <a:pt x="7637007" y="6766433"/>
                </a:cubicBezTo>
                <a:cubicBezTo>
                  <a:pt x="7634478" y="6769095"/>
                  <a:pt x="7633413" y="6771890"/>
                  <a:pt x="7633413" y="6775884"/>
                </a:cubicBezTo>
                <a:cubicBezTo>
                  <a:pt x="7633413" y="6780010"/>
                  <a:pt x="7634478" y="6782806"/>
                  <a:pt x="7637007" y="6785335"/>
                </a:cubicBezTo>
                <a:cubicBezTo>
                  <a:pt x="7638604" y="6786934"/>
                  <a:pt x="7641134" y="6788797"/>
                  <a:pt x="7646991" y="6788797"/>
                </a:cubicBezTo>
                <a:cubicBezTo>
                  <a:pt x="7648987" y="6788797"/>
                  <a:pt x="7650851" y="6788531"/>
                  <a:pt x="7652315" y="6787865"/>
                </a:cubicBezTo>
                <a:cubicBezTo>
                  <a:pt x="7653780" y="6787333"/>
                  <a:pt x="7655111" y="6786535"/>
                  <a:pt x="7656042" y="6785468"/>
                </a:cubicBezTo>
                <a:cubicBezTo>
                  <a:pt x="7657108" y="6784270"/>
                  <a:pt x="7658039" y="6782939"/>
                  <a:pt x="7658705" y="6781209"/>
                </a:cubicBezTo>
                <a:cubicBezTo>
                  <a:pt x="7659504" y="6779611"/>
                  <a:pt x="7659769" y="6777747"/>
                  <a:pt x="7659769" y="6775751"/>
                </a:cubicBezTo>
                <a:cubicBezTo>
                  <a:pt x="7659769" y="6773887"/>
                  <a:pt x="7659370" y="6772157"/>
                  <a:pt x="7658705" y="6770560"/>
                </a:cubicBezTo>
                <a:cubicBezTo>
                  <a:pt x="7658039" y="6768962"/>
                  <a:pt x="7657108" y="6767631"/>
                  <a:pt x="7656042" y="6766433"/>
                </a:cubicBezTo>
                <a:cubicBezTo>
                  <a:pt x="7654977" y="6765368"/>
                  <a:pt x="7653646" y="6764436"/>
                  <a:pt x="7652049" y="6763770"/>
                </a:cubicBezTo>
                <a:cubicBezTo>
                  <a:pt x="7650584" y="6763105"/>
                  <a:pt x="7648987" y="6762839"/>
                  <a:pt x="7646991" y="6762839"/>
                </a:cubicBezTo>
                <a:close/>
                <a:moveTo>
                  <a:pt x="7429345" y="6762839"/>
                </a:moveTo>
                <a:cubicBezTo>
                  <a:pt x="7423488" y="6762839"/>
                  <a:pt x="7420958" y="6764702"/>
                  <a:pt x="7419361" y="6766433"/>
                </a:cubicBezTo>
                <a:cubicBezTo>
                  <a:pt x="7416832" y="6769095"/>
                  <a:pt x="7415768" y="6771890"/>
                  <a:pt x="7415768" y="6775884"/>
                </a:cubicBezTo>
                <a:cubicBezTo>
                  <a:pt x="7415768" y="6780010"/>
                  <a:pt x="7416832" y="6782806"/>
                  <a:pt x="7419361" y="6785335"/>
                </a:cubicBezTo>
                <a:cubicBezTo>
                  <a:pt x="7420958" y="6786934"/>
                  <a:pt x="7423488" y="6788797"/>
                  <a:pt x="7429345" y="6788797"/>
                </a:cubicBezTo>
                <a:cubicBezTo>
                  <a:pt x="7431342" y="6788797"/>
                  <a:pt x="7433206" y="6788531"/>
                  <a:pt x="7434670" y="6787865"/>
                </a:cubicBezTo>
                <a:cubicBezTo>
                  <a:pt x="7436134" y="6787333"/>
                  <a:pt x="7437466" y="6786535"/>
                  <a:pt x="7438397" y="6785468"/>
                </a:cubicBezTo>
                <a:cubicBezTo>
                  <a:pt x="7439462" y="6784270"/>
                  <a:pt x="7440394" y="6782939"/>
                  <a:pt x="7441059" y="6781209"/>
                </a:cubicBezTo>
                <a:cubicBezTo>
                  <a:pt x="7441858" y="6779611"/>
                  <a:pt x="7442124" y="6777747"/>
                  <a:pt x="7442124" y="6775751"/>
                </a:cubicBezTo>
                <a:cubicBezTo>
                  <a:pt x="7442124" y="6773887"/>
                  <a:pt x="7441725" y="6772157"/>
                  <a:pt x="7441059" y="6770560"/>
                </a:cubicBezTo>
                <a:cubicBezTo>
                  <a:pt x="7440394" y="6768962"/>
                  <a:pt x="7439462" y="6767631"/>
                  <a:pt x="7438397" y="6766433"/>
                </a:cubicBezTo>
                <a:cubicBezTo>
                  <a:pt x="7437332" y="6765368"/>
                  <a:pt x="7436001" y="6764436"/>
                  <a:pt x="7434403" y="6763770"/>
                </a:cubicBezTo>
                <a:cubicBezTo>
                  <a:pt x="7432939" y="6763105"/>
                  <a:pt x="7431342" y="6762839"/>
                  <a:pt x="7429345" y="6762839"/>
                </a:cubicBezTo>
                <a:close/>
                <a:moveTo>
                  <a:pt x="7211701" y="6762839"/>
                </a:moveTo>
                <a:cubicBezTo>
                  <a:pt x="7205844" y="6762839"/>
                  <a:pt x="7203314" y="6764702"/>
                  <a:pt x="7201717" y="6766433"/>
                </a:cubicBezTo>
                <a:cubicBezTo>
                  <a:pt x="7199188" y="6769095"/>
                  <a:pt x="7198123" y="6771890"/>
                  <a:pt x="7198123" y="6775884"/>
                </a:cubicBezTo>
                <a:cubicBezTo>
                  <a:pt x="7198123" y="6780010"/>
                  <a:pt x="7199188" y="6782806"/>
                  <a:pt x="7201717" y="6785335"/>
                </a:cubicBezTo>
                <a:cubicBezTo>
                  <a:pt x="7203314" y="6786934"/>
                  <a:pt x="7205844" y="6788797"/>
                  <a:pt x="7211701" y="6788797"/>
                </a:cubicBezTo>
                <a:cubicBezTo>
                  <a:pt x="7213830" y="6788797"/>
                  <a:pt x="7215561" y="6788531"/>
                  <a:pt x="7217026" y="6787865"/>
                </a:cubicBezTo>
                <a:cubicBezTo>
                  <a:pt x="7218490" y="6787333"/>
                  <a:pt x="7219821" y="6786535"/>
                  <a:pt x="7220752" y="6785468"/>
                </a:cubicBezTo>
                <a:cubicBezTo>
                  <a:pt x="7221818" y="6784270"/>
                  <a:pt x="7222750" y="6782939"/>
                  <a:pt x="7223415" y="6781209"/>
                </a:cubicBezTo>
                <a:cubicBezTo>
                  <a:pt x="7224214" y="6779611"/>
                  <a:pt x="7224480" y="6777747"/>
                  <a:pt x="7224480" y="6775751"/>
                </a:cubicBezTo>
                <a:cubicBezTo>
                  <a:pt x="7224480" y="6773887"/>
                  <a:pt x="7224080" y="6772157"/>
                  <a:pt x="7223415" y="6770560"/>
                </a:cubicBezTo>
                <a:cubicBezTo>
                  <a:pt x="7222750" y="6768962"/>
                  <a:pt x="7221818" y="6767631"/>
                  <a:pt x="7220752" y="6766433"/>
                </a:cubicBezTo>
                <a:cubicBezTo>
                  <a:pt x="7219687" y="6765368"/>
                  <a:pt x="7218356" y="6764436"/>
                  <a:pt x="7216759" y="6763770"/>
                </a:cubicBezTo>
                <a:cubicBezTo>
                  <a:pt x="7215295" y="6763105"/>
                  <a:pt x="7213698" y="6762839"/>
                  <a:pt x="7211701" y="6762839"/>
                </a:cubicBezTo>
                <a:close/>
                <a:moveTo>
                  <a:pt x="6994056" y="6762839"/>
                </a:moveTo>
                <a:cubicBezTo>
                  <a:pt x="6988199" y="6762839"/>
                  <a:pt x="6985669" y="6764702"/>
                  <a:pt x="6984072" y="6766433"/>
                </a:cubicBezTo>
                <a:cubicBezTo>
                  <a:pt x="6981543" y="6769095"/>
                  <a:pt x="6980478" y="6771890"/>
                  <a:pt x="6980478" y="6775884"/>
                </a:cubicBezTo>
                <a:cubicBezTo>
                  <a:pt x="6980478" y="6780010"/>
                  <a:pt x="6981543" y="6782806"/>
                  <a:pt x="6984072" y="6785335"/>
                </a:cubicBezTo>
                <a:cubicBezTo>
                  <a:pt x="6985669" y="6786934"/>
                  <a:pt x="6988199" y="6788797"/>
                  <a:pt x="6994056" y="6788797"/>
                </a:cubicBezTo>
                <a:cubicBezTo>
                  <a:pt x="6996185" y="6788797"/>
                  <a:pt x="6997916" y="6788531"/>
                  <a:pt x="6999380" y="6787865"/>
                </a:cubicBezTo>
                <a:cubicBezTo>
                  <a:pt x="7000844" y="6787333"/>
                  <a:pt x="7002176" y="6786535"/>
                  <a:pt x="7003107" y="6785468"/>
                </a:cubicBezTo>
                <a:cubicBezTo>
                  <a:pt x="7004172" y="6784270"/>
                  <a:pt x="7005104" y="6782939"/>
                  <a:pt x="7005769" y="6781209"/>
                </a:cubicBezTo>
                <a:cubicBezTo>
                  <a:pt x="7006568" y="6779611"/>
                  <a:pt x="7006834" y="6777747"/>
                  <a:pt x="7006834" y="6775751"/>
                </a:cubicBezTo>
                <a:cubicBezTo>
                  <a:pt x="7006834" y="6773887"/>
                  <a:pt x="7006435" y="6772157"/>
                  <a:pt x="7005769" y="6770560"/>
                </a:cubicBezTo>
                <a:cubicBezTo>
                  <a:pt x="7005104" y="6768962"/>
                  <a:pt x="7004172" y="6767631"/>
                  <a:pt x="7003107" y="6766433"/>
                </a:cubicBezTo>
                <a:cubicBezTo>
                  <a:pt x="7002042" y="6765368"/>
                  <a:pt x="7000711" y="6764436"/>
                  <a:pt x="6999113" y="6763770"/>
                </a:cubicBezTo>
                <a:cubicBezTo>
                  <a:pt x="6997649" y="6763105"/>
                  <a:pt x="6996052" y="6762839"/>
                  <a:pt x="6994056" y="6762839"/>
                </a:cubicBezTo>
                <a:close/>
                <a:moveTo>
                  <a:pt x="6776544" y="6762839"/>
                </a:moveTo>
                <a:cubicBezTo>
                  <a:pt x="6770687" y="6762839"/>
                  <a:pt x="6768157" y="6764702"/>
                  <a:pt x="6766560" y="6766433"/>
                </a:cubicBezTo>
                <a:cubicBezTo>
                  <a:pt x="6764031" y="6769095"/>
                  <a:pt x="6762966" y="6771890"/>
                  <a:pt x="6762966" y="6775884"/>
                </a:cubicBezTo>
                <a:cubicBezTo>
                  <a:pt x="6762966" y="6780010"/>
                  <a:pt x="6764031" y="6782806"/>
                  <a:pt x="6766560" y="6785335"/>
                </a:cubicBezTo>
                <a:cubicBezTo>
                  <a:pt x="6768157" y="6786934"/>
                  <a:pt x="6770687" y="6788797"/>
                  <a:pt x="6776544" y="6788797"/>
                </a:cubicBezTo>
                <a:cubicBezTo>
                  <a:pt x="6778541" y="6788797"/>
                  <a:pt x="6780270" y="6788531"/>
                  <a:pt x="6781869" y="6787865"/>
                </a:cubicBezTo>
                <a:cubicBezTo>
                  <a:pt x="6783333" y="6787333"/>
                  <a:pt x="6784664" y="6786535"/>
                  <a:pt x="6785595" y="6785468"/>
                </a:cubicBezTo>
                <a:cubicBezTo>
                  <a:pt x="6786661" y="6784270"/>
                  <a:pt x="6787593" y="6782939"/>
                  <a:pt x="6788258" y="6781209"/>
                </a:cubicBezTo>
                <a:cubicBezTo>
                  <a:pt x="6789057" y="6779611"/>
                  <a:pt x="6789323" y="6777747"/>
                  <a:pt x="6789323" y="6775751"/>
                </a:cubicBezTo>
                <a:cubicBezTo>
                  <a:pt x="6789323" y="6773887"/>
                  <a:pt x="6788923" y="6772157"/>
                  <a:pt x="6788258" y="6770560"/>
                </a:cubicBezTo>
                <a:cubicBezTo>
                  <a:pt x="6787593" y="6768962"/>
                  <a:pt x="6786661" y="6767631"/>
                  <a:pt x="6785595" y="6766433"/>
                </a:cubicBezTo>
                <a:cubicBezTo>
                  <a:pt x="6784530" y="6765368"/>
                  <a:pt x="6783199" y="6764436"/>
                  <a:pt x="6781602" y="6763770"/>
                </a:cubicBezTo>
                <a:cubicBezTo>
                  <a:pt x="6780138" y="6763105"/>
                  <a:pt x="6778541" y="6762839"/>
                  <a:pt x="6776544" y="6762839"/>
                </a:cubicBezTo>
                <a:close/>
                <a:moveTo>
                  <a:pt x="6558899" y="6762839"/>
                </a:moveTo>
                <a:cubicBezTo>
                  <a:pt x="6553042" y="6762839"/>
                  <a:pt x="6550512" y="6764702"/>
                  <a:pt x="6548915" y="6766433"/>
                </a:cubicBezTo>
                <a:cubicBezTo>
                  <a:pt x="6546386" y="6769095"/>
                  <a:pt x="6545321" y="6771890"/>
                  <a:pt x="6545321" y="6775884"/>
                </a:cubicBezTo>
                <a:cubicBezTo>
                  <a:pt x="6545321" y="6780010"/>
                  <a:pt x="6546386" y="6782806"/>
                  <a:pt x="6548915" y="6785335"/>
                </a:cubicBezTo>
                <a:cubicBezTo>
                  <a:pt x="6550512" y="6786934"/>
                  <a:pt x="6553042" y="6788797"/>
                  <a:pt x="6558899" y="6788797"/>
                </a:cubicBezTo>
                <a:cubicBezTo>
                  <a:pt x="6560895" y="6788797"/>
                  <a:pt x="6562759" y="6788531"/>
                  <a:pt x="6564223" y="6787865"/>
                </a:cubicBezTo>
                <a:cubicBezTo>
                  <a:pt x="6565687" y="6787333"/>
                  <a:pt x="6567019" y="6786535"/>
                  <a:pt x="6567950" y="6785468"/>
                </a:cubicBezTo>
                <a:cubicBezTo>
                  <a:pt x="6569015" y="6784270"/>
                  <a:pt x="6569947" y="6782939"/>
                  <a:pt x="6570612" y="6781209"/>
                </a:cubicBezTo>
                <a:cubicBezTo>
                  <a:pt x="6571412" y="6779611"/>
                  <a:pt x="6571677" y="6777747"/>
                  <a:pt x="6571677" y="6775751"/>
                </a:cubicBezTo>
                <a:cubicBezTo>
                  <a:pt x="6571677" y="6773887"/>
                  <a:pt x="6571278" y="6772157"/>
                  <a:pt x="6570612" y="6770560"/>
                </a:cubicBezTo>
                <a:cubicBezTo>
                  <a:pt x="6569947" y="6768962"/>
                  <a:pt x="6569015" y="6767631"/>
                  <a:pt x="6567950" y="6766433"/>
                </a:cubicBezTo>
                <a:cubicBezTo>
                  <a:pt x="6566885" y="6765368"/>
                  <a:pt x="6565554" y="6764436"/>
                  <a:pt x="6563956" y="6763770"/>
                </a:cubicBezTo>
                <a:cubicBezTo>
                  <a:pt x="6562492" y="6763105"/>
                  <a:pt x="6560895" y="6762839"/>
                  <a:pt x="6558899" y="6762839"/>
                </a:cubicBezTo>
                <a:close/>
                <a:moveTo>
                  <a:pt x="6341253" y="6762839"/>
                </a:moveTo>
                <a:cubicBezTo>
                  <a:pt x="6335396" y="6762839"/>
                  <a:pt x="6332867" y="6764702"/>
                  <a:pt x="6331270" y="6766433"/>
                </a:cubicBezTo>
                <a:cubicBezTo>
                  <a:pt x="6328740" y="6769095"/>
                  <a:pt x="6327675" y="6771890"/>
                  <a:pt x="6327675" y="6775884"/>
                </a:cubicBezTo>
                <a:cubicBezTo>
                  <a:pt x="6327675" y="6780010"/>
                  <a:pt x="6328740" y="6782806"/>
                  <a:pt x="6331270" y="6785335"/>
                </a:cubicBezTo>
                <a:cubicBezTo>
                  <a:pt x="6332867" y="6786934"/>
                  <a:pt x="6335396" y="6788797"/>
                  <a:pt x="6341253" y="6788797"/>
                </a:cubicBezTo>
                <a:cubicBezTo>
                  <a:pt x="6343250" y="6788797"/>
                  <a:pt x="6345114" y="6788531"/>
                  <a:pt x="6346578" y="6787865"/>
                </a:cubicBezTo>
                <a:cubicBezTo>
                  <a:pt x="6348042" y="6787333"/>
                  <a:pt x="6349373" y="6786535"/>
                  <a:pt x="6350305" y="6785468"/>
                </a:cubicBezTo>
                <a:cubicBezTo>
                  <a:pt x="6351370" y="6784270"/>
                  <a:pt x="6352302" y="6782939"/>
                  <a:pt x="6352968" y="6781209"/>
                </a:cubicBezTo>
                <a:cubicBezTo>
                  <a:pt x="6353766" y="6779611"/>
                  <a:pt x="6354033" y="6777747"/>
                  <a:pt x="6354033" y="6775751"/>
                </a:cubicBezTo>
                <a:cubicBezTo>
                  <a:pt x="6354033" y="6773887"/>
                  <a:pt x="6353633" y="6772157"/>
                  <a:pt x="6352968" y="6770560"/>
                </a:cubicBezTo>
                <a:cubicBezTo>
                  <a:pt x="6352302" y="6768962"/>
                  <a:pt x="6351370" y="6767631"/>
                  <a:pt x="6350305" y="6766433"/>
                </a:cubicBezTo>
                <a:cubicBezTo>
                  <a:pt x="6349241" y="6765368"/>
                  <a:pt x="6347909" y="6764436"/>
                  <a:pt x="6346312" y="6763770"/>
                </a:cubicBezTo>
                <a:cubicBezTo>
                  <a:pt x="6344848" y="6763105"/>
                  <a:pt x="6343250" y="6762839"/>
                  <a:pt x="6341253" y="6762839"/>
                </a:cubicBezTo>
                <a:close/>
                <a:moveTo>
                  <a:pt x="6123608" y="6762839"/>
                </a:moveTo>
                <a:cubicBezTo>
                  <a:pt x="6117751" y="6762839"/>
                  <a:pt x="6115221" y="6764702"/>
                  <a:pt x="6113624" y="6766433"/>
                </a:cubicBezTo>
                <a:cubicBezTo>
                  <a:pt x="6111095" y="6769095"/>
                  <a:pt x="6110030" y="6771890"/>
                  <a:pt x="6110030" y="6775884"/>
                </a:cubicBezTo>
                <a:cubicBezTo>
                  <a:pt x="6110030" y="6780010"/>
                  <a:pt x="6111095" y="6782806"/>
                  <a:pt x="6113624" y="6785335"/>
                </a:cubicBezTo>
                <a:cubicBezTo>
                  <a:pt x="6115221" y="6786934"/>
                  <a:pt x="6117751" y="6788797"/>
                  <a:pt x="6123608" y="6788797"/>
                </a:cubicBezTo>
                <a:cubicBezTo>
                  <a:pt x="6125737" y="6788797"/>
                  <a:pt x="6127468" y="6788531"/>
                  <a:pt x="6128932" y="6787865"/>
                </a:cubicBezTo>
                <a:cubicBezTo>
                  <a:pt x="6130530" y="6787333"/>
                  <a:pt x="6131728" y="6786535"/>
                  <a:pt x="6132659" y="6785468"/>
                </a:cubicBezTo>
                <a:cubicBezTo>
                  <a:pt x="6133724" y="6784270"/>
                  <a:pt x="6134656" y="6782939"/>
                  <a:pt x="6135322" y="6781209"/>
                </a:cubicBezTo>
                <a:cubicBezTo>
                  <a:pt x="6135987" y="6779611"/>
                  <a:pt x="6136387" y="6777747"/>
                  <a:pt x="6136387" y="6775751"/>
                </a:cubicBezTo>
                <a:cubicBezTo>
                  <a:pt x="6136387" y="6773887"/>
                  <a:pt x="6135987" y="6772157"/>
                  <a:pt x="6135322" y="6770560"/>
                </a:cubicBezTo>
                <a:cubicBezTo>
                  <a:pt x="6134656" y="6768962"/>
                  <a:pt x="6133724" y="6767631"/>
                  <a:pt x="6132659" y="6766433"/>
                </a:cubicBezTo>
                <a:cubicBezTo>
                  <a:pt x="6131594" y="6765368"/>
                  <a:pt x="6130263" y="6764436"/>
                  <a:pt x="6128666" y="6763770"/>
                </a:cubicBezTo>
                <a:cubicBezTo>
                  <a:pt x="6127202" y="6763105"/>
                  <a:pt x="6125604" y="6762839"/>
                  <a:pt x="6123608" y="6762839"/>
                </a:cubicBezTo>
                <a:close/>
                <a:moveTo>
                  <a:pt x="5905963" y="6762839"/>
                </a:moveTo>
                <a:cubicBezTo>
                  <a:pt x="5900106" y="6762839"/>
                  <a:pt x="5897576" y="6764702"/>
                  <a:pt x="5895979" y="6766433"/>
                </a:cubicBezTo>
                <a:cubicBezTo>
                  <a:pt x="5893450" y="6769095"/>
                  <a:pt x="5892385" y="6771890"/>
                  <a:pt x="5892385" y="6775884"/>
                </a:cubicBezTo>
                <a:cubicBezTo>
                  <a:pt x="5892385" y="6780010"/>
                  <a:pt x="5893450" y="6782806"/>
                  <a:pt x="5895979" y="6785335"/>
                </a:cubicBezTo>
                <a:cubicBezTo>
                  <a:pt x="5897576" y="6786934"/>
                  <a:pt x="5900106" y="6788797"/>
                  <a:pt x="5905963" y="6788797"/>
                </a:cubicBezTo>
                <a:cubicBezTo>
                  <a:pt x="5908093" y="6788797"/>
                  <a:pt x="5909823" y="6788531"/>
                  <a:pt x="5911287" y="6787865"/>
                </a:cubicBezTo>
                <a:cubicBezTo>
                  <a:pt x="5912751" y="6787333"/>
                  <a:pt x="5914083" y="6786535"/>
                  <a:pt x="5915014" y="6785468"/>
                </a:cubicBezTo>
                <a:cubicBezTo>
                  <a:pt x="5916079" y="6784270"/>
                  <a:pt x="5917011" y="6782939"/>
                  <a:pt x="5917677" y="6781209"/>
                </a:cubicBezTo>
                <a:cubicBezTo>
                  <a:pt x="5918342" y="6779611"/>
                  <a:pt x="5918742" y="6777747"/>
                  <a:pt x="5918742" y="6775751"/>
                </a:cubicBezTo>
                <a:cubicBezTo>
                  <a:pt x="5918742" y="6773887"/>
                  <a:pt x="5918342" y="6772157"/>
                  <a:pt x="5917677" y="6770560"/>
                </a:cubicBezTo>
                <a:cubicBezTo>
                  <a:pt x="5917011" y="6768962"/>
                  <a:pt x="5916079" y="6767631"/>
                  <a:pt x="5915014" y="6766433"/>
                </a:cubicBezTo>
                <a:cubicBezTo>
                  <a:pt x="5913950" y="6765368"/>
                  <a:pt x="5912618" y="6764436"/>
                  <a:pt x="5911021" y="6763770"/>
                </a:cubicBezTo>
                <a:cubicBezTo>
                  <a:pt x="5909557" y="6763105"/>
                  <a:pt x="5907826" y="6762839"/>
                  <a:pt x="5905963" y="6762839"/>
                </a:cubicBezTo>
                <a:close/>
                <a:moveTo>
                  <a:pt x="5688451" y="6762839"/>
                </a:moveTo>
                <a:cubicBezTo>
                  <a:pt x="5682594" y="6762839"/>
                  <a:pt x="5680064" y="6764702"/>
                  <a:pt x="5678467" y="6766433"/>
                </a:cubicBezTo>
                <a:cubicBezTo>
                  <a:pt x="5675938" y="6769095"/>
                  <a:pt x="5674873" y="6771890"/>
                  <a:pt x="5674873" y="6775884"/>
                </a:cubicBezTo>
                <a:cubicBezTo>
                  <a:pt x="5674873" y="6780010"/>
                  <a:pt x="5675938" y="6782806"/>
                  <a:pt x="5678467" y="6785335"/>
                </a:cubicBezTo>
                <a:cubicBezTo>
                  <a:pt x="5680064" y="6786934"/>
                  <a:pt x="5682594" y="6788797"/>
                  <a:pt x="5688451" y="6788797"/>
                </a:cubicBezTo>
                <a:cubicBezTo>
                  <a:pt x="5690447" y="6788797"/>
                  <a:pt x="5692178" y="6788531"/>
                  <a:pt x="5693775" y="6787865"/>
                </a:cubicBezTo>
                <a:cubicBezTo>
                  <a:pt x="5695239" y="6787333"/>
                  <a:pt x="5696571" y="6786535"/>
                  <a:pt x="5697502" y="6785468"/>
                </a:cubicBezTo>
                <a:cubicBezTo>
                  <a:pt x="5698567" y="6784270"/>
                  <a:pt x="5699499" y="6782939"/>
                  <a:pt x="5700165" y="6781209"/>
                </a:cubicBezTo>
                <a:cubicBezTo>
                  <a:pt x="5700830" y="6779611"/>
                  <a:pt x="5701230" y="6777747"/>
                  <a:pt x="5701230" y="6775751"/>
                </a:cubicBezTo>
                <a:cubicBezTo>
                  <a:pt x="5701230" y="6773887"/>
                  <a:pt x="5700830" y="6772157"/>
                  <a:pt x="5700165" y="6770560"/>
                </a:cubicBezTo>
                <a:cubicBezTo>
                  <a:pt x="5699499" y="6768962"/>
                  <a:pt x="5698567" y="6767631"/>
                  <a:pt x="5697502" y="6766433"/>
                </a:cubicBezTo>
                <a:cubicBezTo>
                  <a:pt x="5696437" y="6765368"/>
                  <a:pt x="5695106" y="6764436"/>
                  <a:pt x="5693509" y="6763770"/>
                </a:cubicBezTo>
                <a:cubicBezTo>
                  <a:pt x="5692045" y="6763105"/>
                  <a:pt x="5690314" y="6762839"/>
                  <a:pt x="5688451" y="6762839"/>
                </a:cubicBezTo>
                <a:close/>
                <a:moveTo>
                  <a:pt x="5470806" y="6762839"/>
                </a:moveTo>
                <a:cubicBezTo>
                  <a:pt x="5464949" y="6762839"/>
                  <a:pt x="5462419" y="6764702"/>
                  <a:pt x="5460822" y="6766433"/>
                </a:cubicBezTo>
                <a:cubicBezTo>
                  <a:pt x="5458293" y="6769095"/>
                  <a:pt x="5457228" y="6771890"/>
                  <a:pt x="5457228" y="6775884"/>
                </a:cubicBezTo>
                <a:cubicBezTo>
                  <a:pt x="5457228" y="6780010"/>
                  <a:pt x="5458293" y="6782806"/>
                  <a:pt x="5460822" y="6785335"/>
                </a:cubicBezTo>
                <a:cubicBezTo>
                  <a:pt x="5462419" y="6786934"/>
                  <a:pt x="5464949" y="6788797"/>
                  <a:pt x="5470806" y="6788797"/>
                </a:cubicBezTo>
                <a:cubicBezTo>
                  <a:pt x="5472802" y="6788797"/>
                  <a:pt x="5474666" y="6788531"/>
                  <a:pt x="5476130" y="6787865"/>
                </a:cubicBezTo>
                <a:cubicBezTo>
                  <a:pt x="5477594" y="6787333"/>
                  <a:pt x="5478926" y="6786535"/>
                  <a:pt x="5479857" y="6785468"/>
                </a:cubicBezTo>
                <a:cubicBezTo>
                  <a:pt x="5480922" y="6784270"/>
                  <a:pt x="5481854" y="6782939"/>
                  <a:pt x="5482520" y="6781209"/>
                </a:cubicBezTo>
                <a:cubicBezTo>
                  <a:pt x="5483319" y="6779611"/>
                  <a:pt x="5483585" y="6777747"/>
                  <a:pt x="5483585" y="6775751"/>
                </a:cubicBezTo>
                <a:cubicBezTo>
                  <a:pt x="5483585" y="6773887"/>
                  <a:pt x="5483185" y="6772157"/>
                  <a:pt x="5482520" y="6770560"/>
                </a:cubicBezTo>
                <a:cubicBezTo>
                  <a:pt x="5481854" y="6768962"/>
                  <a:pt x="5480922" y="6767631"/>
                  <a:pt x="5479857" y="6766433"/>
                </a:cubicBezTo>
                <a:cubicBezTo>
                  <a:pt x="5478793" y="6765368"/>
                  <a:pt x="5477461" y="6764436"/>
                  <a:pt x="5475864" y="6763770"/>
                </a:cubicBezTo>
                <a:cubicBezTo>
                  <a:pt x="5474400" y="6763105"/>
                  <a:pt x="5472669" y="6762839"/>
                  <a:pt x="5470806" y="6762839"/>
                </a:cubicBezTo>
                <a:close/>
                <a:moveTo>
                  <a:pt x="5253160" y="6762839"/>
                </a:moveTo>
                <a:cubicBezTo>
                  <a:pt x="5247303" y="6762839"/>
                  <a:pt x="5244774" y="6764702"/>
                  <a:pt x="5243177" y="6766433"/>
                </a:cubicBezTo>
                <a:cubicBezTo>
                  <a:pt x="5240647" y="6769095"/>
                  <a:pt x="5239583" y="6771890"/>
                  <a:pt x="5239583" y="6775884"/>
                </a:cubicBezTo>
                <a:cubicBezTo>
                  <a:pt x="5239583" y="6780010"/>
                  <a:pt x="5240647" y="6782806"/>
                  <a:pt x="5243177" y="6785335"/>
                </a:cubicBezTo>
                <a:cubicBezTo>
                  <a:pt x="5244774" y="6786934"/>
                  <a:pt x="5247303" y="6788797"/>
                  <a:pt x="5253160" y="6788797"/>
                </a:cubicBezTo>
                <a:cubicBezTo>
                  <a:pt x="5255157" y="6788797"/>
                  <a:pt x="5257021" y="6788531"/>
                  <a:pt x="5258485" y="6787865"/>
                </a:cubicBezTo>
                <a:cubicBezTo>
                  <a:pt x="5259949" y="6787333"/>
                  <a:pt x="5261280" y="6786535"/>
                  <a:pt x="5262212" y="6785468"/>
                </a:cubicBezTo>
                <a:cubicBezTo>
                  <a:pt x="5263277" y="6784270"/>
                  <a:pt x="5264209" y="6782939"/>
                  <a:pt x="5264875" y="6781209"/>
                </a:cubicBezTo>
                <a:cubicBezTo>
                  <a:pt x="5265673" y="6779611"/>
                  <a:pt x="5265939" y="6777747"/>
                  <a:pt x="5265939" y="6775751"/>
                </a:cubicBezTo>
                <a:cubicBezTo>
                  <a:pt x="5265939" y="6773887"/>
                  <a:pt x="5265540" y="6772157"/>
                  <a:pt x="5264875" y="6770560"/>
                </a:cubicBezTo>
                <a:cubicBezTo>
                  <a:pt x="5264209" y="6768962"/>
                  <a:pt x="5263277" y="6767631"/>
                  <a:pt x="5262212" y="6766433"/>
                </a:cubicBezTo>
                <a:cubicBezTo>
                  <a:pt x="5261147" y="6765368"/>
                  <a:pt x="5259816" y="6764436"/>
                  <a:pt x="5258219" y="6763770"/>
                </a:cubicBezTo>
                <a:cubicBezTo>
                  <a:pt x="5256754" y="6763105"/>
                  <a:pt x="5255024" y="6762839"/>
                  <a:pt x="5253160" y="6762839"/>
                </a:cubicBezTo>
                <a:close/>
                <a:moveTo>
                  <a:pt x="5035515" y="6762839"/>
                </a:moveTo>
                <a:cubicBezTo>
                  <a:pt x="5029658" y="6762839"/>
                  <a:pt x="5027129" y="6764702"/>
                  <a:pt x="5025532" y="6766433"/>
                </a:cubicBezTo>
                <a:cubicBezTo>
                  <a:pt x="5023002" y="6769095"/>
                  <a:pt x="5021938" y="6771890"/>
                  <a:pt x="5021938" y="6775884"/>
                </a:cubicBezTo>
                <a:cubicBezTo>
                  <a:pt x="5021938" y="6780010"/>
                  <a:pt x="5023002" y="6782806"/>
                  <a:pt x="5025532" y="6785335"/>
                </a:cubicBezTo>
                <a:cubicBezTo>
                  <a:pt x="5027129" y="6786934"/>
                  <a:pt x="5029658" y="6788797"/>
                  <a:pt x="5035515" y="6788797"/>
                </a:cubicBezTo>
                <a:cubicBezTo>
                  <a:pt x="5037645" y="6788797"/>
                  <a:pt x="5039376" y="6788531"/>
                  <a:pt x="5040840" y="6787865"/>
                </a:cubicBezTo>
                <a:cubicBezTo>
                  <a:pt x="5042304" y="6787333"/>
                  <a:pt x="5043636" y="6786535"/>
                  <a:pt x="5044567" y="6785468"/>
                </a:cubicBezTo>
                <a:cubicBezTo>
                  <a:pt x="5045632" y="6784270"/>
                  <a:pt x="5046564" y="6782939"/>
                  <a:pt x="5047230" y="6781209"/>
                </a:cubicBezTo>
                <a:cubicBezTo>
                  <a:pt x="5048028" y="6779611"/>
                  <a:pt x="5048294" y="6777747"/>
                  <a:pt x="5048294" y="6775751"/>
                </a:cubicBezTo>
                <a:cubicBezTo>
                  <a:pt x="5048294" y="6773887"/>
                  <a:pt x="5047895" y="6772157"/>
                  <a:pt x="5047230" y="6770560"/>
                </a:cubicBezTo>
                <a:cubicBezTo>
                  <a:pt x="5046564" y="6768962"/>
                  <a:pt x="5045632" y="6767631"/>
                  <a:pt x="5044567" y="6766433"/>
                </a:cubicBezTo>
                <a:cubicBezTo>
                  <a:pt x="5043502" y="6765368"/>
                  <a:pt x="5042171" y="6764436"/>
                  <a:pt x="5040574" y="6763770"/>
                </a:cubicBezTo>
                <a:cubicBezTo>
                  <a:pt x="5039110" y="6763105"/>
                  <a:pt x="5037379" y="6762839"/>
                  <a:pt x="5035515" y="6762839"/>
                </a:cubicBezTo>
                <a:close/>
                <a:moveTo>
                  <a:pt x="4817870" y="6762839"/>
                </a:moveTo>
                <a:cubicBezTo>
                  <a:pt x="4812013" y="6762839"/>
                  <a:pt x="4809484" y="6764702"/>
                  <a:pt x="4807887" y="6766433"/>
                </a:cubicBezTo>
                <a:cubicBezTo>
                  <a:pt x="4805357" y="6769095"/>
                  <a:pt x="4804293" y="6771890"/>
                  <a:pt x="4804293" y="6775884"/>
                </a:cubicBezTo>
                <a:cubicBezTo>
                  <a:pt x="4804293" y="6780010"/>
                  <a:pt x="4805357" y="6782806"/>
                  <a:pt x="4807887" y="6785335"/>
                </a:cubicBezTo>
                <a:cubicBezTo>
                  <a:pt x="4809484" y="6786934"/>
                  <a:pt x="4812013" y="6788797"/>
                  <a:pt x="4817870" y="6788797"/>
                </a:cubicBezTo>
                <a:cubicBezTo>
                  <a:pt x="4820000" y="6788797"/>
                  <a:pt x="4821731" y="6788531"/>
                  <a:pt x="4823195" y="6787865"/>
                </a:cubicBezTo>
                <a:cubicBezTo>
                  <a:pt x="4824659" y="6787333"/>
                  <a:pt x="4825857" y="6786535"/>
                  <a:pt x="4826922" y="6785468"/>
                </a:cubicBezTo>
                <a:cubicBezTo>
                  <a:pt x="4827987" y="6784270"/>
                  <a:pt x="4828919" y="6782939"/>
                  <a:pt x="4829585" y="6781209"/>
                </a:cubicBezTo>
                <a:cubicBezTo>
                  <a:pt x="4830383" y="6779611"/>
                  <a:pt x="4830650" y="6777747"/>
                  <a:pt x="4830650" y="6775751"/>
                </a:cubicBezTo>
                <a:cubicBezTo>
                  <a:pt x="4830650" y="6773887"/>
                  <a:pt x="4830250" y="6772157"/>
                  <a:pt x="4829585" y="6770560"/>
                </a:cubicBezTo>
                <a:cubicBezTo>
                  <a:pt x="4828919" y="6768962"/>
                  <a:pt x="4827987" y="6767631"/>
                  <a:pt x="4826922" y="6766433"/>
                </a:cubicBezTo>
                <a:cubicBezTo>
                  <a:pt x="4825857" y="6765368"/>
                  <a:pt x="4824526" y="6764436"/>
                  <a:pt x="4822929" y="6763770"/>
                </a:cubicBezTo>
                <a:cubicBezTo>
                  <a:pt x="4821465" y="6763105"/>
                  <a:pt x="4819734" y="6762839"/>
                  <a:pt x="4817870" y="6762839"/>
                </a:cubicBezTo>
                <a:close/>
                <a:moveTo>
                  <a:pt x="4600226" y="6762839"/>
                </a:moveTo>
                <a:cubicBezTo>
                  <a:pt x="4594369" y="6762839"/>
                  <a:pt x="4591839" y="6764702"/>
                  <a:pt x="4590242" y="6766433"/>
                </a:cubicBezTo>
                <a:cubicBezTo>
                  <a:pt x="4587713" y="6769095"/>
                  <a:pt x="4586648" y="6771890"/>
                  <a:pt x="4586648" y="6775884"/>
                </a:cubicBezTo>
                <a:cubicBezTo>
                  <a:pt x="4586648" y="6780010"/>
                  <a:pt x="4587713" y="6782806"/>
                  <a:pt x="4590242" y="6785335"/>
                </a:cubicBezTo>
                <a:cubicBezTo>
                  <a:pt x="4591839" y="6786934"/>
                  <a:pt x="4594369" y="6788797"/>
                  <a:pt x="4600226" y="6788797"/>
                </a:cubicBezTo>
                <a:cubicBezTo>
                  <a:pt x="4602355" y="6788797"/>
                  <a:pt x="4604086" y="6788531"/>
                  <a:pt x="4605550" y="6787865"/>
                </a:cubicBezTo>
                <a:cubicBezTo>
                  <a:pt x="4607148" y="6787333"/>
                  <a:pt x="4608346" y="6786535"/>
                  <a:pt x="4609277" y="6785468"/>
                </a:cubicBezTo>
                <a:cubicBezTo>
                  <a:pt x="4610342" y="6784270"/>
                  <a:pt x="4611274" y="6782939"/>
                  <a:pt x="4611940" y="6781209"/>
                </a:cubicBezTo>
                <a:cubicBezTo>
                  <a:pt x="4612605" y="6779611"/>
                  <a:pt x="4613005" y="6777747"/>
                  <a:pt x="4613005" y="6775751"/>
                </a:cubicBezTo>
                <a:cubicBezTo>
                  <a:pt x="4613005" y="6773887"/>
                  <a:pt x="4612605" y="6772157"/>
                  <a:pt x="4611940" y="6770560"/>
                </a:cubicBezTo>
                <a:cubicBezTo>
                  <a:pt x="4611274" y="6768962"/>
                  <a:pt x="4610342" y="6767631"/>
                  <a:pt x="4609277" y="6766433"/>
                </a:cubicBezTo>
                <a:cubicBezTo>
                  <a:pt x="4608212" y="6765368"/>
                  <a:pt x="4606881" y="6764436"/>
                  <a:pt x="4605284" y="6763770"/>
                </a:cubicBezTo>
                <a:cubicBezTo>
                  <a:pt x="4603820" y="6763105"/>
                  <a:pt x="4602222" y="6762839"/>
                  <a:pt x="4600226" y="6762839"/>
                </a:cubicBezTo>
                <a:close/>
                <a:moveTo>
                  <a:pt x="4382713" y="6762839"/>
                </a:moveTo>
                <a:cubicBezTo>
                  <a:pt x="4376857" y="6762839"/>
                  <a:pt x="4374327" y="6764702"/>
                  <a:pt x="4372730" y="6766433"/>
                </a:cubicBezTo>
                <a:cubicBezTo>
                  <a:pt x="4370201" y="6769095"/>
                  <a:pt x="4369136" y="6771890"/>
                  <a:pt x="4369136" y="6775884"/>
                </a:cubicBezTo>
                <a:cubicBezTo>
                  <a:pt x="4369136" y="6780010"/>
                  <a:pt x="4370201" y="6782806"/>
                  <a:pt x="4372730" y="6785335"/>
                </a:cubicBezTo>
                <a:cubicBezTo>
                  <a:pt x="4374327" y="6786934"/>
                  <a:pt x="4376857" y="6788797"/>
                  <a:pt x="4382713" y="6788797"/>
                </a:cubicBezTo>
                <a:cubicBezTo>
                  <a:pt x="4384710" y="6788797"/>
                  <a:pt x="4386441" y="6788531"/>
                  <a:pt x="4388038" y="6787865"/>
                </a:cubicBezTo>
                <a:cubicBezTo>
                  <a:pt x="4389502" y="6787333"/>
                  <a:pt x="4390834" y="6786535"/>
                  <a:pt x="4391765" y="6785468"/>
                </a:cubicBezTo>
                <a:cubicBezTo>
                  <a:pt x="4392830" y="6784270"/>
                  <a:pt x="4393762" y="6782939"/>
                  <a:pt x="4394428" y="6781209"/>
                </a:cubicBezTo>
                <a:cubicBezTo>
                  <a:pt x="4395093" y="6779611"/>
                  <a:pt x="4395493" y="6777747"/>
                  <a:pt x="4395493" y="6775751"/>
                </a:cubicBezTo>
                <a:cubicBezTo>
                  <a:pt x="4395493" y="6773887"/>
                  <a:pt x="4395093" y="6772157"/>
                  <a:pt x="4394428" y="6770560"/>
                </a:cubicBezTo>
                <a:cubicBezTo>
                  <a:pt x="4393762" y="6768962"/>
                  <a:pt x="4392830" y="6767631"/>
                  <a:pt x="4391765" y="6766433"/>
                </a:cubicBezTo>
                <a:cubicBezTo>
                  <a:pt x="4390700" y="6765368"/>
                  <a:pt x="4389369" y="6764436"/>
                  <a:pt x="4387772" y="6763770"/>
                </a:cubicBezTo>
                <a:cubicBezTo>
                  <a:pt x="4386308" y="6763105"/>
                  <a:pt x="4384710" y="6762839"/>
                  <a:pt x="4382713" y="6762839"/>
                </a:cubicBezTo>
                <a:close/>
                <a:moveTo>
                  <a:pt x="4165068" y="6762839"/>
                </a:moveTo>
                <a:cubicBezTo>
                  <a:pt x="4159211" y="6762839"/>
                  <a:pt x="4156681" y="6764702"/>
                  <a:pt x="4155084" y="6766433"/>
                </a:cubicBezTo>
                <a:cubicBezTo>
                  <a:pt x="4152555" y="6769095"/>
                  <a:pt x="4151490" y="6771890"/>
                  <a:pt x="4151490" y="6775884"/>
                </a:cubicBezTo>
                <a:cubicBezTo>
                  <a:pt x="4151490" y="6780010"/>
                  <a:pt x="4152555" y="6782806"/>
                  <a:pt x="4155084" y="6785335"/>
                </a:cubicBezTo>
                <a:cubicBezTo>
                  <a:pt x="4156681" y="6786934"/>
                  <a:pt x="4159211" y="6788797"/>
                  <a:pt x="4165068" y="6788797"/>
                </a:cubicBezTo>
                <a:cubicBezTo>
                  <a:pt x="4167064" y="6788797"/>
                  <a:pt x="4168928" y="6788531"/>
                  <a:pt x="4170392" y="6787865"/>
                </a:cubicBezTo>
                <a:cubicBezTo>
                  <a:pt x="4171856" y="6787333"/>
                  <a:pt x="4173188" y="6786535"/>
                  <a:pt x="4174119" y="6785468"/>
                </a:cubicBezTo>
                <a:cubicBezTo>
                  <a:pt x="4175184" y="6784270"/>
                  <a:pt x="4176116" y="6782939"/>
                  <a:pt x="4176782" y="6781209"/>
                </a:cubicBezTo>
                <a:cubicBezTo>
                  <a:pt x="4177447" y="6779611"/>
                  <a:pt x="4177847" y="6777747"/>
                  <a:pt x="4177847" y="6775751"/>
                </a:cubicBezTo>
                <a:cubicBezTo>
                  <a:pt x="4177847" y="6773887"/>
                  <a:pt x="4177447" y="6772157"/>
                  <a:pt x="4176782" y="6770560"/>
                </a:cubicBezTo>
                <a:cubicBezTo>
                  <a:pt x="4176116" y="6768962"/>
                  <a:pt x="4175184" y="6767631"/>
                  <a:pt x="4174119" y="6766433"/>
                </a:cubicBezTo>
                <a:cubicBezTo>
                  <a:pt x="4173054" y="6765368"/>
                  <a:pt x="4171723" y="6764436"/>
                  <a:pt x="4170126" y="6763770"/>
                </a:cubicBezTo>
                <a:cubicBezTo>
                  <a:pt x="4168662" y="6763105"/>
                  <a:pt x="4167064" y="6762839"/>
                  <a:pt x="4165068" y="6762839"/>
                </a:cubicBezTo>
                <a:close/>
                <a:moveTo>
                  <a:pt x="3947790" y="6762839"/>
                </a:moveTo>
                <a:cubicBezTo>
                  <a:pt x="3941933" y="6762839"/>
                  <a:pt x="3939404" y="6764702"/>
                  <a:pt x="3937807" y="6766433"/>
                </a:cubicBezTo>
                <a:cubicBezTo>
                  <a:pt x="3935276" y="6769095"/>
                  <a:pt x="3934213" y="6771890"/>
                  <a:pt x="3934213" y="6775884"/>
                </a:cubicBezTo>
                <a:cubicBezTo>
                  <a:pt x="3934213" y="6780010"/>
                  <a:pt x="3935276" y="6782806"/>
                  <a:pt x="3937807" y="6785335"/>
                </a:cubicBezTo>
                <a:cubicBezTo>
                  <a:pt x="3939404" y="6786934"/>
                  <a:pt x="3941933" y="6788797"/>
                  <a:pt x="3947790" y="6788797"/>
                </a:cubicBezTo>
                <a:cubicBezTo>
                  <a:pt x="3949788" y="6788797"/>
                  <a:pt x="3951653" y="6788531"/>
                  <a:pt x="3953120" y="6787865"/>
                </a:cubicBezTo>
                <a:cubicBezTo>
                  <a:pt x="3954583" y="6787333"/>
                  <a:pt x="3955914" y="6786535"/>
                  <a:pt x="3956847" y="6785468"/>
                </a:cubicBezTo>
                <a:cubicBezTo>
                  <a:pt x="3957912" y="6784270"/>
                  <a:pt x="3958844" y="6782939"/>
                  <a:pt x="3959510" y="6781209"/>
                </a:cubicBezTo>
                <a:cubicBezTo>
                  <a:pt x="3960175" y="6779611"/>
                  <a:pt x="3960575" y="6777747"/>
                  <a:pt x="3960575" y="6775751"/>
                </a:cubicBezTo>
                <a:cubicBezTo>
                  <a:pt x="3960575" y="6773887"/>
                  <a:pt x="3960175" y="6772157"/>
                  <a:pt x="3959510" y="6770560"/>
                </a:cubicBezTo>
                <a:cubicBezTo>
                  <a:pt x="3958844" y="6768962"/>
                  <a:pt x="3957912" y="6767631"/>
                  <a:pt x="3956847" y="6766433"/>
                </a:cubicBezTo>
                <a:cubicBezTo>
                  <a:pt x="3955781" y="6765368"/>
                  <a:pt x="3954450" y="6764436"/>
                  <a:pt x="3952853" y="6763770"/>
                </a:cubicBezTo>
                <a:cubicBezTo>
                  <a:pt x="3951386" y="6763105"/>
                  <a:pt x="3949788" y="6762839"/>
                  <a:pt x="3947790" y="6762839"/>
                </a:cubicBezTo>
                <a:close/>
                <a:moveTo>
                  <a:pt x="3730129" y="6762839"/>
                </a:moveTo>
                <a:cubicBezTo>
                  <a:pt x="3724272" y="6762839"/>
                  <a:pt x="3721741" y="6764702"/>
                  <a:pt x="3720142" y="6766433"/>
                </a:cubicBezTo>
                <a:cubicBezTo>
                  <a:pt x="3717612" y="6769095"/>
                  <a:pt x="3716549" y="6771890"/>
                  <a:pt x="3716549" y="6775884"/>
                </a:cubicBezTo>
                <a:cubicBezTo>
                  <a:pt x="3716549" y="6780010"/>
                  <a:pt x="3717612" y="6782806"/>
                  <a:pt x="3720142" y="6785335"/>
                </a:cubicBezTo>
                <a:cubicBezTo>
                  <a:pt x="3721741" y="6786934"/>
                  <a:pt x="3724272" y="6788797"/>
                  <a:pt x="3730129" y="6788797"/>
                </a:cubicBezTo>
                <a:cubicBezTo>
                  <a:pt x="3732259" y="6788797"/>
                  <a:pt x="3733991" y="6788531"/>
                  <a:pt x="3735454" y="6787865"/>
                </a:cubicBezTo>
                <a:cubicBezTo>
                  <a:pt x="3736919" y="6787333"/>
                  <a:pt x="3738251" y="6786535"/>
                  <a:pt x="3739182" y="6785468"/>
                </a:cubicBezTo>
                <a:cubicBezTo>
                  <a:pt x="3740247" y="6784270"/>
                  <a:pt x="3741179" y="6782939"/>
                  <a:pt x="3741845" y="6781209"/>
                </a:cubicBezTo>
                <a:cubicBezTo>
                  <a:pt x="3742510" y="6779611"/>
                  <a:pt x="3742909" y="6777747"/>
                  <a:pt x="3742909" y="6775751"/>
                </a:cubicBezTo>
                <a:cubicBezTo>
                  <a:pt x="3742909" y="6773887"/>
                  <a:pt x="3742510" y="6772157"/>
                  <a:pt x="3741845" y="6770560"/>
                </a:cubicBezTo>
                <a:cubicBezTo>
                  <a:pt x="3741179" y="6768962"/>
                  <a:pt x="3740247" y="6767631"/>
                  <a:pt x="3739182" y="6766433"/>
                </a:cubicBezTo>
                <a:cubicBezTo>
                  <a:pt x="3738117" y="6765368"/>
                  <a:pt x="3736786" y="6764436"/>
                  <a:pt x="3735189" y="6763770"/>
                </a:cubicBezTo>
                <a:cubicBezTo>
                  <a:pt x="3733724" y="6763105"/>
                  <a:pt x="3732126" y="6762839"/>
                  <a:pt x="3730129" y="6762839"/>
                </a:cubicBezTo>
                <a:close/>
                <a:moveTo>
                  <a:pt x="3512465" y="6762839"/>
                </a:moveTo>
                <a:cubicBezTo>
                  <a:pt x="3506606" y="6762839"/>
                  <a:pt x="3504074" y="6764702"/>
                  <a:pt x="3502475" y="6766433"/>
                </a:cubicBezTo>
                <a:cubicBezTo>
                  <a:pt x="3499945" y="6769095"/>
                  <a:pt x="3498881" y="6771890"/>
                  <a:pt x="3498881" y="6775884"/>
                </a:cubicBezTo>
                <a:cubicBezTo>
                  <a:pt x="3498881" y="6780010"/>
                  <a:pt x="3499945" y="6782806"/>
                  <a:pt x="3502475" y="6785335"/>
                </a:cubicBezTo>
                <a:cubicBezTo>
                  <a:pt x="3504074" y="6786934"/>
                  <a:pt x="3506606" y="6788797"/>
                  <a:pt x="3512465" y="6788797"/>
                </a:cubicBezTo>
                <a:cubicBezTo>
                  <a:pt x="3514594" y="6788797"/>
                  <a:pt x="3516326" y="6788531"/>
                  <a:pt x="3517790" y="6787865"/>
                </a:cubicBezTo>
                <a:cubicBezTo>
                  <a:pt x="3519255" y="6787333"/>
                  <a:pt x="3520587" y="6786535"/>
                  <a:pt x="3521518" y="6785468"/>
                </a:cubicBezTo>
                <a:cubicBezTo>
                  <a:pt x="3522583" y="6784270"/>
                  <a:pt x="3523515" y="6782939"/>
                  <a:pt x="3524181" y="6781209"/>
                </a:cubicBezTo>
                <a:cubicBezTo>
                  <a:pt x="3524846" y="6779611"/>
                  <a:pt x="3525246" y="6777747"/>
                  <a:pt x="3525246" y="6775751"/>
                </a:cubicBezTo>
                <a:cubicBezTo>
                  <a:pt x="3525246" y="6773887"/>
                  <a:pt x="3524846" y="6772157"/>
                  <a:pt x="3524181" y="6770560"/>
                </a:cubicBezTo>
                <a:cubicBezTo>
                  <a:pt x="3523515" y="6768962"/>
                  <a:pt x="3522583" y="6767631"/>
                  <a:pt x="3521518" y="6766433"/>
                </a:cubicBezTo>
                <a:cubicBezTo>
                  <a:pt x="3520453" y="6765368"/>
                  <a:pt x="3519122" y="6764436"/>
                  <a:pt x="3517525" y="6763770"/>
                </a:cubicBezTo>
                <a:cubicBezTo>
                  <a:pt x="3516061" y="6763105"/>
                  <a:pt x="3514462" y="6762839"/>
                  <a:pt x="3512465" y="6762839"/>
                </a:cubicBezTo>
                <a:close/>
                <a:moveTo>
                  <a:pt x="3294933" y="6762839"/>
                </a:moveTo>
                <a:cubicBezTo>
                  <a:pt x="3289075" y="6762839"/>
                  <a:pt x="3286543" y="6764702"/>
                  <a:pt x="3284947" y="6766433"/>
                </a:cubicBezTo>
                <a:cubicBezTo>
                  <a:pt x="3282416" y="6769095"/>
                  <a:pt x="3281353" y="6771890"/>
                  <a:pt x="3281353" y="6775884"/>
                </a:cubicBezTo>
                <a:cubicBezTo>
                  <a:pt x="3281353" y="6780010"/>
                  <a:pt x="3282416" y="6782806"/>
                  <a:pt x="3284947" y="6785335"/>
                </a:cubicBezTo>
                <a:cubicBezTo>
                  <a:pt x="3286543" y="6786934"/>
                  <a:pt x="3289075" y="6788797"/>
                  <a:pt x="3294933" y="6788797"/>
                </a:cubicBezTo>
                <a:cubicBezTo>
                  <a:pt x="3296931" y="6788797"/>
                  <a:pt x="3298662" y="6788531"/>
                  <a:pt x="3300260" y="6787865"/>
                </a:cubicBezTo>
                <a:cubicBezTo>
                  <a:pt x="3301724" y="6787333"/>
                  <a:pt x="3303055" y="6786535"/>
                  <a:pt x="3303987" y="6785468"/>
                </a:cubicBezTo>
                <a:cubicBezTo>
                  <a:pt x="3305052" y="6784270"/>
                  <a:pt x="3305983" y="6782939"/>
                  <a:pt x="3306650" y="6781209"/>
                </a:cubicBezTo>
                <a:cubicBezTo>
                  <a:pt x="3307315" y="6779611"/>
                  <a:pt x="3307713" y="6777747"/>
                  <a:pt x="3307713" y="6775751"/>
                </a:cubicBezTo>
                <a:cubicBezTo>
                  <a:pt x="3307713" y="6773887"/>
                  <a:pt x="3307315" y="6772157"/>
                  <a:pt x="3306650" y="6770560"/>
                </a:cubicBezTo>
                <a:cubicBezTo>
                  <a:pt x="3305983" y="6768962"/>
                  <a:pt x="3305052" y="6767631"/>
                  <a:pt x="3303987" y="6766433"/>
                </a:cubicBezTo>
                <a:cubicBezTo>
                  <a:pt x="3302921" y="6765368"/>
                  <a:pt x="3301590" y="6764436"/>
                  <a:pt x="3299993" y="6763770"/>
                </a:cubicBezTo>
                <a:cubicBezTo>
                  <a:pt x="3298529" y="6763105"/>
                  <a:pt x="3296931" y="6762839"/>
                  <a:pt x="3294933" y="6762839"/>
                </a:cubicBezTo>
                <a:close/>
                <a:moveTo>
                  <a:pt x="3077403" y="6762839"/>
                </a:moveTo>
                <a:cubicBezTo>
                  <a:pt x="3071545" y="6762839"/>
                  <a:pt x="3069015" y="6764702"/>
                  <a:pt x="3067419" y="6766433"/>
                </a:cubicBezTo>
                <a:cubicBezTo>
                  <a:pt x="3064753" y="6769095"/>
                  <a:pt x="3063687" y="6771890"/>
                  <a:pt x="3063687" y="6775884"/>
                </a:cubicBezTo>
                <a:cubicBezTo>
                  <a:pt x="3063687" y="6780010"/>
                  <a:pt x="3064753" y="6782806"/>
                  <a:pt x="3067284" y="6785335"/>
                </a:cubicBezTo>
                <a:cubicBezTo>
                  <a:pt x="3068882" y="6786934"/>
                  <a:pt x="3071412" y="6788797"/>
                  <a:pt x="3077269" y="6788797"/>
                </a:cubicBezTo>
                <a:cubicBezTo>
                  <a:pt x="3079267" y="6788797"/>
                  <a:pt x="3080997" y="6788531"/>
                  <a:pt x="3082728" y="6787865"/>
                </a:cubicBezTo>
                <a:cubicBezTo>
                  <a:pt x="3084193" y="6787333"/>
                  <a:pt x="3085524" y="6786535"/>
                  <a:pt x="3086455" y="6785468"/>
                </a:cubicBezTo>
                <a:cubicBezTo>
                  <a:pt x="3087520" y="6784270"/>
                  <a:pt x="3088452" y="6782939"/>
                  <a:pt x="3089118" y="6781209"/>
                </a:cubicBezTo>
                <a:cubicBezTo>
                  <a:pt x="3089783" y="6779611"/>
                  <a:pt x="3090050" y="6777747"/>
                  <a:pt x="3090050" y="6775751"/>
                </a:cubicBezTo>
                <a:cubicBezTo>
                  <a:pt x="3090050" y="6773887"/>
                  <a:pt x="3089783" y="6772157"/>
                  <a:pt x="3089118" y="6770560"/>
                </a:cubicBezTo>
                <a:cubicBezTo>
                  <a:pt x="3088452" y="6768962"/>
                  <a:pt x="3087520" y="6767631"/>
                  <a:pt x="3086455" y="6766433"/>
                </a:cubicBezTo>
                <a:cubicBezTo>
                  <a:pt x="3085391" y="6765368"/>
                  <a:pt x="3084059" y="6764436"/>
                  <a:pt x="3082462" y="6763770"/>
                </a:cubicBezTo>
                <a:cubicBezTo>
                  <a:pt x="3080997" y="6763105"/>
                  <a:pt x="3079400" y="6762839"/>
                  <a:pt x="3077403" y="6762839"/>
                </a:cubicBezTo>
                <a:close/>
                <a:moveTo>
                  <a:pt x="2859605" y="6762839"/>
                </a:moveTo>
                <a:cubicBezTo>
                  <a:pt x="2853748" y="6762839"/>
                  <a:pt x="2851218" y="6764702"/>
                  <a:pt x="2849619" y="6766433"/>
                </a:cubicBezTo>
                <a:cubicBezTo>
                  <a:pt x="2847086" y="6769095"/>
                  <a:pt x="2846019" y="6771890"/>
                  <a:pt x="2846019" y="6775884"/>
                </a:cubicBezTo>
                <a:cubicBezTo>
                  <a:pt x="2846019" y="6780010"/>
                  <a:pt x="2847086" y="6782806"/>
                  <a:pt x="2849619" y="6785335"/>
                </a:cubicBezTo>
                <a:cubicBezTo>
                  <a:pt x="2851218" y="6786934"/>
                  <a:pt x="2853748" y="6788797"/>
                  <a:pt x="2859605" y="6788797"/>
                </a:cubicBezTo>
                <a:cubicBezTo>
                  <a:pt x="2861602" y="6788797"/>
                  <a:pt x="2863466" y="6788531"/>
                  <a:pt x="2864930" y="6787865"/>
                </a:cubicBezTo>
                <a:cubicBezTo>
                  <a:pt x="2866528" y="6787333"/>
                  <a:pt x="2867727" y="6786535"/>
                  <a:pt x="2868657" y="6785468"/>
                </a:cubicBezTo>
                <a:cubicBezTo>
                  <a:pt x="2869722" y="6784270"/>
                  <a:pt x="2870655" y="6782939"/>
                  <a:pt x="2871320" y="6781209"/>
                </a:cubicBezTo>
                <a:cubicBezTo>
                  <a:pt x="2871852" y="6779611"/>
                  <a:pt x="2872251" y="6777747"/>
                  <a:pt x="2872251" y="6775751"/>
                </a:cubicBezTo>
                <a:cubicBezTo>
                  <a:pt x="2872251" y="6773887"/>
                  <a:pt x="2871985" y="6772157"/>
                  <a:pt x="2871320" y="6770560"/>
                </a:cubicBezTo>
                <a:cubicBezTo>
                  <a:pt x="2870655" y="6768962"/>
                  <a:pt x="2869722" y="6767631"/>
                  <a:pt x="2868657" y="6766433"/>
                </a:cubicBezTo>
                <a:cubicBezTo>
                  <a:pt x="2867593" y="6765368"/>
                  <a:pt x="2866261" y="6764436"/>
                  <a:pt x="2864665" y="6763770"/>
                </a:cubicBezTo>
                <a:cubicBezTo>
                  <a:pt x="2863201" y="6763105"/>
                  <a:pt x="2861602" y="6762839"/>
                  <a:pt x="2859605" y="6762839"/>
                </a:cubicBezTo>
                <a:close/>
                <a:moveTo>
                  <a:pt x="2641941" y="6762839"/>
                </a:moveTo>
                <a:cubicBezTo>
                  <a:pt x="2636083" y="6762839"/>
                  <a:pt x="2633554" y="6764702"/>
                  <a:pt x="2631958" y="6766433"/>
                </a:cubicBezTo>
                <a:cubicBezTo>
                  <a:pt x="2629427" y="6769095"/>
                  <a:pt x="2628363" y="6771890"/>
                  <a:pt x="2628363" y="6775884"/>
                </a:cubicBezTo>
                <a:cubicBezTo>
                  <a:pt x="2628363" y="6780010"/>
                  <a:pt x="2629427" y="6782806"/>
                  <a:pt x="2631958" y="6785335"/>
                </a:cubicBezTo>
                <a:cubicBezTo>
                  <a:pt x="2633554" y="6786934"/>
                  <a:pt x="2636083" y="6788797"/>
                  <a:pt x="2641941" y="6788797"/>
                </a:cubicBezTo>
                <a:cubicBezTo>
                  <a:pt x="2643937" y="6788797"/>
                  <a:pt x="2645802" y="6788531"/>
                  <a:pt x="2647266" y="6787865"/>
                </a:cubicBezTo>
                <a:cubicBezTo>
                  <a:pt x="2648863" y="6787333"/>
                  <a:pt x="2650061" y="6786535"/>
                  <a:pt x="2650993" y="6785468"/>
                </a:cubicBezTo>
                <a:cubicBezTo>
                  <a:pt x="2652058" y="6784270"/>
                  <a:pt x="2652990" y="6782939"/>
                  <a:pt x="2653656" y="6781209"/>
                </a:cubicBezTo>
                <a:cubicBezTo>
                  <a:pt x="2654188" y="6779611"/>
                  <a:pt x="2654587" y="6777747"/>
                  <a:pt x="2654587" y="6775751"/>
                </a:cubicBezTo>
                <a:cubicBezTo>
                  <a:pt x="2654587" y="6773887"/>
                  <a:pt x="2654321" y="6772157"/>
                  <a:pt x="2653656" y="6770560"/>
                </a:cubicBezTo>
                <a:cubicBezTo>
                  <a:pt x="2652990" y="6768962"/>
                  <a:pt x="2652058" y="6767631"/>
                  <a:pt x="2650993" y="6766433"/>
                </a:cubicBezTo>
                <a:cubicBezTo>
                  <a:pt x="2649928" y="6765368"/>
                  <a:pt x="2648597" y="6764436"/>
                  <a:pt x="2647000" y="6763770"/>
                </a:cubicBezTo>
                <a:cubicBezTo>
                  <a:pt x="2645535" y="6763105"/>
                  <a:pt x="2643937" y="6762839"/>
                  <a:pt x="2641941" y="6762839"/>
                </a:cubicBezTo>
                <a:close/>
                <a:moveTo>
                  <a:pt x="2424276" y="6762839"/>
                </a:moveTo>
                <a:cubicBezTo>
                  <a:pt x="2418419" y="6762839"/>
                  <a:pt x="2415890" y="6764702"/>
                  <a:pt x="2414293" y="6766433"/>
                </a:cubicBezTo>
                <a:cubicBezTo>
                  <a:pt x="2411763" y="6769095"/>
                  <a:pt x="2410699" y="6771890"/>
                  <a:pt x="2410699" y="6775884"/>
                </a:cubicBezTo>
                <a:cubicBezTo>
                  <a:pt x="2410699" y="6780010"/>
                  <a:pt x="2411763" y="6782806"/>
                  <a:pt x="2414293" y="6785335"/>
                </a:cubicBezTo>
                <a:cubicBezTo>
                  <a:pt x="2415890" y="6786934"/>
                  <a:pt x="2418419" y="6788797"/>
                  <a:pt x="2424276" y="6788797"/>
                </a:cubicBezTo>
                <a:cubicBezTo>
                  <a:pt x="2426406" y="6788797"/>
                  <a:pt x="2428137" y="6788531"/>
                  <a:pt x="2429601" y="6787865"/>
                </a:cubicBezTo>
                <a:cubicBezTo>
                  <a:pt x="2431199" y="6787333"/>
                  <a:pt x="2432397" y="6786535"/>
                  <a:pt x="2433328" y="6785468"/>
                </a:cubicBezTo>
                <a:cubicBezTo>
                  <a:pt x="2434393" y="6784270"/>
                  <a:pt x="2435325" y="6782939"/>
                  <a:pt x="2435991" y="6781209"/>
                </a:cubicBezTo>
                <a:cubicBezTo>
                  <a:pt x="2436523" y="6779611"/>
                  <a:pt x="2436923" y="6777747"/>
                  <a:pt x="2436923" y="6775751"/>
                </a:cubicBezTo>
                <a:cubicBezTo>
                  <a:pt x="2436923" y="6773887"/>
                  <a:pt x="2436656" y="6772157"/>
                  <a:pt x="2435991" y="6770560"/>
                </a:cubicBezTo>
                <a:cubicBezTo>
                  <a:pt x="2435325" y="6768962"/>
                  <a:pt x="2434393" y="6767631"/>
                  <a:pt x="2433328" y="6766433"/>
                </a:cubicBezTo>
                <a:cubicBezTo>
                  <a:pt x="2432265" y="6765368"/>
                  <a:pt x="2430933" y="6764436"/>
                  <a:pt x="2429335" y="6763770"/>
                </a:cubicBezTo>
                <a:cubicBezTo>
                  <a:pt x="2427871" y="6763105"/>
                  <a:pt x="2426273" y="6762839"/>
                  <a:pt x="2424276" y="6762839"/>
                </a:cubicBezTo>
                <a:close/>
                <a:moveTo>
                  <a:pt x="2206612" y="6762839"/>
                </a:moveTo>
                <a:cubicBezTo>
                  <a:pt x="2200755" y="6762839"/>
                  <a:pt x="2198226" y="6764702"/>
                  <a:pt x="2196628" y="6766433"/>
                </a:cubicBezTo>
                <a:cubicBezTo>
                  <a:pt x="2194099" y="6769095"/>
                  <a:pt x="2193034" y="6771890"/>
                  <a:pt x="2193034" y="6775884"/>
                </a:cubicBezTo>
                <a:cubicBezTo>
                  <a:pt x="2193034" y="6780010"/>
                  <a:pt x="2194099" y="6782806"/>
                  <a:pt x="2196628" y="6785335"/>
                </a:cubicBezTo>
                <a:cubicBezTo>
                  <a:pt x="2198226" y="6786934"/>
                  <a:pt x="2200755" y="6788797"/>
                  <a:pt x="2206612" y="6788797"/>
                </a:cubicBezTo>
                <a:cubicBezTo>
                  <a:pt x="2208741" y="6788797"/>
                  <a:pt x="2210473" y="6788531"/>
                  <a:pt x="2211937" y="6787865"/>
                </a:cubicBezTo>
                <a:cubicBezTo>
                  <a:pt x="2213534" y="6787333"/>
                  <a:pt x="2214732" y="6786535"/>
                  <a:pt x="2215664" y="6785468"/>
                </a:cubicBezTo>
                <a:cubicBezTo>
                  <a:pt x="2216729" y="6784270"/>
                  <a:pt x="2217661" y="6782939"/>
                  <a:pt x="2218327" y="6781209"/>
                </a:cubicBezTo>
                <a:cubicBezTo>
                  <a:pt x="2218859" y="6779611"/>
                  <a:pt x="2219258" y="6777747"/>
                  <a:pt x="2219258" y="6775751"/>
                </a:cubicBezTo>
                <a:cubicBezTo>
                  <a:pt x="2219258" y="6773887"/>
                  <a:pt x="2218992" y="6772157"/>
                  <a:pt x="2218327" y="6770560"/>
                </a:cubicBezTo>
                <a:cubicBezTo>
                  <a:pt x="2217661" y="6768962"/>
                  <a:pt x="2216729" y="6767631"/>
                  <a:pt x="2215664" y="6766433"/>
                </a:cubicBezTo>
                <a:cubicBezTo>
                  <a:pt x="2214599" y="6765368"/>
                  <a:pt x="2213268" y="6764436"/>
                  <a:pt x="2211671" y="6763770"/>
                </a:cubicBezTo>
                <a:cubicBezTo>
                  <a:pt x="2210206" y="6763105"/>
                  <a:pt x="2208609" y="6762839"/>
                  <a:pt x="2206612" y="6762839"/>
                </a:cubicBezTo>
                <a:close/>
                <a:moveTo>
                  <a:pt x="1989080" y="6762839"/>
                </a:moveTo>
                <a:cubicBezTo>
                  <a:pt x="1983223" y="6762839"/>
                  <a:pt x="1980694" y="6764702"/>
                  <a:pt x="1979097" y="6766433"/>
                </a:cubicBezTo>
                <a:cubicBezTo>
                  <a:pt x="1976567" y="6769095"/>
                  <a:pt x="1975503" y="6771890"/>
                  <a:pt x="1975503" y="6775884"/>
                </a:cubicBezTo>
                <a:cubicBezTo>
                  <a:pt x="1975503" y="6780010"/>
                  <a:pt x="1976567" y="6782806"/>
                  <a:pt x="1979097" y="6785335"/>
                </a:cubicBezTo>
                <a:cubicBezTo>
                  <a:pt x="1980694" y="6786934"/>
                  <a:pt x="1983223" y="6788797"/>
                  <a:pt x="1989080" y="6788797"/>
                </a:cubicBezTo>
                <a:cubicBezTo>
                  <a:pt x="1991077" y="6788797"/>
                  <a:pt x="1992808" y="6788531"/>
                  <a:pt x="1994405" y="6787865"/>
                </a:cubicBezTo>
                <a:cubicBezTo>
                  <a:pt x="1996003" y="6787333"/>
                  <a:pt x="1997201" y="6786535"/>
                  <a:pt x="1998132" y="6785468"/>
                </a:cubicBezTo>
                <a:cubicBezTo>
                  <a:pt x="1999197" y="6784270"/>
                  <a:pt x="2000129" y="6782939"/>
                  <a:pt x="2000795" y="6781209"/>
                </a:cubicBezTo>
                <a:cubicBezTo>
                  <a:pt x="2001327" y="6779611"/>
                  <a:pt x="2001726" y="6777747"/>
                  <a:pt x="2001726" y="6775751"/>
                </a:cubicBezTo>
                <a:cubicBezTo>
                  <a:pt x="2001726" y="6773887"/>
                  <a:pt x="2001460" y="6772157"/>
                  <a:pt x="2000795" y="6770560"/>
                </a:cubicBezTo>
                <a:cubicBezTo>
                  <a:pt x="2000129" y="6768962"/>
                  <a:pt x="1999197" y="6767631"/>
                  <a:pt x="1998132" y="6766433"/>
                </a:cubicBezTo>
                <a:cubicBezTo>
                  <a:pt x="1997068" y="6765368"/>
                  <a:pt x="1995736" y="6764436"/>
                  <a:pt x="1994139" y="6763770"/>
                </a:cubicBezTo>
                <a:cubicBezTo>
                  <a:pt x="1992675" y="6763105"/>
                  <a:pt x="1991077" y="6762839"/>
                  <a:pt x="1989080" y="6762839"/>
                </a:cubicBezTo>
                <a:close/>
                <a:moveTo>
                  <a:pt x="1771449" y="6762839"/>
                </a:moveTo>
                <a:cubicBezTo>
                  <a:pt x="1765592" y="6762839"/>
                  <a:pt x="1763064" y="6764702"/>
                  <a:pt x="1761467" y="6766433"/>
                </a:cubicBezTo>
                <a:cubicBezTo>
                  <a:pt x="1758938" y="6769095"/>
                  <a:pt x="1757873" y="6771890"/>
                  <a:pt x="1757873" y="6775884"/>
                </a:cubicBezTo>
                <a:cubicBezTo>
                  <a:pt x="1757873" y="6780010"/>
                  <a:pt x="1758938" y="6782806"/>
                  <a:pt x="1761467" y="6785335"/>
                </a:cubicBezTo>
                <a:cubicBezTo>
                  <a:pt x="1763064" y="6786934"/>
                  <a:pt x="1765592" y="6788797"/>
                  <a:pt x="1771449" y="6788797"/>
                </a:cubicBezTo>
                <a:cubicBezTo>
                  <a:pt x="1773446" y="6788797"/>
                  <a:pt x="1775310" y="6788531"/>
                  <a:pt x="1776774" y="6787865"/>
                </a:cubicBezTo>
                <a:cubicBezTo>
                  <a:pt x="1778238" y="6787333"/>
                  <a:pt x="1779567" y="6786535"/>
                  <a:pt x="1780499" y="6785468"/>
                </a:cubicBezTo>
                <a:cubicBezTo>
                  <a:pt x="1781564" y="6784270"/>
                  <a:pt x="1782496" y="6782939"/>
                  <a:pt x="1783162" y="6781209"/>
                </a:cubicBezTo>
                <a:cubicBezTo>
                  <a:pt x="1783827" y="6779611"/>
                  <a:pt x="1784227" y="6777747"/>
                  <a:pt x="1784227" y="6775751"/>
                </a:cubicBezTo>
                <a:cubicBezTo>
                  <a:pt x="1784227" y="6773887"/>
                  <a:pt x="1783827" y="6772157"/>
                  <a:pt x="1783162" y="6770560"/>
                </a:cubicBezTo>
                <a:cubicBezTo>
                  <a:pt x="1782496" y="6768962"/>
                  <a:pt x="1781564" y="6767631"/>
                  <a:pt x="1780499" y="6766433"/>
                </a:cubicBezTo>
                <a:cubicBezTo>
                  <a:pt x="1779434" y="6765368"/>
                  <a:pt x="1778105" y="6764436"/>
                  <a:pt x="1776508" y="6763770"/>
                </a:cubicBezTo>
                <a:cubicBezTo>
                  <a:pt x="1775043" y="6763105"/>
                  <a:pt x="1773446" y="6762839"/>
                  <a:pt x="1771449" y="6762839"/>
                </a:cubicBezTo>
                <a:close/>
                <a:moveTo>
                  <a:pt x="1553813" y="6762839"/>
                </a:moveTo>
                <a:cubicBezTo>
                  <a:pt x="1547956" y="6762839"/>
                  <a:pt x="1545427" y="6764702"/>
                  <a:pt x="1543831" y="6766433"/>
                </a:cubicBezTo>
                <a:cubicBezTo>
                  <a:pt x="1541301" y="6769095"/>
                  <a:pt x="1540236" y="6771890"/>
                  <a:pt x="1540236" y="6775884"/>
                </a:cubicBezTo>
                <a:cubicBezTo>
                  <a:pt x="1540236" y="6780010"/>
                  <a:pt x="1541301" y="6782806"/>
                  <a:pt x="1543831" y="6785335"/>
                </a:cubicBezTo>
                <a:cubicBezTo>
                  <a:pt x="1545427" y="6786934"/>
                  <a:pt x="1547956" y="6788797"/>
                  <a:pt x="1553813" y="6788797"/>
                </a:cubicBezTo>
                <a:cubicBezTo>
                  <a:pt x="1555810" y="6788797"/>
                  <a:pt x="1557674" y="6788531"/>
                  <a:pt x="1559138" y="6787865"/>
                </a:cubicBezTo>
                <a:cubicBezTo>
                  <a:pt x="1560602" y="6787333"/>
                  <a:pt x="1561934" y="6786535"/>
                  <a:pt x="1562865" y="6785468"/>
                </a:cubicBezTo>
                <a:cubicBezTo>
                  <a:pt x="1563930" y="6784270"/>
                  <a:pt x="1564862" y="6782939"/>
                  <a:pt x="1565528" y="6781209"/>
                </a:cubicBezTo>
                <a:cubicBezTo>
                  <a:pt x="1566193" y="6779611"/>
                  <a:pt x="1566593" y="6777747"/>
                  <a:pt x="1566593" y="6775751"/>
                </a:cubicBezTo>
                <a:cubicBezTo>
                  <a:pt x="1566593" y="6773887"/>
                  <a:pt x="1566193" y="6772157"/>
                  <a:pt x="1565528" y="6770560"/>
                </a:cubicBezTo>
                <a:cubicBezTo>
                  <a:pt x="1564862" y="6768962"/>
                  <a:pt x="1563930" y="6767631"/>
                  <a:pt x="1562865" y="6766433"/>
                </a:cubicBezTo>
                <a:cubicBezTo>
                  <a:pt x="1561800" y="6765368"/>
                  <a:pt x="1560470" y="6764436"/>
                  <a:pt x="1558872" y="6763770"/>
                </a:cubicBezTo>
                <a:cubicBezTo>
                  <a:pt x="1557408" y="6763105"/>
                  <a:pt x="1555810" y="6762839"/>
                  <a:pt x="1553813" y="6762839"/>
                </a:cubicBezTo>
                <a:close/>
                <a:moveTo>
                  <a:pt x="1336171" y="6762839"/>
                </a:moveTo>
                <a:cubicBezTo>
                  <a:pt x="1330312" y="6762839"/>
                  <a:pt x="1327783" y="6764702"/>
                  <a:pt x="1326187" y="6766433"/>
                </a:cubicBezTo>
                <a:cubicBezTo>
                  <a:pt x="1323656" y="6769095"/>
                  <a:pt x="1322592" y="6771890"/>
                  <a:pt x="1322592" y="6775884"/>
                </a:cubicBezTo>
                <a:cubicBezTo>
                  <a:pt x="1322592" y="6780010"/>
                  <a:pt x="1323656" y="6782806"/>
                  <a:pt x="1326187" y="6785335"/>
                </a:cubicBezTo>
                <a:cubicBezTo>
                  <a:pt x="1327783" y="6786934"/>
                  <a:pt x="1330312" y="6788797"/>
                  <a:pt x="1336171" y="6788797"/>
                </a:cubicBezTo>
                <a:cubicBezTo>
                  <a:pt x="1338300" y="6788797"/>
                  <a:pt x="1340030" y="6788531"/>
                  <a:pt x="1341497" y="6787865"/>
                </a:cubicBezTo>
                <a:cubicBezTo>
                  <a:pt x="1342960" y="6787333"/>
                  <a:pt x="1344292" y="6786535"/>
                  <a:pt x="1345225" y="6785468"/>
                </a:cubicBezTo>
                <a:cubicBezTo>
                  <a:pt x="1346288" y="6784270"/>
                  <a:pt x="1347221" y="6782939"/>
                  <a:pt x="1347886" y="6781209"/>
                </a:cubicBezTo>
                <a:cubicBezTo>
                  <a:pt x="1348552" y="6779611"/>
                  <a:pt x="1348952" y="6777747"/>
                  <a:pt x="1348952" y="6775751"/>
                </a:cubicBezTo>
                <a:cubicBezTo>
                  <a:pt x="1348952" y="6773887"/>
                  <a:pt x="1348552" y="6772157"/>
                  <a:pt x="1347886" y="6770560"/>
                </a:cubicBezTo>
                <a:cubicBezTo>
                  <a:pt x="1347221" y="6768962"/>
                  <a:pt x="1346288" y="6767631"/>
                  <a:pt x="1345225" y="6766433"/>
                </a:cubicBezTo>
                <a:cubicBezTo>
                  <a:pt x="1344159" y="6765368"/>
                  <a:pt x="1342828" y="6764436"/>
                  <a:pt x="1341229" y="6763770"/>
                </a:cubicBezTo>
                <a:cubicBezTo>
                  <a:pt x="1339765" y="6763105"/>
                  <a:pt x="1338166" y="6762839"/>
                  <a:pt x="1336171" y="6762839"/>
                </a:cubicBezTo>
                <a:close/>
                <a:moveTo>
                  <a:pt x="1118658" y="6762839"/>
                </a:moveTo>
                <a:cubicBezTo>
                  <a:pt x="1112799" y="6762839"/>
                  <a:pt x="1110269" y="6764702"/>
                  <a:pt x="1108672" y="6766433"/>
                </a:cubicBezTo>
                <a:cubicBezTo>
                  <a:pt x="1106010" y="6769095"/>
                  <a:pt x="1104945" y="6771890"/>
                  <a:pt x="1104945" y="6775884"/>
                </a:cubicBezTo>
                <a:cubicBezTo>
                  <a:pt x="1104945" y="6780010"/>
                  <a:pt x="1106010" y="6782806"/>
                  <a:pt x="1108539" y="6785335"/>
                </a:cubicBezTo>
                <a:cubicBezTo>
                  <a:pt x="1110137" y="6786934"/>
                  <a:pt x="1112666" y="6788797"/>
                  <a:pt x="1118525" y="6788797"/>
                </a:cubicBezTo>
                <a:cubicBezTo>
                  <a:pt x="1120655" y="6788797"/>
                  <a:pt x="1122386" y="6788531"/>
                  <a:pt x="1123981" y="6787865"/>
                </a:cubicBezTo>
                <a:cubicBezTo>
                  <a:pt x="1125447" y="6787333"/>
                  <a:pt x="1126783" y="6786535"/>
                  <a:pt x="1127712" y="6785468"/>
                </a:cubicBezTo>
                <a:cubicBezTo>
                  <a:pt x="1128778" y="6784270"/>
                  <a:pt x="1129710" y="6782939"/>
                  <a:pt x="1130377" y="6781209"/>
                </a:cubicBezTo>
                <a:cubicBezTo>
                  <a:pt x="1131041" y="6779611"/>
                  <a:pt x="1131441" y="6777747"/>
                  <a:pt x="1131441" y="6775751"/>
                </a:cubicBezTo>
                <a:cubicBezTo>
                  <a:pt x="1131441" y="6773887"/>
                  <a:pt x="1131041" y="6772157"/>
                  <a:pt x="1130377" y="6770560"/>
                </a:cubicBezTo>
                <a:cubicBezTo>
                  <a:pt x="1129710" y="6768962"/>
                  <a:pt x="1128778" y="6767631"/>
                  <a:pt x="1127712" y="6766433"/>
                </a:cubicBezTo>
                <a:cubicBezTo>
                  <a:pt x="1126648" y="6765368"/>
                  <a:pt x="1125314" y="6764436"/>
                  <a:pt x="1123717" y="6763770"/>
                </a:cubicBezTo>
                <a:cubicBezTo>
                  <a:pt x="1122253" y="6763105"/>
                  <a:pt x="1120655" y="6762839"/>
                  <a:pt x="1118658" y="6762839"/>
                </a:cubicBezTo>
                <a:close/>
                <a:moveTo>
                  <a:pt x="901146" y="6762839"/>
                </a:moveTo>
                <a:cubicBezTo>
                  <a:pt x="895288" y="6762839"/>
                  <a:pt x="892758" y="6764702"/>
                  <a:pt x="891161" y="6766433"/>
                </a:cubicBezTo>
                <a:cubicBezTo>
                  <a:pt x="888498" y="6769095"/>
                  <a:pt x="887434" y="6771890"/>
                  <a:pt x="887434" y="6775884"/>
                </a:cubicBezTo>
                <a:cubicBezTo>
                  <a:pt x="887434" y="6780010"/>
                  <a:pt x="888498" y="6782806"/>
                  <a:pt x="891029" y="6785335"/>
                </a:cubicBezTo>
                <a:cubicBezTo>
                  <a:pt x="892626" y="6786934"/>
                  <a:pt x="895154" y="6788797"/>
                  <a:pt x="901012" y="6788797"/>
                </a:cubicBezTo>
                <a:cubicBezTo>
                  <a:pt x="903008" y="6788797"/>
                  <a:pt x="904740" y="6788531"/>
                  <a:pt x="906470" y="6787865"/>
                </a:cubicBezTo>
                <a:cubicBezTo>
                  <a:pt x="907934" y="6787333"/>
                  <a:pt x="909266" y="6786535"/>
                  <a:pt x="910198" y="6785468"/>
                </a:cubicBezTo>
                <a:cubicBezTo>
                  <a:pt x="911262" y="6784270"/>
                  <a:pt x="912194" y="6782939"/>
                  <a:pt x="912860" y="6781209"/>
                </a:cubicBezTo>
                <a:cubicBezTo>
                  <a:pt x="913525" y="6779611"/>
                  <a:pt x="913925" y="6777747"/>
                  <a:pt x="913925" y="6775751"/>
                </a:cubicBezTo>
                <a:cubicBezTo>
                  <a:pt x="913925" y="6773887"/>
                  <a:pt x="913525" y="6772157"/>
                  <a:pt x="912860" y="6770560"/>
                </a:cubicBezTo>
                <a:cubicBezTo>
                  <a:pt x="912194" y="6768962"/>
                  <a:pt x="911262" y="6767631"/>
                  <a:pt x="910198" y="6766433"/>
                </a:cubicBezTo>
                <a:cubicBezTo>
                  <a:pt x="909133" y="6765368"/>
                  <a:pt x="907801" y="6764436"/>
                  <a:pt x="906204" y="6763770"/>
                </a:cubicBezTo>
                <a:cubicBezTo>
                  <a:pt x="904740" y="6763105"/>
                  <a:pt x="903142" y="6762839"/>
                  <a:pt x="901146" y="6762839"/>
                </a:cubicBezTo>
                <a:close/>
                <a:moveTo>
                  <a:pt x="683372" y="6762839"/>
                </a:moveTo>
                <a:cubicBezTo>
                  <a:pt x="677515" y="6762839"/>
                  <a:pt x="674986" y="6764702"/>
                  <a:pt x="673389" y="6766433"/>
                </a:cubicBezTo>
                <a:cubicBezTo>
                  <a:pt x="670859" y="6769095"/>
                  <a:pt x="669795" y="6771890"/>
                  <a:pt x="669795" y="6775884"/>
                </a:cubicBezTo>
                <a:cubicBezTo>
                  <a:pt x="669795" y="6780010"/>
                  <a:pt x="670859" y="6782806"/>
                  <a:pt x="673389" y="6785335"/>
                </a:cubicBezTo>
                <a:cubicBezTo>
                  <a:pt x="674986" y="6786934"/>
                  <a:pt x="677515" y="6788797"/>
                  <a:pt x="683372" y="6788797"/>
                </a:cubicBezTo>
                <a:cubicBezTo>
                  <a:pt x="685369" y="6788797"/>
                  <a:pt x="687233" y="6788531"/>
                  <a:pt x="688698" y="6787865"/>
                </a:cubicBezTo>
                <a:cubicBezTo>
                  <a:pt x="690162" y="6787333"/>
                  <a:pt x="691494" y="6786535"/>
                  <a:pt x="692425" y="6785468"/>
                </a:cubicBezTo>
                <a:cubicBezTo>
                  <a:pt x="693489" y="6784270"/>
                  <a:pt x="694421" y="6782939"/>
                  <a:pt x="695088" y="6781209"/>
                </a:cubicBezTo>
                <a:cubicBezTo>
                  <a:pt x="695753" y="6779611"/>
                  <a:pt x="696153" y="6777747"/>
                  <a:pt x="696153" y="6775751"/>
                </a:cubicBezTo>
                <a:cubicBezTo>
                  <a:pt x="696153" y="6773887"/>
                  <a:pt x="695753" y="6772157"/>
                  <a:pt x="695088" y="6770560"/>
                </a:cubicBezTo>
                <a:cubicBezTo>
                  <a:pt x="694421" y="6768962"/>
                  <a:pt x="693489" y="6767631"/>
                  <a:pt x="692425" y="6766433"/>
                </a:cubicBezTo>
                <a:cubicBezTo>
                  <a:pt x="691360" y="6765368"/>
                  <a:pt x="690029" y="6764436"/>
                  <a:pt x="688432" y="6763770"/>
                </a:cubicBezTo>
                <a:cubicBezTo>
                  <a:pt x="686968" y="6763105"/>
                  <a:pt x="685369" y="6762839"/>
                  <a:pt x="683372" y="6762839"/>
                </a:cubicBezTo>
                <a:close/>
                <a:moveTo>
                  <a:pt x="465732" y="6762839"/>
                </a:moveTo>
                <a:cubicBezTo>
                  <a:pt x="459875" y="6762839"/>
                  <a:pt x="457346" y="6764702"/>
                  <a:pt x="455749" y="6766433"/>
                </a:cubicBezTo>
                <a:cubicBezTo>
                  <a:pt x="453219" y="6769095"/>
                  <a:pt x="452155" y="6771890"/>
                  <a:pt x="452155" y="6775884"/>
                </a:cubicBezTo>
                <a:cubicBezTo>
                  <a:pt x="452155" y="6780010"/>
                  <a:pt x="453219" y="6782806"/>
                  <a:pt x="455749" y="6785335"/>
                </a:cubicBezTo>
                <a:cubicBezTo>
                  <a:pt x="457346" y="6786934"/>
                  <a:pt x="459875" y="6788797"/>
                  <a:pt x="465732" y="6788797"/>
                </a:cubicBezTo>
                <a:cubicBezTo>
                  <a:pt x="467729" y="6788797"/>
                  <a:pt x="469593" y="6788531"/>
                  <a:pt x="471057" y="6787865"/>
                </a:cubicBezTo>
                <a:cubicBezTo>
                  <a:pt x="472521" y="6787333"/>
                  <a:pt x="473852" y="6786535"/>
                  <a:pt x="474784" y="6785468"/>
                </a:cubicBezTo>
                <a:cubicBezTo>
                  <a:pt x="475849" y="6784270"/>
                  <a:pt x="476781" y="6782939"/>
                  <a:pt x="477447" y="6781209"/>
                </a:cubicBezTo>
                <a:cubicBezTo>
                  <a:pt x="478112" y="6779611"/>
                  <a:pt x="478512" y="6777747"/>
                  <a:pt x="478512" y="6775751"/>
                </a:cubicBezTo>
                <a:cubicBezTo>
                  <a:pt x="478512" y="6773887"/>
                  <a:pt x="478112" y="6772157"/>
                  <a:pt x="477447" y="6770560"/>
                </a:cubicBezTo>
                <a:cubicBezTo>
                  <a:pt x="476781" y="6768962"/>
                  <a:pt x="475849" y="6767631"/>
                  <a:pt x="474784" y="6766433"/>
                </a:cubicBezTo>
                <a:cubicBezTo>
                  <a:pt x="473719" y="6765368"/>
                  <a:pt x="472388" y="6764436"/>
                  <a:pt x="470791" y="6763770"/>
                </a:cubicBezTo>
                <a:cubicBezTo>
                  <a:pt x="469327" y="6763105"/>
                  <a:pt x="467729" y="6762839"/>
                  <a:pt x="465732" y="6762839"/>
                </a:cubicBezTo>
                <a:close/>
                <a:moveTo>
                  <a:pt x="248091" y="6762839"/>
                </a:moveTo>
                <a:cubicBezTo>
                  <a:pt x="242234" y="6762839"/>
                  <a:pt x="239706" y="6764702"/>
                  <a:pt x="238109" y="6766433"/>
                </a:cubicBezTo>
                <a:cubicBezTo>
                  <a:pt x="235579" y="6769095"/>
                  <a:pt x="234515" y="6771890"/>
                  <a:pt x="234515" y="6775884"/>
                </a:cubicBezTo>
                <a:cubicBezTo>
                  <a:pt x="234515" y="6780010"/>
                  <a:pt x="235579" y="6782806"/>
                  <a:pt x="238109" y="6785335"/>
                </a:cubicBezTo>
                <a:cubicBezTo>
                  <a:pt x="239706" y="6786934"/>
                  <a:pt x="242234" y="6788797"/>
                  <a:pt x="248091" y="6788797"/>
                </a:cubicBezTo>
                <a:cubicBezTo>
                  <a:pt x="250221" y="6788797"/>
                  <a:pt x="251952" y="6788531"/>
                  <a:pt x="253416" y="6787865"/>
                </a:cubicBezTo>
                <a:cubicBezTo>
                  <a:pt x="254880" y="6787333"/>
                  <a:pt x="256210" y="6786535"/>
                  <a:pt x="257142" y="6785468"/>
                </a:cubicBezTo>
                <a:cubicBezTo>
                  <a:pt x="258207" y="6784270"/>
                  <a:pt x="259139" y="6782939"/>
                  <a:pt x="259805" y="6781209"/>
                </a:cubicBezTo>
                <a:cubicBezTo>
                  <a:pt x="260470" y="6779611"/>
                  <a:pt x="260870" y="6777747"/>
                  <a:pt x="260870" y="6775751"/>
                </a:cubicBezTo>
                <a:cubicBezTo>
                  <a:pt x="260870" y="6773887"/>
                  <a:pt x="260470" y="6772157"/>
                  <a:pt x="259805" y="6770560"/>
                </a:cubicBezTo>
                <a:cubicBezTo>
                  <a:pt x="259139" y="6768962"/>
                  <a:pt x="258207" y="6767631"/>
                  <a:pt x="257142" y="6766433"/>
                </a:cubicBezTo>
                <a:cubicBezTo>
                  <a:pt x="256077" y="6765368"/>
                  <a:pt x="254746" y="6764436"/>
                  <a:pt x="253150" y="6763770"/>
                </a:cubicBezTo>
                <a:cubicBezTo>
                  <a:pt x="251685" y="6763105"/>
                  <a:pt x="250088" y="6762839"/>
                  <a:pt x="248091" y="6762839"/>
                </a:cubicBezTo>
                <a:close/>
                <a:moveTo>
                  <a:pt x="30450" y="6762839"/>
                </a:moveTo>
                <a:cubicBezTo>
                  <a:pt x="24593" y="6762839"/>
                  <a:pt x="22064" y="6764702"/>
                  <a:pt x="20467" y="6766433"/>
                </a:cubicBezTo>
                <a:cubicBezTo>
                  <a:pt x="17937" y="6769095"/>
                  <a:pt x="16874" y="6771890"/>
                  <a:pt x="16874" y="6775884"/>
                </a:cubicBezTo>
                <a:cubicBezTo>
                  <a:pt x="16874" y="6780010"/>
                  <a:pt x="17937" y="6782806"/>
                  <a:pt x="20467" y="6785335"/>
                </a:cubicBezTo>
                <a:cubicBezTo>
                  <a:pt x="22064" y="6786934"/>
                  <a:pt x="24593" y="6788797"/>
                  <a:pt x="30450" y="6788797"/>
                </a:cubicBezTo>
                <a:cubicBezTo>
                  <a:pt x="32580" y="6788797"/>
                  <a:pt x="34311" y="6788531"/>
                  <a:pt x="35775" y="6787865"/>
                </a:cubicBezTo>
                <a:cubicBezTo>
                  <a:pt x="37239" y="6787333"/>
                  <a:pt x="38571" y="6786535"/>
                  <a:pt x="39502" y="6785468"/>
                </a:cubicBezTo>
                <a:cubicBezTo>
                  <a:pt x="40567" y="6784270"/>
                  <a:pt x="41499" y="6782939"/>
                  <a:pt x="42165" y="6781209"/>
                </a:cubicBezTo>
                <a:cubicBezTo>
                  <a:pt x="42830" y="6779611"/>
                  <a:pt x="43096" y="6777747"/>
                  <a:pt x="43096" y="6775751"/>
                </a:cubicBezTo>
                <a:cubicBezTo>
                  <a:pt x="43096" y="6773887"/>
                  <a:pt x="42830" y="6772157"/>
                  <a:pt x="42165" y="6770560"/>
                </a:cubicBezTo>
                <a:cubicBezTo>
                  <a:pt x="41499" y="6768962"/>
                  <a:pt x="40567" y="6767631"/>
                  <a:pt x="39502" y="6766433"/>
                </a:cubicBezTo>
                <a:cubicBezTo>
                  <a:pt x="38437" y="6765368"/>
                  <a:pt x="37106" y="6764436"/>
                  <a:pt x="35509" y="6763770"/>
                </a:cubicBezTo>
                <a:cubicBezTo>
                  <a:pt x="34045" y="6763105"/>
                  <a:pt x="32447" y="6762839"/>
                  <a:pt x="30450" y="6762839"/>
                </a:cubicBezTo>
                <a:close/>
                <a:moveTo>
                  <a:pt x="10475977" y="6746199"/>
                </a:moveTo>
                <a:cubicBezTo>
                  <a:pt x="10480237" y="6746199"/>
                  <a:pt x="10484230" y="6746998"/>
                  <a:pt x="10487824" y="6748595"/>
                </a:cubicBezTo>
                <a:cubicBezTo>
                  <a:pt x="10491419" y="6750192"/>
                  <a:pt x="10494613" y="6752323"/>
                  <a:pt x="10497143" y="6754985"/>
                </a:cubicBezTo>
                <a:cubicBezTo>
                  <a:pt x="10499672" y="6757514"/>
                  <a:pt x="10501801" y="6760709"/>
                  <a:pt x="10503266" y="6764303"/>
                </a:cubicBezTo>
                <a:cubicBezTo>
                  <a:pt x="10504730" y="6767897"/>
                  <a:pt x="10505529" y="6771757"/>
                  <a:pt x="10505529" y="6775751"/>
                </a:cubicBezTo>
                <a:cubicBezTo>
                  <a:pt x="10505529" y="6779878"/>
                  <a:pt x="10504730" y="6783871"/>
                  <a:pt x="10503266" y="6787466"/>
                </a:cubicBezTo>
                <a:cubicBezTo>
                  <a:pt x="10501669" y="6791193"/>
                  <a:pt x="10499672" y="6794255"/>
                  <a:pt x="10497143" y="6796917"/>
                </a:cubicBezTo>
                <a:cubicBezTo>
                  <a:pt x="10494480" y="6799580"/>
                  <a:pt x="10491419" y="6801709"/>
                  <a:pt x="10487824" y="6803174"/>
                </a:cubicBezTo>
                <a:cubicBezTo>
                  <a:pt x="10484098" y="6804638"/>
                  <a:pt x="10480237" y="6805437"/>
                  <a:pt x="10475977" y="6805437"/>
                </a:cubicBezTo>
                <a:cubicBezTo>
                  <a:pt x="10466924" y="6805437"/>
                  <a:pt x="10459736" y="6802508"/>
                  <a:pt x="10454145" y="6796917"/>
                </a:cubicBezTo>
                <a:cubicBezTo>
                  <a:pt x="10448554" y="6791327"/>
                  <a:pt x="10445759" y="6784270"/>
                  <a:pt x="10445759" y="6775751"/>
                </a:cubicBezTo>
                <a:cubicBezTo>
                  <a:pt x="10445759" y="6767497"/>
                  <a:pt x="10448554" y="6760443"/>
                  <a:pt x="10454145" y="6754719"/>
                </a:cubicBezTo>
                <a:cubicBezTo>
                  <a:pt x="10459603" y="6749128"/>
                  <a:pt x="10466924" y="6746199"/>
                  <a:pt x="10475977" y="6746199"/>
                </a:cubicBezTo>
                <a:close/>
                <a:moveTo>
                  <a:pt x="10258466" y="6746199"/>
                </a:moveTo>
                <a:cubicBezTo>
                  <a:pt x="10262592" y="6746199"/>
                  <a:pt x="10266586" y="6746998"/>
                  <a:pt x="10270313" y="6748595"/>
                </a:cubicBezTo>
                <a:cubicBezTo>
                  <a:pt x="10273907" y="6750192"/>
                  <a:pt x="10277101" y="6752323"/>
                  <a:pt x="10279631" y="6754985"/>
                </a:cubicBezTo>
                <a:cubicBezTo>
                  <a:pt x="10282160" y="6757514"/>
                  <a:pt x="10284290" y="6760709"/>
                  <a:pt x="10285754" y="6764303"/>
                </a:cubicBezTo>
                <a:cubicBezTo>
                  <a:pt x="10287218" y="6767897"/>
                  <a:pt x="10288017" y="6771757"/>
                  <a:pt x="10288017" y="6775751"/>
                </a:cubicBezTo>
                <a:cubicBezTo>
                  <a:pt x="10288017" y="6779878"/>
                  <a:pt x="10287218" y="6783871"/>
                  <a:pt x="10285754" y="6787466"/>
                </a:cubicBezTo>
                <a:cubicBezTo>
                  <a:pt x="10284157" y="6791193"/>
                  <a:pt x="10282160" y="6794255"/>
                  <a:pt x="10279631" y="6796917"/>
                </a:cubicBezTo>
                <a:cubicBezTo>
                  <a:pt x="10276969" y="6799580"/>
                  <a:pt x="10273907" y="6801709"/>
                  <a:pt x="10270313" y="6803174"/>
                </a:cubicBezTo>
                <a:cubicBezTo>
                  <a:pt x="10266586" y="6804638"/>
                  <a:pt x="10262725" y="6805437"/>
                  <a:pt x="10258466" y="6805437"/>
                </a:cubicBezTo>
                <a:cubicBezTo>
                  <a:pt x="10249546" y="6805437"/>
                  <a:pt x="10242224" y="6802508"/>
                  <a:pt x="10236633" y="6796917"/>
                </a:cubicBezTo>
                <a:cubicBezTo>
                  <a:pt x="10231043" y="6791327"/>
                  <a:pt x="10228247" y="6784270"/>
                  <a:pt x="10228247" y="6775751"/>
                </a:cubicBezTo>
                <a:cubicBezTo>
                  <a:pt x="10228247" y="6767497"/>
                  <a:pt x="10231043" y="6760443"/>
                  <a:pt x="10236633" y="6754719"/>
                </a:cubicBezTo>
                <a:cubicBezTo>
                  <a:pt x="10242092" y="6749128"/>
                  <a:pt x="10249413" y="6746199"/>
                  <a:pt x="10258466" y="6746199"/>
                </a:cubicBezTo>
                <a:close/>
                <a:moveTo>
                  <a:pt x="10040820" y="6746199"/>
                </a:moveTo>
                <a:cubicBezTo>
                  <a:pt x="10045080" y="6746199"/>
                  <a:pt x="10048941" y="6746998"/>
                  <a:pt x="10052534" y="6748595"/>
                </a:cubicBezTo>
                <a:cubicBezTo>
                  <a:pt x="10056129" y="6750192"/>
                  <a:pt x="10059323" y="6752323"/>
                  <a:pt x="10061852" y="6754985"/>
                </a:cubicBezTo>
                <a:cubicBezTo>
                  <a:pt x="10064382" y="6757514"/>
                  <a:pt x="10066512" y="6760709"/>
                  <a:pt x="10067976" y="6764303"/>
                </a:cubicBezTo>
                <a:cubicBezTo>
                  <a:pt x="10069440" y="6767897"/>
                  <a:pt x="10070239" y="6771757"/>
                  <a:pt x="10070239" y="6775751"/>
                </a:cubicBezTo>
                <a:cubicBezTo>
                  <a:pt x="10070239" y="6779878"/>
                  <a:pt x="10069440" y="6783871"/>
                  <a:pt x="10067976" y="6787466"/>
                </a:cubicBezTo>
                <a:cubicBezTo>
                  <a:pt x="10066379" y="6791193"/>
                  <a:pt x="10064382" y="6794255"/>
                  <a:pt x="10061852" y="6796917"/>
                </a:cubicBezTo>
                <a:cubicBezTo>
                  <a:pt x="10059190" y="6799580"/>
                  <a:pt x="10056129" y="6801709"/>
                  <a:pt x="10052534" y="6803174"/>
                </a:cubicBezTo>
                <a:cubicBezTo>
                  <a:pt x="10048941" y="6804638"/>
                  <a:pt x="10045080" y="6805437"/>
                  <a:pt x="10040820" y="6805437"/>
                </a:cubicBezTo>
                <a:cubicBezTo>
                  <a:pt x="10031767" y="6805437"/>
                  <a:pt x="10024579" y="6802508"/>
                  <a:pt x="10018988" y="6796917"/>
                </a:cubicBezTo>
                <a:cubicBezTo>
                  <a:pt x="10013397" y="6791327"/>
                  <a:pt x="10010602" y="6784270"/>
                  <a:pt x="10010602" y="6775751"/>
                </a:cubicBezTo>
                <a:cubicBezTo>
                  <a:pt x="10010602" y="6767497"/>
                  <a:pt x="10013397" y="6760443"/>
                  <a:pt x="10018988" y="6754719"/>
                </a:cubicBezTo>
                <a:cubicBezTo>
                  <a:pt x="10024579" y="6749128"/>
                  <a:pt x="10031767" y="6746199"/>
                  <a:pt x="10040820" y="6746199"/>
                </a:cubicBezTo>
                <a:close/>
                <a:moveTo>
                  <a:pt x="9823176" y="6746199"/>
                </a:moveTo>
                <a:cubicBezTo>
                  <a:pt x="9827435" y="6746199"/>
                  <a:pt x="9831296" y="6746998"/>
                  <a:pt x="9834890" y="6748595"/>
                </a:cubicBezTo>
                <a:cubicBezTo>
                  <a:pt x="9838617" y="6750192"/>
                  <a:pt x="9841679" y="6752323"/>
                  <a:pt x="9844208" y="6754985"/>
                </a:cubicBezTo>
                <a:cubicBezTo>
                  <a:pt x="9846737" y="6757514"/>
                  <a:pt x="9848867" y="6760709"/>
                  <a:pt x="9850331" y="6764303"/>
                </a:cubicBezTo>
                <a:cubicBezTo>
                  <a:pt x="9851796" y="6767897"/>
                  <a:pt x="9852595" y="6771757"/>
                  <a:pt x="9852595" y="6775751"/>
                </a:cubicBezTo>
                <a:cubicBezTo>
                  <a:pt x="9852595" y="6779878"/>
                  <a:pt x="9851796" y="6783871"/>
                  <a:pt x="9850331" y="6787466"/>
                </a:cubicBezTo>
                <a:cubicBezTo>
                  <a:pt x="9848734" y="6791193"/>
                  <a:pt x="9846737" y="6794255"/>
                  <a:pt x="9844208" y="6796917"/>
                </a:cubicBezTo>
                <a:cubicBezTo>
                  <a:pt x="9841546" y="6799580"/>
                  <a:pt x="9838484" y="6801709"/>
                  <a:pt x="9834890" y="6803174"/>
                </a:cubicBezTo>
                <a:cubicBezTo>
                  <a:pt x="9831296" y="6804638"/>
                  <a:pt x="9827435" y="6805437"/>
                  <a:pt x="9823176" y="6805437"/>
                </a:cubicBezTo>
                <a:cubicBezTo>
                  <a:pt x="9814123" y="6805437"/>
                  <a:pt x="9806935" y="6802508"/>
                  <a:pt x="9801343" y="6796917"/>
                </a:cubicBezTo>
                <a:cubicBezTo>
                  <a:pt x="9795753" y="6791327"/>
                  <a:pt x="9792957" y="6784270"/>
                  <a:pt x="9792957" y="6775751"/>
                </a:cubicBezTo>
                <a:cubicBezTo>
                  <a:pt x="9792957" y="6767497"/>
                  <a:pt x="9795753" y="6760443"/>
                  <a:pt x="9801343" y="6754719"/>
                </a:cubicBezTo>
                <a:cubicBezTo>
                  <a:pt x="9806935" y="6749128"/>
                  <a:pt x="9814123" y="6746199"/>
                  <a:pt x="9823176" y="6746199"/>
                </a:cubicBezTo>
                <a:close/>
                <a:moveTo>
                  <a:pt x="9605531" y="6746199"/>
                </a:moveTo>
                <a:cubicBezTo>
                  <a:pt x="9609790" y="6746199"/>
                  <a:pt x="9613784" y="6746998"/>
                  <a:pt x="9617245" y="6748595"/>
                </a:cubicBezTo>
                <a:cubicBezTo>
                  <a:pt x="9620839" y="6750192"/>
                  <a:pt x="9624033" y="6752323"/>
                  <a:pt x="9626562" y="6754985"/>
                </a:cubicBezTo>
                <a:cubicBezTo>
                  <a:pt x="9629092" y="6757514"/>
                  <a:pt x="9631222" y="6760709"/>
                  <a:pt x="9632686" y="6764303"/>
                </a:cubicBezTo>
                <a:cubicBezTo>
                  <a:pt x="9634150" y="6767897"/>
                  <a:pt x="9634949" y="6771757"/>
                  <a:pt x="9634949" y="6775751"/>
                </a:cubicBezTo>
                <a:cubicBezTo>
                  <a:pt x="9634949" y="6779878"/>
                  <a:pt x="9634150" y="6783871"/>
                  <a:pt x="9632686" y="6787466"/>
                </a:cubicBezTo>
                <a:cubicBezTo>
                  <a:pt x="9631089" y="6791193"/>
                  <a:pt x="9629092" y="6794255"/>
                  <a:pt x="9626562" y="6796917"/>
                </a:cubicBezTo>
                <a:cubicBezTo>
                  <a:pt x="9623901" y="6799580"/>
                  <a:pt x="9620839" y="6801709"/>
                  <a:pt x="9617245" y="6803174"/>
                </a:cubicBezTo>
                <a:cubicBezTo>
                  <a:pt x="9613651" y="6804638"/>
                  <a:pt x="9609790" y="6805437"/>
                  <a:pt x="9605531" y="6805437"/>
                </a:cubicBezTo>
                <a:cubicBezTo>
                  <a:pt x="9596610" y="6805437"/>
                  <a:pt x="9589289" y="6802508"/>
                  <a:pt x="9583698" y="6796917"/>
                </a:cubicBezTo>
                <a:cubicBezTo>
                  <a:pt x="9578108" y="6791327"/>
                  <a:pt x="9575312" y="6784270"/>
                  <a:pt x="9575312" y="6775751"/>
                </a:cubicBezTo>
                <a:cubicBezTo>
                  <a:pt x="9575312" y="6767497"/>
                  <a:pt x="9578108" y="6760443"/>
                  <a:pt x="9583698" y="6754719"/>
                </a:cubicBezTo>
                <a:cubicBezTo>
                  <a:pt x="9589289" y="6749128"/>
                  <a:pt x="9596478" y="6746199"/>
                  <a:pt x="9605531" y="6746199"/>
                </a:cubicBezTo>
                <a:close/>
                <a:moveTo>
                  <a:pt x="9387885" y="6746199"/>
                </a:moveTo>
                <a:cubicBezTo>
                  <a:pt x="9392145" y="6746199"/>
                  <a:pt x="9396138" y="6746998"/>
                  <a:pt x="9399599" y="6748595"/>
                </a:cubicBezTo>
                <a:cubicBezTo>
                  <a:pt x="9403194" y="6750192"/>
                  <a:pt x="9406388" y="6752323"/>
                  <a:pt x="9408917" y="6754985"/>
                </a:cubicBezTo>
                <a:cubicBezTo>
                  <a:pt x="9411447" y="6757514"/>
                  <a:pt x="9413576" y="6760709"/>
                  <a:pt x="9415041" y="6764303"/>
                </a:cubicBezTo>
                <a:cubicBezTo>
                  <a:pt x="9416505" y="6767897"/>
                  <a:pt x="9417304" y="6771757"/>
                  <a:pt x="9417304" y="6775751"/>
                </a:cubicBezTo>
                <a:cubicBezTo>
                  <a:pt x="9417304" y="6779878"/>
                  <a:pt x="9416505" y="6783871"/>
                  <a:pt x="9415041" y="6787466"/>
                </a:cubicBezTo>
                <a:cubicBezTo>
                  <a:pt x="9413444" y="6791193"/>
                  <a:pt x="9411447" y="6794255"/>
                  <a:pt x="9408917" y="6796917"/>
                </a:cubicBezTo>
                <a:cubicBezTo>
                  <a:pt x="9406255" y="6799580"/>
                  <a:pt x="9403194" y="6801709"/>
                  <a:pt x="9399599" y="6803174"/>
                </a:cubicBezTo>
                <a:cubicBezTo>
                  <a:pt x="9396005" y="6804638"/>
                  <a:pt x="9392145" y="6805437"/>
                  <a:pt x="9387885" y="6805437"/>
                </a:cubicBezTo>
                <a:cubicBezTo>
                  <a:pt x="9378965" y="6805437"/>
                  <a:pt x="9371644" y="6802508"/>
                  <a:pt x="9366053" y="6796917"/>
                </a:cubicBezTo>
                <a:cubicBezTo>
                  <a:pt x="9360462" y="6791327"/>
                  <a:pt x="9357667" y="6784270"/>
                  <a:pt x="9357667" y="6775751"/>
                </a:cubicBezTo>
                <a:cubicBezTo>
                  <a:pt x="9357667" y="6767497"/>
                  <a:pt x="9360462" y="6760443"/>
                  <a:pt x="9366053" y="6754719"/>
                </a:cubicBezTo>
                <a:cubicBezTo>
                  <a:pt x="9371644" y="6749128"/>
                  <a:pt x="9378832" y="6746199"/>
                  <a:pt x="9387885" y="6746199"/>
                </a:cubicBezTo>
                <a:close/>
                <a:moveTo>
                  <a:pt x="9170374" y="6746199"/>
                </a:moveTo>
                <a:cubicBezTo>
                  <a:pt x="9174500" y="6746199"/>
                  <a:pt x="9178494" y="6746998"/>
                  <a:pt x="9182088" y="6748595"/>
                </a:cubicBezTo>
                <a:cubicBezTo>
                  <a:pt x="9185682" y="6750192"/>
                  <a:pt x="9188876" y="6752323"/>
                  <a:pt x="9191405" y="6754985"/>
                </a:cubicBezTo>
                <a:cubicBezTo>
                  <a:pt x="9193935" y="6757514"/>
                  <a:pt x="9196065" y="6760709"/>
                  <a:pt x="9197529" y="6764303"/>
                </a:cubicBezTo>
                <a:cubicBezTo>
                  <a:pt x="9198993" y="6767897"/>
                  <a:pt x="9199792" y="6771757"/>
                  <a:pt x="9199792" y="6775751"/>
                </a:cubicBezTo>
                <a:cubicBezTo>
                  <a:pt x="9199792" y="6779878"/>
                  <a:pt x="9198993" y="6783871"/>
                  <a:pt x="9197529" y="6787466"/>
                </a:cubicBezTo>
                <a:cubicBezTo>
                  <a:pt x="9195932" y="6791193"/>
                  <a:pt x="9193935" y="6794255"/>
                  <a:pt x="9191405" y="6796917"/>
                </a:cubicBezTo>
                <a:cubicBezTo>
                  <a:pt x="9188744" y="6799580"/>
                  <a:pt x="9185682" y="6801709"/>
                  <a:pt x="9182088" y="6803174"/>
                </a:cubicBezTo>
                <a:cubicBezTo>
                  <a:pt x="9178494" y="6804638"/>
                  <a:pt x="9174633" y="6805437"/>
                  <a:pt x="9170374" y="6805437"/>
                </a:cubicBezTo>
                <a:cubicBezTo>
                  <a:pt x="9161453" y="6805437"/>
                  <a:pt x="9154132" y="6802508"/>
                  <a:pt x="9148541" y="6796917"/>
                </a:cubicBezTo>
                <a:cubicBezTo>
                  <a:pt x="9142951" y="6791327"/>
                  <a:pt x="9140155" y="6784270"/>
                  <a:pt x="9140155" y="6775751"/>
                </a:cubicBezTo>
                <a:cubicBezTo>
                  <a:pt x="9140155" y="6767497"/>
                  <a:pt x="9142951" y="6760443"/>
                  <a:pt x="9148541" y="6754719"/>
                </a:cubicBezTo>
                <a:cubicBezTo>
                  <a:pt x="9154132" y="6749128"/>
                  <a:pt x="9161321" y="6746199"/>
                  <a:pt x="9170374" y="6746199"/>
                </a:cubicBezTo>
                <a:close/>
                <a:moveTo>
                  <a:pt x="8952728" y="6746199"/>
                </a:moveTo>
                <a:cubicBezTo>
                  <a:pt x="8956988" y="6746199"/>
                  <a:pt x="8960849" y="6746998"/>
                  <a:pt x="8964442" y="6748595"/>
                </a:cubicBezTo>
                <a:cubicBezTo>
                  <a:pt x="8968037" y="6750192"/>
                  <a:pt x="8971231" y="6752323"/>
                  <a:pt x="8973760" y="6754985"/>
                </a:cubicBezTo>
                <a:cubicBezTo>
                  <a:pt x="8976290" y="6757514"/>
                  <a:pt x="8978419" y="6760709"/>
                  <a:pt x="8979884" y="6764303"/>
                </a:cubicBezTo>
                <a:cubicBezTo>
                  <a:pt x="8981348" y="6767897"/>
                  <a:pt x="8982147" y="6771757"/>
                  <a:pt x="8982147" y="6775751"/>
                </a:cubicBezTo>
                <a:cubicBezTo>
                  <a:pt x="8982147" y="6779878"/>
                  <a:pt x="8981348" y="6783871"/>
                  <a:pt x="8979884" y="6787466"/>
                </a:cubicBezTo>
                <a:cubicBezTo>
                  <a:pt x="8978287" y="6791193"/>
                  <a:pt x="8976290" y="6794255"/>
                  <a:pt x="8973760" y="6796917"/>
                </a:cubicBezTo>
                <a:cubicBezTo>
                  <a:pt x="8971098" y="6799580"/>
                  <a:pt x="8968037" y="6801709"/>
                  <a:pt x="8964442" y="6803174"/>
                </a:cubicBezTo>
                <a:cubicBezTo>
                  <a:pt x="8960849" y="6804638"/>
                  <a:pt x="8956988" y="6805437"/>
                  <a:pt x="8952728" y="6805437"/>
                </a:cubicBezTo>
                <a:cubicBezTo>
                  <a:pt x="8943808" y="6805437"/>
                  <a:pt x="8936487" y="6802508"/>
                  <a:pt x="8930896" y="6796917"/>
                </a:cubicBezTo>
                <a:cubicBezTo>
                  <a:pt x="8925305" y="6791327"/>
                  <a:pt x="8922510" y="6784270"/>
                  <a:pt x="8922510" y="6775751"/>
                </a:cubicBezTo>
                <a:cubicBezTo>
                  <a:pt x="8922510" y="6767497"/>
                  <a:pt x="8925305" y="6760443"/>
                  <a:pt x="8930896" y="6754719"/>
                </a:cubicBezTo>
                <a:cubicBezTo>
                  <a:pt x="8936487" y="6749128"/>
                  <a:pt x="8943675" y="6746199"/>
                  <a:pt x="8952728" y="6746199"/>
                </a:cubicBezTo>
                <a:close/>
                <a:moveTo>
                  <a:pt x="8735083" y="6746199"/>
                </a:moveTo>
                <a:cubicBezTo>
                  <a:pt x="8739342" y="6746199"/>
                  <a:pt x="8743203" y="6746998"/>
                  <a:pt x="8746797" y="6748595"/>
                </a:cubicBezTo>
                <a:cubicBezTo>
                  <a:pt x="8750391" y="6750192"/>
                  <a:pt x="8753586" y="6752323"/>
                  <a:pt x="8756115" y="6754985"/>
                </a:cubicBezTo>
                <a:cubicBezTo>
                  <a:pt x="8758644" y="6757514"/>
                  <a:pt x="8760774" y="6760709"/>
                  <a:pt x="8762238" y="6764303"/>
                </a:cubicBezTo>
                <a:cubicBezTo>
                  <a:pt x="8763702" y="6767897"/>
                  <a:pt x="8764502" y="6771757"/>
                  <a:pt x="8764502" y="6775751"/>
                </a:cubicBezTo>
                <a:cubicBezTo>
                  <a:pt x="8764502" y="6779878"/>
                  <a:pt x="8763702" y="6783871"/>
                  <a:pt x="8762238" y="6787466"/>
                </a:cubicBezTo>
                <a:cubicBezTo>
                  <a:pt x="8760641" y="6791193"/>
                  <a:pt x="8758644" y="6794255"/>
                  <a:pt x="8756115" y="6796917"/>
                </a:cubicBezTo>
                <a:cubicBezTo>
                  <a:pt x="8753453" y="6799580"/>
                  <a:pt x="8750391" y="6801709"/>
                  <a:pt x="8746797" y="6803174"/>
                </a:cubicBezTo>
                <a:cubicBezTo>
                  <a:pt x="8743203" y="6804638"/>
                  <a:pt x="8739342" y="6805437"/>
                  <a:pt x="8735083" y="6805437"/>
                </a:cubicBezTo>
                <a:cubicBezTo>
                  <a:pt x="8726030" y="6805437"/>
                  <a:pt x="8718841" y="6802508"/>
                  <a:pt x="8713250" y="6796917"/>
                </a:cubicBezTo>
                <a:cubicBezTo>
                  <a:pt x="8707660" y="6791327"/>
                  <a:pt x="8704864" y="6784270"/>
                  <a:pt x="8704864" y="6775751"/>
                </a:cubicBezTo>
                <a:cubicBezTo>
                  <a:pt x="8704864" y="6767497"/>
                  <a:pt x="8707660" y="6760443"/>
                  <a:pt x="8713250" y="6754719"/>
                </a:cubicBezTo>
                <a:cubicBezTo>
                  <a:pt x="8718841" y="6749128"/>
                  <a:pt x="8726030" y="6746199"/>
                  <a:pt x="8735083" y="6746199"/>
                </a:cubicBezTo>
                <a:close/>
                <a:moveTo>
                  <a:pt x="8517438" y="6746199"/>
                </a:moveTo>
                <a:cubicBezTo>
                  <a:pt x="8521698" y="6746199"/>
                  <a:pt x="8525559" y="6746998"/>
                  <a:pt x="8529152" y="6748595"/>
                </a:cubicBezTo>
                <a:cubicBezTo>
                  <a:pt x="8532880" y="6750192"/>
                  <a:pt x="8535941" y="6752323"/>
                  <a:pt x="8538470" y="6754985"/>
                </a:cubicBezTo>
                <a:cubicBezTo>
                  <a:pt x="8541000" y="6757514"/>
                  <a:pt x="8543130" y="6760709"/>
                  <a:pt x="8544594" y="6764303"/>
                </a:cubicBezTo>
                <a:cubicBezTo>
                  <a:pt x="8546058" y="6767897"/>
                  <a:pt x="8546857" y="6771757"/>
                  <a:pt x="8546857" y="6775751"/>
                </a:cubicBezTo>
                <a:cubicBezTo>
                  <a:pt x="8546857" y="6779878"/>
                  <a:pt x="8546058" y="6783871"/>
                  <a:pt x="8544594" y="6787466"/>
                </a:cubicBezTo>
                <a:cubicBezTo>
                  <a:pt x="8542997" y="6791193"/>
                  <a:pt x="8541000" y="6794255"/>
                  <a:pt x="8538470" y="6796917"/>
                </a:cubicBezTo>
                <a:cubicBezTo>
                  <a:pt x="8535808" y="6799580"/>
                  <a:pt x="8532747" y="6801709"/>
                  <a:pt x="8529152" y="6803174"/>
                </a:cubicBezTo>
                <a:cubicBezTo>
                  <a:pt x="8525559" y="6804638"/>
                  <a:pt x="8521698" y="6805437"/>
                  <a:pt x="8517438" y="6805437"/>
                </a:cubicBezTo>
                <a:cubicBezTo>
                  <a:pt x="8508385" y="6805437"/>
                  <a:pt x="8501197" y="6802508"/>
                  <a:pt x="8495606" y="6796917"/>
                </a:cubicBezTo>
                <a:cubicBezTo>
                  <a:pt x="8490015" y="6791327"/>
                  <a:pt x="8487220" y="6784270"/>
                  <a:pt x="8487220" y="6775751"/>
                </a:cubicBezTo>
                <a:cubicBezTo>
                  <a:pt x="8487220" y="6767497"/>
                  <a:pt x="8490015" y="6760443"/>
                  <a:pt x="8495606" y="6754719"/>
                </a:cubicBezTo>
                <a:cubicBezTo>
                  <a:pt x="8501197" y="6749128"/>
                  <a:pt x="8508385" y="6746199"/>
                  <a:pt x="8517438" y="6746199"/>
                </a:cubicBezTo>
                <a:close/>
                <a:moveTo>
                  <a:pt x="8299793" y="6746199"/>
                </a:moveTo>
                <a:cubicBezTo>
                  <a:pt x="8304052" y="6746199"/>
                  <a:pt x="8308046" y="6746998"/>
                  <a:pt x="8311507" y="6748595"/>
                </a:cubicBezTo>
                <a:cubicBezTo>
                  <a:pt x="8315235" y="6750192"/>
                  <a:pt x="8318296" y="6752323"/>
                  <a:pt x="8320825" y="6754985"/>
                </a:cubicBezTo>
                <a:cubicBezTo>
                  <a:pt x="8323354" y="6757514"/>
                  <a:pt x="8325484" y="6760709"/>
                  <a:pt x="8326948" y="6764303"/>
                </a:cubicBezTo>
                <a:cubicBezTo>
                  <a:pt x="8328413" y="6767897"/>
                  <a:pt x="8329212" y="6771757"/>
                  <a:pt x="8329212" y="6775751"/>
                </a:cubicBezTo>
                <a:cubicBezTo>
                  <a:pt x="8329212" y="6779878"/>
                  <a:pt x="8328413" y="6783871"/>
                  <a:pt x="8326948" y="6787466"/>
                </a:cubicBezTo>
                <a:cubicBezTo>
                  <a:pt x="8325351" y="6791193"/>
                  <a:pt x="8323354" y="6794255"/>
                  <a:pt x="8320825" y="6796917"/>
                </a:cubicBezTo>
                <a:cubicBezTo>
                  <a:pt x="8318163" y="6799580"/>
                  <a:pt x="8315101" y="6801709"/>
                  <a:pt x="8311507" y="6803174"/>
                </a:cubicBezTo>
                <a:cubicBezTo>
                  <a:pt x="8307913" y="6804638"/>
                  <a:pt x="8304052" y="6805437"/>
                  <a:pt x="8299793" y="6805437"/>
                </a:cubicBezTo>
                <a:cubicBezTo>
                  <a:pt x="8290874" y="6805437"/>
                  <a:pt x="8283553" y="6802508"/>
                  <a:pt x="8277960" y="6796917"/>
                </a:cubicBezTo>
                <a:cubicBezTo>
                  <a:pt x="8272370" y="6791327"/>
                  <a:pt x="8269574" y="6784270"/>
                  <a:pt x="8269574" y="6775751"/>
                </a:cubicBezTo>
                <a:cubicBezTo>
                  <a:pt x="8269574" y="6767497"/>
                  <a:pt x="8272370" y="6760443"/>
                  <a:pt x="8277960" y="6754719"/>
                </a:cubicBezTo>
                <a:cubicBezTo>
                  <a:pt x="8283553" y="6749128"/>
                  <a:pt x="8290741" y="6746199"/>
                  <a:pt x="8299793" y="6746199"/>
                </a:cubicBezTo>
                <a:close/>
                <a:moveTo>
                  <a:pt x="8082281" y="6746199"/>
                </a:moveTo>
                <a:cubicBezTo>
                  <a:pt x="8086407" y="6746199"/>
                  <a:pt x="8090401" y="6746998"/>
                  <a:pt x="8094127" y="6748595"/>
                </a:cubicBezTo>
                <a:cubicBezTo>
                  <a:pt x="8097855" y="6750192"/>
                  <a:pt x="8100916" y="6752323"/>
                  <a:pt x="8103446" y="6754985"/>
                </a:cubicBezTo>
                <a:cubicBezTo>
                  <a:pt x="8105975" y="6757514"/>
                  <a:pt x="8108104" y="6760709"/>
                  <a:pt x="8109569" y="6764303"/>
                </a:cubicBezTo>
                <a:cubicBezTo>
                  <a:pt x="8111033" y="6767897"/>
                  <a:pt x="8111832" y="6771757"/>
                  <a:pt x="8111832" y="6775751"/>
                </a:cubicBezTo>
                <a:cubicBezTo>
                  <a:pt x="8111832" y="6779878"/>
                  <a:pt x="8111033" y="6783871"/>
                  <a:pt x="8109569" y="6787466"/>
                </a:cubicBezTo>
                <a:cubicBezTo>
                  <a:pt x="8107972" y="6791193"/>
                  <a:pt x="8105975" y="6794255"/>
                  <a:pt x="8103446" y="6796917"/>
                </a:cubicBezTo>
                <a:cubicBezTo>
                  <a:pt x="8100783" y="6799580"/>
                  <a:pt x="8097722" y="6801709"/>
                  <a:pt x="8094127" y="6803174"/>
                </a:cubicBezTo>
                <a:cubicBezTo>
                  <a:pt x="8090401" y="6804638"/>
                  <a:pt x="8086540" y="6805437"/>
                  <a:pt x="8082281" y="6805437"/>
                </a:cubicBezTo>
                <a:cubicBezTo>
                  <a:pt x="8073361" y="6805437"/>
                  <a:pt x="8066040" y="6802508"/>
                  <a:pt x="8060448" y="6796917"/>
                </a:cubicBezTo>
                <a:cubicBezTo>
                  <a:pt x="8054857" y="6791327"/>
                  <a:pt x="8052062" y="6784270"/>
                  <a:pt x="8052062" y="6775751"/>
                </a:cubicBezTo>
                <a:cubicBezTo>
                  <a:pt x="8052062" y="6767497"/>
                  <a:pt x="8054857" y="6760443"/>
                  <a:pt x="8060448" y="6754719"/>
                </a:cubicBezTo>
                <a:cubicBezTo>
                  <a:pt x="8066040" y="6749128"/>
                  <a:pt x="8073228" y="6746199"/>
                  <a:pt x="8082281" y="6746199"/>
                </a:cubicBezTo>
                <a:close/>
                <a:moveTo>
                  <a:pt x="7864636" y="6746199"/>
                </a:moveTo>
                <a:cubicBezTo>
                  <a:pt x="7868762" y="6746199"/>
                  <a:pt x="7872756" y="6746998"/>
                  <a:pt x="7876483" y="6748595"/>
                </a:cubicBezTo>
                <a:cubicBezTo>
                  <a:pt x="7880210" y="6750192"/>
                  <a:pt x="7883272" y="6752323"/>
                  <a:pt x="7885802" y="6754985"/>
                </a:cubicBezTo>
                <a:cubicBezTo>
                  <a:pt x="7888331" y="6757514"/>
                  <a:pt x="7890460" y="6760709"/>
                  <a:pt x="7891924" y="6764303"/>
                </a:cubicBezTo>
                <a:cubicBezTo>
                  <a:pt x="7893389" y="6767897"/>
                  <a:pt x="7894188" y="6771757"/>
                  <a:pt x="7894188" y="6775751"/>
                </a:cubicBezTo>
                <a:cubicBezTo>
                  <a:pt x="7894188" y="6779878"/>
                  <a:pt x="7893389" y="6783871"/>
                  <a:pt x="7891924" y="6787466"/>
                </a:cubicBezTo>
                <a:cubicBezTo>
                  <a:pt x="7890327" y="6791193"/>
                  <a:pt x="7888331" y="6794255"/>
                  <a:pt x="7885802" y="6796917"/>
                </a:cubicBezTo>
                <a:cubicBezTo>
                  <a:pt x="7883139" y="6799580"/>
                  <a:pt x="7880078" y="6801709"/>
                  <a:pt x="7876483" y="6803174"/>
                </a:cubicBezTo>
                <a:cubicBezTo>
                  <a:pt x="7872756" y="6804638"/>
                  <a:pt x="7868895" y="6805437"/>
                  <a:pt x="7864636" y="6805437"/>
                </a:cubicBezTo>
                <a:cubicBezTo>
                  <a:pt x="7855717" y="6805437"/>
                  <a:pt x="7848396" y="6802508"/>
                  <a:pt x="7842803" y="6796917"/>
                </a:cubicBezTo>
                <a:cubicBezTo>
                  <a:pt x="7837213" y="6791327"/>
                  <a:pt x="7834417" y="6784270"/>
                  <a:pt x="7834417" y="6775751"/>
                </a:cubicBezTo>
                <a:cubicBezTo>
                  <a:pt x="7834417" y="6767497"/>
                  <a:pt x="7837213" y="6760443"/>
                  <a:pt x="7842803" y="6754719"/>
                </a:cubicBezTo>
                <a:cubicBezTo>
                  <a:pt x="7848396" y="6749128"/>
                  <a:pt x="7855584" y="6746199"/>
                  <a:pt x="7864636" y="6746199"/>
                </a:cubicBezTo>
                <a:close/>
                <a:moveTo>
                  <a:pt x="7646991" y="6746199"/>
                </a:moveTo>
                <a:cubicBezTo>
                  <a:pt x="7651250" y="6746199"/>
                  <a:pt x="7655111" y="6746998"/>
                  <a:pt x="7658705" y="6748595"/>
                </a:cubicBezTo>
                <a:cubicBezTo>
                  <a:pt x="7662432" y="6750192"/>
                  <a:pt x="7665493" y="6752323"/>
                  <a:pt x="7668022" y="6754985"/>
                </a:cubicBezTo>
                <a:cubicBezTo>
                  <a:pt x="7670552" y="6757514"/>
                  <a:pt x="7672682" y="6760709"/>
                  <a:pt x="7674146" y="6764303"/>
                </a:cubicBezTo>
                <a:cubicBezTo>
                  <a:pt x="7675610" y="6767897"/>
                  <a:pt x="7676409" y="6771757"/>
                  <a:pt x="7676409" y="6775751"/>
                </a:cubicBezTo>
                <a:cubicBezTo>
                  <a:pt x="7676409" y="6779878"/>
                  <a:pt x="7675610" y="6783871"/>
                  <a:pt x="7674146" y="6787466"/>
                </a:cubicBezTo>
                <a:cubicBezTo>
                  <a:pt x="7672549" y="6791193"/>
                  <a:pt x="7670552" y="6794255"/>
                  <a:pt x="7668022" y="6796917"/>
                </a:cubicBezTo>
                <a:cubicBezTo>
                  <a:pt x="7665361" y="6799580"/>
                  <a:pt x="7662299" y="6801709"/>
                  <a:pt x="7658705" y="6803174"/>
                </a:cubicBezTo>
                <a:cubicBezTo>
                  <a:pt x="7655111" y="6804638"/>
                  <a:pt x="7651250" y="6805437"/>
                  <a:pt x="7646991" y="6805437"/>
                </a:cubicBezTo>
                <a:cubicBezTo>
                  <a:pt x="7638071" y="6805437"/>
                  <a:pt x="7630750" y="6802508"/>
                  <a:pt x="7625158" y="6796917"/>
                </a:cubicBezTo>
                <a:cubicBezTo>
                  <a:pt x="7619568" y="6791327"/>
                  <a:pt x="7616772" y="6784270"/>
                  <a:pt x="7616772" y="6775751"/>
                </a:cubicBezTo>
                <a:cubicBezTo>
                  <a:pt x="7616772" y="6767497"/>
                  <a:pt x="7619568" y="6760443"/>
                  <a:pt x="7625158" y="6754719"/>
                </a:cubicBezTo>
                <a:cubicBezTo>
                  <a:pt x="7630750" y="6749128"/>
                  <a:pt x="7637939" y="6746199"/>
                  <a:pt x="7646991" y="6746199"/>
                </a:cubicBezTo>
                <a:close/>
                <a:moveTo>
                  <a:pt x="7429345" y="6746199"/>
                </a:moveTo>
                <a:cubicBezTo>
                  <a:pt x="7433605" y="6746199"/>
                  <a:pt x="7437466" y="6746998"/>
                  <a:pt x="7441059" y="6748595"/>
                </a:cubicBezTo>
                <a:cubicBezTo>
                  <a:pt x="7444787" y="6750192"/>
                  <a:pt x="7447848" y="6752323"/>
                  <a:pt x="7450377" y="6754985"/>
                </a:cubicBezTo>
                <a:cubicBezTo>
                  <a:pt x="7452907" y="6757514"/>
                  <a:pt x="7455036" y="6760709"/>
                  <a:pt x="7456501" y="6764303"/>
                </a:cubicBezTo>
                <a:cubicBezTo>
                  <a:pt x="7457965" y="6767897"/>
                  <a:pt x="7458764" y="6771757"/>
                  <a:pt x="7458764" y="6775751"/>
                </a:cubicBezTo>
                <a:cubicBezTo>
                  <a:pt x="7458764" y="6779878"/>
                  <a:pt x="7457965" y="6783871"/>
                  <a:pt x="7456501" y="6787466"/>
                </a:cubicBezTo>
                <a:cubicBezTo>
                  <a:pt x="7454904" y="6791193"/>
                  <a:pt x="7452907" y="6794255"/>
                  <a:pt x="7450377" y="6796917"/>
                </a:cubicBezTo>
                <a:cubicBezTo>
                  <a:pt x="7447715" y="6799580"/>
                  <a:pt x="7444654" y="6801709"/>
                  <a:pt x="7441059" y="6803174"/>
                </a:cubicBezTo>
                <a:cubicBezTo>
                  <a:pt x="7437466" y="6804638"/>
                  <a:pt x="7433605" y="6805437"/>
                  <a:pt x="7429345" y="6805437"/>
                </a:cubicBezTo>
                <a:cubicBezTo>
                  <a:pt x="7420426" y="6805437"/>
                  <a:pt x="7413105" y="6802508"/>
                  <a:pt x="7407513" y="6796917"/>
                </a:cubicBezTo>
                <a:cubicBezTo>
                  <a:pt x="7401922" y="6791327"/>
                  <a:pt x="7399127" y="6784270"/>
                  <a:pt x="7399127" y="6775751"/>
                </a:cubicBezTo>
                <a:cubicBezTo>
                  <a:pt x="7399127" y="6767497"/>
                  <a:pt x="7401922" y="6760443"/>
                  <a:pt x="7407513" y="6754719"/>
                </a:cubicBezTo>
                <a:cubicBezTo>
                  <a:pt x="7413105" y="6749128"/>
                  <a:pt x="7420293" y="6746199"/>
                  <a:pt x="7429345" y="6746199"/>
                </a:cubicBezTo>
                <a:close/>
                <a:moveTo>
                  <a:pt x="7211701" y="6746199"/>
                </a:moveTo>
                <a:cubicBezTo>
                  <a:pt x="7215960" y="6746199"/>
                  <a:pt x="7219954" y="6746998"/>
                  <a:pt x="7223415" y="6748595"/>
                </a:cubicBezTo>
                <a:cubicBezTo>
                  <a:pt x="7227142" y="6750192"/>
                  <a:pt x="7230204" y="6752323"/>
                  <a:pt x="7232733" y="6754985"/>
                </a:cubicBezTo>
                <a:cubicBezTo>
                  <a:pt x="7235262" y="6757514"/>
                  <a:pt x="7237392" y="6760709"/>
                  <a:pt x="7238856" y="6764303"/>
                </a:cubicBezTo>
                <a:cubicBezTo>
                  <a:pt x="7240321" y="6767897"/>
                  <a:pt x="7241120" y="6771757"/>
                  <a:pt x="7241120" y="6775751"/>
                </a:cubicBezTo>
                <a:cubicBezTo>
                  <a:pt x="7241120" y="6779878"/>
                  <a:pt x="7240321" y="6783871"/>
                  <a:pt x="7238856" y="6787466"/>
                </a:cubicBezTo>
                <a:cubicBezTo>
                  <a:pt x="7237259" y="6791193"/>
                  <a:pt x="7235262" y="6794255"/>
                  <a:pt x="7232733" y="6796917"/>
                </a:cubicBezTo>
                <a:cubicBezTo>
                  <a:pt x="7230071" y="6799580"/>
                  <a:pt x="7227009" y="6801709"/>
                  <a:pt x="7223415" y="6803174"/>
                </a:cubicBezTo>
                <a:cubicBezTo>
                  <a:pt x="7219821" y="6804638"/>
                  <a:pt x="7215960" y="6805437"/>
                  <a:pt x="7211701" y="6805437"/>
                </a:cubicBezTo>
                <a:cubicBezTo>
                  <a:pt x="7202782" y="6805437"/>
                  <a:pt x="7195460" y="6802508"/>
                  <a:pt x="7189868" y="6796917"/>
                </a:cubicBezTo>
                <a:cubicBezTo>
                  <a:pt x="7184278" y="6791327"/>
                  <a:pt x="7181482" y="6784270"/>
                  <a:pt x="7181482" y="6775751"/>
                </a:cubicBezTo>
                <a:cubicBezTo>
                  <a:pt x="7181482" y="6767497"/>
                  <a:pt x="7184278" y="6760443"/>
                  <a:pt x="7189868" y="6754719"/>
                </a:cubicBezTo>
                <a:cubicBezTo>
                  <a:pt x="7195460" y="6749128"/>
                  <a:pt x="7202649" y="6746199"/>
                  <a:pt x="7211701" y="6746199"/>
                </a:cubicBezTo>
                <a:close/>
                <a:moveTo>
                  <a:pt x="6994056" y="6746199"/>
                </a:moveTo>
                <a:cubicBezTo>
                  <a:pt x="6998315" y="6746199"/>
                  <a:pt x="7002309" y="6746998"/>
                  <a:pt x="7005769" y="6748595"/>
                </a:cubicBezTo>
                <a:cubicBezTo>
                  <a:pt x="7009497" y="6750192"/>
                  <a:pt x="7012558" y="6752323"/>
                  <a:pt x="7015087" y="6754985"/>
                </a:cubicBezTo>
                <a:cubicBezTo>
                  <a:pt x="7017617" y="6757514"/>
                  <a:pt x="7019747" y="6760709"/>
                  <a:pt x="7021211" y="6764303"/>
                </a:cubicBezTo>
                <a:cubicBezTo>
                  <a:pt x="7022675" y="6767897"/>
                  <a:pt x="7023474" y="6771757"/>
                  <a:pt x="7023474" y="6775751"/>
                </a:cubicBezTo>
                <a:cubicBezTo>
                  <a:pt x="7023474" y="6779878"/>
                  <a:pt x="7022675" y="6783871"/>
                  <a:pt x="7021211" y="6787466"/>
                </a:cubicBezTo>
                <a:cubicBezTo>
                  <a:pt x="7019614" y="6791193"/>
                  <a:pt x="7017617" y="6794255"/>
                  <a:pt x="7015087" y="6796917"/>
                </a:cubicBezTo>
                <a:cubicBezTo>
                  <a:pt x="7012425" y="6799580"/>
                  <a:pt x="7009364" y="6801709"/>
                  <a:pt x="7005769" y="6803174"/>
                </a:cubicBezTo>
                <a:cubicBezTo>
                  <a:pt x="7002176" y="6804638"/>
                  <a:pt x="6998315" y="6805437"/>
                  <a:pt x="6994056" y="6805437"/>
                </a:cubicBezTo>
                <a:cubicBezTo>
                  <a:pt x="6985136" y="6805437"/>
                  <a:pt x="6977815" y="6802508"/>
                  <a:pt x="6972223" y="6796917"/>
                </a:cubicBezTo>
                <a:cubicBezTo>
                  <a:pt x="6966632" y="6791327"/>
                  <a:pt x="6963837" y="6784270"/>
                  <a:pt x="6963837" y="6775751"/>
                </a:cubicBezTo>
                <a:cubicBezTo>
                  <a:pt x="6963837" y="6767497"/>
                  <a:pt x="6966632" y="6760443"/>
                  <a:pt x="6972223" y="6754719"/>
                </a:cubicBezTo>
                <a:cubicBezTo>
                  <a:pt x="6977815" y="6749128"/>
                  <a:pt x="6985003" y="6746199"/>
                  <a:pt x="6994056" y="6746199"/>
                </a:cubicBezTo>
                <a:close/>
                <a:moveTo>
                  <a:pt x="6776544" y="6746199"/>
                </a:moveTo>
                <a:cubicBezTo>
                  <a:pt x="6780670" y="6746199"/>
                  <a:pt x="6784664" y="6746998"/>
                  <a:pt x="6788258" y="6748595"/>
                </a:cubicBezTo>
                <a:cubicBezTo>
                  <a:pt x="6791985" y="6750192"/>
                  <a:pt x="6795047" y="6752323"/>
                  <a:pt x="6797576" y="6754985"/>
                </a:cubicBezTo>
                <a:cubicBezTo>
                  <a:pt x="6800105" y="6757514"/>
                  <a:pt x="6802235" y="6760709"/>
                  <a:pt x="6803699" y="6764303"/>
                </a:cubicBezTo>
                <a:cubicBezTo>
                  <a:pt x="6805164" y="6767897"/>
                  <a:pt x="6805963" y="6771757"/>
                  <a:pt x="6805963" y="6775751"/>
                </a:cubicBezTo>
                <a:cubicBezTo>
                  <a:pt x="6805963" y="6779878"/>
                  <a:pt x="6805164" y="6783871"/>
                  <a:pt x="6803699" y="6787466"/>
                </a:cubicBezTo>
                <a:cubicBezTo>
                  <a:pt x="6802102" y="6791193"/>
                  <a:pt x="6800105" y="6794255"/>
                  <a:pt x="6797576" y="6796917"/>
                </a:cubicBezTo>
                <a:cubicBezTo>
                  <a:pt x="6794914" y="6799580"/>
                  <a:pt x="6791852" y="6801709"/>
                  <a:pt x="6788258" y="6803174"/>
                </a:cubicBezTo>
                <a:cubicBezTo>
                  <a:pt x="6784664" y="6804638"/>
                  <a:pt x="6780803" y="6805437"/>
                  <a:pt x="6776544" y="6805437"/>
                </a:cubicBezTo>
                <a:cubicBezTo>
                  <a:pt x="6767625" y="6805437"/>
                  <a:pt x="6760303" y="6802508"/>
                  <a:pt x="6754711" y="6796917"/>
                </a:cubicBezTo>
                <a:cubicBezTo>
                  <a:pt x="6749121" y="6791327"/>
                  <a:pt x="6746325" y="6784270"/>
                  <a:pt x="6746325" y="6775751"/>
                </a:cubicBezTo>
                <a:cubicBezTo>
                  <a:pt x="6746325" y="6767497"/>
                  <a:pt x="6749121" y="6760443"/>
                  <a:pt x="6754711" y="6754719"/>
                </a:cubicBezTo>
                <a:cubicBezTo>
                  <a:pt x="6760303" y="6749128"/>
                  <a:pt x="6767492" y="6746199"/>
                  <a:pt x="6776544" y="6746199"/>
                </a:cubicBezTo>
                <a:close/>
                <a:moveTo>
                  <a:pt x="6558899" y="6746199"/>
                </a:moveTo>
                <a:cubicBezTo>
                  <a:pt x="6563158" y="6746199"/>
                  <a:pt x="6567019" y="6746998"/>
                  <a:pt x="6570612" y="6748595"/>
                </a:cubicBezTo>
                <a:cubicBezTo>
                  <a:pt x="6574340" y="6750192"/>
                  <a:pt x="6577401" y="6752323"/>
                  <a:pt x="6579930" y="6754985"/>
                </a:cubicBezTo>
                <a:cubicBezTo>
                  <a:pt x="6582460" y="6757514"/>
                  <a:pt x="6584590" y="6760709"/>
                  <a:pt x="6586054" y="6764303"/>
                </a:cubicBezTo>
                <a:cubicBezTo>
                  <a:pt x="6587518" y="6767897"/>
                  <a:pt x="6588317" y="6771757"/>
                  <a:pt x="6588317" y="6775751"/>
                </a:cubicBezTo>
                <a:cubicBezTo>
                  <a:pt x="6588317" y="6779878"/>
                  <a:pt x="6587518" y="6783871"/>
                  <a:pt x="6586054" y="6787466"/>
                </a:cubicBezTo>
                <a:cubicBezTo>
                  <a:pt x="6584457" y="6791193"/>
                  <a:pt x="6582460" y="6794255"/>
                  <a:pt x="6579930" y="6796917"/>
                </a:cubicBezTo>
                <a:cubicBezTo>
                  <a:pt x="6577268" y="6799580"/>
                  <a:pt x="6574207" y="6801709"/>
                  <a:pt x="6570612" y="6803174"/>
                </a:cubicBezTo>
                <a:cubicBezTo>
                  <a:pt x="6567019" y="6804638"/>
                  <a:pt x="6563158" y="6805437"/>
                  <a:pt x="6558899" y="6805437"/>
                </a:cubicBezTo>
                <a:cubicBezTo>
                  <a:pt x="6549979" y="6805437"/>
                  <a:pt x="6542658" y="6802508"/>
                  <a:pt x="6537066" y="6796917"/>
                </a:cubicBezTo>
                <a:cubicBezTo>
                  <a:pt x="6531476" y="6791327"/>
                  <a:pt x="6528680" y="6784270"/>
                  <a:pt x="6528680" y="6775751"/>
                </a:cubicBezTo>
                <a:cubicBezTo>
                  <a:pt x="6528680" y="6767497"/>
                  <a:pt x="6531476" y="6760443"/>
                  <a:pt x="6537066" y="6754719"/>
                </a:cubicBezTo>
                <a:cubicBezTo>
                  <a:pt x="6542658" y="6749128"/>
                  <a:pt x="6549846" y="6746199"/>
                  <a:pt x="6558899" y="6746199"/>
                </a:cubicBezTo>
                <a:close/>
                <a:moveTo>
                  <a:pt x="6341253" y="6746199"/>
                </a:moveTo>
                <a:cubicBezTo>
                  <a:pt x="6345513" y="6746199"/>
                  <a:pt x="6349373" y="6746998"/>
                  <a:pt x="6352968" y="6748595"/>
                </a:cubicBezTo>
                <a:cubicBezTo>
                  <a:pt x="6356695" y="6750192"/>
                  <a:pt x="6359757" y="6752323"/>
                  <a:pt x="6362286" y="6754985"/>
                </a:cubicBezTo>
                <a:cubicBezTo>
                  <a:pt x="6364815" y="6757514"/>
                  <a:pt x="6366945" y="6760709"/>
                  <a:pt x="6368409" y="6764303"/>
                </a:cubicBezTo>
                <a:cubicBezTo>
                  <a:pt x="6369874" y="6767897"/>
                  <a:pt x="6370672" y="6771757"/>
                  <a:pt x="6370672" y="6775751"/>
                </a:cubicBezTo>
                <a:cubicBezTo>
                  <a:pt x="6370672" y="6779878"/>
                  <a:pt x="6369874" y="6783871"/>
                  <a:pt x="6368409" y="6787466"/>
                </a:cubicBezTo>
                <a:cubicBezTo>
                  <a:pt x="6366811" y="6791193"/>
                  <a:pt x="6364815" y="6794255"/>
                  <a:pt x="6362286" y="6796917"/>
                </a:cubicBezTo>
                <a:cubicBezTo>
                  <a:pt x="6359623" y="6799580"/>
                  <a:pt x="6356562" y="6801709"/>
                  <a:pt x="6352968" y="6803174"/>
                </a:cubicBezTo>
                <a:cubicBezTo>
                  <a:pt x="6349373" y="6804638"/>
                  <a:pt x="6345513" y="6805437"/>
                  <a:pt x="6341253" y="6805437"/>
                </a:cubicBezTo>
                <a:cubicBezTo>
                  <a:pt x="6332335" y="6805437"/>
                  <a:pt x="6325013" y="6802508"/>
                  <a:pt x="6319421" y="6796917"/>
                </a:cubicBezTo>
                <a:cubicBezTo>
                  <a:pt x="6313830" y="6791327"/>
                  <a:pt x="6311035" y="6784270"/>
                  <a:pt x="6311035" y="6775751"/>
                </a:cubicBezTo>
                <a:cubicBezTo>
                  <a:pt x="6311035" y="6767497"/>
                  <a:pt x="6313830" y="6760443"/>
                  <a:pt x="6319421" y="6754719"/>
                </a:cubicBezTo>
                <a:cubicBezTo>
                  <a:pt x="6325013" y="6749128"/>
                  <a:pt x="6332201" y="6746199"/>
                  <a:pt x="6341253" y="6746199"/>
                </a:cubicBezTo>
                <a:close/>
                <a:moveTo>
                  <a:pt x="6123608" y="6746199"/>
                </a:moveTo>
                <a:cubicBezTo>
                  <a:pt x="6127867" y="6746199"/>
                  <a:pt x="6131728" y="6746998"/>
                  <a:pt x="6135322" y="6748595"/>
                </a:cubicBezTo>
                <a:cubicBezTo>
                  <a:pt x="6139049" y="6750192"/>
                  <a:pt x="6142111" y="6752323"/>
                  <a:pt x="6144640" y="6754985"/>
                </a:cubicBezTo>
                <a:cubicBezTo>
                  <a:pt x="6147169" y="6757514"/>
                  <a:pt x="6149299" y="6760709"/>
                  <a:pt x="6150763" y="6764303"/>
                </a:cubicBezTo>
                <a:cubicBezTo>
                  <a:pt x="6152228" y="6767897"/>
                  <a:pt x="6153026" y="6771757"/>
                  <a:pt x="6153026" y="6775751"/>
                </a:cubicBezTo>
                <a:cubicBezTo>
                  <a:pt x="6153026" y="6779878"/>
                  <a:pt x="6152228" y="6783871"/>
                  <a:pt x="6150763" y="6787466"/>
                </a:cubicBezTo>
                <a:cubicBezTo>
                  <a:pt x="6149299" y="6791193"/>
                  <a:pt x="6147169" y="6794255"/>
                  <a:pt x="6144640" y="6796917"/>
                </a:cubicBezTo>
                <a:cubicBezTo>
                  <a:pt x="6141977" y="6799580"/>
                  <a:pt x="6138916" y="6801709"/>
                  <a:pt x="6135322" y="6803174"/>
                </a:cubicBezTo>
                <a:cubicBezTo>
                  <a:pt x="6131728" y="6804638"/>
                  <a:pt x="6127867" y="6805437"/>
                  <a:pt x="6123608" y="6805437"/>
                </a:cubicBezTo>
                <a:cubicBezTo>
                  <a:pt x="6114689" y="6805437"/>
                  <a:pt x="6107367" y="6802508"/>
                  <a:pt x="6101775" y="6796917"/>
                </a:cubicBezTo>
                <a:cubicBezTo>
                  <a:pt x="6096184" y="6791327"/>
                  <a:pt x="6093389" y="6784270"/>
                  <a:pt x="6093389" y="6775751"/>
                </a:cubicBezTo>
                <a:cubicBezTo>
                  <a:pt x="6093389" y="6767497"/>
                  <a:pt x="6096184" y="6760443"/>
                  <a:pt x="6101775" y="6754719"/>
                </a:cubicBezTo>
                <a:cubicBezTo>
                  <a:pt x="6107367" y="6749128"/>
                  <a:pt x="6114555" y="6746199"/>
                  <a:pt x="6123608" y="6746199"/>
                </a:cubicBezTo>
                <a:close/>
                <a:moveTo>
                  <a:pt x="5905963" y="6746199"/>
                </a:moveTo>
                <a:cubicBezTo>
                  <a:pt x="5910222" y="6746199"/>
                  <a:pt x="5914216" y="6746998"/>
                  <a:pt x="5917677" y="6748595"/>
                </a:cubicBezTo>
                <a:cubicBezTo>
                  <a:pt x="5921404" y="6750192"/>
                  <a:pt x="5924466" y="6752323"/>
                  <a:pt x="5926995" y="6754985"/>
                </a:cubicBezTo>
                <a:cubicBezTo>
                  <a:pt x="5929524" y="6757514"/>
                  <a:pt x="5931654" y="6760709"/>
                  <a:pt x="5933118" y="6764303"/>
                </a:cubicBezTo>
                <a:cubicBezTo>
                  <a:pt x="5934583" y="6767897"/>
                  <a:pt x="5935381" y="6771757"/>
                  <a:pt x="5935381" y="6775751"/>
                </a:cubicBezTo>
                <a:cubicBezTo>
                  <a:pt x="5935381" y="6779878"/>
                  <a:pt x="5934583" y="6783871"/>
                  <a:pt x="5933118" y="6787466"/>
                </a:cubicBezTo>
                <a:cubicBezTo>
                  <a:pt x="5931654" y="6791193"/>
                  <a:pt x="5929524" y="6794255"/>
                  <a:pt x="5926995" y="6796917"/>
                </a:cubicBezTo>
                <a:cubicBezTo>
                  <a:pt x="5924333" y="6799580"/>
                  <a:pt x="5921271" y="6801709"/>
                  <a:pt x="5917677" y="6803174"/>
                </a:cubicBezTo>
                <a:cubicBezTo>
                  <a:pt x="5914083" y="6804638"/>
                  <a:pt x="5910222" y="6805437"/>
                  <a:pt x="5905963" y="6805437"/>
                </a:cubicBezTo>
                <a:cubicBezTo>
                  <a:pt x="5897044" y="6805437"/>
                  <a:pt x="5889722" y="6802508"/>
                  <a:pt x="5884130" y="6796917"/>
                </a:cubicBezTo>
                <a:cubicBezTo>
                  <a:pt x="5878540" y="6791327"/>
                  <a:pt x="5875744" y="6784270"/>
                  <a:pt x="5875744" y="6775751"/>
                </a:cubicBezTo>
                <a:cubicBezTo>
                  <a:pt x="5875744" y="6767497"/>
                  <a:pt x="5878540" y="6760443"/>
                  <a:pt x="5884130" y="6754719"/>
                </a:cubicBezTo>
                <a:cubicBezTo>
                  <a:pt x="5889722" y="6749128"/>
                  <a:pt x="5896910" y="6746199"/>
                  <a:pt x="5905963" y="6746199"/>
                </a:cubicBezTo>
                <a:close/>
                <a:moveTo>
                  <a:pt x="5688451" y="6746199"/>
                </a:moveTo>
                <a:cubicBezTo>
                  <a:pt x="5692577" y="6746199"/>
                  <a:pt x="5696571" y="6746998"/>
                  <a:pt x="5700165" y="6748595"/>
                </a:cubicBezTo>
                <a:cubicBezTo>
                  <a:pt x="5703892" y="6750192"/>
                  <a:pt x="5706954" y="6752323"/>
                  <a:pt x="5709483" y="6754985"/>
                </a:cubicBezTo>
                <a:cubicBezTo>
                  <a:pt x="5712012" y="6757514"/>
                  <a:pt x="5714142" y="6760709"/>
                  <a:pt x="5715606" y="6764303"/>
                </a:cubicBezTo>
                <a:cubicBezTo>
                  <a:pt x="5717071" y="6767897"/>
                  <a:pt x="5717869" y="6771757"/>
                  <a:pt x="5717869" y="6775751"/>
                </a:cubicBezTo>
                <a:cubicBezTo>
                  <a:pt x="5717869" y="6779878"/>
                  <a:pt x="5717071" y="6783871"/>
                  <a:pt x="5715606" y="6787466"/>
                </a:cubicBezTo>
                <a:cubicBezTo>
                  <a:pt x="5714142" y="6791193"/>
                  <a:pt x="5712012" y="6794255"/>
                  <a:pt x="5709483" y="6796917"/>
                </a:cubicBezTo>
                <a:cubicBezTo>
                  <a:pt x="5706820" y="6799580"/>
                  <a:pt x="5703759" y="6801709"/>
                  <a:pt x="5700165" y="6803174"/>
                </a:cubicBezTo>
                <a:cubicBezTo>
                  <a:pt x="5696571" y="6804638"/>
                  <a:pt x="5692710" y="6805437"/>
                  <a:pt x="5688451" y="6805437"/>
                </a:cubicBezTo>
                <a:cubicBezTo>
                  <a:pt x="5679532" y="6805437"/>
                  <a:pt x="5672210" y="6802508"/>
                  <a:pt x="5666618" y="6796917"/>
                </a:cubicBezTo>
                <a:cubicBezTo>
                  <a:pt x="5661028" y="6791327"/>
                  <a:pt x="5658232" y="6784270"/>
                  <a:pt x="5658232" y="6775751"/>
                </a:cubicBezTo>
                <a:cubicBezTo>
                  <a:pt x="5658232" y="6767497"/>
                  <a:pt x="5661028" y="6760443"/>
                  <a:pt x="5666618" y="6754719"/>
                </a:cubicBezTo>
                <a:cubicBezTo>
                  <a:pt x="5672210" y="6749128"/>
                  <a:pt x="5679398" y="6746199"/>
                  <a:pt x="5688451" y="6746199"/>
                </a:cubicBezTo>
                <a:close/>
                <a:moveTo>
                  <a:pt x="5470806" y="6746199"/>
                </a:moveTo>
                <a:cubicBezTo>
                  <a:pt x="5475065" y="6746199"/>
                  <a:pt x="5478926" y="6746998"/>
                  <a:pt x="5482520" y="6748595"/>
                </a:cubicBezTo>
                <a:cubicBezTo>
                  <a:pt x="5486247" y="6750192"/>
                  <a:pt x="5489309" y="6752323"/>
                  <a:pt x="5491838" y="6754985"/>
                </a:cubicBezTo>
                <a:cubicBezTo>
                  <a:pt x="5494367" y="6757514"/>
                  <a:pt x="5496497" y="6760709"/>
                  <a:pt x="5497961" y="6764303"/>
                </a:cubicBezTo>
                <a:cubicBezTo>
                  <a:pt x="5499426" y="6767897"/>
                  <a:pt x="5500224" y="6771757"/>
                  <a:pt x="5500224" y="6775751"/>
                </a:cubicBezTo>
                <a:cubicBezTo>
                  <a:pt x="5500224" y="6779878"/>
                  <a:pt x="5499426" y="6783871"/>
                  <a:pt x="5497961" y="6787466"/>
                </a:cubicBezTo>
                <a:cubicBezTo>
                  <a:pt x="5496497" y="6791193"/>
                  <a:pt x="5494367" y="6794255"/>
                  <a:pt x="5491838" y="6796917"/>
                </a:cubicBezTo>
                <a:cubicBezTo>
                  <a:pt x="5489176" y="6799580"/>
                  <a:pt x="5486114" y="6801709"/>
                  <a:pt x="5482520" y="6803174"/>
                </a:cubicBezTo>
                <a:cubicBezTo>
                  <a:pt x="5478926" y="6804638"/>
                  <a:pt x="5475065" y="6805437"/>
                  <a:pt x="5470806" y="6805437"/>
                </a:cubicBezTo>
                <a:cubicBezTo>
                  <a:pt x="5461887" y="6805437"/>
                  <a:pt x="5454565" y="6802508"/>
                  <a:pt x="5448973" y="6796917"/>
                </a:cubicBezTo>
                <a:cubicBezTo>
                  <a:pt x="5443383" y="6791327"/>
                  <a:pt x="5440587" y="6784270"/>
                  <a:pt x="5440587" y="6775751"/>
                </a:cubicBezTo>
                <a:cubicBezTo>
                  <a:pt x="5440587" y="6767497"/>
                  <a:pt x="5443383" y="6760443"/>
                  <a:pt x="5448973" y="6754719"/>
                </a:cubicBezTo>
                <a:cubicBezTo>
                  <a:pt x="5454565" y="6749128"/>
                  <a:pt x="5461754" y="6746199"/>
                  <a:pt x="5470806" y="6746199"/>
                </a:cubicBezTo>
                <a:close/>
                <a:moveTo>
                  <a:pt x="5253160" y="6746199"/>
                </a:moveTo>
                <a:cubicBezTo>
                  <a:pt x="5257420" y="6746199"/>
                  <a:pt x="5261280" y="6746998"/>
                  <a:pt x="5264875" y="6748595"/>
                </a:cubicBezTo>
                <a:cubicBezTo>
                  <a:pt x="5268602" y="6750192"/>
                  <a:pt x="5271664" y="6752323"/>
                  <a:pt x="5274192" y="6754985"/>
                </a:cubicBezTo>
                <a:cubicBezTo>
                  <a:pt x="5276722" y="6757514"/>
                  <a:pt x="5278852" y="6760709"/>
                  <a:pt x="5280316" y="6764303"/>
                </a:cubicBezTo>
                <a:cubicBezTo>
                  <a:pt x="5281780" y="6767897"/>
                  <a:pt x="5282579" y="6771757"/>
                  <a:pt x="5282579" y="6775751"/>
                </a:cubicBezTo>
                <a:cubicBezTo>
                  <a:pt x="5282579" y="6779878"/>
                  <a:pt x="5281780" y="6783871"/>
                  <a:pt x="5280316" y="6787466"/>
                </a:cubicBezTo>
                <a:cubicBezTo>
                  <a:pt x="5278852" y="6791193"/>
                  <a:pt x="5276722" y="6794255"/>
                  <a:pt x="5274192" y="6796917"/>
                </a:cubicBezTo>
                <a:cubicBezTo>
                  <a:pt x="5271664" y="6799580"/>
                  <a:pt x="5268469" y="6801709"/>
                  <a:pt x="5264875" y="6803174"/>
                </a:cubicBezTo>
                <a:cubicBezTo>
                  <a:pt x="5261280" y="6804638"/>
                  <a:pt x="5257420" y="6805437"/>
                  <a:pt x="5253160" y="6805437"/>
                </a:cubicBezTo>
                <a:cubicBezTo>
                  <a:pt x="5244241" y="6805437"/>
                  <a:pt x="5236920" y="6802508"/>
                  <a:pt x="5231328" y="6796917"/>
                </a:cubicBezTo>
                <a:cubicBezTo>
                  <a:pt x="5225737" y="6791327"/>
                  <a:pt x="5222942" y="6784270"/>
                  <a:pt x="5222942" y="6775751"/>
                </a:cubicBezTo>
                <a:cubicBezTo>
                  <a:pt x="5222942" y="6767497"/>
                  <a:pt x="5225737" y="6760443"/>
                  <a:pt x="5231328" y="6754719"/>
                </a:cubicBezTo>
                <a:cubicBezTo>
                  <a:pt x="5236920" y="6749128"/>
                  <a:pt x="5244108" y="6746199"/>
                  <a:pt x="5253160" y="6746199"/>
                </a:cubicBezTo>
                <a:close/>
                <a:moveTo>
                  <a:pt x="5035515" y="6746199"/>
                </a:moveTo>
                <a:cubicBezTo>
                  <a:pt x="5039775" y="6746199"/>
                  <a:pt x="5043636" y="6746998"/>
                  <a:pt x="5047230" y="6748595"/>
                </a:cubicBezTo>
                <a:cubicBezTo>
                  <a:pt x="5050957" y="6750192"/>
                  <a:pt x="5054019" y="6752323"/>
                  <a:pt x="5056548" y="6754985"/>
                </a:cubicBezTo>
                <a:cubicBezTo>
                  <a:pt x="5059077" y="6757514"/>
                  <a:pt x="5061207" y="6760709"/>
                  <a:pt x="5062671" y="6764303"/>
                </a:cubicBezTo>
                <a:cubicBezTo>
                  <a:pt x="5064135" y="6767897"/>
                  <a:pt x="5064934" y="6771757"/>
                  <a:pt x="5064934" y="6775751"/>
                </a:cubicBezTo>
                <a:cubicBezTo>
                  <a:pt x="5064934" y="6779878"/>
                  <a:pt x="5064135" y="6783871"/>
                  <a:pt x="5062671" y="6787466"/>
                </a:cubicBezTo>
                <a:cubicBezTo>
                  <a:pt x="5061207" y="6791193"/>
                  <a:pt x="5059077" y="6794255"/>
                  <a:pt x="5056548" y="6796917"/>
                </a:cubicBezTo>
                <a:cubicBezTo>
                  <a:pt x="5053885" y="6799580"/>
                  <a:pt x="5050824" y="6801709"/>
                  <a:pt x="5047230" y="6803174"/>
                </a:cubicBezTo>
                <a:cubicBezTo>
                  <a:pt x="5043636" y="6804638"/>
                  <a:pt x="5039775" y="6805437"/>
                  <a:pt x="5035515" y="6805437"/>
                </a:cubicBezTo>
                <a:cubicBezTo>
                  <a:pt x="5026597" y="6805437"/>
                  <a:pt x="5019275" y="6802508"/>
                  <a:pt x="5013683" y="6796917"/>
                </a:cubicBezTo>
                <a:cubicBezTo>
                  <a:pt x="5008092" y="6791327"/>
                  <a:pt x="5005297" y="6784270"/>
                  <a:pt x="5005297" y="6775751"/>
                </a:cubicBezTo>
                <a:cubicBezTo>
                  <a:pt x="5005297" y="6767497"/>
                  <a:pt x="5008092" y="6760443"/>
                  <a:pt x="5013683" y="6754719"/>
                </a:cubicBezTo>
                <a:cubicBezTo>
                  <a:pt x="5019275" y="6749128"/>
                  <a:pt x="5026463" y="6746199"/>
                  <a:pt x="5035515" y="6746199"/>
                </a:cubicBezTo>
                <a:close/>
                <a:moveTo>
                  <a:pt x="4817870" y="6746199"/>
                </a:moveTo>
                <a:cubicBezTo>
                  <a:pt x="4822130" y="6746199"/>
                  <a:pt x="4826124" y="6746998"/>
                  <a:pt x="4829585" y="6748595"/>
                </a:cubicBezTo>
                <a:cubicBezTo>
                  <a:pt x="4833312" y="6750192"/>
                  <a:pt x="4836374" y="6752323"/>
                  <a:pt x="4838903" y="6754985"/>
                </a:cubicBezTo>
                <a:cubicBezTo>
                  <a:pt x="4841432" y="6757514"/>
                  <a:pt x="4843562" y="6760709"/>
                  <a:pt x="4845026" y="6764303"/>
                </a:cubicBezTo>
                <a:cubicBezTo>
                  <a:pt x="4846491" y="6767897"/>
                  <a:pt x="4847289" y="6771757"/>
                  <a:pt x="4847289" y="6775751"/>
                </a:cubicBezTo>
                <a:cubicBezTo>
                  <a:pt x="4847289" y="6779878"/>
                  <a:pt x="4846491" y="6783871"/>
                  <a:pt x="4845026" y="6787466"/>
                </a:cubicBezTo>
                <a:cubicBezTo>
                  <a:pt x="4843562" y="6791193"/>
                  <a:pt x="4841432" y="6794255"/>
                  <a:pt x="4838903" y="6796917"/>
                </a:cubicBezTo>
                <a:cubicBezTo>
                  <a:pt x="4836240" y="6799580"/>
                  <a:pt x="4833179" y="6801709"/>
                  <a:pt x="4829585" y="6803174"/>
                </a:cubicBezTo>
                <a:cubicBezTo>
                  <a:pt x="4825991" y="6804638"/>
                  <a:pt x="4822130" y="6805437"/>
                  <a:pt x="4817870" y="6805437"/>
                </a:cubicBezTo>
                <a:cubicBezTo>
                  <a:pt x="4808952" y="6805437"/>
                  <a:pt x="4801630" y="6802508"/>
                  <a:pt x="4796038" y="6796917"/>
                </a:cubicBezTo>
                <a:cubicBezTo>
                  <a:pt x="4790447" y="6791327"/>
                  <a:pt x="4787652" y="6784270"/>
                  <a:pt x="4787652" y="6775751"/>
                </a:cubicBezTo>
                <a:cubicBezTo>
                  <a:pt x="4787652" y="6767497"/>
                  <a:pt x="4790447" y="6760443"/>
                  <a:pt x="4796038" y="6754719"/>
                </a:cubicBezTo>
                <a:cubicBezTo>
                  <a:pt x="4801630" y="6749128"/>
                  <a:pt x="4808818" y="6746199"/>
                  <a:pt x="4817870" y="6746199"/>
                </a:cubicBezTo>
                <a:close/>
                <a:moveTo>
                  <a:pt x="4600226" y="6746199"/>
                </a:moveTo>
                <a:cubicBezTo>
                  <a:pt x="4604485" y="6746199"/>
                  <a:pt x="4608479" y="6746998"/>
                  <a:pt x="4612073" y="6748595"/>
                </a:cubicBezTo>
                <a:cubicBezTo>
                  <a:pt x="4615800" y="6750192"/>
                  <a:pt x="4618862" y="6752323"/>
                  <a:pt x="4621391" y="6754985"/>
                </a:cubicBezTo>
                <a:cubicBezTo>
                  <a:pt x="4623920" y="6757514"/>
                  <a:pt x="4626050" y="6760709"/>
                  <a:pt x="4627514" y="6764303"/>
                </a:cubicBezTo>
                <a:cubicBezTo>
                  <a:pt x="4628978" y="6767897"/>
                  <a:pt x="4629777" y="6771757"/>
                  <a:pt x="4629777" y="6775751"/>
                </a:cubicBezTo>
                <a:cubicBezTo>
                  <a:pt x="4629777" y="6779878"/>
                  <a:pt x="4628978" y="6783871"/>
                  <a:pt x="4627514" y="6787466"/>
                </a:cubicBezTo>
                <a:cubicBezTo>
                  <a:pt x="4626050" y="6791193"/>
                  <a:pt x="4623920" y="6794255"/>
                  <a:pt x="4621391" y="6796917"/>
                </a:cubicBezTo>
                <a:cubicBezTo>
                  <a:pt x="4618729" y="6799580"/>
                  <a:pt x="4615667" y="6801709"/>
                  <a:pt x="4612073" y="6803174"/>
                </a:cubicBezTo>
                <a:cubicBezTo>
                  <a:pt x="4608346" y="6804638"/>
                  <a:pt x="4604485" y="6805437"/>
                  <a:pt x="4600226" y="6805437"/>
                </a:cubicBezTo>
                <a:cubicBezTo>
                  <a:pt x="4591173" y="6805437"/>
                  <a:pt x="4583985" y="6802508"/>
                  <a:pt x="4578393" y="6796917"/>
                </a:cubicBezTo>
                <a:cubicBezTo>
                  <a:pt x="4572803" y="6791327"/>
                  <a:pt x="4570007" y="6784270"/>
                  <a:pt x="4570007" y="6775751"/>
                </a:cubicBezTo>
                <a:cubicBezTo>
                  <a:pt x="4570007" y="6767497"/>
                  <a:pt x="4572803" y="6760443"/>
                  <a:pt x="4578393" y="6754719"/>
                </a:cubicBezTo>
                <a:cubicBezTo>
                  <a:pt x="4583985" y="6749128"/>
                  <a:pt x="4591173" y="6746199"/>
                  <a:pt x="4600226" y="6746199"/>
                </a:cubicBezTo>
                <a:close/>
                <a:moveTo>
                  <a:pt x="4382713" y="6746199"/>
                </a:moveTo>
                <a:cubicBezTo>
                  <a:pt x="4386840" y="6746199"/>
                  <a:pt x="4390834" y="6746998"/>
                  <a:pt x="4394428" y="6748595"/>
                </a:cubicBezTo>
                <a:cubicBezTo>
                  <a:pt x="4398155" y="6750192"/>
                  <a:pt x="4401217" y="6752323"/>
                  <a:pt x="4403746" y="6754985"/>
                </a:cubicBezTo>
                <a:cubicBezTo>
                  <a:pt x="4406275" y="6757514"/>
                  <a:pt x="4408405" y="6760709"/>
                  <a:pt x="4409869" y="6764303"/>
                </a:cubicBezTo>
                <a:cubicBezTo>
                  <a:pt x="4411334" y="6767897"/>
                  <a:pt x="4412132" y="6771757"/>
                  <a:pt x="4412132" y="6775751"/>
                </a:cubicBezTo>
                <a:cubicBezTo>
                  <a:pt x="4412132" y="6779878"/>
                  <a:pt x="4411334" y="6783871"/>
                  <a:pt x="4409869" y="6787466"/>
                </a:cubicBezTo>
                <a:cubicBezTo>
                  <a:pt x="4408405" y="6791193"/>
                  <a:pt x="4406275" y="6794255"/>
                  <a:pt x="4403746" y="6796917"/>
                </a:cubicBezTo>
                <a:cubicBezTo>
                  <a:pt x="4401083" y="6799580"/>
                  <a:pt x="4398022" y="6801709"/>
                  <a:pt x="4394428" y="6803174"/>
                </a:cubicBezTo>
                <a:cubicBezTo>
                  <a:pt x="4390834" y="6804638"/>
                  <a:pt x="4386973" y="6805437"/>
                  <a:pt x="4382713" y="6805437"/>
                </a:cubicBezTo>
                <a:cubicBezTo>
                  <a:pt x="4373661" y="6805437"/>
                  <a:pt x="4366473" y="6802508"/>
                  <a:pt x="4360881" y="6796917"/>
                </a:cubicBezTo>
                <a:cubicBezTo>
                  <a:pt x="4355290" y="6791327"/>
                  <a:pt x="4352495" y="6784270"/>
                  <a:pt x="4352495" y="6775751"/>
                </a:cubicBezTo>
                <a:cubicBezTo>
                  <a:pt x="4352495" y="6767497"/>
                  <a:pt x="4355290" y="6760443"/>
                  <a:pt x="4360881" y="6754719"/>
                </a:cubicBezTo>
                <a:cubicBezTo>
                  <a:pt x="4366473" y="6749128"/>
                  <a:pt x="4373661" y="6746199"/>
                  <a:pt x="4382713" y="6746199"/>
                </a:cubicBezTo>
                <a:close/>
                <a:moveTo>
                  <a:pt x="4165068" y="6746199"/>
                </a:moveTo>
                <a:cubicBezTo>
                  <a:pt x="4169327" y="6746199"/>
                  <a:pt x="4173188" y="6746998"/>
                  <a:pt x="4176782" y="6748595"/>
                </a:cubicBezTo>
                <a:cubicBezTo>
                  <a:pt x="4180509" y="6750192"/>
                  <a:pt x="4183571" y="6752323"/>
                  <a:pt x="4186100" y="6754985"/>
                </a:cubicBezTo>
                <a:cubicBezTo>
                  <a:pt x="4188629" y="6757514"/>
                  <a:pt x="4190759" y="6760709"/>
                  <a:pt x="4192223" y="6764303"/>
                </a:cubicBezTo>
                <a:cubicBezTo>
                  <a:pt x="4193688" y="6767897"/>
                  <a:pt x="4194486" y="6771757"/>
                  <a:pt x="4194486" y="6775751"/>
                </a:cubicBezTo>
                <a:cubicBezTo>
                  <a:pt x="4194486" y="6779878"/>
                  <a:pt x="4193688" y="6783871"/>
                  <a:pt x="4192223" y="6787466"/>
                </a:cubicBezTo>
                <a:cubicBezTo>
                  <a:pt x="4190759" y="6791193"/>
                  <a:pt x="4188629" y="6794255"/>
                  <a:pt x="4186100" y="6796917"/>
                </a:cubicBezTo>
                <a:cubicBezTo>
                  <a:pt x="4183438" y="6799580"/>
                  <a:pt x="4180376" y="6801709"/>
                  <a:pt x="4176782" y="6803174"/>
                </a:cubicBezTo>
                <a:cubicBezTo>
                  <a:pt x="4173188" y="6804638"/>
                  <a:pt x="4169327" y="6805437"/>
                  <a:pt x="4165068" y="6805437"/>
                </a:cubicBezTo>
                <a:cubicBezTo>
                  <a:pt x="4156015" y="6805437"/>
                  <a:pt x="4148827" y="6802508"/>
                  <a:pt x="4143235" y="6796917"/>
                </a:cubicBezTo>
                <a:cubicBezTo>
                  <a:pt x="4137645" y="6791327"/>
                  <a:pt x="4134849" y="6784270"/>
                  <a:pt x="4134849" y="6775751"/>
                </a:cubicBezTo>
                <a:cubicBezTo>
                  <a:pt x="4134849" y="6767497"/>
                  <a:pt x="4137645" y="6760443"/>
                  <a:pt x="4143235" y="6754719"/>
                </a:cubicBezTo>
                <a:cubicBezTo>
                  <a:pt x="4148827" y="6749128"/>
                  <a:pt x="4156015" y="6746199"/>
                  <a:pt x="4165068" y="6746199"/>
                </a:cubicBezTo>
                <a:close/>
                <a:moveTo>
                  <a:pt x="3947790" y="6746199"/>
                </a:moveTo>
                <a:cubicBezTo>
                  <a:pt x="3952053" y="6746199"/>
                  <a:pt x="3955914" y="6746998"/>
                  <a:pt x="3959510" y="6748595"/>
                </a:cubicBezTo>
                <a:cubicBezTo>
                  <a:pt x="3963238" y="6750192"/>
                  <a:pt x="3966299" y="6752323"/>
                  <a:pt x="3968828" y="6754985"/>
                </a:cubicBezTo>
                <a:cubicBezTo>
                  <a:pt x="3971358" y="6757514"/>
                  <a:pt x="3973488" y="6760709"/>
                  <a:pt x="3974952" y="6764303"/>
                </a:cubicBezTo>
                <a:cubicBezTo>
                  <a:pt x="3976416" y="6767897"/>
                  <a:pt x="3977215" y="6771757"/>
                  <a:pt x="3977215" y="6775751"/>
                </a:cubicBezTo>
                <a:cubicBezTo>
                  <a:pt x="3977215" y="6779878"/>
                  <a:pt x="3976416" y="6783871"/>
                  <a:pt x="3974952" y="6787466"/>
                </a:cubicBezTo>
                <a:cubicBezTo>
                  <a:pt x="3973488" y="6791193"/>
                  <a:pt x="3971358" y="6794255"/>
                  <a:pt x="3968828" y="6796917"/>
                </a:cubicBezTo>
                <a:cubicBezTo>
                  <a:pt x="3966166" y="6799580"/>
                  <a:pt x="3963105" y="6801709"/>
                  <a:pt x="3959510" y="6803174"/>
                </a:cubicBezTo>
                <a:cubicBezTo>
                  <a:pt x="3955914" y="6804638"/>
                  <a:pt x="3952053" y="6805437"/>
                  <a:pt x="3947790" y="6805437"/>
                </a:cubicBezTo>
                <a:cubicBezTo>
                  <a:pt x="3938738" y="6805437"/>
                  <a:pt x="3931550" y="6802508"/>
                  <a:pt x="3925958" y="6796917"/>
                </a:cubicBezTo>
                <a:cubicBezTo>
                  <a:pt x="3920367" y="6791327"/>
                  <a:pt x="3917572" y="6784270"/>
                  <a:pt x="3917572" y="6775751"/>
                </a:cubicBezTo>
                <a:cubicBezTo>
                  <a:pt x="3917572" y="6767497"/>
                  <a:pt x="3920367" y="6760443"/>
                  <a:pt x="3925958" y="6754719"/>
                </a:cubicBezTo>
                <a:cubicBezTo>
                  <a:pt x="3931550" y="6749128"/>
                  <a:pt x="3938738" y="6746199"/>
                  <a:pt x="3947790" y="6746199"/>
                </a:cubicBezTo>
                <a:close/>
                <a:moveTo>
                  <a:pt x="3730129" y="6746199"/>
                </a:moveTo>
                <a:cubicBezTo>
                  <a:pt x="3734390" y="6746199"/>
                  <a:pt x="3738383" y="6746998"/>
                  <a:pt x="3741845" y="6748595"/>
                </a:cubicBezTo>
                <a:cubicBezTo>
                  <a:pt x="3745439" y="6750192"/>
                  <a:pt x="3748635" y="6752323"/>
                  <a:pt x="3751164" y="6754985"/>
                </a:cubicBezTo>
                <a:cubicBezTo>
                  <a:pt x="3753693" y="6757514"/>
                  <a:pt x="3755822" y="6760709"/>
                  <a:pt x="3757286" y="6764303"/>
                </a:cubicBezTo>
                <a:cubicBezTo>
                  <a:pt x="3758750" y="6767897"/>
                  <a:pt x="3759549" y="6771757"/>
                  <a:pt x="3759549" y="6775751"/>
                </a:cubicBezTo>
                <a:cubicBezTo>
                  <a:pt x="3759549" y="6779878"/>
                  <a:pt x="3758750" y="6783871"/>
                  <a:pt x="3757286" y="6787466"/>
                </a:cubicBezTo>
                <a:cubicBezTo>
                  <a:pt x="3755822" y="6791193"/>
                  <a:pt x="3753693" y="6794255"/>
                  <a:pt x="3751164" y="6796917"/>
                </a:cubicBezTo>
                <a:cubicBezTo>
                  <a:pt x="3748501" y="6799580"/>
                  <a:pt x="3745439" y="6801709"/>
                  <a:pt x="3741845" y="6803174"/>
                </a:cubicBezTo>
                <a:cubicBezTo>
                  <a:pt x="3738251" y="6804638"/>
                  <a:pt x="3734390" y="6805437"/>
                  <a:pt x="3730129" y="6805437"/>
                </a:cubicBezTo>
                <a:cubicBezTo>
                  <a:pt x="3721078" y="6805437"/>
                  <a:pt x="3713887" y="6802508"/>
                  <a:pt x="3708287" y="6796917"/>
                </a:cubicBezTo>
                <a:cubicBezTo>
                  <a:pt x="3702695" y="6791327"/>
                  <a:pt x="3699901" y="6784270"/>
                  <a:pt x="3699901" y="6775751"/>
                </a:cubicBezTo>
                <a:cubicBezTo>
                  <a:pt x="3699901" y="6767497"/>
                  <a:pt x="3702695" y="6760443"/>
                  <a:pt x="3708287" y="6754719"/>
                </a:cubicBezTo>
                <a:cubicBezTo>
                  <a:pt x="3713887" y="6749128"/>
                  <a:pt x="3721078" y="6746199"/>
                  <a:pt x="3730129" y="6746199"/>
                </a:cubicBezTo>
                <a:close/>
                <a:moveTo>
                  <a:pt x="3512465" y="6746199"/>
                </a:moveTo>
                <a:cubicBezTo>
                  <a:pt x="3516726" y="6746199"/>
                  <a:pt x="3520719" y="6746998"/>
                  <a:pt x="3524181" y="6748595"/>
                </a:cubicBezTo>
                <a:cubicBezTo>
                  <a:pt x="3527775" y="6750192"/>
                  <a:pt x="3530970" y="6752323"/>
                  <a:pt x="3533499" y="6754985"/>
                </a:cubicBezTo>
                <a:cubicBezTo>
                  <a:pt x="3536028" y="6757514"/>
                  <a:pt x="3538158" y="6760709"/>
                  <a:pt x="3539622" y="6764303"/>
                </a:cubicBezTo>
                <a:cubicBezTo>
                  <a:pt x="3541086" y="6767897"/>
                  <a:pt x="3541885" y="6771757"/>
                  <a:pt x="3541885" y="6775751"/>
                </a:cubicBezTo>
                <a:cubicBezTo>
                  <a:pt x="3541885" y="6779878"/>
                  <a:pt x="3541086" y="6783871"/>
                  <a:pt x="3539622" y="6787466"/>
                </a:cubicBezTo>
                <a:cubicBezTo>
                  <a:pt x="3538158" y="6791193"/>
                  <a:pt x="3536028" y="6794255"/>
                  <a:pt x="3533499" y="6796917"/>
                </a:cubicBezTo>
                <a:cubicBezTo>
                  <a:pt x="3530836" y="6799580"/>
                  <a:pt x="3527775" y="6801709"/>
                  <a:pt x="3524181" y="6803174"/>
                </a:cubicBezTo>
                <a:cubicBezTo>
                  <a:pt x="3520587" y="6804638"/>
                  <a:pt x="3516726" y="6805437"/>
                  <a:pt x="3512465" y="6805437"/>
                </a:cubicBezTo>
                <a:cubicBezTo>
                  <a:pt x="3503409" y="6805437"/>
                  <a:pt x="3496218" y="6802508"/>
                  <a:pt x="3490627" y="6796917"/>
                </a:cubicBezTo>
                <a:cubicBezTo>
                  <a:pt x="3485036" y="6791327"/>
                  <a:pt x="3482240" y="6784270"/>
                  <a:pt x="3482240" y="6775751"/>
                </a:cubicBezTo>
                <a:cubicBezTo>
                  <a:pt x="3482240" y="6767497"/>
                  <a:pt x="3485036" y="6760443"/>
                  <a:pt x="3490627" y="6754719"/>
                </a:cubicBezTo>
                <a:cubicBezTo>
                  <a:pt x="3496218" y="6749128"/>
                  <a:pt x="3503409" y="6746199"/>
                  <a:pt x="3512465" y="6746199"/>
                </a:cubicBezTo>
                <a:close/>
                <a:moveTo>
                  <a:pt x="3294933" y="6746199"/>
                </a:moveTo>
                <a:cubicBezTo>
                  <a:pt x="3299061" y="6746199"/>
                  <a:pt x="3303055" y="6746998"/>
                  <a:pt x="3306650" y="6748595"/>
                </a:cubicBezTo>
                <a:cubicBezTo>
                  <a:pt x="3310377" y="6750192"/>
                  <a:pt x="3313439" y="6752323"/>
                  <a:pt x="3315968" y="6754985"/>
                </a:cubicBezTo>
                <a:cubicBezTo>
                  <a:pt x="3318497" y="6757514"/>
                  <a:pt x="3320627" y="6760709"/>
                  <a:pt x="3322091" y="6764303"/>
                </a:cubicBezTo>
                <a:cubicBezTo>
                  <a:pt x="3323555" y="6767897"/>
                  <a:pt x="3324354" y="6771757"/>
                  <a:pt x="3324354" y="6775751"/>
                </a:cubicBezTo>
                <a:cubicBezTo>
                  <a:pt x="3324354" y="6779878"/>
                  <a:pt x="3323555" y="6783871"/>
                  <a:pt x="3322091" y="6787466"/>
                </a:cubicBezTo>
                <a:cubicBezTo>
                  <a:pt x="3320627" y="6791193"/>
                  <a:pt x="3318497" y="6794255"/>
                  <a:pt x="3315968" y="6796917"/>
                </a:cubicBezTo>
                <a:cubicBezTo>
                  <a:pt x="3313305" y="6799580"/>
                  <a:pt x="3310243" y="6801709"/>
                  <a:pt x="3306650" y="6803174"/>
                </a:cubicBezTo>
                <a:cubicBezTo>
                  <a:pt x="3303055" y="6804638"/>
                  <a:pt x="3299194" y="6805437"/>
                  <a:pt x="3294933" y="6805437"/>
                </a:cubicBezTo>
                <a:cubicBezTo>
                  <a:pt x="3285878" y="6805437"/>
                  <a:pt x="3278689" y="6802508"/>
                  <a:pt x="3273095" y="6796917"/>
                </a:cubicBezTo>
                <a:cubicBezTo>
                  <a:pt x="3267501" y="6791327"/>
                  <a:pt x="3264706" y="6784270"/>
                  <a:pt x="3264706" y="6775751"/>
                </a:cubicBezTo>
                <a:cubicBezTo>
                  <a:pt x="3264706" y="6767497"/>
                  <a:pt x="3267501" y="6760443"/>
                  <a:pt x="3273095" y="6754719"/>
                </a:cubicBezTo>
                <a:cubicBezTo>
                  <a:pt x="3278689" y="6749128"/>
                  <a:pt x="3285878" y="6746199"/>
                  <a:pt x="3294933" y="6746199"/>
                </a:cubicBezTo>
                <a:close/>
                <a:moveTo>
                  <a:pt x="3077269" y="6746199"/>
                </a:moveTo>
                <a:cubicBezTo>
                  <a:pt x="3081397" y="6746199"/>
                  <a:pt x="3085391" y="6746998"/>
                  <a:pt x="3088985" y="6748595"/>
                </a:cubicBezTo>
                <a:cubicBezTo>
                  <a:pt x="3092579" y="6750192"/>
                  <a:pt x="3095774" y="6752323"/>
                  <a:pt x="3098303" y="6754985"/>
                </a:cubicBezTo>
                <a:cubicBezTo>
                  <a:pt x="3100832" y="6757514"/>
                  <a:pt x="3102962" y="6760709"/>
                  <a:pt x="3104426" y="6764303"/>
                </a:cubicBezTo>
                <a:cubicBezTo>
                  <a:pt x="3105891" y="6767897"/>
                  <a:pt x="3106689" y="6771757"/>
                  <a:pt x="3106689" y="6775751"/>
                </a:cubicBezTo>
                <a:cubicBezTo>
                  <a:pt x="3106689" y="6779878"/>
                  <a:pt x="3105891" y="6783871"/>
                  <a:pt x="3104426" y="6787466"/>
                </a:cubicBezTo>
                <a:cubicBezTo>
                  <a:pt x="3102962" y="6791193"/>
                  <a:pt x="3100832" y="6794255"/>
                  <a:pt x="3098303" y="6796917"/>
                </a:cubicBezTo>
                <a:cubicBezTo>
                  <a:pt x="3095640" y="6799580"/>
                  <a:pt x="3092579" y="6801709"/>
                  <a:pt x="3088985" y="6803174"/>
                </a:cubicBezTo>
                <a:cubicBezTo>
                  <a:pt x="3085391" y="6804638"/>
                  <a:pt x="3081530" y="6805437"/>
                  <a:pt x="3077269" y="6805437"/>
                </a:cubicBezTo>
                <a:cubicBezTo>
                  <a:pt x="3068349" y="6805437"/>
                  <a:pt x="3061025" y="6802508"/>
                  <a:pt x="3055430" y="6796917"/>
                </a:cubicBezTo>
                <a:cubicBezTo>
                  <a:pt x="3049839" y="6791327"/>
                  <a:pt x="3047043" y="6784270"/>
                  <a:pt x="3047043" y="6775751"/>
                </a:cubicBezTo>
                <a:cubicBezTo>
                  <a:pt x="3047043" y="6767497"/>
                  <a:pt x="3049839" y="6760443"/>
                  <a:pt x="3055430" y="6754719"/>
                </a:cubicBezTo>
                <a:cubicBezTo>
                  <a:pt x="3061025" y="6749128"/>
                  <a:pt x="3068216" y="6746199"/>
                  <a:pt x="3077269" y="6746199"/>
                </a:cubicBezTo>
                <a:close/>
                <a:moveTo>
                  <a:pt x="2859605" y="6746199"/>
                </a:moveTo>
                <a:cubicBezTo>
                  <a:pt x="2863866" y="6746199"/>
                  <a:pt x="2867727" y="6746998"/>
                  <a:pt x="2871454" y="6748595"/>
                </a:cubicBezTo>
                <a:cubicBezTo>
                  <a:pt x="2875181" y="6750192"/>
                  <a:pt x="2878242" y="6752323"/>
                  <a:pt x="2880772" y="6754985"/>
                </a:cubicBezTo>
                <a:cubicBezTo>
                  <a:pt x="2883433" y="6757514"/>
                  <a:pt x="2885431" y="6760709"/>
                  <a:pt x="2886895" y="6764303"/>
                </a:cubicBezTo>
                <a:cubicBezTo>
                  <a:pt x="2888359" y="6767897"/>
                  <a:pt x="2889158" y="6771757"/>
                  <a:pt x="2889158" y="6775751"/>
                </a:cubicBezTo>
                <a:cubicBezTo>
                  <a:pt x="2889158" y="6779878"/>
                  <a:pt x="2888359" y="6783871"/>
                  <a:pt x="2886895" y="6787466"/>
                </a:cubicBezTo>
                <a:cubicBezTo>
                  <a:pt x="2885431" y="6791193"/>
                  <a:pt x="2883301" y="6794255"/>
                  <a:pt x="2880772" y="6796917"/>
                </a:cubicBezTo>
                <a:cubicBezTo>
                  <a:pt x="2878110" y="6799580"/>
                  <a:pt x="2875047" y="6801709"/>
                  <a:pt x="2871454" y="6803174"/>
                </a:cubicBezTo>
                <a:cubicBezTo>
                  <a:pt x="2867727" y="6804638"/>
                  <a:pt x="2863866" y="6805437"/>
                  <a:pt x="2859605" y="6805437"/>
                </a:cubicBezTo>
                <a:cubicBezTo>
                  <a:pt x="2850687" y="6805437"/>
                  <a:pt x="2843359" y="6802508"/>
                  <a:pt x="2837765" y="6796917"/>
                </a:cubicBezTo>
                <a:cubicBezTo>
                  <a:pt x="2832174" y="6791327"/>
                  <a:pt x="2829378" y="6784270"/>
                  <a:pt x="2829378" y="6775751"/>
                </a:cubicBezTo>
                <a:cubicBezTo>
                  <a:pt x="2829378" y="6767497"/>
                  <a:pt x="2832174" y="6760443"/>
                  <a:pt x="2837765" y="6754719"/>
                </a:cubicBezTo>
                <a:cubicBezTo>
                  <a:pt x="2843359" y="6749128"/>
                  <a:pt x="2850553" y="6746199"/>
                  <a:pt x="2859605" y="6746199"/>
                </a:cubicBezTo>
                <a:close/>
                <a:moveTo>
                  <a:pt x="2641941" y="6746199"/>
                </a:moveTo>
                <a:cubicBezTo>
                  <a:pt x="2646201" y="6746199"/>
                  <a:pt x="2650061" y="6746998"/>
                  <a:pt x="2653656" y="6748595"/>
                </a:cubicBezTo>
                <a:cubicBezTo>
                  <a:pt x="2657383" y="6750192"/>
                  <a:pt x="2660445" y="6752323"/>
                  <a:pt x="2662974" y="6754985"/>
                </a:cubicBezTo>
                <a:cubicBezTo>
                  <a:pt x="2665636" y="6757514"/>
                  <a:pt x="2667633" y="6760709"/>
                  <a:pt x="2669097" y="6764303"/>
                </a:cubicBezTo>
                <a:cubicBezTo>
                  <a:pt x="2670561" y="6767897"/>
                  <a:pt x="2671360" y="6771757"/>
                  <a:pt x="2671360" y="6775751"/>
                </a:cubicBezTo>
                <a:cubicBezTo>
                  <a:pt x="2671360" y="6779878"/>
                  <a:pt x="2670561" y="6783871"/>
                  <a:pt x="2669097" y="6787466"/>
                </a:cubicBezTo>
                <a:cubicBezTo>
                  <a:pt x="2667633" y="6791193"/>
                  <a:pt x="2665503" y="6794255"/>
                  <a:pt x="2662974" y="6796917"/>
                </a:cubicBezTo>
                <a:cubicBezTo>
                  <a:pt x="2660445" y="6799580"/>
                  <a:pt x="2657250" y="6801709"/>
                  <a:pt x="2653656" y="6803174"/>
                </a:cubicBezTo>
                <a:cubicBezTo>
                  <a:pt x="2650061" y="6804638"/>
                  <a:pt x="2646201" y="6805437"/>
                  <a:pt x="2641941" y="6805437"/>
                </a:cubicBezTo>
                <a:cubicBezTo>
                  <a:pt x="2633021" y="6805437"/>
                  <a:pt x="2625699" y="6802508"/>
                  <a:pt x="2620106" y="6796917"/>
                </a:cubicBezTo>
                <a:cubicBezTo>
                  <a:pt x="2614515" y="6791327"/>
                  <a:pt x="2611716" y="6784270"/>
                  <a:pt x="2611716" y="6775751"/>
                </a:cubicBezTo>
                <a:cubicBezTo>
                  <a:pt x="2611716" y="6767497"/>
                  <a:pt x="2614515" y="6760443"/>
                  <a:pt x="2620106" y="6754719"/>
                </a:cubicBezTo>
                <a:cubicBezTo>
                  <a:pt x="2625699" y="6749128"/>
                  <a:pt x="2632889" y="6746199"/>
                  <a:pt x="2641941" y="6746199"/>
                </a:cubicBezTo>
                <a:close/>
                <a:moveTo>
                  <a:pt x="2424276" y="6746199"/>
                </a:moveTo>
                <a:cubicBezTo>
                  <a:pt x="2428536" y="6746199"/>
                  <a:pt x="2432531" y="6746998"/>
                  <a:pt x="2435991" y="6748595"/>
                </a:cubicBezTo>
                <a:cubicBezTo>
                  <a:pt x="2439718" y="6750192"/>
                  <a:pt x="2442780" y="6752323"/>
                  <a:pt x="2445309" y="6754985"/>
                </a:cubicBezTo>
                <a:cubicBezTo>
                  <a:pt x="2447972" y="6757514"/>
                  <a:pt x="2449969" y="6760709"/>
                  <a:pt x="2451433" y="6764303"/>
                </a:cubicBezTo>
                <a:cubicBezTo>
                  <a:pt x="2452897" y="6767897"/>
                  <a:pt x="2453696" y="6771757"/>
                  <a:pt x="2453696" y="6775751"/>
                </a:cubicBezTo>
                <a:cubicBezTo>
                  <a:pt x="2453696" y="6779878"/>
                  <a:pt x="2452897" y="6783871"/>
                  <a:pt x="2451433" y="6787466"/>
                </a:cubicBezTo>
                <a:cubicBezTo>
                  <a:pt x="2449969" y="6791193"/>
                  <a:pt x="2447839" y="6794255"/>
                  <a:pt x="2445309" y="6796917"/>
                </a:cubicBezTo>
                <a:cubicBezTo>
                  <a:pt x="2442780" y="6799580"/>
                  <a:pt x="2439586" y="6801709"/>
                  <a:pt x="2435991" y="6803174"/>
                </a:cubicBezTo>
                <a:cubicBezTo>
                  <a:pt x="2432397" y="6804638"/>
                  <a:pt x="2428536" y="6805437"/>
                  <a:pt x="2424276" y="6805437"/>
                </a:cubicBezTo>
                <a:cubicBezTo>
                  <a:pt x="2415358" y="6805437"/>
                  <a:pt x="2408036" y="6802508"/>
                  <a:pt x="2402444" y="6796917"/>
                </a:cubicBezTo>
                <a:cubicBezTo>
                  <a:pt x="2396850" y="6791327"/>
                  <a:pt x="2394054" y="6784270"/>
                  <a:pt x="2394054" y="6775751"/>
                </a:cubicBezTo>
                <a:cubicBezTo>
                  <a:pt x="2394054" y="6767497"/>
                  <a:pt x="2396850" y="6760443"/>
                  <a:pt x="2402444" y="6754719"/>
                </a:cubicBezTo>
                <a:cubicBezTo>
                  <a:pt x="2408036" y="6749128"/>
                  <a:pt x="2415224" y="6746199"/>
                  <a:pt x="2424276" y="6746199"/>
                </a:cubicBezTo>
                <a:close/>
                <a:moveTo>
                  <a:pt x="2206612" y="6746199"/>
                </a:moveTo>
                <a:cubicBezTo>
                  <a:pt x="2210872" y="6746199"/>
                  <a:pt x="2214866" y="6746998"/>
                  <a:pt x="2218327" y="6748595"/>
                </a:cubicBezTo>
                <a:cubicBezTo>
                  <a:pt x="2222054" y="6750192"/>
                  <a:pt x="2225115" y="6752323"/>
                  <a:pt x="2227645" y="6754985"/>
                </a:cubicBezTo>
                <a:cubicBezTo>
                  <a:pt x="2230307" y="6757514"/>
                  <a:pt x="2232304" y="6760709"/>
                  <a:pt x="2233768" y="6764303"/>
                </a:cubicBezTo>
                <a:cubicBezTo>
                  <a:pt x="2235232" y="6767897"/>
                  <a:pt x="2236031" y="6771757"/>
                  <a:pt x="2236031" y="6775751"/>
                </a:cubicBezTo>
                <a:cubicBezTo>
                  <a:pt x="2236031" y="6779878"/>
                  <a:pt x="2235232" y="6783871"/>
                  <a:pt x="2233768" y="6787466"/>
                </a:cubicBezTo>
                <a:cubicBezTo>
                  <a:pt x="2232304" y="6791193"/>
                  <a:pt x="2230174" y="6794255"/>
                  <a:pt x="2227645" y="6796917"/>
                </a:cubicBezTo>
                <a:cubicBezTo>
                  <a:pt x="2225115" y="6799580"/>
                  <a:pt x="2221921" y="6801709"/>
                  <a:pt x="2218327" y="6803174"/>
                </a:cubicBezTo>
                <a:cubicBezTo>
                  <a:pt x="2214732" y="6804638"/>
                  <a:pt x="2210872" y="6805437"/>
                  <a:pt x="2206612" y="6805437"/>
                </a:cubicBezTo>
                <a:cubicBezTo>
                  <a:pt x="2197559" y="6805437"/>
                  <a:pt x="2190371" y="6802508"/>
                  <a:pt x="2184779" y="6796917"/>
                </a:cubicBezTo>
                <a:cubicBezTo>
                  <a:pt x="2179186" y="6791327"/>
                  <a:pt x="2176390" y="6784270"/>
                  <a:pt x="2176390" y="6775751"/>
                </a:cubicBezTo>
                <a:cubicBezTo>
                  <a:pt x="2176390" y="6767497"/>
                  <a:pt x="2179186" y="6760443"/>
                  <a:pt x="2184779" y="6754719"/>
                </a:cubicBezTo>
                <a:cubicBezTo>
                  <a:pt x="2190371" y="6749128"/>
                  <a:pt x="2197559" y="6746199"/>
                  <a:pt x="2206612" y="6746199"/>
                </a:cubicBezTo>
                <a:close/>
                <a:moveTo>
                  <a:pt x="1989080" y="6746199"/>
                </a:moveTo>
                <a:cubicBezTo>
                  <a:pt x="1993207" y="6746199"/>
                  <a:pt x="1997201" y="6746998"/>
                  <a:pt x="2000795" y="6748595"/>
                </a:cubicBezTo>
                <a:cubicBezTo>
                  <a:pt x="2004522" y="6750192"/>
                  <a:pt x="2007584" y="6752323"/>
                  <a:pt x="2010113" y="6754985"/>
                </a:cubicBezTo>
                <a:cubicBezTo>
                  <a:pt x="2012775" y="6757514"/>
                  <a:pt x="2014773" y="6760709"/>
                  <a:pt x="2016237" y="6764303"/>
                </a:cubicBezTo>
                <a:cubicBezTo>
                  <a:pt x="2017701" y="6767897"/>
                  <a:pt x="2018500" y="6771757"/>
                  <a:pt x="2018500" y="6775751"/>
                </a:cubicBezTo>
                <a:cubicBezTo>
                  <a:pt x="2018500" y="6779878"/>
                  <a:pt x="2017701" y="6783871"/>
                  <a:pt x="2016237" y="6787466"/>
                </a:cubicBezTo>
                <a:cubicBezTo>
                  <a:pt x="2014773" y="6791193"/>
                  <a:pt x="2012643" y="6794255"/>
                  <a:pt x="2010113" y="6796917"/>
                </a:cubicBezTo>
                <a:cubicBezTo>
                  <a:pt x="2007584" y="6799580"/>
                  <a:pt x="2004389" y="6801709"/>
                  <a:pt x="2000795" y="6803174"/>
                </a:cubicBezTo>
                <a:cubicBezTo>
                  <a:pt x="1997201" y="6804638"/>
                  <a:pt x="1993340" y="6805437"/>
                  <a:pt x="1989080" y="6805437"/>
                </a:cubicBezTo>
                <a:cubicBezTo>
                  <a:pt x="1980029" y="6805437"/>
                  <a:pt x="1972840" y="6802508"/>
                  <a:pt x="1967249" y="6796917"/>
                </a:cubicBezTo>
                <a:cubicBezTo>
                  <a:pt x="1961658" y="6791327"/>
                  <a:pt x="1958863" y="6784270"/>
                  <a:pt x="1958863" y="6775751"/>
                </a:cubicBezTo>
                <a:cubicBezTo>
                  <a:pt x="1958863" y="6767497"/>
                  <a:pt x="1961658" y="6760443"/>
                  <a:pt x="1967249" y="6754719"/>
                </a:cubicBezTo>
                <a:cubicBezTo>
                  <a:pt x="1972840" y="6749128"/>
                  <a:pt x="1980029" y="6746199"/>
                  <a:pt x="1989080" y="6746199"/>
                </a:cubicBezTo>
                <a:close/>
                <a:moveTo>
                  <a:pt x="1771449" y="6746199"/>
                </a:moveTo>
                <a:cubicBezTo>
                  <a:pt x="1775708" y="6746199"/>
                  <a:pt x="1779567" y="6746998"/>
                  <a:pt x="1783162" y="6748595"/>
                </a:cubicBezTo>
                <a:cubicBezTo>
                  <a:pt x="1786889" y="6750192"/>
                  <a:pt x="1789951" y="6752323"/>
                  <a:pt x="1792480" y="6754985"/>
                </a:cubicBezTo>
                <a:cubicBezTo>
                  <a:pt x="1795142" y="6757514"/>
                  <a:pt x="1797139" y="6760709"/>
                  <a:pt x="1798603" y="6764303"/>
                </a:cubicBezTo>
                <a:cubicBezTo>
                  <a:pt x="1800067" y="6767897"/>
                  <a:pt x="1800865" y="6771757"/>
                  <a:pt x="1800865" y="6775751"/>
                </a:cubicBezTo>
                <a:cubicBezTo>
                  <a:pt x="1800865" y="6779878"/>
                  <a:pt x="1800067" y="6783871"/>
                  <a:pt x="1798603" y="6787466"/>
                </a:cubicBezTo>
                <a:cubicBezTo>
                  <a:pt x="1797139" y="6791193"/>
                  <a:pt x="1795010" y="6794255"/>
                  <a:pt x="1792480" y="6796917"/>
                </a:cubicBezTo>
                <a:cubicBezTo>
                  <a:pt x="1789817" y="6799580"/>
                  <a:pt x="1786757" y="6801709"/>
                  <a:pt x="1783162" y="6803174"/>
                </a:cubicBezTo>
                <a:cubicBezTo>
                  <a:pt x="1779567" y="6804638"/>
                  <a:pt x="1775708" y="6805437"/>
                  <a:pt x="1771449" y="6805437"/>
                </a:cubicBezTo>
                <a:cubicBezTo>
                  <a:pt x="1762530" y="6805437"/>
                  <a:pt x="1755210" y="6802508"/>
                  <a:pt x="1749620" y="6796917"/>
                </a:cubicBezTo>
                <a:cubicBezTo>
                  <a:pt x="1744030" y="6791327"/>
                  <a:pt x="1741237" y="6784270"/>
                  <a:pt x="1741237" y="6775751"/>
                </a:cubicBezTo>
                <a:cubicBezTo>
                  <a:pt x="1741237" y="6767497"/>
                  <a:pt x="1744030" y="6760443"/>
                  <a:pt x="1749620" y="6754719"/>
                </a:cubicBezTo>
                <a:cubicBezTo>
                  <a:pt x="1755210" y="6749128"/>
                  <a:pt x="1762397" y="6746199"/>
                  <a:pt x="1771449" y="6746199"/>
                </a:cubicBezTo>
                <a:close/>
                <a:moveTo>
                  <a:pt x="1553813" y="6746199"/>
                </a:moveTo>
                <a:cubicBezTo>
                  <a:pt x="1558073" y="6746199"/>
                  <a:pt x="1561934" y="6746998"/>
                  <a:pt x="1565528" y="6748595"/>
                </a:cubicBezTo>
                <a:cubicBezTo>
                  <a:pt x="1569123" y="6750192"/>
                  <a:pt x="1572317" y="6752323"/>
                  <a:pt x="1574847" y="6754985"/>
                </a:cubicBezTo>
                <a:cubicBezTo>
                  <a:pt x="1577509" y="6757514"/>
                  <a:pt x="1579506" y="6760709"/>
                  <a:pt x="1580970" y="6764303"/>
                </a:cubicBezTo>
                <a:cubicBezTo>
                  <a:pt x="1582434" y="6767897"/>
                  <a:pt x="1583233" y="6771757"/>
                  <a:pt x="1583233" y="6775751"/>
                </a:cubicBezTo>
                <a:cubicBezTo>
                  <a:pt x="1583233" y="6779878"/>
                  <a:pt x="1582434" y="6783871"/>
                  <a:pt x="1580970" y="6787466"/>
                </a:cubicBezTo>
                <a:cubicBezTo>
                  <a:pt x="1579506" y="6791193"/>
                  <a:pt x="1577375" y="6794255"/>
                  <a:pt x="1574847" y="6796917"/>
                </a:cubicBezTo>
                <a:cubicBezTo>
                  <a:pt x="1572184" y="6799580"/>
                  <a:pt x="1569123" y="6801709"/>
                  <a:pt x="1565528" y="6803174"/>
                </a:cubicBezTo>
                <a:cubicBezTo>
                  <a:pt x="1561934" y="6804638"/>
                  <a:pt x="1558073" y="6805437"/>
                  <a:pt x="1553813" y="6805437"/>
                </a:cubicBezTo>
                <a:cubicBezTo>
                  <a:pt x="1544895" y="6805437"/>
                  <a:pt x="1537574" y="6802508"/>
                  <a:pt x="1531985" y="6796917"/>
                </a:cubicBezTo>
                <a:cubicBezTo>
                  <a:pt x="1526396" y="6791327"/>
                  <a:pt x="1523599" y="6784270"/>
                  <a:pt x="1523599" y="6775751"/>
                </a:cubicBezTo>
                <a:cubicBezTo>
                  <a:pt x="1523599" y="6767497"/>
                  <a:pt x="1526396" y="6760443"/>
                  <a:pt x="1531985" y="6754719"/>
                </a:cubicBezTo>
                <a:cubicBezTo>
                  <a:pt x="1537574" y="6749128"/>
                  <a:pt x="1544761" y="6746199"/>
                  <a:pt x="1553813" y="6746199"/>
                </a:cubicBezTo>
                <a:close/>
                <a:moveTo>
                  <a:pt x="1336171" y="6746199"/>
                </a:moveTo>
                <a:cubicBezTo>
                  <a:pt x="1340429" y="6746199"/>
                  <a:pt x="1344426" y="6746998"/>
                  <a:pt x="1347886" y="6748595"/>
                </a:cubicBezTo>
                <a:cubicBezTo>
                  <a:pt x="1351479" y="6750192"/>
                  <a:pt x="1354674" y="6752323"/>
                  <a:pt x="1357204" y="6754985"/>
                </a:cubicBezTo>
                <a:cubicBezTo>
                  <a:pt x="1359866" y="6757514"/>
                  <a:pt x="1361863" y="6760709"/>
                  <a:pt x="1363327" y="6764303"/>
                </a:cubicBezTo>
                <a:cubicBezTo>
                  <a:pt x="1364791" y="6767897"/>
                  <a:pt x="1365589" y="6771757"/>
                  <a:pt x="1365589" y="6775751"/>
                </a:cubicBezTo>
                <a:cubicBezTo>
                  <a:pt x="1365589" y="6779878"/>
                  <a:pt x="1364791" y="6783871"/>
                  <a:pt x="1363327" y="6787466"/>
                </a:cubicBezTo>
                <a:cubicBezTo>
                  <a:pt x="1361863" y="6791193"/>
                  <a:pt x="1359733" y="6794255"/>
                  <a:pt x="1357204" y="6796917"/>
                </a:cubicBezTo>
                <a:cubicBezTo>
                  <a:pt x="1354541" y="6799580"/>
                  <a:pt x="1351479" y="6801709"/>
                  <a:pt x="1347886" y="6803174"/>
                </a:cubicBezTo>
                <a:cubicBezTo>
                  <a:pt x="1344292" y="6804638"/>
                  <a:pt x="1340429" y="6805437"/>
                  <a:pt x="1336171" y="6805437"/>
                </a:cubicBezTo>
                <a:cubicBezTo>
                  <a:pt x="1327250" y="6805437"/>
                  <a:pt x="1319929" y="6802508"/>
                  <a:pt x="1314337" y="6796917"/>
                </a:cubicBezTo>
                <a:cubicBezTo>
                  <a:pt x="1308748" y="6791327"/>
                  <a:pt x="1305952" y="6784270"/>
                  <a:pt x="1305952" y="6775751"/>
                </a:cubicBezTo>
                <a:cubicBezTo>
                  <a:pt x="1305952" y="6767497"/>
                  <a:pt x="1308748" y="6760443"/>
                  <a:pt x="1314337" y="6754719"/>
                </a:cubicBezTo>
                <a:cubicBezTo>
                  <a:pt x="1319929" y="6749128"/>
                  <a:pt x="1327117" y="6746199"/>
                  <a:pt x="1336171" y="6746199"/>
                </a:cubicBezTo>
                <a:close/>
                <a:moveTo>
                  <a:pt x="1118525" y="6746199"/>
                </a:moveTo>
                <a:cubicBezTo>
                  <a:pt x="1122786" y="6746199"/>
                  <a:pt x="1126783" y="6746998"/>
                  <a:pt x="1130244" y="6748595"/>
                </a:cubicBezTo>
                <a:cubicBezTo>
                  <a:pt x="1133970" y="6750192"/>
                  <a:pt x="1137032" y="6752323"/>
                  <a:pt x="1139558" y="6754985"/>
                </a:cubicBezTo>
                <a:cubicBezTo>
                  <a:pt x="1142218" y="6757514"/>
                  <a:pt x="1144214" y="6760709"/>
                  <a:pt x="1145677" y="6764303"/>
                </a:cubicBezTo>
                <a:cubicBezTo>
                  <a:pt x="1147142" y="6767897"/>
                  <a:pt x="1147940" y="6771757"/>
                  <a:pt x="1147940" y="6775751"/>
                </a:cubicBezTo>
                <a:cubicBezTo>
                  <a:pt x="1147940" y="6779878"/>
                  <a:pt x="1147142" y="6783871"/>
                  <a:pt x="1145677" y="6787466"/>
                </a:cubicBezTo>
                <a:cubicBezTo>
                  <a:pt x="1144214" y="6791193"/>
                  <a:pt x="1142086" y="6794255"/>
                  <a:pt x="1139558" y="6796917"/>
                </a:cubicBezTo>
                <a:cubicBezTo>
                  <a:pt x="1137032" y="6799580"/>
                  <a:pt x="1133837" y="6801709"/>
                  <a:pt x="1130244" y="6803174"/>
                </a:cubicBezTo>
                <a:cubicBezTo>
                  <a:pt x="1126648" y="6804638"/>
                  <a:pt x="1122786" y="6805437"/>
                  <a:pt x="1118525" y="6805437"/>
                </a:cubicBezTo>
                <a:cubicBezTo>
                  <a:pt x="1109604" y="6805437"/>
                  <a:pt x="1102280" y="6802508"/>
                  <a:pt x="1096689" y="6796917"/>
                </a:cubicBezTo>
                <a:cubicBezTo>
                  <a:pt x="1091099" y="6791327"/>
                  <a:pt x="1088305" y="6784270"/>
                  <a:pt x="1088305" y="6775751"/>
                </a:cubicBezTo>
                <a:cubicBezTo>
                  <a:pt x="1088305" y="6767497"/>
                  <a:pt x="1091099" y="6760443"/>
                  <a:pt x="1096689" y="6754719"/>
                </a:cubicBezTo>
                <a:cubicBezTo>
                  <a:pt x="1102280" y="6749128"/>
                  <a:pt x="1109470" y="6746199"/>
                  <a:pt x="1118525" y="6746199"/>
                </a:cubicBezTo>
                <a:close/>
                <a:moveTo>
                  <a:pt x="901012" y="6746199"/>
                </a:moveTo>
                <a:cubicBezTo>
                  <a:pt x="905138" y="6746199"/>
                  <a:pt x="909133" y="6746998"/>
                  <a:pt x="912727" y="6748595"/>
                </a:cubicBezTo>
                <a:cubicBezTo>
                  <a:pt x="916454" y="6750192"/>
                  <a:pt x="919516" y="6752323"/>
                  <a:pt x="922045" y="6754985"/>
                </a:cubicBezTo>
                <a:cubicBezTo>
                  <a:pt x="924707" y="6757514"/>
                  <a:pt x="926704" y="6760709"/>
                  <a:pt x="928167" y="6764303"/>
                </a:cubicBezTo>
                <a:cubicBezTo>
                  <a:pt x="929632" y="6767897"/>
                  <a:pt x="930430" y="6771757"/>
                  <a:pt x="930430" y="6775751"/>
                </a:cubicBezTo>
                <a:cubicBezTo>
                  <a:pt x="930430" y="6779878"/>
                  <a:pt x="929632" y="6783871"/>
                  <a:pt x="928167" y="6787466"/>
                </a:cubicBezTo>
                <a:cubicBezTo>
                  <a:pt x="926704" y="6791193"/>
                  <a:pt x="924574" y="6794255"/>
                  <a:pt x="922045" y="6796917"/>
                </a:cubicBezTo>
                <a:cubicBezTo>
                  <a:pt x="919516" y="6799580"/>
                  <a:pt x="916321" y="6801709"/>
                  <a:pt x="912727" y="6803174"/>
                </a:cubicBezTo>
                <a:cubicBezTo>
                  <a:pt x="909133" y="6804638"/>
                  <a:pt x="905271" y="6805437"/>
                  <a:pt x="901012" y="6805437"/>
                </a:cubicBezTo>
                <a:cubicBezTo>
                  <a:pt x="892093" y="6805437"/>
                  <a:pt x="884771" y="6802508"/>
                  <a:pt x="879181" y="6796917"/>
                </a:cubicBezTo>
                <a:cubicBezTo>
                  <a:pt x="873592" y="6791327"/>
                  <a:pt x="870796" y="6784270"/>
                  <a:pt x="870796" y="6775751"/>
                </a:cubicBezTo>
                <a:cubicBezTo>
                  <a:pt x="870796" y="6767497"/>
                  <a:pt x="873592" y="6760443"/>
                  <a:pt x="879181" y="6754719"/>
                </a:cubicBezTo>
                <a:cubicBezTo>
                  <a:pt x="884771" y="6749128"/>
                  <a:pt x="891960" y="6746199"/>
                  <a:pt x="901012" y="6746199"/>
                </a:cubicBezTo>
                <a:close/>
                <a:moveTo>
                  <a:pt x="683372" y="6746199"/>
                </a:moveTo>
                <a:cubicBezTo>
                  <a:pt x="687633" y="6746199"/>
                  <a:pt x="691494" y="6746998"/>
                  <a:pt x="695088" y="6748595"/>
                </a:cubicBezTo>
                <a:cubicBezTo>
                  <a:pt x="698815" y="6750192"/>
                  <a:pt x="701876" y="6752323"/>
                  <a:pt x="704404" y="6754985"/>
                </a:cubicBezTo>
                <a:cubicBezTo>
                  <a:pt x="707066" y="6757514"/>
                  <a:pt x="709064" y="6760709"/>
                  <a:pt x="710527" y="6764303"/>
                </a:cubicBezTo>
                <a:cubicBezTo>
                  <a:pt x="711991" y="6767897"/>
                  <a:pt x="712791" y="6771757"/>
                  <a:pt x="712791" y="6775751"/>
                </a:cubicBezTo>
                <a:cubicBezTo>
                  <a:pt x="712791" y="6779878"/>
                  <a:pt x="711991" y="6783871"/>
                  <a:pt x="710527" y="6787466"/>
                </a:cubicBezTo>
                <a:cubicBezTo>
                  <a:pt x="709064" y="6791193"/>
                  <a:pt x="706934" y="6794255"/>
                  <a:pt x="704404" y="6796917"/>
                </a:cubicBezTo>
                <a:cubicBezTo>
                  <a:pt x="701876" y="6799580"/>
                  <a:pt x="698682" y="6801709"/>
                  <a:pt x="695088" y="6803174"/>
                </a:cubicBezTo>
                <a:cubicBezTo>
                  <a:pt x="691494" y="6804638"/>
                  <a:pt x="687633" y="6805437"/>
                  <a:pt x="683372" y="6805437"/>
                </a:cubicBezTo>
                <a:cubicBezTo>
                  <a:pt x="674454" y="6805437"/>
                  <a:pt x="667132" y="6802508"/>
                  <a:pt x="661541" y="6796917"/>
                </a:cubicBezTo>
                <a:cubicBezTo>
                  <a:pt x="655950" y="6791327"/>
                  <a:pt x="653155" y="6784270"/>
                  <a:pt x="653155" y="6775751"/>
                </a:cubicBezTo>
                <a:cubicBezTo>
                  <a:pt x="653155" y="6767497"/>
                  <a:pt x="655950" y="6760443"/>
                  <a:pt x="661541" y="6754719"/>
                </a:cubicBezTo>
                <a:cubicBezTo>
                  <a:pt x="667132" y="6749128"/>
                  <a:pt x="674321" y="6746199"/>
                  <a:pt x="683372" y="6746199"/>
                </a:cubicBezTo>
                <a:close/>
                <a:moveTo>
                  <a:pt x="465732" y="6746199"/>
                </a:moveTo>
                <a:cubicBezTo>
                  <a:pt x="469992" y="6746199"/>
                  <a:pt x="473852" y="6746998"/>
                  <a:pt x="477447" y="6748595"/>
                </a:cubicBezTo>
                <a:cubicBezTo>
                  <a:pt x="481174" y="6750192"/>
                  <a:pt x="484235" y="6752323"/>
                  <a:pt x="486765" y="6754985"/>
                </a:cubicBezTo>
                <a:cubicBezTo>
                  <a:pt x="489426" y="6757514"/>
                  <a:pt x="491423" y="6760709"/>
                  <a:pt x="492887" y="6764303"/>
                </a:cubicBezTo>
                <a:cubicBezTo>
                  <a:pt x="494351" y="6767897"/>
                  <a:pt x="495150" y="6771757"/>
                  <a:pt x="495150" y="6775751"/>
                </a:cubicBezTo>
                <a:cubicBezTo>
                  <a:pt x="495150" y="6779878"/>
                  <a:pt x="494351" y="6783871"/>
                  <a:pt x="492887" y="6787466"/>
                </a:cubicBezTo>
                <a:cubicBezTo>
                  <a:pt x="491423" y="6791193"/>
                  <a:pt x="489293" y="6794255"/>
                  <a:pt x="486765" y="6796917"/>
                </a:cubicBezTo>
                <a:cubicBezTo>
                  <a:pt x="484102" y="6799580"/>
                  <a:pt x="481041" y="6801709"/>
                  <a:pt x="477447" y="6803174"/>
                </a:cubicBezTo>
                <a:cubicBezTo>
                  <a:pt x="473852" y="6804638"/>
                  <a:pt x="469992" y="6805437"/>
                  <a:pt x="465732" y="6805437"/>
                </a:cubicBezTo>
                <a:cubicBezTo>
                  <a:pt x="456814" y="6805437"/>
                  <a:pt x="449492" y="6802508"/>
                  <a:pt x="443901" y="6796917"/>
                </a:cubicBezTo>
                <a:cubicBezTo>
                  <a:pt x="438310" y="6791327"/>
                  <a:pt x="435515" y="6784270"/>
                  <a:pt x="435515" y="6775751"/>
                </a:cubicBezTo>
                <a:cubicBezTo>
                  <a:pt x="435515" y="6767497"/>
                  <a:pt x="438310" y="6760443"/>
                  <a:pt x="443901" y="6754719"/>
                </a:cubicBezTo>
                <a:cubicBezTo>
                  <a:pt x="449492" y="6749128"/>
                  <a:pt x="456681" y="6746199"/>
                  <a:pt x="465732" y="6746199"/>
                </a:cubicBezTo>
                <a:close/>
                <a:moveTo>
                  <a:pt x="248091" y="6746199"/>
                </a:moveTo>
                <a:cubicBezTo>
                  <a:pt x="252351" y="6746199"/>
                  <a:pt x="256345" y="6746998"/>
                  <a:pt x="259805" y="6748595"/>
                </a:cubicBezTo>
                <a:cubicBezTo>
                  <a:pt x="263532" y="6750192"/>
                  <a:pt x="266594" y="6752323"/>
                  <a:pt x="269123" y="6754985"/>
                </a:cubicBezTo>
                <a:cubicBezTo>
                  <a:pt x="271785" y="6757514"/>
                  <a:pt x="273782" y="6760709"/>
                  <a:pt x="275246" y="6764303"/>
                </a:cubicBezTo>
                <a:cubicBezTo>
                  <a:pt x="276710" y="6767897"/>
                  <a:pt x="277509" y="6771757"/>
                  <a:pt x="277509" y="6775751"/>
                </a:cubicBezTo>
                <a:cubicBezTo>
                  <a:pt x="277509" y="6779878"/>
                  <a:pt x="276710" y="6783871"/>
                  <a:pt x="275246" y="6787466"/>
                </a:cubicBezTo>
                <a:cubicBezTo>
                  <a:pt x="273782" y="6791193"/>
                  <a:pt x="271652" y="6794255"/>
                  <a:pt x="269123" y="6796917"/>
                </a:cubicBezTo>
                <a:cubicBezTo>
                  <a:pt x="266460" y="6799580"/>
                  <a:pt x="263399" y="6801709"/>
                  <a:pt x="259805" y="6803174"/>
                </a:cubicBezTo>
                <a:cubicBezTo>
                  <a:pt x="256210" y="6804638"/>
                  <a:pt x="252351" y="6805437"/>
                  <a:pt x="248091" y="6805437"/>
                </a:cubicBezTo>
                <a:cubicBezTo>
                  <a:pt x="239174" y="6805437"/>
                  <a:pt x="231853" y="6802508"/>
                  <a:pt x="226262" y="6796917"/>
                </a:cubicBezTo>
                <a:cubicBezTo>
                  <a:pt x="220672" y="6791327"/>
                  <a:pt x="217877" y="6784270"/>
                  <a:pt x="217877" y="6775751"/>
                </a:cubicBezTo>
                <a:cubicBezTo>
                  <a:pt x="217877" y="6767497"/>
                  <a:pt x="220672" y="6760443"/>
                  <a:pt x="226262" y="6754719"/>
                </a:cubicBezTo>
                <a:cubicBezTo>
                  <a:pt x="231853" y="6749128"/>
                  <a:pt x="239040" y="6746199"/>
                  <a:pt x="248091" y="6746199"/>
                </a:cubicBezTo>
                <a:close/>
                <a:moveTo>
                  <a:pt x="30450" y="6746199"/>
                </a:moveTo>
                <a:cubicBezTo>
                  <a:pt x="34710" y="6746199"/>
                  <a:pt x="38704" y="6746998"/>
                  <a:pt x="42165" y="6748595"/>
                </a:cubicBezTo>
                <a:cubicBezTo>
                  <a:pt x="45892" y="6750192"/>
                  <a:pt x="48954" y="6752323"/>
                  <a:pt x="51483" y="6754985"/>
                </a:cubicBezTo>
                <a:cubicBezTo>
                  <a:pt x="54146" y="6757514"/>
                  <a:pt x="56143" y="6760709"/>
                  <a:pt x="57607" y="6764303"/>
                </a:cubicBezTo>
                <a:cubicBezTo>
                  <a:pt x="59071" y="6767897"/>
                  <a:pt x="59870" y="6771757"/>
                  <a:pt x="59870" y="6775751"/>
                </a:cubicBezTo>
                <a:cubicBezTo>
                  <a:pt x="59870" y="6779878"/>
                  <a:pt x="59071" y="6783871"/>
                  <a:pt x="57607" y="6787466"/>
                </a:cubicBezTo>
                <a:cubicBezTo>
                  <a:pt x="56143" y="6791193"/>
                  <a:pt x="54012" y="6794255"/>
                  <a:pt x="51483" y="6796917"/>
                </a:cubicBezTo>
                <a:cubicBezTo>
                  <a:pt x="48820" y="6799580"/>
                  <a:pt x="45759" y="6801709"/>
                  <a:pt x="42165" y="6803174"/>
                </a:cubicBezTo>
                <a:cubicBezTo>
                  <a:pt x="38571" y="6804638"/>
                  <a:pt x="34710" y="6805437"/>
                  <a:pt x="30450" y="6805437"/>
                </a:cubicBezTo>
                <a:cubicBezTo>
                  <a:pt x="21532" y="6805437"/>
                  <a:pt x="14212" y="6802508"/>
                  <a:pt x="8623" y="6796917"/>
                </a:cubicBezTo>
                <a:cubicBezTo>
                  <a:pt x="3032" y="6791327"/>
                  <a:pt x="237" y="6784270"/>
                  <a:pt x="237" y="6775751"/>
                </a:cubicBezTo>
                <a:cubicBezTo>
                  <a:pt x="237" y="6767497"/>
                  <a:pt x="3032" y="6760443"/>
                  <a:pt x="8623" y="6754719"/>
                </a:cubicBezTo>
                <a:cubicBezTo>
                  <a:pt x="14212" y="6749128"/>
                  <a:pt x="21398" y="6746199"/>
                  <a:pt x="30450" y="6746199"/>
                </a:cubicBezTo>
                <a:close/>
                <a:moveTo>
                  <a:pt x="10475977" y="6545327"/>
                </a:moveTo>
                <a:cubicBezTo>
                  <a:pt x="10470119" y="6545327"/>
                  <a:pt x="10467589" y="6547191"/>
                  <a:pt x="10465992" y="6548921"/>
                </a:cubicBezTo>
                <a:cubicBezTo>
                  <a:pt x="10463463" y="6551583"/>
                  <a:pt x="10462399" y="6554379"/>
                  <a:pt x="10462399" y="6558372"/>
                </a:cubicBezTo>
                <a:cubicBezTo>
                  <a:pt x="10462399" y="6562499"/>
                  <a:pt x="10463463" y="6565294"/>
                  <a:pt x="10465992" y="6567823"/>
                </a:cubicBezTo>
                <a:cubicBezTo>
                  <a:pt x="10467589" y="6569422"/>
                  <a:pt x="10470119" y="6571286"/>
                  <a:pt x="10475977" y="6571286"/>
                </a:cubicBezTo>
                <a:cubicBezTo>
                  <a:pt x="10478107" y="6571286"/>
                  <a:pt x="10479838" y="6570886"/>
                  <a:pt x="10481302" y="6570354"/>
                </a:cubicBezTo>
                <a:cubicBezTo>
                  <a:pt x="10482899" y="6569821"/>
                  <a:pt x="10484098" y="6569022"/>
                  <a:pt x="10485029" y="6567957"/>
                </a:cubicBezTo>
                <a:cubicBezTo>
                  <a:pt x="10486094" y="6566759"/>
                  <a:pt x="10487026" y="6565427"/>
                  <a:pt x="10487691" y="6563697"/>
                </a:cubicBezTo>
                <a:cubicBezTo>
                  <a:pt x="10488357" y="6562100"/>
                  <a:pt x="10488623" y="6560236"/>
                  <a:pt x="10488623" y="6558239"/>
                </a:cubicBezTo>
                <a:cubicBezTo>
                  <a:pt x="10488623" y="6556375"/>
                  <a:pt x="10488357" y="6554645"/>
                  <a:pt x="10487691" y="6553047"/>
                </a:cubicBezTo>
                <a:cubicBezTo>
                  <a:pt x="10487026" y="6551450"/>
                  <a:pt x="10486094" y="6550119"/>
                  <a:pt x="10485029" y="6548921"/>
                </a:cubicBezTo>
                <a:cubicBezTo>
                  <a:pt x="10483964" y="6547856"/>
                  <a:pt x="10482633" y="6546924"/>
                  <a:pt x="10481035" y="6546259"/>
                </a:cubicBezTo>
                <a:cubicBezTo>
                  <a:pt x="10479571" y="6545593"/>
                  <a:pt x="10477974" y="6545327"/>
                  <a:pt x="10475977" y="6545327"/>
                </a:cubicBezTo>
                <a:close/>
                <a:moveTo>
                  <a:pt x="10258466" y="6545327"/>
                </a:moveTo>
                <a:cubicBezTo>
                  <a:pt x="10252608" y="6545327"/>
                  <a:pt x="10250078" y="6547191"/>
                  <a:pt x="10248481" y="6548921"/>
                </a:cubicBezTo>
                <a:cubicBezTo>
                  <a:pt x="10245952" y="6551583"/>
                  <a:pt x="10244887" y="6554379"/>
                  <a:pt x="10244887" y="6558372"/>
                </a:cubicBezTo>
                <a:cubicBezTo>
                  <a:pt x="10244887" y="6562499"/>
                  <a:pt x="10245952" y="6565294"/>
                  <a:pt x="10248481" y="6567823"/>
                </a:cubicBezTo>
                <a:cubicBezTo>
                  <a:pt x="10250078" y="6569422"/>
                  <a:pt x="10252608" y="6571286"/>
                  <a:pt x="10258466" y="6571286"/>
                </a:cubicBezTo>
                <a:cubicBezTo>
                  <a:pt x="10260462" y="6571286"/>
                  <a:pt x="10262192" y="6570886"/>
                  <a:pt x="10263790" y="6570354"/>
                </a:cubicBezTo>
                <a:cubicBezTo>
                  <a:pt x="10265388" y="6569821"/>
                  <a:pt x="10266586" y="6569022"/>
                  <a:pt x="10267517" y="6567957"/>
                </a:cubicBezTo>
                <a:cubicBezTo>
                  <a:pt x="10268583" y="6566759"/>
                  <a:pt x="10269515" y="6565427"/>
                  <a:pt x="10270180" y="6563697"/>
                </a:cubicBezTo>
                <a:cubicBezTo>
                  <a:pt x="10270845" y="6562100"/>
                  <a:pt x="10271112" y="6560236"/>
                  <a:pt x="10271112" y="6558239"/>
                </a:cubicBezTo>
                <a:cubicBezTo>
                  <a:pt x="10271112" y="6556375"/>
                  <a:pt x="10270845" y="6554645"/>
                  <a:pt x="10270180" y="6553047"/>
                </a:cubicBezTo>
                <a:cubicBezTo>
                  <a:pt x="10269515" y="6551450"/>
                  <a:pt x="10268583" y="6550119"/>
                  <a:pt x="10267517" y="6548921"/>
                </a:cubicBezTo>
                <a:cubicBezTo>
                  <a:pt x="10266452" y="6547856"/>
                  <a:pt x="10265121" y="6546924"/>
                  <a:pt x="10263524" y="6546259"/>
                </a:cubicBezTo>
                <a:cubicBezTo>
                  <a:pt x="10262060" y="6545593"/>
                  <a:pt x="10260462" y="6545327"/>
                  <a:pt x="10258466" y="6545327"/>
                </a:cubicBezTo>
                <a:close/>
                <a:moveTo>
                  <a:pt x="10040820" y="6545327"/>
                </a:moveTo>
                <a:cubicBezTo>
                  <a:pt x="10034962" y="6545327"/>
                  <a:pt x="10032433" y="6547191"/>
                  <a:pt x="10030835" y="6548921"/>
                </a:cubicBezTo>
                <a:cubicBezTo>
                  <a:pt x="10028306" y="6551583"/>
                  <a:pt x="10027242" y="6554379"/>
                  <a:pt x="10027242" y="6558372"/>
                </a:cubicBezTo>
                <a:cubicBezTo>
                  <a:pt x="10027242" y="6562499"/>
                  <a:pt x="10028306" y="6565294"/>
                  <a:pt x="10030835" y="6567823"/>
                </a:cubicBezTo>
                <a:cubicBezTo>
                  <a:pt x="10032433" y="6569422"/>
                  <a:pt x="10034962" y="6571286"/>
                  <a:pt x="10040820" y="6571286"/>
                </a:cubicBezTo>
                <a:cubicBezTo>
                  <a:pt x="10042817" y="6571286"/>
                  <a:pt x="10044681" y="6570886"/>
                  <a:pt x="10046145" y="6570354"/>
                </a:cubicBezTo>
                <a:cubicBezTo>
                  <a:pt x="10047742" y="6569821"/>
                  <a:pt x="10048941" y="6569022"/>
                  <a:pt x="10049872" y="6567957"/>
                </a:cubicBezTo>
                <a:cubicBezTo>
                  <a:pt x="10050937" y="6566759"/>
                  <a:pt x="10051869" y="6565427"/>
                  <a:pt x="10052534" y="6563697"/>
                </a:cubicBezTo>
                <a:cubicBezTo>
                  <a:pt x="10053333" y="6562100"/>
                  <a:pt x="10053599" y="6560236"/>
                  <a:pt x="10053599" y="6558239"/>
                </a:cubicBezTo>
                <a:cubicBezTo>
                  <a:pt x="10053599" y="6556375"/>
                  <a:pt x="10053200" y="6554645"/>
                  <a:pt x="10052534" y="6553047"/>
                </a:cubicBezTo>
                <a:cubicBezTo>
                  <a:pt x="10051869" y="6551450"/>
                  <a:pt x="10050937" y="6550119"/>
                  <a:pt x="10049872" y="6548921"/>
                </a:cubicBezTo>
                <a:cubicBezTo>
                  <a:pt x="10048807" y="6547856"/>
                  <a:pt x="10047476" y="6546924"/>
                  <a:pt x="10045878" y="6546259"/>
                </a:cubicBezTo>
                <a:cubicBezTo>
                  <a:pt x="10044414" y="6545593"/>
                  <a:pt x="10042817" y="6545327"/>
                  <a:pt x="10040820" y="6545327"/>
                </a:cubicBezTo>
                <a:close/>
                <a:moveTo>
                  <a:pt x="9823176" y="6545327"/>
                </a:moveTo>
                <a:cubicBezTo>
                  <a:pt x="9817318" y="6545327"/>
                  <a:pt x="9814788" y="6547191"/>
                  <a:pt x="9813191" y="6548921"/>
                </a:cubicBezTo>
                <a:cubicBezTo>
                  <a:pt x="9810662" y="6551583"/>
                  <a:pt x="9809597" y="6554379"/>
                  <a:pt x="9809597" y="6558372"/>
                </a:cubicBezTo>
                <a:cubicBezTo>
                  <a:pt x="9809597" y="6562499"/>
                  <a:pt x="9810662" y="6565294"/>
                  <a:pt x="9813191" y="6567823"/>
                </a:cubicBezTo>
                <a:cubicBezTo>
                  <a:pt x="9814788" y="6569422"/>
                  <a:pt x="9817318" y="6571286"/>
                  <a:pt x="9823176" y="6571286"/>
                </a:cubicBezTo>
                <a:cubicBezTo>
                  <a:pt x="9825173" y="6571286"/>
                  <a:pt x="9827036" y="6570886"/>
                  <a:pt x="9828501" y="6570354"/>
                </a:cubicBezTo>
                <a:cubicBezTo>
                  <a:pt x="9830098" y="6569821"/>
                  <a:pt x="9831296" y="6569022"/>
                  <a:pt x="9832227" y="6567957"/>
                </a:cubicBezTo>
                <a:cubicBezTo>
                  <a:pt x="9833293" y="6566759"/>
                  <a:pt x="9834225" y="6565427"/>
                  <a:pt x="9834890" y="6563697"/>
                </a:cubicBezTo>
                <a:cubicBezTo>
                  <a:pt x="9835689" y="6562100"/>
                  <a:pt x="9835955" y="6560236"/>
                  <a:pt x="9835955" y="6558239"/>
                </a:cubicBezTo>
                <a:cubicBezTo>
                  <a:pt x="9835955" y="6556375"/>
                  <a:pt x="9835555" y="6554645"/>
                  <a:pt x="9834890" y="6553047"/>
                </a:cubicBezTo>
                <a:cubicBezTo>
                  <a:pt x="9834225" y="6551450"/>
                  <a:pt x="9833293" y="6550119"/>
                  <a:pt x="9832227" y="6548921"/>
                </a:cubicBezTo>
                <a:cubicBezTo>
                  <a:pt x="9831162" y="6547856"/>
                  <a:pt x="9829831" y="6546924"/>
                  <a:pt x="9828234" y="6546259"/>
                </a:cubicBezTo>
                <a:cubicBezTo>
                  <a:pt x="9826770" y="6545593"/>
                  <a:pt x="9825173" y="6545327"/>
                  <a:pt x="9823176" y="6545327"/>
                </a:cubicBezTo>
                <a:close/>
                <a:moveTo>
                  <a:pt x="9605531" y="6545327"/>
                </a:moveTo>
                <a:cubicBezTo>
                  <a:pt x="9599673" y="6545327"/>
                  <a:pt x="9597143" y="6547191"/>
                  <a:pt x="9595546" y="6548921"/>
                </a:cubicBezTo>
                <a:cubicBezTo>
                  <a:pt x="9593017" y="6551583"/>
                  <a:pt x="9591952" y="6554379"/>
                  <a:pt x="9591952" y="6558372"/>
                </a:cubicBezTo>
                <a:cubicBezTo>
                  <a:pt x="9591952" y="6562499"/>
                  <a:pt x="9593017" y="6565294"/>
                  <a:pt x="9595546" y="6567823"/>
                </a:cubicBezTo>
                <a:cubicBezTo>
                  <a:pt x="9597143" y="6569422"/>
                  <a:pt x="9599673" y="6571286"/>
                  <a:pt x="9605531" y="6571286"/>
                </a:cubicBezTo>
                <a:cubicBezTo>
                  <a:pt x="9607660" y="6571286"/>
                  <a:pt x="9609391" y="6570886"/>
                  <a:pt x="9610855" y="6570354"/>
                </a:cubicBezTo>
                <a:cubicBezTo>
                  <a:pt x="9612319" y="6569821"/>
                  <a:pt x="9613651" y="6569022"/>
                  <a:pt x="9614582" y="6567957"/>
                </a:cubicBezTo>
                <a:cubicBezTo>
                  <a:pt x="9615647" y="6566759"/>
                  <a:pt x="9616579" y="6565427"/>
                  <a:pt x="9617245" y="6563697"/>
                </a:cubicBezTo>
                <a:cubicBezTo>
                  <a:pt x="9618044" y="6562100"/>
                  <a:pt x="9618309" y="6560236"/>
                  <a:pt x="9618309" y="6558239"/>
                </a:cubicBezTo>
                <a:cubicBezTo>
                  <a:pt x="9618309" y="6556375"/>
                  <a:pt x="9617910" y="6554645"/>
                  <a:pt x="9617245" y="6553047"/>
                </a:cubicBezTo>
                <a:cubicBezTo>
                  <a:pt x="9616579" y="6551450"/>
                  <a:pt x="9615647" y="6550119"/>
                  <a:pt x="9614582" y="6548921"/>
                </a:cubicBezTo>
                <a:cubicBezTo>
                  <a:pt x="9613517" y="6547856"/>
                  <a:pt x="9612186" y="6546924"/>
                  <a:pt x="9610589" y="6546259"/>
                </a:cubicBezTo>
                <a:cubicBezTo>
                  <a:pt x="9609124" y="6545593"/>
                  <a:pt x="9607394" y="6545327"/>
                  <a:pt x="9605531" y="6545327"/>
                </a:cubicBezTo>
                <a:close/>
                <a:moveTo>
                  <a:pt x="9387885" y="6545327"/>
                </a:moveTo>
                <a:cubicBezTo>
                  <a:pt x="9382027" y="6545327"/>
                  <a:pt x="9379497" y="6547191"/>
                  <a:pt x="9377900" y="6548921"/>
                </a:cubicBezTo>
                <a:cubicBezTo>
                  <a:pt x="9375371" y="6551583"/>
                  <a:pt x="9374307" y="6554379"/>
                  <a:pt x="9374307" y="6558372"/>
                </a:cubicBezTo>
                <a:cubicBezTo>
                  <a:pt x="9374307" y="6562499"/>
                  <a:pt x="9375371" y="6565294"/>
                  <a:pt x="9377900" y="6567823"/>
                </a:cubicBezTo>
                <a:cubicBezTo>
                  <a:pt x="9379497" y="6569422"/>
                  <a:pt x="9382027" y="6571286"/>
                  <a:pt x="9387885" y="6571286"/>
                </a:cubicBezTo>
                <a:cubicBezTo>
                  <a:pt x="9390015" y="6571286"/>
                  <a:pt x="9391746" y="6570886"/>
                  <a:pt x="9393210" y="6570354"/>
                </a:cubicBezTo>
                <a:cubicBezTo>
                  <a:pt x="9394674" y="6569821"/>
                  <a:pt x="9396005" y="6569022"/>
                  <a:pt x="9396937" y="6567957"/>
                </a:cubicBezTo>
                <a:cubicBezTo>
                  <a:pt x="9398002" y="6566759"/>
                  <a:pt x="9398934" y="6565427"/>
                  <a:pt x="9399599" y="6563697"/>
                </a:cubicBezTo>
                <a:cubicBezTo>
                  <a:pt x="9400398" y="6562100"/>
                  <a:pt x="9400664" y="6560236"/>
                  <a:pt x="9400664" y="6558239"/>
                </a:cubicBezTo>
                <a:cubicBezTo>
                  <a:pt x="9400664" y="6556375"/>
                  <a:pt x="9400265" y="6554645"/>
                  <a:pt x="9399599" y="6553047"/>
                </a:cubicBezTo>
                <a:cubicBezTo>
                  <a:pt x="9398934" y="6551450"/>
                  <a:pt x="9398002" y="6550119"/>
                  <a:pt x="9396937" y="6548921"/>
                </a:cubicBezTo>
                <a:cubicBezTo>
                  <a:pt x="9395872" y="6547856"/>
                  <a:pt x="9394541" y="6546924"/>
                  <a:pt x="9392943" y="6546259"/>
                </a:cubicBezTo>
                <a:cubicBezTo>
                  <a:pt x="9391479" y="6545593"/>
                  <a:pt x="9389749" y="6545327"/>
                  <a:pt x="9387885" y="6545327"/>
                </a:cubicBezTo>
                <a:close/>
                <a:moveTo>
                  <a:pt x="9170374" y="6545327"/>
                </a:moveTo>
                <a:cubicBezTo>
                  <a:pt x="9164649" y="6545327"/>
                  <a:pt x="9161986" y="6547191"/>
                  <a:pt x="9160389" y="6548921"/>
                </a:cubicBezTo>
                <a:cubicBezTo>
                  <a:pt x="9157860" y="6551583"/>
                  <a:pt x="9156795" y="6554379"/>
                  <a:pt x="9156795" y="6558372"/>
                </a:cubicBezTo>
                <a:cubicBezTo>
                  <a:pt x="9156795" y="6562499"/>
                  <a:pt x="9157860" y="6565294"/>
                  <a:pt x="9160389" y="6567823"/>
                </a:cubicBezTo>
                <a:cubicBezTo>
                  <a:pt x="9161986" y="6569422"/>
                  <a:pt x="9164516" y="6571286"/>
                  <a:pt x="9170374" y="6571286"/>
                </a:cubicBezTo>
                <a:cubicBezTo>
                  <a:pt x="9172370" y="6571286"/>
                  <a:pt x="9174100" y="6570886"/>
                  <a:pt x="9175698" y="6570354"/>
                </a:cubicBezTo>
                <a:cubicBezTo>
                  <a:pt x="9177163" y="6569821"/>
                  <a:pt x="9178494" y="6569022"/>
                  <a:pt x="9179425" y="6567957"/>
                </a:cubicBezTo>
                <a:cubicBezTo>
                  <a:pt x="9180491" y="6566759"/>
                  <a:pt x="9181422" y="6565427"/>
                  <a:pt x="9182088" y="6563697"/>
                </a:cubicBezTo>
                <a:cubicBezTo>
                  <a:pt x="9182887" y="6562100"/>
                  <a:pt x="9183152" y="6560236"/>
                  <a:pt x="9183152" y="6558239"/>
                </a:cubicBezTo>
                <a:cubicBezTo>
                  <a:pt x="9183152" y="6556375"/>
                  <a:pt x="9182753" y="6554645"/>
                  <a:pt x="9182088" y="6553047"/>
                </a:cubicBezTo>
                <a:cubicBezTo>
                  <a:pt x="9181422" y="6551450"/>
                  <a:pt x="9180491" y="6550119"/>
                  <a:pt x="9179425" y="6548921"/>
                </a:cubicBezTo>
                <a:cubicBezTo>
                  <a:pt x="9178360" y="6547856"/>
                  <a:pt x="9177029" y="6546924"/>
                  <a:pt x="9175432" y="6546259"/>
                </a:cubicBezTo>
                <a:cubicBezTo>
                  <a:pt x="9173967" y="6545593"/>
                  <a:pt x="9172237" y="6545327"/>
                  <a:pt x="9170374" y="6545327"/>
                </a:cubicBezTo>
                <a:close/>
                <a:moveTo>
                  <a:pt x="8952728" y="6545327"/>
                </a:moveTo>
                <a:cubicBezTo>
                  <a:pt x="8947003" y="6545327"/>
                  <a:pt x="8944340" y="6547191"/>
                  <a:pt x="8942743" y="6548921"/>
                </a:cubicBezTo>
                <a:cubicBezTo>
                  <a:pt x="8940214" y="6551583"/>
                  <a:pt x="8939150" y="6554379"/>
                  <a:pt x="8939150" y="6558372"/>
                </a:cubicBezTo>
                <a:cubicBezTo>
                  <a:pt x="8939150" y="6562499"/>
                  <a:pt x="8940214" y="6565294"/>
                  <a:pt x="8942743" y="6567823"/>
                </a:cubicBezTo>
                <a:cubicBezTo>
                  <a:pt x="8944340" y="6569422"/>
                  <a:pt x="8946870" y="6571286"/>
                  <a:pt x="8952728" y="6571286"/>
                </a:cubicBezTo>
                <a:cubicBezTo>
                  <a:pt x="8954725" y="6571286"/>
                  <a:pt x="8956589" y="6570886"/>
                  <a:pt x="8958053" y="6570354"/>
                </a:cubicBezTo>
                <a:cubicBezTo>
                  <a:pt x="8959517" y="6569821"/>
                  <a:pt x="8960849" y="6569022"/>
                  <a:pt x="8961780" y="6567957"/>
                </a:cubicBezTo>
                <a:cubicBezTo>
                  <a:pt x="8962845" y="6566759"/>
                  <a:pt x="8963777" y="6565427"/>
                  <a:pt x="8964442" y="6563697"/>
                </a:cubicBezTo>
                <a:cubicBezTo>
                  <a:pt x="8965241" y="6562100"/>
                  <a:pt x="8965507" y="6560236"/>
                  <a:pt x="8965507" y="6558239"/>
                </a:cubicBezTo>
                <a:cubicBezTo>
                  <a:pt x="8965507" y="6556375"/>
                  <a:pt x="8965108" y="6554645"/>
                  <a:pt x="8964442" y="6553047"/>
                </a:cubicBezTo>
                <a:cubicBezTo>
                  <a:pt x="8963777" y="6551450"/>
                  <a:pt x="8962845" y="6550119"/>
                  <a:pt x="8961780" y="6548921"/>
                </a:cubicBezTo>
                <a:cubicBezTo>
                  <a:pt x="8960715" y="6547856"/>
                  <a:pt x="8959384" y="6546924"/>
                  <a:pt x="8957786" y="6546259"/>
                </a:cubicBezTo>
                <a:cubicBezTo>
                  <a:pt x="8956322" y="6545593"/>
                  <a:pt x="8954592" y="6545327"/>
                  <a:pt x="8952728" y="6545327"/>
                </a:cubicBezTo>
                <a:close/>
                <a:moveTo>
                  <a:pt x="8735083" y="6545327"/>
                </a:moveTo>
                <a:cubicBezTo>
                  <a:pt x="8729358" y="6545327"/>
                  <a:pt x="8726695" y="6547191"/>
                  <a:pt x="8725098" y="6548921"/>
                </a:cubicBezTo>
                <a:cubicBezTo>
                  <a:pt x="8722569" y="6551583"/>
                  <a:pt x="8721504" y="6554379"/>
                  <a:pt x="8721504" y="6558372"/>
                </a:cubicBezTo>
                <a:cubicBezTo>
                  <a:pt x="8721504" y="6562499"/>
                  <a:pt x="8722569" y="6565294"/>
                  <a:pt x="8725098" y="6567823"/>
                </a:cubicBezTo>
                <a:cubicBezTo>
                  <a:pt x="8726695" y="6569422"/>
                  <a:pt x="8729225" y="6571286"/>
                  <a:pt x="8735083" y="6571286"/>
                </a:cubicBezTo>
                <a:cubicBezTo>
                  <a:pt x="8737079" y="6571286"/>
                  <a:pt x="8738943" y="6570886"/>
                  <a:pt x="8740407" y="6570354"/>
                </a:cubicBezTo>
                <a:cubicBezTo>
                  <a:pt x="8741872" y="6569821"/>
                  <a:pt x="8743203" y="6569022"/>
                  <a:pt x="8744134" y="6567957"/>
                </a:cubicBezTo>
                <a:cubicBezTo>
                  <a:pt x="8745200" y="6566759"/>
                  <a:pt x="8746132" y="6565427"/>
                  <a:pt x="8746797" y="6563697"/>
                </a:cubicBezTo>
                <a:cubicBezTo>
                  <a:pt x="8747596" y="6562100"/>
                  <a:pt x="8747862" y="6560236"/>
                  <a:pt x="8747862" y="6558239"/>
                </a:cubicBezTo>
                <a:cubicBezTo>
                  <a:pt x="8747862" y="6556375"/>
                  <a:pt x="8747462" y="6554645"/>
                  <a:pt x="8746797" y="6553047"/>
                </a:cubicBezTo>
                <a:cubicBezTo>
                  <a:pt x="8746132" y="6551450"/>
                  <a:pt x="8745200" y="6550119"/>
                  <a:pt x="8744134" y="6548921"/>
                </a:cubicBezTo>
                <a:cubicBezTo>
                  <a:pt x="8743069" y="6547856"/>
                  <a:pt x="8741738" y="6546924"/>
                  <a:pt x="8740141" y="6546259"/>
                </a:cubicBezTo>
                <a:cubicBezTo>
                  <a:pt x="8738677" y="6545593"/>
                  <a:pt x="8736946" y="6545327"/>
                  <a:pt x="8735083" y="6545327"/>
                </a:cubicBezTo>
                <a:close/>
                <a:moveTo>
                  <a:pt x="8517438" y="6545327"/>
                </a:moveTo>
                <a:cubicBezTo>
                  <a:pt x="8511713" y="6545327"/>
                  <a:pt x="8509051" y="6547191"/>
                  <a:pt x="8507453" y="6548921"/>
                </a:cubicBezTo>
                <a:cubicBezTo>
                  <a:pt x="8504925" y="6551583"/>
                  <a:pt x="8503860" y="6554379"/>
                  <a:pt x="8503860" y="6558372"/>
                </a:cubicBezTo>
                <a:cubicBezTo>
                  <a:pt x="8503860" y="6562499"/>
                  <a:pt x="8504925" y="6565294"/>
                  <a:pt x="8507453" y="6567823"/>
                </a:cubicBezTo>
                <a:cubicBezTo>
                  <a:pt x="8509051" y="6569422"/>
                  <a:pt x="8511581" y="6571286"/>
                  <a:pt x="8517438" y="6571286"/>
                </a:cubicBezTo>
                <a:cubicBezTo>
                  <a:pt x="8519568" y="6571286"/>
                  <a:pt x="8521299" y="6570886"/>
                  <a:pt x="8522763" y="6570354"/>
                </a:cubicBezTo>
                <a:cubicBezTo>
                  <a:pt x="8524227" y="6569821"/>
                  <a:pt x="8525559" y="6569022"/>
                  <a:pt x="8526490" y="6567957"/>
                </a:cubicBezTo>
                <a:cubicBezTo>
                  <a:pt x="8527555" y="6566759"/>
                  <a:pt x="8528487" y="6565427"/>
                  <a:pt x="8529152" y="6563697"/>
                </a:cubicBezTo>
                <a:cubicBezTo>
                  <a:pt x="8529818" y="6562100"/>
                  <a:pt x="8530084" y="6560236"/>
                  <a:pt x="8530084" y="6558239"/>
                </a:cubicBezTo>
                <a:cubicBezTo>
                  <a:pt x="8530084" y="6556375"/>
                  <a:pt x="8529818" y="6554645"/>
                  <a:pt x="8529152" y="6553047"/>
                </a:cubicBezTo>
                <a:cubicBezTo>
                  <a:pt x="8528487" y="6551450"/>
                  <a:pt x="8527555" y="6550119"/>
                  <a:pt x="8526490" y="6548921"/>
                </a:cubicBezTo>
                <a:cubicBezTo>
                  <a:pt x="8525425" y="6547856"/>
                  <a:pt x="8524094" y="6546924"/>
                  <a:pt x="8522496" y="6546259"/>
                </a:cubicBezTo>
                <a:cubicBezTo>
                  <a:pt x="8521032" y="6545593"/>
                  <a:pt x="8519302" y="6545327"/>
                  <a:pt x="8517438" y="6545327"/>
                </a:cubicBezTo>
                <a:close/>
                <a:moveTo>
                  <a:pt x="8299793" y="6545327"/>
                </a:moveTo>
                <a:cubicBezTo>
                  <a:pt x="8294068" y="6545327"/>
                  <a:pt x="8291406" y="6547191"/>
                  <a:pt x="8289809" y="6548921"/>
                </a:cubicBezTo>
                <a:cubicBezTo>
                  <a:pt x="8287280" y="6551583"/>
                  <a:pt x="8286215" y="6554379"/>
                  <a:pt x="8286215" y="6558372"/>
                </a:cubicBezTo>
                <a:cubicBezTo>
                  <a:pt x="8286215" y="6562499"/>
                  <a:pt x="8287280" y="6565294"/>
                  <a:pt x="8289809" y="6567823"/>
                </a:cubicBezTo>
                <a:cubicBezTo>
                  <a:pt x="8291406" y="6569422"/>
                  <a:pt x="8293935" y="6571286"/>
                  <a:pt x="8299793" y="6571286"/>
                </a:cubicBezTo>
                <a:cubicBezTo>
                  <a:pt x="8301923" y="6571286"/>
                  <a:pt x="8303653" y="6570886"/>
                  <a:pt x="8305118" y="6570354"/>
                </a:cubicBezTo>
                <a:cubicBezTo>
                  <a:pt x="8306582" y="6569821"/>
                  <a:pt x="8307913" y="6569022"/>
                  <a:pt x="8308844" y="6567957"/>
                </a:cubicBezTo>
                <a:cubicBezTo>
                  <a:pt x="8309910" y="6566759"/>
                  <a:pt x="8310842" y="6565427"/>
                  <a:pt x="8311507" y="6563697"/>
                </a:cubicBezTo>
                <a:cubicBezTo>
                  <a:pt x="8312172" y="6562100"/>
                  <a:pt x="8312439" y="6560236"/>
                  <a:pt x="8312439" y="6558239"/>
                </a:cubicBezTo>
                <a:cubicBezTo>
                  <a:pt x="8312439" y="6556375"/>
                  <a:pt x="8312172" y="6554645"/>
                  <a:pt x="8311507" y="6553047"/>
                </a:cubicBezTo>
                <a:cubicBezTo>
                  <a:pt x="8310842" y="6551450"/>
                  <a:pt x="8309910" y="6550119"/>
                  <a:pt x="8308844" y="6548921"/>
                </a:cubicBezTo>
                <a:cubicBezTo>
                  <a:pt x="8307779" y="6547856"/>
                  <a:pt x="8306448" y="6546924"/>
                  <a:pt x="8304851" y="6546259"/>
                </a:cubicBezTo>
                <a:cubicBezTo>
                  <a:pt x="8303387" y="6545593"/>
                  <a:pt x="8301790" y="6545327"/>
                  <a:pt x="8299793" y="6545327"/>
                </a:cubicBezTo>
                <a:close/>
                <a:moveTo>
                  <a:pt x="8082281" y="6545327"/>
                </a:moveTo>
                <a:cubicBezTo>
                  <a:pt x="8076424" y="6545327"/>
                  <a:pt x="8073894" y="6547191"/>
                  <a:pt x="8072297" y="6548921"/>
                </a:cubicBezTo>
                <a:cubicBezTo>
                  <a:pt x="8069768" y="6551583"/>
                  <a:pt x="8068703" y="6554379"/>
                  <a:pt x="8068703" y="6558372"/>
                </a:cubicBezTo>
                <a:cubicBezTo>
                  <a:pt x="8068703" y="6562499"/>
                  <a:pt x="8069768" y="6565294"/>
                  <a:pt x="8072297" y="6567823"/>
                </a:cubicBezTo>
                <a:cubicBezTo>
                  <a:pt x="8073894" y="6569422"/>
                  <a:pt x="8076424" y="6571286"/>
                  <a:pt x="8082281" y="6571286"/>
                </a:cubicBezTo>
                <a:cubicBezTo>
                  <a:pt x="8084277" y="6571286"/>
                  <a:pt x="8086007" y="6570886"/>
                  <a:pt x="8087605" y="6570354"/>
                </a:cubicBezTo>
                <a:cubicBezTo>
                  <a:pt x="8089069" y="6569821"/>
                  <a:pt x="8090401" y="6569022"/>
                  <a:pt x="8091332" y="6567957"/>
                </a:cubicBezTo>
                <a:cubicBezTo>
                  <a:pt x="8092397" y="6566759"/>
                  <a:pt x="8093329" y="6565427"/>
                  <a:pt x="8093994" y="6563697"/>
                </a:cubicBezTo>
                <a:cubicBezTo>
                  <a:pt x="8094660" y="6562100"/>
                  <a:pt x="8094926" y="6560236"/>
                  <a:pt x="8094926" y="6558239"/>
                </a:cubicBezTo>
                <a:cubicBezTo>
                  <a:pt x="8094926" y="6556375"/>
                  <a:pt x="8094660" y="6554645"/>
                  <a:pt x="8093994" y="6553047"/>
                </a:cubicBezTo>
                <a:cubicBezTo>
                  <a:pt x="8093329" y="6551450"/>
                  <a:pt x="8092397" y="6550119"/>
                  <a:pt x="8091332" y="6548921"/>
                </a:cubicBezTo>
                <a:cubicBezTo>
                  <a:pt x="8090267" y="6547856"/>
                  <a:pt x="8088936" y="6546924"/>
                  <a:pt x="8087338" y="6546259"/>
                </a:cubicBezTo>
                <a:cubicBezTo>
                  <a:pt x="8085874" y="6545593"/>
                  <a:pt x="8084277" y="6545327"/>
                  <a:pt x="8082281" y="6545327"/>
                </a:cubicBezTo>
                <a:close/>
                <a:moveTo>
                  <a:pt x="7864636" y="6545327"/>
                </a:moveTo>
                <a:cubicBezTo>
                  <a:pt x="7858779" y="6545327"/>
                  <a:pt x="7856249" y="6547191"/>
                  <a:pt x="7854652" y="6548921"/>
                </a:cubicBezTo>
                <a:cubicBezTo>
                  <a:pt x="7852123" y="6551583"/>
                  <a:pt x="7851058" y="6554379"/>
                  <a:pt x="7851058" y="6558372"/>
                </a:cubicBezTo>
                <a:cubicBezTo>
                  <a:pt x="7851058" y="6562499"/>
                  <a:pt x="7852123" y="6565294"/>
                  <a:pt x="7854652" y="6567823"/>
                </a:cubicBezTo>
                <a:cubicBezTo>
                  <a:pt x="7856249" y="6569422"/>
                  <a:pt x="7858779" y="6571286"/>
                  <a:pt x="7864636" y="6571286"/>
                </a:cubicBezTo>
                <a:cubicBezTo>
                  <a:pt x="7866633" y="6571286"/>
                  <a:pt x="7868363" y="6570886"/>
                  <a:pt x="7869961" y="6570354"/>
                </a:cubicBezTo>
                <a:cubicBezTo>
                  <a:pt x="7871425" y="6569821"/>
                  <a:pt x="7872756" y="6569022"/>
                  <a:pt x="7873687" y="6567957"/>
                </a:cubicBezTo>
                <a:cubicBezTo>
                  <a:pt x="7874753" y="6566759"/>
                  <a:pt x="7875685" y="6565427"/>
                  <a:pt x="7876350" y="6563697"/>
                </a:cubicBezTo>
                <a:cubicBezTo>
                  <a:pt x="7877015" y="6562100"/>
                  <a:pt x="7877282" y="6560236"/>
                  <a:pt x="7877282" y="6558239"/>
                </a:cubicBezTo>
                <a:cubicBezTo>
                  <a:pt x="7877282" y="6556375"/>
                  <a:pt x="7877015" y="6554645"/>
                  <a:pt x="7876350" y="6553047"/>
                </a:cubicBezTo>
                <a:cubicBezTo>
                  <a:pt x="7875685" y="6551450"/>
                  <a:pt x="7874753" y="6550119"/>
                  <a:pt x="7873687" y="6548921"/>
                </a:cubicBezTo>
                <a:cubicBezTo>
                  <a:pt x="7872623" y="6547856"/>
                  <a:pt x="7871291" y="6546924"/>
                  <a:pt x="7869694" y="6546259"/>
                </a:cubicBezTo>
                <a:cubicBezTo>
                  <a:pt x="7868230" y="6545593"/>
                  <a:pt x="7866633" y="6545327"/>
                  <a:pt x="7864636" y="6545327"/>
                </a:cubicBezTo>
                <a:close/>
                <a:moveTo>
                  <a:pt x="7646991" y="6545327"/>
                </a:moveTo>
                <a:cubicBezTo>
                  <a:pt x="7641134" y="6545327"/>
                  <a:pt x="7638604" y="6547191"/>
                  <a:pt x="7637007" y="6548921"/>
                </a:cubicBezTo>
                <a:cubicBezTo>
                  <a:pt x="7634478" y="6551583"/>
                  <a:pt x="7633413" y="6554379"/>
                  <a:pt x="7633413" y="6558372"/>
                </a:cubicBezTo>
                <a:cubicBezTo>
                  <a:pt x="7633413" y="6562499"/>
                  <a:pt x="7634478" y="6565294"/>
                  <a:pt x="7637007" y="6567823"/>
                </a:cubicBezTo>
                <a:cubicBezTo>
                  <a:pt x="7638604" y="6569422"/>
                  <a:pt x="7641134" y="6571286"/>
                  <a:pt x="7646991" y="6571286"/>
                </a:cubicBezTo>
                <a:cubicBezTo>
                  <a:pt x="7648987" y="6571286"/>
                  <a:pt x="7650851" y="6570886"/>
                  <a:pt x="7652315" y="6570354"/>
                </a:cubicBezTo>
                <a:cubicBezTo>
                  <a:pt x="7653780" y="6569821"/>
                  <a:pt x="7655111" y="6569022"/>
                  <a:pt x="7656042" y="6567957"/>
                </a:cubicBezTo>
                <a:cubicBezTo>
                  <a:pt x="7657108" y="6566759"/>
                  <a:pt x="7658039" y="6565427"/>
                  <a:pt x="7658705" y="6563697"/>
                </a:cubicBezTo>
                <a:cubicBezTo>
                  <a:pt x="7659504" y="6562100"/>
                  <a:pt x="7659769" y="6560236"/>
                  <a:pt x="7659769" y="6558239"/>
                </a:cubicBezTo>
                <a:cubicBezTo>
                  <a:pt x="7659769" y="6556375"/>
                  <a:pt x="7659370" y="6554645"/>
                  <a:pt x="7658705" y="6553047"/>
                </a:cubicBezTo>
                <a:cubicBezTo>
                  <a:pt x="7658039" y="6551450"/>
                  <a:pt x="7657108" y="6550119"/>
                  <a:pt x="7656042" y="6548921"/>
                </a:cubicBezTo>
                <a:cubicBezTo>
                  <a:pt x="7654977" y="6547856"/>
                  <a:pt x="7653646" y="6546924"/>
                  <a:pt x="7652049" y="6546259"/>
                </a:cubicBezTo>
                <a:cubicBezTo>
                  <a:pt x="7650584" y="6545593"/>
                  <a:pt x="7648987" y="6545327"/>
                  <a:pt x="7646991" y="6545327"/>
                </a:cubicBezTo>
                <a:close/>
                <a:moveTo>
                  <a:pt x="7429345" y="6545327"/>
                </a:moveTo>
                <a:cubicBezTo>
                  <a:pt x="7423488" y="6545327"/>
                  <a:pt x="7420958" y="6547191"/>
                  <a:pt x="7419361" y="6548921"/>
                </a:cubicBezTo>
                <a:cubicBezTo>
                  <a:pt x="7416832" y="6551583"/>
                  <a:pt x="7415768" y="6554379"/>
                  <a:pt x="7415768" y="6558372"/>
                </a:cubicBezTo>
                <a:cubicBezTo>
                  <a:pt x="7415768" y="6562499"/>
                  <a:pt x="7416832" y="6565294"/>
                  <a:pt x="7419361" y="6567823"/>
                </a:cubicBezTo>
                <a:cubicBezTo>
                  <a:pt x="7420958" y="6569422"/>
                  <a:pt x="7423488" y="6571286"/>
                  <a:pt x="7429345" y="6571286"/>
                </a:cubicBezTo>
                <a:cubicBezTo>
                  <a:pt x="7431342" y="6571286"/>
                  <a:pt x="7433206" y="6570886"/>
                  <a:pt x="7434670" y="6570354"/>
                </a:cubicBezTo>
                <a:cubicBezTo>
                  <a:pt x="7436134" y="6569821"/>
                  <a:pt x="7437466" y="6569022"/>
                  <a:pt x="7438397" y="6567957"/>
                </a:cubicBezTo>
                <a:cubicBezTo>
                  <a:pt x="7439462" y="6566759"/>
                  <a:pt x="7440394" y="6565427"/>
                  <a:pt x="7441059" y="6563697"/>
                </a:cubicBezTo>
                <a:cubicBezTo>
                  <a:pt x="7441858" y="6562100"/>
                  <a:pt x="7442124" y="6560236"/>
                  <a:pt x="7442124" y="6558239"/>
                </a:cubicBezTo>
                <a:cubicBezTo>
                  <a:pt x="7442124" y="6556375"/>
                  <a:pt x="7441725" y="6554645"/>
                  <a:pt x="7441059" y="6553047"/>
                </a:cubicBezTo>
                <a:cubicBezTo>
                  <a:pt x="7440394" y="6551450"/>
                  <a:pt x="7439462" y="6550119"/>
                  <a:pt x="7438397" y="6548921"/>
                </a:cubicBezTo>
                <a:cubicBezTo>
                  <a:pt x="7437332" y="6547856"/>
                  <a:pt x="7436001" y="6546924"/>
                  <a:pt x="7434403" y="6546259"/>
                </a:cubicBezTo>
                <a:cubicBezTo>
                  <a:pt x="7432939" y="6545593"/>
                  <a:pt x="7431342" y="6545327"/>
                  <a:pt x="7429345" y="6545327"/>
                </a:cubicBezTo>
                <a:close/>
                <a:moveTo>
                  <a:pt x="7211701" y="6545327"/>
                </a:moveTo>
                <a:cubicBezTo>
                  <a:pt x="7205844" y="6545327"/>
                  <a:pt x="7203314" y="6547191"/>
                  <a:pt x="7201717" y="6548921"/>
                </a:cubicBezTo>
                <a:cubicBezTo>
                  <a:pt x="7199188" y="6551583"/>
                  <a:pt x="7198123" y="6554379"/>
                  <a:pt x="7198123" y="6558372"/>
                </a:cubicBezTo>
                <a:cubicBezTo>
                  <a:pt x="7198123" y="6562499"/>
                  <a:pt x="7199188" y="6565294"/>
                  <a:pt x="7201717" y="6567823"/>
                </a:cubicBezTo>
                <a:cubicBezTo>
                  <a:pt x="7203314" y="6569422"/>
                  <a:pt x="7205844" y="6571286"/>
                  <a:pt x="7211701" y="6571286"/>
                </a:cubicBezTo>
                <a:cubicBezTo>
                  <a:pt x="7213830" y="6571286"/>
                  <a:pt x="7215561" y="6570886"/>
                  <a:pt x="7217026" y="6570354"/>
                </a:cubicBezTo>
                <a:cubicBezTo>
                  <a:pt x="7218490" y="6569821"/>
                  <a:pt x="7219821" y="6569022"/>
                  <a:pt x="7220752" y="6567957"/>
                </a:cubicBezTo>
                <a:cubicBezTo>
                  <a:pt x="7221818" y="6566759"/>
                  <a:pt x="7222750" y="6565427"/>
                  <a:pt x="7223415" y="6563697"/>
                </a:cubicBezTo>
                <a:cubicBezTo>
                  <a:pt x="7224214" y="6562100"/>
                  <a:pt x="7224480" y="6560236"/>
                  <a:pt x="7224480" y="6558239"/>
                </a:cubicBezTo>
                <a:cubicBezTo>
                  <a:pt x="7224480" y="6556375"/>
                  <a:pt x="7224080" y="6554645"/>
                  <a:pt x="7223415" y="6553047"/>
                </a:cubicBezTo>
                <a:cubicBezTo>
                  <a:pt x="7222750" y="6551450"/>
                  <a:pt x="7221818" y="6550119"/>
                  <a:pt x="7220752" y="6548921"/>
                </a:cubicBezTo>
                <a:cubicBezTo>
                  <a:pt x="7219687" y="6547856"/>
                  <a:pt x="7218356" y="6546924"/>
                  <a:pt x="7216759" y="6546259"/>
                </a:cubicBezTo>
                <a:cubicBezTo>
                  <a:pt x="7215295" y="6545593"/>
                  <a:pt x="7213698" y="6545327"/>
                  <a:pt x="7211701" y="6545327"/>
                </a:cubicBezTo>
                <a:close/>
                <a:moveTo>
                  <a:pt x="6994056" y="6545327"/>
                </a:moveTo>
                <a:cubicBezTo>
                  <a:pt x="6988199" y="6545327"/>
                  <a:pt x="6985669" y="6547191"/>
                  <a:pt x="6984072" y="6548921"/>
                </a:cubicBezTo>
                <a:cubicBezTo>
                  <a:pt x="6981543" y="6551583"/>
                  <a:pt x="6980478" y="6554379"/>
                  <a:pt x="6980478" y="6558372"/>
                </a:cubicBezTo>
                <a:cubicBezTo>
                  <a:pt x="6980478" y="6562499"/>
                  <a:pt x="6981543" y="6565294"/>
                  <a:pt x="6984072" y="6567823"/>
                </a:cubicBezTo>
                <a:cubicBezTo>
                  <a:pt x="6985669" y="6569422"/>
                  <a:pt x="6988199" y="6571286"/>
                  <a:pt x="6994056" y="6571286"/>
                </a:cubicBezTo>
                <a:cubicBezTo>
                  <a:pt x="6996185" y="6571286"/>
                  <a:pt x="6997916" y="6570886"/>
                  <a:pt x="6999380" y="6570354"/>
                </a:cubicBezTo>
                <a:cubicBezTo>
                  <a:pt x="7000844" y="6569821"/>
                  <a:pt x="7002176" y="6569022"/>
                  <a:pt x="7003107" y="6567957"/>
                </a:cubicBezTo>
                <a:cubicBezTo>
                  <a:pt x="7004172" y="6566759"/>
                  <a:pt x="7005104" y="6565427"/>
                  <a:pt x="7005769" y="6563697"/>
                </a:cubicBezTo>
                <a:cubicBezTo>
                  <a:pt x="7006568" y="6562100"/>
                  <a:pt x="7006834" y="6560236"/>
                  <a:pt x="7006834" y="6558239"/>
                </a:cubicBezTo>
                <a:cubicBezTo>
                  <a:pt x="7006834" y="6556375"/>
                  <a:pt x="7006435" y="6554645"/>
                  <a:pt x="7005769" y="6553047"/>
                </a:cubicBezTo>
                <a:cubicBezTo>
                  <a:pt x="7005104" y="6551450"/>
                  <a:pt x="7004172" y="6550119"/>
                  <a:pt x="7003107" y="6548921"/>
                </a:cubicBezTo>
                <a:cubicBezTo>
                  <a:pt x="7002042" y="6547856"/>
                  <a:pt x="7000711" y="6546924"/>
                  <a:pt x="6999113" y="6546259"/>
                </a:cubicBezTo>
                <a:cubicBezTo>
                  <a:pt x="6997649" y="6545593"/>
                  <a:pt x="6996052" y="6545327"/>
                  <a:pt x="6994056" y="6545327"/>
                </a:cubicBezTo>
                <a:close/>
                <a:moveTo>
                  <a:pt x="6776544" y="6545327"/>
                </a:moveTo>
                <a:cubicBezTo>
                  <a:pt x="6770687" y="6545327"/>
                  <a:pt x="6768157" y="6547191"/>
                  <a:pt x="6766560" y="6548921"/>
                </a:cubicBezTo>
                <a:cubicBezTo>
                  <a:pt x="6764031" y="6551583"/>
                  <a:pt x="6762966" y="6554379"/>
                  <a:pt x="6762966" y="6558372"/>
                </a:cubicBezTo>
                <a:cubicBezTo>
                  <a:pt x="6762966" y="6562499"/>
                  <a:pt x="6764031" y="6565294"/>
                  <a:pt x="6766560" y="6567823"/>
                </a:cubicBezTo>
                <a:cubicBezTo>
                  <a:pt x="6768157" y="6569422"/>
                  <a:pt x="6770687" y="6571286"/>
                  <a:pt x="6776544" y="6571286"/>
                </a:cubicBezTo>
                <a:cubicBezTo>
                  <a:pt x="6778541" y="6571286"/>
                  <a:pt x="6780270" y="6570886"/>
                  <a:pt x="6781869" y="6570354"/>
                </a:cubicBezTo>
                <a:cubicBezTo>
                  <a:pt x="6783333" y="6569821"/>
                  <a:pt x="6784664" y="6569022"/>
                  <a:pt x="6785595" y="6567957"/>
                </a:cubicBezTo>
                <a:cubicBezTo>
                  <a:pt x="6786661" y="6566759"/>
                  <a:pt x="6787593" y="6565427"/>
                  <a:pt x="6788258" y="6563697"/>
                </a:cubicBezTo>
                <a:cubicBezTo>
                  <a:pt x="6789057" y="6562100"/>
                  <a:pt x="6789323" y="6560236"/>
                  <a:pt x="6789323" y="6558239"/>
                </a:cubicBezTo>
                <a:cubicBezTo>
                  <a:pt x="6789323" y="6556375"/>
                  <a:pt x="6788923" y="6554645"/>
                  <a:pt x="6788258" y="6553047"/>
                </a:cubicBezTo>
                <a:cubicBezTo>
                  <a:pt x="6787593" y="6551450"/>
                  <a:pt x="6786661" y="6550119"/>
                  <a:pt x="6785595" y="6548921"/>
                </a:cubicBezTo>
                <a:cubicBezTo>
                  <a:pt x="6784530" y="6547856"/>
                  <a:pt x="6783199" y="6546924"/>
                  <a:pt x="6781602" y="6546259"/>
                </a:cubicBezTo>
                <a:cubicBezTo>
                  <a:pt x="6780138" y="6545593"/>
                  <a:pt x="6778541" y="6545327"/>
                  <a:pt x="6776544" y="6545327"/>
                </a:cubicBezTo>
                <a:close/>
                <a:moveTo>
                  <a:pt x="6558899" y="6545327"/>
                </a:moveTo>
                <a:cubicBezTo>
                  <a:pt x="6553042" y="6545327"/>
                  <a:pt x="6550512" y="6547191"/>
                  <a:pt x="6548915" y="6548921"/>
                </a:cubicBezTo>
                <a:cubicBezTo>
                  <a:pt x="6546386" y="6551583"/>
                  <a:pt x="6545321" y="6554379"/>
                  <a:pt x="6545321" y="6558372"/>
                </a:cubicBezTo>
                <a:cubicBezTo>
                  <a:pt x="6545321" y="6562499"/>
                  <a:pt x="6546386" y="6565294"/>
                  <a:pt x="6548915" y="6567823"/>
                </a:cubicBezTo>
                <a:cubicBezTo>
                  <a:pt x="6550512" y="6569422"/>
                  <a:pt x="6553042" y="6571286"/>
                  <a:pt x="6558899" y="6571286"/>
                </a:cubicBezTo>
                <a:cubicBezTo>
                  <a:pt x="6560895" y="6571286"/>
                  <a:pt x="6562759" y="6570886"/>
                  <a:pt x="6564223" y="6570354"/>
                </a:cubicBezTo>
                <a:cubicBezTo>
                  <a:pt x="6565687" y="6569821"/>
                  <a:pt x="6567019" y="6569022"/>
                  <a:pt x="6567950" y="6567957"/>
                </a:cubicBezTo>
                <a:cubicBezTo>
                  <a:pt x="6569015" y="6566759"/>
                  <a:pt x="6569947" y="6565427"/>
                  <a:pt x="6570612" y="6563697"/>
                </a:cubicBezTo>
                <a:cubicBezTo>
                  <a:pt x="6571412" y="6562100"/>
                  <a:pt x="6571677" y="6560236"/>
                  <a:pt x="6571677" y="6558239"/>
                </a:cubicBezTo>
                <a:cubicBezTo>
                  <a:pt x="6571677" y="6556375"/>
                  <a:pt x="6571278" y="6554645"/>
                  <a:pt x="6570612" y="6553047"/>
                </a:cubicBezTo>
                <a:cubicBezTo>
                  <a:pt x="6569947" y="6551450"/>
                  <a:pt x="6569015" y="6550119"/>
                  <a:pt x="6567950" y="6548921"/>
                </a:cubicBezTo>
                <a:cubicBezTo>
                  <a:pt x="6566885" y="6547856"/>
                  <a:pt x="6565554" y="6546924"/>
                  <a:pt x="6563956" y="6546259"/>
                </a:cubicBezTo>
                <a:cubicBezTo>
                  <a:pt x="6562492" y="6545593"/>
                  <a:pt x="6560895" y="6545327"/>
                  <a:pt x="6558899" y="6545327"/>
                </a:cubicBezTo>
                <a:close/>
                <a:moveTo>
                  <a:pt x="6341253" y="6545327"/>
                </a:moveTo>
                <a:cubicBezTo>
                  <a:pt x="6335396" y="6545327"/>
                  <a:pt x="6332867" y="6547191"/>
                  <a:pt x="6331270" y="6548921"/>
                </a:cubicBezTo>
                <a:cubicBezTo>
                  <a:pt x="6328740" y="6551583"/>
                  <a:pt x="6327675" y="6554379"/>
                  <a:pt x="6327675" y="6558372"/>
                </a:cubicBezTo>
                <a:cubicBezTo>
                  <a:pt x="6327675" y="6562499"/>
                  <a:pt x="6328740" y="6565294"/>
                  <a:pt x="6331270" y="6567823"/>
                </a:cubicBezTo>
                <a:cubicBezTo>
                  <a:pt x="6332867" y="6569422"/>
                  <a:pt x="6335396" y="6571286"/>
                  <a:pt x="6341253" y="6571286"/>
                </a:cubicBezTo>
                <a:cubicBezTo>
                  <a:pt x="6343250" y="6571286"/>
                  <a:pt x="6345114" y="6570886"/>
                  <a:pt x="6346578" y="6570354"/>
                </a:cubicBezTo>
                <a:cubicBezTo>
                  <a:pt x="6348042" y="6569821"/>
                  <a:pt x="6349373" y="6569022"/>
                  <a:pt x="6350305" y="6567957"/>
                </a:cubicBezTo>
                <a:cubicBezTo>
                  <a:pt x="6351370" y="6566759"/>
                  <a:pt x="6352302" y="6565427"/>
                  <a:pt x="6352968" y="6563697"/>
                </a:cubicBezTo>
                <a:cubicBezTo>
                  <a:pt x="6353766" y="6562100"/>
                  <a:pt x="6354033" y="6560236"/>
                  <a:pt x="6354033" y="6558239"/>
                </a:cubicBezTo>
                <a:cubicBezTo>
                  <a:pt x="6354033" y="6556375"/>
                  <a:pt x="6353633" y="6554645"/>
                  <a:pt x="6352968" y="6553047"/>
                </a:cubicBezTo>
                <a:cubicBezTo>
                  <a:pt x="6352302" y="6551450"/>
                  <a:pt x="6351370" y="6550119"/>
                  <a:pt x="6350305" y="6548921"/>
                </a:cubicBezTo>
                <a:cubicBezTo>
                  <a:pt x="6349241" y="6547856"/>
                  <a:pt x="6347909" y="6546924"/>
                  <a:pt x="6346312" y="6546259"/>
                </a:cubicBezTo>
                <a:cubicBezTo>
                  <a:pt x="6344848" y="6545593"/>
                  <a:pt x="6343250" y="6545327"/>
                  <a:pt x="6341253" y="6545327"/>
                </a:cubicBezTo>
                <a:close/>
                <a:moveTo>
                  <a:pt x="6123608" y="6545327"/>
                </a:moveTo>
                <a:cubicBezTo>
                  <a:pt x="6117751" y="6545327"/>
                  <a:pt x="6115221" y="6547191"/>
                  <a:pt x="6113624" y="6548921"/>
                </a:cubicBezTo>
                <a:cubicBezTo>
                  <a:pt x="6111095" y="6551583"/>
                  <a:pt x="6110030" y="6554379"/>
                  <a:pt x="6110030" y="6558372"/>
                </a:cubicBezTo>
                <a:cubicBezTo>
                  <a:pt x="6110030" y="6562499"/>
                  <a:pt x="6111095" y="6565294"/>
                  <a:pt x="6113624" y="6567823"/>
                </a:cubicBezTo>
                <a:cubicBezTo>
                  <a:pt x="6115221" y="6569422"/>
                  <a:pt x="6117751" y="6571286"/>
                  <a:pt x="6123608" y="6571286"/>
                </a:cubicBezTo>
                <a:cubicBezTo>
                  <a:pt x="6125737" y="6571286"/>
                  <a:pt x="6127468" y="6570886"/>
                  <a:pt x="6128932" y="6570354"/>
                </a:cubicBezTo>
                <a:cubicBezTo>
                  <a:pt x="6130530" y="6569821"/>
                  <a:pt x="6131728" y="6569022"/>
                  <a:pt x="6132659" y="6567957"/>
                </a:cubicBezTo>
                <a:cubicBezTo>
                  <a:pt x="6133724" y="6566759"/>
                  <a:pt x="6134656" y="6565427"/>
                  <a:pt x="6135322" y="6563697"/>
                </a:cubicBezTo>
                <a:cubicBezTo>
                  <a:pt x="6135987" y="6562100"/>
                  <a:pt x="6136387" y="6560236"/>
                  <a:pt x="6136387" y="6558239"/>
                </a:cubicBezTo>
                <a:cubicBezTo>
                  <a:pt x="6136387" y="6556375"/>
                  <a:pt x="6135987" y="6554645"/>
                  <a:pt x="6135322" y="6553047"/>
                </a:cubicBezTo>
                <a:cubicBezTo>
                  <a:pt x="6134656" y="6551450"/>
                  <a:pt x="6133724" y="6550119"/>
                  <a:pt x="6132659" y="6548921"/>
                </a:cubicBezTo>
                <a:cubicBezTo>
                  <a:pt x="6131594" y="6547856"/>
                  <a:pt x="6130263" y="6546924"/>
                  <a:pt x="6128666" y="6546259"/>
                </a:cubicBezTo>
                <a:cubicBezTo>
                  <a:pt x="6127202" y="6545593"/>
                  <a:pt x="6125604" y="6545327"/>
                  <a:pt x="6123608" y="6545327"/>
                </a:cubicBezTo>
                <a:close/>
                <a:moveTo>
                  <a:pt x="5905963" y="6545327"/>
                </a:moveTo>
                <a:cubicBezTo>
                  <a:pt x="5900106" y="6545327"/>
                  <a:pt x="5897576" y="6547191"/>
                  <a:pt x="5895979" y="6548921"/>
                </a:cubicBezTo>
                <a:cubicBezTo>
                  <a:pt x="5893450" y="6551583"/>
                  <a:pt x="5892385" y="6554379"/>
                  <a:pt x="5892385" y="6558372"/>
                </a:cubicBezTo>
                <a:cubicBezTo>
                  <a:pt x="5892385" y="6562499"/>
                  <a:pt x="5893450" y="6565294"/>
                  <a:pt x="5895979" y="6567823"/>
                </a:cubicBezTo>
                <a:cubicBezTo>
                  <a:pt x="5897576" y="6569422"/>
                  <a:pt x="5900106" y="6571286"/>
                  <a:pt x="5905963" y="6571286"/>
                </a:cubicBezTo>
                <a:cubicBezTo>
                  <a:pt x="5908093" y="6571286"/>
                  <a:pt x="5909823" y="6570886"/>
                  <a:pt x="5911287" y="6570354"/>
                </a:cubicBezTo>
                <a:cubicBezTo>
                  <a:pt x="5912751" y="6569821"/>
                  <a:pt x="5914083" y="6569022"/>
                  <a:pt x="5915014" y="6567957"/>
                </a:cubicBezTo>
                <a:cubicBezTo>
                  <a:pt x="5916079" y="6566759"/>
                  <a:pt x="5917011" y="6565427"/>
                  <a:pt x="5917677" y="6563697"/>
                </a:cubicBezTo>
                <a:cubicBezTo>
                  <a:pt x="5918342" y="6562100"/>
                  <a:pt x="5918742" y="6560236"/>
                  <a:pt x="5918742" y="6558239"/>
                </a:cubicBezTo>
                <a:cubicBezTo>
                  <a:pt x="5918742" y="6556375"/>
                  <a:pt x="5918342" y="6554645"/>
                  <a:pt x="5917677" y="6553047"/>
                </a:cubicBezTo>
                <a:cubicBezTo>
                  <a:pt x="5917011" y="6551450"/>
                  <a:pt x="5916079" y="6550119"/>
                  <a:pt x="5915014" y="6548921"/>
                </a:cubicBezTo>
                <a:cubicBezTo>
                  <a:pt x="5913950" y="6547856"/>
                  <a:pt x="5912618" y="6546924"/>
                  <a:pt x="5911021" y="6546259"/>
                </a:cubicBezTo>
                <a:cubicBezTo>
                  <a:pt x="5909557" y="6545593"/>
                  <a:pt x="5907826" y="6545327"/>
                  <a:pt x="5905963" y="6545327"/>
                </a:cubicBezTo>
                <a:close/>
                <a:moveTo>
                  <a:pt x="5688451" y="6545327"/>
                </a:moveTo>
                <a:cubicBezTo>
                  <a:pt x="5682594" y="6545327"/>
                  <a:pt x="5680064" y="6547191"/>
                  <a:pt x="5678467" y="6548921"/>
                </a:cubicBezTo>
                <a:cubicBezTo>
                  <a:pt x="5675938" y="6551583"/>
                  <a:pt x="5674873" y="6554379"/>
                  <a:pt x="5674873" y="6558372"/>
                </a:cubicBezTo>
                <a:cubicBezTo>
                  <a:pt x="5674873" y="6562499"/>
                  <a:pt x="5675938" y="6565294"/>
                  <a:pt x="5678467" y="6567823"/>
                </a:cubicBezTo>
                <a:cubicBezTo>
                  <a:pt x="5680064" y="6569422"/>
                  <a:pt x="5682594" y="6571286"/>
                  <a:pt x="5688451" y="6571286"/>
                </a:cubicBezTo>
                <a:cubicBezTo>
                  <a:pt x="5690447" y="6571286"/>
                  <a:pt x="5692178" y="6570886"/>
                  <a:pt x="5693775" y="6570354"/>
                </a:cubicBezTo>
                <a:cubicBezTo>
                  <a:pt x="5695239" y="6569821"/>
                  <a:pt x="5696571" y="6569022"/>
                  <a:pt x="5697502" y="6567957"/>
                </a:cubicBezTo>
                <a:cubicBezTo>
                  <a:pt x="5698567" y="6566759"/>
                  <a:pt x="5699499" y="6565427"/>
                  <a:pt x="5700165" y="6563697"/>
                </a:cubicBezTo>
                <a:cubicBezTo>
                  <a:pt x="5700830" y="6562100"/>
                  <a:pt x="5701230" y="6560236"/>
                  <a:pt x="5701230" y="6558239"/>
                </a:cubicBezTo>
                <a:cubicBezTo>
                  <a:pt x="5701230" y="6556375"/>
                  <a:pt x="5700830" y="6554645"/>
                  <a:pt x="5700165" y="6553047"/>
                </a:cubicBezTo>
                <a:cubicBezTo>
                  <a:pt x="5699499" y="6551450"/>
                  <a:pt x="5698567" y="6550119"/>
                  <a:pt x="5697502" y="6548921"/>
                </a:cubicBezTo>
                <a:cubicBezTo>
                  <a:pt x="5696437" y="6547856"/>
                  <a:pt x="5695106" y="6546924"/>
                  <a:pt x="5693509" y="6546259"/>
                </a:cubicBezTo>
                <a:cubicBezTo>
                  <a:pt x="5692045" y="6545593"/>
                  <a:pt x="5690314" y="6545327"/>
                  <a:pt x="5688451" y="6545327"/>
                </a:cubicBezTo>
                <a:close/>
                <a:moveTo>
                  <a:pt x="5470806" y="6545327"/>
                </a:moveTo>
                <a:cubicBezTo>
                  <a:pt x="5464949" y="6545327"/>
                  <a:pt x="5462419" y="6547191"/>
                  <a:pt x="5460822" y="6548921"/>
                </a:cubicBezTo>
                <a:cubicBezTo>
                  <a:pt x="5458293" y="6551583"/>
                  <a:pt x="5457228" y="6554379"/>
                  <a:pt x="5457228" y="6558372"/>
                </a:cubicBezTo>
                <a:cubicBezTo>
                  <a:pt x="5457228" y="6562499"/>
                  <a:pt x="5458293" y="6565294"/>
                  <a:pt x="5460822" y="6567823"/>
                </a:cubicBezTo>
                <a:cubicBezTo>
                  <a:pt x="5462419" y="6569422"/>
                  <a:pt x="5464949" y="6571286"/>
                  <a:pt x="5470806" y="6571286"/>
                </a:cubicBezTo>
                <a:cubicBezTo>
                  <a:pt x="5472802" y="6571286"/>
                  <a:pt x="5474666" y="6570886"/>
                  <a:pt x="5476130" y="6570354"/>
                </a:cubicBezTo>
                <a:cubicBezTo>
                  <a:pt x="5477594" y="6569821"/>
                  <a:pt x="5478926" y="6569022"/>
                  <a:pt x="5479857" y="6567957"/>
                </a:cubicBezTo>
                <a:cubicBezTo>
                  <a:pt x="5480922" y="6566759"/>
                  <a:pt x="5481854" y="6565427"/>
                  <a:pt x="5482520" y="6563697"/>
                </a:cubicBezTo>
                <a:cubicBezTo>
                  <a:pt x="5483319" y="6562100"/>
                  <a:pt x="5483585" y="6560236"/>
                  <a:pt x="5483585" y="6558239"/>
                </a:cubicBezTo>
                <a:cubicBezTo>
                  <a:pt x="5483585" y="6556375"/>
                  <a:pt x="5483185" y="6554645"/>
                  <a:pt x="5482520" y="6553047"/>
                </a:cubicBezTo>
                <a:cubicBezTo>
                  <a:pt x="5481854" y="6551450"/>
                  <a:pt x="5480922" y="6550119"/>
                  <a:pt x="5479857" y="6548921"/>
                </a:cubicBezTo>
                <a:cubicBezTo>
                  <a:pt x="5478793" y="6547856"/>
                  <a:pt x="5477461" y="6546924"/>
                  <a:pt x="5475864" y="6546259"/>
                </a:cubicBezTo>
                <a:cubicBezTo>
                  <a:pt x="5474400" y="6545593"/>
                  <a:pt x="5472669" y="6545327"/>
                  <a:pt x="5470806" y="6545327"/>
                </a:cubicBezTo>
                <a:close/>
                <a:moveTo>
                  <a:pt x="5253160" y="6545327"/>
                </a:moveTo>
                <a:cubicBezTo>
                  <a:pt x="5247303" y="6545327"/>
                  <a:pt x="5244774" y="6547191"/>
                  <a:pt x="5243177" y="6548921"/>
                </a:cubicBezTo>
                <a:cubicBezTo>
                  <a:pt x="5240647" y="6551583"/>
                  <a:pt x="5239583" y="6554379"/>
                  <a:pt x="5239583" y="6558372"/>
                </a:cubicBezTo>
                <a:cubicBezTo>
                  <a:pt x="5239583" y="6562499"/>
                  <a:pt x="5240647" y="6565294"/>
                  <a:pt x="5243177" y="6567823"/>
                </a:cubicBezTo>
                <a:cubicBezTo>
                  <a:pt x="5244774" y="6569422"/>
                  <a:pt x="5247303" y="6571286"/>
                  <a:pt x="5253160" y="6571286"/>
                </a:cubicBezTo>
                <a:cubicBezTo>
                  <a:pt x="5255157" y="6571286"/>
                  <a:pt x="5257021" y="6570886"/>
                  <a:pt x="5258485" y="6570354"/>
                </a:cubicBezTo>
                <a:cubicBezTo>
                  <a:pt x="5259949" y="6569821"/>
                  <a:pt x="5261280" y="6569022"/>
                  <a:pt x="5262212" y="6567957"/>
                </a:cubicBezTo>
                <a:cubicBezTo>
                  <a:pt x="5263277" y="6566759"/>
                  <a:pt x="5264209" y="6565427"/>
                  <a:pt x="5264875" y="6563697"/>
                </a:cubicBezTo>
                <a:cubicBezTo>
                  <a:pt x="5265673" y="6562100"/>
                  <a:pt x="5265939" y="6560236"/>
                  <a:pt x="5265939" y="6558239"/>
                </a:cubicBezTo>
                <a:cubicBezTo>
                  <a:pt x="5265939" y="6556375"/>
                  <a:pt x="5265540" y="6554645"/>
                  <a:pt x="5264875" y="6553047"/>
                </a:cubicBezTo>
                <a:cubicBezTo>
                  <a:pt x="5264209" y="6551450"/>
                  <a:pt x="5263277" y="6550119"/>
                  <a:pt x="5262212" y="6548921"/>
                </a:cubicBezTo>
                <a:cubicBezTo>
                  <a:pt x="5261147" y="6547856"/>
                  <a:pt x="5259816" y="6546924"/>
                  <a:pt x="5258219" y="6546259"/>
                </a:cubicBezTo>
                <a:cubicBezTo>
                  <a:pt x="5256754" y="6545593"/>
                  <a:pt x="5255024" y="6545327"/>
                  <a:pt x="5253160" y="6545327"/>
                </a:cubicBezTo>
                <a:close/>
                <a:moveTo>
                  <a:pt x="5035515" y="6545327"/>
                </a:moveTo>
                <a:cubicBezTo>
                  <a:pt x="5029658" y="6545327"/>
                  <a:pt x="5027129" y="6547191"/>
                  <a:pt x="5025532" y="6548921"/>
                </a:cubicBezTo>
                <a:cubicBezTo>
                  <a:pt x="5023002" y="6551583"/>
                  <a:pt x="5021938" y="6554379"/>
                  <a:pt x="5021938" y="6558372"/>
                </a:cubicBezTo>
                <a:cubicBezTo>
                  <a:pt x="5021938" y="6562499"/>
                  <a:pt x="5023002" y="6565294"/>
                  <a:pt x="5025532" y="6567823"/>
                </a:cubicBezTo>
                <a:cubicBezTo>
                  <a:pt x="5027129" y="6569422"/>
                  <a:pt x="5029658" y="6571286"/>
                  <a:pt x="5035515" y="6571286"/>
                </a:cubicBezTo>
                <a:cubicBezTo>
                  <a:pt x="5037645" y="6571286"/>
                  <a:pt x="5039376" y="6570886"/>
                  <a:pt x="5040840" y="6570354"/>
                </a:cubicBezTo>
                <a:cubicBezTo>
                  <a:pt x="5042304" y="6569821"/>
                  <a:pt x="5043636" y="6569022"/>
                  <a:pt x="5044567" y="6567957"/>
                </a:cubicBezTo>
                <a:cubicBezTo>
                  <a:pt x="5045632" y="6566759"/>
                  <a:pt x="5046564" y="6565427"/>
                  <a:pt x="5047230" y="6563697"/>
                </a:cubicBezTo>
                <a:cubicBezTo>
                  <a:pt x="5048028" y="6562100"/>
                  <a:pt x="5048294" y="6560236"/>
                  <a:pt x="5048294" y="6558239"/>
                </a:cubicBezTo>
                <a:cubicBezTo>
                  <a:pt x="5048294" y="6556375"/>
                  <a:pt x="5047895" y="6554645"/>
                  <a:pt x="5047230" y="6553047"/>
                </a:cubicBezTo>
                <a:cubicBezTo>
                  <a:pt x="5046564" y="6551450"/>
                  <a:pt x="5045632" y="6550119"/>
                  <a:pt x="5044567" y="6548921"/>
                </a:cubicBezTo>
                <a:cubicBezTo>
                  <a:pt x="5043502" y="6547856"/>
                  <a:pt x="5042171" y="6546924"/>
                  <a:pt x="5040574" y="6546259"/>
                </a:cubicBezTo>
                <a:cubicBezTo>
                  <a:pt x="5039110" y="6545593"/>
                  <a:pt x="5037379" y="6545327"/>
                  <a:pt x="5035515" y="6545327"/>
                </a:cubicBezTo>
                <a:close/>
                <a:moveTo>
                  <a:pt x="4817870" y="6545327"/>
                </a:moveTo>
                <a:cubicBezTo>
                  <a:pt x="4812013" y="6545327"/>
                  <a:pt x="4809484" y="6547191"/>
                  <a:pt x="4807887" y="6548921"/>
                </a:cubicBezTo>
                <a:cubicBezTo>
                  <a:pt x="4805357" y="6551583"/>
                  <a:pt x="4804293" y="6554379"/>
                  <a:pt x="4804293" y="6558372"/>
                </a:cubicBezTo>
                <a:cubicBezTo>
                  <a:pt x="4804293" y="6562499"/>
                  <a:pt x="4805357" y="6565294"/>
                  <a:pt x="4807887" y="6567823"/>
                </a:cubicBezTo>
                <a:cubicBezTo>
                  <a:pt x="4809484" y="6569422"/>
                  <a:pt x="4812013" y="6571286"/>
                  <a:pt x="4817870" y="6571286"/>
                </a:cubicBezTo>
                <a:cubicBezTo>
                  <a:pt x="4820000" y="6571286"/>
                  <a:pt x="4821731" y="6570886"/>
                  <a:pt x="4823195" y="6570354"/>
                </a:cubicBezTo>
                <a:cubicBezTo>
                  <a:pt x="4824659" y="6569821"/>
                  <a:pt x="4825857" y="6569022"/>
                  <a:pt x="4826922" y="6567957"/>
                </a:cubicBezTo>
                <a:cubicBezTo>
                  <a:pt x="4827987" y="6566759"/>
                  <a:pt x="4828919" y="6565427"/>
                  <a:pt x="4829585" y="6563697"/>
                </a:cubicBezTo>
                <a:cubicBezTo>
                  <a:pt x="4830383" y="6562100"/>
                  <a:pt x="4830650" y="6560236"/>
                  <a:pt x="4830650" y="6558239"/>
                </a:cubicBezTo>
                <a:cubicBezTo>
                  <a:pt x="4830650" y="6556375"/>
                  <a:pt x="4830250" y="6554645"/>
                  <a:pt x="4829585" y="6553047"/>
                </a:cubicBezTo>
                <a:cubicBezTo>
                  <a:pt x="4828919" y="6551450"/>
                  <a:pt x="4827987" y="6550119"/>
                  <a:pt x="4826922" y="6548921"/>
                </a:cubicBezTo>
                <a:cubicBezTo>
                  <a:pt x="4825857" y="6547856"/>
                  <a:pt x="4824526" y="6546924"/>
                  <a:pt x="4822929" y="6546259"/>
                </a:cubicBezTo>
                <a:cubicBezTo>
                  <a:pt x="4821465" y="6545593"/>
                  <a:pt x="4819734" y="6545327"/>
                  <a:pt x="4817870" y="6545327"/>
                </a:cubicBezTo>
                <a:close/>
                <a:moveTo>
                  <a:pt x="4600226" y="6545327"/>
                </a:moveTo>
                <a:cubicBezTo>
                  <a:pt x="4594369" y="6545327"/>
                  <a:pt x="4591839" y="6547191"/>
                  <a:pt x="4590242" y="6548921"/>
                </a:cubicBezTo>
                <a:cubicBezTo>
                  <a:pt x="4587713" y="6551583"/>
                  <a:pt x="4586648" y="6554379"/>
                  <a:pt x="4586648" y="6558372"/>
                </a:cubicBezTo>
                <a:cubicBezTo>
                  <a:pt x="4586648" y="6562499"/>
                  <a:pt x="4587713" y="6565294"/>
                  <a:pt x="4590242" y="6567823"/>
                </a:cubicBezTo>
                <a:cubicBezTo>
                  <a:pt x="4591839" y="6569422"/>
                  <a:pt x="4594369" y="6571286"/>
                  <a:pt x="4600226" y="6571286"/>
                </a:cubicBezTo>
                <a:cubicBezTo>
                  <a:pt x="4602355" y="6571286"/>
                  <a:pt x="4604086" y="6570886"/>
                  <a:pt x="4605550" y="6570354"/>
                </a:cubicBezTo>
                <a:cubicBezTo>
                  <a:pt x="4607148" y="6569821"/>
                  <a:pt x="4608346" y="6569022"/>
                  <a:pt x="4609277" y="6567957"/>
                </a:cubicBezTo>
                <a:cubicBezTo>
                  <a:pt x="4610342" y="6566759"/>
                  <a:pt x="4611274" y="6565427"/>
                  <a:pt x="4611940" y="6563697"/>
                </a:cubicBezTo>
                <a:cubicBezTo>
                  <a:pt x="4612605" y="6562100"/>
                  <a:pt x="4613005" y="6560236"/>
                  <a:pt x="4613005" y="6558239"/>
                </a:cubicBezTo>
                <a:cubicBezTo>
                  <a:pt x="4613005" y="6556375"/>
                  <a:pt x="4612605" y="6554645"/>
                  <a:pt x="4611940" y="6553047"/>
                </a:cubicBezTo>
                <a:cubicBezTo>
                  <a:pt x="4611274" y="6551450"/>
                  <a:pt x="4610342" y="6550119"/>
                  <a:pt x="4609277" y="6548921"/>
                </a:cubicBezTo>
                <a:cubicBezTo>
                  <a:pt x="4608212" y="6547856"/>
                  <a:pt x="4606881" y="6546924"/>
                  <a:pt x="4605284" y="6546259"/>
                </a:cubicBezTo>
                <a:cubicBezTo>
                  <a:pt x="4603820" y="6545593"/>
                  <a:pt x="4602222" y="6545327"/>
                  <a:pt x="4600226" y="6545327"/>
                </a:cubicBezTo>
                <a:close/>
                <a:moveTo>
                  <a:pt x="4382713" y="6545327"/>
                </a:moveTo>
                <a:cubicBezTo>
                  <a:pt x="4376857" y="6545327"/>
                  <a:pt x="4374327" y="6547191"/>
                  <a:pt x="4372730" y="6548921"/>
                </a:cubicBezTo>
                <a:cubicBezTo>
                  <a:pt x="4370201" y="6551583"/>
                  <a:pt x="4369136" y="6554379"/>
                  <a:pt x="4369136" y="6558372"/>
                </a:cubicBezTo>
                <a:cubicBezTo>
                  <a:pt x="4369136" y="6562499"/>
                  <a:pt x="4370201" y="6565294"/>
                  <a:pt x="4372730" y="6567823"/>
                </a:cubicBezTo>
                <a:cubicBezTo>
                  <a:pt x="4374327" y="6569422"/>
                  <a:pt x="4376857" y="6571286"/>
                  <a:pt x="4382713" y="6571286"/>
                </a:cubicBezTo>
                <a:cubicBezTo>
                  <a:pt x="4384710" y="6571286"/>
                  <a:pt x="4386441" y="6570886"/>
                  <a:pt x="4388038" y="6570354"/>
                </a:cubicBezTo>
                <a:cubicBezTo>
                  <a:pt x="4389502" y="6569821"/>
                  <a:pt x="4390834" y="6569022"/>
                  <a:pt x="4391765" y="6567957"/>
                </a:cubicBezTo>
                <a:cubicBezTo>
                  <a:pt x="4392830" y="6566759"/>
                  <a:pt x="4393762" y="6565427"/>
                  <a:pt x="4394428" y="6563697"/>
                </a:cubicBezTo>
                <a:cubicBezTo>
                  <a:pt x="4395093" y="6562100"/>
                  <a:pt x="4395493" y="6560236"/>
                  <a:pt x="4395493" y="6558239"/>
                </a:cubicBezTo>
                <a:cubicBezTo>
                  <a:pt x="4395493" y="6556375"/>
                  <a:pt x="4395093" y="6554645"/>
                  <a:pt x="4394428" y="6553047"/>
                </a:cubicBezTo>
                <a:cubicBezTo>
                  <a:pt x="4393762" y="6551450"/>
                  <a:pt x="4392830" y="6550119"/>
                  <a:pt x="4391765" y="6548921"/>
                </a:cubicBezTo>
                <a:cubicBezTo>
                  <a:pt x="4390700" y="6547856"/>
                  <a:pt x="4389369" y="6546924"/>
                  <a:pt x="4387772" y="6546259"/>
                </a:cubicBezTo>
                <a:cubicBezTo>
                  <a:pt x="4386308" y="6545593"/>
                  <a:pt x="4384710" y="6545327"/>
                  <a:pt x="4382713" y="6545327"/>
                </a:cubicBezTo>
                <a:close/>
                <a:moveTo>
                  <a:pt x="4165068" y="6545327"/>
                </a:moveTo>
                <a:cubicBezTo>
                  <a:pt x="4159211" y="6545327"/>
                  <a:pt x="4156681" y="6547191"/>
                  <a:pt x="4155084" y="6548921"/>
                </a:cubicBezTo>
                <a:cubicBezTo>
                  <a:pt x="4152555" y="6551583"/>
                  <a:pt x="4151490" y="6554379"/>
                  <a:pt x="4151490" y="6558372"/>
                </a:cubicBezTo>
                <a:cubicBezTo>
                  <a:pt x="4151490" y="6562499"/>
                  <a:pt x="4152555" y="6565294"/>
                  <a:pt x="4155084" y="6567823"/>
                </a:cubicBezTo>
                <a:cubicBezTo>
                  <a:pt x="4156681" y="6569422"/>
                  <a:pt x="4159211" y="6571286"/>
                  <a:pt x="4165068" y="6571286"/>
                </a:cubicBezTo>
                <a:cubicBezTo>
                  <a:pt x="4167064" y="6571286"/>
                  <a:pt x="4168928" y="6570886"/>
                  <a:pt x="4170392" y="6570354"/>
                </a:cubicBezTo>
                <a:cubicBezTo>
                  <a:pt x="4171856" y="6569821"/>
                  <a:pt x="4173188" y="6569022"/>
                  <a:pt x="4174119" y="6567957"/>
                </a:cubicBezTo>
                <a:cubicBezTo>
                  <a:pt x="4175184" y="6566759"/>
                  <a:pt x="4176116" y="6565427"/>
                  <a:pt x="4176782" y="6563697"/>
                </a:cubicBezTo>
                <a:cubicBezTo>
                  <a:pt x="4177447" y="6562100"/>
                  <a:pt x="4177847" y="6560236"/>
                  <a:pt x="4177847" y="6558239"/>
                </a:cubicBezTo>
                <a:cubicBezTo>
                  <a:pt x="4177847" y="6556375"/>
                  <a:pt x="4177447" y="6554645"/>
                  <a:pt x="4176782" y="6553047"/>
                </a:cubicBezTo>
                <a:cubicBezTo>
                  <a:pt x="4176116" y="6551450"/>
                  <a:pt x="4175184" y="6550119"/>
                  <a:pt x="4174119" y="6548921"/>
                </a:cubicBezTo>
                <a:cubicBezTo>
                  <a:pt x="4173054" y="6547856"/>
                  <a:pt x="4171723" y="6546924"/>
                  <a:pt x="4170126" y="6546259"/>
                </a:cubicBezTo>
                <a:cubicBezTo>
                  <a:pt x="4168662" y="6545593"/>
                  <a:pt x="4167064" y="6545327"/>
                  <a:pt x="4165068" y="6545327"/>
                </a:cubicBezTo>
                <a:close/>
                <a:moveTo>
                  <a:pt x="3947779" y="6545327"/>
                </a:moveTo>
                <a:cubicBezTo>
                  <a:pt x="3941921" y="6545327"/>
                  <a:pt x="3939392" y="6547191"/>
                  <a:pt x="3937796" y="6548921"/>
                </a:cubicBezTo>
                <a:cubicBezTo>
                  <a:pt x="3935265" y="6551583"/>
                  <a:pt x="3934201" y="6554379"/>
                  <a:pt x="3934201" y="6558372"/>
                </a:cubicBezTo>
                <a:cubicBezTo>
                  <a:pt x="3934201" y="6562499"/>
                  <a:pt x="3935265" y="6565294"/>
                  <a:pt x="3937796" y="6567823"/>
                </a:cubicBezTo>
                <a:cubicBezTo>
                  <a:pt x="3939392" y="6569422"/>
                  <a:pt x="3941921" y="6571286"/>
                  <a:pt x="3947779" y="6571286"/>
                </a:cubicBezTo>
                <a:cubicBezTo>
                  <a:pt x="3949777" y="6571286"/>
                  <a:pt x="3951641" y="6570886"/>
                  <a:pt x="3953108" y="6570354"/>
                </a:cubicBezTo>
                <a:cubicBezTo>
                  <a:pt x="3954571" y="6569821"/>
                  <a:pt x="3955902" y="6569022"/>
                  <a:pt x="3956835" y="6567957"/>
                </a:cubicBezTo>
                <a:cubicBezTo>
                  <a:pt x="3957900" y="6566759"/>
                  <a:pt x="3958832" y="6565427"/>
                  <a:pt x="3959498" y="6563697"/>
                </a:cubicBezTo>
                <a:cubicBezTo>
                  <a:pt x="3960163" y="6562100"/>
                  <a:pt x="3960563" y="6560236"/>
                  <a:pt x="3960563" y="6558239"/>
                </a:cubicBezTo>
                <a:cubicBezTo>
                  <a:pt x="3960563" y="6556375"/>
                  <a:pt x="3960163" y="6554645"/>
                  <a:pt x="3959498" y="6553047"/>
                </a:cubicBezTo>
                <a:cubicBezTo>
                  <a:pt x="3958832" y="6551450"/>
                  <a:pt x="3957900" y="6550119"/>
                  <a:pt x="3956835" y="6548921"/>
                </a:cubicBezTo>
                <a:cubicBezTo>
                  <a:pt x="3955770" y="6547856"/>
                  <a:pt x="3954439" y="6546924"/>
                  <a:pt x="3952841" y="6546259"/>
                </a:cubicBezTo>
                <a:cubicBezTo>
                  <a:pt x="3951374" y="6545593"/>
                  <a:pt x="3949777" y="6545327"/>
                  <a:pt x="3947779" y="6545327"/>
                </a:cubicBezTo>
                <a:close/>
                <a:moveTo>
                  <a:pt x="3730118" y="6545327"/>
                </a:moveTo>
                <a:cubicBezTo>
                  <a:pt x="3724261" y="6545327"/>
                  <a:pt x="3721730" y="6547191"/>
                  <a:pt x="3720131" y="6548921"/>
                </a:cubicBezTo>
                <a:cubicBezTo>
                  <a:pt x="3717601" y="6551583"/>
                  <a:pt x="3716538" y="6554379"/>
                  <a:pt x="3716538" y="6558372"/>
                </a:cubicBezTo>
                <a:cubicBezTo>
                  <a:pt x="3716538" y="6562499"/>
                  <a:pt x="3717601" y="6565294"/>
                  <a:pt x="3720131" y="6567823"/>
                </a:cubicBezTo>
                <a:cubicBezTo>
                  <a:pt x="3721730" y="6569422"/>
                  <a:pt x="3724261" y="6571286"/>
                  <a:pt x="3730118" y="6571286"/>
                </a:cubicBezTo>
                <a:cubicBezTo>
                  <a:pt x="3732248" y="6571286"/>
                  <a:pt x="3733980" y="6570886"/>
                  <a:pt x="3735443" y="6570354"/>
                </a:cubicBezTo>
                <a:cubicBezTo>
                  <a:pt x="3736908" y="6569821"/>
                  <a:pt x="3738240" y="6569022"/>
                  <a:pt x="3739171" y="6567957"/>
                </a:cubicBezTo>
                <a:cubicBezTo>
                  <a:pt x="3740236" y="6566759"/>
                  <a:pt x="3741168" y="6565427"/>
                  <a:pt x="3741834" y="6563697"/>
                </a:cubicBezTo>
                <a:cubicBezTo>
                  <a:pt x="3742499" y="6562100"/>
                  <a:pt x="3742898" y="6560236"/>
                  <a:pt x="3742898" y="6558239"/>
                </a:cubicBezTo>
                <a:cubicBezTo>
                  <a:pt x="3742898" y="6556375"/>
                  <a:pt x="3742499" y="6554645"/>
                  <a:pt x="3741834" y="6553047"/>
                </a:cubicBezTo>
                <a:cubicBezTo>
                  <a:pt x="3741168" y="6551450"/>
                  <a:pt x="3740236" y="6550119"/>
                  <a:pt x="3739171" y="6548921"/>
                </a:cubicBezTo>
                <a:cubicBezTo>
                  <a:pt x="3738106" y="6547856"/>
                  <a:pt x="3736775" y="6546924"/>
                  <a:pt x="3735178" y="6546259"/>
                </a:cubicBezTo>
                <a:cubicBezTo>
                  <a:pt x="3733713" y="6545593"/>
                  <a:pt x="3732115" y="6545327"/>
                  <a:pt x="3730118" y="6545327"/>
                </a:cubicBezTo>
                <a:close/>
                <a:moveTo>
                  <a:pt x="3512454" y="6545327"/>
                </a:moveTo>
                <a:cubicBezTo>
                  <a:pt x="3506595" y="6545327"/>
                  <a:pt x="3504064" y="6547191"/>
                  <a:pt x="3502464" y="6548921"/>
                </a:cubicBezTo>
                <a:cubicBezTo>
                  <a:pt x="3499935" y="6551583"/>
                  <a:pt x="3498871" y="6554379"/>
                  <a:pt x="3498871" y="6558372"/>
                </a:cubicBezTo>
                <a:cubicBezTo>
                  <a:pt x="3498871" y="6562499"/>
                  <a:pt x="3499935" y="6565294"/>
                  <a:pt x="3502464" y="6567823"/>
                </a:cubicBezTo>
                <a:cubicBezTo>
                  <a:pt x="3504064" y="6569422"/>
                  <a:pt x="3506595" y="6571286"/>
                  <a:pt x="3512454" y="6571286"/>
                </a:cubicBezTo>
                <a:cubicBezTo>
                  <a:pt x="3514584" y="6571286"/>
                  <a:pt x="3516316" y="6570886"/>
                  <a:pt x="3517780" y="6570354"/>
                </a:cubicBezTo>
                <a:cubicBezTo>
                  <a:pt x="3519244" y="6569821"/>
                  <a:pt x="3520576" y="6569022"/>
                  <a:pt x="3521507" y="6567957"/>
                </a:cubicBezTo>
                <a:cubicBezTo>
                  <a:pt x="3522572" y="6566759"/>
                  <a:pt x="3523504" y="6565427"/>
                  <a:pt x="3524170" y="6563697"/>
                </a:cubicBezTo>
                <a:cubicBezTo>
                  <a:pt x="3524835" y="6562100"/>
                  <a:pt x="3525235" y="6560236"/>
                  <a:pt x="3525235" y="6558239"/>
                </a:cubicBezTo>
                <a:cubicBezTo>
                  <a:pt x="3525235" y="6556375"/>
                  <a:pt x="3524835" y="6554645"/>
                  <a:pt x="3524170" y="6553047"/>
                </a:cubicBezTo>
                <a:cubicBezTo>
                  <a:pt x="3523504" y="6551450"/>
                  <a:pt x="3522572" y="6550119"/>
                  <a:pt x="3521507" y="6548921"/>
                </a:cubicBezTo>
                <a:cubicBezTo>
                  <a:pt x="3520442" y="6547856"/>
                  <a:pt x="3519111" y="6546924"/>
                  <a:pt x="3517514" y="6546259"/>
                </a:cubicBezTo>
                <a:cubicBezTo>
                  <a:pt x="3516050" y="6545593"/>
                  <a:pt x="3514452" y="6545327"/>
                  <a:pt x="3512454" y="6545327"/>
                </a:cubicBezTo>
                <a:close/>
                <a:moveTo>
                  <a:pt x="3294924" y="6545327"/>
                </a:moveTo>
                <a:cubicBezTo>
                  <a:pt x="3289065" y="6545327"/>
                  <a:pt x="3286534" y="6547191"/>
                  <a:pt x="3284937" y="6548921"/>
                </a:cubicBezTo>
                <a:cubicBezTo>
                  <a:pt x="3282406" y="6551583"/>
                  <a:pt x="3281343" y="6554379"/>
                  <a:pt x="3281343" y="6558372"/>
                </a:cubicBezTo>
                <a:cubicBezTo>
                  <a:pt x="3281343" y="6562499"/>
                  <a:pt x="3282406" y="6565294"/>
                  <a:pt x="3284937" y="6567823"/>
                </a:cubicBezTo>
                <a:cubicBezTo>
                  <a:pt x="3286534" y="6569422"/>
                  <a:pt x="3289065" y="6571286"/>
                  <a:pt x="3294924" y="6571286"/>
                </a:cubicBezTo>
                <a:cubicBezTo>
                  <a:pt x="3296921" y="6571286"/>
                  <a:pt x="3298652" y="6570886"/>
                  <a:pt x="3300250" y="6570354"/>
                </a:cubicBezTo>
                <a:cubicBezTo>
                  <a:pt x="3301714" y="6569821"/>
                  <a:pt x="3303045" y="6569022"/>
                  <a:pt x="3303977" y="6567957"/>
                </a:cubicBezTo>
                <a:cubicBezTo>
                  <a:pt x="3305042" y="6566759"/>
                  <a:pt x="3305973" y="6565427"/>
                  <a:pt x="3306640" y="6563697"/>
                </a:cubicBezTo>
                <a:cubicBezTo>
                  <a:pt x="3307305" y="6562100"/>
                  <a:pt x="3307704" y="6560236"/>
                  <a:pt x="3307704" y="6558239"/>
                </a:cubicBezTo>
                <a:cubicBezTo>
                  <a:pt x="3307704" y="6556375"/>
                  <a:pt x="3307305" y="6554645"/>
                  <a:pt x="3306640" y="6553047"/>
                </a:cubicBezTo>
                <a:cubicBezTo>
                  <a:pt x="3305973" y="6551450"/>
                  <a:pt x="3305042" y="6550119"/>
                  <a:pt x="3303977" y="6548921"/>
                </a:cubicBezTo>
                <a:cubicBezTo>
                  <a:pt x="3302911" y="6547856"/>
                  <a:pt x="3301580" y="6546924"/>
                  <a:pt x="3299984" y="6546259"/>
                </a:cubicBezTo>
                <a:cubicBezTo>
                  <a:pt x="3298520" y="6545593"/>
                  <a:pt x="3296921" y="6545327"/>
                  <a:pt x="3294924" y="6545327"/>
                </a:cubicBezTo>
                <a:close/>
                <a:moveTo>
                  <a:pt x="3077393" y="6545327"/>
                </a:moveTo>
                <a:cubicBezTo>
                  <a:pt x="3071536" y="6545327"/>
                  <a:pt x="3069005" y="6547191"/>
                  <a:pt x="3067409" y="6548921"/>
                </a:cubicBezTo>
                <a:cubicBezTo>
                  <a:pt x="3064744" y="6551583"/>
                  <a:pt x="3063678" y="6554379"/>
                  <a:pt x="3063678" y="6558372"/>
                </a:cubicBezTo>
                <a:cubicBezTo>
                  <a:pt x="3063678" y="6562499"/>
                  <a:pt x="3064744" y="6565294"/>
                  <a:pt x="3067275" y="6567823"/>
                </a:cubicBezTo>
                <a:cubicBezTo>
                  <a:pt x="3068873" y="6569422"/>
                  <a:pt x="3071403" y="6571286"/>
                  <a:pt x="3077260" y="6571286"/>
                </a:cubicBezTo>
                <a:cubicBezTo>
                  <a:pt x="3079258" y="6571286"/>
                  <a:pt x="3080988" y="6570886"/>
                  <a:pt x="3082718" y="6570354"/>
                </a:cubicBezTo>
                <a:cubicBezTo>
                  <a:pt x="3084184" y="6569821"/>
                  <a:pt x="3085515" y="6569022"/>
                  <a:pt x="3086446" y="6567957"/>
                </a:cubicBezTo>
                <a:cubicBezTo>
                  <a:pt x="3087510" y="6566759"/>
                  <a:pt x="3088443" y="6565427"/>
                  <a:pt x="3089108" y="6563697"/>
                </a:cubicBezTo>
                <a:cubicBezTo>
                  <a:pt x="3089773" y="6562100"/>
                  <a:pt x="3090041" y="6560236"/>
                  <a:pt x="3090041" y="6558239"/>
                </a:cubicBezTo>
                <a:cubicBezTo>
                  <a:pt x="3090041" y="6556375"/>
                  <a:pt x="3089773" y="6554645"/>
                  <a:pt x="3089108" y="6553047"/>
                </a:cubicBezTo>
                <a:cubicBezTo>
                  <a:pt x="3088443" y="6551450"/>
                  <a:pt x="3087510" y="6550119"/>
                  <a:pt x="3086446" y="6548921"/>
                </a:cubicBezTo>
                <a:cubicBezTo>
                  <a:pt x="3085381" y="6547856"/>
                  <a:pt x="3084050" y="6546924"/>
                  <a:pt x="3082453" y="6546259"/>
                </a:cubicBezTo>
                <a:cubicBezTo>
                  <a:pt x="3080988" y="6545593"/>
                  <a:pt x="3079390" y="6545327"/>
                  <a:pt x="3077393" y="6545327"/>
                </a:cubicBezTo>
                <a:close/>
                <a:moveTo>
                  <a:pt x="2859597" y="6545327"/>
                </a:moveTo>
                <a:cubicBezTo>
                  <a:pt x="2853739" y="6545327"/>
                  <a:pt x="2851210" y="6547191"/>
                  <a:pt x="2849611" y="6548921"/>
                </a:cubicBezTo>
                <a:cubicBezTo>
                  <a:pt x="2847077" y="6551583"/>
                  <a:pt x="2846011" y="6554379"/>
                  <a:pt x="2846011" y="6558372"/>
                </a:cubicBezTo>
                <a:cubicBezTo>
                  <a:pt x="2846011" y="6562499"/>
                  <a:pt x="2847077" y="6565294"/>
                  <a:pt x="2849611" y="6567823"/>
                </a:cubicBezTo>
                <a:cubicBezTo>
                  <a:pt x="2851210" y="6569422"/>
                  <a:pt x="2853739" y="6571286"/>
                  <a:pt x="2859597" y="6571286"/>
                </a:cubicBezTo>
                <a:cubicBezTo>
                  <a:pt x="2861593" y="6571286"/>
                  <a:pt x="2863458" y="6570886"/>
                  <a:pt x="2864922" y="6570354"/>
                </a:cubicBezTo>
                <a:cubicBezTo>
                  <a:pt x="2866519" y="6569821"/>
                  <a:pt x="2867718" y="6569022"/>
                  <a:pt x="2868648" y="6567957"/>
                </a:cubicBezTo>
                <a:cubicBezTo>
                  <a:pt x="2869714" y="6566759"/>
                  <a:pt x="2870646" y="6565427"/>
                  <a:pt x="2871312" y="6563697"/>
                </a:cubicBezTo>
                <a:cubicBezTo>
                  <a:pt x="2871844" y="6562100"/>
                  <a:pt x="2872243" y="6560236"/>
                  <a:pt x="2872243" y="6558239"/>
                </a:cubicBezTo>
                <a:cubicBezTo>
                  <a:pt x="2872243" y="6556375"/>
                  <a:pt x="2871977" y="6554645"/>
                  <a:pt x="2871312" y="6553047"/>
                </a:cubicBezTo>
                <a:cubicBezTo>
                  <a:pt x="2870646" y="6551450"/>
                  <a:pt x="2869714" y="6550119"/>
                  <a:pt x="2868648" y="6548921"/>
                </a:cubicBezTo>
                <a:cubicBezTo>
                  <a:pt x="2867585" y="6547856"/>
                  <a:pt x="2866253" y="6546924"/>
                  <a:pt x="2864656" y="6546259"/>
                </a:cubicBezTo>
                <a:cubicBezTo>
                  <a:pt x="2863192" y="6545593"/>
                  <a:pt x="2861593" y="6545327"/>
                  <a:pt x="2859597" y="6545327"/>
                </a:cubicBezTo>
                <a:close/>
                <a:moveTo>
                  <a:pt x="2641933" y="6545327"/>
                </a:moveTo>
                <a:cubicBezTo>
                  <a:pt x="2636075" y="6545327"/>
                  <a:pt x="2633546" y="6547191"/>
                  <a:pt x="2631950" y="6548921"/>
                </a:cubicBezTo>
                <a:cubicBezTo>
                  <a:pt x="2629419" y="6551583"/>
                  <a:pt x="2628355" y="6554379"/>
                  <a:pt x="2628355" y="6558372"/>
                </a:cubicBezTo>
                <a:cubicBezTo>
                  <a:pt x="2628355" y="6562499"/>
                  <a:pt x="2629419" y="6565294"/>
                  <a:pt x="2631950" y="6567823"/>
                </a:cubicBezTo>
                <a:cubicBezTo>
                  <a:pt x="2633546" y="6569422"/>
                  <a:pt x="2636075" y="6571286"/>
                  <a:pt x="2641933" y="6571286"/>
                </a:cubicBezTo>
                <a:cubicBezTo>
                  <a:pt x="2643929" y="6571286"/>
                  <a:pt x="2645794" y="6570886"/>
                  <a:pt x="2647258" y="6570354"/>
                </a:cubicBezTo>
                <a:cubicBezTo>
                  <a:pt x="2648855" y="6569821"/>
                  <a:pt x="2650053" y="6569022"/>
                  <a:pt x="2650985" y="6567957"/>
                </a:cubicBezTo>
                <a:cubicBezTo>
                  <a:pt x="2652050" y="6566759"/>
                  <a:pt x="2652982" y="6565427"/>
                  <a:pt x="2653648" y="6563697"/>
                </a:cubicBezTo>
                <a:cubicBezTo>
                  <a:pt x="2654180" y="6562100"/>
                  <a:pt x="2654579" y="6560236"/>
                  <a:pt x="2654579" y="6558239"/>
                </a:cubicBezTo>
                <a:cubicBezTo>
                  <a:pt x="2654579" y="6556375"/>
                  <a:pt x="2654313" y="6554645"/>
                  <a:pt x="2653648" y="6553047"/>
                </a:cubicBezTo>
                <a:cubicBezTo>
                  <a:pt x="2652982" y="6551450"/>
                  <a:pt x="2652050" y="6550119"/>
                  <a:pt x="2650985" y="6548921"/>
                </a:cubicBezTo>
                <a:cubicBezTo>
                  <a:pt x="2649920" y="6547856"/>
                  <a:pt x="2648589" y="6546924"/>
                  <a:pt x="2646992" y="6546259"/>
                </a:cubicBezTo>
                <a:cubicBezTo>
                  <a:pt x="2645527" y="6545593"/>
                  <a:pt x="2643929" y="6545327"/>
                  <a:pt x="2641933" y="6545327"/>
                </a:cubicBezTo>
                <a:close/>
                <a:moveTo>
                  <a:pt x="2424268" y="6545327"/>
                </a:moveTo>
                <a:cubicBezTo>
                  <a:pt x="2418412" y="6545327"/>
                  <a:pt x="2415883" y="6547191"/>
                  <a:pt x="2414285" y="6548921"/>
                </a:cubicBezTo>
                <a:cubicBezTo>
                  <a:pt x="2411755" y="6551583"/>
                  <a:pt x="2410691" y="6554379"/>
                  <a:pt x="2410691" y="6558372"/>
                </a:cubicBezTo>
                <a:cubicBezTo>
                  <a:pt x="2410691" y="6562499"/>
                  <a:pt x="2411755" y="6565294"/>
                  <a:pt x="2414285" y="6567823"/>
                </a:cubicBezTo>
                <a:cubicBezTo>
                  <a:pt x="2415883" y="6569422"/>
                  <a:pt x="2418412" y="6571286"/>
                  <a:pt x="2424268" y="6571286"/>
                </a:cubicBezTo>
                <a:cubicBezTo>
                  <a:pt x="2426399" y="6571286"/>
                  <a:pt x="2428130" y="6570886"/>
                  <a:pt x="2429594" y="6570354"/>
                </a:cubicBezTo>
                <a:cubicBezTo>
                  <a:pt x="2431192" y="6569821"/>
                  <a:pt x="2432390" y="6569022"/>
                  <a:pt x="2433321" y="6567957"/>
                </a:cubicBezTo>
                <a:cubicBezTo>
                  <a:pt x="2434386" y="6566759"/>
                  <a:pt x="2435318" y="6565427"/>
                  <a:pt x="2435984" y="6563697"/>
                </a:cubicBezTo>
                <a:cubicBezTo>
                  <a:pt x="2436516" y="6562100"/>
                  <a:pt x="2436915" y="6560236"/>
                  <a:pt x="2436915" y="6558239"/>
                </a:cubicBezTo>
                <a:cubicBezTo>
                  <a:pt x="2436915" y="6556375"/>
                  <a:pt x="2436649" y="6554645"/>
                  <a:pt x="2435984" y="6553047"/>
                </a:cubicBezTo>
                <a:cubicBezTo>
                  <a:pt x="2435318" y="6551450"/>
                  <a:pt x="2434386" y="6550119"/>
                  <a:pt x="2433321" y="6548921"/>
                </a:cubicBezTo>
                <a:cubicBezTo>
                  <a:pt x="2432257" y="6547856"/>
                  <a:pt x="2430925" y="6546924"/>
                  <a:pt x="2429328" y="6546259"/>
                </a:cubicBezTo>
                <a:cubicBezTo>
                  <a:pt x="2427864" y="6545593"/>
                  <a:pt x="2426266" y="6545327"/>
                  <a:pt x="2424268" y="6545327"/>
                </a:cubicBezTo>
                <a:close/>
                <a:moveTo>
                  <a:pt x="2206605" y="6545327"/>
                </a:moveTo>
                <a:cubicBezTo>
                  <a:pt x="2200748" y="6545327"/>
                  <a:pt x="2198219" y="6547191"/>
                  <a:pt x="2196621" y="6548921"/>
                </a:cubicBezTo>
                <a:cubicBezTo>
                  <a:pt x="2194092" y="6551583"/>
                  <a:pt x="2193027" y="6554379"/>
                  <a:pt x="2193027" y="6558372"/>
                </a:cubicBezTo>
                <a:cubicBezTo>
                  <a:pt x="2193027" y="6562499"/>
                  <a:pt x="2194092" y="6565294"/>
                  <a:pt x="2196621" y="6567823"/>
                </a:cubicBezTo>
                <a:cubicBezTo>
                  <a:pt x="2198219" y="6569422"/>
                  <a:pt x="2200748" y="6571286"/>
                  <a:pt x="2206605" y="6571286"/>
                </a:cubicBezTo>
                <a:cubicBezTo>
                  <a:pt x="2208735" y="6571286"/>
                  <a:pt x="2210466" y="6570886"/>
                  <a:pt x="2211930" y="6570354"/>
                </a:cubicBezTo>
                <a:cubicBezTo>
                  <a:pt x="2213527" y="6569821"/>
                  <a:pt x="2214725" y="6569022"/>
                  <a:pt x="2215657" y="6567957"/>
                </a:cubicBezTo>
                <a:cubicBezTo>
                  <a:pt x="2216722" y="6566759"/>
                  <a:pt x="2217654" y="6565427"/>
                  <a:pt x="2218320" y="6563697"/>
                </a:cubicBezTo>
                <a:cubicBezTo>
                  <a:pt x="2218852" y="6562100"/>
                  <a:pt x="2219251" y="6560236"/>
                  <a:pt x="2219251" y="6558239"/>
                </a:cubicBezTo>
                <a:cubicBezTo>
                  <a:pt x="2219251" y="6556375"/>
                  <a:pt x="2218985" y="6554645"/>
                  <a:pt x="2218320" y="6553047"/>
                </a:cubicBezTo>
                <a:cubicBezTo>
                  <a:pt x="2217654" y="6551450"/>
                  <a:pt x="2216722" y="6550119"/>
                  <a:pt x="2215657" y="6548921"/>
                </a:cubicBezTo>
                <a:cubicBezTo>
                  <a:pt x="2214592" y="6547856"/>
                  <a:pt x="2213261" y="6546924"/>
                  <a:pt x="2211664" y="6546259"/>
                </a:cubicBezTo>
                <a:cubicBezTo>
                  <a:pt x="2210199" y="6545593"/>
                  <a:pt x="2208602" y="6545327"/>
                  <a:pt x="2206605" y="6545327"/>
                </a:cubicBezTo>
                <a:close/>
                <a:moveTo>
                  <a:pt x="1989074" y="6545327"/>
                </a:moveTo>
                <a:cubicBezTo>
                  <a:pt x="1983217" y="6545327"/>
                  <a:pt x="1980688" y="6547191"/>
                  <a:pt x="1979091" y="6548921"/>
                </a:cubicBezTo>
                <a:cubicBezTo>
                  <a:pt x="1976561" y="6551583"/>
                  <a:pt x="1975497" y="6554379"/>
                  <a:pt x="1975497" y="6558372"/>
                </a:cubicBezTo>
                <a:cubicBezTo>
                  <a:pt x="1975497" y="6562499"/>
                  <a:pt x="1976561" y="6565294"/>
                  <a:pt x="1979091" y="6567823"/>
                </a:cubicBezTo>
                <a:cubicBezTo>
                  <a:pt x="1980688" y="6569422"/>
                  <a:pt x="1983217" y="6571286"/>
                  <a:pt x="1989074" y="6571286"/>
                </a:cubicBezTo>
                <a:cubicBezTo>
                  <a:pt x="1991071" y="6571286"/>
                  <a:pt x="1992802" y="6570886"/>
                  <a:pt x="1994399" y="6570354"/>
                </a:cubicBezTo>
                <a:cubicBezTo>
                  <a:pt x="1995997" y="6569821"/>
                  <a:pt x="1997195" y="6569022"/>
                  <a:pt x="1998126" y="6567957"/>
                </a:cubicBezTo>
                <a:cubicBezTo>
                  <a:pt x="1999191" y="6566759"/>
                  <a:pt x="2000123" y="6565427"/>
                  <a:pt x="2000789" y="6563697"/>
                </a:cubicBezTo>
                <a:cubicBezTo>
                  <a:pt x="2001321" y="6562100"/>
                  <a:pt x="2001720" y="6560236"/>
                  <a:pt x="2001720" y="6558239"/>
                </a:cubicBezTo>
                <a:cubicBezTo>
                  <a:pt x="2001720" y="6556375"/>
                  <a:pt x="2001454" y="6554645"/>
                  <a:pt x="2000789" y="6553047"/>
                </a:cubicBezTo>
                <a:cubicBezTo>
                  <a:pt x="2000123" y="6551450"/>
                  <a:pt x="1999191" y="6550119"/>
                  <a:pt x="1998126" y="6548921"/>
                </a:cubicBezTo>
                <a:cubicBezTo>
                  <a:pt x="1997062" y="6547856"/>
                  <a:pt x="1995730" y="6546924"/>
                  <a:pt x="1994133" y="6546259"/>
                </a:cubicBezTo>
                <a:cubicBezTo>
                  <a:pt x="1992669" y="6545593"/>
                  <a:pt x="1991071" y="6545327"/>
                  <a:pt x="1989074" y="6545327"/>
                </a:cubicBezTo>
                <a:close/>
                <a:moveTo>
                  <a:pt x="1771442" y="6545327"/>
                </a:moveTo>
                <a:cubicBezTo>
                  <a:pt x="1765585" y="6545327"/>
                  <a:pt x="1763057" y="6547191"/>
                  <a:pt x="1761460" y="6548921"/>
                </a:cubicBezTo>
                <a:cubicBezTo>
                  <a:pt x="1758931" y="6551583"/>
                  <a:pt x="1757867" y="6554379"/>
                  <a:pt x="1757867" y="6558372"/>
                </a:cubicBezTo>
                <a:cubicBezTo>
                  <a:pt x="1757867" y="6562499"/>
                  <a:pt x="1758931" y="6565294"/>
                  <a:pt x="1761460" y="6567823"/>
                </a:cubicBezTo>
                <a:cubicBezTo>
                  <a:pt x="1763057" y="6569422"/>
                  <a:pt x="1765585" y="6571286"/>
                  <a:pt x="1771442" y="6571286"/>
                </a:cubicBezTo>
                <a:cubicBezTo>
                  <a:pt x="1773439" y="6571286"/>
                  <a:pt x="1775303" y="6570886"/>
                  <a:pt x="1776767" y="6570354"/>
                </a:cubicBezTo>
                <a:cubicBezTo>
                  <a:pt x="1778231" y="6569821"/>
                  <a:pt x="1779560" y="6569022"/>
                  <a:pt x="1780493" y="6567957"/>
                </a:cubicBezTo>
                <a:cubicBezTo>
                  <a:pt x="1781558" y="6566759"/>
                  <a:pt x="1782489" y="6565427"/>
                  <a:pt x="1783156" y="6563697"/>
                </a:cubicBezTo>
                <a:cubicBezTo>
                  <a:pt x="1783821" y="6562100"/>
                  <a:pt x="1784221" y="6560236"/>
                  <a:pt x="1784221" y="6558239"/>
                </a:cubicBezTo>
                <a:cubicBezTo>
                  <a:pt x="1784221" y="6556375"/>
                  <a:pt x="1783821" y="6554645"/>
                  <a:pt x="1783156" y="6553047"/>
                </a:cubicBezTo>
                <a:cubicBezTo>
                  <a:pt x="1782489" y="6551450"/>
                  <a:pt x="1781558" y="6550119"/>
                  <a:pt x="1780493" y="6548921"/>
                </a:cubicBezTo>
                <a:cubicBezTo>
                  <a:pt x="1779428" y="6547856"/>
                  <a:pt x="1778098" y="6546924"/>
                  <a:pt x="1776501" y="6546259"/>
                </a:cubicBezTo>
                <a:cubicBezTo>
                  <a:pt x="1775036" y="6545593"/>
                  <a:pt x="1773439" y="6545327"/>
                  <a:pt x="1771442" y="6545327"/>
                </a:cubicBezTo>
                <a:close/>
                <a:moveTo>
                  <a:pt x="1553807" y="6545327"/>
                </a:moveTo>
                <a:cubicBezTo>
                  <a:pt x="1547949" y="6545327"/>
                  <a:pt x="1545420" y="6547191"/>
                  <a:pt x="1543824" y="6548921"/>
                </a:cubicBezTo>
                <a:cubicBezTo>
                  <a:pt x="1541294" y="6551583"/>
                  <a:pt x="1540229" y="6554379"/>
                  <a:pt x="1540229" y="6558372"/>
                </a:cubicBezTo>
                <a:cubicBezTo>
                  <a:pt x="1540229" y="6562499"/>
                  <a:pt x="1541294" y="6565294"/>
                  <a:pt x="1543824" y="6567823"/>
                </a:cubicBezTo>
                <a:cubicBezTo>
                  <a:pt x="1545420" y="6569422"/>
                  <a:pt x="1547949" y="6571286"/>
                  <a:pt x="1553807" y="6571286"/>
                </a:cubicBezTo>
                <a:cubicBezTo>
                  <a:pt x="1555803" y="6571286"/>
                  <a:pt x="1557667" y="6570886"/>
                  <a:pt x="1559131" y="6570354"/>
                </a:cubicBezTo>
                <a:cubicBezTo>
                  <a:pt x="1560595" y="6569821"/>
                  <a:pt x="1561927" y="6569022"/>
                  <a:pt x="1562858" y="6567957"/>
                </a:cubicBezTo>
                <a:cubicBezTo>
                  <a:pt x="1563923" y="6566759"/>
                  <a:pt x="1564855" y="6565427"/>
                  <a:pt x="1565521" y="6563697"/>
                </a:cubicBezTo>
                <a:cubicBezTo>
                  <a:pt x="1566186" y="6562100"/>
                  <a:pt x="1566587" y="6560236"/>
                  <a:pt x="1566587" y="6558239"/>
                </a:cubicBezTo>
                <a:cubicBezTo>
                  <a:pt x="1566587" y="6556375"/>
                  <a:pt x="1566186" y="6554645"/>
                  <a:pt x="1565521" y="6553047"/>
                </a:cubicBezTo>
                <a:cubicBezTo>
                  <a:pt x="1564855" y="6551450"/>
                  <a:pt x="1563923" y="6550119"/>
                  <a:pt x="1562858" y="6548921"/>
                </a:cubicBezTo>
                <a:cubicBezTo>
                  <a:pt x="1561793" y="6547856"/>
                  <a:pt x="1560463" y="6546924"/>
                  <a:pt x="1558865" y="6546259"/>
                </a:cubicBezTo>
                <a:cubicBezTo>
                  <a:pt x="1557401" y="6545593"/>
                  <a:pt x="1555803" y="6545327"/>
                  <a:pt x="1553807" y="6545327"/>
                </a:cubicBezTo>
                <a:close/>
                <a:moveTo>
                  <a:pt x="1336163" y="6545327"/>
                </a:moveTo>
                <a:cubicBezTo>
                  <a:pt x="1330305" y="6545327"/>
                  <a:pt x="1327776" y="6547191"/>
                  <a:pt x="1326179" y="6548921"/>
                </a:cubicBezTo>
                <a:cubicBezTo>
                  <a:pt x="1323649" y="6551583"/>
                  <a:pt x="1322585" y="6554379"/>
                  <a:pt x="1322585" y="6558372"/>
                </a:cubicBezTo>
                <a:cubicBezTo>
                  <a:pt x="1322585" y="6562499"/>
                  <a:pt x="1323649" y="6565294"/>
                  <a:pt x="1326179" y="6567823"/>
                </a:cubicBezTo>
                <a:cubicBezTo>
                  <a:pt x="1327776" y="6569422"/>
                  <a:pt x="1330305" y="6571286"/>
                  <a:pt x="1336163" y="6571286"/>
                </a:cubicBezTo>
                <a:cubicBezTo>
                  <a:pt x="1338293" y="6571286"/>
                  <a:pt x="1340023" y="6570886"/>
                  <a:pt x="1341490" y="6570354"/>
                </a:cubicBezTo>
                <a:cubicBezTo>
                  <a:pt x="1342953" y="6569821"/>
                  <a:pt x="1344285" y="6569022"/>
                  <a:pt x="1345217" y="6567957"/>
                </a:cubicBezTo>
                <a:cubicBezTo>
                  <a:pt x="1346281" y="6566759"/>
                  <a:pt x="1347214" y="6565427"/>
                  <a:pt x="1347879" y="6563697"/>
                </a:cubicBezTo>
                <a:cubicBezTo>
                  <a:pt x="1348545" y="6562100"/>
                  <a:pt x="1348945" y="6560236"/>
                  <a:pt x="1348945" y="6558239"/>
                </a:cubicBezTo>
                <a:cubicBezTo>
                  <a:pt x="1348945" y="6556375"/>
                  <a:pt x="1348545" y="6554645"/>
                  <a:pt x="1347879" y="6553047"/>
                </a:cubicBezTo>
                <a:cubicBezTo>
                  <a:pt x="1347214" y="6551450"/>
                  <a:pt x="1346281" y="6550119"/>
                  <a:pt x="1345217" y="6548921"/>
                </a:cubicBezTo>
                <a:cubicBezTo>
                  <a:pt x="1344152" y="6547856"/>
                  <a:pt x="1342821" y="6546924"/>
                  <a:pt x="1341222" y="6546259"/>
                </a:cubicBezTo>
                <a:cubicBezTo>
                  <a:pt x="1339758" y="6545593"/>
                  <a:pt x="1338159" y="6545327"/>
                  <a:pt x="1336163" y="6545327"/>
                </a:cubicBezTo>
                <a:close/>
                <a:moveTo>
                  <a:pt x="1118651" y="6545327"/>
                </a:moveTo>
                <a:cubicBezTo>
                  <a:pt x="1112792" y="6545327"/>
                  <a:pt x="1110262" y="6547191"/>
                  <a:pt x="1108665" y="6548921"/>
                </a:cubicBezTo>
                <a:cubicBezTo>
                  <a:pt x="1106003" y="6551583"/>
                  <a:pt x="1104938" y="6554379"/>
                  <a:pt x="1104938" y="6558372"/>
                </a:cubicBezTo>
                <a:cubicBezTo>
                  <a:pt x="1104938" y="6562499"/>
                  <a:pt x="1106003" y="6565294"/>
                  <a:pt x="1108533" y="6567823"/>
                </a:cubicBezTo>
                <a:cubicBezTo>
                  <a:pt x="1110130" y="6569422"/>
                  <a:pt x="1112659" y="6571286"/>
                  <a:pt x="1118518" y="6571286"/>
                </a:cubicBezTo>
                <a:cubicBezTo>
                  <a:pt x="1120648" y="6571286"/>
                  <a:pt x="1122379" y="6570886"/>
                  <a:pt x="1123974" y="6570354"/>
                </a:cubicBezTo>
                <a:cubicBezTo>
                  <a:pt x="1125440" y="6569821"/>
                  <a:pt x="1126775" y="6569022"/>
                  <a:pt x="1127705" y="6567957"/>
                </a:cubicBezTo>
                <a:cubicBezTo>
                  <a:pt x="1128771" y="6566759"/>
                  <a:pt x="1129703" y="6565427"/>
                  <a:pt x="1130369" y="6563697"/>
                </a:cubicBezTo>
                <a:cubicBezTo>
                  <a:pt x="1131034" y="6562100"/>
                  <a:pt x="1131434" y="6560236"/>
                  <a:pt x="1131434" y="6558239"/>
                </a:cubicBezTo>
                <a:cubicBezTo>
                  <a:pt x="1131434" y="6556375"/>
                  <a:pt x="1131034" y="6554645"/>
                  <a:pt x="1130369" y="6553047"/>
                </a:cubicBezTo>
                <a:cubicBezTo>
                  <a:pt x="1129703" y="6551450"/>
                  <a:pt x="1128771" y="6550119"/>
                  <a:pt x="1127705" y="6548921"/>
                </a:cubicBezTo>
                <a:cubicBezTo>
                  <a:pt x="1126641" y="6547856"/>
                  <a:pt x="1125308" y="6546924"/>
                  <a:pt x="1123710" y="6546259"/>
                </a:cubicBezTo>
                <a:cubicBezTo>
                  <a:pt x="1122246" y="6545593"/>
                  <a:pt x="1120648" y="6545327"/>
                  <a:pt x="1118651" y="6545327"/>
                </a:cubicBezTo>
                <a:close/>
                <a:moveTo>
                  <a:pt x="901139" y="6545327"/>
                </a:moveTo>
                <a:cubicBezTo>
                  <a:pt x="895281" y="6545327"/>
                  <a:pt x="892751" y="6547191"/>
                  <a:pt x="891154" y="6548921"/>
                </a:cubicBezTo>
                <a:cubicBezTo>
                  <a:pt x="888491" y="6551583"/>
                  <a:pt x="887428" y="6554379"/>
                  <a:pt x="887428" y="6558372"/>
                </a:cubicBezTo>
                <a:cubicBezTo>
                  <a:pt x="887428" y="6562499"/>
                  <a:pt x="888491" y="6565294"/>
                  <a:pt x="891022" y="6567823"/>
                </a:cubicBezTo>
                <a:cubicBezTo>
                  <a:pt x="892619" y="6569422"/>
                  <a:pt x="895148" y="6571286"/>
                  <a:pt x="901005" y="6571286"/>
                </a:cubicBezTo>
                <a:cubicBezTo>
                  <a:pt x="903002" y="6571286"/>
                  <a:pt x="904733" y="6570886"/>
                  <a:pt x="906463" y="6570354"/>
                </a:cubicBezTo>
                <a:cubicBezTo>
                  <a:pt x="907927" y="6569821"/>
                  <a:pt x="909259" y="6569022"/>
                  <a:pt x="910191" y="6567957"/>
                </a:cubicBezTo>
                <a:cubicBezTo>
                  <a:pt x="911255" y="6566759"/>
                  <a:pt x="912187" y="6565427"/>
                  <a:pt x="912853" y="6563697"/>
                </a:cubicBezTo>
                <a:cubicBezTo>
                  <a:pt x="913518" y="6562100"/>
                  <a:pt x="913918" y="6560236"/>
                  <a:pt x="913918" y="6558239"/>
                </a:cubicBezTo>
                <a:cubicBezTo>
                  <a:pt x="913918" y="6556375"/>
                  <a:pt x="913518" y="6554645"/>
                  <a:pt x="912853" y="6553047"/>
                </a:cubicBezTo>
                <a:cubicBezTo>
                  <a:pt x="912187" y="6551450"/>
                  <a:pt x="911255" y="6550119"/>
                  <a:pt x="910191" y="6548921"/>
                </a:cubicBezTo>
                <a:cubicBezTo>
                  <a:pt x="909126" y="6547856"/>
                  <a:pt x="907794" y="6546924"/>
                  <a:pt x="906197" y="6546259"/>
                </a:cubicBezTo>
                <a:cubicBezTo>
                  <a:pt x="904733" y="6545593"/>
                  <a:pt x="903135" y="6545327"/>
                  <a:pt x="901139" y="6545327"/>
                </a:cubicBezTo>
                <a:close/>
                <a:moveTo>
                  <a:pt x="683365" y="6545327"/>
                </a:moveTo>
                <a:cubicBezTo>
                  <a:pt x="677508" y="6545327"/>
                  <a:pt x="674979" y="6547191"/>
                  <a:pt x="673382" y="6548921"/>
                </a:cubicBezTo>
                <a:cubicBezTo>
                  <a:pt x="670852" y="6551583"/>
                  <a:pt x="669788" y="6554379"/>
                  <a:pt x="669788" y="6558372"/>
                </a:cubicBezTo>
                <a:cubicBezTo>
                  <a:pt x="669788" y="6562499"/>
                  <a:pt x="670852" y="6565294"/>
                  <a:pt x="673382" y="6567823"/>
                </a:cubicBezTo>
                <a:cubicBezTo>
                  <a:pt x="674979" y="6569422"/>
                  <a:pt x="677508" y="6571286"/>
                  <a:pt x="683365" y="6571286"/>
                </a:cubicBezTo>
                <a:cubicBezTo>
                  <a:pt x="685362" y="6571286"/>
                  <a:pt x="687226" y="6570886"/>
                  <a:pt x="688691" y="6570354"/>
                </a:cubicBezTo>
                <a:cubicBezTo>
                  <a:pt x="690154" y="6569821"/>
                  <a:pt x="691486" y="6569022"/>
                  <a:pt x="692417" y="6567957"/>
                </a:cubicBezTo>
                <a:cubicBezTo>
                  <a:pt x="693482" y="6566759"/>
                  <a:pt x="694414" y="6565427"/>
                  <a:pt x="695081" y="6563697"/>
                </a:cubicBezTo>
                <a:cubicBezTo>
                  <a:pt x="695746" y="6562100"/>
                  <a:pt x="696146" y="6560236"/>
                  <a:pt x="696146" y="6558239"/>
                </a:cubicBezTo>
                <a:cubicBezTo>
                  <a:pt x="696146" y="6556375"/>
                  <a:pt x="695746" y="6554645"/>
                  <a:pt x="695081" y="6553047"/>
                </a:cubicBezTo>
                <a:cubicBezTo>
                  <a:pt x="694414" y="6551450"/>
                  <a:pt x="693482" y="6550119"/>
                  <a:pt x="692417" y="6548921"/>
                </a:cubicBezTo>
                <a:cubicBezTo>
                  <a:pt x="691352" y="6547856"/>
                  <a:pt x="690021" y="6546924"/>
                  <a:pt x="688424" y="6546259"/>
                </a:cubicBezTo>
                <a:cubicBezTo>
                  <a:pt x="686960" y="6545593"/>
                  <a:pt x="685362" y="6545327"/>
                  <a:pt x="683365" y="6545327"/>
                </a:cubicBezTo>
                <a:close/>
                <a:moveTo>
                  <a:pt x="465725" y="6545327"/>
                </a:moveTo>
                <a:cubicBezTo>
                  <a:pt x="459867" y="6545327"/>
                  <a:pt x="457339" y="6547191"/>
                  <a:pt x="455741" y="6548921"/>
                </a:cubicBezTo>
                <a:cubicBezTo>
                  <a:pt x="453211" y="6551583"/>
                  <a:pt x="452147" y="6554379"/>
                  <a:pt x="452147" y="6558372"/>
                </a:cubicBezTo>
                <a:cubicBezTo>
                  <a:pt x="452147" y="6562499"/>
                  <a:pt x="453211" y="6565294"/>
                  <a:pt x="455741" y="6567823"/>
                </a:cubicBezTo>
                <a:cubicBezTo>
                  <a:pt x="457339" y="6569422"/>
                  <a:pt x="459867" y="6571286"/>
                  <a:pt x="465725" y="6571286"/>
                </a:cubicBezTo>
                <a:cubicBezTo>
                  <a:pt x="467722" y="6571286"/>
                  <a:pt x="469586" y="6570886"/>
                  <a:pt x="471050" y="6570354"/>
                </a:cubicBezTo>
                <a:cubicBezTo>
                  <a:pt x="472514" y="6569821"/>
                  <a:pt x="473845" y="6569022"/>
                  <a:pt x="474777" y="6567957"/>
                </a:cubicBezTo>
                <a:cubicBezTo>
                  <a:pt x="475842" y="6566759"/>
                  <a:pt x="476774" y="6565427"/>
                  <a:pt x="477440" y="6563697"/>
                </a:cubicBezTo>
                <a:cubicBezTo>
                  <a:pt x="478105" y="6562100"/>
                  <a:pt x="478505" y="6560236"/>
                  <a:pt x="478505" y="6558239"/>
                </a:cubicBezTo>
                <a:cubicBezTo>
                  <a:pt x="478505" y="6556375"/>
                  <a:pt x="478105" y="6554645"/>
                  <a:pt x="477440" y="6553047"/>
                </a:cubicBezTo>
                <a:cubicBezTo>
                  <a:pt x="476774" y="6551450"/>
                  <a:pt x="475842" y="6550119"/>
                  <a:pt x="474777" y="6548921"/>
                </a:cubicBezTo>
                <a:cubicBezTo>
                  <a:pt x="473712" y="6547856"/>
                  <a:pt x="472381" y="6546924"/>
                  <a:pt x="470784" y="6546259"/>
                </a:cubicBezTo>
                <a:cubicBezTo>
                  <a:pt x="469319" y="6545593"/>
                  <a:pt x="467722" y="6545327"/>
                  <a:pt x="465725" y="6545327"/>
                </a:cubicBezTo>
                <a:close/>
                <a:moveTo>
                  <a:pt x="248084" y="6545327"/>
                </a:moveTo>
                <a:cubicBezTo>
                  <a:pt x="242227" y="6545327"/>
                  <a:pt x="239698" y="6547191"/>
                  <a:pt x="238101" y="6548921"/>
                </a:cubicBezTo>
                <a:cubicBezTo>
                  <a:pt x="235572" y="6551583"/>
                  <a:pt x="234508" y="6554379"/>
                  <a:pt x="234508" y="6558372"/>
                </a:cubicBezTo>
                <a:cubicBezTo>
                  <a:pt x="234508" y="6562499"/>
                  <a:pt x="235572" y="6565294"/>
                  <a:pt x="238101" y="6567823"/>
                </a:cubicBezTo>
                <a:cubicBezTo>
                  <a:pt x="239698" y="6569422"/>
                  <a:pt x="242227" y="6571286"/>
                  <a:pt x="248084" y="6571286"/>
                </a:cubicBezTo>
                <a:cubicBezTo>
                  <a:pt x="250214" y="6571286"/>
                  <a:pt x="251944" y="6570886"/>
                  <a:pt x="253408" y="6570354"/>
                </a:cubicBezTo>
                <a:cubicBezTo>
                  <a:pt x="254872" y="6569821"/>
                  <a:pt x="256203" y="6569022"/>
                  <a:pt x="257135" y="6567957"/>
                </a:cubicBezTo>
                <a:cubicBezTo>
                  <a:pt x="258200" y="6566759"/>
                  <a:pt x="259132" y="6565427"/>
                  <a:pt x="259798" y="6563697"/>
                </a:cubicBezTo>
                <a:cubicBezTo>
                  <a:pt x="260463" y="6562100"/>
                  <a:pt x="260863" y="6560236"/>
                  <a:pt x="260863" y="6558239"/>
                </a:cubicBezTo>
                <a:cubicBezTo>
                  <a:pt x="260863" y="6556375"/>
                  <a:pt x="260463" y="6554645"/>
                  <a:pt x="259798" y="6553047"/>
                </a:cubicBezTo>
                <a:cubicBezTo>
                  <a:pt x="259132" y="6551450"/>
                  <a:pt x="258200" y="6550119"/>
                  <a:pt x="257135" y="6548921"/>
                </a:cubicBezTo>
                <a:cubicBezTo>
                  <a:pt x="256070" y="6547856"/>
                  <a:pt x="254739" y="6546924"/>
                  <a:pt x="253142" y="6546259"/>
                </a:cubicBezTo>
                <a:cubicBezTo>
                  <a:pt x="251677" y="6545593"/>
                  <a:pt x="250081" y="6545327"/>
                  <a:pt x="248084" y="6545327"/>
                </a:cubicBezTo>
                <a:close/>
                <a:moveTo>
                  <a:pt x="30443" y="6545327"/>
                </a:moveTo>
                <a:cubicBezTo>
                  <a:pt x="24586" y="6545327"/>
                  <a:pt x="22056" y="6547191"/>
                  <a:pt x="20459" y="6548921"/>
                </a:cubicBezTo>
                <a:cubicBezTo>
                  <a:pt x="17930" y="6551583"/>
                  <a:pt x="16866" y="6554379"/>
                  <a:pt x="16866" y="6558372"/>
                </a:cubicBezTo>
                <a:cubicBezTo>
                  <a:pt x="16866" y="6562499"/>
                  <a:pt x="17930" y="6565294"/>
                  <a:pt x="20459" y="6567823"/>
                </a:cubicBezTo>
                <a:cubicBezTo>
                  <a:pt x="22056" y="6569422"/>
                  <a:pt x="24586" y="6571286"/>
                  <a:pt x="30443" y="6571286"/>
                </a:cubicBezTo>
                <a:cubicBezTo>
                  <a:pt x="32573" y="6571286"/>
                  <a:pt x="34304" y="6570886"/>
                  <a:pt x="35768" y="6570354"/>
                </a:cubicBezTo>
                <a:cubicBezTo>
                  <a:pt x="37232" y="6569821"/>
                  <a:pt x="38564" y="6569022"/>
                  <a:pt x="39495" y="6567957"/>
                </a:cubicBezTo>
                <a:cubicBezTo>
                  <a:pt x="40560" y="6566759"/>
                  <a:pt x="41492" y="6565427"/>
                  <a:pt x="42158" y="6563697"/>
                </a:cubicBezTo>
                <a:cubicBezTo>
                  <a:pt x="42823" y="6562100"/>
                  <a:pt x="43089" y="6560236"/>
                  <a:pt x="43089" y="6558239"/>
                </a:cubicBezTo>
                <a:cubicBezTo>
                  <a:pt x="43089" y="6556375"/>
                  <a:pt x="42823" y="6554645"/>
                  <a:pt x="42158" y="6553047"/>
                </a:cubicBezTo>
                <a:cubicBezTo>
                  <a:pt x="41492" y="6551450"/>
                  <a:pt x="40560" y="6550119"/>
                  <a:pt x="39495" y="6548921"/>
                </a:cubicBezTo>
                <a:cubicBezTo>
                  <a:pt x="38430" y="6547856"/>
                  <a:pt x="37099" y="6546924"/>
                  <a:pt x="35502" y="6546259"/>
                </a:cubicBezTo>
                <a:cubicBezTo>
                  <a:pt x="34038" y="6545593"/>
                  <a:pt x="32440" y="6545327"/>
                  <a:pt x="30443" y="6545327"/>
                </a:cubicBezTo>
                <a:close/>
                <a:moveTo>
                  <a:pt x="10475977" y="6528554"/>
                </a:moveTo>
                <a:cubicBezTo>
                  <a:pt x="10480237" y="6528554"/>
                  <a:pt x="10484230" y="6529353"/>
                  <a:pt x="10487824" y="6531083"/>
                </a:cubicBezTo>
                <a:cubicBezTo>
                  <a:pt x="10491419" y="6532681"/>
                  <a:pt x="10494613" y="6534810"/>
                  <a:pt x="10497143" y="6537473"/>
                </a:cubicBezTo>
                <a:cubicBezTo>
                  <a:pt x="10499672" y="6540002"/>
                  <a:pt x="10501801" y="6543197"/>
                  <a:pt x="10503266" y="6546791"/>
                </a:cubicBezTo>
                <a:cubicBezTo>
                  <a:pt x="10504730" y="6550385"/>
                  <a:pt x="10505529" y="6554246"/>
                  <a:pt x="10505529" y="6558239"/>
                </a:cubicBezTo>
                <a:cubicBezTo>
                  <a:pt x="10505529" y="6562366"/>
                  <a:pt x="10504730" y="6566359"/>
                  <a:pt x="10503266" y="6569954"/>
                </a:cubicBezTo>
                <a:cubicBezTo>
                  <a:pt x="10501669" y="6573548"/>
                  <a:pt x="10499672" y="6576610"/>
                  <a:pt x="10497143" y="6579272"/>
                </a:cubicBezTo>
                <a:cubicBezTo>
                  <a:pt x="10494480" y="6581935"/>
                  <a:pt x="10491419" y="6584065"/>
                  <a:pt x="10487824" y="6585529"/>
                </a:cubicBezTo>
                <a:cubicBezTo>
                  <a:pt x="10484098" y="6586993"/>
                  <a:pt x="10480237" y="6587792"/>
                  <a:pt x="10475977" y="6587792"/>
                </a:cubicBezTo>
                <a:cubicBezTo>
                  <a:pt x="10466924" y="6587792"/>
                  <a:pt x="10459736" y="6584863"/>
                  <a:pt x="10454145" y="6579272"/>
                </a:cubicBezTo>
                <a:cubicBezTo>
                  <a:pt x="10448554" y="6573682"/>
                  <a:pt x="10445759" y="6566625"/>
                  <a:pt x="10445759" y="6558106"/>
                </a:cubicBezTo>
                <a:cubicBezTo>
                  <a:pt x="10445759" y="6549853"/>
                  <a:pt x="10448554" y="6542798"/>
                  <a:pt x="10454145" y="6537074"/>
                </a:cubicBezTo>
                <a:cubicBezTo>
                  <a:pt x="10459603" y="6531350"/>
                  <a:pt x="10466924" y="6528554"/>
                  <a:pt x="10475977" y="6528554"/>
                </a:cubicBezTo>
                <a:close/>
                <a:moveTo>
                  <a:pt x="10258466" y="6528554"/>
                </a:moveTo>
                <a:cubicBezTo>
                  <a:pt x="10262592" y="6528554"/>
                  <a:pt x="10266586" y="6529353"/>
                  <a:pt x="10270313" y="6531083"/>
                </a:cubicBezTo>
                <a:cubicBezTo>
                  <a:pt x="10273907" y="6532681"/>
                  <a:pt x="10277101" y="6534810"/>
                  <a:pt x="10279631" y="6537473"/>
                </a:cubicBezTo>
                <a:cubicBezTo>
                  <a:pt x="10282160" y="6540002"/>
                  <a:pt x="10284290" y="6543197"/>
                  <a:pt x="10285754" y="6546791"/>
                </a:cubicBezTo>
                <a:cubicBezTo>
                  <a:pt x="10287218" y="6550385"/>
                  <a:pt x="10288017" y="6554246"/>
                  <a:pt x="10288017" y="6558239"/>
                </a:cubicBezTo>
                <a:cubicBezTo>
                  <a:pt x="10288017" y="6562366"/>
                  <a:pt x="10287218" y="6566359"/>
                  <a:pt x="10285754" y="6569954"/>
                </a:cubicBezTo>
                <a:cubicBezTo>
                  <a:pt x="10284157" y="6573548"/>
                  <a:pt x="10282160" y="6576610"/>
                  <a:pt x="10279631" y="6579272"/>
                </a:cubicBezTo>
                <a:cubicBezTo>
                  <a:pt x="10276969" y="6581935"/>
                  <a:pt x="10273907" y="6584065"/>
                  <a:pt x="10270313" y="6585529"/>
                </a:cubicBezTo>
                <a:cubicBezTo>
                  <a:pt x="10266586" y="6586993"/>
                  <a:pt x="10262725" y="6587792"/>
                  <a:pt x="10258466" y="6587792"/>
                </a:cubicBezTo>
                <a:cubicBezTo>
                  <a:pt x="10249546" y="6587792"/>
                  <a:pt x="10242224" y="6584863"/>
                  <a:pt x="10236633" y="6579272"/>
                </a:cubicBezTo>
                <a:cubicBezTo>
                  <a:pt x="10231043" y="6573682"/>
                  <a:pt x="10228247" y="6566625"/>
                  <a:pt x="10228247" y="6558106"/>
                </a:cubicBezTo>
                <a:cubicBezTo>
                  <a:pt x="10228247" y="6549853"/>
                  <a:pt x="10231043" y="6542798"/>
                  <a:pt x="10236633" y="6537074"/>
                </a:cubicBezTo>
                <a:cubicBezTo>
                  <a:pt x="10242092" y="6531350"/>
                  <a:pt x="10249413" y="6528554"/>
                  <a:pt x="10258466" y="6528554"/>
                </a:cubicBezTo>
                <a:close/>
                <a:moveTo>
                  <a:pt x="10040820" y="6528554"/>
                </a:moveTo>
                <a:cubicBezTo>
                  <a:pt x="10045080" y="6528554"/>
                  <a:pt x="10048941" y="6529353"/>
                  <a:pt x="10052534" y="6531083"/>
                </a:cubicBezTo>
                <a:cubicBezTo>
                  <a:pt x="10056129" y="6532681"/>
                  <a:pt x="10059323" y="6534810"/>
                  <a:pt x="10061852" y="6537473"/>
                </a:cubicBezTo>
                <a:cubicBezTo>
                  <a:pt x="10064382" y="6540002"/>
                  <a:pt x="10066512" y="6543197"/>
                  <a:pt x="10067976" y="6546791"/>
                </a:cubicBezTo>
                <a:cubicBezTo>
                  <a:pt x="10069440" y="6550385"/>
                  <a:pt x="10070239" y="6554246"/>
                  <a:pt x="10070239" y="6558239"/>
                </a:cubicBezTo>
                <a:cubicBezTo>
                  <a:pt x="10070239" y="6562366"/>
                  <a:pt x="10069440" y="6566359"/>
                  <a:pt x="10067976" y="6569954"/>
                </a:cubicBezTo>
                <a:cubicBezTo>
                  <a:pt x="10066379" y="6573548"/>
                  <a:pt x="10064382" y="6576610"/>
                  <a:pt x="10061852" y="6579272"/>
                </a:cubicBezTo>
                <a:cubicBezTo>
                  <a:pt x="10059190" y="6581935"/>
                  <a:pt x="10056129" y="6584065"/>
                  <a:pt x="10052534" y="6585529"/>
                </a:cubicBezTo>
                <a:cubicBezTo>
                  <a:pt x="10048941" y="6586993"/>
                  <a:pt x="10045080" y="6587792"/>
                  <a:pt x="10040820" y="6587792"/>
                </a:cubicBezTo>
                <a:cubicBezTo>
                  <a:pt x="10031767" y="6587792"/>
                  <a:pt x="10024579" y="6584863"/>
                  <a:pt x="10018988" y="6579272"/>
                </a:cubicBezTo>
                <a:cubicBezTo>
                  <a:pt x="10013397" y="6573682"/>
                  <a:pt x="10010602" y="6566625"/>
                  <a:pt x="10010602" y="6558106"/>
                </a:cubicBezTo>
                <a:cubicBezTo>
                  <a:pt x="10010602" y="6549853"/>
                  <a:pt x="10013397" y="6542798"/>
                  <a:pt x="10018988" y="6537074"/>
                </a:cubicBezTo>
                <a:cubicBezTo>
                  <a:pt x="10024579" y="6531350"/>
                  <a:pt x="10031767" y="6528554"/>
                  <a:pt x="10040820" y="6528554"/>
                </a:cubicBezTo>
                <a:close/>
                <a:moveTo>
                  <a:pt x="9823176" y="6528554"/>
                </a:moveTo>
                <a:cubicBezTo>
                  <a:pt x="9827435" y="6528554"/>
                  <a:pt x="9831296" y="6529353"/>
                  <a:pt x="9834890" y="6531083"/>
                </a:cubicBezTo>
                <a:cubicBezTo>
                  <a:pt x="9838617" y="6532681"/>
                  <a:pt x="9841679" y="6534810"/>
                  <a:pt x="9844208" y="6537473"/>
                </a:cubicBezTo>
                <a:cubicBezTo>
                  <a:pt x="9846737" y="6540002"/>
                  <a:pt x="9848867" y="6543197"/>
                  <a:pt x="9850331" y="6546791"/>
                </a:cubicBezTo>
                <a:cubicBezTo>
                  <a:pt x="9851796" y="6550385"/>
                  <a:pt x="9852595" y="6554246"/>
                  <a:pt x="9852595" y="6558239"/>
                </a:cubicBezTo>
                <a:cubicBezTo>
                  <a:pt x="9852595" y="6562366"/>
                  <a:pt x="9851796" y="6566359"/>
                  <a:pt x="9850331" y="6569954"/>
                </a:cubicBezTo>
                <a:cubicBezTo>
                  <a:pt x="9848734" y="6573548"/>
                  <a:pt x="9846737" y="6576610"/>
                  <a:pt x="9844208" y="6579272"/>
                </a:cubicBezTo>
                <a:cubicBezTo>
                  <a:pt x="9841546" y="6581935"/>
                  <a:pt x="9838484" y="6584065"/>
                  <a:pt x="9834890" y="6585529"/>
                </a:cubicBezTo>
                <a:cubicBezTo>
                  <a:pt x="9831296" y="6586993"/>
                  <a:pt x="9827435" y="6587792"/>
                  <a:pt x="9823176" y="6587792"/>
                </a:cubicBezTo>
                <a:cubicBezTo>
                  <a:pt x="9814123" y="6587792"/>
                  <a:pt x="9806935" y="6584863"/>
                  <a:pt x="9801343" y="6579272"/>
                </a:cubicBezTo>
                <a:cubicBezTo>
                  <a:pt x="9795753" y="6573682"/>
                  <a:pt x="9792957" y="6566625"/>
                  <a:pt x="9792957" y="6558106"/>
                </a:cubicBezTo>
                <a:cubicBezTo>
                  <a:pt x="9792957" y="6549853"/>
                  <a:pt x="9795753" y="6542798"/>
                  <a:pt x="9801343" y="6537074"/>
                </a:cubicBezTo>
                <a:cubicBezTo>
                  <a:pt x="9806935" y="6531350"/>
                  <a:pt x="9814123" y="6528554"/>
                  <a:pt x="9823176" y="6528554"/>
                </a:cubicBezTo>
                <a:close/>
                <a:moveTo>
                  <a:pt x="9605531" y="6528554"/>
                </a:moveTo>
                <a:cubicBezTo>
                  <a:pt x="9609790" y="6528554"/>
                  <a:pt x="9613784" y="6529353"/>
                  <a:pt x="9617245" y="6531083"/>
                </a:cubicBezTo>
                <a:cubicBezTo>
                  <a:pt x="9620839" y="6532681"/>
                  <a:pt x="9624033" y="6534810"/>
                  <a:pt x="9626562" y="6537473"/>
                </a:cubicBezTo>
                <a:cubicBezTo>
                  <a:pt x="9629092" y="6540002"/>
                  <a:pt x="9631222" y="6543197"/>
                  <a:pt x="9632686" y="6546791"/>
                </a:cubicBezTo>
                <a:cubicBezTo>
                  <a:pt x="9634150" y="6550385"/>
                  <a:pt x="9634949" y="6554246"/>
                  <a:pt x="9634949" y="6558239"/>
                </a:cubicBezTo>
                <a:cubicBezTo>
                  <a:pt x="9634949" y="6562366"/>
                  <a:pt x="9634150" y="6566359"/>
                  <a:pt x="9632686" y="6569954"/>
                </a:cubicBezTo>
                <a:cubicBezTo>
                  <a:pt x="9631089" y="6573548"/>
                  <a:pt x="9629092" y="6576610"/>
                  <a:pt x="9626562" y="6579272"/>
                </a:cubicBezTo>
                <a:cubicBezTo>
                  <a:pt x="9623901" y="6581935"/>
                  <a:pt x="9620839" y="6584065"/>
                  <a:pt x="9617245" y="6585529"/>
                </a:cubicBezTo>
                <a:cubicBezTo>
                  <a:pt x="9613651" y="6586993"/>
                  <a:pt x="9609790" y="6587792"/>
                  <a:pt x="9605531" y="6587792"/>
                </a:cubicBezTo>
                <a:cubicBezTo>
                  <a:pt x="9596610" y="6587792"/>
                  <a:pt x="9589289" y="6584863"/>
                  <a:pt x="9583698" y="6579272"/>
                </a:cubicBezTo>
                <a:cubicBezTo>
                  <a:pt x="9578108" y="6573682"/>
                  <a:pt x="9575312" y="6566625"/>
                  <a:pt x="9575312" y="6558106"/>
                </a:cubicBezTo>
                <a:cubicBezTo>
                  <a:pt x="9575312" y="6549853"/>
                  <a:pt x="9578108" y="6542798"/>
                  <a:pt x="9583698" y="6537074"/>
                </a:cubicBezTo>
                <a:cubicBezTo>
                  <a:pt x="9589289" y="6531350"/>
                  <a:pt x="9596478" y="6528554"/>
                  <a:pt x="9605531" y="6528554"/>
                </a:cubicBezTo>
                <a:close/>
                <a:moveTo>
                  <a:pt x="9387885" y="6528554"/>
                </a:moveTo>
                <a:cubicBezTo>
                  <a:pt x="9392145" y="6528554"/>
                  <a:pt x="9396138" y="6529353"/>
                  <a:pt x="9399599" y="6531083"/>
                </a:cubicBezTo>
                <a:cubicBezTo>
                  <a:pt x="9403194" y="6532681"/>
                  <a:pt x="9406388" y="6534810"/>
                  <a:pt x="9408917" y="6537473"/>
                </a:cubicBezTo>
                <a:cubicBezTo>
                  <a:pt x="9411447" y="6540002"/>
                  <a:pt x="9413576" y="6543197"/>
                  <a:pt x="9415041" y="6546791"/>
                </a:cubicBezTo>
                <a:cubicBezTo>
                  <a:pt x="9416505" y="6550385"/>
                  <a:pt x="9417304" y="6554246"/>
                  <a:pt x="9417304" y="6558239"/>
                </a:cubicBezTo>
                <a:cubicBezTo>
                  <a:pt x="9417304" y="6562366"/>
                  <a:pt x="9416505" y="6566359"/>
                  <a:pt x="9415041" y="6569954"/>
                </a:cubicBezTo>
                <a:cubicBezTo>
                  <a:pt x="9413444" y="6573548"/>
                  <a:pt x="9411447" y="6576610"/>
                  <a:pt x="9408917" y="6579272"/>
                </a:cubicBezTo>
                <a:cubicBezTo>
                  <a:pt x="9406255" y="6581935"/>
                  <a:pt x="9403194" y="6584065"/>
                  <a:pt x="9399599" y="6585529"/>
                </a:cubicBezTo>
                <a:cubicBezTo>
                  <a:pt x="9396005" y="6586993"/>
                  <a:pt x="9392145" y="6587792"/>
                  <a:pt x="9387885" y="6587792"/>
                </a:cubicBezTo>
                <a:cubicBezTo>
                  <a:pt x="9378965" y="6587792"/>
                  <a:pt x="9371644" y="6584863"/>
                  <a:pt x="9366053" y="6579272"/>
                </a:cubicBezTo>
                <a:cubicBezTo>
                  <a:pt x="9360462" y="6573682"/>
                  <a:pt x="9357667" y="6566625"/>
                  <a:pt x="9357667" y="6558106"/>
                </a:cubicBezTo>
                <a:cubicBezTo>
                  <a:pt x="9357667" y="6549853"/>
                  <a:pt x="9360462" y="6542798"/>
                  <a:pt x="9366053" y="6537074"/>
                </a:cubicBezTo>
                <a:cubicBezTo>
                  <a:pt x="9371644" y="6531350"/>
                  <a:pt x="9378832" y="6528554"/>
                  <a:pt x="9387885" y="6528554"/>
                </a:cubicBezTo>
                <a:close/>
                <a:moveTo>
                  <a:pt x="9170374" y="6528554"/>
                </a:moveTo>
                <a:cubicBezTo>
                  <a:pt x="9174500" y="6528554"/>
                  <a:pt x="9178494" y="6529353"/>
                  <a:pt x="9182088" y="6531083"/>
                </a:cubicBezTo>
                <a:cubicBezTo>
                  <a:pt x="9185682" y="6532681"/>
                  <a:pt x="9188876" y="6534810"/>
                  <a:pt x="9191405" y="6537473"/>
                </a:cubicBezTo>
                <a:cubicBezTo>
                  <a:pt x="9193935" y="6540002"/>
                  <a:pt x="9196065" y="6543197"/>
                  <a:pt x="9197529" y="6546791"/>
                </a:cubicBezTo>
                <a:cubicBezTo>
                  <a:pt x="9198993" y="6550385"/>
                  <a:pt x="9199792" y="6554246"/>
                  <a:pt x="9199792" y="6558239"/>
                </a:cubicBezTo>
                <a:cubicBezTo>
                  <a:pt x="9199792" y="6562366"/>
                  <a:pt x="9198993" y="6566359"/>
                  <a:pt x="9197529" y="6569954"/>
                </a:cubicBezTo>
                <a:cubicBezTo>
                  <a:pt x="9195932" y="6573548"/>
                  <a:pt x="9193935" y="6576610"/>
                  <a:pt x="9191405" y="6579272"/>
                </a:cubicBezTo>
                <a:cubicBezTo>
                  <a:pt x="9188744" y="6581935"/>
                  <a:pt x="9185682" y="6584065"/>
                  <a:pt x="9182088" y="6585529"/>
                </a:cubicBezTo>
                <a:cubicBezTo>
                  <a:pt x="9178494" y="6586993"/>
                  <a:pt x="9174633" y="6587792"/>
                  <a:pt x="9170374" y="6587792"/>
                </a:cubicBezTo>
                <a:cubicBezTo>
                  <a:pt x="9161453" y="6587792"/>
                  <a:pt x="9154132" y="6584863"/>
                  <a:pt x="9148541" y="6579272"/>
                </a:cubicBezTo>
                <a:cubicBezTo>
                  <a:pt x="9142951" y="6573682"/>
                  <a:pt x="9140155" y="6566625"/>
                  <a:pt x="9140155" y="6558106"/>
                </a:cubicBezTo>
                <a:cubicBezTo>
                  <a:pt x="9140155" y="6549853"/>
                  <a:pt x="9142951" y="6542798"/>
                  <a:pt x="9148541" y="6537074"/>
                </a:cubicBezTo>
                <a:cubicBezTo>
                  <a:pt x="9154132" y="6531350"/>
                  <a:pt x="9161321" y="6528554"/>
                  <a:pt x="9170374" y="6528554"/>
                </a:cubicBezTo>
                <a:close/>
                <a:moveTo>
                  <a:pt x="8952728" y="6528554"/>
                </a:moveTo>
                <a:cubicBezTo>
                  <a:pt x="8956988" y="6528554"/>
                  <a:pt x="8960849" y="6529353"/>
                  <a:pt x="8964442" y="6531083"/>
                </a:cubicBezTo>
                <a:cubicBezTo>
                  <a:pt x="8968037" y="6532681"/>
                  <a:pt x="8971231" y="6534810"/>
                  <a:pt x="8973760" y="6537473"/>
                </a:cubicBezTo>
                <a:cubicBezTo>
                  <a:pt x="8976290" y="6540002"/>
                  <a:pt x="8978419" y="6543197"/>
                  <a:pt x="8979884" y="6546791"/>
                </a:cubicBezTo>
                <a:cubicBezTo>
                  <a:pt x="8981348" y="6550385"/>
                  <a:pt x="8982147" y="6554246"/>
                  <a:pt x="8982147" y="6558239"/>
                </a:cubicBezTo>
                <a:cubicBezTo>
                  <a:pt x="8982147" y="6562366"/>
                  <a:pt x="8981348" y="6566359"/>
                  <a:pt x="8979884" y="6569954"/>
                </a:cubicBezTo>
                <a:cubicBezTo>
                  <a:pt x="8978287" y="6573548"/>
                  <a:pt x="8976290" y="6576610"/>
                  <a:pt x="8973760" y="6579272"/>
                </a:cubicBezTo>
                <a:cubicBezTo>
                  <a:pt x="8971098" y="6581935"/>
                  <a:pt x="8968037" y="6584065"/>
                  <a:pt x="8964442" y="6585529"/>
                </a:cubicBezTo>
                <a:cubicBezTo>
                  <a:pt x="8960849" y="6586993"/>
                  <a:pt x="8956988" y="6587792"/>
                  <a:pt x="8952728" y="6587792"/>
                </a:cubicBezTo>
                <a:cubicBezTo>
                  <a:pt x="8943808" y="6587792"/>
                  <a:pt x="8936487" y="6584863"/>
                  <a:pt x="8930896" y="6579272"/>
                </a:cubicBezTo>
                <a:cubicBezTo>
                  <a:pt x="8925305" y="6573682"/>
                  <a:pt x="8922510" y="6566625"/>
                  <a:pt x="8922510" y="6558106"/>
                </a:cubicBezTo>
                <a:cubicBezTo>
                  <a:pt x="8922510" y="6549853"/>
                  <a:pt x="8925305" y="6542798"/>
                  <a:pt x="8930896" y="6537074"/>
                </a:cubicBezTo>
                <a:cubicBezTo>
                  <a:pt x="8936487" y="6531350"/>
                  <a:pt x="8943675" y="6528554"/>
                  <a:pt x="8952728" y="6528554"/>
                </a:cubicBezTo>
                <a:close/>
                <a:moveTo>
                  <a:pt x="8735083" y="6528554"/>
                </a:moveTo>
                <a:cubicBezTo>
                  <a:pt x="8739342" y="6528554"/>
                  <a:pt x="8743203" y="6529353"/>
                  <a:pt x="8746797" y="6531083"/>
                </a:cubicBezTo>
                <a:cubicBezTo>
                  <a:pt x="8750391" y="6532681"/>
                  <a:pt x="8753586" y="6534810"/>
                  <a:pt x="8756115" y="6537473"/>
                </a:cubicBezTo>
                <a:cubicBezTo>
                  <a:pt x="8758644" y="6540002"/>
                  <a:pt x="8760774" y="6543197"/>
                  <a:pt x="8762238" y="6546791"/>
                </a:cubicBezTo>
                <a:cubicBezTo>
                  <a:pt x="8763702" y="6550385"/>
                  <a:pt x="8764502" y="6554246"/>
                  <a:pt x="8764502" y="6558239"/>
                </a:cubicBezTo>
                <a:cubicBezTo>
                  <a:pt x="8764502" y="6562366"/>
                  <a:pt x="8763702" y="6566359"/>
                  <a:pt x="8762238" y="6569954"/>
                </a:cubicBezTo>
                <a:cubicBezTo>
                  <a:pt x="8760641" y="6573548"/>
                  <a:pt x="8758644" y="6576610"/>
                  <a:pt x="8756115" y="6579272"/>
                </a:cubicBezTo>
                <a:cubicBezTo>
                  <a:pt x="8753453" y="6581935"/>
                  <a:pt x="8750391" y="6584065"/>
                  <a:pt x="8746797" y="6585529"/>
                </a:cubicBezTo>
                <a:cubicBezTo>
                  <a:pt x="8743203" y="6586993"/>
                  <a:pt x="8739342" y="6587792"/>
                  <a:pt x="8735083" y="6587792"/>
                </a:cubicBezTo>
                <a:cubicBezTo>
                  <a:pt x="8726030" y="6587792"/>
                  <a:pt x="8718841" y="6584863"/>
                  <a:pt x="8713250" y="6579272"/>
                </a:cubicBezTo>
                <a:cubicBezTo>
                  <a:pt x="8707660" y="6573682"/>
                  <a:pt x="8704864" y="6566625"/>
                  <a:pt x="8704864" y="6558106"/>
                </a:cubicBezTo>
                <a:cubicBezTo>
                  <a:pt x="8704864" y="6549853"/>
                  <a:pt x="8707660" y="6542798"/>
                  <a:pt x="8713250" y="6537074"/>
                </a:cubicBezTo>
                <a:cubicBezTo>
                  <a:pt x="8718841" y="6531350"/>
                  <a:pt x="8726030" y="6528554"/>
                  <a:pt x="8735083" y="6528554"/>
                </a:cubicBezTo>
                <a:close/>
                <a:moveTo>
                  <a:pt x="8517438" y="6528554"/>
                </a:moveTo>
                <a:cubicBezTo>
                  <a:pt x="8521698" y="6528554"/>
                  <a:pt x="8525559" y="6529353"/>
                  <a:pt x="8529152" y="6531083"/>
                </a:cubicBezTo>
                <a:cubicBezTo>
                  <a:pt x="8532880" y="6532681"/>
                  <a:pt x="8535941" y="6534810"/>
                  <a:pt x="8538470" y="6537473"/>
                </a:cubicBezTo>
                <a:cubicBezTo>
                  <a:pt x="8541000" y="6540002"/>
                  <a:pt x="8543130" y="6543197"/>
                  <a:pt x="8544594" y="6546791"/>
                </a:cubicBezTo>
                <a:cubicBezTo>
                  <a:pt x="8546058" y="6550385"/>
                  <a:pt x="8546857" y="6554246"/>
                  <a:pt x="8546857" y="6558239"/>
                </a:cubicBezTo>
                <a:cubicBezTo>
                  <a:pt x="8546857" y="6562366"/>
                  <a:pt x="8546058" y="6566359"/>
                  <a:pt x="8544594" y="6569954"/>
                </a:cubicBezTo>
                <a:cubicBezTo>
                  <a:pt x="8542997" y="6573548"/>
                  <a:pt x="8541000" y="6576610"/>
                  <a:pt x="8538470" y="6579272"/>
                </a:cubicBezTo>
                <a:cubicBezTo>
                  <a:pt x="8535808" y="6581935"/>
                  <a:pt x="8532747" y="6584065"/>
                  <a:pt x="8529152" y="6585529"/>
                </a:cubicBezTo>
                <a:cubicBezTo>
                  <a:pt x="8525559" y="6586993"/>
                  <a:pt x="8521698" y="6587792"/>
                  <a:pt x="8517438" y="6587792"/>
                </a:cubicBezTo>
                <a:cubicBezTo>
                  <a:pt x="8508385" y="6587792"/>
                  <a:pt x="8501197" y="6584863"/>
                  <a:pt x="8495606" y="6579272"/>
                </a:cubicBezTo>
                <a:cubicBezTo>
                  <a:pt x="8490015" y="6573682"/>
                  <a:pt x="8487220" y="6566625"/>
                  <a:pt x="8487220" y="6558106"/>
                </a:cubicBezTo>
                <a:cubicBezTo>
                  <a:pt x="8487220" y="6549853"/>
                  <a:pt x="8490015" y="6542798"/>
                  <a:pt x="8495606" y="6537074"/>
                </a:cubicBezTo>
                <a:cubicBezTo>
                  <a:pt x="8501197" y="6531350"/>
                  <a:pt x="8508385" y="6528554"/>
                  <a:pt x="8517438" y="6528554"/>
                </a:cubicBezTo>
                <a:close/>
                <a:moveTo>
                  <a:pt x="8299793" y="6528554"/>
                </a:moveTo>
                <a:cubicBezTo>
                  <a:pt x="8304052" y="6528554"/>
                  <a:pt x="8308046" y="6529353"/>
                  <a:pt x="8311507" y="6531083"/>
                </a:cubicBezTo>
                <a:cubicBezTo>
                  <a:pt x="8315235" y="6532681"/>
                  <a:pt x="8318296" y="6534810"/>
                  <a:pt x="8320825" y="6537473"/>
                </a:cubicBezTo>
                <a:cubicBezTo>
                  <a:pt x="8323354" y="6540002"/>
                  <a:pt x="8325484" y="6543197"/>
                  <a:pt x="8326948" y="6546791"/>
                </a:cubicBezTo>
                <a:cubicBezTo>
                  <a:pt x="8328413" y="6550385"/>
                  <a:pt x="8329212" y="6554246"/>
                  <a:pt x="8329212" y="6558239"/>
                </a:cubicBezTo>
                <a:cubicBezTo>
                  <a:pt x="8329212" y="6562366"/>
                  <a:pt x="8328413" y="6566359"/>
                  <a:pt x="8326948" y="6569954"/>
                </a:cubicBezTo>
                <a:cubicBezTo>
                  <a:pt x="8325351" y="6573548"/>
                  <a:pt x="8323354" y="6576610"/>
                  <a:pt x="8320825" y="6579272"/>
                </a:cubicBezTo>
                <a:cubicBezTo>
                  <a:pt x="8318163" y="6581935"/>
                  <a:pt x="8315101" y="6584065"/>
                  <a:pt x="8311507" y="6585529"/>
                </a:cubicBezTo>
                <a:cubicBezTo>
                  <a:pt x="8307913" y="6586993"/>
                  <a:pt x="8304052" y="6587792"/>
                  <a:pt x="8299793" y="6587792"/>
                </a:cubicBezTo>
                <a:cubicBezTo>
                  <a:pt x="8290874" y="6587792"/>
                  <a:pt x="8283553" y="6584863"/>
                  <a:pt x="8277960" y="6579272"/>
                </a:cubicBezTo>
                <a:cubicBezTo>
                  <a:pt x="8272370" y="6573682"/>
                  <a:pt x="8269574" y="6566625"/>
                  <a:pt x="8269574" y="6558106"/>
                </a:cubicBezTo>
                <a:cubicBezTo>
                  <a:pt x="8269574" y="6549853"/>
                  <a:pt x="8272370" y="6542798"/>
                  <a:pt x="8277960" y="6537074"/>
                </a:cubicBezTo>
                <a:cubicBezTo>
                  <a:pt x="8283553" y="6531350"/>
                  <a:pt x="8290741" y="6528554"/>
                  <a:pt x="8299793" y="6528554"/>
                </a:cubicBezTo>
                <a:close/>
                <a:moveTo>
                  <a:pt x="8082281" y="6528554"/>
                </a:moveTo>
                <a:cubicBezTo>
                  <a:pt x="8086407" y="6528554"/>
                  <a:pt x="8090401" y="6529353"/>
                  <a:pt x="8094127" y="6531083"/>
                </a:cubicBezTo>
                <a:cubicBezTo>
                  <a:pt x="8097855" y="6532681"/>
                  <a:pt x="8100916" y="6534810"/>
                  <a:pt x="8103446" y="6537473"/>
                </a:cubicBezTo>
                <a:cubicBezTo>
                  <a:pt x="8105975" y="6540002"/>
                  <a:pt x="8108104" y="6543197"/>
                  <a:pt x="8109569" y="6546791"/>
                </a:cubicBezTo>
                <a:cubicBezTo>
                  <a:pt x="8111033" y="6550385"/>
                  <a:pt x="8111832" y="6554246"/>
                  <a:pt x="8111832" y="6558239"/>
                </a:cubicBezTo>
                <a:cubicBezTo>
                  <a:pt x="8111832" y="6562366"/>
                  <a:pt x="8111033" y="6566359"/>
                  <a:pt x="8109569" y="6569954"/>
                </a:cubicBezTo>
                <a:cubicBezTo>
                  <a:pt x="8107972" y="6573548"/>
                  <a:pt x="8105975" y="6576610"/>
                  <a:pt x="8103446" y="6579272"/>
                </a:cubicBezTo>
                <a:cubicBezTo>
                  <a:pt x="8100783" y="6581935"/>
                  <a:pt x="8097722" y="6584065"/>
                  <a:pt x="8094127" y="6585529"/>
                </a:cubicBezTo>
                <a:cubicBezTo>
                  <a:pt x="8090401" y="6586993"/>
                  <a:pt x="8086540" y="6587792"/>
                  <a:pt x="8082281" y="6587792"/>
                </a:cubicBezTo>
                <a:cubicBezTo>
                  <a:pt x="8073361" y="6587792"/>
                  <a:pt x="8066040" y="6584863"/>
                  <a:pt x="8060448" y="6579272"/>
                </a:cubicBezTo>
                <a:cubicBezTo>
                  <a:pt x="8054857" y="6573682"/>
                  <a:pt x="8052062" y="6566625"/>
                  <a:pt x="8052062" y="6558106"/>
                </a:cubicBezTo>
                <a:cubicBezTo>
                  <a:pt x="8052062" y="6549853"/>
                  <a:pt x="8054857" y="6542798"/>
                  <a:pt x="8060448" y="6537074"/>
                </a:cubicBezTo>
                <a:cubicBezTo>
                  <a:pt x="8066040" y="6531350"/>
                  <a:pt x="8073228" y="6528554"/>
                  <a:pt x="8082281" y="6528554"/>
                </a:cubicBezTo>
                <a:close/>
                <a:moveTo>
                  <a:pt x="7864636" y="6528554"/>
                </a:moveTo>
                <a:cubicBezTo>
                  <a:pt x="7868762" y="6528554"/>
                  <a:pt x="7872756" y="6529353"/>
                  <a:pt x="7876483" y="6531083"/>
                </a:cubicBezTo>
                <a:cubicBezTo>
                  <a:pt x="7880210" y="6532681"/>
                  <a:pt x="7883272" y="6534810"/>
                  <a:pt x="7885802" y="6537473"/>
                </a:cubicBezTo>
                <a:cubicBezTo>
                  <a:pt x="7888331" y="6540002"/>
                  <a:pt x="7890460" y="6543197"/>
                  <a:pt x="7891924" y="6546791"/>
                </a:cubicBezTo>
                <a:cubicBezTo>
                  <a:pt x="7893389" y="6550385"/>
                  <a:pt x="7894188" y="6554246"/>
                  <a:pt x="7894188" y="6558239"/>
                </a:cubicBezTo>
                <a:cubicBezTo>
                  <a:pt x="7894188" y="6562366"/>
                  <a:pt x="7893389" y="6566359"/>
                  <a:pt x="7891924" y="6569954"/>
                </a:cubicBezTo>
                <a:cubicBezTo>
                  <a:pt x="7890327" y="6573548"/>
                  <a:pt x="7888331" y="6576610"/>
                  <a:pt x="7885802" y="6579272"/>
                </a:cubicBezTo>
                <a:cubicBezTo>
                  <a:pt x="7883139" y="6581935"/>
                  <a:pt x="7880078" y="6584065"/>
                  <a:pt x="7876483" y="6585529"/>
                </a:cubicBezTo>
                <a:cubicBezTo>
                  <a:pt x="7872756" y="6586993"/>
                  <a:pt x="7868895" y="6587792"/>
                  <a:pt x="7864636" y="6587792"/>
                </a:cubicBezTo>
                <a:cubicBezTo>
                  <a:pt x="7855717" y="6587792"/>
                  <a:pt x="7848396" y="6584863"/>
                  <a:pt x="7842803" y="6579272"/>
                </a:cubicBezTo>
                <a:cubicBezTo>
                  <a:pt x="7837213" y="6573682"/>
                  <a:pt x="7834417" y="6566625"/>
                  <a:pt x="7834417" y="6558106"/>
                </a:cubicBezTo>
                <a:cubicBezTo>
                  <a:pt x="7834417" y="6549853"/>
                  <a:pt x="7837213" y="6542798"/>
                  <a:pt x="7842803" y="6537074"/>
                </a:cubicBezTo>
                <a:cubicBezTo>
                  <a:pt x="7848396" y="6531350"/>
                  <a:pt x="7855584" y="6528554"/>
                  <a:pt x="7864636" y="6528554"/>
                </a:cubicBezTo>
                <a:close/>
                <a:moveTo>
                  <a:pt x="7646991" y="6528554"/>
                </a:moveTo>
                <a:cubicBezTo>
                  <a:pt x="7651250" y="6528554"/>
                  <a:pt x="7655111" y="6529353"/>
                  <a:pt x="7658705" y="6531083"/>
                </a:cubicBezTo>
                <a:cubicBezTo>
                  <a:pt x="7662432" y="6532681"/>
                  <a:pt x="7665493" y="6534810"/>
                  <a:pt x="7668022" y="6537473"/>
                </a:cubicBezTo>
                <a:cubicBezTo>
                  <a:pt x="7670552" y="6540002"/>
                  <a:pt x="7672682" y="6543197"/>
                  <a:pt x="7674146" y="6546791"/>
                </a:cubicBezTo>
                <a:cubicBezTo>
                  <a:pt x="7675610" y="6550385"/>
                  <a:pt x="7676409" y="6554246"/>
                  <a:pt x="7676409" y="6558239"/>
                </a:cubicBezTo>
                <a:cubicBezTo>
                  <a:pt x="7676409" y="6562366"/>
                  <a:pt x="7675610" y="6566359"/>
                  <a:pt x="7674146" y="6569954"/>
                </a:cubicBezTo>
                <a:cubicBezTo>
                  <a:pt x="7672549" y="6573548"/>
                  <a:pt x="7670552" y="6576610"/>
                  <a:pt x="7668022" y="6579272"/>
                </a:cubicBezTo>
                <a:cubicBezTo>
                  <a:pt x="7665361" y="6581935"/>
                  <a:pt x="7662299" y="6584065"/>
                  <a:pt x="7658705" y="6585529"/>
                </a:cubicBezTo>
                <a:cubicBezTo>
                  <a:pt x="7655111" y="6586993"/>
                  <a:pt x="7651250" y="6587792"/>
                  <a:pt x="7646991" y="6587792"/>
                </a:cubicBezTo>
                <a:cubicBezTo>
                  <a:pt x="7638071" y="6587792"/>
                  <a:pt x="7630750" y="6584863"/>
                  <a:pt x="7625158" y="6579272"/>
                </a:cubicBezTo>
                <a:cubicBezTo>
                  <a:pt x="7619568" y="6573682"/>
                  <a:pt x="7616772" y="6566625"/>
                  <a:pt x="7616772" y="6558106"/>
                </a:cubicBezTo>
                <a:cubicBezTo>
                  <a:pt x="7616772" y="6549853"/>
                  <a:pt x="7619568" y="6542798"/>
                  <a:pt x="7625158" y="6537074"/>
                </a:cubicBezTo>
                <a:cubicBezTo>
                  <a:pt x="7630750" y="6531350"/>
                  <a:pt x="7637939" y="6528554"/>
                  <a:pt x="7646991" y="6528554"/>
                </a:cubicBezTo>
                <a:close/>
                <a:moveTo>
                  <a:pt x="7429345" y="6528554"/>
                </a:moveTo>
                <a:cubicBezTo>
                  <a:pt x="7433605" y="6528554"/>
                  <a:pt x="7437466" y="6529353"/>
                  <a:pt x="7441059" y="6531083"/>
                </a:cubicBezTo>
                <a:cubicBezTo>
                  <a:pt x="7444787" y="6532681"/>
                  <a:pt x="7447848" y="6534810"/>
                  <a:pt x="7450377" y="6537473"/>
                </a:cubicBezTo>
                <a:cubicBezTo>
                  <a:pt x="7452907" y="6540002"/>
                  <a:pt x="7455036" y="6543197"/>
                  <a:pt x="7456501" y="6546791"/>
                </a:cubicBezTo>
                <a:cubicBezTo>
                  <a:pt x="7457965" y="6550385"/>
                  <a:pt x="7458764" y="6554246"/>
                  <a:pt x="7458764" y="6558239"/>
                </a:cubicBezTo>
                <a:cubicBezTo>
                  <a:pt x="7458764" y="6562366"/>
                  <a:pt x="7457965" y="6566359"/>
                  <a:pt x="7456501" y="6569954"/>
                </a:cubicBezTo>
                <a:cubicBezTo>
                  <a:pt x="7454904" y="6573548"/>
                  <a:pt x="7452907" y="6576610"/>
                  <a:pt x="7450377" y="6579272"/>
                </a:cubicBezTo>
                <a:cubicBezTo>
                  <a:pt x="7447715" y="6581935"/>
                  <a:pt x="7444654" y="6584065"/>
                  <a:pt x="7441059" y="6585529"/>
                </a:cubicBezTo>
                <a:cubicBezTo>
                  <a:pt x="7437466" y="6586993"/>
                  <a:pt x="7433605" y="6587792"/>
                  <a:pt x="7429345" y="6587792"/>
                </a:cubicBezTo>
                <a:cubicBezTo>
                  <a:pt x="7420426" y="6587792"/>
                  <a:pt x="7413105" y="6584863"/>
                  <a:pt x="7407513" y="6579272"/>
                </a:cubicBezTo>
                <a:cubicBezTo>
                  <a:pt x="7401922" y="6573682"/>
                  <a:pt x="7399127" y="6566625"/>
                  <a:pt x="7399127" y="6558106"/>
                </a:cubicBezTo>
                <a:cubicBezTo>
                  <a:pt x="7399127" y="6549853"/>
                  <a:pt x="7401922" y="6542798"/>
                  <a:pt x="7407513" y="6537074"/>
                </a:cubicBezTo>
                <a:cubicBezTo>
                  <a:pt x="7413105" y="6531350"/>
                  <a:pt x="7420293" y="6528554"/>
                  <a:pt x="7429345" y="6528554"/>
                </a:cubicBezTo>
                <a:close/>
                <a:moveTo>
                  <a:pt x="7211701" y="6528554"/>
                </a:moveTo>
                <a:cubicBezTo>
                  <a:pt x="7215960" y="6528554"/>
                  <a:pt x="7219954" y="6529353"/>
                  <a:pt x="7223415" y="6531083"/>
                </a:cubicBezTo>
                <a:cubicBezTo>
                  <a:pt x="7227142" y="6532681"/>
                  <a:pt x="7230204" y="6534810"/>
                  <a:pt x="7232733" y="6537473"/>
                </a:cubicBezTo>
                <a:cubicBezTo>
                  <a:pt x="7235262" y="6540002"/>
                  <a:pt x="7237392" y="6543197"/>
                  <a:pt x="7238856" y="6546791"/>
                </a:cubicBezTo>
                <a:cubicBezTo>
                  <a:pt x="7240321" y="6550385"/>
                  <a:pt x="7241120" y="6554246"/>
                  <a:pt x="7241120" y="6558239"/>
                </a:cubicBezTo>
                <a:cubicBezTo>
                  <a:pt x="7241120" y="6562366"/>
                  <a:pt x="7240321" y="6566359"/>
                  <a:pt x="7238856" y="6569954"/>
                </a:cubicBezTo>
                <a:cubicBezTo>
                  <a:pt x="7237259" y="6573548"/>
                  <a:pt x="7235262" y="6576610"/>
                  <a:pt x="7232733" y="6579272"/>
                </a:cubicBezTo>
                <a:cubicBezTo>
                  <a:pt x="7230071" y="6581935"/>
                  <a:pt x="7227009" y="6584065"/>
                  <a:pt x="7223415" y="6585529"/>
                </a:cubicBezTo>
                <a:cubicBezTo>
                  <a:pt x="7219821" y="6586993"/>
                  <a:pt x="7215960" y="6587792"/>
                  <a:pt x="7211701" y="6587792"/>
                </a:cubicBezTo>
                <a:cubicBezTo>
                  <a:pt x="7202782" y="6587792"/>
                  <a:pt x="7195460" y="6584863"/>
                  <a:pt x="7189868" y="6579272"/>
                </a:cubicBezTo>
                <a:cubicBezTo>
                  <a:pt x="7184278" y="6573682"/>
                  <a:pt x="7181482" y="6566625"/>
                  <a:pt x="7181482" y="6558106"/>
                </a:cubicBezTo>
                <a:cubicBezTo>
                  <a:pt x="7181482" y="6549853"/>
                  <a:pt x="7184278" y="6542798"/>
                  <a:pt x="7189868" y="6537074"/>
                </a:cubicBezTo>
                <a:cubicBezTo>
                  <a:pt x="7195460" y="6531350"/>
                  <a:pt x="7202649" y="6528554"/>
                  <a:pt x="7211701" y="6528554"/>
                </a:cubicBezTo>
                <a:close/>
                <a:moveTo>
                  <a:pt x="6994056" y="6528554"/>
                </a:moveTo>
                <a:cubicBezTo>
                  <a:pt x="6998315" y="6528554"/>
                  <a:pt x="7002309" y="6529353"/>
                  <a:pt x="7005769" y="6531083"/>
                </a:cubicBezTo>
                <a:cubicBezTo>
                  <a:pt x="7009497" y="6532681"/>
                  <a:pt x="7012558" y="6534810"/>
                  <a:pt x="7015087" y="6537473"/>
                </a:cubicBezTo>
                <a:cubicBezTo>
                  <a:pt x="7017617" y="6540002"/>
                  <a:pt x="7019747" y="6543197"/>
                  <a:pt x="7021211" y="6546791"/>
                </a:cubicBezTo>
                <a:cubicBezTo>
                  <a:pt x="7022675" y="6550385"/>
                  <a:pt x="7023474" y="6554246"/>
                  <a:pt x="7023474" y="6558239"/>
                </a:cubicBezTo>
                <a:cubicBezTo>
                  <a:pt x="7023474" y="6562366"/>
                  <a:pt x="7022675" y="6566359"/>
                  <a:pt x="7021211" y="6569954"/>
                </a:cubicBezTo>
                <a:cubicBezTo>
                  <a:pt x="7019614" y="6573548"/>
                  <a:pt x="7017617" y="6576610"/>
                  <a:pt x="7015087" y="6579272"/>
                </a:cubicBezTo>
                <a:cubicBezTo>
                  <a:pt x="7012425" y="6581935"/>
                  <a:pt x="7009364" y="6584065"/>
                  <a:pt x="7005769" y="6585529"/>
                </a:cubicBezTo>
                <a:cubicBezTo>
                  <a:pt x="7002176" y="6586993"/>
                  <a:pt x="6998315" y="6587792"/>
                  <a:pt x="6994056" y="6587792"/>
                </a:cubicBezTo>
                <a:cubicBezTo>
                  <a:pt x="6985136" y="6587792"/>
                  <a:pt x="6977815" y="6584863"/>
                  <a:pt x="6972223" y="6579272"/>
                </a:cubicBezTo>
                <a:cubicBezTo>
                  <a:pt x="6966632" y="6573682"/>
                  <a:pt x="6963837" y="6566625"/>
                  <a:pt x="6963837" y="6558106"/>
                </a:cubicBezTo>
                <a:cubicBezTo>
                  <a:pt x="6963837" y="6549853"/>
                  <a:pt x="6966632" y="6542798"/>
                  <a:pt x="6972223" y="6537074"/>
                </a:cubicBezTo>
                <a:cubicBezTo>
                  <a:pt x="6977815" y="6531350"/>
                  <a:pt x="6985003" y="6528554"/>
                  <a:pt x="6994056" y="6528554"/>
                </a:cubicBezTo>
                <a:close/>
                <a:moveTo>
                  <a:pt x="6776544" y="6528554"/>
                </a:moveTo>
                <a:cubicBezTo>
                  <a:pt x="6780670" y="6528554"/>
                  <a:pt x="6784664" y="6529353"/>
                  <a:pt x="6788258" y="6531083"/>
                </a:cubicBezTo>
                <a:cubicBezTo>
                  <a:pt x="6791985" y="6532681"/>
                  <a:pt x="6795047" y="6534810"/>
                  <a:pt x="6797576" y="6537473"/>
                </a:cubicBezTo>
                <a:cubicBezTo>
                  <a:pt x="6800105" y="6540002"/>
                  <a:pt x="6802235" y="6543197"/>
                  <a:pt x="6803699" y="6546791"/>
                </a:cubicBezTo>
                <a:cubicBezTo>
                  <a:pt x="6805164" y="6550385"/>
                  <a:pt x="6805963" y="6554246"/>
                  <a:pt x="6805963" y="6558239"/>
                </a:cubicBezTo>
                <a:cubicBezTo>
                  <a:pt x="6805963" y="6562366"/>
                  <a:pt x="6805164" y="6566359"/>
                  <a:pt x="6803699" y="6569954"/>
                </a:cubicBezTo>
                <a:cubicBezTo>
                  <a:pt x="6802102" y="6573548"/>
                  <a:pt x="6800105" y="6576610"/>
                  <a:pt x="6797576" y="6579272"/>
                </a:cubicBezTo>
                <a:cubicBezTo>
                  <a:pt x="6794914" y="6581935"/>
                  <a:pt x="6791852" y="6584065"/>
                  <a:pt x="6788258" y="6585529"/>
                </a:cubicBezTo>
                <a:cubicBezTo>
                  <a:pt x="6784664" y="6586993"/>
                  <a:pt x="6780803" y="6587792"/>
                  <a:pt x="6776544" y="6587792"/>
                </a:cubicBezTo>
                <a:cubicBezTo>
                  <a:pt x="6767625" y="6587792"/>
                  <a:pt x="6760303" y="6584863"/>
                  <a:pt x="6754711" y="6579272"/>
                </a:cubicBezTo>
                <a:cubicBezTo>
                  <a:pt x="6749121" y="6573682"/>
                  <a:pt x="6746325" y="6566625"/>
                  <a:pt x="6746325" y="6558106"/>
                </a:cubicBezTo>
                <a:cubicBezTo>
                  <a:pt x="6746325" y="6549853"/>
                  <a:pt x="6749121" y="6542798"/>
                  <a:pt x="6754711" y="6537074"/>
                </a:cubicBezTo>
                <a:cubicBezTo>
                  <a:pt x="6760303" y="6531350"/>
                  <a:pt x="6767492" y="6528554"/>
                  <a:pt x="6776544" y="6528554"/>
                </a:cubicBezTo>
                <a:close/>
                <a:moveTo>
                  <a:pt x="6558899" y="6528554"/>
                </a:moveTo>
                <a:cubicBezTo>
                  <a:pt x="6563158" y="6528554"/>
                  <a:pt x="6567019" y="6529353"/>
                  <a:pt x="6570612" y="6531083"/>
                </a:cubicBezTo>
                <a:cubicBezTo>
                  <a:pt x="6574340" y="6532681"/>
                  <a:pt x="6577401" y="6534810"/>
                  <a:pt x="6579930" y="6537473"/>
                </a:cubicBezTo>
                <a:cubicBezTo>
                  <a:pt x="6582460" y="6540002"/>
                  <a:pt x="6584590" y="6543197"/>
                  <a:pt x="6586054" y="6546791"/>
                </a:cubicBezTo>
                <a:cubicBezTo>
                  <a:pt x="6587518" y="6550385"/>
                  <a:pt x="6588317" y="6554246"/>
                  <a:pt x="6588317" y="6558239"/>
                </a:cubicBezTo>
                <a:cubicBezTo>
                  <a:pt x="6588317" y="6562366"/>
                  <a:pt x="6587518" y="6566359"/>
                  <a:pt x="6586054" y="6569954"/>
                </a:cubicBezTo>
                <a:cubicBezTo>
                  <a:pt x="6584457" y="6573548"/>
                  <a:pt x="6582460" y="6576610"/>
                  <a:pt x="6579930" y="6579272"/>
                </a:cubicBezTo>
                <a:cubicBezTo>
                  <a:pt x="6577268" y="6581935"/>
                  <a:pt x="6574207" y="6584065"/>
                  <a:pt x="6570612" y="6585529"/>
                </a:cubicBezTo>
                <a:cubicBezTo>
                  <a:pt x="6567019" y="6586993"/>
                  <a:pt x="6563158" y="6587792"/>
                  <a:pt x="6558899" y="6587792"/>
                </a:cubicBezTo>
                <a:cubicBezTo>
                  <a:pt x="6549979" y="6587792"/>
                  <a:pt x="6542658" y="6584863"/>
                  <a:pt x="6537066" y="6579272"/>
                </a:cubicBezTo>
                <a:cubicBezTo>
                  <a:pt x="6531476" y="6573682"/>
                  <a:pt x="6528680" y="6566625"/>
                  <a:pt x="6528680" y="6558106"/>
                </a:cubicBezTo>
                <a:cubicBezTo>
                  <a:pt x="6528680" y="6549853"/>
                  <a:pt x="6531476" y="6542798"/>
                  <a:pt x="6537066" y="6537074"/>
                </a:cubicBezTo>
                <a:cubicBezTo>
                  <a:pt x="6542658" y="6531350"/>
                  <a:pt x="6549846" y="6528554"/>
                  <a:pt x="6558899" y="6528554"/>
                </a:cubicBezTo>
                <a:close/>
                <a:moveTo>
                  <a:pt x="6341253" y="6528554"/>
                </a:moveTo>
                <a:cubicBezTo>
                  <a:pt x="6345513" y="6528554"/>
                  <a:pt x="6349373" y="6529353"/>
                  <a:pt x="6352968" y="6531083"/>
                </a:cubicBezTo>
                <a:cubicBezTo>
                  <a:pt x="6356695" y="6532681"/>
                  <a:pt x="6359757" y="6534810"/>
                  <a:pt x="6362286" y="6537473"/>
                </a:cubicBezTo>
                <a:cubicBezTo>
                  <a:pt x="6364815" y="6540002"/>
                  <a:pt x="6366945" y="6543197"/>
                  <a:pt x="6368409" y="6546791"/>
                </a:cubicBezTo>
                <a:cubicBezTo>
                  <a:pt x="6369874" y="6550385"/>
                  <a:pt x="6370672" y="6554246"/>
                  <a:pt x="6370672" y="6558239"/>
                </a:cubicBezTo>
                <a:cubicBezTo>
                  <a:pt x="6370672" y="6562366"/>
                  <a:pt x="6369874" y="6566359"/>
                  <a:pt x="6368409" y="6569954"/>
                </a:cubicBezTo>
                <a:cubicBezTo>
                  <a:pt x="6366811" y="6573548"/>
                  <a:pt x="6364815" y="6576610"/>
                  <a:pt x="6362286" y="6579272"/>
                </a:cubicBezTo>
                <a:cubicBezTo>
                  <a:pt x="6359623" y="6581935"/>
                  <a:pt x="6356562" y="6584065"/>
                  <a:pt x="6352968" y="6585529"/>
                </a:cubicBezTo>
                <a:cubicBezTo>
                  <a:pt x="6349373" y="6586993"/>
                  <a:pt x="6345513" y="6587792"/>
                  <a:pt x="6341253" y="6587792"/>
                </a:cubicBezTo>
                <a:cubicBezTo>
                  <a:pt x="6332335" y="6587792"/>
                  <a:pt x="6325013" y="6584863"/>
                  <a:pt x="6319421" y="6579272"/>
                </a:cubicBezTo>
                <a:cubicBezTo>
                  <a:pt x="6313830" y="6573682"/>
                  <a:pt x="6311035" y="6566625"/>
                  <a:pt x="6311035" y="6558106"/>
                </a:cubicBezTo>
                <a:cubicBezTo>
                  <a:pt x="6311035" y="6549853"/>
                  <a:pt x="6313830" y="6542798"/>
                  <a:pt x="6319421" y="6537074"/>
                </a:cubicBezTo>
                <a:cubicBezTo>
                  <a:pt x="6325013" y="6531350"/>
                  <a:pt x="6332201" y="6528554"/>
                  <a:pt x="6341253" y="6528554"/>
                </a:cubicBezTo>
                <a:close/>
                <a:moveTo>
                  <a:pt x="6123608" y="6528554"/>
                </a:moveTo>
                <a:cubicBezTo>
                  <a:pt x="6127867" y="6528554"/>
                  <a:pt x="6131728" y="6529353"/>
                  <a:pt x="6135322" y="6531083"/>
                </a:cubicBezTo>
                <a:cubicBezTo>
                  <a:pt x="6139049" y="6532681"/>
                  <a:pt x="6142111" y="6534810"/>
                  <a:pt x="6144640" y="6537473"/>
                </a:cubicBezTo>
                <a:cubicBezTo>
                  <a:pt x="6147169" y="6540002"/>
                  <a:pt x="6149299" y="6543197"/>
                  <a:pt x="6150763" y="6546791"/>
                </a:cubicBezTo>
                <a:cubicBezTo>
                  <a:pt x="6152228" y="6550385"/>
                  <a:pt x="6153026" y="6554246"/>
                  <a:pt x="6153026" y="6558239"/>
                </a:cubicBezTo>
                <a:cubicBezTo>
                  <a:pt x="6153026" y="6562366"/>
                  <a:pt x="6152228" y="6566359"/>
                  <a:pt x="6150763" y="6569954"/>
                </a:cubicBezTo>
                <a:cubicBezTo>
                  <a:pt x="6149299" y="6573548"/>
                  <a:pt x="6147169" y="6576610"/>
                  <a:pt x="6144640" y="6579272"/>
                </a:cubicBezTo>
                <a:cubicBezTo>
                  <a:pt x="6141977" y="6581935"/>
                  <a:pt x="6138916" y="6584065"/>
                  <a:pt x="6135322" y="6585529"/>
                </a:cubicBezTo>
                <a:cubicBezTo>
                  <a:pt x="6131728" y="6586993"/>
                  <a:pt x="6127867" y="6587792"/>
                  <a:pt x="6123608" y="6587792"/>
                </a:cubicBezTo>
                <a:cubicBezTo>
                  <a:pt x="6114689" y="6587792"/>
                  <a:pt x="6107367" y="6584863"/>
                  <a:pt x="6101775" y="6579272"/>
                </a:cubicBezTo>
                <a:cubicBezTo>
                  <a:pt x="6096184" y="6573682"/>
                  <a:pt x="6093389" y="6566625"/>
                  <a:pt x="6093389" y="6558106"/>
                </a:cubicBezTo>
                <a:cubicBezTo>
                  <a:pt x="6093389" y="6549853"/>
                  <a:pt x="6096184" y="6542798"/>
                  <a:pt x="6101775" y="6537074"/>
                </a:cubicBezTo>
                <a:cubicBezTo>
                  <a:pt x="6107367" y="6531350"/>
                  <a:pt x="6114555" y="6528554"/>
                  <a:pt x="6123608" y="6528554"/>
                </a:cubicBezTo>
                <a:close/>
                <a:moveTo>
                  <a:pt x="5905963" y="6528554"/>
                </a:moveTo>
                <a:cubicBezTo>
                  <a:pt x="5910222" y="6528554"/>
                  <a:pt x="5914216" y="6529353"/>
                  <a:pt x="5917677" y="6531083"/>
                </a:cubicBezTo>
                <a:cubicBezTo>
                  <a:pt x="5921404" y="6532681"/>
                  <a:pt x="5924466" y="6534810"/>
                  <a:pt x="5926995" y="6537473"/>
                </a:cubicBezTo>
                <a:cubicBezTo>
                  <a:pt x="5929524" y="6540002"/>
                  <a:pt x="5931654" y="6543197"/>
                  <a:pt x="5933118" y="6546791"/>
                </a:cubicBezTo>
                <a:cubicBezTo>
                  <a:pt x="5934583" y="6550385"/>
                  <a:pt x="5935381" y="6554246"/>
                  <a:pt x="5935381" y="6558239"/>
                </a:cubicBezTo>
                <a:cubicBezTo>
                  <a:pt x="5935381" y="6562366"/>
                  <a:pt x="5934583" y="6566359"/>
                  <a:pt x="5933118" y="6569954"/>
                </a:cubicBezTo>
                <a:cubicBezTo>
                  <a:pt x="5931654" y="6573548"/>
                  <a:pt x="5929524" y="6576610"/>
                  <a:pt x="5926995" y="6579272"/>
                </a:cubicBezTo>
                <a:cubicBezTo>
                  <a:pt x="5924333" y="6581935"/>
                  <a:pt x="5921271" y="6584065"/>
                  <a:pt x="5917677" y="6585529"/>
                </a:cubicBezTo>
                <a:cubicBezTo>
                  <a:pt x="5914083" y="6586993"/>
                  <a:pt x="5910222" y="6587792"/>
                  <a:pt x="5905963" y="6587792"/>
                </a:cubicBezTo>
                <a:cubicBezTo>
                  <a:pt x="5897044" y="6587792"/>
                  <a:pt x="5889722" y="6584863"/>
                  <a:pt x="5884130" y="6579272"/>
                </a:cubicBezTo>
                <a:cubicBezTo>
                  <a:pt x="5878540" y="6573682"/>
                  <a:pt x="5875744" y="6566625"/>
                  <a:pt x="5875744" y="6558106"/>
                </a:cubicBezTo>
                <a:cubicBezTo>
                  <a:pt x="5875744" y="6549853"/>
                  <a:pt x="5878540" y="6542798"/>
                  <a:pt x="5884130" y="6537074"/>
                </a:cubicBezTo>
                <a:cubicBezTo>
                  <a:pt x="5889722" y="6531350"/>
                  <a:pt x="5896910" y="6528554"/>
                  <a:pt x="5905963" y="6528554"/>
                </a:cubicBezTo>
                <a:close/>
                <a:moveTo>
                  <a:pt x="5688451" y="6528554"/>
                </a:moveTo>
                <a:cubicBezTo>
                  <a:pt x="5692577" y="6528554"/>
                  <a:pt x="5696571" y="6529353"/>
                  <a:pt x="5700165" y="6531083"/>
                </a:cubicBezTo>
                <a:cubicBezTo>
                  <a:pt x="5703892" y="6532681"/>
                  <a:pt x="5706954" y="6534810"/>
                  <a:pt x="5709483" y="6537473"/>
                </a:cubicBezTo>
                <a:cubicBezTo>
                  <a:pt x="5712012" y="6540002"/>
                  <a:pt x="5714142" y="6543197"/>
                  <a:pt x="5715606" y="6546791"/>
                </a:cubicBezTo>
                <a:cubicBezTo>
                  <a:pt x="5717071" y="6550385"/>
                  <a:pt x="5717869" y="6554246"/>
                  <a:pt x="5717869" y="6558239"/>
                </a:cubicBezTo>
                <a:cubicBezTo>
                  <a:pt x="5717869" y="6562366"/>
                  <a:pt x="5717071" y="6566359"/>
                  <a:pt x="5715606" y="6569954"/>
                </a:cubicBezTo>
                <a:cubicBezTo>
                  <a:pt x="5714142" y="6573548"/>
                  <a:pt x="5712012" y="6576610"/>
                  <a:pt x="5709483" y="6579272"/>
                </a:cubicBezTo>
                <a:cubicBezTo>
                  <a:pt x="5706820" y="6581935"/>
                  <a:pt x="5703759" y="6584065"/>
                  <a:pt x="5700165" y="6585529"/>
                </a:cubicBezTo>
                <a:cubicBezTo>
                  <a:pt x="5696571" y="6586993"/>
                  <a:pt x="5692710" y="6587792"/>
                  <a:pt x="5688451" y="6587792"/>
                </a:cubicBezTo>
                <a:cubicBezTo>
                  <a:pt x="5679532" y="6587792"/>
                  <a:pt x="5672210" y="6584863"/>
                  <a:pt x="5666618" y="6579272"/>
                </a:cubicBezTo>
                <a:cubicBezTo>
                  <a:pt x="5661028" y="6573682"/>
                  <a:pt x="5658232" y="6566625"/>
                  <a:pt x="5658232" y="6558106"/>
                </a:cubicBezTo>
                <a:cubicBezTo>
                  <a:pt x="5658232" y="6549853"/>
                  <a:pt x="5661028" y="6542798"/>
                  <a:pt x="5666618" y="6537074"/>
                </a:cubicBezTo>
                <a:cubicBezTo>
                  <a:pt x="5672210" y="6531350"/>
                  <a:pt x="5679398" y="6528554"/>
                  <a:pt x="5688451" y="6528554"/>
                </a:cubicBezTo>
                <a:close/>
                <a:moveTo>
                  <a:pt x="5470806" y="6528554"/>
                </a:moveTo>
                <a:cubicBezTo>
                  <a:pt x="5475065" y="6528554"/>
                  <a:pt x="5478926" y="6529353"/>
                  <a:pt x="5482520" y="6531083"/>
                </a:cubicBezTo>
                <a:cubicBezTo>
                  <a:pt x="5486247" y="6532681"/>
                  <a:pt x="5489309" y="6534810"/>
                  <a:pt x="5491838" y="6537473"/>
                </a:cubicBezTo>
                <a:cubicBezTo>
                  <a:pt x="5494367" y="6540002"/>
                  <a:pt x="5496497" y="6543197"/>
                  <a:pt x="5497961" y="6546791"/>
                </a:cubicBezTo>
                <a:cubicBezTo>
                  <a:pt x="5499426" y="6550385"/>
                  <a:pt x="5500224" y="6554246"/>
                  <a:pt x="5500224" y="6558239"/>
                </a:cubicBezTo>
                <a:cubicBezTo>
                  <a:pt x="5500224" y="6562366"/>
                  <a:pt x="5499426" y="6566359"/>
                  <a:pt x="5497961" y="6569954"/>
                </a:cubicBezTo>
                <a:cubicBezTo>
                  <a:pt x="5496497" y="6573548"/>
                  <a:pt x="5494367" y="6576610"/>
                  <a:pt x="5491838" y="6579272"/>
                </a:cubicBezTo>
                <a:cubicBezTo>
                  <a:pt x="5489176" y="6581935"/>
                  <a:pt x="5486114" y="6584065"/>
                  <a:pt x="5482520" y="6585529"/>
                </a:cubicBezTo>
                <a:cubicBezTo>
                  <a:pt x="5478926" y="6586993"/>
                  <a:pt x="5475065" y="6587792"/>
                  <a:pt x="5470806" y="6587792"/>
                </a:cubicBezTo>
                <a:cubicBezTo>
                  <a:pt x="5461887" y="6587792"/>
                  <a:pt x="5454565" y="6584863"/>
                  <a:pt x="5448973" y="6579272"/>
                </a:cubicBezTo>
                <a:cubicBezTo>
                  <a:pt x="5443383" y="6573682"/>
                  <a:pt x="5440587" y="6566625"/>
                  <a:pt x="5440587" y="6558106"/>
                </a:cubicBezTo>
                <a:cubicBezTo>
                  <a:pt x="5440587" y="6549853"/>
                  <a:pt x="5443383" y="6542798"/>
                  <a:pt x="5448973" y="6537074"/>
                </a:cubicBezTo>
                <a:cubicBezTo>
                  <a:pt x="5454565" y="6531350"/>
                  <a:pt x="5461754" y="6528554"/>
                  <a:pt x="5470806" y="6528554"/>
                </a:cubicBezTo>
                <a:close/>
                <a:moveTo>
                  <a:pt x="5253160" y="6528554"/>
                </a:moveTo>
                <a:cubicBezTo>
                  <a:pt x="5257420" y="6528554"/>
                  <a:pt x="5261280" y="6529353"/>
                  <a:pt x="5264875" y="6531083"/>
                </a:cubicBezTo>
                <a:cubicBezTo>
                  <a:pt x="5268602" y="6532681"/>
                  <a:pt x="5271664" y="6534810"/>
                  <a:pt x="5274192" y="6537473"/>
                </a:cubicBezTo>
                <a:cubicBezTo>
                  <a:pt x="5276722" y="6540002"/>
                  <a:pt x="5278852" y="6543197"/>
                  <a:pt x="5280316" y="6546791"/>
                </a:cubicBezTo>
                <a:cubicBezTo>
                  <a:pt x="5281780" y="6550385"/>
                  <a:pt x="5282579" y="6554246"/>
                  <a:pt x="5282579" y="6558239"/>
                </a:cubicBezTo>
                <a:cubicBezTo>
                  <a:pt x="5282579" y="6562366"/>
                  <a:pt x="5281780" y="6566359"/>
                  <a:pt x="5280316" y="6569954"/>
                </a:cubicBezTo>
                <a:cubicBezTo>
                  <a:pt x="5278852" y="6573548"/>
                  <a:pt x="5276722" y="6576610"/>
                  <a:pt x="5274192" y="6579272"/>
                </a:cubicBezTo>
                <a:cubicBezTo>
                  <a:pt x="5271664" y="6581935"/>
                  <a:pt x="5268469" y="6584065"/>
                  <a:pt x="5264875" y="6585529"/>
                </a:cubicBezTo>
                <a:cubicBezTo>
                  <a:pt x="5261280" y="6586993"/>
                  <a:pt x="5257420" y="6587792"/>
                  <a:pt x="5253160" y="6587792"/>
                </a:cubicBezTo>
                <a:cubicBezTo>
                  <a:pt x="5244241" y="6587792"/>
                  <a:pt x="5236920" y="6584863"/>
                  <a:pt x="5231328" y="6579272"/>
                </a:cubicBezTo>
                <a:cubicBezTo>
                  <a:pt x="5225737" y="6573682"/>
                  <a:pt x="5222942" y="6566625"/>
                  <a:pt x="5222942" y="6558106"/>
                </a:cubicBezTo>
                <a:cubicBezTo>
                  <a:pt x="5222942" y="6549853"/>
                  <a:pt x="5225737" y="6542798"/>
                  <a:pt x="5231328" y="6537074"/>
                </a:cubicBezTo>
                <a:cubicBezTo>
                  <a:pt x="5236920" y="6531350"/>
                  <a:pt x="5244108" y="6528554"/>
                  <a:pt x="5253160" y="6528554"/>
                </a:cubicBezTo>
                <a:close/>
                <a:moveTo>
                  <a:pt x="5035515" y="6528554"/>
                </a:moveTo>
                <a:cubicBezTo>
                  <a:pt x="5039775" y="6528554"/>
                  <a:pt x="5043636" y="6529353"/>
                  <a:pt x="5047230" y="6531083"/>
                </a:cubicBezTo>
                <a:cubicBezTo>
                  <a:pt x="5050957" y="6532681"/>
                  <a:pt x="5054019" y="6534810"/>
                  <a:pt x="5056548" y="6537473"/>
                </a:cubicBezTo>
                <a:cubicBezTo>
                  <a:pt x="5059077" y="6540002"/>
                  <a:pt x="5061207" y="6543197"/>
                  <a:pt x="5062671" y="6546791"/>
                </a:cubicBezTo>
                <a:cubicBezTo>
                  <a:pt x="5064135" y="6550385"/>
                  <a:pt x="5064934" y="6554246"/>
                  <a:pt x="5064934" y="6558239"/>
                </a:cubicBezTo>
                <a:cubicBezTo>
                  <a:pt x="5064934" y="6562366"/>
                  <a:pt x="5064135" y="6566359"/>
                  <a:pt x="5062671" y="6569954"/>
                </a:cubicBezTo>
                <a:cubicBezTo>
                  <a:pt x="5061207" y="6573548"/>
                  <a:pt x="5059077" y="6576610"/>
                  <a:pt x="5056548" y="6579272"/>
                </a:cubicBezTo>
                <a:cubicBezTo>
                  <a:pt x="5053885" y="6581935"/>
                  <a:pt x="5050824" y="6584065"/>
                  <a:pt x="5047230" y="6585529"/>
                </a:cubicBezTo>
                <a:cubicBezTo>
                  <a:pt x="5043636" y="6586993"/>
                  <a:pt x="5039775" y="6587792"/>
                  <a:pt x="5035515" y="6587792"/>
                </a:cubicBezTo>
                <a:cubicBezTo>
                  <a:pt x="5026597" y="6587792"/>
                  <a:pt x="5019275" y="6584863"/>
                  <a:pt x="5013683" y="6579272"/>
                </a:cubicBezTo>
                <a:cubicBezTo>
                  <a:pt x="5008092" y="6573682"/>
                  <a:pt x="5005297" y="6566625"/>
                  <a:pt x="5005297" y="6558106"/>
                </a:cubicBezTo>
                <a:cubicBezTo>
                  <a:pt x="5005297" y="6549853"/>
                  <a:pt x="5008092" y="6542798"/>
                  <a:pt x="5013683" y="6537074"/>
                </a:cubicBezTo>
                <a:cubicBezTo>
                  <a:pt x="5019275" y="6531350"/>
                  <a:pt x="5026463" y="6528554"/>
                  <a:pt x="5035515" y="6528554"/>
                </a:cubicBezTo>
                <a:close/>
                <a:moveTo>
                  <a:pt x="4817870" y="6528554"/>
                </a:moveTo>
                <a:cubicBezTo>
                  <a:pt x="4822130" y="6528554"/>
                  <a:pt x="4826124" y="6529353"/>
                  <a:pt x="4829585" y="6531083"/>
                </a:cubicBezTo>
                <a:cubicBezTo>
                  <a:pt x="4833312" y="6532681"/>
                  <a:pt x="4836374" y="6534810"/>
                  <a:pt x="4838903" y="6537473"/>
                </a:cubicBezTo>
                <a:cubicBezTo>
                  <a:pt x="4841432" y="6540002"/>
                  <a:pt x="4843562" y="6543197"/>
                  <a:pt x="4845026" y="6546791"/>
                </a:cubicBezTo>
                <a:cubicBezTo>
                  <a:pt x="4846491" y="6550385"/>
                  <a:pt x="4847289" y="6554246"/>
                  <a:pt x="4847289" y="6558239"/>
                </a:cubicBezTo>
                <a:cubicBezTo>
                  <a:pt x="4847289" y="6562366"/>
                  <a:pt x="4846491" y="6566359"/>
                  <a:pt x="4845026" y="6569954"/>
                </a:cubicBezTo>
                <a:cubicBezTo>
                  <a:pt x="4843562" y="6573548"/>
                  <a:pt x="4841432" y="6576610"/>
                  <a:pt x="4838903" y="6579272"/>
                </a:cubicBezTo>
                <a:cubicBezTo>
                  <a:pt x="4836240" y="6581935"/>
                  <a:pt x="4833179" y="6584065"/>
                  <a:pt x="4829585" y="6585529"/>
                </a:cubicBezTo>
                <a:cubicBezTo>
                  <a:pt x="4825991" y="6586993"/>
                  <a:pt x="4822130" y="6587792"/>
                  <a:pt x="4817870" y="6587792"/>
                </a:cubicBezTo>
                <a:cubicBezTo>
                  <a:pt x="4808952" y="6587792"/>
                  <a:pt x="4801630" y="6584863"/>
                  <a:pt x="4796038" y="6579272"/>
                </a:cubicBezTo>
                <a:cubicBezTo>
                  <a:pt x="4790447" y="6573682"/>
                  <a:pt x="4787652" y="6566625"/>
                  <a:pt x="4787652" y="6558106"/>
                </a:cubicBezTo>
                <a:cubicBezTo>
                  <a:pt x="4787652" y="6549853"/>
                  <a:pt x="4790447" y="6542798"/>
                  <a:pt x="4796038" y="6537074"/>
                </a:cubicBezTo>
                <a:cubicBezTo>
                  <a:pt x="4801630" y="6531350"/>
                  <a:pt x="4808818" y="6528554"/>
                  <a:pt x="4817870" y="6528554"/>
                </a:cubicBezTo>
                <a:close/>
                <a:moveTo>
                  <a:pt x="4600226" y="6528554"/>
                </a:moveTo>
                <a:cubicBezTo>
                  <a:pt x="4604485" y="6528554"/>
                  <a:pt x="4608479" y="6529353"/>
                  <a:pt x="4612073" y="6531083"/>
                </a:cubicBezTo>
                <a:cubicBezTo>
                  <a:pt x="4615800" y="6532681"/>
                  <a:pt x="4618862" y="6534810"/>
                  <a:pt x="4621391" y="6537473"/>
                </a:cubicBezTo>
                <a:cubicBezTo>
                  <a:pt x="4623920" y="6540002"/>
                  <a:pt x="4626050" y="6543197"/>
                  <a:pt x="4627514" y="6546791"/>
                </a:cubicBezTo>
                <a:cubicBezTo>
                  <a:pt x="4628978" y="6550385"/>
                  <a:pt x="4629777" y="6554246"/>
                  <a:pt x="4629777" y="6558239"/>
                </a:cubicBezTo>
                <a:cubicBezTo>
                  <a:pt x="4629777" y="6562366"/>
                  <a:pt x="4628978" y="6566359"/>
                  <a:pt x="4627514" y="6569954"/>
                </a:cubicBezTo>
                <a:cubicBezTo>
                  <a:pt x="4626050" y="6573548"/>
                  <a:pt x="4623920" y="6576610"/>
                  <a:pt x="4621391" y="6579272"/>
                </a:cubicBezTo>
                <a:cubicBezTo>
                  <a:pt x="4618729" y="6581935"/>
                  <a:pt x="4615667" y="6584065"/>
                  <a:pt x="4612073" y="6585529"/>
                </a:cubicBezTo>
                <a:cubicBezTo>
                  <a:pt x="4608346" y="6586993"/>
                  <a:pt x="4604485" y="6587792"/>
                  <a:pt x="4600226" y="6587792"/>
                </a:cubicBezTo>
                <a:cubicBezTo>
                  <a:pt x="4591173" y="6587792"/>
                  <a:pt x="4583985" y="6584863"/>
                  <a:pt x="4578393" y="6579272"/>
                </a:cubicBezTo>
                <a:cubicBezTo>
                  <a:pt x="4572803" y="6573682"/>
                  <a:pt x="4570007" y="6566625"/>
                  <a:pt x="4570007" y="6558106"/>
                </a:cubicBezTo>
                <a:cubicBezTo>
                  <a:pt x="4570007" y="6549853"/>
                  <a:pt x="4572803" y="6542798"/>
                  <a:pt x="4578393" y="6537074"/>
                </a:cubicBezTo>
                <a:cubicBezTo>
                  <a:pt x="4583985" y="6531350"/>
                  <a:pt x="4591173" y="6528554"/>
                  <a:pt x="4600226" y="6528554"/>
                </a:cubicBezTo>
                <a:close/>
                <a:moveTo>
                  <a:pt x="4382713" y="6528554"/>
                </a:moveTo>
                <a:cubicBezTo>
                  <a:pt x="4386840" y="6528554"/>
                  <a:pt x="4390834" y="6529353"/>
                  <a:pt x="4394428" y="6531083"/>
                </a:cubicBezTo>
                <a:cubicBezTo>
                  <a:pt x="4398155" y="6532681"/>
                  <a:pt x="4401217" y="6534810"/>
                  <a:pt x="4403746" y="6537473"/>
                </a:cubicBezTo>
                <a:cubicBezTo>
                  <a:pt x="4406275" y="6540002"/>
                  <a:pt x="4408405" y="6543197"/>
                  <a:pt x="4409869" y="6546791"/>
                </a:cubicBezTo>
                <a:cubicBezTo>
                  <a:pt x="4411334" y="6550385"/>
                  <a:pt x="4412132" y="6554246"/>
                  <a:pt x="4412132" y="6558239"/>
                </a:cubicBezTo>
                <a:cubicBezTo>
                  <a:pt x="4412132" y="6562366"/>
                  <a:pt x="4411334" y="6566359"/>
                  <a:pt x="4409869" y="6569954"/>
                </a:cubicBezTo>
                <a:cubicBezTo>
                  <a:pt x="4408405" y="6573548"/>
                  <a:pt x="4406275" y="6576610"/>
                  <a:pt x="4403746" y="6579272"/>
                </a:cubicBezTo>
                <a:cubicBezTo>
                  <a:pt x="4401083" y="6581935"/>
                  <a:pt x="4398022" y="6584065"/>
                  <a:pt x="4394428" y="6585529"/>
                </a:cubicBezTo>
                <a:cubicBezTo>
                  <a:pt x="4390834" y="6586993"/>
                  <a:pt x="4386973" y="6587792"/>
                  <a:pt x="4382713" y="6587792"/>
                </a:cubicBezTo>
                <a:cubicBezTo>
                  <a:pt x="4373661" y="6587792"/>
                  <a:pt x="4366473" y="6584863"/>
                  <a:pt x="4360881" y="6579272"/>
                </a:cubicBezTo>
                <a:cubicBezTo>
                  <a:pt x="4355290" y="6573682"/>
                  <a:pt x="4352495" y="6566625"/>
                  <a:pt x="4352495" y="6558106"/>
                </a:cubicBezTo>
                <a:cubicBezTo>
                  <a:pt x="4352495" y="6549853"/>
                  <a:pt x="4355290" y="6542798"/>
                  <a:pt x="4360881" y="6537074"/>
                </a:cubicBezTo>
                <a:cubicBezTo>
                  <a:pt x="4366473" y="6531350"/>
                  <a:pt x="4373661" y="6528554"/>
                  <a:pt x="4382713" y="6528554"/>
                </a:cubicBezTo>
                <a:close/>
                <a:moveTo>
                  <a:pt x="4165068" y="6528554"/>
                </a:moveTo>
                <a:cubicBezTo>
                  <a:pt x="4169327" y="6528554"/>
                  <a:pt x="4173188" y="6529353"/>
                  <a:pt x="4176782" y="6531083"/>
                </a:cubicBezTo>
                <a:cubicBezTo>
                  <a:pt x="4180509" y="6532681"/>
                  <a:pt x="4183571" y="6534810"/>
                  <a:pt x="4186100" y="6537473"/>
                </a:cubicBezTo>
                <a:cubicBezTo>
                  <a:pt x="4188629" y="6540002"/>
                  <a:pt x="4190759" y="6543197"/>
                  <a:pt x="4192223" y="6546791"/>
                </a:cubicBezTo>
                <a:cubicBezTo>
                  <a:pt x="4193688" y="6550385"/>
                  <a:pt x="4194486" y="6554246"/>
                  <a:pt x="4194486" y="6558239"/>
                </a:cubicBezTo>
                <a:cubicBezTo>
                  <a:pt x="4194486" y="6562366"/>
                  <a:pt x="4193688" y="6566359"/>
                  <a:pt x="4192223" y="6569954"/>
                </a:cubicBezTo>
                <a:cubicBezTo>
                  <a:pt x="4190759" y="6573548"/>
                  <a:pt x="4188629" y="6576610"/>
                  <a:pt x="4186100" y="6579272"/>
                </a:cubicBezTo>
                <a:cubicBezTo>
                  <a:pt x="4183438" y="6581935"/>
                  <a:pt x="4180376" y="6584065"/>
                  <a:pt x="4176782" y="6585529"/>
                </a:cubicBezTo>
                <a:cubicBezTo>
                  <a:pt x="4173188" y="6586993"/>
                  <a:pt x="4169327" y="6587792"/>
                  <a:pt x="4165068" y="6587792"/>
                </a:cubicBezTo>
                <a:cubicBezTo>
                  <a:pt x="4156015" y="6587792"/>
                  <a:pt x="4148827" y="6584863"/>
                  <a:pt x="4143235" y="6579272"/>
                </a:cubicBezTo>
                <a:cubicBezTo>
                  <a:pt x="4137645" y="6573682"/>
                  <a:pt x="4134849" y="6566625"/>
                  <a:pt x="4134849" y="6558106"/>
                </a:cubicBezTo>
                <a:cubicBezTo>
                  <a:pt x="4134849" y="6549853"/>
                  <a:pt x="4137645" y="6542798"/>
                  <a:pt x="4143235" y="6537074"/>
                </a:cubicBezTo>
                <a:cubicBezTo>
                  <a:pt x="4148827" y="6531350"/>
                  <a:pt x="4156015" y="6528554"/>
                  <a:pt x="4165068" y="6528554"/>
                </a:cubicBezTo>
                <a:close/>
                <a:moveTo>
                  <a:pt x="3947779" y="6528554"/>
                </a:moveTo>
                <a:cubicBezTo>
                  <a:pt x="3952041" y="6528554"/>
                  <a:pt x="3955902" y="6529353"/>
                  <a:pt x="3959498" y="6531083"/>
                </a:cubicBezTo>
                <a:cubicBezTo>
                  <a:pt x="3963226" y="6532681"/>
                  <a:pt x="3966287" y="6534810"/>
                  <a:pt x="3968816" y="6537473"/>
                </a:cubicBezTo>
                <a:cubicBezTo>
                  <a:pt x="3971346" y="6540002"/>
                  <a:pt x="3973476" y="6543197"/>
                  <a:pt x="3974940" y="6546791"/>
                </a:cubicBezTo>
                <a:cubicBezTo>
                  <a:pt x="3976404" y="6550385"/>
                  <a:pt x="3977203" y="6554246"/>
                  <a:pt x="3977203" y="6558239"/>
                </a:cubicBezTo>
                <a:cubicBezTo>
                  <a:pt x="3977203" y="6562366"/>
                  <a:pt x="3976404" y="6566359"/>
                  <a:pt x="3974940" y="6569954"/>
                </a:cubicBezTo>
                <a:cubicBezTo>
                  <a:pt x="3973476" y="6573548"/>
                  <a:pt x="3971346" y="6576610"/>
                  <a:pt x="3968816" y="6579272"/>
                </a:cubicBezTo>
                <a:cubicBezTo>
                  <a:pt x="3966154" y="6581935"/>
                  <a:pt x="3963093" y="6584065"/>
                  <a:pt x="3959498" y="6585529"/>
                </a:cubicBezTo>
                <a:cubicBezTo>
                  <a:pt x="3955902" y="6586993"/>
                  <a:pt x="3952041" y="6587792"/>
                  <a:pt x="3947779" y="6587792"/>
                </a:cubicBezTo>
                <a:cubicBezTo>
                  <a:pt x="3938726" y="6587792"/>
                  <a:pt x="3931538" y="6584863"/>
                  <a:pt x="3925946" y="6579272"/>
                </a:cubicBezTo>
                <a:cubicBezTo>
                  <a:pt x="3920355" y="6573682"/>
                  <a:pt x="3917560" y="6566625"/>
                  <a:pt x="3917560" y="6558106"/>
                </a:cubicBezTo>
                <a:cubicBezTo>
                  <a:pt x="3917560" y="6549853"/>
                  <a:pt x="3920355" y="6542798"/>
                  <a:pt x="3925946" y="6537074"/>
                </a:cubicBezTo>
                <a:cubicBezTo>
                  <a:pt x="3931538" y="6531350"/>
                  <a:pt x="3938726" y="6528554"/>
                  <a:pt x="3947779" y="6528554"/>
                </a:cubicBezTo>
                <a:close/>
                <a:moveTo>
                  <a:pt x="3730118" y="6528554"/>
                </a:moveTo>
                <a:cubicBezTo>
                  <a:pt x="3734379" y="6528554"/>
                  <a:pt x="3738372" y="6529353"/>
                  <a:pt x="3741834" y="6531083"/>
                </a:cubicBezTo>
                <a:cubicBezTo>
                  <a:pt x="3745428" y="6532681"/>
                  <a:pt x="3748623" y="6534810"/>
                  <a:pt x="3751152" y="6537473"/>
                </a:cubicBezTo>
                <a:cubicBezTo>
                  <a:pt x="3753682" y="6540002"/>
                  <a:pt x="3755811" y="6543197"/>
                  <a:pt x="3757275" y="6546791"/>
                </a:cubicBezTo>
                <a:cubicBezTo>
                  <a:pt x="3758739" y="6550385"/>
                  <a:pt x="3759538" y="6554246"/>
                  <a:pt x="3759538" y="6558239"/>
                </a:cubicBezTo>
                <a:cubicBezTo>
                  <a:pt x="3759538" y="6562366"/>
                  <a:pt x="3758739" y="6566359"/>
                  <a:pt x="3757275" y="6569954"/>
                </a:cubicBezTo>
                <a:cubicBezTo>
                  <a:pt x="3755811" y="6573548"/>
                  <a:pt x="3753682" y="6576610"/>
                  <a:pt x="3751152" y="6579272"/>
                </a:cubicBezTo>
                <a:cubicBezTo>
                  <a:pt x="3748489" y="6581935"/>
                  <a:pt x="3745428" y="6584065"/>
                  <a:pt x="3741834" y="6585529"/>
                </a:cubicBezTo>
                <a:cubicBezTo>
                  <a:pt x="3738240" y="6586993"/>
                  <a:pt x="3734379" y="6587792"/>
                  <a:pt x="3730118" y="6587792"/>
                </a:cubicBezTo>
                <a:cubicBezTo>
                  <a:pt x="3721066" y="6587792"/>
                  <a:pt x="3713876" y="6584863"/>
                  <a:pt x="3708276" y="6579272"/>
                </a:cubicBezTo>
                <a:cubicBezTo>
                  <a:pt x="3702684" y="6573682"/>
                  <a:pt x="3699890" y="6566625"/>
                  <a:pt x="3699890" y="6558106"/>
                </a:cubicBezTo>
                <a:cubicBezTo>
                  <a:pt x="3699890" y="6549853"/>
                  <a:pt x="3702684" y="6542798"/>
                  <a:pt x="3708276" y="6537074"/>
                </a:cubicBezTo>
                <a:cubicBezTo>
                  <a:pt x="3713876" y="6531350"/>
                  <a:pt x="3721066" y="6528554"/>
                  <a:pt x="3730118" y="6528554"/>
                </a:cubicBezTo>
                <a:close/>
                <a:moveTo>
                  <a:pt x="3512454" y="6528554"/>
                </a:moveTo>
                <a:cubicBezTo>
                  <a:pt x="3516715" y="6528554"/>
                  <a:pt x="3520708" y="6529353"/>
                  <a:pt x="3524170" y="6531083"/>
                </a:cubicBezTo>
                <a:cubicBezTo>
                  <a:pt x="3527764" y="6532681"/>
                  <a:pt x="3530959" y="6534810"/>
                  <a:pt x="3533488" y="6537473"/>
                </a:cubicBezTo>
                <a:cubicBezTo>
                  <a:pt x="3536017" y="6540002"/>
                  <a:pt x="3538148" y="6543197"/>
                  <a:pt x="3539612" y="6546791"/>
                </a:cubicBezTo>
                <a:cubicBezTo>
                  <a:pt x="3541076" y="6550385"/>
                  <a:pt x="3541875" y="6554246"/>
                  <a:pt x="3541875" y="6558239"/>
                </a:cubicBezTo>
                <a:cubicBezTo>
                  <a:pt x="3541875" y="6562366"/>
                  <a:pt x="3541076" y="6566359"/>
                  <a:pt x="3539612" y="6569954"/>
                </a:cubicBezTo>
                <a:cubicBezTo>
                  <a:pt x="3538148" y="6573548"/>
                  <a:pt x="3536017" y="6576610"/>
                  <a:pt x="3533488" y="6579272"/>
                </a:cubicBezTo>
                <a:cubicBezTo>
                  <a:pt x="3530825" y="6581935"/>
                  <a:pt x="3527764" y="6584065"/>
                  <a:pt x="3524170" y="6585529"/>
                </a:cubicBezTo>
                <a:cubicBezTo>
                  <a:pt x="3520576" y="6586993"/>
                  <a:pt x="3516715" y="6587792"/>
                  <a:pt x="3512454" y="6587792"/>
                </a:cubicBezTo>
                <a:cubicBezTo>
                  <a:pt x="3503398" y="6587792"/>
                  <a:pt x="3496207" y="6584863"/>
                  <a:pt x="3490617" y="6579272"/>
                </a:cubicBezTo>
                <a:cubicBezTo>
                  <a:pt x="3485026" y="6573682"/>
                  <a:pt x="3482230" y="6566625"/>
                  <a:pt x="3482230" y="6558106"/>
                </a:cubicBezTo>
                <a:cubicBezTo>
                  <a:pt x="3482230" y="6549853"/>
                  <a:pt x="3485026" y="6542798"/>
                  <a:pt x="3490617" y="6537074"/>
                </a:cubicBezTo>
                <a:cubicBezTo>
                  <a:pt x="3496207" y="6531350"/>
                  <a:pt x="3503398" y="6528554"/>
                  <a:pt x="3512454" y="6528554"/>
                </a:cubicBezTo>
                <a:close/>
                <a:moveTo>
                  <a:pt x="3294924" y="6528554"/>
                </a:moveTo>
                <a:cubicBezTo>
                  <a:pt x="3299051" y="6528554"/>
                  <a:pt x="3303045" y="6529353"/>
                  <a:pt x="3306640" y="6531083"/>
                </a:cubicBezTo>
                <a:cubicBezTo>
                  <a:pt x="3310367" y="6532681"/>
                  <a:pt x="3313429" y="6534810"/>
                  <a:pt x="3315958" y="6537473"/>
                </a:cubicBezTo>
                <a:cubicBezTo>
                  <a:pt x="3318487" y="6540002"/>
                  <a:pt x="3320617" y="6543197"/>
                  <a:pt x="3322081" y="6546791"/>
                </a:cubicBezTo>
                <a:cubicBezTo>
                  <a:pt x="3323545" y="6550385"/>
                  <a:pt x="3324344" y="6554246"/>
                  <a:pt x="3324344" y="6558239"/>
                </a:cubicBezTo>
                <a:cubicBezTo>
                  <a:pt x="3324344" y="6562366"/>
                  <a:pt x="3323545" y="6566359"/>
                  <a:pt x="3322081" y="6569954"/>
                </a:cubicBezTo>
                <a:cubicBezTo>
                  <a:pt x="3320617" y="6573548"/>
                  <a:pt x="3318487" y="6576610"/>
                  <a:pt x="3315958" y="6579272"/>
                </a:cubicBezTo>
                <a:cubicBezTo>
                  <a:pt x="3313295" y="6581935"/>
                  <a:pt x="3310233" y="6584065"/>
                  <a:pt x="3306640" y="6585529"/>
                </a:cubicBezTo>
                <a:cubicBezTo>
                  <a:pt x="3303045" y="6586993"/>
                  <a:pt x="3299185" y="6587792"/>
                  <a:pt x="3294924" y="6587792"/>
                </a:cubicBezTo>
                <a:cubicBezTo>
                  <a:pt x="3285869" y="6587792"/>
                  <a:pt x="3278680" y="6584863"/>
                  <a:pt x="3273085" y="6579272"/>
                </a:cubicBezTo>
                <a:cubicBezTo>
                  <a:pt x="3267491" y="6573682"/>
                  <a:pt x="3264696" y="6566625"/>
                  <a:pt x="3264696" y="6558106"/>
                </a:cubicBezTo>
                <a:cubicBezTo>
                  <a:pt x="3264696" y="6549853"/>
                  <a:pt x="3267491" y="6542798"/>
                  <a:pt x="3273085" y="6537074"/>
                </a:cubicBezTo>
                <a:cubicBezTo>
                  <a:pt x="3278680" y="6531350"/>
                  <a:pt x="3285869" y="6528554"/>
                  <a:pt x="3294924" y="6528554"/>
                </a:cubicBezTo>
                <a:close/>
                <a:moveTo>
                  <a:pt x="3077260" y="6528554"/>
                </a:moveTo>
                <a:cubicBezTo>
                  <a:pt x="3081388" y="6528554"/>
                  <a:pt x="3085381" y="6529353"/>
                  <a:pt x="3088976" y="6531083"/>
                </a:cubicBezTo>
                <a:cubicBezTo>
                  <a:pt x="3092570" y="6532681"/>
                  <a:pt x="3095765" y="6534810"/>
                  <a:pt x="3098294" y="6537473"/>
                </a:cubicBezTo>
                <a:cubicBezTo>
                  <a:pt x="3100823" y="6540002"/>
                  <a:pt x="3102953" y="6543197"/>
                  <a:pt x="3104417" y="6546791"/>
                </a:cubicBezTo>
                <a:cubicBezTo>
                  <a:pt x="3105882" y="6550385"/>
                  <a:pt x="3106680" y="6554246"/>
                  <a:pt x="3106680" y="6558239"/>
                </a:cubicBezTo>
                <a:cubicBezTo>
                  <a:pt x="3106680" y="6562366"/>
                  <a:pt x="3105882" y="6566359"/>
                  <a:pt x="3104417" y="6569954"/>
                </a:cubicBezTo>
                <a:cubicBezTo>
                  <a:pt x="3102953" y="6573548"/>
                  <a:pt x="3100823" y="6576610"/>
                  <a:pt x="3098294" y="6579272"/>
                </a:cubicBezTo>
                <a:cubicBezTo>
                  <a:pt x="3095631" y="6581935"/>
                  <a:pt x="3092570" y="6584065"/>
                  <a:pt x="3088976" y="6585529"/>
                </a:cubicBezTo>
                <a:cubicBezTo>
                  <a:pt x="3085381" y="6586993"/>
                  <a:pt x="3081520" y="6587792"/>
                  <a:pt x="3077260" y="6587792"/>
                </a:cubicBezTo>
                <a:cubicBezTo>
                  <a:pt x="3068340" y="6587792"/>
                  <a:pt x="3061016" y="6584863"/>
                  <a:pt x="3055421" y="6579272"/>
                </a:cubicBezTo>
                <a:cubicBezTo>
                  <a:pt x="3049830" y="6573682"/>
                  <a:pt x="3047034" y="6566625"/>
                  <a:pt x="3047034" y="6558106"/>
                </a:cubicBezTo>
                <a:cubicBezTo>
                  <a:pt x="3047034" y="6549853"/>
                  <a:pt x="3049830" y="6542798"/>
                  <a:pt x="3055421" y="6537074"/>
                </a:cubicBezTo>
                <a:cubicBezTo>
                  <a:pt x="3061016" y="6531350"/>
                  <a:pt x="3068207" y="6528554"/>
                  <a:pt x="3077260" y="6528554"/>
                </a:cubicBezTo>
                <a:close/>
                <a:moveTo>
                  <a:pt x="2859597" y="6528554"/>
                </a:moveTo>
                <a:cubicBezTo>
                  <a:pt x="2863857" y="6528554"/>
                  <a:pt x="2867718" y="6529353"/>
                  <a:pt x="2871445" y="6531083"/>
                </a:cubicBezTo>
                <a:cubicBezTo>
                  <a:pt x="2875172" y="6532681"/>
                  <a:pt x="2878234" y="6534810"/>
                  <a:pt x="2880763" y="6537473"/>
                </a:cubicBezTo>
                <a:cubicBezTo>
                  <a:pt x="2883425" y="6540002"/>
                  <a:pt x="2885422" y="6543197"/>
                  <a:pt x="2886886" y="6546791"/>
                </a:cubicBezTo>
                <a:cubicBezTo>
                  <a:pt x="2888351" y="6550385"/>
                  <a:pt x="2889149" y="6554246"/>
                  <a:pt x="2889149" y="6558239"/>
                </a:cubicBezTo>
                <a:cubicBezTo>
                  <a:pt x="2889149" y="6562366"/>
                  <a:pt x="2888351" y="6566359"/>
                  <a:pt x="2886886" y="6569954"/>
                </a:cubicBezTo>
                <a:cubicBezTo>
                  <a:pt x="2885422" y="6573548"/>
                  <a:pt x="2883292" y="6576610"/>
                  <a:pt x="2880763" y="6579272"/>
                </a:cubicBezTo>
                <a:cubicBezTo>
                  <a:pt x="2878101" y="6581935"/>
                  <a:pt x="2875038" y="6584065"/>
                  <a:pt x="2871445" y="6585529"/>
                </a:cubicBezTo>
                <a:cubicBezTo>
                  <a:pt x="2867718" y="6586993"/>
                  <a:pt x="2863857" y="6587792"/>
                  <a:pt x="2859597" y="6587792"/>
                </a:cubicBezTo>
                <a:cubicBezTo>
                  <a:pt x="2850679" y="6587792"/>
                  <a:pt x="2843351" y="6584863"/>
                  <a:pt x="2837757" y="6579272"/>
                </a:cubicBezTo>
                <a:cubicBezTo>
                  <a:pt x="2832166" y="6573682"/>
                  <a:pt x="2829370" y="6566625"/>
                  <a:pt x="2829370" y="6558106"/>
                </a:cubicBezTo>
                <a:cubicBezTo>
                  <a:pt x="2829370" y="6549853"/>
                  <a:pt x="2832166" y="6542798"/>
                  <a:pt x="2837757" y="6537074"/>
                </a:cubicBezTo>
                <a:cubicBezTo>
                  <a:pt x="2843351" y="6531350"/>
                  <a:pt x="2850545" y="6528554"/>
                  <a:pt x="2859597" y="6528554"/>
                </a:cubicBezTo>
                <a:close/>
                <a:moveTo>
                  <a:pt x="2641933" y="6528554"/>
                </a:moveTo>
                <a:cubicBezTo>
                  <a:pt x="2646193" y="6528554"/>
                  <a:pt x="2650053" y="6529353"/>
                  <a:pt x="2653648" y="6531083"/>
                </a:cubicBezTo>
                <a:cubicBezTo>
                  <a:pt x="2657375" y="6532681"/>
                  <a:pt x="2660437" y="6534810"/>
                  <a:pt x="2662966" y="6537473"/>
                </a:cubicBezTo>
                <a:cubicBezTo>
                  <a:pt x="2665628" y="6540002"/>
                  <a:pt x="2667625" y="6543197"/>
                  <a:pt x="2669089" y="6546791"/>
                </a:cubicBezTo>
                <a:cubicBezTo>
                  <a:pt x="2670553" y="6550385"/>
                  <a:pt x="2671352" y="6554246"/>
                  <a:pt x="2671352" y="6558239"/>
                </a:cubicBezTo>
                <a:cubicBezTo>
                  <a:pt x="2671352" y="6562366"/>
                  <a:pt x="2670553" y="6566359"/>
                  <a:pt x="2669089" y="6569954"/>
                </a:cubicBezTo>
                <a:cubicBezTo>
                  <a:pt x="2667625" y="6573548"/>
                  <a:pt x="2665495" y="6576610"/>
                  <a:pt x="2662966" y="6579272"/>
                </a:cubicBezTo>
                <a:cubicBezTo>
                  <a:pt x="2660437" y="6581935"/>
                  <a:pt x="2657242" y="6584065"/>
                  <a:pt x="2653648" y="6585529"/>
                </a:cubicBezTo>
                <a:cubicBezTo>
                  <a:pt x="2650053" y="6586993"/>
                  <a:pt x="2646193" y="6587792"/>
                  <a:pt x="2641933" y="6587792"/>
                </a:cubicBezTo>
                <a:cubicBezTo>
                  <a:pt x="2633013" y="6587792"/>
                  <a:pt x="2625691" y="6584863"/>
                  <a:pt x="2620099" y="6579272"/>
                </a:cubicBezTo>
                <a:cubicBezTo>
                  <a:pt x="2614507" y="6573682"/>
                  <a:pt x="2611708" y="6566625"/>
                  <a:pt x="2611708" y="6558106"/>
                </a:cubicBezTo>
                <a:cubicBezTo>
                  <a:pt x="2611708" y="6549853"/>
                  <a:pt x="2614507" y="6542798"/>
                  <a:pt x="2620099" y="6537074"/>
                </a:cubicBezTo>
                <a:cubicBezTo>
                  <a:pt x="2625691" y="6531350"/>
                  <a:pt x="2632881" y="6528554"/>
                  <a:pt x="2641933" y="6528554"/>
                </a:cubicBezTo>
                <a:close/>
                <a:moveTo>
                  <a:pt x="2424268" y="6528554"/>
                </a:moveTo>
                <a:cubicBezTo>
                  <a:pt x="2428529" y="6528554"/>
                  <a:pt x="2432523" y="6529353"/>
                  <a:pt x="2435984" y="6531083"/>
                </a:cubicBezTo>
                <a:cubicBezTo>
                  <a:pt x="2439711" y="6532681"/>
                  <a:pt x="2442773" y="6534810"/>
                  <a:pt x="2445302" y="6537473"/>
                </a:cubicBezTo>
                <a:cubicBezTo>
                  <a:pt x="2447964" y="6540002"/>
                  <a:pt x="2449961" y="6543197"/>
                  <a:pt x="2451425" y="6546791"/>
                </a:cubicBezTo>
                <a:cubicBezTo>
                  <a:pt x="2452889" y="6550385"/>
                  <a:pt x="2453688" y="6554246"/>
                  <a:pt x="2453688" y="6558239"/>
                </a:cubicBezTo>
                <a:cubicBezTo>
                  <a:pt x="2453688" y="6562366"/>
                  <a:pt x="2452889" y="6566359"/>
                  <a:pt x="2451425" y="6569954"/>
                </a:cubicBezTo>
                <a:cubicBezTo>
                  <a:pt x="2449961" y="6573548"/>
                  <a:pt x="2447831" y="6576610"/>
                  <a:pt x="2445302" y="6579272"/>
                </a:cubicBezTo>
                <a:cubicBezTo>
                  <a:pt x="2442773" y="6581935"/>
                  <a:pt x="2439578" y="6584065"/>
                  <a:pt x="2435984" y="6585529"/>
                </a:cubicBezTo>
                <a:cubicBezTo>
                  <a:pt x="2432390" y="6586993"/>
                  <a:pt x="2428529" y="6587792"/>
                  <a:pt x="2424268" y="6587792"/>
                </a:cubicBezTo>
                <a:cubicBezTo>
                  <a:pt x="2415351" y="6587792"/>
                  <a:pt x="2408028" y="6584863"/>
                  <a:pt x="2402437" y="6579272"/>
                </a:cubicBezTo>
                <a:cubicBezTo>
                  <a:pt x="2396843" y="6573682"/>
                  <a:pt x="2394047" y="6566625"/>
                  <a:pt x="2394047" y="6558106"/>
                </a:cubicBezTo>
                <a:cubicBezTo>
                  <a:pt x="2394047" y="6549853"/>
                  <a:pt x="2396843" y="6542798"/>
                  <a:pt x="2402437" y="6537074"/>
                </a:cubicBezTo>
                <a:cubicBezTo>
                  <a:pt x="2408028" y="6531350"/>
                  <a:pt x="2415217" y="6528554"/>
                  <a:pt x="2424268" y="6528554"/>
                </a:cubicBezTo>
                <a:close/>
                <a:moveTo>
                  <a:pt x="2206605" y="6528554"/>
                </a:moveTo>
                <a:cubicBezTo>
                  <a:pt x="2210865" y="6528554"/>
                  <a:pt x="2214859" y="6529353"/>
                  <a:pt x="2218320" y="6531083"/>
                </a:cubicBezTo>
                <a:cubicBezTo>
                  <a:pt x="2222047" y="6532681"/>
                  <a:pt x="2225108" y="6534810"/>
                  <a:pt x="2227639" y="6537473"/>
                </a:cubicBezTo>
                <a:cubicBezTo>
                  <a:pt x="2230300" y="6540002"/>
                  <a:pt x="2232297" y="6543197"/>
                  <a:pt x="2233761" y="6546791"/>
                </a:cubicBezTo>
                <a:cubicBezTo>
                  <a:pt x="2235225" y="6550385"/>
                  <a:pt x="2236024" y="6554246"/>
                  <a:pt x="2236024" y="6558239"/>
                </a:cubicBezTo>
                <a:cubicBezTo>
                  <a:pt x="2236024" y="6562366"/>
                  <a:pt x="2235225" y="6566359"/>
                  <a:pt x="2233761" y="6569954"/>
                </a:cubicBezTo>
                <a:cubicBezTo>
                  <a:pt x="2232297" y="6573548"/>
                  <a:pt x="2230167" y="6576610"/>
                  <a:pt x="2227639" y="6579272"/>
                </a:cubicBezTo>
                <a:cubicBezTo>
                  <a:pt x="2225108" y="6581935"/>
                  <a:pt x="2221914" y="6584065"/>
                  <a:pt x="2218320" y="6585529"/>
                </a:cubicBezTo>
                <a:cubicBezTo>
                  <a:pt x="2214725" y="6586993"/>
                  <a:pt x="2210865" y="6587792"/>
                  <a:pt x="2206605" y="6587792"/>
                </a:cubicBezTo>
                <a:cubicBezTo>
                  <a:pt x="2197553" y="6587792"/>
                  <a:pt x="2190364" y="6584863"/>
                  <a:pt x="2184772" y="6579272"/>
                </a:cubicBezTo>
                <a:cubicBezTo>
                  <a:pt x="2179180" y="6573682"/>
                  <a:pt x="2176383" y="6566625"/>
                  <a:pt x="2176383" y="6558106"/>
                </a:cubicBezTo>
                <a:cubicBezTo>
                  <a:pt x="2176383" y="6549853"/>
                  <a:pt x="2179180" y="6542798"/>
                  <a:pt x="2184772" y="6537074"/>
                </a:cubicBezTo>
                <a:cubicBezTo>
                  <a:pt x="2190364" y="6531350"/>
                  <a:pt x="2197553" y="6528554"/>
                  <a:pt x="2206605" y="6528554"/>
                </a:cubicBezTo>
                <a:close/>
                <a:moveTo>
                  <a:pt x="1989074" y="6528554"/>
                </a:moveTo>
                <a:cubicBezTo>
                  <a:pt x="1993201" y="6528554"/>
                  <a:pt x="1997195" y="6529353"/>
                  <a:pt x="2000789" y="6531083"/>
                </a:cubicBezTo>
                <a:cubicBezTo>
                  <a:pt x="2004516" y="6532681"/>
                  <a:pt x="2007578" y="6534810"/>
                  <a:pt x="2010107" y="6537473"/>
                </a:cubicBezTo>
                <a:cubicBezTo>
                  <a:pt x="2012769" y="6540002"/>
                  <a:pt x="2014767" y="6543197"/>
                  <a:pt x="2016230" y="6546791"/>
                </a:cubicBezTo>
                <a:cubicBezTo>
                  <a:pt x="2017694" y="6550385"/>
                  <a:pt x="2018493" y="6554246"/>
                  <a:pt x="2018493" y="6558239"/>
                </a:cubicBezTo>
                <a:cubicBezTo>
                  <a:pt x="2018493" y="6562366"/>
                  <a:pt x="2017694" y="6566359"/>
                  <a:pt x="2016230" y="6569954"/>
                </a:cubicBezTo>
                <a:cubicBezTo>
                  <a:pt x="2014767" y="6573548"/>
                  <a:pt x="2012636" y="6576610"/>
                  <a:pt x="2010107" y="6579272"/>
                </a:cubicBezTo>
                <a:cubicBezTo>
                  <a:pt x="2007578" y="6581935"/>
                  <a:pt x="2004383" y="6584065"/>
                  <a:pt x="2000789" y="6585529"/>
                </a:cubicBezTo>
                <a:cubicBezTo>
                  <a:pt x="1997195" y="6586993"/>
                  <a:pt x="1993334" y="6587792"/>
                  <a:pt x="1989074" y="6587792"/>
                </a:cubicBezTo>
                <a:cubicBezTo>
                  <a:pt x="1980023" y="6587792"/>
                  <a:pt x="1972834" y="6584863"/>
                  <a:pt x="1967243" y="6579272"/>
                </a:cubicBezTo>
                <a:cubicBezTo>
                  <a:pt x="1961652" y="6573682"/>
                  <a:pt x="1958856" y="6566625"/>
                  <a:pt x="1958856" y="6558106"/>
                </a:cubicBezTo>
                <a:cubicBezTo>
                  <a:pt x="1958856" y="6549853"/>
                  <a:pt x="1961652" y="6542798"/>
                  <a:pt x="1967243" y="6537074"/>
                </a:cubicBezTo>
                <a:cubicBezTo>
                  <a:pt x="1972834" y="6531350"/>
                  <a:pt x="1980023" y="6528554"/>
                  <a:pt x="1989074" y="6528554"/>
                </a:cubicBezTo>
                <a:close/>
                <a:moveTo>
                  <a:pt x="1771442" y="6528554"/>
                </a:moveTo>
                <a:cubicBezTo>
                  <a:pt x="1775701" y="6528554"/>
                  <a:pt x="1779560" y="6529353"/>
                  <a:pt x="1783156" y="6531083"/>
                </a:cubicBezTo>
                <a:cubicBezTo>
                  <a:pt x="1786883" y="6532681"/>
                  <a:pt x="1789945" y="6534810"/>
                  <a:pt x="1792474" y="6537473"/>
                </a:cubicBezTo>
                <a:cubicBezTo>
                  <a:pt x="1795136" y="6540002"/>
                  <a:pt x="1797133" y="6543197"/>
                  <a:pt x="1798597" y="6546791"/>
                </a:cubicBezTo>
                <a:cubicBezTo>
                  <a:pt x="1800060" y="6550385"/>
                  <a:pt x="1800859" y="6554246"/>
                  <a:pt x="1800859" y="6558239"/>
                </a:cubicBezTo>
                <a:cubicBezTo>
                  <a:pt x="1800859" y="6562366"/>
                  <a:pt x="1800060" y="6566359"/>
                  <a:pt x="1798597" y="6569954"/>
                </a:cubicBezTo>
                <a:cubicBezTo>
                  <a:pt x="1797133" y="6573548"/>
                  <a:pt x="1795003" y="6576610"/>
                  <a:pt x="1792474" y="6579272"/>
                </a:cubicBezTo>
                <a:cubicBezTo>
                  <a:pt x="1789811" y="6581935"/>
                  <a:pt x="1786750" y="6584065"/>
                  <a:pt x="1783156" y="6585529"/>
                </a:cubicBezTo>
                <a:cubicBezTo>
                  <a:pt x="1779560" y="6586993"/>
                  <a:pt x="1775701" y="6587792"/>
                  <a:pt x="1771442" y="6587792"/>
                </a:cubicBezTo>
                <a:cubicBezTo>
                  <a:pt x="1762523" y="6587792"/>
                  <a:pt x="1755204" y="6584863"/>
                  <a:pt x="1749613" y="6579272"/>
                </a:cubicBezTo>
                <a:cubicBezTo>
                  <a:pt x="1744023" y="6573682"/>
                  <a:pt x="1741231" y="6566625"/>
                  <a:pt x="1741231" y="6558106"/>
                </a:cubicBezTo>
                <a:cubicBezTo>
                  <a:pt x="1741231" y="6549853"/>
                  <a:pt x="1744023" y="6542798"/>
                  <a:pt x="1749613" y="6537074"/>
                </a:cubicBezTo>
                <a:cubicBezTo>
                  <a:pt x="1755204" y="6531350"/>
                  <a:pt x="1762390" y="6528554"/>
                  <a:pt x="1771442" y="6528554"/>
                </a:cubicBezTo>
                <a:close/>
                <a:moveTo>
                  <a:pt x="1553807" y="6528554"/>
                </a:moveTo>
                <a:cubicBezTo>
                  <a:pt x="1558066" y="6528554"/>
                  <a:pt x="1561927" y="6529353"/>
                  <a:pt x="1565521" y="6531083"/>
                </a:cubicBezTo>
                <a:cubicBezTo>
                  <a:pt x="1569116" y="6532681"/>
                  <a:pt x="1572310" y="6534810"/>
                  <a:pt x="1574840" y="6537473"/>
                </a:cubicBezTo>
                <a:cubicBezTo>
                  <a:pt x="1577501" y="6540002"/>
                  <a:pt x="1579499" y="6543197"/>
                  <a:pt x="1580963" y="6546791"/>
                </a:cubicBezTo>
                <a:cubicBezTo>
                  <a:pt x="1582427" y="6550385"/>
                  <a:pt x="1583226" y="6554246"/>
                  <a:pt x="1583226" y="6558239"/>
                </a:cubicBezTo>
                <a:cubicBezTo>
                  <a:pt x="1583226" y="6562366"/>
                  <a:pt x="1582427" y="6566359"/>
                  <a:pt x="1580963" y="6569954"/>
                </a:cubicBezTo>
                <a:cubicBezTo>
                  <a:pt x="1579499" y="6573548"/>
                  <a:pt x="1577369" y="6576610"/>
                  <a:pt x="1574840" y="6579272"/>
                </a:cubicBezTo>
                <a:cubicBezTo>
                  <a:pt x="1572177" y="6581935"/>
                  <a:pt x="1569116" y="6584065"/>
                  <a:pt x="1565521" y="6585529"/>
                </a:cubicBezTo>
                <a:cubicBezTo>
                  <a:pt x="1561927" y="6586993"/>
                  <a:pt x="1558066" y="6587792"/>
                  <a:pt x="1553807" y="6587792"/>
                </a:cubicBezTo>
                <a:cubicBezTo>
                  <a:pt x="1544888" y="6587792"/>
                  <a:pt x="1537567" y="6584863"/>
                  <a:pt x="1531978" y="6579272"/>
                </a:cubicBezTo>
                <a:cubicBezTo>
                  <a:pt x="1526389" y="6573682"/>
                  <a:pt x="1523592" y="6566625"/>
                  <a:pt x="1523592" y="6558106"/>
                </a:cubicBezTo>
                <a:cubicBezTo>
                  <a:pt x="1523592" y="6549853"/>
                  <a:pt x="1526389" y="6542798"/>
                  <a:pt x="1531978" y="6537074"/>
                </a:cubicBezTo>
                <a:cubicBezTo>
                  <a:pt x="1537567" y="6531350"/>
                  <a:pt x="1544754" y="6528554"/>
                  <a:pt x="1553807" y="6528554"/>
                </a:cubicBezTo>
                <a:close/>
                <a:moveTo>
                  <a:pt x="1336163" y="6528554"/>
                </a:moveTo>
                <a:cubicBezTo>
                  <a:pt x="1340423" y="6528554"/>
                  <a:pt x="1344419" y="6529353"/>
                  <a:pt x="1347879" y="6531083"/>
                </a:cubicBezTo>
                <a:cubicBezTo>
                  <a:pt x="1351472" y="6532681"/>
                  <a:pt x="1354667" y="6534810"/>
                  <a:pt x="1357197" y="6537473"/>
                </a:cubicBezTo>
                <a:cubicBezTo>
                  <a:pt x="1359859" y="6540002"/>
                  <a:pt x="1361856" y="6543197"/>
                  <a:pt x="1363320" y="6546791"/>
                </a:cubicBezTo>
                <a:cubicBezTo>
                  <a:pt x="1364784" y="6550385"/>
                  <a:pt x="1365582" y="6554246"/>
                  <a:pt x="1365582" y="6558239"/>
                </a:cubicBezTo>
                <a:cubicBezTo>
                  <a:pt x="1365582" y="6562366"/>
                  <a:pt x="1364784" y="6566359"/>
                  <a:pt x="1363320" y="6569954"/>
                </a:cubicBezTo>
                <a:cubicBezTo>
                  <a:pt x="1361856" y="6573548"/>
                  <a:pt x="1359726" y="6576610"/>
                  <a:pt x="1357197" y="6579272"/>
                </a:cubicBezTo>
                <a:cubicBezTo>
                  <a:pt x="1354533" y="6581935"/>
                  <a:pt x="1351472" y="6584065"/>
                  <a:pt x="1347879" y="6585529"/>
                </a:cubicBezTo>
                <a:cubicBezTo>
                  <a:pt x="1344285" y="6586993"/>
                  <a:pt x="1340423" y="6587792"/>
                  <a:pt x="1336163" y="6587792"/>
                </a:cubicBezTo>
                <a:cubicBezTo>
                  <a:pt x="1327243" y="6587792"/>
                  <a:pt x="1319922" y="6584863"/>
                  <a:pt x="1314330" y="6579272"/>
                </a:cubicBezTo>
                <a:cubicBezTo>
                  <a:pt x="1308741" y="6573682"/>
                  <a:pt x="1305945" y="6566625"/>
                  <a:pt x="1305945" y="6558106"/>
                </a:cubicBezTo>
                <a:cubicBezTo>
                  <a:pt x="1305945" y="6549853"/>
                  <a:pt x="1308741" y="6542798"/>
                  <a:pt x="1314330" y="6537074"/>
                </a:cubicBezTo>
                <a:cubicBezTo>
                  <a:pt x="1319922" y="6531350"/>
                  <a:pt x="1327110" y="6528554"/>
                  <a:pt x="1336163" y="6528554"/>
                </a:cubicBezTo>
                <a:close/>
                <a:moveTo>
                  <a:pt x="1118518" y="6528554"/>
                </a:moveTo>
                <a:cubicBezTo>
                  <a:pt x="1122779" y="6528554"/>
                  <a:pt x="1126775" y="6529353"/>
                  <a:pt x="1130237" y="6531083"/>
                </a:cubicBezTo>
                <a:cubicBezTo>
                  <a:pt x="1133963" y="6532681"/>
                  <a:pt x="1137025" y="6534810"/>
                  <a:pt x="1139551" y="6537473"/>
                </a:cubicBezTo>
                <a:cubicBezTo>
                  <a:pt x="1142211" y="6540002"/>
                  <a:pt x="1144207" y="6543197"/>
                  <a:pt x="1145670" y="6546791"/>
                </a:cubicBezTo>
                <a:cubicBezTo>
                  <a:pt x="1147135" y="6550385"/>
                  <a:pt x="1147933" y="6554246"/>
                  <a:pt x="1147933" y="6558239"/>
                </a:cubicBezTo>
                <a:cubicBezTo>
                  <a:pt x="1147933" y="6562366"/>
                  <a:pt x="1147135" y="6566359"/>
                  <a:pt x="1145670" y="6569954"/>
                </a:cubicBezTo>
                <a:cubicBezTo>
                  <a:pt x="1144207" y="6573548"/>
                  <a:pt x="1142079" y="6576610"/>
                  <a:pt x="1139551" y="6579272"/>
                </a:cubicBezTo>
                <a:cubicBezTo>
                  <a:pt x="1137025" y="6581935"/>
                  <a:pt x="1133830" y="6584065"/>
                  <a:pt x="1130237" y="6585529"/>
                </a:cubicBezTo>
                <a:cubicBezTo>
                  <a:pt x="1126641" y="6586993"/>
                  <a:pt x="1122779" y="6587792"/>
                  <a:pt x="1118518" y="6587792"/>
                </a:cubicBezTo>
                <a:cubicBezTo>
                  <a:pt x="1109597" y="6587792"/>
                  <a:pt x="1102273" y="6584863"/>
                  <a:pt x="1096682" y="6579272"/>
                </a:cubicBezTo>
                <a:cubicBezTo>
                  <a:pt x="1091092" y="6573682"/>
                  <a:pt x="1088298" y="6566625"/>
                  <a:pt x="1088298" y="6558106"/>
                </a:cubicBezTo>
                <a:cubicBezTo>
                  <a:pt x="1088298" y="6549853"/>
                  <a:pt x="1091092" y="6542798"/>
                  <a:pt x="1096682" y="6537074"/>
                </a:cubicBezTo>
                <a:cubicBezTo>
                  <a:pt x="1102273" y="6531350"/>
                  <a:pt x="1109464" y="6528554"/>
                  <a:pt x="1118518" y="6528554"/>
                </a:cubicBezTo>
                <a:close/>
                <a:moveTo>
                  <a:pt x="901005" y="6528554"/>
                </a:moveTo>
                <a:cubicBezTo>
                  <a:pt x="905131" y="6528554"/>
                  <a:pt x="909126" y="6529353"/>
                  <a:pt x="912720" y="6531083"/>
                </a:cubicBezTo>
                <a:cubicBezTo>
                  <a:pt x="916447" y="6532681"/>
                  <a:pt x="919509" y="6534810"/>
                  <a:pt x="922038" y="6537473"/>
                </a:cubicBezTo>
                <a:cubicBezTo>
                  <a:pt x="924700" y="6540002"/>
                  <a:pt x="926697" y="6543197"/>
                  <a:pt x="928160" y="6546791"/>
                </a:cubicBezTo>
                <a:cubicBezTo>
                  <a:pt x="929625" y="6550385"/>
                  <a:pt x="930423" y="6554246"/>
                  <a:pt x="930423" y="6558239"/>
                </a:cubicBezTo>
                <a:cubicBezTo>
                  <a:pt x="930423" y="6562366"/>
                  <a:pt x="929625" y="6566359"/>
                  <a:pt x="928160" y="6569954"/>
                </a:cubicBezTo>
                <a:cubicBezTo>
                  <a:pt x="926697" y="6573548"/>
                  <a:pt x="924567" y="6576610"/>
                  <a:pt x="922038" y="6579272"/>
                </a:cubicBezTo>
                <a:cubicBezTo>
                  <a:pt x="919509" y="6581935"/>
                  <a:pt x="916314" y="6584065"/>
                  <a:pt x="912720" y="6585529"/>
                </a:cubicBezTo>
                <a:cubicBezTo>
                  <a:pt x="909126" y="6586993"/>
                  <a:pt x="905265" y="6587792"/>
                  <a:pt x="901005" y="6587792"/>
                </a:cubicBezTo>
                <a:cubicBezTo>
                  <a:pt x="892086" y="6587792"/>
                  <a:pt x="884764" y="6584863"/>
                  <a:pt x="879174" y="6579272"/>
                </a:cubicBezTo>
                <a:cubicBezTo>
                  <a:pt x="873585" y="6573682"/>
                  <a:pt x="870789" y="6566625"/>
                  <a:pt x="870789" y="6558106"/>
                </a:cubicBezTo>
                <a:cubicBezTo>
                  <a:pt x="870789" y="6549853"/>
                  <a:pt x="873585" y="6542798"/>
                  <a:pt x="879174" y="6537074"/>
                </a:cubicBezTo>
                <a:cubicBezTo>
                  <a:pt x="884764" y="6531350"/>
                  <a:pt x="891953" y="6528554"/>
                  <a:pt x="901005" y="6528554"/>
                </a:cubicBezTo>
                <a:close/>
                <a:moveTo>
                  <a:pt x="683365" y="6528554"/>
                </a:moveTo>
                <a:cubicBezTo>
                  <a:pt x="687625" y="6528554"/>
                  <a:pt x="691486" y="6529353"/>
                  <a:pt x="695081" y="6531083"/>
                </a:cubicBezTo>
                <a:cubicBezTo>
                  <a:pt x="698807" y="6532681"/>
                  <a:pt x="701869" y="6534810"/>
                  <a:pt x="704397" y="6537473"/>
                </a:cubicBezTo>
                <a:cubicBezTo>
                  <a:pt x="707059" y="6540002"/>
                  <a:pt x="709057" y="6543197"/>
                  <a:pt x="710520" y="6546791"/>
                </a:cubicBezTo>
                <a:cubicBezTo>
                  <a:pt x="711984" y="6550385"/>
                  <a:pt x="712783" y="6554246"/>
                  <a:pt x="712783" y="6558239"/>
                </a:cubicBezTo>
                <a:cubicBezTo>
                  <a:pt x="712783" y="6562366"/>
                  <a:pt x="711984" y="6566359"/>
                  <a:pt x="710520" y="6569954"/>
                </a:cubicBezTo>
                <a:cubicBezTo>
                  <a:pt x="709057" y="6573548"/>
                  <a:pt x="706926" y="6576610"/>
                  <a:pt x="704397" y="6579272"/>
                </a:cubicBezTo>
                <a:cubicBezTo>
                  <a:pt x="701869" y="6581935"/>
                  <a:pt x="698674" y="6584065"/>
                  <a:pt x="695081" y="6585529"/>
                </a:cubicBezTo>
                <a:cubicBezTo>
                  <a:pt x="691486" y="6586993"/>
                  <a:pt x="687625" y="6587792"/>
                  <a:pt x="683365" y="6587792"/>
                </a:cubicBezTo>
                <a:cubicBezTo>
                  <a:pt x="674447" y="6587792"/>
                  <a:pt x="667125" y="6584863"/>
                  <a:pt x="661534" y="6579272"/>
                </a:cubicBezTo>
                <a:cubicBezTo>
                  <a:pt x="655943" y="6573682"/>
                  <a:pt x="653148" y="6566625"/>
                  <a:pt x="653148" y="6558106"/>
                </a:cubicBezTo>
                <a:cubicBezTo>
                  <a:pt x="653148" y="6549853"/>
                  <a:pt x="655943" y="6542798"/>
                  <a:pt x="661534" y="6537074"/>
                </a:cubicBezTo>
                <a:cubicBezTo>
                  <a:pt x="667125" y="6531350"/>
                  <a:pt x="674314" y="6528554"/>
                  <a:pt x="683365" y="6528554"/>
                </a:cubicBezTo>
                <a:close/>
                <a:moveTo>
                  <a:pt x="465725" y="6528554"/>
                </a:moveTo>
                <a:cubicBezTo>
                  <a:pt x="469985" y="6528554"/>
                  <a:pt x="473845" y="6529353"/>
                  <a:pt x="477440" y="6531083"/>
                </a:cubicBezTo>
                <a:cubicBezTo>
                  <a:pt x="481167" y="6532681"/>
                  <a:pt x="484228" y="6534810"/>
                  <a:pt x="486757" y="6537473"/>
                </a:cubicBezTo>
                <a:cubicBezTo>
                  <a:pt x="489419" y="6540002"/>
                  <a:pt x="491416" y="6543197"/>
                  <a:pt x="492880" y="6546791"/>
                </a:cubicBezTo>
                <a:cubicBezTo>
                  <a:pt x="494344" y="6550385"/>
                  <a:pt x="495143" y="6554246"/>
                  <a:pt x="495143" y="6558239"/>
                </a:cubicBezTo>
                <a:cubicBezTo>
                  <a:pt x="495143" y="6562366"/>
                  <a:pt x="494344" y="6566359"/>
                  <a:pt x="492880" y="6569954"/>
                </a:cubicBezTo>
                <a:cubicBezTo>
                  <a:pt x="491416" y="6573548"/>
                  <a:pt x="489286" y="6576610"/>
                  <a:pt x="486757" y="6579272"/>
                </a:cubicBezTo>
                <a:cubicBezTo>
                  <a:pt x="484094" y="6581935"/>
                  <a:pt x="481034" y="6584065"/>
                  <a:pt x="477440" y="6585529"/>
                </a:cubicBezTo>
                <a:cubicBezTo>
                  <a:pt x="473845" y="6586993"/>
                  <a:pt x="469985" y="6587792"/>
                  <a:pt x="465725" y="6587792"/>
                </a:cubicBezTo>
                <a:cubicBezTo>
                  <a:pt x="456806" y="6587792"/>
                  <a:pt x="449484" y="6584863"/>
                  <a:pt x="443893" y="6579272"/>
                </a:cubicBezTo>
                <a:cubicBezTo>
                  <a:pt x="438302" y="6573682"/>
                  <a:pt x="435507" y="6566625"/>
                  <a:pt x="435507" y="6558106"/>
                </a:cubicBezTo>
                <a:cubicBezTo>
                  <a:pt x="435507" y="6549853"/>
                  <a:pt x="438302" y="6542798"/>
                  <a:pt x="443893" y="6537074"/>
                </a:cubicBezTo>
                <a:cubicBezTo>
                  <a:pt x="449484" y="6531350"/>
                  <a:pt x="456674" y="6528554"/>
                  <a:pt x="465725" y="6528554"/>
                </a:cubicBezTo>
                <a:close/>
                <a:moveTo>
                  <a:pt x="248084" y="6528554"/>
                </a:moveTo>
                <a:cubicBezTo>
                  <a:pt x="252343" y="6528554"/>
                  <a:pt x="256337" y="6529353"/>
                  <a:pt x="259798" y="6531083"/>
                </a:cubicBezTo>
                <a:cubicBezTo>
                  <a:pt x="263525" y="6532681"/>
                  <a:pt x="266587" y="6534810"/>
                  <a:pt x="269116" y="6537473"/>
                </a:cubicBezTo>
                <a:cubicBezTo>
                  <a:pt x="271778" y="6540002"/>
                  <a:pt x="273775" y="6543197"/>
                  <a:pt x="275239" y="6546791"/>
                </a:cubicBezTo>
                <a:cubicBezTo>
                  <a:pt x="276703" y="6550385"/>
                  <a:pt x="277502" y="6554246"/>
                  <a:pt x="277502" y="6558239"/>
                </a:cubicBezTo>
                <a:cubicBezTo>
                  <a:pt x="277502" y="6562366"/>
                  <a:pt x="276703" y="6566359"/>
                  <a:pt x="275239" y="6569954"/>
                </a:cubicBezTo>
                <a:cubicBezTo>
                  <a:pt x="273775" y="6573548"/>
                  <a:pt x="271645" y="6576610"/>
                  <a:pt x="269116" y="6579272"/>
                </a:cubicBezTo>
                <a:cubicBezTo>
                  <a:pt x="266453" y="6581935"/>
                  <a:pt x="263392" y="6584065"/>
                  <a:pt x="259798" y="6585529"/>
                </a:cubicBezTo>
                <a:cubicBezTo>
                  <a:pt x="256203" y="6586993"/>
                  <a:pt x="252343" y="6587792"/>
                  <a:pt x="248084" y="6587792"/>
                </a:cubicBezTo>
                <a:cubicBezTo>
                  <a:pt x="239166" y="6587792"/>
                  <a:pt x="231845" y="6584863"/>
                  <a:pt x="226254" y="6579272"/>
                </a:cubicBezTo>
                <a:cubicBezTo>
                  <a:pt x="220664" y="6573682"/>
                  <a:pt x="217869" y="6566625"/>
                  <a:pt x="217869" y="6558106"/>
                </a:cubicBezTo>
                <a:cubicBezTo>
                  <a:pt x="217869" y="6549853"/>
                  <a:pt x="220664" y="6542798"/>
                  <a:pt x="226254" y="6537074"/>
                </a:cubicBezTo>
                <a:cubicBezTo>
                  <a:pt x="231845" y="6531350"/>
                  <a:pt x="239032" y="6528554"/>
                  <a:pt x="248084" y="6528554"/>
                </a:cubicBezTo>
                <a:close/>
                <a:moveTo>
                  <a:pt x="30443" y="6528554"/>
                </a:moveTo>
                <a:cubicBezTo>
                  <a:pt x="34703" y="6528554"/>
                  <a:pt x="38697" y="6529353"/>
                  <a:pt x="42158" y="6531083"/>
                </a:cubicBezTo>
                <a:cubicBezTo>
                  <a:pt x="45885" y="6532681"/>
                  <a:pt x="48947" y="6534810"/>
                  <a:pt x="51476" y="6537473"/>
                </a:cubicBezTo>
                <a:cubicBezTo>
                  <a:pt x="54138" y="6540002"/>
                  <a:pt x="56135" y="6543197"/>
                  <a:pt x="57599" y="6546791"/>
                </a:cubicBezTo>
                <a:cubicBezTo>
                  <a:pt x="59063" y="6550385"/>
                  <a:pt x="59862" y="6554246"/>
                  <a:pt x="59862" y="6558239"/>
                </a:cubicBezTo>
                <a:cubicBezTo>
                  <a:pt x="59862" y="6562366"/>
                  <a:pt x="59063" y="6566359"/>
                  <a:pt x="57599" y="6569954"/>
                </a:cubicBezTo>
                <a:cubicBezTo>
                  <a:pt x="56135" y="6573548"/>
                  <a:pt x="54005" y="6576610"/>
                  <a:pt x="51476" y="6579272"/>
                </a:cubicBezTo>
                <a:cubicBezTo>
                  <a:pt x="48813" y="6581935"/>
                  <a:pt x="45752" y="6584065"/>
                  <a:pt x="42158" y="6585529"/>
                </a:cubicBezTo>
                <a:cubicBezTo>
                  <a:pt x="38564" y="6586993"/>
                  <a:pt x="34703" y="6587792"/>
                  <a:pt x="30443" y="6587792"/>
                </a:cubicBezTo>
                <a:cubicBezTo>
                  <a:pt x="21524" y="6587792"/>
                  <a:pt x="14205" y="6584863"/>
                  <a:pt x="8616" y="6579272"/>
                </a:cubicBezTo>
                <a:cubicBezTo>
                  <a:pt x="3025" y="6573682"/>
                  <a:pt x="230" y="6566625"/>
                  <a:pt x="230" y="6558106"/>
                </a:cubicBezTo>
                <a:cubicBezTo>
                  <a:pt x="230" y="6549853"/>
                  <a:pt x="3025" y="6542798"/>
                  <a:pt x="8616" y="6537074"/>
                </a:cubicBezTo>
                <a:cubicBezTo>
                  <a:pt x="14205" y="6531350"/>
                  <a:pt x="21390" y="6528554"/>
                  <a:pt x="30443" y="6528554"/>
                </a:cubicBezTo>
                <a:close/>
                <a:moveTo>
                  <a:pt x="10475977" y="6327682"/>
                </a:moveTo>
                <a:cubicBezTo>
                  <a:pt x="10470119" y="6327682"/>
                  <a:pt x="10467589" y="6329545"/>
                  <a:pt x="10465992" y="6331276"/>
                </a:cubicBezTo>
                <a:cubicBezTo>
                  <a:pt x="10463463" y="6333938"/>
                  <a:pt x="10462399" y="6336733"/>
                  <a:pt x="10462399" y="6340727"/>
                </a:cubicBezTo>
                <a:cubicBezTo>
                  <a:pt x="10462399" y="6344854"/>
                  <a:pt x="10463463" y="6347649"/>
                  <a:pt x="10465992" y="6350178"/>
                </a:cubicBezTo>
                <a:cubicBezTo>
                  <a:pt x="10467589" y="6351777"/>
                  <a:pt x="10470119" y="6353640"/>
                  <a:pt x="10475977" y="6353640"/>
                </a:cubicBezTo>
                <a:cubicBezTo>
                  <a:pt x="10478107" y="6353640"/>
                  <a:pt x="10479838" y="6353241"/>
                  <a:pt x="10481302" y="6352708"/>
                </a:cubicBezTo>
                <a:cubicBezTo>
                  <a:pt x="10482899" y="6352176"/>
                  <a:pt x="10484098" y="6351244"/>
                  <a:pt x="10485029" y="6350311"/>
                </a:cubicBezTo>
                <a:cubicBezTo>
                  <a:pt x="10486094" y="6349113"/>
                  <a:pt x="10487026" y="6347782"/>
                  <a:pt x="10487691" y="6346052"/>
                </a:cubicBezTo>
                <a:cubicBezTo>
                  <a:pt x="10488357" y="6344454"/>
                  <a:pt x="10488623" y="6342590"/>
                  <a:pt x="10488623" y="6340594"/>
                </a:cubicBezTo>
                <a:cubicBezTo>
                  <a:pt x="10488623" y="6338730"/>
                  <a:pt x="10488357" y="6337000"/>
                  <a:pt x="10487691" y="6335403"/>
                </a:cubicBezTo>
                <a:cubicBezTo>
                  <a:pt x="10487026" y="6333805"/>
                  <a:pt x="10486094" y="6332474"/>
                  <a:pt x="10485029" y="6331276"/>
                </a:cubicBezTo>
                <a:cubicBezTo>
                  <a:pt x="10483964" y="6330211"/>
                  <a:pt x="10482633" y="6329279"/>
                  <a:pt x="10481035" y="6328613"/>
                </a:cubicBezTo>
                <a:cubicBezTo>
                  <a:pt x="10479571" y="6327948"/>
                  <a:pt x="10477974" y="6327682"/>
                  <a:pt x="10475977" y="6327682"/>
                </a:cubicBezTo>
                <a:close/>
                <a:moveTo>
                  <a:pt x="10258466" y="6327682"/>
                </a:moveTo>
                <a:cubicBezTo>
                  <a:pt x="10252608" y="6327682"/>
                  <a:pt x="10250078" y="6329545"/>
                  <a:pt x="10248481" y="6331276"/>
                </a:cubicBezTo>
                <a:cubicBezTo>
                  <a:pt x="10245952" y="6333938"/>
                  <a:pt x="10244887" y="6336733"/>
                  <a:pt x="10244887" y="6340727"/>
                </a:cubicBezTo>
                <a:cubicBezTo>
                  <a:pt x="10244887" y="6344854"/>
                  <a:pt x="10245952" y="6347649"/>
                  <a:pt x="10248481" y="6350178"/>
                </a:cubicBezTo>
                <a:cubicBezTo>
                  <a:pt x="10250078" y="6351777"/>
                  <a:pt x="10252608" y="6353640"/>
                  <a:pt x="10258466" y="6353640"/>
                </a:cubicBezTo>
                <a:cubicBezTo>
                  <a:pt x="10260462" y="6353640"/>
                  <a:pt x="10262192" y="6353241"/>
                  <a:pt x="10263790" y="6352708"/>
                </a:cubicBezTo>
                <a:cubicBezTo>
                  <a:pt x="10265388" y="6352176"/>
                  <a:pt x="10266586" y="6351244"/>
                  <a:pt x="10267517" y="6350311"/>
                </a:cubicBezTo>
                <a:cubicBezTo>
                  <a:pt x="10268583" y="6349113"/>
                  <a:pt x="10269515" y="6347782"/>
                  <a:pt x="10270180" y="6346052"/>
                </a:cubicBezTo>
                <a:cubicBezTo>
                  <a:pt x="10270845" y="6344454"/>
                  <a:pt x="10271112" y="6342590"/>
                  <a:pt x="10271112" y="6340594"/>
                </a:cubicBezTo>
                <a:cubicBezTo>
                  <a:pt x="10271112" y="6338730"/>
                  <a:pt x="10270845" y="6337000"/>
                  <a:pt x="10270180" y="6335403"/>
                </a:cubicBezTo>
                <a:cubicBezTo>
                  <a:pt x="10269515" y="6333805"/>
                  <a:pt x="10268583" y="6332474"/>
                  <a:pt x="10267517" y="6331276"/>
                </a:cubicBezTo>
                <a:cubicBezTo>
                  <a:pt x="10266452" y="6330211"/>
                  <a:pt x="10265121" y="6329279"/>
                  <a:pt x="10263524" y="6328613"/>
                </a:cubicBezTo>
                <a:cubicBezTo>
                  <a:pt x="10262060" y="6327948"/>
                  <a:pt x="10260462" y="6327682"/>
                  <a:pt x="10258466" y="6327682"/>
                </a:cubicBezTo>
                <a:close/>
                <a:moveTo>
                  <a:pt x="10040820" y="6327682"/>
                </a:moveTo>
                <a:cubicBezTo>
                  <a:pt x="10034962" y="6327682"/>
                  <a:pt x="10032433" y="6329545"/>
                  <a:pt x="10030835" y="6331276"/>
                </a:cubicBezTo>
                <a:cubicBezTo>
                  <a:pt x="10028306" y="6333938"/>
                  <a:pt x="10027242" y="6336733"/>
                  <a:pt x="10027242" y="6340727"/>
                </a:cubicBezTo>
                <a:cubicBezTo>
                  <a:pt x="10027242" y="6344854"/>
                  <a:pt x="10028306" y="6347649"/>
                  <a:pt x="10030835" y="6350178"/>
                </a:cubicBezTo>
                <a:cubicBezTo>
                  <a:pt x="10032433" y="6351777"/>
                  <a:pt x="10034962" y="6353640"/>
                  <a:pt x="10040820" y="6353640"/>
                </a:cubicBezTo>
                <a:cubicBezTo>
                  <a:pt x="10042817" y="6353640"/>
                  <a:pt x="10044681" y="6353241"/>
                  <a:pt x="10046145" y="6352708"/>
                </a:cubicBezTo>
                <a:cubicBezTo>
                  <a:pt x="10047742" y="6352176"/>
                  <a:pt x="10048941" y="6351244"/>
                  <a:pt x="10049872" y="6350311"/>
                </a:cubicBezTo>
                <a:cubicBezTo>
                  <a:pt x="10050937" y="6349113"/>
                  <a:pt x="10051869" y="6347782"/>
                  <a:pt x="10052534" y="6346052"/>
                </a:cubicBezTo>
                <a:cubicBezTo>
                  <a:pt x="10053333" y="6344454"/>
                  <a:pt x="10053599" y="6342590"/>
                  <a:pt x="10053599" y="6340594"/>
                </a:cubicBezTo>
                <a:cubicBezTo>
                  <a:pt x="10053599" y="6338730"/>
                  <a:pt x="10053200" y="6337000"/>
                  <a:pt x="10052534" y="6335403"/>
                </a:cubicBezTo>
                <a:cubicBezTo>
                  <a:pt x="10051869" y="6333805"/>
                  <a:pt x="10050937" y="6332474"/>
                  <a:pt x="10049872" y="6331276"/>
                </a:cubicBezTo>
                <a:cubicBezTo>
                  <a:pt x="10048807" y="6330211"/>
                  <a:pt x="10047476" y="6329279"/>
                  <a:pt x="10045878" y="6328613"/>
                </a:cubicBezTo>
                <a:cubicBezTo>
                  <a:pt x="10044414" y="6327948"/>
                  <a:pt x="10042817" y="6327682"/>
                  <a:pt x="10040820" y="6327682"/>
                </a:cubicBezTo>
                <a:close/>
                <a:moveTo>
                  <a:pt x="9823176" y="6327682"/>
                </a:moveTo>
                <a:cubicBezTo>
                  <a:pt x="9817318" y="6327682"/>
                  <a:pt x="9814788" y="6329545"/>
                  <a:pt x="9813191" y="6331276"/>
                </a:cubicBezTo>
                <a:cubicBezTo>
                  <a:pt x="9810662" y="6333938"/>
                  <a:pt x="9809597" y="6336733"/>
                  <a:pt x="9809597" y="6340727"/>
                </a:cubicBezTo>
                <a:cubicBezTo>
                  <a:pt x="9809597" y="6344854"/>
                  <a:pt x="9810662" y="6347649"/>
                  <a:pt x="9813191" y="6350178"/>
                </a:cubicBezTo>
                <a:cubicBezTo>
                  <a:pt x="9814788" y="6351777"/>
                  <a:pt x="9817318" y="6353640"/>
                  <a:pt x="9823176" y="6353640"/>
                </a:cubicBezTo>
                <a:cubicBezTo>
                  <a:pt x="9825173" y="6353640"/>
                  <a:pt x="9827036" y="6353241"/>
                  <a:pt x="9828501" y="6352708"/>
                </a:cubicBezTo>
                <a:cubicBezTo>
                  <a:pt x="9830098" y="6352176"/>
                  <a:pt x="9831296" y="6351244"/>
                  <a:pt x="9832227" y="6350311"/>
                </a:cubicBezTo>
                <a:cubicBezTo>
                  <a:pt x="9833293" y="6349113"/>
                  <a:pt x="9834225" y="6347782"/>
                  <a:pt x="9834890" y="6346052"/>
                </a:cubicBezTo>
                <a:cubicBezTo>
                  <a:pt x="9835689" y="6344454"/>
                  <a:pt x="9835955" y="6342590"/>
                  <a:pt x="9835955" y="6340594"/>
                </a:cubicBezTo>
                <a:cubicBezTo>
                  <a:pt x="9835955" y="6338730"/>
                  <a:pt x="9835555" y="6337000"/>
                  <a:pt x="9834890" y="6335403"/>
                </a:cubicBezTo>
                <a:cubicBezTo>
                  <a:pt x="9834225" y="6333805"/>
                  <a:pt x="9833293" y="6332474"/>
                  <a:pt x="9832227" y="6331276"/>
                </a:cubicBezTo>
                <a:cubicBezTo>
                  <a:pt x="9831162" y="6330211"/>
                  <a:pt x="9829831" y="6329279"/>
                  <a:pt x="9828234" y="6328613"/>
                </a:cubicBezTo>
                <a:cubicBezTo>
                  <a:pt x="9826770" y="6327948"/>
                  <a:pt x="9825173" y="6327682"/>
                  <a:pt x="9823176" y="6327682"/>
                </a:cubicBezTo>
                <a:close/>
                <a:moveTo>
                  <a:pt x="9605531" y="6327682"/>
                </a:moveTo>
                <a:cubicBezTo>
                  <a:pt x="9599673" y="6327682"/>
                  <a:pt x="9597143" y="6329545"/>
                  <a:pt x="9595546" y="6331276"/>
                </a:cubicBezTo>
                <a:cubicBezTo>
                  <a:pt x="9593017" y="6333938"/>
                  <a:pt x="9591952" y="6336733"/>
                  <a:pt x="9591952" y="6340727"/>
                </a:cubicBezTo>
                <a:cubicBezTo>
                  <a:pt x="9591952" y="6344854"/>
                  <a:pt x="9593017" y="6347649"/>
                  <a:pt x="9595546" y="6350178"/>
                </a:cubicBezTo>
                <a:cubicBezTo>
                  <a:pt x="9597143" y="6351777"/>
                  <a:pt x="9599673" y="6353640"/>
                  <a:pt x="9605531" y="6353640"/>
                </a:cubicBezTo>
                <a:cubicBezTo>
                  <a:pt x="9607660" y="6353640"/>
                  <a:pt x="9609391" y="6353241"/>
                  <a:pt x="9610855" y="6352708"/>
                </a:cubicBezTo>
                <a:cubicBezTo>
                  <a:pt x="9612319" y="6352176"/>
                  <a:pt x="9613651" y="6351244"/>
                  <a:pt x="9614582" y="6350311"/>
                </a:cubicBezTo>
                <a:cubicBezTo>
                  <a:pt x="9615647" y="6349113"/>
                  <a:pt x="9616579" y="6347782"/>
                  <a:pt x="9617245" y="6346052"/>
                </a:cubicBezTo>
                <a:cubicBezTo>
                  <a:pt x="9618044" y="6344454"/>
                  <a:pt x="9618309" y="6342590"/>
                  <a:pt x="9618309" y="6340594"/>
                </a:cubicBezTo>
                <a:cubicBezTo>
                  <a:pt x="9618309" y="6338730"/>
                  <a:pt x="9617910" y="6337000"/>
                  <a:pt x="9617245" y="6335403"/>
                </a:cubicBezTo>
                <a:cubicBezTo>
                  <a:pt x="9616579" y="6333805"/>
                  <a:pt x="9615647" y="6332474"/>
                  <a:pt x="9614582" y="6331276"/>
                </a:cubicBezTo>
                <a:cubicBezTo>
                  <a:pt x="9613517" y="6330211"/>
                  <a:pt x="9612186" y="6329279"/>
                  <a:pt x="9610589" y="6328613"/>
                </a:cubicBezTo>
                <a:cubicBezTo>
                  <a:pt x="9609124" y="6327948"/>
                  <a:pt x="9607394" y="6327682"/>
                  <a:pt x="9605531" y="6327682"/>
                </a:cubicBezTo>
                <a:close/>
                <a:moveTo>
                  <a:pt x="9387885" y="6327682"/>
                </a:moveTo>
                <a:cubicBezTo>
                  <a:pt x="9382027" y="6327682"/>
                  <a:pt x="9379497" y="6329545"/>
                  <a:pt x="9377900" y="6331276"/>
                </a:cubicBezTo>
                <a:cubicBezTo>
                  <a:pt x="9375371" y="6333938"/>
                  <a:pt x="9374307" y="6336733"/>
                  <a:pt x="9374307" y="6340727"/>
                </a:cubicBezTo>
                <a:cubicBezTo>
                  <a:pt x="9374307" y="6344854"/>
                  <a:pt x="9375371" y="6347649"/>
                  <a:pt x="9377900" y="6350178"/>
                </a:cubicBezTo>
                <a:cubicBezTo>
                  <a:pt x="9379497" y="6351777"/>
                  <a:pt x="9382027" y="6353640"/>
                  <a:pt x="9387885" y="6353640"/>
                </a:cubicBezTo>
                <a:cubicBezTo>
                  <a:pt x="9390015" y="6353640"/>
                  <a:pt x="9391746" y="6353241"/>
                  <a:pt x="9393210" y="6352708"/>
                </a:cubicBezTo>
                <a:cubicBezTo>
                  <a:pt x="9394674" y="6352176"/>
                  <a:pt x="9396005" y="6351244"/>
                  <a:pt x="9396937" y="6350311"/>
                </a:cubicBezTo>
                <a:cubicBezTo>
                  <a:pt x="9398002" y="6349113"/>
                  <a:pt x="9398934" y="6347782"/>
                  <a:pt x="9399599" y="6346052"/>
                </a:cubicBezTo>
                <a:cubicBezTo>
                  <a:pt x="9400398" y="6344454"/>
                  <a:pt x="9400664" y="6342590"/>
                  <a:pt x="9400664" y="6340594"/>
                </a:cubicBezTo>
                <a:cubicBezTo>
                  <a:pt x="9400664" y="6338730"/>
                  <a:pt x="9400265" y="6337000"/>
                  <a:pt x="9399599" y="6335403"/>
                </a:cubicBezTo>
                <a:cubicBezTo>
                  <a:pt x="9398934" y="6333805"/>
                  <a:pt x="9398002" y="6332474"/>
                  <a:pt x="9396937" y="6331276"/>
                </a:cubicBezTo>
                <a:cubicBezTo>
                  <a:pt x="9395872" y="6330211"/>
                  <a:pt x="9394541" y="6329279"/>
                  <a:pt x="9392943" y="6328613"/>
                </a:cubicBezTo>
                <a:cubicBezTo>
                  <a:pt x="9391479" y="6327948"/>
                  <a:pt x="9389749" y="6327682"/>
                  <a:pt x="9387885" y="6327682"/>
                </a:cubicBezTo>
                <a:close/>
                <a:moveTo>
                  <a:pt x="9170374" y="6327682"/>
                </a:moveTo>
                <a:cubicBezTo>
                  <a:pt x="9164649" y="6327682"/>
                  <a:pt x="9161986" y="6329545"/>
                  <a:pt x="9160389" y="6331276"/>
                </a:cubicBezTo>
                <a:cubicBezTo>
                  <a:pt x="9157860" y="6333938"/>
                  <a:pt x="9156795" y="6336733"/>
                  <a:pt x="9156795" y="6340727"/>
                </a:cubicBezTo>
                <a:cubicBezTo>
                  <a:pt x="9156795" y="6344854"/>
                  <a:pt x="9157860" y="6347649"/>
                  <a:pt x="9160389" y="6350178"/>
                </a:cubicBezTo>
                <a:cubicBezTo>
                  <a:pt x="9161986" y="6351777"/>
                  <a:pt x="9164516" y="6353640"/>
                  <a:pt x="9170374" y="6353640"/>
                </a:cubicBezTo>
                <a:cubicBezTo>
                  <a:pt x="9172370" y="6353640"/>
                  <a:pt x="9174100" y="6353241"/>
                  <a:pt x="9175698" y="6352708"/>
                </a:cubicBezTo>
                <a:cubicBezTo>
                  <a:pt x="9177163" y="6352176"/>
                  <a:pt x="9178494" y="6351244"/>
                  <a:pt x="9179425" y="6350311"/>
                </a:cubicBezTo>
                <a:cubicBezTo>
                  <a:pt x="9180491" y="6349113"/>
                  <a:pt x="9181422" y="6347782"/>
                  <a:pt x="9182088" y="6346052"/>
                </a:cubicBezTo>
                <a:cubicBezTo>
                  <a:pt x="9182887" y="6344454"/>
                  <a:pt x="9183152" y="6342590"/>
                  <a:pt x="9183152" y="6340594"/>
                </a:cubicBezTo>
                <a:cubicBezTo>
                  <a:pt x="9183152" y="6338730"/>
                  <a:pt x="9182753" y="6337000"/>
                  <a:pt x="9182088" y="6335403"/>
                </a:cubicBezTo>
                <a:cubicBezTo>
                  <a:pt x="9181422" y="6333805"/>
                  <a:pt x="9180491" y="6332474"/>
                  <a:pt x="9179425" y="6331276"/>
                </a:cubicBezTo>
                <a:cubicBezTo>
                  <a:pt x="9178360" y="6330211"/>
                  <a:pt x="9177029" y="6329279"/>
                  <a:pt x="9175432" y="6328613"/>
                </a:cubicBezTo>
                <a:cubicBezTo>
                  <a:pt x="9173967" y="6327948"/>
                  <a:pt x="9172237" y="6327682"/>
                  <a:pt x="9170374" y="6327682"/>
                </a:cubicBezTo>
                <a:close/>
                <a:moveTo>
                  <a:pt x="8952728" y="6327682"/>
                </a:moveTo>
                <a:cubicBezTo>
                  <a:pt x="8947003" y="6327682"/>
                  <a:pt x="8944340" y="6329545"/>
                  <a:pt x="8942743" y="6331276"/>
                </a:cubicBezTo>
                <a:cubicBezTo>
                  <a:pt x="8940214" y="6333938"/>
                  <a:pt x="8939150" y="6336733"/>
                  <a:pt x="8939150" y="6340727"/>
                </a:cubicBezTo>
                <a:cubicBezTo>
                  <a:pt x="8939150" y="6344854"/>
                  <a:pt x="8940214" y="6347649"/>
                  <a:pt x="8942743" y="6350178"/>
                </a:cubicBezTo>
                <a:cubicBezTo>
                  <a:pt x="8944340" y="6351777"/>
                  <a:pt x="8946870" y="6353640"/>
                  <a:pt x="8952728" y="6353640"/>
                </a:cubicBezTo>
                <a:cubicBezTo>
                  <a:pt x="8954725" y="6353640"/>
                  <a:pt x="8956589" y="6353241"/>
                  <a:pt x="8958053" y="6352708"/>
                </a:cubicBezTo>
                <a:cubicBezTo>
                  <a:pt x="8959517" y="6352176"/>
                  <a:pt x="8960849" y="6351244"/>
                  <a:pt x="8961780" y="6350311"/>
                </a:cubicBezTo>
                <a:cubicBezTo>
                  <a:pt x="8962845" y="6349113"/>
                  <a:pt x="8963777" y="6347782"/>
                  <a:pt x="8964442" y="6346052"/>
                </a:cubicBezTo>
                <a:cubicBezTo>
                  <a:pt x="8965241" y="6344454"/>
                  <a:pt x="8965507" y="6342590"/>
                  <a:pt x="8965507" y="6340594"/>
                </a:cubicBezTo>
                <a:cubicBezTo>
                  <a:pt x="8965507" y="6338730"/>
                  <a:pt x="8965108" y="6337000"/>
                  <a:pt x="8964442" y="6335403"/>
                </a:cubicBezTo>
                <a:cubicBezTo>
                  <a:pt x="8963777" y="6333805"/>
                  <a:pt x="8962845" y="6332474"/>
                  <a:pt x="8961780" y="6331276"/>
                </a:cubicBezTo>
                <a:cubicBezTo>
                  <a:pt x="8960715" y="6330211"/>
                  <a:pt x="8959384" y="6329279"/>
                  <a:pt x="8957786" y="6328613"/>
                </a:cubicBezTo>
                <a:cubicBezTo>
                  <a:pt x="8956322" y="6327948"/>
                  <a:pt x="8954592" y="6327682"/>
                  <a:pt x="8952728" y="6327682"/>
                </a:cubicBezTo>
                <a:close/>
                <a:moveTo>
                  <a:pt x="8735083" y="6327682"/>
                </a:moveTo>
                <a:cubicBezTo>
                  <a:pt x="8729358" y="6327682"/>
                  <a:pt x="8726695" y="6329545"/>
                  <a:pt x="8725098" y="6331276"/>
                </a:cubicBezTo>
                <a:cubicBezTo>
                  <a:pt x="8722569" y="6333938"/>
                  <a:pt x="8721504" y="6336733"/>
                  <a:pt x="8721504" y="6340727"/>
                </a:cubicBezTo>
                <a:cubicBezTo>
                  <a:pt x="8721504" y="6344854"/>
                  <a:pt x="8722569" y="6347649"/>
                  <a:pt x="8725098" y="6350178"/>
                </a:cubicBezTo>
                <a:cubicBezTo>
                  <a:pt x="8726695" y="6351777"/>
                  <a:pt x="8729225" y="6353640"/>
                  <a:pt x="8735083" y="6353640"/>
                </a:cubicBezTo>
                <a:cubicBezTo>
                  <a:pt x="8737079" y="6353640"/>
                  <a:pt x="8738943" y="6353241"/>
                  <a:pt x="8740407" y="6352708"/>
                </a:cubicBezTo>
                <a:cubicBezTo>
                  <a:pt x="8741872" y="6352176"/>
                  <a:pt x="8743203" y="6351244"/>
                  <a:pt x="8744134" y="6350311"/>
                </a:cubicBezTo>
                <a:cubicBezTo>
                  <a:pt x="8745200" y="6349113"/>
                  <a:pt x="8746132" y="6347782"/>
                  <a:pt x="8746797" y="6346052"/>
                </a:cubicBezTo>
                <a:cubicBezTo>
                  <a:pt x="8747596" y="6344454"/>
                  <a:pt x="8747862" y="6342590"/>
                  <a:pt x="8747862" y="6340594"/>
                </a:cubicBezTo>
                <a:cubicBezTo>
                  <a:pt x="8747862" y="6338730"/>
                  <a:pt x="8747462" y="6337000"/>
                  <a:pt x="8746797" y="6335403"/>
                </a:cubicBezTo>
                <a:cubicBezTo>
                  <a:pt x="8746132" y="6333805"/>
                  <a:pt x="8745200" y="6332474"/>
                  <a:pt x="8744134" y="6331276"/>
                </a:cubicBezTo>
                <a:cubicBezTo>
                  <a:pt x="8743069" y="6330211"/>
                  <a:pt x="8741738" y="6329279"/>
                  <a:pt x="8740141" y="6328613"/>
                </a:cubicBezTo>
                <a:cubicBezTo>
                  <a:pt x="8738677" y="6327948"/>
                  <a:pt x="8736946" y="6327682"/>
                  <a:pt x="8735083" y="6327682"/>
                </a:cubicBezTo>
                <a:close/>
                <a:moveTo>
                  <a:pt x="8517438" y="6327682"/>
                </a:moveTo>
                <a:cubicBezTo>
                  <a:pt x="8511713" y="6327682"/>
                  <a:pt x="8509051" y="6329545"/>
                  <a:pt x="8507453" y="6331276"/>
                </a:cubicBezTo>
                <a:cubicBezTo>
                  <a:pt x="8504925" y="6333938"/>
                  <a:pt x="8503860" y="6336733"/>
                  <a:pt x="8503860" y="6340727"/>
                </a:cubicBezTo>
                <a:cubicBezTo>
                  <a:pt x="8503860" y="6344854"/>
                  <a:pt x="8504925" y="6347649"/>
                  <a:pt x="8507453" y="6350178"/>
                </a:cubicBezTo>
                <a:cubicBezTo>
                  <a:pt x="8509051" y="6351777"/>
                  <a:pt x="8511581" y="6353640"/>
                  <a:pt x="8517438" y="6353640"/>
                </a:cubicBezTo>
                <a:cubicBezTo>
                  <a:pt x="8519568" y="6353640"/>
                  <a:pt x="8521299" y="6353241"/>
                  <a:pt x="8522763" y="6352708"/>
                </a:cubicBezTo>
                <a:cubicBezTo>
                  <a:pt x="8524227" y="6352176"/>
                  <a:pt x="8525559" y="6351244"/>
                  <a:pt x="8526490" y="6350311"/>
                </a:cubicBezTo>
                <a:cubicBezTo>
                  <a:pt x="8527555" y="6349113"/>
                  <a:pt x="8528487" y="6347782"/>
                  <a:pt x="8529152" y="6346052"/>
                </a:cubicBezTo>
                <a:cubicBezTo>
                  <a:pt x="8529818" y="6344454"/>
                  <a:pt x="8530084" y="6342590"/>
                  <a:pt x="8530084" y="6340594"/>
                </a:cubicBezTo>
                <a:cubicBezTo>
                  <a:pt x="8530084" y="6338730"/>
                  <a:pt x="8529818" y="6337000"/>
                  <a:pt x="8529152" y="6335403"/>
                </a:cubicBezTo>
                <a:cubicBezTo>
                  <a:pt x="8528487" y="6333805"/>
                  <a:pt x="8527555" y="6332474"/>
                  <a:pt x="8526490" y="6331276"/>
                </a:cubicBezTo>
                <a:cubicBezTo>
                  <a:pt x="8525425" y="6330211"/>
                  <a:pt x="8524094" y="6329279"/>
                  <a:pt x="8522496" y="6328613"/>
                </a:cubicBezTo>
                <a:cubicBezTo>
                  <a:pt x="8521032" y="6327948"/>
                  <a:pt x="8519302" y="6327682"/>
                  <a:pt x="8517438" y="6327682"/>
                </a:cubicBezTo>
                <a:close/>
                <a:moveTo>
                  <a:pt x="8299793" y="6327682"/>
                </a:moveTo>
                <a:cubicBezTo>
                  <a:pt x="8294068" y="6327682"/>
                  <a:pt x="8291406" y="6329545"/>
                  <a:pt x="8289809" y="6331276"/>
                </a:cubicBezTo>
                <a:cubicBezTo>
                  <a:pt x="8287280" y="6333938"/>
                  <a:pt x="8286215" y="6336733"/>
                  <a:pt x="8286215" y="6340727"/>
                </a:cubicBezTo>
                <a:cubicBezTo>
                  <a:pt x="8286215" y="6344854"/>
                  <a:pt x="8287280" y="6347649"/>
                  <a:pt x="8289809" y="6350178"/>
                </a:cubicBezTo>
                <a:cubicBezTo>
                  <a:pt x="8291406" y="6351777"/>
                  <a:pt x="8293935" y="6353640"/>
                  <a:pt x="8299793" y="6353640"/>
                </a:cubicBezTo>
                <a:cubicBezTo>
                  <a:pt x="8301923" y="6353640"/>
                  <a:pt x="8303653" y="6353241"/>
                  <a:pt x="8305118" y="6352708"/>
                </a:cubicBezTo>
                <a:cubicBezTo>
                  <a:pt x="8306582" y="6352176"/>
                  <a:pt x="8307913" y="6351244"/>
                  <a:pt x="8308844" y="6350311"/>
                </a:cubicBezTo>
                <a:cubicBezTo>
                  <a:pt x="8309910" y="6349113"/>
                  <a:pt x="8310842" y="6347782"/>
                  <a:pt x="8311507" y="6346052"/>
                </a:cubicBezTo>
                <a:cubicBezTo>
                  <a:pt x="8312172" y="6344454"/>
                  <a:pt x="8312439" y="6342590"/>
                  <a:pt x="8312439" y="6340594"/>
                </a:cubicBezTo>
                <a:cubicBezTo>
                  <a:pt x="8312439" y="6338730"/>
                  <a:pt x="8312172" y="6337000"/>
                  <a:pt x="8311507" y="6335403"/>
                </a:cubicBezTo>
                <a:cubicBezTo>
                  <a:pt x="8310842" y="6333805"/>
                  <a:pt x="8309910" y="6332474"/>
                  <a:pt x="8308844" y="6331276"/>
                </a:cubicBezTo>
                <a:cubicBezTo>
                  <a:pt x="8307779" y="6330211"/>
                  <a:pt x="8306448" y="6329279"/>
                  <a:pt x="8304851" y="6328613"/>
                </a:cubicBezTo>
                <a:cubicBezTo>
                  <a:pt x="8303387" y="6327948"/>
                  <a:pt x="8301790" y="6327682"/>
                  <a:pt x="8299793" y="6327682"/>
                </a:cubicBezTo>
                <a:close/>
                <a:moveTo>
                  <a:pt x="8082281" y="6327682"/>
                </a:moveTo>
                <a:cubicBezTo>
                  <a:pt x="8076424" y="6327682"/>
                  <a:pt x="8073894" y="6329545"/>
                  <a:pt x="8072297" y="6331276"/>
                </a:cubicBezTo>
                <a:cubicBezTo>
                  <a:pt x="8069768" y="6333938"/>
                  <a:pt x="8068703" y="6336733"/>
                  <a:pt x="8068703" y="6340727"/>
                </a:cubicBezTo>
                <a:cubicBezTo>
                  <a:pt x="8068703" y="6344854"/>
                  <a:pt x="8069768" y="6347649"/>
                  <a:pt x="8072297" y="6350178"/>
                </a:cubicBezTo>
                <a:cubicBezTo>
                  <a:pt x="8073894" y="6351777"/>
                  <a:pt x="8076424" y="6353640"/>
                  <a:pt x="8082281" y="6353640"/>
                </a:cubicBezTo>
                <a:cubicBezTo>
                  <a:pt x="8084277" y="6353640"/>
                  <a:pt x="8086007" y="6353241"/>
                  <a:pt x="8087605" y="6352708"/>
                </a:cubicBezTo>
                <a:cubicBezTo>
                  <a:pt x="8089069" y="6352176"/>
                  <a:pt x="8090401" y="6351244"/>
                  <a:pt x="8091332" y="6350311"/>
                </a:cubicBezTo>
                <a:cubicBezTo>
                  <a:pt x="8092397" y="6349113"/>
                  <a:pt x="8093329" y="6347782"/>
                  <a:pt x="8093994" y="6346052"/>
                </a:cubicBezTo>
                <a:cubicBezTo>
                  <a:pt x="8094660" y="6344454"/>
                  <a:pt x="8094926" y="6342590"/>
                  <a:pt x="8094926" y="6340594"/>
                </a:cubicBezTo>
                <a:cubicBezTo>
                  <a:pt x="8094926" y="6338730"/>
                  <a:pt x="8094660" y="6337000"/>
                  <a:pt x="8093994" y="6335403"/>
                </a:cubicBezTo>
                <a:cubicBezTo>
                  <a:pt x="8093329" y="6333805"/>
                  <a:pt x="8092397" y="6332474"/>
                  <a:pt x="8091332" y="6331276"/>
                </a:cubicBezTo>
                <a:cubicBezTo>
                  <a:pt x="8090267" y="6330211"/>
                  <a:pt x="8088936" y="6329279"/>
                  <a:pt x="8087338" y="6328613"/>
                </a:cubicBezTo>
                <a:cubicBezTo>
                  <a:pt x="8085874" y="6327948"/>
                  <a:pt x="8084277" y="6327682"/>
                  <a:pt x="8082281" y="6327682"/>
                </a:cubicBezTo>
                <a:close/>
                <a:moveTo>
                  <a:pt x="7864636" y="6327682"/>
                </a:moveTo>
                <a:cubicBezTo>
                  <a:pt x="7858779" y="6327682"/>
                  <a:pt x="7856249" y="6329545"/>
                  <a:pt x="7854652" y="6331276"/>
                </a:cubicBezTo>
                <a:cubicBezTo>
                  <a:pt x="7852123" y="6333938"/>
                  <a:pt x="7851058" y="6336733"/>
                  <a:pt x="7851058" y="6340727"/>
                </a:cubicBezTo>
                <a:cubicBezTo>
                  <a:pt x="7851058" y="6344854"/>
                  <a:pt x="7852123" y="6347649"/>
                  <a:pt x="7854652" y="6350178"/>
                </a:cubicBezTo>
                <a:cubicBezTo>
                  <a:pt x="7856249" y="6351777"/>
                  <a:pt x="7858779" y="6353640"/>
                  <a:pt x="7864636" y="6353640"/>
                </a:cubicBezTo>
                <a:cubicBezTo>
                  <a:pt x="7866633" y="6353640"/>
                  <a:pt x="7868363" y="6353241"/>
                  <a:pt x="7869961" y="6352708"/>
                </a:cubicBezTo>
                <a:cubicBezTo>
                  <a:pt x="7871425" y="6352176"/>
                  <a:pt x="7872756" y="6351244"/>
                  <a:pt x="7873687" y="6350311"/>
                </a:cubicBezTo>
                <a:cubicBezTo>
                  <a:pt x="7874753" y="6349113"/>
                  <a:pt x="7875685" y="6347782"/>
                  <a:pt x="7876350" y="6346052"/>
                </a:cubicBezTo>
                <a:cubicBezTo>
                  <a:pt x="7877015" y="6344454"/>
                  <a:pt x="7877282" y="6342590"/>
                  <a:pt x="7877282" y="6340594"/>
                </a:cubicBezTo>
                <a:cubicBezTo>
                  <a:pt x="7877282" y="6338730"/>
                  <a:pt x="7877015" y="6337000"/>
                  <a:pt x="7876350" y="6335403"/>
                </a:cubicBezTo>
                <a:cubicBezTo>
                  <a:pt x="7875685" y="6333805"/>
                  <a:pt x="7874753" y="6332474"/>
                  <a:pt x="7873687" y="6331276"/>
                </a:cubicBezTo>
                <a:cubicBezTo>
                  <a:pt x="7872623" y="6330211"/>
                  <a:pt x="7871291" y="6329279"/>
                  <a:pt x="7869694" y="6328613"/>
                </a:cubicBezTo>
                <a:cubicBezTo>
                  <a:pt x="7868230" y="6327948"/>
                  <a:pt x="7866633" y="6327682"/>
                  <a:pt x="7864636" y="6327682"/>
                </a:cubicBezTo>
                <a:close/>
                <a:moveTo>
                  <a:pt x="7646991" y="6327682"/>
                </a:moveTo>
                <a:cubicBezTo>
                  <a:pt x="7641134" y="6327682"/>
                  <a:pt x="7638604" y="6329545"/>
                  <a:pt x="7637007" y="6331276"/>
                </a:cubicBezTo>
                <a:cubicBezTo>
                  <a:pt x="7634478" y="6333938"/>
                  <a:pt x="7633413" y="6336733"/>
                  <a:pt x="7633413" y="6340727"/>
                </a:cubicBezTo>
                <a:cubicBezTo>
                  <a:pt x="7633413" y="6344854"/>
                  <a:pt x="7634478" y="6347649"/>
                  <a:pt x="7637007" y="6350178"/>
                </a:cubicBezTo>
                <a:cubicBezTo>
                  <a:pt x="7638604" y="6351777"/>
                  <a:pt x="7641134" y="6353640"/>
                  <a:pt x="7646991" y="6353640"/>
                </a:cubicBezTo>
                <a:cubicBezTo>
                  <a:pt x="7648987" y="6353640"/>
                  <a:pt x="7650851" y="6353241"/>
                  <a:pt x="7652315" y="6352708"/>
                </a:cubicBezTo>
                <a:cubicBezTo>
                  <a:pt x="7653780" y="6352176"/>
                  <a:pt x="7655111" y="6351244"/>
                  <a:pt x="7656042" y="6350311"/>
                </a:cubicBezTo>
                <a:cubicBezTo>
                  <a:pt x="7657108" y="6349113"/>
                  <a:pt x="7658039" y="6347782"/>
                  <a:pt x="7658705" y="6346052"/>
                </a:cubicBezTo>
                <a:cubicBezTo>
                  <a:pt x="7659504" y="6344454"/>
                  <a:pt x="7659769" y="6342590"/>
                  <a:pt x="7659769" y="6340594"/>
                </a:cubicBezTo>
                <a:cubicBezTo>
                  <a:pt x="7659769" y="6338730"/>
                  <a:pt x="7659370" y="6337000"/>
                  <a:pt x="7658705" y="6335403"/>
                </a:cubicBezTo>
                <a:cubicBezTo>
                  <a:pt x="7658039" y="6333805"/>
                  <a:pt x="7657108" y="6332474"/>
                  <a:pt x="7656042" y="6331276"/>
                </a:cubicBezTo>
                <a:cubicBezTo>
                  <a:pt x="7654977" y="6330211"/>
                  <a:pt x="7653646" y="6329279"/>
                  <a:pt x="7652049" y="6328613"/>
                </a:cubicBezTo>
                <a:cubicBezTo>
                  <a:pt x="7650584" y="6327948"/>
                  <a:pt x="7648987" y="6327682"/>
                  <a:pt x="7646991" y="6327682"/>
                </a:cubicBezTo>
                <a:close/>
                <a:moveTo>
                  <a:pt x="7429345" y="6327682"/>
                </a:moveTo>
                <a:cubicBezTo>
                  <a:pt x="7423488" y="6327682"/>
                  <a:pt x="7420958" y="6329545"/>
                  <a:pt x="7419361" y="6331276"/>
                </a:cubicBezTo>
                <a:cubicBezTo>
                  <a:pt x="7416832" y="6333938"/>
                  <a:pt x="7415768" y="6336733"/>
                  <a:pt x="7415768" y="6340727"/>
                </a:cubicBezTo>
                <a:cubicBezTo>
                  <a:pt x="7415768" y="6344854"/>
                  <a:pt x="7416832" y="6347649"/>
                  <a:pt x="7419361" y="6350178"/>
                </a:cubicBezTo>
                <a:cubicBezTo>
                  <a:pt x="7420958" y="6351777"/>
                  <a:pt x="7423488" y="6353640"/>
                  <a:pt x="7429345" y="6353640"/>
                </a:cubicBezTo>
                <a:cubicBezTo>
                  <a:pt x="7431342" y="6353640"/>
                  <a:pt x="7433206" y="6353241"/>
                  <a:pt x="7434670" y="6352708"/>
                </a:cubicBezTo>
                <a:cubicBezTo>
                  <a:pt x="7436134" y="6352176"/>
                  <a:pt x="7437466" y="6351244"/>
                  <a:pt x="7438397" y="6350311"/>
                </a:cubicBezTo>
                <a:cubicBezTo>
                  <a:pt x="7439462" y="6349113"/>
                  <a:pt x="7440394" y="6347782"/>
                  <a:pt x="7441059" y="6346052"/>
                </a:cubicBezTo>
                <a:cubicBezTo>
                  <a:pt x="7441858" y="6344454"/>
                  <a:pt x="7442124" y="6342590"/>
                  <a:pt x="7442124" y="6340594"/>
                </a:cubicBezTo>
                <a:cubicBezTo>
                  <a:pt x="7442124" y="6338730"/>
                  <a:pt x="7441725" y="6337000"/>
                  <a:pt x="7441059" y="6335403"/>
                </a:cubicBezTo>
                <a:cubicBezTo>
                  <a:pt x="7440394" y="6333805"/>
                  <a:pt x="7439462" y="6332474"/>
                  <a:pt x="7438397" y="6331276"/>
                </a:cubicBezTo>
                <a:cubicBezTo>
                  <a:pt x="7437332" y="6330211"/>
                  <a:pt x="7436001" y="6329279"/>
                  <a:pt x="7434403" y="6328613"/>
                </a:cubicBezTo>
                <a:cubicBezTo>
                  <a:pt x="7432939" y="6327948"/>
                  <a:pt x="7431342" y="6327682"/>
                  <a:pt x="7429345" y="6327682"/>
                </a:cubicBezTo>
                <a:close/>
                <a:moveTo>
                  <a:pt x="7211701" y="6327682"/>
                </a:moveTo>
                <a:cubicBezTo>
                  <a:pt x="7205844" y="6327682"/>
                  <a:pt x="7203314" y="6329545"/>
                  <a:pt x="7201717" y="6331276"/>
                </a:cubicBezTo>
                <a:cubicBezTo>
                  <a:pt x="7199188" y="6333938"/>
                  <a:pt x="7198123" y="6336733"/>
                  <a:pt x="7198123" y="6340727"/>
                </a:cubicBezTo>
                <a:cubicBezTo>
                  <a:pt x="7198123" y="6344854"/>
                  <a:pt x="7199188" y="6347649"/>
                  <a:pt x="7201717" y="6350178"/>
                </a:cubicBezTo>
                <a:cubicBezTo>
                  <a:pt x="7203314" y="6351777"/>
                  <a:pt x="7205844" y="6353640"/>
                  <a:pt x="7211701" y="6353640"/>
                </a:cubicBezTo>
                <a:cubicBezTo>
                  <a:pt x="7213830" y="6353640"/>
                  <a:pt x="7215561" y="6353241"/>
                  <a:pt x="7217026" y="6352708"/>
                </a:cubicBezTo>
                <a:cubicBezTo>
                  <a:pt x="7218490" y="6352176"/>
                  <a:pt x="7219821" y="6351244"/>
                  <a:pt x="7220752" y="6350311"/>
                </a:cubicBezTo>
                <a:cubicBezTo>
                  <a:pt x="7221818" y="6349113"/>
                  <a:pt x="7222750" y="6347782"/>
                  <a:pt x="7223415" y="6346052"/>
                </a:cubicBezTo>
                <a:cubicBezTo>
                  <a:pt x="7224214" y="6344454"/>
                  <a:pt x="7224480" y="6342590"/>
                  <a:pt x="7224480" y="6340594"/>
                </a:cubicBezTo>
                <a:cubicBezTo>
                  <a:pt x="7224480" y="6338730"/>
                  <a:pt x="7224080" y="6337000"/>
                  <a:pt x="7223415" y="6335403"/>
                </a:cubicBezTo>
                <a:cubicBezTo>
                  <a:pt x="7222750" y="6333805"/>
                  <a:pt x="7221818" y="6332474"/>
                  <a:pt x="7220752" y="6331276"/>
                </a:cubicBezTo>
                <a:cubicBezTo>
                  <a:pt x="7219687" y="6330211"/>
                  <a:pt x="7218356" y="6329279"/>
                  <a:pt x="7216759" y="6328613"/>
                </a:cubicBezTo>
                <a:cubicBezTo>
                  <a:pt x="7215295" y="6327948"/>
                  <a:pt x="7213698" y="6327682"/>
                  <a:pt x="7211701" y="6327682"/>
                </a:cubicBezTo>
                <a:close/>
                <a:moveTo>
                  <a:pt x="6994056" y="6327682"/>
                </a:moveTo>
                <a:cubicBezTo>
                  <a:pt x="6988199" y="6327682"/>
                  <a:pt x="6985669" y="6329545"/>
                  <a:pt x="6984072" y="6331276"/>
                </a:cubicBezTo>
                <a:cubicBezTo>
                  <a:pt x="6981543" y="6333938"/>
                  <a:pt x="6980478" y="6336733"/>
                  <a:pt x="6980478" y="6340727"/>
                </a:cubicBezTo>
                <a:cubicBezTo>
                  <a:pt x="6980478" y="6344854"/>
                  <a:pt x="6981543" y="6347649"/>
                  <a:pt x="6984072" y="6350178"/>
                </a:cubicBezTo>
                <a:cubicBezTo>
                  <a:pt x="6985669" y="6351777"/>
                  <a:pt x="6988199" y="6353640"/>
                  <a:pt x="6994056" y="6353640"/>
                </a:cubicBezTo>
                <a:cubicBezTo>
                  <a:pt x="6996185" y="6353640"/>
                  <a:pt x="6997916" y="6353241"/>
                  <a:pt x="6999380" y="6352708"/>
                </a:cubicBezTo>
                <a:cubicBezTo>
                  <a:pt x="7000844" y="6352176"/>
                  <a:pt x="7002176" y="6351244"/>
                  <a:pt x="7003107" y="6350311"/>
                </a:cubicBezTo>
                <a:cubicBezTo>
                  <a:pt x="7004172" y="6349113"/>
                  <a:pt x="7005104" y="6347782"/>
                  <a:pt x="7005769" y="6346052"/>
                </a:cubicBezTo>
                <a:cubicBezTo>
                  <a:pt x="7006568" y="6344454"/>
                  <a:pt x="7006834" y="6342590"/>
                  <a:pt x="7006834" y="6340594"/>
                </a:cubicBezTo>
                <a:cubicBezTo>
                  <a:pt x="7006834" y="6338730"/>
                  <a:pt x="7006435" y="6337000"/>
                  <a:pt x="7005769" y="6335403"/>
                </a:cubicBezTo>
                <a:cubicBezTo>
                  <a:pt x="7005104" y="6333805"/>
                  <a:pt x="7004172" y="6332474"/>
                  <a:pt x="7003107" y="6331276"/>
                </a:cubicBezTo>
                <a:cubicBezTo>
                  <a:pt x="7002042" y="6330211"/>
                  <a:pt x="7000711" y="6329279"/>
                  <a:pt x="6999113" y="6328613"/>
                </a:cubicBezTo>
                <a:cubicBezTo>
                  <a:pt x="6997649" y="6327948"/>
                  <a:pt x="6996052" y="6327682"/>
                  <a:pt x="6994056" y="6327682"/>
                </a:cubicBezTo>
                <a:close/>
                <a:moveTo>
                  <a:pt x="6776544" y="6327682"/>
                </a:moveTo>
                <a:cubicBezTo>
                  <a:pt x="6770687" y="6327682"/>
                  <a:pt x="6768157" y="6329545"/>
                  <a:pt x="6766560" y="6331276"/>
                </a:cubicBezTo>
                <a:cubicBezTo>
                  <a:pt x="6764031" y="6333938"/>
                  <a:pt x="6762966" y="6336733"/>
                  <a:pt x="6762966" y="6340727"/>
                </a:cubicBezTo>
                <a:cubicBezTo>
                  <a:pt x="6762966" y="6344854"/>
                  <a:pt x="6764031" y="6347649"/>
                  <a:pt x="6766560" y="6350178"/>
                </a:cubicBezTo>
                <a:cubicBezTo>
                  <a:pt x="6768157" y="6351777"/>
                  <a:pt x="6770687" y="6353640"/>
                  <a:pt x="6776544" y="6353640"/>
                </a:cubicBezTo>
                <a:cubicBezTo>
                  <a:pt x="6778541" y="6353640"/>
                  <a:pt x="6780270" y="6353241"/>
                  <a:pt x="6781869" y="6352708"/>
                </a:cubicBezTo>
                <a:cubicBezTo>
                  <a:pt x="6783333" y="6352176"/>
                  <a:pt x="6784664" y="6351244"/>
                  <a:pt x="6785595" y="6350311"/>
                </a:cubicBezTo>
                <a:cubicBezTo>
                  <a:pt x="6786661" y="6349113"/>
                  <a:pt x="6787593" y="6347782"/>
                  <a:pt x="6788258" y="6346052"/>
                </a:cubicBezTo>
                <a:cubicBezTo>
                  <a:pt x="6789057" y="6344454"/>
                  <a:pt x="6789323" y="6342590"/>
                  <a:pt x="6789323" y="6340594"/>
                </a:cubicBezTo>
                <a:cubicBezTo>
                  <a:pt x="6789323" y="6338730"/>
                  <a:pt x="6788923" y="6337000"/>
                  <a:pt x="6788258" y="6335403"/>
                </a:cubicBezTo>
                <a:cubicBezTo>
                  <a:pt x="6787593" y="6333805"/>
                  <a:pt x="6786661" y="6332474"/>
                  <a:pt x="6785595" y="6331276"/>
                </a:cubicBezTo>
                <a:cubicBezTo>
                  <a:pt x="6784530" y="6330211"/>
                  <a:pt x="6783199" y="6329279"/>
                  <a:pt x="6781602" y="6328613"/>
                </a:cubicBezTo>
                <a:cubicBezTo>
                  <a:pt x="6780138" y="6327948"/>
                  <a:pt x="6778541" y="6327682"/>
                  <a:pt x="6776544" y="6327682"/>
                </a:cubicBezTo>
                <a:close/>
                <a:moveTo>
                  <a:pt x="6558899" y="6327682"/>
                </a:moveTo>
                <a:cubicBezTo>
                  <a:pt x="6553042" y="6327682"/>
                  <a:pt x="6550512" y="6329545"/>
                  <a:pt x="6548915" y="6331276"/>
                </a:cubicBezTo>
                <a:cubicBezTo>
                  <a:pt x="6546386" y="6333938"/>
                  <a:pt x="6545321" y="6336733"/>
                  <a:pt x="6545321" y="6340727"/>
                </a:cubicBezTo>
                <a:cubicBezTo>
                  <a:pt x="6545321" y="6344854"/>
                  <a:pt x="6546386" y="6347649"/>
                  <a:pt x="6548915" y="6350178"/>
                </a:cubicBezTo>
                <a:cubicBezTo>
                  <a:pt x="6550512" y="6351777"/>
                  <a:pt x="6553042" y="6353640"/>
                  <a:pt x="6558899" y="6353640"/>
                </a:cubicBezTo>
                <a:cubicBezTo>
                  <a:pt x="6560895" y="6353640"/>
                  <a:pt x="6562759" y="6353241"/>
                  <a:pt x="6564223" y="6352708"/>
                </a:cubicBezTo>
                <a:cubicBezTo>
                  <a:pt x="6565687" y="6352176"/>
                  <a:pt x="6567019" y="6351244"/>
                  <a:pt x="6567950" y="6350311"/>
                </a:cubicBezTo>
                <a:cubicBezTo>
                  <a:pt x="6569015" y="6349113"/>
                  <a:pt x="6569947" y="6347782"/>
                  <a:pt x="6570612" y="6346052"/>
                </a:cubicBezTo>
                <a:cubicBezTo>
                  <a:pt x="6571412" y="6344454"/>
                  <a:pt x="6571677" y="6342590"/>
                  <a:pt x="6571677" y="6340594"/>
                </a:cubicBezTo>
                <a:cubicBezTo>
                  <a:pt x="6571677" y="6338730"/>
                  <a:pt x="6571278" y="6337000"/>
                  <a:pt x="6570612" y="6335403"/>
                </a:cubicBezTo>
                <a:cubicBezTo>
                  <a:pt x="6569947" y="6333805"/>
                  <a:pt x="6569015" y="6332474"/>
                  <a:pt x="6567950" y="6331276"/>
                </a:cubicBezTo>
                <a:cubicBezTo>
                  <a:pt x="6566885" y="6330211"/>
                  <a:pt x="6565554" y="6329279"/>
                  <a:pt x="6563956" y="6328613"/>
                </a:cubicBezTo>
                <a:cubicBezTo>
                  <a:pt x="6562492" y="6327948"/>
                  <a:pt x="6560895" y="6327682"/>
                  <a:pt x="6558899" y="6327682"/>
                </a:cubicBezTo>
                <a:close/>
                <a:moveTo>
                  <a:pt x="6341253" y="6327682"/>
                </a:moveTo>
                <a:cubicBezTo>
                  <a:pt x="6335396" y="6327682"/>
                  <a:pt x="6332867" y="6329545"/>
                  <a:pt x="6331270" y="6331276"/>
                </a:cubicBezTo>
                <a:cubicBezTo>
                  <a:pt x="6328740" y="6333938"/>
                  <a:pt x="6327675" y="6336733"/>
                  <a:pt x="6327675" y="6340727"/>
                </a:cubicBezTo>
                <a:cubicBezTo>
                  <a:pt x="6327675" y="6344854"/>
                  <a:pt x="6328740" y="6347649"/>
                  <a:pt x="6331270" y="6350178"/>
                </a:cubicBezTo>
                <a:cubicBezTo>
                  <a:pt x="6332867" y="6351777"/>
                  <a:pt x="6335396" y="6353640"/>
                  <a:pt x="6341253" y="6353640"/>
                </a:cubicBezTo>
                <a:cubicBezTo>
                  <a:pt x="6343250" y="6353640"/>
                  <a:pt x="6345114" y="6353241"/>
                  <a:pt x="6346578" y="6352708"/>
                </a:cubicBezTo>
                <a:cubicBezTo>
                  <a:pt x="6348042" y="6352176"/>
                  <a:pt x="6349373" y="6351244"/>
                  <a:pt x="6350305" y="6350311"/>
                </a:cubicBezTo>
                <a:cubicBezTo>
                  <a:pt x="6351370" y="6349113"/>
                  <a:pt x="6352302" y="6347782"/>
                  <a:pt x="6352968" y="6346052"/>
                </a:cubicBezTo>
                <a:cubicBezTo>
                  <a:pt x="6353766" y="6344454"/>
                  <a:pt x="6354033" y="6342590"/>
                  <a:pt x="6354033" y="6340594"/>
                </a:cubicBezTo>
                <a:cubicBezTo>
                  <a:pt x="6354033" y="6338730"/>
                  <a:pt x="6353633" y="6337000"/>
                  <a:pt x="6352968" y="6335403"/>
                </a:cubicBezTo>
                <a:cubicBezTo>
                  <a:pt x="6352302" y="6333805"/>
                  <a:pt x="6351370" y="6332474"/>
                  <a:pt x="6350305" y="6331276"/>
                </a:cubicBezTo>
                <a:cubicBezTo>
                  <a:pt x="6349241" y="6330211"/>
                  <a:pt x="6347909" y="6329279"/>
                  <a:pt x="6346312" y="6328613"/>
                </a:cubicBezTo>
                <a:cubicBezTo>
                  <a:pt x="6344848" y="6327948"/>
                  <a:pt x="6343250" y="6327682"/>
                  <a:pt x="6341253" y="6327682"/>
                </a:cubicBezTo>
                <a:close/>
                <a:moveTo>
                  <a:pt x="6123608" y="6327682"/>
                </a:moveTo>
                <a:cubicBezTo>
                  <a:pt x="6117751" y="6327682"/>
                  <a:pt x="6115221" y="6329545"/>
                  <a:pt x="6113624" y="6331276"/>
                </a:cubicBezTo>
                <a:cubicBezTo>
                  <a:pt x="6111095" y="6333938"/>
                  <a:pt x="6110030" y="6336733"/>
                  <a:pt x="6110030" y="6340727"/>
                </a:cubicBezTo>
                <a:cubicBezTo>
                  <a:pt x="6110030" y="6344854"/>
                  <a:pt x="6111095" y="6347649"/>
                  <a:pt x="6113624" y="6350178"/>
                </a:cubicBezTo>
                <a:cubicBezTo>
                  <a:pt x="6115221" y="6351777"/>
                  <a:pt x="6117751" y="6353640"/>
                  <a:pt x="6123608" y="6353640"/>
                </a:cubicBezTo>
                <a:cubicBezTo>
                  <a:pt x="6125737" y="6353640"/>
                  <a:pt x="6127468" y="6353241"/>
                  <a:pt x="6128932" y="6352708"/>
                </a:cubicBezTo>
                <a:cubicBezTo>
                  <a:pt x="6130530" y="6352176"/>
                  <a:pt x="6131728" y="6351244"/>
                  <a:pt x="6132659" y="6350311"/>
                </a:cubicBezTo>
                <a:cubicBezTo>
                  <a:pt x="6133724" y="6349113"/>
                  <a:pt x="6134656" y="6347782"/>
                  <a:pt x="6135322" y="6346052"/>
                </a:cubicBezTo>
                <a:cubicBezTo>
                  <a:pt x="6135987" y="6344454"/>
                  <a:pt x="6136387" y="6342590"/>
                  <a:pt x="6136387" y="6340594"/>
                </a:cubicBezTo>
                <a:cubicBezTo>
                  <a:pt x="6136387" y="6338730"/>
                  <a:pt x="6135987" y="6337000"/>
                  <a:pt x="6135322" y="6335403"/>
                </a:cubicBezTo>
                <a:cubicBezTo>
                  <a:pt x="6134656" y="6333805"/>
                  <a:pt x="6133724" y="6332474"/>
                  <a:pt x="6132659" y="6331276"/>
                </a:cubicBezTo>
                <a:cubicBezTo>
                  <a:pt x="6131594" y="6330211"/>
                  <a:pt x="6130263" y="6329279"/>
                  <a:pt x="6128666" y="6328613"/>
                </a:cubicBezTo>
                <a:cubicBezTo>
                  <a:pt x="6127202" y="6327948"/>
                  <a:pt x="6125604" y="6327682"/>
                  <a:pt x="6123608" y="6327682"/>
                </a:cubicBezTo>
                <a:close/>
                <a:moveTo>
                  <a:pt x="5905963" y="6327682"/>
                </a:moveTo>
                <a:cubicBezTo>
                  <a:pt x="5900106" y="6327682"/>
                  <a:pt x="5897576" y="6329545"/>
                  <a:pt x="5895979" y="6331276"/>
                </a:cubicBezTo>
                <a:cubicBezTo>
                  <a:pt x="5893450" y="6333938"/>
                  <a:pt x="5892385" y="6336733"/>
                  <a:pt x="5892385" y="6340727"/>
                </a:cubicBezTo>
                <a:cubicBezTo>
                  <a:pt x="5892385" y="6344854"/>
                  <a:pt x="5893450" y="6347649"/>
                  <a:pt x="5895979" y="6350178"/>
                </a:cubicBezTo>
                <a:cubicBezTo>
                  <a:pt x="5897576" y="6351777"/>
                  <a:pt x="5900106" y="6353640"/>
                  <a:pt x="5905963" y="6353640"/>
                </a:cubicBezTo>
                <a:cubicBezTo>
                  <a:pt x="5908093" y="6353640"/>
                  <a:pt x="5909823" y="6353241"/>
                  <a:pt x="5911287" y="6352708"/>
                </a:cubicBezTo>
                <a:cubicBezTo>
                  <a:pt x="5912751" y="6352176"/>
                  <a:pt x="5914083" y="6351244"/>
                  <a:pt x="5915014" y="6350311"/>
                </a:cubicBezTo>
                <a:cubicBezTo>
                  <a:pt x="5916079" y="6349113"/>
                  <a:pt x="5917011" y="6347782"/>
                  <a:pt x="5917677" y="6346052"/>
                </a:cubicBezTo>
                <a:cubicBezTo>
                  <a:pt x="5918342" y="6344454"/>
                  <a:pt x="5918742" y="6342590"/>
                  <a:pt x="5918742" y="6340594"/>
                </a:cubicBezTo>
                <a:cubicBezTo>
                  <a:pt x="5918742" y="6338730"/>
                  <a:pt x="5918342" y="6337000"/>
                  <a:pt x="5917677" y="6335403"/>
                </a:cubicBezTo>
                <a:cubicBezTo>
                  <a:pt x="5917011" y="6333805"/>
                  <a:pt x="5916079" y="6332474"/>
                  <a:pt x="5915014" y="6331276"/>
                </a:cubicBezTo>
                <a:cubicBezTo>
                  <a:pt x="5913950" y="6330211"/>
                  <a:pt x="5912618" y="6329279"/>
                  <a:pt x="5911021" y="6328613"/>
                </a:cubicBezTo>
                <a:cubicBezTo>
                  <a:pt x="5909557" y="6327948"/>
                  <a:pt x="5907826" y="6327682"/>
                  <a:pt x="5905963" y="6327682"/>
                </a:cubicBezTo>
                <a:close/>
                <a:moveTo>
                  <a:pt x="5688451" y="6327682"/>
                </a:moveTo>
                <a:cubicBezTo>
                  <a:pt x="5682594" y="6327682"/>
                  <a:pt x="5680064" y="6329545"/>
                  <a:pt x="5678467" y="6331276"/>
                </a:cubicBezTo>
                <a:cubicBezTo>
                  <a:pt x="5675938" y="6333938"/>
                  <a:pt x="5674873" y="6336733"/>
                  <a:pt x="5674873" y="6340727"/>
                </a:cubicBezTo>
                <a:cubicBezTo>
                  <a:pt x="5674873" y="6344854"/>
                  <a:pt x="5675938" y="6347649"/>
                  <a:pt x="5678467" y="6350178"/>
                </a:cubicBezTo>
                <a:cubicBezTo>
                  <a:pt x="5680064" y="6351777"/>
                  <a:pt x="5682594" y="6353640"/>
                  <a:pt x="5688451" y="6353640"/>
                </a:cubicBezTo>
                <a:cubicBezTo>
                  <a:pt x="5690447" y="6353640"/>
                  <a:pt x="5692178" y="6353241"/>
                  <a:pt x="5693775" y="6352708"/>
                </a:cubicBezTo>
                <a:cubicBezTo>
                  <a:pt x="5695239" y="6352176"/>
                  <a:pt x="5696571" y="6351244"/>
                  <a:pt x="5697502" y="6350311"/>
                </a:cubicBezTo>
                <a:cubicBezTo>
                  <a:pt x="5698567" y="6349113"/>
                  <a:pt x="5699499" y="6347782"/>
                  <a:pt x="5700165" y="6346052"/>
                </a:cubicBezTo>
                <a:cubicBezTo>
                  <a:pt x="5700830" y="6344454"/>
                  <a:pt x="5701230" y="6342590"/>
                  <a:pt x="5701230" y="6340594"/>
                </a:cubicBezTo>
                <a:cubicBezTo>
                  <a:pt x="5701230" y="6338730"/>
                  <a:pt x="5700830" y="6337000"/>
                  <a:pt x="5700165" y="6335403"/>
                </a:cubicBezTo>
                <a:cubicBezTo>
                  <a:pt x="5699499" y="6333805"/>
                  <a:pt x="5698567" y="6332474"/>
                  <a:pt x="5697502" y="6331276"/>
                </a:cubicBezTo>
                <a:cubicBezTo>
                  <a:pt x="5696437" y="6330211"/>
                  <a:pt x="5695106" y="6329279"/>
                  <a:pt x="5693509" y="6328613"/>
                </a:cubicBezTo>
                <a:cubicBezTo>
                  <a:pt x="5692045" y="6327948"/>
                  <a:pt x="5690314" y="6327682"/>
                  <a:pt x="5688451" y="6327682"/>
                </a:cubicBezTo>
                <a:close/>
                <a:moveTo>
                  <a:pt x="5470806" y="6327682"/>
                </a:moveTo>
                <a:cubicBezTo>
                  <a:pt x="5464949" y="6327682"/>
                  <a:pt x="5462419" y="6329545"/>
                  <a:pt x="5460822" y="6331276"/>
                </a:cubicBezTo>
                <a:cubicBezTo>
                  <a:pt x="5458293" y="6333938"/>
                  <a:pt x="5457228" y="6336733"/>
                  <a:pt x="5457228" y="6340727"/>
                </a:cubicBezTo>
                <a:cubicBezTo>
                  <a:pt x="5457228" y="6344854"/>
                  <a:pt x="5458293" y="6347649"/>
                  <a:pt x="5460822" y="6350178"/>
                </a:cubicBezTo>
                <a:cubicBezTo>
                  <a:pt x="5462419" y="6351777"/>
                  <a:pt x="5464949" y="6353640"/>
                  <a:pt x="5470806" y="6353640"/>
                </a:cubicBezTo>
                <a:cubicBezTo>
                  <a:pt x="5472802" y="6353640"/>
                  <a:pt x="5474666" y="6353241"/>
                  <a:pt x="5476130" y="6352708"/>
                </a:cubicBezTo>
                <a:cubicBezTo>
                  <a:pt x="5477594" y="6352176"/>
                  <a:pt x="5478926" y="6351244"/>
                  <a:pt x="5479857" y="6350311"/>
                </a:cubicBezTo>
                <a:cubicBezTo>
                  <a:pt x="5480922" y="6349113"/>
                  <a:pt x="5481854" y="6347782"/>
                  <a:pt x="5482520" y="6346052"/>
                </a:cubicBezTo>
                <a:cubicBezTo>
                  <a:pt x="5483319" y="6344454"/>
                  <a:pt x="5483585" y="6342590"/>
                  <a:pt x="5483585" y="6340594"/>
                </a:cubicBezTo>
                <a:cubicBezTo>
                  <a:pt x="5483585" y="6338730"/>
                  <a:pt x="5483185" y="6337000"/>
                  <a:pt x="5482520" y="6335403"/>
                </a:cubicBezTo>
                <a:cubicBezTo>
                  <a:pt x="5481854" y="6333805"/>
                  <a:pt x="5480922" y="6332474"/>
                  <a:pt x="5479857" y="6331276"/>
                </a:cubicBezTo>
                <a:cubicBezTo>
                  <a:pt x="5478793" y="6330211"/>
                  <a:pt x="5477461" y="6329279"/>
                  <a:pt x="5475864" y="6328613"/>
                </a:cubicBezTo>
                <a:cubicBezTo>
                  <a:pt x="5474400" y="6327948"/>
                  <a:pt x="5472669" y="6327682"/>
                  <a:pt x="5470806" y="6327682"/>
                </a:cubicBezTo>
                <a:close/>
                <a:moveTo>
                  <a:pt x="5253160" y="6327682"/>
                </a:moveTo>
                <a:cubicBezTo>
                  <a:pt x="5247303" y="6327682"/>
                  <a:pt x="5244774" y="6329545"/>
                  <a:pt x="5243177" y="6331276"/>
                </a:cubicBezTo>
                <a:cubicBezTo>
                  <a:pt x="5240647" y="6333938"/>
                  <a:pt x="5239583" y="6336733"/>
                  <a:pt x="5239583" y="6340727"/>
                </a:cubicBezTo>
                <a:cubicBezTo>
                  <a:pt x="5239583" y="6344854"/>
                  <a:pt x="5240647" y="6347649"/>
                  <a:pt x="5243177" y="6350178"/>
                </a:cubicBezTo>
                <a:cubicBezTo>
                  <a:pt x="5244774" y="6351777"/>
                  <a:pt x="5247303" y="6353640"/>
                  <a:pt x="5253160" y="6353640"/>
                </a:cubicBezTo>
                <a:cubicBezTo>
                  <a:pt x="5255157" y="6353640"/>
                  <a:pt x="5257021" y="6353241"/>
                  <a:pt x="5258485" y="6352708"/>
                </a:cubicBezTo>
                <a:cubicBezTo>
                  <a:pt x="5259949" y="6352176"/>
                  <a:pt x="5261280" y="6351244"/>
                  <a:pt x="5262212" y="6350311"/>
                </a:cubicBezTo>
                <a:cubicBezTo>
                  <a:pt x="5263277" y="6349113"/>
                  <a:pt x="5264209" y="6347782"/>
                  <a:pt x="5264875" y="6346052"/>
                </a:cubicBezTo>
                <a:cubicBezTo>
                  <a:pt x="5265673" y="6344454"/>
                  <a:pt x="5265939" y="6342590"/>
                  <a:pt x="5265939" y="6340594"/>
                </a:cubicBezTo>
                <a:cubicBezTo>
                  <a:pt x="5265939" y="6338730"/>
                  <a:pt x="5265540" y="6337000"/>
                  <a:pt x="5264875" y="6335403"/>
                </a:cubicBezTo>
                <a:cubicBezTo>
                  <a:pt x="5264209" y="6333805"/>
                  <a:pt x="5263277" y="6332474"/>
                  <a:pt x="5262212" y="6331276"/>
                </a:cubicBezTo>
                <a:cubicBezTo>
                  <a:pt x="5261147" y="6330211"/>
                  <a:pt x="5259816" y="6329279"/>
                  <a:pt x="5258219" y="6328613"/>
                </a:cubicBezTo>
                <a:cubicBezTo>
                  <a:pt x="5256754" y="6327948"/>
                  <a:pt x="5255024" y="6327682"/>
                  <a:pt x="5253160" y="6327682"/>
                </a:cubicBezTo>
                <a:close/>
                <a:moveTo>
                  <a:pt x="5035515" y="6327682"/>
                </a:moveTo>
                <a:cubicBezTo>
                  <a:pt x="5029658" y="6327682"/>
                  <a:pt x="5027129" y="6329545"/>
                  <a:pt x="5025532" y="6331276"/>
                </a:cubicBezTo>
                <a:cubicBezTo>
                  <a:pt x="5023002" y="6333938"/>
                  <a:pt x="5021938" y="6336733"/>
                  <a:pt x="5021938" y="6340727"/>
                </a:cubicBezTo>
                <a:cubicBezTo>
                  <a:pt x="5021938" y="6344854"/>
                  <a:pt x="5023002" y="6347649"/>
                  <a:pt x="5025532" y="6350178"/>
                </a:cubicBezTo>
                <a:cubicBezTo>
                  <a:pt x="5027129" y="6351777"/>
                  <a:pt x="5029658" y="6353640"/>
                  <a:pt x="5035515" y="6353640"/>
                </a:cubicBezTo>
                <a:cubicBezTo>
                  <a:pt x="5037645" y="6353640"/>
                  <a:pt x="5039376" y="6353241"/>
                  <a:pt x="5040840" y="6352708"/>
                </a:cubicBezTo>
                <a:cubicBezTo>
                  <a:pt x="5042304" y="6352176"/>
                  <a:pt x="5043636" y="6351244"/>
                  <a:pt x="5044567" y="6350311"/>
                </a:cubicBezTo>
                <a:cubicBezTo>
                  <a:pt x="5045632" y="6349113"/>
                  <a:pt x="5046564" y="6347782"/>
                  <a:pt x="5047230" y="6346052"/>
                </a:cubicBezTo>
                <a:cubicBezTo>
                  <a:pt x="5048028" y="6344454"/>
                  <a:pt x="5048294" y="6342590"/>
                  <a:pt x="5048294" y="6340594"/>
                </a:cubicBezTo>
                <a:cubicBezTo>
                  <a:pt x="5048294" y="6338730"/>
                  <a:pt x="5047895" y="6337000"/>
                  <a:pt x="5047230" y="6335403"/>
                </a:cubicBezTo>
                <a:cubicBezTo>
                  <a:pt x="5046564" y="6333805"/>
                  <a:pt x="5045632" y="6332474"/>
                  <a:pt x="5044567" y="6331276"/>
                </a:cubicBezTo>
                <a:cubicBezTo>
                  <a:pt x="5043502" y="6330211"/>
                  <a:pt x="5042171" y="6329279"/>
                  <a:pt x="5040574" y="6328613"/>
                </a:cubicBezTo>
                <a:cubicBezTo>
                  <a:pt x="5039110" y="6327948"/>
                  <a:pt x="5037379" y="6327682"/>
                  <a:pt x="5035515" y="6327682"/>
                </a:cubicBezTo>
                <a:close/>
                <a:moveTo>
                  <a:pt x="4817870" y="6327682"/>
                </a:moveTo>
                <a:cubicBezTo>
                  <a:pt x="4812013" y="6327682"/>
                  <a:pt x="4809484" y="6329545"/>
                  <a:pt x="4807887" y="6331276"/>
                </a:cubicBezTo>
                <a:cubicBezTo>
                  <a:pt x="4805357" y="6333938"/>
                  <a:pt x="4804293" y="6336733"/>
                  <a:pt x="4804293" y="6340727"/>
                </a:cubicBezTo>
                <a:cubicBezTo>
                  <a:pt x="4804293" y="6344854"/>
                  <a:pt x="4805357" y="6347649"/>
                  <a:pt x="4807887" y="6350178"/>
                </a:cubicBezTo>
                <a:cubicBezTo>
                  <a:pt x="4809484" y="6351777"/>
                  <a:pt x="4812013" y="6353640"/>
                  <a:pt x="4817870" y="6353640"/>
                </a:cubicBezTo>
                <a:cubicBezTo>
                  <a:pt x="4820000" y="6353640"/>
                  <a:pt x="4821731" y="6353241"/>
                  <a:pt x="4823195" y="6352708"/>
                </a:cubicBezTo>
                <a:cubicBezTo>
                  <a:pt x="4824659" y="6352176"/>
                  <a:pt x="4825857" y="6351244"/>
                  <a:pt x="4826922" y="6350311"/>
                </a:cubicBezTo>
                <a:cubicBezTo>
                  <a:pt x="4827987" y="6349113"/>
                  <a:pt x="4828919" y="6347782"/>
                  <a:pt x="4829585" y="6346052"/>
                </a:cubicBezTo>
                <a:cubicBezTo>
                  <a:pt x="4830383" y="6344454"/>
                  <a:pt x="4830650" y="6342590"/>
                  <a:pt x="4830650" y="6340594"/>
                </a:cubicBezTo>
                <a:cubicBezTo>
                  <a:pt x="4830650" y="6338730"/>
                  <a:pt x="4830250" y="6337000"/>
                  <a:pt x="4829585" y="6335403"/>
                </a:cubicBezTo>
                <a:cubicBezTo>
                  <a:pt x="4828919" y="6333805"/>
                  <a:pt x="4827987" y="6332474"/>
                  <a:pt x="4826922" y="6331276"/>
                </a:cubicBezTo>
                <a:cubicBezTo>
                  <a:pt x="4825857" y="6330211"/>
                  <a:pt x="4824526" y="6329279"/>
                  <a:pt x="4822929" y="6328613"/>
                </a:cubicBezTo>
                <a:cubicBezTo>
                  <a:pt x="4821465" y="6327948"/>
                  <a:pt x="4819734" y="6327682"/>
                  <a:pt x="4817870" y="6327682"/>
                </a:cubicBezTo>
                <a:close/>
                <a:moveTo>
                  <a:pt x="4600226" y="6327682"/>
                </a:moveTo>
                <a:cubicBezTo>
                  <a:pt x="4594369" y="6327682"/>
                  <a:pt x="4591839" y="6329545"/>
                  <a:pt x="4590242" y="6331276"/>
                </a:cubicBezTo>
                <a:cubicBezTo>
                  <a:pt x="4587713" y="6333938"/>
                  <a:pt x="4586648" y="6336733"/>
                  <a:pt x="4586648" y="6340727"/>
                </a:cubicBezTo>
                <a:cubicBezTo>
                  <a:pt x="4586648" y="6344854"/>
                  <a:pt x="4587713" y="6347649"/>
                  <a:pt x="4590242" y="6350178"/>
                </a:cubicBezTo>
                <a:cubicBezTo>
                  <a:pt x="4591839" y="6351777"/>
                  <a:pt x="4594369" y="6353640"/>
                  <a:pt x="4600226" y="6353640"/>
                </a:cubicBezTo>
                <a:cubicBezTo>
                  <a:pt x="4602355" y="6353640"/>
                  <a:pt x="4604086" y="6353241"/>
                  <a:pt x="4605550" y="6352708"/>
                </a:cubicBezTo>
                <a:cubicBezTo>
                  <a:pt x="4607148" y="6352176"/>
                  <a:pt x="4608346" y="6351244"/>
                  <a:pt x="4609277" y="6350311"/>
                </a:cubicBezTo>
                <a:cubicBezTo>
                  <a:pt x="4610342" y="6349113"/>
                  <a:pt x="4611274" y="6347782"/>
                  <a:pt x="4611940" y="6346052"/>
                </a:cubicBezTo>
                <a:cubicBezTo>
                  <a:pt x="4612605" y="6344454"/>
                  <a:pt x="4613005" y="6342590"/>
                  <a:pt x="4613005" y="6340594"/>
                </a:cubicBezTo>
                <a:cubicBezTo>
                  <a:pt x="4613005" y="6338730"/>
                  <a:pt x="4612605" y="6337000"/>
                  <a:pt x="4611940" y="6335403"/>
                </a:cubicBezTo>
                <a:cubicBezTo>
                  <a:pt x="4611274" y="6333805"/>
                  <a:pt x="4610342" y="6332474"/>
                  <a:pt x="4609277" y="6331276"/>
                </a:cubicBezTo>
                <a:cubicBezTo>
                  <a:pt x="4608212" y="6330211"/>
                  <a:pt x="4606881" y="6329279"/>
                  <a:pt x="4605284" y="6328613"/>
                </a:cubicBezTo>
                <a:cubicBezTo>
                  <a:pt x="4603820" y="6327948"/>
                  <a:pt x="4602222" y="6327682"/>
                  <a:pt x="4600226" y="6327682"/>
                </a:cubicBezTo>
                <a:close/>
                <a:moveTo>
                  <a:pt x="4382713" y="6327682"/>
                </a:moveTo>
                <a:cubicBezTo>
                  <a:pt x="4376857" y="6327682"/>
                  <a:pt x="4374327" y="6329545"/>
                  <a:pt x="4372730" y="6331276"/>
                </a:cubicBezTo>
                <a:cubicBezTo>
                  <a:pt x="4370201" y="6333938"/>
                  <a:pt x="4369136" y="6336733"/>
                  <a:pt x="4369136" y="6340727"/>
                </a:cubicBezTo>
                <a:cubicBezTo>
                  <a:pt x="4369136" y="6344854"/>
                  <a:pt x="4370201" y="6347649"/>
                  <a:pt x="4372730" y="6350178"/>
                </a:cubicBezTo>
                <a:cubicBezTo>
                  <a:pt x="4374327" y="6351777"/>
                  <a:pt x="4376857" y="6353640"/>
                  <a:pt x="4382713" y="6353640"/>
                </a:cubicBezTo>
                <a:cubicBezTo>
                  <a:pt x="4384710" y="6353640"/>
                  <a:pt x="4386441" y="6353241"/>
                  <a:pt x="4388038" y="6352708"/>
                </a:cubicBezTo>
                <a:cubicBezTo>
                  <a:pt x="4389502" y="6352176"/>
                  <a:pt x="4390834" y="6351244"/>
                  <a:pt x="4391765" y="6350311"/>
                </a:cubicBezTo>
                <a:cubicBezTo>
                  <a:pt x="4392830" y="6349113"/>
                  <a:pt x="4393762" y="6347782"/>
                  <a:pt x="4394428" y="6346052"/>
                </a:cubicBezTo>
                <a:cubicBezTo>
                  <a:pt x="4395093" y="6344454"/>
                  <a:pt x="4395493" y="6342590"/>
                  <a:pt x="4395493" y="6340594"/>
                </a:cubicBezTo>
                <a:cubicBezTo>
                  <a:pt x="4395493" y="6338730"/>
                  <a:pt x="4395093" y="6337000"/>
                  <a:pt x="4394428" y="6335403"/>
                </a:cubicBezTo>
                <a:cubicBezTo>
                  <a:pt x="4393762" y="6333805"/>
                  <a:pt x="4392830" y="6332474"/>
                  <a:pt x="4391765" y="6331276"/>
                </a:cubicBezTo>
                <a:cubicBezTo>
                  <a:pt x="4390700" y="6330211"/>
                  <a:pt x="4389369" y="6329279"/>
                  <a:pt x="4387772" y="6328613"/>
                </a:cubicBezTo>
                <a:cubicBezTo>
                  <a:pt x="4386308" y="6327948"/>
                  <a:pt x="4384710" y="6327682"/>
                  <a:pt x="4382713" y="6327682"/>
                </a:cubicBezTo>
                <a:close/>
                <a:moveTo>
                  <a:pt x="4165068" y="6327682"/>
                </a:moveTo>
                <a:cubicBezTo>
                  <a:pt x="4159211" y="6327682"/>
                  <a:pt x="4156681" y="6329545"/>
                  <a:pt x="4155084" y="6331276"/>
                </a:cubicBezTo>
                <a:cubicBezTo>
                  <a:pt x="4152555" y="6333938"/>
                  <a:pt x="4151490" y="6336733"/>
                  <a:pt x="4151490" y="6340727"/>
                </a:cubicBezTo>
                <a:cubicBezTo>
                  <a:pt x="4151490" y="6344854"/>
                  <a:pt x="4152555" y="6347649"/>
                  <a:pt x="4155084" y="6350178"/>
                </a:cubicBezTo>
                <a:cubicBezTo>
                  <a:pt x="4156681" y="6351777"/>
                  <a:pt x="4159211" y="6353640"/>
                  <a:pt x="4165068" y="6353640"/>
                </a:cubicBezTo>
                <a:cubicBezTo>
                  <a:pt x="4167064" y="6353640"/>
                  <a:pt x="4168928" y="6353241"/>
                  <a:pt x="4170392" y="6352708"/>
                </a:cubicBezTo>
                <a:cubicBezTo>
                  <a:pt x="4171856" y="6352176"/>
                  <a:pt x="4173188" y="6351244"/>
                  <a:pt x="4174119" y="6350311"/>
                </a:cubicBezTo>
                <a:cubicBezTo>
                  <a:pt x="4175184" y="6349113"/>
                  <a:pt x="4176116" y="6347782"/>
                  <a:pt x="4176782" y="6346052"/>
                </a:cubicBezTo>
                <a:cubicBezTo>
                  <a:pt x="4177447" y="6344454"/>
                  <a:pt x="4177847" y="6342590"/>
                  <a:pt x="4177847" y="6340594"/>
                </a:cubicBezTo>
                <a:cubicBezTo>
                  <a:pt x="4177847" y="6338730"/>
                  <a:pt x="4177447" y="6337000"/>
                  <a:pt x="4176782" y="6335403"/>
                </a:cubicBezTo>
                <a:cubicBezTo>
                  <a:pt x="4176116" y="6333805"/>
                  <a:pt x="4175184" y="6332474"/>
                  <a:pt x="4174119" y="6331276"/>
                </a:cubicBezTo>
                <a:cubicBezTo>
                  <a:pt x="4173054" y="6330211"/>
                  <a:pt x="4171723" y="6329279"/>
                  <a:pt x="4170126" y="6328613"/>
                </a:cubicBezTo>
                <a:cubicBezTo>
                  <a:pt x="4168662" y="6327948"/>
                  <a:pt x="4167064" y="6327682"/>
                  <a:pt x="4165068" y="6327682"/>
                </a:cubicBezTo>
                <a:close/>
                <a:moveTo>
                  <a:pt x="3947767" y="6327682"/>
                </a:moveTo>
                <a:cubicBezTo>
                  <a:pt x="3941910" y="6327682"/>
                  <a:pt x="3939381" y="6329545"/>
                  <a:pt x="3937784" y="6331276"/>
                </a:cubicBezTo>
                <a:cubicBezTo>
                  <a:pt x="3935253" y="6333938"/>
                  <a:pt x="3934190" y="6336733"/>
                  <a:pt x="3934190" y="6340727"/>
                </a:cubicBezTo>
                <a:cubicBezTo>
                  <a:pt x="3934190" y="6344854"/>
                  <a:pt x="3935253" y="6347649"/>
                  <a:pt x="3937784" y="6350178"/>
                </a:cubicBezTo>
                <a:cubicBezTo>
                  <a:pt x="3939381" y="6351777"/>
                  <a:pt x="3941910" y="6353640"/>
                  <a:pt x="3947767" y="6353640"/>
                </a:cubicBezTo>
                <a:cubicBezTo>
                  <a:pt x="3949765" y="6353640"/>
                  <a:pt x="3951630" y="6353241"/>
                  <a:pt x="3953096" y="6352708"/>
                </a:cubicBezTo>
                <a:cubicBezTo>
                  <a:pt x="3954559" y="6352176"/>
                  <a:pt x="3955891" y="6351244"/>
                  <a:pt x="3956823" y="6350311"/>
                </a:cubicBezTo>
                <a:cubicBezTo>
                  <a:pt x="3957888" y="6349113"/>
                  <a:pt x="3958821" y="6347782"/>
                  <a:pt x="3959486" y="6346052"/>
                </a:cubicBezTo>
                <a:cubicBezTo>
                  <a:pt x="3960151" y="6344454"/>
                  <a:pt x="3960551" y="6342590"/>
                  <a:pt x="3960551" y="6340594"/>
                </a:cubicBezTo>
                <a:cubicBezTo>
                  <a:pt x="3960551" y="6338730"/>
                  <a:pt x="3960151" y="6337000"/>
                  <a:pt x="3959486" y="6335403"/>
                </a:cubicBezTo>
                <a:cubicBezTo>
                  <a:pt x="3958821" y="6333805"/>
                  <a:pt x="3957888" y="6332474"/>
                  <a:pt x="3956823" y="6331276"/>
                </a:cubicBezTo>
                <a:cubicBezTo>
                  <a:pt x="3955758" y="6330211"/>
                  <a:pt x="3954427" y="6329279"/>
                  <a:pt x="3952829" y="6328613"/>
                </a:cubicBezTo>
                <a:cubicBezTo>
                  <a:pt x="3951362" y="6327948"/>
                  <a:pt x="3949765" y="6327682"/>
                  <a:pt x="3947767" y="6327682"/>
                </a:cubicBezTo>
                <a:close/>
                <a:moveTo>
                  <a:pt x="3730107" y="6327682"/>
                </a:moveTo>
                <a:cubicBezTo>
                  <a:pt x="3724249" y="6327682"/>
                  <a:pt x="3721719" y="6329545"/>
                  <a:pt x="3720120" y="6331276"/>
                </a:cubicBezTo>
                <a:cubicBezTo>
                  <a:pt x="3717590" y="6333938"/>
                  <a:pt x="3716527" y="6336733"/>
                  <a:pt x="3716527" y="6340727"/>
                </a:cubicBezTo>
                <a:cubicBezTo>
                  <a:pt x="3716527" y="6344854"/>
                  <a:pt x="3717590" y="6347649"/>
                  <a:pt x="3720120" y="6350178"/>
                </a:cubicBezTo>
                <a:cubicBezTo>
                  <a:pt x="3721719" y="6351777"/>
                  <a:pt x="3724249" y="6353640"/>
                  <a:pt x="3730107" y="6353640"/>
                </a:cubicBezTo>
                <a:cubicBezTo>
                  <a:pt x="3732237" y="6353640"/>
                  <a:pt x="3733969" y="6353241"/>
                  <a:pt x="3735432" y="6352708"/>
                </a:cubicBezTo>
                <a:cubicBezTo>
                  <a:pt x="3736897" y="6352176"/>
                  <a:pt x="3738229" y="6351244"/>
                  <a:pt x="3739160" y="6350311"/>
                </a:cubicBezTo>
                <a:cubicBezTo>
                  <a:pt x="3740225" y="6349113"/>
                  <a:pt x="3741157" y="6347782"/>
                  <a:pt x="3741823" y="6346052"/>
                </a:cubicBezTo>
                <a:cubicBezTo>
                  <a:pt x="3742488" y="6344454"/>
                  <a:pt x="3742887" y="6342590"/>
                  <a:pt x="3742887" y="6340594"/>
                </a:cubicBezTo>
                <a:cubicBezTo>
                  <a:pt x="3742887" y="6338730"/>
                  <a:pt x="3742488" y="6337000"/>
                  <a:pt x="3741823" y="6335403"/>
                </a:cubicBezTo>
                <a:cubicBezTo>
                  <a:pt x="3741157" y="6333805"/>
                  <a:pt x="3740225" y="6332474"/>
                  <a:pt x="3739160" y="6331276"/>
                </a:cubicBezTo>
                <a:cubicBezTo>
                  <a:pt x="3738095" y="6330211"/>
                  <a:pt x="3736764" y="6329279"/>
                  <a:pt x="3735167" y="6328613"/>
                </a:cubicBezTo>
                <a:cubicBezTo>
                  <a:pt x="3733702" y="6327948"/>
                  <a:pt x="3732104" y="6327682"/>
                  <a:pt x="3730107" y="6327682"/>
                </a:cubicBezTo>
                <a:close/>
                <a:moveTo>
                  <a:pt x="3512444" y="6327682"/>
                </a:moveTo>
                <a:cubicBezTo>
                  <a:pt x="3506585" y="6327682"/>
                  <a:pt x="3504054" y="6329545"/>
                  <a:pt x="3502454" y="6331276"/>
                </a:cubicBezTo>
                <a:cubicBezTo>
                  <a:pt x="3499924" y="6333938"/>
                  <a:pt x="3498861" y="6336733"/>
                  <a:pt x="3498861" y="6340727"/>
                </a:cubicBezTo>
                <a:cubicBezTo>
                  <a:pt x="3498861" y="6344854"/>
                  <a:pt x="3499924" y="6347649"/>
                  <a:pt x="3502454" y="6350178"/>
                </a:cubicBezTo>
                <a:cubicBezTo>
                  <a:pt x="3504054" y="6351777"/>
                  <a:pt x="3506585" y="6353640"/>
                  <a:pt x="3512444" y="6353640"/>
                </a:cubicBezTo>
                <a:cubicBezTo>
                  <a:pt x="3514573" y="6353640"/>
                  <a:pt x="3516305" y="6353241"/>
                  <a:pt x="3517769" y="6352708"/>
                </a:cubicBezTo>
                <a:cubicBezTo>
                  <a:pt x="3519234" y="6352176"/>
                  <a:pt x="3520566" y="6351244"/>
                  <a:pt x="3521497" y="6350311"/>
                </a:cubicBezTo>
                <a:cubicBezTo>
                  <a:pt x="3522562" y="6349113"/>
                  <a:pt x="3523494" y="6347782"/>
                  <a:pt x="3524160" y="6346052"/>
                </a:cubicBezTo>
                <a:cubicBezTo>
                  <a:pt x="3524825" y="6344454"/>
                  <a:pt x="3525225" y="6342590"/>
                  <a:pt x="3525225" y="6340594"/>
                </a:cubicBezTo>
                <a:cubicBezTo>
                  <a:pt x="3525225" y="6338730"/>
                  <a:pt x="3524825" y="6337000"/>
                  <a:pt x="3524160" y="6335403"/>
                </a:cubicBezTo>
                <a:cubicBezTo>
                  <a:pt x="3523494" y="6333805"/>
                  <a:pt x="3522562" y="6332474"/>
                  <a:pt x="3521497" y="6331276"/>
                </a:cubicBezTo>
                <a:cubicBezTo>
                  <a:pt x="3520432" y="6330211"/>
                  <a:pt x="3519100" y="6329279"/>
                  <a:pt x="3517504" y="6328613"/>
                </a:cubicBezTo>
                <a:cubicBezTo>
                  <a:pt x="3516040" y="6327948"/>
                  <a:pt x="3514441" y="6327682"/>
                  <a:pt x="3512444" y="6327682"/>
                </a:cubicBezTo>
                <a:close/>
                <a:moveTo>
                  <a:pt x="3294914" y="6327682"/>
                </a:moveTo>
                <a:cubicBezTo>
                  <a:pt x="3289055" y="6327682"/>
                  <a:pt x="3286524" y="6329545"/>
                  <a:pt x="3284927" y="6331276"/>
                </a:cubicBezTo>
                <a:cubicBezTo>
                  <a:pt x="3282397" y="6333938"/>
                  <a:pt x="3281333" y="6336733"/>
                  <a:pt x="3281333" y="6340727"/>
                </a:cubicBezTo>
                <a:cubicBezTo>
                  <a:pt x="3281333" y="6344854"/>
                  <a:pt x="3282397" y="6347649"/>
                  <a:pt x="3284927" y="6350178"/>
                </a:cubicBezTo>
                <a:cubicBezTo>
                  <a:pt x="3286524" y="6351777"/>
                  <a:pt x="3289055" y="6353640"/>
                  <a:pt x="3294914" y="6353640"/>
                </a:cubicBezTo>
                <a:cubicBezTo>
                  <a:pt x="3296911" y="6353640"/>
                  <a:pt x="3298642" y="6353241"/>
                  <a:pt x="3300240" y="6352708"/>
                </a:cubicBezTo>
                <a:cubicBezTo>
                  <a:pt x="3301704" y="6352176"/>
                  <a:pt x="3303036" y="6351244"/>
                  <a:pt x="3303967" y="6350311"/>
                </a:cubicBezTo>
                <a:cubicBezTo>
                  <a:pt x="3305032" y="6349113"/>
                  <a:pt x="3305964" y="6347782"/>
                  <a:pt x="3306630" y="6346052"/>
                </a:cubicBezTo>
                <a:cubicBezTo>
                  <a:pt x="3307295" y="6344454"/>
                  <a:pt x="3307694" y="6342590"/>
                  <a:pt x="3307694" y="6340594"/>
                </a:cubicBezTo>
                <a:cubicBezTo>
                  <a:pt x="3307694" y="6338730"/>
                  <a:pt x="3307295" y="6337000"/>
                  <a:pt x="3306630" y="6335403"/>
                </a:cubicBezTo>
                <a:cubicBezTo>
                  <a:pt x="3305964" y="6333805"/>
                  <a:pt x="3305032" y="6332474"/>
                  <a:pt x="3303967" y="6331276"/>
                </a:cubicBezTo>
                <a:cubicBezTo>
                  <a:pt x="3302902" y="6330211"/>
                  <a:pt x="3301570" y="6329279"/>
                  <a:pt x="3299974" y="6328613"/>
                </a:cubicBezTo>
                <a:cubicBezTo>
                  <a:pt x="3298510" y="6327948"/>
                  <a:pt x="3296911" y="6327682"/>
                  <a:pt x="3294914" y="6327682"/>
                </a:cubicBezTo>
                <a:close/>
                <a:moveTo>
                  <a:pt x="3077384" y="6327682"/>
                </a:moveTo>
                <a:cubicBezTo>
                  <a:pt x="3071526" y="6327682"/>
                  <a:pt x="3068996" y="6329545"/>
                  <a:pt x="3067400" y="6331276"/>
                </a:cubicBezTo>
                <a:cubicBezTo>
                  <a:pt x="3064734" y="6333938"/>
                  <a:pt x="3063669" y="6336733"/>
                  <a:pt x="3063669" y="6340727"/>
                </a:cubicBezTo>
                <a:cubicBezTo>
                  <a:pt x="3063669" y="6344854"/>
                  <a:pt x="3064734" y="6347649"/>
                  <a:pt x="3067265" y="6350178"/>
                </a:cubicBezTo>
                <a:cubicBezTo>
                  <a:pt x="3068863" y="6351777"/>
                  <a:pt x="3071394" y="6353640"/>
                  <a:pt x="3077251" y="6353640"/>
                </a:cubicBezTo>
                <a:cubicBezTo>
                  <a:pt x="3079248" y="6353640"/>
                  <a:pt x="3080978" y="6353241"/>
                  <a:pt x="3082709" y="6352708"/>
                </a:cubicBezTo>
                <a:cubicBezTo>
                  <a:pt x="3084174" y="6352176"/>
                  <a:pt x="3085505" y="6351244"/>
                  <a:pt x="3086437" y="6350311"/>
                </a:cubicBezTo>
                <a:cubicBezTo>
                  <a:pt x="3087501" y="6349113"/>
                  <a:pt x="3088433" y="6347782"/>
                  <a:pt x="3089099" y="6346052"/>
                </a:cubicBezTo>
                <a:cubicBezTo>
                  <a:pt x="3089764" y="6344454"/>
                  <a:pt x="3090031" y="6342590"/>
                  <a:pt x="3090031" y="6340594"/>
                </a:cubicBezTo>
                <a:cubicBezTo>
                  <a:pt x="3090031" y="6338730"/>
                  <a:pt x="3089764" y="6337000"/>
                  <a:pt x="3089099" y="6335403"/>
                </a:cubicBezTo>
                <a:cubicBezTo>
                  <a:pt x="3088433" y="6333805"/>
                  <a:pt x="3087501" y="6332474"/>
                  <a:pt x="3086437" y="6331276"/>
                </a:cubicBezTo>
                <a:cubicBezTo>
                  <a:pt x="3085372" y="6330211"/>
                  <a:pt x="3084040" y="6329279"/>
                  <a:pt x="3082444" y="6328613"/>
                </a:cubicBezTo>
                <a:cubicBezTo>
                  <a:pt x="3080978" y="6327948"/>
                  <a:pt x="3079381" y="6327682"/>
                  <a:pt x="3077384" y="6327682"/>
                </a:cubicBezTo>
                <a:close/>
                <a:moveTo>
                  <a:pt x="2859588" y="6327682"/>
                </a:moveTo>
                <a:cubicBezTo>
                  <a:pt x="2853731" y="6327682"/>
                  <a:pt x="2851201" y="6329545"/>
                  <a:pt x="2849602" y="6331276"/>
                </a:cubicBezTo>
                <a:cubicBezTo>
                  <a:pt x="2847068" y="6333938"/>
                  <a:pt x="2846002" y="6336733"/>
                  <a:pt x="2846002" y="6340727"/>
                </a:cubicBezTo>
                <a:cubicBezTo>
                  <a:pt x="2846002" y="6344854"/>
                  <a:pt x="2847068" y="6347649"/>
                  <a:pt x="2849602" y="6350178"/>
                </a:cubicBezTo>
                <a:cubicBezTo>
                  <a:pt x="2851201" y="6351777"/>
                  <a:pt x="2853731" y="6353640"/>
                  <a:pt x="2859588" y="6353640"/>
                </a:cubicBezTo>
                <a:cubicBezTo>
                  <a:pt x="2861585" y="6353640"/>
                  <a:pt x="2863449" y="6353241"/>
                  <a:pt x="2864913" y="6352708"/>
                </a:cubicBezTo>
                <a:cubicBezTo>
                  <a:pt x="2866511" y="6352176"/>
                  <a:pt x="2867709" y="6351244"/>
                  <a:pt x="2868640" y="6350311"/>
                </a:cubicBezTo>
                <a:cubicBezTo>
                  <a:pt x="2869705" y="6349113"/>
                  <a:pt x="2870637" y="6347782"/>
                  <a:pt x="2871303" y="6346052"/>
                </a:cubicBezTo>
                <a:cubicBezTo>
                  <a:pt x="2871835" y="6344454"/>
                  <a:pt x="2872234" y="6342590"/>
                  <a:pt x="2872234" y="6340594"/>
                </a:cubicBezTo>
                <a:cubicBezTo>
                  <a:pt x="2872234" y="6338730"/>
                  <a:pt x="2871968" y="6337000"/>
                  <a:pt x="2871303" y="6335403"/>
                </a:cubicBezTo>
                <a:cubicBezTo>
                  <a:pt x="2870637" y="6333805"/>
                  <a:pt x="2869705" y="6332474"/>
                  <a:pt x="2868640" y="6331276"/>
                </a:cubicBezTo>
                <a:cubicBezTo>
                  <a:pt x="2867576" y="6330211"/>
                  <a:pt x="2866244" y="6329279"/>
                  <a:pt x="2864647" y="6328613"/>
                </a:cubicBezTo>
                <a:cubicBezTo>
                  <a:pt x="2863183" y="6327948"/>
                  <a:pt x="2861585" y="6327682"/>
                  <a:pt x="2859588" y="6327682"/>
                </a:cubicBezTo>
                <a:close/>
                <a:moveTo>
                  <a:pt x="2641924" y="6327682"/>
                </a:moveTo>
                <a:cubicBezTo>
                  <a:pt x="2636067" y="6327682"/>
                  <a:pt x="2633538" y="6329545"/>
                  <a:pt x="2631941" y="6331276"/>
                </a:cubicBezTo>
                <a:cubicBezTo>
                  <a:pt x="2629411" y="6333938"/>
                  <a:pt x="2628347" y="6336733"/>
                  <a:pt x="2628347" y="6340727"/>
                </a:cubicBezTo>
                <a:cubicBezTo>
                  <a:pt x="2628347" y="6344854"/>
                  <a:pt x="2629411" y="6347649"/>
                  <a:pt x="2631941" y="6350178"/>
                </a:cubicBezTo>
                <a:cubicBezTo>
                  <a:pt x="2633538" y="6351777"/>
                  <a:pt x="2636067" y="6353640"/>
                  <a:pt x="2641924" y="6353640"/>
                </a:cubicBezTo>
                <a:cubicBezTo>
                  <a:pt x="2643921" y="6353640"/>
                  <a:pt x="2645786" y="6353241"/>
                  <a:pt x="2647250" y="6352708"/>
                </a:cubicBezTo>
                <a:cubicBezTo>
                  <a:pt x="2648847" y="6352176"/>
                  <a:pt x="2650045" y="6351244"/>
                  <a:pt x="2650977" y="6350311"/>
                </a:cubicBezTo>
                <a:cubicBezTo>
                  <a:pt x="2652042" y="6349113"/>
                  <a:pt x="2652974" y="6347782"/>
                  <a:pt x="2653640" y="6346052"/>
                </a:cubicBezTo>
                <a:cubicBezTo>
                  <a:pt x="2654172" y="6344454"/>
                  <a:pt x="2654571" y="6342590"/>
                  <a:pt x="2654571" y="6340594"/>
                </a:cubicBezTo>
                <a:cubicBezTo>
                  <a:pt x="2654571" y="6338730"/>
                  <a:pt x="2654305" y="6337000"/>
                  <a:pt x="2653640" y="6335403"/>
                </a:cubicBezTo>
                <a:cubicBezTo>
                  <a:pt x="2652974" y="6333805"/>
                  <a:pt x="2652042" y="6332474"/>
                  <a:pt x="2650977" y="6331276"/>
                </a:cubicBezTo>
                <a:cubicBezTo>
                  <a:pt x="2649912" y="6330211"/>
                  <a:pt x="2648581" y="6329279"/>
                  <a:pt x="2646984" y="6328613"/>
                </a:cubicBezTo>
                <a:cubicBezTo>
                  <a:pt x="2645519" y="6327948"/>
                  <a:pt x="2643921" y="6327682"/>
                  <a:pt x="2641924" y="6327682"/>
                </a:cubicBezTo>
                <a:close/>
                <a:moveTo>
                  <a:pt x="2424261" y="6327682"/>
                </a:moveTo>
                <a:cubicBezTo>
                  <a:pt x="2418404" y="6327682"/>
                  <a:pt x="2415875" y="6329545"/>
                  <a:pt x="2414278" y="6331276"/>
                </a:cubicBezTo>
                <a:cubicBezTo>
                  <a:pt x="2411748" y="6333938"/>
                  <a:pt x="2410684" y="6336733"/>
                  <a:pt x="2410684" y="6340727"/>
                </a:cubicBezTo>
                <a:cubicBezTo>
                  <a:pt x="2410684" y="6344854"/>
                  <a:pt x="2411748" y="6347649"/>
                  <a:pt x="2414278" y="6350178"/>
                </a:cubicBezTo>
                <a:cubicBezTo>
                  <a:pt x="2415875" y="6351777"/>
                  <a:pt x="2418404" y="6353640"/>
                  <a:pt x="2424261" y="6353640"/>
                </a:cubicBezTo>
                <a:cubicBezTo>
                  <a:pt x="2426391" y="6353640"/>
                  <a:pt x="2428123" y="6353241"/>
                  <a:pt x="2429587" y="6352708"/>
                </a:cubicBezTo>
                <a:cubicBezTo>
                  <a:pt x="2431185" y="6352176"/>
                  <a:pt x="2432382" y="6351244"/>
                  <a:pt x="2433313" y="6350311"/>
                </a:cubicBezTo>
                <a:cubicBezTo>
                  <a:pt x="2434379" y="6349113"/>
                  <a:pt x="2435310" y="6347782"/>
                  <a:pt x="2435977" y="6346052"/>
                </a:cubicBezTo>
                <a:cubicBezTo>
                  <a:pt x="2436508" y="6344454"/>
                  <a:pt x="2436908" y="6342590"/>
                  <a:pt x="2436908" y="6340594"/>
                </a:cubicBezTo>
                <a:cubicBezTo>
                  <a:pt x="2436908" y="6338730"/>
                  <a:pt x="2436642" y="6337000"/>
                  <a:pt x="2435977" y="6335403"/>
                </a:cubicBezTo>
                <a:cubicBezTo>
                  <a:pt x="2435310" y="6333805"/>
                  <a:pt x="2434379" y="6332474"/>
                  <a:pt x="2433313" y="6331276"/>
                </a:cubicBezTo>
                <a:cubicBezTo>
                  <a:pt x="2432250" y="6330211"/>
                  <a:pt x="2430918" y="6329279"/>
                  <a:pt x="2429320" y="6328613"/>
                </a:cubicBezTo>
                <a:cubicBezTo>
                  <a:pt x="2427856" y="6327948"/>
                  <a:pt x="2426258" y="6327682"/>
                  <a:pt x="2424261" y="6327682"/>
                </a:cubicBezTo>
                <a:close/>
                <a:moveTo>
                  <a:pt x="2206598" y="6327682"/>
                </a:moveTo>
                <a:cubicBezTo>
                  <a:pt x="2200741" y="6327682"/>
                  <a:pt x="2198212" y="6329545"/>
                  <a:pt x="2196615" y="6331276"/>
                </a:cubicBezTo>
                <a:cubicBezTo>
                  <a:pt x="2194085" y="6333938"/>
                  <a:pt x="2193020" y="6336733"/>
                  <a:pt x="2193020" y="6340727"/>
                </a:cubicBezTo>
                <a:cubicBezTo>
                  <a:pt x="2193020" y="6344854"/>
                  <a:pt x="2194085" y="6347649"/>
                  <a:pt x="2196615" y="6350178"/>
                </a:cubicBezTo>
                <a:cubicBezTo>
                  <a:pt x="2198212" y="6351777"/>
                  <a:pt x="2200741" y="6353640"/>
                  <a:pt x="2206598" y="6353640"/>
                </a:cubicBezTo>
                <a:cubicBezTo>
                  <a:pt x="2208728" y="6353640"/>
                  <a:pt x="2210459" y="6353241"/>
                  <a:pt x="2211923" y="6352708"/>
                </a:cubicBezTo>
                <a:cubicBezTo>
                  <a:pt x="2213520" y="6352176"/>
                  <a:pt x="2214718" y="6351244"/>
                  <a:pt x="2215650" y="6350311"/>
                </a:cubicBezTo>
                <a:cubicBezTo>
                  <a:pt x="2216715" y="6349113"/>
                  <a:pt x="2217647" y="6347782"/>
                  <a:pt x="2218313" y="6346052"/>
                </a:cubicBezTo>
                <a:cubicBezTo>
                  <a:pt x="2218845" y="6344454"/>
                  <a:pt x="2219244" y="6342590"/>
                  <a:pt x="2219244" y="6340594"/>
                </a:cubicBezTo>
                <a:cubicBezTo>
                  <a:pt x="2219244" y="6338730"/>
                  <a:pt x="2218978" y="6337000"/>
                  <a:pt x="2218313" y="6335403"/>
                </a:cubicBezTo>
                <a:cubicBezTo>
                  <a:pt x="2217647" y="6333805"/>
                  <a:pt x="2216715" y="6332474"/>
                  <a:pt x="2215650" y="6331276"/>
                </a:cubicBezTo>
                <a:cubicBezTo>
                  <a:pt x="2214585" y="6330211"/>
                  <a:pt x="2213254" y="6329279"/>
                  <a:pt x="2211657" y="6328613"/>
                </a:cubicBezTo>
                <a:cubicBezTo>
                  <a:pt x="2210192" y="6327948"/>
                  <a:pt x="2208595" y="6327682"/>
                  <a:pt x="2206598" y="6327682"/>
                </a:cubicBezTo>
                <a:close/>
                <a:moveTo>
                  <a:pt x="1989068" y="6327682"/>
                </a:moveTo>
                <a:cubicBezTo>
                  <a:pt x="1983210" y="6327682"/>
                  <a:pt x="1980681" y="6329545"/>
                  <a:pt x="1979085" y="6331276"/>
                </a:cubicBezTo>
                <a:cubicBezTo>
                  <a:pt x="1976554" y="6333938"/>
                  <a:pt x="1975490" y="6336733"/>
                  <a:pt x="1975490" y="6340727"/>
                </a:cubicBezTo>
                <a:cubicBezTo>
                  <a:pt x="1975490" y="6344854"/>
                  <a:pt x="1976554" y="6347649"/>
                  <a:pt x="1979085" y="6350178"/>
                </a:cubicBezTo>
                <a:cubicBezTo>
                  <a:pt x="1980681" y="6351777"/>
                  <a:pt x="1983210" y="6353640"/>
                  <a:pt x="1989068" y="6353640"/>
                </a:cubicBezTo>
                <a:cubicBezTo>
                  <a:pt x="1991064" y="6353640"/>
                  <a:pt x="1992796" y="6353241"/>
                  <a:pt x="1994393" y="6352708"/>
                </a:cubicBezTo>
                <a:cubicBezTo>
                  <a:pt x="1995990" y="6352176"/>
                  <a:pt x="1997189" y="6351244"/>
                  <a:pt x="1998120" y="6350311"/>
                </a:cubicBezTo>
                <a:cubicBezTo>
                  <a:pt x="1999185" y="6349113"/>
                  <a:pt x="2000117" y="6347782"/>
                  <a:pt x="2000783" y="6346052"/>
                </a:cubicBezTo>
                <a:cubicBezTo>
                  <a:pt x="2001315" y="6344454"/>
                  <a:pt x="2001714" y="6342590"/>
                  <a:pt x="2001714" y="6340594"/>
                </a:cubicBezTo>
                <a:cubicBezTo>
                  <a:pt x="2001714" y="6338730"/>
                  <a:pt x="2001448" y="6337000"/>
                  <a:pt x="2000783" y="6335403"/>
                </a:cubicBezTo>
                <a:cubicBezTo>
                  <a:pt x="2000117" y="6333805"/>
                  <a:pt x="1999185" y="6332474"/>
                  <a:pt x="1998120" y="6331276"/>
                </a:cubicBezTo>
                <a:cubicBezTo>
                  <a:pt x="1997056" y="6330211"/>
                  <a:pt x="1995724" y="6329279"/>
                  <a:pt x="1994126" y="6328613"/>
                </a:cubicBezTo>
                <a:cubicBezTo>
                  <a:pt x="1992662" y="6327948"/>
                  <a:pt x="1991064" y="6327682"/>
                  <a:pt x="1989068" y="6327682"/>
                </a:cubicBezTo>
                <a:close/>
                <a:moveTo>
                  <a:pt x="1771436" y="6327682"/>
                </a:moveTo>
                <a:cubicBezTo>
                  <a:pt x="1765579" y="6327682"/>
                  <a:pt x="1763050" y="6329545"/>
                  <a:pt x="1761453" y="6331276"/>
                </a:cubicBezTo>
                <a:cubicBezTo>
                  <a:pt x="1758925" y="6333938"/>
                  <a:pt x="1757860" y="6336733"/>
                  <a:pt x="1757860" y="6340727"/>
                </a:cubicBezTo>
                <a:cubicBezTo>
                  <a:pt x="1757860" y="6344854"/>
                  <a:pt x="1758925" y="6347649"/>
                  <a:pt x="1761453" y="6350178"/>
                </a:cubicBezTo>
                <a:cubicBezTo>
                  <a:pt x="1763050" y="6351777"/>
                  <a:pt x="1765579" y="6353640"/>
                  <a:pt x="1771436" y="6353640"/>
                </a:cubicBezTo>
                <a:cubicBezTo>
                  <a:pt x="1773433" y="6353640"/>
                  <a:pt x="1775296" y="6353241"/>
                  <a:pt x="1776760" y="6352708"/>
                </a:cubicBezTo>
                <a:cubicBezTo>
                  <a:pt x="1778225" y="6352176"/>
                  <a:pt x="1779554" y="6351244"/>
                  <a:pt x="1780486" y="6350311"/>
                </a:cubicBezTo>
                <a:cubicBezTo>
                  <a:pt x="1781551" y="6349113"/>
                  <a:pt x="1782483" y="6347782"/>
                  <a:pt x="1783149" y="6346052"/>
                </a:cubicBezTo>
                <a:cubicBezTo>
                  <a:pt x="1783814" y="6344454"/>
                  <a:pt x="1784214" y="6342590"/>
                  <a:pt x="1784214" y="6340594"/>
                </a:cubicBezTo>
                <a:cubicBezTo>
                  <a:pt x="1784214" y="6338730"/>
                  <a:pt x="1783814" y="6337000"/>
                  <a:pt x="1783149" y="6335403"/>
                </a:cubicBezTo>
                <a:cubicBezTo>
                  <a:pt x="1782483" y="6333805"/>
                  <a:pt x="1781551" y="6332474"/>
                  <a:pt x="1780486" y="6331276"/>
                </a:cubicBezTo>
                <a:cubicBezTo>
                  <a:pt x="1779421" y="6330211"/>
                  <a:pt x="1778092" y="6329279"/>
                  <a:pt x="1776495" y="6328613"/>
                </a:cubicBezTo>
                <a:cubicBezTo>
                  <a:pt x="1775030" y="6327948"/>
                  <a:pt x="1773433" y="6327682"/>
                  <a:pt x="1771436" y="6327682"/>
                </a:cubicBezTo>
                <a:close/>
                <a:moveTo>
                  <a:pt x="1553800" y="6327682"/>
                </a:moveTo>
                <a:cubicBezTo>
                  <a:pt x="1547942" y="6327682"/>
                  <a:pt x="1545413" y="6329545"/>
                  <a:pt x="1543817" y="6331276"/>
                </a:cubicBezTo>
                <a:cubicBezTo>
                  <a:pt x="1541287" y="6333938"/>
                  <a:pt x="1540222" y="6336733"/>
                  <a:pt x="1540222" y="6340727"/>
                </a:cubicBezTo>
                <a:cubicBezTo>
                  <a:pt x="1540222" y="6344854"/>
                  <a:pt x="1541287" y="6347649"/>
                  <a:pt x="1543817" y="6350178"/>
                </a:cubicBezTo>
                <a:cubicBezTo>
                  <a:pt x="1545413" y="6351777"/>
                  <a:pt x="1547942" y="6353640"/>
                  <a:pt x="1553800" y="6353640"/>
                </a:cubicBezTo>
                <a:cubicBezTo>
                  <a:pt x="1555797" y="6353640"/>
                  <a:pt x="1557660" y="6353241"/>
                  <a:pt x="1559124" y="6352708"/>
                </a:cubicBezTo>
                <a:cubicBezTo>
                  <a:pt x="1560589" y="6352176"/>
                  <a:pt x="1561920" y="6351244"/>
                  <a:pt x="1562852" y="6350311"/>
                </a:cubicBezTo>
                <a:cubicBezTo>
                  <a:pt x="1563916" y="6349113"/>
                  <a:pt x="1564848" y="6347782"/>
                  <a:pt x="1565514" y="6346052"/>
                </a:cubicBezTo>
                <a:cubicBezTo>
                  <a:pt x="1566179" y="6344454"/>
                  <a:pt x="1566580" y="6342590"/>
                  <a:pt x="1566580" y="6340594"/>
                </a:cubicBezTo>
                <a:cubicBezTo>
                  <a:pt x="1566580" y="6338730"/>
                  <a:pt x="1566179" y="6337000"/>
                  <a:pt x="1565514" y="6335403"/>
                </a:cubicBezTo>
                <a:cubicBezTo>
                  <a:pt x="1564848" y="6333805"/>
                  <a:pt x="1563916" y="6332474"/>
                  <a:pt x="1562852" y="6331276"/>
                </a:cubicBezTo>
                <a:cubicBezTo>
                  <a:pt x="1561786" y="6330211"/>
                  <a:pt x="1560456" y="6329279"/>
                  <a:pt x="1558858" y="6328613"/>
                </a:cubicBezTo>
                <a:cubicBezTo>
                  <a:pt x="1557394" y="6327948"/>
                  <a:pt x="1555797" y="6327682"/>
                  <a:pt x="1553800" y="6327682"/>
                </a:cubicBezTo>
                <a:close/>
                <a:moveTo>
                  <a:pt x="1336157" y="6327682"/>
                </a:moveTo>
                <a:cubicBezTo>
                  <a:pt x="1330298" y="6327682"/>
                  <a:pt x="1327769" y="6329545"/>
                  <a:pt x="1326172" y="6331276"/>
                </a:cubicBezTo>
                <a:cubicBezTo>
                  <a:pt x="1323642" y="6333938"/>
                  <a:pt x="1322578" y="6336733"/>
                  <a:pt x="1322578" y="6340727"/>
                </a:cubicBezTo>
                <a:cubicBezTo>
                  <a:pt x="1322578" y="6344854"/>
                  <a:pt x="1323642" y="6347649"/>
                  <a:pt x="1326172" y="6350178"/>
                </a:cubicBezTo>
                <a:cubicBezTo>
                  <a:pt x="1327769" y="6351777"/>
                  <a:pt x="1330298" y="6353640"/>
                  <a:pt x="1336157" y="6353640"/>
                </a:cubicBezTo>
                <a:cubicBezTo>
                  <a:pt x="1338286" y="6353640"/>
                  <a:pt x="1340016" y="6353241"/>
                  <a:pt x="1341483" y="6352708"/>
                </a:cubicBezTo>
                <a:cubicBezTo>
                  <a:pt x="1342946" y="6352176"/>
                  <a:pt x="1344278" y="6351244"/>
                  <a:pt x="1345210" y="6350311"/>
                </a:cubicBezTo>
                <a:cubicBezTo>
                  <a:pt x="1346274" y="6349113"/>
                  <a:pt x="1347207" y="6347782"/>
                  <a:pt x="1347872" y="6346052"/>
                </a:cubicBezTo>
                <a:cubicBezTo>
                  <a:pt x="1348538" y="6344454"/>
                  <a:pt x="1348938" y="6342590"/>
                  <a:pt x="1348938" y="6340594"/>
                </a:cubicBezTo>
                <a:cubicBezTo>
                  <a:pt x="1348938" y="6338730"/>
                  <a:pt x="1348538" y="6337000"/>
                  <a:pt x="1347872" y="6335403"/>
                </a:cubicBezTo>
                <a:cubicBezTo>
                  <a:pt x="1347207" y="6333805"/>
                  <a:pt x="1346274" y="6332474"/>
                  <a:pt x="1345210" y="6331276"/>
                </a:cubicBezTo>
                <a:cubicBezTo>
                  <a:pt x="1344145" y="6330211"/>
                  <a:pt x="1342814" y="6329279"/>
                  <a:pt x="1341215" y="6328613"/>
                </a:cubicBezTo>
                <a:cubicBezTo>
                  <a:pt x="1339751" y="6327948"/>
                  <a:pt x="1338152" y="6327682"/>
                  <a:pt x="1336157" y="6327682"/>
                </a:cubicBezTo>
                <a:close/>
                <a:moveTo>
                  <a:pt x="1118644" y="6327682"/>
                </a:moveTo>
                <a:cubicBezTo>
                  <a:pt x="1112785" y="6327682"/>
                  <a:pt x="1110255" y="6329545"/>
                  <a:pt x="1108658" y="6331276"/>
                </a:cubicBezTo>
                <a:cubicBezTo>
                  <a:pt x="1105996" y="6333938"/>
                  <a:pt x="1104931" y="6336733"/>
                  <a:pt x="1104931" y="6340727"/>
                </a:cubicBezTo>
                <a:cubicBezTo>
                  <a:pt x="1104931" y="6344854"/>
                  <a:pt x="1105996" y="6347649"/>
                  <a:pt x="1108526" y="6350178"/>
                </a:cubicBezTo>
                <a:cubicBezTo>
                  <a:pt x="1110123" y="6351777"/>
                  <a:pt x="1112652" y="6353640"/>
                  <a:pt x="1118511" y="6353640"/>
                </a:cubicBezTo>
                <a:cubicBezTo>
                  <a:pt x="1120641" y="6353640"/>
                  <a:pt x="1122372" y="6353241"/>
                  <a:pt x="1123967" y="6352708"/>
                </a:cubicBezTo>
                <a:cubicBezTo>
                  <a:pt x="1125433" y="6352176"/>
                  <a:pt x="1126768" y="6351244"/>
                  <a:pt x="1127698" y="6350311"/>
                </a:cubicBezTo>
                <a:cubicBezTo>
                  <a:pt x="1128764" y="6349113"/>
                  <a:pt x="1129696" y="6347782"/>
                  <a:pt x="1130362" y="6346052"/>
                </a:cubicBezTo>
                <a:cubicBezTo>
                  <a:pt x="1131026" y="6344454"/>
                  <a:pt x="1131427" y="6342590"/>
                  <a:pt x="1131427" y="6340594"/>
                </a:cubicBezTo>
                <a:cubicBezTo>
                  <a:pt x="1131427" y="6338730"/>
                  <a:pt x="1131026" y="6337000"/>
                  <a:pt x="1130362" y="6335403"/>
                </a:cubicBezTo>
                <a:cubicBezTo>
                  <a:pt x="1129696" y="6333805"/>
                  <a:pt x="1128764" y="6332474"/>
                  <a:pt x="1127698" y="6331276"/>
                </a:cubicBezTo>
                <a:cubicBezTo>
                  <a:pt x="1126634" y="6330211"/>
                  <a:pt x="1125301" y="6329279"/>
                  <a:pt x="1123703" y="6328613"/>
                </a:cubicBezTo>
                <a:cubicBezTo>
                  <a:pt x="1122239" y="6327948"/>
                  <a:pt x="1120641" y="6327682"/>
                  <a:pt x="1118644" y="6327682"/>
                </a:cubicBezTo>
                <a:close/>
                <a:moveTo>
                  <a:pt x="901132" y="6327682"/>
                </a:moveTo>
                <a:cubicBezTo>
                  <a:pt x="895274" y="6327682"/>
                  <a:pt x="892744" y="6329545"/>
                  <a:pt x="891147" y="6331276"/>
                </a:cubicBezTo>
                <a:cubicBezTo>
                  <a:pt x="888485" y="6333938"/>
                  <a:pt x="887421" y="6336733"/>
                  <a:pt x="887421" y="6340727"/>
                </a:cubicBezTo>
                <a:cubicBezTo>
                  <a:pt x="887421" y="6344854"/>
                  <a:pt x="888485" y="6347649"/>
                  <a:pt x="891015" y="6350178"/>
                </a:cubicBezTo>
                <a:cubicBezTo>
                  <a:pt x="892612" y="6351777"/>
                  <a:pt x="895141" y="6353640"/>
                  <a:pt x="900998" y="6353640"/>
                </a:cubicBezTo>
                <a:cubicBezTo>
                  <a:pt x="902995" y="6353640"/>
                  <a:pt x="904726" y="6353241"/>
                  <a:pt x="906456" y="6352708"/>
                </a:cubicBezTo>
                <a:cubicBezTo>
                  <a:pt x="907920" y="6352176"/>
                  <a:pt x="909252" y="6351244"/>
                  <a:pt x="910184" y="6350311"/>
                </a:cubicBezTo>
                <a:cubicBezTo>
                  <a:pt x="911248" y="6349113"/>
                  <a:pt x="912180" y="6347782"/>
                  <a:pt x="912846" y="6346052"/>
                </a:cubicBezTo>
                <a:cubicBezTo>
                  <a:pt x="913511" y="6344454"/>
                  <a:pt x="913911" y="6342590"/>
                  <a:pt x="913911" y="6340594"/>
                </a:cubicBezTo>
                <a:cubicBezTo>
                  <a:pt x="913911" y="6338730"/>
                  <a:pt x="913511" y="6337000"/>
                  <a:pt x="912846" y="6335403"/>
                </a:cubicBezTo>
                <a:cubicBezTo>
                  <a:pt x="912180" y="6333805"/>
                  <a:pt x="911248" y="6332474"/>
                  <a:pt x="910184" y="6331276"/>
                </a:cubicBezTo>
                <a:cubicBezTo>
                  <a:pt x="909119" y="6330211"/>
                  <a:pt x="907787" y="6329279"/>
                  <a:pt x="906190" y="6328613"/>
                </a:cubicBezTo>
                <a:cubicBezTo>
                  <a:pt x="904726" y="6327948"/>
                  <a:pt x="903128" y="6327682"/>
                  <a:pt x="901132" y="6327682"/>
                </a:cubicBezTo>
                <a:close/>
                <a:moveTo>
                  <a:pt x="683358" y="6327682"/>
                </a:moveTo>
                <a:cubicBezTo>
                  <a:pt x="677501" y="6327682"/>
                  <a:pt x="674972" y="6329545"/>
                  <a:pt x="673375" y="6331276"/>
                </a:cubicBezTo>
                <a:cubicBezTo>
                  <a:pt x="670845" y="6333938"/>
                  <a:pt x="669781" y="6336733"/>
                  <a:pt x="669781" y="6340727"/>
                </a:cubicBezTo>
                <a:cubicBezTo>
                  <a:pt x="669781" y="6344854"/>
                  <a:pt x="670845" y="6347649"/>
                  <a:pt x="673375" y="6350178"/>
                </a:cubicBezTo>
                <a:cubicBezTo>
                  <a:pt x="674972" y="6351777"/>
                  <a:pt x="677501" y="6353640"/>
                  <a:pt x="683358" y="6353640"/>
                </a:cubicBezTo>
                <a:cubicBezTo>
                  <a:pt x="685355" y="6353640"/>
                  <a:pt x="687219" y="6353241"/>
                  <a:pt x="688683" y="6352708"/>
                </a:cubicBezTo>
                <a:cubicBezTo>
                  <a:pt x="690147" y="6352176"/>
                  <a:pt x="691479" y="6351244"/>
                  <a:pt x="692410" y="6350311"/>
                </a:cubicBezTo>
                <a:cubicBezTo>
                  <a:pt x="693475" y="6349113"/>
                  <a:pt x="694407" y="6347782"/>
                  <a:pt x="695073" y="6346052"/>
                </a:cubicBezTo>
                <a:cubicBezTo>
                  <a:pt x="695738" y="6344454"/>
                  <a:pt x="696139" y="6342590"/>
                  <a:pt x="696139" y="6340594"/>
                </a:cubicBezTo>
                <a:cubicBezTo>
                  <a:pt x="696139" y="6338730"/>
                  <a:pt x="695738" y="6337000"/>
                  <a:pt x="695073" y="6335403"/>
                </a:cubicBezTo>
                <a:cubicBezTo>
                  <a:pt x="694407" y="6333805"/>
                  <a:pt x="693475" y="6332474"/>
                  <a:pt x="692410" y="6331276"/>
                </a:cubicBezTo>
                <a:cubicBezTo>
                  <a:pt x="691345" y="6330211"/>
                  <a:pt x="690014" y="6329279"/>
                  <a:pt x="688417" y="6328613"/>
                </a:cubicBezTo>
                <a:cubicBezTo>
                  <a:pt x="686953" y="6327948"/>
                  <a:pt x="685355" y="6327682"/>
                  <a:pt x="683358" y="6327682"/>
                </a:cubicBezTo>
                <a:close/>
                <a:moveTo>
                  <a:pt x="465717" y="6327682"/>
                </a:moveTo>
                <a:cubicBezTo>
                  <a:pt x="459860" y="6327682"/>
                  <a:pt x="457331" y="6329545"/>
                  <a:pt x="455734" y="6331276"/>
                </a:cubicBezTo>
                <a:cubicBezTo>
                  <a:pt x="453204" y="6333938"/>
                  <a:pt x="452140" y="6336733"/>
                  <a:pt x="452140" y="6340727"/>
                </a:cubicBezTo>
                <a:cubicBezTo>
                  <a:pt x="452140" y="6344854"/>
                  <a:pt x="453204" y="6347649"/>
                  <a:pt x="455734" y="6350178"/>
                </a:cubicBezTo>
                <a:cubicBezTo>
                  <a:pt x="457331" y="6351777"/>
                  <a:pt x="459860" y="6353640"/>
                  <a:pt x="465717" y="6353640"/>
                </a:cubicBezTo>
                <a:cubicBezTo>
                  <a:pt x="467714" y="6353640"/>
                  <a:pt x="469578" y="6353241"/>
                  <a:pt x="471042" y="6352708"/>
                </a:cubicBezTo>
                <a:cubicBezTo>
                  <a:pt x="472506" y="6352176"/>
                  <a:pt x="473838" y="6351244"/>
                  <a:pt x="474769" y="6350311"/>
                </a:cubicBezTo>
                <a:cubicBezTo>
                  <a:pt x="475834" y="6349113"/>
                  <a:pt x="476766" y="6347782"/>
                  <a:pt x="477433" y="6346052"/>
                </a:cubicBezTo>
                <a:cubicBezTo>
                  <a:pt x="478098" y="6344454"/>
                  <a:pt x="478498" y="6342590"/>
                  <a:pt x="478498" y="6340594"/>
                </a:cubicBezTo>
                <a:cubicBezTo>
                  <a:pt x="478498" y="6338730"/>
                  <a:pt x="478098" y="6337000"/>
                  <a:pt x="477433" y="6335403"/>
                </a:cubicBezTo>
                <a:cubicBezTo>
                  <a:pt x="476766" y="6333805"/>
                  <a:pt x="475834" y="6332474"/>
                  <a:pt x="474769" y="6331276"/>
                </a:cubicBezTo>
                <a:cubicBezTo>
                  <a:pt x="473705" y="6330211"/>
                  <a:pt x="472373" y="6329279"/>
                  <a:pt x="470777" y="6328613"/>
                </a:cubicBezTo>
                <a:cubicBezTo>
                  <a:pt x="469312" y="6327948"/>
                  <a:pt x="467714" y="6327682"/>
                  <a:pt x="465717" y="6327682"/>
                </a:cubicBezTo>
                <a:close/>
                <a:moveTo>
                  <a:pt x="248076" y="6327682"/>
                </a:moveTo>
                <a:cubicBezTo>
                  <a:pt x="242219" y="6327682"/>
                  <a:pt x="239691" y="6329545"/>
                  <a:pt x="238094" y="6331276"/>
                </a:cubicBezTo>
                <a:cubicBezTo>
                  <a:pt x="235564" y="6333938"/>
                  <a:pt x="234500" y="6336733"/>
                  <a:pt x="234500" y="6340727"/>
                </a:cubicBezTo>
                <a:cubicBezTo>
                  <a:pt x="234500" y="6344854"/>
                  <a:pt x="235564" y="6347649"/>
                  <a:pt x="238094" y="6350178"/>
                </a:cubicBezTo>
                <a:cubicBezTo>
                  <a:pt x="239691" y="6351777"/>
                  <a:pt x="242219" y="6353640"/>
                  <a:pt x="248076" y="6353640"/>
                </a:cubicBezTo>
                <a:cubicBezTo>
                  <a:pt x="250206" y="6353640"/>
                  <a:pt x="251937" y="6353241"/>
                  <a:pt x="253401" y="6352708"/>
                </a:cubicBezTo>
                <a:cubicBezTo>
                  <a:pt x="254865" y="6352176"/>
                  <a:pt x="256195" y="6351244"/>
                  <a:pt x="257127" y="6350311"/>
                </a:cubicBezTo>
                <a:cubicBezTo>
                  <a:pt x="258192" y="6349113"/>
                  <a:pt x="259124" y="6347782"/>
                  <a:pt x="259790" y="6346052"/>
                </a:cubicBezTo>
                <a:cubicBezTo>
                  <a:pt x="260456" y="6344454"/>
                  <a:pt x="260855" y="6342590"/>
                  <a:pt x="260855" y="6340594"/>
                </a:cubicBezTo>
                <a:cubicBezTo>
                  <a:pt x="260855" y="6338730"/>
                  <a:pt x="260456" y="6337000"/>
                  <a:pt x="259790" y="6335403"/>
                </a:cubicBezTo>
                <a:cubicBezTo>
                  <a:pt x="259124" y="6333805"/>
                  <a:pt x="258192" y="6332474"/>
                  <a:pt x="257127" y="6331276"/>
                </a:cubicBezTo>
                <a:cubicBezTo>
                  <a:pt x="256063" y="6330211"/>
                  <a:pt x="254732" y="6329279"/>
                  <a:pt x="253135" y="6328613"/>
                </a:cubicBezTo>
                <a:cubicBezTo>
                  <a:pt x="251670" y="6327948"/>
                  <a:pt x="250073" y="6327682"/>
                  <a:pt x="248076" y="6327682"/>
                </a:cubicBezTo>
                <a:close/>
                <a:moveTo>
                  <a:pt x="30435" y="6327682"/>
                </a:moveTo>
                <a:cubicBezTo>
                  <a:pt x="24578" y="6327682"/>
                  <a:pt x="22049" y="6329545"/>
                  <a:pt x="20452" y="6331276"/>
                </a:cubicBezTo>
                <a:cubicBezTo>
                  <a:pt x="17922" y="6333938"/>
                  <a:pt x="16859" y="6336733"/>
                  <a:pt x="16859" y="6340727"/>
                </a:cubicBezTo>
                <a:cubicBezTo>
                  <a:pt x="16859" y="6344854"/>
                  <a:pt x="17922" y="6347649"/>
                  <a:pt x="20452" y="6350178"/>
                </a:cubicBezTo>
                <a:cubicBezTo>
                  <a:pt x="22049" y="6351777"/>
                  <a:pt x="24578" y="6353640"/>
                  <a:pt x="30435" y="6353640"/>
                </a:cubicBezTo>
                <a:cubicBezTo>
                  <a:pt x="32565" y="6353640"/>
                  <a:pt x="34296" y="6353241"/>
                  <a:pt x="35760" y="6352708"/>
                </a:cubicBezTo>
                <a:cubicBezTo>
                  <a:pt x="37224" y="6352176"/>
                  <a:pt x="38556" y="6351244"/>
                  <a:pt x="39487" y="6350311"/>
                </a:cubicBezTo>
                <a:cubicBezTo>
                  <a:pt x="40552" y="6349113"/>
                  <a:pt x="41484" y="6347782"/>
                  <a:pt x="42150" y="6346052"/>
                </a:cubicBezTo>
                <a:cubicBezTo>
                  <a:pt x="42815" y="6344454"/>
                  <a:pt x="43081" y="6342590"/>
                  <a:pt x="43081" y="6340594"/>
                </a:cubicBezTo>
                <a:cubicBezTo>
                  <a:pt x="43081" y="6338730"/>
                  <a:pt x="42815" y="6337000"/>
                  <a:pt x="42150" y="6335403"/>
                </a:cubicBezTo>
                <a:cubicBezTo>
                  <a:pt x="41484" y="6333805"/>
                  <a:pt x="40552" y="6332474"/>
                  <a:pt x="39487" y="6331276"/>
                </a:cubicBezTo>
                <a:cubicBezTo>
                  <a:pt x="38422" y="6330211"/>
                  <a:pt x="37091" y="6329279"/>
                  <a:pt x="35494" y="6328613"/>
                </a:cubicBezTo>
                <a:cubicBezTo>
                  <a:pt x="34030" y="6327948"/>
                  <a:pt x="32432" y="6327682"/>
                  <a:pt x="30435" y="6327682"/>
                </a:cubicBezTo>
                <a:close/>
                <a:moveTo>
                  <a:pt x="10475977" y="6311042"/>
                </a:moveTo>
                <a:cubicBezTo>
                  <a:pt x="10480237" y="6311042"/>
                  <a:pt x="10484230" y="6311708"/>
                  <a:pt x="10487824" y="6313305"/>
                </a:cubicBezTo>
                <a:cubicBezTo>
                  <a:pt x="10491419" y="6314902"/>
                  <a:pt x="10494613" y="6317032"/>
                  <a:pt x="10497143" y="6319694"/>
                </a:cubicBezTo>
                <a:cubicBezTo>
                  <a:pt x="10499672" y="6322224"/>
                  <a:pt x="10501801" y="6325419"/>
                  <a:pt x="10503266" y="6329013"/>
                </a:cubicBezTo>
                <a:cubicBezTo>
                  <a:pt x="10504730" y="6332607"/>
                  <a:pt x="10505529" y="6336467"/>
                  <a:pt x="10505529" y="6340461"/>
                </a:cubicBezTo>
                <a:cubicBezTo>
                  <a:pt x="10505529" y="6344588"/>
                  <a:pt x="10504730" y="6348581"/>
                  <a:pt x="10503266" y="6352176"/>
                </a:cubicBezTo>
                <a:cubicBezTo>
                  <a:pt x="10501669" y="6355903"/>
                  <a:pt x="10499672" y="6358965"/>
                  <a:pt x="10497143" y="6361627"/>
                </a:cubicBezTo>
                <a:cubicBezTo>
                  <a:pt x="10494480" y="6364290"/>
                  <a:pt x="10491419" y="6366419"/>
                  <a:pt x="10487824" y="6367884"/>
                </a:cubicBezTo>
                <a:cubicBezTo>
                  <a:pt x="10484098" y="6369348"/>
                  <a:pt x="10480237" y="6370147"/>
                  <a:pt x="10475977" y="6370147"/>
                </a:cubicBezTo>
                <a:cubicBezTo>
                  <a:pt x="10466924" y="6370147"/>
                  <a:pt x="10459736" y="6367351"/>
                  <a:pt x="10454145" y="6361760"/>
                </a:cubicBezTo>
                <a:cubicBezTo>
                  <a:pt x="10448554" y="6356170"/>
                  <a:pt x="10445759" y="6349113"/>
                  <a:pt x="10445759" y="6340594"/>
                </a:cubicBezTo>
                <a:cubicBezTo>
                  <a:pt x="10445759" y="6332341"/>
                  <a:pt x="10448554" y="6325286"/>
                  <a:pt x="10454145" y="6319562"/>
                </a:cubicBezTo>
                <a:cubicBezTo>
                  <a:pt x="10459603" y="6313838"/>
                  <a:pt x="10466924" y="6311042"/>
                  <a:pt x="10475977" y="6311042"/>
                </a:cubicBezTo>
                <a:close/>
                <a:moveTo>
                  <a:pt x="10258466" y="6311042"/>
                </a:moveTo>
                <a:cubicBezTo>
                  <a:pt x="10262592" y="6311042"/>
                  <a:pt x="10266586" y="6311708"/>
                  <a:pt x="10270313" y="6313305"/>
                </a:cubicBezTo>
                <a:cubicBezTo>
                  <a:pt x="10273907" y="6314902"/>
                  <a:pt x="10277101" y="6317032"/>
                  <a:pt x="10279631" y="6319694"/>
                </a:cubicBezTo>
                <a:cubicBezTo>
                  <a:pt x="10282160" y="6322224"/>
                  <a:pt x="10284290" y="6325419"/>
                  <a:pt x="10285754" y="6329013"/>
                </a:cubicBezTo>
                <a:cubicBezTo>
                  <a:pt x="10287218" y="6332607"/>
                  <a:pt x="10288017" y="6336467"/>
                  <a:pt x="10288017" y="6340461"/>
                </a:cubicBezTo>
                <a:cubicBezTo>
                  <a:pt x="10288017" y="6344588"/>
                  <a:pt x="10287218" y="6348581"/>
                  <a:pt x="10285754" y="6352176"/>
                </a:cubicBezTo>
                <a:cubicBezTo>
                  <a:pt x="10284157" y="6355903"/>
                  <a:pt x="10282160" y="6358965"/>
                  <a:pt x="10279631" y="6361627"/>
                </a:cubicBezTo>
                <a:cubicBezTo>
                  <a:pt x="10276969" y="6364290"/>
                  <a:pt x="10273907" y="6366419"/>
                  <a:pt x="10270313" y="6367884"/>
                </a:cubicBezTo>
                <a:cubicBezTo>
                  <a:pt x="10266586" y="6369348"/>
                  <a:pt x="10262725" y="6370147"/>
                  <a:pt x="10258466" y="6370147"/>
                </a:cubicBezTo>
                <a:cubicBezTo>
                  <a:pt x="10249546" y="6370147"/>
                  <a:pt x="10242224" y="6367351"/>
                  <a:pt x="10236633" y="6361760"/>
                </a:cubicBezTo>
                <a:cubicBezTo>
                  <a:pt x="10231043" y="6356170"/>
                  <a:pt x="10228247" y="6349113"/>
                  <a:pt x="10228247" y="6340594"/>
                </a:cubicBezTo>
                <a:cubicBezTo>
                  <a:pt x="10228247" y="6332341"/>
                  <a:pt x="10231043" y="6325286"/>
                  <a:pt x="10236633" y="6319562"/>
                </a:cubicBezTo>
                <a:cubicBezTo>
                  <a:pt x="10242092" y="6313838"/>
                  <a:pt x="10249413" y="6311042"/>
                  <a:pt x="10258466" y="6311042"/>
                </a:cubicBezTo>
                <a:close/>
                <a:moveTo>
                  <a:pt x="10040820" y="6311042"/>
                </a:moveTo>
                <a:cubicBezTo>
                  <a:pt x="10045080" y="6311042"/>
                  <a:pt x="10048941" y="6311708"/>
                  <a:pt x="10052534" y="6313305"/>
                </a:cubicBezTo>
                <a:cubicBezTo>
                  <a:pt x="10056129" y="6314902"/>
                  <a:pt x="10059323" y="6317032"/>
                  <a:pt x="10061852" y="6319694"/>
                </a:cubicBezTo>
                <a:cubicBezTo>
                  <a:pt x="10064382" y="6322224"/>
                  <a:pt x="10066512" y="6325419"/>
                  <a:pt x="10067976" y="6329013"/>
                </a:cubicBezTo>
                <a:cubicBezTo>
                  <a:pt x="10069440" y="6332607"/>
                  <a:pt x="10070239" y="6336467"/>
                  <a:pt x="10070239" y="6340461"/>
                </a:cubicBezTo>
                <a:cubicBezTo>
                  <a:pt x="10070239" y="6344588"/>
                  <a:pt x="10069440" y="6348581"/>
                  <a:pt x="10067976" y="6352176"/>
                </a:cubicBezTo>
                <a:cubicBezTo>
                  <a:pt x="10066379" y="6355903"/>
                  <a:pt x="10064382" y="6358965"/>
                  <a:pt x="10061852" y="6361627"/>
                </a:cubicBezTo>
                <a:cubicBezTo>
                  <a:pt x="10059190" y="6364290"/>
                  <a:pt x="10056129" y="6366419"/>
                  <a:pt x="10052534" y="6367884"/>
                </a:cubicBezTo>
                <a:cubicBezTo>
                  <a:pt x="10048941" y="6369348"/>
                  <a:pt x="10045080" y="6370147"/>
                  <a:pt x="10040820" y="6370147"/>
                </a:cubicBezTo>
                <a:cubicBezTo>
                  <a:pt x="10031767" y="6370147"/>
                  <a:pt x="10024579" y="6367351"/>
                  <a:pt x="10018988" y="6361760"/>
                </a:cubicBezTo>
                <a:cubicBezTo>
                  <a:pt x="10013397" y="6356170"/>
                  <a:pt x="10010602" y="6349113"/>
                  <a:pt x="10010602" y="6340594"/>
                </a:cubicBezTo>
                <a:cubicBezTo>
                  <a:pt x="10010602" y="6332341"/>
                  <a:pt x="10013397" y="6325286"/>
                  <a:pt x="10018988" y="6319562"/>
                </a:cubicBezTo>
                <a:cubicBezTo>
                  <a:pt x="10024579" y="6313838"/>
                  <a:pt x="10031767" y="6311042"/>
                  <a:pt x="10040820" y="6311042"/>
                </a:cubicBezTo>
                <a:close/>
                <a:moveTo>
                  <a:pt x="9823176" y="6311042"/>
                </a:moveTo>
                <a:cubicBezTo>
                  <a:pt x="9827435" y="6311042"/>
                  <a:pt x="9831296" y="6311708"/>
                  <a:pt x="9834890" y="6313305"/>
                </a:cubicBezTo>
                <a:cubicBezTo>
                  <a:pt x="9838617" y="6314902"/>
                  <a:pt x="9841679" y="6317032"/>
                  <a:pt x="9844208" y="6319694"/>
                </a:cubicBezTo>
                <a:cubicBezTo>
                  <a:pt x="9846737" y="6322224"/>
                  <a:pt x="9848867" y="6325419"/>
                  <a:pt x="9850331" y="6329013"/>
                </a:cubicBezTo>
                <a:cubicBezTo>
                  <a:pt x="9851796" y="6332607"/>
                  <a:pt x="9852595" y="6336467"/>
                  <a:pt x="9852595" y="6340461"/>
                </a:cubicBezTo>
                <a:cubicBezTo>
                  <a:pt x="9852595" y="6344588"/>
                  <a:pt x="9851796" y="6348581"/>
                  <a:pt x="9850331" y="6352176"/>
                </a:cubicBezTo>
                <a:cubicBezTo>
                  <a:pt x="9848734" y="6355903"/>
                  <a:pt x="9846737" y="6358965"/>
                  <a:pt x="9844208" y="6361627"/>
                </a:cubicBezTo>
                <a:cubicBezTo>
                  <a:pt x="9841546" y="6364290"/>
                  <a:pt x="9838484" y="6366419"/>
                  <a:pt x="9834890" y="6367884"/>
                </a:cubicBezTo>
                <a:cubicBezTo>
                  <a:pt x="9831296" y="6369348"/>
                  <a:pt x="9827435" y="6370147"/>
                  <a:pt x="9823176" y="6370147"/>
                </a:cubicBezTo>
                <a:cubicBezTo>
                  <a:pt x="9814123" y="6370147"/>
                  <a:pt x="9806935" y="6367351"/>
                  <a:pt x="9801343" y="6361760"/>
                </a:cubicBezTo>
                <a:cubicBezTo>
                  <a:pt x="9795753" y="6356170"/>
                  <a:pt x="9792957" y="6349113"/>
                  <a:pt x="9792957" y="6340594"/>
                </a:cubicBezTo>
                <a:cubicBezTo>
                  <a:pt x="9792957" y="6332341"/>
                  <a:pt x="9795753" y="6325286"/>
                  <a:pt x="9801343" y="6319562"/>
                </a:cubicBezTo>
                <a:cubicBezTo>
                  <a:pt x="9806935" y="6313838"/>
                  <a:pt x="9814123" y="6311042"/>
                  <a:pt x="9823176" y="6311042"/>
                </a:cubicBezTo>
                <a:close/>
                <a:moveTo>
                  <a:pt x="9605531" y="6311042"/>
                </a:moveTo>
                <a:cubicBezTo>
                  <a:pt x="9609790" y="6311042"/>
                  <a:pt x="9613784" y="6311708"/>
                  <a:pt x="9617245" y="6313305"/>
                </a:cubicBezTo>
                <a:cubicBezTo>
                  <a:pt x="9620839" y="6314902"/>
                  <a:pt x="9624033" y="6317032"/>
                  <a:pt x="9626562" y="6319694"/>
                </a:cubicBezTo>
                <a:cubicBezTo>
                  <a:pt x="9629092" y="6322224"/>
                  <a:pt x="9631222" y="6325419"/>
                  <a:pt x="9632686" y="6329013"/>
                </a:cubicBezTo>
                <a:cubicBezTo>
                  <a:pt x="9634150" y="6332607"/>
                  <a:pt x="9634949" y="6336467"/>
                  <a:pt x="9634949" y="6340461"/>
                </a:cubicBezTo>
                <a:cubicBezTo>
                  <a:pt x="9634949" y="6344588"/>
                  <a:pt x="9634150" y="6348581"/>
                  <a:pt x="9632686" y="6352176"/>
                </a:cubicBezTo>
                <a:cubicBezTo>
                  <a:pt x="9631089" y="6355903"/>
                  <a:pt x="9629092" y="6358965"/>
                  <a:pt x="9626562" y="6361627"/>
                </a:cubicBezTo>
                <a:cubicBezTo>
                  <a:pt x="9623901" y="6364290"/>
                  <a:pt x="9620839" y="6366419"/>
                  <a:pt x="9617245" y="6367884"/>
                </a:cubicBezTo>
                <a:cubicBezTo>
                  <a:pt x="9613651" y="6369348"/>
                  <a:pt x="9609790" y="6370147"/>
                  <a:pt x="9605531" y="6370147"/>
                </a:cubicBezTo>
                <a:cubicBezTo>
                  <a:pt x="9596610" y="6370147"/>
                  <a:pt x="9589289" y="6367351"/>
                  <a:pt x="9583698" y="6361760"/>
                </a:cubicBezTo>
                <a:cubicBezTo>
                  <a:pt x="9578108" y="6356170"/>
                  <a:pt x="9575312" y="6349113"/>
                  <a:pt x="9575312" y="6340594"/>
                </a:cubicBezTo>
                <a:cubicBezTo>
                  <a:pt x="9575312" y="6332341"/>
                  <a:pt x="9578108" y="6325286"/>
                  <a:pt x="9583698" y="6319562"/>
                </a:cubicBezTo>
                <a:cubicBezTo>
                  <a:pt x="9589289" y="6313838"/>
                  <a:pt x="9596478" y="6311042"/>
                  <a:pt x="9605531" y="6311042"/>
                </a:cubicBezTo>
                <a:close/>
                <a:moveTo>
                  <a:pt x="9387885" y="6311042"/>
                </a:moveTo>
                <a:cubicBezTo>
                  <a:pt x="9392145" y="6311042"/>
                  <a:pt x="9396138" y="6311708"/>
                  <a:pt x="9399599" y="6313305"/>
                </a:cubicBezTo>
                <a:cubicBezTo>
                  <a:pt x="9403194" y="6314902"/>
                  <a:pt x="9406388" y="6317032"/>
                  <a:pt x="9408917" y="6319694"/>
                </a:cubicBezTo>
                <a:cubicBezTo>
                  <a:pt x="9411447" y="6322224"/>
                  <a:pt x="9413576" y="6325419"/>
                  <a:pt x="9415041" y="6329013"/>
                </a:cubicBezTo>
                <a:cubicBezTo>
                  <a:pt x="9416505" y="6332607"/>
                  <a:pt x="9417304" y="6336467"/>
                  <a:pt x="9417304" y="6340461"/>
                </a:cubicBezTo>
                <a:cubicBezTo>
                  <a:pt x="9417304" y="6344588"/>
                  <a:pt x="9416505" y="6348581"/>
                  <a:pt x="9415041" y="6352176"/>
                </a:cubicBezTo>
                <a:cubicBezTo>
                  <a:pt x="9413444" y="6355903"/>
                  <a:pt x="9411447" y="6358965"/>
                  <a:pt x="9408917" y="6361627"/>
                </a:cubicBezTo>
                <a:cubicBezTo>
                  <a:pt x="9406255" y="6364290"/>
                  <a:pt x="9403194" y="6366419"/>
                  <a:pt x="9399599" y="6367884"/>
                </a:cubicBezTo>
                <a:cubicBezTo>
                  <a:pt x="9396005" y="6369348"/>
                  <a:pt x="9392145" y="6370147"/>
                  <a:pt x="9387885" y="6370147"/>
                </a:cubicBezTo>
                <a:cubicBezTo>
                  <a:pt x="9378965" y="6370147"/>
                  <a:pt x="9371644" y="6367351"/>
                  <a:pt x="9366053" y="6361760"/>
                </a:cubicBezTo>
                <a:cubicBezTo>
                  <a:pt x="9360462" y="6356170"/>
                  <a:pt x="9357667" y="6349113"/>
                  <a:pt x="9357667" y="6340594"/>
                </a:cubicBezTo>
                <a:cubicBezTo>
                  <a:pt x="9357667" y="6332341"/>
                  <a:pt x="9360462" y="6325286"/>
                  <a:pt x="9366053" y="6319562"/>
                </a:cubicBezTo>
                <a:cubicBezTo>
                  <a:pt x="9371644" y="6313838"/>
                  <a:pt x="9378832" y="6311042"/>
                  <a:pt x="9387885" y="6311042"/>
                </a:cubicBezTo>
                <a:close/>
                <a:moveTo>
                  <a:pt x="9170374" y="6311042"/>
                </a:moveTo>
                <a:cubicBezTo>
                  <a:pt x="9174500" y="6311042"/>
                  <a:pt x="9178494" y="6311708"/>
                  <a:pt x="9182088" y="6313305"/>
                </a:cubicBezTo>
                <a:cubicBezTo>
                  <a:pt x="9185682" y="6314902"/>
                  <a:pt x="9188876" y="6317032"/>
                  <a:pt x="9191405" y="6319694"/>
                </a:cubicBezTo>
                <a:cubicBezTo>
                  <a:pt x="9193935" y="6322224"/>
                  <a:pt x="9196065" y="6325419"/>
                  <a:pt x="9197529" y="6329013"/>
                </a:cubicBezTo>
                <a:cubicBezTo>
                  <a:pt x="9198993" y="6332607"/>
                  <a:pt x="9199792" y="6336467"/>
                  <a:pt x="9199792" y="6340461"/>
                </a:cubicBezTo>
                <a:cubicBezTo>
                  <a:pt x="9199792" y="6344588"/>
                  <a:pt x="9198993" y="6348581"/>
                  <a:pt x="9197529" y="6352176"/>
                </a:cubicBezTo>
                <a:cubicBezTo>
                  <a:pt x="9195932" y="6355903"/>
                  <a:pt x="9193935" y="6358965"/>
                  <a:pt x="9191405" y="6361627"/>
                </a:cubicBezTo>
                <a:cubicBezTo>
                  <a:pt x="9188744" y="6364290"/>
                  <a:pt x="9185682" y="6366419"/>
                  <a:pt x="9182088" y="6367884"/>
                </a:cubicBezTo>
                <a:cubicBezTo>
                  <a:pt x="9178494" y="6369348"/>
                  <a:pt x="9174633" y="6370147"/>
                  <a:pt x="9170374" y="6370147"/>
                </a:cubicBezTo>
                <a:cubicBezTo>
                  <a:pt x="9161453" y="6370147"/>
                  <a:pt x="9154132" y="6367351"/>
                  <a:pt x="9148541" y="6361760"/>
                </a:cubicBezTo>
                <a:cubicBezTo>
                  <a:pt x="9142951" y="6356170"/>
                  <a:pt x="9140155" y="6349113"/>
                  <a:pt x="9140155" y="6340594"/>
                </a:cubicBezTo>
                <a:cubicBezTo>
                  <a:pt x="9140155" y="6332341"/>
                  <a:pt x="9142951" y="6325286"/>
                  <a:pt x="9148541" y="6319562"/>
                </a:cubicBezTo>
                <a:cubicBezTo>
                  <a:pt x="9154132" y="6313838"/>
                  <a:pt x="9161321" y="6311042"/>
                  <a:pt x="9170374" y="6311042"/>
                </a:cubicBezTo>
                <a:close/>
                <a:moveTo>
                  <a:pt x="8952728" y="6311042"/>
                </a:moveTo>
                <a:cubicBezTo>
                  <a:pt x="8956988" y="6311042"/>
                  <a:pt x="8960849" y="6311708"/>
                  <a:pt x="8964442" y="6313305"/>
                </a:cubicBezTo>
                <a:cubicBezTo>
                  <a:pt x="8968037" y="6314902"/>
                  <a:pt x="8971231" y="6317032"/>
                  <a:pt x="8973760" y="6319694"/>
                </a:cubicBezTo>
                <a:cubicBezTo>
                  <a:pt x="8976290" y="6322224"/>
                  <a:pt x="8978419" y="6325419"/>
                  <a:pt x="8979884" y="6329013"/>
                </a:cubicBezTo>
                <a:cubicBezTo>
                  <a:pt x="8981348" y="6332607"/>
                  <a:pt x="8982147" y="6336467"/>
                  <a:pt x="8982147" y="6340461"/>
                </a:cubicBezTo>
                <a:cubicBezTo>
                  <a:pt x="8982147" y="6344588"/>
                  <a:pt x="8981348" y="6348581"/>
                  <a:pt x="8979884" y="6352176"/>
                </a:cubicBezTo>
                <a:cubicBezTo>
                  <a:pt x="8978287" y="6355903"/>
                  <a:pt x="8976290" y="6358965"/>
                  <a:pt x="8973760" y="6361627"/>
                </a:cubicBezTo>
                <a:cubicBezTo>
                  <a:pt x="8971098" y="6364290"/>
                  <a:pt x="8968037" y="6366419"/>
                  <a:pt x="8964442" y="6367884"/>
                </a:cubicBezTo>
                <a:cubicBezTo>
                  <a:pt x="8960849" y="6369348"/>
                  <a:pt x="8956988" y="6370147"/>
                  <a:pt x="8952728" y="6370147"/>
                </a:cubicBezTo>
                <a:cubicBezTo>
                  <a:pt x="8943808" y="6370147"/>
                  <a:pt x="8936487" y="6367351"/>
                  <a:pt x="8930896" y="6361760"/>
                </a:cubicBezTo>
                <a:cubicBezTo>
                  <a:pt x="8925305" y="6356170"/>
                  <a:pt x="8922510" y="6349113"/>
                  <a:pt x="8922510" y="6340594"/>
                </a:cubicBezTo>
                <a:cubicBezTo>
                  <a:pt x="8922510" y="6332341"/>
                  <a:pt x="8925305" y="6325286"/>
                  <a:pt x="8930896" y="6319562"/>
                </a:cubicBezTo>
                <a:cubicBezTo>
                  <a:pt x="8936487" y="6313838"/>
                  <a:pt x="8943675" y="6311042"/>
                  <a:pt x="8952728" y="6311042"/>
                </a:cubicBezTo>
                <a:close/>
                <a:moveTo>
                  <a:pt x="8735083" y="6311042"/>
                </a:moveTo>
                <a:cubicBezTo>
                  <a:pt x="8739342" y="6311042"/>
                  <a:pt x="8743203" y="6311708"/>
                  <a:pt x="8746797" y="6313305"/>
                </a:cubicBezTo>
                <a:cubicBezTo>
                  <a:pt x="8750391" y="6314902"/>
                  <a:pt x="8753586" y="6317032"/>
                  <a:pt x="8756115" y="6319694"/>
                </a:cubicBezTo>
                <a:cubicBezTo>
                  <a:pt x="8758644" y="6322224"/>
                  <a:pt x="8760774" y="6325419"/>
                  <a:pt x="8762238" y="6329013"/>
                </a:cubicBezTo>
                <a:cubicBezTo>
                  <a:pt x="8763702" y="6332607"/>
                  <a:pt x="8764502" y="6336467"/>
                  <a:pt x="8764502" y="6340461"/>
                </a:cubicBezTo>
                <a:cubicBezTo>
                  <a:pt x="8764502" y="6344588"/>
                  <a:pt x="8763702" y="6348581"/>
                  <a:pt x="8762238" y="6352176"/>
                </a:cubicBezTo>
                <a:cubicBezTo>
                  <a:pt x="8760641" y="6355903"/>
                  <a:pt x="8758644" y="6358965"/>
                  <a:pt x="8756115" y="6361627"/>
                </a:cubicBezTo>
                <a:cubicBezTo>
                  <a:pt x="8753453" y="6364290"/>
                  <a:pt x="8750391" y="6366419"/>
                  <a:pt x="8746797" y="6367884"/>
                </a:cubicBezTo>
                <a:cubicBezTo>
                  <a:pt x="8743203" y="6369348"/>
                  <a:pt x="8739342" y="6370147"/>
                  <a:pt x="8735083" y="6370147"/>
                </a:cubicBezTo>
                <a:cubicBezTo>
                  <a:pt x="8726030" y="6370147"/>
                  <a:pt x="8718841" y="6367351"/>
                  <a:pt x="8713250" y="6361760"/>
                </a:cubicBezTo>
                <a:cubicBezTo>
                  <a:pt x="8707660" y="6356170"/>
                  <a:pt x="8704864" y="6349113"/>
                  <a:pt x="8704864" y="6340594"/>
                </a:cubicBezTo>
                <a:cubicBezTo>
                  <a:pt x="8704864" y="6332341"/>
                  <a:pt x="8707660" y="6325286"/>
                  <a:pt x="8713250" y="6319562"/>
                </a:cubicBezTo>
                <a:cubicBezTo>
                  <a:pt x="8718841" y="6313838"/>
                  <a:pt x="8726030" y="6311042"/>
                  <a:pt x="8735083" y="6311042"/>
                </a:cubicBezTo>
                <a:close/>
                <a:moveTo>
                  <a:pt x="8517438" y="6311042"/>
                </a:moveTo>
                <a:cubicBezTo>
                  <a:pt x="8521698" y="6311042"/>
                  <a:pt x="8525559" y="6311708"/>
                  <a:pt x="8529152" y="6313305"/>
                </a:cubicBezTo>
                <a:cubicBezTo>
                  <a:pt x="8532880" y="6314902"/>
                  <a:pt x="8535941" y="6317032"/>
                  <a:pt x="8538470" y="6319694"/>
                </a:cubicBezTo>
                <a:cubicBezTo>
                  <a:pt x="8541000" y="6322224"/>
                  <a:pt x="8543130" y="6325419"/>
                  <a:pt x="8544594" y="6329013"/>
                </a:cubicBezTo>
                <a:cubicBezTo>
                  <a:pt x="8546058" y="6332607"/>
                  <a:pt x="8546857" y="6336467"/>
                  <a:pt x="8546857" y="6340461"/>
                </a:cubicBezTo>
                <a:cubicBezTo>
                  <a:pt x="8546857" y="6344588"/>
                  <a:pt x="8546058" y="6348581"/>
                  <a:pt x="8544594" y="6352176"/>
                </a:cubicBezTo>
                <a:cubicBezTo>
                  <a:pt x="8542997" y="6355903"/>
                  <a:pt x="8541000" y="6358965"/>
                  <a:pt x="8538470" y="6361627"/>
                </a:cubicBezTo>
                <a:cubicBezTo>
                  <a:pt x="8535808" y="6364290"/>
                  <a:pt x="8532747" y="6366419"/>
                  <a:pt x="8529152" y="6367884"/>
                </a:cubicBezTo>
                <a:cubicBezTo>
                  <a:pt x="8525559" y="6369348"/>
                  <a:pt x="8521698" y="6370147"/>
                  <a:pt x="8517438" y="6370147"/>
                </a:cubicBezTo>
                <a:cubicBezTo>
                  <a:pt x="8508385" y="6370147"/>
                  <a:pt x="8501197" y="6367351"/>
                  <a:pt x="8495606" y="6361760"/>
                </a:cubicBezTo>
                <a:cubicBezTo>
                  <a:pt x="8490015" y="6356170"/>
                  <a:pt x="8487220" y="6349113"/>
                  <a:pt x="8487220" y="6340594"/>
                </a:cubicBezTo>
                <a:cubicBezTo>
                  <a:pt x="8487220" y="6332341"/>
                  <a:pt x="8490015" y="6325286"/>
                  <a:pt x="8495606" y="6319562"/>
                </a:cubicBezTo>
                <a:cubicBezTo>
                  <a:pt x="8501197" y="6313838"/>
                  <a:pt x="8508385" y="6311042"/>
                  <a:pt x="8517438" y="6311042"/>
                </a:cubicBezTo>
                <a:close/>
                <a:moveTo>
                  <a:pt x="8299793" y="6311042"/>
                </a:moveTo>
                <a:cubicBezTo>
                  <a:pt x="8304052" y="6311042"/>
                  <a:pt x="8308046" y="6311708"/>
                  <a:pt x="8311507" y="6313305"/>
                </a:cubicBezTo>
                <a:cubicBezTo>
                  <a:pt x="8315235" y="6314902"/>
                  <a:pt x="8318296" y="6317032"/>
                  <a:pt x="8320825" y="6319694"/>
                </a:cubicBezTo>
                <a:cubicBezTo>
                  <a:pt x="8323354" y="6322224"/>
                  <a:pt x="8325484" y="6325419"/>
                  <a:pt x="8326948" y="6329013"/>
                </a:cubicBezTo>
                <a:cubicBezTo>
                  <a:pt x="8328413" y="6332607"/>
                  <a:pt x="8329212" y="6336467"/>
                  <a:pt x="8329212" y="6340461"/>
                </a:cubicBezTo>
                <a:cubicBezTo>
                  <a:pt x="8329212" y="6344588"/>
                  <a:pt x="8328413" y="6348581"/>
                  <a:pt x="8326948" y="6352176"/>
                </a:cubicBezTo>
                <a:cubicBezTo>
                  <a:pt x="8325351" y="6355903"/>
                  <a:pt x="8323354" y="6358965"/>
                  <a:pt x="8320825" y="6361627"/>
                </a:cubicBezTo>
                <a:cubicBezTo>
                  <a:pt x="8318163" y="6364290"/>
                  <a:pt x="8315101" y="6366419"/>
                  <a:pt x="8311507" y="6367884"/>
                </a:cubicBezTo>
                <a:cubicBezTo>
                  <a:pt x="8307913" y="6369348"/>
                  <a:pt x="8304052" y="6370147"/>
                  <a:pt x="8299793" y="6370147"/>
                </a:cubicBezTo>
                <a:cubicBezTo>
                  <a:pt x="8290874" y="6370147"/>
                  <a:pt x="8283553" y="6367351"/>
                  <a:pt x="8277960" y="6361760"/>
                </a:cubicBezTo>
                <a:cubicBezTo>
                  <a:pt x="8272370" y="6356170"/>
                  <a:pt x="8269574" y="6349113"/>
                  <a:pt x="8269574" y="6340594"/>
                </a:cubicBezTo>
                <a:cubicBezTo>
                  <a:pt x="8269574" y="6332341"/>
                  <a:pt x="8272370" y="6325286"/>
                  <a:pt x="8277960" y="6319562"/>
                </a:cubicBezTo>
                <a:cubicBezTo>
                  <a:pt x="8283553" y="6313838"/>
                  <a:pt x="8290741" y="6311042"/>
                  <a:pt x="8299793" y="6311042"/>
                </a:cubicBezTo>
                <a:close/>
                <a:moveTo>
                  <a:pt x="8082281" y="6311042"/>
                </a:moveTo>
                <a:cubicBezTo>
                  <a:pt x="8086407" y="6311042"/>
                  <a:pt x="8090401" y="6311708"/>
                  <a:pt x="8094127" y="6313305"/>
                </a:cubicBezTo>
                <a:cubicBezTo>
                  <a:pt x="8097855" y="6314902"/>
                  <a:pt x="8100916" y="6317032"/>
                  <a:pt x="8103446" y="6319694"/>
                </a:cubicBezTo>
                <a:cubicBezTo>
                  <a:pt x="8105975" y="6322224"/>
                  <a:pt x="8108104" y="6325419"/>
                  <a:pt x="8109569" y="6329013"/>
                </a:cubicBezTo>
                <a:cubicBezTo>
                  <a:pt x="8111033" y="6332607"/>
                  <a:pt x="8111832" y="6336467"/>
                  <a:pt x="8111832" y="6340461"/>
                </a:cubicBezTo>
                <a:cubicBezTo>
                  <a:pt x="8111832" y="6344588"/>
                  <a:pt x="8111033" y="6348581"/>
                  <a:pt x="8109569" y="6352176"/>
                </a:cubicBezTo>
                <a:cubicBezTo>
                  <a:pt x="8107972" y="6355903"/>
                  <a:pt x="8105975" y="6358965"/>
                  <a:pt x="8103446" y="6361627"/>
                </a:cubicBezTo>
                <a:cubicBezTo>
                  <a:pt x="8100783" y="6364290"/>
                  <a:pt x="8097722" y="6366419"/>
                  <a:pt x="8094127" y="6367884"/>
                </a:cubicBezTo>
                <a:cubicBezTo>
                  <a:pt x="8090401" y="6369348"/>
                  <a:pt x="8086540" y="6370147"/>
                  <a:pt x="8082281" y="6370147"/>
                </a:cubicBezTo>
                <a:cubicBezTo>
                  <a:pt x="8073361" y="6370147"/>
                  <a:pt x="8066040" y="6367351"/>
                  <a:pt x="8060448" y="6361760"/>
                </a:cubicBezTo>
                <a:cubicBezTo>
                  <a:pt x="8054857" y="6356170"/>
                  <a:pt x="8052062" y="6349113"/>
                  <a:pt x="8052062" y="6340594"/>
                </a:cubicBezTo>
                <a:cubicBezTo>
                  <a:pt x="8052062" y="6332341"/>
                  <a:pt x="8054857" y="6325286"/>
                  <a:pt x="8060448" y="6319562"/>
                </a:cubicBezTo>
                <a:cubicBezTo>
                  <a:pt x="8066040" y="6313838"/>
                  <a:pt x="8073228" y="6311042"/>
                  <a:pt x="8082281" y="6311042"/>
                </a:cubicBezTo>
                <a:close/>
                <a:moveTo>
                  <a:pt x="7864636" y="6311042"/>
                </a:moveTo>
                <a:cubicBezTo>
                  <a:pt x="7868762" y="6311042"/>
                  <a:pt x="7872756" y="6311708"/>
                  <a:pt x="7876483" y="6313305"/>
                </a:cubicBezTo>
                <a:cubicBezTo>
                  <a:pt x="7880210" y="6314902"/>
                  <a:pt x="7883272" y="6317032"/>
                  <a:pt x="7885802" y="6319694"/>
                </a:cubicBezTo>
                <a:cubicBezTo>
                  <a:pt x="7888331" y="6322224"/>
                  <a:pt x="7890460" y="6325419"/>
                  <a:pt x="7891924" y="6329013"/>
                </a:cubicBezTo>
                <a:cubicBezTo>
                  <a:pt x="7893389" y="6332607"/>
                  <a:pt x="7894188" y="6336467"/>
                  <a:pt x="7894188" y="6340461"/>
                </a:cubicBezTo>
                <a:cubicBezTo>
                  <a:pt x="7894188" y="6344588"/>
                  <a:pt x="7893389" y="6348581"/>
                  <a:pt x="7891924" y="6352176"/>
                </a:cubicBezTo>
                <a:cubicBezTo>
                  <a:pt x="7890327" y="6355903"/>
                  <a:pt x="7888331" y="6358965"/>
                  <a:pt x="7885802" y="6361627"/>
                </a:cubicBezTo>
                <a:cubicBezTo>
                  <a:pt x="7883139" y="6364290"/>
                  <a:pt x="7880078" y="6366419"/>
                  <a:pt x="7876483" y="6367884"/>
                </a:cubicBezTo>
                <a:cubicBezTo>
                  <a:pt x="7872756" y="6369348"/>
                  <a:pt x="7868895" y="6370147"/>
                  <a:pt x="7864636" y="6370147"/>
                </a:cubicBezTo>
                <a:cubicBezTo>
                  <a:pt x="7855717" y="6370147"/>
                  <a:pt x="7848396" y="6367351"/>
                  <a:pt x="7842803" y="6361760"/>
                </a:cubicBezTo>
                <a:cubicBezTo>
                  <a:pt x="7837213" y="6356170"/>
                  <a:pt x="7834417" y="6349113"/>
                  <a:pt x="7834417" y="6340594"/>
                </a:cubicBezTo>
                <a:cubicBezTo>
                  <a:pt x="7834417" y="6332341"/>
                  <a:pt x="7837213" y="6325286"/>
                  <a:pt x="7842803" y="6319562"/>
                </a:cubicBezTo>
                <a:cubicBezTo>
                  <a:pt x="7848396" y="6313838"/>
                  <a:pt x="7855584" y="6311042"/>
                  <a:pt x="7864636" y="6311042"/>
                </a:cubicBezTo>
                <a:close/>
                <a:moveTo>
                  <a:pt x="7646991" y="6311042"/>
                </a:moveTo>
                <a:cubicBezTo>
                  <a:pt x="7651250" y="6311042"/>
                  <a:pt x="7655111" y="6311708"/>
                  <a:pt x="7658705" y="6313305"/>
                </a:cubicBezTo>
                <a:cubicBezTo>
                  <a:pt x="7662432" y="6314902"/>
                  <a:pt x="7665493" y="6317032"/>
                  <a:pt x="7668022" y="6319694"/>
                </a:cubicBezTo>
                <a:cubicBezTo>
                  <a:pt x="7670552" y="6322224"/>
                  <a:pt x="7672682" y="6325419"/>
                  <a:pt x="7674146" y="6329013"/>
                </a:cubicBezTo>
                <a:cubicBezTo>
                  <a:pt x="7675610" y="6332607"/>
                  <a:pt x="7676409" y="6336467"/>
                  <a:pt x="7676409" y="6340461"/>
                </a:cubicBezTo>
                <a:cubicBezTo>
                  <a:pt x="7676409" y="6344588"/>
                  <a:pt x="7675610" y="6348581"/>
                  <a:pt x="7674146" y="6352176"/>
                </a:cubicBezTo>
                <a:cubicBezTo>
                  <a:pt x="7672549" y="6355903"/>
                  <a:pt x="7670552" y="6358965"/>
                  <a:pt x="7668022" y="6361627"/>
                </a:cubicBezTo>
                <a:cubicBezTo>
                  <a:pt x="7665361" y="6364290"/>
                  <a:pt x="7662299" y="6366419"/>
                  <a:pt x="7658705" y="6367884"/>
                </a:cubicBezTo>
                <a:cubicBezTo>
                  <a:pt x="7655111" y="6369348"/>
                  <a:pt x="7651250" y="6370147"/>
                  <a:pt x="7646991" y="6370147"/>
                </a:cubicBezTo>
                <a:cubicBezTo>
                  <a:pt x="7638071" y="6370147"/>
                  <a:pt x="7630750" y="6367351"/>
                  <a:pt x="7625158" y="6361760"/>
                </a:cubicBezTo>
                <a:cubicBezTo>
                  <a:pt x="7619568" y="6356170"/>
                  <a:pt x="7616772" y="6349113"/>
                  <a:pt x="7616772" y="6340594"/>
                </a:cubicBezTo>
                <a:cubicBezTo>
                  <a:pt x="7616772" y="6332341"/>
                  <a:pt x="7619568" y="6325286"/>
                  <a:pt x="7625158" y="6319562"/>
                </a:cubicBezTo>
                <a:cubicBezTo>
                  <a:pt x="7630750" y="6313838"/>
                  <a:pt x="7637939" y="6311042"/>
                  <a:pt x="7646991" y="6311042"/>
                </a:cubicBezTo>
                <a:close/>
                <a:moveTo>
                  <a:pt x="7429345" y="6311042"/>
                </a:moveTo>
                <a:cubicBezTo>
                  <a:pt x="7433605" y="6311042"/>
                  <a:pt x="7437466" y="6311708"/>
                  <a:pt x="7441059" y="6313305"/>
                </a:cubicBezTo>
                <a:cubicBezTo>
                  <a:pt x="7444787" y="6314902"/>
                  <a:pt x="7447848" y="6317032"/>
                  <a:pt x="7450377" y="6319694"/>
                </a:cubicBezTo>
                <a:cubicBezTo>
                  <a:pt x="7452907" y="6322224"/>
                  <a:pt x="7455036" y="6325419"/>
                  <a:pt x="7456501" y="6329013"/>
                </a:cubicBezTo>
                <a:cubicBezTo>
                  <a:pt x="7457965" y="6332607"/>
                  <a:pt x="7458764" y="6336467"/>
                  <a:pt x="7458764" y="6340461"/>
                </a:cubicBezTo>
                <a:cubicBezTo>
                  <a:pt x="7458764" y="6344588"/>
                  <a:pt x="7457965" y="6348581"/>
                  <a:pt x="7456501" y="6352176"/>
                </a:cubicBezTo>
                <a:cubicBezTo>
                  <a:pt x="7454904" y="6355903"/>
                  <a:pt x="7452907" y="6358965"/>
                  <a:pt x="7450377" y="6361627"/>
                </a:cubicBezTo>
                <a:cubicBezTo>
                  <a:pt x="7447715" y="6364290"/>
                  <a:pt x="7444654" y="6366419"/>
                  <a:pt x="7441059" y="6367884"/>
                </a:cubicBezTo>
                <a:cubicBezTo>
                  <a:pt x="7437466" y="6369348"/>
                  <a:pt x="7433605" y="6370147"/>
                  <a:pt x="7429345" y="6370147"/>
                </a:cubicBezTo>
                <a:cubicBezTo>
                  <a:pt x="7420426" y="6370147"/>
                  <a:pt x="7413105" y="6367351"/>
                  <a:pt x="7407513" y="6361760"/>
                </a:cubicBezTo>
                <a:cubicBezTo>
                  <a:pt x="7401922" y="6356170"/>
                  <a:pt x="7399127" y="6349113"/>
                  <a:pt x="7399127" y="6340594"/>
                </a:cubicBezTo>
                <a:cubicBezTo>
                  <a:pt x="7399127" y="6332341"/>
                  <a:pt x="7401922" y="6325286"/>
                  <a:pt x="7407513" y="6319562"/>
                </a:cubicBezTo>
                <a:cubicBezTo>
                  <a:pt x="7413105" y="6313838"/>
                  <a:pt x="7420293" y="6311042"/>
                  <a:pt x="7429345" y="6311042"/>
                </a:cubicBezTo>
                <a:close/>
                <a:moveTo>
                  <a:pt x="7211701" y="6311042"/>
                </a:moveTo>
                <a:cubicBezTo>
                  <a:pt x="7215960" y="6311042"/>
                  <a:pt x="7219954" y="6311708"/>
                  <a:pt x="7223415" y="6313305"/>
                </a:cubicBezTo>
                <a:cubicBezTo>
                  <a:pt x="7227142" y="6314902"/>
                  <a:pt x="7230204" y="6317032"/>
                  <a:pt x="7232733" y="6319694"/>
                </a:cubicBezTo>
                <a:cubicBezTo>
                  <a:pt x="7235262" y="6322224"/>
                  <a:pt x="7237392" y="6325419"/>
                  <a:pt x="7238856" y="6329013"/>
                </a:cubicBezTo>
                <a:cubicBezTo>
                  <a:pt x="7240321" y="6332607"/>
                  <a:pt x="7241120" y="6336467"/>
                  <a:pt x="7241120" y="6340461"/>
                </a:cubicBezTo>
                <a:cubicBezTo>
                  <a:pt x="7241120" y="6344588"/>
                  <a:pt x="7240321" y="6348581"/>
                  <a:pt x="7238856" y="6352176"/>
                </a:cubicBezTo>
                <a:cubicBezTo>
                  <a:pt x="7237259" y="6355903"/>
                  <a:pt x="7235262" y="6358965"/>
                  <a:pt x="7232733" y="6361627"/>
                </a:cubicBezTo>
                <a:cubicBezTo>
                  <a:pt x="7230071" y="6364290"/>
                  <a:pt x="7227009" y="6366419"/>
                  <a:pt x="7223415" y="6367884"/>
                </a:cubicBezTo>
                <a:cubicBezTo>
                  <a:pt x="7219821" y="6369348"/>
                  <a:pt x="7215960" y="6370147"/>
                  <a:pt x="7211701" y="6370147"/>
                </a:cubicBezTo>
                <a:cubicBezTo>
                  <a:pt x="7202782" y="6370147"/>
                  <a:pt x="7195460" y="6367351"/>
                  <a:pt x="7189868" y="6361760"/>
                </a:cubicBezTo>
                <a:cubicBezTo>
                  <a:pt x="7184278" y="6356170"/>
                  <a:pt x="7181482" y="6349113"/>
                  <a:pt x="7181482" y="6340594"/>
                </a:cubicBezTo>
                <a:cubicBezTo>
                  <a:pt x="7181482" y="6332341"/>
                  <a:pt x="7184278" y="6325286"/>
                  <a:pt x="7189868" y="6319562"/>
                </a:cubicBezTo>
                <a:cubicBezTo>
                  <a:pt x="7195460" y="6313838"/>
                  <a:pt x="7202649" y="6311042"/>
                  <a:pt x="7211701" y="6311042"/>
                </a:cubicBezTo>
                <a:close/>
                <a:moveTo>
                  <a:pt x="6994056" y="6311042"/>
                </a:moveTo>
                <a:cubicBezTo>
                  <a:pt x="6998315" y="6311042"/>
                  <a:pt x="7002309" y="6311708"/>
                  <a:pt x="7005769" y="6313305"/>
                </a:cubicBezTo>
                <a:cubicBezTo>
                  <a:pt x="7009497" y="6314902"/>
                  <a:pt x="7012558" y="6317032"/>
                  <a:pt x="7015087" y="6319694"/>
                </a:cubicBezTo>
                <a:cubicBezTo>
                  <a:pt x="7017617" y="6322224"/>
                  <a:pt x="7019747" y="6325419"/>
                  <a:pt x="7021211" y="6329013"/>
                </a:cubicBezTo>
                <a:cubicBezTo>
                  <a:pt x="7022675" y="6332607"/>
                  <a:pt x="7023474" y="6336467"/>
                  <a:pt x="7023474" y="6340461"/>
                </a:cubicBezTo>
                <a:cubicBezTo>
                  <a:pt x="7023474" y="6344588"/>
                  <a:pt x="7022675" y="6348581"/>
                  <a:pt x="7021211" y="6352176"/>
                </a:cubicBezTo>
                <a:cubicBezTo>
                  <a:pt x="7019614" y="6355903"/>
                  <a:pt x="7017617" y="6358965"/>
                  <a:pt x="7015087" y="6361627"/>
                </a:cubicBezTo>
                <a:cubicBezTo>
                  <a:pt x="7012425" y="6364290"/>
                  <a:pt x="7009364" y="6366419"/>
                  <a:pt x="7005769" y="6367884"/>
                </a:cubicBezTo>
                <a:cubicBezTo>
                  <a:pt x="7002176" y="6369348"/>
                  <a:pt x="6998315" y="6370147"/>
                  <a:pt x="6994056" y="6370147"/>
                </a:cubicBezTo>
                <a:cubicBezTo>
                  <a:pt x="6985136" y="6370147"/>
                  <a:pt x="6977815" y="6367351"/>
                  <a:pt x="6972223" y="6361760"/>
                </a:cubicBezTo>
                <a:cubicBezTo>
                  <a:pt x="6966632" y="6356170"/>
                  <a:pt x="6963837" y="6349113"/>
                  <a:pt x="6963837" y="6340594"/>
                </a:cubicBezTo>
                <a:cubicBezTo>
                  <a:pt x="6963837" y="6332341"/>
                  <a:pt x="6966632" y="6325286"/>
                  <a:pt x="6972223" y="6319562"/>
                </a:cubicBezTo>
                <a:cubicBezTo>
                  <a:pt x="6977815" y="6313838"/>
                  <a:pt x="6985003" y="6311042"/>
                  <a:pt x="6994056" y="6311042"/>
                </a:cubicBezTo>
                <a:close/>
                <a:moveTo>
                  <a:pt x="6776544" y="6311042"/>
                </a:moveTo>
                <a:cubicBezTo>
                  <a:pt x="6780670" y="6311042"/>
                  <a:pt x="6784664" y="6311708"/>
                  <a:pt x="6788258" y="6313305"/>
                </a:cubicBezTo>
                <a:cubicBezTo>
                  <a:pt x="6791985" y="6314902"/>
                  <a:pt x="6795047" y="6317032"/>
                  <a:pt x="6797576" y="6319694"/>
                </a:cubicBezTo>
                <a:cubicBezTo>
                  <a:pt x="6800105" y="6322224"/>
                  <a:pt x="6802235" y="6325419"/>
                  <a:pt x="6803699" y="6329013"/>
                </a:cubicBezTo>
                <a:cubicBezTo>
                  <a:pt x="6805164" y="6332607"/>
                  <a:pt x="6805963" y="6336467"/>
                  <a:pt x="6805963" y="6340461"/>
                </a:cubicBezTo>
                <a:cubicBezTo>
                  <a:pt x="6805963" y="6344588"/>
                  <a:pt x="6805164" y="6348581"/>
                  <a:pt x="6803699" y="6352176"/>
                </a:cubicBezTo>
                <a:cubicBezTo>
                  <a:pt x="6802102" y="6355903"/>
                  <a:pt x="6800105" y="6358965"/>
                  <a:pt x="6797576" y="6361627"/>
                </a:cubicBezTo>
                <a:cubicBezTo>
                  <a:pt x="6794914" y="6364290"/>
                  <a:pt x="6791852" y="6366419"/>
                  <a:pt x="6788258" y="6367884"/>
                </a:cubicBezTo>
                <a:cubicBezTo>
                  <a:pt x="6784664" y="6369348"/>
                  <a:pt x="6780803" y="6370147"/>
                  <a:pt x="6776544" y="6370147"/>
                </a:cubicBezTo>
                <a:cubicBezTo>
                  <a:pt x="6767625" y="6370147"/>
                  <a:pt x="6760303" y="6367351"/>
                  <a:pt x="6754711" y="6361760"/>
                </a:cubicBezTo>
                <a:cubicBezTo>
                  <a:pt x="6749121" y="6356170"/>
                  <a:pt x="6746325" y="6349113"/>
                  <a:pt x="6746325" y="6340594"/>
                </a:cubicBezTo>
                <a:cubicBezTo>
                  <a:pt x="6746325" y="6332341"/>
                  <a:pt x="6749121" y="6325286"/>
                  <a:pt x="6754711" y="6319562"/>
                </a:cubicBezTo>
                <a:cubicBezTo>
                  <a:pt x="6760303" y="6313838"/>
                  <a:pt x="6767492" y="6311042"/>
                  <a:pt x="6776544" y="6311042"/>
                </a:cubicBezTo>
                <a:close/>
                <a:moveTo>
                  <a:pt x="6558899" y="6311042"/>
                </a:moveTo>
                <a:cubicBezTo>
                  <a:pt x="6563158" y="6311042"/>
                  <a:pt x="6567019" y="6311708"/>
                  <a:pt x="6570612" y="6313305"/>
                </a:cubicBezTo>
                <a:cubicBezTo>
                  <a:pt x="6574340" y="6314902"/>
                  <a:pt x="6577401" y="6317032"/>
                  <a:pt x="6579930" y="6319694"/>
                </a:cubicBezTo>
                <a:cubicBezTo>
                  <a:pt x="6582460" y="6322224"/>
                  <a:pt x="6584590" y="6325419"/>
                  <a:pt x="6586054" y="6329013"/>
                </a:cubicBezTo>
                <a:cubicBezTo>
                  <a:pt x="6587518" y="6332607"/>
                  <a:pt x="6588317" y="6336467"/>
                  <a:pt x="6588317" y="6340461"/>
                </a:cubicBezTo>
                <a:cubicBezTo>
                  <a:pt x="6588317" y="6344588"/>
                  <a:pt x="6587518" y="6348581"/>
                  <a:pt x="6586054" y="6352176"/>
                </a:cubicBezTo>
                <a:cubicBezTo>
                  <a:pt x="6584457" y="6355903"/>
                  <a:pt x="6582460" y="6358965"/>
                  <a:pt x="6579930" y="6361627"/>
                </a:cubicBezTo>
                <a:cubicBezTo>
                  <a:pt x="6577268" y="6364290"/>
                  <a:pt x="6574207" y="6366419"/>
                  <a:pt x="6570612" y="6367884"/>
                </a:cubicBezTo>
                <a:cubicBezTo>
                  <a:pt x="6567019" y="6369348"/>
                  <a:pt x="6563158" y="6370147"/>
                  <a:pt x="6558899" y="6370147"/>
                </a:cubicBezTo>
                <a:cubicBezTo>
                  <a:pt x="6549979" y="6370147"/>
                  <a:pt x="6542658" y="6367351"/>
                  <a:pt x="6537066" y="6361760"/>
                </a:cubicBezTo>
                <a:cubicBezTo>
                  <a:pt x="6531476" y="6356170"/>
                  <a:pt x="6528680" y="6349113"/>
                  <a:pt x="6528680" y="6340594"/>
                </a:cubicBezTo>
                <a:cubicBezTo>
                  <a:pt x="6528680" y="6332341"/>
                  <a:pt x="6531476" y="6325286"/>
                  <a:pt x="6537066" y="6319562"/>
                </a:cubicBezTo>
                <a:cubicBezTo>
                  <a:pt x="6542658" y="6313838"/>
                  <a:pt x="6549846" y="6311042"/>
                  <a:pt x="6558899" y="6311042"/>
                </a:cubicBezTo>
                <a:close/>
                <a:moveTo>
                  <a:pt x="6341253" y="6311042"/>
                </a:moveTo>
                <a:cubicBezTo>
                  <a:pt x="6345513" y="6311042"/>
                  <a:pt x="6349373" y="6311708"/>
                  <a:pt x="6352968" y="6313305"/>
                </a:cubicBezTo>
                <a:cubicBezTo>
                  <a:pt x="6356695" y="6314902"/>
                  <a:pt x="6359757" y="6317032"/>
                  <a:pt x="6362286" y="6319694"/>
                </a:cubicBezTo>
                <a:cubicBezTo>
                  <a:pt x="6364815" y="6322224"/>
                  <a:pt x="6366945" y="6325419"/>
                  <a:pt x="6368409" y="6329013"/>
                </a:cubicBezTo>
                <a:cubicBezTo>
                  <a:pt x="6369874" y="6332607"/>
                  <a:pt x="6370672" y="6336467"/>
                  <a:pt x="6370672" y="6340461"/>
                </a:cubicBezTo>
                <a:cubicBezTo>
                  <a:pt x="6370672" y="6344588"/>
                  <a:pt x="6369874" y="6348581"/>
                  <a:pt x="6368409" y="6352176"/>
                </a:cubicBezTo>
                <a:cubicBezTo>
                  <a:pt x="6366811" y="6355903"/>
                  <a:pt x="6364815" y="6358965"/>
                  <a:pt x="6362286" y="6361627"/>
                </a:cubicBezTo>
                <a:cubicBezTo>
                  <a:pt x="6359623" y="6364290"/>
                  <a:pt x="6356562" y="6366419"/>
                  <a:pt x="6352968" y="6367884"/>
                </a:cubicBezTo>
                <a:cubicBezTo>
                  <a:pt x="6349373" y="6369348"/>
                  <a:pt x="6345513" y="6370147"/>
                  <a:pt x="6341253" y="6370147"/>
                </a:cubicBezTo>
                <a:cubicBezTo>
                  <a:pt x="6332335" y="6370147"/>
                  <a:pt x="6325013" y="6367351"/>
                  <a:pt x="6319421" y="6361760"/>
                </a:cubicBezTo>
                <a:cubicBezTo>
                  <a:pt x="6313830" y="6356170"/>
                  <a:pt x="6311035" y="6349113"/>
                  <a:pt x="6311035" y="6340594"/>
                </a:cubicBezTo>
                <a:cubicBezTo>
                  <a:pt x="6311035" y="6332341"/>
                  <a:pt x="6313830" y="6325286"/>
                  <a:pt x="6319421" y="6319562"/>
                </a:cubicBezTo>
                <a:cubicBezTo>
                  <a:pt x="6325013" y="6313838"/>
                  <a:pt x="6332201" y="6311042"/>
                  <a:pt x="6341253" y="6311042"/>
                </a:cubicBezTo>
                <a:close/>
                <a:moveTo>
                  <a:pt x="6123608" y="6311042"/>
                </a:moveTo>
                <a:cubicBezTo>
                  <a:pt x="6127867" y="6311042"/>
                  <a:pt x="6131728" y="6311708"/>
                  <a:pt x="6135322" y="6313305"/>
                </a:cubicBezTo>
                <a:cubicBezTo>
                  <a:pt x="6139049" y="6314902"/>
                  <a:pt x="6142111" y="6317032"/>
                  <a:pt x="6144640" y="6319694"/>
                </a:cubicBezTo>
                <a:cubicBezTo>
                  <a:pt x="6147169" y="6322224"/>
                  <a:pt x="6149299" y="6325419"/>
                  <a:pt x="6150763" y="6329013"/>
                </a:cubicBezTo>
                <a:cubicBezTo>
                  <a:pt x="6152228" y="6332607"/>
                  <a:pt x="6153026" y="6336467"/>
                  <a:pt x="6153026" y="6340461"/>
                </a:cubicBezTo>
                <a:cubicBezTo>
                  <a:pt x="6153026" y="6344588"/>
                  <a:pt x="6152228" y="6348581"/>
                  <a:pt x="6150763" y="6352176"/>
                </a:cubicBezTo>
                <a:cubicBezTo>
                  <a:pt x="6149299" y="6355903"/>
                  <a:pt x="6147169" y="6358965"/>
                  <a:pt x="6144640" y="6361627"/>
                </a:cubicBezTo>
                <a:cubicBezTo>
                  <a:pt x="6141977" y="6364290"/>
                  <a:pt x="6138916" y="6366419"/>
                  <a:pt x="6135322" y="6367884"/>
                </a:cubicBezTo>
                <a:cubicBezTo>
                  <a:pt x="6131728" y="6369348"/>
                  <a:pt x="6127867" y="6370147"/>
                  <a:pt x="6123608" y="6370147"/>
                </a:cubicBezTo>
                <a:cubicBezTo>
                  <a:pt x="6114689" y="6370147"/>
                  <a:pt x="6107367" y="6367351"/>
                  <a:pt x="6101775" y="6361760"/>
                </a:cubicBezTo>
                <a:cubicBezTo>
                  <a:pt x="6096184" y="6356170"/>
                  <a:pt x="6093389" y="6349113"/>
                  <a:pt x="6093389" y="6340594"/>
                </a:cubicBezTo>
                <a:cubicBezTo>
                  <a:pt x="6093389" y="6332341"/>
                  <a:pt x="6096184" y="6325286"/>
                  <a:pt x="6101775" y="6319562"/>
                </a:cubicBezTo>
                <a:cubicBezTo>
                  <a:pt x="6107367" y="6313838"/>
                  <a:pt x="6114555" y="6311042"/>
                  <a:pt x="6123608" y="6311042"/>
                </a:cubicBezTo>
                <a:close/>
                <a:moveTo>
                  <a:pt x="5905963" y="6311042"/>
                </a:moveTo>
                <a:cubicBezTo>
                  <a:pt x="5910222" y="6311042"/>
                  <a:pt x="5914216" y="6311708"/>
                  <a:pt x="5917677" y="6313305"/>
                </a:cubicBezTo>
                <a:cubicBezTo>
                  <a:pt x="5921404" y="6314902"/>
                  <a:pt x="5924466" y="6317032"/>
                  <a:pt x="5926995" y="6319694"/>
                </a:cubicBezTo>
                <a:cubicBezTo>
                  <a:pt x="5929524" y="6322224"/>
                  <a:pt x="5931654" y="6325419"/>
                  <a:pt x="5933118" y="6329013"/>
                </a:cubicBezTo>
                <a:cubicBezTo>
                  <a:pt x="5934583" y="6332607"/>
                  <a:pt x="5935381" y="6336467"/>
                  <a:pt x="5935381" y="6340461"/>
                </a:cubicBezTo>
                <a:cubicBezTo>
                  <a:pt x="5935381" y="6344588"/>
                  <a:pt x="5934583" y="6348581"/>
                  <a:pt x="5933118" y="6352176"/>
                </a:cubicBezTo>
                <a:cubicBezTo>
                  <a:pt x="5931654" y="6355903"/>
                  <a:pt x="5929524" y="6358965"/>
                  <a:pt x="5926995" y="6361627"/>
                </a:cubicBezTo>
                <a:cubicBezTo>
                  <a:pt x="5924333" y="6364290"/>
                  <a:pt x="5921271" y="6366419"/>
                  <a:pt x="5917677" y="6367884"/>
                </a:cubicBezTo>
                <a:cubicBezTo>
                  <a:pt x="5914083" y="6369348"/>
                  <a:pt x="5910222" y="6370147"/>
                  <a:pt x="5905963" y="6370147"/>
                </a:cubicBezTo>
                <a:cubicBezTo>
                  <a:pt x="5897044" y="6370147"/>
                  <a:pt x="5889722" y="6367351"/>
                  <a:pt x="5884130" y="6361760"/>
                </a:cubicBezTo>
                <a:cubicBezTo>
                  <a:pt x="5878540" y="6356170"/>
                  <a:pt x="5875744" y="6349113"/>
                  <a:pt x="5875744" y="6340594"/>
                </a:cubicBezTo>
                <a:cubicBezTo>
                  <a:pt x="5875744" y="6332341"/>
                  <a:pt x="5878540" y="6325286"/>
                  <a:pt x="5884130" y="6319562"/>
                </a:cubicBezTo>
                <a:cubicBezTo>
                  <a:pt x="5889722" y="6313838"/>
                  <a:pt x="5896910" y="6311042"/>
                  <a:pt x="5905963" y="6311042"/>
                </a:cubicBezTo>
                <a:close/>
                <a:moveTo>
                  <a:pt x="5688451" y="6311042"/>
                </a:moveTo>
                <a:cubicBezTo>
                  <a:pt x="5692577" y="6311042"/>
                  <a:pt x="5696571" y="6311708"/>
                  <a:pt x="5700165" y="6313305"/>
                </a:cubicBezTo>
                <a:cubicBezTo>
                  <a:pt x="5703892" y="6314902"/>
                  <a:pt x="5706954" y="6317032"/>
                  <a:pt x="5709483" y="6319694"/>
                </a:cubicBezTo>
                <a:cubicBezTo>
                  <a:pt x="5712012" y="6322224"/>
                  <a:pt x="5714142" y="6325419"/>
                  <a:pt x="5715606" y="6329013"/>
                </a:cubicBezTo>
                <a:cubicBezTo>
                  <a:pt x="5717071" y="6332607"/>
                  <a:pt x="5717869" y="6336467"/>
                  <a:pt x="5717869" y="6340461"/>
                </a:cubicBezTo>
                <a:cubicBezTo>
                  <a:pt x="5717869" y="6344588"/>
                  <a:pt x="5717071" y="6348581"/>
                  <a:pt x="5715606" y="6352176"/>
                </a:cubicBezTo>
                <a:cubicBezTo>
                  <a:pt x="5714142" y="6355903"/>
                  <a:pt x="5712012" y="6358965"/>
                  <a:pt x="5709483" y="6361627"/>
                </a:cubicBezTo>
                <a:cubicBezTo>
                  <a:pt x="5706820" y="6364290"/>
                  <a:pt x="5703759" y="6366419"/>
                  <a:pt x="5700165" y="6367884"/>
                </a:cubicBezTo>
                <a:cubicBezTo>
                  <a:pt x="5696571" y="6369348"/>
                  <a:pt x="5692710" y="6370147"/>
                  <a:pt x="5688451" y="6370147"/>
                </a:cubicBezTo>
                <a:cubicBezTo>
                  <a:pt x="5679532" y="6370147"/>
                  <a:pt x="5672210" y="6367351"/>
                  <a:pt x="5666618" y="6361760"/>
                </a:cubicBezTo>
                <a:cubicBezTo>
                  <a:pt x="5661028" y="6356170"/>
                  <a:pt x="5658232" y="6349113"/>
                  <a:pt x="5658232" y="6340594"/>
                </a:cubicBezTo>
                <a:cubicBezTo>
                  <a:pt x="5658232" y="6332341"/>
                  <a:pt x="5661028" y="6325286"/>
                  <a:pt x="5666618" y="6319562"/>
                </a:cubicBezTo>
                <a:cubicBezTo>
                  <a:pt x="5672210" y="6313838"/>
                  <a:pt x="5679398" y="6311042"/>
                  <a:pt x="5688451" y="6311042"/>
                </a:cubicBezTo>
                <a:close/>
                <a:moveTo>
                  <a:pt x="5470806" y="6311042"/>
                </a:moveTo>
                <a:cubicBezTo>
                  <a:pt x="5475065" y="6311042"/>
                  <a:pt x="5478926" y="6311708"/>
                  <a:pt x="5482520" y="6313305"/>
                </a:cubicBezTo>
                <a:cubicBezTo>
                  <a:pt x="5486247" y="6314902"/>
                  <a:pt x="5489309" y="6317032"/>
                  <a:pt x="5491838" y="6319694"/>
                </a:cubicBezTo>
                <a:cubicBezTo>
                  <a:pt x="5494367" y="6322224"/>
                  <a:pt x="5496497" y="6325419"/>
                  <a:pt x="5497961" y="6329013"/>
                </a:cubicBezTo>
                <a:cubicBezTo>
                  <a:pt x="5499426" y="6332607"/>
                  <a:pt x="5500224" y="6336467"/>
                  <a:pt x="5500224" y="6340461"/>
                </a:cubicBezTo>
                <a:cubicBezTo>
                  <a:pt x="5500224" y="6344588"/>
                  <a:pt x="5499426" y="6348581"/>
                  <a:pt x="5497961" y="6352176"/>
                </a:cubicBezTo>
                <a:cubicBezTo>
                  <a:pt x="5496497" y="6355903"/>
                  <a:pt x="5494367" y="6358965"/>
                  <a:pt x="5491838" y="6361627"/>
                </a:cubicBezTo>
                <a:cubicBezTo>
                  <a:pt x="5489176" y="6364290"/>
                  <a:pt x="5486114" y="6366419"/>
                  <a:pt x="5482520" y="6367884"/>
                </a:cubicBezTo>
                <a:cubicBezTo>
                  <a:pt x="5478926" y="6369348"/>
                  <a:pt x="5475065" y="6370147"/>
                  <a:pt x="5470806" y="6370147"/>
                </a:cubicBezTo>
                <a:cubicBezTo>
                  <a:pt x="5461887" y="6370147"/>
                  <a:pt x="5454565" y="6367351"/>
                  <a:pt x="5448973" y="6361760"/>
                </a:cubicBezTo>
                <a:cubicBezTo>
                  <a:pt x="5443383" y="6356170"/>
                  <a:pt x="5440587" y="6349113"/>
                  <a:pt x="5440587" y="6340594"/>
                </a:cubicBezTo>
                <a:cubicBezTo>
                  <a:pt x="5440587" y="6332341"/>
                  <a:pt x="5443383" y="6325286"/>
                  <a:pt x="5448973" y="6319562"/>
                </a:cubicBezTo>
                <a:cubicBezTo>
                  <a:pt x="5454565" y="6313838"/>
                  <a:pt x="5461754" y="6311042"/>
                  <a:pt x="5470806" y="6311042"/>
                </a:cubicBezTo>
                <a:close/>
                <a:moveTo>
                  <a:pt x="5253160" y="6311042"/>
                </a:moveTo>
                <a:cubicBezTo>
                  <a:pt x="5257420" y="6311042"/>
                  <a:pt x="5261280" y="6311708"/>
                  <a:pt x="5264875" y="6313305"/>
                </a:cubicBezTo>
                <a:cubicBezTo>
                  <a:pt x="5268602" y="6314902"/>
                  <a:pt x="5271664" y="6317032"/>
                  <a:pt x="5274192" y="6319694"/>
                </a:cubicBezTo>
                <a:cubicBezTo>
                  <a:pt x="5276722" y="6322224"/>
                  <a:pt x="5278852" y="6325419"/>
                  <a:pt x="5280316" y="6329013"/>
                </a:cubicBezTo>
                <a:cubicBezTo>
                  <a:pt x="5281780" y="6332607"/>
                  <a:pt x="5282579" y="6336467"/>
                  <a:pt x="5282579" y="6340461"/>
                </a:cubicBezTo>
                <a:cubicBezTo>
                  <a:pt x="5282579" y="6344588"/>
                  <a:pt x="5281780" y="6348581"/>
                  <a:pt x="5280316" y="6352176"/>
                </a:cubicBezTo>
                <a:cubicBezTo>
                  <a:pt x="5278852" y="6355903"/>
                  <a:pt x="5276722" y="6358965"/>
                  <a:pt x="5274192" y="6361627"/>
                </a:cubicBezTo>
                <a:cubicBezTo>
                  <a:pt x="5271664" y="6364290"/>
                  <a:pt x="5268469" y="6366419"/>
                  <a:pt x="5264875" y="6367884"/>
                </a:cubicBezTo>
                <a:cubicBezTo>
                  <a:pt x="5261280" y="6369348"/>
                  <a:pt x="5257420" y="6370147"/>
                  <a:pt x="5253160" y="6370147"/>
                </a:cubicBezTo>
                <a:cubicBezTo>
                  <a:pt x="5244241" y="6370147"/>
                  <a:pt x="5236920" y="6367351"/>
                  <a:pt x="5231328" y="6361760"/>
                </a:cubicBezTo>
                <a:cubicBezTo>
                  <a:pt x="5225737" y="6356170"/>
                  <a:pt x="5222942" y="6349113"/>
                  <a:pt x="5222942" y="6340594"/>
                </a:cubicBezTo>
                <a:cubicBezTo>
                  <a:pt x="5222942" y="6332341"/>
                  <a:pt x="5225737" y="6325286"/>
                  <a:pt x="5231328" y="6319562"/>
                </a:cubicBezTo>
                <a:cubicBezTo>
                  <a:pt x="5236920" y="6313838"/>
                  <a:pt x="5244108" y="6311042"/>
                  <a:pt x="5253160" y="6311042"/>
                </a:cubicBezTo>
                <a:close/>
                <a:moveTo>
                  <a:pt x="5035515" y="6311042"/>
                </a:moveTo>
                <a:cubicBezTo>
                  <a:pt x="5039775" y="6311042"/>
                  <a:pt x="5043636" y="6311708"/>
                  <a:pt x="5047230" y="6313305"/>
                </a:cubicBezTo>
                <a:cubicBezTo>
                  <a:pt x="5050957" y="6314902"/>
                  <a:pt x="5054019" y="6317032"/>
                  <a:pt x="5056548" y="6319694"/>
                </a:cubicBezTo>
                <a:cubicBezTo>
                  <a:pt x="5059077" y="6322224"/>
                  <a:pt x="5061207" y="6325419"/>
                  <a:pt x="5062671" y="6329013"/>
                </a:cubicBezTo>
                <a:cubicBezTo>
                  <a:pt x="5064135" y="6332607"/>
                  <a:pt x="5064934" y="6336467"/>
                  <a:pt x="5064934" y="6340461"/>
                </a:cubicBezTo>
                <a:cubicBezTo>
                  <a:pt x="5064934" y="6344588"/>
                  <a:pt x="5064135" y="6348581"/>
                  <a:pt x="5062671" y="6352176"/>
                </a:cubicBezTo>
                <a:cubicBezTo>
                  <a:pt x="5061207" y="6355903"/>
                  <a:pt x="5059077" y="6358965"/>
                  <a:pt x="5056548" y="6361627"/>
                </a:cubicBezTo>
                <a:cubicBezTo>
                  <a:pt x="5053885" y="6364290"/>
                  <a:pt x="5050824" y="6366419"/>
                  <a:pt x="5047230" y="6367884"/>
                </a:cubicBezTo>
                <a:cubicBezTo>
                  <a:pt x="5043636" y="6369348"/>
                  <a:pt x="5039775" y="6370147"/>
                  <a:pt x="5035515" y="6370147"/>
                </a:cubicBezTo>
                <a:cubicBezTo>
                  <a:pt x="5026597" y="6370147"/>
                  <a:pt x="5019275" y="6367351"/>
                  <a:pt x="5013683" y="6361760"/>
                </a:cubicBezTo>
                <a:cubicBezTo>
                  <a:pt x="5008092" y="6356170"/>
                  <a:pt x="5005297" y="6349113"/>
                  <a:pt x="5005297" y="6340594"/>
                </a:cubicBezTo>
                <a:cubicBezTo>
                  <a:pt x="5005297" y="6332341"/>
                  <a:pt x="5008092" y="6325286"/>
                  <a:pt x="5013683" y="6319562"/>
                </a:cubicBezTo>
                <a:cubicBezTo>
                  <a:pt x="5019275" y="6313838"/>
                  <a:pt x="5026463" y="6311042"/>
                  <a:pt x="5035515" y="6311042"/>
                </a:cubicBezTo>
                <a:close/>
                <a:moveTo>
                  <a:pt x="4817870" y="6311042"/>
                </a:moveTo>
                <a:cubicBezTo>
                  <a:pt x="4822130" y="6311042"/>
                  <a:pt x="4826124" y="6311708"/>
                  <a:pt x="4829585" y="6313305"/>
                </a:cubicBezTo>
                <a:cubicBezTo>
                  <a:pt x="4833312" y="6314902"/>
                  <a:pt x="4836374" y="6317032"/>
                  <a:pt x="4838903" y="6319694"/>
                </a:cubicBezTo>
                <a:cubicBezTo>
                  <a:pt x="4841432" y="6322224"/>
                  <a:pt x="4843562" y="6325419"/>
                  <a:pt x="4845026" y="6329013"/>
                </a:cubicBezTo>
                <a:cubicBezTo>
                  <a:pt x="4846491" y="6332607"/>
                  <a:pt x="4847289" y="6336467"/>
                  <a:pt x="4847289" y="6340461"/>
                </a:cubicBezTo>
                <a:cubicBezTo>
                  <a:pt x="4847289" y="6344588"/>
                  <a:pt x="4846491" y="6348581"/>
                  <a:pt x="4845026" y="6352176"/>
                </a:cubicBezTo>
                <a:cubicBezTo>
                  <a:pt x="4843562" y="6355903"/>
                  <a:pt x="4841432" y="6358965"/>
                  <a:pt x="4838903" y="6361627"/>
                </a:cubicBezTo>
                <a:cubicBezTo>
                  <a:pt x="4836240" y="6364290"/>
                  <a:pt x="4833179" y="6366419"/>
                  <a:pt x="4829585" y="6367884"/>
                </a:cubicBezTo>
                <a:cubicBezTo>
                  <a:pt x="4825991" y="6369348"/>
                  <a:pt x="4822130" y="6370147"/>
                  <a:pt x="4817870" y="6370147"/>
                </a:cubicBezTo>
                <a:cubicBezTo>
                  <a:pt x="4808952" y="6370147"/>
                  <a:pt x="4801630" y="6367351"/>
                  <a:pt x="4796038" y="6361760"/>
                </a:cubicBezTo>
                <a:cubicBezTo>
                  <a:pt x="4790447" y="6356170"/>
                  <a:pt x="4787652" y="6349113"/>
                  <a:pt x="4787652" y="6340594"/>
                </a:cubicBezTo>
                <a:cubicBezTo>
                  <a:pt x="4787652" y="6332341"/>
                  <a:pt x="4790447" y="6325286"/>
                  <a:pt x="4796038" y="6319562"/>
                </a:cubicBezTo>
                <a:cubicBezTo>
                  <a:pt x="4801630" y="6313838"/>
                  <a:pt x="4808818" y="6311042"/>
                  <a:pt x="4817870" y="6311042"/>
                </a:cubicBezTo>
                <a:close/>
                <a:moveTo>
                  <a:pt x="4600226" y="6311042"/>
                </a:moveTo>
                <a:cubicBezTo>
                  <a:pt x="4604485" y="6311042"/>
                  <a:pt x="4608479" y="6311708"/>
                  <a:pt x="4612073" y="6313305"/>
                </a:cubicBezTo>
                <a:cubicBezTo>
                  <a:pt x="4615800" y="6314902"/>
                  <a:pt x="4618862" y="6317032"/>
                  <a:pt x="4621391" y="6319694"/>
                </a:cubicBezTo>
                <a:cubicBezTo>
                  <a:pt x="4623920" y="6322224"/>
                  <a:pt x="4626050" y="6325419"/>
                  <a:pt x="4627514" y="6329013"/>
                </a:cubicBezTo>
                <a:cubicBezTo>
                  <a:pt x="4628978" y="6332607"/>
                  <a:pt x="4629777" y="6336467"/>
                  <a:pt x="4629777" y="6340461"/>
                </a:cubicBezTo>
                <a:cubicBezTo>
                  <a:pt x="4629777" y="6344588"/>
                  <a:pt x="4628978" y="6348581"/>
                  <a:pt x="4627514" y="6352176"/>
                </a:cubicBezTo>
                <a:cubicBezTo>
                  <a:pt x="4626050" y="6355903"/>
                  <a:pt x="4623920" y="6358965"/>
                  <a:pt x="4621391" y="6361627"/>
                </a:cubicBezTo>
                <a:cubicBezTo>
                  <a:pt x="4618729" y="6364290"/>
                  <a:pt x="4615667" y="6366419"/>
                  <a:pt x="4612073" y="6367884"/>
                </a:cubicBezTo>
                <a:cubicBezTo>
                  <a:pt x="4608346" y="6369348"/>
                  <a:pt x="4604485" y="6370147"/>
                  <a:pt x="4600226" y="6370147"/>
                </a:cubicBezTo>
                <a:cubicBezTo>
                  <a:pt x="4591173" y="6370147"/>
                  <a:pt x="4583985" y="6367351"/>
                  <a:pt x="4578393" y="6361760"/>
                </a:cubicBezTo>
                <a:cubicBezTo>
                  <a:pt x="4572803" y="6356170"/>
                  <a:pt x="4570007" y="6349113"/>
                  <a:pt x="4570007" y="6340594"/>
                </a:cubicBezTo>
                <a:cubicBezTo>
                  <a:pt x="4570007" y="6332341"/>
                  <a:pt x="4572803" y="6325286"/>
                  <a:pt x="4578393" y="6319562"/>
                </a:cubicBezTo>
                <a:cubicBezTo>
                  <a:pt x="4583985" y="6313838"/>
                  <a:pt x="4591173" y="6311042"/>
                  <a:pt x="4600226" y="6311042"/>
                </a:cubicBezTo>
                <a:close/>
                <a:moveTo>
                  <a:pt x="4382713" y="6311042"/>
                </a:moveTo>
                <a:cubicBezTo>
                  <a:pt x="4386840" y="6311042"/>
                  <a:pt x="4390834" y="6311708"/>
                  <a:pt x="4394428" y="6313305"/>
                </a:cubicBezTo>
                <a:cubicBezTo>
                  <a:pt x="4398155" y="6314902"/>
                  <a:pt x="4401217" y="6317032"/>
                  <a:pt x="4403746" y="6319694"/>
                </a:cubicBezTo>
                <a:cubicBezTo>
                  <a:pt x="4406275" y="6322224"/>
                  <a:pt x="4408405" y="6325419"/>
                  <a:pt x="4409869" y="6329013"/>
                </a:cubicBezTo>
                <a:cubicBezTo>
                  <a:pt x="4411334" y="6332607"/>
                  <a:pt x="4412132" y="6336467"/>
                  <a:pt x="4412132" y="6340461"/>
                </a:cubicBezTo>
                <a:cubicBezTo>
                  <a:pt x="4412132" y="6344588"/>
                  <a:pt x="4411334" y="6348581"/>
                  <a:pt x="4409869" y="6352176"/>
                </a:cubicBezTo>
                <a:cubicBezTo>
                  <a:pt x="4408405" y="6355903"/>
                  <a:pt x="4406275" y="6358965"/>
                  <a:pt x="4403746" y="6361627"/>
                </a:cubicBezTo>
                <a:cubicBezTo>
                  <a:pt x="4401083" y="6364290"/>
                  <a:pt x="4398022" y="6366419"/>
                  <a:pt x="4394428" y="6367884"/>
                </a:cubicBezTo>
                <a:cubicBezTo>
                  <a:pt x="4390834" y="6369348"/>
                  <a:pt x="4386973" y="6370147"/>
                  <a:pt x="4382713" y="6370147"/>
                </a:cubicBezTo>
                <a:cubicBezTo>
                  <a:pt x="4373661" y="6370147"/>
                  <a:pt x="4366473" y="6367351"/>
                  <a:pt x="4360881" y="6361760"/>
                </a:cubicBezTo>
                <a:cubicBezTo>
                  <a:pt x="4355290" y="6356170"/>
                  <a:pt x="4352495" y="6349113"/>
                  <a:pt x="4352495" y="6340594"/>
                </a:cubicBezTo>
                <a:cubicBezTo>
                  <a:pt x="4352495" y="6332341"/>
                  <a:pt x="4355290" y="6325286"/>
                  <a:pt x="4360881" y="6319562"/>
                </a:cubicBezTo>
                <a:cubicBezTo>
                  <a:pt x="4366473" y="6313838"/>
                  <a:pt x="4373661" y="6311042"/>
                  <a:pt x="4382713" y="6311042"/>
                </a:cubicBezTo>
                <a:close/>
                <a:moveTo>
                  <a:pt x="4165068" y="6311042"/>
                </a:moveTo>
                <a:cubicBezTo>
                  <a:pt x="4169327" y="6311042"/>
                  <a:pt x="4173188" y="6311708"/>
                  <a:pt x="4176782" y="6313305"/>
                </a:cubicBezTo>
                <a:cubicBezTo>
                  <a:pt x="4180509" y="6314902"/>
                  <a:pt x="4183571" y="6317032"/>
                  <a:pt x="4186100" y="6319694"/>
                </a:cubicBezTo>
                <a:cubicBezTo>
                  <a:pt x="4188629" y="6322224"/>
                  <a:pt x="4190759" y="6325419"/>
                  <a:pt x="4192223" y="6329013"/>
                </a:cubicBezTo>
                <a:cubicBezTo>
                  <a:pt x="4193688" y="6332607"/>
                  <a:pt x="4194486" y="6336467"/>
                  <a:pt x="4194486" y="6340461"/>
                </a:cubicBezTo>
                <a:cubicBezTo>
                  <a:pt x="4194486" y="6344588"/>
                  <a:pt x="4193688" y="6348581"/>
                  <a:pt x="4192223" y="6352176"/>
                </a:cubicBezTo>
                <a:cubicBezTo>
                  <a:pt x="4190759" y="6355903"/>
                  <a:pt x="4188629" y="6358965"/>
                  <a:pt x="4186100" y="6361627"/>
                </a:cubicBezTo>
                <a:cubicBezTo>
                  <a:pt x="4183438" y="6364290"/>
                  <a:pt x="4180376" y="6366419"/>
                  <a:pt x="4176782" y="6367884"/>
                </a:cubicBezTo>
                <a:cubicBezTo>
                  <a:pt x="4173188" y="6369348"/>
                  <a:pt x="4169327" y="6370147"/>
                  <a:pt x="4165068" y="6370147"/>
                </a:cubicBezTo>
                <a:cubicBezTo>
                  <a:pt x="4156015" y="6370147"/>
                  <a:pt x="4148827" y="6367351"/>
                  <a:pt x="4143235" y="6361760"/>
                </a:cubicBezTo>
                <a:cubicBezTo>
                  <a:pt x="4137645" y="6356170"/>
                  <a:pt x="4134849" y="6349113"/>
                  <a:pt x="4134849" y="6340594"/>
                </a:cubicBezTo>
                <a:cubicBezTo>
                  <a:pt x="4134849" y="6332341"/>
                  <a:pt x="4137645" y="6325286"/>
                  <a:pt x="4143235" y="6319562"/>
                </a:cubicBezTo>
                <a:cubicBezTo>
                  <a:pt x="4148827" y="6313838"/>
                  <a:pt x="4156015" y="6311042"/>
                  <a:pt x="4165068" y="6311042"/>
                </a:cubicBezTo>
                <a:close/>
                <a:moveTo>
                  <a:pt x="3947767" y="6311042"/>
                </a:moveTo>
                <a:cubicBezTo>
                  <a:pt x="3952029" y="6311042"/>
                  <a:pt x="3955891" y="6311708"/>
                  <a:pt x="3959486" y="6313305"/>
                </a:cubicBezTo>
                <a:cubicBezTo>
                  <a:pt x="3963214" y="6314902"/>
                  <a:pt x="3966275" y="6317032"/>
                  <a:pt x="3968804" y="6319694"/>
                </a:cubicBezTo>
                <a:cubicBezTo>
                  <a:pt x="3971334" y="6322224"/>
                  <a:pt x="3973464" y="6325419"/>
                  <a:pt x="3974928" y="6329013"/>
                </a:cubicBezTo>
                <a:cubicBezTo>
                  <a:pt x="3976393" y="6332607"/>
                  <a:pt x="3977192" y="6336467"/>
                  <a:pt x="3977192" y="6340461"/>
                </a:cubicBezTo>
                <a:cubicBezTo>
                  <a:pt x="3977192" y="6344588"/>
                  <a:pt x="3976393" y="6348581"/>
                  <a:pt x="3974928" y="6352176"/>
                </a:cubicBezTo>
                <a:cubicBezTo>
                  <a:pt x="3973464" y="6355903"/>
                  <a:pt x="3971334" y="6358965"/>
                  <a:pt x="3968804" y="6361627"/>
                </a:cubicBezTo>
                <a:cubicBezTo>
                  <a:pt x="3966142" y="6364290"/>
                  <a:pt x="3963081" y="6366419"/>
                  <a:pt x="3959486" y="6367884"/>
                </a:cubicBezTo>
                <a:cubicBezTo>
                  <a:pt x="3955891" y="6369348"/>
                  <a:pt x="3952029" y="6370147"/>
                  <a:pt x="3947767" y="6370147"/>
                </a:cubicBezTo>
                <a:cubicBezTo>
                  <a:pt x="3938714" y="6370147"/>
                  <a:pt x="3931527" y="6367351"/>
                  <a:pt x="3925934" y="6361760"/>
                </a:cubicBezTo>
                <a:cubicBezTo>
                  <a:pt x="3920344" y="6356170"/>
                  <a:pt x="3917548" y="6349113"/>
                  <a:pt x="3917548" y="6340594"/>
                </a:cubicBezTo>
                <a:cubicBezTo>
                  <a:pt x="3917548" y="6332341"/>
                  <a:pt x="3920344" y="6325286"/>
                  <a:pt x="3925934" y="6319562"/>
                </a:cubicBezTo>
                <a:cubicBezTo>
                  <a:pt x="3931527" y="6313838"/>
                  <a:pt x="3938714" y="6311042"/>
                  <a:pt x="3947767" y="6311042"/>
                </a:cubicBezTo>
                <a:close/>
                <a:moveTo>
                  <a:pt x="3730107" y="6311042"/>
                </a:moveTo>
                <a:cubicBezTo>
                  <a:pt x="3734368" y="6311042"/>
                  <a:pt x="3738361" y="6311708"/>
                  <a:pt x="3741823" y="6313305"/>
                </a:cubicBezTo>
                <a:cubicBezTo>
                  <a:pt x="3745417" y="6314902"/>
                  <a:pt x="3748612" y="6317032"/>
                  <a:pt x="3751141" y="6319694"/>
                </a:cubicBezTo>
                <a:cubicBezTo>
                  <a:pt x="3753670" y="6322224"/>
                  <a:pt x="3755800" y="6325419"/>
                  <a:pt x="3757264" y="6329013"/>
                </a:cubicBezTo>
                <a:cubicBezTo>
                  <a:pt x="3758728" y="6332607"/>
                  <a:pt x="3759527" y="6336467"/>
                  <a:pt x="3759527" y="6340461"/>
                </a:cubicBezTo>
                <a:cubicBezTo>
                  <a:pt x="3759527" y="6344588"/>
                  <a:pt x="3758728" y="6348581"/>
                  <a:pt x="3757264" y="6352176"/>
                </a:cubicBezTo>
                <a:cubicBezTo>
                  <a:pt x="3755800" y="6355903"/>
                  <a:pt x="3753670" y="6358965"/>
                  <a:pt x="3751141" y="6361627"/>
                </a:cubicBezTo>
                <a:cubicBezTo>
                  <a:pt x="3748478" y="6364290"/>
                  <a:pt x="3745417" y="6366419"/>
                  <a:pt x="3741823" y="6367884"/>
                </a:cubicBezTo>
                <a:cubicBezTo>
                  <a:pt x="3738229" y="6369348"/>
                  <a:pt x="3734368" y="6370147"/>
                  <a:pt x="3730107" y="6370147"/>
                </a:cubicBezTo>
                <a:cubicBezTo>
                  <a:pt x="3721055" y="6370147"/>
                  <a:pt x="3713865" y="6367351"/>
                  <a:pt x="3708265" y="6361760"/>
                </a:cubicBezTo>
                <a:cubicBezTo>
                  <a:pt x="3702673" y="6356170"/>
                  <a:pt x="3699879" y="6349113"/>
                  <a:pt x="3699879" y="6340594"/>
                </a:cubicBezTo>
                <a:cubicBezTo>
                  <a:pt x="3699879" y="6332341"/>
                  <a:pt x="3702673" y="6325286"/>
                  <a:pt x="3708265" y="6319562"/>
                </a:cubicBezTo>
                <a:cubicBezTo>
                  <a:pt x="3713865" y="6313838"/>
                  <a:pt x="3721055" y="6311042"/>
                  <a:pt x="3730107" y="6311042"/>
                </a:cubicBezTo>
                <a:close/>
                <a:moveTo>
                  <a:pt x="3512444" y="6311042"/>
                </a:moveTo>
                <a:cubicBezTo>
                  <a:pt x="3516705" y="6311042"/>
                  <a:pt x="3520698" y="6311708"/>
                  <a:pt x="3524160" y="6313305"/>
                </a:cubicBezTo>
                <a:cubicBezTo>
                  <a:pt x="3527753" y="6314902"/>
                  <a:pt x="3530949" y="6317032"/>
                  <a:pt x="3533478" y="6319694"/>
                </a:cubicBezTo>
                <a:cubicBezTo>
                  <a:pt x="3536007" y="6322224"/>
                  <a:pt x="3538137" y="6325419"/>
                  <a:pt x="3539601" y="6329013"/>
                </a:cubicBezTo>
                <a:cubicBezTo>
                  <a:pt x="3541065" y="6332607"/>
                  <a:pt x="3541864" y="6336467"/>
                  <a:pt x="3541864" y="6340461"/>
                </a:cubicBezTo>
                <a:cubicBezTo>
                  <a:pt x="3541864" y="6344588"/>
                  <a:pt x="3541065" y="6348581"/>
                  <a:pt x="3539601" y="6352176"/>
                </a:cubicBezTo>
                <a:cubicBezTo>
                  <a:pt x="3538137" y="6355903"/>
                  <a:pt x="3536007" y="6358965"/>
                  <a:pt x="3533478" y="6361627"/>
                </a:cubicBezTo>
                <a:cubicBezTo>
                  <a:pt x="3530815" y="6364290"/>
                  <a:pt x="3527753" y="6366419"/>
                  <a:pt x="3524160" y="6367884"/>
                </a:cubicBezTo>
                <a:cubicBezTo>
                  <a:pt x="3520566" y="6369348"/>
                  <a:pt x="3516705" y="6370147"/>
                  <a:pt x="3512444" y="6370147"/>
                </a:cubicBezTo>
                <a:cubicBezTo>
                  <a:pt x="3503387" y="6370147"/>
                  <a:pt x="3496197" y="6367351"/>
                  <a:pt x="3490606" y="6361760"/>
                </a:cubicBezTo>
                <a:cubicBezTo>
                  <a:pt x="3485015" y="6356170"/>
                  <a:pt x="3482220" y="6349113"/>
                  <a:pt x="3482220" y="6340594"/>
                </a:cubicBezTo>
                <a:cubicBezTo>
                  <a:pt x="3482220" y="6332341"/>
                  <a:pt x="3485015" y="6325286"/>
                  <a:pt x="3490606" y="6319562"/>
                </a:cubicBezTo>
                <a:cubicBezTo>
                  <a:pt x="3496197" y="6313838"/>
                  <a:pt x="3503387" y="6311042"/>
                  <a:pt x="3512444" y="6311042"/>
                </a:cubicBezTo>
                <a:close/>
                <a:moveTo>
                  <a:pt x="3294914" y="6311042"/>
                </a:moveTo>
                <a:cubicBezTo>
                  <a:pt x="3299041" y="6311042"/>
                  <a:pt x="3303036" y="6311708"/>
                  <a:pt x="3306630" y="6313305"/>
                </a:cubicBezTo>
                <a:cubicBezTo>
                  <a:pt x="3310357" y="6314902"/>
                  <a:pt x="3313419" y="6317032"/>
                  <a:pt x="3315948" y="6319694"/>
                </a:cubicBezTo>
                <a:cubicBezTo>
                  <a:pt x="3318477" y="6322224"/>
                  <a:pt x="3320607" y="6325419"/>
                  <a:pt x="3322071" y="6329013"/>
                </a:cubicBezTo>
                <a:cubicBezTo>
                  <a:pt x="3323535" y="6332607"/>
                  <a:pt x="3324334" y="6336467"/>
                  <a:pt x="3324334" y="6340461"/>
                </a:cubicBezTo>
                <a:cubicBezTo>
                  <a:pt x="3324334" y="6344588"/>
                  <a:pt x="3323535" y="6348581"/>
                  <a:pt x="3322071" y="6352176"/>
                </a:cubicBezTo>
                <a:cubicBezTo>
                  <a:pt x="3320607" y="6355903"/>
                  <a:pt x="3318477" y="6358965"/>
                  <a:pt x="3315948" y="6361627"/>
                </a:cubicBezTo>
                <a:cubicBezTo>
                  <a:pt x="3313285" y="6364290"/>
                  <a:pt x="3310223" y="6366419"/>
                  <a:pt x="3306630" y="6367884"/>
                </a:cubicBezTo>
                <a:cubicBezTo>
                  <a:pt x="3303036" y="6369348"/>
                  <a:pt x="3299175" y="6370147"/>
                  <a:pt x="3294914" y="6370147"/>
                </a:cubicBezTo>
                <a:cubicBezTo>
                  <a:pt x="3285859" y="6370147"/>
                  <a:pt x="3278670" y="6367351"/>
                  <a:pt x="3273075" y="6361760"/>
                </a:cubicBezTo>
                <a:cubicBezTo>
                  <a:pt x="3267482" y="6356170"/>
                  <a:pt x="3264687" y="6349113"/>
                  <a:pt x="3264687" y="6340594"/>
                </a:cubicBezTo>
                <a:cubicBezTo>
                  <a:pt x="3264687" y="6332341"/>
                  <a:pt x="3267482" y="6325286"/>
                  <a:pt x="3273075" y="6319562"/>
                </a:cubicBezTo>
                <a:cubicBezTo>
                  <a:pt x="3278670" y="6313838"/>
                  <a:pt x="3285859" y="6311042"/>
                  <a:pt x="3294914" y="6311042"/>
                </a:cubicBezTo>
                <a:close/>
                <a:moveTo>
                  <a:pt x="3077251" y="6311042"/>
                </a:moveTo>
                <a:cubicBezTo>
                  <a:pt x="3081378" y="6311042"/>
                  <a:pt x="3085372" y="6311708"/>
                  <a:pt x="3088966" y="6313305"/>
                </a:cubicBezTo>
                <a:cubicBezTo>
                  <a:pt x="3092561" y="6314902"/>
                  <a:pt x="3095756" y="6317032"/>
                  <a:pt x="3098284" y="6319694"/>
                </a:cubicBezTo>
                <a:cubicBezTo>
                  <a:pt x="3100813" y="6322224"/>
                  <a:pt x="3102944" y="6325419"/>
                  <a:pt x="3104408" y="6329013"/>
                </a:cubicBezTo>
                <a:cubicBezTo>
                  <a:pt x="3105873" y="6332607"/>
                  <a:pt x="3106671" y="6336467"/>
                  <a:pt x="3106671" y="6340461"/>
                </a:cubicBezTo>
                <a:cubicBezTo>
                  <a:pt x="3106671" y="6344588"/>
                  <a:pt x="3105873" y="6348581"/>
                  <a:pt x="3104408" y="6352176"/>
                </a:cubicBezTo>
                <a:cubicBezTo>
                  <a:pt x="3102944" y="6355903"/>
                  <a:pt x="3100813" y="6358965"/>
                  <a:pt x="3098284" y="6361627"/>
                </a:cubicBezTo>
                <a:cubicBezTo>
                  <a:pt x="3095622" y="6364290"/>
                  <a:pt x="3092561" y="6366419"/>
                  <a:pt x="3088966" y="6367884"/>
                </a:cubicBezTo>
                <a:cubicBezTo>
                  <a:pt x="3085372" y="6369348"/>
                  <a:pt x="3081511" y="6370147"/>
                  <a:pt x="3077251" y="6370147"/>
                </a:cubicBezTo>
                <a:cubicBezTo>
                  <a:pt x="3068330" y="6370147"/>
                  <a:pt x="3061007" y="6367351"/>
                  <a:pt x="3055411" y="6361760"/>
                </a:cubicBezTo>
                <a:cubicBezTo>
                  <a:pt x="3049821" y="6356170"/>
                  <a:pt x="3047025" y="6349113"/>
                  <a:pt x="3047025" y="6340594"/>
                </a:cubicBezTo>
                <a:cubicBezTo>
                  <a:pt x="3047025" y="6332341"/>
                  <a:pt x="3049821" y="6325286"/>
                  <a:pt x="3055411" y="6319562"/>
                </a:cubicBezTo>
                <a:cubicBezTo>
                  <a:pt x="3061007" y="6313838"/>
                  <a:pt x="3068198" y="6311042"/>
                  <a:pt x="3077251" y="6311042"/>
                </a:cubicBezTo>
                <a:close/>
                <a:moveTo>
                  <a:pt x="2859588" y="6311042"/>
                </a:moveTo>
                <a:cubicBezTo>
                  <a:pt x="2863848" y="6311042"/>
                  <a:pt x="2867709" y="6311708"/>
                  <a:pt x="2871436" y="6313305"/>
                </a:cubicBezTo>
                <a:cubicBezTo>
                  <a:pt x="2875163" y="6314902"/>
                  <a:pt x="2878225" y="6317032"/>
                  <a:pt x="2880754" y="6319694"/>
                </a:cubicBezTo>
                <a:cubicBezTo>
                  <a:pt x="2883416" y="6322224"/>
                  <a:pt x="2885414" y="6325419"/>
                  <a:pt x="2886877" y="6329013"/>
                </a:cubicBezTo>
                <a:cubicBezTo>
                  <a:pt x="2888342" y="6332607"/>
                  <a:pt x="2889140" y="6336467"/>
                  <a:pt x="2889140" y="6340461"/>
                </a:cubicBezTo>
                <a:cubicBezTo>
                  <a:pt x="2889140" y="6344588"/>
                  <a:pt x="2888342" y="6348581"/>
                  <a:pt x="2886877" y="6352176"/>
                </a:cubicBezTo>
                <a:cubicBezTo>
                  <a:pt x="2885414" y="6355903"/>
                  <a:pt x="2883283" y="6358965"/>
                  <a:pt x="2880754" y="6361627"/>
                </a:cubicBezTo>
                <a:cubicBezTo>
                  <a:pt x="2878092" y="6364290"/>
                  <a:pt x="2875030" y="6366419"/>
                  <a:pt x="2871436" y="6367884"/>
                </a:cubicBezTo>
                <a:cubicBezTo>
                  <a:pt x="2867709" y="6369348"/>
                  <a:pt x="2863848" y="6370147"/>
                  <a:pt x="2859588" y="6370147"/>
                </a:cubicBezTo>
                <a:cubicBezTo>
                  <a:pt x="2850670" y="6370147"/>
                  <a:pt x="2843342" y="6367351"/>
                  <a:pt x="2837749" y="6361760"/>
                </a:cubicBezTo>
                <a:cubicBezTo>
                  <a:pt x="2832158" y="6356170"/>
                  <a:pt x="2829361" y="6349113"/>
                  <a:pt x="2829361" y="6340594"/>
                </a:cubicBezTo>
                <a:cubicBezTo>
                  <a:pt x="2829361" y="6332341"/>
                  <a:pt x="2832158" y="6325286"/>
                  <a:pt x="2837749" y="6319562"/>
                </a:cubicBezTo>
                <a:cubicBezTo>
                  <a:pt x="2843342" y="6313838"/>
                  <a:pt x="2850536" y="6311042"/>
                  <a:pt x="2859588" y="6311042"/>
                </a:cubicBezTo>
                <a:close/>
                <a:moveTo>
                  <a:pt x="2641924" y="6311042"/>
                </a:moveTo>
                <a:cubicBezTo>
                  <a:pt x="2646185" y="6311042"/>
                  <a:pt x="2650045" y="6311708"/>
                  <a:pt x="2653640" y="6313305"/>
                </a:cubicBezTo>
                <a:cubicBezTo>
                  <a:pt x="2657367" y="6314902"/>
                  <a:pt x="2660429" y="6317032"/>
                  <a:pt x="2662958" y="6319694"/>
                </a:cubicBezTo>
                <a:cubicBezTo>
                  <a:pt x="2665620" y="6322224"/>
                  <a:pt x="2667617" y="6325419"/>
                  <a:pt x="2669081" y="6329013"/>
                </a:cubicBezTo>
                <a:cubicBezTo>
                  <a:pt x="2670545" y="6332607"/>
                  <a:pt x="2671344" y="6336467"/>
                  <a:pt x="2671344" y="6340461"/>
                </a:cubicBezTo>
                <a:cubicBezTo>
                  <a:pt x="2671344" y="6344588"/>
                  <a:pt x="2670545" y="6348581"/>
                  <a:pt x="2669081" y="6352176"/>
                </a:cubicBezTo>
                <a:cubicBezTo>
                  <a:pt x="2667617" y="6355903"/>
                  <a:pt x="2665487" y="6358965"/>
                  <a:pt x="2662958" y="6361627"/>
                </a:cubicBezTo>
                <a:cubicBezTo>
                  <a:pt x="2660429" y="6364290"/>
                  <a:pt x="2657234" y="6366419"/>
                  <a:pt x="2653640" y="6367884"/>
                </a:cubicBezTo>
                <a:cubicBezTo>
                  <a:pt x="2650045" y="6369348"/>
                  <a:pt x="2646185" y="6370147"/>
                  <a:pt x="2641924" y="6370147"/>
                </a:cubicBezTo>
                <a:cubicBezTo>
                  <a:pt x="2633005" y="6370147"/>
                  <a:pt x="2625683" y="6367351"/>
                  <a:pt x="2620091" y="6361760"/>
                </a:cubicBezTo>
                <a:cubicBezTo>
                  <a:pt x="2614499" y="6356170"/>
                  <a:pt x="2611701" y="6349113"/>
                  <a:pt x="2611701" y="6340594"/>
                </a:cubicBezTo>
                <a:cubicBezTo>
                  <a:pt x="2611701" y="6332341"/>
                  <a:pt x="2614499" y="6325286"/>
                  <a:pt x="2620091" y="6319562"/>
                </a:cubicBezTo>
                <a:cubicBezTo>
                  <a:pt x="2625683" y="6313838"/>
                  <a:pt x="2632873" y="6311042"/>
                  <a:pt x="2641924" y="6311042"/>
                </a:cubicBezTo>
                <a:close/>
                <a:moveTo>
                  <a:pt x="2424261" y="6311042"/>
                </a:moveTo>
                <a:cubicBezTo>
                  <a:pt x="2428521" y="6311042"/>
                  <a:pt x="2432516" y="6311708"/>
                  <a:pt x="2435977" y="6313305"/>
                </a:cubicBezTo>
                <a:cubicBezTo>
                  <a:pt x="2439704" y="6314902"/>
                  <a:pt x="2442765" y="6317032"/>
                  <a:pt x="2445295" y="6319694"/>
                </a:cubicBezTo>
                <a:cubicBezTo>
                  <a:pt x="2447957" y="6322224"/>
                  <a:pt x="2449954" y="6325419"/>
                  <a:pt x="2451418" y="6329013"/>
                </a:cubicBezTo>
                <a:cubicBezTo>
                  <a:pt x="2452882" y="6332607"/>
                  <a:pt x="2453681" y="6336467"/>
                  <a:pt x="2453681" y="6340461"/>
                </a:cubicBezTo>
                <a:cubicBezTo>
                  <a:pt x="2453681" y="6344588"/>
                  <a:pt x="2452882" y="6348581"/>
                  <a:pt x="2451418" y="6352176"/>
                </a:cubicBezTo>
                <a:cubicBezTo>
                  <a:pt x="2449954" y="6355903"/>
                  <a:pt x="2447824" y="6358965"/>
                  <a:pt x="2445295" y="6361627"/>
                </a:cubicBezTo>
                <a:cubicBezTo>
                  <a:pt x="2442765" y="6364290"/>
                  <a:pt x="2439571" y="6366419"/>
                  <a:pt x="2435977" y="6367884"/>
                </a:cubicBezTo>
                <a:cubicBezTo>
                  <a:pt x="2432382" y="6369348"/>
                  <a:pt x="2428521" y="6370147"/>
                  <a:pt x="2424261" y="6370147"/>
                </a:cubicBezTo>
                <a:cubicBezTo>
                  <a:pt x="2415343" y="6370147"/>
                  <a:pt x="2408021" y="6367351"/>
                  <a:pt x="2402429" y="6361760"/>
                </a:cubicBezTo>
                <a:cubicBezTo>
                  <a:pt x="2396836" y="6356170"/>
                  <a:pt x="2394040" y="6349113"/>
                  <a:pt x="2394040" y="6340594"/>
                </a:cubicBezTo>
                <a:cubicBezTo>
                  <a:pt x="2394040" y="6332341"/>
                  <a:pt x="2396836" y="6325286"/>
                  <a:pt x="2402429" y="6319562"/>
                </a:cubicBezTo>
                <a:cubicBezTo>
                  <a:pt x="2408021" y="6313838"/>
                  <a:pt x="2415209" y="6311042"/>
                  <a:pt x="2424261" y="6311042"/>
                </a:cubicBezTo>
                <a:close/>
                <a:moveTo>
                  <a:pt x="2206598" y="6311042"/>
                </a:moveTo>
                <a:cubicBezTo>
                  <a:pt x="2210858" y="6311042"/>
                  <a:pt x="2214852" y="6311708"/>
                  <a:pt x="2218313" y="6313305"/>
                </a:cubicBezTo>
                <a:cubicBezTo>
                  <a:pt x="2222040" y="6314902"/>
                  <a:pt x="2225101" y="6317032"/>
                  <a:pt x="2227632" y="6319694"/>
                </a:cubicBezTo>
                <a:cubicBezTo>
                  <a:pt x="2230294" y="6322224"/>
                  <a:pt x="2232290" y="6325419"/>
                  <a:pt x="2233754" y="6329013"/>
                </a:cubicBezTo>
                <a:cubicBezTo>
                  <a:pt x="2235218" y="6332607"/>
                  <a:pt x="2236017" y="6336467"/>
                  <a:pt x="2236017" y="6340461"/>
                </a:cubicBezTo>
                <a:cubicBezTo>
                  <a:pt x="2236017" y="6344588"/>
                  <a:pt x="2235218" y="6348581"/>
                  <a:pt x="2233754" y="6352176"/>
                </a:cubicBezTo>
                <a:cubicBezTo>
                  <a:pt x="2232290" y="6355903"/>
                  <a:pt x="2230160" y="6358965"/>
                  <a:pt x="2227632" y="6361627"/>
                </a:cubicBezTo>
                <a:cubicBezTo>
                  <a:pt x="2225101" y="6364290"/>
                  <a:pt x="2221907" y="6366419"/>
                  <a:pt x="2218313" y="6367884"/>
                </a:cubicBezTo>
                <a:cubicBezTo>
                  <a:pt x="2214718" y="6369348"/>
                  <a:pt x="2210858" y="6370147"/>
                  <a:pt x="2206598" y="6370147"/>
                </a:cubicBezTo>
                <a:cubicBezTo>
                  <a:pt x="2197546" y="6370147"/>
                  <a:pt x="2190357" y="6367351"/>
                  <a:pt x="2184765" y="6361760"/>
                </a:cubicBezTo>
                <a:cubicBezTo>
                  <a:pt x="2179173" y="6356170"/>
                  <a:pt x="2176376" y="6349113"/>
                  <a:pt x="2176376" y="6340594"/>
                </a:cubicBezTo>
                <a:cubicBezTo>
                  <a:pt x="2176376" y="6332341"/>
                  <a:pt x="2179173" y="6325286"/>
                  <a:pt x="2184765" y="6319562"/>
                </a:cubicBezTo>
                <a:cubicBezTo>
                  <a:pt x="2190357" y="6313838"/>
                  <a:pt x="2197546" y="6311042"/>
                  <a:pt x="2206598" y="6311042"/>
                </a:cubicBezTo>
                <a:close/>
                <a:moveTo>
                  <a:pt x="1989068" y="6311042"/>
                </a:moveTo>
                <a:cubicBezTo>
                  <a:pt x="1993195" y="6311042"/>
                  <a:pt x="1997189" y="6311708"/>
                  <a:pt x="2000783" y="6313305"/>
                </a:cubicBezTo>
                <a:cubicBezTo>
                  <a:pt x="2004510" y="6314902"/>
                  <a:pt x="2007572" y="6317032"/>
                  <a:pt x="2010101" y="6319694"/>
                </a:cubicBezTo>
                <a:cubicBezTo>
                  <a:pt x="2012763" y="6322224"/>
                  <a:pt x="2014760" y="6325419"/>
                  <a:pt x="2016224" y="6329013"/>
                </a:cubicBezTo>
                <a:cubicBezTo>
                  <a:pt x="2017688" y="6332607"/>
                  <a:pt x="2018487" y="6336467"/>
                  <a:pt x="2018487" y="6340461"/>
                </a:cubicBezTo>
                <a:cubicBezTo>
                  <a:pt x="2018487" y="6344588"/>
                  <a:pt x="2017688" y="6348581"/>
                  <a:pt x="2016224" y="6352176"/>
                </a:cubicBezTo>
                <a:cubicBezTo>
                  <a:pt x="2014760" y="6355903"/>
                  <a:pt x="2012630" y="6358965"/>
                  <a:pt x="2010101" y="6361627"/>
                </a:cubicBezTo>
                <a:cubicBezTo>
                  <a:pt x="2007572" y="6364290"/>
                  <a:pt x="2004377" y="6366419"/>
                  <a:pt x="2000783" y="6367884"/>
                </a:cubicBezTo>
                <a:cubicBezTo>
                  <a:pt x="1997189" y="6369348"/>
                  <a:pt x="1993327" y="6370147"/>
                  <a:pt x="1989068" y="6370147"/>
                </a:cubicBezTo>
                <a:cubicBezTo>
                  <a:pt x="1980016" y="6370147"/>
                  <a:pt x="1972827" y="6367351"/>
                  <a:pt x="1967236" y="6361760"/>
                </a:cubicBezTo>
                <a:cubicBezTo>
                  <a:pt x="1961646" y="6356170"/>
                  <a:pt x="1958850" y="6349113"/>
                  <a:pt x="1958850" y="6340594"/>
                </a:cubicBezTo>
                <a:cubicBezTo>
                  <a:pt x="1958850" y="6332341"/>
                  <a:pt x="1961646" y="6325286"/>
                  <a:pt x="1967236" y="6319562"/>
                </a:cubicBezTo>
                <a:cubicBezTo>
                  <a:pt x="1972827" y="6313838"/>
                  <a:pt x="1980016" y="6311042"/>
                  <a:pt x="1989068" y="6311042"/>
                </a:cubicBezTo>
                <a:close/>
                <a:moveTo>
                  <a:pt x="1771436" y="6311042"/>
                </a:moveTo>
                <a:cubicBezTo>
                  <a:pt x="1775695" y="6311042"/>
                  <a:pt x="1779554" y="6311708"/>
                  <a:pt x="1783149" y="6313305"/>
                </a:cubicBezTo>
                <a:cubicBezTo>
                  <a:pt x="1786876" y="6314902"/>
                  <a:pt x="1789938" y="6317032"/>
                  <a:pt x="1792467" y="6319694"/>
                </a:cubicBezTo>
                <a:cubicBezTo>
                  <a:pt x="1795129" y="6322224"/>
                  <a:pt x="1797126" y="6325419"/>
                  <a:pt x="1798590" y="6329013"/>
                </a:cubicBezTo>
                <a:cubicBezTo>
                  <a:pt x="1800053" y="6332607"/>
                  <a:pt x="1800852" y="6336467"/>
                  <a:pt x="1800852" y="6340461"/>
                </a:cubicBezTo>
                <a:cubicBezTo>
                  <a:pt x="1800852" y="6344588"/>
                  <a:pt x="1800053" y="6348581"/>
                  <a:pt x="1798590" y="6352176"/>
                </a:cubicBezTo>
                <a:cubicBezTo>
                  <a:pt x="1797126" y="6355903"/>
                  <a:pt x="1794996" y="6358965"/>
                  <a:pt x="1792467" y="6361627"/>
                </a:cubicBezTo>
                <a:cubicBezTo>
                  <a:pt x="1789804" y="6364290"/>
                  <a:pt x="1786744" y="6366419"/>
                  <a:pt x="1783149" y="6367884"/>
                </a:cubicBezTo>
                <a:cubicBezTo>
                  <a:pt x="1779554" y="6369348"/>
                  <a:pt x="1775695" y="6370147"/>
                  <a:pt x="1771436" y="6370147"/>
                </a:cubicBezTo>
                <a:cubicBezTo>
                  <a:pt x="1762517" y="6370147"/>
                  <a:pt x="1755197" y="6367351"/>
                  <a:pt x="1749606" y="6361760"/>
                </a:cubicBezTo>
                <a:cubicBezTo>
                  <a:pt x="1744016" y="6356170"/>
                  <a:pt x="1741224" y="6349113"/>
                  <a:pt x="1741224" y="6340594"/>
                </a:cubicBezTo>
                <a:cubicBezTo>
                  <a:pt x="1741224" y="6332341"/>
                  <a:pt x="1744016" y="6325286"/>
                  <a:pt x="1749606" y="6319562"/>
                </a:cubicBezTo>
                <a:cubicBezTo>
                  <a:pt x="1755197" y="6313838"/>
                  <a:pt x="1762383" y="6311042"/>
                  <a:pt x="1771436" y="6311042"/>
                </a:cubicBezTo>
                <a:close/>
                <a:moveTo>
                  <a:pt x="1553800" y="6311042"/>
                </a:moveTo>
                <a:cubicBezTo>
                  <a:pt x="1558059" y="6311042"/>
                  <a:pt x="1561920" y="6311708"/>
                  <a:pt x="1565514" y="6313305"/>
                </a:cubicBezTo>
                <a:cubicBezTo>
                  <a:pt x="1569109" y="6314902"/>
                  <a:pt x="1572304" y="6317032"/>
                  <a:pt x="1574833" y="6319694"/>
                </a:cubicBezTo>
                <a:cubicBezTo>
                  <a:pt x="1577495" y="6322224"/>
                  <a:pt x="1579491" y="6325419"/>
                  <a:pt x="1580955" y="6329013"/>
                </a:cubicBezTo>
                <a:cubicBezTo>
                  <a:pt x="1582420" y="6332607"/>
                  <a:pt x="1583219" y="6336467"/>
                  <a:pt x="1583219" y="6340461"/>
                </a:cubicBezTo>
                <a:cubicBezTo>
                  <a:pt x="1583219" y="6344588"/>
                  <a:pt x="1582420" y="6348581"/>
                  <a:pt x="1580955" y="6352176"/>
                </a:cubicBezTo>
                <a:cubicBezTo>
                  <a:pt x="1579491" y="6355903"/>
                  <a:pt x="1577362" y="6358965"/>
                  <a:pt x="1574833" y="6361627"/>
                </a:cubicBezTo>
                <a:cubicBezTo>
                  <a:pt x="1572170" y="6364290"/>
                  <a:pt x="1569109" y="6366419"/>
                  <a:pt x="1565514" y="6367884"/>
                </a:cubicBezTo>
                <a:cubicBezTo>
                  <a:pt x="1561920" y="6369348"/>
                  <a:pt x="1558059" y="6370147"/>
                  <a:pt x="1553800" y="6370147"/>
                </a:cubicBezTo>
                <a:cubicBezTo>
                  <a:pt x="1544881" y="6370147"/>
                  <a:pt x="1537560" y="6367351"/>
                  <a:pt x="1531971" y="6361760"/>
                </a:cubicBezTo>
                <a:cubicBezTo>
                  <a:pt x="1526382" y="6356170"/>
                  <a:pt x="1523585" y="6349113"/>
                  <a:pt x="1523585" y="6340594"/>
                </a:cubicBezTo>
                <a:cubicBezTo>
                  <a:pt x="1523585" y="6332341"/>
                  <a:pt x="1526382" y="6325286"/>
                  <a:pt x="1531971" y="6319562"/>
                </a:cubicBezTo>
                <a:cubicBezTo>
                  <a:pt x="1537560" y="6313838"/>
                  <a:pt x="1544747" y="6311042"/>
                  <a:pt x="1553800" y="6311042"/>
                </a:cubicBezTo>
                <a:close/>
                <a:moveTo>
                  <a:pt x="1336157" y="6311042"/>
                </a:moveTo>
                <a:cubicBezTo>
                  <a:pt x="1340416" y="6311042"/>
                  <a:pt x="1344412" y="6311708"/>
                  <a:pt x="1347872" y="6313305"/>
                </a:cubicBezTo>
                <a:cubicBezTo>
                  <a:pt x="1351465" y="6314902"/>
                  <a:pt x="1354661" y="6317032"/>
                  <a:pt x="1357190" y="6319694"/>
                </a:cubicBezTo>
                <a:cubicBezTo>
                  <a:pt x="1359852" y="6322224"/>
                  <a:pt x="1361849" y="6325419"/>
                  <a:pt x="1363313" y="6329013"/>
                </a:cubicBezTo>
                <a:cubicBezTo>
                  <a:pt x="1364777" y="6332607"/>
                  <a:pt x="1365575" y="6336467"/>
                  <a:pt x="1365575" y="6340461"/>
                </a:cubicBezTo>
                <a:cubicBezTo>
                  <a:pt x="1365575" y="6344588"/>
                  <a:pt x="1364777" y="6348581"/>
                  <a:pt x="1363313" y="6352176"/>
                </a:cubicBezTo>
                <a:cubicBezTo>
                  <a:pt x="1361849" y="6355903"/>
                  <a:pt x="1359719" y="6358965"/>
                  <a:pt x="1357190" y="6361627"/>
                </a:cubicBezTo>
                <a:cubicBezTo>
                  <a:pt x="1354527" y="6364290"/>
                  <a:pt x="1351465" y="6366419"/>
                  <a:pt x="1347872" y="6367884"/>
                </a:cubicBezTo>
                <a:cubicBezTo>
                  <a:pt x="1344278" y="6369348"/>
                  <a:pt x="1340416" y="6370147"/>
                  <a:pt x="1336157" y="6370147"/>
                </a:cubicBezTo>
                <a:cubicBezTo>
                  <a:pt x="1327236" y="6370147"/>
                  <a:pt x="1319915" y="6367351"/>
                  <a:pt x="1314323" y="6361760"/>
                </a:cubicBezTo>
                <a:cubicBezTo>
                  <a:pt x="1308734" y="6356170"/>
                  <a:pt x="1305938" y="6349113"/>
                  <a:pt x="1305938" y="6340594"/>
                </a:cubicBezTo>
                <a:cubicBezTo>
                  <a:pt x="1305938" y="6332341"/>
                  <a:pt x="1308734" y="6325286"/>
                  <a:pt x="1314323" y="6319562"/>
                </a:cubicBezTo>
                <a:cubicBezTo>
                  <a:pt x="1319915" y="6313838"/>
                  <a:pt x="1327103" y="6311042"/>
                  <a:pt x="1336157" y="6311042"/>
                </a:cubicBezTo>
                <a:close/>
                <a:moveTo>
                  <a:pt x="1118511" y="6311042"/>
                </a:moveTo>
                <a:cubicBezTo>
                  <a:pt x="1122772" y="6311042"/>
                  <a:pt x="1126768" y="6311708"/>
                  <a:pt x="1130229" y="6313305"/>
                </a:cubicBezTo>
                <a:cubicBezTo>
                  <a:pt x="1133956" y="6314902"/>
                  <a:pt x="1137018" y="6317032"/>
                  <a:pt x="1139544" y="6319694"/>
                </a:cubicBezTo>
                <a:cubicBezTo>
                  <a:pt x="1142204" y="6322224"/>
                  <a:pt x="1144200" y="6325419"/>
                  <a:pt x="1145663" y="6329013"/>
                </a:cubicBezTo>
                <a:cubicBezTo>
                  <a:pt x="1147128" y="6332607"/>
                  <a:pt x="1147927" y="6336467"/>
                  <a:pt x="1147927" y="6340461"/>
                </a:cubicBezTo>
                <a:cubicBezTo>
                  <a:pt x="1147927" y="6344588"/>
                  <a:pt x="1147128" y="6348581"/>
                  <a:pt x="1145663" y="6352176"/>
                </a:cubicBezTo>
                <a:cubicBezTo>
                  <a:pt x="1144200" y="6355903"/>
                  <a:pt x="1142072" y="6358965"/>
                  <a:pt x="1139544" y="6361627"/>
                </a:cubicBezTo>
                <a:cubicBezTo>
                  <a:pt x="1137018" y="6364290"/>
                  <a:pt x="1133823" y="6366419"/>
                  <a:pt x="1130229" y="6367884"/>
                </a:cubicBezTo>
                <a:cubicBezTo>
                  <a:pt x="1126634" y="6369348"/>
                  <a:pt x="1122772" y="6370147"/>
                  <a:pt x="1118511" y="6370147"/>
                </a:cubicBezTo>
                <a:cubicBezTo>
                  <a:pt x="1109591" y="6370147"/>
                  <a:pt x="1102266" y="6367351"/>
                  <a:pt x="1096676" y="6361760"/>
                </a:cubicBezTo>
                <a:cubicBezTo>
                  <a:pt x="1091085" y="6356170"/>
                  <a:pt x="1088291" y="6349113"/>
                  <a:pt x="1088291" y="6340594"/>
                </a:cubicBezTo>
                <a:cubicBezTo>
                  <a:pt x="1088291" y="6332341"/>
                  <a:pt x="1091085" y="6325286"/>
                  <a:pt x="1096676" y="6319562"/>
                </a:cubicBezTo>
                <a:cubicBezTo>
                  <a:pt x="1102266" y="6313838"/>
                  <a:pt x="1109457" y="6311042"/>
                  <a:pt x="1118511" y="6311042"/>
                </a:cubicBezTo>
                <a:close/>
                <a:moveTo>
                  <a:pt x="900998" y="6311042"/>
                </a:moveTo>
                <a:cubicBezTo>
                  <a:pt x="905125" y="6311042"/>
                  <a:pt x="909119" y="6311708"/>
                  <a:pt x="912713" y="6313305"/>
                </a:cubicBezTo>
                <a:cubicBezTo>
                  <a:pt x="916440" y="6314902"/>
                  <a:pt x="919502" y="6317032"/>
                  <a:pt x="922031" y="6319694"/>
                </a:cubicBezTo>
                <a:cubicBezTo>
                  <a:pt x="924693" y="6322224"/>
                  <a:pt x="926690" y="6325419"/>
                  <a:pt x="928153" y="6329013"/>
                </a:cubicBezTo>
                <a:cubicBezTo>
                  <a:pt x="929618" y="6332607"/>
                  <a:pt x="930416" y="6336467"/>
                  <a:pt x="930416" y="6340461"/>
                </a:cubicBezTo>
                <a:cubicBezTo>
                  <a:pt x="930416" y="6344588"/>
                  <a:pt x="929618" y="6348581"/>
                  <a:pt x="928153" y="6352176"/>
                </a:cubicBezTo>
                <a:cubicBezTo>
                  <a:pt x="926690" y="6355903"/>
                  <a:pt x="924560" y="6358965"/>
                  <a:pt x="922031" y="6361627"/>
                </a:cubicBezTo>
                <a:cubicBezTo>
                  <a:pt x="919502" y="6364290"/>
                  <a:pt x="916307" y="6366419"/>
                  <a:pt x="912713" y="6367884"/>
                </a:cubicBezTo>
                <a:cubicBezTo>
                  <a:pt x="909119" y="6369348"/>
                  <a:pt x="905258" y="6370147"/>
                  <a:pt x="900998" y="6370147"/>
                </a:cubicBezTo>
                <a:cubicBezTo>
                  <a:pt x="892079" y="6370147"/>
                  <a:pt x="884757" y="6367351"/>
                  <a:pt x="879167" y="6361760"/>
                </a:cubicBezTo>
                <a:cubicBezTo>
                  <a:pt x="873578" y="6356170"/>
                  <a:pt x="870782" y="6349113"/>
                  <a:pt x="870782" y="6340594"/>
                </a:cubicBezTo>
                <a:cubicBezTo>
                  <a:pt x="870782" y="6332341"/>
                  <a:pt x="873578" y="6325286"/>
                  <a:pt x="879167" y="6319562"/>
                </a:cubicBezTo>
                <a:cubicBezTo>
                  <a:pt x="884757" y="6313838"/>
                  <a:pt x="891946" y="6311042"/>
                  <a:pt x="900998" y="6311042"/>
                </a:cubicBezTo>
                <a:close/>
                <a:moveTo>
                  <a:pt x="683358" y="6311042"/>
                </a:moveTo>
                <a:cubicBezTo>
                  <a:pt x="687618" y="6311042"/>
                  <a:pt x="691479" y="6311708"/>
                  <a:pt x="695073" y="6313305"/>
                </a:cubicBezTo>
                <a:cubicBezTo>
                  <a:pt x="698800" y="6314902"/>
                  <a:pt x="701862" y="6317032"/>
                  <a:pt x="704390" y="6319694"/>
                </a:cubicBezTo>
                <a:cubicBezTo>
                  <a:pt x="707052" y="6322224"/>
                  <a:pt x="709049" y="6325419"/>
                  <a:pt x="710513" y="6329013"/>
                </a:cubicBezTo>
                <a:cubicBezTo>
                  <a:pt x="711977" y="6332607"/>
                  <a:pt x="712776" y="6336467"/>
                  <a:pt x="712776" y="6340461"/>
                </a:cubicBezTo>
                <a:cubicBezTo>
                  <a:pt x="712776" y="6344588"/>
                  <a:pt x="711977" y="6348581"/>
                  <a:pt x="710513" y="6352176"/>
                </a:cubicBezTo>
                <a:cubicBezTo>
                  <a:pt x="709049" y="6355903"/>
                  <a:pt x="706919" y="6358965"/>
                  <a:pt x="704390" y="6361627"/>
                </a:cubicBezTo>
                <a:cubicBezTo>
                  <a:pt x="701862" y="6364290"/>
                  <a:pt x="698667" y="6366419"/>
                  <a:pt x="695073" y="6367884"/>
                </a:cubicBezTo>
                <a:cubicBezTo>
                  <a:pt x="691479" y="6369348"/>
                  <a:pt x="687618" y="6370147"/>
                  <a:pt x="683358" y="6370147"/>
                </a:cubicBezTo>
                <a:cubicBezTo>
                  <a:pt x="674440" y="6370147"/>
                  <a:pt x="667118" y="6367351"/>
                  <a:pt x="661527" y="6361760"/>
                </a:cubicBezTo>
                <a:cubicBezTo>
                  <a:pt x="655936" y="6356170"/>
                  <a:pt x="653141" y="6349113"/>
                  <a:pt x="653141" y="6340594"/>
                </a:cubicBezTo>
                <a:cubicBezTo>
                  <a:pt x="653141" y="6332341"/>
                  <a:pt x="655936" y="6325286"/>
                  <a:pt x="661527" y="6319562"/>
                </a:cubicBezTo>
                <a:cubicBezTo>
                  <a:pt x="667118" y="6313838"/>
                  <a:pt x="674307" y="6311042"/>
                  <a:pt x="683358" y="6311042"/>
                </a:cubicBezTo>
                <a:close/>
                <a:moveTo>
                  <a:pt x="465717" y="6311042"/>
                </a:moveTo>
                <a:cubicBezTo>
                  <a:pt x="469977" y="6311042"/>
                  <a:pt x="473838" y="6311708"/>
                  <a:pt x="477433" y="6313305"/>
                </a:cubicBezTo>
                <a:cubicBezTo>
                  <a:pt x="481160" y="6314902"/>
                  <a:pt x="484221" y="6317032"/>
                  <a:pt x="486750" y="6319694"/>
                </a:cubicBezTo>
                <a:cubicBezTo>
                  <a:pt x="489412" y="6322224"/>
                  <a:pt x="491409" y="6325419"/>
                  <a:pt x="492873" y="6329013"/>
                </a:cubicBezTo>
                <a:cubicBezTo>
                  <a:pt x="494336" y="6332607"/>
                  <a:pt x="495136" y="6336467"/>
                  <a:pt x="495136" y="6340461"/>
                </a:cubicBezTo>
                <a:cubicBezTo>
                  <a:pt x="495136" y="6344588"/>
                  <a:pt x="494336" y="6348581"/>
                  <a:pt x="492873" y="6352176"/>
                </a:cubicBezTo>
                <a:cubicBezTo>
                  <a:pt x="491409" y="6355903"/>
                  <a:pt x="489279" y="6358965"/>
                  <a:pt x="486750" y="6361627"/>
                </a:cubicBezTo>
                <a:cubicBezTo>
                  <a:pt x="484087" y="6364290"/>
                  <a:pt x="481027" y="6366419"/>
                  <a:pt x="477433" y="6367884"/>
                </a:cubicBezTo>
                <a:cubicBezTo>
                  <a:pt x="473838" y="6369348"/>
                  <a:pt x="469977" y="6370147"/>
                  <a:pt x="465717" y="6370147"/>
                </a:cubicBezTo>
                <a:cubicBezTo>
                  <a:pt x="456799" y="6370147"/>
                  <a:pt x="449477" y="6367351"/>
                  <a:pt x="443886" y="6361760"/>
                </a:cubicBezTo>
                <a:cubicBezTo>
                  <a:pt x="438295" y="6356170"/>
                  <a:pt x="435500" y="6349113"/>
                  <a:pt x="435500" y="6340594"/>
                </a:cubicBezTo>
                <a:cubicBezTo>
                  <a:pt x="435500" y="6332341"/>
                  <a:pt x="438295" y="6325286"/>
                  <a:pt x="443886" y="6319562"/>
                </a:cubicBezTo>
                <a:cubicBezTo>
                  <a:pt x="449477" y="6313838"/>
                  <a:pt x="456666" y="6311042"/>
                  <a:pt x="465717" y="6311042"/>
                </a:cubicBezTo>
                <a:close/>
                <a:moveTo>
                  <a:pt x="248076" y="6311042"/>
                </a:moveTo>
                <a:cubicBezTo>
                  <a:pt x="252336" y="6311042"/>
                  <a:pt x="256330" y="6311708"/>
                  <a:pt x="259790" y="6313305"/>
                </a:cubicBezTo>
                <a:cubicBezTo>
                  <a:pt x="263518" y="6314902"/>
                  <a:pt x="266580" y="6317032"/>
                  <a:pt x="269109" y="6319694"/>
                </a:cubicBezTo>
                <a:cubicBezTo>
                  <a:pt x="271771" y="6322224"/>
                  <a:pt x="273768" y="6325419"/>
                  <a:pt x="275232" y="6329013"/>
                </a:cubicBezTo>
                <a:cubicBezTo>
                  <a:pt x="276696" y="6332607"/>
                  <a:pt x="277495" y="6336467"/>
                  <a:pt x="277495" y="6340461"/>
                </a:cubicBezTo>
                <a:cubicBezTo>
                  <a:pt x="277495" y="6344588"/>
                  <a:pt x="276696" y="6348581"/>
                  <a:pt x="275232" y="6352176"/>
                </a:cubicBezTo>
                <a:cubicBezTo>
                  <a:pt x="273768" y="6355903"/>
                  <a:pt x="271638" y="6358965"/>
                  <a:pt x="269109" y="6361627"/>
                </a:cubicBezTo>
                <a:cubicBezTo>
                  <a:pt x="266446" y="6364290"/>
                  <a:pt x="263384" y="6366419"/>
                  <a:pt x="259790" y="6367884"/>
                </a:cubicBezTo>
                <a:cubicBezTo>
                  <a:pt x="256195" y="6369348"/>
                  <a:pt x="252336" y="6370147"/>
                  <a:pt x="248076" y="6370147"/>
                </a:cubicBezTo>
                <a:cubicBezTo>
                  <a:pt x="239159" y="6370147"/>
                  <a:pt x="231838" y="6367351"/>
                  <a:pt x="226247" y="6361760"/>
                </a:cubicBezTo>
                <a:cubicBezTo>
                  <a:pt x="220657" y="6356170"/>
                  <a:pt x="217862" y="6349113"/>
                  <a:pt x="217862" y="6340594"/>
                </a:cubicBezTo>
                <a:cubicBezTo>
                  <a:pt x="217862" y="6332341"/>
                  <a:pt x="220657" y="6325286"/>
                  <a:pt x="226247" y="6319562"/>
                </a:cubicBezTo>
                <a:cubicBezTo>
                  <a:pt x="231838" y="6313838"/>
                  <a:pt x="239025" y="6311042"/>
                  <a:pt x="248076" y="6311042"/>
                </a:cubicBezTo>
                <a:close/>
                <a:moveTo>
                  <a:pt x="30435" y="6311042"/>
                </a:moveTo>
                <a:cubicBezTo>
                  <a:pt x="34695" y="6311042"/>
                  <a:pt x="38689" y="6311708"/>
                  <a:pt x="42150" y="6313305"/>
                </a:cubicBezTo>
                <a:cubicBezTo>
                  <a:pt x="45877" y="6314902"/>
                  <a:pt x="48939" y="6317032"/>
                  <a:pt x="51468" y="6319694"/>
                </a:cubicBezTo>
                <a:cubicBezTo>
                  <a:pt x="54131" y="6322224"/>
                  <a:pt x="56128" y="6325419"/>
                  <a:pt x="57592" y="6329013"/>
                </a:cubicBezTo>
                <a:cubicBezTo>
                  <a:pt x="59056" y="6332607"/>
                  <a:pt x="59855" y="6336467"/>
                  <a:pt x="59855" y="6340461"/>
                </a:cubicBezTo>
                <a:cubicBezTo>
                  <a:pt x="59855" y="6344588"/>
                  <a:pt x="59056" y="6348581"/>
                  <a:pt x="57592" y="6352176"/>
                </a:cubicBezTo>
                <a:cubicBezTo>
                  <a:pt x="56128" y="6355903"/>
                  <a:pt x="53997" y="6358965"/>
                  <a:pt x="51468" y="6361627"/>
                </a:cubicBezTo>
                <a:cubicBezTo>
                  <a:pt x="48805" y="6364290"/>
                  <a:pt x="45744" y="6366419"/>
                  <a:pt x="42150" y="6367884"/>
                </a:cubicBezTo>
                <a:cubicBezTo>
                  <a:pt x="38556" y="6369348"/>
                  <a:pt x="34695" y="6370147"/>
                  <a:pt x="30435" y="6370147"/>
                </a:cubicBezTo>
                <a:cubicBezTo>
                  <a:pt x="21517" y="6370147"/>
                  <a:pt x="14197" y="6367351"/>
                  <a:pt x="8608" y="6361760"/>
                </a:cubicBezTo>
                <a:cubicBezTo>
                  <a:pt x="3017" y="6356170"/>
                  <a:pt x="222" y="6349113"/>
                  <a:pt x="222" y="6340594"/>
                </a:cubicBezTo>
                <a:cubicBezTo>
                  <a:pt x="222" y="6332341"/>
                  <a:pt x="3017" y="6325286"/>
                  <a:pt x="8608" y="6319562"/>
                </a:cubicBezTo>
                <a:cubicBezTo>
                  <a:pt x="14197" y="6313838"/>
                  <a:pt x="21383" y="6311042"/>
                  <a:pt x="30435" y="6311042"/>
                </a:cubicBezTo>
                <a:close/>
                <a:moveTo>
                  <a:pt x="10475977" y="6110037"/>
                </a:moveTo>
                <a:cubicBezTo>
                  <a:pt x="10470119" y="6110037"/>
                  <a:pt x="10467589" y="6111900"/>
                  <a:pt x="10465992" y="6113631"/>
                </a:cubicBezTo>
                <a:cubicBezTo>
                  <a:pt x="10463463" y="6116293"/>
                  <a:pt x="10462399" y="6119089"/>
                  <a:pt x="10462399" y="6123082"/>
                </a:cubicBezTo>
                <a:cubicBezTo>
                  <a:pt x="10462399" y="6127209"/>
                  <a:pt x="10463463" y="6130004"/>
                  <a:pt x="10465992" y="6132533"/>
                </a:cubicBezTo>
                <a:cubicBezTo>
                  <a:pt x="10467589" y="6134132"/>
                  <a:pt x="10470119" y="6135995"/>
                  <a:pt x="10475977" y="6135995"/>
                </a:cubicBezTo>
                <a:cubicBezTo>
                  <a:pt x="10478107" y="6135995"/>
                  <a:pt x="10479838" y="6135596"/>
                  <a:pt x="10481302" y="6135063"/>
                </a:cubicBezTo>
                <a:cubicBezTo>
                  <a:pt x="10482899" y="6134531"/>
                  <a:pt x="10484098" y="6133599"/>
                  <a:pt x="10485029" y="6132666"/>
                </a:cubicBezTo>
                <a:cubicBezTo>
                  <a:pt x="10486094" y="6131468"/>
                  <a:pt x="10487026" y="6130137"/>
                  <a:pt x="10487691" y="6128407"/>
                </a:cubicBezTo>
                <a:cubicBezTo>
                  <a:pt x="10488357" y="6126809"/>
                  <a:pt x="10488623" y="6124946"/>
                  <a:pt x="10488623" y="6122949"/>
                </a:cubicBezTo>
                <a:cubicBezTo>
                  <a:pt x="10488623" y="6121085"/>
                  <a:pt x="10488357" y="6119355"/>
                  <a:pt x="10487691" y="6117758"/>
                </a:cubicBezTo>
                <a:cubicBezTo>
                  <a:pt x="10487026" y="6116160"/>
                  <a:pt x="10486094" y="6114829"/>
                  <a:pt x="10485029" y="6113631"/>
                </a:cubicBezTo>
                <a:cubicBezTo>
                  <a:pt x="10483964" y="6112566"/>
                  <a:pt x="10482633" y="6111634"/>
                  <a:pt x="10481035" y="6110968"/>
                </a:cubicBezTo>
                <a:cubicBezTo>
                  <a:pt x="10479571" y="6110303"/>
                  <a:pt x="10477974" y="6110037"/>
                  <a:pt x="10475977" y="6110037"/>
                </a:cubicBezTo>
                <a:close/>
                <a:moveTo>
                  <a:pt x="10258466" y="6110037"/>
                </a:moveTo>
                <a:cubicBezTo>
                  <a:pt x="10252608" y="6110037"/>
                  <a:pt x="10250078" y="6111900"/>
                  <a:pt x="10248481" y="6113631"/>
                </a:cubicBezTo>
                <a:cubicBezTo>
                  <a:pt x="10245952" y="6116293"/>
                  <a:pt x="10244887" y="6119089"/>
                  <a:pt x="10244887" y="6123082"/>
                </a:cubicBezTo>
                <a:cubicBezTo>
                  <a:pt x="10244887" y="6127209"/>
                  <a:pt x="10245952" y="6130004"/>
                  <a:pt x="10248481" y="6132533"/>
                </a:cubicBezTo>
                <a:cubicBezTo>
                  <a:pt x="10250078" y="6134132"/>
                  <a:pt x="10252608" y="6135995"/>
                  <a:pt x="10258466" y="6135995"/>
                </a:cubicBezTo>
                <a:cubicBezTo>
                  <a:pt x="10260462" y="6135995"/>
                  <a:pt x="10262192" y="6135596"/>
                  <a:pt x="10263790" y="6135063"/>
                </a:cubicBezTo>
                <a:cubicBezTo>
                  <a:pt x="10265388" y="6134531"/>
                  <a:pt x="10266586" y="6133599"/>
                  <a:pt x="10267517" y="6132666"/>
                </a:cubicBezTo>
                <a:cubicBezTo>
                  <a:pt x="10268583" y="6131468"/>
                  <a:pt x="10269515" y="6130137"/>
                  <a:pt x="10270180" y="6128407"/>
                </a:cubicBezTo>
                <a:cubicBezTo>
                  <a:pt x="10270845" y="6126809"/>
                  <a:pt x="10271112" y="6124946"/>
                  <a:pt x="10271112" y="6122949"/>
                </a:cubicBezTo>
                <a:cubicBezTo>
                  <a:pt x="10271112" y="6121085"/>
                  <a:pt x="10270845" y="6119355"/>
                  <a:pt x="10270180" y="6117758"/>
                </a:cubicBezTo>
                <a:cubicBezTo>
                  <a:pt x="10269515" y="6116160"/>
                  <a:pt x="10268583" y="6114829"/>
                  <a:pt x="10267517" y="6113631"/>
                </a:cubicBezTo>
                <a:cubicBezTo>
                  <a:pt x="10266452" y="6112566"/>
                  <a:pt x="10265121" y="6111634"/>
                  <a:pt x="10263524" y="6110968"/>
                </a:cubicBezTo>
                <a:cubicBezTo>
                  <a:pt x="10262060" y="6110303"/>
                  <a:pt x="10260462" y="6110037"/>
                  <a:pt x="10258466" y="6110037"/>
                </a:cubicBezTo>
                <a:close/>
                <a:moveTo>
                  <a:pt x="10040820" y="6110037"/>
                </a:moveTo>
                <a:cubicBezTo>
                  <a:pt x="10034962" y="6110037"/>
                  <a:pt x="10032433" y="6111900"/>
                  <a:pt x="10030835" y="6113631"/>
                </a:cubicBezTo>
                <a:cubicBezTo>
                  <a:pt x="10028306" y="6116293"/>
                  <a:pt x="10027242" y="6119089"/>
                  <a:pt x="10027242" y="6123082"/>
                </a:cubicBezTo>
                <a:cubicBezTo>
                  <a:pt x="10027242" y="6127209"/>
                  <a:pt x="10028306" y="6130004"/>
                  <a:pt x="10030835" y="6132533"/>
                </a:cubicBezTo>
                <a:cubicBezTo>
                  <a:pt x="10032433" y="6134132"/>
                  <a:pt x="10034962" y="6135995"/>
                  <a:pt x="10040820" y="6135995"/>
                </a:cubicBezTo>
                <a:cubicBezTo>
                  <a:pt x="10042817" y="6135995"/>
                  <a:pt x="10044681" y="6135596"/>
                  <a:pt x="10046145" y="6135063"/>
                </a:cubicBezTo>
                <a:cubicBezTo>
                  <a:pt x="10047742" y="6134531"/>
                  <a:pt x="10048941" y="6133599"/>
                  <a:pt x="10049872" y="6132666"/>
                </a:cubicBezTo>
                <a:cubicBezTo>
                  <a:pt x="10050937" y="6131468"/>
                  <a:pt x="10051869" y="6130137"/>
                  <a:pt x="10052534" y="6128407"/>
                </a:cubicBezTo>
                <a:cubicBezTo>
                  <a:pt x="10053333" y="6126809"/>
                  <a:pt x="10053599" y="6124946"/>
                  <a:pt x="10053599" y="6122949"/>
                </a:cubicBezTo>
                <a:cubicBezTo>
                  <a:pt x="10053599" y="6121085"/>
                  <a:pt x="10053200" y="6119355"/>
                  <a:pt x="10052534" y="6117758"/>
                </a:cubicBezTo>
                <a:cubicBezTo>
                  <a:pt x="10051869" y="6116160"/>
                  <a:pt x="10050937" y="6114829"/>
                  <a:pt x="10049872" y="6113631"/>
                </a:cubicBezTo>
                <a:cubicBezTo>
                  <a:pt x="10048807" y="6112566"/>
                  <a:pt x="10047476" y="6111634"/>
                  <a:pt x="10045878" y="6110968"/>
                </a:cubicBezTo>
                <a:cubicBezTo>
                  <a:pt x="10044414" y="6110303"/>
                  <a:pt x="10042817" y="6110037"/>
                  <a:pt x="10040820" y="6110037"/>
                </a:cubicBezTo>
                <a:close/>
                <a:moveTo>
                  <a:pt x="9823176" y="6110037"/>
                </a:moveTo>
                <a:cubicBezTo>
                  <a:pt x="9817318" y="6110037"/>
                  <a:pt x="9814788" y="6111900"/>
                  <a:pt x="9813191" y="6113631"/>
                </a:cubicBezTo>
                <a:cubicBezTo>
                  <a:pt x="9810662" y="6116293"/>
                  <a:pt x="9809597" y="6119089"/>
                  <a:pt x="9809597" y="6123082"/>
                </a:cubicBezTo>
                <a:cubicBezTo>
                  <a:pt x="9809597" y="6127209"/>
                  <a:pt x="9810662" y="6130004"/>
                  <a:pt x="9813191" y="6132533"/>
                </a:cubicBezTo>
                <a:cubicBezTo>
                  <a:pt x="9814788" y="6134132"/>
                  <a:pt x="9817318" y="6135995"/>
                  <a:pt x="9823176" y="6135995"/>
                </a:cubicBezTo>
                <a:cubicBezTo>
                  <a:pt x="9825173" y="6135995"/>
                  <a:pt x="9827036" y="6135596"/>
                  <a:pt x="9828501" y="6135063"/>
                </a:cubicBezTo>
                <a:cubicBezTo>
                  <a:pt x="9830098" y="6134531"/>
                  <a:pt x="9831296" y="6133599"/>
                  <a:pt x="9832227" y="6132666"/>
                </a:cubicBezTo>
                <a:cubicBezTo>
                  <a:pt x="9833293" y="6131468"/>
                  <a:pt x="9834225" y="6130137"/>
                  <a:pt x="9834890" y="6128407"/>
                </a:cubicBezTo>
                <a:cubicBezTo>
                  <a:pt x="9835689" y="6126809"/>
                  <a:pt x="9835955" y="6124946"/>
                  <a:pt x="9835955" y="6122949"/>
                </a:cubicBezTo>
                <a:cubicBezTo>
                  <a:pt x="9835955" y="6121085"/>
                  <a:pt x="9835555" y="6119355"/>
                  <a:pt x="9834890" y="6117758"/>
                </a:cubicBezTo>
                <a:cubicBezTo>
                  <a:pt x="9834225" y="6116160"/>
                  <a:pt x="9833293" y="6114829"/>
                  <a:pt x="9832227" y="6113631"/>
                </a:cubicBezTo>
                <a:cubicBezTo>
                  <a:pt x="9831162" y="6112566"/>
                  <a:pt x="9829831" y="6111634"/>
                  <a:pt x="9828234" y="6110968"/>
                </a:cubicBezTo>
                <a:cubicBezTo>
                  <a:pt x="9826770" y="6110303"/>
                  <a:pt x="9825173" y="6110037"/>
                  <a:pt x="9823176" y="6110037"/>
                </a:cubicBezTo>
                <a:close/>
                <a:moveTo>
                  <a:pt x="9605531" y="6110037"/>
                </a:moveTo>
                <a:cubicBezTo>
                  <a:pt x="9599673" y="6110037"/>
                  <a:pt x="9597143" y="6111900"/>
                  <a:pt x="9595546" y="6113631"/>
                </a:cubicBezTo>
                <a:cubicBezTo>
                  <a:pt x="9593017" y="6116293"/>
                  <a:pt x="9591952" y="6119089"/>
                  <a:pt x="9591952" y="6123082"/>
                </a:cubicBezTo>
                <a:cubicBezTo>
                  <a:pt x="9591952" y="6127209"/>
                  <a:pt x="9593017" y="6130004"/>
                  <a:pt x="9595546" y="6132533"/>
                </a:cubicBezTo>
                <a:cubicBezTo>
                  <a:pt x="9597143" y="6134132"/>
                  <a:pt x="9599673" y="6135995"/>
                  <a:pt x="9605531" y="6135995"/>
                </a:cubicBezTo>
                <a:cubicBezTo>
                  <a:pt x="9607660" y="6135995"/>
                  <a:pt x="9609391" y="6135596"/>
                  <a:pt x="9610855" y="6135063"/>
                </a:cubicBezTo>
                <a:cubicBezTo>
                  <a:pt x="9612319" y="6134531"/>
                  <a:pt x="9613651" y="6133599"/>
                  <a:pt x="9614582" y="6132666"/>
                </a:cubicBezTo>
                <a:cubicBezTo>
                  <a:pt x="9615647" y="6131468"/>
                  <a:pt x="9616579" y="6130137"/>
                  <a:pt x="9617245" y="6128407"/>
                </a:cubicBezTo>
                <a:cubicBezTo>
                  <a:pt x="9618044" y="6126809"/>
                  <a:pt x="9618309" y="6124946"/>
                  <a:pt x="9618309" y="6122949"/>
                </a:cubicBezTo>
                <a:cubicBezTo>
                  <a:pt x="9618309" y="6121085"/>
                  <a:pt x="9617910" y="6119355"/>
                  <a:pt x="9617245" y="6117758"/>
                </a:cubicBezTo>
                <a:cubicBezTo>
                  <a:pt x="9616579" y="6116160"/>
                  <a:pt x="9615647" y="6114829"/>
                  <a:pt x="9614582" y="6113631"/>
                </a:cubicBezTo>
                <a:cubicBezTo>
                  <a:pt x="9613517" y="6112566"/>
                  <a:pt x="9612186" y="6111634"/>
                  <a:pt x="9610589" y="6110968"/>
                </a:cubicBezTo>
                <a:cubicBezTo>
                  <a:pt x="9609124" y="6110303"/>
                  <a:pt x="9607394" y="6110037"/>
                  <a:pt x="9605531" y="6110037"/>
                </a:cubicBezTo>
                <a:close/>
                <a:moveTo>
                  <a:pt x="9387885" y="6110037"/>
                </a:moveTo>
                <a:cubicBezTo>
                  <a:pt x="9382027" y="6110037"/>
                  <a:pt x="9379497" y="6111900"/>
                  <a:pt x="9377900" y="6113631"/>
                </a:cubicBezTo>
                <a:cubicBezTo>
                  <a:pt x="9375371" y="6116293"/>
                  <a:pt x="9374307" y="6119089"/>
                  <a:pt x="9374307" y="6123082"/>
                </a:cubicBezTo>
                <a:cubicBezTo>
                  <a:pt x="9374307" y="6127209"/>
                  <a:pt x="9375371" y="6130004"/>
                  <a:pt x="9377900" y="6132533"/>
                </a:cubicBezTo>
                <a:cubicBezTo>
                  <a:pt x="9379497" y="6134132"/>
                  <a:pt x="9382027" y="6135995"/>
                  <a:pt x="9387885" y="6135995"/>
                </a:cubicBezTo>
                <a:cubicBezTo>
                  <a:pt x="9390015" y="6135995"/>
                  <a:pt x="9391746" y="6135596"/>
                  <a:pt x="9393210" y="6135063"/>
                </a:cubicBezTo>
                <a:cubicBezTo>
                  <a:pt x="9394674" y="6134531"/>
                  <a:pt x="9396005" y="6133599"/>
                  <a:pt x="9396937" y="6132666"/>
                </a:cubicBezTo>
                <a:cubicBezTo>
                  <a:pt x="9398002" y="6131468"/>
                  <a:pt x="9398934" y="6130137"/>
                  <a:pt x="9399599" y="6128407"/>
                </a:cubicBezTo>
                <a:cubicBezTo>
                  <a:pt x="9400398" y="6126809"/>
                  <a:pt x="9400664" y="6124946"/>
                  <a:pt x="9400664" y="6122949"/>
                </a:cubicBezTo>
                <a:cubicBezTo>
                  <a:pt x="9400664" y="6121085"/>
                  <a:pt x="9400265" y="6119355"/>
                  <a:pt x="9399599" y="6117758"/>
                </a:cubicBezTo>
                <a:cubicBezTo>
                  <a:pt x="9398934" y="6116160"/>
                  <a:pt x="9398002" y="6114829"/>
                  <a:pt x="9396937" y="6113631"/>
                </a:cubicBezTo>
                <a:cubicBezTo>
                  <a:pt x="9395872" y="6112566"/>
                  <a:pt x="9394541" y="6111634"/>
                  <a:pt x="9392943" y="6110968"/>
                </a:cubicBezTo>
                <a:cubicBezTo>
                  <a:pt x="9391479" y="6110303"/>
                  <a:pt x="9389749" y="6110037"/>
                  <a:pt x="9387885" y="6110037"/>
                </a:cubicBezTo>
                <a:close/>
                <a:moveTo>
                  <a:pt x="9170374" y="6110037"/>
                </a:moveTo>
                <a:cubicBezTo>
                  <a:pt x="9164649" y="6110037"/>
                  <a:pt x="9161986" y="6111900"/>
                  <a:pt x="9160389" y="6113631"/>
                </a:cubicBezTo>
                <a:cubicBezTo>
                  <a:pt x="9157860" y="6116293"/>
                  <a:pt x="9156795" y="6119089"/>
                  <a:pt x="9156795" y="6123082"/>
                </a:cubicBezTo>
                <a:cubicBezTo>
                  <a:pt x="9156795" y="6127209"/>
                  <a:pt x="9157860" y="6130004"/>
                  <a:pt x="9160389" y="6132533"/>
                </a:cubicBezTo>
                <a:cubicBezTo>
                  <a:pt x="9161986" y="6134132"/>
                  <a:pt x="9164516" y="6135995"/>
                  <a:pt x="9170374" y="6135995"/>
                </a:cubicBezTo>
                <a:cubicBezTo>
                  <a:pt x="9172370" y="6135995"/>
                  <a:pt x="9174100" y="6135596"/>
                  <a:pt x="9175698" y="6135063"/>
                </a:cubicBezTo>
                <a:cubicBezTo>
                  <a:pt x="9177163" y="6134531"/>
                  <a:pt x="9178494" y="6133599"/>
                  <a:pt x="9179425" y="6132666"/>
                </a:cubicBezTo>
                <a:cubicBezTo>
                  <a:pt x="9180491" y="6131468"/>
                  <a:pt x="9181422" y="6130137"/>
                  <a:pt x="9182088" y="6128407"/>
                </a:cubicBezTo>
                <a:cubicBezTo>
                  <a:pt x="9182887" y="6126809"/>
                  <a:pt x="9183152" y="6124946"/>
                  <a:pt x="9183152" y="6122949"/>
                </a:cubicBezTo>
                <a:cubicBezTo>
                  <a:pt x="9183152" y="6121085"/>
                  <a:pt x="9182753" y="6119355"/>
                  <a:pt x="9182088" y="6117758"/>
                </a:cubicBezTo>
                <a:cubicBezTo>
                  <a:pt x="9181422" y="6116160"/>
                  <a:pt x="9180491" y="6114829"/>
                  <a:pt x="9179425" y="6113631"/>
                </a:cubicBezTo>
                <a:cubicBezTo>
                  <a:pt x="9178360" y="6112566"/>
                  <a:pt x="9177029" y="6111634"/>
                  <a:pt x="9175432" y="6110968"/>
                </a:cubicBezTo>
                <a:cubicBezTo>
                  <a:pt x="9173967" y="6110303"/>
                  <a:pt x="9172237" y="6110037"/>
                  <a:pt x="9170374" y="6110037"/>
                </a:cubicBezTo>
                <a:close/>
                <a:moveTo>
                  <a:pt x="8952728" y="6110037"/>
                </a:moveTo>
                <a:cubicBezTo>
                  <a:pt x="8947003" y="6110037"/>
                  <a:pt x="8944340" y="6111900"/>
                  <a:pt x="8942743" y="6113631"/>
                </a:cubicBezTo>
                <a:cubicBezTo>
                  <a:pt x="8940214" y="6116293"/>
                  <a:pt x="8939150" y="6119089"/>
                  <a:pt x="8939150" y="6123082"/>
                </a:cubicBezTo>
                <a:cubicBezTo>
                  <a:pt x="8939150" y="6127209"/>
                  <a:pt x="8940214" y="6130004"/>
                  <a:pt x="8942743" y="6132533"/>
                </a:cubicBezTo>
                <a:cubicBezTo>
                  <a:pt x="8944340" y="6134132"/>
                  <a:pt x="8946870" y="6135995"/>
                  <a:pt x="8952728" y="6135995"/>
                </a:cubicBezTo>
                <a:cubicBezTo>
                  <a:pt x="8954725" y="6135995"/>
                  <a:pt x="8956589" y="6135596"/>
                  <a:pt x="8958053" y="6135063"/>
                </a:cubicBezTo>
                <a:cubicBezTo>
                  <a:pt x="8959517" y="6134531"/>
                  <a:pt x="8960849" y="6133599"/>
                  <a:pt x="8961780" y="6132666"/>
                </a:cubicBezTo>
                <a:cubicBezTo>
                  <a:pt x="8962845" y="6131468"/>
                  <a:pt x="8963777" y="6130137"/>
                  <a:pt x="8964442" y="6128407"/>
                </a:cubicBezTo>
                <a:cubicBezTo>
                  <a:pt x="8965241" y="6126809"/>
                  <a:pt x="8965507" y="6124946"/>
                  <a:pt x="8965507" y="6122949"/>
                </a:cubicBezTo>
                <a:cubicBezTo>
                  <a:pt x="8965507" y="6121085"/>
                  <a:pt x="8965108" y="6119355"/>
                  <a:pt x="8964442" y="6117758"/>
                </a:cubicBezTo>
                <a:cubicBezTo>
                  <a:pt x="8963777" y="6116160"/>
                  <a:pt x="8962845" y="6114829"/>
                  <a:pt x="8961780" y="6113631"/>
                </a:cubicBezTo>
                <a:cubicBezTo>
                  <a:pt x="8960715" y="6112566"/>
                  <a:pt x="8959384" y="6111634"/>
                  <a:pt x="8957786" y="6110968"/>
                </a:cubicBezTo>
                <a:cubicBezTo>
                  <a:pt x="8956322" y="6110303"/>
                  <a:pt x="8954592" y="6110037"/>
                  <a:pt x="8952728" y="6110037"/>
                </a:cubicBezTo>
                <a:close/>
                <a:moveTo>
                  <a:pt x="8735083" y="6110037"/>
                </a:moveTo>
                <a:cubicBezTo>
                  <a:pt x="8729358" y="6110037"/>
                  <a:pt x="8726695" y="6111900"/>
                  <a:pt x="8725098" y="6113631"/>
                </a:cubicBezTo>
                <a:cubicBezTo>
                  <a:pt x="8722569" y="6116293"/>
                  <a:pt x="8721504" y="6119089"/>
                  <a:pt x="8721504" y="6123082"/>
                </a:cubicBezTo>
                <a:cubicBezTo>
                  <a:pt x="8721504" y="6127209"/>
                  <a:pt x="8722569" y="6130004"/>
                  <a:pt x="8725098" y="6132533"/>
                </a:cubicBezTo>
                <a:cubicBezTo>
                  <a:pt x="8726695" y="6134132"/>
                  <a:pt x="8729225" y="6135995"/>
                  <a:pt x="8735083" y="6135995"/>
                </a:cubicBezTo>
                <a:cubicBezTo>
                  <a:pt x="8737079" y="6135995"/>
                  <a:pt x="8738943" y="6135596"/>
                  <a:pt x="8740407" y="6135063"/>
                </a:cubicBezTo>
                <a:cubicBezTo>
                  <a:pt x="8741872" y="6134531"/>
                  <a:pt x="8743203" y="6133599"/>
                  <a:pt x="8744134" y="6132666"/>
                </a:cubicBezTo>
                <a:cubicBezTo>
                  <a:pt x="8745200" y="6131468"/>
                  <a:pt x="8746132" y="6130137"/>
                  <a:pt x="8746797" y="6128407"/>
                </a:cubicBezTo>
                <a:cubicBezTo>
                  <a:pt x="8747596" y="6126809"/>
                  <a:pt x="8747862" y="6124946"/>
                  <a:pt x="8747862" y="6122949"/>
                </a:cubicBezTo>
                <a:cubicBezTo>
                  <a:pt x="8747862" y="6121085"/>
                  <a:pt x="8747462" y="6119355"/>
                  <a:pt x="8746797" y="6117758"/>
                </a:cubicBezTo>
                <a:cubicBezTo>
                  <a:pt x="8746132" y="6116160"/>
                  <a:pt x="8745200" y="6114829"/>
                  <a:pt x="8744134" y="6113631"/>
                </a:cubicBezTo>
                <a:cubicBezTo>
                  <a:pt x="8743069" y="6112566"/>
                  <a:pt x="8741738" y="6111634"/>
                  <a:pt x="8740141" y="6110968"/>
                </a:cubicBezTo>
                <a:cubicBezTo>
                  <a:pt x="8738677" y="6110303"/>
                  <a:pt x="8736946" y="6110037"/>
                  <a:pt x="8735083" y="6110037"/>
                </a:cubicBezTo>
                <a:close/>
                <a:moveTo>
                  <a:pt x="8517438" y="6110037"/>
                </a:moveTo>
                <a:cubicBezTo>
                  <a:pt x="8511713" y="6110037"/>
                  <a:pt x="8509051" y="6111900"/>
                  <a:pt x="8507453" y="6113631"/>
                </a:cubicBezTo>
                <a:cubicBezTo>
                  <a:pt x="8504925" y="6116293"/>
                  <a:pt x="8503860" y="6119089"/>
                  <a:pt x="8503860" y="6123082"/>
                </a:cubicBezTo>
                <a:cubicBezTo>
                  <a:pt x="8503860" y="6127209"/>
                  <a:pt x="8504925" y="6130004"/>
                  <a:pt x="8507453" y="6132533"/>
                </a:cubicBezTo>
                <a:cubicBezTo>
                  <a:pt x="8509051" y="6134132"/>
                  <a:pt x="8511581" y="6135995"/>
                  <a:pt x="8517438" y="6135995"/>
                </a:cubicBezTo>
                <a:cubicBezTo>
                  <a:pt x="8519568" y="6135995"/>
                  <a:pt x="8521299" y="6135596"/>
                  <a:pt x="8522763" y="6135063"/>
                </a:cubicBezTo>
                <a:cubicBezTo>
                  <a:pt x="8524227" y="6134531"/>
                  <a:pt x="8525559" y="6133599"/>
                  <a:pt x="8526490" y="6132666"/>
                </a:cubicBezTo>
                <a:cubicBezTo>
                  <a:pt x="8527555" y="6131468"/>
                  <a:pt x="8528487" y="6130137"/>
                  <a:pt x="8529152" y="6128407"/>
                </a:cubicBezTo>
                <a:cubicBezTo>
                  <a:pt x="8529818" y="6126809"/>
                  <a:pt x="8530084" y="6124946"/>
                  <a:pt x="8530084" y="6122949"/>
                </a:cubicBezTo>
                <a:cubicBezTo>
                  <a:pt x="8530084" y="6121085"/>
                  <a:pt x="8529818" y="6119355"/>
                  <a:pt x="8529152" y="6117758"/>
                </a:cubicBezTo>
                <a:cubicBezTo>
                  <a:pt x="8528487" y="6116160"/>
                  <a:pt x="8527555" y="6114829"/>
                  <a:pt x="8526490" y="6113631"/>
                </a:cubicBezTo>
                <a:cubicBezTo>
                  <a:pt x="8525425" y="6112566"/>
                  <a:pt x="8524094" y="6111634"/>
                  <a:pt x="8522496" y="6110968"/>
                </a:cubicBezTo>
                <a:cubicBezTo>
                  <a:pt x="8521032" y="6110303"/>
                  <a:pt x="8519302" y="6110037"/>
                  <a:pt x="8517438" y="6110037"/>
                </a:cubicBezTo>
                <a:close/>
                <a:moveTo>
                  <a:pt x="8299793" y="6110037"/>
                </a:moveTo>
                <a:cubicBezTo>
                  <a:pt x="8294068" y="6110037"/>
                  <a:pt x="8291406" y="6111900"/>
                  <a:pt x="8289809" y="6113631"/>
                </a:cubicBezTo>
                <a:cubicBezTo>
                  <a:pt x="8287280" y="6116293"/>
                  <a:pt x="8286215" y="6119089"/>
                  <a:pt x="8286215" y="6123082"/>
                </a:cubicBezTo>
                <a:cubicBezTo>
                  <a:pt x="8286215" y="6127209"/>
                  <a:pt x="8287280" y="6130004"/>
                  <a:pt x="8289809" y="6132533"/>
                </a:cubicBezTo>
                <a:cubicBezTo>
                  <a:pt x="8291406" y="6134132"/>
                  <a:pt x="8293935" y="6135995"/>
                  <a:pt x="8299793" y="6135995"/>
                </a:cubicBezTo>
                <a:cubicBezTo>
                  <a:pt x="8301923" y="6135995"/>
                  <a:pt x="8303653" y="6135596"/>
                  <a:pt x="8305118" y="6135063"/>
                </a:cubicBezTo>
                <a:cubicBezTo>
                  <a:pt x="8306582" y="6134531"/>
                  <a:pt x="8307913" y="6133599"/>
                  <a:pt x="8308844" y="6132666"/>
                </a:cubicBezTo>
                <a:cubicBezTo>
                  <a:pt x="8309910" y="6131468"/>
                  <a:pt x="8310842" y="6130137"/>
                  <a:pt x="8311507" y="6128407"/>
                </a:cubicBezTo>
                <a:cubicBezTo>
                  <a:pt x="8312172" y="6126809"/>
                  <a:pt x="8312439" y="6124946"/>
                  <a:pt x="8312439" y="6122949"/>
                </a:cubicBezTo>
                <a:cubicBezTo>
                  <a:pt x="8312439" y="6121085"/>
                  <a:pt x="8312172" y="6119355"/>
                  <a:pt x="8311507" y="6117758"/>
                </a:cubicBezTo>
                <a:cubicBezTo>
                  <a:pt x="8310842" y="6116160"/>
                  <a:pt x="8309910" y="6114829"/>
                  <a:pt x="8308844" y="6113631"/>
                </a:cubicBezTo>
                <a:cubicBezTo>
                  <a:pt x="8307779" y="6112566"/>
                  <a:pt x="8306448" y="6111634"/>
                  <a:pt x="8304851" y="6110968"/>
                </a:cubicBezTo>
                <a:cubicBezTo>
                  <a:pt x="8303387" y="6110303"/>
                  <a:pt x="8301790" y="6110037"/>
                  <a:pt x="8299793" y="6110037"/>
                </a:cubicBezTo>
                <a:close/>
                <a:moveTo>
                  <a:pt x="8082281" y="6110037"/>
                </a:moveTo>
                <a:cubicBezTo>
                  <a:pt x="8076424" y="6110037"/>
                  <a:pt x="8073894" y="6111900"/>
                  <a:pt x="8072297" y="6113631"/>
                </a:cubicBezTo>
                <a:cubicBezTo>
                  <a:pt x="8069768" y="6116293"/>
                  <a:pt x="8068703" y="6119089"/>
                  <a:pt x="8068703" y="6123082"/>
                </a:cubicBezTo>
                <a:cubicBezTo>
                  <a:pt x="8068703" y="6127209"/>
                  <a:pt x="8069768" y="6130004"/>
                  <a:pt x="8072297" y="6132533"/>
                </a:cubicBezTo>
                <a:cubicBezTo>
                  <a:pt x="8073894" y="6134132"/>
                  <a:pt x="8076424" y="6135995"/>
                  <a:pt x="8082281" y="6135995"/>
                </a:cubicBezTo>
                <a:cubicBezTo>
                  <a:pt x="8084277" y="6135995"/>
                  <a:pt x="8086007" y="6135596"/>
                  <a:pt x="8087605" y="6135063"/>
                </a:cubicBezTo>
                <a:cubicBezTo>
                  <a:pt x="8089069" y="6134531"/>
                  <a:pt x="8090401" y="6133599"/>
                  <a:pt x="8091332" y="6132666"/>
                </a:cubicBezTo>
                <a:cubicBezTo>
                  <a:pt x="8092397" y="6131468"/>
                  <a:pt x="8093329" y="6130137"/>
                  <a:pt x="8093994" y="6128407"/>
                </a:cubicBezTo>
                <a:cubicBezTo>
                  <a:pt x="8094660" y="6126809"/>
                  <a:pt x="8094926" y="6124946"/>
                  <a:pt x="8094926" y="6122949"/>
                </a:cubicBezTo>
                <a:cubicBezTo>
                  <a:pt x="8094926" y="6121085"/>
                  <a:pt x="8094660" y="6119355"/>
                  <a:pt x="8093994" y="6117758"/>
                </a:cubicBezTo>
                <a:cubicBezTo>
                  <a:pt x="8093329" y="6116160"/>
                  <a:pt x="8092397" y="6114829"/>
                  <a:pt x="8091332" y="6113631"/>
                </a:cubicBezTo>
                <a:cubicBezTo>
                  <a:pt x="8090267" y="6112566"/>
                  <a:pt x="8088936" y="6111634"/>
                  <a:pt x="8087338" y="6110968"/>
                </a:cubicBezTo>
                <a:cubicBezTo>
                  <a:pt x="8085874" y="6110303"/>
                  <a:pt x="8084277" y="6110037"/>
                  <a:pt x="8082281" y="6110037"/>
                </a:cubicBezTo>
                <a:close/>
                <a:moveTo>
                  <a:pt x="7864636" y="6110037"/>
                </a:moveTo>
                <a:cubicBezTo>
                  <a:pt x="7858779" y="6110037"/>
                  <a:pt x="7856249" y="6111900"/>
                  <a:pt x="7854652" y="6113631"/>
                </a:cubicBezTo>
                <a:cubicBezTo>
                  <a:pt x="7852123" y="6116293"/>
                  <a:pt x="7851058" y="6119089"/>
                  <a:pt x="7851058" y="6123082"/>
                </a:cubicBezTo>
                <a:cubicBezTo>
                  <a:pt x="7851058" y="6127209"/>
                  <a:pt x="7852123" y="6130004"/>
                  <a:pt x="7854652" y="6132533"/>
                </a:cubicBezTo>
                <a:cubicBezTo>
                  <a:pt x="7856249" y="6134132"/>
                  <a:pt x="7858779" y="6135995"/>
                  <a:pt x="7864636" y="6135995"/>
                </a:cubicBezTo>
                <a:cubicBezTo>
                  <a:pt x="7866633" y="6135995"/>
                  <a:pt x="7868363" y="6135596"/>
                  <a:pt x="7869961" y="6135063"/>
                </a:cubicBezTo>
                <a:cubicBezTo>
                  <a:pt x="7871425" y="6134531"/>
                  <a:pt x="7872756" y="6133599"/>
                  <a:pt x="7873687" y="6132666"/>
                </a:cubicBezTo>
                <a:cubicBezTo>
                  <a:pt x="7874753" y="6131468"/>
                  <a:pt x="7875685" y="6130137"/>
                  <a:pt x="7876350" y="6128407"/>
                </a:cubicBezTo>
                <a:cubicBezTo>
                  <a:pt x="7877015" y="6126809"/>
                  <a:pt x="7877282" y="6124946"/>
                  <a:pt x="7877282" y="6122949"/>
                </a:cubicBezTo>
                <a:cubicBezTo>
                  <a:pt x="7877282" y="6121085"/>
                  <a:pt x="7877015" y="6119355"/>
                  <a:pt x="7876350" y="6117758"/>
                </a:cubicBezTo>
                <a:cubicBezTo>
                  <a:pt x="7875685" y="6116160"/>
                  <a:pt x="7874753" y="6114829"/>
                  <a:pt x="7873687" y="6113631"/>
                </a:cubicBezTo>
                <a:cubicBezTo>
                  <a:pt x="7872623" y="6112566"/>
                  <a:pt x="7871291" y="6111634"/>
                  <a:pt x="7869694" y="6110968"/>
                </a:cubicBezTo>
                <a:cubicBezTo>
                  <a:pt x="7868230" y="6110303"/>
                  <a:pt x="7866633" y="6110037"/>
                  <a:pt x="7864636" y="6110037"/>
                </a:cubicBezTo>
                <a:close/>
                <a:moveTo>
                  <a:pt x="7646991" y="6110037"/>
                </a:moveTo>
                <a:cubicBezTo>
                  <a:pt x="7641134" y="6110037"/>
                  <a:pt x="7638604" y="6111900"/>
                  <a:pt x="7637007" y="6113631"/>
                </a:cubicBezTo>
                <a:cubicBezTo>
                  <a:pt x="7634478" y="6116293"/>
                  <a:pt x="7633413" y="6119089"/>
                  <a:pt x="7633413" y="6123082"/>
                </a:cubicBezTo>
                <a:cubicBezTo>
                  <a:pt x="7633413" y="6127209"/>
                  <a:pt x="7634478" y="6130004"/>
                  <a:pt x="7637007" y="6132533"/>
                </a:cubicBezTo>
                <a:cubicBezTo>
                  <a:pt x="7638604" y="6134132"/>
                  <a:pt x="7641134" y="6135995"/>
                  <a:pt x="7646991" y="6135995"/>
                </a:cubicBezTo>
                <a:cubicBezTo>
                  <a:pt x="7648987" y="6135995"/>
                  <a:pt x="7650851" y="6135596"/>
                  <a:pt x="7652315" y="6135063"/>
                </a:cubicBezTo>
                <a:cubicBezTo>
                  <a:pt x="7653780" y="6134531"/>
                  <a:pt x="7655111" y="6133599"/>
                  <a:pt x="7656042" y="6132666"/>
                </a:cubicBezTo>
                <a:cubicBezTo>
                  <a:pt x="7657108" y="6131468"/>
                  <a:pt x="7658039" y="6130137"/>
                  <a:pt x="7658705" y="6128407"/>
                </a:cubicBezTo>
                <a:cubicBezTo>
                  <a:pt x="7659504" y="6126809"/>
                  <a:pt x="7659769" y="6124946"/>
                  <a:pt x="7659769" y="6122949"/>
                </a:cubicBezTo>
                <a:cubicBezTo>
                  <a:pt x="7659769" y="6121085"/>
                  <a:pt x="7659370" y="6119355"/>
                  <a:pt x="7658705" y="6117758"/>
                </a:cubicBezTo>
                <a:cubicBezTo>
                  <a:pt x="7658039" y="6116160"/>
                  <a:pt x="7657108" y="6114829"/>
                  <a:pt x="7656042" y="6113631"/>
                </a:cubicBezTo>
                <a:cubicBezTo>
                  <a:pt x="7654977" y="6112566"/>
                  <a:pt x="7653646" y="6111634"/>
                  <a:pt x="7652049" y="6110968"/>
                </a:cubicBezTo>
                <a:cubicBezTo>
                  <a:pt x="7650584" y="6110303"/>
                  <a:pt x="7648987" y="6110037"/>
                  <a:pt x="7646991" y="6110037"/>
                </a:cubicBezTo>
                <a:close/>
                <a:moveTo>
                  <a:pt x="7429345" y="6110037"/>
                </a:moveTo>
                <a:cubicBezTo>
                  <a:pt x="7423488" y="6110037"/>
                  <a:pt x="7420958" y="6111900"/>
                  <a:pt x="7419361" y="6113631"/>
                </a:cubicBezTo>
                <a:cubicBezTo>
                  <a:pt x="7416832" y="6116293"/>
                  <a:pt x="7415768" y="6119089"/>
                  <a:pt x="7415768" y="6123082"/>
                </a:cubicBezTo>
                <a:cubicBezTo>
                  <a:pt x="7415768" y="6127209"/>
                  <a:pt x="7416832" y="6130004"/>
                  <a:pt x="7419361" y="6132533"/>
                </a:cubicBezTo>
                <a:cubicBezTo>
                  <a:pt x="7420958" y="6134132"/>
                  <a:pt x="7423488" y="6135995"/>
                  <a:pt x="7429345" y="6135995"/>
                </a:cubicBezTo>
                <a:cubicBezTo>
                  <a:pt x="7431342" y="6135995"/>
                  <a:pt x="7433206" y="6135596"/>
                  <a:pt x="7434670" y="6135063"/>
                </a:cubicBezTo>
                <a:cubicBezTo>
                  <a:pt x="7436134" y="6134531"/>
                  <a:pt x="7437466" y="6133599"/>
                  <a:pt x="7438397" y="6132666"/>
                </a:cubicBezTo>
                <a:cubicBezTo>
                  <a:pt x="7439462" y="6131468"/>
                  <a:pt x="7440394" y="6130137"/>
                  <a:pt x="7441059" y="6128407"/>
                </a:cubicBezTo>
                <a:cubicBezTo>
                  <a:pt x="7441858" y="6126809"/>
                  <a:pt x="7442124" y="6124946"/>
                  <a:pt x="7442124" y="6122949"/>
                </a:cubicBezTo>
                <a:cubicBezTo>
                  <a:pt x="7442124" y="6121085"/>
                  <a:pt x="7441725" y="6119355"/>
                  <a:pt x="7441059" y="6117758"/>
                </a:cubicBezTo>
                <a:cubicBezTo>
                  <a:pt x="7440394" y="6116160"/>
                  <a:pt x="7439462" y="6114829"/>
                  <a:pt x="7438397" y="6113631"/>
                </a:cubicBezTo>
                <a:cubicBezTo>
                  <a:pt x="7437332" y="6112566"/>
                  <a:pt x="7436001" y="6111634"/>
                  <a:pt x="7434403" y="6110968"/>
                </a:cubicBezTo>
                <a:cubicBezTo>
                  <a:pt x="7432939" y="6110303"/>
                  <a:pt x="7431342" y="6110037"/>
                  <a:pt x="7429345" y="6110037"/>
                </a:cubicBezTo>
                <a:close/>
                <a:moveTo>
                  <a:pt x="7211701" y="6110037"/>
                </a:moveTo>
                <a:cubicBezTo>
                  <a:pt x="7205844" y="6110037"/>
                  <a:pt x="7203314" y="6111900"/>
                  <a:pt x="7201717" y="6113631"/>
                </a:cubicBezTo>
                <a:cubicBezTo>
                  <a:pt x="7199188" y="6116293"/>
                  <a:pt x="7198123" y="6119089"/>
                  <a:pt x="7198123" y="6123082"/>
                </a:cubicBezTo>
                <a:cubicBezTo>
                  <a:pt x="7198123" y="6127209"/>
                  <a:pt x="7199188" y="6130004"/>
                  <a:pt x="7201717" y="6132533"/>
                </a:cubicBezTo>
                <a:cubicBezTo>
                  <a:pt x="7203314" y="6134132"/>
                  <a:pt x="7205844" y="6135995"/>
                  <a:pt x="7211701" y="6135995"/>
                </a:cubicBezTo>
                <a:cubicBezTo>
                  <a:pt x="7213830" y="6135995"/>
                  <a:pt x="7215561" y="6135596"/>
                  <a:pt x="7217026" y="6135063"/>
                </a:cubicBezTo>
                <a:cubicBezTo>
                  <a:pt x="7218490" y="6134531"/>
                  <a:pt x="7219821" y="6133599"/>
                  <a:pt x="7220752" y="6132666"/>
                </a:cubicBezTo>
                <a:cubicBezTo>
                  <a:pt x="7221818" y="6131468"/>
                  <a:pt x="7222750" y="6130137"/>
                  <a:pt x="7223415" y="6128407"/>
                </a:cubicBezTo>
                <a:cubicBezTo>
                  <a:pt x="7224214" y="6126809"/>
                  <a:pt x="7224480" y="6124946"/>
                  <a:pt x="7224480" y="6122949"/>
                </a:cubicBezTo>
                <a:cubicBezTo>
                  <a:pt x="7224480" y="6121085"/>
                  <a:pt x="7224080" y="6119355"/>
                  <a:pt x="7223415" y="6117758"/>
                </a:cubicBezTo>
                <a:cubicBezTo>
                  <a:pt x="7222750" y="6116160"/>
                  <a:pt x="7221818" y="6114829"/>
                  <a:pt x="7220752" y="6113631"/>
                </a:cubicBezTo>
                <a:cubicBezTo>
                  <a:pt x="7219687" y="6112566"/>
                  <a:pt x="7218356" y="6111634"/>
                  <a:pt x="7216759" y="6110968"/>
                </a:cubicBezTo>
                <a:cubicBezTo>
                  <a:pt x="7215295" y="6110303"/>
                  <a:pt x="7213698" y="6110037"/>
                  <a:pt x="7211701" y="6110037"/>
                </a:cubicBezTo>
                <a:close/>
                <a:moveTo>
                  <a:pt x="6994056" y="6110037"/>
                </a:moveTo>
                <a:cubicBezTo>
                  <a:pt x="6988199" y="6110037"/>
                  <a:pt x="6985669" y="6111900"/>
                  <a:pt x="6984072" y="6113631"/>
                </a:cubicBezTo>
                <a:cubicBezTo>
                  <a:pt x="6981543" y="6116293"/>
                  <a:pt x="6980478" y="6119089"/>
                  <a:pt x="6980478" y="6123082"/>
                </a:cubicBezTo>
                <a:cubicBezTo>
                  <a:pt x="6980478" y="6127209"/>
                  <a:pt x="6981543" y="6130004"/>
                  <a:pt x="6984072" y="6132533"/>
                </a:cubicBezTo>
                <a:cubicBezTo>
                  <a:pt x="6985669" y="6134132"/>
                  <a:pt x="6988199" y="6135995"/>
                  <a:pt x="6994056" y="6135995"/>
                </a:cubicBezTo>
                <a:cubicBezTo>
                  <a:pt x="6996185" y="6135995"/>
                  <a:pt x="6997916" y="6135596"/>
                  <a:pt x="6999380" y="6135063"/>
                </a:cubicBezTo>
                <a:cubicBezTo>
                  <a:pt x="7000844" y="6134531"/>
                  <a:pt x="7002176" y="6133599"/>
                  <a:pt x="7003107" y="6132666"/>
                </a:cubicBezTo>
                <a:cubicBezTo>
                  <a:pt x="7004172" y="6131468"/>
                  <a:pt x="7005104" y="6130137"/>
                  <a:pt x="7005769" y="6128407"/>
                </a:cubicBezTo>
                <a:cubicBezTo>
                  <a:pt x="7006568" y="6126809"/>
                  <a:pt x="7006834" y="6124946"/>
                  <a:pt x="7006834" y="6122949"/>
                </a:cubicBezTo>
                <a:cubicBezTo>
                  <a:pt x="7006834" y="6121085"/>
                  <a:pt x="7006435" y="6119355"/>
                  <a:pt x="7005769" y="6117758"/>
                </a:cubicBezTo>
                <a:cubicBezTo>
                  <a:pt x="7005104" y="6116160"/>
                  <a:pt x="7004172" y="6114829"/>
                  <a:pt x="7003107" y="6113631"/>
                </a:cubicBezTo>
                <a:cubicBezTo>
                  <a:pt x="7002042" y="6112566"/>
                  <a:pt x="7000711" y="6111634"/>
                  <a:pt x="6999113" y="6110968"/>
                </a:cubicBezTo>
                <a:cubicBezTo>
                  <a:pt x="6997649" y="6110303"/>
                  <a:pt x="6996052" y="6110037"/>
                  <a:pt x="6994056" y="6110037"/>
                </a:cubicBezTo>
                <a:close/>
                <a:moveTo>
                  <a:pt x="6776544" y="6110037"/>
                </a:moveTo>
                <a:cubicBezTo>
                  <a:pt x="6770687" y="6110037"/>
                  <a:pt x="6768157" y="6111900"/>
                  <a:pt x="6766560" y="6113631"/>
                </a:cubicBezTo>
                <a:cubicBezTo>
                  <a:pt x="6764031" y="6116293"/>
                  <a:pt x="6762966" y="6119089"/>
                  <a:pt x="6762966" y="6123082"/>
                </a:cubicBezTo>
                <a:cubicBezTo>
                  <a:pt x="6762966" y="6127209"/>
                  <a:pt x="6764031" y="6130004"/>
                  <a:pt x="6766560" y="6132533"/>
                </a:cubicBezTo>
                <a:cubicBezTo>
                  <a:pt x="6768157" y="6134132"/>
                  <a:pt x="6770687" y="6135995"/>
                  <a:pt x="6776544" y="6135995"/>
                </a:cubicBezTo>
                <a:cubicBezTo>
                  <a:pt x="6778541" y="6135995"/>
                  <a:pt x="6780270" y="6135596"/>
                  <a:pt x="6781869" y="6135063"/>
                </a:cubicBezTo>
                <a:cubicBezTo>
                  <a:pt x="6783333" y="6134531"/>
                  <a:pt x="6784664" y="6133599"/>
                  <a:pt x="6785595" y="6132666"/>
                </a:cubicBezTo>
                <a:cubicBezTo>
                  <a:pt x="6786661" y="6131468"/>
                  <a:pt x="6787593" y="6130137"/>
                  <a:pt x="6788258" y="6128407"/>
                </a:cubicBezTo>
                <a:cubicBezTo>
                  <a:pt x="6789057" y="6126809"/>
                  <a:pt x="6789323" y="6124946"/>
                  <a:pt x="6789323" y="6122949"/>
                </a:cubicBezTo>
                <a:cubicBezTo>
                  <a:pt x="6789323" y="6121085"/>
                  <a:pt x="6788923" y="6119355"/>
                  <a:pt x="6788258" y="6117758"/>
                </a:cubicBezTo>
                <a:cubicBezTo>
                  <a:pt x="6787593" y="6116160"/>
                  <a:pt x="6786661" y="6114829"/>
                  <a:pt x="6785595" y="6113631"/>
                </a:cubicBezTo>
                <a:cubicBezTo>
                  <a:pt x="6784530" y="6112566"/>
                  <a:pt x="6783199" y="6111634"/>
                  <a:pt x="6781602" y="6110968"/>
                </a:cubicBezTo>
                <a:cubicBezTo>
                  <a:pt x="6780138" y="6110303"/>
                  <a:pt x="6778541" y="6110037"/>
                  <a:pt x="6776544" y="6110037"/>
                </a:cubicBezTo>
                <a:close/>
                <a:moveTo>
                  <a:pt x="6558899" y="6110037"/>
                </a:moveTo>
                <a:cubicBezTo>
                  <a:pt x="6553042" y="6110037"/>
                  <a:pt x="6550512" y="6111900"/>
                  <a:pt x="6548915" y="6113631"/>
                </a:cubicBezTo>
                <a:cubicBezTo>
                  <a:pt x="6546386" y="6116293"/>
                  <a:pt x="6545321" y="6119089"/>
                  <a:pt x="6545321" y="6123082"/>
                </a:cubicBezTo>
                <a:cubicBezTo>
                  <a:pt x="6545321" y="6127209"/>
                  <a:pt x="6546386" y="6130004"/>
                  <a:pt x="6548915" y="6132533"/>
                </a:cubicBezTo>
                <a:cubicBezTo>
                  <a:pt x="6550512" y="6134132"/>
                  <a:pt x="6553042" y="6135995"/>
                  <a:pt x="6558899" y="6135995"/>
                </a:cubicBezTo>
                <a:cubicBezTo>
                  <a:pt x="6560895" y="6135995"/>
                  <a:pt x="6562759" y="6135596"/>
                  <a:pt x="6564223" y="6135063"/>
                </a:cubicBezTo>
                <a:cubicBezTo>
                  <a:pt x="6565687" y="6134531"/>
                  <a:pt x="6567019" y="6133599"/>
                  <a:pt x="6567950" y="6132666"/>
                </a:cubicBezTo>
                <a:cubicBezTo>
                  <a:pt x="6569015" y="6131468"/>
                  <a:pt x="6569947" y="6130137"/>
                  <a:pt x="6570612" y="6128407"/>
                </a:cubicBezTo>
                <a:cubicBezTo>
                  <a:pt x="6571412" y="6126809"/>
                  <a:pt x="6571677" y="6124946"/>
                  <a:pt x="6571677" y="6122949"/>
                </a:cubicBezTo>
                <a:cubicBezTo>
                  <a:pt x="6571677" y="6121085"/>
                  <a:pt x="6571278" y="6119355"/>
                  <a:pt x="6570612" y="6117758"/>
                </a:cubicBezTo>
                <a:cubicBezTo>
                  <a:pt x="6569947" y="6116160"/>
                  <a:pt x="6569015" y="6114829"/>
                  <a:pt x="6567950" y="6113631"/>
                </a:cubicBezTo>
                <a:cubicBezTo>
                  <a:pt x="6566885" y="6112566"/>
                  <a:pt x="6565554" y="6111634"/>
                  <a:pt x="6563956" y="6110968"/>
                </a:cubicBezTo>
                <a:cubicBezTo>
                  <a:pt x="6562492" y="6110303"/>
                  <a:pt x="6560895" y="6110037"/>
                  <a:pt x="6558899" y="6110037"/>
                </a:cubicBezTo>
                <a:close/>
                <a:moveTo>
                  <a:pt x="6341253" y="6110037"/>
                </a:moveTo>
                <a:cubicBezTo>
                  <a:pt x="6335396" y="6110037"/>
                  <a:pt x="6332867" y="6111900"/>
                  <a:pt x="6331270" y="6113631"/>
                </a:cubicBezTo>
                <a:cubicBezTo>
                  <a:pt x="6328740" y="6116293"/>
                  <a:pt x="6327675" y="6119089"/>
                  <a:pt x="6327675" y="6123082"/>
                </a:cubicBezTo>
                <a:cubicBezTo>
                  <a:pt x="6327675" y="6127209"/>
                  <a:pt x="6328740" y="6130004"/>
                  <a:pt x="6331270" y="6132533"/>
                </a:cubicBezTo>
                <a:cubicBezTo>
                  <a:pt x="6332867" y="6134132"/>
                  <a:pt x="6335396" y="6135995"/>
                  <a:pt x="6341253" y="6135995"/>
                </a:cubicBezTo>
                <a:cubicBezTo>
                  <a:pt x="6343250" y="6135995"/>
                  <a:pt x="6345114" y="6135596"/>
                  <a:pt x="6346578" y="6135063"/>
                </a:cubicBezTo>
                <a:cubicBezTo>
                  <a:pt x="6348042" y="6134531"/>
                  <a:pt x="6349373" y="6133599"/>
                  <a:pt x="6350305" y="6132666"/>
                </a:cubicBezTo>
                <a:cubicBezTo>
                  <a:pt x="6351370" y="6131468"/>
                  <a:pt x="6352302" y="6130137"/>
                  <a:pt x="6352968" y="6128407"/>
                </a:cubicBezTo>
                <a:cubicBezTo>
                  <a:pt x="6353766" y="6126809"/>
                  <a:pt x="6354033" y="6124946"/>
                  <a:pt x="6354033" y="6122949"/>
                </a:cubicBezTo>
                <a:cubicBezTo>
                  <a:pt x="6354033" y="6121085"/>
                  <a:pt x="6353633" y="6119355"/>
                  <a:pt x="6352968" y="6117758"/>
                </a:cubicBezTo>
                <a:cubicBezTo>
                  <a:pt x="6352302" y="6116160"/>
                  <a:pt x="6351370" y="6114829"/>
                  <a:pt x="6350305" y="6113631"/>
                </a:cubicBezTo>
                <a:cubicBezTo>
                  <a:pt x="6349241" y="6112566"/>
                  <a:pt x="6347909" y="6111634"/>
                  <a:pt x="6346312" y="6110968"/>
                </a:cubicBezTo>
                <a:cubicBezTo>
                  <a:pt x="6344848" y="6110303"/>
                  <a:pt x="6343250" y="6110037"/>
                  <a:pt x="6341253" y="6110037"/>
                </a:cubicBezTo>
                <a:close/>
                <a:moveTo>
                  <a:pt x="6123608" y="6110037"/>
                </a:moveTo>
                <a:cubicBezTo>
                  <a:pt x="6117751" y="6110037"/>
                  <a:pt x="6115221" y="6111900"/>
                  <a:pt x="6113624" y="6113631"/>
                </a:cubicBezTo>
                <a:cubicBezTo>
                  <a:pt x="6111095" y="6116293"/>
                  <a:pt x="6110030" y="6119089"/>
                  <a:pt x="6110030" y="6123082"/>
                </a:cubicBezTo>
                <a:cubicBezTo>
                  <a:pt x="6110030" y="6127209"/>
                  <a:pt x="6111095" y="6130004"/>
                  <a:pt x="6113624" y="6132533"/>
                </a:cubicBezTo>
                <a:cubicBezTo>
                  <a:pt x="6115221" y="6134132"/>
                  <a:pt x="6117751" y="6135995"/>
                  <a:pt x="6123608" y="6135995"/>
                </a:cubicBezTo>
                <a:cubicBezTo>
                  <a:pt x="6125737" y="6135995"/>
                  <a:pt x="6127468" y="6135596"/>
                  <a:pt x="6128932" y="6135063"/>
                </a:cubicBezTo>
                <a:cubicBezTo>
                  <a:pt x="6130530" y="6134531"/>
                  <a:pt x="6131728" y="6133599"/>
                  <a:pt x="6132659" y="6132666"/>
                </a:cubicBezTo>
                <a:cubicBezTo>
                  <a:pt x="6133724" y="6131468"/>
                  <a:pt x="6134656" y="6130137"/>
                  <a:pt x="6135322" y="6128407"/>
                </a:cubicBezTo>
                <a:cubicBezTo>
                  <a:pt x="6135987" y="6126809"/>
                  <a:pt x="6136387" y="6124946"/>
                  <a:pt x="6136387" y="6122949"/>
                </a:cubicBezTo>
                <a:cubicBezTo>
                  <a:pt x="6136387" y="6121085"/>
                  <a:pt x="6135987" y="6119355"/>
                  <a:pt x="6135322" y="6117758"/>
                </a:cubicBezTo>
                <a:cubicBezTo>
                  <a:pt x="6134656" y="6116160"/>
                  <a:pt x="6133724" y="6114829"/>
                  <a:pt x="6132659" y="6113631"/>
                </a:cubicBezTo>
                <a:cubicBezTo>
                  <a:pt x="6131594" y="6112566"/>
                  <a:pt x="6130263" y="6111634"/>
                  <a:pt x="6128666" y="6110968"/>
                </a:cubicBezTo>
                <a:cubicBezTo>
                  <a:pt x="6127202" y="6110303"/>
                  <a:pt x="6125604" y="6110037"/>
                  <a:pt x="6123608" y="6110037"/>
                </a:cubicBezTo>
                <a:close/>
                <a:moveTo>
                  <a:pt x="5905963" y="6110037"/>
                </a:moveTo>
                <a:cubicBezTo>
                  <a:pt x="5900106" y="6110037"/>
                  <a:pt x="5897576" y="6111900"/>
                  <a:pt x="5895979" y="6113631"/>
                </a:cubicBezTo>
                <a:cubicBezTo>
                  <a:pt x="5893450" y="6116293"/>
                  <a:pt x="5892385" y="6119089"/>
                  <a:pt x="5892385" y="6123082"/>
                </a:cubicBezTo>
                <a:cubicBezTo>
                  <a:pt x="5892385" y="6127209"/>
                  <a:pt x="5893450" y="6130004"/>
                  <a:pt x="5895979" y="6132533"/>
                </a:cubicBezTo>
                <a:cubicBezTo>
                  <a:pt x="5897576" y="6134132"/>
                  <a:pt x="5900106" y="6135995"/>
                  <a:pt x="5905963" y="6135995"/>
                </a:cubicBezTo>
                <a:cubicBezTo>
                  <a:pt x="5908093" y="6135995"/>
                  <a:pt x="5909823" y="6135596"/>
                  <a:pt x="5911287" y="6135063"/>
                </a:cubicBezTo>
                <a:cubicBezTo>
                  <a:pt x="5912751" y="6134531"/>
                  <a:pt x="5914083" y="6133599"/>
                  <a:pt x="5915014" y="6132666"/>
                </a:cubicBezTo>
                <a:cubicBezTo>
                  <a:pt x="5916079" y="6131468"/>
                  <a:pt x="5917011" y="6130137"/>
                  <a:pt x="5917677" y="6128407"/>
                </a:cubicBezTo>
                <a:cubicBezTo>
                  <a:pt x="5918342" y="6126809"/>
                  <a:pt x="5918742" y="6124946"/>
                  <a:pt x="5918742" y="6122949"/>
                </a:cubicBezTo>
                <a:cubicBezTo>
                  <a:pt x="5918742" y="6121085"/>
                  <a:pt x="5918342" y="6119355"/>
                  <a:pt x="5917677" y="6117758"/>
                </a:cubicBezTo>
                <a:cubicBezTo>
                  <a:pt x="5917011" y="6116160"/>
                  <a:pt x="5916079" y="6114829"/>
                  <a:pt x="5915014" y="6113631"/>
                </a:cubicBezTo>
                <a:cubicBezTo>
                  <a:pt x="5913950" y="6112566"/>
                  <a:pt x="5912618" y="6111634"/>
                  <a:pt x="5911021" y="6110968"/>
                </a:cubicBezTo>
                <a:cubicBezTo>
                  <a:pt x="5909557" y="6110303"/>
                  <a:pt x="5907826" y="6110037"/>
                  <a:pt x="5905963" y="6110037"/>
                </a:cubicBezTo>
                <a:close/>
                <a:moveTo>
                  <a:pt x="5688451" y="6110037"/>
                </a:moveTo>
                <a:cubicBezTo>
                  <a:pt x="5682594" y="6110037"/>
                  <a:pt x="5680064" y="6111900"/>
                  <a:pt x="5678467" y="6113631"/>
                </a:cubicBezTo>
                <a:cubicBezTo>
                  <a:pt x="5675938" y="6116293"/>
                  <a:pt x="5674873" y="6119089"/>
                  <a:pt x="5674873" y="6123082"/>
                </a:cubicBezTo>
                <a:cubicBezTo>
                  <a:pt x="5674873" y="6127209"/>
                  <a:pt x="5675938" y="6130004"/>
                  <a:pt x="5678467" y="6132533"/>
                </a:cubicBezTo>
                <a:cubicBezTo>
                  <a:pt x="5680064" y="6134132"/>
                  <a:pt x="5682594" y="6135995"/>
                  <a:pt x="5688451" y="6135995"/>
                </a:cubicBezTo>
                <a:cubicBezTo>
                  <a:pt x="5690447" y="6135995"/>
                  <a:pt x="5692178" y="6135596"/>
                  <a:pt x="5693775" y="6135063"/>
                </a:cubicBezTo>
                <a:cubicBezTo>
                  <a:pt x="5695239" y="6134531"/>
                  <a:pt x="5696571" y="6133599"/>
                  <a:pt x="5697502" y="6132666"/>
                </a:cubicBezTo>
                <a:cubicBezTo>
                  <a:pt x="5698567" y="6131468"/>
                  <a:pt x="5699499" y="6130137"/>
                  <a:pt x="5700165" y="6128407"/>
                </a:cubicBezTo>
                <a:cubicBezTo>
                  <a:pt x="5700830" y="6126809"/>
                  <a:pt x="5701230" y="6124946"/>
                  <a:pt x="5701230" y="6122949"/>
                </a:cubicBezTo>
                <a:cubicBezTo>
                  <a:pt x="5701230" y="6121085"/>
                  <a:pt x="5700830" y="6119355"/>
                  <a:pt x="5700165" y="6117758"/>
                </a:cubicBezTo>
                <a:cubicBezTo>
                  <a:pt x="5699499" y="6116160"/>
                  <a:pt x="5698567" y="6114829"/>
                  <a:pt x="5697502" y="6113631"/>
                </a:cubicBezTo>
                <a:cubicBezTo>
                  <a:pt x="5696437" y="6112566"/>
                  <a:pt x="5695106" y="6111634"/>
                  <a:pt x="5693509" y="6110968"/>
                </a:cubicBezTo>
                <a:cubicBezTo>
                  <a:pt x="5692045" y="6110303"/>
                  <a:pt x="5690314" y="6110037"/>
                  <a:pt x="5688451" y="6110037"/>
                </a:cubicBezTo>
                <a:close/>
                <a:moveTo>
                  <a:pt x="5470806" y="6110037"/>
                </a:moveTo>
                <a:cubicBezTo>
                  <a:pt x="5464949" y="6110037"/>
                  <a:pt x="5462419" y="6111900"/>
                  <a:pt x="5460822" y="6113631"/>
                </a:cubicBezTo>
                <a:cubicBezTo>
                  <a:pt x="5458293" y="6116293"/>
                  <a:pt x="5457228" y="6119089"/>
                  <a:pt x="5457228" y="6123082"/>
                </a:cubicBezTo>
                <a:cubicBezTo>
                  <a:pt x="5457228" y="6127209"/>
                  <a:pt x="5458293" y="6130004"/>
                  <a:pt x="5460822" y="6132533"/>
                </a:cubicBezTo>
                <a:cubicBezTo>
                  <a:pt x="5462419" y="6134132"/>
                  <a:pt x="5464949" y="6135995"/>
                  <a:pt x="5470806" y="6135995"/>
                </a:cubicBezTo>
                <a:cubicBezTo>
                  <a:pt x="5472802" y="6135995"/>
                  <a:pt x="5474666" y="6135596"/>
                  <a:pt x="5476130" y="6135063"/>
                </a:cubicBezTo>
                <a:cubicBezTo>
                  <a:pt x="5477594" y="6134531"/>
                  <a:pt x="5478926" y="6133599"/>
                  <a:pt x="5479857" y="6132666"/>
                </a:cubicBezTo>
                <a:cubicBezTo>
                  <a:pt x="5480922" y="6131468"/>
                  <a:pt x="5481854" y="6130137"/>
                  <a:pt x="5482520" y="6128407"/>
                </a:cubicBezTo>
                <a:cubicBezTo>
                  <a:pt x="5483319" y="6126809"/>
                  <a:pt x="5483585" y="6124946"/>
                  <a:pt x="5483585" y="6122949"/>
                </a:cubicBezTo>
                <a:cubicBezTo>
                  <a:pt x="5483585" y="6121085"/>
                  <a:pt x="5483185" y="6119355"/>
                  <a:pt x="5482520" y="6117758"/>
                </a:cubicBezTo>
                <a:cubicBezTo>
                  <a:pt x="5481854" y="6116160"/>
                  <a:pt x="5480922" y="6114829"/>
                  <a:pt x="5479857" y="6113631"/>
                </a:cubicBezTo>
                <a:cubicBezTo>
                  <a:pt x="5478793" y="6112566"/>
                  <a:pt x="5477461" y="6111634"/>
                  <a:pt x="5475864" y="6110968"/>
                </a:cubicBezTo>
                <a:cubicBezTo>
                  <a:pt x="5474400" y="6110303"/>
                  <a:pt x="5472669" y="6110037"/>
                  <a:pt x="5470806" y="6110037"/>
                </a:cubicBezTo>
                <a:close/>
                <a:moveTo>
                  <a:pt x="5253160" y="6110037"/>
                </a:moveTo>
                <a:cubicBezTo>
                  <a:pt x="5247303" y="6110037"/>
                  <a:pt x="5244774" y="6111900"/>
                  <a:pt x="5243177" y="6113631"/>
                </a:cubicBezTo>
                <a:cubicBezTo>
                  <a:pt x="5240647" y="6116293"/>
                  <a:pt x="5239583" y="6119089"/>
                  <a:pt x="5239583" y="6123082"/>
                </a:cubicBezTo>
                <a:cubicBezTo>
                  <a:pt x="5239583" y="6127209"/>
                  <a:pt x="5240647" y="6130004"/>
                  <a:pt x="5243177" y="6132533"/>
                </a:cubicBezTo>
                <a:cubicBezTo>
                  <a:pt x="5244774" y="6134132"/>
                  <a:pt x="5247303" y="6135995"/>
                  <a:pt x="5253160" y="6135995"/>
                </a:cubicBezTo>
                <a:cubicBezTo>
                  <a:pt x="5255157" y="6135995"/>
                  <a:pt x="5257021" y="6135596"/>
                  <a:pt x="5258485" y="6135063"/>
                </a:cubicBezTo>
                <a:cubicBezTo>
                  <a:pt x="5259949" y="6134531"/>
                  <a:pt x="5261280" y="6133599"/>
                  <a:pt x="5262212" y="6132666"/>
                </a:cubicBezTo>
                <a:cubicBezTo>
                  <a:pt x="5263277" y="6131468"/>
                  <a:pt x="5264209" y="6130137"/>
                  <a:pt x="5264875" y="6128407"/>
                </a:cubicBezTo>
                <a:cubicBezTo>
                  <a:pt x="5265673" y="6126809"/>
                  <a:pt x="5265939" y="6124946"/>
                  <a:pt x="5265939" y="6122949"/>
                </a:cubicBezTo>
                <a:cubicBezTo>
                  <a:pt x="5265939" y="6121085"/>
                  <a:pt x="5265540" y="6119355"/>
                  <a:pt x="5264875" y="6117758"/>
                </a:cubicBezTo>
                <a:cubicBezTo>
                  <a:pt x="5264209" y="6116160"/>
                  <a:pt x="5263277" y="6114829"/>
                  <a:pt x="5262212" y="6113631"/>
                </a:cubicBezTo>
                <a:cubicBezTo>
                  <a:pt x="5261147" y="6112566"/>
                  <a:pt x="5259816" y="6111634"/>
                  <a:pt x="5258219" y="6110968"/>
                </a:cubicBezTo>
                <a:cubicBezTo>
                  <a:pt x="5256754" y="6110303"/>
                  <a:pt x="5255024" y="6110037"/>
                  <a:pt x="5253160" y="6110037"/>
                </a:cubicBezTo>
                <a:close/>
                <a:moveTo>
                  <a:pt x="5035515" y="6110037"/>
                </a:moveTo>
                <a:cubicBezTo>
                  <a:pt x="5029658" y="6110037"/>
                  <a:pt x="5027129" y="6111900"/>
                  <a:pt x="5025532" y="6113631"/>
                </a:cubicBezTo>
                <a:cubicBezTo>
                  <a:pt x="5023002" y="6116293"/>
                  <a:pt x="5021938" y="6119089"/>
                  <a:pt x="5021938" y="6123082"/>
                </a:cubicBezTo>
                <a:cubicBezTo>
                  <a:pt x="5021938" y="6127209"/>
                  <a:pt x="5023002" y="6130004"/>
                  <a:pt x="5025532" y="6132533"/>
                </a:cubicBezTo>
                <a:cubicBezTo>
                  <a:pt x="5027129" y="6134132"/>
                  <a:pt x="5029658" y="6135995"/>
                  <a:pt x="5035515" y="6135995"/>
                </a:cubicBezTo>
                <a:cubicBezTo>
                  <a:pt x="5037645" y="6135995"/>
                  <a:pt x="5039376" y="6135596"/>
                  <a:pt x="5040840" y="6135063"/>
                </a:cubicBezTo>
                <a:cubicBezTo>
                  <a:pt x="5042304" y="6134531"/>
                  <a:pt x="5043636" y="6133599"/>
                  <a:pt x="5044567" y="6132666"/>
                </a:cubicBezTo>
                <a:cubicBezTo>
                  <a:pt x="5045632" y="6131468"/>
                  <a:pt x="5046564" y="6130137"/>
                  <a:pt x="5047230" y="6128407"/>
                </a:cubicBezTo>
                <a:cubicBezTo>
                  <a:pt x="5048028" y="6126809"/>
                  <a:pt x="5048294" y="6124946"/>
                  <a:pt x="5048294" y="6122949"/>
                </a:cubicBezTo>
                <a:cubicBezTo>
                  <a:pt x="5048294" y="6121085"/>
                  <a:pt x="5047895" y="6119355"/>
                  <a:pt x="5047230" y="6117758"/>
                </a:cubicBezTo>
                <a:cubicBezTo>
                  <a:pt x="5046564" y="6116160"/>
                  <a:pt x="5045632" y="6114829"/>
                  <a:pt x="5044567" y="6113631"/>
                </a:cubicBezTo>
                <a:cubicBezTo>
                  <a:pt x="5043502" y="6112566"/>
                  <a:pt x="5042171" y="6111634"/>
                  <a:pt x="5040574" y="6110968"/>
                </a:cubicBezTo>
                <a:cubicBezTo>
                  <a:pt x="5039110" y="6110303"/>
                  <a:pt x="5037379" y="6110037"/>
                  <a:pt x="5035515" y="6110037"/>
                </a:cubicBezTo>
                <a:close/>
                <a:moveTo>
                  <a:pt x="4817870" y="6110037"/>
                </a:moveTo>
                <a:cubicBezTo>
                  <a:pt x="4812013" y="6110037"/>
                  <a:pt x="4809484" y="6111900"/>
                  <a:pt x="4807887" y="6113631"/>
                </a:cubicBezTo>
                <a:cubicBezTo>
                  <a:pt x="4805357" y="6116293"/>
                  <a:pt x="4804293" y="6119089"/>
                  <a:pt x="4804293" y="6123082"/>
                </a:cubicBezTo>
                <a:cubicBezTo>
                  <a:pt x="4804293" y="6127209"/>
                  <a:pt x="4805357" y="6130004"/>
                  <a:pt x="4807887" y="6132533"/>
                </a:cubicBezTo>
                <a:cubicBezTo>
                  <a:pt x="4809484" y="6134132"/>
                  <a:pt x="4812013" y="6135995"/>
                  <a:pt x="4817870" y="6135995"/>
                </a:cubicBezTo>
                <a:cubicBezTo>
                  <a:pt x="4820000" y="6135995"/>
                  <a:pt x="4821731" y="6135596"/>
                  <a:pt x="4823195" y="6135063"/>
                </a:cubicBezTo>
                <a:cubicBezTo>
                  <a:pt x="4824659" y="6134531"/>
                  <a:pt x="4825857" y="6133599"/>
                  <a:pt x="4826922" y="6132666"/>
                </a:cubicBezTo>
                <a:cubicBezTo>
                  <a:pt x="4827987" y="6131468"/>
                  <a:pt x="4828919" y="6130137"/>
                  <a:pt x="4829585" y="6128407"/>
                </a:cubicBezTo>
                <a:cubicBezTo>
                  <a:pt x="4830383" y="6126809"/>
                  <a:pt x="4830650" y="6124946"/>
                  <a:pt x="4830650" y="6122949"/>
                </a:cubicBezTo>
                <a:cubicBezTo>
                  <a:pt x="4830650" y="6121085"/>
                  <a:pt x="4830250" y="6119355"/>
                  <a:pt x="4829585" y="6117758"/>
                </a:cubicBezTo>
                <a:cubicBezTo>
                  <a:pt x="4828919" y="6116160"/>
                  <a:pt x="4827987" y="6114829"/>
                  <a:pt x="4826922" y="6113631"/>
                </a:cubicBezTo>
                <a:cubicBezTo>
                  <a:pt x="4825857" y="6112566"/>
                  <a:pt x="4824526" y="6111634"/>
                  <a:pt x="4822929" y="6110968"/>
                </a:cubicBezTo>
                <a:cubicBezTo>
                  <a:pt x="4821465" y="6110303"/>
                  <a:pt x="4819734" y="6110037"/>
                  <a:pt x="4817870" y="6110037"/>
                </a:cubicBezTo>
                <a:close/>
                <a:moveTo>
                  <a:pt x="4600226" y="6110037"/>
                </a:moveTo>
                <a:cubicBezTo>
                  <a:pt x="4594369" y="6110037"/>
                  <a:pt x="4591839" y="6111900"/>
                  <a:pt x="4590242" y="6113631"/>
                </a:cubicBezTo>
                <a:cubicBezTo>
                  <a:pt x="4587713" y="6116293"/>
                  <a:pt x="4586648" y="6119089"/>
                  <a:pt x="4586648" y="6123082"/>
                </a:cubicBezTo>
                <a:cubicBezTo>
                  <a:pt x="4586648" y="6127209"/>
                  <a:pt x="4587713" y="6130004"/>
                  <a:pt x="4590242" y="6132533"/>
                </a:cubicBezTo>
                <a:cubicBezTo>
                  <a:pt x="4591839" y="6134132"/>
                  <a:pt x="4594369" y="6135995"/>
                  <a:pt x="4600226" y="6135995"/>
                </a:cubicBezTo>
                <a:cubicBezTo>
                  <a:pt x="4602355" y="6135995"/>
                  <a:pt x="4604086" y="6135596"/>
                  <a:pt x="4605550" y="6135063"/>
                </a:cubicBezTo>
                <a:cubicBezTo>
                  <a:pt x="4607148" y="6134531"/>
                  <a:pt x="4608346" y="6133599"/>
                  <a:pt x="4609277" y="6132666"/>
                </a:cubicBezTo>
                <a:cubicBezTo>
                  <a:pt x="4610342" y="6131468"/>
                  <a:pt x="4611274" y="6130137"/>
                  <a:pt x="4611940" y="6128407"/>
                </a:cubicBezTo>
                <a:cubicBezTo>
                  <a:pt x="4612605" y="6126809"/>
                  <a:pt x="4613005" y="6124946"/>
                  <a:pt x="4613005" y="6122949"/>
                </a:cubicBezTo>
                <a:cubicBezTo>
                  <a:pt x="4613005" y="6121085"/>
                  <a:pt x="4612605" y="6119355"/>
                  <a:pt x="4611940" y="6117758"/>
                </a:cubicBezTo>
                <a:cubicBezTo>
                  <a:pt x="4611274" y="6116160"/>
                  <a:pt x="4610342" y="6114829"/>
                  <a:pt x="4609277" y="6113631"/>
                </a:cubicBezTo>
                <a:cubicBezTo>
                  <a:pt x="4608212" y="6112566"/>
                  <a:pt x="4606881" y="6111634"/>
                  <a:pt x="4605284" y="6110968"/>
                </a:cubicBezTo>
                <a:cubicBezTo>
                  <a:pt x="4603820" y="6110303"/>
                  <a:pt x="4602222" y="6110037"/>
                  <a:pt x="4600226" y="6110037"/>
                </a:cubicBezTo>
                <a:close/>
                <a:moveTo>
                  <a:pt x="4382713" y="6110037"/>
                </a:moveTo>
                <a:cubicBezTo>
                  <a:pt x="4376857" y="6110037"/>
                  <a:pt x="4374327" y="6111900"/>
                  <a:pt x="4372730" y="6113631"/>
                </a:cubicBezTo>
                <a:cubicBezTo>
                  <a:pt x="4370201" y="6116293"/>
                  <a:pt x="4369136" y="6119089"/>
                  <a:pt x="4369136" y="6123082"/>
                </a:cubicBezTo>
                <a:cubicBezTo>
                  <a:pt x="4369136" y="6127209"/>
                  <a:pt x="4370201" y="6130004"/>
                  <a:pt x="4372730" y="6132533"/>
                </a:cubicBezTo>
                <a:cubicBezTo>
                  <a:pt x="4374327" y="6134132"/>
                  <a:pt x="4376857" y="6135995"/>
                  <a:pt x="4382713" y="6135995"/>
                </a:cubicBezTo>
                <a:cubicBezTo>
                  <a:pt x="4384710" y="6135995"/>
                  <a:pt x="4386441" y="6135596"/>
                  <a:pt x="4388038" y="6135063"/>
                </a:cubicBezTo>
                <a:cubicBezTo>
                  <a:pt x="4389502" y="6134531"/>
                  <a:pt x="4390834" y="6133599"/>
                  <a:pt x="4391765" y="6132666"/>
                </a:cubicBezTo>
                <a:cubicBezTo>
                  <a:pt x="4392830" y="6131468"/>
                  <a:pt x="4393762" y="6130137"/>
                  <a:pt x="4394428" y="6128407"/>
                </a:cubicBezTo>
                <a:cubicBezTo>
                  <a:pt x="4395093" y="6126809"/>
                  <a:pt x="4395493" y="6124946"/>
                  <a:pt x="4395493" y="6122949"/>
                </a:cubicBezTo>
                <a:cubicBezTo>
                  <a:pt x="4395493" y="6121085"/>
                  <a:pt x="4395093" y="6119355"/>
                  <a:pt x="4394428" y="6117758"/>
                </a:cubicBezTo>
                <a:cubicBezTo>
                  <a:pt x="4393762" y="6116160"/>
                  <a:pt x="4392830" y="6114829"/>
                  <a:pt x="4391765" y="6113631"/>
                </a:cubicBezTo>
                <a:cubicBezTo>
                  <a:pt x="4390700" y="6112566"/>
                  <a:pt x="4389369" y="6111634"/>
                  <a:pt x="4387772" y="6110968"/>
                </a:cubicBezTo>
                <a:cubicBezTo>
                  <a:pt x="4386308" y="6110303"/>
                  <a:pt x="4384710" y="6110037"/>
                  <a:pt x="4382713" y="6110037"/>
                </a:cubicBezTo>
                <a:close/>
                <a:moveTo>
                  <a:pt x="4165068" y="6110037"/>
                </a:moveTo>
                <a:cubicBezTo>
                  <a:pt x="4159211" y="6110037"/>
                  <a:pt x="4156681" y="6111900"/>
                  <a:pt x="4155084" y="6113631"/>
                </a:cubicBezTo>
                <a:cubicBezTo>
                  <a:pt x="4152555" y="6116293"/>
                  <a:pt x="4151490" y="6119089"/>
                  <a:pt x="4151490" y="6123082"/>
                </a:cubicBezTo>
                <a:cubicBezTo>
                  <a:pt x="4151490" y="6127209"/>
                  <a:pt x="4152555" y="6130004"/>
                  <a:pt x="4155084" y="6132533"/>
                </a:cubicBezTo>
                <a:cubicBezTo>
                  <a:pt x="4156681" y="6134132"/>
                  <a:pt x="4159211" y="6135995"/>
                  <a:pt x="4165068" y="6135995"/>
                </a:cubicBezTo>
                <a:cubicBezTo>
                  <a:pt x="4167064" y="6135995"/>
                  <a:pt x="4168928" y="6135596"/>
                  <a:pt x="4170392" y="6135063"/>
                </a:cubicBezTo>
                <a:cubicBezTo>
                  <a:pt x="4171856" y="6134531"/>
                  <a:pt x="4173188" y="6133599"/>
                  <a:pt x="4174119" y="6132666"/>
                </a:cubicBezTo>
                <a:cubicBezTo>
                  <a:pt x="4175184" y="6131468"/>
                  <a:pt x="4176116" y="6130137"/>
                  <a:pt x="4176782" y="6128407"/>
                </a:cubicBezTo>
                <a:cubicBezTo>
                  <a:pt x="4177447" y="6126809"/>
                  <a:pt x="4177847" y="6124946"/>
                  <a:pt x="4177847" y="6122949"/>
                </a:cubicBezTo>
                <a:cubicBezTo>
                  <a:pt x="4177847" y="6121085"/>
                  <a:pt x="4177447" y="6119355"/>
                  <a:pt x="4176782" y="6117758"/>
                </a:cubicBezTo>
                <a:cubicBezTo>
                  <a:pt x="4176116" y="6116160"/>
                  <a:pt x="4175184" y="6114829"/>
                  <a:pt x="4174119" y="6113631"/>
                </a:cubicBezTo>
                <a:cubicBezTo>
                  <a:pt x="4173054" y="6112566"/>
                  <a:pt x="4171723" y="6111634"/>
                  <a:pt x="4170126" y="6110968"/>
                </a:cubicBezTo>
                <a:cubicBezTo>
                  <a:pt x="4168662" y="6110303"/>
                  <a:pt x="4167064" y="6110037"/>
                  <a:pt x="4165068" y="6110037"/>
                </a:cubicBezTo>
                <a:close/>
                <a:moveTo>
                  <a:pt x="3947756" y="6110037"/>
                </a:moveTo>
                <a:cubicBezTo>
                  <a:pt x="3941898" y="6110037"/>
                  <a:pt x="3939369" y="6111900"/>
                  <a:pt x="3937773" y="6113631"/>
                </a:cubicBezTo>
                <a:cubicBezTo>
                  <a:pt x="3935241" y="6116293"/>
                  <a:pt x="3934178" y="6119089"/>
                  <a:pt x="3934178" y="6123082"/>
                </a:cubicBezTo>
                <a:cubicBezTo>
                  <a:pt x="3934178" y="6127209"/>
                  <a:pt x="3935241" y="6130004"/>
                  <a:pt x="3937773" y="6132533"/>
                </a:cubicBezTo>
                <a:cubicBezTo>
                  <a:pt x="3939369" y="6134132"/>
                  <a:pt x="3941898" y="6135995"/>
                  <a:pt x="3947756" y="6135995"/>
                </a:cubicBezTo>
                <a:cubicBezTo>
                  <a:pt x="3949753" y="6135995"/>
                  <a:pt x="3951618" y="6135596"/>
                  <a:pt x="3953084" y="6135063"/>
                </a:cubicBezTo>
                <a:cubicBezTo>
                  <a:pt x="3954548" y="6134531"/>
                  <a:pt x="3955879" y="6133599"/>
                  <a:pt x="3956811" y="6132666"/>
                </a:cubicBezTo>
                <a:cubicBezTo>
                  <a:pt x="3957876" y="6131468"/>
                  <a:pt x="3958809" y="6130137"/>
                  <a:pt x="3959474" y="6128407"/>
                </a:cubicBezTo>
                <a:cubicBezTo>
                  <a:pt x="3960139" y="6126809"/>
                  <a:pt x="3960539" y="6124946"/>
                  <a:pt x="3960539" y="6122949"/>
                </a:cubicBezTo>
                <a:cubicBezTo>
                  <a:pt x="3960539" y="6121085"/>
                  <a:pt x="3960139" y="6119355"/>
                  <a:pt x="3959474" y="6117758"/>
                </a:cubicBezTo>
                <a:cubicBezTo>
                  <a:pt x="3958809" y="6116160"/>
                  <a:pt x="3957876" y="6114829"/>
                  <a:pt x="3956811" y="6113631"/>
                </a:cubicBezTo>
                <a:cubicBezTo>
                  <a:pt x="3955746" y="6112566"/>
                  <a:pt x="3954415" y="6111634"/>
                  <a:pt x="3952818" y="6110968"/>
                </a:cubicBezTo>
                <a:cubicBezTo>
                  <a:pt x="3951351" y="6110303"/>
                  <a:pt x="3949753" y="6110037"/>
                  <a:pt x="3947756" y="6110037"/>
                </a:cubicBezTo>
                <a:close/>
                <a:moveTo>
                  <a:pt x="3730096" y="6110037"/>
                </a:moveTo>
                <a:cubicBezTo>
                  <a:pt x="3724238" y="6110037"/>
                  <a:pt x="3721708" y="6111900"/>
                  <a:pt x="3720109" y="6113631"/>
                </a:cubicBezTo>
                <a:cubicBezTo>
                  <a:pt x="3717579" y="6116293"/>
                  <a:pt x="3716516" y="6119089"/>
                  <a:pt x="3716516" y="6123082"/>
                </a:cubicBezTo>
                <a:cubicBezTo>
                  <a:pt x="3716516" y="6127209"/>
                  <a:pt x="3717579" y="6130004"/>
                  <a:pt x="3720109" y="6132533"/>
                </a:cubicBezTo>
                <a:cubicBezTo>
                  <a:pt x="3721708" y="6134132"/>
                  <a:pt x="3724238" y="6135995"/>
                  <a:pt x="3730096" y="6135995"/>
                </a:cubicBezTo>
                <a:cubicBezTo>
                  <a:pt x="3732226" y="6135995"/>
                  <a:pt x="3733958" y="6135596"/>
                  <a:pt x="3735421" y="6135063"/>
                </a:cubicBezTo>
                <a:cubicBezTo>
                  <a:pt x="3736885" y="6134531"/>
                  <a:pt x="3738218" y="6133599"/>
                  <a:pt x="3739148" y="6132666"/>
                </a:cubicBezTo>
                <a:cubicBezTo>
                  <a:pt x="3740214" y="6131468"/>
                  <a:pt x="3741146" y="6130137"/>
                  <a:pt x="3741812" y="6128407"/>
                </a:cubicBezTo>
                <a:cubicBezTo>
                  <a:pt x="3742477" y="6126809"/>
                  <a:pt x="3742876" y="6124946"/>
                  <a:pt x="3742876" y="6122949"/>
                </a:cubicBezTo>
                <a:cubicBezTo>
                  <a:pt x="3742876" y="6121085"/>
                  <a:pt x="3742477" y="6119355"/>
                  <a:pt x="3741812" y="6117758"/>
                </a:cubicBezTo>
                <a:cubicBezTo>
                  <a:pt x="3741146" y="6116160"/>
                  <a:pt x="3740214" y="6114829"/>
                  <a:pt x="3739148" y="6113631"/>
                </a:cubicBezTo>
                <a:cubicBezTo>
                  <a:pt x="3738084" y="6112566"/>
                  <a:pt x="3736753" y="6111634"/>
                  <a:pt x="3735155" y="6110968"/>
                </a:cubicBezTo>
                <a:cubicBezTo>
                  <a:pt x="3733691" y="6110303"/>
                  <a:pt x="3732093" y="6110037"/>
                  <a:pt x="3730096" y="6110037"/>
                </a:cubicBezTo>
                <a:close/>
                <a:moveTo>
                  <a:pt x="3512433" y="6110037"/>
                </a:moveTo>
                <a:cubicBezTo>
                  <a:pt x="3506574" y="6110037"/>
                  <a:pt x="3504043" y="6111900"/>
                  <a:pt x="3502444" y="6113631"/>
                </a:cubicBezTo>
                <a:cubicBezTo>
                  <a:pt x="3499914" y="6116293"/>
                  <a:pt x="3498851" y="6119089"/>
                  <a:pt x="3498851" y="6123082"/>
                </a:cubicBezTo>
                <a:cubicBezTo>
                  <a:pt x="3498851" y="6127209"/>
                  <a:pt x="3499914" y="6130004"/>
                  <a:pt x="3502444" y="6132533"/>
                </a:cubicBezTo>
                <a:cubicBezTo>
                  <a:pt x="3504043" y="6134132"/>
                  <a:pt x="3506574" y="6135995"/>
                  <a:pt x="3512433" y="6135995"/>
                </a:cubicBezTo>
                <a:cubicBezTo>
                  <a:pt x="3514563" y="6135995"/>
                  <a:pt x="3516295" y="6135596"/>
                  <a:pt x="3517759" y="6135063"/>
                </a:cubicBezTo>
                <a:cubicBezTo>
                  <a:pt x="3519223" y="6134531"/>
                  <a:pt x="3520555" y="6133599"/>
                  <a:pt x="3521486" y="6132666"/>
                </a:cubicBezTo>
                <a:cubicBezTo>
                  <a:pt x="3522551" y="6131468"/>
                  <a:pt x="3523483" y="6130137"/>
                  <a:pt x="3524149" y="6128407"/>
                </a:cubicBezTo>
                <a:cubicBezTo>
                  <a:pt x="3524814" y="6126809"/>
                  <a:pt x="3525214" y="6124946"/>
                  <a:pt x="3525214" y="6122949"/>
                </a:cubicBezTo>
                <a:cubicBezTo>
                  <a:pt x="3525214" y="6121085"/>
                  <a:pt x="3524814" y="6119355"/>
                  <a:pt x="3524149" y="6117758"/>
                </a:cubicBezTo>
                <a:cubicBezTo>
                  <a:pt x="3523483" y="6116160"/>
                  <a:pt x="3522551" y="6114829"/>
                  <a:pt x="3521486" y="6113631"/>
                </a:cubicBezTo>
                <a:cubicBezTo>
                  <a:pt x="3520421" y="6112566"/>
                  <a:pt x="3519090" y="6111634"/>
                  <a:pt x="3517493" y="6110968"/>
                </a:cubicBezTo>
                <a:cubicBezTo>
                  <a:pt x="3516029" y="6110303"/>
                  <a:pt x="3514431" y="6110037"/>
                  <a:pt x="3512433" y="6110037"/>
                </a:cubicBezTo>
                <a:close/>
                <a:moveTo>
                  <a:pt x="3294904" y="6110037"/>
                </a:moveTo>
                <a:cubicBezTo>
                  <a:pt x="3289045" y="6110037"/>
                  <a:pt x="3286514" y="6111900"/>
                  <a:pt x="3284917" y="6113631"/>
                </a:cubicBezTo>
                <a:cubicBezTo>
                  <a:pt x="3282387" y="6116293"/>
                  <a:pt x="3281323" y="6119089"/>
                  <a:pt x="3281323" y="6123082"/>
                </a:cubicBezTo>
                <a:cubicBezTo>
                  <a:pt x="3281323" y="6127209"/>
                  <a:pt x="3282387" y="6130004"/>
                  <a:pt x="3284917" y="6132533"/>
                </a:cubicBezTo>
                <a:cubicBezTo>
                  <a:pt x="3286514" y="6134132"/>
                  <a:pt x="3289045" y="6135995"/>
                  <a:pt x="3294904" y="6135995"/>
                </a:cubicBezTo>
                <a:cubicBezTo>
                  <a:pt x="3296901" y="6135995"/>
                  <a:pt x="3298632" y="6135596"/>
                  <a:pt x="3300230" y="6135063"/>
                </a:cubicBezTo>
                <a:cubicBezTo>
                  <a:pt x="3301694" y="6134531"/>
                  <a:pt x="3303026" y="6133599"/>
                  <a:pt x="3303957" y="6132666"/>
                </a:cubicBezTo>
                <a:cubicBezTo>
                  <a:pt x="3305022" y="6131468"/>
                  <a:pt x="3305954" y="6130137"/>
                  <a:pt x="3306620" y="6128407"/>
                </a:cubicBezTo>
                <a:cubicBezTo>
                  <a:pt x="3307285" y="6126809"/>
                  <a:pt x="3307684" y="6124946"/>
                  <a:pt x="3307684" y="6122949"/>
                </a:cubicBezTo>
                <a:cubicBezTo>
                  <a:pt x="3307684" y="6121085"/>
                  <a:pt x="3307285" y="6119355"/>
                  <a:pt x="3306620" y="6117758"/>
                </a:cubicBezTo>
                <a:cubicBezTo>
                  <a:pt x="3305954" y="6116160"/>
                  <a:pt x="3305022" y="6114829"/>
                  <a:pt x="3303957" y="6113631"/>
                </a:cubicBezTo>
                <a:cubicBezTo>
                  <a:pt x="3302892" y="6112566"/>
                  <a:pt x="3301560" y="6111634"/>
                  <a:pt x="3299964" y="6110968"/>
                </a:cubicBezTo>
                <a:cubicBezTo>
                  <a:pt x="3298500" y="6110303"/>
                  <a:pt x="3296901" y="6110037"/>
                  <a:pt x="3294904" y="6110037"/>
                </a:cubicBezTo>
                <a:close/>
                <a:moveTo>
                  <a:pt x="3077375" y="6110037"/>
                </a:moveTo>
                <a:cubicBezTo>
                  <a:pt x="3071517" y="6110037"/>
                  <a:pt x="3068987" y="6111900"/>
                  <a:pt x="3067391" y="6113631"/>
                </a:cubicBezTo>
                <a:cubicBezTo>
                  <a:pt x="3064725" y="6116293"/>
                  <a:pt x="3063660" y="6119089"/>
                  <a:pt x="3063660" y="6123082"/>
                </a:cubicBezTo>
                <a:cubicBezTo>
                  <a:pt x="3063660" y="6127209"/>
                  <a:pt x="3064725" y="6130004"/>
                  <a:pt x="3067256" y="6132533"/>
                </a:cubicBezTo>
                <a:cubicBezTo>
                  <a:pt x="3068854" y="6134132"/>
                  <a:pt x="3071384" y="6135995"/>
                  <a:pt x="3077241" y="6135995"/>
                </a:cubicBezTo>
                <a:cubicBezTo>
                  <a:pt x="3079239" y="6135995"/>
                  <a:pt x="3080969" y="6135596"/>
                  <a:pt x="3082700" y="6135063"/>
                </a:cubicBezTo>
                <a:cubicBezTo>
                  <a:pt x="3084165" y="6134531"/>
                  <a:pt x="3085496" y="6133599"/>
                  <a:pt x="3086427" y="6132666"/>
                </a:cubicBezTo>
                <a:cubicBezTo>
                  <a:pt x="3087492" y="6131468"/>
                  <a:pt x="3088424" y="6130137"/>
                  <a:pt x="3089090" y="6128407"/>
                </a:cubicBezTo>
                <a:cubicBezTo>
                  <a:pt x="3089755" y="6126809"/>
                  <a:pt x="3090022" y="6124946"/>
                  <a:pt x="3090022" y="6122949"/>
                </a:cubicBezTo>
                <a:cubicBezTo>
                  <a:pt x="3090022" y="6121085"/>
                  <a:pt x="3089755" y="6119355"/>
                  <a:pt x="3089090" y="6117758"/>
                </a:cubicBezTo>
                <a:cubicBezTo>
                  <a:pt x="3088424" y="6116160"/>
                  <a:pt x="3087492" y="6114829"/>
                  <a:pt x="3086427" y="6113631"/>
                </a:cubicBezTo>
                <a:cubicBezTo>
                  <a:pt x="3085363" y="6112566"/>
                  <a:pt x="3084031" y="6111634"/>
                  <a:pt x="3082434" y="6110968"/>
                </a:cubicBezTo>
                <a:cubicBezTo>
                  <a:pt x="3080969" y="6110303"/>
                  <a:pt x="3079372" y="6110037"/>
                  <a:pt x="3077375" y="6110037"/>
                </a:cubicBezTo>
                <a:close/>
                <a:moveTo>
                  <a:pt x="2859579" y="6110037"/>
                </a:moveTo>
                <a:cubicBezTo>
                  <a:pt x="2853722" y="6110037"/>
                  <a:pt x="2851192" y="6111900"/>
                  <a:pt x="2849593" y="6113631"/>
                </a:cubicBezTo>
                <a:cubicBezTo>
                  <a:pt x="2847060" y="6116293"/>
                  <a:pt x="2845994" y="6119089"/>
                  <a:pt x="2845994" y="6123082"/>
                </a:cubicBezTo>
                <a:cubicBezTo>
                  <a:pt x="2845994" y="6127209"/>
                  <a:pt x="2847060" y="6130004"/>
                  <a:pt x="2849593" y="6132533"/>
                </a:cubicBezTo>
                <a:cubicBezTo>
                  <a:pt x="2851192" y="6134132"/>
                  <a:pt x="2853722" y="6135995"/>
                  <a:pt x="2859579" y="6135995"/>
                </a:cubicBezTo>
                <a:cubicBezTo>
                  <a:pt x="2861576" y="6135995"/>
                  <a:pt x="2863440" y="6135596"/>
                  <a:pt x="2864904" y="6135063"/>
                </a:cubicBezTo>
                <a:cubicBezTo>
                  <a:pt x="2866502" y="6134531"/>
                  <a:pt x="2867701" y="6133599"/>
                  <a:pt x="2868631" y="6132666"/>
                </a:cubicBezTo>
                <a:cubicBezTo>
                  <a:pt x="2869696" y="6131468"/>
                  <a:pt x="2870629" y="6130137"/>
                  <a:pt x="2871294" y="6128407"/>
                </a:cubicBezTo>
                <a:cubicBezTo>
                  <a:pt x="2871826" y="6126809"/>
                  <a:pt x="2872225" y="6124946"/>
                  <a:pt x="2872225" y="6122949"/>
                </a:cubicBezTo>
                <a:cubicBezTo>
                  <a:pt x="2872225" y="6121085"/>
                  <a:pt x="2871959" y="6119355"/>
                  <a:pt x="2871294" y="6117758"/>
                </a:cubicBezTo>
                <a:cubicBezTo>
                  <a:pt x="2870629" y="6116160"/>
                  <a:pt x="2869696" y="6114829"/>
                  <a:pt x="2868631" y="6113631"/>
                </a:cubicBezTo>
                <a:cubicBezTo>
                  <a:pt x="2867567" y="6112566"/>
                  <a:pt x="2866235" y="6111634"/>
                  <a:pt x="2864639" y="6110968"/>
                </a:cubicBezTo>
                <a:cubicBezTo>
                  <a:pt x="2863175" y="6110303"/>
                  <a:pt x="2861576" y="6110037"/>
                  <a:pt x="2859579" y="6110037"/>
                </a:cubicBezTo>
                <a:close/>
                <a:moveTo>
                  <a:pt x="2641916" y="6110037"/>
                </a:moveTo>
                <a:cubicBezTo>
                  <a:pt x="2636059" y="6110037"/>
                  <a:pt x="2633530" y="6111900"/>
                  <a:pt x="2631933" y="6113631"/>
                </a:cubicBezTo>
                <a:cubicBezTo>
                  <a:pt x="2629403" y="6116293"/>
                  <a:pt x="2628339" y="6119089"/>
                  <a:pt x="2628339" y="6123082"/>
                </a:cubicBezTo>
                <a:cubicBezTo>
                  <a:pt x="2628339" y="6127209"/>
                  <a:pt x="2629403" y="6130004"/>
                  <a:pt x="2631933" y="6132533"/>
                </a:cubicBezTo>
                <a:cubicBezTo>
                  <a:pt x="2633530" y="6134132"/>
                  <a:pt x="2636059" y="6135995"/>
                  <a:pt x="2641916" y="6135995"/>
                </a:cubicBezTo>
                <a:cubicBezTo>
                  <a:pt x="2643913" y="6135995"/>
                  <a:pt x="2645778" y="6135596"/>
                  <a:pt x="2647242" y="6135063"/>
                </a:cubicBezTo>
                <a:cubicBezTo>
                  <a:pt x="2648839" y="6134531"/>
                  <a:pt x="2650037" y="6133599"/>
                  <a:pt x="2650969" y="6132666"/>
                </a:cubicBezTo>
                <a:cubicBezTo>
                  <a:pt x="2652034" y="6131468"/>
                  <a:pt x="2652966" y="6130137"/>
                  <a:pt x="2653632" y="6128407"/>
                </a:cubicBezTo>
                <a:cubicBezTo>
                  <a:pt x="2654164" y="6126809"/>
                  <a:pt x="2654562" y="6124946"/>
                  <a:pt x="2654562" y="6122949"/>
                </a:cubicBezTo>
                <a:cubicBezTo>
                  <a:pt x="2654562" y="6121085"/>
                  <a:pt x="2654297" y="6119355"/>
                  <a:pt x="2653632" y="6117758"/>
                </a:cubicBezTo>
                <a:cubicBezTo>
                  <a:pt x="2652966" y="6116160"/>
                  <a:pt x="2652034" y="6114829"/>
                  <a:pt x="2650969" y="6113631"/>
                </a:cubicBezTo>
                <a:cubicBezTo>
                  <a:pt x="2649904" y="6112566"/>
                  <a:pt x="2648573" y="6111634"/>
                  <a:pt x="2646976" y="6110968"/>
                </a:cubicBezTo>
                <a:cubicBezTo>
                  <a:pt x="2645511" y="6110303"/>
                  <a:pt x="2643913" y="6110037"/>
                  <a:pt x="2641916" y="6110037"/>
                </a:cubicBezTo>
                <a:close/>
                <a:moveTo>
                  <a:pt x="2424254" y="6110037"/>
                </a:moveTo>
                <a:cubicBezTo>
                  <a:pt x="2418397" y="6110037"/>
                  <a:pt x="2415868" y="6111900"/>
                  <a:pt x="2414271" y="6113631"/>
                </a:cubicBezTo>
                <a:cubicBezTo>
                  <a:pt x="2411740" y="6116293"/>
                  <a:pt x="2410676" y="6119089"/>
                  <a:pt x="2410676" y="6123082"/>
                </a:cubicBezTo>
                <a:cubicBezTo>
                  <a:pt x="2410676" y="6127209"/>
                  <a:pt x="2411740" y="6130004"/>
                  <a:pt x="2414271" y="6132533"/>
                </a:cubicBezTo>
                <a:cubicBezTo>
                  <a:pt x="2415868" y="6134132"/>
                  <a:pt x="2418397" y="6135995"/>
                  <a:pt x="2424254" y="6135995"/>
                </a:cubicBezTo>
                <a:cubicBezTo>
                  <a:pt x="2426384" y="6135995"/>
                  <a:pt x="2428115" y="6135596"/>
                  <a:pt x="2429579" y="6135063"/>
                </a:cubicBezTo>
                <a:cubicBezTo>
                  <a:pt x="2431177" y="6134531"/>
                  <a:pt x="2432375" y="6133599"/>
                  <a:pt x="2433306" y="6132666"/>
                </a:cubicBezTo>
                <a:cubicBezTo>
                  <a:pt x="2434371" y="6131468"/>
                  <a:pt x="2435303" y="6130137"/>
                  <a:pt x="2435969" y="6128407"/>
                </a:cubicBezTo>
                <a:cubicBezTo>
                  <a:pt x="2436501" y="6126809"/>
                  <a:pt x="2436900" y="6124946"/>
                  <a:pt x="2436900" y="6122949"/>
                </a:cubicBezTo>
                <a:cubicBezTo>
                  <a:pt x="2436900" y="6121085"/>
                  <a:pt x="2436634" y="6119355"/>
                  <a:pt x="2435969" y="6117758"/>
                </a:cubicBezTo>
                <a:cubicBezTo>
                  <a:pt x="2435303" y="6116160"/>
                  <a:pt x="2434371" y="6114829"/>
                  <a:pt x="2433306" y="6113631"/>
                </a:cubicBezTo>
                <a:cubicBezTo>
                  <a:pt x="2432242" y="6112566"/>
                  <a:pt x="2430910" y="6111634"/>
                  <a:pt x="2429313" y="6110968"/>
                </a:cubicBezTo>
                <a:cubicBezTo>
                  <a:pt x="2427849" y="6110303"/>
                  <a:pt x="2426251" y="6110037"/>
                  <a:pt x="2424254" y="6110037"/>
                </a:cubicBezTo>
                <a:close/>
                <a:moveTo>
                  <a:pt x="2206591" y="6110037"/>
                </a:moveTo>
                <a:cubicBezTo>
                  <a:pt x="2200734" y="6110037"/>
                  <a:pt x="2198205" y="6111900"/>
                  <a:pt x="2196608" y="6113631"/>
                </a:cubicBezTo>
                <a:cubicBezTo>
                  <a:pt x="2194078" y="6116293"/>
                  <a:pt x="2193014" y="6119089"/>
                  <a:pt x="2193014" y="6123082"/>
                </a:cubicBezTo>
                <a:cubicBezTo>
                  <a:pt x="2193014" y="6127209"/>
                  <a:pt x="2194078" y="6130004"/>
                  <a:pt x="2196608" y="6132533"/>
                </a:cubicBezTo>
                <a:cubicBezTo>
                  <a:pt x="2198205" y="6134132"/>
                  <a:pt x="2200734" y="6135995"/>
                  <a:pt x="2206591" y="6135995"/>
                </a:cubicBezTo>
                <a:cubicBezTo>
                  <a:pt x="2208721" y="6135995"/>
                  <a:pt x="2210452" y="6135596"/>
                  <a:pt x="2211916" y="6135063"/>
                </a:cubicBezTo>
                <a:cubicBezTo>
                  <a:pt x="2213514" y="6134531"/>
                  <a:pt x="2214711" y="6133599"/>
                  <a:pt x="2215643" y="6132666"/>
                </a:cubicBezTo>
                <a:cubicBezTo>
                  <a:pt x="2216708" y="6131468"/>
                  <a:pt x="2217640" y="6130137"/>
                  <a:pt x="2218306" y="6128407"/>
                </a:cubicBezTo>
                <a:cubicBezTo>
                  <a:pt x="2218839" y="6126809"/>
                  <a:pt x="2219237" y="6124946"/>
                  <a:pt x="2219237" y="6122949"/>
                </a:cubicBezTo>
                <a:cubicBezTo>
                  <a:pt x="2219237" y="6121085"/>
                  <a:pt x="2218971" y="6119355"/>
                  <a:pt x="2218306" y="6117758"/>
                </a:cubicBezTo>
                <a:cubicBezTo>
                  <a:pt x="2217640" y="6116160"/>
                  <a:pt x="2216708" y="6114829"/>
                  <a:pt x="2215643" y="6113631"/>
                </a:cubicBezTo>
                <a:cubicBezTo>
                  <a:pt x="2214578" y="6112566"/>
                  <a:pt x="2213247" y="6111634"/>
                  <a:pt x="2211650" y="6110968"/>
                </a:cubicBezTo>
                <a:cubicBezTo>
                  <a:pt x="2210186" y="6110303"/>
                  <a:pt x="2208588" y="6110037"/>
                  <a:pt x="2206591" y="6110037"/>
                </a:cubicBezTo>
                <a:close/>
                <a:moveTo>
                  <a:pt x="1989061" y="6110037"/>
                </a:moveTo>
                <a:cubicBezTo>
                  <a:pt x="1983204" y="6110037"/>
                  <a:pt x="1980675" y="6111900"/>
                  <a:pt x="1979078" y="6113631"/>
                </a:cubicBezTo>
                <a:cubicBezTo>
                  <a:pt x="1976548" y="6116293"/>
                  <a:pt x="1975484" y="6119089"/>
                  <a:pt x="1975484" y="6123082"/>
                </a:cubicBezTo>
                <a:cubicBezTo>
                  <a:pt x="1975484" y="6127209"/>
                  <a:pt x="1976548" y="6130004"/>
                  <a:pt x="1979078" y="6132533"/>
                </a:cubicBezTo>
                <a:cubicBezTo>
                  <a:pt x="1980675" y="6134132"/>
                  <a:pt x="1983204" y="6135995"/>
                  <a:pt x="1989061" y="6135995"/>
                </a:cubicBezTo>
                <a:cubicBezTo>
                  <a:pt x="1991058" y="6135995"/>
                  <a:pt x="1992790" y="6135596"/>
                  <a:pt x="1994386" y="6135063"/>
                </a:cubicBezTo>
                <a:cubicBezTo>
                  <a:pt x="1995984" y="6134531"/>
                  <a:pt x="1997183" y="6133599"/>
                  <a:pt x="1998114" y="6132666"/>
                </a:cubicBezTo>
                <a:cubicBezTo>
                  <a:pt x="1999178" y="6131468"/>
                  <a:pt x="2000111" y="6130137"/>
                  <a:pt x="2000777" y="6128407"/>
                </a:cubicBezTo>
                <a:cubicBezTo>
                  <a:pt x="2001308" y="6126809"/>
                  <a:pt x="2001707" y="6124946"/>
                  <a:pt x="2001707" y="6122949"/>
                </a:cubicBezTo>
                <a:cubicBezTo>
                  <a:pt x="2001707" y="6121085"/>
                  <a:pt x="2001442" y="6119355"/>
                  <a:pt x="2000777" y="6117758"/>
                </a:cubicBezTo>
                <a:cubicBezTo>
                  <a:pt x="2000111" y="6116160"/>
                  <a:pt x="1999178" y="6114829"/>
                  <a:pt x="1998114" y="6113631"/>
                </a:cubicBezTo>
                <a:cubicBezTo>
                  <a:pt x="1997049" y="6112566"/>
                  <a:pt x="1995718" y="6111634"/>
                  <a:pt x="1994120" y="6110968"/>
                </a:cubicBezTo>
                <a:cubicBezTo>
                  <a:pt x="1992656" y="6110303"/>
                  <a:pt x="1991058" y="6110037"/>
                  <a:pt x="1989061" y="6110037"/>
                </a:cubicBezTo>
                <a:close/>
                <a:moveTo>
                  <a:pt x="1771429" y="6110037"/>
                </a:moveTo>
                <a:cubicBezTo>
                  <a:pt x="1765572" y="6110037"/>
                  <a:pt x="1763044" y="6111900"/>
                  <a:pt x="1761447" y="6113631"/>
                </a:cubicBezTo>
                <a:cubicBezTo>
                  <a:pt x="1758918" y="6116293"/>
                  <a:pt x="1757853" y="6119089"/>
                  <a:pt x="1757853" y="6123082"/>
                </a:cubicBezTo>
                <a:cubicBezTo>
                  <a:pt x="1757853" y="6127209"/>
                  <a:pt x="1758918" y="6130004"/>
                  <a:pt x="1761447" y="6132533"/>
                </a:cubicBezTo>
                <a:cubicBezTo>
                  <a:pt x="1763044" y="6134132"/>
                  <a:pt x="1765572" y="6135995"/>
                  <a:pt x="1771429" y="6135995"/>
                </a:cubicBezTo>
                <a:cubicBezTo>
                  <a:pt x="1773426" y="6135995"/>
                  <a:pt x="1775290" y="6135596"/>
                  <a:pt x="1776754" y="6135063"/>
                </a:cubicBezTo>
                <a:cubicBezTo>
                  <a:pt x="1778218" y="6134531"/>
                  <a:pt x="1779547" y="6133599"/>
                  <a:pt x="1780480" y="6132666"/>
                </a:cubicBezTo>
                <a:cubicBezTo>
                  <a:pt x="1781545" y="6131468"/>
                  <a:pt x="1782476" y="6130137"/>
                  <a:pt x="1783143" y="6128407"/>
                </a:cubicBezTo>
                <a:cubicBezTo>
                  <a:pt x="1783808" y="6126809"/>
                  <a:pt x="1784207" y="6124946"/>
                  <a:pt x="1784207" y="6122949"/>
                </a:cubicBezTo>
                <a:cubicBezTo>
                  <a:pt x="1784207" y="6121085"/>
                  <a:pt x="1783808" y="6119355"/>
                  <a:pt x="1783143" y="6117758"/>
                </a:cubicBezTo>
                <a:cubicBezTo>
                  <a:pt x="1782476" y="6116160"/>
                  <a:pt x="1781545" y="6114829"/>
                  <a:pt x="1780480" y="6113631"/>
                </a:cubicBezTo>
                <a:cubicBezTo>
                  <a:pt x="1779415" y="6112566"/>
                  <a:pt x="1778085" y="6111634"/>
                  <a:pt x="1776488" y="6110968"/>
                </a:cubicBezTo>
                <a:cubicBezTo>
                  <a:pt x="1775023" y="6110303"/>
                  <a:pt x="1773426" y="6110037"/>
                  <a:pt x="1771429" y="6110037"/>
                </a:cubicBezTo>
                <a:close/>
                <a:moveTo>
                  <a:pt x="1553793" y="6110037"/>
                </a:moveTo>
                <a:cubicBezTo>
                  <a:pt x="1547935" y="6110037"/>
                  <a:pt x="1545406" y="6111900"/>
                  <a:pt x="1543810" y="6113631"/>
                </a:cubicBezTo>
                <a:cubicBezTo>
                  <a:pt x="1541280" y="6116293"/>
                  <a:pt x="1540215" y="6119089"/>
                  <a:pt x="1540215" y="6123082"/>
                </a:cubicBezTo>
                <a:cubicBezTo>
                  <a:pt x="1540215" y="6127209"/>
                  <a:pt x="1541280" y="6130004"/>
                  <a:pt x="1543810" y="6132533"/>
                </a:cubicBezTo>
                <a:cubicBezTo>
                  <a:pt x="1545406" y="6134132"/>
                  <a:pt x="1547935" y="6135995"/>
                  <a:pt x="1553793" y="6135995"/>
                </a:cubicBezTo>
                <a:cubicBezTo>
                  <a:pt x="1555790" y="6135995"/>
                  <a:pt x="1557653" y="6135596"/>
                  <a:pt x="1559117" y="6135063"/>
                </a:cubicBezTo>
                <a:cubicBezTo>
                  <a:pt x="1560581" y="6134531"/>
                  <a:pt x="1561913" y="6133599"/>
                  <a:pt x="1562845" y="6132666"/>
                </a:cubicBezTo>
                <a:cubicBezTo>
                  <a:pt x="1563909" y="6131468"/>
                  <a:pt x="1564842" y="6130137"/>
                  <a:pt x="1565507" y="6128407"/>
                </a:cubicBezTo>
                <a:cubicBezTo>
                  <a:pt x="1566172" y="6126809"/>
                  <a:pt x="1566572" y="6124946"/>
                  <a:pt x="1566572" y="6122949"/>
                </a:cubicBezTo>
                <a:cubicBezTo>
                  <a:pt x="1566572" y="6121085"/>
                  <a:pt x="1566172" y="6119355"/>
                  <a:pt x="1565507" y="6117758"/>
                </a:cubicBezTo>
                <a:cubicBezTo>
                  <a:pt x="1564842" y="6116160"/>
                  <a:pt x="1563909" y="6114829"/>
                  <a:pt x="1562845" y="6113631"/>
                </a:cubicBezTo>
                <a:cubicBezTo>
                  <a:pt x="1561779" y="6112566"/>
                  <a:pt x="1560449" y="6111634"/>
                  <a:pt x="1558851" y="6110968"/>
                </a:cubicBezTo>
                <a:cubicBezTo>
                  <a:pt x="1557387" y="6110303"/>
                  <a:pt x="1555790" y="6110037"/>
                  <a:pt x="1553793" y="6110037"/>
                </a:cubicBezTo>
                <a:close/>
                <a:moveTo>
                  <a:pt x="1336150" y="6110037"/>
                </a:moveTo>
                <a:cubicBezTo>
                  <a:pt x="1330291" y="6110037"/>
                  <a:pt x="1327762" y="6111900"/>
                  <a:pt x="1326166" y="6113631"/>
                </a:cubicBezTo>
                <a:cubicBezTo>
                  <a:pt x="1323635" y="6116293"/>
                  <a:pt x="1322571" y="6119089"/>
                  <a:pt x="1322571" y="6123082"/>
                </a:cubicBezTo>
                <a:cubicBezTo>
                  <a:pt x="1322571" y="6127209"/>
                  <a:pt x="1323635" y="6130004"/>
                  <a:pt x="1326166" y="6132533"/>
                </a:cubicBezTo>
                <a:cubicBezTo>
                  <a:pt x="1327762" y="6134132"/>
                  <a:pt x="1330291" y="6135995"/>
                  <a:pt x="1336150" y="6135995"/>
                </a:cubicBezTo>
                <a:cubicBezTo>
                  <a:pt x="1338279" y="6135995"/>
                  <a:pt x="1340009" y="6135596"/>
                  <a:pt x="1341476" y="6135063"/>
                </a:cubicBezTo>
                <a:cubicBezTo>
                  <a:pt x="1342939" y="6134531"/>
                  <a:pt x="1344271" y="6133599"/>
                  <a:pt x="1345204" y="6132666"/>
                </a:cubicBezTo>
                <a:cubicBezTo>
                  <a:pt x="1346267" y="6131468"/>
                  <a:pt x="1347200" y="6130137"/>
                  <a:pt x="1347865" y="6128407"/>
                </a:cubicBezTo>
                <a:cubicBezTo>
                  <a:pt x="1348531" y="6126809"/>
                  <a:pt x="1348931" y="6124946"/>
                  <a:pt x="1348931" y="6122949"/>
                </a:cubicBezTo>
                <a:cubicBezTo>
                  <a:pt x="1348931" y="6121085"/>
                  <a:pt x="1348531" y="6119355"/>
                  <a:pt x="1347865" y="6117758"/>
                </a:cubicBezTo>
                <a:cubicBezTo>
                  <a:pt x="1347200" y="6116160"/>
                  <a:pt x="1346267" y="6114829"/>
                  <a:pt x="1345204" y="6113631"/>
                </a:cubicBezTo>
                <a:cubicBezTo>
                  <a:pt x="1344138" y="6112566"/>
                  <a:pt x="1342807" y="6111634"/>
                  <a:pt x="1341208" y="6110968"/>
                </a:cubicBezTo>
                <a:cubicBezTo>
                  <a:pt x="1339744" y="6110303"/>
                  <a:pt x="1338145" y="6110037"/>
                  <a:pt x="1336150" y="6110037"/>
                </a:cubicBezTo>
                <a:close/>
                <a:moveTo>
                  <a:pt x="1118637" y="6110037"/>
                </a:moveTo>
                <a:cubicBezTo>
                  <a:pt x="1112778" y="6110037"/>
                  <a:pt x="1110248" y="6111900"/>
                  <a:pt x="1108651" y="6113631"/>
                </a:cubicBezTo>
                <a:cubicBezTo>
                  <a:pt x="1105989" y="6116293"/>
                  <a:pt x="1104924" y="6119089"/>
                  <a:pt x="1104924" y="6123082"/>
                </a:cubicBezTo>
                <a:cubicBezTo>
                  <a:pt x="1104924" y="6127209"/>
                  <a:pt x="1105989" y="6130004"/>
                  <a:pt x="1108519" y="6132533"/>
                </a:cubicBezTo>
                <a:cubicBezTo>
                  <a:pt x="1110116" y="6134132"/>
                  <a:pt x="1112645" y="6135995"/>
                  <a:pt x="1118504" y="6135995"/>
                </a:cubicBezTo>
                <a:cubicBezTo>
                  <a:pt x="1120634" y="6135995"/>
                  <a:pt x="1122365" y="6135596"/>
                  <a:pt x="1123960" y="6135063"/>
                </a:cubicBezTo>
                <a:cubicBezTo>
                  <a:pt x="1125426" y="6134531"/>
                  <a:pt x="1126762" y="6133599"/>
                  <a:pt x="1127691" y="6132666"/>
                </a:cubicBezTo>
                <a:cubicBezTo>
                  <a:pt x="1128757" y="6131468"/>
                  <a:pt x="1129689" y="6130137"/>
                  <a:pt x="1130355" y="6128407"/>
                </a:cubicBezTo>
                <a:cubicBezTo>
                  <a:pt x="1131019" y="6126809"/>
                  <a:pt x="1131420" y="6124946"/>
                  <a:pt x="1131420" y="6122949"/>
                </a:cubicBezTo>
                <a:cubicBezTo>
                  <a:pt x="1131420" y="6121085"/>
                  <a:pt x="1131019" y="6119355"/>
                  <a:pt x="1130355" y="6117758"/>
                </a:cubicBezTo>
                <a:cubicBezTo>
                  <a:pt x="1129689" y="6116160"/>
                  <a:pt x="1128757" y="6114829"/>
                  <a:pt x="1127691" y="6113631"/>
                </a:cubicBezTo>
                <a:cubicBezTo>
                  <a:pt x="1126626" y="6112566"/>
                  <a:pt x="1125294" y="6111634"/>
                  <a:pt x="1123696" y="6110968"/>
                </a:cubicBezTo>
                <a:cubicBezTo>
                  <a:pt x="1122232" y="6110303"/>
                  <a:pt x="1120634" y="6110037"/>
                  <a:pt x="1118637" y="6110037"/>
                </a:cubicBezTo>
                <a:close/>
                <a:moveTo>
                  <a:pt x="901125" y="6110037"/>
                </a:moveTo>
                <a:cubicBezTo>
                  <a:pt x="895267" y="6110037"/>
                  <a:pt x="892738" y="6111900"/>
                  <a:pt x="891140" y="6113631"/>
                </a:cubicBezTo>
                <a:cubicBezTo>
                  <a:pt x="888478" y="6116293"/>
                  <a:pt x="887414" y="6119089"/>
                  <a:pt x="887414" y="6123082"/>
                </a:cubicBezTo>
                <a:cubicBezTo>
                  <a:pt x="887414" y="6127209"/>
                  <a:pt x="888478" y="6130004"/>
                  <a:pt x="891008" y="6132533"/>
                </a:cubicBezTo>
                <a:cubicBezTo>
                  <a:pt x="892605" y="6134132"/>
                  <a:pt x="895134" y="6135995"/>
                  <a:pt x="900991" y="6135995"/>
                </a:cubicBezTo>
                <a:cubicBezTo>
                  <a:pt x="902988" y="6135995"/>
                  <a:pt x="904719" y="6135596"/>
                  <a:pt x="906449" y="6135063"/>
                </a:cubicBezTo>
                <a:cubicBezTo>
                  <a:pt x="907913" y="6134531"/>
                  <a:pt x="909245" y="6133599"/>
                  <a:pt x="910177" y="6132666"/>
                </a:cubicBezTo>
                <a:cubicBezTo>
                  <a:pt x="911241" y="6131468"/>
                  <a:pt x="912173" y="6130137"/>
                  <a:pt x="912839" y="6128407"/>
                </a:cubicBezTo>
                <a:cubicBezTo>
                  <a:pt x="913504" y="6126809"/>
                  <a:pt x="913904" y="6124946"/>
                  <a:pt x="913904" y="6122949"/>
                </a:cubicBezTo>
                <a:cubicBezTo>
                  <a:pt x="913904" y="6121085"/>
                  <a:pt x="913504" y="6119355"/>
                  <a:pt x="912839" y="6117758"/>
                </a:cubicBezTo>
                <a:cubicBezTo>
                  <a:pt x="912173" y="6116160"/>
                  <a:pt x="911241" y="6114829"/>
                  <a:pt x="910177" y="6113631"/>
                </a:cubicBezTo>
                <a:cubicBezTo>
                  <a:pt x="909112" y="6112566"/>
                  <a:pt x="907780" y="6111634"/>
                  <a:pt x="906183" y="6110968"/>
                </a:cubicBezTo>
                <a:cubicBezTo>
                  <a:pt x="904719" y="6110303"/>
                  <a:pt x="903121" y="6110037"/>
                  <a:pt x="901125" y="6110037"/>
                </a:cubicBezTo>
                <a:close/>
                <a:moveTo>
                  <a:pt x="683351" y="6110037"/>
                </a:moveTo>
                <a:cubicBezTo>
                  <a:pt x="677494" y="6110037"/>
                  <a:pt x="674965" y="6111900"/>
                  <a:pt x="673368" y="6113631"/>
                </a:cubicBezTo>
                <a:cubicBezTo>
                  <a:pt x="670838" y="6116293"/>
                  <a:pt x="669774" y="6119089"/>
                  <a:pt x="669774" y="6123082"/>
                </a:cubicBezTo>
                <a:cubicBezTo>
                  <a:pt x="669774" y="6127209"/>
                  <a:pt x="670838" y="6130004"/>
                  <a:pt x="673368" y="6132533"/>
                </a:cubicBezTo>
                <a:cubicBezTo>
                  <a:pt x="674965" y="6134132"/>
                  <a:pt x="677494" y="6135995"/>
                  <a:pt x="683351" y="6135995"/>
                </a:cubicBezTo>
                <a:cubicBezTo>
                  <a:pt x="685348" y="6135995"/>
                  <a:pt x="687212" y="6135596"/>
                  <a:pt x="688676" y="6135063"/>
                </a:cubicBezTo>
                <a:cubicBezTo>
                  <a:pt x="690140" y="6134531"/>
                  <a:pt x="691472" y="6133599"/>
                  <a:pt x="692403" y="6132666"/>
                </a:cubicBezTo>
                <a:cubicBezTo>
                  <a:pt x="693468" y="6131468"/>
                  <a:pt x="694400" y="6130137"/>
                  <a:pt x="695066" y="6128407"/>
                </a:cubicBezTo>
                <a:cubicBezTo>
                  <a:pt x="695731" y="6126809"/>
                  <a:pt x="696131" y="6124946"/>
                  <a:pt x="696131" y="6122949"/>
                </a:cubicBezTo>
                <a:cubicBezTo>
                  <a:pt x="696131" y="6121085"/>
                  <a:pt x="695731" y="6119355"/>
                  <a:pt x="695066" y="6117758"/>
                </a:cubicBezTo>
                <a:cubicBezTo>
                  <a:pt x="694400" y="6116160"/>
                  <a:pt x="693468" y="6114829"/>
                  <a:pt x="692403" y="6113631"/>
                </a:cubicBezTo>
                <a:cubicBezTo>
                  <a:pt x="691338" y="6112566"/>
                  <a:pt x="690007" y="6111634"/>
                  <a:pt x="688410" y="6110968"/>
                </a:cubicBezTo>
                <a:cubicBezTo>
                  <a:pt x="686946" y="6110303"/>
                  <a:pt x="685348" y="6110037"/>
                  <a:pt x="683351" y="6110037"/>
                </a:cubicBezTo>
                <a:close/>
                <a:moveTo>
                  <a:pt x="465710" y="6110037"/>
                </a:moveTo>
                <a:cubicBezTo>
                  <a:pt x="459853" y="6110037"/>
                  <a:pt x="457324" y="6111900"/>
                  <a:pt x="455727" y="6113631"/>
                </a:cubicBezTo>
                <a:cubicBezTo>
                  <a:pt x="453197" y="6116293"/>
                  <a:pt x="452133" y="6119089"/>
                  <a:pt x="452133" y="6123082"/>
                </a:cubicBezTo>
                <a:cubicBezTo>
                  <a:pt x="452133" y="6127209"/>
                  <a:pt x="453197" y="6130004"/>
                  <a:pt x="455727" y="6132533"/>
                </a:cubicBezTo>
                <a:cubicBezTo>
                  <a:pt x="457324" y="6134132"/>
                  <a:pt x="459853" y="6135995"/>
                  <a:pt x="465710" y="6135995"/>
                </a:cubicBezTo>
                <a:cubicBezTo>
                  <a:pt x="467707" y="6135995"/>
                  <a:pt x="469571" y="6135596"/>
                  <a:pt x="471035" y="6135063"/>
                </a:cubicBezTo>
                <a:cubicBezTo>
                  <a:pt x="472499" y="6134531"/>
                  <a:pt x="473830" y="6133599"/>
                  <a:pt x="474762" y="6132666"/>
                </a:cubicBezTo>
                <a:cubicBezTo>
                  <a:pt x="475827" y="6131468"/>
                  <a:pt x="476759" y="6130137"/>
                  <a:pt x="477425" y="6128407"/>
                </a:cubicBezTo>
                <a:cubicBezTo>
                  <a:pt x="478090" y="6126809"/>
                  <a:pt x="478490" y="6124946"/>
                  <a:pt x="478490" y="6122949"/>
                </a:cubicBezTo>
                <a:cubicBezTo>
                  <a:pt x="478490" y="6121085"/>
                  <a:pt x="478090" y="6119355"/>
                  <a:pt x="477425" y="6117758"/>
                </a:cubicBezTo>
                <a:cubicBezTo>
                  <a:pt x="476759" y="6116160"/>
                  <a:pt x="475827" y="6114829"/>
                  <a:pt x="474762" y="6113631"/>
                </a:cubicBezTo>
                <a:cubicBezTo>
                  <a:pt x="473697" y="6112566"/>
                  <a:pt x="472366" y="6111634"/>
                  <a:pt x="470769" y="6110968"/>
                </a:cubicBezTo>
                <a:cubicBezTo>
                  <a:pt x="469305" y="6110303"/>
                  <a:pt x="467707" y="6110037"/>
                  <a:pt x="465710" y="6110037"/>
                </a:cubicBezTo>
                <a:close/>
                <a:moveTo>
                  <a:pt x="248069" y="6110037"/>
                </a:moveTo>
                <a:cubicBezTo>
                  <a:pt x="242212" y="6110037"/>
                  <a:pt x="239683" y="6111900"/>
                  <a:pt x="238087" y="6113631"/>
                </a:cubicBezTo>
                <a:cubicBezTo>
                  <a:pt x="235557" y="6116293"/>
                  <a:pt x="234493" y="6119089"/>
                  <a:pt x="234493" y="6123082"/>
                </a:cubicBezTo>
                <a:cubicBezTo>
                  <a:pt x="234493" y="6127209"/>
                  <a:pt x="235557" y="6130004"/>
                  <a:pt x="238087" y="6132533"/>
                </a:cubicBezTo>
                <a:cubicBezTo>
                  <a:pt x="239683" y="6134132"/>
                  <a:pt x="242212" y="6135995"/>
                  <a:pt x="248069" y="6135995"/>
                </a:cubicBezTo>
                <a:cubicBezTo>
                  <a:pt x="250199" y="6135995"/>
                  <a:pt x="251929" y="6135596"/>
                  <a:pt x="253393" y="6135063"/>
                </a:cubicBezTo>
                <a:cubicBezTo>
                  <a:pt x="254857" y="6134531"/>
                  <a:pt x="256188" y="6133599"/>
                  <a:pt x="257120" y="6132666"/>
                </a:cubicBezTo>
                <a:cubicBezTo>
                  <a:pt x="258185" y="6131468"/>
                  <a:pt x="259117" y="6130137"/>
                  <a:pt x="259783" y="6128407"/>
                </a:cubicBezTo>
                <a:cubicBezTo>
                  <a:pt x="260448" y="6126809"/>
                  <a:pt x="260848" y="6124946"/>
                  <a:pt x="260848" y="6122949"/>
                </a:cubicBezTo>
                <a:cubicBezTo>
                  <a:pt x="260848" y="6121085"/>
                  <a:pt x="260448" y="6119355"/>
                  <a:pt x="259783" y="6117758"/>
                </a:cubicBezTo>
                <a:cubicBezTo>
                  <a:pt x="259117" y="6116160"/>
                  <a:pt x="258185" y="6114829"/>
                  <a:pt x="257120" y="6113631"/>
                </a:cubicBezTo>
                <a:cubicBezTo>
                  <a:pt x="256055" y="6112566"/>
                  <a:pt x="254724" y="6111634"/>
                  <a:pt x="253127" y="6110968"/>
                </a:cubicBezTo>
                <a:cubicBezTo>
                  <a:pt x="251663" y="6110303"/>
                  <a:pt x="250066" y="6110037"/>
                  <a:pt x="248069" y="6110037"/>
                </a:cubicBezTo>
                <a:close/>
                <a:moveTo>
                  <a:pt x="30428" y="6110037"/>
                </a:moveTo>
                <a:cubicBezTo>
                  <a:pt x="24571" y="6110037"/>
                  <a:pt x="22041" y="6111900"/>
                  <a:pt x="20444" y="6113631"/>
                </a:cubicBezTo>
                <a:cubicBezTo>
                  <a:pt x="17915" y="6116293"/>
                  <a:pt x="16851" y="6119089"/>
                  <a:pt x="16851" y="6123082"/>
                </a:cubicBezTo>
                <a:cubicBezTo>
                  <a:pt x="16851" y="6127209"/>
                  <a:pt x="17915" y="6130004"/>
                  <a:pt x="20444" y="6132533"/>
                </a:cubicBezTo>
                <a:cubicBezTo>
                  <a:pt x="22041" y="6134132"/>
                  <a:pt x="24571" y="6135995"/>
                  <a:pt x="30428" y="6135995"/>
                </a:cubicBezTo>
                <a:cubicBezTo>
                  <a:pt x="32558" y="6135995"/>
                  <a:pt x="34289" y="6135596"/>
                  <a:pt x="35753" y="6135063"/>
                </a:cubicBezTo>
                <a:cubicBezTo>
                  <a:pt x="37217" y="6134531"/>
                  <a:pt x="38549" y="6133599"/>
                  <a:pt x="39480" y="6132666"/>
                </a:cubicBezTo>
                <a:cubicBezTo>
                  <a:pt x="40545" y="6131468"/>
                  <a:pt x="41477" y="6130137"/>
                  <a:pt x="42143" y="6128407"/>
                </a:cubicBezTo>
                <a:cubicBezTo>
                  <a:pt x="42808" y="6126809"/>
                  <a:pt x="43074" y="6124946"/>
                  <a:pt x="43074" y="6122949"/>
                </a:cubicBezTo>
                <a:cubicBezTo>
                  <a:pt x="43074" y="6121085"/>
                  <a:pt x="42808" y="6119355"/>
                  <a:pt x="42143" y="6117758"/>
                </a:cubicBezTo>
                <a:cubicBezTo>
                  <a:pt x="41477" y="6116160"/>
                  <a:pt x="40545" y="6114829"/>
                  <a:pt x="39480" y="6113631"/>
                </a:cubicBezTo>
                <a:cubicBezTo>
                  <a:pt x="38415" y="6112566"/>
                  <a:pt x="37084" y="6111634"/>
                  <a:pt x="35487" y="6110968"/>
                </a:cubicBezTo>
                <a:cubicBezTo>
                  <a:pt x="34023" y="6110303"/>
                  <a:pt x="32425" y="6110037"/>
                  <a:pt x="30428" y="6110037"/>
                </a:cubicBezTo>
                <a:close/>
                <a:moveTo>
                  <a:pt x="10475977" y="6093397"/>
                </a:moveTo>
                <a:cubicBezTo>
                  <a:pt x="10480237" y="6093397"/>
                  <a:pt x="10484230" y="6094196"/>
                  <a:pt x="10487824" y="6095926"/>
                </a:cubicBezTo>
                <a:cubicBezTo>
                  <a:pt x="10491419" y="6097524"/>
                  <a:pt x="10494613" y="6099653"/>
                  <a:pt x="10497143" y="6102316"/>
                </a:cubicBezTo>
                <a:cubicBezTo>
                  <a:pt x="10499672" y="6104845"/>
                  <a:pt x="10501801" y="6108040"/>
                  <a:pt x="10503266" y="6111634"/>
                </a:cubicBezTo>
                <a:cubicBezTo>
                  <a:pt x="10504730" y="6115228"/>
                  <a:pt x="10505529" y="6118956"/>
                  <a:pt x="10505529" y="6123082"/>
                </a:cubicBezTo>
                <a:cubicBezTo>
                  <a:pt x="10505529" y="6127209"/>
                  <a:pt x="10504730" y="6131202"/>
                  <a:pt x="10503266" y="6134797"/>
                </a:cubicBezTo>
                <a:cubicBezTo>
                  <a:pt x="10501669" y="6138391"/>
                  <a:pt x="10499672" y="6141453"/>
                  <a:pt x="10497143" y="6144116"/>
                </a:cubicBezTo>
                <a:cubicBezTo>
                  <a:pt x="10494480" y="6146778"/>
                  <a:pt x="10491419" y="6148908"/>
                  <a:pt x="10487824" y="6150372"/>
                </a:cubicBezTo>
                <a:cubicBezTo>
                  <a:pt x="10484098" y="6151836"/>
                  <a:pt x="10480237" y="6152635"/>
                  <a:pt x="10475977" y="6152635"/>
                </a:cubicBezTo>
                <a:cubicBezTo>
                  <a:pt x="10466924" y="6152635"/>
                  <a:pt x="10459736" y="6149706"/>
                  <a:pt x="10454145" y="6144116"/>
                </a:cubicBezTo>
                <a:cubicBezTo>
                  <a:pt x="10448554" y="6138525"/>
                  <a:pt x="10445759" y="6131335"/>
                  <a:pt x="10445759" y="6122949"/>
                </a:cubicBezTo>
                <a:cubicBezTo>
                  <a:pt x="10445759" y="6114696"/>
                  <a:pt x="10448554" y="6107641"/>
                  <a:pt x="10454145" y="6101917"/>
                </a:cubicBezTo>
                <a:cubicBezTo>
                  <a:pt x="10459603" y="6096193"/>
                  <a:pt x="10466924" y="6093397"/>
                  <a:pt x="10475977" y="6093397"/>
                </a:cubicBezTo>
                <a:close/>
                <a:moveTo>
                  <a:pt x="10258466" y="6093397"/>
                </a:moveTo>
                <a:cubicBezTo>
                  <a:pt x="10262592" y="6093397"/>
                  <a:pt x="10266586" y="6094196"/>
                  <a:pt x="10270313" y="6095926"/>
                </a:cubicBezTo>
                <a:cubicBezTo>
                  <a:pt x="10273907" y="6097524"/>
                  <a:pt x="10277101" y="6099653"/>
                  <a:pt x="10279631" y="6102316"/>
                </a:cubicBezTo>
                <a:cubicBezTo>
                  <a:pt x="10282160" y="6104845"/>
                  <a:pt x="10284290" y="6108040"/>
                  <a:pt x="10285754" y="6111634"/>
                </a:cubicBezTo>
                <a:cubicBezTo>
                  <a:pt x="10287218" y="6115228"/>
                  <a:pt x="10288017" y="6118956"/>
                  <a:pt x="10288017" y="6123082"/>
                </a:cubicBezTo>
                <a:cubicBezTo>
                  <a:pt x="10288017" y="6127209"/>
                  <a:pt x="10287218" y="6131202"/>
                  <a:pt x="10285754" y="6134797"/>
                </a:cubicBezTo>
                <a:cubicBezTo>
                  <a:pt x="10284157" y="6138391"/>
                  <a:pt x="10282160" y="6141453"/>
                  <a:pt x="10279631" y="6144116"/>
                </a:cubicBezTo>
                <a:cubicBezTo>
                  <a:pt x="10276969" y="6146778"/>
                  <a:pt x="10273907" y="6148908"/>
                  <a:pt x="10270313" y="6150372"/>
                </a:cubicBezTo>
                <a:cubicBezTo>
                  <a:pt x="10266586" y="6151836"/>
                  <a:pt x="10262725" y="6152635"/>
                  <a:pt x="10258466" y="6152635"/>
                </a:cubicBezTo>
                <a:cubicBezTo>
                  <a:pt x="10249546" y="6152635"/>
                  <a:pt x="10242224" y="6149706"/>
                  <a:pt x="10236633" y="6144116"/>
                </a:cubicBezTo>
                <a:cubicBezTo>
                  <a:pt x="10231043" y="6138525"/>
                  <a:pt x="10228247" y="6131335"/>
                  <a:pt x="10228247" y="6122949"/>
                </a:cubicBezTo>
                <a:cubicBezTo>
                  <a:pt x="10228247" y="6114696"/>
                  <a:pt x="10231043" y="6107641"/>
                  <a:pt x="10236633" y="6101917"/>
                </a:cubicBezTo>
                <a:cubicBezTo>
                  <a:pt x="10242092" y="6096193"/>
                  <a:pt x="10249413" y="6093397"/>
                  <a:pt x="10258466" y="6093397"/>
                </a:cubicBezTo>
                <a:close/>
                <a:moveTo>
                  <a:pt x="10040820" y="6093397"/>
                </a:moveTo>
                <a:cubicBezTo>
                  <a:pt x="10045080" y="6093397"/>
                  <a:pt x="10048941" y="6094196"/>
                  <a:pt x="10052534" y="6095926"/>
                </a:cubicBezTo>
                <a:cubicBezTo>
                  <a:pt x="10056129" y="6097524"/>
                  <a:pt x="10059323" y="6099653"/>
                  <a:pt x="10061852" y="6102316"/>
                </a:cubicBezTo>
                <a:cubicBezTo>
                  <a:pt x="10064382" y="6104845"/>
                  <a:pt x="10066512" y="6108040"/>
                  <a:pt x="10067976" y="6111634"/>
                </a:cubicBezTo>
                <a:cubicBezTo>
                  <a:pt x="10069440" y="6115228"/>
                  <a:pt x="10070239" y="6118956"/>
                  <a:pt x="10070239" y="6123082"/>
                </a:cubicBezTo>
                <a:cubicBezTo>
                  <a:pt x="10070239" y="6127209"/>
                  <a:pt x="10069440" y="6131202"/>
                  <a:pt x="10067976" y="6134797"/>
                </a:cubicBezTo>
                <a:cubicBezTo>
                  <a:pt x="10066379" y="6138391"/>
                  <a:pt x="10064382" y="6141453"/>
                  <a:pt x="10061852" y="6144116"/>
                </a:cubicBezTo>
                <a:cubicBezTo>
                  <a:pt x="10059190" y="6146778"/>
                  <a:pt x="10056129" y="6148908"/>
                  <a:pt x="10052534" y="6150372"/>
                </a:cubicBezTo>
                <a:cubicBezTo>
                  <a:pt x="10048941" y="6151836"/>
                  <a:pt x="10045080" y="6152635"/>
                  <a:pt x="10040820" y="6152635"/>
                </a:cubicBezTo>
                <a:cubicBezTo>
                  <a:pt x="10031767" y="6152635"/>
                  <a:pt x="10024579" y="6149706"/>
                  <a:pt x="10018988" y="6144116"/>
                </a:cubicBezTo>
                <a:cubicBezTo>
                  <a:pt x="10013397" y="6138525"/>
                  <a:pt x="10010602" y="6131335"/>
                  <a:pt x="10010602" y="6122949"/>
                </a:cubicBezTo>
                <a:cubicBezTo>
                  <a:pt x="10010602" y="6114696"/>
                  <a:pt x="10013397" y="6107641"/>
                  <a:pt x="10018988" y="6101917"/>
                </a:cubicBezTo>
                <a:cubicBezTo>
                  <a:pt x="10024579" y="6096193"/>
                  <a:pt x="10031767" y="6093397"/>
                  <a:pt x="10040820" y="6093397"/>
                </a:cubicBezTo>
                <a:close/>
                <a:moveTo>
                  <a:pt x="9823176" y="6093397"/>
                </a:moveTo>
                <a:cubicBezTo>
                  <a:pt x="9827435" y="6093397"/>
                  <a:pt x="9831296" y="6094196"/>
                  <a:pt x="9834890" y="6095926"/>
                </a:cubicBezTo>
                <a:cubicBezTo>
                  <a:pt x="9838617" y="6097524"/>
                  <a:pt x="9841679" y="6099653"/>
                  <a:pt x="9844208" y="6102316"/>
                </a:cubicBezTo>
                <a:cubicBezTo>
                  <a:pt x="9846737" y="6104845"/>
                  <a:pt x="9848867" y="6108040"/>
                  <a:pt x="9850331" y="6111634"/>
                </a:cubicBezTo>
                <a:cubicBezTo>
                  <a:pt x="9851796" y="6115228"/>
                  <a:pt x="9852595" y="6118956"/>
                  <a:pt x="9852595" y="6123082"/>
                </a:cubicBezTo>
                <a:cubicBezTo>
                  <a:pt x="9852595" y="6127209"/>
                  <a:pt x="9851796" y="6131202"/>
                  <a:pt x="9850331" y="6134797"/>
                </a:cubicBezTo>
                <a:cubicBezTo>
                  <a:pt x="9848734" y="6138391"/>
                  <a:pt x="9846737" y="6141453"/>
                  <a:pt x="9844208" y="6144116"/>
                </a:cubicBezTo>
                <a:cubicBezTo>
                  <a:pt x="9841546" y="6146778"/>
                  <a:pt x="9838484" y="6148908"/>
                  <a:pt x="9834890" y="6150372"/>
                </a:cubicBezTo>
                <a:cubicBezTo>
                  <a:pt x="9831296" y="6151836"/>
                  <a:pt x="9827435" y="6152635"/>
                  <a:pt x="9823176" y="6152635"/>
                </a:cubicBezTo>
                <a:cubicBezTo>
                  <a:pt x="9814123" y="6152635"/>
                  <a:pt x="9806935" y="6149706"/>
                  <a:pt x="9801343" y="6144116"/>
                </a:cubicBezTo>
                <a:cubicBezTo>
                  <a:pt x="9795753" y="6138525"/>
                  <a:pt x="9792957" y="6131335"/>
                  <a:pt x="9792957" y="6122949"/>
                </a:cubicBezTo>
                <a:cubicBezTo>
                  <a:pt x="9792957" y="6114696"/>
                  <a:pt x="9795753" y="6107641"/>
                  <a:pt x="9801343" y="6101917"/>
                </a:cubicBezTo>
                <a:cubicBezTo>
                  <a:pt x="9806935" y="6096193"/>
                  <a:pt x="9814123" y="6093397"/>
                  <a:pt x="9823176" y="6093397"/>
                </a:cubicBezTo>
                <a:close/>
                <a:moveTo>
                  <a:pt x="9605531" y="6093397"/>
                </a:moveTo>
                <a:cubicBezTo>
                  <a:pt x="9609790" y="6093397"/>
                  <a:pt x="9613784" y="6094196"/>
                  <a:pt x="9617245" y="6095926"/>
                </a:cubicBezTo>
                <a:cubicBezTo>
                  <a:pt x="9620839" y="6097524"/>
                  <a:pt x="9624033" y="6099653"/>
                  <a:pt x="9626562" y="6102316"/>
                </a:cubicBezTo>
                <a:cubicBezTo>
                  <a:pt x="9629092" y="6104845"/>
                  <a:pt x="9631222" y="6108040"/>
                  <a:pt x="9632686" y="6111634"/>
                </a:cubicBezTo>
                <a:cubicBezTo>
                  <a:pt x="9634150" y="6115228"/>
                  <a:pt x="9634949" y="6118956"/>
                  <a:pt x="9634949" y="6123082"/>
                </a:cubicBezTo>
                <a:cubicBezTo>
                  <a:pt x="9634949" y="6127209"/>
                  <a:pt x="9634150" y="6131202"/>
                  <a:pt x="9632686" y="6134797"/>
                </a:cubicBezTo>
                <a:cubicBezTo>
                  <a:pt x="9631089" y="6138391"/>
                  <a:pt x="9629092" y="6141453"/>
                  <a:pt x="9626562" y="6144116"/>
                </a:cubicBezTo>
                <a:cubicBezTo>
                  <a:pt x="9623901" y="6146778"/>
                  <a:pt x="9620839" y="6148908"/>
                  <a:pt x="9617245" y="6150372"/>
                </a:cubicBezTo>
                <a:cubicBezTo>
                  <a:pt x="9613651" y="6151836"/>
                  <a:pt x="9609790" y="6152635"/>
                  <a:pt x="9605531" y="6152635"/>
                </a:cubicBezTo>
                <a:cubicBezTo>
                  <a:pt x="9596610" y="6152635"/>
                  <a:pt x="9589289" y="6149706"/>
                  <a:pt x="9583698" y="6144116"/>
                </a:cubicBezTo>
                <a:cubicBezTo>
                  <a:pt x="9578108" y="6138525"/>
                  <a:pt x="9575312" y="6131335"/>
                  <a:pt x="9575312" y="6122949"/>
                </a:cubicBezTo>
                <a:cubicBezTo>
                  <a:pt x="9575312" y="6114696"/>
                  <a:pt x="9578108" y="6107641"/>
                  <a:pt x="9583698" y="6101917"/>
                </a:cubicBezTo>
                <a:cubicBezTo>
                  <a:pt x="9589289" y="6096193"/>
                  <a:pt x="9596478" y="6093397"/>
                  <a:pt x="9605531" y="6093397"/>
                </a:cubicBezTo>
                <a:close/>
                <a:moveTo>
                  <a:pt x="9387885" y="6093397"/>
                </a:moveTo>
                <a:cubicBezTo>
                  <a:pt x="9392145" y="6093397"/>
                  <a:pt x="9396138" y="6094196"/>
                  <a:pt x="9399599" y="6095926"/>
                </a:cubicBezTo>
                <a:cubicBezTo>
                  <a:pt x="9403194" y="6097524"/>
                  <a:pt x="9406388" y="6099653"/>
                  <a:pt x="9408917" y="6102316"/>
                </a:cubicBezTo>
                <a:cubicBezTo>
                  <a:pt x="9411447" y="6104845"/>
                  <a:pt x="9413576" y="6108040"/>
                  <a:pt x="9415041" y="6111634"/>
                </a:cubicBezTo>
                <a:cubicBezTo>
                  <a:pt x="9416505" y="6115228"/>
                  <a:pt x="9417304" y="6118956"/>
                  <a:pt x="9417304" y="6123082"/>
                </a:cubicBezTo>
                <a:cubicBezTo>
                  <a:pt x="9417304" y="6127209"/>
                  <a:pt x="9416505" y="6131202"/>
                  <a:pt x="9415041" y="6134797"/>
                </a:cubicBezTo>
                <a:cubicBezTo>
                  <a:pt x="9413444" y="6138391"/>
                  <a:pt x="9411447" y="6141453"/>
                  <a:pt x="9408917" y="6144116"/>
                </a:cubicBezTo>
                <a:cubicBezTo>
                  <a:pt x="9406255" y="6146778"/>
                  <a:pt x="9403194" y="6148908"/>
                  <a:pt x="9399599" y="6150372"/>
                </a:cubicBezTo>
                <a:cubicBezTo>
                  <a:pt x="9396005" y="6151836"/>
                  <a:pt x="9392145" y="6152635"/>
                  <a:pt x="9387885" y="6152635"/>
                </a:cubicBezTo>
                <a:cubicBezTo>
                  <a:pt x="9378965" y="6152635"/>
                  <a:pt x="9371644" y="6149706"/>
                  <a:pt x="9366053" y="6144116"/>
                </a:cubicBezTo>
                <a:cubicBezTo>
                  <a:pt x="9360462" y="6138525"/>
                  <a:pt x="9357667" y="6131335"/>
                  <a:pt x="9357667" y="6122949"/>
                </a:cubicBezTo>
                <a:cubicBezTo>
                  <a:pt x="9357667" y="6114696"/>
                  <a:pt x="9360462" y="6107641"/>
                  <a:pt x="9366053" y="6101917"/>
                </a:cubicBezTo>
                <a:cubicBezTo>
                  <a:pt x="9371644" y="6096193"/>
                  <a:pt x="9378832" y="6093397"/>
                  <a:pt x="9387885" y="6093397"/>
                </a:cubicBezTo>
                <a:close/>
                <a:moveTo>
                  <a:pt x="9170374" y="6093397"/>
                </a:moveTo>
                <a:cubicBezTo>
                  <a:pt x="9174500" y="6093397"/>
                  <a:pt x="9178494" y="6094196"/>
                  <a:pt x="9182088" y="6095926"/>
                </a:cubicBezTo>
                <a:cubicBezTo>
                  <a:pt x="9185682" y="6097524"/>
                  <a:pt x="9188876" y="6099653"/>
                  <a:pt x="9191405" y="6102316"/>
                </a:cubicBezTo>
                <a:cubicBezTo>
                  <a:pt x="9193935" y="6104845"/>
                  <a:pt x="9196065" y="6108040"/>
                  <a:pt x="9197529" y="6111634"/>
                </a:cubicBezTo>
                <a:cubicBezTo>
                  <a:pt x="9198993" y="6115228"/>
                  <a:pt x="9199792" y="6118956"/>
                  <a:pt x="9199792" y="6123082"/>
                </a:cubicBezTo>
                <a:cubicBezTo>
                  <a:pt x="9199792" y="6127209"/>
                  <a:pt x="9198993" y="6131202"/>
                  <a:pt x="9197529" y="6134797"/>
                </a:cubicBezTo>
                <a:cubicBezTo>
                  <a:pt x="9195932" y="6138391"/>
                  <a:pt x="9193935" y="6141453"/>
                  <a:pt x="9191405" y="6144116"/>
                </a:cubicBezTo>
                <a:cubicBezTo>
                  <a:pt x="9188744" y="6146778"/>
                  <a:pt x="9185682" y="6148908"/>
                  <a:pt x="9182088" y="6150372"/>
                </a:cubicBezTo>
                <a:cubicBezTo>
                  <a:pt x="9178494" y="6151836"/>
                  <a:pt x="9174633" y="6152635"/>
                  <a:pt x="9170374" y="6152635"/>
                </a:cubicBezTo>
                <a:cubicBezTo>
                  <a:pt x="9161453" y="6152635"/>
                  <a:pt x="9154132" y="6149706"/>
                  <a:pt x="9148541" y="6144116"/>
                </a:cubicBezTo>
                <a:cubicBezTo>
                  <a:pt x="9142951" y="6138525"/>
                  <a:pt x="9140155" y="6131335"/>
                  <a:pt x="9140155" y="6122949"/>
                </a:cubicBezTo>
                <a:cubicBezTo>
                  <a:pt x="9140155" y="6114696"/>
                  <a:pt x="9142951" y="6107641"/>
                  <a:pt x="9148541" y="6101917"/>
                </a:cubicBezTo>
                <a:cubicBezTo>
                  <a:pt x="9154132" y="6096193"/>
                  <a:pt x="9161321" y="6093397"/>
                  <a:pt x="9170374" y="6093397"/>
                </a:cubicBezTo>
                <a:close/>
                <a:moveTo>
                  <a:pt x="8952728" y="6093397"/>
                </a:moveTo>
                <a:cubicBezTo>
                  <a:pt x="8956988" y="6093397"/>
                  <a:pt x="8960849" y="6094196"/>
                  <a:pt x="8964442" y="6095926"/>
                </a:cubicBezTo>
                <a:cubicBezTo>
                  <a:pt x="8968037" y="6097524"/>
                  <a:pt x="8971231" y="6099653"/>
                  <a:pt x="8973760" y="6102316"/>
                </a:cubicBezTo>
                <a:cubicBezTo>
                  <a:pt x="8976290" y="6104845"/>
                  <a:pt x="8978419" y="6108040"/>
                  <a:pt x="8979884" y="6111634"/>
                </a:cubicBezTo>
                <a:cubicBezTo>
                  <a:pt x="8981348" y="6115228"/>
                  <a:pt x="8982147" y="6118956"/>
                  <a:pt x="8982147" y="6123082"/>
                </a:cubicBezTo>
                <a:cubicBezTo>
                  <a:pt x="8982147" y="6127209"/>
                  <a:pt x="8981348" y="6131202"/>
                  <a:pt x="8979884" y="6134797"/>
                </a:cubicBezTo>
                <a:cubicBezTo>
                  <a:pt x="8978287" y="6138391"/>
                  <a:pt x="8976290" y="6141453"/>
                  <a:pt x="8973760" y="6144116"/>
                </a:cubicBezTo>
                <a:cubicBezTo>
                  <a:pt x="8971098" y="6146778"/>
                  <a:pt x="8968037" y="6148908"/>
                  <a:pt x="8964442" y="6150372"/>
                </a:cubicBezTo>
                <a:cubicBezTo>
                  <a:pt x="8960849" y="6151836"/>
                  <a:pt x="8956988" y="6152635"/>
                  <a:pt x="8952728" y="6152635"/>
                </a:cubicBezTo>
                <a:cubicBezTo>
                  <a:pt x="8943808" y="6152635"/>
                  <a:pt x="8936487" y="6149706"/>
                  <a:pt x="8930896" y="6144116"/>
                </a:cubicBezTo>
                <a:cubicBezTo>
                  <a:pt x="8925305" y="6138525"/>
                  <a:pt x="8922510" y="6131335"/>
                  <a:pt x="8922510" y="6122949"/>
                </a:cubicBezTo>
                <a:cubicBezTo>
                  <a:pt x="8922510" y="6114696"/>
                  <a:pt x="8925305" y="6107641"/>
                  <a:pt x="8930896" y="6101917"/>
                </a:cubicBezTo>
                <a:cubicBezTo>
                  <a:pt x="8936487" y="6096193"/>
                  <a:pt x="8943675" y="6093397"/>
                  <a:pt x="8952728" y="6093397"/>
                </a:cubicBezTo>
                <a:close/>
                <a:moveTo>
                  <a:pt x="8735083" y="6093397"/>
                </a:moveTo>
                <a:cubicBezTo>
                  <a:pt x="8739342" y="6093397"/>
                  <a:pt x="8743203" y="6094196"/>
                  <a:pt x="8746797" y="6095926"/>
                </a:cubicBezTo>
                <a:cubicBezTo>
                  <a:pt x="8750391" y="6097524"/>
                  <a:pt x="8753586" y="6099653"/>
                  <a:pt x="8756115" y="6102316"/>
                </a:cubicBezTo>
                <a:cubicBezTo>
                  <a:pt x="8758644" y="6104845"/>
                  <a:pt x="8760774" y="6108040"/>
                  <a:pt x="8762238" y="6111634"/>
                </a:cubicBezTo>
                <a:cubicBezTo>
                  <a:pt x="8763702" y="6115228"/>
                  <a:pt x="8764502" y="6118956"/>
                  <a:pt x="8764502" y="6123082"/>
                </a:cubicBezTo>
                <a:cubicBezTo>
                  <a:pt x="8764502" y="6127209"/>
                  <a:pt x="8763702" y="6131202"/>
                  <a:pt x="8762238" y="6134797"/>
                </a:cubicBezTo>
                <a:cubicBezTo>
                  <a:pt x="8760641" y="6138391"/>
                  <a:pt x="8758644" y="6141453"/>
                  <a:pt x="8756115" y="6144116"/>
                </a:cubicBezTo>
                <a:cubicBezTo>
                  <a:pt x="8753453" y="6146778"/>
                  <a:pt x="8750391" y="6148908"/>
                  <a:pt x="8746797" y="6150372"/>
                </a:cubicBezTo>
                <a:cubicBezTo>
                  <a:pt x="8743203" y="6151836"/>
                  <a:pt x="8739342" y="6152635"/>
                  <a:pt x="8735083" y="6152635"/>
                </a:cubicBezTo>
                <a:cubicBezTo>
                  <a:pt x="8726030" y="6152635"/>
                  <a:pt x="8718841" y="6149706"/>
                  <a:pt x="8713250" y="6144116"/>
                </a:cubicBezTo>
                <a:cubicBezTo>
                  <a:pt x="8707660" y="6138525"/>
                  <a:pt x="8704864" y="6131335"/>
                  <a:pt x="8704864" y="6122949"/>
                </a:cubicBezTo>
                <a:cubicBezTo>
                  <a:pt x="8704864" y="6114696"/>
                  <a:pt x="8707660" y="6107641"/>
                  <a:pt x="8713250" y="6101917"/>
                </a:cubicBezTo>
                <a:cubicBezTo>
                  <a:pt x="8718841" y="6096193"/>
                  <a:pt x="8726030" y="6093397"/>
                  <a:pt x="8735083" y="6093397"/>
                </a:cubicBezTo>
                <a:close/>
                <a:moveTo>
                  <a:pt x="8517438" y="6093397"/>
                </a:moveTo>
                <a:cubicBezTo>
                  <a:pt x="8521698" y="6093397"/>
                  <a:pt x="8525559" y="6094196"/>
                  <a:pt x="8529152" y="6095926"/>
                </a:cubicBezTo>
                <a:cubicBezTo>
                  <a:pt x="8532880" y="6097524"/>
                  <a:pt x="8535941" y="6099653"/>
                  <a:pt x="8538470" y="6102316"/>
                </a:cubicBezTo>
                <a:cubicBezTo>
                  <a:pt x="8541000" y="6104845"/>
                  <a:pt x="8543130" y="6108040"/>
                  <a:pt x="8544594" y="6111634"/>
                </a:cubicBezTo>
                <a:cubicBezTo>
                  <a:pt x="8546058" y="6115228"/>
                  <a:pt x="8546857" y="6118956"/>
                  <a:pt x="8546857" y="6123082"/>
                </a:cubicBezTo>
                <a:cubicBezTo>
                  <a:pt x="8546857" y="6127209"/>
                  <a:pt x="8546058" y="6131202"/>
                  <a:pt x="8544594" y="6134797"/>
                </a:cubicBezTo>
                <a:cubicBezTo>
                  <a:pt x="8542997" y="6138391"/>
                  <a:pt x="8541000" y="6141453"/>
                  <a:pt x="8538470" y="6144116"/>
                </a:cubicBezTo>
                <a:cubicBezTo>
                  <a:pt x="8535808" y="6146778"/>
                  <a:pt x="8532747" y="6148908"/>
                  <a:pt x="8529152" y="6150372"/>
                </a:cubicBezTo>
                <a:cubicBezTo>
                  <a:pt x="8525559" y="6151836"/>
                  <a:pt x="8521698" y="6152635"/>
                  <a:pt x="8517438" y="6152635"/>
                </a:cubicBezTo>
                <a:cubicBezTo>
                  <a:pt x="8508385" y="6152635"/>
                  <a:pt x="8501197" y="6149706"/>
                  <a:pt x="8495606" y="6144116"/>
                </a:cubicBezTo>
                <a:cubicBezTo>
                  <a:pt x="8490015" y="6138525"/>
                  <a:pt x="8487220" y="6131335"/>
                  <a:pt x="8487220" y="6122949"/>
                </a:cubicBezTo>
                <a:cubicBezTo>
                  <a:pt x="8487220" y="6114696"/>
                  <a:pt x="8490015" y="6107641"/>
                  <a:pt x="8495606" y="6101917"/>
                </a:cubicBezTo>
                <a:cubicBezTo>
                  <a:pt x="8501197" y="6096193"/>
                  <a:pt x="8508385" y="6093397"/>
                  <a:pt x="8517438" y="6093397"/>
                </a:cubicBezTo>
                <a:close/>
                <a:moveTo>
                  <a:pt x="8299793" y="6093397"/>
                </a:moveTo>
                <a:cubicBezTo>
                  <a:pt x="8304052" y="6093397"/>
                  <a:pt x="8308046" y="6094196"/>
                  <a:pt x="8311507" y="6095926"/>
                </a:cubicBezTo>
                <a:cubicBezTo>
                  <a:pt x="8315235" y="6097524"/>
                  <a:pt x="8318296" y="6099653"/>
                  <a:pt x="8320825" y="6102316"/>
                </a:cubicBezTo>
                <a:cubicBezTo>
                  <a:pt x="8323354" y="6104845"/>
                  <a:pt x="8325484" y="6108040"/>
                  <a:pt x="8326948" y="6111634"/>
                </a:cubicBezTo>
                <a:cubicBezTo>
                  <a:pt x="8328413" y="6115228"/>
                  <a:pt x="8329212" y="6118956"/>
                  <a:pt x="8329212" y="6123082"/>
                </a:cubicBezTo>
                <a:cubicBezTo>
                  <a:pt x="8329212" y="6127209"/>
                  <a:pt x="8328413" y="6131202"/>
                  <a:pt x="8326948" y="6134797"/>
                </a:cubicBezTo>
                <a:cubicBezTo>
                  <a:pt x="8325351" y="6138391"/>
                  <a:pt x="8323354" y="6141453"/>
                  <a:pt x="8320825" y="6144116"/>
                </a:cubicBezTo>
                <a:cubicBezTo>
                  <a:pt x="8318163" y="6146778"/>
                  <a:pt x="8315101" y="6148908"/>
                  <a:pt x="8311507" y="6150372"/>
                </a:cubicBezTo>
                <a:cubicBezTo>
                  <a:pt x="8307913" y="6151836"/>
                  <a:pt x="8304052" y="6152635"/>
                  <a:pt x="8299793" y="6152635"/>
                </a:cubicBezTo>
                <a:cubicBezTo>
                  <a:pt x="8290874" y="6152635"/>
                  <a:pt x="8283553" y="6149706"/>
                  <a:pt x="8277960" y="6144116"/>
                </a:cubicBezTo>
                <a:cubicBezTo>
                  <a:pt x="8272370" y="6138525"/>
                  <a:pt x="8269574" y="6131335"/>
                  <a:pt x="8269574" y="6122949"/>
                </a:cubicBezTo>
                <a:cubicBezTo>
                  <a:pt x="8269574" y="6114696"/>
                  <a:pt x="8272370" y="6107641"/>
                  <a:pt x="8277960" y="6101917"/>
                </a:cubicBezTo>
                <a:cubicBezTo>
                  <a:pt x="8283553" y="6096193"/>
                  <a:pt x="8290741" y="6093397"/>
                  <a:pt x="8299793" y="6093397"/>
                </a:cubicBezTo>
                <a:close/>
                <a:moveTo>
                  <a:pt x="8082281" y="6093397"/>
                </a:moveTo>
                <a:cubicBezTo>
                  <a:pt x="8086407" y="6093397"/>
                  <a:pt x="8090401" y="6094196"/>
                  <a:pt x="8094127" y="6095926"/>
                </a:cubicBezTo>
                <a:cubicBezTo>
                  <a:pt x="8097855" y="6097524"/>
                  <a:pt x="8100916" y="6099653"/>
                  <a:pt x="8103446" y="6102316"/>
                </a:cubicBezTo>
                <a:cubicBezTo>
                  <a:pt x="8105975" y="6104845"/>
                  <a:pt x="8108104" y="6108040"/>
                  <a:pt x="8109569" y="6111634"/>
                </a:cubicBezTo>
                <a:cubicBezTo>
                  <a:pt x="8111033" y="6115228"/>
                  <a:pt x="8111832" y="6118956"/>
                  <a:pt x="8111832" y="6123082"/>
                </a:cubicBezTo>
                <a:cubicBezTo>
                  <a:pt x="8111832" y="6127209"/>
                  <a:pt x="8111033" y="6131202"/>
                  <a:pt x="8109569" y="6134797"/>
                </a:cubicBezTo>
                <a:cubicBezTo>
                  <a:pt x="8107972" y="6138391"/>
                  <a:pt x="8105975" y="6141453"/>
                  <a:pt x="8103446" y="6144116"/>
                </a:cubicBezTo>
                <a:cubicBezTo>
                  <a:pt x="8100783" y="6146778"/>
                  <a:pt x="8097722" y="6148908"/>
                  <a:pt x="8094127" y="6150372"/>
                </a:cubicBezTo>
                <a:cubicBezTo>
                  <a:pt x="8090401" y="6151836"/>
                  <a:pt x="8086540" y="6152635"/>
                  <a:pt x="8082281" y="6152635"/>
                </a:cubicBezTo>
                <a:cubicBezTo>
                  <a:pt x="8073361" y="6152635"/>
                  <a:pt x="8066040" y="6149706"/>
                  <a:pt x="8060448" y="6144116"/>
                </a:cubicBezTo>
                <a:cubicBezTo>
                  <a:pt x="8054857" y="6138525"/>
                  <a:pt x="8052062" y="6131335"/>
                  <a:pt x="8052062" y="6122949"/>
                </a:cubicBezTo>
                <a:cubicBezTo>
                  <a:pt x="8052062" y="6114696"/>
                  <a:pt x="8054857" y="6107641"/>
                  <a:pt x="8060448" y="6101917"/>
                </a:cubicBezTo>
                <a:cubicBezTo>
                  <a:pt x="8066040" y="6096193"/>
                  <a:pt x="8073228" y="6093397"/>
                  <a:pt x="8082281" y="6093397"/>
                </a:cubicBezTo>
                <a:close/>
                <a:moveTo>
                  <a:pt x="7864636" y="6093397"/>
                </a:moveTo>
                <a:cubicBezTo>
                  <a:pt x="7868762" y="6093397"/>
                  <a:pt x="7872756" y="6094196"/>
                  <a:pt x="7876483" y="6095926"/>
                </a:cubicBezTo>
                <a:cubicBezTo>
                  <a:pt x="7880210" y="6097524"/>
                  <a:pt x="7883272" y="6099653"/>
                  <a:pt x="7885802" y="6102316"/>
                </a:cubicBezTo>
                <a:cubicBezTo>
                  <a:pt x="7888331" y="6104845"/>
                  <a:pt x="7890460" y="6108040"/>
                  <a:pt x="7891924" y="6111634"/>
                </a:cubicBezTo>
                <a:cubicBezTo>
                  <a:pt x="7893389" y="6115228"/>
                  <a:pt x="7894188" y="6118956"/>
                  <a:pt x="7894188" y="6123082"/>
                </a:cubicBezTo>
                <a:cubicBezTo>
                  <a:pt x="7894188" y="6127209"/>
                  <a:pt x="7893389" y="6131202"/>
                  <a:pt x="7891924" y="6134797"/>
                </a:cubicBezTo>
                <a:cubicBezTo>
                  <a:pt x="7890327" y="6138391"/>
                  <a:pt x="7888331" y="6141453"/>
                  <a:pt x="7885802" y="6144116"/>
                </a:cubicBezTo>
                <a:cubicBezTo>
                  <a:pt x="7883139" y="6146778"/>
                  <a:pt x="7880078" y="6148908"/>
                  <a:pt x="7876483" y="6150372"/>
                </a:cubicBezTo>
                <a:cubicBezTo>
                  <a:pt x="7872756" y="6151836"/>
                  <a:pt x="7868895" y="6152635"/>
                  <a:pt x="7864636" y="6152635"/>
                </a:cubicBezTo>
                <a:cubicBezTo>
                  <a:pt x="7855717" y="6152635"/>
                  <a:pt x="7848396" y="6149706"/>
                  <a:pt x="7842803" y="6144116"/>
                </a:cubicBezTo>
                <a:cubicBezTo>
                  <a:pt x="7837213" y="6138525"/>
                  <a:pt x="7834417" y="6131335"/>
                  <a:pt x="7834417" y="6122949"/>
                </a:cubicBezTo>
                <a:cubicBezTo>
                  <a:pt x="7834417" y="6114696"/>
                  <a:pt x="7837213" y="6107641"/>
                  <a:pt x="7842803" y="6101917"/>
                </a:cubicBezTo>
                <a:cubicBezTo>
                  <a:pt x="7848396" y="6096193"/>
                  <a:pt x="7855584" y="6093397"/>
                  <a:pt x="7864636" y="6093397"/>
                </a:cubicBezTo>
                <a:close/>
                <a:moveTo>
                  <a:pt x="7646991" y="6093397"/>
                </a:moveTo>
                <a:cubicBezTo>
                  <a:pt x="7651250" y="6093397"/>
                  <a:pt x="7655111" y="6094196"/>
                  <a:pt x="7658705" y="6095926"/>
                </a:cubicBezTo>
                <a:cubicBezTo>
                  <a:pt x="7662432" y="6097524"/>
                  <a:pt x="7665493" y="6099653"/>
                  <a:pt x="7668022" y="6102316"/>
                </a:cubicBezTo>
                <a:cubicBezTo>
                  <a:pt x="7670552" y="6104845"/>
                  <a:pt x="7672682" y="6108040"/>
                  <a:pt x="7674146" y="6111634"/>
                </a:cubicBezTo>
                <a:cubicBezTo>
                  <a:pt x="7675610" y="6115228"/>
                  <a:pt x="7676409" y="6118956"/>
                  <a:pt x="7676409" y="6123082"/>
                </a:cubicBezTo>
                <a:cubicBezTo>
                  <a:pt x="7676409" y="6127209"/>
                  <a:pt x="7675610" y="6131202"/>
                  <a:pt x="7674146" y="6134797"/>
                </a:cubicBezTo>
                <a:cubicBezTo>
                  <a:pt x="7672549" y="6138391"/>
                  <a:pt x="7670552" y="6141453"/>
                  <a:pt x="7668022" y="6144116"/>
                </a:cubicBezTo>
                <a:cubicBezTo>
                  <a:pt x="7665361" y="6146778"/>
                  <a:pt x="7662299" y="6148908"/>
                  <a:pt x="7658705" y="6150372"/>
                </a:cubicBezTo>
                <a:cubicBezTo>
                  <a:pt x="7655111" y="6151836"/>
                  <a:pt x="7651250" y="6152635"/>
                  <a:pt x="7646991" y="6152635"/>
                </a:cubicBezTo>
                <a:cubicBezTo>
                  <a:pt x="7638071" y="6152635"/>
                  <a:pt x="7630750" y="6149706"/>
                  <a:pt x="7625158" y="6144116"/>
                </a:cubicBezTo>
                <a:cubicBezTo>
                  <a:pt x="7619568" y="6138525"/>
                  <a:pt x="7616772" y="6131335"/>
                  <a:pt x="7616772" y="6122949"/>
                </a:cubicBezTo>
                <a:cubicBezTo>
                  <a:pt x="7616772" y="6114696"/>
                  <a:pt x="7619568" y="6107641"/>
                  <a:pt x="7625158" y="6101917"/>
                </a:cubicBezTo>
                <a:cubicBezTo>
                  <a:pt x="7630750" y="6096193"/>
                  <a:pt x="7637939" y="6093397"/>
                  <a:pt x="7646991" y="6093397"/>
                </a:cubicBezTo>
                <a:close/>
                <a:moveTo>
                  <a:pt x="7429345" y="6093397"/>
                </a:moveTo>
                <a:cubicBezTo>
                  <a:pt x="7433605" y="6093397"/>
                  <a:pt x="7437466" y="6094196"/>
                  <a:pt x="7441059" y="6095926"/>
                </a:cubicBezTo>
                <a:cubicBezTo>
                  <a:pt x="7444787" y="6097524"/>
                  <a:pt x="7447848" y="6099653"/>
                  <a:pt x="7450377" y="6102316"/>
                </a:cubicBezTo>
                <a:cubicBezTo>
                  <a:pt x="7452907" y="6104845"/>
                  <a:pt x="7455036" y="6108040"/>
                  <a:pt x="7456501" y="6111634"/>
                </a:cubicBezTo>
                <a:cubicBezTo>
                  <a:pt x="7457965" y="6115228"/>
                  <a:pt x="7458764" y="6118956"/>
                  <a:pt x="7458764" y="6123082"/>
                </a:cubicBezTo>
                <a:cubicBezTo>
                  <a:pt x="7458764" y="6127209"/>
                  <a:pt x="7457965" y="6131202"/>
                  <a:pt x="7456501" y="6134797"/>
                </a:cubicBezTo>
                <a:cubicBezTo>
                  <a:pt x="7454904" y="6138391"/>
                  <a:pt x="7452907" y="6141453"/>
                  <a:pt x="7450377" y="6144116"/>
                </a:cubicBezTo>
                <a:cubicBezTo>
                  <a:pt x="7447715" y="6146778"/>
                  <a:pt x="7444654" y="6148908"/>
                  <a:pt x="7441059" y="6150372"/>
                </a:cubicBezTo>
                <a:cubicBezTo>
                  <a:pt x="7437466" y="6151836"/>
                  <a:pt x="7433605" y="6152635"/>
                  <a:pt x="7429345" y="6152635"/>
                </a:cubicBezTo>
                <a:cubicBezTo>
                  <a:pt x="7420426" y="6152635"/>
                  <a:pt x="7413105" y="6149706"/>
                  <a:pt x="7407513" y="6144116"/>
                </a:cubicBezTo>
                <a:cubicBezTo>
                  <a:pt x="7401922" y="6138525"/>
                  <a:pt x="7399127" y="6131335"/>
                  <a:pt x="7399127" y="6122949"/>
                </a:cubicBezTo>
                <a:cubicBezTo>
                  <a:pt x="7399127" y="6114696"/>
                  <a:pt x="7401922" y="6107641"/>
                  <a:pt x="7407513" y="6101917"/>
                </a:cubicBezTo>
                <a:cubicBezTo>
                  <a:pt x="7413105" y="6096193"/>
                  <a:pt x="7420293" y="6093397"/>
                  <a:pt x="7429345" y="6093397"/>
                </a:cubicBezTo>
                <a:close/>
                <a:moveTo>
                  <a:pt x="7211701" y="6093397"/>
                </a:moveTo>
                <a:cubicBezTo>
                  <a:pt x="7215960" y="6093397"/>
                  <a:pt x="7219954" y="6094196"/>
                  <a:pt x="7223415" y="6095926"/>
                </a:cubicBezTo>
                <a:cubicBezTo>
                  <a:pt x="7227142" y="6097524"/>
                  <a:pt x="7230204" y="6099653"/>
                  <a:pt x="7232733" y="6102316"/>
                </a:cubicBezTo>
                <a:cubicBezTo>
                  <a:pt x="7235262" y="6104845"/>
                  <a:pt x="7237392" y="6108040"/>
                  <a:pt x="7238856" y="6111634"/>
                </a:cubicBezTo>
                <a:cubicBezTo>
                  <a:pt x="7240321" y="6115228"/>
                  <a:pt x="7241120" y="6118956"/>
                  <a:pt x="7241120" y="6123082"/>
                </a:cubicBezTo>
                <a:cubicBezTo>
                  <a:pt x="7241120" y="6127209"/>
                  <a:pt x="7240321" y="6131202"/>
                  <a:pt x="7238856" y="6134797"/>
                </a:cubicBezTo>
                <a:cubicBezTo>
                  <a:pt x="7237259" y="6138391"/>
                  <a:pt x="7235262" y="6141453"/>
                  <a:pt x="7232733" y="6144116"/>
                </a:cubicBezTo>
                <a:cubicBezTo>
                  <a:pt x="7230071" y="6146778"/>
                  <a:pt x="7227009" y="6148908"/>
                  <a:pt x="7223415" y="6150372"/>
                </a:cubicBezTo>
                <a:cubicBezTo>
                  <a:pt x="7219821" y="6151836"/>
                  <a:pt x="7215960" y="6152635"/>
                  <a:pt x="7211701" y="6152635"/>
                </a:cubicBezTo>
                <a:cubicBezTo>
                  <a:pt x="7202782" y="6152635"/>
                  <a:pt x="7195460" y="6149706"/>
                  <a:pt x="7189868" y="6144116"/>
                </a:cubicBezTo>
                <a:cubicBezTo>
                  <a:pt x="7184278" y="6138525"/>
                  <a:pt x="7181482" y="6131335"/>
                  <a:pt x="7181482" y="6122949"/>
                </a:cubicBezTo>
                <a:cubicBezTo>
                  <a:pt x="7181482" y="6114696"/>
                  <a:pt x="7184278" y="6107641"/>
                  <a:pt x="7189868" y="6101917"/>
                </a:cubicBezTo>
                <a:cubicBezTo>
                  <a:pt x="7195460" y="6096193"/>
                  <a:pt x="7202649" y="6093397"/>
                  <a:pt x="7211701" y="6093397"/>
                </a:cubicBezTo>
                <a:close/>
                <a:moveTo>
                  <a:pt x="6994056" y="6093397"/>
                </a:moveTo>
                <a:cubicBezTo>
                  <a:pt x="6998315" y="6093397"/>
                  <a:pt x="7002309" y="6094196"/>
                  <a:pt x="7005769" y="6095926"/>
                </a:cubicBezTo>
                <a:cubicBezTo>
                  <a:pt x="7009497" y="6097524"/>
                  <a:pt x="7012558" y="6099653"/>
                  <a:pt x="7015087" y="6102316"/>
                </a:cubicBezTo>
                <a:cubicBezTo>
                  <a:pt x="7017617" y="6104845"/>
                  <a:pt x="7019747" y="6108040"/>
                  <a:pt x="7021211" y="6111634"/>
                </a:cubicBezTo>
                <a:cubicBezTo>
                  <a:pt x="7022675" y="6115228"/>
                  <a:pt x="7023474" y="6118956"/>
                  <a:pt x="7023474" y="6123082"/>
                </a:cubicBezTo>
                <a:cubicBezTo>
                  <a:pt x="7023474" y="6127209"/>
                  <a:pt x="7022675" y="6131202"/>
                  <a:pt x="7021211" y="6134797"/>
                </a:cubicBezTo>
                <a:cubicBezTo>
                  <a:pt x="7019614" y="6138391"/>
                  <a:pt x="7017617" y="6141453"/>
                  <a:pt x="7015087" y="6144116"/>
                </a:cubicBezTo>
                <a:cubicBezTo>
                  <a:pt x="7012425" y="6146778"/>
                  <a:pt x="7009364" y="6148908"/>
                  <a:pt x="7005769" y="6150372"/>
                </a:cubicBezTo>
                <a:cubicBezTo>
                  <a:pt x="7002176" y="6151836"/>
                  <a:pt x="6998315" y="6152635"/>
                  <a:pt x="6994056" y="6152635"/>
                </a:cubicBezTo>
                <a:cubicBezTo>
                  <a:pt x="6985136" y="6152635"/>
                  <a:pt x="6977815" y="6149706"/>
                  <a:pt x="6972223" y="6144116"/>
                </a:cubicBezTo>
                <a:cubicBezTo>
                  <a:pt x="6966632" y="6138525"/>
                  <a:pt x="6963837" y="6131335"/>
                  <a:pt x="6963837" y="6122949"/>
                </a:cubicBezTo>
                <a:cubicBezTo>
                  <a:pt x="6963837" y="6114696"/>
                  <a:pt x="6966632" y="6107641"/>
                  <a:pt x="6972223" y="6101917"/>
                </a:cubicBezTo>
                <a:cubicBezTo>
                  <a:pt x="6977815" y="6096193"/>
                  <a:pt x="6985003" y="6093397"/>
                  <a:pt x="6994056" y="6093397"/>
                </a:cubicBezTo>
                <a:close/>
                <a:moveTo>
                  <a:pt x="6776544" y="6093397"/>
                </a:moveTo>
                <a:cubicBezTo>
                  <a:pt x="6780670" y="6093397"/>
                  <a:pt x="6784664" y="6094196"/>
                  <a:pt x="6788258" y="6095926"/>
                </a:cubicBezTo>
                <a:cubicBezTo>
                  <a:pt x="6791985" y="6097524"/>
                  <a:pt x="6795047" y="6099653"/>
                  <a:pt x="6797576" y="6102316"/>
                </a:cubicBezTo>
                <a:cubicBezTo>
                  <a:pt x="6800105" y="6104845"/>
                  <a:pt x="6802235" y="6108040"/>
                  <a:pt x="6803699" y="6111634"/>
                </a:cubicBezTo>
                <a:cubicBezTo>
                  <a:pt x="6805164" y="6115228"/>
                  <a:pt x="6805963" y="6118956"/>
                  <a:pt x="6805963" y="6123082"/>
                </a:cubicBezTo>
                <a:cubicBezTo>
                  <a:pt x="6805963" y="6127209"/>
                  <a:pt x="6805164" y="6131202"/>
                  <a:pt x="6803699" y="6134797"/>
                </a:cubicBezTo>
                <a:cubicBezTo>
                  <a:pt x="6802102" y="6138391"/>
                  <a:pt x="6800105" y="6141453"/>
                  <a:pt x="6797576" y="6144116"/>
                </a:cubicBezTo>
                <a:cubicBezTo>
                  <a:pt x="6794914" y="6146778"/>
                  <a:pt x="6791852" y="6148908"/>
                  <a:pt x="6788258" y="6150372"/>
                </a:cubicBezTo>
                <a:cubicBezTo>
                  <a:pt x="6784664" y="6151836"/>
                  <a:pt x="6780803" y="6152635"/>
                  <a:pt x="6776544" y="6152635"/>
                </a:cubicBezTo>
                <a:cubicBezTo>
                  <a:pt x="6767625" y="6152635"/>
                  <a:pt x="6760303" y="6149706"/>
                  <a:pt x="6754711" y="6144116"/>
                </a:cubicBezTo>
                <a:cubicBezTo>
                  <a:pt x="6749121" y="6138525"/>
                  <a:pt x="6746325" y="6131335"/>
                  <a:pt x="6746325" y="6122949"/>
                </a:cubicBezTo>
                <a:cubicBezTo>
                  <a:pt x="6746325" y="6114696"/>
                  <a:pt x="6749121" y="6107641"/>
                  <a:pt x="6754711" y="6101917"/>
                </a:cubicBezTo>
                <a:cubicBezTo>
                  <a:pt x="6760303" y="6096193"/>
                  <a:pt x="6767492" y="6093397"/>
                  <a:pt x="6776544" y="6093397"/>
                </a:cubicBezTo>
                <a:close/>
                <a:moveTo>
                  <a:pt x="6558899" y="6093397"/>
                </a:moveTo>
                <a:cubicBezTo>
                  <a:pt x="6563158" y="6093397"/>
                  <a:pt x="6567019" y="6094196"/>
                  <a:pt x="6570612" y="6095926"/>
                </a:cubicBezTo>
                <a:cubicBezTo>
                  <a:pt x="6574340" y="6097524"/>
                  <a:pt x="6577401" y="6099653"/>
                  <a:pt x="6579930" y="6102316"/>
                </a:cubicBezTo>
                <a:cubicBezTo>
                  <a:pt x="6582460" y="6104845"/>
                  <a:pt x="6584590" y="6108040"/>
                  <a:pt x="6586054" y="6111634"/>
                </a:cubicBezTo>
                <a:cubicBezTo>
                  <a:pt x="6587518" y="6115228"/>
                  <a:pt x="6588317" y="6118956"/>
                  <a:pt x="6588317" y="6123082"/>
                </a:cubicBezTo>
                <a:cubicBezTo>
                  <a:pt x="6588317" y="6127209"/>
                  <a:pt x="6587518" y="6131202"/>
                  <a:pt x="6586054" y="6134797"/>
                </a:cubicBezTo>
                <a:cubicBezTo>
                  <a:pt x="6584457" y="6138391"/>
                  <a:pt x="6582460" y="6141453"/>
                  <a:pt x="6579930" y="6144116"/>
                </a:cubicBezTo>
                <a:cubicBezTo>
                  <a:pt x="6577268" y="6146778"/>
                  <a:pt x="6574207" y="6148908"/>
                  <a:pt x="6570612" y="6150372"/>
                </a:cubicBezTo>
                <a:cubicBezTo>
                  <a:pt x="6567019" y="6151836"/>
                  <a:pt x="6563158" y="6152635"/>
                  <a:pt x="6558899" y="6152635"/>
                </a:cubicBezTo>
                <a:cubicBezTo>
                  <a:pt x="6549979" y="6152635"/>
                  <a:pt x="6542658" y="6149706"/>
                  <a:pt x="6537066" y="6144116"/>
                </a:cubicBezTo>
                <a:cubicBezTo>
                  <a:pt x="6531476" y="6138525"/>
                  <a:pt x="6528680" y="6131335"/>
                  <a:pt x="6528680" y="6122949"/>
                </a:cubicBezTo>
                <a:cubicBezTo>
                  <a:pt x="6528680" y="6114696"/>
                  <a:pt x="6531476" y="6107641"/>
                  <a:pt x="6537066" y="6101917"/>
                </a:cubicBezTo>
                <a:cubicBezTo>
                  <a:pt x="6542658" y="6096193"/>
                  <a:pt x="6549846" y="6093397"/>
                  <a:pt x="6558899" y="6093397"/>
                </a:cubicBezTo>
                <a:close/>
                <a:moveTo>
                  <a:pt x="6341253" y="6093397"/>
                </a:moveTo>
                <a:cubicBezTo>
                  <a:pt x="6345513" y="6093397"/>
                  <a:pt x="6349373" y="6094196"/>
                  <a:pt x="6352968" y="6095926"/>
                </a:cubicBezTo>
                <a:cubicBezTo>
                  <a:pt x="6356695" y="6097524"/>
                  <a:pt x="6359757" y="6099653"/>
                  <a:pt x="6362286" y="6102316"/>
                </a:cubicBezTo>
                <a:cubicBezTo>
                  <a:pt x="6364815" y="6104845"/>
                  <a:pt x="6366945" y="6108040"/>
                  <a:pt x="6368409" y="6111634"/>
                </a:cubicBezTo>
                <a:cubicBezTo>
                  <a:pt x="6369874" y="6115228"/>
                  <a:pt x="6370672" y="6118956"/>
                  <a:pt x="6370672" y="6123082"/>
                </a:cubicBezTo>
                <a:cubicBezTo>
                  <a:pt x="6370672" y="6127209"/>
                  <a:pt x="6369874" y="6131202"/>
                  <a:pt x="6368409" y="6134797"/>
                </a:cubicBezTo>
                <a:cubicBezTo>
                  <a:pt x="6366811" y="6138391"/>
                  <a:pt x="6364815" y="6141453"/>
                  <a:pt x="6362286" y="6144116"/>
                </a:cubicBezTo>
                <a:cubicBezTo>
                  <a:pt x="6359623" y="6146778"/>
                  <a:pt x="6356562" y="6148908"/>
                  <a:pt x="6352968" y="6150372"/>
                </a:cubicBezTo>
                <a:cubicBezTo>
                  <a:pt x="6349373" y="6151836"/>
                  <a:pt x="6345513" y="6152635"/>
                  <a:pt x="6341253" y="6152635"/>
                </a:cubicBezTo>
                <a:cubicBezTo>
                  <a:pt x="6332335" y="6152635"/>
                  <a:pt x="6325013" y="6149706"/>
                  <a:pt x="6319421" y="6144116"/>
                </a:cubicBezTo>
                <a:cubicBezTo>
                  <a:pt x="6313830" y="6138525"/>
                  <a:pt x="6311035" y="6131335"/>
                  <a:pt x="6311035" y="6122949"/>
                </a:cubicBezTo>
                <a:cubicBezTo>
                  <a:pt x="6311035" y="6114696"/>
                  <a:pt x="6313830" y="6107641"/>
                  <a:pt x="6319421" y="6101917"/>
                </a:cubicBezTo>
                <a:cubicBezTo>
                  <a:pt x="6325013" y="6096193"/>
                  <a:pt x="6332201" y="6093397"/>
                  <a:pt x="6341253" y="6093397"/>
                </a:cubicBezTo>
                <a:close/>
                <a:moveTo>
                  <a:pt x="6123608" y="6093397"/>
                </a:moveTo>
                <a:cubicBezTo>
                  <a:pt x="6127867" y="6093397"/>
                  <a:pt x="6131728" y="6094196"/>
                  <a:pt x="6135322" y="6095926"/>
                </a:cubicBezTo>
                <a:cubicBezTo>
                  <a:pt x="6139049" y="6097524"/>
                  <a:pt x="6142111" y="6099653"/>
                  <a:pt x="6144640" y="6102316"/>
                </a:cubicBezTo>
                <a:cubicBezTo>
                  <a:pt x="6147169" y="6104845"/>
                  <a:pt x="6149299" y="6108040"/>
                  <a:pt x="6150763" y="6111634"/>
                </a:cubicBezTo>
                <a:cubicBezTo>
                  <a:pt x="6152228" y="6115228"/>
                  <a:pt x="6153026" y="6118956"/>
                  <a:pt x="6153026" y="6123082"/>
                </a:cubicBezTo>
                <a:cubicBezTo>
                  <a:pt x="6153026" y="6127209"/>
                  <a:pt x="6152228" y="6131202"/>
                  <a:pt x="6150763" y="6134797"/>
                </a:cubicBezTo>
                <a:cubicBezTo>
                  <a:pt x="6149299" y="6138391"/>
                  <a:pt x="6147169" y="6141453"/>
                  <a:pt x="6144640" y="6144116"/>
                </a:cubicBezTo>
                <a:cubicBezTo>
                  <a:pt x="6141977" y="6146778"/>
                  <a:pt x="6138916" y="6148908"/>
                  <a:pt x="6135322" y="6150372"/>
                </a:cubicBezTo>
                <a:cubicBezTo>
                  <a:pt x="6131728" y="6151836"/>
                  <a:pt x="6127867" y="6152635"/>
                  <a:pt x="6123608" y="6152635"/>
                </a:cubicBezTo>
                <a:cubicBezTo>
                  <a:pt x="6114689" y="6152635"/>
                  <a:pt x="6107367" y="6149706"/>
                  <a:pt x="6101775" y="6144116"/>
                </a:cubicBezTo>
                <a:cubicBezTo>
                  <a:pt x="6096184" y="6138525"/>
                  <a:pt x="6093389" y="6131335"/>
                  <a:pt x="6093389" y="6122949"/>
                </a:cubicBezTo>
                <a:cubicBezTo>
                  <a:pt x="6093389" y="6114696"/>
                  <a:pt x="6096184" y="6107641"/>
                  <a:pt x="6101775" y="6101917"/>
                </a:cubicBezTo>
                <a:cubicBezTo>
                  <a:pt x="6107367" y="6096193"/>
                  <a:pt x="6114555" y="6093397"/>
                  <a:pt x="6123608" y="6093397"/>
                </a:cubicBezTo>
                <a:close/>
                <a:moveTo>
                  <a:pt x="5905963" y="6093397"/>
                </a:moveTo>
                <a:cubicBezTo>
                  <a:pt x="5910222" y="6093397"/>
                  <a:pt x="5914216" y="6094196"/>
                  <a:pt x="5917677" y="6095926"/>
                </a:cubicBezTo>
                <a:cubicBezTo>
                  <a:pt x="5921404" y="6097524"/>
                  <a:pt x="5924466" y="6099653"/>
                  <a:pt x="5926995" y="6102316"/>
                </a:cubicBezTo>
                <a:cubicBezTo>
                  <a:pt x="5929524" y="6104845"/>
                  <a:pt x="5931654" y="6108040"/>
                  <a:pt x="5933118" y="6111634"/>
                </a:cubicBezTo>
                <a:cubicBezTo>
                  <a:pt x="5934583" y="6115228"/>
                  <a:pt x="5935381" y="6118956"/>
                  <a:pt x="5935381" y="6123082"/>
                </a:cubicBezTo>
                <a:cubicBezTo>
                  <a:pt x="5935381" y="6127209"/>
                  <a:pt x="5934583" y="6131202"/>
                  <a:pt x="5933118" y="6134797"/>
                </a:cubicBezTo>
                <a:cubicBezTo>
                  <a:pt x="5931654" y="6138391"/>
                  <a:pt x="5929524" y="6141453"/>
                  <a:pt x="5926995" y="6144116"/>
                </a:cubicBezTo>
                <a:cubicBezTo>
                  <a:pt x="5924333" y="6146778"/>
                  <a:pt x="5921271" y="6148908"/>
                  <a:pt x="5917677" y="6150372"/>
                </a:cubicBezTo>
                <a:cubicBezTo>
                  <a:pt x="5914083" y="6151836"/>
                  <a:pt x="5910222" y="6152635"/>
                  <a:pt x="5905963" y="6152635"/>
                </a:cubicBezTo>
                <a:cubicBezTo>
                  <a:pt x="5897044" y="6152635"/>
                  <a:pt x="5889722" y="6149706"/>
                  <a:pt x="5884130" y="6144116"/>
                </a:cubicBezTo>
                <a:cubicBezTo>
                  <a:pt x="5878540" y="6138525"/>
                  <a:pt x="5875744" y="6131335"/>
                  <a:pt x="5875744" y="6122949"/>
                </a:cubicBezTo>
                <a:cubicBezTo>
                  <a:pt x="5875744" y="6114696"/>
                  <a:pt x="5878540" y="6107641"/>
                  <a:pt x="5884130" y="6101917"/>
                </a:cubicBezTo>
                <a:cubicBezTo>
                  <a:pt x="5889722" y="6096193"/>
                  <a:pt x="5896910" y="6093397"/>
                  <a:pt x="5905963" y="6093397"/>
                </a:cubicBezTo>
                <a:close/>
                <a:moveTo>
                  <a:pt x="5688451" y="6093397"/>
                </a:moveTo>
                <a:cubicBezTo>
                  <a:pt x="5692577" y="6093397"/>
                  <a:pt x="5696571" y="6094196"/>
                  <a:pt x="5700165" y="6095926"/>
                </a:cubicBezTo>
                <a:cubicBezTo>
                  <a:pt x="5703892" y="6097524"/>
                  <a:pt x="5706954" y="6099653"/>
                  <a:pt x="5709483" y="6102316"/>
                </a:cubicBezTo>
                <a:cubicBezTo>
                  <a:pt x="5712012" y="6104845"/>
                  <a:pt x="5714142" y="6108040"/>
                  <a:pt x="5715606" y="6111634"/>
                </a:cubicBezTo>
                <a:cubicBezTo>
                  <a:pt x="5717071" y="6115228"/>
                  <a:pt x="5717869" y="6118956"/>
                  <a:pt x="5717869" y="6123082"/>
                </a:cubicBezTo>
                <a:cubicBezTo>
                  <a:pt x="5717869" y="6127209"/>
                  <a:pt x="5717071" y="6131202"/>
                  <a:pt x="5715606" y="6134797"/>
                </a:cubicBezTo>
                <a:cubicBezTo>
                  <a:pt x="5714142" y="6138391"/>
                  <a:pt x="5712012" y="6141453"/>
                  <a:pt x="5709483" y="6144116"/>
                </a:cubicBezTo>
                <a:cubicBezTo>
                  <a:pt x="5706820" y="6146778"/>
                  <a:pt x="5703759" y="6148908"/>
                  <a:pt x="5700165" y="6150372"/>
                </a:cubicBezTo>
                <a:cubicBezTo>
                  <a:pt x="5696571" y="6151836"/>
                  <a:pt x="5692710" y="6152635"/>
                  <a:pt x="5688451" y="6152635"/>
                </a:cubicBezTo>
                <a:cubicBezTo>
                  <a:pt x="5679532" y="6152635"/>
                  <a:pt x="5672210" y="6149706"/>
                  <a:pt x="5666618" y="6144116"/>
                </a:cubicBezTo>
                <a:cubicBezTo>
                  <a:pt x="5661028" y="6138525"/>
                  <a:pt x="5658232" y="6131335"/>
                  <a:pt x="5658232" y="6122949"/>
                </a:cubicBezTo>
                <a:cubicBezTo>
                  <a:pt x="5658232" y="6114696"/>
                  <a:pt x="5661028" y="6107641"/>
                  <a:pt x="5666618" y="6101917"/>
                </a:cubicBezTo>
                <a:cubicBezTo>
                  <a:pt x="5672210" y="6096193"/>
                  <a:pt x="5679398" y="6093397"/>
                  <a:pt x="5688451" y="6093397"/>
                </a:cubicBezTo>
                <a:close/>
                <a:moveTo>
                  <a:pt x="5470806" y="6093397"/>
                </a:moveTo>
                <a:cubicBezTo>
                  <a:pt x="5475065" y="6093397"/>
                  <a:pt x="5478926" y="6094196"/>
                  <a:pt x="5482520" y="6095926"/>
                </a:cubicBezTo>
                <a:cubicBezTo>
                  <a:pt x="5486247" y="6097524"/>
                  <a:pt x="5489309" y="6099653"/>
                  <a:pt x="5491838" y="6102316"/>
                </a:cubicBezTo>
                <a:cubicBezTo>
                  <a:pt x="5494367" y="6104845"/>
                  <a:pt x="5496497" y="6108040"/>
                  <a:pt x="5497961" y="6111634"/>
                </a:cubicBezTo>
                <a:cubicBezTo>
                  <a:pt x="5499426" y="6115228"/>
                  <a:pt x="5500224" y="6118956"/>
                  <a:pt x="5500224" y="6123082"/>
                </a:cubicBezTo>
                <a:cubicBezTo>
                  <a:pt x="5500224" y="6127209"/>
                  <a:pt x="5499426" y="6131202"/>
                  <a:pt x="5497961" y="6134797"/>
                </a:cubicBezTo>
                <a:cubicBezTo>
                  <a:pt x="5496497" y="6138391"/>
                  <a:pt x="5494367" y="6141453"/>
                  <a:pt x="5491838" y="6144116"/>
                </a:cubicBezTo>
                <a:cubicBezTo>
                  <a:pt x="5489176" y="6146778"/>
                  <a:pt x="5486114" y="6148908"/>
                  <a:pt x="5482520" y="6150372"/>
                </a:cubicBezTo>
                <a:cubicBezTo>
                  <a:pt x="5478926" y="6151836"/>
                  <a:pt x="5475065" y="6152635"/>
                  <a:pt x="5470806" y="6152635"/>
                </a:cubicBezTo>
                <a:cubicBezTo>
                  <a:pt x="5461887" y="6152635"/>
                  <a:pt x="5454565" y="6149706"/>
                  <a:pt x="5448973" y="6144116"/>
                </a:cubicBezTo>
                <a:cubicBezTo>
                  <a:pt x="5443383" y="6138525"/>
                  <a:pt x="5440587" y="6131335"/>
                  <a:pt x="5440587" y="6122949"/>
                </a:cubicBezTo>
                <a:cubicBezTo>
                  <a:pt x="5440587" y="6114696"/>
                  <a:pt x="5443383" y="6107641"/>
                  <a:pt x="5448973" y="6101917"/>
                </a:cubicBezTo>
                <a:cubicBezTo>
                  <a:pt x="5454565" y="6096193"/>
                  <a:pt x="5461754" y="6093397"/>
                  <a:pt x="5470806" y="6093397"/>
                </a:cubicBezTo>
                <a:close/>
                <a:moveTo>
                  <a:pt x="5253160" y="6093397"/>
                </a:moveTo>
                <a:cubicBezTo>
                  <a:pt x="5257420" y="6093397"/>
                  <a:pt x="5261280" y="6094196"/>
                  <a:pt x="5264875" y="6095926"/>
                </a:cubicBezTo>
                <a:cubicBezTo>
                  <a:pt x="5268602" y="6097524"/>
                  <a:pt x="5271664" y="6099653"/>
                  <a:pt x="5274192" y="6102316"/>
                </a:cubicBezTo>
                <a:cubicBezTo>
                  <a:pt x="5276722" y="6104845"/>
                  <a:pt x="5278852" y="6108040"/>
                  <a:pt x="5280316" y="6111634"/>
                </a:cubicBezTo>
                <a:cubicBezTo>
                  <a:pt x="5281780" y="6115228"/>
                  <a:pt x="5282579" y="6118956"/>
                  <a:pt x="5282579" y="6123082"/>
                </a:cubicBezTo>
                <a:cubicBezTo>
                  <a:pt x="5282579" y="6127209"/>
                  <a:pt x="5281780" y="6131202"/>
                  <a:pt x="5280316" y="6134797"/>
                </a:cubicBezTo>
                <a:cubicBezTo>
                  <a:pt x="5278852" y="6138391"/>
                  <a:pt x="5276722" y="6141453"/>
                  <a:pt x="5274192" y="6144116"/>
                </a:cubicBezTo>
                <a:cubicBezTo>
                  <a:pt x="5271664" y="6146778"/>
                  <a:pt x="5268469" y="6148908"/>
                  <a:pt x="5264875" y="6150372"/>
                </a:cubicBezTo>
                <a:cubicBezTo>
                  <a:pt x="5261280" y="6151836"/>
                  <a:pt x="5257420" y="6152635"/>
                  <a:pt x="5253160" y="6152635"/>
                </a:cubicBezTo>
                <a:cubicBezTo>
                  <a:pt x="5244241" y="6152635"/>
                  <a:pt x="5236920" y="6149706"/>
                  <a:pt x="5231328" y="6144116"/>
                </a:cubicBezTo>
                <a:cubicBezTo>
                  <a:pt x="5225737" y="6138525"/>
                  <a:pt x="5222942" y="6131335"/>
                  <a:pt x="5222942" y="6122949"/>
                </a:cubicBezTo>
                <a:cubicBezTo>
                  <a:pt x="5222942" y="6114696"/>
                  <a:pt x="5225737" y="6107641"/>
                  <a:pt x="5231328" y="6101917"/>
                </a:cubicBezTo>
                <a:cubicBezTo>
                  <a:pt x="5236920" y="6096193"/>
                  <a:pt x="5244108" y="6093397"/>
                  <a:pt x="5253160" y="6093397"/>
                </a:cubicBezTo>
                <a:close/>
                <a:moveTo>
                  <a:pt x="5035515" y="6093397"/>
                </a:moveTo>
                <a:cubicBezTo>
                  <a:pt x="5039775" y="6093397"/>
                  <a:pt x="5043636" y="6094196"/>
                  <a:pt x="5047230" y="6095926"/>
                </a:cubicBezTo>
                <a:cubicBezTo>
                  <a:pt x="5050957" y="6097524"/>
                  <a:pt x="5054019" y="6099653"/>
                  <a:pt x="5056548" y="6102316"/>
                </a:cubicBezTo>
                <a:cubicBezTo>
                  <a:pt x="5059077" y="6104845"/>
                  <a:pt x="5061207" y="6108040"/>
                  <a:pt x="5062671" y="6111634"/>
                </a:cubicBezTo>
                <a:cubicBezTo>
                  <a:pt x="5064135" y="6115228"/>
                  <a:pt x="5064934" y="6118956"/>
                  <a:pt x="5064934" y="6123082"/>
                </a:cubicBezTo>
                <a:cubicBezTo>
                  <a:pt x="5064934" y="6127209"/>
                  <a:pt x="5064135" y="6131202"/>
                  <a:pt x="5062671" y="6134797"/>
                </a:cubicBezTo>
                <a:cubicBezTo>
                  <a:pt x="5061207" y="6138391"/>
                  <a:pt x="5059077" y="6141453"/>
                  <a:pt x="5056548" y="6144116"/>
                </a:cubicBezTo>
                <a:cubicBezTo>
                  <a:pt x="5053885" y="6146778"/>
                  <a:pt x="5050824" y="6148908"/>
                  <a:pt x="5047230" y="6150372"/>
                </a:cubicBezTo>
                <a:cubicBezTo>
                  <a:pt x="5043636" y="6151836"/>
                  <a:pt x="5039775" y="6152635"/>
                  <a:pt x="5035515" y="6152635"/>
                </a:cubicBezTo>
                <a:cubicBezTo>
                  <a:pt x="5026597" y="6152635"/>
                  <a:pt x="5019275" y="6149706"/>
                  <a:pt x="5013683" y="6144116"/>
                </a:cubicBezTo>
                <a:cubicBezTo>
                  <a:pt x="5008092" y="6138525"/>
                  <a:pt x="5005297" y="6131335"/>
                  <a:pt x="5005297" y="6122949"/>
                </a:cubicBezTo>
                <a:cubicBezTo>
                  <a:pt x="5005297" y="6114696"/>
                  <a:pt x="5008092" y="6107641"/>
                  <a:pt x="5013683" y="6101917"/>
                </a:cubicBezTo>
                <a:cubicBezTo>
                  <a:pt x="5019275" y="6096193"/>
                  <a:pt x="5026463" y="6093397"/>
                  <a:pt x="5035515" y="6093397"/>
                </a:cubicBezTo>
                <a:close/>
                <a:moveTo>
                  <a:pt x="4817870" y="6093397"/>
                </a:moveTo>
                <a:cubicBezTo>
                  <a:pt x="4822130" y="6093397"/>
                  <a:pt x="4826124" y="6094196"/>
                  <a:pt x="4829585" y="6095926"/>
                </a:cubicBezTo>
                <a:cubicBezTo>
                  <a:pt x="4833312" y="6097524"/>
                  <a:pt x="4836374" y="6099653"/>
                  <a:pt x="4838903" y="6102316"/>
                </a:cubicBezTo>
                <a:cubicBezTo>
                  <a:pt x="4841432" y="6104845"/>
                  <a:pt x="4843562" y="6108040"/>
                  <a:pt x="4845026" y="6111634"/>
                </a:cubicBezTo>
                <a:cubicBezTo>
                  <a:pt x="4846491" y="6115228"/>
                  <a:pt x="4847289" y="6118956"/>
                  <a:pt x="4847289" y="6123082"/>
                </a:cubicBezTo>
                <a:cubicBezTo>
                  <a:pt x="4847289" y="6127209"/>
                  <a:pt x="4846491" y="6131202"/>
                  <a:pt x="4845026" y="6134797"/>
                </a:cubicBezTo>
                <a:cubicBezTo>
                  <a:pt x="4843562" y="6138391"/>
                  <a:pt x="4841432" y="6141453"/>
                  <a:pt x="4838903" y="6144116"/>
                </a:cubicBezTo>
                <a:cubicBezTo>
                  <a:pt x="4836240" y="6146778"/>
                  <a:pt x="4833179" y="6148908"/>
                  <a:pt x="4829585" y="6150372"/>
                </a:cubicBezTo>
                <a:cubicBezTo>
                  <a:pt x="4825991" y="6151836"/>
                  <a:pt x="4822130" y="6152635"/>
                  <a:pt x="4817870" y="6152635"/>
                </a:cubicBezTo>
                <a:cubicBezTo>
                  <a:pt x="4808952" y="6152635"/>
                  <a:pt x="4801630" y="6149706"/>
                  <a:pt x="4796038" y="6144116"/>
                </a:cubicBezTo>
                <a:cubicBezTo>
                  <a:pt x="4790447" y="6138525"/>
                  <a:pt x="4787652" y="6131335"/>
                  <a:pt x="4787652" y="6122949"/>
                </a:cubicBezTo>
                <a:cubicBezTo>
                  <a:pt x="4787652" y="6114696"/>
                  <a:pt x="4790447" y="6107641"/>
                  <a:pt x="4796038" y="6101917"/>
                </a:cubicBezTo>
                <a:cubicBezTo>
                  <a:pt x="4801630" y="6096193"/>
                  <a:pt x="4808818" y="6093397"/>
                  <a:pt x="4817870" y="6093397"/>
                </a:cubicBezTo>
                <a:close/>
                <a:moveTo>
                  <a:pt x="4600226" y="6093397"/>
                </a:moveTo>
                <a:cubicBezTo>
                  <a:pt x="4604485" y="6093397"/>
                  <a:pt x="4608479" y="6094196"/>
                  <a:pt x="4612073" y="6095926"/>
                </a:cubicBezTo>
                <a:cubicBezTo>
                  <a:pt x="4615800" y="6097524"/>
                  <a:pt x="4618862" y="6099653"/>
                  <a:pt x="4621391" y="6102316"/>
                </a:cubicBezTo>
                <a:cubicBezTo>
                  <a:pt x="4623920" y="6104845"/>
                  <a:pt x="4626050" y="6108040"/>
                  <a:pt x="4627514" y="6111634"/>
                </a:cubicBezTo>
                <a:cubicBezTo>
                  <a:pt x="4628978" y="6115228"/>
                  <a:pt x="4629777" y="6118956"/>
                  <a:pt x="4629777" y="6123082"/>
                </a:cubicBezTo>
                <a:cubicBezTo>
                  <a:pt x="4629777" y="6127209"/>
                  <a:pt x="4628978" y="6131202"/>
                  <a:pt x="4627514" y="6134797"/>
                </a:cubicBezTo>
                <a:cubicBezTo>
                  <a:pt x="4626050" y="6138391"/>
                  <a:pt x="4623920" y="6141453"/>
                  <a:pt x="4621391" y="6144116"/>
                </a:cubicBezTo>
                <a:cubicBezTo>
                  <a:pt x="4618729" y="6146778"/>
                  <a:pt x="4615667" y="6148908"/>
                  <a:pt x="4612073" y="6150372"/>
                </a:cubicBezTo>
                <a:cubicBezTo>
                  <a:pt x="4608346" y="6151836"/>
                  <a:pt x="4604485" y="6152635"/>
                  <a:pt x="4600226" y="6152635"/>
                </a:cubicBezTo>
                <a:cubicBezTo>
                  <a:pt x="4591173" y="6152635"/>
                  <a:pt x="4583985" y="6149706"/>
                  <a:pt x="4578393" y="6144116"/>
                </a:cubicBezTo>
                <a:cubicBezTo>
                  <a:pt x="4572803" y="6138525"/>
                  <a:pt x="4570007" y="6131335"/>
                  <a:pt x="4570007" y="6122949"/>
                </a:cubicBezTo>
                <a:cubicBezTo>
                  <a:pt x="4570007" y="6114696"/>
                  <a:pt x="4572803" y="6107641"/>
                  <a:pt x="4578393" y="6101917"/>
                </a:cubicBezTo>
                <a:cubicBezTo>
                  <a:pt x="4583985" y="6096193"/>
                  <a:pt x="4591173" y="6093397"/>
                  <a:pt x="4600226" y="6093397"/>
                </a:cubicBezTo>
                <a:close/>
                <a:moveTo>
                  <a:pt x="4382713" y="6093397"/>
                </a:moveTo>
                <a:cubicBezTo>
                  <a:pt x="4386840" y="6093397"/>
                  <a:pt x="4390834" y="6094196"/>
                  <a:pt x="4394428" y="6095926"/>
                </a:cubicBezTo>
                <a:cubicBezTo>
                  <a:pt x="4398155" y="6097524"/>
                  <a:pt x="4401217" y="6099653"/>
                  <a:pt x="4403746" y="6102316"/>
                </a:cubicBezTo>
                <a:cubicBezTo>
                  <a:pt x="4406275" y="6104845"/>
                  <a:pt x="4408405" y="6108040"/>
                  <a:pt x="4409869" y="6111634"/>
                </a:cubicBezTo>
                <a:cubicBezTo>
                  <a:pt x="4411334" y="6115228"/>
                  <a:pt x="4412132" y="6118956"/>
                  <a:pt x="4412132" y="6123082"/>
                </a:cubicBezTo>
                <a:cubicBezTo>
                  <a:pt x="4412132" y="6127209"/>
                  <a:pt x="4411334" y="6131202"/>
                  <a:pt x="4409869" y="6134797"/>
                </a:cubicBezTo>
                <a:cubicBezTo>
                  <a:pt x="4408405" y="6138391"/>
                  <a:pt x="4406275" y="6141453"/>
                  <a:pt x="4403746" y="6144116"/>
                </a:cubicBezTo>
                <a:cubicBezTo>
                  <a:pt x="4401083" y="6146778"/>
                  <a:pt x="4398022" y="6148908"/>
                  <a:pt x="4394428" y="6150372"/>
                </a:cubicBezTo>
                <a:cubicBezTo>
                  <a:pt x="4390834" y="6151836"/>
                  <a:pt x="4386973" y="6152635"/>
                  <a:pt x="4382713" y="6152635"/>
                </a:cubicBezTo>
                <a:cubicBezTo>
                  <a:pt x="4373661" y="6152635"/>
                  <a:pt x="4366473" y="6149706"/>
                  <a:pt x="4360881" y="6144116"/>
                </a:cubicBezTo>
                <a:cubicBezTo>
                  <a:pt x="4355290" y="6138525"/>
                  <a:pt x="4352495" y="6131335"/>
                  <a:pt x="4352495" y="6122949"/>
                </a:cubicBezTo>
                <a:cubicBezTo>
                  <a:pt x="4352495" y="6114696"/>
                  <a:pt x="4355290" y="6107641"/>
                  <a:pt x="4360881" y="6101917"/>
                </a:cubicBezTo>
                <a:cubicBezTo>
                  <a:pt x="4366473" y="6096193"/>
                  <a:pt x="4373661" y="6093397"/>
                  <a:pt x="4382713" y="6093397"/>
                </a:cubicBezTo>
                <a:close/>
                <a:moveTo>
                  <a:pt x="4165068" y="6093397"/>
                </a:moveTo>
                <a:cubicBezTo>
                  <a:pt x="4169327" y="6093397"/>
                  <a:pt x="4173188" y="6094196"/>
                  <a:pt x="4176782" y="6095926"/>
                </a:cubicBezTo>
                <a:cubicBezTo>
                  <a:pt x="4180509" y="6097524"/>
                  <a:pt x="4183571" y="6099653"/>
                  <a:pt x="4186100" y="6102316"/>
                </a:cubicBezTo>
                <a:cubicBezTo>
                  <a:pt x="4188629" y="6104845"/>
                  <a:pt x="4190759" y="6108040"/>
                  <a:pt x="4192223" y="6111634"/>
                </a:cubicBezTo>
                <a:cubicBezTo>
                  <a:pt x="4193688" y="6115228"/>
                  <a:pt x="4194486" y="6118956"/>
                  <a:pt x="4194486" y="6123082"/>
                </a:cubicBezTo>
                <a:cubicBezTo>
                  <a:pt x="4194486" y="6127209"/>
                  <a:pt x="4193688" y="6131202"/>
                  <a:pt x="4192223" y="6134797"/>
                </a:cubicBezTo>
                <a:cubicBezTo>
                  <a:pt x="4190759" y="6138391"/>
                  <a:pt x="4188629" y="6141453"/>
                  <a:pt x="4186100" y="6144116"/>
                </a:cubicBezTo>
                <a:cubicBezTo>
                  <a:pt x="4183438" y="6146778"/>
                  <a:pt x="4180376" y="6148908"/>
                  <a:pt x="4176782" y="6150372"/>
                </a:cubicBezTo>
                <a:cubicBezTo>
                  <a:pt x="4173188" y="6151836"/>
                  <a:pt x="4169327" y="6152635"/>
                  <a:pt x="4165068" y="6152635"/>
                </a:cubicBezTo>
                <a:cubicBezTo>
                  <a:pt x="4156015" y="6152635"/>
                  <a:pt x="4148827" y="6149706"/>
                  <a:pt x="4143235" y="6144116"/>
                </a:cubicBezTo>
                <a:cubicBezTo>
                  <a:pt x="4137645" y="6138525"/>
                  <a:pt x="4134849" y="6131335"/>
                  <a:pt x="4134849" y="6122949"/>
                </a:cubicBezTo>
                <a:cubicBezTo>
                  <a:pt x="4134849" y="6114696"/>
                  <a:pt x="4137645" y="6107641"/>
                  <a:pt x="4143235" y="6101917"/>
                </a:cubicBezTo>
                <a:cubicBezTo>
                  <a:pt x="4148827" y="6096193"/>
                  <a:pt x="4156015" y="6093397"/>
                  <a:pt x="4165068" y="6093397"/>
                </a:cubicBezTo>
                <a:close/>
                <a:moveTo>
                  <a:pt x="3947756" y="6093397"/>
                </a:moveTo>
                <a:cubicBezTo>
                  <a:pt x="3952018" y="6093397"/>
                  <a:pt x="3955879" y="6094196"/>
                  <a:pt x="3959474" y="6095926"/>
                </a:cubicBezTo>
                <a:cubicBezTo>
                  <a:pt x="3963203" y="6097524"/>
                  <a:pt x="3966263" y="6099653"/>
                  <a:pt x="3968792" y="6102316"/>
                </a:cubicBezTo>
                <a:cubicBezTo>
                  <a:pt x="3971323" y="6104845"/>
                  <a:pt x="3973452" y="6108040"/>
                  <a:pt x="3974916" y="6111634"/>
                </a:cubicBezTo>
                <a:cubicBezTo>
                  <a:pt x="3976381" y="6115228"/>
                  <a:pt x="3977180" y="6118956"/>
                  <a:pt x="3977180" y="6123082"/>
                </a:cubicBezTo>
                <a:cubicBezTo>
                  <a:pt x="3977180" y="6127209"/>
                  <a:pt x="3976381" y="6131202"/>
                  <a:pt x="3974916" y="6134797"/>
                </a:cubicBezTo>
                <a:cubicBezTo>
                  <a:pt x="3973452" y="6138391"/>
                  <a:pt x="3971323" y="6141453"/>
                  <a:pt x="3968792" y="6144116"/>
                </a:cubicBezTo>
                <a:cubicBezTo>
                  <a:pt x="3966130" y="6146778"/>
                  <a:pt x="3963069" y="6148908"/>
                  <a:pt x="3959474" y="6150372"/>
                </a:cubicBezTo>
                <a:cubicBezTo>
                  <a:pt x="3955879" y="6151836"/>
                  <a:pt x="3952018" y="6152635"/>
                  <a:pt x="3947756" y="6152635"/>
                </a:cubicBezTo>
                <a:cubicBezTo>
                  <a:pt x="3938703" y="6152635"/>
                  <a:pt x="3931515" y="6149706"/>
                  <a:pt x="3925923" y="6144116"/>
                </a:cubicBezTo>
                <a:cubicBezTo>
                  <a:pt x="3920332" y="6138525"/>
                  <a:pt x="3917537" y="6131335"/>
                  <a:pt x="3917537" y="6122949"/>
                </a:cubicBezTo>
                <a:cubicBezTo>
                  <a:pt x="3917537" y="6114696"/>
                  <a:pt x="3920332" y="6107641"/>
                  <a:pt x="3925923" y="6101917"/>
                </a:cubicBezTo>
                <a:cubicBezTo>
                  <a:pt x="3931515" y="6096193"/>
                  <a:pt x="3938703" y="6093397"/>
                  <a:pt x="3947756" y="6093397"/>
                </a:cubicBezTo>
                <a:close/>
                <a:moveTo>
                  <a:pt x="3730096" y="6093397"/>
                </a:moveTo>
                <a:cubicBezTo>
                  <a:pt x="3734357" y="6093397"/>
                  <a:pt x="3738349" y="6094196"/>
                  <a:pt x="3741812" y="6095926"/>
                </a:cubicBezTo>
                <a:cubicBezTo>
                  <a:pt x="3745406" y="6097524"/>
                  <a:pt x="3748601" y="6099653"/>
                  <a:pt x="3751130" y="6102316"/>
                </a:cubicBezTo>
                <a:cubicBezTo>
                  <a:pt x="3753659" y="6104845"/>
                  <a:pt x="3755789" y="6108040"/>
                  <a:pt x="3757253" y="6111634"/>
                </a:cubicBezTo>
                <a:cubicBezTo>
                  <a:pt x="3758717" y="6115228"/>
                  <a:pt x="3759516" y="6118956"/>
                  <a:pt x="3759516" y="6123082"/>
                </a:cubicBezTo>
                <a:cubicBezTo>
                  <a:pt x="3759516" y="6127209"/>
                  <a:pt x="3758717" y="6131202"/>
                  <a:pt x="3757253" y="6134797"/>
                </a:cubicBezTo>
                <a:cubicBezTo>
                  <a:pt x="3755789" y="6138391"/>
                  <a:pt x="3753659" y="6141453"/>
                  <a:pt x="3751130" y="6144116"/>
                </a:cubicBezTo>
                <a:cubicBezTo>
                  <a:pt x="3748467" y="6146778"/>
                  <a:pt x="3745406" y="6148908"/>
                  <a:pt x="3741812" y="6150372"/>
                </a:cubicBezTo>
                <a:cubicBezTo>
                  <a:pt x="3738218" y="6151836"/>
                  <a:pt x="3734357" y="6152635"/>
                  <a:pt x="3730096" y="6152635"/>
                </a:cubicBezTo>
                <a:cubicBezTo>
                  <a:pt x="3721044" y="6152635"/>
                  <a:pt x="3713854" y="6149706"/>
                  <a:pt x="3708255" y="6144116"/>
                </a:cubicBezTo>
                <a:cubicBezTo>
                  <a:pt x="3702662" y="6138525"/>
                  <a:pt x="3699868" y="6131335"/>
                  <a:pt x="3699868" y="6122949"/>
                </a:cubicBezTo>
                <a:cubicBezTo>
                  <a:pt x="3699868" y="6114696"/>
                  <a:pt x="3702662" y="6107641"/>
                  <a:pt x="3708255" y="6101917"/>
                </a:cubicBezTo>
                <a:cubicBezTo>
                  <a:pt x="3713854" y="6096193"/>
                  <a:pt x="3721044" y="6093397"/>
                  <a:pt x="3730096" y="6093397"/>
                </a:cubicBezTo>
                <a:close/>
                <a:moveTo>
                  <a:pt x="3512433" y="6093397"/>
                </a:moveTo>
                <a:cubicBezTo>
                  <a:pt x="3516694" y="6093397"/>
                  <a:pt x="3520687" y="6094196"/>
                  <a:pt x="3524149" y="6095926"/>
                </a:cubicBezTo>
                <a:cubicBezTo>
                  <a:pt x="3527743" y="6097524"/>
                  <a:pt x="3530938" y="6099653"/>
                  <a:pt x="3533467" y="6102316"/>
                </a:cubicBezTo>
                <a:cubicBezTo>
                  <a:pt x="3535996" y="6104845"/>
                  <a:pt x="3538127" y="6108040"/>
                  <a:pt x="3539591" y="6111634"/>
                </a:cubicBezTo>
                <a:cubicBezTo>
                  <a:pt x="3541055" y="6115228"/>
                  <a:pt x="3541854" y="6118956"/>
                  <a:pt x="3541854" y="6123082"/>
                </a:cubicBezTo>
                <a:cubicBezTo>
                  <a:pt x="3541854" y="6127209"/>
                  <a:pt x="3541055" y="6131202"/>
                  <a:pt x="3539591" y="6134797"/>
                </a:cubicBezTo>
                <a:cubicBezTo>
                  <a:pt x="3538127" y="6138391"/>
                  <a:pt x="3535996" y="6141453"/>
                  <a:pt x="3533467" y="6144116"/>
                </a:cubicBezTo>
                <a:cubicBezTo>
                  <a:pt x="3530804" y="6146778"/>
                  <a:pt x="3527743" y="6148908"/>
                  <a:pt x="3524149" y="6150372"/>
                </a:cubicBezTo>
                <a:cubicBezTo>
                  <a:pt x="3520555" y="6151836"/>
                  <a:pt x="3516694" y="6152635"/>
                  <a:pt x="3512433" y="6152635"/>
                </a:cubicBezTo>
                <a:cubicBezTo>
                  <a:pt x="3503377" y="6152635"/>
                  <a:pt x="3496187" y="6149706"/>
                  <a:pt x="3490596" y="6144116"/>
                </a:cubicBezTo>
                <a:cubicBezTo>
                  <a:pt x="3485005" y="6138525"/>
                  <a:pt x="3482209" y="6131335"/>
                  <a:pt x="3482209" y="6122949"/>
                </a:cubicBezTo>
                <a:cubicBezTo>
                  <a:pt x="3482209" y="6114696"/>
                  <a:pt x="3485005" y="6107641"/>
                  <a:pt x="3490596" y="6101917"/>
                </a:cubicBezTo>
                <a:cubicBezTo>
                  <a:pt x="3496187" y="6096193"/>
                  <a:pt x="3503377" y="6093397"/>
                  <a:pt x="3512433" y="6093397"/>
                </a:cubicBezTo>
                <a:close/>
                <a:moveTo>
                  <a:pt x="3294904" y="6093397"/>
                </a:moveTo>
                <a:cubicBezTo>
                  <a:pt x="3299031" y="6093397"/>
                  <a:pt x="3303026" y="6094196"/>
                  <a:pt x="3306620" y="6095926"/>
                </a:cubicBezTo>
                <a:cubicBezTo>
                  <a:pt x="3310347" y="6097524"/>
                  <a:pt x="3313409" y="6099653"/>
                  <a:pt x="3315938" y="6102316"/>
                </a:cubicBezTo>
                <a:cubicBezTo>
                  <a:pt x="3318467" y="6104845"/>
                  <a:pt x="3320597" y="6108040"/>
                  <a:pt x="3322061" y="6111634"/>
                </a:cubicBezTo>
                <a:cubicBezTo>
                  <a:pt x="3323525" y="6115228"/>
                  <a:pt x="3324324" y="6118956"/>
                  <a:pt x="3324324" y="6123082"/>
                </a:cubicBezTo>
                <a:cubicBezTo>
                  <a:pt x="3324324" y="6127209"/>
                  <a:pt x="3323525" y="6131202"/>
                  <a:pt x="3322061" y="6134797"/>
                </a:cubicBezTo>
                <a:cubicBezTo>
                  <a:pt x="3320597" y="6138391"/>
                  <a:pt x="3318467" y="6141453"/>
                  <a:pt x="3315938" y="6144116"/>
                </a:cubicBezTo>
                <a:cubicBezTo>
                  <a:pt x="3313275" y="6146778"/>
                  <a:pt x="3310213" y="6148908"/>
                  <a:pt x="3306620" y="6150372"/>
                </a:cubicBezTo>
                <a:cubicBezTo>
                  <a:pt x="3303026" y="6151836"/>
                  <a:pt x="3299165" y="6152635"/>
                  <a:pt x="3294904" y="6152635"/>
                </a:cubicBezTo>
                <a:cubicBezTo>
                  <a:pt x="3285849" y="6152635"/>
                  <a:pt x="3278660" y="6149706"/>
                  <a:pt x="3273066" y="6144116"/>
                </a:cubicBezTo>
                <a:cubicBezTo>
                  <a:pt x="3267472" y="6138525"/>
                  <a:pt x="3264677" y="6131335"/>
                  <a:pt x="3264677" y="6122949"/>
                </a:cubicBezTo>
                <a:cubicBezTo>
                  <a:pt x="3264677" y="6114696"/>
                  <a:pt x="3267472" y="6107641"/>
                  <a:pt x="3273066" y="6101917"/>
                </a:cubicBezTo>
                <a:cubicBezTo>
                  <a:pt x="3278660" y="6096193"/>
                  <a:pt x="3285849" y="6093397"/>
                  <a:pt x="3294904" y="6093397"/>
                </a:cubicBezTo>
                <a:close/>
                <a:moveTo>
                  <a:pt x="3077241" y="6093397"/>
                </a:moveTo>
                <a:cubicBezTo>
                  <a:pt x="3081369" y="6093397"/>
                  <a:pt x="3085363" y="6094196"/>
                  <a:pt x="3088957" y="6095926"/>
                </a:cubicBezTo>
                <a:cubicBezTo>
                  <a:pt x="3092551" y="6097524"/>
                  <a:pt x="3095747" y="6099653"/>
                  <a:pt x="3098275" y="6102316"/>
                </a:cubicBezTo>
                <a:cubicBezTo>
                  <a:pt x="3100804" y="6104845"/>
                  <a:pt x="3102934" y="6108040"/>
                  <a:pt x="3104398" y="6111634"/>
                </a:cubicBezTo>
                <a:cubicBezTo>
                  <a:pt x="3105863" y="6115228"/>
                  <a:pt x="3106661" y="6118956"/>
                  <a:pt x="3106661" y="6123082"/>
                </a:cubicBezTo>
                <a:cubicBezTo>
                  <a:pt x="3106661" y="6127209"/>
                  <a:pt x="3105863" y="6131202"/>
                  <a:pt x="3104398" y="6134797"/>
                </a:cubicBezTo>
                <a:cubicBezTo>
                  <a:pt x="3102934" y="6138391"/>
                  <a:pt x="3100804" y="6141453"/>
                  <a:pt x="3098275" y="6144116"/>
                </a:cubicBezTo>
                <a:cubicBezTo>
                  <a:pt x="3095613" y="6146778"/>
                  <a:pt x="3092551" y="6148908"/>
                  <a:pt x="3088957" y="6150372"/>
                </a:cubicBezTo>
                <a:cubicBezTo>
                  <a:pt x="3085363" y="6151836"/>
                  <a:pt x="3081502" y="6152635"/>
                  <a:pt x="3077241" y="6152635"/>
                </a:cubicBezTo>
                <a:cubicBezTo>
                  <a:pt x="3068321" y="6152635"/>
                  <a:pt x="3060997" y="6149706"/>
                  <a:pt x="3055403" y="6144116"/>
                </a:cubicBezTo>
                <a:cubicBezTo>
                  <a:pt x="3049812" y="6138525"/>
                  <a:pt x="3047016" y="6131335"/>
                  <a:pt x="3047016" y="6122949"/>
                </a:cubicBezTo>
                <a:cubicBezTo>
                  <a:pt x="3047016" y="6114696"/>
                  <a:pt x="3049812" y="6107641"/>
                  <a:pt x="3055403" y="6101917"/>
                </a:cubicBezTo>
                <a:cubicBezTo>
                  <a:pt x="3060997" y="6096193"/>
                  <a:pt x="3068188" y="6093397"/>
                  <a:pt x="3077241" y="6093397"/>
                </a:cubicBezTo>
                <a:close/>
                <a:moveTo>
                  <a:pt x="2859579" y="6093397"/>
                </a:moveTo>
                <a:cubicBezTo>
                  <a:pt x="2863840" y="6093397"/>
                  <a:pt x="2867701" y="6094196"/>
                  <a:pt x="2871428" y="6095926"/>
                </a:cubicBezTo>
                <a:cubicBezTo>
                  <a:pt x="2875154" y="6097524"/>
                  <a:pt x="2878216" y="6099653"/>
                  <a:pt x="2880746" y="6102316"/>
                </a:cubicBezTo>
                <a:cubicBezTo>
                  <a:pt x="2883407" y="6104845"/>
                  <a:pt x="2885405" y="6108040"/>
                  <a:pt x="2886869" y="6111634"/>
                </a:cubicBezTo>
                <a:cubicBezTo>
                  <a:pt x="2888333" y="6115228"/>
                  <a:pt x="2889132" y="6118956"/>
                  <a:pt x="2889132" y="6123082"/>
                </a:cubicBezTo>
                <a:cubicBezTo>
                  <a:pt x="2889132" y="6127209"/>
                  <a:pt x="2888333" y="6131202"/>
                  <a:pt x="2886869" y="6134797"/>
                </a:cubicBezTo>
                <a:cubicBezTo>
                  <a:pt x="2885405" y="6138391"/>
                  <a:pt x="2883275" y="6141453"/>
                  <a:pt x="2880746" y="6144116"/>
                </a:cubicBezTo>
                <a:cubicBezTo>
                  <a:pt x="2878084" y="6146778"/>
                  <a:pt x="2875021" y="6148908"/>
                  <a:pt x="2871428" y="6150372"/>
                </a:cubicBezTo>
                <a:cubicBezTo>
                  <a:pt x="2867701" y="6151836"/>
                  <a:pt x="2863840" y="6152635"/>
                  <a:pt x="2859579" y="6152635"/>
                </a:cubicBezTo>
                <a:cubicBezTo>
                  <a:pt x="2850661" y="6152635"/>
                  <a:pt x="2843333" y="6149706"/>
                  <a:pt x="2837740" y="6144116"/>
                </a:cubicBezTo>
                <a:cubicBezTo>
                  <a:pt x="2832149" y="6138525"/>
                  <a:pt x="2829353" y="6131335"/>
                  <a:pt x="2829353" y="6122949"/>
                </a:cubicBezTo>
                <a:cubicBezTo>
                  <a:pt x="2829353" y="6114696"/>
                  <a:pt x="2832149" y="6107641"/>
                  <a:pt x="2837740" y="6101917"/>
                </a:cubicBezTo>
                <a:cubicBezTo>
                  <a:pt x="2843333" y="6096193"/>
                  <a:pt x="2850527" y="6093397"/>
                  <a:pt x="2859579" y="6093397"/>
                </a:cubicBezTo>
                <a:close/>
                <a:moveTo>
                  <a:pt x="2641916" y="6093397"/>
                </a:moveTo>
                <a:cubicBezTo>
                  <a:pt x="2646177" y="6093397"/>
                  <a:pt x="2650037" y="6094196"/>
                  <a:pt x="2653632" y="6095926"/>
                </a:cubicBezTo>
                <a:cubicBezTo>
                  <a:pt x="2657359" y="6097524"/>
                  <a:pt x="2660421" y="6099653"/>
                  <a:pt x="2662950" y="6102316"/>
                </a:cubicBezTo>
                <a:cubicBezTo>
                  <a:pt x="2665612" y="6104845"/>
                  <a:pt x="2667609" y="6108040"/>
                  <a:pt x="2669073" y="6111634"/>
                </a:cubicBezTo>
                <a:cubicBezTo>
                  <a:pt x="2670537" y="6115228"/>
                  <a:pt x="2671336" y="6118956"/>
                  <a:pt x="2671336" y="6123082"/>
                </a:cubicBezTo>
                <a:cubicBezTo>
                  <a:pt x="2671336" y="6127209"/>
                  <a:pt x="2670537" y="6131202"/>
                  <a:pt x="2669073" y="6134797"/>
                </a:cubicBezTo>
                <a:cubicBezTo>
                  <a:pt x="2667609" y="6138391"/>
                  <a:pt x="2665479" y="6141453"/>
                  <a:pt x="2662950" y="6144116"/>
                </a:cubicBezTo>
                <a:cubicBezTo>
                  <a:pt x="2660421" y="6146778"/>
                  <a:pt x="2657226" y="6148908"/>
                  <a:pt x="2653632" y="6150372"/>
                </a:cubicBezTo>
                <a:cubicBezTo>
                  <a:pt x="2650037" y="6151836"/>
                  <a:pt x="2646177" y="6152635"/>
                  <a:pt x="2641916" y="6152635"/>
                </a:cubicBezTo>
                <a:cubicBezTo>
                  <a:pt x="2632997" y="6152635"/>
                  <a:pt x="2625675" y="6149706"/>
                  <a:pt x="2620083" y="6144116"/>
                </a:cubicBezTo>
                <a:cubicBezTo>
                  <a:pt x="2614491" y="6138525"/>
                  <a:pt x="2611693" y="6131335"/>
                  <a:pt x="2611693" y="6122949"/>
                </a:cubicBezTo>
                <a:cubicBezTo>
                  <a:pt x="2611693" y="6114696"/>
                  <a:pt x="2614491" y="6107641"/>
                  <a:pt x="2620083" y="6101917"/>
                </a:cubicBezTo>
                <a:cubicBezTo>
                  <a:pt x="2625675" y="6096193"/>
                  <a:pt x="2632865" y="6093397"/>
                  <a:pt x="2641916" y="6093397"/>
                </a:cubicBezTo>
                <a:close/>
                <a:moveTo>
                  <a:pt x="2424254" y="6093397"/>
                </a:moveTo>
                <a:cubicBezTo>
                  <a:pt x="2428514" y="6093397"/>
                  <a:pt x="2432508" y="6094196"/>
                  <a:pt x="2435969" y="6095926"/>
                </a:cubicBezTo>
                <a:cubicBezTo>
                  <a:pt x="2439696" y="6097524"/>
                  <a:pt x="2442758" y="6099653"/>
                  <a:pt x="2445287" y="6102316"/>
                </a:cubicBezTo>
                <a:cubicBezTo>
                  <a:pt x="2447950" y="6104845"/>
                  <a:pt x="2449946" y="6108040"/>
                  <a:pt x="2451410" y="6111634"/>
                </a:cubicBezTo>
                <a:cubicBezTo>
                  <a:pt x="2452874" y="6115228"/>
                  <a:pt x="2453673" y="6118956"/>
                  <a:pt x="2453673" y="6123082"/>
                </a:cubicBezTo>
                <a:cubicBezTo>
                  <a:pt x="2453673" y="6127209"/>
                  <a:pt x="2452874" y="6131202"/>
                  <a:pt x="2451410" y="6134797"/>
                </a:cubicBezTo>
                <a:cubicBezTo>
                  <a:pt x="2449946" y="6138391"/>
                  <a:pt x="2447816" y="6141453"/>
                  <a:pt x="2445287" y="6144116"/>
                </a:cubicBezTo>
                <a:cubicBezTo>
                  <a:pt x="2442758" y="6146778"/>
                  <a:pt x="2439563" y="6148908"/>
                  <a:pt x="2435969" y="6150372"/>
                </a:cubicBezTo>
                <a:cubicBezTo>
                  <a:pt x="2432375" y="6151836"/>
                  <a:pt x="2428514" y="6152635"/>
                  <a:pt x="2424254" y="6152635"/>
                </a:cubicBezTo>
                <a:cubicBezTo>
                  <a:pt x="2415336" y="6152635"/>
                  <a:pt x="2408013" y="6149706"/>
                  <a:pt x="2402422" y="6144116"/>
                </a:cubicBezTo>
                <a:cubicBezTo>
                  <a:pt x="2396829" y="6138525"/>
                  <a:pt x="2394032" y="6131335"/>
                  <a:pt x="2394032" y="6122949"/>
                </a:cubicBezTo>
                <a:cubicBezTo>
                  <a:pt x="2394032" y="6114696"/>
                  <a:pt x="2396829" y="6107641"/>
                  <a:pt x="2402422" y="6101917"/>
                </a:cubicBezTo>
                <a:cubicBezTo>
                  <a:pt x="2408013" y="6096193"/>
                  <a:pt x="2415202" y="6093397"/>
                  <a:pt x="2424254" y="6093397"/>
                </a:cubicBezTo>
                <a:close/>
                <a:moveTo>
                  <a:pt x="2206591" y="6093397"/>
                </a:moveTo>
                <a:cubicBezTo>
                  <a:pt x="2210851" y="6093397"/>
                  <a:pt x="2214845" y="6094196"/>
                  <a:pt x="2218306" y="6095926"/>
                </a:cubicBezTo>
                <a:cubicBezTo>
                  <a:pt x="2222033" y="6097524"/>
                  <a:pt x="2225095" y="6099653"/>
                  <a:pt x="2227625" y="6102316"/>
                </a:cubicBezTo>
                <a:cubicBezTo>
                  <a:pt x="2230287" y="6104845"/>
                  <a:pt x="2232284" y="6108040"/>
                  <a:pt x="2233748" y="6111634"/>
                </a:cubicBezTo>
                <a:cubicBezTo>
                  <a:pt x="2235212" y="6115228"/>
                  <a:pt x="2236011" y="6118956"/>
                  <a:pt x="2236011" y="6123082"/>
                </a:cubicBezTo>
                <a:cubicBezTo>
                  <a:pt x="2236011" y="6127209"/>
                  <a:pt x="2235212" y="6131202"/>
                  <a:pt x="2233748" y="6134797"/>
                </a:cubicBezTo>
                <a:cubicBezTo>
                  <a:pt x="2232284" y="6138391"/>
                  <a:pt x="2230153" y="6141453"/>
                  <a:pt x="2227625" y="6144116"/>
                </a:cubicBezTo>
                <a:cubicBezTo>
                  <a:pt x="2225095" y="6146778"/>
                  <a:pt x="2221900" y="6148908"/>
                  <a:pt x="2218306" y="6150372"/>
                </a:cubicBezTo>
                <a:cubicBezTo>
                  <a:pt x="2214711" y="6151836"/>
                  <a:pt x="2210851" y="6152635"/>
                  <a:pt x="2206591" y="6152635"/>
                </a:cubicBezTo>
                <a:cubicBezTo>
                  <a:pt x="2197539" y="6152635"/>
                  <a:pt x="2190350" y="6149706"/>
                  <a:pt x="2184758" y="6144116"/>
                </a:cubicBezTo>
                <a:cubicBezTo>
                  <a:pt x="2179166" y="6138525"/>
                  <a:pt x="2176369" y="6131335"/>
                  <a:pt x="2176369" y="6122949"/>
                </a:cubicBezTo>
                <a:cubicBezTo>
                  <a:pt x="2176369" y="6114696"/>
                  <a:pt x="2179166" y="6107641"/>
                  <a:pt x="2184758" y="6101917"/>
                </a:cubicBezTo>
                <a:cubicBezTo>
                  <a:pt x="2190350" y="6096193"/>
                  <a:pt x="2197539" y="6093397"/>
                  <a:pt x="2206591" y="6093397"/>
                </a:cubicBezTo>
                <a:close/>
                <a:moveTo>
                  <a:pt x="1989061" y="6093397"/>
                </a:moveTo>
                <a:cubicBezTo>
                  <a:pt x="1993188" y="6093397"/>
                  <a:pt x="1997183" y="6094196"/>
                  <a:pt x="2000777" y="6095926"/>
                </a:cubicBezTo>
                <a:cubicBezTo>
                  <a:pt x="2004504" y="6097524"/>
                  <a:pt x="2007566" y="6099653"/>
                  <a:pt x="2010095" y="6102316"/>
                </a:cubicBezTo>
                <a:cubicBezTo>
                  <a:pt x="2012757" y="6104845"/>
                  <a:pt x="2014754" y="6108040"/>
                  <a:pt x="2016218" y="6111634"/>
                </a:cubicBezTo>
                <a:cubicBezTo>
                  <a:pt x="2017682" y="6115228"/>
                  <a:pt x="2018481" y="6118956"/>
                  <a:pt x="2018481" y="6123082"/>
                </a:cubicBezTo>
                <a:cubicBezTo>
                  <a:pt x="2018481" y="6127209"/>
                  <a:pt x="2017682" y="6131202"/>
                  <a:pt x="2016218" y="6134797"/>
                </a:cubicBezTo>
                <a:cubicBezTo>
                  <a:pt x="2014754" y="6138391"/>
                  <a:pt x="2012624" y="6141453"/>
                  <a:pt x="2010095" y="6144116"/>
                </a:cubicBezTo>
                <a:cubicBezTo>
                  <a:pt x="2007566" y="6146778"/>
                  <a:pt x="2004370" y="6148908"/>
                  <a:pt x="2000777" y="6150372"/>
                </a:cubicBezTo>
                <a:cubicBezTo>
                  <a:pt x="1997183" y="6151836"/>
                  <a:pt x="1993321" y="6152635"/>
                  <a:pt x="1989061" y="6152635"/>
                </a:cubicBezTo>
                <a:cubicBezTo>
                  <a:pt x="1980010" y="6152635"/>
                  <a:pt x="1972821" y="6149706"/>
                  <a:pt x="1967230" y="6144116"/>
                </a:cubicBezTo>
                <a:cubicBezTo>
                  <a:pt x="1961640" y="6138525"/>
                  <a:pt x="1958844" y="6131335"/>
                  <a:pt x="1958844" y="6122949"/>
                </a:cubicBezTo>
                <a:cubicBezTo>
                  <a:pt x="1958844" y="6114696"/>
                  <a:pt x="1961640" y="6107641"/>
                  <a:pt x="1967230" y="6101917"/>
                </a:cubicBezTo>
                <a:cubicBezTo>
                  <a:pt x="1972821" y="6096193"/>
                  <a:pt x="1980010" y="6093397"/>
                  <a:pt x="1989061" y="6093397"/>
                </a:cubicBezTo>
                <a:close/>
                <a:moveTo>
                  <a:pt x="1771429" y="6093397"/>
                </a:moveTo>
                <a:cubicBezTo>
                  <a:pt x="1775688" y="6093397"/>
                  <a:pt x="1779547" y="6094196"/>
                  <a:pt x="1783143" y="6095926"/>
                </a:cubicBezTo>
                <a:cubicBezTo>
                  <a:pt x="1786870" y="6097524"/>
                  <a:pt x="1789931" y="6099653"/>
                  <a:pt x="1792460" y="6102316"/>
                </a:cubicBezTo>
                <a:cubicBezTo>
                  <a:pt x="1795122" y="6104845"/>
                  <a:pt x="1797120" y="6108040"/>
                  <a:pt x="1798583" y="6111634"/>
                </a:cubicBezTo>
                <a:cubicBezTo>
                  <a:pt x="1800047" y="6115228"/>
                  <a:pt x="1800846" y="6118956"/>
                  <a:pt x="1800846" y="6123082"/>
                </a:cubicBezTo>
                <a:cubicBezTo>
                  <a:pt x="1800846" y="6127209"/>
                  <a:pt x="1800047" y="6131202"/>
                  <a:pt x="1798583" y="6134797"/>
                </a:cubicBezTo>
                <a:cubicBezTo>
                  <a:pt x="1797120" y="6138391"/>
                  <a:pt x="1794990" y="6141453"/>
                  <a:pt x="1792460" y="6144116"/>
                </a:cubicBezTo>
                <a:cubicBezTo>
                  <a:pt x="1789798" y="6146778"/>
                  <a:pt x="1786737" y="6148908"/>
                  <a:pt x="1783143" y="6150372"/>
                </a:cubicBezTo>
                <a:cubicBezTo>
                  <a:pt x="1779547" y="6151836"/>
                  <a:pt x="1775688" y="6152635"/>
                  <a:pt x="1771429" y="6152635"/>
                </a:cubicBezTo>
                <a:cubicBezTo>
                  <a:pt x="1762510" y="6152635"/>
                  <a:pt x="1755190" y="6149706"/>
                  <a:pt x="1749600" y="6144116"/>
                </a:cubicBezTo>
                <a:cubicBezTo>
                  <a:pt x="1744010" y="6138525"/>
                  <a:pt x="1741217" y="6131335"/>
                  <a:pt x="1741217" y="6122949"/>
                </a:cubicBezTo>
                <a:cubicBezTo>
                  <a:pt x="1741217" y="6114696"/>
                  <a:pt x="1744010" y="6107641"/>
                  <a:pt x="1749600" y="6101917"/>
                </a:cubicBezTo>
                <a:cubicBezTo>
                  <a:pt x="1755190" y="6096193"/>
                  <a:pt x="1762377" y="6093397"/>
                  <a:pt x="1771429" y="6093397"/>
                </a:cubicBezTo>
                <a:close/>
                <a:moveTo>
                  <a:pt x="1553793" y="6093397"/>
                </a:moveTo>
                <a:cubicBezTo>
                  <a:pt x="1558052" y="6093397"/>
                  <a:pt x="1561913" y="6094196"/>
                  <a:pt x="1565507" y="6095926"/>
                </a:cubicBezTo>
                <a:cubicBezTo>
                  <a:pt x="1569102" y="6097524"/>
                  <a:pt x="1572297" y="6099653"/>
                  <a:pt x="1574826" y="6102316"/>
                </a:cubicBezTo>
                <a:cubicBezTo>
                  <a:pt x="1577488" y="6104845"/>
                  <a:pt x="1579485" y="6108040"/>
                  <a:pt x="1580949" y="6111634"/>
                </a:cubicBezTo>
                <a:cubicBezTo>
                  <a:pt x="1582413" y="6115228"/>
                  <a:pt x="1583212" y="6118956"/>
                  <a:pt x="1583212" y="6123082"/>
                </a:cubicBezTo>
                <a:cubicBezTo>
                  <a:pt x="1583212" y="6127209"/>
                  <a:pt x="1582413" y="6131202"/>
                  <a:pt x="1580949" y="6134797"/>
                </a:cubicBezTo>
                <a:cubicBezTo>
                  <a:pt x="1579485" y="6138391"/>
                  <a:pt x="1577355" y="6141453"/>
                  <a:pt x="1574826" y="6144116"/>
                </a:cubicBezTo>
                <a:cubicBezTo>
                  <a:pt x="1572163" y="6146778"/>
                  <a:pt x="1569102" y="6148908"/>
                  <a:pt x="1565507" y="6150372"/>
                </a:cubicBezTo>
                <a:cubicBezTo>
                  <a:pt x="1561913" y="6151836"/>
                  <a:pt x="1558052" y="6152635"/>
                  <a:pt x="1553793" y="6152635"/>
                </a:cubicBezTo>
                <a:cubicBezTo>
                  <a:pt x="1544874" y="6152635"/>
                  <a:pt x="1537553" y="6149706"/>
                  <a:pt x="1531964" y="6144116"/>
                </a:cubicBezTo>
                <a:cubicBezTo>
                  <a:pt x="1526375" y="6138525"/>
                  <a:pt x="1523578" y="6131335"/>
                  <a:pt x="1523578" y="6122949"/>
                </a:cubicBezTo>
                <a:cubicBezTo>
                  <a:pt x="1523578" y="6114696"/>
                  <a:pt x="1526375" y="6107641"/>
                  <a:pt x="1531964" y="6101917"/>
                </a:cubicBezTo>
                <a:cubicBezTo>
                  <a:pt x="1537553" y="6096193"/>
                  <a:pt x="1544740" y="6093397"/>
                  <a:pt x="1553793" y="6093397"/>
                </a:cubicBezTo>
                <a:close/>
                <a:moveTo>
                  <a:pt x="1336150" y="6093397"/>
                </a:moveTo>
                <a:cubicBezTo>
                  <a:pt x="1340409" y="6093397"/>
                  <a:pt x="1344404" y="6094196"/>
                  <a:pt x="1347865" y="6095926"/>
                </a:cubicBezTo>
                <a:cubicBezTo>
                  <a:pt x="1351458" y="6097524"/>
                  <a:pt x="1354654" y="6099653"/>
                  <a:pt x="1357183" y="6102316"/>
                </a:cubicBezTo>
                <a:cubicBezTo>
                  <a:pt x="1359845" y="6104845"/>
                  <a:pt x="1361842" y="6108040"/>
                  <a:pt x="1363306" y="6111634"/>
                </a:cubicBezTo>
                <a:cubicBezTo>
                  <a:pt x="1364770" y="6115228"/>
                  <a:pt x="1365568" y="6118956"/>
                  <a:pt x="1365568" y="6123082"/>
                </a:cubicBezTo>
                <a:cubicBezTo>
                  <a:pt x="1365568" y="6127209"/>
                  <a:pt x="1364770" y="6131202"/>
                  <a:pt x="1363306" y="6134797"/>
                </a:cubicBezTo>
                <a:cubicBezTo>
                  <a:pt x="1361842" y="6138391"/>
                  <a:pt x="1359712" y="6141453"/>
                  <a:pt x="1357183" y="6144116"/>
                </a:cubicBezTo>
                <a:cubicBezTo>
                  <a:pt x="1354520" y="6146778"/>
                  <a:pt x="1351458" y="6148908"/>
                  <a:pt x="1347865" y="6150372"/>
                </a:cubicBezTo>
                <a:cubicBezTo>
                  <a:pt x="1344271" y="6151836"/>
                  <a:pt x="1340409" y="6152635"/>
                  <a:pt x="1336150" y="6152635"/>
                </a:cubicBezTo>
                <a:cubicBezTo>
                  <a:pt x="1327229" y="6152635"/>
                  <a:pt x="1319908" y="6149706"/>
                  <a:pt x="1314316" y="6144116"/>
                </a:cubicBezTo>
                <a:cubicBezTo>
                  <a:pt x="1308726" y="6138525"/>
                  <a:pt x="1305931" y="6131335"/>
                  <a:pt x="1305931" y="6122949"/>
                </a:cubicBezTo>
                <a:cubicBezTo>
                  <a:pt x="1305931" y="6114696"/>
                  <a:pt x="1308726" y="6107641"/>
                  <a:pt x="1314316" y="6101917"/>
                </a:cubicBezTo>
                <a:cubicBezTo>
                  <a:pt x="1319908" y="6096193"/>
                  <a:pt x="1327096" y="6093397"/>
                  <a:pt x="1336150" y="6093397"/>
                </a:cubicBezTo>
                <a:close/>
                <a:moveTo>
                  <a:pt x="1118504" y="6093397"/>
                </a:moveTo>
                <a:cubicBezTo>
                  <a:pt x="1122765" y="6093397"/>
                  <a:pt x="1126762" y="6094196"/>
                  <a:pt x="1130222" y="6095926"/>
                </a:cubicBezTo>
                <a:cubicBezTo>
                  <a:pt x="1133949" y="6097524"/>
                  <a:pt x="1137011" y="6099653"/>
                  <a:pt x="1139536" y="6102316"/>
                </a:cubicBezTo>
                <a:cubicBezTo>
                  <a:pt x="1142197" y="6104845"/>
                  <a:pt x="1144193" y="6108040"/>
                  <a:pt x="1145656" y="6111634"/>
                </a:cubicBezTo>
                <a:cubicBezTo>
                  <a:pt x="1147121" y="6115228"/>
                  <a:pt x="1147920" y="6118956"/>
                  <a:pt x="1147920" y="6123082"/>
                </a:cubicBezTo>
                <a:cubicBezTo>
                  <a:pt x="1147920" y="6127209"/>
                  <a:pt x="1147121" y="6131202"/>
                  <a:pt x="1145656" y="6134797"/>
                </a:cubicBezTo>
                <a:cubicBezTo>
                  <a:pt x="1144193" y="6138391"/>
                  <a:pt x="1142065" y="6141453"/>
                  <a:pt x="1139536" y="6144116"/>
                </a:cubicBezTo>
                <a:cubicBezTo>
                  <a:pt x="1137011" y="6146778"/>
                  <a:pt x="1133816" y="6148908"/>
                  <a:pt x="1130222" y="6150372"/>
                </a:cubicBezTo>
                <a:cubicBezTo>
                  <a:pt x="1126626" y="6151836"/>
                  <a:pt x="1122765" y="6152635"/>
                  <a:pt x="1118504" y="6152635"/>
                </a:cubicBezTo>
                <a:cubicBezTo>
                  <a:pt x="1109584" y="6152635"/>
                  <a:pt x="1102259" y="6149706"/>
                  <a:pt x="1096669" y="6144116"/>
                </a:cubicBezTo>
                <a:cubicBezTo>
                  <a:pt x="1091078" y="6138525"/>
                  <a:pt x="1088284" y="6131335"/>
                  <a:pt x="1088284" y="6122949"/>
                </a:cubicBezTo>
                <a:cubicBezTo>
                  <a:pt x="1088284" y="6114696"/>
                  <a:pt x="1091078" y="6107641"/>
                  <a:pt x="1096669" y="6101917"/>
                </a:cubicBezTo>
                <a:cubicBezTo>
                  <a:pt x="1102259" y="6096193"/>
                  <a:pt x="1109450" y="6093397"/>
                  <a:pt x="1118504" y="6093397"/>
                </a:cubicBezTo>
                <a:close/>
                <a:moveTo>
                  <a:pt x="900991" y="6093397"/>
                </a:moveTo>
                <a:cubicBezTo>
                  <a:pt x="905118" y="6093397"/>
                  <a:pt x="909112" y="6094196"/>
                  <a:pt x="912706" y="6095926"/>
                </a:cubicBezTo>
                <a:cubicBezTo>
                  <a:pt x="916433" y="6097524"/>
                  <a:pt x="919495" y="6099653"/>
                  <a:pt x="922024" y="6102316"/>
                </a:cubicBezTo>
                <a:cubicBezTo>
                  <a:pt x="924686" y="6104845"/>
                  <a:pt x="926683" y="6108040"/>
                  <a:pt x="928146" y="6111634"/>
                </a:cubicBezTo>
                <a:cubicBezTo>
                  <a:pt x="929611" y="6115228"/>
                  <a:pt x="930409" y="6118956"/>
                  <a:pt x="930409" y="6123082"/>
                </a:cubicBezTo>
                <a:cubicBezTo>
                  <a:pt x="930409" y="6127209"/>
                  <a:pt x="929611" y="6131202"/>
                  <a:pt x="928146" y="6134797"/>
                </a:cubicBezTo>
                <a:cubicBezTo>
                  <a:pt x="926683" y="6138391"/>
                  <a:pt x="924553" y="6141453"/>
                  <a:pt x="922024" y="6144116"/>
                </a:cubicBezTo>
                <a:cubicBezTo>
                  <a:pt x="919495" y="6146778"/>
                  <a:pt x="916300" y="6148908"/>
                  <a:pt x="912706" y="6150372"/>
                </a:cubicBezTo>
                <a:cubicBezTo>
                  <a:pt x="909112" y="6151836"/>
                  <a:pt x="905251" y="6152635"/>
                  <a:pt x="900991" y="6152635"/>
                </a:cubicBezTo>
                <a:cubicBezTo>
                  <a:pt x="892073" y="6152635"/>
                  <a:pt x="884750" y="6149706"/>
                  <a:pt x="879160" y="6144116"/>
                </a:cubicBezTo>
                <a:cubicBezTo>
                  <a:pt x="873571" y="6138525"/>
                  <a:pt x="870775" y="6131335"/>
                  <a:pt x="870775" y="6122949"/>
                </a:cubicBezTo>
                <a:cubicBezTo>
                  <a:pt x="870775" y="6114696"/>
                  <a:pt x="873571" y="6107641"/>
                  <a:pt x="879160" y="6101917"/>
                </a:cubicBezTo>
                <a:cubicBezTo>
                  <a:pt x="884750" y="6096193"/>
                  <a:pt x="891939" y="6093397"/>
                  <a:pt x="900991" y="6093397"/>
                </a:cubicBezTo>
                <a:close/>
                <a:moveTo>
                  <a:pt x="683351" y="6093397"/>
                </a:moveTo>
                <a:cubicBezTo>
                  <a:pt x="687611" y="6093397"/>
                  <a:pt x="691472" y="6094196"/>
                  <a:pt x="695066" y="6095926"/>
                </a:cubicBezTo>
                <a:cubicBezTo>
                  <a:pt x="698793" y="6097524"/>
                  <a:pt x="701855" y="6099653"/>
                  <a:pt x="704383" y="6102316"/>
                </a:cubicBezTo>
                <a:cubicBezTo>
                  <a:pt x="707045" y="6104845"/>
                  <a:pt x="709042" y="6108040"/>
                  <a:pt x="710506" y="6111634"/>
                </a:cubicBezTo>
                <a:cubicBezTo>
                  <a:pt x="711970" y="6115228"/>
                  <a:pt x="712769" y="6118956"/>
                  <a:pt x="712769" y="6123082"/>
                </a:cubicBezTo>
                <a:cubicBezTo>
                  <a:pt x="712769" y="6127209"/>
                  <a:pt x="711970" y="6131202"/>
                  <a:pt x="710506" y="6134797"/>
                </a:cubicBezTo>
                <a:cubicBezTo>
                  <a:pt x="709042" y="6138391"/>
                  <a:pt x="706912" y="6141453"/>
                  <a:pt x="704383" y="6144116"/>
                </a:cubicBezTo>
                <a:cubicBezTo>
                  <a:pt x="701855" y="6146778"/>
                  <a:pt x="698660" y="6148908"/>
                  <a:pt x="695066" y="6150372"/>
                </a:cubicBezTo>
                <a:cubicBezTo>
                  <a:pt x="691472" y="6151836"/>
                  <a:pt x="687611" y="6152635"/>
                  <a:pt x="683351" y="6152635"/>
                </a:cubicBezTo>
                <a:cubicBezTo>
                  <a:pt x="674433" y="6152635"/>
                  <a:pt x="667111" y="6149706"/>
                  <a:pt x="661519" y="6144116"/>
                </a:cubicBezTo>
                <a:cubicBezTo>
                  <a:pt x="655928" y="6138525"/>
                  <a:pt x="653134" y="6131335"/>
                  <a:pt x="653134" y="6122949"/>
                </a:cubicBezTo>
                <a:cubicBezTo>
                  <a:pt x="653134" y="6114696"/>
                  <a:pt x="655928" y="6107641"/>
                  <a:pt x="661519" y="6101917"/>
                </a:cubicBezTo>
                <a:cubicBezTo>
                  <a:pt x="667111" y="6096193"/>
                  <a:pt x="674300" y="6093397"/>
                  <a:pt x="683351" y="6093397"/>
                </a:cubicBezTo>
                <a:close/>
                <a:moveTo>
                  <a:pt x="465710" y="6093397"/>
                </a:moveTo>
                <a:cubicBezTo>
                  <a:pt x="469970" y="6093397"/>
                  <a:pt x="473830" y="6094196"/>
                  <a:pt x="477425" y="6095926"/>
                </a:cubicBezTo>
                <a:cubicBezTo>
                  <a:pt x="481153" y="6097524"/>
                  <a:pt x="484214" y="6099653"/>
                  <a:pt x="486743" y="6102316"/>
                </a:cubicBezTo>
                <a:cubicBezTo>
                  <a:pt x="489404" y="6104845"/>
                  <a:pt x="491401" y="6108040"/>
                  <a:pt x="492866" y="6111634"/>
                </a:cubicBezTo>
                <a:cubicBezTo>
                  <a:pt x="494329" y="6115228"/>
                  <a:pt x="495128" y="6118956"/>
                  <a:pt x="495128" y="6123082"/>
                </a:cubicBezTo>
                <a:cubicBezTo>
                  <a:pt x="495128" y="6127209"/>
                  <a:pt x="494329" y="6131202"/>
                  <a:pt x="492866" y="6134797"/>
                </a:cubicBezTo>
                <a:cubicBezTo>
                  <a:pt x="491401" y="6138391"/>
                  <a:pt x="489272" y="6141453"/>
                  <a:pt x="486743" y="6144116"/>
                </a:cubicBezTo>
                <a:cubicBezTo>
                  <a:pt x="484080" y="6146778"/>
                  <a:pt x="481019" y="6148908"/>
                  <a:pt x="477425" y="6150372"/>
                </a:cubicBezTo>
                <a:cubicBezTo>
                  <a:pt x="473830" y="6151836"/>
                  <a:pt x="469970" y="6152635"/>
                  <a:pt x="465710" y="6152635"/>
                </a:cubicBezTo>
                <a:cubicBezTo>
                  <a:pt x="456792" y="6152635"/>
                  <a:pt x="449470" y="6149706"/>
                  <a:pt x="443879" y="6144116"/>
                </a:cubicBezTo>
                <a:cubicBezTo>
                  <a:pt x="438288" y="6138525"/>
                  <a:pt x="435493" y="6131335"/>
                  <a:pt x="435493" y="6122949"/>
                </a:cubicBezTo>
                <a:cubicBezTo>
                  <a:pt x="435493" y="6114696"/>
                  <a:pt x="438288" y="6107641"/>
                  <a:pt x="443879" y="6101917"/>
                </a:cubicBezTo>
                <a:cubicBezTo>
                  <a:pt x="449470" y="6096193"/>
                  <a:pt x="456659" y="6093397"/>
                  <a:pt x="465710" y="6093397"/>
                </a:cubicBezTo>
                <a:close/>
                <a:moveTo>
                  <a:pt x="248069" y="6093397"/>
                </a:moveTo>
                <a:cubicBezTo>
                  <a:pt x="252328" y="6093397"/>
                  <a:pt x="256322" y="6094196"/>
                  <a:pt x="259783" y="6095926"/>
                </a:cubicBezTo>
                <a:cubicBezTo>
                  <a:pt x="263510" y="6097524"/>
                  <a:pt x="266572" y="6099653"/>
                  <a:pt x="269101" y="6102316"/>
                </a:cubicBezTo>
                <a:cubicBezTo>
                  <a:pt x="271763" y="6104845"/>
                  <a:pt x="273760" y="6108040"/>
                  <a:pt x="275224" y="6111634"/>
                </a:cubicBezTo>
                <a:cubicBezTo>
                  <a:pt x="276688" y="6115228"/>
                  <a:pt x="277487" y="6118956"/>
                  <a:pt x="277487" y="6123082"/>
                </a:cubicBezTo>
                <a:cubicBezTo>
                  <a:pt x="277487" y="6127209"/>
                  <a:pt x="276688" y="6131202"/>
                  <a:pt x="275224" y="6134797"/>
                </a:cubicBezTo>
                <a:cubicBezTo>
                  <a:pt x="273760" y="6138391"/>
                  <a:pt x="271630" y="6141453"/>
                  <a:pt x="269101" y="6144116"/>
                </a:cubicBezTo>
                <a:cubicBezTo>
                  <a:pt x="266438" y="6146778"/>
                  <a:pt x="263377" y="6148908"/>
                  <a:pt x="259783" y="6150372"/>
                </a:cubicBezTo>
                <a:cubicBezTo>
                  <a:pt x="256188" y="6151836"/>
                  <a:pt x="252328" y="6152635"/>
                  <a:pt x="248069" y="6152635"/>
                </a:cubicBezTo>
                <a:cubicBezTo>
                  <a:pt x="239151" y="6152635"/>
                  <a:pt x="231830" y="6149706"/>
                  <a:pt x="226239" y="6144116"/>
                </a:cubicBezTo>
                <a:cubicBezTo>
                  <a:pt x="220649" y="6138525"/>
                  <a:pt x="217854" y="6131335"/>
                  <a:pt x="217854" y="6122949"/>
                </a:cubicBezTo>
                <a:cubicBezTo>
                  <a:pt x="217854" y="6114696"/>
                  <a:pt x="220649" y="6107641"/>
                  <a:pt x="226239" y="6101917"/>
                </a:cubicBezTo>
                <a:cubicBezTo>
                  <a:pt x="231830" y="6096193"/>
                  <a:pt x="239018" y="6093397"/>
                  <a:pt x="248069" y="6093397"/>
                </a:cubicBezTo>
                <a:close/>
                <a:moveTo>
                  <a:pt x="30428" y="6093397"/>
                </a:moveTo>
                <a:cubicBezTo>
                  <a:pt x="34688" y="6093397"/>
                  <a:pt x="38682" y="6094196"/>
                  <a:pt x="42143" y="6095926"/>
                </a:cubicBezTo>
                <a:cubicBezTo>
                  <a:pt x="45870" y="6097524"/>
                  <a:pt x="48932" y="6099653"/>
                  <a:pt x="51461" y="6102316"/>
                </a:cubicBezTo>
                <a:cubicBezTo>
                  <a:pt x="54123" y="6104845"/>
                  <a:pt x="56120" y="6108040"/>
                  <a:pt x="57584" y="6111634"/>
                </a:cubicBezTo>
                <a:cubicBezTo>
                  <a:pt x="59048" y="6115228"/>
                  <a:pt x="59847" y="6118956"/>
                  <a:pt x="59847" y="6123082"/>
                </a:cubicBezTo>
                <a:cubicBezTo>
                  <a:pt x="59847" y="6127209"/>
                  <a:pt x="59048" y="6131202"/>
                  <a:pt x="57584" y="6134797"/>
                </a:cubicBezTo>
                <a:cubicBezTo>
                  <a:pt x="56120" y="6138391"/>
                  <a:pt x="53990" y="6141453"/>
                  <a:pt x="51461" y="6144116"/>
                </a:cubicBezTo>
                <a:cubicBezTo>
                  <a:pt x="48798" y="6146778"/>
                  <a:pt x="45737" y="6148908"/>
                  <a:pt x="42143" y="6150372"/>
                </a:cubicBezTo>
                <a:cubicBezTo>
                  <a:pt x="38549" y="6151836"/>
                  <a:pt x="34688" y="6152635"/>
                  <a:pt x="30428" y="6152635"/>
                </a:cubicBezTo>
                <a:cubicBezTo>
                  <a:pt x="21509" y="6152635"/>
                  <a:pt x="14189" y="6149706"/>
                  <a:pt x="8600" y="6144116"/>
                </a:cubicBezTo>
                <a:cubicBezTo>
                  <a:pt x="3009" y="6138525"/>
                  <a:pt x="214" y="6131335"/>
                  <a:pt x="214" y="6122949"/>
                </a:cubicBezTo>
                <a:cubicBezTo>
                  <a:pt x="214" y="6114696"/>
                  <a:pt x="3009" y="6107641"/>
                  <a:pt x="8600" y="6101917"/>
                </a:cubicBezTo>
                <a:cubicBezTo>
                  <a:pt x="14189" y="6096193"/>
                  <a:pt x="21375" y="6093397"/>
                  <a:pt x="30428" y="6093397"/>
                </a:cubicBezTo>
                <a:close/>
                <a:moveTo>
                  <a:pt x="10475977" y="5892392"/>
                </a:moveTo>
                <a:cubicBezTo>
                  <a:pt x="10470119" y="5892392"/>
                  <a:pt x="10467589" y="5894255"/>
                  <a:pt x="10465992" y="5895986"/>
                </a:cubicBezTo>
                <a:cubicBezTo>
                  <a:pt x="10463463" y="5898648"/>
                  <a:pt x="10462399" y="5901443"/>
                  <a:pt x="10462399" y="5905437"/>
                </a:cubicBezTo>
                <a:cubicBezTo>
                  <a:pt x="10462399" y="5909563"/>
                  <a:pt x="10463463" y="5912359"/>
                  <a:pt x="10465992" y="5914888"/>
                </a:cubicBezTo>
                <a:cubicBezTo>
                  <a:pt x="10467589" y="5916487"/>
                  <a:pt x="10470119" y="5918350"/>
                  <a:pt x="10475977" y="5918350"/>
                </a:cubicBezTo>
                <a:cubicBezTo>
                  <a:pt x="10478107" y="5918350"/>
                  <a:pt x="10479838" y="5918084"/>
                  <a:pt x="10481302" y="5917418"/>
                </a:cubicBezTo>
                <a:cubicBezTo>
                  <a:pt x="10482899" y="5916886"/>
                  <a:pt x="10484098" y="5916087"/>
                  <a:pt x="10485029" y="5915021"/>
                </a:cubicBezTo>
                <a:cubicBezTo>
                  <a:pt x="10486094" y="5913823"/>
                  <a:pt x="10487026" y="5912492"/>
                  <a:pt x="10487691" y="5910761"/>
                </a:cubicBezTo>
                <a:cubicBezTo>
                  <a:pt x="10488357" y="5909164"/>
                  <a:pt x="10488623" y="5907300"/>
                  <a:pt x="10488623" y="5905304"/>
                </a:cubicBezTo>
                <a:cubicBezTo>
                  <a:pt x="10488623" y="5903440"/>
                  <a:pt x="10488357" y="5901709"/>
                  <a:pt x="10487691" y="5900112"/>
                </a:cubicBezTo>
                <a:cubicBezTo>
                  <a:pt x="10487026" y="5898515"/>
                  <a:pt x="10486094" y="5897184"/>
                  <a:pt x="10485029" y="5895986"/>
                </a:cubicBezTo>
                <a:cubicBezTo>
                  <a:pt x="10483964" y="5894921"/>
                  <a:pt x="10482633" y="5893989"/>
                  <a:pt x="10481035" y="5893323"/>
                </a:cubicBezTo>
                <a:cubicBezTo>
                  <a:pt x="10479571" y="5892658"/>
                  <a:pt x="10477974" y="5892392"/>
                  <a:pt x="10475977" y="5892392"/>
                </a:cubicBezTo>
                <a:close/>
                <a:moveTo>
                  <a:pt x="10258466" y="5892392"/>
                </a:moveTo>
                <a:cubicBezTo>
                  <a:pt x="10252608" y="5892392"/>
                  <a:pt x="10250078" y="5894255"/>
                  <a:pt x="10248481" y="5895986"/>
                </a:cubicBezTo>
                <a:cubicBezTo>
                  <a:pt x="10245952" y="5898648"/>
                  <a:pt x="10244887" y="5901443"/>
                  <a:pt x="10244887" y="5905437"/>
                </a:cubicBezTo>
                <a:cubicBezTo>
                  <a:pt x="10244887" y="5909563"/>
                  <a:pt x="10245952" y="5912359"/>
                  <a:pt x="10248481" y="5914888"/>
                </a:cubicBezTo>
                <a:cubicBezTo>
                  <a:pt x="10250078" y="5916487"/>
                  <a:pt x="10252608" y="5918350"/>
                  <a:pt x="10258466" y="5918350"/>
                </a:cubicBezTo>
                <a:cubicBezTo>
                  <a:pt x="10260462" y="5918350"/>
                  <a:pt x="10262192" y="5918084"/>
                  <a:pt x="10263790" y="5917418"/>
                </a:cubicBezTo>
                <a:cubicBezTo>
                  <a:pt x="10265388" y="5916886"/>
                  <a:pt x="10266586" y="5916087"/>
                  <a:pt x="10267517" y="5915021"/>
                </a:cubicBezTo>
                <a:cubicBezTo>
                  <a:pt x="10268583" y="5913823"/>
                  <a:pt x="10269515" y="5912492"/>
                  <a:pt x="10270180" y="5910761"/>
                </a:cubicBezTo>
                <a:cubicBezTo>
                  <a:pt x="10270845" y="5909164"/>
                  <a:pt x="10271112" y="5907300"/>
                  <a:pt x="10271112" y="5905304"/>
                </a:cubicBezTo>
                <a:cubicBezTo>
                  <a:pt x="10271112" y="5903440"/>
                  <a:pt x="10270845" y="5901709"/>
                  <a:pt x="10270180" y="5900112"/>
                </a:cubicBezTo>
                <a:cubicBezTo>
                  <a:pt x="10269515" y="5898515"/>
                  <a:pt x="10268583" y="5897184"/>
                  <a:pt x="10267517" y="5895986"/>
                </a:cubicBezTo>
                <a:cubicBezTo>
                  <a:pt x="10266452" y="5894921"/>
                  <a:pt x="10265121" y="5893989"/>
                  <a:pt x="10263524" y="5893323"/>
                </a:cubicBezTo>
                <a:cubicBezTo>
                  <a:pt x="10262060" y="5892658"/>
                  <a:pt x="10260462" y="5892392"/>
                  <a:pt x="10258466" y="5892392"/>
                </a:cubicBezTo>
                <a:close/>
                <a:moveTo>
                  <a:pt x="10040820" y="5892392"/>
                </a:moveTo>
                <a:cubicBezTo>
                  <a:pt x="10034962" y="5892392"/>
                  <a:pt x="10032433" y="5894255"/>
                  <a:pt x="10030835" y="5895986"/>
                </a:cubicBezTo>
                <a:cubicBezTo>
                  <a:pt x="10028306" y="5898648"/>
                  <a:pt x="10027242" y="5901443"/>
                  <a:pt x="10027242" y="5905437"/>
                </a:cubicBezTo>
                <a:cubicBezTo>
                  <a:pt x="10027242" y="5909563"/>
                  <a:pt x="10028306" y="5912359"/>
                  <a:pt x="10030835" y="5914888"/>
                </a:cubicBezTo>
                <a:cubicBezTo>
                  <a:pt x="10032433" y="5916487"/>
                  <a:pt x="10034962" y="5918350"/>
                  <a:pt x="10040820" y="5918350"/>
                </a:cubicBezTo>
                <a:cubicBezTo>
                  <a:pt x="10042817" y="5918350"/>
                  <a:pt x="10044681" y="5918084"/>
                  <a:pt x="10046145" y="5917418"/>
                </a:cubicBezTo>
                <a:cubicBezTo>
                  <a:pt x="10047742" y="5916886"/>
                  <a:pt x="10048941" y="5916087"/>
                  <a:pt x="10049872" y="5915021"/>
                </a:cubicBezTo>
                <a:cubicBezTo>
                  <a:pt x="10050937" y="5913823"/>
                  <a:pt x="10051869" y="5912492"/>
                  <a:pt x="10052534" y="5910761"/>
                </a:cubicBezTo>
                <a:cubicBezTo>
                  <a:pt x="10053333" y="5909164"/>
                  <a:pt x="10053599" y="5907300"/>
                  <a:pt x="10053599" y="5905304"/>
                </a:cubicBezTo>
                <a:cubicBezTo>
                  <a:pt x="10053599" y="5903440"/>
                  <a:pt x="10053200" y="5901709"/>
                  <a:pt x="10052534" y="5900112"/>
                </a:cubicBezTo>
                <a:cubicBezTo>
                  <a:pt x="10051869" y="5898515"/>
                  <a:pt x="10050937" y="5897184"/>
                  <a:pt x="10049872" y="5895986"/>
                </a:cubicBezTo>
                <a:cubicBezTo>
                  <a:pt x="10048807" y="5894921"/>
                  <a:pt x="10047476" y="5893989"/>
                  <a:pt x="10045878" y="5893323"/>
                </a:cubicBezTo>
                <a:cubicBezTo>
                  <a:pt x="10044414" y="5892658"/>
                  <a:pt x="10042817" y="5892392"/>
                  <a:pt x="10040820" y="5892392"/>
                </a:cubicBezTo>
                <a:close/>
                <a:moveTo>
                  <a:pt x="9823176" y="5892392"/>
                </a:moveTo>
                <a:cubicBezTo>
                  <a:pt x="9817318" y="5892392"/>
                  <a:pt x="9814788" y="5894255"/>
                  <a:pt x="9813191" y="5895986"/>
                </a:cubicBezTo>
                <a:cubicBezTo>
                  <a:pt x="9810662" y="5898648"/>
                  <a:pt x="9809597" y="5901443"/>
                  <a:pt x="9809597" y="5905437"/>
                </a:cubicBezTo>
                <a:cubicBezTo>
                  <a:pt x="9809597" y="5909563"/>
                  <a:pt x="9810662" y="5912359"/>
                  <a:pt x="9813191" y="5914888"/>
                </a:cubicBezTo>
                <a:cubicBezTo>
                  <a:pt x="9814788" y="5916487"/>
                  <a:pt x="9817318" y="5918350"/>
                  <a:pt x="9823176" y="5918350"/>
                </a:cubicBezTo>
                <a:cubicBezTo>
                  <a:pt x="9825173" y="5918350"/>
                  <a:pt x="9827036" y="5918084"/>
                  <a:pt x="9828501" y="5917418"/>
                </a:cubicBezTo>
                <a:cubicBezTo>
                  <a:pt x="9830098" y="5916886"/>
                  <a:pt x="9831296" y="5916087"/>
                  <a:pt x="9832227" y="5915021"/>
                </a:cubicBezTo>
                <a:cubicBezTo>
                  <a:pt x="9833293" y="5913823"/>
                  <a:pt x="9834225" y="5912492"/>
                  <a:pt x="9834890" y="5910761"/>
                </a:cubicBezTo>
                <a:cubicBezTo>
                  <a:pt x="9835689" y="5909164"/>
                  <a:pt x="9835955" y="5907300"/>
                  <a:pt x="9835955" y="5905304"/>
                </a:cubicBezTo>
                <a:cubicBezTo>
                  <a:pt x="9835955" y="5903440"/>
                  <a:pt x="9835555" y="5901709"/>
                  <a:pt x="9834890" y="5900112"/>
                </a:cubicBezTo>
                <a:cubicBezTo>
                  <a:pt x="9834225" y="5898515"/>
                  <a:pt x="9833293" y="5897184"/>
                  <a:pt x="9832227" y="5895986"/>
                </a:cubicBezTo>
                <a:cubicBezTo>
                  <a:pt x="9831162" y="5894921"/>
                  <a:pt x="9829831" y="5893989"/>
                  <a:pt x="9828234" y="5893323"/>
                </a:cubicBezTo>
                <a:cubicBezTo>
                  <a:pt x="9826770" y="5892658"/>
                  <a:pt x="9825173" y="5892392"/>
                  <a:pt x="9823176" y="5892392"/>
                </a:cubicBezTo>
                <a:close/>
                <a:moveTo>
                  <a:pt x="9605531" y="5892392"/>
                </a:moveTo>
                <a:cubicBezTo>
                  <a:pt x="9599673" y="5892392"/>
                  <a:pt x="9597143" y="5894255"/>
                  <a:pt x="9595546" y="5895986"/>
                </a:cubicBezTo>
                <a:cubicBezTo>
                  <a:pt x="9593017" y="5898648"/>
                  <a:pt x="9591952" y="5901443"/>
                  <a:pt x="9591952" y="5905437"/>
                </a:cubicBezTo>
                <a:cubicBezTo>
                  <a:pt x="9591952" y="5909563"/>
                  <a:pt x="9593017" y="5912359"/>
                  <a:pt x="9595546" y="5914888"/>
                </a:cubicBezTo>
                <a:cubicBezTo>
                  <a:pt x="9597143" y="5916487"/>
                  <a:pt x="9599673" y="5918350"/>
                  <a:pt x="9605531" y="5918350"/>
                </a:cubicBezTo>
                <a:cubicBezTo>
                  <a:pt x="9607660" y="5918350"/>
                  <a:pt x="9609391" y="5918084"/>
                  <a:pt x="9610855" y="5917418"/>
                </a:cubicBezTo>
                <a:cubicBezTo>
                  <a:pt x="9612319" y="5916886"/>
                  <a:pt x="9613651" y="5916087"/>
                  <a:pt x="9614582" y="5915021"/>
                </a:cubicBezTo>
                <a:cubicBezTo>
                  <a:pt x="9615647" y="5913823"/>
                  <a:pt x="9616579" y="5912492"/>
                  <a:pt x="9617245" y="5910761"/>
                </a:cubicBezTo>
                <a:cubicBezTo>
                  <a:pt x="9618044" y="5909164"/>
                  <a:pt x="9618309" y="5907300"/>
                  <a:pt x="9618309" y="5905304"/>
                </a:cubicBezTo>
                <a:cubicBezTo>
                  <a:pt x="9618309" y="5903440"/>
                  <a:pt x="9617910" y="5901709"/>
                  <a:pt x="9617245" y="5900112"/>
                </a:cubicBezTo>
                <a:cubicBezTo>
                  <a:pt x="9616579" y="5898515"/>
                  <a:pt x="9615647" y="5897184"/>
                  <a:pt x="9614582" y="5895986"/>
                </a:cubicBezTo>
                <a:cubicBezTo>
                  <a:pt x="9613517" y="5894921"/>
                  <a:pt x="9612186" y="5893989"/>
                  <a:pt x="9610589" y="5893323"/>
                </a:cubicBezTo>
                <a:cubicBezTo>
                  <a:pt x="9609124" y="5892658"/>
                  <a:pt x="9607394" y="5892392"/>
                  <a:pt x="9605531" y="5892392"/>
                </a:cubicBezTo>
                <a:close/>
                <a:moveTo>
                  <a:pt x="9387885" y="5892392"/>
                </a:moveTo>
                <a:cubicBezTo>
                  <a:pt x="9382027" y="5892392"/>
                  <a:pt x="9379497" y="5894255"/>
                  <a:pt x="9377900" y="5895986"/>
                </a:cubicBezTo>
                <a:cubicBezTo>
                  <a:pt x="9375371" y="5898648"/>
                  <a:pt x="9374307" y="5901443"/>
                  <a:pt x="9374307" y="5905437"/>
                </a:cubicBezTo>
                <a:cubicBezTo>
                  <a:pt x="9374307" y="5909563"/>
                  <a:pt x="9375371" y="5912359"/>
                  <a:pt x="9377900" y="5914888"/>
                </a:cubicBezTo>
                <a:cubicBezTo>
                  <a:pt x="9379497" y="5916487"/>
                  <a:pt x="9382027" y="5918350"/>
                  <a:pt x="9387885" y="5918350"/>
                </a:cubicBezTo>
                <a:cubicBezTo>
                  <a:pt x="9390015" y="5918350"/>
                  <a:pt x="9391746" y="5918084"/>
                  <a:pt x="9393210" y="5917418"/>
                </a:cubicBezTo>
                <a:cubicBezTo>
                  <a:pt x="9394674" y="5916886"/>
                  <a:pt x="9396005" y="5916087"/>
                  <a:pt x="9396937" y="5915021"/>
                </a:cubicBezTo>
                <a:cubicBezTo>
                  <a:pt x="9398002" y="5913823"/>
                  <a:pt x="9398934" y="5912492"/>
                  <a:pt x="9399599" y="5910761"/>
                </a:cubicBezTo>
                <a:cubicBezTo>
                  <a:pt x="9400398" y="5909164"/>
                  <a:pt x="9400664" y="5907300"/>
                  <a:pt x="9400664" y="5905304"/>
                </a:cubicBezTo>
                <a:cubicBezTo>
                  <a:pt x="9400664" y="5903440"/>
                  <a:pt x="9400265" y="5901709"/>
                  <a:pt x="9399599" y="5900112"/>
                </a:cubicBezTo>
                <a:cubicBezTo>
                  <a:pt x="9398934" y="5898515"/>
                  <a:pt x="9398002" y="5897184"/>
                  <a:pt x="9396937" y="5895986"/>
                </a:cubicBezTo>
                <a:cubicBezTo>
                  <a:pt x="9395872" y="5894921"/>
                  <a:pt x="9394541" y="5893989"/>
                  <a:pt x="9392943" y="5893323"/>
                </a:cubicBezTo>
                <a:cubicBezTo>
                  <a:pt x="9391479" y="5892658"/>
                  <a:pt x="9389749" y="5892392"/>
                  <a:pt x="9387885" y="5892392"/>
                </a:cubicBezTo>
                <a:close/>
                <a:moveTo>
                  <a:pt x="9170374" y="5892392"/>
                </a:moveTo>
                <a:cubicBezTo>
                  <a:pt x="9164649" y="5892392"/>
                  <a:pt x="9161986" y="5894255"/>
                  <a:pt x="9160389" y="5895986"/>
                </a:cubicBezTo>
                <a:cubicBezTo>
                  <a:pt x="9157860" y="5898648"/>
                  <a:pt x="9156795" y="5901443"/>
                  <a:pt x="9156795" y="5905437"/>
                </a:cubicBezTo>
                <a:cubicBezTo>
                  <a:pt x="9156795" y="5909563"/>
                  <a:pt x="9157860" y="5912359"/>
                  <a:pt x="9160389" y="5914888"/>
                </a:cubicBezTo>
                <a:cubicBezTo>
                  <a:pt x="9161986" y="5916487"/>
                  <a:pt x="9164516" y="5918350"/>
                  <a:pt x="9170374" y="5918350"/>
                </a:cubicBezTo>
                <a:cubicBezTo>
                  <a:pt x="9172370" y="5918350"/>
                  <a:pt x="9174100" y="5918084"/>
                  <a:pt x="9175698" y="5917418"/>
                </a:cubicBezTo>
                <a:cubicBezTo>
                  <a:pt x="9177163" y="5916886"/>
                  <a:pt x="9178494" y="5916087"/>
                  <a:pt x="9179425" y="5915021"/>
                </a:cubicBezTo>
                <a:cubicBezTo>
                  <a:pt x="9180491" y="5913823"/>
                  <a:pt x="9181422" y="5912492"/>
                  <a:pt x="9182088" y="5910761"/>
                </a:cubicBezTo>
                <a:cubicBezTo>
                  <a:pt x="9182887" y="5909164"/>
                  <a:pt x="9183152" y="5907300"/>
                  <a:pt x="9183152" y="5905304"/>
                </a:cubicBezTo>
                <a:cubicBezTo>
                  <a:pt x="9183152" y="5903440"/>
                  <a:pt x="9182753" y="5901709"/>
                  <a:pt x="9182088" y="5900112"/>
                </a:cubicBezTo>
                <a:cubicBezTo>
                  <a:pt x="9181422" y="5898515"/>
                  <a:pt x="9180491" y="5897184"/>
                  <a:pt x="9179425" y="5895986"/>
                </a:cubicBezTo>
                <a:cubicBezTo>
                  <a:pt x="9178360" y="5894921"/>
                  <a:pt x="9177029" y="5893989"/>
                  <a:pt x="9175432" y="5893323"/>
                </a:cubicBezTo>
                <a:cubicBezTo>
                  <a:pt x="9173967" y="5892658"/>
                  <a:pt x="9172237" y="5892392"/>
                  <a:pt x="9170374" y="5892392"/>
                </a:cubicBezTo>
                <a:close/>
                <a:moveTo>
                  <a:pt x="8952728" y="5892392"/>
                </a:moveTo>
                <a:cubicBezTo>
                  <a:pt x="8947003" y="5892392"/>
                  <a:pt x="8944340" y="5894255"/>
                  <a:pt x="8942743" y="5895986"/>
                </a:cubicBezTo>
                <a:cubicBezTo>
                  <a:pt x="8940214" y="5898648"/>
                  <a:pt x="8939150" y="5901443"/>
                  <a:pt x="8939150" y="5905437"/>
                </a:cubicBezTo>
                <a:cubicBezTo>
                  <a:pt x="8939150" y="5909563"/>
                  <a:pt x="8940214" y="5912359"/>
                  <a:pt x="8942743" y="5914888"/>
                </a:cubicBezTo>
                <a:cubicBezTo>
                  <a:pt x="8944340" y="5916487"/>
                  <a:pt x="8946870" y="5918350"/>
                  <a:pt x="8952728" y="5918350"/>
                </a:cubicBezTo>
                <a:cubicBezTo>
                  <a:pt x="8954725" y="5918350"/>
                  <a:pt x="8956589" y="5918084"/>
                  <a:pt x="8958053" y="5917418"/>
                </a:cubicBezTo>
                <a:cubicBezTo>
                  <a:pt x="8959517" y="5916886"/>
                  <a:pt x="8960849" y="5916087"/>
                  <a:pt x="8961780" y="5915021"/>
                </a:cubicBezTo>
                <a:cubicBezTo>
                  <a:pt x="8962845" y="5913823"/>
                  <a:pt x="8963777" y="5912492"/>
                  <a:pt x="8964442" y="5910761"/>
                </a:cubicBezTo>
                <a:cubicBezTo>
                  <a:pt x="8965241" y="5909164"/>
                  <a:pt x="8965507" y="5907300"/>
                  <a:pt x="8965507" y="5905304"/>
                </a:cubicBezTo>
                <a:cubicBezTo>
                  <a:pt x="8965507" y="5903440"/>
                  <a:pt x="8965108" y="5901709"/>
                  <a:pt x="8964442" y="5900112"/>
                </a:cubicBezTo>
                <a:cubicBezTo>
                  <a:pt x="8963777" y="5898515"/>
                  <a:pt x="8962845" y="5897184"/>
                  <a:pt x="8961780" y="5895986"/>
                </a:cubicBezTo>
                <a:cubicBezTo>
                  <a:pt x="8960715" y="5894921"/>
                  <a:pt x="8959384" y="5893989"/>
                  <a:pt x="8957786" y="5893323"/>
                </a:cubicBezTo>
                <a:cubicBezTo>
                  <a:pt x="8956322" y="5892658"/>
                  <a:pt x="8954592" y="5892392"/>
                  <a:pt x="8952728" y="5892392"/>
                </a:cubicBezTo>
                <a:close/>
                <a:moveTo>
                  <a:pt x="8735083" y="5892392"/>
                </a:moveTo>
                <a:cubicBezTo>
                  <a:pt x="8729358" y="5892392"/>
                  <a:pt x="8726695" y="5894255"/>
                  <a:pt x="8725098" y="5895986"/>
                </a:cubicBezTo>
                <a:cubicBezTo>
                  <a:pt x="8722569" y="5898648"/>
                  <a:pt x="8721504" y="5901443"/>
                  <a:pt x="8721504" y="5905437"/>
                </a:cubicBezTo>
                <a:cubicBezTo>
                  <a:pt x="8721504" y="5909563"/>
                  <a:pt x="8722569" y="5912359"/>
                  <a:pt x="8725098" y="5914888"/>
                </a:cubicBezTo>
                <a:cubicBezTo>
                  <a:pt x="8726695" y="5916487"/>
                  <a:pt x="8729225" y="5918350"/>
                  <a:pt x="8735083" y="5918350"/>
                </a:cubicBezTo>
                <a:cubicBezTo>
                  <a:pt x="8737079" y="5918350"/>
                  <a:pt x="8738943" y="5918084"/>
                  <a:pt x="8740407" y="5917418"/>
                </a:cubicBezTo>
                <a:cubicBezTo>
                  <a:pt x="8741872" y="5916886"/>
                  <a:pt x="8743203" y="5916087"/>
                  <a:pt x="8744134" y="5915021"/>
                </a:cubicBezTo>
                <a:cubicBezTo>
                  <a:pt x="8745200" y="5913823"/>
                  <a:pt x="8746132" y="5912492"/>
                  <a:pt x="8746797" y="5910761"/>
                </a:cubicBezTo>
                <a:cubicBezTo>
                  <a:pt x="8747596" y="5909164"/>
                  <a:pt x="8747862" y="5907300"/>
                  <a:pt x="8747862" y="5905304"/>
                </a:cubicBezTo>
                <a:cubicBezTo>
                  <a:pt x="8747862" y="5903440"/>
                  <a:pt x="8747462" y="5901709"/>
                  <a:pt x="8746797" y="5900112"/>
                </a:cubicBezTo>
                <a:cubicBezTo>
                  <a:pt x="8746132" y="5898515"/>
                  <a:pt x="8745200" y="5897184"/>
                  <a:pt x="8744134" y="5895986"/>
                </a:cubicBezTo>
                <a:cubicBezTo>
                  <a:pt x="8743069" y="5894921"/>
                  <a:pt x="8741738" y="5893989"/>
                  <a:pt x="8740141" y="5893323"/>
                </a:cubicBezTo>
                <a:cubicBezTo>
                  <a:pt x="8738677" y="5892658"/>
                  <a:pt x="8736946" y="5892392"/>
                  <a:pt x="8735083" y="5892392"/>
                </a:cubicBezTo>
                <a:close/>
                <a:moveTo>
                  <a:pt x="8517438" y="5892392"/>
                </a:moveTo>
                <a:cubicBezTo>
                  <a:pt x="8511713" y="5892392"/>
                  <a:pt x="8509051" y="5894255"/>
                  <a:pt x="8507453" y="5895986"/>
                </a:cubicBezTo>
                <a:cubicBezTo>
                  <a:pt x="8504925" y="5898648"/>
                  <a:pt x="8503860" y="5901443"/>
                  <a:pt x="8503860" y="5905437"/>
                </a:cubicBezTo>
                <a:cubicBezTo>
                  <a:pt x="8503860" y="5909563"/>
                  <a:pt x="8504925" y="5912359"/>
                  <a:pt x="8507453" y="5914888"/>
                </a:cubicBezTo>
                <a:cubicBezTo>
                  <a:pt x="8509051" y="5916487"/>
                  <a:pt x="8511581" y="5918350"/>
                  <a:pt x="8517438" y="5918350"/>
                </a:cubicBezTo>
                <a:cubicBezTo>
                  <a:pt x="8519568" y="5918350"/>
                  <a:pt x="8521299" y="5918084"/>
                  <a:pt x="8522763" y="5917418"/>
                </a:cubicBezTo>
                <a:cubicBezTo>
                  <a:pt x="8524227" y="5916886"/>
                  <a:pt x="8525559" y="5916087"/>
                  <a:pt x="8526490" y="5915021"/>
                </a:cubicBezTo>
                <a:cubicBezTo>
                  <a:pt x="8527555" y="5913823"/>
                  <a:pt x="8528487" y="5912492"/>
                  <a:pt x="8529152" y="5910761"/>
                </a:cubicBezTo>
                <a:cubicBezTo>
                  <a:pt x="8529818" y="5909164"/>
                  <a:pt x="8530084" y="5907300"/>
                  <a:pt x="8530084" y="5905304"/>
                </a:cubicBezTo>
                <a:cubicBezTo>
                  <a:pt x="8530084" y="5903440"/>
                  <a:pt x="8529818" y="5901709"/>
                  <a:pt x="8529152" y="5900112"/>
                </a:cubicBezTo>
                <a:cubicBezTo>
                  <a:pt x="8528487" y="5898515"/>
                  <a:pt x="8527555" y="5897184"/>
                  <a:pt x="8526490" y="5895986"/>
                </a:cubicBezTo>
                <a:cubicBezTo>
                  <a:pt x="8525425" y="5894921"/>
                  <a:pt x="8524094" y="5893989"/>
                  <a:pt x="8522496" y="5893323"/>
                </a:cubicBezTo>
                <a:cubicBezTo>
                  <a:pt x="8521032" y="5892658"/>
                  <a:pt x="8519302" y="5892392"/>
                  <a:pt x="8517438" y="5892392"/>
                </a:cubicBezTo>
                <a:close/>
                <a:moveTo>
                  <a:pt x="8299793" y="5892392"/>
                </a:moveTo>
                <a:cubicBezTo>
                  <a:pt x="8294068" y="5892392"/>
                  <a:pt x="8291406" y="5894255"/>
                  <a:pt x="8289809" y="5895986"/>
                </a:cubicBezTo>
                <a:cubicBezTo>
                  <a:pt x="8287280" y="5898648"/>
                  <a:pt x="8286215" y="5901443"/>
                  <a:pt x="8286215" y="5905437"/>
                </a:cubicBezTo>
                <a:cubicBezTo>
                  <a:pt x="8286215" y="5909563"/>
                  <a:pt x="8287280" y="5912359"/>
                  <a:pt x="8289809" y="5914888"/>
                </a:cubicBezTo>
                <a:cubicBezTo>
                  <a:pt x="8291406" y="5916487"/>
                  <a:pt x="8293935" y="5918350"/>
                  <a:pt x="8299793" y="5918350"/>
                </a:cubicBezTo>
                <a:cubicBezTo>
                  <a:pt x="8301923" y="5918350"/>
                  <a:pt x="8303653" y="5918084"/>
                  <a:pt x="8305118" y="5917418"/>
                </a:cubicBezTo>
                <a:cubicBezTo>
                  <a:pt x="8306582" y="5916886"/>
                  <a:pt x="8307913" y="5916087"/>
                  <a:pt x="8308844" y="5915021"/>
                </a:cubicBezTo>
                <a:cubicBezTo>
                  <a:pt x="8309910" y="5913823"/>
                  <a:pt x="8310842" y="5912492"/>
                  <a:pt x="8311507" y="5910761"/>
                </a:cubicBezTo>
                <a:cubicBezTo>
                  <a:pt x="8312172" y="5909164"/>
                  <a:pt x="8312439" y="5907300"/>
                  <a:pt x="8312439" y="5905304"/>
                </a:cubicBezTo>
                <a:cubicBezTo>
                  <a:pt x="8312439" y="5903440"/>
                  <a:pt x="8312172" y="5901709"/>
                  <a:pt x="8311507" y="5900112"/>
                </a:cubicBezTo>
                <a:cubicBezTo>
                  <a:pt x="8310842" y="5898515"/>
                  <a:pt x="8309910" y="5897184"/>
                  <a:pt x="8308844" y="5895986"/>
                </a:cubicBezTo>
                <a:cubicBezTo>
                  <a:pt x="8307779" y="5894921"/>
                  <a:pt x="8306448" y="5893989"/>
                  <a:pt x="8304851" y="5893323"/>
                </a:cubicBezTo>
                <a:cubicBezTo>
                  <a:pt x="8303387" y="5892658"/>
                  <a:pt x="8301790" y="5892392"/>
                  <a:pt x="8299793" y="5892392"/>
                </a:cubicBezTo>
                <a:close/>
                <a:moveTo>
                  <a:pt x="8082281" y="5892392"/>
                </a:moveTo>
                <a:cubicBezTo>
                  <a:pt x="8076424" y="5892392"/>
                  <a:pt x="8073894" y="5894255"/>
                  <a:pt x="8072297" y="5895986"/>
                </a:cubicBezTo>
                <a:cubicBezTo>
                  <a:pt x="8069768" y="5898648"/>
                  <a:pt x="8068703" y="5901443"/>
                  <a:pt x="8068703" y="5905437"/>
                </a:cubicBezTo>
                <a:cubicBezTo>
                  <a:pt x="8068703" y="5909563"/>
                  <a:pt x="8069768" y="5912359"/>
                  <a:pt x="8072297" y="5914888"/>
                </a:cubicBezTo>
                <a:cubicBezTo>
                  <a:pt x="8073894" y="5916487"/>
                  <a:pt x="8076424" y="5918350"/>
                  <a:pt x="8082281" y="5918350"/>
                </a:cubicBezTo>
                <a:cubicBezTo>
                  <a:pt x="8084277" y="5918350"/>
                  <a:pt x="8086007" y="5918084"/>
                  <a:pt x="8087605" y="5917418"/>
                </a:cubicBezTo>
                <a:cubicBezTo>
                  <a:pt x="8089069" y="5916886"/>
                  <a:pt x="8090401" y="5916087"/>
                  <a:pt x="8091332" y="5915021"/>
                </a:cubicBezTo>
                <a:cubicBezTo>
                  <a:pt x="8092397" y="5913823"/>
                  <a:pt x="8093329" y="5912492"/>
                  <a:pt x="8093994" y="5910761"/>
                </a:cubicBezTo>
                <a:cubicBezTo>
                  <a:pt x="8094660" y="5909164"/>
                  <a:pt x="8094926" y="5907300"/>
                  <a:pt x="8094926" y="5905304"/>
                </a:cubicBezTo>
                <a:cubicBezTo>
                  <a:pt x="8094926" y="5903440"/>
                  <a:pt x="8094660" y="5901709"/>
                  <a:pt x="8093994" y="5900112"/>
                </a:cubicBezTo>
                <a:cubicBezTo>
                  <a:pt x="8093329" y="5898515"/>
                  <a:pt x="8092397" y="5897184"/>
                  <a:pt x="8091332" y="5895986"/>
                </a:cubicBezTo>
                <a:cubicBezTo>
                  <a:pt x="8090267" y="5894921"/>
                  <a:pt x="8088936" y="5893989"/>
                  <a:pt x="8087338" y="5893323"/>
                </a:cubicBezTo>
                <a:cubicBezTo>
                  <a:pt x="8085874" y="5892658"/>
                  <a:pt x="8084277" y="5892392"/>
                  <a:pt x="8082281" y="5892392"/>
                </a:cubicBezTo>
                <a:close/>
                <a:moveTo>
                  <a:pt x="7864636" y="5892392"/>
                </a:moveTo>
                <a:cubicBezTo>
                  <a:pt x="7858779" y="5892392"/>
                  <a:pt x="7856249" y="5894255"/>
                  <a:pt x="7854652" y="5895986"/>
                </a:cubicBezTo>
                <a:cubicBezTo>
                  <a:pt x="7852123" y="5898648"/>
                  <a:pt x="7851058" y="5901443"/>
                  <a:pt x="7851058" y="5905437"/>
                </a:cubicBezTo>
                <a:cubicBezTo>
                  <a:pt x="7851058" y="5909563"/>
                  <a:pt x="7852123" y="5912359"/>
                  <a:pt x="7854652" y="5914888"/>
                </a:cubicBezTo>
                <a:cubicBezTo>
                  <a:pt x="7856249" y="5916487"/>
                  <a:pt x="7858779" y="5918350"/>
                  <a:pt x="7864636" y="5918350"/>
                </a:cubicBezTo>
                <a:cubicBezTo>
                  <a:pt x="7866633" y="5918350"/>
                  <a:pt x="7868363" y="5918084"/>
                  <a:pt x="7869961" y="5917418"/>
                </a:cubicBezTo>
                <a:cubicBezTo>
                  <a:pt x="7871425" y="5916886"/>
                  <a:pt x="7872756" y="5916087"/>
                  <a:pt x="7873687" y="5915021"/>
                </a:cubicBezTo>
                <a:cubicBezTo>
                  <a:pt x="7874753" y="5913823"/>
                  <a:pt x="7875685" y="5912492"/>
                  <a:pt x="7876350" y="5910761"/>
                </a:cubicBezTo>
                <a:cubicBezTo>
                  <a:pt x="7877015" y="5909164"/>
                  <a:pt x="7877282" y="5907300"/>
                  <a:pt x="7877282" y="5905304"/>
                </a:cubicBezTo>
                <a:cubicBezTo>
                  <a:pt x="7877282" y="5903440"/>
                  <a:pt x="7877015" y="5901709"/>
                  <a:pt x="7876350" y="5900112"/>
                </a:cubicBezTo>
                <a:cubicBezTo>
                  <a:pt x="7875685" y="5898515"/>
                  <a:pt x="7874753" y="5897184"/>
                  <a:pt x="7873687" y="5895986"/>
                </a:cubicBezTo>
                <a:cubicBezTo>
                  <a:pt x="7872623" y="5894921"/>
                  <a:pt x="7871291" y="5893989"/>
                  <a:pt x="7869694" y="5893323"/>
                </a:cubicBezTo>
                <a:cubicBezTo>
                  <a:pt x="7868230" y="5892658"/>
                  <a:pt x="7866633" y="5892392"/>
                  <a:pt x="7864636" y="5892392"/>
                </a:cubicBezTo>
                <a:close/>
                <a:moveTo>
                  <a:pt x="7646991" y="5892392"/>
                </a:moveTo>
                <a:cubicBezTo>
                  <a:pt x="7641134" y="5892392"/>
                  <a:pt x="7638604" y="5894255"/>
                  <a:pt x="7637007" y="5895986"/>
                </a:cubicBezTo>
                <a:cubicBezTo>
                  <a:pt x="7634478" y="5898648"/>
                  <a:pt x="7633413" y="5901443"/>
                  <a:pt x="7633413" y="5905437"/>
                </a:cubicBezTo>
                <a:cubicBezTo>
                  <a:pt x="7633413" y="5909563"/>
                  <a:pt x="7634478" y="5912359"/>
                  <a:pt x="7637007" y="5914888"/>
                </a:cubicBezTo>
                <a:cubicBezTo>
                  <a:pt x="7638604" y="5916487"/>
                  <a:pt x="7641134" y="5918350"/>
                  <a:pt x="7646991" y="5918350"/>
                </a:cubicBezTo>
                <a:cubicBezTo>
                  <a:pt x="7648987" y="5918350"/>
                  <a:pt x="7650851" y="5918084"/>
                  <a:pt x="7652315" y="5917418"/>
                </a:cubicBezTo>
                <a:cubicBezTo>
                  <a:pt x="7653780" y="5916886"/>
                  <a:pt x="7655111" y="5916087"/>
                  <a:pt x="7656042" y="5915021"/>
                </a:cubicBezTo>
                <a:cubicBezTo>
                  <a:pt x="7657108" y="5913823"/>
                  <a:pt x="7658039" y="5912492"/>
                  <a:pt x="7658705" y="5910761"/>
                </a:cubicBezTo>
                <a:cubicBezTo>
                  <a:pt x="7659504" y="5909164"/>
                  <a:pt x="7659769" y="5907300"/>
                  <a:pt x="7659769" y="5905304"/>
                </a:cubicBezTo>
                <a:cubicBezTo>
                  <a:pt x="7659769" y="5903440"/>
                  <a:pt x="7659370" y="5901709"/>
                  <a:pt x="7658705" y="5900112"/>
                </a:cubicBezTo>
                <a:cubicBezTo>
                  <a:pt x="7658039" y="5898515"/>
                  <a:pt x="7657108" y="5897184"/>
                  <a:pt x="7656042" y="5895986"/>
                </a:cubicBezTo>
                <a:cubicBezTo>
                  <a:pt x="7654977" y="5894921"/>
                  <a:pt x="7653646" y="5893989"/>
                  <a:pt x="7652049" y="5893323"/>
                </a:cubicBezTo>
                <a:cubicBezTo>
                  <a:pt x="7650584" y="5892658"/>
                  <a:pt x="7648987" y="5892392"/>
                  <a:pt x="7646991" y="5892392"/>
                </a:cubicBezTo>
                <a:close/>
                <a:moveTo>
                  <a:pt x="7429345" y="5892392"/>
                </a:moveTo>
                <a:cubicBezTo>
                  <a:pt x="7423488" y="5892392"/>
                  <a:pt x="7420958" y="5894255"/>
                  <a:pt x="7419361" y="5895986"/>
                </a:cubicBezTo>
                <a:cubicBezTo>
                  <a:pt x="7416832" y="5898648"/>
                  <a:pt x="7415768" y="5901443"/>
                  <a:pt x="7415768" y="5905437"/>
                </a:cubicBezTo>
                <a:cubicBezTo>
                  <a:pt x="7415768" y="5909563"/>
                  <a:pt x="7416832" y="5912359"/>
                  <a:pt x="7419361" y="5914888"/>
                </a:cubicBezTo>
                <a:cubicBezTo>
                  <a:pt x="7420958" y="5916487"/>
                  <a:pt x="7423488" y="5918350"/>
                  <a:pt x="7429345" y="5918350"/>
                </a:cubicBezTo>
                <a:cubicBezTo>
                  <a:pt x="7431342" y="5918350"/>
                  <a:pt x="7433206" y="5918084"/>
                  <a:pt x="7434670" y="5917418"/>
                </a:cubicBezTo>
                <a:cubicBezTo>
                  <a:pt x="7436134" y="5916886"/>
                  <a:pt x="7437466" y="5916087"/>
                  <a:pt x="7438397" y="5915021"/>
                </a:cubicBezTo>
                <a:cubicBezTo>
                  <a:pt x="7439462" y="5913823"/>
                  <a:pt x="7440394" y="5912492"/>
                  <a:pt x="7441059" y="5910761"/>
                </a:cubicBezTo>
                <a:cubicBezTo>
                  <a:pt x="7441858" y="5909164"/>
                  <a:pt x="7442124" y="5907300"/>
                  <a:pt x="7442124" y="5905304"/>
                </a:cubicBezTo>
                <a:cubicBezTo>
                  <a:pt x="7442124" y="5903440"/>
                  <a:pt x="7441725" y="5901709"/>
                  <a:pt x="7441059" y="5900112"/>
                </a:cubicBezTo>
                <a:cubicBezTo>
                  <a:pt x="7440394" y="5898515"/>
                  <a:pt x="7439462" y="5897184"/>
                  <a:pt x="7438397" y="5895986"/>
                </a:cubicBezTo>
                <a:cubicBezTo>
                  <a:pt x="7437332" y="5894921"/>
                  <a:pt x="7436001" y="5893989"/>
                  <a:pt x="7434403" y="5893323"/>
                </a:cubicBezTo>
                <a:cubicBezTo>
                  <a:pt x="7432939" y="5892658"/>
                  <a:pt x="7431342" y="5892392"/>
                  <a:pt x="7429345" y="5892392"/>
                </a:cubicBezTo>
                <a:close/>
                <a:moveTo>
                  <a:pt x="7211701" y="5892392"/>
                </a:moveTo>
                <a:cubicBezTo>
                  <a:pt x="7205844" y="5892392"/>
                  <a:pt x="7203314" y="5894255"/>
                  <a:pt x="7201717" y="5895986"/>
                </a:cubicBezTo>
                <a:cubicBezTo>
                  <a:pt x="7199188" y="5898648"/>
                  <a:pt x="7198123" y="5901443"/>
                  <a:pt x="7198123" y="5905437"/>
                </a:cubicBezTo>
                <a:cubicBezTo>
                  <a:pt x="7198123" y="5909563"/>
                  <a:pt x="7199188" y="5912359"/>
                  <a:pt x="7201717" y="5914888"/>
                </a:cubicBezTo>
                <a:cubicBezTo>
                  <a:pt x="7203314" y="5916487"/>
                  <a:pt x="7205844" y="5918350"/>
                  <a:pt x="7211701" y="5918350"/>
                </a:cubicBezTo>
                <a:cubicBezTo>
                  <a:pt x="7213830" y="5918350"/>
                  <a:pt x="7215561" y="5918084"/>
                  <a:pt x="7217026" y="5917418"/>
                </a:cubicBezTo>
                <a:cubicBezTo>
                  <a:pt x="7218490" y="5916886"/>
                  <a:pt x="7219821" y="5916087"/>
                  <a:pt x="7220752" y="5915021"/>
                </a:cubicBezTo>
                <a:cubicBezTo>
                  <a:pt x="7221818" y="5913823"/>
                  <a:pt x="7222750" y="5912492"/>
                  <a:pt x="7223415" y="5910761"/>
                </a:cubicBezTo>
                <a:cubicBezTo>
                  <a:pt x="7224214" y="5909164"/>
                  <a:pt x="7224480" y="5907300"/>
                  <a:pt x="7224480" y="5905304"/>
                </a:cubicBezTo>
                <a:cubicBezTo>
                  <a:pt x="7224480" y="5903440"/>
                  <a:pt x="7224080" y="5901709"/>
                  <a:pt x="7223415" y="5900112"/>
                </a:cubicBezTo>
                <a:cubicBezTo>
                  <a:pt x="7222750" y="5898515"/>
                  <a:pt x="7221818" y="5897184"/>
                  <a:pt x="7220752" y="5895986"/>
                </a:cubicBezTo>
                <a:cubicBezTo>
                  <a:pt x="7219687" y="5894921"/>
                  <a:pt x="7218356" y="5893989"/>
                  <a:pt x="7216759" y="5893323"/>
                </a:cubicBezTo>
                <a:cubicBezTo>
                  <a:pt x="7215295" y="5892658"/>
                  <a:pt x="7213698" y="5892392"/>
                  <a:pt x="7211701" y="5892392"/>
                </a:cubicBezTo>
                <a:close/>
                <a:moveTo>
                  <a:pt x="6994056" y="5892392"/>
                </a:moveTo>
                <a:cubicBezTo>
                  <a:pt x="6988199" y="5892392"/>
                  <a:pt x="6985669" y="5894255"/>
                  <a:pt x="6984072" y="5895986"/>
                </a:cubicBezTo>
                <a:cubicBezTo>
                  <a:pt x="6981543" y="5898648"/>
                  <a:pt x="6980478" y="5901443"/>
                  <a:pt x="6980478" y="5905437"/>
                </a:cubicBezTo>
                <a:cubicBezTo>
                  <a:pt x="6980478" y="5909563"/>
                  <a:pt x="6981543" y="5912359"/>
                  <a:pt x="6984072" y="5914888"/>
                </a:cubicBezTo>
                <a:cubicBezTo>
                  <a:pt x="6985669" y="5916487"/>
                  <a:pt x="6988199" y="5918350"/>
                  <a:pt x="6994056" y="5918350"/>
                </a:cubicBezTo>
                <a:cubicBezTo>
                  <a:pt x="6996185" y="5918350"/>
                  <a:pt x="6997916" y="5918084"/>
                  <a:pt x="6999380" y="5917418"/>
                </a:cubicBezTo>
                <a:cubicBezTo>
                  <a:pt x="7000844" y="5916886"/>
                  <a:pt x="7002176" y="5916087"/>
                  <a:pt x="7003107" y="5915021"/>
                </a:cubicBezTo>
                <a:cubicBezTo>
                  <a:pt x="7004172" y="5913823"/>
                  <a:pt x="7005104" y="5912492"/>
                  <a:pt x="7005769" y="5910761"/>
                </a:cubicBezTo>
                <a:cubicBezTo>
                  <a:pt x="7006568" y="5909164"/>
                  <a:pt x="7006834" y="5907300"/>
                  <a:pt x="7006834" y="5905304"/>
                </a:cubicBezTo>
                <a:cubicBezTo>
                  <a:pt x="7006834" y="5903440"/>
                  <a:pt x="7006435" y="5901709"/>
                  <a:pt x="7005769" y="5900112"/>
                </a:cubicBezTo>
                <a:cubicBezTo>
                  <a:pt x="7005104" y="5898515"/>
                  <a:pt x="7004172" y="5897184"/>
                  <a:pt x="7003107" y="5895986"/>
                </a:cubicBezTo>
                <a:cubicBezTo>
                  <a:pt x="7002042" y="5894921"/>
                  <a:pt x="7000711" y="5893989"/>
                  <a:pt x="6999113" y="5893323"/>
                </a:cubicBezTo>
                <a:cubicBezTo>
                  <a:pt x="6997649" y="5892658"/>
                  <a:pt x="6996052" y="5892392"/>
                  <a:pt x="6994056" y="5892392"/>
                </a:cubicBezTo>
                <a:close/>
                <a:moveTo>
                  <a:pt x="6776544" y="5892392"/>
                </a:moveTo>
                <a:cubicBezTo>
                  <a:pt x="6770687" y="5892392"/>
                  <a:pt x="6768157" y="5894255"/>
                  <a:pt x="6766560" y="5895986"/>
                </a:cubicBezTo>
                <a:cubicBezTo>
                  <a:pt x="6764031" y="5898648"/>
                  <a:pt x="6762966" y="5901443"/>
                  <a:pt x="6762966" y="5905437"/>
                </a:cubicBezTo>
                <a:cubicBezTo>
                  <a:pt x="6762966" y="5909563"/>
                  <a:pt x="6764031" y="5912359"/>
                  <a:pt x="6766560" y="5914888"/>
                </a:cubicBezTo>
                <a:cubicBezTo>
                  <a:pt x="6768157" y="5916487"/>
                  <a:pt x="6770687" y="5918350"/>
                  <a:pt x="6776544" y="5918350"/>
                </a:cubicBezTo>
                <a:cubicBezTo>
                  <a:pt x="6778541" y="5918350"/>
                  <a:pt x="6780270" y="5918084"/>
                  <a:pt x="6781869" y="5917418"/>
                </a:cubicBezTo>
                <a:cubicBezTo>
                  <a:pt x="6783333" y="5916886"/>
                  <a:pt x="6784664" y="5916087"/>
                  <a:pt x="6785595" y="5915021"/>
                </a:cubicBezTo>
                <a:cubicBezTo>
                  <a:pt x="6786661" y="5913823"/>
                  <a:pt x="6787593" y="5912492"/>
                  <a:pt x="6788258" y="5910761"/>
                </a:cubicBezTo>
                <a:cubicBezTo>
                  <a:pt x="6789057" y="5909164"/>
                  <a:pt x="6789323" y="5907300"/>
                  <a:pt x="6789323" y="5905304"/>
                </a:cubicBezTo>
                <a:cubicBezTo>
                  <a:pt x="6789323" y="5903440"/>
                  <a:pt x="6788923" y="5901709"/>
                  <a:pt x="6788258" y="5900112"/>
                </a:cubicBezTo>
                <a:cubicBezTo>
                  <a:pt x="6787593" y="5898515"/>
                  <a:pt x="6786661" y="5897184"/>
                  <a:pt x="6785595" y="5895986"/>
                </a:cubicBezTo>
                <a:cubicBezTo>
                  <a:pt x="6784530" y="5894921"/>
                  <a:pt x="6783199" y="5893989"/>
                  <a:pt x="6781602" y="5893323"/>
                </a:cubicBezTo>
                <a:cubicBezTo>
                  <a:pt x="6780138" y="5892658"/>
                  <a:pt x="6778541" y="5892392"/>
                  <a:pt x="6776544" y="5892392"/>
                </a:cubicBezTo>
                <a:close/>
                <a:moveTo>
                  <a:pt x="6558899" y="5892392"/>
                </a:moveTo>
                <a:cubicBezTo>
                  <a:pt x="6553042" y="5892392"/>
                  <a:pt x="6550512" y="5894255"/>
                  <a:pt x="6548915" y="5895986"/>
                </a:cubicBezTo>
                <a:cubicBezTo>
                  <a:pt x="6546386" y="5898648"/>
                  <a:pt x="6545321" y="5901443"/>
                  <a:pt x="6545321" y="5905437"/>
                </a:cubicBezTo>
                <a:cubicBezTo>
                  <a:pt x="6545321" y="5909563"/>
                  <a:pt x="6546386" y="5912359"/>
                  <a:pt x="6548915" y="5914888"/>
                </a:cubicBezTo>
                <a:cubicBezTo>
                  <a:pt x="6550512" y="5916487"/>
                  <a:pt x="6553042" y="5918350"/>
                  <a:pt x="6558899" y="5918350"/>
                </a:cubicBezTo>
                <a:cubicBezTo>
                  <a:pt x="6560895" y="5918350"/>
                  <a:pt x="6562759" y="5918084"/>
                  <a:pt x="6564223" y="5917418"/>
                </a:cubicBezTo>
                <a:cubicBezTo>
                  <a:pt x="6565687" y="5916886"/>
                  <a:pt x="6567019" y="5916087"/>
                  <a:pt x="6567950" y="5915021"/>
                </a:cubicBezTo>
                <a:cubicBezTo>
                  <a:pt x="6569015" y="5913823"/>
                  <a:pt x="6569947" y="5912492"/>
                  <a:pt x="6570612" y="5910761"/>
                </a:cubicBezTo>
                <a:cubicBezTo>
                  <a:pt x="6571412" y="5909164"/>
                  <a:pt x="6571677" y="5907300"/>
                  <a:pt x="6571677" y="5905304"/>
                </a:cubicBezTo>
                <a:cubicBezTo>
                  <a:pt x="6571677" y="5903440"/>
                  <a:pt x="6571278" y="5901709"/>
                  <a:pt x="6570612" y="5900112"/>
                </a:cubicBezTo>
                <a:cubicBezTo>
                  <a:pt x="6569947" y="5898515"/>
                  <a:pt x="6569015" y="5897184"/>
                  <a:pt x="6567950" y="5895986"/>
                </a:cubicBezTo>
                <a:cubicBezTo>
                  <a:pt x="6566885" y="5894921"/>
                  <a:pt x="6565554" y="5893989"/>
                  <a:pt x="6563956" y="5893323"/>
                </a:cubicBezTo>
                <a:cubicBezTo>
                  <a:pt x="6562492" y="5892658"/>
                  <a:pt x="6560895" y="5892392"/>
                  <a:pt x="6558899" y="5892392"/>
                </a:cubicBezTo>
                <a:close/>
                <a:moveTo>
                  <a:pt x="6341253" y="5892392"/>
                </a:moveTo>
                <a:cubicBezTo>
                  <a:pt x="6335396" y="5892392"/>
                  <a:pt x="6332867" y="5894255"/>
                  <a:pt x="6331270" y="5895986"/>
                </a:cubicBezTo>
                <a:cubicBezTo>
                  <a:pt x="6328740" y="5898648"/>
                  <a:pt x="6327675" y="5901443"/>
                  <a:pt x="6327675" y="5905437"/>
                </a:cubicBezTo>
                <a:cubicBezTo>
                  <a:pt x="6327675" y="5909563"/>
                  <a:pt x="6328740" y="5912359"/>
                  <a:pt x="6331270" y="5914888"/>
                </a:cubicBezTo>
                <a:cubicBezTo>
                  <a:pt x="6332867" y="5916487"/>
                  <a:pt x="6335396" y="5918350"/>
                  <a:pt x="6341253" y="5918350"/>
                </a:cubicBezTo>
                <a:cubicBezTo>
                  <a:pt x="6343250" y="5918350"/>
                  <a:pt x="6345114" y="5918084"/>
                  <a:pt x="6346578" y="5917418"/>
                </a:cubicBezTo>
                <a:cubicBezTo>
                  <a:pt x="6348042" y="5916886"/>
                  <a:pt x="6349373" y="5916087"/>
                  <a:pt x="6350305" y="5915021"/>
                </a:cubicBezTo>
                <a:cubicBezTo>
                  <a:pt x="6351370" y="5913823"/>
                  <a:pt x="6352302" y="5912492"/>
                  <a:pt x="6352968" y="5910761"/>
                </a:cubicBezTo>
                <a:cubicBezTo>
                  <a:pt x="6353766" y="5909164"/>
                  <a:pt x="6354033" y="5907300"/>
                  <a:pt x="6354033" y="5905304"/>
                </a:cubicBezTo>
                <a:cubicBezTo>
                  <a:pt x="6354033" y="5903440"/>
                  <a:pt x="6353633" y="5901709"/>
                  <a:pt x="6352968" y="5900112"/>
                </a:cubicBezTo>
                <a:cubicBezTo>
                  <a:pt x="6352302" y="5898515"/>
                  <a:pt x="6351370" y="5897184"/>
                  <a:pt x="6350305" y="5895986"/>
                </a:cubicBezTo>
                <a:cubicBezTo>
                  <a:pt x="6349241" y="5894921"/>
                  <a:pt x="6347909" y="5893989"/>
                  <a:pt x="6346312" y="5893323"/>
                </a:cubicBezTo>
                <a:cubicBezTo>
                  <a:pt x="6344848" y="5892658"/>
                  <a:pt x="6343250" y="5892392"/>
                  <a:pt x="6341253" y="5892392"/>
                </a:cubicBezTo>
                <a:close/>
                <a:moveTo>
                  <a:pt x="6123608" y="5892392"/>
                </a:moveTo>
                <a:cubicBezTo>
                  <a:pt x="6117751" y="5892392"/>
                  <a:pt x="6115221" y="5894255"/>
                  <a:pt x="6113624" y="5895986"/>
                </a:cubicBezTo>
                <a:cubicBezTo>
                  <a:pt x="6111095" y="5898648"/>
                  <a:pt x="6110030" y="5901443"/>
                  <a:pt x="6110030" y="5905437"/>
                </a:cubicBezTo>
                <a:cubicBezTo>
                  <a:pt x="6110030" y="5909563"/>
                  <a:pt x="6111095" y="5912359"/>
                  <a:pt x="6113624" y="5914888"/>
                </a:cubicBezTo>
                <a:cubicBezTo>
                  <a:pt x="6115221" y="5916487"/>
                  <a:pt x="6117751" y="5918350"/>
                  <a:pt x="6123608" y="5918350"/>
                </a:cubicBezTo>
                <a:cubicBezTo>
                  <a:pt x="6125737" y="5918350"/>
                  <a:pt x="6127468" y="5918084"/>
                  <a:pt x="6128932" y="5917418"/>
                </a:cubicBezTo>
                <a:cubicBezTo>
                  <a:pt x="6130530" y="5916886"/>
                  <a:pt x="6131728" y="5916087"/>
                  <a:pt x="6132659" y="5915021"/>
                </a:cubicBezTo>
                <a:cubicBezTo>
                  <a:pt x="6133724" y="5913823"/>
                  <a:pt x="6134656" y="5912492"/>
                  <a:pt x="6135322" y="5910761"/>
                </a:cubicBezTo>
                <a:cubicBezTo>
                  <a:pt x="6135987" y="5909164"/>
                  <a:pt x="6136387" y="5907300"/>
                  <a:pt x="6136387" y="5905304"/>
                </a:cubicBezTo>
                <a:cubicBezTo>
                  <a:pt x="6136387" y="5903440"/>
                  <a:pt x="6135987" y="5901709"/>
                  <a:pt x="6135322" y="5900112"/>
                </a:cubicBezTo>
                <a:cubicBezTo>
                  <a:pt x="6134656" y="5898515"/>
                  <a:pt x="6133724" y="5897184"/>
                  <a:pt x="6132659" y="5895986"/>
                </a:cubicBezTo>
                <a:cubicBezTo>
                  <a:pt x="6131594" y="5894921"/>
                  <a:pt x="6130263" y="5893989"/>
                  <a:pt x="6128666" y="5893323"/>
                </a:cubicBezTo>
                <a:cubicBezTo>
                  <a:pt x="6127202" y="5892658"/>
                  <a:pt x="6125604" y="5892392"/>
                  <a:pt x="6123608" y="5892392"/>
                </a:cubicBezTo>
                <a:close/>
                <a:moveTo>
                  <a:pt x="5905963" y="5892392"/>
                </a:moveTo>
                <a:cubicBezTo>
                  <a:pt x="5900106" y="5892392"/>
                  <a:pt x="5897576" y="5894255"/>
                  <a:pt x="5895979" y="5895986"/>
                </a:cubicBezTo>
                <a:cubicBezTo>
                  <a:pt x="5893450" y="5898648"/>
                  <a:pt x="5892385" y="5901443"/>
                  <a:pt x="5892385" y="5905437"/>
                </a:cubicBezTo>
                <a:cubicBezTo>
                  <a:pt x="5892385" y="5909563"/>
                  <a:pt x="5893450" y="5912359"/>
                  <a:pt x="5895979" y="5914888"/>
                </a:cubicBezTo>
                <a:cubicBezTo>
                  <a:pt x="5897576" y="5916487"/>
                  <a:pt x="5900106" y="5918350"/>
                  <a:pt x="5905963" y="5918350"/>
                </a:cubicBezTo>
                <a:cubicBezTo>
                  <a:pt x="5908093" y="5918350"/>
                  <a:pt x="5909823" y="5918084"/>
                  <a:pt x="5911287" y="5917418"/>
                </a:cubicBezTo>
                <a:cubicBezTo>
                  <a:pt x="5912751" y="5916886"/>
                  <a:pt x="5914083" y="5916087"/>
                  <a:pt x="5915014" y="5915021"/>
                </a:cubicBezTo>
                <a:cubicBezTo>
                  <a:pt x="5916079" y="5913823"/>
                  <a:pt x="5917011" y="5912492"/>
                  <a:pt x="5917677" y="5910761"/>
                </a:cubicBezTo>
                <a:cubicBezTo>
                  <a:pt x="5918342" y="5909164"/>
                  <a:pt x="5918742" y="5907300"/>
                  <a:pt x="5918742" y="5905304"/>
                </a:cubicBezTo>
                <a:cubicBezTo>
                  <a:pt x="5918742" y="5903440"/>
                  <a:pt x="5918342" y="5901709"/>
                  <a:pt x="5917677" y="5900112"/>
                </a:cubicBezTo>
                <a:cubicBezTo>
                  <a:pt x="5917011" y="5898515"/>
                  <a:pt x="5916079" y="5897184"/>
                  <a:pt x="5915014" y="5895986"/>
                </a:cubicBezTo>
                <a:cubicBezTo>
                  <a:pt x="5913950" y="5894921"/>
                  <a:pt x="5912618" y="5893989"/>
                  <a:pt x="5911021" y="5893323"/>
                </a:cubicBezTo>
                <a:cubicBezTo>
                  <a:pt x="5909557" y="5892658"/>
                  <a:pt x="5907826" y="5892392"/>
                  <a:pt x="5905963" y="5892392"/>
                </a:cubicBezTo>
                <a:close/>
                <a:moveTo>
                  <a:pt x="5688451" y="5892392"/>
                </a:moveTo>
                <a:cubicBezTo>
                  <a:pt x="5682594" y="5892392"/>
                  <a:pt x="5680064" y="5894255"/>
                  <a:pt x="5678467" y="5895986"/>
                </a:cubicBezTo>
                <a:cubicBezTo>
                  <a:pt x="5675938" y="5898648"/>
                  <a:pt x="5674873" y="5901443"/>
                  <a:pt x="5674873" y="5905437"/>
                </a:cubicBezTo>
                <a:cubicBezTo>
                  <a:pt x="5674873" y="5909563"/>
                  <a:pt x="5675938" y="5912359"/>
                  <a:pt x="5678467" y="5914888"/>
                </a:cubicBezTo>
                <a:cubicBezTo>
                  <a:pt x="5680064" y="5916487"/>
                  <a:pt x="5682594" y="5918350"/>
                  <a:pt x="5688451" y="5918350"/>
                </a:cubicBezTo>
                <a:cubicBezTo>
                  <a:pt x="5690447" y="5918350"/>
                  <a:pt x="5692178" y="5918084"/>
                  <a:pt x="5693775" y="5917418"/>
                </a:cubicBezTo>
                <a:cubicBezTo>
                  <a:pt x="5695239" y="5916886"/>
                  <a:pt x="5696571" y="5916087"/>
                  <a:pt x="5697502" y="5915021"/>
                </a:cubicBezTo>
                <a:cubicBezTo>
                  <a:pt x="5698567" y="5913823"/>
                  <a:pt x="5699499" y="5912492"/>
                  <a:pt x="5700165" y="5910761"/>
                </a:cubicBezTo>
                <a:cubicBezTo>
                  <a:pt x="5700830" y="5909164"/>
                  <a:pt x="5701230" y="5907300"/>
                  <a:pt x="5701230" y="5905304"/>
                </a:cubicBezTo>
                <a:cubicBezTo>
                  <a:pt x="5701230" y="5903440"/>
                  <a:pt x="5700830" y="5901709"/>
                  <a:pt x="5700165" y="5900112"/>
                </a:cubicBezTo>
                <a:cubicBezTo>
                  <a:pt x="5699499" y="5898515"/>
                  <a:pt x="5698567" y="5897184"/>
                  <a:pt x="5697502" y="5895986"/>
                </a:cubicBezTo>
                <a:cubicBezTo>
                  <a:pt x="5696437" y="5894921"/>
                  <a:pt x="5695106" y="5893989"/>
                  <a:pt x="5693509" y="5893323"/>
                </a:cubicBezTo>
                <a:cubicBezTo>
                  <a:pt x="5692045" y="5892658"/>
                  <a:pt x="5690314" y="5892392"/>
                  <a:pt x="5688451" y="5892392"/>
                </a:cubicBezTo>
                <a:close/>
                <a:moveTo>
                  <a:pt x="5470806" y="5892392"/>
                </a:moveTo>
                <a:cubicBezTo>
                  <a:pt x="5464949" y="5892392"/>
                  <a:pt x="5462419" y="5894255"/>
                  <a:pt x="5460822" y="5895986"/>
                </a:cubicBezTo>
                <a:cubicBezTo>
                  <a:pt x="5458293" y="5898648"/>
                  <a:pt x="5457228" y="5901443"/>
                  <a:pt x="5457228" y="5905437"/>
                </a:cubicBezTo>
                <a:cubicBezTo>
                  <a:pt x="5457228" y="5909563"/>
                  <a:pt x="5458293" y="5912359"/>
                  <a:pt x="5460822" y="5914888"/>
                </a:cubicBezTo>
                <a:cubicBezTo>
                  <a:pt x="5462419" y="5916487"/>
                  <a:pt x="5464949" y="5918350"/>
                  <a:pt x="5470806" y="5918350"/>
                </a:cubicBezTo>
                <a:cubicBezTo>
                  <a:pt x="5472802" y="5918350"/>
                  <a:pt x="5474666" y="5918084"/>
                  <a:pt x="5476130" y="5917418"/>
                </a:cubicBezTo>
                <a:cubicBezTo>
                  <a:pt x="5477594" y="5916886"/>
                  <a:pt x="5478926" y="5916087"/>
                  <a:pt x="5479857" y="5915021"/>
                </a:cubicBezTo>
                <a:cubicBezTo>
                  <a:pt x="5480922" y="5913823"/>
                  <a:pt x="5481854" y="5912492"/>
                  <a:pt x="5482520" y="5910761"/>
                </a:cubicBezTo>
                <a:cubicBezTo>
                  <a:pt x="5483319" y="5909164"/>
                  <a:pt x="5483585" y="5907300"/>
                  <a:pt x="5483585" y="5905304"/>
                </a:cubicBezTo>
                <a:cubicBezTo>
                  <a:pt x="5483585" y="5903440"/>
                  <a:pt x="5483185" y="5901709"/>
                  <a:pt x="5482520" y="5900112"/>
                </a:cubicBezTo>
                <a:cubicBezTo>
                  <a:pt x="5481854" y="5898515"/>
                  <a:pt x="5480922" y="5897184"/>
                  <a:pt x="5479857" y="5895986"/>
                </a:cubicBezTo>
                <a:cubicBezTo>
                  <a:pt x="5478793" y="5894921"/>
                  <a:pt x="5477461" y="5893989"/>
                  <a:pt x="5475864" y="5893323"/>
                </a:cubicBezTo>
                <a:cubicBezTo>
                  <a:pt x="5474400" y="5892658"/>
                  <a:pt x="5472669" y="5892392"/>
                  <a:pt x="5470806" y="5892392"/>
                </a:cubicBezTo>
                <a:close/>
                <a:moveTo>
                  <a:pt x="5253160" y="5892392"/>
                </a:moveTo>
                <a:cubicBezTo>
                  <a:pt x="5247303" y="5892392"/>
                  <a:pt x="5244774" y="5894255"/>
                  <a:pt x="5243177" y="5895986"/>
                </a:cubicBezTo>
                <a:cubicBezTo>
                  <a:pt x="5240647" y="5898648"/>
                  <a:pt x="5239583" y="5901443"/>
                  <a:pt x="5239583" y="5905437"/>
                </a:cubicBezTo>
                <a:cubicBezTo>
                  <a:pt x="5239583" y="5909563"/>
                  <a:pt x="5240647" y="5912359"/>
                  <a:pt x="5243177" y="5914888"/>
                </a:cubicBezTo>
                <a:cubicBezTo>
                  <a:pt x="5244774" y="5916487"/>
                  <a:pt x="5247303" y="5918350"/>
                  <a:pt x="5253160" y="5918350"/>
                </a:cubicBezTo>
                <a:cubicBezTo>
                  <a:pt x="5255157" y="5918350"/>
                  <a:pt x="5257021" y="5918084"/>
                  <a:pt x="5258485" y="5917418"/>
                </a:cubicBezTo>
                <a:cubicBezTo>
                  <a:pt x="5259949" y="5916886"/>
                  <a:pt x="5261280" y="5916087"/>
                  <a:pt x="5262212" y="5915021"/>
                </a:cubicBezTo>
                <a:cubicBezTo>
                  <a:pt x="5263277" y="5913823"/>
                  <a:pt x="5264209" y="5912492"/>
                  <a:pt x="5264875" y="5910761"/>
                </a:cubicBezTo>
                <a:cubicBezTo>
                  <a:pt x="5265673" y="5909164"/>
                  <a:pt x="5265939" y="5907300"/>
                  <a:pt x="5265939" y="5905304"/>
                </a:cubicBezTo>
                <a:cubicBezTo>
                  <a:pt x="5265939" y="5903440"/>
                  <a:pt x="5265540" y="5901709"/>
                  <a:pt x="5264875" y="5900112"/>
                </a:cubicBezTo>
                <a:cubicBezTo>
                  <a:pt x="5264209" y="5898515"/>
                  <a:pt x="5263277" y="5897184"/>
                  <a:pt x="5262212" y="5895986"/>
                </a:cubicBezTo>
                <a:cubicBezTo>
                  <a:pt x="5261147" y="5894921"/>
                  <a:pt x="5259816" y="5893989"/>
                  <a:pt x="5258219" y="5893323"/>
                </a:cubicBezTo>
                <a:cubicBezTo>
                  <a:pt x="5256754" y="5892658"/>
                  <a:pt x="5255024" y="5892392"/>
                  <a:pt x="5253160" y="5892392"/>
                </a:cubicBezTo>
                <a:close/>
                <a:moveTo>
                  <a:pt x="5035515" y="5892392"/>
                </a:moveTo>
                <a:cubicBezTo>
                  <a:pt x="5029658" y="5892392"/>
                  <a:pt x="5027129" y="5894255"/>
                  <a:pt x="5025532" y="5895986"/>
                </a:cubicBezTo>
                <a:cubicBezTo>
                  <a:pt x="5023002" y="5898648"/>
                  <a:pt x="5021938" y="5901443"/>
                  <a:pt x="5021938" y="5905437"/>
                </a:cubicBezTo>
                <a:cubicBezTo>
                  <a:pt x="5021938" y="5909563"/>
                  <a:pt x="5023002" y="5912359"/>
                  <a:pt x="5025532" y="5914888"/>
                </a:cubicBezTo>
                <a:cubicBezTo>
                  <a:pt x="5027129" y="5916487"/>
                  <a:pt x="5029658" y="5918350"/>
                  <a:pt x="5035515" y="5918350"/>
                </a:cubicBezTo>
                <a:cubicBezTo>
                  <a:pt x="5037645" y="5918350"/>
                  <a:pt x="5039376" y="5918084"/>
                  <a:pt x="5040840" y="5917418"/>
                </a:cubicBezTo>
                <a:cubicBezTo>
                  <a:pt x="5042304" y="5916886"/>
                  <a:pt x="5043636" y="5916087"/>
                  <a:pt x="5044567" y="5915021"/>
                </a:cubicBezTo>
                <a:cubicBezTo>
                  <a:pt x="5045632" y="5913823"/>
                  <a:pt x="5046564" y="5912492"/>
                  <a:pt x="5047230" y="5910761"/>
                </a:cubicBezTo>
                <a:cubicBezTo>
                  <a:pt x="5048028" y="5909164"/>
                  <a:pt x="5048294" y="5907300"/>
                  <a:pt x="5048294" y="5905304"/>
                </a:cubicBezTo>
                <a:cubicBezTo>
                  <a:pt x="5048294" y="5903440"/>
                  <a:pt x="5047895" y="5901709"/>
                  <a:pt x="5047230" y="5900112"/>
                </a:cubicBezTo>
                <a:cubicBezTo>
                  <a:pt x="5046564" y="5898515"/>
                  <a:pt x="5045632" y="5897184"/>
                  <a:pt x="5044567" y="5895986"/>
                </a:cubicBezTo>
                <a:cubicBezTo>
                  <a:pt x="5043502" y="5894921"/>
                  <a:pt x="5042171" y="5893989"/>
                  <a:pt x="5040574" y="5893323"/>
                </a:cubicBezTo>
                <a:cubicBezTo>
                  <a:pt x="5039110" y="5892658"/>
                  <a:pt x="5037379" y="5892392"/>
                  <a:pt x="5035515" y="5892392"/>
                </a:cubicBezTo>
                <a:close/>
                <a:moveTo>
                  <a:pt x="4817870" y="5892392"/>
                </a:moveTo>
                <a:cubicBezTo>
                  <a:pt x="4812013" y="5892392"/>
                  <a:pt x="4809484" y="5894255"/>
                  <a:pt x="4807887" y="5895986"/>
                </a:cubicBezTo>
                <a:cubicBezTo>
                  <a:pt x="4805357" y="5898648"/>
                  <a:pt x="4804293" y="5901443"/>
                  <a:pt x="4804293" y="5905437"/>
                </a:cubicBezTo>
                <a:cubicBezTo>
                  <a:pt x="4804293" y="5909563"/>
                  <a:pt x="4805357" y="5912359"/>
                  <a:pt x="4807887" y="5914888"/>
                </a:cubicBezTo>
                <a:cubicBezTo>
                  <a:pt x="4809484" y="5916487"/>
                  <a:pt x="4812013" y="5918350"/>
                  <a:pt x="4817870" y="5918350"/>
                </a:cubicBezTo>
                <a:cubicBezTo>
                  <a:pt x="4820000" y="5918350"/>
                  <a:pt x="4821731" y="5918084"/>
                  <a:pt x="4823195" y="5917418"/>
                </a:cubicBezTo>
                <a:cubicBezTo>
                  <a:pt x="4824659" y="5916886"/>
                  <a:pt x="4825857" y="5916087"/>
                  <a:pt x="4826922" y="5915021"/>
                </a:cubicBezTo>
                <a:cubicBezTo>
                  <a:pt x="4827987" y="5913823"/>
                  <a:pt x="4828919" y="5912492"/>
                  <a:pt x="4829585" y="5910761"/>
                </a:cubicBezTo>
                <a:cubicBezTo>
                  <a:pt x="4830383" y="5909164"/>
                  <a:pt x="4830650" y="5907300"/>
                  <a:pt x="4830650" y="5905304"/>
                </a:cubicBezTo>
                <a:cubicBezTo>
                  <a:pt x="4830650" y="5903440"/>
                  <a:pt x="4830250" y="5901709"/>
                  <a:pt x="4829585" y="5900112"/>
                </a:cubicBezTo>
                <a:cubicBezTo>
                  <a:pt x="4828919" y="5898515"/>
                  <a:pt x="4827987" y="5897184"/>
                  <a:pt x="4826922" y="5895986"/>
                </a:cubicBezTo>
                <a:cubicBezTo>
                  <a:pt x="4825857" y="5894921"/>
                  <a:pt x="4824526" y="5893989"/>
                  <a:pt x="4822929" y="5893323"/>
                </a:cubicBezTo>
                <a:cubicBezTo>
                  <a:pt x="4821465" y="5892658"/>
                  <a:pt x="4819734" y="5892392"/>
                  <a:pt x="4817870" y="5892392"/>
                </a:cubicBezTo>
                <a:close/>
                <a:moveTo>
                  <a:pt x="4600226" y="5892392"/>
                </a:moveTo>
                <a:cubicBezTo>
                  <a:pt x="4594369" y="5892392"/>
                  <a:pt x="4591839" y="5894255"/>
                  <a:pt x="4590242" y="5895986"/>
                </a:cubicBezTo>
                <a:cubicBezTo>
                  <a:pt x="4587713" y="5898648"/>
                  <a:pt x="4586648" y="5901443"/>
                  <a:pt x="4586648" y="5905437"/>
                </a:cubicBezTo>
                <a:cubicBezTo>
                  <a:pt x="4586648" y="5909563"/>
                  <a:pt x="4587713" y="5912359"/>
                  <a:pt x="4590242" y="5914888"/>
                </a:cubicBezTo>
                <a:cubicBezTo>
                  <a:pt x="4591839" y="5916487"/>
                  <a:pt x="4594369" y="5918350"/>
                  <a:pt x="4600226" y="5918350"/>
                </a:cubicBezTo>
                <a:cubicBezTo>
                  <a:pt x="4602355" y="5918350"/>
                  <a:pt x="4604086" y="5918084"/>
                  <a:pt x="4605550" y="5917418"/>
                </a:cubicBezTo>
                <a:cubicBezTo>
                  <a:pt x="4607148" y="5916886"/>
                  <a:pt x="4608346" y="5916087"/>
                  <a:pt x="4609277" y="5915021"/>
                </a:cubicBezTo>
                <a:cubicBezTo>
                  <a:pt x="4610342" y="5913823"/>
                  <a:pt x="4611274" y="5912492"/>
                  <a:pt x="4611940" y="5910761"/>
                </a:cubicBezTo>
                <a:cubicBezTo>
                  <a:pt x="4612605" y="5909164"/>
                  <a:pt x="4613005" y="5907300"/>
                  <a:pt x="4613005" y="5905304"/>
                </a:cubicBezTo>
                <a:cubicBezTo>
                  <a:pt x="4613005" y="5903440"/>
                  <a:pt x="4612605" y="5901709"/>
                  <a:pt x="4611940" y="5900112"/>
                </a:cubicBezTo>
                <a:cubicBezTo>
                  <a:pt x="4611274" y="5898515"/>
                  <a:pt x="4610342" y="5897184"/>
                  <a:pt x="4609277" y="5895986"/>
                </a:cubicBezTo>
                <a:cubicBezTo>
                  <a:pt x="4608212" y="5894921"/>
                  <a:pt x="4606881" y="5893989"/>
                  <a:pt x="4605284" y="5893323"/>
                </a:cubicBezTo>
                <a:cubicBezTo>
                  <a:pt x="4603820" y="5892658"/>
                  <a:pt x="4602222" y="5892392"/>
                  <a:pt x="4600226" y="5892392"/>
                </a:cubicBezTo>
                <a:close/>
                <a:moveTo>
                  <a:pt x="4382713" y="5892392"/>
                </a:moveTo>
                <a:cubicBezTo>
                  <a:pt x="4376857" y="5892392"/>
                  <a:pt x="4374327" y="5894255"/>
                  <a:pt x="4372730" y="5895986"/>
                </a:cubicBezTo>
                <a:cubicBezTo>
                  <a:pt x="4370201" y="5898648"/>
                  <a:pt x="4369136" y="5901443"/>
                  <a:pt x="4369136" y="5905437"/>
                </a:cubicBezTo>
                <a:cubicBezTo>
                  <a:pt x="4369136" y="5909563"/>
                  <a:pt x="4370201" y="5912359"/>
                  <a:pt x="4372730" y="5914888"/>
                </a:cubicBezTo>
                <a:cubicBezTo>
                  <a:pt x="4374327" y="5916487"/>
                  <a:pt x="4376857" y="5918350"/>
                  <a:pt x="4382713" y="5918350"/>
                </a:cubicBezTo>
                <a:cubicBezTo>
                  <a:pt x="4384710" y="5918350"/>
                  <a:pt x="4386441" y="5918084"/>
                  <a:pt x="4388038" y="5917418"/>
                </a:cubicBezTo>
                <a:cubicBezTo>
                  <a:pt x="4389502" y="5916886"/>
                  <a:pt x="4390834" y="5916087"/>
                  <a:pt x="4391765" y="5915021"/>
                </a:cubicBezTo>
                <a:cubicBezTo>
                  <a:pt x="4392830" y="5913823"/>
                  <a:pt x="4393762" y="5912492"/>
                  <a:pt x="4394428" y="5910761"/>
                </a:cubicBezTo>
                <a:cubicBezTo>
                  <a:pt x="4395093" y="5909164"/>
                  <a:pt x="4395493" y="5907300"/>
                  <a:pt x="4395493" y="5905304"/>
                </a:cubicBezTo>
                <a:cubicBezTo>
                  <a:pt x="4395493" y="5903440"/>
                  <a:pt x="4395093" y="5901709"/>
                  <a:pt x="4394428" y="5900112"/>
                </a:cubicBezTo>
                <a:cubicBezTo>
                  <a:pt x="4393762" y="5898515"/>
                  <a:pt x="4392830" y="5897184"/>
                  <a:pt x="4391765" y="5895986"/>
                </a:cubicBezTo>
                <a:cubicBezTo>
                  <a:pt x="4390700" y="5894921"/>
                  <a:pt x="4389369" y="5893989"/>
                  <a:pt x="4387772" y="5893323"/>
                </a:cubicBezTo>
                <a:cubicBezTo>
                  <a:pt x="4386308" y="5892658"/>
                  <a:pt x="4384710" y="5892392"/>
                  <a:pt x="4382713" y="5892392"/>
                </a:cubicBezTo>
                <a:close/>
                <a:moveTo>
                  <a:pt x="4165068" y="5892392"/>
                </a:moveTo>
                <a:cubicBezTo>
                  <a:pt x="4159211" y="5892392"/>
                  <a:pt x="4156681" y="5894255"/>
                  <a:pt x="4155084" y="5895986"/>
                </a:cubicBezTo>
                <a:cubicBezTo>
                  <a:pt x="4152555" y="5898648"/>
                  <a:pt x="4151490" y="5901443"/>
                  <a:pt x="4151490" y="5905437"/>
                </a:cubicBezTo>
                <a:cubicBezTo>
                  <a:pt x="4151490" y="5909563"/>
                  <a:pt x="4152555" y="5912359"/>
                  <a:pt x="4155084" y="5914888"/>
                </a:cubicBezTo>
                <a:cubicBezTo>
                  <a:pt x="4156681" y="5916487"/>
                  <a:pt x="4159211" y="5918350"/>
                  <a:pt x="4165068" y="5918350"/>
                </a:cubicBezTo>
                <a:cubicBezTo>
                  <a:pt x="4167064" y="5918350"/>
                  <a:pt x="4168928" y="5918084"/>
                  <a:pt x="4170392" y="5917418"/>
                </a:cubicBezTo>
                <a:cubicBezTo>
                  <a:pt x="4171856" y="5916886"/>
                  <a:pt x="4173188" y="5916087"/>
                  <a:pt x="4174119" y="5915021"/>
                </a:cubicBezTo>
                <a:cubicBezTo>
                  <a:pt x="4175184" y="5913823"/>
                  <a:pt x="4176116" y="5912492"/>
                  <a:pt x="4176782" y="5910761"/>
                </a:cubicBezTo>
                <a:cubicBezTo>
                  <a:pt x="4177447" y="5909164"/>
                  <a:pt x="4177847" y="5907300"/>
                  <a:pt x="4177847" y="5905304"/>
                </a:cubicBezTo>
                <a:cubicBezTo>
                  <a:pt x="4177847" y="5903440"/>
                  <a:pt x="4177447" y="5901709"/>
                  <a:pt x="4176782" y="5900112"/>
                </a:cubicBezTo>
                <a:cubicBezTo>
                  <a:pt x="4176116" y="5898515"/>
                  <a:pt x="4175184" y="5897184"/>
                  <a:pt x="4174119" y="5895986"/>
                </a:cubicBezTo>
                <a:cubicBezTo>
                  <a:pt x="4173054" y="5894921"/>
                  <a:pt x="4171723" y="5893989"/>
                  <a:pt x="4170126" y="5893323"/>
                </a:cubicBezTo>
                <a:cubicBezTo>
                  <a:pt x="4168662" y="5892658"/>
                  <a:pt x="4167064" y="5892392"/>
                  <a:pt x="4165068" y="5892392"/>
                </a:cubicBezTo>
                <a:close/>
                <a:moveTo>
                  <a:pt x="3947744" y="5892392"/>
                </a:moveTo>
                <a:cubicBezTo>
                  <a:pt x="3941886" y="5892392"/>
                  <a:pt x="3939358" y="5894255"/>
                  <a:pt x="3937761" y="5895986"/>
                </a:cubicBezTo>
                <a:cubicBezTo>
                  <a:pt x="3935229" y="5898648"/>
                  <a:pt x="3934166" y="5901443"/>
                  <a:pt x="3934166" y="5905437"/>
                </a:cubicBezTo>
                <a:cubicBezTo>
                  <a:pt x="3934166" y="5909563"/>
                  <a:pt x="3935229" y="5912359"/>
                  <a:pt x="3937761" y="5914888"/>
                </a:cubicBezTo>
                <a:cubicBezTo>
                  <a:pt x="3939358" y="5916487"/>
                  <a:pt x="3941886" y="5918350"/>
                  <a:pt x="3947744" y="5918350"/>
                </a:cubicBezTo>
                <a:cubicBezTo>
                  <a:pt x="3949742" y="5918350"/>
                  <a:pt x="3951606" y="5918084"/>
                  <a:pt x="3953073" y="5917418"/>
                </a:cubicBezTo>
                <a:cubicBezTo>
                  <a:pt x="3954536" y="5916886"/>
                  <a:pt x="3955867" y="5916087"/>
                  <a:pt x="3956799" y="5915021"/>
                </a:cubicBezTo>
                <a:cubicBezTo>
                  <a:pt x="3957865" y="5913823"/>
                  <a:pt x="3958797" y="5912492"/>
                  <a:pt x="3959463" y="5910761"/>
                </a:cubicBezTo>
                <a:cubicBezTo>
                  <a:pt x="3960128" y="5909164"/>
                  <a:pt x="3960528" y="5907300"/>
                  <a:pt x="3960528" y="5905304"/>
                </a:cubicBezTo>
                <a:cubicBezTo>
                  <a:pt x="3960528" y="5903440"/>
                  <a:pt x="3960128" y="5901709"/>
                  <a:pt x="3959463" y="5900112"/>
                </a:cubicBezTo>
                <a:cubicBezTo>
                  <a:pt x="3958797" y="5898515"/>
                  <a:pt x="3957865" y="5897184"/>
                  <a:pt x="3956799" y="5895986"/>
                </a:cubicBezTo>
                <a:cubicBezTo>
                  <a:pt x="3955734" y="5894921"/>
                  <a:pt x="3954403" y="5893989"/>
                  <a:pt x="3952806" y="5893323"/>
                </a:cubicBezTo>
                <a:cubicBezTo>
                  <a:pt x="3951339" y="5892658"/>
                  <a:pt x="3949742" y="5892392"/>
                  <a:pt x="3947744" y="5892392"/>
                </a:cubicBezTo>
                <a:close/>
                <a:moveTo>
                  <a:pt x="3730085" y="5892392"/>
                </a:moveTo>
                <a:cubicBezTo>
                  <a:pt x="3724227" y="5892392"/>
                  <a:pt x="3721697" y="5894255"/>
                  <a:pt x="3720098" y="5895986"/>
                </a:cubicBezTo>
                <a:cubicBezTo>
                  <a:pt x="3717568" y="5898648"/>
                  <a:pt x="3716506" y="5901443"/>
                  <a:pt x="3716506" y="5905437"/>
                </a:cubicBezTo>
                <a:cubicBezTo>
                  <a:pt x="3716506" y="5909563"/>
                  <a:pt x="3717568" y="5912359"/>
                  <a:pt x="3720098" y="5914888"/>
                </a:cubicBezTo>
                <a:cubicBezTo>
                  <a:pt x="3721697" y="5916487"/>
                  <a:pt x="3724227" y="5918350"/>
                  <a:pt x="3730085" y="5918350"/>
                </a:cubicBezTo>
                <a:cubicBezTo>
                  <a:pt x="3732215" y="5918350"/>
                  <a:pt x="3733946" y="5918084"/>
                  <a:pt x="3735410" y="5917418"/>
                </a:cubicBezTo>
                <a:cubicBezTo>
                  <a:pt x="3736874" y="5916886"/>
                  <a:pt x="3738207" y="5916087"/>
                  <a:pt x="3739137" y="5915021"/>
                </a:cubicBezTo>
                <a:cubicBezTo>
                  <a:pt x="3740202" y="5913823"/>
                  <a:pt x="3741135" y="5912492"/>
                  <a:pt x="3741800" y="5910761"/>
                </a:cubicBezTo>
                <a:cubicBezTo>
                  <a:pt x="3742465" y="5909164"/>
                  <a:pt x="3742865" y="5907300"/>
                  <a:pt x="3742865" y="5905304"/>
                </a:cubicBezTo>
                <a:cubicBezTo>
                  <a:pt x="3742865" y="5903440"/>
                  <a:pt x="3742465" y="5901709"/>
                  <a:pt x="3741800" y="5900112"/>
                </a:cubicBezTo>
                <a:cubicBezTo>
                  <a:pt x="3741135" y="5898515"/>
                  <a:pt x="3740202" y="5897184"/>
                  <a:pt x="3739137" y="5895986"/>
                </a:cubicBezTo>
                <a:cubicBezTo>
                  <a:pt x="3738073" y="5894921"/>
                  <a:pt x="3736742" y="5893989"/>
                  <a:pt x="3735144" y="5893323"/>
                </a:cubicBezTo>
                <a:cubicBezTo>
                  <a:pt x="3733680" y="5892658"/>
                  <a:pt x="3732082" y="5892392"/>
                  <a:pt x="3730085" y="5892392"/>
                </a:cubicBezTo>
                <a:close/>
                <a:moveTo>
                  <a:pt x="3512423" y="5892392"/>
                </a:moveTo>
                <a:cubicBezTo>
                  <a:pt x="3506564" y="5892392"/>
                  <a:pt x="3504033" y="5894255"/>
                  <a:pt x="3502433" y="5895986"/>
                </a:cubicBezTo>
                <a:cubicBezTo>
                  <a:pt x="3499904" y="5898648"/>
                  <a:pt x="3498840" y="5901443"/>
                  <a:pt x="3498840" y="5905437"/>
                </a:cubicBezTo>
                <a:cubicBezTo>
                  <a:pt x="3498840" y="5909563"/>
                  <a:pt x="3499904" y="5912359"/>
                  <a:pt x="3502433" y="5914888"/>
                </a:cubicBezTo>
                <a:cubicBezTo>
                  <a:pt x="3504033" y="5916487"/>
                  <a:pt x="3506564" y="5918350"/>
                  <a:pt x="3512423" y="5918350"/>
                </a:cubicBezTo>
                <a:cubicBezTo>
                  <a:pt x="3514552" y="5918350"/>
                  <a:pt x="3516284" y="5918084"/>
                  <a:pt x="3517748" y="5917418"/>
                </a:cubicBezTo>
                <a:cubicBezTo>
                  <a:pt x="3519213" y="5916886"/>
                  <a:pt x="3520545" y="5916087"/>
                  <a:pt x="3521476" y="5915021"/>
                </a:cubicBezTo>
                <a:cubicBezTo>
                  <a:pt x="3522541" y="5913823"/>
                  <a:pt x="3523473" y="5912492"/>
                  <a:pt x="3524139" y="5910761"/>
                </a:cubicBezTo>
                <a:cubicBezTo>
                  <a:pt x="3524804" y="5909164"/>
                  <a:pt x="3525204" y="5907300"/>
                  <a:pt x="3525204" y="5905304"/>
                </a:cubicBezTo>
                <a:cubicBezTo>
                  <a:pt x="3525204" y="5903440"/>
                  <a:pt x="3524804" y="5901709"/>
                  <a:pt x="3524139" y="5900112"/>
                </a:cubicBezTo>
                <a:cubicBezTo>
                  <a:pt x="3523473" y="5898515"/>
                  <a:pt x="3522541" y="5897184"/>
                  <a:pt x="3521476" y="5895986"/>
                </a:cubicBezTo>
                <a:cubicBezTo>
                  <a:pt x="3520411" y="5894921"/>
                  <a:pt x="3519079" y="5893989"/>
                  <a:pt x="3517483" y="5893323"/>
                </a:cubicBezTo>
                <a:cubicBezTo>
                  <a:pt x="3516019" y="5892658"/>
                  <a:pt x="3514420" y="5892392"/>
                  <a:pt x="3512423" y="5892392"/>
                </a:cubicBezTo>
                <a:close/>
                <a:moveTo>
                  <a:pt x="3294894" y="5892392"/>
                </a:moveTo>
                <a:cubicBezTo>
                  <a:pt x="3289035" y="5892392"/>
                  <a:pt x="3286505" y="5894255"/>
                  <a:pt x="3284907" y="5895986"/>
                </a:cubicBezTo>
                <a:cubicBezTo>
                  <a:pt x="3282377" y="5898648"/>
                  <a:pt x="3281313" y="5901443"/>
                  <a:pt x="3281313" y="5905437"/>
                </a:cubicBezTo>
                <a:cubicBezTo>
                  <a:pt x="3281313" y="5909563"/>
                  <a:pt x="3282377" y="5912359"/>
                  <a:pt x="3284907" y="5914888"/>
                </a:cubicBezTo>
                <a:cubicBezTo>
                  <a:pt x="3286505" y="5916487"/>
                  <a:pt x="3289035" y="5918350"/>
                  <a:pt x="3294894" y="5918350"/>
                </a:cubicBezTo>
                <a:cubicBezTo>
                  <a:pt x="3296891" y="5918350"/>
                  <a:pt x="3298622" y="5918084"/>
                  <a:pt x="3300220" y="5917418"/>
                </a:cubicBezTo>
                <a:cubicBezTo>
                  <a:pt x="3301684" y="5916886"/>
                  <a:pt x="3303016" y="5916087"/>
                  <a:pt x="3303947" y="5915021"/>
                </a:cubicBezTo>
                <a:cubicBezTo>
                  <a:pt x="3305012" y="5913823"/>
                  <a:pt x="3305944" y="5912492"/>
                  <a:pt x="3306610" y="5910761"/>
                </a:cubicBezTo>
                <a:cubicBezTo>
                  <a:pt x="3307275" y="5909164"/>
                  <a:pt x="3307674" y="5907300"/>
                  <a:pt x="3307674" y="5905304"/>
                </a:cubicBezTo>
                <a:cubicBezTo>
                  <a:pt x="3307674" y="5903440"/>
                  <a:pt x="3307275" y="5901709"/>
                  <a:pt x="3306610" y="5900112"/>
                </a:cubicBezTo>
                <a:cubicBezTo>
                  <a:pt x="3305944" y="5898515"/>
                  <a:pt x="3305012" y="5897184"/>
                  <a:pt x="3303947" y="5895986"/>
                </a:cubicBezTo>
                <a:cubicBezTo>
                  <a:pt x="3302882" y="5894921"/>
                  <a:pt x="3301550" y="5893989"/>
                  <a:pt x="3299954" y="5893323"/>
                </a:cubicBezTo>
                <a:cubicBezTo>
                  <a:pt x="3298490" y="5892658"/>
                  <a:pt x="3296891" y="5892392"/>
                  <a:pt x="3294894" y="5892392"/>
                </a:cubicBezTo>
                <a:close/>
                <a:moveTo>
                  <a:pt x="3077366" y="5892392"/>
                </a:moveTo>
                <a:cubicBezTo>
                  <a:pt x="3071508" y="5892392"/>
                  <a:pt x="3068977" y="5894255"/>
                  <a:pt x="3067381" y="5895986"/>
                </a:cubicBezTo>
                <a:cubicBezTo>
                  <a:pt x="3064716" y="5898648"/>
                  <a:pt x="3063651" y="5901443"/>
                  <a:pt x="3063651" y="5905437"/>
                </a:cubicBezTo>
                <a:cubicBezTo>
                  <a:pt x="3063651" y="5909563"/>
                  <a:pt x="3064716" y="5912359"/>
                  <a:pt x="3067247" y="5914888"/>
                </a:cubicBezTo>
                <a:cubicBezTo>
                  <a:pt x="3068845" y="5916487"/>
                  <a:pt x="3071375" y="5918350"/>
                  <a:pt x="3077232" y="5918350"/>
                </a:cubicBezTo>
                <a:cubicBezTo>
                  <a:pt x="3079230" y="5918350"/>
                  <a:pt x="3080960" y="5918084"/>
                  <a:pt x="3082690" y="5917418"/>
                </a:cubicBezTo>
                <a:cubicBezTo>
                  <a:pt x="3084156" y="5916886"/>
                  <a:pt x="3085487" y="5916087"/>
                  <a:pt x="3086418" y="5915021"/>
                </a:cubicBezTo>
                <a:cubicBezTo>
                  <a:pt x="3087482" y="5913823"/>
                  <a:pt x="3088415" y="5912492"/>
                  <a:pt x="3089080" y="5910761"/>
                </a:cubicBezTo>
                <a:cubicBezTo>
                  <a:pt x="3089745" y="5909164"/>
                  <a:pt x="3090013" y="5907300"/>
                  <a:pt x="3090013" y="5905304"/>
                </a:cubicBezTo>
                <a:cubicBezTo>
                  <a:pt x="3090013" y="5903440"/>
                  <a:pt x="3089745" y="5901709"/>
                  <a:pt x="3089080" y="5900112"/>
                </a:cubicBezTo>
                <a:cubicBezTo>
                  <a:pt x="3088415" y="5898515"/>
                  <a:pt x="3087482" y="5897184"/>
                  <a:pt x="3086418" y="5895986"/>
                </a:cubicBezTo>
                <a:cubicBezTo>
                  <a:pt x="3085354" y="5894921"/>
                  <a:pt x="3084022" y="5893989"/>
                  <a:pt x="3082425" y="5893323"/>
                </a:cubicBezTo>
                <a:cubicBezTo>
                  <a:pt x="3080960" y="5892658"/>
                  <a:pt x="3079362" y="5892392"/>
                  <a:pt x="3077366" y="5892392"/>
                </a:cubicBezTo>
                <a:close/>
                <a:moveTo>
                  <a:pt x="2859571" y="5892392"/>
                </a:moveTo>
                <a:cubicBezTo>
                  <a:pt x="2853713" y="5892392"/>
                  <a:pt x="2851184" y="5894255"/>
                  <a:pt x="2849584" y="5895986"/>
                </a:cubicBezTo>
                <a:cubicBezTo>
                  <a:pt x="2847051" y="5898648"/>
                  <a:pt x="2845985" y="5901443"/>
                  <a:pt x="2845985" y="5905437"/>
                </a:cubicBezTo>
                <a:cubicBezTo>
                  <a:pt x="2845985" y="5909563"/>
                  <a:pt x="2847051" y="5912359"/>
                  <a:pt x="2849584" y="5914888"/>
                </a:cubicBezTo>
                <a:cubicBezTo>
                  <a:pt x="2851184" y="5916487"/>
                  <a:pt x="2853713" y="5918350"/>
                  <a:pt x="2859571" y="5918350"/>
                </a:cubicBezTo>
                <a:cubicBezTo>
                  <a:pt x="2861567" y="5918350"/>
                  <a:pt x="2863431" y="5918084"/>
                  <a:pt x="2864895" y="5917418"/>
                </a:cubicBezTo>
                <a:cubicBezTo>
                  <a:pt x="2866493" y="5916886"/>
                  <a:pt x="2867692" y="5916087"/>
                  <a:pt x="2868622" y="5915021"/>
                </a:cubicBezTo>
                <a:cubicBezTo>
                  <a:pt x="2869688" y="5913823"/>
                  <a:pt x="2870620" y="5912492"/>
                  <a:pt x="2871285" y="5910761"/>
                </a:cubicBezTo>
                <a:cubicBezTo>
                  <a:pt x="2871818" y="5909164"/>
                  <a:pt x="2872217" y="5907300"/>
                  <a:pt x="2872217" y="5905304"/>
                </a:cubicBezTo>
                <a:cubicBezTo>
                  <a:pt x="2872217" y="5903440"/>
                  <a:pt x="2871950" y="5901709"/>
                  <a:pt x="2871285" y="5900112"/>
                </a:cubicBezTo>
                <a:cubicBezTo>
                  <a:pt x="2870620" y="5898515"/>
                  <a:pt x="2869688" y="5897184"/>
                  <a:pt x="2868622" y="5895986"/>
                </a:cubicBezTo>
                <a:cubicBezTo>
                  <a:pt x="2867559" y="5894921"/>
                  <a:pt x="2866227" y="5893989"/>
                  <a:pt x="2864630" y="5893323"/>
                </a:cubicBezTo>
                <a:cubicBezTo>
                  <a:pt x="2863166" y="5892658"/>
                  <a:pt x="2861567" y="5892392"/>
                  <a:pt x="2859571" y="5892392"/>
                </a:cubicBezTo>
                <a:close/>
                <a:moveTo>
                  <a:pt x="2641908" y="5892392"/>
                </a:moveTo>
                <a:cubicBezTo>
                  <a:pt x="2636051" y="5892392"/>
                  <a:pt x="2633522" y="5894255"/>
                  <a:pt x="2631925" y="5895986"/>
                </a:cubicBezTo>
                <a:cubicBezTo>
                  <a:pt x="2629395" y="5898648"/>
                  <a:pt x="2628331" y="5901443"/>
                  <a:pt x="2628331" y="5905437"/>
                </a:cubicBezTo>
                <a:cubicBezTo>
                  <a:pt x="2628331" y="5909563"/>
                  <a:pt x="2629395" y="5912359"/>
                  <a:pt x="2631925" y="5914888"/>
                </a:cubicBezTo>
                <a:cubicBezTo>
                  <a:pt x="2633522" y="5916487"/>
                  <a:pt x="2636051" y="5918350"/>
                  <a:pt x="2641908" y="5918350"/>
                </a:cubicBezTo>
                <a:cubicBezTo>
                  <a:pt x="2643905" y="5918350"/>
                  <a:pt x="2645770" y="5918084"/>
                  <a:pt x="2647234" y="5917418"/>
                </a:cubicBezTo>
                <a:cubicBezTo>
                  <a:pt x="2648831" y="5916886"/>
                  <a:pt x="2650028" y="5916087"/>
                  <a:pt x="2650961" y="5915021"/>
                </a:cubicBezTo>
                <a:cubicBezTo>
                  <a:pt x="2652026" y="5913823"/>
                  <a:pt x="2652958" y="5912492"/>
                  <a:pt x="2653624" y="5910761"/>
                </a:cubicBezTo>
                <a:cubicBezTo>
                  <a:pt x="2654156" y="5909164"/>
                  <a:pt x="2654554" y="5907300"/>
                  <a:pt x="2654554" y="5905304"/>
                </a:cubicBezTo>
                <a:cubicBezTo>
                  <a:pt x="2654554" y="5903440"/>
                  <a:pt x="2654289" y="5901709"/>
                  <a:pt x="2653624" y="5900112"/>
                </a:cubicBezTo>
                <a:cubicBezTo>
                  <a:pt x="2652958" y="5898515"/>
                  <a:pt x="2652026" y="5897184"/>
                  <a:pt x="2650961" y="5895986"/>
                </a:cubicBezTo>
                <a:cubicBezTo>
                  <a:pt x="2649896" y="5894921"/>
                  <a:pt x="2648564" y="5893989"/>
                  <a:pt x="2646968" y="5893323"/>
                </a:cubicBezTo>
                <a:cubicBezTo>
                  <a:pt x="2645503" y="5892658"/>
                  <a:pt x="2643905" y="5892392"/>
                  <a:pt x="2641908" y="5892392"/>
                </a:cubicBezTo>
                <a:close/>
                <a:moveTo>
                  <a:pt x="2424246" y="5892392"/>
                </a:moveTo>
                <a:cubicBezTo>
                  <a:pt x="2418390" y="5892392"/>
                  <a:pt x="2415860" y="5894255"/>
                  <a:pt x="2414263" y="5895986"/>
                </a:cubicBezTo>
                <a:cubicBezTo>
                  <a:pt x="2411733" y="5898648"/>
                  <a:pt x="2410669" y="5901443"/>
                  <a:pt x="2410669" y="5905437"/>
                </a:cubicBezTo>
                <a:cubicBezTo>
                  <a:pt x="2410669" y="5909563"/>
                  <a:pt x="2411733" y="5912359"/>
                  <a:pt x="2414263" y="5914888"/>
                </a:cubicBezTo>
                <a:cubicBezTo>
                  <a:pt x="2415860" y="5916487"/>
                  <a:pt x="2418390" y="5918350"/>
                  <a:pt x="2424246" y="5918350"/>
                </a:cubicBezTo>
                <a:cubicBezTo>
                  <a:pt x="2426376" y="5918350"/>
                  <a:pt x="2428108" y="5918084"/>
                  <a:pt x="2429572" y="5917418"/>
                </a:cubicBezTo>
                <a:cubicBezTo>
                  <a:pt x="2431170" y="5916886"/>
                  <a:pt x="2432367" y="5916087"/>
                  <a:pt x="2433299" y="5915021"/>
                </a:cubicBezTo>
                <a:cubicBezTo>
                  <a:pt x="2434364" y="5913823"/>
                  <a:pt x="2435295" y="5912492"/>
                  <a:pt x="2435962" y="5910761"/>
                </a:cubicBezTo>
                <a:cubicBezTo>
                  <a:pt x="2436493" y="5909164"/>
                  <a:pt x="2436893" y="5907300"/>
                  <a:pt x="2436893" y="5905304"/>
                </a:cubicBezTo>
                <a:cubicBezTo>
                  <a:pt x="2436893" y="5903440"/>
                  <a:pt x="2436627" y="5901709"/>
                  <a:pt x="2435962" y="5900112"/>
                </a:cubicBezTo>
                <a:cubicBezTo>
                  <a:pt x="2435295" y="5898515"/>
                  <a:pt x="2434364" y="5897184"/>
                  <a:pt x="2433299" y="5895986"/>
                </a:cubicBezTo>
                <a:cubicBezTo>
                  <a:pt x="2432235" y="5894921"/>
                  <a:pt x="2430903" y="5893989"/>
                  <a:pt x="2429306" y="5893323"/>
                </a:cubicBezTo>
                <a:cubicBezTo>
                  <a:pt x="2427842" y="5892658"/>
                  <a:pt x="2426244" y="5892392"/>
                  <a:pt x="2424246" y="5892392"/>
                </a:cubicBezTo>
                <a:close/>
                <a:moveTo>
                  <a:pt x="2206585" y="5892392"/>
                </a:moveTo>
                <a:cubicBezTo>
                  <a:pt x="2200727" y="5892392"/>
                  <a:pt x="2198198" y="5894255"/>
                  <a:pt x="2196601" y="5895986"/>
                </a:cubicBezTo>
                <a:cubicBezTo>
                  <a:pt x="2194071" y="5898648"/>
                  <a:pt x="2193007" y="5901443"/>
                  <a:pt x="2193007" y="5905437"/>
                </a:cubicBezTo>
                <a:cubicBezTo>
                  <a:pt x="2193007" y="5909563"/>
                  <a:pt x="2194071" y="5912359"/>
                  <a:pt x="2196601" y="5914888"/>
                </a:cubicBezTo>
                <a:cubicBezTo>
                  <a:pt x="2198198" y="5916487"/>
                  <a:pt x="2200727" y="5918350"/>
                  <a:pt x="2206585" y="5918350"/>
                </a:cubicBezTo>
                <a:cubicBezTo>
                  <a:pt x="2208714" y="5918350"/>
                  <a:pt x="2210445" y="5918084"/>
                  <a:pt x="2211909" y="5917418"/>
                </a:cubicBezTo>
                <a:cubicBezTo>
                  <a:pt x="2213507" y="5916886"/>
                  <a:pt x="2214705" y="5916087"/>
                  <a:pt x="2215636" y="5915021"/>
                </a:cubicBezTo>
                <a:cubicBezTo>
                  <a:pt x="2216701" y="5913823"/>
                  <a:pt x="2217633" y="5912492"/>
                  <a:pt x="2218299" y="5910761"/>
                </a:cubicBezTo>
                <a:cubicBezTo>
                  <a:pt x="2218832" y="5909164"/>
                  <a:pt x="2219231" y="5907300"/>
                  <a:pt x="2219231" y="5905304"/>
                </a:cubicBezTo>
                <a:cubicBezTo>
                  <a:pt x="2219231" y="5903440"/>
                  <a:pt x="2218964" y="5901709"/>
                  <a:pt x="2218299" y="5900112"/>
                </a:cubicBezTo>
                <a:cubicBezTo>
                  <a:pt x="2217633" y="5898515"/>
                  <a:pt x="2216701" y="5897184"/>
                  <a:pt x="2215636" y="5895986"/>
                </a:cubicBezTo>
                <a:cubicBezTo>
                  <a:pt x="2214571" y="5894921"/>
                  <a:pt x="2213241" y="5893989"/>
                  <a:pt x="2211643" y="5893323"/>
                </a:cubicBezTo>
                <a:cubicBezTo>
                  <a:pt x="2210179" y="5892658"/>
                  <a:pt x="2208581" y="5892392"/>
                  <a:pt x="2206585" y="5892392"/>
                </a:cubicBezTo>
                <a:close/>
                <a:moveTo>
                  <a:pt x="1989055" y="5892392"/>
                </a:moveTo>
                <a:cubicBezTo>
                  <a:pt x="1983198" y="5892392"/>
                  <a:pt x="1980669" y="5894255"/>
                  <a:pt x="1979072" y="5895986"/>
                </a:cubicBezTo>
                <a:cubicBezTo>
                  <a:pt x="1976542" y="5898648"/>
                  <a:pt x="1975478" y="5901443"/>
                  <a:pt x="1975478" y="5905437"/>
                </a:cubicBezTo>
                <a:cubicBezTo>
                  <a:pt x="1975478" y="5909563"/>
                  <a:pt x="1976542" y="5912359"/>
                  <a:pt x="1979072" y="5914888"/>
                </a:cubicBezTo>
                <a:cubicBezTo>
                  <a:pt x="1980669" y="5916487"/>
                  <a:pt x="1983198" y="5918350"/>
                  <a:pt x="1989055" y="5918350"/>
                </a:cubicBezTo>
                <a:cubicBezTo>
                  <a:pt x="1991052" y="5918350"/>
                  <a:pt x="1992783" y="5918084"/>
                  <a:pt x="1994380" y="5917418"/>
                </a:cubicBezTo>
                <a:cubicBezTo>
                  <a:pt x="1995978" y="5916886"/>
                  <a:pt x="1997177" y="5916087"/>
                  <a:pt x="1998108" y="5915021"/>
                </a:cubicBezTo>
                <a:cubicBezTo>
                  <a:pt x="1999172" y="5913823"/>
                  <a:pt x="2000104" y="5912492"/>
                  <a:pt x="2000771" y="5910761"/>
                </a:cubicBezTo>
                <a:cubicBezTo>
                  <a:pt x="2001302" y="5909164"/>
                  <a:pt x="2001701" y="5907300"/>
                  <a:pt x="2001701" y="5905304"/>
                </a:cubicBezTo>
                <a:cubicBezTo>
                  <a:pt x="2001701" y="5903440"/>
                  <a:pt x="2001436" y="5901709"/>
                  <a:pt x="2000771" y="5900112"/>
                </a:cubicBezTo>
                <a:cubicBezTo>
                  <a:pt x="2000104" y="5898515"/>
                  <a:pt x="1999172" y="5897184"/>
                  <a:pt x="1998108" y="5895986"/>
                </a:cubicBezTo>
                <a:cubicBezTo>
                  <a:pt x="1997043" y="5894921"/>
                  <a:pt x="1995711" y="5893989"/>
                  <a:pt x="1994114" y="5893323"/>
                </a:cubicBezTo>
                <a:cubicBezTo>
                  <a:pt x="1992650" y="5892658"/>
                  <a:pt x="1991052" y="5892392"/>
                  <a:pt x="1989055" y="5892392"/>
                </a:cubicBezTo>
                <a:close/>
                <a:moveTo>
                  <a:pt x="1771422" y="5892392"/>
                </a:moveTo>
                <a:cubicBezTo>
                  <a:pt x="1765565" y="5892392"/>
                  <a:pt x="1763037" y="5894255"/>
                  <a:pt x="1761440" y="5895986"/>
                </a:cubicBezTo>
                <a:cubicBezTo>
                  <a:pt x="1758911" y="5898648"/>
                  <a:pt x="1757847" y="5901443"/>
                  <a:pt x="1757847" y="5905437"/>
                </a:cubicBezTo>
                <a:cubicBezTo>
                  <a:pt x="1757847" y="5909563"/>
                  <a:pt x="1758911" y="5912359"/>
                  <a:pt x="1761440" y="5914888"/>
                </a:cubicBezTo>
                <a:cubicBezTo>
                  <a:pt x="1763037" y="5916487"/>
                  <a:pt x="1765565" y="5918350"/>
                  <a:pt x="1771422" y="5918350"/>
                </a:cubicBezTo>
                <a:cubicBezTo>
                  <a:pt x="1773420" y="5918350"/>
                  <a:pt x="1775283" y="5918084"/>
                  <a:pt x="1776747" y="5917418"/>
                </a:cubicBezTo>
                <a:cubicBezTo>
                  <a:pt x="1778211" y="5916886"/>
                  <a:pt x="1779541" y="5916087"/>
                  <a:pt x="1780473" y="5915021"/>
                </a:cubicBezTo>
                <a:cubicBezTo>
                  <a:pt x="1781538" y="5913823"/>
                  <a:pt x="1782470" y="5912492"/>
                  <a:pt x="1783136" y="5910761"/>
                </a:cubicBezTo>
                <a:cubicBezTo>
                  <a:pt x="1783801" y="5909164"/>
                  <a:pt x="1784201" y="5907300"/>
                  <a:pt x="1784201" y="5905304"/>
                </a:cubicBezTo>
                <a:cubicBezTo>
                  <a:pt x="1784201" y="5903440"/>
                  <a:pt x="1783801" y="5901709"/>
                  <a:pt x="1783136" y="5900112"/>
                </a:cubicBezTo>
                <a:cubicBezTo>
                  <a:pt x="1782470" y="5898515"/>
                  <a:pt x="1781538" y="5897184"/>
                  <a:pt x="1780473" y="5895986"/>
                </a:cubicBezTo>
                <a:cubicBezTo>
                  <a:pt x="1779408" y="5894921"/>
                  <a:pt x="1778078" y="5893989"/>
                  <a:pt x="1776481" y="5893323"/>
                </a:cubicBezTo>
                <a:cubicBezTo>
                  <a:pt x="1775016" y="5892658"/>
                  <a:pt x="1773420" y="5892392"/>
                  <a:pt x="1771422" y="5892392"/>
                </a:cubicBezTo>
                <a:close/>
                <a:moveTo>
                  <a:pt x="1553786" y="5892392"/>
                </a:moveTo>
                <a:cubicBezTo>
                  <a:pt x="1547928" y="5892392"/>
                  <a:pt x="1545399" y="5894255"/>
                  <a:pt x="1543803" y="5895986"/>
                </a:cubicBezTo>
                <a:cubicBezTo>
                  <a:pt x="1541273" y="5898648"/>
                  <a:pt x="1540208" y="5901443"/>
                  <a:pt x="1540208" y="5905437"/>
                </a:cubicBezTo>
                <a:cubicBezTo>
                  <a:pt x="1540208" y="5909563"/>
                  <a:pt x="1541273" y="5912359"/>
                  <a:pt x="1543803" y="5914888"/>
                </a:cubicBezTo>
                <a:cubicBezTo>
                  <a:pt x="1545399" y="5916487"/>
                  <a:pt x="1547928" y="5918350"/>
                  <a:pt x="1553786" y="5918350"/>
                </a:cubicBezTo>
                <a:cubicBezTo>
                  <a:pt x="1555783" y="5918350"/>
                  <a:pt x="1557646" y="5918084"/>
                  <a:pt x="1559110" y="5917418"/>
                </a:cubicBezTo>
                <a:cubicBezTo>
                  <a:pt x="1560574" y="5916886"/>
                  <a:pt x="1561906" y="5916087"/>
                  <a:pt x="1562837" y="5915021"/>
                </a:cubicBezTo>
                <a:cubicBezTo>
                  <a:pt x="1563902" y="5913823"/>
                  <a:pt x="1564834" y="5912492"/>
                  <a:pt x="1565500" y="5910761"/>
                </a:cubicBezTo>
                <a:cubicBezTo>
                  <a:pt x="1566165" y="5909164"/>
                  <a:pt x="1566566" y="5907300"/>
                  <a:pt x="1566566" y="5905304"/>
                </a:cubicBezTo>
                <a:cubicBezTo>
                  <a:pt x="1566566" y="5903440"/>
                  <a:pt x="1566165" y="5901709"/>
                  <a:pt x="1565500" y="5900112"/>
                </a:cubicBezTo>
                <a:cubicBezTo>
                  <a:pt x="1564834" y="5898515"/>
                  <a:pt x="1563902" y="5897184"/>
                  <a:pt x="1562837" y="5895986"/>
                </a:cubicBezTo>
                <a:cubicBezTo>
                  <a:pt x="1561772" y="5894921"/>
                  <a:pt x="1560442" y="5893989"/>
                  <a:pt x="1558844" y="5893323"/>
                </a:cubicBezTo>
                <a:cubicBezTo>
                  <a:pt x="1557380" y="5892658"/>
                  <a:pt x="1555783" y="5892392"/>
                  <a:pt x="1553786" y="5892392"/>
                </a:cubicBezTo>
                <a:close/>
                <a:moveTo>
                  <a:pt x="1336143" y="5892392"/>
                </a:moveTo>
                <a:cubicBezTo>
                  <a:pt x="1330284" y="5892392"/>
                  <a:pt x="1327755" y="5894255"/>
                  <a:pt x="1326159" y="5895986"/>
                </a:cubicBezTo>
                <a:cubicBezTo>
                  <a:pt x="1323628" y="5898648"/>
                  <a:pt x="1322564" y="5901443"/>
                  <a:pt x="1322564" y="5905437"/>
                </a:cubicBezTo>
                <a:cubicBezTo>
                  <a:pt x="1322564" y="5909563"/>
                  <a:pt x="1323628" y="5912359"/>
                  <a:pt x="1326159" y="5914888"/>
                </a:cubicBezTo>
                <a:cubicBezTo>
                  <a:pt x="1327755" y="5916487"/>
                  <a:pt x="1330284" y="5918350"/>
                  <a:pt x="1336143" y="5918350"/>
                </a:cubicBezTo>
                <a:cubicBezTo>
                  <a:pt x="1338272" y="5918350"/>
                  <a:pt x="1340002" y="5918084"/>
                  <a:pt x="1341469" y="5917418"/>
                </a:cubicBezTo>
                <a:cubicBezTo>
                  <a:pt x="1342932" y="5916886"/>
                  <a:pt x="1344264" y="5916087"/>
                  <a:pt x="1345196" y="5915021"/>
                </a:cubicBezTo>
                <a:cubicBezTo>
                  <a:pt x="1346260" y="5913823"/>
                  <a:pt x="1347193" y="5912492"/>
                  <a:pt x="1347858" y="5910761"/>
                </a:cubicBezTo>
                <a:cubicBezTo>
                  <a:pt x="1348524" y="5909164"/>
                  <a:pt x="1348924" y="5907300"/>
                  <a:pt x="1348924" y="5905304"/>
                </a:cubicBezTo>
                <a:cubicBezTo>
                  <a:pt x="1348924" y="5903440"/>
                  <a:pt x="1348524" y="5901709"/>
                  <a:pt x="1347858" y="5900112"/>
                </a:cubicBezTo>
                <a:cubicBezTo>
                  <a:pt x="1347193" y="5898515"/>
                  <a:pt x="1346260" y="5897184"/>
                  <a:pt x="1345196" y="5895986"/>
                </a:cubicBezTo>
                <a:cubicBezTo>
                  <a:pt x="1344131" y="5894921"/>
                  <a:pt x="1342800" y="5893989"/>
                  <a:pt x="1341201" y="5893323"/>
                </a:cubicBezTo>
                <a:cubicBezTo>
                  <a:pt x="1339737" y="5892658"/>
                  <a:pt x="1338138" y="5892392"/>
                  <a:pt x="1336143" y="5892392"/>
                </a:cubicBezTo>
                <a:close/>
                <a:moveTo>
                  <a:pt x="1118630" y="5892392"/>
                </a:moveTo>
                <a:cubicBezTo>
                  <a:pt x="1112771" y="5892392"/>
                  <a:pt x="1110242" y="5894255"/>
                  <a:pt x="1108645" y="5895986"/>
                </a:cubicBezTo>
                <a:cubicBezTo>
                  <a:pt x="1105982" y="5898648"/>
                  <a:pt x="1104917" y="5901443"/>
                  <a:pt x="1104917" y="5905437"/>
                </a:cubicBezTo>
                <a:cubicBezTo>
                  <a:pt x="1104917" y="5909563"/>
                  <a:pt x="1105982" y="5912359"/>
                  <a:pt x="1108512" y="5914888"/>
                </a:cubicBezTo>
                <a:cubicBezTo>
                  <a:pt x="1110109" y="5916487"/>
                  <a:pt x="1112638" y="5918350"/>
                  <a:pt x="1118497" y="5918350"/>
                </a:cubicBezTo>
                <a:cubicBezTo>
                  <a:pt x="1120627" y="5918350"/>
                  <a:pt x="1122358" y="5918084"/>
                  <a:pt x="1123953" y="5917418"/>
                </a:cubicBezTo>
                <a:cubicBezTo>
                  <a:pt x="1125419" y="5916886"/>
                  <a:pt x="1126755" y="5916087"/>
                  <a:pt x="1127684" y="5915021"/>
                </a:cubicBezTo>
                <a:cubicBezTo>
                  <a:pt x="1128750" y="5913823"/>
                  <a:pt x="1129681" y="5912492"/>
                  <a:pt x="1130348" y="5910761"/>
                </a:cubicBezTo>
                <a:cubicBezTo>
                  <a:pt x="1131012" y="5909164"/>
                  <a:pt x="1131413" y="5907300"/>
                  <a:pt x="1131413" y="5905304"/>
                </a:cubicBezTo>
                <a:cubicBezTo>
                  <a:pt x="1131413" y="5903440"/>
                  <a:pt x="1131012" y="5901709"/>
                  <a:pt x="1130348" y="5900112"/>
                </a:cubicBezTo>
                <a:cubicBezTo>
                  <a:pt x="1129681" y="5898515"/>
                  <a:pt x="1128750" y="5897184"/>
                  <a:pt x="1127684" y="5895986"/>
                </a:cubicBezTo>
                <a:cubicBezTo>
                  <a:pt x="1126619" y="5894921"/>
                  <a:pt x="1125287" y="5893989"/>
                  <a:pt x="1123688" y="5893323"/>
                </a:cubicBezTo>
                <a:cubicBezTo>
                  <a:pt x="1122225" y="5892658"/>
                  <a:pt x="1120627" y="5892392"/>
                  <a:pt x="1118630" y="5892392"/>
                </a:cubicBezTo>
                <a:close/>
                <a:moveTo>
                  <a:pt x="901118" y="5892392"/>
                </a:moveTo>
                <a:cubicBezTo>
                  <a:pt x="895260" y="5892392"/>
                  <a:pt x="892731" y="5894255"/>
                  <a:pt x="891133" y="5895986"/>
                </a:cubicBezTo>
                <a:cubicBezTo>
                  <a:pt x="888471" y="5898648"/>
                  <a:pt x="887407" y="5901443"/>
                  <a:pt x="887407" y="5905437"/>
                </a:cubicBezTo>
                <a:cubicBezTo>
                  <a:pt x="887407" y="5909563"/>
                  <a:pt x="888471" y="5912359"/>
                  <a:pt x="891001" y="5914888"/>
                </a:cubicBezTo>
                <a:cubicBezTo>
                  <a:pt x="892598" y="5916487"/>
                  <a:pt x="895127" y="5918350"/>
                  <a:pt x="900984" y="5918350"/>
                </a:cubicBezTo>
                <a:cubicBezTo>
                  <a:pt x="902981" y="5918350"/>
                  <a:pt x="904712" y="5918084"/>
                  <a:pt x="906442" y="5917418"/>
                </a:cubicBezTo>
                <a:cubicBezTo>
                  <a:pt x="907906" y="5916886"/>
                  <a:pt x="909238" y="5916087"/>
                  <a:pt x="910170" y="5915021"/>
                </a:cubicBezTo>
                <a:cubicBezTo>
                  <a:pt x="911234" y="5913823"/>
                  <a:pt x="912166" y="5912492"/>
                  <a:pt x="912832" y="5910761"/>
                </a:cubicBezTo>
                <a:cubicBezTo>
                  <a:pt x="913497" y="5909164"/>
                  <a:pt x="913897" y="5907300"/>
                  <a:pt x="913897" y="5905304"/>
                </a:cubicBezTo>
                <a:cubicBezTo>
                  <a:pt x="913897" y="5903440"/>
                  <a:pt x="913497" y="5901709"/>
                  <a:pt x="912832" y="5900112"/>
                </a:cubicBezTo>
                <a:cubicBezTo>
                  <a:pt x="912166" y="5898515"/>
                  <a:pt x="911234" y="5897184"/>
                  <a:pt x="910170" y="5895986"/>
                </a:cubicBezTo>
                <a:cubicBezTo>
                  <a:pt x="909105" y="5894921"/>
                  <a:pt x="907773" y="5893989"/>
                  <a:pt x="906176" y="5893323"/>
                </a:cubicBezTo>
                <a:cubicBezTo>
                  <a:pt x="904712" y="5892658"/>
                  <a:pt x="903114" y="5892392"/>
                  <a:pt x="901118" y="5892392"/>
                </a:cubicBezTo>
                <a:close/>
                <a:moveTo>
                  <a:pt x="683344" y="5892392"/>
                </a:moveTo>
                <a:cubicBezTo>
                  <a:pt x="677487" y="5892392"/>
                  <a:pt x="674958" y="5894255"/>
                  <a:pt x="673361" y="5895986"/>
                </a:cubicBezTo>
                <a:cubicBezTo>
                  <a:pt x="670831" y="5898648"/>
                  <a:pt x="669767" y="5901443"/>
                  <a:pt x="669767" y="5905437"/>
                </a:cubicBezTo>
                <a:cubicBezTo>
                  <a:pt x="669767" y="5909563"/>
                  <a:pt x="670831" y="5912359"/>
                  <a:pt x="673361" y="5914888"/>
                </a:cubicBezTo>
                <a:cubicBezTo>
                  <a:pt x="674958" y="5916487"/>
                  <a:pt x="677487" y="5918350"/>
                  <a:pt x="683344" y="5918350"/>
                </a:cubicBezTo>
                <a:cubicBezTo>
                  <a:pt x="685341" y="5918350"/>
                  <a:pt x="687205" y="5918084"/>
                  <a:pt x="688669" y="5917418"/>
                </a:cubicBezTo>
                <a:cubicBezTo>
                  <a:pt x="690133" y="5916886"/>
                  <a:pt x="691465" y="5916087"/>
                  <a:pt x="692396" y="5915021"/>
                </a:cubicBezTo>
                <a:cubicBezTo>
                  <a:pt x="693461" y="5913823"/>
                  <a:pt x="694393" y="5912492"/>
                  <a:pt x="695059" y="5910761"/>
                </a:cubicBezTo>
                <a:cubicBezTo>
                  <a:pt x="695724" y="5909164"/>
                  <a:pt x="696124" y="5907300"/>
                  <a:pt x="696124" y="5905304"/>
                </a:cubicBezTo>
                <a:cubicBezTo>
                  <a:pt x="696124" y="5903440"/>
                  <a:pt x="695724" y="5901709"/>
                  <a:pt x="695059" y="5900112"/>
                </a:cubicBezTo>
                <a:cubicBezTo>
                  <a:pt x="694393" y="5898515"/>
                  <a:pt x="693461" y="5897184"/>
                  <a:pt x="692396" y="5895986"/>
                </a:cubicBezTo>
                <a:cubicBezTo>
                  <a:pt x="691331" y="5894921"/>
                  <a:pt x="690000" y="5893989"/>
                  <a:pt x="688403" y="5893323"/>
                </a:cubicBezTo>
                <a:cubicBezTo>
                  <a:pt x="686939" y="5892658"/>
                  <a:pt x="685341" y="5892392"/>
                  <a:pt x="683344" y="5892392"/>
                </a:cubicBezTo>
                <a:close/>
                <a:moveTo>
                  <a:pt x="465703" y="5892392"/>
                </a:moveTo>
                <a:cubicBezTo>
                  <a:pt x="459846" y="5892392"/>
                  <a:pt x="457317" y="5894255"/>
                  <a:pt x="455720" y="5895986"/>
                </a:cubicBezTo>
                <a:cubicBezTo>
                  <a:pt x="453190" y="5898648"/>
                  <a:pt x="452126" y="5901443"/>
                  <a:pt x="452126" y="5905437"/>
                </a:cubicBezTo>
                <a:cubicBezTo>
                  <a:pt x="452126" y="5909563"/>
                  <a:pt x="453190" y="5912359"/>
                  <a:pt x="455720" y="5914888"/>
                </a:cubicBezTo>
                <a:cubicBezTo>
                  <a:pt x="457317" y="5916487"/>
                  <a:pt x="459846" y="5918350"/>
                  <a:pt x="465703" y="5918350"/>
                </a:cubicBezTo>
                <a:cubicBezTo>
                  <a:pt x="467700" y="5918350"/>
                  <a:pt x="469564" y="5918084"/>
                  <a:pt x="471028" y="5917418"/>
                </a:cubicBezTo>
                <a:cubicBezTo>
                  <a:pt x="472492" y="5916886"/>
                  <a:pt x="473823" y="5916087"/>
                  <a:pt x="474755" y="5915021"/>
                </a:cubicBezTo>
                <a:cubicBezTo>
                  <a:pt x="475820" y="5913823"/>
                  <a:pt x="476752" y="5912492"/>
                  <a:pt x="477418" y="5910761"/>
                </a:cubicBezTo>
                <a:cubicBezTo>
                  <a:pt x="478083" y="5909164"/>
                  <a:pt x="478483" y="5907300"/>
                  <a:pt x="478483" y="5905304"/>
                </a:cubicBezTo>
                <a:cubicBezTo>
                  <a:pt x="478483" y="5903440"/>
                  <a:pt x="478083" y="5901709"/>
                  <a:pt x="477418" y="5900112"/>
                </a:cubicBezTo>
                <a:cubicBezTo>
                  <a:pt x="476752" y="5898515"/>
                  <a:pt x="475820" y="5897184"/>
                  <a:pt x="474755" y="5895986"/>
                </a:cubicBezTo>
                <a:cubicBezTo>
                  <a:pt x="473690" y="5894921"/>
                  <a:pt x="472359" y="5893989"/>
                  <a:pt x="470762" y="5893323"/>
                </a:cubicBezTo>
                <a:cubicBezTo>
                  <a:pt x="469298" y="5892658"/>
                  <a:pt x="467700" y="5892392"/>
                  <a:pt x="465703" y="5892392"/>
                </a:cubicBezTo>
                <a:close/>
                <a:moveTo>
                  <a:pt x="248061" y="5892392"/>
                </a:moveTo>
                <a:cubicBezTo>
                  <a:pt x="242205" y="5892392"/>
                  <a:pt x="239676" y="5894255"/>
                  <a:pt x="238079" y="5895986"/>
                </a:cubicBezTo>
                <a:cubicBezTo>
                  <a:pt x="235549" y="5898648"/>
                  <a:pt x="234486" y="5901443"/>
                  <a:pt x="234486" y="5905437"/>
                </a:cubicBezTo>
                <a:cubicBezTo>
                  <a:pt x="234486" y="5909563"/>
                  <a:pt x="235549" y="5912359"/>
                  <a:pt x="238079" y="5914888"/>
                </a:cubicBezTo>
                <a:cubicBezTo>
                  <a:pt x="239676" y="5916487"/>
                  <a:pt x="242205" y="5918350"/>
                  <a:pt x="248061" y="5918350"/>
                </a:cubicBezTo>
                <a:cubicBezTo>
                  <a:pt x="250191" y="5918350"/>
                  <a:pt x="251922" y="5918084"/>
                  <a:pt x="253386" y="5917418"/>
                </a:cubicBezTo>
                <a:cubicBezTo>
                  <a:pt x="254850" y="5916886"/>
                  <a:pt x="256181" y="5916087"/>
                  <a:pt x="257113" y="5915021"/>
                </a:cubicBezTo>
                <a:cubicBezTo>
                  <a:pt x="258178" y="5913823"/>
                  <a:pt x="259110" y="5912492"/>
                  <a:pt x="259776" y="5910761"/>
                </a:cubicBezTo>
                <a:cubicBezTo>
                  <a:pt x="260441" y="5909164"/>
                  <a:pt x="260841" y="5907300"/>
                  <a:pt x="260841" y="5905304"/>
                </a:cubicBezTo>
                <a:cubicBezTo>
                  <a:pt x="260841" y="5903440"/>
                  <a:pt x="260441" y="5901709"/>
                  <a:pt x="259776" y="5900112"/>
                </a:cubicBezTo>
                <a:cubicBezTo>
                  <a:pt x="259110" y="5898515"/>
                  <a:pt x="258178" y="5897184"/>
                  <a:pt x="257113" y="5895986"/>
                </a:cubicBezTo>
                <a:cubicBezTo>
                  <a:pt x="256048" y="5894921"/>
                  <a:pt x="254717" y="5893989"/>
                  <a:pt x="253120" y="5893323"/>
                </a:cubicBezTo>
                <a:cubicBezTo>
                  <a:pt x="251655" y="5892658"/>
                  <a:pt x="250058" y="5892392"/>
                  <a:pt x="248061" y="5892392"/>
                </a:cubicBezTo>
                <a:close/>
                <a:moveTo>
                  <a:pt x="30420" y="5892392"/>
                </a:moveTo>
                <a:cubicBezTo>
                  <a:pt x="24563" y="5892392"/>
                  <a:pt x="22034" y="5894255"/>
                  <a:pt x="20437" y="5895986"/>
                </a:cubicBezTo>
                <a:cubicBezTo>
                  <a:pt x="17907" y="5898648"/>
                  <a:pt x="16844" y="5901443"/>
                  <a:pt x="16844" y="5905437"/>
                </a:cubicBezTo>
                <a:cubicBezTo>
                  <a:pt x="16844" y="5909563"/>
                  <a:pt x="17907" y="5912359"/>
                  <a:pt x="20437" y="5914888"/>
                </a:cubicBezTo>
                <a:cubicBezTo>
                  <a:pt x="22034" y="5916487"/>
                  <a:pt x="24563" y="5918350"/>
                  <a:pt x="30420" y="5918350"/>
                </a:cubicBezTo>
                <a:cubicBezTo>
                  <a:pt x="32550" y="5918350"/>
                  <a:pt x="34281" y="5918084"/>
                  <a:pt x="35745" y="5917418"/>
                </a:cubicBezTo>
                <a:cubicBezTo>
                  <a:pt x="37209" y="5916886"/>
                  <a:pt x="38541" y="5916087"/>
                  <a:pt x="39472" y="5915021"/>
                </a:cubicBezTo>
                <a:cubicBezTo>
                  <a:pt x="40537" y="5913823"/>
                  <a:pt x="41469" y="5912492"/>
                  <a:pt x="42135" y="5910761"/>
                </a:cubicBezTo>
                <a:cubicBezTo>
                  <a:pt x="42800" y="5909164"/>
                  <a:pt x="43066" y="5907300"/>
                  <a:pt x="43066" y="5905304"/>
                </a:cubicBezTo>
                <a:cubicBezTo>
                  <a:pt x="43066" y="5903440"/>
                  <a:pt x="42800" y="5901709"/>
                  <a:pt x="42135" y="5900112"/>
                </a:cubicBezTo>
                <a:cubicBezTo>
                  <a:pt x="41469" y="5898515"/>
                  <a:pt x="40537" y="5897184"/>
                  <a:pt x="39472" y="5895986"/>
                </a:cubicBezTo>
                <a:cubicBezTo>
                  <a:pt x="38407" y="5894921"/>
                  <a:pt x="37076" y="5893989"/>
                  <a:pt x="35479" y="5893323"/>
                </a:cubicBezTo>
                <a:cubicBezTo>
                  <a:pt x="34015" y="5892658"/>
                  <a:pt x="32417" y="5892392"/>
                  <a:pt x="30420" y="5892392"/>
                </a:cubicBezTo>
                <a:close/>
                <a:moveTo>
                  <a:pt x="10475977" y="5875752"/>
                </a:moveTo>
                <a:cubicBezTo>
                  <a:pt x="10480237" y="5875752"/>
                  <a:pt x="10484230" y="5876551"/>
                  <a:pt x="10487824" y="5878281"/>
                </a:cubicBezTo>
                <a:cubicBezTo>
                  <a:pt x="10491419" y="5879879"/>
                  <a:pt x="10494613" y="5882008"/>
                  <a:pt x="10497143" y="5884671"/>
                </a:cubicBezTo>
                <a:cubicBezTo>
                  <a:pt x="10499672" y="5887200"/>
                  <a:pt x="10501801" y="5890394"/>
                  <a:pt x="10503266" y="5893989"/>
                </a:cubicBezTo>
                <a:cubicBezTo>
                  <a:pt x="10504730" y="5897583"/>
                  <a:pt x="10505529" y="5901443"/>
                  <a:pt x="10505529" y="5905437"/>
                </a:cubicBezTo>
                <a:cubicBezTo>
                  <a:pt x="10505529" y="5909563"/>
                  <a:pt x="10504730" y="5913557"/>
                  <a:pt x="10503266" y="5917152"/>
                </a:cubicBezTo>
                <a:cubicBezTo>
                  <a:pt x="10501669" y="5920746"/>
                  <a:pt x="10499672" y="5923808"/>
                  <a:pt x="10497143" y="5926470"/>
                </a:cubicBezTo>
                <a:cubicBezTo>
                  <a:pt x="10494480" y="5929132"/>
                  <a:pt x="10491419" y="5931262"/>
                  <a:pt x="10487824" y="5932727"/>
                </a:cubicBezTo>
                <a:cubicBezTo>
                  <a:pt x="10484098" y="5934191"/>
                  <a:pt x="10480237" y="5934989"/>
                  <a:pt x="10475977" y="5934989"/>
                </a:cubicBezTo>
                <a:cubicBezTo>
                  <a:pt x="10466924" y="5934989"/>
                  <a:pt x="10459736" y="5932061"/>
                  <a:pt x="10454145" y="5926470"/>
                </a:cubicBezTo>
                <a:cubicBezTo>
                  <a:pt x="10448554" y="5920879"/>
                  <a:pt x="10445759" y="5913823"/>
                  <a:pt x="10445759" y="5905304"/>
                </a:cubicBezTo>
                <a:cubicBezTo>
                  <a:pt x="10445759" y="5897050"/>
                  <a:pt x="10448554" y="5889995"/>
                  <a:pt x="10454145" y="5884271"/>
                </a:cubicBezTo>
                <a:cubicBezTo>
                  <a:pt x="10459603" y="5878547"/>
                  <a:pt x="10466924" y="5875752"/>
                  <a:pt x="10475977" y="5875752"/>
                </a:cubicBezTo>
                <a:close/>
                <a:moveTo>
                  <a:pt x="10258466" y="5875752"/>
                </a:moveTo>
                <a:cubicBezTo>
                  <a:pt x="10262592" y="5875752"/>
                  <a:pt x="10266586" y="5876551"/>
                  <a:pt x="10270313" y="5878281"/>
                </a:cubicBezTo>
                <a:cubicBezTo>
                  <a:pt x="10273907" y="5879879"/>
                  <a:pt x="10277101" y="5882008"/>
                  <a:pt x="10279631" y="5884671"/>
                </a:cubicBezTo>
                <a:cubicBezTo>
                  <a:pt x="10282160" y="5887200"/>
                  <a:pt x="10284290" y="5890394"/>
                  <a:pt x="10285754" y="5893989"/>
                </a:cubicBezTo>
                <a:cubicBezTo>
                  <a:pt x="10287218" y="5897583"/>
                  <a:pt x="10288017" y="5901443"/>
                  <a:pt x="10288017" y="5905437"/>
                </a:cubicBezTo>
                <a:cubicBezTo>
                  <a:pt x="10288017" y="5909563"/>
                  <a:pt x="10287218" y="5913557"/>
                  <a:pt x="10285754" y="5917152"/>
                </a:cubicBezTo>
                <a:cubicBezTo>
                  <a:pt x="10284157" y="5920746"/>
                  <a:pt x="10282160" y="5923808"/>
                  <a:pt x="10279631" y="5926470"/>
                </a:cubicBezTo>
                <a:cubicBezTo>
                  <a:pt x="10276969" y="5929132"/>
                  <a:pt x="10273907" y="5931262"/>
                  <a:pt x="10270313" y="5932727"/>
                </a:cubicBezTo>
                <a:cubicBezTo>
                  <a:pt x="10266586" y="5934191"/>
                  <a:pt x="10262725" y="5934989"/>
                  <a:pt x="10258466" y="5934989"/>
                </a:cubicBezTo>
                <a:cubicBezTo>
                  <a:pt x="10249546" y="5934989"/>
                  <a:pt x="10242224" y="5932061"/>
                  <a:pt x="10236633" y="5926470"/>
                </a:cubicBezTo>
                <a:cubicBezTo>
                  <a:pt x="10231043" y="5920879"/>
                  <a:pt x="10228247" y="5913823"/>
                  <a:pt x="10228247" y="5905304"/>
                </a:cubicBezTo>
                <a:cubicBezTo>
                  <a:pt x="10228247" y="5897050"/>
                  <a:pt x="10231043" y="5889995"/>
                  <a:pt x="10236633" y="5884271"/>
                </a:cubicBezTo>
                <a:cubicBezTo>
                  <a:pt x="10242092" y="5878547"/>
                  <a:pt x="10249413" y="5875752"/>
                  <a:pt x="10258466" y="5875752"/>
                </a:cubicBezTo>
                <a:close/>
                <a:moveTo>
                  <a:pt x="10040820" y="5875752"/>
                </a:moveTo>
                <a:cubicBezTo>
                  <a:pt x="10045080" y="5875752"/>
                  <a:pt x="10048941" y="5876551"/>
                  <a:pt x="10052534" y="5878281"/>
                </a:cubicBezTo>
                <a:cubicBezTo>
                  <a:pt x="10056129" y="5879879"/>
                  <a:pt x="10059323" y="5882008"/>
                  <a:pt x="10061852" y="5884671"/>
                </a:cubicBezTo>
                <a:cubicBezTo>
                  <a:pt x="10064382" y="5887200"/>
                  <a:pt x="10066512" y="5890394"/>
                  <a:pt x="10067976" y="5893989"/>
                </a:cubicBezTo>
                <a:cubicBezTo>
                  <a:pt x="10069440" y="5897583"/>
                  <a:pt x="10070239" y="5901443"/>
                  <a:pt x="10070239" y="5905437"/>
                </a:cubicBezTo>
                <a:cubicBezTo>
                  <a:pt x="10070239" y="5909563"/>
                  <a:pt x="10069440" y="5913557"/>
                  <a:pt x="10067976" y="5917152"/>
                </a:cubicBezTo>
                <a:cubicBezTo>
                  <a:pt x="10066379" y="5920746"/>
                  <a:pt x="10064382" y="5923808"/>
                  <a:pt x="10061852" y="5926470"/>
                </a:cubicBezTo>
                <a:cubicBezTo>
                  <a:pt x="10059190" y="5929132"/>
                  <a:pt x="10056129" y="5931262"/>
                  <a:pt x="10052534" y="5932727"/>
                </a:cubicBezTo>
                <a:cubicBezTo>
                  <a:pt x="10048941" y="5934191"/>
                  <a:pt x="10045080" y="5934989"/>
                  <a:pt x="10040820" y="5934989"/>
                </a:cubicBezTo>
                <a:cubicBezTo>
                  <a:pt x="10031767" y="5934989"/>
                  <a:pt x="10024579" y="5932061"/>
                  <a:pt x="10018988" y="5926470"/>
                </a:cubicBezTo>
                <a:cubicBezTo>
                  <a:pt x="10013397" y="5920879"/>
                  <a:pt x="10010602" y="5913823"/>
                  <a:pt x="10010602" y="5905304"/>
                </a:cubicBezTo>
                <a:cubicBezTo>
                  <a:pt x="10010602" y="5897050"/>
                  <a:pt x="10013397" y="5889995"/>
                  <a:pt x="10018988" y="5884271"/>
                </a:cubicBezTo>
                <a:cubicBezTo>
                  <a:pt x="10024579" y="5878547"/>
                  <a:pt x="10031767" y="5875752"/>
                  <a:pt x="10040820" y="5875752"/>
                </a:cubicBezTo>
                <a:close/>
                <a:moveTo>
                  <a:pt x="9823176" y="5875752"/>
                </a:moveTo>
                <a:cubicBezTo>
                  <a:pt x="9827435" y="5875752"/>
                  <a:pt x="9831296" y="5876551"/>
                  <a:pt x="9834890" y="5878281"/>
                </a:cubicBezTo>
                <a:cubicBezTo>
                  <a:pt x="9838617" y="5879879"/>
                  <a:pt x="9841679" y="5882008"/>
                  <a:pt x="9844208" y="5884671"/>
                </a:cubicBezTo>
                <a:cubicBezTo>
                  <a:pt x="9846737" y="5887200"/>
                  <a:pt x="9848867" y="5890394"/>
                  <a:pt x="9850331" y="5893989"/>
                </a:cubicBezTo>
                <a:cubicBezTo>
                  <a:pt x="9851796" y="5897583"/>
                  <a:pt x="9852595" y="5901443"/>
                  <a:pt x="9852595" y="5905437"/>
                </a:cubicBezTo>
                <a:cubicBezTo>
                  <a:pt x="9852595" y="5909563"/>
                  <a:pt x="9851796" y="5913557"/>
                  <a:pt x="9850331" y="5917152"/>
                </a:cubicBezTo>
                <a:cubicBezTo>
                  <a:pt x="9848734" y="5920746"/>
                  <a:pt x="9846737" y="5923808"/>
                  <a:pt x="9844208" y="5926470"/>
                </a:cubicBezTo>
                <a:cubicBezTo>
                  <a:pt x="9841546" y="5929132"/>
                  <a:pt x="9838484" y="5931262"/>
                  <a:pt x="9834890" y="5932727"/>
                </a:cubicBezTo>
                <a:cubicBezTo>
                  <a:pt x="9831296" y="5934191"/>
                  <a:pt x="9827435" y="5934989"/>
                  <a:pt x="9823176" y="5934989"/>
                </a:cubicBezTo>
                <a:cubicBezTo>
                  <a:pt x="9814123" y="5934989"/>
                  <a:pt x="9806935" y="5932061"/>
                  <a:pt x="9801343" y="5926470"/>
                </a:cubicBezTo>
                <a:cubicBezTo>
                  <a:pt x="9795753" y="5920879"/>
                  <a:pt x="9792957" y="5913823"/>
                  <a:pt x="9792957" y="5905304"/>
                </a:cubicBezTo>
                <a:cubicBezTo>
                  <a:pt x="9792957" y="5897050"/>
                  <a:pt x="9795753" y="5889995"/>
                  <a:pt x="9801343" y="5884271"/>
                </a:cubicBezTo>
                <a:cubicBezTo>
                  <a:pt x="9806935" y="5878547"/>
                  <a:pt x="9814123" y="5875752"/>
                  <a:pt x="9823176" y="5875752"/>
                </a:cubicBezTo>
                <a:close/>
                <a:moveTo>
                  <a:pt x="9605531" y="5875752"/>
                </a:moveTo>
                <a:cubicBezTo>
                  <a:pt x="9609790" y="5875752"/>
                  <a:pt x="9613784" y="5876551"/>
                  <a:pt x="9617245" y="5878281"/>
                </a:cubicBezTo>
                <a:cubicBezTo>
                  <a:pt x="9620839" y="5879879"/>
                  <a:pt x="9624033" y="5882008"/>
                  <a:pt x="9626562" y="5884671"/>
                </a:cubicBezTo>
                <a:cubicBezTo>
                  <a:pt x="9629092" y="5887200"/>
                  <a:pt x="9631222" y="5890394"/>
                  <a:pt x="9632686" y="5893989"/>
                </a:cubicBezTo>
                <a:cubicBezTo>
                  <a:pt x="9634150" y="5897583"/>
                  <a:pt x="9634949" y="5901443"/>
                  <a:pt x="9634949" y="5905437"/>
                </a:cubicBezTo>
                <a:cubicBezTo>
                  <a:pt x="9634949" y="5909563"/>
                  <a:pt x="9634150" y="5913557"/>
                  <a:pt x="9632686" y="5917152"/>
                </a:cubicBezTo>
                <a:cubicBezTo>
                  <a:pt x="9631089" y="5920746"/>
                  <a:pt x="9629092" y="5923808"/>
                  <a:pt x="9626562" y="5926470"/>
                </a:cubicBezTo>
                <a:cubicBezTo>
                  <a:pt x="9623901" y="5929132"/>
                  <a:pt x="9620839" y="5931262"/>
                  <a:pt x="9617245" y="5932727"/>
                </a:cubicBezTo>
                <a:cubicBezTo>
                  <a:pt x="9613651" y="5934191"/>
                  <a:pt x="9609790" y="5934989"/>
                  <a:pt x="9605531" y="5934989"/>
                </a:cubicBezTo>
                <a:cubicBezTo>
                  <a:pt x="9596610" y="5934989"/>
                  <a:pt x="9589289" y="5932061"/>
                  <a:pt x="9583698" y="5926470"/>
                </a:cubicBezTo>
                <a:cubicBezTo>
                  <a:pt x="9578108" y="5920879"/>
                  <a:pt x="9575312" y="5913823"/>
                  <a:pt x="9575312" y="5905304"/>
                </a:cubicBezTo>
                <a:cubicBezTo>
                  <a:pt x="9575312" y="5897050"/>
                  <a:pt x="9578108" y="5889995"/>
                  <a:pt x="9583698" y="5884271"/>
                </a:cubicBezTo>
                <a:cubicBezTo>
                  <a:pt x="9589289" y="5878547"/>
                  <a:pt x="9596478" y="5875752"/>
                  <a:pt x="9605531" y="5875752"/>
                </a:cubicBezTo>
                <a:close/>
                <a:moveTo>
                  <a:pt x="9387885" y="5875752"/>
                </a:moveTo>
                <a:cubicBezTo>
                  <a:pt x="9392145" y="5875752"/>
                  <a:pt x="9396138" y="5876551"/>
                  <a:pt x="9399599" y="5878281"/>
                </a:cubicBezTo>
                <a:cubicBezTo>
                  <a:pt x="9403194" y="5879879"/>
                  <a:pt x="9406388" y="5882008"/>
                  <a:pt x="9408917" y="5884671"/>
                </a:cubicBezTo>
                <a:cubicBezTo>
                  <a:pt x="9411447" y="5887200"/>
                  <a:pt x="9413576" y="5890394"/>
                  <a:pt x="9415041" y="5893989"/>
                </a:cubicBezTo>
                <a:cubicBezTo>
                  <a:pt x="9416505" y="5897583"/>
                  <a:pt x="9417304" y="5901443"/>
                  <a:pt x="9417304" y="5905437"/>
                </a:cubicBezTo>
                <a:cubicBezTo>
                  <a:pt x="9417304" y="5909563"/>
                  <a:pt x="9416505" y="5913557"/>
                  <a:pt x="9415041" y="5917152"/>
                </a:cubicBezTo>
                <a:cubicBezTo>
                  <a:pt x="9413444" y="5920746"/>
                  <a:pt x="9411447" y="5923808"/>
                  <a:pt x="9408917" y="5926470"/>
                </a:cubicBezTo>
                <a:cubicBezTo>
                  <a:pt x="9406255" y="5929132"/>
                  <a:pt x="9403194" y="5931262"/>
                  <a:pt x="9399599" y="5932727"/>
                </a:cubicBezTo>
                <a:cubicBezTo>
                  <a:pt x="9396005" y="5934191"/>
                  <a:pt x="9392145" y="5934989"/>
                  <a:pt x="9387885" y="5934989"/>
                </a:cubicBezTo>
                <a:cubicBezTo>
                  <a:pt x="9378965" y="5934989"/>
                  <a:pt x="9371644" y="5932061"/>
                  <a:pt x="9366053" y="5926470"/>
                </a:cubicBezTo>
                <a:cubicBezTo>
                  <a:pt x="9360462" y="5920879"/>
                  <a:pt x="9357667" y="5913823"/>
                  <a:pt x="9357667" y="5905304"/>
                </a:cubicBezTo>
                <a:cubicBezTo>
                  <a:pt x="9357667" y="5897050"/>
                  <a:pt x="9360462" y="5889995"/>
                  <a:pt x="9366053" y="5884271"/>
                </a:cubicBezTo>
                <a:cubicBezTo>
                  <a:pt x="9371644" y="5878547"/>
                  <a:pt x="9378832" y="5875752"/>
                  <a:pt x="9387885" y="5875752"/>
                </a:cubicBezTo>
                <a:close/>
                <a:moveTo>
                  <a:pt x="9170374" y="5875752"/>
                </a:moveTo>
                <a:cubicBezTo>
                  <a:pt x="9174500" y="5875752"/>
                  <a:pt x="9178494" y="5876551"/>
                  <a:pt x="9182088" y="5878281"/>
                </a:cubicBezTo>
                <a:cubicBezTo>
                  <a:pt x="9185682" y="5879879"/>
                  <a:pt x="9188876" y="5882008"/>
                  <a:pt x="9191405" y="5884671"/>
                </a:cubicBezTo>
                <a:cubicBezTo>
                  <a:pt x="9193935" y="5887200"/>
                  <a:pt x="9196065" y="5890394"/>
                  <a:pt x="9197529" y="5893989"/>
                </a:cubicBezTo>
                <a:cubicBezTo>
                  <a:pt x="9198993" y="5897583"/>
                  <a:pt x="9199792" y="5901443"/>
                  <a:pt x="9199792" y="5905437"/>
                </a:cubicBezTo>
                <a:cubicBezTo>
                  <a:pt x="9199792" y="5909563"/>
                  <a:pt x="9198993" y="5913557"/>
                  <a:pt x="9197529" y="5917152"/>
                </a:cubicBezTo>
                <a:cubicBezTo>
                  <a:pt x="9195932" y="5920746"/>
                  <a:pt x="9193935" y="5923808"/>
                  <a:pt x="9191405" y="5926470"/>
                </a:cubicBezTo>
                <a:cubicBezTo>
                  <a:pt x="9188744" y="5929132"/>
                  <a:pt x="9185682" y="5931262"/>
                  <a:pt x="9182088" y="5932727"/>
                </a:cubicBezTo>
                <a:cubicBezTo>
                  <a:pt x="9178494" y="5934191"/>
                  <a:pt x="9174633" y="5934989"/>
                  <a:pt x="9170374" y="5934989"/>
                </a:cubicBezTo>
                <a:cubicBezTo>
                  <a:pt x="9161453" y="5934989"/>
                  <a:pt x="9154132" y="5932061"/>
                  <a:pt x="9148541" y="5926470"/>
                </a:cubicBezTo>
                <a:cubicBezTo>
                  <a:pt x="9142951" y="5920879"/>
                  <a:pt x="9140155" y="5913823"/>
                  <a:pt x="9140155" y="5905304"/>
                </a:cubicBezTo>
                <a:cubicBezTo>
                  <a:pt x="9140155" y="5897050"/>
                  <a:pt x="9142951" y="5889995"/>
                  <a:pt x="9148541" y="5884271"/>
                </a:cubicBezTo>
                <a:cubicBezTo>
                  <a:pt x="9154132" y="5878547"/>
                  <a:pt x="9161321" y="5875752"/>
                  <a:pt x="9170374" y="5875752"/>
                </a:cubicBezTo>
                <a:close/>
                <a:moveTo>
                  <a:pt x="8952728" y="5875752"/>
                </a:moveTo>
                <a:cubicBezTo>
                  <a:pt x="8956988" y="5875752"/>
                  <a:pt x="8960849" y="5876551"/>
                  <a:pt x="8964442" y="5878281"/>
                </a:cubicBezTo>
                <a:cubicBezTo>
                  <a:pt x="8968037" y="5879879"/>
                  <a:pt x="8971231" y="5882008"/>
                  <a:pt x="8973760" y="5884671"/>
                </a:cubicBezTo>
                <a:cubicBezTo>
                  <a:pt x="8976290" y="5887200"/>
                  <a:pt x="8978419" y="5890394"/>
                  <a:pt x="8979884" y="5893989"/>
                </a:cubicBezTo>
                <a:cubicBezTo>
                  <a:pt x="8981348" y="5897583"/>
                  <a:pt x="8982147" y="5901443"/>
                  <a:pt x="8982147" y="5905437"/>
                </a:cubicBezTo>
                <a:cubicBezTo>
                  <a:pt x="8982147" y="5909563"/>
                  <a:pt x="8981348" y="5913557"/>
                  <a:pt x="8979884" y="5917152"/>
                </a:cubicBezTo>
                <a:cubicBezTo>
                  <a:pt x="8978287" y="5920746"/>
                  <a:pt x="8976290" y="5923808"/>
                  <a:pt x="8973760" y="5926470"/>
                </a:cubicBezTo>
                <a:cubicBezTo>
                  <a:pt x="8971098" y="5929132"/>
                  <a:pt x="8968037" y="5931262"/>
                  <a:pt x="8964442" y="5932727"/>
                </a:cubicBezTo>
                <a:cubicBezTo>
                  <a:pt x="8960849" y="5934191"/>
                  <a:pt x="8956988" y="5934989"/>
                  <a:pt x="8952728" y="5934989"/>
                </a:cubicBezTo>
                <a:cubicBezTo>
                  <a:pt x="8943808" y="5934989"/>
                  <a:pt x="8936487" y="5932061"/>
                  <a:pt x="8930896" y="5926470"/>
                </a:cubicBezTo>
                <a:cubicBezTo>
                  <a:pt x="8925305" y="5920879"/>
                  <a:pt x="8922510" y="5913823"/>
                  <a:pt x="8922510" y="5905304"/>
                </a:cubicBezTo>
                <a:cubicBezTo>
                  <a:pt x="8922510" y="5897050"/>
                  <a:pt x="8925305" y="5889995"/>
                  <a:pt x="8930896" y="5884271"/>
                </a:cubicBezTo>
                <a:cubicBezTo>
                  <a:pt x="8936487" y="5878547"/>
                  <a:pt x="8943675" y="5875752"/>
                  <a:pt x="8952728" y="5875752"/>
                </a:cubicBezTo>
                <a:close/>
                <a:moveTo>
                  <a:pt x="8735083" y="5875752"/>
                </a:moveTo>
                <a:cubicBezTo>
                  <a:pt x="8739342" y="5875752"/>
                  <a:pt x="8743203" y="5876551"/>
                  <a:pt x="8746797" y="5878281"/>
                </a:cubicBezTo>
                <a:cubicBezTo>
                  <a:pt x="8750391" y="5879879"/>
                  <a:pt x="8753586" y="5882008"/>
                  <a:pt x="8756115" y="5884671"/>
                </a:cubicBezTo>
                <a:cubicBezTo>
                  <a:pt x="8758644" y="5887200"/>
                  <a:pt x="8760774" y="5890394"/>
                  <a:pt x="8762238" y="5893989"/>
                </a:cubicBezTo>
                <a:cubicBezTo>
                  <a:pt x="8763702" y="5897583"/>
                  <a:pt x="8764502" y="5901443"/>
                  <a:pt x="8764502" y="5905437"/>
                </a:cubicBezTo>
                <a:cubicBezTo>
                  <a:pt x="8764502" y="5909563"/>
                  <a:pt x="8763702" y="5913557"/>
                  <a:pt x="8762238" y="5917152"/>
                </a:cubicBezTo>
                <a:cubicBezTo>
                  <a:pt x="8760641" y="5920746"/>
                  <a:pt x="8758644" y="5923808"/>
                  <a:pt x="8756115" y="5926470"/>
                </a:cubicBezTo>
                <a:cubicBezTo>
                  <a:pt x="8753453" y="5929132"/>
                  <a:pt x="8750391" y="5931262"/>
                  <a:pt x="8746797" y="5932727"/>
                </a:cubicBezTo>
                <a:cubicBezTo>
                  <a:pt x="8743203" y="5934191"/>
                  <a:pt x="8739342" y="5934989"/>
                  <a:pt x="8735083" y="5934989"/>
                </a:cubicBezTo>
                <a:cubicBezTo>
                  <a:pt x="8726030" y="5934989"/>
                  <a:pt x="8718841" y="5932061"/>
                  <a:pt x="8713250" y="5926470"/>
                </a:cubicBezTo>
                <a:cubicBezTo>
                  <a:pt x="8707660" y="5920879"/>
                  <a:pt x="8704864" y="5913823"/>
                  <a:pt x="8704864" y="5905304"/>
                </a:cubicBezTo>
                <a:cubicBezTo>
                  <a:pt x="8704864" y="5897050"/>
                  <a:pt x="8707660" y="5889995"/>
                  <a:pt x="8713250" y="5884271"/>
                </a:cubicBezTo>
                <a:cubicBezTo>
                  <a:pt x="8718841" y="5878547"/>
                  <a:pt x="8726030" y="5875752"/>
                  <a:pt x="8735083" y="5875752"/>
                </a:cubicBezTo>
                <a:close/>
                <a:moveTo>
                  <a:pt x="8517438" y="5875752"/>
                </a:moveTo>
                <a:cubicBezTo>
                  <a:pt x="8521698" y="5875752"/>
                  <a:pt x="8525559" y="5876551"/>
                  <a:pt x="8529152" y="5878281"/>
                </a:cubicBezTo>
                <a:cubicBezTo>
                  <a:pt x="8532880" y="5879879"/>
                  <a:pt x="8535941" y="5882008"/>
                  <a:pt x="8538470" y="5884671"/>
                </a:cubicBezTo>
                <a:cubicBezTo>
                  <a:pt x="8541000" y="5887200"/>
                  <a:pt x="8543130" y="5890394"/>
                  <a:pt x="8544594" y="5893989"/>
                </a:cubicBezTo>
                <a:cubicBezTo>
                  <a:pt x="8546058" y="5897583"/>
                  <a:pt x="8546857" y="5901443"/>
                  <a:pt x="8546857" y="5905437"/>
                </a:cubicBezTo>
                <a:cubicBezTo>
                  <a:pt x="8546857" y="5909563"/>
                  <a:pt x="8546058" y="5913557"/>
                  <a:pt x="8544594" y="5917152"/>
                </a:cubicBezTo>
                <a:cubicBezTo>
                  <a:pt x="8542997" y="5920746"/>
                  <a:pt x="8541000" y="5923808"/>
                  <a:pt x="8538470" y="5926470"/>
                </a:cubicBezTo>
                <a:cubicBezTo>
                  <a:pt x="8535808" y="5929132"/>
                  <a:pt x="8532747" y="5931262"/>
                  <a:pt x="8529152" y="5932727"/>
                </a:cubicBezTo>
                <a:cubicBezTo>
                  <a:pt x="8525559" y="5934191"/>
                  <a:pt x="8521698" y="5934989"/>
                  <a:pt x="8517438" y="5934989"/>
                </a:cubicBezTo>
                <a:cubicBezTo>
                  <a:pt x="8508385" y="5934989"/>
                  <a:pt x="8501197" y="5932061"/>
                  <a:pt x="8495606" y="5926470"/>
                </a:cubicBezTo>
                <a:cubicBezTo>
                  <a:pt x="8490015" y="5920879"/>
                  <a:pt x="8487220" y="5913823"/>
                  <a:pt x="8487220" y="5905304"/>
                </a:cubicBezTo>
                <a:cubicBezTo>
                  <a:pt x="8487220" y="5897050"/>
                  <a:pt x="8490015" y="5889995"/>
                  <a:pt x="8495606" y="5884271"/>
                </a:cubicBezTo>
                <a:cubicBezTo>
                  <a:pt x="8501197" y="5878547"/>
                  <a:pt x="8508385" y="5875752"/>
                  <a:pt x="8517438" y="5875752"/>
                </a:cubicBezTo>
                <a:close/>
                <a:moveTo>
                  <a:pt x="8299793" y="5875752"/>
                </a:moveTo>
                <a:cubicBezTo>
                  <a:pt x="8304052" y="5875752"/>
                  <a:pt x="8308046" y="5876551"/>
                  <a:pt x="8311507" y="5878281"/>
                </a:cubicBezTo>
                <a:cubicBezTo>
                  <a:pt x="8315235" y="5879879"/>
                  <a:pt x="8318296" y="5882008"/>
                  <a:pt x="8320825" y="5884671"/>
                </a:cubicBezTo>
                <a:cubicBezTo>
                  <a:pt x="8323354" y="5887200"/>
                  <a:pt x="8325484" y="5890394"/>
                  <a:pt x="8326948" y="5893989"/>
                </a:cubicBezTo>
                <a:cubicBezTo>
                  <a:pt x="8328413" y="5897583"/>
                  <a:pt x="8329212" y="5901443"/>
                  <a:pt x="8329212" y="5905437"/>
                </a:cubicBezTo>
                <a:cubicBezTo>
                  <a:pt x="8329212" y="5909563"/>
                  <a:pt x="8328413" y="5913557"/>
                  <a:pt x="8326948" y="5917152"/>
                </a:cubicBezTo>
                <a:cubicBezTo>
                  <a:pt x="8325351" y="5920746"/>
                  <a:pt x="8323354" y="5923808"/>
                  <a:pt x="8320825" y="5926470"/>
                </a:cubicBezTo>
                <a:cubicBezTo>
                  <a:pt x="8318163" y="5929132"/>
                  <a:pt x="8315101" y="5931262"/>
                  <a:pt x="8311507" y="5932727"/>
                </a:cubicBezTo>
                <a:cubicBezTo>
                  <a:pt x="8307913" y="5934191"/>
                  <a:pt x="8304052" y="5934989"/>
                  <a:pt x="8299793" y="5934989"/>
                </a:cubicBezTo>
                <a:cubicBezTo>
                  <a:pt x="8290874" y="5934989"/>
                  <a:pt x="8283553" y="5932061"/>
                  <a:pt x="8277960" y="5926470"/>
                </a:cubicBezTo>
                <a:cubicBezTo>
                  <a:pt x="8272370" y="5920879"/>
                  <a:pt x="8269574" y="5913823"/>
                  <a:pt x="8269574" y="5905304"/>
                </a:cubicBezTo>
                <a:cubicBezTo>
                  <a:pt x="8269574" y="5897050"/>
                  <a:pt x="8272370" y="5889995"/>
                  <a:pt x="8277960" y="5884271"/>
                </a:cubicBezTo>
                <a:cubicBezTo>
                  <a:pt x="8283553" y="5878547"/>
                  <a:pt x="8290741" y="5875752"/>
                  <a:pt x="8299793" y="5875752"/>
                </a:cubicBezTo>
                <a:close/>
                <a:moveTo>
                  <a:pt x="8082281" y="5875752"/>
                </a:moveTo>
                <a:cubicBezTo>
                  <a:pt x="8086407" y="5875752"/>
                  <a:pt x="8090401" y="5876551"/>
                  <a:pt x="8094127" y="5878281"/>
                </a:cubicBezTo>
                <a:cubicBezTo>
                  <a:pt x="8097855" y="5879879"/>
                  <a:pt x="8100916" y="5882008"/>
                  <a:pt x="8103446" y="5884671"/>
                </a:cubicBezTo>
                <a:cubicBezTo>
                  <a:pt x="8105975" y="5887200"/>
                  <a:pt x="8108104" y="5890394"/>
                  <a:pt x="8109569" y="5893989"/>
                </a:cubicBezTo>
                <a:cubicBezTo>
                  <a:pt x="8111033" y="5897583"/>
                  <a:pt x="8111832" y="5901443"/>
                  <a:pt x="8111832" y="5905437"/>
                </a:cubicBezTo>
                <a:cubicBezTo>
                  <a:pt x="8111832" y="5909563"/>
                  <a:pt x="8111033" y="5913557"/>
                  <a:pt x="8109569" y="5917152"/>
                </a:cubicBezTo>
                <a:cubicBezTo>
                  <a:pt x="8107972" y="5920746"/>
                  <a:pt x="8105975" y="5923808"/>
                  <a:pt x="8103446" y="5926470"/>
                </a:cubicBezTo>
                <a:cubicBezTo>
                  <a:pt x="8100783" y="5929132"/>
                  <a:pt x="8097722" y="5931262"/>
                  <a:pt x="8094127" y="5932727"/>
                </a:cubicBezTo>
                <a:cubicBezTo>
                  <a:pt x="8090401" y="5934191"/>
                  <a:pt x="8086540" y="5934989"/>
                  <a:pt x="8082281" y="5934989"/>
                </a:cubicBezTo>
                <a:cubicBezTo>
                  <a:pt x="8073361" y="5934989"/>
                  <a:pt x="8066040" y="5932061"/>
                  <a:pt x="8060448" y="5926470"/>
                </a:cubicBezTo>
                <a:cubicBezTo>
                  <a:pt x="8054857" y="5920879"/>
                  <a:pt x="8052062" y="5913823"/>
                  <a:pt x="8052062" y="5905304"/>
                </a:cubicBezTo>
                <a:cubicBezTo>
                  <a:pt x="8052062" y="5897050"/>
                  <a:pt x="8054857" y="5889995"/>
                  <a:pt x="8060448" y="5884271"/>
                </a:cubicBezTo>
                <a:cubicBezTo>
                  <a:pt x="8066040" y="5878547"/>
                  <a:pt x="8073228" y="5875752"/>
                  <a:pt x="8082281" y="5875752"/>
                </a:cubicBezTo>
                <a:close/>
                <a:moveTo>
                  <a:pt x="7864636" y="5875752"/>
                </a:moveTo>
                <a:cubicBezTo>
                  <a:pt x="7868762" y="5875752"/>
                  <a:pt x="7872756" y="5876551"/>
                  <a:pt x="7876483" y="5878281"/>
                </a:cubicBezTo>
                <a:cubicBezTo>
                  <a:pt x="7880210" y="5879879"/>
                  <a:pt x="7883272" y="5882008"/>
                  <a:pt x="7885802" y="5884671"/>
                </a:cubicBezTo>
                <a:cubicBezTo>
                  <a:pt x="7888331" y="5887200"/>
                  <a:pt x="7890460" y="5890394"/>
                  <a:pt x="7891924" y="5893989"/>
                </a:cubicBezTo>
                <a:cubicBezTo>
                  <a:pt x="7893389" y="5897583"/>
                  <a:pt x="7894188" y="5901443"/>
                  <a:pt x="7894188" y="5905437"/>
                </a:cubicBezTo>
                <a:cubicBezTo>
                  <a:pt x="7894188" y="5909563"/>
                  <a:pt x="7893389" y="5913557"/>
                  <a:pt x="7891924" y="5917152"/>
                </a:cubicBezTo>
                <a:cubicBezTo>
                  <a:pt x="7890327" y="5920746"/>
                  <a:pt x="7888331" y="5923808"/>
                  <a:pt x="7885802" y="5926470"/>
                </a:cubicBezTo>
                <a:cubicBezTo>
                  <a:pt x="7883139" y="5929132"/>
                  <a:pt x="7880078" y="5931262"/>
                  <a:pt x="7876483" y="5932727"/>
                </a:cubicBezTo>
                <a:cubicBezTo>
                  <a:pt x="7872756" y="5934191"/>
                  <a:pt x="7868895" y="5934989"/>
                  <a:pt x="7864636" y="5934989"/>
                </a:cubicBezTo>
                <a:cubicBezTo>
                  <a:pt x="7855717" y="5934989"/>
                  <a:pt x="7848396" y="5932061"/>
                  <a:pt x="7842803" y="5926470"/>
                </a:cubicBezTo>
                <a:cubicBezTo>
                  <a:pt x="7837213" y="5920879"/>
                  <a:pt x="7834417" y="5913823"/>
                  <a:pt x="7834417" y="5905304"/>
                </a:cubicBezTo>
                <a:cubicBezTo>
                  <a:pt x="7834417" y="5897050"/>
                  <a:pt x="7837213" y="5889995"/>
                  <a:pt x="7842803" y="5884271"/>
                </a:cubicBezTo>
                <a:cubicBezTo>
                  <a:pt x="7848396" y="5878547"/>
                  <a:pt x="7855584" y="5875752"/>
                  <a:pt x="7864636" y="5875752"/>
                </a:cubicBezTo>
                <a:close/>
                <a:moveTo>
                  <a:pt x="7646991" y="5875752"/>
                </a:moveTo>
                <a:cubicBezTo>
                  <a:pt x="7651250" y="5875752"/>
                  <a:pt x="7655111" y="5876551"/>
                  <a:pt x="7658705" y="5878281"/>
                </a:cubicBezTo>
                <a:cubicBezTo>
                  <a:pt x="7662432" y="5879879"/>
                  <a:pt x="7665493" y="5882008"/>
                  <a:pt x="7668022" y="5884671"/>
                </a:cubicBezTo>
                <a:cubicBezTo>
                  <a:pt x="7670552" y="5887200"/>
                  <a:pt x="7672682" y="5890394"/>
                  <a:pt x="7674146" y="5893989"/>
                </a:cubicBezTo>
                <a:cubicBezTo>
                  <a:pt x="7675610" y="5897583"/>
                  <a:pt x="7676409" y="5901443"/>
                  <a:pt x="7676409" y="5905437"/>
                </a:cubicBezTo>
                <a:cubicBezTo>
                  <a:pt x="7676409" y="5909563"/>
                  <a:pt x="7675610" y="5913557"/>
                  <a:pt x="7674146" y="5917152"/>
                </a:cubicBezTo>
                <a:cubicBezTo>
                  <a:pt x="7672549" y="5920746"/>
                  <a:pt x="7670552" y="5923808"/>
                  <a:pt x="7668022" y="5926470"/>
                </a:cubicBezTo>
                <a:cubicBezTo>
                  <a:pt x="7665361" y="5929132"/>
                  <a:pt x="7662299" y="5931262"/>
                  <a:pt x="7658705" y="5932727"/>
                </a:cubicBezTo>
                <a:cubicBezTo>
                  <a:pt x="7655111" y="5934191"/>
                  <a:pt x="7651250" y="5934989"/>
                  <a:pt x="7646991" y="5934989"/>
                </a:cubicBezTo>
                <a:cubicBezTo>
                  <a:pt x="7638071" y="5934989"/>
                  <a:pt x="7630750" y="5932061"/>
                  <a:pt x="7625158" y="5926470"/>
                </a:cubicBezTo>
                <a:cubicBezTo>
                  <a:pt x="7619568" y="5920879"/>
                  <a:pt x="7616772" y="5913823"/>
                  <a:pt x="7616772" y="5905304"/>
                </a:cubicBezTo>
                <a:cubicBezTo>
                  <a:pt x="7616772" y="5897050"/>
                  <a:pt x="7619568" y="5889995"/>
                  <a:pt x="7625158" y="5884271"/>
                </a:cubicBezTo>
                <a:cubicBezTo>
                  <a:pt x="7630750" y="5878547"/>
                  <a:pt x="7637939" y="5875752"/>
                  <a:pt x="7646991" y="5875752"/>
                </a:cubicBezTo>
                <a:close/>
                <a:moveTo>
                  <a:pt x="7429345" y="5875752"/>
                </a:moveTo>
                <a:cubicBezTo>
                  <a:pt x="7433605" y="5875752"/>
                  <a:pt x="7437466" y="5876551"/>
                  <a:pt x="7441059" y="5878281"/>
                </a:cubicBezTo>
                <a:cubicBezTo>
                  <a:pt x="7444787" y="5879879"/>
                  <a:pt x="7447848" y="5882008"/>
                  <a:pt x="7450377" y="5884671"/>
                </a:cubicBezTo>
                <a:cubicBezTo>
                  <a:pt x="7452907" y="5887200"/>
                  <a:pt x="7455036" y="5890394"/>
                  <a:pt x="7456501" y="5893989"/>
                </a:cubicBezTo>
                <a:cubicBezTo>
                  <a:pt x="7457965" y="5897583"/>
                  <a:pt x="7458764" y="5901443"/>
                  <a:pt x="7458764" y="5905437"/>
                </a:cubicBezTo>
                <a:cubicBezTo>
                  <a:pt x="7458764" y="5909563"/>
                  <a:pt x="7457965" y="5913557"/>
                  <a:pt x="7456501" y="5917152"/>
                </a:cubicBezTo>
                <a:cubicBezTo>
                  <a:pt x="7454904" y="5920746"/>
                  <a:pt x="7452907" y="5923808"/>
                  <a:pt x="7450377" y="5926470"/>
                </a:cubicBezTo>
                <a:cubicBezTo>
                  <a:pt x="7447715" y="5929132"/>
                  <a:pt x="7444654" y="5931262"/>
                  <a:pt x="7441059" y="5932727"/>
                </a:cubicBezTo>
                <a:cubicBezTo>
                  <a:pt x="7437466" y="5934191"/>
                  <a:pt x="7433605" y="5934989"/>
                  <a:pt x="7429345" y="5934989"/>
                </a:cubicBezTo>
                <a:cubicBezTo>
                  <a:pt x="7420426" y="5934989"/>
                  <a:pt x="7413105" y="5932061"/>
                  <a:pt x="7407513" y="5926470"/>
                </a:cubicBezTo>
                <a:cubicBezTo>
                  <a:pt x="7401922" y="5920879"/>
                  <a:pt x="7399127" y="5913823"/>
                  <a:pt x="7399127" y="5905304"/>
                </a:cubicBezTo>
                <a:cubicBezTo>
                  <a:pt x="7399127" y="5897050"/>
                  <a:pt x="7401922" y="5889995"/>
                  <a:pt x="7407513" y="5884271"/>
                </a:cubicBezTo>
                <a:cubicBezTo>
                  <a:pt x="7413105" y="5878547"/>
                  <a:pt x="7420293" y="5875752"/>
                  <a:pt x="7429345" y="5875752"/>
                </a:cubicBezTo>
                <a:close/>
                <a:moveTo>
                  <a:pt x="7211701" y="5875752"/>
                </a:moveTo>
                <a:cubicBezTo>
                  <a:pt x="7215960" y="5875752"/>
                  <a:pt x="7219954" y="5876551"/>
                  <a:pt x="7223415" y="5878281"/>
                </a:cubicBezTo>
                <a:cubicBezTo>
                  <a:pt x="7227142" y="5879879"/>
                  <a:pt x="7230204" y="5882008"/>
                  <a:pt x="7232733" y="5884671"/>
                </a:cubicBezTo>
                <a:cubicBezTo>
                  <a:pt x="7235262" y="5887200"/>
                  <a:pt x="7237392" y="5890394"/>
                  <a:pt x="7238856" y="5893989"/>
                </a:cubicBezTo>
                <a:cubicBezTo>
                  <a:pt x="7240321" y="5897583"/>
                  <a:pt x="7241120" y="5901443"/>
                  <a:pt x="7241120" y="5905437"/>
                </a:cubicBezTo>
                <a:cubicBezTo>
                  <a:pt x="7241120" y="5909563"/>
                  <a:pt x="7240321" y="5913557"/>
                  <a:pt x="7238856" y="5917152"/>
                </a:cubicBezTo>
                <a:cubicBezTo>
                  <a:pt x="7237259" y="5920746"/>
                  <a:pt x="7235262" y="5923808"/>
                  <a:pt x="7232733" y="5926470"/>
                </a:cubicBezTo>
                <a:cubicBezTo>
                  <a:pt x="7230071" y="5929132"/>
                  <a:pt x="7227009" y="5931262"/>
                  <a:pt x="7223415" y="5932727"/>
                </a:cubicBezTo>
                <a:cubicBezTo>
                  <a:pt x="7219821" y="5934191"/>
                  <a:pt x="7215960" y="5934989"/>
                  <a:pt x="7211701" y="5934989"/>
                </a:cubicBezTo>
                <a:cubicBezTo>
                  <a:pt x="7202782" y="5934989"/>
                  <a:pt x="7195460" y="5932061"/>
                  <a:pt x="7189868" y="5926470"/>
                </a:cubicBezTo>
                <a:cubicBezTo>
                  <a:pt x="7184278" y="5920879"/>
                  <a:pt x="7181482" y="5913823"/>
                  <a:pt x="7181482" y="5905304"/>
                </a:cubicBezTo>
                <a:cubicBezTo>
                  <a:pt x="7181482" y="5897050"/>
                  <a:pt x="7184278" y="5889995"/>
                  <a:pt x="7189868" y="5884271"/>
                </a:cubicBezTo>
                <a:cubicBezTo>
                  <a:pt x="7195460" y="5878547"/>
                  <a:pt x="7202649" y="5875752"/>
                  <a:pt x="7211701" y="5875752"/>
                </a:cubicBezTo>
                <a:close/>
                <a:moveTo>
                  <a:pt x="6994056" y="5875752"/>
                </a:moveTo>
                <a:cubicBezTo>
                  <a:pt x="6998315" y="5875752"/>
                  <a:pt x="7002309" y="5876551"/>
                  <a:pt x="7005769" y="5878281"/>
                </a:cubicBezTo>
                <a:cubicBezTo>
                  <a:pt x="7009497" y="5879879"/>
                  <a:pt x="7012558" y="5882008"/>
                  <a:pt x="7015087" y="5884671"/>
                </a:cubicBezTo>
                <a:cubicBezTo>
                  <a:pt x="7017617" y="5887200"/>
                  <a:pt x="7019747" y="5890394"/>
                  <a:pt x="7021211" y="5893989"/>
                </a:cubicBezTo>
                <a:cubicBezTo>
                  <a:pt x="7022675" y="5897583"/>
                  <a:pt x="7023474" y="5901443"/>
                  <a:pt x="7023474" y="5905437"/>
                </a:cubicBezTo>
                <a:cubicBezTo>
                  <a:pt x="7023474" y="5909563"/>
                  <a:pt x="7022675" y="5913557"/>
                  <a:pt x="7021211" y="5917152"/>
                </a:cubicBezTo>
                <a:cubicBezTo>
                  <a:pt x="7019614" y="5920746"/>
                  <a:pt x="7017617" y="5923808"/>
                  <a:pt x="7015087" y="5926470"/>
                </a:cubicBezTo>
                <a:cubicBezTo>
                  <a:pt x="7012425" y="5929132"/>
                  <a:pt x="7009364" y="5931262"/>
                  <a:pt x="7005769" y="5932727"/>
                </a:cubicBezTo>
                <a:cubicBezTo>
                  <a:pt x="7002176" y="5934191"/>
                  <a:pt x="6998315" y="5934989"/>
                  <a:pt x="6994056" y="5934989"/>
                </a:cubicBezTo>
                <a:cubicBezTo>
                  <a:pt x="6985136" y="5934989"/>
                  <a:pt x="6977815" y="5932061"/>
                  <a:pt x="6972223" y="5926470"/>
                </a:cubicBezTo>
                <a:cubicBezTo>
                  <a:pt x="6966632" y="5920879"/>
                  <a:pt x="6963837" y="5913823"/>
                  <a:pt x="6963837" y="5905304"/>
                </a:cubicBezTo>
                <a:cubicBezTo>
                  <a:pt x="6963837" y="5897050"/>
                  <a:pt x="6966632" y="5889995"/>
                  <a:pt x="6972223" y="5884271"/>
                </a:cubicBezTo>
                <a:cubicBezTo>
                  <a:pt x="6977815" y="5878547"/>
                  <a:pt x="6985003" y="5875752"/>
                  <a:pt x="6994056" y="5875752"/>
                </a:cubicBezTo>
                <a:close/>
                <a:moveTo>
                  <a:pt x="6776544" y="5875752"/>
                </a:moveTo>
                <a:cubicBezTo>
                  <a:pt x="6780670" y="5875752"/>
                  <a:pt x="6784664" y="5876551"/>
                  <a:pt x="6788258" y="5878281"/>
                </a:cubicBezTo>
                <a:cubicBezTo>
                  <a:pt x="6791985" y="5879879"/>
                  <a:pt x="6795047" y="5882008"/>
                  <a:pt x="6797576" y="5884671"/>
                </a:cubicBezTo>
                <a:cubicBezTo>
                  <a:pt x="6800105" y="5887200"/>
                  <a:pt x="6802235" y="5890394"/>
                  <a:pt x="6803699" y="5893989"/>
                </a:cubicBezTo>
                <a:cubicBezTo>
                  <a:pt x="6805164" y="5897583"/>
                  <a:pt x="6805963" y="5901443"/>
                  <a:pt x="6805963" y="5905437"/>
                </a:cubicBezTo>
                <a:cubicBezTo>
                  <a:pt x="6805963" y="5909563"/>
                  <a:pt x="6805164" y="5913557"/>
                  <a:pt x="6803699" y="5917152"/>
                </a:cubicBezTo>
                <a:cubicBezTo>
                  <a:pt x="6802102" y="5920746"/>
                  <a:pt x="6800105" y="5923808"/>
                  <a:pt x="6797576" y="5926470"/>
                </a:cubicBezTo>
                <a:cubicBezTo>
                  <a:pt x="6794914" y="5929132"/>
                  <a:pt x="6791852" y="5931262"/>
                  <a:pt x="6788258" y="5932727"/>
                </a:cubicBezTo>
                <a:cubicBezTo>
                  <a:pt x="6784664" y="5934191"/>
                  <a:pt x="6780803" y="5934989"/>
                  <a:pt x="6776544" y="5934989"/>
                </a:cubicBezTo>
                <a:cubicBezTo>
                  <a:pt x="6767625" y="5934989"/>
                  <a:pt x="6760303" y="5932061"/>
                  <a:pt x="6754711" y="5926470"/>
                </a:cubicBezTo>
                <a:cubicBezTo>
                  <a:pt x="6749121" y="5920879"/>
                  <a:pt x="6746325" y="5913823"/>
                  <a:pt x="6746325" y="5905304"/>
                </a:cubicBezTo>
                <a:cubicBezTo>
                  <a:pt x="6746325" y="5897050"/>
                  <a:pt x="6749121" y="5889995"/>
                  <a:pt x="6754711" y="5884271"/>
                </a:cubicBezTo>
                <a:cubicBezTo>
                  <a:pt x="6760303" y="5878547"/>
                  <a:pt x="6767492" y="5875752"/>
                  <a:pt x="6776544" y="5875752"/>
                </a:cubicBezTo>
                <a:close/>
                <a:moveTo>
                  <a:pt x="6558899" y="5875752"/>
                </a:moveTo>
                <a:cubicBezTo>
                  <a:pt x="6563158" y="5875752"/>
                  <a:pt x="6567019" y="5876551"/>
                  <a:pt x="6570612" y="5878281"/>
                </a:cubicBezTo>
                <a:cubicBezTo>
                  <a:pt x="6574340" y="5879879"/>
                  <a:pt x="6577401" y="5882008"/>
                  <a:pt x="6579930" y="5884671"/>
                </a:cubicBezTo>
                <a:cubicBezTo>
                  <a:pt x="6582460" y="5887200"/>
                  <a:pt x="6584590" y="5890394"/>
                  <a:pt x="6586054" y="5893989"/>
                </a:cubicBezTo>
                <a:cubicBezTo>
                  <a:pt x="6587518" y="5897583"/>
                  <a:pt x="6588317" y="5901443"/>
                  <a:pt x="6588317" y="5905437"/>
                </a:cubicBezTo>
                <a:cubicBezTo>
                  <a:pt x="6588317" y="5909563"/>
                  <a:pt x="6587518" y="5913557"/>
                  <a:pt x="6586054" y="5917152"/>
                </a:cubicBezTo>
                <a:cubicBezTo>
                  <a:pt x="6584457" y="5920746"/>
                  <a:pt x="6582460" y="5923808"/>
                  <a:pt x="6579930" y="5926470"/>
                </a:cubicBezTo>
                <a:cubicBezTo>
                  <a:pt x="6577268" y="5929132"/>
                  <a:pt x="6574207" y="5931262"/>
                  <a:pt x="6570612" y="5932727"/>
                </a:cubicBezTo>
                <a:cubicBezTo>
                  <a:pt x="6567019" y="5934191"/>
                  <a:pt x="6563158" y="5934989"/>
                  <a:pt x="6558899" y="5934989"/>
                </a:cubicBezTo>
                <a:cubicBezTo>
                  <a:pt x="6549979" y="5934989"/>
                  <a:pt x="6542658" y="5932061"/>
                  <a:pt x="6537066" y="5926470"/>
                </a:cubicBezTo>
                <a:cubicBezTo>
                  <a:pt x="6531476" y="5920879"/>
                  <a:pt x="6528680" y="5913823"/>
                  <a:pt x="6528680" y="5905304"/>
                </a:cubicBezTo>
                <a:cubicBezTo>
                  <a:pt x="6528680" y="5897050"/>
                  <a:pt x="6531476" y="5889995"/>
                  <a:pt x="6537066" y="5884271"/>
                </a:cubicBezTo>
                <a:cubicBezTo>
                  <a:pt x="6542658" y="5878547"/>
                  <a:pt x="6549846" y="5875752"/>
                  <a:pt x="6558899" y="5875752"/>
                </a:cubicBezTo>
                <a:close/>
                <a:moveTo>
                  <a:pt x="6341253" y="5875752"/>
                </a:moveTo>
                <a:cubicBezTo>
                  <a:pt x="6345513" y="5875752"/>
                  <a:pt x="6349373" y="5876551"/>
                  <a:pt x="6352968" y="5878281"/>
                </a:cubicBezTo>
                <a:cubicBezTo>
                  <a:pt x="6356695" y="5879879"/>
                  <a:pt x="6359757" y="5882008"/>
                  <a:pt x="6362286" y="5884671"/>
                </a:cubicBezTo>
                <a:cubicBezTo>
                  <a:pt x="6364815" y="5887200"/>
                  <a:pt x="6366945" y="5890394"/>
                  <a:pt x="6368409" y="5893989"/>
                </a:cubicBezTo>
                <a:cubicBezTo>
                  <a:pt x="6369874" y="5897583"/>
                  <a:pt x="6370672" y="5901443"/>
                  <a:pt x="6370672" y="5905437"/>
                </a:cubicBezTo>
                <a:cubicBezTo>
                  <a:pt x="6370672" y="5909563"/>
                  <a:pt x="6369874" y="5913557"/>
                  <a:pt x="6368409" y="5917152"/>
                </a:cubicBezTo>
                <a:cubicBezTo>
                  <a:pt x="6366811" y="5920746"/>
                  <a:pt x="6364815" y="5923808"/>
                  <a:pt x="6362286" y="5926470"/>
                </a:cubicBezTo>
                <a:cubicBezTo>
                  <a:pt x="6359623" y="5929132"/>
                  <a:pt x="6356562" y="5931262"/>
                  <a:pt x="6352968" y="5932727"/>
                </a:cubicBezTo>
                <a:cubicBezTo>
                  <a:pt x="6349373" y="5934191"/>
                  <a:pt x="6345513" y="5934989"/>
                  <a:pt x="6341253" y="5934989"/>
                </a:cubicBezTo>
                <a:cubicBezTo>
                  <a:pt x="6332335" y="5934989"/>
                  <a:pt x="6325013" y="5932061"/>
                  <a:pt x="6319421" y="5926470"/>
                </a:cubicBezTo>
                <a:cubicBezTo>
                  <a:pt x="6313830" y="5920879"/>
                  <a:pt x="6311035" y="5913823"/>
                  <a:pt x="6311035" y="5905304"/>
                </a:cubicBezTo>
                <a:cubicBezTo>
                  <a:pt x="6311035" y="5897050"/>
                  <a:pt x="6313830" y="5889995"/>
                  <a:pt x="6319421" y="5884271"/>
                </a:cubicBezTo>
                <a:cubicBezTo>
                  <a:pt x="6325013" y="5878547"/>
                  <a:pt x="6332201" y="5875752"/>
                  <a:pt x="6341253" y="5875752"/>
                </a:cubicBezTo>
                <a:close/>
                <a:moveTo>
                  <a:pt x="6123608" y="5875752"/>
                </a:moveTo>
                <a:cubicBezTo>
                  <a:pt x="6127867" y="5875752"/>
                  <a:pt x="6131728" y="5876551"/>
                  <a:pt x="6135322" y="5878281"/>
                </a:cubicBezTo>
                <a:cubicBezTo>
                  <a:pt x="6139049" y="5879879"/>
                  <a:pt x="6142111" y="5882008"/>
                  <a:pt x="6144640" y="5884671"/>
                </a:cubicBezTo>
                <a:cubicBezTo>
                  <a:pt x="6147169" y="5887200"/>
                  <a:pt x="6149299" y="5890394"/>
                  <a:pt x="6150763" y="5893989"/>
                </a:cubicBezTo>
                <a:cubicBezTo>
                  <a:pt x="6152228" y="5897583"/>
                  <a:pt x="6153026" y="5901443"/>
                  <a:pt x="6153026" y="5905437"/>
                </a:cubicBezTo>
                <a:cubicBezTo>
                  <a:pt x="6153026" y="5909563"/>
                  <a:pt x="6152228" y="5913557"/>
                  <a:pt x="6150763" y="5917152"/>
                </a:cubicBezTo>
                <a:cubicBezTo>
                  <a:pt x="6149299" y="5920746"/>
                  <a:pt x="6147169" y="5923808"/>
                  <a:pt x="6144640" y="5926470"/>
                </a:cubicBezTo>
                <a:cubicBezTo>
                  <a:pt x="6141977" y="5929132"/>
                  <a:pt x="6138916" y="5931262"/>
                  <a:pt x="6135322" y="5932727"/>
                </a:cubicBezTo>
                <a:cubicBezTo>
                  <a:pt x="6131728" y="5934191"/>
                  <a:pt x="6127867" y="5934989"/>
                  <a:pt x="6123608" y="5934989"/>
                </a:cubicBezTo>
                <a:cubicBezTo>
                  <a:pt x="6114689" y="5934989"/>
                  <a:pt x="6107367" y="5932061"/>
                  <a:pt x="6101775" y="5926470"/>
                </a:cubicBezTo>
                <a:cubicBezTo>
                  <a:pt x="6096184" y="5920879"/>
                  <a:pt x="6093389" y="5913823"/>
                  <a:pt x="6093389" y="5905304"/>
                </a:cubicBezTo>
                <a:cubicBezTo>
                  <a:pt x="6093389" y="5897050"/>
                  <a:pt x="6096184" y="5889995"/>
                  <a:pt x="6101775" y="5884271"/>
                </a:cubicBezTo>
                <a:cubicBezTo>
                  <a:pt x="6107367" y="5878547"/>
                  <a:pt x="6114555" y="5875752"/>
                  <a:pt x="6123608" y="5875752"/>
                </a:cubicBezTo>
                <a:close/>
                <a:moveTo>
                  <a:pt x="5905963" y="5875752"/>
                </a:moveTo>
                <a:cubicBezTo>
                  <a:pt x="5910222" y="5875752"/>
                  <a:pt x="5914216" y="5876551"/>
                  <a:pt x="5917677" y="5878281"/>
                </a:cubicBezTo>
                <a:cubicBezTo>
                  <a:pt x="5921404" y="5879879"/>
                  <a:pt x="5924466" y="5882008"/>
                  <a:pt x="5926995" y="5884671"/>
                </a:cubicBezTo>
                <a:cubicBezTo>
                  <a:pt x="5929524" y="5887200"/>
                  <a:pt x="5931654" y="5890394"/>
                  <a:pt x="5933118" y="5893989"/>
                </a:cubicBezTo>
                <a:cubicBezTo>
                  <a:pt x="5934583" y="5897583"/>
                  <a:pt x="5935381" y="5901443"/>
                  <a:pt x="5935381" y="5905437"/>
                </a:cubicBezTo>
                <a:cubicBezTo>
                  <a:pt x="5935381" y="5909563"/>
                  <a:pt x="5934583" y="5913557"/>
                  <a:pt x="5933118" y="5917152"/>
                </a:cubicBezTo>
                <a:cubicBezTo>
                  <a:pt x="5931654" y="5920746"/>
                  <a:pt x="5929524" y="5923808"/>
                  <a:pt x="5926995" y="5926470"/>
                </a:cubicBezTo>
                <a:cubicBezTo>
                  <a:pt x="5924333" y="5929132"/>
                  <a:pt x="5921271" y="5931262"/>
                  <a:pt x="5917677" y="5932727"/>
                </a:cubicBezTo>
                <a:cubicBezTo>
                  <a:pt x="5914083" y="5934191"/>
                  <a:pt x="5910222" y="5934989"/>
                  <a:pt x="5905963" y="5934989"/>
                </a:cubicBezTo>
                <a:cubicBezTo>
                  <a:pt x="5897044" y="5934989"/>
                  <a:pt x="5889722" y="5932061"/>
                  <a:pt x="5884130" y="5926470"/>
                </a:cubicBezTo>
                <a:cubicBezTo>
                  <a:pt x="5878540" y="5920879"/>
                  <a:pt x="5875744" y="5913823"/>
                  <a:pt x="5875744" y="5905304"/>
                </a:cubicBezTo>
                <a:cubicBezTo>
                  <a:pt x="5875744" y="5897050"/>
                  <a:pt x="5878540" y="5889995"/>
                  <a:pt x="5884130" y="5884271"/>
                </a:cubicBezTo>
                <a:cubicBezTo>
                  <a:pt x="5889722" y="5878547"/>
                  <a:pt x="5896910" y="5875752"/>
                  <a:pt x="5905963" y="5875752"/>
                </a:cubicBezTo>
                <a:close/>
                <a:moveTo>
                  <a:pt x="5688451" y="5875752"/>
                </a:moveTo>
                <a:cubicBezTo>
                  <a:pt x="5692577" y="5875752"/>
                  <a:pt x="5696571" y="5876551"/>
                  <a:pt x="5700165" y="5878281"/>
                </a:cubicBezTo>
                <a:cubicBezTo>
                  <a:pt x="5703892" y="5879879"/>
                  <a:pt x="5706954" y="5882008"/>
                  <a:pt x="5709483" y="5884671"/>
                </a:cubicBezTo>
                <a:cubicBezTo>
                  <a:pt x="5712012" y="5887200"/>
                  <a:pt x="5714142" y="5890394"/>
                  <a:pt x="5715606" y="5893989"/>
                </a:cubicBezTo>
                <a:cubicBezTo>
                  <a:pt x="5717071" y="5897583"/>
                  <a:pt x="5717869" y="5901443"/>
                  <a:pt x="5717869" y="5905437"/>
                </a:cubicBezTo>
                <a:cubicBezTo>
                  <a:pt x="5717869" y="5909563"/>
                  <a:pt x="5717071" y="5913557"/>
                  <a:pt x="5715606" y="5917152"/>
                </a:cubicBezTo>
                <a:cubicBezTo>
                  <a:pt x="5714142" y="5920746"/>
                  <a:pt x="5712012" y="5923808"/>
                  <a:pt x="5709483" y="5926470"/>
                </a:cubicBezTo>
                <a:cubicBezTo>
                  <a:pt x="5706820" y="5929132"/>
                  <a:pt x="5703759" y="5931262"/>
                  <a:pt x="5700165" y="5932727"/>
                </a:cubicBezTo>
                <a:cubicBezTo>
                  <a:pt x="5696571" y="5934191"/>
                  <a:pt x="5692710" y="5934989"/>
                  <a:pt x="5688451" y="5934989"/>
                </a:cubicBezTo>
                <a:cubicBezTo>
                  <a:pt x="5679532" y="5934989"/>
                  <a:pt x="5672210" y="5932061"/>
                  <a:pt x="5666618" y="5926470"/>
                </a:cubicBezTo>
                <a:cubicBezTo>
                  <a:pt x="5661028" y="5920879"/>
                  <a:pt x="5658232" y="5913823"/>
                  <a:pt x="5658232" y="5905304"/>
                </a:cubicBezTo>
                <a:cubicBezTo>
                  <a:pt x="5658232" y="5897050"/>
                  <a:pt x="5661028" y="5889995"/>
                  <a:pt x="5666618" y="5884271"/>
                </a:cubicBezTo>
                <a:cubicBezTo>
                  <a:pt x="5672210" y="5878547"/>
                  <a:pt x="5679398" y="5875752"/>
                  <a:pt x="5688451" y="5875752"/>
                </a:cubicBezTo>
                <a:close/>
                <a:moveTo>
                  <a:pt x="5470806" y="5875752"/>
                </a:moveTo>
                <a:cubicBezTo>
                  <a:pt x="5475065" y="5875752"/>
                  <a:pt x="5478926" y="5876551"/>
                  <a:pt x="5482520" y="5878281"/>
                </a:cubicBezTo>
                <a:cubicBezTo>
                  <a:pt x="5486247" y="5879879"/>
                  <a:pt x="5489309" y="5882008"/>
                  <a:pt x="5491838" y="5884671"/>
                </a:cubicBezTo>
                <a:cubicBezTo>
                  <a:pt x="5494367" y="5887200"/>
                  <a:pt x="5496497" y="5890394"/>
                  <a:pt x="5497961" y="5893989"/>
                </a:cubicBezTo>
                <a:cubicBezTo>
                  <a:pt x="5499426" y="5897583"/>
                  <a:pt x="5500224" y="5901443"/>
                  <a:pt x="5500224" y="5905437"/>
                </a:cubicBezTo>
                <a:cubicBezTo>
                  <a:pt x="5500224" y="5909563"/>
                  <a:pt x="5499426" y="5913557"/>
                  <a:pt x="5497961" y="5917152"/>
                </a:cubicBezTo>
                <a:cubicBezTo>
                  <a:pt x="5496497" y="5920746"/>
                  <a:pt x="5494367" y="5923808"/>
                  <a:pt x="5491838" y="5926470"/>
                </a:cubicBezTo>
                <a:cubicBezTo>
                  <a:pt x="5489176" y="5929132"/>
                  <a:pt x="5486114" y="5931262"/>
                  <a:pt x="5482520" y="5932727"/>
                </a:cubicBezTo>
                <a:cubicBezTo>
                  <a:pt x="5478926" y="5934191"/>
                  <a:pt x="5475065" y="5934989"/>
                  <a:pt x="5470806" y="5934989"/>
                </a:cubicBezTo>
                <a:cubicBezTo>
                  <a:pt x="5461887" y="5934989"/>
                  <a:pt x="5454565" y="5932061"/>
                  <a:pt x="5448973" y="5926470"/>
                </a:cubicBezTo>
                <a:cubicBezTo>
                  <a:pt x="5443383" y="5920879"/>
                  <a:pt x="5440587" y="5913823"/>
                  <a:pt x="5440587" y="5905304"/>
                </a:cubicBezTo>
                <a:cubicBezTo>
                  <a:pt x="5440587" y="5897050"/>
                  <a:pt x="5443383" y="5889995"/>
                  <a:pt x="5448973" y="5884271"/>
                </a:cubicBezTo>
                <a:cubicBezTo>
                  <a:pt x="5454565" y="5878547"/>
                  <a:pt x="5461754" y="5875752"/>
                  <a:pt x="5470806" y="5875752"/>
                </a:cubicBezTo>
                <a:close/>
                <a:moveTo>
                  <a:pt x="5253160" y="5875752"/>
                </a:moveTo>
                <a:cubicBezTo>
                  <a:pt x="5257420" y="5875752"/>
                  <a:pt x="5261280" y="5876551"/>
                  <a:pt x="5264875" y="5878281"/>
                </a:cubicBezTo>
                <a:cubicBezTo>
                  <a:pt x="5268602" y="5879879"/>
                  <a:pt x="5271664" y="5882008"/>
                  <a:pt x="5274192" y="5884671"/>
                </a:cubicBezTo>
                <a:cubicBezTo>
                  <a:pt x="5276722" y="5887200"/>
                  <a:pt x="5278852" y="5890394"/>
                  <a:pt x="5280316" y="5893989"/>
                </a:cubicBezTo>
                <a:cubicBezTo>
                  <a:pt x="5281780" y="5897583"/>
                  <a:pt x="5282579" y="5901443"/>
                  <a:pt x="5282579" y="5905437"/>
                </a:cubicBezTo>
                <a:cubicBezTo>
                  <a:pt x="5282579" y="5909563"/>
                  <a:pt x="5281780" y="5913557"/>
                  <a:pt x="5280316" y="5917152"/>
                </a:cubicBezTo>
                <a:cubicBezTo>
                  <a:pt x="5278852" y="5920746"/>
                  <a:pt x="5276722" y="5923808"/>
                  <a:pt x="5274192" y="5926470"/>
                </a:cubicBezTo>
                <a:cubicBezTo>
                  <a:pt x="5271664" y="5929132"/>
                  <a:pt x="5268469" y="5931262"/>
                  <a:pt x="5264875" y="5932727"/>
                </a:cubicBezTo>
                <a:cubicBezTo>
                  <a:pt x="5261280" y="5934191"/>
                  <a:pt x="5257420" y="5934989"/>
                  <a:pt x="5253160" y="5934989"/>
                </a:cubicBezTo>
                <a:cubicBezTo>
                  <a:pt x="5244241" y="5934989"/>
                  <a:pt x="5236920" y="5932061"/>
                  <a:pt x="5231328" y="5926470"/>
                </a:cubicBezTo>
                <a:cubicBezTo>
                  <a:pt x="5225737" y="5920879"/>
                  <a:pt x="5222942" y="5913823"/>
                  <a:pt x="5222942" y="5905304"/>
                </a:cubicBezTo>
                <a:cubicBezTo>
                  <a:pt x="5222942" y="5897050"/>
                  <a:pt x="5225737" y="5889995"/>
                  <a:pt x="5231328" y="5884271"/>
                </a:cubicBezTo>
                <a:cubicBezTo>
                  <a:pt x="5236920" y="5878547"/>
                  <a:pt x="5244108" y="5875752"/>
                  <a:pt x="5253160" y="5875752"/>
                </a:cubicBezTo>
                <a:close/>
                <a:moveTo>
                  <a:pt x="5035515" y="5875752"/>
                </a:moveTo>
                <a:cubicBezTo>
                  <a:pt x="5039775" y="5875752"/>
                  <a:pt x="5043636" y="5876551"/>
                  <a:pt x="5047230" y="5878281"/>
                </a:cubicBezTo>
                <a:cubicBezTo>
                  <a:pt x="5050957" y="5879879"/>
                  <a:pt x="5054019" y="5882008"/>
                  <a:pt x="5056548" y="5884671"/>
                </a:cubicBezTo>
                <a:cubicBezTo>
                  <a:pt x="5059077" y="5887200"/>
                  <a:pt x="5061207" y="5890394"/>
                  <a:pt x="5062671" y="5893989"/>
                </a:cubicBezTo>
                <a:cubicBezTo>
                  <a:pt x="5064135" y="5897583"/>
                  <a:pt x="5064934" y="5901443"/>
                  <a:pt x="5064934" y="5905437"/>
                </a:cubicBezTo>
                <a:cubicBezTo>
                  <a:pt x="5064934" y="5909563"/>
                  <a:pt x="5064135" y="5913557"/>
                  <a:pt x="5062671" y="5917152"/>
                </a:cubicBezTo>
                <a:cubicBezTo>
                  <a:pt x="5061207" y="5920746"/>
                  <a:pt x="5059077" y="5923808"/>
                  <a:pt x="5056548" y="5926470"/>
                </a:cubicBezTo>
                <a:cubicBezTo>
                  <a:pt x="5053885" y="5929132"/>
                  <a:pt x="5050824" y="5931262"/>
                  <a:pt x="5047230" y="5932727"/>
                </a:cubicBezTo>
                <a:cubicBezTo>
                  <a:pt x="5043636" y="5934191"/>
                  <a:pt x="5039775" y="5934989"/>
                  <a:pt x="5035515" y="5934989"/>
                </a:cubicBezTo>
                <a:cubicBezTo>
                  <a:pt x="5026597" y="5934989"/>
                  <a:pt x="5019275" y="5932061"/>
                  <a:pt x="5013683" y="5926470"/>
                </a:cubicBezTo>
                <a:cubicBezTo>
                  <a:pt x="5008092" y="5920879"/>
                  <a:pt x="5005297" y="5913823"/>
                  <a:pt x="5005297" y="5905304"/>
                </a:cubicBezTo>
                <a:cubicBezTo>
                  <a:pt x="5005297" y="5897050"/>
                  <a:pt x="5008092" y="5889995"/>
                  <a:pt x="5013683" y="5884271"/>
                </a:cubicBezTo>
                <a:cubicBezTo>
                  <a:pt x="5019275" y="5878547"/>
                  <a:pt x="5026463" y="5875752"/>
                  <a:pt x="5035515" y="5875752"/>
                </a:cubicBezTo>
                <a:close/>
                <a:moveTo>
                  <a:pt x="4817870" y="5875752"/>
                </a:moveTo>
                <a:cubicBezTo>
                  <a:pt x="4822130" y="5875752"/>
                  <a:pt x="4826124" y="5876551"/>
                  <a:pt x="4829585" y="5878281"/>
                </a:cubicBezTo>
                <a:cubicBezTo>
                  <a:pt x="4833312" y="5879879"/>
                  <a:pt x="4836374" y="5882008"/>
                  <a:pt x="4838903" y="5884671"/>
                </a:cubicBezTo>
                <a:cubicBezTo>
                  <a:pt x="4841432" y="5887200"/>
                  <a:pt x="4843562" y="5890394"/>
                  <a:pt x="4845026" y="5893989"/>
                </a:cubicBezTo>
                <a:cubicBezTo>
                  <a:pt x="4846491" y="5897583"/>
                  <a:pt x="4847289" y="5901443"/>
                  <a:pt x="4847289" y="5905437"/>
                </a:cubicBezTo>
                <a:cubicBezTo>
                  <a:pt x="4847289" y="5909563"/>
                  <a:pt x="4846491" y="5913557"/>
                  <a:pt x="4845026" y="5917152"/>
                </a:cubicBezTo>
                <a:cubicBezTo>
                  <a:pt x="4843562" y="5920746"/>
                  <a:pt x="4841432" y="5923808"/>
                  <a:pt x="4838903" y="5926470"/>
                </a:cubicBezTo>
                <a:cubicBezTo>
                  <a:pt x="4836240" y="5929132"/>
                  <a:pt x="4833179" y="5931262"/>
                  <a:pt x="4829585" y="5932727"/>
                </a:cubicBezTo>
                <a:cubicBezTo>
                  <a:pt x="4825991" y="5934191"/>
                  <a:pt x="4822130" y="5934989"/>
                  <a:pt x="4817870" y="5934989"/>
                </a:cubicBezTo>
                <a:cubicBezTo>
                  <a:pt x="4808952" y="5934989"/>
                  <a:pt x="4801630" y="5932061"/>
                  <a:pt x="4796038" y="5926470"/>
                </a:cubicBezTo>
                <a:cubicBezTo>
                  <a:pt x="4790447" y="5920879"/>
                  <a:pt x="4787652" y="5913823"/>
                  <a:pt x="4787652" y="5905304"/>
                </a:cubicBezTo>
                <a:cubicBezTo>
                  <a:pt x="4787652" y="5897050"/>
                  <a:pt x="4790447" y="5889995"/>
                  <a:pt x="4796038" y="5884271"/>
                </a:cubicBezTo>
                <a:cubicBezTo>
                  <a:pt x="4801630" y="5878547"/>
                  <a:pt x="4808818" y="5875752"/>
                  <a:pt x="4817870" y="5875752"/>
                </a:cubicBezTo>
                <a:close/>
                <a:moveTo>
                  <a:pt x="4600226" y="5875752"/>
                </a:moveTo>
                <a:cubicBezTo>
                  <a:pt x="4604485" y="5875752"/>
                  <a:pt x="4608479" y="5876551"/>
                  <a:pt x="4612073" y="5878281"/>
                </a:cubicBezTo>
                <a:cubicBezTo>
                  <a:pt x="4615800" y="5879879"/>
                  <a:pt x="4618862" y="5882008"/>
                  <a:pt x="4621391" y="5884671"/>
                </a:cubicBezTo>
                <a:cubicBezTo>
                  <a:pt x="4623920" y="5887200"/>
                  <a:pt x="4626050" y="5890394"/>
                  <a:pt x="4627514" y="5893989"/>
                </a:cubicBezTo>
                <a:cubicBezTo>
                  <a:pt x="4628978" y="5897583"/>
                  <a:pt x="4629777" y="5901443"/>
                  <a:pt x="4629777" y="5905437"/>
                </a:cubicBezTo>
                <a:cubicBezTo>
                  <a:pt x="4629777" y="5909563"/>
                  <a:pt x="4628978" y="5913557"/>
                  <a:pt x="4627514" y="5917152"/>
                </a:cubicBezTo>
                <a:cubicBezTo>
                  <a:pt x="4626050" y="5920746"/>
                  <a:pt x="4623920" y="5923808"/>
                  <a:pt x="4621391" y="5926470"/>
                </a:cubicBezTo>
                <a:cubicBezTo>
                  <a:pt x="4618729" y="5929132"/>
                  <a:pt x="4615667" y="5931262"/>
                  <a:pt x="4612073" y="5932727"/>
                </a:cubicBezTo>
                <a:cubicBezTo>
                  <a:pt x="4608346" y="5934191"/>
                  <a:pt x="4604485" y="5934989"/>
                  <a:pt x="4600226" y="5934989"/>
                </a:cubicBezTo>
                <a:cubicBezTo>
                  <a:pt x="4591173" y="5934989"/>
                  <a:pt x="4583985" y="5932061"/>
                  <a:pt x="4578393" y="5926470"/>
                </a:cubicBezTo>
                <a:cubicBezTo>
                  <a:pt x="4572803" y="5920879"/>
                  <a:pt x="4570007" y="5913823"/>
                  <a:pt x="4570007" y="5905304"/>
                </a:cubicBezTo>
                <a:cubicBezTo>
                  <a:pt x="4570007" y="5897050"/>
                  <a:pt x="4572803" y="5889995"/>
                  <a:pt x="4578393" y="5884271"/>
                </a:cubicBezTo>
                <a:cubicBezTo>
                  <a:pt x="4583985" y="5878547"/>
                  <a:pt x="4591173" y="5875752"/>
                  <a:pt x="4600226" y="5875752"/>
                </a:cubicBezTo>
                <a:close/>
                <a:moveTo>
                  <a:pt x="4382713" y="5875752"/>
                </a:moveTo>
                <a:cubicBezTo>
                  <a:pt x="4386840" y="5875752"/>
                  <a:pt x="4390834" y="5876551"/>
                  <a:pt x="4394428" y="5878281"/>
                </a:cubicBezTo>
                <a:cubicBezTo>
                  <a:pt x="4398155" y="5879879"/>
                  <a:pt x="4401217" y="5882008"/>
                  <a:pt x="4403746" y="5884671"/>
                </a:cubicBezTo>
                <a:cubicBezTo>
                  <a:pt x="4406275" y="5887200"/>
                  <a:pt x="4408405" y="5890394"/>
                  <a:pt x="4409869" y="5893989"/>
                </a:cubicBezTo>
                <a:cubicBezTo>
                  <a:pt x="4411334" y="5897583"/>
                  <a:pt x="4412132" y="5901443"/>
                  <a:pt x="4412132" y="5905437"/>
                </a:cubicBezTo>
                <a:cubicBezTo>
                  <a:pt x="4412132" y="5909563"/>
                  <a:pt x="4411334" y="5913557"/>
                  <a:pt x="4409869" y="5917152"/>
                </a:cubicBezTo>
                <a:cubicBezTo>
                  <a:pt x="4408405" y="5920746"/>
                  <a:pt x="4406275" y="5923808"/>
                  <a:pt x="4403746" y="5926470"/>
                </a:cubicBezTo>
                <a:cubicBezTo>
                  <a:pt x="4401083" y="5929132"/>
                  <a:pt x="4398022" y="5931262"/>
                  <a:pt x="4394428" y="5932727"/>
                </a:cubicBezTo>
                <a:cubicBezTo>
                  <a:pt x="4390834" y="5934191"/>
                  <a:pt x="4386973" y="5934989"/>
                  <a:pt x="4382713" y="5934989"/>
                </a:cubicBezTo>
                <a:cubicBezTo>
                  <a:pt x="4373661" y="5934989"/>
                  <a:pt x="4366473" y="5932061"/>
                  <a:pt x="4360881" y="5926470"/>
                </a:cubicBezTo>
                <a:cubicBezTo>
                  <a:pt x="4355290" y="5920879"/>
                  <a:pt x="4352495" y="5913823"/>
                  <a:pt x="4352495" y="5905304"/>
                </a:cubicBezTo>
                <a:cubicBezTo>
                  <a:pt x="4352495" y="5897050"/>
                  <a:pt x="4355290" y="5889995"/>
                  <a:pt x="4360881" y="5884271"/>
                </a:cubicBezTo>
                <a:cubicBezTo>
                  <a:pt x="4366473" y="5878547"/>
                  <a:pt x="4373661" y="5875752"/>
                  <a:pt x="4382713" y="5875752"/>
                </a:cubicBezTo>
                <a:close/>
                <a:moveTo>
                  <a:pt x="4165068" y="5875752"/>
                </a:moveTo>
                <a:cubicBezTo>
                  <a:pt x="4169327" y="5875752"/>
                  <a:pt x="4173188" y="5876551"/>
                  <a:pt x="4176782" y="5878281"/>
                </a:cubicBezTo>
                <a:cubicBezTo>
                  <a:pt x="4180509" y="5879879"/>
                  <a:pt x="4183571" y="5882008"/>
                  <a:pt x="4186100" y="5884671"/>
                </a:cubicBezTo>
                <a:cubicBezTo>
                  <a:pt x="4188629" y="5887200"/>
                  <a:pt x="4190759" y="5890394"/>
                  <a:pt x="4192223" y="5893989"/>
                </a:cubicBezTo>
                <a:cubicBezTo>
                  <a:pt x="4193688" y="5897583"/>
                  <a:pt x="4194486" y="5901443"/>
                  <a:pt x="4194486" y="5905437"/>
                </a:cubicBezTo>
                <a:cubicBezTo>
                  <a:pt x="4194486" y="5909563"/>
                  <a:pt x="4193688" y="5913557"/>
                  <a:pt x="4192223" y="5917152"/>
                </a:cubicBezTo>
                <a:cubicBezTo>
                  <a:pt x="4190759" y="5920746"/>
                  <a:pt x="4188629" y="5923808"/>
                  <a:pt x="4186100" y="5926470"/>
                </a:cubicBezTo>
                <a:cubicBezTo>
                  <a:pt x="4183438" y="5929132"/>
                  <a:pt x="4180376" y="5931262"/>
                  <a:pt x="4176782" y="5932727"/>
                </a:cubicBezTo>
                <a:cubicBezTo>
                  <a:pt x="4173188" y="5934191"/>
                  <a:pt x="4169327" y="5934989"/>
                  <a:pt x="4165068" y="5934989"/>
                </a:cubicBezTo>
                <a:cubicBezTo>
                  <a:pt x="4156015" y="5934989"/>
                  <a:pt x="4148827" y="5932061"/>
                  <a:pt x="4143235" y="5926470"/>
                </a:cubicBezTo>
                <a:cubicBezTo>
                  <a:pt x="4137645" y="5920879"/>
                  <a:pt x="4134849" y="5913823"/>
                  <a:pt x="4134849" y="5905304"/>
                </a:cubicBezTo>
                <a:cubicBezTo>
                  <a:pt x="4134849" y="5897050"/>
                  <a:pt x="4137645" y="5889995"/>
                  <a:pt x="4143235" y="5884271"/>
                </a:cubicBezTo>
                <a:cubicBezTo>
                  <a:pt x="4148827" y="5878547"/>
                  <a:pt x="4156015" y="5875752"/>
                  <a:pt x="4165068" y="5875752"/>
                </a:cubicBezTo>
                <a:close/>
                <a:moveTo>
                  <a:pt x="3947744" y="5875752"/>
                </a:moveTo>
                <a:cubicBezTo>
                  <a:pt x="3952006" y="5875752"/>
                  <a:pt x="3955867" y="5876551"/>
                  <a:pt x="3959463" y="5878281"/>
                </a:cubicBezTo>
                <a:cubicBezTo>
                  <a:pt x="3963191" y="5879879"/>
                  <a:pt x="3966251" y="5882008"/>
                  <a:pt x="3968781" y="5884671"/>
                </a:cubicBezTo>
                <a:cubicBezTo>
                  <a:pt x="3971311" y="5887200"/>
                  <a:pt x="3973440" y="5890394"/>
                  <a:pt x="3974904" y="5893989"/>
                </a:cubicBezTo>
                <a:cubicBezTo>
                  <a:pt x="3976369" y="5897583"/>
                  <a:pt x="3977168" y="5901443"/>
                  <a:pt x="3977168" y="5905437"/>
                </a:cubicBezTo>
                <a:cubicBezTo>
                  <a:pt x="3977168" y="5909563"/>
                  <a:pt x="3976369" y="5913557"/>
                  <a:pt x="3974904" y="5917152"/>
                </a:cubicBezTo>
                <a:cubicBezTo>
                  <a:pt x="3973440" y="5920746"/>
                  <a:pt x="3971311" y="5923808"/>
                  <a:pt x="3968781" y="5926470"/>
                </a:cubicBezTo>
                <a:cubicBezTo>
                  <a:pt x="3966119" y="5929132"/>
                  <a:pt x="3963057" y="5931262"/>
                  <a:pt x="3959463" y="5932727"/>
                </a:cubicBezTo>
                <a:cubicBezTo>
                  <a:pt x="3955867" y="5934191"/>
                  <a:pt x="3952006" y="5934989"/>
                  <a:pt x="3947744" y="5934989"/>
                </a:cubicBezTo>
                <a:cubicBezTo>
                  <a:pt x="3938691" y="5934989"/>
                  <a:pt x="3931504" y="5932061"/>
                  <a:pt x="3925911" y="5926470"/>
                </a:cubicBezTo>
                <a:cubicBezTo>
                  <a:pt x="3920320" y="5920879"/>
                  <a:pt x="3917525" y="5913823"/>
                  <a:pt x="3917525" y="5905304"/>
                </a:cubicBezTo>
                <a:cubicBezTo>
                  <a:pt x="3917525" y="5897050"/>
                  <a:pt x="3920320" y="5889995"/>
                  <a:pt x="3925911" y="5884271"/>
                </a:cubicBezTo>
                <a:cubicBezTo>
                  <a:pt x="3931504" y="5878547"/>
                  <a:pt x="3938691" y="5875752"/>
                  <a:pt x="3947744" y="5875752"/>
                </a:cubicBezTo>
                <a:close/>
                <a:moveTo>
                  <a:pt x="3730085" y="5875752"/>
                </a:moveTo>
                <a:cubicBezTo>
                  <a:pt x="3734346" y="5875752"/>
                  <a:pt x="3738338" y="5876551"/>
                  <a:pt x="3741800" y="5878281"/>
                </a:cubicBezTo>
                <a:cubicBezTo>
                  <a:pt x="3745395" y="5879879"/>
                  <a:pt x="3748590" y="5882008"/>
                  <a:pt x="3751119" y="5884671"/>
                </a:cubicBezTo>
                <a:cubicBezTo>
                  <a:pt x="3753648" y="5887200"/>
                  <a:pt x="3755778" y="5890394"/>
                  <a:pt x="3757242" y="5893989"/>
                </a:cubicBezTo>
                <a:cubicBezTo>
                  <a:pt x="3758706" y="5897583"/>
                  <a:pt x="3759505" y="5901443"/>
                  <a:pt x="3759505" y="5905437"/>
                </a:cubicBezTo>
                <a:cubicBezTo>
                  <a:pt x="3759505" y="5909563"/>
                  <a:pt x="3758706" y="5913557"/>
                  <a:pt x="3757242" y="5917152"/>
                </a:cubicBezTo>
                <a:cubicBezTo>
                  <a:pt x="3755778" y="5920746"/>
                  <a:pt x="3753648" y="5923808"/>
                  <a:pt x="3751119" y="5926470"/>
                </a:cubicBezTo>
                <a:cubicBezTo>
                  <a:pt x="3748456" y="5929132"/>
                  <a:pt x="3745395" y="5931262"/>
                  <a:pt x="3741800" y="5932727"/>
                </a:cubicBezTo>
                <a:cubicBezTo>
                  <a:pt x="3738207" y="5934191"/>
                  <a:pt x="3734346" y="5934989"/>
                  <a:pt x="3730085" y="5934989"/>
                </a:cubicBezTo>
                <a:cubicBezTo>
                  <a:pt x="3721033" y="5934989"/>
                  <a:pt x="3713843" y="5932061"/>
                  <a:pt x="3708244" y="5926470"/>
                </a:cubicBezTo>
                <a:cubicBezTo>
                  <a:pt x="3702651" y="5920879"/>
                  <a:pt x="3699858" y="5913823"/>
                  <a:pt x="3699858" y="5905304"/>
                </a:cubicBezTo>
                <a:cubicBezTo>
                  <a:pt x="3699858" y="5897050"/>
                  <a:pt x="3702651" y="5889995"/>
                  <a:pt x="3708244" y="5884271"/>
                </a:cubicBezTo>
                <a:cubicBezTo>
                  <a:pt x="3713843" y="5878547"/>
                  <a:pt x="3721033" y="5875752"/>
                  <a:pt x="3730085" y="5875752"/>
                </a:cubicBezTo>
                <a:close/>
                <a:moveTo>
                  <a:pt x="3512423" y="5875752"/>
                </a:moveTo>
                <a:cubicBezTo>
                  <a:pt x="3516684" y="5875752"/>
                  <a:pt x="3520677" y="5876551"/>
                  <a:pt x="3524139" y="5878281"/>
                </a:cubicBezTo>
                <a:cubicBezTo>
                  <a:pt x="3527732" y="5879879"/>
                  <a:pt x="3530928" y="5882008"/>
                  <a:pt x="3533457" y="5884671"/>
                </a:cubicBezTo>
                <a:cubicBezTo>
                  <a:pt x="3535986" y="5887200"/>
                  <a:pt x="3538116" y="5890394"/>
                  <a:pt x="3539580" y="5893989"/>
                </a:cubicBezTo>
                <a:cubicBezTo>
                  <a:pt x="3541044" y="5897583"/>
                  <a:pt x="3541843" y="5901443"/>
                  <a:pt x="3541843" y="5905437"/>
                </a:cubicBezTo>
                <a:cubicBezTo>
                  <a:pt x="3541843" y="5909563"/>
                  <a:pt x="3541044" y="5913557"/>
                  <a:pt x="3539580" y="5917152"/>
                </a:cubicBezTo>
                <a:cubicBezTo>
                  <a:pt x="3538116" y="5920746"/>
                  <a:pt x="3535986" y="5923808"/>
                  <a:pt x="3533457" y="5926470"/>
                </a:cubicBezTo>
                <a:cubicBezTo>
                  <a:pt x="3530794" y="5929132"/>
                  <a:pt x="3527732" y="5931262"/>
                  <a:pt x="3524139" y="5932727"/>
                </a:cubicBezTo>
                <a:cubicBezTo>
                  <a:pt x="3520545" y="5934191"/>
                  <a:pt x="3516684" y="5934989"/>
                  <a:pt x="3512423" y="5934989"/>
                </a:cubicBezTo>
                <a:cubicBezTo>
                  <a:pt x="3503367" y="5934989"/>
                  <a:pt x="3496177" y="5932061"/>
                  <a:pt x="3490586" y="5926470"/>
                </a:cubicBezTo>
                <a:cubicBezTo>
                  <a:pt x="3484995" y="5920879"/>
                  <a:pt x="3482199" y="5913823"/>
                  <a:pt x="3482199" y="5905304"/>
                </a:cubicBezTo>
                <a:cubicBezTo>
                  <a:pt x="3482199" y="5897050"/>
                  <a:pt x="3484995" y="5889995"/>
                  <a:pt x="3490586" y="5884271"/>
                </a:cubicBezTo>
                <a:cubicBezTo>
                  <a:pt x="3496177" y="5878547"/>
                  <a:pt x="3503367" y="5875752"/>
                  <a:pt x="3512423" y="5875752"/>
                </a:cubicBezTo>
                <a:close/>
                <a:moveTo>
                  <a:pt x="3294894" y="5875752"/>
                </a:moveTo>
                <a:cubicBezTo>
                  <a:pt x="3299021" y="5875752"/>
                  <a:pt x="3303016" y="5876551"/>
                  <a:pt x="3306610" y="5878281"/>
                </a:cubicBezTo>
                <a:cubicBezTo>
                  <a:pt x="3310337" y="5879879"/>
                  <a:pt x="3313399" y="5882008"/>
                  <a:pt x="3315928" y="5884671"/>
                </a:cubicBezTo>
                <a:cubicBezTo>
                  <a:pt x="3318457" y="5887200"/>
                  <a:pt x="3320587" y="5890394"/>
                  <a:pt x="3322051" y="5893989"/>
                </a:cubicBezTo>
                <a:cubicBezTo>
                  <a:pt x="3323515" y="5897583"/>
                  <a:pt x="3324314" y="5901443"/>
                  <a:pt x="3324314" y="5905437"/>
                </a:cubicBezTo>
                <a:cubicBezTo>
                  <a:pt x="3324314" y="5909563"/>
                  <a:pt x="3323515" y="5913557"/>
                  <a:pt x="3322051" y="5917152"/>
                </a:cubicBezTo>
                <a:cubicBezTo>
                  <a:pt x="3320587" y="5920746"/>
                  <a:pt x="3318457" y="5923808"/>
                  <a:pt x="3315928" y="5926470"/>
                </a:cubicBezTo>
                <a:cubicBezTo>
                  <a:pt x="3313265" y="5929132"/>
                  <a:pt x="3310203" y="5931262"/>
                  <a:pt x="3306610" y="5932727"/>
                </a:cubicBezTo>
                <a:cubicBezTo>
                  <a:pt x="3303016" y="5934191"/>
                  <a:pt x="3299155" y="5934989"/>
                  <a:pt x="3294894" y="5934989"/>
                </a:cubicBezTo>
                <a:cubicBezTo>
                  <a:pt x="3285839" y="5934989"/>
                  <a:pt x="3278650" y="5932061"/>
                  <a:pt x="3273056" y="5926470"/>
                </a:cubicBezTo>
                <a:cubicBezTo>
                  <a:pt x="3267463" y="5920879"/>
                  <a:pt x="3264667" y="5913823"/>
                  <a:pt x="3264667" y="5905304"/>
                </a:cubicBezTo>
                <a:cubicBezTo>
                  <a:pt x="3264667" y="5897050"/>
                  <a:pt x="3267463" y="5889995"/>
                  <a:pt x="3273056" y="5884271"/>
                </a:cubicBezTo>
                <a:cubicBezTo>
                  <a:pt x="3278650" y="5878547"/>
                  <a:pt x="3285839" y="5875752"/>
                  <a:pt x="3294894" y="5875752"/>
                </a:cubicBezTo>
                <a:close/>
                <a:moveTo>
                  <a:pt x="3077232" y="5875752"/>
                </a:moveTo>
                <a:cubicBezTo>
                  <a:pt x="3081360" y="5875752"/>
                  <a:pt x="3085354" y="5876551"/>
                  <a:pt x="3088948" y="5878281"/>
                </a:cubicBezTo>
                <a:cubicBezTo>
                  <a:pt x="3092542" y="5879879"/>
                  <a:pt x="3095737" y="5882008"/>
                  <a:pt x="3098266" y="5884671"/>
                </a:cubicBezTo>
                <a:cubicBezTo>
                  <a:pt x="3100795" y="5887200"/>
                  <a:pt x="3102925" y="5890394"/>
                  <a:pt x="3104389" y="5893989"/>
                </a:cubicBezTo>
                <a:cubicBezTo>
                  <a:pt x="3105854" y="5897583"/>
                  <a:pt x="3106652" y="5901443"/>
                  <a:pt x="3106652" y="5905437"/>
                </a:cubicBezTo>
                <a:cubicBezTo>
                  <a:pt x="3106652" y="5909563"/>
                  <a:pt x="3105854" y="5913557"/>
                  <a:pt x="3104389" y="5917152"/>
                </a:cubicBezTo>
                <a:cubicBezTo>
                  <a:pt x="3102925" y="5920746"/>
                  <a:pt x="3100795" y="5923808"/>
                  <a:pt x="3098266" y="5926470"/>
                </a:cubicBezTo>
                <a:cubicBezTo>
                  <a:pt x="3095603" y="5929132"/>
                  <a:pt x="3092542" y="5931262"/>
                  <a:pt x="3088948" y="5932727"/>
                </a:cubicBezTo>
                <a:cubicBezTo>
                  <a:pt x="3085354" y="5934191"/>
                  <a:pt x="3081493" y="5934989"/>
                  <a:pt x="3077232" y="5934989"/>
                </a:cubicBezTo>
                <a:cubicBezTo>
                  <a:pt x="3068312" y="5934989"/>
                  <a:pt x="3060988" y="5932061"/>
                  <a:pt x="3055393" y="5926470"/>
                </a:cubicBezTo>
                <a:cubicBezTo>
                  <a:pt x="3049803" y="5920879"/>
                  <a:pt x="3047007" y="5913823"/>
                  <a:pt x="3047007" y="5905304"/>
                </a:cubicBezTo>
                <a:cubicBezTo>
                  <a:pt x="3047007" y="5897050"/>
                  <a:pt x="3049803" y="5889995"/>
                  <a:pt x="3055393" y="5884271"/>
                </a:cubicBezTo>
                <a:cubicBezTo>
                  <a:pt x="3060988" y="5878547"/>
                  <a:pt x="3068179" y="5875752"/>
                  <a:pt x="3077232" y="5875752"/>
                </a:cubicBezTo>
                <a:close/>
                <a:moveTo>
                  <a:pt x="2859571" y="5875752"/>
                </a:moveTo>
                <a:cubicBezTo>
                  <a:pt x="2863831" y="5875752"/>
                  <a:pt x="2867692" y="5876551"/>
                  <a:pt x="2871419" y="5878281"/>
                </a:cubicBezTo>
                <a:cubicBezTo>
                  <a:pt x="2875146" y="5879879"/>
                  <a:pt x="2878208" y="5882008"/>
                  <a:pt x="2880737" y="5884671"/>
                </a:cubicBezTo>
                <a:cubicBezTo>
                  <a:pt x="2883399" y="5887200"/>
                  <a:pt x="2885396" y="5890394"/>
                  <a:pt x="2886860" y="5893989"/>
                </a:cubicBezTo>
                <a:cubicBezTo>
                  <a:pt x="2888325" y="5897583"/>
                  <a:pt x="2889123" y="5901443"/>
                  <a:pt x="2889123" y="5905437"/>
                </a:cubicBezTo>
                <a:cubicBezTo>
                  <a:pt x="2889123" y="5909563"/>
                  <a:pt x="2888325" y="5913557"/>
                  <a:pt x="2886860" y="5917152"/>
                </a:cubicBezTo>
                <a:cubicBezTo>
                  <a:pt x="2885396" y="5920746"/>
                  <a:pt x="2883266" y="5923808"/>
                  <a:pt x="2880737" y="5926470"/>
                </a:cubicBezTo>
                <a:cubicBezTo>
                  <a:pt x="2878075" y="5929132"/>
                  <a:pt x="2875012" y="5931262"/>
                  <a:pt x="2871419" y="5932727"/>
                </a:cubicBezTo>
                <a:cubicBezTo>
                  <a:pt x="2867692" y="5934191"/>
                  <a:pt x="2863831" y="5934989"/>
                  <a:pt x="2859571" y="5934989"/>
                </a:cubicBezTo>
                <a:cubicBezTo>
                  <a:pt x="2850653" y="5934989"/>
                  <a:pt x="2843325" y="5932061"/>
                  <a:pt x="2837732" y="5926470"/>
                </a:cubicBezTo>
                <a:cubicBezTo>
                  <a:pt x="2832141" y="5920879"/>
                  <a:pt x="2829344" y="5913823"/>
                  <a:pt x="2829344" y="5905304"/>
                </a:cubicBezTo>
                <a:cubicBezTo>
                  <a:pt x="2829344" y="5897050"/>
                  <a:pt x="2832141" y="5889995"/>
                  <a:pt x="2837732" y="5884271"/>
                </a:cubicBezTo>
                <a:cubicBezTo>
                  <a:pt x="2843325" y="5878547"/>
                  <a:pt x="2850519" y="5875752"/>
                  <a:pt x="2859571" y="5875752"/>
                </a:cubicBezTo>
                <a:close/>
                <a:moveTo>
                  <a:pt x="2641908" y="5875752"/>
                </a:moveTo>
                <a:cubicBezTo>
                  <a:pt x="2646169" y="5875752"/>
                  <a:pt x="2650028" y="5876551"/>
                  <a:pt x="2653624" y="5878281"/>
                </a:cubicBezTo>
                <a:cubicBezTo>
                  <a:pt x="2657351" y="5879879"/>
                  <a:pt x="2660413" y="5882008"/>
                  <a:pt x="2662942" y="5884671"/>
                </a:cubicBezTo>
                <a:cubicBezTo>
                  <a:pt x="2665604" y="5887200"/>
                  <a:pt x="2667601" y="5890394"/>
                  <a:pt x="2669065" y="5893989"/>
                </a:cubicBezTo>
                <a:cubicBezTo>
                  <a:pt x="2670529" y="5897583"/>
                  <a:pt x="2671328" y="5901443"/>
                  <a:pt x="2671328" y="5905437"/>
                </a:cubicBezTo>
                <a:cubicBezTo>
                  <a:pt x="2671328" y="5909563"/>
                  <a:pt x="2670529" y="5913557"/>
                  <a:pt x="2669065" y="5917152"/>
                </a:cubicBezTo>
                <a:cubicBezTo>
                  <a:pt x="2667601" y="5920746"/>
                  <a:pt x="2665471" y="5923808"/>
                  <a:pt x="2662942" y="5926470"/>
                </a:cubicBezTo>
                <a:cubicBezTo>
                  <a:pt x="2660413" y="5929132"/>
                  <a:pt x="2657217" y="5931262"/>
                  <a:pt x="2653624" y="5932727"/>
                </a:cubicBezTo>
                <a:cubicBezTo>
                  <a:pt x="2650028" y="5934191"/>
                  <a:pt x="2646169" y="5934989"/>
                  <a:pt x="2641908" y="5934989"/>
                </a:cubicBezTo>
                <a:cubicBezTo>
                  <a:pt x="2632989" y="5934989"/>
                  <a:pt x="2625667" y="5932061"/>
                  <a:pt x="2620075" y="5926470"/>
                </a:cubicBezTo>
                <a:cubicBezTo>
                  <a:pt x="2614483" y="5920879"/>
                  <a:pt x="2611685" y="5913823"/>
                  <a:pt x="2611685" y="5905304"/>
                </a:cubicBezTo>
                <a:cubicBezTo>
                  <a:pt x="2611685" y="5897050"/>
                  <a:pt x="2614483" y="5889995"/>
                  <a:pt x="2620075" y="5884271"/>
                </a:cubicBezTo>
                <a:cubicBezTo>
                  <a:pt x="2625667" y="5878547"/>
                  <a:pt x="2632856" y="5875752"/>
                  <a:pt x="2641908" y="5875752"/>
                </a:cubicBezTo>
                <a:close/>
                <a:moveTo>
                  <a:pt x="2424246" y="5875752"/>
                </a:moveTo>
                <a:cubicBezTo>
                  <a:pt x="2428507" y="5875752"/>
                  <a:pt x="2432501" y="5876551"/>
                  <a:pt x="2435962" y="5878281"/>
                </a:cubicBezTo>
                <a:cubicBezTo>
                  <a:pt x="2439689" y="5879879"/>
                  <a:pt x="2442751" y="5882008"/>
                  <a:pt x="2445280" y="5884671"/>
                </a:cubicBezTo>
                <a:cubicBezTo>
                  <a:pt x="2447942" y="5887200"/>
                  <a:pt x="2449939" y="5890394"/>
                  <a:pt x="2451403" y="5893989"/>
                </a:cubicBezTo>
                <a:cubicBezTo>
                  <a:pt x="2452867" y="5897583"/>
                  <a:pt x="2453666" y="5901443"/>
                  <a:pt x="2453666" y="5905437"/>
                </a:cubicBezTo>
                <a:cubicBezTo>
                  <a:pt x="2453666" y="5909563"/>
                  <a:pt x="2452867" y="5913557"/>
                  <a:pt x="2451403" y="5917152"/>
                </a:cubicBezTo>
                <a:cubicBezTo>
                  <a:pt x="2449939" y="5920746"/>
                  <a:pt x="2447809" y="5923808"/>
                  <a:pt x="2445280" y="5926470"/>
                </a:cubicBezTo>
                <a:cubicBezTo>
                  <a:pt x="2442751" y="5929132"/>
                  <a:pt x="2439556" y="5931262"/>
                  <a:pt x="2435962" y="5932727"/>
                </a:cubicBezTo>
                <a:cubicBezTo>
                  <a:pt x="2432367" y="5934191"/>
                  <a:pt x="2428507" y="5934989"/>
                  <a:pt x="2424246" y="5934989"/>
                </a:cubicBezTo>
                <a:cubicBezTo>
                  <a:pt x="2415328" y="5934989"/>
                  <a:pt x="2408006" y="5932061"/>
                  <a:pt x="2402414" y="5926470"/>
                </a:cubicBezTo>
                <a:cubicBezTo>
                  <a:pt x="2396821" y="5920879"/>
                  <a:pt x="2394025" y="5913823"/>
                  <a:pt x="2394025" y="5905304"/>
                </a:cubicBezTo>
                <a:cubicBezTo>
                  <a:pt x="2394025" y="5897050"/>
                  <a:pt x="2396821" y="5889995"/>
                  <a:pt x="2402414" y="5884271"/>
                </a:cubicBezTo>
                <a:cubicBezTo>
                  <a:pt x="2408006" y="5878547"/>
                  <a:pt x="2415194" y="5875752"/>
                  <a:pt x="2424246" y="5875752"/>
                </a:cubicBezTo>
                <a:close/>
                <a:moveTo>
                  <a:pt x="2206585" y="5875752"/>
                </a:moveTo>
                <a:cubicBezTo>
                  <a:pt x="2210844" y="5875752"/>
                  <a:pt x="2214839" y="5876551"/>
                  <a:pt x="2218299" y="5878281"/>
                </a:cubicBezTo>
                <a:cubicBezTo>
                  <a:pt x="2222026" y="5879879"/>
                  <a:pt x="2225088" y="5882008"/>
                  <a:pt x="2227618" y="5884671"/>
                </a:cubicBezTo>
                <a:cubicBezTo>
                  <a:pt x="2230280" y="5887200"/>
                  <a:pt x="2232277" y="5890394"/>
                  <a:pt x="2233741" y="5893989"/>
                </a:cubicBezTo>
                <a:cubicBezTo>
                  <a:pt x="2235205" y="5897583"/>
                  <a:pt x="2236004" y="5901443"/>
                  <a:pt x="2236004" y="5905437"/>
                </a:cubicBezTo>
                <a:cubicBezTo>
                  <a:pt x="2236004" y="5909563"/>
                  <a:pt x="2235205" y="5913557"/>
                  <a:pt x="2233741" y="5917152"/>
                </a:cubicBezTo>
                <a:cubicBezTo>
                  <a:pt x="2232277" y="5920746"/>
                  <a:pt x="2230147" y="5923808"/>
                  <a:pt x="2227618" y="5926470"/>
                </a:cubicBezTo>
                <a:cubicBezTo>
                  <a:pt x="2225088" y="5929132"/>
                  <a:pt x="2221894" y="5931262"/>
                  <a:pt x="2218299" y="5932727"/>
                </a:cubicBezTo>
                <a:cubicBezTo>
                  <a:pt x="2214705" y="5934191"/>
                  <a:pt x="2210844" y="5934989"/>
                  <a:pt x="2206585" y="5934989"/>
                </a:cubicBezTo>
                <a:cubicBezTo>
                  <a:pt x="2197532" y="5934989"/>
                  <a:pt x="2190344" y="5932061"/>
                  <a:pt x="2184751" y="5926470"/>
                </a:cubicBezTo>
                <a:cubicBezTo>
                  <a:pt x="2179159" y="5920879"/>
                  <a:pt x="2176363" y="5913823"/>
                  <a:pt x="2176363" y="5905304"/>
                </a:cubicBezTo>
                <a:cubicBezTo>
                  <a:pt x="2176363" y="5897050"/>
                  <a:pt x="2179159" y="5889995"/>
                  <a:pt x="2184751" y="5884271"/>
                </a:cubicBezTo>
                <a:cubicBezTo>
                  <a:pt x="2190344" y="5878547"/>
                  <a:pt x="2197532" y="5875752"/>
                  <a:pt x="2206585" y="5875752"/>
                </a:cubicBezTo>
                <a:close/>
                <a:moveTo>
                  <a:pt x="1989055" y="5875752"/>
                </a:moveTo>
                <a:cubicBezTo>
                  <a:pt x="1993182" y="5875752"/>
                  <a:pt x="1997177" y="5876551"/>
                  <a:pt x="2000771" y="5878281"/>
                </a:cubicBezTo>
                <a:cubicBezTo>
                  <a:pt x="2004498" y="5879879"/>
                  <a:pt x="2007560" y="5882008"/>
                  <a:pt x="2010089" y="5884671"/>
                </a:cubicBezTo>
                <a:cubicBezTo>
                  <a:pt x="2012750" y="5887200"/>
                  <a:pt x="2014748" y="5890394"/>
                  <a:pt x="2016212" y="5893989"/>
                </a:cubicBezTo>
                <a:cubicBezTo>
                  <a:pt x="2017676" y="5897583"/>
                  <a:pt x="2018475" y="5901443"/>
                  <a:pt x="2018475" y="5905437"/>
                </a:cubicBezTo>
                <a:cubicBezTo>
                  <a:pt x="2018475" y="5909563"/>
                  <a:pt x="2017676" y="5913557"/>
                  <a:pt x="2016212" y="5917152"/>
                </a:cubicBezTo>
                <a:cubicBezTo>
                  <a:pt x="2014748" y="5920746"/>
                  <a:pt x="2012618" y="5923808"/>
                  <a:pt x="2010089" y="5926470"/>
                </a:cubicBezTo>
                <a:cubicBezTo>
                  <a:pt x="2007560" y="5929132"/>
                  <a:pt x="2004364" y="5931262"/>
                  <a:pt x="2000771" y="5932727"/>
                </a:cubicBezTo>
                <a:cubicBezTo>
                  <a:pt x="1997177" y="5934191"/>
                  <a:pt x="1993315" y="5934989"/>
                  <a:pt x="1989055" y="5934989"/>
                </a:cubicBezTo>
                <a:cubicBezTo>
                  <a:pt x="1980004" y="5934989"/>
                  <a:pt x="1972815" y="5932061"/>
                  <a:pt x="1967224" y="5926470"/>
                </a:cubicBezTo>
                <a:cubicBezTo>
                  <a:pt x="1961634" y="5920879"/>
                  <a:pt x="1958838" y="5913823"/>
                  <a:pt x="1958838" y="5905304"/>
                </a:cubicBezTo>
                <a:cubicBezTo>
                  <a:pt x="1958838" y="5897050"/>
                  <a:pt x="1961634" y="5889995"/>
                  <a:pt x="1967224" y="5884271"/>
                </a:cubicBezTo>
                <a:cubicBezTo>
                  <a:pt x="1972815" y="5878547"/>
                  <a:pt x="1980004" y="5875752"/>
                  <a:pt x="1989055" y="5875752"/>
                </a:cubicBezTo>
                <a:close/>
                <a:moveTo>
                  <a:pt x="1771422" y="5875752"/>
                </a:moveTo>
                <a:cubicBezTo>
                  <a:pt x="1775681" y="5875752"/>
                  <a:pt x="1779541" y="5876551"/>
                  <a:pt x="1783136" y="5878281"/>
                </a:cubicBezTo>
                <a:cubicBezTo>
                  <a:pt x="1786863" y="5879879"/>
                  <a:pt x="1789925" y="5882008"/>
                  <a:pt x="1792454" y="5884671"/>
                </a:cubicBezTo>
                <a:cubicBezTo>
                  <a:pt x="1795116" y="5887200"/>
                  <a:pt x="1797113" y="5890394"/>
                  <a:pt x="1798577" y="5893989"/>
                </a:cubicBezTo>
                <a:cubicBezTo>
                  <a:pt x="1800040" y="5897583"/>
                  <a:pt x="1800839" y="5901443"/>
                  <a:pt x="1800839" y="5905437"/>
                </a:cubicBezTo>
                <a:cubicBezTo>
                  <a:pt x="1800839" y="5909563"/>
                  <a:pt x="1800040" y="5913557"/>
                  <a:pt x="1798577" y="5917152"/>
                </a:cubicBezTo>
                <a:cubicBezTo>
                  <a:pt x="1797113" y="5920746"/>
                  <a:pt x="1794983" y="5923808"/>
                  <a:pt x="1792454" y="5926470"/>
                </a:cubicBezTo>
                <a:cubicBezTo>
                  <a:pt x="1789791" y="5929132"/>
                  <a:pt x="1786730" y="5931262"/>
                  <a:pt x="1783136" y="5932727"/>
                </a:cubicBezTo>
                <a:cubicBezTo>
                  <a:pt x="1779541" y="5934191"/>
                  <a:pt x="1775681" y="5934989"/>
                  <a:pt x="1771422" y="5934989"/>
                </a:cubicBezTo>
                <a:cubicBezTo>
                  <a:pt x="1762503" y="5934989"/>
                  <a:pt x="1755184" y="5932061"/>
                  <a:pt x="1749593" y="5926470"/>
                </a:cubicBezTo>
                <a:cubicBezTo>
                  <a:pt x="1744003" y="5920879"/>
                  <a:pt x="1741210" y="5913823"/>
                  <a:pt x="1741210" y="5905304"/>
                </a:cubicBezTo>
                <a:cubicBezTo>
                  <a:pt x="1741210" y="5897050"/>
                  <a:pt x="1744003" y="5889995"/>
                  <a:pt x="1749593" y="5884271"/>
                </a:cubicBezTo>
                <a:cubicBezTo>
                  <a:pt x="1755184" y="5878547"/>
                  <a:pt x="1762370" y="5875752"/>
                  <a:pt x="1771422" y="5875752"/>
                </a:cubicBezTo>
                <a:close/>
                <a:moveTo>
                  <a:pt x="1553786" y="5875752"/>
                </a:moveTo>
                <a:cubicBezTo>
                  <a:pt x="1558045" y="5875752"/>
                  <a:pt x="1561906" y="5876551"/>
                  <a:pt x="1565500" y="5878281"/>
                </a:cubicBezTo>
                <a:cubicBezTo>
                  <a:pt x="1569095" y="5879879"/>
                  <a:pt x="1572290" y="5882008"/>
                  <a:pt x="1574819" y="5884671"/>
                </a:cubicBezTo>
                <a:cubicBezTo>
                  <a:pt x="1577481" y="5887200"/>
                  <a:pt x="1579478" y="5890394"/>
                  <a:pt x="1580942" y="5893989"/>
                </a:cubicBezTo>
                <a:cubicBezTo>
                  <a:pt x="1582406" y="5897583"/>
                  <a:pt x="1583205" y="5901443"/>
                  <a:pt x="1583205" y="5905437"/>
                </a:cubicBezTo>
                <a:cubicBezTo>
                  <a:pt x="1583205" y="5909563"/>
                  <a:pt x="1582406" y="5913557"/>
                  <a:pt x="1580942" y="5917152"/>
                </a:cubicBezTo>
                <a:cubicBezTo>
                  <a:pt x="1579478" y="5920746"/>
                  <a:pt x="1577348" y="5923808"/>
                  <a:pt x="1574819" y="5926470"/>
                </a:cubicBezTo>
                <a:cubicBezTo>
                  <a:pt x="1572157" y="5929132"/>
                  <a:pt x="1569095" y="5931262"/>
                  <a:pt x="1565500" y="5932727"/>
                </a:cubicBezTo>
                <a:cubicBezTo>
                  <a:pt x="1561906" y="5934191"/>
                  <a:pt x="1558045" y="5934989"/>
                  <a:pt x="1553786" y="5934989"/>
                </a:cubicBezTo>
                <a:cubicBezTo>
                  <a:pt x="1544868" y="5934989"/>
                  <a:pt x="1537546" y="5932061"/>
                  <a:pt x="1531956" y="5926470"/>
                </a:cubicBezTo>
                <a:cubicBezTo>
                  <a:pt x="1526367" y="5920879"/>
                  <a:pt x="1523571" y="5913823"/>
                  <a:pt x="1523571" y="5905304"/>
                </a:cubicBezTo>
                <a:cubicBezTo>
                  <a:pt x="1523571" y="5897050"/>
                  <a:pt x="1526367" y="5889995"/>
                  <a:pt x="1531956" y="5884271"/>
                </a:cubicBezTo>
                <a:cubicBezTo>
                  <a:pt x="1537546" y="5878547"/>
                  <a:pt x="1544734" y="5875752"/>
                  <a:pt x="1553786" y="5875752"/>
                </a:cubicBezTo>
                <a:close/>
                <a:moveTo>
                  <a:pt x="1336143" y="5875752"/>
                </a:moveTo>
                <a:cubicBezTo>
                  <a:pt x="1340401" y="5875752"/>
                  <a:pt x="1344397" y="5876551"/>
                  <a:pt x="1347858" y="5878281"/>
                </a:cubicBezTo>
                <a:cubicBezTo>
                  <a:pt x="1351451" y="5879879"/>
                  <a:pt x="1354647" y="5882008"/>
                  <a:pt x="1357176" y="5884671"/>
                </a:cubicBezTo>
                <a:cubicBezTo>
                  <a:pt x="1359838" y="5887200"/>
                  <a:pt x="1361835" y="5890394"/>
                  <a:pt x="1363299" y="5893989"/>
                </a:cubicBezTo>
                <a:cubicBezTo>
                  <a:pt x="1364763" y="5897583"/>
                  <a:pt x="1365561" y="5901443"/>
                  <a:pt x="1365561" y="5905437"/>
                </a:cubicBezTo>
                <a:cubicBezTo>
                  <a:pt x="1365561" y="5909563"/>
                  <a:pt x="1364763" y="5913557"/>
                  <a:pt x="1363299" y="5917152"/>
                </a:cubicBezTo>
                <a:cubicBezTo>
                  <a:pt x="1361835" y="5920746"/>
                  <a:pt x="1359705" y="5923808"/>
                  <a:pt x="1357176" y="5926470"/>
                </a:cubicBezTo>
                <a:cubicBezTo>
                  <a:pt x="1354512" y="5929132"/>
                  <a:pt x="1351451" y="5931262"/>
                  <a:pt x="1347858" y="5932727"/>
                </a:cubicBezTo>
                <a:cubicBezTo>
                  <a:pt x="1344264" y="5934191"/>
                  <a:pt x="1340401" y="5934989"/>
                  <a:pt x="1336143" y="5934989"/>
                </a:cubicBezTo>
                <a:cubicBezTo>
                  <a:pt x="1327222" y="5934989"/>
                  <a:pt x="1319901" y="5932061"/>
                  <a:pt x="1314309" y="5926470"/>
                </a:cubicBezTo>
                <a:cubicBezTo>
                  <a:pt x="1308719" y="5920879"/>
                  <a:pt x="1305924" y="5913823"/>
                  <a:pt x="1305924" y="5905304"/>
                </a:cubicBezTo>
                <a:cubicBezTo>
                  <a:pt x="1305924" y="5897050"/>
                  <a:pt x="1308719" y="5889995"/>
                  <a:pt x="1314309" y="5884271"/>
                </a:cubicBezTo>
                <a:cubicBezTo>
                  <a:pt x="1319901" y="5878547"/>
                  <a:pt x="1327089" y="5875752"/>
                  <a:pt x="1336143" y="5875752"/>
                </a:cubicBezTo>
                <a:close/>
                <a:moveTo>
                  <a:pt x="1118497" y="5875752"/>
                </a:moveTo>
                <a:cubicBezTo>
                  <a:pt x="1122758" y="5875752"/>
                  <a:pt x="1126755" y="5876551"/>
                  <a:pt x="1130215" y="5878281"/>
                </a:cubicBezTo>
                <a:cubicBezTo>
                  <a:pt x="1133942" y="5879879"/>
                  <a:pt x="1137004" y="5882008"/>
                  <a:pt x="1139529" y="5884671"/>
                </a:cubicBezTo>
                <a:cubicBezTo>
                  <a:pt x="1142190" y="5887200"/>
                  <a:pt x="1144187" y="5890394"/>
                  <a:pt x="1145649" y="5893989"/>
                </a:cubicBezTo>
                <a:cubicBezTo>
                  <a:pt x="1147114" y="5897583"/>
                  <a:pt x="1147913" y="5901443"/>
                  <a:pt x="1147913" y="5905437"/>
                </a:cubicBezTo>
                <a:cubicBezTo>
                  <a:pt x="1147913" y="5909563"/>
                  <a:pt x="1147114" y="5913557"/>
                  <a:pt x="1145649" y="5917152"/>
                </a:cubicBezTo>
                <a:cubicBezTo>
                  <a:pt x="1144187" y="5920746"/>
                  <a:pt x="1142058" y="5923808"/>
                  <a:pt x="1139529" y="5926470"/>
                </a:cubicBezTo>
                <a:cubicBezTo>
                  <a:pt x="1137004" y="5929132"/>
                  <a:pt x="1133809" y="5931262"/>
                  <a:pt x="1130215" y="5932727"/>
                </a:cubicBezTo>
                <a:cubicBezTo>
                  <a:pt x="1126619" y="5934191"/>
                  <a:pt x="1122758" y="5934989"/>
                  <a:pt x="1118497" y="5934989"/>
                </a:cubicBezTo>
                <a:cubicBezTo>
                  <a:pt x="1109577" y="5934989"/>
                  <a:pt x="1102252" y="5932061"/>
                  <a:pt x="1096662" y="5926470"/>
                </a:cubicBezTo>
                <a:cubicBezTo>
                  <a:pt x="1091072" y="5920879"/>
                  <a:pt x="1088277" y="5913823"/>
                  <a:pt x="1088277" y="5905304"/>
                </a:cubicBezTo>
                <a:cubicBezTo>
                  <a:pt x="1088277" y="5897050"/>
                  <a:pt x="1091072" y="5889995"/>
                  <a:pt x="1096662" y="5884271"/>
                </a:cubicBezTo>
                <a:cubicBezTo>
                  <a:pt x="1102252" y="5878547"/>
                  <a:pt x="1109443" y="5875752"/>
                  <a:pt x="1118497" y="5875752"/>
                </a:cubicBezTo>
                <a:close/>
                <a:moveTo>
                  <a:pt x="900984" y="5875752"/>
                </a:moveTo>
                <a:cubicBezTo>
                  <a:pt x="905111" y="5875752"/>
                  <a:pt x="909105" y="5876551"/>
                  <a:pt x="912699" y="5878281"/>
                </a:cubicBezTo>
                <a:cubicBezTo>
                  <a:pt x="916426" y="5879879"/>
                  <a:pt x="919488" y="5882008"/>
                  <a:pt x="922017" y="5884671"/>
                </a:cubicBezTo>
                <a:cubicBezTo>
                  <a:pt x="924679" y="5887200"/>
                  <a:pt x="926676" y="5890394"/>
                  <a:pt x="928139" y="5893989"/>
                </a:cubicBezTo>
                <a:cubicBezTo>
                  <a:pt x="929604" y="5897583"/>
                  <a:pt x="930402" y="5901443"/>
                  <a:pt x="930402" y="5905437"/>
                </a:cubicBezTo>
                <a:cubicBezTo>
                  <a:pt x="930402" y="5909563"/>
                  <a:pt x="929604" y="5913557"/>
                  <a:pt x="928139" y="5917152"/>
                </a:cubicBezTo>
                <a:cubicBezTo>
                  <a:pt x="926676" y="5920746"/>
                  <a:pt x="924546" y="5923808"/>
                  <a:pt x="922017" y="5926470"/>
                </a:cubicBezTo>
                <a:cubicBezTo>
                  <a:pt x="919488" y="5929132"/>
                  <a:pt x="916293" y="5931262"/>
                  <a:pt x="912699" y="5932727"/>
                </a:cubicBezTo>
                <a:cubicBezTo>
                  <a:pt x="909105" y="5934191"/>
                  <a:pt x="905244" y="5934989"/>
                  <a:pt x="900984" y="5934989"/>
                </a:cubicBezTo>
                <a:cubicBezTo>
                  <a:pt x="892066" y="5934989"/>
                  <a:pt x="884743" y="5932061"/>
                  <a:pt x="879153" y="5926470"/>
                </a:cubicBezTo>
                <a:cubicBezTo>
                  <a:pt x="873564" y="5920879"/>
                  <a:pt x="870768" y="5913823"/>
                  <a:pt x="870768" y="5905304"/>
                </a:cubicBezTo>
                <a:cubicBezTo>
                  <a:pt x="870768" y="5897050"/>
                  <a:pt x="873564" y="5889995"/>
                  <a:pt x="879153" y="5884271"/>
                </a:cubicBezTo>
                <a:cubicBezTo>
                  <a:pt x="884743" y="5878547"/>
                  <a:pt x="891932" y="5875752"/>
                  <a:pt x="900984" y="5875752"/>
                </a:cubicBezTo>
                <a:close/>
                <a:moveTo>
                  <a:pt x="683344" y="5875752"/>
                </a:moveTo>
                <a:cubicBezTo>
                  <a:pt x="687604" y="5875752"/>
                  <a:pt x="691465" y="5876551"/>
                  <a:pt x="695059" y="5878281"/>
                </a:cubicBezTo>
                <a:cubicBezTo>
                  <a:pt x="698786" y="5879879"/>
                  <a:pt x="701848" y="5882008"/>
                  <a:pt x="704376" y="5884671"/>
                </a:cubicBezTo>
                <a:cubicBezTo>
                  <a:pt x="707038" y="5887200"/>
                  <a:pt x="709035" y="5890394"/>
                  <a:pt x="710499" y="5893989"/>
                </a:cubicBezTo>
                <a:cubicBezTo>
                  <a:pt x="711963" y="5897583"/>
                  <a:pt x="712762" y="5901443"/>
                  <a:pt x="712762" y="5905437"/>
                </a:cubicBezTo>
                <a:cubicBezTo>
                  <a:pt x="712762" y="5909563"/>
                  <a:pt x="711963" y="5913557"/>
                  <a:pt x="710499" y="5917152"/>
                </a:cubicBezTo>
                <a:cubicBezTo>
                  <a:pt x="709035" y="5920746"/>
                  <a:pt x="706905" y="5923808"/>
                  <a:pt x="704376" y="5926470"/>
                </a:cubicBezTo>
                <a:cubicBezTo>
                  <a:pt x="701848" y="5929132"/>
                  <a:pt x="698653" y="5931262"/>
                  <a:pt x="695059" y="5932727"/>
                </a:cubicBezTo>
                <a:cubicBezTo>
                  <a:pt x="691465" y="5934191"/>
                  <a:pt x="687604" y="5934989"/>
                  <a:pt x="683344" y="5934989"/>
                </a:cubicBezTo>
                <a:cubicBezTo>
                  <a:pt x="674426" y="5934989"/>
                  <a:pt x="667104" y="5932061"/>
                  <a:pt x="661512" y="5926470"/>
                </a:cubicBezTo>
                <a:cubicBezTo>
                  <a:pt x="655921" y="5920879"/>
                  <a:pt x="653126" y="5913823"/>
                  <a:pt x="653126" y="5905304"/>
                </a:cubicBezTo>
                <a:cubicBezTo>
                  <a:pt x="653126" y="5897050"/>
                  <a:pt x="655921" y="5889995"/>
                  <a:pt x="661512" y="5884271"/>
                </a:cubicBezTo>
                <a:cubicBezTo>
                  <a:pt x="667104" y="5878547"/>
                  <a:pt x="674293" y="5875752"/>
                  <a:pt x="683344" y="5875752"/>
                </a:cubicBezTo>
                <a:close/>
                <a:moveTo>
                  <a:pt x="465703" y="5875752"/>
                </a:moveTo>
                <a:cubicBezTo>
                  <a:pt x="469963" y="5875752"/>
                  <a:pt x="473823" y="5876551"/>
                  <a:pt x="477418" y="5878281"/>
                </a:cubicBezTo>
                <a:cubicBezTo>
                  <a:pt x="481145" y="5879879"/>
                  <a:pt x="484206" y="5882008"/>
                  <a:pt x="486736" y="5884671"/>
                </a:cubicBezTo>
                <a:cubicBezTo>
                  <a:pt x="489397" y="5887200"/>
                  <a:pt x="491394" y="5890394"/>
                  <a:pt x="492858" y="5893989"/>
                </a:cubicBezTo>
                <a:cubicBezTo>
                  <a:pt x="494322" y="5897583"/>
                  <a:pt x="495121" y="5901443"/>
                  <a:pt x="495121" y="5905437"/>
                </a:cubicBezTo>
                <a:cubicBezTo>
                  <a:pt x="495121" y="5909563"/>
                  <a:pt x="494322" y="5913557"/>
                  <a:pt x="492858" y="5917152"/>
                </a:cubicBezTo>
                <a:cubicBezTo>
                  <a:pt x="491394" y="5920746"/>
                  <a:pt x="489264" y="5923808"/>
                  <a:pt x="486736" y="5926470"/>
                </a:cubicBezTo>
                <a:cubicBezTo>
                  <a:pt x="484073" y="5929132"/>
                  <a:pt x="481012" y="5931262"/>
                  <a:pt x="477418" y="5932727"/>
                </a:cubicBezTo>
                <a:cubicBezTo>
                  <a:pt x="473823" y="5934191"/>
                  <a:pt x="469963" y="5934989"/>
                  <a:pt x="465703" y="5934989"/>
                </a:cubicBezTo>
                <a:cubicBezTo>
                  <a:pt x="456785" y="5934989"/>
                  <a:pt x="449462" y="5932061"/>
                  <a:pt x="443872" y="5926470"/>
                </a:cubicBezTo>
                <a:cubicBezTo>
                  <a:pt x="438281" y="5920879"/>
                  <a:pt x="435486" y="5913823"/>
                  <a:pt x="435486" y="5905304"/>
                </a:cubicBezTo>
                <a:cubicBezTo>
                  <a:pt x="435486" y="5897050"/>
                  <a:pt x="438281" y="5889995"/>
                  <a:pt x="443872" y="5884271"/>
                </a:cubicBezTo>
                <a:cubicBezTo>
                  <a:pt x="449462" y="5878547"/>
                  <a:pt x="456652" y="5875752"/>
                  <a:pt x="465703" y="5875752"/>
                </a:cubicBezTo>
                <a:close/>
                <a:moveTo>
                  <a:pt x="248061" y="5875752"/>
                </a:moveTo>
                <a:cubicBezTo>
                  <a:pt x="252321" y="5875752"/>
                  <a:pt x="256315" y="5876551"/>
                  <a:pt x="259776" y="5878281"/>
                </a:cubicBezTo>
                <a:cubicBezTo>
                  <a:pt x="263503" y="5879879"/>
                  <a:pt x="266565" y="5882008"/>
                  <a:pt x="269094" y="5884671"/>
                </a:cubicBezTo>
                <a:cubicBezTo>
                  <a:pt x="271756" y="5887200"/>
                  <a:pt x="273753" y="5890394"/>
                  <a:pt x="275217" y="5893989"/>
                </a:cubicBezTo>
                <a:cubicBezTo>
                  <a:pt x="276681" y="5897583"/>
                  <a:pt x="277480" y="5901443"/>
                  <a:pt x="277480" y="5905437"/>
                </a:cubicBezTo>
                <a:cubicBezTo>
                  <a:pt x="277480" y="5909563"/>
                  <a:pt x="276681" y="5913557"/>
                  <a:pt x="275217" y="5917152"/>
                </a:cubicBezTo>
                <a:cubicBezTo>
                  <a:pt x="273753" y="5920746"/>
                  <a:pt x="271623" y="5923808"/>
                  <a:pt x="269094" y="5926470"/>
                </a:cubicBezTo>
                <a:cubicBezTo>
                  <a:pt x="266431" y="5929132"/>
                  <a:pt x="263370" y="5931262"/>
                  <a:pt x="259776" y="5932727"/>
                </a:cubicBezTo>
                <a:cubicBezTo>
                  <a:pt x="256181" y="5934191"/>
                  <a:pt x="252321" y="5934989"/>
                  <a:pt x="248061" y="5934989"/>
                </a:cubicBezTo>
                <a:cubicBezTo>
                  <a:pt x="239144" y="5934989"/>
                  <a:pt x="231823" y="5932061"/>
                  <a:pt x="226232" y="5926470"/>
                </a:cubicBezTo>
                <a:cubicBezTo>
                  <a:pt x="220642" y="5920879"/>
                  <a:pt x="217847" y="5913823"/>
                  <a:pt x="217847" y="5905304"/>
                </a:cubicBezTo>
                <a:cubicBezTo>
                  <a:pt x="217847" y="5897050"/>
                  <a:pt x="220642" y="5889995"/>
                  <a:pt x="226232" y="5884271"/>
                </a:cubicBezTo>
                <a:cubicBezTo>
                  <a:pt x="231823" y="5878547"/>
                  <a:pt x="239010" y="5875752"/>
                  <a:pt x="248061" y="5875752"/>
                </a:cubicBezTo>
                <a:close/>
                <a:moveTo>
                  <a:pt x="30420" y="5875752"/>
                </a:moveTo>
                <a:cubicBezTo>
                  <a:pt x="34680" y="5875752"/>
                  <a:pt x="38674" y="5876551"/>
                  <a:pt x="42135" y="5878281"/>
                </a:cubicBezTo>
                <a:cubicBezTo>
                  <a:pt x="45862" y="5879879"/>
                  <a:pt x="48924" y="5882008"/>
                  <a:pt x="51453" y="5884671"/>
                </a:cubicBezTo>
                <a:cubicBezTo>
                  <a:pt x="54115" y="5887200"/>
                  <a:pt x="56113" y="5890394"/>
                  <a:pt x="57577" y="5893989"/>
                </a:cubicBezTo>
                <a:cubicBezTo>
                  <a:pt x="59041" y="5897583"/>
                  <a:pt x="59840" y="5901443"/>
                  <a:pt x="59840" y="5905437"/>
                </a:cubicBezTo>
                <a:cubicBezTo>
                  <a:pt x="59840" y="5909563"/>
                  <a:pt x="59041" y="5913557"/>
                  <a:pt x="57577" y="5917152"/>
                </a:cubicBezTo>
                <a:cubicBezTo>
                  <a:pt x="56113" y="5920746"/>
                  <a:pt x="53982" y="5923808"/>
                  <a:pt x="51453" y="5926470"/>
                </a:cubicBezTo>
                <a:cubicBezTo>
                  <a:pt x="48790" y="5929132"/>
                  <a:pt x="45729" y="5931262"/>
                  <a:pt x="42135" y="5932727"/>
                </a:cubicBezTo>
                <a:cubicBezTo>
                  <a:pt x="38541" y="5934191"/>
                  <a:pt x="34680" y="5934989"/>
                  <a:pt x="30420" y="5934989"/>
                </a:cubicBezTo>
                <a:cubicBezTo>
                  <a:pt x="21502" y="5934989"/>
                  <a:pt x="14182" y="5932061"/>
                  <a:pt x="8593" y="5926470"/>
                </a:cubicBezTo>
                <a:cubicBezTo>
                  <a:pt x="3002" y="5920879"/>
                  <a:pt x="207" y="5913823"/>
                  <a:pt x="207" y="5905304"/>
                </a:cubicBezTo>
                <a:cubicBezTo>
                  <a:pt x="207" y="5897050"/>
                  <a:pt x="3002" y="5889995"/>
                  <a:pt x="8593" y="5884271"/>
                </a:cubicBezTo>
                <a:cubicBezTo>
                  <a:pt x="14182" y="5878547"/>
                  <a:pt x="21368" y="5875752"/>
                  <a:pt x="30420" y="5875752"/>
                </a:cubicBezTo>
                <a:close/>
                <a:moveTo>
                  <a:pt x="10475977" y="5674747"/>
                </a:moveTo>
                <a:cubicBezTo>
                  <a:pt x="10470119" y="5674747"/>
                  <a:pt x="10467589" y="5676610"/>
                  <a:pt x="10465992" y="5678341"/>
                </a:cubicBezTo>
                <a:cubicBezTo>
                  <a:pt x="10463463" y="5681003"/>
                  <a:pt x="10462399" y="5683798"/>
                  <a:pt x="10462399" y="5687792"/>
                </a:cubicBezTo>
                <a:cubicBezTo>
                  <a:pt x="10462399" y="5691919"/>
                  <a:pt x="10463463" y="5694714"/>
                  <a:pt x="10465992" y="5697243"/>
                </a:cubicBezTo>
                <a:cubicBezTo>
                  <a:pt x="10467589" y="5698842"/>
                  <a:pt x="10470119" y="5700705"/>
                  <a:pt x="10475977" y="5700705"/>
                </a:cubicBezTo>
                <a:cubicBezTo>
                  <a:pt x="10478107" y="5700705"/>
                  <a:pt x="10479838" y="5700439"/>
                  <a:pt x="10481302" y="5699773"/>
                </a:cubicBezTo>
                <a:cubicBezTo>
                  <a:pt x="10482899" y="5699241"/>
                  <a:pt x="10484098" y="5698442"/>
                  <a:pt x="10485029" y="5697376"/>
                </a:cubicBezTo>
                <a:cubicBezTo>
                  <a:pt x="10486094" y="5696178"/>
                  <a:pt x="10487026" y="5694847"/>
                  <a:pt x="10487691" y="5693117"/>
                </a:cubicBezTo>
                <a:cubicBezTo>
                  <a:pt x="10488357" y="5691519"/>
                  <a:pt x="10488623" y="5689655"/>
                  <a:pt x="10488623" y="5687659"/>
                </a:cubicBezTo>
                <a:cubicBezTo>
                  <a:pt x="10488623" y="5685795"/>
                  <a:pt x="10488357" y="5684064"/>
                  <a:pt x="10487691" y="5682467"/>
                </a:cubicBezTo>
                <a:cubicBezTo>
                  <a:pt x="10487026" y="5680870"/>
                  <a:pt x="10486094" y="5679539"/>
                  <a:pt x="10485029" y="5678341"/>
                </a:cubicBezTo>
                <a:cubicBezTo>
                  <a:pt x="10483964" y="5677276"/>
                  <a:pt x="10482633" y="5676344"/>
                  <a:pt x="10481035" y="5675678"/>
                </a:cubicBezTo>
                <a:cubicBezTo>
                  <a:pt x="10479571" y="5675013"/>
                  <a:pt x="10477974" y="5674747"/>
                  <a:pt x="10475977" y="5674747"/>
                </a:cubicBezTo>
                <a:close/>
                <a:moveTo>
                  <a:pt x="10258466" y="5674747"/>
                </a:moveTo>
                <a:cubicBezTo>
                  <a:pt x="10252608" y="5674747"/>
                  <a:pt x="10250078" y="5676610"/>
                  <a:pt x="10248481" y="5678341"/>
                </a:cubicBezTo>
                <a:cubicBezTo>
                  <a:pt x="10245952" y="5681003"/>
                  <a:pt x="10244887" y="5683798"/>
                  <a:pt x="10244887" y="5687792"/>
                </a:cubicBezTo>
                <a:cubicBezTo>
                  <a:pt x="10244887" y="5691919"/>
                  <a:pt x="10245952" y="5694714"/>
                  <a:pt x="10248481" y="5697243"/>
                </a:cubicBezTo>
                <a:cubicBezTo>
                  <a:pt x="10250078" y="5698842"/>
                  <a:pt x="10252608" y="5700705"/>
                  <a:pt x="10258466" y="5700705"/>
                </a:cubicBezTo>
                <a:cubicBezTo>
                  <a:pt x="10260462" y="5700705"/>
                  <a:pt x="10262192" y="5700439"/>
                  <a:pt x="10263790" y="5699773"/>
                </a:cubicBezTo>
                <a:cubicBezTo>
                  <a:pt x="10265388" y="5699241"/>
                  <a:pt x="10266586" y="5698442"/>
                  <a:pt x="10267517" y="5697376"/>
                </a:cubicBezTo>
                <a:cubicBezTo>
                  <a:pt x="10268583" y="5696178"/>
                  <a:pt x="10269515" y="5694847"/>
                  <a:pt x="10270180" y="5693117"/>
                </a:cubicBezTo>
                <a:cubicBezTo>
                  <a:pt x="10270845" y="5691519"/>
                  <a:pt x="10271112" y="5689655"/>
                  <a:pt x="10271112" y="5687659"/>
                </a:cubicBezTo>
                <a:cubicBezTo>
                  <a:pt x="10271112" y="5685795"/>
                  <a:pt x="10270845" y="5684064"/>
                  <a:pt x="10270180" y="5682467"/>
                </a:cubicBezTo>
                <a:cubicBezTo>
                  <a:pt x="10269515" y="5680870"/>
                  <a:pt x="10268583" y="5679539"/>
                  <a:pt x="10267517" y="5678341"/>
                </a:cubicBezTo>
                <a:cubicBezTo>
                  <a:pt x="10266452" y="5677276"/>
                  <a:pt x="10265121" y="5676344"/>
                  <a:pt x="10263524" y="5675678"/>
                </a:cubicBezTo>
                <a:cubicBezTo>
                  <a:pt x="10262060" y="5675013"/>
                  <a:pt x="10260462" y="5674747"/>
                  <a:pt x="10258466" y="5674747"/>
                </a:cubicBezTo>
                <a:close/>
                <a:moveTo>
                  <a:pt x="10040820" y="5674747"/>
                </a:moveTo>
                <a:cubicBezTo>
                  <a:pt x="10034962" y="5674747"/>
                  <a:pt x="10032433" y="5676610"/>
                  <a:pt x="10030835" y="5678341"/>
                </a:cubicBezTo>
                <a:cubicBezTo>
                  <a:pt x="10028306" y="5681003"/>
                  <a:pt x="10027242" y="5683798"/>
                  <a:pt x="10027242" y="5687792"/>
                </a:cubicBezTo>
                <a:cubicBezTo>
                  <a:pt x="10027242" y="5691919"/>
                  <a:pt x="10028306" y="5694714"/>
                  <a:pt x="10030835" y="5697243"/>
                </a:cubicBezTo>
                <a:cubicBezTo>
                  <a:pt x="10032433" y="5698842"/>
                  <a:pt x="10034962" y="5700705"/>
                  <a:pt x="10040820" y="5700705"/>
                </a:cubicBezTo>
                <a:cubicBezTo>
                  <a:pt x="10042817" y="5700705"/>
                  <a:pt x="10044681" y="5700439"/>
                  <a:pt x="10046145" y="5699773"/>
                </a:cubicBezTo>
                <a:cubicBezTo>
                  <a:pt x="10047742" y="5699241"/>
                  <a:pt x="10048941" y="5698442"/>
                  <a:pt x="10049872" y="5697376"/>
                </a:cubicBezTo>
                <a:cubicBezTo>
                  <a:pt x="10050937" y="5696178"/>
                  <a:pt x="10051869" y="5694847"/>
                  <a:pt x="10052534" y="5693117"/>
                </a:cubicBezTo>
                <a:cubicBezTo>
                  <a:pt x="10053333" y="5691519"/>
                  <a:pt x="10053599" y="5689655"/>
                  <a:pt x="10053599" y="5687659"/>
                </a:cubicBezTo>
                <a:cubicBezTo>
                  <a:pt x="10053599" y="5685795"/>
                  <a:pt x="10053200" y="5684064"/>
                  <a:pt x="10052534" y="5682467"/>
                </a:cubicBezTo>
                <a:cubicBezTo>
                  <a:pt x="10051869" y="5680870"/>
                  <a:pt x="10050937" y="5679539"/>
                  <a:pt x="10049872" y="5678341"/>
                </a:cubicBezTo>
                <a:cubicBezTo>
                  <a:pt x="10048807" y="5677276"/>
                  <a:pt x="10047476" y="5676344"/>
                  <a:pt x="10045878" y="5675678"/>
                </a:cubicBezTo>
                <a:cubicBezTo>
                  <a:pt x="10044414" y="5675013"/>
                  <a:pt x="10042817" y="5674747"/>
                  <a:pt x="10040820" y="5674747"/>
                </a:cubicBezTo>
                <a:close/>
                <a:moveTo>
                  <a:pt x="9823176" y="5674747"/>
                </a:moveTo>
                <a:cubicBezTo>
                  <a:pt x="9817318" y="5674747"/>
                  <a:pt x="9814788" y="5676610"/>
                  <a:pt x="9813191" y="5678341"/>
                </a:cubicBezTo>
                <a:cubicBezTo>
                  <a:pt x="9810662" y="5681003"/>
                  <a:pt x="9809597" y="5683798"/>
                  <a:pt x="9809597" y="5687792"/>
                </a:cubicBezTo>
                <a:cubicBezTo>
                  <a:pt x="9809597" y="5691919"/>
                  <a:pt x="9810662" y="5694714"/>
                  <a:pt x="9813191" y="5697243"/>
                </a:cubicBezTo>
                <a:cubicBezTo>
                  <a:pt x="9814788" y="5698842"/>
                  <a:pt x="9817318" y="5700705"/>
                  <a:pt x="9823176" y="5700705"/>
                </a:cubicBezTo>
                <a:cubicBezTo>
                  <a:pt x="9825173" y="5700705"/>
                  <a:pt x="9827036" y="5700439"/>
                  <a:pt x="9828501" y="5699773"/>
                </a:cubicBezTo>
                <a:cubicBezTo>
                  <a:pt x="9830098" y="5699241"/>
                  <a:pt x="9831296" y="5698442"/>
                  <a:pt x="9832227" y="5697376"/>
                </a:cubicBezTo>
                <a:cubicBezTo>
                  <a:pt x="9833293" y="5696178"/>
                  <a:pt x="9834225" y="5694847"/>
                  <a:pt x="9834890" y="5693117"/>
                </a:cubicBezTo>
                <a:cubicBezTo>
                  <a:pt x="9835689" y="5691519"/>
                  <a:pt x="9835955" y="5689655"/>
                  <a:pt x="9835955" y="5687659"/>
                </a:cubicBezTo>
                <a:cubicBezTo>
                  <a:pt x="9835955" y="5685795"/>
                  <a:pt x="9835555" y="5684064"/>
                  <a:pt x="9834890" y="5682467"/>
                </a:cubicBezTo>
                <a:cubicBezTo>
                  <a:pt x="9834225" y="5680870"/>
                  <a:pt x="9833293" y="5679539"/>
                  <a:pt x="9832227" y="5678341"/>
                </a:cubicBezTo>
                <a:cubicBezTo>
                  <a:pt x="9831162" y="5677276"/>
                  <a:pt x="9829831" y="5676344"/>
                  <a:pt x="9828234" y="5675678"/>
                </a:cubicBezTo>
                <a:cubicBezTo>
                  <a:pt x="9826770" y="5675013"/>
                  <a:pt x="9825173" y="5674747"/>
                  <a:pt x="9823176" y="5674747"/>
                </a:cubicBezTo>
                <a:close/>
                <a:moveTo>
                  <a:pt x="9605531" y="5674747"/>
                </a:moveTo>
                <a:cubicBezTo>
                  <a:pt x="9599673" y="5674747"/>
                  <a:pt x="9597143" y="5676610"/>
                  <a:pt x="9595546" y="5678341"/>
                </a:cubicBezTo>
                <a:cubicBezTo>
                  <a:pt x="9593017" y="5681003"/>
                  <a:pt x="9591952" y="5683798"/>
                  <a:pt x="9591952" y="5687792"/>
                </a:cubicBezTo>
                <a:cubicBezTo>
                  <a:pt x="9591952" y="5691919"/>
                  <a:pt x="9593017" y="5694714"/>
                  <a:pt x="9595546" y="5697243"/>
                </a:cubicBezTo>
                <a:cubicBezTo>
                  <a:pt x="9597143" y="5698842"/>
                  <a:pt x="9599673" y="5700705"/>
                  <a:pt x="9605531" y="5700705"/>
                </a:cubicBezTo>
                <a:cubicBezTo>
                  <a:pt x="9607660" y="5700705"/>
                  <a:pt x="9609391" y="5700439"/>
                  <a:pt x="9610855" y="5699773"/>
                </a:cubicBezTo>
                <a:cubicBezTo>
                  <a:pt x="9612319" y="5699241"/>
                  <a:pt x="9613651" y="5698442"/>
                  <a:pt x="9614582" y="5697376"/>
                </a:cubicBezTo>
                <a:cubicBezTo>
                  <a:pt x="9615647" y="5696178"/>
                  <a:pt x="9616579" y="5694847"/>
                  <a:pt x="9617245" y="5693117"/>
                </a:cubicBezTo>
                <a:cubicBezTo>
                  <a:pt x="9618044" y="5691519"/>
                  <a:pt x="9618309" y="5689655"/>
                  <a:pt x="9618309" y="5687659"/>
                </a:cubicBezTo>
                <a:cubicBezTo>
                  <a:pt x="9618309" y="5685795"/>
                  <a:pt x="9617910" y="5684064"/>
                  <a:pt x="9617245" y="5682467"/>
                </a:cubicBezTo>
                <a:cubicBezTo>
                  <a:pt x="9616579" y="5680870"/>
                  <a:pt x="9615647" y="5679539"/>
                  <a:pt x="9614582" y="5678341"/>
                </a:cubicBezTo>
                <a:cubicBezTo>
                  <a:pt x="9613517" y="5677276"/>
                  <a:pt x="9612186" y="5676344"/>
                  <a:pt x="9610589" y="5675678"/>
                </a:cubicBezTo>
                <a:cubicBezTo>
                  <a:pt x="9609124" y="5675013"/>
                  <a:pt x="9607394" y="5674747"/>
                  <a:pt x="9605531" y="5674747"/>
                </a:cubicBezTo>
                <a:close/>
                <a:moveTo>
                  <a:pt x="9387885" y="5674747"/>
                </a:moveTo>
                <a:cubicBezTo>
                  <a:pt x="9382027" y="5674747"/>
                  <a:pt x="9379497" y="5676610"/>
                  <a:pt x="9377900" y="5678341"/>
                </a:cubicBezTo>
                <a:cubicBezTo>
                  <a:pt x="9375371" y="5681003"/>
                  <a:pt x="9374307" y="5683798"/>
                  <a:pt x="9374307" y="5687792"/>
                </a:cubicBezTo>
                <a:cubicBezTo>
                  <a:pt x="9374307" y="5691919"/>
                  <a:pt x="9375371" y="5694714"/>
                  <a:pt x="9377900" y="5697243"/>
                </a:cubicBezTo>
                <a:cubicBezTo>
                  <a:pt x="9379497" y="5698842"/>
                  <a:pt x="9382027" y="5700705"/>
                  <a:pt x="9387885" y="5700705"/>
                </a:cubicBezTo>
                <a:cubicBezTo>
                  <a:pt x="9390015" y="5700705"/>
                  <a:pt x="9391746" y="5700439"/>
                  <a:pt x="9393210" y="5699773"/>
                </a:cubicBezTo>
                <a:cubicBezTo>
                  <a:pt x="9394674" y="5699241"/>
                  <a:pt x="9396005" y="5698442"/>
                  <a:pt x="9396937" y="5697376"/>
                </a:cubicBezTo>
                <a:cubicBezTo>
                  <a:pt x="9398002" y="5696178"/>
                  <a:pt x="9398934" y="5694847"/>
                  <a:pt x="9399599" y="5693117"/>
                </a:cubicBezTo>
                <a:cubicBezTo>
                  <a:pt x="9400398" y="5691519"/>
                  <a:pt x="9400664" y="5689655"/>
                  <a:pt x="9400664" y="5687659"/>
                </a:cubicBezTo>
                <a:cubicBezTo>
                  <a:pt x="9400664" y="5685795"/>
                  <a:pt x="9400265" y="5684064"/>
                  <a:pt x="9399599" y="5682467"/>
                </a:cubicBezTo>
                <a:cubicBezTo>
                  <a:pt x="9398934" y="5680870"/>
                  <a:pt x="9398002" y="5679539"/>
                  <a:pt x="9396937" y="5678341"/>
                </a:cubicBezTo>
                <a:cubicBezTo>
                  <a:pt x="9395872" y="5677276"/>
                  <a:pt x="9394541" y="5676344"/>
                  <a:pt x="9392943" y="5675678"/>
                </a:cubicBezTo>
                <a:cubicBezTo>
                  <a:pt x="9391479" y="5675013"/>
                  <a:pt x="9389749" y="5674747"/>
                  <a:pt x="9387885" y="5674747"/>
                </a:cubicBezTo>
                <a:close/>
                <a:moveTo>
                  <a:pt x="9170374" y="5674747"/>
                </a:moveTo>
                <a:cubicBezTo>
                  <a:pt x="9164649" y="5674747"/>
                  <a:pt x="9161986" y="5676610"/>
                  <a:pt x="9160389" y="5678341"/>
                </a:cubicBezTo>
                <a:cubicBezTo>
                  <a:pt x="9157860" y="5681003"/>
                  <a:pt x="9156795" y="5683798"/>
                  <a:pt x="9156795" y="5687792"/>
                </a:cubicBezTo>
                <a:cubicBezTo>
                  <a:pt x="9156795" y="5691919"/>
                  <a:pt x="9157860" y="5694714"/>
                  <a:pt x="9160389" y="5697243"/>
                </a:cubicBezTo>
                <a:cubicBezTo>
                  <a:pt x="9161986" y="5698842"/>
                  <a:pt x="9164516" y="5700705"/>
                  <a:pt x="9170374" y="5700705"/>
                </a:cubicBezTo>
                <a:cubicBezTo>
                  <a:pt x="9172370" y="5700705"/>
                  <a:pt x="9174100" y="5700439"/>
                  <a:pt x="9175698" y="5699773"/>
                </a:cubicBezTo>
                <a:cubicBezTo>
                  <a:pt x="9177163" y="5699241"/>
                  <a:pt x="9178494" y="5698442"/>
                  <a:pt x="9179425" y="5697376"/>
                </a:cubicBezTo>
                <a:cubicBezTo>
                  <a:pt x="9180491" y="5696178"/>
                  <a:pt x="9181422" y="5694847"/>
                  <a:pt x="9182088" y="5693117"/>
                </a:cubicBezTo>
                <a:cubicBezTo>
                  <a:pt x="9182887" y="5691519"/>
                  <a:pt x="9183152" y="5689655"/>
                  <a:pt x="9183152" y="5687659"/>
                </a:cubicBezTo>
                <a:cubicBezTo>
                  <a:pt x="9183152" y="5685795"/>
                  <a:pt x="9182753" y="5684064"/>
                  <a:pt x="9182088" y="5682467"/>
                </a:cubicBezTo>
                <a:cubicBezTo>
                  <a:pt x="9181422" y="5680870"/>
                  <a:pt x="9180491" y="5679539"/>
                  <a:pt x="9179425" y="5678341"/>
                </a:cubicBezTo>
                <a:cubicBezTo>
                  <a:pt x="9178360" y="5677276"/>
                  <a:pt x="9177029" y="5676344"/>
                  <a:pt x="9175432" y="5675678"/>
                </a:cubicBezTo>
                <a:cubicBezTo>
                  <a:pt x="9173967" y="5675013"/>
                  <a:pt x="9172237" y="5674747"/>
                  <a:pt x="9170374" y="5674747"/>
                </a:cubicBezTo>
                <a:close/>
                <a:moveTo>
                  <a:pt x="8952728" y="5674747"/>
                </a:moveTo>
                <a:cubicBezTo>
                  <a:pt x="8947003" y="5674747"/>
                  <a:pt x="8944340" y="5676610"/>
                  <a:pt x="8942743" y="5678341"/>
                </a:cubicBezTo>
                <a:cubicBezTo>
                  <a:pt x="8940214" y="5681003"/>
                  <a:pt x="8939150" y="5683798"/>
                  <a:pt x="8939150" y="5687792"/>
                </a:cubicBezTo>
                <a:cubicBezTo>
                  <a:pt x="8939150" y="5691919"/>
                  <a:pt x="8940214" y="5694714"/>
                  <a:pt x="8942743" y="5697243"/>
                </a:cubicBezTo>
                <a:cubicBezTo>
                  <a:pt x="8944340" y="5698842"/>
                  <a:pt x="8946870" y="5700705"/>
                  <a:pt x="8952728" y="5700705"/>
                </a:cubicBezTo>
                <a:cubicBezTo>
                  <a:pt x="8954725" y="5700705"/>
                  <a:pt x="8956589" y="5700439"/>
                  <a:pt x="8958053" y="5699773"/>
                </a:cubicBezTo>
                <a:cubicBezTo>
                  <a:pt x="8959517" y="5699241"/>
                  <a:pt x="8960849" y="5698442"/>
                  <a:pt x="8961780" y="5697376"/>
                </a:cubicBezTo>
                <a:cubicBezTo>
                  <a:pt x="8962845" y="5696178"/>
                  <a:pt x="8963777" y="5694847"/>
                  <a:pt x="8964442" y="5693117"/>
                </a:cubicBezTo>
                <a:cubicBezTo>
                  <a:pt x="8965241" y="5691519"/>
                  <a:pt x="8965507" y="5689655"/>
                  <a:pt x="8965507" y="5687659"/>
                </a:cubicBezTo>
                <a:cubicBezTo>
                  <a:pt x="8965507" y="5685795"/>
                  <a:pt x="8965108" y="5684064"/>
                  <a:pt x="8964442" y="5682467"/>
                </a:cubicBezTo>
                <a:cubicBezTo>
                  <a:pt x="8963777" y="5680870"/>
                  <a:pt x="8962845" y="5679539"/>
                  <a:pt x="8961780" y="5678341"/>
                </a:cubicBezTo>
                <a:cubicBezTo>
                  <a:pt x="8960715" y="5677276"/>
                  <a:pt x="8959384" y="5676344"/>
                  <a:pt x="8957786" y="5675678"/>
                </a:cubicBezTo>
                <a:cubicBezTo>
                  <a:pt x="8956322" y="5675013"/>
                  <a:pt x="8954592" y="5674747"/>
                  <a:pt x="8952728" y="5674747"/>
                </a:cubicBezTo>
                <a:close/>
                <a:moveTo>
                  <a:pt x="8735083" y="5674747"/>
                </a:moveTo>
                <a:cubicBezTo>
                  <a:pt x="8729358" y="5674747"/>
                  <a:pt x="8726695" y="5676610"/>
                  <a:pt x="8725098" y="5678341"/>
                </a:cubicBezTo>
                <a:cubicBezTo>
                  <a:pt x="8722569" y="5681003"/>
                  <a:pt x="8721504" y="5683798"/>
                  <a:pt x="8721504" y="5687792"/>
                </a:cubicBezTo>
                <a:cubicBezTo>
                  <a:pt x="8721504" y="5691919"/>
                  <a:pt x="8722569" y="5694714"/>
                  <a:pt x="8725098" y="5697243"/>
                </a:cubicBezTo>
                <a:cubicBezTo>
                  <a:pt x="8726695" y="5698842"/>
                  <a:pt x="8729225" y="5700705"/>
                  <a:pt x="8735083" y="5700705"/>
                </a:cubicBezTo>
                <a:cubicBezTo>
                  <a:pt x="8737079" y="5700705"/>
                  <a:pt x="8738943" y="5700439"/>
                  <a:pt x="8740407" y="5699773"/>
                </a:cubicBezTo>
                <a:cubicBezTo>
                  <a:pt x="8741872" y="5699241"/>
                  <a:pt x="8743203" y="5698442"/>
                  <a:pt x="8744134" y="5697376"/>
                </a:cubicBezTo>
                <a:cubicBezTo>
                  <a:pt x="8745200" y="5696178"/>
                  <a:pt x="8746132" y="5694847"/>
                  <a:pt x="8746797" y="5693117"/>
                </a:cubicBezTo>
                <a:cubicBezTo>
                  <a:pt x="8747596" y="5691519"/>
                  <a:pt x="8747862" y="5689655"/>
                  <a:pt x="8747862" y="5687659"/>
                </a:cubicBezTo>
                <a:cubicBezTo>
                  <a:pt x="8747862" y="5685795"/>
                  <a:pt x="8747462" y="5684064"/>
                  <a:pt x="8746797" y="5682467"/>
                </a:cubicBezTo>
                <a:cubicBezTo>
                  <a:pt x="8746132" y="5680870"/>
                  <a:pt x="8745200" y="5679539"/>
                  <a:pt x="8744134" y="5678341"/>
                </a:cubicBezTo>
                <a:cubicBezTo>
                  <a:pt x="8743069" y="5677276"/>
                  <a:pt x="8741738" y="5676344"/>
                  <a:pt x="8740141" y="5675678"/>
                </a:cubicBezTo>
                <a:cubicBezTo>
                  <a:pt x="8738677" y="5675013"/>
                  <a:pt x="8736946" y="5674747"/>
                  <a:pt x="8735083" y="5674747"/>
                </a:cubicBezTo>
                <a:close/>
                <a:moveTo>
                  <a:pt x="8517438" y="5674747"/>
                </a:moveTo>
                <a:cubicBezTo>
                  <a:pt x="8511713" y="5674747"/>
                  <a:pt x="8509051" y="5676610"/>
                  <a:pt x="8507453" y="5678341"/>
                </a:cubicBezTo>
                <a:cubicBezTo>
                  <a:pt x="8504925" y="5681003"/>
                  <a:pt x="8503860" y="5683798"/>
                  <a:pt x="8503860" y="5687792"/>
                </a:cubicBezTo>
                <a:cubicBezTo>
                  <a:pt x="8503860" y="5691919"/>
                  <a:pt x="8504925" y="5694714"/>
                  <a:pt x="8507453" y="5697243"/>
                </a:cubicBezTo>
                <a:cubicBezTo>
                  <a:pt x="8509051" y="5698842"/>
                  <a:pt x="8511581" y="5700705"/>
                  <a:pt x="8517438" y="5700705"/>
                </a:cubicBezTo>
                <a:cubicBezTo>
                  <a:pt x="8519568" y="5700705"/>
                  <a:pt x="8521299" y="5700439"/>
                  <a:pt x="8522763" y="5699773"/>
                </a:cubicBezTo>
                <a:cubicBezTo>
                  <a:pt x="8524227" y="5699241"/>
                  <a:pt x="8525559" y="5698442"/>
                  <a:pt x="8526490" y="5697376"/>
                </a:cubicBezTo>
                <a:cubicBezTo>
                  <a:pt x="8527555" y="5696178"/>
                  <a:pt x="8528487" y="5694847"/>
                  <a:pt x="8529152" y="5693117"/>
                </a:cubicBezTo>
                <a:cubicBezTo>
                  <a:pt x="8529818" y="5691519"/>
                  <a:pt x="8530084" y="5689655"/>
                  <a:pt x="8530084" y="5687659"/>
                </a:cubicBezTo>
                <a:cubicBezTo>
                  <a:pt x="8530084" y="5685795"/>
                  <a:pt x="8529818" y="5684064"/>
                  <a:pt x="8529152" y="5682467"/>
                </a:cubicBezTo>
                <a:cubicBezTo>
                  <a:pt x="8528487" y="5680870"/>
                  <a:pt x="8527555" y="5679539"/>
                  <a:pt x="8526490" y="5678341"/>
                </a:cubicBezTo>
                <a:cubicBezTo>
                  <a:pt x="8525425" y="5677276"/>
                  <a:pt x="8524094" y="5676344"/>
                  <a:pt x="8522496" y="5675678"/>
                </a:cubicBezTo>
                <a:cubicBezTo>
                  <a:pt x="8521032" y="5675013"/>
                  <a:pt x="8519302" y="5674747"/>
                  <a:pt x="8517438" y="5674747"/>
                </a:cubicBezTo>
                <a:close/>
                <a:moveTo>
                  <a:pt x="8299793" y="5674747"/>
                </a:moveTo>
                <a:cubicBezTo>
                  <a:pt x="8294068" y="5674747"/>
                  <a:pt x="8291406" y="5676610"/>
                  <a:pt x="8289809" y="5678341"/>
                </a:cubicBezTo>
                <a:cubicBezTo>
                  <a:pt x="8287280" y="5681003"/>
                  <a:pt x="8286215" y="5683798"/>
                  <a:pt x="8286215" y="5687792"/>
                </a:cubicBezTo>
                <a:cubicBezTo>
                  <a:pt x="8286215" y="5691919"/>
                  <a:pt x="8287280" y="5694714"/>
                  <a:pt x="8289809" y="5697243"/>
                </a:cubicBezTo>
                <a:cubicBezTo>
                  <a:pt x="8291406" y="5698842"/>
                  <a:pt x="8293935" y="5700705"/>
                  <a:pt x="8299793" y="5700705"/>
                </a:cubicBezTo>
                <a:cubicBezTo>
                  <a:pt x="8301923" y="5700705"/>
                  <a:pt x="8303653" y="5700439"/>
                  <a:pt x="8305118" y="5699773"/>
                </a:cubicBezTo>
                <a:cubicBezTo>
                  <a:pt x="8306582" y="5699241"/>
                  <a:pt x="8307913" y="5698442"/>
                  <a:pt x="8308844" y="5697376"/>
                </a:cubicBezTo>
                <a:cubicBezTo>
                  <a:pt x="8309910" y="5696178"/>
                  <a:pt x="8310842" y="5694847"/>
                  <a:pt x="8311507" y="5693117"/>
                </a:cubicBezTo>
                <a:cubicBezTo>
                  <a:pt x="8312172" y="5691519"/>
                  <a:pt x="8312439" y="5689655"/>
                  <a:pt x="8312439" y="5687659"/>
                </a:cubicBezTo>
                <a:cubicBezTo>
                  <a:pt x="8312439" y="5685795"/>
                  <a:pt x="8312172" y="5684064"/>
                  <a:pt x="8311507" y="5682467"/>
                </a:cubicBezTo>
                <a:cubicBezTo>
                  <a:pt x="8310842" y="5680870"/>
                  <a:pt x="8309910" y="5679539"/>
                  <a:pt x="8308844" y="5678341"/>
                </a:cubicBezTo>
                <a:cubicBezTo>
                  <a:pt x="8307779" y="5677276"/>
                  <a:pt x="8306448" y="5676344"/>
                  <a:pt x="8304851" y="5675678"/>
                </a:cubicBezTo>
                <a:cubicBezTo>
                  <a:pt x="8303387" y="5675013"/>
                  <a:pt x="8301790" y="5674747"/>
                  <a:pt x="8299793" y="5674747"/>
                </a:cubicBezTo>
                <a:close/>
                <a:moveTo>
                  <a:pt x="8082281" y="5674747"/>
                </a:moveTo>
                <a:cubicBezTo>
                  <a:pt x="8076424" y="5674747"/>
                  <a:pt x="8073894" y="5676610"/>
                  <a:pt x="8072297" y="5678341"/>
                </a:cubicBezTo>
                <a:cubicBezTo>
                  <a:pt x="8069768" y="5681003"/>
                  <a:pt x="8068703" y="5683798"/>
                  <a:pt x="8068703" y="5687792"/>
                </a:cubicBezTo>
                <a:cubicBezTo>
                  <a:pt x="8068703" y="5691919"/>
                  <a:pt x="8069768" y="5694714"/>
                  <a:pt x="8072297" y="5697243"/>
                </a:cubicBezTo>
                <a:cubicBezTo>
                  <a:pt x="8073894" y="5698842"/>
                  <a:pt x="8076424" y="5700705"/>
                  <a:pt x="8082281" y="5700705"/>
                </a:cubicBezTo>
                <a:cubicBezTo>
                  <a:pt x="8084277" y="5700705"/>
                  <a:pt x="8086007" y="5700439"/>
                  <a:pt x="8087605" y="5699773"/>
                </a:cubicBezTo>
                <a:cubicBezTo>
                  <a:pt x="8089069" y="5699241"/>
                  <a:pt x="8090401" y="5698442"/>
                  <a:pt x="8091332" y="5697376"/>
                </a:cubicBezTo>
                <a:cubicBezTo>
                  <a:pt x="8092397" y="5696178"/>
                  <a:pt x="8093329" y="5694847"/>
                  <a:pt x="8093994" y="5693117"/>
                </a:cubicBezTo>
                <a:cubicBezTo>
                  <a:pt x="8094660" y="5691519"/>
                  <a:pt x="8094926" y="5689655"/>
                  <a:pt x="8094926" y="5687659"/>
                </a:cubicBezTo>
                <a:cubicBezTo>
                  <a:pt x="8094926" y="5685795"/>
                  <a:pt x="8094660" y="5684064"/>
                  <a:pt x="8093994" y="5682467"/>
                </a:cubicBezTo>
                <a:cubicBezTo>
                  <a:pt x="8093329" y="5680870"/>
                  <a:pt x="8092397" y="5679539"/>
                  <a:pt x="8091332" y="5678341"/>
                </a:cubicBezTo>
                <a:cubicBezTo>
                  <a:pt x="8090267" y="5677276"/>
                  <a:pt x="8088936" y="5676344"/>
                  <a:pt x="8087338" y="5675678"/>
                </a:cubicBezTo>
                <a:cubicBezTo>
                  <a:pt x="8085874" y="5675013"/>
                  <a:pt x="8084277" y="5674747"/>
                  <a:pt x="8082281" y="5674747"/>
                </a:cubicBezTo>
                <a:close/>
                <a:moveTo>
                  <a:pt x="7864636" y="5674747"/>
                </a:moveTo>
                <a:cubicBezTo>
                  <a:pt x="7858779" y="5674747"/>
                  <a:pt x="7856249" y="5676610"/>
                  <a:pt x="7854652" y="5678341"/>
                </a:cubicBezTo>
                <a:cubicBezTo>
                  <a:pt x="7852123" y="5681003"/>
                  <a:pt x="7851058" y="5683798"/>
                  <a:pt x="7851058" y="5687792"/>
                </a:cubicBezTo>
                <a:cubicBezTo>
                  <a:pt x="7851058" y="5691919"/>
                  <a:pt x="7852123" y="5694714"/>
                  <a:pt x="7854652" y="5697243"/>
                </a:cubicBezTo>
                <a:cubicBezTo>
                  <a:pt x="7856249" y="5698842"/>
                  <a:pt x="7858779" y="5700705"/>
                  <a:pt x="7864636" y="5700705"/>
                </a:cubicBezTo>
                <a:cubicBezTo>
                  <a:pt x="7866633" y="5700705"/>
                  <a:pt x="7868363" y="5700439"/>
                  <a:pt x="7869961" y="5699773"/>
                </a:cubicBezTo>
                <a:cubicBezTo>
                  <a:pt x="7871425" y="5699241"/>
                  <a:pt x="7872756" y="5698442"/>
                  <a:pt x="7873687" y="5697376"/>
                </a:cubicBezTo>
                <a:cubicBezTo>
                  <a:pt x="7874753" y="5696178"/>
                  <a:pt x="7875685" y="5694847"/>
                  <a:pt x="7876350" y="5693117"/>
                </a:cubicBezTo>
                <a:cubicBezTo>
                  <a:pt x="7877015" y="5691519"/>
                  <a:pt x="7877282" y="5689655"/>
                  <a:pt x="7877282" y="5687659"/>
                </a:cubicBezTo>
                <a:cubicBezTo>
                  <a:pt x="7877282" y="5685795"/>
                  <a:pt x="7877015" y="5684064"/>
                  <a:pt x="7876350" y="5682467"/>
                </a:cubicBezTo>
                <a:cubicBezTo>
                  <a:pt x="7875685" y="5680870"/>
                  <a:pt x="7874753" y="5679539"/>
                  <a:pt x="7873687" y="5678341"/>
                </a:cubicBezTo>
                <a:cubicBezTo>
                  <a:pt x="7872623" y="5677276"/>
                  <a:pt x="7871291" y="5676344"/>
                  <a:pt x="7869694" y="5675678"/>
                </a:cubicBezTo>
                <a:cubicBezTo>
                  <a:pt x="7868230" y="5675013"/>
                  <a:pt x="7866633" y="5674747"/>
                  <a:pt x="7864636" y="5674747"/>
                </a:cubicBezTo>
                <a:close/>
                <a:moveTo>
                  <a:pt x="7646991" y="5674747"/>
                </a:moveTo>
                <a:cubicBezTo>
                  <a:pt x="7641134" y="5674747"/>
                  <a:pt x="7638604" y="5676610"/>
                  <a:pt x="7637007" y="5678341"/>
                </a:cubicBezTo>
                <a:cubicBezTo>
                  <a:pt x="7634478" y="5681003"/>
                  <a:pt x="7633413" y="5683798"/>
                  <a:pt x="7633413" y="5687792"/>
                </a:cubicBezTo>
                <a:cubicBezTo>
                  <a:pt x="7633413" y="5691919"/>
                  <a:pt x="7634478" y="5694714"/>
                  <a:pt x="7637007" y="5697243"/>
                </a:cubicBezTo>
                <a:cubicBezTo>
                  <a:pt x="7638604" y="5698842"/>
                  <a:pt x="7641134" y="5700705"/>
                  <a:pt x="7646991" y="5700705"/>
                </a:cubicBezTo>
                <a:cubicBezTo>
                  <a:pt x="7648987" y="5700705"/>
                  <a:pt x="7650851" y="5700439"/>
                  <a:pt x="7652315" y="5699773"/>
                </a:cubicBezTo>
                <a:cubicBezTo>
                  <a:pt x="7653780" y="5699241"/>
                  <a:pt x="7655111" y="5698442"/>
                  <a:pt x="7656042" y="5697376"/>
                </a:cubicBezTo>
                <a:cubicBezTo>
                  <a:pt x="7657108" y="5696178"/>
                  <a:pt x="7658039" y="5694847"/>
                  <a:pt x="7658705" y="5693117"/>
                </a:cubicBezTo>
                <a:cubicBezTo>
                  <a:pt x="7659504" y="5691519"/>
                  <a:pt x="7659769" y="5689655"/>
                  <a:pt x="7659769" y="5687659"/>
                </a:cubicBezTo>
                <a:cubicBezTo>
                  <a:pt x="7659769" y="5685795"/>
                  <a:pt x="7659370" y="5684064"/>
                  <a:pt x="7658705" y="5682467"/>
                </a:cubicBezTo>
                <a:cubicBezTo>
                  <a:pt x="7658039" y="5680870"/>
                  <a:pt x="7657108" y="5679539"/>
                  <a:pt x="7656042" y="5678341"/>
                </a:cubicBezTo>
                <a:cubicBezTo>
                  <a:pt x="7654977" y="5677276"/>
                  <a:pt x="7653646" y="5676344"/>
                  <a:pt x="7652049" y="5675678"/>
                </a:cubicBezTo>
                <a:cubicBezTo>
                  <a:pt x="7650584" y="5675013"/>
                  <a:pt x="7648987" y="5674747"/>
                  <a:pt x="7646991" y="5674747"/>
                </a:cubicBezTo>
                <a:close/>
                <a:moveTo>
                  <a:pt x="7429345" y="5674747"/>
                </a:moveTo>
                <a:cubicBezTo>
                  <a:pt x="7423488" y="5674747"/>
                  <a:pt x="7420958" y="5676610"/>
                  <a:pt x="7419361" y="5678341"/>
                </a:cubicBezTo>
                <a:cubicBezTo>
                  <a:pt x="7416832" y="5681003"/>
                  <a:pt x="7415768" y="5683798"/>
                  <a:pt x="7415768" y="5687792"/>
                </a:cubicBezTo>
                <a:cubicBezTo>
                  <a:pt x="7415768" y="5691919"/>
                  <a:pt x="7416832" y="5694714"/>
                  <a:pt x="7419361" y="5697243"/>
                </a:cubicBezTo>
                <a:cubicBezTo>
                  <a:pt x="7420958" y="5698842"/>
                  <a:pt x="7423488" y="5700705"/>
                  <a:pt x="7429345" y="5700705"/>
                </a:cubicBezTo>
                <a:cubicBezTo>
                  <a:pt x="7431342" y="5700705"/>
                  <a:pt x="7433206" y="5700439"/>
                  <a:pt x="7434670" y="5699773"/>
                </a:cubicBezTo>
                <a:cubicBezTo>
                  <a:pt x="7436134" y="5699241"/>
                  <a:pt x="7437466" y="5698442"/>
                  <a:pt x="7438397" y="5697376"/>
                </a:cubicBezTo>
                <a:cubicBezTo>
                  <a:pt x="7439462" y="5696178"/>
                  <a:pt x="7440394" y="5694847"/>
                  <a:pt x="7441059" y="5693117"/>
                </a:cubicBezTo>
                <a:cubicBezTo>
                  <a:pt x="7441858" y="5691519"/>
                  <a:pt x="7442124" y="5689655"/>
                  <a:pt x="7442124" y="5687659"/>
                </a:cubicBezTo>
                <a:cubicBezTo>
                  <a:pt x="7442124" y="5685795"/>
                  <a:pt x="7441725" y="5684064"/>
                  <a:pt x="7441059" y="5682467"/>
                </a:cubicBezTo>
                <a:cubicBezTo>
                  <a:pt x="7440394" y="5680870"/>
                  <a:pt x="7439462" y="5679539"/>
                  <a:pt x="7438397" y="5678341"/>
                </a:cubicBezTo>
                <a:cubicBezTo>
                  <a:pt x="7437332" y="5677276"/>
                  <a:pt x="7436001" y="5676344"/>
                  <a:pt x="7434403" y="5675678"/>
                </a:cubicBezTo>
                <a:cubicBezTo>
                  <a:pt x="7432939" y="5675013"/>
                  <a:pt x="7431342" y="5674747"/>
                  <a:pt x="7429345" y="5674747"/>
                </a:cubicBezTo>
                <a:close/>
                <a:moveTo>
                  <a:pt x="7211701" y="5674747"/>
                </a:moveTo>
                <a:cubicBezTo>
                  <a:pt x="7205844" y="5674747"/>
                  <a:pt x="7203314" y="5676610"/>
                  <a:pt x="7201717" y="5678341"/>
                </a:cubicBezTo>
                <a:cubicBezTo>
                  <a:pt x="7199188" y="5681003"/>
                  <a:pt x="7198123" y="5683798"/>
                  <a:pt x="7198123" y="5687792"/>
                </a:cubicBezTo>
                <a:cubicBezTo>
                  <a:pt x="7198123" y="5691919"/>
                  <a:pt x="7199188" y="5694714"/>
                  <a:pt x="7201717" y="5697243"/>
                </a:cubicBezTo>
                <a:cubicBezTo>
                  <a:pt x="7203314" y="5698842"/>
                  <a:pt x="7205844" y="5700705"/>
                  <a:pt x="7211701" y="5700705"/>
                </a:cubicBezTo>
                <a:cubicBezTo>
                  <a:pt x="7213830" y="5700705"/>
                  <a:pt x="7215561" y="5700439"/>
                  <a:pt x="7217026" y="5699773"/>
                </a:cubicBezTo>
                <a:cubicBezTo>
                  <a:pt x="7218490" y="5699241"/>
                  <a:pt x="7219821" y="5698442"/>
                  <a:pt x="7220752" y="5697376"/>
                </a:cubicBezTo>
                <a:cubicBezTo>
                  <a:pt x="7221818" y="5696178"/>
                  <a:pt x="7222750" y="5694847"/>
                  <a:pt x="7223415" y="5693117"/>
                </a:cubicBezTo>
                <a:cubicBezTo>
                  <a:pt x="7224214" y="5691519"/>
                  <a:pt x="7224480" y="5689655"/>
                  <a:pt x="7224480" y="5687659"/>
                </a:cubicBezTo>
                <a:cubicBezTo>
                  <a:pt x="7224480" y="5685795"/>
                  <a:pt x="7224080" y="5684064"/>
                  <a:pt x="7223415" y="5682467"/>
                </a:cubicBezTo>
                <a:cubicBezTo>
                  <a:pt x="7222750" y="5680870"/>
                  <a:pt x="7221818" y="5679539"/>
                  <a:pt x="7220752" y="5678341"/>
                </a:cubicBezTo>
                <a:cubicBezTo>
                  <a:pt x="7219687" y="5677276"/>
                  <a:pt x="7218356" y="5676344"/>
                  <a:pt x="7216759" y="5675678"/>
                </a:cubicBezTo>
                <a:cubicBezTo>
                  <a:pt x="7215295" y="5675013"/>
                  <a:pt x="7213698" y="5674747"/>
                  <a:pt x="7211701" y="5674747"/>
                </a:cubicBezTo>
                <a:close/>
                <a:moveTo>
                  <a:pt x="6994056" y="5674747"/>
                </a:moveTo>
                <a:cubicBezTo>
                  <a:pt x="6988199" y="5674747"/>
                  <a:pt x="6985669" y="5676610"/>
                  <a:pt x="6984072" y="5678341"/>
                </a:cubicBezTo>
                <a:cubicBezTo>
                  <a:pt x="6981543" y="5681003"/>
                  <a:pt x="6980478" y="5683798"/>
                  <a:pt x="6980478" y="5687792"/>
                </a:cubicBezTo>
                <a:cubicBezTo>
                  <a:pt x="6980478" y="5691919"/>
                  <a:pt x="6981543" y="5694714"/>
                  <a:pt x="6984072" y="5697243"/>
                </a:cubicBezTo>
                <a:cubicBezTo>
                  <a:pt x="6985669" y="5698842"/>
                  <a:pt x="6988199" y="5700705"/>
                  <a:pt x="6994056" y="5700705"/>
                </a:cubicBezTo>
                <a:cubicBezTo>
                  <a:pt x="6996185" y="5700705"/>
                  <a:pt x="6997916" y="5700439"/>
                  <a:pt x="6999380" y="5699773"/>
                </a:cubicBezTo>
                <a:cubicBezTo>
                  <a:pt x="7000844" y="5699241"/>
                  <a:pt x="7002176" y="5698442"/>
                  <a:pt x="7003107" y="5697376"/>
                </a:cubicBezTo>
                <a:cubicBezTo>
                  <a:pt x="7004172" y="5696178"/>
                  <a:pt x="7005104" y="5694847"/>
                  <a:pt x="7005769" y="5693117"/>
                </a:cubicBezTo>
                <a:cubicBezTo>
                  <a:pt x="7006568" y="5691519"/>
                  <a:pt x="7006834" y="5689655"/>
                  <a:pt x="7006834" y="5687659"/>
                </a:cubicBezTo>
                <a:cubicBezTo>
                  <a:pt x="7006834" y="5685795"/>
                  <a:pt x="7006435" y="5684064"/>
                  <a:pt x="7005769" y="5682467"/>
                </a:cubicBezTo>
                <a:cubicBezTo>
                  <a:pt x="7005104" y="5680870"/>
                  <a:pt x="7004172" y="5679539"/>
                  <a:pt x="7003107" y="5678341"/>
                </a:cubicBezTo>
                <a:cubicBezTo>
                  <a:pt x="7002042" y="5677276"/>
                  <a:pt x="7000711" y="5676344"/>
                  <a:pt x="6999113" y="5675678"/>
                </a:cubicBezTo>
                <a:cubicBezTo>
                  <a:pt x="6997649" y="5675013"/>
                  <a:pt x="6996052" y="5674747"/>
                  <a:pt x="6994056" y="5674747"/>
                </a:cubicBezTo>
                <a:close/>
                <a:moveTo>
                  <a:pt x="6776544" y="5674747"/>
                </a:moveTo>
                <a:cubicBezTo>
                  <a:pt x="6770687" y="5674747"/>
                  <a:pt x="6768157" y="5676610"/>
                  <a:pt x="6766560" y="5678341"/>
                </a:cubicBezTo>
                <a:cubicBezTo>
                  <a:pt x="6764031" y="5681003"/>
                  <a:pt x="6762966" y="5683798"/>
                  <a:pt x="6762966" y="5687792"/>
                </a:cubicBezTo>
                <a:cubicBezTo>
                  <a:pt x="6762966" y="5691919"/>
                  <a:pt x="6764031" y="5694714"/>
                  <a:pt x="6766560" y="5697243"/>
                </a:cubicBezTo>
                <a:cubicBezTo>
                  <a:pt x="6768157" y="5698842"/>
                  <a:pt x="6770687" y="5700705"/>
                  <a:pt x="6776544" y="5700705"/>
                </a:cubicBezTo>
                <a:cubicBezTo>
                  <a:pt x="6778541" y="5700705"/>
                  <a:pt x="6780270" y="5700439"/>
                  <a:pt x="6781869" y="5699773"/>
                </a:cubicBezTo>
                <a:cubicBezTo>
                  <a:pt x="6783333" y="5699241"/>
                  <a:pt x="6784664" y="5698442"/>
                  <a:pt x="6785595" y="5697376"/>
                </a:cubicBezTo>
                <a:cubicBezTo>
                  <a:pt x="6786661" y="5696178"/>
                  <a:pt x="6787593" y="5694847"/>
                  <a:pt x="6788258" y="5693117"/>
                </a:cubicBezTo>
                <a:cubicBezTo>
                  <a:pt x="6789057" y="5691519"/>
                  <a:pt x="6789323" y="5689655"/>
                  <a:pt x="6789323" y="5687659"/>
                </a:cubicBezTo>
                <a:cubicBezTo>
                  <a:pt x="6789323" y="5685795"/>
                  <a:pt x="6788923" y="5684064"/>
                  <a:pt x="6788258" y="5682467"/>
                </a:cubicBezTo>
                <a:cubicBezTo>
                  <a:pt x="6787593" y="5680870"/>
                  <a:pt x="6786661" y="5679539"/>
                  <a:pt x="6785595" y="5678341"/>
                </a:cubicBezTo>
                <a:cubicBezTo>
                  <a:pt x="6784530" y="5677276"/>
                  <a:pt x="6783199" y="5676344"/>
                  <a:pt x="6781602" y="5675678"/>
                </a:cubicBezTo>
                <a:cubicBezTo>
                  <a:pt x="6780138" y="5675013"/>
                  <a:pt x="6778541" y="5674747"/>
                  <a:pt x="6776544" y="5674747"/>
                </a:cubicBezTo>
                <a:close/>
                <a:moveTo>
                  <a:pt x="6558899" y="5674747"/>
                </a:moveTo>
                <a:cubicBezTo>
                  <a:pt x="6553042" y="5674747"/>
                  <a:pt x="6550512" y="5676610"/>
                  <a:pt x="6548915" y="5678341"/>
                </a:cubicBezTo>
                <a:cubicBezTo>
                  <a:pt x="6546386" y="5681003"/>
                  <a:pt x="6545321" y="5683798"/>
                  <a:pt x="6545321" y="5687792"/>
                </a:cubicBezTo>
                <a:cubicBezTo>
                  <a:pt x="6545321" y="5691919"/>
                  <a:pt x="6546386" y="5694714"/>
                  <a:pt x="6548915" y="5697243"/>
                </a:cubicBezTo>
                <a:cubicBezTo>
                  <a:pt x="6550512" y="5698842"/>
                  <a:pt x="6553042" y="5700705"/>
                  <a:pt x="6558899" y="5700705"/>
                </a:cubicBezTo>
                <a:cubicBezTo>
                  <a:pt x="6560895" y="5700705"/>
                  <a:pt x="6562759" y="5700439"/>
                  <a:pt x="6564223" y="5699773"/>
                </a:cubicBezTo>
                <a:cubicBezTo>
                  <a:pt x="6565687" y="5699241"/>
                  <a:pt x="6567019" y="5698442"/>
                  <a:pt x="6567950" y="5697376"/>
                </a:cubicBezTo>
                <a:cubicBezTo>
                  <a:pt x="6569015" y="5696178"/>
                  <a:pt x="6569947" y="5694847"/>
                  <a:pt x="6570612" y="5693117"/>
                </a:cubicBezTo>
                <a:cubicBezTo>
                  <a:pt x="6571412" y="5691519"/>
                  <a:pt x="6571677" y="5689655"/>
                  <a:pt x="6571677" y="5687659"/>
                </a:cubicBezTo>
                <a:cubicBezTo>
                  <a:pt x="6571677" y="5685795"/>
                  <a:pt x="6571278" y="5684064"/>
                  <a:pt x="6570612" y="5682467"/>
                </a:cubicBezTo>
                <a:cubicBezTo>
                  <a:pt x="6569947" y="5680870"/>
                  <a:pt x="6569015" y="5679539"/>
                  <a:pt x="6567950" y="5678341"/>
                </a:cubicBezTo>
                <a:cubicBezTo>
                  <a:pt x="6566885" y="5677276"/>
                  <a:pt x="6565554" y="5676344"/>
                  <a:pt x="6563956" y="5675678"/>
                </a:cubicBezTo>
                <a:cubicBezTo>
                  <a:pt x="6562492" y="5675013"/>
                  <a:pt x="6560895" y="5674747"/>
                  <a:pt x="6558899" y="5674747"/>
                </a:cubicBezTo>
                <a:close/>
                <a:moveTo>
                  <a:pt x="6341253" y="5674747"/>
                </a:moveTo>
                <a:cubicBezTo>
                  <a:pt x="6335396" y="5674747"/>
                  <a:pt x="6332867" y="5676610"/>
                  <a:pt x="6331270" y="5678341"/>
                </a:cubicBezTo>
                <a:cubicBezTo>
                  <a:pt x="6328740" y="5681003"/>
                  <a:pt x="6327675" y="5683798"/>
                  <a:pt x="6327675" y="5687792"/>
                </a:cubicBezTo>
                <a:cubicBezTo>
                  <a:pt x="6327675" y="5691919"/>
                  <a:pt x="6328740" y="5694714"/>
                  <a:pt x="6331270" y="5697243"/>
                </a:cubicBezTo>
                <a:cubicBezTo>
                  <a:pt x="6332867" y="5698842"/>
                  <a:pt x="6335396" y="5700705"/>
                  <a:pt x="6341253" y="5700705"/>
                </a:cubicBezTo>
                <a:cubicBezTo>
                  <a:pt x="6343250" y="5700705"/>
                  <a:pt x="6345114" y="5700439"/>
                  <a:pt x="6346578" y="5699773"/>
                </a:cubicBezTo>
                <a:cubicBezTo>
                  <a:pt x="6348042" y="5699241"/>
                  <a:pt x="6349373" y="5698442"/>
                  <a:pt x="6350305" y="5697376"/>
                </a:cubicBezTo>
                <a:cubicBezTo>
                  <a:pt x="6351370" y="5696178"/>
                  <a:pt x="6352302" y="5694847"/>
                  <a:pt x="6352968" y="5693117"/>
                </a:cubicBezTo>
                <a:cubicBezTo>
                  <a:pt x="6353766" y="5691519"/>
                  <a:pt x="6354033" y="5689655"/>
                  <a:pt x="6354033" y="5687659"/>
                </a:cubicBezTo>
                <a:cubicBezTo>
                  <a:pt x="6354033" y="5685795"/>
                  <a:pt x="6353633" y="5684064"/>
                  <a:pt x="6352968" y="5682467"/>
                </a:cubicBezTo>
                <a:cubicBezTo>
                  <a:pt x="6352302" y="5680870"/>
                  <a:pt x="6351370" y="5679539"/>
                  <a:pt x="6350305" y="5678341"/>
                </a:cubicBezTo>
                <a:cubicBezTo>
                  <a:pt x="6349241" y="5677276"/>
                  <a:pt x="6347909" y="5676344"/>
                  <a:pt x="6346312" y="5675678"/>
                </a:cubicBezTo>
                <a:cubicBezTo>
                  <a:pt x="6344848" y="5675013"/>
                  <a:pt x="6343250" y="5674747"/>
                  <a:pt x="6341253" y="5674747"/>
                </a:cubicBezTo>
                <a:close/>
                <a:moveTo>
                  <a:pt x="6123608" y="5674747"/>
                </a:moveTo>
                <a:cubicBezTo>
                  <a:pt x="6117751" y="5674747"/>
                  <a:pt x="6115221" y="5676610"/>
                  <a:pt x="6113624" y="5678341"/>
                </a:cubicBezTo>
                <a:cubicBezTo>
                  <a:pt x="6111095" y="5681003"/>
                  <a:pt x="6110030" y="5683798"/>
                  <a:pt x="6110030" y="5687792"/>
                </a:cubicBezTo>
                <a:cubicBezTo>
                  <a:pt x="6110030" y="5691919"/>
                  <a:pt x="6111095" y="5694714"/>
                  <a:pt x="6113624" y="5697243"/>
                </a:cubicBezTo>
                <a:cubicBezTo>
                  <a:pt x="6115221" y="5698842"/>
                  <a:pt x="6117751" y="5700705"/>
                  <a:pt x="6123608" y="5700705"/>
                </a:cubicBezTo>
                <a:cubicBezTo>
                  <a:pt x="6125737" y="5700705"/>
                  <a:pt x="6127468" y="5700439"/>
                  <a:pt x="6128932" y="5699773"/>
                </a:cubicBezTo>
                <a:cubicBezTo>
                  <a:pt x="6130530" y="5699241"/>
                  <a:pt x="6131728" y="5698442"/>
                  <a:pt x="6132659" y="5697376"/>
                </a:cubicBezTo>
                <a:cubicBezTo>
                  <a:pt x="6133724" y="5696178"/>
                  <a:pt x="6134656" y="5694847"/>
                  <a:pt x="6135322" y="5693117"/>
                </a:cubicBezTo>
                <a:cubicBezTo>
                  <a:pt x="6135987" y="5691519"/>
                  <a:pt x="6136387" y="5689655"/>
                  <a:pt x="6136387" y="5687659"/>
                </a:cubicBezTo>
                <a:cubicBezTo>
                  <a:pt x="6136387" y="5685795"/>
                  <a:pt x="6135987" y="5684064"/>
                  <a:pt x="6135322" y="5682467"/>
                </a:cubicBezTo>
                <a:cubicBezTo>
                  <a:pt x="6134656" y="5680870"/>
                  <a:pt x="6133724" y="5679539"/>
                  <a:pt x="6132659" y="5678341"/>
                </a:cubicBezTo>
                <a:cubicBezTo>
                  <a:pt x="6131594" y="5677276"/>
                  <a:pt x="6130263" y="5676344"/>
                  <a:pt x="6128666" y="5675678"/>
                </a:cubicBezTo>
                <a:cubicBezTo>
                  <a:pt x="6127202" y="5675013"/>
                  <a:pt x="6125604" y="5674747"/>
                  <a:pt x="6123608" y="5674747"/>
                </a:cubicBezTo>
                <a:close/>
                <a:moveTo>
                  <a:pt x="5905963" y="5674747"/>
                </a:moveTo>
                <a:cubicBezTo>
                  <a:pt x="5900106" y="5674747"/>
                  <a:pt x="5897576" y="5676610"/>
                  <a:pt x="5895979" y="5678341"/>
                </a:cubicBezTo>
                <a:cubicBezTo>
                  <a:pt x="5893450" y="5681003"/>
                  <a:pt x="5892385" y="5683798"/>
                  <a:pt x="5892385" y="5687792"/>
                </a:cubicBezTo>
                <a:cubicBezTo>
                  <a:pt x="5892385" y="5691919"/>
                  <a:pt x="5893450" y="5694714"/>
                  <a:pt x="5895979" y="5697243"/>
                </a:cubicBezTo>
                <a:cubicBezTo>
                  <a:pt x="5897576" y="5698842"/>
                  <a:pt x="5900106" y="5700705"/>
                  <a:pt x="5905963" y="5700705"/>
                </a:cubicBezTo>
                <a:cubicBezTo>
                  <a:pt x="5908093" y="5700705"/>
                  <a:pt x="5909823" y="5700439"/>
                  <a:pt x="5911287" y="5699773"/>
                </a:cubicBezTo>
                <a:cubicBezTo>
                  <a:pt x="5912751" y="5699241"/>
                  <a:pt x="5914083" y="5698442"/>
                  <a:pt x="5915014" y="5697376"/>
                </a:cubicBezTo>
                <a:cubicBezTo>
                  <a:pt x="5916079" y="5696178"/>
                  <a:pt x="5917011" y="5694847"/>
                  <a:pt x="5917677" y="5693117"/>
                </a:cubicBezTo>
                <a:cubicBezTo>
                  <a:pt x="5918342" y="5691519"/>
                  <a:pt x="5918742" y="5689655"/>
                  <a:pt x="5918742" y="5687659"/>
                </a:cubicBezTo>
                <a:cubicBezTo>
                  <a:pt x="5918742" y="5685795"/>
                  <a:pt x="5918342" y="5684064"/>
                  <a:pt x="5917677" y="5682467"/>
                </a:cubicBezTo>
                <a:cubicBezTo>
                  <a:pt x="5917011" y="5680870"/>
                  <a:pt x="5916079" y="5679539"/>
                  <a:pt x="5915014" y="5678341"/>
                </a:cubicBezTo>
                <a:cubicBezTo>
                  <a:pt x="5913950" y="5677276"/>
                  <a:pt x="5912618" y="5676344"/>
                  <a:pt x="5911021" y="5675678"/>
                </a:cubicBezTo>
                <a:cubicBezTo>
                  <a:pt x="5909557" y="5675013"/>
                  <a:pt x="5907826" y="5674747"/>
                  <a:pt x="5905963" y="5674747"/>
                </a:cubicBezTo>
                <a:close/>
                <a:moveTo>
                  <a:pt x="5688451" y="5674747"/>
                </a:moveTo>
                <a:cubicBezTo>
                  <a:pt x="5682594" y="5674747"/>
                  <a:pt x="5680064" y="5676610"/>
                  <a:pt x="5678467" y="5678341"/>
                </a:cubicBezTo>
                <a:cubicBezTo>
                  <a:pt x="5675938" y="5681003"/>
                  <a:pt x="5674873" y="5683798"/>
                  <a:pt x="5674873" y="5687792"/>
                </a:cubicBezTo>
                <a:cubicBezTo>
                  <a:pt x="5674873" y="5691919"/>
                  <a:pt x="5675938" y="5694714"/>
                  <a:pt x="5678467" y="5697243"/>
                </a:cubicBezTo>
                <a:cubicBezTo>
                  <a:pt x="5680064" y="5698842"/>
                  <a:pt x="5682594" y="5700705"/>
                  <a:pt x="5688451" y="5700705"/>
                </a:cubicBezTo>
                <a:cubicBezTo>
                  <a:pt x="5690447" y="5700705"/>
                  <a:pt x="5692178" y="5700439"/>
                  <a:pt x="5693775" y="5699773"/>
                </a:cubicBezTo>
                <a:cubicBezTo>
                  <a:pt x="5695239" y="5699241"/>
                  <a:pt x="5696571" y="5698442"/>
                  <a:pt x="5697502" y="5697376"/>
                </a:cubicBezTo>
                <a:cubicBezTo>
                  <a:pt x="5698567" y="5696178"/>
                  <a:pt x="5699499" y="5694847"/>
                  <a:pt x="5700165" y="5693117"/>
                </a:cubicBezTo>
                <a:cubicBezTo>
                  <a:pt x="5700830" y="5691519"/>
                  <a:pt x="5701230" y="5689655"/>
                  <a:pt x="5701230" y="5687659"/>
                </a:cubicBezTo>
                <a:cubicBezTo>
                  <a:pt x="5701230" y="5685795"/>
                  <a:pt x="5700830" y="5684064"/>
                  <a:pt x="5700165" y="5682467"/>
                </a:cubicBezTo>
                <a:cubicBezTo>
                  <a:pt x="5699499" y="5680870"/>
                  <a:pt x="5698567" y="5679539"/>
                  <a:pt x="5697502" y="5678341"/>
                </a:cubicBezTo>
                <a:cubicBezTo>
                  <a:pt x="5696437" y="5677276"/>
                  <a:pt x="5695106" y="5676344"/>
                  <a:pt x="5693509" y="5675678"/>
                </a:cubicBezTo>
                <a:cubicBezTo>
                  <a:pt x="5692045" y="5675013"/>
                  <a:pt x="5690314" y="5674747"/>
                  <a:pt x="5688451" y="5674747"/>
                </a:cubicBezTo>
                <a:close/>
                <a:moveTo>
                  <a:pt x="5470806" y="5674747"/>
                </a:moveTo>
                <a:cubicBezTo>
                  <a:pt x="5464949" y="5674747"/>
                  <a:pt x="5462419" y="5676610"/>
                  <a:pt x="5460822" y="5678341"/>
                </a:cubicBezTo>
                <a:cubicBezTo>
                  <a:pt x="5458293" y="5681003"/>
                  <a:pt x="5457228" y="5683798"/>
                  <a:pt x="5457228" y="5687792"/>
                </a:cubicBezTo>
                <a:cubicBezTo>
                  <a:pt x="5457228" y="5691919"/>
                  <a:pt x="5458293" y="5694714"/>
                  <a:pt x="5460822" y="5697243"/>
                </a:cubicBezTo>
                <a:cubicBezTo>
                  <a:pt x="5462419" y="5698842"/>
                  <a:pt x="5464949" y="5700705"/>
                  <a:pt x="5470806" y="5700705"/>
                </a:cubicBezTo>
                <a:cubicBezTo>
                  <a:pt x="5472802" y="5700705"/>
                  <a:pt x="5474666" y="5700439"/>
                  <a:pt x="5476130" y="5699773"/>
                </a:cubicBezTo>
                <a:cubicBezTo>
                  <a:pt x="5477594" y="5699241"/>
                  <a:pt x="5478926" y="5698442"/>
                  <a:pt x="5479857" y="5697376"/>
                </a:cubicBezTo>
                <a:cubicBezTo>
                  <a:pt x="5480922" y="5696178"/>
                  <a:pt x="5481854" y="5694847"/>
                  <a:pt x="5482520" y="5693117"/>
                </a:cubicBezTo>
                <a:cubicBezTo>
                  <a:pt x="5483319" y="5691519"/>
                  <a:pt x="5483585" y="5689655"/>
                  <a:pt x="5483585" y="5687659"/>
                </a:cubicBezTo>
                <a:cubicBezTo>
                  <a:pt x="5483585" y="5685795"/>
                  <a:pt x="5483185" y="5684064"/>
                  <a:pt x="5482520" y="5682467"/>
                </a:cubicBezTo>
                <a:cubicBezTo>
                  <a:pt x="5481854" y="5680870"/>
                  <a:pt x="5480922" y="5679539"/>
                  <a:pt x="5479857" y="5678341"/>
                </a:cubicBezTo>
                <a:cubicBezTo>
                  <a:pt x="5478793" y="5677276"/>
                  <a:pt x="5477461" y="5676344"/>
                  <a:pt x="5475864" y="5675678"/>
                </a:cubicBezTo>
                <a:cubicBezTo>
                  <a:pt x="5474400" y="5675013"/>
                  <a:pt x="5472669" y="5674747"/>
                  <a:pt x="5470806" y="5674747"/>
                </a:cubicBezTo>
                <a:close/>
                <a:moveTo>
                  <a:pt x="5253160" y="5674747"/>
                </a:moveTo>
                <a:cubicBezTo>
                  <a:pt x="5247303" y="5674747"/>
                  <a:pt x="5244774" y="5676610"/>
                  <a:pt x="5243177" y="5678341"/>
                </a:cubicBezTo>
                <a:cubicBezTo>
                  <a:pt x="5240647" y="5681003"/>
                  <a:pt x="5239583" y="5683798"/>
                  <a:pt x="5239583" y="5687792"/>
                </a:cubicBezTo>
                <a:cubicBezTo>
                  <a:pt x="5239583" y="5691919"/>
                  <a:pt x="5240647" y="5694714"/>
                  <a:pt x="5243177" y="5697243"/>
                </a:cubicBezTo>
                <a:cubicBezTo>
                  <a:pt x="5244774" y="5698842"/>
                  <a:pt x="5247303" y="5700705"/>
                  <a:pt x="5253160" y="5700705"/>
                </a:cubicBezTo>
                <a:cubicBezTo>
                  <a:pt x="5255157" y="5700705"/>
                  <a:pt x="5257021" y="5700439"/>
                  <a:pt x="5258485" y="5699773"/>
                </a:cubicBezTo>
                <a:cubicBezTo>
                  <a:pt x="5259949" y="5699241"/>
                  <a:pt x="5261280" y="5698442"/>
                  <a:pt x="5262212" y="5697376"/>
                </a:cubicBezTo>
                <a:cubicBezTo>
                  <a:pt x="5263277" y="5696178"/>
                  <a:pt x="5264209" y="5694847"/>
                  <a:pt x="5264875" y="5693117"/>
                </a:cubicBezTo>
                <a:cubicBezTo>
                  <a:pt x="5265673" y="5691519"/>
                  <a:pt x="5265939" y="5689655"/>
                  <a:pt x="5265939" y="5687659"/>
                </a:cubicBezTo>
                <a:cubicBezTo>
                  <a:pt x="5265939" y="5685795"/>
                  <a:pt x="5265540" y="5684064"/>
                  <a:pt x="5264875" y="5682467"/>
                </a:cubicBezTo>
                <a:cubicBezTo>
                  <a:pt x="5264209" y="5680870"/>
                  <a:pt x="5263277" y="5679539"/>
                  <a:pt x="5262212" y="5678341"/>
                </a:cubicBezTo>
                <a:cubicBezTo>
                  <a:pt x="5261147" y="5677276"/>
                  <a:pt x="5259816" y="5676344"/>
                  <a:pt x="5258219" y="5675678"/>
                </a:cubicBezTo>
                <a:cubicBezTo>
                  <a:pt x="5256754" y="5675013"/>
                  <a:pt x="5255024" y="5674747"/>
                  <a:pt x="5253160" y="5674747"/>
                </a:cubicBezTo>
                <a:close/>
                <a:moveTo>
                  <a:pt x="5035515" y="5674747"/>
                </a:moveTo>
                <a:cubicBezTo>
                  <a:pt x="5029658" y="5674747"/>
                  <a:pt x="5027129" y="5676610"/>
                  <a:pt x="5025532" y="5678341"/>
                </a:cubicBezTo>
                <a:cubicBezTo>
                  <a:pt x="5023002" y="5681003"/>
                  <a:pt x="5021938" y="5683798"/>
                  <a:pt x="5021938" y="5687792"/>
                </a:cubicBezTo>
                <a:cubicBezTo>
                  <a:pt x="5021938" y="5691919"/>
                  <a:pt x="5023002" y="5694714"/>
                  <a:pt x="5025532" y="5697243"/>
                </a:cubicBezTo>
                <a:cubicBezTo>
                  <a:pt x="5027129" y="5698842"/>
                  <a:pt x="5029658" y="5700705"/>
                  <a:pt x="5035515" y="5700705"/>
                </a:cubicBezTo>
                <a:cubicBezTo>
                  <a:pt x="5037645" y="5700705"/>
                  <a:pt x="5039376" y="5700439"/>
                  <a:pt x="5040840" y="5699773"/>
                </a:cubicBezTo>
                <a:cubicBezTo>
                  <a:pt x="5042304" y="5699241"/>
                  <a:pt x="5043636" y="5698442"/>
                  <a:pt x="5044567" y="5697376"/>
                </a:cubicBezTo>
                <a:cubicBezTo>
                  <a:pt x="5045632" y="5696178"/>
                  <a:pt x="5046564" y="5694847"/>
                  <a:pt x="5047230" y="5693117"/>
                </a:cubicBezTo>
                <a:cubicBezTo>
                  <a:pt x="5048028" y="5691519"/>
                  <a:pt x="5048294" y="5689655"/>
                  <a:pt x="5048294" y="5687659"/>
                </a:cubicBezTo>
                <a:cubicBezTo>
                  <a:pt x="5048294" y="5685795"/>
                  <a:pt x="5047895" y="5684064"/>
                  <a:pt x="5047230" y="5682467"/>
                </a:cubicBezTo>
                <a:cubicBezTo>
                  <a:pt x="5046564" y="5680870"/>
                  <a:pt x="5045632" y="5679539"/>
                  <a:pt x="5044567" y="5678341"/>
                </a:cubicBezTo>
                <a:cubicBezTo>
                  <a:pt x="5043502" y="5677276"/>
                  <a:pt x="5042171" y="5676344"/>
                  <a:pt x="5040574" y="5675678"/>
                </a:cubicBezTo>
                <a:cubicBezTo>
                  <a:pt x="5039110" y="5675013"/>
                  <a:pt x="5037379" y="5674747"/>
                  <a:pt x="5035515" y="5674747"/>
                </a:cubicBezTo>
                <a:close/>
                <a:moveTo>
                  <a:pt x="4817870" y="5674747"/>
                </a:moveTo>
                <a:cubicBezTo>
                  <a:pt x="4812013" y="5674747"/>
                  <a:pt x="4809484" y="5676610"/>
                  <a:pt x="4807887" y="5678341"/>
                </a:cubicBezTo>
                <a:cubicBezTo>
                  <a:pt x="4805357" y="5681003"/>
                  <a:pt x="4804293" y="5683798"/>
                  <a:pt x="4804293" y="5687792"/>
                </a:cubicBezTo>
                <a:cubicBezTo>
                  <a:pt x="4804293" y="5691919"/>
                  <a:pt x="4805357" y="5694714"/>
                  <a:pt x="4807887" y="5697243"/>
                </a:cubicBezTo>
                <a:cubicBezTo>
                  <a:pt x="4809484" y="5698842"/>
                  <a:pt x="4812013" y="5700705"/>
                  <a:pt x="4817870" y="5700705"/>
                </a:cubicBezTo>
                <a:cubicBezTo>
                  <a:pt x="4820000" y="5700705"/>
                  <a:pt x="4821731" y="5700439"/>
                  <a:pt x="4823195" y="5699773"/>
                </a:cubicBezTo>
                <a:cubicBezTo>
                  <a:pt x="4824659" y="5699241"/>
                  <a:pt x="4825857" y="5698442"/>
                  <a:pt x="4826922" y="5697376"/>
                </a:cubicBezTo>
                <a:cubicBezTo>
                  <a:pt x="4827987" y="5696178"/>
                  <a:pt x="4828919" y="5694847"/>
                  <a:pt x="4829585" y="5693117"/>
                </a:cubicBezTo>
                <a:cubicBezTo>
                  <a:pt x="4830383" y="5691519"/>
                  <a:pt x="4830650" y="5689655"/>
                  <a:pt x="4830650" y="5687659"/>
                </a:cubicBezTo>
                <a:cubicBezTo>
                  <a:pt x="4830650" y="5685795"/>
                  <a:pt x="4830250" y="5684064"/>
                  <a:pt x="4829585" y="5682467"/>
                </a:cubicBezTo>
                <a:cubicBezTo>
                  <a:pt x="4828919" y="5680870"/>
                  <a:pt x="4827987" y="5679539"/>
                  <a:pt x="4826922" y="5678341"/>
                </a:cubicBezTo>
                <a:cubicBezTo>
                  <a:pt x="4825857" y="5677276"/>
                  <a:pt x="4824526" y="5676344"/>
                  <a:pt x="4822929" y="5675678"/>
                </a:cubicBezTo>
                <a:cubicBezTo>
                  <a:pt x="4821465" y="5675013"/>
                  <a:pt x="4819734" y="5674747"/>
                  <a:pt x="4817870" y="5674747"/>
                </a:cubicBezTo>
                <a:close/>
                <a:moveTo>
                  <a:pt x="4600226" y="5674747"/>
                </a:moveTo>
                <a:cubicBezTo>
                  <a:pt x="4594369" y="5674747"/>
                  <a:pt x="4591839" y="5676610"/>
                  <a:pt x="4590242" y="5678341"/>
                </a:cubicBezTo>
                <a:cubicBezTo>
                  <a:pt x="4587713" y="5681003"/>
                  <a:pt x="4586648" y="5683798"/>
                  <a:pt x="4586648" y="5687792"/>
                </a:cubicBezTo>
                <a:cubicBezTo>
                  <a:pt x="4586648" y="5691919"/>
                  <a:pt x="4587713" y="5694714"/>
                  <a:pt x="4590242" y="5697243"/>
                </a:cubicBezTo>
                <a:cubicBezTo>
                  <a:pt x="4591839" y="5698842"/>
                  <a:pt x="4594369" y="5700705"/>
                  <a:pt x="4600226" y="5700705"/>
                </a:cubicBezTo>
                <a:cubicBezTo>
                  <a:pt x="4602355" y="5700705"/>
                  <a:pt x="4604086" y="5700439"/>
                  <a:pt x="4605550" y="5699773"/>
                </a:cubicBezTo>
                <a:cubicBezTo>
                  <a:pt x="4607148" y="5699241"/>
                  <a:pt x="4608346" y="5698442"/>
                  <a:pt x="4609277" y="5697376"/>
                </a:cubicBezTo>
                <a:cubicBezTo>
                  <a:pt x="4610342" y="5696178"/>
                  <a:pt x="4611274" y="5694847"/>
                  <a:pt x="4611940" y="5693117"/>
                </a:cubicBezTo>
                <a:cubicBezTo>
                  <a:pt x="4612605" y="5691519"/>
                  <a:pt x="4613005" y="5689655"/>
                  <a:pt x="4613005" y="5687659"/>
                </a:cubicBezTo>
                <a:cubicBezTo>
                  <a:pt x="4613005" y="5685795"/>
                  <a:pt x="4612605" y="5684064"/>
                  <a:pt x="4611940" y="5682467"/>
                </a:cubicBezTo>
                <a:cubicBezTo>
                  <a:pt x="4611274" y="5680870"/>
                  <a:pt x="4610342" y="5679539"/>
                  <a:pt x="4609277" y="5678341"/>
                </a:cubicBezTo>
                <a:cubicBezTo>
                  <a:pt x="4608212" y="5677276"/>
                  <a:pt x="4606881" y="5676344"/>
                  <a:pt x="4605284" y="5675678"/>
                </a:cubicBezTo>
                <a:cubicBezTo>
                  <a:pt x="4603820" y="5675013"/>
                  <a:pt x="4602222" y="5674747"/>
                  <a:pt x="4600226" y="5674747"/>
                </a:cubicBezTo>
                <a:close/>
                <a:moveTo>
                  <a:pt x="4382713" y="5674747"/>
                </a:moveTo>
                <a:cubicBezTo>
                  <a:pt x="4376857" y="5674747"/>
                  <a:pt x="4374327" y="5676610"/>
                  <a:pt x="4372730" y="5678341"/>
                </a:cubicBezTo>
                <a:cubicBezTo>
                  <a:pt x="4370201" y="5681003"/>
                  <a:pt x="4369136" y="5683798"/>
                  <a:pt x="4369136" y="5687792"/>
                </a:cubicBezTo>
                <a:cubicBezTo>
                  <a:pt x="4369136" y="5691919"/>
                  <a:pt x="4370201" y="5694714"/>
                  <a:pt x="4372730" y="5697243"/>
                </a:cubicBezTo>
                <a:cubicBezTo>
                  <a:pt x="4374327" y="5698842"/>
                  <a:pt x="4376857" y="5700705"/>
                  <a:pt x="4382713" y="5700705"/>
                </a:cubicBezTo>
                <a:cubicBezTo>
                  <a:pt x="4384710" y="5700705"/>
                  <a:pt x="4386441" y="5700439"/>
                  <a:pt x="4388038" y="5699773"/>
                </a:cubicBezTo>
                <a:cubicBezTo>
                  <a:pt x="4389502" y="5699241"/>
                  <a:pt x="4390834" y="5698442"/>
                  <a:pt x="4391765" y="5697376"/>
                </a:cubicBezTo>
                <a:cubicBezTo>
                  <a:pt x="4392830" y="5696178"/>
                  <a:pt x="4393762" y="5694847"/>
                  <a:pt x="4394428" y="5693117"/>
                </a:cubicBezTo>
                <a:cubicBezTo>
                  <a:pt x="4395093" y="5691519"/>
                  <a:pt x="4395493" y="5689655"/>
                  <a:pt x="4395493" y="5687659"/>
                </a:cubicBezTo>
                <a:cubicBezTo>
                  <a:pt x="4395493" y="5685795"/>
                  <a:pt x="4395093" y="5684064"/>
                  <a:pt x="4394428" y="5682467"/>
                </a:cubicBezTo>
                <a:cubicBezTo>
                  <a:pt x="4393762" y="5680870"/>
                  <a:pt x="4392830" y="5679539"/>
                  <a:pt x="4391765" y="5678341"/>
                </a:cubicBezTo>
                <a:cubicBezTo>
                  <a:pt x="4390700" y="5677276"/>
                  <a:pt x="4389369" y="5676344"/>
                  <a:pt x="4387772" y="5675678"/>
                </a:cubicBezTo>
                <a:cubicBezTo>
                  <a:pt x="4386308" y="5675013"/>
                  <a:pt x="4384710" y="5674747"/>
                  <a:pt x="4382713" y="5674747"/>
                </a:cubicBezTo>
                <a:close/>
                <a:moveTo>
                  <a:pt x="4165068" y="5674747"/>
                </a:moveTo>
                <a:cubicBezTo>
                  <a:pt x="4159211" y="5674747"/>
                  <a:pt x="4156681" y="5676610"/>
                  <a:pt x="4155084" y="5678341"/>
                </a:cubicBezTo>
                <a:cubicBezTo>
                  <a:pt x="4152555" y="5681003"/>
                  <a:pt x="4151490" y="5683798"/>
                  <a:pt x="4151490" y="5687792"/>
                </a:cubicBezTo>
                <a:cubicBezTo>
                  <a:pt x="4151490" y="5691919"/>
                  <a:pt x="4152555" y="5694714"/>
                  <a:pt x="4155084" y="5697243"/>
                </a:cubicBezTo>
                <a:cubicBezTo>
                  <a:pt x="4156681" y="5698842"/>
                  <a:pt x="4159211" y="5700705"/>
                  <a:pt x="4165068" y="5700705"/>
                </a:cubicBezTo>
                <a:cubicBezTo>
                  <a:pt x="4167064" y="5700705"/>
                  <a:pt x="4168928" y="5700439"/>
                  <a:pt x="4170392" y="5699773"/>
                </a:cubicBezTo>
                <a:cubicBezTo>
                  <a:pt x="4171856" y="5699241"/>
                  <a:pt x="4173188" y="5698442"/>
                  <a:pt x="4174119" y="5697376"/>
                </a:cubicBezTo>
                <a:cubicBezTo>
                  <a:pt x="4175184" y="5696178"/>
                  <a:pt x="4176116" y="5694847"/>
                  <a:pt x="4176782" y="5693117"/>
                </a:cubicBezTo>
                <a:cubicBezTo>
                  <a:pt x="4177447" y="5691519"/>
                  <a:pt x="4177847" y="5689655"/>
                  <a:pt x="4177847" y="5687659"/>
                </a:cubicBezTo>
                <a:cubicBezTo>
                  <a:pt x="4177847" y="5685795"/>
                  <a:pt x="4177447" y="5684064"/>
                  <a:pt x="4176782" y="5682467"/>
                </a:cubicBezTo>
                <a:cubicBezTo>
                  <a:pt x="4176116" y="5680870"/>
                  <a:pt x="4175184" y="5679539"/>
                  <a:pt x="4174119" y="5678341"/>
                </a:cubicBezTo>
                <a:cubicBezTo>
                  <a:pt x="4173054" y="5677276"/>
                  <a:pt x="4171723" y="5676344"/>
                  <a:pt x="4170126" y="5675678"/>
                </a:cubicBezTo>
                <a:cubicBezTo>
                  <a:pt x="4168662" y="5675013"/>
                  <a:pt x="4167064" y="5674747"/>
                  <a:pt x="4165068" y="5674747"/>
                </a:cubicBezTo>
                <a:close/>
                <a:moveTo>
                  <a:pt x="3947733" y="5674747"/>
                </a:moveTo>
                <a:cubicBezTo>
                  <a:pt x="3941875" y="5674747"/>
                  <a:pt x="3939346" y="5676610"/>
                  <a:pt x="3937749" y="5678341"/>
                </a:cubicBezTo>
                <a:cubicBezTo>
                  <a:pt x="3935218" y="5681003"/>
                  <a:pt x="3934155" y="5683798"/>
                  <a:pt x="3934155" y="5687792"/>
                </a:cubicBezTo>
                <a:cubicBezTo>
                  <a:pt x="3934155" y="5691919"/>
                  <a:pt x="3935218" y="5694714"/>
                  <a:pt x="3937749" y="5697243"/>
                </a:cubicBezTo>
                <a:cubicBezTo>
                  <a:pt x="3939346" y="5698842"/>
                  <a:pt x="3941875" y="5700705"/>
                  <a:pt x="3947733" y="5700705"/>
                </a:cubicBezTo>
                <a:cubicBezTo>
                  <a:pt x="3949730" y="5700705"/>
                  <a:pt x="3951594" y="5700439"/>
                  <a:pt x="3953061" y="5699773"/>
                </a:cubicBezTo>
                <a:cubicBezTo>
                  <a:pt x="3954525" y="5699241"/>
                  <a:pt x="3955855" y="5698442"/>
                  <a:pt x="3956788" y="5697376"/>
                </a:cubicBezTo>
                <a:cubicBezTo>
                  <a:pt x="3957853" y="5696178"/>
                  <a:pt x="3958785" y="5694847"/>
                  <a:pt x="3959451" y="5693117"/>
                </a:cubicBezTo>
                <a:cubicBezTo>
                  <a:pt x="3960116" y="5691519"/>
                  <a:pt x="3960516" y="5689655"/>
                  <a:pt x="3960516" y="5687659"/>
                </a:cubicBezTo>
                <a:cubicBezTo>
                  <a:pt x="3960516" y="5685795"/>
                  <a:pt x="3960116" y="5684064"/>
                  <a:pt x="3959451" y="5682467"/>
                </a:cubicBezTo>
                <a:cubicBezTo>
                  <a:pt x="3958785" y="5680870"/>
                  <a:pt x="3957853" y="5679539"/>
                  <a:pt x="3956788" y="5678341"/>
                </a:cubicBezTo>
                <a:cubicBezTo>
                  <a:pt x="3955723" y="5677276"/>
                  <a:pt x="3954392" y="5676344"/>
                  <a:pt x="3952794" y="5675678"/>
                </a:cubicBezTo>
                <a:cubicBezTo>
                  <a:pt x="3951327" y="5675013"/>
                  <a:pt x="3949730" y="5674747"/>
                  <a:pt x="3947733" y="5674747"/>
                </a:cubicBezTo>
                <a:close/>
                <a:moveTo>
                  <a:pt x="3730074" y="5674747"/>
                </a:moveTo>
                <a:cubicBezTo>
                  <a:pt x="3724216" y="5674747"/>
                  <a:pt x="3721687" y="5676610"/>
                  <a:pt x="3720087" y="5678341"/>
                </a:cubicBezTo>
                <a:cubicBezTo>
                  <a:pt x="3717557" y="5681003"/>
                  <a:pt x="3716495" y="5683798"/>
                  <a:pt x="3716495" y="5687792"/>
                </a:cubicBezTo>
                <a:cubicBezTo>
                  <a:pt x="3716495" y="5691919"/>
                  <a:pt x="3717557" y="5694714"/>
                  <a:pt x="3720087" y="5697243"/>
                </a:cubicBezTo>
                <a:cubicBezTo>
                  <a:pt x="3721687" y="5698842"/>
                  <a:pt x="3724216" y="5700705"/>
                  <a:pt x="3730074" y="5700705"/>
                </a:cubicBezTo>
                <a:cubicBezTo>
                  <a:pt x="3732204" y="5700705"/>
                  <a:pt x="3733935" y="5700439"/>
                  <a:pt x="3735399" y="5699773"/>
                </a:cubicBezTo>
                <a:cubicBezTo>
                  <a:pt x="3736863" y="5699241"/>
                  <a:pt x="3738196" y="5698442"/>
                  <a:pt x="3739126" y="5697376"/>
                </a:cubicBezTo>
                <a:cubicBezTo>
                  <a:pt x="3740191" y="5696178"/>
                  <a:pt x="3741124" y="5694847"/>
                  <a:pt x="3741789" y="5693117"/>
                </a:cubicBezTo>
                <a:cubicBezTo>
                  <a:pt x="3742454" y="5691519"/>
                  <a:pt x="3742854" y="5689655"/>
                  <a:pt x="3742854" y="5687659"/>
                </a:cubicBezTo>
                <a:cubicBezTo>
                  <a:pt x="3742854" y="5685795"/>
                  <a:pt x="3742454" y="5684064"/>
                  <a:pt x="3741789" y="5682467"/>
                </a:cubicBezTo>
                <a:cubicBezTo>
                  <a:pt x="3741124" y="5680870"/>
                  <a:pt x="3740191" y="5679539"/>
                  <a:pt x="3739126" y="5678341"/>
                </a:cubicBezTo>
                <a:cubicBezTo>
                  <a:pt x="3738062" y="5677276"/>
                  <a:pt x="3736730" y="5676344"/>
                  <a:pt x="3735133" y="5675678"/>
                </a:cubicBezTo>
                <a:cubicBezTo>
                  <a:pt x="3733668" y="5675013"/>
                  <a:pt x="3732071" y="5674747"/>
                  <a:pt x="3730074" y="5674747"/>
                </a:cubicBezTo>
                <a:close/>
                <a:moveTo>
                  <a:pt x="3512412" y="5674747"/>
                </a:moveTo>
                <a:cubicBezTo>
                  <a:pt x="3506553" y="5674747"/>
                  <a:pt x="3504023" y="5676610"/>
                  <a:pt x="3502423" y="5678341"/>
                </a:cubicBezTo>
                <a:cubicBezTo>
                  <a:pt x="3499893" y="5681003"/>
                  <a:pt x="3498830" y="5683798"/>
                  <a:pt x="3498830" y="5687792"/>
                </a:cubicBezTo>
                <a:cubicBezTo>
                  <a:pt x="3498830" y="5691919"/>
                  <a:pt x="3499893" y="5694714"/>
                  <a:pt x="3502423" y="5697243"/>
                </a:cubicBezTo>
                <a:cubicBezTo>
                  <a:pt x="3504023" y="5698842"/>
                  <a:pt x="3506553" y="5700705"/>
                  <a:pt x="3512412" y="5700705"/>
                </a:cubicBezTo>
                <a:cubicBezTo>
                  <a:pt x="3514542" y="5700705"/>
                  <a:pt x="3516274" y="5700439"/>
                  <a:pt x="3517738" y="5699773"/>
                </a:cubicBezTo>
                <a:cubicBezTo>
                  <a:pt x="3519202" y="5699241"/>
                  <a:pt x="3520534" y="5698442"/>
                  <a:pt x="3521465" y="5697376"/>
                </a:cubicBezTo>
                <a:cubicBezTo>
                  <a:pt x="3522530" y="5696178"/>
                  <a:pt x="3523462" y="5694847"/>
                  <a:pt x="3524128" y="5693117"/>
                </a:cubicBezTo>
                <a:cubicBezTo>
                  <a:pt x="3524793" y="5691519"/>
                  <a:pt x="3525193" y="5689655"/>
                  <a:pt x="3525193" y="5687659"/>
                </a:cubicBezTo>
                <a:cubicBezTo>
                  <a:pt x="3525193" y="5685795"/>
                  <a:pt x="3524793" y="5684064"/>
                  <a:pt x="3524128" y="5682467"/>
                </a:cubicBezTo>
                <a:cubicBezTo>
                  <a:pt x="3523462" y="5680870"/>
                  <a:pt x="3522530" y="5679539"/>
                  <a:pt x="3521465" y="5678341"/>
                </a:cubicBezTo>
                <a:cubicBezTo>
                  <a:pt x="3520400" y="5677276"/>
                  <a:pt x="3519069" y="5676344"/>
                  <a:pt x="3517472" y="5675678"/>
                </a:cubicBezTo>
                <a:cubicBezTo>
                  <a:pt x="3516008" y="5675013"/>
                  <a:pt x="3514409" y="5674747"/>
                  <a:pt x="3512412" y="5674747"/>
                </a:cubicBezTo>
                <a:close/>
                <a:moveTo>
                  <a:pt x="3294884" y="5674747"/>
                </a:moveTo>
                <a:cubicBezTo>
                  <a:pt x="3289025" y="5674747"/>
                  <a:pt x="3286495" y="5676610"/>
                  <a:pt x="3284898" y="5678341"/>
                </a:cubicBezTo>
                <a:cubicBezTo>
                  <a:pt x="3282367" y="5681003"/>
                  <a:pt x="3281304" y="5683798"/>
                  <a:pt x="3281304" y="5687792"/>
                </a:cubicBezTo>
                <a:cubicBezTo>
                  <a:pt x="3281304" y="5691919"/>
                  <a:pt x="3282367" y="5694714"/>
                  <a:pt x="3284898" y="5697243"/>
                </a:cubicBezTo>
                <a:cubicBezTo>
                  <a:pt x="3286495" y="5698842"/>
                  <a:pt x="3289025" y="5700705"/>
                  <a:pt x="3294884" y="5700705"/>
                </a:cubicBezTo>
                <a:cubicBezTo>
                  <a:pt x="3296881" y="5700705"/>
                  <a:pt x="3298612" y="5700439"/>
                  <a:pt x="3300210" y="5699773"/>
                </a:cubicBezTo>
                <a:cubicBezTo>
                  <a:pt x="3301674" y="5699241"/>
                  <a:pt x="3303006" y="5698442"/>
                  <a:pt x="3303937" y="5697376"/>
                </a:cubicBezTo>
                <a:cubicBezTo>
                  <a:pt x="3305002" y="5696178"/>
                  <a:pt x="3305934" y="5694847"/>
                  <a:pt x="3306600" y="5693117"/>
                </a:cubicBezTo>
                <a:cubicBezTo>
                  <a:pt x="3307265" y="5691519"/>
                  <a:pt x="3307664" y="5689655"/>
                  <a:pt x="3307664" y="5687659"/>
                </a:cubicBezTo>
                <a:cubicBezTo>
                  <a:pt x="3307664" y="5685795"/>
                  <a:pt x="3307265" y="5684064"/>
                  <a:pt x="3306600" y="5682467"/>
                </a:cubicBezTo>
                <a:cubicBezTo>
                  <a:pt x="3305934" y="5680870"/>
                  <a:pt x="3305002" y="5679539"/>
                  <a:pt x="3303937" y="5678341"/>
                </a:cubicBezTo>
                <a:cubicBezTo>
                  <a:pt x="3302872" y="5677276"/>
                  <a:pt x="3301541" y="5676344"/>
                  <a:pt x="3299944" y="5675678"/>
                </a:cubicBezTo>
                <a:cubicBezTo>
                  <a:pt x="3298480" y="5675013"/>
                  <a:pt x="3296881" y="5674747"/>
                  <a:pt x="3294884" y="5674747"/>
                </a:cubicBezTo>
                <a:close/>
                <a:moveTo>
                  <a:pt x="3077356" y="5674747"/>
                </a:moveTo>
                <a:cubicBezTo>
                  <a:pt x="3071498" y="5674747"/>
                  <a:pt x="3068968" y="5676610"/>
                  <a:pt x="3067372" y="5678341"/>
                </a:cubicBezTo>
                <a:cubicBezTo>
                  <a:pt x="3064706" y="5681003"/>
                  <a:pt x="3063642" y="5683798"/>
                  <a:pt x="3063642" y="5687792"/>
                </a:cubicBezTo>
                <a:cubicBezTo>
                  <a:pt x="3063642" y="5691919"/>
                  <a:pt x="3064706" y="5694714"/>
                  <a:pt x="3067238" y="5697243"/>
                </a:cubicBezTo>
                <a:cubicBezTo>
                  <a:pt x="3068835" y="5698842"/>
                  <a:pt x="3071366" y="5700705"/>
                  <a:pt x="3077223" y="5700705"/>
                </a:cubicBezTo>
                <a:cubicBezTo>
                  <a:pt x="3079220" y="5700705"/>
                  <a:pt x="3080950" y="5700439"/>
                  <a:pt x="3082681" y="5699773"/>
                </a:cubicBezTo>
                <a:cubicBezTo>
                  <a:pt x="3084146" y="5699241"/>
                  <a:pt x="3085478" y="5698442"/>
                  <a:pt x="3086409" y="5697376"/>
                </a:cubicBezTo>
                <a:cubicBezTo>
                  <a:pt x="3087473" y="5696178"/>
                  <a:pt x="3088406" y="5694847"/>
                  <a:pt x="3089071" y="5693117"/>
                </a:cubicBezTo>
                <a:cubicBezTo>
                  <a:pt x="3089736" y="5691519"/>
                  <a:pt x="3090003" y="5689655"/>
                  <a:pt x="3090003" y="5687659"/>
                </a:cubicBezTo>
                <a:cubicBezTo>
                  <a:pt x="3090003" y="5685795"/>
                  <a:pt x="3089736" y="5684064"/>
                  <a:pt x="3089071" y="5682467"/>
                </a:cubicBezTo>
                <a:cubicBezTo>
                  <a:pt x="3088406" y="5680870"/>
                  <a:pt x="3087473" y="5679539"/>
                  <a:pt x="3086409" y="5678341"/>
                </a:cubicBezTo>
                <a:cubicBezTo>
                  <a:pt x="3085344" y="5677276"/>
                  <a:pt x="3084012" y="5676344"/>
                  <a:pt x="3082416" y="5675678"/>
                </a:cubicBezTo>
                <a:cubicBezTo>
                  <a:pt x="3080950" y="5675013"/>
                  <a:pt x="3079353" y="5674747"/>
                  <a:pt x="3077356" y="5674747"/>
                </a:cubicBezTo>
                <a:close/>
                <a:moveTo>
                  <a:pt x="2859562" y="5674747"/>
                </a:moveTo>
                <a:cubicBezTo>
                  <a:pt x="2853705" y="5674747"/>
                  <a:pt x="2851175" y="5676610"/>
                  <a:pt x="2849576" y="5678341"/>
                </a:cubicBezTo>
                <a:cubicBezTo>
                  <a:pt x="2847042" y="5681003"/>
                  <a:pt x="2845977" y="5683798"/>
                  <a:pt x="2845977" y="5687792"/>
                </a:cubicBezTo>
                <a:cubicBezTo>
                  <a:pt x="2845977" y="5691919"/>
                  <a:pt x="2847042" y="5694714"/>
                  <a:pt x="2849576" y="5697243"/>
                </a:cubicBezTo>
                <a:cubicBezTo>
                  <a:pt x="2851175" y="5698842"/>
                  <a:pt x="2853705" y="5700705"/>
                  <a:pt x="2859562" y="5700705"/>
                </a:cubicBezTo>
                <a:cubicBezTo>
                  <a:pt x="2861559" y="5700705"/>
                  <a:pt x="2863423" y="5700439"/>
                  <a:pt x="2864887" y="5699773"/>
                </a:cubicBezTo>
                <a:cubicBezTo>
                  <a:pt x="2866485" y="5699241"/>
                  <a:pt x="2867683" y="5698442"/>
                  <a:pt x="2868614" y="5697376"/>
                </a:cubicBezTo>
                <a:cubicBezTo>
                  <a:pt x="2869679" y="5696178"/>
                  <a:pt x="2870611" y="5694847"/>
                  <a:pt x="2871277" y="5693117"/>
                </a:cubicBezTo>
                <a:cubicBezTo>
                  <a:pt x="2871809" y="5691519"/>
                  <a:pt x="2872208" y="5689655"/>
                  <a:pt x="2872208" y="5687659"/>
                </a:cubicBezTo>
                <a:cubicBezTo>
                  <a:pt x="2872208" y="5685795"/>
                  <a:pt x="2871942" y="5684064"/>
                  <a:pt x="2871277" y="5682467"/>
                </a:cubicBezTo>
                <a:cubicBezTo>
                  <a:pt x="2870611" y="5680870"/>
                  <a:pt x="2869679" y="5679539"/>
                  <a:pt x="2868614" y="5678341"/>
                </a:cubicBezTo>
                <a:cubicBezTo>
                  <a:pt x="2867550" y="5677276"/>
                  <a:pt x="2866218" y="5676344"/>
                  <a:pt x="2864621" y="5675678"/>
                </a:cubicBezTo>
                <a:cubicBezTo>
                  <a:pt x="2863157" y="5675013"/>
                  <a:pt x="2861559" y="5674747"/>
                  <a:pt x="2859562" y="5674747"/>
                </a:cubicBezTo>
                <a:close/>
                <a:moveTo>
                  <a:pt x="2641900" y="5674747"/>
                </a:moveTo>
                <a:cubicBezTo>
                  <a:pt x="2636043" y="5674747"/>
                  <a:pt x="2633514" y="5676610"/>
                  <a:pt x="2631917" y="5678341"/>
                </a:cubicBezTo>
                <a:cubicBezTo>
                  <a:pt x="2629387" y="5681003"/>
                  <a:pt x="2628322" y="5683798"/>
                  <a:pt x="2628322" y="5687792"/>
                </a:cubicBezTo>
                <a:cubicBezTo>
                  <a:pt x="2628322" y="5691919"/>
                  <a:pt x="2629387" y="5694714"/>
                  <a:pt x="2631917" y="5697243"/>
                </a:cubicBezTo>
                <a:cubicBezTo>
                  <a:pt x="2633514" y="5698842"/>
                  <a:pt x="2636043" y="5700705"/>
                  <a:pt x="2641900" y="5700705"/>
                </a:cubicBezTo>
                <a:cubicBezTo>
                  <a:pt x="2643897" y="5700705"/>
                  <a:pt x="2645762" y="5700439"/>
                  <a:pt x="2647226" y="5699773"/>
                </a:cubicBezTo>
                <a:cubicBezTo>
                  <a:pt x="2648823" y="5699241"/>
                  <a:pt x="2650020" y="5698442"/>
                  <a:pt x="2650953" y="5697376"/>
                </a:cubicBezTo>
                <a:cubicBezTo>
                  <a:pt x="2652018" y="5696178"/>
                  <a:pt x="2652950" y="5694847"/>
                  <a:pt x="2653616" y="5693117"/>
                </a:cubicBezTo>
                <a:cubicBezTo>
                  <a:pt x="2654147" y="5691519"/>
                  <a:pt x="2654546" y="5689655"/>
                  <a:pt x="2654546" y="5687659"/>
                </a:cubicBezTo>
                <a:cubicBezTo>
                  <a:pt x="2654546" y="5685795"/>
                  <a:pt x="2654281" y="5684064"/>
                  <a:pt x="2653616" y="5682467"/>
                </a:cubicBezTo>
                <a:cubicBezTo>
                  <a:pt x="2652950" y="5680870"/>
                  <a:pt x="2652018" y="5679539"/>
                  <a:pt x="2650953" y="5678341"/>
                </a:cubicBezTo>
                <a:cubicBezTo>
                  <a:pt x="2649888" y="5677276"/>
                  <a:pt x="2648556" y="5676344"/>
                  <a:pt x="2646960" y="5675678"/>
                </a:cubicBezTo>
                <a:cubicBezTo>
                  <a:pt x="2645494" y="5675013"/>
                  <a:pt x="2643897" y="5674747"/>
                  <a:pt x="2641900" y="5674747"/>
                </a:cubicBezTo>
                <a:close/>
                <a:moveTo>
                  <a:pt x="2424239" y="5674747"/>
                </a:moveTo>
                <a:cubicBezTo>
                  <a:pt x="2418382" y="5674747"/>
                  <a:pt x="2415853" y="5676610"/>
                  <a:pt x="2414256" y="5678341"/>
                </a:cubicBezTo>
                <a:cubicBezTo>
                  <a:pt x="2411725" y="5681003"/>
                  <a:pt x="2410661" y="5683798"/>
                  <a:pt x="2410661" y="5687792"/>
                </a:cubicBezTo>
                <a:cubicBezTo>
                  <a:pt x="2410661" y="5691919"/>
                  <a:pt x="2411725" y="5694714"/>
                  <a:pt x="2414256" y="5697243"/>
                </a:cubicBezTo>
                <a:cubicBezTo>
                  <a:pt x="2415853" y="5698842"/>
                  <a:pt x="2418382" y="5700705"/>
                  <a:pt x="2424239" y="5700705"/>
                </a:cubicBezTo>
                <a:cubicBezTo>
                  <a:pt x="2426369" y="5700705"/>
                  <a:pt x="2428100" y="5700439"/>
                  <a:pt x="2429564" y="5699773"/>
                </a:cubicBezTo>
                <a:cubicBezTo>
                  <a:pt x="2431162" y="5699241"/>
                  <a:pt x="2432360" y="5698442"/>
                  <a:pt x="2433291" y="5697376"/>
                </a:cubicBezTo>
                <a:cubicBezTo>
                  <a:pt x="2434356" y="5696178"/>
                  <a:pt x="2435288" y="5694847"/>
                  <a:pt x="2435954" y="5693117"/>
                </a:cubicBezTo>
                <a:cubicBezTo>
                  <a:pt x="2436486" y="5691519"/>
                  <a:pt x="2436885" y="5689655"/>
                  <a:pt x="2436885" y="5687659"/>
                </a:cubicBezTo>
                <a:cubicBezTo>
                  <a:pt x="2436885" y="5685795"/>
                  <a:pt x="2436619" y="5684064"/>
                  <a:pt x="2435954" y="5682467"/>
                </a:cubicBezTo>
                <a:cubicBezTo>
                  <a:pt x="2435288" y="5680870"/>
                  <a:pt x="2434356" y="5679539"/>
                  <a:pt x="2433291" y="5678341"/>
                </a:cubicBezTo>
                <a:cubicBezTo>
                  <a:pt x="2432227" y="5677276"/>
                  <a:pt x="2430895" y="5676344"/>
                  <a:pt x="2429298" y="5675678"/>
                </a:cubicBezTo>
                <a:cubicBezTo>
                  <a:pt x="2427834" y="5675013"/>
                  <a:pt x="2426236" y="5674747"/>
                  <a:pt x="2424239" y="5674747"/>
                </a:cubicBezTo>
                <a:close/>
                <a:moveTo>
                  <a:pt x="2206578" y="5674747"/>
                </a:moveTo>
                <a:cubicBezTo>
                  <a:pt x="2200721" y="5674747"/>
                  <a:pt x="2198191" y="5676610"/>
                  <a:pt x="2196594" y="5678341"/>
                </a:cubicBezTo>
                <a:cubicBezTo>
                  <a:pt x="2194064" y="5681003"/>
                  <a:pt x="2193000" y="5683798"/>
                  <a:pt x="2193000" y="5687792"/>
                </a:cubicBezTo>
                <a:cubicBezTo>
                  <a:pt x="2193000" y="5691919"/>
                  <a:pt x="2194064" y="5694714"/>
                  <a:pt x="2196594" y="5697243"/>
                </a:cubicBezTo>
                <a:cubicBezTo>
                  <a:pt x="2198191" y="5698842"/>
                  <a:pt x="2200721" y="5700705"/>
                  <a:pt x="2206578" y="5700705"/>
                </a:cubicBezTo>
                <a:cubicBezTo>
                  <a:pt x="2208707" y="5700705"/>
                  <a:pt x="2210439" y="5700439"/>
                  <a:pt x="2211903" y="5699773"/>
                </a:cubicBezTo>
                <a:cubicBezTo>
                  <a:pt x="2213500" y="5699241"/>
                  <a:pt x="2214698" y="5698442"/>
                  <a:pt x="2215630" y="5697376"/>
                </a:cubicBezTo>
                <a:cubicBezTo>
                  <a:pt x="2216695" y="5696178"/>
                  <a:pt x="2217626" y="5694847"/>
                  <a:pt x="2218293" y="5693117"/>
                </a:cubicBezTo>
                <a:cubicBezTo>
                  <a:pt x="2218825" y="5691519"/>
                  <a:pt x="2219224" y="5689655"/>
                  <a:pt x="2219224" y="5687659"/>
                </a:cubicBezTo>
                <a:cubicBezTo>
                  <a:pt x="2219224" y="5685795"/>
                  <a:pt x="2218958" y="5684064"/>
                  <a:pt x="2218293" y="5682467"/>
                </a:cubicBezTo>
                <a:cubicBezTo>
                  <a:pt x="2217626" y="5680870"/>
                  <a:pt x="2216695" y="5679539"/>
                  <a:pt x="2215630" y="5678341"/>
                </a:cubicBezTo>
                <a:cubicBezTo>
                  <a:pt x="2214564" y="5677276"/>
                  <a:pt x="2213234" y="5676344"/>
                  <a:pt x="2211636" y="5675678"/>
                </a:cubicBezTo>
                <a:cubicBezTo>
                  <a:pt x="2210172" y="5675013"/>
                  <a:pt x="2208575" y="5674747"/>
                  <a:pt x="2206578" y="5674747"/>
                </a:cubicBezTo>
                <a:close/>
                <a:moveTo>
                  <a:pt x="1989049" y="5674747"/>
                </a:moveTo>
                <a:cubicBezTo>
                  <a:pt x="1983192" y="5674747"/>
                  <a:pt x="1980663" y="5676610"/>
                  <a:pt x="1979066" y="5678341"/>
                </a:cubicBezTo>
                <a:cubicBezTo>
                  <a:pt x="1976536" y="5681003"/>
                  <a:pt x="1975472" y="5683798"/>
                  <a:pt x="1975472" y="5687792"/>
                </a:cubicBezTo>
                <a:cubicBezTo>
                  <a:pt x="1975472" y="5691919"/>
                  <a:pt x="1976536" y="5694714"/>
                  <a:pt x="1979066" y="5697243"/>
                </a:cubicBezTo>
                <a:cubicBezTo>
                  <a:pt x="1980663" y="5698842"/>
                  <a:pt x="1983192" y="5700705"/>
                  <a:pt x="1989049" y="5700705"/>
                </a:cubicBezTo>
                <a:cubicBezTo>
                  <a:pt x="1991046" y="5700705"/>
                  <a:pt x="1992777" y="5700439"/>
                  <a:pt x="1994374" y="5699773"/>
                </a:cubicBezTo>
                <a:cubicBezTo>
                  <a:pt x="1995972" y="5699241"/>
                  <a:pt x="1997170" y="5698442"/>
                  <a:pt x="1998101" y="5697376"/>
                </a:cubicBezTo>
                <a:cubicBezTo>
                  <a:pt x="1999166" y="5696178"/>
                  <a:pt x="2000098" y="5694847"/>
                  <a:pt x="2000764" y="5693117"/>
                </a:cubicBezTo>
                <a:cubicBezTo>
                  <a:pt x="2001296" y="5691519"/>
                  <a:pt x="2001695" y="5689655"/>
                  <a:pt x="2001695" y="5687659"/>
                </a:cubicBezTo>
                <a:cubicBezTo>
                  <a:pt x="2001695" y="5685795"/>
                  <a:pt x="2001429" y="5684064"/>
                  <a:pt x="2000764" y="5682467"/>
                </a:cubicBezTo>
                <a:cubicBezTo>
                  <a:pt x="2000098" y="5680870"/>
                  <a:pt x="1999166" y="5679539"/>
                  <a:pt x="1998101" y="5678341"/>
                </a:cubicBezTo>
                <a:cubicBezTo>
                  <a:pt x="1997037" y="5677276"/>
                  <a:pt x="1995705" y="5676344"/>
                  <a:pt x="1994108" y="5675678"/>
                </a:cubicBezTo>
                <a:cubicBezTo>
                  <a:pt x="1992644" y="5675013"/>
                  <a:pt x="1991046" y="5674747"/>
                  <a:pt x="1989049" y="5674747"/>
                </a:cubicBezTo>
                <a:close/>
                <a:moveTo>
                  <a:pt x="1771416" y="5674747"/>
                </a:moveTo>
                <a:cubicBezTo>
                  <a:pt x="1765559" y="5674747"/>
                  <a:pt x="1763030" y="5676610"/>
                  <a:pt x="1761434" y="5678341"/>
                </a:cubicBezTo>
                <a:cubicBezTo>
                  <a:pt x="1758904" y="5681003"/>
                  <a:pt x="1757840" y="5683798"/>
                  <a:pt x="1757840" y="5687792"/>
                </a:cubicBezTo>
                <a:cubicBezTo>
                  <a:pt x="1757840" y="5691919"/>
                  <a:pt x="1758904" y="5694714"/>
                  <a:pt x="1761434" y="5697243"/>
                </a:cubicBezTo>
                <a:cubicBezTo>
                  <a:pt x="1763030" y="5698842"/>
                  <a:pt x="1765559" y="5700705"/>
                  <a:pt x="1771416" y="5700705"/>
                </a:cubicBezTo>
                <a:cubicBezTo>
                  <a:pt x="1773413" y="5700705"/>
                  <a:pt x="1775276" y="5700439"/>
                  <a:pt x="1776740" y="5699773"/>
                </a:cubicBezTo>
                <a:cubicBezTo>
                  <a:pt x="1778205" y="5699241"/>
                  <a:pt x="1779534" y="5698442"/>
                  <a:pt x="1780467" y="5697376"/>
                </a:cubicBezTo>
                <a:cubicBezTo>
                  <a:pt x="1781532" y="5696178"/>
                  <a:pt x="1782463" y="5694847"/>
                  <a:pt x="1783129" y="5693117"/>
                </a:cubicBezTo>
                <a:cubicBezTo>
                  <a:pt x="1783794" y="5691519"/>
                  <a:pt x="1784194" y="5689655"/>
                  <a:pt x="1784194" y="5687659"/>
                </a:cubicBezTo>
                <a:cubicBezTo>
                  <a:pt x="1784194" y="5685795"/>
                  <a:pt x="1783794" y="5684064"/>
                  <a:pt x="1783129" y="5682467"/>
                </a:cubicBezTo>
                <a:cubicBezTo>
                  <a:pt x="1782463" y="5680870"/>
                  <a:pt x="1781532" y="5679539"/>
                  <a:pt x="1780467" y="5678341"/>
                </a:cubicBezTo>
                <a:cubicBezTo>
                  <a:pt x="1779401" y="5677276"/>
                  <a:pt x="1778072" y="5676344"/>
                  <a:pt x="1776475" y="5675678"/>
                </a:cubicBezTo>
                <a:cubicBezTo>
                  <a:pt x="1775010" y="5675013"/>
                  <a:pt x="1773413" y="5674747"/>
                  <a:pt x="1771416" y="5674747"/>
                </a:cubicBezTo>
                <a:close/>
                <a:moveTo>
                  <a:pt x="1553779" y="5674747"/>
                </a:moveTo>
                <a:cubicBezTo>
                  <a:pt x="1547921" y="5674747"/>
                  <a:pt x="1545392" y="5676610"/>
                  <a:pt x="1543796" y="5678341"/>
                </a:cubicBezTo>
                <a:cubicBezTo>
                  <a:pt x="1541266" y="5681003"/>
                  <a:pt x="1540201" y="5683798"/>
                  <a:pt x="1540201" y="5687792"/>
                </a:cubicBezTo>
                <a:cubicBezTo>
                  <a:pt x="1540201" y="5691919"/>
                  <a:pt x="1541266" y="5694714"/>
                  <a:pt x="1543796" y="5697243"/>
                </a:cubicBezTo>
                <a:cubicBezTo>
                  <a:pt x="1545392" y="5698842"/>
                  <a:pt x="1547921" y="5700705"/>
                  <a:pt x="1553779" y="5700705"/>
                </a:cubicBezTo>
                <a:cubicBezTo>
                  <a:pt x="1555776" y="5700705"/>
                  <a:pt x="1557640" y="5700439"/>
                  <a:pt x="1559104" y="5699773"/>
                </a:cubicBezTo>
                <a:cubicBezTo>
                  <a:pt x="1560568" y="5699241"/>
                  <a:pt x="1561899" y="5698442"/>
                  <a:pt x="1562831" y="5697376"/>
                </a:cubicBezTo>
                <a:cubicBezTo>
                  <a:pt x="1563896" y="5696178"/>
                  <a:pt x="1564827" y="5694847"/>
                  <a:pt x="1565494" y="5693117"/>
                </a:cubicBezTo>
                <a:cubicBezTo>
                  <a:pt x="1566159" y="5691519"/>
                  <a:pt x="1566559" y="5689655"/>
                  <a:pt x="1566559" y="5687659"/>
                </a:cubicBezTo>
                <a:cubicBezTo>
                  <a:pt x="1566559" y="5685795"/>
                  <a:pt x="1566159" y="5684064"/>
                  <a:pt x="1565494" y="5682467"/>
                </a:cubicBezTo>
                <a:cubicBezTo>
                  <a:pt x="1564827" y="5680870"/>
                  <a:pt x="1563896" y="5679539"/>
                  <a:pt x="1562831" y="5678341"/>
                </a:cubicBezTo>
                <a:cubicBezTo>
                  <a:pt x="1561765" y="5677276"/>
                  <a:pt x="1560435" y="5676344"/>
                  <a:pt x="1558837" y="5675678"/>
                </a:cubicBezTo>
                <a:cubicBezTo>
                  <a:pt x="1557373" y="5675013"/>
                  <a:pt x="1555776" y="5674747"/>
                  <a:pt x="1553779" y="5674747"/>
                </a:cubicBezTo>
                <a:close/>
                <a:moveTo>
                  <a:pt x="1336135" y="5674747"/>
                </a:moveTo>
                <a:cubicBezTo>
                  <a:pt x="1330278" y="5674747"/>
                  <a:pt x="1327748" y="5676610"/>
                  <a:pt x="1326151" y="5678341"/>
                </a:cubicBezTo>
                <a:cubicBezTo>
                  <a:pt x="1323621" y="5681003"/>
                  <a:pt x="1322557" y="5683798"/>
                  <a:pt x="1322557" y="5687792"/>
                </a:cubicBezTo>
                <a:cubicBezTo>
                  <a:pt x="1322557" y="5691919"/>
                  <a:pt x="1323621" y="5694714"/>
                  <a:pt x="1326151" y="5697243"/>
                </a:cubicBezTo>
                <a:cubicBezTo>
                  <a:pt x="1327748" y="5698842"/>
                  <a:pt x="1330278" y="5700705"/>
                  <a:pt x="1336135" y="5700705"/>
                </a:cubicBezTo>
                <a:cubicBezTo>
                  <a:pt x="1338265" y="5700705"/>
                  <a:pt x="1339995" y="5700439"/>
                  <a:pt x="1341462" y="5699773"/>
                </a:cubicBezTo>
                <a:cubicBezTo>
                  <a:pt x="1342925" y="5699241"/>
                  <a:pt x="1344257" y="5698442"/>
                  <a:pt x="1345189" y="5697376"/>
                </a:cubicBezTo>
                <a:cubicBezTo>
                  <a:pt x="1346253" y="5696178"/>
                  <a:pt x="1347186" y="5694847"/>
                  <a:pt x="1347851" y="5693117"/>
                </a:cubicBezTo>
                <a:cubicBezTo>
                  <a:pt x="1348517" y="5691519"/>
                  <a:pt x="1348917" y="5689655"/>
                  <a:pt x="1348917" y="5687659"/>
                </a:cubicBezTo>
                <a:cubicBezTo>
                  <a:pt x="1348917" y="5685795"/>
                  <a:pt x="1348517" y="5684064"/>
                  <a:pt x="1347851" y="5682467"/>
                </a:cubicBezTo>
                <a:cubicBezTo>
                  <a:pt x="1347186" y="5680870"/>
                  <a:pt x="1346253" y="5679539"/>
                  <a:pt x="1345189" y="5678341"/>
                </a:cubicBezTo>
                <a:cubicBezTo>
                  <a:pt x="1344124" y="5677276"/>
                  <a:pt x="1342792" y="5676344"/>
                  <a:pt x="1341194" y="5675678"/>
                </a:cubicBezTo>
                <a:cubicBezTo>
                  <a:pt x="1339731" y="5675013"/>
                  <a:pt x="1338131" y="5674747"/>
                  <a:pt x="1336135" y="5674747"/>
                </a:cubicBezTo>
                <a:close/>
                <a:moveTo>
                  <a:pt x="1118623" y="5674747"/>
                </a:moveTo>
                <a:cubicBezTo>
                  <a:pt x="1112764" y="5674747"/>
                  <a:pt x="1110235" y="5676610"/>
                  <a:pt x="1108637" y="5678341"/>
                </a:cubicBezTo>
                <a:cubicBezTo>
                  <a:pt x="1105975" y="5681003"/>
                  <a:pt x="1104910" y="5683798"/>
                  <a:pt x="1104910" y="5687792"/>
                </a:cubicBezTo>
                <a:cubicBezTo>
                  <a:pt x="1104910" y="5691919"/>
                  <a:pt x="1105975" y="5694714"/>
                  <a:pt x="1108505" y="5697243"/>
                </a:cubicBezTo>
                <a:cubicBezTo>
                  <a:pt x="1110102" y="5698842"/>
                  <a:pt x="1112631" y="5700705"/>
                  <a:pt x="1118490" y="5700705"/>
                </a:cubicBezTo>
                <a:cubicBezTo>
                  <a:pt x="1120620" y="5700705"/>
                  <a:pt x="1122352" y="5700439"/>
                  <a:pt x="1123946" y="5699773"/>
                </a:cubicBezTo>
                <a:cubicBezTo>
                  <a:pt x="1125412" y="5699241"/>
                  <a:pt x="1126748" y="5698442"/>
                  <a:pt x="1127678" y="5697376"/>
                </a:cubicBezTo>
                <a:cubicBezTo>
                  <a:pt x="1128742" y="5696178"/>
                  <a:pt x="1129674" y="5694847"/>
                  <a:pt x="1130341" y="5693117"/>
                </a:cubicBezTo>
                <a:cubicBezTo>
                  <a:pt x="1131005" y="5691519"/>
                  <a:pt x="1131406" y="5689655"/>
                  <a:pt x="1131406" y="5687659"/>
                </a:cubicBezTo>
                <a:cubicBezTo>
                  <a:pt x="1131406" y="5685795"/>
                  <a:pt x="1131005" y="5684064"/>
                  <a:pt x="1130341" y="5682467"/>
                </a:cubicBezTo>
                <a:cubicBezTo>
                  <a:pt x="1129674" y="5680870"/>
                  <a:pt x="1128742" y="5679539"/>
                  <a:pt x="1127678" y="5678341"/>
                </a:cubicBezTo>
                <a:cubicBezTo>
                  <a:pt x="1126613" y="5677276"/>
                  <a:pt x="1125280" y="5676344"/>
                  <a:pt x="1123681" y="5675678"/>
                </a:cubicBezTo>
                <a:cubicBezTo>
                  <a:pt x="1122218" y="5675013"/>
                  <a:pt x="1120620" y="5674747"/>
                  <a:pt x="1118623" y="5674747"/>
                </a:cubicBezTo>
                <a:close/>
                <a:moveTo>
                  <a:pt x="901111" y="5674747"/>
                </a:moveTo>
                <a:cubicBezTo>
                  <a:pt x="895253" y="5674747"/>
                  <a:pt x="892724" y="5676610"/>
                  <a:pt x="891127" y="5678341"/>
                </a:cubicBezTo>
                <a:cubicBezTo>
                  <a:pt x="888464" y="5681003"/>
                  <a:pt x="887400" y="5683798"/>
                  <a:pt x="887400" y="5687792"/>
                </a:cubicBezTo>
                <a:cubicBezTo>
                  <a:pt x="887400" y="5691919"/>
                  <a:pt x="888464" y="5694714"/>
                  <a:pt x="890994" y="5697243"/>
                </a:cubicBezTo>
                <a:cubicBezTo>
                  <a:pt x="892591" y="5698842"/>
                  <a:pt x="895120" y="5700705"/>
                  <a:pt x="900977" y="5700705"/>
                </a:cubicBezTo>
                <a:cubicBezTo>
                  <a:pt x="902974" y="5700705"/>
                  <a:pt x="904705" y="5700439"/>
                  <a:pt x="906435" y="5699773"/>
                </a:cubicBezTo>
                <a:cubicBezTo>
                  <a:pt x="907899" y="5699241"/>
                  <a:pt x="909231" y="5698442"/>
                  <a:pt x="910163" y="5697376"/>
                </a:cubicBezTo>
                <a:cubicBezTo>
                  <a:pt x="911227" y="5696178"/>
                  <a:pt x="912159" y="5694847"/>
                  <a:pt x="912825" y="5693117"/>
                </a:cubicBezTo>
                <a:cubicBezTo>
                  <a:pt x="913490" y="5691519"/>
                  <a:pt x="913890" y="5689655"/>
                  <a:pt x="913890" y="5687659"/>
                </a:cubicBezTo>
                <a:cubicBezTo>
                  <a:pt x="913890" y="5685795"/>
                  <a:pt x="913490" y="5684064"/>
                  <a:pt x="912825" y="5682467"/>
                </a:cubicBezTo>
                <a:cubicBezTo>
                  <a:pt x="912159" y="5680870"/>
                  <a:pt x="911227" y="5679539"/>
                  <a:pt x="910163" y="5678341"/>
                </a:cubicBezTo>
                <a:cubicBezTo>
                  <a:pt x="909098" y="5677276"/>
                  <a:pt x="907766" y="5676344"/>
                  <a:pt x="906169" y="5675678"/>
                </a:cubicBezTo>
                <a:cubicBezTo>
                  <a:pt x="904705" y="5675013"/>
                  <a:pt x="903107" y="5674747"/>
                  <a:pt x="901111" y="5674747"/>
                </a:cubicBezTo>
                <a:close/>
                <a:moveTo>
                  <a:pt x="683337" y="5674747"/>
                </a:moveTo>
                <a:cubicBezTo>
                  <a:pt x="677480" y="5674747"/>
                  <a:pt x="674951" y="5676610"/>
                  <a:pt x="673353" y="5678341"/>
                </a:cubicBezTo>
                <a:cubicBezTo>
                  <a:pt x="670824" y="5681003"/>
                  <a:pt x="669760" y="5683798"/>
                  <a:pt x="669760" y="5687792"/>
                </a:cubicBezTo>
                <a:cubicBezTo>
                  <a:pt x="669760" y="5691919"/>
                  <a:pt x="670824" y="5694714"/>
                  <a:pt x="673353" y="5697243"/>
                </a:cubicBezTo>
                <a:cubicBezTo>
                  <a:pt x="674951" y="5698842"/>
                  <a:pt x="677480" y="5700705"/>
                  <a:pt x="683337" y="5700705"/>
                </a:cubicBezTo>
                <a:cubicBezTo>
                  <a:pt x="685334" y="5700705"/>
                  <a:pt x="687198" y="5700439"/>
                  <a:pt x="688662" y="5699773"/>
                </a:cubicBezTo>
                <a:cubicBezTo>
                  <a:pt x="690126" y="5699241"/>
                  <a:pt x="691458" y="5698442"/>
                  <a:pt x="692389" y="5697376"/>
                </a:cubicBezTo>
                <a:cubicBezTo>
                  <a:pt x="693454" y="5696178"/>
                  <a:pt x="694386" y="5694847"/>
                  <a:pt x="695052" y="5693117"/>
                </a:cubicBezTo>
                <a:cubicBezTo>
                  <a:pt x="695717" y="5691519"/>
                  <a:pt x="696117" y="5689655"/>
                  <a:pt x="696117" y="5687659"/>
                </a:cubicBezTo>
                <a:cubicBezTo>
                  <a:pt x="696117" y="5685795"/>
                  <a:pt x="695717" y="5684064"/>
                  <a:pt x="695052" y="5682467"/>
                </a:cubicBezTo>
                <a:cubicBezTo>
                  <a:pt x="694386" y="5680870"/>
                  <a:pt x="693454" y="5679539"/>
                  <a:pt x="692389" y="5678341"/>
                </a:cubicBezTo>
                <a:cubicBezTo>
                  <a:pt x="691324" y="5677276"/>
                  <a:pt x="689993" y="5676344"/>
                  <a:pt x="688396" y="5675678"/>
                </a:cubicBezTo>
                <a:cubicBezTo>
                  <a:pt x="686932" y="5675013"/>
                  <a:pt x="685334" y="5674747"/>
                  <a:pt x="683337" y="5674747"/>
                </a:cubicBezTo>
                <a:close/>
                <a:moveTo>
                  <a:pt x="465695" y="5674747"/>
                </a:moveTo>
                <a:cubicBezTo>
                  <a:pt x="459838" y="5674747"/>
                  <a:pt x="457310" y="5676610"/>
                  <a:pt x="455712" y="5678341"/>
                </a:cubicBezTo>
                <a:cubicBezTo>
                  <a:pt x="453182" y="5681003"/>
                  <a:pt x="452118" y="5683798"/>
                  <a:pt x="452118" y="5687792"/>
                </a:cubicBezTo>
                <a:cubicBezTo>
                  <a:pt x="452118" y="5691919"/>
                  <a:pt x="453182" y="5694714"/>
                  <a:pt x="455712" y="5697243"/>
                </a:cubicBezTo>
                <a:cubicBezTo>
                  <a:pt x="457310" y="5698842"/>
                  <a:pt x="459838" y="5700705"/>
                  <a:pt x="465695" y="5700705"/>
                </a:cubicBezTo>
                <a:cubicBezTo>
                  <a:pt x="467693" y="5700705"/>
                  <a:pt x="469557" y="5700439"/>
                  <a:pt x="471021" y="5699773"/>
                </a:cubicBezTo>
                <a:cubicBezTo>
                  <a:pt x="472485" y="5699241"/>
                  <a:pt x="473816" y="5698442"/>
                  <a:pt x="474748" y="5697376"/>
                </a:cubicBezTo>
                <a:cubicBezTo>
                  <a:pt x="475812" y="5696178"/>
                  <a:pt x="476745" y="5694847"/>
                  <a:pt x="477411" y="5693117"/>
                </a:cubicBezTo>
                <a:cubicBezTo>
                  <a:pt x="478076" y="5691519"/>
                  <a:pt x="478476" y="5689655"/>
                  <a:pt x="478476" y="5687659"/>
                </a:cubicBezTo>
                <a:cubicBezTo>
                  <a:pt x="478476" y="5685795"/>
                  <a:pt x="478076" y="5684064"/>
                  <a:pt x="477411" y="5682467"/>
                </a:cubicBezTo>
                <a:cubicBezTo>
                  <a:pt x="476745" y="5680870"/>
                  <a:pt x="475812" y="5679539"/>
                  <a:pt x="474748" y="5678341"/>
                </a:cubicBezTo>
                <a:cubicBezTo>
                  <a:pt x="473683" y="5677276"/>
                  <a:pt x="472352" y="5676344"/>
                  <a:pt x="470755" y="5675678"/>
                </a:cubicBezTo>
                <a:cubicBezTo>
                  <a:pt x="469290" y="5675013"/>
                  <a:pt x="467693" y="5674747"/>
                  <a:pt x="465695" y="5674747"/>
                </a:cubicBezTo>
                <a:close/>
                <a:moveTo>
                  <a:pt x="248054" y="5674747"/>
                </a:moveTo>
                <a:cubicBezTo>
                  <a:pt x="242197" y="5674747"/>
                  <a:pt x="239669" y="5676610"/>
                  <a:pt x="238072" y="5678341"/>
                </a:cubicBezTo>
                <a:cubicBezTo>
                  <a:pt x="235542" y="5681003"/>
                  <a:pt x="234478" y="5683798"/>
                  <a:pt x="234478" y="5687792"/>
                </a:cubicBezTo>
                <a:cubicBezTo>
                  <a:pt x="234478" y="5691919"/>
                  <a:pt x="235542" y="5694714"/>
                  <a:pt x="238072" y="5697243"/>
                </a:cubicBezTo>
                <a:cubicBezTo>
                  <a:pt x="239669" y="5698842"/>
                  <a:pt x="242197" y="5700705"/>
                  <a:pt x="248054" y="5700705"/>
                </a:cubicBezTo>
                <a:cubicBezTo>
                  <a:pt x="250184" y="5700705"/>
                  <a:pt x="251915" y="5700439"/>
                  <a:pt x="253379" y="5699773"/>
                </a:cubicBezTo>
                <a:cubicBezTo>
                  <a:pt x="254843" y="5699241"/>
                  <a:pt x="256173" y="5698442"/>
                  <a:pt x="257105" y="5697376"/>
                </a:cubicBezTo>
                <a:cubicBezTo>
                  <a:pt x="258170" y="5696178"/>
                  <a:pt x="259102" y="5694847"/>
                  <a:pt x="259768" y="5693117"/>
                </a:cubicBezTo>
                <a:cubicBezTo>
                  <a:pt x="260433" y="5691519"/>
                  <a:pt x="260833" y="5689655"/>
                  <a:pt x="260833" y="5687659"/>
                </a:cubicBezTo>
                <a:cubicBezTo>
                  <a:pt x="260833" y="5685795"/>
                  <a:pt x="260433" y="5684064"/>
                  <a:pt x="259768" y="5682467"/>
                </a:cubicBezTo>
                <a:cubicBezTo>
                  <a:pt x="259102" y="5680870"/>
                  <a:pt x="258170" y="5679539"/>
                  <a:pt x="257105" y="5678341"/>
                </a:cubicBezTo>
                <a:cubicBezTo>
                  <a:pt x="256040" y="5677276"/>
                  <a:pt x="254710" y="5676344"/>
                  <a:pt x="253113" y="5675678"/>
                </a:cubicBezTo>
                <a:cubicBezTo>
                  <a:pt x="251648" y="5675013"/>
                  <a:pt x="250051" y="5674747"/>
                  <a:pt x="248054" y="5674747"/>
                </a:cubicBezTo>
                <a:close/>
                <a:moveTo>
                  <a:pt x="30413" y="5674747"/>
                </a:moveTo>
                <a:cubicBezTo>
                  <a:pt x="24555" y="5674747"/>
                  <a:pt x="22026" y="5676610"/>
                  <a:pt x="20429" y="5678341"/>
                </a:cubicBezTo>
                <a:cubicBezTo>
                  <a:pt x="17900" y="5681003"/>
                  <a:pt x="16836" y="5683798"/>
                  <a:pt x="16836" y="5687792"/>
                </a:cubicBezTo>
                <a:cubicBezTo>
                  <a:pt x="16836" y="5691919"/>
                  <a:pt x="17900" y="5694714"/>
                  <a:pt x="20429" y="5697243"/>
                </a:cubicBezTo>
                <a:cubicBezTo>
                  <a:pt x="22026" y="5698842"/>
                  <a:pt x="24555" y="5700705"/>
                  <a:pt x="30413" y="5700705"/>
                </a:cubicBezTo>
                <a:cubicBezTo>
                  <a:pt x="32543" y="5700705"/>
                  <a:pt x="34274" y="5700439"/>
                  <a:pt x="35738" y="5699773"/>
                </a:cubicBezTo>
                <a:cubicBezTo>
                  <a:pt x="37202" y="5699241"/>
                  <a:pt x="38534" y="5698442"/>
                  <a:pt x="39465" y="5697376"/>
                </a:cubicBezTo>
                <a:cubicBezTo>
                  <a:pt x="40530" y="5696178"/>
                  <a:pt x="41462" y="5694847"/>
                  <a:pt x="42128" y="5693117"/>
                </a:cubicBezTo>
                <a:cubicBezTo>
                  <a:pt x="42793" y="5691519"/>
                  <a:pt x="43059" y="5689655"/>
                  <a:pt x="43059" y="5687659"/>
                </a:cubicBezTo>
                <a:cubicBezTo>
                  <a:pt x="43059" y="5685795"/>
                  <a:pt x="42793" y="5684064"/>
                  <a:pt x="42128" y="5682467"/>
                </a:cubicBezTo>
                <a:cubicBezTo>
                  <a:pt x="41462" y="5680870"/>
                  <a:pt x="40530" y="5679539"/>
                  <a:pt x="39465" y="5678341"/>
                </a:cubicBezTo>
                <a:cubicBezTo>
                  <a:pt x="38400" y="5677276"/>
                  <a:pt x="37069" y="5676344"/>
                  <a:pt x="35472" y="5675678"/>
                </a:cubicBezTo>
                <a:cubicBezTo>
                  <a:pt x="34008" y="5675013"/>
                  <a:pt x="32410" y="5674747"/>
                  <a:pt x="30413" y="5674747"/>
                </a:cubicBezTo>
                <a:close/>
                <a:moveTo>
                  <a:pt x="10475977" y="5658107"/>
                </a:moveTo>
                <a:cubicBezTo>
                  <a:pt x="10480237" y="5658107"/>
                  <a:pt x="10484230" y="5658906"/>
                  <a:pt x="10487824" y="5660636"/>
                </a:cubicBezTo>
                <a:cubicBezTo>
                  <a:pt x="10491419" y="5662234"/>
                  <a:pt x="10494613" y="5664363"/>
                  <a:pt x="10497143" y="5667026"/>
                </a:cubicBezTo>
                <a:cubicBezTo>
                  <a:pt x="10499672" y="5669555"/>
                  <a:pt x="10501801" y="5672750"/>
                  <a:pt x="10503266" y="5676344"/>
                </a:cubicBezTo>
                <a:cubicBezTo>
                  <a:pt x="10504730" y="5679938"/>
                  <a:pt x="10505529" y="5683798"/>
                  <a:pt x="10505529" y="5687792"/>
                </a:cubicBezTo>
                <a:cubicBezTo>
                  <a:pt x="10505529" y="5691919"/>
                  <a:pt x="10504730" y="5695912"/>
                  <a:pt x="10503266" y="5699507"/>
                </a:cubicBezTo>
                <a:cubicBezTo>
                  <a:pt x="10501669" y="5703101"/>
                  <a:pt x="10499672" y="5706163"/>
                  <a:pt x="10497143" y="5708825"/>
                </a:cubicBezTo>
                <a:cubicBezTo>
                  <a:pt x="10494480" y="5711488"/>
                  <a:pt x="10491419" y="5713617"/>
                  <a:pt x="10487824" y="5715082"/>
                </a:cubicBezTo>
                <a:cubicBezTo>
                  <a:pt x="10484098" y="5716546"/>
                  <a:pt x="10480237" y="5717344"/>
                  <a:pt x="10475977" y="5717344"/>
                </a:cubicBezTo>
                <a:cubicBezTo>
                  <a:pt x="10466924" y="5717344"/>
                  <a:pt x="10459736" y="5714416"/>
                  <a:pt x="10454145" y="5708825"/>
                </a:cubicBezTo>
                <a:cubicBezTo>
                  <a:pt x="10448554" y="5703234"/>
                  <a:pt x="10445759" y="5696178"/>
                  <a:pt x="10445759" y="5687659"/>
                </a:cubicBezTo>
                <a:cubicBezTo>
                  <a:pt x="10445759" y="5679406"/>
                  <a:pt x="10448554" y="5672351"/>
                  <a:pt x="10454145" y="5666626"/>
                </a:cubicBezTo>
                <a:cubicBezTo>
                  <a:pt x="10459603" y="5660902"/>
                  <a:pt x="10466924" y="5658107"/>
                  <a:pt x="10475977" y="5658107"/>
                </a:cubicBezTo>
                <a:close/>
                <a:moveTo>
                  <a:pt x="10258466" y="5658107"/>
                </a:moveTo>
                <a:cubicBezTo>
                  <a:pt x="10262592" y="5658107"/>
                  <a:pt x="10266586" y="5658906"/>
                  <a:pt x="10270313" y="5660636"/>
                </a:cubicBezTo>
                <a:cubicBezTo>
                  <a:pt x="10273907" y="5662234"/>
                  <a:pt x="10277101" y="5664363"/>
                  <a:pt x="10279631" y="5667026"/>
                </a:cubicBezTo>
                <a:cubicBezTo>
                  <a:pt x="10282160" y="5669555"/>
                  <a:pt x="10284290" y="5672750"/>
                  <a:pt x="10285754" y="5676344"/>
                </a:cubicBezTo>
                <a:cubicBezTo>
                  <a:pt x="10287218" y="5679938"/>
                  <a:pt x="10288017" y="5683798"/>
                  <a:pt x="10288017" y="5687792"/>
                </a:cubicBezTo>
                <a:cubicBezTo>
                  <a:pt x="10288017" y="5691919"/>
                  <a:pt x="10287218" y="5695912"/>
                  <a:pt x="10285754" y="5699507"/>
                </a:cubicBezTo>
                <a:cubicBezTo>
                  <a:pt x="10284157" y="5703101"/>
                  <a:pt x="10282160" y="5706163"/>
                  <a:pt x="10279631" y="5708825"/>
                </a:cubicBezTo>
                <a:cubicBezTo>
                  <a:pt x="10276969" y="5711488"/>
                  <a:pt x="10273907" y="5713617"/>
                  <a:pt x="10270313" y="5715082"/>
                </a:cubicBezTo>
                <a:cubicBezTo>
                  <a:pt x="10266586" y="5716546"/>
                  <a:pt x="10262725" y="5717344"/>
                  <a:pt x="10258466" y="5717344"/>
                </a:cubicBezTo>
                <a:cubicBezTo>
                  <a:pt x="10249546" y="5717344"/>
                  <a:pt x="10242224" y="5714416"/>
                  <a:pt x="10236633" y="5708825"/>
                </a:cubicBezTo>
                <a:cubicBezTo>
                  <a:pt x="10231043" y="5703234"/>
                  <a:pt x="10228247" y="5696178"/>
                  <a:pt x="10228247" y="5687659"/>
                </a:cubicBezTo>
                <a:cubicBezTo>
                  <a:pt x="10228247" y="5679406"/>
                  <a:pt x="10231176" y="5672351"/>
                  <a:pt x="10236633" y="5666626"/>
                </a:cubicBezTo>
                <a:cubicBezTo>
                  <a:pt x="10242092" y="5660902"/>
                  <a:pt x="10249413" y="5658107"/>
                  <a:pt x="10258466" y="5658107"/>
                </a:cubicBezTo>
                <a:close/>
                <a:moveTo>
                  <a:pt x="10040820" y="5658107"/>
                </a:moveTo>
                <a:cubicBezTo>
                  <a:pt x="10045080" y="5658107"/>
                  <a:pt x="10048941" y="5658906"/>
                  <a:pt x="10052534" y="5660636"/>
                </a:cubicBezTo>
                <a:cubicBezTo>
                  <a:pt x="10056129" y="5662234"/>
                  <a:pt x="10059323" y="5664363"/>
                  <a:pt x="10061852" y="5667026"/>
                </a:cubicBezTo>
                <a:cubicBezTo>
                  <a:pt x="10064382" y="5669555"/>
                  <a:pt x="10066512" y="5672750"/>
                  <a:pt x="10067976" y="5676344"/>
                </a:cubicBezTo>
                <a:cubicBezTo>
                  <a:pt x="10069440" y="5679938"/>
                  <a:pt x="10070239" y="5683798"/>
                  <a:pt x="10070239" y="5687792"/>
                </a:cubicBezTo>
                <a:cubicBezTo>
                  <a:pt x="10070239" y="5691919"/>
                  <a:pt x="10069440" y="5695912"/>
                  <a:pt x="10067976" y="5699507"/>
                </a:cubicBezTo>
                <a:cubicBezTo>
                  <a:pt x="10066379" y="5703101"/>
                  <a:pt x="10064382" y="5706163"/>
                  <a:pt x="10061852" y="5708825"/>
                </a:cubicBezTo>
                <a:cubicBezTo>
                  <a:pt x="10059190" y="5711488"/>
                  <a:pt x="10056129" y="5713617"/>
                  <a:pt x="10052534" y="5715082"/>
                </a:cubicBezTo>
                <a:cubicBezTo>
                  <a:pt x="10048941" y="5716546"/>
                  <a:pt x="10045080" y="5717344"/>
                  <a:pt x="10040820" y="5717344"/>
                </a:cubicBezTo>
                <a:cubicBezTo>
                  <a:pt x="10031767" y="5717344"/>
                  <a:pt x="10024579" y="5714416"/>
                  <a:pt x="10018988" y="5708825"/>
                </a:cubicBezTo>
                <a:cubicBezTo>
                  <a:pt x="10013397" y="5703234"/>
                  <a:pt x="10010602" y="5696178"/>
                  <a:pt x="10010602" y="5687659"/>
                </a:cubicBezTo>
                <a:cubicBezTo>
                  <a:pt x="10010602" y="5679406"/>
                  <a:pt x="10013397" y="5672351"/>
                  <a:pt x="10018988" y="5666626"/>
                </a:cubicBezTo>
                <a:cubicBezTo>
                  <a:pt x="10024579" y="5660902"/>
                  <a:pt x="10031767" y="5658107"/>
                  <a:pt x="10040820" y="5658107"/>
                </a:cubicBezTo>
                <a:close/>
                <a:moveTo>
                  <a:pt x="9823176" y="5658107"/>
                </a:moveTo>
                <a:cubicBezTo>
                  <a:pt x="9827435" y="5658107"/>
                  <a:pt x="9831296" y="5658906"/>
                  <a:pt x="9834890" y="5660636"/>
                </a:cubicBezTo>
                <a:cubicBezTo>
                  <a:pt x="9838617" y="5662234"/>
                  <a:pt x="9841679" y="5664363"/>
                  <a:pt x="9844208" y="5667026"/>
                </a:cubicBezTo>
                <a:cubicBezTo>
                  <a:pt x="9846737" y="5669555"/>
                  <a:pt x="9848867" y="5672750"/>
                  <a:pt x="9850331" y="5676344"/>
                </a:cubicBezTo>
                <a:cubicBezTo>
                  <a:pt x="9851796" y="5679938"/>
                  <a:pt x="9852595" y="5683798"/>
                  <a:pt x="9852595" y="5687792"/>
                </a:cubicBezTo>
                <a:cubicBezTo>
                  <a:pt x="9852595" y="5691919"/>
                  <a:pt x="9851796" y="5695912"/>
                  <a:pt x="9850331" y="5699507"/>
                </a:cubicBezTo>
                <a:cubicBezTo>
                  <a:pt x="9848734" y="5703101"/>
                  <a:pt x="9846737" y="5706163"/>
                  <a:pt x="9844208" y="5708825"/>
                </a:cubicBezTo>
                <a:cubicBezTo>
                  <a:pt x="9841546" y="5711488"/>
                  <a:pt x="9838484" y="5713617"/>
                  <a:pt x="9834890" y="5715082"/>
                </a:cubicBezTo>
                <a:cubicBezTo>
                  <a:pt x="9831296" y="5716546"/>
                  <a:pt x="9827435" y="5717344"/>
                  <a:pt x="9823176" y="5717344"/>
                </a:cubicBezTo>
                <a:cubicBezTo>
                  <a:pt x="9814123" y="5717344"/>
                  <a:pt x="9806935" y="5714416"/>
                  <a:pt x="9801343" y="5708825"/>
                </a:cubicBezTo>
                <a:cubicBezTo>
                  <a:pt x="9795753" y="5703234"/>
                  <a:pt x="9792957" y="5696178"/>
                  <a:pt x="9792957" y="5687659"/>
                </a:cubicBezTo>
                <a:cubicBezTo>
                  <a:pt x="9792957" y="5679406"/>
                  <a:pt x="9795753" y="5672351"/>
                  <a:pt x="9801343" y="5666626"/>
                </a:cubicBezTo>
                <a:cubicBezTo>
                  <a:pt x="9806935" y="5660902"/>
                  <a:pt x="9814123" y="5658107"/>
                  <a:pt x="9823176" y="5658107"/>
                </a:cubicBezTo>
                <a:close/>
                <a:moveTo>
                  <a:pt x="9605531" y="5658107"/>
                </a:moveTo>
                <a:cubicBezTo>
                  <a:pt x="9609790" y="5658107"/>
                  <a:pt x="9613784" y="5658906"/>
                  <a:pt x="9617245" y="5660636"/>
                </a:cubicBezTo>
                <a:cubicBezTo>
                  <a:pt x="9620839" y="5662234"/>
                  <a:pt x="9624033" y="5664363"/>
                  <a:pt x="9626562" y="5667026"/>
                </a:cubicBezTo>
                <a:cubicBezTo>
                  <a:pt x="9629092" y="5669555"/>
                  <a:pt x="9631222" y="5672750"/>
                  <a:pt x="9632686" y="5676344"/>
                </a:cubicBezTo>
                <a:cubicBezTo>
                  <a:pt x="9634150" y="5679938"/>
                  <a:pt x="9634949" y="5683798"/>
                  <a:pt x="9634949" y="5687792"/>
                </a:cubicBezTo>
                <a:cubicBezTo>
                  <a:pt x="9634949" y="5691919"/>
                  <a:pt x="9634150" y="5695912"/>
                  <a:pt x="9632686" y="5699507"/>
                </a:cubicBezTo>
                <a:cubicBezTo>
                  <a:pt x="9631089" y="5703101"/>
                  <a:pt x="9629092" y="5706163"/>
                  <a:pt x="9626562" y="5708825"/>
                </a:cubicBezTo>
                <a:cubicBezTo>
                  <a:pt x="9623901" y="5711488"/>
                  <a:pt x="9620839" y="5713617"/>
                  <a:pt x="9617245" y="5715082"/>
                </a:cubicBezTo>
                <a:cubicBezTo>
                  <a:pt x="9613651" y="5716546"/>
                  <a:pt x="9609790" y="5717344"/>
                  <a:pt x="9605531" y="5717344"/>
                </a:cubicBezTo>
                <a:cubicBezTo>
                  <a:pt x="9596610" y="5717344"/>
                  <a:pt x="9589289" y="5714416"/>
                  <a:pt x="9583698" y="5708825"/>
                </a:cubicBezTo>
                <a:cubicBezTo>
                  <a:pt x="9578108" y="5703234"/>
                  <a:pt x="9575312" y="5696178"/>
                  <a:pt x="9575312" y="5687659"/>
                </a:cubicBezTo>
                <a:cubicBezTo>
                  <a:pt x="9575312" y="5679406"/>
                  <a:pt x="9578108" y="5672351"/>
                  <a:pt x="9583698" y="5666626"/>
                </a:cubicBezTo>
                <a:cubicBezTo>
                  <a:pt x="9589289" y="5660902"/>
                  <a:pt x="9596478" y="5658107"/>
                  <a:pt x="9605531" y="5658107"/>
                </a:cubicBezTo>
                <a:close/>
                <a:moveTo>
                  <a:pt x="9387885" y="5658107"/>
                </a:moveTo>
                <a:cubicBezTo>
                  <a:pt x="9392145" y="5658107"/>
                  <a:pt x="9396138" y="5658906"/>
                  <a:pt x="9399599" y="5660636"/>
                </a:cubicBezTo>
                <a:cubicBezTo>
                  <a:pt x="9403194" y="5662234"/>
                  <a:pt x="9406388" y="5664363"/>
                  <a:pt x="9408917" y="5667026"/>
                </a:cubicBezTo>
                <a:cubicBezTo>
                  <a:pt x="9411447" y="5669555"/>
                  <a:pt x="9413576" y="5672750"/>
                  <a:pt x="9415041" y="5676344"/>
                </a:cubicBezTo>
                <a:cubicBezTo>
                  <a:pt x="9416505" y="5679938"/>
                  <a:pt x="9417304" y="5683798"/>
                  <a:pt x="9417304" y="5687792"/>
                </a:cubicBezTo>
                <a:cubicBezTo>
                  <a:pt x="9417304" y="5691919"/>
                  <a:pt x="9416505" y="5695912"/>
                  <a:pt x="9415041" y="5699507"/>
                </a:cubicBezTo>
                <a:cubicBezTo>
                  <a:pt x="9413444" y="5703101"/>
                  <a:pt x="9411447" y="5706163"/>
                  <a:pt x="9408917" y="5708825"/>
                </a:cubicBezTo>
                <a:cubicBezTo>
                  <a:pt x="9406255" y="5711488"/>
                  <a:pt x="9403194" y="5713617"/>
                  <a:pt x="9399599" y="5715082"/>
                </a:cubicBezTo>
                <a:cubicBezTo>
                  <a:pt x="9396005" y="5716546"/>
                  <a:pt x="9392145" y="5717344"/>
                  <a:pt x="9387885" y="5717344"/>
                </a:cubicBezTo>
                <a:cubicBezTo>
                  <a:pt x="9378965" y="5717344"/>
                  <a:pt x="9371644" y="5714416"/>
                  <a:pt x="9366053" y="5708825"/>
                </a:cubicBezTo>
                <a:cubicBezTo>
                  <a:pt x="9360462" y="5703234"/>
                  <a:pt x="9357667" y="5696178"/>
                  <a:pt x="9357667" y="5687659"/>
                </a:cubicBezTo>
                <a:cubicBezTo>
                  <a:pt x="9357667" y="5679406"/>
                  <a:pt x="9360462" y="5672351"/>
                  <a:pt x="9366053" y="5666626"/>
                </a:cubicBezTo>
                <a:cubicBezTo>
                  <a:pt x="9371644" y="5660902"/>
                  <a:pt x="9378832" y="5658107"/>
                  <a:pt x="9387885" y="5658107"/>
                </a:cubicBezTo>
                <a:close/>
                <a:moveTo>
                  <a:pt x="9170374" y="5658107"/>
                </a:moveTo>
                <a:cubicBezTo>
                  <a:pt x="9174500" y="5658107"/>
                  <a:pt x="9178494" y="5658906"/>
                  <a:pt x="9182088" y="5660636"/>
                </a:cubicBezTo>
                <a:cubicBezTo>
                  <a:pt x="9185682" y="5662234"/>
                  <a:pt x="9188876" y="5664363"/>
                  <a:pt x="9191405" y="5667026"/>
                </a:cubicBezTo>
                <a:cubicBezTo>
                  <a:pt x="9193935" y="5669555"/>
                  <a:pt x="9196065" y="5672750"/>
                  <a:pt x="9197529" y="5676344"/>
                </a:cubicBezTo>
                <a:cubicBezTo>
                  <a:pt x="9198993" y="5679938"/>
                  <a:pt x="9199792" y="5683798"/>
                  <a:pt x="9199792" y="5687792"/>
                </a:cubicBezTo>
                <a:cubicBezTo>
                  <a:pt x="9199792" y="5691919"/>
                  <a:pt x="9198993" y="5695912"/>
                  <a:pt x="9197529" y="5699507"/>
                </a:cubicBezTo>
                <a:cubicBezTo>
                  <a:pt x="9195932" y="5703101"/>
                  <a:pt x="9193935" y="5706163"/>
                  <a:pt x="9191405" y="5708825"/>
                </a:cubicBezTo>
                <a:cubicBezTo>
                  <a:pt x="9188744" y="5711488"/>
                  <a:pt x="9185682" y="5713617"/>
                  <a:pt x="9182088" y="5715082"/>
                </a:cubicBezTo>
                <a:cubicBezTo>
                  <a:pt x="9178494" y="5716546"/>
                  <a:pt x="9174633" y="5717344"/>
                  <a:pt x="9170374" y="5717344"/>
                </a:cubicBezTo>
                <a:cubicBezTo>
                  <a:pt x="9161453" y="5717344"/>
                  <a:pt x="9154132" y="5714416"/>
                  <a:pt x="9148541" y="5708825"/>
                </a:cubicBezTo>
                <a:cubicBezTo>
                  <a:pt x="9142951" y="5703234"/>
                  <a:pt x="9140155" y="5696178"/>
                  <a:pt x="9140155" y="5687659"/>
                </a:cubicBezTo>
                <a:cubicBezTo>
                  <a:pt x="9140155" y="5679406"/>
                  <a:pt x="9142951" y="5672351"/>
                  <a:pt x="9148541" y="5666626"/>
                </a:cubicBezTo>
                <a:cubicBezTo>
                  <a:pt x="9154132" y="5660902"/>
                  <a:pt x="9161321" y="5658107"/>
                  <a:pt x="9170374" y="5658107"/>
                </a:cubicBezTo>
                <a:close/>
                <a:moveTo>
                  <a:pt x="8952728" y="5658107"/>
                </a:moveTo>
                <a:cubicBezTo>
                  <a:pt x="8956988" y="5658107"/>
                  <a:pt x="8960849" y="5658906"/>
                  <a:pt x="8964442" y="5660636"/>
                </a:cubicBezTo>
                <a:cubicBezTo>
                  <a:pt x="8968037" y="5662234"/>
                  <a:pt x="8971231" y="5664363"/>
                  <a:pt x="8973760" y="5667026"/>
                </a:cubicBezTo>
                <a:cubicBezTo>
                  <a:pt x="8976290" y="5669555"/>
                  <a:pt x="8978419" y="5672750"/>
                  <a:pt x="8979884" y="5676344"/>
                </a:cubicBezTo>
                <a:cubicBezTo>
                  <a:pt x="8981348" y="5679938"/>
                  <a:pt x="8982147" y="5683798"/>
                  <a:pt x="8982147" y="5687792"/>
                </a:cubicBezTo>
                <a:cubicBezTo>
                  <a:pt x="8982147" y="5691919"/>
                  <a:pt x="8981348" y="5695912"/>
                  <a:pt x="8979884" y="5699507"/>
                </a:cubicBezTo>
                <a:cubicBezTo>
                  <a:pt x="8978287" y="5703101"/>
                  <a:pt x="8976290" y="5706163"/>
                  <a:pt x="8973760" y="5708825"/>
                </a:cubicBezTo>
                <a:cubicBezTo>
                  <a:pt x="8971098" y="5711488"/>
                  <a:pt x="8968037" y="5713617"/>
                  <a:pt x="8964442" y="5715082"/>
                </a:cubicBezTo>
                <a:cubicBezTo>
                  <a:pt x="8960849" y="5716546"/>
                  <a:pt x="8956988" y="5717344"/>
                  <a:pt x="8952728" y="5717344"/>
                </a:cubicBezTo>
                <a:cubicBezTo>
                  <a:pt x="8943808" y="5717344"/>
                  <a:pt x="8936487" y="5714416"/>
                  <a:pt x="8930896" y="5708825"/>
                </a:cubicBezTo>
                <a:cubicBezTo>
                  <a:pt x="8925305" y="5703234"/>
                  <a:pt x="8922510" y="5696178"/>
                  <a:pt x="8922510" y="5687659"/>
                </a:cubicBezTo>
                <a:cubicBezTo>
                  <a:pt x="8922510" y="5679406"/>
                  <a:pt x="8925305" y="5672351"/>
                  <a:pt x="8930896" y="5666626"/>
                </a:cubicBezTo>
                <a:cubicBezTo>
                  <a:pt x="8936487" y="5660902"/>
                  <a:pt x="8943675" y="5658107"/>
                  <a:pt x="8952728" y="5658107"/>
                </a:cubicBezTo>
                <a:close/>
                <a:moveTo>
                  <a:pt x="8735083" y="5658107"/>
                </a:moveTo>
                <a:cubicBezTo>
                  <a:pt x="8739342" y="5658107"/>
                  <a:pt x="8743203" y="5658906"/>
                  <a:pt x="8746797" y="5660636"/>
                </a:cubicBezTo>
                <a:cubicBezTo>
                  <a:pt x="8750391" y="5662234"/>
                  <a:pt x="8753586" y="5664363"/>
                  <a:pt x="8756115" y="5667026"/>
                </a:cubicBezTo>
                <a:cubicBezTo>
                  <a:pt x="8758644" y="5669555"/>
                  <a:pt x="8760774" y="5672750"/>
                  <a:pt x="8762238" y="5676344"/>
                </a:cubicBezTo>
                <a:cubicBezTo>
                  <a:pt x="8763702" y="5679938"/>
                  <a:pt x="8764502" y="5683798"/>
                  <a:pt x="8764502" y="5687792"/>
                </a:cubicBezTo>
                <a:cubicBezTo>
                  <a:pt x="8764502" y="5691919"/>
                  <a:pt x="8763702" y="5695912"/>
                  <a:pt x="8762238" y="5699507"/>
                </a:cubicBezTo>
                <a:cubicBezTo>
                  <a:pt x="8760641" y="5703101"/>
                  <a:pt x="8758644" y="5706163"/>
                  <a:pt x="8756115" y="5708825"/>
                </a:cubicBezTo>
                <a:cubicBezTo>
                  <a:pt x="8753453" y="5711488"/>
                  <a:pt x="8750391" y="5713617"/>
                  <a:pt x="8746797" y="5715082"/>
                </a:cubicBezTo>
                <a:cubicBezTo>
                  <a:pt x="8743203" y="5716546"/>
                  <a:pt x="8739342" y="5717344"/>
                  <a:pt x="8735083" y="5717344"/>
                </a:cubicBezTo>
                <a:cubicBezTo>
                  <a:pt x="8726030" y="5717344"/>
                  <a:pt x="8718841" y="5714416"/>
                  <a:pt x="8713250" y="5708825"/>
                </a:cubicBezTo>
                <a:cubicBezTo>
                  <a:pt x="8707660" y="5703234"/>
                  <a:pt x="8704864" y="5696178"/>
                  <a:pt x="8704864" y="5687659"/>
                </a:cubicBezTo>
                <a:cubicBezTo>
                  <a:pt x="8704864" y="5679406"/>
                  <a:pt x="8707660" y="5672351"/>
                  <a:pt x="8713250" y="5666626"/>
                </a:cubicBezTo>
                <a:cubicBezTo>
                  <a:pt x="8718841" y="5660902"/>
                  <a:pt x="8726030" y="5658107"/>
                  <a:pt x="8735083" y="5658107"/>
                </a:cubicBezTo>
                <a:close/>
                <a:moveTo>
                  <a:pt x="8517438" y="5658107"/>
                </a:moveTo>
                <a:cubicBezTo>
                  <a:pt x="8521698" y="5658107"/>
                  <a:pt x="8525559" y="5658906"/>
                  <a:pt x="8529152" y="5660636"/>
                </a:cubicBezTo>
                <a:cubicBezTo>
                  <a:pt x="8532880" y="5662234"/>
                  <a:pt x="8535941" y="5664363"/>
                  <a:pt x="8538470" y="5667026"/>
                </a:cubicBezTo>
                <a:cubicBezTo>
                  <a:pt x="8541000" y="5669555"/>
                  <a:pt x="8543130" y="5672750"/>
                  <a:pt x="8544594" y="5676344"/>
                </a:cubicBezTo>
                <a:cubicBezTo>
                  <a:pt x="8546058" y="5679938"/>
                  <a:pt x="8546857" y="5683798"/>
                  <a:pt x="8546857" y="5687792"/>
                </a:cubicBezTo>
                <a:cubicBezTo>
                  <a:pt x="8546857" y="5691919"/>
                  <a:pt x="8546058" y="5695912"/>
                  <a:pt x="8544594" y="5699507"/>
                </a:cubicBezTo>
                <a:cubicBezTo>
                  <a:pt x="8542997" y="5703101"/>
                  <a:pt x="8541000" y="5706163"/>
                  <a:pt x="8538470" y="5708825"/>
                </a:cubicBezTo>
                <a:cubicBezTo>
                  <a:pt x="8535808" y="5711488"/>
                  <a:pt x="8532747" y="5713617"/>
                  <a:pt x="8529152" y="5715082"/>
                </a:cubicBezTo>
                <a:cubicBezTo>
                  <a:pt x="8525559" y="5716546"/>
                  <a:pt x="8521698" y="5717344"/>
                  <a:pt x="8517438" y="5717344"/>
                </a:cubicBezTo>
                <a:cubicBezTo>
                  <a:pt x="8508385" y="5717344"/>
                  <a:pt x="8501197" y="5714416"/>
                  <a:pt x="8495606" y="5708825"/>
                </a:cubicBezTo>
                <a:cubicBezTo>
                  <a:pt x="8490015" y="5703234"/>
                  <a:pt x="8487220" y="5696178"/>
                  <a:pt x="8487220" y="5687659"/>
                </a:cubicBezTo>
                <a:cubicBezTo>
                  <a:pt x="8487220" y="5679406"/>
                  <a:pt x="8490015" y="5672351"/>
                  <a:pt x="8495606" y="5666626"/>
                </a:cubicBezTo>
                <a:cubicBezTo>
                  <a:pt x="8501197" y="5660902"/>
                  <a:pt x="8508385" y="5658107"/>
                  <a:pt x="8517438" y="5658107"/>
                </a:cubicBezTo>
                <a:close/>
                <a:moveTo>
                  <a:pt x="8299793" y="5658107"/>
                </a:moveTo>
                <a:cubicBezTo>
                  <a:pt x="8304052" y="5658107"/>
                  <a:pt x="8308046" y="5658906"/>
                  <a:pt x="8311507" y="5660636"/>
                </a:cubicBezTo>
                <a:cubicBezTo>
                  <a:pt x="8315235" y="5662234"/>
                  <a:pt x="8318296" y="5664363"/>
                  <a:pt x="8320825" y="5667026"/>
                </a:cubicBezTo>
                <a:cubicBezTo>
                  <a:pt x="8323354" y="5669555"/>
                  <a:pt x="8325484" y="5672750"/>
                  <a:pt x="8326948" y="5676344"/>
                </a:cubicBezTo>
                <a:cubicBezTo>
                  <a:pt x="8328413" y="5679938"/>
                  <a:pt x="8329212" y="5683798"/>
                  <a:pt x="8329212" y="5687792"/>
                </a:cubicBezTo>
                <a:cubicBezTo>
                  <a:pt x="8329212" y="5691919"/>
                  <a:pt x="8328413" y="5695912"/>
                  <a:pt x="8326948" y="5699507"/>
                </a:cubicBezTo>
                <a:cubicBezTo>
                  <a:pt x="8325351" y="5703101"/>
                  <a:pt x="8323354" y="5706163"/>
                  <a:pt x="8320825" y="5708825"/>
                </a:cubicBezTo>
                <a:cubicBezTo>
                  <a:pt x="8318163" y="5711488"/>
                  <a:pt x="8315101" y="5713617"/>
                  <a:pt x="8311507" y="5715082"/>
                </a:cubicBezTo>
                <a:cubicBezTo>
                  <a:pt x="8307913" y="5716546"/>
                  <a:pt x="8304052" y="5717344"/>
                  <a:pt x="8299793" y="5717344"/>
                </a:cubicBezTo>
                <a:cubicBezTo>
                  <a:pt x="8290874" y="5717344"/>
                  <a:pt x="8283553" y="5714416"/>
                  <a:pt x="8277960" y="5708825"/>
                </a:cubicBezTo>
                <a:cubicBezTo>
                  <a:pt x="8272370" y="5703234"/>
                  <a:pt x="8269574" y="5696178"/>
                  <a:pt x="8269574" y="5687659"/>
                </a:cubicBezTo>
                <a:cubicBezTo>
                  <a:pt x="8269574" y="5679406"/>
                  <a:pt x="8272370" y="5672351"/>
                  <a:pt x="8277960" y="5666626"/>
                </a:cubicBezTo>
                <a:cubicBezTo>
                  <a:pt x="8283553" y="5660902"/>
                  <a:pt x="8290741" y="5658107"/>
                  <a:pt x="8299793" y="5658107"/>
                </a:cubicBezTo>
                <a:close/>
                <a:moveTo>
                  <a:pt x="8082281" y="5658107"/>
                </a:moveTo>
                <a:cubicBezTo>
                  <a:pt x="8086407" y="5658107"/>
                  <a:pt x="8090401" y="5658906"/>
                  <a:pt x="8094127" y="5660636"/>
                </a:cubicBezTo>
                <a:cubicBezTo>
                  <a:pt x="8097855" y="5662234"/>
                  <a:pt x="8100916" y="5664363"/>
                  <a:pt x="8103446" y="5667026"/>
                </a:cubicBezTo>
                <a:cubicBezTo>
                  <a:pt x="8105975" y="5669555"/>
                  <a:pt x="8108104" y="5672750"/>
                  <a:pt x="8109569" y="5676344"/>
                </a:cubicBezTo>
                <a:cubicBezTo>
                  <a:pt x="8111033" y="5679938"/>
                  <a:pt x="8111832" y="5683798"/>
                  <a:pt x="8111832" y="5687792"/>
                </a:cubicBezTo>
                <a:cubicBezTo>
                  <a:pt x="8111832" y="5691919"/>
                  <a:pt x="8111033" y="5695912"/>
                  <a:pt x="8109569" y="5699507"/>
                </a:cubicBezTo>
                <a:cubicBezTo>
                  <a:pt x="8107972" y="5703101"/>
                  <a:pt x="8105975" y="5706163"/>
                  <a:pt x="8103446" y="5708825"/>
                </a:cubicBezTo>
                <a:cubicBezTo>
                  <a:pt x="8100783" y="5711488"/>
                  <a:pt x="8097722" y="5713617"/>
                  <a:pt x="8094127" y="5715082"/>
                </a:cubicBezTo>
                <a:cubicBezTo>
                  <a:pt x="8090401" y="5716546"/>
                  <a:pt x="8086540" y="5717344"/>
                  <a:pt x="8082281" y="5717344"/>
                </a:cubicBezTo>
                <a:cubicBezTo>
                  <a:pt x="8073361" y="5717344"/>
                  <a:pt x="8066040" y="5714416"/>
                  <a:pt x="8060448" y="5708825"/>
                </a:cubicBezTo>
                <a:cubicBezTo>
                  <a:pt x="8054857" y="5703234"/>
                  <a:pt x="8052062" y="5696178"/>
                  <a:pt x="8052062" y="5687659"/>
                </a:cubicBezTo>
                <a:cubicBezTo>
                  <a:pt x="8052062" y="5679406"/>
                  <a:pt x="8054857" y="5672351"/>
                  <a:pt x="8060448" y="5666626"/>
                </a:cubicBezTo>
                <a:cubicBezTo>
                  <a:pt x="8066040" y="5660902"/>
                  <a:pt x="8073228" y="5658107"/>
                  <a:pt x="8082281" y="5658107"/>
                </a:cubicBezTo>
                <a:close/>
                <a:moveTo>
                  <a:pt x="7864636" y="5658107"/>
                </a:moveTo>
                <a:cubicBezTo>
                  <a:pt x="7868762" y="5658107"/>
                  <a:pt x="7872756" y="5658906"/>
                  <a:pt x="7876483" y="5660636"/>
                </a:cubicBezTo>
                <a:cubicBezTo>
                  <a:pt x="7880210" y="5662234"/>
                  <a:pt x="7883272" y="5664363"/>
                  <a:pt x="7885802" y="5667026"/>
                </a:cubicBezTo>
                <a:cubicBezTo>
                  <a:pt x="7888331" y="5669555"/>
                  <a:pt x="7890460" y="5672750"/>
                  <a:pt x="7891924" y="5676344"/>
                </a:cubicBezTo>
                <a:cubicBezTo>
                  <a:pt x="7893389" y="5679938"/>
                  <a:pt x="7894188" y="5683798"/>
                  <a:pt x="7894188" y="5687792"/>
                </a:cubicBezTo>
                <a:cubicBezTo>
                  <a:pt x="7894188" y="5691919"/>
                  <a:pt x="7893389" y="5695912"/>
                  <a:pt x="7891924" y="5699507"/>
                </a:cubicBezTo>
                <a:cubicBezTo>
                  <a:pt x="7890327" y="5703101"/>
                  <a:pt x="7888331" y="5706163"/>
                  <a:pt x="7885802" y="5708825"/>
                </a:cubicBezTo>
                <a:cubicBezTo>
                  <a:pt x="7883139" y="5711488"/>
                  <a:pt x="7880078" y="5713617"/>
                  <a:pt x="7876483" y="5715082"/>
                </a:cubicBezTo>
                <a:cubicBezTo>
                  <a:pt x="7872756" y="5716546"/>
                  <a:pt x="7868895" y="5717344"/>
                  <a:pt x="7864636" y="5717344"/>
                </a:cubicBezTo>
                <a:cubicBezTo>
                  <a:pt x="7855717" y="5717344"/>
                  <a:pt x="7848396" y="5714416"/>
                  <a:pt x="7842803" y="5708825"/>
                </a:cubicBezTo>
                <a:cubicBezTo>
                  <a:pt x="7837213" y="5703234"/>
                  <a:pt x="7834417" y="5696178"/>
                  <a:pt x="7834417" y="5687659"/>
                </a:cubicBezTo>
                <a:cubicBezTo>
                  <a:pt x="7834417" y="5679406"/>
                  <a:pt x="7837213" y="5672351"/>
                  <a:pt x="7842803" y="5666626"/>
                </a:cubicBezTo>
                <a:cubicBezTo>
                  <a:pt x="7848396" y="5660902"/>
                  <a:pt x="7855584" y="5658107"/>
                  <a:pt x="7864636" y="5658107"/>
                </a:cubicBezTo>
                <a:close/>
                <a:moveTo>
                  <a:pt x="7646991" y="5658107"/>
                </a:moveTo>
                <a:cubicBezTo>
                  <a:pt x="7651250" y="5658107"/>
                  <a:pt x="7655111" y="5658906"/>
                  <a:pt x="7658705" y="5660636"/>
                </a:cubicBezTo>
                <a:cubicBezTo>
                  <a:pt x="7662432" y="5662234"/>
                  <a:pt x="7665493" y="5664363"/>
                  <a:pt x="7668022" y="5667026"/>
                </a:cubicBezTo>
                <a:cubicBezTo>
                  <a:pt x="7670552" y="5669555"/>
                  <a:pt x="7672682" y="5672750"/>
                  <a:pt x="7674146" y="5676344"/>
                </a:cubicBezTo>
                <a:cubicBezTo>
                  <a:pt x="7675610" y="5679938"/>
                  <a:pt x="7676409" y="5683798"/>
                  <a:pt x="7676409" y="5687792"/>
                </a:cubicBezTo>
                <a:cubicBezTo>
                  <a:pt x="7676409" y="5691919"/>
                  <a:pt x="7675610" y="5695912"/>
                  <a:pt x="7674146" y="5699507"/>
                </a:cubicBezTo>
                <a:cubicBezTo>
                  <a:pt x="7672549" y="5703101"/>
                  <a:pt x="7670552" y="5706163"/>
                  <a:pt x="7668022" y="5708825"/>
                </a:cubicBezTo>
                <a:cubicBezTo>
                  <a:pt x="7665361" y="5711488"/>
                  <a:pt x="7662299" y="5713617"/>
                  <a:pt x="7658705" y="5715082"/>
                </a:cubicBezTo>
                <a:cubicBezTo>
                  <a:pt x="7655111" y="5716546"/>
                  <a:pt x="7651250" y="5717344"/>
                  <a:pt x="7646991" y="5717344"/>
                </a:cubicBezTo>
                <a:cubicBezTo>
                  <a:pt x="7638071" y="5717344"/>
                  <a:pt x="7630750" y="5714416"/>
                  <a:pt x="7625158" y="5708825"/>
                </a:cubicBezTo>
                <a:cubicBezTo>
                  <a:pt x="7619568" y="5703234"/>
                  <a:pt x="7616772" y="5696178"/>
                  <a:pt x="7616772" y="5687659"/>
                </a:cubicBezTo>
                <a:cubicBezTo>
                  <a:pt x="7616772" y="5679406"/>
                  <a:pt x="7619568" y="5672351"/>
                  <a:pt x="7625158" y="5666626"/>
                </a:cubicBezTo>
                <a:cubicBezTo>
                  <a:pt x="7630750" y="5660902"/>
                  <a:pt x="7637939" y="5658107"/>
                  <a:pt x="7646991" y="5658107"/>
                </a:cubicBezTo>
                <a:close/>
                <a:moveTo>
                  <a:pt x="7429345" y="5658107"/>
                </a:moveTo>
                <a:cubicBezTo>
                  <a:pt x="7433605" y="5658107"/>
                  <a:pt x="7437466" y="5658906"/>
                  <a:pt x="7441059" y="5660636"/>
                </a:cubicBezTo>
                <a:cubicBezTo>
                  <a:pt x="7444787" y="5662234"/>
                  <a:pt x="7447848" y="5664363"/>
                  <a:pt x="7450377" y="5667026"/>
                </a:cubicBezTo>
                <a:cubicBezTo>
                  <a:pt x="7452907" y="5669555"/>
                  <a:pt x="7455036" y="5672750"/>
                  <a:pt x="7456501" y="5676344"/>
                </a:cubicBezTo>
                <a:cubicBezTo>
                  <a:pt x="7457965" y="5679938"/>
                  <a:pt x="7458764" y="5683798"/>
                  <a:pt x="7458764" y="5687792"/>
                </a:cubicBezTo>
                <a:cubicBezTo>
                  <a:pt x="7458764" y="5691919"/>
                  <a:pt x="7457965" y="5695912"/>
                  <a:pt x="7456501" y="5699507"/>
                </a:cubicBezTo>
                <a:cubicBezTo>
                  <a:pt x="7454904" y="5703101"/>
                  <a:pt x="7452907" y="5706163"/>
                  <a:pt x="7450377" y="5708825"/>
                </a:cubicBezTo>
                <a:cubicBezTo>
                  <a:pt x="7447715" y="5711488"/>
                  <a:pt x="7444654" y="5713617"/>
                  <a:pt x="7441059" y="5715082"/>
                </a:cubicBezTo>
                <a:cubicBezTo>
                  <a:pt x="7437466" y="5716546"/>
                  <a:pt x="7433605" y="5717344"/>
                  <a:pt x="7429345" y="5717344"/>
                </a:cubicBezTo>
                <a:cubicBezTo>
                  <a:pt x="7420426" y="5717344"/>
                  <a:pt x="7413105" y="5714416"/>
                  <a:pt x="7407513" y="5708825"/>
                </a:cubicBezTo>
                <a:cubicBezTo>
                  <a:pt x="7401922" y="5703234"/>
                  <a:pt x="7399127" y="5696178"/>
                  <a:pt x="7399127" y="5687659"/>
                </a:cubicBezTo>
                <a:cubicBezTo>
                  <a:pt x="7399127" y="5679406"/>
                  <a:pt x="7401922" y="5672351"/>
                  <a:pt x="7407513" y="5666626"/>
                </a:cubicBezTo>
                <a:cubicBezTo>
                  <a:pt x="7413105" y="5660902"/>
                  <a:pt x="7420293" y="5658107"/>
                  <a:pt x="7429345" y="5658107"/>
                </a:cubicBezTo>
                <a:close/>
                <a:moveTo>
                  <a:pt x="7211701" y="5658107"/>
                </a:moveTo>
                <a:cubicBezTo>
                  <a:pt x="7215960" y="5658107"/>
                  <a:pt x="7219954" y="5658906"/>
                  <a:pt x="7223415" y="5660636"/>
                </a:cubicBezTo>
                <a:cubicBezTo>
                  <a:pt x="7227142" y="5662234"/>
                  <a:pt x="7230204" y="5664363"/>
                  <a:pt x="7232733" y="5667026"/>
                </a:cubicBezTo>
                <a:cubicBezTo>
                  <a:pt x="7235262" y="5669555"/>
                  <a:pt x="7237392" y="5672750"/>
                  <a:pt x="7238856" y="5676344"/>
                </a:cubicBezTo>
                <a:cubicBezTo>
                  <a:pt x="7240321" y="5679938"/>
                  <a:pt x="7241120" y="5683798"/>
                  <a:pt x="7241120" y="5687792"/>
                </a:cubicBezTo>
                <a:cubicBezTo>
                  <a:pt x="7241120" y="5691919"/>
                  <a:pt x="7240321" y="5695912"/>
                  <a:pt x="7238856" y="5699507"/>
                </a:cubicBezTo>
                <a:cubicBezTo>
                  <a:pt x="7237259" y="5703101"/>
                  <a:pt x="7235262" y="5706163"/>
                  <a:pt x="7232733" y="5708825"/>
                </a:cubicBezTo>
                <a:cubicBezTo>
                  <a:pt x="7230071" y="5711488"/>
                  <a:pt x="7227009" y="5713617"/>
                  <a:pt x="7223415" y="5715082"/>
                </a:cubicBezTo>
                <a:cubicBezTo>
                  <a:pt x="7219821" y="5716546"/>
                  <a:pt x="7215960" y="5717344"/>
                  <a:pt x="7211701" y="5717344"/>
                </a:cubicBezTo>
                <a:cubicBezTo>
                  <a:pt x="7202782" y="5717344"/>
                  <a:pt x="7195460" y="5714416"/>
                  <a:pt x="7189868" y="5708825"/>
                </a:cubicBezTo>
                <a:cubicBezTo>
                  <a:pt x="7184278" y="5703234"/>
                  <a:pt x="7181482" y="5696178"/>
                  <a:pt x="7181482" y="5687659"/>
                </a:cubicBezTo>
                <a:cubicBezTo>
                  <a:pt x="7181482" y="5679406"/>
                  <a:pt x="7184278" y="5672351"/>
                  <a:pt x="7189868" y="5666626"/>
                </a:cubicBezTo>
                <a:cubicBezTo>
                  <a:pt x="7195460" y="5660902"/>
                  <a:pt x="7202649" y="5658107"/>
                  <a:pt x="7211701" y="5658107"/>
                </a:cubicBezTo>
                <a:close/>
                <a:moveTo>
                  <a:pt x="6994056" y="5658107"/>
                </a:moveTo>
                <a:cubicBezTo>
                  <a:pt x="6998315" y="5658107"/>
                  <a:pt x="7002309" y="5658906"/>
                  <a:pt x="7005769" y="5660636"/>
                </a:cubicBezTo>
                <a:cubicBezTo>
                  <a:pt x="7009497" y="5662234"/>
                  <a:pt x="7012558" y="5664363"/>
                  <a:pt x="7015087" y="5667026"/>
                </a:cubicBezTo>
                <a:cubicBezTo>
                  <a:pt x="7017617" y="5669555"/>
                  <a:pt x="7019747" y="5672750"/>
                  <a:pt x="7021211" y="5676344"/>
                </a:cubicBezTo>
                <a:cubicBezTo>
                  <a:pt x="7022675" y="5679938"/>
                  <a:pt x="7023474" y="5683798"/>
                  <a:pt x="7023474" y="5687792"/>
                </a:cubicBezTo>
                <a:cubicBezTo>
                  <a:pt x="7023474" y="5691919"/>
                  <a:pt x="7022675" y="5695912"/>
                  <a:pt x="7021211" y="5699507"/>
                </a:cubicBezTo>
                <a:cubicBezTo>
                  <a:pt x="7019614" y="5703101"/>
                  <a:pt x="7017617" y="5706163"/>
                  <a:pt x="7015087" y="5708825"/>
                </a:cubicBezTo>
                <a:cubicBezTo>
                  <a:pt x="7012425" y="5711488"/>
                  <a:pt x="7009364" y="5713617"/>
                  <a:pt x="7005769" y="5715082"/>
                </a:cubicBezTo>
                <a:cubicBezTo>
                  <a:pt x="7002176" y="5716546"/>
                  <a:pt x="6998315" y="5717344"/>
                  <a:pt x="6994056" y="5717344"/>
                </a:cubicBezTo>
                <a:cubicBezTo>
                  <a:pt x="6985136" y="5717344"/>
                  <a:pt x="6977815" y="5714416"/>
                  <a:pt x="6972223" y="5708825"/>
                </a:cubicBezTo>
                <a:cubicBezTo>
                  <a:pt x="6966632" y="5703234"/>
                  <a:pt x="6963837" y="5696178"/>
                  <a:pt x="6963837" y="5687659"/>
                </a:cubicBezTo>
                <a:cubicBezTo>
                  <a:pt x="6963837" y="5679406"/>
                  <a:pt x="6966632" y="5672351"/>
                  <a:pt x="6972223" y="5666626"/>
                </a:cubicBezTo>
                <a:cubicBezTo>
                  <a:pt x="6977815" y="5660902"/>
                  <a:pt x="6985003" y="5658107"/>
                  <a:pt x="6994056" y="5658107"/>
                </a:cubicBezTo>
                <a:close/>
                <a:moveTo>
                  <a:pt x="6776544" y="5658107"/>
                </a:moveTo>
                <a:cubicBezTo>
                  <a:pt x="6780670" y="5658107"/>
                  <a:pt x="6784664" y="5658906"/>
                  <a:pt x="6788258" y="5660636"/>
                </a:cubicBezTo>
                <a:cubicBezTo>
                  <a:pt x="6791985" y="5662234"/>
                  <a:pt x="6795047" y="5664363"/>
                  <a:pt x="6797576" y="5667026"/>
                </a:cubicBezTo>
                <a:cubicBezTo>
                  <a:pt x="6800105" y="5669555"/>
                  <a:pt x="6802235" y="5672750"/>
                  <a:pt x="6803699" y="5676344"/>
                </a:cubicBezTo>
                <a:cubicBezTo>
                  <a:pt x="6805164" y="5679938"/>
                  <a:pt x="6805963" y="5683798"/>
                  <a:pt x="6805963" y="5687792"/>
                </a:cubicBezTo>
                <a:cubicBezTo>
                  <a:pt x="6805963" y="5691919"/>
                  <a:pt x="6805164" y="5695912"/>
                  <a:pt x="6803699" y="5699507"/>
                </a:cubicBezTo>
                <a:cubicBezTo>
                  <a:pt x="6802102" y="5703101"/>
                  <a:pt x="6800105" y="5706163"/>
                  <a:pt x="6797576" y="5708825"/>
                </a:cubicBezTo>
                <a:cubicBezTo>
                  <a:pt x="6794914" y="5711488"/>
                  <a:pt x="6791852" y="5713617"/>
                  <a:pt x="6788258" y="5715082"/>
                </a:cubicBezTo>
                <a:cubicBezTo>
                  <a:pt x="6784664" y="5716546"/>
                  <a:pt x="6780803" y="5717344"/>
                  <a:pt x="6776544" y="5717344"/>
                </a:cubicBezTo>
                <a:cubicBezTo>
                  <a:pt x="6767625" y="5717344"/>
                  <a:pt x="6760303" y="5714416"/>
                  <a:pt x="6754711" y="5708825"/>
                </a:cubicBezTo>
                <a:cubicBezTo>
                  <a:pt x="6749121" y="5703234"/>
                  <a:pt x="6746325" y="5696178"/>
                  <a:pt x="6746325" y="5687659"/>
                </a:cubicBezTo>
                <a:cubicBezTo>
                  <a:pt x="6746325" y="5679406"/>
                  <a:pt x="6749121" y="5672351"/>
                  <a:pt x="6754711" y="5666626"/>
                </a:cubicBezTo>
                <a:cubicBezTo>
                  <a:pt x="6760303" y="5660902"/>
                  <a:pt x="6767492" y="5658107"/>
                  <a:pt x="6776544" y="5658107"/>
                </a:cubicBezTo>
                <a:close/>
                <a:moveTo>
                  <a:pt x="6558899" y="5658107"/>
                </a:moveTo>
                <a:cubicBezTo>
                  <a:pt x="6563158" y="5658107"/>
                  <a:pt x="6567019" y="5658906"/>
                  <a:pt x="6570612" y="5660636"/>
                </a:cubicBezTo>
                <a:cubicBezTo>
                  <a:pt x="6574340" y="5662234"/>
                  <a:pt x="6577401" y="5664363"/>
                  <a:pt x="6579930" y="5667026"/>
                </a:cubicBezTo>
                <a:cubicBezTo>
                  <a:pt x="6582460" y="5669555"/>
                  <a:pt x="6584590" y="5672750"/>
                  <a:pt x="6586054" y="5676344"/>
                </a:cubicBezTo>
                <a:cubicBezTo>
                  <a:pt x="6587518" y="5679938"/>
                  <a:pt x="6588317" y="5683798"/>
                  <a:pt x="6588317" y="5687792"/>
                </a:cubicBezTo>
                <a:cubicBezTo>
                  <a:pt x="6588317" y="5691919"/>
                  <a:pt x="6587518" y="5695912"/>
                  <a:pt x="6586054" y="5699507"/>
                </a:cubicBezTo>
                <a:cubicBezTo>
                  <a:pt x="6584457" y="5703101"/>
                  <a:pt x="6582460" y="5706163"/>
                  <a:pt x="6579930" y="5708825"/>
                </a:cubicBezTo>
                <a:cubicBezTo>
                  <a:pt x="6577268" y="5711488"/>
                  <a:pt x="6574207" y="5713617"/>
                  <a:pt x="6570612" y="5715082"/>
                </a:cubicBezTo>
                <a:cubicBezTo>
                  <a:pt x="6567019" y="5716546"/>
                  <a:pt x="6563158" y="5717344"/>
                  <a:pt x="6558899" y="5717344"/>
                </a:cubicBezTo>
                <a:cubicBezTo>
                  <a:pt x="6549979" y="5717344"/>
                  <a:pt x="6542658" y="5714416"/>
                  <a:pt x="6537066" y="5708825"/>
                </a:cubicBezTo>
                <a:cubicBezTo>
                  <a:pt x="6531476" y="5703234"/>
                  <a:pt x="6528680" y="5696178"/>
                  <a:pt x="6528680" y="5687659"/>
                </a:cubicBezTo>
                <a:cubicBezTo>
                  <a:pt x="6528680" y="5679406"/>
                  <a:pt x="6531476" y="5672351"/>
                  <a:pt x="6537066" y="5666626"/>
                </a:cubicBezTo>
                <a:cubicBezTo>
                  <a:pt x="6542658" y="5660902"/>
                  <a:pt x="6549846" y="5658107"/>
                  <a:pt x="6558899" y="5658107"/>
                </a:cubicBezTo>
                <a:close/>
                <a:moveTo>
                  <a:pt x="6341253" y="5658107"/>
                </a:moveTo>
                <a:cubicBezTo>
                  <a:pt x="6345513" y="5658107"/>
                  <a:pt x="6349373" y="5658906"/>
                  <a:pt x="6352968" y="5660636"/>
                </a:cubicBezTo>
                <a:cubicBezTo>
                  <a:pt x="6356695" y="5662234"/>
                  <a:pt x="6359757" y="5664363"/>
                  <a:pt x="6362286" y="5667026"/>
                </a:cubicBezTo>
                <a:cubicBezTo>
                  <a:pt x="6364815" y="5669555"/>
                  <a:pt x="6366945" y="5672750"/>
                  <a:pt x="6368409" y="5676344"/>
                </a:cubicBezTo>
                <a:cubicBezTo>
                  <a:pt x="6369874" y="5679938"/>
                  <a:pt x="6370672" y="5683798"/>
                  <a:pt x="6370672" y="5687792"/>
                </a:cubicBezTo>
                <a:cubicBezTo>
                  <a:pt x="6370672" y="5691919"/>
                  <a:pt x="6369874" y="5695912"/>
                  <a:pt x="6368409" y="5699507"/>
                </a:cubicBezTo>
                <a:cubicBezTo>
                  <a:pt x="6366811" y="5703101"/>
                  <a:pt x="6364815" y="5706163"/>
                  <a:pt x="6362286" y="5708825"/>
                </a:cubicBezTo>
                <a:cubicBezTo>
                  <a:pt x="6359623" y="5711488"/>
                  <a:pt x="6356562" y="5713617"/>
                  <a:pt x="6352968" y="5715082"/>
                </a:cubicBezTo>
                <a:cubicBezTo>
                  <a:pt x="6349373" y="5716546"/>
                  <a:pt x="6345513" y="5717344"/>
                  <a:pt x="6341253" y="5717344"/>
                </a:cubicBezTo>
                <a:cubicBezTo>
                  <a:pt x="6332335" y="5717344"/>
                  <a:pt x="6325013" y="5714416"/>
                  <a:pt x="6319421" y="5708825"/>
                </a:cubicBezTo>
                <a:cubicBezTo>
                  <a:pt x="6313830" y="5703234"/>
                  <a:pt x="6311035" y="5696178"/>
                  <a:pt x="6311035" y="5687659"/>
                </a:cubicBezTo>
                <a:cubicBezTo>
                  <a:pt x="6311035" y="5679406"/>
                  <a:pt x="6313830" y="5672351"/>
                  <a:pt x="6319421" y="5666626"/>
                </a:cubicBezTo>
                <a:cubicBezTo>
                  <a:pt x="6325013" y="5660902"/>
                  <a:pt x="6332201" y="5658107"/>
                  <a:pt x="6341253" y="5658107"/>
                </a:cubicBezTo>
                <a:close/>
                <a:moveTo>
                  <a:pt x="6123608" y="5658107"/>
                </a:moveTo>
                <a:cubicBezTo>
                  <a:pt x="6127867" y="5658107"/>
                  <a:pt x="6131728" y="5658906"/>
                  <a:pt x="6135322" y="5660636"/>
                </a:cubicBezTo>
                <a:cubicBezTo>
                  <a:pt x="6139049" y="5662234"/>
                  <a:pt x="6142111" y="5664363"/>
                  <a:pt x="6144640" y="5667026"/>
                </a:cubicBezTo>
                <a:cubicBezTo>
                  <a:pt x="6147169" y="5669555"/>
                  <a:pt x="6149299" y="5672750"/>
                  <a:pt x="6150763" y="5676344"/>
                </a:cubicBezTo>
                <a:cubicBezTo>
                  <a:pt x="6152228" y="5679938"/>
                  <a:pt x="6153026" y="5683798"/>
                  <a:pt x="6153026" y="5687792"/>
                </a:cubicBezTo>
                <a:cubicBezTo>
                  <a:pt x="6153026" y="5691919"/>
                  <a:pt x="6152228" y="5695912"/>
                  <a:pt x="6150763" y="5699507"/>
                </a:cubicBezTo>
                <a:cubicBezTo>
                  <a:pt x="6149299" y="5703101"/>
                  <a:pt x="6147169" y="5706163"/>
                  <a:pt x="6144640" y="5708825"/>
                </a:cubicBezTo>
                <a:cubicBezTo>
                  <a:pt x="6141977" y="5711488"/>
                  <a:pt x="6138916" y="5713617"/>
                  <a:pt x="6135322" y="5715082"/>
                </a:cubicBezTo>
                <a:cubicBezTo>
                  <a:pt x="6131728" y="5716546"/>
                  <a:pt x="6127867" y="5717344"/>
                  <a:pt x="6123608" y="5717344"/>
                </a:cubicBezTo>
                <a:cubicBezTo>
                  <a:pt x="6114689" y="5717344"/>
                  <a:pt x="6107367" y="5714416"/>
                  <a:pt x="6101775" y="5708825"/>
                </a:cubicBezTo>
                <a:cubicBezTo>
                  <a:pt x="6096184" y="5703234"/>
                  <a:pt x="6093389" y="5696178"/>
                  <a:pt x="6093389" y="5687659"/>
                </a:cubicBezTo>
                <a:cubicBezTo>
                  <a:pt x="6093389" y="5679406"/>
                  <a:pt x="6096184" y="5672351"/>
                  <a:pt x="6101775" y="5666626"/>
                </a:cubicBezTo>
                <a:cubicBezTo>
                  <a:pt x="6107367" y="5660902"/>
                  <a:pt x="6114555" y="5658107"/>
                  <a:pt x="6123608" y="5658107"/>
                </a:cubicBezTo>
                <a:close/>
                <a:moveTo>
                  <a:pt x="5905963" y="5658107"/>
                </a:moveTo>
                <a:cubicBezTo>
                  <a:pt x="5910222" y="5658107"/>
                  <a:pt x="5914216" y="5658906"/>
                  <a:pt x="5917677" y="5660636"/>
                </a:cubicBezTo>
                <a:cubicBezTo>
                  <a:pt x="5921404" y="5662234"/>
                  <a:pt x="5924466" y="5664363"/>
                  <a:pt x="5926995" y="5667026"/>
                </a:cubicBezTo>
                <a:cubicBezTo>
                  <a:pt x="5929524" y="5669555"/>
                  <a:pt x="5931654" y="5672750"/>
                  <a:pt x="5933118" y="5676344"/>
                </a:cubicBezTo>
                <a:cubicBezTo>
                  <a:pt x="5934583" y="5679938"/>
                  <a:pt x="5935381" y="5683798"/>
                  <a:pt x="5935381" y="5687792"/>
                </a:cubicBezTo>
                <a:cubicBezTo>
                  <a:pt x="5935381" y="5691919"/>
                  <a:pt x="5934583" y="5695912"/>
                  <a:pt x="5933118" y="5699507"/>
                </a:cubicBezTo>
                <a:cubicBezTo>
                  <a:pt x="5931654" y="5703101"/>
                  <a:pt x="5929524" y="5706163"/>
                  <a:pt x="5926995" y="5708825"/>
                </a:cubicBezTo>
                <a:cubicBezTo>
                  <a:pt x="5924333" y="5711488"/>
                  <a:pt x="5921271" y="5713617"/>
                  <a:pt x="5917677" y="5715082"/>
                </a:cubicBezTo>
                <a:cubicBezTo>
                  <a:pt x="5914083" y="5716546"/>
                  <a:pt x="5910222" y="5717344"/>
                  <a:pt x="5905963" y="5717344"/>
                </a:cubicBezTo>
                <a:cubicBezTo>
                  <a:pt x="5897044" y="5717344"/>
                  <a:pt x="5889722" y="5714416"/>
                  <a:pt x="5884130" y="5708825"/>
                </a:cubicBezTo>
                <a:cubicBezTo>
                  <a:pt x="5878540" y="5703234"/>
                  <a:pt x="5875744" y="5696178"/>
                  <a:pt x="5875744" y="5687659"/>
                </a:cubicBezTo>
                <a:cubicBezTo>
                  <a:pt x="5875744" y="5679406"/>
                  <a:pt x="5878540" y="5672351"/>
                  <a:pt x="5884130" y="5666626"/>
                </a:cubicBezTo>
                <a:cubicBezTo>
                  <a:pt x="5889722" y="5660902"/>
                  <a:pt x="5896910" y="5658107"/>
                  <a:pt x="5905963" y="5658107"/>
                </a:cubicBezTo>
                <a:close/>
                <a:moveTo>
                  <a:pt x="5688451" y="5658107"/>
                </a:moveTo>
                <a:cubicBezTo>
                  <a:pt x="5692577" y="5658107"/>
                  <a:pt x="5696571" y="5658906"/>
                  <a:pt x="5700165" y="5660636"/>
                </a:cubicBezTo>
                <a:cubicBezTo>
                  <a:pt x="5703892" y="5662234"/>
                  <a:pt x="5706954" y="5664363"/>
                  <a:pt x="5709483" y="5667026"/>
                </a:cubicBezTo>
                <a:cubicBezTo>
                  <a:pt x="5712012" y="5669555"/>
                  <a:pt x="5714142" y="5672750"/>
                  <a:pt x="5715606" y="5676344"/>
                </a:cubicBezTo>
                <a:cubicBezTo>
                  <a:pt x="5717071" y="5679938"/>
                  <a:pt x="5717869" y="5683798"/>
                  <a:pt x="5717869" y="5687792"/>
                </a:cubicBezTo>
                <a:cubicBezTo>
                  <a:pt x="5717869" y="5691919"/>
                  <a:pt x="5717071" y="5695912"/>
                  <a:pt x="5715606" y="5699507"/>
                </a:cubicBezTo>
                <a:cubicBezTo>
                  <a:pt x="5714142" y="5703101"/>
                  <a:pt x="5712012" y="5706163"/>
                  <a:pt x="5709483" y="5708825"/>
                </a:cubicBezTo>
                <a:cubicBezTo>
                  <a:pt x="5706820" y="5711488"/>
                  <a:pt x="5703759" y="5713617"/>
                  <a:pt x="5700165" y="5715082"/>
                </a:cubicBezTo>
                <a:cubicBezTo>
                  <a:pt x="5696571" y="5716546"/>
                  <a:pt x="5692710" y="5717344"/>
                  <a:pt x="5688451" y="5717344"/>
                </a:cubicBezTo>
                <a:cubicBezTo>
                  <a:pt x="5679532" y="5717344"/>
                  <a:pt x="5672210" y="5714416"/>
                  <a:pt x="5666618" y="5708825"/>
                </a:cubicBezTo>
                <a:cubicBezTo>
                  <a:pt x="5661028" y="5703234"/>
                  <a:pt x="5658232" y="5696178"/>
                  <a:pt x="5658232" y="5687659"/>
                </a:cubicBezTo>
                <a:cubicBezTo>
                  <a:pt x="5658232" y="5679406"/>
                  <a:pt x="5661028" y="5672351"/>
                  <a:pt x="5666618" y="5666626"/>
                </a:cubicBezTo>
                <a:cubicBezTo>
                  <a:pt x="5672210" y="5660902"/>
                  <a:pt x="5679398" y="5658107"/>
                  <a:pt x="5688451" y="5658107"/>
                </a:cubicBezTo>
                <a:close/>
                <a:moveTo>
                  <a:pt x="5470806" y="5658107"/>
                </a:moveTo>
                <a:cubicBezTo>
                  <a:pt x="5475065" y="5658107"/>
                  <a:pt x="5478926" y="5658906"/>
                  <a:pt x="5482520" y="5660636"/>
                </a:cubicBezTo>
                <a:cubicBezTo>
                  <a:pt x="5486247" y="5662234"/>
                  <a:pt x="5489309" y="5664363"/>
                  <a:pt x="5491838" y="5667026"/>
                </a:cubicBezTo>
                <a:cubicBezTo>
                  <a:pt x="5494367" y="5669555"/>
                  <a:pt x="5496497" y="5672750"/>
                  <a:pt x="5497961" y="5676344"/>
                </a:cubicBezTo>
                <a:cubicBezTo>
                  <a:pt x="5499426" y="5679938"/>
                  <a:pt x="5500224" y="5683798"/>
                  <a:pt x="5500224" y="5687792"/>
                </a:cubicBezTo>
                <a:cubicBezTo>
                  <a:pt x="5500224" y="5691919"/>
                  <a:pt x="5499426" y="5695912"/>
                  <a:pt x="5497961" y="5699507"/>
                </a:cubicBezTo>
                <a:cubicBezTo>
                  <a:pt x="5496497" y="5703101"/>
                  <a:pt x="5494367" y="5706163"/>
                  <a:pt x="5491838" y="5708825"/>
                </a:cubicBezTo>
                <a:cubicBezTo>
                  <a:pt x="5489176" y="5711488"/>
                  <a:pt x="5486114" y="5713617"/>
                  <a:pt x="5482520" y="5715082"/>
                </a:cubicBezTo>
                <a:cubicBezTo>
                  <a:pt x="5478926" y="5716546"/>
                  <a:pt x="5475065" y="5717344"/>
                  <a:pt x="5470806" y="5717344"/>
                </a:cubicBezTo>
                <a:cubicBezTo>
                  <a:pt x="5461887" y="5717344"/>
                  <a:pt x="5454565" y="5714416"/>
                  <a:pt x="5448973" y="5708825"/>
                </a:cubicBezTo>
                <a:cubicBezTo>
                  <a:pt x="5443383" y="5703234"/>
                  <a:pt x="5440587" y="5696178"/>
                  <a:pt x="5440587" y="5687659"/>
                </a:cubicBezTo>
                <a:cubicBezTo>
                  <a:pt x="5440587" y="5679406"/>
                  <a:pt x="5443383" y="5672351"/>
                  <a:pt x="5448973" y="5666626"/>
                </a:cubicBezTo>
                <a:cubicBezTo>
                  <a:pt x="5454565" y="5660902"/>
                  <a:pt x="5461754" y="5658107"/>
                  <a:pt x="5470806" y="5658107"/>
                </a:cubicBezTo>
                <a:close/>
                <a:moveTo>
                  <a:pt x="5253160" y="5658107"/>
                </a:moveTo>
                <a:cubicBezTo>
                  <a:pt x="5257420" y="5658107"/>
                  <a:pt x="5261280" y="5658906"/>
                  <a:pt x="5264875" y="5660636"/>
                </a:cubicBezTo>
                <a:cubicBezTo>
                  <a:pt x="5268602" y="5662234"/>
                  <a:pt x="5271664" y="5664363"/>
                  <a:pt x="5274192" y="5667026"/>
                </a:cubicBezTo>
                <a:cubicBezTo>
                  <a:pt x="5276722" y="5669555"/>
                  <a:pt x="5278852" y="5672750"/>
                  <a:pt x="5280316" y="5676344"/>
                </a:cubicBezTo>
                <a:cubicBezTo>
                  <a:pt x="5281780" y="5679938"/>
                  <a:pt x="5282579" y="5683798"/>
                  <a:pt x="5282579" y="5687792"/>
                </a:cubicBezTo>
                <a:cubicBezTo>
                  <a:pt x="5282579" y="5691919"/>
                  <a:pt x="5281780" y="5695912"/>
                  <a:pt x="5280316" y="5699507"/>
                </a:cubicBezTo>
                <a:cubicBezTo>
                  <a:pt x="5278852" y="5703101"/>
                  <a:pt x="5276722" y="5706163"/>
                  <a:pt x="5274192" y="5708825"/>
                </a:cubicBezTo>
                <a:cubicBezTo>
                  <a:pt x="5271664" y="5711488"/>
                  <a:pt x="5268469" y="5713617"/>
                  <a:pt x="5264875" y="5715082"/>
                </a:cubicBezTo>
                <a:cubicBezTo>
                  <a:pt x="5261280" y="5716546"/>
                  <a:pt x="5257420" y="5717344"/>
                  <a:pt x="5253160" y="5717344"/>
                </a:cubicBezTo>
                <a:cubicBezTo>
                  <a:pt x="5244241" y="5717344"/>
                  <a:pt x="5236920" y="5714416"/>
                  <a:pt x="5231328" y="5708825"/>
                </a:cubicBezTo>
                <a:cubicBezTo>
                  <a:pt x="5225737" y="5703234"/>
                  <a:pt x="5222942" y="5696178"/>
                  <a:pt x="5222942" y="5687659"/>
                </a:cubicBezTo>
                <a:cubicBezTo>
                  <a:pt x="5222942" y="5679406"/>
                  <a:pt x="5225737" y="5672351"/>
                  <a:pt x="5231328" y="5666626"/>
                </a:cubicBezTo>
                <a:cubicBezTo>
                  <a:pt x="5236920" y="5660902"/>
                  <a:pt x="5244108" y="5658107"/>
                  <a:pt x="5253160" y="5658107"/>
                </a:cubicBezTo>
                <a:close/>
                <a:moveTo>
                  <a:pt x="5035515" y="5658107"/>
                </a:moveTo>
                <a:cubicBezTo>
                  <a:pt x="5039775" y="5658107"/>
                  <a:pt x="5043636" y="5658906"/>
                  <a:pt x="5047230" y="5660636"/>
                </a:cubicBezTo>
                <a:cubicBezTo>
                  <a:pt x="5050957" y="5662234"/>
                  <a:pt x="5054019" y="5664363"/>
                  <a:pt x="5056548" y="5667026"/>
                </a:cubicBezTo>
                <a:cubicBezTo>
                  <a:pt x="5059077" y="5669555"/>
                  <a:pt x="5061207" y="5672750"/>
                  <a:pt x="5062671" y="5676344"/>
                </a:cubicBezTo>
                <a:cubicBezTo>
                  <a:pt x="5064135" y="5679938"/>
                  <a:pt x="5064934" y="5683798"/>
                  <a:pt x="5064934" y="5687792"/>
                </a:cubicBezTo>
                <a:cubicBezTo>
                  <a:pt x="5064934" y="5691919"/>
                  <a:pt x="5064135" y="5695912"/>
                  <a:pt x="5062671" y="5699507"/>
                </a:cubicBezTo>
                <a:cubicBezTo>
                  <a:pt x="5061207" y="5703101"/>
                  <a:pt x="5059077" y="5706163"/>
                  <a:pt x="5056548" y="5708825"/>
                </a:cubicBezTo>
                <a:cubicBezTo>
                  <a:pt x="5053885" y="5711488"/>
                  <a:pt x="5050824" y="5713617"/>
                  <a:pt x="5047230" y="5715082"/>
                </a:cubicBezTo>
                <a:cubicBezTo>
                  <a:pt x="5043636" y="5716546"/>
                  <a:pt x="5039775" y="5717344"/>
                  <a:pt x="5035515" y="5717344"/>
                </a:cubicBezTo>
                <a:cubicBezTo>
                  <a:pt x="5026597" y="5717344"/>
                  <a:pt x="5019275" y="5714416"/>
                  <a:pt x="5013683" y="5708825"/>
                </a:cubicBezTo>
                <a:cubicBezTo>
                  <a:pt x="5008092" y="5703234"/>
                  <a:pt x="5005297" y="5696178"/>
                  <a:pt x="5005297" y="5687659"/>
                </a:cubicBezTo>
                <a:cubicBezTo>
                  <a:pt x="5005297" y="5679406"/>
                  <a:pt x="5008092" y="5672351"/>
                  <a:pt x="5013683" y="5666626"/>
                </a:cubicBezTo>
                <a:cubicBezTo>
                  <a:pt x="5019275" y="5660902"/>
                  <a:pt x="5026463" y="5658107"/>
                  <a:pt x="5035515" y="5658107"/>
                </a:cubicBezTo>
                <a:close/>
                <a:moveTo>
                  <a:pt x="4817870" y="5658107"/>
                </a:moveTo>
                <a:cubicBezTo>
                  <a:pt x="4822130" y="5658107"/>
                  <a:pt x="4826124" y="5658906"/>
                  <a:pt x="4829585" y="5660636"/>
                </a:cubicBezTo>
                <a:cubicBezTo>
                  <a:pt x="4833312" y="5662234"/>
                  <a:pt x="4836374" y="5664363"/>
                  <a:pt x="4838903" y="5667026"/>
                </a:cubicBezTo>
                <a:cubicBezTo>
                  <a:pt x="4841432" y="5669555"/>
                  <a:pt x="4843562" y="5672750"/>
                  <a:pt x="4845026" y="5676344"/>
                </a:cubicBezTo>
                <a:cubicBezTo>
                  <a:pt x="4846491" y="5679938"/>
                  <a:pt x="4847289" y="5683798"/>
                  <a:pt x="4847289" y="5687792"/>
                </a:cubicBezTo>
                <a:cubicBezTo>
                  <a:pt x="4847289" y="5691919"/>
                  <a:pt x="4846491" y="5695912"/>
                  <a:pt x="4845026" y="5699507"/>
                </a:cubicBezTo>
                <a:cubicBezTo>
                  <a:pt x="4843562" y="5703101"/>
                  <a:pt x="4841432" y="5706163"/>
                  <a:pt x="4838903" y="5708825"/>
                </a:cubicBezTo>
                <a:cubicBezTo>
                  <a:pt x="4836240" y="5711488"/>
                  <a:pt x="4833179" y="5713617"/>
                  <a:pt x="4829585" y="5715082"/>
                </a:cubicBezTo>
                <a:cubicBezTo>
                  <a:pt x="4825991" y="5716546"/>
                  <a:pt x="4822130" y="5717344"/>
                  <a:pt x="4817870" y="5717344"/>
                </a:cubicBezTo>
                <a:cubicBezTo>
                  <a:pt x="4808952" y="5717344"/>
                  <a:pt x="4801630" y="5714416"/>
                  <a:pt x="4796038" y="5708825"/>
                </a:cubicBezTo>
                <a:cubicBezTo>
                  <a:pt x="4790447" y="5703234"/>
                  <a:pt x="4787652" y="5696178"/>
                  <a:pt x="4787652" y="5687659"/>
                </a:cubicBezTo>
                <a:cubicBezTo>
                  <a:pt x="4787652" y="5679406"/>
                  <a:pt x="4790447" y="5672351"/>
                  <a:pt x="4796038" y="5666626"/>
                </a:cubicBezTo>
                <a:cubicBezTo>
                  <a:pt x="4801630" y="5660902"/>
                  <a:pt x="4808818" y="5658107"/>
                  <a:pt x="4817870" y="5658107"/>
                </a:cubicBezTo>
                <a:close/>
                <a:moveTo>
                  <a:pt x="4600226" y="5658107"/>
                </a:moveTo>
                <a:cubicBezTo>
                  <a:pt x="4604485" y="5658107"/>
                  <a:pt x="4608479" y="5658906"/>
                  <a:pt x="4612073" y="5660636"/>
                </a:cubicBezTo>
                <a:cubicBezTo>
                  <a:pt x="4615800" y="5662234"/>
                  <a:pt x="4618862" y="5664363"/>
                  <a:pt x="4621391" y="5667026"/>
                </a:cubicBezTo>
                <a:cubicBezTo>
                  <a:pt x="4623920" y="5669555"/>
                  <a:pt x="4626050" y="5672750"/>
                  <a:pt x="4627514" y="5676344"/>
                </a:cubicBezTo>
                <a:cubicBezTo>
                  <a:pt x="4628978" y="5679938"/>
                  <a:pt x="4629777" y="5683798"/>
                  <a:pt x="4629777" y="5687792"/>
                </a:cubicBezTo>
                <a:cubicBezTo>
                  <a:pt x="4629777" y="5691919"/>
                  <a:pt x="4628978" y="5695912"/>
                  <a:pt x="4627514" y="5699507"/>
                </a:cubicBezTo>
                <a:cubicBezTo>
                  <a:pt x="4626050" y="5703101"/>
                  <a:pt x="4623920" y="5706163"/>
                  <a:pt x="4621391" y="5708825"/>
                </a:cubicBezTo>
                <a:cubicBezTo>
                  <a:pt x="4618729" y="5711488"/>
                  <a:pt x="4615667" y="5713617"/>
                  <a:pt x="4612073" y="5715082"/>
                </a:cubicBezTo>
                <a:cubicBezTo>
                  <a:pt x="4608346" y="5716546"/>
                  <a:pt x="4604485" y="5717344"/>
                  <a:pt x="4600226" y="5717344"/>
                </a:cubicBezTo>
                <a:cubicBezTo>
                  <a:pt x="4591173" y="5717344"/>
                  <a:pt x="4583985" y="5714416"/>
                  <a:pt x="4578393" y="5708825"/>
                </a:cubicBezTo>
                <a:cubicBezTo>
                  <a:pt x="4572803" y="5703234"/>
                  <a:pt x="4570007" y="5696178"/>
                  <a:pt x="4570007" y="5687659"/>
                </a:cubicBezTo>
                <a:cubicBezTo>
                  <a:pt x="4570007" y="5679406"/>
                  <a:pt x="4572803" y="5672351"/>
                  <a:pt x="4578393" y="5666626"/>
                </a:cubicBezTo>
                <a:cubicBezTo>
                  <a:pt x="4583985" y="5660902"/>
                  <a:pt x="4591173" y="5658107"/>
                  <a:pt x="4600226" y="5658107"/>
                </a:cubicBezTo>
                <a:close/>
                <a:moveTo>
                  <a:pt x="4382713" y="5658107"/>
                </a:moveTo>
                <a:cubicBezTo>
                  <a:pt x="4386840" y="5658107"/>
                  <a:pt x="4390834" y="5658906"/>
                  <a:pt x="4394428" y="5660636"/>
                </a:cubicBezTo>
                <a:cubicBezTo>
                  <a:pt x="4398155" y="5662234"/>
                  <a:pt x="4401217" y="5664363"/>
                  <a:pt x="4403746" y="5667026"/>
                </a:cubicBezTo>
                <a:cubicBezTo>
                  <a:pt x="4406275" y="5669555"/>
                  <a:pt x="4408405" y="5672750"/>
                  <a:pt x="4409869" y="5676344"/>
                </a:cubicBezTo>
                <a:cubicBezTo>
                  <a:pt x="4411334" y="5679938"/>
                  <a:pt x="4412132" y="5683798"/>
                  <a:pt x="4412132" y="5687792"/>
                </a:cubicBezTo>
                <a:cubicBezTo>
                  <a:pt x="4412132" y="5691919"/>
                  <a:pt x="4411334" y="5695912"/>
                  <a:pt x="4409869" y="5699507"/>
                </a:cubicBezTo>
                <a:cubicBezTo>
                  <a:pt x="4408405" y="5703101"/>
                  <a:pt x="4406275" y="5706163"/>
                  <a:pt x="4403746" y="5708825"/>
                </a:cubicBezTo>
                <a:cubicBezTo>
                  <a:pt x="4401083" y="5711488"/>
                  <a:pt x="4398022" y="5713617"/>
                  <a:pt x="4394428" y="5715082"/>
                </a:cubicBezTo>
                <a:cubicBezTo>
                  <a:pt x="4390834" y="5716546"/>
                  <a:pt x="4386973" y="5717344"/>
                  <a:pt x="4382713" y="5717344"/>
                </a:cubicBezTo>
                <a:cubicBezTo>
                  <a:pt x="4373661" y="5717344"/>
                  <a:pt x="4366473" y="5714416"/>
                  <a:pt x="4360881" y="5708825"/>
                </a:cubicBezTo>
                <a:cubicBezTo>
                  <a:pt x="4355290" y="5703234"/>
                  <a:pt x="4352495" y="5696178"/>
                  <a:pt x="4352495" y="5687659"/>
                </a:cubicBezTo>
                <a:cubicBezTo>
                  <a:pt x="4352495" y="5679406"/>
                  <a:pt x="4355290" y="5672351"/>
                  <a:pt x="4360881" y="5666626"/>
                </a:cubicBezTo>
                <a:cubicBezTo>
                  <a:pt x="4366473" y="5660902"/>
                  <a:pt x="4373661" y="5658107"/>
                  <a:pt x="4382713" y="5658107"/>
                </a:cubicBezTo>
                <a:close/>
                <a:moveTo>
                  <a:pt x="4165068" y="5658107"/>
                </a:moveTo>
                <a:cubicBezTo>
                  <a:pt x="4169327" y="5658107"/>
                  <a:pt x="4173188" y="5658906"/>
                  <a:pt x="4176782" y="5660636"/>
                </a:cubicBezTo>
                <a:cubicBezTo>
                  <a:pt x="4180509" y="5662234"/>
                  <a:pt x="4183571" y="5664363"/>
                  <a:pt x="4186100" y="5667026"/>
                </a:cubicBezTo>
                <a:cubicBezTo>
                  <a:pt x="4188629" y="5669555"/>
                  <a:pt x="4190759" y="5672750"/>
                  <a:pt x="4192223" y="5676344"/>
                </a:cubicBezTo>
                <a:cubicBezTo>
                  <a:pt x="4193688" y="5679938"/>
                  <a:pt x="4194486" y="5683798"/>
                  <a:pt x="4194486" y="5687792"/>
                </a:cubicBezTo>
                <a:cubicBezTo>
                  <a:pt x="4194486" y="5691919"/>
                  <a:pt x="4193688" y="5695912"/>
                  <a:pt x="4192223" y="5699507"/>
                </a:cubicBezTo>
                <a:cubicBezTo>
                  <a:pt x="4190759" y="5703101"/>
                  <a:pt x="4188629" y="5706163"/>
                  <a:pt x="4186100" y="5708825"/>
                </a:cubicBezTo>
                <a:cubicBezTo>
                  <a:pt x="4183438" y="5711488"/>
                  <a:pt x="4180376" y="5713617"/>
                  <a:pt x="4176782" y="5715082"/>
                </a:cubicBezTo>
                <a:cubicBezTo>
                  <a:pt x="4173188" y="5716546"/>
                  <a:pt x="4169327" y="5717344"/>
                  <a:pt x="4165068" y="5717344"/>
                </a:cubicBezTo>
                <a:cubicBezTo>
                  <a:pt x="4156015" y="5717344"/>
                  <a:pt x="4148827" y="5714416"/>
                  <a:pt x="4143235" y="5708825"/>
                </a:cubicBezTo>
                <a:cubicBezTo>
                  <a:pt x="4137645" y="5703234"/>
                  <a:pt x="4134849" y="5696178"/>
                  <a:pt x="4134849" y="5687659"/>
                </a:cubicBezTo>
                <a:cubicBezTo>
                  <a:pt x="4134849" y="5679406"/>
                  <a:pt x="4137645" y="5672351"/>
                  <a:pt x="4143235" y="5666626"/>
                </a:cubicBezTo>
                <a:cubicBezTo>
                  <a:pt x="4148827" y="5660902"/>
                  <a:pt x="4156015" y="5658107"/>
                  <a:pt x="4165068" y="5658107"/>
                </a:cubicBezTo>
                <a:close/>
                <a:moveTo>
                  <a:pt x="3947733" y="5658107"/>
                </a:moveTo>
                <a:cubicBezTo>
                  <a:pt x="3951994" y="5658107"/>
                  <a:pt x="3955855" y="5658906"/>
                  <a:pt x="3959451" y="5660636"/>
                </a:cubicBezTo>
                <a:cubicBezTo>
                  <a:pt x="3963179" y="5662234"/>
                  <a:pt x="3966240" y="5664363"/>
                  <a:pt x="3968769" y="5667026"/>
                </a:cubicBezTo>
                <a:cubicBezTo>
                  <a:pt x="3971299" y="5669555"/>
                  <a:pt x="3973429" y="5672750"/>
                  <a:pt x="3974893" y="5676344"/>
                </a:cubicBezTo>
                <a:cubicBezTo>
                  <a:pt x="3976357" y="5679938"/>
                  <a:pt x="3977156" y="5683798"/>
                  <a:pt x="3977156" y="5687792"/>
                </a:cubicBezTo>
                <a:cubicBezTo>
                  <a:pt x="3977156" y="5691919"/>
                  <a:pt x="3976357" y="5695912"/>
                  <a:pt x="3974893" y="5699507"/>
                </a:cubicBezTo>
                <a:cubicBezTo>
                  <a:pt x="3973429" y="5703101"/>
                  <a:pt x="3971299" y="5706163"/>
                  <a:pt x="3968769" y="5708825"/>
                </a:cubicBezTo>
                <a:cubicBezTo>
                  <a:pt x="3966107" y="5711488"/>
                  <a:pt x="3963046" y="5713617"/>
                  <a:pt x="3959451" y="5715082"/>
                </a:cubicBezTo>
                <a:cubicBezTo>
                  <a:pt x="3955855" y="5716546"/>
                  <a:pt x="3951994" y="5717344"/>
                  <a:pt x="3947733" y="5717344"/>
                </a:cubicBezTo>
                <a:cubicBezTo>
                  <a:pt x="3938680" y="5717344"/>
                  <a:pt x="3931492" y="5714416"/>
                  <a:pt x="3925900" y="5708825"/>
                </a:cubicBezTo>
                <a:cubicBezTo>
                  <a:pt x="3920309" y="5703234"/>
                  <a:pt x="3917513" y="5696178"/>
                  <a:pt x="3917513" y="5687659"/>
                </a:cubicBezTo>
                <a:cubicBezTo>
                  <a:pt x="3917513" y="5679406"/>
                  <a:pt x="3920309" y="5672351"/>
                  <a:pt x="3925900" y="5666626"/>
                </a:cubicBezTo>
                <a:cubicBezTo>
                  <a:pt x="3931492" y="5660902"/>
                  <a:pt x="3938680" y="5658107"/>
                  <a:pt x="3947733" y="5658107"/>
                </a:cubicBezTo>
                <a:close/>
                <a:moveTo>
                  <a:pt x="3730074" y="5658107"/>
                </a:moveTo>
                <a:cubicBezTo>
                  <a:pt x="3734335" y="5658107"/>
                  <a:pt x="3738327" y="5658906"/>
                  <a:pt x="3741789" y="5660636"/>
                </a:cubicBezTo>
                <a:cubicBezTo>
                  <a:pt x="3745383" y="5662234"/>
                  <a:pt x="3748579" y="5664363"/>
                  <a:pt x="3751108" y="5667026"/>
                </a:cubicBezTo>
                <a:cubicBezTo>
                  <a:pt x="3753637" y="5669555"/>
                  <a:pt x="3755766" y="5672750"/>
                  <a:pt x="3757230" y="5676344"/>
                </a:cubicBezTo>
                <a:cubicBezTo>
                  <a:pt x="3758694" y="5679938"/>
                  <a:pt x="3759493" y="5683798"/>
                  <a:pt x="3759493" y="5687792"/>
                </a:cubicBezTo>
                <a:cubicBezTo>
                  <a:pt x="3759493" y="5691919"/>
                  <a:pt x="3758694" y="5695912"/>
                  <a:pt x="3757230" y="5699507"/>
                </a:cubicBezTo>
                <a:cubicBezTo>
                  <a:pt x="3755766" y="5703101"/>
                  <a:pt x="3753637" y="5706163"/>
                  <a:pt x="3751108" y="5708825"/>
                </a:cubicBezTo>
                <a:cubicBezTo>
                  <a:pt x="3748445" y="5711488"/>
                  <a:pt x="3745383" y="5713617"/>
                  <a:pt x="3741789" y="5715082"/>
                </a:cubicBezTo>
                <a:cubicBezTo>
                  <a:pt x="3738196" y="5716546"/>
                  <a:pt x="3734335" y="5717344"/>
                  <a:pt x="3730074" y="5717344"/>
                </a:cubicBezTo>
                <a:cubicBezTo>
                  <a:pt x="3721022" y="5717344"/>
                  <a:pt x="3713832" y="5714416"/>
                  <a:pt x="3708233" y="5708825"/>
                </a:cubicBezTo>
                <a:cubicBezTo>
                  <a:pt x="3702641" y="5703234"/>
                  <a:pt x="3699847" y="5696178"/>
                  <a:pt x="3699847" y="5687659"/>
                </a:cubicBezTo>
                <a:cubicBezTo>
                  <a:pt x="3699847" y="5679406"/>
                  <a:pt x="3702641" y="5672351"/>
                  <a:pt x="3708233" y="5666626"/>
                </a:cubicBezTo>
                <a:cubicBezTo>
                  <a:pt x="3713832" y="5660902"/>
                  <a:pt x="3721022" y="5658107"/>
                  <a:pt x="3730074" y="5658107"/>
                </a:cubicBezTo>
                <a:close/>
                <a:moveTo>
                  <a:pt x="3512412" y="5658107"/>
                </a:moveTo>
                <a:cubicBezTo>
                  <a:pt x="3516673" y="5658107"/>
                  <a:pt x="3520666" y="5658906"/>
                  <a:pt x="3524128" y="5660636"/>
                </a:cubicBezTo>
                <a:cubicBezTo>
                  <a:pt x="3527722" y="5662234"/>
                  <a:pt x="3530917" y="5664363"/>
                  <a:pt x="3533446" y="5667026"/>
                </a:cubicBezTo>
                <a:cubicBezTo>
                  <a:pt x="3535975" y="5669555"/>
                  <a:pt x="3538105" y="5672750"/>
                  <a:pt x="3539569" y="5676344"/>
                </a:cubicBezTo>
                <a:cubicBezTo>
                  <a:pt x="3541033" y="5679938"/>
                  <a:pt x="3541832" y="5683798"/>
                  <a:pt x="3541832" y="5687792"/>
                </a:cubicBezTo>
                <a:cubicBezTo>
                  <a:pt x="3541832" y="5691919"/>
                  <a:pt x="3541033" y="5695912"/>
                  <a:pt x="3539569" y="5699507"/>
                </a:cubicBezTo>
                <a:cubicBezTo>
                  <a:pt x="3538105" y="5703101"/>
                  <a:pt x="3535975" y="5706163"/>
                  <a:pt x="3533446" y="5708825"/>
                </a:cubicBezTo>
                <a:cubicBezTo>
                  <a:pt x="3530783" y="5711488"/>
                  <a:pt x="3527722" y="5713617"/>
                  <a:pt x="3524128" y="5715082"/>
                </a:cubicBezTo>
                <a:cubicBezTo>
                  <a:pt x="3520534" y="5716546"/>
                  <a:pt x="3516673" y="5717344"/>
                  <a:pt x="3512412" y="5717344"/>
                </a:cubicBezTo>
                <a:cubicBezTo>
                  <a:pt x="3503356" y="5717344"/>
                  <a:pt x="3496166" y="5714416"/>
                  <a:pt x="3490575" y="5708825"/>
                </a:cubicBezTo>
                <a:cubicBezTo>
                  <a:pt x="3484984" y="5703234"/>
                  <a:pt x="3482189" y="5696178"/>
                  <a:pt x="3482189" y="5687659"/>
                </a:cubicBezTo>
                <a:cubicBezTo>
                  <a:pt x="3482189" y="5679406"/>
                  <a:pt x="3484984" y="5672351"/>
                  <a:pt x="3490575" y="5666626"/>
                </a:cubicBezTo>
                <a:cubicBezTo>
                  <a:pt x="3496166" y="5660902"/>
                  <a:pt x="3503356" y="5658107"/>
                  <a:pt x="3512412" y="5658107"/>
                </a:cubicBezTo>
                <a:close/>
                <a:moveTo>
                  <a:pt x="3294884" y="5658107"/>
                </a:moveTo>
                <a:cubicBezTo>
                  <a:pt x="3299011" y="5658107"/>
                  <a:pt x="3303006" y="5658906"/>
                  <a:pt x="3306600" y="5660636"/>
                </a:cubicBezTo>
                <a:cubicBezTo>
                  <a:pt x="3310327" y="5662234"/>
                  <a:pt x="3313389" y="5664363"/>
                  <a:pt x="3315918" y="5667026"/>
                </a:cubicBezTo>
                <a:cubicBezTo>
                  <a:pt x="3318447" y="5669555"/>
                  <a:pt x="3320577" y="5672750"/>
                  <a:pt x="3322041" y="5676344"/>
                </a:cubicBezTo>
                <a:cubicBezTo>
                  <a:pt x="3323505" y="5679938"/>
                  <a:pt x="3324304" y="5683798"/>
                  <a:pt x="3324304" y="5687792"/>
                </a:cubicBezTo>
                <a:cubicBezTo>
                  <a:pt x="3324304" y="5691919"/>
                  <a:pt x="3323505" y="5695912"/>
                  <a:pt x="3322041" y="5699507"/>
                </a:cubicBezTo>
                <a:cubicBezTo>
                  <a:pt x="3320577" y="5703101"/>
                  <a:pt x="3318447" y="5706163"/>
                  <a:pt x="3315918" y="5708825"/>
                </a:cubicBezTo>
                <a:cubicBezTo>
                  <a:pt x="3313255" y="5711488"/>
                  <a:pt x="3310194" y="5713617"/>
                  <a:pt x="3306600" y="5715082"/>
                </a:cubicBezTo>
                <a:cubicBezTo>
                  <a:pt x="3303006" y="5716546"/>
                  <a:pt x="3299145" y="5717344"/>
                  <a:pt x="3294884" y="5717344"/>
                </a:cubicBezTo>
                <a:cubicBezTo>
                  <a:pt x="3285829" y="5717344"/>
                  <a:pt x="3278640" y="5714416"/>
                  <a:pt x="3273046" y="5708825"/>
                </a:cubicBezTo>
                <a:cubicBezTo>
                  <a:pt x="3267453" y="5703234"/>
                  <a:pt x="3264658" y="5696178"/>
                  <a:pt x="3264658" y="5687659"/>
                </a:cubicBezTo>
                <a:cubicBezTo>
                  <a:pt x="3264658" y="5679406"/>
                  <a:pt x="3267453" y="5672351"/>
                  <a:pt x="3273046" y="5666626"/>
                </a:cubicBezTo>
                <a:cubicBezTo>
                  <a:pt x="3278640" y="5660902"/>
                  <a:pt x="3285829" y="5658107"/>
                  <a:pt x="3294884" y="5658107"/>
                </a:cubicBezTo>
                <a:close/>
                <a:moveTo>
                  <a:pt x="3077223" y="5658107"/>
                </a:moveTo>
                <a:cubicBezTo>
                  <a:pt x="3081351" y="5658107"/>
                  <a:pt x="3085344" y="5658906"/>
                  <a:pt x="3088938" y="5660636"/>
                </a:cubicBezTo>
                <a:cubicBezTo>
                  <a:pt x="3092533" y="5662234"/>
                  <a:pt x="3095728" y="5664363"/>
                  <a:pt x="3098256" y="5667026"/>
                </a:cubicBezTo>
                <a:cubicBezTo>
                  <a:pt x="3100785" y="5669555"/>
                  <a:pt x="3102916" y="5672750"/>
                  <a:pt x="3104380" y="5676344"/>
                </a:cubicBezTo>
                <a:cubicBezTo>
                  <a:pt x="3105845" y="5679938"/>
                  <a:pt x="3106643" y="5683798"/>
                  <a:pt x="3106643" y="5687792"/>
                </a:cubicBezTo>
                <a:cubicBezTo>
                  <a:pt x="3106643" y="5691919"/>
                  <a:pt x="3105845" y="5695912"/>
                  <a:pt x="3104380" y="5699507"/>
                </a:cubicBezTo>
                <a:cubicBezTo>
                  <a:pt x="3102916" y="5703101"/>
                  <a:pt x="3100785" y="5706163"/>
                  <a:pt x="3098256" y="5708825"/>
                </a:cubicBezTo>
                <a:cubicBezTo>
                  <a:pt x="3095594" y="5711488"/>
                  <a:pt x="3092533" y="5713617"/>
                  <a:pt x="3088938" y="5715082"/>
                </a:cubicBezTo>
                <a:cubicBezTo>
                  <a:pt x="3085344" y="5716546"/>
                  <a:pt x="3081483" y="5717344"/>
                  <a:pt x="3077223" y="5717344"/>
                </a:cubicBezTo>
                <a:cubicBezTo>
                  <a:pt x="3068302" y="5717344"/>
                  <a:pt x="3060979" y="5714416"/>
                  <a:pt x="3055385" y="5708825"/>
                </a:cubicBezTo>
                <a:cubicBezTo>
                  <a:pt x="3049794" y="5703234"/>
                  <a:pt x="3046998" y="5696178"/>
                  <a:pt x="3046998" y="5687659"/>
                </a:cubicBezTo>
                <a:cubicBezTo>
                  <a:pt x="3046998" y="5679406"/>
                  <a:pt x="3049794" y="5672351"/>
                  <a:pt x="3055385" y="5666626"/>
                </a:cubicBezTo>
                <a:cubicBezTo>
                  <a:pt x="3060979" y="5660902"/>
                  <a:pt x="3068170" y="5658107"/>
                  <a:pt x="3077223" y="5658107"/>
                </a:cubicBezTo>
                <a:close/>
                <a:moveTo>
                  <a:pt x="2859562" y="5658107"/>
                </a:moveTo>
                <a:cubicBezTo>
                  <a:pt x="2863822" y="5658107"/>
                  <a:pt x="2867683" y="5658906"/>
                  <a:pt x="2871410" y="5660636"/>
                </a:cubicBezTo>
                <a:cubicBezTo>
                  <a:pt x="2875137" y="5662234"/>
                  <a:pt x="2878199" y="5664363"/>
                  <a:pt x="2880728" y="5667026"/>
                </a:cubicBezTo>
                <a:cubicBezTo>
                  <a:pt x="2883390" y="5669555"/>
                  <a:pt x="2885387" y="5672750"/>
                  <a:pt x="2886851" y="5676344"/>
                </a:cubicBezTo>
                <a:cubicBezTo>
                  <a:pt x="2888316" y="5679938"/>
                  <a:pt x="2889114" y="5683798"/>
                  <a:pt x="2889114" y="5687792"/>
                </a:cubicBezTo>
                <a:cubicBezTo>
                  <a:pt x="2889114" y="5691919"/>
                  <a:pt x="2888316" y="5695912"/>
                  <a:pt x="2886851" y="5699507"/>
                </a:cubicBezTo>
                <a:cubicBezTo>
                  <a:pt x="2885387" y="5703101"/>
                  <a:pt x="2883257" y="5706163"/>
                  <a:pt x="2880728" y="5708825"/>
                </a:cubicBezTo>
                <a:cubicBezTo>
                  <a:pt x="2878066" y="5711488"/>
                  <a:pt x="2875004" y="5713617"/>
                  <a:pt x="2871410" y="5715082"/>
                </a:cubicBezTo>
                <a:cubicBezTo>
                  <a:pt x="2867683" y="5716546"/>
                  <a:pt x="2863822" y="5717344"/>
                  <a:pt x="2859562" y="5717344"/>
                </a:cubicBezTo>
                <a:cubicBezTo>
                  <a:pt x="2850644" y="5717344"/>
                  <a:pt x="2843316" y="5714416"/>
                  <a:pt x="2837724" y="5708825"/>
                </a:cubicBezTo>
                <a:cubicBezTo>
                  <a:pt x="2832133" y="5703234"/>
                  <a:pt x="2829336" y="5696178"/>
                  <a:pt x="2829336" y="5687659"/>
                </a:cubicBezTo>
                <a:cubicBezTo>
                  <a:pt x="2829336" y="5679406"/>
                  <a:pt x="2832133" y="5672351"/>
                  <a:pt x="2837724" y="5666626"/>
                </a:cubicBezTo>
                <a:cubicBezTo>
                  <a:pt x="2843316" y="5660902"/>
                  <a:pt x="2850510" y="5658107"/>
                  <a:pt x="2859562" y="5658107"/>
                </a:cubicBezTo>
                <a:close/>
                <a:moveTo>
                  <a:pt x="2641900" y="5658107"/>
                </a:moveTo>
                <a:cubicBezTo>
                  <a:pt x="2646161" y="5658107"/>
                  <a:pt x="2650020" y="5658906"/>
                  <a:pt x="2653616" y="5660636"/>
                </a:cubicBezTo>
                <a:cubicBezTo>
                  <a:pt x="2657343" y="5662234"/>
                  <a:pt x="2660405" y="5664363"/>
                  <a:pt x="2662934" y="5667026"/>
                </a:cubicBezTo>
                <a:cubicBezTo>
                  <a:pt x="2665596" y="5669555"/>
                  <a:pt x="2667593" y="5672750"/>
                  <a:pt x="2669057" y="5676344"/>
                </a:cubicBezTo>
                <a:cubicBezTo>
                  <a:pt x="2670521" y="5679938"/>
                  <a:pt x="2671320" y="5683798"/>
                  <a:pt x="2671320" y="5687792"/>
                </a:cubicBezTo>
                <a:cubicBezTo>
                  <a:pt x="2671320" y="5691919"/>
                  <a:pt x="2670521" y="5695912"/>
                  <a:pt x="2669057" y="5699507"/>
                </a:cubicBezTo>
                <a:cubicBezTo>
                  <a:pt x="2667593" y="5703101"/>
                  <a:pt x="2665463" y="5706163"/>
                  <a:pt x="2662934" y="5708825"/>
                </a:cubicBezTo>
                <a:cubicBezTo>
                  <a:pt x="2660405" y="5711488"/>
                  <a:pt x="2657209" y="5713617"/>
                  <a:pt x="2653616" y="5715082"/>
                </a:cubicBezTo>
                <a:cubicBezTo>
                  <a:pt x="2650020" y="5716546"/>
                  <a:pt x="2646161" y="5717344"/>
                  <a:pt x="2641900" y="5717344"/>
                </a:cubicBezTo>
                <a:cubicBezTo>
                  <a:pt x="2632981" y="5717344"/>
                  <a:pt x="2625659" y="5714416"/>
                  <a:pt x="2620068" y="5708825"/>
                </a:cubicBezTo>
                <a:cubicBezTo>
                  <a:pt x="2614475" y="5703234"/>
                  <a:pt x="2611677" y="5696178"/>
                  <a:pt x="2611677" y="5687659"/>
                </a:cubicBezTo>
                <a:cubicBezTo>
                  <a:pt x="2611677" y="5679406"/>
                  <a:pt x="2614475" y="5672351"/>
                  <a:pt x="2620068" y="5666626"/>
                </a:cubicBezTo>
                <a:cubicBezTo>
                  <a:pt x="2625659" y="5660902"/>
                  <a:pt x="2632848" y="5658107"/>
                  <a:pt x="2641900" y="5658107"/>
                </a:cubicBezTo>
                <a:close/>
                <a:moveTo>
                  <a:pt x="2424239" y="5658107"/>
                </a:moveTo>
                <a:cubicBezTo>
                  <a:pt x="2428499" y="5658107"/>
                  <a:pt x="2432493" y="5658906"/>
                  <a:pt x="2435954" y="5660636"/>
                </a:cubicBezTo>
                <a:cubicBezTo>
                  <a:pt x="2439681" y="5662234"/>
                  <a:pt x="2442743" y="5664363"/>
                  <a:pt x="2445272" y="5667026"/>
                </a:cubicBezTo>
                <a:cubicBezTo>
                  <a:pt x="2447935" y="5669555"/>
                  <a:pt x="2449932" y="5672750"/>
                  <a:pt x="2451395" y="5676344"/>
                </a:cubicBezTo>
                <a:cubicBezTo>
                  <a:pt x="2452859" y="5679938"/>
                  <a:pt x="2453658" y="5683798"/>
                  <a:pt x="2453658" y="5687792"/>
                </a:cubicBezTo>
                <a:cubicBezTo>
                  <a:pt x="2453658" y="5691919"/>
                  <a:pt x="2452859" y="5695912"/>
                  <a:pt x="2451395" y="5699507"/>
                </a:cubicBezTo>
                <a:cubicBezTo>
                  <a:pt x="2449932" y="5703101"/>
                  <a:pt x="2447801" y="5706163"/>
                  <a:pt x="2445272" y="5708825"/>
                </a:cubicBezTo>
                <a:cubicBezTo>
                  <a:pt x="2442743" y="5711488"/>
                  <a:pt x="2439548" y="5713617"/>
                  <a:pt x="2435954" y="5715082"/>
                </a:cubicBezTo>
                <a:cubicBezTo>
                  <a:pt x="2432360" y="5716546"/>
                  <a:pt x="2428499" y="5717344"/>
                  <a:pt x="2424239" y="5717344"/>
                </a:cubicBezTo>
                <a:cubicBezTo>
                  <a:pt x="2415321" y="5717344"/>
                  <a:pt x="2407998" y="5714416"/>
                  <a:pt x="2402407" y="5708825"/>
                </a:cubicBezTo>
                <a:cubicBezTo>
                  <a:pt x="2396814" y="5703234"/>
                  <a:pt x="2394017" y="5696178"/>
                  <a:pt x="2394017" y="5687659"/>
                </a:cubicBezTo>
                <a:cubicBezTo>
                  <a:pt x="2394017" y="5679406"/>
                  <a:pt x="2396814" y="5672351"/>
                  <a:pt x="2402407" y="5666626"/>
                </a:cubicBezTo>
                <a:cubicBezTo>
                  <a:pt x="2407998" y="5660902"/>
                  <a:pt x="2415187" y="5658107"/>
                  <a:pt x="2424239" y="5658107"/>
                </a:cubicBezTo>
                <a:close/>
                <a:moveTo>
                  <a:pt x="2206578" y="5658107"/>
                </a:moveTo>
                <a:cubicBezTo>
                  <a:pt x="2210838" y="5658107"/>
                  <a:pt x="2214832" y="5658906"/>
                  <a:pt x="2218293" y="5660636"/>
                </a:cubicBezTo>
                <a:cubicBezTo>
                  <a:pt x="2222020" y="5662234"/>
                  <a:pt x="2225081" y="5664363"/>
                  <a:pt x="2227611" y="5667026"/>
                </a:cubicBezTo>
                <a:cubicBezTo>
                  <a:pt x="2230273" y="5669555"/>
                  <a:pt x="2232270" y="5672750"/>
                  <a:pt x="2233734" y="5676344"/>
                </a:cubicBezTo>
                <a:cubicBezTo>
                  <a:pt x="2235198" y="5679938"/>
                  <a:pt x="2235997" y="5683798"/>
                  <a:pt x="2235997" y="5687792"/>
                </a:cubicBezTo>
                <a:cubicBezTo>
                  <a:pt x="2235997" y="5691919"/>
                  <a:pt x="2235198" y="5695912"/>
                  <a:pt x="2233734" y="5699507"/>
                </a:cubicBezTo>
                <a:cubicBezTo>
                  <a:pt x="2232270" y="5703101"/>
                  <a:pt x="2230140" y="5706163"/>
                  <a:pt x="2227611" y="5708825"/>
                </a:cubicBezTo>
                <a:cubicBezTo>
                  <a:pt x="2225081" y="5711488"/>
                  <a:pt x="2221887" y="5713617"/>
                  <a:pt x="2218293" y="5715082"/>
                </a:cubicBezTo>
                <a:cubicBezTo>
                  <a:pt x="2214698" y="5716546"/>
                  <a:pt x="2210838" y="5717344"/>
                  <a:pt x="2206578" y="5717344"/>
                </a:cubicBezTo>
                <a:cubicBezTo>
                  <a:pt x="2197525" y="5717344"/>
                  <a:pt x="2190337" y="5714416"/>
                  <a:pt x="2184745" y="5708825"/>
                </a:cubicBezTo>
                <a:cubicBezTo>
                  <a:pt x="2179152" y="5703234"/>
                  <a:pt x="2176356" y="5696178"/>
                  <a:pt x="2176356" y="5687659"/>
                </a:cubicBezTo>
                <a:cubicBezTo>
                  <a:pt x="2176356" y="5679406"/>
                  <a:pt x="2179152" y="5672351"/>
                  <a:pt x="2184745" y="5666626"/>
                </a:cubicBezTo>
                <a:cubicBezTo>
                  <a:pt x="2190337" y="5660902"/>
                  <a:pt x="2197525" y="5658107"/>
                  <a:pt x="2206578" y="5658107"/>
                </a:cubicBezTo>
                <a:close/>
                <a:moveTo>
                  <a:pt x="1989049" y="5658107"/>
                </a:moveTo>
                <a:cubicBezTo>
                  <a:pt x="1993176" y="5658107"/>
                  <a:pt x="1997170" y="5658906"/>
                  <a:pt x="2000764" y="5660636"/>
                </a:cubicBezTo>
                <a:cubicBezTo>
                  <a:pt x="2004491" y="5662234"/>
                  <a:pt x="2007553" y="5664363"/>
                  <a:pt x="2010082" y="5667026"/>
                </a:cubicBezTo>
                <a:cubicBezTo>
                  <a:pt x="2012744" y="5669555"/>
                  <a:pt x="2014742" y="5672750"/>
                  <a:pt x="2016206" y="5676344"/>
                </a:cubicBezTo>
                <a:cubicBezTo>
                  <a:pt x="2017670" y="5679938"/>
                  <a:pt x="2018469" y="5683798"/>
                  <a:pt x="2018469" y="5687792"/>
                </a:cubicBezTo>
                <a:cubicBezTo>
                  <a:pt x="2018469" y="5691919"/>
                  <a:pt x="2017670" y="5695912"/>
                  <a:pt x="2016206" y="5699507"/>
                </a:cubicBezTo>
                <a:cubicBezTo>
                  <a:pt x="2014742" y="5703101"/>
                  <a:pt x="2012611" y="5706163"/>
                  <a:pt x="2010082" y="5708825"/>
                </a:cubicBezTo>
                <a:cubicBezTo>
                  <a:pt x="2007553" y="5711488"/>
                  <a:pt x="2004358" y="5713617"/>
                  <a:pt x="2000764" y="5715082"/>
                </a:cubicBezTo>
                <a:cubicBezTo>
                  <a:pt x="1997170" y="5716546"/>
                  <a:pt x="1993309" y="5717344"/>
                  <a:pt x="1989049" y="5717344"/>
                </a:cubicBezTo>
                <a:cubicBezTo>
                  <a:pt x="1979998" y="5717344"/>
                  <a:pt x="1972809" y="5714416"/>
                  <a:pt x="1967218" y="5708825"/>
                </a:cubicBezTo>
                <a:cubicBezTo>
                  <a:pt x="1961627" y="5703234"/>
                  <a:pt x="1958832" y="5696178"/>
                  <a:pt x="1958832" y="5687659"/>
                </a:cubicBezTo>
                <a:cubicBezTo>
                  <a:pt x="1958832" y="5679406"/>
                  <a:pt x="1961627" y="5672351"/>
                  <a:pt x="1967218" y="5666626"/>
                </a:cubicBezTo>
                <a:cubicBezTo>
                  <a:pt x="1972809" y="5660902"/>
                  <a:pt x="1979998" y="5658107"/>
                  <a:pt x="1989049" y="5658107"/>
                </a:cubicBezTo>
                <a:close/>
                <a:moveTo>
                  <a:pt x="1771416" y="5658107"/>
                </a:moveTo>
                <a:cubicBezTo>
                  <a:pt x="1775675" y="5658107"/>
                  <a:pt x="1779534" y="5658906"/>
                  <a:pt x="1783129" y="5660636"/>
                </a:cubicBezTo>
                <a:cubicBezTo>
                  <a:pt x="1786857" y="5662234"/>
                  <a:pt x="1789918" y="5664363"/>
                  <a:pt x="1792447" y="5667026"/>
                </a:cubicBezTo>
                <a:cubicBezTo>
                  <a:pt x="1795109" y="5669555"/>
                  <a:pt x="1797106" y="5672750"/>
                  <a:pt x="1798570" y="5676344"/>
                </a:cubicBezTo>
                <a:cubicBezTo>
                  <a:pt x="1800034" y="5679938"/>
                  <a:pt x="1800833" y="5683798"/>
                  <a:pt x="1800833" y="5687792"/>
                </a:cubicBezTo>
                <a:cubicBezTo>
                  <a:pt x="1800833" y="5691919"/>
                  <a:pt x="1800034" y="5695912"/>
                  <a:pt x="1798570" y="5699507"/>
                </a:cubicBezTo>
                <a:cubicBezTo>
                  <a:pt x="1797106" y="5703101"/>
                  <a:pt x="1794977" y="5706163"/>
                  <a:pt x="1792447" y="5708825"/>
                </a:cubicBezTo>
                <a:cubicBezTo>
                  <a:pt x="1789784" y="5711488"/>
                  <a:pt x="1786724" y="5713617"/>
                  <a:pt x="1783129" y="5715082"/>
                </a:cubicBezTo>
                <a:cubicBezTo>
                  <a:pt x="1779534" y="5716546"/>
                  <a:pt x="1775675" y="5717344"/>
                  <a:pt x="1771416" y="5717344"/>
                </a:cubicBezTo>
                <a:cubicBezTo>
                  <a:pt x="1762497" y="5717344"/>
                  <a:pt x="1755177" y="5714416"/>
                  <a:pt x="1749586" y="5708825"/>
                </a:cubicBezTo>
                <a:cubicBezTo>
                  <a:pt x="1743996" y="5703234"/>
                  <a:pt x="1741203" y="5696178"/>
                  <a:pt x="1741203" y="5687659"/>
                </a:cubicBezTo>
                <a:cubicBezTo>
                  <a:pt x="1741203" y="5679406"/>
                  <a:pt x="1743996" y="5672351"/>
                  <a:pt x="1749586" y="5666626"/>
                </a:cubicBezTo>
                <a:cubicBezTo>
                  <a:pt x="1755177" y="5660902"/>
                  <a:pt x="1762363" y="5658107"/>
                  <a:pt x="1771416" y="5658107"/>
                </a:cubicBezTo>
                <a:close/>
                <a:moveTo>
                  <a:pt x="1553779" y="5658107"/>
                </a:moveTo>
                <a:cubicBezTo>
                  <a:pt x="1558038" y="5658107"/>
                  <a:pt x="1561899" y="5658906"/>
                  <a:pt x="1565494" y="5660636"/>
                </a:cubicBezTo>
                <a:cubicBezTo>
                  <a:pt x="1569088" y="5662234"/>
                  <a:pt x="1572283" y="5664363"/>
                  <a:pt x="1574812" y="5667026"/>
                </a:cubicBezTo>
                <a:cubicBezTo>
                  <a:pt x="1577474" y="5669555"/>
                  <a:pt x="1579471" y="5672750"/>
                  <a:pt x="1580935" y="5676344"/>
                </a:cubicBezTo>
                <a:cubicBezTo>
                  <a:pt x="1582399" y="5679938"/>
                  <a:pt x="1583198" y="5683798"/>
                  <a:pt x="1583198" y="5687792"/>
                </a:cubicBezTo>
                <a:cubicBezTo>
                  <a:pt x="1583198" y="5691919"/>
                  <a:pt x="1582399" y="5695912"/>
                  <a:pt x="1580935" y="5699507"/>
                </a:cubicBezTo>
                <a:cubicBezTo>
                  <a:pt x="1579471" y="5703101"/>
                  <a:pt x="1577341" y="5706163"/>
                  <a:pt x="1574812" y="5708825"/>
                </a:cubicBezTo>
                <a:cubicBezTo>
                  <a:pt x="1572150" y="5711488"/>
                  <a:pt x="1569088" y="5713617"/>
                  <a:pt x="1565494" y="5715082"/>
                </a:cubicBezTo>
                <a:cubicBezTo>
                  <a:pt x="1561899" y="5716546"/>
                  <a:pt x="1558038" y="5717344"/>
                  <a:pt x="1553779" y="5717344"/>
                </a:cubicBezTo>
                <a:cubicBezTo>
                  <a:pt x="1544861" y="5717344"/>
                  <a:pt x="1537539" y="5714416"/>
                  <a:pt x="1531949" y="5708825"/>
                </a:cubicBezTo>
                <a:cubicBezTo>
                  <a:pt x="1526360" y="5703234"/>
                  <a:pt x="1523564" y="5696178"/>
                  <a:pt x="1523564" y="5687659"/>
                </a:cubicBezTo>
                <a:cubicBezTo>
                  <a:pt x="1523564" y="5679406"/>
                  <a:pt x="1526360" y="5672351"/>
                  <a:pt x="1531949" y="5666626"/>
                </a:cubicBezTo>
                <a:cubicBezTo>
                  <a:pt x="1537539" y="5660902"/>
                  <a:pt x="1544727" y="5658107"/>
                  <a:pt x="1553779" y="5658107"/>
                </a:cubicBezTo>
                <a:close/>
                <a:moveTo>
                  <a:pt x="1336135" y="5658107"/>
                </a:moveTo>
                <a:cubicBezTo>
                  <a:pt x="1340395" y="5658107"/>
                  <a:pt x="1344390" y="5658906"/>
                  <a:pt x="1347851" y="5660636"/>
                </a:cubicBezTo>
                <a:cubicBezTo>
                  <a:pt x="1351444" y="5662234"/>
                  <a:pt x="1354639" y="5664363"/>
                  <a:pt x="1357169" y="5667026"/>
                </a:cubicBezTo>
                <a:cubicBezTo>
                  <a:pt x="1359831" y="5669555"/>
                  <a:pt x="1361828" y="5672750"/>
                  <a:pt x="1363292" y="5676344"/>
                </a:cubicBezTo>
                <a:cubicBezTo>
                  <a:pt x="1364756" y="5679938"/>
                  <a:pt x="1365554" y="5683798"/>
                  <a:pt x="1365554" y="5687792"/>
                </a:cubicBezTo>
                <a:cubicBezTo>
                  <a:pt x="1365554" y="5691919"/>
                  <a:pt x="1364756" y="5695912"/>
                  <a:pt x="1363292" y="5699507"/>
                </a:cubicBezTo>
                <a:cubicBezTo>
                  <a:pt x="1361828" y="5703101"/>
                  <a:pt x="1359698" y="5706163"/>
                  <a:pt x="1357169" y="5708825"/>
                </a:cubicBezTo>
                <a:cubicBezTo>
                  <a:pt x="1354505" y="5711488"/>
                  <a:pt x="1351444" y="5713617"/>
                  <a:pt x="1347851" y="5715082"/>
                </a:cubicBezTo>
                <a:cubicBezTo>
                  <a:pt x="1344257" y="5716546"/>
                  <a:pt x="1340395" y="5717344"/>
                  <a:pt x="1336135" y="5717344"/>
                </a:cubicBezTo>
                <a:cubicBezTo>
                  <a:pt x="1327215" y="5717344"/>
                  <a:pt x="1319894" y="5714416"/>
                  <a:pt x="1314303" y="5708825"/>
                </a:cubicBezTo>
                <a:cubicBezTo>
                  <a:pt x="1308712" y="5703234"/>
                  <a:pt x="1305917" y="5696178"/>
                  <a:pt x="1305917" y="5687659"/>
                </a:cubicBezTo>
                <a:cubicBezTo>
                  <a:pt x="1305917" y="5679406"/>
                  <a:pt x="1308712" y="5672351"/>
                  <a:pt x="1314303" y="5666626"/>
                </a:cubicBezTo>
                <a:cubicBezTo>
                  <a:pt x="1319894" y="5660902"/>
                  <a:pt x="1327082" y="5658107"/>
                  <a:pt x="1336135" y="5658107"/>
                </a:cubicBezTo>
                <a:close/>
                <a:moveTo>
                  <a:pt x="1118490" y="5658107"/>
                </a:moveTo>
                <a:cubicBezTo>
                  <a:pt x="1122752" y="5658107"/>
                  <a:pt x="1126748" y="5658906"/>
                  <a:pt x="1130208" y="5660636"/>
                </a:cubicBezTo>
                <a:cubicBezTo>
                  <a:pt x="1133934" y="5662234"/>
                  <a:pt x="1136996" y="5664363"/>
                  <a:pt x="1139523" y="5667026"/>
                </a:cubicBezTo>
                <a:cubicBezTo>
                  <a:pt x="1142183" y="5669555"/>
                  <a:pt x="1144180" y="5672750"/>
                  <a:pt x="1145643" y="5676344"/>
                </a:cubicBezTo>
                <a:cubicBezTo>
                  <a:pt x="1147107" y="5679938"/>
                  <a:pt x="1147906" y="5683798"/>
                  <a:pt x="1147906" y="5687792"/>
                </a:cubicBezTo>
                <a:cubicBezTo>
                  <a:pt x="1147906" y="5691919"/>
                  <a:pt x="1147107" y="5695912"/>
                  <a:pt x="1145643" y="5699507"/>
                </a:cubicBezTo>
                <a:cubicBezTo>
                  <a:pt x="1144180" y="5703101"/>
                  <a:pt x="1142051" y="5706163"/>
                  <a:pt x="1139523" y="5708825"/>
                </a:cubicBezTo>
                <a:cubicBezTo>
                  <a:pt x="1136996" y="5711488"/>
                  <a:pt x="1133802" y="5713617"/>
                  <a:pt x="1130208" y="5715082"/>
                </a:cubicBezTo>
                <a:cubicBezTo>
                  <a:pt x="1126613" y="5716546"/>
                  <a:pt x="1122752" y="5717344"/>
                  <a:pt x="1118490" y="5717344"/>
                </a:cubicBezTo>
                <a:cubicBezTo>
                  <a:pt x="1109570" y="5717344"/>
                  <a:pt x="1102246" y="5714416"/>
                  <a:pt x="1096655" y="5708825"/>
                </a:cubicBezTo>
                <a:cubicBezTo>
                  <a:pt x="1091065" y="5703234"/>
                  <a:pt x="1088270" y="5696178"/>
                  <a:pt x="1088270" y="5687659"/>
                </a:cubicBezTo>
                <a:cubicBezTo>
                  <a:pt x="1088270" y="5679406"/>
                  <a:pt x="1091065" y="5672351"/>
                  <a:pt x="1096655" y="5666626"/>
                </a:cubicBezTo>
                <a:cubicBezTo>
                  <a:pt x="1102246" y="5660902"/>
                  <a:pt x="1109436" y="5658107"/>
                  <a:pt x="1118490" y="5658107"/>
                </a:cubicBezTo>
                <a:close/>
                <a:moveTo>
                  <a:pt x="900977" y="5658107"/>
                </a:moveTo>
                <a:cubicBezTo>
                  <a:pt x="905104" y="5658107"/>
                  <a:pt x="909098" y="5658906"/>
                  <a:pt x="912692" y="5660636"/>
                </a:cubicBezTo>
                <a:cubicBezTo>
                  <a:pt x="916419" y="5662234"/>
                  <a:pt x="919481" y="5664363"/>
                  <a:pt x="922010" y="5667026"/>
                </a:cubicBezTo>
                <a:cubicBezTo>
                  <a:pt x="924672" y="5669555"/>
                  <a:pt x="926669" y="5672750"/>
                  <a:pt x="928132" y="5676344"/>
                </a:cubicBezTo>
                <a:cubicBezTo>
                  <a:pt x="929597" y="5679938"/>
                  <a:pt x="930395" y="5683798"/>
                  <a:pt x="930395" y="5687792"/>
                </a:cubicBezTo>
                <a:cubicBezTo>
                  <a:pt x="930395" y="5691919"/>
                  <a:pt x="929597" y="5695912"/>
                  <a:pt x="928132" y="5699507"/>
                </a:cubicBezTo>
                <a:cubicBezTo>
                  <a:pt x="926669" y="5703101"/>
                  <a:pt x="924539" y="5706163"/>
                  <a:pt x="922010" y="5708825"/>
                </a:cubicBezTo>
                <a:cubicBezTo>
                  <a:pt x="919481" y="5711488"/>
                  <a:pt x="916286" y="5713617"/>
                  <a:pt x="912692" y="5715082"/>
                </a:cubicBezTo>
                <a:cubicBezTo>
                  <a:pt x="909098" y="5716546"/>
                  <a:pt x="905237" y="5717344"/>
                  <a:pt x="900977" y="5717344"/>
                </a:cubicBezTo>
                <a:cubicBezTo>
                  <a:pt x="892059" y="5717344"/>
                  <a:pt x="884737" y="5714416"/>
                  <a:pt x="879146" y="5708825"/>
                </a:cubicBezTo>
                <a:cubicBezTo>
                  <a:pt x="873557" y="5703234"/>
                  <a:pt x="870761" y="5696178"/>
                  <a:pt x="870761" y="5687659"/>
                </a:cubicBezTo>
                <a:cubicBezTo>
                  <a:pt x="870761" y="5679406"/>
                  <a:pt x="873557" y="5672351"/>
                  <a:pt x="879146" y="5666626"/>
                </a:cubicBezTo>
                <a:cubicBezTo>
                  <a:pt x="884737" y="5660902"/>
                  <a:pt x="891926" y="5658107"/>
                  <a:pt x="900977" y="5658107"/>
                </a:cubicBezTo>
                <a:close/>
                <a:moveTo>
                  <a:pt x="683337" y="5658107"/>
                </a:moveTo>
                <a:cubicBezTo>
                  <a:pt x="687597" y="5658107"/>
                  <a:pt x="691458" y="5658906"/>
                  <a:pt x="695052" y="5660636"/>
                </a:cubicBezTo>
                <a:cubicBezTo>
                  <a:pt x="698779" y="5662234"/>
                  <a:pt x="701841" y="5664363"/>
                  <a:pt x="704369" y="5667026"/>
                </a:cubicBezTo>
                <a:cubicBezTo>
                  <a:pt x="707031" y="5669555"/>
                  <a:pt x="709028" y="5672750"/>
                  <a:pt x="710492" y="5676344"/>
                </a:cubicBezTo>
                <a:cubicBezTo>
                  <a:pt x="711956" y="5679938"/>
                  <a:pt x="712755" y="5683798"/>
                  <a:pt x="712755" y="5687792"/>
                </a:cubicBezTo>
                <a:cubicBezTo>
                  <a:pt x="712755" y="5691919"/>
                  <a:pt x="711956" y="5695912"/>
                  <a:pt x="710492" y="5699507"/>
                </a:cubicBezTo>
                <a:cubicBezTo>
                  <a:pt x="709028" y="5703101"/>
                  <a:pt x="706898" y="5706163"/>
                  <a:pt x="704369" y="5708825"/>
                </a:cubicBezTo>
                <a:cubicBezTo>
                  <a:pt x="701841" y="5711488"/>
                  <a:pt x="698646" y="5713617"/>
                  <a:pt x="695052" y="5715082"/>
                </a:cubicBezTo>
                <a:cubicBezTo>
                  <a:pt x="691458" y="5716546"/>
                  <a:pt x="687597" y="5717344"/>
                  <a:pt x="683337" y="5717344"/>
                </a:cubicBezTo>
                <a:cubicBezTo>
                  <a:pt x="674419" y="5717344"/>
                  <a:pt x="667097" y="5714416"/>
                  <a:pt x="661505" y="5708825"/>
                </a:cubicBezTo>
                <a:cubicBezTo>
                  <a:pt x="655914" y="5703234"/>
                  <a:pt x="653119" y="5696178"/>
                  <a:pt x="653119" y="5687659"/>
                </a:cubicBezTo>
                <a:cubicBezTo>
                  <a:pt x="653119" y="5679406"/>
                  <a:pt x="655914" y="5672351"/>
                  <a:pt x="661505" y="5666626"/>
                </a:cubicBezTo>
                <a:cubicBezTo>
                  <a:pt x="667097" y="5660902"/>
                  <a:pt x="674286" y="5658107"/>
                  <a:pt x="683337" y="5658107"/>
                </a:cubicBezTo>
                <a:close/>
                <a:moveTo>
                  <a:pt x="465695" y="5658107"/>
                </a:moveTo>
                <a:cubicBezTo>
                  <a:pt x="469955" y="5658107"/>
                  <a:pt x="473816" y="5658906"/>
                  <a:pt x="477411" y="5660636"/>
                </a:cubicBezTo>
                <a:cubicBezTo>
                  <a:pt x="481138" y="5662234"/>
                  <a:pt x="484199" y="5664363"/>
                  <a:pt x="486728" y="5667026"/>
                </a:cubicBezTo>
                <a:cubicBezTo>
                  <a:pt x="489390" y="5669555"/>
                  <a:pt x="491387" y="5672750"/>
                  <a:pt x="492851" y="5676344"/>
                </a:cubicBezTo>
                <a:cubicBezTo>
                  <a:pt x="494315" y="5679938"/>
                  <a:pt x="495114" y="5683798"/>
                  <a:pt x="495114" y="5687792"/>
                </a:cubicBezTo>
                <a:cubicBezTo>
                  <a:pt x="495114" y="5691919"/>
                  <a:pt x="494315" y="5695912"/>
                  <a:pt x="492851" y="5699507"/>
                </a:cubicBezTo>
                <a:cubicBezTo>
                  <a:pt x="491387" y="5703101"/>
                  <a:pt x="489257" y="5706163"/>
                  <a:pt x="486728" y="5708825"/>
                </a:cubicBezTo>
                <a:cubicBezTo>
                  <a:pt x="484065" y="5711488"/>
                  <a:pt x="481005" y="5713617"/>
                  <a:pt x="477411" y="5715082"/>
                </a:cubicBezTo>
                <a:cubicBezTo>
                  <a:pt x="473816" y="5716546"/>
                  <a:pt x="469955" y="5717344"/>
                  <a:pt x="465695" y="5717344"/>
                </a:cubicBezTo>
                <a:cubicBezTo>
                  <a:pt x="456777" y="5717344"/>
                  <a:pt x="449455" y="5714416"/>
                  <a:pt x="443864" y="5708825"/>
                </a:cubicBezTo>
                <a:cubicBezTo>
                  <a:pt x="438273" y="5703234"/>
                  <a:pt x="435478" y="5696178"/>
                  <a:pt x="435478" y="5687659"/>
                </a:cubicBezTo>
                <a:cubicBezTo>
                  <a:pt x="435478" y="5679406"/>
                  <a:pt x="438273" y="5672351"/>
                  <a:pt x="443864" y="5666626"/>
                </a:cubicBezTo>
                <a:cubicBezTo>
                  <a:pt x="449455" y="5660902"/>
                  <a:pt x="456645" y="5658107"/>
                  <a:pt x="465695" y="5658107"/>
                </a:cubicBezTo>
                <a:close/>
                <a:moveTo>
                  <a:pt x="248054" y="5658107"/>
                </a:moveTo>
                <a:cubicBezTo>
                  <a:pt x="252314" y="5658107"/>
                  <a:pt x="256308" y="5658906"/>
                  <a:pt x="259768" y="5660636"/>
                </a:cubicBezTo>
                <a:cubicBezTo>
                  <a:pt x="263495" y="5662234"/>
                  <a:pt x="266557" y="5664363"/>
                  <a:pt x="269087" y="5667026"/>
                </a:cubicBezTo>
                <a:cubicBezTo>
                  <a:pt x="271749" y="5669555"/>
                  <a:pt x="273746" y="5672750"/>
                  <a:pt x="275210" y="5676344"/>
                </a:cubicBezTo>
                <a:cubicBezTo>
                  <a:pt x="276674" y="5679938"/>
                  <a:pt x="277473" y="5683798"/>
                  <a:pt x="277473" y="5687792"/>
                </a:cubicBezTo>
                <a:cubicBezTo>
                  <a:pt x="277473" y="5691919"/>
                  <a:pt x="276674" y="5695912"/>
                  <a:pt x="275210" y="5699507"/>
                </a:cubicBezTo>
                <a:cubicBezTo>
                  <a:pt x="273746" y="5703101"/>
                  <a:pt x="271616" y="5706163"/>
                  <a:pt x="269087" y="5708825"/>
                </a:cubicBezTo>
                <a:cubicBezTo>
                  <a:pt x="266423" y="5711488"/>
                  <a:pt x="263362" y="5713617"/>
                  <a:pt x="259768" y="5715082"/>
                </a:cubicBezTo>
                <a:cubicBezTo>
                  <a:pt x="256173" y="5716546"/>
                  <a:pt x="252314" y="5717344"/>
                  <a:pt x="248054" y="5717344"/>
                </a:cubicBezTo>
                <a:cubicBezTo>
                  <a:pt x="239136" y="5717344"/>
                  <a:pt x="231815" y="5714416"/>
                  <a:pt x="226224" y="5708825"/>
                </a:cubicBezTo>
                <a:cubicBezTo>
                  <a:pt x="220634" y="5703234"/>
                  <a:pt x="217839" y="5696178"/>
                  <a:pt x="217839" y="5687659"/>
                </a:cubicBezTo>
                <a:cubicBezTo>
                  <a:pt x="217839" y="5679406"/>
                  <a:pt x="220634" y="5672351"/>
                  <a:pt x="226224" y="5666626"/>
                </a:cubicBezTo>
                <a:cubicBezTo>
                  <a:pt x="231815" y="5660902"/>
                  <a:pt x="239003" y="5658107"/>
                  <a:pt x="248054" y="5658107"/>
                </a:cubicBezTo>
                <a:close/>
                <a:moveTo>
                  <a:pt x="30413" y="5658107"/>
                </a:moveTo>
                <a:cubicBezTo>
                  <a:pt x="34673" y="5658107"/>
                  <a:pt x="38667" y="5658906"/>
                  <a:pt x="42128" y="5660636"/>
                </a:cubicBezTo>
                <a:cubicBezTo>
                  <a:pt x="45855" y="5662234"/>
                  <a:pt x="48917" y="5664363"/>
                  <a:pt x="51446" y="5667026"/>
                </a:cubicBezTo>
                <a:cubicBezTo>
                  <a:pt x="54108" y="5669555"/>
                  <a:pt x="56105" y="5672750"/>
                  <a:pt x="57569" y="5676344"/>
                </a:cubicBezTo>
                <a:cubicBezTo>
                  <a:pt x="59033" y="5679938"/>
                  <a:pt x="59832" y="5683798"/>
                  <a:pt x="59832" y="5687792"/>
                </a:cubicBezTo>
                <a:cubicBezTo>
                  <a:pt x="59832" y="5691919"/>
                  <a:pt x="59033" y="5695912"/>
                  <a:pt x="57569" y="5699507"/>
                </a:cubicBezTo>
                <a:cubicBezTo>
                  <a:pt x="56105" y="5703101"/>
                  <a:pt x="53975" y="5706163"/>
                  <a:pt x="51446" y="5708825"/>
                </a:cubicBezTo>
                <a:cubicBezTo>
                  <a:pt x="48783" y="5711488"/>
                  <a:pt x="45722" y="5713617"/>
                  <a:pt x="42128" y="5715082"/>
                </a:cubicBezTo>
                <a:cubicBezTo>
                  <a:pt x="38534" y="5716546"/>
                  <a:pt x="34673" y="5717344"/>
                  <a:pt x="30413" y="5717344"/>
                </a:cubicBezTo>
                <a:cubicBezTo>
                  <a:pt x="21494" y="5717344"/>
                  <a:pt x="14174" y="5714416"/>
                  <a:pt x="8585" y="5708825"/>
                </a:cubicBezTo>
                <a:cubicBezTo>
                  <a:pt x="2994" y="5703234"/>
                  <a:pt x="199" y="5696178"/>
                  <a:pt x="199" y="5687659"/>
                </a:cubicBezTo>
                <a:cubicBezTo>
                  <a:pt x="199" y="5679406"/>
                  <a:pt x="2994" y="5672351"/>
                  <a:pt x="8585" y="5666626"/>
                </a:cubicBezTo>
                <a:cubicBezTo>
                  <a:pt x="14174" y="5660902"/>
                  <a:pt x="21360" y="5658107"/>
                  <a:pt x="30413" y="5658107"/>
                </a:cubicBezTo>
                <a:close/>
                <a:moveTo>
                  <a:pt x="10475977" y="5457102"/>
                </a:moveTo>
                <a:cubicBezTo>
                  <a:pt x="10470119" y="5457102"/>
                  <a:pt x="10467589" y="5458965"/>
                  <a:pt x="10465992" y="5460696"/>
                </a:cubicBezTo>
                <a:cubicBezTo>
                  <a:pt x="10463463" y="5463358"/>
                  <a:pt x="10462399" y="5466153"/>
                  <a:pt x="10462399" y="5470147"/>
                </a:cubicBezTo>
                <a:cubicBezTo>
                  <a:pt x="10462399" y="5474274"/>
                  <a:pt x="10463463" y="5477069"/>
                  <a:pt x="10465992" y="5479598"/>
                </a:cubicBezTo>
                <a:cubicBezTo>
                  <a:pt x="10467589" y="5481197"/>
                  <a:pt x="10470119" y="5483060"/>
                  <a:pt x="10475977" y="5483060"/>
                </a:cubicBezTo>
                <a:cubicBezTo>
                  <a:pt x="10478107" y="5483060"/>
                  <a:pt x="10479838" y="5482794"/>
                  <a:pt x="10481302" y="5482128"/>
                </a:cubicBezTo>
                <a:cubicBezTo>
                  <a:pt x="10482899" y="5481596"/>
                  <a:pt x="10484098" y="5480664"/>
                  <a:pt x="10485029" y="5479731"/>
                </a:cubicBezTo>
                <a:cubicBezTo>
                  <a:pt x="10486094" y="5478533"/>
                  <a:pt x="10487026" y="5477202"/>
                  <a:pt x="10487691" y="5475472"/>
                </a:cubicBezTo>
                <a:cubicBezTo>
                  <a:pt x="10488357" y="5473874"/>
                  <a:pt x="10488623" y="5472010"/>
                  <a:pt x="10488623" y="5470014"/>
                </a:cubicBezTo>
                <a:cubicBezTo>
                  <a:pt x="10488623" y="5468150"/>
                  <a:pt x="10488357" y="5466420"/>
                  <a:pt x="10487691" y="5464822"/>
                </a:cubicBezTo>
                <a:cubicBezTo>
                  <a:pt x="10487026" y="5463225"/>
                  <a:pt x="10486094" y="5461894"/>
                  <a:pt x="10485029" y="5460696"/>
                </a:cubicBezTo>
                <a:cubicBezTo>
                  <a:pt x="10483964" y="5459631"/>
                  <a:pt x="10482633" y="5458699"/>
                  <a:pt x="10481035" y="5458033"/>
                </a:cubicBezTo>
                <a:cubicBezTo>
                  <a:pt x="10479571" y="5457368"/>
                  <a:pt x="10477974" y="5457102"/>
                  <a:pt x="10475977" y="5457102"/>
                </a:cubicBezTo>
                <a:close/>
                <a:moveTo>
                  <a:pt x="10258466" y="5457102"/>
                </a:moveTo>
                <a:cubicBezTo>
                  <a:pt x="10252608" y="5457102"/>
                  <a:pt x="10250078" y="5458965"/>
                  <a:pt x="10248481" y="5460696"/>
                </a:cubicBezTo>
                <a:cubicBezTo>
                  <a:pt x="10245952" y="5463358"/>
                  <a:pt x="10244887" y="5466153"/>
                  <a:pt x="10244887" y="5470147"/>
                </a:cubicBezTo>
                <a:cubicBezTo>
                  <a:pt x="10244887" y="5474274"/>
                  <a:pt x="10245952" y="5477069"/>
                  <a:pt x="10248481" y="5479598"/>
                </a:cubicBezTo>
                <a:cubicBezTo>
                  <a:pt x="10250078" y="5481197"/>
                  <a:pt x="10252608" y="5483060"/>
                  <a:pt x="10258466" y="5483060"/>
                </a:cubicBezTo>
                <a:cubicBezTo>
                  <a:pt x="10260462" y="5483060"/>
                  <a:pt x="10262192" y="5482794"/>
                  <a:pt x="10263790" y="5482128"/>
                </a:cubicBezTo>
                <a:cubicBezTo>
                  <a:pt x="10265388" y="5481596"/>
                  <a:pt x="10266586" y="5480664"/>
                  <a:pt x="10267517" y="5479731"/>
                </a:cubicBezTo>
                <a:cubicBezTo>
                  <a:pt x="10268583" y="5478533"/>
                  <a:pt x="10269515" y="5477202"/>
                  <a:pt x="10270180" y="5475472"/>
                </a:cubicBezTo>
                <a:cubicBezTo>
                  <a:pt x="10270845" y="5473874"/>
                  <a:pt x="10271112" y="5472010"/>
                  <a:pt x="10271112" y="5470014"/>
                </a:cubicBezTo>
                <a:cubicBezTo>
                  <a:pt x="10271112" y="5468150"/>
                  <a:pt x="10270845" y="5466420"/>
                  <a:pt x="10270180" y="5464822"/>
                </a:cubicBezTo>
                <a:cubicBezTo>
                  <a:pt x="10269515" y="5463225"/>
                  <a:pt x="10268583" y="5461894"/>
                  <a:pt x="10267517" y="5460696"/>
                </a:cubicBezTo>
                <a:cubicBezTo>
                  <a:pt x="10266452" y="5459631"/>
                  <a:pt x="10265121" y="5458699"/>
                  <a:pt x="10263524" y="5458033"/>
                </a:cubicBezTo>
                <a:cubicBezTo>
                  <a:pt x="10262060" y="5457368"/>
                  <a:pt x="10260462" y="5457102"/>
                  <a:pt x="10258466" y="5457102"/>
                </a:cubicBezTo>
                <a:close/>
                <a:moveTo>
                  <a:pt x="10040820" y="5457102"/>
                </a:moveTo>
                <a:cubicBezTo>
                  <a:pt x="10034962" y="5457102"/>
                  <a:pt x="10032433" y="5458965"/>
                  <a:pt x="10030835" y="5460696"/>
                </a:cubicBezTo>
                <a:cubicBezTo>
                  <a:pt x="10028306" y="5463358"/>
                  <a:pt x="10027242" y="5466153"/>
                  <a:pt x="10027242" y="5470147"/>
                </a:cubicBezTo>
                <a:cubicBezTo>
                  <a:pt x="10027242" y="5474274"/>
                  <a:pt x="10028306" y="5477069"/>
                  <a:pt x="10030835" y="5479598"/>
                </a:cubicBezTo>
                <a:cubicBezTo>
                  <a:pt x="10032433" y="5481197"/>
                  <a:pt x="10034962" y="5483060"/>
                  <a:pt x="10040820" y="5483060"/>
                </a:cubicBezTo>
                <a:cubicBezTo>
                  <a:pt x="10042817" y="5483060"/>
                  <a:pt x="10044681" y="5482794"/>
                  <a:pt x="10046145" y="5482128"/>
                </a:cubicBezTo>
                <a:cubicBezTo>
                  <a:pt x="10047742" y="5481596"/>
                  <a:pt x="10048941" y="5480664"/>
                  <a:pt x="10049872" y="5479731"/>
                </a:cubicBezTo>
                <a:cubicBezTo>
                  <a:pt x="10050937" y="5478533"/>
                  <a:pt x="10051869" y="5477202"/>
                  <a:pt x="10052534" y="5475472"/>
                </a:cubicBezTo>
                <a:cubicBezTo>
                  <a:pt x="10053333" y="5473874"/>
                  <a:pt x="10053599" y="5472010"/>
                  <a:pt x="10053599" y="5470014"/>
                </a:cubicBezTo>
                <a:cubicBezTo>
                  <a:pt x="10053599" y="5468150"/>
                  <a:pt x="10053200" y="5466420"/>
                  <a:pt x="10052534" y="5464822"/>
                </a:cubicBezTo>
                <a:cubicBezTo>
                  <a:pt x="10051869" y="5463225"/>
                  <a:pt x="10050937" y="5461894"/>
                  <a:pt x="10049872" y="5460696"/>
                </a:cubicBezTo>
                <a:cubicBezTo>
                  <a:pt x="10048807" y="5459631"/>
                  <a:pt x="10047476" y="5458699"/>
                  <a:pt x="10045878" y="5458033"/>
                </a:cubicBezTo>
                <a:cubicBezTo>
                  <a:pt x="10044414" y="5457368"/>
                  <a:pt x="10042817" y="5457102"/>
                  <a:pt x="10040820" y="5457102"/>
                </a:cubicBezTo>
                <a:close/>
                <a:moveTo>
                  <a:pt x="9823176" y="5457102"/>
                </a:moveTo>
                <a:cubicBezTo>
                  <a:pt x="9817318" y="5457102"/>
                  <a:pt x="9814788" y="5458965"/>
                  <a:pt x="9813191" y="5460696"/>
                </a:cubicBezTo>
                <a:cubicBezTo>
                  <a:pt x="9810662" y="5463358"/>
                  <a:pt x="9809597" y="5466153"/>
                  <a:pt x="9809597" y="5470147"/>
                </a:cubicBezTo>
                <a:cubicBezTo>
                  <a:pt x="9809597" y="5474274"/>
                  <a:pt x="9810662" y="5477069"/>
                  <a:pt x="9813191" y="5479598"/>
                </a:cubicBezTo>
                <a:cubicBezTo>
                  <a:pt x="9814788" y="5481197"/>
                  <a:pt x="9817318" y="5483060"/>
                  <a:pt x="9823176" y="5483060"/>
                </a:cubicBezTo>
                <a:cubicBezTo>
                  <a:pt x="9825173" y="5483060"/>
                  <a:pt x="9827036" y="5482794"/>
                  <a:pt x="9828501" y="5482128"/>
                </a:cubicBezTo>
                <a:cubicBezTo>
                  <a:pt x="9830098" y="5481596"/>
                  <a:pt x="9831296" y="5480664"/>
                  <a:pt x="9832227" y="5479731"/>
                </a:cubicBezTo>
                <a:cubicBezTo>
                  <a:pt x="9833293" y="5478533"/>
                  <a:pt x="9834225" y="5477202"/>
                  <a:pt x="9834890" y="5475472"/>
                </a:cubicBezTo>
                <a:cubicBezTo>
                  <a:pt x="9835689" y="5473874"/>
                  <a:pt x="9835955" y="5472010"/>
                  <a:pt x="9835955" y="5470014"/>
                </a:cubicBezTo>
                <a:cubicBezTo>
                  <a:pt x="9835955" y="5468150"/>
                  <a:pt x="9835555" y="5466420"/>
                  <a:pt x="9834890" y="5464822"/>
                </a:cubicBezTo>
                <a:cubicBezTo>
                  <a:pt x="9834225" y="5463225"/>
                  <a:pt x="9833293" y="5461894"/>
                  <a:pt x="9832227" y="5460696"/>
                </a:cubicBezTo>
                <a:cubicBezTo>
                  <a:pt x="9831162" y="5459631"/>
                  <a:pt x="9829831" y="5458699"/>
                  <a:pt x="9828234" y="5458033"/>
                </a:cubicBezTo>
                <a:cubicBezTo>
                  <a:pt x="9826770" y="5457368"/>
                  <a:pt x="9825173" y="5457102"/>
                  <a:pt x="9823176" y="5457102"/>
                </a:cubicBezTo>
                <a:close/>
                <a:moveTo>
                  <a:pt x="9605531" y="5457102"/>
                </a:moveTo>
                <a:cubicBezTo>
                  <a:pt x="9599673" y="5457102"/>
                  <a:pt x="9597143" y="5458965"/>
                  <a:pt x="9595546" y="5460696"/>
                </a:cubicBezTo>
                <a:cubicBezTo>
                  <a:pt x="9593017" y="5463358"/>
                  <a:pt x="9591952" y="5466153"/>
                  <a:pt x="9591952" y="5470147"/>
                </a:cubicBezTo>
                <a:cubicBezTo>
                  <a:pt x="9591952" y="5474274"/>
                  <a:pt x="9593017" y="5477069"/>
                  <a:pt x="9595546" y="5479598"/>
                </a:cubicBezTo>
                <a:cubicBezTo>
                  <a:pt x="9597143" y="5481197"/>
                  <a:pt x="9599673" y="5483060"/>
                  <a:pt x="9605531" y="5483060"/>
                </a:cubicBezTo>
                <a:cubicBezTo>
                  <a:pt x="9607660" y="5483060"/>
                  <a:pt x="9609391" y="5482794"/>
                  <a:pt x="9610855" y="5482128"/>
                </a:cubicBezTo>
                <a:cubicBezTo>
                  <a:pt x="9612319" y="5481596"/>
                  <a:pt x="9613651" y="5480664"/>
                  <a:pt x="9614582" y="5479731"/>
                </a:cubicBezTo>
                <a:cubicBezTo>
                  <a:pt x="9615647" y="5478533"/>
                  <a:pt x="9616579" y="5477202"/>
                  <a:pt x="9617245" y="5475472"/>
                </a:cubicBezTo>
                <a:cubicBezTo>
                  <a:pt x="9618044" y="5473874"/>
                  <a:pt x="9618309" y="5472010"/>
                  <a:pt x="9618309" y="5470014"/>
                </a:cubicBezTo>
                <a:cubicBezTo>
                  <a:pt x="9618309" y="5468150"/>
                  <a:pt x="9617910" y="5466420"/>
                  <a:pt x="9617245" y="5464822"/>
                </a:cubicBezTo>
                <a:cubicBezTo>
                  <a:pt x="9616579" y="5463225"/>
                  <a:pt x="9615647" y="5461894"/>
                  <a:pt x="9614582" y="5460696"/>
                </a:cubicBezTo>
                <a:cubicBezTo>
                  <a:pt x="9613517" y="5459631"/>
                  <a:pt x="9612186" y="5458699"/>
                  <a:pt x="9610589" y="5458033"/>
                </a:cubicBezTo>
                <a:cubicBezTo>
                  <a:pt x="9609124" y="5457368"/>
                  <a:pt x="9607394" y="5457102"/>
                  <a:pt x="9605531" y="5457102"/>
                </a:cubicBezTo>
                <a:close/>
                <a:moveTo>
                  <a:pt x="9387885" y="5457102"/>
                </a:moveTo>
                <a:cubicBezTo>
                  <a:pt x="9382027" y="5457102"/>
                  <a:pt x="9379497" y="5458965"/>
                  <a:pt x="9377900" y="5460696"/>
                </a:cubicBezTo>
                <a:cubicBezTo>
                  <a:pt x="9375371" y="5463358"/>
                  <a:pt x="9374307" y="5466153"/>
                  <a:pt x="9374307" y="5470147"/>
                </a:cubicBezTo>
                <a:cubicBezTo>
                  <a:pt x="9374307" y="5474274"/>
                  <a:pt x="9375371" y="5477069"/>
                  <a:pt x="9377900" y="5479598"/>
                </a:cubicBezTo>
                <a:cubicBezTo>
                  <a:pt x="9379497" y="5481197"/>
                  <a:pt x="9382027" y="5483060"/>
                  <a:pt x="9387885" y="5483060"/>
                </a:cubicBezTo>
                <a:cubicBezTo>
                  <a:pt x="9390015" y="5483060"/>
                  <a:pt x="9391746" y="5482794"/>
                  <a:pt x="9393210" y="5482128"/>
                </a:cubicBezTo>
                <a:cubicBezTo>
                  <a:pt x="9394674" y="5481596"/>
                  <a:pt x="9396005" y="5480664"/>
                  <a:pt x="9396937" y="5479731"/>
                </a:cubicBezTo>
                <a:cubicBezTo>
                  <a:pt x="9398002" y="5478533"/>
                  <a:pt x="9398934" y="5477202"/>
                  <a:pt x="9399599" y="5475472"/>
                </a:cubicBezTo>
                <a:cubicBezTo>
                  <a:pt x="9400398" y="5473874"/>
                  <a:pt x="9400664" y="5472010"/>
                  <a:pt x="9400664" y="5470014"/>
                </a:cubicBezTo>
                <a:cubicBezTo>
                  <a:pt x="9400664" y="5468150"/>
                  <a:pt x="9400265" y="5466420"/>
                  <a:pt x="9399599" y="5464822"/>
                </a:cubicBezTo>
                <a:cubicBezTo>
                  <a:pt x="9398934" y="5463225"/>
                  <a:pt x="9398002" y="5461894"/>
                  <a:pt x="9396937" y="5460696"/>
                </a:cubicBezTo>
                <a:cubicBezTo>
                  <a:pt x="9395872" y="5459631"/>
                  <a:pt x="9394541" y="5458699"/>
                  <a:pt x="9392943" y="5458033"/>
                </a:cubicBezTo>
                <a:cubicBezTo>
                  <a:pt x="9391479" y="5457368"/>
                  <a:pt x="9389749" y="5457102"/>
                  <a:pt x="9387885" y="5457102"/>
                </a:cubicBezTo>
                <a:close/>
                <a:moveTo>
                  <a:pt x="9170374" y="5457102"/>
                </a:moveTo>
                <a:cubicBezTo>
                  <a:pt x="9164649" y="5457102"/>
                  <a:pt x="9161986" y="5458965"/>
                  <a:pt x="9160389" y="5460696"/>
                </a:cubicBezTo>
                <a:cubicBezTo>
                  <a:pt x="9157860" y="5463358"/>
                  <a:pt x="9156795" y="5466153"/>
                  <a:pt x="9156795" y="5470147"/>
                </a:cubicBezTo>
                <a:cubicBezTo>
                  <a:pt x="9156795" y="5474274"/>
                  <a:pt x="9157860" y="5477069"/>
                  <a:pt x="9160389" y="5479598"/>
                </a:cubicBezTo>
                <a:cubicBezTo>
                  <a:pt x="9161986" y="5481197"/>
                  <a:pt x="9164516" y="5483060"/>
                  <a:pt x="9170374" y="5483060"/>
                </a:cubicBezTo>
                <a:cubicBezTo>
                  <a:pt x="9172370" y="5483060"/>
                  <a:pt x="9174100" y="5482794"/>
                  <a:pt x="9175698" y="5482128"/>
                </a:cubicBezTo>
                <a:cubicBezTo>
                  <a:pt x="9177163" y="5481596"/>
                  <a:pt x="9178494" y="5480664"/>
                  <a:pt x="9179425" y="5479731"/>
                </a:cubicBezTo>
                <a:cubicBezTo>
                  <a:pt x="9180491" y="5478533"/>
                  <a:pt x="9181422" y="5477202"/>
                  <a:pt x="9182088" y="5475472"/>
                </a:cubicBezTo>
                <a:cubicBezTo>
                  <a:pt x="9182887" y="5473874"/>
                  <a:pt x="9183152" y="5472010"/>
                  <a:pt x="9183152" y="5470014"/>
                </a:cubicBezTo>
                <a:cubicBezTo>
                  <a:pt x="9183152" y="5468150"/>
                  <a:pt x="9182753" y="5466420"/>
                  <a:pt x="9182088" y="5464822"/>
                </a:cubicBezTo>
                <a:cubicBezTo>
                  <a:pt x="9181422" y="5463225"/>
                  <a:pt x="9180491" y="5461894"/>
                  <a:pt x="9179425" y="5460696"/>
                </a:cubicBezTo>
                <a:cubicBezTo>
                  <a:pt x="9178360" y="5459631"/>
                  <a:pt x="9177029" y="5458699"/>
                  <a:pt x="9175432" y="5458033"/>
                </a:cubicBezTo>
                <a:cubicBezTo>
                  <a:pt x="9173967" y="5457368"/>
                  <a:pt x="9172237" y="5457102"/>
                  <a:pt x="9170374" y="5457102"/>
                </a:cubicBezTo>
                <a:close/>
                <a:moveTo>
                  <a:pt x="8952728" y="5457102"/>
                </a:moveTo>
                <a:cubicBezTo>
                  <a:pt x="8947003" y="5457102"/>
                  <a:pt x="8944340" y="5458965"/>
                  <a:pt x="8942743" y="5460696"/>
                </a:cubicBezTo>
                <a:cubicBezTo>
                  <a:pt x="8940214" y="5463358"/>
                  <a:pt x="8939150" y="5466153"/>
                  <a:pt x="8939150" y="5470147"/>
                </a:cubicBezTo>
                <a:cubicBezTo>
                  <a:pt x="8939150" y="5474274"/>
                  <a:pt x="8940214" y="5477069"/>
                  <a:pt x="8942743" y="5479598"/>
                </a:cubicBezTo>
                <a:cubicBezTo>
                  <a:pt x="8944340" y="5481197"/>
                  <a:pt x="8946870" y="5483060"/>
                  <a:pt x="8952728" y="5483060"/>
                </a:cubicBezTo>
                <a:cubicBezTo>
                  <a:pt x="8954725" y="5483060"/>
                  <a:pt x="8956589" y="5482794"/>
                  <a:pt x="8958053" y="5482128"/>
                </a:cubicBezTo>
                <a:cubicBezTo>
                  <a:pt x="8959517" y="5481596"/>
                  <a:pt x="8960849" y="5480664"/>
                  <a:pt x="8961780" y="5479731"/>
                </a:cubicBezTo>
                <a:cubicBezTo>
                  <a:pt x="8962845" y="5478533"/>
                  <a:pt x="8963777" y="5477202"/>
                  <a:pt x="8964442" y="5475472"/>
                </a:cubicBezTo>
                <a:cubicBezTo>
                  <a:pt x="8965241" y="5473874"/>
                  <a:pt x="8965507" y="5472010"/>
                  <a:pt x="8965507" y="5470014"/>
                </a:cubicBezTo>
                <a:cubicBezTo>
                  <a:pt x="8965507" y="5468150"/>
                  <a:pt x="8965108" y="5466420"/>
                  <a:pt x="8964442" y="5464822"/>
                </a:cubicBezTo>
                <a:cubicBezTo>
                  <a:pt x="8963777" y="5463225"/>
                  <a:pt x="8962845" y="5461894"/>
                  <a:pt x="8961780" y="5460696"/>
                </a:cubicBezTo>
                <a:cubicBezTo>
                  <a:pt x="8960715" y="5459631"/>
                  <a:pt x="8959384" y="5458699"/>
                  <a:pt x="8957786" y="5458033"/>
                </a:cubicBezTo>
                <a:cubicBezTo>
                  <a:pt x="8956322" y="5457368"/>
                  <a:pt x="8954592" y="5457102"/>
                  <a:pt x="8952728" y="5457102"/>
                </a:cubicBezTo>
                <a:close/>
                <a:moveTo>
                  <a:pt x="8735083" y="5457102"/>
                </a:moveTo>
                <a:cubicBezTo>
                  <a:pt x="8729358" y="5457102"/>
                  <a:pt x="8726695" y="5458965"/>
                  <a:pt x="8725098" y="5460696"/>
                </a:cubicBezTo>
                <a:cubicBezTo>
                  <a:pt x="8722569" y="5463358"/>
                  <a:pt x="8721504" y="5466153"/>
                  <a:pt x="8721504" y="5470147"/>
                </a:cubicBezTo>
                <a:cubicBezTo>
                  <a:pt x="8721504" y="5474274"/>
                  <a:pt x="8722569" y="5477069"/>
                  <a:pt x="8725098" y="5479598"/>
                </a:cubicBezTo>
                <a:cubicBezTo>
                  <a:pt x="8726695" y="5481197"/>
                  <a:pt x="8729225" y="5483060"/>
                  <a:pt x="8735083" y="5483060"/>
                </a:cubicBezTo>
                <a:cubicBezTo>
                  <a:pt x="8737079" y="5483060"/>
                  <a:pt x="8738943" y="5482794"/>
                  <a:pt x="8740407" y="5482128"/>
                </a:cubicBezTo>
                <a:cubicBezTo>
                  <a:pt x="8741872" y="5481596"/>
                  <a:pt x="8743203" y="5480664"/>
                  <a:pt x="8744134" y="5479731"/>
                </a:cubicBezTo>
                <a:cubicBezTo>
                  <a:pt x="8745200" y="5478533"/>
                  <a:pt x="8746132" y="5477202"/>
                  <a:pt x="8746797" y="5475472"/>
                </a:cubicBezTo>
                <a:cubicBezTo>
                  <a:pt x="8747596" y="5473874"/>
                  <a:pt x="8747862" y="5472010"/>
                  <a:pt x="8747862" y="5470014"/>
                </a:cubicBezTo>
                <a:cubicBezTo>
                  <a:pt x="8747862" y="5468150"/>
                  <a:pt x="8747462" y="5466420"/>
                  <a:pt x="8746797" y="5464822"/>
                </a:cubicBezTo>
                <a:cubicBezTo>
                  <a:pt x="8746132" y="5463225"/>
                  <a:pt x="8745200" y="5461894"/>
                  <a:pt x="8744134" y="5460696"/>
                </a:cubicBezTo>
                <a:cubicBezTo>
                  <a:pt x="8743069" y="5459631"/>
                  <a:pt x="8741738" y="5458699"/>
                  <a:pt x="8740141" y="5458033"/>
                </a:cubicBezTo>
                <a:cubicBezTo>
                  <a:pt x="8738677" y="5457368"/>
                  <a:pt x="8736946" y="5457102"/>
                  <a:pt x="8735083" y="5457102"/>
                </a:cubicBezTo>
                <a:close/>
                <a:moveTo>
                  <a:pt x="8517438" y="5457102"/>
                </a:moveTo>
                <a:cubicBezTo>
                  <a:pt x="8511713" y="5457102"/>
                  <a:pt x="8509051" y="5458965"/>
                  <a:pt x="8507453" y="5460696"/>
                </a:cubicBezTo>
                <a:cubicBezTo>
                  <a:pt x="8504925" y="5463358"/>
                  <a:pt x="8503860" y="5466153"/>
                  <a:pt x="8503860" y="5470147"/>
                </a:cubicBezTo>
                <a:cubicBezTo>
                  <a:pt x="8503860" y="5474274"/>
                  <a:pt x="8504925" y="5477069"/>
                  <a:pt x="8507453" y="5479598"/>
                </a:cubicBezTo>
                <a:cubicBezTo>
                  <a:pt x="8509051" y="5481197"/>
                  <a:pt x="8511581" y="5483060"/>
                  <a:pt x="8517438" y="5483060"/>
                </a:cubicBezTo>
                <a:cubicBezTo>
                  <a:pt x="8519568" y="5483060"/>
                  <a:pt x="8521299" y="5482794"/>
                  <a:pt x="8522763" y="5482128"/>
                </a:cubicBezTo>
                <a:cubicBezTo>
                  <a:pt x="8524227" y="5481596"/>
                  <a:pt x="8525559" y="5480664"/>
                  <a:pt x="8526490" y="5479731"/>
                </a:cubicBezTo>
                <a:cubicBezTo>
                  <a:pt x="8527555" y="5478533"/>
                  <a:pt x="8528487" y="5477202"/>
                  <a:pt x="8529152" y="5475472"/>
                </a:cubicBezTo>
                <a:cubicBezTo>
                  <a:pt x="8529818" y="5473874"/>
                  <a:pt x="8530084" y="5472010"/>
                  <a:pt x="8530084" y="5470014"/>
                </a:cubicBezTo>
                <a:cubicBezTo>
                  <a:pt x="8530084" y="5468150"/>
                  <a:pt x="8529818" y="5466420"/>
                  <a:pt x="8529152" y="5464822"/>
                </a:cubicBezTo>
                <a:cubicBezTo>
                  <a:pt x="8528487" y="5463225"/>
                  <a:pt x="8527555" y="5461894"/>
                  <a:pt x="8526490" y="5460696"/>
                </a:cubicBezTo>
                <a:cubicBezTo>
                  <a:pt x="8525425" y="5459631"/>
                  <a:pt x="8524094" y="5458699"/>
                  <a:pt x="8522496" y="5458033"/>
                </a:cubicBezTo>
                <a:cubicBezTo>
                  <a:pt x="8521032" y="5457368"/>
                  <a:pt x="8519302" y="5457102"/>
                  <a:pt x="8517438" y="5457102"/>
                </a:cubicBezTo>
                <a:close/>
                <a:moveTo>
                  <a:pt x="8299793" y="5457102"/>
                </a:moveTo>
                <a:cubicBezTo>
                  <a:pt x="8294068" y="5457102"/>
                  <a:pt x="8291406" y="5458965"/>
                  <a:pt x="8289809" y="5460696"/>
                </a:cubicBezTo>
                <a:cubicBezTo>
                  <a:pt x="8287280" y="5463358"/>
                  <a:pt x="8286215" y="5466153"/>
                  <a:pt x="8286215" y="5470147"/>
                </a:cubicBezTo>
                <a:cubicBezTo>
                  <a:pt x="8286215" y="5474274"/>
                  <a:pt x="8287280" y="5477069"/>
                  <a:pt x="8289809" y="5479598"/>
                </a:cubicBezTo>
                <a:cubicBezTo>
                  <a:pt x="8291406" y="5481197"/>
                  <a:pt x="8293935" y="5483060"/>
                  <a:pt x="8299793" y="5483060"/>
                </a:cubicBezTo>
                <a:cubicBezTo>
                  <a:pt x="8301923" y="5483060"/>
                  <a:pt x="8303653" y="5482794"/>
                  <a:pt x="8305118" y="5482128"/>
                </a:cubicBezTo>
                <a:cubicBezTo>
                  <a:pt x="8306582" y="5481596"/>
                  <a:pt x="8307913" y="5480664"/>
                  <a:pt x="8308844" y="5479731"/>
                </a:cubicBezTo>
                <a:cubicBezTo>
                  <a:pt x="8309910" y="5478533"/>
                  <a:pt x="8310842" y="5477202"/>
                  <a:pt x="8311507" y="5475472"/>
                </a:cubicBezTo>
                <a:cubicBezTo>
                  <a:pt x="8312172" y="5473874"/>
                  <a:pt x="8312439" y="5472010"/>
                  <a:pt x="8312439" y="5470014"/>
                </a:cubicBezTo>
                <a:cubicBezTo>
                  <a:pt x="8312439" y="5468150"/>
                  <a:pt x="8312172" y="5466420"/>
                  <a:pt x="8311507" y="5464822"/>
                </a:cubicBezTo>
                <a:cubicBezTo>
                  <a:pt x="8310842" y="5463225"/>
                  <a:pt x="8309910" y="5461894"/>
                  <a:pt x="8308844" y="5460696"/>
                </a:cubicBezTo>
                <a:cubicBezTo>
                  <a:pt x="8307779" y="5459631"/>
                  <a:pt x="8306448" y="5458699"/>
                  <a:pt x="8304851" y="5458033"/>
                </a:cubicBezTo>
                <a:cubicBezTo>
                  <a:pt x="8303387" y="5457368"/>
                  <a:pt x="8301790" y="5457102"/>
                  <a:pt x="8299793" y="5457102"/>
                </a:cubicBezTo>
                <a:close/>
                <a:moveTo>
                  <a:pt x="8082281" y="5457102"/>
                </a:moveTo>
                <a:cubicBezTo>
                  <a:pt x="8076424" y="5457102"/>
                  <a:pt x="8073894" y="5458965"/>
                  <a:pt x="8072297" y="5460696"/>
                </a:cubicBezTo>
                <a:cubicBezTo>
                  <a:pt x="8069768" y="5463358"/>
                  <a:pt x="8068703" y="5466153"/>
                  <a:pt x="8068703" y="5470147"/>
                </a:cubicBezTo>
                <a:cubicBezTo>
                  <a:pt x="8068703" y="5474274"/>
                  <a:pt x="8069768" y="5477069"/>
                  <a:pt x="8072297" y="5479598"/>
                </a:cubicBezTo>
                <a:cubicBezTo>
                  <a:pt x="8073894" y="5481197"/>
                  <a:pt x="8076424" y="5483060"/>
                  <a:pt x="8082281" y="5483060"/>
                </a:cubicBezTo>
                <a:cubicBezTo>
                  <a:pt x="8084277" y="5483060"/>
                  <a:pt x="8086007" y="5482794"/>
                  <a:pt x="8087605" y="5482128"/>
                </a:cubicBezTo>
                <a:cubicBezTo>
                  <a:pt x="8089069" y="5481596"/>
                  <a:pt x="8090401" y="5480664"/>
                  <a:pt x="8091332" y="5479731"/>
                </a:cubicBezTo>
                <a:cubicBezTo>
                  <a:pt x="8092397" y="5478533"/>
                  <a:pt x="8093329" y="5477202"/>
                  <a:pt x="8093994" y="5475472"/>
                </a:cubicBezTo>
                <a:cubicBezTo>
                  <a:pt x="8094660" y="5473874"/>
                  <a:pt x="8094926" y="5472010"/>
                  <a:pt x="8094926" y="5470014"/>
                </a:cubicBezTo>
                <a:cubicBezTo>
                  <a:pt x="8094926" y="5468150"/>
                  <a:pt x="8094660" y="5466420"/>
                  <a:pt x="8093994" y="5464822"/>
                </a:cubicBezTo>
                <a:cubicBezTo>
                  <a:pt x="8093329" y="5463225"/>
                  <a:pt x="8092397" y="5461894"/>
                  <a:pt x="8091332" y="5460696"/>
                </a:cubicBezTo>
                <a:cubicBezTo>
                  <a:pt x="8090267" y="5459631"/>
                  <a:pt x="8088936" y="5458699"/>
                  <a:pt x="8087338" y="5458033"/>
                </a:cubicBezTo>
                <a:cubicBezTo>
                  <a:pt x="8085874" y="5457368"/>
                  <a:pt x="8084277" y="5457102"/>
                  <a:pt x="8082281" y="5457102"/>
                </a:cubicBezTo>
                <a:close/>
                <a:moveTo>
                  <a:pt x="7864636" y="5457102"/>
                </a:moveTo>
                <a:cubicBezTo>
                  <a:pt x="7858779" y="5457102"/>
                  <a:pt x="7856249" y="5458965"/>
                  <a:pt x="7854652" y="5460696"/>
                </a:cubicBezTo>
                <a:cubicBezTo>
                  <a:pt x="7852123" y="5463358"/>
                  <a:pt x="7851058" y="5466153"/>
                  <a:pt x="7851058" y="5470147"/>
                </a:cubicBezTo>
                <a:cubicBezTo>
                  <a:pt x="7851058" y="5474274"/>
                  <a:pt x="7852123" y="5477069"/>
                  <a:pt x="7854652" y="5479598"/>
                </a:cubicBezTo>
                <a:cubicBezTo>
                  <a:pt x="7856249" y="5481197"/>
                  <a:pt x="7858779" y="5483060"/>
                  <a:pt x="7864636" y="5483060"/>
                </a:cubicBezTo>
                <a:cubicBezTo>
                  <a:pt x="7866633" y="5483060"/>
                  <a:pt x="7868363" y="5482794"/>
                  <a:pt x="7869961" y="5482128"/>
                </a:cubicBezTo>
                <a:cubicBezTo>
                  <a:pt x="7871425" y="5481596"/>
                  <a:pt x="7872756" y="5480664"/>
                  <a:pt x="7873687" y="5479731"/>
                </a:cubicBezTo>
                <a:cubicBezTo>
                  <a:pt x="7874753" y="5478533"/>
                  <a:pt x="7875685" y="5477202"/>
                  <a:pt x="7876350" y="5475472"/>
                </a:cubicBezTo>
                <a:cubicBezTo>
                  <a:pt x="7877015" y="5473874"/>
                  <a:pt x="7877282" y="5472010"/>
                  <a:pt x="7877282" y="5470014"/>
                </a:cubicBezTo>
                <a:cubicBezTo>
                  <a:pt x="7877282" y="5468150"/>
                  <a:pt x="7877015" y="5466420"/>
                  <a:pt x="7876350" y="5464822"/>
                </a:cubicBezTo>
                <a:cubicBezTo>
                  <a:pt x="7875685" y="5463225"/>
                  <a:pt x="7874753" y="5461894"/>
                  <a:pt x="7873687" y="5460696"/>
                </a:cubicBezTo>
                <a:cubicBezTo>
                  <a:pt x="7872623" y="5459631"/>
                  <a:pt x="7871291" y="5458699"/>
                  <a:pt x="7869694" y="5458033"/>
                </a:cubicBezTo>
                <a:cubicBezTo>
                  <a:pt x="7868230" y="5457368"/>
                  <a:pt x="7866633" y="5457102"/>
                  <a:pt x="7864636" y="5457102"/>
                </a:cubicBezTo>
                <a:close/>
                <a:moveTo>
                  <a:pt x="7646991" y="5457102"/>
                </a:moveTo>
                <a:cubicBezTo>
                  <a:pt x="7641134" y="5457102"/>
                  <a:pt x="7638604" y="5458965"/>
                  <a:pt x="7637007" y="5460696"/>
                </a:cubicBezTo>
                <a:cubicBezTo>
                  <a:pt x="7634478" y="5463358"/>
                  <a:pt x="7633413" y="5466153"/>
                  <a:pt x="7633413" y="5470147"/>
                </a:cubicBezTo>
                <a:cubicBezTo>
                  <a:pt x="7633413" y="5474274"/>
                  <a:pt x="7634478" y="5477069"/>
                  <a:pt x="7637007" y="5479598"/>
                </a:cubicBezTo>
                <a:cubicBezTo>
                  <a:pt x="7638604" y="5481197"/>
                  <a:pt x="7641134" y="5483060"/>
                  <a:pt x="7646991" y="5483060"/>
                </a:cubicBezTo>
                <a:cubicBezTo>
                  <a:pt x="7648987" y="5483060"/>
                  <a:pt x="7650851" y="5482794"/>
                  <a:pt x="7652315" y="5482128"/>
                </a:cubicBezTo>
                <a:cubicBezTo>
                  <a:pt x="7653780" y="5481596"/>
                  <a:pt x="7655111" y="5480664"/>
                  <a:pt x="7656042" y="5479731"/>
                </a:cubicBezTo>
                <a:cubicBezTo>
                  <a:pt x="7657108" y="5478533"/>
                  <a:pt x="7658039" y="5477202"/>
                  <a:pt x="7658705" y="5475472"/>
                </a:cubicBezTo>
                <a:cubicBezTo>
                  <a:pt x="7659504" y="5473874"/>
                  <a:pt x="7659769" y="5472010"/>
                  <a:pt x="7659769" y="5470014"/>
                </a:cubicBezTo>
                <a:cubicBezTo>
                  <a:pt x="7659769" y="5468150"/>
                  <a:pt x="7659370" y="5466420"/>
                  <a:pt x="7658705" y="5464822"/>
                </a:cubicBezTo>
                <a:cubicBezTo>
                  <a:pt x="7658039" y="5463225"/>
                  <a:pt x="7657108" y="5461894"/>
                  <a:pt x="7656042" y="5460696"/>
                </a:cubicBezTo>
                <a:cubicBezTo>
                  <a:pt x="7654977" y="5459631"/>
                  <a:pt x="7653646" y="5458699"/>
                  <a:pt x="7652049" y="5458033"/>
                </a:cubicBezTo>
                <a:cubicBezTo>
                  <a:pt x="7650584" y="5457368"/>
                  <a:pt x="7648987" y="5457102"/>
                  <a:pt x="7646991" y="5457102"/>
                </a:cubicBezTo>
                <a:close/>
                <a:moveTo>
                  <a:pt x="7429345" y="5457102"/>
                </a:moveTo>
                <a:cubicBezTo>
                  <a:pt x="7423488" y="5457102"/>
                  <a:pt x="7420958" y="5458965"/>
                  <a:pt x="7419361" y="5460696"/>
                </a:cubicBezTo>
                <a:cubicBezTo>
                  <a:pt x="7416832" y="5463358"/>
                  <a:pt x="7415768" y="5466153"/>
                  <a:pt x="7415768" y="5470147"/>
                </a:cubicBezTo>
                <a:cubicBezTo>
                  <a:pt x="7415768" y="5474274"/>
                  <a:pt x="7416832" y="5477069"/>
                  <a:pt x="7419361" y="5479598"/>
                </a:cubicBezTo>
                <a:cubicBezTo>
                  <a:pt x="7420958" y="5481197"/>
                  <a:pt x="7423488" y="5483060"/>
                  <a:pt x="7429345" y="5483060"/>
                </a:cubicBezTo>
                <a:cubicBezTo>
                  <a:pt x="7431342" y="5483060"/>
                  <a:pt x="7433206" y="5482794"/>
                  <a:pt x="7434670" y="5482128"/>
                </a:cubicBezTo>
                <a:cubicBezTo>
                  <a:pt x="7436134" y="5481596"/>
                  <a:pt x="7437466" y="5480664"/>
                  <a:pt x="7438397" y="5479731"/>
                </a:cubicBezTo>
                <a:cubicBezTo>
                  <a:pt x="7439462" y="5478533"/>
                  <a:pt x="7440394" y="5477202"/>
                  <a:pt x="7441059" y="5475472"/>
                </a:cubicBezTo>
                <a:cubicBezTo>
                  <a:pt x="7441858" y="5473874"/>
                  <a:pt x="7442124" y="5472010"/>
                  <a:pt x="7442124" y="5470014"/>
                </a:cubicBezTo>
                <a:cubicBezTo>
                  <a:pt x="7442124" y="5468150"/>
                  <a:pt x="7441725" y="5466420"/>
                  <a:pt x="7441059" y="5464822"/>
                </a:cubicBezTo>
                <a:cubicBezTo>
                  <a:pt x="7440394" y="5463225"/>
                  <a:pt x="7439462" y="5461894"/>
                  <a:pt x="7438397" y="5460696"/>
                </a:cubicBezTo>
                <a:cubicBezTo>
                  <a:pt x="7437332" y="5459631"/>
                  <a:pt x="7436001" y="5458699"/>
                  <a:pt x="7434403" y="5458033"/>
                </a:cubicBezTo>
                <a:cubicBezTo>
                  <a:pt x="7432939" y="5457368"/>
                  <a:pt x="7431342" y="5457102"/>
                  <a:pt x="7429345" y="5457102"/>
                </a:cubicBezTo>
                <a:close/>
                <a:moveTo>
                  <a:pt x="7211701" y="5457102"/>
                </a:moveTo>
                <a:cubicBezTo>
                  <a:pt x="7205844" y="5457102"/>
                  <a:pt x="7203314" y="5458965"/>
                  <a:pt x="7201717" y="5460696"/>
                </a:cubicBezTo>
                <a:cubicBezTo>
                  <a:pt x="7199188" y="5463358"/>
                  <a:pt x="7198123" y="5466153"/>
                  <a:pt x="7198123" y="5470147"/>
                </a:cubicBezTo>
                <a:cubicBezTo>
                  <a:pt x="7198123" y="5474274"/>
                  <a:pt x="7199188" y="5477069"/>
                  <a:pt x="7201717" y="5479598"/>
                </a:cubicBezTo>
                <a:cubicBezTo>
                  <a:pt x="7203314" y="5481197"/>
                  <a:pt x="7205844" y="5483060"/>
                  <a:pt x="7211701" y="5483060"/>
                </a:cubicBezTo>
                <a:cubicBezTo>
                  <a:pt x="7213830" y="5483060"/>
                  <a:pt x="7215561" y="5482794"/>
                  <a:pt x="7217026" y="5482128"/>
                </a:cubicBezTo>
                <a:cubicBezTo>
                  <a:pt x="7218490" y="5481596"/>
                  <a:pt x="7219821" y="5480664"/>
                  <a:pt x="7220752" y="5479731"/>
                </a:cubicBezTo>
                <a:cubicBezTo>
                  <a:pt x="7221818" y="5478533"/>
                  <a:pt x="7222750" y="5477202"/>
                  <a:pt x="7223415" y="5475472"/>
                </a:cubicBezTo>
                <a:cubicBezTo>
                  <a:pt x="7224214" y="5473874"/>
                  <a:pt x="7224480" y="5472010"/>
                  <a:pt x="7224480" y="5470014"/>
                </a:cubicBezTo>
                <a:cubicBezTo>
                  <a:pt x="7224480" y="5468150"/>
                  <a:pt x="7224080" y="5466420"/>
                  <a:pt x="7223415" y="5464822"/>
                </a:cubicBezTo>
                <a:cubicBezTo>
                  <a:pt x="7222750" y="5463225"/>
                  <a:pt x="7221818" y="5461894"/>
                  <a:pt x="7220752" y="5460696"/>
                </a:cubicBezTo>
                <a:cubicBezTo>
                  <a:pt x="7219687" y="5459631"/>
                  <a:pt x="7218356" y="5458699"/>
                  <a:pt x="7216759" y="5458033"/>
                </a:cubicBezTo>
                <a:cubicBezTo>
                  <a:pt x="7215295" y="5457368"/>
                  <a:pt x="7213698" y="5457102"/>
                  <a:pt x="7211701" y="5457102"/>
                </a:cubicBezTo>
                <a:close/>
                <a:moveTo>
                  <a:pt x="6994056" y="5457102"/>
                </a:moveTo>
                <a:cubicBezTo>
                  <a:pt x="6988199" y="5457102"/>
                  <a:pt x="6985669" y="5458965"/>
                  <a:pt x="6984072" y="5460696"/>
                </a:cubicBezTo>
                <a:cubicBezTo>
                  <a:pt x="6981543" y="5463358"/>
                  <a:pt x="6980478" y="5466153"/>
                  <a:pt x="6980478" y="5470147"/>
                </a:cubicBezTo>
                <a:cubicBezTo>
                  <a:pt x="6980478" y="5474274"/>
                  <a:pt x="6981543" y="5477069"/>
                  <a:pt x="6984072" y="5479598"/>
                </a:cubicBezTo>
                <a:cubicBezTo>
                  <a:pt x="6985669" y="5481197"/>
                  <a:pt x="6988199" y="5483060"/>
                  <a:pt x="6994056" y="5483060"/>
                </a:cubicBezTo>
                <a:cubicBezTo>
                  <a:pt x="6996185" y="5483060"/>
                  <a:pt x="6997916" y="5482794"/>
                  <a:pt x="6999380" y="5482128"/>
                </a:cubicBezTo>
                <a:cubicBezTo>
                  <a:pt x="7000844" y="5481596"/>
                  <a:pt x="7002176" y="5480664"/>
                  <a:pt x="7003107" y="5479731"/>
                </a:cubicBezTo>
                <a:cubicBezTo>
                  <a:pt x="7004172" y="5478533"/>
                  <a:pt x="7005104" y="5477202"/>
                  <a:pt x="7005769" y="5475472"/>
                </a:cubicBezTo>
                <a:cubicBezTo>
                  <a:pt x="7006568" y="5473874"/>
                  <a:pt x="7006834" y="5472010"/>
                  <a:pt x="7006834" y="5470014"/>
                </a:cubicBezTo>
                <a:cubicBezTo>
                  <a:pt x="7006834" y="5468150"/>
                  <a:pt x="7006435" y="5466420"/>
                  <a:pt x="7005769" y="5464822"/>
                </a:cubicBezTo>
                <a:cubicBezTo>
                  <a:pt x="7005104" y="5463225"/>
                  <a:pt x="7004172" y="5461894"/>
                  <a:pt x="7003107" y="5460696"/>
                </a:cubicBezTo>
                <a:cubicBezTo>
                  <a:pt x="7002042" y="5459631"/>
                  <a:pt x="7000711" y="5458699"/>
                  <a:pt x="6999113" y="5458033"/>
                </a:cubicBezTo>
                <a:cubicBezTo>
                  <a:pt x="6997649" y="5457368"/>
                  <a:pt x="6996052" y="5457102"/>
                  <a:pt x="6994056" y="5457102"/>
                </a:cubicBezTo>
                <a:close/>
                <a:moveTo>
                  <a:pt x="6776544" y="5457102"/>
                </a:moveTo>
                <a:cubicBezTo>
                  <a:pt x="6770687" y="5457102"/>
                  <a:pt x="6768157" y="5458965"/>
                  <a:pt x="6766560" y="5460696"/>
                </a:cubicBezTo>
                <a:cubicBezTo>
                  <a:pt x="6764031" y="5463358"/>
                  <a:pt x="6762966" y="5466153"/>
                  <a:pt x="6762966" y="5470147"/>
                </a:cubicBezTo>
                <a:cubicBezTo>
                  <a:pt x="6762966" y="5474274"/>
                  <a:pt x="6764031" y="5477069"/>
                  <a:pt x="6766560" y="5479598"/>
                </a:cubicBezTo>
                <a:cubicBezTo>
                  <a:pt x="6768157" y="5481197"/>
                  <a:pt x="6770687" y="5483060"/>
                  <a:pt x="6776544" y="5483060"/>
                </a:cubicBezTo>
                <a:cubicBezTo>
                  <a:pt x="6778541" y="5483060"/>
                  <a:pt x="6780270" y="5482794"/>
                  <a:pt x="6781869" y="5482128"/>
                </a:cubicBezTo>
                <a:cubicBezTo>
                  <a:pt x="6783333" y="5481596"/>
                  <a:pt x="6784664" y="5480664"/>
                  <a:pt x="6785595" y="5479731"/>
                </a:cubicBezTo>
                <a:cubicBezTo>
                  <a:pt x="6786661" y="5478533"/>
                  <a:pt x="6787593" y="5477202"/>
                  <a:pt x="6788258" y="5475472"/>
                </a:cubicBezTo>
                <a:cubicBezTo>
                  <a:pt x="6789057" y="5473874"/>
                  <a:pt x="6789323" y="5472010"/>
                  <a:pt x="6789323" y="5470014"/>
                </a:cubicBezTo>
                <a:cubicBezTo>
                  <a:pt x="6789323" y="5468150"/>
                  <a:pt x="6788923" y="5466420"/>
                  <a:pt x="6788258" y="5464822"/>
                </a:cubicBezTo>
                <a:cubicBezTo>
                  <a:pt x="6787593" y="5463225"/>
                  <a:pt x="6786661" y="5461894"/>
                  <a:pt x="6785595" y="5460696"/>
                </a:cubicBezTo>
                <a:cubicBezTo>
                  <a:pt x="6784530" y="5459631"/>
                  <a:pt x="6783199" y="5458699"/>
                  <a:pt x="6781602" y="5458033"/>
                </a:cubicBezTo>
                <a:cubicBezTo>
                  <a:pt x="6780138" y="5457368"/>
                  <a:pt x="6778541" y="5457102"/>
                  <a:pt x="6776544" y="5457102"/>
                </a:cubicBezTo>
                <a:close/>
                <a:moveTo>
                  <a:pt x="6558899" y="5457102"/>
                </a:moveTo>
                <a:cubicBezTo>
                  <a:pt x="6553042" y="5457102"/>
                  <a:pt x="6550512" y="5458965"/>
                  <a:pt x="6548915" y="5460696"/>
                </a:cubicBezTo>
                <a:cubicBezTo>
                  <a:pt x="6546386" y="5463358"/>
                  <a:pt x="6545321" y="5466153"/>
                  <a:pt x="6545321" y="5470147"/>
                </a:cubicBezTo>
                <a:cubicBezTo>
                  <a:pt x="6545321" y="5474274"/>
                  <a:pt x="6546386" y="5477069"/>
                  <a:pt x="6548915" y="5479598"/>
                </a:cubicBezTo>
                <a:cubicBezTo>
                  <a:pt x="6550512" y="5481197"/>
                  <a:pt x="6553042" y="5483060"/>
                  <a:pt x="6558899" y="5483060"/>
                </a:cubicBezTo>
                <a:cubicBezTo>
                  <a:pt x="6560895" y="5483060"/>
                  <a:pt x="6562759" y="5482794"/>
                  <a:pt x="6564223" y="5482128"/>
                </a:cubicBezTo>
                <a:cubicBezTo>
                  <a:pt x="6565687" y="5481596"/>
                  <a:pt x="6567019" y="5480664"/>
                  <a:pt x="6567950" y="5479731"/>
                </a:cubicBezTo>
                <a:cubicBezTo>
                  <a:pt x="6569015" y="5478533"/>
                  <a:pt x="6569947" y="5477202"/>
                  <a:pt x="6570612" y="5475472"/>
                </a:cubicBezTo>
                <a:cubicBezTo>
                  <a:pt x="6571412" y="5473874"/>
                  <a:pt x="6571677" y="5472010"/>
                  <a:pt x="6571677" y="5470014"/>
                </a:cubicBezTo>
                <a:cubicBezTo>
                  <a:pt x="6571677" y="5468150"/>
                  <a:pt x="6571278" y="5466420"/>
                  <a:pt x="6570612" y="5464822"/>
                </a:cubicBezTo>
                <a:cubicBezTo>
                  <a:pt x="6569947" y="5463225"/>
                  <a:pt x="6569015" y="5461894"/>
                  <a:pt x="6567950" y="5460696"/>
                </a:cubicBezTo>
                <a:cubicBezTo>
                  <a:pt x="6566885" y="5459631"/>
                  <a:pt x="6565554" y="5458699"/>
                  <a:pt x="6563956" y="5458033"/>
                </a:cubicBezTo>
                <a:cubicBezTo>
                  <a:pt x="6562492" y="5457368"/>
                  <a:pt x="6560895" y="5457102"/>
                  <a:pt x="6558899" y="5457102"/>
                </a:cubicBezTo>
                <a:close/>
                <a:moveTo>
                  <a:pt x="6341253" y="5457102"/>
                </a:moveTo>
                <a:cubicBezTo>
                  <a:pt x="6335396" y="5457102"/>
                  <a:pt x="6332867" y="5458965"/>
                  <a:pt x="6331270" y="5460696"/>
                </a:cubicBezTo>
                <a:cubicBezTo>
                  <a:pt x="6328740" y="5463358"/>
                  <a:pt x="6327675" y="5466153"/>
                  <a:pt x="6327675" y="5470147"/>
                </a:cubicBezTo>
                <a:cubicBezTo>
                  <a:pt x="6327675" y="5474274"/>
                  <a:pt x="6328740" y="5477069"/>
                  <a:pt x="6331270" y="5479598"/>
                </a:cubicBezTo>
                <a:cubicBezTo>
                  <a:pt x="6332867" y="5481197"/>
                  <a:pt x="6335396" y="5483060"/>
                  <a:pt x="6341253" y="5483060"/>
                </a:cubicBezTo>
                <a:cubicBezTo>
                  <a:pt x="6343250" y="5483060"/>
                  <a:pt x="6345114" y="5482794"/>
                  <a:pt x="6346578" y="5482128"/>
                </a:cubicBezTo>
                <a:cubicBezTo>
                  <a:pt x="6348042" y="5481596"/>
                  <a:pt x="6349373" y="5480664"/>
                  <a:pt x="6350305" y="5479731"/>
                </a:cubicBezTo>
                <a:cubicBezTo>
                  <a:pt x="6351370" y="5478533"/>
                  <a:pt x="6352302" y="5477202"/>
                  <a:pt x="6352968" y="5475472"/>
                </a:cubicBezTo>
                <a:cubicBezTo>
                  <a:pt x="6353766" y="5473874"/>
                  <a:pt x="6354033" y="5472010"/>
                  <a:pt x="6354033" y="5470014"/>
                </a:cubicBezTo>
                <a:cubicBezTo>
                  <a:pt x="6354033" y="5468150"/>
                  <a:pt x="6353633" y="5466420"/>
                  <a:pt x="6352968" y="5464822"/>
                </a:cubicBezTo>
                <a:cubicBezTo>
                  <a:pt x="6352302" y="5463225"/>
                  <a:pt x="6351370" y="5461894"/>
                  <a:pt x="6350305" y="5460696"/>
                </a:cubicBezTo>
                <a:cubicBezTo>
                  <a:pt x="6349241" y="5459631"/>
                  <a:pt x="6347909" y="5458699"/>
                  <a:pt x="6346312" y="5458033"/>
                </a:cubicBezTo>
                <a:cubicBezTo>
                  <a:pt x="6344848" y="5457368"/>
                  <a:pt x="6343250" y="5457102"/>
                  <a:pt x="6341253" y="5457102"/>
                </a:cubicBezTo>
                <a:close/>
                <a:moveTo>
                  <a:pt x="6123608" y="5457102"/>
                </a:moveTo>
                <a:cubicBezTo>
                  <a:pt x="6117751" y="5457102"/>
                  <a:pt x="6115221" y="5458965"/>
                  <a:pt x="6113624" y="5460696"/>
                </a:cubicBezTo>
                <a:cubicBezTo>
                  <a:pt x="6111095" y="5463358"/>
                  <a:pt x="6110030" y="5466153"/>
                  <a:pt x="6110030" y="5470147"/>
                </a:cubicBezTo>
                <a:cubicBezTo>
                  <a:pt x="6110030" y="5474274"/>
                  <a:pt x="6111095" y="5477069"/>
                  <a:pt x="6113624" y="5479598"/>
                </a:cubicBezTo>
                <a:cubicBezTo>
                  <a:pt x="6115221" y="5481197"/>
                  <a:pt x="6117751" y="5483060"/>
                  <a:pt x="6123608" y="5483060"/>
                </a:cubicBezTo>
                <a:cubicBezTo>
                  <a:pt x="6125737" y="5483060"/>
                  <a:pt x="6127468" y="5482794"/>
                  <a:pt x="6128932" y="5482128"/>
                </a:cubicBezTo>
                <a:cubicBezTo>
                  <a:pt x="6130530" y="5481596"/>
                  <a:pt x="6131728" y="5480664"/>
                  <a:pt x="6132659" y="5479731"/>
                </a:cubicBezTo>
                <a:cubicBezTo>
                  <a:pt x="6133724" y="5478533"/>
                  <a:pt x="6134656" y="5477202"/>
                  <a:pt x="6135322" y="5475472"/>
                </a:cubicBezTo>
                <a:cubicBezTo>
                  <a:pt x="6135987" y="5473874"/>
                  <a:pt x="6136387" y="5472010"/>
                  <a:pt x="6136387" y="5470014"/>
                </a:cubicBezTo>
                <a:cubicBezTo>
                  <a:pt x="6136387" y="5468150"/>
                  <a:pt x="6135987" y="5466420"/>
                  <a:pt x="6135322" y="5464822"/>
                </a:cubicBezTo>
                <a:cubicBezTo>
                  <a:pt x="6134656" y="5463225"/>
                  <a:pt x="6133724" y="5461894"/>
                  <a:pt x="6132659" y="5460696"/>
                </a:cubicBezTo>
                <a:cubicBezTo>
                  <a:pt x="6131594" y="5459631"/>
                  <a:pt x="6130263" y="5458699"/>
                  <a:pt x="6128666" y="5458033"/>
                </a:cubicBezTo>
                <a:cubicBezTo>
                  <a:pt x="6127202" y="5457368"/>
                  <a:pt x="6125604" y="5457102"/>
                  <a:pt x="6123608" y="5457102"/>
                </a:cubicBezTo>
                <a:close/>
                <a:moveTo>
                  <a:pt x="5905963" y="5457102"/>
                </a:moveTo>
                <a:cubicBezTo>
                  <a:pt x="5900106" y="5457102"/>
                  <a:pt x="5897576" y="5458965"/>
                  <a:pt x="5895979" y="5460696"/>
                </a:cubicBezTo>
                <a:cubicBezTo>
                  <a:pt x="5893450" y="5463358"/>
                  <a:pt x="5892385" y="5466153"/>
                  <a:pt x="5892385" y="5470147"/>
                </a:cubicBezTo>
                <a:cubicBezTo>
                  <a:pt x="5892385" y="5474274"/>
                  <a:pt x="5893450" y="5477069"/>
                  <a:pt x="5895979" y="5479598"/>
                </a:cubicBezTo>
                <a:cubicBezTo>
                  <a:pt x="5897576" y="5481197"/>
                  <a:pt x="5900106" y="5483060"/>
                  <a:pt x="5905963" y="5483060"/>
                </a:cubicBezTo>
                <a:cubicBezTo>
                  <a:pt x="5908093" y="5483060"/>
                  <a:pt x="5909823" y="5482794"/>
                  <a:pt x="5911287" y="5482128"/>
                </a:cubicBezTo>
                <a:cubicBezTo>
                  <a:pt x="5912751" y="5481596"/>
                  <a:pt x="5914083" y="5480664"/>
                  <a:pt x="5915014" y="5479731"/>
                </a:cubicBezTo>
                <a:cubicBezTo>
                  <a:pt x="5916079" y="5478533"/>
                  <a:pt x="5917011" y="5477202"/>
                  <a:pt x="5917677" y="5475472"/>
                </a:cubicBezTo>
                <a:cubicBezTo>
                  <a:pt x="5918342" y="5473874"/>
                  <a:pt x="5918742" y="5472010"/>
                  <a:pt x="5918742" y="5470014"/>
                </a:cubicBezTo>
                <a:cubicBezTo>
                  <a:pt x="5918742" y="5468150"/>
                  <a:pt x="5918342" y="5466420"/>
                  <a:pt x="5917677" y="5464822"/>
                </a:cubicBezTo>
                <a:cubicBezTo>
                  <a:pt x="5917011" y="5463225"/>
                  <a:pt x="5916079" y="5461894"/>
                  <a:pt x="5915014" y="5460696"/>
                </a:cubicBezTo>
                <a:cubicBezTo>
                  <a:pt x="5913950" y="5459631"/>
                  <a:pt x="5912618" y="5458699"/>
                  <a:pt x="5911021" y="5458033"/>
                </a:cubicBezTo>
                <a:cubicBezTo>
                  <a:pt x="5909557" y="5457368"/>
                  <a:pt x="5907826" y="5457102"/>
                  <a:pt x="5905963" y="5457102"/>
                </a:cubicBezTo>
                <a:close/>
                <a:moveTo>
                  <a:pt x="5688451" y="5457102"/>
                </a:moveTo>
                <a:cubicBezTo>
                  <a:pt x="5682594" y="5457102"/>
                  <a:pt x="5680064" y="5458965"/>
                  <a:pt x="5678467" y="5460696"/>
                </a:cubicBezTo>
                <a:cubicBezTo>
                  <a:pt x="5675938" y="5463358"/>
                  <a:pt x="5674873" y="5466153"/>
                  <a:pt x="5674873" y="5470147"/>
                </a:cubicBezTo>
                <a:cubicBezTo>
                  <a:pt x="5674873" y="5474274"/>
                  <a:pt x="5675938" y="5477069"/>
                  <a:pt x="5678467" y="5479598"/>
                </a:cubicBezTo>
                <a:cubicBezTo>
                  <a:pt x="5680064" y="5481197"/>
                  <a:pt x="5682594" y="5483060"/>
                  <a:pt x="5688451" y="5483060"/>
                </a:cubicBezTo>
                <a:cubicBezTo>
                  <a:pt x="5690447" y="5483060"/>
                  <a:pt x="5692178" y="5482794"/>
                  <a:pt x="5693775" y="5482128"/>
                </a:cubicBezTo>
                <a:cubicBezTo>
                  <a:pt x="5695239" y="5481596"/>
                  <a:pt x="5696571" y="5480664"/>
                  <a:pt x="5697502" y="5479731"/>
                </a:cubicBezTo>
                <a:cubicBezTo>
                  <a:pt x="5698567" y="5478533"/>
                  <a:pt x="5699499" y="5477202"/>
                  <a:pt x="5700165" y="5475472"/>
                </a:cubicBezTo>
                <a:cubicBezTo>
                  <a:pt x="5700830" y="5473874"/>
                  <a:pt x="5701230" y="5472010"/>
                  <a:pt x="5701230" y="5470014"/>
                </a:cubicBezTo>
                <a:cubicBezTo>
                  <a:pt x="5701230" y="5468150"/>
                  <a:pt x="5700830" y="5466420"/>
                  <a:pt x="5700165" y="5464822"/>
                </a:cubicBezTo>
                <a:cubicBezTo>
                  <a:pt x="5699499" y="5463225"/>
                  <a:pt x="5698567" y="5461894"/>
                  <a:pt x="5697502" y="5460696"/>
                </a:cubicBezTo>
                <a:cubicBezTo>
                  <a:pt x="5696437" y="5459631"/>
                  <a:pt x="5695106" y="5458699"/>
                  <a:pt x="5693509" y="5458033"/>
                </a:cubicBezTo>
                <a:cubicBezTo>
                  <a:pt x="5692045" y="5457368"/>
                  <a:pt x="5690314" y="5457102"/>
                  <a:pt x="5688451" y="5457102"/>
                </a:cubicBezTo>
                <a:close/>
                <a:moveTo>
                  <a:pt x="5470806" y="5457102"/>
                </a:moveTo>
                <a:cubicBezTo>
                  <a:pt x="5464949" y="5457102"/>
                  <a:pt x="5462419" y="5458965"/>
                  <a:pt x="5460822" y="5460696"/>
                </a:cubicBezTo>
                <a:cubicBezTo>
                  <a:pt x="5458293" y="5463358"/>
                  <a:pt x="5457228" y="5466153"/>
                  <a:pt x="5457228" y="5470147"/>
                </a:cubicBezTo>
                <a:cubicBezTo>
                  <a:pt x="5457228" y="5474274"/>
                  <a:pt x="5458293" y="5477069"/>
                  <a:pt x="5460822" y="5479598"/>
                </a:cubicBezTo>
                <a:cubicBezTo>
                  <a:pt x="5462419" y="5481197"/>
                  <a:pt x="5464949" y="5483060"/>
                  <a:pt x="5470806" y="5483060"/>
                </a:cubicBezTo>
                <a:cubicBezTo>
                  <a:pt x="5472802" y="5483060"/>
                  <a:pt x="5474666" y="5482794"/>
                  <a:pt x="5476130" y="5482128"/>
                </a:cubicBezTo>
                <a:cubicBezTo>
                  <a:pt x="5477594" y="5481596"/>
                  <a:pt x="5478926" y="5480664"/>
                  <a:pt x="5479857" y="5479731"/>
                </a:cubicBezTo>
                <a:cubicBezTo>
                  <a:pt x="5480922" y="5478533"/>
                  <a:pt x="5481854" y="5477202"/>
                  <a:pt x="5482520" y="5475472"/>
                </a:cubicBezTo>
                <a:cubicBezTo>
                  <a:pt x="5483319" y="5473874"/>
                  <a:pt x="5483585" y="5472010"/>
                  <a:pt x="5483585" y="5470014"/>
                </a:cubicBezTo>
                <a:cubicBezTo>
                  <a:pt x="5483585" y="5468150"/>
                  <a:pt x="5483185" y="5466420"/>
                  <a:pt x="5482520" y="5464822"/>
                </a:cubicBezTo>
                <a:cubicBezTo>
                  <a:pt x="5481854" y="5463225"/>
                  <a:pt x="5480922" y="5461894"/>
                  <a:pt x="5479857" y="5460696"/>
                </a:cubicBezTo>
                <a:cubicBezTo>
                  <a:pt x="5478793" y="5459631"/>
                  <a:pt x="5477461" y="5458699"/>
                  <a:pt x="5475864" y="5458033"/>
                </a:cubicBezTo>
                <a:cubicBezTo>
                  <a:pt x="5474400" y="5457368"/>
                  <a:pt x="5472669" y="5457102"/>
                  <a:pt x="5470806" y="5457102"/>
                </a:cubicBezTo>
                <a:close/>
                <a:moveTo>
                  <a:pt x="5253160" y="5457102"/>
                </a:moveTo>
                <a:cubicBezTo>
                  <a:pt x="5247303" y="5457102"/>
                  <a:pt x="5244774" y="5458965"/>
                  <a:pt x="5243177" y="5460696"/>
                </a:cubicBezTo>
                <a:cubicBezTo>
                  <a:pt x="5240647" y="5463358"/>
                  <a:pt x="5239583" y="5466153"/>
                  <a:pt x="5239583" y="5470147"/>
                </a:cubicBezTo>
                <a:cubicBezTo>
                  <a:pt x="5239583" y="5474274"/>
                  <a:pt x="5240647" y="5477069"/>
                  <a:pt x="5243177" y="5479598"/>
                </a:cubicBezTo>
                <a:cubicBezTo>
                  <a:pt x="5244774" y="5481197"/>
                  <a:pt x="5247303" y="5483060"/>
                  <a:pt x="5253160" y="5483060"/>
                </a:cubicBezTo>
                <a:cubicBezTo>
                  <a:pt x="5255157" y="5483060"/>
                  <a:pt x="5257021" y="5482794"/>
                  <a:pt x="5258485" y="5482128"/>
                </a:cubicBezTo>
                <a:cubicBezTo>
                  <a:pt x="5259949" y="5481596"/>
                  <a:pt x="5261280" y="5480664"/>
                  <a:pt x="5262212" y="5479731"/>
                </a:cubicBezTo>
                <a:cubicBezTo>
                  <a:pt x="5263277" y="5478533"/>
                  <a:pt x="5264209" y="5477202"/>
                  <a:pt x="5264875" y="5475472"/>
                </a:cubicBezTo>
                <a:cubicBezTo>
                  <a:pt x="5265673" y="5473874"/>
                  <a:pt x="5265939" y="5472010"/>
                  <a:pt x="5265939" y="5470014"/>
                </a:cubicBezTo>
                <a:cubicBezTo>
                  <a:pt x="5265939" y="5468150"/>
                  <a:pt x="5265540" y="5466420"/>
                  <a:pt x="5264875" y="5464822"/>
                </a:cubicBezTo>
                <a:cubicBezTo>
                  <a:pt x="5264209" y="5463225"/>
                  <a:pt x="5263277" y="5461894"/>
                  <a:pt x="5262212" y="5460696"/>
                </a:cubicBezTo>
                <a:cubicBezTo>
                  <a:pt x="5261147" y="5459631"/>
                  <a:pt x="5259816" y="5458699"/>
                  <a:pt x="5258219" y="5458033"/>
                </a:cubicBezTo>
                <a:cubicBezTo>
                  <a:pt x="5256754" y="5457368"/>
                  <a:pt x="5255024" y="5457102"/>
                  <a:pt x="5253160" y="5457102"/>
                </a:cubicBezTo>
                <a:close/>
                <a:moveTo>
                  <a:pt x="5035515" y="5457102"/>
                </a:moveTo>
                <a:cubicBezTo>
                  <a:pt x="5029658" y="5457102"/>
                  <a:pt x="5027129" y="5458965"/>
                  <a:pt x="5025532" y="5460696"/>
                </a:cubicBezTo>
                <a:cubicBezTo>
                  <a:pt x="5023002" y="5463358"/>
                  <a:pt x="5021938" y="5466153"/>
                  <a:pt x="5021938" y="5470147"/>
                </a:cubicBezTo>
                <a:cubicBezTo>
                  <a:pt x="5021938" y="5474274"/>
                  <a:pt x="5023002" y="5477069"/>
                  <a:pt x="5025532" y="5479598"/>
                </a:cubicBezTo>
                <a:cubicBezTo>
                  <a:pt x="5027129" y="5481197"/>
                  <a:pt x="5029658" y="5483060"/>
                  <a:pt x="5035515" y="5483060"/>
                </a:cubicBezTo>
                <a:cubicBezTo>
                  <a:pt x="5037645" y="5483060"/>
                  <a:pt x="5039376" y="5482794"/>
                  <a:pt x="5040840" y="5482128"/>
                </a:cubicBezTo>
                <a:cubicBezTo>
                  <a:pt x="5042304" y="5481596"/>
                  <a:pt x="5043636" y="5480664"/>
                  <a:pt x="5044567" y="5479731"/>
                </a:cubicBezTo>
                <a:cubicBezTo>
                  <a:pt x="5045632" y="5478533"/>
                  <a:pt x="5046564" y="5477202"/>
                  <a:pt x="5047230" y="5475472"/>
                </a:cubicBezTo>
                <a:cubicBezTo>
                  <a:pt x="5048028" y="5473874"/>
                  <a:pt x="5048294" y="5472010"/>
                  <a:pt x="5048294" y="5470014"/>
                </a:cubicBezTo>
                <a:cubicBezTo>
                  <a:pt x="5048294" y="5468150"/>
                  <a:pt x="5047895" y="5466420"/>
                  <a:pt x="5047230" y="5464822"/>
                </a:cubicBezTo>
                <a:cubicBezTo>
                  <a:pt x="5046564" y="5463225"/>
                  <a:pt x="5045632" y="5461894"/>
                  <a:pt x="5044567" y="5460696"/>
                </a:cubicBezTo>
                <a:cubicBezTo>
                  <a:pt x="5043502" y="5459631"/>
                  <a:pt x="5042171" y="5458699"/>
                  <a:pt x="5040574" y="5458033"/>
                </a:cubicBezTo>
                <a:cubicBezTo>
                  <a:pt x="5039110" y="5457368"/>
                  <a:pt x="5037379" y="5457102"/>
                  <a:pt x="5035515" y="5457102"/>
                </a:cubicBezTo>
                <a:close/>
                <a:moveTo>
                  <a:pt x="4817870" y="5457102"/>
                </a:moveTo>
                <a:cubicBezTo>
                  <a:pt x="4812013" y="5457102"/>
                  <a:pt x="4809484" y="5458965"/>
                  <a:pt x="4807887" y="5460696"/>
                </a:cubicBezTo>
                <a:cubicBezTo>
                  <a:pt x="4805357" y="5463358"/>
                  <a:pt x="4804293" y="5466153"/>
                  <a:pt x="4804293" y="5470147"/>
                </a:cubicBezTo>
                <a:cubicBezTo>
                  <a:pt x="4804293" y="5474274"/>
                  <a:pt x="4805357" y="5477069"/>
                  <a:pt x="4807887" y="5479598"/>
                </a:cubicBezTo>
                <a:cubicBezTo>
                  <a:pt x="4809484" y="5481197"/>
                  <a:pt x="4812013" y="5483060"/>
                  <a:pt x="4817870" y="5483060"/>
                </a:cubicBezTo>
                <a:cubicBezTo>
                  <a:pt x="4820000" y="5483060"/>
                  <a:pt x="4821731" y="5482794"/>
                  <a:pt x="4823195" y="5482128"/>
                </a:cubicBezTo>
                <a:cubicBezTo>
                  <a:pt x="4824659" y="5481596"/>
                  <a:pt x="4825857" y="5480664"/>
                  <a:pt x="4826922" y="5479731"/>
                </a:cubicBezTo>
                <a:cubicBezTo>
                  <a:pt x="4827987" y="5478533"/>
                  <a:pt x="4828919" y="5477202"/>
                  <a:pt x="4829585" y="5475472"/>
                </a:cubicBezTo>
                <a:cubicBezTo>
                  <a:pt x="4830383" y="5473874"/>
                  <a:pt x="4830650" y="5472010"/>
                  <a:pt x="4830650" y="5470014"/>
                </a:cubicBezTo>
                <a:cubicBezTo>
                  <a:pt x="4830650" y="5468150"/>
                  <a:pt x="4830250" y="5466420"/>
                  <a:pt x="4829585" y="5464822"/>
                </a:cubicBezTo>
                <a:cubicBezTo>
                  <a:pt x="4828919" y="5463225"/>
                  <a:pt x="4827987" y="5461894"/>
                  <a:pt x="4826922" y="5460696"/>
                </a:cubicBezTo>
                <a:cubicBezTo>
                  <a:pt x="4825857" y="5459631"/>
                  <a:pt x="4824526" y="5458699"/>
                  <a:pt x="4822929" y="5458033"/>
                </a:cubicBezTo>
                <a:cubicBezTo>
                  <a:pt x="4821465" y="5457368"/>
                  <a:pt x="4819734" y="5457102"/>
                  <a:pt x="4817870" y="5457102"/>
                </a:cubicBezTo>
                <a:close/>
                <a:moveTo>
                  <a:pt x="4600226" y="5457102"/>
                </a:moveTo>
                <a:cubicBezTo>
                  <a:pt x="4594369" y="5457102"/>
                  <a:pt x="4591839" y="5458965"/>
                  <a:pt x="4590242" y="5460696"/>
                </a:cubicBezTo>
                <a:cubicBezTo>
                  <a:pt x="4587713" y="5463358"/>
                  <a:pt x="4586648" y="5466153"/>
                  <a:pt x="4586648" y="5470147"/>
                </a:cubicBezTo>
                <a:cubicBezTo>
                  <a:pt x="4586648" y="5474274"/>
                  <a:pt x="4587713" y="5477069"/>
                  <a:pt x="4590242" y="5479598"/>
                </a:cubicBezTo>
                <a:cubicBezTo>
                  <a:pt x="4591839" y="5481197"/>
                  <a:pt x="4594369" y="5483060"/>
                  <a:pt x="4600226" y="5483060"/>
                </a:cubicBezTo>
                <a:cubicBezTo>
                  <a:pt x="4602355" y="5483060"/>
                  <a:pt x="4604086" y="5482794"/>
                  <a:pt x="4605550" y="5482128"/>
                </a:cubicBezTo>
                <a:cubicBezTo>
                  <a:pt x="4607148" y="5481596"/>
                  <a:pt x="4608346" y="5480664"/>
                  <a:pt x="4609277" y="5479731"/>
                </a:cubicBezTo>
                <a:cubicBezTo>
                  <a:pt x="4610342" y="5478533"/>
                  <a:pt x="4611274" y="5477202"/>
                  <a:pt x="4611940" y="5475472"/>
                </a:cubicBezTo>
                <a:cubicBezTo>
                  <a:pt x="4612605" y="5473874"/>
                  <a:pt x="4613005" y="5472010"/>
                  <a:pt x="4613005" y="5470014"/>
                </a:cubicBezTo>
                <a:cubicBezTo>
                  <a:pt x="4613005" y="5468150"/>
                  <a:pt x="4612605" y="5466420"/>
                  <a:pt x="4611940" y="5464822"/>
                </a:cubicBezTo>
                <a:cubicBezTo>
                  <a:pt x="4611274" y="5463225"/>
                  <a:pt x="4610342" y="5461894"/>
                  <a:pt x="4609277" y="5460696"/>
                </a:cubicBezTo>
                <a:cubicBezTo>
                  <a:pt x="4608212" y="5459631"/>
                  <a:pt x="4606881" y="5458699"/>
                  <a:pt x="4605284" y="5458033"/>
                </a:cubicBezTo>
                <a:cubicBezTo>
                  <a:pt x="4603820" y="5457368"/>
                  <a:pt x="4602222" y="5457102"/>
                  <a:pt x="4600226" y="5457102"/>
                </a:cubicBezTo>
                <a:close/>
                <a:moveTo>
                  <a:pt x="4382713" y="5457102"/>
                </a:moveTo>
                <a:cubicBezTo>
                  <a:pt x="4376857" y="5457102"/>
                  <a:pt x="4374327" y="5458965"/>
                  <a:pt x="4372730" y="5460696"/>
                </a:cubicBezTo>
                <a:cubicBezTo>
                  <a:pt x="4370201" y="5463358"/>
                  <a:pt x="4369136" y="5466153"/>
                  <a:pt x="4369136" y="5470147"/>
                </a:cubicBezTo>
                <a:cubicBezTo>
                  <a:pt x="4369136" y="5474274"/>
                  <a:pt x="4370201" y="5477069"/>
                  <a:pt x="4372730" y="5479598"/>
                </a:cubicBezTo>
                <a:cubicBezTo>
                  <a:pt x="4374327" y="5481197"/>
                  <a:pt x="4376857" y="5483060"/>
                  <a:pt x="4382713" y="5483060"/>
                </a:cubicBezTo>
                <a:cubicBezTo>
                  <a:pt x="4384710" y="5483060"/>
                  <a:pt x="4386441" y="5482794"/>
                  <a:pt x="4388038" y="5482128"/>
                </a:cubicBezTo>
                <a:cubicBezTo>
                  <a:pt x="4389502" y="5481596"/>
                  <a:pt x="4390834" y="5480664"/>
                  <a:pt x="4391765" y="5479731"/>
                </a:cubicBezTo>
                <a:cubicBezTo>
                  <a:pt x="4392830" y="5478533"/>
                  <a:pt x="4393762" y="5477202"/>
                  <a:pt x="4394428" y="5475472"/>
                </a:cubicBezTo>
                <a:cubicBezTo>
                  <a:pt x="4395093" y="5473874"/>
                  <a:pt x="4395493" y="5472010"/>
                  <a:pt x="4395493" y="5470014"/>
                </a:cubicBezTo>
                <a:cubicBezTo>
                  <a:pt x="4395493" y="5468150"/>
                  <a:pt x="4395093" y="5466420"/>
                  <a:pt x="4394428" y="5464822"/>
                </a:cubicBezTo>
                <a:cubicBezTo>
                  <a:pt x="4393762" y="5463225"/>
                  <a:pt x="4392830" y="5461894"/>
                  <a:pt x="4391765" y="5460696"/>
                </a:cubicBezTo>
                <a:cubicBezTo>
                  <a:pt x="4390700" y="5459631"/>
                  <a:pt x="4389369" y="5458699"/>
                  <a:pt x="4387772" y="5458033"/>
                </a:cubicBezTo>
                <a:cubicBezTo>
                  <a:pt x="4386308" y="5457368"/>
                  <a:pt x="4384710" y="5457102"/>
                  <a:pt x="4382713" y="5457102"/>
                </a:cubicBezTo>
                <a:close/>
                <a:moveTo>
                  <a:pt x="4165068" y="5457102"/>
                </a:moveTo>
                <a:cubicBezTo>
                  <a:pt x="4159211" y="5457102"/>
                  <a:pt x="4156681" y="5458965"/>
                  <a:pt x="4155084" y="5460696"/>
                </a:cubicBezTo>
                <a:cubicBezTo>
                  <a:pt x="4152555" y="5463358"/>
                  <a:pt x="4151490" y="5466153"/>
                  <a:pt x="4151490" y="5470147"/>
                </a:cubicBezTo>
                <a:cubicBezTo>
                  <a:pt x="4151490" y="5474274"/>
                  <a:pt x="4152555" y="5477069"/>
                  <a:pt x="4155084" y="5479598"/>
                </a:cubicBezTo>
                <a:cubicBezTo>
                  <a:pt x="4156681" y="5481197"/>
                  <a:pt x="4159211" y="5483060"/>
                  <a:pt x="4165068" y="5483060"/>
                </a:cubicBezTo>
                <a:cubicBezTo>
                  <a:pt x="4167064" y="5483060"/>
                  <a:pt x="4168928" y="5482794"/>
                  <a:pt x="4170392" y="5482128"/>
                </a:cubicBezTo>
                <a:cubicBezTo>
                  <a:pt x="4171856" y="5481596"/>
                  <a:pt x="4173188" y="5480664"/>
                  <a:pt x="4174119" y="5479731"/>
                </a:cubicBezTo>
                <a:cubicBezTo>
                  <a:pt x="4175184" y="5478533"/>
                  <a:pt x="4176116" y="5477202"/>
                  <a:pt x="4176782" y="5475472"/>
                </a:cubicBezTo>
                <a:cubicBezTo>
                  <a:pt x="4177447" y="5473874"/>
                  <a:pt x="4177847" y="5472010"/>
                  <a:pt x="4177847" y="5470014"/>
                </a:cubicBezTo>
                <a:cubicBezTo>
                  <a:pt x="4177847" y="5468150"/>
                  <a:pt x="4177447" y="5466420"/>
                  <a:pt x="4176782" y="5464822"/>
                </a:cubicBezTo>
                <a:cubicBezTo>
                  <a:pt x="4176116" y="5463225"/>
                  <a:pt x="4175184" y="5461894"/>
                  <a:pt x="4174119" y="5460696"/>
                </a:cubicBezTo>
                <a:cubicBezTo>
                  <a:pt x="4173054" y="5459631"/>
                  <a:pt x="4171723" y="5458699"/>
                  <a:pt x="4170126" y="5458033"/>
                </a:cubicBezTo>
                <a:cubicBezTo>
                  <a:pt x="4168662" y="5457368"/>
                  <a:pt x="4167064" y="5457102"/>
                  <a:pt x="4165068" y="5457102"/>
                </a:cubicBezTo>
                <a:close/>
                <a:moveTo>
                  <a:pt x="3947721" y="5457102"/>
                </a:moveTo>
                <a:cubicBezTo>
                  <a:pt x="3941863" y="5457102"/>
                  <a:pt x="3939335" y="5458965"/>
                  <a:pt x="3937738" y="5460696"/>
                </a:cubicBezTo>
                <a:cubicBezTo>
                  <a:pt x="3935206" y="5463358"/>
                  <a:pt x="3934143" y="5466153"/>
                  <a:pt x="3934143" y="5470147"/>
                </a:cubicBezTo>
                <a:cubicBezTo>
                  <a:pt x="3934143" y="5474274"/>
                  <a:pt x="3935206" y="5477069"/>
                  <a:pt x="3937738" y="5479598"/>
                </a:cubicBezTo>
                <a:cubicBezTo>
                  <a:pt x="3939335" y="5481197"/>
                  <a:pt x="3941863" y="5483060"/>
                  <a:pt x="3947721" y="5483060"/>
                </a:cubicBezTo>
                <a:cubicBezTo>
                  <a:pt x="3949718" y="5483060"/>
                  <a:pt x="3951583" y="5482794"/>
                  <a:pt x="3953049" y="5482128"/>
                </a:cubicBezTo>
                <a:cubicBezTo>
                  <a:pt x="3954513" y="5481596"/>
                  <a:pt x="3955844" y="5480664"/>
                  <a:pt x="3956776" y="5479731"/>
                </a:cubicBezTo>
                <a:cubicBezTo>
                  <a:pt x="3957841" y="5478533"/>
                  <a:pt x="3958773" y="5477202"/>
                  <a:pt x="3959439" y="5475472"/>
                </a:cubicBezTo>
                <a:cubicBezTo>
                  <a:pt x="3960104" y="5473874"/>
                  <a:pt x="3960504" y="5472010"/>
                  <a:pt x="3960504" y="5470014"/>
                </a:cubicBezTo>
                <a:cubicBezTo>
                  <a:pt x="3960504" y="5468150"/>
                  <a:pt x="3960104" y="5466420"/>
                  <a:pt x="3959439" y="5464822"/>
                </a:cubicBezTo>
                <a:cubicBezTo>
                  <a:pt x="3958773" y="5463225"/>
                  <a:pt x="3957841" y="5461894"/>
                  <a:pt x="3956776" y="5460696"/>
                </a:cubicBezTo>
                <a:cubicBezTo>
                  <a:pt x="3955711" y="5459631"/>
                  <a:pt x="3954380" y="5458699"/>
                  <a:pt x="3952782" y="5458033"/>
                </a:cubicBezTo>
                <a:cubicBezTo>
                  <a:pt x="3951315" y="5457368"/>
                  <a:pt x="3949718" y="5457102"/>
                  <a:pt x="3947721" y="5457102"/>
                </a:cubicBezTo>
                <a:close/>
                <a:moveTo>
                  <a:pt x="3730062" y="5457102"/>
                </a:moveTo>
                <a:cubicBezTo>
                  <a:pt x="3724205" y="5457102"/>
                  <a:pt x="3721676" y="5458965"/>
                  <a:pt x="3720076" y="5460696"/>
                </a:cubicBezTo>
                <a:cubicBezTo>
                  <a:pt x="3717545" y="5463358"/>
                  <a:pt x="3716483" y="5466153"/>
                  <a:pt x="3716483" y="5470147"/>
                </a:cubicBezTo>
                <a:cubicBezTo>
                  <a:pt x="3716483" y="5474274"/>
                  <a:pt x="3717545" y="5477069"/>
                  <a:pt x="3720076" y="5479598"/>
                </a:cubicBezTo>
                <a:cubicBezTo>
                  <a:pt x="3721676" y="5481197"/>
                  <a:pt x="3724205" y="5483060"/>
                  <a:pt x="3730062" y="5483060"/>
                </a:cubicBezTo>
                <a:cubicBezTo>
                  <a:pt x="3732193" y="5483060"/>
                  <a:pt x="3733924" y="5482794"/>
                  <a:pt x="3735387" y="5482128"/>
                </a:cubicBezTo>
                <a:cubicBezTo>
                  <a:pt x="3736852" y="5481596"/>
                  <a:pt x="3738184" y="5480664"/>
                  <a:pt x="3739115" y="5479731"/>
                </a:cubicBezTo>
                <a:cubicBezTo>
                  <a:pt x="3740180" y="5478533"/>
                  <a:pt x="3741112" y="5477202"/>
                  <a:pt x="3741778" y="5475472"/>
                </a:cubicBezTo>
                <a:cubicBezTo>
                  <a:pt x="3742443" y="5473874"/>
                  <a:pt x="3742843" y="5472010"/>
                  <a:pt x="3742843" y="5470014"/>
                </a:cubicBezTo>
                <a:cubicBezTo>
                  <a:pt x="3742843" y="5468150"/>
                  <a:pt x="3742443" y="5466420"/>
                  <a:pt x="3741778" y="5464822"/>
                </a:cubicBezTo>
                <a:cubicBezTo>
                  <a:pt x="3741112" y="5463225"/>
                  <a:pt x="3740180" y="5461894"/>
                  <a:pt x="3739115" y="5460696"/>
                </a:cubicBezTo>
                <a:cubicBezTo>
                  <a:pt x="3738050" y="5459631"/>
                  <a:pt x="3736719" y="5458699"/>
                  <a:pt x="3735122" y="5458033"/>
                </a:cubicBezTo>
                <a:cubicBezTo>
                  <a:pt x="3733657" y="5457368"/>
                  <a:pt x="3732060" y="5457102"/>
                  <a:pt x="3730062" y="5457102"/>
                </a:cubicBezTo>
                <a:close/>
                <a:moveTo>
                  <a:pt x="3512401" y="5457102"/>
                </a:moveTo>
                <a:cubicBezTo>
                  <a:pt x="3506542" y="5457102"/>
                  <a:pt x="3504013" y="5458965"/>
                  <a:pt x="3502413" y="5460696"/>
                </a:cubicBezTo>
                <a:cubicBezTo>
                  <a:pt x="3499883" y="5463358"/>
                  <a:pt x="3498820" y="5466153"/>
                  <a:pt x="3498820" y="5470147"/>
                </a:cubicBezTo>
                <a:cubicBezTo>
                  <a:pt x="3498820" y="5474274"/>
                  <a:pt x="3499883" y="5477069"/>
                  <a:pt x="3502413" y="5479598"/>
                </a:cubicBezTo>
                <a:cubicBezTo>
                  <a:pt x="3504013" y="5481197"/>
                  <a:pt x="3506542" y="5483060"/>
                  <a:pt x="3512401" y="5483060"/>
                </a:cubicBezTo>
                <a:cubicBezTo>
                  <a:pt x="3514532" y="5483060"/>
                  <a:pt x="3516263" y="5482794"/>
                  <a:pt x="3517727" y="5482128"/>
                </a:cubicBezTo>
                <a:cubicBezTo>
                  <a:pt x="3519192" y="5481596"/>
                  <a:pt x="3520523" y="5480664"/>
                  <a:pt x="3521455" y="5479731"/>
                </a:cubicBezTo>
                <a:cubicBezTo>
                  <a:pt x="3522520" y="5478533"/>
                  <a:pt x="3523451" y="5477202"/>
                  <a:pt x="3524118" y="5475472"/>
                </a:cubicBezTo>
                <a:cubicBezTo>
                  <a:pt x="3524783" y="5473874"/>
                  <a:pt x="3525183" y="5472010"/>
                  <a:pt x="3525183" y="5470014"/>
                </a:cubicBezTo>
                <a:cubicBezTo>
                  <a:pt x="3525183" y="5468150"/>
                  <a:pt x="3524783" y="5466420"/>
                  <a:pt x="3524118" y="5464822"/>
                </a:cubicBezTo>
                <a:cubicBezTo>
                  <a:pt x="3523451" y="5463225"/>
                  <a:pt x="3522520" y="5461894"/>
                  <a:pt x="3521455" y="5460696"/>
                </a:cubicBezTo>
                <a:cubicBezTo>
                  <a:pt x="3520389" y="5459631"/>
                  <a:pt x="3519058" y="5458699"/>
                  <a:pt x="3517462" y="5458033"/>
                </a:cubicBezTo>
                <a:cubicBezTo>
                  <a:pt x="3515998" y="5457368"/>
                  <a:pt x="3514399" y="5457102"/>
                  <a:pt x="3512401" y="5457102"/>
                </a:cubicBezTo>
                <a:close/>
                <a:moveTo>
                  <a:pt x="3294874" y="5457102"/>
                </a:moveTo>
                <a:cubicBezTo>
                  <a:pt x="3289015" y="5457102"/>
                  <a:pt x="3286485" y="5458965"/>
                  <a:pt x="3284888" y="5460696"/>
                </a:cubicBezTo>
                <a:cubicBezTo>
                  <a:pt x="3282357" y="5463358"/>
                  <a:pt x="3281294" y="5466153"/>
                  <a:pt x="3281294" y="5470147"/>
                </a:cubicBezTo>
                <a:cubicBezTo>
                  <a:pt x="3281294" y="5474274"/>
                  <a:pt x="3282357" y="5477069"/>
                  <a:pt x="3284888" y="5479598"/>
                </a:cubicBezTo>
                <a:cubicBezTo>
                  <a:pt x="3286485" y="5481197"/>
                  <a:pt x="3289015" y="5483060"/>
                  <a:pt x="3294874" y="5483060"/>
                </a:cubicBezTo>
                <a:cubicBezTo>
                  <a:pt x="3296871" y="5483060"/>
                  <a:pt x="3298602" y="5482794"/>
                  <a:pt x="3300200" y="5482128"/>
                </a:cubicBezTo>
                <a:cubicBezTo>
                  <a:pt x="3301664" y="5481596"/>
                  <a:pt x="3302996" y="5480664"/>
                  <a:pt x="3303927" y="5479731"/>
                </a:cubicBezTo>
                <a:cubicBezTo>
                  <a:pt x="3304992" y="5478533"/>
                  <a:pt x="3305924" y="5477202"/>
                  <a:pt x="3306590" y="5475472"/>
                </a:cubicBezTo>
                <a:cubicBezTo>
                  <a:pt x="3307255" y="5473874"/>
                  <a:pt x="3307654" y="5472010"/>
                  <a:pt x="3307654" y="5470014"/>
                </a:cubicBezTo>
                <a:cubicBezTo>
                  <a:pt x="3307654" y="5468150"/>
                  <a:pt x="3307255" y="5466420"/>
                  <a:pt x="3306590" y="5464822"/>
                </a:cubicBezTo>
                <a:cubicBezTo>
                  <a:pt x="3305924" y="5463225"/>
                  <a:pt x="3304992" y="5461894"/>
                  <a:pt x="3303927" y="5460696"/>
                </a:cubicBezTo>
                <a:cubicBezTo>
                  <a:pt x="3302862" y="5459631"/>
                  <a:pt x="3301531" y="5458699"/>
                  <a:pt x="3299934" y="5458033"/>
                </a:cubicBezTo>
                <a:cubicBezTo>
                  <a:pt x="3298470" y="5457368"/>
                  <a:pt x="3296871" y="5457102"/>
                  <a:pt x="3294874" y="5457102"/>
                </a:cubicBezTo>
                <a:close/>
                <a:moveTo>
                  <a:pt x="3077347" y="5457102"/>
                </a:moveTo>
                <a:cubicBezTo>
                  <a:pt x="3071489" y="5457102"/>
                  <a:pt x="3068959" y="5458965"/>
                  <a:pt x="3067363" y="5460696"/>
                </a:cubicBezTo>
                <a:cubicBezTo>
                  <a:pt x="3064698" y="5463358"/>
                  <a:pt x="3063633" y="5466153"/>
                  <a:pt x="3063633" y="5470147"/>
                </a:cubicBezTo>
                <a:cubicBezTo>
                  <a:pt x="3063633" y="5474274"/>
                  <a:pt x="3064698" y="5477069"/>
                  <a:pt x="3067229" y="5479598"/>
                </a:cubicBezTo>
                <a:cubicBezTo>
                  <a:pt x="3068826" y="5481197"/>
                  <a:pt x="3071356" y="5483060"/>
                  <a:pt x="3077214" y="5483060"/>
                </a:cubicBezTo>
                <a:cubicBezTo>
                  <a:pt x="3079211" y="5483060"/>
                  <a:pt x="3080941" y="5482794"/>
                  <a:pt x="3082672" y="5482128"/>
                </a:cubicBezTo>
                <a:cubicBezTo>
                  <a:pt x="3084137" y="5481596"/>
                  <a:pt x="3085468" y="5480664"/>
                  <a:pt x="3086399" y="5479731"/>
                </a:cubicBezTo>
                <a:cubicBezTo>
                  <a:pt x="3087464" y="5478533"/>
                  <a:pt x="3088396" y="5477202"/>
                  <a:pt x="3089062" y="5475472"/>
                </a:cubicBezTo>
                <a:cubicBezTo>
                  <a:pt x="3089727" y="5473874"/>
                  <a:pt x="3089994" y="5472010"/>
                  <a:pt x="3089994" y="5470014"/>
                </a:cubicBezTo>
                <a:cubicBezTo>
                  <a:pt x="3089994" y="5468150"/>
                  <a:pt x="3089727" y="5466420"/>
                  <a:pt x="3089062" y="5464822"/>
                </a:cubicBezTo>
                <a:cubicBezTo>
                  <a:pt x="3088396" y="5463225"/>
                  <a:pt x="3087464" y="5461894"/>
                  <a:pt x="3086399" y="5460696"/>
                </a:cubicBezTo>
                <a:cubicBezTo>
                  <a:pt x="3085335" y="5459631"/>
                  <a:pt x="3084003" y="5458699"/>
                  <a:pt x="3082406" y="5458033"/>
                </a:cubicBezTo>
                <a:cubicBezTo>
                  <a:pt x="3080941" y="5457368"/>
                  <a:pt x="3079344" y="5457102"/>
                  <a:pt x="3077347" y="5457102"/>
                </a:cubicBezTo>
                <a:close/>
                <a:moveTo>
                  <a:pt x="2859553" y="5457102"/>
                </a:moveTo>
                <a:cubicBezTo>
                  <a:pt x="2853696" y="5457102"/>
                  <a:pt x="2851166" y="5458965"/>
                  <a:pt x="2849567" y="5460696"/>
                </a:cubicBezTo>
                <a:cubicBezTo>
                  <a:pt x="2847034" y="5463358"/>
                  <a:pt x="2845969" y="5466153"/>
                  <a:pt x="2845969" y="5470147"/>
                </a:cubicBezTo>
                <a:cubicBezTo>
                  <a:pt x="2845969" y="5474274"/>
                  <a:pt x="2847034" y="5477069"/>
                  <a:pt x="2849567" y="5479598"/>
                </a:cubicBezTo>
                <a:cubicBezTo>
                  <a:pt x="2851166" y="5481197"/>
                  <a:pt x="2853696" y="5483060"/>
                  <a:pt x="2859553" y="5483060"/>
                </a:cubicBezTo>
                <a:cubicBezTo>
                  <a:pt x="2861550" y="5483060"/>
                  <a:pt x="2863414" y="5482794"/>
                  <a:pt x="2864878" y="5482128"/>
                </a:cubicBezTo>
                <a:cubicBezTo>
                  <a:pt x="2866476" y="5481596"/>
                  <a:pt x="2867675" y="5480664"/>
                  <a:pt x="2868605" y="5479731"/>
                </a:cubicBezTo>
                <a:cubicBezTo>
                  <a:pt x="2869670" y="5478533"/>
                  <a:pt x="2870602" y="5477202"/>
                  <a:pt x="2871268" y="5475472"/>
                </a:cubicBezTo>
                <a:cubicBezTo>
                  <a:pt x="2871800" y="5473874"/>
                  <a:pt x="2872199" y="5472010"/>
                  <a:pt x="2872199" y="5470014"/>
                </a:cubicBezTo>
                <a:cubicBezTo>
                  <a:pt x="2872199" y="5468150"/>
                  <a:pt x="2871933" y="5466420"/>
                  <a:pt x="2871268" y="5464822"/>
                </a:cubicBezTo>
                <a:cubicBezTo>
                  <a:pt x="2870602" y="5463225"/>
                  <a:pt x="2869670" y="5461894"/>
                  <a:pt x="2868605" y="5460696"/>
                </a:cubicBezTo>
                <a:cubicBezTo>
                  <a:pt x="2867541" y="5459631"/>
                  <a:pt x="2866209" y="5458699"/>
                  <a:pt x="2864613" y="5458033"/>
                </a:cubicBezTo>
                <a:cubicBezTo>
                  <a:pt x="2863149" y="5457368"/>
                  <a:pt x="2861550" y="5457102"/>
                  <a:pt x="2859553" y="5457102"/>
                </a:cubicBezTo>
                <a:close/>
                <a:moveTo>
                  <a:pt x="2641892" y="5457102"/>
                </a:moveTo>
                <a:cubicBezTo>
                  <a:pt x="2636035" y="5457102"/>
                  <a:pt x="2633506" y="5458965"/>
                  <a:pt x="2631909" y="5460696"/>
                </a:cubicBezTo>
                <a:cubicBezTo>
                  <a:pt x="2629379" y="5463358"/>
                  <a:pt x="2628314" y="5466153"/>
                  <a:pt x="2628314" y="5470147"/>
                </a:cubicBezTo>
                <a:cubicBezTo>
                  <a:pt x="2628314" y="5474274"/>
                  <a:pt x="2629379" y="5477069"/>
                  <a:pt x="2631909" y="5479598"/>
                </a:cubicBezTo>
                <a:cubicBezTo>
                  <a:pt x="2633506" y="5481197"/>
                  <a:pt x="2636035" y="5483060"/>
                  <a:pt x="2641892" y="5483060"/>
                </a:cubicBezTo>
                <a:cubicBezTo>
                  <a:pt x="2643889" y="5483060"/>
                  <a:pt x="2645754" y="5482794"/>
                  <a:pt x="2647218" y="5482128"/>
                </a:cubicBezTo>
                <a:cubicBezTo>
                  <a:pt x="2648814" y="5481596"/>
                  <a:pt x="2650012" y="5480664"/>
                  <a:pt x="2650945" y="5479731"/>
                </a:cubicBezTo>
                <a:cubicBezTo>
                  <a:pt x="2652010" y="5478533"/>
                  <a:pt x="2652942" y="5477202"/>
                  <a:pt x="2653608" y="5475472"/>
                </a:cubicBezTo>
                <a:cubicBezTo>
                  <a:pt x="2654139" y="5473874"/>
                  <a:pt x="2654538" y="5472010"/>
                  <a:pt x="2654538" y="5470014"/>
                </a:cubicBezTo>
                <a:cubicBezTo>
                  <a:pt x="2654538" y="5468150"/>
                  <a:pt x="2654273" y="5466420"/>
                  <a:pt x="2653608" y="5464822"/>
                </a:cubicBezTo>
                <a:cubicBezTo>
                  <a:pt x="2652942" y="5463225"/>
                  <a:pt x="2652010" y="5461894"/>
                  <a:pt x="2650945" y="5460696"/>
                </a:cubicBezTo>
                <a:cubicBezTo>
                  <a:pt x="2649880" y="5459631"/>
                  <a:pt x="2648548" y="5458699"/>
                  <a:pt x="2646952" y="5458033"/>
                </a:cubicBezTo>
                <a:cubicBezTo>
                  <a:pt x="2645486" y="5457368"/>
                  <a:pt x="2643889" y="5457102"/>
                  <a:pt x="2641892" y="5457102"/>
                </a:cubicBezTo>
                <a:close/>
                <a:moveTo>
                  <a:pt x="2424231" y="5457102"/>
                </a:moveTo>
                <a:cubicBezTo>
                  <a:pt x="2418375" y="5457102"/>
                  <a:pt x="2415846" y="5458965"/>
                  <a:pt x="2414248" y="5460696"/>
                </a:cubicBezTo>
                <a:cubicBezTo>
                  <a:pt x="2411718" y="5463358"/>
                  <a:pt x="2410654" y="5466153"/>
                  <a:pt x="2410654" y="5470147"/>
                </a:cubicBezTo>
                <a:cubicBezTo>
                  <a:pt x="2410654" y="5474274"/>
                  <a:pt x="2411718" y="5477069"/>
                  <a:pt x="2414248" y="5479598"/>
                </a:cubicBezTo>
                <a:cubicBezTo>
                  <a:pt x="2415846" y="5481197"/>
                  <a:pt x="2418375" y="5483060"/>
                  <a:pt x="2424231" y="5483060"/>
                </a:cubicBezTo>
                <a:cubicBezTo>
                  <a:pt x="2426361" y="5483060"/>
                  <a:pt x="2428093" y="5482794"/>
                  <a:pt x="2429557" y="5482128"/>
                </a:cubicBezTo>
                <a:cubicBezTo>
                  <a:pt x="2431155" y="5481596"/>
                  <a:pt x="2432353" y="5480664"/>
                  <a:pt x="2433284" y="5479731"/>
                </a:cubicBezTo>
                <a:cubicBezTo>
                  <a:pt x="2434349" y="5478533"/>
                  <a:pt x="2435281" y="5477202"/>
                  <a:pt x="2435947" y="5475472"/>
                </a:cubicBezTo>
                <a:cubicBezTo>
                  <a:pt x="2436478" y="5473874"/>
                  <a:pt x="2436878" y="5472010"/>
                  <a:pt x="2436878" y="5470014"/>
                </a:cubicBezTo>
                <a:cubicBezTo>
                  <a:pt x="2436878" y="5468150"/>
                  <a:pt x="2436612" y="5466420"/>
                  <a:pt x="2435947" y="5464822"/>
                </a:cubicBezTo>
                <a:cubicBezTo>
                  <a:pt x="2435281" y="5463225"/>
                  <a:pt x="2434349" y="5461894"/>
                  <a:pt x="2433284" y="5460696"/>
                </a:cubicBezTo>
                <a:cubicBezTo>
                  <a:pt x="2432220" y="5459631"/>
                  <a:pt x="2430888" y="5458699"/>
                  <a:pt x="2429291" y="5458033"/>
                </a:cubicBezTo>
                <a:cubicBezTo>
                  <a:pt x="2427827" y="5457368"/>
                  <a:pt x="2426229" y="5457102"/>
                  <a:pt x="2424231" y="5457102"/>
                </a:cubicBezTo>
                <a:close/>
                <a:moveTo>
                  <a:pt x="2206571" y="5457102"/>
                </a:moveTo>
                <a:cubicBezTo>
                  <a:pt x="2200714" y="5457102"/>
                  <a:pt x="2198185" y="5458965"/>
                  <a:pt x="2196587" y="5460696"/>
                </a:cubicBezTo>
                <a:cubicBezTo>
                  <a:pt x="2194058" y="5463358"/>
                  <a:pt x="2192993" y="5466153"/>
                  <a:pt x="2192993" y="5470147"/>
                </a:cubicBezTo>
                <a:cubicBezTo>
                  <a:pt x="2192993" y="5474274"/>
                  <a:pt x="2194058" y="5477069"/>
                  <a:pt x="2196587" y="5479598"/>
                </a:cubicBezTo>
                <a:cubicBezTo>
                  <a:pt x="2198185" y="5481197"/>
                  <a:pt x="2200714" y="5483060"/>
                  <a:pt x="2206571" y="5483060"/>
                </a:cubicBezTo>
                <a:cubicBezTo>
                  <a:pt x="2208700" y="5483060"/>
                  <a:pt x="2210432" y="5482794"/>
                  <a:pt x="2211896" y="5482128"/>
                </a:cubicBezTo>
                <a:cubicBezTo>
                  <a:pt x="2213493" y="5481596"/>
                  <a:pt x="2214691" y="5480664"/>
                  <a:pt x="2215623" y="5479731"/>
                </a:cubicBezTo>
                <a:cubicBezTo>
                  <a:pt x="2216688" y="5478533"/>
                  <a:pt x="2217620" y="5477202"/>
                  <a:pt x="2218286" y="5475472"/>
                </a:cubicBezTo>
                <a:cubicBezTo>
                  <a:pt x="2218818" y="5473874"/>
                  <a:pt x="2219217" y="5472010"/>
                  <a:pt x="2219217" y="5470014"/>
                </a:cubicBezTo>
                <a:cubicBezTo>
                  <a:pt x="2219217" y="5468150"/>
                  <a:pt x="2218951" y="5466420"/>
                  <a:pt x="2218286" y="5464822"/>
                </a:cubicBezTo>
                <a:cubicBezTo>
                  <a:pt x="2217620" y="5463225"/>
                  <a:pt x="2216688" y="5461894"/>
                  <a:pt x="2215623" y="5460696"/>
                </a:cubicBezTo>
                <a:cubicBezTo>
                  <a:pt x="2214558" y="5459631"/>
                  <a:pt x="2213227" y="5458699"/>
                  <a:pt x="2211630" y="5458033"/>
                </a:cubicBezTo>
                <a:cubicBezTo>
                  <a:pt x="2210165" y="5457368"/>
                  <a:pt x="2208568" y="5457102"/>
                  <a:pt x="2206571" y="5457102"/>
                </a:cubicBezTo>
                <a:close/>
                <a:moveTo>
                  <a:pt x="1989043" y="5457102"/>
                </a:moveTo>
                <a:cubicBezTo>
                  <a:pt x="1983186" y="5457102"/>
                  <a:pt x="1980657" y="5458965"/>
                  <a:pt x="1979060" y="5460696"/>
                </a:cubicBezTo>
                <a:cubicBezTo>
                  <a:pt x="1976530" y="5463358"/>
                  <a:pt x="1975466" y="5466153"/>
                  <a:pt x="1975466" y="5470147"/>
                </a:cubicBezTo>
                <a:cubicBezTo>
                  <a:pt x="1975466" y="5474274"/>
                  <a:pt x="1976530" y="5477069"/>
                  <a:pt x="1979060" y="5479598"/>
                </a:cubicBezTo>
                <a:cubicBezTo>
                  <a:pt x="1980657" y="5481197"/>
                  <a:pt x="1983186" y="5483060"/>
                  <a:pt x="1989043" y="5483060"/>
                </a:cubicBezTo>
                <a:cubicBezTo>
                  <a:pt x="1991040" y="5483060"/>
                  <a:pt x="1992771" y="5482794"/>
                  <a:pt x="1994368" y="5482128"/>
                </a:cubicBezTo>
                <a:cubicBezTo>
                  <a:pt x="1995966" y="5481596"/>
                  <a:pt x="1997164" y="5480664"/>
                  <a:pt x="1998095" y="5479731"/>
                </a:cubicBezTo>
                <a:cubicBezTo>
                  <a:pt x="1999160" y="5478533"/>
                  <a:pt x="2000092" y="5477202"/>
                  <a:pt x="2000758" y="5475472"/>
                </a:cubicBezTo>
                <a:cubicBezTo>
                  <a:pt x="2001290" y="5473874"/>
                  <a:pt x="2001689" y="5472010"/>
                  <a:pt x="2001689" y="5470014"/>
                </a:cubicBezTo>
                <a:cubicBezTo>
                  <a:pt x="2001689" y="5468150"/>
                  <a:pt x="2001423" y="5466420"/>
                  <a:pt x="2000758" y="5464822"/>
                </a:cubicBezTo>
                <a:cubicBezTo>
                  <a:pt x="2000092" y="5463225"/>
                  <a:pt x="1999160" y="5461894"/>
                  <a:pt x="1998095" y="5460696"/>
                </a:cubicBezTo>
                <a:cubicBezTo>
                  <a:pt x="1997031" y="5459631"/>
                  <a:pt x="1995699" y="5458699"/>
                  <a:pt x="1994102" y="5458033"/>
                </a:cubicBezTo>
                <a:cubicBezTo>
                  <a:pt x="1992638" y="5457368"/>
                  <a:pt x="1991040" y="5457102"/>
                  <a:pt x="1989043" y="5457102"/>
                </a:cubicBezTo>
                <a:close/>
                <a:moveTo>
                  <a:pt x="1771409" y="5457102"/>
                </a:moveTo>
                <a:cubicBezTo>
                  <a:pt x="1765552" y="5457102"/>
                  <a:pt x="1763024" y="5458965"/>
                  <a:pt x="1761427" y="5460696"/>
                </a:cubicBezTo>
                <a:cubicBezTo>
                  <a:pt x="1758898" y="5463358"/>
                  <a:pt x="1757833" y="5466153"/>
                  <a:pt x="1757833" y="5470147"/>
                </a:cubicBezTo>
                <a:cubicBezTo>
                  <a:pt x="1757833" y="5474274"/>
                  <a:pt x="1758898" y="5477069"/>
                  <a:pt x="1761427" y="5479598"/>
                </a:cubicBezTo>
                <a:cubicBezTo>
                  <a:pt x="1763024" y="5481197"/>
                  <a:pt x="1765552" y="5483060"/>
                  <a:pt x="1771409" y="5483060"/>
                </a:cubicBezTo>
                <a:cubicBezTo>
                  <a:pt x="1773406" y="5483060"/>
                  <a:pt x="1775270" y="5482794"/>
                  <a:pt x="1776734" y="5482128"/>
                </a:cubicBezTo>
                <a:cubicBezTo>
                  <a:pt x="1778198" y="5481596"/>
                  <a:pt x="1779528" y="5480664"/>
                  <a:pt x="1780460" y="5479731"/>
                </a:cubicBezTo>
                <a:cubicBezTo>
                  <a:pt x="1781525" y="5478533"/>
                  <a:pt x="1782457" y="5477202"/>
                  <a:pt x="1783123" y="5475472"/>
                </a:cubicBezTo>
                <a:cubicBezTo>
                  <a:pt x="1783788" y="5473874"/>
                  <a:pt x="1784188" y="5472010"/>
                  <a:pt x="1784188" y="5470014"/>
                </a:cubicBezTo>
                <a:cubicBezTo>
                  <a:pt x="1784188" y="5468150"/>
                  <a:pt x="1783788" y="5466420"/>
                  <a:pt x="1783123" y="5464822"/>
                </a:cubicBezTo>
                <a:cubicBezTo>
                  <a:pt x="1782457" y="5463225"/>
                  <a:pt x="1781525" y="5461894"/>
                  <a:pt x="1780460" y="5460696"/>
                </a:cubicBezTo>
                <a:cubicBezTo>
                  <a:pt x="1779395" y="5459631"/>
                  <a:pt x="1778065" y="5458699"/>
                  <a:pt x="1776468" y="5458033"/>
                </a:cubicBezTo>
                <a:cubicBezTo>
                  <a:pt x="1775003" y="5457368"/>
                  <a:pt x="1773406" y="5457102"/>
                  <a:pt x="1771409" y="5457102"/>
                </a:cubicBezTo>
                <a:close/>
                <a:moveTo>
                  <a:pt x="1553772" y="5457102"/>
                </a:moveTo>
                <a:cubicBezTo>
                  <a:pt x="1547914" y="5457102"/>
                  <a:pt x="1545386" y="5458965"/>
                  <a:pt x="1543789" y="5460696"/>
                </a:cubicBezTo>
                <a:cubicBezTo>
                  <a:pt x="1541259" y="5463358"/>
                  <a:pt x="1540194" y="5466153"/>
                  <a:pt x="1540194" y="5470147"/>
                </a:cubicBezTo>
                <a:cubicBezTo>
                  <a:pt x="1540194" y="5474274"/>
                  <a:pt x="1541259" y="5477069"/>
                  <a:pt x="1543789" y="5479598"/>
                </a:cubicBezTo>
                <a:cubicBezTo>
                  <a:pt x="1545386" y="5481197"/>
                  <a:pt x="1547914" y="5483060"/>
                  <a:pt x="1553772" y="5483060"/>
                </a:cubicBezTo>
                <a:cubicBezTo>
                  <a:pt x="1555769" y="5483060"/>
                  <a:pt x="1557633" y="5482794"/>
                  <a:pt x="1559097" y="5482128"/>
                </a:cubicBezTo>
                <a:cubicBezTo>
                  <a:pt x="1560561" y="5481596"/>
                  <a:pt x="1561893" y="5480664"/>
                  <a:pt x="1562824" y="5479731"/>
                </a:cubicBezTo>
                <a:cubicBezTo>
                  <a:pt x="1563889" y="5478533"/>
                  <a:pt x="1564821" y="5477202"/>
                  <a:pt x="1565487" y="5475472"/>
                </a:cubicBezTo>
                <a:cubicBezTo>
                  <a:pt x="1566152" y="5473874"/>
                  <a:pt x="1566552" y="5472010"/>
                  <a:pt x="1566552" y="5470014"/>
                </a:cubicBezTo>
                <a:cubicBezTo>
                  <a:pt x="1566552" y="5468150"/>
                  <a:pt x="1566152" y="5466420"/>
                  <a:pt x="1565487" y="5464822"/>
                </a:cubicBezTo>
                <a:cubicBezTo>
                  <a:pt x="1564821" y="5463225"/>
                  <a:pt x="1563889" y="5461894"/>
                  <a:pt x="1562824" y="5460696"/>
                </a:cubicBezTo>
                <a:cubicBezTo>
                  <a:pt x="1561759" y="5459631"/>
                  <a:pt x="1560428" y="5458699"/>
                  <a:pt x="1558831" y="5458033"/>
                </a:cubicBezTo>
                <a:cubicBezTo>
                  <a:pt x="1557367" y="5457368"/>
                  <a:pt x="1555769" y="5457102"/>
                  <a:pt x="1553772" y="5457102"/>
                </a:cubicBezTo>
                <a:close/>
                <a:moveTo>
                  <a:pt x="1336129" y="5457102"/>
                </a:moveTo>
                <a:cubicBezTo>
                  <a:pt x="1330270" y="5457102"/>
                  <a:pt x="1327741" y="5458965"/>
                  <a:pt x="1326144" y="5460696"/>
                </a:cubicBezTo>
                <a:cubicBezTo>
                  <a:pt x="1323614" y="5463358"/>
                  <a:pt x="1322550" y="5466153"/>
                  <a:pt x="1322550" y="5470147"/>
                </a:cubicBezTo>
                <a:cubicBezTo>
                  <a:pt x="1322550" y="5474274"/>
                  <a:pt x="1323614" y="5477069"/>
                  <a:pt x="1326144" y="5479598"/>
                </a:cubicBezTo>
                <a:cubicBezTo>
                  <a:pt x="1327741" y="5481197"/>
                  <a:pt x="1330270" y="5483060"/>
                  <a:pt x="1336129" y="5483060"/>
                </a:cubicBezTo>
                <a:cubicBezTo>
                  <a:pt x="1338258" y="5483060"/>
                  <a:pt x="1339988" y="5482794"/>
                  <a:pt x="1341455" y="5482128"/>
                </a:cubicBezTo>
                <a:cubicBezTo>
                  <a:pt x="1342918" y="5481596"/>
                  <a:pt x="1344250" y="5480664"/>
                  <a:pt x="1345182" y="5479731"/>
                </a:cubicBezTo>
                <a:cubicBezTo>
                  <a:pt x="1346246" y="5478533"/>
                  <a:pt x="1347179" y="5477202"/>
                  <a:pt x="1347844" y="5475472"/>
                </a:cubicBezTo>
                <a:cubicBezTo>
                  <a:pt x="1348510" y="5473874"/>
                  <a:pt x="1348910" y="5472010"/>
                  <a:pt x="1348910" y="5470014"/>
                </a:cubicBezTo>
                <a:cubicBezTo>
                  <a:pt x="1348910" y="5468150"/>
                  <a:pt x="1348510" y="5466420"/>
                  <a:pt x="1347844" y="5464822"/>
                </a:cubicBezTo>
                <a:cubicBezTo>
                  <a:pt x="1347179" y="5463225"/>
                  <a:pt x="1346246" y="5461894"/>
                  <a:pt x="1345182" y="5460696"/>
                </a:cubicBezTo>
                <a:cubicBezTo>
                  <a:pt x="1344117" y="5459631"/>
                  <a:pt x="1342786" y="5458699"/>
                  <a:pt x="1341187" y="5458033"/>
                </a:cubicBezTo>
                <a:cubicBezTo>
                  <a:pt x="1339724" y="5457368"/>
                  <a:pt x="1338124" y="5457102"/>
                  <a:pt x="1336129" y="5457102"/>
                </a:cubicBezTo>
                <a:close/>
                <a:moveTo>
                  <a:pt x="1118616" y="5457102"/>
                </a:moveTo>
                <a:cubicBezTo>
                  <a:pt x="1112757" y="5457102"/>
                  <a:pt x="1110228" y="5458965"/>
                  <a:pt x="1108631" y="5460696"/>
                </a:cubicBezTo>
                <a:cubicBezTo>
                  <a:pt x="1105968" y="5463358"/>
                  <a:pt x="1104904" y="5466153"/>
                  <a:pt x="1104904" y="5470147"/>
                </a:cubicBezTo>
                <a:cubicBezTo>
                  <a:pt x="1104904" y="5474274"/>
                  <a:pt x="1105968" y="5477069"/>
                  <a:pt x="1108498" y="5479598"/>
                </a:cubicBezTo>
                <a:cubicBezTo>
                  <a:pt x="1110095" y="5481197"/>
                  <a:pt x="1112624" y="5483060"/>
                  <a:pt x="1118483" y="5483060"/>
                </a:cubicBezTo>
                <a:cubicBezTo>
                  <a:pt x="1120613" y="5483060"/>
                  <a:pt x="1122345" y="5482794"/>
                  <a:pt x="1123940" y="5482128"/>
                </a:cubicBezTo>
                <a:cubicBezTo>
                  <a:pt x="1125405" y="5481596"/>
                  <a:pt x="1126740" y="5480664"/>
                  <a:pt x="1127670" y="5479731"/>
                </a:cubicBezTo>
                <a:cubicBezTo>
                  <a:pt x="1128735" y="5478533"/>
                  <a:pt x="1129667" y="5477202"/>
                  <a:pt x="1130334" y="5475472"/>
                </a:cubicBezTo>
                <a:cubicBezTo>
                  <a:pt x="1130998" y="5473874"/>
                  <a:pt x="1131399" y="5472010"/>
                  <a:pt x="1131399" y="5470014"/>
                </a:cubicBezTo>
                <a:cubicBezTo>
                  <a:pt x="1131399" y="5468150"/>
                  <a:pt x="1130998" y="5466420"/>
                  <a:pt x="1130334" y="5464822"/>
                </a:cubicBezTo>
                <a:cubicBezTo>
                  <a:pt x="1129667" y="5463225"/>
                  <a:pt x="1128735" y="5461894"/>
                  <a:pt x="1127670" y="5460696"/>
                </a:cubicBezTo>
                <a:cubicBezTo>
                  <a:pt x="1126605" y="5459631"/>
                  <a:pt x="1125273" y="5458699"/>
                  <a:pt x="1123674" y="5458033"/>
                </a:cubicBezTo>
                <a:cubicBezTo>
                  <a:pt x="1122212" y="5457368"/>
                  <a:pt x="1120613" y="5457102"/>
                  <a:pt x="1118616" y="5457102"/>
                </a:cubicBezTo>
                <a:close/>
                <a:moveTo>
                  <a:pt x="901104" y="5457102"/>
                </a:moveTo>
                <a:cubicBezTo>
                  <a:pt x="895246" y="5457102"/>
                  <a:pt x="892717" y="5458965"/>
                  <a:pt x="891120" y="5460696"/>
                </a:cubicBezTo>
                <a:cubicBezTo>
                  <a:pt x="888457" y="5463358"/>
                  <a:pt x="887393" y="5466153"/>
                  <a:pt x="887393" y="5470147"/>
                </a:cubicBezTo>
                <a:cubicBezTo>
                  <a:pt x="887393" y="5474274"/>
                  <a:pt x="888457" y="5477069"/>
                  <a:pt x="890987" y="5479598"/>
                </a:cubicBezTo>
                <a:cubicBezTo>
                  <a:pt x="892584" y="5481197"/>
                  <a:pt x="895113" y="5483060"/>
                  <a:pt x="900970" y="5483060"/>
                </a:cubicBezTo>
                <a:cubicBezTo>
                  <a:pt x="902967" y="5483060"/>
                  <a:pt x="904698" y="5482794"/>
                  <a:pt x="906428" y="5482128"/>
                </a:cubicBezTo>
                <a:cubicBezTo>
                  <a:pt x="907892" y="5481596"/>
                  <a:pt x="909224" y="5480664"/>
                  <a:pt x="910156" y="5479731"/>
                </a:cubicBezTo>
                <a:cubicBezTo>
                  <a:pt x="911220" y="5478533"/>
                  <a:pt x="912152" y="5477202"/>
                  <a:pt x="912818" y="5475472"/>
                </a:cubicBezTo>
                <a:cubicBezTo>
                  <a:pt x="913483" y="5473874"/>
                  <a:pt x="913883" y="5472010"/>
                  <a:pt x="913883" y="5470014"/>
                </a:cubicBezTo>
                <a:cubicBezTo>
                  <a:pt x="913883" y="5468150"/>
                  <a:pt x="913483" y="5466420"/>
                  <a:pt x="912818" y="5464822"/>
                </a:cubicBezTo>
                <a:cubicBezTo>
                  <a:pt x="912152" y="5463225"/>
                  <a:pt x="911220" y="5461894"/>
                  <a:pt x="910156" y="5460696"/>
                </a:cubicBezTo>
                <a:cubicBezTo>
                  <a:pt x="909091" y="5459631"/>
                  <a:pt x="907759" y="5458699"/>
                  <a:pt x="906162" y="5458033"/>
                </a:cubicBezTo>
                <a:cubicBezTo>
                  <a:pt x="904698" y="5457368"/>
                  <a:pt x="903100" y="5457102"/>
                  <a:pt x="901104" y="5457102"/>
                </a:cubicBezTo>
                <a:close/>
                <a:moveTo>
                  <a:pt x="683330" y="5457102"/>
                </a:moveTo>
                <a:cubicBezTo>
                  <a:pt x="677472" y="5457102"/>
                  <a:pt x="674943" y="5458965"/>
                  <a:pt x="673346" y="5460696"/>
                </a:cubicBezTo>
                <a:cubicBezTo>
                  <a:pt x="670816" y="5463358"/>
                  <a:pt x="669752" y="5466153"/>
                  <a:pt x="669752" y="5470147"/>
                </a:cubicBezTo>
                <a:cubicBezTo>
                  <a:pt x="669752" y="5474274"/>
                  <a:pt x="670816" y="5477069"/>
                  <a:pt x="673346" y="5479598"/>
                </a:cubicBezTo>
                <a:cubicBezTo>
                  <a:pt x="674943" y="5481197"/>
                  <a:pt x="677472" y="5483060"/>
                  <a:pt x="683330" y="5483060"/>
                </a:cubicBezTo>
                <a:cubicBezTo>
                  <a:pt x="685326" y="5483060"/>
                  <a:pt x="687191" y="5482794"/>
                  <a:pt x="688655" y="5482128"/>
                </a:cubicBezTo>
                <a:cubicBezTo>
                  <a:pt x="690119" y="5481596"/>
                  <a:pt x="691451" y="5480664"/>
                  <a:pt x="692382" y="5479731"/>
                </a:cubicBezTo>
                <a:cubicBezTo>
                  <a:pt x="693447" y="5478533"/>
                  <a:pt x="694379" y="5477202"/>
                  <a:pt x="695045" y="5475472"/>
                </a:cubicBezTo>
                <a:cubicBezTo>
                  <a:pt x="695710" y="5473874"/>
                  <a:pt x="696110" y="5472010"/>
                  <a:pt x="696110" y="5470014"/>
                </a:cubicBezTo>
                <a:cubicBezTo>
                  <a:pt x="696110" y="5468150"/>
                  <a:pt x="695710" y="5466420"/>
                  <a:pt x="695045" y="5464822"/>
                </a:cubicBezTo>
                <a:cubicBezTo>
                  <a:pt x="694379" y="5463225"/>
                  <a:pt x="693447" y="5461894"/>
                  <a:pt x="692382" y="5460696"/>
                </a:cubicBezTo>
                <a:cubicBezTo>
                  <a:pt x="691317" y="5459631"/>
                  <a:pt x="689986" y="5458699"/>
                  <a:pt x="688389" y="5458033"/>
                </a:cubicBezTo>
                <a:cubicBezTo>
                  <a:pt x="686925" y="5457368"/>
                  <a:pt x="685326" y="5457102"/>
                  <a:pt x="683330" y="5457102"/>
                </a:cubicBezTo>
                <a:close/>
                <a:moveTo>
                  <a:pt x="465688" y="5457102"/>
                </a:moveTo>
                <a:cubicBezTo>
                  <a:pt x="459831" y="5457102"/>
                  <a:pt x="457302" y="5458965"/>
                  <a:pt x="455705" y="5460696"/>
                </a:cubicBezTo>
                <a:cubicBezTo>
                  <a:pt x="453175" y="5463358"/>
                  <a:pt x="452111" y="5466153"/>
                  <a:pt x="452111" y="5470147"/>
                </a:cubicBezTo>
                <a:cubicBezTo>
                  <a:pt x="452111" y="5474274"/>
                  <a:pt x="453175" y="5477069"/>
                  <a:pt x="455705" y="5479598"/>
                </a:cubicBezTo>
                <a:cubicBezTo>
                  <a:pt x="457302" y="5481197"/>
                  <a:pt x="459831" y="5483060"/>
                  <a:pt x="465688" y="5483060"/>
                </a:cubicBezTo>
                <a:cubicBezTo>
                  <a:pt x="467685" y="5483060"/>
                  <a:pt x="469549" y="5482794"/>
                  <a:pt x="471013" y="5482128"/>
                </a:cubicBezTo>
                <a:cubicBezTo>
                  <a:pt x="472477" y="5481596"/>
                  <a:pt x="473809" y="5480664"/>
                  <a:pt x="474740" y="5479731"/>
                </a:cubicBezTo>
                <a:cubicBezTo>
                  <a:pt x="475805" y="5478533"/>
                  <a:pt x="476737" y="5477202"/>
                  <a:pt x="477404" y="5475472"/>
                </a:cubicBezTo>
                <a:cubicBezTo>
                  <a:pt x="478069" y="5473874"/>
                  <a:pt x="478468" y="5472010"/>
                  <a:pt x="478468" y="5470014"/>
                </a:cubicBezTo>
                <a:cubicBezTo>
                  <a:pt x="478468" y="5468150"/>
                  <a:pt x="478069" y="5466420"/>
                  <a:pt x="477404" y="5464822"/>
                </a:cubicBezTo>
                <a:cubicBezTo>
                  <a:pt x="476737" y="5463225"/>
                  <a:pt x="475805" y="5461894"/>
                  <a:pt x="474740" y="5460696"/>
                </a:cubicBezTo>
                <a:cubicBezTo>
                  <a:pt x="473676" y="5459631"/>
                  <a:pt x="472344" y="5458699"/>
                  <a:pt x="470747" y="5458033"/>
                </a:cubicBezTo>
                <a:cubicBezTo>
                  <a:pt x="469283" y="5457368"/>
                  <a:pt x="467685" y="5457102"/>
                  <a:pt x="465688" y="5457102"/>
                </a:cubicBezTo>
                <a:close/>
                <a:moveTo>
                  <a:pt x="248047" y="5457102"/>
                </a:moveTo>
                <a:cubicBezTo>
                  <a:pt x="242190" y="5457102"/>
                  <a:pt x="239661" y="5458965"/>
                  <a:pt x="238064" y="5460696"/>
                </a:cubicBezTo>
                <a:cubicBezTo>
                  <a:pt x="235534" y="5463358"/>
                  <a:pt x="234471" y="5466153"/>
                  <a:pt x="234471" y="5470147"/>
                </a:cubicBezTo>
                <a:cubicBezTo>
                  <a:pt x="234471" y="5474274"/>
                  <a:pt x="235534" y="5477069"/>
                  <a:pt x="238064" y="5479598"/>
                </a:cubicBezTo>
                <a:cubicBezTo>
                  <a:pt x="239661" y="5481197"/>
                  <a:pt x="242190" y="5483060"/>
                  <a:pt x="248047" y="5483060"/>
                </a:cubicBezTo>
                <a:cubicBezTo>
                  <a:pt x="250177" y="5483060"/>
                  <a:pt x="251907" y="5482794"/>
                  <a:pt x="253371" y="5482128"/>
                </a:cubicBezTo>
                <a:cubicBezTo>
                  <a:pt x="254835" y="5481596"/>
                  <a:pt x="256166" y="5480664"/>
                  <a:pt x="257098" y="5479731"/>
                </a:cubicBezTo>
                <a:cubicBezTo>
                  <a:pt x="258163" y="5478533"/>
                  <a:pt x="259095" y="5477202"/>
                  <a:pt x="259761" y="5475472"/>
                </a:cubicBezTo>
                <a:cubicBezTo>
                  <a:pt x="260426" y="5473874"/>
                  <a:pt x="260826" y="5472010"/>
                  <a:pt x="260826" y="5470014"/>
                </a:cubicBezTo>
                <a:cubicBezTo>
                  <a:pt x="260826" y="5468150"/>
                  <a:pt x="260426" y="5466420"/>
                  <a:pt x="259761" y="5464822"/>
                </a:cubicBezTo>
                <a:cubicBezTo>
                  <a:pt x="259095" y="5463225"/>
                  <a:pt x="258163" y="5461894"/>
                  <a:pt x="257098" y="5460696"/>
                </a:cubicBezTo>
                <a:cubicBezTo>
                  <a:pt x="256033" y="5459631"/>
                  <a:pt x="254702" y="5458699"/>
                  <a:pt x="253105" y="5458033"/>
                </a:cubicBezTo>
                <a:cubicBezTo>
                  <a:pt x="251640" y="5457368"/>
                  <a:pt x="250044" y="5457102"/>
                  <a:pt x="248047" y="5457102"/>
                </a:cubicBezTo>
                <a:close/>
                <a:moveTo>
                  <a:pt x="30405" y="5457102"/>
                </a:moveTo>
                <a:cubicBezTo>
                  <a:pt x="24548" y="5457102"/>
                  <a:pt x="22019" y="5458965"/>
                  <a:pt x="20422" y="5460696"/>
                </a:cubicBezTo>
                <a:cubicBezTo>
                  <a:pt x="17892" y="5463358"/>
                  <a:pt x="16829" y="5466153"/>
                  <a:pt x="16829" y="5470147"/>
                </a:cubicBezTo>
                <a:cubicBezTo>
                  <a:pt x="16829" y="5474274"/>
                  <a:pt x="17892" y="5477069"/>
                  <a:pt x="20422" y="5479598"/>
                </a:cubicBezTo>
                <a:cubicBezTo>
                  <a:pt x="22019" y="5481197"/>
                  <a:pt x="24548" y="5483060"/>
                  <a:pt x="30405" y="5483060"/>
                </a:cubicBezTo>
                <a:cubicBezTo>
                  <a:pt x="32535" y="5483060"/>
                  <a:pt x="34266" y="5482794"/>
                  <a:pt x="35730" y="5482128"/>
                </a:cubicBezTo>
                <a:cubicBezTo>
                  <a:pt x="37194" y="5481596"/>
                  <a:pt x="38526" y="5480664"/>
                  <a:pt x="39457" y="5479731"/>
                </a:cubicBezTo>
                <a:cubicBezTo>
                  <a:pt x="40522" y="5478533"/>
                  <a:pt x="41454" y="5477202"/>
                  <a:pt x="42120" y="5475472"/>
                </a:cubicBezTo>
                <a:cubicBezTo>
                  <a:pt x="42785" y="5473874"/>
                  <a:pt x="43051" y="5472010"/>
                  <a:pt x="43051" y="5470014"/>
                </a:cubicBezTo>
                <a:cubicBezTo>
                  <a:pt x="43051" y="5468150"/>
                  <a:pt x="42785" y="5466420"/>
                  <a:pt x="42120" y="5464822"/>
                </a:cubicBezTo>
                <a:cubicBezTo>
                  <a:pt x="41454" y="5463225"/>
                  <a:pt x="40522" y="5461894"/>
                  <a:pt x="39457" y="5460696"/>
                </a:cubicBezTo>
                <a:cubicBezTo>
                  <a:pt x="38392" y="5459631"/>
                  <a:pt x="37061" y="5458699"/>
                  <a:pt x="35464" y="5458033"/>
                </a:cubicBezTo>
                <a:cubicBezTo>
                  <a:pt x="34000" y="5457368"/>
                  <a:pt x="32402" y="5457102"/>
                  <a:pt x="30405" y="5457102"/>
                </a:cubicBezTo>
                <a:close/>
                <a:moveTo>
                  <a:pt x="10475977" y="5440462"/>
                </a:moveTo>
                <a:cubicBezTo>
                  <a:pt x="10480237" y="5440462"/>
                  <a:pt x="10484230" y="5441261"/>
                  <a:pt x="10487824" y="5443124"/>
                </a:cubicBezTo>
                <a:cubicBezTo>
                  <a:pt x="10491419" y="5444722"/>
                  <a:pt x="10494613" y="5446852"/>
                  <a:pt x="10497143" y="5449514"/>
                </a:cubicBezTo>
                <a:cubicBezTo>
                  <a:pt x="10499672" y="5452043"/>
                  <a:pt x="10501801" y="5455238"/>
                  <a:pt x="10503266" y="5458832"/>
                </a:cubicBezTo>
                <a:cubicBezTo>
                  <a:pt x="10504730" y="5462426"/>
                  <a:pt x="10505529" y="5466153"/>
                  <a:pt x="10505529" y="5470280"/>
                </a:cubicBezTo>
                <a:cubicBezTo>
                  <a:pt x="10505529" y="5474406"/>
                  <a:pt x="10504730" y="5478400"/>
                  <a:pt x="10503266" y="5481995"/>
                </a:cubicBezTo>
                <a:cubicBezTo>
                  <a:pt x="10501669" y="5485590"/>
                  <a:pt x="10499672" y="5488651"/>
                  <a:pt x="10497143" y="5491314"/>
                </a:cubicBezTo>
                <a:cubicBezTo>
                  <a:pt x="10494480" y="5493976"/>
                  <a:pt x="10491419" y="5496106"/>
                  <a:pt x="10487824" y="5497570"/>
                </a:cubicBezTo>
                <a:cubicBezTo>
                  <a:pt x="10484098" y="5499034"/>
                  <a:pt x="10480237" y="5499833"/>
                  <a:pt x="10475977" y="5499833"/>
                </a:cubicBezTo>
                <a:cubicBezTo>
                  <a:pt x="10466924" y="5499833"/>
                  <a:pt x="10459736" y="5496904"/>
                  <a:pt x="10454145" y="5491314"/>
                </a:cubicBezTo>
                <a:cubicBezTo>
                  <a:pt x="10448554" y="5485722"/>
                  <a:pt x="10445759" y="5478533"/>
                  <a:pt x="10445759" y="5470147"/>
                </a:cubicBezTo>
                <a:cubicBezTo>
                  <a:pt x="10445759" y="5461894"/>
                  <a:pt x="10448554" y="5454838"/>
                  <a:pt x="10454145" y="5449114"/>
                </a:cubicBezTo>
                <a:cubicBezTo>
                  <a:pt x="10459603" y="5443257"/>
                  <a:pt x="10466924" y="5440462"/>
                  <a:pt x="10475977" y="5440462"/>
                </a:cubicBezTo>
                <a:close/>
                <a:moveTo>
                  <a:pt x="10258466" y="5440462"/>
                </a:moveTo>
                <a:cubicBezTo>
                  <a:pt x="10262592" y="5440462"/>
                  <a:pt x="10266586" y="5441261"/>
                  <a:pt x="10270313" y="5443124"/>
                </a:cubicBezTo>
                <a:cubicBezTo>
                  <a:pt x="10273907" y="5444722"/>
                  <a:pt x="10277101" y="5446852"/>
                  <a:pt x="10279631" y="5449514"/>
                </a:cubicBezTo>
                <a:cubicBezTo>
                  <a:pt x="10282160" y="5452043"/>
                  <a:pt x="10284290" y="5455238"/>
                  <a:pt x="10285754" y="5458832"/>
                </a:cubicBezTo>
                <a:cubicBezTo>
                  <a:pt x="10287218" y="5462426"/>
                  <a:pt x="10288017" y="5466153"/>
                  <a:pt x="10288017" y="5470280"/>
                </a:cubicBezTo>
                <a:cubicBezTo>
                  <a:pt x="10288017" y="5474406"/>
                  <a:pt x="10287218" y="5478400"/>
                  <a:pt x="10285754" y="5481995"/>
                </a:cubicBezTo>
                <a:cubicBezTo>
                  <a:pt x="10284157" y="5485590"/>
                  <a:pt x="10282160" y="5488651"/>
                  <a:pt x="10279631" y="5491314"/>
                </a:cubicBezTo>
                <a:cubicBezTo>
                  <a:pt x="10276969" y="5493976"/>
                  <a:pt x="10273907" y="5496106"/>
                  <a:pt x="10270313" y="5497570"/>
                </a:cubicBezTo>
                <a:cubicBezTo>
                  <a:pt x="10266586" y="5499034"/>
                  <a:pt x="10262725" y="5499833"/>
                  <a:pt x="10258466" y="5499833"/>
                </a:cubicBezTo>
                <a:cubicBezTo>
                  <a:pt x="10249546" y="5499833"/>
                  <a:pt x="10242224" y="5496904"/>
                  <a:pt x="10236633" y="5491314"/>
                </a:cubicBezTo>
                <a:cubicBezTo>
                  <a:pt x="10231043" y="5485722"/>
                  <a:pt x="10228247" y="5478533"/>
                  <a:pt x="10228247" y="5470147"/>
                </a:cubicBezTo>
                <a:cubicBezTo>
                  <a:pt x="10228247" y="5461894"/>
                  <a:pt x="10231043" y="5454838"/>
                  <a:pt x="10236633" y="5449114"/>
                </a:cubicBezTo>
                <a:cubicBezTo>
                  <a:pt x="10242092" y="5443257"/>
                  <a:pt x="10249413" y="5440462"/>
                  <a:pt x="10258466" y="5440462"/>
                </a:cubicBezTo>
                <a:close/>
                <a:moveTo>
                  <a:pt x="10040820" y="5440462"/>
                </a:moveTo>
                <a:cubicBezTo>
                  <a:pt x="10045080" y="5440462"/>
                  <a:pt x="10048941" y="5441261"/>
                  <a:pt x="10052534" y="5443124"/>
                </a:cubicBezTo>
                <a:cubicBezTo>
                  <a:pt x="10056129" y="5444722"/>
                  <a:pt x="10059323" y="5446852"/>
                  <a:pt x="10061852" y="5449514"/>
                </a:cubicBezTo>
                <a:cubicBezTo>
                  <a:pt x="10064382" y="5452043"/>
                  <a:pt x="10066512" y="5455238"/>
                  <a:pt x="10067976" y="5458832"/>
                </a:cubicBezTo>
                <a:cubicBezTo>
                  <a:pt x="10069440" y="5462426"/>
                  <a:pt x="10070239" y="5466153"/>
                  <a:pt x="10070239" y="5470280"/>
                </a:cubicBezTo>
                <a:cubicBezTo>
                  <a:pt x="10070239" y="5474406"/>
                  <a:pt x="10069440" y="5478400"/>
                  <a:pt x="10067976" y="5481995"/>
                </a:cubicBezTo>
                <a:cubicBezTo>
                  <a:pt x="10066379" y="5485590"/>
                  <a:pt x="10064382" y="5488651"/>
                  <a:pt x="10061852" y="5491314"/>
                </a:cubicBezTo>
                <a:cubicBezTo>
                  <a:pt x="10059190" y="5493976"/>
                  <a:pt x="10056129" y="5496106"/>
                  <a:pt x="10052534" y="5497570"/>
                </a:cubicBezTo>
                <a:cubicBezTo>
                  <a:pt x="10048941" y="5499034"/>
                  <a:pt x="10045080" y="5499833"/>
                  <a:pt x="10040820" y="5499833"/>
                </a:cubicBezTo>
                <a:cubicBezTo>
                  <a:pt x="10031767" y="5499833"/>
                  <a:pt x="10024579" y="5496904"/>
                  <a:pt x="10018988" y="5491314"/>
                </a:cubicBezTo>
                <a:cubicBezTo>
                  <a:pt x="10013397" y="5485722"/>
                  <a:pt x="10010602" y="5478533"/>
                  <a:pt x="10010602" y="5470147"/>
                </a:cubicBezTo>
                <a:cubicBezTo>
                  <a:pt x="10010602" y="5461894"/>
                  <a:pt x="10013397" y="5454838"/>
                  <a:pt x="10018988" y="5449114"/>
                </a:cubicBezTo>
                <a:cubicBezTo>
                  <a:pt x="10024579" y="5443257"/>
                  <a:pt x="10031767" y="5440462"/>
                  <a:pt x="10040820" y="5440462"/>
                </a:cubicBezTo>
                <a:close/>
                <a:moveTo>
                  <a:pt x="9823176" y="5440462"/>
                </a:moveTo>
                <a:cubicBezTo>
                  <a:pt x="9827435" y="5440462"/>
                  <a:pt x="9831296" y="5441261"/>
                  <a:pt x="9834890" y="5443124"/>
                </a:cubicBezTo>
                <a:cubicBezTo>
                  <a:pt x="9838617" y="5444722"/>
                  <a:pt x="9841679" y="5446852"/>
                  <a:pt x="9844208" y="5449514"/>
                </a:cubicBezTo>
                <a:cubicBezTo>
                  <a:pt x="9846737" y="5452043"/>
                  <a:pt x="9848867" y="5455238"/>
                  <a:pt x="9850331" y="5458832"/>
                </a:cubicBezTo>
                <a:cubicBezTo>
                  <a:pt x="9851796" y="5462426"/>
                  <a:pt x="9852595" y="5466153"/>
                  <a:pt x="9852595" y="5470280"/>
                </a:cubicBezTo>
                <a:cubicBezTo>
                  <a:pt x="9852595" y="5474406"/>
                  <a:pt x="9851796" y="5478400"/>
                  <a:pt x="9850331" y="5481995"/>
                </a:cubicBezTo>
                <a:cubicBezTo>
                  <a:pt x="9848734" y="5485590"/>
                  <a:pt x="9846737" y="5488651"/>
                  <a:pt x="9844208" y="5491314"/>
                </a:cubicBezTo>
                <a:cubicBezTo>
                  <a:pt x="9841546" y="5493976"/>
                  <a:pt x="9838484" y="5496106"/>
                  <a:pt x="9834890" y="5497570"/>
                </a:cubicBezTo>
                <a:cubicBezTo>
                  <a:pt x="9831296" y="5499034"/>
                  <a:pt x="9827435" y="5499833"/>
                  <a:pt x="9823176" y="5499833"/>
                </a:cubicBezTo>
                <a:cubicBezTo>
                  <a:pt x="9814123" y="5499833"/>
                  <a:pt x="9806935" y="5496904"/>
                  <a:pt x="9801343" y="5491314"/>
                </a:cubicBezTo>
                <a:cubicBezTo>
                  <a:pt x="9795753" y="5485722"/>
                  <a:pt x="9792957" y="5478533"/>
                  <a:pt x="9792957" y="5470147"/>
                </a:cubicBezTo>
                <a:cubicBezTo>
                  <a:pt x="9792957" y="5461894"/>
                  <a:pt x="9795753" y="5454838"/>
                  <a:pt x="9801343" y="5449114"/>
                </a:cubicBezTo>
                <a:cubicBezTo>
                  <a:pt x="9806935" y="5443257"/>
                  <a:pt x="9814123" y="5440462"/>
                  <a:pt x="9823176" y="5440462"/>
                </a:cubicBezTo>
                <a:close/>
                <a:moveTo>
                  <a:pt x="9605531" y="5440462"/>
                </a:moveTo>
                <a:cubicBezTo>
                  <a:pt x="9609790" y="5440462"/>
                  <a:pt x="9613784" y="5441261"/>
                  <a:pt x="9617245" y="5443124"/>
                </a:cubicBezTo>
                <a:cubicBezTo>
                  <a:pt x="9620839" y="5444722"/>
                  <a:pt x="9624033" y="5446852"/>
                  <a:pt x="9626562" y="5449514"/>
                </a:cubicBezTo>
                <a:cubicBezTo>
                  <a:pt x="9629092" y="5452043"/>
                  <a:pt x="9631222" y="5455238"/>
                  <a:pt x="9632686" y="5458832"/>
                </a:cubicBezTo>
                <a:cubicBezTo>
                  <a:pt x="9634150" y="5462426"/>
                  <a:pt x="9634949" y="5466153"/>
                  <a:pt x="9634949" y="5470280"/>
                </a:cubicBezTo>
                <a:cubicBezTo>
                  <a:pt x="9634949" y="5474406"/>
                  <a:pt x="9634150" y="5478400"/>
                  <a:pt x="9632686" y="5481995"/>
                </a:cubicBezTo>
                <a:cubicBezTo>
                  <a:pt x="9631089" y="5485590"/>
                  <a:pt x="9629092" y="5488651"/>
                  <a:pt x="9626562" y="5491314"/>
                </a:cubicBezTo>
                <a:cubicBezTo>
                  <a:pt x="9623901" y="5493976"/>
                  <a:pt x="9620839" y="5496106"/>
                  <a:pt x="9617245" y="5497570"/>
                </a:cubicBezTo>
                <a:cubicBezTo>
                  <a:pt x="9613651" y="5499034"/>
                  <a:pt x="9609790" y="5499833"/>
                  <a:pt x="9605531" y="5499833"/>
                </a:cubicBezTo>
                <a:cubicBezTo>
                  <a:pt x="9596610" y="5499833"/>
                  <a:pt x="9589289" y="5496904"/>
                  <a:pt x="9583698" y="5491314"/>
                </a:cubicBezTo>
                <a:cubicBezTo>
                  <a:pt x="9578108" y="5485722"/>
                  <a:pt x="9575312" y="5478533"/>
                  <a:pt x="9575312" y="5470147"/>
                </a:cubicBezTo>
                <a:cubicBezTo>
                  <a:pt x="9575312" y="5461894"/>
                  <a:pt x="9578108" y="5454838"/>
                  <a:pt x="9583698" y="5449114"/>
                </a:cubicBezTo>
                <a:cubicBezTo>
                  <a:pt x="9589289" y="5443257"/>
                  <a:pt x="9596478" y="5440462"/>
                  <a:pt x="9605531" y="5440462"/>
                </a:cubicBezTo>
                <a:close/>
                <a:moveTo>
                  <a:pt x="9387885" y="5440462"/>
                </a:moveTo>
                <a:cubicBezTo>
                  <a:pt x="9392145" y="5440462"/>
                  <a:pt x="9396138" y="5441261"/>
                  <a:pt x="9399599" y="5443124"/>
                </a:cubicBezTo>
                <a:cubicBezTo>
                  <a:pt x="9403194" y="5444722"/>
                  <a:pt x="9406388" y="5446852"/>
                  <a:pt x="9408917" y="5449514"/>
                </a:cubicBezTo>
                <a:cubicBezTo>
                  <a:pt x="9411447" y="5452043"/>
                  <a:pt x="9413576" y="5455238"/>
                  <a:pt x="9415041" y="5458832"/>
                </a:cubicBezTo>
                <a:cubicBezTo>
                  <a:pt x="9416505" y="5462426"/>
                  <a:pt x="9417304" y="5466153"/>
                  <a:pt x="9417304" y="5470280"/>
                </a:cubicBezTo>
                <a:cubicBezTo>
                  <a:pt x="9417304" y="5474406"/>
                  <a:pt x="9416505" y="5478400"/>
                  <a:pt x="9415041" y="5481995"/>
                </a:cubicBezTo>
                <a:cubicBezTo>
                  <a:pt x="9413444" y="5485590"/>
                  <a:pt x="9411447" y="5488651"/>
                  <a:pt x="9408917" y="5491314"/>
                </a:cubicBezTo>
                <a:cubicBezTo>
                  <a:pt x="9406255" y="5493976"/>
                  <a:pt x="9403194" y="5496106"/>
                  <a:pt x="9399599" y="5497570"/>
                </a:cubicBezTo>
                <a:cubicBezTo>
                  <a:pt x="9396005" y="5499034"/>
                  <a:pt x="9392145" y="5499833"/>
                  <a:pt x="9387885" y="5499833"/>
                </a:cubicBezTo>
                <a:cubicBezTo>
                  <a:pt x="9378965" y="5499833"/>
                  <a:pt x="9371644" y="5496904"/>
                  <a:pt x="9366053" y="5491314"/>
                </a:cubicBezTo>
                <a:cubicBezTo>
                  <a:pt x="9360462" y="5485722"/>
                  <a:pt x="9357667" y="5478533"/>
                  <a:pt x="9357667" y="5470147"/>
                </a:cubicBezTo>
                <a:cubicBezTo>
                  <a:pt x="9357667" y="5461894"/>
                  <a:pt x="9360462" y="5454838"/>
                  <a:pt x="9366053" y="5449114"/>
                </a:cubicBezTo>
                <a:cubicBezTo>
                  <a:pt x="9371644" y="5443257"/>
                  <a:pt x="9378832" y="5440462"/>
                  <a:pt x="9387885" y="5440462"/>
                </a:cubicBezTo>
                <a:close/>
                <a:moveTo>
                  <a:pt x="9170374" y="5440462"/>
                </a:moveTo>
                <a:cubicBezTo>
                  <a:pt x="9174500" y="5440462"/>
                  <a:pt x="9178494" y="5441261"/>
                  <a:pt x="9182088" y="5443124"/>
                </a:cubicBezTo>
                <a:cubicBezTo>
                  <a:pt x="9185682" y="5444722"/>
                  <a:pt x="9188876" y="5446852"/>
                  <a:pt x="9191405" y="5449514"/>
                </a:cubicBezTo>
                <a:cubicBezTo>
                  <a:pt x="9193935" y="5452043"/>
                  <a:pt x="9196065" y="5455238"/>
                  <a:pt x="9197529" y="5458832"/>
                </a:cubicBezTo>
                <a:cubicBezTo>
                  <a:pt x="9198993" y="5462426"/>
                  <a:pt x="9199792" y="5466153"/>
                  <a:pt x="9199792" y="5470280"/>
                </a:cubicBezTo>
                <a:cubicBezTo>
                  <a:pt x="9199792" y="5474406"/>
                  <a:pt x="9198993" y="5478400"/>
                  <a:pt x="9197529" y="5481995"/>
                </a:cubicBezTo>
                <a:cubicBezTo>
                  <a:pt x="9195932" y="5485590"/>
                  <a:pt x="9193935" y="5488651"/>
                  <a:pt x="9191405" y="5491314"/>
                </a:cubicBezTo>
                <a:cubicBezTo>
                  <a:pt x="9188744" y="5493976"/>
                  <a:pt x="9185682" y="5496106"/>
                  <a:pt x="9182088" y="5497570"/>
                </a:cubicBezTo>
                <a:cubicBezTo>
                  <a:pt x="9178494" y="5499034"/>
                  <a:pt x="9174633" y="5499833"/>
                  <a:pt x="9170374" y="5499833"/>
                </a:cubicBezTo>
                <a:cubicBezTo>
                  <a:pt x="9161453" y="5499833"/>
                  <a:pt x="9154132" y="5496904"/>
                  <a:pt x="9148541" y="5491314"/>
                </a:cubicBezTo>
                <a:cubicBezTo>
                  <a:pt x="9142951" y="5485722"/>
                  <a:pt x="9140155" y="5478533"/>
                  <a:pt x="9140155" y="5470147"/>
                </a:cubicBezTo>
                <a:cubicBezTo>
                  <a:pt x="9140155" y="5461894"/>
                  <a:pt x="9142951" y="5454838"/>
                  <a:pt x="9148541" y="5449114"/>
                </a:cubicBezTo>
                <a:cubicBezTo>
                  <a:pt x="9154132" y="5443257"/>
                  <a:pt x="9161321" y="5440462"/>
                  <a:pt x="9170374" y="5440462"/>
                </a:cubicBezTo>
                <a:close/>
                <a:moveTo>
                  <a:pt x="8952728" y="5440462"/>
                </a:moveTo>
                <a:cubicBezTo>
                  <a:pt x="8956988" y="5440462"/>
                  <a:pt x="8960849" y="5441261"/>
                  <a:pt x="8964442" y="5443124"/>
                </a:cubicBezTo>
                <a:cubicBezTo>
                  <a:pt x="8968037" y="5444722"/>
                  <a:pt x="8971231" y="5446852"/>
                  <a:pt x="8973760" y="5449514"/>
                </a:cubicBezTo>
                <a:cubicBezTo>
                  <a:pt x="8976290" y="5452043"/>
                  <a:pt x="8978419" y="5455238"/>
                  <a:pt x="8979884" y="5458832"/>
                </a:cubicBezTo>
                <a:cubicBezTo>
                  <a:pt x="8981348" y="5462426"/>
                  <a:pt x="8982147" y="5466153"/>
                  <a:pt x="8982147" y="5470280"/>
                </a:cubicBezTo>
                <a:cubicBezTo>
                  <a:pt x="8982147" y="5474406"/>
                  <a:pt x="8981348" y="5478400"/>
                  <a:pt x="8979884" y="5481995"/>
                </a:cubicBezTo>
                <a:cubicBezTo>
                  <a:pt x="8978287" y="5485590"/>
                  <a:pt x="8976290" y="5488651"/>
                  <a:pt x="8973760" y="5491314"/>
                </a:cubicBezTo>
                <a:cubicBezTo>
                  <a:pt x="8971098" y="5493976"/>
                  <a:pt x="8968037" y="5496106"/>
                  <a:pt x="8964442" y="5497570"/>
                </a:cubicBezTo>
                <a:cubicBezTo>
                  <a:pt x="8960849" y="5499034"/>
                  <a:pt x="8956988" y="5499833"/>
                  <a:pt x="8952728" y="5499833"/>
                </a:cubicBezTo>
                <a:cubicBezTo>
                  <a:pt x="8943808" y="5499833"/>
                  <a:pt x="8936487" y="5496904"/>
                  <a:pt x="8930896" y="5491314"/>
                </a:cubicBezTo>
                <a:cubicBezTo>
                  <a:pt x="8925305" y="5485722"/>
                  <a:pt x="8922510" y="5478533"/>
                  <a:pt x="8922510" y="5470147"/>
                </a:cubicBezTo>
                <a:cubicBezTo>
                  <a:pt x="8922510" y="5461894"/>
                  <a:pt x="8925305" y="5454838"/>
                  <a:pt x="8930896" y="5449114"/>
                </a:cubicBezTo>
                <a:cubicBezTo>
                  <a:pt x="8936487" y="5443257"/>
                  <a:pt x="8943675" y="5440462"/>
                  <a:pt x="8952728" y="5440462"/>
                </a:cubicBezTo>
                <a:close/>
                <a:moveTo>
                  <a:pt x="8735083" y="5440462"/>
                </a:moveTo>
                <a:cubicBezTo>
                  <a:pt x="8739342" y="5440462"/>
                  <a:pt x="8743203" y="5441261"/>
                  <a:pt x="8746797" y="5443124"/>
                </a:cubicBezTo>
                <a:cubicBezTo>
                  <a:pt x="8750391" y="5444722"/>
                  <a:pt x="8753586" y="5446852"/>
                  <a:pt x="8756115" y="5449514"/>
                </a:cubicBezTo>
                <a:cubicBezTo>
                  <a:pt x="8758644" y="5452043"/>
                  <a:pt x="8760774" y="5455238"/>
                  <a:pt x="8762238" y="5458832"/>
                </a:cubicBezTo>
                <a:cubicBezTo>
                  <a:pt x="8763702" y="5462426"/>
                  <a:pt x="8764502" y="5466153"/>
                  <a:pt x="8764502" y="5470280"/>
                </a:cubicBezTo>
                <a:cubicBezTo>
                  <a:pt x="8764502" y="5474406"/>
                  <a:pt x="8763702" y="5478400"/>
                  <a:pt x="8762238" y="5481995"/>
                </a:cubicBezTo>
                <a:cubicBezTo>
                  <a:pt x="8760641" y="5485590"/>
                  <a:pt x="8758644" y="5488651"/>
                  <a:pt x="8756115" y="5491314"/>
                </a:cubicBezTo>
                <a:cubicBezTo>
                  <a:pt x="8753453" y="5493976"/>
                  <a:pt x="8750391" y="5496106"/>
                  <a:pt x="8746797" y="5497570"/>
                </a:cubicBezTo>
                <a:cubicBezTo>
                  <a:pt x="8743203" y="5499034"/>
                  <a:pt x="8739342" y="5499833"/>
                  <a:pt x="8735083" y="5499833"/>
                </a:cubicBezTo>
                <a:cubicBezTo>
                  <a:pt x="8726030" y="5499833"/>
                  <a:pt x="8718841" y="5496904"/>
                  <a:pt x="8713250" y="5491314"/>
                </a:cubicBezTo>
                <a:cubicBezTo>
                  <a:pt x="8707660" y="5485722"/>
                  <a:pt x="8704864" y="5478533"/>
                  <a:pt x="8704864" y="5470147"/>
                </a:cubicBezTo>
                <a:cubicBezTo>
                  <a:pt x="8704864" y="5461894"/>
                  <a:pt x="8707660" y="5454838"/>
                  <a:pt x="8713250" y="5449114"/>
                </a:cubicBezTo>
                <a:cubicBezTo>
                  <a:pt x="8718841" y="5443257"/>
                  <a:pt x="8726030" y="5440462"/>
                  <a:pt x="8735083" y="5440462"/>
                </a:cubicBezTo>
                <a:close/>
                <a:moveTo>
                  <a:pt x="8517438" y="5440462"/>
                </a:moveTo>
                <a:cubicBezTo>
                  <a:pt x="8521698" y="5440462"/>
                  <a:pt x="8525559" y="5441261"/>
                  <a:pt x="8529152" y="5443124"/>
                </a:cubicBezTo>
                <a:cubicBezTo>
                  <a:pt x="8532880" y="5444722"/>
                  <a:pt x="8535941" y="5446852"/>
                  <a:pt x="8538470" y="5449514"/>
                </a:cubicBezTo>
                <a:cubicBezTo>
                  <a:pt x="8541000" y="5452043"/>
                  <a:pt x="8543130" y="5455238"/>
                  <a:pt x="8544594" y="5458832"/>
                </a:cubicBezTo>
                <a:cubicBezTo>
                  <a:pt x="8546058" y="5462426"/>
                  <a:pt x="8546857" y="5466153"/>
                  <a:pt x="8546857" y="5470280"/>
                </a:cubicBezTo>
                <a:cubicBezTo>
                  <a:pt x="8546857" y="5474406"/>
                  <a:pt x="8546058" y="5478400"/>
                  <a:pt x="8544594" y="5481995"/>
                </a:cubicBezTo>
                <a:cubicBezTo>
                  <a:pt x="8542997" y="5485590"/>
                  <a:pt x="8541000" y="5488651"/>
                  <a:pt x="8538470" y="5491314"/>
                </a:cubicBezTo>
                <a:cubicBezTo>
                  <a:pt x="8535808" y="5493976"/>
                  <a:pt x="8532747" y="5496106"/>
                  <a:pt x="8529152" y="5497570"/>
                </a:cubicBezTo>
                <a:cubicBezTo>
                  <a:pt x="8525559" y="5499034"/>
                  <a:pt x="8521698" y="5499833"/>
                  <a:pt x="8517438" y="5499833"/>
                </a:cubicBezTo>
                <a:cubicBezTo>
                  <a:pt x="8508385" y="5499833"/>
                  <a:pt x="8501197" y="5496904"/>
                  <a:pt x="8495606" y="5491314"/>
                </a:cubicBezTo>
                <a:cubicBezTo>
                  <a:pt x="8490015" y="5485722"/>
                  <a:pt x="8487220" y="5478533"/>
                  <a:pt x="8487220" y="5470147"/>
                </a:cubicBezTo>
                <a:cubicBezTo>
                  <a:pt x="8487220" y="5461894"/>
                  <a:pt x="8490015" y="5454838"/>
                  <a:pt x="8495606" y="5449114"/>
                </a:cubicBezTo>
                <a:cubicBezTo>
                  <a:pt x="8501197" y="5443257"/>
                  <a:pt x="8508385" y="5440462"/>
                  <a:pt x="8517438" y="5440462"/>
                </a:cubicBezTo>
                <a:close/>
                <a:moveTo>
                  <a:pt x="8299793" y="5440462"/>
                </a:moveTo>
                <a:cubicBezTo>
                  <a:pt x="8304052" y="5440462"/>
                  <a:pt x="8308046" y="5441261"/>
                  <a:pt x="8311507" y="5443124"/>
                </a:cubicBezTo>
                <a:cubicBezTo>
                  <a:pt x="8315235" y="5444722"/>
                  <a:pt x="8318296" y="5446852"/>
                  <a:pt x="8320825" y="5449514"/>
                </a:cubicBezTo>
                <a:cubicBezTo>
                  <a:pt x="8323354" y="5452043"/>
                  <a:pt x="8325484" y="5455238"/>
                  <a:pt x="8326948" y="5458832"/>
                </a:cubicBezTo>
                <a:cubicBezTo>
                  <a:pt x="8328413" y="5462426"/>
                  <a:pt x="8329212" y="5466153"/>
                  <a:pt x="8329212" y="5470280"/>
                </a:cubicBezTo>
                <a:cubicBezTo>
                  <a:pt x="8329212" y="5474406"/>
                  <a:pt x="8328413" y="5478400"/>
                  <a:pt x="8326948" y="5481995"/>
                </a:cubicBezTo>
                <a:cubicBezTo>
                  <a:pt x="8325351" y="5485590"/>
                  <a:pt x="8323354" y="5488651"/>
                  <a:pt x="8320825" y="5491314"/>
                </a:cubicBezTo>
                <a:cubicBezTo>
                  <a:pt x="8318163" y="5493976"/>
                  <a:pt x="8315101" y="5496106"/>
                  <a:pt x="8311507" y="5497570"/>
                </a:cubicBezTo>
                <a:cubicBezTo>
                  <a:pt x="8307913" y="5499034"/>
                  <a:pt x="8304052" y="5499833"/>
                  <a:pt x="8299793" y="5499833"/>
                </a:cubicBezTo>
                <a:cubicBezTo>
                  <a:pt x="8290874" y="5499833"/>
                  <a:pt x="8283553" y="5496904"/>
                  <a:pt x="8277960" y="5491314"/>
                </a:cubicBezTo>
                <a:cubicBezTo>
                  <a:pt x="8272370" y="5485722"/>
                  <a:pt x="8269574" y="5478533"/>
                  <a:pt x="8269574" y="5470147"/>
                </a:cubicBezTo>
                <a:cubicBezTo>
                  <a:pt x="8269574" y="5461894"/>
                  <a:pt x="8272370" y="5454838"/>
                  <a:pt x="8277960" y="5449114"/>
                </a:cubicBezTo>
                <a:cubicBezTo>
                  <a:pt x="8283553" y="5443257"/>
                  <a:pt x="8290741" y="5440462"/>
                  <a:pt x="8299793" y="5440462"/>
                </a:cubicBezTo>
                <a:close/>
                <a:moveTo>
                  <a:pt x="8082281" y="5440462"/>
                </a:moveTo>
                <a:cubicBezTo>
                  <a:pt x="8086407" y="5440462"/>
                  <a:pt x="8090401" y="5441261"/>
                  <a:pt x="8094127" y="5443124"/>
                </a:cubicBezTo>
                <a:cubicBezTo>
                  <a:pt x="8097855" y="5444722"/>
                  <a:pt x="8100916" y="5446852"/>
                  <a:pt x="8103446" y="5449514"/>
                </a:cubicBezTo>
                <a:cubicBezTo>
                  <a:pt x="8105975" y="5452043"/>
                  <a:pt x="8108104" y="5455238"/>
                  <a:pt x="8109569" y="5458832"/>
                </a:cubicBezTo>
                <a:cubicBezTo>
                  <a:pt x="8111033" y="5462426"/>
                  <a:pt x="8111832" y="5466153"/>
                  <a:pt x="8111832" y="5470280"/>
                </a:cubicBezTo>
                <a:cubicBezTo>
                  <a:pt x="8111832" y="5474406"/>
                  <a:pt x="8111033" y="5478400"/>
                  <a:pt x="8109569" y="5481995"/>
                </a:cubicBezTo>
                <a:cubicBezTo>
                  <a:pt x="8107972" y="5485590"/>
                  <a:pt x="8105975" y="5488651"/>
                  <a:pt x="8103446" y="5491314"/>
                </a:cubicBezTo>
                <a:cubicBezTo>
                  <a:pt x="8100783" y="5493976"/>
                  <a:pt x="8097722" y="5496106"/>
                  <a:pt x="8094127" y="5497570"/>
                </a:cubicBezTo>
                <a:cubicBezTo>
                  <a:pt x="8090401" y="5499034"/>
                  <a:pt x="8086540" y="5499833"/>
                  <a:pt x="8082281" y="5499833"/>
                </a:cubicBezTo>
                <a:cubicBezTo>
                  <a:pt x="8073361" y="5499833"/>
                  <a:pt x="8066040" y="5496904"/>
                  <a:pt x="8060448" y="5491314"/>
                </a:cubicBezTo>
                <a:cubicBezTo>
                  <a:pt x="8054857" y="5485722"/>
                  <a:pt x="8052062" y="5478533"/>
                  <a:pt x="8052062" y="5470147"/>
                </a:cubicBezTo>
                <a:cubicBezTo>
                  <a:pt x="8052062" y="5461894"/>
                  <a:pt x="8054857" y="5454838"/>
                  <a:pt x="8060448" y="5449114"/>
                </a:cubicBezTo>
                <a:cubicBezTo>
                  <a:pt x="8066040" y="5443257"/>
                  <a:pt x="8073228" y="5440462"/>
                  <a:pt x="8082281" y="5440462"/>
                </a:cubicBezTo>
                <a:close/>
                <a:moveTo>
                  <a:pt x="7864636" y="5440462"/>
                </a:moveTo>
                <a:cubicBezTo>
                  <a:pt x="7868762" y="5440462"/>
                  <a:pt x="7872756" y="5441261"/>
                  <a:pt x="7876483" y="5443124"/>
                </a:cubicBezTo>
                <a:cubicBezTo>
                  <a:pt x="7880210" y="5444722"/>
                  <a:pt x="7883272" y="5446852"/>
                  <a:pt x="7885802" y="5449514"/>
                </a:cubicBezTo>
                <a:cubicBezTo>
                  <a:pt x="7888331" y="5452043"/>
                  <a:pt x="7890460" y="5455238"/>
                  <a:pt x="7891924" y="5458832"/>
                </a:cubicBezTo>
                <a:cubicBezTo>
                  <a:pt x="7893389" y="5462426"/>
                  <a:pt x="7894188" y="5466153"/>
                  <a:pt x="7894188" y="5470280"/>
                </a:cubicBezTo>
                <a:cubicBezTo>
                  <a:pt x="7894188" y="5474406"/>
                  <a:pt x="7893389" y="5478400"/>
                  <a:pt x="7891924" y="5481995"/>
                </a:cubicBezTo>
                <a:cubicBezTo>
                  <a:pt x="7890327" y="5485590"/>
                  <a:pt x="7888331" y="5488651"/>
                  <a:pt x="7885802" y="5491314"/>
                </a:cubicBezTo>
                <a:cubicBezTo>
                  <a:pt x="7883139" y="5493976"/>
                  <a:pt x="7880078" y="5496106"/>
                  <a:pt x="7876483" y="5497570"/>
                </a:cubicBezTo>
                <a:cubicBezTo>
                  <a:pt x="7872756" y="5499034"/>
                  <a:pt x="7868895" y="5499833"/>
                  <a:pt x="7864636" y="5499833"/>
                </a:cubicBezTo>
                <a:cubicBezTo>
                  <a:pt x="7855717" y="5499833"/>
                  <a:pt x="7848396" y="5496904"/>
                  <a:pt x="7842803" y="5491314"/>
                </a:cubicBezTo>
                <a:cubicBezTo>
                  <a:pt x="7837213" y="5485722"/>
                  <a:pt x="7834417" y="5478533"/>
                  <a:pt x="7834417" y="5470147"/>
                </a:cubicBezTo>
                <a:cubicBezTo>
                  <a:pt x="7834417" y="5461894"/>
                  <a:pt x="7837213" y="5454838"/>
                  <a:pt x="7842803" y="5449114"/>
                </a:cubicBezTo>
                <a:cubicBezTo>
                  <a:pt x="7848396" y="5443257"/>
                  <a:pt x="7855584" y="5440462"/>
                  <a:pt x="7864636" y="5440462"/>
                </a:cubicBezTo>
                <a:close/>
                <a:moveTo>
                  <a:pt x="7646991" y="5440462"/>
                </a:moveTo>
                <a:cubicBezTo>
                  <a:pt x="7651250" y="5440462"/>
                  <a:pt x="7655111" y="5441261"/>
                  <a:pt x="7658705" y="5443124"/>
                </a:cubicBezTo>
                <a:cubicBezTo>
                  <a:pt x="7662432" y="5444722"/>
                  <a:pt x="7665493" y="5446852"/>
                  <a:pt x="7668022" y="5449514"/>
                </a:cubicBezTo>
                <a:cubicBezTo>
                  <a:pt x="7670552" y="5452043"/>
                  <a:pt x="7672682" y="5455238"/>
                  <a:pt x="7674146" y="5458832"/>
                </a:cubicBezTo>
                <a:cubicBezTo>
                  <a:pt x="7675610" y="5462426"/>
                  <a:pt x="7676409" y="5466153"/>
                  <a:pt x="7676409" y="5470280"/>
                </a:cubicBezTo>
                <a:cubicBezTo>
                  <a:pt x="7676409" y="5474406"/>
                  <a:pt x="7675610" y="5478400"/>
                  <a:pt x="7674146" y="5481995"/>
                </a:cubicBezTo>
                <a:cubicBezTo>
                  <a:pt x="7672549" y="5485590"/>
                  <a:pt x="7670552" y="5488651"/>
                  <a:pt x="7668022" y="5491314"/>
                </a:cubicBezTo>
                <a:cubicBezTo>
                  <a:pt x="7665361" y="5493976"/>
                  <a:pt x="7662299" y="5496106"/>
                  <a:pt x="7658705" y="5497570"/>
                </a:cubicBezTo>
                <a:cubicBezTo>
                  <a:pt x="7655111" y="5499034"/>
                  <a:pt x="7651250" y="5499833"/>
                  <a:pt x="7646991" y="5499833"/>
                </a:cubicBezTo>
                <a:cubicBezTo>
                  <a:pt x="7638071" y="5499833"/>
                  <a:pt x="7630750" y="5496904"/>
                  <a:pt x="7625158" y="5491314"/>
                </a:cubicBezTo>
                <a:cubicBezTo>
                  <a:pt x="7619568" y="5485722"/>
                  <a:pt x="7616772" y="5478533"/>
                  <a:pt x="7616772" y="5470147"/>
                </a:cubicBezTo>
                <a:cubicBezTo>
                  <a:pt x="7616772" y="5461894"/>
                  <a:pt x="7619568" y="5454838"/>
                  <a:pt x="7625158" y="5449114"/>
                </a:cubicBezTo>
                <a:cubicBezTo>
                  <a:pt x="7630750" y="5443257"/>
                  <a:pt x="7637939" y="5440462"/>
                  <a:pt x="7646991" y="5440462"/>
                </a:cubicBezTo>
                <a:close/>
                <a:moveTo>
                  <a:pt x="7429345" y="5440462"/>
                </a:moveTo>
                <a:cubicBezTo>
                  <a:pt x="7433605" y="5440462"/>
                  <a:pt x="7437466" y="5441261"/>
                  <a:pt x="7441059" y="5443124"/>
                </a:cubicBezTo>
                <a:cubicBezTo>
                  <a:pt x="7444787" y="5444722"/>
                  <a:pt x="7447848" y="5446852"/>
                  <a:pt x="7450377" y="5449514"/>
                </a:cubicBezTo>
                <a:cubicBezTo>
                  <a:pt x="7452907" y="5452043"/>
                  <a:pt x="7455036" y="5455238"/>
                  <a:pt x="7456501" y="5458832"/>
                </a:cubicBezTo>
                <a:cubicBezTo>
                  <a:pt x="7457965" y="5462426"/>
                  <a:pt x="7458764" y="5466153"/>
                  <a:pt x="7458764" y="5470280"/>
                </a:cubicBezTo>
                <a:cubicBezTo>
                  <a:pt x="7458764" y="5474406"/>
                  <a:pt x="7457965" y="5478400"/>
                  <a:pt x="7456501" y="5481995"/>
                </a:cubicBezTo>
                <a:cubicBezTo>
                  <a:pt x="7454904" y="5485590"/>
                  <a:pt x="7452907" y="5488651"/>
                  <a:pt x="7450377" y="5491314"/>
                </a:cubicBezTo>
                <a:cubicBezTo>
                  <a:pt x="7447715" y="5493976"/>
                  <a:pt x="7444654" y="5496106"/>
                  <a:pt x="7441059" y="5497570"/>
                </a:cubicBezTo>
                <a:cubicBezTo>
                  <a:pt x="7437466" y="5499034"/>
                  <a:pt x="7433605" y="5499833"/>
                  <a:pt x="7429345" y="5499833"/>
                </a:cubicBezTo>
                <a:cubicBezTo>
                  <a:pt x="7420426" y="5499833"/>
                  <a:pt x="7413105" y="5496904"/>
                  <a:pt x="7407513" y="5491314"/>
                </a:cubicBezTo>
                <a:cubicBezTo>
                  <a:pt x="7401922" y="5485722"/>
                  <a:pt x="7399127" y="5478533"/>
                  <a:pt x="7399127" y="5470147"/>
                </a:cubicBezTo>
                <a:cubicBezTo>
                  <a:pt x="7399127" y="5461894"/>
                  <a:pt x="7401922" y="5454838"/>
                  <a:pt x="7407513" y="5449114"/>
                </a:cubicBezTo>
                <a:cubicBezTo>
                  <a:pt x="7413105" y="5443257"/>
                  <a:pt x="7420293" y="5440462"/>
                  <a:pt x="7429345" y="5440462"/>
                </a:cubicBezTo>
                <a:close/>
                <a:moveTo>
                  <a:pt x="7211701" y="5440462"/>
                </a:moveTo>
                <a:cubicBezTo>
                  <a:pt x="7215960" y="5440462"/>
                  <a:pt x="7219954" y="5441261"/>
                  <a:pt x="7223415" y="5443124"/>
                </a:cubicBezTo>
                <a:cubicBezTo>
                  <a:pt x="7227142" y="5444722"/>
                  <a:pt x="7230204" y="5446852"/>
                  <a:pt x="7232733" y="5449514"/>
                </a:cubicBezTo>
                <a:cubicBezTo>
                  <a:pt x="7235262" y="5452043"/>
                  <a:pt x="7237392" y="5455238"/>
                  <a:pt x="7238856" y="5458832"/>
                </a:cubicBezTo>
                <a:cubicBezTo>
                  <a:pt x="7240321" y="5462426"/>
                  <a:pt x="7241120" y="5466153"/>
                  <a:pt x="7241120" y="5470280"/>
                </a:cubicBezTo>
                <a:cubicBezTo>
                  <a:pt x="7241120" y="5474406"/>
                  <a:pt x="7240321" y="5478400"/>
                  <a:pt x="7238856" y="5481995"/>
                </a:cubicBezTo>
                <a:cubicBezTo>
                  <a:pt x="7237259" y="5485590"/>
                  <a:pt x="7235262" y="5488651"/>
                  <a:pt x="7232733" y="5491314"/>
                </a:cubicBezTo>
                <a:cubicBezTo>
                  <a:pt x="7230071" y="5493976"/>
                  <a:pt x="7227009" y="5496106"/>
                  <a:pt x="7223415" y="5497570"/>
                </a:cubicBezTo>
                <a:cubicBezTo>
                  <a:pt x="7219821" y="5499034"/>
                  <a:pt x="7215960" y="5499833"/>
                  <a:pt x="7211701" y="5499833"/>
                </a:cubicBezTo>
                <a:cubicBezTo>
                  <a:pt x="7202782" y="5499833"/>
                  <a:pt x="7195460" y="5496904"/>
                  <a:pt x="7189868" y="5491314"/>
                </a:cubicBezTo>
                <a:cubicBezTo>
                  <a:pt x="7184278" y="5485722"/>
                  <a:pt x="7181482" y="5478533"/>
                  <a:pt x="7181482" y="5470147"/>
                </a:cubicBezTo>
                <a:cubicBezTo>
                  <a:pt x="7181482" y="5461894"/>
                  <a:pt x="7184278" y="5454838"/>
                  <a:pt x="7189868" y="5449114"/>
                </a:cubicBezTo>
                <a:cubicBezTo>
                  <a:pt x="7195460" y="5443257"/>
                  <a:pt x="7202649" y="5440462"/>
                  <a:pt x="7211701" y="5440462"/>
                </a:cubicBezTo>
                <a:close/>
                <a:moveTo>
                  <a:pt x="6994056" y="5440462"/>
                </a:moveTo>
                <a:cubicBezTo>
                  <a:pt x="6998315" y="5440462"/>
                  <a:pt x="7002309" y="5441261"/>
                  <a:pt x="7005769" y="5443124"/>
                </a:cubicBezTo>
                <a:cubicBezTo>
                  <a:pt x="7009497" y="5444722"/>
                  <a:pt x="7012558" y="5446852"/>
                  <a:pt x="7015087" y="5449514"/>
                </a:cubicBezTo>
                <a:cubicBezTo>
                  <a:pt x="7017617" y="5452043"/>
                  <a:pt x="7019747" y="5455238"/>
                  <a:pt x="7021211" y="5458832"/>
                </a:cubicBezTo>
                <a:cubicBezTo>
                  <a:pt x="7022675" y="5462426"/>
                  <a:pt x="7023474" y="5466153"/>
                  <a:pt x="7023474" y="5470280"/>
                </a:cubicBezTo>
                <a:cubicBezTo>
                  <a:pt x="7023474" y="5474406"/>
                  <a:pt x="7022675" y="5478400"/>
                  <a:pt x="7021211" y="5481995"/>
                </a:cubicBezTo>
                <a:cubicBezTo>
                  <a:pt x="7019614" y="5485590"/>
                  <a:pt x="7017617" y="5488651"/>
                  <a:pt x="7015087" y="5491314"/>
                </a:cubicBezTo>
                <a:cubicBezTo>
                  <a:pt x="7012425" y="5493976"/>
                  <a:pt x="7009364" y="5496106"/>
                  <a:pt x="7005769" y="5497570"/>
                </a:cubicBezTo>
                <a:cubicBezTo>
                  <a:pt x="7002176" y="5499034"/>
                  <a:pt x="6998315" y="5499833"/>
                  <a:pt x="6994056" y="5499833"/>
                </a:cubicBezTo>
                <a:cubicBezTo>
                  <a:pt x="6985136" y="5499833"/>
                  <a:pt x="6977815" y="5496904"/>
                  <a:pt x="6972223" y="5491314"/>
                </a:cubicBezTo>
                <a:cubicBezTo>
                  <a:pt x="6966632" y="5485722"/>
                  <a:pt x="6963837" y="5478533"/>
                  <a:pt x="6963837" y="5470147"/>
                </a:cubicBezTo>
                <a:cubicBezTo>
                  <a:pt x="6963837" y="5461894"/>
                  <a:pt x="6966632" y="5454838"/>
                  <a:pt x="6972223" y="5449114"/>
                </a:cubicBezTo>
                <a:cubicBezTo>
                  <a:pt x="6977815" y="5443257"/>
                  <a:pt x="6985003" y="5440462"/>
                  <a:pt x="6994056" y="5440462"/>
                </a:cubicBezTo>
                <a:close/>
                <a:moveTo>
                  <a:pt x="6776544" y="5440462"/>
                </a:moveTo>
                <a:cubicBezTo>
                  <a:pt x="6780670" y="5440462"/>
                  <a:pt x="6784664" y="5441261"/>
                  <a:pt x="6788258" y="5443124"/>
                </a:cubicBezTo>
                <a:cubicBezTo>
                  <a:pt x="6791985" y="5444722"/>
                  <a:pt x="6795047" y="5446852"/>
                  <a:pt x="6797576" y="5449514"/>
                </a:cubicBezTo>
                <a:cubicBezTo>
                  <a:pt x="6800105" y="5452043"/>
                  <a:pt x="6802235" y="5455238"/>
                  <a:pt x="6803699" y="5458832"/>
                </a:cubicBezTo>
                <a:cubicBezTo>
                  <a:pt x="6805164" y="5462426"/>
                  <a:pt x="6805963" y="5466153"/>
                  <a:pt x="6805963" y="5470280"/>
                </a:cubicBezTo>
                <a:cubicBezTo>
                  <a:pt x="6805963" y="5474406"/>
                  <a:pt x="6805164" y="5478400"/>
                  <a:pt x="6803699" y="5481995"/>
                </a:cubicBezTo>
                <a:cubicBezTo>
                  <a:pt x="6802102" y="5485590"/>
                  <a:pt x="6800105" y="5488651"/>
                  <a:pt x="6797576" y="5491314"/>
                </a:cubicBezTo>
                <a:cubicBezTo>
                  <a:pt x="6794914" y="5493976"/>
                  <a:pt x="6791852" y="5496106"/>
                  <a:pt x="6788258" y="5497570"/>
                </a:cubicBezTo>
                <a:cubicBezTo>
                  <a:pt x="6784664" y="5499034"/>
                  <a:pt x="6780803" y="5499833"/>
                  <a:pt x="6776544" y="5499833"/>
                </a:cubicBezTo>
                <a:cubicBezTo>
                  <a:pt x="6767625" y="5499833"/>
                  <a:pt x="6760303" y="5496904"/>
                  <a:pt x="6754711" y="5491314"/>
                </a:cubicBezTo>
                <a:cubicBezTo>
                  <a:pt x="6749121" y="5485722"/>
                  <a:pt x="6746325" y="5478533"/>
                  <a:pt x="6746325" y="5470147"/>
                </a:cubicBezTo>
                <a:cubicBezTo>
                  <a:pt x="6746325" y="5461894"/>
                  <a:pt x="6749121" y="5454838"/>
                  <a:pt x="6754711" y="5449114"/>
                </a:cubicBezTo>
                <a:cubicBezTo>
                  <a:pt x="6760303" y="5443257"/>
                  <a:pt x="6767492" y="5440462"/>
                  <a:pt x="6776544" y="5440462"/>
                </a:cubicBezTo>
                <a:close/>
                <a:moveTo>
                  <a:pt x="6558899" y="5440462"/>
                </a:moveTo>
                <a:cubicBezTo>
                  <a:pt x="6563158" y="5440462"/>
                  <a:pt x="6567019" y="5441261"/>
                  <a:pt x="6570612" y="5443124"/>
                </a:cubicBezTo>
                <a:cubicBezTo>
                  <a:pt x="6574340" y="5444722"/>
                  <a:pt x="6577401" y="5446852"/>
                  <a:pt x="6579930" y="5449514"/>
                </a:cubicBezTo>
                <a:cubicBezTo>
                  <a:pt x="6582460" y="5452043"/>
                  <a:pt x="6584590" y="5455238"/>
                  <a:pt x="6586054" y="5458832"/>
                </a:cubicBezTo>
                <a:cubicBezTo>
                  <a:pt x="6587518" y="5462426"/>
                  <a:pt x="6588317" y="5466153"/>
                  <a:pt x="6588317" y="5470280"/>
                </a:cubicBezTo>
                <a:cubicBezTo>
                  <a:pt x="6588317" y="5474406"/>
                  <a:pt x="6587518" y="5478400"/>
                  <a:pt x="6586054" y="5481995"/>
                </a:cubicBezTo>
                <a:cubicBezTo>
                  <a:pt x="6584457" y="5485590"/>
                  <a:pt x="6582460" y="5488651"/>
                  <a:pt x="6579930" y="5491314"/>
                </a:cubicBezTo>
                <a:cubicBezTo>
                  <a:pt x="6577268" y="5493976"/>
                  <a:pt x="6574207" y="5496106"/>
                  <a:pt x="6570612" y="5497570"/>
                </a:cubicBezTo>
                <a:cubicBezTo>
                  <a:pt x="6567019" y="5499034"/>
                  <a:pt x="6563158" y="5499833"/>
                  <a:pt x="6558899" y="5499833"/>
                </a:cubicBezTo>
                <a:cubicBezTo>
                  <a:pt x="6549979" y="5499833"/>
                  <a:pt x="6542658" y="5496904"/>
                  <a:pt x="6537066" y="5491314"/>
                </a:cubicBezTo>
                <a:cubicBezTo>
                  <a:pt x="6531476" y="5485722"/>
                  <a:pt x="6528680" y="5478533"/>
                  <a:pt x="6528680" y="5470147"/>
                </a:cubicBezTo>
                <a:cubicBezTo>
                  <a:pt x="6528680" y="5461894"/>
                  <a:pt x="6531476" y="5454838"/>
                  <a:pt x="6537066" y="5449114"/>
                </a:cubicBezTo>
                <a:cubicBezTo>
                  <a:pt x="6542658" y="5443257"/>
                  <a:pt x="6549846" y="5440462"/>
                  <a:pt x="6558899" y="5440462"/>
                </a:cubicBezTo>
                <a:close/>
                <a:moveTo>
                  <a:pt x="6341253" y="5440462"/>
                </a:moveTo>
                <a:cubicBezTo>
                  <a:pt x="6345513" y="5440462"/>
                  <a:pt x="6349373" y="5441261"/>
                  <a:pt x="6352968" y="5443124"/>
                </a:cubicBezTo>
                <a:cubicBezTo>
                  <a:pt x="6356695" y="5444722"/>
                  <a:pt x="6359757" y="5446852"/>
                  <a:pt x="6362286" y="5449514"/>
                </a:cubicBezTo>
                <a:cubicBezTo>
                  <a:pt x="6364815" y="5452043"/>
                  <a:pt x="6366945" y="5455238"/>
                  <a:pt x="6368409" y="5458832"/>
                </a:cubicBezTo>
                <a:cubicBezTo>
                  <a:pt x="6369874" y="5462426"/>
                  <a:pt x="6370672" y="5466153"/>
                  <a:pt x="6370672" y="5470280"/>
                </a:cubicBezTo>
                <a:cubicBezTo>
                  <a:pt x="6370672" y="5474406"/>
                  <a:pt x="6369874" y="5478400"/>
                  <a:pt x="6368409" y="5481995"/>
                </a:cubicBezTo>
                <a:cubicBezTo>
                  <a:pt x="6366811" y="5485590"/>
                  <a:pt x="6364815" y="5488651"/>
                  <a:pt x="6362286" y="5491314"/>
                </a:cubicBezTo>
                <a:cubicBezTo>
                  <a:pt x="6359623" y="5493976"/>
                  <a:pt x="6356562" y="5496106"/>
                  <a:pt x="6352968" y="5497570"/>
                </a:cubicBezTo>
                <a:cubicBezTo>
                  <a:pt x="6349373" y="5499034"/>
                  <a:pt x="6345513" y="5499833"/>
                  <a:pt x="6341253" y="5499833"/>
                </a:cubicBezTo>
                <a:cubicBezTo>
                  <a:pt x="6332335" y="5499833"/>
                  <a:pt x="6325013" y="5496904"/>
                  <a:pt x="6319421" y="5491314"/>
                </a:cubicBezTo>
                <a:cubicBezTo>
                  <a:pt x="6313830" y="5485722"/>
                  <a:pt x="6311035" y="5478533"/>
                  <a:pt x="6311035" y="5470147"/>
                </a:cubicBezTo>
                <a:cubicBezTo>
                  <a:pt x="6311035" y="5461894"/>
                  <a:pt x="6313830" y="5454838"/>
                  <a:pt x="6319421" y="5449114"/>
                </a:cubicBezTo>
                <a:cubicBezTo>
                  <a:pt x="6325013" y="5443257"/>
                  <a:pt x="6332201" y="5440462"/>
                  <a:pt x="6341253" y="5440462"/>
                </a:cubicBezTo>
                <a:close/>
                <a:moveTo>
                  <a:pt x="6123608" y="5440462"/>
                </a:moveTo>
                <a:cubicBezTo>
                  <a:pt x="6127867" y="5440462"/>
                  <a:pt x="6131728" y="5441261"/>
                  <a:pt x="6135322" y="5443124"/>
                </a:cubicBezTo>
                <a:cubicBezTo>
                  <a:pt x="6139049" y="5444722"/>
                  <a:pt x="6142111" y="5446852"/>
                  <a:pt x="6144640" y="5449514"/>
                </a:cubicBezTo>
                <a:cubicBezTo>
                  <a:pt x="6147169" y="5452043"/>
                  <a:pt x="6149299" y="5455238"/>
                  <a:pt x="6150763" y="5458832"/>
                </a:cubicBezTo>
                <a:cubicBezTo>
                  <a:pt x="6152228" y="5462426"/>
                  <a:pt x="6153026" y="5466153"/>
                  <a:pt x="6153026" y="5470280"/>
                </a:cubicBezTo>
                <a:cubicBezTo>
                  <a:pt x="6153026" y="5474406"/>
                  <a:pt x="6152228" y="5478400"/>
                  <a:pt x="6150763" y="5481995"/>
                </a:cubicBezTo>
                <a:cubicBezTo>
                  <a:pt x="6149299" y="5485590"/>
                  <a:pt x="6147169" y="5488651"/>
                  <a:pt x="6144640" y="5491314"/>
                </a:cubicBezTo>
                <a:cubicBezTo>
                  <a:pt x="6141977" y="5493976"/>
                  <a:pt x="6138916" y="5496106"/>
                  <a:pt x="6135322" y="5497570"/>
                </a:cubicBezTo>
                <a:cubicBezTo>
                  <a:pt x="6131728" y="5499034"/>
                  <a:pt x="6127867" y="5499833"/>
                  <a:pt x="6123608" y="5499833"/>
                </a:cubicBezTo>
                <a:cubicBezTo>
                  <a:pt x="6114689" y="5499833"/>
                  <a:pt x="6107367" y="5496904"/>
                  <a:pt x="6101775" y="5491314"/>
                </a:cubicBezTo>
                <a:cubicBezTo>
                  <a:pt x="6096184" y="5485722"/>
                  <a:pt x="6093389" y="5478533"/>
                  <a:pt x="6093389" y="5470147"/>
                </a:cubicBezTo>
                <a:cubicBezTo>
                  <a:pt x="6093389" y="5461894"/>
                  <a:pt x="6096184" y="5454838"/>
                  <a:pt x="6101775" y="5449114"/>
                </a:cubicBezTo>
                <a:cubicBezTo>
                  <a:pt x="6107367" y="5443257"/>
                  <a:pt x="6114555" y="5440462"/>
                  <a:pt x="6123608" y="5440462"/>
                </a:cubicBezTo>
                <a:close/>
                <a:moveTo>
                  <a:pt x="5905963" y="5440462"/>
                </a:moveTo>
                <a:cubicBezTo>
                  <a:pt x="5910222" y="5440462"/>
                  <a:pt x="5914216" y="5441261"/>
                  <a:pt x="5917677" y="5443124"/>
                </a:cubicBezTo>
                <a:cubicBezTo>
                  <a:pt x="5921404" y="5444722"/>
                  <a:pt x="5924466" y="5446852"/>
                  <a:pt x="5926995" y="5449514"/>
                </a:cubicBezTo>
                <a:cubicBezTo>
                  <a:pt x="5929524" y="5452043"/>
                  <a:pt x="5931654" y="5455238"/>
                  <a:pt x="5933118" y="5458832"/>
                </a:cubicBezTo>
                <a:cubicBezTo>
                  <a:pt x="5934583" y="5462426"/>
                  <a:pt x="5935381" y="5466153"/>
                  <a:pt x="5935381" y="5470280"/>
                </a:cubicBezTo>
                <a:cubicBezTo>
                  <a:pt x="5935381" y="5474406"/>
                  <a:pt x="5934583" y="5478400"/>
                  <a:pt x="5933118" y="5481995"/>
                </a:cubicBezTo>
                <a:cubicBezTo>
                  <a:pt x="5931654" y="5485590"/>
                  <a:pt x="5929524" y="5488651"/>
                  <a:pt x="5926995" y="5491314"/>
                </a:cubicBezTo>
                <a:cubicBezTo>
                  <a:pt x="5924333" y="5493976"/>
                  <a:pt x="5921271" y="5496106"/>
                  <a:pt x="5917677" y="5497570"/>
                </a:cubicBezTo>
                <a:cubicBezTo>
                  <a:pt x="5914083" y="5499034"/>
                  <a:pt x="5910222" y="5499833"/>
                  <a:pt x="5905963" y="5499833"/>
                </a:cubicBezTo>
                <a:cubicBezTo>
                  <a:pt x="5897044" y="5499833"/>
                  <a:pt x="5889722" y="5496904"/>
                  <a:pt x="5884130" y="5491314"/>
                </a:cubicBezTo>
                <a:cubicBezTo>
                  <a:pt x="5878540" y="5485722"/>
                  <a:pt x="5875744" y="5478533"/>
                  <a:pt x="5875744" y="5470147"/>
                </a:cubicBezTo>
                <a:cubicBezTo>
                  <a:pt x="5875744" y="5461894"/>
                  <a:pt x="5878540" y="5454838"/>
                  <a:pt x="5884130" y="5449114"/>
                </a:cubicBezTo>
                <a:cubicBezTo>
                  <a:pt x="5889722" y="5443257"/>
                  <a:pt x="5896910" y="5440462"/>
                  <a:pt x="5905963" y="5440462"/>
                </a:cubicBezTo>
                <a:close/>
                <a:moveTo>
                  <a:pt x="5688451" y="5440462"/>
                </a:moveTo>
                <a:cubicBezTo>
                  <a:pt x="5692577" y="5440462"/>
                  <a:pt x="5696571" y="5441261"/>
                  <a:pt x="5700165" y="5443124"/>
                </a:cubicBezTo>
                <a:cubicBezTo>
                  <a:pt x="5703892" y="5444722"/>
                  <a:pt x="5706954" y="5446852"/>
                  <a:pt x="5709483" y="5449514"/>
                </a:cubicBezTo>
                <a:cubicBezTo>
                  <a:pt x="5712012" y="5452043"/>
                  <a:pt x="5714142" y="5455238"/>
                  <a:pt x="5715606" y="5458832"/>
                </a:cubicBezTo>
                <a:cubicBezTo>
                  <a:pt x="5717071" y="5462426"/>
                  <a:pt x="5717869" y="5466153"/>
                  <a:pt x="5717869" y="5470280"/>
                </a:cubicBezTo>
                <a:cubicBezTo>
                  <a:pt x="5717869" y="5474406"/>
                  <a:pt x="5717071" y="5478400"/>
                  <a:pt x="5715606" y="5481995"/>
                </a:cubicBezTo>
                <a:cubicBezTo>
                  <a:pt x="5714142" y="5485590"/>
                  <a:pt x="5712012" y="5488651"/>
                  <a:pt x="5709483" y="5491314"/>
                </a:cubicBezTo>
                <a:cubicBezTo>
                  <a:pt x="5706820" y="5493976"/>
                  <a:pt x="5703759" y="5496106"/>
                  <a:pt x="5700165" y="5497570"/>
                </a:cubicBezTo>
                <a:cubicBezTo>
                  <a:pt x="5696571" y="5499034"/>
                  <a:pt x="5692710" y="5499833"/>
                  <a:pt x="5688451" y="5499833"/>
                </a:cubicBezTo>
                <a:cubicBezTo>
                  <a:pt x="5679532" y="5499833"/>
                  <a:pt x="5672210" y="5496904"/>
                  <a:pt x="5666618" y="5491314"/>
                </a:cubicBezTo>
                <a:cubicBezTo>
                  <a:pt x="5661028" y="5485722"/>
                  <a:pt x="5658232" y="5478533"/>
                  <a:pt x="5658232" y="5470147"/>
                </a:cubicBezTo>
                <a:cubicBezTo>
                  <a:pt x="5658232" y="5461894"/>
                  <a:pt x="5661028" y="5454838"/>
                  <a:pt x="5666618" y="5449114"/>
                </a:cubicBezTo>
                <a:cubicBezTo>
                  <a:pt x="5672210" y="5443257"/>
                  <a:pt x="5679398" y="5440462"/>
                  <a:pt x="5688451" y="5440462"/>
                </a:cubicBezTo>
                <a:close/>
                <a:moveTo>
                  <a:pt x="5470806" y="5440462"/>
                </a:moveTo>
                <a:cubicBezTo>
                  <a:pt x="5475065" y="5440462"/>
                  <a:pt x="5478926" y="5441261"/>
                  <a:pt x="5482520" y="5443124"/>
                </a:cubicBezTo>
                <a:cubicBezTo>
                  <a:pt x="5486247" y="5444722"/>
                  <a:pt x="5489309" y="5446852"/>
                  <a:pt x="5491838" y="5449514"/>
                </a:cubicBezTo>
                <a:cubicBezTo>
                  <a:pt x="5494367" y="5452043"/>
                  <a:pt x="5496497" y="5455238"/>
                  <a:pt x="5497961" y="5458832"/>
                </a:cubicBezTo>
                <a:cubicBezTo>
                  <a:pt x="5499426" y="5462426"/>
                  <a:pt x="5500224" y="5466153"/>
                  <a:pt x="5500224" y="5470280"/>
                </a:cubicBezTo>
                <a:cubicBezTo>
                  <a:pt x="5500224" y="5474406"/>
                  <a:pt x="5499426" y="5478400"/>
                  <a:pt x="5497961" y="5481995"/>
                </a:cubicBezTo>
                <a:cubicBezTo>
                  <a:pt x="5496497" y="5485590"/>
                  <a:pt x="5494367" y="5488651"/>
                  <a:pt x="5491838" y="5491314"/>
                </a:cubicBezTo>
                <a:cubicBezTo>
                  <a:pt x="5489176" y="5493976"/>
                  <a:pt x="5486114" y="5496106"/>
                  <a:pt x="5482520" y="5497570"/>
                </a:cubicBezTo>
                <a:cubicBezTo>
                  <a:pt x="5478926" y="5499034"/>
                  <a:pt x="5475065" y="5499833"/>
                  <a:pt x="5470806" y="5499833"/>
                </a:cubicBezTo>
                <a:cubicBezTo>
                  <a:pt x="5461887" y="5499833"/>
                  <a:pt x="5454565" y="5496904"/>
                  <a:pt x="5448973" y="5491314"/>
                </a:cubicBezTo>
                <a:cubicBezTo>
                  <a:pt x="5443383" y="5485722"/>
                  <a:pt x="5440587" y="5478533"/>
                  <a:pt x="5440587" y="5470147"/>
                </a:cubicBezTo>
                <a:cubicBezTo>
                  <a:pt x="5440587" y="5461894"/>
                  <a:pt x="5443383" y="5454838"/>
                  <a:pt x="5448973" y="5449114"/>
                </a:cubicBezTo>
                <a:cubicBezTo>
                  <a:pt x="5454565" y="5443257"/>
                  <a:pt x="5461754" y="5440462"/>
                  <a:pt x="5470806" y="5440462"/>
                </a:cubicBezTo>
                <a:close/>
                <a:moveTo>
                  <a:pt x="5253160" y="5440462"/>
                </a:moveTo>
                <a:cubicBezTo>
                  <a:pt x="5257420" y="5440462"/>
                  <a:pt x="5261280" y="5441261"/>
                  <a:pt x="5264875" y="5443124"/>
                </a:cubicBezTo>
                <a:cubicBezTo>
                  <a:pt x="5268602" y="5444722"/>
                  <a:pt x="5271664" y="5446852"/>
                  <a:pt x="5274192" y="5449514"/>
                </a:cubicBezTo>
                <a:cubicBezTo>
                  <a:pt x="5276722" y="5452043"/>
                  <a:pt x="5278852" y="5455238"/>
                  <a:pt x="5280316" y="5458832"/>
                </a:cubicBezTo>
                <a:cubicBezTo>
                  <a:pt x="5281780" y="5462426"/>
                  <a:pt x="5282579" y="5466153"/>
                  <a:pt x="5282579" y="5470280"/>
                </a:cubicBezTo>
                <a:cubicBezTo>
                  <a:pt x="5282579" y="5474406"/>
                  <a:pt x="5281780" y="5478400"/>
                  <a:pt x="5280316" y="5481995"/>
                </a:cubicBezTo>
                <a:cubicBezTo>
                  <a:pt x="5278852" y="5485590"/>
                  <a:pt x="5276722" y="5488651"/>
                  <a:pt x="5274192" y="5491314"/>
                </a:cubicBezTo>
                <a:cubicBezTo>
                  <a:pt x="5271664" y="5493976"/>
                  <a:pt x="5268469" y="5496106"/>
                  <a:pt x="5264875" y="5497570"/>
                </a:cubicBezTo>
                <a:cubicBezTo>
                  <a:pt x="5261280" y="5499034"/>
                  <a:pt x="5257420" y="5499833"/>
                  <a:pt x="5253160" y="5499833"/>
                </a:cubicBezTo>
                <a:cubicBezTo>
                  <a:pt x="5244241" y="5499833"/>
                  <a:pt x="5236920" y="5496904"/>
                  <a:pt x="5231328" y="5491314"/>
                </a:cubicBezTo>
                <a:cubicBezTo>
                  <a:pt x="5225737" y="5485722"/>
                  <a:pt x="5222942" y="5478533"/>
                  <a:pt x="5222942" y="5470147"/>
                </a:cubicBezTo>
                <a:cubicBezTo>
                  <a:pt x="5222942" y="5461894"/>
                  <a:pt x="5225737" y="5454838"/>
                  <a:pt x="5231328" y="5449114"/>
                </a:cubicBezTo>
                <a:cubicBezTo>
                  <a:pt x="5236920" y="5443257"/>
                  <a:pt x="5244108" y="5440462"/>
                  <a:pt x="5253160" y="5440462"/>
                </a:cubicBezTo>
                <a:close/>
                <a:moveTo>
                  <a:pt x="5035515" y="5440462"/>
                </a:moveTo>
                <a:cubicBezTo>
                  <a:pt x="5039775" y="5440462"/>
                  <a:pt x="5043636" y="5441261"/>
                  <a:pt x="5047230" y="5443124"/>
                </a:cubicBezTo>
                <a:cubicBezTo>
                  <a:pt x="5050957" y="5444722"/>
                  <a:pt x="5054019" y="5446852"/>
                  <a:pt x="5056548" y="5449514"/>
                </a:cubicBezTo>
                <a:cubicBezTo>
                  <a:pt x="5059077" y="5452043"/>
                  <a:pt x="5061207" y="5455238"/>
                  <a:pt x="5062671" y="5458832"/>
                </a:cubicBezTo>
                <a:cubicBezTo>
                  <a:pt x="5064135" y="5462426"/>
                  <a:pt x="5064934" y="5466153"/>
                  <a:pt x="5064934" y="5470280"/>
                </a:cubicBezTo>
                <a:cubicBezTo>
                  <a:pt x="5064934" y="5474406"/>
                  <a:pt x="5064135" y="5478400"/>
                  <a:pt x="5062671" y="5481995"/>
                </a:cubicBezTo>
                <a:cubicBezTo>
                  <a:pt x="5061207" y="5485590"/>
                  <a:pt x="5059077" y="5488651"/>
                  <a:pt x="5056548" y="5491314"/>
                </a:cubicBezTo>
                <a:cubicBezTo>
                  <a:pt x="5053885" y="5493976"/>
                  <a:pt x="5050824" y="5496106"/>
                  <a:pt x="5047230" y="5497570"/>
                </a:cubicBezTo>
                <a:cubicBezTo>
                  <a:pt x="5043636" y="5499034"/>
                  <a:pt x="5039775" y="5499833"/>
                  <a:pt x="5035515" y="5499833"/>
                </a:cubicBezTo>
                <a:cubicBezTo>
                  <a:pt x="5026597" y="5499833"/>
                  <a:pt x="5019275" y="5496904"/>
                  <a:pt x="5013683" y="5491314"/>
                </a:cubicBezTo>
                <a:cubicBezTo>
                  <a:pt x="5008092" y="5485722"/>
                  <a:pt x="5005297" y="5478533"/>
                  <a:pt x="5005297" y="5470147"/>
                </a:cubicBezTo>
                <a:cubicBezTo>
                  <a:pt x="5005297" y="5461894"/>
                  <a:pt x="5008092" y="5454838"/>
                  <a:pt x="5013683" y="5449114"/>
                </a:cubicBezTo>
                <a:cubicBezTo>
                  <a:pt x="5019275" y="5443257"/>
                  <a:pt x="5026463" y="5440462"/>
                  <a:pt x="5035515" y="5440462"/>
                </a:cubicBezTo>
                <a:close/>
                <a:moveTo>
                  <a:pt x="4817870" y="5440462"/>
                </a:moveTo>
                <a:cubicBezTo>
                  <a:pt x="4822130" y="5440462"/>
                  <a:pt x="4826124" y="5441261"/>
                  <a:pt x="4829585" y="5443124"/>
                </a:cubicBezTo>
                <a:cubicBezTo>
                  <a:pt x="4833312" y="5444722"/>
                  <a:pt x="4836374" y="5446852"/>
                  <a:pt x="4838903" y="5449514"/>
                </a:cubicBezTo>
                <a:cubicBezTo>
                  <a:pt x="4841432" y="5452043"/>
                  <a:pt x="4843562" y="5455238"/>
                  <a:pt x="4845026" y="5458832"/>
                </a:cubicBezTo>
                <a:cubicBezTo>
                  <a:pt x="4846491" y="5462426"/>
                  <a:pt x="4847289" y="5466153"/>
                  <a:pt x="4847289" y="5470280"/>
                </a:cubicBezTo>
                <a:cubicBezTo>
                  <a:pt x="4847289" y="5474406"/>
                  <a:pt x="4846491" y="5478400"/>
                  <a:pt x="4845026" y="5481995"/>
                </a:cubicBezTo>
                <a:cubicBezTo>
                  <a:pt x="4843562" y="5485590"/>
                  <a:pt x="4841432" y="5488651"/>
                  <a:pt x="4838903" y="5491314"/>
                </a:cubicBezTo>
                <a:cubicBezTo>
                  <a:pt x="4836240" y="5493976"/>
                  <a:pt x="4833179" y="5496106"/>
                  <a:pt x="4829585" y="5497570"/>
                </a:cubicBezTo>
                <a:cubicBezTo>
                  <a:pt x="4825991" y="5499034"/>
                  <a:pt x="4822130" y="5499833"/>
                  <a:pt x="4817870" y="5499833"/>
                </a:cubicBezTo>
                <a:cubicBezTo>
                  <a:pt x="4808952" y="5499833"/>
                  <a:pt x="4801630" y="5496904"/>
                  <a:pt x="4796038" y="5491314"/>
                </a:cubicBezTo>
                <a:cubicBezTo>
                  <a:pt x="4790447" y="5485722"/>
                  <a:pt x="4787652" y="5478533"/>
                  <a:pt x="4787652" y="5470147"/>
                </a:cubicBezTo>
                <a:cubicBezTo>
                  <a:pt x="4787652" y="5461894"/>
                  <a:pt x="4790447" y="5454838"/>
                  <a:pt x="4796038" y="5449114"/>
                </a:cubicBezTo>
                <a:cubicBezTo>
                  <a:pt x="4801630" y="5443257"/>
                  <a:pt x="4808818" y="5440462"/>
                  <a:pt x="4817870" y="5440462"/>
                </a:cubicBezTo>
                <a:close/>
                <a:moveTo>
                  <a:pt x="4600226" y="5440462"/>
                </a:moveTo>
                <a:cubicBezTo>
                  <a:pt x="4604485" y="5440462"/>
                  <a:pt x="4608479" y="5441261"/>
                  <a:pt x="4612073" y="5443124"/>
                </a:cubicBezTo>
                <a:cubicBezTo>
                  <a:pt x="4615800" y="5444722"/>
                  <a:pt x="4618862" y="5446852"/>
                  <a:pt x="4621391" y="5449514"/>
                </a:cubicBezTo>
                <a:cubicBezTo>
                  <a:pt x="4623920" y="5452043"/>
                  <a:pt x="4626050" y="5455238"/>
                  <a:pt x="4627514" y="5458832"/>
                </a:cubicBezTo>
                <a:cubicBezTo>
                  <a:pt x="4628978" y="5462426"/>
                  <a:pt x="4629777" y="5466153"/>
                  <a:pt x="4629777" y="5470280"/>
                </a:cubicBezTo>
                <a:cubicBezTo>
                  <a:pt x="4629777" y="5474406"/>
                  <a:pt x="4628978" y="5478400"/>
                  <a:pt x="4627514" y="5481995"/>
                </a:cubicBezTo>
                <a:cubicBezTo>
                  <a:pt x="4626050" y="5485590"/>
                  <a:pt x="4623920" y="5488651"/>
                  <a:pt x="4621391" y="5491314"/>
                </a:cubicBezTo>
                <a:cubicBezTo>
                  <a:pt x="4618729" y="5493976"/>
                  <a:pt x="4615667" y="5496106"/>
                  <a:pt x="4612073" y="5497570"/>
                </a:cubicBezTo>
                <a:cubicBezTo>
                  <a:pt x="4608346" y="5499034"/>
                  <a:pt x="4604485" y="5499833"/>
                  <a:pt x="4600226" y="5499833"/>
                </a:cubicBezTo>
                <a:cubicBezTo>
                  <a:pt x="4591173" y="5499833"/>
                  <a:pt x="4583985" y="5496904"/>
                  <a:pt x="4578393" y="5491314"/>
                </a:cubicBezTo>
                <a:cubicBezTo>
                  <a:pt x="4572803" y="5485722"/>
                  <a:pt x="4570007" y="5478533"/>
                  <a:pt x="4570007" y="5470147"/>
                </a:cubicBezTo>
                <a:cubicBezTo>
                  <a:pt x="4570007" y="5461894"/>
                  <a:pt x="4572803" y="5454838"/>
                  <a:pt x="4578393" y="5449114"/>
                </a:cubicBezTo>
                <a:cubicBezTo>
                  <a:pt x="4583985" y="5443257"/>
                  <a:pt x="4591173" y="5440462"/>
                  <a:pt x="4600226" y="5440462"/>
                </a:cubicBezTo>
                <a:close/>
                <a:moveTo>
                  <a:pt x="4382713" y="5440462"/>
                </a:moveTo>
                <a:cubicBezTo>
                  <a:pt x="4386840" y="5440462"/>
                  <a:pt x="4390834" y="5441261"/>
                  <a:pt x="4394428" y="5443124"/>
                </a:cubicBezTo>
                <a:cubicBezTo>
                  <a:pt x="4398155" y="5444722"/>
                  <a:pt x="4401217" y="5446852"/>
                  <a:pt x="4403746" y="5449514"/>
                </a:cubicBezTo>
                <a:cubicBezTo>
                  <a:pt x="4406275" y="5452043"/>
                  <a:pt x="4408405" y="5455238"/>
                  <a:pt x="4409869" y="5458832"/>
                </a:cubicBezTo>
                <a:cubicBezTo>
                  <a:pt x="4411334" y="5462426"/>
                  <a:pt x="4412132" y="5466153"/>
                  <a:pt x="4412132" y="5470280"/>
                </a:cubicBezTo>
                <a:cubicBezTo>
                  <a:pt x="4412132" y="5474406"/>
                  <a:pt x="4411334" y="5478400"/>
                  <a:pt x="4409869" y="5481995"/>
                </a:cubicBezTo>
                <a:cubicBezTo>
                  <a:pt x="4408405" y="5485590"/>
                  <a:pt x="4406275" y="5488651"/>
                  <a:pt x="4403746" y="5491314"/>
                </a:cubicBezTo>
                <a:cubicBezTo>
                  <a:pt x="4401083" y="5493976"/>
                  <a:pt x="4398022" y="5496106"/>
                  <a:pt x="4394428" y="5497570"/>
                </a:cubicBezTo>
                <a:cubicBezTo>
                  <a:pt x="4390834" y="5499034"/>
                  <a:pt x="4386973" y="5499833"/>
                  <a:pt x="4382713" y="5499833"/>
                </a:cubicBezTo>
                <a:cubicBezTo>
                  <a:pt x="4373661" y="5499833"/>
                  <a:pt x="4366473" y="5496904"/>
                  <a:pt x="4360881" y="5491314"/>
                </a:cubicBezTo>
                <a:cubicBezTo>
                  <a:pt x="4355290" y="5485722"/>
                  <a:pt x="4352495" y="5478533"/>
                  <a:pt x="4352495" y="5470147"/>
                </a:cubicBezTo>
                <a:cubicBezTo>
                  <a:pt x="4352495" y="5461894"/>
                  <a:pt x="4355290" y="5454838"/>
                  <a:pt x="4360881" y="5449114"/>
                </a:cubicBezTo>
                <a:cubicBezTo>
                  <a:pt x="4366473" y="5443257"/>
                  <a:pt x="4373661" y="5440462"/>
                  <a:pt x="4382713" y="5440462"/>
                </a:cubicBezTo>
                <a:close/>
                <a:moveTo>
                  <a:pt x="4165068" y="5440462"/>
                </a:moveTo>
                <a:cubicBezTo>
                  <a:pt x="4169327" y="5440462"/>
                  <a:pt x="4173188" y="5441261"/>
                  <a:pt x="4176782" y="5443124"/>
                </a:cubicBezTo>
                <a:cubicBezTo>
                  <a:pt x="4180509" y="5444722"/>
                  <a:pt x="4183571" y="5446852"/>
                  <a:pt x="4186100" y="5449514"/>
                </a:cubicBezTo>
                <a:cubicBezTo>
                  <a:pt x="4188629" y="5452043"/>
                  <a:pt x="4190759" y="5455238"/>
                  <a:pt x="4192223" y="5458832"/>
                </a:cubicBezTo>
                <a:cubicBezTo>
                  <a:pt x="4193688" y="5462426"/>
                  <a:pt x="4194486" y="5466153"/>
                  <a:pt x="4194486" y="5470280"/>
                </a:cubicBezTo>
                <a:cubicBezTo>
                  <a:pt x="4194486" y="5474406"/>
                  <a:pt x="4193688" y="5478400"/>
                  <a:pt x="4192223" y="5481995"/>
                </a:cubicBezTo>
                <a:cubicBezTo>
                  <a:pt x="4190759" y="5485590"/>
                  <a:pt x="4188629" y="5488651"/>
                  <a:pt x="4186100" y="5491314"/>
                </a:cubicBezTo>
                <a:cubicBezTo>
                  <a:pt x="4183438" y="5493976"/>
                  <a:pt x="4180376" y="5496106"/>
                  <a:pt x="4176782" y="5497570"/>
                </a:cubicBezTo>
                <a:cubicBezTo>
                  <a:pt x="4173188" y="5499034"/>
                  <a:pt x="4169327" y="5499833"/>
                  <a:pt x="4165068" y="5499833"/>
                </a:cubicBezTo>
                <a:cubicBezTo>
                  <a:pt x="4156015" y="5499833"/>
                  <a:pt x="4148827" y="5496904"/>
                  <a:pt x="4143235" y="5491314"/>
                </a:cubicBezTo>
                <a:cubicBezTo>
                  <a:pt x="4137645" y="5485722"/>
                  <a:pt x="4134849" y="5478533"/>
                  <a:pt x="4134849" y="5470147"/>
                </a:cubicBezTo>
                <a:cubicBezTo>
                  <a:pt x="4134849" y="5461894"/>
                  <a:pt x="4137645" y="5454838"/>
                  <a:pt x="4143235" y="5449114"/>
                </a:cubicBezTo>
                <a:cubicBezTo>
                  <a:pt x="4148827" y="5443257"/>
                  <a:pt x="4156015" y="5440462"/>
                  <a:pt x="4165068" y="5440462"/>
                </a:cubicBezTo>
                <a:close/>
                <a:moveTo>
                  <a:pt x="3947721" y="5440462"/>
                </a:moveTo>
                <a:cubicBezTo>
                  <a:pt x="3951983" y="5440462"/>
                  <a:pt x="3955844" y="5441261"/>
                  <a:pt x="3959439" y="5443124"/>
                </a:cubicBezTo>
                <a:cubicBezTo>
                  <a:pt x="3963167" y="5444722"/>
                  <a:pt x="3966228" y="5446852"/>
                  <a:pt x="3968757" y="5449514"/>
                </a:cubicBezTo>
                <a:cubicBezTo>
                  <a:pt x="3971287" y="5452043"/>
                  <a:pt x="3973417" y="5455238"/>
                  <a:pt x="3974881" y="5458832"/>
                </a:cubicBezTo>
                <a:cubicBezTo>
                  <a:pt x="3976345" y="5462426"/>
                  <a:pt x="3977144" y="5466153"/>
                  <a:pt x="3977144" y="5470280"/>
                </a:cubicBezTo>
                <a:cubicBezTo>
                  <a:pt x="3977144" y="5474406"/>
                  <a:pt x="3976345" y="5478400"/>
                  <a:pt x="3974881" y="5481995"/>
                </a:cubicBezTo>
                <a:cubicBezTo>
                  <a:pt x="3973417" y="5485590"/>
                  <a:pt x="3971287" y="5488651"/>
                  <a:pt x="3968757" y="5491314"/>
                </a:cubicBezTo>
                <a:cubicBezTo>
                  <a:pt x="3966095" y="5493976"/>
                  <a:pt x="3963034" y="5496106"/>
                  <a:pt x="3959439" y="5497570"/>
                </a:cubicBezTo>
                <a:cubicBezTo>
                  <a:pt x="3955844" y="5499034"/>
                  <a:pt x="3951983" y="5499833"/>
                  <a:pt x="3947721" y="5499833"/>
                </a:cubicBezTo>
                <a:cubicBezTo>
                  <a:pt x="3938668" y="5499833"/>
                  <a:pt x="3931481" y="5496904"/>
                  <a:pt x="3925888" y="5491314"/>
                </a:cubicBezTo>
                <a:cubicBezTo>
                  <a:pt x="3920297" y="5485722"/>
                  <a:pt x="3917502" y="5478533"/>
                  <a:pt x="3917502" y="5470147"/>
                </a:cubicBezTo>
                <a:cubicBezTo>
                  <a:pt x="3917502" y="5461894"/>
                  <a:pt x="3920297" y="5454838"/>
                  <a:pt x="3925888" y="5449114"/>
                </a:cubicBezTo>
                <a:cubicBezTo>
                  <a:pt x="3931481" y="5443257"/>
                  <a:pt x="3938668" y="5440462"/>
                  <a:pt x="3947721" y="5440462"/>
                </a:cubicBezTo>
                <a:close/>
                <a:moveTo>
                  <a:pt x="3730062" y="5440462"/>
                </a:moveTo>
                <a:cubicBezTo>
                  <a:pt x="3734324" y="5440462"/>
                  <a:pt x="3738316" y="5441261"/>
                  <a:pt x="3741778" y="5443124"/>
                </a:cubicBezTo>
                <a:cubicBezTo>
                  <a:pt x="3745372" y="5444722"/>
                  <a:pt x="3748568" y="5446852"/>
                  <a:pt x="3751097" y="5449514"/>
                </a:cubicBezTo>
                <a:cubicBezTo>
                  <a:pt x="3753626" y="5452043"/>
                  <a:pt x="3755755" y="5455238"/>
                  <a:pt x="3757219" y="5458832"/>
                </a:cubicBezTo>
                <a:cubicBezTo>
                  <a:pt x="3758683" y="5462426"/>
                  <a:pt x="3759482" y="5466153"/>
                  <a:pt x="3759482" y="5470280"/>
                </a:cubicBezTo>
                <a:cubicBezTo>
                  <a:pt x="3759482" y="5474406"/>
                  <a:pt x="3758683" y="5478400"/>
                  <a:pt x="3757219" y="5481995"/>
                </a:cubicBezTo>
                <a:cubicBezTo>
                  <a:pt x="3755755" y="5485590"/>
                  <a:pt x="3753626" y="5488651"/>
                  <a:pt x="3751097" y="5491314"/>
                </a:cubicBezTo>
                <a:cubicBezTo>
                  <a:pt x="3748434" y="5493976"/>
                  <a:pt x="3745372" y="5496106"/>
                  <a:pt x="3741778" y="5497570"/>
                </a:cubicBezTo>
                <a:cubicBezTo>
                  <a:pt x="3738184" y="5499034"/>
                  <a:pt x="3734324" y="5499833"/>
                  <a:pt x="3730062" y="5499833"/>
                </a:cubicBezTo>
                <a:cubicBezTo>
                  <a:pt x="3721011" y="5499833"/>
                  <a:pt x="3713820" y="5496904"/>
                  <a:pt x="3708222" y="5491314"/>
                </a:cubicBezTo>
                <a:cubicBezTo>
                  <a:pt x="3702630" y="5485722"/>
                  <a:pt x="3699836" y="5478533"/>
                  <a:pt x="3699836" y="5470147"/>
                </a:cubicBezTo>
                <a:cubicBezTo>
                  <a:pt x="3699836" y="5461894"/>
                  <a:pt x="3702630" y="5454838"/>
                  <a:pt x="3708222" y="5449114"/>
                </a:cubicBezTo>
                <a:cubicBezTo>
                  <a:pt x="3713820" y="5443257"/>
                  <a:pt x="3721011" y="5440462"/>
                  <a:pt x="3730062" y="5440462"/>
                </a:cubicBezTo>
                <a:close/>
                <a:moveTo>
                  <a:pt x="3512401" y="5440462"/>
                </a:moveTo>
                <a:cubicBezTo>
                  <a:pt x="3516663" y="5440462"/>
                  <a:pt x="3520656" y="5441261"/>
                  <a:pt x="3524118" y="5443124"/>
                </a:cubicBezTo>
                <a:cubicBezTo>
                  <a:pt x="3527711" y="5444722"/>
                  <a:pt x="3530907" y="5446852"/>
                  <a:pt x="3533436" y="5449514"/>
                </a:cubicBezTo>
                <a:cubicBezTo>
                  <a:pt x="3535965" y="5452043"/>
                  <a:pt x="3538095" y="5455238"/>
                  <a:pt x="3539559" y="5458832"/>
                </a:cubicBezTo>
                <a:cubicBezTo>
                  <a:pt x="3541023" y="5462426"/>
                  <a:pt x="3541822" y="5466153"/>
                  <a:pt x="3541822" y="5470280"/>
                </a:cubicBezTo>
                <a:cubicBezTo>
                  <a:pt x="3541822" y="5474406"/>
                  <a:pt x="3541023" y="5478400"/>
                  <a:pt x="3539559" y="5481995"/>
                </a:cubicBezTo>
                <a:cubicBezTo>
                  <a:pt x="3538095" y="5485590"/>
                  <a:pt x="3535965" y="5488651"/>
                  <a:pt x="3533436" y="5491314"/>
                </a:cubicBezTo>
                <a:cubicBezTo>
                  <a:pt x="3530773" y="5493976"/>
                  <a:pt x="3527711" y="5496106"/>
                  <a:pt x="3524118" y="5497570"/>
                </a:cubicBezTo>
                <a:cubicBezTo>
                  <a:pt x="3520523" y="5499034"/>
                  <a:pt x="3516663" y="5499833"/>
                  <a:pt x="3512401" y="5499833"/>
                </a:cubicBezTo>
                <a:cubicBezTo>
                  <a:pt x="3503346" y="5499833"/>
                  <a:pt x="3496156" y="5496904"/>
                  <a:pt x="3490565" y="5491314"/>
                </a:cubicBezTo>
                <a:cubicBezTo>
                  <a:pt x="3484974" y="5485722"/>
                  <a:pt x="3482178" y="5478533"/>
                  <a:pt x="3482178" y="5470147"/>
                </a:cubicBezTo>
                <a:cubicBezTo>
                  <a:pt x="3482178" y="5461894"/>
                  <a:pt x="3484974" y="5454838"/>
                  <a:pt x="3490565" y="5449114"/>
                </a:cubicBezTo>
                <a:cubicBezTo>
                  <a:pt x="3496156" y="5443257"/>
                  <a:pt x="3503346" y="5440462"/>
                  <a:pt x="3512401" y="5440462"/>
                </a:cubicBezTo>
                <a:close/>
                <a:moveTo>
                  <a:pt x="3294874" y="5440462"/>
                </a:moveTo>
                <a:cubicBezTo>
                  <a:pt x="3299002" y="5440462"/>
                  <a:pt x="3302996" y="5441261"/>
                  <a:pt x="3306590" y="5443124"/>
                </a:cubicBezTo>
                <a:cubicBezTo>
                  <a:pt x="3310317" y="5444722"/>
                  <a:pt x="3313379" y="5446852"/>
                  <a:pt x="3315908" y="5449514"/>
                </a:cubicBezTo>
                <a:cubicBezTo>
                  <a:pt x="3318437" y="5452043"/>
                  <a:pt x="3320567" y="5455238"/>
                  <a:pt x="3322031" y="5458832"/>
                </a:cubicBezTo>
                <a:cubicBezTo>
                  <a:pt x="3323495" y="5462426"/>
                  <a:pt x="3324294" y="5466153"/>
                  <a:pt x="3324294" y="5470280"/>
                </a:cubicBezTo>
                <a:cubicBezTo>
                  <a:pt x="3324294" y="5474406"/>
                  <a:pt x="3323495" y="5478400"/>
                  <a:pt x="3322031" y="5481995"/>
                </a:cubicBezTo>
                <a:cubicBezTo>
                  <a:pt x="3320567" y="5485590"/>
                  <a:pt x="3318437" y="5488651"/>
                  <a:pt x="3315908" y="5491314"/>
                </a:cubicBezTo>
                <a:cubicBezTo>
                  <a:pt x="3313245" y="5493976"/>
                  <a:pt x="3310184" y="5496106"/>
                  <a:pt x="3306590" y="5497570"/>
                </a:cubicBezTo>
                <a:cubicBezTo>
                  <a:pt x="3302996" y="5499034"/>
                  <a:pt x="3299135" y="5499833"/>
                  <a:pt x="3294874" y="5499833"/>
                </a:cubicBezTo>
                <a:cubicBezTo>
                  <a:pt x="3285820" y="5499833"/>
                  <a:pt x="3278631" y="5496904"/>
                  <a:pt x="3273036" y="5491314"/>
                </a:cubicBezTo>
                <a:cubicBezTo>
                  <a:pt x="3267443" y="5485722"/>
                  <a:pt x="3264648" y="5478533"/>
                  <a:pt x="3264648" y="5470147"/>
                </a:cubicBezTo>
                <a:cubicBezTo>
                  <a:pt x="3264648" y="5461894"/>
                  <a:pt x="3267443" y="5454838"/>
                  <a:pt x="3273036" y="5449114"/>
                </a:cubicBezTo>
                <a:cubicBezTo>
                  <a:pt x="3278631" y="5443257"/>
                  <a:pt x="3285820" y="5440462"/>
                  <a:pt x="3294874" y="5440462"/>
                </a:cubicBezTo>
                <a:close/>
                <a:moveTo>
                  <a:pt x="3077214" y="5440462"/>
                </a:moveTo>
                <a:cubicBezTo>
                  <a:pt x="3081341" y="5440462"/>
                  <a:pt x="3085335" y="5441261"/>
                  <a:pt x="3088929" y="5443124"/>
                </a:cubicBezTo>
                <a:cubicBezTo>
                  <a:pt x="3092523" y="5444722"/>
                  <a:pt x="3095719" y="5446852"/>
                  <a:pt x="3098247" y="5449514"/>
                </a:cubicBezTo>
                <a:cubicBezTo>
                  <a:pt x="3100776" y="5452043"/>
                  <a:pt x="3102906" y="5455238"/>
                  <a:pt x="3104370" y="5458832"/>
                </a:cubicBezTo>
                <a:cubicBezTo>
                  <a:pt x="3105836" y="5462426"/>
                  <a:pt x="3106633" y="5466153"/>
                  <a:pt x="3106633" y="5470280"/>
                </a:cubicBezTo>
                <a:cubicBezTo>
                  <a:pt x="3106633" y="5474406"/>
                  <a:pt x="3105836" y="5478400"/>
                  <a:pt x="3104370" y="5481995"/>
                </a:cubicBezTo>
                <a:cubicBezTo>
                  <a:pt x="3102906" y="5485590"/>
                  <a:pt x="3100776" y="5488651"/>
                  <a:pt x="3098247" y="5491314"/>
                </a:cubicBezTo>
                <a:cubicBezTo>
                  <a:pt x="3095585" y="5493976"/>
                  <a:pt x="3092523" y="5496106"/>
                  <a:pt x="3088929" y="5497570"/>
                </a:cubicBezTo>
                <a:cubicBezTo>
                  <a:pt x="3085335" y="5499034"/>
                  <a:pt x="3081474" y="5499833"/>
                  <a:pt x="3077214" y="5499833"/>
                </a:cubicBezTo>
                <a:cubicBezTo>
                  <a:pt x="3068293" y="5499833"/>
                  <a:pt x="3060970" y="5496904"/>
                  <a:pt x="3055375" y="5491314"/>
                </a:cubicBezTo>
                <a:cubicBezTo>
                  <a:pt x="3049785" y="5485722"/>
                  <a:pt x="3046989" y="5478533"/>
                  <a:pt x="3046989" y="5470147"/>
                </a:cubicBezTo>
                <a:cubicBezTo>
                  <a:pt x="3046989" y="5461894"/>
                  <a:pt x="3049785" y="5454838"/>
                  <a:pt x="3055375" y="5449114"/>
                </a:cubicBezTo>
                <a:cubicBezTo>
                  <a:pt x="3060970" y="5443257"/>
                  <a:pt x="3068160" y="5440462"/>
                  <a:pt x="3077214" y="5440462"/>
                </a:cubicBezTo>
                <a:close/>
                <a:moveTo>
                  <a:pt x="2859553" y="5440462"/>
                </a:moveTo>
                <a:cubicBezTo>
                  <a:pt x="2863814" y="5440462"/>
                  <a:pt x="2867675" y="5441261"/>
                  <a:pt x="2871401" y="5443124"/>
                </a:cubicBezTo>
                <a:cubicBezTo>
                  <a:pt x="2875128" y="5444722"/>
                  <a:pt x="2878190" y="5446852"/>
                  <a:pt x="2880719" y="5449514"/>
                </a:cubicBezTo>
                <a:cubicBezTo>
                  <a:pt x="2883381" y="5452043"/>
                  <a:pt x="2885379" y="5455238"/>
                  <a:pt x="2886843" y="5458832"/>
                </a:cubicBezTo>
                <a:cubicBezTo>
                  <a:pt x="2888307" y="5462426"/>
                  <a:pt x="2889106" y="5466153"/>
                  <a:pt x="2889106" y="5470280"/>
                </a:cubicBezTo>
                <a:cubicBezTo>
                  <a:pt x="2889106" y="5474406"/>
                  <a:pt x="2888307" y="5478400"/>
                  <a:pt x="2886843" y="5481995"/>
                </a:cubicBezTo>
                <a:cubicBezTo>
                  <a:pt x="2885379" y="5485590"/>
                  <a:pt x="2883249" y="5488651"/>
                  <a:pt x="2880719" y="5491314"/>
                </a:cubicBezTo>
                <a:cubicBezTo>
                  <a:pt x="2878058" y="5493976"/>
                  <a:pt x="2874995" y="5496106"/>
                  <a:pt x="2871401" y="5497570"/>
                </a:cubicBezTo>
                <a:cubicBezTo>
                  <a:pt x="2867675" y="5499034"/>
                  <a:pt x="2863814" y="5499833"/>
                  <a:pt x="2859553" y="5499833"/>
                </a:cubicBezTo>
                <a:cubicBezTo>
                  <a:pt x="2850635" y="5499833"/>
                  <a:pt x="2843307" y="5496904"/>
                  <a:pt x="2837715" y="5491314"/>
                </a:cubicBezTo>
                <a:cubicBezTo>
                  <a:pt x="2832124" y="5485722"/>
                  <a:pt x="2829328" y="5478533"/>
                  <a:pt x="2829328" y="5470147"/>
                </a:cubicBezTo>
                <a:cubicBezTo>
                  <a:pt x="2829328" y="5461894"/>
                  <a:pt x="2832124" y="5454838"/>
                  <a:pt x="2837715" y="5449114"/>
                </a:cubicBezTo>
                <a:cubicBezTo>
                  <a:pt x="2843307" y="5443257"/>
                  <a:pt x="2850501" y="5440462"/>
                  <a:pt x="2859553" y="5440462"/>
                </a:cubicBezTo>
                <a:close/>
                <a:moveTo>
                  <a:pt x="2641892" y="5440462"/>
                </a:moveTo>
                <a:cubicBezTo>
                  <a:pt x="2646153" y="5440462"/>
                  <a:pt x="2650012" y="5441261"/>
                  <a:pt x="2653608" y="5443124"/>
                </a:cubicBezTo>
                <a:cubicBezTo>
                  <a:pt x="2657335" y="5444722"/>
                  <a:pt x="2660397" y="5446852"/>
                  <a:pt x="2662926" y="5449514"/>
                </a:cubicBezTo>
                <a:cubicBezTo>
                  <a:pt x="2665588" y="5452043"/>
                  <a:pt x="2667585" y="5455238"/>
                  <a:pt x="2669049" y="5458832"/>
                </a:cubicBezTo>
                <a:cubicBezTo>
                  <a:pt x="2670513" y="5462426"/>
                  <a:pt x="2671312" y="5466153"/>
                  <a:pt x="2671312" y="5470280"/>
                </a:cubicBezTo>
                <a:cubicBezTo>
                  <a:pt x="2671312" y="5474406"/>
                  <a:pt x="2670513" y="5478400"/>
                  <a:pt x="2669049" y="5481995"/>
                </a:cubicBezTo>
                <a:cubicBezTo>
                  <a:pt x="2667585" y="5485590"/>
                  <a:pt x="2665455" y="5488651"/>
                  <a:pt x="2662926" y="5491314"/>
                </a:cubicBezTo>
                <a:cubicBezTo>
                  <a:pt x="2660397" y="5493976"/>
                  <a:pt x="2657201" y="5496106"/>
                  <a:pt x="2653608" y="5497570"/>
                </a:cubicBezTo>
                <a:cubicBezTo>
                  <a:pt x="2650012" y="5499034"/>
                  <a:pt x="2646153" y="5499833"/>
                  <a:pt x="2641892" y="5499833"/>
                </a:cubicBezTo>
                <a:cubicBezTo>
                  <a:pt x="2632973" y="5499833"/>
                  <a:pt x="2625651" y="5496904"/>
                  <a:pt x="2620060" y="5491314"/>
                </a:cubicBezTo>
                <a:cubicBezTo>
                  <a:pt x="2614467" y="5485722"/>
                  <a:pt x="2611669" y="5478533"/>
                  <a:pt x="2611669" y="5470147"/>
                </a:cubicBezTo>
                <a:cubicBezTo>
                  <a:pt x="2611669" y="5461894"/>
                  <a:pt x="2614467" y="5454838"/>
                  <a:pt x="2620060" y="5449114"/>
                </a:cubicBezTo>
                <a:cubicBezTo>
                  <a:pt x="2625651" y="5443257"/>
                  <a:pt x="2632840" y="5440462"/>
                  <a:pt x="2641892" y="5440462"/>
                </a:cubicBezTo>
                <a:close/>
                <a:moveTo>
                  <a:pt x="2424231" y="5440462"/>
                </a:moveTo>
                <a:cubicBezTo>
                  <a:pt x="2428492" y="5440462"/>
                  <a:pt x="2432486" y="5441261"/>
                  <a:pt x="2435947" y="5443124"/>
                </a:cubicBezTo>
                <a:cubicBezTo>
                  <a:pt x="2439674" y="5444722"/>
                  <a:pt x="2442736" y="5446852"/>
                  <a:pt x="2445265" y="5449514"/>
                </a:cubicBezTo>
                <a:cubicBezTo>
                  <a:pt x="2447927" y="5452043"/>
                  <a:pt x="2449924" y="5455238"/>
                  <a:pt x="2451388" y="5458832"/>
                </a:cubicBezTo>
                <a:cubicBezTo>
                  <a:pt x="2452852" y="5462426"/>
                  <a:pt x="2453651" y="5466153"/>
                  <a:pt x="2453651" y="5470280"/>
                </a:cubicBezTo>
                <a:cubicBezTo>
                  <a:pt x="2453651" y="5474406"/>
                  <a:pt x="2452852" y="5478400"/>
                  <a:pt x="2451388" y="5481995"/>
                </a:cubicBezTo>
                <a:cubicBezTo>
                  <a:pt x="2449924" y="5485590"/>
                  <a:pt x="2447794" y="5488651"/>
                  <a:pt x="2445265" y="5491314"/>
                </a:cubicBezTo>
                <a:cubicBezTo>
                  <a:pt x="2442736" y="5493976"/>
                  <a:pt x="2439541" y="5496106"/>
                  <a:pt x="2435947" y="5497570"/>
                </a:cubicBezTo>
                <a:cubicBezTo>
                  <a:pt x="2432353" y="5499034"/>
                  <a:pt x="2428492" y="5499833"/>
                  <a:pt x="2424231" y="5499833"/>
                </a:cubicBezTo>
                <a:cubicBezTo>
                  <a:pt x="2415313" y="5499833"/>
                  <a:pt x="2407991" y="5496904"/>
                  <a:pt x="2402399" y="5491314"/>
                </a:cubicBezTo>
                <a:cubicBezTo>
                  <a:pt x="2396807" y="5485722"/>
                  <a:pt x="2394010" y="5478533"/>
                  <a:pt x="2394010" y="5470147"/>
                </a:cubicBezTo>
                <a:cubicBezTo>
                  <a:pt x="2394010" y="5461894"/>
                  <a:pt x="2396807" y="5454838"/>
                  <a:pt x="2402399" y="5449114"/>
                </a:cubicBezTo>
                <a:cubicBezTo>
                  <a:pt x="2407991" y="5443257"/>
                  <a:pt x="2415179" y="5440462"/>
                  <a:pt x="2424231" y="5440462"/>
                </a:cubicBezTo>
                <a:close/>
                <a:moveTo>
                  <a:pt x="2206571" y="5440462"/>
                </a:moveTo>
                <a:cubicBezTo>
                  <a:pt x="2210831" y="5440462"/>
                  <a:pt x="2214825" y="5441261"/>
                  <a:pt x="2218286" y="5443124"/>
                </a:cubicBezTo>
                <a:cubicBezTo>
                  <a:pt x="2222013" y="5444722"/>
                  <a:pt x="2225074" y="5446852"/>
                  <a:pt x="2227604" y="5449514"/>
                </a:cubicBezTo>
                <a:cubicBezTo>
                  <a:pt x="2230266" y="5452043"/>
                  <a:pt x="2232263" y="5455238"/>
                  <a:pt x="2233727" y="5458832"/>
                </a:cubicBezTo>
                <a:cubicBezTo>
                  <a:pt x="2235191" y="5462426"/>
                  <a:pt x="2235990" y="5466153"/>
                  <a:pt x="2235990" y="5470280"/>
                </a:cubicBezTo>
                <a:cubicBezTo>
                  <a:pt x="2235990" y="5474406"/>
                  <a:pt x="2235191" y="5478400"/>
                  <a:pt x="2233727" y="5481995"/>
                </a:cubicBezTo>
                <a:cubicBezTo>
                  <a:pt x="2232263" y="5485590"/>
                  <a:pt x="2230133" y="5488651"/>
                  <a:pt x="2227604" y="5491314"/>
                </a:cubicBezTo>
                <a:cubicBezTo>
                  <a:pt x="2225074" y="5493976"/>
                  <a:pt x="2221880" y="5496106"/>
                  <a:pt x="2218286" y="5497570"/>
                </a:cubicBezTo>
                <a:cubicBezTo>
                  <a:pt x="2214691" y="5499034"/>
                  <a:pt x="2210831" y="5499833"/>
                  <a:pt x="2206571" y="5499833"/>
                </a:cubicBezTo>
                <a:cubicBezTo>
                  <a:pt x="2197518" y="5499833"/>
                  <a:pt x="2190330" y="5496904"/>
                  <a:pt x="2184738" y="5491314"/>
                </a:cubicBezTo>
                <a:cubicBezTo>
                  <a:pt x="2179145" y="5485722"/>
                  <a:pt x="2176350" y="5478533"/>
                  <a:pt x="2176350" y="5470147"/>
                </a:cubicBezTo>
                <a:cubicBezTo>
                  <a:pt x="2176350" y="5461894"/>
                  <a:pt x="2179145" y="5454838"/>
                  <a:pt x="2184738" y="5449114"/>
                </a:cubicBezTo>
                <a:cubicBezTo>
                  <a:pt x="2190330" y="5443257"/>
                  <a:pt x="2197518" y="5440462"/>
                  <a:pt x="2206571" y="5440462"/>
                </a:cubicBezTo>
                <a:close/>
                <a:moveTo>
                  <a:pt x="1989043" y="5440462"/>
                </a:moveTo>
                <a:cubicBezTo>
                  <a:pt x="1993170" y="5440462"/>
                  <a:pt x="1997164" y="5441261"/>
                  <a:pt x="2000758" y="5443124"/>
                </a:cubicBezTo>
                <a:cubicBezTo>
                  <a:pt x="2004485" y="5444722"/>
                  <a:pt x="2007547" y="5446852"/>
                  <a:pt x="2010076" y="5449514"/>
                </a:cubicBezTo>
                <a:cubicBezTo>
                  <a:pt x="2012738" y="5452043"/>
                  <a:pt x="2014735" y="5455238"/>
                  <a:pt x="2016199" y="5458832"/>
                </a:cubicBezTo>
                <a:cubicBezTo>
                  <a:pt x="2017663" y="5462426"/>
                  <a:pt x="2018462" y="5466153"/>
                  <a:pt x="2018462" y="5470280"/>
                </a:cubicBezTo>
                <a:cubicBezTo>
                  <a:pt x="2018462" y="5474406"/>
                  <a:pt x="2017663" y="5478400"/>
                  <a:pt x="2016199" y="5481995"/>
                </a:cubicBezTo>
                <a:cubicBezTo>
                  <a:pt x="2014735" y="5485590"/>
                  <a:pt x="2012605" y="5488651"/>
                  <a:pt x="2010076" y="5491314"/>
                </a:cubicBezTo>
                <a:cubicBezTo>
                  <a:pt x="2007547" y="5493976"/>
                  <a:pt x="2004352" y="5496106"/>
                  <a:pt x="2000758" y="5497570"/>
                </a:cubicBezTo>
                <a:cubicBezTo>
                  <a:pt x="1997164" y="5499034"/>
                  <a:pt x="1993303" y="5499833"/>
                  <a:pt x="1989043" y="5499833"/>
                </a:cubicBezTo>
                <a:cubicBezTo>
                  <a:pt x="1979992" y="5499833"/>
                  <a:pt x="1972803" y="5496904"/>
                  <a:pt x="1967212" y="5491314"/>
                </a:cubicBezTo>
                <a:cubicBezTo>
                  <a:pt x="1961621" y="5485722"/>
                  <a:pt x="1958825" y="5478533"/>
                  <a:pt x="1958825" y="5470147"/>
                </a:cubicBezTo>
                <a:cubicBezTo>
                  <a:pt x="1958825" y="5461894"/>
                  <a:pt x="1961621" y="5454838"/>
                  <a:pt x="1967212" y="5449114"/>
                </a:cubicBezTo>
                <a:cubicBezTo>
                  <a:pt x="1972803" y="5443257"/>
                  <a:pt x="1979992" y="5440462"/>
                  <a:pt x="1989043" y="5440462"/>
                </a:cubicBezTo>
                <a:close/>
                <a:moveTo>
                  <a:pt x="1771409" y="5440462"/>
                </a:moveTo>
                <a:cubicBezTo>
                  <a:pt x="1775668" y="5440462"/>
                  <a:pt x="1779528" y="5441261"/>
                  <a:pt x="1783123" y="5443124"/>
                </a:cubicBezTo>
                <a:cubicBezTo>
                  <a:pt x="1786850" y="5444722"/>
                  <a:pt x="1789912" y="5446852"/>
                  <a:pt x="1792441" y="5449514"/>
                </a:cubicBezTo>
                <a:cubicBezTo>
                  <a:pt x="1795103" y="5452043"/>
                  <a:pt x="1797100" y="5455238"/>
                  <a:pt x="1798564" y="5458832"/>
                </a:cubicBezTo>
                <a:cubicBezTo>
                  <a:pt x="1800027" y="5462426"/>
                  <a:pt x="1800826" y="5466153"/>
                  <a:pt x="1800826" y="5470280"/>
                </a:cubicBezTo>
                <a:cubicBezTo>
                  <a:pt x="1800826" y="5474406"/>
                  <a:pt x="1800027" y="5478400"/>
                  <a:pt x="1798564" y="5481995"/>
                </a:cubicBezTo>
                <a:cubicBezTo>
                  <a:pt x="1797100" y="5485590"/>
                  <a:pt x="1794970" y="5488651"/>
                  <a:pt x="1792441" y="5491314"/>
                </a:cubicBezTo>
                <a:cubicBezTo>
                  <a:pt x="1789778" y="5493976"/>
                  <a:pt x="1786717" y="5496106"/>
                  <a:pt x="1783123" y="5497570"/>
                </a:cubicBezTo>
                <a:cubicBezTo>
                  <a:pt x="1779528" y="5499034"/>
                  <a:pt x="1775668" y="5499833"/>
                  <a:pt x="1771409" y="5499833"/>
                </a:cubicBezTo>
                <a:cubicBezTo>
                  <a:pt x="1762490" y="5499833"/>
                  <a:pt x="1755170" y="5496904"/>
                  <a:pt x="1749580" y="5491314"/>
                </a:cubicBezTo>
                <a:cubicBezTo>
                  <a:pt x="1743989" y="5485722"/>
                  <a:pt x="1741196" y="5478533"/>
                  <a:pt x="1741196" y="5470147"/>
                </a:cubicBezTo>
                <a:cubicBezTo>
                  <a:pt x="1741196" y="5461894"/>
                  <a:pt x="1743989" y="5454838"/>
                  <a:pt x="1749580" y="5449114"/>
                </a:cubicBezTo>
                <a:cubicBezTo>
                  <a:pt x="1755170" y="5443257"/>
                  <a:pt x="1762357" y="5440462"/>
                  <a:pt x="1771409" y="5440462"/>
                </a:cubicBezTo>
                <a:close/>
                <a:moveTo>
                  <a:pt x="1553772" y="5440462"/>
                </a:moveTo>
                <a:cubicBezTo>
                  <a:pt x="1558032" y="5440462"/>
                  <a:pt x="1561893" y="5441261"/>
                  <a:pt x="1565487" y="5443124"/>
                </a:cubicBezTo>
                <a:cubicBezTo>
                  <a:pt x="1569081" y="5444722"/>
                  <a:pt x="1572276" y="5446852"/>
                  <a:pt x="1574805" y="5449514"/>
                </a:cubicBezTo>
                <a:cubicBezTo>
                  <a:pt x="1577467" y="5452043"/>
                  <a:pt x="1579464" y="5455238"/>
                  <a:pt x="1580928" y="5458832"/>
                </a:cubicBezTo>
                <a:cubicBezTo>
                  <a:pt x="1582392" y="5462426"/>
                  <a:pt x="1583191" y="5466153"/>
                  <a:pt x="1583191" y="5470280"/>
                </a:cubicBezTo>
                <a:cubicBezTo>
                  <a:pt x="1583191" y="5474406"/>
                  <a:pt x="1582392" y="5478400"/>
                  <a:pt x="1580928" y="5481995"/>
                </a:cubicBezTo>
                <a:cubicBezTo>
                  <a:pt x="1579464" y="5485590"/>
                  <a:pt x="1577334" y="5488651"/>
                  <a:pt x="1574805" y="5491314"/>
                </a:cubicBezTo>
                <a:cubicBezTo>
                  <a:pt x="1572143" y="5493976"/>
                  <a:pt x="1569081" y="5496106"/>
                  <a:pt x="1565487" y="5497570"/>
                </a:cubicBezTo>
                <a:cubicBezTo>
                  <a:pt x="1561893" y="5499034"/>
                  <a:pt x="1558032" y="5499833"/>
                  <a:pt x="1553772" y="5499833"/>
                </a:cubicBezTo>
                <a:cubicBezTo>
                  <a:pt x="1544853" y="5499833"/>
                  <a:pt x="1537532" y="5496904"/>
                  <a:pt x="1531942" y="5491314"/>
                </a:cubicBezTo>
                <a:cubicBezTo>
                  <a:pt x="1526353" y="5485722"/>
                  <a:pt x="1523557" y="5478533"/>
                  <a:pt x="1523557" y="5470147"/>
                </a:cubicBezTo>
                <a:cubicBezTo>
                  <a:pt x="1523557" y="5461894"/>
                  <a:pt x="1526353" y="5454838"/>
                  <a:pt x="1531942" y="5449114"/>
                </a:cubicBezTo>
                <a:cubicBezTo>
                  <a:pt x="1537532" y="5443257"/>
                  <a:pt x="1544719" y="5440462"/>
                  <a:pt x="1553772" y="5440462"/>
                </a:cubicBezTo>
                <a:close/>
                <a:moveTo>
                  <a:pt x="1336129" y="5440462"/>
                </a:moveTo>
                <a:cubicBezTo>
                  <a:pt x="1340388" y="5440462"/>
                  <a:pt x="1344383" y="5441261"/>
                  <a:pt x="1347844" y="5443124"/>
                </a:cubicBezTo>
                <a:cubicBezTo>
                  <a:pt x="1351437" y="5444722"/>
                  <a:pt x="1354632" y="5446852"/>
                  <a:pt x="1357162" y="5449514"/>
                </a:cubicBezTo>
                <a:cubicBezTo>
                  <a:pt x="1359824" y="5452043"/>
                  <a:pt x="1361821" y="5455238"/>
                  <a:pt x="1363285" y="5458832"/>
                </a:cubicBezTo>
                <a:cubicBezTo>
                  <a:pt x="1364749" y="5462426"/>
                  <a:pt x="1365547" y="5466153"/>
                  <a:pt x="1365547" y="5470280"/>
                </a:cubicBezTo>
                <a:cubicBezTo>
                  <a:pt x="1365547" y="5474406"/>
                  <a:pt x="1364749" y="5478400"/>
                  <a:pt x="1363285" y="5481995"/>
                </a:cubicBezTo>
                <a:cubicBezTo>
                  <a:pt x="1361821" y="5485590"/>
                  <a:pt x="1359691" y="5488651"/>
                  <a:pt x="1357162" y="5491314"/>
                </a:cubicBezTo>
                <a:cubicBezTo>
                  <a:pt x="1354498" y="5493976"/>
                  <a:pt x="1351437" y="5496106"/>
                  <a:pt x="1347844" y="5497570"/>
                </a:cubicBezTo>
                <a:cubicBezTo>
                  <a:pt x="1344250" y="5499034"/>
                  <a:pt x="1340388" y="5499833"/>
                  <a:pt x="1336129" y="5499833"/>
                </a:cubicBezTo>
                <a:cubicBezTo>
                  <a:pt x="1327208" y="5499833"/>
                  <a:pt x="1319887" y="5496904"/>
                  <a:pt x="1314296" y="5491314"/>
                </a:cubicBezTo>
                <a:cubicBezTo>
                  <a:pt x="1308705" y="5485722"/>
                  <a:pt x="1305910" y="5478533"/>
                  <a:pt x="1305910" y="5470147"/>
                </a:cubicBezTo>
                <a:cubicBezTo>
                  <a:pt x="1305910" y="5461894"/>
                  <a:pt x="1308705" y="5454838"/>
                  <a:pt x="1314296" y="5449114"/>
                </a:cubicBezTo>
                <a:cubicBezTo>
                  <a:pt x="1319887" y="5443257"/>
                  <a:pt x="1327075" y="5440462"/>
                  <a:pt x="1336129" y="5440462"/>
                </a:cubicBezTo>
                <a:close/>
                <a:moveTo>
                  <a:pt x="1118483" y="5440462"/>
                </a:moveTo>
                <a:cubicBezTo>
                  <a:pt x="1122744" y="5440462"/>
                  <a:pt x="1126740" y="5441261"/>
                  <a:pt x="1130201" y="5443124"/>
                </a:cubicBezTo>
                <a:cubicBezTo>
                  <a:pt x="1133927" y="5444722"/>
                  <a:pt x="1136989" y="5446852"/>
                  <a:pt x="1139516" y="5449514"/>
                </a:cubicBezTo>
                <a:cubicBezTo>
                  <a:pt x="1142176" y="5452043"/>
                  <a:pt x="1144173" y="5455238"/>
                  <a:pt x="1145636" y="5458832"/>
                </a:cubicBezTo>
                <a:cubicBezTo>
                  <a:pt x="1147100" y="5462426"/>
                  <a:pt x="1147899" y="5466153"/>
                  <a:pt x="1147899" y="5470280"/>
                </a:cubicBezTo>
                <a:cubicBezTo>
                  <a:pt x="1147899" y="5474406"/>
                  <a:pt x="1147100" y="5478400"/>
                  <a:pt x="1145636" y="5481995"/>
                </a:cubicBezTo>
                <a:cubicBezTo>
                  <a:pt x="1144173" y="5485590"/>
                  <a:pt x="1142044" y="5488651"/>
                  <a:pt x="1139516" y="5491314"/>
                </a:cubicBezTo>
                <a:cubicBezTo>
                  <a:pt x="1136989" y="5493976"/>
                  <a:pt x="1133794" y="5496106"/>
                  <a:pt x="1130201" y="5497570"/>
                </a:cubicBezTo>
                <a:cubicBezTo>
                  <a:pt x="1126605" y="5499034"/>
                  <a:pt x="1122744" y="5499833"/>
                  <a:pt x="1118483" y="5499833"/>
                </a:cubicBezTo>
                <a:cubicBezTo>
                  <a:pt x="1109563" y="5499833"/>
                  <a:pt x="1102239" y="5496904"/>
                  <a:pt x="1096648" y="5491314"/>
                </a:cubicBezTo>
                <a:cubicBezTo>
                  <a:pt x="1091058" y="5485722"/>
                  <a:pt x="1088263" y="5478533"/>
                  <a:pt x="1088263" y="5470147"/>
                </a:cubicBezTo>
                <a:cubicBezTo>
                  <a:pt x="1088263" y="5461894"/>
                  <a:pt x="1091058" y="5454838"/>
                  <a:pt x="1096648" y="5449114"/>
                </a:cubicBezTo>
                <a:cubicBezTo>
                  <a:pt x="1102239" y="5443257"/>
                  <a:pt x="1109429" y="5440462"/>
                  <a:pt x="1118483" y="5440462"/>
                </a:cubicBezTo>
                <a:close/>
                <a:moveTo>
                  <a:pt x="900970" y="5440462"/>
                </a:moveTo>
                <a:cubicBezTo>
                  <a:pt x="905097" y="5440462"/>
                  <a:pt x="909091" y="5441261"/>
                  <a:pt x="912685" y="5443124"/>
                </a:cubicBezTo>
                <a:cubicBezTo>
                  <a:pt x="916412" y="5444722"/>
                  <a:pt x="919474" y="5446852"/>
                  <a:pt x="922003" y="5449514"/>
                </a:cubicBezTo>
                <a:cubicBezTo>
                  <a:pt x="924665" y="5452043"/>
                  <a:pt x="926662" y="5455238"/>
                  <a:pt x="928126" y="5458832"/>
                </a:cubicBezTo>
                <a:cubicBezTo>
                  <a:pt x="929590" y="5462426"/>
                  <a:pt x="930389" y="5466153"/>
                  <a:pt x="930389" y="5470280"/>
                </a:cubicBezTo>
                <a:cubicBezTo>
                  <a:pt x="930389" y="5474406"/>
                  <a:pt x="929590" y="5478400"/>
                  <a:pt x="928126" y="5481995"/>
                </a:cubicBezTo>
                <a:cubicBezTo>
                  <a:pt x="926662" y="5485590"/>
                  <a:pt x="924532" y="5488651"/>
                  <a:pt x="922003" y="5491314"/>
                </a:cubicBezTo>
                <a:cubicBezTo>
                  <a:pt x="919474" y="5493976"/>
                  <a:pt x="916279" y="5496106"/>
                  <a:pt x="912685" y="5497570"/>
                </a:cubicBezTo>
                <a:cubicBezTo>
                  <a:pt x="909091" y="5499034"/>
                  <a:pt x="905230" y="5499833"/>
                  <a:pt x="900970" y="5499833"/>
                </a:cubicBezTo>
                <a:cubicBezTo>
                  <a:pt x="892052" y="5499833"/>
                  <a:pt x="884730" y="5496904"/>
                  <a:pt x="879139" y="5491314"/>
                </a:cubicBezTo>
                <a:cubicBezTo>
                  <a:pt x="873550" y="5485722"/>
                  <a:pt x="870754" y="5478533"/>
                  <a:pt x="870754" y="5470147"/>
                </a:cubicBezTo>
                <a:cubicBezTo>
                  <a:pt x="870754" y="5461894"/>
                  <a:pt x="873550" y="5454838"/>
                  <a:pt x="879139" y="5449114"/>
                </a:cubicBezTo>
                <a:cubicBezTo>
                  <a:pt x="884730" y="5443257"/>
                  <a:pt x="891919" y="5440462"/>
                  <a:pt x="900970" y="5440462"/>
                </a:cubicBezTo>
                <a:close/>
                <a:moveTo>
                  <a:pt x="683330" y="5440462"/>
                </a:moveTo>
                <a:cubicBezTo>
                  <a:pt x="687590" y="5440462"/>
                  <a:pt x="691451" y="5441261"/>
                  <a:pt x="695045" y="5443124"/>
                </a:cubicBezTo>
                <a:cubicBezTo>
                  <a:pt x="698772" y="5444722"/>
                  <a:pt x="701834" y="5446852"/>
                  <a:pt x="704362" y="5449514"/>
                </a:cubicBezTo>
                <a:cubicBezTo>
                  <a:pt x="707024" y="5452043"/>
                  <a:pt x="709021" y="5455238"/>
                  <a:pt x="710485" y="5458832"/>
                </a:cubicBezTo>
                <a:cubicBezTo>
                  <a:pt x="711949" y="5462426"/>
                  <a:pt x="712748" y="5466153"/>
                  <a:pt x="712748" y="5470280"/>
                </a:cubicBezTo>
                <a:cubicBezTo>
                  <a:pt x="712748" y="5474406"/>
                  <a:pt x="711949" y="5478400"/>
                  <a:pt x="710485" y="5481995"/>
                </a:cubicBezTo>
                <a:cubicBezTo>
                  <a:pt x="709021" y="5485590"/>
                  <a:pt x="706891" y="5488651"/>
                  <a:pt x="704362" y="5491314"/>
                </a:cubicBezTo>
                <a:cubicBezTo>
                  <a:pt x="701834" y="5493976"/>
                  <a:pt x="698639" y="5496106"/>
                  <a:pt x="695045" y="5497570"/>
                </a:cubicBezTo>
                <a:cubicBezTo>
                  <a:pt x="691451" y="5499034"/>
                  <a:pt x="687590" y="5499833"/>
                  <a:pt x="683330" y="5499833"/>
                </a:cubicBezTo>
                <a:cubicBezTo>
                  <a:pt x="674412" y="5499833"/>
                  <a:pt x="667089" y="5496904"/>
                  <a:pt x="661498" y="5491314"/>
                </a:cubicBezTo>
                <a:cubicBezTo>
                  <a:pt x="655907" y="5485722"/>
                  <a:pt x="653112" y="5478533"/>
                  <a:pt x="653112" y="5470147"/>
                </a:cubicBezTo>
                <a:cubicBezTo>
                  <a:pt x="653112" y="5461894"/>
                  <a:pt x="655907" y="5454838"/>
                  <a:pt x="661498" y="5449114"/>
                </a:cubicBezTo>
                <a:cubicBezTo>
                  <a:pt x="667089" y="5443257"/>
                  <a:pt x="674278" y="5440462"/>
                  <a:pt x="683330" y="5440462"/>
                </a:cubicBezTo>
                <a:close/>
                <a:moveTo>
                  <a:pt x="465688" y="5440462"/>
                </a:moveTo>
                <a:cubicBezTo>
                  <a:pt x="469948" y="5440462"/>
                  <a:pt x="473809" y="5441261"/>
                  <a:pt x="477404" y="5443124"/>
                </a:cubicBezTo>
                <a:cubicBezTo>
                  <a:pt x="481131" y="5444722"/>
                  <a:pt x="484192" y="5446852"/>
                  <a:pt x="486721" y="5449514"/>
                </a:cubicBezTo>
                <a:cubicBezTo>
                  <a:pt x="489383" y="5452043"/>
                  <a:pt x="491380" y="5455238"/>
                  <a:pt x="492844" y="5458832"/>
                </a:cubicBezTo>
                <a:cubicBezTo>
                  <a:pt x="494308" y="5462426"/>
                  <a:pt x="495107" y="5466153"/>
                  <a:pt x="495107" y="5470280"/>
                </a:cubicBezTo>
                <a:cubicBezTo>
                  <a:pt x="495107" y="5474406"/>
                  <a:pt x="494308" y="5478400"/>
                  <a:pt x="492844" y="5481995"/>
                </a:cubicBezTo>
                <a:cubicBezTo>
                  <a:pt x="491380" y="5485590"/>
                  <a:pt x="489250" y="5488651"/>
                  <a:pt x="486721" y="5491314"/>
                </a:cubicBezTo>
                <a:cubicBezTo>
                  <a:pt x="484058" y="5493976"/>
                  <a:pt x="480998" y="5496106"/>
                  <a:pt x="477404" y="5497570"/>
                </a:cubicBezTo>
                <a:cubicBezTo>
                  <a:pt x="473809" y="5499034"/>
                  <a:pt x="469948" y="5499833"/>
                  <a:pt x="465688" y="5499833"/>
                </a:cubicBezTo>
                <a:cubicBezTo>
                  <a:pt x="456770" y="5499833"/>
                  <a:pt x="449448" y="5496904"/>
                  <a:pt x="443857" y="5491314"/>
                </a:cubicBezTo>
                <a:cubicBezTo>
                  <a:pt x="438266" y="5485722"/>
                  <a:pt x="435471" y="5478533"/>
                  <a:pt x="435471" y="5470147"/>
                </a:cubicBezTo>
                <a:cubicBezTo>
                  <a:pt x="435471" y="5461894"/>
                  <a:pt x="438266" y="5454838"/>
                  <a:pt x="443857" y="5449114"/>
                </a:cubicBezTo>
                <a:cubicBezTo>
                  <a:pt x="449448" y="5443257"/>
                  <a:pt x="456637" y="5440462"/>
                  <a:pt x="465688" y="5440462"/>
                </a:cubicBezTo>
                <a:close/>
                <a:moveTo>
                  <a:pt x="248047" y="5440462"/>
                </a:moveTo>
                <a:cubicBezTo>
                  <a:pt x="252306" y="5440462"/>
                  <a:pt x="256300" y="5441261"/>
                  <a:pt x="259761" y="5443124"/>
                </a:cubicBezTo>
                <a:cubicBezTo>
                  <a:pt x="263488" y="5444722"/>
                  <a:pt x="266550" y="5446852"/>
                  <a:pt x="269079" y="5449514"/>
                </a:cubicBezTo>
                <a:cubicBezTo>
                  <a:pt x="271741" y="5452043"/>
                  <a:pt x="273738" y="5455238"/>
                  <a:pt x="275202" y="5458832"/>
                </a:cubicBezTo>
                <a:cubicBezTo>
                  <a:pt x="276666" y="5462426"/>
                  <a:pt x="277465" y="5466153"/>
                  <a:pt x="277465" y="5470280"/>
                </a:cubicBezTo>
                <a:cubicBezTo>
                  <a:pt x="277465" y="5474406"/>
                  <a:pt x="276666" y="5478400"/>
                  <a:pt x="275202" y="5481995"/>
                </a:cubicBezTo>
                <a:cubicBezTo>
                  <a:pt x="273738" y="5485590"/>
                  <a:pt x="271608" y="5488651"/>
                  <a:pt x="269079" y="5491314"/>
                </a:cubicBezTo>
                <a:cubicBezTo>
                  <a:pt x="266416" y="5493976"/>
                  <a:pt x="263355" y="5496106"/>
                  <a:pt x="259761" y="5497570"/>
                </a:cubicBezTo>
                <a:cubicBezTo>
                  <a:pt x="256166" y="5499034"/>
                  <a:pt x="252306" y="5499833"/>
                  <a:pt x="248047" y="5499833"/>
                </a:cubicBezTo>
                <a:cubicBezTo>
                  <a:pt x="239129" y="5499833"/>
                  <a:pt x="231808" y="5496904"/>
                  <a:pt x="226217" y="5491314"/>
                </a:cubicBezTo>
                <a:cubicBezTo>
                  <a:pt x="220627" y="5485722"/>
                  <a:pt x="217832" y="5478533"/>
                  <a:pt x="217832" y="5470147"/>
                </a:cubicBezTo>
                <a:cubicBezTo>
                  <a:pt x="217832" y="5461894"/>
                  <a:pt x="220627" y="5454838"/>
                  <a:pt x="226217" y="5449114"/>
                </a:cubicBezTo>
                <a:cubicBezTo>
                  <a:pt x="231808" y="5443257"/>
                  <a:pt x="238995" y="5440462"/>
                  <a:pt x="248047" y="5440462"/>
                </a:cubicBezTo>
                <a:close/>
                <a:moveTo>
                  <a:pt x="30405" y="5440462"/>
                </a:moveTo>
                <a:cubicBezTo>
                  <a:pt x="34665" y="5440462"/>
                  <a:pt x="38659" y="5441261"/>
                  <a:pt x="42120" y="5443124"/>
                </a:cubicBezTo>
                <a:cubicBezTo>
                  <a:pt x="45847" y="5444722"/>
                  <a:pt x="48909" y="5446852"/>
                  <a:pt x="51438" y="5449514"/>
                </a:cubicBezTo>
                <a:cubicBezTo>
                  <a:pt x="54100" y="5452043"/>
                  <a:pt x="56097" y="5455238"/>
                  <a:pt x="57561" y="5458832"/>
                </a:cubicBezTo>
                <a:cubicBezTo>
                  <a:pt x="59025" y="5462426"/>
                  <a:pt x="59825" y="5466153"/>
                  <a:pt x="59825" y="5470280"/>
                </a:cubicBezTo>
                <a:cubicBezTo>
                  <a:pt x="59825" y="5474406"/>
                  <a:pt x="59025" y="5478400"/>
                  <a:pt x="57561" y="5481995"/>
                </a:cubicBezTo>
                <a:cubicBezTo>
                  <a:pt x="56097" y="5485590"/>
                  <a:pt x="53967" y="5488651"/>
                  <a:pt x="51438" y="5491314"/>
                </a:cubicBezTo>
                <a:cubicBezTo>
                  <a:pt x="48775" y="5493976"/>
                  <a:pt x="45714" y="5496106"/>
                  <a:pt x="42120" y="5497570"/>
                </a:cubicBezTo>
                <a:cubicBezTo>
                  <a:pt x="38526" y="5499034"/>
                  <a:pt x="34665" y="5499833"/>
                  <a:pt x="30405" y="5499833"/>
                </a:cubicBezTo>
                <a:cubicBezTo>
                  <a:pt x="21487" y="5499833"/>
                  <a:pt x="14167" y="5496904"/>
                  <a:pt x="8577" y="5491314"/>
                </a:cubicBezTo>
                <a:cubicBezTo>
                  <a:pt x="2986" y="5485722"/>
                  <a:pt x="191" y="5478533"/>
                  <a:pt x="191" y="5470147"/>
                </a:cubicBezTo>
                <a:cubicBezTo>
                  <a:pt x="191" y="5461894"/>
                  <a:pt x="2986" y="5454838"/>
                  <a:pt x="8577" y="5449114"/>
                </a:cubicBezTo>
                <a:cubicBezTo>
                  <a:pt x="14167" y="5443257"/>
                  <a:pt x="21353" y="5440462"/>
                  <a:pt x="30405" y="5440462"/>
                </a:cubicBezTo>
                <a:close/>
                <a:moveTo>
                  <a:pt x="10475977" y="5239589"/>
                </a:moveTo>
                <a:cubicBezTo>
                  <a:pt x="10470119" y="5239589"/>
                  <a:pt x="10467589" y="5241585"/>
                  <a:pt x="10465992" y="5243183"/>
                </a:cubicBezTo>
                <a:cubicBezTo>
                  <a:pt x="10463463" y="5245845"/>
                  <a:pt x="10462399" y="5248641"/>
                  <a:pt x="10462399" y="5252634"/>
                </a:cubicBezTo>
                <a:cubicBezTo>
                  <a:pt x="10462399" y="5256761"/>
                  <a:pt x="10463463" y="5259556"/>
                  <a:pt x="10465992" y="5262085"/>
                </a:cubicBezTo>
                <a:cubicBezTo>
                  <a:pt x="10467589" y="5263684"/>
                  <a:pt x="10470119" y="5265548"/>
                  <a:pt x="10475977" y="5265548"/>
                </a:cubicBezTo>
                <a:cubicBezTo>
                  <a:pt x="10478107" y="5265548"/>
                  <a:pt x="10479838" y="5265148"/>
                  <a:pt x="10481302" y="5264616"/>
                </a:cubicBezTo>
                <a:cubicBezTo>
                  <a:pt x="10482899" y="5264083"/>
                  <a:pt x="10484098" y="5263151"/>
                  <a:pt x="10485029" y="5262219"/>
                </a:cubicBezTo>
                <a:cubicBezTo>
                  <a:pt x="10486094" y="5261020"/>
                  <a:pt x="10487026" y="5259689"/>
                  <a:pt x="10487691" y="5257959"/>
                </a:cubicBezTo>
                <a:cubicBezTo>
                  <a:pt x="10488357" y="5256362"/>
                  <a:pt x="10488623" y="5254498"/>
                  <a:pt x="10488623" y="5252501"/>
                </a:cubicBezTo>
                <a:cubicBezTo>
                  <a:pt x="10488623" y="5250637"/>
                  <a:pt x="10488357" y="5248907"/>
                  <a:pt x="10487691" y="5247309"/>
                </a:cubicBezTo>
                <a:cubicBezTo>
                  <a:pt x="10487026" y="5245712"/>
                  <a:pt x="10486094" y="5244381"/>
                  <a:pt x="10485029" y="5243183"/>
                </a:cubicBezTo>
                <a:cubicBezTo>
                  <a:pt x="10483964" y="5242118"/>
                  <a:pt x="10482633" y="5241186"/>
                  <a:pt x="10481035" y="5240521"/>
                </a:cubicBezTo>
                <a:cubicBezTo>
                  <a:pt x="10479571" y="5239855"/>
                  <a:pt x="10477974" y="5239589"/>
                  <a:pt x="10475977" y="5239589"/>
                </a:cubicBezTo>
                <a:close/>
                <a:moveTo>
                  <a:pt x="10258466" y="5239589"/>
                </a:moveTo>
                <a:cubicBezTo>
                  <a:pt x="10252608" y="5239589"/>
                  <a:pt x="10250078" y="5241585"/>
                  <a:pt x="10248481" y="5243183"/>
                </a:cubicBezTo>
                <a:cubicBezTo>
                  <a:pt x="10245952" y="5245845"/>
                  <a:pt x="10244887" y="5248641"/>
                  <a:pt x="10244887" y="5252634"/>
                </a:cubicBezTo>
                <a:cubicBezTo>
                  <a:pt x="10244887" y="5256761"/>
                  <a:pt x="10245952" y="5259556"/>
                  <a:pt x="10248481" y="5262085"/>
                </a:cubicBezTo>
                <a:cubicBezTo>
                  <a:pt x="10250078" y="5263684"/>
                  <a:pt x="10252608" y="5265548"/>
                  <a:pt x="10258466" y="5265548"/>
                </a:cubicBezTo>
                <a:cubicBezTo>
                  <a:pt x="10260462" y="5265548"/>
                  <a:pt x="10262192" y="5265148"/>
                  <a:pt x="10263790" y="5264616"/>
                </a:cubicBezTo>
                <a:cubicBezTo>
                  <a:pt x="10265388" y="5264083"/>
                  <a:pt x="10266586" y="5263151"/>
                  <a:pt x="10267517" y="5262219"/>
                </a:cubicBezTo>
                <a:cubicBezTo>
                  <a:pt x="10268583" y="5261020"/>
                  <a:pt x="10269515" y="5259689"/>
                  <a:pt x="10270180" y="5257959"/>
                </a:cubicBezTo>
                <a:cubicBezTo>
                  <a:pt x="10270845" y="5256362"/>
                  <a:pt x="10271112" y="5254498"/>
                  <a:pt x="10271112" y="5252501"/>
                </a:cubicBezTo>
                <a:cubicBezTo>
                  <a:pt x="10271112" y="5250637"/>
                  <a:pt x="10270845" y="5248907"/>
                  <a:pt x="10270180" y="5247309"/>
                </a:cubicBezTo>
                <a:cubicBezTo>
                  <a:pt x="10269515" y="5245712"/>
                  <a:pt x="10268583" y="5244381"/>
                  <a:pt x="10267517" y="5243183"/>
                </a:cubicBezTo>
                <a:cubicBezTo>
                  <a:pt x="10266452" y="5242118"/>
                  <a:pt x="10265121" y="5241186"/>
                  <a:pt x="10263524" y="5240521"/>
                </a:cubicBezTo>
                <a:cubicBezTo>
                  <a:pt x="10262060" y="5239855"/>
                  <a:pt x="10260462" y="5239589"/>
                  <a:pt x="10258466" y="5239589"/>
                </a:cubicBezTo>
                <a:close/>
                <a:moveTo>
                  <a:pt x="10040820" y="5239589"/>
                </a:moveTo>
                <a:cubicBezTo>
                  <a:pt x="10034962" y="5239589"/>
                  <a:pt x="10032433" y="5241585"/>
                  <a:pt x="10030835" y="5243183"/>
                </a:cubicBezTo>
                <a:cubicBezTo>
                  <a:pt x="10028306" y="5245845"/>
                  <a:pt x="10027242" y="5248641"/>
                  <a:pt x="10027242" y="5252634"/>
                </a:cubicBezTo>
                <a:cubicBezTo>
                  <a:pt x="10027242" y="5256761"/>
                  <a:pt x="10028306" y="5259556"/>
                  <a:pt x="10030835" y="5262085"/>
                </a:cubicBezTo>
                <a:cubicBezTo>
                  <a:pt x="10032433" y="5263684"/>
                  <a:pt x="10034962" y="5265548"/>
                  <a:pt x="10040820" y="5265548"/>
                </a:cubicBezTo>
                <a:cubicBezTo>
                  <a:pt x="10042817" y="5265548"/>
                  <a:pt x="10044681" y="5265148"/>
                  <a:pt x="10046145" y="5264616"/>
                </a:cubicBezTo>
                <a:cubicBezTo>
                  <a:pt x="10047742" y="5264083"/>
                  <a:pt x="10048941" y="5263151"/>
                  <a:pt x="10049872" y="5262219"/>
                </a:cubicBezTo>
                <a:cubicBezTo>
                  <a:pt x="10050937" y="5261020"/>
                  <a:pt x="10051869" y="5259689"/>
                  <a:pt x="10052534" y="5257959"/>
                </a:cubicBezTo>
                <a:cubicBezTo>
                  <a:pt x="10053333" y="5256362"/>
                  <a:pt x="10053599" y="5254498"/>
                  <a:pt x="10053599" y="5252501"/>
                </a:cubicBezTo>
                <a:cubicBezTo>
                  <a:pt x="10053599" y="5250637"/>
                  <a:pt x="10053200" y="5248907"/>
                  <a:pt x="10052534" y="5247309"/>
                </a:cubicBezTo>
                <a:cubicBezTo>
                  <a:pt x="10051869" y="5245712"/>
                  <a:pt x="10050937" y="5244381"/>
                  <a:pt x="10049872" y="5243183"/>
                </a:cubicBezTo>
                <a:cubicBezTo>
                  <a:pt x="10048807" y="5242118"/>
                  <a:pt x="10047476" y="5241186"/>
                  <a:pt x="10045878" y="5240521"/>
                </a:cubicBezTo>
                <a:cubicBezTo>
                  <a:pt x="10044414" y="5239855"/>
                  <a:pt x="10042817" y="5239589"/>
                  <a:pt x="10040820" y="5239589"/>
                </a:cubicBezTo>
                <a:close/>
                <a:moveTo>
                  <a:pt x="9823176" y="5239589"/>
                </a:moveTo>
                <a:cubicBezTo>
                  <a:pt x="9817318" y="5239589"/>
                  <a:pt x="9814788" y="5241585"/>
                  <a:pt x="9813191" y="5243183"/>
                </a:cubicBezTo>
                <a:cubicBezTo>
                  <a:pt x="9810662" y="5245845"/>
                  <a:pt x="9809597" y="5248641"/>
                  <a:pt x="9809597" y="5252634"/>
                </a:cubicBezTo>
                <a:cubicBezTo>
                  <a:pt x="9809597" y="5256761"/>
                  <a:pt x="9810662" y="5259556"/>
                  <a:pt x="9813191" y="5262085"/>
                </a:cubicBezTo>
                <a:cubicBezTo>
                  <a:pt x="9814788" y="5263684"/>
                  <a:pt x="9817318" y="5265548"/>
                  <a:pt x="9823176" y="5265548"/>
                </a:cubicBezTo>
                <a:cubicBezTo>
                  <a:pt x="9825173" y="5265548"/>
                  <a:pt x="9827036" y="5265148"/>
                  <a:pt x="9828501" y="5264616"/>
                </a:cubicBezTo>
                <a:cubicBezTo>
                  <a:pt x="9830098" y="5264083"/>
                  <a:pt x="9831296" y="5263151"/>
                  <a:pt x="9832227" y="5262219"/>
                </a:cubicBezTo>
                <a:cubicBezTo>
                  <a:pt x="9833293" y="5261020"/>
                  <a:pt x="9834225" y="5259689"/>
                  <a:pt x="9834890" y="5257959"/>
                </a:cubicBezTo>
                <a:cubicBezTo>
                  <a:pt x="9835689" y="5256362"/>
                  <a:pt x="9835955" y="5254498"/>
                  <a:pt x="9835955" y="5252501"/>
                </a:cubicBezTo>
                <a:cubicBezTo>
                  <a:pt x="9835955" y="5250637"/>
                  <a:pt x="9835555" y="5248907"/>
                  <a:pt x="9834890" y="5247309"/>
                </a:cubicBezTo>
                <a:cubicBezTo>
                  <a:pt x="9834225" y="5245712"/>
                  <a:pt x="9833293" y="5244381"/>
                  <a:pt x="9832227" y="5243183"/>
                </a:cubicBezTo>
                <a:cubicBezTo>
                  <a:pt x="9831162" y="5242118"/>
                  <a:pt x="9829831" y="5241186"/>
                  <a:pt x="9828234" y="5240521"/>
                </a:cubicBezTo>
                <a:cubicBezTo>
                  <a:pt x="9826770" y="5239855"/>
                  <a:pt x="9825173" y="5239589"/>
                  <a:pt x="9823176" y="5239589"/>
                </a:cubicBezTo>
                <a:close/>
                <a:moveTo>
                  <a:pt x="9605531" y="5239589"/>
                </a:moveTo>
                <a:cubicBezTo>
                  <a:pt x="9599673" y="5239589"/>
                  <a:pt x="9597143" y="5241585"/>
                  <a:pt x="9595546" y="5243183"/>
                </a:cubicBezTo>
                <a:cubicBezTo>
                  <a:pt x="9593017" y="5245845"/>
                  <a:pt x="9591952" y="5248641"/>
                  <a:pt x="9591952" y="5252634"/>
                </a:cubicBezTo>
                <a:cubicBezTo>
                  <a:pt x="9591952" y="5256761"/>
                  <a:pt x="9593017" y="5259556"/>
                  <a:pt x="9595546" y="5262085"/>
                </a:cubicBezTo>
                <a:cubicBezTo>
                  <a:pt x="9597143" y="5263684"/>
                  <a:pt x="9599673" y="5265548"/>
                  <a:pt x="9605531" y="5265548"/>
                </a:cubicBezTo>
                <a:cubicBezTo>
                  <a:pt x="9607660" y="5265548"/>
                  <a:pt x="9609391" y="5265148"/>
                  <a:pt x="9610855" y="5264616"/>
                </a:cubicBezTo>
                <a:cubicBezTo>
                  <a:pt x="9612319" y="5264083"/>
                  <a:pt x="9613651" y="5263151"/>
                  <a:pt x="9614582" y="5262219"/>
                </a:cubicBezTo>
                <a:cubicBezTo>
                  <a:pt x="9615647" y="5261020"/>
                  <a:pt x="9616579" y="5259689"/>
                  <a:pt x="9617245" y="5257959"/>
                </a:cubicBezTo>
                <a:cubicBezTo>
                  <a:pt x="9618044" y="5256362"/>
                  <a:pt x="9618309" y="5254498"/>
                  <a:pt x="9618309" y="5252501"/>
                </a:cubicBezTo>
                <a:cubicBezTo>
                  <a:pt x="9618309" y="5250637"/>
                  <a:pt x="9617910" y="5248907"/>
                  <a:pt x="9617245" y="5247309"/>
                </a:cubicBezTo>
                <a:cubicBezTo>
                  <a:pt x="9616579" y="5245712"/>
                  <a:pt x="9615647" y="5244381"/>
                  <a:pt x="9614582" y="5243183"/>
                </a:cubicBezTo>
                <a:cubicBezTo>
                  <a:pt x="9613517" y="5242118"/>
                  <a:pt x="9612186" y="5241186"/>
                  <a:pt x="9610589" y="5240521"/>
                </a:cubicBezTo>
                <a:cubicBezTo>
                  <a:pt x="9609124" y="5239855"/>
                  <a:pt x="9607394" y="5239589"/>
                  <a:pt x="9605531" y="5239589"/>
                </a:cubicBezTo>
                <a:close/>
                <a:moveTo>
                  <a:pt x="9387885" y="5239589"/>
                </a:moveTo>
                <a:cubicBezTo>
                  <a:pt x="9382027" y="5239589"/>
                  <a:pt x="9379497" y="5241585"/>
                  <a:pt x="9377900" y="5243183"/>
                </a:cubicBezTo>
                <a:cubicBezTo>
                  <a:pt x="9375371" y="5245845"/>
                  <a:pt x="9374307" y="5248641"/>
                  <a:pt x="9374307" y="5252634"/>
                </a:cubicBezTo>
                <a:cubicBezTo>
                  <a:pt x="9374307" y="5256761"/>
                  <a:pt x="9375371" y="5259556"/>
                  <a:pt x="9377900" y="5262085"/>
                </a:cubicBezTo>
                <a:cubicBezTo>
                  <a:pt x="9379497" y="5263684"/>
                  <a:pt x="9382027" y="5265548"/>
                  <a:pt x="9387885" y="5265548"/>
                </a:cubicBezTo>
                <a:cubicBezTo>
                  <a:pt x="9390015" y="5265548"/>
                  <a:pt x="9391746" y="5265148"/>
                  <a:pt x="9393210" y="5264616"/>
                </a:cubicBezTo>
                <a:cubicBezTo>
                  <a:pt x="9394674" y="5264083"/>
                  <a:pt x="9396005" y="5263151"/>
                  <a:pt x="9396937" y="5262219"/>
                </a:cubicBezTo>
                <a:cubicBezTo>
                  <a:pt x="9398002" y="5261020"/>
                  <a:pt x="9398934" y="5259689"/>
                  <a:pt x="9399599" y="5257959"/>
                </a:cubicBezTo>
                <a:cubicBezTo>
                  <a:pt x="9400398" y="5256362"/>
                  <a:pt x="9400664" y="5254498"/>
                  <a:pt x="9400664" y="5252501"/>
                </a:cubicBezTo>
                <a:cubicBezTo>
                  <a:pt x="9400664" y="5250637"/>
                  <a:pt x="9400265" y="5248907"/>
                  <a:pt x="9399599" y="5247309"/>
                </a:cubicBezTo>
                <a:cubicBezTo>
                  <a:pt x="9398934" y="5245712"/>
                  <a:pt x="9398002" y="5244381"/>
                  <a:pt x="9396937" y="5243183"/>
                </a:cubicBezTo>
                <a:cubicBezTo>
                  <a:pt x="9395872" y="5242118"/>
                  <a:pt x="9394541" y="5241186"/>
                  <a:pt x="9392943" y="5240521"/>
                </a:cubicBezTo>
                <a:cubicBezTo>
                  <a:pt x="9391479" y="5239855"/>
                  <a:pt x="9389749" y="5239589"/>
                  <a:pt x="9387885" y="5239589"/>
                </a:cubicBezTo>
                <a:close/>
                <a:moveTo>
                  <a:pt x="9170374" y="5239589"/>
                </a:moveTo>
                <a:cubicBezTo>
                  <a:pt x="9164649" y="5239589"/>
                  <a:pt x="9161986" y="5241585"/>
                  <a:pt x="9160389" y="5243183"/>
                </a:cubicBezTo>
                <a:cubicBezTo>
                  <a:pt x="9157860" y="5245845"/>
                  <a:pt x="9156795" y="5248641"/>
                  <a:pt x="9156795" y="5252634"/>
                </a:cubicBezTo>
                <a:cubicBezTo>
                  <a:pt x="9156795" y="5256761"/>
                  <a:pt x="9157860" y="5259556"/>
                  <a:pt x="9160389" y="5262085"/>
                </a:cubicBezTo>
                <a:cubicBezTo>
                  <a:pt x="9161986" y="5263684"/>
                  <a:pt x="9164516" y="5265548"/>
                  <a:pt x="9170374" y="5265548"/>
                </a:cubicBezTo>
                <a:cubicBezTo>
                  <a:pt x="9172370" y="5265548"/>
                  <a:pt x="9174100" y="5265148"/>
                  <a:pt x="9175698" y="5264616"/>
                </a:cubicBezTo>
                <a:cubicBezTo>
                  <a:pt x="9177163" y="5264083"/>
                  <a:pt x="9178494" y="5263151"/>
                  <a:pt x="9179425" y="5262219"/>
                </a:cubicBezTo>
                <a:cubicBezTo>
                  <a:pt x="9180491" y="5261020"/>
                  <a:pt x="9181422" y="5259689"/>
                  <a:pt x="9182088" y="5257959"/>
                </a:cubicBezTo>
                <a:cubicBezTo>
                  <a:pt x="9182887" y="5256362"/>
                  <a:pt x="9183152" y="5254498"/>
                  <a:pt x="9183152" y="5252501"/>
                </a:cubicBezTo>
                <a:cubicBezTo>
                  <a:pt x="9183152" y="5250637"/>
                  <a:pt x="9182753" y="5248907"/>
                  <a:pt x="9182088" y="5247309"/>
                </a:cubicBezTo>
                <a:cubicBezTo>
                  <a:pt x="9181422" y="5245712"/>
                  <a:pt x="9180491" y="5244381"/>
                  <a:pt x="9179425" y="5243183"/>
                </a:cubicBezTo>
                <a:cubicBezTo>
                  <a:pt x="9178360" y="5242118"/>
                  <a:pt x="9177029" y="5241186"/>
                  <a:pt x="9175432" y="5240521"/>
                </a:cubicBezTo>
                <a:cubicBezTo>
                  <a:pt x="9173967" y="5239855"/>
                  <a:pt x="9172237" y="5239589"/>
                  <a:pt x="9170374" y="5239589"/>
                </a:cubicBezTo>
                <a:close/>
                <a:moveTo>
                  <a:pt x="8952728" y="5239589"/>
                </a:moveTo>
                <a:cubicBezTo>
                  <a:pt x="8947003" y="5239589"/>
                  <a:pt x="8944340" y="5241585"/>
                  <a:pt x="8942743" y="5243183"/>
                </a:cubicBezTo>
                <a:cubicBezTo>
                  <a:pt x="8940214" y="5245845"/>
                  <a:pt x="8939150" y="5248641"/>
                  <a:pt x="8939150" y="5252634"/>
                </a:cubicBezTo>
                <a:cubicBezTo>
                  <a:pt x="8939150" y="5256761"/>
                  <a:pt x="8940214" y="5259556"/>
                  <a:pt x="8942743" y="5262085"/>
                </a:cubicBezTo>
                <a:cubicBezTo>
                  <a:pt x="8944340" y="5263684"/>
                  <a:pt x="8946870" y="5265548"/>
                  <a:pt x="8952728" y="5265548"/>
                </a:cubicBezTo>
                <a:cubicBezTo>
                  <a:pt x="8954725" y="5265548"/>
                  <a:pt x="8956589" y="5265148"/>
                  <a:pt x="8958053" y="5264616"/>
                </a:cubicBezTo>
                <a:cubicBezTo>
                  <a:pt x="8959517" y="5264083"/>
                  <a:pt x="8960849" y="5263151"/>
                  <a:pt x="8961780" y="5262219"/>
                </a:cubicBezTo>
                <a:cubicBezTo>
                  <a:pt x="8962845" y="5261020"/>
                  <a:pt x="8963777" y="5259689"/>
                  <a:pt x="8964442" y="5257959"/>
                </a:cubicBezTo>
                <a:cubicBezTo>
                  <a:pt x="8965241" y="5256362"/>
                  <a:pt x="8965507" y="5254498"/>
                  <a:pt x="8965507" y="5252501"/>
                </a:cubicBezTo>
                <a:cubicBezTo>
                  <a:pt x="8965507" y="5250637"/>
                  <a:pt x="8965108" y="5248907"/>
                  <a:pt x="8964442" y="5247309"/>
                </a:cubicBezTo>
                <a:cubicBezTo>
                  <a:pt x="8963777" y="5245712"/>
                  <a:pt x="8962845" y="5244381"/>
                  <a:pt x="8961780" y="5243183"/>
                </a:cubicBezTo>
                <a:cubicBezTo>
                  <a:pt x="8960715" y="5242118"/>
                  <a:pt x="8959384" y="5241186"/>
                  <a:pt x="8957786" y="5240521"/>
                </a:cubicBezTo>
                <a:cubicBezTo>
                  <a:pt x="8956322" y="5239855"/>
                  <a:pt x="8954592" y="5239589"/>
                  <a:pt x="8952728" y="5239589"/>
                </a:cubicBezTo>
                <a:close/>
                <a:moveTo>
                  <a:pt x="8735083" y="5239589"/>
                </a:moveTo>
                <a:cubicBezTo>
                  <a:pt x="8729358" y="5239589"/>
                  <a:pt x="8726695" y="5241585"/>
                  <a:pt x="8725098" y="5243183"/>
                </a:cubicBezTo>
                <a:cubicBezTo>
                  <a:pt x="8722569" y="5245845"/>
                  <a:pt x="8721504" y="5248641"/>
                  <a:pt x="8721504" y="5252634"/>
                </a:cubicBezTo>
                <a:cubicBezTo>
                  <a:pt x="8721504" y="5256761"/>
                  <a:pt x="8722569" y="5259556"/>
                  <a:pt x="8725098" y="5262085"/>
                </a:cubicBezTo>
                <a:cubicBezTo>
                  <a:pt x="8726695" y="5263684"/>
                  <a:pt x="8729225" y="5265548"/>
                  <a:pt x="8735083" y="5265548"/>
                </a:cubicBezTo>
                <a:cubicBezTo>
                  <a:pt x="8737079" y="5265548"/>
                  <a:pt x="8738943" y="5265148"/>
                  <a:pt x="8740407" y="5264616"/>
                </a:cubicBezTo>
                <a:cubicBezTo>
                  <a:pt x="8741872" y="5264083"/>
                  <a:pt x="8743203" y="5263151"/>
                  <a:pt x="8744134" y="5262219"/>
                </a:cubicBezTo>
                <a:cubicBezTo>
                  <a:pt x="8745200" y="5261020"/>
                  <a:pt x="8746132" y="5259689"/>
                  <a:pt x="8746797" y="5257959"/>
                </a:cubicBezTo>
                <a:cubicBezTo>
                  <a:pt x="8747596" y="5256362"/>
                  <a:pt x="8747862" y="5254498"/>
                  <a:pt x="8747862" y="5252501"/>
                </a:cubicBezTo>
                <a:cubicBezTo>
                  <a:pt x="8747862" y="5250637"/>
                  <a:pt x="8747462" y="5248907"/>
                  <a:pt x="8746797" y="5247309"/>
                </a:cubicBezTo>
                <a:cubicBezTo>
                  <a:pt x="8746132" y="5245712"/>
                  <a:pt x="8745200" y="5244381"/>
                  <a:pt x="8744134" y="5243183"/>
                </a:cubicBezTo>
                <a:cubicBezTo>
                  <a:pt x="8743069" y="5242118"/>
                  <a:pt x="8741738" y="5241186"/>
                  <a:pt x="8740141" y="5240521"/>
                </a:cubicBezTo>
                <a:cubicBezTo>
                  <a:pt x="8738677" y="5239855"/>
                  <a:pt x="8736946" y="5239589"/>
                  <a:pt x="8735083" y="5239589"/>
                </a:cubicBezTo>
                <a:close/>
                <a:moveTo>
                  <a:pt x="8517438" y="5239589"/>
                </a:moveTo>
                <a:cubicBezTo>
                  <a:pt x="8511713" y="5239589"/>
                  <a:pt x="8509051" y="5241585"/>
                  <a:pt x="8507453" y="5243183"/>
                </a:cubicBezTo>
                <a:cubicBezTo>
                  <a:pt x="8504925" y="5245845"/>
                  <a:pt x="8503860" y="5248641"/>
                  <a:pt x="8503860" y="5252634"/>
                </a:cubicBezTo>
                <a:cubicBezTo>
                  <a:pt x="8503860" y="5256761"/>
                  <a:pt x="8504925" y="5259556"/>
                  <a:pt x="8507453" y="5262085"/>
                </a:cubicBezTo>
                <a:cubicBezTo>
                  <a:pt x="8509051" y="5263684"/>
                  <a:pt x="8511581" y="5265548"/>
                  <a:pt x="8517438" y="5265548"/>
                </a:cubicBezTo>
                <a:cubicBezTo>
                  <a:pt x="8519568" y="5265548"/>
                  <a:pt x="8521299" y="5265148"/>
                  <a:pt x="8522763" y="5264616"/>
                </a:cubicBezTo>
                <a:cubicBezTo>
                  <a:pt x="8524227" y="5264083"/>
                  <a:pt x="8525559" y="5263151"/>
                  <a:pt x="8526490" y="5262219"/>
                </a:cubicBezTo>
                <a:cubicBezTo>
                  <a:pt x="8527555" y="5261020"/>
                  <a:pt x="8528487" y="5259689"/>
                  <a:pt x="8529152" y="5257959"/>
                </a:cubicBezTo>
                <a:cubicBezTo>
                  <a:pt x="8529818" y="5256362"/>
                  <a:pt x="8530084" y="5254498"/>
                  <a:pt x="8530084" y="5252501"/>
                </a:cubicBezTo>
                <a:cubicBezTo>
                  <a:pt x="8530084" y="5250637"/>
                  <a:pt x="8529818" y="5248907"/>
                  <a:pt x="8529152" y="5247309"/>
                </a:cubicBezTo>
                <a:cubicBezTo>
                  <a:pt x="8528487" y="5245712"/>
                  <a:pt x="8527555" y="5244381"/>
                  <a:pt x="8526490" y="5243183"/>
                </a:cubicBezTo>
                <a:cubicBezTo>
                  <a:pt x="8525425" y="5242118"/>
                  <a:pt x="8524094" y="5241186"/>
                  <a:pt x="8522496" y="5240521"/>
                </a:cubicBezTo>
                <a:cubicBezTo>
                  <a:pt x="8521032" y="5239855"/>
                  <a:pt x="8519302" y="5239589"/>
                  <a:pt x="8517438" y="5239589"/>
                </a:cubicBezTo>
                <a:close/>
                <a:moveTo>
                  <a:pt x="8299793" y="5239589"/>
                </a:moveTo>
                <a:cubicBezTo>
                  <a:pt x="8294068" y="5239589"/>
                  <a:pt x="8291406" y="5241585"/>
                  <a:pt x="8289809" y="5243183"/>
                </a:cubicBezTo>
                <a:cubicBezTo>
                  <a:pt x="8287280" y="5245845"/>
                  <a:pt x="8286215" y="5248641"/>
                  <a:pt x="8286215" y="5252634"/>
                </a:cubicBezTo>
                <a:cubicBezTo>
                  <a:pt x="8286215" y="5256761"/>
                  <a:pt x="8287280" y="5259556"/>
                  <a:pt x="8289809" y="5262085"/>
                </a:cubicBezTo>
                <a:cubicBezTo>
                  <a:pt x="8291406" y="5263684"/>
                  <a:pt x="8293935" y="5265548"/>
                  <a:pt x="8299793" y="5265548"/>
                </a:cubicBezTo>
                <a:cubicBezTo>
                  <a:pt x="8301923" y="5265548"/>
                  <a:pt x="8303653" y="5265148"/>
                  <a:pt x="8305118" y="5264616"/>
                </a:cubicBezTo>
                <a:cubicBezTo>
                  <a:pt x="8306582" y="5264083"/>
                  <a:pt x="8307913" y="5263151"/>
                  <a:pt x="8308844" y="5262219"/>
                </a:cubicBezTo>
                <a:cubicBezTo>
                  <a:pt x="8309910" y="5261020"/>
                  <a:pt x="8310842" y="5259689"/>
                  <a:pt x="8311507" y="5257959"/>
                </a:cubicBezTo>
                <a:cubicBezTo>
                  <a:pt x="8312172" y="5256362"/>
                  <a:pt x="8312439" y="5254498"/>
                  <a:pt x="8312439" y="5252501"/>
                </a:cubicBezTo>
                <a:cubicBezTo>
                  <a:pt x="8312439" y="5250637"/>
                  <a:pt x="8312172" y="5248907"/>
                  <a:pt x="8311507" y="5247309"/>
                </a:cubicBezTo>
                <a:cubicBezTo>
                  <a:pt x="8310842" y="5245712"/>
                  <a:pt x="8309910" y="5244381"/>
                  <a:pt x="8308844" y="5243183"/>
                </a:cubicBezTo>
                <a:cubicBezTo>
                  <a:pt x="8307779" y="5242118"/>
                  <a:pt x="8306448" y="5241186"/>
                  <a:pt x="8304851" y="5240521"/>
                </a:cubicBezTo>
                <a:cubicBezTo>
                  <a:pt x="8303387" y="5239855"/>
                  <a:pt x="8301790" y="5239589"/>
                  <a:pt x="8299793" y="5239589"/>
                </a:cubicBezTo>
                <a:close/>
                <a:moveTo>
                  <a:pt x="8082281" y="5239589"/>
                </a:moveTo>
                <a:cubicBezTo>
                  <a:pt x="8076424" y="5239589"/>
                  <a:pt x="8073894" y="5241585"/>
                  <a:pt x="8072297" y="5243183"/>
                </a:cubicBezTo>
                <a:cubicBezTo>
                  <a:pt x="8069768" y="5245845"/>
                  <a:pt x="8068703" y="5248641"/>
                  <a:pt x="8068703" y="5252634"/>
                </a:cubicBezTo>
                <a:cubicBezTo>
                  <a:pt x="8068703" y="5256761"/>
                  <a:pt x="8069768" y="5259556"/>
                  <a:pt x="8072297" y="5262085"/>
                </a:cubicBezTo>
                <a:cubicBezTo>
                  <a:pt x="8073894" y="5263684"/>
                  <a:pt x="8076424" y="5265548"/>
                  <a:pt x="8082281" y="5265548"/>
                </a:cubicBezTo>
                <a:cubicBezTo>
                  <a:pt x="8084277" y="5265548"/>
                  <a:pt x="8086007" y="5265148"/>
                  <a:pt x="8087605" y="5264616"/>
                </a:cubicBezTo>
                <a:cubicBezTo>
                  <a:pt x="8089069" y="5264083"/>
                  <a:pt x="8090401" y="5263151"/>
                  <a:pt x="8091332" y="5262219"/>
                </a:cubicBezTo>
                <a:cubicBezTo>
                  <a:pt x="8092397" y="5261020"/>
                  <a:pt x="8093329" y="5259689"/>
                  <a:pt x="8093994" y="5257959"/>
                </a:cubicBezTo>
                <a:cubicBezTo>
                  <a:pt x="8094660" y="5256362"/>
                  <a:pt x="8094926" y="5254498"/>
                  <a:pt x="8094926" y="5252501"/>
                </a:cubicBezTo>
                <a:cubicBezTo>
                  <a:pt x="8094926" y="5250637"/>
                  <a:pt x="8094660" y="5248907"/>
                  <a:pt x="8093994" y="5247309"/>
                </a:cubicBezTo>
                <a:cubicBezTo>
                  <a:pt x="8093329" y="5245712"/>
                  <a:pt x="8092397" y="5244381"/>
                  <a:pt x="8091332" y="5243183"/>
                </a:cubicBezTo>
                <a:cubicBezTo>
                  <a:pt x="8090267" y="5242118"/>
                  <a:pt x="8088936" y="5241186"/>
                  <a:pt x="8087338" y="5240521"/>
                </a:cubicBezTo>
                <a:cubicBezTo>
                  <a:pt x="8085874" y="5239855"/>
                  <a:pt x="8084277" y="5239589"/>
                  <a:pt x="8082281" y="5239589"/>
                </a:cubicBezTo>
                <a:close/>
                <a:moveTo>
                  <a:pt x="7864636" y="5239589"/>
                </a:moveTo>
                <a:cubicBezTo>
                  <a:pt x="7858779" y="5239589"/>
                  <a:pt x="7856249" y="5241585"/>
                  <a:pt x="7854652" y="5243183"/>
                </a:cubicBezTo>
                <a:cubicBezTo>
                  <a:pt x="7852123" y="5245845"/>
                  <a:pt x="7851058" y="5248641"/>
                  <a:pt x="7851058" y="5252634"/>
                </a:cubicBezTo>
                <a:cubicBezTo>
                  <a:pt x="7851058" y="5256761"/>
                  <a:pt x="7852123" y="5259556"/>
                  <a:pt x="7854652" y="5262085"/>
                </a:cubicBezTo>
                <a:cubicBezTo>
                  <a:pt x="7856249" y="5263684"/>
                  <a:pt x="7858779" y="5265548"/>
                  <a:pt x="7864636" y="5265548"/>
                </a:cubicBezTo>
                <a:cubicBezTo>
                  <a:pt x="7866633" y="5265548"/>
                  <a:pt x="7868363" y="5265148"/>
                  <a:pt x="7869961" y="5264616"/>
                </a:cubicBezTo>
                <a:cubicBezTo>
                  <a:pt x="7871425" y="5264083"/>
                  <a:pt x="7872756" y="5263151"/>
                  <a:pt x="7873687" y="5262219"/>
                </a:cubicBezTo>
                <a:cubicBezTo>
                  <a:pt x="7874753" y="5261020"/>
                  <a:pt x="7875685" y="5259689"/>
                  <a:pt x="7876350" y="5257959"/>
                </a:cubicBezTo>
                <a:cubicBezTo>
                  <a:pt x="7877015" y="5256362"/>
                  <a:pt x="7877282" y="5254498"/>
                  <a:pt x="7877282" y="5252501"/>
                </a:cubicBezTo>
                <a:cubicBezTo>
                  <a:pt x="7877282" y="5250637"/>
                  <a:pt x="7877015" y="5248907"/>
                  <a:pt x="7876350" y="5247309"/>
                </a:cubicBezTo>
                <a:cubicBezTo>
                  <a:pt x="7875685" y="5245712"/>
                  <a:pt x="7874753" y="5244381"/>
                  <a:pt x="7873687" y="5243183"/>
                </a:cubicBezTo>
                <a:cubicBezTo>
                  <a:pt x="7872623" y="5242118"/>
                  <a:pt x="7871291" y="5241186"/>
                  <a:pt x="7869694" y="5240521"/>
                </a:cubicBezTo>
                <a:cubicBezTo>
                  <a:pt x="7868230" y="5239855"/>
                  <a:pt x="7866633" y="5239589"/>
                  <a:pt x="7864636" y="5239589"/>
                </a:cubicBezTo>
                <a:close/>
                <a:moveTo>
                  <a:pt x="7646991" y="5239589"/>
                </a:moveTo>
                <a:cubicBezTo>
                  <a:pt x="7641134" y="5239589"/>
                  <a:pt x="7638604" y="5241585"/>
                  <a:pt x="7637007" y="5243183"/>
                </a:cubicBezTo>
                <a:cubicBezTo>
                  <a:pt x="7634478" y="5245845"/>
                  <a:pt x="7633413" y="5248641"/>
                  <a:pt x="7633413" y="5252634"/>
                </a:cubicBezTo>
                <a:cubicBezTo>
                  <a:pt x="7633413" y="5256761"/>
                  <a:pt x="7634478" y="5259556"/>
                  <a:pt x="7637007" y="5262085"/>
                </a:cubicBezTo>
                <a:cubicBezTo>
                  <a:pt x="7638604" y="5263684"/>
                  <a:pt x="7641134" y="5265548"/>
                  <a:pt x="7646991" y="5265548"/>
                </a:cubicBezTo>
                <a:cubicBezTo>
                  <a:pt x="7648987" y="5265548"/>
                  <a:pt x="7650851" y="5265148"/>
                  <a:pt x="7652315" y="5264616"/>
                </a:cubicBezTo>
                <a:cubicBezTo>
                  <a:pt x="7653780" y="5264083"/>
                  <a:pt x="7655111" y="5263151"/>
                  <a:pt x="7656042" y="5262219"/>
                </a:cubicBezTo>
                <a:cubicBezTo>
                  <a:pt x="7657108" y="5261020"/>
                  <a:pt x="7658039" y="5259689"/>
                  <a:pt x="7658705" y="5257959"/>
                </a:cubicBezTo>
                <a:cubicBezTo>
                  <a:pt x="7659504" y="5256362"/>
                  <a:pt x="7659769" y="5254498"/>
                  <a:pt x="7659769" y="5252501"/>
                </a:cubicBezTo>
                <a:cubicBezTo>
                  <a:pt x="7659769" y="5250637"/>
                  <a:pt x="7659370" y="5248907"/>
                  <a:pt x="7658705" y="5247309"/>
                </a:cubicBezTo>
                <a:cubicBezTo>
                  <a:pt x="7658039" y="5245712"/>
                  <a:pt x="7657108" y="5244381"/>
                  <a:pt x="7656042" y="5243183"/>
                </a:cubicBezTo>
                <a:cubicBezTo>
                  <a:pt x="7654977" y="5242118"/>
                  <a:pt x="7653646" y="5241186"/>
                  <a:pt x="7652049" y="5240521"/>
                </a:cubicBezTo>
                <a:cubicBezTo>
                  <a:pt x="7650584" y="5239855"/>
                  <a:pt x="7648987" y="5239589"/>
                  <a:pt x="7646991" y="5239589"/>
                </a:cubicBezTo>
                <a:close/>
                <a:moveTo>
                  <a:pt x="7429345" y="5239589"/>
                </a:moveTo>
                <a:cubicBezTo>
                  <a:pt x="7423488" y="5239589"/>
                  <a:pt x="7420958" y="5241585"/>
                  <a:pt x="7419361" y="5243183"/>
                </a:cubicBezTo>
                <a:cubicBezTo>
                  <a:pt x="7416832" y="5245845"/>
                  <a:pt x="7415768" y="5248641"/>
                  <a:pt x="7415768" y="5252634"/>
                </a:cubicBezTo>
                <a:cubicBezTo>
                  <a:pt x="7415768" y="5256761"/>
                  <a:pt x="7416832" y="5259556"/>
                  <a:pt x="7419361" y="5262085"/>
                </a:cubicBezTo>
                <a:cubicBezTo>
                  <a:pt x="7420958" y="5263684"/>
                  <a:pt x="7423488" y="5265548"/>
                  <a:pt x="7429345" y="5265548"/>
                </a:cubicBezTo>
                <a:cubicBezTo>
                  <a:pt x="7431342" y="5265548"/>
                  <a:pt x="7433206" y="5265148"/>
                  <a:pt x="7434670" y="5264616"/>
                </a:cubicBezTo>
                <a:cubicBezTo>
                  <a:pt x="7436134" y="5264083"/>
                  <a:pt x="7437466" y="5263151"/>
                  <a:pt x="7438397" y="5262219"/>
                </a:cubicBezTo>
                <a:cubicBezTo>
                  <a:pt x="7439462" y="5261020"/>
                  <a:pt x="7440394" y="5259689"/>
                  <a:pt x="7441059" y="5257959"/>
                </a:cubicBezTo>
                <a:cubicBezTo>
                  <a:pt x="7441858" y="5256362"/>
                  <a:pt x="7442124" y="5254498"/>
                  <a:pt x="7442124" y="5252501"/>
                </a:cubicBezTo>
                <a:cubicBezTo>
                  <a:pt x="7442124" y="5250637"/>
                  <a:pt x="7441725" y="5248907"/>
                  <a:pt x="7441059" y="5247309"/>
                </a:cubicBezTo>
                <a:cubicBezTo>
                  <a:pt x="7440394" y="5245712"/>
                  <a:pt x="7439462" y="5244381"/>
                  <a:pt x="7438397" y="5243183"/>
                </a:cubicBezTo>
                <a:cubicBezTo>
                  <a:pt x="7437332" y="5242118"/>
                  <a:pt x="7436001" y="5241186"/>
                  <a:pt x="7434403" y="5240521"/>
                </a:cubicBezTo>
                <a:cubicBezTo>
                  <a:pt x="7432939" y="5239855"/>
                  <a:pt x="7431342" y="5239589"/>
                  <a:pt x="7429345" y="5239589"/>
                </a:cubicBezTo>
                <a:close/>
                <a:moveTo>
                  <a:pt x="7211701" y="5239589"/>
                </a:moveTo>
                <a:cubicBezTo>
                  <a:pt x="7205844" y="5239589"/>
                  <a:pt x="7203314" y="5241585"/>
                  <a:pt x="7201717" y="5243183"/>
                </a:cubicBezTo>
                <a:cubicBezTo>
                  <a:pt x="7199188" y="5245845"/>
                  <a:pt x="7198123" y="5248641"/>
                  <a:pt x="7198123" y="5252634"/>
                </a:cubicBezTo>
                <a:cubicBezTo>
                  <a:pt x="7198123" y="5256761"/>
                  <a:pt x="7199188" y="5259556"/>
                  <a:pt x="7201717" y="5262085"/>
                </a:cubicBezTo>
                <a:cubicBezTo>
                  <a:pt x="7203314" y="5263684"/>
                  <a:pt x="7205844" y="5265548"/>
                  <a:pt x="7211701" y="5265548"/>
                </a:cubicBezTo>
                <a:cubicBezTo>
                  <a:pt x="7213830" y="5265548"/>
                  <a:pt x="7215561" y="5265148"/>
                  <a:pt x="7217026" y="5264616"/>
                </a:cubicBezTo>
                <a:cubicBezTo>
                  <a:pt x="7218490" y="5264083"/>
                  <a:pt x="7219821" y="5263151"/>
                  <a:pt x="7220752" y="5262219"/>
                </a:cubicBezTo>
                <a:cubicBezTo>
                  <a:pt x="7221818" y="5261020"/>
                  <a:pt x="7222750" y="5259689"/>
                  <a:pt x="7223415" y="5257959"/>
                </a:cubicBezTo>
                <a:cubicBezTo>
                  <a:pt x="7224214" y="5256362"/>
                  <a:pt x="7224480" y="5254498"/>
                  <a:pt x="7224480" y="5252501"/>
                </a:cubicBezTo>
                <a:cubicBezTo>
                  <a:pt x="7224480" y="5250637"/>
                  <a:pt x="7224080" y="5248907"/>
                  <a:pt x="7223415" y="5247309"/>
                </a:cubicBezTo>
                <a:cubicBezTo>
                  <a:pt x="7222750" y="5245712"/>
                  <a:pt x="7221818" y="5244381"/>
                  <a:pt x="7220752" y="5243183"/>
                </a:cubicBezTo>
                <a:cubicBezTo>
                  <a:pt x="7219687" y="5242118"/>
                  <a:pt x="7218356" y="5241186"/>
                  <a:pt x="7216759" y="5240521"/>
                </a:cubicBezTo>
                <a:cubicBezTo>
                  <a:pt x="7215295" y="5239855"/>
                  <a:pt x="7213698" y="5239589"/>
                  <a:pt x="7211701" y="5239589"/>
                </a:cubicBezTo>
                <a:close/>
                <a:moveTo>
                  <a:pt x="6994056" y="5239589"/>
                </a:moveTo>
                <a:cubicBezTo>
                  <a:pt x="6988199" y="5239589"/>
                  <a:pt x="6985669" y="5241585"/>
                  <a:pt x="6984072" y="5243183"/>
                </a:cubicBezTo>
                <a:cubicBezTo>
                  <a:pt x="6981543" y="5245845"/>
                  <a:pt x="6980478" y="5248641"/>
                  <a:pt x="6980478" y="5252634"/>
                </a:cubicBezTo>
                <a:cubicBezTo>
                  <a:pt x="6980478" y="5256761"/>
                  <a:pt x="6981543" y="5259556"/>
                  <a:pt x="6984072" y="5262085"/>
                </a:cubicBezTo>
                <a:cubicBezTo>
                  <a:pt x="6985669" y="5263684"/>
                  <a:pt x="6988199" y="5265548"/>
                  <a:pt x="6994056" y="5265548"/>
                </a:cubicBezTo>
                <a:cubicBezTo>
                  <a:pt x="6996185" y="5265548"/>
                  <a:pt x="6997916" y="5265148"/>
                  <a:pt x="6999380" y="5264616"/>
                </a:cubicBezTo>
                <a:cubicBezTo>
                  <a:pt x="7000844" y="5264083"/>
                  <a:pt x="7002176" y="5263151"/>
                  <a:pt x="7003107" y="5262219"/>
                </a:cubicBezTo>
                <a:cubicBezTo>
                  <a:pt x="7004172" y="5261020"/>
                  <a:pt x="7005104" y="5259689"/>
                  <a:pt x="7005769" y="5257959"/>
                </a:cubicBezTo>
                <a:cubicBezTo>
                  <a:pt x="7006568" y="5256362"/>
                  <a:pt x="7006834" y="5254498"/>
                  <a:pt x="7006834" y="5252501"/>
                </a:cubicBezTo>
                <a:cubicBezTo>
                  <a:pt x="7006834" y="5250637"/>
                  <a:pt x="7006435" y="5248907"/>
                  <a:pt x="7005769" y="5247309"/>
                </a:cubicBezTo>
                <a:cubicBezTo>
                  <a:pt x="7005104" y="5245712"/>
                  <a:pt x="7004172" y="5244381"/>
                  <a:pt x="7003107" y="5243183"/>
                </a:cubicBezTo>
                <a:cubicBezTo>
                  <a:pt x="7002042" y="5242118"/>
                  <a:pt x="7000711" y="5241186"/>
                  <a:pt x="6999113" y="5240521"/>
                </a:cubicBezTo>
                <a:cubicBezTo>
                  <a:pt x="6997649" y="5239855"/>
                  <a:pt x="6996052" y="5239589"/>
                  <a:pt x="6994056" y="5239589"/>
                </a:cubicBezTo>
                <a:close/>
                <a:moveTo>
                  <a:pt x="6776544" y="5239589"/>
                </a:moveTo>
                <a:cubicBezTo>
                  <a:pt x="6770687" y="5239589"/>
                  <a:pt x="6768157" y="5241585"/>
                  <a:pt x="6766560" y="5243183"/>
                </a:cubicBezTo>
                <a:cubicBezTo>
                  <a:pt x="6764031" y="5245845"/>
                  <a:pt x="6762966" y="5248641"/>
                  <a:pt x="6762966" y="5252634"/>
                </a:cubicBezTo>
                <a:cubicBezTo>
                  <a:pt x="6762966" y="5256761"/>
                  <a:pt x="6764031" y="5259556"/>
                  <a:pt x="6766560" y="5262085"/>
                </a:cubicBezTo>
                <a:cubicBezTo>
                  <a:pt x="6768157" y="5263684"/>
                  <a:pt x="6770687" y="5265548"/>
                  <a:pt x="6776544" y="5265548"/>
                </a:cubicBezTo>
                <a:cubicBezTo>
                  <a:pt x="6778541" y="5265548"/>
                  <a:pt x="6780270" y="5265148"/>
                  <a:pt x="6781869" y="5264616"/>
                </a:cubicBezTo>
                <a:cubicBezTo>
                  <a:pt x="6783333" y="5264083"/>
                  <a:pt x="6784664" y="5263151"/>
                  <a:pt x="6785595" y="5262219"/>
                </a:cubicBezTo>
                <a:cubicBezTo>
                  <a:pt x="6786661" y="5261020"/>
                  <a:pt x="6787593" y="5259689"/>
                  <a:pt x="6788258" y="5257959"/>
                </a:cubicBezTo>
                <a:cubicBezTo>
                  <a:pt x="6789057" y="5256362"/>
                  <a:pt x="6789323" y="5254498"/>
                  <a:pt x="6789323" y="5252501"/>
                </a:cubicBezTo>
                <a:cubicBezTo>
                  <a:pt x="6789323" y="5250637"/>
                  <a:pt x="6788923" y="5248907"/>
                  <a:pt x="6788258" y="5247309"/>
                </a:cubicBezTo>
                <a:cubicBezTo>
                  <a:pt x="6787593" y="5245712"/>
                  <a:pt x="6786661" y="5244381"/>
                  <a:pt x="6785595" y="5243183"/>
                </a:cubicBezTo>
                <a:cubicBezTo>
                  <a:pt x="6784530" y="5242118"/>
                  <a:pt x="6783199" y="5241186"/>
                  <a:pt x="6781602" y="5240521"/>
                </a:cubicBezTo>
                <a:cubicBezTo>
                  <a:pt x="6780138" y="5239855"/>
                  <a:pt x="6778541" y="5239589"/>
                  <a:pt x="6776544" y="5239589"/>
                </a:cubicBezTo>
                <a:close/>
                <a:moveTo>
                  <a:pt x="6558899" y="5239589"/>
                </a:moveTo>
                <a:cubicBezTo>
                  <a:pt x="6553042" y="5239589"/>
                  <a:pt x="6550512" y="5241585"/>
                  <a:pt x="6548915" y="5243183"/>
                </a:cubicBezTo>
                <a:cubicBezTo>
                  <a:pt x="6546386" y="5245845"/>
                  <a:pt x="6545321" y="5248641"/>
                  <a:pt x="6545321" y="5252634"/>
                </a:cubicBezTo>
                <a:cubicBezTo>
                  <a:pt x="6545321" y="5256761"/>
                  <a:pt x="6546386" y="5259556"/>
                  <a:pt x="6548915" y="5262085"/>
                </a:cubicBezTo>
                <a:cubicBezTo>
                  <a:pt x="6550512" y="5263684"/>
                  <a:pt x="6553042" y="5265548"/>
                  <a:pt x="6558899" y="5265548"/>
                </a:cubicBezTo>
                <a:cubicBezTo>
                  <a:pt x="6560895" y="5265548"/>
                  <a:pt x="6562759" y="5265148"/>
                  <a:pt x="6564223" y="5264616"/>
                </a:cubicBezTo>
                <a:cubicBezTo>
                  <a:pt x="6565687" y="5264083"/>
                  <a:pt x="6567019" y="5263151"/>
                  <a:pt x="6567950" y="5262219"/>
                </a:cubicBezTo>
                <a:cubicBezTo>
                  <a:pt x="6569015" y="5261020"/>
                  <a:pt x="6569947" y="5259689"/>
                  <a:pt x="6570612" y="5257959"/>
                </a:cubicBezTo>
                <a:cubicBezTo>
                  <a:pt x="6571412" y="5256362"/>
                  <a:pt x="6571677" y="5254498"/>
                  <a:pt x="6571677" y="5252501"/>
                </a:cubicBezTo>
                <a:cubicBezTo>
                  <a:pt x="6571677" y="5250637"/>
                  <a:pt x="6571278" y="5248907"/>
                  <a:pt x="6570612" y="5247309"/>
                </a:cubicBezTo>
                <a:cubicBezTo>
                  <a:pt x="6569947" y="5245712"/>
                  <a:pt x="6569015" y="5244381"/>
                  <a:pt x="6567950" y="5243183"/>
                </a:cubicBezTo>
                <a:cubicBezTo>
                  <a:pt x="6566885" y="5242118"/>
                  <a:pt x="6565554" y="5241186"/>
                  <a:pt x="6563956" y="5240521"/>
                </a:cubicBezTo>
                <a:cubicBezTo>
                  <a:pt x="6562492" y="5239855"/>
                  <a:pt x="6560895" y="5239589"/>
                  <a:pt x="6558899" y="5239589"/>
                </a:cubicBezTo>
                <a:close/>
                <a:moveTo>
                  <a:pt x="6341253" y="5239589"/>
                </a:moveTo>
                <a:cubicBezTo>
                  <a:pt x="6335396" y="5239589"/>
                  <a:pt x="6332867" y="5241585"/>
                  <a:pt x="6331270" y="5243183"/>
                </a:cubicBezTo>
                <a:cubicBezTo>
                  <a:pt x="6328740" y="5245845"/>
                  <a:pt x="6327675" y="5248641"/>
                  <a:pt x="6327675" y="5252634"/>
                </a:cubicBezTo>
                <a:cubicBezTo>
                  <a:pt x="6327675" y="5256761"/>
                  <a:pt x="6328740" y="5259556"/>
                  <a:pt x="6331270" y="5262085"/>
                </a:cubicBezTo>
                <a:cubicBezTo>
                  <a:pt x="6332867" y="5263684"/>
                  <a:pt x="6335396" y="5265548"/>
                  <a:pt x="6341253" y="5265548"/>
                </a:cubicBezTo>
                <a:cubicBezTo>
                  <a:pt x="6343250" y="5265548"/>
                  <a:pt x="6345114" y="5265148"/>
                  <a:pt x="6346578" y="5264616"/>
                </a:cubicBezTo>
                <a:cubicBezTo>
                  <a:pt x="6348042" y="5264083"/>
                  <a:pt x="6349373" y="5263151"/>
                  <a:pt x="6350305" y="5262219"/>
                </a:cubicBezTo>
                <a:cubicBezTo>
                  <a:pt x="6351370" y="5261020"/>
                  <a:pt x="6352302" y="5259689"/>
                  <a:pt x="6352968" y="5257959"/>
                </a:cubicBezTo>
                <a:cubicBezTo>
                  <a:pt x="6353766" y="5256362"/>
                  <a:pt x="6354033" y="5254498"/>
                  <a:pt x="6354033" y="5252501"/>
                </a:cubicBezTo>
                <a:cubicBezTo>
                  <a:pt x="6354033" y="5250637"/>
                  <a:pt x="6353633" y="5248907"/>
                  <a:pt x="6352968" y="5247309"/>
                </a:cubicBezTo>
                <a:cubicBezTo>
                  <a:pt x="6352302" y="5245712"/>
                  <a:pt x="6351370" y="5244381"/>
                  <a:pt x="6350305" y="5243183"/>
                </a:cubicBezTo>
                <a:cubicBezTo>
                  <a:pt x="6349241" y="5242118"/>
                  <a:pt x="6347909" y="5241186"/>
                  <a:pt x="6346312" y="5240521"/>
                </a:cubicBezTo>
                <a:cubicBezTo>
                  <a:pt x="6344848" y="5239855"/>
                  <a:pt x="6343250" y="5239589"/>
                  <a:pt x="6341253" y="5239589"/>
                </a:cubicBezTo>
                <a:close/>
                <a:moveTo>
                  <a:pt x="6123608" y="5239589"/>
                </a:moveTo>
                <a:cubicBezTo>
                  <a:pt x="6117751" y="5239589"/>
                  <a:pt x="6115221" y="5241585"/>
                  <a:pt x="6113624" y="5243183"/>
                </a:cubicBezTo>
                <a:cubicBezTo>
                  <a:pt x="6111095" y="5245845"/>
                  <a:pt x="6110030" y="5248641"/>
                  <a:pt x="6110030" y="5252634"/>
                </a:cubicBezTo>
                <a:cubicBezTo>
                  <a:pt x="6110030" y="5256761"/>
                  <a:pt x="6111095" y="5259556"/>
                  <a:pt x="6113624" y="5262085"/>
                </a:cubicBezTo>
                <a:cubicBezTo>
                  <a:pt x="6115221" y="5263684"/>
                  <a:pt x="6117751" y="5265548"/>
                  <a:pt x="6123608" y="5265548"/>
                </a:cubicBezTo>
                <a:cubicBezTo>
                  <a:pt x="6125737" y="5265548"/>
                  <a:pt x="6127468" y="5265148"/>
                  <a:pt x="6128932" y="5264616"/>
                </a:cubicBezTo>
                <a:cubicBezTo>
                  <a:pt x="6130530" y="5264083"/>
                  <a:pt x="6131728" y="5263151"/>
                  <a:pt x="6132659" y="5262219"/>
                </a:cubicBezTo>
                <a:cubicBezTo>
                  <a:pt x="6133724" y="5261020"/>
                  <a:pt x="6134656" y="5259689"/>
                  <a:pt x="6135322" y="5257959"/>
                </a:cubicBezTo>
                <a:cubicBezTo>
                  <a:pt x="6135987" y="5256362"/>
                  <a:pt x="6136387" y="5254498"/>
                  <a:pt x="6136387" y="5252501"/>
                </a:cubicBezTo>
                <a:cubicBezTo>
                  <a:pt x="6136387" y="5250637"/>
                  <a:pt x="6135987" y="5248907"/>
                  <a:pt x="6135322" y="5247309"/>
                </a:cubicBezTo>
                <a:cubicBezTo>
                  <a:pt x="6134656" y="5245712"/>
                  <a:pt x="6133724" y="5244381"/>
                  <a:pt x="6132659" y="5243183"/>
                </a:cubicBezTo>
                <a:cubicBezTo>
                  <a:pt x="6131594" y="5242118"/>
                  <a:pt x="6130263" y="5241186"/>
                  <a:pt x="6128666" y="5240521"/>
                </a:cubicBezTo>
                <a:cubicBezTo>
                  <a:pt x="6127202" y="5239855"/>
                  <a:pt x="6125604" y="5239589"/>
                  <a:pt x="6123608" y="5239589"/>
                </a:cubicBezTo>
                <a:close/>
                <a:moveTo>
                  <a:pt x="5905963" y="5239589"/>
                </a:moveTo>
                <a:cubicBezTo>
                  <a:pt x="5900106" y="5239589"/>
                  <a:pt x="5897576" y="5241585"/>
                  <a:pt x="5895979" y="5243183"/>
                </a:cubicBezTo>
                <a:cubicBezTo>
                  <a:pt x="5893450" y="5245845"/>
                  <a:pt x="5892385" y="5248641"/>
                  <a:pt x="5892385" y="5252634"/>
                </a:cubicBezTo>
                <a:cubicBezTo>
                  <a:pt x="5892385" y="5256761"/>
                  <a:pt x="5893450" y="5259556"/>
                  <a:pt x="5895979" y="5262085"/>
                </a:cubicBezTo>
                <a:cubicBezTo>
                  <a:pt x="5897576" y="5263684"/>
                  <a:pt x="5900106" y="5265548"/>
                  <a:pt x="5905963" y="5265548"/>
                </a:cubicBezTo>
                <a:cubicBezTo>
                  <a:pt x="5908093" y="5265548"/>
                  <a:pt x="5909823" y="5265148"/>
                  <a:pt x="5911287" y="5264616"/>
                </a:cubicBezTo>
                <a:cubicBezTo>
                  <a:pt x="5912751" y="5264083"/>
                  <a:pt x="5914083" y="5263151"/>
                  <a:pt x="5915014" y="5262219"/>
                </a:cubicBezTo>
                <a:cubicBezTo>
                  <a:pt x="5916079" y="5261020"/>
                  <a:pt x="5917011" y="5259689"/>
                  <a:pt x="5917677" y="5257959"/>
                </a:cubicBezTo>
                <a:cubicBezTo>
                  <a:pt x="5918342" y="5256362"/>
                  <a:pt x="5918742" y="5254498"/>
                  <a:pt x="5918742" y="5252501"/>
                </a:cubicBezTo>
                <a:cubicBezTo>
                  <a:pt x="5918742" y="5250637"/>
                  <a:pt x="5918342" y="5248907"/>
                  <a:pt x="5917677" y="5247309"/>
                </a:cubicBezTo>
                <a:cubicBezTo>
                  <a:pt x="5917011" y="5245712"/>
                  <a:pt x="5916079" y="5244381"/>
                  <a:pt x="5915014" y="5243183"/>
                </a:cubicBezTo>
                <a:cubicBezTo>
                  <a:pt x="5913950" y="5242118"/>
                  <a:pt x="5912618" y="5241186"/>
                  <a:pt x="5911021" y="5240521"/>
                </a:cubicBezTo>
                <a:cubicBezTo>
                  <a:pt x="5909557" y="5239855"/>
                  <a:pt x="5907826" y="5239589"/>
                  <a:pt x="5905963" y="5239589"/>
                </a:cubicBezTo>
                <a:close/>
                <a:moveTo>
                  <a:pt x="5688451" y="5239589"/>
                </a:moveTo>
                <a:cubicBezTo>
                  <a:pt x="5682594" y="5239589"/>
                  <a:pt x="5680064" y="5241585"/>
                  <a:pt x="5678467" y="5243183"/>
                </a:cubicBezTo>
                <a:cubicBezTo>
                  <a:pt x="5675938" y="5245845"/>
                  <a:pt x="5674873" y="5248641"/>
                  <a:pt x="5674873" y="5252634"/>
                </a:cubicBezTo>
                <a:cubicBezTo>
                  <a:pt x="5674873" y="5256761"/>
                  <a:pt x="5675938" y="5259556"/>
                  <a:pt x="5678467" y="5262085"/>
                </a:cubicBezTo>
                <a:cubicBezTo>
                  <a:pt x="5680064" y="5263684"/>
                  <a:pt x="5682594" y="5265548"/>
                  <a:pt x="5688451" y="5265548"/>
                </a:cubicBezTo>
                <a:cubicBezTo>
                  <a:pt x="5690447" y="5265548"/>
                  <a:pt x="5692178" y="5265148"/>
                  <a:pt x="5693775" y="5264616"/>
                </a:cubicBezTo>
                <a:cubicBezTo>
                  <a:pt x="5695239" y="5264083"/>
                  <a:pt x="5696571" y="5263151"/>
                  <a:pt x="5697502" y="5262219"/>
                </a:cubicBezTo>
                <a:cubicBezTo>
                  <a:pt x="5698567" y="5261020"/>
                  <a:pt x="5699499" y="5259689"/>
                  <a:pt x="5700165" y="5257959"/>
                </a:cubicBezTo>
                <a:cubicBezTo>
                  <a:pt x="5700830" y="5256362"/>
                  <a:pt x="5701230" y="5254498"/>
                  <a:pt x="5701230" y="5252501"/>
                </a:cubicBezTo>
                <a:cubicBezTo>
                  <a:pt x="5701230" y="5250637"/>
                  <a:pt x="5700830" y="5248907"/>
                  <a:pt x="5700165" y="5247309"/>
                </a:cubicBezTo>
                <a:cubicBezTo>
                  <a:pt x="5699499" y="5245712"/>
                  <a:pt x="5698567" y="5244381"/>
                  <a:pt x="5697502" y="5243183"/>
                </a:cubicBezTo>
                <a:cubicBezTo>
                  <a:pt x="5696437" y="5242118"/>
                  <a:pt x="5695106" y="5241186"/>
                  <a:pt x="5693509" y="5240521"/>
                </a:cubicBezTo>
                <a:cubicBezTo>
                  <a:pt x="5692045" y="5239855"/>
                  <a:pt x="5690314" y="5239589"/>
                  <a:pt x="5688451" y="5239589"/>
                </a:cubicBezTo>
                <a:close/>
                <a:moveTo>
                  <a:pt x="5470806" y="5239589"/>
                </a:moveTo>
                <a:cubicBezTo>
                  <a:pt x="5464949" y="5239589"/>
                  <a:pt x="5462419" y="5241585"/>
                  <a:pt x="5460822" y="5243183"/>
                </a:cubicBezTo>
                <a:cubicBezTo>
                  <a:pt x="5458293" y="5245845"/>
                  <a:pt x="5457228" y="5248641"/>
                  <a:pt x="5457228" y="5252634"/>
                </a:cubicBezTo>
                <a:cubicBezTo>
                  <a:pt x="5457228" y="5256761"/>
                  <a:pt x="5458293" y="5259556"/>
                  <a:pt x="5460822" y="5262085"/>
                </a:cubicBezTo>
                <a:cubicBezTo>
                  <a:pt x="5462419" y="5263684"/>
                  <a:pt x="5464949" y="5265548"/>
                  <a:pt x="5470806" y="5265548"/>
                </a:cubicBezTo>
                <a:cubicBezTo>
                  <a:pt x="5472802" y="5265548"/>
                  <a:pt x="5474666" y="5265148"/>
                  <a:pt x="5476130" y="5264616"/>
                </a:cubicBezTo>
                <a:cubicBezTo>
                  <a:pt x="5477594" y="5264083"/>
                  <a:pt x="5478926" y="5263151"/>
                  <a:pt x="5479857" y="5262219"/>
                </a:cubicBezTo>
                <a:cubicBezTo>
                  <a:pt x="5480922" y="5261020"/>
                  <a:pt x="5481854" y="5259689"/>
                  <a:pt x="5482520" y="5257959"/>
                </a:cubicBezTo>
                <a:cubicBezTo>
                  <a:pt x="5483319" y="5256362"/>
                  <a:pt x="5483585" y="5254498"/>
                  <a:pt x="5483585" y="5252501"/>
                </a:cubicBezTo>
                <a:cubicBezTo>
                  <a:pt x="5483585" y="5250637"/>
                  <a:pt x="5483185" y="5248907"/>
                  <a:pt x="5482520" y="5247309"/>
                </a:cubicBezTo>
                <a:cubicBezTo>
                  <a:pt x="5481854" y="5245712"/>
                  <a:pt x="5480922" y="5244381"/>
                  <a:pt x="5479857" y="5243183"/>
                </a:cubicBezTo>
                <a:cubicBezTo>
                  <a:pt x="5478793" y="5242118"/>
                  <a:pt x="5477461" y="5241186"/>
                  <a:pt x="5475864" y="5240521"/>
                </a:cubicBezTo>
                <a:cubicBezTo>
                  <a:pt x="5474400" y="5239855"/>
                  <a:pt x="5472669" y="5239589"/>
                  <a:pt x="5470806" y="5239589"/>
                </a:cubicBezTo>
                <a:close/>
                <a:moveTo>
                  <a:pt x="5253160" y="5239589"/>
                </a:moveTo>
                <a:cubicBezTo>
                  <a:pt x="5247303" y="5239589"/>
                  <a:pt x="5244774" y="5241585"/>
                  <a:pt x="5243177" y="5243183"/>
                </a:cubicBezTo>
                <a:cubicBezTo>
                  <a:pt x="5240647" y="5245845"/>
                  <a:pt x="5239583" y="5248641"/>
                  <a:pt x="5239583" y="5252634"/>
                </a:cubicBezTo>
                <a:cubicBezTo>
                  <a:pt x="5239583" y="5256761"/>
                  <a:pt x="5240647" y="5259556"/>
                  <a:pt x="5243177" y="5262085"/>
                </a:cubicBezTo>
                <a:cubicBezTo>
                  <a:pt x="5244774" y="5263684"/>
                  <a:pt x="5247303" y="5265548"/>
                  <a:pt x="5253160" y="5265548"/>
                </a:cubicBezTo>
                <a:cubicBezTo>
                  <a:pt x="5255157" y="5265548"/>
                  <a:pt x="5257021" y="5265148"/>
                  <a:pt x="5258485" y="5264616"/>
                </a:cubicBezTo>
                <a:cubicBezTo>
                  <a:pt x="5259949" y="5264083"/>
                  <a:pt x="5261280" y="5263151"/>
                  <a:pt x="5262212" y="5262219"/>
                </a:cubicBezTo>
                <a:cubicBezTo>
                  <a:pt x="5263277" y="5261020"/>
                  <a:pt x="5264209" y="5259689"/>
                  <a:pt x="5264875" y="5257959"/>
                </a:cubicBezTo>
                <a:cubicBezTo>
                  <a:pt x="5265673" y="5256362"/>
                  <a:pt x="5265939" y="5254498"/>
                  <a:pt x="5265939" y="5252501"/>
                </a:cubicBezTo>
                <a:cubicBezTo>
                  <a:pt x="5265939" y="5250637"/>
                  <a:pt x="5265540" y="5248907"/>
                  <a:pt x="5264875" y="5247309"/>
                </a:cubicBezTo>
                <a:cubicBezTo>
                  <a:pt x="5264209" y="5245712"/>
                  <a:pt x="5263277" y="5244381"/>
                  <a:pt x="5262212" y="5243183"/>
                </a:cubicBezTo>
                <a:cubicBezTo>
                  <a:pt x="5261147" y="5242118"/>
                  <a:pt x="5259816" y="5241186"/>
                  <a:pt x="5258219" y="5240521"/>
                </a:cubicBezTo>
                <a:cubicBezTo>
                  <a:pt x="5256754" y="5239855"/>
                  <a:pt x="5255024" y="5239589"/>
                  <a:pt x="5253160" y="5239589"/>
                </a:cubicBezTo>
                <a:close/>
                <a:moveTo>
                  <a:pt x="5035515" y="5239589"/>
                </a:moveTo>
                <a:cubicBezTo>
                  <a:pt x="5029658" y="5239589"/>
                  <a:pt x="5027129" y="5241585"/>
                  <a:pt x="5025532" y="5243183"/>
                </a:cubicBezTo>
                <a:cubicBezTo>
                  <a:pt x="5023002" y="5245845"/>
                  <a:pt x="5021938" y="5248641"/>
                  <a:pt x="5021938" y="5252634"/>
                </a:cubicBezTo>
                <a:cubicBezTo>
                  <a:pt x="5021938" y="5256761"/>
                  <a:pt x="5023002" y="5259556"/>
                  <a:pt x="5025532" y="5262085"/>
                </a:cubicBezTo>
                <a:cubicBezTo>
                  <a:pt x="5027129" y="5263684"/>
                  <a:pt x="5029658" y="5265548"/>
                  <a:pt x="5035515" y="5265548"/>
                </a:cubicBezTo>
                <a:cubicBezTo>
                  <a:pt x="5037645" y="5265548"/>
                  <a:pt x="5039376" y="5265148"/>
                  <a:pt x="5040840" y="5264616"/>
                </a:cubicBezTo>
                <a:cubicBezTo>
                  <a:pt x="5042304" y="5264083"/>
                  <a:pt x="5043636" y="5263151"/>
                  <a:pt x="5044567" y="5262219"/>
                </a:cubicBezTo>
                <a:cubicBezTo>
                  <a:pt x="5045632" y="5261020"/>
                  <a:pt x="5046564" y="5259689"/>
                  <a:pt x="5047230" y="5257959"/>
                </a:cubicBezTo>
                <a:cubicBezTo>
                  <a:pt x="5048028" y="5256362"/>
                  <a:pt x="5048294" y="5254498"/>
                  <a:pt x="5048294" y="5252501"/>
                </a:cubicBezTo>
                <a:cubicBezTo>
                  <a:pt x="5048294" y="5250637"/>
                  <a:pt x="5047895" y="5248907"/>
                  <a:pt x="5047230" y="5247309"/>
                </a:cubicBezTo>
                <a:cubicBezTo>
                  <a:pt x="5046564" y="5245712"/>
                  <a:pt x="5045632" y="5244381"/>
                  <a:pt x="5044567" y="5243183"/>
                </a:cubicBezTo>
                <a:cubicBezTo>
                  <a:pt x="5043502" y="5242118"/>
                  <a:pt x="5042171" y="5241186"/>
                  <a:pt x="5040574" y="5240521"/>
                </a:cubicBezTo>
                <a:cubicBezTo>
                  <a:pt x="5039110" y="5239855"/>
                  <a:pt x="5037379" y="5239589"/>
                  <a:pt x="5035515" y="5239589"/>
                </a:cubicBezTo>
                <a:close/>
                <a:moveTo>
                  <a:pt x="4817870" y="5239589"/>
                </a:moveTo>
                <a:cubicBezTo>
                  <a:pt x="4812013" y="5239589"/>
                  <a:pt x="4809484" y="5241585"/>
                  <a:pt x="4807887" y="5243183"/>
                </a:cubicBezTo>
                <a:cubicBezTo>
                  <a:pt x="4805357" y="5245845"/>
                  <a:pt x="4804293" y="5248641"/>
                  <a:pt x="4804293" y="5252634"/>
                </a:cubicBezTo>
                <a:cubicBezTo>
                  <a:pt x="4804293" y="5256761"/>
                  <a:pt x="4805357" y="5259556"/>
                  <a:pt x="4807887" y="5262085"/>
                </a:cubicBezTo>
                <a:cubicBezTo>
                  <a:pt x="4809484" y="5263684"/>
                  <a:pt x="4812013" y="5265548"/>
                  <a:pt x="4817870" y="5265548"/>
                </a:cubicBezTo>
                <a:cubicBezTo>
                  <a:pt x="4820000" y="5265548"/>
                  <a:pt x="4821731" y="5265148"/>
                  <a:pt x="4823195" y="5264616"/>
                </a:cubicBezTo>
                <a:cubicBezTo>
                  <a:pt x="4824659" y="5264083"/>
                  <a:pt x="4825857" y="5263151"/>
                  <a:pt x="4826922" y="5262219"/>
                </a:cubicBezTo>
                <a:cubicBezTo>
                  <a:pt x="4827987" y="5261020"/>
                  <a:pt x="4828919" y="5259689"/>
                  <a:pt x="4829585" y="5257959"/>
                </a:cubicBezTo>
                <a:cubicBezTo>
                  <a:pt x="4830383" y="5256362"/>
                  <a:pt x="4830650" y="5254498"/>
                  <a:pt x="4830650" y="5252501"/>
                </a:cubicBezTo>
                <a:cubicBezTo>
                  <a:pt x="4830650" y="5250637"/>
                  <a:pt x="4830250" y="5248907"/>
                  <a:pt x="4829585" y="5247309"/>
                </a:cubicBezTo>
                <a:cubicBezTo>
                  <a:pt x="4828919" y="5245712"/>
                  <a:pt x="4827987" y="5244381"/>
                  <a:pt x="4826922" y="5243183"/>
                </a:cubicBezTo>
                <a:cubicBezTo>
                  <a:pt x="4825857" y="5242118"/>
                  <a:pt x="4824526" y="5241186"/>
                  <a:pt x="4822929" y="5240521"/>
                </a:cubicBezTo>
                <a:cubicBezTo>
                  <a:pt x="4821465" y="5239855"/>
                  <a:pt x="4819734" y="5239589"/>
                  <a:pt x="4817870" y="5239589"/>
                </a:cubicBezTo>
                <a:close/>
                <a:moveTo>
                  <a:pt x="4600226" y="5239589"/>
                </a:moveTo>
                <a:cubicBezTo>
                  <a:pt x="4594369" y="5239589"/>
                  <a:pt x="4591839" y="5241585"/>
                  <a:pt x="4590242" y="5243183"/>
                </a:cubicBezTo>
                <a:cubicBezTo>
                  <a:pt x="4587713" y="5245845"/>
                  <a:pt x="4586648" y="5248641"/>
                  <a:pt x="4586648" y="5252634"/>
                </a:cubicBezTo>
                <a:cubicBezTo>
                  <a:pt x="4586648" y="5256761"/>
                  <a:pt x="4587713" y="5259556"/>
                  <a:pt x="4590242" y="5262085"/>
                </a:cubicBezTo>
                <a:cubicBezTo>
                  <a:pt x="4591839" y="5263684"/>
                  <a:pt x="4594369" y="5265548"/>
                  <a:pt x="4600226" y="5265548"/>
                </a:cubicBezTo>
                <a:cubicBezTo>
                  <a:pt x="4602355" y="5265548"/>
                  <a:pt x="4604086" y="5265148"/>
                  <a:pt x="4605550" y="5264616"/>
                </a:cubicBezTo>
                <a:cubicBezTo>
                  <a:pt x="4607148" y="5264083"/>
                  <a:pt x="4608346" y="5263151"/>
                  <a:pt x="4609277" y="5262219"/>
                </a:cubicBezTo>
                <a:cubicBezTo>
                  <a:pt x="4610342" y="5261020"/>
                  <a:pt x="4611274" y="5259689"/>
                  <a:pt x="4611940" y="5257959"/>
                </a:cubicBezTo>
                <a:cubicBezTo>
                  <a:pt x="4612605" y="5256362"/>
                  <a:pt x="4613005" y="5254498"/>
                  <a:pt x="4613005" y="5252501"/>
                </a:cubicBezTo>
                <a:cubicBezTo>
                  <a:pt x="4613005" y="5250637"/>
                  <a:pt x="4612605" y="5248907"/>
                  <a:pt x="4611940" y="5247309"/>
                </a:cubicBezTo>
                <a:cubicBezTo>
                  <a:pt x="4611274" y="5245712"/>
                  <a:pt x="4610342" y="5244381"/>
                  <a:pt x="4609277" y="5243183"/>
                </a:cubicBezTo>
                <a:cubicBezTo>
                  <a:pt x="4608212" y="5242118"/>
                  <a:pt x="4606881" y="5241186"/>
                  <a:pt x="4605284" y="5240521"/>
                </a:cubicBezTo>
                <a:cubicBezTo>
                  <a:pt x="4603820" y="5239855"/>
                  <a:pt x="4602222" y="5239589"/>
                  <a:pt x="4600226" y="5239589"/>
                </a:cubicBezTo>
                <a:close/>
                <a:moveTo>
                  <a:pt x="4382713" y="5239589"/>
                </a:moveTo>
                <a:cubicBezTo>
                  <a:pt x="4376857" y="5239589"/>
                  <a:pt x="4374327" y="5241585"/>
                  <a:pt x="4372730" y="5243183"/>
                </a:cubicBezTo>
                <a:cubicBezTo>
                  <a:pt x="4370201" y="5245845"/>
                  <a:pt x="4369136" y="5248641"/>
                  <a:pt x="4369136" y="5252634"/>
                </a:cubicBezTo>
                <a:cubicBezTo>
                  <a:pt x="4369136" y="5256761"/>
                  <a:pt x="4370201" y="5259556"/>
                  <a:pt x="4372730" y="5262085"/>
                </a:cubicBezTo>
                <a:cubicBezTo>
                  <a:pt x="4374327" y="5263684"/>
                  <a:pt x="4376857" y="5265548"/>
                  <a:pt x="4382713" y="5265548"/>
                </a:cubicBezTo>
                <a:cubicBezTo>
                  <a:pt x="4384710" y="5265548"/>
                  <a:pt x="4386441" y="5265148"/>
                  <a:pt x="4388038" y="5264616"/>
                </a:cubicBezTo>
                <a:cubicBezTo>
                  <a:pt x="4389502" y="5264083"/>
                  <a:pt x="4390834" y="5263151"/>
                  <a:pt x="4391765" y="5262219"/>
                </a:cubicBezTo>
                <a:cubicBezTo>
                  <a:pt x="4392830" y="5261020"/>
                  <a:pt x="4393762" y="5259689"/>
                  <a:pt x="4394428" y="5257959"/>
                </a:cubicBezTo>
                <a:cubicBezTo>
                  <a:pt x="4395093" y="5256362"/>
                  <a:pt x="4395493" y="5254498"/>
                  <a:pt x="4395493" y="5252501"/>
                </a:cubicBezTo>
                <a:cubicBezTo>
                  <a:pt x="4395493" y="5250637"/>
                  <a:pt x="4395093" y="5248907"/>
                  <a:pt x="4394428" y="5247309"/>
                </a:cubicBezTo>
                <a:cubicBezTo>
                  <a:pt x="4393762" y="5245712"/>
                  <a:pt x="4392830" y="5244381"/>
                  <a:pt x="4391765" y="5243183"/>
                </a:cubicBezTo>
                <a:cubicBezTo>
                  <a:pt x="4390700" y="5242118"/>
                  <a:pt x="4389369" y="5241186"/>
                  <a:pt x="4387772" y="5240521"/>
                </a:cubicBezTo>
                <a:cubicBezTo>
                  <a:pt x="4386308" y="5239855"/>
                  <a:pt x="4384710" y="5239589"/>
                  <a:pt x="4382713" y="5239589"/>
                </a:cubicBezTo>
                <a:close/>
                <a:moveTo>
                  <a:pt x="4165068" y="5239589"/>
                </a:moveTo>
                <a:cubicBezTo>
                  <a:pt x="4159211" y="5239589"/>
                  <a:pt x="4156681" y="5241585"/>
                  <a:pt x="4155084" y="5243183"/>
                </a:cubicBezTo>
                <a:cubicBezTo>
                  <a:pt x="4152555" y="5245845"/>
                  <a:pt x="4151490" y="5248641"/>
                  <a:pt x="4151490" y="5252634"/>
                </a:cubicBezTo>
                <a:cubicBezTo>
                  <a:pt x="4151490" y="5256761"/>
                  <a:pt x="4152555" y="5259556"/>
                  <a:pt x="4155084" y="5262085"/>
                </a:cubicBezTo>
                <a:cubicBezTo>
                  <a:pt x="4156681" y="5263684"/>
                  <a:pt x="4159211" y="5265548"/>
                  <a:pt x="4165068" y="5265548"/>
                </a:cubicBezTo>
                <a:cubicBezTo>
                  <a:pt x="4167064" y="5265548"/>
                  <a:pt x="4168928" y="5265148"/>
                  <a:pt x="4170392" y="5264616"/>
                </a:cubicBezTo>
                <a:cubicBezTo>
                  <a:pt x="4171856" y="5264083"/>
                  <a:pt x="4173188" y="5263151"/>
                  <a:pt x="4174119" y="5262219"/>
                </a:cubicBezTo>
                <a:cubicBezTo>
                  <a:pt x="4175184" y="5261020"/>
                  <a:pt x="4176116" y="5259689"/>
                  <a:pt x="4176782" y="5257959"/>
                </a:cubicBezTo>
                <a:cubicBezTo>
                  <a:pt x="4177447" y="5256362"/>
                  <a:pt x="4177847" y="5254498"/>
                  <a:pt x="4177847" y="5252501"/>
                </a:cubicBezTo>
                <a:cubicBezTo>
                  <a:pt x="4177847" y="5250637"/>
                  <a:pt x="4177447" y="5248907"/>
                  <a:pt x="4176782" y="5247309"/>
                </a:cubicBezTo>
                <a:cubicBezTo>
                  <a:pt x="4176116" y="5245712"/>
                  <a:pt x="4175184" y="5244381"/>
                  <a:pt x="4174119" y="5243183"/>
                </a:cubicBezTo>
                <a:cubicBezTo>
                  <a:pt x="4173054" y="5242118"/>
                  <a:pt x="4171723" y="5241186"/>
                  <a:pt x="4170126" y="5240521"/>
                </a:cubicBezTo>
                <a:cubicBezTo>
                  <a:pt x="4168662" y="5239855"/>
                  <a:pt x="4167064" y="5239589"/>
                  <a:pt x="4165068" y="5239589"/>
                </a:cubicBezTo>
                <a:close/>
                <a:moveTo>
                  <a:pt x="3947709" y="5239589"/>
                </a:moveTo>
                <a:cubicBezTo>
                  <a:pt x="3941851" y="5239589"/>
                  <a:pt x="3939323" y="5241585"/>
                  <a:pt x="3937726" y="5243183"/>
                </a:cubicBezTo>
                <a:cubicBezTo>
                  <a:pt x="3935195" y="5245845"/>
                  <a:pt x="3934131" y="5248641"/>
                  <a:pt x="3934131" y="5252634"/>
                </a:cubicBezTo>
                <a:cubicBezTo>
                  <a:pt x="3934131" y="5256761"/>
                  <a:pt x="3935195" y="5259556"/>
                  <a:pt x="3937726" y="5262085"/>
                </a:cubicBezTo>
                <a:cubicBezTo>
                  <a:pt x="3939323" y="5263684"/>
                  <a:pt x="3941851" y="5265548"/>
                  <a:pt x="3947709" y="5265548"/>
                </a:cubicBezTo>
                <a:cubicBezTo>
                  <a:pt x="3949707" y="5265548"/>
                  <a:pt x="3951571" y="5265148"/>
                  <a:pt x="3953037" y="5264616"/>
                </a:cubicBezTo>
                <a:cubicBezTo>
                  <a:pt x="3954501" y="5264083"/>
                  <a:pt x="3955832" y="5263151"/>
                  <a:pt x="3956764" y="5262219"/>
                </a:cubicBezTo>
                <a:cubicBezTo>
                  <a:pt x="3957829" y="5261020"/>
                  <a:pt x="3958762" y="5259689"/>
                  <a:pt x="3959427" y="5257959"/>
                </a:cubicBezTo>
                <a:cubicBezTo>
                  <a:pt x="3960092" y="5256362"/>
                  <a:pt x="3960492" y="5254498"/>
                  <a:pt x="3960492" y="5252501"/>
                </a:cubicBezTo>
                <a:cubicBezTo>
                  <a:pt x="3960492" y="5250637"/>
                  <a:pt x="3960092" y="5248907"/>
                  <a:pt x="3959427" y="5247309"/>
                </a:cubicBezTo>
                <a:cubicBezTo>
                  <a:pt x="3958762" y="5245712"/>
                  <a:pt x="3957829" y="5244381"/>
                  <a:pt x="3956764" y="5243183"/>
                </a:cubicBezTo>
                <a:cubicBezTo>
                  <a:pt x="3955699" y="5242118"/>
                  <a:pt x="3954368" y="5241186"/>
                  <a:pt x="3952770" y="5240521"/>
                </a:cubicBezTo>
                <a:cubicBezTo>
                  <a:pt x="3951304" y="5239855"/>
                  <a:pt x="3949707" y="5239589"/>
                  <a:pt x="3947709" y="5239589"/>
                </a:cubicBezTo>
                <a:close/>
                <a:moveTo>
                  <a:pt x="3730051" y="5239589"/>
                </a:moveTo>
                <a:cubicBezTo>
                  <a:pt x="3724194" y="5239589"/>
                  <a:pt x="3721664" y="5241585"/>
                  <a:pt x="3720065" y="5243183"/>
                </a:cubicBezTo>
                <a:cubicBezTo>
                  <a:pt x="3717534" y="5245845"/>
                  <a:pt x="3716472" y="5248641"/>
                  <a:pt x="3716472" y="5252634"/>
                </a:cubicBezTo>
                <a:cubicBezTo>
                  <a:pt x="3716472" y="5256761"/>
                  <a:pt x="3717534" y="5259556"/>
                  <a:pt x="3720065" y="5262085"/>
                </a:cubicBezTo>
                <a:cubicBezTo>
                  <a:pt x="3721664" y="5263684"/>
                  <a:pt x="3724194" y="5265548"/>
                  <a:pt x="3730051" y="5265548"/>
                </a:cubicBezTo>
                <a:cubicBezTo>
                  <a:pt x="3732182" y="5265548"/>
                  <a:pt x="3733913" y="5265148"/>
                  <a:pt x="3735376" y="5264616"/>
                </a:cubicBezTo>
                <a:cubicBezTo>
                  <a:pt x="3736841" y="5264083"/>
                  <a:pt x="3738173" y="5263151"/>
                  <a:pt x="3739104" y="5262219"/>
                </a:cubicBezTo>
                <a:cubicBezTo>
                  <a:pt x="3740169" y="5261020"/>
                  <a:pt x="3741101" y="5259689"/>
                  <a:pt x="3741767" y="5257959"/>
                </a:cubicBezTo>
                <a:cubicBezTo>
                  <a:pt x="3742432" y="5256362"/>
                  <a:pt x="3742831" y="5254498"/>
                  <a:pt x="3742831" y="5252501"/>
                </a:cubicBezTo>
                <a:cubicBezTo>
                  <a:pt x="3742831" y="5250637"/>
                  <a:pt x="3742432" y="5248907"/>
                  <a:pt x="3741767" y="5247309"/>
                </a:cubicBezTo>
                <a:cubicBezTo>
                  <a:pt x="3741101" y="5245712"/>
                  <a:pt x="3740169" y="5244381"/>
                  <a:pt x="3739104" y="5243183"/>
                </a:cubicBezTo>
                <a:cubicBezTo>
                  <a:pt x="3738039" y="5242118"/>
                  <a:pt x="3736708" y="5241186"/>
                  <a:pt x="3735111" y="5240521"/>
                </a:cubicBezTo>
                <a:cubicBezTo>
                  <a:pt x="3733646" y="5239855"/>
                  <a:pt x="3732049" y="5239589"/>
                  <a:pt x="3730051" y="5239589"/>
                </a:cubicBezTo>
                <a:close/>
                <a:moveTo>
                  <a:pt x="3512391" y="5239589"/>
                </a:moveTo>
                <a:cubicBezTo>
                  <a:pt x="3506532" y="5239589"/>
                  <a:pt x="3504002" y="5241585"/>
                  <a:pt x="3502403" y="5243183"/>
                </a:cubicBezTo>
                <a:cubicBezTo>
                  <a:pt x="3499873" y="5245845"/>
                  <a:pt x="3498809" y="5248641"/>
                  <a:pt x="3498809" y="5252634"/>
                </a:cubicBezTo>
                <a:cubicBezTo>
                  <a:pt x="3498809" y="5256761"/>
                  <a:pt x="3499873" y="5259556"/>
                  <a:pt x="3502403" y="5262085"/>
                </a:cubicBezTo>
                <a:cubicBezTo>
                  <a:pt x="3504002" y="5263684"/>
                  <a:pt x="3506532" y="5265548"/>
                  <a:pt x="3512391" y="5265548"/>
                </a:cubicBezTo>
                <a:cubicBezTo>
                  <a:pt x="3514521" y="5265548"/>
                  <a:pt x="3516252" y="5265148"/>
                  <a:pt x="3517716" y="5264616"/>
                </a:cubicBezTo>
                <a:cubicBezTo>
                  <a:pt x="3519181" y="5264083"/>
                  <a:pt x="3520513" y="5263151"/>
                  <a:pt x="3521444" y="5262219"/>
                </a:cubicBezTo>
                <a:cubicBezTo>
                  <a:pt x="3522509" y="5261020"/>
                  <a:pt x="3523441" y="5259689"/>
                  <a:pt x="3524107" y="5257959"/>
                </a:cubicBezTo>
                <a:cubicBezTo>
                  <a:pt x="3524772" y="5256362"/>
                  <a:pt x="3525172" y="5254498"/>
                  <a:pt x="3525172" y="5252501"/>
                </a:cubicBezTo>
                <a:cubicBezTo>
                  <a:pt x="3525172" y="5250637"/>
                  <a:pt x="3524772" y="5248907"/>
                  <a:pt x="3524107" y="5247309"/>
                </a:cubicBezTo>
                <a:cubicBezTo>
                  <a:pt x="3523441" y="5245712"/>
                  <a:pt x="3522509" y="5244381"/>
                  <a:pt x="3521444" y="5243183"/>
                </a:cubicBezTo>
                <a:cubicBezTo>
                  <a:pt x="3520379" y="5242118"/>
                  <a:pt x="3519048" y="5241186"/>
                  <a:pt x="3517451" y="5240521"/>
                </a:cubicBezTo>
                <a:cubicBezTo>
                  <a:pt x="3515987" y="5239855"/>
                  <a:pt x="3514388" y="5239589"/>
                  <a:pt x="3512391" y="5239589"/>
                </a:cubicBezTo>
                <a:close/>
                <a:moveTo>
                  <a:pt x="3294865" y="5239589"/>
                </a:moveTo>
                <a:cubicBezTo>
                  <a:pt x="3289006" y="5239589"/>
                  <a:pt x="3286475" y="5241585"/>
                  <a:pt x="3284878" y="5243183"/>
                </a:cubicBezTo>
                <a:cubicBezTo>
                  <a:pt x="3282348" y="5245845"/>
                  <a:pt x="3281284" y="5248641"/>
                  <a:pt x="3281284" y="5252634"/>
                </a:cubicBezTo>
                <a:cubicBezTo>
                  <a:pt x="3281284" y="5256761"/>
                  <a:pt x="3282348" y="5259556"/>
                  <a:pt x="3284878" y="5262085"/>
                </a:cubicBezTo>
                <a:cubicBezTo>
                  <a:pt x="3286475" y="5263684"/>
                  <a:pt x="3289006" y="5265548"/>
                  <a:pt x="3294865" y="5265548"/>
                </a:cubicBezTo>
                <a:cubicBezTo>
                  <a:pt x="3296861" y="5265548"/>
                  <a:pt x="3298592" y="5265148"/>
                  <a:pt x="3300190" y="5264616"/>
                </a:cubicBezTo>
                <a:cubicBezTo>
                  <a:pt x="3301654" y="5264083"/>
                  <a:pt x="3302986" y="5263151"/>
                  <a:pt x="3303917" y="5262219"/>
                </a:cubicBezTo>
                <a:cubicBezTo>
                  <a:pt x="3304982" y="5261020"/>
                  <a:pt x="3305914" y="5259689"/>
                  <a:pt x="3306580" y="5257959"/>
                </a:cubicBezTo>
                <a:cubicBezTo>
                  <a:pt x="3307245" y="5256362"/>
                  <a:pt x="3307644" y="5254498"/>
                  <a:pt x="3307644" y="5252501"/>
                </a:cubicBezTo>
                <a:cubicBezTo>
                  <a:pt x="3307644" y="5250637"/>
                  <a:pt x="3307245" y="5248907"/>
                  <a:pt x="3306580" y="5247309"/>
                </a:cubicBezTo>
                <a:cubicBezTo>
                  <a:pt x="3305914" y="5245712"/>
                  <a:pt x="3304982" y="5244381"/>
                  <a:pt x="3303917" y="5243183"/>
                </a:cubicBezTo>
                <a:cubicBezTo>
                  <a:pt x="3302852" y="5242118"/>
                  <a:pt x="3301521" y="5241186"/>
                  <a:pt x="3299924" y="5240521"/>
                </a:cubicBezTo>
                <a:cubicBezTo>
                  <a:pt x="3298460" y="5239855"/>
                  <a:pt x="3296861" y="5239589"/>
                  <a:pt x="3294865" y="5239589"/>
                </a:cubicBezTo>
                <a:close/>
                <a:moveTo>
                  <a:pt x="3077338" y="5239589"/>
                </a:moveTo>
                <a:cubicBezTo>
                  <a:pt x="3071480" y="5239589"/>
                  <a:pt x="3068949" y="5241585"/>
                  <a:pt x="3067354" y="5243183"/>
                </a:cubicBezTo>
                <a:cubicBezTo>
                  <a:pt x="3064688" y="5245845"/>
                  <a:pt x="3063623" y="5248641"/>
                  <a:pt x="3063623" y="5252634"/>
                </a:cubicBezTo>
                <a:cubicBezTo>
                  <a:pt x="3063623" y="5256761"/>
                  <a:pt x="3064688" y="5259556"/>
                  <a:pt x="3067220" y="5262085"/>
                </a:cubicBezTo>
                <a:cubicBezTo>
                  <a:pt x="3068817" y="5263684"/>
                  <a:pt x="3071347" y="5265548"/>
                  <a:pt x="3077204" y="5265548"/>
                </a:cubicBezTo>
                <a:cubicBezTo>
                  <a:pt x="3079202" y="5265548"/>
                  <a:pt x="3080932" y="5265148"/>
                  <a:pt x="3082663" y="5264616"/>
                </a:cubicBezTo>
                <a:cubicBezTo>
                  <a:pt x="3084128" y="5264083"/>
                  <a:pt x="3085459" y="5263151"/>
                  <a:pt x="3086390" y="5262219"/>
                </a:cubicBezTo>
                <a:cubicBezTo>
                  <a:pt x="3087455" y="5261020"/>
                  <a:pt x="3088387" y="5259689"/>
                  <a:pt x="3089053" y="5257959"/>
                </a:cubicBezTo>
                <a:cubicBezTo>
                  <a:pt x="3089718" y="5256362"/>
                  <a:pt x="3089985" y="5254498"/>
                  <a:pt x="3089985" y="5252501"/>
                </a:cubicBezTo>
                <a:cubicBezTo>
                  <a:pt x="3089985" y="5250637"/>
                  <a:pt x="3089718" y="5248907"/>
                  <a:pt x="3089053" y="5247309"/>
                </a:cubicBezTo>
                <a:cubicBezTo>
                  <a:pt x="3088387" y="5245712"/>
                  <a:pt x="3087455" y="5244381"/>
                  <a:pt x="3086390" y="5243183"/>
                </a:cubicBezTo>
                <a:cubicBezTo>
                  <a:pt x="3085326" y="5242118"/>
                  <a:pt x="3083994" y="5241186"/>
                  <a:pt x="3082397" y="5240521"/>
                </a:cubicBezTo>
                <a:cubicBezTo>
                  <a:pt x="3080932" y="5239855"/>
                  <a:pt x="3079334" y="5239589"/>
                  <a:pt x="3077338" y="5239589"/>
                </a:cubicBezTo>
                <a:close/>
                <a:moveTo>
                  <a:pt x="2859544" y="5239589"/>
                </a:moveTo>
                <a:cubicBezTo>
                  <a:pt x="2853687" y="5239589"/>
                  <a:pt x="2851158" y="5241585"/>
                  <a:pt x="2849558" y="5243183"/>
                </a:cubicBezTo>
                <a:cubicBezTo>
                  <a:pt x="2847025" y="5245845"/>
                  <a:pt x="2845960" y="5248641"/>
                  <a:pt x="2845960" y="5252634"/>
                </a:cubicBezTo>
                <a:cubicBezTo>
                  <a:pt x="2845960" y="5256761"/>
                  <a:pt x="2847025" y="5259556"/>
                  <a:pt x="2849558" y="5262085"/>
                </a:cubicBezTo>
                <a:cubicBezTo>
                  <a:pt x="2851158" y="5263684"/>
                  <a:pt x="2853687" y="5265548"/>
                  <a:pt x="2859544" y="5265548"/>
                </a:cubicBezTo>
                <a:cubicBezTo>
                  <a:pt x="2861541" y="5265548"/>
                  <a:pt x="2863405" y="5265148"/>
                  <a:pt x="2864869" y="5264616"/>
                </a:cubicBezTo>
                <a:cubicBezTo>
                  <a:pt x="2866467" y="5264083"/>
                  <a:pt x="2867666" y="5263151"/>
                  <a:pt x="2868596" y="5262219"/>
                </a:cubicBezTo>
                <a:cubicBezTo>
                  <a:pt x="2869661" y="5261020"/>
                  <a:pt x="2870594" y="5259689"/>
                  <a:pt x="2871259" y="5257959"/>
                </a:cubicBezTo>
                <a:cubicBezTo>
                  <a:pt x="2871792" y="5256362"/>
                  <a:pt x="2872191" y="5254498"/>
                  <a:pt x="2872191" y="5252501"/>
                </a:cubicBezTo>
                <a:cubicBezTo>
                  <a:pt x="2872191" y="5250637"/>
                  <a:pt x="2871924" y="5248907"/>
                  <a:pt x="2871259" y="5247309"/>
                </a:cubicBezTo>
                <a:cubicBezTo>
                  <a:pt x="2870594" y="5245712"/>
                  <a:pt x="2869661" y="5244381"/>
                  <a:pt x="2868596" y="5243183"/>
                </a:cubicBezTo>
                <a:cubicBezTo>
                  <a:pt x="2867532" y="5242118"/>
                  <a:pt x="2866201" y="5241186"/>
                  <a:pt x="2864604" y="5240521"/>
                </a:cubicBezTo>
                <a:cubicBezTo>
                  <a:pt x="2863140" y="5239855"/>
                  <a:pt x="2861541" y="5239589"/>
                  <a:pt x="2859544" y="5239589"/>
                </a:cubicBezTo>
                <a:close/>
                <a:moveTo>
                  <a:pt x="2641884" y="5239589"/>
                </a:moveTo>
                <a:cubicBezTo>
                  <a:pt x="2636027" y="5239589"/>
                  <a:pt x="2633498" y="5241585"/>
                  <a:pt x="2631901" y="5243183"/>
                </a:cubicBezTo>
                <a:cubicBezTo>
                  <a:pt x="2629371" y="5245845"/>
                  <a:pt x="2628306" y="5248641"/>
                  <a:pt x="2628306" y="5252634"/>
                </a:cubicBezTo>
                <a:cubicBezTo>
                  <a:pt x="2628306" y="5256761"/>
                  <a:pt x="2629371" y="5259556"/>
                  <a:pt x="2631901" y="5262085"/>
                </a:cubicBezTo>
                <a:cubicBezTo>
                  <a:pt x="2633498" y="5263684"/>
                  <a:pt x="2636027" y="5265548"/>
                  <a:pt x="2641884" y="5265548"/>
                </a:cubicBezTo>
                <a:cubicBezTo>
                  <a:pt x="2643881" y="5265548"/>
                  <a:pt x="2645746" y="5265148"/>
                  <a:pt x="2647210" y="5264616"/>
                </a:cubicBezTo>
                <a:cubicBezTo>
                  <a:pt x="2648806" y="5264083"/>
                  <a:pt x="2650004" y="5263151"/>
                  <a:pt x="2650937" y="5262219"/>
                </a:cubicBezTo>
                <a:cubicBezTo>
                  <a:pt x="2652002" y="5261020"/>
                  <a:pt x="2652933" y="5259689"/>
                  <a:pt x="2653600" y="5257959"/>
                </a:cubicBezTo>
                <a:cubicBezTo>
                  <a:pt x="2654131" y="5256362"/>
                  <a:pt x="2654530" y="5254498"/>
                  <a:pt x="2654530" y="5252501"/>
                </a:cubicBezTo>
                <a:cubicBezTo>
                  <a:pt x="2654530" y="5250637"/>
                  <a:pt x="2654265" y="5248907"/>
                  <a:pt x="2653600" y="5247309"/>
                </a:cubicBezTo>
                <a:cubicBezTo>
                  <a:pt x="2652933" y="5245712"/>
                  <a:pt x="2652002" y="5244381"/>
                  <a:pt x="2650937" y="5243183"/>
                </a:cubicBezTo>
                <a:cubicBezTo>
                  <a:pt x="2649872" y="5242118"/>
                  <a:pt x="2648540" y="5241186"/>
                  <a:pt x="2646944" y="5240521"/>
                </a:cubicBezTo>
                <a:cubicBezTo>
                  <a:pt x="2645478" y="5239855"/>
                  <a:pt x="2643881" y="5239589"/>
                  <a:pt x="2641884" y="5239589"/>
                </a:cubicBezTo>
                <a:close/>
                <a:moveTo>
                  <a:pt x="2424224" y="5239589"/>
                </a:moveTo>
                <a:cubicBezTo>
                  <a:pt x="2418367" y="5239589"/>
                  <a:pt x="2415838" y="5241585"/>
                  <a:pt x="2414241" y="5243183"/>
                </a:cubicBezTo>
                <a:cubicBezTo>
                  <a:pt x="2411710" y="5245845"/>
                  <a:pt x="2410647" y="5248641"/>
                  <a:pt x="2410647" y="5252634"/>
                </a:cubicBezTo>
                <a:cubicBezTo>
                  <a:pt x="2410647" y="5256761"/>
                  <a:pt x="2411710" y="5259556"/>
                  <a:pt x="2414241" y="5262085"/>
                </a:cubicBezTo>
                <a:cubicBezTo>
                  <a:pt x="2415838" y="5263684"/>
                  <a:pt x="2418367" y="5265548"/>
                  <a:pt x="2424224" y="5265548"/>
                </a:cubicBezTo>
                <a:cubicBezTo>
                  <a:pt x="2426354" y="5265548"/>
                  <a:pt x="2428085" y="5265148"/>
                  <a:pt x="2429549" y="5264616"/>
                </a:cubicBezTo>
                <a:cubicBezTo>
                  <a:pt x="2431147" y="5264083"/>
                  <a:pt x="2432345" y="5263151"/>
                  <a:pt x="2433276" y="5262219"/>
                </a:cubicBezTo>
                <a:cubicBezTo>
                  <a:pt x="2434341" y="5261020"/>
                  <a:pt x="2435273" y="5259689"/>
                  <a:pt x="2435939" y="5257959"/>
                </a:cubicBezTo>
                <a:cubicBezTo>
                  <a:pt x="2436471" y="5256362"/>
                  <a:pt x="2436870" y="5254498"/>
                  <a:pt x="2436870" y="5252501"/>
                </a:cubicBezTo>
                <a:cubicBezTo>
                  <a:pt x="2436870" y="5250637"/>
                  <a:pt x="2436604" y="5248907"/>
                  <a:pt x="2435939" y="5247309"/>
                </a:cubicBezTo>
                <a:cubicBezTo>
                  <a:pt x="2435273" y="5245712"/>
                  <a:pt x="2434341" y="5244381"/>
                  <a:pt x="2433276" y="5243183"/>
                </a:cubicBezTo>
                <a:cubicBezTo>
                  <a:pt x="2432212" y="5242118"/>
                  <a:pt x="2430881" y="5241186"/>
                  <a:pt x="2429283" y="5240521"/>
                </a:cubicBezTo>
                <a:cubicBezTo>
                  <a:pt x="2427819" y="5239855"/>
                  <a:pt x="2426221" y="5239589"/>
                  <a:pt x="2424224" y="5239589"/>
                </a:cubicBezTo>
                <a:close/>
                <a:moveTo>
                  <a:pt x="2206564" y="5239589"/>
                </a:moveTo>
                <a:cubicBezTo>
                  <a:pt x="2200707" y="5239589"/>
                  <a:pt x="2198178" y="5241585"/>
                  <a:pt x="2196580" y="5243183"/>
                </a:cubicBezTo>
                <a:cubicBezTo>
                  <a:pt x="2194051" y="5245845"/>
                  <a:pt x="2192986" y="5248641"/>
                  <a:pt x="2192986" y="5252634"/>
                </a:cubicBezTo>
                <a:cubicBezTo>
                  <a:pt x="2192986" y="5256761"/>
                  <a:pt x="2194051" y="5259556"/>
                  <a:pt x="2196580" y="5262085"/>
                </a:cubicBezTo>
                <a:cubicBezTo>
                  <a:pt x="2198178" y="5263684"/>
                  <a:pt x="2200707" y="5265548"/>
                  <a:pt x="2206564" y="5265548"/>
                </a:cubicBezTo>
                <a:cubicBezTo>
                  <a:pt x="2208694" y="5265548"/>
                  <a:pt x="2210425" y="5265148"/>
                  <a:pt x="2211889" y="5264616"/>
                </a:cubicBezTo>
                <a:cubicBezTo>
                  <a:pt x="2213486" y="5264083"/>
                  <a:pt x="2214684" y="5263151"/>
                  <a:pt x="2215616" y="5262219"/>
                </a:cubicBezTo>
                <a:cubicBezTo>
                  <a:pt x="2216681" y="5261020"/>
                  <a:pt x="2217613" y="5259689"/>
                  <a:pt x="2218279" y="5257959"/>
                </a:cubicBezTo>
                <a:cubicBezTo>
                  <a:pt x="2218811" y="5256362"/>
                  <a:pt x="2219210" y="5254498"/>
                  <a:pt x="2219210" y="5252501"/>
                </a:cubicBezTo>
                <a:cubicBezTo>
                  <a:pt x="2219210" y="5250637"/>
                  <a:pt x="2218944" y="5248907"/>
                  <a:pt x="2218279" y="5247309"/>
                </a:cubicBezTo>
                <a:cubicBezTo>
                  <a:pt x="2217613" y="5245712"/>
                  <a:pt x="2216681" y="5244381"/>
                  <a:pt x="2215616" y="5243183"/>
                </a:cubicBezTo>
                <a:cubicBezTo>
                  <a:pt x="2214551" y="5242118"/>
                  <a:pt x="2213220" y="5241186"/>
                  <a:pt x="2211623" y="5240521"/>
                </a:cubicBezTo>
                <a:cubicBezTo>
                  <a:pt x="2210158" y="5239855"/>
                  <a:pt x="2208561" y="5239589"/>
                  <a:pt x="2206564" y="5239589"/>
                </a:cubicBezTo>
                <a:close/>
                <a:moveTo>
                  <a:pt x="1989037" y="5239589"/>
                </a:moveTo>
                <a:cubicBezTo>
                  <a:pt x="1983179" y="5239589"/>
                  <a:pt x="1980650" y="5241585"/>
                  <a:pt x="1979054" y="5243183"/>
                </a:cubicBezTo>
                <a:cubicBezTo>
                  <a:pt x="1976523" y="5245845"/>
                  <a:pt x="1975459" y="5248641"/>
                  <a:pt x="1975459" y="5252634"/>
                </a:cubicBezTo>
                <a:cubicBezTo>
                  <a:pt x="1975459" y="5256761"/>
                  <a:pt x="1976523" y="5259556"/>
                  <a:pt x="1979054" y="5262085"/>
                </a:cubicBezTo>
                <a:cubicBezTo>
                  <a:pt x="1980650" y="5263684"/>
                  <a:pt x="1983179" y="5265548"/>
                  <a:pt x="1989037" y="5265548"/>
                </a:cubicBezTo>
                <a:cubicBezTo>
                  <a:pt x="1991033" y="5265548"/>
                  <a:pt x="1992765" y="5265148"/>
                  <a:pt x="1994362" y="5264616"/>
                </a:cubicBezTo>
                <a:cubicBezTo>
                  <a:pt x="1995959" y="5264083"/>
                  <a:pt x="1997158" y="5263151"/>
                  <a:pt x="1998089" y="5262219"/>
                </a:cubicBezTo>
                <a:cubicBezTo>
                  <a:pt x="1999154" y="5261020"/>
                  <a:pt x="2000086" y="5259689"/>
                  <a:pt x="2000752" y="5257959"/>
                </a:cubicBezTo>
                <a:cubicBezTo>
                  <a:pt x="2001284" y="5256362"/>
                  <a:pt x="2001682" y="5254498"/>
                  <a:pt x="2001682" y="5252501"/>
                </a:cubicBezTo>
                <a:cubicBezTo>
                  <a:pt x="2001682" y="5250637"/>
                  <a:pt x="2001417" y="5248907"/>
                  <a:pt x="2000752" y="5247309"/>
                </a:cubicBezTo>
                <a:cubicBezTo>
                  <a:pt x="2000086" y="5245712"/>
                  <a:pt x="1999154" y="5244381"/>
                  <a:pt x="1998089" y="5243183"/>
                </a:cubicBezTo>
                <a:cubicBezTo>
                  <a:pt x="1997025" y="5242118"/>
                  <a:pt x="1995693" y="5241186"/>
                  <a:pt x="1994095" y="5240521"/>
                </a:cubicBezTo>
                <a:cubicBezTo>
                  <a:pt x="1992631" y="5239855"/>
                  <a:pt x="1991033" y="5239589"/>
                  <a:pt x="1989037" y="5239589"/>
                </a:cubicBezTo>
                <a:close/>
                <a:moveTo>
                  <a:pt x="1771402" y="5239589"/>
                </a:moveTo>
                <a:cubicBezTo>
                  <a:pt x="1765545" y="5239589"/>
                  <a:pt x="1763017" y="5241585"/>
                  <a:pt x="1761420" y="5243183"/>
                </a:cubicBezTo>
                <a:cubicBezTo>
                  <a:pt x="1758891" y="5245845"/>
                  <a:pt x="1757826" y="5248641"/>
                  <a:pt x="1757826" y="5252634"/>
                </a:cubicBezTo>
                <a:cubicBezTo>
                  <a:pt x="1757826" y="5256761"/>
                  <a:pt x="1758891" y="5259556"/>
                  <a:pt x="1761420" y="5262085"/>
                </a:cubicBezTo>
                <a:cubicBezTo>
                  <a:pt x="1763017" y="5263684"/>
                  <a:pt x="1765545" y="5265548"/>
                  <a:pt x="1771402" y="5265548"/>
                </a:cubicBezTo>
                <a:cubicBezTo>
                  <a:pt x="1773400" y="5265548"/>
                  <a:pt x="1775263" y="5265148"/>
                  <a:pt x="1776727" y="5264616"/>
                </a:cubicBezTo>
                <a:cubicBezTo>
                  <a:pt x="1778191" y="5264083"/>
                  <a:pt x="1779521" y="5263151"/>
                  <a:pt x="1780453" y="5262219"/>
                </a:cubicBezTo>
                <a:cubicBezTo>
                  <a:pt x="1781518" y="5261020"/>
                  <a:pt x="1782450" y="5259689"/>
                  <a:pt x="1783116" y="5257959"/>
                </a:cubicBezTo>
                <a:cubicBezTo>
                  <a:pt x="1783781" y="5256362"/>
                  <a:pt x="1784181" y="5254498"/>
                  <a:pt x="1784181" y="5252501"/>
                </a:cubicBezTo>
                <a:cubicBezTo>
                  <a:pt x="1784181" y="5250637"/>
                  <a:pt x="1783781" y="5248907"/>
                  <a:pt x="1783116" y="5247309"/>
                </a:cubicBezTo>
                <a:cubicBezTo>
                  <a:pt x="1782450" y="5245712"/>
                  <a:pt x="1781518" y="5244381"/>
                  <a:pt x="1780453" y="5243183"/>
                </a:cubicBezTo>
                <a:cubicBezTo>
                  <a:pt x="1779388" y="5242118"/>
                  <a:pt x="1778058" y="5241186"/>
                  <a:pt x="1776461" y="5240521"/>
                </a:cubicBezTo>
                <a:cubicBezTo>
                  <a:pt x="1774996" y="5239855"/>
                  <a:pt x="1773400" y="5239589"/>
                  <a:pt x="1771402" y="5239589"/>
                </a:cubicBezTo>
                <a:close/>
                <a:moveTo>
                  <a:pt x="1553765" y="5239589"/>
                </a:moveTo>
                <a:cubicBezTo>
                  <a:pt x="1547907" y="5239589"/>
                  <a:pt x="1545379" y="5241585"/>
                  <a:pt x="1543782" y="5243183"/>
                </a:cubicBezTo>
                <a:cubicBezTo>
                  <a:pt x="1541252" y="5245845"/>
                  <a:pt x="1540187" y="5248641"/>
                  <a:pt x="1540187" y="5252634"/>
                </a:cubicBezTo>
                <a:cubicBezTo>
                  <a:pt x="1540187" y="5256761"/>
                  <a:pt x="1541252" y="5259556"/>
                  <a:pt x="1543782" y="5262085"/>
                </a:cubicBezTo>
                <a:cubicBezTo>
                  <a:pt x="1545379" y="5263684"/>
                  <a:pt x="1547907" y="5265548"/>
                  <a:pt x="1553765" y="5265548"/>
                </a:cubicBezTo>
                <a:cubicBezTo>
                  <a:pt x="1555762" y="5265548"/>
                  <a:pt x="1557626" y="5265148"/>
                  <a:pt x="1559090" y="5264616"/>
                </a:cubicBezTo>
                <a:cubicBezTo>
                  <a:pt x="1560554" y="5264083"/>
                  <a:pt x="1561886" y="5263151"/>
                  <a:pt x="1562817" y="5262219"/>
                </a:cubicBezTo>
                <a:cubicBezTo>
                  <a:pt x="1563881" y="5261020"/>
                  <a:pt x="1564814" y="5259689"/>
                  <a:pt x="1565480" y="5257959"/>
                </a:cubicBezTo>
                <a:cubicBezTo>
                  <a:pt x="1566145" y="5256362"/>
                  <a:pt x="1566545" y="5254498"/>
                  <a:pt x="1566545" y="5252501"/>
                </a:cubicBezTo>
                <a:cubicBezTo>
                  <a:pt x="1566545" y="5250637"/>
                  <a:pt x="1566145" y="5248907"/>
                  <a:pt x="1565480" y="5247309"/>
                </a:cubicBezTo>
                <a:cubicBezTo>
                  <a:pt x="1564814" y="5245712"/>
                  <a:pt x="1563881" y="5244381"/>
                  <a:pt x="1562817" y="5243183"/>
                </a:cubicBezTo>
                <a:cubicBezTo>
                  <a:pt x="1561752" y="5242118"/>
                  <a:pt x="1560421" y="5241186"/>
                  <a:pt x="1558824" y="5240521"/>
                </a:cubicBezTo>
                <a:cubicBezTo>
                  <a:pt x="1557359" y="5239855"/>
                  <a:pt x="1555762" y="5239589"/>
                  <a:pt x="1553765" y="5239589"/>
                </a:cubicBezTo>
                <a:close/>
                <a:moveTo>
                  <a:pt x="1336122" y="5239589"/>
                </a:moveTo>
                <a:cubicBezTo>
                  <a:pt x="1330263" y="5239589"/>
                  <a:pt x="1327734" y="5241585"/>
                  <a:pt x="1326138" y="5243183"/>
                </a:cubicBezTo>
                <a:cubicBezTo>
                  <a:pt x="1323607" y="5245845"/>
                  <a:pt x="1322543" y="5248641"/>
                  <a:pt x="1322543" y="5252634"/>
                </a:cubicBezTo>
                <a:cubicBezTo>
                  <a:pt x="1322543" y="5256761"/>
                  <a:pt x="1323607" y="5259556"/>
                  <a:pt x="1326138" y="5262085"/>
                </a:cubicBezTo>
                <a:cubicBezTo>
                  <a:pt x="1327734" y="5263684"/>
                  <a:pt x="1330263" y="5265548"/>
                  <a:pt x="1336122" y="5265548"/>
                </a:cubicBezTo>
                <a:cubicBezTo>
                  <a:pt x="1338251" y="5265548"/>
                  <a:pt x="1339981" y="5265148"/>
                  <a:pt x="1341448" y="5264616"/>
                </a:cubicBezTo>
                <a:cubicBezTo>
                  <a:pt x="1342911" y="5264083"/>
                  <a:pt x="1344243" y="5263151"/>
                  <a:pt x="1345175" y="5262219"/>
                </a:cubicBezTo>
                <a:cubicBezTo>
                  <a:pt x="1346239" y="5261020"/>
                  <a:pt x="1347172" y="5259689"/>
                  <a:pt x="1347836" y="5257959"/>
                </a:cubicBezTo>
                <a:cubicBezTo>
                  <a:pt x="1348503" y="5256362"/>
                  <a:pt x="1348903" y="5254498"/>
                  <a:pt x="1348903" y="5252501"/>
                </a:cubicBezTo>
                <a:cubicBezTo>
                  <a:pt x="1348903" y="5250637"/>
                  <a:pt x="1348503" y="5248907"/>
                  <a:pt x="1347836" y="5247309"/>
                </a:cubicBezTo>
                <a:cubicBezTo>
                  <a:pt x="1347172" y="5245712"/>
                  <a:pt x="1346239" y="5244381"/>
                  <a:pt x="1345175" y="5243183"/>
                </a:cubicBezTo>
                <a:cubicBezTo>
                  <a:pt x="1344110" y="5242118"/>
                  <a:pt x="1342779" y="5241186"/>
                  <a:pt x="1341180" y="5240521"/>
                </a:cubicBezTo>
                <a:cubicBezTo>
                  <a:pt x="1339716" y="5239855"/>
                  <a:pt x="1338117" y="5239589"/>
                  <a:pt x="1336122" y="5239589"/>
                </a:cubicBezTo>
                <a:close/>
                <a:moveTo>
                  <a:pt x="1118609" y="5239589"/>
                </a:moveTo>
                <a:cubicBezTo>
                  <a:pt x="1112750" y="5239589"/>
                  <a:pt x="1110221" y="5241585"/>
                  <a:pt x="1108624" y="5243183"/>
                </a:cubicBezTo>
                <a:cubicBezTo>
                  <a:pt x="1105961" y="5245845"/>
                  <a:pt x="1104897" y="5248641"/>
                  <a:pt x="1104897" y="5252634"/>
                </a:cubicBezTo>
                <a:cubicBezTo>
                  <a:pt x="1104897" y="5256761"/>
                  <a:pt x="1105961" y="5259556"/>
                  <a:pt x="1108491" y="5262085"/>
                </a:cubicBezTo>
                <a:cubicBezTo>
                  <a:pt x="1110088" y="5263684"/>
                  <a:pt x="1112617" y="5265548"/>
                  <a:pt x="1118476" y="5265548"/>
                </a:cubicBezTo>
                <a:cubicBezTo>
                  <a:pt x="1120605" y="5265548"/>
                  <a:pt x="1122338" y="5265148"/>
                  <a:pt x="1123932" y="5264616"/>
                </a:cubicBezTo>
                <a:cubicBezTo>
                  <a:pt x="1125398" y="5264083"/>
                  <a:pt x="1126733" y="5263151"/>
                  <a:pt x="1127663" y="5262219"/>
                </a:cubicBezTo>
                <a:cubicBezTo>
                  <a:pt x="1128728" y="5261020"/>
                  <a:pt x="1129660" y="5259689"/>
                  <a:pt x="1130327" y="5257959"/>
                </a:cubicBezTo>
                <a:cubicBezTo>
                  <a:pt x="1130991" y="5256362"/>
                  <a:pt x="1131392" y="5254498"/>
                  <a:pt x="1131392" y="5252501"/>
                </a:cubicBezTo>
                <a:cubicBezTo>
                  <a:pt x="1131392" y="5250637"/>
                  <a:pt x="1130991" y="5248907"/>
                  <a:pt x="1130327" y="5247309"/>
                </a:cubicBezTo>
                <a:cubicBezTo>
                  <a:pt x="1129660" y="5245712"/>
                  <a:pt x="1128728" y="5244381"/>
                  <a:pt x="1127663" y="5243183"/>
                </a:cubicBezTo>
                <a:cubicBezTo>
                  <a:pt x="1126598" y="5242118"/>
                  <a:pt x="1125265" y="5241186"/>
                  <a:pt x="1123667" y="5240521"/>
                </a:cubicBezTo>
                <a:cubicBezTo>
                  <a:pt x="1122205" y="5239855"/>
                  <a:pt x="1120605" y="5239589"/>
                  <a:pt x="1118609" y="5239589"/>
                </a:cubicBezTo>
                <a:close/>
                <a:moveTo>
                  <a:pt x="901097" y="5239589"/>
                </a:moveTo>
                <a:cubicBezTo>
                  <a:pt x="895239" y="5239589"/>
                  <a:pt x="892710" y="5241585"/>
                  <a:pt x="891113" y="5243183"/>
                </a:cubicBezTo>
                <a:cubicBezTo>
                  <a:pt x="888450" y="5245845"/>
                  <a:pt x="887386" y="5248641"/>
                  <a:pt x="887386" y="5252634"/>
                </a:cubicBezTo>
                <a:cubicBezTo>
                  <a:pt x="887386" y="5256761"/>
                  <a:pt x="888450" y="5259556"/>
                  <a:pt x="890980" y="5262085"/>
                </a:cubicBezTo>
                <a:cubicBezTo>
                  <a:pt x="892577" y="5263684"/>
                  <a:pt x="895106" y="5265548"/>
                  <a:pt x="900963" y="5265548"/>
                </a:cubicBezTo>
                <a:cubicBezTo>
                  <a:pt x="902960" y="5265548"/>
                  <a:pt x="904691" y="5265148"/>
                  <a:pt x="906421" y="5264616"/>
                </a:cubicBezTo>
                <a:cubicBezTo>
                  <a:pt x="907885" y="5264083"/>
                  <a:pt x="909217" y="5263151"/>
                  <a:pt x="910149" y="5262219"/>
                </a:cubicBezTo>
                <a:cubicBezTo>
                  <a:pt x="911213" y="5261020"/>
                  <a:pt x="912145" y="5259689"/>
                  <a:pt x="912811" y="5257959"/>
                </a:cubicBezTo>
                <a:cubicBezTo>
                  <a:pt x="913476" y="5256362"/>
                  <a:pt x="913876" y="5254498"/>
                  <a:pt x="913876" y="5252501"/>
                </a:cubicBezTo>
                <a:cubicBezTo>
                  <a:pt x="913876" y="5250637"/>
                  <a:pt x="913476" y="5248907"/>
                  <a:pt x="912811" y="5247309"/>
                </a:cubicBezTo>
                <a:cubicBezTo>
                  <a:pt x="912145" y="5245712"/>
                  <a:pt x="911213" y="5244381"/>
                  <a:pt x="910149" y="5243183"/>
                </a:cubicBezTo>
                <a:cubicBezTo>
                  <a:pt x="909084" y="5242118"/>
                  <a:pt x="907752" y="5241186"/>
                  <a:pt x="906155" y="5240521"/>
                </a:cubicBezTo>
                <a:cubicBezTo>
                  <a:pt x="904691" y="5239855"/>
                  <a:pt x="903093" y="5239589"/>
                  <a:pt x="901097" y="5239589"/>
                </a:cubicBezTo>
                <a:close/>
                <a:moveTo>
                  <a:pt x="683323" y="5239589"/>
                </a:moveTo>
                <a:cubicBezTo>
                  <a:pt x="677465" y="5239589"/>
                  <a:pt x="674936" y="5241585"/>
                  <a:pt x="673339" y="5243183"/>
                </a:cubicBezTo>
                <a:cubicBezTo>
                  <a:pt x="670809" y="5245845"/>
                  <a:pt x="669745" y="5248641"/>
                  <a:pt x="669745" y="5252634"/>
                </a:cubicBezTo>
                <a:cubicBezTo>
                  <a:pt x="669745" y="5256761"/>
                  <a:pt x="670809" y="5259556"/>
                  <a:pt x="673339" y="5262085"/>
                </a:cubicBezTo>
                <a:cubicBezTo>
                  <a:pt x="674936" y="5263684"/>
                  <a:pt x="677465" y="5265548"/>
                  <a:pt x="683323" y="5265548"/>
                </a:cubicBezTo>
                <a:cubicBezTo>
                  <a:pt x="685319" y="5265548"/>
                  <a:pt x="687183" y="5265148"/>
                  <a:pt x="688648" y="5264616"/>
                </a:cubicBezTo>
                <a:cubicBezTo>
                  <a:pt x="690112" y="5264083"/>
                  <a:pt x="691444" y="5263151"/>
                  <a:pt x="692375" y="5262219"/>
                </a:cubicBezTo>
                <a:cubicBezTo>
                  <a:pt x="693439" y="5261020"/>
                  <a:pt x="694371" y="5259689"/>
                  <a:pt x="695038" y="5257959"/>
                </a:cubicBezTo>
                <a:cubicBezTo>
                  <a:pt x="695703" y="5256362"/>
                  <a:pt x="696103" y="5254498"/>
                  <a:pt x="696103" y="5252501"/>
                </a:cubicBezTo>
                <a:cubicBezTo>
                  <a:pt x="696103" y="5250637"/>
                  <a:pt x="695703" y="5248907"/>
                  <a:pt x="695038" y="5247309"/>
                </a:cubicBezTo>
                <a:cubicBezTo>
                  <a:pt x="694371" y="5245712"/>
                  <a:pt x="693439" y="5244381"/>
                  <a:pt x="692375" y="5243183"/>
                </a:cubicBezTo>
                <a:cubicBezTo>
                  <a:pt x="691310" y="5242118"/>
                  <a:pt x="689979" y="5241186"/>
                  <a:pt x="688382" y="5240521"/>
                </a:cubicBezTo>
                <a:cubicBezTo>
                  <a:pt x="686918" y="5239855"/>
                  <a:pt x="685319" y="5239589"/>
                  <a:pt x="683323" y="5239589"/>
                </a:cubicBezTo>
                <a:close/>
                <a:moveTo>
                  <a:pt x="465681" y="5239589"/>
                </a:moveTo>
                <a:cubicBezTo>
                  <a:pt x="459824" y="5239589"/>
                  <a:pt x="457295" y="5241585"/>
                  <a:pt x="455698" y="5243183"/>
                </a:cubicBezTo>
                <a:cubicBezTo>
                  <a:pt x="453168" y="5245845"/>
                  <a:pt x="452104" y="5248641"/>
                  <a:pt x="452104" y="5252634"/>
                </a:cubicBezTo>
                <a:cubicBezTo>
                  <a:pt x="452104" y="5256761"/>
                  <a:pt x="453168" y="5259556"/>
                  <a:pt x="455698" y="5262085"/>
                </a:cubicBezTo>
                <a:cubicBezTo>
                  <a:pt x="457295" y="5263684"/>
                  <a:pt x="459824" y="5265548"/>
                  <a:pt x="465681" y="5265548"/>
                </a:cubicBezTo>
                <a:cubicBezTo>
                  <a:pt x="467678" y="5265548"/>
                  <a:pt x="469542" y="5265148"/>
                  <a:pt x="471006" y="5264616"/>
                </a:cubicBezTo>
                <a:cubicBezTo>
                  <a:pt x="472470" y="5264083"/>
                  <a:pt x="473801" y="5263151"/>
                  <a:pt x="474733" y="5262219"/>
                </a:cubicBezTo>
                <a:cubicBezTo>
                  <a:pt x="475798" y="5261020"/>
                  <a:pt x="476730" y="5259689"/>
                  <a:pt x="477396" y="5257959"/>
                </a:cubicBezTo>
                <a:cubicBezTo>
                  <a:pt x="478061" y="5256362"/>
                  <a:pt x="478461" y="5254498"/>
                  <a:pt x="478461" y="5252501"/>
                </a:cubicBezTo>
                <a:cubicBezTo>
                  <a:pt x="478461" y="5250637"/>
                  <a:pt x="478061" y="5248907"/>
                  <a:pt x="477396" y="5247309"/>
                </a:cubicBezTo>
                <a:cubicBezTo>
                  <a:pt x="476730" y="5245712"/>
                  <a:pt x="475798" y="5244381"/>
                  <a:pt x="474733" y="5243183"/>
                </a:cubicBezTo>
                <a:cubicBezTo>
                  <a:pt x="473668" y="5242118"/>
                  <a:pt x="472337" y="5241186"/>
                  <a:pt x="470740" y="5240521"/>
                </a:cubicBezTo>
                <a:cubicBezTo>
                  <a:pt x="469276" y="5239855"/>
                  <a:pt x="467678" y="5239589"/>
                  <a:pt x="465681" y="5239589"/>
                </a:cubicBezTo>
                <a:close/>
                <a:moveTo>
                  <a:pt x="248039" y="5239589"/>
                </a:moveTo>
                <a:cubicBezTo>
                  <a:pt x="242183" y="5239589"/>
                  <a:pt x="239654" y="5241585"/>
                  <a:pt x="238057" y="5243183"/>
                </a:cubicBezTo>
                <a:cubicBezTo>
                  <a:pt x="235527" y="5245845"/>
                  <a:pt x="234463" y="5248641"/>
                  <a:pt x="234463" y="5252634"/>
                </a:cubicBezTo>
                <a:cubicBezTo>
                  <a:pt x="234463" y="5256761"/>
                  <a:pt x="235527" y="5259556"/>
                  <a:pt x="238057" y="5262085"/>
                </a:cubicBezTo>
                <a:cubicBezTo>
                  <a:pt x="239654" y="5263684"/>
                  <a:pt x="242183" y="5265548"/>
                  <a:pt x="248039" y="5265548"/>
                </a:cubicBezTo>
                <a:cubicBezTo>
                  <a:pt x="250169" y="5265548"/>
                  <a:pt x="251900" y="5265148"/>
                  <a:pt x="253364" y="5264616"/>
                </a:cubicBezTo>
                <a:cubicBezTo>
                  <a:pt x="254828" y="5264083"/>
                  <a:pt x="256159" y="5263151"/>
                  <a:pt x="257091" y="5262219"/>
                </a:cubicBezTo>
                <a:cubicBezTo>
                  <a:pt x="258156" y="5261020"/>
                  <a:pt x="259088" y="5259689"/>
                  <a:pt x="259754" y="5257959"/>
                </a:cubicBezTo>
                <a:cubicBezTo>
                  <a:pt x="260419" y="5256362"/>
                  <a:pt x="260819" y="5254498"/>
                  <a:pt x="260819" y="5252501"/>
                </a:cubicBezTo>
                <a:cubicBezTo>
                  <a:pt x="260819" y="5250637"/>
                  <a:pt x="260419" y="5248907"/>
                  <a:pt x="259754" y="5247309"/>
                </a:cubicBezTo>
                <a:cubicBezTo>
                  <a:pt x="259088" y="5245712"/>
                  <a:pt x="258156" y="5244381"/>
                  <a:pt x="257091" y="5243183"/>
                </a:cubicBezTo>
                <a:cubicBezTo>
                  <a:pt x="256026" y="5242118"/>
                  <a:pt x="254695" y="5241186"/>
                  <a:pt x="253098" y="5240521"/>
                </a:cubicBezTo>
                <a:cubicBezTo>
                  <a:pt x="251633" y="5239855"/>
                  <a:pt x="250036" y="5239589"/>
                  <a:pt x="248039" y="5239589"/>
                </a:cubicBezTo>
                <a:close/>
                <a:moveTo>
                  <a:pt x="30398" y="5239589"/>
                </a:moveTo>
                <a:cubicBezTo>
                  <a:pt x="24540" y="5239589"/>
                  <a:pt x="22011" y="5241585"/>
                  <a:pt x="20414" y="5243183"/>
                </a:cubicBezTo>
                <a:cubicBezTo>
                  <a:pt x="17885" y="5245845"/>
                  <a:pt x="16821" y="5248641"/>
                  <a:pt x="16821" y="5252634"/>
                </a:cubicBezTo>
                <a:cubicBezTo>
                  <a:pt x="16821" y="5256761"/>
                  <a:pt x="17885" y="5259556"/>
                  <a:pt x="20414" y="5262085"/>
                </a:cubicBezTo>
                <a:cubicBezTo>
                  <a:pt x="22011" y="5263684"/>
                  <a:pt x="24540" y="5265548"/>
                  <a:pt x="30398" y="5265548"/>
                </a:cubicBezTo>
                <a:cubicBezTo>
                  <a:pt x="32528" y="5265548"/>
                  <a:pt x="34259" y="5265148"/>
                  <a:pt x="35723" y="5264616"/>
                </a:cubicBezTo>
                <a:cubicBezTo>
                  <a:pt x="37187" y="5264083"/>
                  <a:pt x="38519" y="5263151"/>
                  <a:pt x="39450" y="5262219"/>
                </a:cubicBezTo>
                <a:cubicBezTo>
                  <a:pt x="40515" y="5261020"/>
                  <a:pt x="41447" y="5259689"/>
                  <a:pt x="42113" y="5257959"/>
                </a:cubicBezTo>
                <a:cubicBezTo>
                  <a:pt x="42778" y="5256362"/>
                  <a:pt x="43044" y="5254498"/>
                  <a:pt x="43044" y="5252501"/>
                </a:cubicBezTo>
                <a:cubicBezTo>
                  <a:pt x="43044" y="5250637"/>
                  <a:pt x="42778" y="5248907"/>
                  <a:pt x="42113" y="5247309"/>
                </a:cubicBezTo>
                <a:cubicBezTo>
                  <a:pt x="41447" y="5245712"/>
                  <a:pt x="40515" y="5244381"/>
                  <a:pt x="39450" y="5243183"/>
                </a:cubicBezTo>
                <a:cubicBezTo>
                  <a:pt x="38385" y="5242118"/>
                  <a:pt x="37054" y="5241186"/>
                  <a:pt x="35457" y="5240521"/>
                </a:cubicBezTo>
                <a:cubicBezTo>
                  <a:pt x="33993" y="5239855"/>
                  <a:pt x="32395" y="5239589"/>
                  <a:pt x="30398" y="5239589"/>
                </a:cubicBezTo>
                <a:close/>
                <a:moveTo>
                  <a:pt x="10475977" y="5222816"/>
                </a:moveTo>
                <a:cubicBezTo>
                  <a:pt x="10480237" y="5222816"/>
                  <a:pt x="10484230" y="5223615"/>
                  <a:pt x="10487824" y="5225478"/>
                </a:cubicBezTo>
                <a:cubicBezTo>
                  <a:pt x="10491419" y="5227076"/>
                  <a:pt x="10494613" y="5229206"/>
                  <a:pt x="10497143" y="5231868"/>
                </a:cubicBezTo>
                <a:cubicBezTo>
                  <a:pt x="10499672" y="5234397"/>
                  <a:pt x="10501801" y="5237592"/>
                  <a:pt x="10503266" y="5241186"/>
                </a:cubicBezTo>
                <a:cubicBezTo>
                  <a:pt x="10504730" y="5244780"/>
                  <a:pt x="10505529" y="5248507"/>
                  <a:pt x="10505529" y="5252634"/>
                </a:cubicBezTo>
                <a:cubicBezTo>
                  <a:pt x="10505529" y="5256761"/>
                  <a:pt x="10504730" y="5260754"/>
                  <a:pt x="10503266" y="5264349"/>
                </a:cubicBezTo>
                <a:cubicBezTo>
                  <a:pt x="10501669" y="5267944"/>
                  <a:pt x="10499672" y="5271005"/>
                  <a:pt x="10497143" y="5273668"/>
                </a:cubicBezTo>
                <a:cubicBezTo>
                  <a:pt x="10494480" y="5276330"/>
                  <a:pt x="10491419" y="5278460"/>
                  <a:pt x="10487824" y="5279924"/>
                </a:cubicBezTo>
                <a:cubicBezTo>
                  <a:pt x="10484098" y="5281388"/>
                  <a:pt x="10480237" y="5282187"/>
                  <a:pt x="10475977" y="5282187"/>
                </a:cubicBezTo>
                <a:cubicBezTo>
                  <a:pt x="10466924" y="5282187"/>
                  <a:pt x="10459736" y="5279259"/>
                  <a:pt x="10454145" y="5273668"/>
                </a:cubicBezTo>
                <a:cubicBezTo>
                  <a:pt x="10448554" y="5268076"/>
                  <a:pt x="10445759" y="5260887"/>
                  <a:pt x="10445759" y="5252501"/>
                </a:cubicBezTo>
                <a:cubicBezTo>
                  <a:pt x="10445759" y="5244248"/>
                  <a:pt x="10448554" y="5237193"/>
                  <a:pt x="10454145" y="5231468"/>
                </a:cubicBezTo>
                <a:cubicBezTo>
                  <a:pt x="10459603" y="5225612"/>
                  <a:pt x="10466924" y="5222816"/>
                  <a:pt x="10475977" y="5222816"/>
                </a:cubicBezTo>
                <a:close/>
                <a:moveTo>
                  <a:pt x="10258466" y="5222816"/>
                </a:moveTo>
                <a:cubicBezTo>
                  <a:pt x="10262592" y="5222816"/>
                  <a:pt x="10266586" y="5223615"/>
                  <a:pt x="10270313" y="5225478"/>
                </a:cubicBezTo>
                <a:cubicBezTo>
                  <a:pt x="10273907" y="5227076"/>
                  <a:pt x="10277101" y="5229206"/>
                  <a:pt x="10279631" y="5231868"/>
                </a:cubicBezTo>
                <a:cubicBezTo>
                  <a:pt x="10282160" y="5234397"/>
                  <a:pt x="10284290" y="5237592"/>
                  <a:pt x="10285754" y="5241186"/>
                </a:cubicBezTo>
                <a:cubicBezTo>
                  <a:pt x="10287218" y="5244780"/>
                  <a:pt x="10288017" y="5248507"/>
                  <a:pt x="10288017" y="5252634"/>
                </a:cubicBezTo>
                <a:cubicBezTo>
                  <a:pt x="10288017" y="5256761"/>
                  <a:pt x="10287218" y="5260754"/>
                  <a:pt x="10285754" y="5264349"/>
                </a:cubicBezTo>
                <a:cubicBezTo>
                  <a:pt x="10284157" y="5267944"/>
                  <a:pt x="10282160" y="5271005"/>
                  <a:pt x="10279631" y="5273668"/>
                </a:cubicBezTo>
                <a:cubicBezTo>
                  <a:pt x="10276969" y="5276330"/>
                  <a:pt x="10273907" y="5278460"/>
                  <a:pt x="10270313" y="5279924"/>
                </a:cubicBezTo>
                <a:cubicBezTo>
                  <a:pt x="10266586" y="5281388"/>
                  <a:pt x="10262725" y="5282187"/>
                  <a:pt x="10258466" y="5282187"/>
                </a:cubicBezTo>
                <a:cubicBezTo>
                  <a:pt x="10249546" y="5282187"/>
                  <a:pt x="10242224" y="5279259"/>
                  <a:pt x="10236633" y="5273668"/>
                </a:cubicBezTo>
                <a:cubicBezTo>
                  <a:pt x="10231043" y="5268076"/>
                  <a:pt x="10228247" y="5260887"/>
                  <a:pt x="10228247" y="5252501"/>
                </a:cubicBezTo>
                <a:cubicBezTo>
                  <a:pt x="10228247" y="5244248"/>
                  <a:pt x="10231043" y="5237193"/>
                  <a:pt x="10236633" y="5231468"/>
                </a:cubicBezTo>
                <a:cubicBezTo>
                  <a:pt x="10242092" y="5225612"/>
                  <a:pt x="10249413" y="5222816"/>
                  <a:pt x="10258466" y="5222816"/>
                </a:cubicBezTo>
                <a:close/>
                <a:moveTo>
                  <a:pt x="10040820" y="5222816"/>
                </a:moveTo>
                <a:cubicBezTo>
                  <a:pt x="10045080" y="5222816"/>
                  <a:pt x="10048941" y="5223615"/>
                  <a:pt x="10052534" y="5225478"/>
                </a:cubicBezTo>
                <a:cubicBezTo>
                  <a:pt x="10056129" y="5227076"/>
                  <a:pt x="10059323" y="5229206"/>
                  <a:pt x="10061852" y="5231868"/>
                </a:cubicBezTo>
                <a:cubicBezTo>
                  <a:pt x="10064382" y="5234397"/>
                  <a:pt x="10066512" y="5237592"/>
                  <a:pt x="10067976" y="5241186"/>
                </a:cubicBezTo>
                <a:cubicBezTo>
                  <a:pt x="10069440" y="5244780"/>
                  <a:pt x="10070239" y="5248507"/>
                  <a:pt x="10070239" y="5252634"/>
                </a:cubicBezTo>
                <a:cubicBezTo>
                  <a:pt x="10070239" y="5256761"/>
                  <a:pt x="10069440" y="5260754"/>
                  <a:pt x="10067976" y="5264349"/>
                </a:cubicBezTo>
                <a:cubicBezTo>
                  <a:pt x="10066379" y="5267944"/>
                  <a:pt x="10064382" y="5271005"/>
                  <a:pt x="10061852" y="5273668"/>
                </a:cubicBezTo>
                <a:cubicBezTo>
                  <a:pt x="10059190" y="5276330"/>
                  <a:pt x="10056129" y="5278460"/>
                  <a:pt x="10052534" y="5279924"/>
                </a:cubicBezTo>
                <a:cubicBezTo>
                  <a:pt x="10048941" y="5281388"/>
                  <a:pt x="10045080" y="5282187"/>
                  <a:pt x="10040820" y="5282187"/>
                </a:cubicBezTo>
                <a:cubicBezTo>
                  <a:pt x="10031767" y="5282187"/>
                  <a:pt x="10024579" y="5279259"/>
                  <a:pt x="10018988" y="5273668"/>
                </a:cubicBezTo>
                <a:cubicBezTo>
                  <a:pt x="10013397" y="5268076"/>
                  <a:pt x="10010602" y="5260887"/>
                  <a:pt x="10010602" y="5252501"/>
                </a:cubicBezTo>
                <a:cubicBezTo>
                  <a:pt x="10010602" y="5244248"/>
                  <a:pt x="10013397" y="5237193"/>
                  <a:pt x="10018988" y="5231468"/>
                </a:cubicBezTo>
                <a:cubicBezTo>
                  <a:pt x="10024579" y="5225612"/>
                  <a:pt x="10031767" y="5222816"/>
                  <a:pt x="10040820" y="5222816"/>
                </a:cubicBezTo>
                <a:close/>
                <a:moveTo>
                  <a:pt x="9823176" y="5222816"/>
                </a:moveTo>
                <a:cubicBezTo>
                  <a:pt x="9827435" y="5222816"/>
                  <a:pt x="9831296" y="5223615"/>
                  <a:pt x="9834890" y="5225478"/>
                </a:cubicBezTo>
                <a:cubicBezTo>
                  <a:pt x="9838617" y="5227076"/>
                  <a:pt x="9841679" y="5229206"/>
                  <a:pt x="9844208" y="5231868"/>
                </a:cubicBezTo>
                <a:cubicBezTo>
                  <a:pt x="9846737" y="5234397"/>
                  <a:pt x="9848867" y="5237592"/>
                  <a:pt x="9850331" y="5241186"/>
                </a:cubicBezTo>
                <a:cubicBezTo>
                  <a:pt x="9851796" y="5244780"/>
                  <a:pt x="9852595" y="5248507"/>
                  <a:pt x="9852595" y="5252634"/>
                </a:cubicBezTo>
                <a:cubicBezTo>
                  <a:pt x="9852595" y="5256761"/>
                  <a:pt x="9851796" y="5260754"/>
                  <a:pt x="9850331" y="5264349"/>
                </a:cubicBezTo>
                <a:cubicBezTo>
                  <a:pt x="9848734" y="5267944"/>
                  <a:pt x="9846737" y="5271005"/>
                  <a:pt x="9844208" y="5273668"/>
                </a:cubicBezTo>
                <a:cubicBezTo>
                  <a:pt x="9841546" y="5276330"/>
                  <a:pt x="9838484" y="5278460"/>
                  <a:pt x="9834890" y="5279924"/>
                </a:cubicBezTo>
                <a:cubicBezTo>
                  <a:pt x="9831296" y="5281388"/>
                  <a:pt x="9827435" y="5282187"/>
                  <a:pt x="9823176" y="5282187"/>
                </a:cubicBezTo>
                <a:cubicBezTo>
                  <a:pt x="9814123" y="5282187"/>
                  <a:pt x="9806935" y="5279259"/>
                  <a:pt x="9801343" y="5273668"/>
                </a:cubicBezTo>
                <a:cubicBezTo>
                  <a:pt x="9795753" y="5268076"/>
                  <a:pt x="9792957" y="5260887"/>
                  <a:pt x="9792957" y="5252501"/>
                </a:cubicBezTo>
                <a:cubicBezTo>
                  <a:pt x="9792957" y="5244248"/>
                  <a:pt x="9795753" y="5237193"/>
                  <a:pt x="9801343" y="5231468"/>
                </a:cubicBezTo>
                <a:cubicBezTo>
                  <a:pt x="9806935" y="5225612"/>
                  <a:pt x="9814123" y="5222816"/>
                  <a:pt x="9823176" y="5222816"/>
                </a:cubicBezTo>
                <a:close/>
                <a:moveTo>
                  <a:pt x="9605531" y="5222816"/>
                </a:moveTo>
                <a:cubicBezTo>
                  <a:pt x="9609790" y="5222816"/>
                  <a:pt x="9613784" y="5223615"/>
                  <a:pt x="9617245" y="5225478"/>
                </a:cubicBezTo>
                <a:cubicBezTo>
                  <a:pt x="9620839" y="5227076"/>
                  <a:pt x="9624033" y="5229206"/>
                  <a:pt x="9626562" y="5231868"/>
                </a:cubicBezTo>
                <a:cubicBezTo>
                  <a:pt x="9629092" y="5234397"/>
                  <a:pt x="9631222" y="5237592"/>
                  <a:pt x="9632686" y="5241186"/>
                </a:cubicBezTo>
                <a:cubicBezTo>
                  <a:pt x="9634150" y="5244780"/>
                  <a:pt x="9634949" y="5248507"/>
                  <a:pt x="9634949" y="5252634"/>
                </a:cubicBezTo>
                <a:cubicBezTo>
                  <a:pt x="9634949" y="5256761"/>
                  <a:pt x="9634150" y="5260754"/>
                  <a:pt x="9632686" y="5264349"/>
                </a:cubicBezTo>
                <a:cubicBezTo>
                  <a:pt x="9631089" y="5267944"/>
                  <a:pt x="9629092" y="5271005"/>
                  <a:pt x="9626562" y="5273668"/>
                </a:cubicBezTo>
                <a:cubicBezTo>
                  <a:pt x="9623901" y="5276330"/>
                  <a:pt x="9620839" y="5278460"/>
                  <a:pt x="9617245" y="5279924"/>
                </a:cubicBezTo>
                <a:cubicBezTo>
                  <a:pt x="9613651" y="5281388"/>
                  <a:pt x="9609790" y="5282187"/>
                  <a:pt x="9605531" y="5282187"/>
                </a:cubicBezTo>
                <a:cubicBezTo>
                  <a:pt x="9596610" y="5282187"/>
                  <a:pt x="9589289" y="5279259"/>
                  <a:pt x="9583698" y="5273668"/>
                </a:cubicBezTo>
                <a:cubicBezTo>
                  <a:pt x="9578108" y="5268076"/>
                  <a:pt x="9575312" y="5260887"/>
                  <a:pt x="9575312" y="5252501"/>
                </a:cubicBezTo>
                <a:cubicBezTo>
                  <a:pt x="9575312" y="5244248"/>
                  <a:pt x="9578108" y="5237193"/>
                  <a:pt x="9583698" y="5231468"/>
                </a:cubicBezTo>
                <a:cubicBezTo>
                  <a:pt x="9589289" y="5225612"/>
                  <a:pt x="9596478" y="5222816"/>
                  <a:pt x="9605531" y="5222816"/>
                </a:cubicBezTo>
                <a:close/>
                <a:moveTo>
                  <a:pt x="9387885" y="5222816"/>
                </a:moveTo>
                <a:cubicBezTo>
                  <a:pt x="9392145" y="5222816"/>
                  <a:pt x="9396138" y="5223615"/>
                  <a:pt x="9399599" y="5225478"/>
                </a:cubicBezTo>
                <a:cubicBezTo>
                  <a:pt x="9403194" y="5227076"/>
                  <a:pt x="9406388" y="5229206"/>
                  <a:pt x="9408917" y="5231868"/>
                </a:cubicBezTo>
                <a:cubicBezTo>
                  <a:pt x="9411447" y="5234397"/>
                  <a:pt x="9413576" y="5237592"/>
                  <a:pt x="9415041" y="5241186"/>
                </a:cubicBezTo>
                <a:cubicBezTo>
                  <a:pt x="9416505" y="5244780"/>
                  <a:pt x="9417304" y="5248507"/>
                  <a:pt x="9417304" y="5252634"/>
                </a:cubicBezTo>
                <a:cubicBezTo>
                  <a:pt x="9417304" y="5256761"/>
                  <a:pt x="9416505" y="5260754"/>
                  <a:pt x="9415041" y="5264349"/>
                </a:cubicBezTo>
                <a:cubicBezTo>
                  <a:pt x="9413444" y="5267944"/>
                  <a:pt x="9411447" y="5271005"/>
                  <a:pt x="9408917" y="5273668"/>
                </a:cubicBezTo>
                <a:cubicBezTo>
                  <a:pt x="9406255" y="5276330"/>
                  <a:pt x="9403194" y="5278460"/>
                  <a:pt x="9399599" y="5279924"/>
                </a:cubicBezTo>
                <a:cubicBezTo>
                  <a:pt x="9396005" y="5281388"/>
                  <a:pt x="9392145" y="5282187"/>
                  <a:pt x="9387885" y="5282187"/>
                </a:cubicBezTo>
                <a:cubicBezTo>
                  <a:pt x="9378965" y="5282187"/>
                  <a:pt x="9371644" y="5279259"/>
                  <a:pt x="9366053" y="5273668"/>
                </a:cubicBezTo>
                <a:cubicBezTo>
                  <a:pt x="9360462" y="5268076"/>
                  <a:pt x="9357667" y="5260887"/>
                  <a:pt x="9357667" y="5252501"/>
                </a:cubicBezTo>
                <a:cubicBezTo>
                  <a:pt x="9357667" y="5244248"/>
                  <a:pt x="9360462" y="5237193"/>
                  <a:pt x="9366053" y="5231468"/>
                </a:cubicBezTo>
                <a:cubicBezTo>
                  <a:pt x="9371644" y="5225612"/>
                  <a:pt x="9378832" y="5222816"/>
                  <a:pt x="9387885" y="5222816"/>
                </a:cubicBezTo>
                <a:close/>
                <a:moveTo>
                  <a:pt x="9170374" y="5222816"/>
                </a:moveTo>
                <a:cubicBezTo>
                  <a:pt x="9174500" y="5222816"/>
                  <a:pt x="9178494" y="5223615"/>
                  <a:pt x="9182088" y="5225478"/>
                </a:cubicBezTo>
                <a:cubicBezTo>
                  <a:pt x="9185682" y="5227076"/>
                  <a:pt x="9188876" y="5229206"/>
                  <a:pt x="9191405" y="5231868"/>
                </a:cubicBezTo>
                <a:cubicBezTo>
                  <a:pt x="9193935" y="5234397"/>
                  <a:pt x="9196065" y="5237592"/>
                  <a:pt x="9197529" y="5241186"/>
                </a:cubicBezTo>
                <a:cubicBezTo>
                  <a:pt x="9198993" y="5244780"/>
                  <a:pt x="9199792" y="5248507"/>
                  <a:pt x="9199792" y="5252634"/>
                </a:cubicBezTo>
                <a:cubicBezTo>
                  <a:pt x="9199792" y="5256761"/>
                  <a:pt x="9198993" y="5260754"/>
                  <a:pt x="9197529" y="5264349"/>
                </a:cubicBezTo>
                <a:cubicBezTo>
                  <a:pt x="9195932" y="5267944"/>
                  <a:pt x="9193935" y="5271005"/>
                  <a:pt x="9191405" y="5273668"/>
                </a:cubicBezTo>
                <a:cubicBezTo>
                  <a:pt x="9188744" y="5276330"/>
                  <a:pt x="9185682" y="5278460"/>
                  <a:pt x="9182088" y="5279924"/>
                </a:cubicBezTo>
                <a:cubicBezTo>
                  <a:pt x="9178494" y="5281388"/>
                  <a:pt x="9174633" y="5282187"/>
                  <a:pt x="9170374" y="5282187"/>
                </a:cubicBezTo>
                <a:cubicBezTo>
                  <a:pt x="9161453" y="5282187"/>
                  <a:pt x="9154132" y="5279259"/>
                  <a:pt x="9148541" y="5273668"/>
                </a:cubicBezTo>
                <a:cubicBezTo>
                  <a:pt x="9142951" y="5268076"/>
                  <a:pt x="9140155" y="5260887"/>
                  <a:pt x="9140155" y="5252501"/>
                </a:cubicBezTo>
                <a:cubicBezTo>
                  <a:pt x="9140155" y="5244248"/>
                  <a:pt x="9142951" y="5237193"/>
                  <a:pt x="9148541" y="5231468"/>
                </a:cubicBezTo>
                <a:cubicBezTo>
                  <a:pt x="9154132" y="5225612"/>
                  <a:pt x="9161321" y="5222816"/>
                  <a:pt x="9170374" y="5222816"/>
                </a:cubicBezTo>
                <a:close/>
                <a:moveTo>
                  <a:pt x="8952728" y="5222816"/>
                </a:moveTo>
                <a:cubicBezTo>
                  <a:pt x="8956988" y="5222816"/>
                  <a:pt x="8960849" y="5223615"/>
                  <a:pt x="8964442" y="5225478"/>
                </a:cubicBezTo>
                <a:cubicBezTo>
                  <a:pt x="8968037" y="5227076"/>
                  <a:pt x="8971231" y="5229206"/>
                  <a:pt x="8973760" y="5231868"/>
                </a:cubicBezTo>
                <a:cubicBezTo>
                  <a:pt x="8976290" y="5234397"/>
                  <a:pt x="8978419" y="5237592"/>
                  <a:pt x="8979884" y="5241186"/>
                </a:cubicBezTo>
                <a:cubicBezTo>
                  <a:pt x="8981348" y="5244780"/>
                  <a:pt x="8982147" y="5248507"/>
                  <a:pt x="8982147" y="5252634"/>
                </a:cubicBezTo>
                <a:cubicBezTo>
                  <a:pt x="8982147" y="5256761"/>
                  <a:pt x="8981348" y="5260754"/>
                  <a:pt x="8979884" y="5264349"/>
                </a:cubicBezTo>
                <a:cubicBezTo>
                  <a:pt x="8978287" y="5267944"/>
                  <a:pt x="8976290" y="5271005"/>
                  <a:pt x="8973760" y="5273668"/>
                </a:cubicBezTo>
                <a:cubicBezTo>
                  <a:pt x="8971098" y="5276330"/>
                  <a:pt x="8968037" y="5278460"/>
                  <a:pt x="8964442" y="5279924"/>
                </a:cubicBezTo>
                <a:cubicBezTo>
                  <a:pt x="8960849" y="5281388"/>
                  <a:pt x="8956988" y="5282187"/>
                  <a:pt x="8952728" y="5282187"/>
                </a:cubicBezTo>
                <a:cubicBezTo>
                  <a:pt x="8943808" y="5282187"/>
                  <a:pt x="8936487" y="5279259"/>
                  <a:pt x="8930896" y="5273668"/>
                </a:cubicBezTo>
                <a:cubicBezTo>
                  <a:pt x="8925305" y="5268076"/>
                  <a:pt x="8922510" y="5260887"/>
                  <a:pt x="8922510" y="5252501"/>
                </a:cubicBezTo>
                <a:cubicBezTo>
                  <a:pt x="8922510" y="5244248"/>
                  <a:pt x="8925305" y="5237193"/>
                  <a:pt x="8930896" y="5231468"/>
                </a:cubicBezTo>
                <a:cubicBezTo>
                  <a:pt x="8936487" y="5225612"/>
                  <a:pt x="8943675" y="5222816"/>
                  <a:pt x="8952728" y="5222816"/>
                </a:cubicBezTo>
                <a:close/>
                <a:moveTo>
                  <a:pt x="8735083" y="5222816"/>
                </a:moveTo>
                <a:cubicBezTo>
                  <a:pt x="8739342" y="5222816"/>
                  <a:pt x="8743203" y="5223615"/>
                  <a:pt x="8746797" y="5225478"/>
                </a:cubicBezTo>
                <a:cubicBezTo>
                  <a:pt x="8750391" y="5227076"/>
                  <a:pt x="8753586" y="5229206"/>
                  <a:pt x="8756115" y="5231868"/>
                </a:cubicBezTo>
                <a:cubicBezTo>
                  <a:pt x="8758644" y="5234397"/>
                  <a:pt x="8760774" y="5237592"/>
                  <a:pt x="8762238" y="5241186"/>
                </a:cubicBezTo>
                <a:cubicBezTo>
                  <a:pt x="8763702" y="5244780"/>
                  <a:pt x="8764502" y="5248507"/>
                  <a:pt x="8764502" y="5252634"/>
                </a:cubicBezTo>
                <a:cubicBezTo>
                  <a:pt x="8764502" y="5256761"/>
                  <a:pt x="8763702" y="5260754"/>
                  <a:pt x="8762238" y="5264349"/>
                </a:cubicBezTo>
                <a:cubicBezTo>
                  <a:pt x="8760641" y="5267944"/>
                  <a:pt x="8758644" y="5271005"/>
                  <a:pt x="8756115" y="5273668"/>
                </a:cubicBezTo>
                <a:cubicBezTo>
                  <a:pt x="8753453" y="5276330"/>
                  <a:pt x="8750391" y="5278460"/>
                  <a:pt x="8746797" y="5279924"/>
                </a:cubicBezTo>
                <a:cubicBezTo>
                  <a:pt x="8743203" y="5281388"/>
                  <a:pt x="8739342" y="5282187"/>
                  <a:pt x="8735083" y="5282187"/>
                </a:cubicBezTo>
                <a:cubicBezTo>
                  <a:pt x="8726030" y="5282187"/>
                  <a:pt x="8718841" y="5279259"/>
                  <a:pt x="8713250" y="5273668"/>
                </a:cubicBezTo>
                <a:cubicBezTo>
                  <a:pt x="8707660" y="5268076"/>
                  <a:pt x="8704864" y="5260887"/>
                  <a:pt x="8704864" y="5252501"/>
                </a:cubicBezTo>
                <a:cubicBezTo>
                  <a:pt x="8704864" y="5244248"/>
                  <a:pt x="8707660" y="5237193"/>
                  <a:pt x="8713250" y="5231468"/>
                </a:cubicBezTo>
                <a:cubicBezTo>
                  <a:pt x="8718841" y="5225612"/>
                  <a:pt x="8726030" y="5222816"/>
                  <a:pt x="8735083" y="5222816"/>
                </a:cubicBezTo>
                <a:close/>
                <a:moveTo>
                  <a:pt x="8517438" y="5222816"/>
                </a:moveTo>
                <a:cubicBezTo>
                  <a:pt x="8521698" y="5222816"/>
                  <a:pt x="8525559" y="5223615"/>
                  <a:pt x="8529152" y="5225478"/>
                </a:cubicBezTo>
                <a:cubicBezTo>
                  <a:pt x="8532880" y="5227076"/>
                  <a:pt x="8535941" y="5229206"/>
                  <a:pt x="8538470" y="5231868"/>
                </a:cubicBezTo>
                <a:cubicBezTo>
                  <a:pt x="8541000" y="5234397"/>
                  <a:pt x="8543130" y="5237592"/>
                  <a:pt x="8544594" y="5241186"/>
                </a:cubicBezTo>
                <a:cubicBezTo>
                  <a:pt x="8546058" y="5244780"/>
                  <a:pt x="8546857" y="5248507"/>
                  <a:pt x="8546857" y="5252634"/>
                </a:cubicBezTo>
                <a:cubicBezTo>
                  <a:pt x="8546857" y="5256761"/>
                  <a:pt x="8546058" y="5260754"/>
                  <a:pt x="8544594" y="5264349"/>
                </a:cubicBezTo>
                <a:cubicBezTo>
                  <a:pt x="8542997" y="5267944"/>
                  <a:pt x="8541000" y="5271005"/>
                  <a:pt x="8538470" y="5273668"/>
                </a:cubicBezTo>
                <a:cubicBezTo>
                  <a:pt x="8535808" y="5276330"/>
                  <a:pt x="8532747" y="5278460"/>
                  <a:pt x="8529152" y="5279924"/>
                </a:cubicBezTo>
                <a:cubicBezTo>
                  <a:pt x="8525559" y="5281388"/>
                  <a:pt x="8521698" y="5282187"/>
                  <a:pt x="8517438" y="5282187"/>
                </a:cubicBezTo>
                <a:cubicBezTo>
                  <a:pt x="8508385" y="5282187"/>
                  <a:pt x="8501197" y="5279259"/>
                  <a:pt x="8495606" y="5273668"/>
                </a:cubicBezTo>
                <a:cubicBezTo>
                  <a:pt x="8490015" y="5268076"/>
                  <a:pt x="8487220" y="5260887"/>
                  <a:pt x="8487220" y="5252501"/>
                </a:cubicBezTo>
                <a:cubicBezTo>
                  <a:pt x="8487220" y="5244248"/>
                  <a:pt x="8490015" y="5237193"/>
                  <a:pt x="8495606" y="5231468"/>
                </a:cubicBezTo>
                <a:cubicBezTo>
                  <a:pt x="8501197" y="5225612"/>
                  <a:pt x="8508385" y="5222816"/>
                  <a:pt x="8517438" y="5222816"/>
                </a:cubicBezTo>
                <a:close/>
                <a:moveTo>
                  <a:pt x="8299793" y="5222816"/>
                </a:moveTo>
                <a:cubicBezTo>
                  <a:pt x="8304052" y="5222816"/>
                  <a:pt x="8308046" y="5223615"/>
                  <a:pt x="8311507" y="5225478"/>
                </a:cubicBezTo>
                <a:cubicBezTo>
                  <a:pt x="8315235" y="5227076"/>
                  <a:pt x="8318296" y="5229206"/>
                  <a:pt x="8320825" y="5231868"/>
                </a:cubicBezTo>
                <a:cubicBezTo>
                  <a:pt x="8323354" y="5234397"/>
                  <a:pt x="8325484" y="5237592"/>
                  <a:pt x="8326948" y="5241186"/>
                </a:cubicBezTo>
                <a:cubicBezTo>
                  <a:pt x="8328413" y="5244780"/>
                  <a:pt x="8329212" y="5248507"/>
                  <a:pt x="8329212" y="5252634"/>
                </a:cubicBezTo>
                <a:cubicBezTo>
                  <a:pt x="8329212" y="5256761"/>
                  <a:pt x="8328413" y="5260754"/>
                  <a:pt x="8326948" y="5264349"/>
                </a:cubicBezTo>
                <a:cubicBezTo>
                  <a:pt x="8325351" y="5267944"/>
                  <a:pt x="8323354" y="5271005"/>
                  <a:pt x="8320825" y="5273668"/>
                </a:cubicBezTo>
                <a:cubicBezTo>
                  <a:pt x="8318163" y="5276330"/>
                  <a:pt x="8315101" y="5278460"/>
                  <a:pt x="8311507" y="5279924"/>
                </a:cubicBezTo>
                <a:cubicBezTo>
                  <a:pt x="8307913" y="5281388"/>
                  <a:pt x="8304052" y="5282187"/>
                  <a:pt x="8299793" y="5282187"/>
                </a:cubicBezTo>
                <a:cubicBezTo>
                  <a:pt x="8290874" y="5282187"/>
                  <a:pt x="8283553" y="5279259"/>
                  <a:pt x="8277960" y="5273668"/>
                </a:cubicBezTo>
                <a:cubicBezTo>
                  <a:pt x="8272370" y="5268076"/>
                  <a:pt x="8269574" y="5260887"/>
                  <a:pt x="8269574" y="5252501"/>
                </a:cubicBezTo>
                <a:cubicBezTo>
                  <a:pt x="8269574" y="5244248"/>
                  <a:pt x="8272370" y="5237193"/>
                  <a:pt x="8277960" y="5231468"/>
                </a:cubicBezTo>
                <a:cubicBezTo>
                  <a:pt x="8283553" y="5225612"/>
                  <a:pt x="8290741" y="5222816"/>
                  <a:pt x="8299793" y="5222816"/>
                </a:cubicBezTo>
                <a:close/>
                <a:moveTo>
                  <a:pt x="8082281" y="5222816"/>
                </a:moveTo>
                <a:cubicBezTo>
                  <a:pt x="8086407" y="5222816"/>
                  <a:pt x="8090401" y="5223615"/>
                  <a:pt x="8094127" y="5225478"/>
                </a:cubicBezTo>
                <a:cubicBezTo>
                  <a:pt x="8097855" y="5227076"/>
                  <a:pt x="8100916" y="5229206"/>
                  <a:pt x="8103446" y="5231868"/>
                </a:cubicBezTo>
                <a:cubicBezTo>
                  <a:pt x="8105975" y="5234397"/>
                  <a:pt x="8108104" y="5237592"/>
                  <a:pt x="8109569" y="5241186"/>
                </a:cubicBezTo>
                <a:cubicBezTo>
                  <a:pt x="8111033" y="5244780"/>
                  <a:pt x="8111832" y="5248507"/>
                  <a:pt x="8111832" y="5252634"/>
                </a:cubicBezTo>
                <a:cubicBezTo>
                  <a:pt x="8111832" y="5256761"/>
                  <a:pt x="8111033" y="5260754"/>
                  <a:pt x="8109569" y="5264349"/>
                </a:cubicBezTo>
                <a:cubicBezTo>
                  <a:pt x="8107972" y="5267944"/>
                  <a:pt x="8105975" y="5271005"/>
                  <a:pt x="8103446" y="5273668"/>
                </a:cubicBezTo>
                <a:cubicBezTo>
                  <a:pt x="8100783" y="5276330"/>
                  <a:pt x="8097722" y="5278460"/>
                  <a:pt x="8094127" y="5279924"/>
                </a:cubicBezTo>
                <a:cubicBezTo>
                  <a:pt x="8090401" y="5281388"/>
                  <a:pt x="8086540" y="5282187"/>
                  <a:pt x="8082281" y="5282187"/>
                </a:cubicBezTo>
                <a:cubicBezTo>
                  <a:pt x="8073361" y="5282187"/>
                  <a:pt x="8066040" y="5279259"/>
                  <a:pt x="8060448" y="5273668"/>
                </a:cubicBezTo>
                <a:cubicBezTo>
                  <a:pt x="8054857" y="5268076"/>
                  <a:pt x="8052062" y="5260887"/>
                  <a:pt x="8052062" y="5252501"/>
                </a:cubicBezTo>
                <a:cubicBezTo>
                  <a:pt x="8052062" y="5244248"/>
                  <a:pt x="8054857" y="5237193"/>
                  <a:pt x="8060448" y="5231468"/>
                </a:cubicBezTo>
                <a:cubicBezTo>
                  <a:pt x="8066040" y="5225612"/>
                  <a:pt x="8073228" y="5222816"/>
                  <a:pt x="8082281" y="5222816"/>
                </a:cubicBezTo>
                <a:close/>
                <a:moveTo>
                  <a:pt x="7864636" y="5222816"/>
                </a:moveTo>
                <a:cubicBezTo>
                  <a:pt x="7868762" y="5222816"/>
                  <a:pt x="7872756" y="5223615"/>
                  <a:pt x="7876483" y="5225478"/>
                </a:cubicBezTo>
                <a:cubicBezTo>
                  <a:pt x="7880210" y="5227076"/>
                  <a:pt x="7883272" y="5229206"/>
                  <a:pt x="7885802" y="5231868"/>
                </a:cubicBezTo>
                <a:cubicBezTo>
                  <a:pt x="7888331" y="5234397"/>
                  <a:pt x="7890460" y="5237592"/>
                  <a:pt x="7891924" y="5241186"/>
                </a:cubicBezTo>
                <a:cubicBezTo>
                  <a:pt x="7893389" y="5244780"/>
                  <a:pt x="7894188" y="5248507"/>
                  <a:pt x="7894188" y="5252634"/>
                </a:cubicBezTo>
                <a:cubicBezTo>
                  <a:pt x="7894188" y="5256761"/>
                  <a:pt x="7893389" y="5260754"/>
                  <a:pt x="7891924" y="5264349"/>
                </a:cubicBezTo>
                <a:cubicBezTo>
                  <a:pt x="7890327" y="5267944"/>
                  <a:pt x="7888331" y="5271005"/>
                  <a:pt x="7885802" y="5273668"/>
                </a:cubicBezTo>
                <a:cubicBezTo>
                  <a:pt x="7883139" y="5276330"/>
                  <a:pt x="7880078" y="5278460"/>
                  <a:pt x="7876483" y="5279924"/>
                </a:cubicBezTo>
                <a:cubicBezTo>
                  <a:pt x="7872756" y="5281388"/>
                  <a:pt x="7868895" y="5282187"/>
                  <a:pt x="7864636" y="5282187"/>
                </a:cubicBezTo>
                <a:cubicBezTo>
                  <a:pt x="7855717" y="5282187"/>
                  <a:pt x="7848396" y="5279259"/>
                  <a:pt x="7842803" y="5273668"/>
                </a:cubicBezTo>
                <a:cubicBezTo>
                  <a:pt x="7837213" y="5268076"/>
                  <a:pt x="7834417" y="5260887"/>
                  <a:pt x="7834417" y="5252501"/>
                </a:cubicBezTo>
                <a:cubicBezTo>
                  <a:pt x="7834417" y="5244248"/>
                  <a:pt x="7837213" y="5237193"/>
                  <a:pt x="7842803" y="5231468"/>
                </a:cubicBezTo>
                <a:cubicBezTo>
                  <a:pt x="7848396" y="5225612"/>
                  <a:pt x="7855584" y="5222816"/>
                  <a:pt x="7864636" y="5222816"/>
                </a:cubicBezTo>
                <a:close/>
                <a:moveTo>
                  <a:pt x="7646991" y="5222816"/>
                </a:moveTo>
                <a:cubicBezTo>
                  <a:pt x="7651250" y="5222816"/>
                  <a:pt x="7655111" y="5223615"/>
                  <a:pt x="7658705" y="5225478"/>
                </a:cubicBezTo>
                <a:cubicBezTo>
                  <a:pt x="7662432" y="5227076"/>
                  <a:pt x="7665493" y="5229206"/>
                  <a:pt x="7668022" y="5231868"/>
                </a:cubicBezTo>
                <a:cubicBezTo>
                  <a:pt x="7670552" y="5234397"/>
                  <a:pt x="7672682" y="5237592"/>
                  <a:pt x="7674146" y="5241186"/>
                </a:cubicBezTo>
                <a:cubicBezTo>
                  <a:pt x="7675610" y="5244780"/>
                  <a:pt x="7676409" y="5248507"/>
                  <a:pt x="7676409" y="5252634"/>
                </a:cubicBezTo>
                <a:cubicBezTo>
                  <a:pt x="7676409" y="5256761"/>
                  <a:pt x="7675610" y="5260754"/>
                  <a:pt x="7674146" y="5264349"/>
                </a:cubicBezTo>
                <a:cubicBezTo>
                  <a:pt x="7672549" y="5267944"/>
                  <a:pt x="7670552" y="5271005"/>
                  <a:pt x="7668022" y="5273668"/>
                </a:cubicBezTo>
                <a:cubicBezTo>
                  <a:pt x="7665361" y="5276330"/>
                  <a:pt x="7662299" y="5278460"/>
                  <a:pt x="7658705" y="5279924"/>
                </a:cubicBezTo>
                <a:cubicBezTo>
                  <a:pt x="7655111" y="5281388"/>
                  <a:pt x="7651250" y="5282187"/>
                  <a:pt x="7646991" y="5282187"/>
                </a:cubicBezTo>
                <a:cubicBezTo>
                  <a:pt x="7638071" y="5282187"/>
                  <a:pt x="7630750" y="5279259"/>
                  <a:pt x="7625158" y="5273668"/>
                </a:cubicBezTo>
                <a:cubicBezTo>
                  <a:pt x="7619568" y="5268076"/>
                  <a:pt x="7616772" y="5260887"/>
                  <a:pt x="7616772" y="5252501"/>
                </a:cubicBezTo>
                <a:cubicBezTo>
                  <a:pt x="7616772" y="5244248"/>
                  <a:pt x="7619568" y="5237193"/>
                  <a:pt x="7625158" y="5231468"/>
                </a:cubicBezTo>
                <a:cubicBezTo>
                  <a:pt x="7630750" y="5225612"/>
                  <a:pt x="7637939" y="5222816"/>
                  <a:pt x="7646991" y="5222816"/>
                </a:cubicBezTo>
                <a:close/>
                <a:moveTo>
                  <a:pt x="7429345" y="5222816"/>
                </a:moveTo>
                <a:cubicBezTo>
                  <a:pt x="7433605" y="5222816"/>
                  <a:pt x="7437466" y="5223615"/>
                  <a:pt x="7441059" y="5225478"/>
                </a:cubicBezTo>
                <a:cubicBezTo>
                  <a:pt x="7444787" y="5227076"/>
                  <a:pt x="7447848" y="5229206"/>
                  <a:pt x="7450377" y="5231868"/>
                </a:cubicBezTo>
                <a:cubicBezTo>
                  <a:pt x="7452907" y="5234397"/>
                  <a:pt x="7455036" y="5237592"/>
                  <a:pt x="7456501" y="5241186"/>
                </a:cubicBezTo>
                <a:cubicBezTo>
                  <a:pt x="7457965" y="5244780"/>
                  <a:pt x="7458764" y="5248507"/>
                  <a:pt x="7458764" y="5252634"/>
                </a:cubicBezTo>
                <a:cubicBezTo>
                  <a:pt x="7458764" y="5256761"/>
                  <a:pt x="7457965" y="5260754"/>
                  <a:pt x="7456501" y="5264349"/>
                </a:cubicBezTo>
                <a:cubicBezTo>
                  <a:pt x="7454904" y="5267944"/>
                  <a:pt x="7452907" y="5271005"/>
                  <a:pt x="7450377" y="5273668"/>
                </a:cubicBezTo>
                <a:cubicBezTo>
                  <a:pt x="7447715" y="5276330"/>
                  <a:pt x="7444654" y="5278460"/>
                  <a:pt x="7441059" y="5279924"/>
                </a:cubicBezTo>
                <a:cubicBezTo>
                  <a:pt x="7437466" y="5281388"/>
                  <a:pt x="7433605" y="5282187"/>
                  <a:pt x="7429345" y="5282187"/>
                </a:cubicBezTo>
                <a:cubicBezTo>
                  <a:pt x="7420426" y="5282187"/>
                  <a:pt x="7413105" y="5279259"/>
                  <a:pt x="7407513" y="5273668"/>
                </a:cubicBezTo>
                <a:cubicBezTo>
                  <a:pt x="7401922" y="5268076"/>
                  <a:pt x="7399127" y="5260887"/>
                  <a:pt x="7399127" y="5252501"/>
                </a:cubicBezTo>
                <a:cubicBezTo>
                  <a:pt x="7399127" y="5244248"/>
                  <a:pt x="7401922" y="5237193"/>
                  <a:pt x="7407513" y="5231468"/>
                </a:cubicBezTo>
                <a:cubicBezTo>
                  <a:pt x="7413105" y="5225612"/>
                  <a:pt x="7420293" y="5222816"/>
                  <a:pt x="7429345" y="5222816"/>
                </a:cubicBezTo>
                <a:close/>
                <a:moveTo>
                  <a:pt x="7211701" y="5222816"/>
                </a:moveTo>
                <a:cubicBezTo>
                  <a:pt x="7215960" y="5222816"/>
                  <a:pt x="7219954" y="5223615"/>
                  <a:pt x="7223415" y="5225478"/>
                </a:cubicBezTo>
                <a:cubicBezTo>
                  <a:pt x="7227142" y="5227076"/>
                  <a:pt x="7230204" y="5229206"/>
                  <a:pt x="7232733" y="5231868"/>
                </a:cubicBezTo>
                <a:cubicBezTo>
                  <a:pt x="7235262" y="5234397"/>
                  <a:pt x="7237392" y="5237592"/>
                  <a:pt x="7238856" y="5241186"/>
                </a:cubicBezTo>
                <a:cubicBezTo>
                  <a:pt x="7240321" y="5244780"/>
                  <a:pt x="7241120" y="5248507"/>
                  <a:pt x="7241120" y="5252634"/>
                </a:cubicBezTo>
                <a:cubicBezTo>
                  <a:pt x="7241120" y="5256761"/>
                  <a:pt x="7240321" y="5260754"/>
                  <a:pt x="7238856" y="5264349"/>
                </a:cubicBezTo>
                <a:cubicBezTo>
                  <a:pt x="7237259" y="5267944"/>
                  <a:pt x="7235262" y="5271005"/>
                  <a:pt x="7232733" y="5273668"/>
                </a:cubicBezTo>
                <a:cubicBezTo>
                  <a:pt x="7230071" y="5276330"/>
                  <a:pt x="7227009" y="5278460"/>
                  <a:pt x="7223415" y="5279924"/>
                </a:cubicBezTo>
                <a:cubicBezTo>
                  <a:pt x="7219821" y="5281388"/>
                  <a:pt x="7215960" y="5282187"/>
                  <a:pt x="7211701" y="5282187"/>
                </a:cubicBezTo>
                <a:cubicBezTo>
                  <a:pt x="7202782" y="5282187"/>
                  <a:pt x="7195460" y="5279259"/>
                  <a:pt x="7189868" y="5273668"/>
                </a:cubicBezTo>
                <a:cubicBezTo>
                  <a:pt x="7184278" y="5268076"/>
                  <a:pt x="7181482" y="5260887"/>
                  <a:pt x="7181482" y="5252501"/>
                </a:cubicBezTo>
                <a:cubicBezTo>
                  <a:pt x="7181482" y="5244248"/>
                  <a:pt x="7184278" y="5237193"/>
                  <a:pt x="7189868" y="5231468"/>
                </a:cubicBezTo>
                <a:cubicBezTo>
                  <a:pt x="7195460" y="5225612"/>
                  <a:pt x="7202649" y="5222816"/>
                  <a:pt x="7211701" y="5222816"/>
                </a:cubicBezTo>
                <a:close/>
                <a:moveTo>
                  <a:pt x="6994056" y="5222816"/>
                </a:moveTo>
                <a:cubicBezTo>
                  <a:pt x="6998315" y="5222816"/>
                  <a:pt x="7002309" y="5223615"/>
                  <a:pt x="7005769" y="5225478"/>
                </a:cubicBezTo>
                <a:cubicBezTo>
                  <a:pt x="7009497" y="5227076"/>
                  <a:pt x="7012558" y="5229206"/>
                  <a:pt x="7015087" y="5231868"/>
                </a:cubicBezTo>
                <a:cubicBezTo>
                  <a:pt x="7017617" y="5234397"/>
                  <a:pt x="7019747" y="5237592"/>
                  <a:pt x="7021211" y="5241186"/>
                </a:cubicBezTo>
                <a:cubicBezTo>
                  <a:pt x="7022675" y="5244780"/>
                  <a:pt x="7023474" y="5248507"/>
                  <a:pt x="7023474" y="5252634"/>
                </a:cubicBezTo>
                <a:cubicBezTo>
                  <a:pt x="7023474" y="5256761"/>
                  <a:pt x="7022675" y="5260754"/>
                  <a:pt x="7021211" y="5264349"/>
                </a:cubicBezTo>
                <a:cubicBezTo>
                  <a:pt x="7019614" y="5267944"/>
                  <a:pt x="7017617" y="5271005"/>
                  <a:pt x="7015087" y="5273668"/>
                </a:cubicBezTo>
                <a:cubicBezTo>
                  <a:pt x="7012425" y="5276330"/>
                  <a:pt x="7009364" y="5278460"/>
                  <a:pt x="7005769" y="5279924"/>
                </a:cubicBezTo>
                <a:cubicBezTo>
                  <a:pt x="7002176" y="5281388"/>
                  <a:pt x="6998315" y="5282187"/>
                  <a:pt x="6994056" y="5282187"/>
                </a:cubicBezTo>
                <a:cubicBezTo>
                  <a:pt x="6985136" y="5282187"/>
                  <a:pt x="6977815" y="5279259"/>
                  <a:pt x="6972223" y="5273668"/>
                </a:cubicBezTo>
                <a:cubicBezTo>
                  <a:pt x="6966632" y="5268076"/>
                  <a:pt x="6963837" y="5260887"/>
                  <a:pt x="6963837" y="5252501"/>
                </a:cubicBezTo>
                <a:cubicBezTo>
                  <a:pt x="6963837" y="5244248"/>
                  <a:pt x="6966632" y="5237193"/>
                  <a:pt x="6972223" y="5231468"/>
                </a:cubicBezTo>
                <a:cubicBezTo>
                  <a:pt x="6977815" y="5225612"/>
                  <a:pt x="6985003" y="5222816"/>
                  <a:pt x="6994056" y="5222816"/>
                </a:cubicBezTo>
                <a:close/>
                <a:moveTo>
                  <a:pt x="6776544" y="5222816"/>
                </a:moveTo>
                <a:cubicBezTo>
                  <a:pt x="6780670" y="5222816"/>
                  <a:pt x="6784664" y="5223615"/>
                  <a:pt x="6788258" y="5225478"/>
                </a:cubicBezTo>
                <a:cubicBezTo>
                  <a:pt x="6791985" y="5227076"/>
                  <a:pt x="6795047" y="5229206"/>
                  <a:pt x="6797576" y="5231868"/>
                </a:cubicBezTo>
                <a:cubicBezTo>
                  <a:pt x="6800105" y="5234397"/>
                  <a:pt x="6802235" y="5237592"/>
                  <a:pt x="6803699" y="5241186"/>
                </a:cubicBezTo>
                <a:cubicBezTo>
                  <a:pt x="6805164" y="5244780"/>
                  <a:pt x="6805963" y="5248507"/>
                  <a:pt x="6805963" y="5252634"/>
                </a:cubicBezTo>
                <a:cubicBezTo>
                  <a:pt x="6805963" y="5256761"/>
                  <a:pt x="6805164" y="5260754"/>
                  <a:pt x="6803699" y="5264349"/>
                </a:cubicBezTo>
                <a:cubicBezTo>
                  <a:pt x="6802102" y="5267944"/>
                  <a:pt x="6800105" y="5271005"/>
                  <a:pt x="6797576" y="5273668"/>
                </a:cubicBezTo>
                <a:cubicBezTo>
                  <a:pt x="6794914" y="5276330"/>
                  <a:pt x="6791852" y="5278460"/>
                  <a:pt x="6788258" y="5279924"/>
                </a:cubicBezTo>
                <a:cubicBezTo>
                  <a:pt x="6784664" y="5281388"/>
                  <a:pt x="6780803" y="5282187"/>
                  <a:pt x="6776544" y="5282187"/>
                </a:cubicBezTo>
                <a:cubicBezTo>
                  <a:pt x="6767625" y="5282187"/>
                  <a:pt x="6760303" y="5279259"/>
                  <a:pt x="6754711" y="5273668"/>
                </a:cubicBezTo>
                <a:cubicBezTo>
                  <a:pt x="6749121" y="5268076"/>
                  <a:pt x="6746325" y="5260887"/>
                  <a:pt x="6746325" y="5252501"/>
                </a:cubicBezTo>
                <a:cubicBezTo>
                  <a:pt x="6746325" y="5244248"/>
                  <a:pt x="6749121" y="5237193"/>
                  <a:pt x="6754711" y="5231468"/>
                </a:cubicBezTo>
                <a:cubicBezTo>
                  <a:pt x="6760303" y="5225612"/>
                  <a:pt x="6767492" y="5222816"/>
                  <a:pt x="6776544" y="5222816"/>
                </a:cubicBezTo>
                <a:close/>
                <a:moveTo>
                  <a:pt x="6558899" y="5222816"/>
                </a:moveTo>
                <a:cubicBezTo>
                  <a:pt x="6563158" y="5222816"/>
                  <a:pt x="6567019" y="5223615"/>
                  <a:pt x="6570612" y="5225478"/>
                </a:cubicBezTo>
                <a:cubicBezTo>
                  <a:pt x="6574340" y="5227076"/>
                  <a:pt x="6577401" y="5229206"/>
                  <a:pt x="6579930" y="5231868"/>
                </a:cubicBezTo>
                <a:cubicBezTo>
                  <a:pt x="6582460" y="5234397"/>
                  <a:pt x="6584590" y="5237592"/>
                  <a:pt x="6586054" y="5241186"/>
                </a:cubicBezTo>
                <a:cubicBezTo>
                  <a:pt x="6587518" y="5244780"/>
                  <a:pt x="6588317" y="5248507"/>
                  <a:pt x="6588317" y="5252634"/>
                </a:cubicBezTo>
                <a:cubicBezTo>
                  <a:pt x="6588317" y="5256761"/>
                  <a:pt x="6587518" y="5260754"/>
                  <a:pt x="6586054" y="5264349"/>
                </a:cubicBezTo>
                <a:cubicBezTo>
                  <a:pt x="6584457" y="5267944"/>
                  <a:pt x="6582460" y="5271005"/>
                  <a:pt x="6579930" y="5273668"/>
                </a:cubicBezTo>
                <a:cubicBezTo>
                  <a:pt x="6577268" y="5276330"/>
                  <a:pt x="6574207" y="5278460"/>
                  <a:pt x="6570612" y="5279924"/>
                </a:cubicBezTo>
                <a:cubicBezTo>
                  <a:pt x="6567019" y="5281388"/>
                  <a:pt x="6563158" y="5282187"/>
                  <a:pt x="6558899" y="5282187"/>
                </a:cubicBezTo>
                <a:cubicBezTo>
                  <a:pt x="6549979" y="5282187"/>
                  <a:pt x="6542658" y="5279259"/>
                  <a:pt x="6537066" y="5273668"/>
                </a:cubicBezTo>
                <a:cubicBezTo>
                  <a:pt x="6531476" y="5268076"/>
                  <a:pt x="6528680" y="5260887"/>
                  <a:pt x="6528680" y="5252501"/>
                </a:cubicBezTo>
                <a:cubicBezTo>
                  <a:pt x="6528680" y="5244248"/>
                  <a:pt x="6531476" y="5237193"/>
                  <a:pt x="6537066" y="5231468"/>
                </a:cubicBezTo>
                <a:cubicBezTo>
                  <a:pt x="6542658" y="5225612"/>
                  <a:pt x="6549846" y="5222816"/>
                  <a:pt x="6558899" y="5222816"/>
                </a:cubicBezTo>
                <a:close/>
                <a:moveTo>
                  <a:pt x="6341253" y="5222816"/>
                </a:moveTo>
                <a:cubicBezTo>
                  <a:pt x="6345513" y="5222816"/>
                  <a:pt x="6349373" y="5223615"/>
                  <a:pt x="6352968" y="5225478"/>
                </a:cubicBezTo>
                <a:cubicBezTo>
                  <a:pt x="6356695" y="5227076"/>
                  <a:pt x="6359757" y="5229206"/>
                  <a:pt x="6362286" y="5231868"/>
                </a:cubicBezTo>
                <a:cubicBezTo>
                  <a:pt x="6364815" y="5234397"/>
                  <a:pt x="6366945" y="5237592"/>
                  <a:pt x="6368409" y="5241186"/>
                </a:cubicBezTo>
                <a:cubicBezTo>
                  <a:pt x="6369874" y="5244780"/>
                  <a:pt x="6370672" y="5248507"/>
                  <a:pt x="6370672" y="5252634"/>
                </a:cubicBezTo>
                <a:cubicBezTo>
                  <a:pt x="6370672" y="5256761"/>
                  <a:pt x="6369874" y="5260754"/>
                  <a:pt x="6368409" y="5264349"/>
                </a:cubicBezTo>
                <a:cubicBezTo>
                  <a:pt x="6366811" y="5267944"/>
                  <a:pt x="6364815" y="5271005"/>
                  <a:pt x="6362286" y="5273668"/>
                </a:cubicBezTo>
                <a:cubicBezTo>
                  <a:pt x="6359623" y="5276330"/>
                  <a:pt x="6356562" y="5278460"/>
                  <a:pt x="6352968" y="5279924"/>
                </a:cubicBezTo>
                <a:cubicBezTo>
                  <a:pt x="6349373" y="5281388"/>
                  <a:pt x="6345513" y="5282187"/>
                  <a:pt x="6341253" y="5282187"/>
                </a:cubicBezTo>
                <a:cubicBezTo>
                  <a:pt x="6332335" y="5282187"/>
                  <a:pt x="6325013" y="5279259"/>
                  <a:pt x="6319421" y="5273668"/>
                </a:cubicBezTo>
                <a:cubicBezTo>
                  <a:pt x="6313830" y="5268076"/>
                  <a:pt x="6311035" y="5260887"/>
                  <a:pt x="6311035" y="5252501"/>
                </a:cubicBezTo>
                <a:cubicBezTo>
                  <a:pt x="6311035" y="5244248"/>
                  <a:pt x="6313830" y="5237193"/>
                  <a:pt x="6319421" y="5231468"/>
                </a:cubicBezTo>
                <a:cubicBezTo>
                  <a:pt x="6325013" y="5225612"/>
                  <a:pt x="6332201" y="5222816"/>
                  <a:pt x="6341253" y="5222816"/>
                </a:cubicBezTo>
                <a:close/>
                <a:moveTo>
                  <a:pt x="6123608" y="5222816"/>
                </a:moveTo>
                <a:cubicBezTo>
                  <a:pt x="6127867" y="5222816"/>
                  <a:pt x="6131728" y="5223615"/>
                  <a:pt x="6135322" y="5225478"/>
                </a:cubicBezTo>
                <a:cubicBezTo>
                  <a:pt x="6139049" y="5227076"/>
                  <a:pt x="6142111" y="5229206"/>
                  <a:pt x="6144640" y="5231868"/>
                </a:cubicBezTo>
                <a:cubicBezTo>
                  <a:pt x="6147169" y="5234397"/>
                  <a:pt x="6149299" y="5237592"/>
                  <a:pt x="6150763" y="5241186"/>
                </a:cubicBezTo>
                <a:cubicBezTo>
                  <a:pt x="6152228" y="5244780"/>
                  <a:pt x="6153026" y="5248507"/>
                  <a:pt x="6153026" y="5252634"/>
                </a:cubicBezTo>
                <a:cubicBezTo>
                  <a:pt x="6153026" y="5256761"/>
                  <a:pt x="6152228" y="5260754"/>
                  <a:pt x="6150763" y="5264349"/>
                </a:cubicBezTo>
                <a:cubicBezTo>
                  <a:pt x="6149299" y="5267944"/>
                  <a:pt x="6147169" y="5271005"/>
                  <a:pt x="6144640" y="5273668"/>
                </a:cubicBezTo>
                <a:cubicBezTo>
                  <a:pt x="6141977" y="5276330"/>
                  <a:pt x="6138916" y="5278460"/>
                  <a:pt x="6135322" y="5279924"/>
                </a:cubicBezTo>
                <a:cubicBezTo>
                  <a:pt x="6131728" y="5281388"/>
                  <a:pt x="6127867" y="5282187"/>
                  <a:pt x="6123608" y="5282187"/>
                </a:cubicBezTo>
                <a:cubicBezTo>
                  <a:pt x="6114689" y="5282187"/>
                  <a:pt x="6107367" y="5279259"/>
                  <a:pt x="6101775" y="5273668"/>
                </a:cubicBezTo>
                <a:cubicBezTo>
                  <a:pt x="6096184" y="5268076"/>
                  <a:pt x="6093389" y="5260887"/>
                  <a:pt x="6093389" y="5252501"/>
                </a:cubicBezTo>
                <a:cubicBezTo>
                  <a:pt x="6093389" y="5244248"/>
                  <a:pt x="6096184" y="5237193"/>
                  <a:pt x="6101775" y="5231468"/>
                </a:cubicBezTo>
                <a:cubicBezTo>
                  <a:pt x="6107367" y="5225612"/>
                  <a:pt x="6114555" y="5222816"/>
                  <a:pt x="6123608" y="5222816"/>
                </a:cubicBezTo>
                <a:close/>
                <a:moveTo>
                  <a:pt x="5905963" y="5222816"/>
                </a:moveTo>
                <a:cubicBezTo>
                  <a:pt x="5910222" y="5222816"/>
                  <a:pt x="5914216" y="5223615"/>
                  <a:pt x="5917677" y="5225478"/>
                </a:cubicBezTo>
                <a:cubicBezTo>
                  <a:pt x="5921404" y="5227076"/>
                  <a:pt x="5924466" y="5229206"/>
                  <a:pt x="5926995" y="5231868"/>
                </a:cubicBezTo>
                <a:cubicBezTo>
                  <a:pt x="5929524" y="5234397"/>
                  <a:pt x="5931654" y="5237592"/>
                  <a:pt x="5933118" y="5241186"/>
                </a:cubicBezTo>
                <a:cubicBezTo>
                  <a:pt x="5934583" y="5244780"/>
                  <a:pt x="5935381" y="5248507"/>
                  <a:pt x="5935381" y="5252634"/>
                </a:cubicBezTo>
                <a:cubicBezTo>
                  <a:pt x="5935381" y="5256761"/>
                  <a:pt x="5934583" y="5260754"/>
                  <a:pt x="5933118" y="5264349"/>
                </a:cubicBezTo>
                <a:cubicBezTo>
                  <a:pt x="5931654" y="5267944"/>
                  <a:pt x="5929524" y="5271005"/>
                  <a:pt x="5926995" y="5273668"/>
                </a:cubicBezTo>
                <a:cubicBezTo>
                  <a:pt x="5924333" y="5276330"/>
                  <a:pt x="5921271" y="5278460"/>
                  <a:pt x="5917677" y="5279924"/>
                </a:cubicBezTo>
                <a:cubicBezTo>
                  <a:pt x="5914083" y="5281388"/>
                  <a:pt x="5910222" y="5282187"/>
                  <a:pt x="5905963" y="5282187"/>
                </a:cubicBezTo>
                <a:cubicBezTo>
                  <a:pt x="5897044" y="5282187"/>
                  <a:pt x="5889722" y="5279259"/>
                  <a:pt x="5884130" y="5273668"/>
                </a:cubicBezTo>
                <a:cubicBezTo>
                  <a:pt x="5878540" y="5268076"/>
                  <a:pt x="5875744" y="5260887"/>
                  <a:pt x="5875744" y="5252501"/>
                </a:cubicBezTo>
                <a:cubicBezTo>
                  <a:pt x="5875744" y="5244248"/>
                  <a:pt x="5878540" y="5237193"/>
                  <a:pt x="5884130" y="5231468"/>
                </a:cubicBezTo>
                <a:cubicBezTo>
                  <a:pt x="5889722" y="5225612"/>
                  <a:pt x="5896910" y="5222816"/>
                  <a:pt x="5905963" y="5222816"/>
                </a:cubicBezTo>
                <a:close/>
                <a:moveTo>
                  <a:pt x="5688451" y="5222816"/>
                </a:moveTo>
                <a:cubicBezTo>
                  <a:pt x="5692577" y="5222816"/>
                  <a:pt x="5696571" y="5223615"/>
                  <a:pt x="5700165" y="5225478"/>
                </a:cubicBezTo>
                <a:cubicBezTo>
                  <a:pt x="5703892" y="5227076"/>
                  <a:pt x="5706954" y="5229206"/>
                  <a:pt x="5709483" y="5231868"/>
                </a:cubicBezTo>
                <a:cubicBezTo>
                  <a:pt x="5712012" y="5234397"/>
                  <a:pt x="5714142" y="5237592"/>
                  <a:pt x="5715606" y="5241186"/>
                </a:cubicBezTo>
                <a:cubicBezTo>
                  <a:pt x="5717071" y="5244780"/>
                  <a:pt x="5717869" y="5248507"/>
                  <a:pt x="5717869" y="5252634"/>
                </a:cubicBezTo>
                <a:cubicBezTo>
                  <a:pt x="5717869" y="5256761"/>
                  <a:pt x="5717071" y="5260754"/>
                  <a:pt x="5715606" y="5264349"/>
                </a:cubicBezTo>
                <a:cubicBezTo>
                  <a:pt x="5714142" y="5267944"/>
                  <a:pt x="5712012" y="5271005"/>
                  <a:pt x="5709483" y="5273668"/>
                </a:cubicBezTo>
                <a:cubicBezTo>
                  <a:pt x="5706820" y="5276330"/>
                  <a:pt x="5703759" y="5278460"/>
                  <a:pt x="5700165" y="5279924"/>
                </a:cubicBezTo>
                <a:cubicBezTo>
                  <a:pt x="5696571" y="5281388"/>
                  <a:pt x="5692710" y="5282187"/>
                  <a:pt x="5688451" y="5282187"/>
                </a:cubicBezTo>
                <a:cubicBezTo>
                  <a:pt x="5679532" y="5282187"/>
                  <a:pt x="5672210" y="5279259"/>
                  <a:pt x="5666618" y="5273668"/>
                </a:cubicBezTo>
                <a:cubicBezTo>
                  <a:pt x="5661028" y="5268076"/>
                  <a:pt x="5658232" y="5260887"/>
                  <a:pt x="5658232" y="5252501"/>
                </a:cubicBezTo>
                <a:cubicBezTo>
                  <a:pt x="5658232" y="5244248"/>
                  <a:pt x="5661028" y="5237193"/>
                  <a:pt x="5666618" y="5231468"/>
                </a:cubicBezTo>
                <a:cubicBezTo>
                  <a:pt x="5672210" y="5225612"/>
                  <a:pt x="5679398" y="5222816"/>
                  <a:pt x="5688451" y="5222816"/>
                </a:cubicBezTo>
                <a:close/>
                <a:moveTo>
                  <a:pt x="5470806" y="5222816"/>
                </a:moveTo>
                <a:cubicBezTo>
                  <a:pt x="5475065" y="5222816"/>
                  <a:pt x="5478926" y="5223615"/>
                  <a:pt x="5482520" y="5225478"/>
                </a:cubicBezTo>
                <a:cubicBezTo>
                  <a:pt x="5486247" y="5227076"/>
                  <a:pt x="5489309" y="5229206"/>
                  <a:pt x="5491838" y="5231868"/>
                </a:cubicBezTo>
                <a:cubicBezTo>
                  <a:pt x="5494367" y="5234397"/>
                  <a:pt x="5496497" y="5237592"/>
                  <a:pt x="5497961" y="5241186"/>
                </a:cubicBezTo>
                <a:cubicBezTo>
                  <a:pt x="5499426" y="5244780"/>
                  <a:pt x="5500224" y="5248507"/>
                  <a:pt x="5500224" y="5252634"/>
                </a:cubicBezTo>
                <a:cubicBezTo>
                  <a:pt x="5500224" y="5256761"/>
                  <a:pt x="5499426" y="5260754"/>
                  <a:pt x="5497961" y="5264349"/>
                </a:cubicBezTo>
                <a:cubicBezTo>
                  <a:pt x="5496497" y="5267944"/>
                  <a:pt x="5494367" y="5271005"/>
                  <a:pt x="5491838" y="5273668"/>
                </a:cubicBezTo>
                <a:cubicBezTo>
                  <a:pt x="5489176" y="5276330"/>
                  <a:pt x="5486114" y="5278460"/>
                  <a:pt x="5482520" y="5279924"/>
                </a:cubicBezTo>
                <a:cubicBezTo>
                  <a:pt x="5478926" y="5281388"/>
                  <a:pt x="5475065" y="5282187"/>
                  <a:pt x="5470806" y="5282187"/>
                </a:cubicBezTo>
                <a:cubicBezTo>
                  <a:pt x="5461887" y="5282187"/>
                  <a:pt x="5454565" y="5279259"/>
                  <a:pt x="5448973" y="5273668"/>
                </a:cubicBezTo>
                <a:cubicBezTo>
                  <a:pt x="5443383" y="5268076"/>
                  <a:pt x="5440587" y="5260887"/>
                  <a:pt x="5440587" y="5252501"/>
                </a:cubicBezTo>
                <a:cubicBezTo>
                  <a:pt x="5440587" y="5244248"/>
                  <a:pt x="5443383" y="5237193"/>
                  <a:pt x="5448973" y="5231468"/>
                </a:cubicBezTo>
                <a:cubicBezTo>
                  <a:pt x="5454565" y="5225612"/>
                  <a:pt x="5461754" y="5222816"/>
                  <a:pt x="5470806" y="5222816"/>
                </a:cubicBezTo>
                <a:close/>
                <a:moveTo>
                  <a:pt x="5253160" y="5222816"/>
                </a:moveTo>
                <a:cubicBezTo>
                  <a:pt x="5257420" y="5222816"/>
                  <a:pt x="5261280" y="5223615"/>
                  <a:pt x="5264875" y="5225478"/>
                </a:cubicBezTo>
                <a:cubicBezTo>
                  <a:pt x="5268602" y="5227076"/>
                  <a:pt x="5271664" y="5229206"/>
                  <a:pt x="5274192" y="5231868"/>
                </a:cubicBezTo>
                <a:cubicBezTo>
                  <a:pt x="5276722" y="5234397"/>
                  <a:pt x="5278852" y="5237592"/>
                  <a:pt x="5280316" y="5241186"/>
                </a:cubicBezTo>
                <a:cubicBezTo>
                  <a:pt x="5281780" y="5244780"/>
                  <a:pt x="5282579" y="5248507"/>
                  <a:pt x="5282579" y="5252634"/>
                </a:cubicBezTo>
                <a:cubicBezTo>
                  <a:pt x="5282579" y="5256761"/>
                  <a:pt x="5281780" y="5260754"/>
                  <a:pt x="5280316" y="5264349"/>
                </a:cubicBezTo>
                <a:cubicBezTo>
                  <a:pt x="5278852" y="5267944"/>
                  <a:pt x="5276722" y="5271005"/>
                  <a:pt x="5274192" y="5273668"/>
                </a:cubicBezTo>
                <a:cubicBezTo>
                  <a:pt x="5271664" y="5276330"/>
                  <a:pt x="5268469" y="5278460"/>
                  <a:pt x="5264875" y="5279924"/>
                </a:cubicBezTo>
                <a:cubicBezTo>
                  <a:pt x="5261280" y="5281388"/>
                  <a:pt x="5257420" y="5282187"/>
                  <a:pt x="5253160" y="5282187"/>
                </a:cubicBezTo>
                <a:cubicBezTo>
                  <a:pt x="5244241" y="5282187"/>
                  <a:pt x="5236920" y="5279259"/>
                  <a:pt x="5231328" y="5273668"/>
                </a:cubicBezTo>
                <a:cubicBezTo>
                  <a:pt x="5225737" y="5268076"/>
                  <a:pt x="5222942" y="5260887"/>
                  <a:pt x="5222942" y="5252501"/>
                </a:cubicBezTo>
                <a:cubicBezTo>
                  <a:pt x="5222942" y="5244248"/>
                  <a:pt x="5225737" y="5237193"/>
                  <a:pt x="5231328" y="5231468"/>
                </a:cubicBezTo>
                <a:cubicBezTo>
                  <a:pt x="5236920" y="5225612"/>
                  <a:pt x="5244108" y="5222816"/>
                  <a:pt x="5253160" y="5222816"/>
                </a:cubicBezTo>
                <a:close/>
                <a:moveTo>
                  <a:pt x="5035515" y="5222816"/>
                </a:moveTo>
                <a:cubicBezTo>
                  <a:pt x="5039775" y="5222816"/>
                  <a:pt x="5043636" y="5223615"/>
                  <a:pt x="5047230" y="5225478"/>
                </a:cubicBezTo>
                <a:cubicBezTo>
                  <a:pt x="5050957" y="5227076"/>
                  <a:pt x="5054019" y="5229206"/>
                  <a:pt x="5056548" y="5231868"/>
                </a:cubicBezTo>
                <a:cubicBezTo>
                  <a:pt x="5059077" y="5234397"/>
                  <a:pt x="5061207" y="5237592"/>
                  <a:pt x="5062671" y="5241186"/>
                </a:cubicBezTo>
                <a:cubicBezTo>
                  <a:pt x="5064135" y="5244780"/>
                  <a:pt x="5064934" y="5248507"/>
                  <a:pt x="5064934" y="5252634"/>
                </a:cubicBezTo>
                <a:cubicBezTo>
                  <a:pt x="5064934" y="5256761"/>
                  <a:pt x="5064135" y="5260754"/>
                  <a:pt x="5062671" y="5264349"/>
                </a:cubicBezTo>
                <a:cubicBezTo>
                  <a:pt x="5061207" y="5267944"/>
                  <a:pt x="5059077" y="5271005"/>
                  <a:pt x="5056548" y="5273668"/>
                </a:cubicBezTo>
                <a:cubicBezTo>
                  <a:pt x="5053885" y="5276330"/>
                  <a:pt x="5050824" y="5278460"/>
                  <a:pt x="5047230" y="5279924"/>
                </a:cubicBezTo>
                <a:cubicBezTo>
                  <a:pt x="5043636" y="5281388"/>
                  <a:pt x="5039775" y="5282187"/>
                  <a:pt x="5035515" y="5282187"/>
                </a:cubicBezTo>
                <a:cubicBezTo>
                  <a:pt x="5026597" y="5282187"/>
                  <a:pt x="5019275" y="5279259"/>
                  <a:pt x="5013683" y="5273668"/>
                </a:cubicBezTo>
                <a:cubicBezTo>
                  <a:pt x="5008092" y="5268076"/>
                  <a:pt x="5005297" y="5260887"/>
                  <a:pt x="5005297" y="5252501"/>
                </a:cubicBezTo>
                <a:cubicBezTo>
                  <a:pt x="5005297" y="5244248"/>
                  <a:pt x="5008092" y="5237193"/>
                  <a:pt x="5013683" y="5231468"/>
                </a:cubicBezTo>
                <a:cubicBezTo>
                  <a:pt x="5019275" y="5225612"/>
                  <a:pt x="5026463" y="5222816"/>
                  <a:pt x="5035515" y="5222816"/>
                </a:cubicBezTo>
                <a:close/>
                <a:moveTo>
                  <a:pt x="4817870" y="5222816"/>
                </a:moveTo>
                <a:cubicBezTo>
                  <a:pt x="4822130" y="5222816"/>
                  <a:pt x="4826124" y="5223615"/>
                  <a:pt x="4829585" y="5225478"/>
                </a:cubicBezTo>
                <a:cubicBezTo>
                  <a:pt x="4833312" y="5227076"/>
                  <a:pt x="4836374" y="5229206"/>
                  <a:pt x="4838903" y="5231868"/>
                </a:cubicBezTo>
                <a:cubicBezTo>
                  <a:pt x="4841432" y="5234397"/>
                  <a:pt x="4843562" y="5237592"/>
                  <a:pt x="4845026" y="5241186"/>
                </a:cubicBezTo>
                <a:cubicBezTo>
                  <a:pt x="4846491" y="5244780"/>
                  <a:pt x="4847289" y="5248507"/>
                  <a:pt x="4847289" y="5252634"/>
                </a:cubicBezTo>
                <a:cubicBezTo>
                  <a:pt x="4847289" y="5256761"/>
                  <a:pt x="4846491" y="5260754"/>
                  <a:pt x="4845026" y="5264349"/>
                </a:cubicBezTo>
                <a:cubicBezTo>
                  <a:pt x="4843562" y="5267944"/>
                  <a:pt x="4841432" y="5271005"/>
                  <a:pt x="4838903" y="5273668"/>
                </a:cubicBezTo>
                <a:cubicBezTo>
                  <a:pt x="4836240" y="5276330"/>
                  <a:pt x="4833179" y="5278460"/>
                  <a:pt x="4829585" y="5279924"/>
                </a:cubicBezTo>
                <a:cubicBezTo>
                  <a:pt x="4825991" y="5281388"/>
                  <a:pt x="4822130" y="5282187"/>
                  <a:pt x="4817870" y="5282187"/>
                </a:cubicBezTo>
                <a:cubicBezTo>
                  <a:pt x="4808952" y="5282187"/>
                  <a:pt x="4801630" y="5279259"/>
                  <a:pt x="4796038" y="5273668"/>
                </a:cubicBezTo>
                <a:cubicBezTo>
                  <a:pt x="4790447" y="5268076"/>
                  <a:pt x="4787652" y="5260887"/>
                  <a:pt x="4787652" y="5252501"/>
                </a:cubicBezTo>
                <a:cubicBezTo>
                  <a:pt x="4787652" y="5244248"/>
                  <a:pt x="4790447" y="5237193"/>
                  <a:pt x="4796038" y="5231468"/>
                </a:cubicBezTo>
                <a:cubicBezTo>
                  <a:pt x="4801630" y="5225612"/>
                  <a:pt x="4808818" y="5222816"/>
                  <a:pt x="4817870" y="5222816"/>
                </a:cubicBezTo>
                <a:close/>
                <a:moveTo>
                  <a:pt x="4600226" y="5222816"/>
                </a:moveTo>
                <a:cubicBezTo>
                  <a:pt x="4604485" y="5222816"/>
                  <a:pt x="4608479" y="5223615"/>
                  <a:pt x="4612073" y="5225478"/>
                </a:cubicBezTo>
                <a:cubicBezTo>
                  <a:pt x="4615800" y="5227076"/>
                  <a:pt x="4618862" y="5229206"/>
                  <a:pt x="4621391" y="5231868"/>
                </a:cubicBezTo>
                <a:cubicBezTo>
                  <a:pt x="4623920" y="5234397"/>
                  <a:pt x="4626050" y="5237592"/>
                  <a:pt x="4627514" y="5241186"/>
                </a:cubicBezTo>
                <a:cubicBezTo>
                  <a:pt x="4628978" y="5244780"/>
                  <a:pt x="4629777" y="5248507"/>
                  <a:pt x="4629777" y="5252634"/>
                </a:cubicBezTo>
                <a:cubicBezTo>
                  <a:pt x="4629777" y="5256761"/>
                  <a:pt x="4628978" y="5260754"/>
                  <a:pt x="4627514" y="5264349"/>
                </a:cubicBezTo>
                <a:cubicBezTo>
                  <a:pt x="4626050" y="5267944"/>
                  <a:pt x="4623920" y="5271005"/>
                  <a:pt x="4621391" y="5273668"/>
                </a:cubicBezTo>
                <a:cubicBezTo>
                  <a:pt x="4618729" y="5276330"/>
                  <a:pt x="4615667" y="5278460"/>
                  <a:pt x="4612073" y="5279924"/>
                </a:cubicBezTo>
                <a:cubicBezTo>
                  <a:pt x="4608346" y="5281388"/>
                  <a:pt x="4604485" y="5282187"/>
                  <a:pt x="4600226" y="5282187"/>
                </a:cubicBezTo>
                <a:cubicBezTo>
                  <a:pt x="4591173" y="5282187"/>
                  <a:pt x="4583985" y="5279259"/>
                  <a:pt x="4578393" y="5273668"/>
                </a:cubicBezTo>
                <a:cubicBezTo>
                  <a:pt x="4572803" y="5268076"/>
                  <a:pt x="4570007" y="5260887"/>
                  <a:pt x="4570007" y="5252501"/>
                </a:cubicBezTo>
                <a:cubicBezTo>
                  <a:pt x="4570007" y="5244248"/>
                  <a:pt x="4572803" y="5237193"/>
                  <a:pt x="4578393" y="5231468"/>
                </a:cubicBezTo>
                <a:cubicBezTo>
                  <a:pt x="4583985" y="5225612"/>
                  <a:pt x="4591173" y="5222816"/>
                  <a:pt x="4600226" y="5222816"/>
                </a:cubicBezTo>
                <a:close/>
                <a:moveTo>
                  <a:pt x="4382713" y="5222816"/>
                </a:moveTo>
                <a:cubicBezTo>
                  <a:pt x="4386840" y="5222816"/>
                  <a:pt x="4390834" y="5223615"/>
                  <a:pt x="4394428" y="5225478"/>
                </a:cubicBezTo>
                <a:cubicBezTo>
                  <a:pt x="4398155" y="5227076"/>
                  <a:pt x="4401217" y="5229206"/>
                  <a:pt x="4403746" y="5231868"/>
                </a:cubicBezTo>
                <a:cubicBezTo>
                  <a:pt x="4406275" y="5234397"/>
                  <a:pt x="4408405" y="5237592"/>
                  <a:pt x="4409869" y="5241186"/>
                </a:cubicBezTo>
                <a:cubicBezTo>
                  <a:pt x="4411334" y="5244780"/>
                  <a:pt x="4412132" y="5248507"/>
                  <a:pt x="4412132" y="5252634"/>
                </a:cubicBezTo>
                <a:cubicBezTo>
                  <a:pt x="4412132" y="5256761"/>
                  <a:pt x="4411334" y="5260754"/>
                  <a:pt x="4409869" y="5264349"/>
                </a:cubicBezTo>
                <a:cubicBezTo>
                  <a:pt x="4408405" y="5267944"/>
                  <a:pt x="4406275" y="5271005"/>
                  <a:pt x="4403746" y="5273668"/>
                </a:cubicBezTo>
                <a:cubicBezTo>
                  <a:pt x="4401083" y="5276330"/>
                  <a:pt x="4398022" y="5278460"/>
                  <a:pt x="4394428" y="5279924"/>
                </a:cubicBezTo>
                <a:cubicBezTo>
                  <a:pt x="4390834" y="5281388"/>
                  <a:pt x="4386973" y="5282187"/>
                  <a:pt x="4382713" y="5282187"/>
                </a:cubicBezTo>
                <a:cubicBezTo>
                  <a:pt x="4373661" y="5282187"/>
                  <a:pt x="4366473" y="5279259"/>
                  <a:pt x="4360881" y="5273668"/>
                </a:cubicBezTo>
                <a:cubicBezTo>
                  <a:pt x="4355290" y="5268076"/>
                  <a:pt x="4352495" y="5260887"/>
                  <a:pt x="4352495" y="5252501"/>
                </a:cubicBezTo>
                <a:cubicBezTo>
                  <a:pt x="4352495" y="5244248"/>
                  <a:pt x="4355290" y="5237193"/>
                  <a:pt x="4360881" y="5231468"/>
                </a:cubicBezTo>
                <a:cubicBezTo>
                  <a:pt x="4366473" y="5225612"/>
                  <a:pt x="4373661" y="5222816"/>
                  <a:pt x="4382713" y="5222816"/>
                </a:cubicBezTo>
                <a:close/>
                <a:moveTo>
                  <a:pt x="4165068" y="5222816"/>
                </a:moveTo>
                <a:cubicBezTo>
                  <a:pt x="4169327" y="5222816"/>
                  <a:pt x="4173188" y="5223615"/>
                  <a:pt x="4176782" y="5225478"/>
                </a:cubicBezTo>
                <a:cubicBezTo>
                  <a:pt x="4180509" y="5227076"/>
                  <a:pt x="4183571" y="5229206"/>
                  <a:pt x="4186100" y="5231868"/>
                </a:cubicBezTo>
                <a:cubicBezTo>
                  <a:pt x="4188629" y="5234397"/>
                  <a:pt x="4190759" y="5237592"/>
                  <a:pt x="4192223" y="5241186"/>
                </a:cubicBezTo>
                <a:cubicBezTo>
                  <a:pt x="4193688" y="5244780"/>
                  <a:pt x="4194486" y="5248507"/>
                  <a:pt x="4194486" y="5252634"/>
                </a:cubicBezTo>
                <a:cubicBezTo>
                  <a:pt x="4194486" y="5256761"/>
                  <a:pt x="4193688" y="5260754"/>
                  <a:pt x="4192223" y="5264349"/>
                </a:cubicBezTo>
                <a:cubicBezTo>
                  <a:pt x="4190759" y="5267944"/>
                  <a:pt x="4188629" y="5271005"/>
                  <a:pt x="4186100" y="5273668"/>
                </a:cubicBezTo>
                <a:cubicBezTo>
                  <a:pt x="4183438" y="5276330"/>
                  <a:pt x="4180376" y="5278460"/>
                  <a:pt x="4176782" y="5279924"/>
                </a:cubicBezTo>
                <a:cubicBezTo>
                  <a:pt x="4173188" y="5281388"/>
                  <a:pt x="4169327" y="5282187"/>
                  <a:pt x="4165068" y="5282187"/>
                </a:cubicBezTo>
                <a:cubicBezTo>
                  <a:pt x="4156015" y="5282187"/>
                  <a:pt x="4148827" y="5279259"/>
                  <a:pt x="4143235" y="5273668"/>
                </a:cubicBezTo>
                <a:cubicBezTo>
                  <a:pt x="4137645" y="5268076"/>
                  <a:pt x="4134849" y="5260887"/>
                  <a:pt x="4134849" y="5252501"/>
                </a:cubicBezTo>
                <a:cubicBezTo>
                  <a:pt x="4134849" y="5244248"/>
                  <a:pt x="4137645" y="5237193"/>
                  <a:pt x="4143235" y="5231468"/>
                </a:cubicBezTo>
                <a:cubicBezTo>
                  <a:pt x="4148827" y="5225612"/>
                  <a:pt x="4156015" y="5222816"/>
                  <a:pt x="4165068" y="5222816"/>
                </a:cubicBezTo>
                <a:close/>
                <a:moveTo>
                  <a:pt x="3947709" y="5222816"/>
                </a:moveTo>
                <a:cubicBezTo>
                  <a:pt x="3951971" y="5222816"/>
                  <a:pt x="3955832" y="5223615"/>
                  <a:pt x="3959427" y="5225478"/>
                </a:cubicBezTo>
                <a:cubicBezTo>
                  <a:pt x="3963155" y="5227076"/>
                  <a:pt x="3966216" y="5229206"/>
                  <a:pt x="3968745" y="5231868"/>
                </a:cubicBezTo>
                <a:cubicBezTo>
                  <a:pt x="3971276" y="5234397"/>
                  <a:pt x="3973405" y="5237592"/>
                  <a:pt x="3974869" y="5241186"/>
                </a:cubicBezTo>
                <a:cubicBezTo>
                  <a:pt x="3976334" y="5244780"/>
                  <a:pt x="3977133" y="5248507"/>
                  <a:pt x="3977133" y="5252634"/>
                </a:cubicBezTo>
                <a:cubicBezTo>
                  <a:pt x="3977133" y="5256761"/>
                  <a:pt x="3976334" y="5260754"/>
                  <a:pt x="3974869" y="5264349"/>
                </a:cubicBezTo>
                <a:cubicBezTo>
                  <a:pt x="3973405" y="5267944"/>
                  <a:pt x="3971276" y="5271005"/>
                  <a:pt x="3968745" y="5273668"/>
                </a:cubicBezTo>
                <a:cubicBezTo>
                  <a:pt x="3966083" y="5276330"/>
                  <a:pt x="3963022" y="5278460"/>
                  <a:pt x="3959427" y="5279924"/>
                </a:cubicBezTo>
                <a:cubicBezTo>
                  <a:pt x="3955832" y="5281388"/>
                  <a:pt x="3951971" y="5282187"/>
                  <a:pt x="3947709" y="5282187"/>
                </a:cubicBezTo>
                <a:cubicBezTo>
                  <a:pt x="3938657" y="5282187"/>
                  <a:pt x="3931469" y="5279259"/>
                  <a:pt x="3925877" y="5273668"/>
                </a:cubicBezTo>
                <a:cubicBezTo>
                  <a:pt x="3920286" y="5268076"/>
                  <a:pt x="3917490" y="5260887"/>
                  <a:pt x="3917490" y="5252501"/>
                </a:cubicBezTo>
                <a:cubicBezTo>
                  <a:pt x="3917490" y="5244248"/>
                  <a:pt x="3920286" y="5237193"/>
                  <a:pt x="3925877" y="5231468"/>
                </a:cubicBezTo>
                <a:cubicBezTo>
                  <a:pt x="3931469" y="5225612"/>
                  <a:pt x="3938657" y="5222816"/>
                  <a:pt x="3947709" y="5222816"/>
                </a:cubicBezTo>
                <a:close/>
                <a:moveTo>
                  <a:pt x="3730051" y="5222816"/>
                </a:moveTo>
                <a:cubicBezTo>
                  <a:pt x="3734312" y="5222816"/>
                  <a:pt x="3738305" y="5223615"/>
                  <a:pt x="3741767" y="5225478"/>
                </a:cubicBezTo>
                <a:cubicBezTo>
                  <a:pt x="3745361" y="5227076"/>
                  <a:pt x="3748556" y="5229206"/>
                  <a:pt x="3751085" y="5231868"/>
                </a:cubicBezTo>
                <a:cubicBezTo>
                  <a:pt x="3753615" y="5234397"/>
                  <a:pt x="3755744" y="5237592"/>
                  <a:pt x="3757208" y="5241186"/>
                </a:cubicBezTo>
                <a:cubicBezTo>
                  <a:pt x="3758672" y="5244780"/>
                  <a:pt x="3759471" y="5248507"/>
                  <a:pt x="3759471" y="5252634"/>
                </a:cubicBezTo>
                <a:cubicBezTo>
                  <a:pt x="3759471" y="5256761"/>
                  <a:pt x="3758672" y="5260754"/>
                  <a:pt x="3757208" y="5264349"/>
                </a:cubicBezTo>
                <a:cubicBezTo>
                  <a:pt x="3755744" y="5267944"/>
                  <a:pt x="3753615" y="5271005"/>
                  <a:pt x="3751085" y="5273668"/>
                </a:cubicBezTo>
                <a:cubicBezTo>
                  <a:pt x="3748422" y="5276330"/>
                  <a:pt x="3745361" y="5278460"/>
                  <a:pt x="3741767" y="5279924"/>
                </a:cubicBezTo>
                <a:cubicBezTo>
                  <a:pt x="3738173" y="5281388"/>
                  <a:pt x="3734312" y="5282187"/>
                  <a:pt x="3730051" y="5282187"/>
                </a:cubicBezTo>
                <a:cubicBezTo>
                  <a:pt x="3720999" y="5282187"/>
                  <a:pt x="3713809" y="5279259"/>
                  <a:pt x="3708212" y="5273668"/>
                </a:cubicBezTo>
                <a:cubicBezTo>
                  <a:pt x="3702619" y="5268076"/>
                  <a:pt x="3699826" y="5260887"/>
                  <a:pt x="3699826" y="5252501"/>
                </a:cubicBezTo>
                <a:cubicBezTo>
                  <a:pt x="3699826" y="5244248"/>
                  <a:pt x="3702619" y="5237193"/>
                  <a:pt x="3708212" y="5231468"/>
                </a:cubicBezTo>
                <a:cubicBezTo>
                  <a:pt x="3713809" y="5225612"/>
                  <a:pt x="3720999" y="5222816"/>
                  <a:pt x="3730051" y="5222816"/>
                </a:cubicBezTo>
                <a:close/>
                <a:moveTo>
                  <a:pt x="3512391" y="5222816"/>
                </a:moveTo>
                <a:cubicBezTo>
                  <a:pt x="3516652" y="5222816"/>
                  <a:pt x="3520645" y="5223615"/>
                  <a:pt x="3524107" y="5225478"/>
                </a:cubicBezTo>
                <a:cubicBezTo>
                  <a:pt x="3527701" y="5227076"/>
                  <a:pt x="3530896" y="5229206"/>
                  <a:pt x="3533425" y="5231868"/>
                </a:cubicBezTo>
                <a:cubicBezTo>
                  <a:pt x="3535954" y="5234397"/>
                  <a:pt x="3538084" y="5237592"/>
                  <a:pt x="3539548" y="5241186"/>
                </a:cubicBezTo>
                <a:cubicBezTo>
                  <a:pt x="3541012" y="5244780"/>
                  <a:pt x="3541811" y="5248507"/>
                  <a:pt x="3541811" y="5252634"/>
                </a:cubicBezTo>
                <a:cubicBezTo>
                  <a:pt x="3541811" y="5256761"/>
                  <a:pt x="3541012" y="5260754"/>
                  <a:pt x="3539548" y="5264349"/>
                </a:cubicBezTo>
                <a:cubicBezTo>
                  <a:pt x="3538084" y="5267944"/>
                  <a:pt x="3535954" y="5271005"/>
                  <a:pt x="3533425" y="5273668"/>
                </a:cubicBezTo>
                <a:cubicBezTo>
                  <a:pt x="3530762" y="5276330"/>
                  <a:pt x="3527701" y="5278460"/>
                  <a:pt x="3524107" y="5279924"/>
                </a:cubicBezTo>
                <a:cubicBezTo>
                  <a:pt x="3520513" y="5281388"/>
                  <a:pt x="3516652" y="5282187"/>
                  <a:pt x="3512391" y="5282187"/>
                </a:cubicBezTo>
                <a:cubicBezTo>
                  <a:pt x="3503336" y="5282187"/>
                  <a:pt x="3496146" y="5279259"/>
                  <a:pt x="3490555" y="5273668"/>
                </a:cubicBezTo>
                <a:cubicBezTo>
                  <a:pt x="3484964" y="5268076"/>
                  <a:pt x="3482168" y="5260887"/>
                  <a:pt x="3482168" y="5252501"/>
                </a:cubicBezTo>
                <a:cubicBezTo>
                  <a:pt x="3482168" y="5244248"/>
                  <a:pt x="3484964" y="5237193"/>
                  <a:pt x="3490555" y="5231468"/>
                </a:cubicBezTo>
                <a:cubicBezTo>
                  <a:pt x="3496146" y="5225612"/>
                  <a:pt x="3503336" y="5222816"/>
                  <a:pt x="3512391" y="5222816"/>
                </a:cubicBezTo>
                <a:close/>
                <a:moveTo>
                  <a:pt x="3294865" y="5222816"/>
                </a:moveTo>
                <a:cubicBezTo>
                  <a:pt x="3298992" y="5222816"/>
                  <a:pt x="3302986" y="5223615"/>
                  <a:pt x="3306580" y="5225478"/>
                </a:cubicBezTo>
                <a:cubicBezTo>
                  <a:pt x="3310307" y="5227076"/>
                  <a:pt x="3313369" y="5229206"/>
                  <a:pt x="3315898" y="5231868"/>
                </a:cubicBezTo>
                <a:cubicBezTo>
                  <a:pt x="3318427" y="5234397"/>
                  <a:pt x="3320557" y="5237592"/>
                  <a:pt x="3322021" y="5241186"/>
                </a:cubicBezTo>
                <a:cubicBezTo>
                  <a:pt x="3323485" y="5244780"/>
                  <a:pt x="3324284" y="5248507"/>
                  <a:pt x="3324284" y="5252634"/>
                </a:cubicBezTo>
                <a:cubicBezTo>
                  <a:pt x="3324284" y="5256761"/>
                  <a:pt x="3323485" y="5260754"/>
                  <a:pt x="3322021" y="5264349"/>
                </a:cubicBezTo>
                <a:cubicBezTo>
                  <a:pt x="3320557" y="5267944"/>
                  <a:pt x="3318427" y="5271005"/>
                  <a:pt x="3315898" y="5273668"/>
                </a:cubicBezTo>
                <a:cubicBezTo>
                  <a:pt x="3313235" y="5276330"/>
                  <a:pt x="3310174" y="5278460"/>
                  <a:pt x="3306580" y="5279924"/>
                </a:cubicBezTo>
                <a:cubicBezTo>
                  <a:pt x="3302986" y="5281388"/>
                  <a:pt x="3299125" y="5282187"/>
                  <a:pt x="3294865" y="5282187"/>
                </a:cubicBezTo>
                <a:cubicBezTo>
                  <a:pt x="3285810" y="5282187"/>
                  <a:pt x="3278621" y="5279259"/>
                  <a:pt x="3273026" y="5273668"/>
                </a:cubicBezTo>
                <a:cubicBezTo>
                  <a:pt x="3267434" y="5268076"/>
                  <a:pt x="3264639" y="5260887"/>
                  <a:pt x="3264639" y="5252501"/>
                </a:cubicBezTo>
                <a:cubicBezTo>
                  <a:pt x="3264639" y="5244248"/>
                  <a:pt x="3267434" y="5237193"/>
                  <a:pt x="3273026" y="5231468"/>
                </a:cubicBezTo>
                <a:cubicBezTo>
                  <a:pt x="3278621" y="5225612"/>
                  <a:pt x="3285810" y="5222816"/>
                  <a:pt x="3294865" y="5222816"/>
                </a:cubicBezTo>
                <a:close/>
                <a:moveTo>
                  <a:pt x="3077204" y="5222816"/>
                </a:moveTo>
                <a:cubicBezTo>
                  <a:pt x="3081332" y="5222816"/>
                  <a:pt x="3085326" y="5223615"/>
                  <a:pt x="3088920" y="5225478"/>
                </a:cubicBezTo>
                <a:cubicBezTo>
                  <a:pt x="3092514" y="5227076"/>
                  <a:pt x="3095709" y="5229206"/>
                  <a:pt x="3098238" y="5231868"/>
                </a:cubicBezTo>
                <a:cubicBezTo>
                  <a:pt x="3100767" y="5234397"/>
                  <a:pt x="3102897" y="5237592"/>
                  <a:pt x="3104361" y="5241186"/>
                </a:cubicBezTo>
                <a:cubicBezTo>
                  <a:pt x="3105826" y="5244780"/>
                  <a:pt x="3106624" y="5248507"/>
                  <a:pt x="3106624" y="5252634"/>
                </a:cubicBezTo>
                <a:cubicBezTo>
                  <a:pt x="3106624" y="5256761"/>
                  <a:pt x="3105826" y="5260754"/>
                  <a:pt x="3104361" y="5264349"/>
                </a:cubicBezTo>
                <a:cubicBezTo>
                  <a:pt x="3102897" y="5267944"/>
                  <a:pt x="3100767" y="5271005"/>
                  <a:pt x="3098238" y="5273668"/>
                </a:cubicBezTo>
                <a:cubicBezTo>
                  <a:pt x="3095575" y="5276330"/>
                  <a:pt x="3092514" y="5278460"/>
                  <a:pt x="3088920" y="5279924"/>
                </a:cubicBezTo>
                <a:cubicBezTo>
                  <a:pt x="3085326" y="5281388"/>
                  <a:pt x="3081465" y="5282187"/>
                  <a:pt x="3077204" y="5282187"/>
                </a:cubicBezTo>
                <a:cubicBezTo>
                  <a:pt x="3068284" y="5282187"/>
                  <a:pt x="3060961" y="5279259"/>
                  <a:pt x="3055367" y="5273668"/>
                </a:cubicBezTo>
                <a:cubicBezTo>
                  <a:pt x="3049776" y="5268076"/>
                  <a:pt x="3046980" y="5260887"/>
                  <a:pt x="3046980" y="5252501"/>
                </a:cubicBezTo>
                <a:cubicBezTo>
                  <a:pt x="3046980" y="5244248"/>
                  <a:pt x="3049776" y="5237193"/>
                  <a:pt x="3055367" y="5231468"/>
                </a:cubicBezTo>
                <a:cubicBezTo>
                  <a:pt x="3060961" y="5225612"/>
                  <a:pt x="3068151" y="5222816"/>
                  <a:pt x="3077204" y="5222816"/>
                </a:cubicBezTo>
                <a:close/>
                <a:moveTo>
                  <a:pt x="2859544" y="5222816"/>
                </a:moveTo>
                <a:cubicBezTo>
                  <a:pt x="2863805" y="5222816"/>
                  <a:pt x="2867666" y="5223615"/>
                  <a:pt x="2871393" y="5225478"/>
                </a:cubicBezTo>
                <a:cubicBezTo>
                  <a:pt x="2875120" y="5227076"/>
                  <a:pt x="2878182" y="5229206"/>
                  <a:pt x="2880711" y="5231868"/>
                </a:cubicBezTo>
                <a:cubicBezTo>
                  <a:pt x="2883373" y="5234397"/>
                  <a:pt x="2885370" y="5237592"/>
                  <a:pt x="2886834" y="5241186"/>
                </a:cubicBezTo>
                <a:cubicBezTo>
                  <a:pt x="2888299" y="5244780"/>
                  <a:pt x="2889097" y="5248507"/>
                  <a:pt x="2889097" y="5252634"/>
                </a:cubicBezTo>
                <a:cubicBezTo>
                  <a:pt x="2889097" y="5256761"/>
                  <a:pt x="2888299" y="5260754"/>
                  <a:pt x="2886834" y="5264349"/>
                </a:cubicBezTo>
                <a:cubicBezTo>
                  <a:pt x="2885370" y="5267944"/>
                  <a:pt x="2883240" y="5271005"/>
                  <a:pt x="2880711" y="5273668"/>
                </a:cubicBezTo>
                <a:cubicBezTo>
                  <a:pt x="2878049" y="5276330"/>
                  <a:pt x="2874986" y="5278460"/>
                  <a:pt x="2871393" y="5279924"/>
                </a:cubicBezTo>
                <a:cubicBezTo>
                  <a:pt x="2867666" y="5281388"/>
                  <a:pt x="2863805" y="5282187"/>
                  <a:pt x="2859544" y="5282187"/>
                </a:cubicBezTo>
                <a:cubicBezTo>
                  <a:pt x="2850627" y="5282187"/>
                  <a:pt x="2843299" y="5279259"/>
                  <a:pt x="2837707" y="5273668"/>
                </a:cubicBezTo>
                <a:cubicBezTo>
                  <a:pt x="2832116" y="5268076"/>
                  <a:pt x="2829319" y="5260887"/>
                  <a:pt x="2829319" y="5252501"/>
                </a:cubicBezTo>
                <a:cubicBezTo>
                  <a:pt x="2829319" y="5244248"/>
                  <a:pt x="2832116" y="5237193"/>
                  <a:pt x="2837707" y="5231468"/>
                </a:cubicBezTo>
                <a:cubicBezTo>
                  <a:pt x="2843299" y="5225612"/>
                  <a:pt x="2850493" y="5222816"/>
                  <a:pt x="2859544" y="5222816"/>
                </a:cubicBezTo>
                <a:close/>
                <a:moveTo>
                  <a:pt x="2641884" y="5222816"/>
                </a:moveTo>
                <a:cubicBezTo>
                  <a:pt x="2646145" y="5222816"/>
                  <a:pt x="2650004" y="5223615"/>
                  <a:pt x="2653600" y="5225478"/>
                </a:cubicBezTo>
                <a:cubicBezTo>
                  <a:pt x="2657327" y="5227076"/>
                  <a:pt x="2660389" y="5229206"/>
                  <a:pt x="2662918" y="5231868"/>
                </a:cubicBezTo>
                <a:cubicBezTo>
                  <a:pt x="2665580" y="5234397"/>
                  <a:pt x="2667577" y="5237592"/>
                  <a:pt x="2669041" y="5241186"/>
                </a:cubicBezTo>
                <a:cubicBezTo>
                  <a:pt x="2670505" y="5244780"/>
                  <a:pt x="2671304" y="5248507"/>
                  <a:pt x="2671304" y="5252634"/>
                </a:cubicBezTo>
                <a:cubicBezTo>
                  <a:pt x="2671304" y="5256761"/>
                  <a:pt x="2670505" y="5260754"/>
                  <a:pt x="2669041" y="5264349"/>
                </a:cubicBezTo>
                <a:cubicBezTo>
                  <a:pt x="2667577" y="5267944"/>
                  <a:pt x="2665447" y="5271005"/>
                  <a:pt x="2662918" y="5273668"/>
                </a:cubicBezTo>
                <a:cubicBezTo>
                  <a:pt x="2660389" y="5276330"/>
                  <a:pt x="2657193" y="5278460"/>
                  <a:pt x="2653600" y="5279924"/>
                </a:cubicBezTo>
                <a:cubicBezTo>
                  <a:pt x="2650004" y="5281388"/>
                  <a:pt x="2646145" y="5282187"/>
                  <a:pt x="2641884" y="5282187"/>
                </a:cubicBezTo>
                <a:cubicBezTo>
                  <a:pt x="2632965" y="5282187"/>
                  <a:pt x="2625643" y="5279259"/>
                  <a:pt x="2620052" y="5273668"/>
                </a:cubicBezTo>
                <a:cubicBezTo>
                  <a:pt x="2614459" y="5268076"/>
                  <a:pt x="2611661" y="5260887"/>
                  <a:pt x="2611661" y="5252501"/>
                </a:cubicBezTo>
                <a:cubicBezTo>
                  <a:pt x="2611661" y="5244248"/>
                  <a:pt x="2614459" y="5237193"/>
                  <a:pt x="2620052" y="5231468"/>
                </a:cubicBezTo>
                <a:cubicBezTo>
                  <a:pt x="2625643" y="5225612"/>
                  <a:pt x="2632832" y="5222816"/>
                  <a:pt x="2641884" y="5222816"/>
                </a:cubicBezTo>
                <a:close/>
                <a:moveTo>
                  <a:pt x="2424224" y="5222816"/>
                </a:moveTo>
                <a:cubicBezTo>
                  <a:pt x="2428484" y="5222816"/>
                  <a:pt x="2432479" y="5223615"/>
                  <a:pt x="2435939" y="5225478"/>
                </a:cubicBezTo>
                <a:cubicBezTo>
                  <a:pt x="2439666" y="5227076"/>
                  <a:pt x="2442728" y="5229206"/>
                  <a:pt x="2445257" y="5231868"/>
                </a:cubicBezTo>
                <a:cubicBezTo>
                  <a:pt x="2447920" y="5234397"/>
                  <a:pt x="2449917" y="5237592"/>
                  <a:pt x="2451381" y="5241186"/>
                </a:cubicBezTo>
                <a:cubicBezTo>
                  <a:pt x="2452845" y="5244780"/>
                  <a:pt x="2453644" y="5248507"/>
                  <a:pt x="2453644" y="5252634"/>
                </a:cubicBezTo>
                <a:cubicBezTo>
                  <a:pt x="2453644" y="5256761"/>
                  <a:pt x="2452845" y="5260754"/>
                  <a:pt x="2451381" y="5264349"/>
                </a:cubicBezTo>
                <a:cubicBezTo>
                  <a:pt x="2449917" y="5267944"/>
                  <a:pt x="2447786" y="5271005"/>
                  <a:pt x="2445257" y="5273668"/>
                </a:cubicBezTo>
                <a:cubicBezTo>
                  <a:pt x="2442728" y="5276330"/>
                  <a:pt x="2439534" y="5278460"/>
                  <a:pt x="2435939" y="5279924"/>
                </a:cubicBezTo>
                <a:cubicBezTo>
                  <a:pt x="2432345" y="5281388"/>
                  <a:pt x="2428484" y="5282187"/>
                  <a:pt x="2424224" y="5282187"/>
                </a:cubicBezTo>
                <a:cubicBezTo>
                  <a:pt x="2415306" y="5282187"/>
                  <a:pt x="2407984" y="5279259"/>
                  <a:pt x="2402392" y="5273668"/>
                </a:cubicBezTo>
                <a:cubicBezTo>
                  <a:pt x="2396800" y="5268076"/>
                  <a:pt x="2394003" y="5260887"/>
                  <a:pt x="2394003" y="5252501"/>
                </a:cubicBezTo>
                <a:cubicBezTo>
                  <a:pt x="2394003" y="5244248"/>
                  <a:pt x="2396800" y="5237193"/>
                  <a:pt x="2402392" y="5231468"/>
                </a:cubicBezTo>
                <a:cubicBezTo>
                  <a:pt x="2407984" y="5225612"/>
                  <a:pt x="2415172" y="5222816"/>
                  <a:pt x="2424224" y="5222816"/>
                </a:cubicBezTo>
                <a:close/>
                <a:moveTo>
                  <a:pt x="2206564" y="5222816"/>
                </a:moveTo>
                <a:cubicBezTo>
                  <a:pt x="2210824" y="5222816"/>
                  <a:pt x="2214818" y="5223615"/>
                  <a:pt x="2218279" y="5225478"/>
                </a:cubicBezTo>
                <a:cubicBezTo>
                  <a:pt x="2222006" y="5227076"/>
                  <a:pt x="2225067" y="5229206"/>
                  <a:pt x="2227598" y="5231868"/>
                </a:cubicBezTo>
                <a:cubicBezTo>
                  <a:pt x="2230259" y="5234397"/>
                  <a:pt x="2232256" y="5237592"/>
                  <a:pt x="2233720" y="5241186"/>
                </a:cubicBezTo>
                <a:cubicBezTo>
                  <a:pt x="2235184" y="5244780"/>
                  <a:pt x="2235983" y="5248507"/>
                  <a:pt x="2235983" y="5252634"/>
                </a:cubicBezTo>
                <a:cubicBezTo>
                  <a:pt x="2235983" y="5256761"/>
                  <a:pt x="2235184" y="5260754"/>
                  <a:pt x="2233720" y="5264349"/>
                </a:cubicBezTo>
                <a:cubicBezTo>
                  <a:pt x="2232256" y="5267944"/>
                  <a:pt x="2230126" y="5271005"/>
                  <a:pt x="2227598" y="5273668"/>
                </a:cubicBezTo>
                <a:cubicBezTo>
                  <a:pt x="2225067" y="5276330"/>
                  <a:pt x="2221873" y="5278460"/>
                  <a:pt x="2218279" y="5279924"/>
                </a:cubicBezTo>
                <a:cubicBezTo>
                  <a:pt x="2214684" y="5281388"/>
                  <a:pt x="2210824" y="5282187"/>
                  <a:pt x="2206564" y="5282187"/>
                </a:cubicBezTo>
                <a:cubicBezTo>
                  <a:pt x="2197512" y="5282187"/>
                  <a:pt x="2190323" y="5279259"/>
                  <a:pt x="2184731" y="5273668"/>
                </a:cubicBezTo>
                <a:cubicBezTo>
                  <a:pt x="2179139" y="5268076"/>
                  <a:pt x="2176343" y="5260887"/>
                  <a:pt x="2176343" y="5252501"/>
                </a:cubicBezTo>
                <a:cubicBezTo>
                  <a:pt x="2176343" y="5244248"/>
                  <a:pt x="2179139" y="5237193"/>
                  <a:pt x="2184731" y="5231468"/>
                </a:cubicBezTo>
                <a:cubicBezTo>
                  <a:pt x="2190323" y="5225612"/>
                  <a:pt x="2197512" y="5222816"/>
                  <a:pt x="2206564" y="5222816"/>
                </a:cubicBezTo>
                <a:close/>
                <a:moveTo>
                  <a:pt x="1989037" y="5222816"/>
                </a:moveTo>
                <a:cubicBezTo>
                  <a:pt x="1993164" y="5222816"/>
                  <a:pt x="1997158" y="5223615"/>
                  <a:pt x="2000752" y="5225478"/>
                </a:cubicBezTo>
                <a:cubicBezTo>
                  <a:pt x="2004479" y="5227076"/>
                  <a:pt x="2007541" y="5229206"/>
                  <a:pt x="2010070" y="5231868"/>
                </a:cubicBezTo>
                <a:cubicBezTo>
                  <a:pt x="2012732" y="5234397"/>
                  <a:pt x="2014729" y="5237592"/>
                  <a:pt x="2016193" y="5241186"/>
                </a:cubicBezTo>
                <a:cubicBezTo>
                  <a:pt x="2017657" y="5244780"/>
                  <a:pt x="2018456" y="5248507"/>
                  <a:pt x="2018456" y="5252634"/>
                </a:cubicBezTo>
                <a:cubicBezTo>
                  <a:pt x="2018456" y="5256761"/>
                  <a:pt x="2017657" y="5260754"/>
                  <a:pt x="2016193" y="5264349"/>
                </a:cubicBezTo>
                <a:cubicBezTo>
                  <a:pt x="2014729" y="5267944"/>
                  <a:pt x="2012599" y="5271005"/>
                  <a:pt x="2010070" y="5273668"/>
                </a:cubicBezTo>
                <a:cubicBezTo>
                  <a:pt x="2007541" y="5276330"/>
                  <a:pt x="2004346" y="5278460"/>
                  <a:pt x="2000752" y="5279924"/>
                </a:cubicBezTo>
                <a:cubicBezTo>
                  <a:pt x="1997158" y="5281388"/>
                  <a:pt x="1993296" y="5282187"/>
                  <a:pt x="1989037" y="5282187"/>
                </a:cubicBezTo>
                <a:cubicBezTo>
                  <a:pt x="1979985" y="5282187"/>
                  <a:pt x="1972796" y="5279259"/>
                  <a:pt x="1967205" y="5273668"/>
                </a:cubicBezTo>
                <a:cubicBezTo>
                  <a:pt x="1961615" y="5268076"/>
                  <a:pt x="1958819" y="5260887"/>
                  <a:pt x="1958819" y="5252501"/>
                </a:cubicBezTo>
                <a:cubicBezTo>
                  <a:pt x="1958819" y="5244248"/>
                  <a:pt x="1961615" y="5237193"/>
                  <a:pt x="1967205" y="5231468"/>
                </a:cubicBezTo>
                <a:cubicBezTo>
                  <a:pt x="1972796" y="5225612"/>
                  <a:pt x="1979985" y="5222816"/>
                  <a:pt x="1989037" y="5222816"/>
                </a:cubicBezTo>
                <a:close/>
                <a:moveTo>
                  <a:pt x="1771402" y="5222816"/>
                </a:moveTo>
                <a:cubicBezTo>
                  <a:pt x="1775661" y="5222816"/>
                  <a:pt x="1779521" y="5223615"/>
                  <a:pt x="1783116" y="5225478"/>
                </a:cubicBezTo>
                <a:cubicBezTo>
                  <a:pt x="1786843" y="5227076"/>
                  <a:pt x="1789905" y="5229206"/>
                  <a:pt x="1792434" y="5231868"/>
                </a:cubicBezTo>
                <a:cubicBezTo>
                  <a:pt x="1795096" y="5234397"/>
                  <a:pt x="1797093" y="5237592"/>
                  <a:pt x="1798557" y="5241186"/>
                </a:cubicBezTo>
                <a:cubicBezTo>
                  <a:pt x="1800021" y="5244780"/>
                  <a:pt x="1800820" y="5248507"/>
                  <a:pt x="1800820" y="5252634"/>
                </a:cubicBezTo>
                <a:cubicBezTo>
                  <a:pt x="1800820" y="5256761"/>
                  <a:pt x="1800021" y="5260754"/>
                  <a:pt x="1798557" y="5264349"/>
                </a:cubicBezTo>
                <a:cubicBezTo>
                  <a:pt x="1797093" y="5267944"/>
                  <a:pt x="1794964" y="5271005"/>
                  <a:pt x="1792434" y="5273668"/>
                </a:cubicBezTo>
                <a:cubicBezTo>
                  <a:pt x="1789771" y="5276330"/>
                  <a:pt x="1786711" y="5278460"/>
                  <a:pt x="1783116" y="5279924"/>
                </a:cubicBezTo>
                <a:cubicBezTo>
                  <a:pt x="1779521" y="5281388"/>
                  <a:pt x="1775661" y="5282187"/>
                  <a:pt x="1771402" y="5282187"/>
                </a:cubicBezTo>
                <a:cubicBezTo>
                  <a:pt x="1762483" y="5282187"/>
                  <a:pt x="1755163" y="5279259"/>
                  <a:pt x="1749573" y="5273668"/>
                </a:cubicBezTo>
                <a:cubicBezTo>
                  <a:pt x="1743982" y="5268076"/>
                  <a:pt x="1741190" y="5260887"/>
                  <a:pt x="1741190" y="5252501"/>
                </a:cubicBezTo>
                <a:cubicBezTo>
                  <a:pt x="1741190" y="5244248"/>
                  <a:pt x="1743982" y="5237193"/>
                  <a:pt x="1749573" y="5231468"/>
                </a:cubicBezTo>
                <a:cubicBezTo>
                  <a:pt x="1755163" y="5225612"/>
                  <a:pt x="1762350" y="5222816"/>
                  <a:pt x="1771402" y="5222816"/>
                </a:cubicBezTo>
                <a:close/>
                <a:moveTo>
                  <a:pt x="1553765" y="5222816"/>
                </a:moveTo>
                <a:cubicBezTo>
                  <a:pt x="1558024" y="5222816"/>
                  <a:pt x="1561886" y="5223615"/>
                  <a:pt x="1565480" y="5225478"/>
                </a:cubicBezTo>
                <a:cubicBezTo>
                  <a:pt x="1569074" y="5227076"/>
                  <a:pt x="1572269" y="5229206"/>
                  <a:pt x="1574798" y="5231868"/>
                </a:cubicBezTo>
                <a:cubicBezTo>
                  <a:pt x="1577460" y="5234397"/>
                  <a:pt x="1579457" y="5237592"/>
                  <a:pt x="1580921" y="5241186"/>
                </a:cubicBezTo>
                <a:cubicBezTo>
                  <a:pt x="1582385" y="5244780"/>
                  <a:pt x="1583184" y="5248507"/>
                  <a:pt x="1583184" y="5252634"/>
                </a:cubicBezTo>
                <a:cubicBezTo>
                  <a:pt x="1583184" y="5256761"/>
                  <a:pt x="1582385" y="5260754"/>
                  <a:pt x="1580921" y="5264349"/>
                </a:cubicBezTo>
                <a:cubicBezTo>
                  <a:pt x="1579457" y="5267944"/>
                  <a:pt x="1577327" y="5271005"/>
                  <a:pt x="1574798" y="5273668"/>
                </a:cubicBezTo>
                <a:cubicBezTo>
                  <a:pt x="1572136" y="5276330"/>
                  <a:pt x="1569074" y="5278460"/>
                  <a:pt x="1565480" y="5279924"/>
                </a:cubicBezTo>
                <a:cubicBezTo>
                  <a:pt x="1561886" y="5281388"/>
                  <a:pt x="1558024" y="5282187"/>
                  <a:pt x="1553765" y="5282187"/>
                </a:cubicBezTo>
                <a:cubicBezTo>
                  <a:pt x="1544847" y="5282187"/>
                  <a:pt x="1537525" y="5279259"/>
                  <a:pt x="1531935" y="5273668"/>
                </a:cubicBezTo>
                <a:cubicBezTo>
                  <a:pt x="1526346" y="5268076"/>
                  <a:pt x="1523550" y="5260887"/>
                  <a:pt x="1523550" y="5252501"/>
                </a:cubicBezTo>
                <a:cubicBezTo>
                  <a:pt x="1523550" y="5244248"/>
                  <a:pt x="1526346" y="5237193"/>
                  <a:pt x="1531935" y="5231468"/>
                </a:cubicBezTo>
                <a:cubicBezTo>
                  <a:pt x="1537525" y="5225612"/>
                  <a:pt x="1544712" y="5222816"/>
                  <a:pt x="1553765" y="5222816"/>
                </a:cubicBezTo>
                <a:close/>
                <a:moveTo>
                  <a:pt x="1336122" y="5222816"/>
                </a:moveTo>
                <a:cubicBezTo>
                  <a:pt x="1340380" y="5222816"/>
                  <a:pt x="1344376" y="5223615"/>
                  <a:pt x="1347836" y="5225478"/>
                </a:cubicBezTo>
                <a:cubicBezTo>
                  <a:pt x="1351430" y="5227076"/>
                  <a:pt x="1354625" y="5229206"/>
                  <a:pt x="1357155" y="5231868"/>
                </a:cubicBezTo>
                <a:cubicBezTo>
                  <a:pt x="1359817" y="5234397"/>
                  <a:pt x="1361814" y="5237592"/>
                  <a:pt x="1363278" y="5241186"/>
                </a:cubicBezTo>
                <a:cubicBezTo>
                  <a:pt x="1364742" y="5244780"/>
                  <a:pt x="1365540" y="5248507"/>
                  <a:pt x="1365540" y="5252634"/>
                </a:cubicBezTo>
                <a:cubicBezTo>
                  <a:pt x="1365540" y="5256761"/>
                  <a:pt x="1364742" y="5260754"/>
                  <a:pt x="1363278" y="5264349"/>
                </a:cubicBezTo>
                <a:cubicBezTo>
                  <a:pt x="1361814" y="5267944"/>
                  <a:pt x="1359684" y="5271005"/>
                  <a:pt x="1357155" y="5273668"/>
                </a:cubicBezTo>
                <a:cubicBezTo>
                  <a:pt x="1354491" y="5276330"/>
                  <a:pt x="1351430" y="5278460"/>
                  <a:pt x="1347836" y="5279924"/>
                </a:cubicBezTo>
                <a:cubicBezTo>
                  <a:pt x="1344243" y="5281388"/>
                  <a:pt x="1340380" y="5282187"/>
                  <a:pt x="1336122" y="5282187"/>
                </a:cubicBezTo>
                <a:cubicBezTo>
                  <a:pt x="1327201" y="5282187"/>
                  <a:pt x="1319880" y="5279259"/>
                  <a:pt x="1314289" y="5273668"/>
                </a:cubicBezTo>
                <a:cubicBezTo>
                  <a:pt x="1308698" y="5268076"/>
                  <a:pt x="1305903" y="5260887"/>
                  <a:pt x="1305903" y="5252501"/>
                </a:cubicBezTo>
                <a:cubicBezTo>
                  <a:pt x="1305903" y="5244248"/>
                  <a:pt x="1308698" y="5237193"/>
                  <a:pt x="1314289" y="5231468"/>
                </a:cubicBezTo>
                <a:cubicBezTo>
                  <a:pt x="1319880" y="5225612"/>
                  <a:pt x="1327068" y="5222816"/>
                  <a:pt x="1336122" y="5222816"/>
                </a:cubicBezTo>
                <a:close/>
                <a:moveTo>
                  <a:pt x="1118476" y="5222816"/>
                </a:moveTo>
                <a:cubicBezTo>
                  <a:pt x="1122737" y="5222816"/>
                  <a:pt x="1126733" y="5223615"/>
                  <a:pt x="1130194" y="5225478"/>
                </a:cubicBezTo>
                <a:cubicBezTo>
                  <a:pt x="1133920" y="5227076"/>
                  <a:pt x="1136982" y="5229206"/>
                  <a:pt x="1139509" y="5231868"/>
                </a:cubicBezTo>
                <a:cubicBezTo>
                  <a:pt x="1142170" y="5234397"/>
                  <a:pt x="1144166" y="5237592"/>
                  <a:pt x="1145629" y="5241186"/>
                </a:cubicBezTo>
                <a:cubicBezTo>
                  <a:pt x="1147093" y="5244780"/>
                  <a:pt x="1147892" y="5248507"/>
                  <a:pt x="1147892" y="5252634"/>
                </a:cubicBezTo>
                <a:cubicBezTo>
                  <a:pt x="1147892" y="5256761"/>
                  <a:pt x="1147093" y="5260754"/>
                  <a:pt x="1145629" y="5264349"/>
                </a:cubicBezTo>
                <a:cubicBezTo>
                  <a:pt x="1144166" y="5267944"/>
                  <a:pt x="1142037" y="5271005"/>
                  <a:pt x="1139509" y="5273668"/>
                </a:cubicBezTo>
                <a:cubicBezTo>
                  <a:pt x="1136982" y="5276330"/>
                  <a:pt x="1133788" y="5278460"/>
                  <a:pt x="1130194" y="5279924"/>
                </a:cubicBezTo>
                <a:cubicBezTo>
                  <a:pt x="1126598" y="5281388"/>
                  <a:pt x="1122737" y="5282187"/>
                  <a:pt x="1118476" y="5282187"/>
                </a:cubicBezTo>
                <a:cubicBezTo>
                  <a:pt x="1109556" y="5282187"/>
                  <a:pt x="1102232" y="5279259"/>
                  <a:pt x="1096641" y="5273668"/>
                </a:cubicBezTo>
                <a:cubicBezTo>
                  <a:pt x="1091051" y="5268076"/>
                  <a:pt x="1088257" y="5260887"/>
                  <a:pt x="1088257" y="5252501"/>
                </a:cubicBezTo>
                <a:cubicBezTo>
                  <a:pt x="1088257" y="5244248"/>
                  <a:pt x="1091051" y="5237193"/>
                  <a:pt x="1096641" y="5231468"/>
                </a:cubicBezTo>
                <a:cubicBezTo>
                  <a:pt x="1102232" y="5225612"/>
                  <a:pt x="1109422" y="5222816"/>
                  <a:pt x="1118476" y="5222816"/>
                </a:cubicBezTo>
                <a:close/>
                <a:moveTo>
                  <a:pt x="900963" y="5222816"/>
                </a:moveTo>
                <a:cubicBezTo>
                  <a:pt x="905090" y="5222816"/>
                  <a:pt x="909084" y="5223615"/>
                  <a:pt x="912678" y="5225478"/>
                </a:cubicBezTo>
                <a:cubicBezTo>
                  <a:pt x="916405" y="5227076"/>
                  <a:pt x="919467" y="5229206"/>
                  <a:pt x="921996" y="5231868"/>
                </a:cubicBezTo>
                <a:cubicBezTo>
                  <a:pt x="924658" y="5234397"/>
                  <a:pt x="926655" y="5237592"/>
                  <a:pt x="928119" y="5241186"/>
                </a:cubicBezTo>
                <a:cubicBezTo>
                  <a:pt x="929583" y="5244780"/>
                  <a:pt x="930382" y="5248507"/>
                  <a:pt x="930382" y="5252634"/>
                </a:cubicBezTo>
                <a:cubicBezTo>
                  <a:pt x="930382" y="5256761"/>
                  <a:pt x="929583" y="5260754"/>
                  <a:pt x="928119" y="5264349"/>
                </a:cubicBezTo>
                <a:cubicBezTo>
                  <a:pt x="926655" y="5267944"/>
                  <a:pt x="924525" y="5271005"/>
                  <a:pt x="921996" y="5273668"/>
                </a:cubicBezTo>
                <a:cubicBezTo>
                  <a:pt x="919467" y="5276330"/>
                  <a:pt x="916272" y="5278460"/>
                  <a:pt x="912678" y="5279924"/>
                </a:cubicBezTo>
                <a:cubicBezTo>
                  <a:pt x="909084" y="5281388"/>
                  <a:pt x="905223" y="5282187"/>
                  <a:pt x="900963" y="5282187"/>
                </a:cubicBezTo>
                <a:cubicBezTo>
                  <a:pt x="892045" y="5282187"/>
                  <a:pt x="884723" y="5279259"/>
                  <a:pt x="879132" y="5273668"/>
                </a:cubicBezTo>
                <a:cubicBezTo>
                  <a:pt x="873543" y="5268076"/>
                  <a:pt x="870747" y="5260887"/>
                  <a:pt x="870747" y="5252501"/>
                </a:cubicBezTo>
                <a:cubicBezTo>
                  <a:pt x="870747" y="5244248"/>
                  <a:pt x="873543" y="5237193"/>
                  <a:pt x="879132" y="5231468"/>
                </a:cubicBezTo>
                <a:cubicBezTo>
                  <a:pt x="884723" y="5225612"/>
                  <a:pt x="891912" y="5222816"/>
                  <a:pt x="900963" y="5222816"/>
                </a:cubicBezTo>
                <a:close/>
                <a:moveTo>
                  <a:pt x="683323" y="5222816"/>
                </a:moveTo>
                <a:cubicBezTo>
                  <a:pt x="687583" y="5222816"/>
                  <a:pt x="691444" y="5223615"/>
                  <a:pt x="695038" y="5225478"/>
                </a:cubicBezTo>
                <a:cubicBezTo>
                  <a:pt x="698765" y="5227076"/>
                  <a:pt x="701827" y="5229206"/>
                  <a:pt x="704355" y="5231868"/>
                </a:cubicBezTo>
                <a:cubicBezTo>
                  <a:pt x="707017" y="5234397"/>
                  <a:pt x="709014" y="5237592"/>
                  <a:pt x="710478" y="5241186"/>
                </a:cubicBezTo>
                <a:cubicBezTo>
                  <a:pt x="711942" y="5244780"/>
                  <a:pt x="712741" y="5248507"/>
                  <a:pt x="712741" y="5252634"/>
                </a:cubicBezTo>
                <a:cubicBezTo>
                  <a:pt x="712741" y="5256761"/>
                  <a:pt x="711942" y="5260754"/>
                  <a:pt x="710478" y="5264349"/>
                </a:cubicBezTo>
                <a:cubicBezTo>
                  <a:pt x="709014" y="5267944"/>
                  <a:pt x="706884" y="5271005"/>
                  <a:pt x="704355" y="5273668"/>
                </a:cubicBezTo>
                <a:cubicBezTo>
                  <a:pt x="701827" y="5276330"/>
                  <a:pt x="698632" y="5278460"/>
                  <a:pt x="695038" y="5279924"/>
                </a:cubicBezTo>
                <a:cubicBezTo>
                  <a:pt x="691444" y="5281388"/>
                  <a:pt x="687583" y="5282187"/>
                  <a:pt x="683323" y="5282187"/>
                </a:cubicBezTo>
                <a:cubicBezTo>
                  <a:pt x="674404" y="5282187"/>
                  <a:pt x="667082" y="5279259"/>
                  <a:pt x="661491" y="5273668"/>
                </a:cubicBezTo>
                <a:cubicBezTo>
                  <a:pt x="655900" y="5268076"/>
                  <a:pt x="653105" y="5260887"/>
                  <a:pt x="653105" y="5252501"/>
                </a:cubicBezTo>
                <a:cubicBezTo>
                  <a:pt x="653105" y="5244248"/>
                  <a:pt x="655900" y="5237193"/>
                  <a:pt x="661491" y="5231468"/>
                </a:cubicBezTo>
                <a:cubicBezTo>
                  <a:pt x="667082" y="5225612"/>
                  <a:pt x="674271" y="5222816"/>
                  <a:pt x="683323" y="5222816"/>
                </a:cubicBezTo>
                <a:close/>
                <a:moveTo>
                  <a:pt x="465681" y="5222816"/>
                </a:moveTo>
                <a:cubicBezTo>
                  <a:pt x="469941" y="5222816"/>
                  <a:pt x="473801" y="5223615"/>
                  <a:pt x="477396" y="5225478"/>
                </a:cubicBezTo>
                <a:cubicBezTo>
                  <a:pt x="481123" y="5227076"/>
                  <a:pt x="484185" y="5229206"/>
                  <a:pt x="486714" y="5231868"/>
                </a:cubicBezTo>
                <a:cubicBezTo>
                  <a:pt x="489375" y="5234397"/>
                  <a:pt x="491373" y="5237592"/>
                  <a:pt x="492837" y="5241186"/>
                </a:cubicBezTo>
                <a:cubicBezTo>
                  <a:pt x="494300" y="5244780"/>
                  <a:pt x="495100" y="5248507"/>
                  <a:pt x="495100" y="5252634"/>
                </a:cubicBezTo>
                <a:cubicBezTo>
                  <a:pt x="495100" y="5256761"/>
                  <a:pt x="494300" y="5260754"/>
                  <a:pt x="492837" y="5264349"/>
                </a:cubicBezTo>
                <a:cubicBezTo>
                  <a:pt x="491373" y="5267944"/>
                  <a:pt x="489243" y="5271005"/>
                  <a:pt x="486714" y="5273668"/>
                </a:cubicBezTo>
                <a:cubicBezTo>
                  <a:pt x="484051" y="5276330"/>
                  <a:pt x="480990" y="5278460"/>
                  <a:pt x="477396" y="5279924"/>
                </a:cubicBezTo>
                <a:cubicBezTo>
                  <a:pt x="473801" y="5281388"/>
                  <a:pt x="469941" y="5282187"/>
                  <a:pt x="465681" y="5282187"/>
                </a:cubicBezTo>
                <a:cubicBezTo>
                  <a:pt x="456763" y="5282187"/>
                  <a:pt x="449441" y="5279259"/>
                  <a:pt x="443850" y="5273668"/>
                </a:cubicBezTo>
                <a:cubicBezTo>
                  <a:pt x="438259" y="5268076"/>
                  <a:pt x="435464" y="5260887"/>
                  <a:pt x="435464" y="5252501"/>
                </a:cubicBezTo>
                <a:cubicBezTo>
                  <a:pt x="435464" y="5244248"/>
                  <a:pt x="438259" y="5237193"/>
                  <a:pt x="443850" y="5231468"/>
                </a:cubicBezTo>
                <a:cubicBezTo>
                  <a:pt x="449441" y="5225612"/>
                  <a:pt x="456630" y="5222816"/>
                  <a:pt x="465681" y="5222816"/>
                </a:cubicBezTo>
                <a:close/>
                <a:moveTo>
                  <a:pt x="248039" y="5222816"/>
                </a:moveTo>
                <a:cubicBezTo>
                  <a:pt x="252299" y="5222816"/>
                  <a:pt x="256293" y="5223615"/>
                  <a:pt x="259754" y="5225478"/>
                </a:cubicBezTo>
                <a:cubicBezTo>
                  <a:pt x="263481" y="5227076"/>
                  <a:pt x="266543" y="5229206"/>
                  <a:pt x="269072" y="5231868"/>
                </a:cubicBezTo>
                <a:cubicBezTo>
                  <a:pt x="271734" y="5234397"/>
                  <a:pt x="273731" y="5237592"/>
                  <a:pt x="275195" y="5241186"/>
                </a:cubicBezTo>
                <a:cubicBezTo>
                  <a:pt x="276659" y="5244780"/>
                  <a:pt x="277458" y="5248507"/>
                  <a:pt x="277458" y="5252634"/>
                </a:cubicBezTo>
                <a:cubicBezTo>
                  <a:pt x="277458" y="5256761"/>
                  <a:pt x="276659" y="5260754"/>
                  <a:pt x="275195" y="5264349"/>
                </a:cubicBezTo>
                <a:cubicBezTo>
                  <a:pt x="273731" y="5267944"/>
                  <a:pt x="271601" y="5271005"/>
                  <a:pt x="269072" y="5273668"/>
                </a:cubicBezTo>
                <a:cubicBezTo>
                  <a:pt x="266409" y="5276330"/>
                  <a:pt x="263348" y="5278460"/>
                  <a:pt x="259754" y="5279924"/>
                </a:cubicBezTo>
                <a:cubicBezTo>
                  <a:pt x="256159" y="5281388"/>
                  <a:pt x="252299" y="5282187"/>
                  <a:pt x="248039" y="5282187"/>
                </a:cubicBezTo>
                <a:cubicBezTo>
                  <a:pt x="239122" y="5282187"/>
                  <a:pt x="231800" y="5279259"/>
                  <a:pt x="226209" y="5273668"/>
                </a:cubicBezTo>
                <a:cubicBezTo>
                  <a:pt x="220619" y="5268076"/>
                  <a:pt x="217824" y="5260887"/>
                  <a:pt x="217824" y="5252501"/>
                </a:cubicBezTo>
                <a:cubicBezTo>
                  <a:pt x="217824" y="5244248"/>
                  <a:pt x="220619" y="5237193"/>
                  <a:pt x="226209" y="5231468"/>
                </a:cubicBezTo>
                <a:cubicBezTo>
                  <a:pt x="231800" y="5225612"/>
                  <a:pt x="238988" y="5222816"/>
                  <a:pt x="248039" y="5222816"/>
                </a:cubicBezTo>
                <a:close/>
                <a:moveTo>
                  <a:pt x="30398" y="5222816"/>
                </a:moveTo>
                <a:cubicBezTo>
                  <a:pt x="34658" y="5222816"/>
                  <a:pt x="38652" y="5223615"/>
                  <a:pt x="42113" y="5225478"/>
                </a:cubicBezTo>
                <a:cubicBezTo>
                  <a:pt x="45840" y="5227076"/>
                  <a:pt x="48902" y="5229206"/>
                  <a:pt x="51431" y="5231868"/>
                </a:cubicBezTo>
                <a:cubicBezTo>
                  <a:pt x="54093" y="5234397"/>
                  <a:pt x="56090" y="5237592"/>
                  <a:pt x="57554" y="5241186"/>
                </a:cubicBezTo>
                <a:cubicBezTo>
                  <a:pt x="59018" y="5244780"/>
                  <a:pt x="59817" y="5248507"/>
                  <a:pt x="59817" y="5252634"/>
                </a:cubicBezTo>
                <a:cubicBezTo>
                  <a:pt x="59817" y="5256761"/>
                  <a:pt x="59018" y="5260754"/>
                  <a:pt x="57554" y="5264349"/>
                </a:cubicBezTo>
                <a:cubicBezTo>
                  <a:pt x="56090" y="5267944"/>
                  <a:pt x="53960" y="5271005"/>
                  <a:pt x="51431" y="5273668"/>
                </a:cubicBezTo>
                <a:cubicBezTo>
                  <a:pt x="48768" y="5276330"/>
                  <a:pt x="45707" y="5278460"/>
                  <a:pt x="42113" y="5279924"/>
                </a:cubicBezTo>
                <a:cubicBezTo>
                  <a:pt x="38519" y="5281388"/>
                  <a:pt x="34658" y="5282187"/>
                  <a:pt x="30398" y="5282187"/>
                </a:cubicBezTo>
                <a:cubicBezTo>
                  <a:pt x="21479" y="5282187"/>
                  <a:pt x="14159" y="5279259"/>
                  <a:pt x="8570" y="5273668"/>
                </a:cubicBezTo>
                <a:cubicBezTo>
                  <a:pt x="2979" y="5268076"/>
                  <a:pt x="184" y="5260887"/>
                  <a:pt x="184" y="5252501"/>
                </a:cubicBezTo>
                <a:cubicBezTo>
                  <a:pt x="184" y="5244248"/>
                  <a:pt x="2979" y="5237193"/>
                  <a:pt x="8570" y="5231468"/>
                </a:cubicBezTo>
                <a:cubicBezTo>
                  <a:pt x="14159" y="5225612"/>
                  <a:pt x="21345" y="5222816"/>
                  <a:pt x="30398" y="5222816"/>
                </a:cubicBezTo>
                <a:close/>
                <a:moveTo>
                  <a:pt x="10475977" y="5021945"/>
                </a:moveTo>
                <a:cubicBezTo>
                  <a:pt x="10470119" y="5021945"/>
                  <a:pt x="10467589" y="5023941"/>
                  <a:pt x="10465992" y="5025539"/>
                </a:cubicBezTo>
                <a:cubicBezTo>
                  <a:pt x="10463463" y="5028201"/>
                  <a:pt x="10462399" y="5030996"/>
                  <a:pt x="10462399" y="5034990"/>
                </a:cubicBezTo>
                <a:cubicBezTo>
                  <a:pt x="10462399" y="5039117"/>
                  <a:pt x="10463463" y="5041912"/>
                  <a:pt x="10465992" y="5044441"/>
                </a:cubicBezTo>
                <a:cubicBezTo>
                  <a:pt x="10467589" y="5046040"/>
                  <a:pt x="10470119" y="5047903"/>
                  <a:pt x="10475977" y="5047903"/>
                </a:cubicBezTo>
                <a:cubicBezTo>
                  <a:pt x="10478107" y="5047903"/>
                  <a:pt x="10479838" y="5047504"/>
                  <a:pt x="10481302" y="5046971"/>
                </a:cubicBezTo>
                <a:cubicBezTo>
                  <a:pt x="10482899" y="5046439"/>
                  <a:pt x="10484098" y="5045640"/>
                  <a:pt x="10485029" y="5044574"/>
                </a:cubicBezTo>
                <a:cubicBezTo>
                  <a:pt x="10486094" y="5043376"/>
                  <a:pt x="10487026" y="5042045"/>
                  <a:pt x="10487691" y="5040315"/>
                </a:cubicBezTo>
                <a:cubicBezTo>
                  <a:pt x="10488357" y="5038717"/>
                  <a:pt x="10488623" y="5036853"/>
                  <a:pt x="10488623" y="5034857"/>
                </a:cubicBezTo>
                <a:cubicBezTo>
                  <a:pt x="10488623" y="5032993"/>
                  <a:pt x="10488357" y="5031263"/>
                  <a:pt x="10487691" y="5029666"/>
                </a:cubicBezTo>
                <a:cubicBezTo>
                  <a:pt x="10487026" y="5028068"/>
                  <a:pt x="10486094" y="5026737"/>
                  <a:pt x="10485029" y="5025539"/>
                </a:cubicBezTo>
                <a:cubicBezTo>
                  <a:pt x="10483964" y="5024474"/>
                  <a:pt x="10482633" y="5023542"/>
                  <a:pt x="10481035" y="5022876"/>
                </a:cubicBezTo>
                <a:cubicBezTo>
                  <a:pt x="10479571" y="5022211"/>
                  <a:pt x="10477974" y="5021945"/>
                  <a:pt x="10475977" y="5021945"/>
                </a:cubicBezTo>
                <a:close/>
                <a:moveTo>
                  <a:pt x="10258466" y="5021945"/>
                </a:moveTo>
                <a:cubicBezTo>
                  <a:pt x="10252608" y="5021945"/>
                  <a:pt x="10250078" y="5023941"/>
                  <a:pt x="10248481" y="5025539"/>
                </a:cubicBezTo>
                <a:cubicBezTo>
                  <a:pt x="10245952" y="5028201"/>
                  <a:pt x="10244887" y="5030996"/>
                  <a:pt x="10244887" y="5034990"/>
                </a:cubicBezTo>
                <a:cubicBezTo>
                  <a:pt x="10244887" y="5039117"/>
                  <a:pt x="10245952" y="5041912"/>
                  <a:pt x="10248481" y="5044441"/>
                </a:cubicBezTo>
                <a:cubicBezTo>
                  <a:pt x="10250078" y="5046040"/>
                  <a:pt x="10252608" y="5047903"/>
                  <a:pt x="10258466" y="5047903"/>
                </a:cubicBezTo>
                <a:cubicBezTo>
                  <a:pt x="10260462" y="5047903"/>
                  <a:pt x="10262192" y="5047504"/>
                  <a:pt x="10263790" y="5046971"/>
                </a:cubicBezTo>
                <a:cubicBezTo>
                  <a:pt x="10265388" y="5046439"/>
                  <a:pt x="10266586" y="5045640"/>
                  <a:pt x="10267517" y="5044574"/>
                </a:cubicBezTo>
                <a:cubicBezTo>
                  <a:pt x="10268583" y="5043376"/>
                  <a:pt x="10269515" y="5042045"/>
                  <a:pt x="10270180" y="5040315"/>
                </a:cubicBezTo>
                <a:cubicBezTo>
                  <a:pt x="10270845" y="5038717"/>
                  <a:pt x="10271112" y="5036853"/>
                  <a:pt x="10271112" y="5034857"/>
                </a:cubicBezTo>
                <a:cubicBezTo>
                  <a:pt x="10271112" y="5032993"/>
                  <a:pt x="10270845" y="5031263"/>
                  <a:pt x="10270180" y="5029666"/>
                </a:cubicBezTo>
                <a:cubicBezTo>
                  <a:pt x="10269515" y="5028068"/>
                  <a:pt x="10268583" y="5026737"/>
                  <a:pt x="10267517" y="5025539"/>
                </a:cubicBezTo>
                <a:cubicBezTo>
                  <a:pt x="10266452" y="5024474"/>
                  <a:pt x="10265121" y="5023542"/>
                  <a:pt x="10263524" y="5022876"/>
                </a:cubicBezTo>
                <a:cubicBezTo>
                  <a:pt x="10262060" y="5022211"/>
                  <a:pt x="10260462" y="5021945"/>
                  <a:pt x="10258466" y="5021945"/>
                </a:cubicBezTo>
                <a:close/>
                <a:moveTo>
                  <a:pt x="10040820" y="5021945"/>
                </a:moveTo>
                <a:cubicBezTo>
                  <a:pt x="10034962" y="5021945"/>
                  <a:pt x="10032433" y="5023941"/>
                  <a:pt x="10030835" y="5025539"/>
                </a:cubicBezTo>
                <a:cubicBezTo>
                  <a:pt x="10028306" y="5028201"/>
                  <a:pt x="10027242" y="5030996"/>
                  <a:pt x="10027242" y="5034990"/>
                </a:cubicBezTo>
                <a:cubicBezTo>
                  <a:pt x="10027242" y="5039117"/>
                  <a:pt x="10028306" y="5041912"/>
                  <a:pt x="10030835" y="5044441"/>
                </a:cubicBezTo>
                <a:cubicBezTo>
                  <a:pt x="10032433" y="5046040"/>
                  <a:pt x="10034962" y="5047903"/>
                  <a:pt x="10040820" y="5047903"/>
                </a:cubicBezTo>
                <a:cubicBezTo>
                  <a:pt x="10042817" y="5047903"/>
                  <a:pt x="10044681" y="5047504"/>
                  <a:pt x="10046145" y="5046971"/>
                </a:cubicBezTo>
                <a:cubicBezTo>
                  <a:pt x="10047742" y="5046439"/>
                  <a:pt x="10048941" y="5045640"/>
                  <a:pt x="10049872" y="5044574"/>
                </a:cubicBezTo>
                <a:cubicBezTo>
                  <a:pt x="10050937" y="5043376"/>
                  <a:pt x="10051869" y="5042045"/>
                  <a:pt x="10052534" y="5040315"/>
                </a:cubicBezTo>
                <a:cubicBezTo>
                  <a:pt x="10053333" y="5038717"/>
                  <a:pt x="10053599" y="5036853"/>
                  <a:pt x="10053599" y="5034857"/>
                </a:cubicBezTo>
                <a:cubicBezTo>
                  <a:pt x="10053599" y="5032993"/>
                  <a:pt x="10053200" y="5031263"/>
                  <a:pt x="10052534" y="5029666"/>
                </a:cubicBezTo>
                <a:cubicBezTo>
                  <a:pt x="10051869" y="5028068"/>
                  <a:pt x="10050937" y="5026737"/>
                  <a:pt x="10049872" y="5025539"/>
                </a:cubicBezTo>
                <a:cubicBezTo>
                  <a:pt x="10048807" y="5024474"/>
                  <a:pt x="10047476" y="5023542"/>
                  <a:pt x="10045878" y="5022876"/>
                </a:cubicBezTo>
                <a:cubicBezTo>
                  <a:pt x="10044414" y="5022211"/>
                  <a:pt x="10042817" y="5021945"/>
                  <a:pt x="10040820" y="5021945"/>
                </a:cubicBezTo>
                <a:close/>
                <a:moveTo>
                  <a:pt x="9823176" y="5021945"/>
                </a:moveTo>
                <a:cubicBezTo>
                  <a:pt x="9817318" y="5021945"/>
                  <a:pt x="9814788" y="5023941"/>
                  <a:pt x="9813191" y="5025539"/>
                </a:cubicBezTo>
                <a:cubicBezTo>
                  <a:pt x="9810662" y="5028201"/>
                  <a:pt x="9809597" y="5030996"/>
                  <a:pt x="9809597" y="5034990"/>
                </a:cubicBezTo>
                <a:cubicBezTo>
                  <a:pt x="9809597" y="5039117"/>
                  <a:pt x="9810662" y="5041912"/>
                  <a:pt x="9813191" y="5044441"/>
                </a:cubicBezTo>
                <a:cubicBezTo>
                  <a:pt x="9814788" y="5046040"/>
                  <a:pt x="9817318" y="5047903"/>
                  <a:pt x="9823176" y="5047903"/>
                </a:cubicBezTo>
                <a:cubicBezTo>
                  <a:pt x="9825173" y="5047903"/>
                  <a:pt x="9827036" y="5047504"/>
                  <a:pt x="9828501" y="5046971"/>
                </a:cubicBezTo>
                <a:cubicBezTo>
                  <a:pt x="9830098" y="5046439"/>
                  <a:pt x="9831296" y="5045640"/>
                  <a:pt x="9832227" y="5044574"/>
                </a:cubicBezTo>
                <a:cubicBezTo>
                  <a:pt x="9833293" y="5043376"/>
                  <a:pt x="9834225" y="5042045"/>
                  <a:pt x="9834890" y="5040315"/>
                </a:cubicBezTo>
                <a:cubicBezTo>
                  <a:pt x="9835689" y="5038717"/>
                  <a:pt x="9835955" y="5036853"/>
                  <a:pt x="9835955" y="5034857"/>
                </a:cubicBezTo>
                <a:cubicBezTo>
                  <a:pt x="9835955" y="5032993"/>
                  <a:pt x="9835555" y="5031263"/>
                  <a:pt x="9834890" y="5029666"/>
                </a:cubicBezTo>
                <a:cubicBezTo>
                  <a:pt x="9834225" y="5028068"/>
                  <a:pt x="9833293" y="5026737"/>
                  <a:pt x="9832227" y="5025539"/>
                </a:cubicBezTo>
                <a:cubicBezTo>
                  <a:pt x="9831162" y="5024474"/>
                  <a:pt x="9829831" y="5023542"/>
                  <a:pt x="9828234" y="5022876"/>
                </a:cubicBezTo>
                <a:cubicBezTo>
                  <a:pt x="9826770" y="5022211"/>
                  <a:pt x="9825173" y="5021945"/>
                  <a:pt x="9823176" y="5021945"/>
                </a:cubicBezTo>
                <a:close/>
                <a:moveTo>
                  <a:pt x="9605531" y="5021945"/>
                </a:moveTo>
                <a:cubicBezTo>
                  <a:pt x="9599673" y="5021945"/>
                  <a:pt x="9597143" y="5023941"/>
                  <a:pt x="9595546" y="5025539"/>
                </a:cubicBezTo>
                <a:cubicBezTo>
                  <a:pt x="9593017" y="5028201"/>
                  <a:pt x="9591952" y="5030996"/>
                  <a:pt x="9591952" y="5034990"/>
                </a:cubicBezTo>
                <a:cubicBezTo>
                  <a:pt x="9591952" y="5039117"/>
                  <a:pt x="9593017" y="5041912"/>
                  <a:pt x="9595546" y="5044441"/>
                </a:cubicBezTo>
                <a:cubicBezTo>
                  <a:pt x="9597143" y="5046040"/>
                  <a:pt x="9599673" y="5047903"/>
                  <a:pt x="9605531" y="5047903"/>
                </a:cubicBezTo>
                <a:cubicBezTo>
                  <a:pt x="9607660" y="5047903"/>
                  <a:pt x="9609391" y="5047504"/>
                  <a:pt x="9610855" y="5046971"/>
                </a:cubicBezTo>
                <a:cubicBezTo>
                  <a:pt x="9612319" y="5046439"/>
                  <a:pt x="9613651" y="5045640"/>
                  <a:pt x="9614582" y="5044574"/>
                </a:cubicBezTo>
                <a:cubicBezTo>
                  <a:pt x="9615647" y="5043376"/>
                  <a:pt x="9616579" y="5042045"/>
                  <a:pt x="9617245" y="5040315"/>
                </a:cubicBezTo>
                <a:cubicBezTo>
                  <a:pt x="9618044" y="5038717"/>
                  <a:pt x="9618309" y="5036853"/>
                  <a:pt x="9618309" y="5034857"/>
                </a:cubicBezTo>
                <a:cubicBezTo>
                  <a:pt x="9618309" y="5032993"/>
                  <a:pt x="9617910" y="5031263"/>
                  <a:pt x="9617245" y="5029666"/>
                </a:cubicBezTo>
                <a:cubicBezTo>
                  <a:pt x="9616579" y="5028068"/>
                  <a:pt x="9615647" y="5026737"/>
                  <a:pt x="9614582" y="5025539"/>
                </a:cubicBezTo>
                <a:cubicBezTo>
                  <a:pt x="9613517" y="5024474"/>
                  <a:pt x="9612186" y="5023542"/>
                  <a:pt x="9610589" y="5022876"/>
                </a:cubicBezTo>
                <a:cubicBezTo>
                  <a:pt x="9609124" y="5022211"/>
                  <a:pt x="9607394" y="5021945"/>
                  <a:pt x="9605531" y="5021945"/>
                </a:cubicBezTo>
                <a:close/>
                <a:moveTo>
                  <a:pt x="9387885" y="5021945"/>
                </a:moveTo>
                <a:cubicBezTo>
                  <a:pt x="9382027" y="5021945"/>
                  <a:pt x="9379497" y="5023941"/>
                  <a:pt x="9377900" y="5025539"/>
                </a:cubicBezTo>
                <a:cubicBezTo>
                  <a:pt x="9375371" y="5028201"/>
                  <a:pt x="9374307" y="5030996"/>
                  <a:pt x="9374307" y="5034990"/>
                </a:cubicBezTo>
                <a:cubicBezTo>
                  <a:pt x="9374307" y="5039117"/>
                  <a:pt x="9375371" y="5041912"/>
                  <a:pt x="9377900" y="5044441"/>
                </a:cubicBezTo>
                <a:cubicBezTo>
                  <a:pt x="9379497" y="5046040"/>
                  <a:pt x="9382027" y="5047903"/>
                  <a:pt x="9387885" y="5047903"/>
                </a:cubicBezTo>
                <a:cubicBezTo>
                  <a:pt x="9390015" y="5047903"/>
                  <a:pt x="9391746" y="5047504"/>
                  <a:pt x="9393210" y="5046971"/>
                </a:cubicBezTo>
                <a:cubicBezTo>
                  <a:pt x="9394674" y="5046439"/>
                  <a:pt x="9396005" y="5045640"/>
                  <a:pt x="9396937" y="5044574"/>
                </a:cubicBezTo>
                <a:cubicBezTo>
                  <a:pt x="9398002" y="5043376"/>
                  <a:pt x="9398934" y="5042045"/>
                  <a:pt x="9399599" y="5040315"/>
                </a:cubicBezTo>
                <a:cubicBezTo>
                  <a:pt x="9400398" y="5038717"/>
                  <a:pt x="9400664" y="5036853"/>
                  <a:pt x="9400664" y="5034857"/>
                </a:cubicBezTo>
                <a:cubicBezTo>
                  <a:pt x="9400664" y="5032993"/>
                  <a:pt x="9400265" y="5031263"/>
                  <a:pt x="9399599" y="5029666"/>
                </a:cubicBezTo>
                <a:cubicBezTo>
                  <a:pt x="9398934" y="5028068"/>
                  <a:pt x="9398002" y="5026737"/>
                  <a:pt x="9396937" y="5025539"/>
                </a:cubicBezTo>
                <a:cubicBezTo>
                  <a:pt x="9395872" y="5024474"/>
                  <a:pt x="9394541" y="5023542"/>
                  <a:pt x="9392943" y="5022876"/>
                </a:cubicBezTo>
                <a:cubicBezTo>
                  <a:pt x="9391479" y="5022211"/>
                  <a:pt x="9389749" y="5021945"/>
                  <a:pt x="9387885" y="5021945"/>
                </a:cubicBezTo>
                <a:close/>
                <a:moveTo>
                  <a:pt x="9170374" y="5021945"/>
                </a:moveTo>
                <a:cubicBezTo>
                  <a:pt x="9164649" y="5021945"/>
                  <a:pt x="9161986" y="5023941"/>
                  <a:pt x="9160389" y="5025539"/>
                </a:cubicBezTo>
                <a:cubicBezTo>
                  <a:pt x="9157860" y="5028201"/>
                  <a:pt x="9156795" y="5030996"/>
                  <a:pt x="9156795" y="5034990"/>
                </a:cubicBezTo>
                <a:cubicBezTo>
                  <a:pt x="9156795" y="5039117"/>
                  <a:pt x="9157860" y="5041912"/>
                  <a:pt x="9160389" y="5044441"/>
                </a:cubicBezTo>
                <a:cubicBezTo>
                  <a:pt x="9161986" y="5046040"/>
                  <a:pt x="9164516" y="5047903"/>
                  <a:pt x="9170374" y="5047903"/>
                </a:cubicBezTo>
                <a:cubicBezTo>
                  <a:pt x="9172370" y="5047903"/>
                  <a:pt x="9174100" y="5047504"/>
                  <a:pt x="9175698" y="5046971"/>
                </a:cubicBezTo>
                <a:cubicBezTo>
                  <a:pt x="9177163" y="5046439"/>
                  <a:pt x="9178494" y="5045640"/>
                  <a:pt x="9179425" y="5044574"/>
                </a:cubicBezTo>
                <a:cubicBezTo>
                  <a:pt x="9180491" y="5043376"/>
                  <a:pt x="9181422" y="5042045"/>
                  <a:pt x="9182088" y="5040315"/>
                </a:cubicBezTo>
                <a:cubicBezTo>
                  <a:pt x="9182887" y="5038717"/>
                  <a:pt x="9183152" y="5036853"/>
                  <a:pt x="9183152" y="5034857"/>
                </a:cubicBezTo>
                <a:cubicBezTo>
                  <a:pt x="9183152" y="5032993"/>
                  <a:pt x="9182753" y="5031263"/>
                  <a:pt x="9182088" y="5029666"/>
                </a:cubicBezTo>
                <a:cubicBezTo>
                  <a:pt x="9181422" y="5028068"/>
                  <a:pt x="9180491" y="5026737"/>
                  <a:pt x="9179425" y="5025539"/>
                </a:cubicBezTo>
                <a:cubicBezTo>
                  <a:pt x="9178360" y="5024474"/>
                  <a:pt x="9177029" y="5023542"/>
                  <a:pt x="9175432" y="5022876"/>
                </a:cubicBezTo>
                <a:cubicBezTo>
                  <a:pt x="9173967" y="5022211"/>
                  <a:pt x="9172237" y="5021945"/>
                  <a:pt x="9170374" y="5021945"/>
                </a:cubicBezTo>
                <a:close/>
                <a:moveTo>
                  <a:pt x="8952728" y="5021945"/>
                </a:moveTo>
                <a:cubicBezTo>
                  <a:pt x="8947003" y="5021945"/>
                  <a:pt x="8944340" y="5023941"/>
                  <a:pt x="8942743" y="5025539"/>
                </a:cubicBezTo>
                <a:cubicBezTo>
                  <a:pt x="8940214" y="5028201"/>
                  <a:pt x="8939150" y="5030996"/>
                  <a:pt x="8939150" y="5034990"/>
                </a:cubicBezTo>
                <a:cubicBezTo>
                  <a:pt x="8939150" y="5039117"/>
                  <a:pt x="8940214" y="5041912"/>
                  <a:pt x="8942743" y="5044441"/>
                </a:cubicBezTo>
                <a:cubicBezTo>
                  <a:pt x="8944340" y="5046040"/>
                  <a:pt x="8946870" y="5047903"/>
                  <a:pt x="8952728" y="5047903"/>
                </a:cubicBezTo>
                <a:cubicBezTo>
                  <a:pt x="8954725" y="5047903"/>
                  <a:pt x="8956589" y="5047504"/>
                  <a:pt x="8958053" y="5046971"/>
                </a:cubicBezTo>
                <a:cubicBezTo>
                  <a:pt x="8959517" y="5046439"/>
                  <a:pt x="8960849" y="5045640"/>
                  <a:pt x="8961780" y="5044574"/>
                </a:cubicBezTo>
                <a:cubicBezTo>
                  <a:pt x="8962845" y="5043376"/>
                  <a:pt x="8963777" y="5042045"/>
                  <a:pt x="8964442" y="5040315"/>
                </a:cubicBezTo>
                <a:cubicBezTo>
                  <a:pt x="8965241" y="5038717"/>
                  <a:pt x="8965507" y="5036853"/>
                  <a:pt x="8965507" y="5034857"/>
                </a:cubicBezTo>
                <a:cubicBezTo>
                  <a:pt x="8965507" y="5032993"/>
                  <a:pt x="8965108" y="5031263"/>
                  <a:pt x="8964442" y="5029666"/>
                </a:cubicBezTo>
                <a:cubicBezTo>
                  <a:pt x="8963777" y="5028068"/>
                  <a:pt x="8962845" y="5026737"/>
                  <a:pt x="8961780" y="5025539"/>
                </a:cubicBezTo>
                <a:cubicBezTo>
                  <a:pt x="8960715" y="5024474"/>
                  <a:pt x="8959384" y="5023542"/>
                  <a:pt x="8957786" y="5022876"/>
                </a:cubicBezTo>
                <a:cubicBezTo>
                  <a:pt x="8956322" y="5022211"/>
                  <a:pt x="8954592" y="5021945"/>
                  <a:pt x="8952728" y="5021945"/>
                </a:cubicBezTo>
                <a:close/>
                <a:moveTo>
                  <a:pt x="8735083" y="5021945"/>
                </a:moveTo>
                <a:cubicBezTo>
                  <a:pt x="8729358" y="5021945"/>
                  <a:pt x="8726695" y="5023941"/>
                  <a:pt x="8725098" y="5025539"/>
                </a:cubicBezTo>
                <a:cubicBezTo>
                  <a:pt x="8722569" y="5028201"/>
                  <a:pt x="8721504" y="5030996"/>
                  <a:pt x="8721504" y="5034990"/>
                </a:cubicBezTo>
                <a:cubicBezTo>
                  <a:pt x="8721504" y="5039117"/>
                  <a:pt x="8722569" y="5041912"/>
                  <a:pt x="8725098" y="5044441"/>
                </a:cubicBezTo>
                <a:cubicBezTo>
                  <a:pt x="8726695" y="5046040"/>
                  <a:pt x="8729225" y="5047903"/>
                  <a:pt x="8735083" y="5047903"/>
                </a:cubicBezTo>
                <a:cubicBezTo>
                  <a:pt x="8737079" y="5047903"/>
                  <a:pt x="8738943" y="5047504"/>
                  <a:pt x="8740407" y="5046971"/>
                </a:cubicBezTo>
                <a:cubicBezTo>
                  <a:pt x="8741872" y="5046439"/>
                  <a:pt x="8743203" y="5045640"/>
                  <a:pt x="8744134" y="5044574"/>
                </a:cubicBezTo>
                <a:cubicBezTo>
                  <a:pt x="8745200" y="5043376"/>
                  <a:pt x="8746132" y="5042045"/>
                  <a:pt x="8746797" y="5040315"/>
                </a:cubicBezTo>
                <a:cubicBezTo>
                  <a:pt x="8747596" y="5038717"/>
                  <a:pt x="8747862" y="5036853"/>
                  <a:pt x="8747862" y="5034857"/>
                </a:cubicBezTo>
                <a:cubicBezTo>
                  <a:pt x="8747862" y="5032993"/>
                  <a:pt x="8747462" y="5031263"/>
                  <a:pt x="8746797" y="5029666"/>
                </a:cubicBezTo>
                <a:cubicBezTo>
                  <a:pt x="8746132" y="5028068"/>
                  <a:pt x="8745200" y="5026737"/>
                  <a:pt x="8744134" y="5025539"/>
                </a:cubicBezTo>
                <a:cubicBezTo>
                  <a:pt x="8743069" y="5024474"/>
                  <a:pt x="8741738" y="5023542"/>
                  <a:pt x="8740141" y="5022876"/>
                </a:cubicBezTo>
                <a:cubicBezTo>
                  <a:pt x="8738677" y="5022211"/>
                  <a:pt x="8736946" y="5021945"/>
                  <a:pt x="8735083" y="5021945"/>
                </a:cubicBezTo>
                <a:close/>
                <a:moveTo>
                  <a:pt x="8517438" y="5021945"/>
                </a:moveTo>
                <a:cubicBezTo>
                  <a:pt x="8511713" y="5021945"/>
                  <a:pt x="8509051" y="5023941"/>
                  <a:pt x="8507453" y="5025539"/>
                </a:cubicBezTo>
                <a:cubicBezTo>
                  <a:pt x="8504925" y="5028201"/>
                  <a:pt x="8503860" y="5030996"/>
                  <a:pt x="8503860" y="5034990"/>
                </a:cubicBezTo>
                <a:cubicBezTo>
                  <a:pt x="8503860" y="5039117"/>
                  <a:pt x="8504925" y="5041912"/>
                  <a:pt x="8507453" y="5044441"/>
                </a:cubicBezTo>
                <a:cubicBezTo>
                  <a:pt x="8509051" y="5046040"/>
                  <a:pt x="8511581" y="5047903"/>
                  <a:pt x="8517438" y="5047903"/>
                </a:cubicBezTo>
                <a:cubicBezTo>
                  <a:pt x="8519568" y="5047903"/>
                  <a:pt x="8521299" y="5047504"/>
                  <a:pt x="8522763" y="5046971"/>
                </a:cubicBezTo>
                <a:cubicBezTo>
                  <a:pt x="8524227" y="5046439"/>
                  <a:pt x="8525559" y="5045640"/>
                  <a:pt x="8526490" y="5044574"/>
                </a:cubicBezTo>
                <a:cubicBezTo>
                  <a:pt x="8527555" y="5043376"/>
                  <a:pt x="8528487" y="5042045"/>
                  <a:pt x="8529152" y="5040315"/>
                </a:cubicBezTo>
                <a:cubicBezTo>
                  <a:pt x="8529818" y="5038717"/>
                  <a:pt x="8530084" y="5036853"/>
                  <a:pt x="8530084" y="5034857"/>
                </a:cubicBezTo>
                <a:cubicBezTo>
                  <a:pt x="8530084" y="5032993"/>
                  <a:pt x="8529818" y="5031263"/>
                  <a:pt x="8529152" y="5029666"/>
                </a:cubicBezTo>
                <a:cubicBezTo>
                  <a:pt x="8528487" y="5028068"/>
                  <a:pt x="8527555" y="5026737"/>
                  <a:pt x="8526490" y="5025539"/>
                </a:cubicBezTo>
                <a:cubicBezTo>
                  <a:pt x="8525425" y="5024474"/>
                  <a:pt x="8524094" y="5023542"/>
                  <a:pt x="8522496" y="5022876"/>
                </a:cubicBezTo>
                <a:cubicBezTo>
                  <a:pt x="8521032" y="5022211"/>
                  <a:pt x="8519302" y="5021945"/>
                  <a:pt x="8517438" y="5021945"/>
                </a:cubicBezTo>
                <a:close/>
                <a:moveTo>
                  <a:pt x="8299793" y="5021945"/>
                </a:moveTo>
                <a:cubicBezTo>
                  <a:pt x="8294068" y="5021945"/>
                  <a:pt x="8291406" y="5023941"/>
                  <a:pt x="8289809" y="5025539"/>
                </a:cubicBezTo>
                <a:cubicBezTo>
                  <a:pt x="8287280" y="5028201"/>
                  <a:pt x="8286215" y="5030996"/>
                  <a:pt x="8286215" y="5034990"/>
                </a:cubicBezTo>
                <a:cubicBezTo>
                  <a:pt x="8286215" y="5039117"/>
                  <a:pt x="8287280" y="5041912"/>
                  <a:pt x="8289809" y="5044441"/>
                </a:cubicBezTo>
                <a:cubicBezTo>
                  <a:pt x="8291406" y="5046040"/>
                  <a:pt x="8293935" y="5047903"/>
                  <a:pt x="8299793" y="5047903"/>
                </a:cubicBezTo>
                <a:cubicBezTo>
                  <a:pt x="8301923" y="5047903"/>
                  <a:pt x="8303653" y="5047504"/>
                  <a:pt x="8305118" y="5046971"/>
                </a:cubicBezTo>
                <a:cubicBezTo>
                  <a:pt x="8306582" y="5046439"/>
                  <a:pt x="8307913" y="5045640"/>
                  <a:pt x="8308844" y="5044574"/>
                </a:cubicBezTo>
                <a:cubicBezTo>
                  <a:pt x="8309910" y="5043376"/>
                  <a:pt x="8310842" y="5042045"/>
                  <a:pt x="8311507" y="5040315"/>
                </a:cubicBezTo>
                <a:cubicBezTo>
                  <a:pt x="8312172" y="5038717"/>
                  <a:pt x="8312439" y="5036853"/>
                  <a:pt x="8312439" y="5034857"/>
                </a:cubicBezTo>
                <a:cubicBezTo>
                  <a:pt x="8312439" y="5032993"/>
                  <a:pt x="8312172" y="5031263"/>
                  <a:pt x="8311507" y="5029666"/>
                </a:cubicBezTo>
                <a:cubicBezTo>
                  <a:pt x="8310842" y="5028068"/>
                  <a:pt x="8309910" y="5026737"/>
                  <a:pt x="8308844" y="5025539"/>
                </a:cubicBezTo>
                <a:cubicBezTo>
                  <a:pt x="8307779" y="5024474"/>
                  <a:pt x="8306448" y="5023542"/>
                  <a:pt x="8304851" y="5022876"/>
                </a:cubicBezTo>
                <a:cubicBezTo>
                  <a:pt x="8303387" y="5022211"/>
                  <a:pt x="8301790" y="5021945"/>
                  <a:pt x="8299793" y="5021945"/>
                </a:cubicBezTo>
                <a:close/>
                <a:moveTo>
                  <a:pt x="8082281" y="5021945"/>
                </a:moveTo>
                <a:cubicBezTo>
                  <a:pt x="8076424" y="5021945"/>
                  <a:pt x="8073894" y="5023941"/>
                  <a:pt x="8072297" y="5025539"/>
                </a:cubicBezTo>
                <a:cubicBezTo>
                  <a:pt x="8069768" y="5028201"/>
                  <a:pt x="8068703" y="5030996"/>
                  <a:pt x="8068703" y="5034990"/>
                </a:cubicBezTo>
                <a:cubicBezTo>
                  <a:pt x="8068703" y="5039117"/>
                  <a:pt x="8069768" y="5041912"/>
                  <a:pt x="8072297" y="5044441"/>
                </a:cubicBezTo>
                <a:cubicBezTo>
                  <a:pt x="8073894" y="5046040"/>
                  <a:pt x="8076424" y="5047903"/>
                  <a:pt x="8082281" y="5047903"/>
                </a:cubicBezTo>
                <a:cubicBezTo>
                  <a:pt x="8084277" y="5047903"/>
                  <a:pt x="8086007" y="5047504"/>
                  <a:pt x="8087605" y="5046971"/>
                </a:cubicBezTo>
                <a:cubicBezTo>
                  <a:pt x="8089069" y="5046439"/>
                  <a:pt x="8090401" y="5045640"/>
                  <a:pt x="8091332" y="5044574"/>
                </a:cubicBezTo>
                <a:cubicBezTo>
                  <a:pt x="8092397" y="5043376"/>
                  <a:pt x="8093329" y="5042045"/>
                  <a:pt x="8093994" y="5040315"/>
                </a:cubicBezTo>
                <a:cubicBezTo>
                  <a:pt x="8094660" y="5038717"/>
                  <a:pt x="8094926" y="5036853"/>
                  <a:pt x="8094926" y="5034857"/>
                </a:cubicBezTo>
                <a:cubicBezTo>
                  <a:pt x="8094926" y="5032993"/>
                  <a:pt x="8094660" y="5031263"/>
                  <a:pt x="8093994" y="5029666"/>
                </a:cubicBezTo>
                <a:cubicBezTo>
                  <a:pt x="8093329" y="5028068"/>
                  <a:pt x="8092397" y="5026737"/>
                  <a:pt x="8091332" y="5025539"/>
                </a:cubicBezTo>
                <a:cubicBezTo>
                  <a:pt x="8090267" y="5024474"/>
                  <a:pt x="8088936" y="5023542"/>
                  <a:pt x="8087338" y="5022876"/>
                </a:cubicBezTo>
                <a:cubicBezTo>
                  <a:pt x="8085874" y="5022211"/>
                  <a:pt x="8084277" y="5021945"/>
                  <a:pt x="8082281" y="5021945"/>
                </a:cubicBezTo>
                <a:close/>
                <a:moveTo>
                  <a:pt x="7864636" y="5021945"/>
                </a:moveTo>
                <a:cubicBezTo>
                  <a:pt x="7858779" y="5021945"/>
                  <a:pt x="7856249" y="5023941"/>
                  <a:pt x="7854652" y="5025539"/>
                </a:cubicBezTo>
                <a:cubicBezTo>
                  <a:pt x="7852123" y="5028201"/>
                  <a:pt x="7851058" y="5030996"/>
                  <a:pt x="7851058" y="5034990"/>
                </a:cubicBezTo>
                <a:cubicBezTo>
                  <a:pt x="7851058" y="5039117"/>
                  <a:pt x="7852123" y="5041912"/>
                  <a:pt x="7854652" y="5044441"/>
                </a:cubicBezTo>
                <a:cubicBezTo>
                  <a:pt x="7856249" y="5046040"/>
                  <a:pt x="7858779" y="5047903"/>
                  <a:pt x="7864636" y="5047903"/>
                </a:cubicBezTo>
                <a:cubicBezTo>
                  <a:pt x="7866633" y="5047903"/>
                  <a:pt x="7868363" y="5047504"/>
                  <a:pt x="7869961" y="5046971"/>
                </a:cubicBezTo>
                <a:cubicBezTo>
                  <a:pt x="7871425" y="5046439"/>
                  <a:pt x="7872756" y="5045640"/>
                  <a:pt x="7873687" y="5044574"/>
                </a:cubicBezTo>
                <a:cubicBezTo>
                  <a:pt x="7874753" y="5043376"/>
                  <a:pt x="7875685" y="5042045"/>
                  <a:pt x="7876350" y="5040315"/>
                </a:cubicBezTo>
                <a:cubicBezTo>
                  <a:pt x="7877015" y="5038717"/>
                  <a:pt x="7877282" y="5036853"/>
                  <a:pt x="7877282" y="5034857"/>
                </a:cubicBezTo>
                <a:cubicBezTo>
                  <a:pt x="7877282" y="5032993"/>
                  <a:pt x="7877015" y="5031263"/>
                  <a:pt x="7876350" y="5029666"/>
                </a:cubicBezTo>
                <a:cubicBezTo>
                  <a:pt x="7875685" y="5028068"/>
                  <a:pt x="7874753" y="5026737"/>
                  <a:pt x="7873687" y="5025539"/>
                </a:cubicBezTo>
                <a:cubicBezTo>
                  <a:pt x="7872623" y="5024474"/>
                  <a:pt x="7871291" y="5023542"/>
                  <a:pt x="7869694" y="5022876"/>
                </a:cubicBezTo>
                <a:cubicBezTo>
                  <a:pt x="7868230" y="5022211"/>
                  <a:pt x="7866633" y="5021945"/>
                  <a:pt x="7864636" y="5021945"/>
                </a:cubicBezTo>
                <a:close/>
                <a:moveTo>
                  <a:pt x="7646991" y="5021945"/>
                </a:moveTo>
                <a:cubicBezTo>
                  <a:pt x="7641134" y="5021945"/>
                  <a:pt x="7638604" y="5023941"/>
                  <a:pt x="7637007" y="5025539"/>
                </a:cubicBezTo>
                <a:cubicBezTo>
                  <a:pt x="7634478" y="5028201"/>
                  <a:pt x="7633413" y="5030996"/>
                  <a:pt x="7633413" y="5034990"/>
                </a:cubicBezTo>
                <a:cubicBezTo>
                  <a:pt x="7633413" y="5039117"/>
                  <a:pt x="7634478" y="5041912"/>
                  <a:pt x="7637007" y="5044441"/>
                </a:cubicBezTo>
                <a:cubicBezTo>
                  <a:pt x="7638604" y="5046040"/>
                  <a:pt x="7641134" y="5047903"/>
                  <a:pt x="7646991" y="5047903"/>
                </a:cubicBezTo>
                <a:cubicBezTo>
                  <a:pt x="7648987" y="5047903"/>
                  <a:pt x="7650851" y="5047504"/>
                  <a:pt x="7652315" y="5046971"/>
                </a:cubicBezTo>
                <a:cubicBezTo>
                  <a:pt x="7653780" y="5046439"/>
                  <a:pt x="7655111" y="5045640"/>
                  <a:pt x="7656042" y="5044574"/>
                </a:cubicBezTo>
                <a:cubicBezTo>
                  <a:pt x="7657108" y="5043376"/>
                  <a:pt x="7658039" y="5042045"/>
                  <a:pt x="7658705" y="5040315"/>
                </a:cubicBezTo>
                <a:cubicBezTo>
                  <a:pt x="7659504" y="5038717"/>
                  <a:pt x="7659769" y="5036853"/>
                  <a:pt x="7659769" y="5034857"/>
                </a:cubicBezTo>
                <a:cubicBezTo>
                  <a:pt x="7659769" y="5032993"/>
                  <a:pt x="7659370" y="5031263"/>
                  <a:pt x="7658705" y="5029666"/>
                </a:cubicBezTo>
                <a:cubicBezTo>
                  <a:pt x="7658039" y="5028068"/>
                  <a:pt x="7657108" y="5026737"/>
                  <a:pt x="7656042" y="5025539"/>
                </a:cubicBezTo>
                <a:cubicBezTo>
                  <a:pt x="7654977" y="5024474"/>
                  <a:pt x="7653646" y="5023542"/>
                  <a:pt x="7652049" y="5022876"/>
                </a:cubicBezTo>
                <a:cubicBezTo>
                  <a:pt x="7650584" y="5022211"/>
                  <a:pt x="7648987" y="5021945"/>
                  <a:pt x="7646991" y="5021945"/>
                </a:cubicBezTo>
                <a:close/>
                <a:moveTo>
                  <a:pt x="7429345" y="5021945"/>
                </a:moveTo>
                <a:cubicBezTo>
                  <a:pt x="7423488" y="5021945"/>
                  <a:pt x="7420958" y="5023941"/>
                  <a:pt x="7419361" y="5025539"/>
                </a:cubicBezTo>
                <a:cubicBezTo>
                  <a:pt x="7416832" y="5028201"/>
                  <a:pt x="7415768" y="5030996"/>
                  <a:pt x="7415768" y="5034990"/>
                </a:cubicBezTo>
                <a:cubicBezTo>
                  <a:pt x="7415768" y="5039117"/>
                  <a:pt x="7416832" y="5041912"/>
                  <a:pt x="7419361" y="5044441"/>
                </a:cubicBezTo>
                <a:cubicBezTo>
                  <a:pt x="7420958" y="5046040"/>
                  <a:pt x="7423488" y="5047903"/>
                  <a:pt x="7429345" y="5047903"/>
                </a:cubicBezTo>
                <a:cubicBezTo>
                  <a:pt x="7431342" y="5047903"/>
                  <a:pt x="7433206" y="5047504"/>
                  <a:pt x="7434670" y="5046971"/>
                </a:cubicBezTo>
                <a:cubicBezTo>
                  <a:pt x="7436134" y="5046439"/>
                  <a:pt x="7437466" y="5045640"/>
                  <a:pt x="7438397" y="5044574"/>
                </a:cubicBezTo>
                <a:cubicBezTo>
                  <a:pt x="7439462" y="5043376"/>
                  <a:pt x="7440394" y="5042045"/>
                  <a:pt x="7441059" y="5040315"/>
                </a:cubicBezTo>
                <a:cubicBezTo>
                  <a:pt x="7441858" y="5038717"/>
                  <a:pt x="7442124" y="5036853"/>
                  <a:pt x="7442124" y="5034857"/>
                </a:cubicBezTo>
                <a:cubicBezTo>
                  <a:pt x="7442124" y="5032993"/>
                  <a:pt x="7441725" y="5031263"/>
                  <a:pt x="7441059" y="5029666"/>
                </a:cubicBezTo>
                <a:cubicBezTo>
                  <a:pt x="7440394" y="5028068"/>
                  <a:pt x="7439462" y="5026737"/>
                  <a:pt x="7438397" y="5025539"/>
                </a:cubicBezTo>
                <a:cubicBezTo>
                  <a:pt x="7437332" y="5024474"/>
                  <a:pt x="7436001" y="5023542"/>
                  <a:pt x="7434403" y="5022876"/>
                </a:cubicBezTo>
                <a:cubicBezTo>
                  <a:pt x="7432939" y="5022211"/>
                  <a:pt x="7431342" y="5021945"/>
                  <a:pt x="7429345" y="5021945"/>
                </a:cubicBezTo>
                <a:close/>
                <a:moveTo>
                  <a:pt x="7211701" y="5021945"/>
                </a:moveTo>
                <a:cubicBezTo>
                  <a:pt x="7205844" y="5021945"/>
                  <a:pt x="7203314" y="5023941"/>
                  <a:pt x="7201717" y="5025539"/>
                </a:cubicBezTo>
                <a:cubicBezTo>
                  <a:pt x="7199188" y="5028201"/>
                  <a:pt x="7198123" y="5030996"/>
                  <a:pt x="7198123" y="5034990"/>
                </a:cubicBezTo>
                <a:cubicBezTo>
                  <a:pt x="7198123" y="5039117"/>
                  <a:pt x="7199188" y="5041912"/>
                  <a:pt x="7201717" y="5044441"/>
                </a:cubicBezTo>
                <a:cubicBezTo>
                  <a:pt x="7203314" y="5046040"/>
                  <a:pt x="7205844" y="5047903"/>
                  <a:pt x="7211701" y="5047903"/>
                </a:cubicBezTo>
                <a:cubicBezTo>
                  <a:pt x="7213830" y="5047903"/>
                  <a:pt x="7215561" y="5047504"/>
                  <a:pt x="7217026" y="5046971"/>
                </a:cubicBezTo>
                <a:cubicBezTo>
                  <a:pt x="7218490" y="5046439"/>
                  <a:pt x="7219821" y="5045640"/>
                  <a:pt x="7220752" y="5044574"/>
                </a:cubicBezTo>
                <a:cubicBezTo>
                  <a:pt x="7221818" y="5043376"/>
                  <a:pt x="7222750" y="5042045"/>
                  <a:pt x="7223415" y="5040315"/>
                </a:cubicBezTo>
                <a:cubicBezTo>
                  <a:pt x="7224214" y="5038717"/>
                  <a:pt x="7224480" y="5036853"/>
                  <a:pt x="7224480" y="5034857"/>
                </a:cubicBezTo>
                <a:cubicBezTo>
                  <a:pt x="7224480" y="5032993"/>
                  <a:pt x="7224080" y="5031263"/>
                  <a:pt x="7223415" y="5029666"/>
                </a:cubicBezTo>
                <a:cubicBezTo>
                  <a:pt x="7222750" y="5028068"/>
                  <a:pt x="7221818" y="5026737"/>
                  <a:pt x="7220752" y="5025539"/>
                </a:cubicBezTo>
                <a:cubicBezTo>
                  <a:pt x="7219687" y="5024474"/>
                  <a:pt x="7218356" y="5023542"/>
                  <a:pt x="7216759" y="5022876"/>
                </a:cubicBezTo>
                <a:cubicBezTo>
                  <a:pt x="7215295" y="5022211"/>
                  <a:pt x="7213698" y="5021945"/>
                  <a:pt x="7211701" y="5021945"/>
                </a:cubicBezTo>
                <a:close/>
                <a:moveTo>
                  <a:pt x="6994056" y="5021945"/>
                </a:moveTo>
                <a:cubicBezTo>
                  <a:pt x="6988199" y="5021945"/>
                  <a:pt x="6985669" y="5023941"/>
                  <a:pt x="6984072" y="5025539"/>
                </a:cubicBezTo>
                <a:cubicBezTo>
                  <a:pt x="6981543" y="5028201"/>
                  <a:pt x="6980478" y="5030996"/>
                  <a:pt x="6980478" y="5034990"/>
                </a:cubicBezTo>
                <a:cubicBezTo>
                  <a:pt x="6980478" y="5039117"/>
                  <a:pt x="6981543" y="5041912"/>
                  <a:pt x="6984072" y="5044441"/>
                </a:cubicBezTo>
                <a:cubicBezTo>
                  <a:pt x="6985669" y="5046040"/>
                  <a:pt x="6988199" y="5047903"/>
                  <a:pt x="6994056" y="5047903"/>
                </a:cubicBezTo>
                <a:cubicBezTo>
                  <a:pt x="6996185" y="5047903"/>
                  <a:pt x="6997916" y="5047504"/>
                  <a:pt x="6999380" y="5046971"/>
                </a:cubicBezTo>
                <a:cubicBezTo>
                  <a:pt x="7000844" y="5046439"/>
                  <a:pt x="7002176" y="5045640"/>
                  <a:pt x="7003107" y="5044574"/>
                </a:cubicBezTo>
                <a:cubicBezTo>
                  <a:pt x="7004172" y="5043376"/>
                  <a:pt x="7005104" y="5042045"/>
                  <a:pt x="7005769" y="5040315"/>
                </a:cubicBezTo>
                <a:cubicBezTo>
                  <a:pt x="7006568" y="5038717"/>
                  <a:pt x="7006834" y="5036853"/>
                  <a:pt x="7006834" y="5034857"/>
                </a:cubicBezTo>
                <a:cubicBezTo>
                  <a:pt x="7006834" y="5032993"/>
                  <a:pt x="7006435" y="5031263"/>
                  <a:pt x="7005769" y="5029666"/>
                </a:cubicBezTo>
                <a:cubicBezTo>
                  <a:pt x="7005104" y="5028068"/>
                  <a:pt x="7004172" y="5026737"/>
                  <a:pt x="7003107" y="5025539"/>
                </a:cubicBezTo>
                <a:cubicBezTo>
                  <a:pt x="7002042" y="5024474"/>
                  <a:pt x="7000711" y="5023542"/>
                  <a:pt x="6999113" y="5022876"/>
                </a:cubicBezTo>
                <a:cubicBezTo>
                  <a:pt x="6997649" y="5022211"/>
                  <a:pt x="6996052" y="5021945"/>
                  <a:pt x="6994056" y="5021945"/>
                </a:cubicBezTo>
                <a:close/>
                <a:moveTo>
                  <a:pt x="6776544" y="5021945"/>
                </a:moveTo>
                <a:cubicBezTo>
                  <a:pt x="6770687" y="5021945"/>
                  <a:pt x="6768157" y="5023941"/>
                  <a:pt x="6766560" y="5025539"/>
                </a:cubicBezTo>
                <a:cubicBezTo>
                  <a:pt x="6764031" y="5028201"/>
                  <a:pt x="6762966" y="5030996"/>
                  <a:pt x="6762966" y="5034990"/>
                </a:cubicBezTo>
                <a:cubicBezTo>
                  <a:pt x="6762966" y="5039117"/>
                  <a:pt x="6764031" y="5041912"/>
                  <a:pt x="6766560" y="5044441"/>
                </a:cubicBezTo>
                <a:cubicBezTo>
                  <a:pt x="6768157" y="5046040"/>
                  <a:pt x="6770687" y="5047903"/>
                  <a:pt x="6776544" y="5047903"/>
                </a:cubicBezTo>
                <a:cubicBezTo>
                  <a:pt x="6778541" y="5047903"/>
                  <a:pt x="6780270" y="5047504"/>
                  <a:pt x="6781869" y="5046971"/>
                </a:cubicBezTo>
                <a:cubicBezTo>
                  <a:pt x="6783333" y="5046439"/>
                  <a:pt x="6784664" y="5045640"/>
                  <a:pt x="6785595" y="5044574"/>
                </a:cubicBezTo>
                <a:cubicBezTo>
                  <a:pt x="6786661" y="5043376"/>
                  <a:pt x="6787593" y="5042045"/>
                  <a:pt x="6788258" y="5040315"/>
                </a:cubicBezTo>
                <a:cubicBezTo>
                  <a:pt x="6789057" y="5038717"/>
                  <a:pt x="6789323" y="5036853"/>
                  <a:pt x="6789323" y="5034857"/>
                </a:cubicBezTo>
                <a:cubicBezTo>
                  <a:pt x="6789323" y="5032993"/>
                  <a:pt x="6788923" y="5031263"/>
                  <a:pt x="6788258" y="5029666"/>
                </a:cubicBezTo>
                <a:cubicBezTo>
                  <a:pt x="6787593" y="5028068"/>
                  <a:pt x="6786661" y="5026737"/>
                  <a:pt x="6785595" y="5025539"/>
                </a:cubicBezTo>
                <a:cubicBezTo>
                  <a:pt x="6784530" y="5024474"/>
                  <a:pt x="6783199" y="5023542"/>
                  <a:pt x="6781602" y="5022876"/>
                </a:cubicBezTo>
                <a:cubicBezTo>
                  <a:pt x="6780138" y="5022211"/>
                  <a:pt x="6778541" y="5021945"/>
                  <a:pt x="6776544" y="5021945"/>
                </a:cubicBezTo>
                <a:close/>
                <a:moveTo>
                  <a:pt x="6558899" y="5021945"/>
                </a:moveTo>
                <a:cubicBezTo>
                  <a:pt x="6553042" y="5021945"/>
                  <a:pt x="6550512" y="5023941"/>
                  <a:pt x="6548915" y="5025539"/>
                </a:cubicBezTo>
                <a:cubicBezTo>
                  <a:pt x="6546386" y="5028201"/>
                  <a:pt x="6545321" y="5030996"/>
                  <a:pt x="6545321" y="5034990"/>
                </a:cubicBezTo>
                <a:cubicBezTo>
                  <a:pt x="6545321" y="5039117"/>
                  <a:pt x="6546386" y="5041912"/>
                  <a:pt x="6548915" y="5044441"/>
                </a:cubicBezTo>
                <a:cubicBezTo>
                  <a:pt x="6550512" y="5046040"/>
                  <a:pt x="6553042" y="5047903"/>
                  <a:pt x="6558899" y="5047903"/>
                </a:cubicBezTo>
                <a:cubicBezTo>
                  <a:pt x="6560895" y="5047903"/>
                  <a:pt x="6562759" y="5047504"/>
                  <a:pt x="6564223" y="5046971"/>
                </a:cubicBezTo>
                <a:cubicBezTo>
                  <a:pt x="6565687" y="5046439"/>
                  <a:pt x="6567019" y="5045640"/>
                  <a:pt x="6567950" y="5044574"/>
                </a:cubicBezTo>
                <a:cubicBezTo>
                  <a:pt x="6569015" y="5043376"/>
                  <a:pt x="6569947" y="5042045"/>
                  <a:pt x="6570612" y="5040315"/>
                </a:cubicBezTo>
                <a:cubicBezTo>
                  <a:pt x="6571412" y="5038717"/>
                  <a:pt x="6571677" y="5036853"/>
                  <a:pt x="6571677" y="5034857"/>
                </a:cubicBezTo>
                <a:cubicBezTo>
                  <a:pt x="6571677" y="5032993"/>
                  <a:pt x="6571278" y="5031263"/>
                  <a:pt x="6570612" y="5029666"/>
                </a:cubicBezTo>
                <a:cubicBezTo>
                  <a:pt x="6569947" y="5028068"/>
                  <a:pt x="6569015" y="5026737"/>
                  <a:pt x="6567950" y="5025539"/>
                </a:cubicBezTo>
                <a:cubicBezTo>
                  <a:pt x="6566885" y="5024474"/>
                  <a:pt x="6565554" y="5023542"/>
                  <a:pt x="6563956" y="5022876"/>
                </a:cubicBezTo>
                <a:cubicBezTo>
                  <a:pt x="6562492" y="5022211"/>
                  <a:pt x="6560895" y="5021945"/>
                  <a:pt x="6558899" y="5021945"/>
                </a:cubicBezTo>
                <a:close/>
                <a:moveTo>
                  <a:pt x="6341253" y="5021945"/>
                </a:moveTo>
                <a:cubicBezTo>
                  <a:pt x="6335396" y="5021945"/>
                  <a:pt x="6332867" y="5023941"/>
                  <a:pt x="6331270" y="5025539"/>
                </a:cubicBezTo>
                <a:cubicBezTo>
                  <a:pt x="6328740" y="5028201"/>
                  <a:pt x="6327675" y="5030996"/>
                  <a:pt x="6327675" y="5034990"/>
                </a:cubicBezTo>
                <a:cubicBezTo>
                  <a:pt x="6327675" y="5039117"/>
                  <a:pt x="6328740" y="5041912"/>
                  <a:pt x="6331270" y="5044441"/>
                </a:cubicBezTo>
                <a:cubicBezTo>
                  <a:pt x="6332867" y="5046040"/>
                  <a:pt x="6335396" y="5047903"/>
                  <a:pt x="6341253" y="5047903"/>
                </a:cubicBezTo>
                <a:cubicBezTo>
                  <a:pt x="6343250" y="5047903"/>
                  <a:pt x="6345114" y="5047504"/>
                  <a:pt x="6346578" y="5046971"/>
                </a:cubicBezTo>
                <a:cubicBezTo>
                  <a:pt x="6348042" y="5046439"/>
                  <a:pt x="6349373" y="5045640"/>
                  <a:pt x="6350305" y="5044574"/>
                </a:cubicBezTo>
                <a:cubicBezTo>
                  <a:pt x="6351370" y="5043376"/>
                  <a:pt x="6352302" y="5042045"/>
                  <a:pt x="6352968" y="5040315"/>
                </a:cubicBezTo>
                <a:cubicBezTo>
                  <a:pt x="6353766" y="5038717"/>
                  <a:pt x="6354033" y="5036853"/>
                  <a:pt x="6354033" y="5034857"/>
                </a:cubicBezTo>
                <a:cubicBezTo>
                  <a:pt x="6354033" y="5032993"/>
                  <a:pt x="6353633" y="5031263"/>
                  <a:pt x="6352968" y="5029666"/>
                </a:cubicBezTo>
                <a:cubicBezTo>
                  <a:pt x="6352302" y="5028068"/>
                  <a:pt x="6351370" y="5026737"/>
                  <a:pt x="6350305" y="5025539"/>
                </a:cubicBezTo>
                <a:cubicBezTo>
                  <a:pt x="6349241" y="5024474"/>
                  <a:pt x="6347909" y="5023542"/>
                  <a:pt x="6346312" y="5022876"/>
                </a:cubicBezTo>
                <a:cubicBezTo>
                  <a:pt x="6344848" y="5022211"/>
                  <a:pt x="6343250" y="5021945"/>
                  <a:pt x="6341253" y="5021945"/>
                </a:cubicBezTo>
                <a:close/>
                <a:moveTo>
                  <a:pt x="6123608" y="5021945"/>
                </a:moveTo>
                <a:cubicBezTo>
                  <a:pt x="6117751" y="5021945"/>
                  <a:pt x="6115221" y="5023941"/>
                  <a:pt x="6113624" y="5025539"/>
                </a:cubicBezTo>
                <a:cubicBezTo>
                  <a:pt x="6111095" y="5028201"/>
                  <a:pt x="6110030" y="5030996"/>
                  <a:pt x="6110030" y="5034990"/>
                </a:cubicBezTo>
                <a:cubicBezTo>
                  <a:pt x="6110030" y="5039117"/>
                  <a:pt x="6111095" y="5041912"/>
                  <a:pt x="6113624" y="5044441"/>
                </a:cubicBezTo>
                <a:cubicBezTo>
                  <a:pt x="6115221" y="5046040"/>
                  <a:pt x="6117751" y="5047903"/>
                  <a:pt x="6123608" y="5047903"/>
                </a:cubicBezTo>
                <a:cubicBezTo>
                  <a:pt x="6125737" y="5047903"/>
                  <a:pt x="6127468" y="5047504"/>
                  <a:pt x="6128932" y="5046971"/>
                </a:cubicBezTo>
                <a:cubicBezTo>
                  <a:pt x="6130530" y="5046439"/>
                  <a:pt x="6131728" y="5045640"/>
                  <a:pt x="6132659" y="5044574"/>
                </a:cubicBezTo>
                <a:cubicBezTo>
                  <a:pt x="6133724" y="5043376"/>
                  <a:pt x="6134656" y="5042045"/>
                  <a:pt x="6135322" y="5040315"/>
                </a:cubicBezTo>
                <a:cubicBezTo>
                  <a:pt x="6135987" y="5038717"/>
                  <a:pt x="6136387" y="5036853"/>
                  <a:pt x="6136387" y="5034857"/>
                </a:cubicBezTo>
                <a:cubicBezTo>
                  <a:pt x="6136387" y="5032993"/>
                  <a:pt x="6135987" y="5031263"/>
                  <a:pt x="6135322" y="5029666"/>
                </a:cubicBezTo>
                <a:cubicBezTo>
                  <a:pt x="6134656" y="5028068"/>
                  <a:pt x="6133724" y="5026737"/>
                  <a:pt x="6132659" y="5025539"/>
                </a:cubicBezTo>
                <a:cubicBezTo>
                  <a:pt x="6131594" y="5024474"/>
                  <a:pt x="6130263" y="5023542"/>
                  <a:pt x="6128666" y="5022876"/>
                </a:cubicBezTo>
                <a:cubicBezTo>
                  <a:pt x="6127202" y="5022211"/>
                  <a:pt x="6125604" y="5021945"/>
                  <a:pt x="6123608" y="5021945"/>
                </a:cubicBezTo>
                <a:close/>
                <a:moveTo>
                  <a:pt x="5905963" y="5021945"/>
                </a:moveTo>
                <a:cubicBezTo>
                  <a:pt x="5900106" y="5021945"/>
                  <a:pt x="5897576" y="5023941"/>
                  <a:pt x="5895979" y="5025539"/>
                </a:cubicBezTo>
                <a:cubicBezTo>
                  <a:pt x="5893450" y="5028201"/>
                  <a:pt x="5892385" y="5030996"/>
                  <a:pt x="5892385" y="5034990"/>
                </a:cubicBezTo>
                <a:cubicBezTo>
                  <a:pt x="5892385" y="5039117"/>
                  <a:pt x="5893450" y="5041912"/>
                  <a:pt x="5895979" y="5044441"/>
                </a:cubicBezTo>
                <a:cubicBezTo>
                  <a:pt x="5897576" y="5046040"/>
                  <a:pt x="5900106" y="5047903"/>
                  <a:pt x="5905963" y="5047903"/>
                </a:cubicBezTo>
                <a:cubicBezTo>
                  <a:pt x="5908093" y="5047903"/>
                  <a:pt x="5909823" y="5047504"/>
                  <a:pt x="5911287" y="5046971"/>
                </a:cubicBezTo>
                <a:cubicBezTo>
                  <a:pt x="5912751" y="5046439"/>
                  <a:pt x="5914083" y="5045640"/>
                  <a:pt x="5915014" y="5044574"/>
                </a:cubicBezTo>
                <a:cubicBezTo>
                  <a:pt x="5916079" y="5043376"/>
                  <a:pt x="5917011" y="5042045"/>
                  <a:pt x="5917677" y="5040315"/>
                </a:cubicBezTo>
                <a:cubicBezTo>
                  <a:pt x="5918342" y="5038717"/>
                  <a:pt x="5918742" y="5036853"/>
                  <a:pt x="5918742" y="5034857"/>
                </a:cubicBezTo>
                <a:cubicBezTo>
                  <a:pt x="5918742" y="5032993"/>
                  <a:pt x="5918342" y="5031263"/>
                  <a:pt x="5917677" y="5029666"/>
                </a:cubicBezTo>
                <a:cubicBezTo>
                  <a:pt x="5917011" y="5028068"/>
                  <a:pt x="5916079" y="5026737"/>
                  <a:pt x="5915014" y="5025539"/>
                </a:cubicBezTo>
                <a:cubicBezTo>
                  <a:pt x="5913950" y="5024474"/>
                  <a:pt x="5912618" y="5023542"/>
                  <a:pt x="5911021" y="5022876"/>
                </a:cubicBezTo>
                <a:cubicBezTo>
                  <a:pt x="5909557" y="5022211"/>
                  <a:pt x="5907826" y="5021945"/>
                  <a:pt x="5905963" y="5021945"/>
                </a:cubicBezTo>
                <a:close/>
                <a:moveTo>
                  <a:pt x="5688451" y="5021945"/>
                </a:moveTo>
                <a:cubicBezTo>
                  <a:pt x="5682594" y="5021945"/>
                  <a:pt x="5680064" y="5023941"/>
                  <a:pt x="5678467" y="5025539"/>
                </a:cubicBezTo>
                <a:cubicBezTo>
                  <a:pt x="5675938" y="5028201"/>
                  <a:pt x="5674873" y="5030996"/>
                  <a:pt x="5674873" y="5034990"/>
                </a:cubicBezTo>
                <a:cubicBezTo>
                  <a:pt x="5674873" y="5039117"/>
                  <a:pt x="5675938" y="5041912"/>
                  <a:pt x="5678467" y="5044441"/>
                </a:cubicBezTo>
                <a:cubicBezTo>
                  <a:pt x="5680064" y="5046040"/>
                  <a:pt x="5682594" y="5047903"/>
                  <a:pt x="5688451" y="5047903"/>
                </a:cubicBezTo>
                <a:cubicBezTo>
                  <a:pt x="5690447" y="5047903"/>
                  <a:pt x="5692178" y="5047504"/>
                  <a:pt x="5693775" y="5046971"/>
                </a:cubicBezTo>
                <a:cubicBezTo>
                  <a:pt x="5695239" y="5046439"/>
                  <a:pt x="5696571" y="5045640"/>
                  <a:pt x="5697502" y="5044574"/>
                </a:cubicBezTo>
                <a:cubicBezTo>
                  <a:pt x="5698567" y="5043376"/>
                  <a:pt x="5699499" y="5042045"/>
                  <a:pt x="5700165" y="5040315"/>
                </a:cubicBezTo>
                <a:cubicBezTo>
                  <a:pt x="5700830" y="5038717"/>
                  <a:pt x="5701230" y="5036853"/>
                  <a:pt x="5701230" y="5034857"/>
                </a:cubicBezTo>
                <a:cubicBezTo>
                  <a:pt x="5701230" y="5032993"/>
                  <a:pt x="5700830" y="5031263"/>
                  <a:pt x="5700165" y="5029666"/>
                </a:cubicBezTo>
                <a:cubicBezTo>
                  <a:pt x="5699499" y="5028068"/>
                  <a:pt x="5698567" y="5026737"/>
                  <a:pt x="5697502" y="5025539"/>
                </a:cubicBezTo>
                <a:cubicBezTo>
                  <a:pt x="5696437" y="5024474"/>
                  <a:pt x="5695106" y="5023542"/>
                  <a:pt x="5693509" y="5022876"/>
                </a:cubicBezTo>
                <a:cubicBezTo>
                  <a:pt x="5692045" y="5022211"/>
                  <a:pt x="5690314" y="5021945"/>
                  <a:pt x="5688451" y="5021945"/>
                </a:cubicBezTo>
                <a:close/>
                <a:moveTo>
                  <a:pt x="5470806" y="5021945"/>
                </a:moveTo>
                <a:cubicBezTo>
                  <a:pt x="5464949" y="5021945"/>
                  <a:pt x="5462419" y="5023941"/>
                  <a:pt x="5460822" y="5025539"/>
                </a:cubicBezTo>
                <a:cubicBezTo>
                  <a:pt x="5458293" y="5028201"/>
                  <a:pt x="5457228" y="5030996"/>
                  <a:pt x="5457228" y="5034990"/>
                </a:cubicBezTo>
                <a:cubicBezTo>
                  <a:pt x="5457228" y="5039117"/>
                  <a:pt x="5458293" y="5041912"/>
                  <a:pt x="5460822" y="5044441"/>
                </a:cubicBezTo>
                <a:cubicBezTo>
                  <a:pt x="5462419" y="5046040"/>
                  <a:pt x="5464949" y="5047903"/>
                  <a:pt x="5470806" y="5047903"/>
                </a:cubicBezTo>
                <a:cubicBezTo>
                  <a:pt x="5472802" y="5047903"/>
                  <a:pt x="5474666" y="5047504"/>
                  <a:pt x="5476130" y="5046971"/>
                </a:cubicBezTo>
                <a:cubicBezTo>
                  <a:pt x="5477594" y="5046439"/>
                  <a:pt x="5478926" y="5045640"/>
                  <a:pt x="5479857" y="5044574"/>
                </a:cubicBezTo>
                <a:cubicBezTo>
                  <a:pt x="5480922" y="5043376"/>
                  <a:pt x="5481854" y="5042045"/>
                  <a:pt x="5482520" y="5040315"/>
                </a:cubicBezTo>
                <a:cubicBezTo>
                  <a:pt x="5483319" y="5038717"/>
                  <a:pt x="5483585" y="5036853"/>
                  <a:pt x="5483585" y="5034857"/>
                </a:cubicBezTo>
                <a:cubicBezTo>
                  <a:pt x="5483585" y="5032993"/>
                  <a:pt x="5483185" y="5031263"/>
                  <a:pt x="5482520" y="5029666"/>
                </a:cubicBezTo>
                <a:cubicBezTo>
                  <a:pt x="5481854" y="5028068"/>
                  <a:pt x="5480922" y="5026737"/>
                  <a:pt x="5479857" y="5025539"/>
                </a:cubicBezTo>
                <a:cubicBezTo>
                  <a:pt x="5478793" y="5024474"/>
                  <a:pt x="5477461" y="5023542"/>
                  <a:pt x="5475864" y="5022876"/>
                </a:cubicBezTo>
                <a:cubicBezTo>
                  <a:pt x="5474400" y="5022211"/>
                  <a:pt x="5472669" y="5021945"/>
                  <a:pt x="5470806" y="5021945"/>
                </a:cubicBezTo>
                <a:close/>
                <a:moveTo>
                  <a:pt x="5253160" y="5021945"/>
                </a:moveTo>
                <a:cubicBezTo>
                  <a:pt x="5247303" y="5021945"/>
                  <a:pt x="5244774" y="5023941"/>
                  <a:pt x="5243177" y="5025539"/>
                </a:cubicBezTo>
                <a:cubicBezTo>
                  <a:pt x="5240647" y="5028201"/>
                  <a:pt x="5239583" y="5030996"/>
                  <a:pt x="5239583" y="5034990"/>
                </a:cubicBezTo>
                <a:cubicBezTo>
                  <a:pt x="5239583" y="5039117"/>
                  <a:pt x="5240647" y="5041912"/>
                  <a:pt x="5243177" y="5044441"/>
                </a:cubicBezTo>
                <a:cubicBezTo>
                  <a:pt x="5244774" y="5046040"/>
                  <a:pt x="5247303" y="5047903"/>
                  <a:pt x="5253160" y="5047903"/>
                </a:cubicBezTo>
                <a:cubicBezTo>
                  <a:pt x="5255157" y="5047903"/>
                  <a:pt x="5257021" y="5047504"/>
                  <a:pt x="5258485" y="5046971"/>
                </a:cubicBezTo>
                <a:cubicBezTo>
                  <a:pt x="5259949" y="5046439"/>
                  <a:pt x="5261280" y="5045640"/>
                  <a:pt x="5262212" y="5044574"/>
                </a:cubicBezTo>
                <a:cubicBezTo>
                  <a:pt x="5263277" y="5043376"/>
                  <a:pt x="5264209" y="5042045"/>
                  <a:pt x="5264875" y="5040315"/>
                </a:cubicBezTo>
                <a:cubicBezTo>
                  <a:pt x="5265673" y="5038717"/>
                  <a:pt x="5265939" y="5036853"/>
                  <a:pt x="5265939" y="5034857"/>
                </a:cubicBezTo>
                <a:cubicBezTo>
                  <a:pt x="5265939" y="5032993"/>
                  <a:pt x="5265540" y="5031263"/>
                  <a:pt x="5264875" y="5029666"/>
                </a:cubicBezTo>
                <a:cubicBezTo>
                  <a:pt x="5264209" y="5028068"/>
                  <a:pt x="5263277" y="5026737"/>
                  <a:pt x="5262212" y="5025539"/>
                </a:cubicBezTo>
                <a:cubicBezTo>
                  <a:pt x="5261147" y="5024474"/>
                  <a:pt x="5259816" y="5023542"/>
                  <a:pt x="5258219" y="5022876"/>
                </a:cubicBezTo>
                <a:cubicBezTo>
                  <a:pt x="5256754" y="5022211"/>
                  <a:pt x="5255024" y="5021945"/>
                  <a:pt x="5253160" y="5021945"/>
                </a:cubicBezTo>
                <a:close/>
                <a:moveTo>
                  <a:pt x="5035515" y="5021945"/>
                </a:moveTo>
                <a:cubicBezTo>
                  <a:pt x="5029658" y="5021945"/>
                  <a:pt x="5027129" y="5023941"/>
                  <a:pt x="5025532" y="5025539"/>
                </a:cubicBezTo>
                <a:cubicBezTo>
                  <a:pt x="5023002" y="5028201"/>
                  <a:pt x="5021938" y="5030996"/>
                  <a:pt x="5021938" y="5034990"/>
                </a:cubicBezTo>
                <a:cubicBezTo>
                  <a:pt x="5021938" y="5039117"/>
                  <a:pt x="5023002" y="5041912"/>
                  <a:pt x="5025532" y="5044441"/>
                </a:cubicBezTo>
                <a:cubicBezTo>
                  <a:pt x="5027129" y="5046040"/>
                  <a:pt x="5029658" y="5047903"/>
                  <a:pt x="5035515" y="5047903"/>
                </a:cubicBezTo>
                <a:cubicBezTo>
                  <a:pt x="5037645" y="5047903"/>
                  <a:pt x="5039376" y="5047504"/>
                  <a:pt x="5040840" y="5046971"/>
                </a:cubicBezTo>
                <a:cubicBezTo>
                  <a:pt x="5042304" y="5046439"/>
                  <a:pt x="5043636" y="5045640"/>
                  <a:pt x="5044567" y="5044574"/>
                </a:cubicBezTo>
                <a:cubicBezTo>
                  <a:pt x="5045632" y="5043376"/>
                  <a:pt x="5046564" y="5042045"/>
                  <a:pt x="5047230" y="5040315"/>
                </a:cubicBezTo>
                <a:cubicBezTo>
                  <a:pt x="5048028" y="5038717"/>
                  <a:pt x="5048294" y="5036853"/>
                  <a:pt x="5048294" y="5034857"/>
                </a:cubicBezTo>
                <a:cubicBezTo>
                  <a:pt x="5048294" y="5032993"/>
                  <a:pt x="5047895" y="5031263"/>
                  <a:pt x="5047230" y="5029666"/>
                </a:cubicBezTo>
                <a:cubicBezTo>
                  <a:pt x="5046564" y="5028068"/>
                  <a:pt x="5045632" y="5026737"/>
                  <a:pt x="5044567" y="5025539"/>
                </a:cubicBezTo>
                <a:cubicBezTo>
                  <a:pt x="5043502" y="5024474"/>
                  <a:pt x="5042171" y="5023542"/>
                  <a:pt x="5040574" y="5022876"/>
                </a:cubicBezTo>
                <a:cubicBezTo>
                  <a:pt x="5039110" y="5022211"/>
                  <a:pt x="5037379" y="5021945"/>
                  <a:pt x="5035515" y="5021945"/>
                </a:cubicBezTo>
                <a:close/>
                <a:moveTo>
                  <a:pt x="4817870" y="5021945"/>
                </a:moveTo>
                <a:cubicBezTo>
                  <a:pt x="4812013" y="5021945"/>
                  <a:pt x="4809484" y="5023941"/>
                  <a:pt x="4807887" y="5025539"/>
                </a:cubicBezTo>
                <a:cubicBezTo>
                  <a:pt x="4805357" y="5028201"/>
                  <a:pt x="4804293" y="5030996"/>
                  <a:pt x="4804293" y="5034990"/>
                </a:cubicBezTo>
                <a:cubicBezTo>
                  <a:pt x="4804293" y="5039117"/>
                  <a:pt x="4805357" y="5041912"/>
                  <a:pt x="4807887" y="5044441"/>
                </a:cubicBezTo>
                <a:cubicBezTo>
                  <a:pt x="4809484" y="5046040"/>
                  <a:pt x="4812013" y="5047903"/>
                  <a:pt x="4817870" y="5047903"/>
                </a:cubicBezTo>
                <a:cubicBezTo>
                  <a:pt x="4820000" y="5047903"/>
                  <a:pt x="4821731" y="5047504"/>
                  <a:pt x="4823195" y="5046971"/>
                </a:cubicBezTo>
                <a:cubicBezTo>
                  <a:pt x="4824659" y="5046439"/>
                  <a:pt x="4825857" y="5045640"/>
                  <a:pt x="4826922" y="5044574"/>
                </a:cubicBezTo>
                <a:cubicBezTo>
                  <a:pt x="4827987" y="5043376"/>
                  <a:pt x="4828919" y="5042045"/>
                  <a:pt x="4829585" y="5040315"/>
                </a:cubicBezTo>
                <a:cubicBezTo>
                  <a:pt x="4830383" y="5038717"/>
                  <a:pt x="4830650" y="5036853"/>
                  <a:pt x="4830650" y="5034857"/>
                </a:cubicBezTo>
                <a:cubicBezTo>
                  <a:pt x="4830650" y="5032993"/>
                  <a:pt x="4830250" y="5031263"/>
                  <a:pt x="4829585" y="5029666"/>
                </a:cubicBezTo>
                <a:cubicBezTo>
                  <a:pt x="4828919" y="5028068"/>
                  <a:pt x="4827987" y="5026737"/>
                  <a:pt x="4826922" y="5025539"/>
                </a:cubicBezTo>
                <a:cubicBezTo>
                  <a:pt x="4825857" y="5024474"/>
                  <a:pt x="4824526" y="5023542"/>
                  <a:pt x="4822929" y="5022876"/>
                </a:cubicBezTo>
                <a:cubicBezTo>
                  <a:pt x="4821465" y="5022211"/>
                  <a:pt x="4819734" y="5021945"/>
                  <a:pt x="4817870" y="5021945"/>
                </a:cubicBezTo>
                <a:close/>
                <a:moveTo>
                  <a:pt x="4600226" y="5021945"/>
                </a:moveTo>
                <a:cubicBezTo>
                  <a:pt x="4594369" y="5021945"/>
                  <a:pt x="4591839" y="5023941"/>
                  <a:pt x="4590242" y="5025539"/>
                </a:cubicBezTo>
                <a:cubicBezTo>
                  <a:pt x="4587713" y="5028201"/>
                  <a:pt x="4586648" y="5030996"/>
                  <a:pt x="4586648" y="5034990"/>
                </a:cubicBezTo>
                <a:cubicBezTo>
                  <a:pt x="4586648" y="5039117"/>
                  <a:pt x="4587713" y="5041912"/>
                  <a:pt x="4590242" y="5044441"/>
                </a:cubicBezTo>
                <a:cubicBezTo>
                  <a:pt x="4591839" y="5046040"/>
                  <a:pt x="4594369" y="5047903"/>
                  <a:pt x="4600226" y="5047903"/>
                </a:cubicBezTo>
                <a:cubicBezTo>
                  <a:pt x="4602355" y="5047903"/>
                  <a:pt x="4604086" y="5047504"/>
                  <a:pt x="4605550" y="5046971"/>
                </a:cubicBezTo>
                <a:cubicBezTo>
                  <a:pt x="4607148" y="5046439"/>
                  <a:pt x="4608346" y="5045640"/>
                  <a:pt x="4609277" y="5044574"/>
                </a:cubicBezTo>
                <a:cubicBezTo>
                  <a:pt x="4610342" y="5043376"/>
                  <a:pt x="4611274" y="5042045"/>
                  <a:pt x="4611940" y="5040315"/>
                </a:cubicBezTo>
                <a:cubicBezTo>
                  <a:pt x="4612605" y="5038717"/>
                  <a:pt x="4613005" y="5036853"/>
                  <a:pt x="4613005" y="5034857"/>
                </a:cubicBezTo>
                <a:cubicBezTo>
                  <a:pt x="4613005" y="5032993"/>
                  <a:pt x="4612605" y="5031263"/>
                  <a:pt x="4611940" y="5029666"/>
                </a:cubicBezTo>
                <a:cubicBezTo>
                  <a:pt x="4611274" y="5028068"/>
                  <a:pt x="4610342" y="5026737"/>
                  <a:pt x="4609277" y="5025539"/>
                </a:cubicBezTo>
                <a:cubicBezTo>
                  <a:pt x="4608212" y="5024474"/>
                  <a:pt x="4606881" y="5023542"/>
                  <a:pt x="4605284" y="5022876"/>
                </a:cubicBezTo>
                <a:cubicBezTo>
                  <a:pt x="4603820" y="5022211"/>
                  <a:pt x="4602222" y="5021945"/>
                  <a:pt x="4600226" y="5021945"/>
                </a:cubicBezTo>
                <a:close/>
                <a:moveTo>
                  <a:pt x="4382713" y="5021945"/>
                </a:moveTo>
                <a:cubicBezTo>
                  <a:pt x="4376857" y="5021945"/>
                  <a:pt x="4374327" y="5023941"/>
                  <a:pt x="4372730" y="5025539"/>
                </a:cubicBezTo>
                <a:cubicBezTo>
                  <a:pt x="4370201" y="5028201"/>
                  <a:pt x="4369136" y="5030996"/>
                  <a:pt x="4369136" y="5034990"/>
                </a:cubicBezTo>
                <a:cubicBezTo>
                  <a:pt x="4369136" y="5039117"/>
                  <a:pt x="4370201" y="5041912"/>
                  <a:pt x="4372730" y="5044441"/>
                </a:cubicBezTo>
                <a:cubicBezTo>
                  <a:pt x="4374327" y="5046040"/>
                  <a:pt x="4376857" y="5047903"/>
                  <a:pt x="4382713" y="5047903"/>
                </a:cubicBezTo>
                <a:cubicBezTo>
                  <a:pt x="4384710" y="5047903"/>
                  <a:pt x="4386441" y="5047504"/>
                  <a:pt x="4388038" y="5046971"/>
                </a:cubicBezTo>
                <a:cubicBezTo>
                  <a:pt x="4389502" y="5046439"/>
                  <a:pt x="4390834" y="5045640"/>
                  <a:pt x="4391765" y="5044574"/>
                </a:cubicBezTo>
                <a:cubicBezTo>
                  <a:pt x="4392830" y="5043376"/>
                  <a:pt x="4393762" y="5042045"/>
                  <a:pt x="4394428" y="5040315"/>
                </a:cubicBezTo>
                <a:cubicBezTo>
                  <a:pt x="4395093" y="5038717"/>
                  <a:pt x="4395493" y="5036853"/>
                  <a:pt x="4395493" y="5034857"/>
                </a:cubicBezTo>
                <a:cubicBezTo>
                  <a:pt x="4395493" y="5032993"/>
                  <a:pt x="4395093" y="5031263"/>
                  <a:pt x="4394428" y="5029666"/>
                </a:cubicBezTo>
                <a:cubicBezTo>
                  <a:pt x="4393762" y="5028068"/>
                  <a:pt x="4392830" y="5026737"/>
                  <a:pt x="4391765" y="5025539"/>
                </a:cubicBezTo>
                <a:cubicBezTo>
                  <a:pt x="4390700" y="5024474"/>
                  <a:pt x="4389369" y="5023542"/>
                  <a:pt x="4387772" y="5022876"/>
                </a:cubicBezTo>
                <a:cubicBezTo>
                  <a:pt x="4386308" y="5022211"/>
                  <a:pt x="4384710" y="5021945"/>
                  <a:pt x="4382713" y="5021945"/>
                </a:cubicBezTo>
                <a:close/>
                <a:moveTo>
                  <a:pt x="4165068" y="5021945"/>
                </a:moveTo>
                <a:cubicBezTo>
                  <a:pt x="4159211" y="5021945"/>
                  <a:pt x="4156681" y="5023941"/>
                  <a:pt x="4155084" y="5025539"/>
                </a:cubicBezTo>
                <a:cubicBezTo>
                  <a:pt x="4152555" y="5028201"/>
                  <a:pt x="4151490" y="5030996"/>
                  <a:pt x="4151490" y="5034990"/>
                </a:cubicBezTo>
                <a:cubicBezTo>
                  <a:pt x="4151490" y="5039117"/>
                  <a:pt x="4152555" y="5041912"/>
                  <a:pt x="4155084" y="5044441"/>
                </a:cubicBezTo>
                <a:cubicBezTo>
                  <a:pt x="4156681" y="5046040"/>
                  <a:pt x="4159211" y="5047903"/>
                  <a:pt x="4165068" y="5047903"/>
                </a:cubicBezTo>
                <a:cubicBezTo>
                  <a:pt x="4167064" y="5047903"/>
                  <a:pt x="4168928" y="5047504"/>
                  <a:pt x="4170392" y="5046971"/>
                </a:cubicBezTo>
                <a:cubicBezTo>
                  <a:pt x="4171856" y="5046439"/>
                  <a:pt x="4173188" y="5045640"/>
                  <a:pt x="4174119" y="5044574"/>
                </a:cubicBezTo>
                <a:cubicBezTo>
                  <a:pt x="4175184" y="5043376"/>
                  <a:pt x="4176116" y="5042045"/>
                  <a:pt x="4176782" y="5040315"/>
                </a:cubicBezTo>
                <a:cubicBezTo>
                  <a:pt x="4177447" y="5038717"/>
                  <a:pt x="4177847" y="5036853"/>
                  <a:pt x="4177847" y="5034857"/>
                </a:cubicBezTo>
                <a:cubicBezTo>
                  <a:pt x="4177847" y="5032993"/>
                  <a:pt x="4177447" y="5031263"/>
                  <a:pt x="4176782" y="5029666"/>
                </a:cubicBezTo>
                <a:cubicBezTo>
                  <a:pt x="4176116" y="5028068"/>
                  <a:pt x="4175184" y="5026737"/>
                  <a:pt x="4174119" y="5025539"/>
                </a:cubicBezTo>
                <a:cubicBezTo>
                  <a:pt x="4173054" y="5024474"/>
                  <a:pt x="4171723" y="5023542"/>
                  <a:pt x="4170126" y="5022876"/>
                </a:cubicBezTo>
                <a:cubicBezTo>
                  <a:pt x="4168662" y="5022211"/>
                  <a:pt x="4167064" y="5021945"/>
                  <a:pt x="4165068" y="5021945"/>
                </a:cubicBezTo>
                <a:close/>
                <a:moveTo>
                  <a:pt x="3947698" y="5021945"/>
                </a:moveTo>
                <a:cubicBezTo>
                  <a:pt x="3941840" y="5021945"/>
                  <a:pt x="3939311" y="5023941"/>
                  <a:pt x="3937714" y="5025539"/>
                </a:cubicBezTo>
                <a:cubicBezTo>
                  <a:pt x="3935183" y="5028201"/>
                  <a:pt x="3934120" y="5030996"/>
                  <a:pt x="3934120" y="5034990"/>
                </a:cubicBezTo>
                <a:cubicBezTo>
                  <a:pt x="3934120" y="5039117"/>
                  <a:pt x="3935183" y="5041912"/>
                  <a:pt x="3937714" y="5044441"/>
                </a:cubicBezTo>
                <a:cubicBezTo>
                  <a:pt x="3939311" y="5046040"/>
                  <a:pt x="3941840" y="5047903"/>
                  <a:pt x="3947698" y="5047903"/>
                </a:cubicBezTo>
                <a:cubicBezTo>
                  <a:pt x="3949695" y="5047903"/>
                  <a:pt x="3951559" y="5047504"/>
                  <a:pt x="3953025" y="5046971"/>
                </a:cubicBezTo>
                <a:cubicBezTo>
                  <a:pt x="3954489" y="5046439"/>
                  <a:pt x="3955820" y="5045640"/>
                  <a:pt x="3956752" y="5044574"/>
                </a:cubicBezTo>
                <a:cubicBezTo>
                  <a:pt x="3957817" y="5043376"/>
                  <a:pt x="3958750" y="5042045"/>
                  <a:pt x="3959415" y="5040315"/>
                </a:cubicBezTo>
                <a:cubicBezTo>
                  <a:pt x="3960080" y="5038717"/>
                  <a:pt x="3960481" y="5036853"/>
                  <a:pt x="3960481" y="5034857"/>
                </a:cubicBezTo>
                <a:cubicBezTo>
                  <a:pt x="3960481" y="5032993"/>
                  <a:pt x="3960080" y="5031263"/>
                  <a:pt x="3959415" y="5029666"/>
                </a:cubicBezTo>
                <a:cubicBezTo>
                  <a:pt x="3958750" y="5028068"/>
                  <a:pt x="3957817" y="5026737"/>
                  <a:pt x="3956752" y="5025539"/>
                </a:cubicBezTo>
                <a:cubicBezTo>
                  <a:pt x="3955687" y="5024474"/>
                  <a:pt x="3954357" y="5023542"/>
                  <a:pt x="3952759" y="5022876"/>
                </a:cubicBezTo>
                <a:cubicBezTo>
                  <a:pt x="3951292" y="5022211"/>
                  <a:pt x="3949695" y="5021945"/>
                  <a:pt x="3947698" y="5021945"/>
                </a:cubicBezTo>
                <a:close/>
                <a:moveTo>
                  <a:pt x="3730040" y="5021945"/>
                </a:moveTo>
                <a:cubicBezTo>
                  <a:pt x="3724183" y="5021945"/>
                  <a:pt x="3721653" y="5023941"/>
                  <a:pt x="3720053" y="5025539"/>
                </a:cubicBezTo>
                <a:cubicBezTo>
                  <a:pt x="3717524" y="5028201"/>
                  <a:pt x="3716461" y="5030996"/>
                  <a:pt x="3716461" y="5034990"/>
                </a:cubicBezTo>
                <a:cubicBezTo>
                  <a:pt x="3716461" y="5039117"/>
                  <a:pt x="3717524" y="5041912"/>
                  <a:pt x="3720053" y="5044441"/>
                </a:cubicBezTo>
                <a:cubicBezTo>
                  <a:pt x="3721653" y="5046040"/>
                  <a:pt x="3724183" y="5047903"/>
                  <a:pt x="3730040" y="5047903"/>
                </a:cubicBezTo>
                <a:cubicBezTo>
                  <a:pt x="3732170" y="5047903"/>
                  <a:pt x="3733902" y="5047504"/>
                  <a:pt x="3735365" y="5046971"/>
                </a:cubicBezTo>
                <a:cubicBezTo>
                  <a:pt x="3736830" y="5046439"/>
                  <a:pt x="3738162" y="5045640"/>
                  <a:pt x="3739093" y="5044574"/>
                </a:cubicBezTo>
                <a:cubicBezTo>
                  <a:pt x="3740158" y="5043376"/>
                  <a:pt x="3741090" y="5042045"/>
                  <a:pt x="3741756" y="5040315"/>
                </a:cubicBezTo>
                <a:cubicBezTo>
                  <a:pt x="3742421" y="5038717"/>
                  <a:pt x="3742820" y="5036853"/>
                  <a:pt x="3742820" y="5034857"/>
                </a:cubicBezTo>
                <a:cubicBezTo>
                  <a:pt x="3742820" y="5032993"/>
                  <a:pt x="3742421" y="5031263"/>
                  <a:pt x="3741756" y="5029666"/>
                </a:cubicBezTo>
                <a:cubicBezTo>
                  <a:pt x="3741090" y="5028068"/>
                  <a:pt x="3740158" y="5026737"/>
                  <a:pt x="3739093" y="5025539"/>
                </a:cubicBezTo>
                <a:cubicBezTo>
                  <a:pt x="3738028" y="5024474"/>
                  <a:pt x="3736697" y="5023542"/>
                  <a:pt x="3735100" y="5022876"/>
                </a:cubicBezTo>
                <a:cubicBezTo>
                  <a:pt x="3733635" y="5022211"/>
                  <a:pt x="3732038" y="5021945"/>
                  <a:pt x="3730040" y="5021945"/>
                </a:cubicBezTo>
                <a:close/>
                <a:moveTo>
                  <a:pt x="3512380" y="5021945"/>
                </a:moveTo>
                <a:cubicBezTo>
                  <a:pt x="3506522" y="5021945"/>
                  <a:pt x="3503992" y="5023941"/>
                  <a:pt x="3502392" y="5025539"/>
                </a:cubicBezTo>
                <a:cubicBezTo>
                  <a:pt x="3499863" y="5028201"/>
                  <a:pt x="3498799" y="5030996"/>
                  <a:pt x="3498799" y="5034990"/>
                </a:cubicBezTo>
                <a:cubicBezTo>
                  <a:pt x="3498799" y="5039117"/>
                  <a:pt x="3499863" y="5041912"/>
                  <a:pt x="3502392" y="5044441"/>
                </a:cubicBezTo>
                <a:cubicBezTo>
                  <a:pt x="3503992" y="5046040"/>
                  <a:pt x="3506522" y="5047903"/>
                  <a:pt x="3512380" y="5047903"/>
                </a:cubicBezTo>
                <a:cubicBezTo>
                  <a:pt x="3514511" y="5047903"/>
                  <a:pt x="3516242" y="5047504"/>
                  <a:pt x="3517706" y="5046971"/>
                </a:cubicBezTo>
                <a:cubicBezTo>
                  <a:pt x="3519171" y="5046439"/>
                  <a:pt x="3520502" y="5045640"/>
                  <a:pt x="3521433" y="5044574"/>
                </a:cubicBezTo>
                <a:cubicBezTo>
                  <a:pt x="3522499" y="5043376"/>
                  <a:pt x="3523430" y="5042045"/>
                  <a:pt x="3524097" y="5040315"/>
                </a:cubicBezTo>
                <a:cubicBezTo>
                  <a:pt x="3524762" y="5038717"/>
                  <a:pt x="3525162" y="5036853"/>
                  <a:pt x="3525162" y="5034857"/>
                </a:cubicBezTo>
                <a:cubicBezTo>
                  <a:pt x="3525162" y="5032993"/>
                  <a:pt x="3524762" y="5031263"/>
                  <a:pt x="3524097" y="5029666"/>
                </a:cubicBezTo>
                <a:cubicBezTo>
                  <a:pt x="3523430" y="5028068"/>
                  <a:pt x="3522499" y="5026737"/>
                  <a:pt x="3521433" y="5025539"/>
                </a:cubicBezTo>
                <a:cubicBezTo>
                  <a:pt x="3520368" y="5024474"/>
                  <a:pt x="3519037" y="5023542"/>
                  <a:pt x="3517440" y="5022876"/>
                </a:cubicBezTo>
                <a:cubicBezTo>
                  <a:pt x="3515976" y="5022211"/>
                  <a:pt x="3514378" y="5021945"/>
                  <a:pt x="3512380" y="5021945"/>
                </a:cubicBezTo>
                <a:close/>
                <a:moveTo>
                  <a:pt x="3294855" y="5021945"/>
                </a:moveTo>
                <a:cubicBezTo>
                  <a:pt x="3288996" y="5021945"/>
                  <a:pt x="3286465" y="5023941"/>
                  <a:pt x="3284869" y="5025539"/>
                </a:cubicBezTo>
                <a:cubicBezTo>
                  <a:pt x="3282338" y="5028201"/>
                  <a:pt x="3281274" y="5030996"/>
                  <a:pt x="3281274" y="5034990"/>
                </a:cubicBezTo>
                <a:cubicBezTo>
                  <a:pt x="3281274" y="5039117"/>
                  <a:pt x="3282338" y="5041912"/>
                  <a:pt x="3284869" y="5044441"/>
                </a:cubicBezTo>
                <a:cubicBezTo>
                  <a:pt x="3286465" y="5046040"/>
                  <a:pt x="3288996" y="5047903"/>
                  <a:pt x="3294855" y="5047903"/>
                </a:cubicBezTo>
                <a:cubicBezTo>
                  <a:pt x="3296851" y="5047903"/>
                  <a:pt x="3298582" y="5047504"/>
                  <a:pt x="3300180" y="5046971"/>
                </a:cubicBezTo>
                <a:cubicBezTo>
                  <a:pt x="3301644" y="5046439"/>
                  <a:pt x="3302976" y="5045640"/>
                  <a:pt x="3303907" y="5044574"/>
                </a:cubicBezTo>
                <a:cubicBezTo>
                  <a:pt x="3304972" y="5043376"/>
                  <a:pt x="3305904" y="5042045"/>
                  <a:pt x="3306570" y="5040315"/>
                </a:cubicBezTo>
                <a:cubicBezTo>
                  <a:pt x="3307235" y="5038717"/>
                  <a:pt x="3307634" y="5036853"/>
                  <a:pt x="3307634" y="5034857"/>
                </a:cubicBezTo>
                <a:cubicBezTo>
                  <a:pt x="3307634" y="5032993"/>
                  <a:pt x="3307235" y="5031263"/>
                  <a:pt x="3306570" y="5029666"/>
                </a:cubicBezTo>
                <a:cubicBezTo>
                  <a:pt x="3305904" y="5028068"/>
                  <a:pt x="3304972" y="5026737"/>
                  <a:pt x="3303907" y="5025539"/>
                </a:cubicBezTo>
                <a:cubicBezTo>
                  <a:pt x="3302842" y="5024474"/>
                  <a:pt x="3301511" y="5023542"/>
                  <a:pt x="3299914" y="5022876"/>
                </a:cubicBezTo>
                <a:cubicBezTo>
                  <a:pt x="3298450" y="5022211"/>
                  <a:pt x="3296851" y="5021945"/>
                  <a:pt x="3294855" y="5021945"/>
                </a:cubicBezTo>
                <a:close/>
                <a:moveTo>
                  <a:pt x="3077328" y="5021945"/>
                </a:moveTo>
                <a:cubicBezTo>
                  <a:pt x="3071471" y="5021945"/>
                  <a:pt x="3068940" y="5023941"/>
                  <a:pt x="3067345" y="5025539"/>
                </a:cubicBezTo>
                <a:cubicBezTo>
                  <a:pt x="3064680" y="5028201"/>
                  <a:pt x="3063614" y="5030996"/>
                  <a:pt x="3063614" y="5034990"/>
                </a:cubicBezTo>
                <a:cubicBezTo>
                  <a:pt x="3063614" y="5039117"/>
                  <a:pt x="3064680" y="5041912"/>
                  <a:pt x="3067211" y="5044441"/>
                </a:cubicBezTo>
                <a:cubicBezTo>
                  <a:pt x="3068807" y="5046040"/>
                  <a:pt x="3071338" y="5047903"/>
                  <a:pt x="3077195" y="5047903"/>
                </a:cubicBezTo>
                <a:cubicBezTo>
                  <a:pt x="3079192" y="5047903"/>
                  <a:pt x="3080922" y="5047504"/>
                  <a:pt x="3082653" y="5046971"/>
                </a:cubicBezTo>
                <a:cubicBezTo>
                  <a:pt x="3084118" y="5046439"/>
                  <a:pt x="3085450" y="5045640"/>
                  <a:pt x="3086381" y="5044574"/>
                </a:cubicBezTo>
                <a:cubicBezTo>
                  <a:pt x="3087445" y="5043376"/>
                  <a:pt x="3088378" y="5042045"/>
                  <a:pt x="3089043" y="5040315"/>
                </a:cubicBezTo>
                <a:cubicBezTo>
                  <a:pt x="3089708" y="5038717"/>
                  <a:pt x="3089976" y="5036853"/>
                  <a:pt x="3089976" y="5034857"/>
                </a:cubicBezTo>
                <a:cubicBezTo>
                  <a:pt x="3089976" y="5032993"/>
                  <a:pt x="3089708" y="5031263"/>
                  <a:pt x="3089043" y="5029666"/>
                </a:cubicBezTo>
                <a:cubicBezTo>
                  <a:pt x="3088378" y="5028068"/>
                  <a:pt x="3087445" y="5026737"/>
                  <a:pt x="3086381" y="5025539"/>
                </a:cubicBezTo>
                <a:cubicBezTo>
                  <a:pt x="3085316" y="5024474"/>
                  <a:pt x="3083984" y="5023542"/>
                  <a:pt x="3082388" y="5022876"/>
                </a:cubicBezTo>
                <a:cubicBezTo>
                  <a:pt x="3080922" y="5022211"/>
                  <a:pt x="3079325" y="5021945"/>
                  <a:pt x="3077328" y="5021945"/>
                </a:cubicBezTo>
                <a:close/>
                <a:moveTo>
                  <a:pt x="2859536" y="5021945"/>
                </a:moveTo>
                <a:cubicBezTo>
                  <a:pt x="2853679" y="5021945"/>
                  <a:pt x="2851149" y="5023941"/>
                  <a:pt x="2849550" y="5025539"/>
                </a:cubicBezTo>
                <a:cubicBezTo>
                  <a:pt x="2847016" y="5028201"/>
                  <a:pt x="2845952" y="5030996"/>
                  <a:pt x="2845952" y="5034990"/>
                </a:cubicBezTo>
                <a:cubicBezTo>
                  <a:pt x="2845952" y="5039117"/>
                  <a:pt x="2847016" y="5041912"/>
                  <a:pt x="2849550" y="5044441"/>
                </a:cubicBezTo>
                <a:cubicBezTo>
                  <a:pt x="2851149" y="5046040"/>
                  <a:pt x="2853679" y="5047903"/>
                  <a:pt x="2859536" y="5047903"/>
                </a:cubicBezTo>
                <a:cubicBezTo>
                  <a:pt x="2861533" y="5047903"/>
                  <a:pt x="2863397" y="5047504"/>
                  <a:pt x="2864861" y="5046971"/>
                </a:cubicBezTo>
                <a:cubicBezTo>
                  <a:pt x="2866459" y="5046439"/>
                  <a:pt x="2867657" y="5045640"/>
                  <a:pt x="2868588" y="5044574"/>
                </a:cubicBezTo>
                <a:cubicBezTo>
                  <a:pt x="2869653" y="5043376"/>
                  <a:pt x="2870585" y="5042045"/>
                  <a:pt x="2871251" y="5040315"/>
                </a:cubicBezTo>
                <a:cubicBezTo>
                  <a:pt x="2871783" y="5038717"/>
                  <a:pt x="2872182" y="5036853"/>
                  <a:pt x="2872182" y="5034857"/>
                </a:cubicBezTo>
                <a:cubicBezTo>
                  <a:pt x="2872182" y="5032993"/>
                  <a:pt x="2871916" y="5031263"/>
                  <a:pt x="2871251" y="5029666"/>
                </a:cubicBezTo>
                <a:cubicBezTo>
                  <a:pt x="2870585" y="5028068"/>
                  <a:pt x="2869653" y="5026737"/>
                  <a:pt x="2868588" y="5025539"/>
                </a:cubicBezTo>
                <a:cubicBezTo>
                  <a:pt x="2867524" y="5024474"/>
                  <a:pt x="2866192" y="5023542"/>
                  <a:pt x="2864595" y="5022876"/>
                </a:cubicBezTo>
                <a:cubicBezTo>
                  <a:pt x="2863131" y="5022211"/>
                  <a:pt x="2861533" y="5021945"/>
                  <a:pt x="2859536" y="5021945"/>
                </a:cubicBezTo>
                <a:close/>
                <a:moveTo>
                  <a:pt x="2641876" y="5021945"/>
                </a:moveTo>
                <a:cubicBezTo>
                  <a:pt x="2636019" y="5021945"/>
                  <a:pt x="2633490" y="5023941"/>
                  <a:pt x="2631893" y="5025539"/>
                </a:cubicBezTo>
                <a:cubicBezTo>
                  <a:pt x="2629363" y="5028201"/>
                  <a:pt x="2628298" y="5030996"/>
                  <a:pt x="2628298" y="5034990"/>
                </a:cubicBezTo>
                <a:cubicBezTo>
                  <a:pt x="2628298" y="5039117"/>
                  <a:pt x="2629363" y="5041912"/>
                  <a:pt x="2631893" y="5044441"/>
                </a:cubicBezTo>
                <a:cubicBezTo>
                  <a:pt x="2633490" y="5046040"/>
                  <a:pt x="2636019" y="5047903"/>
                  <a:pt x="2641876" y="5047903"/>
                </a:cubicBezTo>
                <a:cubicBezTo>
                  <a:pt x="2643873" y="5047903"/>
                  <a:pt x="2645738" y="5047504"/>
                  <a:pt x="2647202" y="5046971"/>
                </a:cubicBezTo>
                <a:cubicBezTo>
                  <a:pt x="2648798" y="5046439"/>
                  <a:pt x="2649996" y="5045640"/>
                  <a:pt x="2650929" y="5044574"/>
                </a:cubicBezTo>
                <a:cubicBezTo>
                  <a:pt x="2651994" y="5043376"/>
                  <a:pt x="2652925" y="5042045"/>
                  <a:pt x="2653592" y="5040315"/>
                </a:cubicBezTo>
                <a:cubicBezTo>
                  <a:pt x="2654123" y="5038717"/>
                  <a:pt x="2654522" y="5036853"/>
                  <a:pt x="2654522" y="5034857"/>
                </a:cubicBezTo>
                <a:cubicBezTo>
                  <a:pt x="2654522" y="5032993"/>
                  <a:pt x="2654257" y="5031263"/>
                  <a:pt x="2653592" y="5029666"/>
                </a:cubicBezTo>
                <a:cubicBezTo>
                  <a:pt x="2652925" y="5028068"/>
                  <a:pt x="2651994" y="5026737"/>
                  <a:pt x="2650929" y="5025539"/>
                </a:cubicBezTo>
                <a:cubicBezTo>
                  <a:pt x="2649863" y="5024474"/>
                  <a:pt x="2648532" y="5023542"/>
                  <a:pt x="2646935" y="5022876"/>
                </a:cubicBezTo>
                <a:cubicBezTo>
                  <a:pt x="2645470" y="5022211"/>
                  <a:pt x="2643873" y="5021945"/>
                  <a:pt x="2641876" y="5021945"/>
                </a:cubicBezTo>
                <a:close/>
                <a:moveTo>
                  <a:pt x="2424216" y="5021945"/>
                </a:moveTo>
                <a:cubicBezTo>
                  <a:pt x="2418360" y="5021945"/>
                  <a:pt x="2415831" y="5023941"/>
                  <a:pt x="2414233" y="5025539"/>
                </a:cubicBezTo>
                <a:cubicBezTo>
                  <a:pt x="2411703" y="5028201"/>
                  <a:pt x="2410639" y="5030996"/>
                  <a:pt x="2410639" y="5034990"/>
                </a:cubicBezTo>
                <a:cubicBezTo>
                  <a:pt x="2410639" y="5039117"/>
                  <a:pt x="2411703" y="5041912"/>
                  <a:pt x="2414233" y="5044441"/>
                </a:cubicBezTo>
                <a:cubicBezTo>
                  <a:pt x="2415831" y="5046040"/>
                  <a:pt x="2418360" y="5047903"/>
                  <a:pt x="2424216" y="5047903"/>
                </a:cubicBezTo>
                <a:cubicBezTo>
                  <a:pt x="2426347" y="5047903"/>
                  <a:pt x="2428078" y="5047504"/>
                  <a:pt x="2429542" y="5046971"/>
                </a:cubicBezTo>
                <a:cubicBezTo>
                  <a:pt x="2431140" y="5046439"/>
                  <a:pt x="2432338" y="5045640"/>
                  <a:pt x="2433269" y="5044574"/>
                </a:cubicBezTo>
                <a:cubicBezTo>
                  <a:pt x="2434334" y="5043376"/>
                  <a:pt x="2435266" y="5042045"/>
                  <a:pt x="2435932" y="5040315"/>
                </a:cubicBezTo>
                <a:cubicBezTo>
                  <a:pt x="2436464" y="5038717"/>
                  <a:pt x="2436863" y="5036853"/>
                  <a:pt x="2436863" y="5034857"/>
                </a:cubicBezTo>
                <a:cubicBezTo>
                  <a:pt x="2436863" y="5032993"/>
                  <a:pt x="2436597" y="5031263"/>
                  <a:pt x="2435932" y="5029666"/>
                </a:cubicBezTo>
                <a:cubicBezTo>
                  <a:pt x="2435266" y="5028068"/>
                  <a:pt x="2434334" y="5026737"/>
                  <a:pt x="2433269" y="5025539"/>
                </a:cubicBezTo>
                <a:cubicBezTo>
                  <a:pt x="2432205" y="5024474"/>
                  <a:pt x="2430873" y="5023542"/>
                  <a:pt x="2429276" y="5022876"/>
                </a:cubicBezTo>
                <a:cubicBezTo>
                  <a:pt x="2427812" y="5022211"/>
                  <a:pt x="2426214" y="5021945"/>
                  <a:pt x="2424216" y="5021945"/>
                </a:cubicBezTo>
                <a:close/>
                <a:moveTo>
                  <a:pt x="2206557" y="5021945"/>
                </a:moveTo>
                <a:cubicBezTo>
                  <a:pt x="2200700" y="5021945"/>
                  <a:pt x="2198171" y="5023941"/>
                  <a:pt x="2196574" y="5025539"/>
                </a:cubicBezTo>
                <a:cubicBezTo>
                  <a:pt x="2194044" y="5028201"/>
                  <a:pt x="2192979" y="5030996"/>
                  <a:pt x="2192979" y="5034990"/>
                </a:cubicBezTo>
                <a:cubicBezTo>
                  <a:pt x="2192979" y="5039117"/>
                  <a:pt x="2194044" y="5041912"/>
                  <a:pt x="2196574" y="5044441"/>
                </a:cubicBezTo>
                <a:cubicBezTo>
                  <a:pt x="2198171" y="5046040"/>
                  <a:pt x="2200700" y="5047903"/>
                  <a:pt x="2206557" y="5047903"/>
                </a:cubicBezTo>
                <a:cubicBezTo>
                  <a:pt x="2208687" y="5047903"/>
                  <a:pt x="2210418" y="5047504"/>
                  <a:pt x="2211882" y="5046971"/>
                </a:cubicBezTo>
                <a:cubicBezTo>
                  <a:pt x="2213479" y="5046439"/>
                  <a:pt x="2214677" y="5045640"/>
                  <a:pt x="2215609" y="5044574"/>
                </a:cubicBezTo>
                <a:cubicBezTo>
                  <a:pt x="2216674" y="5043376"/>
                  <a:pt x="2217606" y="5042045"/>
                  <a:pt x="2218272" y="5040315"/>
                </a:cubicBezTo>
                <a:cubicBezTo>
                  <a:pt x="2218804" y="5038717"/>
                  <a:pt x="2219203" y="5036853"/>
                  <a:pt x="2219203" y="5034857"/>
                </a:cubicBezTo>
                <a:cubicBezTo>
                  <a:pt x="2219203" y="5032993"/>
                  <a:pt x="2218937" y="5031263"/>
                  <a:pt x="2218272" y="5029666"/>
                </a:cubicBezTo>
                <a:cubicBezTo>
                  <a:pt x="2217606" y="5028068"/>
                  <a:pt x="2216674" y="5026737"/>
                  <a:pt x="2215609" y="5025539"/>
                </a:cubicBezTo>
                <a:cubicBezTo>
                  <a:pt x="2214544" y="5024474"/>
                  <a:pt x="2213213" y="5023542"/>
                  <a:pt x="2211616" y="5022876"/>
                </a:cubicBezTo>
                <a:cubicBezTo>
                  <a:pt x="2210151" y="5022211"/>
                  <a:pt x="2208554" y="5021945"/>
                  <a:pt x="2206557" y="5021945"/>
                </a:cubicBezTo>
                <a:close/>
                <a:moveTo>
                  <a:pt x="1989030" y="5021945"/>
                </a:moveTo>
                <a:cubicBezTo>
                  <a:pt x="1983173" y="5021945"/>
                  <a:pt x="1980644" y="5023941"/>
                  <a:pt x="1979047" y="5025539"/>
                </a:cubicBezTo>
                <a:cubicBezTo>
                  <a:pt x="1976517" y="5028201"/>
                  <a:pt x="1975453" y="5030996"/>
                  <a:pt x="1975453" y="5034990"/>
                </a:cubicBezTo>
                <a:cubicBezTo>
                  <a:pt x="1975453" y="5039117"/>
                  <a:pt x="1976517" y="5041912"/>
                  <a:pt x="1979047" y="5044441"/>
                </a:cubicBezTo>
                <a:cubicBezTo>
                  <a:pt x="1980644" y="5046040"/>
                  <a:pt x="1983173" y="5047903"/>
                  <a:pt x="1989030" y="5047903"/>
                </a:cubicBezTo>
                <a:cubicBezTo>
                  <a:pt x="1991027" y="5047903"/>
                  <a:pt x="1992759" y="5047504"/>
                  <a:pt x="1994355" y="5046971"/>
                </a:cubicBezTo>
                <a:cubicBezTo>
                  <a:pt x="1995953" y="5046439"/>
                  <a:pt x="1997152" y="5045640"/>
                  <a:pt x="1998083" y="5044574"/>
                </a:cubicBezTo>
                <a:cubicBezTo>
                  <a:pt x="1999147" y="5043376"/>
                  <a:pt x="2000080" y="5042045"/>
                  <a:pt x="2000746" y="5040315"/>
                </a:cubicBezTo>
                <a:cubicBezTo>
                  <a:pt x="2001277" y="5038717"/>
                  <a:pt x="2001676" y="5036853"/>
                  <a:pt x="2001676" y="5034857"/>
                </a:cubicBezTo>
                <a:cubicBezTo>
                  <a:pt x="2001676" y="5032993"/>
                  <a:pt x="2001411" y="5031263"/>
                  <a:pt x="2000746" y="5029666"/>
                </a:cubicBezTo>
                <a:cubicBezTo>
                  <a:pt x="2000080" y="5028068"/>
                  <a:pt x="1999147" y="5026737"/>
                  <a:pt x="1998083" y="5025539"/>
                </a:cubicBezTo>
                <a:cubicBezTo>
                  <a:pt x="1997018" y="5024474"/>
                  <a:pt x="1995687" y="5023542"/>
                  <a:pt x="1994089" y="5022876"/>
                </a:cubicBezTo>
                <a:cubicBezTo>
                  <a:pt x="1992625" y="5022211"/>
                  <a:pt x="1991027" y="5021945"/>
                  <a:pt x="1989030" y="5021945"/>
                </a:cubicBezTo>
                <a:close/>
                <a:moveTo>
                  <a:pt x="1771396" y="5021945"/>
                </a:moveTo>
                <a:cubicBezTo>
                  <a:pt x="1765539" y="5021945"/>
                  <a:pt x="1763010" y="5023941"/>
                  <a:pt x="1761414" y="5025539"/>
                </a:cubicBezTo>
                <a:cubicBezTo>
                  <a:pt x="1758885" y="5028201"/>
                  <a:pt x="1757820" y="5030996"/>
                  <a:pt x="1757820" y="5034990"/>
                </a:cubicBezTo>
                <a:cubicBezTo>
                  <a:pt x="1757820" y="5039117"/>
                  <a:pt x="1758885" y="5041912"/>
                  <a:pt x="1761414" y="5044441"/>
                </a:cubicBezTo>
                <a:cubicBezTo>
                  <a:pt x="1763010" y="5046040"/>
                  <a:pt x="1765539" y="5047903"/>
                  <a:pt x="1771396" y="5047903"/>
                </a:cubicBezTo>
                <a:cubicBezTo>
                  <a:pt x="1773393" y="5047903"/>
                  <a:pt x="1775257" y="5047504"/>
                  <a:pt x="1776721" y="5046971"/>
                </a:cubicBezTo>
                <a:cubicBezTo>
                  <a:pt x="1778185" y="5046439"/>
                  <a:pt x="1779515" y="5045640"/>
                  <a:pt x="1780447" y="5044574"/>
                </a:cubicBezTo>
                <a:cubicBezTo>
                  <a:pt x="1781512" y="5043376"/>
                  <a:pt x="1782444" y="5042045"/>
                  <a:pt x="1783110" y="5040315"/>
                </a:cubicBezTo>
                <a:cubicBezTo>
                  <a:pt x="1783775" y="5038717"/>
                  <a:pt x="1784174" y="5036853"/>
                  <a:pt x="1784174" y="5034857"/>
                </a:cubicBezTo>
                <a:cubicBezTo>
                  <a:pt x="1784174" y="5032993"/>
                  <a:pt x="1783775" y="5031263"/>
                  <a:pt x="1783110" y="5029666"/>
                </a:cubicBezTo>
                <a:cubicBezTo>
                  <a:pt x="1782444" y="5028068"/>
                  <a:pt x="1781512" y="5026737"/>
                  <a:pt x="1780447" y="5025539"/>
                </a:cubicBezTo>
                <a:cubicBezTo>
                  <a:pt x="1779382" y="5024474"/>
                  <a:pt x="1778052" y="5023542"/>
                  <a:pt x="1776455" y="5022876"/>
                </a:cubicBezTo>
                <a:cubicBezTo>
                  <a:pt x="1774990" y="5022211"/>
                  <a:pt x="1773393" y="5021945"/>
                  <a:pt x="1771396" y="5021945"/>
                </a:cubicBezTo>
                <a:close/>
                <a:moveTo>
                  <a:pt x="1553758" y="5021945"/>
                </a:moveTo>
                <a:cubicBezTo>
                  <a:pt x="1547900" y="5021945"/>
                  <a:pt x="1545372" y="5023941"/>
                  <a:pt x="1543775" y="5025539"/>
                </a:cubicBezTo>
                <a:cubicBezTo>
                  <a:pt x="1541245" y="5028201"/>
                  <a:pt x="1540180" y="5030996"/>
                  <a:pt x="1540180" y="5034990"/>
                </a:cubicBezTo>
                <a:cubicBezTo>
                  <a:pt x="1540180" y="5039117"/>
                  <a:pt x="1541245" y="5041912"/>
                  <a:pt x="1543775" y="5044441"/>
                </a:cubicBezTo>
                <a:cubicBezTo>
                  <a:pt x="1545372" y="5046040"/>
                  <a:pt x="1547900" y="5047903"/>
                  <a:pt x="1553758" y="5047903"/>
                </a:cubicBezTo>
                <a:cubicBezTo>
                  <a:pt x="1555755" y="5047903"/>
                  <a:pt x="1557619" y="5047504"/>
                  <a:pt x="1559083" y="5046971"/>
                </a:cubicBezTo>
                <a:cubicBezTo>
                  <a:pt x="1560547" y="5046439"/>
                  <a:pt x="1561879" y="5045640"/>
                  <a:pt x="1562810" y="5044574"/>
                </a:cubicBezTo>
                <a:cubicBezTo>
                  <a:pt x="1563875" y="5043376"/>
                  <a:pt x="1564807" y="5042045"/>
                  <a:pt x="1565473" y="5040315"/>
                </a:cubicBezTo>
                <a:cubicBezTo>
                  <a:pt x="1566138" y="5038717"/>
                  <a:pt x="1566538" y="5036853"/>
                  <a:pt x="1566538" y="5034857"/>
                </a:cubicBezTo>
                <a:cubicBezTo>
                  <a:pt x="1566538" y="5032993"/>
                  <a:pt x="1566138" y="5031263"/>
                  <a:pt x="1565473" y="5029666"/>
                </a:cubicBezTo>
                <a:cubicBezTo>
                  <a:pt x="1564807" y="5028068"/>
                  <a:pt x="1563875" y="5026737"/>
                  <a:pt x="1562810" y="5025539"/>
                </a:cubicBezTo>
                <a:cubicBezTo>
                  <a:pt x="1561745" y="5024474"/>
                  <a:pt x="1560414" y="5023542"/>
                  <a:pt x="1558816" y="5022876"/>
                </a:cubicBezTo>
                <a:cubicBezTo>
                  <a:pt x="1557352" y="5022211"/>
                  <a:pt x="1555755" y="5021945"/>
                  <a:pt x="1553758" y="5021945"/>
                </a:cubicBezTo>
                <a:close/>
                <a:moveTo>
                  <a:pt x="1336114" y="5021945"/>
                </a:moveTo>
                <a:cubicBezTo>
                  <a:pt x="1330256" y="5021945"/>
                  <a:pt x="1327727" y="5023941"/>
                  <a:pt x="1326131" y="5025539"/>
                </a:cubicBezTo>
                <a:cubicBezTo>
                  <a:pt x="1323600" y="5028201"/>
                  <a:pt x="1322536" y="5030996"/>
                  <a:pt x="1322536" y="5034990"/>
                </a:cubicBezTo>
                <a:cubicBezTo>
                  <a:pt x="1322536" y="5039117"/>
                  <a:pt x="1323600" y="5041912"/>
                  <a:pt x="1326131" y="5044441"/>
                </a:cubicBezTo>
                <a:cubicBezTo>
                  <a:pt x="1327727" y="5046040"/>
                  <a:pt x="1330256" y="5047903"/>
                  <a:pt x="1336114" y="5047903"/>
                </a:cubicBezTo>
                <a:cubicBezTo>
                  <a:pt x="1338244" y="5047903"/>
                  <a:pt x="1339974" y="5047504"/>
                  <a:pt x="1341441" y="5046971"/>
                </a:cubicBezTo>
                <a:cubicBezTo>
                  <a:pt x="1342904" y="5046439"/>
                  <a:pt x="1344236" y="5045640"/>
                  <a:pt x="1345168" y="5044574"/>
                </a:cubicBezTo>
                <a:cubicBezTo>
                  <a:pt x="1346232" y="5043376"/>
                  <a:pt x="1347165" y="5042045"/>
                  <a:pt x="1347830" y="5040315"/>
                </a:cubicBezTo>
                <a:cubicBezTo>
                  <a:pt x="1348496" y="5038717"/>
                  <a:pt x="1348896" y="5036853"/>
                  <a:pt x="1348896" y="5034857"/>
                </a:cubicBezTo>
                <a:cubicBezTo>
                  <a:pt x="1348896" y="5032993"/>
                  <a:pt x="1348496" y="5031263"/>
                  <a:pt x="1347830" y="5029666"/>
                </a:cubicBezTo>
                <a:cubicBezTo>
                  <a:pt x="1347165" y="5028068"/>
                  <a:pt x="1346232" y="5026737"/>
                  <a:pt x="1345168" y="5025539"/>
                </a:cubicBezTo>
                <a:cubicBezTo>
                  <a:pt x="1344103" y="5024474"/>
                  <a:pt x="1342771" y="5023542"/>
                  <a:pt x="1341173" y="5022876"/>
                </a:cubicBezTo>
                <a:cubicBezTo>
                  <a:pt x="1339709" y="5022211"/>
                  <a:pt x="1338110" y="5021945"/>
                  <a:pt x="1336114" y="5021945"/>
                </a:cubicBezTo>
                <a:close/>
                <a:moveTo>
                  <a:pt x="1118602" y="5021945"/>
                </a:moveTo>
                <a:cubicBezTo>
                  <a:pt x="1112743" y="5021945"/>
                  <a:pt x="1110214" y="5023941"/>
                  <a:pt x="1108617" y="5025539"/>
                </a:cubicBezTo>
                <a:cubicBezTo>
                  <a:pt x="1105954" y="5028201"/>
                  <a:pt x="1104890" y="5030996"/>
                  <a:pt x="1104890" y="5034990"/>
                </a:cubicBezTo>
                <a:cubicBezTo>
                  <a:pt x="1104890" y="5039117"/>
                  <a:pt x="1105954" y="5041912"/>
                  <a:pt x="1108484" y="5044441"/>
                </a:cubicBezTo>
                <a:cubicBezTo>
                  <a:pt x="1110081" y="5046040"/>
                  <a:pt x="1112610" y="5047903"/>
                  <a:pt x="1118469" y="5047903"/>
                </a:cubicBezTo>
                <a:cubicBezTo>
                  <a:pt x="1120599" y="5047903"/>
                  <a:pt x="1122331" y="5047504"/>
                  <a:pt x="1123926" y="5046971"/>
                </a:cubicBezTo>
                <a:cubicBezTo>
                  <a:pt x="1125391" y="5046439"/>
                  <a:pt x="1126726" y="5045640"/>
                  <a:pt x="1127656" y="5044574"/>
                </a:cubicBezTo>
                <a:cubicBezTo>
                  <a:pt x="1128721" y="5043376"/>
                  <a:pt x="1129653" y="5042045"/>
                  <a:pt x="1130320" y="5040315"/>
                </a:cubicBezTo>
                <a:cubicBezTo>
                  <a:pt x="1130984" y="5038717"/>
                  <a:pt x="1131384" y="5036853"/>
                  <a:pt x="1131384" y="5034857"/>
                </a:cubicBezTo>
                <a:cubicBezTo>
                  <a:pt x="1131384" y="5032993"/>
                  <a:pt x="1130984" y="5031263"/>
                  <a:pt x="1130320" y="5029666"/>
                </a:cubicBezTo>
                <a:cubicBezTo>
                  <a:pt x="1129653" y="5028068"/>
                  <a:pt x="1128721" y="5026737"/>
                  <a:pt x="1127656" y="5025539"/>
                </a:cubicBezTo>
                <a:cubicBezTo>
                  <a:pt x="1126591" y="5024474"/>
                  <a:pt x="1125258" y="5023542"/>
                  <a:pt x="1123661" y="5022876"/>
                </a:cubicBezTo>
                <a:cubicBezTo>
                  <a:pt x="1122198" y="5022211"/>
                  <a:pt x="1120599" y="5021945"/>
                  <a:pt x="1118602" y="5021945"/>
                </a:cubicBezTo>
                <a:close/>
                <a:moveTo>
                  <a:pt x="901090" y="5021945"/>
                </a:moveTo>
                <a:cubicBezTo>
                  <a:pt x="895232" y="5021945"/>
                  <a:pt x="892703" y="5023941"/>
                  <a:pt x="891106" y="5025539"/>
                </a:cubicBezTo>
                <a:cubicBezTo>
                  <a:pt x="888443" y="5028201"/>
                  <a:pt x="887379" y="5030996"/>
                  <a:pt x="887379" y="5034990"/>
                </a:cubicBezTo>
                <a:cubicBezTo>
                  <a:pt x="887379" y="5039117"/>
                  <a:pt x="888443" y="5041912"/>
                  <a:pt x="890973" y="5044441"/>
                </a:cubicBezTo>
                <a:cubicBezTo>
                  <a:pt x="892570" y="5046040"/>
                  <a:pt x="895099" y="5047903"/>
                  <a:pt x="900956" y="5047903"/>
                </a:cubicBezTo>
                <a:cubicBezTo>
                  <a:pt x="902953" y="5047903"/>
                  <a:pt x="904684" y="5047504"/>
                  <a:pt x="906414" y="5046971"/>
                </a:cubicBezTo>
                <a:cubicBezTo>
                  <a:pt x="907878" y="5046439"/>
                  <a:pt x="909210" y="5045640"/>
                  <a:pt x="910142" y="5044574"/>
                </a:cubicBezTo>
                <a:cubicBezTo>
                  <a:pt x="911206" y="5043376"/>
                  <a:pt x="912138" y="5042045"/>
                  <a:pt x="912804" y="5040315"/>
                </a:cubicBezTo>
                <a:cubicBezTo>
                  <a:pt x="913469" y="5038717"/>
                  <a:pt x="913869" y="5036853"/>
                  <a:pt x="913869" y="5034857"/>
                </a:cubicBezTo>
                <a:cubicBezTo>
                  <a:pt x="913869" y="5032993"/>
                  <a:pt x="913469" y="5031263"/>
                  <a:pt x="912804" y="5029666"/>
                </a:cubicBezTo>
                <a:cubicBezTo>
                  <a:pt x="912138" y="5028068"/>
                  <a:pt x="911206" y="5026737"/>
                  <a:pt x="910142" y="5025539"/>
                </a:cubicBezTo>
                <a:cubicBezTo>
                  <a:pt x="909077" y="5024474"/>
                  <a:pt x="907745" y="5023542"/>
                  <a:pt x="906148" y="5022876"/>
                </a:cubicBezTo>
                <a:cubicBezTo>
                  <a:pt x="904684" y="5022211"/>
                  <a:pt x="903086" y="5021945"/>
                  <a:pt x="901090" y="5021945"/>
                </a:cubicBezTo>
                <a:close/>
                <a:moveTo>
                  <a:pt x="683315" y="5021945"/>
                </a:moveTo>
                <a:cubicBezTo>
                  <a:pt x="677458" y="5021945"/>
                  <a:pt x="674929" y="5023941"/>
                  <a:pt x="673332" y="5025539"/>
                </a:cubicBezTo>
                <a:cubicBezTo>
                  <a:pt x="670802" y="5028201"/>
                  <a:pt x="669738" y="5030996"/>
                  <a:pt x="669738" y="5034990"/>
                </a:cubicBezTo>
                <a:cubicBezTo>
                  <a:pt x="669738" y="5039117"/>
                  <a:pt x="670802" y="5041912"/>
                  <a:pt x="673332" y="5044441"/>
                </a:cubicBezTo>
                <a:cubicBezTo>
                  <a:pt x="674929" y="5046040"/>
                  <a:pt x="677458" y="5047903"/>
                  <a:pt x="683315" y="5047903"/>
                </a:cubicBezTo>
                <a:cubicBezTo>
                  <a:pt x="685312" y="5047903"/>
                  <a:pt x="687176" y="5047504"/>
                  <a:pt x="688641" y="5046971"/>
                </a:cubicBezTo>
                <a:cubicBezTo>
                  <a:pt x="690105" y="5046439"/>
                  <a:pt x="691436" y="5045640"/>
                  <a:pt x="692368" y="5044574"/>
                </a:cubicBezTo>
                <a:cubicBezTo>
                  <a:pt x="693432" y="5043376"/>
                  <a:pt x="694364" y="5042045"/>
                  <a:pt x="695031" y="5040315"/>
                </a:cubicBezTo>
                <a:cubicBezTo>
                  <a:pt x="695696" y="5038717"/>
                  <a:pt x="696096" y="5036853"/>
                  <a:pt x="696096" y="5034857"/>
                </a:cubicBezTo>
                <a:cubicBezTo>
                  <a:pt x="696096" y="5032993"/>
                  <a:pt x="695696" y="5031263"/>
                  <a:pt x="695031" y="5029666"/>
                </a:cubicBezTo>
                <a:cubicBezTo>
                  <a:pt x="694364" y="5028068"/>
                  <a:pt x="693432" y="5026737"/>
                  <a:pt x="692368" y="5025539"/>
                </a:cubicBezTo>
                <a:cubicBezTo>
                  <a:pt x="691302" y="5024474"/>
                  <a:pt x="689971" y="5023542"/>
                  <a:pt x="688375" y="5022876"/>
                </a:cubicBezTo>
                <a:cubicBezTo>
                  <a:pt x="686911" y="5022211"/>
                  <a:pt x="685312" y="5021945"/>
                  <a:pt x="683315" y="5021945"/>
                </a:cubicBezTo>
                <a:close/>
                <a:moveTo>
                  <a:pt x="465674" y="5021945"/>
                </a:moveTo>
                <a:cubicBezTo>
                  <a:pt x="459817" y="5021945"/>
                  <a:pt x="457288" y="5023941"/>
                  <a:pt x="455691" y="5025539"/>
                </a:cubicBezTo>
                <a:cubicBezTo>
                  <a:pt x="453160" y="5028201"/>
                  <a:pt x="452097" y="5030996"/>
                  <a:pt x="452097" y="5034990"/>
                </a:cubicBezTo>
                <a:cubicBezTo>
                  <a:pt x="452097" y="5039117"/>
                  <a:pt x="453160" y="5041912"/>
                  <a:pt x="455691" y="5044441"/>
                </a:cubicBezTo>
                <a:cubicBezTo>
                  <a:pt x="457288" y="5046040"/>
                  <a:pt x="459817" y="5047903"/>
                  <a:pt x="465674" y="5047903"/>
                </a:cubicBezTo>
                <a:cubicBezTo>
                  <a:pt x="467671" y="5047903"/>
                  <a:pt x="469535" y="5047504"/>
                  <a:pt x="470999" y="5046971"/>
                </a:cubicBezTo>
                <a:cubicBezTo>
                  <a:pt x="472463" y="5046439"/>
                  <a:pt x="473794" y="5045640"/>
                  <a:pt x="474726" y="5044574"/>
                </a:cubicBezTo>
                <a:cubicBezTo>
                  <a:pt x="475791" y="5043376"/>
                  <a:pt x="476723" y="5042045"/>
                  <a:pt x="477389" y="5040315"/>
                </a:cubicBezTo>
                <a:cubicBezTo>
                  <a:pt x="478054" y="5038717"/>
                  <a:pt x="478454" y="5036853"/>
                  <a:pt x="478454" y="5034857"/>
                </a:cubicBezTo>
                <a:cubicBezTo>
                  <a:pt x="478454" y="5032993"/>
                  <a:pt x="478054" y="5031263"/>
                  <a:pt x="477389" y="5029666"/>
                </a:cubicBezTo>
                <a:cubicBezTo>
                  <a:pt x="476723" y="5028068"/>
                  <a:pt x="475791" y="5026737"/>
                  <a:pt x="474726" y="5025539"/>
                </a:cubicBezTo>
                <a:cubicBezTo>
                  <a:pt x="473661" y="5024474"/>
                  <a:pt x="472330" y="5023542"/>
                  <a:pt x="470733" y="5022876"/>
                </a:cubicBezTo>
                <a:cubicBezTo>
                  <a:pt x="469269" y="5022211"/>
                  <a:pt x="467671" y="5021945"/>
                  <a:pt x="465674" y="5021945"/>
                </a:cubicBezTo>
                <a:close/>
                <a:moveTo>
                  <a:pt x="248032" y="5021945"/>
                </a:moveTo>
                <a:cubicBezTo>
                  <a:pt x="242175" y="5021945"/>
                  <a:pt x="239646" y="5023941"/>
                  <a:pt x="238049" y="5025539"/>
                </a:cubicBezTo>
                <a:cubicBezTo>
                  <a:pt x="235520" y="5028201"/>
                  <a:pt x="234456" y="5030996"/>
                  <a:pt x="234456" y="5034990"/>
                </a:cubicBezTo>
                <a:cubicBezTo>
                  <a:pt x="234456" y="5039117"/>
                  <a:pt x="235520" y="5041912"/>
                  <a:pt x="238049" y="5044441"/>
                </a:cubicBezTo>
                <a:cubicBezTo>
                  <a:pt x="239646" y="5046040"/>
                  <a:pt x="242175" y="5047903"/>
                  <a:pt x="248032" y="5047903"/>
                </a:cubicBezTo>
                <a:cubicBezTo>
                  <a:pt x="250162" y="5047903"/>
                  <a:pt x="251893" y="5047504"/>
                  <a:pt x="253357" y="5046971"/>
                </a:cubicBezTo>
                <a:cubicBezTo>
                  <a:pt x="254821" y="5046439"/>
                  <a:pt x="256151" y="5045640"/>
                  <a:pt x="257083" y="5044574"/>
                </a:cubicBezTo>
                <a:cubicBezTo>
                  <a:pt x="258148" y="5043376"/>
                  <a:pt x="259080" y="5042045"/>
                  <a:pt x="259746" y="5040315"/>
                </a:cubicBezTo>
                <a:cubicBezTo>
                  <a:pt x="260411" y="5038717"/>
                  <a:pt x="260811" y="5036853"/>
                  <a:pt x="260811" y="5034857"/>
                </a:cubicBezTo>
                <a:cubicBezTo>
                  <a:pt x="260811" y="5032993"/>
                  <a:pt x="260411" y="5031263"/>
                  <a:pt x="259746" y="5029666"/>
                </a:cubicBezTo>
                <a:cubicBezTo>
                  <a:pt x="259080" y="5028068"/>
                  <a:pt x="258148" y="5026737"/>
                  <a:pt x="257083" y="5025539"/>
                </a:cubicBezTo>
                <a:cubicBezTo>
                  <a:pt x="256018" y="5024474"/>
                  <a:pt x="254687" y="5023542"/>
                  <a:pt x="253091" y="5022876"/>
                </a:cubicBezTo>
                <a:cubicBezTo>
                  <a:pt x="251626" y="5022211"/>
                  <a:pt x="250029" y="5021945"/>
                  <a:pt x="248032" y="5021945"/>
                </a:cubicBezTo>
                <a:close/>
                <a:moveTo>
                  <a:pt x="30390" y="5021945"/>
                </a:moveTo>
                <a:cubicBezTo>
                  <a:pt x="24533" y="5021945"/>
                  <a:pt x="22004" y="5023941"/>
                  <a:pt x="20407" y="5025539"/>
                </a:cubicBezTo>
                <a:cubicBezTo>
                  <a:pt x="17877" y="5028201"/>
                  <a:pt x="16814" y="5030996"/>
                  <a:pt x="16814" y="5034990"/>
                </a:cubicBezTo>
                <a:cubicBezTo>
                  <a:pt x="16814" y="5039117"/>
                  <a:pt x="17877" y="5041912"/>
                  <a:pt x="20407" y="5044441"/>
                </a:cubicBezTo>
                <a:cubicBezTo>
                  <a:pt x="22004" y="5046040"/>
                  <a:pt x="24533" y="5047903"/>
                  <a:pt x="30390" y="5047903"/>
                </a:cubicBezTo>
                <a:cubicBezTo>
                  <a:pt x="32520" y="5047903"/>
                  <a:pt x="34251" y="5047504"/>
                  <a:pt x="35715" y="5046971"/>
                </a:cubicBezTo>
                <a:cubicBezTo>
                  <a:pt x="37179" y="5046439"/>
                  <a:pt x="38511" y="5045640"/>
                  <a:pt x="39442" y="5044574"/>
                </a:cubicBezTo>
                <a:cubicBezTo>
                  <a:pt x="40507" y="5043376"/>
                  <a:pt x="41439" y="5042045"/>
                  <a:pt x="42105" y="5040315"/>
                </a:cubicBezTo>
                <a:cubicBezTo>
                  <a:pt x="42770" y="5038717"/>
                  <a:pt x="43036" y="5036853"/>
                  <a:pt x="43036" y="5034857"/>
                </a:cubicBezTo>
                <a:cubicBezTo>
                  <a:pt x="43036" y="5032993"/>
                  <a:pt x="42770" y="5031263"/>
                  <a:pt x="42105" y="5029666"/>
                </a:cubicBezTo>
                <a:cubicBezTo>
                  <a:pt x="41439" y="5028068"/>
                  <a:pt x="40507" y="5026737"/>
                  <a:pt x="39442" y="5025539"/>
                </a:cubicBezTo>
                <a:cubicBezTo>
                  <a:pt x="38377" y="5024474"/>
                  <a:pt x="37046" y="5023542"/>
                  <a:pt x="35449" y="5022876"/>
                </a:cubicBezTo>
                <a:cubicBezTo>
                  <a:pt x="33985" y="5022211"/>
                  <a:pt x="32387" y="5021945"/>
                  <a:pt x="30390" y="5021945"/>
                </a:cubicBezTo>
                <a:close/>
                <a:moveTo>
                  <a:pt x="10475977" y="5005305"/>
                </a:moveTo>
                <a:cubicBezTo>
                  <a:pt x="10480237" y="5005305"/>
                  <a:pt x="10484230" y="5006104"/>
                  <a:pt x="10487824" y="5007834"/>
                </a:cubicBezTo>
                <a:cubicBezTo>
                  <a:pt x="10491419" y="5009432"/>
                  <a:pt x="10494613" y="5011561"/>
                  <a:pt x="10497143" y="5014224"/>
                </a:cubicBezTo>
                <a:cubicBezTo>
                  <a:pt x="10499672" y="5016753"/>
                  <a:pt x="10501801" y="5019948"/>
                  <a:pt x="10503266" y="5023542"/>
                </a:cubicBezTo>
                <a:cubicBezTo>
                  <a:pt x="10504730" y="5027136"/>
                  <a:pt x="10505529" y="5030996"/>
                  <a:pt x="10505529" y="5034990"/>
                </a:cubicBezTo>
                <a:cubicBezTo>
                  <a:pt x="10505529" y="5039117"/>
                  <a:pt x="10504730" y="5043110"/>
                  <a:pt x="10503266" y="5046705"/>
                </a:cubicBezTo>
                <a:cubicBezTo>
                  <a:pt x="10501669" y="5050299"/>
                  <a:pt x="10499672" y="5053361"/>
                  <a:pt x="10497143" y="5056023"/>
                </a:cubicBezTo>
                <a:cubicBezTo>
                  <a:pt x="10494480" y="5058686"/>
                  <a:pt x="10491419" y="5060816"/>
                  <a:pt x="10487824" y="5062280"/>
                </a:cubicBezTo>
                <a:cubicBezTo>
                  <a:pt x="10484098" y="5063744"/>
                  <a:pt x="10480237" y="5064543"/>
                  <a:pt x="10475977" y="5064543"/>
                </a:cubicBezTo>
                <a:cubicBezTo>
                  <a:pt x="10466924" y="5064543"/>
                  <a:pt x="10459736" y="5061614"/>
                  <a:pt x="10454145" y="5056023"/>
                </a:cubicBezTo>
                <a:cubicBezTo>
                  <a:pt x="10448554" y="5050433"/>
                  <a:pt x="10445759" y="5043376"/>
                  <a:pt x="10445759" y="5034857"/>
                </a:cubicBezTo>
                <a:cubicBezTo>
                  <a:pt x="10445759" y="5026604"/>
                  <a:pt x="10448554" y="5019549"/>
                  <a:pt x="10454145" y="5013825"/>
                </a:cubicBezTo>
                <a:cubicBezTo>
                  <a:pt x="10459603" y="5008100"/>
                  <a:pt x="10466924" y="5005305"/>
                  <a:pt x="10475977" y="5005305"/>
                </a:cubicBezTo>
                <a:close/>
                <a:moveTo>
                  <a:pt x="10258466" y="5005305"/>
                </a:moveTo>
                <a:cubicBezTo>
                  <a:pt x="10262592" y="5005305"/>
                  <a:pt x="10266586" y="5006104"/>
                  <a:pt x="10270313" y="5007834"/>
                </a:cubicBezTo>
                <a:cubicBezTo>
                  <a:pt x="10273907" y="5009432"/>
                  <a:pt x="10277101" y="5011561"/>
                  <a:pt x="10279631" y="5014224"/>
                </a:cubicBezTo>
                <a:cubicBezTo>
                  <a:pt x="10282160" y="5016753"/>
                  <a:pt x="10284290" y="5019948"/>
                  <a:pt x="10285754" y="5023542"/>
                </a:cubicBezTo>
                <a:cubicBezTo>
                  <a:pt x="10287218" y="5027136"/>
                  <a:pt x="10288017" y="5030996"/>
                  <a:pt x="10288017" y="5034990"/>
                </a:cubicBezTo>
                <a:cubicBezTo>
                  <a:pt x="10288017" y="5039117"/>
                  <a:pt x="10287218" y="5043110"/>
                  <a:pt x="10285754" y="5046705"/>
                </a:cubicBezTo>
                <a:cubicBezTo>
                  <a:pt x="10284157" y="5050299"/>
                  <a:pt x="10282160" y="5053361"/>
                  <a:pt x="10279631" y="5056023"/>
                </a:cubicBezTo>
                <a:cubicBezTo>
                  <a:pt x="10276969" y="5058686"/>
                  <a:pt x="10273907" y="5060816"/>
                  <a:pt x="10270313" y="5062280"/>
                </a:cubicBezTo>
                <a:cubicBezTo>
                  <a:pt x="10266586" y="5063744"/>
                  <a:pt x="10262725" y="5064543"/>
                  <a:pt x="10258466" y="5064543"/>
                </a:cubicBezTo>
                <a:cubicBezTo>
                  <a:pt x="10249546" y="5064543"/>
                  <a:pt x="10242224" y="5061614"/>
                  <a:pt x="10236633" y="5056023"/>
                </a:cubicBezTo>
                <a:cubicBezTo>
                  <a:pt x="10231043" y="5050433"/>
                  <a:pt x="10228247" y="5043376"/>
                  <a:pt x="10228247" y="5034857"/>
                </a:cubicBezTo>
                <a:cubicBezTo>
                  <a:pt x="10228247" y="5026604"/>
                  <a:pt x="10231176" y="5019549"/>
                  <a:pt x="10236633" y="5013825"/>
                </a:cubicBezTo>
                <a:cubicBezTo>
                  <a:pt x="10242092" y="5008100"/>
                  <a:pt x="10249413" y="5005305"/>
                  <a:pt x="10258466" y="5005305"/>
                </a:cubicBezTo>
                <a:close/>
                <a:moveTo>
                  <a:pt x="10040820" y="5005305"/>
                </a:moveTo>
                <a:cubicBezTo>
                  <a:pt x="10045080" y="5005305"/>
                  <a:pt x="10048941" y="5006104"/>
                  <a:pt x="10052534" y="5007834"/>
                </a:cubicBezTo>
                <a:cubicBezTo>
                  <a:pt x="10056129" y="5009432"/>
                  <a:pt x="10059323" y="5011561"/>
                  <a:pt x="10061852" y="5014224"/>
                </a:cubicBezTo>
                <a:cubicBezTo>
                  <a:pt x="10064382" y="5016753"/>
                  <a:pt x="10066512" y="5019948"/>
                  <a:pt x="10067976" y="5023542"/>
                </a:cubicBezTo>
                <a:cubicBezTo>
                  <a:pt x="10069440" y="5027136"/>
                  <a:pt x="10070239" y="5030996"/>
                  <a:pt x="10070239" y="5034990"/>
                </a:cubicBezTo>
                <a:cubicBezTo>
                  <a:pt x="10070239" y="5039117"/>
                  <a:pt x="10069440" y="5043110"/>
                  <a:pt x="10067976" y="5046705"/>
                </a:cubicBezTo>
                <a:cubicBezTo>
                  <a:pt x="10066379" y="5050299"/>
                  <a:pt x="10064382" y="5053361"/>
                  <a:pt x="10061852" y="5056023"/>
                </a:cubicBezTo>
                <a:cubicBezTo>
                  <a:pt x="10059190" y="5058686"/>
                  <a:pt x="10056129" y="5060816"/>
                  <a:pt x="10052534" y="5062280"/>
                </a:cubicBezTo>
                <a:cubicBezTo>
                  <a:pt x="10048941" y="5063744"/>
                  <a:pt x="10045080" y="5064543"/>
                  <a:pt x="10040820" y="5064543"/>
                </a:cubicBezTo>
                <a:cubicBezTo>
                  <a:pt x="10031767" y="5064543"/>
                  <a:pt x="10024579" y="5061614"/>
                  <a:pt x="10018988" y="5056023"/>
                </a:cubicBezTo>
                <a:cubicBezTo>
                  <a:pt x="10013397" y="5050433"/>
                  <a:pt x="10010602" y="5043376"/>
                  <a:pt x="10010602" y="5034857"/>
                </a:cubicBezTo>
                <a:cubicBezTo>
                  <a:pt x="10010602" y="5026604"/>
                  <a:pt x="10013397" y="5019549"/>
                  <a:pt x="10018988" y="5013825"/>
                </a:cubicBezTo>
                <a:cubicBezTo>
                  <a:pt x="10024579" y="5008100"/>
                  <a:pt x="10031767" y="5005305"/>
                  <a:pt x="10040820" y="5005305"/>
                </a:cubicBezTo>
                <a:close/>
                <a:moveTo>
                  <a:pt x="9823176" y="5005305"/>
                </a:moveTo>
                <a:cubicBezTo>
                  <a:pt x="9827435" y="5005305"/>
                  <a:pt x="9831296" y="5006104"/>
                  <a:pt x="9834890" y="5007834"/>
                </a:cubicBezTo>
                <a:cubicBezTo>
                  <a:pt x="9838617" y="5009432"/>
                  <a:pt x="9841679" y="5011561"/>
                  <a:pt x="9844208" y="5014224"/>
                </a:cubicBezTo>
                <a:cubicBezTo>
                  <a:pt x="9846737" y="5016753"/>
                  <a:pt x="9848867" y="5019948"/>
                  <a:pt x="9850331" y="5023542"/>
                </a:cubicBezTo>
                <a:cubicBezTo>
                  <a:pt x="9851796" y="5027136"/>
                  <a:pt x="9852595" y="5030996"/>
                  <a:pt x="9852595" y="5034990"/>
                </a:cubicBezTo>
                <a:cubicBezTo>
                  <a:pt x="9852595" y="5039117"/>
                  <a:pt x="9851796" y="5043110"/>
                  <a:pt x="9850331" y="5046705"/>
                </a:cubicBezTo>
                <a:cubicBezTo>
                  <a:pt x="9848734" y="5050299"/>
                  <a:pt x="9846737" y="5053361"/>
                  <a:pt x="9844208" y="5056023"/>
                </a:cubicBezTo>
                <a:cubicBezTo>
                  <a:pt x="9841546" y="5058686"/>
                  <a:pt x="9838484" y="5060816"/>
                  <a:pt x="9834890" y="5062280"/>
                </a:cubicBezTo>
                <a:cubicBezTo>
                  <a:pt x="9831296" y="5063744"/>
                  <a:pt x="9827435" y="5064543"/>
                  <a:pt x="9823176" y="5064543"/>
                </a:cubicBezTo>
                <a:cubicBezTo>
                  <a:pt x="9814123" y="5064543"/>
                  <a:pt x="9806935" y="5061614"/>
                  <a:pt x="9801343" y="5056023"/>
                </a:cubicBezTo>
                <a:cubicBezTo>
                  <a:pt x="9795753" y="5050433"/>
                  <a:pt x="9792957" y="5043376"/>
                  <a:pt x="9792957" y="5034857"/>
                </a:cubicBezTo>
                <a:cubicBezTo>
                  <a:pt x="9792957" y="5026604"/>
                  <a:pt x="9795753" y="5019549"/>
                  <a:pt x="9801343" y="5013825"/>
                </a:cubicBezTo>
                <a:cubicBezTo>
                  <a:pt x="9806935" y="5008100"/>
                  <a:pt x="9814123" y="5005305"/>
                  <a:pt x="9823176" y="5005305"/>
                </a:cubicBezTo>
                <a:close/>
                <a:moveTo>
                  <a:pt x="9605531" y="5005305"/>
                </a:moveTo>
                <a:cubicBezTo>
                  <a:pt x="9609790" y="5005305"/>
                  <a:pt x="9613784" y="5006104"/>
                  <a:pt x="9617245" y="5007834"/>
                </a:cubicBezTo>
                <a:cubicBezTo>
                  <a:pt x="9620839" y="5009432"/>
                  <a:pt x="9624033" y="5011561"/>
                  <a:pt x="9626562" y="5014224"/>
                </a:cubicBezTo>
                <a:cubicBezTo>
                  <a:pt x="9629092" y="5016753"/>
                  <a:pt x="9631222" y="5019948"/>
                  <a:pt x="9632686" y="5023542"/>
                </a:cubicBezTo>
                <a:cubicBezTo>
                  <a:pt x="9634150" y="5027136"/>
                  <a:pt x="9634949" y="5030996"/>
                  <a:pt x="9634949" y="5034990"/>
                </a:cubicBezTo>
                <a:cubicBezTo>
                  <a:pt x="9634949" y="5039117"/>
                  <a:pt x="9634150" y="5043110"/>
                  <a:pt x="9632686" y="5046705"/>
                </a:cubicBezTo>
                <a:cubicBezTo>
                  <a:pt x="9631089" y="5050299"/>
                  <a:pt x="9629092" y="5053361"/>
                  <a:pt x="9626562" y="5056023"/>
                </a:cubicBezTo>
                <a:cubicBezTo>
                  <a:pt x="9623901" y="5058686"/>
                  <a:pt x="9620839" y="5060816"/>
                  <a:pt x="9617245" y="5062280"/>
                </a:cubicBezTo>
                <a:cubicBezTo>
                  <a:pt x="9613651" y="5063744"/>
                  <a:pt x="9609790" y="5064543"/>
                  <a:pt x="9605531" y="5064543"/>
                </a:cubicBezTo>
                <a:cubicBezTo>
                  <a:pt x="9596610" y="5064543"/>
                  <a:pt x="9589289" y="5061614"/>
                  <a:pt x="9583698" y="5056023"/>
                </a:cubicBezTo>
                <a:cubicBezTo>
                  <a:pt x="9578108" y="5050433"/>
                  <a:pt x="9575312" y="5043376"/>
                  <a:pt x="9575312" y="5034857"/>
                </a:cubicBezTo>
                <a:cubicBezTo>
                  <a:pt x="9575312" y="5026604"/>
                  <a:pt x="9578108" y="5019549"/>
                  <a:pt x="9583698" y="5013825"/>
                </a:cubicBezTo>
                <a:cubicBezTo>
                  <a:pt x="9589289" y="5008100"/>
                  <a:pt x="9596478" y="5005305"/>
                  <a:pt x="9605531" y="5005305"/>
                </a:cubicBezTo>
                <a:close/>
                <a:moveTo>
                  <a:pt x="9387885" y="5005305"/>
                </a:moveTo>
                <a:cubicBezTo>
                  <a:pt x="9392145" y="5005305"/>
                  <a:pt x="9396138" y="5006104"/>
                  <a:pt x="9399599" y="5007834"/>
                </a:cubicBezTo>
                <a:cubicBezTo>
                  <a:pt x="9403194" y="5009432"/>
                  <a:pt x="9406388" y="5011561"/>
                  <a:pt x="9408917" y="5014224"/>
                </a:cubicBezTo>
                <a:cubicBezTo>
                  <a:pt x="9411447" y="5016753"/>
                  <a:pt x="9413576" y="5019948"/>
                  <a:pt x="9415041" y="5023542"/>
                </a:cubicBezTo>
                <a:cubicBezTo>
                  <a:pt x="9416505" y="5027136"/>
                  <a:pt x="9417304" y="5030996"/>
                  <a:pt x="9417304" y="5034990"/>
                </a:cubicBezTo>
                <a:cubicBezTo>
                  <a:pt x="9417304" y="5039117"/>
                  <a:pt x="9416505" y="5043110"/>
                  <a:pt x="9415041" y="5046705"/>
                </a:cubicBezTo>
                <a:cubicBezTo>
                  <a:pt x="9413444" y="5050299"/>
                  <a:pt x="9411447" y="5053361"/>
                  <a:pt x="9408917" y="5056023"/>
                </a:cubicBezTo>
                <a:cubicBezTo>
                  <a:pt x="9406255" y="5058686"/>
                  <a:pt x="9403194" y="5060816"/>
                  <a:pt x="9399599" y="5062280"/>
                </a:cubicBezTo>
                <a:cubicBezTo>
                  <a:pt x="9396005" y="5063744"/>
                  <a:pt x="9392145" y="5064543"/>
                  <a:pt x="9387885" y="5064543"/>
                </a:cubicBezTo>
                <a:cubicBezTo>
                  <a:pt x="9378965" y="5064543"/>
                  <a:pt x="9371644" y="5061614"/>
                  <a:pt x="9366053" y="5056023"/>
                </a:cubicBezTo>
                <a:cubicBezTo>
                  <a:pt x="9360462" y="5050433"/>
                  <a:pt x="9357667" y="5043376"/>
                  <a:pt x="9357667" y="5034857"/>
                </a:cubicBezTo>
                <a:cubicBezTo>
                  <a:pt x="9357667" y="5026604"/>
                  <a:pt x="9360462" y="5019549"/>
                  <a:pt x="9366053" y="5013825"/>
                </a:cubicBezTo>
                <a:cubicBezTo>
                  <a:pt x="9371644" y="5008100"/>
                  <a:pt x="9378832" y="5005305"/>
                  <a:pt x="9387885" y="5005305"/>
                </a:cubicBezTo>
                <a:close/>
                <a:moveTo>
                  <a:pt x="9170374" y="5005305"/>
                </a:moveTo>
                <a:cubicBezTo>
                  <a:pt x="9174500" y="5005305"/>
                  <a:pt x="9178494" y="5006104"/>
                  <a:pt x="9182088" y="5007834"/>
                </a:cubicBezTo>
                <a:cubicBezTo>
                  <a:pt x="9185682" y="5009432"/>
                  <a:pt x="9188876" y="5011561"/>
                  <a:pt x="9191405" y="5014224"/>
                </a:cubicBezTo>
                <a:cubicBezTo>
                  <a:pt x="9193935" y="5016753"/>
                  <a:pt x="9196065" y="5019948"/>
                  <a:pt x="9197529" y="5023542"/>
                </a:cubicBezTo>
                <a:cubicBezTo>
                  <a:pt x="9198993" y="5027136"/>
                  <a:pt x="9199792" y="5030996"/>
                  <a:pt x="9199792" y="5034990"/>
                </a:cubicBezTo>
                <a:cubicBezTo>
                  <a:pt x="9199792" y="5039117"/>
                  <a:pt x="9198993" y="5043110"/>
                  <a:pt x="9197529" y="5046705"/>
                </a:cubicBezTo>
                <a:cubicBezTo>
                  <a:pt x="9195932" y="5050299"/>
                  <a:pt x="9193935" y="5053361"/>
                  <a:pt x="9191405" y="5056023"/>
                </a:cubicBezTo>
                <a:cubicBezTo>
                  <a:pt x="9188744" y="5058686"/>
                  <a:pt x="9185682" y="5060816"/>
                  <a:pt x="9182088" y="5062280"/>
                </a:cubicBezTo>
                <a:cubicBezTo>
                  <a:pt x="9178494" y="5063744"/>
                  <a:pt x="9174633" y="5064543"/>
                  <a:pt x="9170374" y="5064543"/>
                </a:cubicBezTo>
                <a:cubicBezTo>
                  <a:pt x="9161453" y="5064543"/>
                  <a:pt x="9154132" y="5061614"/>
                  <a:pt x="9148541" y="5056023"/>
                </a:cubicBezTo>
                <a:cubicBezTo>
                  <a:pt x="9142951" y="5050433"/>
                  <a:pt x="9140155" y="5043376"/>
                  <a:pt x="9140155" y="5034857"/>
                </a:cubicBezTo>
                <a:cubicBezTo>
                  <a:pt x="9140155" y="5026604"/>
                  <a:pt x="9142951" y="5019549"/>
                  <a:pt x="9148541" y="5013825"/>
                </a:cubicBezTo>
                <a:cubicBezTo>
                  <a:pt x="9154132" y="5008100"/>
                  <a:pt x="9161321" y="5005305"/>
                  <a:pt x="9170374" y="5005305"/>
                </a:cubicBezTo>
                <a:close/>
                <a:moveTo>
                  <a:pt x="8952728" y="5005305"/>
                </a:moveTo>
                <a:cubicBezTo>
                  <a:pt x="8956988" y="5005305"/>
                  <a:pt x="8960849" y="5006104"/>
                  <a:pt x="8964442" y="5007834"/>
                </a:cubicBezTo>
                <a:cubicBezTo>
                  <a:pt x="8968037" y="5009432"/>
                  <a:pt x="8971231" y="5011561"/>
                  <a:pt x="8973760" y="5014224"/>
                </a:cubicBezTo>
                <a:cubicBezTo>
                  <a:pt x="8976290" y="5016753"/>
                  <a:pt x="8978419" y="5019948"/>
                  <a:pt x="8979884" y="5023542"/>
                </a:cubicBezTo>
                <a:cubicBezTo>
                  <a:pt x="8981348" y="5027136"/>
                  <a:pt x="8982147" y="5030996"/>
                  <a:pt x="8982147" y="5034990"/>
                </a:cubicBezTo>
                <a:cubicBezTo>
                  <a:pt x="8982147" y="5039117"/>
                  <a:pt x="8981348" y="5043110"/>
                  <a:pt x="8979884" y="5046705"/>
                </a:cubicBezTo>
                <a:cubicBezTo>
                  <a:pt x="8978287" y="5050299"/>
                  <a:pt x="8976290" y="5053361"/>
                  <a:pt x="8973760" y="5056023"/>
                </a:cubicBezTo>
                <a:cubicBezTo>
                  <a:pt x="8971098" y="5058686"/>
                  <a:pt x="8968037" y="5060816"/>
                  <a:pt x="8964442" y="5062280"/>
                </a:cubicBezTo>
                <a:cubicBezTo>
                  <a:pt x="8960849" y="5063744"/>
                  <a:pt x="8956988" y="5064543"/>
                  <a:pt x="8952728" y="5064543"/>
                </a:cubicBezTo>
                <a:cubicBezTo>
                  <a:pt x="8943808" y="5064543"/>
                  <a:pt x="8936487" y="5061614"/>
                  <a:pt x="8930896" y="5056023"/>
                </a:cubicBezTo>
                <a:cubicBezTo>
                  <a:pt x="8925305" y="5050433"/>
                  <a:pt x="8922510" y="5043376"/>
                  <a:pt x="8922510" y="5034857"/>
                </a:cubicBezTo>
                <a:cubicBezTo>
                  <a:pt x="8922510" y="5026604"/>
                  <a:pt x="8925305" y="5019549"/>
                  <a:pt x="8930896" y="5013825"/>
                </a:cubicBezTo>
                <a:cubicBezTo>
                  <a:pt x="8936487" y="5008100"/>
                  <a:pt x="8943675" y="5005305"/>
                  <a:pt x="8952728" y="5005305"/>
                </a:cubicBezTo>
                <a:close/>
                <a:moveTo>
                  <a:pt x="8735083" y="5005305"/>
                </a:moveTo>
                <a:cubicBezTo>
                  <a:pt x="8739342" y="5005305"/>
                  <a:pt x="8743203" y="5006104"/>
                  <a:pt x="8746797" y="5007834"/>
                </a:cubicBezTo>
                <a:cubicBezTo>
                  <a:pt x="8750391" y="5009432"/>
                  <a:pt x="8753586" y="5011561"/>
                  <a:pt x="8756115" y="5014224"/>
                </a:cubicBezTo>
                <a:cubicBezTo>
                  <a:pt x="8758644" y="5016753"/>
                  <a:pt x="8760774" y="5019948"/>
                  <a:pt x="8762238" y="5023542"/>
                </a:cubicBezTo>
                <a:cubicBezTo>
                  <a:pt x="8763702" y="5027136"/>
                  <a:pt x="8764502" y="5030996"/>
                  <a:pt x="8764502" y="5034990"/>
                </a:cubicBezTo>
                <a:cubicBezTo>
                  <a:pt x="8764502" y="5039117"/>
                  <a:pt x="8763702" y="5043110"/>
                  <a:pt x="8762238" y="5046705"/>
                </a:cubicBezTo>
                <a:cubicBezTo>
                  <a:pt x="8760641" y="5050299"/>
                  <a:pt x="8758644" y="5053361"/>
                  <a:pt x="8756115" y="5056023"/>
                </a:cubicBezTo>
                <a:cubicBezTo>
                  <a:pt x="8753453" y="5058686"/>
                  <a:pt x="8750391" y="5060816"/>
                  <a:pt x="8746797" y="5062280"/>
                </a:cubicBezTo>
                <a:cubicBezTo>
                  <a:pt x="8743203" y="5063744"/>
                  <a:pt x="8739342" y="5064543"/>
                  <a:pt x="8735083" y="5064543"/>
                </a:cubicBezTo>
                <a:cubicBezTo>
                  <a:pt x="8726030" y="5064543"/>
                  <a:pt x="8718841" y="5061614"/>
                  <a:pt x="8713250" y="5056023"/>
                </a:cubicBezTo>
                <a:cubicBezTo>
                  <a:pt x="8707660" y="5050433"/>
                  <a:pt x="8704864" y="5043376"/>
                  <a:pt x="8704864" y="5034857"/>
                </a:cubicBezTo>
                <a:cubicBezTo>
                  <a:pt x="8704864" y="5026604"/>
                  <a:pt x="8707660" y="5019549"/>
                  <a:pt x="8713250" y="5013825"/>
                </a:cubicBezTo>
                <a:cubicBezTo>
                  <a:pt x="8718841" y="5008100"/>
                  <a:pt x="8726030" y="5005305"/>
                  <a:pt x="8735083" y="5005305"/>
                </a:cubicBezTo>
                <a:close/>
                <a:moveTo>
                  <a:pt x="8517438" y="5005305"/>
                </a:moveTo>
                <a:cubicBezTo>
                  <a:pt x="8521698" y="5005305"/>
                  <a:pt x="8525559" y="5006104"/>
                  <a:pt x="8529152" y="5007834"/>
                </a:cubicBezTo>
                <a:cubicBezTo>
                  <a:pt x="8532880" y="5009432"/>
                  <a:pt x="8535941" y="5011561"/>
                  <a:pt x="8538470" y="5014224"/>
                </a:cubicBezTo>
                <a:cubicBezTo>
                  <a:pt x="8541000" y="5016753"/>
                  <a:pt x="8543130" y="5019948"/>
                  <a:pt x="8544594" y="5023542"/>
                </a:cubicBezTo>
                <a:cubicBezTo>
                  <a:pt x="8546058" y="5027136"/>
                  <a:pt x="8546857" y="5030996"/>
                  <a:pt x="8546857" y="5034990"/>
                </a:cubicBezTo>
                <a:cubicBezTo>
                  <a:pt x="8546857" y="5039117"/>
                  <a:pt x="8546058" y="5043110"/>
                  <a:pt x="8544594" y="5046705"/>
                </a:cubicBezTo>
                <a:cubicBezTo>
                  <a:pt x="8542997" y="5050299"/>
                  <a:pt x="8541000" y="5053361"/>
                  <a:pt x="8538470" y="5056023"/>
                </a:cubicBezTo>
                <a:cubicBezTo>
                  <a:pt x="8535808" y="5058686"/>
                  <a:pt x="8532747" y="5060816"/>
                  <a:pt x="8529152" y="5062280"/>
                </a:cubicBezTo>
                <a:cubicBezTo>
                  <a:pt x="8525559" y="5063744"/>
                  <a:pt x="8521698" y="5064543"/>
                  <a:pt x="8517438" y="5064543"/>
                </a:cubicBezTo>
                <a:cubicBezTo>
                  <a:pt x="8508385" y="5064543"/>
                  <a:pt x="8501197" y="5061614"/>
                  <a:pt x="8495606" y="5056023"/>
                </a:cubicBezTo>
                <a:cubicBezTo>
                  <a:pt x="8490015" y="5050433"/>
                  <a:pt x="8487220" y="5043376"/>
                  <a:pt x="8487220" y="5034857"/>
                </a:cubicBezTo>
                <a:cubicBezTo>
                  <a:pt x="8487220" y="5026604"/>
                  <a:pt x="8490015" y="5019549"/>
                  <a:pt x="8495606" y="5013825"/>
                </a:cubicBezTo>
                <a:cubicBezTo>
                  <a:pt x="8501197" y="5008100"/>
                  <a:pt x="8508385" y="5005305"/>
                  <a:pt x="8517438" y="5005305"/>
                </a:cubicBezTo>
                <a:close/>
                <a:moveTo>
                  <a:pt x="8299793" y="5005305"/>
                </a:moveTo>
                <a:cubicBezTo>
                  <a:pt x="8304052" y="5005305"/>
                  <a:pt x="8308046" y="5006104"/>
                  <a:pt x="8311507" y="5007834"/>
                </a:cubicBezTo>
                <a:cubicBezTo>
                  <a:pt x="8315235" y="5009432"/>
                  <a:pt x="8318296" y="5011561"/>
                  <a:pt x="8320825" y="5014224"/>
                </a:cubicBezTo>
                <a:cubicBezTo>
                  <a:pt x="8323354" y="5016753"/>
                  <a:pt x="8325484" y="5019948"/>
                  <a:pt x="8326948" y="5023542"/>
                </a:cubicBezTo>
                <a:cubicBezTo>
                  <a:pt x="8328413" y="5027136"/>
                  <a:pt x="8329212" y="5030996"/>
                  <a:pt x="8329212" y="5034990"/>
                </a:cubicBezTo>
                <a:cubicBezTo>
                  <a:pt x="8329212" y="5039117"/>
                  <a:pt x="8328413" y="5043110"/>
                  <a:pt x="8326948" y="5046705"/>
                </a:cubicBezTo>
                <a:cubicBezTo>
                  <a:pt x="8325351" y="5050299"/>
                  <a:pt x="8323354" y="5053361"/>
                  <a:pt x="8320825" y="5056023"/>
                </a:cubicBezTo>
                <a:cubicBezTo>
                  <a:pt x="8318163" y="5058686"/>
                  <a:pt x="8315101" y="5060816"/>
                  <a:pt x="8311507" y="5062280"/>
                </a:cubicBezTo>
                <a:cubicBezTo>
                  <a:pt x="8307913" y="5063744"/>
                  <a:pt x="8304052" y="5064543"/>
                  <a:pt x="8299793" y="5064543"/>
                </a:cubicBezTo>
                <a:cubicBezTo>
                  <a:pt x="8290874" y="5064543"/>
                  <a:pt x="8283553" y="5061614"/>
                  <a:pt x="8277960" y="5056023"/>
                </a:cubicBezTo>
                <a:cubicBezTo>
                  <a:pt x="8272370" y="5050433"/>
                  <a:pt x="8269574" y="5043376"/>
                  <a:pt x="8269574" y="5034857"/>
                </a:cubicBezTo>
                <a:cubicBezTo>
                  <a:pt x="8269574" y="5026604"/>
                  <a:pt x="8272370" y="5019549"/>
                  <a:pt x="8277960" y="5013825"/>
                </a:cubicBezTo>
                <a:cubicBezTo>
                  <a:pt x="8283553" y="5008100"/>
                  <a:pt x="8290741" y="5005305"/>
                  <a:pt x="8299793" y="5005305"/>
                </a:cubicBezTo>
                <a:close/>
                <a:moveTo>
                  <a:pt x="8082281" y="5005305"/>
                </a:moveTo>
                <a:cubicBezTo>
                  <a:pt x="8086407" y="5005305"/>
                  <a:pt x="8090401" y="5006104"/>
                  <a:pt x="8094127" y="5007834"/>
                </a:cubicBezTo>
                <a:cubicBezTo>
                  <a:pt x="8097855" y="5009432"/>
                  <a:pt x="8100916" y="5011561"/>
                  <a:pt x="8103446" y="5014224"/>
                </a:cubicBezTo>
                <a:cubicBezTo>
                  <a:pt x="8105975" y="5016753"/>
                  <a:pt x="8108104" y="5019948"/>
                  <a:pt x="8109569" y="5023542"/>
                </a:cubicBezTo>
                <a:cubicBezTo>
                  <a:pt x="8111033" y="5027136"/>
                  <a:pt x="8111832" y="5030996"/>
                  <a:pt x="8111832" y="5034990"/>
                </a:cubicBezTo>
                <a:cubicBezTo>
                  <a:pt x="8111832" y="5039117"/>
                  <a:pt x="8111033" y="5043110"/>
                  <a:pt x="8109569" y="5046705"/>
                </a:cubicBezTo>
                <a:cubicBezTo>
                  <a:pt x="8107972" y="5050299"/>
                  <a:pt x="8105975" y="5053361"/>
                  <a:pt x="8103446" y="5056023"/>
                </a:cubicBezTo>
                <a:cubicBezTo>
                  <a:pt x="8100783" y="5058686"/>
                  <a:pt x="8097722" y="5060816"/>
                  <a:pt x="8094127" y="5062280"/>
                </a:cubicBezTo>
                <a:cubicBezTo>
                  <a:pt x="8090401" y="5063744"/>
                  <a:pt x="8086540" y="5064543"/>
                  <a:pt x="8082281" y="5064543"/>
                </a:cubicBezTo>
                <a:cubicBezTo>
                  <a:pt x="8073361" y="5064543"/>
                  <a:pt x="8066040" y="5061614"/>
                  <a:pt x="8060448" y="5056023"/>
                </a:cubicBezTo>
                <a:cubicBezTo>
                  <a:pt x="8054857" y="5050433"/>
                  <a:pt x="8052062" y="5043376"/>
                  <a:pt x="8052062" y="5034857"/>
                </a:cubicBezTo>
                <a:cubicBezTo>
                  <a:pt x="8052062" y="5026604"/>
                  <a:pt x="8054857" y="5019549"/>
                  <a:pt x="8060448" y="5013825"/>
                </a:cubicBezTo>
                <a:cubicBezTo>
                  <a:pt x="8066040" y="5008100"/>
                  <a:pt x="8073228" y="5005305"/>
                  <a:pt x="8082281" y="5005305"/>
                </a:cubicBezTo>
                <a:close/>
                <a:moveTo>
                  <a:pt x="7864636" y="5005305"/>
                </a:moveTo>
                <a:cubicBezTo>
                  <a:pt x="7868762" y="5005305"/>
                  <a:pt x="7872756" y="5006104"/>
                  <a:pt x="7876483" y="5007834"/>
                </a:cubicBezTo>
                <a:cubicBezTo>
                  <a:pt x="7880210" y="5009432"/>
                  <a:pt x="7883272" y="5011561"/>
                  <a:pt x="7885802" y="5014224"/>
                </a:cubicBezTo>
                <a:cubicBezTo>
                  <a:pt x="7888331" y="5016753"/>
                  <a:pt x="7890460" y="5019948"/>
                  <a:pt x="7891924" y="5023542"/>
                </a:cubicBezTo>
                <a:cubicBezTo>
                  <a:pt x="7893389" y="5027136"/>
                  <a:pt x="7894188" y="5030996"/>
                  <a:pt x="7894188" y="5034990"/>
                </a:cubicBezTo>
                <a:cubicBezTo>
                  <a:pt x="7894188" y="5039117"/>
                  <a:pt x="7893389" y="5043110"/>
                  <a:pt x="7891924" y="5046705"/>
                </a:cubicBezTo>
                <a:cubicBezTo>
                  <a:pt x="7890327" y="5050299"/>
                  <a:pt x="7888331" y="5053361"/>
                  <a:pt x="7885802" y="5056023"/>
                </a:cubicBezTo>
                <a:cubicBezTo>
                  <a:pt x="7883139" y="5058686"/>
                  <a:pt x="7880078" y="5060816"/>
                  <a:pt x="7876483" y="5062280"/>
                </a:cubicBezTo>
                <a:cubicBezTo>
                  <a:pt x="7872756" y="5063744"/>
                  <a:pt x="7868895" y="5064543"/>
                  <a:pt x="7864636" y="5064543"/>
                </a:cubicBezTo>
                <a:cubicBezTo>
                  <a:pt x="7855717" y="5064543"/>
                  <a:pt x="7848396" y="5061614"/>
                  <a:pt x="7842803" y="5056023"/>
                </a:cubicBezTo>
                <a:cubicBezTo>
                  <a:pt x="7837213" y="5050433"/>
                  <a:pt x="7834417" y="5043376"/>
                  <a:pt x="7834417" y="5034857"/>
                </a:cubicBezTo>
                <a:cubicBezTo>
                  <a:pt x="7834417" y="5026604"/>
                  <a:pt x="7837213" y="5019549"/>
                  <a:pt x="7842803" y="5013825"/>
                </a:cubicBezTo>
                <a:cubicBezTo>
                  <a:pt x="7848396" y="5008100"/>
                  <a:pt x="7855584" y="5005305"/>
                  <a:pt x="7864636" y="5005305"/>
                </a:cubicBezTo>
                <a:close/>
                <a:moveTo>
                  <a:pt x="7646991" y="5005305"/>
                </a:moveTo>
                <a:cubicBezTo>
                  <a:pt x="7651250" y="5005305"/>
                  <a:pt x="7655111" y="5006104"/>
                  <a:pt x="7658705" y="5007834"/>
                </a:cubicBezTo>
                <a:cubicBezTo>
                  <a:pt x="7662432" y="5009432"/>
                  <a:pt x="7665493" y="5011561"/>
                  <a:pt x="7668022" y="5014224"/>
                </a:cubicBezTo>
                <a:cubicBezTo>
                  <a:pt x="7670552" y="5016753"/>
                  <a:pt x="7672682" y="5019948"/>
                  <a:pt x="7674146" y="5023542"/>
                </a:cubicBezTo>
                <a:cubicBezTo>
                  <a:pt x="7675610" y="5027136"/>
                  <a:pt x="7676409" y="5030996"/>
                  <a:pt x="7676409" y="5034990"/>
                </a:cubicBezTo>
                <a:cubicBezTo>
                  <a:pt x="7676409" y="5039117"/>
                  <a:pt x="7675610" y="5043110"/>
                  <a:pt x="7674146" y="5046705"/>
                </a:cubicBezTo>
                <a:cubicBezTo>
                  <a:pt x="7672549" y="5050299"/>
                  <a:pt x="7670552" y="5053361"/>
                  <a:pt x="7668022" y="5056023"/>
                </a:cubicBezTo>
                <a:cubicBezTo>
                  <a:pt x="7665361" y="5058686"/>
                  <a:pt x="7662299" y="5060816"/>
                  <a:pt x="7658705" y="5062280"/>
                </a:cubicBezTo>
                <a:cubicBezTo>
                  <a:pt x="7655111" y="5063744"/>
                  <a:pt x="7651250" y="5064543"/>
                  <a:pt x="7646991" y="5064543"/>
                </a:cubicBezTo>
                <a:cubicBezTo>
                  <a:pt x="7638071" y="5064543"/>
                  <a:pt x="7630750" y="5061614"/>
                  <a:pt x="7625158" y="5056023"/>
                </a:cubicBezTo>
                <a:cubicBezTo>
                  <a:pt x="7619568" y="5050433"/>
                  <a:pt x="7616772" y="5043376"/>
                  <a:pt x="7616772" y="5034857"/>
                </a:cubicBezTo>
                <a:cubicBezTo>
                  <a:pt x="7616772" y="5026604"/>
                  <a:pt x="7619568" y="5019549"/>
                  <a:pt x="7625158" y="5013825"/>
                </a:cubicBezTo>
                <a:cubicBezTo>
                  <a:pt x="7630750" y="5008100"/>
                  <a:pt x="7637939" y="5005305"/>
                  <a:pt x="7646991" y="5005305"/>
                </a:cubicBezTo>
                <a:close/>
                <a:moveTo>
                  <a:pt x="7429345" y="5005305"/>
                </a:moveTo>
                <a:cubicBezTo>
                  <a:pt x="7433605" y="5005305"/>
                  <a:pt x="7437466" y="5006104"/>
                  <a:pt x="7441059" y="5007834"/>
                </a:cubicBezTo>
                <a:cubicBezTo>
                  <a:pt x="7444787" y="5009432"/>
                  <a:pt x="7447848" y="5011561"/>
                  <a:pt x="7450377" y="5014224"/>
                </a:cubicBezTo>
                <a:cubicBezTo>
                  <a:pt x="7452907" y="5016753"/>
                  <a:pt x="7455036" y="5019948"/>
                  <a:pt x="7456501" y="5023542"/>
                </a:cubicBezTo>
                <a:cubicBezTo>
                  <a:pt x="7457965" y="5027136"/>
                  <a:pt x="7458764" y="5030996"/>
                  <a:pt x="7458764" y="5034990"/>
                </a:cubicBezTo>
                <a:cubicBezTo>
                  <a:pt x="7458764" y="5039117"/>
                  <a:pt x="7457965" y="5043110"/>
                  <a:pt x="7456501" y="5046705"/>
                </a:cubicBezTo>
                <a:cubicBezTo>
                  <a:pt x="7454904" y="5050299"/>
                  <a:pt x="7452907" y="5053361"/>
                  <a:pt x="7450377" y="5056023"/>
                </a:cubicBezTo>
                <a:cubicBezTo>
                  <a:pt x="7447715" y="5058686"/>
                  <a:pt x="7444654" y="5060816"/>
                  <a:pt x="7441059" y="5062280"/>
                </a:cubicBezTo>
                <a:cubicBezTo>
                  <a:pt x="7437466" y="5063744"/>
                  <a:pt x="7433605" y="5064543"/>
                  <a:pt x="7429345" y="5064543"/>
                </a:cubicBezTo>
                <a:cubicBezTo>
                  <a:pt x="7420426" y="5064543"/>
                  <a:pt x="7413105" y="5061614"/>
                  <a:pt x="7407513" y="5056023"/>
                </a:cubicBezTo>
                <a:cubicBezTo>
                  <a:pt x="7401922" y="5050433"/>
                  <a:pt x="7399127" y="5043376"/>
                  <a:pt x="7399127" y="5034857"/>
                </a:cubicBezTo>
                <a:cubicBezTo>
                  <a:pt x="7399127" y="5026604"/>
                  <a:pt x="7401922" y="5019549"/>
                  <a:pt x="7407513" y="5013825"/>
                </a:cubicBezTo>
                <a:cubicBezTo>
                  <a:pt x="7413105" y="5008100"/>
                  <a:pt x="7420293" y="5005305"/>
                  <a:pt x="7429345" y="5005305"/>
                </a:cubicBezTo>
                <a:close/>
                <a:moveTo>
                  <a:pt x="7211701" y="5005305"/>
                </a:moveTo>
                <a:cubicBezTo>
                  <a:pt x="7215960" y="5005305"/>
                  <a:pt x="7219954" y="5006104"/>
                  <a:pt x="7223415" y="5007834"/>
                </a:cubicBezTo>
                <a:cubicBezTo>
                  <a:pt x="7227142" y="5009432"/>
                  <a:pt x="7230204" y="5011561"/>
                  <a:pt x="7232733" y="5014224"/>
                </a:cubicBezTo>
                <a:cubicBezTo>
                  <a:pt x="7235262" y="5016753"/>
                  <a:pt x="7237392" y="5019948"/>
                  <a:pt x="7238856" y="5023542"/>
                </a:cubicBezTo>
                <a:cubicBezTo>
                  <a:pt x="7240321" y="5027136"/>
                  <a:pt x="7241120" y="5030996"/>
                  <a:pt x="7241120" y="5034990"/>
                </a:cubicBezTo>
                <a:cubicBezTo>
                  <a:pt x="7241120" y="5039117"/>
                  <a:pt x="7240321" y="5043110"/>
                  <a:pt x="7238856" y="5046705"/>
                </a:cubicBezTo>
                <a:cubicBezTo>
                  <a:pt x="7237259" y="5050299"/>
                  <a:pt x="7235262" y="5053361"/>
                  <a:pt x="7232733" y="5056023"/>
                </a:cubicBezTo>
                <a:cubicBezTo>
                  <a:pt x="7230071" y="5058686"/>
                  <a:pt x="7227009" y="5060816"/>
                  <a:pt x="7223415" y="5062280"/>
                </a:cubicBezTo>
                <a:cubicBezTo>
                  <a:pt x="7219821" y="5063744"/>
                  <a:pt x="7215960" y="5064543"/>
                  <a:pt x="7211701" y="5064543"/>
                </a:cubicBezTo>
                <a:cubicBezTo>
                  <a:pt x="7202782" y="5064543"/>
                  <a:pt x="7195460" y="5061614"/>
                  <a:pt x="7189868" y="5056023"/>
                </a:cubicBezTo>
                <a:cubicBezTo>
                  <a:pt x="7184278" y="5050433"/>
                  <a:pt x="7181482" y="5043376"/>
                  <a:pt x="7181482" y="5034857"/>
                </a:cubicBezTo>
                <a:cubicBezTo>
                  <a:pt x="7181482" y="5026604"/>
                  <a:pt x="7184278" y="5019549"/>
                  <a:pt x="7189868" y="5013825"/>
                </a:cubicBezTo>
                <a:cubicBezTo>
                  <a:pt x="7195460" y="5008100"/>
                  <a:pt x="7202649" y="5005305"/>
                  <a:pt x="7211701" y="5005305"/>
                </a:cubicBezTo>
                <a:close/>
                <a:moveTo>
                  <a:pt x="6994056" y="5005305"/>
                </a:moveTo>
                <a:cubicBezTo>
                  <a:pt x="6998315" y="5005305"/>
                  <a:pt x="7002309" y="5006104"/>
                  <a:pt x="7005769" y="5007834"/>
                </a:cubicBezTo>
                <a:cubicBezTo>
                  <a:pt x="7009497" y="5009432"/>
                  <a:pt x="7012558" y="5011561"/>
                  <a:pt x="7015087" y="5014224"/>
                </a:cubicBezTo>
                <a:cubicBezTo>
                  <a:pt x="7017617" y="5016753"/>
                  <a:pt x="7019747" y="5019948"/>
                  <a:pt x="7021211" y="5023542"/>
                </a:cubicBezTo>
                <a:cubicBezTo>
                  <a:pt x="7022675" y="5027136"/>
                  <a:pt x="7023474" y="5030996"/>
                  <a:pt x="7023474" y="5034990"/>
                </a:cubicBezTo>
                <a:cubicBezTo>
                  <a:pt x="7023474" y="5039117"/>
                  <a:pt x="7022675" y="5043110"/>
                  <a:pt x="7021211" y="5046705"/>
                </a:cubicBezTo>
                <a:cubicBezTo>
                  <a:pt x="7019614" y="5050299"/>
                  <a:pt x="7017617" y="5053361"/>
                  <a:pt x="7015087" y="5056023"/>
                </a:cubicBezTo>
                <a:cubicBezTo>
                  <a:pt x="7012425" y="5058686"/>
                  <a:pt x="7009364" y="5060816"/>
                  <a:pt x="7005769" y="5062280"/>
                </a:cubicBezTo>
                <a:cubicBezTo>
                  <a:pt x="7002176" y="5063744"/>
                  <a:pt x="6998315" y="5064543"/>
                  <a:pt x="6994056" y="5064543"/>
                </a:cubicBezTo>
                <a:cubicBezTo>
                  <a:pt x="6985136" y="5064543"/>
                  <a:pt x="6977815" y="5061614"/>
                  <a:pt x="6972223" y="5056023"/>
                </a:cubicBezTo>
                <a:cubicBezTo>
                  <a:pt x="6966632" y="5050433"/>
                  <a:pt x="6963837" y="5043376"/>
                  <a:pt x="6963837" y="5034857"/>
                </a:cubicBezTo>
                <a:cubicBezTo>
                  <a:pt x="6963837" y="5026604"/>
                  <a:pt x="6966632" y="5019549"/>
                  <a:pt x="6972223" y="5013825"/>
                </a:cubicBezTo>
                <a:cubicBezTo>
                  <a:pt x="6977815" y="5008100"/>
                  <a:pt x="6985003" y="5005305"/>
                  <a:pt x="6994056" y="5005305"/>
                </a:cubicBezTo>
                <a:close/>
                <a:moveTo>
                  <a:pt x="6776544" y="5005305"/>
                </a:moveTo>
                <a:cubicBezTo>
                  <a:pt x="6780670" y="5005305"/>
                  <a:pt x="6784664" y="5006104"/>
                  <a:pt x="6788258" y="5007834"/>
                </a:cubicBezTo>
                <a:cubicBezTo>
                  <a:pt x="6791985" y="5009432"/>
                  <a:pt x="6795047" y="5011561"/>
                  <a:pt x="6797576" y="5014224"/>
                </a:cubicBezTo>
                <a:cubicBezTo>
                  <a:pt x="6800105" y="5016753"/>
                  <a:pt x="6802235" y="5019948"/>
                  <a:pt x="6803699" y="5023542"/>
                </a:cubicBezTo>
                <a:cubicBezTo>
                  <a:pt x="6805164" y="5027136"/>
                  <a:pt x="6805963" y="5030996"/>
                  <a:pt x="6805963" y="5034990"/>
                </a:cubicBezTo>
                <a:cubicBezTo>
                  <a:pt x="6805963" y="5039117"/>
                  <a:pt x="6805164" y="5043110"/>
                  <a:pt x="6803699" y="5046705"/>
                </a:cubicBezTo>
                <a:cubicBezTo>
                  <a:pt x="6802102" y="5050299"/>
                  <a:pt x="6800105" y="5053361"/>
                  <a:pt x="6797576" y="5056023"/>
                </a:cubicBezTo>
                <a:cubicBezTo>
                  <a:pt x="6794914" y="5058686"/>
                  <a:pt x="6791852" y="5060816"/>
                  <a:pt x="6788258" y="5062280"/>
                </a:cubicBezTo>
                <a:cubicBezTo>
                  <a:pt x="6784664" y="5063744"/>
                  <a:pt x="6780803" y="5064543"/>
                  <a:pt x="6776544" y="5064543"/>
                </a:cubicBezTo>
                <a:cubicBezTo>
                  <a:pt x="6767625" y="5064543"/>
                  <a:pt x="6760303" y="5061614"/>
                  <a:pt x="6754711" y="5056023"/>
                </a:cubicBezTo>
                <a:cubicBezTo>
                  <a:pt x="6749121" y="5050433"/>
                  <a:pt x="6746325" y="5043376"/>
                  <a:pt x="6746325" y="5034857"/>
                </a:cubicBezTo>
                <a:cubicBezTo>
                  <a:pt x="6746325" y="5026604"/>
                  <a:pt x="6749121" y="5019549"/>
                  <a:pt x="6754711" y="5013825"/>
                </a:cubicBezTo>
                <a:cubicBezTo>
                  <a:pt x="6760303" y="5008100"/>
                  <a:pt x="6767492" y="5005305"/>
                  <a:pt x="6776544" y="5005305"/>
                </a:cubicBezTo>
                <a:close/>
                <a:moveTo>
                  <a:pt x="6558899" y="5005305"/>
                </a:moveTo>
                <a:cubicBezTo>
                  <a:pt x="6563158" y="5005305"/>
                  <a:pt x="6567019" y="5006104"/>
                  <a:pt x="6570612" y="5007834"/>
                </a:cubicBezTo>
                <a:cubicBezTo>
                  <a:pt x="6574340" y="5009432"/>
                  <a:pt x="6577401" y="5011561"/>
                  <a:pt x="6579930" y="5014224"/>
                </a:cubicBezTo>
                <a:cubicBezTo>
                  <a:pt x="6582460" y="5016753"/>
                  <a:pt x="6584590" y="5019948"/>
                  <a:pt x="6586054" y="5023542"/>
                </a:cubicBezTo>
                <a:cubicBezTo>
                  <a:pt x="6587518" y="5027136"/>
                  <a:pt x="6588317" y="5030996"/>
                  <a:pt x="6588317" y="5034990"/>
                </a:cubicBezTo>
                <a:cubicBezTo>
                  <a:pt x="6588317" y="5039117"/>
                  <a:pt x="6587518" y="5043110"/>
                  <a:pt x="6586054" y="5046705"/>
                </a:cubicBezTo>
                <a:cubicBezTo>
                  <a:pt x="6584457" y="5050299"/>
                  <a:pt x="6582460" y="5053361"/>
                  <a:pt x="6579930" y="5056023"/>
                </a:cubicBezTo>
                <a:cubicBezTo>
                  <a:pt x="6577268" y="5058686"/>
                  <a:pt x="6574207" y="5060816"/>
                  <a:pt x="6570612" y="5062280"/>
                </a:cubicBezTo>
                <a:cubicBezTo>
                  <a:pt x="6567019" y="5063744"/>
                  <a:pt x="6563158" y="5064543"/>
                  <a:pt x="6558899" y="5064543"/>
                </a:cubicBezTo>
                <a:cubicBezTo>
                  <a:pt x="6549979" y="5064543"/>
                  <a:pt x="6542658" y="5061614"/>
                  <a:pt x="6537066" y="5056023"/>
                </a:cubicBezTo>
                <a:cubicBezTo>
                  <a:pt x="6531476" y="5050433"/>
                  <a:pt x="6528680" y="5043376"/>
                  <a:pt x="6528680" y="5034857"/>
                </a:cubicBezTo>
                <a:cubicBezTo>
                  <a:pt x="6528680" y="5026604"/>
                  <a:pt x="6531476" y="5019549"/>
                  <a:pt x="6537066" y="5013825"/>
                </a:cubicBezTo>
                <a:cubicBezTo>
                  <a:pt x="6542658" y="5008100"/>
                  <a:pt x="6549846" y="5005305"/>
                  <a:pt x="6558899" y="5005305"/>
                </a:cubicBezTo>
                <a:close/>
                <a:moveTo>
                  <a:pt x="6341253" y="5005305"/>
                </a:moveTo>
                <a:cubicBezTo>
                  <a:pt x="6345513" y="5005305"/>
                  <a:pt x="6349373" y="5006104"/>
                  <a:pt x="6352968" y="5007834"/>
                </a:cubicBezTo>
                <a:cubicBezTo>
                  <a:pt x="6356695" y="5009432"/>
                  <a:pt x="6359757" y="5011561"/>
                  <a:pt x="6362286" y="5014224"/>
                </a:cubicBezTo>
                <a:cubicBezTo>
                  <a:pt x="6364815" y="5016753"/>
                  <a:pt x="6366945" y="5019948"/>
                  <a:pt x="6368409" y="5023542"/>
                </a:cubicBezTo>
                <a:cubicBezTo>
                  <a:pt x="6369874" y="5027136"/>
                  <a:pt x="6370672" y="5030996"/>
                  <a:pt x="6370672" y="5034990"/>
                </a:cubicBezTo>
                <a:cubicBezTo>
                  <a:pt x="6370672" y="5039117"/>
                  <a:pt x="6369874" y="5043110"/>
                  <a:pt x="6368409" y="5046705"/>
                </a:cubicBezTo>
                <a:cubicBezTo>
                  <a:pt x="6366811" y="5050299"/>
                  <a:pt x="6364815" y="5053361"/>
                  <a:pt x="6362286" y="5056023"/>
                </a:cubicBezTo>
                <a:cubicBezTo>
                  <a:pt x="6359623" y="5058686"/>
                  <a:pt x="6356562" y="5060816"/>
                  <a:pt x="6352968" y="5062280"/>
                </a:cubicBezTo>
                <a:cubicBezTo>
                  <a:pt x="6349373" y="5063744"/>
                  <a:pt x="6345513" y="5064543"/>
                  <a:pt x="6341253" y="5064543"/>
                </a:cubicBezTo>
                <a:cubicBezTo>
                  <a:pt x="6332335" y="5064543"/>
                  <a:pt x="6325013" y="5061614"/>
                  <a:pt x="6319421" y="5056023"/>
                </a:cubicBezTo>
                <a:cubicBezTo>
                  <a:pt x="6313830" y="5050433"/>
                  <a:pt x="6311035" y="5043376"/>
                  <a:pt x="6311035" y="5034857"/>
                </a:cubicBezTo>
                <a:cubicBezTo>
                  <a:pt x="6311035" y="5026604"/>
                  <a:pt x="6313830" y="5019549"/>
                  <a:pt x="6319421" y="5013825"/>
                </a:cubicBezTo>
                <a:cubicBezTo>
                  <a:pt x="6325013" y="5008100"/>
                  <a:pt x="6332201" y="5005305"/>
                  <a:pt x="6341253" y="5005305"/>
                </a:cubicBezTo>
                <a:close/>
                <a:moveTo>
                  <a:pt x="6123608" y="5005305"/>
                </a:moveTo>
                <a:cubicBezTo>
                  <a:pt x="6127867" y="5005305"/>
                  <a:pt x="6131728" y="5006104"/>
                  <a:pt x="6135322" y="5007834"/>
                </a:cubicBezTo>
                <a:cubicBezTo>
                  <a:pt x="6139049" y="5009432"/>
                  <a:pt x="6142111" y="5011561"/>
                  <a:pt x="6144640" y="5014224"/>
                </a:cubicBezTo>
                <a:cubicBezTo>
                  <a:pt x="6147169" y="5016753"/>
                  <a:pt x="6149299" y="5019948"/>
                  <a:pt x="6150763" y="5023542"/>
                </a:cubicBezTo>
                <a:cubicBezTo>
                  <a:pt x="6152228" y="5027136"/>
                  <a:pt x="6153026" y="5030996"/>
                  <a:pt x="6153026" y="5034990"/>
                </a:cubicBezTo>
                <a:cubicBezTo>
                  <a:pt x="6153026" y="5039117"/>
                  <a:pt x="6152228" y="5043110"/>
                  <a:pt x="6150763" y="5046705"/>
                </a:cubicBezTo>
                <a:cubicBezTo>
                  <a:pt x="6149299" y="5050299"/>
                  <a:pt x="6147169" y="5053361"/>
                  <a:pt x="6144640" y="5056023"/>
                </a:cubicBezTo>
                <a:cubicBezTo>
                  <a:pt x="6141977" y="5058686"/>
                  <a:pt x="6138916" y="5060816"/>
                  <a:pt x="6135322" y="5062280"/>
                </a:cubicBezTo>
                <a:cubicBezTo>
                  <a:pt x="6131728" y="5063744"/>
                  <a:pt x="6127867" y="5064543"/>
                  <a:pt x="6123608" y="5064543"/>
                </a:cubicBezTo>
                <a:cubicBezTo>
                  <a:pt x="6114689" y="5064543"/>
                  <a:pt x="6107367" y="5061614"/>
                  <a:pt x="6101775" y="5056023"/>
                </a:cubicBezTo>
                <a:cubicBezTo>
                  <a:pt x="6096184" y="5050433"/>
                  <a:pt x="6093389" y="5043376"/>
                  <a:pt x="6093389" y="5034857"/>
                </a:cubicBezTo>
                <a:cubicBezTo>
                  <a:pt x="6093389" y="5026604"/>
                  <a:pt x="6096184" y="5019549"/>
                  <a:pt x="6101775" y="5013825"/>
                </a:cubicBezTo>
                <a:cubicBezTo>
                  <a:pt x="6107367" y="5008100"/>
                  <a:pt x="6114555" y="5005305"/>
                  <a:pt x="6123608" y="5005305"/>
                </a:cubicBezTo>
                <a:close/>
                <a:moveTo>
                  <a:pt x="5905963" y="5005305"/>
                </a:moveTo>
                <a:cubicBezTo>
                  <a:pt x="5910222" y="5005305"/>
                  <a:pt x="5914216" y="5006104"/>
                  <a:pt x="5917677" y="5007834"/>
                </a:cubicBezTo>
                <a:cubicBezTo>
                  <a:pt x="5921404" y="5009432"/>
                  <a:pt x="5924466" y="5011561"/>
                  <a:pt x="5926995" y="5014224"/>
                </a:cubicBezTo>
                <a:cubicBezTo>
                  <a:pt x="5929524" y="5016753"/>
                  <a:pt x="5931654" y="5019948"/>
                  <a:pt x="5933118" y="5023542"/>
                </a:cubicBezTo>
                <a:cubicBezTo>
                  <a:pt x="5934583" y="5027136"/>
                  <a:pt x="5935381" y="5030996"/>
                  <a:pt x="5935381" y="5034990"/>
                </a:cubicBezTo>
                <a:cubicBezTo>
                  <a:pt x="5935381" y="5039117"/>
                  <a:pt x="5934583" y="5043110"/>
                  <a:pt x="5933118" y="5046705"/>
                </a:cubicBezTo>
                <a:cubicBezTo>
                  <a:pt x="5931654" y="5050299"/>
                  <a:pt x="5929524" y="5053361"/>
                  <a:pt x="5926995" y="5056023"/>
                </a:cubicBezTo>
                <a:cubicBezTo>
                  <a:pt x="5924333" y="5058686"/>
                  <a:pt x="5921271" y="5060816"/>
                  <a:pt x="5917677" y="5062280"/>
                </a:cubicBezTo>
                <a:cubicBezTo>
                  <a:pt x="5914083" y="5063744"/>
                  <a:pt x="5910222" y="5064543"/>
                  <a:pt x="5905963" y="5064543"/>
                </a:cubicBezTo>
                <a:cubicBezTo>
                  <a:pt x="5897044" y="5064543"/>
                  <a:pt x="5889722" y="5061614"/>
                  <a:pt x="5884130" y="5056023"/>
                </a:cubicBezTo>
                <a:cubicBezTo>
                  <a:pt x="5878540" y="5050433"/>
                  <a:pt x="5875744" y="5043376"/>
                  <a:pt x="5875744" y="5034857"/>
                </a:cubicBezTo>
                <a:cubicBezTo>
                  <a:pt x="5875744" y="5026604"/>
                  <a:pt x="5878540" y="5019549"/>
                  <a:pt x="5884130" y="5013825"/>
                </a:cubicBezTo>
                <a:cubicBezTo>
                  <a:pt x="5889722" y="5008100"/>
                  <a:pt x="5896910" y="5005305"/>
                  <a:pt x="5905963" y="5005305"/>
                </a:cubicBezTo>
                <a:close/>
                <a:moveTo>
                  <a:pt x="5688451" y="5005305"/>
                </a:moveTo>
                <a:cubicBezTo>
                  <a:pt x="5692577" y="5005305"/>
                  <a:pt x="5696571" y="5006104"/>
                  <a:pt x="5700165" y="5007834"/>
                </a:cubicBezTo>
                <a:cubicBezTo>
                  <a:pt x="5703892" y="5009432"/>
                  <a:pt x="5706954" y="5011561"/>
                  <a:pt x="5709483" y="5014224"/>
                </a:cubicBezTo>
                <a:cubicBezTo>
                  <a:pt x="5712012" y="5016753"/>
                  <a:pt x="5714142" y="5019948"/>
                  <a:pt x="5715606" y="5023542"/>
                </a:cubicBezTo>
                <a:cubicBezTo>
                  <a:pt x="5717071" y="5027136"/>
                  <a:pt x="5717869" y="5030996"/>
                  <a:pt x="5717869" y="5034990"/>
                </a:cubicBezTo>
                <a:cubicBezTo>
                  <a:pt x="5717869" y="5039117"/>
                  <a:pt x="5717071" y="5043110"/>
                  <a:pt x="5715606" y="5046705"/>
                </a:cubicBezTo>
                <a:cubicBezTo>
                  <a:pt x="5714142" y="5050299"/>
                  <a:pt x="5712012" y="5053361"/>
                  <a:pt x="5709483" y="5056023"/>
                </a:cubicBezTo>
                <a:cubicBezTo>
                  <a:pt x="5706820" y="5058686"/>
                  <a:pt x="5703759" y="5060816"/>
                  <a:pt x="5700165" y="5062280"/>
                </a:cubicBezTo>
                <a:cubicBezTo>
                  <a:pt x="5696571" y="5063744"/>
                  <a:pt x="5692710" y="5064543"/>
                  <a:pt x="5688451" y="5064543"/>
                </a:cubicBezTo>
                <a:cubicBezTo>
                  <a:pt x="5679532" y="5064543"/>
                  <a:pt x="5672210" y="5061614"/>
                  <a:pt x="5666618" y="5056023"/>
                </a:cubicBezTo>
                <a:cubicBezTo>
                  <a:pt x="5661028" y="5050433"/>
                  <a:pt x="5658232" y="5043376"/>
                  <a:pt x="5658232" y="5034857"/>
                </a:cubicBezTo>
                <a:cubicBezTo>
                  <a:pt x="5658232" y="5026604"/>
                  <a:pt x="5661028" y="5019549"/>
                  <a:pt x="5666618" y="5013825"/>
                </a:cubicBezTo>
                <a:cubicBezTo>
                  <a:pt x="5672210" y="5008100"/>
                  <a:pt x="5679398" y="5005305"/>
                  <a:pt x="5688451" y="5005305"/>
                </a:cubicBezTo>
                <a:close/>
                <a:moveTo>
                  <a:pt x="5470806" y="5005305"/>
                </a:moveTo>
                <a:cubicBezTo>
                  <a:pt x="5475065" y="5005305"/>
                  <a:pt x="5478926" y="5006104"/>
                  <a:pt x="5482520" y="5007834"/>
                </a:cubicBezTo>
                <a:cubicBezTo>
                  <a:pt x="5486247" y="5009432"/>
                  <a:pt x="5489309" y="5011561"/>
                  <a:pt x="5491838" y="5014224"/>
                </a:cubicBezTo>
                <a:cubicBezTo>
                  <a:pt x="5494367" y="5016753"/>
                  <a:pt x="5496497" y="5019948"/>
                  <a:pt x="5497961" y="5023542"/>
                </a:cubicBezTo>
                <a:cubicBezTo>
                  <a:pt x="5499426" y="5027136"/>
                  <a:pt x="5500224" y="5030996"/>
                  <a:pt x="5500224" y="5034990"/>
                </a:cubicBezTo>
                <a:cubicBezTo>
                  <a:pt x="5500224" y="5039117"/>
                  <a:pt x="5499426" y="5043110"/>
                  <a:pt x="5497961" y="5046705"/>
                </a:cubicBezTo>
                <a:cubicBezTo>
                  <a:pt x="5496497" y="5050299"/>
                  <a:pt x="5494367" y="5053361"/>
                  <a:pt x="5491838" y="5056023"/>
                </a:cubicBezTo>
                <a:cubicBezTo>
                  <a:pt x="5489176" y="5058686"/>
                  <a:pt x="5486114" y="5060816"/>
                  <a:pt x="5482520" y="5062280"/>
                </a:cubicBezTo>
                <a:cubicBezTo>
                  <a:pt x="5478926" y="5063744"/>
                  <a:pt x="5475065" y="5064543"/>
                  <a:pt x="5470806" y="5064543"/>
                </a:cubicBezTo>
                <a:cubicBezTo>
                  <a:pt x="5461887" y="5064543"/>
                  <a:pt x="5454565" y="5061614"/>
                  <a:pt x="5448973" y="5056023"/>
                </a:cubicBezTo>
                <a:cubicBezTo>
                  <a:pt x="5443383" y="5050433"/>
                  <a:pt x="5440587" y="5043376"/>
                  <a:pt x="5440587" y="5034857"/>
                </a:cubicBezTo>
                <a:cubicBezTo>
                  <a:pt x="5440587" y="5026604"/>
                  <a:pt x="5443383" y="5019549"/>
                  <a:pt x="5448973" y="5013825"/>
                </a:cubicBezTo>
                <a:cubicBezTo>
                  <a:pt x="5454565" y="5008100"/>
                  <a:pt x="5461754" y="5005305"/>
                  <a:pt x="5470806" y="5005305"/>
                </a:cubicBezTo>
                <a:close/>
                <a:moveTo>
                  <a:pt x="5253160" y="5005305"/>
                </a:moveTo>
                <a:cubicBezTo>
                  <a:pt x="5257420" y="5005305"/>
                  <a:pt x="5261280" y="5006104"/>
                  <a:pt x="5264875" y="5007834"/>
                </a:cubicBezTo>
                <a:cubicBezTo>
                  <a:pt x="5268602" y="5009432"/>
                  <a:pt x="5271664" y="5011561"/>
                  <a:pt x="5274192" y="5014224"/>
                </a:cubicBezTo>
                <a:cubicBezTo>
                  <a:pt x="5276722" y="5016753"/>
                  <a:pt x="5278852" y="5019948"/>
                  <a:pt x="5280316" y="5023542"/>
                </a:cubicBezTo>
                <a:cubicBezTo>
                  <a:pt x="5281780" y="5027136"/>
                  <a:pt x="5282579" y="5030996"/>
                  <a:pt x="5282579" y="5034990"/>
                </a:cubicBezTo>
                <a:cubicBezTo>
                  <a:pt x="5282579" y="5039117"/>
                  <a:pt x="5281780" y="5043110"/>
                  <a:pt x="5280316" y="5046705"/>
                </a:cubicBezTo>
                <a:cubicBezTo>
                  <a:pt x="5278852" y="5050299"/>
                  <a:pt x="5276722" y="5053361"/>
                  <a:pt x="5274192" y="5056023"/>
                </a:cubicBezTo>
                <a:cubicBezTo>
                  <a:pt x="5271664" y="5058686"/>
                  <a:pt x="5268469" y="5060816"/>
                  <a:pt x="5264875" y="5062280"/>
                </a:cubicBezTo>
                <a:cubicBezTo>
                  <a:pt x="5261280" y="5063744"/>
                  <a:pt x="5257420" y="5064543"/>
                  <a:pt x="5253160" y="5064543"/>
                </a:cubicBezTo>
                <a:cubicBezTo>
                  <a:pt x="5244241" y="5064543"/>
                  <a:pt x="5236920" y="5061614"/>
                  <a:pt x="5231328" y="5056023"/>
                </a:cubicBezTo>
                <a:cubicBezTo>
                  <a:pt x="5225737" y="5050433"/>
                  <a:pt x="5222942" y="5043376"/>
                  <a:pt x="5222942" y="5034857"/>
                </a:cubicBezTo>
                <a:cubicBezTo>
                  <a:pt x="5222942" y="5026604"/>
                  <a:pt x="5225737" y="5019549"/>
                  <a:pt x="5231328" y="5013825"/>
                </a:cubicBezTo>
                <a:cubicBezTo>
                  <a:pt x="5236920" y="5008100"/>
                  <a:pt x="5244108" y="5005305"/>
                  <a:pt x="5253160" y="5005305"/>
                </a:cubicBezTo>
                <a:close/>
                <a:moveTo>
                  <a:pt x="5035515" y="5005305"/>
                </a:moveTo>
                <a:cubicBezTo>
                  <a:pt x="5039775" y="5005305"/>
                  <a:pt x="5043636" y="5006104"/>
                  <a:pt x="5047230" y="5007834"/>
                </a:cubicBezTo>
                <a:cubicBezTo>
                  <a:pt x="5050957" y="5009432"/>
                  <a:pt x="5054019" y="5011561"/>
                  <a:pt x="5056548" y="5014224"/>
                </a:cubicBezTo>
                <a:cubicBezTo>
                  <a:pt x="5059077" y="5016753"/>
                  <a:pt x="5061207" y="5019948"/>
                  <a:pt x="5062671" y="5023542"/>
                </a:cubicBezTo>
                <a:cubicBezTo>
                  <a:pt x="5064135" y="5027136"/>
                  <a:pt x="5064934" y="5030996"/>
                  <a:pt x="5064934" y="5034990"/>
                </a:cubicBezTo>
                <a:cubicBezTo>
                  <a:pt x="5064934" y="5039117"/>
                  <a:pt x="5064135" y="5043110"/>
                  <a:pt x="5062671" y="5046705"/>
                </a:cubicBezTo>
                <a:cubicBezTo>
                  <a:pt x="5061207" y="5050299"/>
                  <a:pt x="5059077" y="5053361"/>
                  <a:pt x="5056548" y="5056023"/>
                </a:cubicBezTo>
                <a:cubicBezTo>
                  <a:pt x="5053885" y="5058686"/>
                  <a:pt x="5050824" y="5060816"/>
                  <a:pt x="5047230" y="5062280"/>
                </a:cubicBezTo>
                <a:cubicBezTo>
                  <a:pt x="5043636" y="5063744"/>
                  <a:pt x="5039775" y="5064543"/>
                  <a:pt x="5035515" y="5064543"/>
                </a:cubicBezTo>
                <a:cubicBezTo>
                  <a:pt x="5026597" y="5064543"/>
                  <a:pt x="5019275" y="5061614"/>
                  <a:pt x="5013683" y="5056023"/>
                </a:cubicBezTo>
                <a:cubicBezTo>
                  <a:pt x="5008092" y="5050433"/>
                  <a:pt x="5005297" y="5043376"/>
                  <a:pt x="5005297" y="5034857"/>
                </a:cubicBezTo>
                <a:cubicBezTo>
                  <a:pt x="5005297" y="5026604"/>
                  <a:pt x="5008092" y="5019549"/>
                  <a:pt x="5013683" y="5013825"/>
                </a:cubicBezTo>
                <a:cubicBezTo>
                  <a:pt x="5019275" y="5008100"/>
                  <a:pt x="5026463" y="5005305"/>
                  <a:pt x="5035515" y="5005305"/>
                </a:cubicBezTo>
                <a:close/>
                <a:moveTo>
                  <a:pt x="4817870" y="5005305"/>
                </a:moveTo>
                <a:cubicBezTo>
                  <a:pt x="4822130" y="5005305"/>
                  <a:pt x="4826124" y="5006104"/>
                  <a:pt x="4829585" y="5007834"/>
                </a:cubicBezTo>
                <a:cubicBezTo>
                  <a:pt x="4833312" y="5009432"/>
                  <a:pt x="4836374" y="5011561"/>
                  <a:pt x="4838903" y="5014224"/>
                </a:cubicBezTo>
                <a:cubicBezTo>
                  <a:pt x="4841432" y="5016753"/>
                  <a:pt x="4843562" y="5019948"/>
                  <a:pt x="4845026" y="5023542"/>
                </a:cubicBezTo>
                <a:cubicBezTo>
                  <a:pt x="4846491" y="5027136"/>
                  <a:pt x="4847289" y="5030996"/>
                  <a:pt x="4847289" y="5034990"/>
                </a:cubicBezTo>
                <a:cubicBezTo>
                  <a:pt x="4847289" y="5039117"/>
                  <a:pt x="4846491" y="5043110"/>
                  <a:pt x="4845026" y="5046705"/>
                </a:cubicBezTo>
                <a:cubicBezTo>
                  <a:pt x="4843562" y="5050299"/>
                  <a:pt x="4841432" y="5053361"/>
                  <a:pt x="4838903" y="5056023"/>
                </a:cubicBezTo>
                <a:cubicBezTo>
                  <a:pt x="4836240" y="5058686"/>
                  <a:pt x="4833179" y="5060816"/>
                  <a:pt x="4829585" y="5062280"/>
                </a:cubicBezTo>
                <a:cubicBezTo>
                  <a:pt x="4825991" y="5063744"/>
                  <a:pt x="4822130" y="5064543"/>
                  <a:pt x="4817870" y="5064543"/>
                </a:cubicBezTo>
                <a:cubicBezTo>
                  <a:pt x="4808952" y="5064543"/>
                  <a:pt x="4801630" y="5061614"/>
                  <a:pt x="4796038" y="5056023"/>
                </a:cubicBezTo>
                <a:cubicBezTo>
                  <a:pt x="4790447" y="5050433"/>
                  <a:pt x="4787652" y="5043376"/>
                  <a:pt x="4787652" y="5034857"/>
                </a:cubicBezTo>
                <a:cubicBezTo>
                  <a:pt x="4787652" y="5026604"/>
                  <a:pt x="4790447" y="5019549"/>
                  <a:pt x="4796038" y="5013825"/>
                </a:cubicBezTo>
                <a:cubicBezTo>
                  <a:pt x="4801630" y="5008100"/>
                  <a:pt x="4808818" y="5005305"/>
                  <a:pt x="4817870" y="5005305"/>
                </a:cubicBezTo>
                <a:close/>
                <a:moveTo>
                  <a:pt x="4600226" y="5005305"/>
                </a:moveTo>
                <a:cubicBezTo>
                  <a:pt x="4604485" y="5005305"/>
                  <a:pt x="4608479" y="5006104"/>
                  <a:pt x="4612073" y="5007834"/>
                </a:cubicBezTo>
                <a:cubicBezTo>
                  <a:pt x="4615800" y="5009432"/>
                  <a:pt x="4618862" y="5011561"/>
                  <a:pt x="4621391" y="5014224"/>
                </a:cubicBezTo>
                <a:cubicBezTo>
                  <a:pt x="4623920" y="5016753"/>
                  <a:pt x="4626050" y="5019948"/>
                  <a:pt x="4627514" y="5023542"/>
                </a:cubicBezTo>
                <a:cubicBezTo>
                  <a:pt x="4628978" y="5027136"/>
                  <a:pt x="4629777" y="5030996"/>
                  <a:pt x="4629777" y="5034990"/>
                </a:cubicBezTo>
                <a:cubicBezTo>
                  <a:pt x="4629777" y="5039117"/>
                  <a:pt x="4628978" y="5043110"/>
                  <a:pt x="4627514" y="5046705"/>
                </a:cubicBezTo>
                <a:cubicBezTo>
                  <a:pt x="4626050" y="5050299"/>
                  <a:pt x="4623920" y="5053361"/>
                  <a:pt x="4621391" y="5056023"/>
                </a:cubicBezTo>
                <a:cubicBezTo>
                  <a:pt x="4618729" y="5058686"/>
                  <a:pt x="4615667" y="5060816"/>
                  <a:pt x="4612073" y="5062280"/>
                </a:cubicBezTo>
                <a:cubicBezTo>
                  <a:pt x="4608346" y="5063744"/>
                  <a:pt x="4604485" y="5064543"/>
                  <a:pt x="4600226" y="5064543"/>
                </a:cubicBezTo>
                <a:cubicBezTo>
                  <a:pt x="4591173" y="5064543"/>
                  <a:pt x="4583985" y="5061614"/>
                  <a:pt x="4578393" y="5056023"/>
                </a:cubicBezTo>
                <a:cubicBezTo>
                  <a:pt x="4572803" y="5050433"/>
                  <a:pt x="4570007" y="5043376"/>
                  <a:pt x="4570007" y="5034857"/>
                </a:cubicBezTo>
                <a:cubicBezTo>
                  <a:pt x="4570007" y="5026604"/>
                  <a:pt x="4572803" y="5019549"/>
                  <a:pt x="4578393" y="5013825"/>
                </a:cubicBezTo>
                <a:cubicBezTo>
                  <a:pt x="4583985" y="5008100"/>
                  <a:pt x="4591173" y="5005305"/>
                  <a:pt x="4600226" y="5005305"/>
                </a:cubicBezTo>
                <a:close/>
                <a:moveTo>
                  <a:pt x="4382713" y="5005305"/>
                </a:moveTo>
                <a:cubicBezTo>
                  <a:pt x="4386840" y="5005305"/>
                  <a:pt x="4390834" y="5006104"/>
                  <a:pt x="4394428" y="5007834"/>
                </a:cubicBezTo>
                <a:cubicBezTo>
                  <a:pt x="4398155" y="5009432"/>
                  <a:pt x="4401217" y="5011561"/>
                  <a:pt x="4403746" y="5014224"/>
                </a:cubicBezTo>
                <a:cubicBezTo>
                  <a:pt x="4406275" y="5016753"/>
                  <a:pt x="4408405" y="5019948"/>
                  <a:pt x="4409869" y="5023542"/>
                </a:cubicBezTo>
                <a:cubicBezTo>
                  <a:pt x="4411334" y="5027136"/>
                  <a:pt x="4412132" y="5030996"/>
                  <a:pt x="4412132" y="5034990"/>
                </a:cubicBezTo>
                <a:cubicBezTo>
                  <a:pt x="4412132" y="5039117"/>
                  <a:pt x="4411334" y="5043110"/>
                  <a:pt x="4409869" y="5046705"/>
                </a:cubicBezTo>
                <a:cubicBezTo>
                  <a:pt x="4408405" y="5050299"/>
                  <a:pt x="4406275" y="5053361"/>
                  <a:pt x="4403746" y="5056023"/>
                </a:cubicBezTo>
                <a:cubicBezTo>
                  <a:pt x="4401083" y="5058686"/>
                  <a:pt x="4398022" y="5060816"/>
                  <a:pt x="4394428" y="5062280"/>
                </a:cubicBezTo>
                <a:cubicBezTo>
                  <a:pt x="4390834" y="5063744"/>
                  <a:pt x="4386973" y="5064543"/>
                  <a:pt x="4382713" y="5064543"/>
                </a:cubicBezTo>
                <a:cubicBezTo>
                  <a:pt x="4373661" y="5064543"/>
                  <a:pt x="4366473" y="5061614"/>
                  <a:pt x="4360881" y="5056023"/>
                </a:cubicBezTo>
                <a:cubicBezTo>
                  <a:pt x="4355290" y="5050433"/>
                  <a:pt x="4352495" y="5043376"/>
                  <a:pt x="4352495" y="5034857"/>
                </a:cubicBezTo>
                <a:cubicBezTo>
                  <a:pt x="4352495" y="5026604"/>
                  <a:pt x="4355290" y="5019549"/>
                  <a:pt x="4360881" y="5013825"/>
                </a:cubicBezTo>
                <a:cubicBezTo>
                  <a:pt x="4366473" y="5008100"/>
                  <a:pt x="4373661" y="5005305"/>
                  <a:pt x="4382713" y="5005305"/>
                </a:cubicBezTo>
                <a:close/>
                <a:moveTo>
                  <a:pt x="4165068" y="5005305"/>
                </a:moveTo>
                <a:cubicBezTo>
                  <a:pt x="4169327" y="5005305"/>
                  <a:pt x="4173188" y="5006104"/>
                  <a:pt x="4176782" y="5007834"/>
                </a:cubicBezTo>
                <a:cubicBezTo>
                  <a:pt x="4180509" y="5009432"/>
                  <a:pt x="4183571" y="5011561"/>
                  <a:pt x="4186100" y="5014224"/>
                </a:cubicBezTo>
                <a:cubicBezTo>
                  <a:pt x="4188629" y="5016753"/>
                  <a:pt x="4190759" y="5019948"/>
                  <a:pt x="4192223" y="5023542"/>
                </a:cubicBezTo>
                <a:cubicBezTo>
                  <a:pt x="4193688" y="5027136"/>
                  <a:pt x="4194486" y="5030996"/>
                  <a:pt x="4194486" y="5034990"/>
                </a:cubicBezTo>
                <a:cubicBezTo>
                  <a:pt x="4194486" y="5039117"/>
                  <a:pt x="4193688" y="5043110"/>
                  <a:pt x="4192223" y="5046705"/>
                </a:cubicBezTo>
                <a:cubicBezTo>
                  <a:pt x="4190759" y="5050299"/>
                  <a:pt x="4188629" y="5053361"/>
                  <a:pt x="4186100" y="5056023"/>
                </a:cubicBezTo>
                <a:cubicBezTo>
                  <a:pt x="4183438" y="5058686"/>
                  <a:pt x="4180376" y="5060816"/>
                  <a:pt x="4176782" y="5062280"/>
                </a:cubicBezTo>
                <a:cubicBezTo>
                  <a:pt x="4173188" y="5063744"/>
                  <a:pt x="4169327" y="5064543"/>
                  <a:pt x="4165068" y="5064543"/>
                </a:cubicBezTo>
                <a:cubicBezTo>
                  <a:pt x="4156015" y="5064543"/>
                  <a:pt x="4148827" y="5061614"/>
                  <a:pt x="4143235" y="5056023"/>
                </a:cubicBezTo>
                <a:cubicBezTo>
                  <a:pt x="4137645" y="5050433"/>
                  <a:pt x="4134849" y="5043376"/>
                  <a:pt x="4134849" y="5034857"/>
                </a:cubicBezTo>
                <a:cubicBezTo>
                  <a:pt x="4134849" y="5026604"/>
                  <a:pt x="4137645" y="5019549"/>
                  <a:pt x="4143235" y="5013825"/>
                </a:cubicBezTo>
                <a:cubicBezTo>
                  <a:pt x="4148827" y="5008100"/>
                  <a:pt x="4156015" y="5005305"/>
                  <a:pt x="4165068" y="5005305"/>
                </a:cubicBezTo>
                <a:close/>
                <a:moveTo>
                  <a:pt x="3947698" y="5005305"/>
                </a:moveTo>
                <a:cubicBezTo>
                  <a:pt x="3951960" y="5005305"/>
                  <a:pt x="3955820" y="5006104"/>
                  <a:pt x="3959415" y="5007834"/>
                </a:cubicBezTo>
                <a:cubicBezTo>
                  <a:pt x="3963144" y="5009432"/>
                  <a:pt x="3966204" y="5011561"/>
                  <a:pt x="3968733" y="5014224"/>
                </a:cubicBezTo>
                <a:cubicBezTo>
                  <a:pt x="3971264" y="5016753"/>
                  <a:pt x="3973393" y="5019948"/>
                  <a:pt x="3974857" y="5023542"/>
                </a:cubicBezTo>
                <a:cubicBezTo>
                  <a:pt x="3976322" y="5027136"/>
                  <a:pt x="3977121" y="5030996"/>
                  <a:pt x="3977121" y="5034990"/>
                </a:cubicBezTo>
                <a:cubicBezTo>
                  <a:pt x="3977121" y="5039117"/>
                  <a:pt x="3976322" y="5043110"/>
                  <a:pt x="3974857" y="5046705"/>
                </a:cubicBezTo>
                <a:cubicBezTo>
                  <a:pt x="3973393" y="5050299"/>
                  <a:pt x="3971264" y="5053361"/>
                  <a:pt x="3968733" y="5056023"/>
                </a:cubicBezTo>
                <a:cubicBezTo>
                  <a:pt x="3966072" y="5058686"/>
                  <a:pt x="3963010" y="5060816"/>
                  <a:pt x="3959415" y="5062280"/>
                </a:cubicBezTo>
                <a:cubicBezTo>
                  <a:pt x="3955820" y="5063744"/>
                  <a:pt x="3951960" y="5064543"/>
                  <a:pt x="3947698" y="5064543"/>
                </a:cubicBezTo>
                <a:cubicBezTo>
                  <a:pt x="3938645" y="5064543"/>
                  <a:pt x="3931457" y="5061614"/>
                  <a:pt x="3925865" y="5056023"/>
                </a:cubicBezTo>
                <a:cubicBezTo>
                  <a:pt x="3920274" y="5050433"/>
                  <a:pt x="3917479" y="5043376"/>
                  <a:pt x="3917479" y="5034857"/>
                </a:cubicBezTo>
                <a:cubicBezTo>
                  <a:pt x="3917479" y="5026604"/>
                  <a:pt x="3920274" y="5019549"/>
                  <a:pt x="3925865" y="5013825"/>
                </a:cubicBezTo>
                <a:cubicBezTo>
                  <a:pt x="3931457" y="5008100"/>
                  <a:pt x="3938645" y="5005305"/>
                  <a:pt x="3947698" y="5005305"/>
                </a:cubicBezTo>
                <a:close/>
                <a:moveTo>
                  <a:pt x="3730040" y="5005305"/>
                </a:moveTo>
                <a:cubicBezTo>
                  <a:pt x="3734301" y="5005305"/>
                  <a:pt x="3738294" y="5006104"/>
                  <a:pt x="3741756" y="5007834"/>
                </a:cubicBezTo>
                <a:cubicBezTo>
                  <a:pt x="3745350" y="5009432"/>
                  <a:pt x="3748545" y="5011561"/>
                  <a:pt x="3751074" y="5014224"/>
                </a:cubicBezTo>
                <a:cubicBezTo>
                  <a:pt x="3753603" y="5016753"/>
                  <a:pt x="3755733" y="5019948"/>
                  <a:pt x="3757197" y="5023542"/>
                </a:cubicBezTo>
                <a:cubicBezTo>
                  <a:pt x="3758661" y="5027136"/>
                  <a:pt x="3759460" y="5030996"/>
                  <a:pt x="3759460" y="5034990"/>
                </a:cubicBezTo>
                <a:cubicBezTo>
                  <a:pt x="3759460" y="5039117"/>
                  <a:pt x="3758661" y="5043110"/>
                  <a:pt x="3757197" y="5046705"/>
                </a:cubicBezTo>
                <a:cubicBezTo>
                  <a:pt x="3755733" y="5050299"/>
                  <a:pt x="3753603" y="5053361"/>
                  <a:pt x="3751074" y="5056023"/>
                </a:cubicBezTo>
                <a:cubicBezTo>
                  <a:pt x="3748411" y="5058686"/>
                  <a:pt x="3745350" y="5060816"/>
                  <a:pt x="3741756" y="5062280"/>
                </a:cubicBezTo>
                <a:cubicBezTo>
                  <a:pt x="3738162" y="5063744"/>
                  <a:pt x="3734301" y="5064543"/>
                  <a:pt x="3730040" y="5064543"/>
                </a:cubicBezTo>
                <a:cubicBezTo>
                  <a:pt x="3720988" y="5064543"/>
                  <a:pt x="3713798" y="5061614"/>
                  <a:pt x="3708201" y="5056023"/>
                </a:cubicBezTo>
                <a:cubicBezTo>
                  <a:pt x="3702608" y="5050433"/>
                  <a:pt x="3699815" y="5043376"/>
                  <a:pt x="3699815" y="5034857"/>
                </a:cubicBezTo>
                <a:cubicBezTo>
                  <a:pt x="3699815" y="5026604"/>
                  <a:pt x="3702608" y="5019549"/>
                  <a:pt x="3708201" y="5013825"/>
                </a:cubicBezTo>
                <a:cubicBezTo>
                  <a:pt x="3713798" y="5008100"/>
                  <a:pt x="3720988" y="5005305"/>
                  <a:pt x="3730040" y="5005305"/>
                </a:cubicBezTo>
                <a:close/>
                <a:moveTo>
                  <a:pt x="3512380" y="5005305"/>
                </a:moveTo>
                <a:cubicBezTo>
                  <a:pt x="3516641" y="5005305"/>
                  <a:pt x="3520635" y="5006104"/>
                  <a:pt x="3524097" y="5007834"/>
                </a:cubicBezTo>
                <a:cubicBezTo>
                  <a:pt x="3527690" y="5009432"/>
                  <a:pt x="3530885" y="5011561"/>
                  <a:pt x="3533415" y="5014224"/>
                </a:cubicBezTo>
                <a:cubicBezTo>
                  <a:pt x="3535944" y="5016753"/>
                  <a:pt x="3538074" y="5019948"/>
                  <a:pt x="3539538" y="5023542"/>
                </a:cubicBezTo>
                <a:cubicBezTo>
                  <a:pt x="3541002" y="5027136"/>
                  <a:pt x="3541801" y="5030996"/>
                  <a:pt x="3541801" y="5034990"/>
                </a:cubicBezTo>
                <a:cubicBezTo>
                  <a:pt x="3541801" y="5039117"/>
                  <a:pt x="3541002" y="5043110"/>
                  <a:pt x="3539538" y="5046705"/>
                </a:cubicBezTo>
                <a:cubicBezTo>
                  <a:pt x="3538074" y="5050299"/>
                  <a:pt x="3535944" y="5053361"/>
                  <a:pt x="3533415" y="5056023"/>
                </a:cubicBezTo>
                <a:cubicBezTo>
                  <a:pt x="3530751" y="5058686"/>
                  <a:pt x="3527690" y="5060816"/>
                  <a:pt x="3524097" y="5062280"/>
                </a:cubicBezTo>
                <a:cubicBezTo>
                  <a:pt x="3520502" y="5063744"/>
                  <a:pt x="3516641" y="5064543"/>
                  <a:pt x="3512380" y="5064543"/>
                </a:cubicBezTo>
                <a:cubicBezTo>
                  <a:pt x="3503325" y="5064543"/>
                  <a:pt x="3496135" y="5061614"/>
                  <a:pt x="3490544" y="5056023"/>
                </a:cubicBezTo>
                <a:cubicBezTo>
                  <a:pt x="3484953" y="5050433"/>
                  <a:pt x="3482158" y="5043376"/>
                  <a:pt x="3482158" y="5034857"/>
                </a:cubicBezTo>
                <a:cubicBezTo>
                  <a:pt x="3482158" y="5026604"/>
                  <a:pt x="3484953" y="5019549"/>
                  <a:pt x="3490544" y="5013825"/>
                </a:cubicBezTo>
                <a:cubicBezTo>
                  <a:pt x="3496135" y="5008100"/>
                  <a:pt x="3503325" y="5005305"/>
                  <a:pt x="3512380" y="5005305"/>
                </a:cubicBezTo>
                <a:close/>
                <a:moveTo>
                  <a:pt x="3294855" y="5005305"/>
                </a:moveTo>
                <a:cubicBezTo>
                  <a:pt x="3298982" y="5005305"/>
                  <a:pt x="3302976" y="5006104"/>
                  <a:pt x="3306570" y="5007834"/>
                </a:cubicBezTo>
                <a:cubicBezTo>
                  <a:pt x="3310297" y="5009432"/>
                  <a:pt x="3313359" y="5011561"/>
                  <a:pt x="3315888" y="5014224"/>
                </a:cubicBezTo>
                <a:cubicBezTo>
                  <a:pt x="3318417" y="5016753"/>
                  <a:pt x="3320547" y="5019948"/>
                  <a:pt x="3322011" y="5023542"/>
                </a:cubicBezTo>
                <a:cubicBezTo>
                  <a:pt x="3323475" y="5027136"/>
                  <a:pt x="3324274" y="5030996"/>
                  <a:pt x="3324274" y="5034990"/>
                </a:cubicBezTo>
                <a:cubicBezTo>
                  <a:pt x="3324274" y="5039117"/>
                  <a:pt x="3323475" y="5043110"/>
                  <a:pt x="3322011" y="5046705"/>
                </a:cubicBezTo>
                <a:cubicBezTo>
                  <a:pt x="3320547" y="5050299"/>
                  <a:pt x="3318417" y="5053361"/>
                  <a:pt x="3315888" y="5056023"/>
                </a:cubicBezTo>
                <a:cubicBezTo>
                  <a:pt x="3313225" y="5058686"/>
                  <a:pt x="3310164" y="5060816"/>
                  <a:pt x="3306570" y="5062280"/>
                </a:cubicBezTo>
                <a:cubicBezTo>
                  <a:pt x="3302976" y="5063744"/>
                  <a:pt x="3299115" y="5064543"/>
                  <a:pt x="3294855" y="5064543"/>
                </a:cubicBezTo>
                <a:cubicBezTo>
                  <a:pt x="3285800" y="5064543"/>
                  <a:pt x="3278611" y="5061614"/>
                  <a:pt x="3273017" y="5056023"/>
                </a:cubicBezTo>
                <a:cubicBezTo>
                  <a:pt x="3267424" y="5050433"/>
                  <a:pt x="3264629" y="5043376"/>
                  <a:pt x="3264629" y="5034857"/>
                </a:cubicBezTo>
                <a:cubicBezTo>
                  <a:pt x="3264629" y="5026604"/>
                  <a:pt x="3267424" y="5019549"/>
                  <a:pt x="3273017" y="5013825"/>
                </a:cubicBezTo>
                <a:cubicBezTo>
                  <a:pt x="3278611" y="5008100"/>
                  <a:pt x="3285800" y="5005305"/>
                  <a:pt x="3294855" y="5005305"/>
                </a:cubicBezTo>
                <a:close/>
                <a:moveTo>
                  <a:pt x="3077195" y="5005305"/>
                </a:moveTo>
                <a:cubicBezTo>
                  <a:pt x="3081323" y="5005305"/>
                  <a:pt x="3085316" y="5006104"/>
                  <a:pt x="3088910" y="5007834"/>
                </a:cubicBezTo>
                <a:cubicBezTo>
                  <a:pt x="3092505" y="5009432"/>
                  <a:pt x="3095700" y="5011561"/>
                  <a:pt x="3098228" y="5014224"/>
                </a:cubicBezTo>
                <a:cubicBezTo>
                  <a:pt x="3100758" y="5016753"/>
                  <a:pt x="3102888" y="5019948"/>
                  <a:pt x="3104352" y="5023542"/>
                </a:cubicBezTo>
                <a:cubicBezTo>
                  <a:pt x="3105817" y="5027136"/>
                  <a:pt x="3106615" y="5030996"/>
                  <a:pt x="3106615" y="5034990"/>
                </a:cubicBezTo>
                <a:cubicBezTo>
                  <a:pt x="3106615" y="5039117"/>
                  <a:pt x="3105817" y="5043110"/>
                  <a:pt x="3104352" y="5046705"/>
                </a:cubicBezTo>
                <a:cubicBezTo>
                  <a:pt x="3102888" y="5050299"/>
                  <a:pt x="3100758" y="5053361"/>
                  <a:pt x="3098228" y="5056023"/>
                </a:cubicBezTo>
                <a:cubicBezTo>
                  <a:pt x="3095566" y="5058686"/>
                  <a:pt x="3092505" y="5060816"/>
                  <a:pt x="3088910" y="5062280"/>
                </a:cubicBezTo>
                <a:cubicBezTo>
                  <a:pt x="3085316" y="5063744"/>
                  <a:pt x="3081455" y="5064543"/>
                  <a:pt x="3077195" y="5064543"/>
                </a:cubicBezTo>
                <a:cubicBezTo>
                  <a:pt x="3068275" y="5064543"/>
                  <a:pt x="3060952" y="5061614"/>
                  <a:pt x="3055357" y="5056023"/>
                </a:cubicBezTo>
                <a:cubicBezTo>
                  <a:pt x="3049766" y="5050433"/>
                  <a:pt x="3046971" y="5043376"/>
                  <a:pt x="3046971" y="5034857"/>
                </a:cubicBezTo>
                <a:cubicBezTo>
                  <a:pt x="3046971" y="5026604"/>
                  <a:pt x="3049766" y="5019549"/>
                  <a:pt x="3055357" y="5013825"/>
                </a:cubicBezTo>
                <a:cubicBezTo>
                  <a:pt x="3060952" y="5008100"/>
                  <a:pt x="3068142" y="5005305"/>
                  <a:pt x="3077195" y="5005305"/>
                </a:cubicBezTo>
                <a:close/>
                <a:moveTo>
                  <a:pt x="2859536" y="5005305"/>
                </a:moveTo>
                <a:cubicBezTo>
                  <a:pt x="2863796" y="5005305"/>
                  <a:pt x="2867657" y="5006104"/>
                  <a:pt x="2871384" y="5007834"/>
                </a:cubicBezTo>
                <a:cubicBezTo>
                  <a:pt x="2875111" y="5009432"/>
                  <a:pt x="2878173" y="5011561"/>
                  <a:pt x="2880702" y="5014224"/>
                </a:cubicBezTo>
                <a:cubicBezTo>
                  <a:pt x="2883364" y="5016753"/>
                  <a:pt x="2885361" y="5019948"/>
                  <a:pt x="2886825" y="5023542"/>
                </a:cubicBezTo>
                <a:cubicBezTo>
                  <a:pt x="2888290" y="5027136"/>
                  <a:pt x="2889088" y="5030996"/>
                  <a:pt x="2889088" y="5034990"/>
                </a:cubicBezTo>
                <a:cubicBezTo>
                  <a:pt x="2889088" y="5039117"/>
                  <a:pt x="2888290" y="5043110"/>
                  <a:pt x="2886825" y="5046705"/>
                </a:cubicBezTo>
                <a:cubicBezTo>
                  <a:pt x="2885361" y="5050299"/>
                  <a:pt x="2883231" y="5053361"/>
                  <a:pt x="2880702" y="5056023"/>
                </a:cubicBezTo>
                <a:cubicBezTo>
                  <a:pt x="2878040" y="5058686"/>
                  <a:pt x="2874978" y="5060816"/>
                  <a:pt x="2871384" y="5062280"/>
                </a:cubicBezTo>
                <a:cubicBezTo>
                  <a:pt x="2867657" y="5063744"/>
                  <a:pt x="2863796" y="5064543"/>
                  <a:pt x="2859536" y="5064543"/>
                </a:cubicBezTo>
                <a:cubicBezTo>
                  <a:pt x="2850618" y="5064543"/>
                  <a:pt x="2843290" y="5061614"/>
                  <a:pt x="2837698" y="5056023"/>
                </a:cubicBezTo>
                <a:cubicBezTo>
                  <a:pt x="2832107" y="5050433"/>
                  <a:pt x="2829311" y="5043376"/>
                  <a:pt x="2829311" y="5034857"/>
                </a:cubicBezTo>
                <a:cubicBezTo>
                  <a:pt x="2829311" y="5026604"/>
                  <a:pt x="2832107" y="5019549"/>
                  <a:pt x="2837698" y="5013825"/>
                </a:cubicBezTo>
                <a:cubicBezTo>
                  <a:pt x="2843290" y="5008100"/>
                  <a:pt x="2850484" y="5005305"/>
                  <a:pt x="2859536" y="5005305"/>
                </a:cubicBezTo>
                <a:close/>
                <a:moveTo>
                  <a:pt x="2641876" y="5005305"/>
                </a:moveTo>
                <a:cubicBezTo>
                  <a:pt x="2646136" y="5005305"/>
                  <a:pt x="2649996" y="5006104"/>
                  <a:pt x="2653592" y="5007834"/>
                </a:cubicBezTo>
                <a:cubicBezTo>
                  <a:pt x="2657319" y="5009432"/>
                  <a:pt x="2660381" y="5011561"/>
                  <a:pt x="2662910" y="5014224"/>
                </a:cubicBezTo>
                <a:cubicBezTo>
                  <a:pt x="2665571" y="5016753"/>
                  <a:pt x="2667569" y="5019948"/>
                  <a:pt x="2669033" y="5023542"/>
                </a:cubicBezTo>
                <a:cubicBezTo>
                  <a:pt x="2670497" y="5027136"/>
                  <a:pt x="2671296" y="5030996"/>
                  <a:pt x="2671296" y="5034990"/>
                </a:cubicBezTo>
                <a:cubicBezTo>
                  <a:pt x="2671296" y="5039117"/>
                  <a:pt x="2670497" y="5043110"/>
                  <a:pt x="2669033" y="5046705"/>
                </a:cubicBezTo>
                <a:cubicBezTo>
                  <a:pt x="2667569" y="5050299"/>
                  <a:pt x="2665439" y="5053361"/>
                  <a:pt x="2662910" y="5056023"/>
                </a:cubicBezTo>
                <a:cubicBezTo>
                  <a:pt x="2660381" y="5058686"/>
                  <a:pt x="2657185" y="5060816"/>
                  <a:pt x="2653592" y="5062280"/>
                </a:cubicBezTo>
                <a:cubicBezTo>
                  <a:pt x="2649996" y="5063744"/>
                  <a:pt x="2646136" y="5064543"/>
                  <a:pt x="2641876" y="5064543"/>
                </a:cubicBezTo>
                <a:cubicBezTo>
                  <a:pt x="2632957" y="5064543"/>
                  <a:pt x="2625635" y="5061614"/>
                  <a:pt x="2620044" y="5056023"/>
                </a:cubicBezTo>
                <a:cubicBezTo>
                  <a:pt x="2614451" y="5050433"/>
                  <a:pt x="2611653" y="5043376"/>
                  <a:pt x="2611653" y="5034857"/>
                </a:cubicBezTo>
                <a:cubicBezTo>
                  <a:pt x="2611653" y="5026604"/>
                  <a:pt x="2614451" y="5019549"/>
                  <a:pt x="2620044" y="5013825"/>
                </a:cubicBezTo>
                <a:cubicBezTo>
                  <a:pt x="2625635" y="5008100"/>
                  <a:pt x="2632824" y="5005305"/>
                  <a:pt x="2641876" y="5005305"/>
                </a:cubicBezTo>
                <a:close/>
                <a:moveTo>
                  <a:pt x="2424216" y="5005305"/>
                </a:moveTo>
                <a:cubicBezTo>
                  <a:pt x="2428477" y="5005305"/>
                  <a:pt x="2432471" y="5006104"/>
                  <a:pt x="2435932" y="5007834"/>
                </a:cubicBezTo>
                <a:cubicBezTo>
                  <a:pt x="2439659" y="5009432"/>
                  <a:pt x="2442721" y="5011561"/>
                  <a:pt x="2445250" y="5014224"/>
                </a:cubicBezTo>
                <a:cubicBezTo>
                  <a:pt x="2447912" y="5016753"/>
                  <a:pt x="2449909" y="5019948"/>
                  <a:pt x="2451373" y="5023542"/>
                </a:cubicBezTo>
                <a:cubicBezTo>
                  <a:pt x="2452837" y="5027136"/>
                  <a:pt x="2453636" y="5030996"/>
                  <a:pt x="2453636" y="5034990"/>
                </a:cubicBezTo>
                <a:cubicBezTo>
                  <a:pt x="2453636" y="5039117"/>
                  <a:pt x="2452837" y="5043110"/>
                  <a:pt x="2451373" y="5046705"/>
                </a:cubicBezTo>
                <a:cubicBezTo>
                  <a:pt x="2449909" y="5050299"/>
                  <a:pt x="2447779" y="5053361"/>
                  <a:pt x="2445250" y="5056023"/>
                </a:cubicBezTo>
                <a:cubicBezTo>
                  <a:pt x="2442721" y="5058686"/>
                  <a:pt x="2439526" y="5060816"/>
                  <a:pt x="2435932" y="5062280"/>
                </a:cubicBezTo>
                <a:cubicBezTo>
                  <a:pt x="2432338" y="5063744"/>
                  <a:pt x="2428477" y="5064543"/>
                  <a:pt x="2424216" y="5064543"/>
                </a:cubicBezTo>
                <a:cubicBezTo>
                  <a:pt x="2415298" y="5064543"/>
                  <a:pt x="2407976" y="5061614"/>
                  <a:pt x="2402384" y="5056023"/>
                </a:cubicBezTo>
                <a:cubicBezTo>
                  <a:pt x="2396792" y="5050433"/>
                  <a:pt x="2393995" y="5043376"/>
                  <a:pt x="2393995" y="5034857"/>
                </a:cubicBezTo>
                <a:cubicBezTo>
                  <a:pt x="2393995" y="5026604"/>
                  <a:pt x="2396792" y="5019549"/>
                  <a:pt x="2402384" y="5013825"/>
                </a:cubicBezTo>
                <a:cubicBezTo>
                  <a:pt x="2407976" y="5008100"/>
                  <a:pt x="2415164" y="5005305"/>
                  <a:pt x="2424216" y="5005305"/>
                </a:cubicBezTo>
                <a:close/>
                <a:moveTo>
                  <a:pt x="2206557" y="5005305"/>
                </a:moveTo>
                <a:cubicBezTo>
                  <a:pt x="2210817" y="5005305"/>
                  <a:pt x="2214811" y="5006104"/>
                  <a:pt x="2218272" y="5007834"/>
                </a:cubicBezTo>
                <a:cubicBezTo>
                  <a:pt x="2221999" y="5009432"/>
                  <a:pt x="2225060" y="5011561"/>
                  <a:pt x="2227591" y="5014224"/>
                </a:cubicBezTo>
                <a:cubicBezTo>
                  <a:pt x="2230253" y="5016753"/>
                  <a:pt x="2232249" y="5019948"/>
                  <a:pt x="2233713" y="5023542"/>
                </a:cubicBezTo>
                <a:cubicBezTo>
                  <a:pt x="2235177" y="5027136"/>
                  <a:pt x="2235976" y="5030996"/>
                  <a:pt x="2235976" y="5034990"/>
                </a:cubicBezTo>
                <a:cubicBezTo>
                  <a:pt x="2235976" y="5039117"/>
                  <a:pt x="2235177" y="5043110"/>
                  <a:pt x="2233713" y="5046705"/>
                </a:cubicBezTo>
                <a:cubicBezTo>
                  <a:pt x="2232249" y="5050299"/>
                  <a:pt x="2230119" y="5053361"/>
                  <a:pt x="2227591" y="5056023"/>
                </a:cubicBezTo>
                <a:cubicBezTo>
                  <a:pt x="2225060" y="5058686"/>
                  <a:pt x="2221866" y="5060816"/>
                  <a:pt x="2218272" y="5062280"/>
                </a:cubicBezTo>
                <a:cubicBezTo>
                  <a:pt x="2214677" y="5063744"/>
                  <a:pt x="2210817" y="5064543"/>
                  <a:pt x="2206557" y="5064543"/>
                </a:cubicBezTo>
                <a:cubicBezTo>
                  <a:pt x="2197505" y="5064543"/>
                  <a:pt x="2190316" y="5061614"/>
                  <a:pt x="2184724" y="5056023"/>
                </a:cubicBezTo>
                <a:cubicBezTo>
                  <a:pt x="2179132" y="5050433"/>
                  <a:pt x="2176337" y="5043376"/>
                  <a:pt x="2176337" y="5034857"/>
                </a:cubicBezTo>
                <a:cubicBezTo>
                  <a:pt x="2176337" y="5026604"/>
                  <a:pt x="2179132" y="5019549"/>
                  <a:pt x="2184724" y="5013825"/>
                </a:cubicBezTo>
                <a:cubicBezTo>
                  <a:pt x="2190316" y="5008100"/>
                  <a:pt x="2197505" y="5005305"/>
                  <a:pt x="2206557" y="5005305"/>
                </a:cubicBezTo>
                <a:close/>
                <a:moveTo>
                  <a:pt x="1989030" y="5005305"/>
                </a:moveTo>
                <a:cubicBezTo>
                  <a:pt x="1993157" y="5005305"/>
                  <a:pt x="1997152" y="5006104"/>
                  <a:pt x="2000746" y="5007834"/>
                </a:cubicBezTo>
                <a:cubicBezTo>
                  <a:pt x="2004473" y="5009432"/>
                  <a:pt x="2007535" y="5011561"/>
                  <a:pt x="2010064" y="5014224"/>
                </a:cubicBezTo>
                <a:cubicBezTo>
                  <a:pt x="2012726" y="5016753"/>
                  <a:pt x="2014723" y="5019948"/>
                  <a:pt x="2016187" y="5023542"/>
                </a:cubicBezTo>
                <a:cubicBezTo>
                  <a:pt x="2017651" y="5027136"/>
                  <a:pt x="2018450" y="5030996"/>
                  <a:pt x="2018450" y="5034990"/>
                </a:cubicBezTo>
                <a:cubicBezTo>
                  <a:pt x="2018450" y="5039117"/>
                  <a:pt x="2017651" y="5043110"/>
                  <a:pt x="2016187" y="5046705"/>
                </a:cubicBezTo>
                <a:cubicBezTo>
                  <a:pt x="2014723" y="5050299"/>
                  <a:pt x="2012593" y="5053361"/>
                  <a:pt x="2010064" y="5056023"/>
                </a:cubicBezTo>
                <a:cubicBezTo>
                  <a:pt x="2007535" y="5058686"/>
                  <a:pt x="2004339" y="5060816"/>
                  <a:pt x="2000746" y="5062280"/>
                </a:cubicBezTo>
                <a:cubicBezTo>
                  <a:pt x="1997152" y="5063744"/>
                  <a:pt x="1993290" y="5064543"/>
                  <a:pt x="1989030" y="5064543"/>
                </a:cubicBezTo>
                <a:cubicBezTo>
                  <a:pt x="1979979" y="5064543"/>
                  <a:pt x="1972790" y="5061614"/>
                  <a:pt x="1967199" y="5056023"/>
                </a:cubicBezTo>
                <a:cubicBezTo>
                  <a:pt x="1961609" y="5050433"/>
                  <a:pt x="1958813" y="5043376"/>
                  <a:pt x="1958813" y="5034857"/>
                </a:cubicBezTo>
                <a:cubicBezTo>
                  <a:pt x="1958813" y="5026604"/>
                  <a:pt x="1961609" y="5019549"/>
                  <a:pt x="1967199" y="5013825"/>
                </a:cubicBezTo>
                <a:cubicBezTo>
                  <a:pt x="1972790" y="5008100"/>
                  <a:pt x="1979979" y="5005305"/>
                  <a:pt x="1989030" y="5005305"/>
                </a:cubicBezTo>
                <a:close/>
                <a:moveTo>
                  <a:pt x="1771396" y="5005305"/>
                </a:moveTo>
                <a:cubicBezTo>
                  <a:pt x="1775655" y="5005305"/>
                  <a:pt x="1779515" y="5006104"/>
                  <a:pt x="1783110" y="5007834"/>
                </a:cubicBezTo>
                <a:cubicBezTo>
                  <a:pt x="1786837" y="5009432"/>
                  <a:pt x="1789899" y="5011561"/>
                  <a:pt x="1792427" y="5014224"/>
                </a:cubicBezTo>
                <a:cubicBezTo>
                  <a:pt x="1795090" y="5016753"/>
                  <a:pt x="1797087" y="5019948"/>
                  <a:pt x="1798551" y="5023542"/>
                </a:cubicBezTo>
                <a:cubicBezTo>
                  <a:pt x="1800014" y="5027136"/>
                  <a:pt x="1800813" y="5030996"/>
                  <a:pt x="1800813" y="5034990"/>
                </a:cubicBezTo>
                <a:cubicBezTo>
                  <a:pt x="1800813" y="5039117"/>
                  <a:pt x="1800014" y="5043110"/>
                  <a:pt x="1798551" y="5046705"/>
                </a:cubicBezTo>
                <a:cubicBezTo>
                  <a:pt x="1797087" y="5050299"/>
                  <a:pt x="1794957" y="5053361"/>
                  <a:pt x="1792427" y="5056023"/>
                </a:cubicBezTo>
                <a:cubicBezTo>
                  <a:pt x="1789765" y="5058686"/>
                  <a:pt x="1786704" y="5060816"/>
                  <a:pt x="1783110" y="5062280"/>
                </a:cubicBezTo>
                <a:cubicBezTo>
                  <a:pt x="1779515" y="5063744"/>
                  <a:pt x="1775655" y="5064543"/>
                  <a:pt x="1771396" y="5064543"/>
                </a:cubicBezTo>
                <a:cubicBezTo>
                  <a:pt x="1762477" y="5064543"/>
                  <a:pt x="1755157" y="5061614"/>
                  <a:pt x="1749566" y="5056023"/>
                </a:cubicBezTo>
                <a:cubicBezTo>
                  <a:pt x="1743976" y="5050433"/>
                  <a:pt x="1741183" y="5043376"/>
                  <a:pt x="1741183" y="5034857"/>
                </a:cubicBezTo>
                <a:cubicBezTo>
                  <a:pt x="1741183" y="5026604"/>
                  <a:pt x="1743976" y="5019549"/>
                  <a:pt x="1749566" y="5013825"/>
                </a:cubicBezTo>
                <a:cubicBezTo>
                  <a:pt x="1755157" y="5008100"/>
                  <a:pt x="1762344" y="5005305"/>
                  <a:pt x="1771396" y="5005305"/>
                </a:cubicBezTo>
                <a:close/>
                <a:moveTo>
                  <a:pt x="1553758" y="5005305"/>
                </a:moveTo>
                <a:cubicBezTo>
                  <a:pt x="1558017" y="5005305"/>
                  <a:pt x="1561879" y="5006104"/>
                  <a:pt x="1565473" y="5007834"/>
                </a:cubicBezTo>
                <a:cubicBezTo>
                  <a:pt x="1569067" y="5009432"/>
                  <a:pt x="1572262" y="5011561"/>
                  <a:pt x="1574791" y="5014224"/>
                </a:cubicBezTo>
                <a:cubicBezTo>
                  <a:pt x="1577453" y="5016753"/>
                  <a:pt x="1579450" y="5019948"/>
                  <a:pt x="1580914" y="5023542"/>
                </a:cubicBezTo>
                <a:cubicBezTo>
                  <a:pt x="1582378" y="5027136"/>
                  <a:pt x="1583177" y="5030996"/>
                  <a:pt x="1583177" y="5034990"/>
                </a:cubicBezTo>
                <a:cubicBezTo>
                  <a:pt x="1583177" y="5039117"/>
                  <a:pt x="1582378" y="5043110"/>
                  <a:pt x="1580914" y="5046705"/>
                </a:cubicBezTo>
                <a:cubicBezTo>
                  <a:pt x="1579450" y="5050299"/>
                  <a:pt x="1577320" y="5053361"/>
                  <a:pt x="1574791" y="5056023"/>
                </a:cubicBezTo>
                <a:cubicBezTo>
                  <a:pt x="1572129" y="5058686"/>
                  <a:pt x="1569067" y="5060816"/>
                  <a:pt x="1565473" y="5062280"/>
                </a:cubicBezTo>
                <a:cubicBezTo>
                  <a:pt x="1561879" y="5063744"/>
                  <a:pt x="1558017" y="5064543"/>
                  <a:pt x="1553758" y="5064543"/>
                </a:cubicBezTo>
                <a:cubicBezTo>
                  <a:pt x="1544840" y="5064543"/>
                  <a:pt x="1537518" y="5061614"/>
                  <a:pt x="1531928" y="5056023"/>
                </a:cubicBezTo>
                <a:cubicBezTo>
                  <a:pt x="1526339" y="5050433"/>
                  <a:pt x="1523542" y="5043376"/>
                  <a:pt x="1523542" y="5034857"/>
                </a:cubicBezTo>
                <a:cubicBezTo>
                  <a:pt x="1523542" y="5026604"/>
                  <a:pt x="1526339" y="5019549"/>
                  <a:pt x="1531928" y="5013825"/>
                </a:cubicBezTo>
                <a:cubicBezTo>
                  <a:pt x="1537518" y="5008100"/>
                  <a:pt x="1544705" y="5005305"/>
                  <a:pt x="1553758" y="5005305"/>
                </a:cubicBezTo>
                <a:close/>
                <a:moveTo>
                  <a:pt x="1336114" y="5005305"/>
                </a:moveTo>
                <a:cubicBezTo>
                  <a:pt x="1340374" y="5005305"/>
                  <a:pt x="1344369" y="5006104"/>
                  <a:pt x="1347830" y="5007834"/>
                </a:cubicBezTo>
                <a:cubicBezTo>
                  <a:pt x="1351423" y="5009432"/>
                  <a:pt x="1354618" y="5011561"/>
                  <a:pt x="1357148" y="5014224"/>
                </a:cubicBezTo>
                <a:cubicBezTo>
                  <a:pt x="1359810" y="5016753"/>
                  <a:pt x="1361807" y="5019948"/>
                  <a:pt x="1363271" y="5023542"/>
                </a:cubicBezTo>
                <a:cubicBezTo>
                  <a:pt x="1364735" y="5027136"/>
                  <a:pt x="1365533" y="5030996"/>
                  <a:pt x="1365533" y="5034990"/>
                </a:cubicBezTo>
                <a:cubicBezTo>
                  <a:pt x="1365533" y="5039117"/>
                  <a:pt x="1364735" y="5043110"/>
                  <a:pt x="1363271" y="5046705"/>
                </a:cubicBezTo>
                <a:cubicBezTo>
                  <a:pt x="1361807" y="5050299"/>
                  <a:pt x="1359677" y="5053361"/>
                  <a:pt x="1357148" y="5056023"/>
                </a:cubicBezTo>
                <a:cubicBezTo>
                  <a:pt x="1354484" y="5058686"/>
                  <a:pt x="1351423" y="5060816"/>
                  <a:pt x="1347830" y="5062280"/>
                </a:cubicBezTo>
                <a:cubicBezTo>
                  <a:pt x="1344236" y="5063744"/>
                  <a:pt x="1340374" y="5064543"/>
                  <a:pt x="1336114" y="5064543"/>
                </a:cubicBezTo>
                <a:cubicBezTo>
                  <a:pt x="1327194" y="5064543"/>
                  <a:pt x="1319873" y="5061614"/>
                  <a:pt x="1314282" y="5056023"/>
                </a:cubicBezTo>
                <a:cubicBezTo>
                  <a:pt x="1308691" y="5050433"/>
                  <a:pt x="1305896" y="5043376"/>
                  <a:pt x="1305896" y="5034857"/>
                </a:cubicBezTo>
                <a:cubicBezTo>
                  <a:pt x="1305896" y="5026604"/>
                  <a:pt x="1308691" y="5019549"/>
                  <a:pt x="1314282" y="5013825"/>
                </a:cubicBezTo>
                <a:cubicBezTo>
                  <a:pt x="1319873" y="5008100"/>
                  <a:pt x="1327061" y="5005305"/>
                  <a:pt x="1336114" y="5005305"/>
                </a:cubicBezTo>
                <a:close/>
                <a:moveTo>
                  <a:pt x="1118469" y="5005305"/>
                </a:moveTo>
                <a:cubicBezTo>
                  <a:pt x="1122730" y="5005305"/>
                  <a:pt x="1126726" y="5006104"/>
                  <a:pt x="1130187" y="5007834"/>
                </a:cubicBezTo>
                <a:cubicBezTo>
                  <a:pt x="1133913" y="5009432"/>
                  <a:pt x="1136975" y="5011561"/>
                  <a:pt x="1139502" y="5014224"/>
                </a:cubicBezTo>
                <a:cubicBezTo>
                  <a:pt x="1142163" y="5016753"/>
                  <a:pt x="1144159" y="5019948"/>
                  <a:pt x="1145622" y="5023542"/>
                </a:cubicBezTo>
                <a:cubicBezTo>
                  <a:pt x="1147087" y="5027136"/>
                  <a:pt x="1147885" y="5030996"/>
                  <a:pt x="1147885" y="5034990"/>
                </a:cubicBezTo>
                <a:cubicBezTo>
                  <a:pt x="1147885" y="5039117"/>
                  <a:pt x="1147087" y="5043110"/>
                  <a:pt x="1145622" y="5046705"/>
                </a:cubicBezTo>
                <a:cubicBezTo>
                  <a:pt x="1144159" y="5050299"/>
                  <a:pt x="1142030" y="5053361"/>
                  <a:pt x="1139502" y="5056023"/>
                </a:cubicBezTo>
                <a:cubicBezTo>
                  <a:pt x="1136975" y="5058686"/>
                  <a:pt x="1133781" y="5060816"/>
                  <a:pt x="1130187" y="5062280"/>
                </a:cubicBezTo>
                <a:cubicBezTo>
                  <a:pt x="1126591" y="5063744"/>
                  <a:pt x="1122730" y="5064543"/>
                  <a:pt x="1118469" y="5064543"/>
                </a:cubicBezTo>
                <a:cubicBezTo>
                  <a:pt x="1109549" y="5064543"/>
                  <a:pt x="1102225" y="5061614"/>
                  <a:pt x="1096634" y="5056023"/>
                </a:cubicBezTo>
                <a:cubicBezTo>
                  <a:pt x="1091044" y="5050433"/>
                  <a:pt x="1088250" y="5043376"/>
                  <a:pt x="1088250" y="5034857"/>
                </a:cubicBezTo>
                <a:cubicBezTo>
                  <a:pt x="1088250" y="5026604"/>
                  <a:pt x="1091044" y="5019549"/>
                  <a:pt x="1096634" y="5013825"/>
                </a:cubicBezTo>
                <a:cubicBezTo>
                  <a:pt x="1102225" y="5008100"/>
                  <a:pt x="1109415" y="5005305"/>
                  <a:pt x="1118469" y="5005305"/>
                </a:cubicBezTo>
                <a:close/>
                <a:moveTo>
                  <a:pt x="900956" y="5005305"/>
                </a:moveTo>
                <a:cubicBezTo>
                  <a:pt x="905083" y="5005305"/>
                  <a:pt x="909077" y="5006104"/>
                  <a:pt x="912671" y="5007834"/>
                </a:cubicBezTo>
                <a:cubicBezTo>
                  <a:pt x="916398" y="5009432"/>
                  <a:pt x="919460" y="5011561"/>
                  <a:pt x="921989" y="5014224"/>
                </a:cubicBezTo>
                <a:cubicBezTo>
                  <a:pt x="924651" y="5016753"/>
                  <a:pt x="926648" y="5019948"/>
                  <a:pt x="928112" y="5023542"/>
                </a:cubicBezTo>
                <a:cubicBezTo>
                  <a:pt x="929576" y="5027136"/>
                  <a:pt x="930375" y="5030996"/>
                  <a:pt x="930375" y="5034990"/>
                </a:cubicBezTo>
                <a:cubicBezTo>
                  <a:pt x="930375" y="5039117"/>
                  <a:pt x="929576" y="5043110"/>
                  <a:pt x="928112" y="5046705"/>
                </a:cubicBezTo>
                <a:cubicBezTo>
                  <a:pt x="926648" y="5050299"/>
                  <a:pt x="924518" y="5053361"/>
                  <a:pt x="921989" y="5056023"/>
                </a:cubicBezTo>
                <a:cubicBezTo>
                  <a:pt x="919460" y="5058686"/>
                  <a:pt x="916265" y="5060816"/>
                  <a:pt x="912671" y="5062280"/>
                </a:cubicBezTo>
                <a:cubicBezTo>
                  <a:pt x="909077" y="5063744"/>
                  <a:pt x="905216" y="5064543"/>
                  <a:pt x="900956" y="5064543"/>
                </a:cubicBezTo>
                <a:cubicBezTo>
                  <a:pt x="892038" y="5064543"/>
                  <a:pt x="884716" y="5061614"/>
                  <a:pt x="879125" y="5056023"/>
                </a:cubicBezTo>
                <a:cubicBezTo>
                  <a:pt x="873536" y="5050433"/>
                  <a:pt x="870740" y="5043376"/>
                  <a:pt x="870740" y="5034857"/>
                </a:cubicBezTo>
                <a:cubicBezTo>
                  <a:pt x="870740" y="5026604"/>
                  <a:pt x="873536" y="5019549"/>
                  <a:pt x="879125" y="5013825"/>
                </a:cubicBezTo>
                <a:cubicBezTo>
                  <a:pt x="884716" y="5008100"/>
                  <a:pt x="891905" y="5005305"/>
                  <a:pt x="900956" y="5005305"/>
                </a:cubicBezTo>
                <a:close/>
                <a:moveTo>
                  <a:pt x="683315" y="5005305"/>
                </a:moveTo>
                <a:cubicBezTo>
                  <a:pt x="687576" y="5005305"/>
                  <a:pt x="691436" y="5006104"/>
                  <a:pt x="695031" y="5007834"/>
                </a:cubicBezTo>
                <a:cubicBezTo>
                  <a:pt x="698758" y="5009432"/>
                  <a:pt x="701820" y="5011561"/>
                  <a:pt x="704348" y="5014224"/>
                </a:cubicBezTo>
                <a:cubicBezTo>
                  <a:pt x="707010" y="5016753"/>
                  <a:pt x="709007" y="5019948"/>
                  <a:pt x="710471" y="5023542"/>
                </a:cubicBezTo>
                <a:cubicBezTo>
                  <a:pt x="711935" y="5027136"/>
                  <a:pt x="712734" y="5030996"/>
                  <a:pt x="712734" y="5034990"/>
                </a:cubicBezTo>
                <a:cubicBezTo>
                  <a:pt x="712734" y="5039117"/>
                  <a:pt x="711935" y="5043110"/>
                  <a:pt x="710471" y="5046705"/>
                </a:cubicBezTo>
                <a:cubicBezTo>
                  <a:pt x="709007" y="5050299"/>
                  <a:pt x="706877" y="5053361"/>
                  <a:pt x="704348" y="5056023"/>
                </a:cubicBezTo>
                <a:cubicBezTo>
                  <a:pt x="701820" y="5058686"/>
                  <a:pt x="698624" y="5060816"/>
                  <a:pt x="695031" y="5062280"/>
                </a:cubicBezTo>
                <a:cubicBezTo>
                  <a:pt x="691436" y="5063744"/>
                  <a:pt x="687576" y="5064543"/>
                  <a:pt x="683315" y="5064543"/>
                </a:cubicBezTo>
                <a:cubicBezTo>
                  <a:pt x="674397" y="5064543"/>
                  <a:pt x="667075" y="5061614"/>
                  <a:pt x="661484" y="5056023"/>
                </a:cubicBezTo>
                <a:cubicBezTo>
                  <a:pt x="655893" y="5050433"/>
                  <a:pt x="653098" y="5043376"/>
                  <a:pt x="653098" y="5034857"/>
                </a:cubicBezTo>
                <a:cubicBezTo>
                  <a:pt x="653098" y="5026604"/>
                  <a:pt x="655893" y="5019549"/>
                  <a:pt x="661484" y="5013825"/>
                </a:cubicBezTo>
                <a:cubicBezTo>
                  <a:pt x="667075" y="5008100"/>
                  <a:pt x="674264" y="5005305"/>
                  <a:pt x="683315" y="5005305"/>
                </a:cubicBezTo>
                <a:close/>
                <a:moveTo>
                  <a:pt x="465674" y="5005305"/>
                </a:moveTo>
                <a:cubicBezTo>
                  <a:pt x="469934" y="5005305"/>
                  <a:pt x="473794" y="5006104"/>
                  <a:pt x="477389" y="5007834"/>
                </a:cubicBezTo>
                <a:cubicBezTo>
                  <a:pt x="481116" y="5009432"/>
                  <a:pt x="484177" y="5011561"/>
                  <a:pt x="486706" y="5014224"/>
                </a:cubicBezTo>
                <a:cubicBezTo>
                  <a:pt x="489368" y="5016753"/>
                  <a:pt x="491365" y="5019948"/>
                  <a:pt x="492829" y="5023542"/>
                </a:cubicBezTo>
                <a:cubicBezTo>
                  <a:pt x="494293" y="5027136"/>
                  <a:pt x="495092" y="5030996"/>
                  <a:pt x="495092" y="5034990"/>
                </a:cubicBezTo>
                <a:cubicBezTo>
                  <a:pt x="495092" y="5039117"/>
                  <a:pt x="494293" y="5043110"/>
                  <a:pt x="492829" y="5046705"/>
                </a:cubicBezTo>
                <a:cubicBezTo>
                  <a:pt x="491365" y="5050299"/>
                  <a:pt x="489235" y="5053361"/>
                  <a:pt x="486706" y="5056023"/>
                </a:cubicBezTo>
                <a:cubicBezTo>
                  <a:pt x="484044" y="5058686"/>
                  <a:pt x="480983" y="5060816"/>
                  <a:pt x="477389" y="5062280"/>
                </a:cubicBezTo>
                <a:cubicBezTo>
                  <a:pt x="473794" y="5063744"/>
                  <a:pt x="469934" y="5064543"/>
                  <a:pt x="465674" y="5064543"/>
                </a:cubicBezTo>
                <a:cubicBezTo>
                  <a:pt x="456755" y="5064543"/>
                  <a:pt x="449433" y="5061614"/>
                  <a:pt x="443842" y="5056023"/>
                </a:cubicBezTo>
                <a:cubicBezTo>
                  <a:pt x="438252" y="5050433"/>
                  <a:pt x="435457" y="5043376"/>
                  <a:pt x="435457" y="5034857"/>
                </a:cubicBezTo>
                <a:cubicBezTo>
                  <a:pt x="435457" y="5026604"/>
                  <a:pt x="438252" y="5019549"/>
                  <a:pt x="443842" y="5013825"/>
                </a:cubicBezTo>
                <a:cubicBezTo>
                  <a:pt x="449433" y="5008100"/>
                  <a:pt x="456623" y="5005305"/>
                  <a:pt x="465674" y="5005305"/>
                </a:cubicBezTo>
                <a:close/>
                <a:moveTo>
                  <a:pt x="248032" y="5005305"/>
                </a:moveTo>
                <a:cubicBezTo>
                  <a:pt x="252292" y="5005305"/>
                  <a:pt x="256286" y="5006104"/>
                  <a:pt x="259746" y="5007834"/>
                </a:cubicBezTo>
                <a:cubicBezTo>
                  <a:pt x="263473" y="5009432"/>
                  <a:pt x="266535" y="5011561"/>
                  <a:pt x="269065" y="5014224"/>
                </a:cubicBezTo>
                <a:cubicBezTo>
                  <a:pt x="271727" y="5016753"/>
                  <a:pt x="273724" y="5019948"/>
                  <a:pt x="275188" y="5023542"/>
                </a:cubicBezTo>
                <a:cubicBezTo>
                  <a:pt x="276652" y="5027136"/>
                  <a:pt x="277451" y="5030996"/>
                  <a:pt x="277451" y="5034990"/>
                </a:cubicBezTo>
                <a:cubicBezTo>
                  <a:pt x="277451" y="5039117"/>
                  <a:pt x="276652" y="5043110"/>
                  <a:pt x="275188" y="5046705"/>
                </a:cubicBezTo>
                <a:cubicBezTo>
                  <a:pt x="273724" y="5050299"/>
                  <a:pt x="271593" y="5053361"/>
                  <a:pt x="269065" y="5056023"/>
                </a:cubicBezTo>
                <a:cubicBezTo>
                  <a:pt x="266401" y="5058686"/>
                  <a:pt x="263340" y="5060816"/>
                  <a:pt x="259746" y="5062280"/>
                </a:cubicBezTo>
                <a:cubicBezTo>
                  <a:pt x="256151" y="5063744"/>
                  <a:pt x="252292" y="5064543"/>
                  <a:pt x="248032" y="5064543"/>
                </a:cubicBezTo>
                <a:cubicBezTo>
                  <a:pt x="239114" y="5064543"/>
                  <a:pt x="231793" y="5061614"/>
                  <a:pt x="226202" y="5056023"/>
                </a:cubicBezTo>
                <a:cubicBezTo>
                  <a:pt x="220612" y="5050433"/>
                  <a:pt x="217817" y="5043376"/>
                  <a:pt x="217817" y="5034857"/>
                </a:cubicBezTo>
                <a:cubicBezTo>
                  <a:pt x="217817" y="5026604"/>
                  <a:pt x="220612" y="5019549"/>
                  <a:pt x="226202" y="5013825"/>
                </a:cubicBezTo>
                <a:cubicBezTo>
                  <a:pt x="231793" y="5008100"/>
                  <a:pt x="238980" y="5005305"/>
                  <a:pt x="248032" y="5005305"/>
                </a:cubicBezTo>
                <a:close/>
                <a:moveTo>
                  <a:pt x="30390" y="5005305"/>
                </a:moveTo>
                <a:cubicBezTo>
                  <a:pt x="34650" y="5005305"/>
                  <a:pt x="38644" y="5006104"/>
                  <a:pt x="42105" y="5007834"/>
                </a:cubicBezTo>
                <a:cubicBezTo>
                  <a:pt x="45832" y="5009432"/>
                  <a:pt x="48894" y="5011561"/>
                  <a:pt x="51423" y="5014224"/>
                </a:cubicBezTo>
                <a:cubicBezTo>
                  <a:pt x="54085" y="5016753"/>
                  <a:pt x="56082" y="5019948"/>
                  <a:pt x="57546" y="5023542"/>
                </a:cubicBezTo>
                <a:cubicBezTo>
                  <a:pt x="59010" y="5027136"/>
                  <a:pt x="59809" y="5030996"/>
                  <a:pt x="59809" y="5034990"/>
                </a:cubicBezTo>
                <a:cubicBezTo>
                  <a:pt x="59809" y="5039117"/>
                  <a:pt x="59010" y="5043110"/>
                  <a:pt x="57546" y="5046705"/>
                </a:cubicBezTo>
                <a:cubicBezTo>
                  <a:pt x="56082" y="5050299"/>
                  <a:pt x="53952" y="5053361"/>
                  <a:pt x="51423" y="5056023"/>
                </a:cubicBezTo>
                <a:cubicBezTo>
                  <a:pt x="48760" y="5058686"/>
                  <a:pt x="45699" y="5060816"/>
                  <a:pt x="42105" y="5062280"/>
                </a:cubicBezTo>
                <a:cubicBezTo>
                  <a:pt x="38511" y="5063744"/>
                  <a:pt x="34650" y="5064543"/>
                  <a:pt x="30390" y="5064543"/>
                </a:cubicBezTo>
                <a:cubicBezTo>
                  <a:pt x="21472" y="5064543"/>
                  <a:pt x="14151" y="5061614"/>
                  <a:pt x="8562" y="5056023"/>
                </a:cubicBezTo>
                <a:cubicBezTo>
                  <a:pt x="2971" y="5050433"/>
                  <a:pt x="176" y="5043376"/>
                  <a:pt x="176" y="5034857"/>
                </a:cubicBezTo>
                <a:cubicBezTo>
                  <a:pt x="176" y="5026604"/>
                  <a:pt x="2971" y="5019549"/>
                  <a:pt x="8562" y="5013825"/>
                </a:cubicBezTo>
                <a:cubicBezTo>
                  <a:pt x="14151" y="5008100"/>
                  <a:pt x="21338" y="5005305"/>
                  <a:pt x="30390" y="5005305"/>
                </a:cubicBezTo>
                <a:close/>
                <a:moveTo>
                  <a:pt x="10475977" y="4804299"/>
                </a:moveTo>
                <a:cubicBezTo>
                  <a:pt x="10470119" y="4804299"/>
                  <a:pt x="10467589" y="4806296"/>
                  <a:pt x="10465992" y="4807893"/>
                </a:cubicBezTo>
                <a:cubicBezTo>
                  <a:pt x="10463463" y="4810555"/>
                  <a:pt x="10462399" y="4813351"/>
                  <a:pt x="10462399" y="4817344"/>
                </a:cubicBezTo>
                <a:cubicBezTo>
                  <a:pt x="10462399" y="4821471"/>
                  <a:pt x="10463463" y="4824266"/>
                  <a:pt x="10465992" y="4826795"/>
                </a:cubicBezTo>
                <a:cubicBezTo>
                  <a:pt x="10467589" y="4828394"/>
                  <a:pt x="10470119" y="4830257"/>
                  <a:pt x="10475977" y="4830257"/>
                </a:cubicBezTo>
                <a:cubicBezTo>
                  <a:pt x="10478107" y="4830257"/>
                  <a:pt x="10479838" y="4829991"/>
                  <a:pt x="10481302" y="4829325"/>
                </a:cubicBezTo>
                <a:cubicBezTo>
                  <a:pt x="10482899" y="4828793"/>
                  <a:pt x="10484098" y="4827861"/>
                  <a:pt x="10485029" y="4826928"/>
                </a:cubicBezTo>
                <a:cubicBezTo>
                  <a:pt x="10486094" y="4825730"/>
                  <a:pt x="10487026" y="4824399"/>
                  <a:pt x="10487691" y="4822669"/>
                </a:cubicBezTo>
                <a:cubicBezTo>
                  <a:pt x="10488357" y="4821071"/>
                  <a:pt x="10488623" y="4819207"/>
                  <a:pt x="10488623" y="4817211"/>
                </a:cubicBezTo>
                <a:cubicBezTo>
                  <a:pt x="10488623" y="4815347"/>
                  <a:pt x="10488357" y="4813617"/>
                  <a:pt x="10487691" y="4812020"/>
                </a:cubicBezTo>
                <a:cubicBezTo>
                  <a:pt x="10487026" y="4810422"/>
                  <a:pt x="10486094" y="4809091"/>
                  <a:pt x="10485029" y="4807893"/>
                </a:cubicBezTo>
                <a:cubicBezTo>
                  <a:pt x="10483964" y="4806828"/>
                  <a:pt x="10482633" y="4805896"/>
                  <a:pt x="10481035" y="4805230"/>
                </a:cubicBezTo>
                <a:cubicBezTo>
                  <a:pt x="10479571" y="4804565"/>
                  <a:pt x="10477974" y="4804299"/>
                  <a:pt x="10475977" y="4804299"/>
                </a:cubicBezTo>
                <a:close/>
                <a:moveTo>
                  <a:pt x="10258466" y="4804299"/>
                </a:moveTo>
                <a:cubicBezTo>
                  <a:pt x="10252608" y="4804299"/>
                  <a:pt x="10250078" y="4806296"/>
                  <a:pt x="10248481" y="4807893"/>
                </a:cubicBezTo>
                <a:cubicBezTo>
                  <a:pt x="10245952" y="4810555"/>
                  <a:pt x="10244887" y="4813351"/>
                  <a:pt x="10244887" y="4817344"/>
                </a:cubicBezTo>
                <a:cubicBezTo>
                  <a:pt x="10244887" y="4821471"/>
                  <a:pt x="10245952" y="4824266"/>
                  <a:pt x="10248481" y="4826795"/>
                </a:cubicBezTo>
                <a:cubicBezTo>
                  <a:pt x="10250078" y="4828394"/>
                  <a:pt x="10252608" y="4830257"/>
                  <a:pt x="10258466" y="4830257"/>
                </a:cubicBezTo>
                <a:cubicBezTo>
                  <a:pt x="10260462" y="4830257"/>
                  <a:pt x="10262192" y="4829991"/>
                  <a:pt x="10263790" y="4829325"/>
                </a:cubicBezTo>
                <a:cubicBezTo>
                  <a:pt x="10265388" y="4828793"/>
                  <a:pt x="10266586" y="4827861"/>
                  <a:pt x="10267517" y="4826928"/>
                </a:cubicBezTo>
                <a:cubicBezTo>
                  <a:pt x="10268583" y="4825730"/>
                  <a:pt x="10269515" y="4824399"/>
                  <a:pt x="10270180" y="4822669"/>
                </a:cubicBezTo>
                <a:cubicBezTo>
                  <a:pt x="10270845" y="4821071"/>
                  <a:pt x="10271112" y="4819207"/>
                  <a:pt x="10271112" y="4817211"/>
                </a:cubicBezTo>
                <a:cubicBezTo>
                  <a:pt x="10271112" y="4815347"/>
                  <a:pt x="10270845" y="4813617"/>
                  <a:pt x="10270180" y="4812020"/>
                </a:cubicBezTo>
                <a:cubicBezTo>
                  <a:pt x="10269515" y="4810422"/>
                  <a:pt x="10268583" y="4809091"/>
                  <a:pt x="10267517" y="4807893"/>
                </a:cubicBezTo>
                <a:cubicBezTo>
                  <a:pt x="10266452" y="4806828"/>
                  <a:pt x="10265121" y="4805896"/>
                  <a:pt x="10263524" y="4805230"/>
                </a:cubicBezTo>
                <a:cubicBezTo>
                  <a:pt x="10262060" y="4804565"/>
                  <a:pt x="10260462" y="4804299"/>
                  <a:pt x="10258466" y="4804299"/>
                </a:cubicBezTo>
                <a:close/>
                <a:moveTo>
                  <a:pt x="10040820" y="4804299"/>
                </a:moveTo>
                <a:cubicBezTo>
                  <a:pt x="10034962" y="4804299"/>
                  <a:pt x="10032433" y="4806296"/>
                  <a:pt x="10030835" y="4807893"/>
                </a:cubicBezTo>
                <a:cubicBezTo>
                  <a:pt x="10028306" y="4810555"/>
                  <a:pt x="10027242" y="4813351"/>
                  <a:pt x="10027242" y="4817344"/>
                </a:cubicBezTo>
                <a:cubicBezTo>
                  <a:pt x="10027242" y="4821471"/>
                  <a:pt x="10028306" y="4824266"/>
                  <a:pt x="10030835" y="4826795"/>
                </a:cubicBezTo>
                <a:cubicBezTo>
                  <a:pt x="10032433" y="4828394"/>
                  <a:pt x="10034962" y="4830257"/>
                  <a:pt x="10040820" y="4830257"/>
                </a:cubicBezTo>
                <a:cubicBezTo>
                  <a:pt x="10042817" y="4830257"/>
                  <a:pt x="10044681" y="4829991"/>
                  <a:pt x="10046145" y="4829325"/>
                </a:cubicBezTo>
                <a:cubicBezTo>
                  <a:pt x="10047742" y="4828793"/>
                  <a:pt x="10048941" y="4827861"/>
                  <a:pt x="10049872" y="4826928"/>
                </a:cubicBezTo>
                <a:cubicBezTo>
                  <a:pt x="10050937" y="4825730"/>
                  <a:pt x="10051869" y="4824399"/>
                  <a:pt x="10052534" y="4822669"/>
                </a:cubicBezTo>
                <a:cubicBezTo>
                  <a:pt x="10053333" y="4821071"/>
                  <a:pt x="10053599" y="4819207"/>
                  <a:pt x="10053599" y="4817211"/>
                </a:cubicBezTo>
                <a:cubicBezTo>
                  <a:pt x="10053599" y="4815347"/>
                  <a:pt x="10053200" y="4813617"/>
                  <a:pt x="10052534" y="4812020"/>
                </a:cubicBezTo>
                <a:cubicBezTo>
                  <a:pt x="10051869" y="4810422"/>
                  <a:pt x="10050937" y="4809091"/>
                  <a:pt x="10049872" y="4807893"/>
                </a:cubicBezTo>
                <a:cubicBezTo>
                  <a:pt x="10048807" y="4806828"/>
                  <a:pt x="10047476" y="4805896"/>
                  <a:pt x="10045878" y="4805230"/>
                </a:cubicBezTo>
                <a:cubicBezTo>
                  <a:pt x="10044414" y="4804565"/>
                  <a:pt x="10042817" y="4804299"/>
                  <a:pt x="10040820" y="4804299"/>
                </a:cubicBezTo>
                <a:close/>
                <a:moveTo>
                  <a:pt x="9823176" y="4804299"/>
                </a:moveTo>
                <a:cubicBezTo>
                  <a:pt x="9817318" y="4804299"/>
                  <a:pt x="9814788" y="4806296"/>
                  <a:pt x="9813191" y="4807893"/>
                </a:cubicBezTo>
                <a:cubicBezTo>
                  <a:pt x="9810662" y="4810555"/>
                  <a:pt x="9809597" y="4813351"/>
                  <a:pt x="9809597" y="4817344"/>
                </a:cubicBezTo>
                <a:cubicBezTo>
                  <a:pt x="9809597" y="4821471"/>
                  <a:pt x="9810662" y="4824266"/>
                  <a:pt x="9813191" y="4826795"/>
                </a:cubicBezTo>
                <a:cubicBezTo>
                  <a:pt x="9814788" y="4828394"/>
                  <a:pt x="9817318" y="4830257"/>
                  <a:pt x="9823176" y="4830257"/>
                </a:cubicBezTo>
                <a:cubicBezTo>
                  <a:pt x="9825173" y="4830257"/>
                  <a:pt x="9827036" y="4829991"/>
                  <a:pt x="9828501" y="4829325"/>
                </a:cubicBezTo>
                <a:cubicBezTo>
                  <a:pt x="9830098" y="4828793"/>
                  <a:pt x="9831296" y="4827861"/>
                  <a:pt x="9832227" y="4826928"/>
                </a:cubicBezTo>
                <a:cubicBezTo>
                  <a:pt x="9833293" y="4825730"/>
                  <a:pt x="9834225" y="4824399"/>
                  <a:pt x="9834890" y="4822669"/>
                </a:cubicBezTo>
                <a:cubicBezTo>
                  <a:pt x="9835689" y="4821071"/>
                  <a:pt x="9835955" y="4819207"/>
                  <a:pt x="9835955" y="4817211"/>
                </a:cubicBezTo>
                <a:cubicBezTo>
                  <a:pt x="9835955" y="4815347"/>
                  <a:pt x="9835555" y="4813617"/>
                  <a:pt x="9834890" y="4812020"/>
                </a:cubicBezTo>
                <a:cubicBezTo>
                  <a:pt x="9834225" y="4810422"/>
                  <a:pt x="9833293" y="4809091"/>
                  <a:pt x="9832227" y="4807893"/>
                </a:cubicBezTo>
                <a:cubicBezTo>
                  <a:pt x="9831162" y="4806828"/>
                  <a:pt x="9829831" y="4805896"/>
                  <a:pt x="9828234" y="4805230"/>
                </a:cubicBezTo>
                <a:cubicBezTo>
                  <a:pt x="9826770" y="4804565"/>
                  <a:pt x="9825173" y="4804299"/>
                  <a:pt x="9823176" y="4804299"/>
                </a:cubicBezTo>
                <a:close/>
                <a:moveTo>
                  <a:pt x="9605531" y="4804299"/>
                </a:moveTo>
                <a:cubicBezTo>
                  <a:pt x="9599673" y="4804299"/>
                  <a:pt x="9597143" y="4806296"/>
                  <a:pt x="9595546" y="4807893"/>
                </a:cubicBezTo>
                <a:cubicBezTo>
                  <a:pt x="9593017" y="4810555"/>
                  <a:pt x="9591952" y="4813351"/>
                  <a:pt x="9591952" y="4817344"/>
                </a:cubicBezTo>
                <a:cubicBezTo>
                  <a:pt x="9591952" y="4821471"/>
                  <a:pt x="9593017" y="4824266"/>
                  <a:pt x="9595546" y="4826795"/>
                </a:cubicBezTo>
                <a:cubicBezTo>
                  <a:pt x="9597143" y="4828394"/>
                  <a:pt x="9599673" y="4830257"/>
                  <a:pt x="9605531" y="4830257"/>
                </a:cubicBezTo>
                <a:cubicBezTo>
                  <a:pt x="9607660" y="4830257"/>
                  <a:pt x="9609391" y="4829991"/>
                  <a:pt x="9610855" y="4829325"/>
                </a:cubicBezTo>
                <a:cubicBezTo>
                  <a:pt x="9612319" y="4828793"/>
                  <a:pt x="9613651" y="4827861"/>
                  <a:pt x="9614582" y="4826928"/>
                </a:cubicBezTo>
                <a:cubicBezTo>
                  <a:pt x="9615647" y="4825730"/>
                  <a:pt x="9616579" y="4824399"/>
                  <a:pt x="9617245" y="4822669"/>
                </a:cubicBezTo>
                <a:cubicBezTo>
                  <a:pt x="9618044" y="4821071"/>
                  <a:pt x="9618309" y="4819207"/>
                  <a:pt x="9618309" y="4817211"/>
                </a:cubicBezTo>
                <a:cubicBezTo>
                  <a:pt x="9618309" y="4815347"/>
                  <a:pt x="9617910" y="4813617"/>
                  <a:pt x="9617245" y="4812020"/>
                </a:cubicBezTo>
                <a:cubicBezTo>
                  <a:pt x="9616579" y="4810422"/>
                  <a:pt x="9615647" y="4809091"/>
                  <a:pt x="9614582" y="4807893"/>
                </a:cubicBezTo>
                <a:cubicBezTo>
                  <a:pt x="9613517" y="4806828"/>
                  <a:pt x="9612186" y="4805896"/>
                  <a:pt x="9610589" y="4805230"/>
                </a:cubicBezTo>
                <a:cubicBezTo>
                  <a:pt x="9609124" y="4804565"/>
                  <a:pt x="9607394" y="4804299"/>
                  <a:pt x="9605531" y="4804299"/>
                </a:cubicBezTo>
                <a:close/>
                <a:moveTo>
                  <a:pt x="9387885" y="4804299"/>
                </a:moveTo>
                <a:cubicBezTo>
                  <a:pt x="9382027" y="4804299"/>
                  <a:pt x="9379497" y="4806296"/>
                  <a:pt x="9377900" y="4807893"/>
                </a:cubicBezTo>
                <a:cubicBezTo>
                  <a:pt x="9375371" y="4810555"/>
                  <a:pt x="9374307" y="4813351"/>
                  <a:pt x="9374307" y="4817344"/>
                </a:cubicBezTo>
                <a:cubicBezTo>
                  <a:pt x="9374307" y="4821471"/>
                  <a:pt x="9375371" y="4824266"/>
                  <a:pt x="9377900" y="4826795"/>
                </a:cubicBezTo>
                <a:cubicBezTo>
                  <a:pt x="9379497" y="4828394"/>
                  <a:pt x="9382027" y="4830257"/>
                  <a:pt x="9387885" y="4830257"/>
                </a:cubicBezTo>
                <a:cubicBezTo>
                  <a:pt x="9390015" y="4830257"/>
                  <a:pt x="9391746" y="4829991"/>
                  <a:pt x="9393210" y="4829325"/>
                </a:cubicBezTo>
                <a:cubicBezTo>
                  <a:pt x="9394674" y="4828793"/>
                  <a:pt x="9396005" y="4827861"/>
                  <a:pt x="9396937" y="4826928"/>
                </a:cubicBezTo>
                <a:cubicBezTo>
                  <a:pt x="9398002" y="4825730"/>
                  <a:pt x="9398934" y="4824399"/>
                  <a:pt x="9399599" y="4822669"/>
                </a:cubicBezTo>
                <a:cubicBezTo>
                  <a:pt x="9400398" y="4821071"/>
                  <a:pt x="9400664" y="4819207"/>
                  <a:pt x="9400664" y="4817211"/>
                </a:cubicBezTo>
                <a:cubicBezTo>
                  <a:pt x="9400664" y="4815347"/>
                  <a:pt x="9400265" y="4813617"/>
                  <a:pt x="9399599" y="4812020"/>
                </a:cubicBezTo>
                <a:cubicBezTo>
                  <a:pt x="9398934" y="4810422"/>
                  <a:pt x="9398002" y="4809091"/>
                  <a:pt x="9396937" y="4807893"/>
                </a:cubicBezTo>
                <a:cubicBezTo>
                  <a:pt x="9395872" y="4806828"/>
                  <a:pt x="9394541" y="4805896"/>
                  <a:pt x="9392943" y="4805230"/>
                </a:cubicBezTo>
                <a:cubicBezTo>
                  <a:pt x="9391479" y="4804565"/>
                  <a:pt x="9389749" y="4804299"/>
                  <a:pt x="9387885" y="4804299"/>
                </a:cubicBezTo>
                <a:close/>
                <a:moveTo>
                  <a:pt x="9170374" y="4804299"/>
                </a:moveTo>
                <a:cubicBezTo>
                  <a:pt x="9164649" y="4804299"/>
                  <a:pt x="9161986" y="4806296"/>
                  <a:pt x="9160389" y="4807893"/>
                </a:cubicBezTo>
                <a:cubicBezTo>
                  <a:pt x="9157860" y="4810555"/>
                  <a:pt x="9156795" y="4813351"/>
                  <a:pt x="9156795" y="4817344"/>
                </a:cubicBezTo>
                <a:cubicBezTo>
                  <a:pt x="9156795" y="4821471"/>
                  <a:pt x="9157860" y="4824266"/>
                  <a:pt x="9160389" y="4826795"/>
                </a:cubicBezTo>
                <a:cubicBezTo>
                  <a:pt x="9161986" y="4828394"/>
                  <a:pt x="9164516" y="4830257"/>
                  <a:pt x="9170374" y="4830257"/>
                </a:cubicBezTo>
                <a:cubicBezTo>
                  <a:pt x="9172370" y="4830257"/>
                  <a:pt x="9174100" y="4829991"/>
                  <a:pt x="9175698" y="4829325"/>
                </a:cubicBezTo>
                <a:cubicBezTo>
                  <a:pt x="9177163" y="4828793"/>
                  <a:pt x="9178494" y="4827861"/>
                  <a:pt x="9179425" y="4826928"/>
                </a:cubicBezTo>
                <a:cubicBezTo>
                  <a:pt x="9180491" y="4825730"/>
                  <a:pt x="9181422" y="4824399"/>
                  <a:pt x="9182088" y="4822669"/>
                </a:cubicBezTo>
                <a:cubicBezTo>
                  <a:pt x="9182887" y="4821071"/>
                  <a:pt x="9183152" y="4819207"/>
                  <a:pt x="9183152" y="4817211"/>
                </a:cubicBezTo>
                <a:cubicBezTo>
                  <a:pt x="9183152" y="4815347"/>
                  <a:pt x="9182753" y="4813617"/>
                  <a:pt x="9182088" y="4812020"/>
                </a:cubicBezTo>
                <a:cubicBezTo>
                  <a:pt x="9181422" y="4810422"/>
                  <a:pt x="9180491" y="4809091"/>
                  <a:pt x="9179425" y="4807893"/>
                </a:cubicBezTo>
                <a:cubicBezTo>
                  <a:pt x="9178360" y="4806828"/>
                  <a:pt x="9177029" y="4805896"/>
                  <a:pt x="9175432" y="4805230"/>
                </a:cubicBezTo>
                <a:cubicBezTo>
                  <a:pt x="9173967" y="4804565"/>
                  <a:pt x="9172237" y="4804299"/>
                  <a:pt x="9170374" y="4804299"/>
                </a:cubicBezTo>
                <a:close/>
                <a:moveTo>
                  <a:pt x="8952728" y="4804299"/>
                </a:moveTo>
                <a:cubicBezTo>
                  <a:pt x="8947003" y="4804299"/>
                  <a:pt x="8944340" y="4806296"/>
                  <a:pt x="8942743" y="4807893"/>
                </a:cubicBezTo>
                <a:cubicBezTo>
                  <a:pt x="8940214" y="4810555"/>
                  <a:pt x="8939150" y="4813351"/>
                  <a:pt x="8939150" y="4817344"/>
                </a:cubicBezTo>
                <a:cubicBezTo>
                  <a:pt x="8939150" y="4821471"/>
                  <a:pt x="8940214" y="4824266"/>
                  <a:pt x="8942743" y="4826795"/>
                </a:cubicBezTo>
                <a:cubicBezTo>
                  <a:pt x="8944340" y="4828394"/>
                  <a:pt x="8946870" y="4830257"/>
                  <a:pt x="8952728" y="4830257"/>
                </a:cubicBezTo>
                <a:cubicBezTo>
                  <a:pt x="8954725" y="4830257"/>
                  <a:pt x="8956589" y="4829991"/>
                  <a:pt x="8958053" y="4829325"/>
                </a:cubicBezTo>
                <a:cubicBezTo>
                  <a:pt x="8959517" y="4828793"/>
                  <a:pt x="8960849" y="4827861"/>
                  <a:pt x="8961780" y="4826928"/>
                </a:cubicBezTo>
                <a:cubicBezTo>
                  <a:pt x="8962845" y="4825730"/>
                  <a:pt x="8963777" y="4824399"/>
                  <a:pt x="8964442" y="4822669"/>
                </a:cubicBezTo>
                <a:cubicBezTo>
                  <a:pt x="8965241" y="4821071"/>
                  <a:pt x="8965507" y="4819207"/>
                  <a:pt x="8965507" y="4817211"/>
                </a:cubicBezTo>
                <a:cubicBezTo>
                  <a:pt x="8965507" y="4815347"/>
                  <a:pt x="8965108" y="4813617"/>
                  <a:pt x="8964442" y="4812020"/>
                </a:cubicBezTo>
                <a:cubicBezTo>
                  <a:pt x="8963777" y="4810422"/>
                  <a:pt x="8962845" y="4809091"/>
                  <a:pt x="8961780" y="4807893"/>
                </a:cubicBezTo>
                <a:cubicBezTo>
                  <a:pt x="8960715" y="4806828"/>
                  <a:pt x="8959384" y="4805896"/>
                  <a:pt x="8957786" y="4805230"/>
                </a:cubicBezTo>
                <a:cubicBezTo>
                  <a:pt x="8956322" y="4804565"/>
                  <a:pt x="8954592" y="4804299"/>
                  <a:pt x="8952728" y="4804299"/>
                </a:cubicBezTo>
                <a:close/>
                <a:moveTo>
                  <a:pt x="8735083" y="4804299"/>
                </a:moveTo>
                <a:cubicBezTo>
                  <a:pt x="8729358" y="4804299"/>
                  <a:pt x="8726695" y="4806296"/>
                  <a:pt x="8725098" y="4807893"/>
                </a:cubicBezTo>
                <a:cubicBezTo>
                  <a:pt x="8722569" y="4810555"/>
                  <a:pt x="8721504" y="4813351"/>
                  <a:pt x="8721504" y="4817344"/>
                </a:cubicBezTo>
                <a:cubicBezTo>
                  <a:pt x="8721504" y="4821471"/>
                  <a:pt x="8722569" y="4824266"/>
                  <a:pt x="8725098" y="4826795"/>
                </a:cubicBezTo>
                <a:cubicBezTo>
                  <a:pt x="8726695" y="4828394"/>
                  <a:pt x="8729225" y="4830257"/>
                  <a:pt x="8735083" y="4830257"/>
                </a:cubicBezTo>
                <a:cubicBezTo>
                  <a:pt x="8737079" y="4830257"/>
                  <a:pt x="8738943" y="4829991"/>
                  <a:pt x="8740407" y="4829325"/>
                </a:cubicBezTo>
                <a:cubicBezTo>
                  <a:pt x="8741872" y="4828793"/>
                  <a:pt x="8743203" y="4827861"/>
                  <a:pt x="8744134" y="4826928"/>
                </a:cubicBezTo>
                <a:cubicBezTo>
                  <a:pt x="8745200" y="4825730"/>
                  <a:pt x="8746132" y="4824399"/>
                  <a:pt x="8746797" y="4822669"/>
                </a:cubicBezTo>
                <a:cubicBezTo>
                  <a:pt x="8747596" y="4821071"/>
                  <a:pt x="8747862" y="4819207"/>
                  <a:pt x="8747862" y="4817211"/>
                </a:cubicBezTo>
                <a:cubicBezTo>
                  <a:pt x="8747862" y="4815347"/>
                  <a:pt x="8747462" y="4813617"/>
                  <a:pt x="8746797" y="4812020"/>
                </a:cubicBezTo>
                <a:cubicBezTo>
                  <a:pt x="8746132" y="4810422"/>
                  <a:pt x="8745200" y="4809091"/>
                  <a:pt x="8744134" y="4807893"/>
                </a:cubicBezTo>
                <a:cubicBezTo>
                  <a:pt x="8743069" y="4806828"/>
                  <a:pt x="8741738" y="4805896"/>
                  <a:pt x="8740141" y="4805230"/>
                </a:cubicBezTo>
                <a:cubicBezTo>
                  <a:pt x="8738677" y="4804565"/>
                  <a:pt x="8736946" y="4804299"/>
                  <a:pt x="8735083" y="4804299"/>
                </a:cubicBezTo>
                <a:close/>
                <a:moveTo>
                  <a:pt x="8517438" y="4804299"/>
                </a:moveTo>
                <a:cubicBezTo>
                  <a:pt x="8511713" y="4804299"/>
                  <a:pt x="8509051" y="4806296"/>
                  <a:pt x="8507453" y="4807893"/>
                </a:cubicBezTo>
                <a:cubicBezTo>
                  <a:pt x="8504925" y="4810555"/>
                  <a:pt x="8503860" y="4813351"/>
                  <a:pt x="8503860" y="4817344"/>
                </a:cubicBezTo>
                <a:cubicBezTo>
                  <a:pt x="8503860" y="4821471"/>
                  <a:pt x="8504925" y="4824266"/>
                  <a:pt x="8507453" y="4826795"/>
                </a:cubicBezTo>
                <a:cubicBezTo>
                  <a:pt x="8509051" y="4828394"/>
                  <a:pt x="8511581" y="4830257"/>
                  <a:pt x="8517438" y="4830257"/>
                </a:cubicBezTo>
                <a:cubicBezTo>
                  <a:pt x="8519568" y="4830257"/>
                  <a:pt x="8521299" y="4829991"/>
                  <a:pt x="8522763" y="4829325"/>
                </a:cubicBezTo>
                <a:cubicBezTo>
                  <a:pt x="8524227" y="4828793"/>
                  <a:pt x="8525559" y="4827861"/>
                  <a:pt x="8526490" y="4826928"/>
                </a:cubicBezTo>
                <a:cubicBezTo>
                  <a:pt x="8527555" y="4825730"/>
                  <a:pt x="8528487" y="4824399"/>
                  <a:pt x="8529152" y="4822669"/>
                </a:cubicBezTo>
                <a:cubicBezTo>
                  <a:pt x="8529818" y="4821071"/>
                  <a:pt x="8530084" y="4819207"/>
                  <a:pt x="8530084" y="4817211"/>
                </a:cubicBezTo>
                <a:cubicBezTo>
                  <a:pt x="8530084" y="4815347"/>
                  <a:pt x="8529818" y="4813617"/>
                  <a:pt x="8529152" y="4812020"/>
                </a:cubicBezTo>
                <a:cubicBezTo>
                  <a:pt x="8528487" y="4810422"/>
                  <a:pt x="8527555" y="4809091"/>
                  <a:pt x="8526490" y="4807893"/>
                </a:cubicBezTo>
                <a:cubicBezTo>
                  <a:pt x="8525425" y="4806828"/>
                  <a:pt x="8524094" y="4805896"/>
                  <a:pt x="8522496" y="4805230"/>
                </a:cubicBezTo>
                <a:cubicBezTo>
                  <a:pt x="8521032" y="4804565"/>
                  <a:pt x="8519302" y="4804299"/>
                  <a:pt x="8517438" y="4804299"/>
                </a:cubicBezTo>
                <a:close/>
                <a:moveTo>
                  <a:pt x="8299793" y="4804299"/>
                </a:moveTo>
                <a:cubicBezTo>
                  <a:pt x="8294068" y="4804299"/>
                  <a:pt x="8291406" y="4806296"/>
                  <a:pt x="8289809" y="4807893"/>
                </a:cubicBezTo>
                <a:cubicBezTo>
                  <a:pt x="8287280" y="4810555"/>
                  <a:pt x="8286215" y="4813351"/>
                  <a:pt x="8286215" y="4817344"/>
                </a:cubicBezTo>
                <a:cubicBezTo>
                  <a:pt x="8286215" y="4821471"/>
                  <a:pt x="8287280" y="4824266"/>
                  <a:pt x="8289809" y="4826795"/>
                </a:cubicBezTo>
                <a:cubicBezTo>
                  <a:pt x="8291406" y="4828394"/>
                  <a:pt x="8293935" y="4830257"/>
                  <a:pt x="8299793" y="4830257"/>
                </a:cubicBezTo>
                <a:cubicBezTo>
                  <a:pt x="8301923" y="4830257"/>
                  <a:pt x="8303653" y="4829991"/>
                  <a:pt x="8305118" y="4829325"/>
                </a:cubicBezTo>
                <a:cubicBezTo>
                  <a:pt x="8306582" y="4828793"/>
                  <a:pt x="8307913" y="4827861"/>
                  <a:pt x="8308844" y="4826928"/>
                </a:cubicBezTo>
                <a:cubicBezTo>
                  <a:pt x="8309910" y="4825730"/>
                  <a:pt x="8310842" y="4824399"/>
                  <a:pt x="8311507" y="4822669"/>
                </a:cubicBezTo>
                <a:cubicBezTo>
                  <a:pt x="8312172" y="4821071"/>
                  <a:pt x="8312439" y="4819207"/>
                  <a:pt x="8312439" y="4817211"/>
                </a:cubicBezTo>
                <a:cubicBezTo>
                  <a:pt x="8312439" y="4815347"/>
                  <a:pt x="8312172" y="4813617"/>
                  <a:pt x="8311507" y="4812020"/>
                </a:cubicBezTo>
                <a:cubicBezTo>
                  <a:pt x="8310842" y="4810422"/>
                  <a:pt x="8309910" y="4809091"/>
                  <a:pt x="8308844" y="4807893"/>
                </a:cubicBezTo>
                <a:cubicBezTo>
                  <a:pt x="8307779" y="4806828"/>
                  <a:pt x="8306448" y="4805896"/>
                  <a:pt x="8304851" y="4805230"/>
                </a:cubicBezTo>
                <a:cubicBezTo>
                  <a:pt x="8303387" y="4804565"/>
                  <a:pt x="8301790" y="4804299"/>
                  <a:pt x="8299793" y="4804299"/>
                </a:cubicBezTo>
                <a:close/>
                <a:moveTo>
                  <a:pt x="8082281" y="4804299"/>
                </a:moveTo>
                <a:cubicBezTo>
                  <a:pt x="8076424" y="4804299"/>
                  <a:pt x="8073894" y="4806296"/>
                  <a:pt x="8072297" y="4807893"/>
                </a:cubicBezTo>
                <a:cubicBezTo>
                  <a:pt x="8069768" y="4810555"/>
                  <a:pt x="8068703" y="4813351"/>
                  <a:pt x="8068703" y="4817344"/>
                </a:cubicBezTo>
                <a:cubicBezTo>
                  <a:pt x="8068703" y="4821471"/>
                  <a:pt x="8069768" y="4824266"/>
                  <a:pt x="8072297" y="4826795"/>
                </a:cubicBezTo>
                <a:cubicBezTo>
                  <a:pt x="8073894" y="4828394"/>
                  <a:pt x="8076424" y="4830257"/>
                  <a:pt x="8082281" y="4830257"/>
                </a:cubicBezTo>
                <a:cubicBezTo>
                  <a:pt x="8084277" y="4830257"/>
                  <a:pt x="8086007" y="4829991"/>
                  <a:pt x="8087605" y="4829325"/>
                </a:cubicBezTo>
                <a:cubicBezTo>
                  <a:pt x="8089069" y="4828793"/>
                  <a:pt x="8090401" y="4827861"/>
                  <a:pt x="8091332" y="4826928"/>
                </a:cubicBezTo>
                <a:cubicBezTo>
                  <a:pt x="8092397" y="4825730"/>
                  <a:pt x="8093329" y="4824399"/>
                  <a:pt x="8093994" y="4822669"/>
                </a:cubicBezTo>
                <a:cubicBezTo>
                  <a:pt x="8094660" y="4821071"/>
                  <a:pt x="8094926" y="4819207"/>
                  <a:pt x="8094926" y="4817211"/>
                </a:cubicBezTo>
                <a:cubicBezTo>
                  <a:pt x="8094926" y="4815347"/>
                  <a:pt x="8094660" y="4813617"/>
                  <a:pt x="8093994" y="4812020"/>
                </a:cubicBezTo>
                <a:cubicBezTo>
                  <a:pt x="8093329" y="4810422"/>
                  <a:pt x="8092397" y="4809091"/>
                  <a:pt x="8091332" y="4807893"/>
                </a:cubicBezTo>
                <a:cubicBezTo>
                  <a:pt x="8090267" y="4806828"/>
                  <a:pt x="8088936" y="4805896"/>
                  <a:pt x="8087338" y="4805230"/>
                </a:cubicBezTo>
                <a:cubicBezTo>
                  <a:pt x="8085874" y="4804565"/>
                  <a:pt x="8084277" y="4804299"/>
                  <a:pt x="8082281" y="4804299"/>
                </a:cubicBezTo>
                <a:close/>
                <a:moveTo>
                  <a:pt x="7864636" y="4804299"/>
                </a:moveTo>
                <a:cubicBezTo>
                  <a:pt x="7858779" y="4804299"/>
                  <a:pt x="7856249" y="4806296"/>
                  <a:pt x="7854652" y="4807893"/>
                </a:cubicBezTo>
                <a:cubicBezTo>
                  <a:pt x="7852123" y="4810555"/>
                  <a:pt x="7851058" y="4813351"/>
                  <a:pt x="7851058" y="4817344"/>
                </a:cubicBezTo>
                <a:cubicBezTo>
                  <a:pt x="7851058" y="4821471"/>
                  <a:pt x="7852123" y="4824266"/>
                  <a:pt x="7854652" y="4826795"/>
                </a:cubicBezTo>
                <a:cubicBezTo>
                  <a:pt x="7856249" y="4828394"/>
                  <a:pt x="7858779" y="4830257"/>
                  <a:pt x="7864636" y="4830257"/>
                </a:cubicBezTo>
                <a:cubicBezTo>
                  <a:pt x="7866633" y="4830257"/>
                  <a:pt x="7868363" y="4829991"/>
                  <a:pt x="7869961" y="4829325"/>
                </a:cubicBezTo>
                <a:cubicBezTo>
                  <a:pt x="7871425" y="4828793"/>
                  <a:pt x="7872756" y="4827861"/>
                  <a:pt x="7873687" y="4826928"/>
                </a:cubicBezTo>
                <a:cubicBezTo>
                  <a:pt x="7874753" y="4825730"/>
                  <a:pt x="7875685" y="4824399"/>
                  <a:pt x="7876350" y="4822669"/>
                </a:cubicBezTo>
                <a:cubicBezTo>
                  <a:pt x="7877015" y="4821071"/>
                  <a:pt x="7877282" y="4819207"/>
                  <a:pt x="7877282" y="4817211"/>
                </a:cubicBezTo>
                <a:cubicBezTo>
                  <a:pt x="7877282" y="4815347"/>
                  <a:pt x="7877015" y="4813617"/>
                  <a:pt x="7876350" y="4812020"/>
                </a:cubicBezTo>
                <a:cubicBezTo>
                  <a:pt x="7875685" y="4810422"/>
                  <a:pt x="7874753" y="4809091"/>
                  <a:pt x="7873687" y="4807893"/>
                </a:cubicBezTo>
                <a:cubicBezTo>
                  <a:pt x="7872623" y="4806828"/>
                  <a:pt x="7871291" y="4805896"/>
                  <a:pt x="7869694" y="4805230"/>
                </a:cubicBezTo>
                <a:cubicBezTo>
                  <a:pt x="7868230" y="4804565"/>
                  <a:pt x="7866633" y="4804299"/>
                  <a:pt x="7864636" y="4804299"/>
                </a:cubicBezTo>
                <a:close/>
                <a:moveTo>
                  <a:pt x="7646991" y="4804299"/>
                </a:moveTo>
                <a:cubicBezTo>
                  <a:pt x="7641134" y="4804299"/>
                  <a:pt x="7638604" y="4806296"/>
                  <a:pt x="7637007" y="4807893"/>
                </a:cubicBezTo>
                <a:cubicBezTo>
                  <a:pt x="7634478" y="4810555"/>
                  <a:pt x="7633413" y="4813351"/>
                  <a:pt x="7633413" y="4817344"/>
                </a:cubicBezTo>
                <a:cubicBezTo>
                  <a:pt x="7633413" y="4821471"/>
                  <a:pt x="7634478" y="4824266"/>
                  <a:pt x="7637007" y="4826795"/>
                </a:cubicBezTo>
                <a:cubicBezTo>
                  <a:pt x="7638604" y="4828394"/>
                  <a:pt x="7641134" y="4830257"/>
                  <a:pt x="7646991" y="4830257"/>
                </a:cubicBezTo>
                <a:cubicBezTo>
                  <a:pt x="7648987" y="4830257"/>
                  <a:pt x="7650851" y="4829991"/>
                  <a:pt x="7652315" y="4829325"/>
                </a:cubicBezTo>
                <a:cubicBezTo>
                  <a:pt x="7653780" y="4828793"/>
                  <a:pt x="7655111" y="4827861"/>
                  <a:pt x="7656042" y="4826928"/>
                </a:cubicBezTo>
                <a:cubicBezTo>
                  <a:pt x="7657108" y="4825730"/>
                  <a:pt x="7658039" y="4824399"/>
                  <a:pt x="7658705" y="4822669"/>
                </a:cubicBezTo>
                <a:cubicBezTo>
                  <a:pt x="7659504" y="4821071"/>
                  <a:pt x="7659769" y="4819207"/>
                  <a:pt x="7659769" y="4817211"/>
                </a:cubicBezTo>
                <a:cubicBezTo>
                  <a:pt x="7659769" y="4815347"/>
                  <a:pt x="7659370" y="4813617"/>
                  <a:pt x="7658705" y="4812020"/>
                </a:cubicBezTo>
                <a:cubicBezTo>
                  <a:pt x="7658039" y="4810422"/>
                  <a:pt x="7657108" y="4809091"/>
                  <a:pt x="7656042" y="4807893"/>
                </a:cubicBezTo>
                <a:cubicBezTo>
                  <a:pt x="7654977" y="4806828"/>
                  <a:pt x="7653646" y="4805896"/>
                  <a:pt x="7652049" y="4805230"/>
                </a:cubicBezTo>
                <a:cubicBezTo>
                  <a:pt x="7650584" y="4804565"/>
                  <a:pt x="7648987" y="4804299"/>
                  <a:pt x="7646991" y="4804299"/>
                </a:cubicBezTo>
                <a:close/>
                <a:moveTo>
                  <a:pt x="7429345" y="4804299"/>
                </a:moveTo>
                <a:cubicBezTo>
                  <a:pt x="7423488" y="4804299"/>
                  <a:pt x="7420958" y="4806296"/>
                  <a:pt x="7419361" y="4807893"/>
                </a:cubicBezTo>
                <a:cubicBezTo>
                  <a:pt x="7416832" y="4810555"/>
                  <a:pt x="7415768" y="4813351"/>
                  <a:pt x="7415768" y="4817344"/>
                </a:cubicBezTo>
                <a:cubicBezTo>
                  <a:pt x="7415768" y="4821471"/>
                  <a:pt x="7416832" y="4824266"/>
                  <a:pt x="7419361" y="4826795"/>
                </a:cubicBezTo>
                <a:cubicBezTo>
                  <a:pt x="7420958" y="4828394"/>
                  <a:pt x="7423488" y="4830257"/>
                  <a:pt x="7429345" y="4830257"/>
                </a:cubicBezTo>
                <a:cubicBezTo>
                  <a:pt x="7431342" y="4830257"/>
                  <a:pt x="7433206" y="4829991"/>
                  <a:pt x="7434670" y="4829325"/>
                </a:cubicBezTo>
                <a:cubicBezTo>
                  <a:pt x="7436134" y="4828793"/>
                  <a:pt x="7437466" y="4827861"/>
                  <a:pt x="7438397" y="4826928"/>
                </a:cubicBezTo>
                <a:cubicBezTo>
                  <a:pt x="7439462" y="4825730"/>
                  <a:pt x="7440394" y="4824399"/>
                  <a:pt x="7441059" y="4822669"/>
                </a:cubicBezTo>
                <a:cubicBezTo>
                  <a:pt x="7441858" y="4821071"/>
                  <a:pt x="7442124" y="4819207"/>
                  <a:pt x="7442124" y="4817211"/>
                </a:cubicBezTo>
                <a:cubicBezTo>
                  <a:pt x="7442124" y="4815347"/>
                  <a:pt x="7441725" y="4813617"/>
                  <a:pt x="7441059" y="4812020"/>
                </a:cubicBezTo>
                <a:cubicBezTo>
                  <a:pt x="7440394" y="4810422"/>
                  <a:pt x="7439462" y="4809091"/>
                  <a:pt x="7438397" y="4807893"/>
                </a:cubicBezTo>
                <a:cubicBezTo>
                  <a:pt x="7437332" y="4806828"/>
                  <a:pt x="7436001" y="4805896"/>
                  <a:pt x="7434403" y="4805230"/>
                </a:cubicBezTo>
                <a:cubicBezTo>
                  <a:pt x="7432939" y="4804565"/>
                  <a:pt x="7431342" y="4804299"/>
                  <a:pt x="7429345" y="4804299"/>
                </a:cubicBezTo>
                <a:close/>
                <a:moveTo>
                  <a:pt x="7211701" y="4804299"/>
                </a:moveTo>
                <a:cubicBezTo>
                  <a:pt x="7205844" y="4804299"/>
                  <a:pt x="7203314" y="4806296"/>
                  <a:pt x="7201717" y="4807893"/>
                </a:cubicBezTo>
                <a:cubicBezTo>
                  <a:pt x="7199188" y="4810555"/>
                  <a:pt x="7198123" y="4813351"/>
                  <a:pt x="7198123" y="4817344"/>
                </a:cubicBezTo>
                <a:cubicBezTo>
                  <a:pt x="7198123" y="4821471"/>
                  <a:pt x="7199188" y="4824266"/>
                  <a:pt x="7201717" y="4826795"/>
                </a:cubicBezTo>
                <a:cubicBezTo>
                  <a:pt x="7203314" y="4828394"/>
                  <a:pt x="7205844" y="4830257"/>
                  <a:pt x="7211701" y="4830257"/>
                </a:cubicBezTo>
                <a:cubicBezTo>
                  <a:pt x="7213830" y="4830257"/>
                  <a:pt x="7215561" y="4829991"/>
                  <a:pt x="7217026" y="4829325"/>
                </a:cubicBezTo>
                <a:cubicBezTo>
                  <a:pt x="7218490" y="4828793"/>
                  <a:pt x="7219821" y="4827861"/>
                  <a:pt x="7220752" y="4826928"/>
                </a:cubicBezTo>
                <a:cubicBezTo>
                  <a:pt x="7221818" y="4825730"/>
                  <a:pt x="7222750" y="4824399"/>
                  <a:pt x="7223415" y="4822669"/>
                </a:cubicBezTo>
                <a:cubicBezTo>
                  <a:pt x="7224214" y="4821071"/>
                  <a:pt x="7224480" y="4819207"/>
                  <a:pt x="7224480" y="4817211"/>
                </a:cubicBezTo>
                <a:cubicBezTo>
                  <a:pt x="7224480" y="4815347"/>
                  <a:pt x="7224080" y="4813617"/>
                  <a:pt x="7223415" y="4812020"/>
                </a:cubicBezTo>
                <a:cubicBezTo>
                  <a:pt x="7222750" y="4810422"/>
                  <a:pt x="7221818" y="4809091"/>
                  <a:pt x="7220752" y="4807893"/>
                </a:cubicBezTo>
                <a:cubicBezTo>
                  <a:pt x="7219687" y="4806828"/>
                  <a:pt x="7218356" y="4805896"/>
                  <a:pt x="7216759" y="4805230"/>
                </a:cubicBezTo>
                <a:cubicBezTo>
                  <a:pt x="7215295" y="4804565"/>
                  <a:pt x="7213698" y="4804299"/>
                  <a:pt x="7211701" y="4804299"/>
                </a:cubicBezTo>
                <a:close/>
                <a:moveTo>
                  <a:pt x="6994056" y="4804299"/>
                </a:moveTo>
                <a:cubicBezTo>
                  <a:pt x="6988199" y="4804299"/>
                  <a:pt x="6985669" y="4806296"/>
                  <a:pt x="6984072" y="4807893"/>
                </a:cubicBezTo>
                <a:cubicBezTo>
                  <a:pt x="6981543" y="4810555"/>
                  <a:pt x="6980478" y="4813351"/>
                  <a:pt x="6980478" y="4817344"/>
                </a:cubicBezTo>
                <a:cubicBezTo>
                  <a:pt x="6980478" y="4821471"/>
                  <a:pt x="6981543" y="4824266"/>
                  <a:pt x="6984072" y="4826795"/>
                </a:cubicBezTo>
                <a:cubicBezTo>
                  <a:pt x="6985669" y="4828394"/>
                  <a:pt x="6988199" y="4830257"/>
                  <a:pt x="6994056" y="4830257"/>
                </a:cubicBezTo>
                <a:cubicBezTo>
                  <a:pt x="6996185" y="4830257"/>
                  <a:pt x="6997916" y="4829991"/>
                  <a:pt x="6999380" y="4829325"/>
                </a:cubicBezTo>
                <a:cubicBezTo>
                  <a:pt x="7000844" y="4828793"/>
                  <a:pt x="7002176" y="4827861"/>
                  <a:pt x="7003107" y="4826928"/>
                </a:cubicBezTo>
                <a:cubicBezTo>
                  <a:pt x="7004172" y="4825730"/>
                  <a:pt x="7005104" y="4824399"/>
                  <a:pt x="7005769" y="4822669"/>
                </a:cubicBezTo>
                <a:cubicBezTo>
                  <a:pt x="7006568" y="4821071"/>
                  <a:pt x="7006834" y="4819207"/>
                  <a:pt x="7006834" y="4817211"/>
                </a:cubicBezTo>
                <a:cubicBezTo>
                  <a:pt x="7006834" y="4815347"/>
                  <a:pt x="7006435" y="4813617"/>
                  <a:pt x="7005769" y="4812020"/>
                </a:cubicBezTo>
                <a:cubicBezTo>
                  <a:pt x="7005104" y="4810422"/>
                  <a:pt x="7004172" y="4809091"/>
                  <a:pt x="7003107" y="4807893"/>
                </a:cubicBezTo>
                <a:cubicBezTo>
                  <a:pt x="7002042" y="4806828"/>
                  <a:pt x="7000711" y="4805896"/>
                  <a:pt x="6999113" y="4805230"/>
                </a:cubicBezTo>
                <a:cubicBezTo>
                  <a:pt x="6997649" y="4804565"/>
                  <a:pt x="6996052" y="4804299"/>
                  <a:pt x="6994056" y="4804299"/>
                </a:cubicBezTo>
                <a:close/>
                <a:moveTo>
                  <a:pt x="6776544" y="4804299"/>
                </a:moveTo>
                <a:cubicBezTo>
                  <a:pt x="6770687" y="4804299"/>
                  <a:pt x="6768157" y="4806296"/>
                  <a:pt x="6766560" y="4807893"/>
                </a:cubicBezTo>
                <a:cubicBezTo>
                  <a:pt x="6764031" y="4810555"/>
                  <a:pt x="6762966" y="4813351"/>
                  <a:pt x="6762966" y="4817344"/>
                </a:cubicBezTo>
                <a:cubicBezTo>
                  <a:pt x="6762966" y="4821471"/>
                  <a:pt x="6764031" y="4824266"/>
                  <a:pt x="6766560" y="4826795"/>
                </a:cubicBezTo>
                <a:cubicBezTo>
                  <a:pt x="6768157" y="4828394"/>
                  <a:pt x="6770687" y="4830257"/>
                  <a:pt x="6776544" y="4830257"/>
                </a:cubicBezTo>
                <a:cubicBezTo>
                  <a:pt x="6778541" y="4830257"/>
                  <a:pt x="6780270" y="4829991"/>
                  <a:pt x="6781869" y="4829325"/>
                </a:cubicBezTo>
                <a:cubicBezTo>
                  <a:pt x="6783333" y="4828793"/>
                  <a:pt x="6784664" y="4827861"/>
                  <a:pt x="6785595" y="4826928"/>
                </a:cubicBezTo>
                <a:cubicBezTo>
                  <a:pt x="6786661" y="4825730"/>
                  <a:pt x="6787593" y="4824399"/>
                  <a:pt x="6788258" y="4822669"/>
                </a:cubicBezTo>
                <a:cubicBezTo>
                  <a:pt x="6789057" y="4821071"/>
                  <a:pt x="6789323" y="4819207"/>
                  <a:pt x="6789323" y="4817211"/>
                </a:cubicBezTo>
                <a:cubicBezTo>
                  <a:pt x="6789323" y="4815347"/>
                  <a:pt x="6788923" y="4813617"/>
                  <a:pt x="6788258" y="4812020"/>
                </a:cubicBezTo>
                <a:cubicBezTo>
                  <a:pt x="6787593" y="4810422"/>
                  <a:pt x="6786661" y="4809091"/>
                  <a:pt x="6785595" y="4807893"/>
                </a:cubicBezTo>
                <a:cubicBezTo>
                  <a:pt x="6784530" y="4806828"/>
                  <a:pt x="6783199" y="4805896"/>
                  <a:pt x="6781602" y="4805230"/>
                </a:cubicBezTo>
                <a:cubicBezTo>
                  <a:pt x="6780138" y="4804565"/>
                  <a:pt x="6778541" y="4804299"/>
                  <a:pt x="6776544" y="4804299"/>
                </a:cubicBezTo>
                <a:close/>
                <a:moveTo>
                  <a:pt x="6558899" y="4804299"/>
                </a:moveTo>
                <a:cubicBezTo>
                  <a:pt x="6553042" y="4804299"/>
                  <a:pt x="6550512" y="4806296"/>
                  <a:pt x="6548915" y="4807893"/>
                </a:cubicBezTo>
                <a:cubicBezTo>
                  <a:pt x="6546386" y="4810555"/>
                  <a:pt x="6545321" y="4813351"/>
                  <a:pt x="6545321" y="4817344"/>
                </a:cubicBezTo>
                <a:cubicBezTo>
                  <a:pt x="6545321" y="4821471"/>
                  <a:pt x="6546386" y="4824266"/>
                  <a:pt x="6548915" y="4826795"/>
                </a:cubicBezTo>
                <a:cubicBezTo>
                  <a:pt x="6550512" y="4828394"/>
                  <a:pt x="6553042" y="4830257"/>
                  <a:pt x="6558899" y="4830257"/>
                </a:cubicBezTo>
                <a:cubicBezTo>
                  <a:pt x="6560895" y="4830257"/>
                  <a:pt x="6562759" y="4829991"/>
                  <a:pt x="6564223" y="4829325"/>
                </a:cubicBezTo>
                <a:cubicBezTo>
                  <a:pt x="6565687" y="4828793"/>
                  <a:pt x="6567019" y="4827861"/>
                  <a:pt x="6567950" y="4826928"/>
                </a:cubicBezTo>
                <a:cubicBezTo>
                  <a:pt x="6569015" y="4825730"/>
                  <a:pt x="6569947" y="4824399"/>
                  <a:pt x="6570612" y="4822669"/>
                </a:cubicBezTo>
                <a:cubicBezTo>
                  <a:pt x="6571412" y="4821071"/>
                  <a:pt x="6571677" y="4819207"/>
                  <a:pt x="6571677" y="4817211"/>
                </a:cubicBezTo>
                <a:cubicBezTo>
                  <a:pt x="6571677" y="4815347"/>
                  <a:pt x="6571278" y="4813617"/>
                  <a:pt x="6570612" y="4812020"/>
                </a:cubicBezTo>
                <a:cubicBezTo>
                  <a:pt x="6569947" y="4810422"/>
                  <a:pt x="6569015" y="4809091"/>
                  <a:pt x="6567950" y="4807893"/>
                </a:cubicBezTo>
                <a:cubicBezTo>
                  <a:pt x="6566885" y="4806828"/>
                  <a:pt x="6565554" y="4805896"/>
                  <a:pt x="6563956" y="4805230"/>
                </a:cubicBezTo>
                <a:cubicBezTo>
                  <a:pt x="6562492" y="4804565"/>
                  <a:pt x="6560895" y="4804299"/>
                  <a:pt x="6558899" y="4804299"/>
                </a:cubicBezTo>
                <a:close/>
                <a:moveTo>
                  <a:pt x="6341253" y="4804299"/>
                </a:moveTo>
                <a:cubicBezTo>
                  <a:pt x="6335396" y="4804299"/>
                  <a:pt x="6332867" y="4806296"/>
                  <a:pt x="6331270" y="4807893"/>
                </a:cubicBezTo>
                <a:cubicBezTo>
                  <a:pt x="6328740" y="4810555"/>
                  <a:pt x="6327675" y="4813351"/>
                  <a:pt x="6327675" y="4817344"/>
                </a:cubicBezTo>
                <a:cubicBezTo>
                  <a:pt x="6327675" y="4821471"/>
                  <a:pt x="6328740" y="4824266"/>
                  <a:pt x="6331270" y="4826795"/>
                </a:cubicBezTo>
                <a:cubicBezTo>
                  <a:pt x="6332867" y="4828394"/>
                  <a:pt x="6335396" y="4830257"/>
                  <a:pt x="6341253" y="4830257"/>
                </a:cubicBezTo>
                <a:cubicBezTo>
                  <a:pt x="6343250" y="4830257"/>
                  <a:pt x="6345114" y="4829991"/>
                  <a:pt x="6346578" y="4829325"/>
                </a:cubicBezTo>
                <a:cubicBezTo>
                  <a:pt x="6348042" y="4828793"/>
                  <a:pt x="6349373" y="4827861"/>
                  <a:pt x="6350305" y="4826928"/>
                </a:cubicBezTo>
                <a:cubicBezTo>
                  <a:pt x="6351370" y="4825730"/>
                  <a:pt x="6352302" y="4824399"/>
                  <a:pt x="6352968" y="4822669"/>
                </a:cubicBezTo>
                <a:cubicBezTo>
                  <a:pt x="6353766" y="4821071"/>
                  <a:pt x="6354033" y="4819207"/>
                  <a:pt x="6354033" y="4817211"/>
                </a:cubicBezTo>
                <a:cubicBezTo>
                  <a:pt x="6354033" y="4815347"/>
                  <a:pt x="6353633" y="4813617"/>
                  <a:pt x="6352968" y="4812020"/>
                </a:cubicBezTo>
                <a:cubicBezTo>
                  <a:pt x="6352302" y="4810422"/>
                  <a:pt x="6351370" y="4809091"/>
                  <a:pt x="6350305" y="4807893"/>
                </a:cubicBezTo>
                <a:cubicBezTo>
                  <a:pt x="6349241" y="4806828"/>
                  <a:pt x="6347909" y="4805896"/>
                  <a:pt x="6346312" y="4805230"/>
                </a:cubicBezTo>
                <a:cubicBezTo>
                  <a:pt x="6344848" y="4804565"/>
                  <a:pt x="6343250" y="4804299"/>
                  <a:pt x="6341253" y="4804299"/>
                </a:cubicBezTo>
                <a:close/>
                <a:moveTo>
                  <a:pt x="6123608" y="4804299"/>
                </a:moveTo>
                <a:cubicBezTo>
                  <a:pt x="6117751" y="4804299"/>
                  <a:pt x="6115221" y="4806296"/>
                  <a:pt x="6113624" y="4807893"/>
                </a:cubicBezTo>
                <a:cubicBezTo>
                  <a:pt x="6111095" y="4810555"/>
                  <a:pt x="6110030" y="4813351"/>
                  <a:pt x="6110030" y="4817344"/>
                </a:cubicBezTo>
                <a:cubicBezTo>
                  <a:pt x="6110030" y="4821471"/>
                  <a:pt x="6111095" y="4824266"/>
                  <a:pt x="6113624" y="4826795"/>
                </a:cubicBezTo>
                <a:cubicBezTo>
                  <a:pt x="6115221" y="4828394"/>
                  <a:pt x="6117751" y="4830257"/>
                  <a:pt x="6123608" y="4830257"/>
                </a:cubicBezTo>
                <a:cubicBezTo>
                  <a:pt x="6125737" y="4830257"/>
                  <a:pt x="6127468" y="4829991"/>
                  <a:pt x="6128932" y="4829325"/>
                </a:cubicBezTo>
                <a:cubicBezTo>
                  <a:pt x="6130530" y="4828793"/>
                  <a:pt x="6131728" y="4827861"/>
                  <a:pt x="6132659" y="4826928"/>
                </a:cubicBezTo>
                <a:cubicBezTo>
                  <a:pt x="6133724" y="4825730"/>
                  <a:pt x="6134656" y="4824399"/>
                  <a:pt x="6135322" y="4822669"/>
                </a:cubicBezTo>
                <a:cubicBezTo>
                  <a:pt x="6135987" y="4821071"/>
                  <a:pt x="6136387" y="4819207"/>
                  <a:pt x="6136387" y="4817211"/>
                </a:cubicBezTo>
                <a:cubicBezTo>
                  <a:pt x="6136387" y="4815347"/>
                  <a:pt x="6135987" y="4813617"/>
                  <a:pt x="6135322" y="4812020"/>
                </a:cubicBezTo>
                <a:cubicBezTo>
                  <a:pt x="6134656" y="4810422"/>
                  <a:pt x="6133724" y="4809091"/>
                  <a:pt x="6132659" y="4807893"/>
                </a:cubicBezTo>
                <a:cubicBezTo>
                  <a:pt x="6131594" y="4806828"/>
                  <a:pt x="6130263" y="4805896"/>
                  <a:pt x="6128666" y="4805230"/>
                </a:cubicBezTo>
                <a:cubicBezTo>
                  <a:pt x="6127202" y="4804565"/>
                  <a:pt x="6125604" y="4804299"/>
                  <a:pt x="6123608" y="4804299"/>
                </a:cubicBezTo>
                <a:close/>
                <a:moveTo>
                  <a:pt x="5905963" y="4804299"/>
                </a:moveTo>
                <a:cubicBezTo>
                  <a:pt x="5900106" y="4804299"/>
                  <a:pt x="5897576" y="4806296"/>
                  <a:pt x="5895979" y="4807893"/>
                </a:cubicBezTo>
                <a:cubicBezTo>
                  <a:pt x="5893450" y="4810555"/>
                  <a:pt x="5892385" y="4813351"/>
                  <a:pt x="5892385" y="4817344"/>
                </a:cubicBezTo>
                <a:cubicBezTo>
                  <a:pt x="5892385" y="4821471"/>
                  <a:pt x="5893450" y="4824266"/>
                  <a:pt x="5895979" y="4826795"/>
                </a:cubicBezTo>
                <a:cubicBezTo>
                  <a:pt x="5897576" y="4828394"/>
                  <a:pt x="5900106" y="4830257"/>
                  <a:pt x="5905963" y="4830257"/>
                </a:cubicBezTo>
                <a:cubicBezTo>
                  <a:pt x="5908093" y="4830257"/>
                  <a:pt x="5909823" y="4829991"/>
                  <a:pt x="5911287" y="4829325"/>
                </a:cubicBezTo>
                <a:cubicBezTo>
                  <a:pt x="5912751" y="4828793"/>
                  <a:pt x="5914083" y="4827861"/>
                  <a:pt x="5915014" y="4826928"/>
                </a:cubicBezTo>
                <a:cubicBezTo>
                  <a:pt x="5916079" y="4825730"/>
                  <a:pt x="5917011" y="4824399"/>
                  <a:pt x="5917677" y="4822669"/>
                </a:cubicBezTo>
                <a:cubicBezTo>
                  <a:pt x="5918342" y="4821071"/>
                  <a:pt x="5918742" y="4819207"/>
                  <a:pt x="5918742" y="4817211"/>
                </a:cubicBezTo>
                <a:cubicBezTo>
                  <a:pt x="5918742" y="4815347"/>
                  <a:pt x="5918342" y="4813617"/>
                  <a:pt x="5917677" y="4812020"/>
                </a:cubicBezTo>
                <a:cubicBezTo>
                  <a:pt x="5917011" y="4810422"/>
                  <a:pt x="5916079" y="4809091"/>
                  <a:pt x="5915014" y="4807893"/>
                </a:cubicBezTo>
                <a:cubicBezTo>
                  <a:pt x="5913950" y="4806828"/>
                  <a:pt x="5912618" y="4805896"/>
                  <a:pt x="5911021" y="4805230"/>
                </a:cubicBezTo>
                <a:cubicBezTo>
                  <a:pt x="5909557" y="4804565"/>
                  <a:pt x="5907826" y="4804299"/>
                  <a:pt x="5905963" y="4804299"/>
                </a:cubicBezTo>
                <a:close/>
                <a:moveTo>
                  <a:pt x="5688451" y="4804299"/>
                </a:moveTo>
                <a:cubicBezTo>
                  <a:pt x="5682594" y="4804299"/>
                  <a:pt x="5680064" y="4806296"/>
                  <a:pt x="5678467" y="4807893"/>
                </a:cubicBezTo>
                <a:cubicBezTo>
                  <a:pt x="5675938" y="4810555"/>
                  <a:pt x="5674873" y="4813351"/>
                  <a:pt x="5674873" y="4817344"/>
                </a:cubicBezTo>
                <a:cubicBezTo>
                  <a:pt x="5674873" y="4821471"/>
                  <a:pt x="5675938" y="4824266"/>
                  <a:pt x="5678467" y="4826795"/>
                </a:cubicBezTo>
                <a:cubicBezTo>
                  <a:pt x="5680064" y="4828394"/>
                  <a:pt x="5682594" y="4830257"/>
                  <a:pt x="5688451" y="4830257"/>
                </a:cubicBezTo>
                <a:cubicBezTo>
                  <a:pt x="5690447" y="4830257"/>
                  <a:pt x="5692178" y="4829991"/>
                  <a:pt x="5693775" y="4829325"/>
                </a:cubicBezTo>
                <a:cubicBezTo>
                  <a:pt x="5695239" y="4828793"/>
                  <a:pt x="5696571" y="4827861"/>
                  <a:pt x="5697502" y="4826928"/>
                </a:cubicBezTo>
                <a:cubicBezTo>
                  <a:pt x="5698567" y="4825730"/>
                  <a:pt x="5699499" y="4824399"/>
                  <a:pt x="5700165" y="4822669"/>
                </a:cubicBezTo>
                <a:cubicBezTo>
                  <a:pt x="5700830" y="4821071"/>
                  <a:pt x="5701230" y="4819207"/>
                  <a:pt x="5701230" y="4817211"/>
                </a:cubicBezTo>
                <a:cubicBezTo>
                  <a:pt x="5701230" y="4815347"/>
                  <a:pt x="5700830" y="4813617"/>
                  <a:pt x="5700165" y="4812020"/>
                </a:cubicBezTo>
                <a:cubicBezTo>
                  <a:pt x="5699499" y="4810422"/>
                  <a:pt x="5698567" y="4809091"/>
                  <a:pt x="5697502" y="4807893"/>
                </a:cubicBezTo>
                <a:cubicBezTo>
                  <a:pt x="5696437" y="4806828"/>
                  <a:pt x="5695106" y="4805896"/>
                  <a:pt x="5693509" y="4805230"/>
                </a:cubicBezTo>
                <a:cubicBezTo>
                  <a:pt x="5692045" y="4804565"/>
                  <a:pt x="5690314" y="4804299"/>
                  <a:pt x="5688451" y="4804299"/>
                </a:cubicBezTo>
                <a:close/>
                <a:moveTo>
                  <a:pt x="5470806" y="4804299"/>
                </a:moveTo>
                <a:cubicBezTo>
                  <a:pt x="5464949" y="4804299"/>
                  <a:pt x="5462419" y="4806296"/>
                  <a:pt x="5460822" y="4807893"/>
                </a:cubicBezTo>
                <a:cubicBezTo>
                  <a:pt x="5458293" y="4810555"/>
                  <a:pt x="5457228" y="4813351"/>
                  <a:pt x="5457228" y="4817344"/>
                </a:cubicBezTo>
                <a:cubicBezTo>
                  <a:pt x="5457228" y="4821471"/>
                  <a:pt x="5458293" y="4824266"/>
                  <a:pt x="5460822" y="4826795"/>
                </a:cubicBezTo>
                <a:cubicBezTo>
                  <a:pt x="5462419" y="4828394"/>
                  <a:pt x="5464949" y="4830257"/>
                  <a:pt x="5470806" y="4830257"/>
                </a:cubicBezTo>
                <a:cubicBezTo>
                  <a:pt x="5472802" y="4830257"/>
                  <a:pt x="5474666" y="4829991"/>
                  <a:pt x="5476130" y="4829325"/>
                </a:cubicBezTo>
                <a:cubicBezTo>
                  <a:pt x="5477594" y="4828793"/>
                  <a:pt x="5478926" y="4827861"/>
                  <a:pt x="5479857" y="4826928"/>
                </a:cubicBezTo>
                <a:cubicBezTo>
                  <a:pt x="5480922" y="4825730"/>
                  <a:pt x="5481854" y="4824399"/>
                  <a:pt x="5482520" y="4822669"/>
                </a:cubicBezTo>
                <a:cubicBezTo>
                  <a:pt x="5483319" y="4821071"/>
                  <a:pt x="5483585" y="4819207"/>
                  <a:pt x="5483585" y="4817211"/>
                </a:cubicBezTo>
                <a:cubicBezTo>
                  <a:pt x="5483585" y="4815347"/>
                  <a:pt x="5483185" y="4813617"/>
                  <a:pt x="5482520" y="4812020"/>
                </a:cubicBezTo>
                <a:cubicBezTo>
                  <a:pt x="5481854" y="4810422"/>
                  <a:pt x="5480922" y="4809091"/>
                  <a:pt x="5479857" y="4807893"/>
                </a:cubicBezTo>
                <a:cubicBezTo>
                  <a:pt x="5478793" y="4806828"/>
                  <a:pt x="5477461" y="4805896"/>
                  <a:pt x="5475864" y="4805230"/>
                </a:cubicBezTo>
                <a:cubicBezTo>
                  <a:pt x="5474400" y="4804565"/>
                  <a:pt x="5472669" y="4804299"/>
                  <a:pt x="5470806" y="4804299"/>
                </a:cubicBezTo>
                <a:close/>
                <a:moveTo>
                  <a:pt x="5253160" y="4804299"/>
                </a:moveTo>
                <a:cubicBezTo>
                  <a:pt x="5247303" y="4804299"/>
                  <a:pt x="5244774" y="4806296"/>
                  <a:pt x="5243177" y="4807893"/>
                </a:cubicBezTo>
                <a:cubicBezTo>
                  <a:pt x="5240647" y="4810555"/>
                  <a:pt x="5239583" y="4813351"/>
                  <a:pt x="5239583" y="4817344"/>
                </a:cubicBezTo>
                <a:cubicBezTo>
                  <a:pt x="5239583" y="4821471"/>
                  <a:pt x="5240647" y="4824266"/>
                  <a:pt x="5243177" y="4826795"/>
                </a:cubicBezTo>
                <a:cubicBezTo>
                  <a:pt x="5244774" y="4828394"/>
                  <a:pt x="5247303" y="4830257"/>
                  <a:pt x="5253160" y="4830257"/>
                </a:cubicBezTo>
                <a:cubicBezTo>
                  <a:pt x="5255157" y="4830257"/>
                  <a:pt x="5257021" y="4829991"/>
                  <a:pt x="5258485" y="4829325"/>
                </a:cubicBezTo>
                <a:cubicBezTo>
                  <a:pt x="5259949" y="4828793"/>
                  <a:pt x="5261280" y="4827861"/>
                  <a:pt x="5262212" y="4826928"/>
                </a:cubicBezTo>
                <a:cubicBezTo>
                  <a:pt x="5263277" y="4825730"/>
                  <a:pt x="5264209" y="4824399"/>
                  <a:pt x="5264875" y="4822669"/>
                </a:cubicBezTo>
                <a:cubicBezTo>
                  <a:pt x="5265673" y="4821071"/>
                  <a:pt x="5265939" y="4819207"/>
                  <a:pt x="5265939" y="4817211"/>
                </a:cubicBezTo>
                <a:cubicBezTo>
                  <a:pt x="5265939" y="4815347"/>
                  <a:pt x="5265540" y="4813617"/>
                  <a:pt x="5264875" y="4812020"/>
                </a:cubicBezTo>
                <a:cubicBezTo>
                  <a:pt x="5264209" y="4810422"/>
                  <a:pt x="5263277" y="4809091"/>
                  <a:pt x="5262212" y="4807893"/>
                </a:cubicBezTo>
                <a:cubicBezTo>
                  <a:pt x="5261147" y="4806828"/>
                  <a:pt x="5259816" y="4805896"/>
                  <a:pt x="5258219" y="4805230"/>
                </a:cubicBezTo>
                <a:cubicBezTo>
                  <a:pt x="5256754" y="4804565"/>
                  <a:pt x="5255024" y="4804299"/>
                  <a:pt x="5253160" y="4804299"/>
                </a:cubicBezTo>
                <a:close/>
                <a:moveTo>
                  <a:pt x="5035515" y="4804299"/>
                </a:moveTo>
                <a:cubicBezTo>
                  <a:pt x="5029658" y="4804299"/>
                  <a:pt x="5027129" y="4806296"/>
                  <a:pt x="5025532" y="4807893"/>
                </a:cubicBezTo>
                <a:cubicBezTo>
                  <a:pt x="5023002" y="4810555"/>
                  <a:pt x="5021938" y="4813351"/>
                  <a:pt x="5021938" y="4817344"/>
                </a:cubicBezTo>
                <a:cubicBezTo>
                  <a:pt x="5021938" y="4821471"/>
                  <a:pt x="5023002" y="4824266"/>
                  <a:pt x="5025532" y="4826795"/>
                </a:cubicBezTo>
                <a:cubicBezTo>
                  <a:pt x="5027129" y="4828394"/>
                  <a:pt x="5029658" y="4830257"/>
                  <a:pt x="5035515" y="4830257"/>
                </a:cubicBezTo>
                <a:cubicBezTo>
                  <a:pt x="5037645" y="4830257"/>
                  <a:pt x="5039376" y="4829991"/>
                  <a:pt x="5040840" y="4829325"/>
                </a:cubicBezTo>
                <a:cubicBezTo>
                  <a:pt x="5042304" y="4828793"/>
                  <a:pt x="5043636" y="4827861"/>
                  <a:pt x="5044567" y="4826928"/>
                </a:cubicBezTo>
                <a:cubicBezTo>
                  <a:pt x="5045632" y="4825730"/>
                  <a:pt x="5046564" y="4824399"/>
                  <a:pt x="5047230" y="4822669"/>
                </a:cubicBezTo>
                <a:cubicBezTo>
                  <a:pt x="5048028" y="4821071"/>
                  <a:pt x="5048294" y="4819207"/>
                  <a:pt x="5048294" y="4817211"/>
                </a:cubicBezTo>
                <a:cubicBezTo>
                  <a:pt x="5048294" y="4815347"/>
                  <a:pt x="5047895" y="4813617"/>
                  <a:pt x="5047230" y="4812020"/>
                </a:cubicBezTo>
                <a:cubicBezTo>
                  <a:pt x="5046564" y="4810422"/>
                  <a:pt x="5045632" y="4809091"/>
                  <a:pt x="5044567" y="4807893"/>
                </a:cubicBezTo>
                <a:cubicBezTo>
                  <a:pt x="5043502" y="4806828"/>
                  <a:pt x="5042171" y="4805896"/>
                  <a:pt x="5040574" y="4805230"/>
                </a:cubicBezTo>
                <a:cubicBezTo>
                  <a:pt x="5039110" y="4804565"/>
                  <a:pt x="5037379" y="4804299"/>
                  <a:pt x="5035515" y="4804299"/>
                </a:cubicBezTo>
                <a:close/>
                <a:moveTo>
                  <a:pt x="4817870" y="4804299"/>
                </a:moveTo>
                <a:cubicBezTo>
                  <a:pt x="4812013" y="4804299"/>
                  <a:pt x="4809484" y="4806296"/>
                  <a:pt x="4807887" y="4807893"/>
                </a:cubicBezTo>
                <a:cubicBezTo>
                  <a:pt x="4805357" y="4810555"/>
                  <a:pt x="4804293" y="4813351"/>
                  <a:pt x="4804293" y="4817344"/>
                </a:cubicBezTo>
                <a:cubicBezTo>
                  <a:pt x="4804293" y="4821471"/>
                  <a:pt x="4805357" y="4824266"/>
                  <a:pt x="4807887" y="4826795"/>
                </a:cubicBezTo>
                <a:cubicBezTo>
                  <a:pt x="4809484" y="4828394"/>
                  <a:pt x="4812013" y="4830257"/>
                  <a:pt x="4817870" y="4830257"/>
                </a:cubicBezTo>
                <a:cubicBezTo>
                  <a:pt x="4820000" y="4830257"/>
                  <a:pt x="4821731" y="4829991"/>
                  <a:pt x="4823195" y="4829325"/>
                </a:cubicBezTo>
                <a:cubicBezTo>
                  <a:pt x="4824659" y="4828793"/>
                  <a:pt x="4825857" y="4827861"/>
                  <a:pt x="4826922" y="4826928"/>
                </a:cubicBezTo>
                <a:cubicBezTo>
                  <a:pt x="4827987" y="4825730"/>
                  <a:pt x="4828919" y="4824399"/>
                  <a:pt x="4829585" y="4822669"/>
                </a:cubicBezTo>
                <a:cubicBezTo>
                  <a:pt x="4830383" y="4821071"/>
                  <a:pt x="4830650" y="4819207"/>
                  <a:pt x="4830650" y="4817211"/>
                </a:cubicBezTo>
                <a:cubicBezTo>
                  <a:pt x="4830650" y="4815347"/>
                  <a:pt x="4830250" y="4813617"/>
                  <a:pt x="4829585" y="4812020"/>
                </a:cubicBezTo>
                <a:cubicBezTo>
                  <a:pt x="4828919" y="4810422"/>
                  <a:pt x="4827987" y="4809091"/>
                  <a:pt x="4826922" y="4807893"/>
                </a:cubicBezTo>
                <a:cubicBezTo>
                  <a:pt x="4825857" y="4806828"/>
                  <a:pt x="4824526" y="4805896"/>
                  <a:pt x="4822929" y="4805230"/>
                </a:cubicBezTo>
                <a:cubicBezTo>
                  <a:pt x="4821465" y="4804565"/>
                  <a:pt x="4819734" y="4804299"/>
                  <a:pt x="4817870" y="4804299"/>
                </a:cubicBezTo>
                <a:close/>
                <a:moveTo>
                  <a:pt x="4600226" y="4804299"/>
                </a:moveTo>
                <a:cubicBezTo>
                  <a:pt x="4594369" y="4804299"/>
                  <a:pt x="4591839" y="4806296"/>
                  <a:pt x="4590242" y="4807893"/>
                </a:cubicBezTo>
                <a:cubicBezTo>
                  <a:pt x="4587713" y="4810555"/>
                  <a:pt x="4586648" y="4813351"/>
                  <a:pt x="4586648" y="4817344"/>
                </a:cubicBezTo>
                <a:cubicBezTo>
                  <a:pt x="4586648" y="4821471"/>
                  <a:pt x="4587713" y="4824266"/>
                  <a:pt x="4590242" y="4826795"/>
                </a:cubicBezTo>
                <a:cubicBezTo>
                  <a:pt x="4591839" y="4828394"/>
                  <a:pt x="4594369" y="4830257"/>
                  <a:pt x="4600226" y="4830257"/>
                </a:cubicBezTo>
                <a:cubicBezTo>
                  <a:pt x="4602355" y="4830257"/>
                  <a:pt x="4604086" y="4829991"/>
                  <a:pt x="4605550" y="4829325"/>
                </a:cubicBezTo>
                <a:cubicBezTo>
                  <a:pt x="4607148" y="4828793"/>
                  <a:pt x="4608346" y="4827861"/>
                  <a:pt x="4609277" y="4826928"/>
                </a:cubicBezTo>
                <a:cubicBezTo>
                  <a:pt x="4610342" y="4825730"/>
                  <a:pt x="4611274" y="4824399"/>
                  <a:pt x="4611940" y="4822669"/>
                </a:cubicBezTo>
                <a:cubicBezTo>
                  <a:pt x="4612605" y="4821071"/>
                  <a:pt x="4613005" y="4819207"/>
                  <a:pt x="4613005" y="4817211"/>
                </a:cubicBezTo>
                <a:cubicBezTo>
                  <a:pt x="4613005" y="4815347"/>
                  <a:pt x="4612605" y="4813617"/>
                  <a:pt x="4611940" y="4812020"/>
                </a:cubicBezTo>
                <a:cubicBezTo>
                  <a:pt x="4611274" y="4810422"/>
                  <a:pt x="4610342" y="4809091"/>
                  <a:pt x="4609277" y="4807893"/>
                </a:cubicBezTo>
                <a:cubicBezTo>
                  <a:pt x="4608212" y="4806828"/>
                  <a:pt x="4606881" y="4805896"/>
                  <a:pt x="4605284" y="4805230"/>
                </a:cubicBezTo>
                <a:cubicBezTo>
                  <a:pt x="4603820" y="4804565"/>
                  <a:pt x="4602222" y="4804299"/>
                  <a:pt x="4600226" y="4804299"/>
                </a:cubicBezTo>
                <a:close/>
                <a:moveTo>
                  <a:pt x="4382713" y="4804299"/>
                </a:moveTo>
                <a:cubicBezTo>
                  <a:pt x="4376857" y="4804299"/>
                  <a:pt x="4374327" y="4806296"/>
                  <a:pt x="4372730" y="4807893"/>
                </a:cubicBezTo>
                <a:cubicBezTo>
                  <a:pt x="4370201" y="4810555"/>
                  <a:pt x="4369136" y="4813351"/>
                  <a:pt x="4369136" y="4817344"/>
                </a:cubicBezTo>
                <a:cubicBezTo>
                  <a:pt x="4369136" y="4821471"/>
                  <a:pt x="4370201" y="4824266"/>
                  <a:pt x="4372730" y="4826795"/>
                </a:cubicBezTo>
                <a:cubicBezTo>
                  <a:pt x="4374327" y="4828394"/>
                  <a:pt x="4376857" y="4830257"/>
                  <a:pt x="4382713" y="4830257"/>
                </a:cubicBezTo>
                <a:cubicBezTo>
                  <a:pt x="4384710" y="4830257"/>
                  <a:pt x="4386441" y="4829991"/>
                  <a:pt x="4388038" y="4829325"/>
                </a:cubicBezTo>
                <a:cubicBezTo>
                  <a:pt x="4389502" y="4828793"/>
                  <a:pt x="4390834" y="4827861"/>
                  <a:pt x="4391765" y="4826928"/>
                </a:cubicBezTo>
                <a:cubicBezTo>
                  <a:pt x="4392830" y="4825730"/>
                  <a:pt x="4393762" y="4824399"/>
                  <a:pt x="4394428" y="4822669"/>
                </a:cubicBezTo>
                <a:cubicBezTo>
                  <a:pt x="4395093" y="4821071"/>
                  <a:pt x="4395493" y="4819207"/>
                  <a:pt x="4395493" y="4817211"/>
                </a:cubicBezTo>
                <a:cubicBezTo>
                  <a:pt x="4395493" y="4815347"/>
                  <a:pt x="4395093" y="4813617"/>
                  <a:pt x="4394428" y="4812020"/>
                </a:cubicBezTo>
                <a:cubicBezTo>
                  <a:pt x="4393762" y="4810422"/>
                  <a:pt x="4392830" y="4809091"/>
                  <a:pt x="4391765" y="4807893"/>
                </a:cubicBezTo>
                <a:cubicBezTo>
                  <a:pt x="4390700" y="4806828"/>
                  <a:pt x="4389369" y="4805896"/>
                  <a:pt x="4387772" y="4805230"/>
                </a:cubicBezTo>
                <a:cubicBezTo>
                  <a:pt x="4386308" y="4804565"/>
                  <a:pt x="4384710" y="4804299"/>
                  <a:pt x="4382713" y="4804299"/>
                </a:cubicBezTo>
                <a:close/>
                <a:moveTo>
                  <a:pt x="4165068" y="4804299"/>
                </a:moveTo>
                <a:cubicBezTo>
                  <a:pt x="4159211" y="4804299"/>
                  <a:pt x="4156681" y="4806296"/>
                  <a:pt x="4155084" y="4807893"/>
                </a:cubicBezTo>
                <a:cubicBezTo>
                  <a:pt x="4152555" y="4810555"/>
                  <a:pt x="4151490" y="4813351"/>
                  <a:pt x="4151490" y="4817344"/>
                </a:cubicBezTo>
                <a:cubicBezTo>
                  <a:pt x="4151490" y="4821471"/>
                  <a:pt x="4152555" y="4824266"/>
                  <a:pt x="4155084" y="4826795"/>
                </a:cubicBezTo>
                <a:cubicBezTo>
                  <a:pt x="4156681" y="4828394"/>
                  <a:pt x="4159211" y="4830257"/>
                  <a:pt x="4165068" y="4830257"/>
                </a:cubicBezTo>
                <a:cubicBezTo>
                  <a:pt x="4167064" y="4830257"/>
                  <a:pt x="4168928" y="4829991"/>
                  <a:pt x="4170392" y="4829325"/>
                </a:cubicBezTo>
                <a:cubicBezTo>
                  <a:pt x="4171856" y="4828793"/>
                  <a:pt x="4173188" y="4827861"/>
                  <a:pt x="4174119" y="4826928"/>
                </a:cubicBezTo>
                <a:cubicBezTo>
                  <a:pt x="4175184" y="4825730"/>
                  <a:pt x="4176116" y="4824399"/>
                  <a:pt x="4176782" y="4822669"/>
                </a:cubicBezTo>
                <a:cubicBezTo>
                  <a:pt x="4177447" y="4821071"/>
                  <a:pt x="4177847" y="4819207"/>
                  <a:pt x="4177847" y="4817211"/>
                </a:cubicBezTo>
                <a:cubicBezTo>
                  <a:pt x="4177847" y="4815347"/>
                  <a:pt x="4177447" y="4813617"/>
                  <a:pt x="4176782" y="4812020"/>
                </a:cubicBezTo>
                <a:cubicBezTo>
                  <a:pt x="4176116" y="4810422"/>
                  <a:pt x="4175184" y="4809091"/>
                  <a:pt x="4174119" y="4807893"/>
                </a:cubicBezTo>
                <a:cubicBezTo>
                  <a:pt x="4173054" y="4806828"/>
                  <a:pt x="4171723" y="4805896"/>
                  <a:pt x="4170126" y="4805230"/>
                </a:cubicBezTo>
                <a:cubicBezTo>
                  <a:pt x="4168662" y="4804565"/>
                  <a:pt x="4167064" y="4804299"/>
                  <a:pt x="4165068" y="4804299"/>
                </a:cubicBezTo>
                <a:close/>
                <a:moveTo>
                  <a:pt x="3947686" y="4804299"/>
                </a:moveTo>
                <a:cubicBezTo>
                  <a:pt x="3941828" y="4804299"/>
                  <a:pt x="3939300" y="4806296"/>
                  <a:pt x="3937703" y="4807893"/>
                </a:cubicBezTo>
                <a:cubicBezTo>
                  <a:pt x="3935172" y="4810555"/>
                  <a:pt x="3934108" y="4813351"/>
                  <a:pt x="3934108" y="4817344"/>
                </a:cubicBezTo>
                <a:cubicBezTo>
                  <a:pt x="3934108" y="4821471"/>
                  <a:pt x="3935172" y="4824266"/>
                  <a:pt x="3937703" y="4826795"/>
                </a:cubicBezTo>
                <a:cubicBezTo>
                  <a:pt x="3939300" y="4828394"/>
                  <a:pt x="3941828" y="4830257"/>
                  <a:pt x="3947686" y="4830257"/>
                </a:cubicBezTo>
                <a:cubicBezTo>
                  <a:pt x="3949684" y="4830257"/>
                  <a:pt x="3951547" y="4829991"/>
                  <a:pt x="3953014" y="4829325"/>
                </a:cubicBezTo>
                <a:cubicBezTo>
                  <a:pt x="3954478" y="4828793"/>
                  <a:pt x="3955808" y="4827861"/>
                  <a:pt x="3956741" y="4826928"/>
                </a:cubicBezTo>
                <a:cubicBezTo>
                  <a:pt x="3957806" y="4825730"/>
                  <a:pt x="3958738" y="4824399"/>
                  <a:pt x="3959404" y="4822669"/>
                </a:cubicBezTo>
                <a:cubicBezTo>
                  <a:pt x="3960069" y="4821071"/>
                  <a:pt x="3960469" y="4819207"/>
                  <a:pt x="3960469" y="4817211"/>
                </a:cubicBezTo>
                <a:cubicBezTo>
                  <a:pt x="3960469" y="4815347"/>
                  <a:pt x="3960069" y="4813617"/>
                  <a:pt x="3959404" y="4812020"/>
                </a:cubicBezTo>
                <a:cubicBezTo>
                  <a:pt x="3958738" y="4810422"/>
                  <a:pt x="3957806" y="4809091"/>
                  <a:pt x="3956741" y="4807893"/>
                </a:cubicBezTo>
                <a:cubicBezTo>
                  <a:pt x="3955675" y="4806828"/>
                  <a:pt x="3954345" y="4805896"/>
                  <a:pt x="3952747" y="4805230"/>
                </a:cubicBezTo>
                <a:cubicBezTo>
                  <a:pt x="3951280" y="4804565"/>
                  <a:pt x="3949684" y="4804299"/>
                  <a:pt x="3947686" y="4804299"/>
                </a:cubicBezTo>
                <a:close/>
                <a:moveTo>
                  <a:pt x="3730029" y="4804299"/>
                </a:moveTo>
                <a:cubicBezTo>
                  <a:pt x="3724172" y="4804299"/>
                  <a:pt x="3721642" y="4806296"/>
                  <a:pt x="3720042" y="4807893"/>
                </a:cubicBezTo>
                <a:cubicBezTo>
                  <a:pt x="3717513" y="4810555"/>
                  <a:pt x="3716450" y="4813351"/>
                  <a:pt x="3716450" y="4817344"/>
                </a:cubicBezTo>
                <a:cubicBezTo>
                  <a:pt x="3716450" y="4821471"/>
                  <a:pt x="3717513" y="4824266"/>
                  <a:pt x="3720042" y="4826795"/>
                </a:cubicBezTo>
                <a:cubicBezTo>
                  <a:pt x="3721642" y="4828394"/>
                  <a:pt x="3724172" y="4830257"/>
                  <a:pt x="3730029" y="4830257"/>
                </a:cubicBezTo>
                <a:cubicBezTo>
                  <a:pt x="3732159" y="4830257"/>
                  <a:pt x="3733891" y="4829991"/>
                  <a:pt x="3735354" y="4829325"/>
                </a:cubicBezTo>
                <a:cubicBezTo>
                  <a:pt x="3736818" y="4828793"/>
                  <a:pt x="3738151" y="4827861"/>
                  <a:pt x="3739081" y="4826928"/>
                </a:cubicBezTo>
                <a:cubicBezTo>
                  <a:pt x="3740147" y="4825730"/>
                  <a:pt x="3741079" y="4824399"/>
                  <a:pt x="3741745" y="4822669"/>
                </a:cubicBezTo>
                <a:cubicBezTo>
                  <a:pt x="3742410" y="4821071"/>
                  <a:pt x="3742809" y="4819207"/>
                  <a:pt x="3742809" y="4817211"/>
                </a:cubicBezTo>
                <a:cubicBezTo>
                  <a:pt x="3742809" y="4815347"/>
                  <a:pt x="3742410" y="4813617"/>
                  <a:pt x="3741745" y="4812020"/>
                </a:cubicBezTo>
                <a:cubicBezTo>
                  <a:pt x="3741079" y="4810422"/>
                  <a:pt x="3740147" y="4809091"/>
                  <a:pt x="3739081" y="4807893"/>
                </a:cubicBezTo>
                <a:cubicBezTo>
                  <a:pt x="3738017" y="4806828"/>
                  <a:pt x="3736686" y="4805896"/>
                  <a:pt x="3735088" y="4805230"/>
                </a:cubicBezTo>
                <a:cubicBezTo>
                  <a:pt x="3733624" y="4804565"/>
                  <a:pt x="3732026" y="4804299"/>
                  <a:pt x="3730029" y="4804299"/>
                </a:cubicBezTo>
                <a:close/>
                <a:moveTo>
                  <a:pt x="3512370" y="4804299"/>
                </a:moveTo>
                <a:cubicBezTo>
                  <a:pt x="3506511" y="4804299"/>
                  <a:pt x="3503982" y="4806296"/>
                  <a:pt x="3502382" y="4807893"/>
                </a:cubicBezTo>
                <a:cubicBezTo>
                  <a:pt x="3499852" y="4810555"/>
                  <a:pt x="3498789" y="4813351"/>
                  <a:pt x="3498789" y="4817344"/>
                </a:cubicBezTo>
                <a:cubicBezTo>
                  <a:pt x="3498789" y="4821471"/>
                  <a:pt x="3499852" y="4824266"/>
                  <a:pt x="3502382" y="4826795"/>
                </a:cubicBezTo>
                <a:cubicBezTo>
                  <a:pt x="3503982" y="4828394"/>
                  <a:pt x="3506511" y="4830257"/>
                  <a:pt x="3512370" y="4830257"/>
                </a:cubicBezTo>
                <a:cubicBezTo>
                  <a:pt x="3514500" y="4830257"/>
                  <a:pt x="3516231" y="4829991"/>
                  <a:pt x="3517695" y="4829325"/>
                </a:cubicBezTo>
                <a:cubicBezTo>
                  <a:pt x="3519160" y="4828793"/>
                  <a:pt x="3520492" y="4827861"/>
                  <a:pt x="3521423" y="4826928"/>
                </a:cubicBezTo>
                <a:cubicBezTo>
                  <a:pt x="3522488" y="4825730"/>
                  <a:pt x="3523420" y="4824399"/>
                  <a:pt x="3524086" y="4822669"/>
                </a:cubicBezTo>
                <a:cubicBezTo>
                  <a:pt x="3524751" y="4821071"/>
                  <a:pt x="3525151" y="4819207"/>
                  <a:pt x="3525151" y="4817211"/>
                </a:cubicBezTo>
                <a:cubicBezTo>
                  <a:pt x="3525151" y="4815347"/>
                  <a:pt x="3524751" y="4813617"/>
                  <a:pt x="3524086" y="4812020"/>
                </a:cubicBezTo>
                <a:cubicBezTo>
                  <a:pt x="3523420" y="4810422"/>
                  <a:pt x="3522488" y="4809091"/>
                  <a:pt x="3521423" y="4807893"/>
                </a:cubicBezTo>
                <a:cubicBezTo>
                  <a:pt x="3520358" y="4806828"/>
                  <a:pt x="3519027" y="4805896"/>
                  <a:pt x="3517430" y="4805230"/>
                </a:cubicBezTo>
                <a:cubicBezTo>
                  <a:pt x="3515966" y="4804565"/>
                  <a:pt x="3514367" y="4804299"/>
                  <a:pt x="3512370" y="4804299"/>
                </a:cubicBezTo>
                <a:close/>
                <a:moveTo>
                  <a:pt x="3294845" y="4804299"/>
                </a:moveTo>
                <a:cubicBezTo>
                  <a:pt x="3288986" y="4804299"/>
                  <a:pt x="3286456" y="4806296"/>
                  <a:pt x="3284859" y="4807893"/>
                </a:cubicBezTo>
                <a:cubicBezTo>
                  <a:pt x="3282328" y="4810555"/>
                  <a:pt x="3281264" y="4813351"/>
                  <a:pt x="3281264" y="4817344"/>
                </a:cubicBezTo>
                <a:cubicBezTo>
                  <a:pt x="3281264" y="4821471"/>
                  <a:pt x="3282328" y="4824266"/>
                  <a:pt x="3284859" y="4826795"/>
                </a:cubicBezTo>
                <a:cubicBezTo>
                  <a:pt x="3286456" y="4828394"/>
                  <a:pt x="3288986" y="4830257"/>
                  <a:pt x="3294845" y="4830257"/>
                </a:cubicBezTo>
                <a:cubicBezTo>
                  <a:pt x="3296842" y="4830257"/>
                  <a:pt x="3298572" y="4829991"/>
                  <a:pt x="3300170" y="4829325"/>
                </a:cubicBezTo>
                <a:cubicBezTo>
                  <a:pt x="3301634" y="4828793"/>
                  <a:pt x="3302966" y="4827861"/>
                  <a:pt x="3303897" y="4826928"/>
                </a:cubicBezTo>
                <a:cubicBezTo>
                  <a:pt x="3304962" y="4825730"/>
                  <a:pt x="3305894" y="4824399"/>
                  <a:pt x="3306560" y="4822669"/>
                </a:cubicBezTo>
                <a:cubicBezTo>
                  <a:pt x="3307225" y="4821071"/>
                  <a:pt x="3307624" y="4819207"/>
                  <a:pt x="3307624" y="4817211"/>
                </a:cubicBezTo>
                <a:cubicBezTo>
                  <a:pt x="3307624" y="4815347"/>
                  <a:pt x="3307225" y="4813617"/>
                  <a:pt x="3306560" y="4812020"/>
                </a:cubicBezTo>
                <a:cubicBezTo>
                  <a:pt x="3305894" y="4810422"/>
                  <a:pt x="3304962" y="4809091"/>
                  <a:pt x="3303897" y="4807893"/>
                </a:cubicBezTo>
                <a:cubicBezTo>
                  <a:pt x="3302832" y="4806828"/>
                  <a:pt x="3301501" y="4805896"/>
                  <a:pt x="3299904" y="4805230"/>
                </a:cubicBezTo>
                <a:cubicBezTo>
                  <a:pt x="3298440" y="4804565"/>
                  <a:pt x="3296842" y="4804299"/>
                  <a:pt x="3294845" y="4804299"/>
                </a:cubicBezTo>
                <a:close/>
                <a:moveTo>
                  <a:pt x="3077319" y="4804299"/>
                </a:moveTo>
                <a:cubicBezTo>
                  <a:pt x="3071461" y="4804299"/>
                  <a:pt x="3068931" y="4806296"/>
                  <a:pt x="3067336" y="4807893"/>
                </a:cubicBezTo>
                <a:cubicBezTo>
                  <a:pt x="3064670" y="4810555"/>
                  <a:pt x="3063605" y="4813351"/>
                  <a:pt x="3063605" y="4817344"/>
                </a:cubicBezTo>
                <a:cubicBezTo>
                  <a:pt x="3063605" y="4821471"/>
                  <a:pt x="3064670" y="4824266"/>
                  <a:pt x="3067201" y="4826795"/>
                </a:cubicBezTo>
                <a:cubicBezTo>
                  <a:pt x="3068799" y="4828394"/>
                  <a:pt x="3071328" y="4830257"/>
                  <a:pt x="3077186" y="4830257"/>
                </a:cubicBezTo>
                <a:cubicBezTo>
                  <a:pt x="3079183" y="4830257"/>
                  <a:pt x="3080913" y="4829991"/>
                  <a:pt x="3082644" y="4829325"/>
                </a:cubicBezTo>
                <a:cubicBezTo>
                  <a:pt x="3084109" y="4828793"/>
                  <a:pt x="3085440" y="4827861"/>
                  <a:pt x="3086371" y="4826928"/>
                </a:cubicBezTo>
                <a:cubicBezTo>
                  <a:pt x="3087436" y="4825730"/>
                  <a:pt x="3088368" y="4824399"/>
                  <a:pt x="3089034" y="4822669"/>
                </a:cubicBezTo>
                <a:cubicBezTo>
                  <a:pt x="3089699" y="4821071"/>
                  <a:pt x="3089966" y="4819207"/>
                  <a:pt x="3089966" y="4817211"/>
                </a:cubicBezTo>
                <a:cubicBezTo>
                  <a:pt x="3089966" y="4815347"/>
                  <a:pt x="3089699" y="4813617"/>
                  <a:pt x="3089034" y="4812020"/>
                </a:cubicBezTo>
                <a:cubicBezTo>
                  <a:pt x="3088368" y="4810422"/>
                  <a:pt x="3087436" y="4809091"/>
                  <a:pt x="3086371" y="4807893"/>
                </a:cubicBezTo>
                <a:cubicBezTo>
                  <a:pt x="3085307" y="4806828"/>
                  <a:pt x="3083975" y="4805896"/>
                  <a:pt x="3082378" y="4805230"/>
                </a:cubicBezTo>
                <a:cubicBezTo>
                  <a:pt x="3080913" y="4804565"/>
                  <a:pt x="3079316" y="4804299"/>
                  <a:pt x="3077319" y="4804299"/>
                </a:cubicBezTo>
                <a:close/>
                <a:moveTo>
                  <a:pt x="2859527" y="4804299"/>
                </a:moveTo>
                <a:cubicBezTo>
                  <a:pt x="2853670" y="4804299"/>
                  <a:pt x="2851140" y="4806296"/>
                  <a:pt x="2849541" y="4807893"/>
                </a:cubicBezTo>
                <a:cubicBezTo>
                  <a:pt x="2847008" y="4810555"/>
                  <a:pt x="2845944" y="4813351"/>
                  <a:pt x="2845944" y="4817344"/>
                </a:cubicBezTo>
                <a:cubicBezTo>
                  <a:pt x="2845944" y="4821471"/>
                  <a:pt x="2847008" y="4824266"/>
                  <a:pt x="2849541" y="4826795"/>
                </a:cubicBezTo>
                <a:cubicBezTo>
                  <a:pt x="2851140" y="4828394"/>
                  <a:pt x="2853670" y="4830257"/>
                  <a:pt x="2859527" y="4830257"/>
                </a:cubicBezTo>
                <a:cubicBezTo>
                  <a:pt x="2861524" y="4830257"/>
                  <a:pt x="2863388" y="4829991"/>
                  <a:pt x="2864852" y="4829325"/>
                </a:cubicBezTo>
                <a:cubicBezTo>
                  <a:pt x="2866450" y="4828793"/>
                  <a:pt x="2867648" y="4827861"/>
                  <a:pt x="2868579" y="4826928"/>
                </a:cubicBezTo>
                <a:cubicBezTo>
                  <a:pt x="2869644" y="4825730"/>
                  <a:pt x="2870576" y="4824399"/>
                  <a:pt x="2871242" y="4822669"/>
                </a:cubicBezTo>
                <a:cubicBezTo>
                  <a:pt x="2871774" y="4821071"/>
                  <a:pt x="2872173" y="4819207"/>
                  <a:pt x="2872173" y="4817211"/>
                </a:cubicBezTo>
                <a:cubicBezTo>
                  <a:pt x="2872173" y="4815347"/>
                  <a:pt x="2871907" y="4813617"/>
                  <a:pt x="2871242" y="4812020"/>
                </a:cubicBezTo>
                <a:cubicBezTo>
                  <a:pt x="2870576" y="4810422"/>
                  <a:pt x="2869644" y="4809091"/>
                  <a:pt x="2868579" y="4807893"/>
                </a:cubicBezTo>
                <a:cubicBezTo>
                  <a:pt x="2867515" y="4806828"/>
                  <a:pt x="2866183" y="4805896"/>
                  <a:pt x="2864587" y="4805230"/>
                </a:cubicBezTo>
                <a:cubicBezTo>
                  <a:pt x="2863123" y="4804565"/>
                  <a:pt x="2861524" y="4804299"/>
                  <a:pt x="2859527" y="4804299"/>
                </a:cubicBezTo>
                <a:close/>
                <a:moveTo>
                  <a:pt x="2641868" y="4804299"/>
                </a:moveTo>
                <a:cubicBezTo>
                  <a:pt x="2636011" y="4804299"/>
                  <a:pt x="2633482" y="4806296"/>
                  <a:pt x="2631885" y="4807893"/>
                </a:cubicBezTo>
                <a:cubicBezTo>
                  <a:pt x="2629355" y="4810555"/>
                  <a:pt x="2628290" y="4813351"/>
                  <a:pt x="2628290" y="4817344"/>
                </a:cubicBezTo>
                <a:cubicBezTo>
                  <a:pt x="2628290" y="4821471"/>
                  <a:pt x="2629355" y="4824266"/>
                  <a:pt x="2631885" y="4826795"/>
                </a:cubicBezTo>
                <a:cubicBezTo>
                  <a:pt x="2633482" y="4828394"/>
                  <a:pt x="2636011" y="4830257"/>
                  <a:pt x="2641868" y="4830257"/>
                </a:cubicBezTo>
                <a:cubicBezTo>
                  <a:pt x="2643865" y="4830257"/>
                  <a:pt x="2645730" y="4829991"/>
                  <a:pt x="2647194" y="4829325"/>
                </a:cubicBezTo>
                <a:cubicBezTo>
                  <a:pt x="2648790" y="4828793"/>
                  <a:pt x="2649988" y="4827861"/>
                  <a:pt x="2650920" y="4826928"/>
                </a:cubicBezTo>
                <a:cubicBezTo>
                  <a:pt x="2651986" y="4825730"/>
                  <a:pt x="2652917" y="4824399"/>
                  <a:pt x="2653584" y="4822669"/>
                </a:cubicBezTo>
                <a:cubicBezTo>
                  <a:pt x="2654115" y="4821071"/>
                  <a:pt x="2654514" y="4819207"/>
                  <a:pt x="2654514" y="4817211"/>
                </a:cubicBezTo>
                <a:cubicBezTo>
                  <a:pt x="2654514" y="4815347"/>
                  <a:pt x="2654249" y="4813617"/>
                  <a:pt x="2653584" y="4812020"/>
                </a:cubicBezTo>
                <a:cubicBezTo>
                  <a:pt x="2652917" y="4810422"/>
                  <a:pt x="2651986" y="4809091"/>
                  <a:pt x="2650920" y="4807893"/>
                </a:cubicBezTo>
                <a:cubicBezTo>
                  <a:pt x="2649855" y="4806828"/>
                  <a:pt x="2648524" y="4805896"/>
                  <a:pt x="2646927" y="4805230"/>
                </a:cubicBezTo>
                <a:cubicBezTo>
                  <a:pt x="2645462" y="4804565"/>
                  <a:pt x="2643865" y="4804299"/>
                  <a:pt x="2641868" y="4804299"/>
                </a:cubicBezTo>
                <a:close/>
                <a:moveTo>
                  <a:pt x="2424209" y="4804299"/>
                </a:moveTo>
                <a:cubicBezTo>
                  <a:pt x="2418352" y="4804299"/>
                  <a:pt x="2415823" y="4806296"/>
                  <a:pt x="2414226" y="4807893"/>
                </a:cubicBezTo>
                <a:cubicBezTo>
                  <a:pt x="2411696" y="4810555"/>
                  <a:pt x="2410632" y="4813351"/>
                  <a:pt x="2410632" y="4817344"/>
                </a:cubicBezTo>
                <a:cubicBezTo>
                  <a:pt x="2410632" y="4821471"/>
                  <a:pt x="2411696" y="4824266"/>
                  <a:pt x="2414226" y="4826795"/>
                </a:cubicBezTo>
                <a:cubicBezTo>
                  <a:pt x="2415823" y="4828394"/>
                  <a:pt x="2418352" y="4830257"/>
                  <a:pt x="2424209" y="4830257"/>
                </a:cubicBezTo>
                <a:cubicBezTo>
                  <a:pt x="2426339" y="4830257"/>
                  <a:pt x="2428070" y="4829991"/>
                  <a:pt x="2429534" y="4829325"/>
                </a:cubicBezTo>
                <a:cubicBezTo>
                  <a:pt x="2431132" y="4828793"/>
                  <a:pt x="2432330" y="4827861"/>
                  <a:pt x="2433261" y="4826928"/>
                </a:cubicBezTo>
                <a:cubicBezTo>
                  <a:pt x="2434326" y="4825730"/>
                  <a:pt x="2435258" y="4824399"/>
                  <a:pt x="2435924" y="4822669"/>
                </a:cubicBezTo>
                <a:cubicBezTo>
                  <a:pt x="2436456" y="4821071"/>
                  <a:pt x="2436856" y="4819207"/>
                  <a:pt x="2436856" y="4817211"/>
                </a:cubicBezTo>
                <a:cubicBezTo>
                  <a:pt x="2436856" y="4815347"/>
                  <a:pt x="2436589" y="4813617"/>
                  <a:pt x="2435924" y="4812020"/>
                </a:cubicBezTo>
                <a:cubicBezTo>
                  <a:pt x="2435258" y="4810422"/>
                  <a:pt x="2434326" y="4809091"/>
                  <a:pt x="2433261" y="4807893"/>
                </a:cubicBezTo>
                <a:cubicBezTo>
                  <a:pt x="2432198" y="4806828"/>
                  <a:pt x="2430866" y="4805896"/>
                  <a:pt x="2429268" y="4805230"/>
                </a:cubicBezTo>
                <a:cubicBezTo>
                  <a:pt x="2427804" y="4804565"/>
                  <a:pt x="2426206" y="4804299"/>
                  <a:pt x="2424209" y="4804299"/>
                </a:cubicBezTo>
                <a:close/>
                <a:moveTo>
                  <a:pt x="2206550" y="4804299"/>
                </a:moveTo>
                <a:cubicBezTo>
                  <a:pt x="2200693" y="4804299"/>
                  <a:pt x="2198164" y="4806296"/>
                  <a:pt x="2196567" y="4807893"/>
                </a:cubicBezTo>
                <a:cubicBezTo>
                  <a:pt x="2194037" y="4810555"/>
                  <a:pt x="2192973" y="4813351"/>
                  <a:pt x="2192973" y="4817344"/>
                </a:cubicBezTo>
                <a:cubicBezTo>
                  <a:pt x="2192973" y="4821471"/>
                  <a:pt x="2194037" y="4824266"/>
                  <a:pt x="2196567" y="4826795"/>
                </a:cubicBezTo>
                <a:cubicBezTo>
                  <a:pt x="2198164" y="4828394"/>
                  <a:pt x="2200693" y="4830257"/>
                  <a:pt x="2206550" y="4830257"/>
                </a:cubicBezTo>
                <a:cubicBezTo>
                  <a:pt x="2208680" y="4830257"/>
                  <a:pt x="2210411" y="4829991"/>
                  <a:pt x="2211875" y="4829325"/>
                </a:cubicBezTo>
                <a:cubicBezTo>
                  <a:pt x="2213473" y="4828793"/>
                  <a:pt x="2214671" y="4827861"/>
                  <a:pt x="2215602" y="4826928"/>
                </a:cubicBezTo>
                <a:cubicBezTo>
                  <a:pt x="2216667" y="4825730"/>
                  <a:pt x="2217599" y="4824399"/>
                  <a:pt x="2218265" y="4822669"/>
                </a:cubicBezTo>
                <a:cubicBezTo>
                  <a:pt x="2218798" y="4821071"/>
                  <a:pt x="2219196" y="4819207"/>
                  <a:pt x="2219196" y="4817211"/>
                </a:cubicBezTo>
                <a:cubicBezTo>
                  <a:pt x="2219196" y="4815347"/>
                  <a:pt x="2218930" y="4813617"/>
                  <a:pt x="2218265" y="4812020"/>
                </a:cubicBezTo>
                <a:cubicBezTo>
                  <a:pt x="2217599" y="4810422"/>
                  <a:pt x="2216667" y="4809091"/>
                  <a:pt x="2215602" y="4807893"/>
                </a:cubicBezTo>
                <a:cubicBezTo>
                  <a:pt x="2214537" y="4806828"/>
                  <a:pt x="2213207" y="4805896"/>
                  <a:pt x="2211609" y="4805230"/>
                </a:cubicBezTo>
                <a:cubicBezTo>
                  <a:pt x="2210145" y="4804565"/>
                  <a:pt x="2208547" y="4804299"/>
                  <a:pt x="2206550" y="4804299"/>
                </a:cubicBezTo>
                <a:close/>
                <a:moveTo>
                  <a:pt x="1989024" y="4804299"/>
                </a:moveTo>
                <a:cubicBezTo>
                  <a:pt x="1983167" y="4804299"/>
                  <a:pt x="1980638" y="4806296"/>
                  <a:pt x="1979041" y="4807893"/>
                </a:cubicBezTo>
                <a:cubicBezTo>
                  <a:pt x="1976511" y="4810555"/>
                  <a:pt x="1975447" y="4813351"/>
                  <a:pt x="1975447" y="4817344"/>
                </a:cubicBezTo>
                <a:cubicBezTo>
                  <a:pt x="1975447" y="4821471"/>
                  <a:pt x="1976511" y="4824266"/>
                  <a:pt x="1979041" y="4826795"/>
                </a:cubicBezTo>
                <a:cubicBezTo>
                  <a:pt x="1980638" y="4828394"/>
                  <a:pt x="1983167" y="4830257"/>
                  <a:pt x="1989024" y="4830257"/>
                </a:cubicBezTo>
                <a:cubicBezTo>
                  <a:pt x="1991021" y="4830257"/>
                  <a:pt x="1992752" y="4829991"/>
                  <a:pt x="1994349" y="4829325"/>
                </a:cubicBezTo>
                <a:cubicBezTo>
                  <a:pt x="1995947" y="4828793"/>
                  <a:pt x="1997146" y="4827861"/>
                  <a:pt x="1998077" y="4826928"/>
                </a:cubicBezTo>
                <a:cubicBezTo>
                  <a:pt x="1999141" y="4825730"/>
                  <a:pt x="2000073" y="4824399"/>
                  <a:pt x="2000740" y="4822669"/>
                </a:cubicBezTo>
                <a:cubicBezTo>
                  <a:pt x="2001271" y="4821071"/>
                  <a:pt x="2001670" y="4819207"/>
                  <a:pt x="2001670" y="4817211"/>
                </a:cubicBezTo>
                <a:cubicBezTo>
                  <a:pt x="2001670" y="4815347"/>
                  <a:pt x="2001405" y="4813617"/>
                  <a:pt x="2000740" y="4812020"/>
                </a:cubicBezTo>
                <a:cubicBezTo>
                  <a:pt x="2000073" y="4810422"/>
                  <a:pt x="1999141" y="4809091"/>
                  <a:pt x="1998077" y="4807893"/>
                </a:cubicBezTo>
                <a:cubicBezTo>
                  <a:pt x="1997012" y="4806828"/>
                  <a:pt x="1995680" y="4805896"/>
                  <a:pt x="1994083" y="4805230"/>
                </a:cubicBezTo>
                <a:cubicBezTo>
                  <a:pt x="1992619" y="4804565"/>
                  <a:pt x="1991021" y="4804299"/>
                  <a:pt x="1989024" y="4804299"/>
                </a:cubicBezTo>
                <a:close/>
                <a:moveTo>
                  <a:pt x="1771389" y="4804299"/>
                </a:moveTo>
                <a:cubicBezTo>
                  <a:pt x="1765532" y="4804299"/>
                  <a:pt x="1763004" y="4806296"/>
                  <a:pt x="1761407" y="4807893"/>
                </a:cubicBezTo>
                <a:cubicBezTo>
                  <a:pt x="1758878" y="4810555"/>
                  <a:pt x="1757813" y="4813351"/>
                  <a:pt x="1757813" y="4817344"/>
                </a:cubicBezTo>
                <a:cubicBezTo>
                  <a:pt x="1757813" y="4821471"/>
                  <a:pt x="1758878" y="4824266"/>
                  <a:pt x="1761407" y="4826795"/>
                </a:cubicBezTo>
                <a:cubicBezTo>
                  <a:pt x="1763004" y="4828394"/>
                  <a:pt x="1765532" y="4830257"/>
                  <a:pt x="1771389" y="4830257"/>
                </a:cubicBezTo>
                <a:cubicBezTo>
                  <a:pt x="1773386" y="4830257"/>
                  <a:pt x="1775250" y="4829991"/>
                  <a:pt x="1776714" y="4829325"/>
                </a:cubicBezTo>
                <a:cubicBezTo>
                  <a:pt x="1778178" y="4828793"/>
                  <a:pt x="1779508" y="4827861"/>
                  <a:pt x="1780440" y="4826928"/>
                </a:cubicBezTo>
                <a:cubicBezTo>
                  <a:pt x="1781505" y="4825730"/>
                  <a:pt x="1782437" y="4824399"/>
                  <a:pt x="1783103" y="4822669"/>
                </a:cubicBezTo>
                <a:cubicBezTo>
                  <a:pt x="1783768" y="4821071"/>
                  <a:pt x="1784168" y="4819207"/>
                  <a:pt x="1784168" y="4817211"/>
                </a:cubicBezTo>
                <a:cubicBezTo>
                  <a:pt x="1784168" y="4815347"/>
                  <a:pt x="1783768" y="4813617"/>
                  <a:pt x="1783103" y="4812020"/>
                </a:cubicBezTo>
                <a:cubicBezTo>
                  <a:pt x="1782437" y="4810422"/>
                  <a:pt x="1781505" y="4809091"/>
                  <a:pt x="1780440" y="4807893"/>
                </a:cubicBezTo>
                <a:cubicBezTo>
                  <a:pt x="1779375" y="4806828"/>
                  <a:pt x="1778045" y="4805896"/>
                  <a:pt x="1776448" y="4805230"/>
                </a:cubicBezTo>
                <a:cubicBezTo>
                  <a:pt x="1774983" y="4804565"/>
                  <a:pt x="1773386" y="4804299"/>
                  <a:pt x="1771389" y="4804299"/>
                </a:cubicBezTo>
                <a:close/>
                <a:moveTo>
                  <a:pt x="1553751" y="4804299"/>
                </a:moveTo>
                <a:cubicBezTo>
                  <a:pt x="1547894" y="4804299"/>
                  <a:pt x="1545365" y="4806296"/>
                  <a:pt x="1543768" y="4807893"/>
                </a:cubicBezTo>
                <a:cubicBezTo>
                  <a:pt x="1541238" y="4810555"/>
                  <a:pt x="1540174" y="4813351"/>
                  <a:pt x="1540174" y="4817344"/>
                </a:cubicBezTo>
                <a:cubicBezTo>
                  <a:pt x="1540174" y="4821471"/>
                  <a:pt x="1541238" y="4824266"/>
                  <a:pt x="1543768" y="4826795"/>
                </a:cubicBezTo>
                <a:cubicBezTo>
                  <a:pt x="1545365" y="4828394"/>
                  <a:pt x="1547894" y="4830257"/>
                  <a:pt x="1553751" y="4830257"/>
                </a:cubicBezTo>
                <a:cubicBezTo>
                  <a:pt x="1555748" y="4830257"/>
                  <a:pt x="1557612" y="4829991"/>
                  <a:pt x="1559076" y="4829325"/>
                </a:cubicBezTo>
                <a:cubicBezTo>
                  <a:pt x="1560540" y="4828793"/>
                  <a:pt x="1561872" y="4827861"/>
                  <a:pt x="1562803" y="4826928"/>
                </a:cubicBezTo>
                <a:cubicBezTo>
                  <a:pt x="1563868" y="4825730"/>
                  <a:pt x="1564800" y="4824399"/>
                  <a:pt x="1565466" y="4822669"/>
                </a:cubicBezTo>
                <a:cubicBezTo>
                  <a:pt x="1566131" y="4821071"/>
                  <a:pt x="1566531" y="4819207"/>
                  <a:pt x="1566531" y="4817211"/>
                </a:cubicBezTo>
                <a:cubicBezTo>
                  <a:pt x="1566531" y="4815347"/>
                  <a:pt x="1566131" y="4813617"/>
                  <a:pt x="1565466" y="4812020"/>
                </a:cubicBezTo>
                <a:cubicBezTo>
                  <a:pt x="1564800" y="4810422"/>
                  <a:pt x="1563868" y="4809091"/>
                  <a:pt x="1562803" y="4807893"/>
                </a:cubicBezTo>
                <a:cubicBezTo>
                  <a:pt x="1561738" y="4806828"/>
                  <a:pt x="1560407" y="4805896"/>
                  <a:pt x="1558810" y="4805230"/>
                </a:cubicBezTo>
                <a:cubicBezTo>
                  <a:pt x="1557346" y="4804565"/>
                  <a:pt x="1555748" y="4804299"/>
                  <a:pt x="1553751" y="4804299"/>
                </a:cubicBezTo>
                <a:close/>
                <a:moveTo>
                  <a:pt x="1336107" y="4804299"/>
                </a:moveTo>
                <a:cubicBezTo>
                  <a:pt x="1330250" y="4804299"/>
                  <a:pt x="1327720" y="4806296"/>
                  <a:pt x="1326123" y="4807893"/>
                </a:cubicBezTo>
                <a:cubicBezTo>
                  <a:pt x="1323593" y="4810555"/>
                  <a:pt x="1322529" y="4813351"/>
                  <a:pt x="1322529" y="4817344"/>
                </a:cubicBezTo>
                <a:cubicBezTo>
                  <a:pt x="1322529" y="4821471"/>
                  <a:pt x="1323593" y="4824266"/>
                  <a:pt x="1326123" y="4826795"/>
                </a:cubicBezTo>
                <a:cubicBezTo>
                  <a:pt x="1327720" y="4828394"/>
                  <a:pt x="1330250" y="4830257"/>
                  <a:pt x="1336107" y="4830257"/>
                </a:cubicBezTo>
                <a:cubicBezTo>
                  <a:pt x="1338237" y="4830257"/>
                  <a:pt x="1339967" y="4829991"/>
                  <a:pt x="1341434" y="4829325"/>
                </a:cubicBezTo>
                <a:cubicBezTo>
                  <a:pt x="1342897" y="4828793"/>
                  <a:pt x="1344228" y="4827861"/>
                  <a:pt x="1345161" y="4826928"/>
                </a:cubicBezTo>
                <a:cubicBezTo>
                  <a:pt x="1346225" y="4825730"/>
                  <a:pt x="1347158" y="4824399"/>
                  <a:pt x="1347823" y="4822669"/>
                </a:cubicBezTo>
                <a:cubicBezTo>
                  <a:pt x="1348489" y="4821071"/>
                  <a:pt x="1348890" y="4819207"/>
                  <a:pt x="1348890" y="4817211"/>
                </a:cubicBezTo>
                <a:cubicBezTo>
                  <a:pt x="1348890" y="4815347"/>
                  <a:pt x="1348489" y="4813617"/>
                  <a:pt x="1347823" y="4812020"/>
                </a:cubicBezTo>
                <a:cubicBezTo>
                  <a:pt x="1347158" y="4810422"/>
                  <a:pt x="1346225" y="4809091"/>
                  <a:pt x="1345161" y="4807893"/>
                </a:cubicBezTo>
                <a:cubicBezTo>
                  <a:pt x="1344096" y="4806828"/>
                  <a:pt x="1342764" y="4805896"/>
                  <a:pt x="1341166" y="4805230"/>
                </a:cubicBezTo>
                <a:cubicBezTo>
                  <a:pt x="1339703" y="4804565"/>
                  <a:pt x="1338103" y="4804299"/>
                  <a:pt x="1336107" y="4804299"/>
                </a:cubicBezTo>
                <a:close/>
                <a:moveTo>
                  <a:pt x="1118595" y="4804299"/>
                </a:moveTo>
                <a:cubicBezTo>
                  <a:pt x="1112736" y="4804299"/>
                  <a:pt x="1110207" y="4806296"/>
                  <a:pt x="1108610" y="4807893"/>
                </a:cubicBezTo>
                <a:cubicBezTo>
                  <a:pt x="1105947" y="4810555"/>
                  <a:pt x="1104883" y="4813351"/>
                  <a:pt x="1104883" y="4817344"/>
                </a:cubicBezTo>
                <a:cubicBezTo>
                  <a:pt x="1104883" y="4821471"/>
                  <a:pt x="1105947" y="4824266"/>
                  <a:pt x="1108477" y="4826795"/>
                </a:cubicBezTo>
                <a:cubicBezTo>
                  <a:pt x="1110074" y="4828394"/>
                  <a:pt x="1112604" y="4830257"/>
                  <a:pt x="1118462" y="4830257"/>
                </a:cubicBezTo>
                <a:cubicBezTo>
                  <a:pt x="1120592" y="4830257"/>
                  <a:pt x="1122324" y="4829991"/>
                  <a:pt x="1123919" y="4829325"/>
                </a:cubicBezTo>
                <a:cubicBezTo>
                  <a:pt x="1125384" y="4828793"/>
                  <a:pt x="1126719" y="4827861"/>
                  <a:pt x="1127649" y="4826928"/>
                </a:cubicBezTo>
                <a:cubicBezTo>
                  <a:pt x="1128714" y="4825730"/>
                  <a:pt x="1129646" y="4824399"/>
                  <a:pt x="1130312" y="4822669"/>
                </a:cubicBezTo>
                <a:cubicBezTo>
                  <a:pt x="1130976" y="4821071"/>
                  <a:pt x="1131377" y="4819207"/>
                  <a:pt x="1131377" y="4817211"/>
                </a:cubicBezTo>
                <a:cubicBezTo>
                  <a:pt x="1131377" y="4815347"/>
                  <a:pt x="1130976" y="4813617"/>
                  <a:pt x="1130312" y="4812020"/>
                </a:cubicBezTo>
                <a:cubicBezTo>
                  <a:pt x="1129646" y="4810422"/>
                  <a:pt x="1128714" y="4809091"/>
                  <a:pt x="1127649" y="4807893"/>
                </a:cubicBezTo>
                <a:cubicBezTo>
                  <a:pt x="1126583" y="4806828"/>
                  <a:pt x="1125251" y="4805896"/>
                  <a:pt x="1123654" y="4805230"/>
                </a:cubicBezTo>
                <a:cubicBezTo>
                  <a:pt x="1122190" y="4804565"/>
                  <a:pt x="1120592" y="4804299"/>
                  <a:pt x="1118595" y="4804299"/>
                </a:cubicBezTo>
                <a:close/>
                <a:moveTo>
                  <a:pt x="901083" y="4804299"/>
                </a:moveTo>
                <a:cubicBezTo>
                  <a:pt x="895225" y="4804299"/>
                  <a:pt x="892696" y="4806296"/>
                  <a:pt x="891099" y="4807893"/>
                </a:cubicBezTo>
                <a:cubicBezTo>
                  <a:pt x="888436" y="4810555"/>
                  <a:pt x="887372" y="4813351"/>
                  <a:pt x="887372" y="4817344"/>
                </a:cubicBezTo>
                <a:cubicBezTo>
                  <a:pt x="887372" y="4821471"/>
                  <a:pt x="888436" y="4824266"/>
                  <a:pt x="890966" y="4826795"/>
                </a:cubicBezTo>
                <a:cubicBezTo>
                  <a:pt x="892563" y="4828394"/>
                  <a:pt x="895092" y="4830257"/>
                  <a:pt x="900949" y="4830257"/>
                </a:cubicBezTo>
                <a:cubicBezTo>
                  <a:pt x="902946" y="4830257"/>
                  <a:pt x="904677" y="4829991"/>
                  <a:pt x="906407" y="4829325"/>
                </a:cubicBezTo>
                <a:cubicBezTo>
                  <a:pt x="907871" y="4828793"/>
                  <a:pt x="909203" y="4827861"/>
                  <a:pt x="910135" y="4826928"/>
                </a:cubicBezTo>
                <a:cubicBezTo>
                  <a:pt x="911199" y="4825730"/>
                  <a:pt x="912131" y="4824399"/>
                  <a:pt x="912797" y="4822669"/>
                </a:cubicBezTo>
                <a:cubicBezTo>
                  <a:pt x="913462" y="4821071"/>
                  <a:pt x="913862" y="4819207"/>
                  <a:pt x="913862" y="4817211"/>
                </a:cubicBezTo>
                <a:cubicBezTo>
                  <a:pt x="913862" y="4815347"/>
                  <a:pt x="913462" y="4813617"/>
                  <a:pt x="912797" y="4812020"/>
                </a:cubicBezTo>
                <a:cubicBezTo>
                  <a:pt x="912131" y="4810422"/>
                  <a:pt x="911199" y="4809091"/>
                  <a:pt x="910135" y="4807893"/>
                </a:cubicBezTo>
                <a:cubicBezTo>
                  <a:pt x="909070" y="4806828"/>
                  <a:pt x="907738" y="4805896"/>
                  <a:pt x="906141" y="4805230"/>
                </a:cubicBezTo>
                <a:cubicBezTo>
                  <a:pt x="904677" y="4804565"/>
                  <a:pt x="903079" y="4804299"/>
                  <a:pt x="901083" y="4804299"/>
                </a:cubicBezTo>
                <a:close/>
                <a:moveTo>
                  <a:pt x="683308" y="4804299"/>
                </a:moveTo>
                <a:cubicBezTo>
                  <a:pt x="677451" y="4804299"/>
                  <a:pt x="674922" y="4806296"/>
                  <a:pt x="673325" y="4807893"/>
                </a:cubicBezTo>
                <a:cubicBezTo>
                  <a:pt x="670795" y="4810555"/>
                  <a:pt x="669731" y="4813351"/>
                  <a:pt x="669731" y="4817344"/>
                </a:cubicBezTo>
                <a:cubicBezTo>
                  <a:pt x="669731" y="4821471"/>
                  <a:pt x="670795" y="4824266"/>
                  <a:pt x="673325" y="4826795"/>
                </a:cubicBezTo>
                <a:cubicBezTo>
                  <a:pt x="674922" y="4828394"/>
                  <a:pt x="677451" y="4830257"/>
                  <a:pt x="683308" y="4830257"/>
                </a:cubicBezTo>
                <a:cubicBezTo>
                  <a:pt x="685305" y="4830257"/>
                  <a:pt x="687169" y="4829991"/>
                  <a:pt x="688633" y="4829325"/>
                </a:cubicBezTo>
                <a:cubicBezTo>
                  <a:pt x="690097" y="4828793"/>
                  <a:pt x="691429" y="4827861"/>
                  <a:pt x="692360" y="4826928"/>
                </a:cubicBezTo>
                <a:cubicBezTo>
                  <a:pt x="693425" y="4825730"/>
                  <a:pt x="694357" y="4824399"/>
                  <a:pt x="695023" y="4822669"/>
                </a:cubicBezTo>
                <a:cubicBezTo>
                  <a:pt x="695688" y="4821071"/>
                  <a:pt x="696089" y="4819207"/>
                  <a:pt x="696089" y="4817211"/>
                </a:cubicBezTo>
                <a:cubicBezTo>
                  <a:pt x="696089" y="4815347"/>
                  <a:pt x="695688" y="4813617"/>
                  <a:pt x="695023" y="4812020"/>
                </a:cubicBezTo>
                <a:cubicBezTo>
                  <a:pt x="694357" y="4810422"/>
                  <a:pt x="693425" y="4809091"/>
                  <a:pt x="692360" y="4807893"/>
                </a:cubicBezTo>
                <a:cubicBezTo>
                  <a:pt x="691295" y="4806828"/>
                  <a:pt x="689964" y="4805896"/>
                  <a:pt x="688367" y="4805230"/>
                </a:cubicBezTo>
                <a:cubicBezTo>
                  <a:pt x="686903" y="4804565"/>
                  <a:pt x="685305" y="4804299"/>
                  <a:pt x="683308" y="4804299"/>
                </a:cubicBezTo>
                <a:close/>
                <a:moveTo>
                  <a:pt x="465666" y="4804299"/>
                </a:moveTo>
                <a:cubicBezTo>
                  <a:pt x="459809" y="4804299"/>
                  <a:pt x="457280" y="4806296"/>
                  <a:pt x="455683" y="4807893"/>
                </a:cubicBezTo>
                <a:cubicBezTo>
                  <a:pt x="453153" y="4810555"/>
                  <a:pt x="452089" y="4813351"/>
                  <a:pt x="452089" y="4817344"/>
                </a:cubicBezTo>
                <a:cubicBezTo>
                  <a:pt x="452089" y="4821471"/>
                  <a:pt x="453153" y="4824266"/>
                  <a:pt x="455683" y="4826795"/>
                </a:cubicBezTo>
                <a:cubicBezTo>
                  <a:pt x="457280" y="4828394"/>
                  <a:pt x="459809" y="4830257"/>
                  <a:pt x="465666" y="4830257"/>
                </a:cubicBezTo>
                <a:cubicBezTo>
                  <a:pt x="467664" y="4830257"/>
                  <a:pt x="469528" y="4829991"/>
                  <a:pt x="470992" y="4829325"/>
                </a:cubicBezTo>
                <a:cubicBezTo>
                  <a:pt x="472456" y="4828793"/>
                  <a:pt x="473787" y="4827861"/>
                  <a:pt x="474719" y="4826928"/>
                </a:cubicBezTo>
                <a:cubicBezTo>
                  <a:pt x="475783" y="4825730"/>
                  <a:pt x="476715" y="4824399"/>
                  <a:pt x="477382" y="4822669"/>
                </a:cubicBezTo>
                <a:cubicBezTo>
                  <a:pt x="478047" y="4821071"/>
                  <a:pt x="478447" y="4819207"/>
                  <a:pt x="478447" y="4817211"/>
                </a:cubicBezTo>
                <a:cubicBezTo>
                  <a:pt x="478447" y="4815347"/>
                  <a:pt x="478047" y="4813617"/>
                  <a:pt x="477382" y="4812020"/>
                </a:cubicBezTo>
                <a:cubicBezTo>
                  <a:pt x="476715" y="4810422"/>
                  <a:pt x="475783" y="4809091"/>
                  <a:pt x="474719" y="4807893"/>
                </a:cubicBezTo>
                <a:cubicBezTo>
                  <a:pt x="473654" y="4806828"/>
                  <a:pt x="472322" y="4805896"/>
                  <a:pt x="470726" y="4805230"/>
                </a:cubicBezTo>
                <a:cubicBezTo>
                  <a:pt x="469261" y="4804565"/>
                  <a:pt x="467664" y="4804299"/>
                  <a:pt x="465666" y="4804299"/>
                </a:cubicBezTo>
                <a:close/>
                <a:moveTo>
                  <a:pt x="248024" y="4804299"/>
                </a:moveTo>
                <a:cubicBezTo>
                  <a:pt x="242168" y="4804299"/>
                  <a:pt x="239639" y="4806296"/>
                  <a:pt x="238042" y="4807893"/>
                </a:cubicBezTo>
                <a:cubicBezTo>
                  <a:pt x="235512" y="4810555"/>
                  <a:pt x="234448" y="4813351"/>
                  <a:pt x="234448" y="4817344"/>
                </a:cubicBezTo>
                <a:cubicBezTo>
                  <a:pt x="234448" y="4821471"/>
                  <a:pt x="235512" y="4824266"/>
                  <a:pt x="238042" y="4826795"/>
                </a:cubicBezTo>
                <a:cubicBezTo>
                  <a:pt x="239639" y="4828394"/>
                  <a:pt x="242168" y="4830257"/>
                  <a:pt x="248024" y="4830257"/>
                </a:cubicBezTo>
                <a:cubicBezTo>
                  <a:pt x="250154" y="4830257"/>
                  <a:pt x="251885" y="4829991"/>
                  <a:pt x="253349" y="4829325"/>
                </a:cubicBezTo>
                <a:cubicBezTo>
                  <a:pt x="254813" y="4828793"/>
                  <a:pt x="256144" y="4827861"/>
                  <a:pt x="257076" y="4826928"/>
                </a:cubicBezTo>
                <a:cubicBezTo>
                  <a:pt x="258141" y="4825730"/>
                  <a:pt x="259073" y="4824399"/>
                  <a:pt x="259739" y="4822669"/>
                </a:cubicBezTo>
                <a:cubicBezTo>
                  <a:pt x="260404" y="4821071"/>
                  <a:pt x="260804" y="4819207"/>
                  <a:pt x="260804" y="4817211"/>
                </a:cubicBezTo>
                <a:cubicBezTo>
                  <a:pt x="260804" y="4815347"/>
                  <a:pt x="260404" y="4813617"/>
                  <a:pt x="259739" y="4812020"/>
                </a:cubicBezTo>
                <a:cubicBezTo>
                  <a:pt x="259073" y="4810422"/>
                  <a:pt x="258141" y="4809091"/>
                  <a:pt x="257076" y="4807893"/>
                </a:cubicBezTo>
                <a:cubicBezTo>
                  <a:pt x="256011" y="4806828"/>
                  <a:pt x="254680" y="4805896"/>
                  <a:pt x="253083" y="4805230"/>
                </a:cubicBezTo>
                <a:cubicBezTo>
                  <a:pt x="251618" y="4804565"/>
                  <a:pt x="250021" y="4804299"/>
                  <a:pt x="248024" y="4804299"/>
                </a:cubicBezTo>
                <a:close/>
                <a:moveTo>
                  <a:pt x="30383" y="4804299"/>
                </a:moveTo>
                <a:cubicBezTo>
                  <a:pt x="24525" y="4804299"/>
                  <a:pt x="21996" y="4806296"/>
                  <a:pt x="20399" y="4807893"/>
                </a:cubicBezTo>
                <a:cubicBezTo>
                  <a:pt x="17870" y="4810555"/>
                  <a:pt x="16806" y="4813351"/>
                  <a:pt x="16806" y="4817344"/>
                </a:cubicBezTo>
                <a:cubicBezTo>
                  <a:pt x="16806" y="4821471"/>
                  <a:pt x="17870" y="4824266"/>
                  <a:pt x="20399" y="4826795"/>
                </a:cubicBezTo>
                <a:cubicBezTo>
                  <a:pt x="21996" y="4828394"/>
                  <a:pt x="24525" y="4830257"/>
                  <a:pt x="30383" y="4830257"/>
                </a:cubicBezTo>
                <a:cubicBezTo>
                  <a:pt x="32512" y="4830257"/>
                  <a:pt x="34244" y="4829991"/>
                  <a:pt x="35708" y="4829325"/>
                </a:cubicBezTo>
                <a:cubicBezTo>
                  <a:pt x="37172" y="4828793"/>
                  <a:pt x="38504" y="4827861"/>
                  <a:pt x="39435" y="4826928"/>
                </a:cubicBezTo>
                <a:cubicBezTo>
                  <a:pt x="40500" y="4825730"/>
                  <a:pt x="41432" y="4824399"/>
                  <a:pt x="42098" y="4822669"/>
                </a:cubicBezTo>
                <a:cubicBezTo>
                  <a:pt x="42763" y="4821071"/>
                  <a:pt x="43029" y="4819207"/>
                  <a:pt x="43029" y="4817211"/>
                </a:cubicBezTo>
                <a:cubicBezTo>
                  <a:pt x="43029" y="4815347"/>
                  <a:pt x="42763" y="4813617"/>
                  <a:pt x="42098" y="4812020"/>
                </a:cubicBezTo>
                <a:cubicBezTo>
                  <a:pt x="41432" y="4810422"/>
                  <a:pt x="40500" y="4809091"/>
                  <a:pt x="39435" y="4807893"/>
                </a:cubicBezTo>
                <a:cubicBezTo>
                  <a:pt x="38370" y="4806828"/>
                  <a:pt x="37039" y="4805896"/>
                  <a:pt x="35442" y="4805230"/>
                </a:cubicBezTo>
                <a:cubicBezTo>
                  <a:pt x="33978" y="4804565"/>
                  <a:pt x="32380" y="4804299"/>
                  <a:pt x="30383" y="4804299"/>
                </a:cubicBezTo>
                <a:close/>
                <a:moveTo>
                  <a:pt x="10475977" y="4787659"/>
                </a:moveTo>
                <a:cubicBezTo>
                  <a:pt x="10480237" y="4787659"/>
                  <a:pt x="10484230" y="4788458"/>
                  <a:pt x="10487824" y="4790321"/>
                </a:cubicBezTo>
                <a:cubicBezTo>
                  <a:pt x="10491419" y="4791919"/>
                  <a:pt x="10494613" y="4794049"/>
                  <a:pt x="10497143" y="4796711"/>
                </a:cubicBezTo>
                <a:cubicBezTo>
                  <a:pt x="10499672" y="4799240"/>
                  <a:pt x="10501801" y="4802435"/>
                  <a:pt x="10503266" y="4806029"/>
                </a:cubicBezTo>
                <a:cubicBezTo>
                  <a:pt x="10504730" y="4809624"/>
                  <a:pt x="10505529" y="4813351"/>
                  <a:pt x="10505529" y="4817477"/>
                </a:cubicBezTo>
                <a:cubicBezTo>
                  <a:pt x="10505529" y="4821604"/>
                  <a:pt x="10504730" y="4825597"/>
                  <a:pt x="10503266" y="4829192"/>
                </a:cubicBezTo>
                <a:cubicBezTo>
                  <a:pt x="10501669" y="4832787"/>
                  <a:pt x="10499672" y="4835848"/>
                  <a:pt x="10497143" y="4838511"/>
                </a:cubicBezTo>
                <a:cubicBezTo>
                  <a:pt x="10494480" y="4841173"/>
                  <a:pt x="10491419" y="4843303"/>
                  <a:pt x="10487824" y="4844767"/>
                </a:cubicBezTo>
                <a:cubicBezTo>
                  <a:pt x="10484098" y="4846231"/>
                  <a:pt x="10480237" y="4847030"/>
                  <a:pt x="10475977" y="4847030"/>
                </a:cubicBezTo>
                <a:cubicBezTo>
                  <a:pt x="10466924" y="4847030"/>
                  <a:pt x="10459736" y="4844102"/>
                  <a:pt x="10454145" y="4838511"/>
                </a:cubicBezTo>
                <a:cubicBezTo>
                  <a:pt x="10448554" y="4832920"/>
                  <a:pt x="10445759" y="4825730"/>
                  <a:pt x="10445759" y="4817344"/>
                </a:cubicBezTo>
                <a:cubicBezTo>
                  <a:pt x="10445759" y="4809091"/>
                  <a:pt x="10448554" y="4802036"/>
                  <a:pt x="10454145" y="4796312"/>
                </a:cubicBezTo>
                <a:cubicBezTo>
                  <a:pt x="10459603" y="4790455"/>
                  <a:pt x="10466924" y="4787659"/>
                  <a:pt x="10475977" y="4787659"/>
                </a:cubicBezTo>
                <a:close/>
                <a:moveTo>
                  <a:pt x="10258466" y="4787659"/>
                </a:moveTo>
                <a:cubicBezTo>
                  <a:pt x="10262592" y="4787659"/>
                  <a:pt x="10266586" y="4788458"/>
                  <a:pt x="10270313" y="4790321"/>
                </a:cubicBezTo>
                <a:cubicBezTo>
                  <a:pt x="10273907" y="4791919"/>
                  <a:pt x="10277101" y="4794049"/>
                  <a:pt x="10279631" y="4796711"/>
                </a:cubicBezTo>
                <a:cubicBezTo>
                  <a:pt x="10282160" y="4799240"/>
                  <a:pt x="10284290" y="4802435"/>
                  <a:pt x="10285754" y="4806029"/>
                </a:cubicBezTo>
                <a:cubicBezTo>
                  <a:pt x="10287218" y="4809624"/>
                  <a:pt x="10288017" y="4813351"/>
                  <a:pt x="10288017" y="4817477"/>
                </a:cubicBezTo>
                <a:cubicBezTo>
                  <a:pt x="10288017" y="4821604"/>
                  <a:pt x="10287218" y="4825597"/>
                  <a:pt x="10285754" y="4829192"/>
                </a:cubicBezTo>
                <a:cubicBezTo>
                  <a:pt x="10284157" y="4832787"/>
                  <a:pt x="10282160" y="4835848"/>
                  <a:pt x="10279631" y="4838511"/>
                </a:cubicBezTo>
                <a:cubicBezTo>
                  <a:pt x="10276969" y="4841173"/>
                  <a:pt x="10273907" y="4843303"/>
                  <a:pt x="10270313" y="4844767"/>
                </a:cubicBezTo>
                <a:cubicBezTo>
                  <a:pt x="10266586" y="4846231"/>
                  <a:pt x="10262725" y="4847030"/>
                  <a:pt x="10258466" y="4847030"/>
                </a:cubicBezTo>
                <a:cubicBezTo>
                  <a:pt x="10249546" y="4847030"/>
                  <a:pt x="10242224" y="4844102"/>
                  <a:pt x="10236633" y="4838511"/>
                </a:cubicBezTo>
                <a:cubicBezTo>
                  <a:pt x="10231043" y="4832920"/>
                  <a:pt x="10228247" y="4825730"/>
                  <a:pt x="10228247" y="4817344"/>
                </a:cubicBezTo>
                <a:cubicBezTo>
                  <a:pt x="10228247" y="4809091"/>
                  <a:pt x="10231043" y="4802036"/>
                  <a:pt x="10236633" y="4796312"/>
                </a:cubicBezTo>
                <a:cubicBezTo>
                  <a:pt x="10242092" y="4790455"/>
                  <a:pt x="10249413" y="4787659"/>
                  <a:pt x="10258466" y="4787659"/>
                </a:cubicBezTo>
                <a:close/>
                <a:moveTo>
                  <a:pt x="10040820" y="4787659"/>
                </a:moveTo>
                <a:cubicBezTo>
                  <a:pt x="10045080" y="4787659"/>
                  <a:pt x="10048941" y="4788458"/>
                  <a:pt x="10052534" y="4790321"/>
                </a:cubicBezTo>
                <a:cubicBezTo>
                  <a:pt x="10056129" y="4791919"/>
                  <a:pt x="10059323" y="4794049"/>
                  <a:pt x="10061852" y="4796711"/>
                </a:cubicBezTo>
                <a:cubicBezTo>
                  <a:pt x="10064382" y="4799240"/>
                  <a:pt x="10066512" y="4802435"/>
                  <a:pt x="10067976" y="4806029"/>
                </a:cubicBezTo>
                <a:cubicBezTo>
                  <a:pt x="10069440" y="4809624"/>
                  <a:pt x="10070239" y="4813351"/>
                  <a:pt x="10070239" y="4817477"/>
                </a:cubicBezTo>
                <a:cubicBezTo>
                  <a:pt x="10070239" y="4821604"/>
                  <a:pt x="10069440" y="4825597"/>
                  <a:pt x="10067976" y="4829192"/>
                </a:cubicBezTo>
                <a:cubicBezTo>
                  <a:pt x="10066379" y="4832787"/>
                  <a:pt x="10064382" y="4835848"/>
                  <a:pt x="10061852" y="4838511"/>
                </a:cubicBezTo>
                <a:cubicBezTo>
                  <a:pt x="10059190" y="4841173"/>
                  <a:pt x="10056129" y="4843303"/>
                  <a:pt x="10052534" y="4844767"/>
                </a:cubicBezTo>
                <a:cubicBezTo>
                  <a:pt x="10048941" y="4846231"/>
                  <a:pt x="10045080" y="4847030"/>
                  <a:pt x="10040820" y="4847030"/>
                </a:cubicBezTo>
                <a:cubicBezTo>
                  <a:pt x="10031767" y="4847030"/>
                  <a:pt x="10024579" y="4844102"/>
                  <a:pt x="10018988" y="4838511"/>
                </a:cubicBezTo>
                <a:cubicBezTo>
                  <a:pt x="10013397" y="4832920"/>
                  <a:pt x="10010602" y="4825730"/>
                  <a:pt x="10010602" y="4817344"/>
                </a:cubicBezTo>
                <a:cubicBezTo>
                  <a:pt x="10010602" y="4809091"/>
                  <a:pt x="10013397" y="4802036"/>
                  <a:pt x="10018988" y="4796312"/>
                </a:cubicBezTo>
                <a:cubicBezTo>
                  <a:pt x="10024579" y="4790455"/>
                  <a:pt x="10031767" y="4787659"/>
                  <a:pt x="10040820" y="4787659"/>
                </a:cubicBezTo>
                <a:close/>
                <a:moveTo>
                  <a:pt x="9823176" y="4787659"/>
                </a:moveTo>
                <a:cubicBezTo>
                  <a:pt x="9827435" y="4787659"/>
                  <a:pt x="9831296" y="4788458"/>
                  <a:pt x="9834890" y="4790321"/>
                </a:cubicBezTo>
                <a:cubicBezTo>
                  <a:pt x="9838617" y="4791919"/>
                  <a:pt x="9841679" y="4794049"/>
                  <a:pt x="9844208" y="4796711"/>
                </a:cubicBezTo>
                <a:cubicBezTo>
                  <a:pt x="9846737" y="4799240"/>
                  <a:pt x="9848867" y="4802435"/>
                  <a:pt x="9850331" y="4806029"/>
                </a:cubicBezTo>
                <a:cubicBezTo>
                  <a:pt x="9851796" y="4809624"/>
                  <a:pt x="9852595" y="4813351"/>
                  <a:pt x="9852595" y="4817477"/>
                </a:cubicBezTo>
                <a:cubicBezTo>
                  <a:pt x="9852595" y="4821604"/>
                  <a:pt x="9851796" y="4825597"/>
                  <a:pt x="9850331" y="4829192"/>
                </a:cubicBezTo>
                <a:cubicBezTo>
                  <a:pt x="9848734" y="4832787"/>
                  <a:pt x="9846737" y="4835848"/>
                  <a:pt x="9844208" y="4838511"/>
                </a:cubicBezTo>
                <a:cubicBezTo>
                  <a:pt x="9841546" y="4841173"/>
                  <a:pt x="9838484" y="4843303"/>
                  <a:pt x="9834890" y="4844767"/>
                </a:cubicBezTo>
                <a:cubicBezTo>
                  <a:pt x="9831296" y="4846231"/>
                  <a:pt x="9827435" y="4847030"/>
                  <a:pt x="9823176" y="4847030"/>
                </a:cubicBezTo>
                <a:cubicBezTo>
                  <a:pt x="9814123" y="4847030"/>
                  <a:pt x="9806935" y="4844102"/>
                  <a:pt x="9801343" y="4838511"/>
                </a:cubicBezTo>
                <a:cubicBezTo>
                  <a:pt x="9795753" y="4832920"/>
                  <a:pt x="9792957" y="4825730"/>
                  <a:pt x="9792957" y="4817344"/>
                </a:cubicBezTo>
                <a:cubicBezTo>
                  <a:pt x="9792957" y="4809091"/>
                  <a:pt x="9795753" y="4802036"/>
                  <a:pt x="9801343" y="4796312"/>
                </a:cubicBezTo>
                <a:cubicBezTo>
                  <a:pt x="9806935" y="4790455"/>
                  <a:pt x="9814123" y="4787659"/>
                  <a:pt x="9823176" y="4787659"/>
                </a:cubicBezTo>
                <a:close/>
                <a:moveTo>
                  <a:pt x="9605531" y="4787659"/>
                </a:moveTo>
                <a:cubicBezTo>
                  <a:pt x="9609790" y="4787659"/>
                  <a:pt x="9613784" y="4788458"/>
                  <a:pt x="9617245" y="4790321"/>
                </a:cubicBezTo>
                <a:cubicBezTo>
                  <a:pt x="9620839" y="4791919"/>
                  <a:pt x="9624033" y="4794049"/>
                  <a:pt x="9626562" y="4796711"/>
                </a:cubicBezTo>
                <a:cubicBezTo>
                  <a:pt x="9629092" y="4799240"/>
                  <a:pt x="9631222" y="4802435"/>
                  <a:pt x="9632686" y="4806029"/>
                </a:cubicBezTo>
                <a:cubicBezTo>
                  <a:pt x="9634150" y="4809624"/>
                  <a:pt x="9634949" y="4813351"/>
                  <a:pt x="9634949" y="4817477"/>
                </a:cubicBezTo>
                <a:cubicBezTo>
                  <a:pt x="9634949" y="4821604"/>
                  <a:pt x="9634150" y="4825597"/>
                  <a:pt x="9632686" y="4829192"/>
                </a:cubicBezTo>
                <a:cubicBezTo>
                  <a:pt x="9631089" y="4832787"/>
                  <a:pt x="9629092" y="4835848"/>
                  <a:pt x="9626562" y="4838511"/>
                </a:cubicBezTo>
                <a:cubicBezTo>
                  <a:pt x="9623901" y="4841173"/>
                  <a:pt x="9620839" y="4843303"/>
                  <a:pt x="9617245" y="4844767"/>
                </a:cubicBezTo>
                <a:cubicBezTo>
                  <a:pt x="9613651" y="4846231"/>
                  <a:pt x="9609790" y="4847030"/>
                  <a:pt x="9605531" y="4847030"/>
                </a:cubicBezTo>
                <a:cubicBezTo>
                  <a:pt x="9596610" y="4847030"/>
                  <a:pt x="9589289" y="4844102"/>
                  <a:pt x="9583698" y="4838511"/>
                </a:cubicBezTo>
                <a:cubicBezTo>
                  <a:pt x="9578108" y="4832920"/>
                  <a:pt x="9575312" y="4825730"/>
                  <a:pt x="9575312" y="4817344"/>
                </a:cubicBezTo>
                <a:cubicBezTo>
                  <a:pt x="9575312" y="4809091"/>
                  <a:pt x="9578108" y="4802036"/>
                  <a:pt x="9583698" y="4796312"/>
                </a:cubicBezTo>
                <a:cubicBezTo>
                  <a:pt x="9589289" y="4790455"/>
                  <a:pt x="9596478" y="4787659"/>
                  <a:pt x="9605531" y="4787659"/>
                </a:cubicBezTo>
                <a:close/>
                <a:moveTo>
                  <a:pt x="9387885" y="4787659"/>
                </a:moveTo>
                <a:cubicBezTo>
                  <a:pt x="9392145" y="4787659"/>
                  <a:pt x="9396138" y="4788458"/>
                  <a:pt x="9399599" y="4790321"/>
                </a:cubicBezTo>
                <a:cubicBezTo>
                  <a:pt x="9403194" y="4791919"/>
                  <a:pt x="9406388" y="4794049"/>
                  <a:pt x="9408917" y="4796711"/>
                </a:cubicBezTo>
                <a:cubicBezTo>
                  <a:pt x="9411447" y="4799240"/>
                  <a:pt x="9413576" y="4802435"/>
                  <a:pt x="9415041" y="4806029"/>
                </a:cubicBezTo>
                <a:cubicBezTo>
                  <a:pt x="9416505" y="4809624"/>
                  <a:pt x="9417304" y="4813351"/>
                  <a:pt x="9417304" y="4817477"/>
                </a:cubicBezTo>
                <a:cubicBezTo>
                  <a:pt x="9417304" y="4821604"/>
                  <a:pt x="9416505" y="4825597"/>
                  <a:pt x="9415041" y="4829192"/>
                </a:cubicBezTo>
                <a:cubicBezTo>
                  <a:pt x="9413444" y="4832787"/>
                  <a:pt x="9411447" y="4835848"/>
                  <a:pt x="9408917" y="4838511"/>
                </a:cubicBezTo>
                <a:cubicBezTo>
                  <a:pt x="9406255" y="4841173"/>
                  <a:pt x="9403194" y="4843303"/>
                  <a:pt x="9399599" y="4844767"/>
                </a:cubicBezTo>
                <a:cubicBezTo>
                  <a:pt x="9396005" y="4846231"/>
                  <a:pt x="9392145" y="4847030"/>
                  <a:pt x="9387885" y="4847030"/>
                </a:cubicBezTo>
                <a:cubicBezTo>
                  <a:pt x="9378965" y="4847030"/>
                  <a:pt x="9371644" y="4844102"/>
                  <a:pt x="9366053" y="4838511"/>
                </a:cubicBezTo>
                <a:cubicBezTo>
                  <a:pt x="9360462" y="4832920"/>
                  <a:pt x="9357667" y="4825730"/>
                  <a:pt x="9357667" y="4817344"/>
                </a:cubicBezTo>
                <a:cubicBezTo>
                  <a:pt x="9357667" y="4809091"/>
                  <a:pt x="9360462" y="4802036"/>
                  <a:pt x="9366053" y="4796312"/>
                </a:cubicBezTo>
                <a:cubicBezTo>
                  <a:pt x="9371644" y="4790455"/>
                  <a:pt x="9378832" y="4787659"/>
                  <a:pt x="9387885" y="4787659"/>
                </a:cubicBezTo>
                <a:close/>
                <a:moveTo>
                  <a:pt x="9170374" y="4787659"/>
                </a:moveTo>
                <a:cubicBezTo>
                  <a:pt x="9174500" y="4787659"/>
                  <a:pt x="9178494" y="4788458"/>
                  <a:pt x="9182088" y="4790321"/>
                </a:cubicBezTo>
                <a:cubicBezTo>
                  <a:pt x="9185682" y="4791919"/>
                  <a:pt x="9188876" y="4794049"/>
                  <a:pt x="9191405" y="4796711"/>
                </a:cubicBezTo>
                <a:cubicBezTo>
                  <a:pt x="9193935" y="4799240"/>
                  <a:pt x="9196065" y="4802435"/>
                  <a:pt x="9197529" y="4806029"/>
                </a:cubicBezTo>
                <a:cubicBezTo>
                  <a:pt x="9198993" y="4809624"/>
                  <a:pt x="9199792" y="4813351"/>
                  <a:pt x="9199792" y="4817477"/>
                </a:cubicBezTo>
                <a:cubicBezTo>
                  <a:pt x="9199792" y="4821604"/>
                  <a:pt x="9198993" y="4825597"/>
                  <a:pt x="9197529" y="4829192"/>
                </a:cubicBezTo>
                <a:cubicBezTo>
                  <a:pt x="9195932" y="4832787"/>
                  <a:pt x="9193935" y="4835848"/>
                  <a:pt x="9191405" y="4838511"/>
                </a:cubicBezTo>
                <a:cubicBezTo>
                  <a:pt x="9188744" y="4841173"/>
                  <a:pt x="9185682" y="4843303"/>
                  <a:pt x="9182088" y="4844767"/>
                </a:cubicBezTo>
                <a:cubicBezTo>
                  <a:pt x="9178494" y="4846231"/>
                  <a:pt x="9174633" y="4847030"/>
                  <a:pt x="9170374" y="4847030"/>
                </a:cubicBezTo>
                <a:cubicBezTo>
                  <a:pt x="9161453" y="4847030"/>
                  <a:pt x="9154132" y="4844102"/>
                  <a:pt x="9148541" y="4838511"/>
                </a:cubicBezTo>
                <a:cubicBezTo>
                  <a:pt x="9142951" y="4832920"/>
                  <a:pt x="9140155" y="4825730"/>
                  <a:pt x="9140155" y="4817344"/>
                </a:cubicBezTo>
                <a:cubicBezTo>
                  <a:pt x="9140155" y="4809091"/>
                  <a:pt x="9142951" y="4802036"/>
                  <a:pt x="9148541" y="4796312"/>
                </a:cubicBezTo>
                <a:cubicBezTo>
                  <a:pt x="9154132" y="4790455"/>
                  <a:pt x="9161321" y="4787659"/>
                  <a:pt x="9170374" y="4787659"/>
                </a:cubicBezTo>
                <a:close/>
                <a:moveTo>
                  <a:pt x="8952728" y="4787659"/>
                </a:moveTo>
                <a:cubicBezTo>
                  <a:pt x="8956988" y="4787659"/>
                  <a:pt x="8960849" y="4788458"/>
                  <a:pt x="8964442" y="4790321"/>
                </a:cubicBezTo>
                <a:cubicBezTo>
                  <a:pt x="8968037" y="4791919"/>
                  <a:pt x="8971231" y="4794049"/>
                  <a:pt x="8973760" y="4796711"/>
                </a:cubicBezTo>
                <a:cubicBezTo>
                  <a:pt x="8976290" y="4799240"/>
                  <a:pt x="8978419" y="4802435"/>
                  <a:pt x="8979884" y="4806029"/>
                </a:cubicBezTo>
                <a:cubicBezTo>
                  <a:pt x="8981348" y="4809624"/>
                  <a:pt x="8982147" y="4813351"/>
                  <a:pt x="8982147" y="4817477"/>
                </a:cubicBezTo>
                <a:cubicBezTo>
                  <a:pt x="8982147" y="4821604"/>
                  <a:pt x="8981348" y="4825597"/>
                  <a:pt x="8979884" y="4829192"/>
                </a:cubicBezTo>
                <a:cubicBezTo>
                  <a:pt x="8978287" y="4832787"/>
                  <a:pt x="8976290" y="4835848"/>
                  <a:pt x="8973760" y="4838511"/>
                </a:cubicBezTo>
                <a:cubicBezTo>
                  <a:pt x="8971098" y="4841173"/>
                  <a:pt x="8968037" y="4843303"/>
                  <a:pt x="8964442" y="4844767"/>
                </a:cubicBezTo>
                <a:cubicBezTo>
                  <a:pt x="8960849" y="4846231"/>
                  <a:pt x="8956988" y="4847030"/>
                  <a:pt x="8952728" y="4847030"/>
                </a:cubicBezTo>
                <a:cubicBezTo>
                  <a:pt x="8943808" y="4847030"/>
                  <a:pt x="8936487" y="4844102"/>
                  <a:pt x="8930896" y="4838511"/>
                </a:cubicBezTo>
                <a:cubicBezTo>
                  <a:pt x="8925305" y="4832920"/>
                  <a:pt x="8922510" y="4825730"/>
                  <a:pt x="8922510" y="4817344"/>
                </a:cubicBezTo>
                <a:cubicBezTo>
                  <a:pt x="8922510" y="4809091"/>
                  <a:pt x="8925305" y="4802036"/>
                  <a:pt x="8930896" y="4796312"/>
                </a:cubicBezTo>
                <a:cubicBezTo>
                  <a:pt x="8936487" y="4790455"/>
                  <a:pt x="8943675" y="4787659"/>
                  <a:pt x="8952728" y="4787659"/>
                </a:cubicBezTo>
                <a:close/>
                <a:moveTo>
                  <a:pt x="8735083" y="4787659"/>
                </a:moveTo>
                <a:cubicBezTo>
                  <a:pt x="8739342" y="4787659"/>
                  <a:pt x="8743203" y="4788458"/>
                  <a:pt x="8746797" y="4790321"/>
                </a:cubicBezTo>
                <a:cubicBezTo>
                  <a:pt x="8750391" y="4791919"/>
                  <a:pt x="8753586" y="4794049"/>
                  <a:pt x="8756115" y="4796711"/>
                </a:cubicBezTo>
                <a:cubicBezTo>
                  <a:pt x="8758644" y="4799240"/>
                  <a:pt x="8760774" y="4802435"/>
                  <a:pt x="8762238" y="4806029"/>
                </a:cubicBezTo>
                <a:cubicBezTo>
                  <a:pt x="8763702" y="4809624"/>
                  <a:pt x="8764502" y="4813351"/>
                  <a:pt x="8764502" y="4817477"/>
                </a:cubicBezTo>
                <a:cubicBezTo>
                  <a:pt x="8764502" y="4821604"/>
                  <a:pt x="8763702" y="4825597"/>
                  <a:pt x="8762238" y="4829192"/>
                </a:cubicBezTo>
                <a:cubicBezTo>
                  <a:pt x="8760641" y="4832787"/>
                  <a:pt x="8758644" y="4835848"/>
                  <a:pt x="8756115" y="4838511"/>
                </a:cubicBezTo>
                <a:cubicBezTo>
                  <a:pt x="8753453" y="4841173"/>
                  <a:pt x="8750391" y="4843303"/>
                  <a:pt x="8746797" y="4844767"/>
                </a:cubicBezTo>
                <a:cubicBezTo>
                  <a:pt x="8743203" y="4846231"/>
                  <a:pt x="8739342" y="4847030"/>
                  <a:pt x="8735083" y="4847030"/>
                </a:cubicBezTo>
                <a:cubicBezTo>
                  <a:pt x="8726030" y="4847030"/>
                  <a:pt x="8718841" y="4844102"/>
                  <a:pt x="8713250" y="4838511"/>
                </a:cubicBezTo>
                <a:cubicBezTo>
                  <a:pt x="8707660" y="4832920"/>
                  <a:pt x="8704864" y="4825730"/>
                  <a:pt x="8704864" y="4817344"/>
                </a:cubicBezTo>
                <a:cubicBezTo>
                  <a:pt x="8704864" y="4809091"/>
                  <a:pt x="8707660" y="4802036"/>
                  <a:pt x="8713250" y="4796312"/>
                </a:cubicBezTo>
                <a:cubicBezTo>
                  <a:pt x="8718841" y="4790455"/>
                  <a:pt x="8726030" y="4787659"/>
                  <a:pt x="8735083" y="4787659"/>
                </a:cubicBezTo>
                <a:close/>
                <a:moveTo>
                  <a:pt x="8517438" y="4787659"/>
                </a:moveTo>
                <a:cubicBezTo>
                  <a:pt x="8521698" y="4787659"/>
                  <a:pt x="8525559" y="4788458"/>
                  <a:pt x="8529152" y="4790321"/>
                </a:cubicBezTo>
                <a:cubicBezTo>
                  <a:pt x="8532880" y="4791919"/>
                  <a:pt x="8535941" y="4794049"/>
                  <a:pt x="8538470" y="4796711"/>
                </a:cubicBezTo>
                <a:cubicBezTo>
                  <a:pt x="8541000" y="4799240"/>
                  <a:pt x="8543130" y="4802435"/>
                  <a:pt x="8544594" y="4806029"/>
                </a:cubicBezTo>
                <a:cubicBezTo>
                  <a:pt x="8546058" y="4809624"/>
                  <a:pt x="8546857" y="4813351"/>
                  <a:pt x="8546857" y="4817477"/>
                </a:cubicBezTo>
                <a:cubicBezTo>
                  <a:pt x="8546857" y="4821604"/>
                  <a:pt x="8546058" y="4825597"/>
                  <a:pt x="8544594" y="4829192"/>
                </a:cubicBezTo>
                <a:cubicBezTo>
                  <a:pt x="8542997" y="4832787"/>
                  <a:pt x="8541000" y="4835848"/>
                  <a:pt x="8538470" y="4838511"/>
                </a:cubicBezTo>
                <a:cubicBezTo>
                  <a:pt x="8535808" y="4841173"/>
                  <a:pt x="8532747" y="4843303"/>
                  <a:pt x="8529152" y="4844767"/>
                </a:cubicBezTo>
                <a:cubicBezTo>
                  <a:pt x="8525559" y="4846231"/>
                  <a:pt x="8521698" y="4847030"/>
                  <a:pt x="8517438" y="4847030"/>
                </a:cubicBezTo>
                <a:cubicBezTo>
                  <a:pt x="8508385" y="4847030"/>
                  <a:pt x="8501197" y="4844102"/>
                  <a:pt x="8495606" y="4838511"/>
                </a:cubicBezTo>
                <a:cubicBezTo>
                  <a:pt x="8490015" y="4832920"/>
                  <a:pt x="8487220" y="4825730"/>
                  <a:pt x="8487220" y="4817344"/>
                </a:cubicBezTo>
                <a:cubicBezTo>
                  <a:pt x="8487220" y="4809091"/>
                  <a:pt x="8490015" y="4802036"/>
                  <a:pt x="8495606" y="4796312"/>
                </a:cubicBezTo>
                <a:cubicBezTo>
                  <a:pt x="8501197" y="4790455"/>
                  <a:pt x="8508385" y="4787659"/>
                  <a:pt x="8517438" y="4787659"/>
                </a:cubicBezTo>
                <a:close/>
                <a:moveTo>
                  <a:pt x="8299793" y="4787659"/>
                </a:moveTo>
                <a:cubicBezTo>
                  <a:pt x="8304052" y="4787659"/>
                  <a:pt x="8308046" y="4788458"/>
                  <a:pt x="8311507" y="4790321"/>
                </a:cubicBezTo>
                <a:cubicBezTo>
                  <a:pt x="8315235" y="4791919"/>
                  <a:pt x="8318296" y="4794049"/>
                  <a:pt x="8320825" y="4796711"/>
                </a:cubicBezTo>
                <a:cubicBezTo>
                  <a:pt x="8323354" y="4799240"/>
                  <a:pt x="8325484" y="4802435"/>
                  <a:pt x="8326948" y="4806029"/>
                </a:cubicBezTo>
                <a:cubicBezTo>
                  <a:pt x="8328413" y="4809624"/>
                  <a:pt x="8329212" y="4813351"/>
                  <a:pt x="8329212" y="4817477"/>
                </a:cubicBezTo>
                <a:cubicBezTo>
                  <a:pt x="8329212" y="4821604"/>
                  <a:pt x="8328413" y="4825597"/>
                  <a:pt x="8326948" y="4829192"/>
                </a:cubicBezTo>
                <a:cubicBezTo>
                  <a:pt x="8325351" y="4832787"/>
                  <a:pt x="8323354" y="4835848"/>
                  <a:pt x="8320825" y="4838511"/>
                </a:cubicBezTo>
                <a:cubicBezTo>
                  <a:pt x="8318163" y="4841173"/>
                  <a:pt x="8315101" y="4843303"/>
                  <a:pt x="8311507" y="4844767"/>
                </a:cubicBezTo>
                <a:cubicBezTo>
                  <a:pt x="8307913" y="4846231"/>
                  <a:pt x="8304052" y="4847030"/>
                  <a:pt x="8299793" y="4847030"/>
                </a:cubicBezTo>
                <a:cubicBezTo>
                  <a:pt x="8290874" y="4847030"/>
                  <a:pt x="8283553" y="4844102"/>
                  <a:pt x="8277960" y="4838511"/>
                </a:cubicBezTo>
                <a:cubicBezTo>
                  <a:pt x="8272370" y="4832920"/>
                  <a:pt x="8269574" y="4825730"/>
                  <a:pt x="8269574" y="4817344"/>
                </a:cubicBezTo>
                <a:cubicBezTo>
                  <a:pt x="8269574" y="4809091"/>
                  <a:pt x="8272370" y="4802036"/>
                  <a:pt x="8277960" y="4796312"/>
                </a:cubicBezTo>
                <a:cubicBezTo>
                  <a:pt x="8283553" y="4790455"/>
                  <a:pt x="8290741" y="4787659"/>
                  <a:pt x="8299793" y="4787659"/>
                </a:cubicBezTo>
                <a:close/>
                <a:moveTo>
                  <a:pt x="8082281" y="4787659"/>
                </a:moveTo>
                <a:cubicBezTo>
                  <a:pt x="8086407" y="4787659"/>
                  <a:pt x="8090401" y="4788458"/>
                  <a:pt x="8094127" y="4790321"/>
                </a:cubicBezTo>
                <a:cubicBezTo>
                  <a:pt x="8097855" y="4791919"/>
                  <a:pt x="8100916" y="4794049"/>
                  <a:pt x="8103446" y="4796711"/>
                </a:cubicBezTo>
                <a:cubicBezTo>
                  <a:pt x="8105975" y="4799240"/>
                  <a:pt x="8108104" y="4802435"/>
                  <a:pt x="8109569" y="4806029"/>
                </a:cubicBezTo>
                <a:cubicBezTo>
                  <a:pt x="8111033" y="4809624"/>
                  <a:pt x="8111832" y="4813351"/>
                  <a:pt x="8111832" y="4817477"/>
                </a:cubicBezTo>
                <a:cubicBezTo>
                  <a:pt x="8111832" y="4821604"/>
                  <a:pt x="8111033" y="4825597"/>
                  <a:pt x="8109569" y="4829192"/>
                </a:cubicBezTo>
                <a:cubicBezTo>
                  <a:pt x="8107972" y="4832787"/>
                  <a:pt x="8105975" y="4835848"/>
                  <a:pt x="8103446" y="4838511"/>
                </a:cubicBezTo>
                <a:cubicBezTo>
                  <a:pt x="8100783" y="4841173"/>
                  <a:pt x="8097722" y="4843303"/>
                  <a:pt x="8094127" y="4844767"/>
                </a:cubicBezTo>
                <a:cubicBezTo>
                  <a:pt x="8090401" y="4846231"/>
                  <a:pt x="8086540" y="4847030"/>
                  <a:pt x="8082281" y="4847030"/>
                </a:cubicBezTo>
                <a:cubicBezTo>
                  <a:pt x="8073361" y="4847030"/>
                  <a:pt x="8066040" y="4844102"/>
                  <a:pt x="8060448" y="4838511"/>
                </a:cubicBezTo>
                <a:cubicBezTo>
                  <a:pt x="8054857" y="4832920"/>
                  <a:pt x="8052062" y="4825730"/>
                  <a:pt x="8052062" y="4817344"/>
                </a:cubicBezTo>
                <a:cubicBezTo>
                  <a:pt x="8052062" y="4809091"/>
                  <a:pt x="8054857" y="4802036"/>
                  <a:pt x="8060448" y="4796312"/>
                </a:cubicBezTo>
                <a:cubicBezTo>
                  <a:pt x="8066040" y="4790455"/>
                  <a:pt x="8073228" y="4787659"/>
                  <a:pt x="8082281" y="4787659"/>
                </a:cubicBezTo>
                <a:close/>
                <a:moveTo>
                  <a:pt x="7864636" y="4787659"/>
                </a:moveTo>
                <a:cubicBezTo>
                  <a:pt x="7868762" y="4787659"/>
                  <a:pt x="7872756" y="4788458"/>
                  <a:pt x="7876483" y="4790321"/>
                </a:cubicBezTo>
                <a:cubicBezTo>
                  <a:pt x="7880210" y="4791919"/>
                  <a:pt x="7883272" y="4794049"/>
                  <a:pt x="7885802" y="4796711"/>
                </a:cubicBezTo>
                <a:cubicBezTo>
                  <a:pt x="7888331" y="4799240"/>
                  <a:pt x="7890460" y="4802435"/>
                  <a:pt x="7891924" y="4806029"/>
                </a:cubicBezTo>
                <a:cubicBezTo>
                  <a:pt x="7893389" y="4809624"/>
                  <a:pt x="7894188" y="4813351"/>
                  <a:pt x="7894188" y="4817477"/>
                </a:cubicBezTo>
                <a:cubicBezTo>
                  <a:pt x="7894188" y="4821604"/>
                  <a:pt x="7893389" y="4825597"/>
                  <a:pt x="7891924" y="4829192"/>
                </a:cubicBezTo>
                <a:cubicBezTo>
                  <a:pt x="7890327" y="4832787"/>
                  <a:pt x="7888331" y="4835848"/>
                  <a:pt x="7885802" y="4838511"/>
                </a:cubicBezTo>
                <a:cubicBezTo>
                  <a:pt x="7883139" y="4841173"/>
                  <a:pt x="7880078" y="4843303"/>
                  <a:pt x="7876483" y="4844767"/>
                </a:cubicBezTo>
                <a:cubicBezTo>
                  <a:pt x="7872756" y="4846231"/>
                  <a:pt x="7868895" y="4847030"/>
                  <a:pt x="7864636" y="4847030"/>
                </a:cubicBezTo>
                <a:cubicBezTo>
                  <a:pt x="7855717" y="4847030"/>
                  <a:pt x="7848396" y="4844102"/>
                  <a:pt x="7842803" y="4838511"/>
                </a:cubicBezTo>
                <a:cubicBezTo>
                  <a:pt x="7837213" y="4832920"/>
                  <a:pt x="7834417" y="4825730"/>
                  <a:pt x="7834417" y="4817344"/>
                </a:cubicBezTo>
                <a:cubicBezTo>
                  <a:pt x="7834417" y="4809091"/>
                  <a:pt x="7837213" y="4802036"/>
                  <a:pt x="7842803" y="4796312"/>
                </a:cubicBezTo>
                <a:cubicBezTo>
                  <a:pt x="7848396" y="4790455"/>
                  <a:pt x="7855584" y="4787659"/>
                  <a:pt x="7864636" y="4787659"/>
                </a:cubicBezTo>
                <a:close/>
                <a:moveTo>
                  <a:pt x="7646991" y="4787659"/>
                </a:moveTo>
                <a:cubicBezTo>
                  <a:pt x="7651250" y="4787659"/>
                  <a:pt x="7655111" y="4788458"/>
                  <a:pt x="7658705" y="4790321"/>
                </a:cubicBezTo>
                <a:cubicBezTo>
                  <a:pt x="7662432" y="4791919"/>
                  <a:pt x="7665493" y="4794049"/>
                  <a:pt x="7668022" y="4796711"/>
                </a:cubicBezTo>
                <a:cubicBezTo>
                  <a:pt x="7670552" y="4799240"/>
                  <a:pt x="7672682" y="4802435"/>
                  <a:pt x="7674146" y="4806029"/>
                </a:cubicBezTo>
                <a:cubicBezTo>
                  <a:pt x="7675610" y="4809624"/>
                  <a:pt x="7676409" y="4813351"/>
                  <a:pt x="7676409" y="4817477"/>
                </a:cubicBezTo>
                <a:cubicBezTo>
                  <a:pt x="7676409" y="4821604"/>
                  <a:pt x="7675610" y="4825597"/>
                  <a:pt x="7674146" y="4829192"/>
                </a:cubicBezTo>
                <a:cubicBezTo>
                  <a:pt x="7672549" y="4832787"/>
                  <a:pt x="7670552" y="4835848"/>
                  <a:pt x="7668022" y="4838511"/>
                </a:cubicBezTo>
                <a:cubicBezTo>
                  <a:pt x="7665361" y="4841173"/>
                  <a:pt x="7662299" y="4843303"/>
                  <a:pt x="7658705" y="4844767"/>
                </a:cubicBezTo>
                <a:cubicBezTo>
                  <a:pt x="7655111" y="4846231"/>
                  <a:pt x="7651250" y="4847030"/>
                  <a:pt x="7646991" y="4847030"/>
                </a:cubicBezTo>
                <a:cubicBezTo>
                  <a:pt x="7638071" y="4847030"/>
                  <a:pt x="7630750" y="4844102"/>
                  <a:pt x="7625158" y="4838511"/>
                </a:cubicBezTo>
                <a:cubicBezTo>
                  <a:pt x="7619568" y="4832920"/>
                  <a:pt x="7616772" y="4825730"/>
                  <a:pt x="7616772" y="4817344"/>
                </a:cubicBezTo>
                <a:cubicBezTo>
                  <a:pt x="7616772" y="4809091"/>
                  <a:pt x="7619568" y="4802036"/>
                  <a:pt x="7625158" y="4796312"/>
                </a:cubicBezTo>
                <a:cubicBezTo>
                  <a:pt x="7630750" y="4790455"/>
                  <a:pt x="7637939" y="4787659"/>
                  <a:pt x="7646991" y="4787659"/>
                </a:cubicBezTo>
                <a:close/>
                <a:moveTo>
                  <a:pt x="7429345" y="4787659"/>
                </a:moveTo>
                <a:cubicBezTo>
                  <a:pt x="7433605" y="4787659"/>
                  <a:pt x="7437466" y="4788458"/>
                  <a:pt x="7441059" y="4790321"/>
                </a:cubicBezTo>
                <a:cubicBezTo>
                  <a:pt x="7444787" y="4791919"/>
                  <a:pt x="7447848" y="4794049"/>
                  <a:pt x="7450377" y="4796711"/>
                </a:cubicBezTo>
                <a:cubicBezTo>
                  <a:pt x="7452907" y="4799240"/>
                  <a:pt x="7455036" y="4802435"/>
                  <a:pt x="7456501" y="4806029"/>
                </a:cubicBezTo>
                <a:cubicBezTo>
                  <a:pt x="7457965" y="4809624"/>
                  <a:pt x="7458764" y="4813351"/>
                  <a:pt x="7458764" y="4817477"/>
                </a:cubicBezTo>
                <a:cubicBezTo>
                  <a:pt x="7458764" y="4821604"/>
                  <a:pt x="7457965" y="4825597"/>
                  <a:pt x="7456501" y="4829192"/>
                </a:cubicBezTo>
                <a:cubicBezTo>
                  <a:pt x="7454904" y="4832787"/>
                  <a:pt x="7452907" y="4835848"/>
                  <a:pt x="7450377" y="4838511"/>
                </a:cubicBezTo>
                <a:cubicBezTo>
                  <a:pt x="7447715" y="4841173"/>
                  <a:pt x="7444654" y="4843303"/>
                  <a:pt x="7441059" y="4844767"/>
                </a:cubicBezTo>
                <a:cubicBezTo>
                  <a:pt x="7437466" y="4846231"/>
                  <a:pt x="7433605" y="4847030"/>
                  <a:pt x="7429345" y="4847030"/>
                </a:cubicBezTo>
                <a:cubicBezTo>
                  <a:pt x="7420426" y="4847030"/>
                  <a:pt x="7413105" y="4844102"/>
                  <a:pt x="7407513" y="4838511"/>
                </a:cubicBezTo>
                <a:cubicBezTo>
                  <a:pt x="7401922" y="4832920"/>
                  <a:pt x="7399127" y="4825730"/>
                  <a:pt x="7399127" y="4817344"/>
                </a:cubicBezTo>
                <a:cubicBezTo>
                  <a:pt x="7399127" y="4809091"/>
                  <a:pt x="7401922" y="4802036"/>
                  <a:pt x="7407513" y="4796312"/>
                </a:cubicBezTo>
                <a:cubicBezTo>
                  <a:pt x="7413105" y="4790455"/>
                  <a:pt x="7420293" y="4787659"/>
                  <a:pt x="7429345" y="4787659"/>
                </a:cubicBezTo>
                <a:close/>
                <a:moveTo>
                  <a:pt x="7211701" y="4787659"/>
                </a:moveTo>
                <a:cubicBezTo>
                  <a:pt x="7215960" y="4787659"/>
                  <a:pt x="7219954" y="4788458"/>
                  <a:pt x="7223415" y="4790321"/>
                </a:cubicBezTo>
                <a:cubicBezTo>
                  <a:pt x="7227142" y="4791919"/>
                  <a:pt x="7230204" y="4794049"/>
                  <a:pt x="7232733" y="4796711"/>
                </a:cubicBezTo>
                <a:cubicBezTo>
                  <a:pt x="7235262" y="4799240"/>
                  <a:pt x="7237392" y="4802435"/>
                  <a:pt x="7238856" y="4806029"/>
                </a:cubicBezTo>
                <a:cubicBezTo>
                  <a:pt x="7240321" y="4809624"/>
                  <a:pt x="7241120" y="4813351"/>
                  <a:pt x="7241120" y="4817477"/>
                </a:cubicBezTo>
                <a:cubicBezTo>
                  <a:pt x="7241120" y="4821604"/>
                  <a:pt x="7240321" y="4825597"/>
                  <a:pt x="7238856" y="4829192"/>
                </a:cubicBezTo>
                <a:cubicBezTo>
                  <a:pt x="7237259" y="4832787"/>
                  <a:pt x="7235262" y="4835848"/>
                  <a:pt x="7232733" y="4838511"/>
                </a:cubicBezTo>
                <a:cubicBezTo>
                  <a:pt x="7230071" y="4841173"/>
                  <a:pt x="7227009" y="4843303"/>
                  <a:pt x="7223415" y="4844767"/>
                </a:cubicBezTo>
                <a:cubicBezTo>
                  <a:pt x="7219821" y="4846231"/>
                  <a:pt x="7215960" y="4847030"/>
                  <a:pt x="7211701" y="4847030"/>
                </a:cubicBezTo>
                <a:cubicBezTo>
                  <a:pt x="7202782" y="4847030"/>
                  <a:pt x="7195460" y="4844102"/>
                  <a:pt x="7189868" y="4838511"/>
                </a:cubicBezTo>
                <a:cubicBezTo>
                  <a:pt x="7184278" y="4832920"/>
                  <a:pt x="7181482" y="4825730"/>
                  <a:pt x="7181482" y="4817344"/>
                </a:cubicBezTo>
                <a:cubicBezTo>
                  <a:pt x="7181482" y="4809091"/>
                  <a:pt x="7184278" y="4802036"/>
                  <a:pt x="7189868" y="4796312"/>
                </a:cubicBezTo>
                <a:cubicBezTo>
                  <a:pt x="7195460" y="4790455"/>
                  <a:pt x="7202649" y="4787659"/>
                  <a:pt x="7211701" y="4787659"/>
                </a:cubicBezTo>
                <a:close/>
                <a:moveTo>
                  <a:pt x="6994056" y="4787659"/>
                </a:moveTo>
                <a:cubicBezTo>
                  <a:pt x="6998315" y="4787659"/>
                  <a:pt x="7002309" y="4788458"/>
                  <a:pt x="7005769" y="4790321"/>
                </a:cubicBezTo>
                <a:cubicBezTo>
                  <a:pt x="7009497" y="4791919"/>
                  <a:pt x="7012558" y="4794049"/>
                  <a:pt x="7015087" y="4796711"/>
                </a:cubicBezTo>
                <a:cubicBezTo>
                  <a:pt x="7017617" y="4799240"/>
                  <a:pt x="7019747" y="4802435"/>
                  <a:pt x="7021211" y="4806029"/>
                </a:cubicBezTo>
                <a:cubicBezTo>
                  <a:pt x="7022675" y="4809624"/>
                  <a:pt x="7023474" y="4813351"/>
                  <a:pt x="7023474" y="4817477"/>
                </a:cubicBezTo>
                <a:cubicBezTo>
                  <a:pt x="7023474" y="4821604"/>
                  <a:pt x="7022675" y="4825597"/>
                  <a:pt x="7021211" y="4829192"/>
                </a:cubicBezTo>
                <a:cubicBezTo>
                  <a:pt x="7019614" y="4832787"/>
                  <a:pt x="7017617" y="4835848"/>
                  <a:pt x="7015087" y="4838511"/>
                </a:cubicBezTo>
                <a:cubicBezTo>
                  <a:pt x="7012425" y="4841173"/>
                  <a:pt x="7009364" y="4843303"/>
                  <a:pt x="7005769" y="4844767"/>
                </a:cubicBezTo>
                <a:cubicBezTo>
                  <a:pt x="7002176" y="4846231"/>
                  <a:pt x="6998315" y="4847030"/>
                  <a:pt x="6994056" y="4847030"/>
                </a:cubicBezTo>
                <a:cubicBezTo>
                  <a:pt x="6985136" y="4847030"/>
                  <a:pt x="6977815" y="4844102"/>
                  <a:pt x="6972223" y="4838511"/>
                </a:cubicBezTo>
                <a:cubicBezTo>
                  <a:pt x="6966632" y="4832920"/>
                  <a:pt x="6963837" y="4825730"/>
                  <a:pt x="6963837" y="4817344"/>
                </a:cubicBezTo>
                <a:cubicBezTo>
                  <a:pt x="6963837" y="4809091"/>
                  <a:pt x="6966632" y="4802036"/>
                  <a:pt x="6972223" y="4796312"/>
                </a:cubicBezTo>
                <a:cubicBezTo>
                  <a:pt x="6977815" y="4790455"/>
                  <a:pt x="6985003" y="4787659"/>
                  <a:pt x="6994056" y="4787659"/>
                </a:cubicBezTo>
                <a:close/>
                <a:moveTo>
                  <a:pt x="6776544" y="4787659"/>
                </a:moveTo>
                <a:cubicBezTo>
                  <a:pt x="6780670" y="4787659"/>
                  <a:pt x="6784664" y="4788458"/>
                  <a:pt x="6788258" y="4790321"/>
                </a:cubicBezTo>
                <a:cubicBezTo>
                  <a:pt x="6791985" y="4791919"/>
                  <a:pt x="6795047" y="4794049"/>
                  <a:pt x="6797576" y="4796711"/>
                </a:cubicBezTo>
                <a:cubicBezTo>
                  <a:pt x="6800105" y="4799240"/>
                  <a:pt x="6802235" y="4802435"/>
                  <a:pt x="6803699" y="4806029"/>
                </a:cubicBezTo>
                <a:cubicBezTo>
                  <a:pt x="6805164" y="4809624"/>
                  <a:pt x="6805963" y="4813351"/>
                  <a:pt x="6805963" y="4817477"/>
                </a:cubicBezTo>
                <a:cubicBezTo>
                  <a:pt x="6805963" y="4821604"/>
                  <a:pt x="6805164" y="4825597"/>
                  <a:pt x="6803699" y="4829192"/>
                </a:cubicBezTo>
                <a:cubicBezTo>
                  <a:pt x="6802102" y="4832787"/>
                  <a:pt x="6800105" y="4835848"/>
                  <a:pt x="6797576" y="4838511"/>
                </a:cubicBezTo>
                <a:cubicBezTo>
                  <a:pt x="6794914" y="4841173"/>
                  <a:pt x="6791852" y="4843303"/>
                  <a:pt x="6788258" y="4844767"/>
                </a:cubicBezTo>
                <a:cubicBezTo>
                  <a:pt x="6784664" y="4846231"/>
                  <a:pt x="6780803" y="4847030"/>
                  <a:pt x="6776544" y="4847030"/>
                </a:cubicBezTo>
                <a:cubicBezTo>
                  <a:pt x="6767625" y="4847030"/>
                  <a:pt x="6760303" y="4844102"/>
                  <a:pt x="6754711" y="4838511"/>
                </a:cubicBezTo>
                <a:cubicBezTo>
                  <a:pt x="6749121" y="4832920"/>
                  <a:pt x="6746325" y="4825730"/>
                  <a:pt x="6746325" y="4817344"/>
                </a:cubicBezTo>
                <a:cubicBezTo>
                  <a:pt x="6746325" y="4809091"/>
                  <a:pt x="6749121" y="4802036"/>
                  <a:pt x="6754711" y="4796312"/>
                </a:cubicBezTo>
                <a:cubicBezTo>
                  <a:pt x="6760303" y="4790455"/>
                  <a:pt x="6767492" y="4787659"/>
                  <a:pt x="6776544" y="4787659"/>
                </a:cubicBezTo>
                <a:close/>
                <a:moveTo>
                  <a:pt x="6558899" y="4787659"/>
                </a:moveTo>
                <a:cubicBezTo>
                  <a:pt x="6563158" y="4787659"/>
                  <a:pt x="6567019" y="4788458"/>
                  <a:pt x="6570612" y="4790321"/>
                </a:cubicBezTo>
                <a:cubicBezTo>
                  <a:pt x="6574340" y="4791919"/>
                  <a:pt x="6577401" y="4794049"/>
                  <a:pt x="6579930" y="4796711"/>
                </a:cubicBezTo>
                <a:cubicBezTo>
                  <a:pt x="6582460" y="4799240"/>
                  <a:pt x="6584590" y="4802435"/>
                  <a:pt x="6586054" y="4806029"/>
                </a:cubicBezTo>
                <a:cubicBezTo>
                  <a:pt x="6587518" y="4809624"/>
                  <a:pt x="6588317" y="4813351"/>
                  <a:pt x="6588317" y="4817477"/>
                </a:cubicBezTo>
                <a:cubicBezTo>
                  <a:pt x="6588317" y="4821604"/>
                  <a:pt x="6587518" y="4825597"/>
                  <a:pt x="6586054" y="4829192"/>
                </a:cubicBezTo>
                <a:cubicBezTo>
                  <a:pt x="6584457" y="4832787"/>
                  <a:pt x="6582460" y="4835848"/>
                  <a:pt x="6579930" y="4838511"/>
                </a:cubicBezTo>
                <a:cubicBezTo>
                  <a:pt x="6577268" y="4841173"/>
                  <a:pt x="6574207" y="4843303"/>
                  <a:pt x="6570612" y="4844767"/>
                </a:cubicBezTo>
                <a:cubicBezTo>
                  <a:pt x="6567019" y="4846231"/>
                  <a:pt x="6563158" y="4847030"/>
                  <a:pt x="6558899" y="4847030"/>
                </a:cubicBezTo>
                <a:cubicBezTo>
                  <a:pt x="6549979" y="4847030"/>
                  <a:pt x="6542658" y="4844102"/>
                  <a:pt x="6537066" y="4838511"/>
                </a:cubicBezTo>
                <a:cubicBezTo>
                  <a:pt x="6531476" y="4832920"/>
                  <a:pt x="6528680" y="4825730"/>
                  <a:pt x="6528680" y="4817344"/>
                </a:cubicBezTo>
                <a:cubicBezTo>
                  <a:pt x="6528680" y="4809091"/>
                  <a:pt x="6531476" y="4802036"/>
                  <a:pt x="6537066" y="4796312"/>
                </a:cubicBezTo>
                <a:cubicBezTo>
                  <a:pt x="6542658" y="4790455"/>
                  <a:pt x="6549846" y="4787659"/>
                  <a:pt x="6558899" y="4787659"/>
                </a:cubicBezTo>
                <a:close/>
                <a:moveTo>
                  <a:pt x="6341253" y="4787659"/>
                </a:moveTo>
                <a:cubicBezTo>
                  <a:pt x="6345513" y="4787659"/>
                  <a:pt x="6349373" y="4788458"/>
                  <a:pt x="6352968" y="4790321"/>
                </a:cubicBezTo>
                <a:cubicBezTo>
                  <a:pt x="6356695" y="4791919"/>
                  <a:pt x="6359757" y="4794049"/>
                  <a:pt x="6362286" y="4796711"/>
                </a:cubicBezTo>
                <a:cubicBezTo>
                  <a:pt x="6364815" y="4799240"/>
                  <a:pt x="6366945" y="4802435"/>
                  <a:pt x="6368409" y="4806029"/>
                </a:cubicBezTo>
                <a:cubicBezTo>
                  <a:pt x="6369874" y="4809624"/>
                  <a:pt x="6370672" y="4813351"/>
                  <a:pt x="6370672" y="4817477"/>
                </a:cubicBezTo>
                <a:cubicBezTo>
                  <a:pt x="6370672" y="4821604"/>
                  <a:pt x="6369874" y="4825597"/>
                  <a:pt x="6368409" y="4829192"/>
                </a:cubicBezTo>
                <a:cubicBezTo>
                  <a:pt x="6366811" y="4832787"/>
                  <a:pt x="6364815" y="4835848"/>
                  <a:pt x="6362286" y="4838511"/>
                </a:cubicBezTo>
                <a:cubicBezTo>
                  <a:pt x="6359623" y="4841173"/>
                  <a:pt x="6356562" y="4843303"/>
                  <a:pt x="6352968" y="4844767"/>
                </a:cubicBezTo>
                <a:cubicBezTo>
                  <a:pt x="6349373" y="4846231"/>
                  <a:pt x="6345513" y="4847030"/>
                  <a:pt x="6341253" y="4847030"/>
                </a:cubicBezTo>
                <a:cubicBezTo>
                  <a:pt x="6332335" y="4847030"/>
                  <a:pt x="6325013" y="4844102"/>
                  <a:pt x="6319421" y="4838511"/>
                </a:cubicBezTo>
                <a:cubicBezTo>
                  <a:pt x="6313830" y="4832920"/>
                  <a:pt x="6311035" y="4825730"/>
                  <a:pt x="6311035" y="4817344"/>
                </a:cubicBezTo>
                <a:cubicBezTo>
                  <a:pt x="6311035" y="4809091"/>
                  <a:pt x="6313830" y="4802036"/>
                  <a:pt x="6319421" y="4796312"/>
                </a:cubicBezTo>
                <a:cubicBezTo>
                  <a:pt x="6325013" y="4790455"/>
                  <a:pt x="6332201" y="4787659"/>
                  <a:pt x="6341253" y="4787659"/>
                </a:cubicBezTo>
                <a:close/>
                <a:moveTo>
                  <a:pt x="6123608" y="4787659"/>
                </a:moveTo>
                <a:cubicBezTo>
                  <a:pt x="6127867" y="4787659"/>
                  <a:pt x="6131728" y="4788458"/>
                  <a:pt x="6135322" y="4790321"/>
                </a:cubicBezTo>
                <a:cubicBezTo>
                  <a:pt x="6139049" y="4791919"/>
                  <a:pt x="6142111" y="4794049"/>
                  <a:pt x="6144640" y="4796711"/>
                </a:cubicBezTo>
                <a:cubicBezTo>
                  <a:pt x="6147169" y="4799240"/>
                  <a:pt x="6149299" y="4802435"/>
                  <a:pt x="6150763" y="4806029"/>
                </a:cubicBezTo>
                <a:cubicBezTo>
                  <a:pt x="6152228" y="4809624"/>
                  <a:pt x="6153026" y="4813351"/>
                  <a:pt x="6153026" y="4817477"/>
                </a:cubicBezTo>
                <a:cubicBezTo>
                  <a:pt x="6153026" y="4821604"/>
                  <a:pt x="6152228" y="4825597"/>
                  <a:pt x="6150763" y="4829192"/>
                </a:cubicBezTo>
                <a:cubicBezTo>
                  <a:pt x="6149299" y="4832787"/>
                  <a:pt x="6147169" y="4835848"/>
                  <a:pt x="6144640" y="4838511"/>
                </a:cubicBezTo>
                <a:cubicBezTo>
                  <a:pt x="6141977" y="4841173"/>
                  <a:pt x="6138916" y="4843303"/>
                  <a:pt x="6135322" y="4844767"/>
                </a:cubicBezTo>
                <a:cubicBezTo>
                  <a:pt x="6131728" y="4846231"/>
                  <a:pt x="6127867" y="4847030"/>
                  <a:pt x="6123608" y="4847030"/>
                </a:cubicBezTo>
                <a:cubicBezTo>
                  <a:pt x="6114689" y="4847030"/>
                  <a:pt x="6107367" y="4844102"/>
                  <a:pt x="6101775" y="4838511"/>
                </a:cubicBezTo>
                <a:cubicBezTo>
                  <a:pt x="6096184" y="4832920"/>
                  <a:pt x="6093389" y="4825730"/>
                  <a:pt x="6093389" y="4817344"/>
                </a:cubicBezTo>
                <a:cubicBezTo>
                  <a:pt x="6093389" y="4809091"/>
                  <a:pt x="6096184" y="4802036"/>
                  <a:pt x="6101775" y="4796312"/>
                </a:cubicBezTo>
                <a:cubicBezTo>
                  <a:pt x="6107367" y="4790455"/>
                  <a:pt x="6114555" y="4787659"/>
                  <a:pt x="6123608" y="4787659"/>
                </a:cubicBezTo>
                <a:close/>
                <a:moveTo>
                  <a:pt x="5905963" y="4787659"/>
                </a:moveTo>
                <a:cubicBezTo>
                  <a:pt x="5910222" y="4787659"/>
                  <a:pt x="5914216" y="4788458"/>
                  <a:pt x="5917677" y="4790321"/>
                </a:cubicBezTo>
                <a:cubicBezTo>
                  <a:pt x="5921404" y="4791919"/>
                  <a:pt x="5924466" y="4794049"/>
                  <a:pt x="5926995" y="4796711"/>
                </a:cubicBezTo>
                <a:cubicBezTo>
                  <a:pt x="5929524" y="4799240"/>
                  <a:pt x="5931654" y="4802435"/>
                  <a:pt x="5933118" y="4806029"/>
                </a:cubicBezTo>
                <a:cubicBezTo>
                  <a:pt x="5934583" y="4809624"/>
                  <a:pt x="5935381" y="4813351"/>
                  <a:pt x="5935381" y="4817477"/>
                </a:cubicBezTo>
                <a:cubicBezTo>
                  <a:pt x="5935381" y="4821604"/>
                  <a:pt x="5934583" y="4825597"/>
                  <a:pt x="5933118" y="4829192"/>
                </a:cubicBezTo>
                <a:cubicBezTo>
                  <a:pt x="5931654" y="4832787"/>
                  <a:pt x="5929524" y="4835848"/>
                  <a:pt x="5926995" y="4838511"/>
                </a:cubicBezTo>
                <a:cubicBezTo>
                  <a:pt x="5924333" y="4841173"/>
                  <a:pt x="5921271" y="4843303"/>
                  <a:pt x="5917677" y="4844767"/>
                </a:cubicBezTo>
                <a:cubicBezTo>
                  <a:pt x="5914083" y="4846231"/>
                  <a:pt x="5910222" y="4847030"/>
                  <a:pt x="5905963" y="4847030"/>
                </a:cubicBezTo>
                <a:cubicBezTo>
                  <a:pt x="5897044" y="4847030"/>
                  <a:pt x="5889722" y="4844102"/>
                  <a:pt x="5884130" y="4838511"/>
                </a:cubicBezTo>
                <a:cubicBezTo>
                  <a:pt x="5878540" y="4832920"/>
                  <a:pt x="5875744" y="4825730"/>
                  <a:pt x="5875744" y="4817344"/>
                </a:cubicBezTo>
                <a:cubicBezTo>
                  <a:pt x="5875744" y="4809091"/>
                  <a:pt x="5878540" y="4802036"/>
                  <a:pt x="5884130" y="4796312"/>
                </a:cubicBezTo>
                <a:cubicBezTo>
                  <a:pt x="5889722" y="4790455"/>
                  <a:pt x="5896910" y="4787659"/>
                  <a:pt x="5905963" y="4787659"/>
                </a:cubicBezTo>
                <a:close/>
                <a:moveTo>
                  <a:pt x="5688451" y="4787659"/>
                </a:moveTo>
                <a:cubicBezTo>
                  <a:pt x="5692577" y="4787659"/>
                  <a:pt x="5696571" y="4788458"/>
                  <a:pt x="5700165" y="4790321"/>
                </a:cubicBezTo>
                <a:cubicBezTo>
                  <a:pt x="5703892" y="4791919"/>
                  <a:pt x="5706954" y="4794049"/>
                  <a:pt x="5709483" y="4796711"/>
                </a:cubicBezTo>
                <a:cubicBezTo>
                  <a:pt x="5712012" y="4799240"/>
                  <a:pt x="5714142" y="4802435"/>
                  <a:pt x="5715606" y="4806029"/>
                </a:cubicBezTo>
                <a:cubicBezTo>
                  <a:pt x="5717071" y="4809624"/>
                  <a:pt x="5717869" y="4813351"/>
                  <a:pt x="5717869" y="4817477"/>
                </a:cubicBezTo>
                <a:cubicBezTo>
                  <a:pt x="5717869" y="4821604"/>
                  <a:pt x="5717071" y="4825597"/>
                  <a:pt x="5715606" y="4829192"/>
                </a:cubicBezTo>
                <a:cubicBezTo>
                  <a:pt x="5714142" y="4832787"/>
                  <a:pt x="5712012" y="4835848"/>
                  <a:pt x="5709483" y="4838511"/>
                </a:cubicBezTo>
                <a:cubicBezTo>
                  <a:pt x="5706820" y="4841173"/>
                  <a:pt x="5703759" y="4843303"/>
                  <a:pt x="5700165" y="4844767"/>
                </a:cubicBezTo>
                <a:cubicBezTo>
                  <a:pt x="5696571" y="4846231"/>
                  <a:pt x="5692710" y="4847030"/>
                  <a:pt x="5688451" y="4847030"/>
                </a:cubicBezTo>
                <a:cubicBezTo>
                  <a:pt x="5679532" y="4847030"/>
                  <a:pt x="5672210" y="4844102"/>
                  <a:pt x="5666618" y="4838511"/>
                </a:cubicBezTo>
                <a:cubicBezTo>
                  <a:pt x="5661028" y="4832920"/>
                  <a:pt x="5658232" y="4825730"/>
                  <a:pt x="5658232" y="4817344"/>
                </a:cubicBezTo>
                <a:cubicBezTo>
                  <a:pt x="5658232" y="4809091"/>
                  <a:pt x="5661028" y="4802036"/>
                  <a:pt x="5666618" y="4796312"/>
                </a:cubicBezTo>
                <a:cubicBezTo>
                  <a:pt x="5672210" y="4790455"/>
                  <a:pt x="5679398" y="4787659"/>
                  <a:pt x="5688451" y="4787659"/>
                </a:cubicBezTo>
                <a:close/>
                <a:moveTo>
                  <a:pt x="5470806" y="4787659"/>
                </a:moveTo>
                <a:cubicBezTo>
                  <a:pt x="5475065" y="4787659"/>
                  <a:pt x="5478926" y="4788458"/>
                  <a:pt x="5482520" y="4790321"/>
                </a:cubicBezTo>
                <a:cubicBezTo>
                  <a:pt x="5486247" y="4791919"/>
                  <a:pt x="5489309" y="4794049"/>
                  <a:pt x="5491838" y="4796711"/>
                </a:cubicBezTo>
                <a:cubicBezTo>
                  <a:pt x="5494367" y="4799240"/>
                  <a:pt x="5496497" y="4802435"/>
                  <a:pt x="5497961" y="4806029"/>
                </a:cubicBezTo>
                <a:cubicBezTo>
                  <a:pt x="5499426" y="4809624"/>
                  <a:pt x="5500224" y="4813351"/>
                  <a:pt x="5500224" y="4817477"/>
                </a:cubicBezTo>
                <a:cubicBezTo>
                  <a:pt x="5500224" y="4821604"/>
                  <a:pt x="5499426" y="4825597"/>
                  <a:pt x="5497961" y="4829192"/>
                </a:cubicBezTo>
                <a:cubicBezTo>
                  <a:pt x="5496497" y="4832787"/>
                  <a:pt x="5494367" y="4835848"/>
                  <a:pt x="5491838" y="4838511"/>
                </a:cubicBezTo>
                <a:cubicBezTo>
                  <a:pt x="5489176" y="4841173"/>
                  <a:pt x="5486114" y="4843303"/>
                  <a:pt x="5482520" y="4844767"/>
                </a:cubicBezTo>
                <a:cubicBezTo>
                  <a:pt x="5478926" y="4846231"/>
                  <a:pt x="5475065" y="4847030"/>
                  <a:pt x="5470806" y="4847030"/>
                </a:cubicBezTo>
                <a:cubicBezTo>
                  <a:pt x="5461887" y="4847030"/>
                  <a:pt x="5454565" y="4844102"/>
                  <a:pt x="5448973" y="4838511"/>
                </a:cubicBezTo>
                <a:cubicBezTo>
                  <a:pt x="5443383" y="4832920"/>
                  <a:pt x="5440587" y="4825730"/>
                  <a:pt x="5440587" y="4817344"/>
                </a:cubicBezTo>
                <a:cubicBezTo>
                  <a:pt x="5440587" y="4809091"/>
                  <a:pt x="5443383" y="4802036"/>
                  <a:pt x="5448973" y="4796312"/>
                </a:cubicBezTo>
                <a:cubicBezTo>
                  <a:pt x="5454565" y="4790455"/>
                  <a:pt x="5461754" y="4787659"/>
                  <a:pt x="5470806" y="4787659"/>
                </a:cubicBezTo>
                <a:close/>
                <a:moveTo>
                  <a:pt x="5253160" y="4787659"/>
                </a:moveTo>
                <a:cubicBezTo>
                  <a:pt x="5257420" y="4787659"/>
                  <a:pt x="5261280" y="4788458"/>
                  <a:pt x="5264875" y="4790321"/>
                </a:cubicBezTo>
                <a:cubicBezTo>
                  <a:pt x="5268602" y="4791919"/>
                  <a:pt x="5271664" y="4794049"/>
                  <a:pt x="5274192" y="4796711"/>
                </a:cubicBezTo>
                <a:cubicBezTo>
                  <a:pt x="5276722" y="4799240"/>
                  <a:pt x="5278852" y="4802435"/>
                  <a:pt x="5280316" y="4806029"/>
                </a:cubicBezTo>
                <a:cubicBezTo>
                  <a:pt x="5281780" y="4809624"/>
                  <a:pt x="5282579" y="4813351"/>
                  <a:pt x="5282579" y="4817477"/>
                </a:cubicBezTo>
                <a:cubicBezTo>
                  <a:pt x="5282579" y="4821604"/>
                  <a:pt x="5281780" y="4825597"/>
                  <a:pt x="5280316" y="4829192"/>
                </a:cubicBezTo>
                <a:cubicBezTo>
                  <a:pt x="5278852" y="4832787"/>
                  <a:pt x="5276722" y="4835848"/>
                  <a:pt x="5274192" y="4838511"/>
                </a:cubicBezTo>
                <a:cubicBezTo>
                  <a:pt x="5271664" y="4841173"/>
                  <a:pt x="5268469" y="4843303"/>
                  <a:pt x="5264875" y="4844767"/>
                </a:cubicBezTo>
                <a:cubicBezTo>
                  <a:pt x="5261280" y="4846231"/>
                  <a:pt x="5257420" y="4847030"/>
                  <a:pt x="5253160" y="4847030"/>
                </a:cubicBezTo>
                <a:cubicBezTo>
                  <a:pt x="5244241" y="4847030"/>
                  <a:pt x="5236920" y="4844102"/>
                  <a:pt x="5231328" y="4838511"/>
                </a:cubicBezTo>
                <a:cubicBezTo>
                  <a:pt x="5225737" y="4832920"/>
                  <a:pt x="5222942" y="4825730"/>
                  <a:pt x="5222942" y="4817344"/>
                </a:cubicBezTo>
                <a:cubicBezTo>
                  <a:pt x="5222942" y="4809091"/>
                  <a:pt x="5225737" y="4802036"/>
                  <a:pt x="5231328" y="4796312"/>
                </a:cubicBezTo>
                <a:cubicBezTo>
                  <a:pt x="5236920" y="4790455"/>
                  <a:pt x="5244108" y="4787659"/>
                  <a:pt x="5253160" y="4787659"/>
                </a:cubicBezTo>
                <a:close/>
                <a:moveTo>
                  <a:pt x="5035515" y="4787659"/>
                </a:moveTo>
                <a:cubicBezTo>
                  <a:pt x="5039775" y="4787659"/>
                  <a:pt x="5043636" y="4788458"/>
                  <a:pt x="5047230" y="4790321"/>
                </a:cubicBezTo>
                <a:cubicBezTo>
                  <a:pt x="5050957" y="4791919"/>
                  <a:pt x="5054019" y="4794049"/>
                  <a:pt x="5056548" y="4796711"/>
                </a:cubicBezTo>
                <a:cubicBezTo>
                  <a:pt x="5059077" y="4799240"/>
                  <a:pt x="5061207" y="4802435"/>
                  <a:pt x="5062671" y="4806029"/>
                </a:cubicBezTo>
                <a:cubicBezTo>
                  <a:pt x="5064135" y="4809624"/>
                  <a:pt x="5064934" y="4813351"/>
                  <a:pt x="5064934" y="4817477"/>
                </a:cubicBezTo>
                <a:cubicBezTo>
                  <a:pt x="5064934" y="4821604"/>
                  <a:pt x="5064135" y="4825597"/>
                  <a:pt x="5062671" y="4829192"/>
                </a:cubicBezTo>
                <a:cubicBezTo>
                  <a:pt x="5061207" y="4832787"/>
                  <a:pt x="5059077" y="4835848"/>
                  <a:pt x="5056548" y="4838511"/>
                </a:cubicBezTo>
                <a:cubicBezTo>
                  <a:pt x="5053885" y="4841173"/>
                  <a:pt x="5050824" y="4843303"/>
                  <a:pt x="5047230" y="4844767"/>
                </a:cubicBezTo>
                <a:cubicBezTo>
                  <a:pt x="5043636" y="4846231"/>
                  <a:pt x="5039775" y="4847030"/>
                  <a:pt x="5035515" y="4847030"/>
                </a:cubicBezTo>
                <a:cubicBezTo>
                  <a:pt x="5026597" y="4847030"/>
                  <a:pt x="5019275" y="4844102"/>
                  <a:pt x="5013683" y="4838511"/>
                </a:cubicBezTo>
                <a:cubicBezTo>
                  <a:pt x="5008092" y="4832920"/>
                  <a:pt x="5005297" y="4825730"/>
                  <a:pt x="5005297" y="4817344"/>
                </a:cubicBezTo>
                <a:cubicBezTo>
                  <a:pt x="5005297" y="4809091"/>
                  <a:pt x="5008092" y="4802036"/>
                  <a:pt x="5013683" y="4796312"/>
                </a:cubicBezTo>
                <a:cubicBezTo>
                  <a:pt x="5019275" y="4790455"/>
                  <a:pt x="5026463" y="4787659"/>
                  <a:pt x="5035515" y="4787659"/>
                </a:cubicBezTo>
                <a:close/>
                <a:moveTo>
                  <a:pt x="4817870" y="4787659"/>
                </a:moveTo>
                <a:cubicBezTo>
                  <a:pt x="4822130" y="4787659"/>
                  <a:pt x="4826124" y="4788458"/>
                  <a:pt x="4829585" y="4790321"/>
                </a:cubicBezTo>
                <a:cubicBezTo>
                  <a:pt x="4833312" y="4791919"/>
                  <a:pt x="4836374" y="4794049"/>
                  <a:pt x="4838903" y="4796711"/>
                </a:cubicBezTo>
                <a:cubicBezTo>
                  <a:pt x="4841432" y="4799240"/>
                  <a:pt x="4843562" y="4802435"/>
                  <a:pt x="4845026" y="4806029"/>
                </a:cubicBezTo>
                <a:cubicBezTo>
                  <a:pt x="4846491" y="4809624"/>
                  <a:pt x="4847289" y="4813351"/>
                  <a:pt x="4847289" y="4817477"/>
                </a:cubicBezTo>
                <a:cubicBezTo>
                  <a:pt x="4847289" y="4821604"/>
                  <a:pt x="4846491" y="4825597"/>
                  <a:pt x="4845026" y="4829192"/>
                </a:cubicBezTo>
                <a:cubicBezTo>
                  <a:pt x="4843562" y="4832787"/>
                  <a:pt x="4841432" y="4835848"/>
                  <a:pt x="4838903" y="4838511"/>
                </a:cubicBezTo>
                <a:cubicBezTo>
                  <a:pt x="4836240" y="4841173"/>
                  <a:pt x="4833179" y="4843303"/>
                  <a:pt x="4829585" y="4844767"/>
                </a:cubicBezTo>
                <a:cubicBezTo>
                  <a:pt x="4825991" y="4846231"/>
                  <a:pt x="4822130" y="4847030"/>
                  <a:pt x="4817870" y="4847030"/>
                </a:cubicBezTo>
                <a:cubicBezTo>
                  <a:pt x="4808952" y="4847030"/>
                  <a:pt x="4801630" y="4844102"/>
                  <a:pt x="4796038" y="4838511"/>
                </a:cubicBezTo>
                <a:cubicBezTo>
                  <a:pt x="4790447" y="4832920"/>
                  <a:pt x="4787652" y="4825730"/>
                  <a:pt x="4787652" y="4817344"/>
                </a:cubicBezTo>
                <a:cubicBezTo>
                  <a:pt x="4787652" y="4809091"/>
                  <a:pt x="4790447" y="4802036"/>
                  <a:pt x="4796038" y="4796312"/>
                </a:cubicBezTo>
                <a:cubicBezTo>
                  <a:pt x="4801630" y="4790455"/>
                  <a:pt x="4808818" y="4787659"/>
                  <a:pt x="4817870" y="4787659"/>
                </a:cubicBezTo>
                <a:close/>
                <a:moveTo>
                  <a:pt x="4600226" y="4787659"/>
                </a:moveTo>
                <a:cubicBezTo>
                  <a:pt x="4604485" y="4787659"/>
                  <a:pt x="4608479" y="4788458"/>
                  <a:pt x="4612073" y="4790321"/>
                </a:cubicBezTo>
                <a:cubicBezTo>
                  <a:pt x="4615800" y="4791919"/>
                  <a:pt x="4618862" y="4794049"/>
                  <a:pt x="4621391" y="4796711"/>
                </a:cubicBezTo>
                <a:cubicBezTo>
                  <a:pt x="4623920" y="4799240"/>
                  <a:pt x="4626050" y="4802435"/>
                  <a:pt x="4627514" y="4806029"/>
                </a:cubicBezTo>
                <a:cubicBezTo>
                  <a:pt x="4628978" y="4809624"/>
                  <a:pt x="4629777" y="4813351"/>
                  <a:pt x="4629777" y="4817477"/>
                </a:cubicBezTo>
                <a:cubicBezTo>
                  <a:pt x="4629777" y="4821604"/>
                  <a:pt x="4628978" y="4825597"/>
                  <a:pt x="4627514" y="4829192"/>
                </a:cubicBezTo>
                <a:cubicBezTo>
                  <a:pt x="4626050" y="4832787"/>
                  <a:pt x="4623920" y="4835848"/>
                  <a:pt x="4621391" y="4838511"/>
                </a:cubicBezTo>
                <a:cubicBezTo>
                  <a:pt x="4618729" y="4841173"/>
                  <a:pt x="4615667" y="4843303"/>
                  <a:pt x="4612073" y="4844767"/>
                </a:cubicBezTo>
                <a:cubicBezTo>
                  <a:pt x="4608346" y="4846231"/>
                  <a:pt x="4604485" y="4847030"/>
                  <a:pt x="4600226" y="4847030"/>
                </a:cubicBezTo>
                <a:cubicBezTo>
                  <a:pt x="4591173" y="4847030"/>
                  <a:pt x="4583985" y="4844102"/>
                  <a:pt x="4578393" y="4838511"/>
                </a:cubicBezTo>
                <a:cubicBezTo>
                  <a:pt x="4572803" y="4832920"/>
                  <a:pt x="4570007" y="4825730"/>
                  <a:pt x="4570007" y="4817344"/>
                </a:cubicBezTo>
                <a:cubicBezTo>
                  <a:pt x="4570007" y="4809091"/>
                  <a:pt x="4572803" y="4802036"/>
                  <a:pt x="4578393" y="4796312"/>
                </a:cubicBezTo>
                <a:cubicBezTo>
                  <a:pt x="4583985" y="4790455"/>
                  <a:pt x="4591173" y="4787659"/>
                  <a:pt x="4600226" y="4787659"/>
                </a:cubicBezTo>
                <a:close/>
                <a:moveTo>
                  <a:pt x="4382713" y="4787659"/>
                </a:moveTo>
                <a:cubicBezTo>
                  <a:pt x="4386840" y="4787659"/>
                  <a:pt x="4390834" y="4788458"/>
                  <a:pt x="4394428" y="4790321"/>
                </a:cubicBezTo>
                <a:cubicBezTo>
                  <a:pt x="4398155" y="4791919"/>
                  <a:pt x="4401217" y="4794049"/>
                  <a:pt x="4403746" y="4796711"/>
                </a:cubicBezTo>
                <a:cubicBezTo>
                  <a:pt x="4406275" y="4799240"/>
                  <a:pt x="4408405" y="4802435"/>
                  <a:pt x="4409869" y="4806029"/>
                </a:cubicBezTo>
                <a:cubicBezTo>
                  <a:pt x="4411334" y="4809624"/>
                  <a:pt x="4412132" y="4813351"/>
                  <a:pt x="4412132" y="4817477"/>
                </a:cubicBezTo>
                <a:cubicBezTo>
                  <a:pt x="4412132" y="4821604"/>
                  <a:pt x="4411334" y="4825597"/>
                  <a:pt x="4409869" y="4829192"/>
                </a:cubicBezTo>
                <a:cubicBezTo>
                  <a:pt x="4408405" y="4832787"/>
                  <a:pt x="4406275" y="4835848"/>
                  <a:pt x="4403746" y="4838511"/>
                </a:cubicBezTo>
                <a:cubicBezTo>
                  <a:pt x="4401083" y="4841173"/>
                  <a:pt x="4398022" y="4843303"/>
                  <a:pt x="4394428" y="4844767"/>
                </a:cubicBezTo>
                <a:cubicBezTo>
                  <a:pt x="4390834" y="4846231"/>
                  <a:pt x="4386973" y="4847030"/>
                  <a:pt x="4382713" y="4847030"/>
                </a:cubicBezTo>
                <a:cubicBezTo>
                  <a:pt x="4373661" y="4847030"/>
                  <a:pt x="4366473" y="4844102"/>
                  <a:pt x="4360881" y="4838511"/>
                </a:cubicBezTo>
                <a:cubicBezTo>
                  <a:pt x="4355290" y="4832920"/>
                  <a:pt x="4352495" y="4825730"/>
                  <a:pt x="4352495" y="4817344"/>
                </a:cubicBezTo>
                <a:cubicBezTo>
                  <a:pt x="4352495" y="4809091"/>
                  <a:pt x="4355290" y="4802036"/>
                  <a:pt x="4360881" y="4796312"/>
                </a:cubicBezTo>
                <a:cubicBezTo>
                  <a:pt x="4366473" y="4790455"/>
                  <a:pt x="4373661" y="4787659"/>
                  <a:pt x="4382713" y="4787659"/>
                </a:cubicBezTo>
                <a:close/>
                <a:moveTo>
                  <a:pt x="4165068" y="4787659"/>
                </a:moveTo>
                <a:cubicBezTo>
                  <a:pt x="4169327" y="4787659"/>
                  <a:pt x="4173188" y="4788458"/>
                  <a:pt x="4176782" y="4790321"/>
                </a:cubicBezTo>
                <a:cubicBezTo>
                  <a:pt x="4180509" y="4791919"/>
                  <a:pt x="4183571" y="4794049"/>
                  <a:pt x="4186100" y="4796711"/>
                </a:cubicBezTo>
                <a:cubicBezTo>
                  <a:pt x="4188629" y="4799240"/>
                  <a:pt x="4190759" y="4802435"/>
                  <a:pt x="4192223" y="4806029"/>
                </a:cubicBezTo>
                <a:cubicBezTo>
                  <a:pt x="4193688" y="4809624"/>
                  <a:pt x="4194486" y="4813351"/>
                  <a:pt x="4194486" y="4817477"/>
                </a:cubicBezTo>
                <a:cubicBezTo>
                  <a:pt x="4194486" y="4821604"/>
                  <a:pt x="4193688" y="4825597"/>
                  <a:pt x="4192223" y="4829192"/>
                </a:cubicBezTo>
                <a:cubicBezTo>
                  <a:pt x="4190759" y="4832787"/>
                  <a:pt x="4188629" y="4835848"/>
                  <a:pt x="4186100" y="4838511"/>
                </a:cubicBezTo>
                <a:cubicBezTo>
                  <a:pt x="4183438" y="4841173"/>
                  <a:pt x="4180376" y="4843303"/>
                  <a:pt x="4176782" y="4844767"/>
                </a:cubicBezTo>
                <a:cubicBezTo>
                  <a:pt x="4173188" y="4846231"/>
                  <a:pt x="4169327" y="4847030"/>
                  <a:pt x="4165068" y="4847030"/>
                </a:cubicBezTo>
                <a:cubicBezTo>
                  <a:pt x="4156015" y="4847030"/>
                  <a:pt x="4148827" y="4844102"/>
                  <a:pt x="4143235" y="4838511"/>
                </a:cubicBezTo>
                <a:cubicBezTo>
                  <a:pt x="4137645" y="4832920"/>
                  <a:pt x="4134849" y="4825730"/>
                  <a:pt x="4134849" y="4817344"/>
                </a:cubicBezTo>
                <a:cubicBezTo>
                  <a:pt x="4134849" y="4809091"/>
                  <a:pt x="4137645" y="4802036"/>
                  <a:pt x="4143235" y="4796312"/>
                </a:cubicBezTo>
                <a:cubicBezTo>
                  <a:pt x="4148827" y="4790455"/>
                  <a:pt x="4156015" y="4787659"/>
                  <a:pt x="4165068" y="4787659"/>
                </a:cubicBezTo>
                <a:close/>
                <a:moveTo>
                  <a:pt x="3947686" y="4787659"/>
                </a:moveTo>
                <a:cubicBezTo>
                  <a:pt x="3951948" y="4787659"/>
                  <a:pt x="3955808" y="4788458"/>
                  <a:pt x="3959404" y="4790321"/>
                </a:cubicBezTo>
                <a:cubicBezTo>
                  <a:pt x="3963132" y="4791919"/>
                  <a:pt x="3966193" y="4794049"/>
                  <a:pt x="3968722" y="4796711"/>
                </a:cubicBezTo>
                <a:cubicBezTo>
                  <a:pt x="3971252" y="4799240"/>
                  <a:pt x="3973382" y="4802435"/>
                  <a:pt x="3974846" y="4806029"/>
                </a:cubicBezTo>
                <a:cubicBezTo>
                  <a:pt x="3976310" y="4809624"/>
                  <a:pt x="3977109" y="4813351"/>
                  <a:pt x="3977109" y="4817477"/>
                </a:cubicBezTo>
                <a:cubicBezTo>
                  <a:pt x="3977109" y="4821604"/>
                  <a:pt x="3976310" y="4825597"/>
                  <a:pt x="3974846" y="4829192"/>
                </a:cubicBezTo>
                <a:cubicBezTo>
                  <a:pt x="3973382" y="4832787"/>
                  <a:pt x="3971252" y="4835848"/>
                  <a:pt x="3968722" y="4838511"/>
                </a:cubicBezTo>
                <a:cubicBezTo>
                  <a:pt x="3966060" y="4841173"/>
                  <a:pt x="3962998" y="4843303"/>
                  <a:pt x="3959404" y="4844767"/>
                </a:cubicBezTo>
                <a:cubicBezTo>
                  <a:pt x="3955808" y="4846231"/>
                  <a:pt x="3951948" y="4847030"/>
                  <a:pt x="3947686" y="4847030"/>
                </a:cubicBezTo>
                <a:cubicBezTo>
                  <a:pt x="3938633" y="4847030"/>
                  <a:pt x="3931445" y="4844102"/>
                  <a:pt x="3925854" y="4838511"/>
                </a:cubicBezTo>
                <a:cubicBezTo>
                  <a:pt x="3920263" y="4832920"/>
                  <a:pt x="3917467" y="4825730"/>
                  <a:pt x="3917467" y="4817344"/>
                </a:cubicBezTo>
                <a:cubicBezTo>
                  <a:pt x="3917467" y="4809091"/>
                  <a:pt x="3920263" y="4802036"/>
                  <a:pt x="3925854" y="4796312"/>
                </a:cubicBezTo>
                <a:cubicBezTo>
                  <a:pt x="3931445" y="4790455"/>
                  <a:pt x="3938633" y="4787659"/>
                  <a:pt x="3947686" y="4787659"/>
                </a:cubicBezTo>
                <a:close/>
                <a:moveTo>
                  <a:pt x="3730029" y="4787659"/>
                </a:moveTo>
                <a:cubicBezTo>
                  <a:pt x="3734290" y="4787659"/>
                  <a:pt x="3738282" y="4788458"/>
                  <a:pt x="3741745" y="4790321"/>
                </a:cubicBezTo>
                <a:cubicBezTo>
                  <a:pt x="3745339" y="4791919"/>
                  <a:pt x="3748534" y="4794049"/>
                  <a:pt x="3751063" y="4796711"/>
                </a:cubicBezTo>
                <a:cubicBezTo>
                  <a:pt x="3753592" y="4799240"/>
                  <a:pt x="3755722" y="4802435"/>
                  <a:pt x="3757186" y="4806029"/>
                </a:cubicBezTo>
                <a:cubicBezTo>
                  <a:pt x="3758650" y="4809624"/>
                  <a:pt x="3759449" y="4813351"/>
                  <a:pt x="3759449" y="4817477"/>
                </a:cubicBezTo>
                <a:cubicBezTo>
                  <a:pt x="3759449" y="4821604"/>
                  <a:pt x="3758650" y="4825597"/>
                  <a:pt x="3757186" y="4829192"/>
                </a:cubicBezTo>
                <a:cubicBezTo>
                  <a:pt x="3755722" y="4832787"/>
                  <a:pt x="3753592" y="4835848"/>
                  <a:pt x="3751063" y="4838511"/>
                </a:cubicBezTo>
                <a:cubicBezTo>
                  <a:pt x="3748400" y="4841173"/>
                  <a:pt x="3745339" y="4843303"/>
                  <a:pt x="3741745" y="4844767"/>
                </a:cubicBezTo>
                <a:cubicBezTo>
                  <a:pt x="3738151" y="4846231"/>
                  <a:pt x="3734290" y="4847030"/>
                  <a:pt x="3730029" y="4847030"/>
                </a:cubicBezTo>
                <a:cubicBezTo>
                  <a:pt x="3720977" y="4847030"/>
                  <a:pt x="3713787" y="4844102"/>
                  <a:pt x="3708190" y="4838511"/>
                </a:cubicBezTo>
                <a:cubicBezTo>
                  <a:pt x="3702598" y="4832920"/>
                  <a:pt x="3699804" y="4825730"/>
                  <a:pt x="3699804" y="4817344"/>
                </a:cubicBezTo>
                <a:cubicBezTo>
                  <a:pt x="3699804" y="4809091"/>
                  <a:pt x="3702598" y="4802036"/>
                  <a:pt x="3708190" y="4796312"/>
                </a:cubicBezTo>
                <a:cubicBezTo>
                  <a:pt x="3713787" y="4790455"/>
                  <a:pt x="3720977" y="4787659"/>
                  <a:pt x="3730029" y="4787659"/>
                </a:cubicBezTo>
                <a:close/>
                <a:moveTo>
                  <a:pt x="3512370" y="4787659"/>
                </a:moveTo>
                <a:cubicBezTo>
                  <a:pt x="3516631" y="4787659"/>
                  <a:pt x="3520624" y="4788458"/>
                  <a:pt x="3524086" y="4790321"/>
                </a:cubicBezTo>
                <a:cubicBezTo>
                  <a:pt x="3527680" y="4791919"/>
                  <a:pt x="3530875" y="4794049"/>
                  <a:pt x="3533404" y="4796711"/>
                </a:cubicBezTo>
                <a:cubicBezTo>
                  <a:pt x="3535933" y="4799240"/>
                  <a:pt x="3538063" y="4802435"/>
                  <a:pt x="3539527" y="4806029"/>
                </a:cubicBezTo>
                <a:cubicBezTo>
                  <a:pt x="3540991" y="4809624"/>
                  <a:pt x="3541790" y="4813351"/>
                  <a:pt x="3541790" y="4817477"/>
                </a:cubicBezTo>
                <a:cubicBezTo>
                  <a:pt x="3541790" y="4821604"/>
                  <a:pt x="3540991" y="4825597"/>
                  <a:pt x="3539527" y="4829192"/>
                </a:cubicBezTo>
                <a:cubicBezTo>
                  <a:pt x="3538063" y="4832787"/>
                  <a:pt x="3535933" y="4835848"/>
                  <a:pt x="3533404" y="4838511"/>
                </a:cubicBezTo>
                <a:cubicBezTo>
                  <a:pt x="3530741" y="4841173"/>
                  <a:pt x="3527680" y="4843303"/>
                  <a:pt x="3524086" y="4844767"/>
                </a:cubicBezTo>
                <a:cubicBezTo>
                  <a:pt x="3520492" y="4846231"/>
                  <a:pt x="3516631" y="4847030"/>
                  <a:pt x="3512370" y="4847030"/>
                </a:cubicBezTo>
                <a:cubicBezTo>
                  <a:pt x="3503315" y="4847030"/>
                  <a:pt x="3496125" y="4844102"/>
                  <a:pt x="3490534" y="4838511"/>
                </a:cubicBezTo>
                <a:cubicBezTo>
                  <a:pt x="3484943" y="4832920"/>
                  <a:pt x="3482147" y="4825730"/>
                  <a:pt x="3482147" y="4817344"/>
                </a:cubicBezTo>
                <a:cubicBezTo>
                  <a:pt x="3482147" y="4809091"/>
                  <a:pt x="3484943" y="4802036"/>
                  <a:pt x="3490534" y="4796312"/>
                </a:cubicBezTo>
                <a:cubicBezTo>
                  <a:pt x="3496125" y="4790455"/>
                  <a:pt x="3503315" y="4787659"/>
                  <a:pt x="3512370" y="4787659"/>
                </a:cubicBezTo>
                <a:close/>
                <a:moveTo>
                  <a:pt x="3294845" y="4787659"/>
                </a:moveTo>
                <a:cubicBezTo>
                  <a:pt x="3298972" y="4787659"/>
                  <a:pt x="3302966" y="4788458"/>
                  <a:pt x="3306560" y="4790321"/>
                </a:cubicBezTo>
                <a:cubicBezTo>
                  <a:pt x="3310287" y="4791919"/>
                  <a:pt x="3313349" y="4794049"/>
                  <a:pt x="3315878" y="4796711"/>
                </a:cubicBezTo>
                <a:cubicBezTo>
                  <a:pt x="3318407" y="4799240"/>
                  <a:pt x="3320538" y="4802435"/>
                  <a:pt x="3322002" y="4806029"/>
                </a:cubicBezTo>
                <a:cubicBezTo>
                  <a:pt x="3323466" y="4809624"/>
                  <a:pt x="3324265" y="4813351"/>
                  <a:pt x="3324265" y="4817477"/>
                </a:cubicBezTo>
                <a:cubicBezTo>
                  <a:pt x="3324265" y="4821604"/>
                  <a:pt x="3323466" y="4825597"/>
                  <a:pt x="3322002" y="4829192"/>
                </a:cubicBezTo>
                <a:cubicBezTo>
                  <a:pt x="3320538" y="4832787"/>
                  <a:pt x="3318407" y="4835848"/>
                  <a:pt x="3315878" y="4838511"/>
                </a:cubicBezTo>
                <a:cubicBezTo>
                  <a:pt x="3313215" y="4841173"/>
                  <a:pt x="3310154" y="4843303"/>
                  <a:pt x="3306560" y="4844767"/>
                </a:cubicBezTo>
                <a:cubicBezTo>
                  <a:pt x="3302966" y="4846231"/>
                  <a:pt x="3299105" y="4847030"/>
                  <a:pt x="3294845" y="4847030"/>
                </a:cubicBezTo>
                <a:cubicBezTo>
                  <a:pt x="3285791" y="4847030"/>
                  <a:pt x="3278601" y="4844102"/>
                  <a:pt x="3273007" y="4838511"/>
                </a:cubicBezTo>
                <a:cubicBezTo>
                  <a:pt x="3267415" y="4832920"/>
                  <a:pt x="3264620" y="4825730"/>
                  <a:pt x="3264620" y="4817344"/>
                </a:cubicBezTo>
                <a:cubicBezTo>
                  <a:pt x="3264620" y="4809091"/>
                  <a:pt x="3267415" y="4802036"/>
                  <a:pt x="3273007" y="4796312"/>
                </a:cubicBezTo>
                <a:cubicBezTo>
                  <a:pt x="3278601" y="4790455"/>
                  <a:pt x="3285791" y="4787659"/>
                  <a:pt x="3294845" y="4787659"/>
                </a:cubicBezTo>
                <a:close/>
                <a:moveTo>
                  <a:pt x="3077186" y="4787659"/>
                </a:moveTo>
                <a:cubicBezTo>
                  <a:pt x="3081313" y="4787659"/>
                  <a:pt x="3085307" y="4788458"/>
                  <a:pt x="3088901" y="4790321"/>
                </a:cubicBezTo>
                <a:cubicBezTo>
                  <a:pt x="3092495" y="4791919"/>
                  <a:pt x="3095691" y="4794049"/>
                  <a:pt x="3098219" y="4796711"/>
                </a:cubicBezTo>
                <a:cubicBezTo>
                  <a:pt x="3100748" y="4799240"/>
                  <a:pt x="3102878" y="4802435"/>
                  <a:pt x="3104342" y="4806029"/>
                </a:cubicBezTo>
                <a:cubicBezTo>
                  <a:pt x="3105808" y="4809624"/>
                  <a:pt x="3106605" y="4813351"/>
                  <a:pt x="3106605" y="4817477"/>
                </a:cubicBezTo>
                <a:cubicBezTo>
                  <a:pt x="3106605" y="4821604"/>
                  <a:pt x="3105808" y="4825597"/>
                  <a:pt x="3104342" y="4829192"/>
                </a:cubicBezTo>
                <a:cubicBezTo>
                  <a:pt x="3102878" y="4832787"/>
                  <a:pt x="3100748" y="4835848"/>
                  <a:pt x="3098219" y="4838511"/>
                </a:cubicBezTo>
                <a:cubicBezTo>
                  <a:pt x="3095557" y="4841173"/>
                  <a:pt x="3092495" y="4843303"/>
                  <a:pt x="3088901" y="4844767"/>
                </a:cubicBezTo>
                <a:cubicBezTo>
                  <a:pt x="3085307" y="4846231"/>
                  <a:pt x="3081446" y="4847030"/>
                  <a:pt x="3077186" y="4847030"/>
                </a:cubicBezTo>
                <a:cubicBezTo>
                  <a:pt x="3068265" y="4847030"/>
                  <a:pt x="3060943" y="4844102"/>
                  <a:pt x="3055349" y="4838511"/>
                </a:cubicBezTo>
                <a:cubicBezTo>
                  <a:pt x="3049758" y="4832920"/>
                  <a:pt x="3046962" y="4825730"/>
                  <a:pt x="3046962" y="4817344"/>
                </a:cubicBezTo>
                <a:cubicBezTo>
                  <a:pt x="3046962" y="4809091"/>
                  <a:pt x="3049758" y="4802036"/>
                  <a:pt x="3055349" y="4796312"/>
                </a:cubicBezTo>
                <a:cubicBezTo>
                  <a:pt x="3060943" y="4790455"/>
                  <a:pt x="3068133" y="4787659"/>
                  <a:pt x="3077186" y="4787659"/>
                </a:cubicBezTo>
                <a:close/>
                <a:moveTo>
                  <a:pt x="2859527" y="4787659"/>
                </a:moveTo>
                <a:cubicBezTo>
                  <a:pt x="2863788" y="4787659"/>
                  <a:pt x="2867648" y="4788458"/>
                  <a:pt x="2871375" y="4790321"/>
                </a:cubicBezTo>
                <a:cubicBezTo>
                  <a:pt x="2875102" y="4791919"/>
                  <a:pt x="2878164" y="4794049"/>
                  <a:pt x="2880693" y="4796711"/>
                </a:cubicBezTo>
                <a:cubicBezTo>
                  <a:pt x="2883355" y="4799240"/>
                  <a:pt x="2885353" y="4802435"/>
                  <a:pt x="2886817" y="4806029"/>
                </a:cubicBezTo>
                <a:cubicBezTo>
                  <a:pt x="2888281" y="4809624"/>
                  <a:pt x="2889080" y="4813351"/>
                  <a:pt x="2889080" y="4817477"/>
                </a:cubicBezTo>
                <a:cubicBezTo>
                  <a:pt x="2889080" y="4821604"/>
                  <a:pt x="2888281" y="4825597"/>
                  <a:pt x="2886817" y="4829192"/>
                </a:cubicBezTo>
                <a:cubicBezTo>
                  <a:pt x="2885353" y="4832787"/>
                  <a:pt x="2883223" y="4835848"/>
                  <a:pt x="2880693" y="4838511"/>
                </a:cubicBezTo>
                <a:cubicBezTo>
                  <a:pt x="2878032" y="4841173"/>
                  <a:pt x="2874969" y="4843303"/>
                  <a:pt x="2871375" y="4844767"/>
                </a:cubicBezTo>
                <a:cubicBezTo>
                  <a:pt x="2867648" y="4846231"/>
                  <a:pt x="2863788" y="4847030"/>
                  <a:pt x="2859527" y="4847030"/>
                </a:cubicBezTo>
                <a:cubicBezTo>
                  <a:pt x="2850609" y="4847030"/>
                  <a:pt x="2843281" y="4844102"/>
                  <a:pt x="2837690" y="4838511"/>
                </a:cubicBezTo>
                <a:cubicBezTo>
                  <a:pt x="2832099" y="4832920"/>
                  <a:pt x="2829303" y="4825730"/>
                  <a:pt x="2829303" y="4817344"/>
                </a:cubicBezTo>
                <a:cubicBezTo>
                  <a:pt x="2829303" y="4809091"/>
                  <a:pt x="2832099" y="4802036"/>
                  <a:pt x="2837690" y="4796312"/>
                </a:cubicBezTo>
                <a:cubicBezTo>
                  <a:pt x="2843281" y="4790455"/>
                  <a:pt x="2850475" y="4787659"/>
                  <a:pt x="2859527" y="4787659"/>
                </a:cubicBezTo>
                <a:close/>
                <a:moveTo>
                  <a:pt x="2641868" y="4787659"/>
                </a:moveTo>
                <a:cubicBezTo>
                  <a:pt x="2646128" y="4787659"/>
                  <a:pt x="2649988" y="4788458"/>
                  <a:pt x="2653584" y="4790321"/>
                </a:cubicBezTo>
                <a:cubicBezTo>
                  <a:pt x="2657311" y="4791919"/>
                  <a:pt x="2660372" y="4794049"/>
                  <a:pt x="2662902" y="4796711"/>
                </a:cubicBezTo>
                <a:cubicBezTo>
                  <a:pt x="2665563" y="4799240"/>
                  <a:pt x="2667561" y="4802435"/>
                  <a:pt x="2669025" y="4806029"/>
                </a:cubicBezTo>
                <a:cubicBezTo>
                  <a:pt x="2670489" y="4809624"/>
                  <a:pt x="2671288" y="4813351"/>
                  <a:pt x="2671288" y="4817477"/>
                </a:cubicBezTo>
                <a:cubicBezTo>
                  <a:pt x="2671288" y="4821604"/>
                  <a:pt x="2670489" y="4825597"/>
                  <a:pt x="2669025" y="4829192"/>
                </a:cubicBezTo>
                <a:cubicBezTo>
                  <a:pt x="2667561" y="4832787"/>
                  <a:pt x="2665431" y="4835848"/>
                  <a:pt x="2662902" y="4838511"/>
                </a:cubicBezTo>
                <a:cubicBezTo>
                  <a:pt x="2660372" y="4841173"/>
                  <a:pt x="2657177" y="4843303"/>
                  <a:pt x="2653584" y="4844767"/>
                </a:cubicBezTo>
                <a:cubicBezTo>
                  <a:pt x="2649988" y="4846231"/>
                  <a:pt x="2646128" y="4847030"/>
                  <a:pt x="2641868" y="4847030"/>
                </a:cubicBezTo>
                <a:cubicBezTo>
                  <a:pt x="2632949" y="4847030"/>
                  <a:pt x="2625627" y="4844102"/>
                  <a:pt x="2620035" y="4838511"/>
                </a:cubicBezTo>
                <a:cubicBezTo>
                  <a:pt x="2614443" y="4832920"/>
                  <a:pt x="2611645" y="4825730"/>
                  <a:pt x="2611645" y="4817344"/>
                </a:cubicBezTo>
                <a:cubicBezTo>
                  <a:pt x="2611645" y="4809091"/>
                  <a:pt x="2614443" y="4802036"/>
                  <a:pt x="2620035" y="4796312"/>
                </a:cubicBezTo>
                <a:cubicBezTo>
                  <a:pt x="2625627" y="4790455"/>
                  <a:pt x="2632816" y="4787659"/>
                  <a:pt x="2641868" y="4787659"/>
                </a:cubicBezTo>
                <a:close/>
                <a:moveTo>
                  <a:pt x="2424209" y="4787659"/>
                </a:moveTo>
                <a:cubicBezTo>
                  <a:pt x="2428469" y="4787659"/>
                  <a:pt x="2432464" y="4788458"/>
                  <a:pt x="2435924" y="4790321"/>
                </a:cubicBezTo>
                <a:cubicBezTo>
                  <a:pt x="2439651" y="4791919"/>
                  <a:pt x="2442713" y="4794049"/>
                  <a:pt x="2445242" y="4796711"/>
                </a:cubicBezTo>
                <a:cubicBezTo>
                  <a:pt x="2447905" y="4799240"/>
                  <a:pt x="2449902" y="4802435"/>
                  <a:pt x="2451366" y="4806029"/>
                </a:cubicBezTo>
                <a:cubicBezTo>
                  <a:pt x="2452830" y="4809624"/>
                  <a:pt x="2453629" y="4813351"/>
                  <a:pt x="2453629" y="4817477"/>
                </a:cubicBezTo>
                <a:cubicBezTo>
                  <a:pt x="2453629" y="4821604"/>
                  <a:pt x="2452830" y="4825597"/>
                  <a:pt x="2451366" y="4829192"/>
                </a:cubicBezTo>
                <a:cubicBezTo>
                  <a:pt x="2449902" y="4832787"/>
                  <a:pt x="2447772" y="4835848"/>
                  <a:pt x="2445242" y="4838511"/>
                </a:cubicBezTo>
                <a:cubicBezTo>
                  <a:pt x="2442713" y="4841173"/>
                  <a:pt x="2439519" y="4843303"/>
                  <a:pt x="2435924" y="4844767"/>
                </a:cubicBezTo>
                <a:cubicBezTo>
                  <a:pt x="2432330" y="4846231"/>
                  <a:pt x="2428469" y="4847030"/>
                  <a:pt x="2424209" y="4847030"/>
                </a:cubicBezTo>
                <a:cubicBezTo>
                  <a:pt x="2415291" y="4847030"/>
                  <a:pt x="2407969" y="4844102"/>
                  <a:pt x="2402377" y="4838511"/>
                </a:cubicBezTo>
                <a:cubicBezTo>
                  <a:pt x="2396785" y="4832920"/>
                  <a:pt x="2393988" y="4825730"/>
                  <a:pt x="2393988" y="4817344"/>
                </a:cubicBezTo>
                <a:cubicBezTo>
                  <a:pt x="2393988" y="4809091"/>
                  <a:pt x="2396785" y="4802036"/>
                  <a:pt x="2402377" y="4796312"/>
                </a:cubicBezTo>
                <a:cubicBezTo>
                  <a:pt x="2407969" y="4790455"/>
                  <a:pt x="2415157" y="4787659"/>
                  <a:pt x="2424209" y="4787659"/>
                </a:cubicBezTo>
                <a:close/>
                <a:moveTo>
                  <a:pt x="2206550" y="4787659"/>
                </a:moveTo>
                <a:cubicBezTo>
                  <a:pt x="2210810" y="4787659"/>
                  <a:pt x="2214805" y="4788458"/>
                  <a:pt x="2218265" y="4790321"/>
                </a:cubicBezTo>
                <a:cubicBezTo>
                  <a:pt x="2221992" y="4791919"/>
                  <a:pt x="2225054" y="4794049"/>
                  <a:pt x="2227584" y="4796711"/>
                </a:cubicBezTo>
                <a:cubicBezTo>
                  <a:pt x="2230246" y="4799240"/>
                  <a:pt x="2232243" y="4802435"/>
                  <a:pt x="2233707" y="4806029"/>
                </a:cubicBezTo>
                <a:cubicBezTo>
                  <a:pt x="2235171" y="4809624"/>
                  <a:pt x="2235970" y="4813351"/>
                  <a:pt x="2235970" y="4817477"/>
                </a:cubicBezTo>
                <a:cubicBezTo>
                  <a:pt x="2235970" y="4821604"/>
                  <a:pt x="2235171" y="4825597"/>
                  <a:pt x="2233707" y="4829192"/>
                </a:cubicBezTo>
                <a:cubicBezTo>
                  <a:pt x="2232243" y="4832787"/>
                  <a:pt x="2230112" y="4835848"/>
                  <a:pt x="2227584" y="4838511"/>
                </a:cubicBezTo>
                <a:cubicBezTo>
                  <a:pt x="2225054" y="4841173"/>
                  <a:pt x="2221860" y="4843303"/>
                  <a:pt x="2218265" y="4844767"/>
                </a:cubicBezTo>
                <a:cubicBezTo>
                  <a:pt x="2214671" y="4846231"/>
                  <a:pt x="2210810" y="4847030"/>
                  <a:pt x="2206550" y="4847030"/>
                </a:cubicBezTo>
                <a:cubicBezTo>
                  <a:pt x="2197498" y="4847030"/>
                  <a:pt x="2190310" y="4844102"/>
                  <a:pt x="2184717" y="4838511"/>
                </a:cubicBezTo>
                <a:cubicBezTo>
                  <a:pt x="2179126" y="4832920"/>
                  <a:pt x="2176330" y="4825730"/>
                  <a:pt x="2176330" y="4817344"/>
                </a:cubicBezTo>
                <a:cubicBezTo>
                  <a:pt x="2176330" y="4809091"/>
                  <a:pt x="2179126" y="4802036"/>
                  <a:pt x="2184717" y="4796312"/>
                </a:cubicBezTo>
                <a:cubicBezTo>
                  <a:pt x="2190310" y="4790455"/>
                  <a:pt x="2197498" y="4787659"/>
                  <a:pt x="2206550" y="4787659"/>
                </a:cubicBezTo>
                <a:close/>
                <a:moveTo>
                  <a:pt x="1989024" y="4787659"/>
                </a:moveTo>
                <a:cubicBezTo>
                  <a:pt x="1993151" y="4787659"/>
                  <a:pt x="1997146" y="4788458"/>
                  <a:pt x="2000740" y="4790321"/>
                </a:cubicBezTo>
                <a:cubicBezTo>
                  <a:pt x="2004467" y="4791919"/>
                  <a:pt x="2007528" y="4794049"/>
                  <a:pt x="2010058" y="4796711"/>
                </a:cubicBezTo>
                <a:cubicBezTo>
                  <a:pt x="2012719" y="4799240"/>
                  <a:pt x="2014717" y="4802435"/>
                  <a:pt x="2016181" y="4806029"/>
                </a:cubicBezTo>
                <a:cubicBezTo>
                  <a:pt x="2017645" y="4809624"/>
                  <a:pt x="2018444" y="4813351"/>
                  <a:pt x="2018444" y="4817477"/>
                </a:cubicBezTo>
                <a:cubicBezTo>
                  <a:pt x="2018444" y="4821604"/>
                  <a:pt x="2017645" y="4825597"/>
                  <a:pt x="2016181" y="4829192"/>
                </a:cubicBezTo>
                <a:cubicBezTo>
                  <a:pt x="2014717" y="4832787"/>
                  <a:pt x="2012587" y="4835848"/>
                  <a:pt x="2010058" y="4838511"/>
                </a:cubicBezTo>
                <a:cubicBezTo>
                  <a:pt x="2007528" y="4841173"/>
                  <a:pt x="2004333" y="4843303"/>
                  <a:pt x="2000740" y="4844767"/>
                </a:cubicBezTo>
                <a:cubicBezTo>
                  <a:pt x="1997146" y="4846231"/>
                  <a:pt x="1993284" y="4847030"/>
                  <a:pt x="1989024" y="4847030"/>
                </a:cubicBezTo>
                <a:cubicBezTo>
                  <a:pt x="1979973" y="4847030"/>
                  <a:pt x="1972784" y="4844102"/>
                  <a:pt x="1967193" y="4838511"/>
                </a:cubicBezTo>
                <a:cubicBezTo>
                  <a:pt x="1961603" y="4832920"/>
                  <a:pt x="1958807" y="4825730"/>
                  <a:pt x="1958807" y="4817344"/>
                </a:cubicBezTo>
                <a:cubicBezTo>
                  <a:pt x="1958807" y="4809091"/>
                  <a:pt x="1961603" y="4802036"/>
                  <a:pt x="1967193" y="4796312"/>
                </a:cubicBezTo>
                <a:cubicBezTo>
                  <a:pt x="1972784" y="4790455"/>
                  <a:pt x="1979973" y="4787659"/>
                  <a:pt x="1989024" y="4787659"/>
                </a:cubicBezTo>
                <a:close/>
                <a:moveTo>
                  <a:pt x="1771389" y="4787659"/>
                </a:moveTo>
                <a:cubicBezTo>
                  <a:pt x="1775648" y="4787659"/>
                  <a:pt x="1779508" y="4788458"/>
                  <a:pt x="1783103" y="4790321"/>
                </a:cubicBezTo>
                <a:cubicBezTo>
                  <a:pt x="1786830" y="4791919"/>
                  <a:pt x="1789892" y="4794049"/>
                  <a:pt x="1792421" y="4796711"/>
                </a:cubicBezTo>
                <a:cubicBezTo>
                  <a:pt x="1795083" y="4799240"/>
                  <a:pt x="1797080" y="4802435"/>
                  <a:pt x="1798544" y="4806029"/>
                </a:cubicBezTo>
                <a:cubicBezTo>
                  <a:pt x="1800008" y="4809624"/>
                  <a:pt x="1800806" y="4813351"/>
                  <a:pt x="1800806" y="4817477"/>
                </a:cubicBezTo>
                <a:cubicBezTo>
                  <a:pt x="1800806" y="4821604"/>
                  <a:pt x="1800008" y="4825597"/>
                  <a:pt x="1798544" y="4829192"/>
                </a:cubicBezTo>
                <a:cubicBezTo>
                  <a:pt x="1797080" y="4832787"/>
                  <a:pt x="1794950" y="4835848"/>
                  <a:pt x="1792421" y="4838511"/>
                </a:cubicBezTo>
                <a:cubicBezTo>
                  <a:pt x="1789758" y="4841173"/>
                  <a:pt x="1786697" y="4843303"/>
                  <a:pt x="1783103" y="4844767"/>
                </a:cubicBezTo>
                <a:cubicBezTo>
                  <a:pt x="1779508" y="4846231"/>
                  <a:pt x="1775648" y="4847030"/>
                  <a:pt x="1771389" y="4847030"/>
                </a:cubicBezTo>
                <a:cubicBezTo>
                  <a:pt x="1762470" y="4847030"/>
                  <a:pt x="1755150" y="4844102"/>
                  <a:pt x="1749560" y="4838511"/>
                </a:cubicBezTo>
                <a:cubicBezTo>
                  <a:pt x="1743969" y="4832920"/>
                  <a:pt x="1741176" y="4825730"/>
                  <a:pt x="1741176" y="4817344"/>
                </a:cubicBezTo>
                <a:cubicBezTo>
                  <a:pt x="1741176" y="4809091"/>
                  <a:pt x="1743969" y="4802036"/>
                  <a:pt x="1749560" y="4796312"/>
                </a:cubicBezTo>
                <a:cubicBezTo>
                  <a:pt x="1755150" y="4790455"/>
                  <a:pt x="1762337" y="4787659"/>
                  <a:pt x="1771389" y="4787659"/>
                </a:cubicBezTo>
                <a:close/>
                <a:moveTo>
                  <a:pt x="1553751" y="4787659"/>
                </a:moveTo>
                <a:cubicBezTo>
                  <a:pt x="1558011" y="4787659"/>
                  <a:pt x="1561872" y="4788458"/>
                  <a:pt x="1565466" y="4790321"/>
                </a:cubicBezTo>
                <a:cubicBezTo>
                  <a:pt x="1569060" y="4791919"/>
                  <a:pt x="1572255" y="4794049"/>
                  <a:pt x="1574784" y="4796711"/>
                </a:cubicBezTo>
                <a:cubicBezTo>
                  <a:pt x="1577446" y="4799240"/>
                  <a:pt x="1579443" y="4802435"/>
                  <a:pt x="1580907" y="4806029"/>
                </a:cubicBezTo>
                <a:cubicBezTo>
                  <a:pt x="1582371" y="4809624"/>
                  <a:pt x="1583170" y="4813351"/>
                  <a:pt x="1583170" y="4817477"/>
                </a:cubicBezTo>
                <a:cubicBezTo>
                  <a:pt x="1583170" y="4821604"/>
                  <a:pt x="1582371" y="4825597"/>
                  <a:pt x="1580907" y="4829192"/>
                </a:cubicBezTo>
                <a:cubicBezTo>
                  <a:pt x="1579443" y="4832787"/>
                  <a:pt x="1577313" y="4835848"/>
                  <a:pt x="1574784" y="4838511"/>
                </a:cubicBezTo>
                <a:cubicBezTo>
                  <a:pt x="1572122" y="4841173"/>
                  <a:pt x="1569060" y="4843303"/>
                  <a:pt x="1565466" y="4844767"/>
                </a:cubicBezTo>
                <a:cubicBezTo>
                  <a:pt x="1561872" y="4846231"/>
                  <a:pt x="1558011" y="4847030"/>
                  <a:pt x="1553751" y="4847030"/>
                </a:cubicBezTo>
                <a:cubicBezTo>
                  <a:pt x="1544833" y="4847030"/>
                  <a:pt x="1537511" y="4844102"/>
                  <a:pt x="1531921" y="4838511"/>
                </a:cubicBezTo>
                <a:cubicBezTo>
                  <a:pt x="1526332" y="4832920"/>
                  <a:pt x="1523535" y="4825730"/>
                  <a:pt x="1523535" y="4817344"/>
                </a:cubicBezTo>
                <a:cubicBezTo>
                  <a:pt x="1523535" y="4809091"/>
                  <a:pt x="1526332" y="4802036"/>
                  <a:pt x="1531921" y="4796312"/>
                </a:cubicBezTo>
                <a:cubicBezTo>
                  <a:pt x="1537511" y="4790455"/>
                  <a:pt x="1544698" y="4787659"/>
                  <a:pt x="1553751" y="4787659"/>
                </a:cubicBezTo>
                <a:close/>
                <a:moveTo>
                  <a:pt x="1336107" y="4787659"/>
                </a:moveTo>
                <a:cubicBezTo>
                  <a:pt x="1340367" y="4787659"/>
                  <a:pt x="1344362" y="4788458"/>
                  <a:pt x="1347823" y="4790321"/>
                </a:cubicBezTo>
                <a:cubicBezTo>
                  <a:pt x="1351416" y="4791919"/>
                  <a:pt x="1354611" y="4794049"/>
                  <a:pt x="1357141" y="4796711"/>
                </a:cubicBezTo>
                <a:cubicBezTo>
                  <a:pt x="1359803" y="4799240"/>
                  <a:pt x="1361800" y="4802435"/>
                  <a:pt x="1363264" y="4806029"/>
                </a:cubicBezTo>
                <a:cubicBezTo>
                  <a:pt x="1364728" y="4809624"/>
                  <a:pt x="1365526" y="4813351"/>
                  <a:pt x="1365526" y="4817477"/>
                </a:cubicBezTo>
                <a:cubicBezTo>
                  <a:pt x="1365526" y="4821604"/>
                  <a:pt x="1364728" y="4825597"/>
                  <a:pt x="1363264" y="4829192"/>
                </a:cubicBezTo>
                <a:cubicBezTo>
                  <a:pt x="1361800" y="4832787"/>
                  <a:pt x="1359670" y="4835848"/>
                  <a:pt x="1357141" y="4838511"/>
                </a:cubicBezTo>
                <a:cubicBezTo>
                  <a:pt x="1354477" y="4841173"/>
                  <a:pt x="1351416" y="4843303"/>
                  <a:pt x="1347823" y="4844767"/>
                </a:cubicBezTo>
                <a:cubicBezTo>
                  <a:pt x="1344228" y="4846231"/>
                  <a:pt x="1340367" y="4847030"/>
                  <a:pt x="1336107" y="4847030"/>
                </a:cubicBezTo>
                <a:cubicBezTo>
                  <a:pt x="1327187" y="4847030"/>
                  <a:pt x="1319866" y="4844102"/>
                  <a:pt x="1314275" y="4838511"/>
                </a:cubicBezTo>
                <a:cubicBezTo>
                  <a:pt x="1308684" y="4832920"/>
                  <a:pt x="1305889" y="4825730"/>
                  <a:pt x="1305889" y="4817344"/>
                </a:cubicBezTo>
                <a:cubicBezTo>
                  <a:pt x="1305889" y="4809091"/>
                  <a:pt x="1308684" y="4802036"/>
                  <a:pt x="1314275" y="4796312"/>
                </a:cubicBezTo>
                <a:cubicBezTo>
                  <a:pt x="1319866" y="4790455"/>
                  <a:pt x="1327054" y="4787659"/>
                  <a:pt x="1336107" y="4787659"/>
                </a:cubicBezTo>
                <a:close/>
                <a:moveTo>
                  <a:pt x="1118462" y="4787659"/>
                </a:moveTo>
                <a:cubicBezTo>
                  <a:pt x="1122723" y="4787659"/>
                  <a:pt x="1126719" y="4788458"/>
                  <a:pt x="1130180" y="4790321"/>
                </a:cubicBezTo>
                <a:cubicBezTo>
                  <a:pt x="1133906" y="4791919"/>
                  <a:pt x="1136969" y="4794049"/>
                  <a:pt x="1139495" y="4796711"/>
                </a:cubicBezTo>
                <a:cubicBezTo>
                  <a:pt x="1142156" y="4799240"/>
                  <a:pt x="1144152" y="4802435"/>
                  <a:pt x="1145615" y="4806029"/>
                </a:cubicBezTo>
                <a:cubicBezTo>
                  <a:pt x="1147080" y="4809624"/>
                  <a:pt x="1147878" y="4813351"/>
                  <a:pt x="1147878" y="4817477"/>
                </a:cubicBezTo>
                <a:cubicBezTo>
                  <a:pt x="1147878" y="4821604"/>
                  <a:pt x="1147080" y="4825597"/>
                  <a:pt x="1145615" y="4829192"/>
                </a:cubicBezTo>
                <a:cubicBezTo>
                  <a:pt x="1144152" y="4832787"/>
                  <a:pt x="1142023" y="4835848"/>
                  <a:pt x="1139495" y="4838511"/>
                </a:cubicBezTo>
                <a:cubicBezTo>
                  <a:pt x="1136969" y="4841173"/>
                  <a:pt x="1133774" y="4843303"/>
                  <a:pt x="1130180" y="4844767"/>
                </a:cubicBezTo>
                <a:cubicBezTo>
                  <a:pt x="1126583" y="4846231"/>
                  <a:pt x="1122723" y="4847030"/>
                  <a:pt x="1118462" y="4847030"/>
                </a:cubicBezTo>
                <a:cubicBezTo>
                  <a:pt x="1109542" y="4847030"/>
                  <a:pt x="1102218" y="4844102"/>
                  <a:pt x="1096627" y="4838511"/>
                </a:cubicBezTo>
                <a:cubicBezTo>
                  <a:pt x="1091037" y="4832920"/>
                  <a:pt x="1088243" y="4825730"/>
                  <a:pt x="1088243" y="4817344"/>
                </a:cubicBezTo>
                <a:cubicBezTo>
                  <a:pt x="1088243" y="4809091"/>
                  <a:pt x="1091037" y="4802036"/>
                  <a:pt x="1096627" y="4796312"/>
                </a:cubicBezTo>
                <a:cubicBezTo>
                  <a:pt x="1102218" y="4790455"/>
                  <a:pt x="1109408" y="4787659"/>
                  <a:pt x="1118462" y="4787659"/>
                </a:cubicBezTo>
                <a:close/>
                <a:moveTo>
                  <a:pt x="900949" y="4787659"/>
                </a:moveTo>
                <a:cubicBezTo>
                  <a:pt x="905076" y="4787659"/>
                  <a:pt x="909070" y="4788458"/>
                  <a:pt x="912664" y="4790321"/>
                </a:cubicBezTo>
                <a:cubicBezTo>
                  <a:pt x="916391" y="4791919"/>
                  <a:pt x="919453" y="4794049"/>
                  <a:pt x="921982" y="4796711"/>
                </a:cubicBezTo>
                <a:cubicBezTo>
                  <a:pt x="924644" y="4799240"/>
                  <a:pt x="926641" y="4802435"/>
                  <a:pt x="928105" y="4806029"/>
                </a:cubicBezTo>
                <a:cubicBezTo>
                  <a:pt x="929569" y="4809624"/>
                  <a:pt x="930368" y="4813351"/>
                  <a:pt x="930368" y="4817477"/>
                </a:cubicBezTo>
                <a:cubicBezTo>
                  <a:pt x="930368" y="4821604"/>
                  <a:pt x="929569" y="4825597"/>
                  <a:pt x="928105" y="4829192"/>
                </a:cubicBezTo>
                <a:cubicBezTo>
                  <a:pt x="926641" y="4832787"/>
                  <a:pt x="924511" y="4835848"/>
                  <a:pt x="921982" y="4838511"/>
                </a:cubicBezTo>
                <a:cubicBezTo>
                  <a:pt x="919453" y="4841173"/>
                  <a:pt x="916258" y="4843303"/>
                  <a:pt x="912664" y="4844767"/>
                </a:cubicBezTo>
                <a:cubicBezTo>
                  <a:pt x="909070" y="4846231"/>
                  <a:pt x="905209" y="4847030"/>
                  <a:pt x="900949" y="4847030"/>
                </a:cubicBezTo>
                <a:cubicBezTo>
                  <a:pt x="892031" y="4847030"/>
                  <a:pt x="884709" y="4844102"/>
                  <a:pt x="879118" y="4838511"/>
                </a:cubicBezTo>
                <a:cubicBezTo>
                  <a:pt x="873529" y="4832920"/>
                  <a:pt x="870733" y="4825730"/>
                  <a:pt x="870733" y="4817344"/>
                </a:cubicBezTo>
                <a:cubicBezTo>
                  <a:pt x="870733" y="4809091"/>
                  <a:pt x="873529" y="4802036"/>
                  <a:pt x="879118" y="4796312"/>
                </a:cubicBezTo>
                <a:cubicBezTo>
                  <a:pt x="884709" y="4790455"/>
                  <a:pt x="891898" y="4787659"/>
                  <a:pt x="900949" y="4787659"/>
                </a:cubicBezTo>
                <a:close/>
                <a:moveTo>
                  <a:pt x="683308" y="4787659"/>
                </a:moveTo>
                <a:cubicBezTo>
                  <a:pt x="687568" y="4787659"/>
                  <a:pt x="691429" y="4788458"/>
                  <a:pt x="695023" y="4790321"/>
                </a:cubicBezTo>
                <a:cubicBezTo>
                  <a:pt x="698750" y="4791919"/>
                  <a:pt x="701812" y="4794049"/>
                  <a:pt x="704341" y="4796711"/>
                </a:cubicBezTo>
                <a:cubicBezTo>
                  <a:pt x="707003" y="4799240"/>
                  <a:pt x="709000" y="4802435"/>
                  <a:pt x="710464" y="4806029"/>
                </a:cubicBezTo>
                <a:cubicBezTo>
                  <a:pt x="711928" y="4809624"/>
                  <a:pt x="712727" y="4813351"/>
                  <a:pt x="712727" y="4817477"/>
                </a:cubicBezTo>
                <a:cubicBezTo>
                  <a:pt x="712727" y="4821604"/>
                  <a:pt x="711928" y="4825597"/>
                  <a:pt x="710464" y="4829192"/>
                </a:cubicBezTo>
                <a:cubicBezTo>
                  <a:pt x="709000" y="4832787"/>
                  <a:pt x="706870" y="4835848"/>
                  <a:pt x="704341" y="4838511"/>
                </a:cubicBezTo>
                <a:cubicBezTo>
                  <a:pt x="701812" y="4841173"/>
                  <a:pt x="698617" y="4843303"/>
                  <a:pt x="695023" y="4844767"/>
                </a:cubicBezTo>
                <a:cubicBezTo>
                  <a:pt x="691429" y="4846231"/>
                  <a:pt x="687568" y="4847030"/>
                  <a:pt x="683308" y="4847030"/>
                </a:cubicBezTo>
                <a:cubicBezTo>
                  <a:pt x="674390" y="4847030"/>
                  <a:pt x="667068" y="4844102"/>
                  <a:pt x="661477" y="4838511"/>
                </a:cubicBezTo>
                <a:cubicBezTo>
                  <a:pt x="655886" y="4832920"/>
                  <a:pt x="653091" y="4825730"/>
                  <a:pt x="653091" y="4817344"/>
                </a:cubicBezTo>
                <a:cubicBezTo>
                  <a:pt x="653091" y="4809091"/>
                  <a:pt x="655886" y="4802036"/>
                  <a:pt x="661477" y="4796312"/>
                </a:cubicBezTo>
                <a:cubicBezTo>
                  <a:pt x="667068" y="4790455"/>
                  <a:pt x="674257" y="4787659"/>
                  <a:pt x="683308" y="4787659"/>
                </a:cubicBezTo>
                <a:close/>
                <a:moveTo>
                  <a:pt x="465666" y="4787659"/>
                </a:moveTo>
                <a:cubicBezTo>
                  <a:pt x="469926" y="4787659"/>
                  <a:pt x="473787" y="4788458"/>
                  <a:pt x="477382" y="4790321"/>
                </a:cubicBezTo>
                <a:cubicBezTo>
                  <a:pt x="481109" y="4791919"/>
                  <a:pt x="484170" y="4794049"/>
                  <a:pt x="486699" y="4796711"/>
                </a:cubicBezTo>
                <a:cubicBezTo>
                  <a:pt x="489361" y="4799240"/>
                  <a:pt x="491358" y="4802435"/>
                  <a:pt x="492822" y="4806029"/>
                </a:cubicBezTo>
                <a:cubicBezTo>
                  <a:pt x="494286" y="4809624"/>
                  <a:pt x="495085" y="4813351"/>
                  <a:pt x="495085" y="4817477"/>
                </a:cubicBezTo>
                <a:cubicBezTo>
                  <a:pt x="495085" y="4821604"/>
                  <a:pt x="494286" y="4825597"/>
                  <a:pt x="492822" y="4829192"/>
                </a:cubicBezTo>
                <a:cubicBezTo>
                  <a:pt x="491358" y="4832787"/>
                  <a:pt x="489228" y="4835848"/>
                  <a:pt x="486699" y="4838511"/>
                </a:cubicBezTo>
                <a:cubicBezTo>
                  <a:pt x="484036" y="4841173"/>
                  <a:pt x="480976" y="4843303"/>
                  <a:pt x="477382" y="4844767"/>
                </a:cubicBezTo>
                <a:cubicBezTo>
                  <a:pt x="473787" y="4846231"/>
                  <a:pt x="469926" y="4847030"/>
                  <a:pt x="465666" y="4847030"/>
                </a:cubicBezTo>
                <a:cubicBezTo>
                  <a:pt x="456748" y="4847030"/>
                  <a:pt x="449426" y="4844102"/>
                  <a:pt x="443835" y="4838511"/>
                </a:cubicBezTo>
                <a:cubicBezTo>
                  <a:pt x="438244" y="4832920"/>
                  <a:pt x="435449" y="4825730"/>
                  <a:pt x="435449" y="4817344"/>
                </a:cubicBezTo>
                <a:cubicBezTo>
                  <a:pt x="435449" y="4809091"/>
                  <a:pt x="438244" y="4802036"/>
                  <a:pt x="443835" y="4796312"/>
                </a:cubicBezTo>
                <a:cubicBezTo>
                  <a:pt x="449426" y="4790455"/>
                  <a:pt x="456615" y="4787659"/>
                  <a:pt x="465666" y="4787659"/>
                </a:cubicBezTo>
                <a:close/>
                <a:moveTo>
                  <a:pt x="248024" y="4787659"/>
                </a:moveTo>
                <a:cubicBezTo>
                  <a:pt x="252284" y="4787659"/>
                  <a:pt x="256278" y="4788458"/>
                  <a:pt x="259739" y="4790321"/>
                </a:cubicBezTo>
                <a:cubicBezTo>
                  <a:pt x="263466" y="4791919"/>
                  <a:pt x="266528" y="4794049"/>
                  <a:pt x="269057" y="4796711"/>
                </a:cubicBezTo>
                <a:cubicBezTo>
                  <a:pt x="271719" y="4799240"/>
                  <a:pt x="273716" y="4802435"/>
                  <a:pt x="275180" y="4806029"/>
                </a:cubicBezTo>
                <a:cubicBezTo>
                  <a:pt x="276644" y="4809624"/>
                  <a:pt x="277443" y="4813351"/>
                  <a:pt x="277443" y="4817477"/>
                </a:cubicBezTo>
                <a:cubicBezTo>
                  <a:pt x="277443" y="4821604"/>
                  <a:pt x="276644" y="4825597"/>
                  <a:pt x="275180" y="4829192"/>
                </a:cubicBezTo>
                <a:cubicBezTo>
                  <a:pt x="273716" y="4832787"/>
                  <a:pt x="271586" y="4835848"/>
                  <a:pt x="269057" y="4838511"/>
                </a:cubicBezTo>
                <a:cubicBezTo>
                  <a:pt x="266394" y="4841173"/>
                  <a:pt x="263333" y="4843303"/>
                  <a:pt x="259739" y="4844767"/>
                </a:cubicBezTo>
                <a:cubicBezTo>
                  <a:pt x="256144" y="4846231"/>
                  <a:pt x="252284" y="4847030"/>
                  <a:pt x="248024" y="4847030"/>
                </a:cubicBezTo>
                <a:cubicBezTo>
                  <a:pt x="239107" y="4847030"/>
                  <a:pt x="231785" y="4844102"/>
                  <a:pt x="226195" y="4838511"/>
                </a:cubicBezTo>
                <a:cubicBezTo>
                  <a:pt x="220604" y="4832920"/>
                  <a:pt x="217809" y="4825730"/>
                  <a:pt x="217809" y="4817344"/>
                </a:cubicBezTo>
                <a:cubicBezTo>
                  <a:pt x="217809" y="4809091"/>
                  <a:pt x="220604" y="4802036"/>
                  <a:pt x="226195" y="4796312"/>
                </a:cubicBezTo>
                <a:cubicBezTo>
                  <a:pt x="231785" y="4790455"/>
                  <a:pt x="238973" y="4787659"/>
                  <a:pt x="248024" y="4787659"/>
                </a:cubicBezTo>
                <a:close/>
                <a:moveTo>
                  <a:pt x="30383" y="4787659"/>
                </a:moveTo>
                <a:cubicBezTo>
                  <a:pt x="34643" y="4787659"/>
                  <a:pt x="38637" y="4788458"/>
                  <a:pt x="42098" y="4790321"/>
                </a:cubicBezTo>
                <a:cubicBezTo>
                  <a:pt x="45825" y="4791919"/>
                  <a:pt x="48887" y="4794049"/>
                  <a:pt x="51416" y="4796711"/>
                </a:cubicBezTo>
                <a:cubicBezTo>
                  <a:pt x="54078" y="4799240"/>
                  <a:pt x="56075" y="4802435"/>
                  <a:pt x="57539" y="4806029"/>
                </a:cubicBezTo>
                <a:cubicBezTo>
                  <a:pt x="59003" y="4809624"/>
                  <a:pt x="59802" y="4813351"/>
                  <a:pt x="59802" y="4817477"/>
                </a:cubicBezTo>
                <a:cubicBezTo>
                  <a:pt x="59802" y="4821604"/>
                  <a:pt x="59003" y="4825597"/>
                  <a:pt x="57539" y="4829192"/>
                </a:cubicBezTo>
                <a:cubicBezTo>
                  <a:pt x="56075" y="4832787"/>
                  <a:pt x="53945" y="4835848"/>
                  <a:pt x="51416" y="4838511"/>
                </a:cubicBezTo>
                <a:cubicBezTo>
                  <a:pt x="48753" y="4841173"/>
                  <a:pt x="45692" y="4843303"/>
                  <a:pt x="42098" y="4844767"/>
                </a:cubicBezTo>
                <a:cubicBezTo>
                  <a:pt x="38504" y="4846231"/>
                  <a:pt x="34643" y="4847030"/>
                  <a:pt x="30383" y="4847030"/>
                </a:cubicBezTo>
                <a:cubicBezTo>
                  <a:pt x="21464" y="4847030"/>
                  <a:pt x="14144" y="4844102"/>
                  <a:pt x="8554" y="4838511"/>
                </a:cubicBezTo>
                <a:cubicBezTo>
                  <a:pt x="2963" y="4832920"/>
                  <a:pt x="168" y="4825730"/>
                  <a:pt x="168" y="4817344"/>
                </a:cubicBezTo>
                <a:cubicBezTo>
                  <a:pt x="168" y="4809091"/>
                  <a:pt x="2963" y="4802036"/>
                  <a:pt x="8554" y="4796312"/>
                </a:cubicBezTo>
                <a:cubicBezTo>
                  <a:pt x="14144" y="4790455"/>
                  <a:pt x="21330" y="4787659"/>
                  <a:pt x="30383" y="4787659"/>
                </a:cubicBezTo>
                <a:close/>
                <a:moveTo>
                  <a:pt x="10475977" y="4586655"/>
                </a:moveTo>
                <a:cubicBezTo>
                  <a:pt x="10470119" y="4586655"/>
                  <a:pt x="10467589" y="4588651"/>
                  <a:pt x="10465992" y="4590249"/>
                </a:cubicBezTo>
                <a:cubicBezTo>
                  <a:pt x="10463463" y="4592911"/>
                  <a:pt x="10462399" y="4595706"/>
                  <a:pt x="10462399" y="4599700"/>
                </a:cubicBezTo>
                <a:cubicBezTo>
                  <a:pt x="10462399" y="4603826"/>
                  <a:pt x="10463463" y="4606622"/>
                  <a:pt x="10465992" y="4609151"/>
                </a:cubicBezTo>
                <a:cubicBezTo>
                  <a:pt x="10467589" y="4610750"/>
                  <a:pt x="10470119" y="4612613"/>
                  <a:pt x="10475977" y="4612613"/>
                </a:cubicBezTo>
                <a:cubicBezTo>
                  <a:pt x="10478107" y="4612613"/>
                  <a:pt x="10479838" y="4612347"/>
                  <a:pt x="10481302" y="4611681"/>
                </a:cubicBezTo>
                <a:cubicBezTo>
                  <a:pt x="10482899" y="4611149"/>
                  <a:pt x="10484098" y="4610350"/>
                  <a:pt x="10485029" y="4609284"/>
                </a:cubicBezTo>
                <a:cubicBezTo>
                  <a:pt x="10486094" y="4608086"/>
                  <a:pt x="10487026" y="4606755"/>
                  <a:pt x="10487691" y="4605024"/>
                </a:cubicBezTo>
                <a:cubicBezTo>
                  <a:pt x="10488357" y="4603427"/>
                  <a:pt x="10488623" y="4601563"/>
                  <a:pt x="10488623" y="4599566"/>
                </a:cubicBezTo>
                <a:cubicBezTo>
                  <a:pt x="10488623" y="4597703"/>
                  <a:pt x="10488357" y="4595972"/>
                  <a:pt x="10487691" y="4594375"/>
                </a:cubicBezTo>
                <a:cubicBezTo>
                  <a:pt x="10487026" y="4592778"/>
                  <a:pt x="10486094" y="4591447"/>
                  <a:pt x="10485029" y="4590249"/>
                </a:cubicBezTo>
                <a:cubicBezTo>
                  <a:pt x="10483964" y="4589183"/>
                  <a:pt x="10482633" y="4588252"/>
                  <a:pt x="10481035" y="4587586"/>
                </a:cubicBezTo>
                <a:cubicBezTo>
                  <a:pt x="10479571" y="4586921"/>
                  <a:pt x="10477974" y="4586655"/>
                  <a:pt x="10475977" y="4586655"/>
                </a:cubicBezTo>
                <a:close/>
                <a:moveTo>
                  <a:pt x="10258466" y="4586655"/>
                </a:moveTo>
                <a:cubicBezTo>
                  <a:pt x="10252608" y="4586655"/>
                  <a:pt x="10250078" y="4588651"/>
                  <a:pt x="10248481" y="4590249"/>
                </a:cubicBezTo>
                <a:cubicBezTo>
                  <a:pt x="10245952" y="4592911"/>
                  <a:pt x="10244887" y="4595706"/>
                  <a:pt x="10244887" y="4599700"/>
                </a:cubicBezTo>
                <a:cubicBezTo>
                  <a:pt x="10244887" y="4603826"/>
                  <a:pt x="10245952" y="4606622"/>
                  <a:pt x="10248481" y="4609151"/>
                </a:cubicBezTo>
                <a:cubicBezTo>
                  <a:pt x="10250078" y="4610750"/>
                  <a:pt x="10252608" y="4612613"/>
                  <a:pt x="10258466" y="4612613"/>
                </a:cubicBezTo>
                <a:cubicBezTo>
                  <a:pt x="10260462" y="4612613"/>
                  <a:pt x="10262192" y="4612347"/>
                  <a:pt x="10263790" y="4611681"/>
                </a:cubicBezTo>
                <a:cubicBezTo>
                  <a:pt x="10265388" y="4611149"/>
                  <a:pt x="10266586" y="4610350"/>
                  <a:pt x="10267517" y="4609284"/>
                </a:cubicBezTo>
                <a:cubicBezTo>
                  <a:pt x="10268583" y="4608086"/>
                  <a:pt x="10269515" y="4606755"/>
                  <a:pt x="10270180" y="4605024"/>
                </a:cubicBezTo>
                <a:cubicBezTo>
                  <a:pt x="10270845" y="4603427"/>
                  <a:pt x="10271112" y="4601563"/>
                  <a:pt x="10271112" y="4599566"/>
                </a:cubicBezTo>
                <a:cubicBezTo>
                  <a:pt x="10271112" y="4597703"/>
                  <a:pt x="10270845" y="4595972"/>
                  <a:pt x="10270180" y="4594375"/>
                </a:cubicBezTo>
                <a:cubicBezTo>
                  <a:pt x="10269515" y="4592778"/>
                  <a:pt x="10268583" y="4591447"/>
                  <a:pt x="10267517" y="4590249"/>
                </a:cubicBezTo>
                <a:cubicBezTo>
                  <a:pt x="10266452" y="4589183"/>
                  <a:pt x="10265121" y="4588252"/>
                  <a:pt x="10263524" y="4587586"/>
                </a:cubicBezTo>
                <a:cubicBezTo>
                  <a:pt x="10262060" y="4586921"/>
                  <a:pt x="10260462" y="4586655"/>
                  <a:pt x="10258466" y="4586655"/>
                </a:cubicBezTo>
                <a:close/>
                <a:moveTo>
                  <a:pt x="10040820" y="4586655"/>
                </a:moveTo>
                <a:cubicBezTo>
                  <a:pt x="10034962" y="4586655"/>
                  <a:pt x="10032433" y="4588651"/>
                  <a:pt x="10030835" y="4590249"/>
                </a:cubicBezTo>
                <a:cubicBezTo>
                  <a:pt x="10028306" y="4592911"/>
                  <a:pt x="10027242" y="4595706"/>
                  <a:pt x="10027242" y="4599700"/>
                </a:cubicBezTo>
                <a:cubicBezTo>
                  <a:pt x="10027242" y="4603826"/>
                  <a:pt x="10028306" y="4606622"/>
                  <a:pt x="10030835" y="4609151"/>
                </a:cubicBezTo>
                <a:cubicBezTo>
                  <a:pt x="10032433" y="4610750"/>
                  <a:pt x="10034962" y="4612613"/>
                  <a:pt x="10040820" y="4612613"/>
                </a:cubicBezTo>
                <a:cubicBezTo>
                  <a:pt x="10042817" y="4612613"/>
                  <a:pt x="10044681" y="4612347"/>
                  <a:pt x="10046145" y="4611681"/>
                </a:cubicBezTo>
                <a:cubicBezTo>
                  <a:pt x="10047742" y="4611149"/>
                  <a:pt x="10048941" y="4610350"/>
                  <a:pt x="10049872" y="4609284"/>
                </a:cubicBezTo>
                <a:cubicBezTo>
                  <a:pt x="10050937" y="4608086"/>
                  <a:pt x="10051869" y="4606755"/>
                  <a:pt x="10052534" y="4605024"/>
                </a:cubicBezTo>
                <a:cubicBezTo>
                  <a:pt x="10053333" y="4603427"/>
                  <a:pt x="10053599" y="4601563"/>
                  <a:pt x="10053599" y="4599566"/>
                </a:cubicBezTo>
                <a:cubicBezTo>
                  <a:pt x="10053599" y="4597703"/>
                  <a:pt x="10053200" y="4595972"/>
                  <a:pt x="10052534" y="4594375"/>
                </a:cubicBezTo>
                <a:cubicBezTo>
                  <a:pt x="10051869" y="4592778"/>
                  <a:pt x="10050937" y="4591447"/>
                  <a:pt x="10049872" y="4590249"/>
                </a:cubicBezTo>
                <a:cubicBezTo>
                  <a:pt x="10048807" y="4589183"/>
                  <a:pt x="10047476" y="4588252"/>
                  <a:pt x="10045878" y="4587586"/>
                </a:cubicBezTo>
                <a:cubicBezTo>
                  <a:pt x="10044414" y="4586921"/>
                  <a:pt x="10042817" y="4586655"/>
                  <a:pt x="10040820" y="4586655"/>
                </a:cubicBezTo>
                <a:close/>
                <a:moveTo>
                  <a:pt x="9823176" y="4586655"/>
                </a:moveTo>
                <a:cubicBezTo>
                  <a:pt x="9817318" y="4586655"/>
                  <a:pt x="9814788" y="4588651"/>
                  <a:pt x="9813191" y="4590249"/>
                </a:cubicBezTo>
                <a:cubicBezTo>
                  <a:pt x="9810662" y="4592911"/>
                  <a:pt x="9809597" y="4595706"/>
                  <a:pt x="9809597" y="4599700"/>
                </a:cubicBezTo>
                <a:cubicBezTo>
                  <a:pt x="9809597" y="4603826"/>
                  <a:pt x="9810662" y="4606622"/>
                  <a:pt x="9813191" y="4609151"/>
                </a:cubicBezTo>
                <a:cubicBezTo>
                  <a:pt x="9814788" y="4610750"/>
                  <a:pt x="9817318" y="4612613"/>
                  <a:pt x="9823176" y="4612613"/>
                </a:cubicBezTo>
                <a:cubicBezTo>
                  <a:pt x="9825173" y="4612613"/>
                  <a:pt x="9827036" y="4612347"/>
                  <a:pt x="9828501" y="4611681"/>
                </a:cubicBezTo>
                <a:cubicBezTo>
                  <a:pt x="9830098" y="4611149"/>
                  <a:pt x="9831296" y="4610350"/>
                  <a:pt x="9832227" y="4609284"/>
                </a:cubicBezTo>
                <a:cubicBezTo>
                  <a:pt x="9833293" y="4608086"/>
                  <a:pt x="9834225" y="4606755"/>
                  <a:pt x="9834890" y="4605024"/>
                </a:cubicBezTo>
                <a:cubicBezTo>
                  <a:pt x="9835689" y="4603427"/>
                  <a:pt x="9835955" y="4601563"/>
                  <a:pt x="9835955" y="4599566"/>
                </a:cubicBezTo>
                <a:cubicBezTo>
                  <a:pt x="9835955" y="4597703"/>
                  <a:pt x="9835555" y="4595972"/>
                  <a:pt x="9834890" y="4594375"/>
                </a:cubicBezTo>
                <a:cubicBezTo>
                  <a:pt x="9834225" y="4592778"/>
                  <a:pt x="9833293" y="4591447"/>
                  <a:pt x="9832227" y="4590249"/>
                </a:cubicBezTo>
                <a:cubicBezTo>
                  <a:pt x="9831162" y="4589183"/>
                  <a:pt x="9829831" y="4588252"/>
                  <a:pt x="9828234" y="4587586"/>
                </a:cubicBezTo>
                <a:cubicBezTo>
                  <a:pt x="9826770" y="4586921"/>
                  <a:pt x="9825173" y="4586655"/>
                  <a:pt x="9823176" y="4586655"/>
                </a:cubicBezTo>
                <a:close/>
                <a:moveTo>
                  <a:pt x="9605531" y="4586655"/>
                </a:moveTo>
                <a:cubicBezTo>
                  <a:pt x="9599673" y="4586655"/>
                  <a:pt x="9597143" y="4588651"/>
                  <a:pt x="9595546" y="4590249"/>
                </a:cubicBezTo>
                <a:cubicBezTo>
                  <a:pt x="9593017" y="4592911"/>
                  <a:pt x="9591952" y="4595706"/>
                  <a:pt x="9591952" y="4599700"/>
                </a:cubicBezTo>
                <a:cubicBezTo>
                  <a:pt x="9591952" y="4603826"/>
                  <a:pt x="9593017" y="4606622"/>
                  <a:pt x="9595546" y="4609151"/>
                </a:cubicBezTo>
                <a:cubicBezTo>
                  <a:pt x="9597143" y="4610750"/>
                  <a:pt x="9599673" y="4612613"/>
                  <a:pt x="9605531" y="4612613"/>
                </a:cubicBezTo>
                <a:cubicBezTo>
                  <a:pt x="9607660" y="4612613"/>
                  <a:pt x="9609391" y="4612347"/>
                  <a:pt x="9610855" y="4611681"/>
                </a:cubicBezTo>
                <a:cubicBezTo>
                  <a:pt x="9612319" y="4611149"/>
                  <a:pt x="9613651" y="4610350"/>
                  <a:pt x="9614582" y="4609284"/>
                </a:cubicBezTo>
                <a:cubicBezTo>
                  <a:pt x="9615647" y="4608086"/>
                  <a:pt x="9616579" y="4606755"/>
                  <a:pt x="9617245" y="4605024"/>
                </a:cubicBezTo>
                <a:cubicBezTo>
                  <a:pt x="9618044" y="4603427"/>
                  <a:pt x="9618309" y="4601563"/>
                  <a:pt x="9618309" y="4599566"/>
                </a:cubicBezTo>
                <a:cubicBezTo>
                  <a:pt x="9618309" y="4597703"/>
                  <a:pt x="9617910" y="4595972"/>
                  <a:pt x="9617245" y="4594375"/>
                </a:cubicBezTo>
                <a:cubicBezTo>
                  <a:pt x="9616579" y="4592778"/>
                  <a:pt x="9615647" y="4591447"/>
                  <a:pt x="9614582" y="4590249"/>
                </a:cubicBezTo>
                <a:cubicBezTo>
                  <a:pt x="9613517" y="4589183"/>
                  <a:pt x="9612186" y="4588252"/>
                  <a:pt x="9610589" y="4587586"/>
                </a:cubicBezTo>
                <a:cubicBezTo>
                  <a:pt x="9609124" y="4586921"/>
                  <a:pt x="9607394" y="4586655"/>
                  <a:pt x="9605531" y="4586655"/>
                </a:cubicBezTo>
                <a:close/>
                <a:moveTo>
                  <a:pt x="9387885" y="4586655"/>
                </a:moveTo>
                <a:cubicBezTo>
                  <a:pt x="9382027" y="4586655"/>
                  <a:pt x="9379497" y="4588651"/>
                  <a:pt x="9377900" y="4590249"/>
                </a:cubicBezTo>
                <a:cubicBezTo>
                  <a:pt x="9375371" y="4592911"/>
                  <a:pt x="9374307" y="4595706"/>
                  <a:pt x="9374307" y="4599700"/>
                </a:cubicBezTo>
                <a:cubicBezTo>
                  <a:pt x="9374307" y="4603826"/>
                  <a:pt x="9375371" y="4606622"/>
                  <a:pt x="9377900" y="4609151"/>
                </a:cubicBezTo>
                <a:cubicBezTo>
                  <a:pt x="9379497" y="4610750"/>
                  <a:pt x="9382027" y="4612613"/>
                  <a:pt x="9387885" y="4612613"/>
                </a:cubicBezTo>
                <a:cubicBezTo>
                  <a:pt x="9390015" y="4612613"/>
                  <a:pt x="9391746" y="4612347"/>
                  <a:pt x="9393210" y="4611681"/>
                </a:cubicBezTo>
                <a:cubicBezTo>
                  <a:pt x="9394674" y="4611149"/>
                  <a:pt x="9396005" y="4610350"/>
                  <a:pt x="9396937" y="4609284"/>
                </a:cubicBezTo>
                <a:cubicBezTo>
                  <a:pt x="9398002" y="4608086"/>
                  <a:pt x="9398934" y="4606755"/>
                  <a:pt x="9399599" y="4605024"/>
                </a:cubicBezTo>
                <a:cubicBezTo>
                  <a:pt x="9400398" y="4603427"/>
                  <a:pt x="9400664" y="4601563"/>
                  <a:pt x="9400664" y="4599566"/>
                </a:cubicBezTo>
                <a:cubicBezTo>
                  <a:pt x="9400664" y="4597703"/>
                  <a:pt x="9400265" y="4595972"/>
                  <a:pt x="9399599" y="4594375"/>
                </a:cubicBezTo>
                <a:cubicBezTo>
                  <a:pt x="9398934" y="4592778"/>
                  <a:pt x="9398002" y="4591447"/>
                  <a:pt x="9396937" y="4590249"/>
                </a:cubicBezTo>
                <a:cubicBezTo>
                  <a:pt x="9395872" y="4589183"/>
                  <a:pt x="9394541" y="4588252"/>
                  <a:pt x="9392943" y="4587586"/>
                </a:cubicBezTo>
                <a:cubicBezTo>
                  <a:pt x="9391479" y="4586921"/>
                  <a:pt x="9389749" y="4586655"/>
                  <a:pt x="9387885" y="4586655"/>
                </a:cubicBezTo>
                <a:close/>
                <a:moveTo>
                  <a:pt x="9170374" y="4586655"/>
                </a:moveTo>
                <a:cubicBezTo>
                  <a:pt x="9164649" y="4586655"/>
                  <a:pt x="9161986" y="4588651"/>
                  <a:pt x="9160389" y="4590249"/>
                </a:cubicBezTo>
                <a:cubicBezTo>
                  <a:pt x="9157860" y="4592911"/>
                  <a:pt x="9156795" y="4595706"/>
                  <a:pt x="9156795" y="4599700"/>
                </a:cubicBezTo>
                <a:cubicBezTo>
                  <a:pt x="9156795" y="4603826"/>
                  <a:pt x="9157860" y="4606622"/>
                  <a:pt x="9160389" y="4609151"/>
                </a:cubicBezTo>
                <a:cubicBezTo>
                  <a:pt x="9161986" y="4610750"/>
                  <a:pt x="9164516" y="4612613"/>
                  <a:pt x="9170374" y="4612613"/>
                </a:cubicBezTo>
                <a:cubicBezTo>
                  <a:pt x="9172370" y="4612613"/>
                  <a:pt x="9174100" y="4612347"/>
                  <a:pt x="9175698" y="4611681"/>
                </a:cubicBezTo>
                <a:cubicBezTo>
                  <a:pt x="9177163" y="4611149"/>
                  <a:pt x="9178494" y="4610350"/>
                  <a:pt x="9179425" y="4609284"/>
                </a:cubicBezTo>
                <a:cubicBezTo>
                  <a:pt x="9180491" y="4608086"/>
                  <a:pt x="9181422" y="4606755"/>
                  <a:pt x="9182088" y="4605024"/>
                </a:cubicBezTo>
                <a:cubicBezTo>
                  <a:pt x="9182887" y="4603427"/>
                  <a:pt x="9183152" y="4601563"/>
                  <a:pt x="9183152" y="4599566"/>
                </a:cubicBezTo>
                <a:cubicBezTo>
                  <a:pt x="9183152" y="4597703"/>
                  <a:pt x="9182753" y="4595972"/>
                  <a:pt x="9182088" y="4594375"/>
                </a:cubicBezTo>
                <a:cubicBezTo>
                  <a:pt x="9181422" y="4592778"/>
                  <a:pt x="9180491" y="4591447"/>
                  <a:pt x="9179425" y="4590249"/>
                </a:cubicBezTo>
                <a:cubicBezTo>
                  <a:pt x="9178360" y="4589183"/>
                  <a:pt x="9177029" y="4588252"/>
                  <a:pt x="9175432" y="4587586"/>
                </a:cubicBezTo>
                <a:cubicBezTo>
                  <a:pt x="9173967" y="4586921"/>
                  <a:pt x="9172237" y="4586655"/>
                  <a:pt x="9170374" y="4586655"/>
                </a:cubicBezTo>
                <a:close/>
                <a:moveTo>
                  <a:pt x="8952728" y="4586655"/>
                </a:moveTo>
                <a:cubicBezTo>
                  <a:pt x="8947003" y="4586655"/>
                  <a:pt x="8944340" y="4588651"/>
                  <a:pt x="8942743" y="4590249"/>
                </a:cubicBezTo>
                <a:cubicBezTo>
                  <a:pt x="8940214" y="4592911"/>
                  <a:pt x="8939150" y="4595706"/>
                  <a:pt x="8939150" y="4599700"/>
                </a:cubicBezTo>
                <a:cubicBezTo>
                  <a:pt x="8939150" y="4603826"/>
                  <a:pt x="8940214" y="4606622"/>
                  <a:pt x="8942743" y="4609151"/>
                </a:cubicBezTo>
                <a:cubicBezTo>
                  <a:pt x="8944340" y="4610750"/>
                  <a:pt x="8946870" y="4612613"/>
                  <a:pt x="8952728" y="4612613"/>
                </a:cubicBezTo>
                <a:cubicBezTo>
                  <a:pt x="8954725" y="4612613"/>
                  <a:pt x="8956589" y="4612347"/>
                  <a:pt x="8958053" y="4611681"/>
                </a:cubicBezTo>
                <a:cubicBezTo>
                  <a:pt x="8959517" y="4611149"/>
                  <a:pt x="8960849" y="4610350"/>
                  <a:pt x="8961780" y="4609284"/>
                </a:cubicBezTo>
                <a:cubicBezTo>
                  <a:pt x="8962845" y="4608086"/>
                  <a:pt x="8963777" y="4606755"/>
                  <a:pt x="8964442" y="4605024"/>
                </a:cubicBezTo>
                <a:cubicBezTo>
                  <a:pt x="8965241" y="4603427"/>
                  <a:pt x="8965507" y="4601563"/>
                  <a:pt x="8965507" y="4599566"/>
                </a:cubicBezTo>
                <a:cubicBezTo>
                  <a:pt x="8965507" y="4597703"/>
                  <a:pt x="8965108" y="4595972"/>
                  <a:pt x="8964442" y="4594375"/>
                </a:cubicBezTo>
                <a:cubicBezTo>
                  <a:pt x="8963777" y="4592778"/>
                  <a:pt x="8962845" y="4591447"/>
                  <a:pt x="8961780" y="4590249"/>
                </a:cubicBezTo>
                <a:cubicBezTo>
                  <a:pt x="8960715" y="4589183"/>
                  <a:pt x="8959384" y="4588252"/>
                  <a:pt x="8957786" y="4587586"/>
                </a:cubicBezTo>
                <a:cubicBezTo>
                  <a:pt x="8956322" y="4586921"/>
                  <a:pt x="8954592" y="4586655"/>
                  <a:pt x="8952728" y="4586655"/>
                </a:cubicBezTo>
                <a:close/>
                <a:moveTo>
                  <a:pt x="8735083" y="4586655"/>
                </a:moveTo>
                <a:cubicBezTo>
                  <a:pt x="8729358" y="4586655"/>
                  <a:pt x="8726695" y="4588651"/>
                  <a:pt x="8725098" y="4590249"/>
                </a:cubicBezTo>
                <a:cubicBezTo>
                  <a:pt x="8722569" y="4592911"/>
                  <a:pt x="8721504" y="4595706"/>
                  <a:pt x="8721504" y="4599700"/>
                </a:cubicBezTo>
                <a:cubicBezTo>
                  <a:pt x="8721504" y="4603826"/>
                  <a:pt x="8722569" y="4606622"/>
                  <a:pt x="8725098" y="4609151"/>
                </a:cubicBezTo>
                <a:cubicBezTo>
                  <a:pt x="8726695" y="4610750"/>
                  <a:pt x="8729225" y="4612613"/>
                  <a:pt x="8735083" y="4612613"/>
                </a:cubicBezTo>
                <a:cubicBezTo>
                  <a:pt x="8737079" y="4612613"/>
                  <a:pt x="8738943" y="4612347"/>
                  <a:pt x="8740407" y="4611681"/>
                </a:cubicBezTo>
                <a:cubicBezTo>
                  <a:pt x="8741872" y="4611149"/>
                  <a:pt x="8743203" y="4610350"/>
                  <a:pt x="8744134" y="4609284"/>
                </a:cubicBezTo>
                <a:cubicBezTo>
                  <a:pt x="8745200" y="4608086"/>
                  <a:pt x="8746132" y="4606755"/>
                  <a:pt x="8746797" y="4605024"/>
                </a:cubicBezTo>
                <a:cubicBezTo>
                  <a:pt x="8747596" y="4603427"/>
                  <a:pt x="8747862" y="4601563"/>
                  <a:pt x="8747862" y="4599566"/>
                </a:cubicBezTo>
                <a:cubicBezTo>
                  <a:pt x="8747862" y="4597703"/>
                  <a:pt x="8747462" y="4595972"/>
                  <a:pt x="8746797" y="4594375"/>
                </a:cubicBezTo>
                <a:cubicBezTo>
                  <a:pt x="8746132" y="4592778"/>
                  <a:pt x="8745200" y="4591447"/>
                  <a:pt x="8744134" y="4590249"/>
                </a:cubicBezTo>
                <a:cubicBezTo>
                  <a:pt x="8743069" y="4589183"/>
                  <a:pt x="8741738" y="4588252"/>
                  <a:pt x="8740141" y="4587586"/>
                </a:cubicBezTo>
                <a:cubicBezTo>
                  <a:pt x="8738677" y="4586921"/>
                  <a:pt x="8736946" y="4586655"/>
                  <a:pt x="8735083" y="4586655"/>
                </a:cubicBezTo>
                <a:close/>
                <a:moveTo>
                  <a:pt x="8517438" y="4586655"/>
                </a:moveTo>
                <a:cubicBezTo>
                  <a:pt x="8511713" y="4586655"/>
                  <a:pt x="8509051" y="4588651"/>
                  <a:pt x="8507453" y="4590249"/>
                </a:cubicBezTo>
                <a:cubicBezTo>
                  <a:pt x="8504925" y="4592911"/>
                  <a:pt x="8503860" y="4595706"/>
                  <a:pt x="8503860" y="4599700"/>
                </a:cubicBezTo>
                <a:cubicBezTo>
                  <a:pt x="8503860" y="4603826"/>
                  <a:pt x="8504925" y="4606622"/>
                  <a:pt x="8507453" y="4609151"/>
                </a:cubicBezTo>
                <a:cubicBezTo>
                  <a:pt x="8509051" y="4610750"/>
                  <a:pt x="8511581" y="4612613"/>
                  <a:pt x="8517438" y="4612613"/>
                </a:cubicBezTo>
                <a:cubicBezTo>
                  <a:pt x="8519568" y="4612613"/>
                  <a:pt x="8521299" y="4612347"/>
                  <a:pt x="8522763" y="4611681"/>
                </a:cubicBezTo>
                <a:cubicBezTo>
                  <a:pt x="8524227" y="4611149"/>
                  <a:pt x="8525559" y="4610350"/>
                  <a:pt x="8526490" y="4609284"/>
                </a:cubicBezTo>
                <a:cubicBezTo>
                  <a:pt x="8527555" y="4608086"/>
                  <a:pt x="8528487" y="4606755"/>
                  <a:pt x="8529152" y="4605024"/>
                </a:cubicBezTo>
                <a:cubicBezTo>
                  <a:pt x="8529818" y="4603427"/>
                  <a:pt x="8530084" y="4601563"/>
                  <a:pt x="8530084" y="4599566"/>
                </a:cubicBezTo>
                <a:cubicBezTo>
                  <a:pt x="8530084" y="4597703"/>
                  <a:pt x="8529818" y="4595972"/>
                  <a:pt x="8529152" y="4594375"/>
                </a:cubicBezTo>
                <a:cubicBezTo>
                  <a:pt x="8528487" y="4592778"/>
                  <a:pt x="8527555" y="4591447"/>
                  <a:pt x="8526490" y="4590249"/>
                </a:cubicBezTo>
                <a:cubicBezTo>
                  <a:pt x="8525425" y="4589183"/>
                  <a:pt x="8524094" y="4588252"/>
                  <a:pt x="8522496" y="4587586"/>
                </a:cubicBezTo>
                <a:cubicBezTo>
                  <a:pt x="8521032" y="4586921"/>
                  <a:pt x="8519302" y="4586655"/>
                  <a:pt x="8517438" y="4586655"/>
                </a:cubicBezTo>
                <a:close/>
                <a:moveTo>
                  <a:pt x="8299793" y="4586655"/>
                </a:moveTo>
                <a:cubicBezTo>
                  <a:pt x="8294068" y="4586655"/>
                  <a:pt x="8291406" y="4588651"/>
                  <a:pt x="8289809" y="4590249"/>
                </a:cubicBezTo>
                <a:cubicBezTo>
                  <a:pt x="8287280" y="4592911"/>
                  <a:pt x="8286215" y="4595706"/>
                  <a:pt x="8286215" y="4599700"/>
                </a:cubicBezTo>
                <a:cubicBezTo>
                  <a:pt x="8286215" y="4603826"/>
                  <a:pt x="8287280" y="4606622"/>
                  <a:pt x="8289809" y="4609151"/>
                </a:cubicBezTo>
                <a:cubicBezTo>
                  <a:pt x="8291406" y="4610750"/>
                  <a:pt x="8293935" y="4612613"/>
                  <a:pt x="8299793" y="4612613"/>
                </a:cubicBezTo>
                <a:cubicBezTo>
                  <a:pt x="8301923" y="4612613"/>
                  <a:pt x="8303653" y="4612347"/>
                  <a:pt x="8305118" y="4611681"/>
                </a:cubicBezTo>
                <a:cubicBezTo>
                  <a:pt x="8306582" y="4611149"/>
                  <a:pt x="8307913" y="4610350"/>
                  <a:pt x="8308844" y="4609284"/>
                </a:cubicBezTo>
                <a:cubicBezTo>
                  <a:pt x="8309910" y="4608086"/>
                  <a:pt x="8310842" y="4606755"/>
                  <a:pt x="8311507" y="4605024"/>
                </a:cubicBezTo>
                <a:cubicBezTo>
                  <a:pt x="8312172" y="4603427"/>
                  <a:pt x="8312439" y="4601563"/>
                  <a:pt x="8312439" y="4599566"/>
                </a:cubicBezTo>
                <a:cubicBezTo>
                  <a:pt x="8312439" y="4597703"/>
                  <a:pt x="8312172" y="4595972"/>
                  <a:pt x="8311507" y="4594375"/>
                </a:cubicBezTo>
                <a:cubicBezTo>
                  <a:pt x="8310842" y="4592778"/>
                  <a:pt x="8309910" y="4591447"/>
                  <a:pt x="8308844" y="4590249"/>
                </a:cubicBezTo>
                <a:cubicBezTo>
                  <a:pt x="8307779" y="4589183"/>
                  <a:pt x="8306448" y="4588252"/>
                  <a:pt x="8304851" y="4587586"/>
                </a:cubicBezTo>
                <a:cubicBezTo>
                  <a:pt x="8303387" y="4586921"/>
                  <a:pt x="8301790" y="4586655"/>
                  <a:pt x="8299793" y="4586655"/>
                </a:cubicBezTo>
                <a:close/>
                <a:moveTo>
                  <a:pt x="8082281" y="4586655"/>
                </a:moveTo>
                <a:cubicBezTo>
                  <a:pt x="8076424" y="4586655"/>
                  <a:pt x="8073894" y="4588651"/>
                  <a:pt x="8072297" y="4590249"/>
                </a:cubicBezTo>
                <a:cubicBezTo>
                  <a:pt x="8069768" y="4592911"/>
                  <a:pt x="8068703" y="4595706"/>
                  <a:pt x="8068703" y="4599700"/>
                </a:cubicBezTo>
                <a:cubicBezTo>
                  <a:pt x="8068703" y="4603826"/>
                  <a:pt x="8069768" y="4606622"/>
                  <a:pt x="8072297" y="4609151"/>
                </a:cubicBezTo>
                <a:cubicBezTo>
                  <a:pt x="8073894" y="4610750"/>
                  <a:pt x="8076424" y="4612613"/>
                  <a:pt x="8082281" y="4612613"/>
                </a:cubicBezTo>
                <a:cubicBezTo>
                  <a:pt x="8084277" y="4612613"/>
                  <a:pt x="8086007" y="4612347"/>
                  <a:pt x="8087605" y="4611681"/>
                </a:cubicBezTo>
                <a:cubicBezTo>
                  <a:pt x="8089069" y="4611149"/>
                  <a:pt x="8090401" y="4610350"/>
                  <a:pt x="8091332" y="4609284"/>
                </a:cubicBezTo>
                <a:cubicBezTo>
                  <a:pt x="8092397" y="4608086"/>
                  <a:pt x="8093329" y="4606755"/>
                  <a:pt x="8093994" y="4605024"/>
                </a:cubicBezTo>
                <a:cubicBezTo>
                  <a:pt x="8094660" y="4603427"/>
                  <a:pt x="8094926" y="4601563"/>
                  <a:pt x="8094926" y="4599566"/>
                </a:cubicBezTo>
                <a:cubicBezTo>
                  <a:pt x="8094926" y="4597703"/>
                  <a:pt x="8094660" y="4595972"/>
                  <a:pt x="8093994" y="4594375"/>
                </a:cubicBezTo>
                <a:cubicBezTo>
                  <a:pt x="8093329" y="4592778"/>
                  <a:pt x="8092397" y="4591447"/>
                  <a:pt x="8091332" y="4590249"/>
                </a:cubicBezTo>
                <a:cubicBezTo>
                  <a:pt x="8090267" y="4589183"/>
                  <a:pt x="8088936" y="4588252"/>
                  <a:pt x="8087338" y="4587586"/>
                </a:cubicBezTo>
                <a:cubicBezTo>
                  <a:pt x="8085874" y="4586921"/>
                  <a:pt x="8084277" y="4586655"/>
                  <a:pt x="8082281" y="4586655"/>
                </a:cubicBezTo>
                <a:close/>
                <a:moveTo>
                  <a:pt x="7864636" y="4586655"/>
                </a:moveTo>
                <a:cubicBezTo>
                  <a:pt x="7858779" y="4586655"/>
                  <a:pt x="7856249" y="4588651"/>
                  <a:pt x="7854652" y="4590249"/>
                </a:cubicBezTo>
                <a:cubicBezTo>
                  <a:pt x="7852123" y="4592911"/>
                  <a:pt x="7851058" y="4595706"/>
                  <a:pt x="7851058" y="4599700"/>
                </a:cubicBezTo>
                <a:cubicBezTo>
                  <a:pt x="7851058" y="4603826"/>
                  <a:pt x="7852123" y="4606622"/>
                  <a:pt x="7854652" y="4609151"/>
                </a:cubicBezTo>
                <a:cubicBezTo>
                  <a:pt x="7856249" y="4610750"/>
                  <a:pt x="7858779" y="4612613"/>
                  <a:pt x="7864636" y="4612613"/>
                </a:cubicBezTo>
                <a:cubicBezTo>
                  <a:pt x="7866633" y="4612613"/>
                  <a:pt x="7868363" y="4612347"/>
                  <a:pt x="7869961" y="4611681"/>
                </a:cubicBezTo>
                <a:cubicBezTo>
                  <a:pt x="7871425" y="4611149"/>
                  <a:pt x="7872756" y="4610350"/>
                  <a:pt x="7873687" y="4609284"/>
                </a:cubicBezTo>
                <a:cubicBezTo>
                  <a:pt x="7874753" y="4608086"/>
                  <a:pt x="7875685" y="4606755"/>
                  <a:pt x="7876350" y="4605024"/>
                </a:cubicBezTo>
                <a:cubicBezTo>
                  <a:pt x="7877015" y="4603427"/>
                  <a:pt x="7877282" y="4601563"/>
                  <a:pt x="7877282" y="4599566"/>
                </a:cubicBezTo>
                <a:cubicBezTo>
                  <a:pt x="7877282" y="4597703"/>
                  <a:pt x="7877015" y="4595972"/>
                  <a:pt x="7876350" y="4594375"/>
                </a:cubicBezTo>
                <a:cubicBezTo>
                  <a:pt x="7875685" y="4592778"/>
                  <a:pt x="7874753" y="4591447"/>
                  <a:pt x="7873687" y="4590249"/>
                </a:cubicBezTo>
                <a:cubicBezTo>
                  <a:pt x="7872623" y="4589183"/>
                  <a:pt x="7871291" y="4588252"/>
                  <a:pt x="7869694" y="4587586"/>
                </a:cubicBezTo>
                <a:cubicBezTo>
                  <a:pt x="7868230" y="4586921"/>
                  <a:pt x="7866633" y="4586655"/>
                  <a:pt x="7864636" y="4586655"/>
                </a:cubicBezTo>
                <a:close/>
                <a:moveTo>
                  <a:pt x="7646991" y="4586655"/>
                </a:moveTo>
                <a:cubicBezTo>
                  <a:pt x="7641134" y="4586655"/>
                  <a:pt x="7638604" y="4588651"/>
                  <a:pt x="7637007" y="4590249"/>
                </a:cubicBezTo>
                <a:cubicBezTo>
                  <a:pt x="7634478" y="4592911"/>
                  <a:pt x="7633413" y="4595706"/>
                  <a:pt x="7633413" y="4599700"/>
                </a:cubicBezTo>
                <a:cubicBezTo>
                  <a:pt x="7633413" y="4603826"/>
                  <a:pt x="7634478" y="4606622"/>
                  <a:pt x="7637007" y="4609151"/>
                </a:cubicBezTo>
                <a:cubicBezTo>
                  <a:pt x="7638604" y="4610750"/>
                  <a:pt x="7641134" y="4612613"/>
                  <a:pt x="7646991" y="4612613"/>
                </a:cubicBezTo>
                <a:cubicBezTo>
                  <a:pt x="7648987" y="4612613"/>
                  <a:pt x="7650851" y="4612347"/>
                  <a:pt x="7652315" y="4611681"/>
                </a:cubicBezTo>
                <a:cubicBezTo>
                  <a:pt x="7653780" y="4611149"/>
                  <a:pt x="7655111" y="4610350"/>
                  <a:pt x="7656042" y="4609284"/>
                </a:cubicBezTo>
                <a:cubicBezTo>
                  <a:pt x="7657108" y="4608086"/>
                  <a:pt x="7658039" y="4606755"/>
                  <a:pt x="7658705" y="4605024"/>
                </a:cubicBezTo>
                <a:cubicBezTo>
                  <a:pt x="7659504" y="4603427"/>
                  <a:pt x="7659769" y="4601563"/>
                  <a:pt x="7659769" y="4599566"/>
                </a:cubicBezTo>
                <a:cubicBezTo>
                  <a:pt x="7659769" y="4597703"/>
                  <a:pt x="7659370" y="4595972"/>
                  <a:pt x="7658705" y="4594375"/>
                </a:cubicBezTo>
                <a:cubicBezTo>
                  <a:pt x="7658039" y="4592778"/>
                  <a:pt x="7657108" y="4591447"/>
                  <a:pt x="7656042" y="4590249"/>
                </a:cubicBezTo>
                <a:cubicBezTo>
                  <a:pt x="7654977" y="4589183"/>
                  <a:pt x="7653646" y="4588252"/>
                  <a:pt x="7652049" y="4587586"/>
                </a:cubicBezTo>
                <a:cubicBezTo>
                  <a:pt x="7650584" y="4586921"/>
                  <a:pt x="7648987" y="4586655"/>
                  <a:pt x="7646991" y="4586655"/>
                </a:cubicBezTo>
                <a:close/>
                <a:moveTo>
                  <a:pt x="7429345" y="4586655"/>
                </a:moveTo>
                <a:cubicBezTo>
                  <a:pt x="7423488" y="4586655"/>
                  <a:pt x="7420958" y="4588651"/>
                  <a:pt x="7419361" y="4590249"/>
                </a:cubicBezTo>
                <a:cubicBezTo>
                  <a:pt x="7416832" y="4592911"/>
                  <a:pt x="7415768" y="4595706"/>
                  <a:pt x="7415768" y="4599700"/>
                </a:cubicBezTo>
                <a:cubicBezTo>
                  <a:pt x="7415768" y="4603826"/>
                  <a:pt x="7416832" y="4606622"/>
                  <a:pt x="7419361" y="4609151"/>
                </a:cubicBezTo>
                <a:cubicBezTo>
                  <a:pt x="7420958" y="4610750"/>
                  <a:pt x="7423488" y="4612613"/>
                  <a:pt x="7429345" y="4612613"/>
                </a:cubicBezTo>
                <a:cubicBezTo>
                  <a:pt x="7431342" y="4612613"/>
                  <a:pt x="7433206" y="4612347"/>
                  <a:pt x="7434670" y="4611681"/>
                </a:cubicBezTo>
                <a:cubicBezTo>
                  <a:pt x="7436134" y="4611149"/>
                  <a:pt x="7437466" y="4610350"/>
                  <a:pt x="7438397" y="4609284"/>
                </a:cubicBezTo>
                <a:cubicBezTo>
                  <a:pt x="7439462" y="4608086"/>
                  <a:pt x="7440394" y="4606755"/>
                  <a:pt x="7441059" y="4605024"/>
                </a:cubicBezTo>
                <a:cubicBezTo>
                  <a:pt x="7441858" y="4603427"/>
                  <a:pt x="7442124" y="4601563"/>
                  <a:pt x="7442124" y="4599566"/>
                </a:cubicBezTo>
                <a:cubicBezTo>
                  <a:pt x="7442124" y="4597703"/>
                  <a:pt x="7441725" y="4595972"/>
                  <a:pt x="7441059" y="4594375"/>
                </a:cubicBezTo>
                <a:cubicBezTo>
                  <a:pt x="7440394" y="4592778"/>
                  <a:pt x="7439462" y="4591447"/>
                  <a:pt x="7438397" y="4590249"/>
                </a:cubicBezTo>
                <a:cubicBezTo>
                  <a:pt x="7437332" y="4589183"/>
                  <a:pt x="7436001" y="4588252"/>
                  <a:pt x="7434403" y="4587586"/>
                </a:cubicBezTo>
                <a:cubicBezTo>
                  <a:pt x="7432939" y="4586921"/>
                  <a:pt x="7431342" y="4586655"/>
                  <a:pt x="7429345" y="4586655"/>
                </a:cubicBezTo>
                <a:close/>
                <a:moveTo>
                  <a:pt x="7211701" y="4586655"/>
                </a:moveTo>
                <a:cubicBezTo>
                  <a:pt x="7205844" y="4586655"/>
                  <a:pt x="7203314" y="4588651"/>
                  <a:pt x="7201717" y="4590249"/>
                </a:cubicBezTo>
                <a:cubicBezTo>
                  <a:pt x="7199188" y="4592911"/>
                  <a:pt x="7198123" y="4595706"/>
                  <a:pt x="7198123" y="4599700"/>
                </a:cubicBezTo>
                <a:cubicBezTo>
                  <a:pt x="7198123" y="4603826"/>
                  <a:pt x="7199188" y="4606622"/>
                  <a:pt x="7201717" y="4609151"/>
                </a:cubicBezTo>
                <a:cubicBezTo>
                  <a:pt x="7203314" y="4610750"/>
                  <a:pt x="7205844" y="4612613"/>
                  <a:pt x="7211701" y="4612613"/>
                </a:cubicBezTo>
                <a:cubicBezTo>
                  <a:pt x="7213830" y="4612613"/>
                  <a:pt x="7215561" y="4612347"/>
                  <a:pt x="7217026" y="4611681"/>
                </a:cubicBezTo>
                <a:cubicBezTo>
                  <a:pt x="7218490" y="4611149"/>
                  <a:pt x="7219821" y="4610350"/>
                  <a:pt x="7220752" y="4609284"/>
                </a:cubicBezTo>
                <a:cubicBezTo>
                  <a:pt x="7221818" y="4608086"/>
                  <a:pt x="7222750" y="4606755"/>
                  <a:pt x="7223415" y="4605024"/>
                </a:cubicBezTo>
                <a:cubicBezTo>
                  <a:pt x="7224214" y="4603427"/>
                  <a:pt x="7224480" y="4601563"/>
                  <a:pt x="7224480" y="4599566"/>
                </a:cubicBezTo>
                <a:cubicBezTo>
                  <a:pt x="7224480" y="4597703"/>
                  <a:pt x="7224080" y="4595972"/>
                  <a:pt x="7223415" y="4594375"/>
                </a:cubicBezTo>
                <a:cubicBezTo>
                  <a:pt x="7222750" y="4592778"/>
                  <a:pt x="7221818" y="4591447"/>
                  <a:pt x="7220752" y="4590249"/>
                </a:cubicBezTo>
                <a:cubicBezTo>
                  <a:pt x="7219687" y="4589183"/>
                  <a:pt x="7218356" y="4588252"/>
                  <a:pt x="7216759" y="4587586"/>
                </a:cubicBezTo>
                <a:cubicBezTo>
                  <a:pt x="7215295" y="4586921"/>
                  <a:pt x="7213698" y="4586655"/>
                  <a:pt x="7211701" y="4586655"/>
                </a:cubicBezTo>
                <a:close/>
                <a:moveTo>
                  <a:pt x="6994056" y="4586655"/>
                </a:moveTo>
                <a:cubicBezTo>
                  <a:pt x="6988199" y="4586655"/>
                  <a:pt x="6985669" y="4588651"/>
                  <a:pt x="6984072" y="4590249"/>
                </a:cubicBezTo>
                <a:cubicBezTo>
                  <a:pt x="6981543" y="4592911"/>
                  <a:pt x="6980478" y="4595706"/>
                  <a:pt x="6980478" y="4599700"/>
                </a:cubicBezTo>
                <a:cubicBezTo>
                  <a:pt x="6980478" y="4603826"/>
                  <a:pt x="6981543" y="4606622"/>
                  <a:pt x="6984072" y="4609151"/>
                </a:cubicBezTo>
                <a:cubicBezTo>
                  <a:pt x="6985669" y="4610750"/>
                  <a:pt x="6988199" y="4612613"/>
                  <a:pt x="6994056" y="4612613"/>
                </a:cubicBezTo>
                <a:cubicBezTo>
                  <a:pt x="6996185" y="4612613"/>
                  <a:pt x="6997916" y="4612347"/>
                  <a:pt x="6999380" y="4611681"/>
                </a:cubicBezTo>
                <a:cubicBezTo>
                  <a:pt x="7000844" y="4611149"/>
                  <a:pt x="7002176" y="4610350"/>
                  <a:pt x="7003107" y="4609284"/>
                </a:cubicBezTo>
                <a:cubicBezTo>
                  <a:pt x="7004172" y="4608086"/>
                  <a:pt x="7005104" y="4606755"/>
                  <a:pt x="7005769" y="4605024"/>
                </a:cubicBezTo>
                <a:cubicBezTo>
                  <a:pt x="7006568" y="4603427"/>
                  <a:pt x="7006834" y="4601563"/>
                  <a:pt x="7006834" y="4599566"/>
                </a:cubicBezTo>
                <a:cubicBezTo>
                  <a:pt x="7006834" y="4597703"/>
                  <a:pt x="7006435" y="4595972"/>
                  <a:pt x="7005769" y="4594375"/>
                </a:cubicBezTo>
                <a:cubicBezTo>
                  <a:pt x="7005104" y="4592778"/>
                  <a:pt x="7004172" y="4591447"/>
                  <a:pt x="7003107" y="4590249"/>
                </a:cubicBezTo>
                <a:cubicBezTo>
                  <a:pt x="7002042" y="4589183"/>
                  <a:pt x="7000711" y="4588252"/>
                  <a:pt x="6999113" y="4587586"/>
                </a:cubicBezTo>
                <a:cubicBezTo>
                  <a:pt x="6997649" y="4586921"/>
                  <a:pt x="6996052" y="4586655"/>
                  <a:pt x="6994056" y="4586655"/>
                </a:cubicBezTo>
                <a:close/>
                <a:moveTo>
                  <a:pt x="6776544" y="4586655"/>
                </a:moveTo>
                <a:cubicBezTo>
                  <a:pt x="6770687" y="4586655"/>
                  <a:pt x="6768157" y="4588651"/>
                  <a:pt x="6766560" y="4590249"/>
                </a:cubicBezTo>
                <a:cubicBezTo>
                  <a:pt x="6764031" y="4592911"/>
                  <a:pt x="6762966" y="4595706"/>
                  <a:pt x="6762966" y="4599700"/>
                </a:cubicBezTo>
                <a:cubicBezTo>
                  <a:pt x="6762966" y="4603826"/>
                  <a:pt x="6764031" y="4606622"/>
                  <a:pt x="6766560" y="4609151"/>
                </a:cubicBezTo>
                <a:cubicBezTo>
                  <a:pt x="6768157" y="4610750"/>
                  <a:pt x="6770687" y="4612613"/>
                  <a:pt x="6776544" y="4612613"/>
                </a:cubicBezTo>
                <a:cubicBezTo>
                  <a:pt x="6778541" y="4612613"/>
                  <a:pt x="6780270" y="4612347"/>
                  <a:pt x="6781869" y="4611681"/>
                </a:cubicBezTo>
                <a:cubicBezTo>
                  <a:pt x="6783333" y="4611149"/>
                  <a:pt x="6784664" y="4610350"/>
                  <a:pt x="6785595" y="4609284"/>
                </a:cubicBezTo>
                <a:cubicBezTo>
                  <a:pt x="6786661" y="4608086"/>
                  <a:pt x="6787593" y="4606755"/>
                  <a:pt x="6788258" y="4605024"/>
                </a:cubicBezTo>
                <a:cubicBezTo>
                  <a:pt x="6789057" y="4603427"/>
                  <a:pt x="6789323" y="4601563"/>
                  <a:pt x="6789323" y="4599566"/>
                </a:cubicBezTo>
                <a:cubicBezTo>
                  <a:pt x="6789323" y="4597703"/>
                  <a:pt x="6788923" y="4595972"/>
                  <a:pt x="6788258" y="4594375"/>
                </a:cubicBezTo>
                <a:cubicBezTo>
                  <a:pt x="6787593" y="4592778"/>
                  <a:pt x="6786661" y="4591447"/>
                  <a:pt x="6785595" y="4590249"/>
                </a:cubicBezTo>
                <a:cubicBezTo>
                  <a:pt x="6784530" y="4589183"/>
                  <a:pt x="6783199" y="4588252"/>
                  <a:pt x="6781602" y="4587586"/>
                </a:cubicBezTo>
                <a:cubicBezTo>
                  <a:pt x="6780138" y="4586921"/>
                  <a:pt x="6778541" y="4586655"/>
                  <a:pt x="6776544" y="4586655"/>
                </a:cubicBezTo>
                <a:close/>
                <a:moveTo>
                  <a:pt x="6558899" y="4586655"/>
                </a:moveTo>
                <a:cubicBezTo>
                  <a:pt x="6553042" y="4586655"/>
                  <a:pt x="6550512" y="4588651"/>
                  <a:pt x="6548915" y="4590249"/>
                </a:cubicBezTo>
                <a:cubicBezTo>
                  <a:pt x="6546386" y="4592911"/>
                  <a:pt x="6545321" y="4595706"/>
                  <a:pt x="6545321" y="4599700"/>
                </a:cubicBezTo>
                <a:cubicBezTo>
                  <a:pt x="6545321" y="4603826"/>
                  <a:pt x="6546386" y="4606622"/>
                  <a:pt x="6548915" y="4609151"/>
                </a:cubicBezTo>
                <a:cubicBezTo>
                  <a:pt x="6550512" y="4610750"/>
                  <a:pt x="6553042" y="4612613"/>
                  <a:pt x="6558899" y="4612613"/>
                </a:cubicBezTo>
                <a:cubicBezTo>
                  <a:pt x="6560895" y="4612613"/>
                  <a:pt x="6562759" y="4612347"/>
                  <a:pt x="6564223" y="4611681"/>
                </a:cubicBezTo>
                <a:cubicBezTo>
                  <a:pt x="6565687" y="4611149"/>
                  <a:pt x="6567019" y="4610350"/>
                  <a:pt x="6567950" y="4609284"/>
                </a:cubicBezTo>
                <a:cubicBezTo>
                  <a:pt x="6569015" y="4608086"/>
                  <a:pt x="6569947" y="4606755"/>
                  <a:pt x="6570612" y="4605024"/>
                </a:cubicBezTo>
                <a:cubicBezTo>
                  <a:pt x="6571412" y="4603427"/>
                  <a:pt x="6571677" y="4601563"/>
                  <a:pt x="6571677" y="4599566"/>
                </a:cubicBezTo>
                <a:cubicBezTo>
                  <a:pt x="6571677" y="4597703"/>
                  <a:pt x="6571278" y="4595972"/>
                  <a:pt x="6570612" y="4594375"/>
                </a:cubicBezTo>
                <a:cubicBezTo>
                  <a:pt x="6569947" y="4592778"/>
                  <a:pt x="6569015" y="4591447"/>
                  <a:pt x="6567950" y="4590249"/>
                </a:cubicBezTo>
                <a:cubicBezTo>
                  <a:pt x="6566885" y="4589183"/>
                  <a:pt x="6565554" y="4588252"/>
                  <a:pt x="6563956" y="4587586"/>
                </a:cubicBezTo>
                <a:cubicBezTo>
                  <a:pt x="6562492" y="4586921"/>
                  <a:pt x="6560895" y="4586655"/>
                  <a:pt x="6558899" y="4586655"/>
                </a:cubicBezTo>
                <a:close/>
                <a:moveTo>
                  <a:pt x="6341253" y="4586655"/>
                </a:moveTo>
                <a:cubicBezTo>
                  <a:pt x="6335396" y="4586655"/>
                  <a:pt x="6332867" y="4588651"/>
                  <a:pt x="6331270" y="4590249"/>
                </a:cubicBezTo>
                <a:cubicBezTo>
                  <a:pt x="6328740" y="4592911"/>
                  <a:pt x="6327675" y="4595706"/>
                  <a:pt x="6327675" y="4599700"/>
                </a:cubicBezTo>
                <a:cubicBezTo>
                  <a:pt x="6327675" y="4603826"/>
                  <a:pt x="6328740" y="4606622"/>
                  <a:pt x="6331270" y="4609151"/>
                </a:cubicBezTo>
                <a:cubicBezTo>
                  <a:pt x="6332867" y="4610750"/>
                  <a:pt x="6335396" y="4612613"/>
                  <a:pt x="6341253" y="4612613"/>
                </a:cubicBezTo>
                <a:cubicBezTo>
                  <a:pt x="6343250" y="4612613"/>
                  <a:pt x="6345114" y="4612347"/>
                  <a:pt x="6346578" y="4611681"/>
                </a:cubicBezTo>
                <a:cubicBezTo>
                  <a:pt x="6348042" y="4611149"/>
                  <a:pt x="6349373" y="4610350"/>
                  <a:pt x="6350305" y="4609284"/>
                </a:cubicBezTo>
                <a:cubicBezTo>
                  <a:pt x="6351370" y="4608086"/>
                  <a:pt x="6352302" y="4606755"/>
                  <a:pt x="6352968" y="4605024"/>
                </a:cubicBezTo>
                <a:cubicBezTo>
                  <a:pt x="6353766" y="4603427"/>
                  <a:pt x="6354033" y="4601563"/>
                  <a:pt x="6354033" y="4599566"/>
                </a:cubicBezTo>
                <a:cubicBezTo>
                  <a:pt x="6354033" y="4597703"/>
                  <a:pt x="6353633" y="4595972"/>
                  <a:pt x="6352968" y="4594375"/>
                </a:cubicBezTo>
                <a:cubicBezTo>
                  <a:pt x="6352302" y="4592778"/>
                  <a:pt x="6351370" y="4591447"/>
                  <a:pt x="6350305" y="4590249"/>
                </a:cubicBezTo>
                <a:cubicBezTo>
                  <a:pt x="6349241" y="4589183"/>
                  <a:pt x="6347909" y="4588252"/>
                  <a:pt x="6346312" y="4587586"/>
                </a:cubicBezTo>
                <a:cubicBezTo>
                  <a:pt x="6344848" y="4586921"/>
                  <a:pt x="6343250" y="4586655"/>
                  <a:pt x="6341253" y="4586655"/>
                </a:cubicBezTo>
                <a:close/>
                <a:moveTo>
                  <a:pt x="6123608" y="4586655"/>
                </a:moveTo>
                <a:cubicBezTo>
                  <a:pt x="6117751" y="4586655"/>
                  <a:pt x="6115221" y="4588651"/>
                  <a:pt x="6113624" y="4590249"/>
                </a:cubicBezTo>
                <a:cubicBezTo>
                  <a:pt x="6111095" y="4592911"/>
                  <a:pt x="6110030" y="4595706"/>
                  <a:pt x="6110030" y="4599700"/>
                </a:cubicBezTo>
                <a:cubicBezTo>
                  <a:pt x="6110030" y="4603826"/>
                  <a:pt x="6111095" y="4606622"/>
                  <a:pt x="6113624" y="4609151"/>
                </a:cubicBezTo>
                <a:cubicBezTo>
                  <a:pt x="6115221" y="4610750"/>
                  <a:pt x="6117751" y="4612613"/>
                  <a:pt x="6123608" y="4612613"/>
                </a:cubicBezTo>
                <a:cubicBezTo>
                  <a:pt x="6125737" y="4612613"/>
                  <a:pt x="6127468" y="4612347"/>
                  <a:pt x="6128932" y="4611681"/>
                </a:cubicBezTo>
                <a:cubicBezTo>
                  <a:pt x="6130530" y="4611149"/>
                  <a:pt x="6131728" y="4610350"/>
                  <a:pt x="6132659" y="4609284"/>
                </a:cubicBezTo>
                <a:cubicBezTo>
                  <a:pt x="6133724" y="4608086"/>
                  <a:pt x="6134656" y="4606755"/>
                  <a:pt x="6135322" y="4605024"/>
                </a:cubicBezTo>
                <a:cubicBezTo>
                  <a:pt x="6135987" y="4603427"/>
                  <a:pt x="6136387" y="4601563"/>
                  <a:pt x="6136387" y="4599566"/>
                </a:cubicBezTo>
                <a:cubicBezTo>
                  <a:pt x="6136387" y="4597703"/>
                  <a:pt x="6135987" y="4595972"/>
                  <a:pt x="6135322" y="4594375"/>
                </a:cubicBezTo>
                <a:cubicBezTo>
                  <a:pt x="6134656" y="4592778"/>
                  <a:pt x="6133724" y="4591447"/>
                  <a:pt x="6132659" y="4590249"/>
                </a:cubicBezTo>
                <a:cubicBezTo>
                  <a:pt x="6131594" y="4589183"/>
                  <a:pt x="6130263" y="4588252"/>
                  <a:pt x="6128666" y="4587586"/>
                </a:cubicBezTo>
                <a:cubicBezTo>
                  <a:pt x="6127202" y="4586921"/>
                  <a:pt x="6125604" y="4586655"/>
                  <a:pt x="6123608" y="4586655"/>
                </a:cubicBezTo>
                <a:close/>
                <a:moveTo>
                  <a:pt x="5905963" y="4586655"/>
                </a:moveTo>
                <a:cubicBezTo>
                  <a:pt x="5900106" y="4586655"/>
                  <a:pt x="5897576" y="4588651"/>
                  <a:pt x="5895979" y="4590249"/>
                </a:cubicBezTo>
                <a:cubicBezTo>
                  <a:pt x="5893450" y="4592911"/>
                  <a:pt x="5892385" y="4595706"/>
                  <a:pt x="5892385" y="4599700"/>
                </a:cubicBezTo>
                <a:cubicBezTo>
                  <a:pt x="5892385" y="4603826"/>
                  <a:pt x="5893450" y="4606622"/>
                  <a:pt x="5895979" y="4609151"/>
                </a:cubicBezTo>
                <a:cubicBezTo>
                  <a:pt x="5897576" y="4610750"/>
                  <a:pt x="5900106" y="4612613"/>
                  <a:pt x="5905963" y="4612613"/>
                </a:cubicBezTo>
                <a:cubicBezTo>
                  <a:pt x="5908093" y="4612613"/>
                  <a:pt x="5909823" y="4612347"/>
                  <a:pt x="5911287" y="4611681"/>
                </a:cubicBezTo>
                <a:cubicBezTo>
                  <a:pt x="5912751" y="4611149"/>
                  <a:pt x="5914083" y="4610350"/>
                  <a:pt x="5915014" y="4609284"/>
                </a:cubicBezTo>
                <a:cubicBezTo>
                  <a:pt x="5916079" y="4608086"/>
                  <a:pt x="5917011" y="4606755"/>
                  <a:pt x="5917677" y="4605024"/>
                </a:cubicBezTo>
                <a:cubicBezTo>
                  <a:pt x="5918342" y="4603427"/>
                  <a:pt x="5918742" y="4601563"/>
                  <a:pt x="5918742" y="4599566"/>
                </a:cubicBezTo>
                <a:cubicBezTo>
                  <a:pt x="5918742" y="4597703"/>
                  <a:pt x="5918342" y="4595972"/>
                  <a:pt x="5917677" y="4594375"/>
                </a:cubicBezTo>
                <a:cubicBezTo>
                  <a:pt x="5917011" y="4592778"/>
                  <a:pt x="5916079" y="4591447"/>
                  <a:pt x="5915014" y="4590249"/>
                </a:cubicBezTo>
                <a:cubicBezTo>
                  <a:pt x="5913950" y="4589183"/>
                  <a:pt x="5912618" y="4588252"/>
                  <a:pt x="5911021" y="4587586"/>
                </a:cubicBezTo>
                <a:cubicBezTo>
                  <a:pt x="5909557" y="4586921"/>
                  <a:pt x="5907826" y="4586655"/>
                  <a:pt x="5905963" y="4586655"/>
                </a:cubicBezTo>
                <a:close/>
                <a:moveTo>
                  <a:pt x="5688451" y="4586655"/>
                </a:moveTo>
                <a:cubicBezTo>
                  <a:pt x="5682594" y="4586655"/>
                  <a:pt x="5680064" y="4588651"/>
                  <a:pt x="5678467" y="4590249"/>
                </a:cubicBezTo>
                <a:cubicBezTo>
                  <a:pt x="5675938" y="4592911"/>
                  <a:pt x="5674873" y="4595706"/>
                  <a:pt x="5674873" y="4599700"/>
                </a:cubicBezTo>
                <a:cubicBezTo>
                  <a:pt x="5674873" y="4603826"/>
                  <a:pt x="5675938" y="4606622"/>
                  <a:pt x="5678467" y="4609151"/>
                </a:cubicBezTo>
                <a:cubicBezTo>
                  <a:pt x="5680064" y="4610750"/>
                  <a:pt x="5682594" y="4612613"/>
                  <a:pt x="5688451" y="4612613"/>
                </a:cubicBezTo>
                <a:cubicBezTo>
                  <a:pt x="5690447" y="4612613"/>
                  <a:pt x="5692178" y="4612347"/>
                  <a:pt x="5693775" y="4611681"/>
                </a:cubicBezTo>
                <a:cubicBezTo>
                  <a:pt x="5695239" y="4611149"/>
                  <a:pt x="5696571" y="4610350"/>
                  <a:pt x="5697502" y="4609284"/>
                </a:cubicBezTo>
                <a:cubicBezTo>
                  <a:pt x="5698567" y="4608086"/>
                  <a:pt x="5699499" y="4606755"/>
                  <a:pt x="5700165" y="4605024"/>
                </a:cubicBezTo>
                <a:cubicBezTo>
                  <a:pt x="5700830" y="4603427"/>
                  <a:pt x="5701230" y="4601563"/>
                  <a:pt x="5701230" y="4599566"/>
                </a:cubicBezTo>
                <a:cubicBezTo>
                  <a:pt x="5701230" y="4597703"/>
                  <a:pt x="5700830" y="4595972"/>
                  <a:pt x="5700165" y="4594375"/>
                </a:cubicBezTo>
                <a:cubicBezTo>
                  <a:pt x="5699499" y="4592778"/>
                  <a:pt x="5698567" y="4591447"/>
                  <a:pt x="5697502" y="4590249"/>
                </a:cubicBezTo>
                <a:cubicBezTo>
                  <a:pt x="5696437" y="4589183"/>
                  <a:pt x="5695106" y="4588252"/>
                  <a:pt x="5693509" y="4587586"/>
                </a:cubicBezTo>
                <a:cubicBezTo>
                  <a:pt x="5692045" y="4586921"/>
                  <a:pt x="5690314" y="4586655"/>
                  <a:pt x="5688451" y="4586655"/>
                </a:cubicBezTo>
                <a:close/>
                <a:moveTo>
                  <a:pt x="5470806" y="4586655"/>
                </a:moveTo>
                <a:cubicBezTo>
                  <a:pt x="5464949" y="4586655"/>
                  <a:pt x="5462419" y="4588651"/>
                  <a:pt x="5460822" y="4590249"/>
                </a:cubicBezTo>
                <a:cubicBezTo>
                  <a:pt x="5458293" y="4592911"/>
                  <a:pt x="5457228" y="4595706"/>
                  <a:pt x="5457228" y="4599700"/>
                </a:cubicBezTo>
                <a:cubicBezTo>
                  <a:pt x="5457228" y="4603826"/>
                  <a:pt x="5458293" y="4606622"/>
                  <a:pt x="5460822" y="4609151"/>
                </a:cubicBezTo>
                <a:cubicBezTo>
                  <a:pt x="5462419" y="4610750"/>
                  <a:pt x="5464949" y="4612613"/>
                  <a:pt x="5470806" y="4612613"/>
                </a:cubicBezTo>
                <a:cubicBezTo>
                  <a:pt x="5472802" y="4612613"/>
                  <a:pt x="5474666" y="4612347"/>
                  <a:pt x="5476130" y="4611681"/>
                </a:cubicBezTo>
                <a:cubicBezTo>
                  <a:pt x="5477594" y="4611149"/>
                  <a:pt x="5478926" y="4610350"/>
                  <a:pt x="5479857" y="4609284"/>
                </a:cubicBezTo>
                <a:cubicBezTo>
                  <a:pt x="5480922" y="4608086"/>
                  <a:pt x="5481854" y="4606755"/>
                  <a:pt x="5482520" y="4605024"/>
                </a:cubicBezTo>
                <a:cubicBezTo>
                  <a:pt x="5483319" y="4603427"/>
                  <a:pt x="5483585" y="4601563"/>
                  <a:pt x="5483585" y="4599566"/>
                </a:cubicBezTo>
                <a:cubicBezTo>
                  <a:pt x="5483585" y="4597703"/>
                  <a:pt x="5483185" y="4595972"/>
                  <a:pt x="5482520" y="4594375"/>
                </a:cubicBezTo>
                <a:cubicBezTo>
                  <a:pt x="5481854" y="4592778"/>
                  <a:pt x="5480922" y="4591447"/>
                  <a:pt x="5479857" y="4590249"/>
                </a:cubicBezTo>
                <a:cubicBezTo>
                  <a:pt x="5478793" y="4589183"/>
                  <a:pt x="5477461" y="4588252"/>
                  <a:pt x="5475864" y="4587586"/>
                </a:cubicBezTo>
                <a:cubicBezTo>
                  <a:pt x="5474400" y="4586921"/>
                  <a:pt x="5472669" y="4586655"/>
                  <a:pt x="5470806" y="4586655"/>
                </a:cubicBezTo>
                <a:close/>
                <a:moveTo>
                  <a:pt x="5253160" y="4586655"/>
                </a:moveTo>
                <a:cubicBezTo>
                  <a:pt x="5247303" y="4586655"/>
                  <a:pt x="5244774" y="4588651"/>
                  <a:pt x="5243177" y="4590249"/>
                </a:cubicBezTo>
                <a:cubicBezTo>
                  <a:pt x="5240647" y="4592911"/>
                  <a:pt x="5239583" y="4595706"/>
                  <a:pt x="5239583" y="4599700"/>
                </a:cubicBezTo>
                <a:cubicBezTo>
                  <a:pt x="5239583" y="4603826"/>
                  <a:pt x="5240647" y="4606622"/>
                  <a:pt x="5243177" y="4609151"/>
                </a:cubicBezTo>
                <a:cubicBezTo>
                  <a:pt x="5244774" y="4610750"/>
                  <a:pt x="5247303" y="4612613"/>
                  <a:pt x="5253160" y="4612613"/>
                </a:cubicBezTo>
                <a:cubicBezTo>
                  <a:pt x="5255157" y="4612613"/>
                  <a:pt x="5257021" y="4612347"/>
                  <a:pt x="5258485" y="4611681"/>
                </a:cubicBezTo>
                <a:cubicBezTo>
                  <a:pt x="5259949" y="4611149"/>
                  <a:pt x="5261280" y="4610350"/>
                  <a:pt x="5262212" y="4609284"/>
                </a:cubicBezTo>
                <a:cubicBezTo>
                  <a:pt x="5263277" y="4608086"/>
                  <a:pt x="5264209" y="4606755"/>
                  <a:pt x="5264875" y="4605024"/>
                </a:cubicBezTo>
                <a:cubicBezTo>
                  <a:pt x="5265673" y="4603427"/>
                  <a:pt x="5265939" y="4601563"/>
                  <a:pt x="5265939" y="4599566"/>
                </a:cubicBezTo>
                <a:cubicBezTo>
                  <a:pt x="5265939" y="4597703"/>
                  <a:pt x="5265540" y="4595972"/>
                  <a:pt x="5264875" y="4594375"/>
                </a:cubicBezTo>
                <a:cubicBezTo>
                  <a:pt x="5264209" y="4592778"/>
                  <a:pt x="5263277" y="4591447"/>
                  <a:pt x="5262212" y="4590249"/>
                </a:cubicBezTo>
                <a:cubicBezTo>
                  <a:pt x="5261147" y="4589183"/>
                  <a:pt x="5259816" y="4588252"/>
                  <a:pt x="5258219" y="4587586"/>
                </a:cubicBezTo>
                <a:cubicBezTo>
                  <a:pt x="5256754" y="4586921"/>
                  <a:pt x="5255024" y="4586655"/>
                  <a:pt x="5253160" y="4586655"/>
                </a:cubicBezTo>
                <a:close/>
                <a:moveTo>
                  <a:pt x="5035515" y="4586655"/>
                </a:moveTo>
                <a:cubicBezTo>
                  <a:pt x="5029658" y="4586655"/>
                  <a:pt x="5027129" y="4588651"/>
                  <a:pt x="5025532" y="4590249"/>
                </a:cubicBezTo>
                <a:cubicBezTo>
                  <a:pt x="5023002" y="4592911"/>
                  <a:pt x="5021938" y="4595706"/>
                  <a:pt x="5021938" y="4599700"/>
                </a:cubicBezTo>
                <a:cubicBezTo>
                  <a:pt x="5021938" y="4603826"/>
                  <a:pt x="5023002" y="4606622"/>
                  <a:pt x="5025532" y="4609151"/>
                </a:cubicBezTo>
                <a:cubicBezTo>
                  <a:pt x="5027129" y="4610750"/>
                  <a:pt x="5029658" y="4612613"/>
                  <a:pt x="5035515" y="4612613"/>
                </a:cubicBezTo>
                <a:cubicBezTo>
                  <a:pt x="5037645" y="4612613"/>
                  <a:pt x="5039376" y="4612347"/>
                  <a:pt x="5040840" y="4611681"/>
                </a:cubicBezTo>
                <a:cubicBezTo>
                  <a:pt x="5042304" y="4611149"/>
                  <a:pt x="5043636" y="4610350"/>
                  <a:pt x="5044567" y="4609284"/>
                </a:cubicBezTo>
                <a:cubicBezTo>
                  <a:pt x="5045632" y="4608086"/>
                  <a:pt x="5046564" y="4606755"/>
                  <a:pt x="5047230" y="4605024"/>
                </a:cubicBezTo>
                <a:cubicBezTo>
                  <a:pt x="5048028" y="4603427"/>
                  <a:pt x="5048294" y="4601563"/>
                  <a:pt x="5048294" y="4599566"/>
                </a:cubicBezTo>
                <a:cubicBezTo>
                  <a:pt x="5048294" y="4597703"/>
                  <a:pt x="5047895" y="4595972"/>
                  <a:pt x="5047230" y="4594375"/>
                </a:cubicBezTo>
                <a:cubicBezTo>
                  <a:pt x="5046564" y="4592778"/>
                  <a:pt x="5045632" y="4591447"/>
                  <a:pt x="5044567" y="4590249"/>
                </a:cubicBezTo>
                <a:cubicBezTo>
                  <a:pt x="5043502" y="4589183"/>
                  <a:pt x="5042171" y="4588252"/>
                  <a:pt x="5040574" y="4587586"/>
                </a:cubicBezTo>
                <a:cubicBezTo>
                  <a:pt x="5039110" y="4586921"/>
                  <a:pt x="5037379" y="4586655"/>
                  <a:pt x="5035515" y="4586655"/>
                </a:cubicBezTo>
                <a:close/>
                <a:moveTo>
                  <a:pt x="4817870" y="4586655"/>
                </a:moveTo>
                <a:cubicBezTo>
                  <a:pt x="4812013" y="4586655"/>
                  <a:pt x="4809484" y="4588651"/>
                  <a:pt x="4807887" y="4590249"/>
                </a:cubicBezTo>
                <a:cubicBezTo>
                  <a:pt x="4805357" y="4592911"/>
                  <a:pt x="4804293" y="4595706"/>
                  <a:pt x="4804293" y="4599700"/>
                </a:cubicBezTo>
                <a:cubicBezTo>
                  <a:pt x="4804293" y="4603826"/>
                  <a:pt x="4805357" y="4606622"/>
                  <a:pt x="4807887" y="4609151"/>
                </a:cubicBezTo>
                <a:cubicBezTo>
                  <a:pt x="4809484" y="4610750"/>
                  <a:pt x="4812013" y="4612613"/>
                  <a:pt x="4817870" y="4612613"/>
                </a:cubicBezTo>
                <a:cubicBezTo>
                  <a:pt x="4820000" y="4612613"/>
                  <a:pt x="4821731" y="4612347"/>
                  <a:pt x="4823195" y="4611681"/>
                </a:cubicBezTo>
                <a:cubicBezTo>
                  <a:pt x="4824659" y="4611149"/>
                  <a:pt x="4825857" y="4610350"/>
                  <a:pt x="4826922" y="4609284"/>
                </a:cubicBezTo>
                <a:cubicBezTo>
                  <a:pt x="4827987" y="4608086"/>
                  <a:pt x="4828919" y="4606755"/>
                  <a:pt x="4829585" y="4605024"/>
                </a:cubicBezTo>
                <a:cubicBezTo>
                  <a:pt x="4830383" y="4603427"/>
                  <a:pt x="4830650" y="4601563"/>
                  <a:pt x="4830650" y="4599566"/>
                </a:cubicBezTo>
                <a:cubicBezTo>
                  <a:pt x="4830650" y="4597703"/>
                  <a:pt x="4830250" y="4595972"/>
                  <a:pt x="4829585" y="4594375"/>
                </a:cubicBezTo>
                <a:cubicBezTo>
                  <a:pt x="4828919" y="4592778"/>
                  <a:pt x="4827987" y="4591447"/>
                  <a:pt x="4826922" y="4590249"/>
                </a:cubicBezTo>
                <a:cubicBezTo>
                  <a:pt x="4825857" y="4589183"/>
                  <a:pt x="4824526" y="4588252"/>
                  <a:pt x="4822929" y="4587586"/>
                </a:cubicBezTo>
                <a:cubicBezTo>
                  <a:pt x="4821465" y="4586921"/>
                  <a:pt x="4819734" y="4586655"/>
                  <a:pt x="4817870" y="4586655"/>
                </a:cubicBezTo>
                <a:close/>
                <a:moveTo>
                  <a:pt x="4600226" y="4586655"/>
                </a:moveTo>
                <a:cubicBezTo>
                  <a:pt x="4594369" y="4586655"/>
                  <a:pt x="4591839" y="4588651"/>
                  <a:pt x="4590242" y="4590249"/>
                </a:cubicBezTo>
                <a:cubicBezTo>
                  <a:pt x="4587713" y="4592911"/>
                  <a:pt x="4586648" y="4595706"/>
                  <a:pt x="4586648" y="4599700"/>
                </a:cubicBezTo>
                <a:cubicBezTo>
                  <a:pt x="4586648" y="4603826"/>
                  <a:pt x="4587713" y="4606622"/>
                  <a:pt x="4590242" y="4609151"/>
                </a:cubicBezTo>
                <a:cubicBezTo>
                  <a:pt x="4591839" y="4610750"/>
                  <a:pt x="4594369" y="4612613"/>
                  <a:pt x="4600226" y="4612613"/>
                </a:cubicBezTo>
                <a:cubicBezTo>
                  <a:pt x="4602355" y="4612613"/>
                  <a:pt x="4604086" y="4612347"/>
                  <a:pt x="4605550" y="4611681"/>
                </a:cubicBezTo>
                <a:cubicBezTo>
                  <a:pt x="4607148" y="4611149"/>
                  <a:pt x="4608346" y="4610350"/>
                  <a:pt x="4609277" y="4609284"/>
                </a:cubicBezTo>
                <a:cubicBezTo>
                  <a:pt x="4610342" y="4608086"/>
                  <a:pt x="4611274" y="4606755"/>
                  <a:pt x="4611940" y="4605024"/>
                </a:cubicBezTo>
                <a:cubicBezTo>
                  <a:pt x="4612605" y="4603427"/>
                  <a:pt x="4613005" y="4601563"/>
                  <a:pt x="4613005" y="4599566"/>
                </a:cubicBezTo>
                <a:cubicBezTo>
                  <a:pt x="4613005" y="4597703"/>
                  <a:pt x="4612605" y="4595972"/>
                  <a:pt x="4611940" y="4594375"/>
                </a:cubicBezTo>
                <a:cubicBezTo>
                  <a:pt x="4611274" y="4592778"/>
                  <a:pt x="4610342" y="4591447"/>
                  <a:pt x="4609277" y="4590249"/>
                </a:cubicBezTo>
                <a:cubicBezTo>
                  <a:pt x="4608212" y="4589183"/>
                  <a:pt x="4606881" y="4588252"/>
                  <a:pt x="4605284" y="4587586"/>
                </a:cubicBezTo>
                <a:cubicBezTo>
                  <a:pt x="4603820" y="4586921"/>
                  <a:pt x="4602222" y="4586655"/>
                  <a:pt x="4600226" y="4586655"/>
                </a:cubicBezTo>
                <a:close/>
                <a:moveTo>
                  <a:pt x="4382713" y="4586655"/>
                </a:moveTo>
                <a:cubicBezTo>
                  <a:pt x="4376857" y="4586655"/>
                  <a:pt x="4374327" y="4588651"/>
                  <a:pt x="4372730" y="4590249"/>
                </a:cubicBezTo>
                <a:cubicBezTo>
                  <a:pt x="4370201" y="4592911"/>
                  <a:pt x="4369136" y="4595706"/>
                  <a:pt x="4369136" y="4599700"/>
                </a:cubicBezTo>
                <a:cubicBezTo>
                  <a:pt x="4369136" y="4603826"/>
                  <a:pt x="4370201" y="4606622"/>
                  <a:pt x="4372730" y="4609151"/>
                </a:cubicBezTo>
                <a:cubicBezTo>
                  <a:pt x="4374327" y="4610750"/>
                  <a:pt x="4376857" y="4612613"/>
                  <a:pt x="4382713" y="4612613"/>
                </a:cubicBezTo>
                <a:cubicBezTo>
                  <a:pt x="4384710" y="4612613"/>
                  <a:pt x="4386441" y="4612347"/>
                  <a:pt x="4388038" y="4611681"/>
                </a:cubicBezTo>
                <a:cubicBezTo>
                  <a:pt x="4389502" y="4611149"/>
                  <a:pt x="4390834" y="4610350"/>
                  <a:pt x="4391765" y="4609284"/>
                </a:cubicBezTo>
                <a:cubicBezTo>
                  <a:pt x="4392830" y="4608086"/>
                  <a:pt x="4393762" y="4606755"/>
                  <a:pt x="4394428" y="4605024"/>
                </a:cubicBezTo>
                <a:cubicBezTo>
                  <a:pt x="4395093" y="4603427"/>
                  <a:pt x="4395493" y="4601563"/>
                  <a:pt x="4395493" y="4599566"/>
                </a:cubicBezTo>
                <a:cubicBezTo>
                  <a:pt x="4395493" y="4597703"/>
                  <a:pt x="4395093" y="4595972"/>
                  <a:pt x="4394428" y="4594375"/>
                </a:cubicBezTo>
                <a:cubicBezTo>
                  <a:pt x="4393762" y="4592778"/>
                  <a:pt x="4392830" y="4591447"/>
                  <a:pt x="4391765" y="4590249"/>
                </a:cubicBezTo>
                <a:cubicBezTo>
                  <a:pt x="4390700" y="4589183"/>
                  <a:pt x="4389369" y="4588252"/>
                  <a:pt x="4387772" y="4587586"/>
                </a:cubicBezTo>
                <a:cubicBezTo>
                  <a:pt x="4386308" y="4586921"/>
                  <a:pt x="4384710" y="4586655"/>
                  <a:pt x="4382713" y="4586655"/>
                </a:cubicBezTo>
                <a:close/>
                <a:moveTo>
                  <a:pt x="4165068" y="4586655"/>
                </a:moveTo>
                <a:cubicBezTo>
                  <a:pt x="4159211" y="4586655"/>
                  <a:pt x="4156681" y="4588651"/>
                  <a:pt x="4155084" y="4590249"/>
                </a:cubicBezTo>
                <a:cubicBezTo>
                  <a:pt x="4152555" y="4592911"/>
                  <a:pt x="4151490" y="4595706"/>
                  <a:pt x="4151490" y="4599700"/>
                </a:cubicBezTo>
                <a:cubicBezTo>
                  <a:pt x="4151490" y="4603826"/>
                  <a:pt x="4152555" y="4606622"/>
                  <a:pt x="4155084" y="4609151"/>
                </a:cubicBezTo>
                <a:cubicBezTo>
                  <a:pt x="4156681" y="4610750"/>
                  <a:pt x="4159211" y="4612613"/>
                  <a:pt x="4165068" y="4612613"/>
                </a:cubicBezTo>
                <a:cubicBezTo>
                  <a:pt x="4167064" y="4612613"/>
                  <a:pt x="4168928" y="4612347"/>
                  <a:pt x="4170392" y="4611681"/>
                </a:cubicBezTo>
                <a:cubicBezTo>
                  <a:pt x="4171856" y="4611149"/>
                  <a:pt x="4173188" y="4610350"/>
                  <a:pt x="4174119" y="4609284"/>
                </a:cubicBezTo>
                <a:cubicBezTo>
                  <a:pt x="4175184" y="4608086"/>
                  <a:pt x="4176116" y="4606755"/>
                  <a:pt x="4176782" y="4605024"/>
                </a:cubicBezTo>
                <a:cubicBezTo>
                  <a:pt x="4177447" y="4603427"/>
                  <a:pt x="4177847" y="4601563"/>
                  <a:pt x="4177847" y="4599566"/>
                </a:cubicBezTo>
                <a:cubicBezTo>
                  <a:pt x="4177847" y="4597703"/>
                  <a:pt x="4177447" y="4595972"/>
                  <a:pt x="4176782" y="4594375"/>
                </a:cubicBezTo>
                <a:cubicBezTo>
                  <a:pt x="4176116" y="4592778"/>
                  <a:pt x="4175184" y="4591447"/>
                  <a:pt x="4174119" y="4590249"/>
                </a:cubicBezTo>
                <a:cubicBezTo>
                  <a:pt x="4173054" y="4589183"/>
                  <a:pt x="4171723" y="4588252"/>
                  <a:pt x="4170126" y="4587586"/>
                </a:cubicBezTo>
                <a:cubicBezTo>
                  <a:pt x="4168662" y="4586921"/>
                  <a:pt x="4167064" y="4586655"/>
                  <a:pt x="4165068" y="4586655"/>
                </a:cubicBezTo>
                <a:close/>
                <a:moveTo>
                  <a:pt x="3947674" y="4586655"/>
                </a:moveTo>
                <a:cubicBezTo>
                  <a:pt x="3941817" y="4586655"/>
                  <a:pt x="3939288" y="4588651"/>
                  <a:pt x="3937691" y="4590249"/>
                </a:cubicBezTo>
                <a:cubicBezTo>
                  <a:pt x="3935160" y="4592911"/>
                  <a:pt x="3934097" y="4595706"/>
                  <a:pt x="3934097" y="4599700"/>
                </a:cubicBezTo>
                <a:cubicBezTo>
                  <a:pt x="3934097" y="4603826"/>
                  <a:pt x="3935160" y="4606622"/>
                  <a:pt x="3937691" y="4609151"/>
                </a:cubicBezTo>
                <a:cubicBezTo>
                  <a:pt x="3939288" y="4610750"/>
                  <a:pt x="3941817" y="4612613"/>
                  <a:pt x="3947674" y="4612613"/>
                </a:cubicBezTo>
                <a:cubicBezTo>
                  <a:pt x="3949672" y="4612613"/>
                  <a:pt x="3951535" y="4612347"/>
                  <a:pt x="3953002" y="4611681"/>
                </a:cubicBezTo>
                <a:cubicBezTo>
                  <a:pt x="3954466" y="4611149"/>
                  <a:pt x="3955796" y="4610350"/>
                  <a:pt x="3956729" y="4609284"/>
                </a:cubicBezTo>
                <a:cubicBezTo>
                  <a:pt x="3957794" y="4608086"/>
                  <a:pt x="3958726" y="4606755"/>
                  <a:pt x="3959392" y="4605024"/>
                </a:cubicBezTo>
                <a:cubicBezTo>
                  <a:pt x="3960057" y="4603427"/>
                  <a:pt x="3960457" y="4601563"/>
                  <a:pt x="3960457" y="4599566"/>
                </a:cubicBezTo>
                <a:cubicBezTo>
                  <a:pt x="3960457" y="4597703"/>
                  <a:pt x="3960057" y="4595972"/>
                  <a:pt x="3959392" y="4594375"/>
                </a:cubicBezTo>
                <a:cubicBezTo>
                  <a:pt x="3958726" y="4592778"/>
                  <a:pt x="3957794" y="4591447"/>
                  <a:pt x="3956729" y="4590249"/>
                </a:cubicBezTo>
                <a:cubicBezTo>
                  <a:pt x="3955664" y="4589183"/>
                  <a:pt x="3954333" y="4588252"/>
                  <a:pt x="3952735" y="4587586"/>
                </a:cubicBezTo>
                <a:cubicBezTo>
                  <a:pt x="3951269" y="4586921"/>
                  <a:pt x="3949672" y="4586655"/>
                  <a:pt x="3947674" y="4586655"/>
                </a:cubicBezTo>
                <a:close/>
                <a:moveTo>
                  <a:pt x="3730018" y="4586655"/>
                </a:moveTo>
                <a:cubicBezTo>
                  <a:pt x="3724161" y="4586655"/>
                  <a:pt x="3721631" y="4588651"/>
                  <a:pt x="3720031" y="4590249"/>
                </a:cubicBezTo>
                <a:cubicBezTo>
                  <a:pt x="3717502" y="4592911"/>
                  <a:pt x="3716439" y="4595706"/>
                  <a:pt x="3716439" y="4599700"/>
                </a:cubicBezTo>
                <a:cubicBezTo>
                  <a:pt x="3716439" y="4603826"/>
                  <a:pt x="3717502" y="4606622"/>
                  <a:pt x="3720031" y="4609151"/>
                </a:cubicBezTo>
                <a:cubicBezTo>
                  <a:pt x="3721631" y="4610750"/>
                  <a:pt x="3724161" y="4612613"/>
                  <a:pt x="3730018" y="4612613"/>
                </a:cubicBezTo>
                <a:cubicBezTo>
                  <a:pt x="3732148" y="4612613"/>
                  <a:pt x="3733879" y="4612347"/>
                  <a:pt x="3735343" y="4611681"/>
                </a:cubicBezTo>
                <a:cubicBezTo>
                  <a:pt x="3736807" y="4611149"/>
                  <a:pt x="3738140" y="4610350"/>
                  <a:pt x="3739070" y="4609284"/>
                </a:cubicBezTo>
                <a:cubicBezTo>
                  <a:pt x="3740135" y="4608086"/>
                  <a:pt x="3741068" y="4606755"/>
                  <a:pt x="3741733" y="4605024"/>
                </a:cubicBezTo>
                <a:cubicBezTo>
                  <a:pt x="3742398" y="4603427"/>
                  <a:pt x="3742798" y="4601563"/>
                  <a:pt x="3742798" y="4599566"/>
                </a:cubicBezTo>
                <a:cubicBezTo>
                  <a:pt x="3742798" y="4597703"/>
                  <a:pt x="3742398" y="4595972"/>
                  <a:pt x="3741733" y="4594375"/>
                </a:cubicBezTo>
                <a:cubicBezTo>
                  <a:pt x="3741068" y="4592778"/>
                  <a:pt x="3740135" y="4591447"/>
                  <a:pt x="3739070" y="4590249"/>
                </a:cubicBezTo>
                <a:cubicBezTo>
                  <a:pt x="3738006" y="4589183"/>
                  <a:pt x="3736675" y="4588252"/>
                  <a:pt x="3735077" y="4587586"/>
                </a:cubicBezTo>
                <a:cubicBezTo>
                  <a:pt x="3733613" y="4586921"/>
                  <a:pt x="3732015" y="4586655"/>
                  <a:pt x="3730018" y="4586655"/>
                </a:cubicBezTo>
                <a:close/>
                <a:moveTo>
                  <a:pt x="3512359" y="4586655"/>
                </a:moveTo>
                <a:cubicBezTo>
                  <a:pt x="3506501" y="4586655"/>
                  <a:pt x="3503971" y="4588651"/>
                  <a:pt x="3502372" y="4590249"/>
                </a:cubicBezTo>
                <a:cubicBezTo>
                  <a:pt x="3499842" y="4592911"/>
                  <a:pt x="3498778" y="4595706"/>
                  <a:pt x="3498778" y="4599700"/>
                </a:cubicBezTo>
                <a:cubicBezTo>
                  <a:pt x="3498778" y="4603826"/>
                  <a:pt x="3499842" y="4606622"/>
                  <a:pt x="3502372" y="4609151"/>
                </a:cubicBezTo>
                <a:cubicBezTo>
                  <a:pt x="3503971" y="4610750"/>
                  <a:pt x="3506501" y="4612613"/>
                  <a:pt x="3512359" y="4612613"/>
                </a:cubicBezTo>
                <a:cubicBezTo>
                  <a:pt x="3514490" y="4612613"/>
                  <a:pt x="3516221" y="4612347"/>
                  <a:pt x="3517685" y="4611681"/>
                </a:cubicBezTo>
                <a:cubicBezTo>
                  <a:pt x="3519149" y="4611149"/>
                  <a:pt x="3520481" y="4610350"/>
                  <a:pt x="3521412" y="4609284"/>
                </a:cubicBezTo>
                <a:cubicBezTo>
                  <a:pt x="3522478" y="4608086"/>
                  <a:pt x="3523409" y="4606755"/>
                  <a:pt x="3524075" y="4605024"/>
                </a:cubicBezTo>
                <a:cubicBezTo>
                  <a:pt x="3524740" y="4603427"/>
                  <a:pt x="3525141" y="4601563"/>
                  <a:pt x="3525141" y="4599566"/>
                </a:cubicBezTo>
                <a:cubicBezTo>
                  <a:pt x="3525141" y="4597703"/>
                  <a:pt x="3524740" y="4595972"/>
                  <a:pt x="3524075" y="4594375"/>
                </a:cubicBezTo>
                <a:cubicBezTo>
                  <a:pt x="3523409" y="4592778"/>
                  <a:pt x="3522478" y="4591447"/>
                  <a:pt x="3521412" y="4590249"/>
                </a:cubicBezTo>
                <a:cubicBezTo>
                  <a:pt x="3520347" y="4589183"/>
                  <a:pt x="3519016" y="4588252"/>
                  <a:pt x="3517419" y="4587586"/>
                </a:cubicBezTo>
                <a:cubicBezTo>
                  <a:pt x="3515955" y="4586921"/>
                  <a:pt x="3514357" y="4586655"/>
                  <a:pt x="3512359" y="4586655"/>
                </a:cubicBezTo>
                <a:close/>
                <a:moveTo>
                  <a:pt x="3294835" y="4586655"/>
                </a:moveTo>
                <a:cubicBezTo>
                  <a:pt x="3288976" y="4586655"/>
                  <a:pt x="3286446" y="4588651"/>
                  <a:pt x="3284849" y="4590249"/>
                </a:cubicBezTo>
                <a:cubicBezTo>
                  <a:pt x="3282318" y="4592911"/>
                  <a:pt x="3281255" y="4595706"/>
                  <a:pt x="3281255" y="4599700"/>
                </a:cubicBezTo>
                <a:cubicBezTo>
                  <a:pt x="3281255" y="4603826"/>
                  <a:pt x="3282318" y="4606622"/>
                  <a:pt x="3284849" y="4609151"/>
                </a:cubicBezTo>
                <a:cubicBezTo>
                  <a:pt x="3286446" y="4610750"/>
                  <a:pt x="3288976" y="4612613"/>
                  <a:pt x="3294835" y="4612613"/>
                </a:cubicBezTo>
                <a:cubicBezTo>
                  <a:pt x="3296832" y="4612613"/>
                  <a:pt x="3298562" y="4612347"/>
                  <a:pt x="3300160" y="4611681"/>
                </a:cubicBezTo>
                <a:cubicBezTo>
                  <a:pt x="3301624" y="4611149"/>
                  <a:pt x="3302956" y="4610350"/>
                  <a:pt x="3303887" y="4609284"/>
                </a:cubicBezTo>
                <a:cubicBezTo>
                  <a:pt x="3304952" y="4608086"/>
                  <a:pt x="3305884" y="4606755"/>
                  <a:pt x="3306550" y="4605024"/>
                </a:cubicBezTo>
                <a:cubicBezTo>
                  <a:pt x="3307215" y="4603427"/>
                  <a:pt x="3307614" y="4601563"/>
                  <a:pt x="3307614" y="4599566"/>
                </a:cubicBezTo>
                <a:cubicBezTo>
                  <a:pt x="3307614" y="4597703"/>
                  <a:pt x="3307215" y="4595972"/>
                  <a:pt x="3306550" y="4594375"/>
                </a:cubicBezTo>
                <a:cubicBezTo>
                  <a:pt x="3305884" y="4592778"/>
                  <a:pt x="3304952" y="4591447"/>
                  <a:pt x="3303887" y="4590249"/>
                </a:cubicBezTo>
                <a:cubicBezTo>
                  <a:pt x="3302822" y="4589183"/>
                  <a:pt x="3301491" y="4588252"/>
                  <a:pt x="3299894" y="4587586"/>
                </a:cubicBezTo>
                <a:cubicBezTo>
                  <a:pt x="3298430" y="4586921"/>
                  <a:pt x="3296832" y="4586655"/>
                  <a:pt x="3294835" y="4586655"/>
                </a:cubicBezTo>
                <a:close/>
                <a:moveTo>
                  <a:pt x="3077310" y="4586655"/>
                </a:moveTo>
                <a:cubicBezTo>
                  <a:pt x="3071452" y="4586655"/>
                  <a:pt x="3068922" y="4588651"/>
                  <a:pt x="3067327" y="4590249"/>
                </a:cubicBezTo>
                <a:cubicBezTo>
                  <a:pt x="3064661" y="4592911"/>
                  <a:pt x="3063595" y="4595706"/>
                  <a:pt x="3063595" y="4599700"/>
                </a:cubicBezTo>
                <a:cubicBezTo>
                  <a:pt x="3063595" y="4603826"/>
                  <a:pt x="3064661" y="4606622"/>
                  <a:pt x="3067192" y="4609151"/>
                </a:cubicBezTo>
                <a:cubicBezTo>
                  <a:pt x="3068789" y="4610750"/>
                  <a:pt x="3071319" y="4612613"/>
                  <a:pt x="3077176" y="4612613"/>
                </a:cubicBezTo>
                <a:cubicBezTo>
                  <a:pt x="3079174" y="4612613"/>
                  <a:pt x="3080904" y="4612347"/>
                  <a:pt x="3082635" y="4611681"/>
                </a:cubicBezTo>
                <a:cubicBezTo>
                  <a:pt x="3084100" y="4611149"/>
                  <a:pt x="3085431" y="4610350"/>
                  <a:pt x="3086362" y="4609284"/>
                </a:cubicBezTo>
                <a:cubicBezTo>
                  <a:pt x="3087427" y="4608086"/>
                  <a:pt x="3088359" y="4606755"/>
                  <a:pt x="3089025" y="4605024"/>
                </a:cubicBezTo>
                <a:cubicBezTo>
                  <a:pt x="3089690" y="4603427"/>
                  <a:pt x="3089957" y="4601563"/>
                  <a:pt x="3089957" y="4599566"/>
                </a:cubicBezTo>
                <a:cubicBezTo>
                  <a:pt x="3089957" y="4597703"/>
                  <a:pt x="3089690" y="4595972"/>
                  <a:pt x="3089025" y="4594375"/>
                </a:cubicBezTo>
                <a:cubicBezTo>
                  <a:pt x="3088359" y="4592778"/>
                  <a:pt x="3087427" y="4591447"/>
                  <a:pt x="3086362" y="4590249"/>
                </a:cubicBezTo>
                <a:cubicBezTo>
                  <a:pt x="3085298" y="4589183"/>
                  <a:pt x="3083966" y="4588252"/>
                  <a:pt x="3082369" y="4587586"/>
                </a:cubicBezTo>
                <a:cubicBezTo>
                  <a:pt x="3080904" y="4586921"/>
                  <a:pt x="3079307" y="4586655"/>
                  <a:pt x="3077310" y="4586655"/>
                </a:cubicBezTo>
                <a:close/>
                <a:moveTo>
                  <a:pt x="2859518" y="4586655"/>
                </a:moveTo>
                <a:cubicBezTo>
                  <a:pt x="2853661" y="4586655"/>
                  <a:pt x="2851132" y="4588651"/>
                  <a:pt x="2849532" y="4590249"/>
                </a:cubicBezTo>
                <a:cubicBezTo>
                  <a:pt x="2846999" y="4592911"/>
                  <a:pt x="2845935" y="4595706"/>
                  <a:pt x="2845935" y="4599700"/>
                </a:cubicBezTo>
                <a:cubicBezTo>
                  <a:pt x="2845935" y="4603826"/>
                  <a:pt x="2846999" y="4606622"/>
                  <a:pt x="2849532" y="4609151"/>
                </a:cubicBezTo>
                <a:cubicBezTo>
                  <a:pt x="2851132" y="4610750"/>
                  <a:pt x="2853661" y="4612613"/>
                  <a:pt x="2859518" y="4612613"/>
                </a:cubicBezTo>
                <a:cubicBezTo>
                  <a:pt x="2861515" y="4612613"/>
                  <a:pt x="2863379" y="4612347"/>
                  <a:pt x="2864843" y="4611681"/>
                </a:cubicBezTo>
                <a:cubicBezTo>
                  <a:pt x="2866441" y="4611149"/>
                  <a:pt x="2867640" y="4610350"/>
                  <a:pt x="2868570" y="4609284"/>
                </a:cubicBezTo>
                <a:cubicBezTo>
                  <a:pt x="2869635" y="4608086"/>
                  <a:pt x="2870568" y="4606755"/>
                  <a:pt x="2871233" y="4605024"/>
                </a:cubicBezTo>
                <a:cubicBezTo>
                  <a:pt x="2871766" y="4603427"/>
                  <a:pt x="2872164" y="4601563"/>
                  <a:pt x="2872164" y="4599566"/>
                </a:cubicBezTo>
                <a:cubicBezTo>
                  <a:pt x="2872164" y="4597703"/>
                  <a:pt x="2871898" y="4595972"/>
                  <a:pt x="2871233" y="4594375"/>
                </a:cubicBezTo>
                <a:cubicBezTo>
                  <a:pt x="2870568" y="4592778"/>
                  <a:pt x="2869635" y="4591447"/>
                  <a:pt x="2868570" y="4590249"/>
                </a:cubicBezTo>
                <a:cubicBezTo>
                  <a:pt x="2867506" y="4589183"/>
                  <a:pt x="2866175" y="4588252"/>
                  <a:pt x="2864578" y="4587586"/>
                </a:cubicBezTo>
                <a:cubicBezTo>
                  <a:pt x="2863114" y="4586921"/>
                  <a:pt x="2861515" y="4586655"/>
                  <a:pt x="2859518" y="4586655"/>
                </a:cubicBezTo>
                <a:close/>
                <a:moveTo>
                  <a:pt x="2641860" y="4586655"/>
                </a:moveTo>
                <a:cubicBezTo>
                  <a:pt x="2636003" y="4586655"/>
                  <a:pt x="2633474" y="4588651"/>
                  <a:pt x="2631877" y="4590249"/>
                </a:cubicBezTo>
                <a:cubicBezTo>
                  <a:pt x="2629347" y="4592911"/>
                  <a:pt x="2628282" y="4595706"/>
                  <a:pt x="2628282" y="4599700"/>
                </a:cubicBezTo>
                <a:cubicBezTo>
                  <a:pt x="2628282" y="4603826"/>
                  <a:pt x="2629347" y="4606622"/>
                  <a:pt x="2631877" y="4609151"/>
                </a:cubicBezTo>
                <a:cubicBezTo>
                  <a:pt x="2633474" y="4610750"/>
                  <a:pt x="2636003" y="4612613"/>
                  <a:pt x="2641860" y="4612613"/>
                </a:cubicBezTo>
                <a:cubicBezTo>
                  <a:pt x="2643857" y="4612613"/>
                  <a:pt x="2645721" y="4612347"/>
                  <a:pt x="2647185" y="4611681"/>
                </a:cubicBezTo>
                <a:cubicBezTo>
                  <a:pt x="2648782" y="4611149"/>
                  <a:pt x="2649980" y="4610350"/>
                  <a:pt x="2650912" y="4609284"/>
                </a:cubicBezTo>
                <a:cubicBezTo>
                  <a:pt x="2651978" y="4608086"/>
                  <a:pt x="2652909" y="4606755"/>
                  <a:pt x="2653576" y="4605024"/>
                </a:cubicBezTo>
                <a:cubicBezTo>
                  <a:pt x="2654107" y="4603427"/>
                  <a:pt x="2654506" y="4601563"/>
                  <a:pt x="2654506" y="4599566"/>
                </a:cubicBezTo>
                <a:cubicBezTo>
                  <a:pt x="2654506" y="4597703"/>
                  <a:pt x="2654240" y="4595972"/>
                  <a:pt x="2653576" y="4594375"/>
                </a:cubicBezTo>
                <a:cubicBezTo>
                  <a:pt x="2652909" y="4592778"/>
                  <a:pt x="2651978" y="4591447"/>
                  <a:pt x="2650912" y="4590249"/>
                </a:cubicBezTo>
                <a:cubicBezTo>
                  <a:pt x="2649847" y="4589183"/>
                  <a:pt x="2648516" y="4588252"/>
                  <a:pt x="2646919" y="4587586"/>
                </a:cubicBezTo>
                <a:cubicBezTo>
                  <a:pt x="2645454" y="4586921"/>
                  <a:pt x="2643857" y="4586655"/>
                  <a:pt x="2641860" y="4586655"/>
                </a:cubicBezTo>
                <a:close/>
                <a:moveTo>
                  <a:pt x="2424201" y="4586655"/>
                </a:moveTo>
                <a:cubicBezTo>
                  <a:pt x="2418345" y="4586655"/>
                  <a:pt x="2415816" y="4588651"/>
                  <a:pt x="2414218" y="4590249"/>
                </a:cubicBezTo>
                <a:cubicBezTo>
                  <a:pt x="2411688" y="4592911"/>
                  <a:pt x="2410624" y="4595706"/>
                  <a:pt x="2410624" y="4599700"/>
                </a:cubicBezTo>
                <a:cubicBezTo>
                  <a:pt x="2410624" y="4603826"/>
                  <a:pt x="2411688" y="4606622"/>
                  <a:pt x="2414218" y="4609151"/>
                </a:cubicBezTo>
                <a:cubicBezTo>
                  <a:pt x="2415816" y="4610750"/>
                  <a:pt x="2418345" y="4612613"/>
                  <a:pt x="2424201" y="4612613"/>
                </a:cubicBezTo>
                <a:cubicBezTo>
                  <a:pt x="2426332" y="4612613"/>
                  <a:pt x="2428063" y="4612347"/>
                  <a:pt x="2429527" y="4611681"/>
                </a:cubicBezTo>
                <a:cubicBezTo>
                  <a:pt x="2431125" y="4611149"/>
                  <a:pt x="2432323" y="4610350"/>
                  <a:pt x="2433254" y="4609284"/>
                </a:cubicBezTo>
                <a:cubicBezTo>
                  <a:pt x="2434319" y="4608086"/>
                  <a:pt x="2435251" y="4606755"/>
                  <a:pt x="2435917" y="4605024"/>
                </a:cubicBezTo>
                <a:cubicBezTo>
                  <a:pt x="2436449" y="4603427"/>
                  <a:pt x="2436848" y="4601563"/>
                  <a:pt x="2436848" y="4599566"/>
                </a:cubicBezTo>
                <a:cubicBezTo>
                  <a:pt x="2436848" y="4597703"/>
                  <a:pt x="2436582" y="4595972"/>
                  <a:pt x="2435917" y="4594375"/>
                </a:cubicBezTo>
                <a:cubicBezTo>
                  <a:pt x="2435251" y="4592778"/>
                  <a:pt x="2434319" y="4591447"/>
                  <a:pt x="2433254" y="4590249"/>
                </a:cubicBezTo>
                <a:cubicBezTo>
                  <a:pt x="2432190" y="4589183"/>
                  <a:pt x="2430858" y="4588252"/>
                  <a:pt x="2429261" y="4587586"/>
                </a:cubicBezTo>
                <a:cubicBezTo>
                  <a:pt x="2427797" y="4586921"/>
                  <a:pt x="2426199" y="4586655"/>
                  <a:pt x="2424201" y="4586655"/>
                </a:cubicBezTo>
                <a:close/>
                <a:moveTo>
                  <a:pt x="2206544" y="4586655"/>
                </a:moveTo>
                <a:cubicBezTo>
                  <a:pt x="2200686" y="4586655"/>
                  <a:pt x="2198157" y="4588651"/>
                  <a:pt x="2196560" y="4590249"/>
                </a:cubicBezTo>
                <a:cubicBezTo>
                  <a:pt x="2194030" y="4592911"/>
                  <a:pt x="2192966" y="4595706"/>
                  <a:pt x="2192966" y="4599700"/>
                </a:cubicBezTo>
                <a:cubicBezTo>
                  <a:pt x="2192966" y="4603826"/>
                  <a:pt x="2194030" y="4606622"/>
                  <a:pt x="2196560" y="4609151"/>
                </a:cubicBezTo>
                <a:cubicBezTo>
                  <a:pt x="2198157" y="4610750"/>
                  <a:pt x="2200686" y="4612613"/>
                  <a:pt x="2206544" y="4612613"/>
                </a:cubicBezTo>
                <a:cubicBezTo>
                  <a:pt x="2208673" y="4612613"/>
                  <a:pt x="2210405" y="4612347"/>
                  <a:pt x="2211868" y="4611681"/>
                </a:cubicBezTo>
                <a:cubicBezTo>
                  <a:pt x="2213466" y="4611149"/>
                  <a:pt x="2214664" y="4610350"/>
                  <a:pt x="2215595" y="4609284"/>
                </a:cubicBezTo>
                <a:cubicBezTo>
                  <a:pt x="2216661" y="4608086"/>
                  <a:pt x="2217592" y="4606755"/>
                  <a:pt x="2218259" y="4605024"/>
                </a:cubicBezTo>
                <a:cubicBezTo>
                  <a:pt x="2218791" y="4603427"/>
                  <a:pt x="2219190" y="4601563"/>
                  <a:pt x="2219190" y="4599566"/>
                </a:cubicBezTo>
                <a:cubicBezTo>
                  <a:pt x="2219190" y="4597703"/>
                  <a:pt x="2218924" y="4595972"/>
                  <a:pt x="2218259" y="4594375"/>
                </a:cubicBezTo>
                <a:cubicBezTo>
                  <a:pt x="2217592" y="4592778"/>
                  <a:pt x="2216661" y="4591447"/>
                  <a:pt x="2215595" y="4590249"/>
                </a:cubicBezTo>
                <a:cubicBezTo>
                  <a:pt x="2214530" y="4589183"/>
                  <a:pt x="2213200" y="4588252"/>
                  <a:pt x="2211602" y="4587586"/>
                </a:cubicBezTo>
                <a:cubicBezTo>
                  <a:pt x="2210138" y="4586921"/>
                  <a:pt x="2208540" y="4586655"/>
                  <a:pt x="2206544" y="4586655"/>
                </a:cubicBezTo>
                <a:close/>
                <a:moveTo>
                  <a:pt x="1989018" y="4586655"/>
                </a:moveTo>
                <a:cubicBezTo>
                  <a:pt x="1983161" y="4586655"/>
                  <a:pt x="1980632" y="4588651"/>
                  <a:pt x="1979035" y="4590249"/>
                </a:cubicBezTo>
                <a:cubicBezTo>
                  <a:pt x="1976505" y="4592911"/>
                  <a:pt x="1975441" y="4595706"/>
                  <a:pt x="1975441" y="4599700"/>
                </a:cubicBezTo>
                <a:cubicBezTo>
                  <a:pt x="1975441" y="4603826"/>
                  <a:pt x="1976505" y="4606622"/>
                  <a:pt x="1979035" y="4609151"/>
                </a:cubicBezTo>
                <a:cubicBezTo>
                  <a:pt x="1980632" y="4610750"/>
                  <a:pt x="1983161" y="4612613"/>
                  <a:pt x="1989018" y="4612613"/>
                </a:cubicBezTo>
                <a:cubicBezTo>
                  <a:pt x="1991015" y="4612613"/>
                  <a:pt x="1992746" y="4612347"/>
                  <a:pt x="1994343" y="4611681"/>
                </a:cubicBezTo>
                <a:cubicBezTo>
                  <a:pt x="1995941" y="4611149"/>
                  <a:pt x="1997139" y="4610350"/>
                  <a:pt x="1998070" y="4609284"/>
                </a:cubicBezTo>
                <a:cubicBezTo>
                  <a:pt x="1999135" y="4608086"/>
                  <a:pt x="2000067" y="4606755"/>
                  <a:pt x="2000733" y="4605024"/>
                </a:cubicBezTo>
                <a:cubicBezTo>
                  <a:pt x="2001265" y="4603427"/>
                  <a:pt x="2001664" y="4601563"/>
                  <a:pt x="2001664" y="4599566"/>
                </a:cubicBezTo>
                <a:cubicBezTo>
                  <a:pt x="2001664" y="4597703"/>
                  <a:pt x="2001398" y="4595972"/>
                  <a:pt x="2000733" y="4594375"/>
                </a:cubicBezTo>
                <a:cubicBezTo>
                  <a:pt x="2000067" y="4592778"/>
                  <a:pt x="1999135" y="4591447"/>
                  <a:pt x="1998070" y="4590249"/>
                </a:cubicBezTo>
                <a:cubicBezTo>
                  <a:pt x="1997006" y="4589183"/>
                  <a:pt x="1995674" y="4588252"/>
                  <a:pt x="1994077" y="4587586"/>
                </a:cubicBezTo>
                <a:cubicBezTo>
                  <a:pt x="1992613" y="4586921"/>
                  <a:pt x="1991015" y="4586655"/>
                  <a:pt x="1989018" y="4586655"/>
                </a:cubicBezTo>
                <a:close/>
                <a:moveTo>
                  <a:pt x="1771382" y="4586655"/>
                </a:moveTo>
                <a:cubicBezTo>
                  <a:pt x="1765525" y="4586655"/>
                  <a:pt x="1762997" y="4588651"/>
                  <a:pt x="1761400" y="4590249"/>
                </a:cubicBezTo>
                <a:cubicBezTo>
                  <a:pt x="1758871" y="4592911"/>
                  <a:pt x="1757806" y="4595706"/>
                  <a:pt x="1757806" y="4599700"/>
                </a:cubicBezTo>
                <a:cubicBezTo>
                  <a:pt x="1757806" y="4603826"/>
                  <a:pt x="1758871" y="4606622"/>
                  <a:pt x="1761400" y="4609151"/>
                </a:cubicBezTo>
                <a:cubicBezTo>
                  <a:pt x="1762997" y="4610750"/>
                  <a:pt x="1765525" y="4612613"/>
                  <a:pt x="1771382" y="4612613"/>
                </a:cubicBezTo>
                <a:cubicBezTo>
                  <a:pt x="1773380" y="4612613"/>
                  <a:pt x="1775243" y="4612347"/>
                  <a:pt x="1776707" y="4611681"/>
                </a:cubicBezTo>
                <a:cubicBezTo>
                  <a:pt x="1778171" y="4611149"/>
                  <a:pt x="1779501" y="4610350"/>
                  <a:pt x="1780434" y="4609284"/>
                </a:cubicBezTo>
                <a:cubicBezTo>
                  <a:pt x="1781499" y="4608086"/>
                  <a:pt x="1782430" y="4606755"/>
                  <a:pt x="1783096" y="4605024"/>
                </a:cubicBezTo>
                <a:cubicBezTo>
                  <a:pt x="1783761" y="4603427"/>
                  <a:pt x="1784161" y="4601563"/>
                  <a:pt x="1784161" y="4599566"/>
                </a:cubicBezTo>
                <a:cubicBezTo>
                  <a:pt x="1784161" y="4597703"/>
                  <a:pt x="1783761" y="4595972"/>
                  <a:pt x="1783096" y="4594375"/>
                </a:cubicBezTo>
                <a:cubicBezTo>
                  <a:pt x="1782430" y="4592778"/>
                  <a:pt x="1781499" y="4591447"/>
                  <a:pt x="1780434" y="4590249"/>
                </a:cubicBezTo>
                <a:cubicBezTo>
                  <a:pt x="1779369" y="4589183"/>
                  <a:pt x="1778039" y="4588252"/>
                  <a:pt x="1776441" y="4587586"/>
                </a:cubicBezTo>
                <a:cubicBezTo>
                  <a:pt x="1774977" y="4586921"/>
                  <a:pt x="1773380" y="4586655"/>
                  <a:pt x="1771382" y="4586655"/>
                </a:cubicBezTo>
                <a:close/>
                <a:moveTo>
                  <a:pt x="1553744" y="4586655"/>
                </a:moveTo>
                <a:cubicBezTo>
                  <a:pt x="1547887" y="4586655"/>
                  <a:pt x="1545358" y="4588651"/>
                  <a:pt x="1543761" y="4590249"/>
                </a:cubicBezTo>
                <a:cubicBezTo>
                  <a:pt x="1541231" y="4592911"/>
                  <a:pt x="1540167" y="4595706"/>
                  <a:pt x="1540167" y="4599700"/>
                </a:cubicBezTo>
                <a:cubicBezTo>
                  <a:pt x="1540167" y="4603826"/>
                  <a:pt x="1541231" y="4606622"/>
                  <a:pt x="1543761" y="4609151"/>
                </a:cubicBezTo>
                <a:cubicBezTo>
                  <a:pt x="1545358" y="4610750"/>
                  <a:pt x="1547887" y="4612613"/>
                  <a:pt x="1553744" y="4612613"/>
                </a:cubicBezTo>
                <a:cubicBezTo>
                  <a:pt x="1555741" y="4612613"/>
                  <a:pt x="1557605" y="4612347"/>
                  <a:pt x="1559069" y="4611681"/>
                </a:cubicBezTo>
                <a:cubicBezTo>
                  <a:pt x="1560533" y="4611149"/>
                  <a:pt x="1561865" y="4610350"/>
                  <a:pt x="1562796" y="4609284"/>
                </a:cubicBezTo>
                <a:cubicBezTo>
                  <a:pt x="1563861" y="4608086"/>
                  <a:pt x="1564793" y="4606755"/>
                  <a:pt x="1565459" y="4605024"/>
                </a:cubicBezTo>
                <a:cubicBezTo>
                  <a:pt x="1566124" y="4603427"/>
                  <a:pt x="1566524" y="4601563"/>
                  <a:pt x="1566524" y="4599566"/>
                </a:cubicBezTo>
                <a:cubicBezTo>
                  <a:pt x="1566524" y="4597703"/>
                  <a:pt x="1566124" y="4595972"/>
                  <a:pt x="1565459" y="4594375"/>
                </a:cubicBezTo>
                <a:cubicBezTo>
                  <a:pt x="1564793" y="4592778"/>
                  <a:pt x="1563861" y="4591447"/>
                  <a:pt x="1562796" y="4590249"/>
                </a:cubicBezTo>
                <a:cubicBezTo>
                  <a:pt x="1561731" y="4589183"/>
                  <a:pt x="1560400" y="4588252"/>
                  <a:pt x="1558803" y="4587586"/>
                </a:cubicBezTo>
                <a:cubicBezTo>
                  <a:pt x="1557339" y="4586921"/>
                  <a:pt x="1555741" y="4586655"/>
                  <a:pt x="1553744" y="4586655"/>
                </a:cubicBezTo>
                <a:close/>
                <a:moveTo>
                  <a:pt x="1336100" y="4586655"/>
                </a:moveTo>
                <a:cubicBezTo>
                  <a:pt x="1330242" y="4586655"/>
                  <a:pt x="1327713" y="4588651"/>
                  <a:pt x="1326117" y="4590249"/>
                </a:cubicBezTo>
                <a:cubicBezTo>
                  <a:pt x="1323586" y="4592911"/>
                  <a:pt x="1322522" y="4595706"/>
                  <a:pt x="1322522" y="4599700"/>
                </a:cubicBezTo>
                <a:cubicBezTo>
                  <a:pt x="1322522" y="4603826"/>
                  <a:pt x="1323586" y="4606622"/>
                  <a:pt x="1326117" y="4609151"/>
                </a:cubicBezTo>
                <a:cubicBezTo>
                  <a:pt x="1327713" y="4610750"/>
                  <a:pt x="1330242" y="4612613"/>
                  <a:pt x="1336100" y="4612613"/>
                </a:cubicBezTo>
                <a:cubicBezTo>
                  <a:pt x="1338231" y="4612613"/>
                  <a:pt x="1339960" y="4612347"/>
                  <a:pt x="1341426" y="4611681"/>
                </a:cubicBezTo>
                <a:cubicBezTo>
                  <a:pt x="1342890" y="4611149"/>
                  <a:pt x="1344221" y="4610350"/>
                  <a:pt x="1345154" y="4609284"/>
                </a:cubicBezTo>
                <a:cubicBezTo>
                  <a:pt x="1346218" y="4608086"/>
                  <a:pt x="1347151" y="4606755"/>
                  <a:pt x="1347816" y="4605024"/>
                </a:cubicBezTo>
                <a:cubicBezTo>
                  <a:pt x="1348482" y="4603427"/>
                  <a:pt x="1348882" y="4601563"/>
                  <a:pt x="1348882" y="4599566"/>
                </a:cubicBezTo>
                <a:cubicBezTo>
                  <a:pt x="1348882" y="4597703"/>
                  <a:pt x="1348482" y="4595972"/>
                  <a:pt x="1347816" y="4594375"/>
                </a:cubicBezTo>
                <a:cubicBezTo>
                  <a:pt x="1347151" y="4592778"/>
                  <a:pt x="1346218" y="4591447"/>
                  <a:pt x="1345154" y="4590249"/>
                </a:cubicBezTo>
                <a:cubicBezTo>
                  <a:pt x="1344088" y="4589183"/>
                  <a:pt x="1342758" y="4588252"/>
                  <a:pt x="1341159" y="4587586"/>
                </a:cubicBezTo>
                <a:cubicBezTo>
                  <a:pt x="1339695" y="4586921"/>
                  <a:pt x="1338097" y="4586655"/>
                  <a:pt x="1336100" y="4586655"/>
                </a:cubicBezTo>
                <a:close/>
                <a:moveTo>
                  <a:pt x="1118588" y="4586655"/>
                </a:moveTo>
                <a:cubicBezTo>
                  <a:pt x="1112729" y="4586655"/>
                  <a:pt x="1110200" y="4588651"/>
                  <a:pt x="1108603" y="4590249"/>
                </a:cubicBezTo>
                <a:cubicBezTo>
                  <a:pt x="1105940" y="4592911"/>
                  <a:pt x="1104876" y="4595706"/>
                  <a:pt x="1104876" y="4599700"/>
                </a:cubicBezTo>
                <a:cubicBezTo>
                  <a:pt x="1104876" y="4603826"/>
                  <a:pt x="1105940" y="4606622"/>
                  <a:pt x="1108470" y="4609151"/>
                </a:cubicBezTo>
                <a:cubicBezTo>
                  <a:pt x="1110067" y="4610750"/>
                  <a:pt x="1112597" y="4612613"/>
                  <a:pt x="1118455" y="4612613"/>
                </a:cubicBezTo>
                <a:cubicBezTo>
                  <a:pt x="1120585" y="4612613"/>
                  <a:pt x="1122317" y="4612347"/>
                  <a:pt x="1123912" y="4611681"/>
                </a:cubicBezTo>
                <a:cubicBezTo>
                  <a:pt x="1125377" y="4611149"/>
                  <a:pt x="1126712" y="4610350"/>
                  <a:pt x="1127642" y="4609284"/>
                </a:cubicBezTo>
                <a:cubicBezTo>
                  <a:pt x="1128707" y="4608086"/>
                  <a:pt x="1129639" y="4606755"/>
                  <a:pt x="1130305" y="4605024"/>
                </a:cubicBezTo>
                <a:cubicBezTo>
                  <a:pt x="1130969" y="4603427"/>
                  <a:pt x="1131370" y="4601563"/>
                  <a:pt x="1131370" y="4599566"/>
                </a:cubicBezTo>
                <a:cubicBezTo>
                  <a:pt x="1131370" y="4597703"/>
                  <a:pt x="1130969" y="4595972"/>
                  <a:pt x="1130305" y="4594375"/>
                </a:cubicBezTo>
                <a:cubicBezTo>
                  <a:pt x="1129639" y="4592778"/>
                  <a:pt x="1128707" y="4591447"/>
                  <a:pt x="1127642" y="4590249"/>
                </a:cubicBezTo>
                <a:cubicBezTo>
                  <a:pt x="1126576" y="4589183"/>
                  <a:pt x="1125244" y="4588252"/>
                  <a:pt x="1123646" y="4587586"/>
                </a:cubicBezTo>
                <a:cubicBezTo>
                  <a:pt x="1122183" y="4586921"/>
                  <a:pt x="1120585" y="4586655"/>
                  <a:pt x="1118588" y="4586655"/>
                </a:cubicBezTo>
                <a:close/>
                <a:moveTo>
                  <a:pt x="901076" y="4586655"/>
                </a:moveTo>
                <a:cubicBezTo>
                  <a:pt x="895218" y="4586655"/>
                  <a:pt x="892689" y="4588651"/>
                  <a:pt x="891092" y="4590249"/>
                </a:cubicBezTo>
                <a:cubicBezTo>
                  <a:pt x="888429" y="4592911"/>
                  <a:pt x="887365" y="4595706"/>
                  <a:pt x="887365" y="4599700"/>
                </a:cubicBezTo>
                <a:cubicBezTo>
                  <a:pt x="887365" y="4603826"/>
                  <a:pt x="888429" y="4606622"/>
                  <a:pt x="890959" y="4609151"/>
                </a:cubicBezTo>
                <a:cubicBezTo>
                  <a:pt x="892556" y="4610750"/>
                  <a:pt x="895085" y="4612613"/>
                  <a:pt x="900942" y="4612613"/>
                </a:cubicBezTo>
                <a:cubicBezTo>
                  <a:pt x="902939" y="4612613"/>
                  <a:pt x="904670" y="4612347"/>
                  <a:pt x="906400" y="4611681"/>
                </a:cubicBezTo>
                <a:cubicBezTo>
                  <a:pt x="907864" y="4611149"/>
                  <a:pt x="909196" y="4610350"/>
                  <a:pt x="910128" y="4609284"/>
                </a:cubicBezTo>
                <a:cubicBezTo>
                  <a:pt x="911192" y="4608086"/>
                  <a:pt x="912124" y="4606755"/>
                  <a:pt x="912790" y="4605024"/>
                </a:cubicBezTo>
                <a:cubicBezTo>
                  <a:pt x="913455" y="4603427"/>
                  <a:pt x="913855" y="4601563"/>
                  <a:pt x="913855" y="4599566"/>
                </a:cubicBezTo>
                <a:cubicBezTo>
                  <a:pt x="913855" y="4597703"/>
                  <a:pt x="913455" y="4595972"/>
                  <a:pt x="912790" y="4594375"/>
                </a:cubicBezTo>
                <a:cubicBezTo>
                  <a:pt x="912124" y="4592778"/>
                  <a:pt x="911192" y="4591447"/>
                  <a:pt x="910128" y="4590249"/>
                </a:cubicBezTo>
                <a:cubicBezTo>
                  <a:pt x="909063" y="4589183"/>
                  <a:pt x="907731" y="4588252"/>
                  <a:pt x="906134" y="4587586"/>
                </a:cubicBezTo>
                <a:cubicBezTo>
                  <a:pt x="904670" y="4586921"/>
                  <a:pt x="903072" y="4586655"/>
                  <a:pt x="901076" y="4586655"/>
                </a:cubicBezTo>
                <a:close/>
                <a:moveTo>
                  <a:pt x="683301" y="4586655"/>
                </a:moveTo>
                <a:cubicBezTo>
                  <a:pt x="677444" y="4586655"/>
                  <a:pt x="674915" y="4588651"/>
                  <a:pt x="673318" y="4590249"/>
                </a:cubicBezTo>
                <a:cubicBezTo>
                  <a:pt x="670788" y="4592911"/>
                  <a:pt x="669724" y="4595706"/>
                  <a:pt x="669724" y="4599700"/>
                </a:cubicBezTo>
                <a:cubicBezTo>
                  <a:pt x="669724" y="4603826"/>
                  <a:pt x="670788" y="4606622"/>
                  <a:pt x="673318" y="4609151"/>
                </a:cubicBezTo>
                <a:cubicBezTo>
                  <a:pt x="674915" y="4610750"/>
                  <a:pt x="677444" y="4612613"/>
                  <a:pt x="683301" y="4612613"/>
                </a:cubicBezTo>
                <a:cubicBezTo>
                  <a:pt x="685298" y="4612613"/>
                  <a:pt x="687162" y="4612347"/>
                  <a:pt x="688626" y="4611681"/>
                </a:cubicBezTo>
                <a:cubicBezTo>
                  <a:pt x="690090" y="4611149"/>
                  <a:pt x="691422" y="4610350"/>
                  <a:pt x="692353" y="4609284"/>
                </a:cubicBezTo>
                <a:cubicBezTo>
                  <a:pt x="693418" y="4608086"/>
                  <a:pt x="694350" y="4606755"/>
                  <a:pt x="695016" y="4605024"/>
                </a:cubicBezTo>
                <a:cubicBezTo>
                  <a:pt x="695681" y="4603427"/>
                  <a:pt x="696081" y="4601563"/>
                  <a:pt x="696081" y="4599566"/>
                </a:cubicBezTo>
                <a:cubicBezTo>
                  <a:pt x="696081" y="4597703"/>
                  <a:pt x="695681" y="4595972"/>
                  <a:pt x="695016" y="4594375"/>
                </a:cubicBezTo>
                <a:cubicBezTo>
                  <a:pt x="694350" y="4592778"/>
                  <a:pt x="693418" y="4591447"/>
                  <a:pt x="692353" y="4590249"/>
                </a:cubicBezTo>
                <a:cubicBezTo>
                  <a:pt x="691288" y="4589183"/>
                  <a:pt x="689957" y="4588252"/>
                  <a:pt x="688360" y="4587586"/>
                </a:cubicBezTo>
                <a:cubicBezTo>
                  <a:pt x="686896" y="4586921"/>
                  <a:pt x="685298" y="4586655"/>
                  <a:pt x="683301" y="4586655"/>
                </a:cubicBezTo>
                <a:close/>
                <a:moveTo>
                  <a:pt x="465659" y="4586655"/>
                </a:moveTo>
                <a:cubicBezTo>
                  <a:pt x="459802" y="4586655"/>
                  <a:pt x="457273" y="4588651"/>
                  <a:pt x="455676" y="4590249"/>
                </a:cubicBezTo>
                <a:cubicBezTo>
                  <a:pt x="453146" y="4592911"/>
                  <a:pt x="452082" y="4595706"/>
                  <a:pt x="452082" y="4599700"/>
                </a:cubicBezTo>
                <a:cubicBezTo>
                  <a:pt x="452082" y="4603826"/>
                  <a:pt x="453146" y="4606622"/>
                  <a:pt x="455676" y="4609151"/>
                </a:cubicBezTo>
                <a:cubicBezTo>
                  <a:pt x="457273" y="4610750"/>
                  <a:pt x="459802" y="4612613"/>
                  <a:pt x="465659" y="4612613"/>
                </a:cubicBezTo>
                <a:cubicBezTo>
                  <a:pt x="467656" y="4612613"/>
                  <a:pt x="469520" y="4612347"/>
                  <a:pt x="470984" y="4611681"/>
                </a:cubicBezTo>
                <a:cubicBezTo>
                  <a:pt x="472448" y="4611149"/>
                  <a:pt x="473780" y="4610350"/>
                  <a:pt x="474711" y="4609284"/>
                </a:cubicBezTo>
                <a:cubicBezTo>
                  <a:pt x="475776" y="4608086"/>
                  <a:pt x="476708" y="4606755"/>
                  <a:pt x="477375" y="4605024"/>
                </a:cubicBezTo>
                <a:cubicBezTo>
                  <a:pt x="478040" y="4603427"/>
                  <a:pt x="478439" y="4601563"/>
                  <a:pt x="478439" y="4599566"/>
                </a:cubicBezTo>
                <a:cubicBezTo>
                  <a:pt x="478439" y="4597703"/>
                  <a:pt x="478040" y="4595972"/>
                  <a:pt x="477375" y="4594375"/>
                </a:cubicBezTo>
                <a:cubicBezTo>
                  <a:pt x="476708" y="4592778"/>
                  <a:pt x="475776" y="4591447"/>
                  <a:pt x="474711" y="4590249"/>
                </a:cubicBezTo>
                <a:cubicBezTo>
                  <a:pt x="473647" y="4589183"/>
                  <a:pt x="472315" y="4588252"/>
                  <a:pt x="470718" y="4587586"/>
                </a:cubicBezTo>
                <a:cubicBezTo>
                  <a:pt x="469254" y="4586921"/>
                  <a:pt x="467656" y="4586655"/>
                  <a:pt x="465659" y="4586655"/>
                </a:cubicBezTo>
                <a:close/>
                <a:moveTo>
                  <a:pt x="248017" y="4586655"/>
                </a:moveTo>
                <a:cubicBezTo>
                  <a:pt x="242160" y="4586655"/>
                  <a:pt x="239631" y="4588651"/>
                  <a:pt x="238035" y="4590249"/>
                </a:cubicBezTo>
                <a:cubicBezTo>
                  <a:pt x="235505" y="4592911"/>
                  <a:pt x="234441" y="4595706"/>
                  <a:pt x="234441" y="4599700"/>
                </a:cubicBezTo>
                <a:cubicBezTo>
                  <a:pt x="234441" y="4603826"/>
                  <a:pt x="235505" y="4606622"/>
                  <a:pt x="238035" y="4609151"/>
                </a:cubicBezTo>
                <a:cubicBezTo>
                  <a:pt x="239631" y="4610750"/>
                  <a:pt x="242160" y="4612613"/>
                  <a:pt x="248017" y="4612613"/>
                </a:cubicBezTo>
                <a:cubicBezTo>
                  <a:pt x="250147" y="4612613"/>
                  <a:pt x="251878" y="4612347"/>
                  <a:pt x="253342" y="4611681"/>
                </a:cubicBezTo>
                <a:cubicBezTo>
                  <a:pt x="254806" y="4611149"/>
                  <a:pt x="256136" y="4610350"/>
                  <a:pt x="257069" y="4609284"/>
                </a:cubicBezTo>
                <a:cubicBezTo>
                  <a:pt x="258133" y="4608086"/>
                  <a:pt x="259066" y="4606755"/>
                  <a:pt x="259732" y="4605024"/>
                </a:cubicBezTo>
                <a:cubicBezTo>
                  <a:pt x="260397" y="4603427"/>
                  <a:pt x="260797" y="4601563"/>
                  <a:pt x="260797" y="4599566"/>
                </a:cubicBezTo>
                <a:cubicBezTo>
                  <a:pt x="260797" y="4597703"/>
                  <a:pt x="260397" y="4595972"/>
                  <a:pt x="259732" y="4594375"/>
                </a:cubicBezTo>
                <a:cubicBezTo>
                  <a:pt x="259066" y="4592778"/>
                  <a:pt x="258133" y="4591447"/>
                  <a:pt x="257069" y="4590249"/>
                </a:cubicBezTo>
                <a:cubicBezTo>
                  <a:pt x="256004" y="4589183"/>
                  <a:pt x="254673" y="4588252"/>
                  <a:pt x="253076" y="4587586"/>
                </a:cubicBezTo>
                <a:cubicBezTo>
                  <a:pt x="251611" y="4586921"/>
                  <a:pt x="250014" y="4586655"/>
                  <a:pt x="248017" y="4586655"/>
                </a:cubicBezTo>
                <a:close/>
                <a:moveTo>
                  <a:pt x="30375" y="4586655"/>
                </a:moveTo>
                <a:cubicBezTo>
                  <a:pt x="24518" y="4586655"/>
                  <a:pt x="21989" y="4588651"/>
                  <a:pt x="20392" y="4590249"/>
                </a:cubicBezTo>
                <a:cubicBezTo>
                  <a:pt x="17862" y="4592911"/>
                  <a:pt x="16799" y="4595706"/>
                  <a:pt x="16799" y="4599700"/>
                </a:cubicBezTo>
                <a:cubicBezTo>
                  <a:pt x="16799" y="4603826"/>
                  <a:pt x="17862" y="4606622"/>
                  <a:pt x="20392" y="4609151"/>
                </a:cubicBezTo>
                <a:cubicBezTo>
                  <a:pt x="21989" y="4610750"/>
                  <a:pt x="24518" y="4612613"/>
                  <a:pt x="30375" y="4612613"/>
                </a:cubicBezTo>
                <a:cubicBezTo>
                  <a:pt x="32505" y="4612613"/>
                  <a:pt x="34236" y="4612347"/>
                  <a:pt x="35700" y="4611681"/>
                </a:cubicBezTo>
                <a:cubicBezTo>
                  <a:pt x="37164" y="4611149"/>
                  <a:pt x="38496" y="4610350"/>
                  <a:pt x="39427" y="4609284"/>
                </a:cubicBezTo>
                <a:cubicBezTo>
                  <a:pt x="40492" y="4608086"/>
                  <a:pt x="41424" y="4606755"/>
                  <a:pt x="42090" y="4605024"/>
                </a:cubicBezTo>
                <a:cubicBezTo>
                  <a:pt x="42755" y="4603427"/>
                  <a:pt x="43021" y="4601563"/>
                  <a:pt x="43021" y="4599566"/>
                </a:cubicBezTo>
                <a:cubicBezTo>
                  <a:pt x="43021" y="4597703"/>
                  <a:pt x="42755" y="4595972"/>
                  <a:pt x="42090" y="4594375"/>
                </a:cubicBezTo>
                <a:cubicBezTo>
                  <a:pt x="41424" y="4592778"/>
                  <a:pt x="40492" y="4591447"/>
                  <a:pt x="39427" y="4590249"/>
                </a:cubicBezTo>
                <a:cubicBezTo>
                  <a:pt x="38362" y="4589183"/>
                  <a:pt x="37031" y="4588252"/>
                  <a:pt x="35434" y="4587586"/>
                </a:cubicBezTo>
                <a:cubicBezTo>
                  <a:pt x="33970" y="4586921"/>
                  <a:pt x="32372" y="4586655"/>
                  <a:pt x="30375" y="4586655"/>
                </a:cubicBezTo>
                <a:close/>
                <a:moveTo>
                  <a:pt x="10475977" y="4570015"/>
                </a:moveTo>
                <a:cubicBezTo>
                  <a:pt x="10480237" y="4570015"/>
                  <a:pt x="10484230" y="4570814"/>
                  <a:pt x="10487824" y="4572677"/>
                </a:cubicBezTo>
                <a:cubicBezTo>
                  <a:pt x="10491419" y="4574274"/>
                  <a:pt x="10494613" y="4576404"/>
                  <a:pt x="10497143" y="4579067"/>
                </a:cubicBezTo>
                <a:cubicBezTo>
                  <a:pt x="10499672" y="4581596"/>
                  <a:pt x="10501801" y="4584791"/>
                  <a:pt x="10503266" y="4588385"/>
                </a:cubicBezTo>
                <a:cubicBezTo>
                  <a:pt x="10504730" y="4591979"/>
                  <a:pt x="10505529" y="4595839"/>
                  <a:pt x="10505529" y="4599833"/>
                </a:cubicBezTo>
                <a:cubicBezTo>
                  <a:pt x="10505529" y="4603959"/>
                  <a:pt x="10504730" y="4607953"/>
                  <a:pt x="10503266" y="4611548"/>
                </a:cubicBezTo>
                <a:cubicBezTo>
                  <a:pt x="10501669" y="4615142"/>
                  <a:pt x="10499672" y="4618204"/>
                  <a:pt x="10497143" y="4620866"/>
                </a:cubicBezTo>
                <a:cubicBezTo>
                  <a:pt x="10494480" y="4623529"/>
                  <a:pt x="10491419" y="4625659"/>
                  <a:pt x="10487824" y="4627123"/>
                </a:cubicBezTo>
                <a:cubicBezTo>
                  <a:pt x="10484098" y="4628587"/>
                  <a:pt x="10480237" y="4629386"/>
                  <a:pt x="10475977" y="4629386"/>
                </a:cubicBezTo>
                <a:cubicBezTo>
                  <a:pt x="10466924" y="4629386"/>
                  <a:pt x="10459736" y="4626457"/>
                  <a:pt x="10454145" y="4620866"/>
                </a:cubicBezTo>
                <a:cubicBezTo>
                  <a:pt x="10448554" y="4615275"/>
                  <a:pt x="10445759" y="4608219"/>
                  <a:pt x="10445759" y="4599700"/>
                </a:cubicBezTo>
                <a:cubicBezTo>
                  <a:pt x="10445759" y="4591447"/>
                  <a:pt x="10448554" y="4584391"/>
                  <a:pt x="10454145" y="4578667"/>
                </a:cubicBezTo>
                <a:cubicBezTo>
                  <a:pt x="10459603" y="4572943"/>
                  <a:pt x="10466924" y="4570015"/>
                  <a:pt x="10475977" y="4570015"/>
                </a:cubicBezTo>
                <a:close/>
                <a:moveTo>
                  <a:pt x="10258466" y="4570015"/>
                </a:moveTo>
                <a:cubicBezTo>
                  <a:pt x="10262592" y="4570015"/>
                  <a:pt x="10266586" y="4570814"/>
                  <a:pt x="10270313" y="4572677"/>
                </a:cubicBezTo>
                <a:cubicBezTo>
                  <a:pt x="10273907" y="4574274"/>
                  <a:pt x="10277101" y="4576404"/>
                  <a:pt x="10279631" y="4579067"/>
                </a:cubicBezTo>
                <a:cubicBezTo>
                  <a:pt x="10282160" y="4581596"/>
                  <a:pt x="10284290" y="4584791"/>
                  <a:pt x="10285754" y="4588385"/>
                </a:cubicBezTo>
                <a:cubicBezTo>
                  <a:pt x="10287218" y="4591979"/>
                  <a:pt x="10288017" y="4595839"/>
                  <a:pt x="10288017" y="4599833"/>
                </a:cubicBezTo>
                <a:cubicBezTo>
                  <a:pt x="10288017" y="4603959"/>
                  <a:pt x="10287218" y="4607953"/>
                  <a:pt x="10285754" y="4611548"/>
                </a:cubicBezTo>
                <a:cubicBezTo>
                  <a:pt x="10284157" y="4615142"/>
                  <a:pt x="10282160" y="4618204"/>
                  <a:pt x="10279631" y="4620866"/>
                </a:cubicBezTo>
                <a:cubicBezTo>
                  <a:pt x="10276969" y="4623529"/>
                  <a:pt x="10273907" y="4625659"/>
                  <a:pt x="10270313" y="4627123"/>
                </a:cubicBezTo>
                <a:cubicBezTo>
                  <a:pt x="10266586" y="4628587"/>
                  <a:pt x="10262725" y="4629386"/>
                  <a:pt x="10258466" y="4629386"/>
                </a:cubicBezTo>
                <a:cubicBezTo>
                  <a:pt x="10249546" y="4629386"/>
                  <a:pt x="10242224" y="4626457"/>
                  <a:pt x="10236633" y="4620866"/>
                </a:cubicBezTo>
                <a:cubicBezTo>
                  <a:pt x="10231043" y="4615275"/>
                  <a:pt x="10228247" y="4608219"/>
                  <a:pt x="10228247" y="4599700"/>
                </a:cubicBezTo>
                <a:cubicBezTo>
                  <a:pt x="10228247" y="4591447"/>
                  <a:pt x="10231176" y="4584391"/>
                  <a:pt x="10236633" y="4578667"/>
                </a:cubicBezTo>
                <a:cubicBezTo>
                  <a:pt x="10242092" y="4572943"/>
                  <a:pt x="10249413" y="4570015"/>
                  <a:pt x="10258466" y="4570015"/>
                </a:cubicBezTo>
                <a:close/>
                <a:moveTo>
                  <a:pt x="10040820" y="4570015"/>
                </a:moveTo>
                <a:cubicBezTo>
                  <a:pt x="10045080" y="4570015"/>
                  <a:pt x="10048941" y="4570814"/>
                  <a:pt x="10052534" y="4572677"/>
                </a:cubicBezTo>
                <a:cubicBezTo>
                  <a:pt x="10056129" y="4574274"/>
                  <a:pt x="10059323" y="4576404"/>
                  <a:pt x="10061852" y="4579067"/>
                </a:cubicBezTo>
                <a:cubicBezTo>
                  <a:pt x="10064382" y="4581596"/>
                  <a:pt x="10066512" y="4584791"/>
                  <a:pt x="10067976" y="4588385"/>
                </a:cubicBezTo>
                <a:cubicBezTo>
                  <a:pt x="10069440" y="4591979"/>
                  <a:pt x="10070239" y="4595839"/>
                  <a:pt x="10070239" y="4599833"/>
                </a:cubicBezTo>
                <a:cubicBezTo>
                  <a:pt x="10070239" y="4603959"/>
                  <a:pt x="10069440" y="4607953"/>
                  <a:pt x="10067976" y="4611548"/>
                </a:cubicBezTo>
                <a:cubicBezTo>
                  <a:pt x="10066379" y="4615142"/>
                  <a:pt x="10064382" y="4618204"/>
                  <a:pt x="10061852" y="4620866"/>
                </a:cubicBezTo>
                <a:cubicBezTo>
                  <a:pt x="10059190" y="4623529"/>
                  <a:pt x="10056129" y="4625659"/>
                  <a:pt x="10052534" y="4627123"/>
                </a:cubicBezTo>
                <a:cubicBezTo>
                  <a:pt x="10048941" y="4628587"/>
                  <a:pt x="10045080" y="4629386"/>
                  <a:pt x="10040820" y="4629386"/>
                </a:cubicBezTo>
                <a:cubicBezTo>
                  <a:pt x="10031767" y="4629386"/>
                  <a:pt x="10024579" y="4626457"/>
                  <a:pt x="10018988" y="4620866"/>
                </a:cubicBezTo>
                <a:cubicBezTo>
                  <a:pt x="10013397" y="4615275"/>
                  <a:pt x="10010602" y="4608219"/>
                  <a:pt x="10010602" y="4599700"/>
                </a:cubicBezTo>
                <a:cubicBezTo>
                  <a:pt x="10010602" y="4591447"/>
                  <a:pt x="10013397" y="4584391"/>
                  <a:pt x="10018988" y="4578667"/>
                </a:cubicBezTo>
                <a:cubicBezTo>
                  <a:pt x="10024579" y="4572943"/>
                  <a:pt x="10031767" y="4570015"/>
                  <a:pt x="10040820" y="4570015"/>
                </a:cubicBezTo>
                <a:close/>
                <a:moveTo>
                  <a:pt x="9823176" y="4570015"/>
                </a:moveTo>
                <a:cubicBezTo>
                  <a:pt x="9827435" y="4570015"/>
                  <a:pt x="9831296" y="4570814"/>
                  <a:pt x="9834890" y="4572677"/>
                </a:cubicBezTo>
                <a:cubicBezTo>
                  <a:pt x="9838617" y="4574274"/>
                  <a:pt x="9841679" y="4576404"/>
                  <a:pt x="9844208" y="4579067"/>
                </a:cubicBezTo>
                <a:cubicBezTo>
                  <a:pt x="9846737" y="4581596"/>
                  <a:pt x="9848867" y="4584791"/>
                  <a:pt x="9850331" y="4588385"/>
                </a:cubicBezTo>
                <a:cubicBezTo>
                  <a:pt x="9851796" y="4591979"/>
                  <a:pt x="9852595" y="4595839"/>
                  <a:pt x="9852595" y="4599833"/>
                </a:cubicBezTo>
                <a:cubicBezTo>
                  <a:pt x="9852595" y="4603959"/>
                  <a:pt x="9851796" y="4607953"/>
                  <a:pt x="9850331" y="4611548"/>
                </a:cubicBezTo>
                <a:cubicBezTo>
                  <a:pt x="9848734" y="4615142"/>
                  <a:pt x="9846737" y="4618204"/>
                  <a:pt x="9844208" y="4620866"/>
                </a:cubicBezTo>
                <a:cubicBezTo>
                  <a:pt x="9841546" y="4623529"/>
                  <a:pt x="9838484" y="4625659"/>
                  <a:pt x="9834890" y="4627123"/>
                </a:cubicBezTo>
                <a:cubicBezTo>
                  <a:pt x="9831296" y="4628587"/>
                  <a:pt x="9827435" y="4629386"/>
                  <a:pt x="9823176" y="4629386"/>
                </a:cubicBezTo>
                <a:cubicBezTo>
                  <a:pt x="9814123" y="4629386"/>
                  <a:pt x="9806935" y="4626457"/>
                  <a:pt x="9801343" y="4620866"/>
                </a:cubicBezTo>
                <a:cubicBezTo>
                  <a:pt x="9795753" y="4615275"/>
                  <a:pt x="9792957" y="4608219"/>
                  <a:pt x="9792957" y="4599700"/>
                </a:cubicBezTo>
                <a:cubicBezTo>
                  <a:pt x="9792957" y="4591447"/>
                  <a:pt x="9795753" y="4584391"/>
                  <a:pt x="9801343" y="4578667"/>
                </a:cubicBezTo>
                <a:cubicBezTo>
                  <a:pt x="9806935" y="4572943"/>
                  <a:pt x="9814123" y="4570015"/>
                  <a:pt x="9823176" y="4570015"/>
                </a:cubicBezTo>
                <a:close/>
                <a:moveTo>
                  <a:pt x="9605531" y="4570015"/>
                </a:moveTo>
                <a:cubicBezTo>
                  <a:pt x="9609790" y="4570015"/>
                  <a:pt x="9613784" y="4570814"/>
                  <a:pt x="9617245" y="4572677"/>
                </a:cubicBezTo>
                <a:cubicBezTo>
                  <a:pt x="9620839" y="4574274"/>
                  <a:pt x="9624033" y="4576404"/>
                  <a:pt x="9626562" y="4579067"/>
                </a:cubicBezTo>
                <a:cubicBezTo>
                  <a:pt x="9629092" y="4581596"/>
                  <a:pt x="9631222" y="4584791"/>
                  <a:pt x="9632686" y="4588385"/>
                </a:cubicBezTo>
                <a:cubicBezTo>
                  <a:pt x="9634150" y="4591979"/>
                  <a:pt x="9634949" y="4595839"/>
                  <a:pt x="9634949" y="4599833"/>
                </a:cubicBezTo>
                <a:cubicBezTo>
                  <a:pt x="9634949" y="4603959"/>
                  <a:pt x="9634150" y="4607953"/>
                  <a:pt x="9632686" y="4611548"/>
                </a:cubicBezTo>
                <a:cubicBezTo>
                  <a:pt x="9631089" y="4615142"/>
                  <a:pt x="9629092" y="4618204"/>
                  <a:pt x="9626562" y="4620866"/>
                </a:cubicBezTo>
                <a:cubicBezTo>
                  <a:pt x="9623901" y="4623529"/>
                  <a:pt x="9620839" y="4625659"/>
                  <a:pt x="9617245" y="4627123"/>
                </a:cubicBezTo>
                <a:cubicBezTo>
                  <a:pt x="9613651" y="4628587"/>
                  <a:pt x="9609790" y="4629386"/>
                  <a:pt x="9605531" y="4629386"/>
                </a:cubicBezTo>
                <a:cubicBezTo>
                  <a:pt x="9596610" y="4629386"/>
                  <a:pt x="9589289" y="4626457"/>
                  <a:pt x="9583698" y="4620866"/>
                </a:cubicBezTo>
                <a:cubicBezTo>
                  <a:pt x="9578108" y="4615275"/>
                  <a:pt x="9575312" y="4608219"/>
                  <a:pt x="9575312" y="4599700"/>
                </a:cubicBezTo>
                <a:cubicBezTo>
                  <a:pt x="9575312" y="4591447"/>
                  <a:pt x="9578108" y="4584391"/>
                  <a:pt x="9583698" y="4578667"/>
                </a:cubicBezTo>
                <a:cubicBezTo>
                  <a:pt x="9589289" y="4572943"/>
                  <a:pt x="9596478" y="4570015"/>
                  <a:pt x="9605531" y="4570015"/>
                </a:cubicBezTo>
                <a:close/>
                <a:moveTo>
                  <a:pt x="9387885" y="4570015"/>
                </a:moveTo>
                <a:cubicBezTo>
                  <a:pt x="9392145" y="4570015"/>
                  <a:pt x="9396138" y="4570814"/>
                  <a:pt x="9399599" y="4572677"/>
                </a:cubicBezTo>
                <a:cubicBezTo>
                  <a:pt x="9403194" y="4574274"/>
                  <a:pt x="9406388" y="4576404"/>
                  <a:pt x="9408917" y="4579067"/>
                </a:cubicBezTo>
                <a:cubicBezTo>
                  <a:pt x="9411447" y="4581596"/>
                  <a:pt x="9413576" y="4584791"/>
                  <a:pt x="9415041" y="4588385"/>
                </a:cubicBezTo>
                <a:cubicBezTo>
                  <a:pt x="9416505" y="4591979"/>
                  <a:pt x="9417304" y="4595839"/>
                  <a:pt x="9417304" y="4599833"/>
                </a:cubicBezTo>
                <a:cubicBezTo>
                  <a:pt x="9417304" y="4603959"/>
                  <a:pt x="9416505" y="4607953"/>
                  <a:pt x="9415041" y="4611548"/>
                </a:cubicBezTo>
                <a:cubicBezTo>
                  <a:pt x="9413444" y="4615142"/>
                  <a:pt x="9411447" y="4618204"/>
                  <a:pt x="9408917" y="4620866"/>
                </a:cubicBezTo>
                <a:cubicBezTo>
                  <a:pt x="9406255" y="4623529"/>
                  <a:pt x="9403194" y="4625659"/>
                  <a:pt x="9399599" y="4627123"/>
                </a:cubicBezTo>
                <a:cubicBezTo>
                  <a:pt x="9396005" y="4628587"/>
                  <a:pt x="9392145" y="4629386"/>
                  <a:pt x="9387885" y="4629386"/>
                </a:cubicBezTo>
                <a:cubicBezTo>
                  <a:pt x="9378965" y="4629386"/>
                  <a:pt x="9371644" y="4626457"/>
                  <a:pt x="9366053" y="4620866"/>
                </a:cubicBezTo>
                <a:cubicBezTo>
                  <a:pt x="9360462" y="4615275"/>
                  <a:pt x="9357667" y="4608219"/>
                  <a:pt x="9357667" y="4599700"/>
                </a:cubicBezTo>
                <a:cubicBezTo>
                  <a:pt x="9357667" y="4591447"/>
                  <a:pt x="9360462" y="4584391"/>
                  <a:pt x="9366053" y="4578667"/>
                </a:cubicBezTo>
                <a:cubicBezTo>
                  <a:pt x="9371644" y="4572943"/>
                  <a:pt x="9378832" y="4570015"/>
                  <a:pt x="9387885" y="4570015"/>
                </a:cubicBezTo>
                <a:close/>
                <a:moveTo>
                  <a:pt x="9170374" y="4570015"/>
                </a:moveTo>
                <a:cubicBezTo>
                  <a:pt x="9174500" y="4570015"/>
                  <a:pt x="9178494" y="4570814"/>
                  <a:pt x="9182088" y="4572677"/>
                </a:cubicBezTo>
                <a:cubicBezTo>
                  <a:pt x="9185682" y="4574274"/>
                  <a:pt x="9188876" y="4576404"/>
                  <a:pt x="9191405" y="4579067"/>
                </a:cubicBezTo>
                <a:cubicBezTo>
                  <a:pt x="9193935" y="4581596"/>
                  <a:pt x="9196065" y="4584791"/>
                  <a:pt x="9197529" y="4588385"/>
                </a:cubicBezTo>
                <a:cubicBezTo>
                  <a:pt x="9198993" y="4591979"/>
                  <a:pt x="9199792" y="4595839"/>
                  <a:pt x="9199792" y="4599833"/>
                </a:cubicBezTo>
                <a:cubicBezTo>
                  <a:pt x="9199792" y="4603959"/>
                  <a:pt x="9198993" y="4607953"/>
                  <a:pt x="9197529" y="4611548"/>
                </a:cubicBezTo>
                <a:cubicBezTo>
                  <a:pt x="9195932" y="4615142"/>
                  <a:pt x="9193935" y="4618204"/>
                  <a:pt x="9191405" y="4620866"/>
                </a:cubicBezTo>
                <a:cubicBezTo>
                  <a:pt x="9188744" y="4623529"/>
                  <a:pt x="9185682" y="4625659"/>
                  <a:pt x="9182088" y="4627123"/>
                </a:cubicBezTo>
                <a:cubicBezTo>
                  <a:pt x="9178494" y="4628587"/>
                  <a:pt x="9174633" y="4629386"/>
                  <a:pt x="9170374" y="4629386"/>
                </a:cubicBezTo>
                <a:cubicBezTo>
                  <a:pt x="9161453" y="4629386"/>
                  <a:pt x="9154132" y="4626457"/>
                  <a:pt x="9148541" y="4620866"/>
                </a:cubicBezTo>
                <a:cubicBezTo>
                  <a:pt x="9142951" y="4615275"/>
                  <a:pt x="9140155" y="4608219"/>
                  <a:pt x="9140155" y="4599700"/>
                </a:cubicBezTo>
                <a:cubicBezTo>
                  <a:pt x="9140155" y="4591447"/>
                  <a:pt x="9142951" y="4584391"/>
                  <a:pt x="9148541" y="4578667"/>
                </a:cubicBezTo>
                <a:cubicBezTo>
                  <a:pt x="9154132" y="4572943"/>
                  <a:pt x="9161321" y="4570015"/>
                  <a:pt x="9170374" y="4570015"/>
                </a:cubicBezTo>
                <a:close/>
                <a:moveTo>
                  <a:pt x="8952728" y="4570015"/>
                </a:moveTo>
                <a:cubicBezTo>
                  <a:pt x="8956988" y="4570015"/>
                  <a:pt x="8960849" y="4570814"/>
                  <a:pt x="8964442" y="4572677"/>
                </a:cubicBezTo>
                <a:cubicBezTo>
                  <a:pt x="8968037" y="4574274"/>
                  <a:pt x="8971231" y="4576404"/>
                  <a:pt x="8973760" y="4579067"/>
                </a:cubicBezTo>
                <a:cubicBezTo>
                  <a:pt x="8976290" y="4581596"/>
                  <a:pt x="8978419" y="4584791"/>
                  <a:pt x="8979884" y="4588385"/>
                </a:cubicBezTo>
                <a:cubicBezTo>
                  <a:pt x="8981348" y="4591979"/>
                  <a:pt x="8982147" y="4595839"/>
                  <a:pt x="8982147" y="4599833"/>
                </a:cubicBezTo>
                <a:cubicBezTo>
                  <a:pt x="8982147" y="4603959"/>
                  <a:pt x="8981348" y="4607953"/>
                  <a:pt x="8979884" y="4611548"/>
                </a:cubicBezTo>
                <a:cubicBezTo>
                  <a:pt x="8978287" y="4615142"/>
                  <a:pt x="8976290" y="4618204"/>
                  <a:pt x="8973760" y="4620866"/>
                </a:cubicBezTo>
                <a:cubicBezTo>
                  <a:pt x="8971098" y="4623529"/>
                  <a:pt x="8968037" y="4625659"/>
                  <a:pt x="8964442" y="4627123"/>
                </a:cubicBezTo>
                <a:cubicBezTo>
                  <a:pt x="8960849" y="4628587"/>
                  <a:pt x="8956988" y="4629386"/>
                  <a:pt x="8952728" y="4629386"/>
                </a:cubicBezTo>
                <a:cubicBezTo>
                  <a:pt x="8943808" y="4629386"/>
                  <a:pt x="8936487" y="4626457"/>
                  <a:pt x="8930896" y="4620866"/>
                </a:cubicBezTo>
                <a:cubicBezTo>
                  <a:pt x="8925305" y="4615275"/>
                  <a:pt x="8922510" y="4608219"/>
                  <a:pt x="8922510" y="4599700"/>
                </a:cubicBezTo>
                <a:cubicBezTo>
                  <a:pt x="8922510" y="4591447"/>
                  <a:pt x="8925305" y="4584391"/>
                  <a:pt x="8930896" y="4578667"/>
                </a:cubicBezTo>
                <a:cubicBezTo>
                  <a:pt x="8936487" y="4572943"/>
                  <a:pt x="8943675" y="4570015"/>
                  <a:pt x="8952728" y="4570015"/>
                </a:cubicBezTo>
                <a:close/>
                <a:moveTo>
                  <a:pt x="8735083" y="4570015"/>
                </a:moveTo>
                <a:cubicBezTo>
                  <a:pt x="8739342" y="4570015"/>
                  <a:pt x="8743203" y="4570814"/>
                  <a:pt x="8746797" y="4572677"/>
                </a:cubicBezTo>
                <a:cubicBezTo>
                  <a:pt x="8750391" y="4574274"/>
                  <a:pt x="8753586" y="4576404"/>
                  <a:pt x="8756115" y="4579067"/>
                </a:cubicBezTo>
                <a:cubicBezTo>
                  <a:pt x="8758644" y="4581596"/>
                  <a:pt x="8760774" y="4584791"/>
                  <a:pt x="8762238" y="4588385"/>
                </a:cubicBezTo>
                <a:cubicBezTo>
                  <a:pt x="8763702" y="4591979"/>
                  <a:pt x="8764502" y="4595839"/>
                  <a:pt x="8764502" y="4599833"/>
                </a:cubicBezTo>
                <a:cubicBezTo>
                  <a:pt x="8764502" y="4603959"/>
                  <a:pt x="8763702" y="4607953"/>
                  <a:pt x="8762238" y="4611548"/>
                </a:cubicBezTo>
                <a:cubicBezTo>
                  <a:pt x="8760641" y="4615142"/>
                  <a:pt x="8758644" y="4618204"/>
                  <a:pt x="8756115" y="4620866"/>
                </a:cubicBezTo>
                <a:cubicBezTo>
                  <a:pt x="8753453" y="4623529"/>
                  <a:pt x="8750391" y="4625659"/>
                  <a:pt x="8746797" y="4627123"/>
                </a:cubicBezTo>
                <a:cubicBezTo>
                  <a:pt x="8743203" y="4628587"/>
                  <a:pt x="8739342" y="4629386"/>
                  <a:pt x="8735083" y="4629386"/>
                </a:cubicBezTo>
                <a:cubicBezTo>
                  <a:pt x="8726030" y="4629386"/>
                  <a:pt x="8718841" y="4626457"/>
                  <a:pt x="8713250" y="4620866"/>
                </a:cubicBezTo>
                <a:cubicBezTo>
                  <a:pt x="8707660" y="4615275"/>
                  <a:pt x="8704864" y="4608219"/>
                  <a:pt x="8704864" y="4599700"/>
                </a:cubicBezTo>
                <a:cubicBezTo>
                  <a:pt x="8704864" y="4591447"/>
                  <a:pt x="8707660" y="4584391"/>
                  <a:pt x="8713250" y="4578667"/>
                </a:cubicBezTo>
                <a:cubicBezTo>
                  <a:pt x="8718841" y="4572943"/>
                  <a:pt x="8726030" y="4570015"/>
                  <a:pt x="8735083" y="4570015"/>
                </a:cubicBezTo>
                <a:close/>
                <a:moveTo>
                  <a:pt x="8517438" y="4570015"/>
                </a:moveTo>
                <a:cubicBezTo>
                  <a:pt x="8521698" y="4570015"/>
                  <a:pt x="8525559" y="4570814"/>
                  <a:pt x="8529152" y="4572677"/>
                </a:cubicBezTo>
                <a:cubicBezTo>
                  <a:pt x="8532880" y="4574274"/>
                  <a:pt x="8535941" y="4576404"/>
                  <a:pt x="8538470" y="4579067"/>
                </a:cubicBezTo>
                <a:cubicBezTo>
                  <a:pt x="8541000" y="4581596"/>
                  <a:pt x="8543130" y="4584791"/>
                  <a:pt x="8544594" y="4588385"/>
                </a:cubicBezTo>
                <a:cubicBezTo>
                  <a:pt x="8546058" y="4591979"/>
                  <a:pt x="8546857" y="4595839"/>
                  <a:pt x="8546857" y="4599833"/>
                </a:cubicBezTo>
                <a:cubicBezTo>
                  <a:pt x="8546857" y="4603959"/>
                  <a:pt x="8546058" y="4607953"/>
                  <a:pt x="8544594" y="4611548"/>
                </a:cubicBezTo>
                <a:cubicBezTo>
                  <a:pt x="8542997" y="4615142"/>
                  <a:pt x="8541000" y="4618204"/>
                  <a:pt x="8538470" y="4620866"/>
                </a:cubicBezTo>
                <a:cubicBezTo>
                  <a:pt x="8535808" y="4623529"/>
                  <a:pt x="8532747" y="4625659"/>
                  <a:pt x="8529152" y="4627123"/>
                </a:cubicBezTo>
                <a:cubicBezTo>
                  <a:pt x="8525559" y="4628587"/>
                  <a:pt x="8521698" y="4629386"/>
                  <a:pt x="8517438" y="4629386"/>
                </a:cubicBezTo>
                <a:cubicBezTo>
                  <a:pt x="8508385" y="4629386"/>
                  <a:pt x="8501197" y="4626457"/>
                  <a:pt x="8495606" y="4620866"/>
                </a:cubicBezTo>
                <a:cubicBezTo>
                  <a:pt x="8490015" y="4615275"/>
                  <a:pt x="8487220" y="4608219"/>
                  <a:pt x="8487220" y="4599700"/>
                </a:cubicBezTo>
                <a:cubicBezTo>
                  <a:pt x="8487220" y="4591447"/>
                  <a:pt x="8490015" y="4584391"/>
                  <a:pt x="8495606" y="4578667"/>
                </a:cubicBezTo>
                <a:cubicBezTo>
                  <a:pt x="8501197" y="4572943"/>
                  <a:pt x="8508385" y="4570015"/>
                  <a:pt x="8517438" y="4570015"/>
                </a:cubicBezTo>
                <a:close/>
                <a:moveTo>
                  <a:pt x="8299793" y="4570015"/>
                </a:moveTo>
                <a:cubicBezTo>
                  <a:pt x="8304052" y="4570015"/>
                  <a:pt x="8308046" y="4570814"/>
                  <a:pt x="8311507" y="4572677"/>
                </a:cubicBezTo>
                <a:cubicBezTo>
                  <a:pt x="8315235" y="4574274"/>
                  <a:pt x="8318296" y="4576404"/>
                  <a:pt x="8320825" y="4579067"/>
                </a:cubicBezTo>
                <a:cubicBezTo>
                  <a:pt x="8323354" y="4581596"/>
                  <a:pt x="8325484" y="4584791"/>
                  <a:pt x="8326948" y="4588385"/>
                </a:cubicBezTo>
                <a:cubicBezTo>
                  <a:pt x="8328413" y="4591979"/>
                  <a:pt x="8329212" y="4595839"/>
                  <a:pt x="8329212" y="4599833"/>
                </a:cubicBezTo>
                <a:cubicBezTo>
                  <a:pt x="8329212" y="4603959"/>
                  <a:pt x="8328413" y="4607953"/>
                  <a:pt x="8326948" y="4611548"/>
                </a:cubicBezTo>
                <a:cubicBezTo>
                  <a:pt x="8325351" y="4615142"/>
                  <a:pt x="8323354" y="4618204"/>
                  <a:pt x="8320825" y="4620866"/>
                </a:cubicBezTo>
                <a:cubicBezTo>
                  <a:pt x="8318163" y="4623529"/>
                  <a:pt x="8315101" y="4625659"/>
                  <a:pt x="8311507" y="4627123"/>
                </a:cubicBezTo>
                <a:cubicBezTo>
                  <a:pt x="8307913" y="4628587"/>
                  <a:pt x="8304052" y="4629386"/>
                  <a:pt x="8299793" y="4629386"/>
                </a:cubicBezTo>
                <a:cubicBezTo>
                  <a:pt x="8290874" y="4629386"/>
                  <a:pt x="8283553" y="4626457"/>
                  <a:pt x="8277960" y="4620866"/>
                </a:cubicBezTo>
                <a:cubicBezTo>
                  <a:pt x="8272370" y="4615275"/>
                  <a:pt x="8269574" y="4608219"/>
                  <a:pt x="8269574" y="4599700"/>
                </a:cubicBezTo>
                <a:cubicBezTo>
                  <a:pt x="8269574" y="4591447"/>
                  <a:pt x="8272370" y="4584391"/>
                  <a:pt x="8277960" y="4578667"/>
                </a:cubicBezTo>
                <a:cubicBezTo>
                  <a:pt x="8283553" y="4572943"/>
                  <a:pt x="8290741" y="4570015"/>
                  <a:pt x="8299793" y="4570015"/>
                </a:cubicBezTo>
                <a:close/>
                <a:moveTo>
                  <a:pt x="8082281" y="4570015"/>
                </a:moveTo>
                <a:cubicBezTo>
                  <a:pt x="8086407" y="4570015"/>
                  <a:pt x="8090401" y="4570814"/>
                  <a:pt x="8094127" y="4572677"/>
                </a:cubicBezTo>
                <a:cubicBezTo>
                  <a:pt x="8097855" y="4574274"/>
                  <a:pt x="8100916" y="4576404"/>
                  <a:pt x="8103446" y="4579067"/>
                </a:cubicBezTo>
                <a:cubicBezTo>
                  <a:pt x="8105975" y="4581596"/>
                  <a:pt x="8108104" y="4584791"/>
                  <a:pt x="8109569" y="4588385"/>
                </a:cubicBezTo>
                <a:cubicBezTo>
                  <a:pt x="8111033" y="4591979"/>
                  <a:pt x="8111832" y="4595839"/>
                  <a:pt x="8111832" y="4599833"/>
                </a:cubicBezTo>
                <a:cubicBezTo>
                  <a:pt x="8111832" y="4603959"/>
                  <a:pt x="8111033" y="4607953"/>
                  <a:pt x="8109569" y="4611548"/>
                </a:cubicBezTo>
                <a:cubicBezTo>
                  <a:pt x="8107972" y="4615142"/>
                  <a:pt x="8105975" y="4618204"/>
                  <a:pt x="8103446" y="4620866"/>
                </a:cubicBezTo>
                <a:cubicBezTo>
                  <a:pt x="8100783" y="4623529"/>
                  <a:pt x="8097722" y="4625659"/>
                  <a:pt x="8094127" y="4627123"/>
                </a:cubicBezTo>
                <a:cubicBezTo>
                  <a:pt x="8090401" y="4628587"/>
                  <a:pt x="8086540" y="4629386"/>
                  <a:pt x="8082281" y="4629386"/>
                </a:cubicBezTo>
                <a:cubicBezTo>
                  <a:pt x="8073361" y="4629386"/>
                  <a:pt x="8066040" y="4626457"/>
                  <a:pt x="8060448" y="4620866"/>
                </a:cubicBezTo>
                <a:cubicBezTo>
                  <a:pt x="8054857" y="4615275"/>
                  <a:pt x="8052062" y="4608219"/>
                  <a:pt x="8052062" y="4599700"/>
                </a:cubicBezTo>
                <a:cubicBezTo>
                  <a:pt x="8052062" y="4591447"/>
                  <a:pt x="8054857" y="4584391"/>
                  <a:pt x="8060448" y="4578667"/>
                </a:cubicBezTo>
                <a:cubicBezTo>
                  <a:pt x="8066040" y="4572943"/>
                  <a:pt x="8073228" y="4570015"/>
                  <a:pt x="8082281" y="4570015"/>
                </a:cubicBezTo>
                <a:close/>
                <a:moveTo>
                  <a:pt x="7864636" y="4570015"/>
                </a:moveTo>
                <a:cubicBezTo>
                  <a:pt x="7868762" y="4570015"/>
                  <a:pt x="7872756" y="4570814"/>
                  <a:pt x="7876483" y="4572677"/>
                </a:cubicBezTo>
                <a:cubicBezTo>
                  <a:pt x="7880210" y="4574274"/>
                  <a:pt x="7883272" y="4576404"/>
                  <a:pt x="7885802" y="4579067"/>
                </a:cubicBezTo>
                <a:cubicBezTo>
                  <a:pt x="7888331" y="4581596"/>
                  <a:pt x="7890460" y="4584791"/>
                  <a:pt x="7891924" y="4588385"/>
                </a:cubicBezTo>
                <a:cubicBezTo>
                  <a:pt x="7893389" y="4591979"/>
                  <a:pt x="7894188" y="4595839"/>
                  <a:pt x="7894188" y="4599833"/>
                </a:cubicBezTo>
                <a:cubicBezTo>
                  <a:pt x="7894188" y="4603959"/>
                  <a:pt x="7893389" y="4607953"/>
                  <a:pt x="7891924" y="4611548"/>
                </a:cubicBezTo>
                <a:cubicBezTo>
                  <a:pt x="7890327" y="4615142"/>
                  <a:pt x="7888331" y="4618204"/>
                  <a:pt x="7885802" y="4620866"/>
                </a:cubicBezTo>
                <a:cubicBezTo>
                  <a:pt x="7883139" y="4623529"/>
                  <a:pt x="7880078" y="4625659"/>
                  <a:pt x="7876483" y="4627123"/>
                </a:cubicBezTo>
                <a:cubicBezTo>
                  <a:pt x="7872756" y="4628587"/>
                  <a:pt x="7868895" y="4629386"/>
                  <a:pt x="7864636" y="4629386"/>
                </a:cubicBezTo>
                <a:cubicBezTo>
                  <a:pt x="7855717" y="4629386"/>
                  <a:pt x="7848396" y="4626457"/>
                  <a:pt x="7842803" y="4620866"/>
                </a:cubicBezTo>
                <a:cubicBezTo>
                  <a:pt x="7837213" y="4615275"/>
                  <a:pt x="7834417" y="4608219"/>
                  <a:pt x="7834417" y="4599700"/>
                </a:cubicBezTo>
                <a:cubicBezTo>
                  <a:pt x="7834417" y="4591447"/>
                  <a:pt x="7837213" y="4584391"/>
                  <a:pt x="7842803" y="4578667"/>
                </a:cubicBezTo>
                <a:cubicBezTo>
                  <a:pt x="7848396" y="4572943"/>
                  <a:pt x="7855584" y="4570015"/>
                  <a:pt x="7864636" y="4570015"/>
                </a:cubicBezTo>
                <a:close/>
                <a:moveTo>
                  <a:pt x="7646991" y="4570015"/>
                </a:moveTo>
                <a:cubicBezTo>
                  <a:pt x="7651250" y="4570015"/>
                  <a:pt x="7655111" y="4570814"/>
                  <a:pt x="7658705" y="4572677"/>
                </a:cubicBezTo>
                <a:cubicBezTo>
                  <a:pt x="7662432" y="4574274"/>
                  <a:pt x="7665493" y="4576404"/>
                  <a:pt x="7668022" y="4579067"/>
                </a:cubicBezTo>
                <a:cubicBezTo>
                  <a:pt x="7670552" y="4581596"/>
                  <a:pt x="7672682" y="4584791"/>
                  <a:pt x="7674146" y="4588385"/>
                </a:cubicBezTo>
                <a:cubicBezTo>
                  <a:pt x="7675610" y="4591979"/>
                  <a:pt x="7676409" y="4595839"/>
                  <a:pt x="7676409" y="4599833"/>
                </a:cubicBezTo>
                <a:cubicBezTo>
                  <a:pt x="7676409" y="4603959"/>
                  <a:pt x="7675610" y="4607953"/>
                  <a:pt x="7674146" y="4611548"/>
                </a:cubicBezTo>
                <a:cubicBezTo>
                  <a:pt x="7672549" y="4615142"/>
                  <a:pt x="7670552" y="4618204"/>
                  <a:pt x="7668022" y="4620866"/>
                </a:cubicBezTo>
                <a:cubicBezTo>
                  <a:pt x="7665361" y="4623529"/>
                  <a:pt x="7662299" y="4625659"/>
                  <a:pt x="7658705" y="4627123"/>
                </a:cubicBezTo>
                <a:cubicBezTo>
                  <a:pt x="7655111" y="4628587"/>
                  <a:pt x="7651250" y="4629386"/>
                  <a:pt x="7646991" y="4629386"/>
                </a:cubicBezTo>
                <a:cubicBezTo>
                  <a:pt x="7638071" y="4629386"/>
                  <a:pt x="7630750" y="4626457"/>
                  <a:pt x="7625158" y="4620866"/>
                </a:cubicBezTo>
                <a:cubicBezTo>
                  <a:pt x="7619568" y="4615275"/>
                  <a:pt x="7616772" y="4608219"/>
                  <a:pt x="7616772" y="4599700"/>
                </a:cubicBezTo>
                <a:cubicBezTo>
                  <a:pt x="7616772" y="4591447"/>
                  <a:pt x="7619568" y="4584391"/>
                  <a:pt x="7625158" y="4578667"/>
                </a:cubicBezTo>
                <a:cubicBezTo>
                  <a:pt x="7630750" y="4572943"/>
                  <a:pt x="7637939" y="4570015"/>
                  <a:pt x="7646991" y="4570015"/>
                </a:cubicBezTo>
                <a:close/>
                <a:moveTo>
                  <a:pt x="7429345" y="4570015"/>
                </a:moveTo>
                <a:cubicBezTo>
                  <a:pt x="7433605" y="4570015"/>
                  <a:pt x="7437466" y="4570814"/>
                  <a:pt x="7441059" y="4572677"/>
                </a:cubicBezTo>
                <a:cubicBezTo>
                  <a:pt x="7444787" y="4574274"/>
                  <a:pt x="7447848" y="4576404"/>
                  <a:pt x="7450377" y="4579067"/>
                </a:cubicBezTo>
                <a:cubicBezTo>
                  <a:pt x="7452907" y="4581596"/>
                  <a:pt x="7455036" y="4584791"/>
                  <a:pt x="7456501" y="4588385"/>
                </a:cubicBezTo>
                <a:cubicBezTo>
                  <a:pt x="7457965" y="4591979"/>
                  <a:pt x="7458764" y="4595839"/>
                  <a:pt x="7458764" y="4599833"/>
                </a:cubicBezTo>
                <a:cubicBezTo>
                  <a:pt x="7458764" y="4603959"/>
                  <a:pt x="7457965" y="4607953"/>
                  <a:pt x="7456501" y="4611548"/>
                </a:cubicBezTo>
                <a:cubicBezTo>
                  <a:pt x="7454904" y="4615142"/>
                  <a:pt x="7452907" y="4618204"/>
                  <a:pt x="7450377" y="4620866"/>
                </a:cubicBezTo>
                <a:cubicBezTo>
                  <a:pt x="7447715" y="4623529"/>
                  <a:pt x="7444654" y="4625659"/>
                  <a:pt x="7441059" y="4627123"/>
                </a:cubicBezTo>
                <a:cubicBezTo>
                  <a:pt x="7437466" y="4628587"/>
                  <a:pt x="7433605" y="4629386"/>
                  <a:pt x="7429345" y="4629386"/>
                </a:cubicBezTo>
                <a:cubicBezTo>
                  <a:pt x="7420426" y="4629386"/>
                  <a:pt x="7413105" y="4626457"/>
                  <a:pt x="7407513" y="4620866"/>
                </a:cubicBezTo>
                <a:cubicBezTo>
                  <a:pt x="7401922" y="4615275"/>
                  <a:pt x="7399127" y="4608219"/>
                  <a:pt x="7399127" y="4599700"/>
                </a:cubicBezTo>
                <a:cubicBezTo>
                  <a:pt x="7399127" y="4591447"/>
                  <a:pt x="7401922" y="4584391"/>
                  <a:pt x="7407513" y="4578667"/>
                </a:cubicBezTo>
                <a:cubicBezTo>
                  <a:pt x="7413105" y="4572943"/>
                  <a:pt x="7420293" y="4570015"/>
                  <a:pt x="7429345" y="4570015"/>
                </a:cubicBezTo>
                <a:close/>
                <a:moveTo>
                  <a:pt x="7211701" y="4570015"/>
                </a:moveTo>
                <a:cubicBezTo>
                  <a:pt x="7215960" y="4570015"/>
                  <a:pt x="7219954" y="4570814"/>
                  <a:pt x="7223415" y="4572677"/>
                </a:cubicBezTo>
                <a:cubicBezTo>
                  <a:pt x="7227142" y="4574274"/>
                  <a:pt x="7230204" y="4576404"/>
                  <a:pt x="7232733" y="4579067"/>
                </a:cubicBezTo>
                <a:cubicBezTo>
                  <a:pt x="7235262" y="4581596"/>
                  <a:pt x="7237392" y="4584791"/>
                  <a:pt x="7238856" y="4588385"/>
                </a:cubicBezTo>
                <a:cubicBezTo>
                  <a:pt x="7240321" y="4591979"/>
                  <a:pt x="7241120" y="4595839"/>
                  <a:pt x="7241120" y="4599833"/>
                </a:cubicBezTo>
                <a:cubicBezTo>
                  <a:pt x="7241120" y="4603959"/>
                  <a:pt x="7240321" y="4607953"/>
                  <a:pt x="7238856" y="4611548"/>
                </a:cubicBezTo>
                <a:cubicBezTo>
                  <a:pt x="7237259" y="4615142"/>
                  <a:pt x="7235262" y="4618204"/>
                  <a:pt x="7232733" y="4620866"/>
                </a:cubicBezTo>
                <a:cubicBezTo>
                  <a:pt x="7230071" y="4623529"/>
                  <a:pt x="7227009" y="4625659"/>
                  <a:pt x="7223415" y="4627123"/>
                </a:cubicBezTo>
                <a:cubicBezTo>
                  <a:pt x="7219821" y="4628587"/>
                  <a:pt x="7215960" y="4629386"/>
                  <a:pt x="7211701" y="4629386"/>
                </a:cubicBezTo>
                <a:cubicBezTo>
                  <a:pt x="7202782" y="4629386"/>
                  <a:pt x="7195460" y="4626457"/>
                  <a:pt x="7189868" y="4620866"/>
                </a:cubicBezTo>
                <a:cubicBezTo>
                  <a:pt x="7184278" y="4615275"/>
                  <a:pt x="7181482" y="4608219"/>
                  <a:pt x="7181482" y="4599700"/>
                </a:cubicBezTo>
                <a:cubicBezTo>
                  <a:pt x="7181482" y="4591447"/>
                  <a:pt x="7184278" y="4584391"/>
                  <a:pt x="7189868" y="4578667"/>
                </a:cubicBezTo>
                <a:cubicBezTo>
                  <a:pt x="7195460" y="4572943"/>
                  <a:pt x="7202649" y="4570015"/>
                  <a:pt x="7211701" y="4570015"/>
                </a:cubicBezTo>
                <a:close/>
                <a:moveTo>
                  <a:pt x="6994056" y="4570015"/>
                </a:moveTo>
                <a:cubicBezTo>
                  <a:pt x="6998315" y="4570015"/>
                  <a:pt x="7002309" y="4570814"/>
                  <a:pt x="7005769" y="4572677"/>
                </a:cubicBezTo>
                <a:cubicBezTo>
                  <a:pt x="7009497" y="4574274"/>
                  <a:pt x="7012558" y="4576404"/>
                  <a:pt x="7015087" y="4579067"/>
                </a:cubicBezTo>
                <a:cubicBezTo>
                  <a:pt x="7017617" y="4581596"/>
                  <a:pt x="7019747" y="4584791"/>
                  <a:pt x="7021211" y="4588385"/>
                </a:cubicBezTo>
                <a:cubicBezTo>
                  <a:pt x="7022675" y="4591979"/>
                  <a:pt x="7023474" y="4595839"/>
                  <a:pt x="7023474" y="4599833"/>
                </a:cubicBezTo>
                <a:cubicBezTo>
                  <a:pt x="7023474" y="4603959"/>
                  <a:pt x="7022675" y="4607953"/>
                  <a:pt x="7021211" y="4611548"/>
                </a:cubicBezTo>
                <a:cubicBezTo>
                  <a:pt x="7019614" y="4615142"/>
                  <a:pt x="7017617" y="4618204"/>
                  <a:pt x="7015087" y="4620866"/>
                </a:cubicBezTo>
                <a:cubicBezTo>
                  <a:pt x="7012425" y="4623529"/>
                  <a:pt x="7009364" y="4625659"/>
                  <a:pt x="7005769" y="4627123"/>
                </a:cubicBezTo>
                <a:cubicBezTo>
                  <a:pt x="7002176" y="4628587"/>
                  <a:pt x="6998315" y="4629386"/>
                  <a:pt x="6994056" y="4629386"/>
                </a:cubicBezTo>
                <a:cubicBezTo>
                  <a:pt x="6985136" y="4629386"/>
                  <a:pt x="6977815" y="4626457"/>
                  <a:pt x="6972223" y="4620866"/>
                </a:cubicBezTo>
                <a:cubicBezTo>
                  <a:pt x="6966632" y="4615275"/>
                  <a:pt x="6963837" y="4608219"/>
                  <a:pt x="6963837" y="4599700"/>
                </a:cubicBezTo>
                <a:cubicBezTo>
                  <a:pt x="6963837" y="4591447"/>
                  <a:pt x="6966632" y="4584391"/>
                  <a:pt x="6972223" y="4578667"/>
                </a:cubicBezTo>
                <a:cubicBezTo>
                  <a:pt x="6977815" y="4572943"/>
                  <a:pt x="6985003" y="4570015"/>
                  <a:pt x="6994056" y="4570015"/>
                </a:cubicBezTo>
                <a:close/>
                <a:moveTo>
                  <a:pt x="6776544" y="4570015"/>
                </a:moveTo>
                <a:cubicBezTo>
                  <a:pt x="6780670" y="4570015"/>
                  <a:pt x="6784664" y="4570814"/>
                  <a:pt x="6788258" y="4572677"/>
                </a:cubicBezTo>
                <a:cubicBezTo>
                  <a:pt x="6791985" y="4574274"/>
                  <a:pt x="6795047" y="4576404"/>
                  <a:pt x="6797576" y="4579067"/>
                </a:cubicBezTo>
                <a:cubicBezTo>
                  <a:pt x="6800105" y="4581596"/>
                  <a:pt x="6802235" y="4584791"/>
                  <a:pt x="6803699" y="4588385"/>
                </a:cubicBezTo>
                <a:cubicBezTo>
                  <a:pt x="6805164" y="4591979"/>
                  <a:pt x="6805963" y="4595839"/>
                  <a:pt x="6805963" y="4599833"/>
                </a:cubicBezTo>
                <a:cubicBezTo>
                  <a:pt x="6805963" y="4603959"/>
                  <a:pt x="6805164" y="4607953"/>
                  <a:pt x="6803699" y="4611548"/>
                </a:cubicBezTo>
                <a:cubicBezTo>
                  <a:pt x="6802102" y="4615142"/>
                  <a:pt x="6800105" y="4618204"/>
                  <a:pt x="6797576" y="4620866"/>
                </a:cubicBezTo>
                <a:cubicBezTo>
                  <a:pt x="6794914" y="4623529"/>
                  <a:pt x="6791852" y="4625659"/>
                  <a:pt x="6788258" y="4627123"/>
                </a:cubicBezTo>
                <a:cubicBezTo>
                  <a:pt x="6784664" y="4628587"/>
                  <a:pt x="6780803" y="4629386"/>
                  <a:pt x="6776544" y="4629386"/>
                </a:cubicBezTo>
                <a:cubicBezTo>
                  <a:pt x="6767625" y="4629386"/>
                  <a:pt x="6760303" y="4626457"/>
                  <a:pt x="6754711" y="4620866"/>
                </a:cubicBezTo>
                <a:cubicBezTo>
                  <a:pt x="6749121" y="4615275"/>
                  <a:pt x="6746325" y="4608219"/>
                  <a:pt x="6746325" y="4599700"/>
                </a:cubicBezTo>
                <a:cubicBezTo>
                  <a:pt x="6746325" y="4591447"/>
                  <a:pt x="6749121" y="4584391"/>
                  <a:pt x="6754711" y="4578667"/>
                </a:cubicBezTo>
                <a:cubicBezTo>
                  <a:pt x="6760303" y="4572943"/>
                  <a:pt x="6767492" y="4570015"/>
                  <a:pt x="6776544" y="4570015"/>
                </a:cubicBezTo>
                <a:close/>
                <a:moveTo>
                  <a:pt x="6558899" y="4570015"/>
                </a:moveTo>
                <a:cubicBezTo>
                  <a:pt x="6563158" y="4570015"/>
                  <a:pt x="6567019" y="4570814"/>
                  <a:pt x="6570612" y="4572677"/>
                </a:cubicBezTo>
                <a:cubicBezTo>
                  <a:pt x="6574340" y="4574274"/>
                  <a:pt x="6577401" y="4576404"/>
                  <a:pt x="6579930" y="4579067"/>
                </a:cubicBezTo>
                <a:cubicBezTo>
                  <a:pt x="6582460" y="4581596"/>
                  <a:pt x="6584590" y="4584791"/>
                  <a:pt x="6586054" y="4588385"/>
                </a:cubicBezTo>
                <a:cubicBezTo>
                  <a:pt x="6587518" y="4591979"/>
                  <a:pt x="6588317" y="4595839"/>
                  <a:pt x="6588317" y="4599833"/>
                </a:cubicBezTo>
                <a:cubicBezTo>
                  <a:pt x="6588317" y="4603959"/>
                  <a:pt x="6587518" y="4607953"/>
                  <a:pt x="6586054" y="4611548"/>
                </a:cubicBezTo>
                <a:cubicBezTo>
                  <a:pt x="6584457" y="4615142"/>
                  <a:pt x="6582460" y="4618204"/>
                  <a:pt x="6579930" y="4620866"/>
                </a:cubicBezTo>
                <a:cubicBezTo>
                  <a:pt x="6577268" y="4623529"/>
                  <a:pt x="6574207" y="4625659"/>
                  <a:pt x="6570612" y="4627123"/>
                </a:cubicBezTo>
                <a:cubicBezTo>
                  <a:pt x="6567019" y="4628587"/>
                  <a:pt x="6563158" y="4629386"/>
                  <a:pt x="6558899" y="4629386"/>
                </a:cubicBezTo>
                <a:cubicBezTo>
                  <a:pt x="6549979" y="4629386"/>
                  <a:pt x="6542658" y="4626457"/>
                  <a:pt x="6537066" y="4620866"/>
                </a:cubicBezTo>
                <a:cubicBezTo>
                  <a:pt x="6531476" y="4615275"/>
                  <a:pt x="6528680" y="4608219"/>
                  <a:pt x="6528680" y="4599700"/>
                </a:cubicBezTo>
                <a:cubicBezTo>
                  <a:pt x="6528680" y="4591447"/>
                  <a:pt x="6531476" y="4584391"/>
                  <a:pt x="6537066" y="4578667"/>
                </a:cubicBezTo>
                <a:cubicBezTo>
                  <a:pt x="6542658" y="4572943"/>
                  <a:pt x="6549846" y="4570015"/>
                  <a:pt x="6558899" y="4570015"/>
                </a:cubicBezTo>
                <a:close/>
                <a:moveTo>
                  <a:pt x="6341253" y="4570015"/>
                </a:moveTo>
                <a:cubicBezTo>
                  <a:pt x="6345513" y="4570015"/>
                  <a:pt x="6349373" y="4570814"/>
                  <a:pt x="6352968" y="4572677"/>
                </a:cubicBezTo>
                <a:cubicBezTo>
                  <a:pt x="6356695" y="4574274"/>
                  <a:pt x="6359757" y="4576404"/>
                  <a:pt x="6362286" y="4579067"/>
                </a:cubicBezTo>
                <a:cubicBezTo>
                  <a:pt x="6364815" y="4581596"/>
                  <a:pt x="6366945" y="4584791"/>
                  <a:pt x="6368409" y="4588385"/>
                </a:cubicBezTo>
                <a:cubicBezTo>
                  <a:pt x="6369874" y="4591979"/>
                  <a:pt x="6370672" y="4595839"/>
                  <a:pt x="6370672" y="4599833"/>
                </a:cubicBezTo>
                <a:cubicBezTo>
                  <a:pt x="6370672" y="4603959"/>
                  <a:pt x="6369874" y="4607953"/>
                  <a:pt x="6368409" y="4611548"/>
                </a:cubicBezTo>
                <a:cubicBezTo>
                  <a:pt x="6366811" y="4615142"/>
                  <a:pt x="6364815" y="4618204"/>
                  <a:pt x="6362286" y="4620866"/>
                </a:cubicBezTo>
                <a:cubicBezTo>
                  <a:pt x="6359623" y="4623529"/>
                  <a:pt x="6356562" y="4625659"/>
                  <a:pt x="6352968" y="4627123"/>
                </a:cubicBezTo>
                <a:cubicBezTo>
                  <a:pt x="6349373" y="4628587"/>
                  <a:pt x="6345513" y="4629386"/>
                  <a:pt x="6341253" y="4629386"/>
                </a:cubicBezTo>
                <a:cubicBezTo>
                  <a:pt x="6332335" y="4629386"/>
                  <a:pt x="6325013" y="4626457"/>
                  <a:pt x="6319421" y="4620866"/>
                </a:cubicBezTo>
                <a:cubicBezTo>
                  <a:pt x="6313830" y="4615275"/>
                  <a:pt x="6311035" y="4608219"/>
                  <a:pt x="6311035" y="4599700"/>
                </a:cubicBezTo>
                <a:cubicBezTo>
                  <a:pt x="6311035" y="4591447"/>
                  <a:pt x="6313830" y="4584391"/>
                  <a:pt x="6319421" y="4578667"/>
                </a:cubicBezTo>
                <a:cubicBezTo>
                  <a:pt x="6325013" y="4572943"/>
                  <a:pt x="6332201" y="4570015"/>
                  <a:pt x="6341253" y="4570015"/>
                </a:cubicBezTo>
                <a:close/>
                <a:moveTo>
                  <a:pt x="6123608" y="4570015"/>
                </a:moveTo>
                <a:cubicBezTo>
                  <a:pt x="6127867" y="4570015"/>
                  <a:pt x="6131728" y="4570814"/>
                  <a:pt x="6135322" y="4572677"/>
                </a:cubicBezTo>
                <a:cubicBezTo>
                  <a:pt x="6139049" y="4574274"/>
                  <a:pt x="6142111" y="4576404"/>
                  <a:pt x="6144640" y="4579067"/>
                </a:cubicBezTo>
                <a:cubicBezTo>
                  <a:pt x="6147169" y="4581596"/>
                  <a:pt x="6149299" y="4584791"/>
                  <a:pt x="6150763" y="4588385"/>
                </a:cubicBezTo>
                <a:cubicBezTo>
                  <a:pt x="6152228" y="4591979"/>
                  <a:pt x="6153026" y="4595839"/>
                  <a:pt x="6153026" y="4599833"/>
                </a:cubicBezTo>
                <a:cubicBezTo>
                  <a:pt x="6153026" y="4603959"/>
                  <a:pt x="6152228" y="4607953"/>
                  <a:pt x="6150763" y="4611548"/>
                </a:cubicBezTo>
                <a:cubicBezTo>
                  <a:pt x="6149299" y="4615142"/>
                  <a:pt x="6147169" y="4618204"/>
                  <a:pt x="6144640" y="4620866"/>
                </a:cubicBezTo>
                <a:cubicBezTo>
                  <a:pt x="6141977" y="4623529"/>
                  <a:pt x="6138916" y="4625659"/>
                  <a:pt x="6135322" y="4627123"/>
                </a:cubicBezTo>
                <a:cubicBezTo>
                  <a:pt x="6131728" y="4628587"/>
                  <a:pt x="6127867" y="4629386"/>
                  <a:pt x="6123608" y="4629386"/>
                </a:cubicBezTo>
                <a:cubicBezTo>
                  <a:pt x="6114689" y="4629386"/>
                  <a:pt x="6107367" y="4626457"/>
                  <a:pt x="6101775" y="4620866"/>
                </a:cubicBezTo>
                <a:cubicBezTo>
                  <a:pt x="6096184" y="4615275"/>
                  <a:pt x="6093389" y="4608219"/>
                  <a:pt x="6093389" y="4599700"/>
                </a:cubicBezTo>
                <a:cubicBezTo>
                  <a:pt x="6093389" y="4591447"/>
                  <a:pt x="6096184" y="4584391"/>
                  <a:pt x="6101775" y="4578667"/>
                </a:cubicBezTo>
                <a:cubicBezTo>
                  <a:pt x="6107367" y="4572943"/>
                  <a:pt x="6114555" y="4570015"/>
                  <a:pt x="6123608" y="4570015"/>
                </a:cubicBezTo>
                <a:close/>
                <a:moveTo>
                  <a:pt x="5905963" y="4570015"/>
                </a:moveTo>
                <a:cubicBezTo>
                  <a:pt x="5910222" y="4570015"/>
                  <a:pt x="5914216" y="4570814"/>
                  <a:pt x="5917677" y="4572677"/>
                </a:cubicBezTo>
                <a:cubicBezTo>
                  <a:pt x="5921404" y="4574274"/>
                  <a:pt x="5924466" y="4576404"/>
                  <a:pt x="5926995" y="4579067"/>
                </a:cubicBezTo>
                <a:cubicBezTo>
                  <a:pt x="5929524" y="4581596"/>
                  <a:pt x="5931654" y="4584791"/>
                  <a:pt x="5933118" y="4588385"/>
                </a:cubicBezTo>
                <a:cubicBezTo>
                  <a:pt x="5934583" y="4591979"/>
                  <a:pt x="5935381" y="4595839"/>
                  <a:pt x="5935381" y="4599833"/>
                </a:cubicBezTo>
                <a:cubicBezTo>
                  <a:pt x="5935381" y="4603959"/>
                  <a:pt x="5934583" y="4607953"/>
                  <a:pt x="5933118" y="4611548"/>
                </a:cubicBezTo>
                <a:cubicBezTo>
                  <a:pt x="5931654" y="4615142"/>
                  <a:pt x="5929524" y="4618204"/>
                  <a:pt x="5926995" y="4620866"/>
                </a:cubicBezTo>
                <a:cubicBezTo>
                  <a:pt x="5924333" y="4623529"/>
                  <a:pt x="5921271" y="4625659"/>
                  <a:pt x="5917677" y="4627123"/>
                </a:cubicBezTo>
                <a:cubicBezTo>
                  <a:pt x="5914083" y="4628587"/>
                  <a:pt x="5910222" y="4629386"/>
                  <a:pt x="5905963" y="4629386"/>
                </a:cubicBezTo>
                <a:cubicBezTo>
                  <a:pt x="5897044" y="4629386"/>
                  <a:pt x="5889722" y="4626457"/>
                  <a:pt x="5884130" y="4620866"/>
                </a:cubicBezTo>
                <a:cubicBezTo>
                  <a:pt x="5878540" y="4615275"/>
                  <a:pt x="5875744" y="4608219"/>
                  <a:pt x="5875744" y="4599700"/>
                </a:cubicBezTo>
                <a:cubicBezTo>
                  <a:pt x="5875744" y="4591447"/>
                  <a:pt x="5878540" y="4584391"/>
                  <a:pt x="5884130" y="4578667"/>
                </a:cubicBezTo>
                <a:cubicBezTo>
                  <a:pt x="5889722" y="4572943"/>
                  <a:pt x="5896910" y="4570015"/>
                  <a:pt x="5905963" y="4570015"/>
                </a:cubicBezTo>
                <a:close/>
                <a:moveTo>
                  <a:pt x="5688451" y="4570015"/>
                </a:moveTo>
                <a:cubicBezTo>
                  <a:pt x="5692577" y="4570015"/>
                  <a:pt x="5696571" y="4570814"/>
                  <a:pt x="5700165" y="4572677"/>
                </a:cubicBezTo>
                <a:cubicBezTo>
                  <a:pt x="5703892" y="4574274"/>
                  <a:pt x="5706954" y="4576404"/>
                  <a:pt x="5709483" y="4579067"/>
                </a:cubicBezTo>
                <a:cubicBezTo>
                  <a:pt x="5712012" y="4581596"/>
                  <a:pt x="5714142" y="4584791"/>
                  <a:pt x="5715606" y="4588385"/>
                </a:cubicBezTo>
                <a:cubicBezTo>
                  <a:pt x="5717071" y="4591979"/>
                  <a:pt x="5717869" y="4595839"/>
                  <a:pt x="5717869" y="4599833"/>
                </a:cubicBezTo>
                <a:cubicBezTo>
                  <a:pt x="5717869" y="4603959"/>
                  <a:pt x="5717071" y="4607953"/>
                  <a:pt x="5715606" y="4611548"/>
                </a:cubicBezTo>
                <a:cubicBezTo>
                  <a:pt x="5714142" y="4615142"/>
                  <a:pt x="5712012" y="4618204"/>
                  <a:pt x="5709483" y="4620866"/>
                </a:cubicBezTo>
                <a:cubicBezTo>
                  <a:pt x="5706820" y="4623529"/>
                  <a:pt x="5703759" y="4625659"/>
                  <a:pt x="5700165" y="4627123"/>
                </a:cubicBezTo>
                <a:cubicBezTo>
                  <a:pt x="5696571" y="4628587"/>
                  <a:pt x="5692710" y="4629386"/>
                  <a:pt x="5688451" y="4629386"/>
                </a:cubicBezTo>
                <a:cubicBezTo>
                  <a:pt x="5679532" y="4629386"/>
                  <a:pt x="5672210" y="4626457"/>
                  <a:pt x="5666618" y="4620866"/>
                </a:cubicBezTo>
                <a:cubicBezTo>
                  <a:pt x="5661028" y="4615275"/>
                  <a:pt x="5658232" y="4608219"/>
                  <a:pt x="5658232" y="4599700"/>
                </a:cubicBezTo>
                <a:cubicBezTo>
                  <a:pt x="5658232" y="4591447"/>
                  <a:pt x="5661028" y="4584391"/>
                  <a:pt x="5666618" y="4578667"/>
                </a:cubicBezTo>
                <a:cubicBezTo>
                  <a:pt x="5672210" y="4572943"/>
                  <a:pt x="5679398" y="4570015"/>
                  <a:pt x="5688451" y="4570015"/>
                </a:cubicBezTo>
                <a:close/>
                <a:moveTo>
                  <a:pt x="5470806" y="4570015"/>
                </a:moveTo>
                <a:cubicBezTo>
                  <a:pt x="5475065" y="4570015"/>
                  <a:pt x="5478926" y="4570814"/>
                  <a:pt x="5482520" y="4572677"/>
                </a:cubicBezTo>
                <a:cubicBezTo>
                  <a:pt x="5486247" y="4574274"/>
                  <a:pt x="5489309" y="4576404"/>
                  <a:pt x="5491838" y="4579067"/>
                </a:cubicBezTo>
                <a:cubicBezTo>
                  <a:pt x="5494367" y="4581596"/>
                  <a:pt x="5496497" y="4584791"/>
                  <a:pt x="5497961" y="4588385"/>
                </a:cubicBezTo>
                <a:cubicBezTo>
                  <a:pt x="5499426" y="4591979"/>
                  <a:pt x="5500224" y="4595839"/>
                  <a:pt x="5500224" y="4599833"/>
                </a:cubicBezTo>
                <a:cubicBezTo>
                  <a:pt x="5500224" y="4603959"/>
                  <a:pt x="5499426" y="4607953"/>
                  <a:pt x="5497961" y="4611548"/>
                </a:cubicBezTo>
                <a:cubicBezTo>
                  <a:pt x="5496497" y="4615142"/>
                  <a:pt x="5494367" y="4618204"/>
                  <a:pt x="5491838" y="4620866"/>
                </a:cubicBezTo>
                <a:cubicBezTo>
                  <a:pt x="5489176" y="4623529"/>
                  <a:pt x="5486114" y="4625659"/>
                  <a:pt x="5482520" y="4627123"/>
                </a:cubicBezTo>
                <a:cubicBezTo>
                  <a:pt x="5478926" y="4628587"/>
                  <a:pt x="5475065" y="4629386"/>
                  <a:pt x="5470806" y="4629386"/>
                </a:cubicBezTo>
                <a:cubicBezTo>
                  <a:pt x="5461887" y="4629386"/>
                  <a:pt x="5454565" y="4626457"/>
                  <a:pt x="5448973" y="4620866"/>
                </a:cubicBezTo>
                <a:cubicBezTo>
                  <a:pt x="5443383" y="4615275"/>
                  <a:pt x="5440587" y="4608219"/>
                  <a:pt x="5440587" y="4599700"/>
                </a:cubicBezTo>
                <a:cubicBezTo>
                  <a:pt x="5440587" y="4591447"/>
                  <a:pt x="5443383" y="4584391"/>
                  <a:pt x="5448973" y="4578667"/>
                </a:cubicBezTo>
                <a:cubicBezTo>
                  <a:pt x="5454565" y="4572943"/>
                  <a:pt x="5461754" y="4570015"/>
                  <a:pt x="5470806" y="4570015"/>
                </a:cubicBezTo>
                <a:close/>
                <a:moveTo>
                  <a:pt x="5253160" y="4570015"/>
                </a:moveTo>
                <a:cubicBezTo>
                  <a:pt x="5257420" y="4570015"/>
                  <a:pt x="5261280" y="4570814"/>
                  <a:pt x="5264875" y="4572677"/>
                </a:cubicBezTo>
                <a:cubicBezTo>
                  <a:pt x="5268602" y="4574274"/>
                  <a:pt x="5271664" y="4576404"/>
                  <a:pt x="5274192" y="4579067"/>
                </a:cubicBezTo>
                <a:cubicBezTo>
                  <a:pt x="5276722" y="4581596"/>
                  <a:pt x="5278852" y="4584791"/>
                  <a:pt x="5280316" y="4588385"/>
                </a:cubicBezTo>
                <a:cubicBezTo>
                  <a:pt x="5281780" y="4591979"/>
                  <a:pt x="5282579" y="4595839"/>
                  <a:pt x="5282579" y="4599833"/>
                </a:cubicBezTo>
                <a:cubicBezTo>
                  <a:pt x="5282579" y="4603959"/>
                  <a:pt x="5281780" y="4607953"/>
                  <a:pt x="5280316" y="4611548"/>
                </a:cubicBezTo>
                <a:cubicBezTo>
                  <a:pt x="5278852" y="4615142"/>
                  <a:pt x="5276722" y="4618204"/>
                  <a:pt x="5274192" y="4620866"/>
                </a:cubicBezTo>
                <a:cubicBezTo>
                  <a:pt x="5271664" y="4623529"/>
                  <a:pt x="5268469" y="4625659"/>
                  <a:pt x="5264875" y="4627123"/>
                </a:cubicBezTo>
                <a:cubicBezTo>
                  <a:pt x="5261280" y="4628587"/>
                  <a:pt x="5257420" y="4629386"/>
                  <a:pt x="5253160" y="4629386"/>
                </a:cubicBezTo>
                <a:cubicBezTo>
                  <a:pt x="5244241" y="4629386"/>
                  <a:pt x="5236920" y="4626457"/>
                  <a:pt x="5231328" y="4620866"/>
                </a:cubicBezTo>
                <a:cubicBezTo>
                  <a:pt x="5225737" y="4615275"/>
                  <a:pt x="5222942" y="4608219"/>
                  <a:pt x="5222942" y="4599700"/>
                </a:cubicBezTo>
                <a:cubicBezTo>
                  <a:pt x="5222942" y="4591447"/>
                  <a:pt x="5225737" y="4584391"/>
                  <a:pt x="5231328" y="4578667"/>
                </a:cubicBezTo>
                <a:cubicBezTo>
                  <a:pt x="5236920" y="4572943"/>
                  <a:pt x="5244108" y="4570015"/>
                  <a:pt x="5253160" y="4570015"/>
                </a:cubicBezTo>
                <a:close/>
                <a:moveTo>
                  <a:pt x="5035515" y="4570015"/>
                </a:moveTo>
                <a:cubicBezTo>
                  <a:pt x="5039775" y="4570015"/>
                  <a:pt x="5043636" y="4570814"/>
                  <a:pt x="5047230" y="4572677"/>
                </a:cubicBezTo>
                <a:cubicBezTo>
                  <a:pt x="5050957" y="4574274"/>
                  <a:pt x="5054019" y="4576404"/>
                  <a:pt x="5056548" y="4579067"/>
                </a:cubicBezTo>
                <a:cubicBezTo>
                  <a:pt x="5059077" y="4581596"/>
                  <a:pt x="5061207" y="4584791"/>
                  <a:pt x="5062671" y="4588385"/>
                </a:cubicBezTo>
                <a:cubicBezTo>
                  <a:pt x="5064135" y="4591979"/>
                  <a:pt x="5064934" y="4595839"/>
                  <a:pt x="5064934" y="4599833"/>
                </a:cubicBezTo>
                <a:cubicBezTo>
                  <a:pt x="5064934" y="4603959"/>
                  <a:pt x="5064135" y="4607953"/>
                  <a:pt x="5062671" y="4611548"/>
                </a:cubicBezTo>
                <a:cubicBezTo>
                  <a:pt x="5061207" y="4615142"/>
                  <a:pt x="5059077" y="4618204"/>
                  <a:pt x="5056548" y="4620866"/>
                </a:cubicBezTo>
                <a:cubicBezTo>
                  <a:pt x="5053885" y="4623529"/>
                  <a:pt x="5050824" y="4625659"/>
                  <a:pt x="5047230" y="4627123"/>
                </a:cubicBezTo>
                <a:cubicBezTo>
                  <a:pt x="5043636" y="4628587"/>
                  <a:pt x="5039775" y="4629386"/>
                  <a:pt x="5035515" y="4629386"/>
                </a:cubicBezTo>
                <a:cubicBezTo>
                  <a:pt x="5026597" y="4629386"/>
                  <a:pt x="5019275" y="4626457"/>
                  <a:pt x="5013683" y="4620866"/>
                </a:cubicBezTo>
                <a:cubicBezTo>
                  <a:pt x="5008092" y="4615275"/>
                  <a:pt x="5005297" y="4608219"/>
                  <a:pt x="5005297" y="4599700"/>
                </a:cubicBezTo>
                <a:cubicBezTo>
                  <a:pt x="5005297" y="4591447"/>
                  <a:pt x="5008092" y="4584391"/>
                  <a:pt x="5013683" y="4578667"/>
                </a:cubicBezTo>
                <a:cubicBezTo>
                  <a:pt x="5019275" y="4572943"/>
                  <a:pt x="5026463" y="4570015"/>
                  <a:pt x="5035515" y="4570015"/>
                </a:cubicBezTo>
                <a:close/>
                <a:moveTo>
                  <a:pt x="4817870" y="4570015"/>
                </a:moveTo>
                <a:cubicBezTo>
                  <a:pt x="4822130" y="4570015"/>
                  <a:pt x="4826124" y="4570814"/>
                  <a:pt x="4829585" y="4572677"/>
                </a:cubicBezTo>
                <a:cubicBezTo>
                  <a:pt x="4833312" y="4574274"/>
                  <a:pt x="4836374" y="4576404"/>
                  <a:pt x="4838903" y="4579067"/>
                </a:cubicBezTo>
                <a:cubicBezTo>
                  <a:pt x="4841432" y="4581596"/>
                  <a:pt x="4843562" y="4584791"/>
                  <a:pt x="4845026" y="4588385"/>
                </a:cubicBezTo>
                <a:cubicBezTo>
                  <a:pt x="4846491" y="4591979"/>
                  <a:pt x="4847289" y="4595839"/>
                  <a:pt x="4847289" y="4599833"/>
                </a:cubicBezTo>
                <a:cubicBezTo>
                  <a:pt x="4847289" y="4603959"/>
                  <a:pt x="4846491" y="4607953"/>
                  <a:pt x="4845026" y="4611548"/>
                </a:cubicBezTo>
                <a:cubicBezTo>
                  <a:pt x="4843562" y="4615142"/>
                  <a:pt x="4841432" y="4618204"/>
                  <a:pt x="4838903" y="4620866"/>
                </a:cubicBezTo>
                <a:cubicBezTo>
                  <a:pt x="4836240" y="4623529"/>
                  <a:pt x="4833179" y="4625659"/>
                  <a:pt x="4829585" y="4627123"/>
                </a:cubicBezTo>
                <a:cubicBezTo>
                  <a:pt x="4825991" y="4628587"/>
                  <a:pt x="4822130" y="4629386"/>
                  <a:pt x="4817870" y="4629386"/>
                </a:cubicBezTo>
                <a:cubicBezTo>
                  <a:pt x="4808952" y="4629386"/>
                  <a:pt x="4801630" y="4626457"/>
                  <a:pt x="4796038" y="4620866"/>
                </a:cubicBezTo>
                <a:cubicBezTo>
                  <a:pt x="4790447" y="4615275"/>
                  <a:pt x="4787652" y="4608219"/>
                  <a:pt x="4787652" y="4599700"/>
                </a:cubicBezTo>
                <a:cubicBezTo>
                  <a:pt x="4787652" y="4591447"/>
                  <a:pt x="4790447" y="4584391"/>
                  <a:pt x="4796038" y="4578667"/>
                </a:cubicBezTo>
                <a:cubicBezTo>
                  <a:pt x="4801630" y="4572943"/>
                  <a:pt x="4808818" y="4570015"/>
                  <a:pt x="4817870" y="4570015"/>
                </a:cubicBezTo>
                <a:close/>
                <a:moveTo>
                  <a:pt x="4600226" y="4570015"/>
                </a:moveTo>
                <a:cubicBezTo>
                  <a:pt x="4604485" y="4570015"/>
                  <a:pt x="4608479" y="4570814"/>
                  <a:pt x="4612073" y="4572677"/>
                </a:cubicBezTo>
                <a:cubicBezTo>
                  <a:pt x="4615800" y="4574274"/>
                  <a:pt x="4618862" y="4576404"/>
                  <a:pt x="4621391" y="4579067"/>
                </a:cubicBezTo>
                <a:cubicBezTo>
                  <a:pt x="4623920" y="4581596"/>
                  <a:pt x="4626050" y="4584791"/>
                  <a:pt x="4627514" y="4588385"/>
                </a:cubicBezTo>
                <a:cubicBezTo>
                  <a:pt x="4628978" y="4591979"/>
                  <a:pt x="4629777" y="4595839"/>
                  <a:pt x="4629777" y="4599833"/>
                </a:cubicBezTo>
                <a:cubicBezTo>
                  <a:pt x="4629777" y="4603959"/>
                  <a:pt x="4628978" y="4607953"/>
                  <a:pt x="4627514" y="4611548"/>
                </a:cubicBezTo>
                <a:cubicBezTo>
                  <a:pt x="4626050" y="4615142"/>
                  <a:pt x="4623920" y="4618204"/>
                  <a:pt x="4621391" y="4620866"/>
                </a:cubicBezTo>
                <a:cubicBezTo>
                  <a:pt x="4618729" y="4623529"/>
                  <a:pt x="4615667" y="4625659"/>
                  <a:pt x="4612073" y="4627123"/>
                </a:cubicBezTo>
                <a:cubicBezTo>
                  <a:pt x="4608346" y="4628587"/>
                  <a:pt x="4604485" y="4629386"/>
                  <a:pt x="4600226" y="4629386"/>
                </a:cubicBezTo>
                <a:cubicBezTo>
                  <a:pt x="4591173" y="4629386"/>
                  <a:pt x="4583985" y="4626457"/>
                  <a:pt x="4578393" y="4620866"/>
                </a:cubicBezTo>
                <a:cubicBezTo>
                  <a:pt x="4572803" y="4615275"/>
                  <a:pt x="4570007" y="4608219"/>
                  <a:pt x="4570007" y="4599700"/>
                </a:cubicBezTo>
                <a:cubicBezTo>
                  <a:pt x="4570007" y="4591447"/>
                  <a:pt x="4572803" y="4584391"/>
                  <a:pt x="4578393" y="4578667"/>
                </a:cubicBezTo>
                <a:cubicBezTo>
                  <a:pt x="4583985" y="4572943"/>
                  <a:pt x="4591173" y="4570015"/>
                  <a:pt x="4600226" y="4570015"/>
                </a:cubicBezTo>
                <a:close/>
                <a:moveTo>
                  <a:pt x="4382713" y="4570015"/>
                </a:moveTo>
                <a:cubicBezTo>
                  <a:pt x="4386840" y="4570015"/>
                  <a:pt x="4390834" y="4570814"/>
                  <a:pt x="4394428" y="4572677"/>
                </a:cubicBezTo>
                <a:cubicBezTo>
                  <a:pt x="4398155" y="4574274"/>
                  <a:pt x="4401217" y="4576404"/>
                  <a:pt x="4403746" y="4579067"/>
                </a:cubicBezTo>
                <a:cubicBezTo>
                  <a:pt x="4406275" y="4581596"/>
                  <a:pt x="4408405" y="4584791"/>
                  <a:pt x="4409869" y="4588385"/>
                </a:cubicBezTo>
                <a:cubicBezTo>
                  <a:pt x="4411334" y="4591979"/>
                  <a:pt x="4412132" y="4595839"/>
                  <a:pt x="4412132" y="4599833"/>
                </a:cubicBezTo>
                <a:cubicBezTo>
                  <a:pt x="4412132" y="4603959"/>
                  <a:pt x="4411334" y="4607953"/>
                  <a:pt x="4409869" y="4611548"/>
                </a:cubicBezTo>
                <a:cubicBezTo>
                  <a:pt x="4408405" y="4615142"/>
                  <a:pt x="4406275" y="4618204"/>
                  <a:pt x="4403746" y="4620866"/>
                </a:cubicBezTo>
                <a:cubicBezTo>
                  <a:pt x="4401083" y="4623529"/>
                  <a:pt x="4398022" y="4625659"/>
                  <a:pt x="4394428" y="4627123"/>
                </a:cubicBezTo>
                <a:cubicBezTo>
                  <a:pt x="4390834" y="4628587"/>
                  <a:pt x="4386973" y="4629386"/>
                  <a:pt x="4382713" y="4629386"/>
                </a:cubicBezTo>
                <a:cubicBezTo>
                  <a:pt x="4373661" y="4629386"/>
                  <a:pt x="4366473" y="4626457"/>
                  <a:pt x="4360881" y="4620866"/>
                </a:cubicBezTo>
                <a:cubicBezTo>
                  <a:pt x="4355290" y="4615275"/>
                  <a:pt x="4352495" y="4608219"/>
                  <a:pt x="4352495" y="4599700"/>
                </a:cubicBezTo>
                <a:cubicBezTo>
                  <a:pt x="4352495" y="4591447"/>
                  <a:pt x="4355290" y="4584391"/>
                  <a:pt x="4360881" y="4578667"/>
                </a:cubicBezTo>
                <a:cubicBezTo>
                  <a:pt x="4366473" y="4572943"/>
                  <a:pt x="4373661" y="4570015"/>
                  <a:pt x="4382713" y="4570015"/>
                </a:cubicBezTo>
                <a:close/>
                <a:moveTo>
                  <a:pt x="4165068" y="4570015"/>
                </a:moveTo>
                <a:cubicBezTo>
                  <a:pt x="4169327" y="4570015"/>
                  <a:pt x="4173188" y="4570814"/>
                  <a:pt x="4176782" y="4572677"/>
                </a:cubicBezTo>
                <a:cubicBezTo>
                  <a:pt x="4180509" y="4574274"/>
                  <a:pt x="4183571" y="4576404"/>
                  <a:pt x="4186100" y="4579067"/>
                </a:cubicBezTo>
                <a:cubicBezTo>
                  <a:pt x="4188629" y="4581596"/>
                  <a:pt x="4190759" y="4584791"/>
                  <a:pt x="4192223" y="4588385"/>
                </a:cubicBezTo>
                <a:cubicBezTo>
                  <a:pt x="4193688" y="4591979"/>
                  <a:pt x="4194486" y="4595839"/>
                  <a:pt x="4194486" y="4599833"/>
                </a:cubicBezTo>
                <a:cubicBezTo>
                  <a:pt x="4194486" y="4603959"/>
                  <a:pt x="4193688" y="4607953"/>
                  <a:pt x="4192223" y="4611548"/>
                </a:cubicBezTo>
                <a:cubicBezTo>
                  <a:pt x="4190759" y="4615142"/>
                  <a:pt x="4188629" y="4618204"/>
                  <a:pt x="4186100" y="4620866"/>
                </a:cubicBezTo>
                <a:cubicBezTo>
                  <a:pt x="4183438" y="4623529"/>
                  <a:pt x="4180376" y="4625659"/>
                  <a:pt x="4176782" y="4627123"/>
                </a:cubicBezTo>
                <a:cubicBezTo>
                  <a:pt x="4173188" y="4628587"/>
                  <a:pt x="4169327" y="4629386"/>
                  <a:pt x="4165068" y="4629386"/>
                </a:cubicBezTo>
                <a:cubicBezTo>
                  <a:pt x="4156015" y="4629386"/>
                  <a:pt x="4148827" y="4626457"/>
                  <a:pt x="4143235" y="4620866"/>
                </a:cubicBezTo>
                <a:cubicBezTo>
                  <a:pt x="4137645" y="4615275"/>
                  <a:pt x="4134849" y="4608219"/>
                  <a:pt x="4134849" y="4599700"/>
                </a:cubicBezTo>
                <a:cubicBezTo>
                  <a:pt x="4134849" y="4591447"/>
                  <a:pt x="4137645" y="4584391"/>
                  <a:pt x="4143235" y="4578667"/>
                </a:cubicBezTo>
                <a:cubicBezTo>
                  <a:pt x="4148827" y="4572943"/>
                  <a:pt x="4156015" y="4570015"/>
                  <a:pt x="4165068" y="4570015"/>
                </a:cubicBezTo>
                <a:close/>
                <a:moveTo>
                  <a:pt x="3947674" y="4570015"/>
                </a:moveTo>
                <a:cubicBezTo>
                  <a:pt x="3951937" y="4570015"/>
                  <a:pt x="3955796" y="4570814"/>
                  <a:pt x="3959392" y="4572677"/>
                </a:cubicBezTo>
                <a:cubicBezTo>
                  <a:pt x="3963120" y="4574274"/>
                  <a:pt x="3966181" y="4576404"/>
                  <a:pt x="3968710" y="4579067"/>
                </a:cubicBezTo>
                <a:cubicBezTo>
                  <a:pt x="3971240" y="4581596"/>
                  <a:pt x="3973370" y="4584791"/>
                  <a:pt x="3974834" y="4588385"/>
                </a:cubicBezTo>
                <a:cubicBezTo>
                  <a:pt x="3976298" y="4591979"/>
                  <a:pt x="3977097" y="4595839"/>
                  <a:pt x="3977097" y="4599833"/>
                </a:cubicBezTo>
                <a:cubicBezTo>
                  <a:pt x="3977097" y="4603959"/>
                  <a:pt x="3976298" y="4607953"/>
                  <a:pt x="3974834" y="4611548"/>
                </a:cubicBezTo>
                <a:cubicBezTo>
                  <a:pt x="3973370" y="4615142"/>
                  <a:pt x="3971240" y="4618204"/>
                  <a:pt x="3968710" y="4620866"/>
                </a:cubicBezTo>
                <a:cubicBezTo>
                  <a:pt x="3966048" y="4623529"/>
                  <a:pt x="3962987" y="4625659"/>
                  <a:pt x="3959392" y="4627123"/>
                </a:cubicBezTo>
                <a:cubicBezTo>
                  <a:pt x="3955796" y="4628587"/>
                  <a:pt x="3951937" y="4629386"/>
                  <a:pt x="3947674" y="4629386"/>
                </a:cubicBezTo>
                <a:cubicBezTo>
                  <a:pt x="3938622" y="4629386"/>
                  <a:pt x="3931434" y="4626457"/>
                  <a:pt x="3925842" y="4620866"/>
                </a:cubicBezTo>
                <a:cubicBezTo>
                  <a:pt x="3920251" y="4615275"/>
                  <a:pt x="3917456" y="4608219"/>
                  <a:pt x="3917456" y="4599700"/>
                </a:cubicBezTo>
                <a:cubicBezTo>
                  <a:pt x="3917456" y="4591447"/>
                  <a:pt x="3920251" y="4584391"/>
                  <a:pt x="3925842" y="4578667"/>
                </a:cubicBezTo>
                <a:cubicBezTo>
                  <a:pt x="3931434" y="4572943"/>
                  <a:pt x="3938622" y="4570015"/>
                  <a:pt x="3947674" y="4570015"/>
                </a:cubicBezTo>
                <a:close/>
                <a:moveTo>
                  <a:pt x="3730018" y="4570015"/>
                </a:moveTo>
                <a:cubicBezTo>
                  <a:pt x="3734279" y="4570015"/>
                  <a:pt x="3738271" y="4570814"/>
                  <a:pt x="3741733" y="4572677"/>
                </a:cubicBezTo>
                <a:cubicBezTo>
                  <a:pt x="3745328" y="4574274"/>
                  <a:pt x="3748523" y="4576404"/>
                  <a:pt x="3751052" y="4579067"/>
                </a:cubicBezTo>
                <a:cubicBezTo>
                  <a:pt x="3753581" y="4581596"/>
                  <a:pt x="3755711" y="4584791"/>
                  <a:pt x="3757175" y="4588385"/>
                </a:cubicBezTo>
                <a:cubicBezTo>
                  <a:pt x="3758639" y="4591979"/>
                  <a:pt x="3759438" y="4595839"/>
                  <a:pt x="3759438" y="4599833"/>
                </a:cubicBezTo>
                <a:cubicBezTo>
                  <a:pt x="3759438" y="4603959"/>
                  <a:pt x="3758639" y="4607953"/>
                  <a:pt x="3757175" y="4611548"/>
                </a:cubicBezTo>
                <a:cubicBezTo>
                  <a:pt x="3755711" y="4615142"/>
                  <a:pt x="3753581" y="4618204"/>
                  <a:pt x="3751052" y="4620866"/>
                </a:cubicBezTo>
                <a:cubicBezTo>
                  <a:pt x="3748389" y="4623529"/>
                  <a:pt x="3745328" y="4625659"/>
                  <a:pt x="3741733" y="4627123"/>
                </a:cubicBezTo>
                <a:cubicBezTo>
                  <a:pt x="3738140" y="4628587"/>
                  <a:pt x="3734279" y="4629386"/>
                  <a:pt x="3730018" y="4629386"/>
                </a:cubicBezTo>
                <a:cubicBezTo>
                  <a:pt x="3720966" y="4629386"/>
                  <a:pt x="3713776" y="4626457"/>
                  <a:pt x="3708180" y="4620866"/>
                </a:cubicBezTo>
                <a:cubicBezTo>
                  <a:pt x="3702587" y="4615275"/>
                  <a:pt x="3699793" y="4608219"/>
                  <a:pt x="3699793" y="4599700"/>
                </a:cubicBezTo>
                <a:cubicBezTo>
                  <a:pt x="3699793" y="4591447"/>
                  <a:pt x="3702587" y="4584391"/>
                  <a:pt x="3708180" y="4578667"/>
                </a:cubicBezTo>
                <a:cubicBezTo>
                  <a:pt x="3713776" y="4572943"/>
                  <a:pt x="3720966" y="4570015"/>
                  <a:pt x="3730018" y="4570015"/>
                </a:cubicBezTo>
                <a:close/>
                <a:moveTo>
                  <a:pt x="3512359" y="4570015"/>
                </a:moveTo>
                <a:cubicBezTo>
                  <a:pt x="3516620" y="4570015"/>
                  <a:pt x="3520613" y="4570814"/>
                  <a:pt x="3524075" y="4572677"/>
                </a:cubicBezTo>
                <a:cubicBezTo>
                  <a:pt x="3527669" y="4574274"/>
                  <a:pt x="3530864" y="4576404"/>
                  <a:pt x="3533393" y="4579067"/>
                </a:cubicBezTo>
                <a:cubicBezTo>
                  <a:pt x="3535923" y="4581596"/>
                  <a:pt x="3538053" y="4584791"/>
                  <a:pt x="3539517" y="4588385"/>
                </a:cubicBezTo>
                <a:cubicBezTo>
                  <a:pt x="3540981" y="4591979"/>
                  <a:pt x="3541780" y="4595839"/>
                  <a:pt x="3541780" y="4599833"/>
                </a:cubicBezTo>
                <a:cubicBezTo>
                  <a:pt x="3541780" y="4603959"/>
                  <a:pt x="3540981" y="4607953"/>
                  <a:pt x="3539517" y="4611548"/>
                </a:cubicBezTo>
                <a:cubicBezTo>
                  <a:pt x="3538053" y="4615142"/>
                  <a:pt x="3535923" y="4618204"/>
                  <a:pt x="3533393" y="4620866"/>
                </a:cubicBezTo>
                <a:cubicBezTo>
                  <a:pt x="3530730" y="4623529"/>
                  <a:pt x="3527669" y="4625659"/>
                  <a:pt x="3524075" y="4627123"/>
                </a:cubicBezTo>
                <a:cubicBezTo>
                  <a:pt x="3520481" y="4628587"/>
                  <a:pt x="3516620" y="4629386"/>
                  <a:pt x="3512359" y="4629386"/>
                </a:cubicBezTo>
                <a:cubicBezTo>
                  <a:pt x="3503305" y="4629386"/>
                  <a:pt x="3496115" y="4626457"/>
                  <a:pt x="3490524" y="4620866"/>
                </a:cubicBezTo>
                <a:cubicBezTo>
                  <a:pt x="3484933" y="4615275"/>
                  <a:pt x="3482137" y="4608219"/>
                  <a:pt x="3482137" y="4599700"/>
                </a:cubicBezTo>
                <a:cubicBezTo>
                  <a:pt x="3482137" y="4591447"/>
                  <a:pt x="3484933" y="4584391"/>
                  <a:pt x="3490524" y="4578667"/>
                </a:cubicBezTo>
                <a:cubicBezTo>
                  <a:pt x="3496115" y="4572943"/>
                  <a:pt x="3503305" y="4570015"/>
                  <a:pt x="3512359" y="4570015"/>
                </a:cubicBezTo>
                <a:close/>
                <a:moveTo>
                  <a:pt x="3294835" y="4570015"/>
                </a:moveTo>
                <a:cubicBezTo>
                  <a:pt x="3298962" y="4570015"/>
                  <a:pt x="3302956" y="4570814"/>
                  <a:pt x="3306550" y="4572677"/>
                </a:cubicBezTo>
                <a:cubicBezTo>
                  <a:pt x="3310277" y="4574274"/>
                  <a:pt x="3313339" y="4576404"/>
                  <a:pt x="3315868" y="4579067"/>
                </a:cubicBezTo>
                <a:cubicBezTo>
                  <a:pt x="3318397" y="4581596"/>
                  <a:pt x="3320528" y="4584791"/>
                  <a:pt x="3321992" y="4588385"/>
                </a:cubicBezTo>
                <a:cubicBezTo>
                  <a:pt x="3323456" y="4591979"/>
                  <a:pt x="3324255" y="4595839"/>
                  <a:pt x="3324255" y="4599833"/>
                </a:cubicBezTo>
                <a:cubicBezTo>
                  <a:pt x="3324255" y="4603959"/>
                  <a:pt x="3323456" y="4607953"/>
                  <a:pt x="3321992" y="4611548"/>
                </a:cubicBezTo>
                <a:cubicBezTo>
                  <a:pt x="3320528" y="4615142"/>
                  <a:pt x="3318397" y="4618204"/>
                  <a:pt x="3315868" y="4620866"/>
                </a:cubicBezTo>
                <a:cubicBezTo>
                  <a:pt x="3313205" y="4623529"/>
                  <a:pt x="3310144" y="4625659"/>
                  <a:pt x="3306550" y="4627123"/>
                </a:cubicBezTo>
                <a:cubicBezTo>
                  <a:pt x="3302956" y="4628587"/>
                  <a:pt x="3299095" y="4629386"/>
                  <a:pt x="3294835" y="4629386"/>
                </a:cubicBezTo>
                <a:cubicBezTo>
                  <a:pt x="3285781" y="4629386"/>
                  <a:pt x="3278591" y="4626457"/>
                  <a:pt x="3272997" y="4620866"/>
                </a:cubicBezTo>
                <a:cubicBezTo>
                  <a:pt x="3267405" y="4615275"/>
                  <a:pt x="3264610" y="4608219"/>
                  <a:pt x="3264610" y="4599700"/>
                </a:cubicBezTo>
                <a:cubicBezTo>
                  <a:pt x="3264610" y="4591447"/>
                  <a:pt x="3267405" y="4584391"/>
                  <a:pt x="3272997" y="4578667"/>
                </a:cubicBezTo>
                <a:cubicBezTo>
                  <a:pt x="3278591" y="4572943"/>
                  <a:pt x="3285781" y="4570015"/>
                  <a:pt x="3294835" y="4570015"/>
                </a:cubicBezTo>
                <a:close/>
                <a:moveTo>
                  <a:pt x="3077176" y="4570015"/>
                </a:moveTo>
                <a:cubicBezTo>
                  <a:pt x="3081304" y="4570015"/>
                  <a:pt x="3085298" y="4570814"/>
                  <a:pt x="3088892" y="4572677"/>
                </a:cubicBezTo>
                <a:cubicBezTo>
                  <a:pt x="3092486" y="4574274"/>
                  <a:pt x="3095681" y="4576404"/>
                  <a:pt x="3098210" y="4579067"/>
                </a:cubicBezTo>
                <a:cubicBezTo>
                  <a:pt x="3100739" y="4581596"/>
                  <a:pt x="3102869" y="4584791"/>
                  <a:pt x="3104333" y="4588385"/>
                </a:cubicBezTo>
                <a:cubicBezTo>
                  <a:pt x="3105798" y="4591979"/>
                  <a:pt x="3106596" y="4595839"/>
                  <a:pt x="3106596" y="4599833"/>
                </a:cubicBezTo>
                <a:cubicBezTo>
                  <a:pt x="3106596" y="4603959"/>
                  <a:pt x="3105798" y="4607953"/>
                  <a:pt x="3104333" y="4611548"/>
                </a:cubicBezTo>
                <a:cubicBezTo>
                  <a:pt x="3102869" y="4615142"/>
                  <a:pt x="3100739" y="4618204"/>
                  <a:pt x="3098210" y="4620866"/>
                </a:cubicBezTo>
                <a:cubicBezTo>
                  <a:pt x="3095547" y="4623529"/>
                  <a:pt x="3092486" y="4625659"/>
                  <a:pt x="3088892" y="4627123"/>
                </a:cubicBezTo>
                <a:cubicBezTo>
                  <a:pt x="3085298" y="4628587"/>
                  <a:pt x="3081437" y="4629386"/>
                  <a:pt x="3077176" y="4629386"/>
                </a:cubicBezTo>
                <a:cubicBezTo>
                  <a:pt x="3068256" y="4629386"/>
                  <a:pt x="3060934" y="4626457"/>
                  <a:pt x="3055339" y="4620866"/>
                </a:cubicBezTo>
                <a:cubicBezTo>
                  <a:pt x="3049748" y="4615275"/>
                  <a:pt x="3046953" y="4608219"/>
                  <a:pt x="3046953" y="4599700"/>
                </a:cubicBezTo>
                <a:cubicBezTo>
                  <a:pt x="3046953" y="4591447"/>
                  <a:pt x="3049748" y="4584391"/>
                  <a:pt x="3055339" y="4578667"/>
                </a:cubicBezTo>
                <a:cubicBezTo>
                  <a:pt x="3060934" y="4572943"/>
                  <a:pt x="3068123" y="4570015"/>
                  <a:pt x="3077176" y="4570015"/>
                </a:cubicBezTo>
                <a:close/>
                <a:moveTo>
                  <a:pt x="2859518" y="4570015"/>
                </a:moveTo>
                <a:cubicBezTo>
                  <a:pt x="2863779" y="4570015"/>
                  <a:pt x="2867640" y="4570814"/>
                  <a:pt x="2871367" y="4572677"/>
                </a:cubicBezTo>
                <a:cubicBezTo>
                  <a:pt x="2875094" y="4574274"/>
                  <a:pt x="2878156" y="4576404"/>
                  <a:pt x="2880685" y="4579067"/>
                </a:cubicBezTo>
                <a:cubicBezTo>
                  <a:pt x="2883347" y="4581596"/>
                  <a:pt x="2885344" y="4584791"/>
                  <a:pt x="2886808" y="4588385"/>
                </a:cubicBezTo>
                <a:cubicBezTo>
                  <a:pt x="2888273" y="4591979"/>
                  <a:pt x="2889071" y="4595839"/>
                  <a:pt x="2889071" y="4599833"/>
                </a:cubicBezTo>
                <a:cubicBezTo>
                  <a:pt x="2889071" y="4603959"/>
                  <a:pt x="2888273" y="4607953"/>
                  <a:pt x="2886808" y="4611548"/>
                </a:cubicBezTo>
                <a:cubicBezTo>
                  <a:pt x="2885344" y="4615142"/>
                  <a:pt x="2883214" y="4618204"/>
                  <a:pt x="2880685" y="4620866"/>
                </a:cubicBezTo>
                <a:cubicBezTo>
                  <a:pt x="2878023" y="4623529"/>
                  <a:pt x="2874960" y="4625659"/>
                  <a:pt x="2871367" y="4627123"/>
                </a:cubicBezTo>
                <a:cubicBezTo>
                  <a:pt x="2867640" y="4628587"/>
                  <a:pt x="2863779" y="4629386"/>
                  <a:pt x="2859518" y="4629386"/>
                </a:cubicBezTo>
                <a:cubicBezTo>
                  <a:pt x="2850601" y="4629386"/>
                  <a:pt x="2843273" y="4626457"/>
                  <a:pt x="2837682" y="4620866"/>
                </a:cubicBezTo>
                <a:cubicBezTo>
                  <a:pt x="2832091" y="4615275"/>
                  <a:pt x="2829294" y="4608219"/>
                  <a:pt x="2829294" y="4599700"/>
                </a:cubicBezTo>
                <a:cubicBezTo>
                  <a:pt x="2829294" y="4591447"/>
                  <a:pt x="2832091" y="4584391"/>
                  <a:pt x="2837682" y="4578667"/>
                </a:cubicBezTo>
                <a:cubicBezTo>
                  <a:pt x="2843273" y="4572943"/>
                  <a:pt x="2850467" y="4570015"/>
                  <a:pt x="2859518" y="4570015"/>
                </a:cubicBezTo>
                <a:close/>
                <a:moveTo>
                  <a:pt x="2641860" y="4570015"/>
                </a:moveTo>
                <a:cubicBezTo>
                  <a:pt x="2646120" y="4570015"/>
                  <a:pt x="2649980" y="4570814"/>
                  <a:pt x="2653576" y="4572677"/>
                </a:cubicBezTo>
                <a:cubicBezTo>
                  <a:pt x="2657302" y="4574274"/>
                  <a:pt x="2660364" y="4576404"/>
                  <a:pt x="2662893" y="4579067"/>
                </a:cubicBezTo>
                <a:cubicBezTo>
                  <a:pt x="2665555" y="4581596"/>
                  <a:pt x="2667553" y="4584791"/>
                  <a:pt x="2669017" y="4588385"/>
                </a:cubicBezTo>
                <a:cubicBezTo>
                  <a:pt x="2670481" y="4591979"/>
                  <a:pt x="2671280" y="4595839"/>
                  <a:pt x="2671280" y="4599833"/>
                </a:cubicBezTo>
                <a:cubicBezTo>
                  <a:pt x="2671280" y="4603959"/>
                  <a:pt x="2670481" y="4607953"/>
                  <a:pt x="2669017" y="4611548"/>
                </a:cubicBezTo>
                <a:cubicBezTo>
                  <a:pt x="2667553" y="4615142"/>
                  <a:pt x="2665423" y="4618204"/>
                  <a:pt x="2662893" y="4620866"/>
                </a:cubicBezTo>
                <a:cubicBezTo>
                  <a:pt x="2660364" y="4623529"/>
                  <a:pt x="2657169" y="4625659"/>
                  <a:pt x="2653576" y="4627123"/>
                </a:cubicBezTo>
                <a:cubicBezTo>
                  <a:pt x="2649980" y="4628587"/>
                  <a:pt x="2646120" y="4629386"/>
                  <a:pt x="2641860" y="4629386"/>
                </a:cubicBezTo>
                <a:cubicBezTo>
                  <a:pt x="2632941" y="4629386"/>
                  <a:pt x="2625618" y="4626457"/>
                  <a:pt x="2620027" y="4620866"/>
                </a:cubicBezTo>
                <a:cubicBezTo>
                  <a:pt x="2614435" y="4615275"/>
                  <a:pt x="2611637" y="4608219"/>
                  <a:pt x="2611637" y="4599700"/>
                </a:cubicBezTo>
                <a:cubicBezTo>
                  <a:pt x="2611637" y="4591447"/>
                  <a:pt x="2614435" y="4584391"/>
                  <a:pt x="2620027" y="4578667"/>
                </a:cubicBezTo>
                <a:cubicBezTo>
                  <a:pt x="2625618" y="4572943"/>
                  <a:pt x="2632808" y="4570015"/>
                  <a:pt x="2641860" y="4570015"/>
                </a:cubicBezTo>
                <a:close/>
                <a:moveTo>
                  <a:pt x="2424201" y="4570015"/>
                </a:moveTo>
                <a:cubicBezTo>
                  <a:pt x="2428462" y="4570015"/>
                  <a:pt x="2432456" y="4570814"/>
                  <a:pt x="2435917" y="4572677"/>
                </a:cubicBezTo>
                <a:cubicBezTo>
                  <a:pt x="2439644" y="4574274"/>
                  <a:pt x="2442706" y="4576404"/>
                  <a:pt x="2445235" y="4579067"/>
                </a:cubicBezTo>
                <a:cubicBezTo>
                  <a:pt x="2447897" y="4581596"/>
                  <a:pt x="2449894" y="4584791"/>
                  <a:pt x="2451358" y="4588385"/>
                </a:cubicBezTo>
                <a:cubicBezTo>
                  <a:pt x="2452822" y="4591979"/>
                  <a:pt x="2453621" y="4595839"/>
                  <a:pt x="2453621" y="4599833"/>
                </a:cubicBezTo>
                <a:cubicBezTo>
                  <a:pt x="2453621" y="4603959"/>
                  <a:pt x="2452822" y="4607953"/>
                  <a:pt x="2451358" y="4611548"/>
                </a:cubicBezTo>
                <a:cubicBezTo>
                  <a:pt x="2449894" y="4615142"/>
                  <a:pt x="2447764" y="4618204"/>
                  <a:pt x="2445235" y="4620866"/>
                </a:cubicBezTo>
                <a:cubicBezTo>
                  <a:pt x="2442706" y="4623529"/>
                  <a:pt x="2439511" y="4625659"/>
                  <a:pt x="2435917" y="4627123"/>
                </a:cubicBezTo>
                <a:cubicBezTo>
                  <a:pt x="2432323" y="4628587"/>
                  <a:pt x="2428462" y="4629386"/>
                  <a:pt x="2424201" y="4629386"/>
                </a:cubicBezTo>
                <a:cubicBezTo>
                  <a:pt x="2415284" y="4629386"/>
                  <a:pt x="2407961" y="4626457"/>
                  <a:pt x="2402370" y="4620866"/>
                </a:cubicBezTo>
                <a:cubicBezTo>
                  <a:pt x="2396777" y="4615275"/>
                  <a:pt x="2393981" y="4608219"/>
                  <a:pt x="2393981" y="4599700"/>
                </a:cubicBezTo>
                <a:cubicBezTo>
                  <a:pt x="2393981" y="4591447"/>
                  <a:pt x="2396777" y="4584391"/>
                  <a:pt x="2402370" y="4578667"/>
                </a:cubicBezTo>
                <a:cubicBezTo>
                  <a:pt x="2407961" y="4572943"/>
                  <a:pt x="2415150" y="4570015"/>
                  <a:pt x="2424201" y="4570015"/>
                </a:cubicBezTo>
                <a:close/>
                <a:moveTo>
                  <a:pt x="2206544" y="4570015"/>
                </a:moveTo>
                <a:cubicBezTo>
                  <a:pt x="2210803" y="4570015"/>
                  <a:pt x="2214798" y="4570814"/>
                  <a:pt x="2218259" y="4572677"/>
                </a:cubicBezTo>
                <a:cubicBezTo>
                  <a:pt x="2221985" y="4574274"/>
                  <a:pt x="2225047" y="4576404"/>
                  <a:pt x="2227577" y="4579067"/>
                </a:cubicBezTo>
                <a:cubicBezTo>
                  <a:pt x="2230239" y="4581596"/>
                  <a:pt x="2232236" y="4584791"/>
                  <a:pt x="2233700" y="4588385"/>
                </a:cubicBezTo>
                <a:cubicBezTo>
                  <a:pt x="2235164" y="4591979"/>
                  <a:pt x="2235963" y="4595839"/>
                  <a:pt x="2235963" y="4599833"/>
                </a:cubicBezTo>
                <a:cubicBezTo>
                  <a:pt x="2235963" y="4603959"/>
                  <a:pt x="2235164" y="4607953"/>
                  <a:pt x="2233700" y="4611548"/>
                </a:cubicBezTo>
                <a:cubicBezTo>
                  <a:pt x="2232236" y="4615142"/>
                  <a:pt x="2230106" y="4618204"/>
                  <a:pt x="2227577" y="4620866"/>
                </a:cubicBezTo>
                <a:cubicBezTo>
                  <a:pt x="2225047" y="4623529"/>
                  <a:pt x="2221853" y="4625659"/>
                  <a:pt x="2218259" y="4627123"/>
                </a:cubicBezTo>
                <a:cubicBezTo>
                  <a:pt x="2214664" y="4628587"/>
                  <a:pt x="2210803" y="4629386"/>
                  <a:pt x="2206544" y="4629386"/>
                </a:cubicBezTo>
                <a:cubicBezTo>
                  <a:pt x="2197491" y="4629386"/>
                  <a:pt x="2190303" y="4626457"/>
                  <a:pt x="2184710" y="4620866"/>
                </a:cubicBezTo>
                <a:cubicBezTo>
                  <a:pt x="2179119" y="4615275"/>
                  <a:pt x="2176323" y="4608219"/>
                  <a:pt x="2176323" y="4599700"/>
                </a:cubicBezTo>
                <a:cubicBezTo>
                  <a:pt x="2176323" y="4591447"/>
                  <a:pt x="2179119" y="4584391"/>
                  <a:pt x="2184710" y="4578667"/>
                </a:cubicBezTo>
                <a:cubicBezTo>
                  <a:pt x="2190303" y="4572943"/>
                  <a:pt x="2197491" y="4570015"/>
                  <a:pt x="2206544" y="4570015"/>
                </a:cubicBezTo>
                <a:close/>
                <a:moveTo>
                  <a:pt x="1989018" y="4570015"/>
                </a:moveTo>
                <a:cubicBezTo>
                  <a:pt x="1993145" y="4570015"/>
                  <a:pt x="1997139" y="4570814"/>
                  <a:pt x="2000733" y="4572677"/>
                </a:cubicBezTo>
                <a:cubicBezTo>
                  <a:pt x="2004460" y="4574274"/>
                  <a:pt x="2007522" y="4576404"/>
                  <a:pt x="2010051" y="4579067"/>
                </a:cubicBezTo>
                <a:cubicBezTo>
                  <a:pt x="2012713" y="4581596"/>
                  <a:pt x="2014711" y="4584791"/>
                  <a:pt x="2016175" y="4588385"/>
                </a:cubicBezTo>
                <a:cubicBezTo>
                  <a:pt x="2017639" y="4591979"/>
                  <a:pt x="2018438" y="4595839"/>
                  <a:pt x="2018438" y="4599833"/>
                </a:cubicBezTo>
                <a:cubicBezTo>
                  <a:pt x="2018438" y="4603959"/>
                  <a:pt x="2017639" y="4607953"/>
                  <a:pt x="2016175" y="4611548"/>
                </a:cubicBezTo>
                <a:cubicBezTo>
                  <a:pt x="2014711" y="4615142"/>
                  <a:pt x="2012580" y="4618204"/>
                  <a:pt x="2010051" y="4620866"/>
                </a:cubicBezTo>
                <a:cubicBezTo>
                  <a:pt x="2007522" y="4623529"/>
                  <a:pt x="2004327" y="4625659"/>
                  <a:pt x="2000733" y="4627123"/>
                </a:cubicBezTo>
                <a:cubicBezTo>
                  <a:pt x="1997139" y="4628587"/>
                  <a:pt x="1993278" y="4629386"/>
                  <a:pt x="1989018" y="4629386"/>
                </a:cubicBezTo>
                <a:cubicBezTo>
                  <a:pt x="1979967" y="4629386"/>
                  <a:pt x="1972778" y="4626457"/>
                  <a:pt x="1967187" y="4620866"/>
                </a:cubicBezTo>
                <a:cubicBezTo>
                  <a:pt x="1961596" y="4615275"/>
                  <a:pt x="1958801" y="4608219"/>
                  <a:pt x="1958801" y="4599700"/>
                </a:cubicBezTo>
                <a:cubicBezTo>
                  <a:pt x="1958801" y="4591447"/>
                  <a:pt x="1961596" y="4584391"/>
                  <a:pt x="1967187" y="4578667"/>
                </a:cubicBezTo>
                <a:cubicBezTo>
                  <a:pt x="1972778" y="4572943"/>
                  <a:pt x="1979967" y="4570015"/>
                  <a:pt x="1989018" y="4570015"/>
                </a:cubicBezTo>
                <a:close/>
                <a:moveTo>
                  <a:pt x="1771382" y="4570015"/>
                </a:moveTo>
                <a:cubicBezTo>
                  <a:pt x="1775642" y="4570015"/>
                  <a:pt x="1779501" y="4570814"/>
                  <a:pt x="1783096" y="4572677"/>
                </a:cubicBezTo>
                <a:cubicBezTo>
                  <a:pt x="1786824" y="4574274"/>
                  <a:pt x="1789885" y="4576404"/>
                  <a:pt x="1792414" y="4579067"/>
                </a:cubicBezTo>
                <a:cubicBezTo>
                  <a:pt x="1795077" y="4581596"/>
                  <a:pt x="1797074" y="4584791"/>
                  <a:pt x="1798538" y="4588385"/>
                </a:cubicBezTo>
                <a:cubicBezTo>
                  <a:pt x="1800001" y="4591979"/>
                  <a:pt x="1800800" y="4595839"/>
                  <a:pt x="1800800" y="4599833"/>
                </a:cubicBezTo>
                <a:cubicBezTo>
                  <a:pt x="1800800" y="4603959"/>
                  <a:pt x="1800001" y="4607953"/>
                  <a:pt x="1798538" y="4611548"/>
                </a:cubicBezTo>
                <a:cubicBezTo>
                  <a:pt x="1797074" y="4615142"/>
                  <a:pt x="1794944" y="4618204"/>
                  <a:pt x="1792414" y="4620866"/>
                </a:cubicBezTo>
                <a:cubicBezTo>
                  <a:pt x="1789752" y="4623529"/>
                  <a:pt x="1786691" y="4625659"/>
                  <a:pt x="1783096" y="4627123"/>
                </a:cubicBezTo>
                <a:cubicBezTo>
                  <a:pt x="1779501" y="4628587"/>
                  <a:pt x="1775642" y="4629386"/>
                  <a:pt x="1771382" y="4629386"/>
                </a:cubicBezTo>
                <a:cubicBezTo>
                  <a:pt x="1762463" y="4629386"/>
                  <a:pt x="1755143" y="4626457"/>
                  <a:pt x="1749553" y="4620866"/>
                </a:cubicBezTo>
                <a:cubicBezTo>
                  <a:pt x="1743962" y="4615275"/>
                  <a:pt x="1741169" y="4608219"/>
                  <a:pt x="1741169" y="4599700"/>
                </a:cubicBezTo>
                <a:cubicBezTo>
                  <a:pt x="1741169" y="4591447"/>
                  <a:pt x="1743962" y="4584391"/>
                  <a:pt x="1749553" y="4578667"/>
                </a:cubicBezTo>
                <a:cubicBezTo>
                  <a:pt x="1755143" y="4572943"/>
                  <a:pt x="1762330" y="4570015"/>
                  <a:pt x="1771382" y="4570015"/>
                </a:cubicBezTo>
                <a:close/>
                <a:moveTo>
                  <a:pt x="1553744" y="4570015"/>
                </a:moveTo>
                <a:cubicBezTo>
                  <a:pt x="1558004" y="4570015"/>
                  <a:pt x="1561865" y="4570814"/>
                  <a:pt x="1565459" y="4572677"/>
                </a:cubicBezTo>
                <a:cubicBezTo>
                  <a:pt x="1569053" y="4574274"/>
                  <a:pt x="1572248" y="4576404"/>
                  <a:pt x="1574777" y="4579067"/>
                </a:cubicBezTo>
                <a:cubicBezTo>
                  <a:pt x="1577439" y="4581596"/>
                  <a:pt x="1579436" y="4584791"/>
                  <a:pt x="1580900" y="4588385"/>
                </a:cubicBezTo>
                <a:cubicBezTo>
                  <a:pt x="1582364" y="4591979"/>
                  <a:pt x="1583163" y="4595839"/>
                  <a:pt x="1583163" y="4599833"/>
                </a:cubicBezTo>
                <a:cubicBezTo>
                  <a:pt x="1583163" y="4603959"/>
                  <a:pt x="1582364" y="4607953"/>
                  <a:pt x="1580900" y="4611548"/>
                </a:cubicBezTo>
                <a:cubicBezTo>
                  <a:pt x="1579436" y="4615142"/>
                  <a:pt x="1577306" y="4618204"/>
                  <a:pt x="1574777" y="4620866"/>
                </a:cubicBezTo>
                <a:cubicBezTo>
                  <a:pt x="1572115" y="4623529"/>
                  <a:pt x="1569053" y="4625659"/>
                  <a:pt x="1565459" y="4627123"/>
                </a:cubicBezTo>
                <a:cubicBezTo>
                  <a:pt x="1561865" y="4628587"/>
                  <a:pt x="1558004" y="4629386"/>
                  <a:pt x="1553744" y="4629386"/>
                </a:cubicBezTo>
                <a:cubicBezTo>
                  <a:pt x="1544826" y="4629386"/>
                  <a:pt x="1537504" y="4626457"/>
                  <a:pt x="1531914" y="4620866"/>
                </a:cubicBezTo>
                <a:cubicBezTo>
                  <a:pt x="1526325" y="4615275"/>
                  <a:pt x="1523528" y="4608219"/>
                  <a:pt x="1523528" y="4599700"/>
                </a:cubicBezTo>
                <a:cubicBezTo>
                  <a:pt x="1523528" y="4591447"/>
                  <a:pt x="1526325" y="4584391"/>
                  <a:pt x="1531914" y="4578667"/>
                </a:cubicBezTo>
                <a:cubicBezTo>
                  <a:pt x="1537504" y="4572943"/>
                  <a:pt x="1544691" y="4570015"/>
                  <a:pt x="1553744" y="4570015"/>
                </a:cubicBezTo>
                <a:close/>
                <a:moveTo>
                  <a:pt x="1336100" y="4570015"/>
                </a:moveTo>
                <a:cubicBezTo>
                  <a:pt x="1340360" y="4570015"/>
                  <a:pt x="1344355" y="4570814"/>
                  <a:pt x="1347816" y="4572677"/>
                </a:cubicBezTo>
                <a:cubicBezTo>
                  <a:pt x="1351409" y="4574274"/>
                  <a:pt x="1354604" y="4576404"/>
                  <a:pt x="1357134" y="4579067"/>
                </a:cubicBezTo>
                <a:cubicBezTo>
                  <a:pt x="1359796" y="4581596"/>
                  <a:pt x="1361793" y="4584791"/>
                  <a:pt x="1363257" y="4588385"/>
                </a:cubicBezTo>
                <a:cubicBezTo>
                  <a:pt x="1364721" y="4591979"/>
                  <a:pt x="1365519" y="4595839"/>
                  <a:pt x="1365519" y="4599833"/>
                </a:cubicBezTo>
                <a:cubicBezTo>
                  <a:pt x="1365519" y="4603959"/>
                  <a:pt x="1364721" y="4607953"/>
                  <a:pt x="1363257" y="4611548"/>
                </a:cubicBezTo>
                <a:cubicBezTo>
                  <a:pt x="1361793" y="4615142"/>
                  <a:pt x="1359663" y="4618204"/>
                  <a:pt x="1357134" y="4620866"/>
                </a:cubicBezTo>
                <a:cubicBezTo>
                  <a:pt x="1354470" y="4623529"/>
                  <a:pt x="1351409" y="4625659"/>
                  <a:pt x="1347816" y="4627123"/>
                </a:cubicBezTo>
                <a:cubicBezTo>
                  <a:pt x="1344221" y="4628587"/>
                  <a:pt x="1340360" y="4629386"/>
                  <a:pt x="1336100" y="4629386"/>
                </a:cubicBezTo>
                <a:cubicBezTo>
                  <a:pt x="1327180" y="4629386"/>
                  <a:pt x="1319859" y="4626457"/>
                  <a:pt x="1314268" y="4620866"/>
                </a:cubicBezTo>
                <a:cubicBezTo>
                  <a:pt x="1308677" y="4615275"/>
                  <a:pt x="1305882" y="4608219"/>
                  <a:pt x="1305882" y="4599700"/>
                </a:cubicBezTo>
                <a:cubicBezTo>
                  <a:pt x="1305882" y="4591447"/>
                  <a:pt x="1308677" y="4584391"/>
                  <a:pt x="1314268" y="4578667"/>
                </a:cubicBezTo>
                <a:cubicBezTo>
                  <a:pt x="1319859" y="4572943"/>
                  <a:pt x="1327047" y="4570015"/>
                  <a:pt x="1336100" y="4570015"/>
                </a:cubicBezTo>
                <a:close/>
                <a:moveTo>
                  <a:pt x="1118455" y="4570015"/>
                </a:moveTo>
                <a:cubicBezTo>
                  <a:pt x="1122716" y="4570015"/>
                  <a:pt x="1126712" y="4570814"/>
                  <a:pt x="1130172" y="4572677"/>
                </a:cubicBezTo>
                <a:cubicBezTo>
                  <a:pt x="1133899" y="4574274"/>
                  <a:pt x="1136961" y="4576404"/>
                  <a:pt x="1139488" y="4579067"/>
                </a:cubicBezTo>
                <a:cubicBezTo>
                  <a:pt x="1142149" y="4581596"/>
                  <a:pt x="1144145" y="4584791"/>
                  <a:pt x="1145608" y="4588385"/>
                </a:cubicBezTo>
                <a:cubicBezTo>
                  <a:pt x="1147073" y="4591979"/>
                  <a:pt x="1147872" y="4595839"/>
                  <a:pt x="1147872" y="4599833"/>
                </a:cubicBezTo>
                <a:cubicBezTo>
                  <a:pt x="1147872" y="4603959"/>
                  <a:pt x="1147073" y="4607953"/>
                  <a:pt x="1145608" y="4611548"/>
                </a:cubicBezTo>
                <a:cubicBezTo>
                  <a:pt x="1144145" y="4615142"/>
                  <a:pt x="1142016" y="4618204"/>
                  <a:pt x="1139488" y="4620866"/>
                </a:cubicBezTo>
                <a:cubicBezTo>
                  <a:pt x="1136961" y="4623529"/>
                  <a:pt x="1133766" y="4625659"/>
                  <a:pt x="1130172" y="4627123"/>
                </a:cubicBezTo>
                <a:cubicBezTo>
                  <a:pt x="1126576" y="4628587"/>
                  <a:pt x="1122716" y="4629386"/>
                  <a:pt x="1118455" y="4629386"/>
                </a:cubicBezTo>
                <a:cubicBezTo>
                  <a:pt x="1109535" y="4629386"/>
                  <a:pt x="1102211" y="4626457"/>
                  <a:pt x="1096620" y="4620866"/>
                </a:cubicBezTo>
                <a:cubicBezTo>
                  <a:pt x="1091031" y="4615275"/>
                  <a:pt x="1088236" y="4608219"/>
                  <a:pt x="1088236" y="4599700"/>
                </a:cubicBezTo>
                <a:cubicBezTo>
                  <a:pt x="1088236" y="4591447"/>
                  <a:pt x="1091031" y="4584391"/>
                  <a:pt x="1096620" y="4578667"/>
                </a:cubicBezTo>
                <a:cubicBezTo>
                  <a:pt x="1102211" y="4572943"/>
                  <a:pt x="1109401" y="4570015"/>
                  <a:pt x="1118455" y="4570015"/>
                </a:cubicBezTo>
                <a:close/>
                <a:moveTo>
                  <a:pt x="900942" y="4570015"/>
                </a:moveTo>
                <a:cubicBezTo>
                  <a:pt x="905069" y="4570015"/>
                  <a:pt x="909063" y="4570814"/>
                  <a:pt x="912657" y="4572677"/>
                </a:cubicBezTo>
                <a:cubicBezTo>
                  <a:pt x="916384" y="4574274"/>
                  <a:pt x="919446" y="4576404"/>
                  <a:pt x="921975" y="4579067"/>
                </a:cubicBezTo>
                <a:cubicBezTo>
                  <a:pt x="924637" y="4581596"/>
                  <a:pt x="926634" y="4584791"/>
                  <a:pt x="928098" y="4588385"/>
                </a:cubicBezTo>
                <a:cubicBezTo>
                  <a:pt x="929562" y="4591979"/>
                  <a:pt x="930361" y="4595839"/>
                  <a:pt x="930361" y="4599833"/>
                </a:cubicBezTo>
                <a:cubicBezTo>
                  <a:pt x="930361" y="4603959"/>
                  <a:pt x="929562" y="4607953"/>
                  <a:pt x="928098" y="4611548"/>
                </a:cubicBezTo>
                <a:cubicBezTo>
                  <a:pt x="926634" y="4615142"/>
                  <a:pt x="924504" y="4618204"/>
                  <a:pt x="921975" y="4620866"/>
                </a:cubicBezTo>
                <a:cubicBezTo>
                  <a:pt x="919446" y="4623529"/>
                  <a:pt x="916251" y="4625659"/>
                  <a:pt x="912657" y="4627123"/>
                </a:cubicBezTo>
                <a:cubicBezTo>
                  <a:pt x="909063" y="4628587"/>
                  <a:pt x="905202" y="4629386"/>
                  <a:pt x="900942" y="4629386"/>
                </a:cubicBezTo>
                <a:cubicBezTo>
                  <a:pt x="892024" y="4629386"/>
                  <a:pt x="884702" y="4626457"/>
                  <a:pt x="879111" y="4620866"/>
                </a:cubicBezTo>
                <a:cubicBezTo>
                  <a:pt x="873522" y="4615275"/>
                  <a:pt x="870726" y="4608219"/>
                  <a:pt x="870726" y="4599700"/>
                </a:cubicBezTo>
                <a:cubicBezTo>
                  <a:pt x="870726" y="4591447"/>
                  <a:pt x="873522" y="4584391"/>
                  <a:pt x="879111" y="4578667"/>
                </a:cubicBezTo>
                <a:cubicBezTo>
                  <a:pt x="884702" y="4572943"/>
                  <a:pt x="891891" y="4570015"/>
                  <a:pt x="900942" y="4570015"/>
                </a:cubicBezTo>
                <a:close/>
                <a:moveTo>
                  <a:pt x="683301" y="4570015"/>
                </a:moveTo>
                <a:cubicBezTo>
                  <a:pt x="687561" y="4570015"/>
                  <a:pt x="691422" y="4570814"/>
                  <a:pt x="695016" y="4572677"/>
                </a:cubicBezTo>
                <a:cubicBezTo>
                  <a:pt x="698743" y="4574274"/>
                  <a:pt x="701805" y="4576404"/>
                  <a:pt x="704333" y="4579067"/>
                </a:cubicBezTo>
                <a:cubicBezTo>
                  <a:pt x="706996" y="4581596"/>
                  <a:pt x="708993" y="4584791"/>
                  <a:pt x="710457" y="4588385"/>
                </a:cubicBezTo>
                <a:cubicBezTo>
                  <a:pt x="711921" y="4591979"/>
                  <a:pt x="712720" y="4595839"/>
                  <a:pt x="712720" y="4599833"/>
                </a:cubicBezTo>
                <a:cubicBezTo>
                  <a:pt x="712720" y="4603959"/>
                  <a:pt x="711921" y="4607953"/>
                  <a:pt x="710457" y="4611548"/>
                </a:cubicBezTo>
                <a:cubicBezTo>
                  <a:pt x="708993" y="4615142"/>
                  <a:pt x="706863" y="4618204"/>
                  <a:pt x="704333" y="4620866"/>
                </a:cubicBezTo>
                <a:cubicBezTo>
                  <a:pt x="701805" y="4623529"/>
                  <a:pt x="698610" y="4625659"/>
                  <a:pt x="695016" y="4627123"/>
                </a:cubicBezTo>
                <a:cubicBezTo>
                  <a:pt x="691422" y="4628587"/>
                  <a:pt x="687561" y="4629386"/>
                  <a:pt x="683301" y="4629386"/>
                </a:cubicBezTo>
                <a:cubicBezTo>
                  <a:pt x="674383" y="4629386"/>
                  <a:pt x="667061" y="4626457"/>
                  <a:pt x="661470" y="4620866"/>
                </a:cubicBezTo>
                <a:cubicBezTo>
                  <a:pt x="655879" y="4615275"/>
                  <a:pt x="653084" y="4608219"/>
                  <a:pt x="653084" y="4599700"/>
                </a:cubicBezTo>
                <a:cubicBezTo>
                  <a:pt x="653084" y="4591447"/>
                  <a:pt x="655879" y="4584391"/>
                  <a:pt x="661470" y="4578667"/>
                </a:cubicBezTo>
                <a:cubicBezTo>
                  <a:pt x="667061" y="4572943"/>
                  <a:pt x="674250" y="4570015"/>
                  <a:pt x="683301" y="4570015"/>
                </a:cubicBezTo>
                <a:close/>
                <a:moveTo>
                  <a:pt x="465659" y="4570015"/>
                </a:moveTo>
                <a:cubicBezTo>
                  <a:pt x="469919" y="4570015"/>
                  <a:pt x="473780" y="4570814"/>
                  <a:pt x="477375" y="4572677"/>
                </a:cubicBezTo>
                <a:cubicBezTo>
                  <a:pt x="481102" y="4574274"/>
                  <a:pt x="484163" y="4576404"/>
                  <a:pt x="486692" y="4579067"/>
                </a:cubicBezTo>
                <a:cubicBezTo>
                  <a:pt x="489354" y="4581596"/>
                  <a:pt x="491351" y="4584791"/>
                  <a:pt x="492815" y="4588385"/>
                </a:cubicBezTo>
                <a:cubicBezTo>
                  <a:pt x="494279" y="4591979"/>
                  <a:pt x="495078" y="4595839"/>
                  <a:pt x="495078" y="4599833"/>
                </a:cubicBezTo>
                <a:cubicBezTo>
                  <a:pt x="495078" y="4603959"/>
                  <a:pt x="494279" y="4607953"/>
                  <a:pt x="492815" y="4611548"/>
                </a:cubicBezTo>
                <a:cubicBezTo>
                  <a:pt x="491351" y="4615142"/>
                  <a:pt x="489221" y="4618204"/>
                  <a:pt x="486692" y="4620866"/>
                </a:cubicBezTo>
                <a:cubicBezTo>
                  <a:pt x="484029" y="4623529"/>
                  <a:pt x="480969" y="4625659"/>
                  <a:pt x="477375" y="4627123"/>
                </a:cubicBezTo>
                <a:cubicBezTo>
                  <a:pt x="473780" y="4628587"/>
                  <a:pt x="469919" y="4629386"/>
                  <a:pt x="465659" y="4629386"/>
                </a:cubicBezTo>
                <a:cubicBezTo>
                  <a:pt x="456741" y="4629386"/>
                  <a:pt x="449419" y="4626457"/>
                  <a:pt x="443828" y="4620866"/>
                </a:cubicBezTo>
                <a:cubicBezTo>
                  <a:pt x="438237" y="4615275"/>
                  <a:pt x="435442" y="4608219"/>
                  <a:pt x="435442" y="4599700"/>
                </a:cubicBezTo>
                <a:cubicBezTo>
                  <a:pt x="435442" y="4591447"/>
                  <a:pt x="438237" y="4584391"/>
                  <a:pt x="443828" y="4578667"/>
                </a:cubicBezTo>
                <a:cubicBezTo>
                  <a:pt x="449419" y="4572943"/>
                  <a:pt x="456608" y="4570015"/>
                  <a:pt x="465659" y="4570015"/>
                </a:cubicBezTo>
                <a:close/>
                <a:moveTo>
                  <a:pt x="248017" y="4570015"/>
                </a:moveTo>
                <a:cubicBezTo>
                  <a:pt x="252277" y="4570015"/>
                  <a:pt x="256271" y="4570814"/>
                  <a:pt x="259732" y="4572677"/>
                </a:cubicBezTo>
                <a:cubicBezTo>
                  <a:pt x="263459" y="4574274"/>
                  <a:pt x="266521" y="4576404"/>
                  <a:pt x="269050" y="4579067"/>
                </a:cubicBezTo>
                <a:cubicBezTo>
                  <a:pt x="271712" y="4581596"/>
                  <a:pt x="273709" y="4584791"/>
                  <a:pt x="275173" y="4588385"/>
                </a:cubicBezTo>
                <a:cubicBezTo>
                  <a:pt x="276637" y="4591979"/>
                  <a:pt x="277436" y="4595839"/>
                  <a:pt x="277436" y="4599833"/>
                </a:cubicBezTo>
                <a:cubicBezTo>
                  <a:pt x="277436" y="4603959"/>
                  <a:pt x="276637" y="4607953"/>
                  <a:pt x="275173" y="4611548"/>
                </a:cubicBezTo>
                <a:cubicBezTo>
                  <a:pt x="273709" y="4615142"/>
                  <a:pt x="271579" y="4618204"/>
                  <a:pt x="269050" y="4620866"/>
                </a:cubicBezTo>
                <a:cubicBezTo>
                  <a:pt x="266387" y="4623529"/>
                  <a:pt x="263326" y="4625659"/>
                  <a:pt x="259732" y="4627123"/>
                </a:cubicBezTo>
                <a:cubicBezTo>
                  <a:pt x="256136" y="4628587"/>
                  <a:pt x="252277" y="4629386"/>
                  <a:pt x="248017" y="4629386"/>
                </a:cubicBezTo>
                <a:cubicBezTo>
                  <a:pt x="239100" y="4629386"/>
                  <a:pt x="231778" y="4626457"/>
                  <a:pt x="226187" y="4620866"/>
                </a:cubicBezTo>
                <a:cubicBezTo>
                  <a:pt x="220597" y="4615275"/>
                  <a:pt x="217802" y="4608219"/>
                  <a:pt x="217802" y="4599700"/>
                </a:cubicBezTo>
                <a:cubicBezTo>
                  <a:pt x="217802" y="4591447"/>
                  <a:pt x="220597" y="4584391"/>
                  <a:pt x="226187" y="4578667"/>
                </a:cubicBezTo>
                <a:cubicBezTo>
                  <a:pt x="231778" y="4572943"/>
                  <a:pt x="238966" y="4570015"/>
                  <a:pt x="248017" y="4570015"/>
                </a:cubicBezTo>
                <a:close/>
                <a:moveTo>
                  <a:pt x="30375" y="4570015"/>
                </a:moveTo>
                <a:cubicBezTo>
                  <a:pt x="34635" y="4570015"/>
                  <a:pt x="38629" y="4570814"/>
                  <a:pt x="42090" y="4572677"/>
                </a:cubicBezTo>
                <a:cubicBezTo>
                  <a:pt x="45817" y="4574274"/>
                  <a:pt x="48879" y="4576404"/>
                  <a:pt x="51408" y="4579067"/>
                </a:cubicBezTo>
                <a:cubicBezTo>
                  <a:pt x="54070" y="4581596"/>
                  <a:pt x="56067" y="4584791"/>
                  <a:pt x="57531" y="4588385"/>
                </a:cubicBezTo>
                <a:cubicBezTo>
                  <a:pt x="58995" y="4591979"/>
                  <a:pt x="59794" y="4595839"/>
                  <a:pt x="59794" y="4599833"/>
                </a:cubicBezTo>
                <a:cubicBezTo>
                  <a:pt x="59794" y="4603959"/>
                  <a:pt x="58995" y="4607953"/>
                  <a:pt x="57531" y="4611548"/>
                </a:cubicBezTo>
                <a:cubicBezTo>
                  <a:pt x="56067" y="4615142"/>
                  <a:pt x="53937" y="4618204"/>
                  <a:pt x="51408" y="4620866"/>
                </a:cubicBezTo>
                <a:cubicBezTo>
                  <a:pt x="48745" y="4623529"/>
                  <a:pt x="45684" y="4625659"/>
                  <a:pt x="42090" y="4627123"/>
                </a:cubicBezTo>
                <a:cubicBezTo>
                  <a:pt x="38496" y="4628587"/>
                  <a:pt x="34635" y="4629386"/>
                  <a:pt x="30375" y="4629386"/>
                </a:cubicBezTo>
                <a:cubicBezTo>
                  <a:pt x="21457" y="4629386"/>
                  <a:pt x="14136" y="4626457"/>
                  <a:pt x="8547" y="4620866"/>
                </a:cubicBezTo>
                <a:cubicBezTo>
                  <a:pt x="2956" y="4615275"/>
                  <a:pt x="161" y="4608219"/>
                  <a:pt x="161" y="4599700"/>
                </a:cubicBezTo>
                <a:cubicBezTo>
                  <a:pt x="161" y="4591447"/>
                  <a:pt x="2956" y="4584391"/>
                  <a:pt x="8547" y="4578667"/>
                </a:cubicBezTo>
                <a:cubicBezTo>
                  <a:pt x="14136" y="4572943"/>
                  <a:pt x="21323" y="4570015"/>
                  <a:pt x="30375" y="4570015"/>
                </a:cubicBezTo>
                <a:close/>
                <a:moveTo>
                  <a:pt x="10475977" y="4369009"/>
                </a:moveTo>
                <a:cubicBezTo>
                  <a:pt x="10470119" y="4369009"/>
                  <a:pt x="10467589" y="4371005"/>
                  <a:pt x="10465992" y="4372603"/>
                </a:cubicBezTo>
                <a:cubicBezTo>
                  <a:pt x="10463463" y="4375265"/>
                  <a:pt x="10462399" y="4378060"/>
                  <a:pt x="10462399" y="4382054"/>
                </a:cubicBezTo>
                <a:cubicBezTo>
                  <a:pt x="10462399" y="4386180"/>
                  <a:pt x="10463463" y="4388976"/>
                  <a:pt x="10465992" y="4391505"/>
                </a:cubicBezTo>
                <a:cubicBezTo>
                  <a:pt x="10467589" y="4393104"/>
                  <a:pt x="10470119" y="4394967"/>
                  <a:pt x="10475977" y="4394967"/>
                </a:cubicBezTo>
                <a:cubicBezTo>
                  <a:pt x="10478107" y="4394967"/>
                  <a:pt x="10479838" y="4394701"/>
                  <a:pt x="10481302" y="4394035"/>
                </a:cubicBezTo>
                <a:cubicBezTo>
                  <a:pt x="10482899" y="4393503"/>
                  <a:pt x="10484098" y="4392571"/>
                  <a:pt x="10485029" y="4391638"/>
                </a:cubicBezTo>
                <a:cubicBezTo>
                  <a:pt x="10486094" y="4390440"/>
                  <a:pt x="10487026" y="4389109"/>
                  <a:pt x="10487691" y="4387379"/>
                </a:cubicBezTo>
                <a:cubicBezTo>
                  <a:pt x="10488357" y="4385781"/>
                  <a:pt x="10488623" y="4383917"/>
                  <a:pt x="10488623" y="4381921"/>
                </a:cubicBezTo>
                <a:cubicBezTo>
                  <a:pt x="10488623" y="4380057"/>
                  <a:pt x="10488357" y="4378326"/>
                  <a:pt x="10487691" y="4376729"/>
                </a:cubicBezTo>
                <a:cubicBezTo>
                  <a:pt x="10487026" y="4375132"/>
                  <a:pt x="10486094" y="4373801"/>
                  <a:pt x="10485029" y="4372603"/>
                </a:cubicBezTo>
                <a:cubicBezTo>
                  <a:pt x="10483964" y="4371538"/>
                  <a:pt x="10482633" y="4370606"/>
                  <a:pt x="10481035" y="4369940"/>
                </a:cubicBezTo>
                <a:cubicBezTo>
                  <a:pt x="10479571" y="4369275"/>
                  <a:pt x="10477974" y="4369009"/>
                  <a:pt x="10475977" y="4369009"/>
                </a:cubicBezTo>
                <a:close/>
                <a:moveTo>
                  <a:pt x="10258466" y="4369009"/>
                </a:moveTo>
                <a:cubicBezTo>
                  <a:pt x="10252608" y="4369009"/>
                  <a:pt x="10250078" y="4371005"/>
                  <a:pt x="10248481" y="4372603"/>
                </a:cubicBezTo>
                <a:cubicBezTo>
                  <a:pt x="10245952" y="4375265"/>
                  <a:pt x="10244887" y="4378060"/>
                  <a:pt x="10244887" y="4382054"/>
                </a:cubicBezTo>
                <a:cubicBezTo>
                  <a:pt x="10244887" y="4386180"/>
                  <a:pt x="10245952" y="4388976"/>
                  <a:pt x="10248481" y="4391505"/>
                </a:cubicBezTo>
                <a:cubicBezTo>
                  <a:pt x="10250078" y="4393104"/>
                  <a:pt x="10252608" y="4394967"/>
                  <a:pt x="10258466" y="4394967"/>
                </a:cubicBezTo>
                <a:cubicBezTo>
                  <a:pt x="10260462" y="4394967"/>
                  <a:pt x="10262192" y="4394701"/>
                  <a:pt x="10263790" y="4394035"/>
                </a:cubicBezTo>
                <a:cubicBezTo>
                  <a:pt x="10265388" y="4393503"/>
                  <a:pt x="10266586" y="4392571"/>
                  <a:pt x="10267517" y="4391638"/>
                </a:cubicBezTo>
                <a:cubicBezTo>
                  <a:pt x="10268583" y="4390440"/>
                  <a:pt x="10269515" y="4389109"/>
                  <a:pt x="10270180" y="4387379"/>
                </a:cubicBezTo>
                <a:cubicBezTo>
                  <a:pt x="10270845" y="4385781"/>
                  <a:pt x="10271112" y="4383917"/>
                  <a:pt x="10271112" y="4381921"/>
                </a:cubicBezTo>
                <a:cubicBezTo>
                  <a:pt x="10271112" y="4380057"/>
                  <a:pt x="10270845" y="4378326"/>
                  <a:pt x="10270180" y="4376729"/>
                </a:cubicBezTo>
                <a:cubicBezTo>
                  <a:pt x="10269515" y="4375132"/>
                  <a:pt x="10268583" y="4373801"/>
                  <a:pt x="10267517" y="4372603"/>
                </a:cubicBezTo>
                <a:cubicBezTo>
                  <a:pt x="10266452" y="4371538"/>
                  <a:pt x="10265121" y="4370606"/>
                  <a:pt x="10263524" y="4369940"/>
                </a:cubicBezTo>
                <a:cubicBezTo>
                  <a:pt x="10262060" y="4369275"/>
                  <a:pt x="10260462" y="4369009"/>
                  <a:pt x="10258466" y="4369009"/>
                </a:cubicBezTo>
                <a:close/>
                <a:moveTo>
                  <a:pt x="10040820" y="4369009"/>
                </a:moveTo>
                <a:cubicBezTo>
                  <a:pt x="10034962" y="4369009"/>
                  <a:pt x="10032433" y="4371005"/>
                  <a:pt x="10030835" y="4372603"/>
                </a:cubicBezTo>
                <a:cubicBezTo>
                  <a:pt x="10028306" y="4375265"/>
                  <a:pt x="10027242" y="4378060"/>
                  <a:pt x="10027242" y="4382054"/>
                </a:cubicBezTo>
                <a:cubicBezTo>
                  <a:pt x="10027242" y="4386180"/>
                  <a:pt x="10028306" y="4388976"/>
                  <a:pt x="10030835" y="4391505"/>
                </a:cubicBezTo>
                <a:cubicBezTo>
                  <a:pt x="10032433" y="4393104"/>
                  <a:pt x="10034962" y="4394967"/>
                  <a:pt x="10040820" y="4394967"/>
                </a:cubicBezTo>
                <a:cubicBezTo>
                  <a:pt x="10042817" y="4394967"/>
                  <a:pt x="10044681" y="4394701"/>
                  <a:pt x="10046145" y="4394035"/>
                </a:cubicBezTo>
                <a:cubicBezTo>
                  <a:pt x="10047742" y="4393503"/>
                  <a:pt x="10048941" y="4392571"/>
                  <a:pt x="10049872" y="4391638"/>
                </a:cubicBezTo>
                <a:cubicBezTo>
                  <a:pt x="10050937" y="4390440"/>
                  <a:pt x="10051869" y="4389109"/>
                  <a:pt x="10052534" y="4387379"/>
                </a:cubicBezTo>
                <a:cubicBezTo>
                  <a:pt x="10053333" y="4385781"/>
                  <a:pt x="10053599" y="4383917"/>
                  <a:pt x="10053599" y="4381921"/>
                </a:cubicBezTo>
                <a:cubicBezTo>
                  <a:pt x="10053599" y="4380057"/>
                  <a:pt x="10053200" y="4378326"/>
                  <a:pt x="10052534" y="4376729"/>
                </a:cubicBezTo>
                <a:cubicBezTo>
                  <a:pt x="10051869" y="4375132"/>
                  <a:pt x="10050937" y="4373801"/>
                  <a:pt x="10049872" y="4372603"/>
                </a:cubicBezTo>
                <a:cubicBezTo>
                  <a:pt x="10048807" y="4371538"/>
                  <a:pt x="10047476" y="4370606"/>
                  <a:pt x="10045878" y="4369940"/>
                </a:cubicBezTo>
                <a:cubicBezTo>
                  <a:pt x="10044414" y="4369275"/>
                  <a:pt x="10042817" y="4369009"/>
                  <a:pt x="10040820" y="4369009"/>
                </a:cubicBezTo>
                <a:close/>
                <a:moveTo>
                  <a:pt x="9823176" y="4369009"/>
                </a:moveTo>
                <a:cubicBezTo>
                  <a:pt x="9817318" y="4369009"/>
                  <a:pt x="9814788" y="4371005"/>
                  <a:pt x="9813191" y="4372603"/>
                </a:cubicBezTo>
                <a:cubicBezTo>
                  <a:pt x="9810662" y="4375265"/>
                  <a:pt x="9809597" y="4378060"/>
                  <a:pt x="9809597" y="4382054"/>
                </a:cubicBezTo>
                <a:cubicBezTo>
                  <a:pt x="9809597" y="4386180"/>
                  <a:pt x="9810662" y="4388976"/>
                  <a:pt x="9813191" y="4391505"/>
                </a:cubicBezTo>
                <a:cubicBezTo>
                  <a:pt x="9814788" y="4393104"/>
                  <a:pt x="9817318" y="4394967"/>
                  <a:pt x="9823176" y="4394967"/>
                </a:cubicBezTo>
                <a:cubicBezTo>
                  <a:pt x="9825173" y="4394967"/>
                  <a:pt x="9827036" y="4394701"/>
                  <a:pt x="9828501" y="4394035"/>
                </a:cubicBezTo>
                <a:cubicBezTo>
                  <a:pt x="9830098" y="4393503"/>
                  <a:pt x="9831296" y="4392571"/>
                  <a:pt x="9832227" y="4391638"/>
                </a:cubicBezTo>
                <a:cubicBezTo>
                  <a:pt x="9833293" y="4390440"/>
                  <a:pt x="9834225" y="4389109"/>
                  <a:pt x="9834890" y="4387379"/>
                </a:cubicBezTo>
                <a:cubicBezTo>
                  <a:pt x="9835689" y="4385781"/>
                  <a:pt x="9835955" y="4383917"/>
                  <a:pt x="9835955" y="4381921"/>
                </a:cubicBezTo>
                <a:cubicBezTo>
                  <a:pt x="9835955" y="4380057"/>
                  <a:pt x="9835555" y="4378326"/>
                  <a:pt x="9834890" y="4376729"/>
                </a:cubicBezTo>
                <a:cubicBezTo>
                  <a:pt x="9834225" y="4375132"/>
                  <a:pt x="9833293" y="4373801"/>
                  <a:pt x="9832227" y="4372603"/>
                </a:cubicBezTo>
                <a:cubicBezTo>
                  <a:pt x="9831162" y="4371538"/>
                  <a:pt x="9829831" y="4370606"/>
                  <a:pt x="9828234" y="4369940"/>
                </a:cubicBezTo>
                <a:cubicBezTo>
                  <a:pt x="9826770" y="4369275"/>
                  <a:pt x="9825173" y="4369009"/>
                  <a:pt x="9823176" y="4369009"/>
                </a:cubicBezTo>
                <a:close/>
                <a:moveTo>
                  <a:pt x="9605531" y="4369009"/>
                </a:moveTo>
                <a:cubicBezTo>
                  <a:pt x="9599673" y="4369009"/>
                  <a:pt x="9597143" y="4371005"/>
                  <a:pt x="9595546" y="4372603"/>
                </a:cubicBezTo>
                <a:cubicBezTo>
                  <a:pt x="9593017" y="4375265"/>
                  <a:pt x="9591952" y="4378060"/>
                  <a:pt x="9591952" y="4382054"/>
                </a:cubicBezTo>
                <a:cubicBezTo>
                  <a:pt x="9591952" y="4386180"/>
                  <a:pt x="9593017" y="4388976"/>
                  <a:pt x="9595546" y="4391505"/>
                </a:cubicBezTo>
                <a:cubicBezTo>
                  <a:pt x="9597143" y="4393104"/>
                  <a:pt x="9599673" y="4394967"/>
                  <a:pt x="9605531" y="4394967"/>
                </a:cubicBezTo>
                <a:cubicBezTo>
                  <a:pt x="9607660" y="4394967"/>
                  <a:pt x="9609391" y="4394701"/>
                  <a:pt x="9610855" y="4394035"/>
                </a:cubicBezTo>
                <a:cubicBezTo>
                  <a:pt x="9612319" y="4393503"/>
                  <a:pt x="9613651" y="4392571"/>
                  <a:pt x="9614582" y="4391638"/>
                </a:cubicBezTo>
                <a:cubicBezTo>
                  <a:pt x="9615647" y="4390440"/>
                  <a:pt x="9616579" y="4389109"/>
                  <a:pt x="9617245" y="4387379"/>
                </a:cubicBezTo>
                <a:cubicBezTo>
                  <a:pt x="9618044" y="4385781"/>
                  <a:pt x="9618309" y="4383917"/>
                  <a:pt x="9618309" y="4381921"/>
                </a:cubicBezTo>
                <a:cubicBezTo>
                  <a:pt x="9618309" y="4380057"/>
                  <a:pt x="9617910" y="4378326"/>
                  <a:pt x="9617245" y="4376729"/>
                </a:cubicBezTo>
                <a:cubicBezTo>
                  <a:pt x="9616579" y="4375132"/>
                  <a:pt x="9615647" y="4373801"/>
                  <a:pt x="9614582" y="4372603"/>
                </a:cubicBezTo>
                <a:cubicBezTo>
                  <a:pt x="9613517" y="4371538"/>
                  <a:pt x="9612186" y="4370606"/>
                  <a:pt x="9610589" y="4369940"/>
                </a:cubicBezTo>
                <a:cubicBezTo>
                  <a:pt x="9609124" y="4369275"/>
                  <a:pt x="9607394" y="4369009"/>
                  <a:pt x="9605531" y="4369009"/>
                </a:cubicBezTo>
                <a:close/>
                <a:moveTo>
                  <a:pt x="9387885" y="4369009"/>
                </a:moveTo>
                <a:cubicBezTo>
                  <a:pt x="9382027" y="4369009"/>
                  <a:pt x="9379497" y="4371005"/>
                  <a:pt x="9377900" y="4372603"/>
                </a:cubicBezTo>
                <a:cubicBezTo>
                  <a:pt x="9375371" y="4375265"/>
                  <a:pt x="9374307" y="4378060"/>
                  <a:pt x="9374307" y="4382054"/>
                </a:cubicBezTo>
                <a:cubicBezTo>
                  <a:pt x="9374307" y="4386180"/>
                  <a:pt x="9375371" y="4388976"/>
                  <a:pt x="9377900" y="4391505"/>
                </a:cubicBezTo>
                <a:cubicBezTo>
                  <a:pt x="9379497" y="4393104"/>
                  <a:pt x="9382027" y="4394967"/>
                  <a:pt x="9387885" y="4394967"/>
                </a:cubicBezTo>
                <a:cubicBezTo>
                  <a:pt x="9390015" y="4394967"/>
                  <a:pt x="9391746" y="4394701"/>
                  <a:pt x="9393210" y="4394035"/>
                </a:cubicBezTo>
                <a:cubicBezTo>
                  <a:pt x="9394674" y="4393503"/>
                  <a:pt x="9396005" y="4392571"/>
                  <a:pt x="9396937" y="4391638"/>
                </a:cubicBezTo>
                <a:cubicBezTo>
                  <a:pt x="9398002" y="4390440"/>
                  <a:pt x="9398934" y="4389109"/>
                  <a:pt x="9399599" y="4387379"/>
                </a:cubicBezTo>
                <a:cubicBezTo>
                  <a:pt x="9400398" y="4385781"/>
                  <a:pt x="9400664" y="4383917"/>
                  <a:pt x="9400664" y="4381921"/>
                </a:cubicBezTo>
                <a:cubicBezTo>
                  <a:pt x="9400664" y="4380057"/>
                  <a:pt x="9400265" y="4378326"/>
                  <a:pt x="9399599" y="4376729"/>
                </a:cubicBezTo>
                <a:cubicBezTo>
                  <a:pt x="9398934" y="4375132"/>
                  <a:pt x="9398002" y="4373801"/>
                  <a:pt x="9396937" y="4372603"/>
                </a:cubicBezTo>
                <a:cubicBezTo>
                  <a:pt x="9395872" y="4371538"/>
                  <a:pt x="9394541" y="4370606"/>
                  <a:pt x="9392943" y="4369940"/>
                </a:cubicBezTo>
                <a:cubicBezTo>
                  <a:pt x="9391479" y="4369275"/>
                  <a:pt x="9389749" y="4369009"/>
                  <a:pt x="9387885" y="4369009"/>
                </a:cubicBezTo>
                <a:close/>
                <a:moveTo>
                  <a:pt x="9170374" y="4369009"/>
                </a:moveTo>
                <a:cubicBezTo>
                  <a:pt x="9164649" y="4369009"/>
                  <a:pt x="9161986" y="4371005"/>
                  <a:pt x="9160389" y="4372603"/>
                </a:cubicBezTo>
                <a:cubicBezTo>
                  <a:pt x="9157860" y="4375265"/>
                  <a:pt x="9156795" y="4378060"/>
                  <a:pt x="9156795" y="4382054"/>
                </a:cubicBezTo>
                <a:cubicBezTo>
                  <a:pt x="9156795" y="4386180"/>
                  <a:pt x="9157860" y="4388976"/>
                  <a:pt x="9160389" y="4391505"/>
                </a:cubicBezTo>
                <a:cubicBezTo>
                  <a:pt x="9161986" y="4393104"/>
                  <a:pt x="9164516" y="4394967"/>
                  <a:pt x="9170374" y="4394967"/>
                </a:cubicBezTo>
                <a:cubicBezTo>
                  <a:pt x="9172370" y="4394967"/>
                  <a:pt x="9174100" y="4394701"/>
                  <a:pt x="9175698" y="4394035"/>
                </a:cubicBezTo>
                <a:cubicBezTo>
                  <a:pt x="9177163" y="4393503"/>
                  <a:pt x="9178494" y="4392571"/>
                  <a:pt x="9179425" y="4391638"/>
                </a:cubicBezTo>
                <a:cubicBezTo>
                  <a:pt x="9180491" y="4390440"/>
                  <a:pt x="9181422" y="4389109"/>
                  <a:pt x="9182088" y="4387379"/>
                </a:cubicBezTo>
                <a:cubicBezTo>
                  <a:pt x="9182887" y="4385781"/>
                  <a:pt x="9183152" y="4383917"/>
                  <a:pt x="9183152" y="4381921"/>
                </a:cubicBezTo>
                <a:cubicBezTo>
                  <a:pt x="9183152" y="4380057"/>
                  <a:pt x="9182753" y="4378326"/>
                  <a:pt x="9182088" y="4376729"/>
                </a:cubicBezTo>
                <a:cubicBezTo>
                  <a:pt x="9181422" y="4375132"/>
                  <a:pt x="9180491" y="4373801"/>
                  <a:pt x="9179425" y="4372603"/>
                </a:cubicBezTo>
                <a:cubicBezTo>
                  <a:pt x="9178360" y="4371538"/>
                  <a:pt x="9177029" y="4370606"/>
                  <a:pt x="9175432" y="4369940"/>
                </a:cubicBezTo>
                <a:cubicBezTo>
                  <a:pt x="9173967" y="4369275"/>
                  <a:pt x="9172237" y="4369009"/>
                  <a:pt x="9170374" y="4369009"/>
                </a:cubicBezTo>
                <a:close/>
                <a:moveTo>
                  <a:pt x="8952728" y="4369009"/>
                </a:moveTo>
                <a:cubicBezTo>
                  <a:pt x="8947003" y="4369009"/>
                  <a:pt x="8944340" y="4371005"/>
                  <a:pt x="8942743" y="4372603"/>
                </a:cubicBezTo>
                <a:cubicBezTo>
                  <a:pt x="8940214" y="4375265"/>
                  <a:pt x="8939150" y="4378060"/>
                  <a:pt x="8939150" y="4382054"/>
                </a:cubicBezTo>
                <a:cubicBezTo>
                  <a:pt x="8939150" y="4386180"/>
                  <a:pt x="8940214" y="4388976"/>
                  <a:pt x="8942743" y="4391505"/>
                </a:cubicBezTo>
                <a:cubicBezTo>
                  <a:pt x="8944340" y="4393104"/>
                  <a:pt x="8946870" y="4394967"/>
                  <a:pt x="8952728" y="4394967"/>
                </a:cubicBezTo>
                <a:cubicBezTo>
                  <a:pt x="8954725" y="4394967"/>
                  <a:pt x="8956589" y="4394701"/>
                  <a:pt x="8958053" y="4394035"/>
                </a:cubicBezTo>
                <a:cubicBezTo>
                  <a:pt x="8959517" y="4393503"/>
                  <a:pt x="8960849" y="4392571"/>
                  <a:pt x="8961780" y="4391638"/>
                </a:cubicBezTo>
                <a:cubicBezTo>
                  <a:pt x="8962845" y="4390440"/>
                  <a:pt x="8963777" y="4389109"/>
                  <a:pt x="8964442" y="4387379"/>
                </a:cubicBezTo>
                <a:cubicBezTo>
                  <a:pt x="8965241" y="4385781"/>
                  <a:pt x="8965507" y="4383917"/>
                  <a:pt x="8965507" y="4381921"/>
                </a:cubicBezTo>
                <a:cubicBezTo>
                  <a:pt x="8965507" y="4380057"/>
                  <a:pt x="8965108" y="4378326"/>
                  <a:pt x="8964442" y="4376729"/>
                </a:cubicBezTo>
                <a:cubicBezTo>
                  <a:pt x="8963777" y="4375132"/>
                  <a:pt x="8962845" y="4373801"/>
                  <a:pt x="8961780" y="4372603"/>
                </a:cubicBezTo>
                <a:cubicBezTo>
                  <a:pt x="8960715" y="4371538"/>
                  <a:pt x="8959384" y="4370606"/>
                  <a:pt x="8957786" y="4369940"/>
                </a:cubicBezTo>
                <a:cubicBezTo>
                  <a:pt x="8956322" y="4369275"/>
                  <a:pt x="8954592" y="4369009"/>
                  <a:pt x="8952728" y="4369009"/>
                </a:cubicBezTo>
                <a:close/>
                <a:moveTo>
                  <a:pt x="8735083" y="4369009"/>
                </a:moveTo>
                <a:cubicBezTo>
                  <a:pt x="8729358" y="4369009"/>
                  <a:pt x="8726695" y="4371005"/>
                  <a:pt x="8725098" y="4372603"/>
                </a:cubicBezTo>
                <a:cubicBezTo>
                  <a:pt x="8722569" y="4375265"/>
                  <a:pt x="8721504" y="4378060"/>
                  <a:pt x="8721504" y="4382054"/>
                </a:cubicBezTo>
                <a:cubicBezTo>
                  <a:pt x="8721504" y="4386180"/>
                  <a:pt x="8722569" y="4388976"/>
                  <a:pt x="8725098" y="4391505"/>
                </a:cubicBezTo>
                <a:cubicBezTo>
                  <a:pt x="8726695" y="4393104"/>
                  <a:pt x="8729225" y="4394967"/>
                  <a:pt x="8735083" y="4394967"/>
                </a:cubicBezTo>
                <a:cubicBezTo>
                  <a:pt x="8737079" y="4394967"/>
                  <a:pt x="8738943" y="4394701"/>
                  <a:pt x="8740407" y="4394035"/>
                </a:cubicBezTo>
                <a:cubicBezTo>
                  <a:pt x="8741872" y="4393503"/>
                  <a:pt x="8743203" y="4392571"/>
                  <a:pt x="8744134" y="4391638"/>
                </a:cubicBezTo>
                <a:cubicBezTo>
                  <a:pt x="8745200" y="4390440"/>
                  <a:pt x="8746132" y="4389109"/>
                  <a:pt x="8746797" y="4387379"/>
                </a:cubicBezTo>
                <a:cubicBezTo>
                  <a:pt x="8747596" y="4385781"/>
                  <a:pt x="8747862" y="4383917"/>
                  <a:pt x="8747862" y="4381921"/>
                </a:cubicBezTo>
                <a:cubicBezTo>
                  <a:pt x="8747862" y="4380057"/>
                  <a:pt x="8747462" y="4378326"/>
                  <a:pt x="8746797" y="4376729"/>
                </a:cubicBezTo>
                <a:cubicBezTo>
                  <a:pt x="8746132" y="4375132"/>
                  <a:pt x="8745200" y="4373801"/>
                  <a:pt x="8744134" y="4372603"/>
                </a:cubicBezTo>
                <a:cubicBezTo>
                  <a:pt x="8743069" y="4371538"/>
                  <a:pt x="8741738" y="4370606"/>
                  <a:pt x="8740141" y="4369940"/>
                </a:cubicBezTo>
                <a:cubicBezTo>
                  <a:pt x="8738677" y="4369275"/>
                  <a:pt x="8736946" y="4369009"/>
                  <a:pt x="8735083" y="4369009"/>
                </a:cubicBezTo>
                <a:close/>
                <a:moveTo>
                  <a:pt x="8517438" y="4369009"/>
                </a:moveTo>
                <a:cubicBezTo>
                  <a:pt x="8511713" y="4369009"/>
                  <a:pt x="8509051" y="4371005"/>
                  <a:pt x="8507453" y="4372603"/>
                </a:cubicBezTo>
                <a:cubicBezTo>
                  <a:pt x="8504925" y="4375265"/>
                  <a:pt x="8503860" y="4378060"/>
                  <a:pt x="8503860" y="4382054"/>
                </a:cubicBezTo>
                <a:cubicBezTo>
                  <a:pt x="8503860" y="4386180"/>
                  <a:pt x="8504925" y="4388976"/>
                  <a:pt x="8507453" y="4391505"/>
                </a:cubicBezTo>
                <a:cubicBezTo>
                  <a:pt x="8509051" y="4393104"/>
                  <a:pt x="8511581" y="4394967"/>
                  <a:pt x="8517438" y="4394967"/>
                </a:cubicBezTo>
                <a:cubicBezTo>
                  <a:pt x="8519568" y="4394967"/>
                  <a:pt x="8521299" y="4394701"/>
                  <a:pt x="8522763" y="4394035"/>
                </a:cubicBezTo>
                <a:cubicBezTo>
                  <a:pt x="8524227" y="4393503"/>
                  <a:pt x="8525559" y="4392571"/>
                  <a:pt x="8526490" y="4391638"/>
                </a:cubicBezTo>
                <a:cubicBezTo>
                  <a:pt x="8527555" y="4390440"/>
                  <a:pt x="8528487" y="4389109"/>
                  <a:pt x="8529152" y="4387379"/>
                </a:cubicBezTo>
                <a:cubicBezTo>
                  <a:pt x="8529818" y="4385781"/>
                  <a:pt x="8530084" y="4383917"/>
                  <a:pt x="8530084" y="4381921"/>
                </a:cubicBezTo>
                <a:cubicBezTo>
                  <a:pt x="8530084" y="4380057"/>
                  <a:pt x="8529818" y="4378326"/>
                  <a:pt x="8529152" y="4376729"/>
                </a:cubicBezTo>
                <a:cubicBezTo>
                  <a:pt x="8528487" y="4375132"/>
                  <a:pt x="8527555" y="4373801"/>
                  <a:pt x="8526490" y="4372603"/>
                </a:cubicBezTo>
                <a:cubicBezTo>
                  <a:pt x="8525425" y="4371538"/>
                  <a:pt x="8524094" y="4370606"/>
                  <a:pt x="8522496" y="4369940"/>
                </a:cubicBezTo>
                <a:cubicBezTo>
                  <a:pt x="8521032" y="4369275"/>
                  <a:pt x="8519302" y="4369009"/>
                  <a:pt x="8517438" y="4369009"/>
                </a:cubicBezTo>
                <a:close/>
                <a:moveTo>
                  <a:pt x="8299793" y="4369009"/>
                </a:moveTo>
                <a:cubicBezTo>
                  <a:pt x="8294068" y="4369009"/>
                  <a:pt x="8291406" y="4371005"/>
                  <a:pt x="8289809" y="4372603"/>
                </a:cubicBezTo>
                <a:cubicBezTo>
                  <a:pt x="8287280" y="4375265"/>
                  <a:pt x="8286215" y="4378060"/>
                  <a:pt x="8286215" y="4382054"/>
                </a:cubicBezTo>
                <a:cubicBezTo>
                  <a:pt x="8286215" y="4386180"/>
                  <a:pt x="8287280" y="4388976"/>
                  <a:pt x="8289809" y="4391505"/>
                </a:cubicBezTo>
                <a:cubicBezTo>
                  <a:pt x="8291406" y="4393104"/>
                  <a:pt x="8293935" y="4394967"/>
                  <a:pt x="8299793" y="4394967"/>
                </a:cubicBezTo>
                <a:cubicBezTo>
                  <a:pt x="8301923" y="4394967"/>
                  <a:pt x="8303653" y="4394701"/>
                  <a:pt x="8305118" y="4394035"/>
                </a:cubicBezTo>
                <a:cubicBezTo>
                  <a:pt x="8306582" y="4393503"/>
                  <a:pt x="8307913" y="4392571"/>
                  <a:pt x="8308844" y="4391638"/>
                </a:cubicBezTo>
                <a:cubicBezTo>
                  <a:pt x="8309910" y="4390440"/>
                  <a:pt x="8310842" y="4389109"/>
                  <a:pt x="8311507" y="4387379"/>
                </a:cubicBezTo>
                <a:cubicBezTo>
                  <a:pt x="8312172" y="4385781"/>
                  <a:pt x="8312439" y="4383917"/>
                  <a:pt x="8312439" y="4381921"/>
                </a:cubicBezTo>
                <a:cubicBezTo>
                  <a:pt x="8312439" y="4380057"/>
                  <a:pt x="8312172" y="4378326"/>
                  <a:pt x="8311507" y="4376729"/>
                </a:cubicBezTo>
                <a:cubicBezTo>
                  <a:pt x="8310842" y="4375132"/>
                  <a:pt x="8309910" y="4373801"/>
                  <a:pt x="8308844" y="4372603"/>
                </a:cubicBezTo>
                <a:cubicBezTo>
                  <a:pt x="8307779" y="4371538"/>
                  <a:pt x="8306448" y="4370606"/>
                  <a:pt x="8304851" y="4369940"/>
                </a:cubicBezTo>
                <a:cubicBezTo>
                  <a:pt x="8303387" y="4369275"/>
                  <a:pt x="8301790" y="4369009"/>
                  <a:pt x="8299793" y="4369009"/>
                </a:cubicBezTo>
                <a:close/>
                <a:moveTo>
                  <a:pt x="8082281" y="4369009"/>
                </a:moveTo>
                <a:cubicBezTo>
                  <a:pt x="8076424" y="4369009"/>
                  <a:pt x="8073894" y="4371005"/>
                  <a:pt x="8072297" y="4372603"/>
                </a:cubicBezTo>
                <a:cubicBezTo>
                  <a:pt x="8069768" y="4375265"/>
                  <a:pt x="8068703" y="4378060"/>
                  <a:pt x="8068703" y="4382054"/>
                </a:cubicBezTo>
                <a:cubicBezTo>
                  <a:pt x="8068703" y="4386180"/>
                  <a:pt x="8069768" y="4388976"/>
                  <a:pt x="8072297" y="4391505"/>
                </a:cubicBezTo>
                <a:cubicBezTo>
                  <a:pt x="8073894" y="4393104"/>
                  <a:pt x="8076424" y="4394967"/>
                  <a:pt x="8082281" y="4394967"/>
                </a:cubicBezTo>
                <a:cubicBezTo>
                  <a:pt x="8084277" y="4394967"/>
                  <a:pt x="8086007" y="4394701"/>
                  <a:pt x="8087605" y="4394035"/>
                </a:cubicBezTo>
                <a:cubicBezTo>
                  <a:pt x="8089069" y="4393503"/>
                  <a:pt x="8090401" y="4392571"/>
                  <a:pt x="8091332" y="4391638"/>
                </a:cubicBezTo>
                <a:cubicBezTo>
                  <a:pt x="8092397" y="4390440"/>
                  <a:pt x="8093329" y="4389109"/>
                  <a:pt x="8093994" y="4387379"/>
                </a:cubicBezTo>
                <a:cubicBezTo>
                  <a:pt x="8094660" y="4385781"/>
                  <a:pt x="8094926" y="4383917"/>
                  <a:pt x="8094926" y="4381921"/>
                </a:cubicBezTo>
                <a:cubicBezTo>
                  <a:pt x="8094926" y="4380057"/>
                  <a:pt x="8094660" y="4378326"/>
                  <a:pt x="8093994" y="4376729"/>
                </a:cubicBezTo>
                <a:cubicBezTo>
                  <a:pt x="8093329" y="4375132"/>
                  <a:pt x="8092397" y="4373801"/>
                  <a:pt x="8091332" y="4372603"/>
                </a:cubicBezTo>
                <a:cubicBezTo>
                  <a:pt x="8090267" y="4371538"/>
                  <a:pt x="8088936" y="4370606"/>
                  <a:pt x="8087338" y="4369940"/>
                </a:cubicBezTo>
                <a:cubicBezTo>
                  <a:pt x="8085874" y="4369275"/>
                  <a:pt x="8084277" y="4369009"/>
                  <a:pt x="8082281" y="4369009"/>
                </a:cubicBezTo>
                <a:close/>
                <a:moveTo>
                  <a:pt x="7864636" y="4369009"/>
                </a:moveTo>
                <a:cubicBezTo>
                  <a:pt x="7858779" y="4369009"/>
                  <a:pt x="7856249" y="4371005"/>
                  <a:pt x="7854652" y="4372603"/>
                </a:cubicBezTo>
                <a:cubicBezTo>
                  <a:pt x="7852123" y="4375265"/>
                  <a:pt x="7851058" y="4378060"/>
                  <a:pt x="7851058" y="4382054"/>
                </a:cubicBezTo>
                <a:cubicBezTo>
                  <a:pt x="7851058" y="4386180"/>
                  <a:pt x="7852123" y="4388976"/>
                  <a:pt x="7854652" y="4391505"/>
                </a:cubicBezTo>
                <a:cubicBezTo>
                  <a:pt x="7856249" y="4393104"/>
                  <a:pt x="7858779" y="4394967"/>
                  <a:pt x="7864636" y="4394967"/>
                </a:cubicBezTo>
                <a:cubicBezTo>
                  <a:pt x="7866633" y="4394967"/>
                  <a:pt x="7868363" y="4394701"/>
                  <a:pt x="7869961" y="4394035"/>
                </a:cubicBezTo>
                <a:cubicBezTo>
                  <a:pt x="7871425" y="4393503"/>
                  <a:pt x="7872756" y="4392571"/>
                  <a:pt x="7873687" y="4391638"/>
                </a:cubicBezTo>
                <a:cubicBezTo>
                  <a:pt x="7874753" y="4390440"/>
                  <a:pt x="7875685" y="4389109"/>
                  <a:pt x="7876350" y="4387379"/>
                </a:cubicBezTo>
                <a:cubicBezTo>
                  <a:pt x="7877015" y="4385781"/>
                  <a:pt x="7877282" y="4383917"/>
                  <a:pt x="7877282" y="4381921"/>
                </a:cubicBezTo>
                <a:cubicBezTo>
                  <a:pt x="7877282" y="4380057"/>
                  <a:pt x="7877015" y="4378326"/>
                  <a:pt x="7876350" y="4376729"/>
                </a:cubicBezTo>
                <a:cubicBezTo>
                  <a:pt x="7875685" y="4375132"/>
                  <a:pt x="7874753" y="4373801"/>
                  <a:pt x="7873687" y="4372603"/>
                </a:cubicBezTo>
                <a:cubicBezTo>
                  <a:pt x="7872623" y="4371538"/>
                  <a:pt x="7871291" y="4370606"/>
                  <a:pt x="7869694" y="4369940"/>
                </a:cubicBezTo>
                <a:cubicBezTo>
                  <a:pt x="7868230" y="4369275"/>
                  <a:pt x="7866633" y="4369009"/>
                  <a:pt x="7864636" y="4369009"/>
                </a:cubicBezTo>
                <a:close/>
                <a:moveTo>
                  <a:pt x="7646991" y="4369009"/>
                </a:moveTo>
                <a:cubicBezTo>
                  <a:pt x="7641134" y="4369009"/>
                  <a:pt x="7638604" y="4371005"/>
                  <a:pt x="7637007" y="4372603"/>
                </a:cubicBezTo>
                <a:cubicBezTo>
                  <a:pt x="7634478" y="4375265"/>
                  <a:pt x="7633413" y="4378060"/>
                  <a:pt x="7633413" y="4382054"/>
                </a:cubicBezTo>
                <a:cubicBezTo>
                  <a:pt x="7633413" y="4386180"/>
                  <a:pt x="7634478" y="4388976"/>
                  <a:pt x="7637007" y="4391505"/>
                </a:cubicBezTo>
                <a:cubicBezTo>
                  <a:pt x="7638604" y="4393104"/>
                  <a:pt x="7641134" y="4394967"/>
                  <a:pt x="7646991" y="4394967"/>
                </a:cubicBezTo>
                <a:cubicBezTo>
                  <a:pt x="7648987" y="4394967"/>
                  <a:pt x="7650851" y="4394701"/>
                  <a:pt x="7652315" y="4394035"/>
                </a:cubicBezTo>
                <a:cubicBezTo>
                  <a:pt x="7653780" y="4393503"/>
                  <a:pt x="7655111" y="4392571"/>
                  <a:pt x="7656042" y="4391638"/>
                </a:cubicBezTo>
                <a:cubicBezTo>
                  <a:pt x="7657108" y="4390440"/>
                  <a:pt x="7658039" y="4389109"/>
                  <a:pt x="7658705" y="4387379"/>
                </a:cubicBezTo>
                <a:cubicBezTo>
                  <a:pt x="7659504" y="4385781"/>
                  <a:pt x="7659769" y="4383917"/>
                  <a:pt x="7659769" y="4381921"/>
                </a:cubicBezTo>
                <a:cubicBezTo>
                  <a:pt x="7659769" y="4380057"/>
                  <a:pt x="7659370" y="4378326"/>
                  <a:pt x="7658705" y="4376729"/>
                </a:cubicBezTo>
                <a:cubicBezTo>
                  <a:pt x="7658039" y="4375132"/>
                  <a:pt x="7657108" y="4373801"/>
                  <a:pt x="7656042" y="4372603"/>
                </a:cubicBezTo>
                <a:cubicBezTo>
                  <a:pt x="7654977" y="4371538"/>
                  <a:pt x="7653646" y="4370606"/>
                  <a:pt x="7652049" y="4369940"/>
                </a:cubicBezTo>
                <a:cubicBezTo>
                  <a:pt x="7650584" y="4369275"/>
                  <a:pt x="7648987" y="4369009"/>
                  <a:pt x="7646991" y="4369009"/>
                </a:cubicBezTo>
                <a:close/>
                <a:moveTo>
                  <a:pt x="7429345" y="4369009"/>
                </a:moveTo>
                <a:cubicBezTo>
                  <a:pt x="7423488" y="4369009"/>
                  <a:pt x="7420958" y="4371005"/>
                  <a:pt x="7419361" y="4372603"/>
                </a:cubicBezTo>
                <a:cubicBezTo>
                  <a:pt x="7416832" y="4375265"/>
                  <a:pt x="7415768" y="4378060"/>
                  <a:pt x="7415768" y="4382054"/>
                </a:cubicBezTo>
                <a:cubicBezTo>
                  <a:pt x="7415768" y="4386180"/>
                  <a:pt x="7416832" y="4388976"/>
                  <a:pt x="7419361" y="4391505"/>
                </a:cubicBezTo>
                <a:cubicBezTo>
                  <a:pt x="7420958" y="4393104"/>
                  <a:pt x="7423488" y="4394967"/>
                  <a:pt x="7429345" y="4394967"/>
                </a:cubicBezTo>
                <a:cubicBezTo>
                  <a:pt x="7431342" y="4394967"/>
                  <a:pt x="7433206" y="4394701"/>
                  <a:pt x="7434670" y="4394035"/>
                </a:cubicBezTo>
                <a:cubicBezTo>
                  <a:pt x="7436134" y="4393503"/>
                  <a:pt x="7437466" y="4392571"/>
                  <a:pt x="7438397" y="4391638"/>
                </a:cubicBezTo>
                <a:cubicBezTo>
                  <a:pt x="7439462" y="4390440"/>
                  <a:pt x="7440394" y="4389109"/>
                  <a:pt x="7441059" y="4387379"/>
                </a:cubicBezTo>
                <a:cubicBezTo>
                  <a:pt x="7441858" y="4385781"/>
                  <a:pt x="7442124" y="4383917"/>
                  <a:pt x="7442124" y="4381921"/>
                </a:cubicBezTo>
                <a:cubicBezTo>
                  <a:pt x="7442124" y="4380057"/>
                  <a:pt x="7441725" y="4378326"/>
                  <a:pt x="7441059" y="4376729"/>
                </a:cubicBezTo>
                <a:cubicBezTo>
                  <a:pt x="7440394" y="4375132"/>
                  <a:pt x="7439462" y="4373801"/>
                  <a:pt x="7438397" y="4372603"/>
                </a:cubicBezTo>
                <a:cubicBezTo>
                  <a:pt x="7437332" y="4371538"/>
                  <a:pt x="7436001" y="4370606"/>
                  <a:pt x="7434403" y="4369940"/>
                </a:cubicBezTo>
                <a:cubicBezTo>
                  <a:pt x="7432939" y="4369275"/>
                  <a:pt x="7431342" y="4369009"/>
                  <a:pt x="7429345" y="4369009"/>
                </a:cubicBezTo>
                <a:close/>
                <a:moveTo>
                  <a:pt x="7211701" y="4369009"/>
                </a:moveTo>
                <a:cubicBezTo>
                  <a:pt x="7205844" y="4369009"/>
                  <a:pt x="7203314" y="4371005"/>
                  <a:pt x="7201717" y="4372603"/>
                </a:cubicBezTo>
                <a:cubicBezTo>
                  <a:pt x="7199188" y="4375265"/>
                  <a:pt x="7198123" y="4378060"/>
                  <a:pt x="7198123" y="4382054"/>
                </a:cubicBezTo>
                <a:cubicBezTo>
                  <a:pt x="7198123" y="4386180"/>
                  <a:pt x="7199188" y="4388976"/>
                  <a:pt x="7201717" y="4391505"/>
                </a:cubicBezTo>
                <a:cubicBezTo>
                  <a:pt x="7203314" y="4393104"/>
                  <a:pt x="7205844" y="4394967"/>
                  <a:pt x="7211701" y="4394967"/>
                </a:cubicBezTo>
                <a:cubicBezTo>
                  <a:pt x="7213830" y="4394967"/>
                  <a:pt x="7215561" y="4394701"/>
                  <a:pt x="7217026" y="4394035"/>
                </a:cubicBezTo>
                <a:cubicBezTo>
                  <a:pt x="7218490" y="4393503"/>
                  <a:pt x="7219821" y="4392571"/>
                  <a:pt x="7220752" y="4391638"/>
                </a:cubicBezTo>
                <a:cubicBezTo>
                  <a:pt x="7221818" y="4390440"/>
                  <a:pt x="7222750" y="4389109"/>
                  <a:pt x="7223415" y="4387379"/>
                </a:cubicBezTo>
                <a:cubicBezTo>
                  <a:pt x="7224214" y="4385781"/>
                  <a:pt x="7224480" y="4383917"/>
                  <a:pt x="7224480" y="4381921"/>
                </a:cubicBezTo>
                <a:cubicBezTo>
                  <a:pt x="7224480" y="4380057"/>
                  <a:pt x="7224080" y="4378326"/>
                  <a:pt x="7223415" y="4376729"/>
                </a:cubicBezTo>
                <a:cubicBezTo>
                  <a:pt x="7222750" y="4375132"/>
                  <a:pt x="7221818" y="4373801"/>
                  <a:pt x="7220752" y="4372603"/>
                </a:cubicBezTo>
                <a:cubicBezTo>
                  <a:pt x="7219687" y="4371538"/>
                  <a:pt x="7218356" y="4370606"/>
                  <a:pt x="7216759" y="4369940"/>
                </a:cubicBezTo>
                <a:cubicBezTo>
                  <a:pt x="7215295" y="4369275"/>
                  <a:pt x="7213698" y="4369009"/>
                  <a:pt x="7211701" y="4369009"/>
                </a:cubicBezTo>
                <a:close/>
                <a:moveTo>
                  <a:pt x="6994056" y="4369009"/>
                </a:moveTo>
                <a:cubicBezTo>
                  <a:pt x="6988199" y="4369009"/>
                  <a:pt x="6985669" y="4371005"/>
                  <a:pt x="6984072" y="4372603"/>
                </a:cubicBezTo>
                <a:cubicBezTo>
                  <a:pt x="6981543" y="4375265"/>
                  <a:pt x="6980478" y="4378060"/>
                  <a:pt x="6980478" y="4382054"/>
                </a:cubicBezTo>
                <a:cubicBezTo>
                  <a:pt x="6980478" y="4386180"/>
                  <a:pt x="6981543" y="4388976"/>
                  <a:pt x="6984072" y="4391505"/>
                </a:cubicBezTo>
                <a:cubicBezTo>
                  <a:pt x="6985669" y="4393104"/>
                  <a:pt x="6988199" y="4394967"/>
                  <a:pt x="6994056" y="4394967"/>
                </a:cubicBezTo>
                <a:cubicBezTo>
                  <a:pt x="6996185" y="4394967"/>
                  <a:pt x="6997916" y="4394701"/>
                  <a:pt x="6999380" y="4394035"/>
                </a:cubicBezTo>
                <a:cubicBezTo>
                  <a:pt x="7000844" y="4393503"/>
                  <a:pt x="7002176" y="4392571"/>
                  <a:pt x="7003107" y="4391638"/>
                </a:cubicBezTo>
                <a:cubicBezTo>
                  <a:pt x="7004172" y="4390440"/>
                  <a:pt x="7005104" y="4389109"/>
                  <a:pt x="7005769" y="4387379"/>
                </a:cubicBezTo>
                <a:cubicBezTo>
                  <a:pt x="7006568" y="4385781"/>
                  <a:pt x="7006834" y="4383917"/>
                  <a:pt x="7006834" y="4381921"/>
                </a:cubicBezTo>
                <a:cubicBezTo>
                  <a:pt x="7006834" y="4380057"/>
                  <a:pt x="7006435" y="4378326"/>
                  <a:pt x="7005769" y="4376729"/>
                </a:cubicBezTo>
                <a:cubicBezTo>
                  <a:pt x="7005104" y="4375132"/>
                  <a:pt x="7004172" y="4373801"/>
                  <a:pt x="7003107" y="4372603"/>
                </a:cubicBezTo>
                <a:cubicBezTo>
                  <a:pt x="7002042" y="4371538"/>
                  <a:pt x="7000711" y="4370606"/>
                  <a:pt x="6999113" y="4369940"/>
                </a:cubicBezTo>
                <a:cubicBezTo>
                  <a:pt x="6997649" y="4369275"/>
                  <a:pt x="6996052" y="4369009"/>
                  <a:pt x="6994056" y="4369009"/>
                </a:cubicBezTo>
                <a:close/>
                <a:moveTo>
                  <a:pt x="6776544" y="4369009"/>
                </a:moveTo>
                <a:cubicBezTo>
                  <a:pt x="6770687" y="4369009"/>
                  <a:pt x="6768157" y="4371005"/>
                  <a:pt x="6766560" y="4372603"/>
                </a:cubicBezTo>
                <a:cubicBezTo>
                  <a:pt x="6764031" y="4375265"/>
                  <a:pt x="6762966" y="4378060"/>
                  <a:pt x="6762966" y="4382054"/>
                </a:cubicBezTo>
                <a:cubicBezTo>
                  <a:pt x="6762966" y="4386180"/>
                  <a:pt x="6764031" y="4388976"/>
                  <a:pt x="6766560" y="4391505"/>
                </a:cubicBezTo>
                <a:cubicBezTo>
                  <a:pt x="6768157" y="4393104"/>
                  <a:pt x="6770687" y="4394967"/>
                  <a:pt x="6776544" y="4394967"/>
                </a:cubicBezTo>
                <a:cubicBezTo>
                  <a:pt x="6778541" y="4394967"/>
                  <a:pt x="6780270" y="4394701"/>
                  <a:pt x="6781869" y="4394035"/>
                </a:cubicBezTo>
                <a:cubicBezTo>
                  <a:pt x="6783333" y="4393503"/>
                  <a:pt x="6784664" y="4392571"/>
                  <a:pt x="6785595" y="4391638"/>
                </a:cubicBezTo>
                <a:cubicBezTo>
                  <a:pt x="6786661" y="4390440"/>
                  <a:pt x="6787593" y="4389109"/>
                  <a:pt x="6788258" y="4387379"/>
                </a:cubicBezTo>
                <a:cubicBezTo>
                  <a:pt x="6789057" y="4385781"/>
                  <a:pt x="6789323" y="4383917"/>
                  <a:pt x="6789323" y="4381921"/>
                </a:cubicBezTo>
                <a:cubicBezTo>
                  <a:pt x="6789323" y="4380057"/>
                  <a:pt x="6788923" y="4378326"/>
                  <a:pt x="6788258" y="4376729"/>
                </a:cubicBezTo>
                <a:cubicBezTo>
                  <a:pt x="6787593" y="4375132"/>
                  <a:pt x="6786661" y="4373801"/>
                  <a:pt x="6785595" y="4372603"/>
                </a:cubicBezTo>
                <a:cubicBezTo>
                  <a:pt x="6784530" y="4371538"/>
                  <a:pt x="6783199" y="4370606"/>
                  <a:pt x="6781602" y="4369940"/>
                </a:cubicBezTo>
                <a:cubicBezTo>
                  <a:pt x="6780138" y="4369275"/>
                  <a:pt x="6778541" y="4369009"/>
                  <a:pt x="6776544" y="4369009"/>
                </a:cubicBezTo>
                <a:close/>
                <a:moveTo>
                  <a:pt x="6558899" y="4369009"/>
                </a:moveTo>
                <a:cubicBezTo>
                  <a:pt x="6553042" y="4369009"/>
                  <a:pt x="6550512" y="4371005"/>
                  <a:pt x="6548915" y="4372603"/>
                </a:cubicBezTo>
                <a:cubicBezTo>
                  <a:pt x="6546386" y="4375265"/>
                  <a:pt x="6545321" y="4378060"/>
                  <a:pt x="6545321" y="4382054"/>
                </a:cubicBezTo>
                <a:cubicBezTo>
                  <a:pt x="6545321" y="4386180"/>
                  <a:pt x="6546386" y="4388976"/>
                  <a:pt x="6548915" y="4391505"/>
                </a:cubicBezTo>
                <a:cubicBezTo>
                  <a:pt x="6550512" y="4393104"/>
                  <a:pt x="6553042" y="4394967"/>
                  <a:pt x="6558899" y="4394967"/>
                </a:cubicBezTo>
                <a:cubicBezTo>
                  <a:pt x="6560895" y="4394967"/>
                  <a:pt x="6562759" y="4394701"/>
                  <a:pt x="6564223" y="4394035"/>
                </a:cubicBezTo>
                <a:cubicBezTo>
                  <a:pt x="6565687" y="4393503"/>
                  <a:pt x="6567019" y="4392571"/>
                  <a:pt x="6567950" y="4391638"/>
                </a:cubicBezTo>
                <a:cubicBezTo>
                  <a:pt x="6569015" y="4390440"/>
                  <a:pt x="6569947" y="4389109"/>
                  <a:pt x="6570612" y="4387379"/>
                </a:cubicBezTo>
                <a:cubicBezTo>
                  <a:pt x="6571412" y="4385781"/>
                  <a:pt x="6571677" y="4383917"/>
                  <a:pt x="6571677" y="4381921"/>
                </a:cubicBezTo>
                <a:cubicBezTo>
                  <a:pt x="6571677" y="4380057"/>
                  <a:pt x="6571278" y="4378326"/>
                  <a:pt x="6570612" y="4376729"/>
                </a:cubicBezTo>
                <a:cubicBezTo>
                  <a:pt x="6569947" y="4375132"/>
                  <a:pt x="6569015" y="4373801"/>
                  <a:pt x="6567950" y="4372603"/>
                </a:cubicBezTo>
                <a:cubicBezTo>
                  <a:pt x="6566885" y="4371538"/>
                  <a:pt x="6565554" y="4370606"/>
                  <a:pt x="6563956" y="4369940"/>
                </a:cubicBezTo>
                <a:cubicBezTo>
                  <a:pt x="6562492" y="4369275"/>
                  <a:pt x="6560895" y="4369009"/>
                  <a:pt x="6558899" y="4369009"/>
                </a:cubicBezTo>
                <a:close/>
                <a:moveTo>
                  <a:pt x="6341253" y="4369009"/>
                </a:moveTo>
                <a:cubicBezTo>
                  <a:pt x="6335396" y="4369009"/>
                  <a:pt x="6332867" y="4371005"/>
                  <a:pt x="6331270" y="4372603"/>
                </a:cubicBezTo>
                <a:cubicBezTo>
                  <a:pt x="6328740" y="4375265"/>
                  <a:pt x="6327675" y="4378060"/>
                  <a:pt x="6327675" y="4382054"/>
                </a:cubicBezTo>
                <a:cubicBezTo>
                  <a:pt x="6327675" y="4386180"/>
                  <a:pt x="6328740" y="4388976"/>
                  <a:pt x="6331270" y="4391505"/>
                </a:cubicBezTo>
                <a:cubicBezTo>
                  <a:pt x="6332867" y="4393104"/>
                  <a:pt x="6335396" y="4394967"/>
                  <a:pt x="6341253" y="4394967"/>
                </a:cubicBezTo>
                <a:cubicBezTo>
                  <a:pt x="6343250" y="4394967"/>
                  <a:pt x="6345114" y="4394701"/>
                  <a:pt x="6346578" y="4394035"/>
                </a:cubicBezTo>
                <a:cubicBezTo>
                  <a:pt x="6348042" y="4393503"/>
                  <a:pt x="6349373" y="4392571"/>
                  <a:pt x="6350305" y="4391638"/>
                </a:cubicBezTo>
                <a:cubicBezTo>
                  <a:pt x="6351370" y="4390440"/>
                  <a:pt x="6352302" y="4389109"/>
                  <a:pt x="6352968" y="4387379"/>
                </a:cubicBezTo>
                <a:cubicBezTo>
                  <a:pt x="6353766" y="4385781"/>
                  <a:pt x="6354033" y="4383917"/>
                  <a:pt x="6354033" y="4381921"/>
                </a:cubicBezTo>
                <a:cubicBezTo>
                  <a:pt x="6354033" y="4380057"/>
                  <a:pt x="6353633" y="4378326"/>
                  <a:pt x="6352968" y="4376729"/>
                </a:cubicBezTo>
                <a:cubicBezTo>
                  <a:pt x="6352302" y="4375132"/>
                  <a:pt x="6351370" y="4373801"/>
                  <a:pt x="6350305" y="4372603"/>
                </a:cubicBezTo>
                <a:cubicBezTo>
                  <a:pt x="6349241" y="4371538"/>
                  <a:pt x="6347909" y="4370606"/>
                  <a:pt x="6346312" y="4369940"/>
                </a:cubicBezTo>
                <a:cubicBezTo>
                  <a:pt x="6344848" y="4369275"/>
                  <a:pt x="6343250" y="4369009"/>
                  <a:pt x="6341253" y="4369009"/>
                </a:cubicBezTo>
                <a:close/>
                <a:moveTo>
                  <a:pt x="6123608" y="4369009"/>
                </a:moveTo>
                <a:cubicBezTo>
                  <a:pt x="6117751" y="4369009"/>
                  <a:pt x="6115221" y="4371005"/>
                  <a:pt x="6113624" y="4372603"/>
                </a:cubicBezTo>
                <a:cubicBezTo>
                  <a:pt x="6111095" y="4375265"/>
                  <a:pt x="6110030" y="4378060"/>
                  <a:pt x="6110030" y="4382054"/>
                </a:cubicBezTo>
                <a:cubicBezTo>
                  <a:pt x="6110030" y="4386180"/>
                  <a:pt x="6111095" y="4388976"/>
                  <a:pt x="6113624" y="4391505"/>
                </a:cubicBezTo>
                <a:cubicBezTo>
                  <a:pt x="6115221" y="4393104"/>
                  <a:pt x="6117751" y="4394967"/>
                  <a:pt x="6123608" y="4394967"/>
                </a:cubicBezTo>
                <a:cubicBezTo>
                  <a:pt x="6125737" y="4394967"/>
                  <a:pt x="6127468" y="4394701"/>
                  <a:pt x="6128932" y="4394035"/>
                </a:cubicBezTo>
                <a:cubicBezTo>
                  <a:pt x="6130530" y="4393503"/>
                  <a:pt x="6131728" y="4392571"/>
                  <a:pt x="6132659" y="4391638"/>
                </a:cubicBezTo>
                <a:cubicBezTo>
                  <a:pt x="6133724" y="4390440"/>
                  <a:pt x="6134656" y="4389109"/>
                  <a:pt x="6135322" y="4387379"/>
                </a:cubicBezTo>
                <a:cubicBezTo>
                  <a:pt x="6135987" y="4385781"/>
                  <a:pt x="6136387" y="4383917"/>
                  <a:pt x="6136387" y="4381921"/>
                </a:cubicBezTo>
                <a:cubicBezTo>
                  <a:pt x="6136387" y="4380057"/>
                  <a:pt x="6135987" y="4378326"/>
                  <a:pt x="6135322" y="4376729"/>
                </a:cubicBezTo>
                <a:cubicBezTo>
                  <a:pt x="6134656" y="4375132"/>
                  <a:pt x="6133724" y="4373801"/>
                  <a:pt x="6132659" y="4372603"/>
                </a:cubicBezTo>
                <a:cubicBezTo>
                  <a:pt x="6131594" y="4371538"/>
                  <a:pt x="6130263" y="4370606"/>
                  <a:pt x="6128666" y="4369940"/>
                </a:cubicBezTo>
                <a:cubicBezTo>
                  <a:pt x="6127202" y="4369275"/>
                  <a:pt x="6125604" y="4369009"/>
                  <a:pt x="6123608" y="4369009"/>
                </a:cubicBezTo>
                <a:close/>
                <a:moveTo>
                  <a:pt x="5905963" y="4369009"/>
                </a:moveTo>
                <a:cubicBezTo>
                  <a:pt x="5900106" y="4369009"/>
                  <a:pt x="5897576" y="4371005"/>
                  <a:pt x="5895979" y="4372603"/>
                </a:cubicBezTo>
                <a:cubicBezTo>
                  <a:pt x="5893450" y="4375265"/>
                  <a:pt x="5892385" y="4378060"/>
                  <a:pt x="5892385" y="4382054"/>
                </a:cubicBezTo>
                <a:cubicBezTo>
                  <a:pt x="5892385" y="4386180"/>
                  <a:pt x="5893450" y="4388976"/>
                  <a:pt x="5895979" y="4391505"/>
                </a:cubicBezTo>
                <a:cubicBezTo>
                  <a:pt x="5897576" y="4393104"/>
                  <a:pt x="5900106" y="4394967"/>
                  <a:pt x="5905963" y="4394967"/>
                </a:cubicBezTo>
                <a:cubicBezTo>
                  <a:pt x="5908093" y="4394967"/>
                  <a:pt x="5909823" y="4394701"/>
                  <a:pt x="5911287" y="4394035"/>
                </a:cubicBezTo>
                <a:cubicBezTo>
                  <a:pt x="5912751" y="4393503"/>
                  <a:pt x="5914083" y="4392571"/>
                  <a:pt x="5915014" y="4391638"/>
                </a:cubicBezTo>
                <a:cubicBezTo>
                  <a:pt x="5916079" y="4390440"/>
                  <a:pt x="5917011" y="4389109"/>
                  <a:pt x="5917677" y="4387379"/>
                </a:cubicBezTo>
                <a:cubicBezTo>
                  <a:pt x="5918342" y="4385781"/>
                  <a:pt x="5918742" y="4383917"/>
                  <a:pt x="5918742" y="4381921"/>
                </a:cubicBezTo>
                <a:cubicBezTo>
                  <a:pt x="5918742" y="4380057"/>
                  <a:pt x="5918342" y="4378326"/>
                  <a:pt x="5917677" y="4376729"/>
                </a:cubicBezTo>
                <a:cubicBezTo>
                  <a:pt x="5917011" y="4375132"/>
                  <a:pt x="5916079" y="4373801"/>
                  <a:pt x="5915014" y="4372603"/>
                </a:cubicBezTo>
                <a:cubicBezTo>
                  <a:pt x="5913950" y="4371538"/>
                  <a:pt x="5912618" y="4370606"/>
                  <a:pt x="5911021" y="4369940"/>
                </a:cubicBezTo>
                <a:cubicBezTo>
                  <a:pt x="5909557" y="4369275"/>
                  <a:pt x="5907826" y="4369009"/>
                  <a:pt x="5905963" y="4369009"/>
                </a:cubicBezTo>
                <a:close/>
                <a:moveTo>
                  <a:pt x="5688451" y="4369009"/>
                </a:moveTo>
                <a:cubicBezTo>
                  <a:pt x="5682594" y="4369009"/>
                  <a:pt x="5680064" y="4371005"/>
                  <a:pt x="5678467" y="4372603"/>
                </a:cubicBezTo>
                <a:cubicBezTo>
                  <a:pt x="5675938" y="4375265"/>
                  <a:pt x="5674873" y="4378060"/>
                  <a:pt x="5674873" y="4382054"/>
                </a:cubicBezTo>
                <a:cubicBezTo>
                  <a:pt x="5674873" y="4386180"/>
                  <a:pt x="5675938" y="4388976"/>
                  <a:pt x="5678467" y="4391505"/>
                </a:cubicBezTo>
                <a:cubicBezTo>
                  <a:pt x="5680064" y="4393104"/>
                  <a:pt x="5682594" y="4394967"/>
                  <a:pt x="5688451" y="4394967"/>
                </a:cubicBezTo>
                <a:cubicBezTo>
                  <a:pt x="5690447" y="4394967"/>
                  <a:pt x="5692178" y="4394701"/>
                  <a:pt x="5693775" y="4394035"/>
                </a:cubicBezTo>
                <a:cubicBezTo>
                  <a:pt x="5695239" y="4393503"/>
                  <a:pt x="5696571" y="4392571"/>
                  <a:pt x="5697502" y="4391638"/>
                </a:cubicBezTo>
                <a:cubicBezTo>
                  <a:pt x="5698567" y="4390440"/>
                  <a:pt x="5699499" y="4389109"/>
                  <a:pt x="5700165" y="4387379"/>
                </a:cubicBezTo>
                <a:cubicBezTo>
                  <a:pt x="5700830" y="4385781"/>
                  <a:pt x="5701230" y="4383917"/>
                  <a:pt x="5701230" y="4381921"/>
                </a:cubicBezTo>
                <a:cubicBezTo>
                  <a:pt x="5701230" y="4380057"/>
                  <a:pt x="5700830" y="4378326"/>
                  <a:pt x="5700165" y="4376729"/>
                </a:cubicBezTo>
                <a:cubicBezTo>
                  <a:pt x="5699499" y="4375132"/>
                  <a:pt x="5698567" y="4373801"/>
                  <a:pt x="5697502" y="4372603"/>
                </a:cubicBezTo>
                <a:cubicBezTo>
                  <a:pt x="5696437" y="4371538"/>
                  <a:pt x="5695106" y="4370606"/>
                  <a:pt x="5693509" y="4369940"/>
                </a:cubicBezTo>
                <a:cubicBezTo>
                  <a:pt x="5692045" y="4369275"/>
                  <a:pt x="5690314" y="4369009"/>
                  <a:pt x="5688451" y="4369009"/>
                </a:cubicBezTo>
                <a:close/>
                <a:moveTo>
                  <a:pt x="5470806" y="4369009"/>
                </a:moveTo>
                <a:cubicBezTo>
                  <a:pt x="5464949" y="4369009"/>
                  <a:pt x="5462419" y="4371005"/>
                  <a:pt x="5460822" y="4372603"/>
                </a:cubicBezTo>
                <a:cubicBezTo>
                  <a:pt x="5458293" y="4375265"/>
                  <a:pt x="5457228" y="4378060"/>
                  <a:pt x="5457228" y="4382054"/>
                </a:cubicBezTo>
                <a:cubicBezTo>
                  <a:pt x="5457228" y="4386180"/>
                  <a:pt x="5458293" y="4388976"/>
                  <a:pt x="5460822" y="4391505"/>
                </a:cubicBezTo>
                <a:cubicBezTo>
                  <a:pt x="5462419" y="4393104"/>
                  <a:pt x="5464949" y="4394967"/>
                  <a:pt x="5470806" y="4394967"/>
                </a:cubicBezTo>
                <a:cubicBezTo>
                  <a:pt x="5472802" y="4394967"/>
                  <a:pt x="5474666" y="4394701"/>
                  <a:pt x="5476130" y="4394035"/>
                </a:cubicBezTo>
                <a:cubicBezTo>
                  <a:pt x="5477594" y="4393503"/>
                  <a:pt x="5478926" y="4392571"/>
                  <a:pt x="5479857" y="4391638"/>
                </a:cubicBezTo>
                <a:cubicBezTo>
                  <a:pt x="5480922" y="4390440"/>
                  <a:pt x="5481854" y="4389109"/>
                  <a:pt x="5482520" y="4387379"/>
                </a:cubicBezTo>
                <a:cubicBezTo>
                  <a:pt x="5483319" y="4385781"/>
                  <a:pt x="5483585" y="4383917"/>
                  <a:pt x="5483585" y="4381921"/>
                </a:cubicBezTo>
                <a:cubicBezTo>
                  <a:pt x="5483585" y="4380057"/>
                  <a:pt x="5483185" y="4378326"/>
                  <a:pt x="5482520" y="4376729"/>
                </a:cubicBezTo>
                <a:cubicBezTo>
                  <a:pt x="5481854" y="4375132"/>
                  <a:pt x="5480922" y="4373801"/>
                  <a:pt x="5479857" y="4372603"/>
                </a:cubicBezTo>
                <a:cubicBezTo>
                  <a:pt x="5478793" y="4371538"/>
                  <a:pt x="5477461" y="4370606"/>
                  <a:pt x="5475864" y="4369940"/>
                </a:cubicBezTo>
                <a:cubicBezTo>
                  <a:pt x="5474400" y="4369275"/>
                  <a:pt x="5472669" y="4369009"/>
                  <a:pt x="5470806" y="4369009"/>
                </a:cubicBezTo>
                <a:close/>
                <a:moveTo>
                  <a:pt x="5253160" y="4369009"/>
                </a:moveTo>
                <a:cubicBezTo>
                  <a:pt x="5247303" y="4369009"/>
                  <a:pt x="5244774" y="4371005"/>
                  <a:pt x="5243177" y="4372603"/>
                </a:cubicBezTo>
                <a:cubicBezTo>
                  <a:pt x="5240647" y="4375265"/>
                  <a:pt x="5239583" y="4378060"/>
                  <a:pt x="5239583" y="4382054"/>
                </a:cubicBezTo>
                <a:cubicBezTo>
                  <a:pt x="5239583" y="4386180"/>
                  <a:pt x="5240647" y="4388976"/>
                  <a:pt x="5243177" y="4391505"/>
                </a:cubicBezTo>
                <a:cubicBezTo>
                  <a:pt x="5244774" y="4393104"/>
                  <a:pt x="5247303" y="4394967"/>
                  <a:pt x="5253160" y="4394967"/>
                </a:cubicBezTo>
                <a:cubicBezTo>
                  <a:pt x="5255157" y="4394967"/>
                  <a:pt x="5257021" y="4394701"/>
                  <a:pt x="5258485" y="4394035"/>
                </a:cubicBezTo>
                <a:cubicBezTo>
                  <a:pt x="5259949" y="4393503"/>
                  <a:pt x="5261280" y="4392571"/>
                  <a:pt x="5262212" y="4391638"/>
                </a:cubicBezTo>
                <a:cubicBezTo>
                  <a:pt x="5263277" y="4390440"/>
                  <a:pt x="5264209" y="4389109"/>
                  <a:pt x="5264875" y="4387379"/>
                </a:cubicBezTo>
                <a:cubicBezTo>
                  <a:pt x="5265673" y="4385781"/>
                  <a:pt x="5265939" y="4383917"/>
                  <a:pt x="5265939" y="4381921"/>
                </a:cubicBezTo>
                <a:cubicBezTo>
                  <a:pt x="5265939" y="4380057"/>
                  <a:pt x="5265540" y="4378326"/>
                  <a:pt x="5264875" y="4376729"/>
                </a:cubicBezTo>
                <a:cubicBezTo>
                  <a:pt x="5264209" y="4375132"/>
                  <a:pt x="5263277" y="4373801"/>
                  <a:pt x="5262212" y="4372603"/>
                </a:cubicBezTo>
                <a:cubicBezTo>
                  <a:pt x="5261147" y="4371538"/>
                  <a:pt x="5259816" y="4370606"/>
                  <a:pt x="5258219" y="4369940"/>
                </a:cubicBezTo>
                <a:cubicBezTo>
                  <a:pt x="5256754" y="4369275"/>
                  <a:pt x="5255024" y="4369009"/>
                  <a:pt x="5253160" y="4369009"/>
                </a:cubicBezTo>
                <a:close/>
                <a:moveTo>
                  <a:pt x="5035515" y="4369009"/>
                </a:moveTo>
                <a:cubicBezTo>
                  <a:pt x="5029658" y="4369009"/>
                  <a:pt x="5027129" y="4371005"/>
                  <a:pt x="5025532" y="4372603"/>
                </a:cubicBezTo>
                <a:cubicBezTo>
                  <a:pt x="5023002" y="4375265"/>
                  <a:pt x="5021938" y="4378060"/>
                  <a:pt x="5021938" y="4382054"/>
                </a:cubicBezTo>
                <a:cubicBezTo>
                  <a:pt x="5021938" y="4386180"/>
                  <a:pt x="5023002" y="4388976"/>
                  <a:pt x="5025532" y="4391505"/>
                </a:cubicBezTo>
                <a:cubicBezTo>
                  <a:pt x="5027129" y="4393104"/>
                  <a:pt x="5029658" y="4394967"/>
                  <a:pt x="5035515" y="4394967"/>
                </a:cubicBezTo>
                <a:cubicBezTo>
                  <a:pt x="5037645" y="4394967"/>
                  <a:pt x="5039376" y="4394701"/>
                  <a:pt x="5040840" y="4394035"/>
                </a:cubicBezTo>
                <a:cubicBezTo>
                  <a:pt x="5042304" y="4393503"/>
                  <a:pt x="5043636" y="4392571"/>
                  <a:pt x="5044567" y="4391638"/>
                </a:cubicBezTo>
                <a:cubicBezTo>
                  <a:pt x="5045632" y="4390440"/>
                  <a:pt x="5046564" y="4389109"/>
                  <a:pt x="5047230" y="4387379"/>
                </a:cubicBezTo>
                <a:cubicBezTo>
                  <a:pt x="5048028" y="4385781"/>
                  <a:pt x="5048294" y="4383917"/>
                  <a:pt x="5048294" y="4381921"/>
                </a:cubicBezTo>
                <a:cubicBezTo>
                  <a:pt x="5048294" y="4380057"/>
                  <a:pt x="5047895" y="4378326"/>
                  <a:pt x="5047230" y="4376729"/>
                </a:cubicBezTo>
                <a:cubicBezTo>
                  <a:pt x="5046564" y="4375132"/>
                  <a:pt x="5045632" y="4373801"/>
                  <a:pt x="5044567" y="4372603"/>
                </a:cubicBezTo>
                <a:cubicBezTo>
                  <a:pt x="5043502" y="4371538"/>
                  <a:pt x="5042171" y="4370606"/>
                  <a:pt x="5040574" y="4369940"/>
                </a:cubicBezTo>
                <a:cubicBezTo>
                  <a:pt x="5039110" y="4369275"/>
                  <a:pt x="5037379" y="4369009"/>
                  <a:pt x="5035515" y="4369009"/>
                </a:cubicBezTo>
                <a:close/>
                <a:moveTo>
                  <a:pt x="4817870" y="4369009"/>
                </a:moveTo>
                <a:cubicBezTo>
                  <a:pt x="4812013" y="4369009"/>
                  <a:pt x="4809484" y="4371005"/>
                  <a:pt x="4807887" y="4372603"/>
                </a:cubicBezTo>
                <a:cubicBezTo>
                  <a:pt x="4805357" y="4375265"/>
                  <a:pt x="4804293" y="4378060"/>
                  <a:pt x="4804293" y="4382054"/>
                </a:cubicBezTo>
                <a:cubicBezTo>
                  <a:pt x="4804293" y="4386180"/>
                  <a:pt x="4805357" y="4388976"/>
                  <a:pt x="4807887" y="4391505"/>
                </a:cubicBezTo>
                <a:cubicBezTo>
                  <a:pt x="4809484" y="4393104"/>
                  <a:pt x="4812013" y="4394967"/>
                  <a:pt x="4817870" y="4394967"/>
                </a:cubicBezTo>
                <a:cubicBezTo>
                  <a:pt x="4820000" y="4394967"/>
                  <a:pt x="4821731" y="4394701"/>
                  <a:pt x="4823195" y="4394035"/>
                </a:cubicBezTo>
                <a:cubicBezTo>
                  <a:pt x="4824659" y="4393503"/>
                  <a:pt x="4825857" y="4392571"/>
                  <a:pt x="4826922" y="4391638"/>
                </a:cubicBezTo>
                <a:cubicBezTo>
                  <a:pt x="4827987" y="4390440"/>
                  <a:pt x="4828919" y="4389109"/>
                  <a:pt x="4829585" y="4387379"/>
                </a:cubicBezTo>
                <a:cubicBezTo>
                  <a:pt x="4830383" y="4385781"/>
                  <a:pt x="4830650" y="4383917"/>
                  <a:pt x="4830650" y="4381921"/>
                </a:cubicBezTo>
                <a:cubicBezTo>
                  <a:pt x="4830650" y="4380057"/>
                  <a:pt x="4830250" y="4378326"/>
                  <a:pt x="4829585" y="4376729"/>
                </a:cubicBezTo>
                <a:cubicBezTo>
                  <a:pt x="4828919" y="4375132"/>
                  <a:pt x="4827987" y="4373801"/>
                  <a:pt x="4826922" y="4372603"/>
                </a:cubicBezTo>
                <a:cubicBezTo>
                  <a:pt x="4825857" y="4371538"/>
                  <a:pt x="4824526" y="4370606"/>
                  <a:pt x="4822929" y="4369940"/>
                </a:cubicBezTo>
                <a:cubicBezTo>
                  <a:pt x="4821465" y="4369275"/>
                  <a:pt x="4819734" y="4369009"/>
                  <a:pt x="4817870" y="4369009"/>
                </a:cubicBezTo>
                <a:close/>
                <a:moveTo>
                  <a:pt x="4600226" y="4369009"/>
                </a:moveTo>
                <a:cubicBezTo>
                  <a:pt x="4594369" y="4369009"/>
                  <a:pt x="4591839" y="4371005"/>
                  <a:pt x="4590242" y="4372603"/>
                </a:cubicBezTo>
                <a:cubicBezTo>
                  <a:pt x="4587713" y="4375265"/>
                  <a:pt x="4586648" y="4378060"/>
                  <a:pt x="4586648" y="4382054"/>
                </a:cubicBezTo>
                <a:cubicBezTo>
                  <a:pt x="4586648" y="4386180"/>
                  <a:pt x="4587713" y="4388976"/>
                  <a:pt x="4590242" y="4391505"/>
                </a:cubicBezTo>
                <a:cubicBezTo>
                  <a:pt x="4591839" y="4393104"/>
                  <a:pt x="4594369" y="4394967"/>
                  <a:pt x="4600226" y="4394967"/>
                </a:cubicBezTo>
                <a:cubicBezTo>
                  <a:pt x="4602355" y="4394967"/>
                  <a:pt x="4604086" y="4394701"/>
                  <a:pt x="4605550" y="4394035"/>
                </a:cubicBezTo>
                <a:cubicBezTo>
                  <a:pt x="4607148" y="4393503"/>
                  <a:pt x="4608346" y="4392571"/>
                  <a:pt x="4609277" y="4391638"/>
                </a:cubicBezTo>
                <a:cubicBezTo>
                  <a:pt x="4610342" y="4390440"/>
                  <a:pt x="4611274" y="4389109"/>
                  <a:pt x="4611940" y="4387379"/>
                </a:cubicBezTo>
                <a:cubicBezTo>
                  <a:pt x="4612605" y="4385781"/>
                  <a:pt x="4613005" y="4383917"/>
                  <a:pt x="4613005" y="4381921"/>
                </a:cubicBezTo>
                <a:cubicBezTo>
                  <a:pt x="4613005" y="4380057"/>
                  <a:pt x="4612605" y="4378326"/>
                  <a:pt x="4611940" y="4376729"/>
                </a:cubicBezTo>
                <a:cubicBezTo>
                  <a:pt x="4611274" y="4375132"/>
                  <a:pt x="4610342" y="4373801"/>
                  <a:pt x="4609277" y="4372603"/>
                </a:cubicBezTo>
                <a:cubicBezTo>
                  <a:pt x="4608212" y="4371538"/>
                  <a:pt x="4606881" y="4370606"/>
                  <a:pt x="4605284" y="4369940"/>
                </a:cubicBezTo>
                <a:cubicBezTo>
                  <a:pt x="4603820" y="4369275"/>
                  <a:pt x="4602222" y="4369009"/>
                  <a:pt x="4600226" y="4369009"/>
                </a:cubicBezTo>
                <a:close/>
                <a:moveTo>
                  <a:pt x="4382713" y="4369009"/>
                </a:moveTo>
                <a:cubicBezTo>
                  <a:pt x="4376857" y="4369009"/>
                  <a:pt x="4374327" y="4371005"/>
                  <a:pt x="4372730" y="4372603"/>
                </a:cubicBezTo>
                <a:cubicBezTo>
                  <a:pt x="4370201" y="4375265"/>
                  <a:pt x="4369136" y="4378060"/>
                  <a:pt x="4369136" y="4382054"/>
                </a:cubicBezTo>
                <a:cubicBezTo>
                  <a:pt x="4369136" y="4386180"/>
                  <a:pt x="4370201" y="4388976"/>
                  <a:pt x="4372730" y="4391505"/>
                </a:cubicBezTo>
                <a:cubicBezTo>
                  <a:pt x="4374327" y="4393104"/>
                  <a:pt x="4376857" y="4394967"/>
                  <a:pt x="4382713" y="4394967"/>
                </a:cubicBezTo>
                <a:cubicBezTo>
                  <a:pt x="4384710" y="4394967"/>
                  <a:pt x="4386441" y="4394701"/>
                  <a:pt x="4388038" y="4394035"/>
                </a:cubicBezTo>
                <a:cubicBezTo>
                  <a:pt x="4389502" y="4393503"/>
                  <a:pt x="4390834" y="4392571"/>
                  <a:pt x="4391765" y="4391638"/>
                </a:cubicBezTo>
                <a:cubicBezTo>
                  <a:pt x="4392830" y="4390440"/>
                  <a:pt x="4393762" y="4389109"/>
                  <a:pt x="4394428" y="4387379"/>
                </a:cubicBezTo>
                <a:cubicBezTo>
                  <a:pt x="4395093" y="4385781"/>
                  <a:pt x="4395493" y="4383917"/>
                  <a:pt x="4395493" y="4381921"/>
                </a:cubicBezTo>
                <a:cubicBezTo>
                  <a:pt x="4395493" y="4380057"/>
                  <a:pt x="4395093" y="4378326"/>
                  <a:pt x="4394428" y="4376729"/>
                </a:cubicBezTo>
                <a:cubicBezTo>
                  <a:pt x="4393762" y="4375132"/>
                  <a:pt x="4392830" y="4373801"/>
                  <a:pt x="4391765" y="4372603"/>
                </a:cubicBezTo>
                <a:cubicBezTo>
                  <a:pt x="4390700" y="4371538"/>
                  <a:pt x="4389369" y="4370606"/>
                  <a:pt x="4387772" y="4369940"/>
                </a:cubicBezTo>
                <a:cubicBezTo>
                  <a:pt x="4386308" y="4369275"/>
                  <a:pt x="4384710" y="4369009"/>
                  <a:pt x="4382713" y="4369009"/>
                </a:cubicBezTo>
                <a:close/>
                <a:moveTo>
                  <a:pt x="4165068" y="4369009"/>
                </a:moveTo>
                <a:cubicBezTo>
                  <a:pt x="4159211" y="4369009"/>
                  <a:pt x="4156681" y="4371005"/>
                  <a:pt x="4155084" y="4372603"/>
                </a:cubicBezTo>
                <a:cubicBezTo>
                  <a:pt x="4152555" y="4375265"/>
                  <a:pt x="4151490" y="4378060"/>
                  <a:pt x="4151490" y="4382054"/>
                </a:cubicBezTo>
                <a:cubicBezTo>
                  <a:pt x="4151490" y="4386180"/>
                  <a:pt x="4152555" y="4388976"/>
                  <a:pt x="4155084" y="4391505"/>
                </a:cubicBezTo>
                <a:cubicBezTo>
                  <a:pt x="4156681" y="4393104"/>
                  <a:pt x="4159211" y="4394967"/>
                  <a:pt x="4165068" y="4394967"/>
                </a:cubicBezTo>
                <a:cubicBezTo>
                  <a:pt x="4167064" y="4394967"/>
                  <a:pt x="4168928" y="4394701"/>
                  <a:pt x="4170392" y="4394035"/>
                </a:cubicBezTo>
                <a:cubicBezTo>
                  <a:pt x="4171856" y="4393503"/>
                  <a:pt x="4173188" y="4392571"/>
                  <a:pt x="4174119" y="4391638"/>
                </a:cubicBezTo>
                <a:cubicBezTo>
                  <a:pt x="4175184" y="4390440"/>
                  <a:pt x="4176116" y="4389109"/>
                  <a:pt x="4176782" y="4387379"/>
                </a:cubicBezTo>
                <a:cubicBezTo>
                  <a:pt x="4177447" y="4385781"/>
                  <a:pt x="4177847" y="4383917"/>
                  <a:pt x="4177847" y="4381921"/>
                </a:cubicBezTo>
                <a:cubicBezTo>
                  <a:pt x="4177847" y="4380057"/>
                  <a:pt x="4177447" y="4378326"/>
                  <a:pt x="4176782" y="4376729"/>
                </a:cubicBezTo>
                <a:cubicBezTo>
                  <a:pt x="4176116" y="4375132"/>
                  <a:pt x="4175184" y="4373801"/>
                  <a:pt x="4174119" y="4372603"/>
                </a:cubicBezTo>
                <a:cubicBezTo>
                  <a:pt x="4173054" y="4371538"/>
                  <a:pt x="4171723" y="4370606"/>
                  <a:pt x="4170126" y="4369940"/>
                </a:cubicBezTo>
                <a:cubicBezTo>
                  <a:pt x="4168662" y="4369275"/>
                  <a:pt x="4167064" y="4369009"/>
                  <a:pt x="4165068" y="4369009"/>
                </a:cubicBezTo>
                <a:close/>
                <a:moveTo>
                  <a:pt x="3947663" y="4369009"/>
                </a:moveTo>
                <a:cubicBezTo>
                  <a:pt x="3941805" y="4369009"/>
                  <a:pt x="3939276" y="4371005"/>
                  <a:pt x="3937680" y="4372603"/>
                </a:cubicBezTo>
                <a:cubicBezTo>
                  <a:pt x="3935149" y="4375265"/>
                  <a:pt x="3934085" y="4378060"/>
                  <a:pt x="3934085" y="4382054"/>
                </a:cubicBezTo>
                <a:cubicBezTo>
                  <a:pt x="3934085" y="4386180"/>
                  <a:pt x="3935149" y="4388976"/>
                  <a:pt x="3937680" y="4391505"/>
                </a:cubicBezTo>
                <a:cubicBezTo>
                  <a:pt x="3939276" y="4393104"/>
                  <a:pt x="3941805" y="4394967"/>
                  <a:pt x="3947663" y="4394967"/>
                </a:cubicBezTo>
                <a:cubicBezTo>
                  <a:pt x="3949661" y="4394967"/>
                  <a:pt x="3951524" y="4394701"/>
                  <a:pt x="3952991" y="4394035"/>
                </a:cubicBezTo>
                <a:cubicBezTo>
                  <a:pt x="3954454" y="4393503"/>
                  <a:pt x="3955785" y="4392571"/>
                  <a:pt x="3956717" y="4391638"/>
                </a:cubicBezTo>
                <a:cubicBezTo>
                  <a:pt x="3957782" y="4390440"/>
                  <a:pt x="3958714" y="4389109"/>
                  <a:pt x="3959380" y="4387379"/>
                </a:cubicBezTo>
                <a:cubicBezTo>
                  <a:pt x="3960046" y="4385781"/>
                  <a:pt x="3960445" y="4383917"/>
                  <a:pt x="3960445" y="4381921"/>
                </a:cubicBezTo>
                <a:cubicBezTo>
                  <a:pt x="3960445" y="4380057"/>
                  <a:pt x="3960046" y="4378326"/>
                  <a:pt x="3959380" y="4376729"/>
                </a:cubicBezTo>
                <a:cubicBezTo>
                  <a:pt x="3958714" y="4375132"/>
                  <a:pt x="3957782" y="4373801"/>
                  <a:pt x="3956717" y="4372603"/>
                </a:cubicBezTo>
                <a:cubicBezTo>
                  <a:pt x="3955652" y="4371538"/>
                  <a:pt x="3954321" y="4370606"/>
                  <a:pt x="3952723" y="4369940"/>
                </a:cubicBezTo>
                <a:cubicBezTo>
                  <a:pt x="3951257" y="4369275"/>
                  <a:pt x="3949661" y="4369009"/>
                  <a:pt x="3947663" y="4369009"/>
                </a:cubicBezTo>
                <a:close/>
                <a:moveTo>
                  <a:pt x="3730007" y="4369009"/>
                </a:moveTo>
                <a:cubicBezTo>
                  <a:pt x="3724150" y="4369009"/>
                  <a:pt x="3721620" y="4371005"/>
                  <a:pt x="3720020" y="4372603"/>
                </a:cubicBezTo>
                <a:cubicBezTo>
                  <a:pt x="3717491" y="4375265"/>
                  <a:pt x="3716428" y="4378060"/>
                  <a:pt x="3716428" y="4382054"/>
                </a:cubicBezTo>
                <a:cubicBezTo>
                  <a:pt x="3716428" y="4386180"/>
                  <a:pt x="3717491" y="4388976"/>
                  <a:pt x="3720020" y="4391505"/>
                </a:cubicBezTo>
                <a:cubicBezTo>
                  <a:pt x="3721620" y="4393104"/>
                  <a:pt x="3724150" y="4394967"/>
                  <a:pt x="3730007" y="4394967"/>
                </a:cubicBezTo>
                <a:cubicBezTo>
                  <a:pt x="3732137" y="4394967"/>
                  <a:pt x="3733868" y="4394701"/>
                  <a:pt x="3735332" y="4394035"/>
                </a:cubicBezTo>
                <a:cubicBezTo>
                  <a:pt x="3736796" y="4393503"/>
                  <a:pt x="3738129" y="4392571"/>
                  <a:pt x="3739059" y="4391638"/>
                </a:cubicBezTo>
                <a:cubicBezTo>
                  <a:pt x="3740124" y="4390440"/>
                  <a:pt x="3741057" y="4389109"/>
                  <a:pt x="3741722" y="4387379"/>
                </a:cubicBezTo>
                <a:cubicBezTo>
                  <a:pt x="3742387" y="4385781"/>
                  <a:pt x="3742787" y="4383917"/>
                  <a:pt x="3742787" y="4381921"/>
                </a:cubicBezTo>
                <a:cubicBezTo>
                  <a:pt x="3742787" y="4380057"/>
                  <a:pt x="3742387" y="4378326"/>
                  <a:pt x="3741722" y="4376729"/>
                </a:cubicBezTo>
                <a:cubicBezTo>
                  <a:pt x="3741057" y="4375132"/>
                  <a:pt x="3740124" y="4373801"/>
                  <a:pt x="3739059" y="4372603"/>
                </a:cubicBezTo>
                <a:cubicBezTo>
                  <a:pt x="3737995" y="4371538"/>
                  <a:pt x="3736663" y="4370606"/>
                  <a:pt x="3735066" y="4369940"/>
                </a:cubicBezTo>
                <a:cubicBezTo>
                  <a:pt x="3733601" y="4369275"/>
                  <a:pt x="3732004" y="4369009"/>
                  <a:pt x="3730007" y="4369009"/>
                </a:cubicBezTo>
                <a:close/>
                <a:moveTo>
                  <a:pt x="3512349" y="4369009"/>
                </a:moveTo>
                <a:cubicBezTo>
                  <a:pt x="3506491" y="4369009"/>
                  <a:pt x="3503961" y="4371005"/>
                  <a:pt x="3502361" y="4372603"/>
                </a:cubicBezTo>
                <a:cubicBezTo>
                  <a:pt x="3499832" y="4375265"/>
                  <a:pt x="3498768" y="4378060"/>
                  <a:pt x="3498768" y="4382054"/>
                </a:cubicBezTo>
                <a:cubicBezTo>
                  <a:pt x="3498768" y="4386180"/>
                  <a:pt x="3499832" y="4388976"/>
                  <a:pt x="3502361" y="4391505"/>
                </a:cubicBezTo>
                <a:cubicBezTo>
                  <a:pt x="3503961" y="4393104"/>
                  <a:pt x="3506491" y="4394967"/>
                  <a:pt x="3512349" y="4394967"/>
                </a:cubicBezTo>
                <a:cubicBezTo>
                  <a:pt x="3514479" y="4394967"/>
                  <a:pt x="3516210" y="4394701"/>
                  <a:pt x="3517674" y="4394035"/>
                </a:cubicBezTo>
                <a:cubicBezTo>
                  <a:pt x="3519139" y="4393503"/>
                  <a:pt x="3520471" y="4392571"/>
                  <a:pt x="3521402" y="4391638"/>
                </a:cubicBezTo>
                <a:cubicBezTo>
                  <a:pt x="3522467" y="4390440"/>
                  <a:pt x="3523399" y="4389109"/>
                  <a:pt x="3524065" y="4387379"/>
                </a:cubicBezTo>
                <a:cubicBezTo>
                  <a:pt x="3524730" y="4385781"/>
                  <a:pt x="3525130" y="4383917"/>
                  <a:pt x="3525130" y="4381921"/>
                </a:cubicBezTo>
                <a:cubicBezTo>
                  <a:pt x="3525130" y="4380057"/>
                  <a:pt x="3524730" y="4378326"/>
                  <a:pt x="3524065" y="4376729"/>
                </a:cubicBezTo>
                <a:cubicBezTo>
                  <a:pt x="3523399" y="4375132"/>
                  <a:pt x="3522467" y="4373801"/>
                  <a:pt x="3521402" y="4372603"/>
                </a:cubicBezTo>
                <a:cubicBezTo>
                  <a:pt x="3520337" y="4371538"/>
                  <a:pt x="3519006" y="4370606"/>
                  <a:pt x="3517409" y="4369940"/>
                </a:cubicBezTo>
                <a:cubicBezTo>
                  <a:pt x="3515945" y="4369275"/>
                  <a:pt x="3514346" y="4369009"/>
                  <a:pt x="3512349" y="4369009"/>
                </a:cubicBezTo>
                <a:close/>
                <a:moveTo>
                  <a:pt x="3294825" y="4369009"/>
                </a:moveTo>
                <a:cubicBezTo>
                  <a:pt x="3288966" y="4369009"/>
                  <a:pt x="3286436" y="4371005"/>
                  <a:pt x="3284839" y="4372603"/>
                </a:cubicBezTo>
                <a:cubicBezTo>
                  <a:pt x="3282308" y="4375265"/>
                  <a:pt x="3281245" y="4378060"/>
                  <a:pt x="3281245" y="4382054"/>
                </a:cubicBezTo>
                <a:cubicBezTo>
                  <a:pt x="3281245" y="4386180"/>
                  <a:pt x="3282308" y="4388976"/>
                  <a:pt x="3284839" y="4391505"/>
                </a:cubicBezTo>
                <a:cubicBezTo>
                  <a:pt x="3286436" y="4393104"/>
                  <a:pt x="3288966" y="4394967"/>
                  <a:pt x="3294825" y="4394967"/>
                </a:cubicBezTo>
                <a:cubicBezTo>
                  <a:pt x="3296822" y="4394967"/>
                  <a:pt x="3298552" y="4394701"/>
                  <a:pt x="3300150" y="4394035"/>
                </a:cubicBezTo>
                <a:cubicBezTo>
                  <a:pt x="3301614" y="4393503"/>
                  <a:pt x="3302946" y="4392571"/>
                  <a:pt x="3303877" y="4391638"/>
                </a:cubicBezTo>
                <a:cubicBezTo>
                  <a:pt x="3304942" y="4390440"/>
                  <a:pt x="3305874" y="4389109"/>
                  <a:pt x="3306540" y="4387379"/>
                </a:cubicBezTo>
                <a:cubicBezTo>
                  <a:pt x="3307205" y="4385781"/>
                  <a:pt x="3307604" y="4383917"/>
                  <a:pt x="3307604" y="4381921"/>
                </a:cubicBezTo>
                <a:cubicBezTo>
                  <a:pt x="3307604" y="4380057"/>
                  <a:pt x="3307205" y="4378326"/>
                  <a:pt x="3306540" y="4376729"/>
                </a:cubicBezTo>
                <a:cubicBezTo>
                  <a:pt x="3305874" y="4375132"/>
                  <a:pt x="3304942" y="4373801"/>
                  <a:pt x="3303877" y="4372603"/>
                </a:cubicBezTo>
                <a:cubicBezTo>
                  <a:pt x="3302812" y="4371538"/>
                  <a:pt x="3301481" y="4370606"/>
                  <a:pt x="3299884" y="4369940"/>
                </a:cubicBezTo>
                <a:cubicBezTo>
                  <a:pt x="3298420" y="4369275"/>
                  <a:pt x="3296822" y="4369009"/>
                  <a:pt x="3294825" y="4369009"/>
                </a:cubicBezTo>
                <a:close/>
                <a:moveTo>
                  <a:pt x="3077300" y="4369009"/>
                </a:moveTo>
                <a:cubicBezTo>
                  <a:pt x="3071443" y="4369009"/>
                  <a:pt x="3068913" y="4371005"/>
                  <a:pt x="3067317" y="4372603"/>
                </a:cubicBezTo>
                <a:cubicBezTo>
                  <a:pt x="3064652" y="4375265"/>
                  <a:pt x="3063587" y="4378060"/>
                  <a:pt x="3063587" y="4382054"/>
                </a:cubicBezTo>
                <a:cubicBezTo>
                  <a:pt x="3063587" y="4386180"/>
                  <a:pt x="3064652" y="4388976"/>
                  <a:pt x="3067183" y="4391505"/>
                </a:cubicBezTo>
                <a:cubicBezTo>
                  <a:pt x="3068781" y="4393104"/>
                  <a:pt x="3071310" y="4394967"/>
                  <a:pt x="3077167" y="4394967"/>
                </a:cubicBezTo>
                <a:cubicBezTo>
                  <a:pt x="3079164" y="4394967"/>
                  <a:pt x="3080895" y="4394701"/>
                  <a:pt x="3082625" y="4394035"/>
                </a:cubicBezTo>
                <a:cubicBezTo>
                  <a:pt x="3084091" y="4393503"/>
                  <a:pt x="3085422" y="4392571"/>
                  <a:pt x="3086353" y="4391638"/>
                </a:cubicBezTo>
                <a:cubicBezTo>
                  <a:pt x="3087417" y="4390440"/>
                  <a:pt x="3088350" y="4389109"/>
                  <a:pt x="3089015" y="4387379"/>
                </a:cubicBezTo>
                <a:cubicBezTo>
                  <a:pt x="3089680" y="4385781"/>
                  <a:pt x="3089948" y="4383917"/>
                  <a:pt x="3089948" y="4381921"/>
                </a:cubicBezTo>
                <a:cubicBezTo>
                  <a:pt x="3089948" y="4380057"/>
                  <a:pt x="3089680" y="4378326"/>
                  <a:pt x="3089015" y="4376729"/>
                </a:cubicBezTo>
                <a:cubicBezTo>
                  <a:pt x="3088350" y="4375132"/>
                  <a:pt x="3087417" y="4373801"/>
                  <a:pt x="3086353" y="4372603"/>
                </a:cubicBezTo>
                <a:cubicBezTo>
                  <a:pt x="3085288" y="4371538"/>
                  <a:pt x="3083957" y="4370606"/>
                  <a:pt x="3082360" y="4369940"/>
                </a:cubicBezTo>
                <a:cubicBezTo>
                  <a:pt x="3080895" y="4369275"/>
                  <a:pt x="3079297" y="4369009"/>
                  <a:pt x="3077300" y="4369009"/>
                </a:cubicBezTo>
                <a:close/>
                <a:moveTo>
                  <a:pt x="2859510" y="4369009"/>
                </a:moveTo>
                <a:cubicBezTo>
                  <a:pt x="2853653" y="4369009"/>
                  <a:pt x="2851123" y="4371005"/>
                  <a:pt x="2849524" y="4372603"/>
                </a:cubicBezTo>
                <a:cubicBezTo>
                  <a:pt x="2846990" y="4375265"/>
                  <a:pt x="2845927" y="4378060"/>
                  <a:pt x="2845927" y="4382054"/>
                </a:cubicBezTo>
                <a:cubicBezTo>
                  <a:pt x="2845927" y="4386180"/>
                  <a:pt x="2846990" y="4388976"/>
                  <a:pt x="2849524" y="4391505"/>
                </a:cubicBezTo>
                <a:cubicBezTo>
                  <a:pt x="2851123" y="4393104"/>
                  <a:pt x="2853653" y="4394967"/>
                  <a:pt x="2859510" y="4394967"/>
                </a:cubicBezTo>
                <a:cubicBezTo>
                  <a:pt x="2861507" y="4394967"/>
                  <a:pt x="2863371" y="4394701"/>
                  <a:pt x="2864835" y="4394035"/>
                </a:cubicBezTo>
                <a:cubicBezTo>
                  <a:pt x="2866433" y="4393503"/>
                  <a:pt x="2867631" y="4392571"/>
                  <a:pt x="2868562" y="4391638"/>
                </a:cubicBezTo>
                <a:cubicBezTo>
                  <a:pt x="2869627" y="4390440"/>
                  <a:pt x="2870559" y="4389109"/>
                  <a:pt x="2871225" y="4387379"/>
                </a:cubicBezTo>
                <a:cubicBezTo>
                  <a:pt x="2871757" y="4385781"/>
                  <a:pt x="2872156" y="4383917"/>
                  <a:pt x="2872156" y="4381921"/>
                </a:cubicBezTo>
                <a:cubicBezTo>
                  <a:pt x="2872156" y="4380057"/>
                  <a:pt x="2871890" y="4378326"/>
                  <a:pt x="2871225" y="4376729"/>
                </a:cubicBezTo>
                <a:cubicBezTo>
                  <a:pt x="2870559" y="4375132"/>
                  <a:pt x="2869627" y="4373801"/>
                  <a:pt x="2868562" y="4372603"/>
                </a:cubicBezTo>
                <a:cubicBezTo>
                  <a:pt x="2867498" y="4371538"/>
                  <a:pt x="2866166" y="4370606"/>
                  <a:pt x="2864569" y="4369940"/>
                </a:cubicBezTo>
                <a:cubicBezTo>
                  <a:pt x="2863105" y="4369275"/>
                  <a:pt x="2861507" y="4369009"/>
                  <a:pt x="2859510" y="4369009"/>
                </a:cubicBezTo>
                <a:close/>
                <a:moveTo>
                  <a:pt x="2641852" y="4369009"/>
                </a:moveTo>
                <a:cubicBezTo>
                  <a:pt x="2635995" y="4369009"/>
                  <a:pt x="2633466" y="4371005"/>
                  <a:pt x="2631869" y="4372603"/>
                </a:cubicBezTo>
                <a:cubicBezTo>
                  <a:pt x="2629339" y="4375265"/>
                  <a:pt x="2628274" y="4378060"/>
                  <a:pt x="2628274" y="4382054"/>
                </a:cubicBezTo>
                <a:cubicBezTo>
                  <a:pt x="2628274" y="4386180"/>
                  <a:pt x="2629339" y="4388976"/>
                  <a:pt x="2631869" y="4391505"/>
                </a:cubicBezTo>
                <a:cubicBezTo>
                  <a:pt x="2633466" y="4393104"/>
                  <a:pt x="2635995" y="4394967"/>
                  <a:pt x="2641852" y="4394967"/>
                </a:cubicBezTo>
                <a:cubicBezTo>
                  <a:pt x="2643849" y="4394967"/>
                  <a:pt x="2645713" y="4394701"/>
                  <a:pt x="2647177" y="4394035"/>
                </a:cubicBezTo>
                <a:cubicBezTo>
                  <a:pt x="2648774" y="4393503"/>
                  <a:pt x="2649972" y="4392571"/>
                  <a:pt x="2650904" y="4391638"/>
                </a:cubicBezTo>
                <a:cubicBezTo>
                  <a:pt x="2651969" y="4390440"/>
                  <a:pt x="2652901" y="4389109"/>
                  <a:pt x="2653567" y="4387379"/>
                </a:cubicBezTo>
                <a:cubicBezTo>
                  <a:pt x="2654099" y="4385781"/>
                  <a:pt x="2654498" y="4383917"/>
                  <a:pt x="2654498" y="4381921"/>
                </a:cubicBezTo>
                <a:cubicBezTo>
                  <a:pt x="2654498" y="4380057"/>
                  <a:pt x="2654232" y="4378326"/>
                  <a:pt x="2653567" y="4376729"/>
                </a:cubicBezTo>
                <a:cubicBezTo>
                  <a:pt x="2652901" y="4375132"/>
                  <a:pt x="2651969" y="4373801"/>
                  <a:pt x="2650904" y="4372603"/>
                </a:cubicBezTo>
                <a:cubicBezTo>
                  <a:pt x="2649839" y="4371538"/>
                  <a:pt x="2648508" y="4370606"/>
                  <a:pt x="2646911" y="4369940"/>
                </a:cubicBezTo>
                <a:cubicBezTo>
                  <a:pt x="2645446" y="4369275"/>
                  <a:pt x="2643849" y="4369009"/>
                  <a:pt x="2641852" y="4369009"/>
                </a:cubicBezTo>
                <a:close/>
                <a:moveTo>
                  <a:pt x="2424194" y="4369009"/>
                </a:moveTo>
                <a:cubicBezTo>
                  <a:pt x="2418337" y="4369009"/>
                  <a:pt x="2415808" y="4371005"/>
                  <a:pt x="2414211" y="4372603"/>
                </a:cubicBezTo>
                <a:cubicBezTo>
                  <a:pt x="2411681" y="4375265"/>
                  <a:pt x="2410617" y="4378060"/>
                  <a:pt x="2410617" y="4382054"/>
                </a:cubicBezTo>
                <a:cubicBezTo>
                  <a:pt x="2410617" y="4386180"/>
                  <a:pt x="2411681" y="4388976"/>
                  <a:pt x="2414211" y="4391505"/>
                </a:cubicBezTo>
                <a:cubicBezTo>
                  <a:pt x="2415808" y="4393104"/>
                  <a:pt x="2418337" y="4394967"/>
                  <a:pt x="2424194" y="4394967"/>
                </a:cubicBezTo>
                <a:cubicBezTo>
                  <a:pt x="2426324" y="4394967"/>
                  <a:pt x="2428056" y="4394701"/>
                  <a:pt x="2429520" y="4394035"/>
                </a:cubicBezTo>
                <a:cubicBezTo>
                  <a:pt x="2431118" y="4393503"/>
                  <a:pt x="2432315" y="4392571"/>
                  <a:pt x="2433246" y="4391638"/>
                </a:cubicBezTo>
                <a:cubicBezTo>
                  <a:pt x="2434312" y="4390440"/>
                  <a:pt x="2435243" y="4389109"/>
                  <a:pt x="2435910" y="4387379"/>
                </a:cubicBezTo>
                <a:cubicBezTo>
                  <a:pt x="2436441" y="4385781"/>
                  <a:pt x="2436841" y="4383917"/>
                  <a:pt x="2436841" y="4381921"/>
                </a:cubicBezTo>
                <a:cubicBezTo>
                  <a:pt x="2436841" y="4380057"/>
                  <a:pt x="2436575" y="4378326"/>
                  <a:pt x="2435910" y="4376729"/>
                </a:cubicBezTo>
                <a:cubicBezTo>
                  <a:pt x="2435243" y="4375132"/>
                  <a:pt x="2434312" y="4373801"/>
                  <a:pt x="2433246" y="4372603"/>
                </a:cubicBezTo>
                <a:cubicBezTo>
                  <a:pt x="2432183" y="4371538"/>
                  <a:pt x="2430851" y="4370606"/>
                  <a:pt x="2429253" y="4369940"/>
                </a:cubicBezTo>
                <a:cubicBezTo>
                  <a:pt x="2427789" y="4369275"/>
                  <a:pt x="2426191" y="4369009"/>
                  <a:pt x="2424194" y="4369009"/>
                </a:cubicBezTo>
                <a:close/>
                <a:moveTo>
                  <a:pt x="2206537" y="4369009"/>
                </a:moveTo>
                <a:cubicBezTo>
                  <a:pt x="2200680" y="4369009"/>
                  <a:pt x="2198150" y="4371005"/>
                  <a:pt x="2196553" y="4372603"/>
                </a:cubicBezTo>
                <a:cubicBezTo>
                  <a:pt x="2194023" y="4375265"/>
                  <a:pt x="2192959" y="4378060"/>
                  <a:pt x="2192959" y="4382054"/>
                </a:cubicBezTo>
                <a:cubicBezTo>
                  <a:pt x="2192959" y="4386180"/>
                  <a:pt x="2194023" y="4388976"/>
                  <a:pt x="2196553" y="4391505"/>
                </a:cubicBezTo>
                <a:cubicBezTo>
                  <a:pt x="2198150" y="4393104"/>
                  <a:pt x="2200680" y="4394967"/>
                  <a:pt x="2206537" y="4394967"/>
                </a:cubicBezTo>
                <a:cubicBezTo>
                  <a:pt x="2208666" y="4394967"/>
                  <a:pt x="2210398" y="4394701"/>
                  <a:pt x="2211862" y="4394035"/>
                </a:cubicBezTo>
                <a:cubicBezTo>
                  <a:pt x="2213459" y="4393503"/>
                  <a:pt x="2214657" y="4392571"/>
                  <a:pt x="2215589" y="4391638"/>
                </a:cubicBezTo>
                <a:cubicBezTo>
                  <a:pt x="2216654" y="4390440"/>
                  <a:pt x="2217585" y="4389109"/>
                  <a:pt x="2218252" y="4387379"/>
                </a:cubicBezTo>
                <a:cubicBezTo>
                  <a:pt x="2218784" y="4385781"/>
                  <a:pt x="2219183" y="4383917"/>
                  <a:pt x="2219183" y="4381921"/>
                </a:cubicBezTo>
                <a:cubicBezTo>
                  <a:pt x="2219183" y="4380057"/>
                  <a:pt x="2218917" y="4378326"/>
                  <a:pt x="2218252" y="4376729"/>
                </a:cubicBezTo>
                <a:cubicBezTo>
                  <a:pt x="2217585" y="4375132"/>
                  <a:pt x="2216654" y="4373801"/>
                  <a:pt x="2215589" y="4372603"/>
                </a:cubicBezTo>
                <a:cubicBezTo>
                  <a:pt x="2214524" y="4371538"/>
                  <a:pt x="2213193" y="4370606"/>
                  <a:pt x="2211596" y="4369940"/>
                </a:cubicBezTo>
                <a:cubicBezTo>
                  <a:pt x="2210131" y="4369275"/>
                  <a:pt x="2208534" y="4369009"/>
                  <a:pt x="2206537" y="4369009"/>
                </a:cubicBezTo>
                <a:close/>
                <a:moveTo>
                  <a:pt x="1989012" y="4369009"/>
                </a:moveTo>
                <a:cubicBezTo>
                  <a:pt x="1983155" y="4369009"/>
                  <a:pt x="1980626" y="4371005"/>
                  <a:pt x="1979029" y="4372603"/>
                </a:cubicBezTo>
                <a:cubicBezTo>
                  <a:pt x="1976499" y="4375265"/>
                  <a:pt x="1975435" y="4378060"/>
                  <a:pt x="1975435" y="4382054"/>
                </a:cubicBezTo>
                <a:cubicBezTo>
                  <a:pt x="1975435" y="4386180"/>
                  <a:pt x="1976499" y="4388976"/>
                  <a:pt x="1979029" y="4391505"/>
                </a:cubicBezTo>
                <a:cubicBezTo>
                  <a:pt x="1980626" y="4393104"/>
                  <a:pt x="1983155" y="4394967"/>
                  <a:pt x="1989012" y="4394967"/>
                </a:cubicBezTo>
                <a:cubicBezTo>
                  <a:pt x="1991009" y="4394967"/>
                  <a:pt x="1992740" y="4394701"/>
                  <a:pt x="1994337" y="4394035"/>
                </a:cubicBezTo>
                <a:cubicBezTo>
                  <a:pt x="1995935" y="4393503"/>
                  <a:pt x="1997133" y="4392571"/>
                  <a:pt x="1998064" y="4391638"/>
                </a:cubicBezTo>
                <a:cubicBezTo>
                  <a:pt x="1999129" y="4390440"/>
                  <a:pt x="2000061" y="4389109"/>
                  <a:pt x="2000727" y="4387379"/>
                </a:cubicBezTo>
                <a:cubicBezTo>
                  <a:pt x="2001259" y="4385781"/>
                  <a:pt x="2001658" y="4383917"/>
                  <a:pt x="2001658" y="4381921"/>
                </a:cubicBezTo>
                <a:cubicBezTo>
                  <a:pt x="2001658" y="4380057"/>
                  <a:pt x="2001392" y="4378326"/>
                  <a:pt x="2000727" y="4376729"/>
                </a:cubicBezTo>
                <a:cubicBezTo>
                  <a:pt x="2000061" y="4375132"/>
                  <a:pt x="1999129" y="4373801"/>
                  <a:pt x="1998064" y="4372603"/>
                </a:cubicBezTo>
                <a:cubicBezTo>
                  <a:pt x="1997000" y="4371538"/>
                  <a:pt x="1995668" y="4370606"/>
                  <a:pt x="1994071" y="4369940"/>
                </a:cubicBezTo>
                <a:cubicBezTo>
                  <a:pt x="1992607" y="4369275"/>
                  <a:pt x="1991009" y="4369009"/>
                  <a:pt x="1989012" y="4369009"/>
                </a:cubicBezTo>
                <a:close/>
                <a:moveTo>
                  <a:pt x="1771376" y="4369009"/>
                </a:moveTo>
                <a:cubicBezTo>
                  <a:pt x="1765519" y="4369009"/>
                  <a:pt x="1762991" y="4371005"/>
                  <a:pt x="1761394" y="4372603"/>
                </a:cubicBezTo>
                <a:cubicBezTo>
                  <a:pt x="1758864" y="4375265"/>
                  <a:pt x="1757800" y="4378060"/>
                  <a:pt x="1757800" y="4382054"/>
                </a:cubicBezTo>
                <a:cubicBezTo>
                  <a:pt x="1757800" y="4386180"/>
                  <a:pt x="1758864" y="4388976"/>
                  <a:pt x="1761394" y="4391505"/>
                </a:cubicBezTo>
                <a:cubicBezTo>
                  <a:pt x="1762991" y="4393104"/>
                  <a:pt x="1765519" y="4394967"/>
                  <a:pt x="1771376" y="4394967"/>
                </a:cubicBezTo>
                <a:cubicBezTo>
                  <a:pt x="1773373" y="4394967"/>
                  <a:pt x="1775237" y="4394701"/>
                  <a:pt x="1776701" y="4394035"/>
                </a:cubicBezTo>
                <a:cubicBezTo>
                  <a:pt x="1778165" y="4393503"/>
                  <a:pt x="1779495" y="4392571"/>
                  <a:pt x="1780427" y="4391638"/>
                </a:cubicBezTo>
                <a:cubicBezTo>
                  <a:pt x="1781492" y="4390440"/>
                  <a:pt x="1782424" y="4389109"/>
                  <a:pt x="1783090" y="4387379"/>
                </a:cubicBezTo>
                <a:cubicBezTo>
                  <a:pt x="1783755" y="4385781"/>
                  <a:pt x="1784155" y="4383917"/>
                  <a:pt x="1784155" y="4381921"/>
                </a:cubicBezTo>
                <a:cubicBezTo>
                  <a:pt x="1784155" y="4380057"/>
                  <a:pt x="1783755" y="4378326"/>
                  <a:pt x="1783090" y="4376729"/>
                </a:cubicBezTo>
                <a:cubicBezTo>
                  <a:pt x="1782424" y="4375132"/>
                  <a:pt x="1781492" y="4373801"/>
                  <a:pt x="1780427" y="4372603"/>
                </a:cubicBezTo>
                <a:cubicBezTo>
                  <a:pt x="1779362" y="4371538"/>
                  <a:pt x="1778032" y="4370606"/>
                  <a:pt x="1776435" y="4369940"/>
                </a:cubicBezTo>
                <a:cubicBezTo>
                  <a:pt x="1774970" y="4369275"/>
                  <a:pt x="1773373" y="4369009"/>
                  <a:pt x="1771376" y="4369009"/>
                </a:cubicBezTo>
                <a:close/>
                <a:moveTo>
                  <a:pt x="1553737" y="4369009"/>
                </a:moveTo>
                <a:cubicBezTo>
                  <a:pt x="1547880" y="4369009"/>
                  <a:pt x="1545351" y="4371005"/>
                  <a:pt x="1543754" y="4372603"/>
                </a:cubicBezTo>
                <a:cubicBezTo>
                  <a:pt x="1541224" y="4375265"/>
                  <a:pt x="1540160" y="4378060"/>
                  <a:pt x="1540160" y="4382054"/>
                </a:cubicBezTo>
                <a:cubicBezTo>
                  <a:pt x="1540160" y="4386180"/>
                  <a:pt x="1541224" y="4388976"/>
                  <a:pt x="1543754" y="4391505"/>
                </a:cubicBezTo>
                <a:cubicBezTo>
                  <a:pt x="1545351" y="4393104"/>
                  <a:pt x="1547880" y="4394967"/>
                  <a:pt x="1553737" y="4394967"/>
                </a:cubicBezTo>
                <a:cubicBezTo>
                  <a:pt x="1555734" y="4394967"/>
                  <a:pt x="1557598" y="4394701"/>
                  <a:pt x="1559062" y="4394035"/>
                </a:cubicBezTo>
                <a:cubicBezTo>
                  <a:pt x="1560526" y="4393503"/>
                  <a:pt x="1561858" y="4392571"/>
                  <a:pt x="1562789" y="4391638"/>
                </a:cubicBezTo>
                <a:cubicBezTo>
                  <a:pt x="1563854" y="4390440"/>
                  <a:pt x="1564786" y="4389109"/>
                  <a:pt x="1565452" y="4387379"/>
                </a:cubicBezTo>
                <a:cubicBezTo>
                  <a:pt x="1566117" y="4385781"/>
                  <a:pt x="1566517" y="4383917"/>
                  <a:pt x="1566517" y="4381921"/>
                </a:cubicBezTo>
                <a:cubicBezTo>
                  <a:pt x="1566517" y="4380057"/>
                  <a:pt x="1566117" y="4378326"/>
                  <a:pt x="1565452" y="4376729"/>
                </a:cubicBezTo>
                <a:cubicBezTo>
                  <a:pt x="1564786" y="4375132"/>
                  <a:pt x="1563854" y="4373801"/>
                  <a:pt x="1562789" y="4372603"/>
                </a:cubicBezTo>
                <a:cubicBezTo>
                  <a:pt x="1561724" y="4371538"/>
                  <a:pt x="1560393" y="4370606"/>
                  <a:pt x="1558796" y="4369940"/>
                </a:cubicBezTo>
                <a:cubicBezTo>
                  <a:pt x="1557332" y="4369275"/>
                  <a:pt x="1555734" y="4369009"/>
                  <a:pt x="1553737" y="4369009"/>
                </a:cubicBezTo>
                <a:close/>
                <a:moveTo>
                  <a:pt x="1336093" y="4369009"/>
                </a:moveTo>
                <a:cubicBezTo>
                  <a:pt x="1330235" y="4369009"/>
                  <a:pt x="1327706" y="4371005"/>
                  <a:pt x="1326110" y="4372603"/>
                </a:cubicBezTo>
                <a:cubicBezTo>
                  <a:pt x="1323579" y="4375265"/>
                  <a:pt x="1322515" y="4378060"/>
                  <a:pt x="1322515" y="4382054"/>
                </a:cubicBezTo>
                <a:cubicBezTo>
                  <a:pt x="1322515" y="4386180"/>
                  <a:pt x="1323579" y="4388976"/>
                  <a:pt x="1326110" y="4391505"/>
                </a:cubicBezTo>
                <a:cubicBezTo>
                  <a:pt x="1327706" y="4393104"/>
                  <a:pt x="1330235" y="4394967"/>
                  <a:pt x="1336093" y="4394967"/>
                </a:cubicBezTo>
                <a:cubicBezTo>
                  <a:pt x="1338223" y="4394967"/>
                  <a:pt x="1339953" y="4394701"/>
                  <a:pt x="1341419" y="4394035"/>
                </a:cubicBezTo>
                <a:cubicBezTo>
                  <a:pt x="1342883" y="4393503"/>
                  <a:pt x="1344214" y="4392571"/>
                  <a:pt x="1345147" y="4391638"/>
                </a:cubicBezTo>
                <a:cubicBezTo>
                  <a:pt x="1346211" y="4390440"/>
                  <a:pt x="1347144" y="4389109"/>
                  <a:pt x="1347809" y="4387379"/>
                </a:cubicBezTo>
                <a:cubicBezTo>
                  <a:pt x="1348475" y="4385781"/>
                  <a:pt x="1348875" y="4383917"/>
                  <a:pt x="1348875" y="4381921"/>
                </a:cubicBezTo>
                <a:cubicBezTo>
                  <a:pt x="1348875" y="4380057"/>
                  <a:pt x="1348475" y="4378326"/>
                  <a:pt x="1347809" y="4376729"/>
                </a:cubicBezTo>
                <a:cubicBezTo>
                  <a:pt x="1347144" y="4375132"/>
                  <a:pt x="1346211" y="4373801"/>
                  <a:pt x="1345147" y="4372603"/>
                </a:cubicBezTo>
                <a:cubicBezTo>
                  <a:pt x="1344081" y="4371538"/>
                  <a:pt x="1342751" y="4370606"/>
                  <a:pt x="1341152" y="4369940"/>
                </a:cubicBezTo>
                <a:cubicBezTo>
                  <a:pt x="1339688" y="4369275"/>
                  <a:pt x="1338089" y="4369009"/>
                  <a:pt x="1336093" y="4369009"/>
                </a:cubicBezTo>
                <a:close/>
                <a:moveTo>
                  <a:pt x="1118581" y="4369009"/>
                </a:moveTo>
                <a:cubicBezTo>
                  <a:pt x="1112722" y="4369009"/>
                  <a:pt x="1110193" y="4371005"/>
                  <a:pt x="1108596" y="4372603"/>
                </a:cubicBezTo>
                <a:cubicBezTo>
                  <a:pt x="1105933" y="4375265"/>
                  <a:pt x="1104869" y="4378060"/>
                  <a:pt x="1104869" y="4382054"/>
                </a:cubicBezTo>
                <a:cubicBezTo>
                  <a:pt x="1104869" y="4386180"/>
                  <a:pt x="1105933" y="4388976"/>
                  <a:pt x="1108463" y="4391505"/>
                </a:cubicBezTo>
                <a:cubicBezTo>
                  <a:pt x="1110060" y="4393104"/>
                  <a:pt x="1112590" y="4394967"/>
                  <a:pt x="1118448" y="4394967"/>
                </a:cubicBezTo>
                <a:cubicBezTo>
                  <a:pt x="1120578" y="4394967"/>
                  <a:pt x="1122310" y="4394701"/>
                  <a:pt x="1123905" y="4394035"/>
                </a:cubicBezTo>
                <a:cubicBezTo>
                  <a:pt x="1125370" y="4393503"/>
                  <a:pt x="1126705" y="4392571"/>
                  <a:pt x="1127635" y="4391638"/>
                </a:cubicBezTo>
                <a:cubicBezTo>
                  <a:pt x="1128700" y="4390440"/>
                  <a:pt x="1129631" y="4389109"/>
                  <a:pt x="1130298" y="4387379"/>
                </a:cubicBezTo>
                <a:cubicBezTo>
                  <a:pt x="1130962" y="4385781"/>
                  <a:pt x="1131363" y="4383917"/>
                  <a:pt x="1131363" y="4381921"/>
                </a:cubicBezTo>
                <a:cubicBezTo>
                  <a:pt x="1131363" y="4380057"/>
                  <a:pt x="1130962" y="4378326"/>
                  <a:pt x="1130298" y="4376729"/>
                </a:cubicBezTo>
                <a:cubicBezTo>
                  <a:pt x="1129631" y="4375132"/>
                  <a:pt x="1128700" y="4373801"/>
                  <a:pt x="1127635" y="4372603"/>
                </a:cubicBezTo>
                <a:cubicBezTo>
                  <a:pt x="1126569" y="4371538"/>
                  <a:pt x="1125237" y="4370606"/>
                  <a:pt x="1123639" y="4369940"/>
                </a:cubicBezTo>
                <a:cubicBezTo>
                  <a:pt x="1122177" y="4369275"/>
                  <a:pt x="1120578" y="4369009"/>
                  <a:pt x="1118581" y="4369009"/>
                </a:cubicBezTo>
                <a:close/>
                <a:moveTo>
                  <a:pt x="901069" y="4369009"/>
                </a:moveTo>
                <a:cubicBezTo>
                  <a:pt x="895211" y="4369009"/>
                  <a:pt x="892682" y="4371005"/>
                  <a:pt x="891085" y="4372603"/>
                </a:cubicBezTo>
                <a:cubicBezTo>
                  <a:pt x="888422" y="4375265"/>
                  <a:pt x="887358" y="4378060"/>
                  <a:pt x="887358" y="4382054"/>
                </a:cubicBezTo>
                <a:cubicBezTo>
                  <a:pt x="887358" y="4386180"/>
                  <a:pt x="888422" y="4388976"/>
                  <a:pt x="890952" y="4391505"/>
                </a:cubicBezTo>
                <a:cubicBezTo>
                  <a:pt x="892549" y="4393104"/>
                  <a:pt x="895078" y="4394967"/>
                  <a:pt x="900935" y="4394967"/>
                </a:cubicBezTo>
                <a:cubicBezTo>
                  <a:pt x="902932" y="4394967"/>
                  <a:pt x="904663" y="4394701"/>
                  <a:pt x="906393" y="4394035"/>
                </a:cubicBezTo>
                <a:cubicBezTo>
                  <a:pt x="907857" y="4393503"/>
                  <a:pt x="909189" y="4392571"/>
                  <a:pt x="910121" y="4391638"/>
                </a:cubicBezTo>
                <a:cubicBezTo>
                  <a:pt x="911185" y="4390440"/>
                  <a:pt x="912117" y="4389109"/>
                  <a:pt x="912783" y="4387379"/>
                </a:cubicBezTo>
                <a:cubicBezTo>
                  <a:pt x="913448" y="4385781"/>
                  <a:pt x="913848" y="4383917"/>
                  <a:pt x="913848" y="4381921"/>
                </a:cubicBezTo>
                <a:cubicBezTo>
                  <a:pt x="913848" y="4380057"/>
                  <a:pt x="913448" y="4378326"/>
                  <a:pt x="912783" y="4376729"/>
                </a:cubicBezTo>
                <a:cubicBezTo>
                  <a:pt x="912117" y="4375132"/>
                  <a:pt x="911185" y="4373801"/>
                  <a:pt x="910121" y="4372603"/>
                </a:cubicBezTo>
                <a:cubicBezTo>
                  <a:pt x="909056" y="4371538"/>
                  <a:pt x="907724" y="4370606"/>
                  <a:pt x="906127" y="4369940"/>
                </a:cubicBezTo>
                <a:cubicBezTo>
                  <a:pt x="904663" y="4369275"/>
                  <a:pt x="903065" y="4369009"/>
                  <a:pt x="901069" y="4369009"/>
                </a:cubicBezTo>
                <a:close/>
                <a:moveTo>
                  <a:pt x="683294" y="4369009"/>
                </a:moveTo>
                <a:cubicBezTo>
                  <a:pt x="677437" y="4369009"/>
                  <a:pt x="674908" y="4371005"/>
                  <a:pt x="673311" y="4372603"/>
                </a:cubicBezTo>
                <a:cubicBezTo>
                  <a:pt x="670781" y="4375265"/>
                  <a:pt x="669717" y="4378060"/>
                  <a:pt x="669717" y="4382054"/>
                </a:cubicBezTo>
                <a:cubicBezTo>
                  <a:pt x="669717" y="4386180"/>
                  <a:pt x="670781" y="4388976"/>
                  <a:pt x="673311" y="4391505"/>
                </a:cubicBezTo>
                <a:cubicBezTo>
                  <a:pt x="674908" y="4393104"/>
                  <a:pt x="677437" y="4394967"/>
                  <a:pt x="683294" y="4394967"/>
                </a:cubicBezTo>
                <a:cubicBezTo>
                  <a:pt x="685291" y="4394967"/>
                  <a:pt x="687155" y="4394701"/>
                  <a:pt x="688619" y="4394035"/>
                </a:cubicBezTo>
                <a:cubicBezTo>
                  <a:pt x="690083" y="4393503"/>
                  <a:pt x="691415" y="4392571"/>
                  <a:pt x="692346" y="4391638"/>
                </a:cubicBezTo>
                <a:cubicBezTo>
                  <a:pt x="693411" y="4390440"/>
                  <a:pt x="694343" y="4389109"/>
                  <a:pt x="695009" y="4387379"/>
                </a:cubicBezTo>
                <a:cubicBezTo>
                  <a:pt x="695674" y="4385781"/>
                  <a:pt x="696074" y="4383917"/>
                  <a:pt x="696074" y="4381921"/>
                </a:cubicBezTo>
                <a:cubicBezTo>
                  <a:pt x="696074" y="4380057"/>
                  <a:pt x="695674" y="4378326"/>
                  <a:pt x="695009" y="4376729"/>
                </a:cubicBezTo>
                <a:cubicBezTo>
                  <a:pt x="694343" y="4375132"/>
                  <a:pt x="693411" y="4373801"/>
                  <a:pt x="692346" y="4372603"/>
                </a:cubicBezTo>
                <a:cubicBezTo>
                  <a:pt x="691281" y="4371538"/>
                  <a:pt x="689950" y="4370606"/>
                  <a:pt x="688353" y="4369940"/>
                </a:cubicBezTo>
                <a:cubicBezTo>
                  <a:pt x="686889" y="4369275"/>
                  <a:pt x="685291" y="4369009"/>
                  <a:pt x="683294" y="4369009"/>
                </a:cubicBezTo>
                <a:close/>
                <a:moveTo>
                  <a:pt x="465652" y="4369009"/>
                </a:moveTo>
                <a:cubicBezTo>
                  <a:pt x="459795" y="4369009"/>
                  <a:pt x="457266" y="4371005"/>
                  <a:pt x="455669" y="4372603"/>
                </a:cubicBezTo>
                <a:cubicBezTo>
                  <a:pt x="453139" y="4375265"/>
                  <a:pt x="452075" y="4378060"/>
                  <a:pt x="452075" y="4382054"/>
                </a:cubicBezTo>
                <a:cubicBezTo>
                  <a:pt x="452075" y="4386180"/>
                  <a:pt x="453139" y="4388976"/>
                  <a:pt x="455669" y="4391505"/>
                </a:cubicBezTo>
                <a:cubicBezTo>
                  <a:pt x="457266" y="4393104"/>
                  <a:pt x="459795" y="4394967"/>
                  <a:pt x="465652" y="4394967"/>
                </a:cubicBezTo>
                <a:cubicBezTo>
                  <a:pt x="467649" y="4394967"/>
                  <a:pt x="469513" y="4394701"/>
                  <a:pt x="470977" y="4394035"/>
                </a:cubicBezTo>
                <a:cubicBezTo>
                  <a:pt x="472441" y="4393503"/>
                  <a:pt x="473772" y="4392571"/>
                  <a:pt x="474704" y="4391638"/>
                </a:cubicBezTo>
                <a:cubicBezTo>
                  <a:pt x="475769" y="4390440"/>
                  <a:pt x="476701" y="4389109"/>
                  <a:pt x="477367" y="4387379"/>
                </a:cubicBezTo>
                <a:cubicBezTo>
                  <a:pt x="478032" y="4385781"/>
                  <a:pt x="478432" y="4383917"/>
                  <a:pt x="478432" y="4381921"/>
                </a:cubicBezTo>
                <a:cubicBezTo>
                  <a:pt x="478432" y="4380057"/>
                  <a:pt x="478032" y="4378326"/>
                  <a:pt x="477367" y="4376729"/>
                </a:cubicBezTo>
                <a:cubicBezTo>
                  <a:pt x="476701" y="4375132"/>
                  <a:pt x="475769" y="4373801"/>
                  <a:pt x="474704" y="4372603"/>
                </a:cubicBezTo>
                <a:cubicBezTo>
                  <a:pt x="473639" y="4371538"/>
                  <a:pt x="472308" y="4370606"/>
                  <a:pt x="470711" y="4369940"/>
                </a:cubicBezTo>
                <a:cubicBezTo>
                  <a:pt x="469247" y="4369275"/>
                  <a:pt x="467649" y="4369009"/>
                  <a:pt x="465652" y="4369009"/>
                </a:cubicBezTo>
                <a:close/>
                <a:moveTo>
                  <a:pt x="248010" y="4369009"/>
                </a:moveTo>
                <a:cubicBezTo>
                  <a:pt x="242153" y="4369009"/>
                  <a:pt x="239624" y="4371005"/>
                  <a:pt x="238027" y="4372603"/>
                </a:cubicBezTo>
                <a:cubicBezTo>
                  <a:pt x="235497" y="4375265"/>
                  <a:pt x="234433" y="4378060"/>
                  <a:pt x="234433" y="4382054"/>
                </a:cubicBezTo>
                <a:cubicBezTo>
                  <a:pt x="234433" y="4386180"/>
                  <a:pt x="235497" y="4388976"/>
                  <a:pt x="238027" y="4391505"/>
                </a:cubicBezTo>
                <a:cubicBezTo>
                  <a:pt x="239624" y="4393104"/>
                  <a:pt x="242153" y="4394967"/>
                  <a:pt x="248010" y="4394967"/>
                </a:cubicBezTo>
                <a:cubicBezTo>
                  <a:pt x="250140" y="4394967"/>
                  <a:pt x="251870" y="4394701"/>
                  <a:pt x="253334" y="4394035"/>
                </a:cubicBezTo>
                <a:cubicBezTo>
                  <a:pt x="254798" y="4393503"/>
                  <a:pt x="256129" y="4392571"/>
                  <a:pt x="257061" y="4391638"/>
                </a:cubicBezTo>
                <a:cubicBezTo>
                  <a:pt x="258126" y="4390440"/>
                  <a:pt x="259058" y="4389109"/>
                  <a:pt x="259724" y="4387379"/>
                </a:cubicBezTo>
                <a:cubicBezTo>
                  <a:pt x="260389" y="4385781"/>
                  <a:pt x="260789" y="4383917"/>
                  <a:pt x="260789" y="4381921"/>
                </a:cubicBezTo>
                <a:cubicBezTo>
                  <a:pt x="260789" y="4380057"/>
                  <a:pt x="260389" y="4378326"/>
                  <a:pt x="259724" y="4376729"/>
                </a:cubicBezTo>
                <a:cubicBezTo>
                  <a:pt x="259058" y="4375132"/>
                  <a:pt x="258126" y="4373801"/>
                  <a:pt x="257061" y="4372603"/>
                </a:cubicBezTo>
                <a:cubicBezTo>
                  <a:pt x="255996" y="4371538"/>
                  <a:pt x="254665" y="4370606"/>
                  <a:pt x="253068" y="4369940"/>
                </a:cubicBezTo>
                <a:cubicBezTo>
                  <a:pt x="251604" y="4369275"/>
                  <a:pt x="250007" y="4369009"/>
                  <a:pt x="248010" y="4369009"/>
                </a:cubicBezTo>
                <a:close/>
                <a:moveTo>
                  <a:pt x="30368" y="4369009"/>
                </a:moveTo>
                <a:cubicBezTo>
                  <a:pt x="24510" y="4369009"/>
                  <a:pt x="21981" y="4371005"/>
                  <a:pt x="20384" y="4372603"/>
                </a:cubicBezTo>
                <a:cubicBezTo>
                  <a:pt x="17855" y="4375265"/>
                  <a:pt x="16791" y="4378060"/>
                  <a:pt x="16791" y="4382054"/>
                </a:cubicBezTo>
                <a:cubicBezTo>
                  <a:pt x="16791" y="4386180"/>
                  <a:pt x="17855" y="4388976"/>
                  <a:pt x="20384" y="4391505"/>
                </a:cubicBezTo>
                <a:cubicBezTo>
                  <a:pt x="21981" y="4393104"/>
                  <a:pt x="24510" y="4394967"/>
                  <a:pt x="30368" y="4394967"/>
                </a:cubicBezTo>
                <a:cubicBezTo>
                  <a:pt x="32497" y="4394967"/>
                  <a:pt x="34229" y="4394701"/>
                  <a:pt x="35693" y="4394035"/>
                </a:cubicBezTo>
                <a:cubicBezTo>
                  <a:pt x="37157" y="4393503"/>
                  <a:pt x="38489" y="4392571"/>
                  <a:pt x="39420" y="4391638"/>
                </a:cubicBezTo>
                <a:cubicBezTo>
                  <a:pt x="40485" y="4390440"/>
                  <a:pt x="41417" y="4389109"/>
                  <a:pt x="42083" y="4387379"/>
                </a:cubicBezTo>
                <a:cubicBezTo>
                  <a:pt x="42748" y="4385781"/>
                  <a:pt x="43014" y="4383917"/>
                  <a:pt x="43014" y="4381921"/>
                </a:cubicBezTo>
                <a:cubicBezTo>
                  <a:pt x="43014" y="4380057"/>
                  <a:pt x="42748" y="4378326"/>
                  <a:pt x="42083" y="4376729"/>
                </a:cubicBezTo>
                <a:cubicBezTo>
                  <a:pt x="41417" y="4375132"/>
                  <a:pt x="40485" y="4373801"/>
                  <a:pt x="39420" y="4372603"/>
                </a:cubicBezTo>
                <a:cubicBezTo>
                  <a:pt x="38355" y="4371538"/>
                  <a:pt x="37024" y="4370606"/>
                  <a:pt x="35427" y="4369940"/>
                </a:cubicBezTo>
                <a:cubicBezTo>
                  <a:pt x="33963" y="4369275"/>
                  <a:pt x="32365" y="4369009"/>
                  <a:pt x="30368" y="4369009"/>
                </a:cubicBezTo>
                <a:close/>
                <a:moveTo>
                  <a:pt x="10475977" y="4352369"/>
                </a:moveTo>
                <a:cubicBezTo>
                  <a:pt x="10480237" y="4352369"/>
                  <a:pt x="10484230" y="4353168"/>
                  <a:pt x="10487824" y="4355031"/>
                </a:cubicBezTo>
                <a:cubicBezTo>
                  <a:pt x="10491419" y="4356628"/>
                  <a:pt x="10494613" y="4358758"/>
                  <a:pt x="10497143" y="4361421"/>
                </a:cubicBezTo>
                <a:cubicBezTo>
                  <a:pt x="10499672" y="4363950"/>
                  <a:pt x="10501801" y="4367145"/>
                  <a:pt x="10503266" y="4370739"/>
                </a:cubicBezTo>
                <a:cubicBezTo>
                  <a:pt x="10504730" y="4374333"/>
                  <a:pt x="10505529" y="4378060"/>
                  <a:pt x="10505529" y="4382187"/>
                </a:cubicBezTo>
                <a:cubicBezTo>
                  <a:pt x="10505529" y="4386313"/>
                  <a:pt x="10504730" y="4390307"/>
                  <a:pt x="10503266" y="4393902"/>
                </a:cubicBezTo>
                <a:cubicBezTo>
                  <a:pt x="10501669" y="4397496"/>
                  <a:pt x="10499672" y="4400558"/>
                  <a:pt x="10497143" y="4403220"/>
                </a:cubicBezTo>
                <a:cubicBezTo>
                  <a:pt x="10494480" y="4405883"/>
                  <a:pt x="10491419" y="4408013"/>
                  <a:pt x="10487824" y="4409477"/>
                </a:cubicBezTo>
                <a:cubicBezTo>
                  <a:pt x="10484098" y="4410941"/>
                  <a:pt x="10480237" y="4411740"/>
                  <a:pt x="10475977" y="4411740"/>
                </a:cubicBezTo>
                <a:cubicBezTo>
                  <a:pt x="10466924" y="4411740"/>
                  <a:pt x="10459736" y="4408811"/>
                  <a:pt x="10454145" y="4403220"/>
                </a:cubicBezTo>
                <a:cubicBezTo>
                  <a:pt x="10448554" y="4397629"/>
                  <a:pt x="10445759" y="4390440"/>
                  <a:pt x="10445759" y="4382054"/>
                </a:cubicBezTo>
                <a:cubicBezTo>
                  <a:pt x="10445759" y="4373801"/>
                  <a:pt x="10448554" y="4366745"/>
                  <a:pt x="10454145" y="4361021"/>
                </a:cubicBezTo>
                <a:cubicBezTo>
                  <a:pt x="10459603" y="4355298"/>
                  <a:pt x="10466924" y="4352369"/>
                  <a:pt x="10475977" y="4352369"/>
                </a:cubicBezTo>
                <a:close/>
                <a:moveTo>
                  <a:pt x="10258466" y="4352369"/>
                </a:moveTo>
                <a:cubicBezTo>
                  <a:pt x="10262592" y="4352369"/>
                  <a:pt x="10266586" y="4353168"/>
                  <a:pt x="10270313" y="4355031"/>
                </a:cubicBezTo>
                <a:cubicBezTo>
                  <a:pt x="10273907" y="4356628"/>
                  <a:pt x="10277101" y="4358758"/>
                  <a:pt x="10279631" y="4361421"/>
                </a:cubicBezTo>
                <a:cubicBezTo>
                  <a:pt x="10282160" y="4363950"/>
                  <a:pt x="10284290" y="4367145"/>
                  <a:pt x="10285754" y="4370739"/>
                </a:cubicBezTo>
                <a:cubicBezTo>
                  <a:pt x="10287218" y="4374333"/>
                  <a:pt x="10288017" y="4378060"/>
                  <a:pt x="10288017" y="4382187"/>
                </a:cubicBezTo>
                <a:cubicBezTo>
                  <a:pt x="10288017" y="4386313"/>
                  <a:pt x="10287218" y="4390307"/>
                  <a:pt x="10285754" y="4393902"/>
                </a:cubicBezTo>
                <a:cubicBezTo>
                  <a:pt x="10284157" y="4397496"/>
                  <a:pt x="10282160" y="4400558"/>
                  <a:pt x="10279631" y="4403220"/>
                </a:cubicBezTo>
                <a:cubicBezTo>
                  <a:pt x="10276969" y="4405883"/>
                  <a:pt x="10273907" y="4408013"/>
                  <a:pt x="10270313" y="4409477"/>
                </a:cubicBezTo>
                <a:cubicBezTo>
                  <a:pt x="10266586" y="4410941"/>
                  <a:pt x="10262725" y="4411740"/>
                  <a:pt x="10258466" y="4411740"/>
                </a:cubicBezTo>
                <a:cubicBezTo>
                  <a:pt x="10249546" y="4411740"/>
                  <a:pt x="10242224" y="4408811"/>
                  <a:pt x="10236633" y="4403220"/>
                </a:cubicBezTo>
                <a:cubicBezTo>
                  <a:pt x="10231043" y="4397629"/>
                  <a:pt x="10228247" y="4390440"/>
                  <a:pt x="10228247" y="4382054"/>
                </a:cubicBezTo>
                <a:cubicBezTo>
                  <a:pt x="10228247" y="4373801"/>
                  <a:pt x="10231043" y="4366745"/>
                  <a:pt x="10236633" y="4361021"/>
                </a:cubicBezTo>
                <a:cubicBezTo>
                  <a:pt x="10242092" y="4355298"/>
                  <a:pt x="10249413" y="4352369"/>
                  <a:pt x="10258466" y="4352369"/>
                </a:cubicBezTo>
                <a:close/>
                <a:moveTo>
                  <a:pt x="10040820" y="4352369"/>
                </a:moveTo>
                <a:cubicBezTo>
                  <a:pt x="10045080" y="4352369"/>
                  <a:pt x="10048941" y="4353168"/>
                  <a:pt x="10052534" y="4355031"/>
                </a:cubicBezTo>
                <a:cubicBezTo>
                  <a:pt x="10056129" y="4356628"/>
                  <a:pt x="10059323" y="4358758"/>
                  <a:pt x="10061852" y="4361421"/>
                </a:cubicBezTo>
                <a:cubicBezTo>
                  <a:pt x="10064382" y="4363950"/>
                  <a:pt x="10066512" y="4367145"/>
                  <a:pt x="10067976" y="4370739"/>
                </a:cubicBezTo>
                <a:cubicBezTo>
                  <a:pt x="10069440" y="4374333"/>
                  <a:pt x="10070239" y="4378060"/>
                  <a:pt x="10070239" y="4382187"/>
                </a:cubicBezTo>
                <a:cubicBezTo>
                  <a:pt x="10070239" y="4386313"/>
                  <a:pt x="10069440" y="4390307"/>
                  <a:pt x="10067976" y="4393902"/>
                </a:cubicBezTo>
                <a:cubicBezTo>
                  <a:pt x="10066379" y="4397496"/>
                  <a:pt x="10064382" y="4400558"/>
                  <a:pt x="10061852" y="4403220"/>
                </a:cubicBezTo>
                <a:cubicBezTo>
                  <a:pt x="10059190" y="4405883"/>
                  <a:pt x="10056129" y="4408013"/>
                  <a:pt x="10052534" y="4409477"/>
                </a:cubicBezTo>
                <a:cubicBezTo>
                  <a:pt x="10048941" y="4410941"/>
                  <a:pt x="10045080" y="4411740"/>
                  <a:pt x="10040820" y="4411740"/>
                </a:cubicBezTo>
                <a:cubicBezTo>
                  <a:pt x="10031767" y="4411740"/>
                  <a:pt x="10024579" y="4408811"/>
                  <a:pt x="10018988" y="4403220"/>
                </a:cubicBezTo>
                <a:cubicBezTo>
                  <a:pt x="10013397" y="4397629"/>
                  <a:pt x="10010602" y="4390440"/>
                  <a:pt x="10010602" y="4382054"/>
                </a:cubicBezTo>
                <a:cubicBezTo>
                  <a:pt x="10010602" y="4373801"/>
                  <a:pt x="10013397" y="4366745"/>
                  <a:pt x="10018988" y="4361021"/>
                </a:cubicBezTo>
                <a:cubicBezTo>
                  <a:pt x="10024579" y="4355298"/>
                  <a:pt x="10031767" y="4352369"/>
                  <a:pt x="10040820" y="4352369"/>
                </a:cubicBezTo>
                <a:close/>
                <a:moveTo>
                  <a:pt x="9823176" y="4352369"/>
                </a:moveTo>
                <a:cubicBezTo>
                  <a:pt x="9827435" y="4352369"/>
                  <a:pt x="9831296" y="4353168"/>
                  <a:pt x="9834890" y="4355031"/>
                </a:cubicBezTo>
                <a:cubicBezTo>
                  <a:pt x="9838617" y="4356628"/>
                  <a:pt x="9841679" y="4358758"/>
                  <a:pt x="9844208" y="4361421"/>
                </a:cubicBezTo>
                <a:cubicBezTo>
                  <a:pt x="9846737" y="4363950"/>
                  <a:pt x="9848867" y="4367145"/>
                  <a:pt x="9850331" y="4370739"/>
                </a:cubicBezTo>
                <a:cubicBezTo>
                  <a:pt x="9851796" y="4374333"/>
                  <a:pt x="9852595" y="4378060"/>
                  <a:pt x="9852595" y="4382187"/>
                </a:cubicBezTo>
                <a:cubicBezTo>
                  <a:pt x="9852595" y="4386313"/>
                  <a:pt x="9851796" y="4390307"/>
                  <a:pt x="9850331" y="4393902"/>
                </a:cubicBezTo>
                <a:cubicBezTo>
                  <a:pt x="9848734" y="4397496"/>
                  <a:pt x="9846737" y="4400558"/>
                  <a:pt x="9844208" y="4403220"/>
                </a:cubicBezTo>
                <a:cubicBezTo>
                  <a:pt x="9841546" y="4405883"/>
                  <a:pt x="9838484" y="4408013"/>
                  <a:pt x="9834890" y="4409477"/>
                </a:cubicBezTo>
                <a:cubicBezTo>
                  <a:pt x="9831296" y="4410941"/>
                  <a:pt x="9827435" y="4411740"/>
                  <a:pt x="9823176" y="4411740"/>
                </a:cubicBezTo>
                <a:cubicBezTo>
                  <a:pt x="9814123" y="4411740"/>
                  <a:pt x="9806935" y="4408811"/>
                  <a:pt x="9801343" y="4403220"/>
                </a:cubicBezTo>
                <a:cubicBezTo>
                  <a:pt x="9795753" y="4397629"/>
                  <a:pt x="9792957" y="4390440"/>
                  <a:pt x="9792957" y="4382054"/>
                </a:cubicBezTo>
                <a:cubicBezTo>
                  <a:pt x="9792957" y="4373801"/>
                  <a:pt x="9795753" y="4366745"/>
                  <a:pt x="9801343" y="4361021"/>
                </a:cubicBezTo>
                <a:cubicBezTo>
                  <a:pt x="9806935" y="4355298"/>
                  <a:pt x="9814123" y="4352369"/>
                  <a:pt x="9823176" y="4352369"/>
                </a:cubicBezTo>
                <a:close/>
                <a:moveTo>
                  <a:pt x="9605531" y="4352369"/>
                </a:moveTo>
                <a:cubicBezTo>
                  <a:pt x="9609790" y="4352369"/>
                  <a:pt x="9613784" y="4353168"/>
                  <a:pt x="9617245" y="4355031"/>
                </a:cubicBezTo>
                <a:cubicBezTo>
                  <a:pt x="9620839" y="4356628"/>
                  <a:pt x="9624033" y="4358758"/>
                  <a:pt x="9626562" y="4361421"/>
                </a:cubicBezTo>
                <a:cubicBezTo>
                  <a:pt x="9629092" y="4363950"/>
                  <a:pt x="9631222" y="4367145"/>
                  <a:pt x="9632686" y="4370739"/>
                </a:cubicBezTo>
                <a:cubicBezTo>
                  <a:pt x="9634150" y="4374333"/>
                  <a:pt x="9634949" y="4378060"/>
                  <a:pt x="9634949" y="4382187"/>
                </a:cubicBezTo>
                <a:cubicBezTo>
                  <a:pt x="9634949" y="4386313"/>
                  <a:pt x="9634150" y="4390307"/>
                  <a:pt x="9632686" y="4393902"/>
                </a:cubicBezTo>
                <a:cubicBezTo>
                  <a:pt x="9631089" y="4397496"/>
                  <a:pt x="9629092" y="4400558"/>
                  <a:pt x="9626562" y="4403220"/>
                </a:cubicBezTo>
                <a:cubicBezTo>
                  <a:pt x="9623901" y="4405883"/>
                  <a:pt x="9620839" y="4408013"/>
                  <a:pt x="9617245" y="4409477"/>
                </a:cubicBezTo>
                <a:cubicBezTo>
                  <a:pt x="9613651" y="4410941"/>
                  <a:pt x="9609790" y="4411740"/>
                  <a:pt x="9605531" y="4411740"/>
                </a:cubicBezTo>
                <a:cubicBezTo>
                  <a:pt x="9596610" y="4411740"/>
                  <a:pt x="9589289" y="4408811"/>
                  <a:pt x="9583698" y="4403220"/>
                </a:cubicBezTo>
                <a:cubicBezTo>
                  <a:pt x="9578108" y="4397629"/>
                  <a:pt x="9575312" y="4390440"/>
                  <a:pt x="9575312" y="4382054"/>
                </a:cubicBezTo>
                <a:cubicBezTo>
                  <a:pt x="9575312" y="4373801"/>
                  <a:pt x="9578108" y="4366745"/>
                  <a:pt x="9583698" y="4361021"/>
                </a:cubicBezTo>
                <a:cubicBezTo>
                  <a:pt x="9589289" y="4355298"/>
                  <a:pt x="9596478" y="4352369"/>
                  <a:pt x="9605531" y="4352369"/>
                </a:cubicBezTo>
                <a:close/>
                <a:moveTo>
                  <a:pt x="9387885" y="4352369"/>
                </a:moveTo>
                <a:cubicBezTo>
                  <a:pt x="9392145" y="4352369"/>
                  <a:pt x="9396138" y="4353168"/>
                  <a:pt x="9399599" y="4355031"/>
                </a:cubicBezTo>
                <a:cubicBezTo>
                  <a:pt x="9403194" y="4356628"/>
                  <a:pt x="9406388" y="4358758"/>
                  <a:pt x="9408917" y="4361421"/>
                </a:cubicBezTo>
                <a:cubicBezTo>
                  <a:pt x="9411447" y="4363950"/>
                  <a:pt x="9413576" y="4367145"/>
                  <a:pt x="9415041" y="4370739"/>
                </a:cubicBezTo>
                <a:cubicBezTo>
                  <a:pt x="9416505" y="4374333"/>
                  <a:pt x="9417304" y="4378060"/>
                  <a:pt x="9417304" y="4382187"/>
                </a:cubicBezTo>
                <a:cubicBezTo>
                  <a:pt x="9417304" y="4386313"/>
                  <a:pt x="9416505" y="4390307"/>
                  <a:pt x="9415041" y="4393902"/>
                </a:cubicBezTo>
                <a:cubicBezTo>
                  <a:pt x="9413444" y="4397496"/>
                  <a:pt x="9411447" y="4400558"/>
                  <a:pt x="9408917" y="4403220"/>
                </a:cubicBezTo>
                <a:cubicBezTo>
                  <a:pt x="9406255" y="4405883"/>
                  <a:pt x="9403194" y="4408013"/>
                  <a:pt x="9399599" y="4409477"/>
                </a:cubicBezTo>
                <a:cubicBezTo>
                  <a:pt x="9396005" y="4410941"/>
                  <a:pt x="9392145" y="4411740"/>
                  <a:pt x="9387885" y="4411740"/>
                </a:cubicBezTo>
                <a:cubicBezTo>
                  <a:pt x="9378965" y="4411740"/>
                  <a:pt x="9371644" y="4408811"/>
                  <a:pt x="9366053" y="4403220"/>
                </a:cubicBezTo>
                <a:cubicBezTo>
                  <a:pt x="9360462" y="4397629"/>
                  <a:pt x="9357667" y="4390440"/>
                  <a:pt x="9357667" y="4382054"/>
                </a:cubicBezTo>
                <a:cubicBezTo>
                  <a:pt x="9357667" y="4373801"/>
                  <a:pt x="9360462" y="4366745"/>
                  <a:pt x="9366053" y="4361021"/>
                </a:cubicBezTo>
                <a:cubicBezTo>
                  <a:pt x="9371644" y="4355298"/>
                  <a:pt x="9378832" y="4352369"/>
                  <a:pt x="9387885" y="4352369"/>
                </a:cubicBezTo>
                <a:close/>
                <a:moveTo>
                  <a:pt x="9170374" y="4352369"/>
                </a:moveTo>
                <a:cubicBezTo>
                  <a:pt x="9174500" y="4352369"/>
                  <a:pt x="9178494" y="4353168"/>
                  <a:pt x="9182088" y="4355031"/>
                </a:cubicBezTo>
                <a:cubicBezTo>
                  <a:pt x="9185682" y="4356628"/>
                  <a:pt x="9188876" y="4358758"/>
                  <a:pt x="9191405" y="4361421"/>
                </a:cubicBezTo>
                <a:cubicBezTo>
                  <a:pt x="9193935" y="4363950"/>
                  <a:pt x="9196065" y="4367145"/>
                  <a:pt x="9197529" y="4370739"/>
                </a:cubicBezTo>
                <a:cubicBezTo>
                  <a:pt x="9198993" y="4374333"/>
                  <a:pt x="9199792" y="4378060"/>
                  <a:pt x="9199792" y="4382187"/>
                </a:cubicBezTo>
                <a:cubicBezTo>
                  <a:pt x="9199792" y="4386313"/>
                  <a:pt x="9198993" y="4390307"/>
                  <a:pt x="9197529" y="4393902"/>
                </a:cubicBezTo>
                <a:cubicBezTo>
                  <a:pt x="9195932" y="4397496"/>
                  <a:pt x="9193935" y="4400558"/>
                  <a:pt x="9191405" y="4403220"/>
                </a:cubicBezTo>
                <a:cubicBezTo>
                  <a:pt x="9188744" y="4405883"/>
                  <a:pt x="9185682" y="4408013"/>
                  <a:pt x="9182088" y="4409477"/>
                </a:cubicBezTo>
                <a:cubicBezTo>
                  <a:pt x="9178494" y="4410941"/>
                  <a:pt x="9174633" y="4411740"/>
                  <a:pt x="9170374" y="4411740"/>
                </a:cubicBezTo>
                <a:cubicBezTo>
                  <a:pt x="9161453" y="4411740"/>
                  <a:pt x="9154132" y="4408811"/>
                  <a:pt x="9148541" y="4403220"/>
                </a:cubicBezTo>
                <a:cubicBezTo>
                  <a:pt x="9142951" y="4397629"/>
                  <a:pt x="9140155" y="4390440"/>
                  <a:pt x="9140155" y="4382054"/>
                </a:cubicBezTo>
                <a:cubicBezTo>
                  <a:pt x="9140155" y="4373801"/>
                  <a:pt x="9142951" y="4366745"/>
                  <a:pt x="9148541" y="4361021"/>
                </a:cubicBezTo>
                <a:cubicBezTo>
                  <a:pt x="9154132" y="4355298"/>
                  <a:pt x="9161321" y="4352369"/>
                  <a:pt x="9170374" y="4352369"/>
                </a:cubicBezTo>
                <a:close/>
                <a:moveTo>
                  <a:pt x="8952728" y="4352369"/>
                </a:moveTo>
                <a:cubicBezTo>
                  <a:pt x="8956988" y="4352369"/>
                  <a:pt x="8960849" y="4353168"/>
                  <a:pt x="8964442" y="4355031"/>
                </a:cubicBezTo>
                <a:cubicBezTo>
                  <a:pt x="8968037" y="4356628"/>
                  <a:pt x="8971231" y="4358758"/>
                  <a:pt x="8973760" y="4361421"/>
                </a:cubicBezTo>
                <a:cubicBezTo>
                  <a:pt x="8976290" y="4363950"/>
                  <a:pt x="8978419" y="4367145"/>
                  <a:pt x="8979884" y="4370739"/>
                </a:cubicBezTo>
                <a:cubicBezTo>
                  <a:pt x="8981348" y="4374333"/>
                  <a:pt x="8982147" y="4378060"/>
                  <a:pt x="8982147" y="4382187"/>
                </a:cubicBezTo>
                <a:cubicBezTo>
                  <a:pt x="8982147" y="4386313"/>
                  <a:pt x="8981348" y="4390307"/>
                  <a:pt x="8979884" y="4393902"/>
                </a:cubicBezTo>
                <a:cubicBezTo>
                  <a:pt x="8978287" y="4397496"/>
                  <a:pt x="8976290" y="4400558"/>
                  <a:pt x="8973760" y="4403220"/>
                </a:cubicBezTo>
                <a:cubicBezTo>
                  <a:pt x="8971098" y="4405883"/>
                  <a:pt x="8968037" y="4408013"/>
                  <a:pt x="8964442" y="4409477"/>
                </a:cubicBezTo>
                <a:cubicBezTo>
                  <a:pt x="8960849" y="4410941"/>
                  <a:pt x="8956988" y="4411740"/>
                  <a:pt x="8952728" y="4411740"/>
                </a:cubicBezTo>
                <a:cubicBezTo>
                  <a:pt x="8943808" y="4411740"/>
                  <a:pt x="8936487" y="4408811"/>
                  <a:pt x="8930896" y="4403220"/>
                </a:cubicBezTo>
                <a:cubicBezTo>
                  <a:pt x="8925305" y="4397629"/>
                  <a:pt x="8922510" y="4390440"/>
                  <a:pt x="8922510" y="4382054"/>
                </a:cubicBezTo>
                <a:cubicBezTo>
                  <a:pt x="8922510" y="4373801"/>
                  <a:pt x="8925305" y="4366745"/>
                  <a:pt x="8930896" y="4361021"/>
                </a:cubicBezTo>
                <a:cubicBezTo>
                  <a:pt x="8936487" y="4355298"/>
                  <a:pt x="8943675" y="4352369"/>
                  <a:pt x="8952728" y="4352369"/>
                </a:cubicBezTo>
                <a:close/>
                <a:moveTo>
                  <a:pt x="8735083" y="4352369"/>
                </a:moveTo>
                <a:cubicBezTo>
                  <a:pt x="8739342" y="4352369"/>
                  <a:pt x="8743203" y="4353168"/>
                  <a:pt x="8746797" y="4355031"/>
                </a:cubicBezTo>
                <a:cubicBezTo>
                  <a:pt x="8750391" y="4356628"/>
                  <a:pt x="8753586" y="4358758"/>
                  <a:pt x="8756115" y="4361421"/>
                </a:cubicBezTo>
                <a:cubicBezTo>
                  <a:pt x="8758644" y="4363950"/>
                  <a:pt x="8760774" y="4367145"/>
                  <a:pt x="8762238" y="4370739"/>
                </a:cubicBezTo>
                <a:cubicBezTo>
                  <a:pt x="8763702" y="4374333"/>
                  <a:pt x="8764502" y="4378060"/>
                  <a:pt x="8764502" y="4382187"/>
                </a:cubicBezTo>
                <a:cubicBezTo>
                  <a:pt x="8764502" y="4386313"/>
                  <a:pt x="8763702" y="4390307"/>
                  <a:pt x="8762238" y="4393902"/>
                </a:cubicBezTo>
                <a:cubicBezTo>
                  <a:pt x="8760641" y="4397496"/>
                  <a:pt x="8758644" y="4400558"/>
                  <a:pt x="8756115" y="4403220"/>
                </a:cubicBezTo>
                <a:cubicBezTo>
                  <a:pt x="8753453" y="4405883"/>
                  <a:pt x="8750391" y="4408013"/>
                  <a:pt x="8746797" y="4409477"/>
                </a:cubicBezTo>
                <a:cubicBezTo>
                  <a:pt x="8743203" y="4410941"/>
                  <a:pt x="8739342" y="4411740"/>
                  <a:pt x="8735083" y="4411740"/>
                </a:cubicBezTo>
                <a:cubicBezTo>
                  <a:pt x="8726030" y="4411740"/>
                  <a:pt x="8718841" y="4408811"/>
                  <a:pt x="8713250" y="4403220"/>
                </a:cubicBezTo>
                <a:cubicBezTo>
                  <a:pt x="8707660" y="4397629"/>
                  <a:pt x="8704864" y="4390440"/>
                  <a:pt x="8704864" y="4382054"/>
                </a:cubicBezTo>
                <a:cubicBezTo>
                  <a:pt x="8704864" y="4373801"/>
                  <a:pt x="8707660" y="4366745"/>
                  <a:pt x="8713250" y="4361021"/>
                </a:cubicBezTo>
                <a:cubicBezTo>
                  <a:pt x="8718841" y="4355298"/>
                  <a:pt x="8726030" y="4352369"/>
                  <a:pt x="8735083" y="4352369"/>
                </a:cubicBezTo>
                <a:close/>
                <a:moveTo>
                  <a:pt x="8517438" y="4352369"/>
                </a:moveTo>
                <a:cubicBezTo>
                  <a:pt x="8521698" y="4352369"/>
                  <a:pt x="8525559" y="4353168"/>
                  <a:pt x="8529152" y="4355031"/>
                </a:cubicBezTo>
                <a:cubicBezTo>
                  <a:pt x="8532880" y="4356628"/>
                  <a:pt x="8535941" y="4358758"/>
                  <a:pt x="8538470" y="4361421"/>
                </a:cubicBezTo>
                <a:cubicBezTo>
                  <a:pt x="8541000" y="4363950"/>
                  <a:pt x="8543130" y="4367145"/>
                  <a:pt x="8544594" y="4370739"/>
                </a:cubicBezTo>
                <a:cubicBezTo>
                  <a:pt x="8546058" y="4374333"/>
                  <a:pt x="8546857" y="4378060"/>
                  <a:pt x="8546857" y="4382187"/>
                </a:cubicBezTo>
                <a:cubicBezTo>
                  <a:pt x="8546857" y="4386313"/>
                  <a:pt x="8546058" y="4390307"/>
                  <a:pt x="8544594" y="4393902"/>
                </a:cubicBezTo>
                <a:cubicBezTo>
                  <a:pt x="8542997" y="4397496"/>
                  <a:pt x="8541000" y="4400558"/>
                  <a:pt x="8538470" y="4403220"/>
                </a:cubicBezTo>
                <a:cubicBezTo>
                  <a:pt x="8535808" y="4405883"/>
                  <a:pt x="8532747" y="4408013"/>
                  <a:pt x="8529152" y="4409477"/>
                </a:cubicBezTo>
                <a:cubicBezTo>
                  <a:pt x="8525559" y="4410941"/>
                  <a:pt x="8521698" y="4411740"/>
                  <a:pt x="8517438" y="4411740"/>
                </a:cubicBezTo>
                <a:cubicBezTo>
                  <a:pt x="8508385" y="4411740"/>
                  <a:pt x="8501197" y="4408811"/>
                  <a:pt x="8495606" y="4403220"/>
                </a:cubicBezTo>
                <a:cubicBezTo>
                  <a:pt x="8490015" y="4397629"/>
                  <a:pt x="8487220" y="4390440"/>
                  <a:pt x="8487220" y="4382054"/>
                </a:cubicBezTo>
                <a:cubicBezTo>
                  <a:pt x="8487220" y="4373801"/>
                  <a:pt x="8490015" y="4366745"/>
                  <a:pt x="8495606" y="4361021"/>
                </a:cubicBezTo>
                <a:cubicBezTo>
                  <a:pt x="8501197" y="4355298"/>
                  <a:pt x="8508385" y="4352369"/>
                  <a:pt x="8517438" y="4352369"/>
                </a:cubicBezTo>
                <a:close/>
                <a:moveTo>
                  <a:pt x="8299793" y="4352369"/>
                </a:moveTo>
                <a:cubicBezTo>
                  <a:pt x="8304052" y="4352369"/>
                  <a:pt x="8308046" y="4353168"/>
                  <a:pt x="8311507" y="4355031"/>
                </a:cubicBezTo>
                <a:cubicBezTo>
                  <a:pt x="8315235" y="4356628"/>
                  <a:pt x="8318296" y="4358758"/>
                  <a:pt x="8320825" y="4361421"/>
                </a:cubicBezTo>
                <a:cubicBezTo>
                  <a:pt x="8323354" y="4363950"/>
                  <a:pt x="8325484" y="4367145"/>
                  <a:pt x="8326948" y="4370739"/>
                </a:cubicBezTo>
                <a:cubicBezTo>
                  <a:pt x="8328413" y="4374333"/>
                  <a:pt x="8329212" y="4378060"/>
                  <a:pt x="8329212" y="4382187"/>
                </a:cubicBezTo>
                <a:cubicBezTo>
                  <a:pt x="8329212" y="4386313"/>
                  <a:pt x="8328413" y="4390307"/>
                  <a:pt x="8326948" y="4393902"/>
                </a:cubicBezTo>
                <a:cubicBezTo>
                  <a:pt x="8325351" y="4397496"/>
                  <a:pt x="8323354" y="4400558"/>
                  <a:pt x="8320825" y="4403220"/>
                </a:cubicBezTo>
                <a:cubicBezTo>
                  <a:pt x="8318163" y="4405883"/>
                  <a:pt x="8315101" y="4408013"/>
                  <a:pt x="8311507" y="4409477"/>
                </a:cubicBezTo>
                <a:cubicBezTo>
                  <a:pt x="8307913" y="4410941"/>
                  <a:pt x="8304052" y="4411740"/>
                  <a:pt x="8299793" y="4411740"/>
                </a:cubicBezTo>
                <a:cubicBezTo>
                  <a:pt x="8290874" y="4411740"/>
                  <a:pt x="8283553" y="4408811"/>
                  <a:pt x="8277960" y="4403220"/>
                </a:cubicBezTo>
                <a:cubicBezTo>
                  <a:pt x="8272370" y="4397629"/>
                  <a:pt x="8269574" y="4390440"/>
                  <a:pt x="8269574" y="4382054"/>
                </a:cubicBezTo>
                <a:cubicBezTo>
                  <a:pt x="8269574" y="4373801"/>
                  <a:pt x="8272370" y="4366745"/>
                  <a:pt x="8277960" y="4361021"/>
                </a:cubicBezTo>
                <a:cubicBezTo>
                  <a:pt x="8283553" y="4355298"/>
                  <a:pt x="8290741" y="4352369"/>
                  <a:pt x="8299793" y="4352369"/>
                </a:cubicBezTo>
                <a:close/>
                <a:moveTo>
                  <a:pt x="8082281" y="4352369"/>
                </a:moveTo>
                <a:cubicBezTo>
                  <a:pt x="8086407" y="4352369"/>
                  <a:pt x="8090401" y="4353168"/>
                  <a:pt x="8094127" y="4355031"/>
                </a:cubicBezTo>
                <a:cubicBezTo>
                  <a:pt x="8097855" y="4356628"/>
                  <a:pt x="8100916" y="4358758"/>
                  <a:pt x="8103446" y="4361421"/>
                </a:cubicBezTo>
                <a:cubicBezTo>
                  <a:pt x="8105975" y="4363950"/>
                  <a:pt x="8108104" y="4367145"/>
                  <a:pt x="8109569" y="4370739"/>
                </a:cubicBezTo>
                <a:cubicBezTo>
                  <a:pt x="8111033" y="4374333"/>
                  <a:pt x="8111832" y="4378060"/>
                  <a:pt x="8111832" y="4382187"/>
                </a:cubicBezTo>
                <a:cubicBezTo>
                  <a:pt x="8111832" y="4386313"/>
                  <a:pt x="8111033" y="4390307"/>
                  <a:pt x="8109569" y="4393902"/>
                </a:cubicBezTo>
                <a:cubicBezTo>
                  <a:pt x="8107972" y="4397496"/>
                  <a:pt x="8105975" y="4400558"/>
                  <a:pt x="8103446" y="4403220"/>
                </a:cubicBezTo>
                <a:cubicBezTo>
                  <a:pt x="8100783" y="4405883"/>
                  <a:pt x="8097722" y="4408013"/>
                  <a:pt x="8094127" y="4409477"/>
                </a:cubicBezTo>
                <a:cubicBezTo>
                  <a:pt x="8090401" y="4410941"/>
                  <a:pt x="8086540" y="4411740"/>
                  <a:pt x="8082281" y="4411740"/>
                </a:cubicBezTo>
                <a:cubicBezTo>
                  <a:pt x="8073361" y="4411740"/>
                  <a:pt x="8066040" y="4408811"/>
                  <a:pt x="8060448" y="4403220"/>
                </a:cubicBezTo>
                <a:cubicBezTo>
                  <a:pt x="8054857" y="4397629"/>
                  <a:pt x="8052062" y="4390440"/>
                  <a:pt x="8052062" y="4382054"/>
                </a:cubicBezTo>
                <a:cubicBezTo>
                  <a:pt x="8052062" y="4373801"/>
                  <a:pt x="8054857" y="4366745"/>
                  <a:pt x="8060448" y="4361021"/>
                </a:cubicBezTo>
                <a:cubicBezTo>
                  <a:pt x="8066040" y="4355298"/>
                  <a:pt x="8073228" y="4352369"/>
                  <a:pt x="8082281" y="4352369"/>
                </a:cubicBezTo>
                <a:close/>
                <a:moveTo>
                  <a:pt x="7864636" y="4352369"/>
                </a:moveTo>
                <a:cubicBezTo>
                  <a:pt x="7868762" y="4352369"/>
                  <a:pt x="7872756" y="4353168"/>
                  <a:pt x="7876483" y="4355031"/>
                </a:cubicBezTo>
                <a:cubicBezTo>
                  <a:pt x="7880210" y="4356628"/>
                  <a:pt x="7883272" y="4358758"/>
                  <a:pt x="7885802" y="4361421"/>
                </a:cubicBezTo>
                <a:cubicBezTo>
                  <a:pt x="7888331" y="4363950"/>
                  <a:pt x="7890460" y="4367145"/>
                  <a:pt x="7891924" y="4370739"/>
                </a:cubicBezTo>
                <a:cubicBezTo>
                  <a:pt x="7893389" y="4374333"/>
                  <a:pt x="7894188" y="4378060"/>
                  <a:pt x="7894188" y="4382187"/>
                </a:cubicBezTo>
                <a:cubicBezTo>
                  <a:pt x="7894188" y="4386313"/>
                  <a:pt x="7893389" y="4390307"/>
                  <a:pt x="7891924" y="4393902"/>
                </a:cubicBezTo>
                <a:cubicBezTo>
                  <a:pt x="7890327" y="4397496"/>
                  <a:pt x="7888331" y="4400558"/>
                  <a:pt x="7885802" y="4403220"/>
                </a:cubicBezTo>
                <a:cubicBezTo>
                  <a:pt x="7883139" y="4405883"/>
                  <a:pt x="7880078" y="4408013"/>
                  <a:pt x="7876483" y="4409477"/>
                </a:cubicBezTo>
                <a:cubicBezTo>
                  <a:pt x="7872756" y="4410941"/>
                  <a:pt x="7868895" y="4411740"/>
                  <a:pt x="7864636" y="4411740"/>
                </a:cubicBezTo>
                <a:cubicBezTo>
                  <a:pt x="7855717" y="4411740"/>
                  <a:pt x="7848396" y="4408811"/>
                  <a:pt x="7842803" y="4403220"/>
                </a:cubicBezTo>
                <a:cubicBezTo>
                  <a:pt x="7837213" y="4397629"/>
                  <a:pt x="7834417" y="4390440"/>
                  <a:pt x="7834417" y="4382054"/>
                </a:cubicBezTo>
                <a:cubicBezTo>
                  <a:pt x="7834417" y="4373801"/>
                  <a:pt x="7837213" y="4366745"/>
                  <a:pt x="7842803" y="4361021"/>
                </a:cubicBezTo>
                <a:cubicBezTo>
                  <a:pt x="7848396" y="4355298"/>
                  <a:pt x="7855584" y="4352369"/>
                  <a:pt x="7864636" y="4352369"/>
                </a:cubicBezTo>
                <a:close/>
                <a:moveTo>
                  <a:pt x="7646991" y="4352369"/>
                </a:moveTo>
                <a:cubicBezTo>
                  <a:pt x="7651250" y="4352369"/>
                  <a:pt x="7655111" y="4353168"/>
                  <a:pt x="7658705" y="4355031"/>
                </a:cubicBezTo>
                <a:cubicBezTo>
                  <a:pt x="7662432" y="4356628"/>
                  <a:pt x="7665493" y="4358758"/>
                  <a:pt x="7668022" y="4361421"/>
                </a:cubicBezTo>
                <a:cubicBezTo>
                  <a:pt x="7670552" y="4363950"/>
                  <a:pt x="7672682" y="4367145"/>
                  <a:pt x="7674146" y="4370739"/>
                </a:cubicBezTo>
                <a:cubicBezTo>
                  <a:pt x="7675610" y="4374333"/>
                  <a:pt x="7676409" y="4378060"/>
                  <a:pt x="7676409" y="4382187"/>
                </a:cubicBezTo>
                <a:cubicBezTo>
                  <a:pt x="7676409" y="4386313"/>
                  <a:pt x="7675610" y="4390307"/>
                  <a:pt x="7674146" y="4393902"/>
                </a:cubicBezTo>
                <a:cubicBezTo>
                  <a:pt x="7672549" y="4397496"/>
                  <a:pt x="7670552" y="4400558"/>
                  <a:pt x="7668022" y="4403220"/>
                </a:cubicBezTo>
                <a:cubicBezTo>
                  <a:pt x="7665361" y="4405883"/>
                  <a:pt x="7662299" y="4408013"/>
                  <a:pt x="7658705" y="4409477"/>
                </a:cubicBezTo>
                <a:cubicBezTo>
                  <a:pt x="7655111" y="4410941"/>
                  <a:pt x="7651250" y="4411740"/>
                  <a:pt x="7646991" y="4411740"/>
                </a:cubicBezTo>
                <a:cubicBezTo>
                  <a:pt x="7638071" y="4411740"/>
                  <a:pt x="7630750" y="4408811"/>
                  <a:pt x="7625158" y="4403220"/>
                </a:cubicBezTo>
                <a:cubicBezTo>
                  <a:pt x="7619568" y="4397629"/>
                  <a:pt x="7616772" y="4390440"/>
                  <a:pt x="7616772" y="4382054"/>
                </a:cubicBezTo>
                <a:cubicBezTo>
                  <a:pt x="7616772" y="4373801"/>
                  <a:pt x="7619568" y="4366745"/>
                  <a:pt x="7625158" y="4361021"/>
                </a:cubicBezTo>
                <a:cubicBezTo>
                  <a:pt x="7630750" y="4355298"/>
                  <a:pt x="7637939" y="4352369"/>
                  <a:pt x="7646991" y="4352369"/>
                </a:cubicBezTo>
                <a:close/>
                <a:moveTo>
                  <a:pt x="7429345" y="4352369"/>
                </a:moveTo>
                <a:cubicBezTo>
                  <a:pt x="7433605" y="4352369"/>
                  <a:pt x="7437466" y="4353168"/>
                  <a:pt x="7441059" y="4355031"/>
                </a:cubicBezTo>
                <a:cubicBezTo>
                  <a:pt x="7444787" y="4356628"/>
                  <a:pt x="7447848" y="4358758"/>
                  <a:pt x="7450377" y="4361421"/>
                </a:cubicBezTo>
                <a:cubicBezTo>
                  <a:pt x="7452907" y="4363950"/>
                  <a:pt x="7455036" y="4367145"/>
                  <a:pt x="7456501" y="4370739"/>
                </a:cubicBezTo>
                <a:cubicBezTo>
                  <a:pt x="7457965" y="4374333"/>
                  <a:pt x="7458764" y="4378060"/>
                  <a:pt x="7458764" y="4382187"/>
                </a:cubicBezTo>
                <a:cubicBezTo>
                  <a:pt x="7458764" y="4386313"/>
                  <a:pt x="7457965" y="4390307"/>
                  <a:pt x="7456501" y="4393902"/>
                </a:cubicBezTo>
                <a:cubicBezTo>
                  <a:pt x="7454904" y="4397496"/>
                  <a:pt x="7452907" y="4400558"/>
                  <a:pt x="7450377" y="4403220"/>
                </a:cubicBezTo>
                <a:cubicBezTo>
                  <a:pt x="7447715" y="4405883"/>
                  <a:pt x="7444654" y="4408013"/>
                  <a:pt x="7441059" y="4409477"/>
                </a:cubicBezTo>
                <a:cubicBezTo>
                  <a:pt x="7437466" y="4410941"/>
                  <a:pt x="7433605" y="4411740"/>
                  <a:pt x="7429345" y="4411740"/>
                </a:cubicBezTo>
                <a:cubicBezTo>
                  <a:pt x="7420426" y="4411740"/>
                  <a:pt x="7413105" y="4408811"/>
                  <a:pt x="7407513" y="4403220"/>
                </a:cubicBezTo>
                <a:cubicBezTo>
                  <a:pt x="7401922" y="4397629"/>
                  <a:pt x="7399127" y="4390440"/>
                  <a:pt x="7399127" y="4382054"/>
                </a:cubicBezTo>
                <a:cubicBezTo>
                  <a:pt x="7399127" y="4373801"/>
                  <a:pt x="7401922" y="4366745"/>
                  <a:pt x="7407513" y="4361021"/>
                </a:cubicBezTo>
                <a:cubicBezTo>
                  <a:pt x="7413105" y="4355298"/>
                  <a:pt x="7420293" y="4352369"/>
                  <a:pt x="7429345" y="4352369"/>
                </a:cubicBezTo>
                <a:close/>
                <a:moveTo>
                  <a:pt x="7211701" y="4352369"/>
                </a:moveTo>
                <a:cubicBezTo>
                  <a:pt x="7215960" y="4352369"/>
                  <a:pt x="7219954" y="4353168"/>
                  <a:pt x="7223415" y="4355031"/>
                </a:cubicBezTo>
                <a:cubicBezTo>
                  <a:pt x="7227142" y="4356628"/>
                  <a:pt x="7230204" y="4358758"/>
                  <a:pt x="7232733" y="4361421"/>
                </a:cubicBezTo>
                <a:cubicBezTo>
                  <a:pt x="7235262" y="4363950"/>
                  <a:pt x="7237392" y="4367145"/>
                  <a:pt x="7238856" y="4370739"/>
                </a:cubicBezTo>
                <a:cubicBezTo>
                  <a:pt x="7240321" y="4374333"/>
                  <a:pt x="7241120" y="4378060"/>
                  <a:pt x="7241120" y="4382187"/>
                </a:cubicBezTo>
                <a:cubicBezTo>
                  <a:pt x="7241120" y="4386313"/>
                  <a:pt x="7240321" y="4390307"/>
                  <a:pt x="7238856" y="4393902"/>
                </a:cubicBezTo>
                <a:cubicBezTo>
                  <a:pt x="7237259" y="4397496"/>
                  <a:pt x="7235262" y="4400558"/>
                  <a:pt x="7232733" y="4403220"/>
                </a:cubicBezTo>
                <a:cubicBezTo>
                  <a:pt x="7230071" y="4405883"/>
                  <a:pt x="7227009" y="4408013"/>
                  <a:pt x="7223415" y="4409477"/>
                </a:cubicBezTo>
                <a:cubicBezTo>
                  <a:pt x="7219821" y="4410941"/>
                  <a:pt x="7215960" y="4411740"/>
                  <a:pt x="7211701" y="4411740"/>
                </a:cubicBezTo>
                <a:cubicBezTo>
                  <a:pt x="7202782" y="4411740"/>
                  <a:pt x="7195460" y="4408811"/>
                  <a:pt x="7189868" y="4403220"/>
                </a:cubicBezTo>
                <a:cubicBezTo>
                  <a:pt x="7184278" y="4397629"/>
                  <a:pt x="7181482" y="4390440"/>
                  <a:pt x="7181482" y="4382054"/>
                </a:cubicBezTo>
                <a:cubicBezTo>
                  <a:pt x="7181482" y="4373801"/>
                  <a:pt x="7184278" y="4366745"/>
                  <a:pt x="7189868" y="4361021"/>
                </a:cubicBezTo>
                <a:cubicBezTo>
                  <a:pt x="7195460" y="4355298"/>
                  <a:pt x="7202649" y="4352369"/>
                  <a:pt x="7211701" y="4352369"/>
                </a:cubicBezTo>
                <a:close/>
                <a:moveTo>
                  <a:pt x="6994056" y="4352369"/>
                </a:moveTo>
                <a:cubicBezTo>
                  <a:pt x="6998315" y="4352369"/>
                  <a:pt x="7002309" y="4353168"/>
                  <a:pt x="7005769" y="4355031"/>
                </a:cubicBezTo>
                <a:cubicBezTo>
                  <a:pt x="7009497" y="4356628"/>
                  <a:pt x="7012558" y="4358758"/>
                  <a:pt x="7015087" y="4361421"/>
                </a:cubicBezTo>
                <a:cubicBezTo>
                  <a:pt x="7017617" y="4363950"/>
                  <a:pt x="7019747" y="4367145"/>
                  <a:pt x="7021211" y="4370739"/>
                </a:cubicBezTo>
                <a:cubicBezTo>
                  <a:pt x="7022675" y="4374333"/>
                  <a:pt x="7023474" y="4378060"/>
                  <a:pt x="7023474" y="4382187"/>
                </a:cubicBezTo>
                <a:cubicBezTo>
                  <a:pt x="7023474" y="4386313"/>
                  <a:pt x="7022675" y="4390307"/>
                  <a:pt x="7021211" y="4393902"/>
                </a:cubicBezTo>
                <a:cubicBezTo>
                  <a:pt x="7019614" y="4397496"/>
                  <a:pt x="7017617" y="4400558"/>
                  <a:pt x="7015087" y="4403220"/>
                </a:cubicBezTo>
                <a:cubicBezTo>
                  <a:pt x="7012425" y="4405883"/>
                  <a:pt x="7009364" y="4408013"/>
                  <a:pt x="7005769" y="4409477"/>
                </a:cubicBezTo>
                <a:cubicBezTo>
                  <a:pt x="7002176" y="4410941"/>
                  <a:pt x="6998315" y="4411740"/>
                  <a:pt x="6994056" y="4411740"/>
                </a:cubicBezTo>
                <a:cubicBezTo>
                  <a:pt x="6985136" y="4411740"/>
                  <a:pt x="6977815" y="4408811"/>
                  <a:pt x="6972223" y="4403220"/>
                </a:cubicBezTo>
                <a:cubicBezTo>
                  <a:pt x="6966632" y="4397629"/>
                  <a:pt x="6963837" y="4390440"/>
                  <a:pt x="6963837" y="4382054"/>
                </a:cubicBezTo>
                <a:cubicBezTo>
                  <a:pt x="6963837" y="4373801"/>
                  <a:pt x="6966632" y="4366745"/>
                  <a:pt x="6972223" y="4361021"/>
                </a:cubicBezTo>
                <a:cubicBezTo>
                  <a:pt x="6977815" y="4355298"/>
                  <a:pt x="6985003" y="4352369"/>
                  <a:pt x="6994056" y="4352369"/>
                </a:cubicBezTo>
                <a:close/>
                <a:moveTo>
                  <a:pt x="6776544" y="4352369"/>
                </a:moveTo>
                <a:cubicBezTo>
                  <a:pt x="6780670" y="4352369"/>
                  <a:pt x="6784664" y="4353168"/>
                  <a:pt x="6788258" y="4355031"/>
                </a:cubicBezTo>
                <a:cubicBezTo>
                  <a:pt x="6791985" y="4356628"/>
                  <a:pt x="6795047" y="4358758"/>
                  <a:pt x="6797576" y="4361421"/>
                </a:cubicBezTo>
                <a:cubicBezTo>
                  <a:pt x="6800105" y="4363950"/>
                  <a:pt x="6802235" y="4367145"/>
                  <a:pt x="6803699" y="4370739"/>
                </a:cubicBezTo>
                <a:cubicBezTo>
                  <a:pt x="6805164" y="4374333"/>
                  <a:pt x="6805963" y="4378060"/>
                  <a:pt x="6805963" y="4382187"/>
                </a:cubicBezTo>
                <a:cubicBezTo>
                  <a:pt x="6805963" y="4386313"/>
                  <a:pt x="6805164" y="4390307"/>
                  <a:pt x="6803699" y="4393902"/>
                </a:cubicBezTo>
                <a:cubicBezTo>
                  <a:pt x="6802102" y="4397496"/>
                  <a:pt x="6800105" y="4400558"/>
                  <a:pt x="6797576" y="4403220"/>
                </a:cubicBezTo>
                <a:cubicBezTo>
                  <a:pt x="6794914" y="4405883"/>
                  <a:pt x="6791852" y="4408013"/>
                  <a:pt x="6788258" y="4409477"/>
                </a:cubicBezTo>
                <a:cubicBezTo>
                  <a:pt x="6784664" y="4410941"/>
                  <a:pt x="6780803" y="4411740"/>
                  <a:pt x="6776544" y="4411740"/>
                </a:cubicBezTo>
                <a:cubicBezTo>
                  <a:pt x="6767625" y="4411740"/>
                  <a:pt x="6760303" y="4408811"/>
                  <a:pt x="6754711" y="4403220"/>
                </a:cubicBezTo>
                <a:cubicBezTo>
                  <a:pt x="6749121" y="4397629"/>
                  <a:pt x="6746325" y="4390440"/>
                  <a:pt x="6746325" y="4382054"/>
                </a:cubicBezTo>
                <a:cubicBezTo>
                  <a:pt x="6746325" y="4373801"/>
                  <a:pt x="6749121" y="4366745"/>
                  <a:pt x="6754711" y="4361021"/>
                </a:cubicBezTo>
                <a:cubicBezTo>
                  <a:pt x="6760303" y="4355298"/>
                  <a:pt x="6767492" y="4352369"/>
                  <a:pt x="6776544" y="4352369"/>
                </a:cubicBezTo>
                <a:close/>
                <a:moveTo>
                  <a:pt x="6558899" y="4352369"/>
                </a:moveTo>
                <a:cubicBezTo>
                  <a:pt x="6563158" y="4352369"/>
                  <a:pt x="6567019" y="4353168"/>
                  <a:pt x="6570612" y="4355031"/>
                </a:cubicBezTo>
                <a:cubicBezTo>
                  <a:pt x="6574340" y="4356628"/>
                  <a:pt x="6577401" y="4358758"/>
                  <a:pt x="6579930" y="4361421"/>
                </a:cubicBezTo>
                <a:cubicBezTo>
                  <a:pt x="6582460" y="4363950"/>
                  <a:pt x="6584590" y="4367145"/>
                  <a:pt x="6586054" y="4370739"/>
                </a:cubicBezTo>
                <a:cubicBezTo>
                  <a:pt x="6587518" y="4374333"/>
                  <a:pt x="6588317" y="4378060"/>
                  <a:pt x="6588317" y="4382187"/>
                </a:cubicBezTo>
                <a:cubicBezTo>
                  <a:pt x="6588317" y="4386313"/>
                  <a:pt x="6587518" y="4390307"/>
                  <a:pt x="6586054" y="4393902"/>
                </a:cubicBezTo>
                <a:cubicBezTo>
                  <a:pt x="6584457" y="4397496"/>
                  <a:pt x="6582460" y="4400558"/>
                  <a:pt x="6579930" y="4403220"/>
                </a:cubicBezTo>
                <a:cubicBezTo>
                  <a:pt x="6577268" y="4405883"/>
                  <a:pt x="6574207" y="4408013"/>
                  <a:pt x="6570612" y="4409477"/>
                </a:cubicBezTo>
                <a:cubicBezTo>
                  <a:pt x="6567019" y="4410941"/>
                  <a:pt x="6563158" y="4411740"/>
                  <a:pt x="6558899" y="4411740"/>
                </a:cubicBezTo>
                <a:cubicBezTo>
                  <a:pt x="6549979" y="4411740"/>
                  <a:pt x="6542658" y="4408811"/>
                  <a:pt x="6537066" y="4403220"/>
                </a:cubicBezTo>
                <a:cubicBezTo>
                  <a:pt x="6531476" y="4397629"/>
                  <a:pt x="6528680" y="4390440"/>
                  <a:pt x="6528680" y="4382054"/>
                </a:cubicBezTo>
                <a:cubicBezTo>
                  <a:pt x="6528680" y="4373801"/>
                  <a:pt x="6531476" y="4366745"/>
                  <a:pt x="6537066" y="4361021"/>
                </a:cubicBezTo>
                <a:cubicBezTo>
                  <a:pt x="6542658" y="4355298"/>
                  <a:pt x="6549846" y="4352369"/>
                  <a:pt x="6558899" y="4352369"/>
                </a:cubicBezTo>
                <a:close/>
                <a:moveTo>
                  <a:pt x="6341253" y="4352369"/>
                </a:moveTo>
                <a:cubicBezTo>
                  <a:pt x="6345513" y="4352369"/>
                  <a:pt x="6349373" y="4353168"/>
                  <a:pt x="6352968" y="4355031"/>
                </a:cubicBezTo>
                <a:cubicBezTo>
                  <a:pt x="6356695" y="4356628"/>
                  <a:pt x="6359757" y="4358758"/>
                  <a:pt x="6362286" y="4361421"/>
                </a:cubicBezTo>
                <a:cubicBezTo>
                  <a:pt x="6364815" y="4363950"/>
                  <a:pt x="6366945" y="4367145"/>
                  <a:pt x="6368409" y="4370739"/>
                </a:cubicBezTo>
                <a:cubicBezTo>
                  <a:pt x="6369874" y="4374333"/>
                  <a:pt x="6370672" y="4378060"/>
                  <a:pt x="6370672" y="4382187"/>
                </a:cubicBezTo>
                <a:cubicBezTo>
                  <a:pt x="6370672" y="4386313"/>
                  <a:pt x="6369874" y="4390307"/>
                  <a:pt x="6368409" y="4393902"/>
                </a:cubicBezTo>
                <a:cubicBezTo>
                  <a:pt x="6366811" y="4397496"/>
                  <a:pt x="6364815" y="4400558"/>
                  <a:pt x="6362286" y="4403220"/>
                </a:cubicBezTo>
                <a:cubicBezTo>
                  <a:pt x="6359623" y="4405883"/>
                  <a:pt x="6356562" y="4408013"/>
                  <a:pt x="6352968" y="4409477"/>
                </a:cubicBezTo>
                <a:cubicBezTo>
                  <a:pt x="6349373" y="4410941"/>
                  <a:pt x="6345513" y="4411740"/>
                  <a:pt x="6341253" y="4411740"/>
                </a:cubicBezTo>
                <a:cubicBezTo>
                  <a:pt x="6332335" y="4411740"/>
                  <a:pt x="6325013" y="4408811"/>
                  <a:pt x="6319421" y="4403220"/>
                </a:cubicBezTo>
                <a:cubicBezTo>
                  <a:pt x="6313830" y="4397629"/>
                  <a:pt x="6311035" y="4390440"/>
                  <a:pt x="6311035" y="4382054"/>
                </a:cubicBezTo>
                <a:cubicBezTo>
                  <a:pt x="6311035" y="4373801"/>
                  <a:pt x="6313830" y="4366745"/>
                  <a:pt x="6319421" y="4361021"/>
                </a:cubicBezTo>
                <a:cubicBezTo>
                  <a:pt x="6325013" y="4355298"/>
                  <a:pt x="6332201" y="4352369"/>
                  <a:pt x="6341253" y="4352369"/>
                </a:cubicBezTo>
                <a:close/>
                <a:moveTo>
                  <a:pt x="6123608" y="4352369"/>
                </a:moveTo>
                <a:cubicBezTo>
                  <a:pt x="6127867" y="4352369"/>
                  <a:pt x="6131728" y="4353168"/>
                  <a:pt x="6135322" y="4355031"/>
                </a:cubicBezTo>
                <a:cubicBezTo>
                  <a:pt x="6139049" y="4356628"/>
                  <a:pt x="6142111" y="4358758"/>
                  <a:pt x="6144640" y="4361421"/>
                </a:cubicBezTo>
                <a:cubicBezTo>
                  <a:pt x="6147169" y="4363950"/>
                  <a:pt x="6149299" y="4367145"/>
                  <a:pt x="6150763" y="4370739"/>
                </a:cubicBezTo>
                <a:cubicBezTo>
                  <a:pt x="6152228" y="4374333"/>
                  <a:pt x="6153026" y="4378060"/>
                  <a:pt x="6153026" y="4382187"/>
                </a:cubicBezTo>
                <a:cubicBezTo>
                  <a:pt x="6153026" y="4386313"/>
                  <a:pt x="6152228" y="4390307"/>
                  <a:pt x="6150763" y="4393902"/>
                </a:cubicBezTo>
                <a:cubicBezTo>
                  <a:pt x="6149299" y="4397496"/>
                  <a:pt x="6147169" y="4400558"/>
                  <a:pt x="6144640" y="4403220"/>
                </a:cubicBezTo>
                <a:cubicBezTo>
                  <a:pt x="6141977" y="4405883"/>
                  <a:pt x="6138916" y="4408013"/>
                  <a:pt x="6135322" y="4409477"/>
                </a:cubicBezTo>
                <a:cubicBezTo>
                  <a:pt x="6131728" y="4410941"/>
                  <a:pt x="6127867" y="4411740"/>
                  <a:pt x="6123608" y="4411740"/>
                </a:cubicBezTo>
                <a:cubicBezTo>
                  <a:pt x="6114689" y="4411740"/>
                  <a:pt x="6107367" y="4408811"/>
                  <a:pt x="6101775" y="4403220"/>
                </a:cubicBezTo>
                <a:cubicBezTo>
                  <a:pt x="6096184" y="4397629"/>
                  <a:pt x="6093389" y="4390440"/>
                  <a:pt x="6093389" y="4382054"/>
                </a:cubicBezTo>
                <a:cubicBezTo>
                  <a:pt x="6093389" y="4373801"/>
                  <a:pt x="6096184" y="4366745"/>
                  <a:pt x="6101775" y="4361021"/>
                </a:cubicBezTo>
                <a:cubicBezTo>
                  <a:pt x="6107367" y="4355298"/>
                  <a:pt x="6114555" y="4352369"/>
                  <a:pt x="6123608" y="4352369"/>
                </a:cubicBezTo>
                <a:close/>
                <a:moveTo>
                  <a:pt x="5905963" y="4352369"/>
                </a:moveTo>
                <a:cubicBezTo>
                  <a:pt x="5910222" y="4352369"/>
                  <a:pt x="5914216" y="4353168"/>
                  <a:pt x="5917677" y="4355031"/>
                </a:cubicBezTo>
                <a:cubicBezTo>
                  <a:pt x="5921404" y="4356628"/>
                  <a:pt x="5924466" y="4358758"/>
                  <a:pt x="5926995" y="4361421"/>
                </a:cubicBezTo>
                <a:cubicBezTo>
                  <a:pt x="5929524" y="4363950"/>
                  <a:pt x="5931654" y="4367145"/>
                  <a:pt x="5933118" y="4370739"/>
                </a:cubicBezTo>
                <a:cubicBezTo>
                  <a:pt x="5934583" y="4374333"/>
                  <a:pt x="5935381" y="4378060"/>
                  <a:pt x="5935381" y="4382187"/>
                </a:cubicBezTo>
                <a:cubicBezTo>
                  <a:pt x="5935381" y="4386313"/>
                  <a:pt x="5934583" y="4390307"/>
                  <a:pt x="5933118" y="4393902"/>
                </a:cubicBezTo>
                <a:cubicBezTo>
                  <a:pt x="5931654" y="4397496"/>
                  <a:pt x="5929524" y="4400558"/>
                  <a:pt x="5926995" y="4403220"/>
                </a:cubicBezTo>
                <a:cubicBezTo>
                  <a:pt x="5924333" y="4405883"/>
                  <a:pt x="5921271" y="4408013"/>
                  <a:pt x="5917677" y="4409477"/>
                </a:cubicBezTo>
                <a:cubicBezTo>
                  <a:pt x="5914083" y="4410941"/>
                  <a:pt x="5910222" y="4411740"/>
                  <a:pt x="5905963" y="4411740"/>
                </a:cubicBezTo>
                <a:cubicBezTo>
                  <a:pt x="5897044" y="4411740"/>
                  <a:pt x="5889722" y="4408811"/>
                  <a:pt x="5884130" y="4403220"/>
                </a:cubicBezTo>
                <a:cubicBezTo>
                  <a:pt x="5878540" y="4397629"/>
                  <a:pt x="5875744" y="4390440"/>
                  <a:pt x="5875744" y="4382054"/>
                </a:cubicBezTo>
                <a:cubicBezTo>
                  <a:pt x="5875744" y="4373801"/>
                  <a:pt x="5878540" y="4366745"/>
                  <a:pt x="5884130" y="4361021"/>
                </a:cubicBezTo>
                <a:cubicBezTo>
                  <a:pt x="5889722" y="4355298"/>
                  <a:pt x="5896910" y="4352369"/>
                  <a:pt x="5905963" y="4352369"/>
                </a:cubicBezTo>
                <a:close/>
                <a:moveTo>
                  <a:pt x="5688451" y="4352369"/>
                </a:moveTo>
                <a:cubicBezTo>
                  <a:pt x="5692577" y="4352369"/>
                  <a:pt x="5696571" y="4353168"/>
                  <a:pt x="5700165" y="4355031"/>
                </a:cubicBezTo>
                <a:cubicBezTo>
                  <a:pt x="5703892" y="4356628"/>
                  <a:pt x="5706954" y="4358758"/>
                  <a:pt x="5709483" y="4361421"/>
                </a:cubicBezTo>
                <a:cubicBezTo>
                  <a:pt x="5712012" y="4363950"/>
                  <a:pt x="5714142" y="4367145"/>
                  <a:pt x="5715606" y="4370739"/>
                </a:cubicBezTo>
                <a:cubicBezTo>
                  <a:pt x="5717071" y="4374333"/>
                  <a:pt x="5717869" y="4378060"/>
                  <a:pt x="5717869" y="4382187"/>
                </a:cubicBezTo>
                <a:cubicBezTo>
                  <a:pt x="5717869" y="4386313"/>
                  <a:pt x="5717071" y="4390307"/>
                  <a:pt x="5715606" y="4393902"/>
                </a:cubicBezTo>
                <a:cubicBezTo>
                  <a:pt x="5714142" y="4397496"/>
                  <a:pt x="5712012" y="4400558"/>
                  <a:pt x="5709483" y="4403220"/>
                </a:cubicBezTo>
                <a:cubicBezTo>
                  <a:pt x="5706820" y="4405883"/>
                  <a:pt x="5703759" y="4408013"/>
                  <a:pt x="5700165" y="4409477"/>
                </a:cubicBezTo>
                <a:cubicBezTo>
                  <a:pt x="5696571" y="4410941"/>
                  <a:pt x="5692710" y="4411740"/>
                  <a:pt x="5688451" y="4411740"/>
                </a:cubicBezTo>
                <a:cubicBezTo>
                  <a:pt x="5679532" y="4411740"/>
                  <a:pt x="5672210" y="4408811"/>
                  <a:pt x="5666618" y="4403220"/>
                </a:cubicBezTo>
                <a:cubicBezTo>
                  <a:pt x="5661028" y="4397629"/>
                  <a:pt x="5658232" y="4390440"/>
                  <a:pt x="5658232" y="4382054"/>
                </a:cubicBezTo>
                <a:cubicBezTo>
                  <a:pt x="5658232" y="4373801"/>
                  <a:pt x="5661028" y="4366745"/>
                  <a:pt x="5666618" y="4361021"/>
                </a:cubicBezTo>
                <a:cubicBezTo>
                  <a:pt x="5672210" y="4355298"/>
                  <a:pt x="5679398" y="4352369"/>
                  <a:pt x="5688451" y="4352369"/>
                </a:cubicBezTo>
                <a:close/>
                <a:moveTo>
                  <a:pt x="5470806" y="4352369"/>
                </a:moveTo>
                <a:cubicBezTo>
                  <a:pt x="5475065" y="4352369"/>
                  <a:pt x="5478926" y="4353168"/>
                  <a:pt x="5482520" y="4355031"/>
                </a:cubicBezTo>
                <a:cubicBezTo>
                  <a:pt x="5486247" y="4356628"/>
                  <a:pt x="5489309" y="4358758"/>
                  <a:pt x="5491838" y="4361421"/>
                </a:cubicBezTo>
                <a:cubicBezTo>
                  <a:pt x="5494367" y="4363950"/>
                  <a:pt x="5496497" y="4367145"/>
                  <a:pt x="5497961" y="4370739"/>
                </a:cubicBezTo>
                <a:cubicBezTo>
                  <a:pt x="5499426" y="4374333"/>
                  <a:pt x="5500224" y="4378060"/>
                  <a:pt x="5500224" y="4382187"/>
                </a:cubicBezTo>
                <a:cubicBezTo>
                  <a:pt x="5500224" y="4386313"/>
                  <a:pt x="5499426" y="4390307"/>
                  <a:pt x="5497961" y="4393902"/>
                </a:cubicBezTo>
                <a:cubicBezTo>
                  <a:pt x="5496497" y="4397496"/>
                  <a:pt x="5494367" y="4400558"/>
                  <a:pt x="5491838" y="4403220"/>
                </a:cubicBezTo>
                <a:cubicBezTo>
                  <a:pt x="5489176" y="4405883"/>
                  <a:pt x="5486114" y="4408013"/>
                  <a:pt x="5482520" y="4409477"/>
                </a:cubicBezTo>
                <a:cubicBezTo>
                  <a:pt x="5478926" y="4410941"/>
                  <a:pt x="5475065" y="4411740"/>
                  <a:pt x="5470806" y="4411740"/>
                </a:cubicBezTo>
                <a:cubicBezTo>
                  <a:pt x="5461887" y="4411740"/>
                  <a:pt x="5454565" y="4408811"/>
                  <a:pt x="5448973" y="4403220"/>
                </a:cubicBezTo>
                <a:cubicBezTo>
                  <a:pt x="5443383" y="4397629"/>
                  <a:pt x="5440587" y="4390440"/>
                  <a:pt x="5440587" y="4382054"/>
                </a:cubicBezTo>
                <a:cubicBezTo>
                  <a:pt x="5440587" y="4373801"/>
                  <a:pt x="5443383" y="4366745"/>
                  <a:pt x="5448973" y="4361021"/>
                </a:cubicBezTo>
                <a:cubicBezTo>
                  <a:pt x="5454565" y="4355298"/>
                  <a:pt x="5461754" y="4352369"/>
                  <a:pt x="5470806" y="4352369"/>
                </a:cubicBezTo>
                <a:close/>
                <a:moveTo>
                  <a:pt x="5253160" y="4352369"/>
                </a:moveTo>
                <a:cubicBezTo>
                  <a:pt x="5257420" y="4352369"/>
                  <a:pt x="5261280" y="4353168"/>
                  <a:pt x="5264875" y="4355031"/>
                </a:cubicBezTo>
                <a:cubicBezTo>
                  <a:pt x="5268602" y="4356628"/>
                  <a:pt x="5271664" y="4358758"/>
                  <a:pt x="5274192" y="4361421"/>
                </a:cubicBezTo>
                <a:cubicBezTo>
                  <a:pt x="5276722" y="4363950"/>
                  <a:pt x="5278852" y="4367145"/>
                  <a:pt x="5280316" y="4370739"/>
                </a:cubicBezTo>
                <a:cubicBezTo>
                  <a:pt x="5281780" y="4374333"/>
                  <a:pt x="5282579" y="4378060"/>
                  <a:pt x="5282579" y="4382187"/>
                </a:cubicBezTo>
                <a:cubicBezTo>
                  <a:pt x="5282579" y="4386313"/>
                  <a:pt x="5281780" y="4390307"/>
                  <a:pt x="5280316" y="4393902"/>
                </a:cubicBezTo>
                <a:cubicBezTo>
                  <a:pt x="5278852" y="4397496"/>
                  <a:pt x="5276722" y="4400558"/>
                  <a:pt x="5274192" y="4403220"/>
                </a:cubicBezTo>
                <a:cubicBezTo>
                  <a:pt x="5271664" y="4405883"/>
                  <a:pt x="5268469" y="4408013"/>
                  <a:pt x="5264875" y="4409477"/>
                </a:cubicBezTo>
                <a:cubicBezTo>
                  <a:pt x="5261280" y="4410941"/>
                  <a:pt x="5257420" y="4411740"/>
                  <a:pt x="5253160" y="4411740"/>
                </a:cubicBezTo>
                <a:cubicBezTo>
                  <a:pt x="5244241" y="4411740"/>
                  <a:pt x="5236920" y="4408811"/>
                  <a:pt x="5231328" y="4403220"/>
                </a:cubicBezTo>
                <a:cubicBezTo>
                  <a:pt x="5225737" y="4397629"/>
                  <a:pt x="5222942" y="4390440"/>
                  <a:pt x="5222942" y="4382054"/>
                </a:cubicBezTo>
                <a:cubicBezTo>
                  <a:pt x="5222942" y="4373801"/>
                  <a:pt x="5225737" y="4366745"/>
                  <a:pt x="5231328" y="4361021"/>
                </a:cubicBezTo>
                <a:cubicBezTo>
                  <a:pt x="5236920" y="4355298"/>
                  <a:pt x="5244108" y="4352369"/>
                  <a:pt x="5253160" y="4352369"/>
                </a:cubicBezTo>
                <a:close/>
                <a:moveTo>
                  <a:pt x="5035515" y="4352369"/>
                </a:moveTo>
                <a:cubicBezTo>
                  <a:pt x="5039775" y="4352369"/>
                  <a:pt x="5043636" y="4353168"/>
                  <a:pt x="5047230" y="4355031"/>
                </a:cubicBezTo>
                <a:cubicBezTo>
                  <a:pt x="5050957" y="4356628"/>
                  <a:pt x="5054019" y="4358758"/>
                  <a:pt x="5056548" y="4361421"/>
                </a:cubicBezTo>
                <a:cubicBezTo>
                  <a:pt x="5059077" y="4363950"/>
                  <a:pt x="5061207" y="4367145"/>
                  <a:pt x="5062671" y="4370739"/>
                </a:cubicBezTo>
                <a:cubicBezTo>
                  <a:pt x="5064135" y="4374333"/>
                  <a:pt x="5064934" y="4378060"/>
                  <a:pt x="5064934" y="4382187"/>
                </a:cubicBezTo>
                <a:cubicBezTo>
                  <a:pt x="5064934" y="4386313"/>
                  <a:pt x="5064135" y="4390307"/>
                  <a:pt x="5062671" y="4393902"/>
                </a:cubicBezTo>
                <a:cubicBezTo>
                  <a:pt x="5061207" y="4397496"/>
                  <a:pt x="5059077" y="4400558"/>
                  <a:pt x="5056548" y="4403220"/>
                </a:cubicBezTo>
                <a:cubicBezTo>
                  <a:pt x="5053885" y="4405883"/>
                  <a:pt x="5050824" y="4408013"/>
                  <a:pt x="5047230" y="4409477"/>
                </a:cubicBezTo>
                <a:cubicBezTo>
                  <a:pt x="5043636" y="4410941"/>
                  <a:pt x="5039775" y="4411740"/>
                  <a:pt x="5035515" y="4411740"/>
                </a:cubicBezTo>
                <a:cubicBezTo>
                  <a:pt x="5026597" y="4411740"/>
                  <a:pt x="5019275" y="4408811"/>
                  <a:pt x="5013683" y="4403220"/>
                </a:cubicBezTo>
                <a:cubicBezTo>
                  <a:pt x="5008092" y="4397629"/>
                  <a:pt x="5005297" y="4390440"/>
                  <a:pt x="5005297" y="4382054"/>
                </a:cubicBezTo>
                <a:cubicBezTo>
                  <a:pt x="5005297" y="4373801"/>
                  <a:pt x="5008092" y="4366745"/>
                  <a:pt x="5013683" y="4361021"/>
                </a:cubicBezTo>
                <a:cubicBezTo>
                  <a:pt x="5019275" y="4355298"/>
                  <a:pt x="5026463" y="4352369"/>
                  <a:pt x="5035515" y="4352369"/>
                </a:cubicBezTo>
                <a:close/>
                <a:moveTo>
                  <a:pt x="4817870" y="4352369"/>
                </a:moveTo>
                <a:cubicBezTo>
                  <a:pt x="4822130" y="4352369"/>
                  <a:pt x="4826124" y="4353168"/>
                  <a:pt x="4829585" y="4355031"/>
                </a:cubicBezTo>
                <a:cubicBezTo>
                  <a:pt x="4833312" y="4356628"/>
                  <a:pt x="4836374" y="4358758"/>
                  <a:pt x="4838903" y="4361421"/>
                </a:cubicBezTo>
                <a:cubicBezTo>
                  <a:pt x="4841432" y="4363950"/>
                  <a:pt x="4843562" y="4367145"/>
                  <a:pt x="4845026" y="4370739"/>
                </a:cubicBezTo>
                <a:cubicBezTo>
                  <a:pt x="4846491" y="4374333"/>
                  <a:pt x="4847289" y="4378060"/>
                  <a:pt x="4847289" y="4382187"/>
                </a:cubicBezTo>
                <a:cubicBezTo>
                  <a:pt x="4847289" y="4386313"/>
                  <a:pt x="4846491" y="4390307"/>
                  <a:pt x="4845026" y="4393902"/>
                </a:cubicBezTo>
                <a:cubicBezTo>
                  <a:pt x="4843562" y="4397496"/>
                  <a:pt x="4841432" y="4400558"/>
                  <a:pt x="4838903" y="4403220"/>
                </a:cubicBezTo>
                <a:cubicBezTo>
                  <a:pt x="4836240" y="4405883"/>
                  <a:pt x="4833179" y="4408013"/>
                  <a:pt x="4829585" y="4409477"/>
                </a:cubicBezTo>
                <a:cubicBezTo>
                  <a:pt x="4825991" y="4410941"/>
                  <a:pt x="4822130" y="4411740"/>
                  <a:pt x="4817870" y="4411740"/>
                </a:cubicBezTo>
                <a:cubicBezTo>
                  <a:pt x="4808952" y="4411740"/>
                  <a:pt x="4801630" y="4408811"/>
                  <a:pt x="4796038" y="4403220"/>
                </a:cubicBezTo>
                <a:cubicBezTo>
                  <a:pt x="4790447" y="4397629"/>
                  <a:pt x="4787652" y="4390440"/>
                  <a:pt x="4787652" y="4382054"/>
                </a:cubicBezTo>
                <a:cubicBezTo>
                  <a:pt x="4787652" y="4373801"/>
                  <a:pt x="4790447" y="4366745"/>
                  <a:pt x="4796038" y="4361021"/>
                </a:cubicBezTo>
                <a:cubicBezTo>
                  <a:pt x="4801630" y="4355298"/>
                  <a:pt x="4808818" y="4352369"/>
                  <a:pt x="4817870" y="4352369"/>
                </a:cubicBezTo>
                <a:close/>
                <a:moveTo>
                  <a:pt x="4600226" y="4352369"/>
                </a:moveTo>
                <a:cubicBezTo>
                  <a:pt x="4604485" y="4352369"/>
                  <a:pt x="4608479" y="4353168"/>
                  <a:pt x="4612073" y="4355031"/>
                </a:cubicBezTo>
                <a:cubicBezTo>
                  <a:pt x="4615800" y="4356628"/>
                  <a:pt x="4618862" y="4358758"/>
                  <a:pt x="4621391" y="4361421"/>
                </a:cubicBezTo>
                <a:cubicBezTo>
                  <a:pt x="4623920" y="4363950"/>
                  <a:pt x="4626050" y="4367145"/>
                  <a:pt x="4627514" y="4370739"/>
                </a:cubicBezTo>
                <a:cubicBezTo>
                  <a:pt x="4628978" y="4374333"/>
                  <a:pt x="4629777" y="4378060"/>
                  <a:pt x="4629777" y="4382187"/>
                </a:cubicBezTo>
                <a:cubicBezTo>
                  <a:pt x="4629777" y="4386313"/>
                  <a:pt x="4628978" y="4390307"/>
                  <a:pt x="4627514" y="4393902"/>
                </a:cubicBezTo>
                <a:cubicBezTo>
                  <a:pt x="4626050" y="4397496"/>
                  <a:pt x="4623920" y="4400558"/>
                  <a:pt x="4621391" y="4403220"/>
                </a:cubicBezTo>
                <a:cubicBezTo>
                  <a:pt x="4618729" y="4405883"/>
                  <a:pt x="4615667" y="4408013"/>
                  <a:pt x="4612073" y="4409477"/>
                </a:cubicBezTo>
                <a:cubicBezTo>
                  <a:pt x="4608346" y="4410941"/>
                  <a:pt x="4604485" y="4411740"/>
                  <a:pt x="4600226" y="4411740"/>
                </a:cubicBezTo>
                <a:cubicBezTo>
                  <a:pt x="4591173" y="4411740"/>
                  <a:pt x="4583985" y="4408811"/>
                  <a:pt x="4578393" y="4403220"/>
                </a:cubicBezTo>
                <a:cubicBezTo>
                  <a:pt x="4572803" y="4397629"/>
                  <a:pt x="4570007" y="4390440"/>
                  <a:pt x="4570007" y="4382054"/>
                </a:cubicBezTo>
                <a:cubicBezTo>
                  <a:pt x="4570007" y="4373801"/>
                  <a:pt x="4572803" y="4366745"/>
                  <a:pt x="4578393" y="4361021"/>
                </a:cubicBezTo>
                <a:cubicBezTo>
                  <a:pt x="4583985" y="4355298"/>
                  <a:pt x="4591173" y="4352369"/>
                  <a:pt x="4600226" y="4352369"/>
                </a:cubicBezTo>
                <a:close/>
                <a:moveTo>
                  <a:pt x="4382713" y="4352369"/>
                </a:moveTo>
                <a:cubicBezTo>
                  <a:pt x="4386840" y="4352369"/>
                  <a:pt x="4390834" y="4353168"/>
                  <a:pt x="4394428" y="4355031"/>
                </a:cubicBezTo>
                <a:cubicBezTo>
                  <a:pt x="4398155" y="4356628"/>
                  <a:pt x="4401217" y="4358758"/>
                  <a:pt x="4403746" y="4361421"/>
                </a:cubicBezTo>
                <a:cubicBezTo>
                  <a:pt x="4406275" y="4363950"/>
                  <a:pt x="4408405" y="4367145"/>
                  <a:pt x="4409869" y="4370739"/>
                </a:cubicBezTo>
                <a:cubicBezTo>
                  <a:pt x="4411334" y="4374333"/>
                  <a:pt x="4412132" y="4378060"/>
                  <a:pt x="4412132" y="4382187"/>
                </a:cubicBezTo>
                <a:cubicBezTo>
                  <a:pt x="4412132" y="4386313"/>
                  <a:pt x="4411334" y="4390307"/>
                  <a:pt x="4409869" y="4393902"/>
                </a:cubicBezTo>
                <a:cubicBezTo>
                  <a:pt x="4408405" y="4397496"/>
                  <a:pt x="4406275" y="4400558"/>
                  <a:pt x="4403746" y="4403220"/>
                </a:cubicBezTo>
                <a:cubicBezTo>
                  <a:pt x="4401083" y="4405883"/>
                  <a:pt x="4398022" y="4408013"/>
                  <a:pt x="4394428" y="4409477"/>
                </a:cubicBezTo>
                <a:cubicBezTo>
                  <a:pt x="4390834" y="4410941"/>
                  <a:pt x="4386973" y="4411740"/>
                  <a:pt x="4382713" y="4411740"/>
                </a:cubicBezTo>
                <a:cubicBezTo>
                  <a:pt x="4373661" y="4411740"/>
                  <a:pt x="4366473" y="4408811"/>
                  <a:pt x="4360881" y="4403220"/>
                </a:cubicBezTo>
                <a:cubicBezTo>
                  <a:pt x="4355290" y="4397629"/>
                  <a:pt x="4352495" y="4390440"/>
                  <a:pt x="4352495" y="4382054"/>
                </a:cubicBezTo>
                <a:cubicBezTo>
                  <a:pt x="4352495" y="4373801"/>
                  <a:pt x="4355290" y="4366745"/>
                  <a:pt x="4360881" y="4361021"/>
                </a:cubicBezTo>
                <a:cubicBezTo>
                  <a:pt x="4366473" y="4355298"/>
                  <a:pt x="4373661" y="4352369"/>
                  <a:pt x="4382713" y="4352369"/>
                </a:cubicBezTo>
                <a:close/>
                <a:moveTo>
                  <a:pt x="4165068" y="4352369"/>
                </a:moveTo>
                <a:cubicBezTo>
                  <a:pt x="4169327" y="4352369"/>
                  <a:pt x="4173188" y="4353168"/>
                  <a:pt x="4176782" y="4355031"/>
                </a:cubicBezTo>
                <a:cubicBezTo>
                  <a:pt x="4180509" y="4356628"/>
                  <a:pt x="4183571" y="4358758"/>
                  <a:pt x="4186100" y="4361421"/>
                </a:cubicBezTo>
                <a:cubicBezTo>
                  <a:pt x="4188629" y="4363950"/>
                  <a:pt x="4190759" y="4367145"/>
                  <a:pt x="4192223" y="4370739"/>
                </a:cubicBezTo>
                <a:cubicBezTo>
                  <a:pt x="4193688" y="4374333"/>
                  <a:pt x="4194486" y="4378060"/>
                  <a:pt x="4194486" y="4382187"/>
                </a:cubicBezTo>
                <a:cubicBezTo>
                  <a:pt x="4194486" y="4386313"/>
                  <a:pt x="4193688" y="4390307"/>
                  <a:pt x="4192223" y="4393902"/>
                </a:cubicBezTo>
                <a:cubicBezTo>
                  <a:pt x="4190759" y="4397496"/>
                  <a:pt x="4188629" y="4400558"/>
                  <a:pt x="4186100" y="4403220"/>
                </a:cubicBezTo>
                <a:cubicBezTo>
                  <a:pt x="4183438" y="4405883"/>
                  <a:pt x="4180376" y="4408013"/>
                  <a:pt x="4176782" y="4409477"/>
                </a:cubicBezTo>
                <a:cubicBezTo>
                  <a:pt x="4173188" y="4410941"/>
                  <a:pt x="4169327" y="4411740"/>
                  <a:pt x="4165068" y="4411740"/>
                </a:cubicBezTo>
                <a:cubicBezTo>
                  <a:pt x="4156015" y="4411740"/>
                  <a:pt x="4148827" y="4408811"/>
                  <a:pt x="4143235" y="4403220"/>
                </a:cubicBezTo>
                <a:cubicBezTo>
                  <a:pt x="4137645" y="4397629"/>
                  <a:pt x="4134849" y="4390440"/>
                  <a:pt x="4134849" y="4382054"/>
                </a:cubicBezTo>
                <a:cubicBezTo>
                  <a:pt x="4134849" y="4373801"/>
                  <a:pt x="4137645" y="4366745"/>
                  <a:pt x="4143235" y="4361021"/>
                </a:cubicBezTo>
                <a:cubicBezTo>
                  <a:pt x="4148827" y="4355298"/>
                  <a:pt x="4156015" y="4352369"/>
                  <a:pt x="4165068" y="4352369"/>
                </a:cubicBezTo>
                <a:close/>
                <a:moveTo>
                  <a:pt x="3947663" y="4352369"/>
                </a:moveTo>
                <a:cubicBezTo>
                  <a:pt x="3951925" y="4352369"/>
                  <a:pt x="3955785" y="4353168"/>
                  <a:pt x="3959380" y="4355031"/>
                </a:cubicBezTo>
                <a:cubicBezTo>
                  <a:pt x="3963108" y="4356628"/>
                  <a:pt x="3966169" y="4358758"/>
                  <a:pt x="3968698" y="4361421"/>
                </a:cubicBezTo>
                <a:cubicBezTo>
                  <a:pt x="3971228" y="4363950"/>
                  <a:pt x="3973358" y="4367145"/>
                  <a:pt x="3974822" y="4370739"/>
                </a:cubicBezTo>
                <a:cubicBezTo>
                  <a:pt x="3976287" y="4374333"/>
                  <a:pt x="3977086" y="4378060"/>
                  <a:pt x="3977086" y="4382187"/>
                </a:cubicBezTo>
                <a:cubicBezTo>
                  <a:pt x="3977086" y="4386313"/>
                  <a:pt x="3976287" y="4390307"/>
                  <a:pt x="3974822" y="4393902"/>
                </a:cubicBezTo>
                <a:cubicBezTo>
                  <a:pt x="3973358" y="4397496"/>
                  <a:pt x="3971228" y="4400558"/>
                  <a:pt x="3968698" y="4403220"/>
                </a:cubicBezTo>
                <a:cubicBezTo>
                  <a:pt x="3966036" y="4405883"/>
                  <a:pt x="3962975" y="4408013"/>
                  <a:pt x="3959380" y="4409477"/>
                </a:cubicBezTo>
                <a:cubicBezTo>
                  <a:pt x="3955785" y="4410941"/>
                  <a:pt x="3951925" y="4411740"/>
                  <a:pt x="3947663" y="4411740"/>
                </a:cubicBezTo>
                <a:cubicBezTo>
                  <a:pt x="3938610" y="4411740"/>
                  <a:pt x="3931422" y="4408811"/>
                  <a:pt x="3925830" y="4403220"/>
                </a:cubicBezTo>
                <a:cubicBezTo>
                  <a:pt x="3920239" y="4397629"/>
                  <a:pt x="3917444" y="4390440"/>
                  <a:pt x="3917444" y="4382054"/>
                </a:cubicBezTo>
                <a:cubicBezTo>
                  <a:pt x="3917444" y="4373801"/>
                  <a:pt x="3920239" y="4366745"/>
                  <a:pt x="3925830" y="4361021"/>
                </a:cubicBezTo>
                <a:cubicBezTo>
                  <a:pt x="3931422" y="4355298"/>
                  <a:pt x="3938610" y="4352369"/>
                  <a:pt x="3947663" y="4352369"/>
                </a:cubicBezTo>
                <a:close/>
                <a:moveTo>
                  <a:pt x="3730007" y="4352369"/>
                </a:moveTo>
                <a:cubicBezTo>
                  <a:pt x="3734268" y="4352369"/>
                  <a:pt x="3738260" y="4353168"/>
                  <a:pt x="3741722" y="4355031"/>
                </a:cubicBezTo>
                <a:cubicBezTo>
                  <a:pt x="3745316" y="4356628"/>
                  <a:pt x="3748512" y="4358758"/>
                  <a:pt x="3751041" y="4361421"/>
                </a:cubicBezTo>
                <a:cubicBezTo>
                  <a:pt x="3753570" y="4363950"/>
                  <a:pt x="3755699" y="4367145"/>
                  <a:pt x="3757163" y="4370739"/>
                </a:cubicBezTo>
                <a:cubicBezTo>
                  <a:pt x="3758627" y="4374333"/>
                  <a:pt x="3759426" y="4378060"/>
                  <a:pt x="3759426" y="4382187"/>
                </a:cubicBezTo>
                <a:cubicBezTo>
                  <a:pt x="3759426" y="4386313"/>
                  <a:pt x="3758627" y="4390307"/>
                  <a:pt x="3757163" y="4393902"/>
                </a:cubicBezTo>
                <a:cubicBezTo>
                  <a:pt x="3755699" y="4397496"/>
                  <a:pt x="3753570" y="4400558"/>
                  <a:pt x="3751041" y="4403220"/>
                </a:cubicBezTo>
                <a:cubicBezTo>
                  <a:pt x="3748378" y="4405883"/>
                  <a:pt x="3745316" y="4408013"/>
                  <a:pt x="3741722" y="4409477"/>
                </a:cubicBezTo>
                <a:cubicBezTo>
                  <a:pt x="3738129" y="4410941"/>
                  <a:pt x="3734268" y="4411740"/>
                  <a:pt x="3730007" y="4411740"/>
                </a:cubicBezTo>
                <a:cubicBezTo>
                  <a:pt x="3720955" y="4411740"/>
                  <a:pt x="3713766" y="4408811"/>
                  <a:pt x="3708169" y="4403220"/>
                </a:cubicBezTo>
                <a:cubicBezTo>
                  <a:pt x="3702576" y="4397629"/>
                  <a:pt x="3699782" y="4390440"/>
                  <a:pt x="3699782" y="4382054"/>
                </a:cubicBezTo>
                <a:cubicBezTo>
                  <a:pt x="3699782" y="4373801"/>
                  <a:pt x="3702576" y="4366745"/>
                  <a:pt x="3708169" y="4361021"/>
                </a:cubicBezTo>
                <a:cubicBezTo>
                  <a:pt x="3713766" y="4355298"/>
                  <a:pt x="3720955" y="4352369"/>
                  <a:pt x="3730007" y="4352369"/>
                </a:cubicBezTo>
                <a:close/>
                <a:moveTo>
                  <a:pt x="3512349" y="4352369"/>
                </a:moveTo>
                <a:cubicBezTo>
                  <a:pt x="3516610" y="4352369"/>
                  <a:pt x="3520603" y="4353168"/>
                  <a:pt x="3524065" y="4355031"/>
                </a:cubicBezTo>
                <a:cubicBezTo>
                  <a:pt x="3527659" y="4356628"/>
                  <a:pt x="3530854" y="4358758"/>
                  <a:pt x="3533383" y="4361421"/>
                </a:cubicBezTo>
                <a:cubicBezTo>
                  <a:pt x="3535912" y="4363950"/>
                  <a:pt x="3538042" y="4367145"/>
                  <a:pt x="3539506" y="4370739"/>
                </a:cubicBezTo>
                <a:cubicBezTo>
                  <a:pt x="3540970" y="4374333"/>
                  <a:pt x="3541769" y="4378060"/>
                  <a:pt x="3541769" y="4382187"/>
                </a:cubicBezTo>
                <a:cubicBezTo>
                  <a:pt x="3541769" y="4386313"/>
                  <a:pt x="3540970" y="4390307"/>
                  <a:pt x="3539506" y="4393902"/>
                </a:cubicBezTo>
                <a:cubicBezTo>
                  <a:pt x="3538042" y="4397496"/>
                  <a:pt x="3535912" y="4400558"/>
                  <a:pt x="3533383" y="4403220"/>
                </a:cubicBezTo>
                <a:cubicBezTo>
                  <a:pt x="3530720" y="4405883"/>
                  <a:pt x="3527659" y="4408013"/>
                  <a:pt x="3524065" y="4409477"/>
                </a:cubicBezTo>
                <a:cubicBezTo>
                  <a:pt x="3520471" y="4410941"/>
                  <a:pt x="3516610" y="4411740"/>
                  <a:pt x="3512349" y="4411740"/>
                </a:cubicBezTo>
                <a:cubicBezTo>
                  <a:pt x="3503294" y="4411740"/>
                  <a:pt x="3496104" y="4408811"/>
                  <a:pt x="3490513" y="4403220"/>
                </a:cubicBezTo>
                <a:cubicBezTo>
                  <a:pt x="3484923" y="4397629"/>
                  <a:pt x="3482127" y="4390440"/>
                  <a:pt x="3482127" y="4382054"/>
                </a:cubicBezTo>
                <a:cubicBezTo>
                  <a:pt x="3482127" y="4373801"/>
                  <a:pt x="3484923" y="4366745"/>
                  <a:pt x="3490513" y="4361021"/>
                </a:cubicBezTo>
                <a:cubicBezTo>
                  <a:pt x="3496104" y="4355298"/>
                  <a:pt x="3503294" y="4352369"/>
                  <a:pt x="3512349" y="4352369"/>
                </a:cubicBezTo>
                <a:close/>
                <a:moveTo>
                  <a:pt x="3294825" y="4352369"/>
                </a:moveTo>
                <a:cubicBezTo>
                  <a:pt x="3298952" y="4352369"/>
                  <a:pt x="3302946" y="4353168"/>
                  <a:pt x="3306540" y="4355031"/>
                </a:cubicBezTo>
                <a:cubicBezTo>
                  <a:pt x="3310267" y="4356628"/>
                  <a:pt x="3313329" y="4358758"/>
                  <a:pt x="3315858" y="4361421"/>
                </a:cubicBezTo>
                <a:cubicBezTo>
                  <a:pt x="3318388" y="4363950"/>
                  <a:pt x="3320518" y="4367145"/>
                  <a:pt x="3321982" y="4370739"/>
                </a:cubicBezTo>
                <a:cubicBezTo>
                  <a:pt x="3323446" y="4374333"/>
                  <a:pt x="3324245" y="4378060"/>
                  <a:pt x="3324245" y="4382187"/>
                </a:cubicBezTo>
                <a:cubicBezTo>
                  <a:pt x="3324245" y="4386313"/>
                  <a:pt x="3323446" y="4390307"/>
                  <a:pt x="3321982" y="4393902"/>
                </a:cubicBezTo>
                <a:cubicBezTo>
                  <a:pt x="3320518" y="4397496"/>
                  <a:pt x="3318388" y="4400558"/>
                  <a:pt x="3315858" y="4403220"/>
                </a:cubicBezTo>
                <a:cubicBezTo>
                  <a:pt x="3313195" y="4405883"/>
                  <a:pt x="3310134" y="4408013"/>
                  <a:pt x="3306540" y="4409477"/>
                </a:cubicBezTo>
                <a:cubicBezTo>
                  <a:pt x="3302946" y="4410941"/>
                  <a:pt x="3299085" y="4411740"/>
                  <a:pt x="3294825" y="4411740"/>
                </a:cubicBezTo>
                <a:cubicBezTo>
                  <a:pt x="3285771" y="4411740"/>
                  <a:pt x="3278582" y="4408811"/>
                  <a:pt x="3272988" y="4403220"/>
                </a:cubicBezTo>
                <a:cubicBezTo>
                  <a:pt x="3267396" y="4397629"/>
                  <a:pt x="3264601" y="4390440"/>
                  <a:pt x="3264601" y="4382054"/>
                </a:cubicBezTo>
                <a:cubicBezTo>
                  <a:pt x="3264601" y="4373801"/>
                  <a:pt x="3267396" y="4366745"/>
                  <a:pt x="3272988" y="4361021"/>
                </a:cubicBezTo>
                <a:cubicBezTo>
                  <a:pt x="3278582" y="4355298"/>
                  <a:pt x="3285771" y="4352369"/>
                  <a:pt x="3294825" y="4352369"/>
                </a:cubicBezTo>
                <a:close/>
                <a:moveTo>
                  <a:pt x="3077167" y="4352369"/>
                </a:moveTo>
                <a:cubicBezTo>
                  <a:pt x="3081295" y="4352369"/>
                  <a:pt x="3085288" y="4353168"/>
                  <a:pt x="3088883" y="4355031"/>
                </a:cubicBezTo>
                <a:cubicBezTo>
                  <a:pt x="3092477" y="4356628"/>
                  <a:pt x="3095672" y="4358758"/>
                  <a:pt x="3098201" y="4361421"/>
                </a:cubicBezTo>
                <a:cubicBezTo>
                  <a:pt x="3100730" y="4363950"/>
                  <a:pt x="3102860" y="4367145"/>
                  <a:pt x="3104324" y="4370739"/>
                </a:cubicBezTo>
                <a:cubicBezTo>
                  <a:pt x="3105789" y="4374333"/>
                  <a:pt x="3106587" y="4378060"/>
                  <a:pt x="3106587" y="4382187"/>
                </a:cubicBezTo>
                <a:cubicBezTo>
                  <a:pt x="3106587" y="4386313"/>
                  <a:pt x="3105789" y="4390307"/>
                  <a:pt x="3104324" y="4393902"/>
                </a:cubicBezTo>
                <a:cubicBezTo>
                  <a:pt x="3102860" y="4397496"/>
                  <a:pt x="3100730" y="4400558"/>
                  <a:pt x="3098201" y="4403220"/>
                </a:cubicBezTo>
                <a:cubicBezTo>
                  <a:pt x="3095538" y="4405883"/>
                  <a:pt x="3092477" y="4408013"/>
                  <a:pt x="3088883" y="4409477"/>
                </a:cubicBezTo>
                <a:cubicBezTo>
                  <a:pt x="3085288" y="4410941"/>
                  <a:pt x="3081427" y="4411740"/>
                  <a:pt x="3077167" y="4411740"/>
                </a:cubicBezTo>
                <a:cubicBezTo>
                  <a:pt x="3068247" y="4411740"/>
                  <a:pt x="3060924" y="4408811"/>
                  <a:pt x="3055331" y="4403220"/>
                </a:cubicBezTo>
                <a:cubicBezTo>
                  <a:pt x="3049740" y="4397629"/>
                  <a:pt x="3046944" y="4390440"/>
                  <a:pt x="3046944" y="4382054"/>
                </a:cubicBezTo>
                <a:cubicBezTo>
                  <a:pt x="3046944" y="4373801"/>
                  <a:pt x="3049740" y="4366745"/>
                  <a:pt x="3055331" y="4361021"/>
                </a:cubicBezTo>
                <a:cubicBezTo>
                  <a:pt x="3060924" y="4355298"/>
                  <a:pt x="3068114" y="4352369"/>
                  <a:pt x="3077167" y="4352369"/>
                </a:cubicBezTo>
                <a:close/>
                <a:moveTo>
                  <a:pt x="2859510" y="4352369"/>
                </a:moveTo>
                <a:cubicBezTo>
                  <a:pt x="2863770" y="4352369"/>
                  <a:pt x="2867631" y="4353168"/>
                  <a:pt x="2871358" y="4355031"/>
                </a:cubicBezTo>
                <a:cubicBezTo>
                  <a:pt x="2875085" y="4356628"/>
                  <a:pt x="2878147" y="4358758"/>
                  <a:pt x="2880676" y="4361421"/>
                </a:cubicBezTo>
                <a:cubicBezTo>
                  <a:pt x="2883338" y="4363950"/>
                  <a:pt x="2885335" y="4367145"/>
                  <a:pt x="2886799" y="4370739"/>
                </a:cubicBezTo>
                <a:cubicBezTo>
                  <a:pt x="2888264" y="4374333"/>
                  <a:pt x="2889062" y="4378060"/>
                  <a:pt x="2889062" y="4382187"/>
                </a:cubicBezTo>
                <a:cubicBezTo>
                  <a:pt x="2889062" y="4386313"/>
                  <a:pt x="2888264" y="4390307"/>
                  <a:pt x="2886799" y="4393902"/>
                </a:cubicBezTo>
                <a:cubicBezTo>
                  <a:pt x="2885335" y="4397496"/>
                  <a:pt x="2883205" y="4400558"/>
                  <a:pt x="2880676" y="4403220"/>
                </a:cubicBezTo>
                <a:cubicBezTo>
                  <a:pt x="2878014" y="4405883"/>
                  <a:pt x="2874952" y="4408013"/>
                  <a:pt x="2871358" y="4409477"/>
                </a:cubicBezTo>
                <a:cubicBezTo>
                  <a:pt x="2867631" y="4410941"/>
                  <a:pt x="2863770" y="4411740"/>
                  <a:pt x="2859510" y="4411740"/>
                </a:cubicBezTo>
                <a:cubicBezTo>
                  <a:pt x="2850592" y="4411740"/>
                  <a:pt x="2843264" y="4408811"/>
                  <a:pt x="2837673" y="4403220"/>
                </a:cubicBezTo>
                <a:cubicBezTo>
                  <a:pt x="2832082" y="4397629"/>
                  <a:pt x="2829286" y="4390440"/>
                  <a:pt x="2829286" y="4382054"/>
                </a:cubicBezTo>
                <a:cubicBezTo>
                  <a:pt x="2829286" y="4373801"/>
                  <a:pt x="2832082" y="4366745"/>
                  <a:pt x="2837673" y="4361021"/>
                </a:cubicBezTo>
                <a:cubicBezTo>
                  <a:pt x="2843264" y="4355298"/>
                  <a:pt x="2850458" y="4352369"/>
                  <a:pt x="2859510" y="4352369"/>
                </a:cubicBezTo>
                <a:close/>
                <a:moveTo>
                  <a:pt x="2641852" y="4352369"/>
                </a:moveTo>
                <a:cubicBezTo>
                  <a:pt x="2646112" y="4352369"/>
                  <a:pt x="2649972" y="4353168"/>
                  <a:pt x="2653567" y="4355031"/>
                </a:cubicBezTo>
                <a:cubicBezTo>
                  <a:pt x="2657294" y="4356628"/>
                  <a:pt x="2660356" y="4358758"/>
                  <a:pt x="2662885" y="4361421"/>
                </a:cubicBezTo>
                <a:cubicBezTo>
                  <a:pt x="2665547" y="4363950"/>
                  <a:pt x="2667545" y="4367145"/>
                  <a:pt x="2669009" y="4370739"/>
                </a:cubicBezTo>
                <a:cubicBezTo>
                  <a:pt x="2670473" y="4374333"/>
                  <a:pt x="2671272" y="4378060"/>
                  <a:pt x="2671272" y="4382187"/>
                </a:cubicBezTo>
                <a:cubicBezTo>
                  <a:pt x="2671272" y="4386313"/>
                  <a:pt x="2670473" y="4390307"/>
                  <a:pt x="2669009" y="4393902"/>
                </a:cubicBezTo>
                <a:cubicBezTo>
                  <a:pt x="2667545" y="4397496"/>
                  <a:pt x="2665415" y="4400558"/>
                  <a:pt x="2662885" y="4403220"/>
                </a:cubicBezTo>
                <a:cubicBezTo>
                  <a:pt x="2660356" y="4405883"/>
                  <a:pt x="2657161" y="4408013"/>
                  <a:pt x="2653567" y="4409477"/>
                </a:cubicBezTo>
                <a:cubicBezTo>
                  <a:pt x="2649972" y="4410941"/>
                  <a:pt x="2646112" y="4411740"/>
                  <a:pt x="2641852" y="4411740"/>
                </a:cubicBezTo>
                <a:cubicBezTo>
                  <a:pt x="2632933" y="4411740"/>
                  <a:pt x="2625611" y="4408811"/>
                  <a:pt x="2620019" y="4403220"/>
                </a:cubicBezTo>
                <a:cubicBezTo>
                  <a:pt x="2614426" y="4397629"/>
                  <a:pt x="2611630" y="4390440"/>
                  <a:pt x="2611630" y="4382054"/>
                </a:cubicBezTo>
                <a:cubicBezTo>
                  <a:pt x="2611630" y="4373801"/>
                  <a:pt x="2614426" y="4366745"/>
                  <a:pt x="2620019" y="4361021"/>
                </a:cubicBezTo>
                <a:cubicBezTo>
                  <a:pt x="2625611" y="4355298"/>
                  <a:pt x="2632800" y="4352369"/>
                  <a:pt x="2641852" y="4352369"/>
                </a:cubicBezTo>
                <a:close/>
                <a:moveTo>
                  <a:pt x="2424194" y="4352369"/>
                </a:moveTo>
                <a:cubicBezTo>
                  <a:pt x="2428454" y="4352369"/>
                  <a:pt x="2432449" y="4353168"/>
                  <a:pt x="2435910" y="4355031"/>
                </a:cubicBezTo>
                <a:cubicBezTo>
                  <a:pt x="2439637" y="4356628"/>
                  <a:pt x="2442698" y="4358758"/>
                  <a:pt x="2445228" y="4361421"/>
                </a:cubicBezTo>
                <a:cubicBezTo>
                  <a:pt x="2447890" y="4363950"/>
                  <a:pt x="2449887" y="4367145"/>
                  <a:pt x="2451351" y="4370739"/>
                </a:cubicBezTo>
                <a:cubicBezTo>
                  <a:pt x="2452815" y="4374333"/>
                  <a:pt x="2453614" y="4378060"/>
                  <a:pt x="2453614" y="4382187"/>
                </a:cubicBezTo>
                <a:cubicBezTo>
                  <a:pt x="2453614" y="4386313"/>
                  <a:pt x="2452815" y="4390307"/>
                  <a:pt x="2451351" y="4393902"/>
                </a:cubicBezTo>
                <a:cubicBezTo>
                  <a:pt x="2449887" y="4397496"/>
                  <a:pt x="2447757" y="4400558"/>
                  <a:pt x="2445228" y="4403220"/>
                </a:cubicBezTo>
                <a:cubicBezTo>
                  <a:pt x="2442698" y="4405883"/>
                  <a:pt x="2439504" y="4408013"/>
                  <a:pt x="2435910" y="4409477"/>
                </a:cubicBezTo>
                <a:cubicBezTo>
                  <a:pt x="2432315" y="4410941"/>
                  <a:pt x="2428454" y="4411740"/>
                  <a:pt x="2424194" y="4411740"/>
                </a:cubicBezTo>
                <a:cubicBezTo>
                  <a:pt x="2415276" y="4411740"/>
                  <a:pt x="2407954" y="4408811"/>
                  <a:pt x="2402362" y="4403220"/>
                </a:cubicBezTo>
                <a:cubicBezTo>
                  <a:pt x="2396770" y="4397629"/>
                  <a:pt x="2393974" y="4390440"/>
                  <a:pt x="2393974" y="4382054"/>
                </a:cubicBezTo>
                <a:cubicBezTo>
                  <a:pt x="2393974" y="4373801"/>
                  <a:pt x="2396770" y="4366745"/>
                  <a:pt x="2402362" y="4361021"/>
                </a:cubicBezTo>
                <a:cubicBezTo>
                  <a:pt x="2407954" y="4355298"/>
                  <a:pt x="2415142" y="4352369"/>
                  <a:pt x="2424194" y="4352369"/>
                </a:cubicBezTo>
                <a:close/>
                <a:moveTo>
                  <a:pt x="2206537" y="4352369"/>
                </a:moveTo>
                <a:cubicBezTo>
                  <a:pt x="2210797" y="4352369"/>
                  <a:pt x="2214791" y="4353168"/>
                  <a:pt x="2218252" y="4355031"/>
                </a:cubicBezTo>
                <a:cubicBezTo>
                  <a:pt x="2221979" y="4356628"/>
                  <a:pt x="2225040" y="4358758"/>
                  <a:pt x="2227570" y="4361421"/>
                </a:cubicBezTo>
                <a:cubicBezTo>
                  <a:pt x="2230232" y="4363950"/>
                  <a:pt x="2232229" y="4367145"/>
                  <a:pt x="2233693" y="4370739"/>
                </a:cubicBezTo>
                <a:cubicBezTo>
                  <a:pt x="2235157" y="4374333"/>
                  <a:pt x="2235956" y="4378060"/>
                  <a:pt x="2235956" y="4382187"/>
                </a:cubicBezTo>
                <a:cubicBezTo>
                  <a:pt x="2235956" y="4386313"/>
                  <a:pt x="2235157" y="4390307"/>
                  <a:pt x="2233693" y="4393902"/>
                </a:cubicBezTo>
                <a:cubicBezTo>
                  <a:pt x="2232229" y="4397496"/>
                  <a:pt x="2230099" y="4400558"/>
                  <a:pt x="2227570" y="4403220"/>
                </a:cubicBezTo>
                <a:cubicBezTo>
                  <a:pt x="2225040" y="4405883"/>
                  <a:pt x="2221846" y="4408013"/>
                  <a:pt x="2218252" y="4409477"/>
                </a:cubicBezTo>
                <a:cubicBezTo>
                  <a:pt x="2214657" y="4410941"/>
                  <a:pt x="2210797" y="4411740"/>
                  <a:pt x="2206537" y="4411740"/>
                </a:cubicBezTo>
                <a:cubicBezTo>
                  <a:pt x="2197484" y="4411740"/>
                  <a:pt x="2190296" y="4408811"/>
                  <a:pt x="2184704" y="4403220"/>
                </a:cubicBezTo>
                <a:cubicBezTo>
                  <a:pt x="2179112" y="4397629"/>
                  <a:pt x="2176317" y="4390440"/>
                  <a:pt x="2176317" y="4382054"/>
                </a:cubicBezTo>
                <a:cubicBezTo>
                  <a:pt x="2176317" y="4373801"/>
                  <a:pt x="2179112" y="4366745"/>
                  <a:pt x="2184704" y="4361021"/>
                </a:cubicBezTo>
                <a:cubicBezTo>
                  <a:pt x="2190296" y="4355298"/>
                  <a:pt x="2197484" y="4352369"/>
                  <a:pt x="2206537" y="4352369"/>
                </a:cubicBezTo>
                <a:close/>
                <a:moveTo>
                  <a:pt x="1989012" y="4352369"/>
                </a:moveTo>
                <a:cubicBezTo>
                  <a:pt x="1993139" y="4352369"/>
                  <a:pt x="1997133" y="4353168"/>
                  <a:pt x="2000727" y="4355031"/>
                </a:cubicBezTo>
                <a:cubicBezTo>
                  <a:pt x="2004454" y="4356628"/>
                  <a:pt x="2007516" y="4358758"/>
                  <a:pt x="2010045" y="4361421"/>
                </a:cubicBezTo>
                <a:cubicBezTo>
                  <a:pt x="2012707" y="4363950"/>
                  <a:pt x="2014704" y="4367145"/>
                  <a:pt x="2016168" y="4370739"/>
                </a:cubicBezTo>
                <a:cubicBezTo>
                  <a:pt x="2017632" y="4374333"/>
                  <a:pt x="2018431" y="4378060"/>
                  <a:pt x="2018431" y="4382187"/>
                </a:cubicBezTo>
                <a:cubicBezTo>
                  <a:pt x="2018431" y="4386313"/>
                  <a:pt x="2017632" y="4390307"/>
                  <a:pt x="2016168" y="4393902"/>
                </a:cubicBezTo>
                <a:cubicBezTo>
                  <a:pt x="2014704" y="4397496"/>
                  <a:pt x="2012574" y="4400558"/>
                  <a:pt x="2010045" y="4403220"/>
                </a:cubicBezTo>
                <a:cubicBezTo>
                  <a:pt x="2007516" y="4405883"/>
                  <a:pt x="2004321" y="4408013"/>
                  <a:pt x="2000727" y="4409477"/>
                </a:cubicBezTo>
                <a:cubicBezTo>
                  <a:pt x="1997133" y="4410941"/>
                  <a:pt x="1993272" y="4411740"/>
                  <a:pt x="1989012" y="4411740"/>
                </a:cubicBezTo>
                <a:cubicBezTo>
                  <a:pt x="1979961" y="4411740"/>
                  <a:pt x="1972772" y="4408811"/>
                  <a:pt x="1967181" y="4403220"/>
                </a:cubicBezTo>
                <a:cubicBezTo>
                  <a:pt x="1961590" y="4397629"/>
                  <a:pt x="1958794" y="4390440"/>
                  <a:pt x="1958794" y="4382054"/>
                </a:cubicBezTo>
                <a:cubicBezTo>
                  <a:pt x="1958794" y="4373801"/>
                  <a:pt x="1961590" y="4366745"/>
                  <a:pt x="1967181" y="4361021"/>
                </a:cubicBezTo>
                <a:cubicBezTo>
                  <a:pt x="1972772" y="4355298"/>
                  <a:pt x="1979961" y="4352369"/>
                  <a:pt x="1989012" y="4352369"/>
                </a:cubicBezTo>
                <a:close/>
                <a:moveTo>
                  <a:pt x="1771376" y="4352369"/>
                </a:moveTo>
                <a:cubicBezTo>
                  <a:pt x="1775635" y="4352369"/>
                  <a:pt x="1779495" y="4353168"/>
                  <a:pt x="1783090" y="4355031"/>
                </a:cubicBezTo>
                <a:cubicBezTo>
                  <a:pt x="1786817" y="4356628"/>
                  <a:pt x="1789879" y="4358758"/>
                  <a:pt x="1792407" y="4361421"/>
                </a:cubicBezTo>
                <a:cubicBezTo>
                  <a:pt x="1795070" y="4363950"/>
                  <a:pt x="1797067" y="4367145"/>
                  <a:pt x="1798531" y="4370739"/>
                </a:cubicBezTo>
                <a:cubicBezTo>
                  <a:pt x="1799995" y="4374333"/>
                  <a:pt x="1800793" y="4378060"/>
                  <a:pt x="1800793" y="4382187"/>
                </a:cubicBezTo>
                <a:cubicBezTo>
                  <a:pt x="1800793" y="4386313"/>
                  <a:pt x="1799995" y="4390307"/>
                  <a:pt x="1798531" y="4393902"/>
                </a:cubicBezTo>
                <a:cubicBezTo>
                  <a:pt x="1797067" y="4397496"/>
                  <a:pt x="1794937" y="4400558"/>
                  <a:pt x="1792407" y="4403220"/>
                </a:cubicBezTo>
                <a:cubicBezTo>
                  <a:pt x="1789745" y="4405883"/>
                  <a:pt x="1786684" y="4408013"/>
                  <a:pt x="1783090" y="4409477"/>
                </a:cubicBezTo>
                <a:cubicBezTo>
                  <a:pt x="1779495" y="4410941"/>
                  <a:pt x="1775635" y="4411740"/>
                  <a:pt x="1771376" y="4411740"/>
                </a:cubicBezTo>
                <a:cubicBezTo>
                  <a:pt x="1762457" y="4411740"/>
                  <a:pt x="1755137" y="4408811"/>
                  <a:pt x="1749546" y="4403220"/>
                </a:cubicBezTo>
                <a:cubicBezTo>
                  <a:pt x="1743955" y="4397629"/>
                  <a:pt x="1741162" y="4390440"/>
                  <a:pt x="1741162" y="4382054"/>
                </a:cubicBezTo>
                <a:cubicBezTo>
                  <a:pt x="1741162" y="4373801"/>
                  <a:pt x="1743955" y="4366745"/>
                  <a:pt x="1749546" y="4361021"/>
                </a:cubicBezTo>
                <a:cubicBezTo>
                  <a:pt x="1755137" y="4355298"/>
                  <a:pt x="1762324" y="4352369"/>
                  <a:pt x="1771376" y="4352369"/>
                </a:cubicBezTo>
                <a:close/>
                <a:moveTo>
                  <a:pt x="1553737" y="4352369"/>
                </a:moveTo>
                <a:cubicBezTo>
                  <a:pt x="1557997" y="4352369"/>
                  <a:pt x="1561858" y="4353168"/>
                  <a:pt x="1565452" y="4355031"/>
                </a:cubicBezTo>
                <a:cubicBezTo>
                  <a:pt x="1569046" y="4356628"/>
                  <a:pt x="1572241" y="4358758"/>
                  <a:pt x="1574770" y="4361421"/>
                </a:cubicBezTo>
                <a:cubicBezTo>
                  <a:pt x="1577432" y="4363950"/>
                  <a:pt x="1579429" y="4367145"/>
                  <a:pt x="1580893" y="4370739"/>
                </a:cubicBezTo>
                <a:cubicBezTo>
                  <a:pt x="1582357" y="4374333"/>
                  <a:pt x="1583156" y="4378060"/>
                  <a:pt x="1583156" y="4382187"/>
                </a:cubicBezTo>
                <a:cubicBezTo>
                  <a:pt x="1583156" y="4386313"/>
                  <a:pt x="1582357" y="4390307"/>
                  <a:pt x="1580893" y="4393902"/>
                </a:cubicBezTo>
                <a:cubicBezTo>
                  <a:pt x="1579429" y="4397496"/>
                  <a:pt x="1577299" y="4400558"/>
                  <a:pt x="1574770" y="4403220"/>
                </a:cubicBezTo>
                <a:cubicBezTo>
                  <a:pt x="1572108" y="4405883"/>
                  <a:pt x="1569046" y="4408013"/>
                  <a:pt x="1565452" y="4409477"/>
                </a:cubicBezTo>
                <a:cubicBezTo>
                  <a:pt x="1561858" y="4410941"/>
                  <a:pt x="1557997" y="4411740"/>
                  <a:pt x="1553737" y="4411740"/>
                </a:cubicBezTo>
                <a:cubicBezTo>
                  <a:pt x="1544819" y="4411740"/>
                  <a:pt x="1537497" y="4408811"/>
                  <a:pt x="1531907" y="4403220"/>
                </a:cubicBezTo>
                <a:cubicBezTo>
                  <a:pt x="1526318" y="4397629"/>
                  <a:pt x="1523521" y="4390440"/>
                  <a:pt x="1523521" y="4382054"/>
                </a:cubicBezTo>
                <a:cubicBezTo>
                  <a:pt x="1523521" y="4373801"/>
                  <a:pt x="1526318" y="4366745"/>
                  <a:pt x="1531907" y="4361021"/>
                </a:cubicBezTo>
                <a:cubicBezTo>
                  <a:pt x="1537497" y="4355298"/>
                  <a:pt x="1544685" y="4352369"/>
                  <a:pt x="1553737" y="4352369"/>
                </a:cubicBezTo>
                <a:close/>
                <a:moveTo>
                  <a:pt x="1336093" y="4352369"/>
                </a:moveTo>
                <a:cubicBezTo>
                  <a:pt x="1340353" y="4352369"/>
                  <a:pt x="1344348" y="4353168"/>
                  <a:pt x="1347809" y="4355031"/>
                </a:cubicBezTo>
                <a:cubicBezTo>
                  <a:pt x="1351402" y="4356628"/>
                  <a:pt x="1354597" y="4358758"/>
                  <a:pt x="1357127" y="4361421"/>
                </a:cubicBezTo>
                <a:cubicBezTo>
                  <a:pt x="1359789" y="4363950"/>
                  <a:pt x="1361786" y="4367145"/>
                  <a:pt x="1363250" y="4370739"/>
                </a:cubicBezTo>
                <a:cubicBezTo>
                  <a:pt x="1364714" y="4374333"/>
                  <a:pt x="1365512" y="4378060"/>
                  <a:pt x="1365512" y="4382187"/>
                </a:cubicBezTo>
                <a:cubicBezTo>
                  <a:pt x="1365512" y="4386313"/>
                  <a:pt x="1364714" y="4390307"/>
                  <a:pt x="1363250" y="4393902"/>
                </a:cubicBezTo>
                <a:cubicBezTo>
                  <a:pt x="1361786" y="4397496"/>
                  <a:pt x="1359656" y="4400558"/>
                  <a:pt x="1357127" y="4403220"/>
                </a:cubicBezTo>
                <a:cubicBezTo>
                  <a:pt x="1354463" y="4405883"/>
                  <a:pt x="1351402" y="4408013"/>
                  <a:pt x="1347809" y="4409477"/>
                </a:cubicBezTo>
                <a:cubicBezTo>
                  <a:pt x="1344214" y="4410941"/>
                  <a:pt x="1340353" y="4411740"/>
                  <a:pt x="1336093" y="4411740"/>
                </a:cubicBezTo>
                <a:cubicBezTo>
                  <a:pt x="1327173" y="4411740"/>
                  <a:pt x="1319852" y="4408811"/>
                  <a:pt x="1314261" y="4403220"/>
                </a:cubicBezTo>
                <a:cubicBezTo>
                  <a:pt x="1308670" y="4397629"/>
                  <a:pt x="1305875" y="4390440"/>
                  <a:pt x="1305875" y="4382054"/>
                </a:cubicBezTo>
                <a:cubicBezTo>
                  <a:pt x="1305875" y="4373801"/>
                  <a:pt x="1308670" y="4366745"/>
                  <a:pt x="1314261" y="4361021"/>
                </a:cubicBezTo>
                <a:cubicBezTo>
                  <a:pt x="1319852" y="4355298"/>
                  <a:pt x="1327040" y="4352369"/>
                  <a:pt x="1336093" y="4352369"/>
                </a:cubicBezTo>
                <a:close/>
                <a:moveTo>
                  <a:pt x="1118448" y="4352369"/>
                </a:moveTo>
                <a:cubicBezTo>
                  <a:pt x="1122709" y="4352369"/>
                  <a:pt x="1126705" y="4353168"/>
                  <a:pt x="1130165" y="4355031"/>
                </a:cubicBezTo>
                <a:cubicBezTo>
                  <a:pt x="1133892" y="4356628"/>
                  <a:pt x="1136954" y="4358758"/>
                  <a:pt x="1139481" y="4361421"/>
                </a:cubicBezTo>
                <a:cubicBezTo>
                  <a:pt x="1142142" y="4363950"/>
                  <a:pt x="1144138" y="4367145"/>
                  <a:pt x="1145602" y="4370739"/>
                </a:cubicBezTo>
                <a:cubicBezTo>
                  <a:pt x="1147066" y="4374333"/>
                  <a:pt x="1147865" y="4378060"/>
                  <a:pt x="1147865" y="4382187"/>
                </a:cubicBezTo>
                <a:cubicBezTo>
                  <a:pt x="1147865" y="4386313"/>
                  <a:pt x="1147066" y="4390307"/>
                  <a:pt x="1145602" y="4393902"/>
                </a:cubicBezTo>
                <a:cubicBezTo>
                  <a:pt x="1144138" y="4397496"/>
                  <a:pt x="1142009" y="4400558"/>
                  <a:pt x="1139481" y="4403220"/>
                </a:cubicBezTo>
                <a:cubicBezTo>
                  <a:pt x="1136954" y="4405883"/>
                  <a:pt x="1133759" y="4408013"/>
                  <a:pt x="1130165" y="4409477"/>
                </a:cubicBezTo>
                <a:cubicBezTo>
                  <a:pt x="1126569" y="4410941"/>
                  <a:pt x="1122709" y="4411740"/>
                  <a:pt x="1118448" y="4411740"/>
                </a:cubicBezTo>
                <a:cubicBezTo>
                  <a:pt x="1109528" y="4411740"/>
                  <a:pt x="1102205" y="4408811"/>
                  <a:pt x="1096614" y="4403220"/>
                </a:cubicBezTo>
                <a:cubicBezTo>
                  <a:pt x="1091024" y="4397629"/>
                  <a:pt x="1088229" y="4390440"/>
                  <a:pt x="1088229" y="4382054"/>
                </a:cubicBezTo>
                <a:cubicBezTo>
                  <a:pt x="1088229" y="4373801"/>
                  <a:pt x="1091024" y="4366745"/>
                  <a:pt x="1096614" y="4361021"/>
                </a:cubicBezTo>
                <a:cubicBezTo>
                  <a:pt x="1102205" y="4355298"/>
                  <a:pt x="1109394" y="4352369"/>
                  <a:pt x="1118448" y="4352369"/>
                </a:cubicBezTo>
                <a:close/>
                <a:moveTo>
                  <a:pt x="900935" y="4352369"/>
                </a:moveTo>
                <a:cubicBezTo>
                  <a:pt x="905062" y="4352369"/>
                  <a:pt x="909056" y="4353168"/>
                  <a:pt x="912650" y="4355031"/>
                </a:cubicBezTo>
                <a:cubicBezTo>
                  <a:pt x="916377" y="4356628"/>
                  <a:pt x="919439" y="4358758"/>
                  <a:pt x="921968" y="4361421"/>
                </a:cubicBezTo>
                <a:cubicBezTo>
                  <a:pt x="924630" y="4363950"/>
                  <a:pt x="926627" y="4367145"/>
                  <a:pt x="928091" y="4370739"/>
                </a:cubicBezTo>
                <a:cubicBezTo>
                  <a:pt x="929555" y="4374333"/>
                  <a:pt x="930354" y="4378060"/>
                  <a:pt x="930354" y="4382187"/>
                </a:cubicBezTo>
                <a:cubicBezTo>
                  <a:pt x="930354" y="4386313"/>
                  <a:pt x="929555" y="4390307"/>
                  <a:pt x="928091" y="4393902"/>
                </a:cubicBezTo>
                <a:cubicBezTo>
                  <a:pt x="926627" y="4397496"/>
                  <a:pt x="924497" y="4400558"/>
                  <a:pt x="921968" y="4403220"/>
                </a:cubicBezTo>
                <a:cubicBezTo>
                  <a:pt x="919439" y="4405883"/>
                  <a:pt x="916244" y="4408013"/>
                  <a:pt x="912650" y="4409477"/>
                </a:cubicBezTo>
                <a:cubicBezTo>
                  <a:pt x="909056" y="4410941"/>
                  <a:pt x="905195" y="4411740"/>
                  <a:pt x="900935" y="4411740"/>
                </a:cubicBezTo>
                <a:cubicBezTo>
                  <a:pt x="892017" y="4411740"/>
                  <a:pt x="884695" y="4408811"/>
                  <a:pt x="879104" y="4403220"/>
                </a:cubicBezTo>
                <a:cubicBezTo>
                  <a:pt x="873515" y="4397629"/>
                  <a:pt x="870719" y="4390440"/>
                  <a:pt x="870719" y="4382054"/>
                </a:cubicBezTo>
                <a:cubicBezTo>
                  <a:pt x="870719" y="4373801"/>
                  <a:pt x="873515" y="4366745"/>
                  <a:pt x="879104" y="4361021"/>
                </a:cubicBezTo>
                <a:cubicBezTo>
                  <a:pt x="884695" y="4355298"/>
                  <a:pt x="891884" y="4352369"/>
                  <a:pt x="900935" y="4352369"/>
                </a:cubicBezTo>
                <a:close/>
                <a:moveTo>
                  <a:pt x="683294" y="4352369"/>
                </a:moveTo>
                <a:cubicBezTo>
                  <a:pt x="687554" y="4352369"/>
                  <a:pt x="691415" y="4353168"/>
                  <a:pt x="695009" y="4355031"/>
                </a:cubicBezTo>
                <a:cubicBezTo>
                  <a:pt x="698736" y="4356628"/>
                  <a:pt x="701798" y="4358758"/>
                  <a:pt x="704326" y="4361421"/>
                </a:cubicBezTo>
                <a:cubicBezTo>
                  <a:pt x="706988" y="4363950"/>
                  <a:pt x="708986" y="4367145"/>
                  <a:pt x="710450" y="4370739"/>
                </a:cubicBezTo>
                <a:cubicBezTo>
                  <a:pt x="711914" y="4374333"/>
                  <a:pt x="712713" y="4378060"/>
                  <a:pt x="712713" y="4382187"/>
                </a:cubicBezTo>
                <a:cubicBezTo>
                  <a:pt x="712713" y="4386313"/>
                  <a:pt x="711914" y="4390307"/>
                  <a:pt x="710450" y="4393902"/>
                </a:cubicBezTo>
                <a:cubicBezTo>
                  <a:pt x="708986" y="4397496"/>
                  <a:pt x="706856" y="4400558"/>
                  <a:pt x="704326" y="4403220"/>
                </a:cubicBezTo>
                <a:cubicBezTo>
                  <a:pt x="701798" y="4405883"/>
                  <a:pt x="698603" y="4408013"/>
                  <a:pt x="695009" y="4409477"/>
                </a:cubicBezTo>
                <a:cubicBezTo>
                  <a:pt x="691415" y="4410941"/>
                  <a:pt x="687554" y="4411740"/>
                  <a:pt x="683294" y="4411740"/>
                </a:cubicBezTo>
                <a:cubicBezTo>
                  <a:pt x="674376" y="4411740"/>
                  <a:pt x="667054" y="4408811"/>
                  <a:pt x="661462" y="4403220"/>
                </a:cubicBezTo>
                <a:cubicBezTo>
                  <a:pt x="655871" y="4397629"/>
                  <a:pt x="653077" y="4390440"/>
                  <a:pt x="653077" y="4382054"/>
                </a:cubicBezTo>
                <a:cubicBezTo>
                  <a:pt x="653077" y="4373801"/>
                  <a:pt x="655871" y="4366745"/>
                  <a:pt x="661462" y="4361021"/>
                </a:cubicBezTo>
                <a:cubicBezTo>
                  <a:pt x="667054" y="4355298"/>
                  <a:pt x="674243" y="4352369"/>
                  <a:pt x="683294" y="4352369"/>
                </a:cubicBezTo>
                <a:close/>
                <a:moveTo>
                  <a:pt x="465652" y="4352369"/>
                </a:moveTo>
                <a:cubicBezTo>
                  <a:pt x="469912" y="4352369"/>
                  <a:pt x="473772" y="4353168"/>
                  <a:pt x="477367" y="4355031"/>
                </a:cubicBezTo>
                <a:cubicBezTo>
                  <a:pt x="481094" y="4356628"/>
                  <a:pt x="484156" y="4358758"/>
                  <a:pt x="486685" y="4361421"/>
                </a:cubicBezTo>
                <a:cubicBezTo>
                  <a:pt x="489347" y="4363950"/>
                  <a:pt x="491344" y="4367145"/>
                  <a:pt x="492808" y="4370739"/>
                </a:cubicBezTo>
                <a:cubicBezTo>
                  <a:pt x="494272" y="4374333"/>
                  <a:pt x="495071" y="4378060"/>
                  <a:pt x="495071" y="4382187"/>
                </a:cubicBezTo>
                <a:cubicBezTo>
                  <a:pt x="495071" y="4386313"/>
                  <a:pt x="494272" y="4390307"/>
                  <a:pt x="492808" y="4393902"/>
                </a:cubicBezTo>
                <a:cubicBezTo>
                  <a:pt x="491344" y="4397496"/>
                  <a:pt x="489214" y="4400558"/>
                  <a:pt x="486685" y="4403220"/>
                </a:cubicBezTo>
                <a:cubicBezTo>
                  <a:pt x="484022" y="4405883"/>
                  <a:pt x="480961" y="4408013"/>
                  <a:pt x="477367" y="4409477"/>
                </a:cubicBezTo>
                <a:cubicBezTo>
                  <a:pt x="473772" y="4410941"/>
                  <a:pt x="469912" y="4411740"/>
                  <a:pt x="465652" y="4411740"/>
                </a:cubicBezTo>
                <a:cubicBezTo>
                  <a:pt x="456734" y="4411740"/>
                  <a:pt x="449412" y="4408811"/>
                  <a:pt x="443821" y="4403220"/>
                </a:cubicBezTo>
                <a:cubicBezTo>
                  <a:pt x="438230" y="4397629"/>
                  <a:pt x="435435" y="4390440"/>
                  <a:pt x="435435" y="4382054"/>
                </a:cubicBezTo>
                <a:cubicBezTo>
                  <a:pt x="435435" y="4373801"/>
                  <a:pt x="438230" y="4366745"/>
                  <a:pt x="443821" y="4361021"/>
                </a:cubicBezTo>
                <a:cubicBezTo>
                  <a:pt x="449412" y="4355298"/>
                  <a:pt x="456601" y="4352369"/>
                  <a:pt x="465652" y="4352369"/>
                </a:cubicBezTo>
                <a:close/>
                <a:moveTo>
                  <a:pt x="248010" y="4352369"/>
                </a:moveTo>
                <a:cubicBezTo>
                  <a:pt x="252269" y="4352369"/>
                  <a:pt x="256263" y="4353168"/>
                  <a:pt x="259724" y="4355031"/>
                </a:cubicBezTo>
                <a:cubicBezTo>
                  <a:pt x="263451" y="4356628"/>
                  <a:pt x="266513" y="4358758"/>
                  <a:pt x="269042" y="4361421"/>
                </a:cubicBezTo>
                <a:cubicBezTo>
                  <a:pt x="271704" y="4363950"/>
                  <a:pt x="273702" y="4367145"/>
                  <a:pt x="275166" y="4370739"/>
                </a:cubicBezTo>
                <a:cubicBezTo>
                  <a:pt x="276630" y="4374333"/>
                  <a:pt x="277429" y="4378060"/>
                  <a:pt x="277429" y="4382187"/>
                </a:cubicBezTo>
                <a:cubicBezTo>
                  <a:pt x="277429" y="4386313"/>
                  <a:pt x="276630" y="4390307"/>
                  <a:pt x="275166" y="4393902"/>
                </a:cubicBezTo>
                <a:cubicBezTo>
                  <a:pt x="273702" y="4397496"/>
                  <a:pt x="271571" y="4400558"/>
                  <a:pt x="269042" y="4403220"/>
                </a:cubicBezTo>
                <a:cubicBezTo>
                  <a:pt x="266379" y="4405883"/>
                  <a:pt x="263318" y="4408013"/>
                  <a:pt x="259724" y="4409477"/>
                </a:cubicBezTo>
                <a:cubicBezTo>
                  <a:pt x="256129" y="4410941"/>
                  <a:pt x="252269" y="4411740"/>
                  <a:pt x="248010" y="4411740"/>
                </a:cubicBezTo>
                <a:cubicBezTo>
                  <a:pt x="239092" y="4411740"/>
                  <a:pt x="231771" y="4408811"/>
                  <a:pt x="226180" y="4403220"/>
                </a:cubicBezTo>
                <a:cubicBezTo>
                  <a:pt x="220589" y="4397629"/>
                  <a:pt x="217794" y="4390440"/>
                  <a:pt x="217794" y="4382054"/>
                </a:cubicBezTo>
                <a:cubicBezTo>
                  <a:pt x="217794" y="4373801"/>
                  <a:pt x="220589" y="4366745"/>
                  <a:pt x="226180" y="4361021"/>
                </a:cubicBezTo>
                <a:cubicBezTo>
                  <a:pt x="231771" y="4355298"/>
                  <a:pt x="238958" y="4352369"/>
                  <a:pt x="248010" y="4352369"/>
                </a:cubicBezTo>
                <a:close/>
                <a:moveTo>
                  <a:pt x="30368" y="4352369"/>
                </a:moveTo>
                <a:cubicBezTo>
                  <a:pt x="34628" y="4352369"/>
                  <a:pt x="38622" y="4353168"/>
                  <a:pt x="42083" y="4355031"/>
                </a:cubicBezTo>
                <a:cubicBezTo>
                  <a:pt x="45810" y="4356628"/>
                  <a:pt x="48872" y="4358758"/>
                  <a:pt x="51401" y="4361421"/>
                </a:cubicBezTo>
                <a:cubicBezTo>
                  <a:pt x="54063" y="4363950"/>
                  <a:pt x="56060" y="4367145"/>
                  <a:pt x="57524" y="4370739"/>
                </a:cubicBezTo>
                <a:cubicBezTo>
                  <a:pt x="58988" y="4374333"/>
                  <a:pt x="59787" y="4378060"/>
                  <a:pt x="59787" y="4382187"/>
                </a:cubicBezTo>
                <a:cubicBezTo>
                  <a:pt x="59787" y="4386313"/>
                  <a:pt x="58988" y="4390307"/>
                  <a:pt x="57524" y="4393902"/>
                </a:cubicBezTo>
                <a:cubicBezTo>
                  <a:pt x="56060" y="4397496"/>
                  <a:pt x="53930" y="4400558"/>
                  <a:pt x="51401" y="4403220"/>
                </a:cubicBezTo>
                <a:cubicBezTo>
                  <a:pt x="48738" y="4405883"/>
                  <a:pt x="45677" y="4408013"/>
                  <a:pt x="42083" y="4409477"/>
                </a:cubicBezTo>
                <a:cubicBezTo>
                  <a:pt x="38489" y="4410941"/>
                  <a:pt x="34628" y="4411740"/>
                  <a:pt x="30368" y="4411740"/>
                </a:cubicBezTo>
                <a:cubicBezTo>
                  <a:pt x="21449" y="4411740"/>
                  <a:pt x="14129" y="4408811"/>
                  <a:pt x="8539" y="4403220"/>
                </a:cubicBezTo>
                <a:cubicBezTo>
                  <a:pt x="2948" y="4397629"/>
                  <a:pt x="153" y="4390440"/>
                  <a:pt x="153" y="4382054"/>
                </a:cubicBezTo>
                <a:cubicBezTo>
                  <a:pt x="153" y="4373801"/>
                  <a:pt x="2948" y="4366745"/>
                  <a:pt x="8539" y="4361021"/>
                </a:cubicBezTo>
                <a:cubicBezTo>
                  <a:pt x="14129" y="4355298"/>
                  <a:pt x="21315" y="4352369"/>
                  <a:pt x="30368" y="4352369"/>
                </a:cubicBezTo>
                <a:close/>
                <a:moveTo>
                  <a:pt x="10475977" y="4151497"/>
                </a:moveTo>
                <a:cubicBezTo>
                  <a:pt x="10470119" y="4151497"/>
                  <a:pt x="10467589" y="4153493"/>
                  <a:pt x="10465992" y="4155091"/>
                </a:cubicBezTo>
                <a:cubicBezTo>
                  <a:pt x="10463463" y="4157753"/>
                  <a:pt x="10462399" y="4160549"/>
                  <a:pt x="10462399" y="4164542"/>
                </a:cubicBezTo>
                <a:cubicBezTo>
                  <a:pt x="10462399" y="4168668"/>
                  <a:pt x="10463463" y="4171464"/>
                  <a:pt x="10465992" y="4173993"/>
                </a:cubicBezTo>
                <a:cubicBezTo>
                  <a:pt x="10467589" y="4175592"/>
                  <a:pt x="10470119" y="4177455"/>
                  <a:pt x="10475977" y="4177455"/>
                </a:cubicBezTo>
                <a:cubicBezTo>
                  <a:pt x="10478107" y="4177455"/>
                  <a:pt x="10479838" y="4177056"/>
                  <a:pt x="10481302" y="4176657"/>
                </a:cubicBezTo>
                <a:cubicBezTo>
                  <a:pt x="10482899" y="4176124"/>
                  <a:pt x="10484098" y="4175192"/>
                  <a:pt x="10485029" y="4174260"/>
                </a:cubicBezTo>
                <a:cubicBezTo>
                  <a:pt x="10486094" y="4173062"/>
                  <a:pt x="10487026" y="4171730"/>
                  <a:pt x="10487691" y="4170000"/>
                </a:cubicBezTo>
                <a:cubicBezTo>
                  <a:pt x="10488357" y="4168402"/>
                  <a:pt x="10488623" y="4166539"/>
                  <a:pt x="10488623" y="4164542"/>
                </a:cubicBezTo>
                <a:cubicBezTo>
                  <a:pt x="10488623" y="4162678"/>
                  <a:pt x="10488357" y="4160948"/>
                  <a:pt x="10487691" y="4159351"/>
                </a:cubicBezTo>
                <a:cubicBezTo>
                  <a:pt x="10487026" y="4157620"/>
                  <a:pt x="10486094" y="4156289"/>
                  <a:pt x="10485029" y="4155091"/>
                </a:cubicBezTo>
                <a:cubicBezTo>
                  <a:pt x="10483964" y="4154026"/>
                  <a:pt x="10482633" y="4153094"/>
                  <a:pt x="10481035" y="4152428"/>
                </a:cubicBezTo>
                <a:cubicBezTo>
                  <a:pt x="10479571" y="4151763"/>
                  <a:pt x="10477974" y="4151497"/>
                  <a:pt x="10475977" y="4151497"/>
                </a:cubicBezTo>
                <a:close/>
                <a:moveTo>
                  <a:pt x="10258466" y="4151497"/>
                </a:moveTo>
                <a:cubicBezTo>
                  <a:pt x="10252608" y="4151497"/>
                  <a:pt x="10250078" y="4153493"/>
                  <a:pt x="10248481" y="4155091"/>
                </a:cubicBezTo>
                <a:cubicBezTo>
                  <a:pt x="10245952" y="4157753"/>
                  <a:pt x="10244887" y="4160549"/>
                  <a:pt x="10244887" y="4164542"/>
                </a:cubicBezTo>
                <a:cubicBezTo>
                  <a:pt x="10244887" y="4168668"/>
                  <a:pt x="10245952" y="4171464"/>
                  <a:pt x="10248481" y="4173993"/>
                </a:cubicBezTo>
                <a:cubicBezTo>
                  <a:pt x="10250078" y="4175592"/>
                  <a:pt x="10252608" y="4177455"/>
                  <a:pt x="10258466" y="4177455"/>
                </a:cubicBezTo>
                <a:cubicBezTo>
                  <a:pt x="10260462" y="4177455"/>
                  <a:pt x="10262192" y="4177056"/>
                  <a:pt x="10263790" y="4176657"/>
                </a:cubicBezTo>
                <a:cubicBezTo>
                  <a:pt x="10265388" y="4176124"/>
                  <a:pt x="10266586" y="4175192"/>
                  <a:pt x="10267517" y="4174260"/>
                </a:cubicBezTo>
                <a:cubicBezTo>
                  <a:pt x="10268583" y="4173062"/>
                  <a:pt x="10269515" y="4171730"/>
                  <a:pt x="10270180" y="4170000"/>
                </a:cubicBezTo>
                <a:cubicBezTo>
                  <a:pt x="10270845" y="4168402"/>
                  <a:pt x="10271112" y="4166539"/>
                  <a:pt x="10271112" y="4164542"/>
                </a:cubicBezTo>
                <a:cubicBezTo>
                  <a:pt x="10271112" y="4162678"/>
                  <a:pt x="10270845" y="4160948"/>
                  <a:pt x="10270180" y="4159351"/>
                </a:cubicBezTo>
                <a:cubicBezTo>
                  <a:pt x="10269515" y="4157620"/>
                  <a:pt x="10268583" y="4156289"/>
                  <a:pt x="10267517" y="4155091"/>
                </a:cubicBezTo>
                <a:cubicBezTo>
                  <a:pt x="10266452" y="4154026"/>
                  <a:pt x="10265121" y="4153094"/>
                  <a:pt x="10263524" y="4152428"/>
                </a:cubicBezTo>
                <a:cubicBezTo>
                  <a:pt x="10262060" y="4151763"/>
                  <a:pt x="10260462" y="4151497"/>
                  <a:pt x="10258466" y="4151497"/>
                </a:cubicBezTo>
                <a:close/>
                <a:moveTo>
                  <a:pt x="10040820" y="4151497"/>
                </a:moveTo>
                <a:cubicBezTo>
                  <a:pt x="10034962" y="4151497"/>
                  <a:pt x="10032433" y="4153493"/>
                  <a:pt x="10030835" y="4155091"/>
                </a:cubicBezTo>
                <a:cubicBezTo>
                  <a:pt x="10028306" y="4157753"/>
                  <a:pt x="10027242" y="4160549"/>
                  <a:pt x="10027242" y="4164542"/>
                </a:cubicBezTo>
                <a:cubicBezTo>
                  <a:pt x="10027242" y="4168668"/>
                  <a:pt x="10028306" y="4171464"/>
                  <a:pt x="10030835" y="4173993"/>
                </a:cubicBezTo>
                <a:cubicBezTo>
                  <a:pt x="10032433" y="4175592"/>
                  <a:pt x="10034962" y="4177455"/>
                  <a:pt x="10040820" y="4177455"/>
                </a:cubicBezTo>
                <a:cubicBezTo>
                  <a:pt x="10042817" y="4177455"/>
                  <a:pt x="10044681" y="4177056"/>
                  <a:pt x="10046145" y="4176657"/>
                </a:cubicBezTo>
                <a:cubicBezTo>
                  <a:pt x="10047742" y="4176124"/>
                  <a:pt x="10048941" y="4175192"/>
                  <a:pt x="10049872" y="4174260"/>
                </a:cubicBezTo>
                <a:cubicBezTo>
                  <a:pt x="10050937" y="4173062"/>
                  <a:pt x="10051869" y="4171730"/>
                  <a:pt x="10052534" y="4170000"/>
                </a:cubicBezTo>
                <a:cubicBezTo>
                  <a:pt x="10053333" y="4168402"/>
                  <a:pt x="10053599" y="4166539"/>
                  <a:pt x="10053599" y="4164542"/>
                </a:cubicBezTo>
                <a:cubicBezTo>
                  <a:pt x="10053599" y="4162678"/>
                  <a:pt x="10053200" y="4160948"/>
                  <a:pt x="10052534" y="4159351"/>
                </a:cubicBezTo>
                <a:cubicBezTo>
                  <a:pt x="10051869" y="4157620"/>
                  <a:pt x="10050937" y="4156289"/>
                  <a:pt x="10049872" y="4155091"/>
                </a:cubicBezTo>
                <a:cubicBezTo>
                  <a:pt x="10048807" y="4154026"/>
                  <a:pt x="10047476" y="4153094"/>
                  <a:pt x="10045878" y="4152428"/>
                </a:cubicBezTo>
                <a:cubicBezTo>
                  <a:pt x="10044414" y="4151763"/>
                  <a:pt x="10042817" y="4151497"/>
                  <a:pt x="10040820" y="4151497"/>
                </a:cubicBezTo>
                <a:close/>
                <a:moveTo>
                  <a:pt x="9823176" y="4151497"/>
                </a:moveTo>
                <a:cubicBezTo>
                  <a:pt x="9817318" y="4151497"/>
                  <a:pt x="9814788" y="4153493"/>
                  <a:pt x="9813191" y="4155091"/>
                </a:cubicBezTo>
                <a:cubicBezTo>
                  <a:pt x="9810662" y="4157753"/>
                  <a:pt x="9809597" y="4160549"/>
                  <a:pt x="9809597" y="4164542"/>
                </a:cubicBezTo>
                <a:cubicBezTo>
                  <a:pt x="9809597" y="4168668"/>
                  <a:pt x="9810662" y="4171464"/>
                  <a:pt x="9813191" y="4173993"/>
                </a:cubicBezTo>
                <a:cubicBezTo>
                  <a:pt x="9814788" y="4175592"/>
                  <a:pt x="9817318" y="4177455"/>
                  <a:pt x="9823176" y="4177455"/>
                </a:cubicBezTo>
                <a:cubicBezTo>
                  <a:pt x="9825173" y="4177455"/>
                  <a:pt x="9827036" y="4177056"/>
                  <a:pt x="9828501" y="4176657"/>
                </a:cubicBezTo>
                <a:cubicBezTo>
                  <a:pt x="9830098" y="4176124"/>
                  <a:pt x="9831296" y="4175192"/>
                  <a:pt x="9832227" y="4174260"/>
                </a:cubicBezTo>
                <a:cubicBezTo>
                  <a:pt x="9833293" y="4173062"/>
                  <a:pt x="9834225" y="4171730"/>
                  <a:pt x="9834890" y="4170000"/>
                </a:cubicBezTo>
                <a:cubicBezTo>
                  <a:pt x="9835689" y="4168402"/>
                  <a:pt x="9835955" y="4166539"/>
                  <a:pt x="9835955" y="4164542"/>
                </a:cubicBezTo>
                <a:cubicBezTo>
                  <a:pt x="9835955" y="4162678"/>
                  <a:pt x="9835555" y="4160948"/>
                  <a:pt x="9834890" y="4159351"/>
                </a:cubicBezTo>
                <a:cubicBezTo>
                  <a:pt x="9834225" y="4157620"/>
                  <a:pt x="9833293" y="4156289"/>
                  <a:pt x="9832227" y="4155091"/>
                </a:cubicBezTo>
                <a:cubicBezTo>
                  <a:pt x="9831162" y="4154026"/>
                  <a:pt x="9829831" y="4153094"/>
                  <a:pt x="9828234" y="4152428"/>
                </a:cubicBezTo>
                <a:cubicBezTo>
                  <a:pt x="9826770" y="4151763"/>
                  <a:pt x="9825173" y="4151497"/>
                  <a:pt x="9823176" y="4151497"/>
                </a:cubicBezTo>
                <a:close/>
                <a:moveTo>
                  <a:pt x="9605531" y="4151497"/>
                </a:moveTo>
                <a:cubicBezTo>
                  <a:pt x="9599673" y="4151497"/>
                  <a:pt x="9597143" y="4153493"/>
                  <a:pt x="9595546" y="4155091"/>
                </a:cubicBezTo>
                <a:cubicBezTo>
                  <a:pt x="9593017" y="4157753"/>
                  <a:pt x="9591952" y="4160549"/>
                  <a:pt x="9591952" y="4164542"/>
                </a:cubicBezTo>
                <a:cubicBezTo>
                  <a:pt x="9591952" y="4168668"/>
                  <a:pt x="9593017" y="4171464"/>
                  <a:pt x="9595546" y="4173993"/>
                </a:cubicBezTo>
                <a:cubicBezTo>
                  <a:pt x="9597143" y="4175592"/>
                  <a:pt x="9599673" y="4177455"/>
                  <a:pt x="9605531" y="4177455"/>
                </a:cubicBezTo>
                <a:cubicBezTo>
                  <a:pt x="9607660" y="4177455"/>
                  <a:pt x="9609391" y="4177056"/>
                  <a:pt x="9610855" y="4176657"/>
                </a:cubicBezTo>
                <a:cubicBezTo>
                  <a:pt x="9612319" y="4176124"/>
                  <a:pt x="9613651" y="4175192"/>
                  <a:pt x="9614582" y="4174260"/>
                </a:cubicBezTo>
                <a:cubicBezTo>
                  <a:pt x="9615647" y="4173062"/>
                  <a:pt x="9616579" y="4171730"/>
                  <a:pt x="9617245" y="4170000"/>
                </a:cubicBezTo>
                <a:cubicBezTo>
                  <a:pt x="9618044" y="4168402"/>
                  <a:pt x="9618309" y="4166539"/>
                  <a:pt x="9618309" y="4164542"/>
                </a:cubicBezTo>
                <a:cubicBezTo>
                  <a:pt x="9618309" y="4162678"/>
                  <a:pt x="9617910" y="4160948"/>
                  <a:pt x="9617245" y="4159351"/>
                </a:cubicBezTo>
                <a:cubicBezTo>
                  <a:pt x="9616579" y="4157620"/>
                  <a:pt x="9615647" y="4156289"/>
                  <a:pt x="9614582" y="4155091"/>
                </a:cubicBezTo>
                <a:cubicBezTo>
                  <a:pt x="9613517" y="4154026"/>
                  <a:pt x="9612186" y="4153094"/>
                  <a:pt x="9610589" y="4152428"/>
                </a:cubicBezTo>
                <a:cubicBezTo>
                  <a:pt x="9609124" y="4151763"/>
                  <a:pt x="9607394" y="4151497"/>
                  <a:pt x="9605531" y="4151497"/>
                </a:cubicBezTo>
                <a:close/>
                <a:moveTo>
                  <a:pt x="9387885" y="4151497"/>
                </a:moveTo>
                <a:cubicBezTo>
                  <a:pt x="9382027" y="4151497"/>
                  <a:pt x="9379497" y="4153493"/>
                  <a:pt x="9377900" y="4155091"/>
                </a:cubicBezTo>
                <a:cubicBezTo>
                  <a:pt x="9375371" y="4157753"/>
                  <a:pt x="9374307" y="4160549"/>
                  <a:pt x="9374307" y="4164542"/>
                </a:cubicBezTo>
                <a:cubicBezTo>
                  <a:pt x="9374307" y="4168668"/>
                  <a:pt x="9375371" y="4171464"/>
                  <a:pt x="9377900" y="4173993"/>
                </a:cubicBezTo>
                <a:cubicBezTo>
                  <a:pt x="9379497" y="4175592"/>
                  <a:pt x="9382027" y="4177455"/>
                  <a:pt x="9387885" y="4177455"/>
                </a:cubicBezTo>
                <a:cubicBezTo>
                  <a:pt x="9390015" y="4177455"/>
                  <a:pt x="9391746" y="4177056"/>
                  <a:pt x="9393210" y="4176657"/>
                </a:cubicBezTo>
                <a:cubicBezTo>
                  <a:pt x="9394674" y="4176124"/>
                  <a:pt x="9396005" y="4175192"/>
                  <a:pt x="9396937" y="4174260"/>
                </a:cubicBezTo>
                <a:cubicBezTo>
                  <a:pt x="9398002" y="4173062"/>
                  <a:pt x="9398934" y="4171730"/>
                  <a:pt x="9399599" y="4170000"/>
                </a:cubicBezTo>
                <a:cubicBezTo>
                  <a:pt x="9400398" y="4168402"/>
                  <a:pt x="9400664" y="4166539"/>
                  <a:pt x="9400664" y="4164542"/>
                </a:cubicBezTo>
                <a:cubicBezTo>
                  <a:pt x="9400664" y="4162678"/>
                  <a:pt x="9400265" y="4160948"/>
                  <a:pt x="9399599" y="4159351"/>
                </a:cubicBezTo>
                <a:cubicBezTo>
                  <a:pt x="9398934" y="4157620"/>
                  <a:pt x="9398002" y="4156289"/>
                  <a:pt x="9396937" y="4155091"/>
                </a:cubicBezTo>
                <a:cubicBezTo>
                  <a:pt x="9395872" y="4154026"/>
                  <a:pt x="9394541" y="4153094"/>
                  <a:pt x="9392943" y="4152428"/>
                </a:cubicBezTo>
                <a:cubicBezTo>
                  <a:pt x="9391479" y="4151763"/>
                  <a:pt x="9389749" y="4151497"/>
                  <a:pt x="9387885" y="4151497"/>
                </a:cubicBezTo>
                <a:close/>
                <a:moveTo>
                  <a:pt x="9170374" y="4151497"/>
                </a:moveTo>
                <a:cubicBezTo>
                  <a:pt x="9164649" y="4151497"/>
                  <a:pt x="9161986" y="4153493"/>
                  <a:pt x="9160389" y="4155091"/>
                </a:cubicBezTo>
                <a:cubicBezTo>
                  <a:pt x="9157860" y="4157753"/>
                  <a:pt x="9156795" y="4160549"/>
                  <a:pt x="9156795" y="4164542"/>
                </a:cubicBezTo>
                <a:cubicBezTo>
                  <a:pt x="9156795" y="4168668"/>
                  <a:pt x="9157860" y="4171464"/>
                  <a:pt x="9160389" y="4173993"/>
                </a:cubicBezTo>
                <a:cubicBezTo>
                  <a:pt x="9161986" y="4175592"/>
                  <a:pt x="9164516" y="4177455"/>
                  <a:pt x="9170374" y="4177455"/>
                </a:cubicBezTo>
                <a:cubicBezTo>
                  <a:pt x="9172370" y="4177455"/>
                  <a:pt x="9174100" y="4177056"/>
                  <a:pt x="9175698" y="4176657"/>
                </a:cubicBezTo>
                <a:cubicBezTo>
                  <a:pt x="9177163" y="4176124"/>
                  <a:pt x="9178494" y="4175192"/>
                  <a:pt x="9179425" y="4174260"/>
                </a:cubicBezTo>
                <a:cubicBezTo>
                  <a:pt x="9180491" y="4173062"/>
                  <a:pt x="9181422" y="4171730"/>
                  <a:pt x="9182088" y="4170000"/>
                </a:cubicBezTo>
                <a:cubicBezTo>
                  <a:pt x="9182887" y="4168402"/>
                  <a:pt x="9183152" y="4166539"/>
                  <a:pt x="9183152" y="4164542"/>
                </a:cubicBezTo>
                <a:cubicBezTo>
                  <a:pt x="9183152" y="4162678"/>
                  <a:pt x="9182753" y="4160948"/>
                  <a:pt x="9182088" y="4159351"/>
                </a:cubicBezTo>
                <a:cubicBezTo>
                  <a:pt x="9181422" y="4157620"/>
                  <a:pt x="9180491" y="4156289"/>
                  <a:pt x="9179425" y="4155091"/>
                </a:cubicBezTo>
                <a:cubicBezTo>
                  <a:pt x="9178360" y="4154026"/>
                  <a:pt x="9177029" y="4153094"/>
                  <a:pt x="9175432" y="4152428"/>
                </a:cubicBezTo>
                <a:cubicBezTo>
                  <a:pt x="9173967" y="4151763"/>
                  <a:pt x="9172237" y="4151497"/>
                  <a:pt x="9170374" y="4151497"/>
                </a:cubicBezTo>
                <a:close/>
                <a:moveTo>
                  <a:pt x="8952728" y="4151497"/>
                </a:moveTo>
                <a:cubicBezTo>
                  <a:pt x="8947003" y="4151497"/>
                  <a:pt x="8944340" y="4153493"/>
                  <a:pt x="8942743" y="4155091"/>
                </a:cubicBezTo>
                <a:cubicBezTo>
                  <a:pt x="8940214" y="4157753"/>
                  <a:pt x="8939150" y="4160549"/>
                  <a:pt x="8939150" y="4164542"/>
                </a:cubicBezTo>
                <a:cubicBezTo>
                  <a:pt x="8939150" y="4168668"/>
                  <a:pt x="8940214" y="4171464"/>
                  <a:pt x="8942743" y="4173993"/>
                </a:cubicBezTo>
                <a:cubicBezTo>
                  <a:pt x="8944340" y="4175592"/>
                  <a:pt x="8946870" y="4177455"/>
                  <a:pt x="8952728" y="4177455"/>
                </a:cubicBezTo>
                <a:cubicBezTo>
                  <a:pt x="8954725" y="4177455"/>
                  <a:pt x="8956589" y="4177056"/>
                  <a:pt x="8958053" y="4176657"/>
                </a:cubicBezTo>
                <a:cubicBezTo>
                  <a:pt x="8959517" y="4176124"/>
                  <a:pt x="8960849" y="4175192"/>
                  <a:pt x="8961780" y="4174260"/>
                </a:cubicBezTo>
                <a:cubicBezTo>
                  <a:pt x="8962845" y="4173062"/>
                  <a:pt x="8963777" y="4171730"/>
                  <a:pt x="8964442" y="4170000"/>
                </a:cubicBezTo>
                <a:cubicBezTo>
                  <a:pt x="8965241" y="4168402"/>
                  <a:pt x="8965507" y="4166539"/>
                  <a:pt x="8965507" y="4164542"/>
                </a:cubicBezTo>
                <a:cubicBezTo>
                  <a:pt x="8965507" y="4162678"/>
                  <a:pt x="8965108" y="4160948"/>
                  <a:pt x="8964442" y="4159351"/>
                </a:cubicBezTo>
                <a:cubicBezTo>
                  <a:pt x="8963777" y="4157620"/>
                  <a:pt x="8962845" y="4156289"/>
                  <a:pt x="8961780" y="4155091"/>
                </a:cubicBezTo>
                <a:cubicBezTo>
                  <a:pt x="8960715" y="4154026"/>
                  <a:pt x="8959384" y="4153094"/>
                  <a:pt x="8957786" y="4152428"/>
                </a:cubicBezTo>
                <a:cubicBezTo>
                  <a:pt x="8956322" y="4151763"/>
                  <a:pt x="8954592" y="4151497"/>
                  <a:pt x="8952728" y="4151497"/>
                </a:cubicBezTo>
                <a:close/>
                <a:moveTo>
                  <a:pt x="8735083" y="4151497"/>
                </a:moveTo>
                <a:cubicBezTo>
                  <a:pt x="8729358" y="4151497"/>
                  <a:pt x="8726695" y="4153493"/>
                  <a:pt x="8725098" y="4155091"/>
                </a:cubicBezTo>
                <a:cubicBezTo>
                  <a:pt x="8722569" y="4157753"/>
                  <a:pt x="8721504" y="4160549"/>
                  <a:pt x="8721504" y="4164542"/>
                </a:cubicBezTo>
                <a:cubicBezTo>
                  <a:pt x="8721504" y="4168668"/>
                  <a:pt x="8722569" y="4171464"/>
                  <a:pt x="8725098" y="4173993"/>
                </a:cubicBezTo>
                <a:cubicBezTo>
                  <a:pt x="8726695" y="4175592"/>
                  <a:pt x="8729225" y="4177455"/>
                  <a:pt x="8735083" y="4177455"/>
                </a:cubicBezTo>
                <a:cubicBezTo>
                  <a:pt x="8737079" y="4177455"/>
                  <a:pt x="8738943" y="4177056"/>
                  <a:pt x="8740407" y="4176657"/>
                </a:cubicBezTo>
                <a:cubicBezTo>
                  <a:pt x="8741872" y="4176124"/>
                  <a:pt x="8743203" y="4175192"/>
                  <a:pt x="8744134" y="4174260"/>
                </a:cubicBezTo>
                <a:cubicBezTo>
                  <a:pt x="8745200" y="4173062"/>
                  <a:pt x="8746132" y="4171730"/>
                  <a:pt x="8746797" y="4170000"/>
                </a:cubicBezTo>
                <a:cubicBezTo>
                  <a:pt x="8747596" y="4168402"/>
                  <a:pt x="8747862" y="4166539"/>
                  <a:pt x="8747862" y="4164542"/>
                </a:cubicBezTo>
                <a:cubicBezTo>
                  <a:pt x="8747862" y="4162678"/>
                  <a:pt x="8747462" y="4160948"/>
                  <a:pt x="8746797" y="4159351"/>
                </a:cubicBezTo>
                <a:cubicBezTo>
                  <a:pt x="8746132" y="4157620"/>
                  <a:pt x="8745200" y="4156289"/>
                  <a:pt x="8744134" y="4155091"/>
                </a:cubicBezTo>
                <a:cubicBezTo>
                  <a:pt x="8743069" y="4154026"/>
                  <a:pt x="8741738" y="4153094"/>
                  <a:pt x="8740141" y="4152428"/>
                </a:cubicBezTo>
                <a:cubicBezTo>
                  <a:pt x="8738677" y="4151763"/>
                  <a:pt x="8736946" y="4151497"/>
                  <a:pt x="8735083" y="4151497"/>
                </a:cubicBezTo>
                <a:close/>
                <a:moveTo>
                  <a:pt x="8517438" y="4151497"/>
                </a:moveTo>
                <a:cubicBezTo>
                  <a:pt x="8511713" y="4151497"/>
                  <a:pt x="8509051" y="4153493"/>
                  <a:pt x="8507453" y="4155091"/>
                </a:cubicBezTo>
                <a:cubicBezTo>
                  <a:pt x="8504925" y="4157753"/>
                  <a:pt x="8503860" y="4160549"/>
                  <a:pt x="8503860" y="4164542"/>
                </a:cubicBezTo>
                <a:cubicBezTo>
                  <a:pt x="8503860" y="4168668"/>
                  <a:pt x="8504925" y="4171464"/>
                  <a:pt x="8507453" y="4173993"/>
                </a:cubicBezTo>
                <a:cubicBezTo>
                  <a:pt x="8509051" y="4175592"/>
                  <a:pt x="8511581" y="4177455"/>
                  <a:pt x="8517438" y="4177455"/>
                </a:cubicBezTo>
                <a:cubicBezTo>
                  <a:pt x="8519568" y="4177455"/>
                  <a:pt x="8521299" y="4177056"/>
                  <a:pt x="8522763" y="4176657"/>
                </a:cubicBezTo>
                <a:cubicBezTo>
                  <a:pt x="8524227" y="4176124"/>
                  <a:pt x="8525559" y="4175192"/>
                  <a:pt x="8526490" y="4174260"/>
                </a:cubicBezTo>
                <a:cubicBezTo>
                  <a:pt x="8527555" y="4173062"/>
                  <a:pt x="8528487" y="4171730"/>
                  <a:pt x="8529152" y="4170000"/>
                </a:cubicBezTo>
                <a:cubicBezTo>
                  <a:pt x="8529818" y="4168402"/>
                  <a:pt x="8530084" y="4166539"/>
                  <a:pt x="8530084" y="4164542"/>
                </a:cubicBezTo>
                <a:cubicBezTo>
                  <a:pt x="8530084" y="4162678"/>
                  <a:pt x="8529818" y="4160948"/>
                  <a:pt x="8529152" y="4159351"/>
                </a:cubicBezTo>
                <a:cubicBezTo>
                  <a:pt x="8528487" y="4157620"/>
                  <a:pt x="8527555" y="4156289"/>
                  <a:pt x="8526490" y="4155091"/>
                </a:cubicBezTo>
                <a:cubicBezTo>
                  <a:pt x="8525425" y="4154026"/>
                  <a:pt x="8524094" y="4153094"/>
                  <a:pt x="8522496" y="4152428"/>
                </a:cubicBezTo>
                <a:cubicBezTo>
                  <a:pt x="8521032" y="4151763"/>
                  <a:pt x="8519302" y="4151497"/>
                  <a:pt x="8517438" y="4151497"/>
                </a:cubicBezTo>
                <a:close/>
                <a:moveTo>
                  <a:pt x="8299793" y="4151497"/>
                </a:moveTo>
                <a:cubicBezTo>
                  <a:pt x="8294068" y="4151497"/>
                  <a:pt x="8291406" y="4153493"/>
                  <a:pt x="8289809" y="4155091"/>
                </a:cubicBezTo>
                <a:cubicBezTo>
                  <a:pt x="8287280" y="4157753"/>
                  <a:pt x="8286215" y="4160549"/>
                  <a:pt x="8286215" y="4164542"/>
                </a:cubicBezTo>
                <a:cubicBezTo>
                  <a:pt x="8286215" y="4168668"/>
                  <a:pt x="8287280" y="4171464"/>
                  <a:pt x="8289809" y="4173993"/>
                </a:cubicBezTo>
                <a:cubicBezTo>
                  <a:pt x="8291406" y="4175592"/>
                  <a:pt x="8293935" y="4177455"/>
                  <a:pt x="8299793" y="4177455"/>
                </a:cubicBezTo>
                <a:cubicBezTo>
                  <a:pt x="8301923" y="4177455"/>
                  <a:pt x="8303653" y="4177056"/>
                  <a:pt x="8305118" y="4176657"/>
                </a:cubicBezTo>
                <a:cubicBezTo>
                  <a:pt x="8306582" y="4176124"/>
                  <a:pt x="8307913" y="4175192"/>
                  <a:pt x="8308844" y="4174260"/>
                </a:cubicBezTo>
                <a:cubicBezTo>
                  <a:pt x="8309910" y="4173062"/>
                  <a:pt x="8310842" y="4171730"/>
                  <a:pt x="8311507" y="4170000"/>
                </a:cubicBezTo>
                <a:cubicBezTo>
                  <a:pt x="8312172" y="4168402"/>
                  <a:pt x="8312439" y="4166539"/>
                  <a:pt x="8312439" y="4164542"/>
                </a:cubicBezTo>
                <a:cubicBezTo>
                  <a:pt x="8312439" y="4162678"/>
                  <a:pt x="8312172" y="4160948"/>
                  <a:pt x="8311507" y="4159351"/>
                </a:cubicBezTo>
                <a:cubicBezTo>
                  <a:pt x="8310842" y="4157620"/>
                  <a:pt x="8309910" y="4156289"/>
                  <a:pt x="8308844" y="4155091"/>
                </a:cubicBezTo>
                <a:cubicBezTo>
                  <a:pt x="8307779" y="4154026"/>
                  <a:pt x="8306448" y="4153094"/>
                  <a:pt x="8304851" y="4152428"/>
                </a:cubicBezTo>
                <a:cubicBezTo>
                  <a:pt x="8303387" y="4151763"/>
                  <a:pt x="8301790" y="4151497"/>
                  <a:pt x="8299793" y="4151497"/>
                </a:cubicBezTo>
                <a:close/>
                <a:moveTo>
                  <a:pt x="8082281" y="4151497"/>
                </a:moveTo>
                <a:cubicBezTo>
                  <a:pt x="8076424" y="4151497"/>
                  <a:pt x="8073894" y="4153493"/>
                  <a:pt x="8072297" y="4155091"/>
                </a:cubicBezTo>
                <a:cubicBezTo>
                  <a:pt x="8069768" y="4157753"/>
                  <a:pt x="8068703" y="4160549"/>
                  <a:pt x="8068703" y="4164542"/>
                </a:cubicBezTo>
                <a:cubicBezTo>
                  <a:pt x="8068703" y="4168668"/>
                  <a:pt x="8069768" y="4171464"/>
                  <a:pt x="8072297" y="4173993"/>
                </a:cubicBezTo>
                <a:cubicBezTo>
                  <a:pt x="8073894" y="4175592"/>
                  <a:pt x="8076424" y="4177455"/>
                  <a:pt x="8082281" y="4177455"/>
                </a:cubicBezTo>
                <a:cubicBezTo>
                  <a:pt x="8084277" y="4177455"/>
                  <a:pt x="8086007" y="4177056"/>
                  <a:pt x="8087605" y="4176657"/>
                </a:cubicBezTo>
                <a:cubicBezTo>
                  <a:pt x="8089069" y="4176124"/>
                  <a:pt x="8090401" y="4175192"/>
                  <a:pt x="8091332" y="4174260"/>
                </a:cubicBezTo>
                <a:cubicBezTo>
                  <a:pt x="8092397" y="4173062"/>
                  <a:pt x="8093329" y="4171730"/>
                  <a:pt x="8093994" y="4170000"/>
                </a:cubicBezTo>
                <a:cubicBezTo>
                  <a:pt x="8094660" y="4168402"/>
                  <a:pt x="8094926" y="4166539"/>
                  <a:pt x="8094926" y="4164542"/>
                </a:cubicBezTo>
                <a:cubicBezTo>
                  <a:pt x="8094926" y="4162678"/>
                  <a:pt x="8094660" y="4160948"/>
                  <a:pt x="8093994" y="4159351"/>
                </a:cubicBezTo>
                <a:cubicBezTo>
                  <a:pt x="8093329" y="4157620"/>
                  <a:pt x="8092397" y="4156289"/>
                  <a:pt x="8091332" y="4155091"/>
                </a:cubicBezTo>
                <a:cubicBezTo>
                  <a:pt x="8090267" y="4154026"/>
                  <a:pt x="8088936" y="4153094"/>
                  <a:pt x="8087338" y="4152428"/>
                </a:cubicBezTo>
                <a:cubicBezTo>
                  <a:pt x="8085874" y="4151763"/>
                  <a:pt x="8084277" y="4151497"/>
                  <a:pt x="8082281" y="4151497"/>
                </a:cubicBezTo>
                <a:close/>
                <a:moveTo>
                  <a:pt x="7864636" y="4151497"/>
                </a:moveTo>
                <a:cubicBezTo>
                  <a:pt x="7858779" y="4151497"/>
                  <a:pt x="7856249" y="4153493"/>
                  <a:pt x="7854652" y="4155091"/>
                </a:cubicBezTo>
                <a:cubicBezTo>
                  <a:pt x="7852123" y="4157753"/>
                  <a:pt x="7851058" y="4160549"/>
                  <a:pt x="7851058" y="4164542"/>
                </a:cubicBezTo>
                <a:cubicBezTo>
                  <a:pt x="7851058" y="4168668"/>
                  <a:pt x="7852123" y="4171464"/>
                  <a:pt x="7854652" y="4173993"/>
                </a:cubicBezTo>
                <a:cubicBezTo>
                  <a:pt x="7856249" y="4175592"/>
                  <a:pt x="7858779" y="4177455"/>
                  <a:pt x="7864636" y="4177455"/>
                </a:cubicBezTo>
                <a:cubicBezTo>
                  <a:pt x="7866633" y="4177455"/>
                  <a:pt x="7868363" y="4177056"/>
                  <a:pt x="7869961" y="4176657"/>
                </a:cubicBezTo>
                <a:cubicBezTo>
                  <a:pt x="7871425" y="4176124"/>
                  <a:pt x="7872756" y="4175192"/>
                  <a:pt x="7873687" y="4174260"/>
                </a:cubicBezTo>
                <a:cubicBezTo>
                  <a:pt x="7874753" y="4173062"/>
                  <a:pt x="7875685" y="4171730"/>
                  <a:pt x="7876350" y="4170000"/>
                </a:cubicBezTo>
                <a:cubicBezTo>
                  <a:pt x="7877015" y="4168402"/>
                  <a:pt x="7877282" y="4166539"/>
                  <a:pt x="7877282" y="4164542"/>
                </a:cubicBezTo>
                <a:cubicBezTo>
                  <a:pt x="7877282" y="4162678"/>
                  <a:pt x="7877015" y="4160948"/>
                  <a:pt x="7876350" y="4159351"/>
                </a:cubicBezTo>
                <a:cubicBezTo>
                  <a:pt x="7875685" y="4157620"/>
                  <a:pt x="7874753" y="4156289"/>
                  <a:pt x="7873687" y="4155091"/>
                </a:cubicBezTo>
                <a:cubicBezTo>
                  <a:pt x="7872623" y="4154026"/>
                  <a:pt x="7871291" y="4153094"/>
                  <a:pt x="7869694" y="4152428"/>
                </a:cubicBezTo>
                <a:cubicBezTo>
                  <a:pt x="7868230" y="4151763"/>
                  <a:pt x="7866633" y="4151497"/>
                  <a:pt x="7864636" y="4151497"/>
                </a:cubicBezTo>
                <a:close/>
                <a:moveTo>
                  <a:pt x="7646991" y="4151497"/>
                </a:moveTo>
                <a:cubicBezTo>
                  <a:pt x="7641134" y="4151497"/>
                  <a:pt x="7638604" y="4153493"/>
                  <a:pt x="7637007" y="4155091"/>
                </a:cubicBezTo>
                <a:cubicBezTo>
                  <a:pt x="7634478" y="4157753"/>
                  <a:pt x="7633413" y="4160549"/>
                  <a:pt x="7633413" y="4164542"/>
                </a:cubicBezTo>
                <a:cubicBezTo>
                  <a:pt x="7633413" y="4168668"/>
                  <a:pt x="7634478" y="4171464"/>
                  <a:pt x="7637007" y="4173993"/>
                </a:cubicBezTo>
                <a:cubicBezTo>
                  <a:pt x="7638604" y="4175592"/>
                  <a:pt x="7641134" y="4177455"/>
                  <a:pt x="7646991" y="4177455"/>
                </a:cubicBezTo>
                <a:cubicBezTo>
                  <a:pt x="7648987" y="4177455"/>
                  <a:pt x="7650851" y="4177056"/>
                  <a:pt x="7652315" y="4176657"/>
                </a:cubicBezTo>
                <a:cubicBezTo>
                  <a:pt x="7653780" y="4176124"/>
                  <a:pt x="7655111" y="4175192"/>
                  <a:pt x="7656042" y="4174260"/>
                </a:cubicBezTo>
                <a:cubicBezTo>
                  <a:pt x="7657108" y="4173062"/>
                  <a:pt x="7658039" y="4171730"/>
                  <a:pt x="7658705" y="4170000"/>
                </a:cubicBezTo>
                <a:cubicBezTo>
                  <a:pt x="7659504" y="4168402"/>
                  <a:pt x="7659769" y="4166539"/>
                  <a:pt x="7659769" y="4164542"/>
                </a:cubicBezTo>
                <a:cubicBezTo>
                  <a:pt x="7659769" y="4162678"/>
                  <a:pt x="7659370" y="4160948"/>
                  <a:pt x="7658705" y="4159351"/>
                </a:cubicBezTo>
                <a:cubicBezTo>
                  <a:pt x="7658039" y="4157620"/>
                  <a:pt x="7657108" y="4156289"/>
                  <a:pt x="7656042" y="4155091"/>
                </a:cubicBezTo>
                <a:cubicBezTo>
                  <a:pt x="7654977" y="4154026"/>
                  <a:pt x="7653646" y="4153094"/>
                  <a:pt x="7652049" y="4152428"/>
                </a:cubicBezTo>
                <a:cubicBezTo>
                  <a:pt x="7650584" y="4151763"/>
                  <a:pt x="7648987" y="4151497"/>
                  <a:pt x="7646991" y="4151497"/>
                </a:cubicBezTo>
                <a:close/>
                <a:moveTo>
                  <a:pt x="7429345" y="4151497"/>
                </a:moveTo>
                <a:cubicBezTo>
                  <a:pt x="7423488" y="4151497"/>
                  <a:pt x="7420958" y="4153493"/>
                  <a:pt x="7419361" y="4155091"/>
                </a:cubicBezTo>
                <a:cubicBezTo>
                  <a:pt x="7416832" y="4157753"/>
                  <a:pt x="7415768" y="4160549"/>
                  <a:pt x="7415768" y="4164542"/>
                </a:cubicBezTo>
                <a:cubicBezTo>
                  <a:pt x="7415768" y="4168668"/>
                  <a:pt x="7416832" y="4171464"/>
                  <a:pt x="7419361" y="4173993"/>
                </a:cubicBezTo>
                <a:cubicBezTo>
                  <a:pt x="7420958" y="4175592"/>
                  <a:pt x="7423488" y="4177455"/>
                  <a:pt x="7429345" y="4177455"/>
                </a:cubicBezTo>
                <a:cubicBezTo>
                  <a:pt x="7431342" y="4177455"/>
                  <a:pt x="7433206" y="4177056"/>
                  <a:pt x="7434670" y="4176657"/>
                </a:cubicBezTo>
                <a:cubicBezTo>
                  <a:pt x="7436134" y="4176124"/>
                  <a:pt x="7437466" y="4175192"/>
                  <a:pt x="7438397" y="4174260"/>
                </a:cubicBezTo>
                <a:cubicBezTo>
                  <a:pt x="7439462" y="4173062"/>
                  <a:pt x="7440394" y="4171730"/>
                  <a:pt x="7441059" y="4170000"/>
                </a:cubicBezTo>
                <a:cubicBezTo>
                  <a:pt x="7441858" y="4168402"/>
                  <a:pt x="7442124" y="4166539"/>
                  <a:pt x="7442124" y="4164542"/>
                </a:cubicBezTo>
                <a:cubicBezTo>
                  <a:pt x="7442124" y="4162678"/>
                  <a:pt x="7441725" y="4160948"/>
                  <a:pt x="7441059" y="4159351"/>
                </a:cubicBezTo>
                <a:cubicBezTo>
                  <a:pt x="7440394" y="4157620"/>
                  <a:pt x="7439462" y="4156289"/>
                  <a:pt x="7438397" y="4155091"/>
                </a:cubicBezTo>
                <a:cubicBezTo>
                  <a:pt x="7437332" y="4154026"/>
                  <a:pt x="7436001" y="4153094"/>
                  <a:pt x="7434403" y="4152428"/>
                </a:cubicBezTo>
                <a:cubicBezTo>
                  <a:pt x="7432939" y="4151763"/>
                  <a:pt x="7431342" y="4151497"/>
                  <a:pt x="7429345" y="4151497"/>
                </a:cubicBezTo>
                <a:close/>
                <a:moveTo>
                  <a:pt x="7211701" y="4151497"/>
                </a:moveTo>
                <a:cubicBezTo>
                  <a:pt x="7205844" y="4151497"/>
                  <a:pt x="7203314" y="4153493"/>
                  <a:pt x="7201717" y="4155091"/>
                </a:cubicBezTo>
                <a:cubicBezTo>
                  <a:pt x="7199188" y="4157753"/>
                  <a:pt x="7198123" y="4160549"/>
                  <a:pt x="7198123" y="4164542"/>
                </a:cubicBezTo>
                <a:cubicBezTo>
                  <a:pt x="7198123" y="4168668"/>
                  <a:pt x="7199188" y="4171464"/>
                  <a:pt x="7201717" y="4173993"/>
                </a:cubicBezTo>
                <a:cubicBezTo>
                  <a:pt x="7203314" y="4175592"/>
                  <a:pt x="7205844" y="4177455"/>
                  <a:pt x="7211701" y="4177455"/>
                </a:cubicBezTo>
                <a:cubicBezTo>
                  <a:pt x="7213830" y="4177455"/>
                  <a:pt x="7215561" y="4177056"/>
                  <a:pt x="7217026" y="4176657"/>
                </a:cubicBezTo>
                <a:cubicBezTo>
                  <a:pt x="7218490" y="4176124"/>
                  <a:pt x="7219821" y="4175192"/>
                  <a:pt x="7220752" y="4174260"/>
                </a:cubicBezTo>
                <a:cubicBezTo>
                  <a:pt x="7221818" y="4173062"/>
                  <a:pt x="7222750" y="4171730"/>
                  <a:pt x="7223415" y="4170000"/>
                </a:cubicBezTo>
                <a:cubicBezTo>
                  <a:pt x="7224214" y="4168402"/>
                  <a:pt x="7224480" y="4166539"/>
                  <a:pt x="7224480" y="4164542"/>
                </a:cubicBezTo>
                <a:cubicBezTo>
                  <a:pt x="7224480" y="4162678"/>
                  <a:pt x="7224080" y="4160948"/>
                  <a:pt x="7223415" y="4159351"/>
                </a:cubicBezTo>
                <a:cubicBezTo>
                  <a:pt x="7222750" y="4157620"/>
                  <a:pt x="7221818" y="4156289"/>
                  <a:pt x="7220752" y="4155091"/>
                </a:cubicBezTo>
                <a:cubicBezTo>
                  <a:pt x="7219687" y="4154026"/>
                  <a:pt x="7218356" y="4153094"/>
                  <a:pt x="7216759" y="4152428"/>
                </a:cubicBezTo>
                <a:cubicBezTo>
                  <a:pt x="7215295" y="4151763"/>
                  <a:pt x="7213698" y="4151497"/>
                  <a:pt x="7211701" y="4151497"/>
                </a:cubicBezTo>
                <a:close/>
                <a:moveTo>
                  <a:pt x="6994056" y="4151497"/>
                </a:moveTo>
                <a:cubicBezTo>
                  <a:pt x="6988199" y="4151497"/>
                  <a:pt x="6985669" y="4153493"/>
                  <a:pt x="6984072" y="4155091"/>
                </a:cubicBezTo>
                <a:cubicBezTo>
                  <a:pt x="6981543" y="4157753"/>
                  <a:pt x="6980478" y="4160549"/>
                  <a:pt x="6980478" y="4164542"/>
                </a:cubicBezTo>
                <a:cubicBezTo>
                  <a:pt x="6980478" y="4168668"/>
                  <a:pt x="6981543" y="4171464"/>
                  <a:pt x="6984072" y="4173993"/>
                </a:cubicBezTo>
                <a:cubicBezTo>
                  <a:pt x="6985669" y="4175592"/>
                  <a:pt x="6988199" y="4177455"/>
                  <a:pt x="6994056" y="4177455"/>
                </a:cubicBezTo>
                <a:cubicBezTo>
                  <a:pt x="6996185" y="4177455"/>
                  <a:pt x="6997916" y="4177056"/>
                  <a:pt x="6999380" y="4176657"/>
                </a:cubicBezTo>
                <a:cubicBezTo>
                  <a:pt x="7000844" y="4176124"/>
                  <a:pt x="7002176" y="4175192"/>
                  <a:pt x="7003107" y="4174260"/>
                </a:cubicBezTo>
                <a:cubicBezTo>
                  <a:pt x="7004172" y="4173062"/>
                  <a:pt x="7005104" y="4171730"/>
                  <a:pt x="7005769" y="4170000"/>
                </a:cubicBezTo>
                <a:cubicBezTo>
                  <a:pt x="7006568" y="4168402"/>
                  <a:pt x="7006834" y="4166539"/>
                  <a:pt x="7006834" y="4164542"/>
                </a:cubicBezTo>
                <a:cubicBezTo>
                  <a:pt x="7006834" y="4162678"/>
                  <a:pt x="7006435" y="4160948"/>
                  <a:pt x="7005769" y="4159351"/>
                </a:cubicBezTo>
                <a:cubicBezTo>
                  <a:pt x="7005104" y="4157620"/>
                  <a:pt x="7004172" y="4156289"/>
                  <a:pt x="7003107" y="4155091"/>
                </a:cubicBezTo>
                <a:cubicBezTo>
                  <a:pt x="7002042" y="4154026"/>
                  <a:pt x="7000711" y="4153094"/>
                  <a:pt x="6999113" y="4152428"/>
                </a:cubicBezTo>
                <a:cubicBezTo>
                  <a:pt x="6997649" y="4151763"/>
                  <a:pt x="6996052" y="4151497"/>
                  <a:pt x="6994056" y="4151497"/>
                </a:cubicBezTo>
                <a:close/>
                <a:moveTo>
                  <a:pt x="6776544" y="4151497"/>
                </a:moveTo>
                <a:cubicBezTo>
                  <a:pt x="6770687" y="4151497"/>
                  <a:pt x="6768157" y="4153493"/>
                  <a:pt x="6766560" y="4155091"/>
                </a:cubicBezTo>
                <a:cubicBezTo>
                  <a:pt x="6764031" y="4157753"/>
                  <a:pt x="6762966" y="4160549"/>
                  <a:pt x="6762966" y="4164542"/>
                </a:cubicBezTo>
                <a:cubicBezTo>
                  <a:pt x="6762966" y="4168668"/>
                  <a:pt x="6764031" y="4171464"/>
                  <a:pt x="6766560" y="4173993"/>
                </a:cubicBezTo>
                <a:cubicBezTo>
                  <a:pt x="6768157" y="4175592"/>
                  <a:pt x="6770687" y="4177455"/>
                  <a:pt x="6776544" y="4177455"/>
                </a:cubicBezTo>
                <a:cubicBezTo>
                  <a:pt x="6778541" y="4177455"/>
                  <a:pt x="6780270" y="4177056"/>
                  <a:pt x="6781869" y="4176657"/>
                </a:cubicBezTo>
                <a:cubicBezTo>
                  <a:pt x="6783333" y="4176124"/>
                  <a:pt x="6784664" y="4175192"/>
                  <a:pt x="6785595" y="4174260"/>
                </a:cubicBezTo>
                <a:cubicBezTo>
                  <a:pt x="6786661" y="4173062"/>
                  <a:pt x="6787593" y="4171730"/>
                  <a:pt x="6788258" y="4170000"/>
                </a:cubicBezTo>
                <a:cubicBezTo>
                  <a:pt x="6789057" y="4168402"/>
                  <a:pt x="6789323" y="4166539"/>
                  <a:pt x="6789323" y="4164542"/>
                </a:cubicBezTo>
                <a:cubicBezTo>
                  <a:pt x="6789323" y="4162678"/>
                  <a:pt x="6788923" y="4160948"/>
                  <a:pt x="6788258" y="4159351"/>
                </a:cubicBezTo>
                <a:cubicBezTo>
                  <a:pt x="6787593" y="4157620"/>
                  <a:pt x="6786661" y="4156289"/>
                  <a:pt x="6785595" y="4155091"/>
                </a:cubicBezTo>
                <a:cubicBezTo>
                  <a:pt x="6784530" y="4154026"/>
                  <a:pt x="6783199" y="4153094"/>
                  <a:pt x="6781602" y="4152428"/>
                </a:cubicBezTo>
                <a:cubicBezTo>
                  <a:pt x="6780138" y="4151763"/>
                  <a:pt x="6778541" y="4151497"/>
                  <a:pt x="6776544" y="4151497"/>
                </a:cubicBezTo>
                <a:close/>
                <a:moveTo>
                  <a:pt x="6558899" y="4151497"/>
                </a:moveTo>
                <a:cubicBezTo>
                  <a:pt x="6553042" y="4151497"/>
                  <a:pt x="6550512" y="4153493"/>
                  <a:pt x="6548915" y="4155091"/>
                </a:cubicBezTo>
                <a:cubicBezTo>
                  <a:pt x="6546386" y="4157753"/>
                  <a:pt x="6545321" y="4160549"/>
                  <a:pt x="6545321" y="4164542"/>
                </a:cubicBezTo>
                <a:cubicBezTo>
                  <a:pt x="6545321" y="4168668"/>
                  <a:pt x="6546386" y="4171464"/>
                  <a:pt x="6548915" y="4173993"/>
                </a:cubicBezTo>
                <a:cubicBezTo>
                  <a:pt x="6550512" y="4175592"/>
                  <a:pt x="6553042" y="4177455"/>
                  <a:pt x="6558899" y="4177455"/>
                </a:cubicBezTo>
                <a:cubicBezTo>
                  <a:pt x="6560895" y="4177455"/>
                  <a:pt x="6562759" y="4177056"/>
                  <a:pt x="6564223" y="4176657"/>
                </a:cubicBezTo>
                <a:cubicBezTo>
                  <a:pt x="6565687" y="4176124"/>
                  <a:pt x="6567019" y="4175192"/>
                  <a:pt x="6567950" y="4174260"/>
                </a:cubicBezTo>
                <a:cubicBezTo>
                  <a:pt x="6569015" y="4173062"/>
                  <a:pt x="6569947" y="4171730"/>
                  <a:pt x="6570612" y="4170000"/>
                </a:cubicBezTo>
                <a:cubicBezTo>
                  <a:pt x="6571412" y="4168402"/>
                  <a:pt x="6571677" y="4166539"/>
                  <a:pt x="6571677" y="4164542"/>
                </a:cubicBezTo>
                <a:cubicBezTo>
                  <a:pt x="6571677" y="4162678"/>
                  <a:pt x="6571278" y="4160948"/>
                  <a:pt x="6570612" y="4159351"/>
                </a:cubicBezTo>
                <a:cubicBezTo>
                  <a:pt x="6569947" y="4157620"/>
                  <a:pt x="6569015" y="4156289"/>
                  <a:pt x="6567950" y="4155091"/>
                </a:cubicBezTo>
                <a:cubicBezTo>
                  <a:pt x="6566885" y="4154026"/>
                  <a:pt x="6565554" y="4153094"/>
                  <a:pt x="6563956" y="4152428"/>
                </a:cubicBezTo>
                <a:cubicBezTo>
                  <a:pt x="6562492" y="4151763"/>
                  <a:pt x="6560895" y="4151497"/>
                  <a:pt x="6558899" y="4151497"/>
                </a:cubicBezTo>
                <a:close/>
                <a:moveTo>
                  <a:pt x="6341253" y="4151497"/>
                </a:moveTo>
                <a:cubicBezTo>
                  <a:pt x="6335396" y="4151497"/>
                  <a:pt x="6332867" y="4153493"/>
                  <a:pt x="6331270" y="4155091"/>
                </a:cubicBezTo>
                <a:cubicBezTo>
                  <a:pt x="6328740" y="4157753"/>
                  <a:pt x="6327675" y="4160549"/>
                  <a:pt x="6327675" y="4164542"/>
                </a:cubicBezTo>
                <a:cubicBezTo>
                  <a:pt x="6327675" y="4168668"/>
                  <a:pt x="6328740" y="4171464"/>
                  <a:pt x="6331270" y="4173993"/>
                </a:cubicBezTo>
                <a:cubicBezTo>
                  <a:pt x="6332867" y="4175592"/>
                  <a:pt x="6335396" y="4177455"/>
                  <a:pt x="6341253" y="4177455"/>
                </a:cubicBezTo>
                <a:cubicBezTo>
                  <a:pt x="6343250" y="4177455"/>
                  <a:pt x="6345114" y="4177056"/>
                  <a:pt x="6346578" y="4176657"/>
                </a:cubicBezTo>
                <a:cubicBezTo>
                  <a:pt x="6348042" y="4176124"/>
                  <a:pt x="6349373" y="4175192"/>
                  <a:pt x="6350305" y="4174260"/>
                </a:cubicBezTo>
                <a:cubicBezTo>
                  <a:pt x="6351370" y="4173062"/>
                  <a:pt x="6352302" y="4171730"/>
                  <a:pt x="6352968" y="4170000"/>
                </a:cubicBezTo>
                <a:cubicBezTo>
                  <a:pt x="6353766" y="4168402"/>
                  <a:pt x="6354033" y="4166539"/>
                  <a:pt x="6354033" y="4164542"/>
                </a:cubicBezTo>
                <a:cubicBezTo>
                  <a:pt x="6354033" y="4162678"/>
                  <a:pt x="6353633" y="4160948"/>
                  <a:pt x="6352968" y="4159351"/>
                </a:cubicBezTo>
                <a:cubicBezTo>
                  <a:pt x="6352302" y="4157620"/>
                  <a:pt x="6351370" y="4156289"/>
                  <a:pt x="6350305" y="4155091"/>
                </a:cubicBezTo>
                <a:cubicBezTo>
                  <a:pt x="6349241" y="4154026"/>
                  <a:pt x="6347909" y="4153094"/>
                  <a:pt x="6346312" y="4152428"/>
                </a:cubicBezTo>
                <a:cubicBezTo>
                  <a:pt x="6344848" y="4151763"/>
                  <a:pt x="6343250" y="4151497"/>
                  <a:pt x="6341253" y="4151497"/>
                </a:cubicBezTo>
                <a:close/>
                <a:moveTo>
                  <a:pt x="6123608" y="4151497"/>
                </a:moveTo>
                <a:cubicBezTo>
                  <a:pt x="6117751" y="4151497"/>
                  <a:pt x="6115221" y="4153493"/>
                  <a:pt x="6113624" y="4155091"/>
                </a:cubicBezTo>
                <a:cubicBezTo>
                  <a:pt x="6111095" y="4157753"/>
                  <a:pt x="6110030" y="4160549"/>
                  <a:pt x="6110030" y="4164542"/>
                </a:cubicBezTo>
                <a:cubicBezTo>
                  <a:pt x="6110030" y="4168668"/>
                  <a:pt x="6111095" y="4171464"/>
                  <a:pt x="6113624" y="4173993"/>
                </a:cubicBezTo>
                <a:cubicBezTo>
                  <a:pt x="6115221" y="4175592"/>
                  <a:pt x="6117751" y="4177455"/>
                  <a:pt x="6123608" y="4177455"/>
                </a:cubicBezTo>
                <a:cubicBezTo>
                  <a:pt x="6125737" y="4177455"/>
                  <a:pt x="6127468" y="4177056"/>
                  <a:pt x="6128932" y="4176657"/>
                </a:cubicBezTo>
                <a:cubicBezTo>
                  <a:pt x="6130530" y="4176124"/>
                  <a:pt x="6131728" y="4175192"/>
                  <a:pt x="6132659" y="4174260"/>
                </a:cubicBezTo>
                <a:cubicBezTo>
                  <a:pt x="6133724" y="4173062"/>
                  <a:pt x="6134656" y="4171730"/>
                  <a:pt x="6135322" y="4170000"/>
                </a:cubicBezTo>
                <a:cubicBezTo>
                  <a:pt x="6135987" y="4168402"/>
                  <a:pt x="6136387" y="4166539"/>
                  <a:pt x="6136387" y="4164542"/>
                </a:cubicBezTo>
                <a:cubicBezTo>
                  <a:pt x="6136387" y="4162678"/>
                  <a:pt x="6135987" y="4160948"/>
                  <a:pt x="6135322" y="4159351"/>
                </a:cubicBezTo>
                <a:cubicBezTo>
                  <a:pt x="6134656" y="4157620"/>
                  <a:pt x="6133724" y="4156289"/>
                  <a:pt x="6132659" y="4155091"/>
                </a:cubicBezTo>
                <a:cubicBezTo>
                  <a:pt x="6131594" y="4154026"/>
                  <a:pt x="6130263" y="4153094"/>
                  <a:pt x="6128666" y="4152428"/>
                </a:cubicBezTo>
                <a:cubicBezTo>
                  <a:pt x="6127202" y="4151763"/>
                  <a:pt x="6125604" y="4151497"/>
                  <a:pt x="6123608" y="4151497"/>
                </a:cubicBezTo>
                <a:close/>
                <a:moveTo>
                  <a:pt x="5905963" y="4151497"/>
                </a:moveTo>
                <a:cubicBezTo>
                  <a:pt x="5900106" y="4151497"/>
                  <a:pt x="5897576" y="4153493"/>
                  <a:pt x="5895979" y="4155091"/>
                </a:cubicBezTo>
                <a:cubicBezTo>
                  <a:pt x="5893450" y="4157753"/>
                  <a:pt x="5892385" y="4160549"/>
                  <a:pt x="5892385" y="4164542"/>
                </a:cubicBezTo>
                <a:cubicBezTo>
                  <a:pt x="5892385" y="4168668"/>
                  <a:pt x="5893450" y="4171464"/>
                  <a:pt x="5895979" y="4173993"/>
                </a:cubicBezTo>
                <a:cubicBezTo>
                  <a:pt x="5897576" y="4175592"/>
                  <a:pt x="5900106" y="4177455"/>
                  <a:pt x="5905963" y="4177455"/>
                </a:cubicBezTo>
                <a:cubicBezTo>
                  <a:pt x="5908093" y="4177455"/>
                  <a:pt x="5909823" y="4177056"/>
                  <a:pt x="5911287" y="4176657"/>
                </a:cubicBezTo>
                <a:cubicBezTo>
                  <a:pt x="5912751" y="4176124"/>
                  <a:pt x="5914083" y="4175192"/>
                  <a:pt x="5915014" y="4174260"/>
                </a:cubicBezTo>
                <a:cubicBezTo>
                  <a:pt x="5916079" y="4173062"/>
                  <a:pt x="5917011" y="4171730"/>
                  <a:pt x="5917677" y="4170000"/>
                </a:cubicBezTo>
                <a:cubicBezTo>
                  <a:pt x="5918342" y="4168402"/>
                  <a:pt x="5918742" y="4166539"/>
                  <a:pt x="5918742" y="4164542"/>
                </a:cubicBezTo>
                <a:cubicBezTo>
                  <a:pt x="5918742" y="4162678"/>
                  <a:pt x="5918342" y="4160948"/>
                  <a:pt x="5917677" y="4159351"/>
                </a:cubicBezTo>
                <a:cubicBezTo>
                  <a:pt x="5917011" y="4157620"/>
                  <a:pt x="5916079" y="4156289"/>
                  <a:pt x="5915014" y="4155091"/>
                </a:cubicBezTo>
                <a:cubicBezTo>
                  <a:pt x="5913950" y="4154026"/>
                  <a:pt x="5912618" y="4153094"/>
                  <a:pt x="5911021" y="4152428"/>
                </a:cubicBezTo>
                <a:cubicBezTo>
                  <a:pt x="5909557" y="4151763"/>
                  <a:pt x="5907826" y="4151497"/>
                  <a:pt x="5905963" y="4151497"/>
                </a:cubicBezTo>
                <a:close/>
                <a:moveTo>
                  <a:pt x="5688451" y="4151497"/>
                </a:moveTo>
                <a:cubicBezTo>
                  <a:pt x="5682594" y="4151497"/>
                  <a:pt x="5680064" y="4153493"/>
                  <a:pt x="5678467" y="4155091"/>
                </a:cubicBezTo>
                <a:cubicBezTo>
                  <a:pt x="5675938" y="4157753"/>
                  <a:pt x="5674873" y="4160549"/>
                  <a:pt x="5674873" y="4164542"/>
                </a:cubicBezTo>
                <a:cubicBezTo>
                  <a:pt x="5674873" y="4168668"/>
                  <a:pt x="5675938" y="4171464"/>
                  <a:pt x="5678467" y="4173993"/>
                </a:cubicBezTo>
                <a:cubicBezTo>
                  <a:pt x="5680064" y="4175592"/>
                  <a:pt x="5682594" y="4177455"/>
                  <a:pt x="5688451" y="4177455"/>
                </a:cubicBezTo>
                <a:cubicBezTo>
                  <a:pt x="5690447" y="4177455"/>
                  <a:pt x="5692178" y="4177056"/>
                  <a:pt x="5693775" y="4176657"/>
                </a:cubicBezTo>
                <a:cubicBezTo>
                  <a:pt x="5695239" y="4176124"/>
                  <a:pt x="5696571" y="4175192"/>
                  <a:pt x="5697502" y="4174260"/>
                </a:cubicBezTo>
                <a:cubicBezTo>
                  <a:pt x="5698567" y="4173062"/>
                  <a:pt x="5699499" y="4171730"/>
                  <a:pt x="5700165" y="4170000"/>
                </a:cubicBezTo>
                <a:cubicBezTo>
                  <a:pt x="5700830" y="4168402"/>
                  <a:pt x="5701230" y="4166539"/>
                  <a:pt x="5701230" y="4164542"/>
                </a:cubicBezTo>
                <a:cubicBezTo>
                  <a:pt x="5701230" y="4162678"/>
                  <a:pt x="5700830" y="4160948"/>
                  <a:pt x="5700165" y="4159351"/>
                </a:cubicBezTo>
                <a:cubicBezTo>
                  <a:pt x="5699499" y="4157620"/>
                  <a:pt x="5698567" y="4156289"/>
                  <a:pt x="5697502" y="4155091"/>
                </a:cubicBezTo>
                <a:cubicBezTo>
                  <a:pt x="5696437" y="4154026"/>
                  <a:pt x="5695106" y="4153094"/>
                  <a:pt x="5693509" y="4152428"/>
                </a:cubicBezTo>
                <a:cubicBezTo>
                  <a:pt x="5692045" y="4151763"/>
                  <a:pt x="5690314" y="4151497"/>
                  <a:pt x="5688451" y="4151497"/>
                </a:cubicBezTo>
                <a:close/>
                <a:moveTo>
                  <a:pt x="5470806" y="4151497"/>
                </a:moveTo>
                <a:cubicBezTo>
                  <a:pt x="5464949" y="4151497"/>
                  <a:pt x="5462419" y="4153493"/>
                  <a:pt x="5460822" y="4155091"/>
                </a:cubicBezTo>
                <a:cubicBezTo>
                  <a:pt x="5458293" y="4157753"/>
                  <a:pt x="5457228" y="4160549"/>
                  <a:pt x="5457228" y="4164542"/>
                </a:cubicBezTo>
                <a:cubicBezTo>
                  <a:pt x="5457228" y="4168668"/>
                  <a:pt x="5458293" y="4171464"/>
                  <a:pt x="5460822" y="4173993"/>
                </a:cubicBezTo>
                <a:cubicBezTo>
                  <a:pt x="5462419" y="4175592"/>
                  <a:pt x="5464949" y="4177455"/>
                  <a:pt x="5470806" y="4177455"/>
                </a:cubicBezTo>
                <a:cubicBezTo>
                  <a:pt x="5472802" y="4177455"/>
                  <a:pt x="5474666" y="4177056"/>
                  <a:pt x="5476130" y="4176657"/>
                </a:cubicBezTo>
                <a:cubicBezTo>
                  <a:pt x="5477594" y="4176124"/>
                  <a:pt x="5478926" y="4175192"/>
                  <a:pt x="5479857" y="4174260"/>
                </a:cubicBezTo>
                <a:cubicBezTo>
                  <a:pt x="5480922" y="4173062"/>
                  <a:pt x="5481854" y="4171730"/>
                  <a:pt x="5482520" y="4170000"/>
                </a:cubicBezTo>
                <a:cubicBezTo>
                  <a:pt x="5483319" y="4168402"/>
                  <a:pt x="5483585" y="4166539"/>
                  <a:pt x="5483585" y="4164542"/>
                </a:cubicBezTo>
                <a:cubicBezTo>
                  <a:pt x="5483585" y="4162678"/>
                  <a:pt x="5483185" y="4160948"/>
                  <a:pt x="5482520" y="4159351"/>
                </a:cubicBezTo>
                <a:cubicBezTo>
                  <a:pt x="5481854" y="4157620"/>
                  <a:pt x="5480922" y="4156289"/>
                  <a:pt x="5479857" y="4155091"/>
                </a:cubicBezTo>
                <a:cubicBezTo>
                  <a:pt x="5478793" y="4154026"/>
                  <a:pt x="5477461" y="4153094"/>
                  <a:pt x="5475864" y="4152428"/>
                </a:cubicBezTo>
                <a:cubicBezTo>
                  <a:pt x="5474400" y="4151763"/>
                  <a:pt x="5472669" y="4151497"/>
                  <a:pt x="5470806" y="4151497"/>
                </a:cubicBezTo>
                <a:close/>
                <a:moveTo>
                  <a:pt x="5253160" y="4151497"/>
                </a:moveTo>
                <a:cubicBezTo>
                  <a:pt x="5247303" y="4151497"/>
                  <a:pt x="5244774" y="4153493"/>
                  <a:pt x="5243177" y="4155091"/>
                </a:cubicBezTo>
                <a:cubicBezTo>
                  <a:pt x="5240647" y="4157753"/>
                  <a:pt x="5239583" y="4160549"/>
                  <a:pt x="5239583" y="4164542"/>
                </a:cubicBezTo>
                <a:cubicBezTo>
                  <a:pt x="5239583" y="4168668"/>
                  <a:pt x="5240647" y="4171464"/>
                  <a:pt x="5243177" y="4173993"/>
                </a:cubicBezTo>
                <a:cubicBezTo>
                  <a:pt x="5244774" y="4175592"/>
                  <a:pt x="5247303" y="4177455"/>
                  <a:pt x="5253160" y="4177455"/>
                </a:cubicBezTo>
                <a:cubicBezTo>
                  <a:pt x="5255157" y="4177455"/>
                  <a:pt x="5257021" y="4177056"/>
                  <a:pt x="5258485" y="4176657"/>
                </a:cubicBezTo>
                <a:cubicBezTo>
                  <a:pt x="5259949" y="4176124"/>
                  <a:pt x="5261280" y="4175192"/>
                  <a:pt x="5262212" y="4174260"/>
                </a:cubicBezTo>
                <a:cubicBezTo>
                  <a:pt x="5263277" y="4173062"/>
                  <a:pt x="5264209" y="4171730"/>
                  <a:pt x="5264875" y="4170000"/>
                </a:cubicBezTo>
                <a:cubicBezTo>
                  <a:pt x="5265673" y="4168402"/>
                  <a:pt x="5265939" y="4166539"/>
                  <a:pt x="5265939" y="4164542"/>
                </a:cubicBezTo>
                <a:cubicBezTo>
                  <a:pt x="5265939" y="4162678"/>
                  <a:pt x="5265540" y="4160948"/>
                  <a:pt x="5264875" y="4159351"/>
                </a:cubicBezTo>
                <a:cubicBezTo>
                  <a:pt x="5264209" y="4157620"/>
                  <a:pt x="5263277" y="4156289"/>
                  <a:pt x="5262212" y="4155091"/>
                </a:cubicBezTo>
                <a:cubicBezTo>
                  <a:pt x="5261147" y="4154026"/>
                  <a:pt x="5259816" y="4153094"/>
                  <a:pt x="5258219" y="4152428"/>
                </a:cubicBezTo>
                <a:cubicBezTo>
                  <a:pt x="5256754" y="4151763"/>
                  <a:pt x="5255024" y="4151497"/>
                  <a:pt x="5253160" y="4151497"/>
                </a:cubicBezTo>
                <a:close/>
                <a:moveTo>
                  <a:pt x="5035515" y="4151497"/>
                </a:moveTo>
                <a:cubicBezTo>
                  <a:pt x="5029658" y="4151497"/>
                  <a:pt x="5027129" y="4153493"/>
                  <a:pt x="5025532" y="4155091"/>
                </a:cubicBezTo>
                <a:cubicBezTo>
                  <a:pt x="5023002" y="4157753"/>
                  <a:pt x="5021938" y="4160549"/>
                  <a:pt x="5021938" y="4164542"/>
                </a:cubicBezTo>
                <a:cubicBezTo>
                  <a:pt x="5021938" y="4168668"/>
                  <a:pt x="5023002" y="4171464"/>
                  <a:pt x="5025532" y="4173993"/>
                </a:cubicBezTo>
                <a:cubicBezTo>
                  <a:pt x="5027129" y="4175592"/>
                  <a:pt x="5029658" y="4177455"/>
                  <a:pt x="5035515" y="4177455"/>
                </a:cubicBezTo>
                <a:cubicBezTo>
                  <a:pt x="5037645" y="4177455"/>
                  <a:pt x="5039376" y="4177056"/>
                  <a:pt x="5040840" y="4176657"/>
                </a:cubicBezTo>
                <a:cubicBezTo>
                  <a:pt x="5042304" y="4176124"/>
                  <a:pt x="5043636" y="4175192"/>
                  <a:pt x="5044567" y="4174260"/>
                </a:cubicBezTo>
                <a:cubicBezTo>
                  <a:pt x="5045632" y="4173062"/>
                  <a:pt x="5046564" y="4171730"/>
                  <a:pt x="5047230" y="4170000"/>
                </a:cubicBezTo>
                <a:cubicBezTo>
                  <a:pt x="5048028" y="4168402"/>
                  <a:pt x="5048294" y="4166539"/>
                  <a:pt x="5048294" y="4164542"/>
                </a:cubicBezTo>
                <a:cubicBezTo>
                  <a:pt x="5048294" y="4162678"/>
                  <a:pt x="5047895" y="4160948"/>
                  <a:pt x="5047230" y="4159351"/>
                </a:cubicBezTo>
                <a:cubicBezTo>
                  <a:pt x="5046564" y="4157620"/>
                  <a:pt x="5045632" y="4156289"/>
                  <a:pt x="5044567" y="4155091"/>
                </a:cubicBezTo>
                <a:cubicBezTo>
                  <a:pt x="5043502" y="4154026"/>
                  <a:pt x="5042171" y="4153094"/>
                  <a:pt x="5040574" y="4152428"/>
                </a:cubicBezTo>
                <a:cubicBezTo>
                  <a:pt x="5039110" y="4151763"/>
                  <a:pt x="5037379" y="4151497"/>
                  <a:pt x="5035515" y="4151497"/>
                </a:cubicBezTo>
                <a:close/>
                <a:moveTo>
                  <a:pt x="4817870" y="4151497"/>
                </a:moveTo>
                <a:cubicBezTo>
                  <a:pt x="4812013" y="4151497"/>
                  <a:pt x="4809484" y="4153493"/>
                  <a:pt x="4807887" y="4155091"/>
                </a:cubicBezTo>
                <a:cubicBezTo>
                  <a:pt x="4805357" y="4157753"/>
                  <a:pt x="4804293" y="4160549"/>
                  <a:pt x="4804293" y="4164542"/>
                </a:cubicBezTo>
                <a:cubicBezTo>
                  <a:pt x="4804293" y="4168668"/>
                  <a:pt x="4805357" y="4171464"/>
                  <a:pt x="4807887" y="4173993"/>
                </a:cubicBezTo>
                <a:cubicBezTo>
                  <a:pt x="4809484" y="4175592"/>
                  <a:pt x="4812013" y="4177455"/>
                  <a:pt x="4817870" y="4177455"/>
                </a:cubicBezTo>
                <a:cubicBezTo>
                  <a:pt x="4820000" y="4177455"/>
                  <a:pt x="4821731" y="4177056"/>
                  <a:pt x="4823195" y="4176657"/>
                </a:cubicBezTo>
                <a:cubicBezTo>
                  <a:pt x="4824659" y="4176124"/>
                  <a:pt x="4825857" y="4175192"/>
                  <a:pt x="4826922" y="4174260"/>
                </a:cubicBezTo>
                <a:cubicBezTo>
                  <a:pt x="4827987" y="4173062"/>
                  <a:pt x="4828919" y="4171730"/>
                  <a:pt x="4829585" y="4170000"/>
                </a:cubicBezTo>
                <a:cubicBezTo>
                  <a:pt x="4830383" y="4168402"/>
                  <a:pt x="4830650" y="4166539"/>
                  <a:pt x="4830650" y="4164542"/>
                </a:cubicBezTo>
                <a:cubicBezTo>
                  <a:pt x="4830650" y="4162678"/>
                  <a:pt x="4830250" y="4160948"/>
                  <a:pt x="4829585" y="4159351"/>
                </a:cubicBezTo>
                <a:cubicBezTo>
                  <a:pt x="4828919" y="4157620"/>
                  <a:pt x="4827987" y="4156289"/>
                  <a:pt x="4826922" y="4155091"/>
                </a:cubicBezTo>
                <a:cubicBezTo>
                  <a:pt x="4825857" y="4154026"/>
                  <a:pt x="4824526" y="4153094"/>
                  <a:pt x="4822929" y="4152428"/>
                </a:cubicBezTo>
                <a:cubicBezTo>
                  <a:pt x="4821465" y="4151763"/>
                  <a:pt x="4819734" y="4151497"/>
                  <a:pt x="4817870" y="4151497"/>
                </a:cubicBezTo>
                <a:close/>
                <a:moveTo>
                  <a:pt x="4600226" y="4151497"/>
                </a:moveTo>
                <a:cubicBezTo>
                  <a:pt x="4594369" y="4151497"/>
                  <a:pt x="4591839" y="4153493"/>
                  <a:pt x="4590242" y="4155091"/>
                </a:cubicBezTo>
                <a:cubicBezTo>
                  <a:pt x="4587713" y="4157753"/>
                  <a:pt x="4586648" y="4160549"/>
                  <a:pt x="4586648" y="4164542"/>
                </a:cubicBezTo>
                <a:cubicBezTo>
                  <a:pt x="4586648" y="4168668"/>
                  <a:pt x="4587713" y="4171464"/>
                  <a:pt x="4590242" y="4173993"/>
                </a:cubicBezTo>
                <a:cubicBezTo>
                  <a:pt x="4591839" y="4175592"/>
                  <a:pt x="4594369" y="4177455"/>
                  <a:pt x="4600226" y="4177455"/>
                </a:cubicBezTo>
                <a:cubicBezTo>
                  <a:pt x="4602355" y="4177455"/>
                  <a:pt x="4604086" y="4177056"/>
                  <a:pt x="4605550" y="4176657"/>
                </a:cubicBezTo>
                <a:cubicBezTo>
                  <a:pt x="4607148" y="4176124"/>
                  <a:pt x="4608346" y="4175192"/>
                  <a:pt x="4609277" y="4174260"/>
                </a:cubicBezTo>
                <a:cubicBezTo>
                  <a:pt x="4610342" y="4173062"/>
                  <a:pt x="4611274" y="4171730"/>
                  <a:pt x="4611940" y="4170000"/>
                </a:cubicBezTo>
                <a:cubicBezTo>
                  <a:pt x="4612605" y="4168402"/>
                  <a:pt x="4613005" y="4166539"/>
                  <a:pt x="4613005" y="4164542"/>
                </a:cubicBezTo>
                <a:cubicBezTo>
                  <a:pt x="4613005" y="4162678"/>
                  <a:pt x="4612605" y="4160948"/>
                  <a:pt x="4611940" y="4159351"/>
                </a:cubicBezTo>
                <a:cubicBezTo>
                  <a:pt x="4611274" y="4157620"/>
                  <a:pt x="4610342" y="4156289"/>
                  <a:pt x="4609277" y="4155091"/>
                </a:cubicBezTo>
                <a:cubicBezTo>
                  <a:pt x="4608212" y="4154026"/>
                  <a:pt x="4606881" y="4153094"/>
                  <a:pt x="4605284" y="4152428"/>
                </a:cubicBezTo>
                <a:cubicBezTo>
                  <a:pt x="4603820" y="4151763"/>
                  <a:pt x="4602222" y="4151497"/>
                  <a:pt x="4600226" y="4151497"/>
                </a:cubicBezTo>
                <a:close/>
                <a:moveTo>
                  <a:pt x="4382713" y="4151497"/>
                </a:moveTo>
                <a:cubicBezTo>
                  <a:pt x="4376857" y="4151497"/>
                  <a:pt x="4374327" y="4153493"/>
                  <a:pt x="4372730" y="4155091"/>
                </a:cubicBezTo>
                <a:cubicBezTo>
                  <a:pt x="4370201" y="4157753"/>
                  <a:pt x="4369136" y="4160549"/>
                  <a:pt x="4369136" y="4164542"/>
                </a:cubicBezTo>
                <a:cubicBezTo>
                  <a:pt x="4369136" y="4168668"/>
                  <a:pt x="4370201" y="4171464"/>
                  <a:pt x="4372730" y="4173993"/>
                </a:cubicBezTo>
                <a:cubicBezTo>
                  <a:pt x="4374327" y="4175592"/>
                  <a:pt x="4376857" y="4177455"/>
                  <a:pt x="4382713" y="4177455"/>
                </a:cubicBezTo>
                <a:cubicBezTo>
                  <a:pt x="4384710" y="4177455"/>
                  <a:pt x="4386441" y="4177056"/>
                  <a:pt x="4388038" y="4176657"/>
                </a:cubicBezTo>
                <a:cubicBezTo>
                  <a:pt x="4389502" y="4176124"/>
                  <a:pt x="4390834" y="4175192"/>
                  <a:pt x="4391765" y="4174260"/>
                </a:cubicBezTo>
                <a:cubicBezTo>
                  <a:pt x="4392830" y="4173062"/>
                  <a:pt x="4393762" y="4171730"/>
                  <a:pt x="4394428" y="4170000"/>
                </a:cubicBezTo>
                <a:cubicBezTo>
                  <a:pt x="4395093" y="4168402"/>
                  <a:pt x="4395493" y="4166539"/>
                  <a:pt x="4395493" y="4164542"/>
                </a:cubicBezTo>
                <a:cubicBezTo>
                  <a:pt x="4395493" y="4162678"/>
                  <a:pt x="4395093" y="4160948"/>
                  <a:pt x="4394428" y="4159351"/>
                </a:cubicBezTo>
                <a:cubicBezTo>
                  <a:pt x="4393762" y="4157620"/>
                  <a:pt x="4392830" y="4156289"/>
                  <a:pt x="4391765" y="4155091"/>
                </a:cubicBezTo>
                <a:cubicBezTo>
                  <a:pt x="4390700" y="4154026"/>
                  <a:pt x="4389369" y="4153094"/>
                  <a:pt x="4387772" y="4152428"/>
                </a:cubicBezTo>
                <a:cubicBezTo>
                  <a:pt x="4386308" y="4151763"/>
                  <a:pt x="4384710" y="4151497"/>
                  <a:pt x="4382713" y="4151497"/>
                </a:cubicBezTo>
                <a:close/>
                <a:moveTo>
                  <a:pt x="4165068" y="4151497"/>
                </a:moveTo>
                <a:cubicBezTo>
                  <a:pt x="4159211" y="4151497"/>
                  <a:pt x="4156681" y="4153493"/>
                  <a:pt x="4155084" y="4155091"/>
                </a:cubicBezTo>
                <a:cubicBezTo>
                  <a:pt x="4152555" y="4157753"/>
                  <a:pt x="4151490" y="4160549"/>
                  <a:pt x="4151490" y="4164542"/>
                </a:cubicBezTo>
                <a:cubicBezTo>
                  <a:pt x="4151490" y="4168668"/>
                  <a:pt x="4152555" y="4171464"/>
                  <a:pt x="4155084" y="4173993"/>
                </a:cubicBezTo>
                <a:cubicBezTo>
                  <a:pt x="4156681" y="4175592"/>
                  <a:pt x="4159211" y="4177455"/>
                  <a:pt x="4165068" y="4177455"/>
                </a:cubicBezTo>
                <a:cubicBezTo>
                  <a:pt x="4167064" y="4177455"/>
                  <a:pt x="4168928" y="4177056"/>
                  <a:pt x="4170392" y="4176657"/>
                </a:cubicBezTo>
                <a:cubicBezTo>
                  <a:pt x="4171856" y="4176124"/>
                  <a:pt x="4173188" y="4175192"/>
                  <a:pt x="4174119" y="4174260"/>
                </a:cubicBezTo>
                <a:cubicBezTo>
                  <a:pt x="4175184" y="4173062"/>
                  <a:pt x="4176116" y="4171730"/>
                  <a:pt x="4176782" y="4170000"/>
                </a:cubicBezTo>
                <a:cubicBezTo>
                  <a:pt x="4177447" y="4168402"/>
                  <a:pt x="4177847" y="4166539"/>
                  <a:pt x="4177847" y="4164542"/>
                </a:cubicBezTo>
                <a:cubicBezTo>
                  <a:pt x="4177847" y="4162678"/>
                  <a:pt x="4177447" y="4160948"/>
                  <a:pt x="4176782" y="4159351"/>
                </a:cubicBezTo>
                <a:cubicBezTo>
                  <a:pt x="4176116" y="4157620"/>
                  <a:pt x="4175184" y="4156289"/>
                  <a:pt x="4174119" y="4155091"/>
                </a:cubicBezTo>
                <a:cubicBezTo>
                  <a:pt x="4173054" y="4154026"/>
                  <a:pt x="4171723" y="4153094"/>
                  <a:pt x="4170126" y="4152428"/>
                </a:cubicBezTo>
                <a:cubicBezTo>
                  <a:pt x="4168662" y="4151763"/>
                  <a:pt x="4167064" y="4151497"/>
                  <a:pt x="4165068" y="4151497"/>
                </a:cubicBezTo>
                <a:close/>
                <a:moveTo>
                  <a:pt x="3947651" y="4151497"/>
                </a:moveTo>
                <a:cubicBezTo>
                  <a:pt x="3941794" y="4151497"/>
                  <a:pt x="3939265" y="4153493"/>
                  <a:pt x="3937668" y="4155091"/>
                </a:cubicBezTo>
                <a:cubicBezTo>
                  <a:pt x="3935137" y="4157753"/>
                  <a:pt x="3934074" y="4160549"/>
                  <a:pt x="3934074" y="4164542"/>
                </a:cubicBezTo>
                <a:cubicBezTo>
                  <a:pt x="3934074" y="4168668"/>
                  <a:pt x="3935137" y="4171464"/>
                  <a:pt x="3937668" y="4173993"/>
                </a:cubicBezTo>
                <a:cubicBezTo>
                  <a:pt x="3939265" y="4175592"/>
                  <a:pt x="3941794" y="4177455"/>
                  <a:pt x="3947651" y="4177455"/>
                </a:cubicBezTo>
                <a:cubicBezTo>
                  <a:pt x="3949649" y="4177455"/>
                  <a:pt x="3951512" y="4177056"/>
                  <a:pt x="3952979" y="4176657"/>
                </a:cubicBezTo>
                <a:cubicBezTo>
                  <a:pt x="3954442" y="4176124"/>
                  <a:pt x="3955773" y="4175192"/>
                  <a:pt x="3956705" y="4174260"/>
                </a:cubicBezTo>
                <a:cubicBezTo>
                  <a:pt x="3957770" y="4173062"/>
                  <a:pt x="3958703" y="4171730"/>
                  <a:pt x="3959368" y="4170000"/>
                </a:cubicBezTo>
                <a:cubicBezTo>
                  <a:pt x="3960034" y="4168402"/>
                  <a:pt x="3960433" y="4166539"/>
                  <a:pt x="3960433" y="4164542"/>
                </a:cubicBezTo>
                <a:cubicBezTo>
                  <a:pt x="3960433" y="4162678"/>
                  <a:pt x="3960034" y="4160948"/>
                  <a:pt x="3959368" y="4159351"/>
                </a:cubicBezTo>
                <a:cubicBezTo>
                  <a:pt x="3958703" y="4157620"/>
                  <a:pt x="3957770" y="4156289"/>
                  <a:pt x="3956705" y="4155091"/>
                </a:cubicBezTo>
                <a:cubicBezTo>
                  <a:pt x="3955640" y="4154026"/>
                  <a:pt x="3954309" y="4153094"/>
                  <a:pt x="3952712" y="4152428"/>
                </a:cubicBezTo>
                <a:cubicBezTo>
                  <a:pt x="3951246" y="4151763"/>
                  <a:pt x="3949649" y="4151497"/>
                  <a:pt x="3947651" y="4151497"/>
                </a:cubicBezTo>
                <a:close/>
                <a:moveTo>
                  <a:pt x="3729995" y="4151497"/>
                </a:moveTo>
                <a:cubicBezTo>
                  <a:pt x="3724139" y="4151497"/>
                  <a:pt x="3721609" y="4153493"/>
                  <a:pt x="3720009" y="4155091"/>
                </a:cubicBezTo>
                <a:cubicBezTo>
                  <a:pt x="3717480" y="4157753"/>
                  <a:pt x="3716416" y="4160549"/>
                  <a:pt x="3716416" y="4164542"/>
                </a:cubicBezTo>
                <a:cubicBezTo>
                  <a:pt x="3716416" y="4168668"/>
                  <a:pt x="3717480" y="4171464"/>
                  <a:pt x="3720009" y="4173993"/>
                </a:cubicBezTo>
                <a:cubicBezTo>
                  <a:pt x="3721609" y="4175592"/>
                  <a:pt x="3724139" y="4177455"/>
                  <a:pt x="3729995" y="4177455"/>
                </a:cubicBezTo>
                <a:cubicBezTo>
                  <a:pt x="3732126" y="4177455"/>
                  <a:pt x="3733857" y="4177056"/>
                  <a:pt x="3735320" y="4176657"/>
                </a:cubicBezTo>
                <a:cubicBezTo>
                  <a:pt x="3736785" y="4176124"/>
                  <a:pt x="3738117" y="4175192"/>
                  <a:pt x="3739048" y="4174260"/>
                </a:cubicBezTo>
                <a:cubicBezTo>
                  <a:pt x="3740113" y="4173062"/>
                  <a:pt x="3741045" y="4171730"/>
                  <a:pt x="3741711" y="4170000"/>
                </a:cubicBezTo>
                <a:cubicBezTo>
                  <a:pt x="3742376" y="4168402"/>
                  <a:pt x="3742776" y="4166539"/>
                  <a:pt x="3742776" y="4164542"/>
                </a:cubicBezTo>
                <a:cubicBezTo>
                  <a:pt x="3742776" y="4162678"/>
                  <a:pt x="3742376" y="4160948"/>
                  <a:pt x="3741711" y="4159351"/>
                </a:cubicBezTo>
                <a:cubicBezTo>
                  <a:pt x="3741045" y="4157620"/>
                  <a:pt x="3740113" y="4156289"/>
                  <a:pt x="3739048" y="4155091"/>
                </a:cubicBezTo>
                <a:cubicBezTo>
                  <a:pt x="3737983" y="4154026"/>
                  <a:pt x="3736652" y="4153094"/>
                  <a:pt x="3735055" y="4152428"/>
                </a:cubicBezTo>
                <a:cubicBezTo>
                  <a:pt x="3733590" y="4151763"/>
                  <a:pt x="3731993" y="4151497"/>
                  <a:pt x="3729995" y="4151497"/>
                </a:cubicBezTo>
                <a:close/>
                <a:moveTo>
                  <a:pt x="3512338" y="4151497"/>
                </a:moveTo>
                <a:cubicBezTo>
                  <a:pt x="3506480" y="4151497"/>
                  <a:pt x="3503951" y="4153493"/>
                  <a:pt x="3502351" y="4155091"/>
                </a:cubicBezTo>
                <a:cubicBezTo>
                  <a:pt x="3499821" y="4157753"/>
                  <a:pt x="3498758" y="4160549"/>
                  <a:pt x="3498758" y="4164542"/>
                </a:cubicBezTo>
                <a:cubicBezTo>
                  <a:pt x="3498758" y="4168668"/>
                  <a:pt x="3499821" y="4171464"/>
                  <a:pt x="3502351" y="4173993"/>
                </a:cubicBezTo>
                <a:cubicBezTo>
                  <a:pt x="3503951" y="4175592"/>
                  <a:pt x="3506480" y="4177455"/>
                  <a:pt x="3512338" y="4177455"/>
                </a:cubicBezTo>
                <a:cubicBezTo>
                  <a:pt x="3514468" y="4177455"/>
                  <a:pt x="3516200" y="4177056"/>
                  <a:pt x="3517664" y="4176657"/>
                </a:cubicBezTo>
                <a:cubicBezTo>
                  <a:pt x="3519128" y="4176124"/>
                  <a:pt x="3520460" y="4175192"/>
                  <a:pt x="3521391" y="4174260"/>
                </a:cubicBezTo>
                <a:cubicBezTo>
                  <a:pt x="3522456" y="4173062"/>
                  <a:pt x="3523388" y="4171730"/>
                  <a:pt x="3524054" y="4170000"/>
                </a:cubicBezTo>
                <a:cubicBezTo>
                  <a:pt x="3524719" y="4168402"/>
                  <a:pt x="3525119" y="4166539"/>
                  <a:pt x="3525119" y="4164542"/>
                </a:cubicBezTo>
                <a:cubicBezTo>
                  <a:pt x="3525119" y="4162678"/>
                  <a:pt x="3524719" y="4160948"/>
                  <a:pt x="3524054" y="4159351"/>
                </a:cubicBezTo>
                <a:cubicBezTo>
                  <a:pt x="3523388" y="4157620"/>
                  <a:pt x="3522456" y="4156289"/>
                  <a:pt x="3521391" y="4155091"/>
                </a:cubicBezTo>
                <a:cubicBezTo>
                  <a:pt x="3520326" y="4154026"/>
                  <a:pt x="3518995" y="4153094"/>
                  <a:pt x="3517398" y="4152428"/>
                </a:cubicBezTo>
                <a:cubicBezTo>
                  <a:pt x="3515934" y="4151763"/>
                  <a:pt x="3514336" y="4151497"/>
                  <a:pt x="3512338" y="4151497"/>
                </a:cubicBezTo>
                <a:close/>
                <a:moveTo>
                  <a:pt x="3294815" y="4151497"/>
                </a:moveTo>
                <a:cubicBezTo>
                  <a:pt x="3288957" y="4151497"/>
                  <a:pt x="3286426" y="4153493"/>
                  <a:pt x="3284829" y="4155091"/>
                </a:cubicBezTo>
                <a:cubicBezTo>
                  <a:pt x="3282299" y="4157753"/>
                  <a:pt x="3281235" y="4160549"/>
                  <a:pt x="3281235" y="4164542"/>
                </a:cubicBezTo>
                <a:cubicBezTo>
                  <a:pt x="3281235" y="4168668"/>
                  <a:pt x="3282299" y="4171464"/>
                  <a:pt x="3284829" y="4173993"/>
                </a:cubicBezTo>
                <a:cubicBezTo>
                  <a:pt x="3286426" y="4175592"/>
                  <a:pt x="3288957" y="4177455"/>
                  <a:pt x="3294815" y="4177455"/>
                </a:cubicBezTo>
                <a:cubicBezTo>
                  <a:pt x="3296812" y="4177455"/>
                  <a:pt x="3298543" y="4177056"/>
                  <a:pt x="3300140" y="4176657"/>
                </a:cubicBezTo>
                <a:cubicBezTo>
                  <a:pt x="3301604" y="4176124"/>
                  <a:pt x="3302936" y="4175192"/>
                  <a:pt x="3303867" y="4174260"/>
                </a:cubicBezTo>
                <a:cubicBezTo>
                  <a:pt x="3304933" y="4173062"/>
                  <a:pt x="3305864" y="4171730"/>
                  <a:pt x="3306531" y="4170000"/>
                </a:cubicBezTo>
                <a:cubicBezTo>
                  <a:pt x="3307196" y="4168402"/>
                  <a:pt x="3307594" y="4166539"/>
                  <a:pt x="3307594" y="4164542"/>
                </a:cubicBezTo>
                <a:cubicBezTo>
                  <a:pt x="3307594" y="4162678"/>
                  <a:pt x="3307196" y="4160948"/>
                  <a:pt x="3306531" y="4159351"/>
                </a:cubicBezTo>
                <a:cubicBezTo>
                  <a:pt x="3305864" y="4157620"/>
                  <a:pt x="3304933" y="4156289"/>
                  <a:pt x="3303867" y="4155091"/>
                </a:cubicBezTo>
                <a:cubicBezTo>
                  <a:pt x="3302802" y="4154026"/>
                  <a:pt x="3301471" y="4153094"/>
                  <a:pt x="3299874" y="4152428"/>
                </a:cubicBezTo>
                <a:cubicBezTo>
                  <a:pt x="3298410" y="4151763"/>
                  <a:pt x="3296812" y="4151497"/>
                  <a:pt x="3294815" y="4151497"/>
                </a:cubicBezTo>
                <a:close/>
                <a:moveTo>
                  <a:pt x="3077291" y="4151497"/>
                </a:moveTo>
                <a:cubicBezTo>
                  <a:pt x="3071433" y="4151497"/>
                  <a:pt x="3068904" y="4153493"/>
                  <a:pt x="3067308" y="4155091"/>
                </a:cubicBezTo>
                <a:cubicBezTo>
                  <a:pt x="3064643" y="4157753"/>
                  <a:pt x="3063577" y="4160549"/>
                  <a:pt x="3063577" y="4164542"/>
                </a:cubicBezTo>
                <a:cubicBezTo>
                  <a:pt x="3063577" y="4168668"/>
                  <a:pt x="3064643" y="4171464"/>
                  <a:pt x="3067173" y="4173993"/>
                </a:cubicBezTo>
                <a:cubicBezTo>
                  <a:pt x="3068771" y="4175592"/>
                  <a:pt x="3071301" y="4177455"/>
                  <a:pt x="3077158" y="4177455"/>
                </a:cubicBezTo>
                <a:cubicBezTo>
                  <a:pt x="3079155" y="4177455"/>
                  <a:pt x="3080885" y="4177056"/>
                  <a:pt x="3082616" y="4176657"/>
                </a:cubicBezTo>
                <a:cubicBezTo>
                  <a:pt x="3084081" y="4176124"/>
                  <a:pt x="3085412" y="4175192"/>
                  <a:pt x="3086344" y="4174260"/>
                </a:cubicBezTo>
                <a:cubicBezTo>
                  <a:pt x="3087408" y="4173062"/>
                  <a:pt x="3088340" y="4171730"/>
                  <a:pt x="3089006" y="4170000"/>
                </a:cubicBezTo>
                <a:cubicBezTo>
                  <a:pt x="3089671" y="4168402"/>
                  <a:pt x="3089938" y="4166539"/>
                  <a:pt x="3089938" y="4164542"/>
                </a:cubicBezTo>
                <a:cubicBezTo>
                  <a:pt x="3089938" y="4162678"/>
                  <a:pt x="3089671" y="4160948"/>
                  <a:pt x="3089006" y="4159351"/>
                </a:cubicBezTo>
                <a:cubicBezTo>
                  <a:pt x="3088340" y="4157620"/>
                  <a:pt x="3087408" y="4156289"/>
                  <a:pt x="3086344" y="4155091"/>
                </a:cubicBezTo>
                <a:cubicBezTo>
                  <a:pt x="3085279" y="4154026"/>
                  <a:pt x="3083947" y="4153094"/>
                  <a:pt x="3082350" y="4152428"/>
                </a:cubicBezTo>
                <a:cubicBezTo>
                  <a:pt x="3080885" y="4151763"/>
                  <a:pt x="3079288" y="4151497"/>
                  <a:pt x="3077291" y="4151497"/>
                </a:cubicBezTo>
                <a:close/>
                <a:moveTo>
                  <a:pt x="2859501" y="4151497"/>
                </a:moveTo>
                <a:cubicBezTo>
                  <a:pt x="2853644" y="4151497"/>
                  <a:pt x="2851115" y="4153493"/>
                  <a:pt x="2849515" y="4155091"/>
                </a:cubicBezTo>
                <a:cubicBezTo>
                  <a:pt x="2846982" y="4157753"/>
                  <a:pt x="2845918" y="4160549"/>
                  <a:pt x="2845918" y="4164542"/>
                </a:cubicBezTo>
                <a:cubicBezTo>
                  <a:pt x="2845918" y="4168668"/>
                  <a:pt x="2846982" y="4171464"/>
                  <a:pt x="2849515" y="4173993"/>
                </a:cubicBezTo>
                <a:cubicBezTo>
                  <a:pt x="2851115" y="4175592"/>
                  <a:pt x="2853644" y="4177455"/>
                  <a:pt x="2859501" y="4177455"/>
                </a:cubicBezTo>
                <a:cubicBezTo>
                  <a:pt x="2861498" y="4177455"/>
                  <a:pt x="2863362" y="4177056"/>
                  <a:pt x="2864826" y="4176657"/>
                </a:cubicBezTo>
                <a:cubicBezTo>
                  <a:pt x="2866424" y="4176124"/>
                  <a:pt x="2867622" y="4175192"/>
                  <a:pt x="2868553" y="4174260"/>
                </a:cubicBezTo>
                <a:cubicBezTo>
                  <a:pt x="2869618" y="4173062"/>
                  <a:pt x="2870550" y="4171730"/>
                  <a:pt x="2871216" y="4170000"/>
                </a:cubicBezTo>
                <a:cubicBezTo>
                  <a:pt x="2871748" y="4168402"/>
                  <a:pt x="2872147" y="4166539"/>
                  <a:pt x="2872147" y="4164542"/>
                </a:cubicBezTo>
                <a:cubicBezTo>
                  <a:pt x="2872147" y="4162678"/>
                  <a:pt x="2871881" y="4160948"/>
                  <a:pt x="2871216" y="4159351"/>
                </a:cubicBezTo>
                <a:cubicBezTo>
                  <a:pt x="2870550" y="4157620"/>
                  <a:pt x="2869618" y="4156289"/>
                  <a:pt x="2868553" y="4155091"/>
                </a:cubicBezTo>
                <a:cubicBezTo>
                  <a:pt x="2867489" y="4154026"/>
                  <a:pt x="2866157" y="4153094"/>
                  <a:pt x="2864560" y="4152428"/>
                </a:cubicBezTo>
                <a:cubicBezTo>
                  <a:pt x="2863096" y="4151763"/>
                  <a:pt x="2861498" y="4151497"/>
                  <a:pt x="2859501" y="4151497"/>
                </a:cubicBezTo>
                <a:close/>
                <a:moveTo>
                  <a:pt x="2641844" y="4151497"/>
                </a:moveTo>
                <a:cubicBezTo>
                  <a:pt x="2635987" y="4151497"/>
                  <a:pt x="2633458" y="4153493"/>
                  <a:pt x="2631861" y="4155091"/>
                </a:cubicBezTo>
                <a:cubicBezTo>
                  <a:pt x="2629331" y="4157753"/>
                  <a:pt x="2628266" y="4160549"/>
                  <a:pt x="2628266" y="4164542"/>
                </a:cubicBezTo>
                <a:cubicBezTo>
                  <a:pt x="2628266" y="4168668"/>
                  <a:pt x="2629331" y="4171464"/>
                  <a:pt x="2631861" y="4173993"/>
                </a:cubicBezTo>
                <a:cubicBezTo>
                  <a:pt x="2633458" y="4175592"/>
                  <a:pt x="2635987" y="4177455"/>
                  <a:pt x="2641844" y="4177455"/>
                </a:cubicBezTo>
                <a:cubicBezTo>
                  <a:pt x="2643841" y="4177455"/>
                  <a:pt x="2645705" y="4177056"/>
                  <a:pt x="2647169" y="4176657"/>
                </a:cubicBezTo>
                <a:cubicBezTo>
                  <a:pt x="2648766" y="4176124"/>
                  <a:pt x="2649964" y="4175192"/>
                  <a:pt x="2650896" y="4174260"/>
                </a:cubicBezTo>
                <a:cubicBezTo>
                  <a:pt x="2651961" y="4173062"/>
                  <a:pt x="2652893" y="4171730"/>
                  <a:pt x="2653559" y="4170000"/>
                </a:cubicBezTo>
                <a:cubicBezTo>
                  <a:pt x="2654091" y="4168402"/>
                  <a:pt x="2654490" y="4166539"/>
                  <a:pt x="2654490" y="4164542"/>
                </a:cubicBezTo>
                <a:cubicBezTo>
                  <a:pt x="2654490" y="4162678"/>
                  <a:pt x="2654224" y="4160948"/>
                  <a:pt x="2653559" y="4159351"/>
                </a:cubicBezTo>
                <a:cubicBezTo>
                  <a:pt x="2652893" y="4157620"/>
                  <a:pt x="2651961" y="4156289"/>
                  <a:pt x="2650896" y="4155091"/>
                </a:cubicBezTo>
                <a:cubicBezTo>
                  <a:pt x="2649831" y="4154026"/>
                  <a:pt x="2648500" y="4153094"/>
                  <a:pt x="2646903" y="4152428"/>
                </a:cubicBezTo>
                <a:cubicBezTo>
                  <a:pt x="2645438" y="4151763"/>
                  <a:pt x="2643841" y="4151497"/>
                  <a:pt x="2641844" y="4151497"/>
                </a:cubicBezTo>
                <a:close/>
                <a:moveTo>
                  <a:pt x="2424187" y="4151497"/>
                </a:moveTo>
                <a:cubicBezTo>
                  <a:pt x="2418330" y="4151497"/>
                  <a:pt x="2415801" y="4153493"/>
                  <a:pt x="2414204" y="4155091"/>
                </a:cubicBezTo>
                <a:cubicBezTo>
                  <a:pt x="2411673" y="4157753"/>
                  <a:pt x="2410609" y="4160549"/>
                  <a:pt x="2410609" y="4164542"/>
                </a:cubicBezTo>
                <a:cubicBezTo>
                  <a:pt x="2410609" y="4168668"/>
                  <a:pt x="2411673" y="4171464"/>
                  <a:pt x="2414204" y="4173993"/>
                </a:cubicBezTo>
                <a:cubicBezTo>
                  <a:pt x="2415801" y="4175592"/>
                  <a:pt x="2418330" y="4177455"/>
                  <a:pt x="2424187" y="4177455"/>
                </a:cubicBezTo>
                <a:cubicBezTo>
                  <a:pt x="2426317" y="4177455"/>
                  <a:pt x="2428048" y="4177056"/>
                  <a:pt x="2429512" y="4176657"/>
                </a:cubicBezTo>
                <a:cubicBezTo>
                  <a:pt x="2431110" y="4176124"/>
                  <a:pt x="2432308" y="4175192"/>
                  <a:pt x="2433239" y="4174260"/>
                </a:cubicBezTo>
                <a:cubicBezTo>
                  <a:pt x="2434304" y="4173062"/>
                  <a:pt x="2435236" y="4171730"/>
                  <a:pt x="2435902" y="4170000"/>
                </a:cubicBezTo>
                <a:cubicBezTo>
                  <a:pt x="2436434" y="4168402"/>
                  <a:pt x="2436833" y="4166539"/>
                  <a:pt x="2436833" y="4164542"/>
                </a:cubicBezTo>
                <a:cubicBezTo>
                  <a:pt x="2436833" y="4162678"/>
                  <a:pt x="2436567" y="4160948"/>
                  <a:pt x="2435902" y="4159351"/>
                </a:cubicBezTo>
                <a:cubicBezTo>
                  <a:pt x="2435236" y="4157620"/>
                  <a:pt x="2434304" y="4156289"/>
                  <a:pt x="2433239" y="4155091"/>
                </a:cubicBezTo>
                <a:cubicBezTo>
                  <a:pt x="2432175" y="4154026"/>
                  <a:pt x="2430843" y="4153094"/>
                  <a:pt x="2429246" y="4152428"/>
                </a:cubicBezTo>
                <a:cubicBezTo>
                  <a:pt x="2427782" y="4151763"/>
                  <a:pt x="2426184" y="4151497"/>
                  <a:pt x="2424187" y="4151497"/>
                </a:cubicBezTo>
                <a:close/>
                <a:moveTo>
                  <a:pt x="2206530" y="4151497"/>
                </a:moveTo>
                <a:cubicBezTo>
                  <a:pt x="2200673" y="4151497"/>
                  <a:pt x="2198144" y="4153493"/>
                  <a:pt x="2196546" y="4155091"/>
                </a:cubicBezTo>
                <a:cubicBezTo>
                  <a:pt x="2194017" y="4157753"/>
                  <a:pt x="2192952" y="4160549"/>
                  <a:pt x="2192952" y="4164542"/>
                </a:cubicBezTo>
                <a:cubicBezTo>
                  <a:pt x="2192952" y="4168668"/>
                  <a:pt x="2194017" y="4171464"/>
                  <a:pt x="2196546" y="4173993"/>
                </a:cubicBezTo>
                <a:cubicBezTo>
                  <a:pt x="2198144" y="4175592"/>
                  <a:pt x="2200673" y="4177455"/>
                  <a:pt x="2206530" y="4177455"/>
                </a:cubicBezTo>
                <a:cubicBezTo>
                  <a:pt x="2208660" y="4177455"/>
                  <a:pt x="2210391" y="4177056"/>
                  <a:pt x="2211855" y="4176657"/>
                </a:cubicBezTo>
                <a:cubicBezTo>
                  <a:pt x="2213452" y="4176124"/>
                  <a:pt x="2214650" y="4175192"/>
                  <a:pt x="2215582" y="4174260"/>
                </a:cubicBezTo>
                <a:cubicBezTo>
                  <a:pt x="2216647" y="4173062"/>
                  <a:pt x="2217579" y="4171730"/>
                  <a:pt x="2218245" y="4170000"/>
                </a:cubicBezTo>
                <a:cubicBezTo>
                  <a:pt x="2218777" y="4168402"/>
                  <a:pt x="2219176" y="4166539"/>
                  <a:pt x="2219176" y="4164542"/>
                </a:cubicBezTo>
                <a:cubicBezTo>
                  <a:pt x="2219176" y="4162678"/>
                  <a:pt x="2218910" y="4160948"/>
                  <a:pt x="2218245" y="4159351"/>
                </a:cubicBezTo>
                <a:cubicBezTo>
                  <a:pt x="2217579" y="4157620"/>
                  <a:pt x="2216647" y="4156289"/>
                  <a:pt x="2215582" y="4155091"/>
                </a:cubicBezTo>
                <a:cubicBezTo>
                  <a:pt x="2214517" y="4154026"/>
                  <a:pt x="2213186" y="4153094"/>
                  <a:pt x="2211589" y="4152428"/>
                </a:cubicBezTo>
                <a:cubicBezTo>
                  <a:pt x="2210124" y="4151763"/>
                  <a:pt x="2208527" y="4151497"/>
                  <a:pt x="2206530" y="4151497"/>
                </a:cubicBezTo>
                <a:close/>
                <a:moveTo>
                  <a:pt x="1989006" y="4151497"/>
                </a:moveTo>
                <a:cubicBezTo>
                  <a:pt x="1983148" y="4151497"/>
                  <a:pt x="1980619" y="4153493"/>
                  <a:pt x="1979023" y="4155091"/>
                </a:cubicBezTo>
                <a:cubicBezTo>
                  <a:pt x="1976492" y="4157753"/>
                  <a:pt x="1975428" y="4160549"/>
                  <a:pt x="1975428" y="4164542"/>
                </a:cubicBezTo>
                <a:cubicBezTo>
                  <a:pt x="1975428" y="4168668"/>
                  <a:pt x="1976492" y="4171464"/>
                  <a:pt x="1979023" y="4173993"/>
                </a:cubicBezTo>
                <a:cubicBezTo>
                  <a:pt x="1980619" y="4175592"/>
                  <a:pt x="1983148" y="4177455"/>
                  <a:pt x="1989006" y="4177455"/>
                </a:cubicBezTo>
                <a:cubicBezTo>
                  <a:pt x="1991002" y="4177455"/>
                  <a:pt x="1992734" y="4177056"/>
                  <a:pt x="1994330" y="4176657"/>
                </a:cubicBezTo>
                <a:cubicBezTo>
                  <a:pt x="1995928" y="4176124"/>
                  <a:pt x="1997127" y="4175192"/>
                  <a:pt x="1998058" y="4174260"/>
                </a:cubicBezTo>
                <a:cubicBezTo>
                  <a:pt x="1999123" y="4173062"/>
                  <a:pt x="2000055" y="4171730"/>
                  <a:pt x="2000721" y="4170000"/>
                </a:cubicBezTo>
                <a:cubicBezTo>
                  <a:pt x="2001253" y="4168402"/>
                  <a:pt x="2001651" y="4166539"/>
                  <a:pt x="2001651" y="4164542"/>
                </a:cubicBezTo>
                <a:cubicBezTo>
                  <a:pt x="2001651" y="4162678"/>
                  <a:pt x="2001386" y="4160948"/>
                  <a:pt x="2000721" y="4159351"/>
                </a:cubicBezTo>
                <a:cubicBezTo>
                  <a:pt x="2000055" y="4157620"/>
                  <a:pt x="1999123" y="4156289"/>
                  <a:pt x="1998058" y="4155091"/>
                </a:cubicBezTo>
                <a:cubicBezTo>
                  <a:pt x="1996994" y="4154026"/>
                  <a:pt x="1995662" y="4153094"/>
                  <a:pt x="1994064" y="4152428"/>
                </a:cubicBezTo>
                <a:cubicBezTo>
                  <a:pt x="1992600" y="4151763"/>
                  <a:pt x="1991002" y="4151497"/>
                  <a:pt x="1989006" y="4151497"/>
                </a:cubicBezTo>
                <a:close/>
                <a:moveTo>
                  <a:pt x="1771369" y="4151497"/>
                </a:moveTo>
                <a:cubicBezTo>
                  <a:pt x="1765512" y="4151497"/>
                  <a:pt x="1762984" y="4153493"/>
                  <a:pt x="1761387" y="4155091"/>
                </a:cubicBezTo>
                <a:cubicBezTo>
                  <a:pt x="1758858" y="4157753"/>
                  <a:pt x="1757793" y="4160549"/>
                  <a:pt x="1757793" y="4164542"/>
                </a:cubicBezTo>
                <a:cubicBezTo>
                  <a:pt x="1757793" y="4168668"/>
                  <a:pt x="1758858" y="4171464"/>
                  <a:pt x="1761387" y="4173993"/>
                </a:cubicBezTo>
                <a:cubicBezTo>
                  <a:pt x="1762984" y="4175592"/>
                  <a:pt x="1765512" y="4177455"/>
                  <a:pt x="1771369" y="4177455"/>
                </a:cubicBezTo>
                <a:cubicBezTo>
                  <a:pt x="1773366" y="4177455"/>
                  <a:pt x="1775230" y="4177056"/>
                  <a:pt x="1776694" y="4176657"/>
                </a:cubicBezTo>
                <a:cubicBezTo>
                  <a:pt x="1778158" y="4176124"/>
                  <a:pt x="1779488" y="4175192"/>
                  <a:pt x="1780421" y="4174260"/>
                </a:cubicBezTo>
                <a:cubicBezTo>
                  <a:pt x="1781485" y="4173062"/>
                  <a:pt x="1782417" y="4171730"/>
                  <a:pt x="1783083" y="4170000"/>
                </a:cubicBezTo>
                <a:cubicBezTo>
                  <a:pt x="1783748" y="4168402"/>
                  <a:pt x="1784148" y="4166539"/>
                  <a:pt x="1784148" y="4164542"/>
                </a:cubicBezTo>
                <a:cubicBezTo>
                  <a:pt x="1784148" y="4162678"/>
                  <a:pt x="1783748" y="4160948"/>
                  <a:pt x="1783083" y="4159351"/>
                </a:cubicBezTo>
                <a:cubicBezTo>
                  <a:pt x="1782417" y="4157620"/>
                  <a:pt x="1781485" y="4156289"/>
                  <a:pt x="1780421" y="4155091"/>
                </a:cubicBezTo>
                <a:cubicBezTo>
                  <a:pt x="1779356" y="4154026"/>
                  <a:pt x="1778025" y="4153094"/>
                  <a:pt x="1776428" y="4152428"/>
                </a:cubicBezTo>
                <a:cubicBezTo>
                  <a:pt x="1774963" y="4151763"/>
                  <a:pt x="1773366" y="4151497"/>
                  <a:pt x="1771369" y="4151497"/>
                </a:cubicBezTo>
                <a:close/>
                <a:moveTo>
                  <a:pt x="1553730" y="4151497"/>
                </a:moveTo>
                <a:cubicBezTo>
                  <a:pt x="1547873" y="4151497"/>
                  <a:pt x="1545344" y="4153493"/>
                  <a:pt x="1543747" y="4155091"/>
                </a:cubicBezTo>
                <a:cubicBezTo>
                  <a:pt x="1541217" y="4157753"/>
                  <a:pt x="1540153" y="4160549"/>
                  <a:pt x="1540153" y="4164542"/>
                </a:cubicBezTo>
                <a:cubicBezTo>
                  <a:pt x="1540153" y="4168668"/>
                  <a:pt x="1541217" y="4171464"/>
                  <a:pt x="1543747" y="4173993"/>
                </a:cubicBezTo>
                <a:cubicBezTo>
                  <a:pt x="1545344" y="4175592"/>
                  <a:pt x="1547873" y="4177455"/>
                  <a:pt x="1553730" y="4177455"/>
                </a:cubicBezTo>
                <a:cubicBezTo>
                  <a:pt x="1555727" y="4177455"/>
                  <a:pt x="1557591" y="4177056"/>
                  <a:pt x="1559055" y="4176657"/>
                </a:cubicBezTo>
                <a:cubicBezTo>
                  <a:pt x="1560519" y="4176124"/>
                  <a:pt x="1561851" y="4175192"/>
                  <a:pt x="1562782" y="4174260"/>
                </a:cubicBezTo>
                <a:cubicBezTo>
                  <a:pt x="1563847" y="4173062"/>
                  <a:pt x="1564779" y="4171730"/>
                  <a:pt x="1565445" y="4170000"/>
                </a:cubicBezTo>
                <a:cubicBezTo>
                  <a:pt x="1566110" y="4168402"/>
                  <a:pt x="1566510" y="4166539"/>
                  <a:pt x="1566510" y="4164542"/>
                </a:cubicBezTo>
                <a:cubicBezTo>
                  <a:pt x="1566510" y="4162678"/>
                  <a:pt x="1566110" y="4160948"/>
                  <a:pt x="1565445" y="4159351"/>
                </a:cubicBezTo>
                <a:cubicBezTo>
                  <a:pt x="1564779" y="4157620"/>
                  <a:pt x="1563847" y="4156289"/>
                  <a:pt x="1562782" y="4155091"/>
                </a:cubicBezTo>
                <a:cubicBezTo>
                  <a:pt x="1561717" y="4154026"/>
                  <a:pt x="1560386" y="4153094"/>
                  <a:pt x="1558789" y="4152428"/>
                </a:cubicBezTo>
                <a:cubicBezTo>
                  <a:pt x="1557325" y="4151763"/>
                  <a:pt x="1555727" y="4151497"/>
                  <a:pt x="1553730" y="4151497"/>
                </a:cubicBezTo>
                <a:close/>
                <a:moveTo>
                  <a:pt x="1336086" y="4151497"/>
                </a:moveTo>
                <a:cubicBezTo>
                  <a:pt x="1330228" y="4151497"/>
                  <a:pt x="1327699" y="4153493"/>
                  <a:pt x="1326103" y="4155091"/>
                </a:cubicBezTo>
                <a:cubicBezTo>
                  <a:pt x="1323572" y="4157753"/>
                  <a:pt x="1322508" y="4160549"/>
                  <a:pt x="1322508" y="4164542"/>
                </a:cubicBezTo>
                <a:cubicBezTo>
                  <a:pt x="1322508" y="4168668"/>
                  <a:pt x="1323572" y="4171464"/>
                  <a:pt x="1326103" y="4173993"/>
                </a:cubicBezTo>
                <a:cubicBezTo>
                  <a:pt x="1327699" y="4175592"/>
                  <a:pt x="1330228" y="4177455"/>
                  <a:pt x="1336086" y="4177455"/>
                </a:cubicBezTo>
                <a:cubicBezTo>
                  <a:pt x="1338216" y="4177455"/>
                  <a:pt x="1339946" y="4177056"/>
                  <a:pt x="1341413" y="4176657"/>
                </a:cubicBezTo>
                <a:cubicBezTo>
                  <a:pt x="1342876" y="4176124"/>
                  <a:pt x="1344207" y="4175192"/>
                  <a:pt x="1345140" y="4174260"/>
                </a:cubicBezTo>
                <a:cubicBezTo>
                  <a:pt x="1346204" y="4173062"/>
                  <a:pt x="1347137" y="4171730"/>
                  <a:pt x="1347802" y="4170000"/>
                </a:cubicBezTo>
                <a:cubicBezTo>
                  <a:pt x="1348467" y="4168402"/>
                  <a:pt x="1348868" y="4166539"/>
                  <a:pt x="1348868" y="4164542"/>
                </a:cubicBezTo>
                <a:cubicBezTo>
                  <a:pt x="1348868" y="4162678"/>
                  <a:pt x="1348467" y="4160948"/>
                  <a:pt x="1347802" y="4159351"/>
                </a:cubicBezTo>
                <a:cubicBezTo>
                  <a:pt x="1347137" y="4157620"/>
                  <a:pt x="1346204" y="4156289"/>
                  <a:pt x="1345140" y="4155091"/>
                </a:cubicBezTo>
                <a:cubicBezTo>
                  <a:pt x="1344075" y="4154026"/>
                  <a:pt x="1342743" y="4153094"/>
                  <a:pt x="1341145" y="4152428"/>
                </a:cubicBezTo>
                <a:cubicBezTo>
                  <a:pt x="1339681" y="4151763"/>
                  <a:pt x="1338082" y="4151497"/>
                  <a:pt x="1336086" y="4151497"/>
                </a:cubicBezTo>
                <a:close/>
                <a:moveTo>
                  <a:pt x="1118574" y="4151497"/>
                </a:moveTo>
                <a:cubicBezTo>
                  <a:pt x="1112715" y="4151497"/>
                  <a:pt x="1110186" y="4153493"/>
                  <a:pt x="1108589" y="4155091"/>
                </a:cubicBezTo>
                <a:cubicBezTo>
                  <a:pt x="1105926" y="4157753"/>
                  <a:pt x="1104862" y="4160549"/>
                  <a:pt x="1104862" y="4164542"/>
                </a:cubicBezTo>
                <a:cubicBezTo>
                  <a:pt x="1104862" y="4168668"/>
                  <a:pt x="1105926" y="4171464"/>
                  <a:pt x="1108456" y="4173993"/>
                </a:cubicBezTo>
                <a:cubicBezTo>
                  <a:pt x="1110053" y="4175592"/>
                  <a:pt x="1112583" y="4177455"/>
                  <a:pt x="1118441" y="4177455"/>
                </a:cubicBezTo>
                <a:cubicBezTo>
                  <a:pt x="1120571" y="4177455"/>
                  <a:pt x="1122303" y="4177056"/>
                  <a:pt x="1123898" y="4176657"/>
                </a:cubicBezTo>
                <a:cubicBezTo>
                  <a:pt x="1125363" y="4176124"/>
                  <a:pt x="1126698" y="4175192"/>
                  <a:pt x="1127627" y="4174260"/>
                </a:cubicBezTo>
                <a:cubicBezTo>
                  <a:pt x="1128692" y="4173062"/>
                  <a:pt x="1129624" y="4171730"/>
                  <a:pt x="1130291" y="4170000"/>
                </a:cubicBezTo>
                <a:cubicBezTo>
                  <a:pt x="1130955" y="4168402"/>
                  <a:pt x="1131356" y="4166539"/>
                  <a:pt x="1131356" y="4164542"/>
                </a:cubicBezTo>
                <a:cubicBezTo>
                  <a:pt x="1131356" y="4162678"/>
                  <a:pt x="1130955" y="4160948"/>
                  <a:pt x="1130291" y="4159351"/>
                </a:cubicBezTo>
                <a:cubicBezTo>
                  <a:pt x="1129624" y="4157620"/>
                  <a:pt x="1128692" y="4156289"/>
                  <a:pt x="1127627" y="4155091"/>
                </a:cubicBezTo>
                <a:cubicBezTo>
                  <a:pt x="1126562" y="4154026"/>
                  <a:pt x="1125231" y="4153094"/>
                  <a:pt x="1123632" y="4152428"/>
                </a:cubicBezTo>
                <a:cubicBezTo>
                  <a:pt x="1122170" y="4151763"/>
                  <a:pt x="1120571" y="4151497"/>
                  <a:pt x="1118574" y="4151497"/>
                </a:cubicBezTo>
                <a:close/>
                <a:moveTo>
                  <a:pt x="901062" y="4151497"/>
                </a:moveTo>
                <a:cubicBezTo>
                  <a:pt x="895204" y="4151497"/>
                  <a:pt x="892675" y="4153493"/>
                  <a:pt x="891078" y="4155091"/>
                </a:cubicBezTo>
                <a:cubicBezTo>
                  <a:pt x="888415" y="4157753"/>
                  <a:pt x="887351" y="4160549"/>
                  <a:pt x="887351" y="4164542"/>
                </a:cubicBezTo>
                <a:cubicBezTo>
                  <a:pt x="887351" y="4168668"/>
                  <a:pt x="888415" y="4171464"/>
                  <a:pt x="890945" y="4173993"/>
                </a:cubicBezTo>
                <a:cubicBezTo>
                  <a:pt x="892542" y="4175592"/>
                  <a:pt x="895071" y="4177455"/>
                  <a:pt x="900928" y="4177455"/>
                </a:cubicBezTo>
                <a:cubicBezTo>
                  <a:pt x="902925" y="4177455"/>
                  <a:pt x="904656" y="4177056"/>
                  <a:pt x="906386" y="4176657"/>
                </a:cubicBezTo>
                <a:cubicBezTo>
                  <a:pt x="907850" y="4176124"/>
                  <a:pt x="909182" y="4175192"/>
                  <a:pt x="910114" y="4174260"/>
                </a:cubicBezTo>
                <a:cubicBezTo>
                  <a:pt x="911178" y="4173062"/>
                  <a:pt x="912110" y="4171730"/>
                  <a:pt x="912776" y="4170000"/>
                </a:cubicBezTo>
                <a:cubicBezTo>
                  <a:pt x="913441" y="4168402"/>
                  <a:pt x="913841" y="4166539"/>
                  <a:pt x="913841" y="4164542"/>
                </a:cubicBezTo>
                <a:cubicBezTo>
                  <a:pt x="913841" y="4162678"/>
                  <a:pt x="913441" y="4160948"/>
                  <a:pt x="912776" y="4159351"/>
                </a:cubicBezTo>
                <a:cubicBezTo>
                  <a:pt x="912110" y="4157620"/>
                  <a:pt x="911178" y="4156289"/>
                  <a:pt x="910114" y="4155091"/>
                </a:cubicBezTo>
                <a:cubicBezTo>
                  <a:pt x="909049" y="4154026"/>
                  <a:pt x="907717" y="4153094"/>
                  <a:pt x="906120" y="4152428"/>
                </a:cubicBezTo>
                <a:cubicBezTo>
                  <a:pt x="904656" y="4151763"/>
                  <a:pt x="903058" y="4151497"/>
                  <a:pt x="901062" y="4151497"/>
                </a:cubicBezTo>
                <a:close/>
                <a:moveTo>
                  <a:pt x="683287" y="4151497"/>
                </a:moveTo>
                <a:cubicBezTo>
                  <a:pt x="677430" y="4151497"/>
                  <a:pt x="674901" y="4153493"/>
                  <a:pt x="673304" y="4155091"/>
                </a:cubicBezTo>
                <a:cubicBezTo>
                  <a:pt x="670774" y="4157753"/>
                  <a:pt x="669710" y="4160549"/>
                  <a:pt x="669710" y="4164542"/>
                </a:cubicBezTo>
                <a:cubicBezTo>
                  <a:pt x="669710" y="4168668"/>
                  <a:pt x="670774" y="4171464"/>
                  <a:pt x="673304" y="4173993"/>
                </a:cubicBezTo>
                <a:cubicBezTo>
                  <a:pt x="674901" y="4175592"/>
                  <a:pt x="677430" y="4177455"/>
                  <a:pt x="683287" y="4177455"/>
                </a:cubicBezTo>
                <a:cubicBezTo>
                  <a:pt x="685284" y="4177455"/>
                  <a:pt x="687148" y="4177056"/>
                  <a:pt x="688612" y="4176657"/>
                </a:cubicBezTo>
                <a:cubicBezTo>
                  <a:pt x="690076" y="4176124"/>
                  <a:pt x="691408" y="4175192"/>
                  <a:pt x="692339" y="4174260"/>
                </a:cubicBezTo>
                <a:cubicBezTo>
                  <a:pt x="693404" y="4173062"/>
                  <a:pt x="694336" y="4171730"/>
                  <a:pt x="695002" y="4170000"/>
                </a:cubicBezTo>
                <a:cubicBezTo>
                  <a:pt x="695667" y="4168402"/>
                  <a:pt x="696067" y="4166539"/>
                  <a:pt x="696067" y="4164542"/>
                </a:cubicBezTo>
                <a:cubicBezTo>
                  <a:pt x="696067" y="4162678"/>
                  <a:pt x="695667" y="4160948"/>
                  <a:pt x="695002" y="4159351"/>
                </a:cubicBezTo>
                <a:cubicBezTo>
                  <a:pt x="694336" y="4157620"/>
                  <a:pt x="693404" y="4156289"/>
                  <a:pt x="692339" y="4155091"/>
                </a:cubicBezTo>
                <a:cubicBezTo>
                  <a:pt x="691274" y="4154026"/>
                  <a:pt x="689943" y="4153094"/>
                  <a:pt x="688346" y="4152428"/>
                </a:cubicBezTo>
                <a:cubicBezTo>
                  <a:pt x="686882" y="4151763"/>
                  <a:pt x="685284" y="4151497"/>
                  <a:pt x="683287" y="4151497"/>
                </a:cubicBezTo>
                <a:close/>
                <a:moveTo>
                  <a:pt x="465645" y="4151497"/>
                </a:moveTo>
                <a:cubicBezTo>
                  <a:pt x="459787" y="4151497"/>
                  <a:pt x="457259" y="4153493"/>
                  <a:pt x="455662" y="4155091"/>
                </a:cubicBezTo>
                <a:cubicBezTo>
                  <a:pt x="453131" y="4157753"/>
                  <a:pt x="452068" y="4160549"/>
                  <a:pt x="452068" y="4164542"/>
                </a:cubicBezTo>
                <a:cubicBezTo>
                  <a:pt x="452068" y="4168668"/>
                  <a:pt x="453131" y="4171464"/>
                  <a:pt x="455662" y="4173993"/>
                </a:cubicBezTo>
                <a:cubicBezTo>
                  <a:pt x="457259" y="4175592"/>
                  <a:pt x="459787" y="4177455"/>
                  <a:pt x="465645" y="4177455"/>
                </a:cubicBezTo>
                <a:cubicBezTo>
                  <a:pt x="467642" y="4177455"/>
                  <a:pt x="469506" y="4177056"/>
                  <a:pt x="470970" y="4176657"/>
                </a:cubicBezTo>
                <a:cubicBezTo>
                  <a:pt x="472434" y="4176124"/>
                  <a:pt x="473765" y="4175192"/>
                  <a:pt x="474697" y="4174260"/>
                </a:cubicBezTo>
                <a:cubicBezTo>
                  <a:pt x="475762" y="4173062"/>
                  <a:pt x="476694" y="4171730"/>
                  <a:pt x="477360" y="4170000"/>
                </a:cubicBezTo>
                <a:cubicBezTo>
                  <a:pt x="478025" y="4168402"/>
                  <a:pt x="478425" y="4166539"/>
                  <a:pt x="478425" y="4164542"/>
                </a:cubicBezTo>
                <a:cubicBezTo>
                  <a:pt x="478425" y="4162678"/>
                  <a:pt x="478025" y="4160948"/>
                  <a:pt x="477360" y="4159351"/>
                </a:cubicBezTo>
                <a:cubicBezTo>
                  <a:pt x="476694" y="4157620"/>
                  <a:pt x="475762" y="4156289"/>
                  <a:pt x="474697" y="4155091"/>
                </a:cubicBezTo>
                <a:cubicBezTo>
                  <a:pt x="473632" y="4154026"/>
                  <a:pt x="472301" y="4153094"/>
                  <a:pt x="470704" y="4152428"/>
                </a:cubicBezTo>
                <a:cubicBezTo>
                  <a:pt x="469240" y="4151763"/>
                  <a:pt x="467642" y="4151497"/>
                  <a:pt x="465645" y="4151497"/>
                </a:cubicBezTo>
                <a:close/>
                <a:moveTo>
                  <a:pt x="248002" y="4151497"/>
                </a:moveTo>
                <a:cubicBezTo>
                  <a:pt x="242145" y="4151497"/>
                  <a:pt x="239617" y="4153493"/>
                  <a:pt x="238020" y="4155091"/>
                </a:cubicBezTo>
                <a:cubicBezTo>
                  <a:pt x="235490" y="4157753"/>
                  <a:pt x="234426" y="4160549"/>
                  <a:pt x="234426" y="4164542"/>
                </a:cubicBezTo>
                <a:cubicBezTo>
                  <a:pt x="234426" y="4168668"/>
                  <a:pt x="235490" y="4171464"/>
                  <a:pt x="238020" y="4173993"/>
                </a:cubicBezTo>
                <a:cubicBezTo>
                  <a:pt x="239617" y="4175592"/>
                  <a:pt x="242145" y="4177455"/>
                  <a:pt x="248002" y="4177455"/>
                </a:cubicBezTo>
                <a:cubicBezTo>
                  <a:pt x="250132" y="4177455"/>
                  <a:pt x="251863" y="4177056"/>
                  <a:pt x="253327" y="4176657"/>
                </a:cubicBezTo>
                <a:cubicBezTo>
                  <a:pt x="254791" y="4176124"/>
                  <a:pt x="256122" y="4175192"/>
                  <a:pt x="257054" y="4174260"/>
                </a:cubicBezTo>
                <a:cubicBezTo>
                  <a:pt x="258119" y="4173062"/>
                  <a:pt x="259051" y="4171730"/>
                  <a:pt x="259717" y="4170000"/>
                </a:cubicBezTo>
                <a:cubicBezTo>
                  <a:pt x="260382" y="4168402"/>
                  <a:pt x="260782" y="4166539"/>
                  <a:pt x="260782" y="4164542"/>
                </a:cubicBezTo>
                <a:cubicBezTo>
                  <a:pt x="260782" y="4162678"/>
                  <a:pt x="260382" y="4160948"/>
                  <a:pt x="259717" y="4159351"/>
                </a:cubicBezTo>
                <a:cubicBezTo>
                  <a:pt x="259051" y="4157620"/>
                  <a:pt x="258119" y="4156289"/>
                  <a:pt x="257054" y="4155091"/>
                </a:cubicBezTo>
                <a:cubicBezTo>
                  <a:pt x="255989" y="4154026"/>
                  <a:pt x="254658" y="4153094"/>
                  <a:pt x="253061" y="4152428"/>
                </a:cubicBezTo>
                <a:cubicBezTo>
                  <a:pt x="251596" y="4151763"/>
                  <a:pt x="249999" y="4151497"/>
                  <a:pt x="248002" y="4151497"/>
                </a:cubicBezTo>
                <a:close/>
                <a:moveTo>
                  <a:pt x="30360" y="4151497"/>
                </a:moveTo>
                <a:cubicBezTo>
                  <a:pt x="24503" y="4151497"/>
                  <a:pt x="21974" y="4153493"/>
                  <a:pt x="20377" y="4155091"/>
                </a:cubicBezTo>
                <a:cubicBezTo>
                  <a:pt x="17847" y="4157753"/>
                  <a:pt x="16783" y="4160549"/>
                  <a:pt x="16783" y="4164542"/>
                </a:cubicBezTo>
                <a:cubicBezTo>
                  <a:pt x="16783" y="4168668"/>
                  <a:pt x="17847" y="4171464"/>
                  <a:pt x="20377" y="4173993"/>
                </a:cubicBezTo>
                <a:cubicBezTo>
                  <a:pt x="21974" y="4175592"/>
                  <a:pt x="24503" y="4177455"/>
                  <a:pt x="30360" y="4177455"/>
                </a:cubicBezTo>
                <a:cubicBezTo>
                  <a:pt x="32490" y="4177455"/>
                  <a:pt x="34221" y="4177056"/>
                  <a:pt x="35685" y="4176657"/>
                </a:cubicBezTo>
                <a:cubicBezTo>
                  <a:pt x="37149" y="4176124"/>
                  <a:pt x="38481" y="4175192"/>
                  <a:pt x="39412" y="4174260"/>
                </a:cubicBezTo>
                <a:cubicBezTo>
                  <a:pt x="40477" y="4173062"/>
                  <a:pt x="41409" y="4171730"/>
                  <a:pt x="42075" y="4170000"/>
                </a:cubicBezTo>
                <a:cubicBezTo>
                  <a:pt x="42740" y="4168402"/>
                  <a:pt x="43006" y="4166539"/>
                  <a:pt x="43006" y="4164542"/>
                </a:cubicBezTo>
                <a:cubicBezTo>
                  <a:pt x="43006" y="4162678"/>
                  <a:pt x="42740" y="4160948"/>
                  <a:pt x="42075" y="4159351"/>
                </a:cubicBezTo>
                <a:cubicBezTo>
                  <a:pt x="41409" y="4157620"/>
                  <a:pt x="40477" y="4156289"/>
                  <a:pt x="39412" y="4155091"/>
                </a:cubicBezTo>
                <a:cubicBezTo>
                  <a:pt x="38347" y="4154026"/>
                  <a:pt x="37016" y="4153094"/>
                  <a:pt x="35419" y="4152428"/>
                </a:cubicBezTo>
                <a:cubicBezTo>
                  <a:pt x="33955" y="4151763"/>
                  <a:pt x="32357" y="4151497"/>
                  <a:pt x="30360" y="4151497"/>
                </a:cubicBezTo>
                <a:close/>
                <a:moveTo>
                  <a:pt x="10475977" y="4134724"/>
                </a:moveTo>
                <a:cubicBezTo>
                  <a:pt x="10480237" y="4134724"/>
                  <a:pt x="10484230" y="4135523"/>
                  <a:pt x="10487824" y="4137253"/>
                </a:cubicBezTo>
                <a:cubicBezTo>
                  <a:pt x="10491419" y="4138851"/>
                  <a:pt x="10494613" y="4140980"/>
                  <a:pt x="10497143" y="4143643"/>
                </a:cubicBezTo>
                <a:cubicBezTo>
                  <a:pt x="10499672" y="4146305"/>
                  <a:pt x="10501801" y="4149500"/>
                  <a:pt x="10503266" y="4153094"/>
                </a:cubicBezTo>
                <a:cubicBezTo>
                  <a:pt x="10504730" y="4156688"/>
                  <a:pt x="10505529" y="4160415"/>
                  <a:pt x="10505529" y="4164542"/>
                </a:cubicBezTo>
                <a:cubicBezTo>
                  <a:pt x="10505529" y="4168668"/>
                  <a:pt x="10504730" y="4172662"/>
                  <a:pt x="10503266" y="4176257"/>
                </a:cubicBezTo>
                <a:cubicBezTo>
                  <a:pt x="10501669" y="4179851"/>
                  <a:pt x="10499672" y="4182913"/>
                  <a:pt x="10497143" y="4185576"/>
                </a:cubicBezTo>
                <a:cubicBezTo>
                  <a:pt x="10494480" y="4188238"/>
                  <a:pt x="10491419" y="4190368"/>
                  <a:pt x="10487824" y="4191832"/>
                </a:cubicBezTo>
                <a:cubicBezTo>
                  <a:pt x="10484098" y="4193296"/>
                  <a:pt x="10480237" y="4194095"/>
                  <a:pt x="10475977" y="4194095"/>
                </a:cubicBezTo>
                <a:cubicBezTo>
                  <a:pt x="10466924" y="4194095"/>
                  <a:pt x="10459736" y="4191166"/>
                  <a:pt x="10454145" y="4185576"/>
                </a:cubicBezTo>
                <a:cubicBezTo>
                  <a:pt x="10448554" y="4179984"/>
                  <a:pt x="10445759" y="4172795"/>
                  <a:pt x="10445759" y="4164409"/>
                </a:cubicBezTo>
                <a:cubicBezTo>
                  <a:pt x="10445759" y="4156156"/>
                  <a:pt x="10448554" y="4149100"/>
                  <a:pt x="10454145" y="4143376"/>
                </a:cubicBezTo>
                <a:cubicBezTo>
                  <a:pt x="10459603" y="4137653"/>
                  <a:pt x="10466924" y="4134724"/>
                  <a:pt x="10475977" y="4134724"/>
                </a:cubicBezTo>
                <a:close/>
                <a:moveTo>
                  <a:pt x="10258466" y="4134724"/>
                </a:moveTo>
                <a:cubicBezTo>
                  <a:pt x="10262592" y="4134724"/>
                  <a:pt x="10266586" y="4135523"/>
                  <a:pt x="10270313" y="4137253"/>
                </a:cubicBezTo>
                <a:cubicBezTo>
                  <a:pt x="10273907" y="4138851"/>
                  <a:pt x="10277101" y="4140980"/>
                  <a:pt x="10279631" y="4143643"/>
                </a:cubicBezTo>
                <a:cubicBezTo>
                  <a:pt x="10282160" y="4146305"/>
                  <a:pt x="10284290" y="4149500"/>
                  <a:pt x="10285754" y="4153094"/>
                </a:cubicBezTo>
                <a:cubicBezTo>
                  <a:pt x="10287218" y="4156688"/>
                  <a:pt x="10288017" y="4160415"/>
                  <a:pt x="10288017" y="4164542"/>
                </a:cubicBezTo>
                <a:cubicBezTo>
                  <a:pt x="10288017" y="4168668"/>
                  <a:pt x="10287218" y="4172662"/>
                  <a:pt x="10285754" y="4176257"/>
                </a:cubicBezTo>
                <a:cubicBezTo>
                  <a:pt x="10284157" y="4179851"/>
                  <a:pt x="10282160" y="4182913"/>
                  <a:pt x="10279631" y="4185576"/>
                </a:cubicBezTo>
                <a:cubicBezTo>
                  <a:pt x="10276969" y="4188238"/>
                  <a:pt x="10273907" y="4190368"/>
                  <a:pt x="10270313" y="4191832"/>
                </a:cubicBezTo>
                <a:cubicBezTo>
                  <a:pt x="10266586" y="4193296"/>
                  <a:pt x="10262725" y="4194095"/>
                  <a:pt x="10258466" y="4194095"/>
                </a:cubicBezTo>
                <a:cubicBezTo>
                  <a:pt x="10249546" y="4194095"/>
                  <a:pt x="10242224" y="4191166"/>
                  <a:pt x="10236633" y="4185576"/>
                </a:cubicBezTo>
                <a:cubicBezTo>
                  <a:pt x="10231043" y="4179984"/>
                  <a:pt x="10228247" y="4172795"/>
                  <a:pt x="10228247" y="4164409"/>
                </a:cubicBezTo>
                <a:cubicBezTo>
                  <a:pt x="10228247" y="4156156"/>
                  <a:pt x="10231043" y="4149100"/>
                  <a:pt x="10236633" y="4143376"/>
                </a:cubicBezTo>
                <a:cubicBezTo>
                  <a:pt x="10242092" y="4137653"/>
                  <a:pt x="10249413" y="4134724"/>
                  <a:pt x="10258466" y="4134724"/>
                </a:cubicBezTo>
                <a:close/>
                <a:moveTo>
                  <a:pt x="10040820" y="4134724"/>
                </a:moveTo>
                <a:cubicBezTo>
                  <a:pt x="10045080" y="4134724"/>
                  <a:pt x="10048941" y="4135523"/>
                  <a:pt x="10052534" y="4137253"/>
                </a:cubicBezTo>
                <a:cubicBezTo>
                  <a:pt x="10056129" y="4138851"/>
                  <a:pt x="10059323" y="4140980"/>
                  <a:pt x="10061852" y="4143643"/>
                </a:cubicBezTo>
                <a:cubicBezTo>
                  <a:pt x="10064382" y="4146305"/>
                  <a:pt x="10066512" y="4149500"/>
                  <a:pt x="10067976" y="4153094"/>
                </a:cubicBezTo>
                <a:cubicBezTo>
                  <a:pt x="10069440" y="4156688"/>
                  <a:pt x="10070239" y="4160415"/>
                  <a:pt x="10070239" y="4164542"/>
                </a:cubicBezTo>
                <a:cubicBezTo>
                  <a:pt x="10070239" y="4168668"/>
                  <a:pt x="10069440" y="4172662"/>
                  <a:pt x="10067976" y="4176257"/>
                </a:cubicBezTo>
                <a:cubicBezTo>
                  <a:pt x="10066379" y="4179851"/>
                  <a:pt x="10064382" y="4182913"/>
                  <a:pt x="10061852" y="4185576"/>
                </a:cubicBezTo>
                <a:cubicBezTo>
                  <a:pt x="10059190" y="4188238"/>
                  <a:pt x="10056129" y="4190368"/>
                  <a:pt x="10052534" y="4191832"/>
                </a:cubicBezTo>
                <a:cubicBezTo>
                  <a:pt x="10048941" y="4193296"/>
                  <a:pt x="10045080" y="4194095"/>
                  <a:pt x="10040820" y="4194095"/>
                </a:cubicBezTo>
                <a:cubicBezTo>
                  <a:pt x="10031767" y="4194095"/>
                  <a:pt x="10024579" y="4191166"/>
                  <a:pt x="10018988" y="4185576"/>
                </a:cubicBezTo>
                <a:cubicBezTo>
                  <a:pt x="10013397" y="4179984"/>
                  <a:pt x="10010602" y="4172795"/>
                  <a:pt x="10010602" y="4164409"/>
                </a:cubicBezTo>
                <a:cubicBezTo>
                  <a:pt x="10010602" y="4156156"/>
                  <a:pt x="10013397" y="4149100"/>
                  <a:pt x="10018988" y="4143376"/>
                </a:cubicBezTo>
                <a:cubicBezTo>
                  <a:pt x="10024579" y="4137653"/>
                  <a:pt x="10031767" y="4134724"/>
                  <a:pt x="10040820" y="4134724"/>
                </a:cubicBezTo>
                <a:close/>
                <a:moveTo>
                  <a:pt x="9823176" y="4134724"/>
                </a:moveTo>
                <a:cubicBezTo>
                  <a:pt x="9827435" y="4134724"/>
                  <a:pt x="9831296" y="4135523"/>
                  <a:pt x="9834890" y="4137253"/>
                </a:cubicBezTo>
                <a:cubicBezTo>
                  <a:pt x="9838617" y="4138851"/>
                  <a:pt x="9841679" y="4140980"/>
                  <a:pt x="9844208" y="4143643"/>
                </a:cubicBezTo>
                <a:cubicBezTo>
                  <a:pt x="9846737" y="4146305"/>
                  <a:pt x="9848867" y="4149500"/>
                  <a:pt x="9850331" y="4153094"/>
                </a:cubicBezTo>
                <a:cubicBezTo>
                  <a:pt x="9851796" y="4156688"/>
                  <a:pt x="9852595" y="4160415"/>
                  <a:pt x="9852595" y="4164542"/>
                </a:cubicBezTo>
                <a:cubicBezTo>
                  <a:pt x="9852595" y="4168668"/>
                  <a:pt x="9851796" y="4172662"/>
                  <a:pt x="9850331" y="4176257"/>
                </a:cubicBezTo>
                <a:cubicBezTo>
                  <a:pt x="9848734" y="4179851"/>
                  <a:pt x="9846737" y="4182913"/>
                  <a:pt x="9844208" y="4185576"/>
                </a:cubicBezTo>
                <a:cubicBezTo>
                  <a:pt x="9841546" y="4188238"/>
                  <a:pt x="9838484" y="4190368"/>
                  <a:pt x="9834890" y="4191832"/>
                </a:cubicBezTo>
                <a:cubicBezTo>
                  <a:pt x="9831296" y="4193296"/>
                  <a:pt x="9827435" y="4194095"/>
                  <a:pt x="9823176" y="4194095"/>
                </a:cubicBezTo>
                <a:cubicBezTo>
                  <a:pt x="9814123" y="4194095"/>
                  <a:pt x="9806935" y="4191166"/>
                  <a:pt x="9801343" y="4185576"/>
                </a:cubicBezTo>
                <a:cubicBezTo>
                  <a:pt x="9795753" y="4179984"/>
                  <a:pt x="9792957" y="4172795"/>
                  <a:pt x="9792957" y="4164409"/>
                </a:cubicBezTo>
                <a:cubicBezTo>
                  <a:pt x="9792957" y="4156156"/>
                  <a:pt x="9795753" y="4149100"/>
                  <a:pt x="9801343" y="4143376"/>
                </a:cubicBezTo>
                <a:cubicBezTo>
                  <a:pt x="9806935" y="4137653"/>
                  <a:pt x="9814123" y="4134724"/>
                  <a:pt x="9823176" y="4134724"/>
                </a:cubicBezTo>
                <a:close/>
                <a:moveTo>
                  <a:pt x="9605531" y="4134724"/>
                </a:moveTo>
                <a:cubicBezTo>
                  <a:pt x="9609790" y="4134724"/>
                  <a:pt x="9613784" y="4135523"/>
                  <a:pt x="9617245" y="4137253"/>
                </a:cubicBezTo>
                <a:cubicBezTo>
                  <a:pt x="9620839" y="4138851"/>
                  <a:pt x="9624033" y="4140980"/>
                  <a:pt x="9626562" y="4143643"/>
                </a:cubicBezTo>
                <a:cubicBezTo>
                  <a:pt x="9629092" y="4146305"/>
                  <a:pt x="9631222" y="4149500"/>
                  <a:pt x="9632686" y="4153094"/>
                </a:cubicBezTo>
                <a:cubicBezTo>
                  <a:pt x="9634150" y="4156688"/>
                  <a:pt x="9634949" y="4160415"/>
                  <a:pt x="9634949" y="4164542"/>
                </a:cubicBezTo>
                <a:cubicBezTo>
                  <a:pt x="9634949" y="4168668"/>
                  <a:pt x="9634150" y="4172662"/>
                  <a:pt x="9632686" y="4176257"/>
                </a:cubicBezTo>
                <a:cubicBezTo>
                  <a:pt x="9631089" y="4179851"/>
                  <a:pt x="9629092" y="4182913"/>
                  <a:pt x="9626562" y="4185576"/>
                </a:cubicBezTo>
                <a:cubicBezTo>
                  <a:pt x="9623901" y="4188238"/>
                  <a:pt x="9620839" y="4190368"/>
                  <a:pt x="9617245" y="4191832"/>
                </a:cubicBezTo>
                <a:cubicBezTo>
                  <a:pt x="9613651" y="4193296"/>
                  <a:pt x="9609790" y="4194095"/>
                  <a:pt x="9605531" y="4194095"/>
                </a:cubicBezTo>
                <a:cubicBezTo>
                  <a:pt x="9596610" y="4194095"/>
                  <a:pt x="9589289" y="4191166"/>
                  <a:pt x="9583698" y="4185576"/>
                </a:cubicBezTo>
                <a:cubicBezTo>
                  <a:pt x="9578108" y="4179984"/>
                  <a:pt x="9575312" y="4172795"/>
                  <a:pt x="9575312" y="4164409"/>
                </a:cubicBezTo>
                <a:cubicBezTo>
                  <a:pt x="9575312" y="4156156"/>
                  <a:pt x="9578108" y="4149100"/>
                  <a:pt x="9583698" y="4143376"/>
                </a:cubicBezTo>
                <a:cubicBezTo>
                  <a:pt x="9589289" y="4137653"/>
                  <a:pt x="9596478" y="4134724"/>
                  <a:pt x="9605531" y="4134724"/>
                </a:cubicBezTo>
                <a:close/>
                <a:moveTo>
                  <a:pt x="9387885" y="4134724"/>
                </a:moveTo>
                <a:cubicBezTo>
                  <a:pt x="9392145" y="4134724"/>
                  <a:pt x="9396138" y="4135523"/>
                  <a:pt x="9399599" y="4137253"/>
                </a:cubicBezTo>
                <a:cubicBezTo>
                  <a:pt x="9403194" y="4138851"/>
                  <a:pt x="9406388" y="4140980"/>
                  <a:pt x="9408917" y="4143643"/>
                </a:cubicBezTo>
                <a:cubicBezTo>
                  <a:pt x="9411447" y="4146305"/>
                  <a:pt x="9413576" y="4149500"/>
                  <a:pt x="9415041" y="4153094"/>
                </a:cubicBezTo>
                <a:cubicBezTo>
                  <a:pt x="9416505" y="4156688"/>
                  <a:pt x="9417304" y="4160415"/>
                  <a:pt x="9417304" y="4164542"/>
                </a:cubicBezTo>
                <a:cubicBezTo>
                  <a:pt x="9417304" y="4168668"/>
                  <a:pt x="9416505" y="4172662"/>
                  <a:pt x="9415041" y="4176257"/>
                </a:cubicBezTo>
                <a:cubicBezTo>
                  <a:pt x="9413444" y="4179851"/>
                  <a:pt x="9411447" y="4182913"/>
                  <a:pt x="9408917" y="4185576"/>
                </a:cubicBezTo>
                <a:cubicBezTo>
                  <a:pt x="9406255" y="4188238"/>
                  <a:pt x="9403194" y="4190368"/>
                  <a:pt x="9399599" y="4191832"/>
                </a:cubicBezTo>
                <a:cubicBezTo>
                  <a:pt x="9396005" y="4193296"/>
                  <a:pt x="9392145" y="4194095"/>
                  <a:pt x="9387885" y="4194095"/>
                </a:cubicBezTo>
                <a:cubicBezTo>
                  <a:pt x="9378965" y="4194095"/>
                  <a:pt x="9371644" y="4191166"/>
                  <a:pt x="9366053" y="4185576"/>
                </a:cubicBezTo>
                <a:cubicBezTo>
                  <a:pt x="9360462" y="4179984"/>
                  <a:pt x="9357667" y="4172795"/>
                  <a:pt x="9357667" y="4164409"/>
                </a:cubicBezTo>
                <a:cubicBezTo>
                  <a:pt x="9357667" y="4156156"/>
                  <a:pt x="9360462" y="4149100"/>
                  <a:pt x="9366053" y="4143376"/>
                </a:cubicBezTo>
                <a:cubicBezTo>
                  <a:pt x="9371644" y="4137653"/>
                  <a:pt x="9378832" y="4134724"/>
                  <a:pt x="9387885" y="4134724"/>
                </a:cubicBezTo>
                <a:close/>
                <a:moveTo>
                  <a:pt x="9170374" y="4134724"/>
                </a:moveTo>
                <a:cubicBezTo>
                  <a:pt x="9174500" y="4134724"/>
                  <a:pt x="9178494" y="4135523"/>
                  <a:pt x="9182088" y="4137253"/>
                </a:cubicBezTo>
                <a:cubicBezTo>
                  <a:pt x="9185682" y="4138851"/>
                  <a:pt x="9188876" y="4140980"/>
                  <a:pt x="9191405" y="4143643"/>
                </a:cubicBezTo>
                <a:cubicBezTo>
                  <a:pt x="9193935" y="4146305"/>
                  <a:pt x="9196065" y="4149500"/>
                  <a:pt x="9197529" y="4153094"/>
                </a:cubicBezTo>
                <a:cubicBezTo>
                  <a:pt x="9198993" y="4156688"/>
                  <a:pt x="9199792" y="4160415"/>
                  <a:pt x="9199792" y="4164542"/>
                </a:cubicBezTo>
                <a:cubicBezTo>
                  <a:pt x="9199792" y="4168668"/>
                  <a:pt x="9198993" y="4172662"/>
                  <a:pt x="9197529" y="4176257"/>
                </a:cubicBezTo>
                <a:cubicBezTo>
                  <a:pt x="9195932" y="4179851"/>
                  <a:pt x="9193935" y="4182913"/>
                  <a:pt x="9191405" y="4185576"/>
                </a:cubicBezTo>
                <a:cubicBezTo>
                  <a:pt x="9188744" y="4188238"/>
                  <a:pt x="9185682" y="4190368"/>
                  <a:pt x="9182088" y="4191832"/>
                </a:cubicBezTo>
                <a:cubicBezTo>
                  <a:pt x="9178494" y="4193296"/>
                  <a:pt x="9174633" y="4194095"/>
                  <a:pt x="9170374" y="4194095"/>
                </a:cubicBezTo>
                <a:cubicBezTo>
                  <a:pt x="9161453" y="4194095"/>
                  <a:pt x="9154132" y="4191166"/>
                  <a:pt x="9148541" y="4185576"/>
                </a:cubicBezTo>
                <a:cubicBezTo>
                  <a:pt x="9142951" y="4179984"/>
                  <a:pt x="9140155" y="4172795"/>
                  <a:pt x="9140155" y="4164409"/>
                </a:cubicBezTo>
                <a:cubicBezTo>
                  <a:pt x="9140155" y="4156156"/>
                  <a:pt x="9142951" y="4149100"/>
                  <a:pt x="9148541" y="4143376"/>
                </a:cubicBezTo>
                <a:cubicBezTo>
                  <a:pt x="9154132" y="4137653"/>
                  <a:pt x="9161321" y="4134724"/>
                  <a:pt x="9170374" y="4134724"/>
                </a:cubicBezTo>
                <a:close/>
                <a:moveTo>
                  <a:pt x="8952728" y="4134724"/>
                </a:moveTo>
                <a:cubicBezTo>
                  <a:pt x="8956988" y="4134724"/>
                  <a:pt x="8960849" y="4135523"/>
                  <a:pt x="8964442" y="4137253"/>
                </a:cubicBezTo>
                <a:cubicBezTo>
                  <a:pt x="8968037" y="4138851"/>
                  <a:pt x="8971231" y="4140980"/>
                  <a:pt x="8973760" y="4143643"/>
                </a:cubicBezTo>
                <a:cubicBezTo>
                  <a:pt x="8976290" y="4146305"/>
                  <a:pt x="8978419" y="4149500"/>
                  <a:pt x="8979884" y="4153094"/>
                </a:cubicBezTo>
                <a:cubicBezTo>
                  <a:pt x="8981348" y="4156688"/>
                  <a:pt x="8982147" y="4160415"/>
                  <a:pt x="8982147" y="4164542"/>
                </a:cubicBezTo>
                <a:cubicBezTo>
                  <a:pt x="8982147" y="4168668"/>
                  <a:pt x="8981348" y="4172662"/>
                  <a:pt x="8979884" y="4176257"/>
                </a:cubicBezTo>
                <a:cubicBezTo>
                  <a:pt x="8978287" y="4179851"/>
                  <a:pt x="8976290" y="4182913"/>
                  <a:pt x="8973760" y="4185576"/>
                </a:cubicBezTo>
                <a:cubicBezTo>
                  <a:pt x="8971098" y="4188238"/>
                  <a:pt x="8968037" y="4190368"/>
                  <a:pt x="8964442" y="4191832"/>
                </a:cubicBezTo>
                <a:cubicBezTo>
                  <a:pt x="8960849" y="4193296"/>
                  <a:pt x="8956988" y="4194095"/>
                  <a:pt x="8952728" y="4194095"/>
                </a:cubicBezTo>
                <a:cubicBezTo>
                  <a:pt x="8943808" y="4194095"/>
                  <a:pt x="8936487" y="4191166"/>
                  <a:pt x="8930896" y="4185576"/>
                </a:cubicBezTo>
                <a:cubicBezTo>
                  <a:pt x="8925305" y="4179984"/>
                  <a:pt x="8922510" y="4172795"/>
                  <a:pt x="8922510" y="4164409"/>
                </a:cubicBezTo>
                <a:cubicBezTo>
                  <a:pt x="8922510" y="4156156"/>
                  <a:pt x="8925305" y="4149100"/>
                  <a:pt x="8930896" y="4143376"/>
                </a:cubicBezTo>
                <a:cubicBezTo>
                  <a:pt x="8936487" y="4137653"/>
                  <a:pt x="8943675" y="4134724"/>
                  <a:pt x="8952728" y="4134724"/>
                </a:cubicBezTo>
                <a:close/>
                <a:moveTo>
                  <a:pt x="8735083" y="4134724"/>
                </a:moveTo>
                <a:cubicBezTo>
                  <a:pt x="8739342" y="4134724"/>
                  <a:pt x="8743203" y="4135523"/>
                  <a:pt x="8746797" y="4137253"/>
                </a:cubicBezTo>
                <a:cubicBezTo>
                  <a:pt x="8750391" y="4138851"/>
                  <a:pt x="8753586" y="4140980"/>
                  <a:pt x="8756115" y="4143643"/>
                </a:cubicBezTo>
                <a:cubicBezTo>
                  <a:pt x="8758644" y="4146305"/>
                  <a:pt x="8760774" y="4149500"/>
                  <a:pt x="8762238" y="4153094"/>
                </a:cubicBezTo>
                <a:cubicBezTo>
                  <a:pt x="8763702" y="4156688"/>
                  <a:pt x="8764502" y="4160415"/>
                  <a:pt x="8764502" y="4164542"/>
                </a:cubicBezTo>
                <a:cubicBezTo>
                  <a:pt x="8764502" y="4168668"/>
                  <a:pt x="8763702" y="4172662"/>
                  <a:pt x="8762238" y="4176257"/>
                </a:cubicBezTo>
                <a:cubicBezTo>
                  <a:pt x="8760641" y="4179851"/>
                  <a:pt x="8758644" y="4182913"/>
                  <a:pt x="8756115" y="4185576"/>
                </a:cubicBezTo>
                <a:cubicBezTo>
                  <a:pt x="8753453" y="4188238"/>
                  <a:pt x="8750391" y="4190368"/>
                  <a:pt x="8746797" y="4191832"/>
                </a:cubicBezTo>
                <a:cubicBezTo>
                  <a:pt x="8743203" y="4193296"/>
                  <a:pt x="8739342" y="4194095"/>
                  <a:pt x="8735083" y="4194095"/>
                </a:cubicBezTo>
                <a:cubicBezTo>
                  <a:pt x="8726030" y="4194095"/>
                  <a:pt x="8718841" y="4191166"/>
                  <a:pt x="8713250" y="4185576"/>
                </a:cubicBezTo>
                <a:cubicBezTo>
                  <a:pt x="8707660" y="4179984"/>
                  <a:pt x="8704864" y="4172795"/>
                  <a:pt x="8704864" y="4164409"/>
                </a:cubicBezTo>
                <a:cubicBezTo>
                  <a:pt x="8704864" y="4156156"/>
                  <a:pt x="8707660" y="4149100"/>
                  <a:pt x="8713250" y="4143376"/>
                </a:cubicBezTo>
                <a:cubicBezTo>
                  <a:pt x="8718841" y="4137653"/>
                  <a:pt x="8726030" y="4134724"/>
                  <a:pt x="8735083" y="4134724"/>
                </a:cubicBezTo>
                <a:close/>
                <a:moveTo>
                  <a:pt x="8517438" y="4134724"/>
                </a:moveTo>
                <a:cubicBezTo>
                  <a:pt x="8521698" y="4134724"/>
                  <a:pt x="8525559" y="4135523"/>
                  <a:pt x="8529152" y="4137253"/>
                </a:cubicBezTo>
                <a:cubicBezTo>
                  <a:pt x="8532880" y="4138851"/>
                  <a:pt x="8535941" y="4140980"/>
                  <a:pt x="8538470" y="4143643"/>
                </a:cubicBezTo>
                <a:cubicBezTo>
                  <a:pt x="8541000" y="4146305"/>
                  <a:pt x="8543130" y="4149500"/>
                  <a:pt x="8544594" y="4153094"/>
                </a:cubicBezTo>
                <a:cubicBezTo>
                  <a:pt x="8546058" y="4156688"/>
                  <a:pt x="8546857" y="4160415"/>
                  <a:pt x="8546857" y="4164542"/>
                </a:cubicBezTo>
                <a:cubicBezTo>
                  <a:pt x="8546857" y="4168668"/>
                  <a:pt x="8546058" y="4172662"/>
                  <a:pt x="8544594" y="4176257"/>
                </a:cubicBezTo>
                <a:cubicBezTo>
                  <a:pt x="8542997" y="4179851"/>
                  <a:pt x="8541000" y="4182913"/>
                  <a:pt x="8538470" y="4185576"/>
                </a:cubicBezTo>
                <a:cubicBezTo>
                  <a:pt x="8535808" y="4188238"/>
                  <a:pt x="8532747" y="4190368"/>
                  <a:pt x="8529152" y="4191832"/>
                </a:cubicBezTo>
                <a:cubicBezTo>
                  <a:pt x="8525559" y="4193296"/>
                  <a:pt x="8521698" y="4194095"/>
                  <a:pt x="8517438" y="4194095"/>
                </a:cubicBezTo>
                <a:cubicBezTo>
                  <a:pt x="8508385" y="4194095"/>
                  <a:pt x="8501197" y="4191166"/>
                  <a:pt x="8495606" y="4185576"/>
                </a:cubicBezTo>
                <a:cubicBezTo>
                  <a:pt x="8490015" y="4179984"/>
                  <a:pt x="8487220" y="4172795"/>
                  <a:pt x="8487220" y="4164409"/>
                </a:cubicBezTo>
                <a:cubicBezTo>
                  <a:pt x="8487220" y="4156156"/>
                  <a:pt x="8490015" y="4149100"/>
                  <a:pt x="8495606" y="4143376"/>
                </a:cubicBezTo>
                <a:cubicBezTo>
                  <a:pt x="8501197" y="4137653"/>
                  <a:pt x="8508385" y="4134724"/>
                  <a:pt x="8517438" y="4134724"/>
                </a:cubicBezTo>
                <a:close/>
                <a:moveTo>
                  <a:pt x="8299793" y="4134724"/>
                </a:moveTo>
                <a:cubicBezTo>
                  <a:pt x="8304052" y="4134724"/>
                  <a:pt x="8308046" y="4135523"/>
                  <a:pt x="8311507" y="4137253"/>
                </a:cubicBezTo>
                <a:cubicBezTo>
                  <a:pt x="8315235" y="4138851"/>
                  <a:pt x="8318296" y="4140980"/>
                  <a:pt x="8320825" y="4143643"/>
                </a:cubicBezTo>
                <a:cubicBezTo>
                  <a:pt x="8323354" y="4146305"/>
                  <a:pt x="8325484" y="4149500"/>
                  <a:pt x="8326948" y="4153094"/>
                </a:cubicBezTo>
                <a:cubicBezTo>
                  <a:pt x="8328413" y="4156688"/>
                  <a:pt x="8329212" y="4160415"/>
                  <a:pt x="8329212" y="4164542"/>
                </a:cubicBezTo>
                <a:cubicBezTo>
                  <a:pt x="8329212" y="4168668"/>
                  <a:pt x="8328413" y="4172662"/>
                  <a:pt x="8326948" y="4176257"/>
                </a:cubicBezTo>
                <a:cubicBezTo>
                  <a:pt x="8325351" y="4179851"/>
                  <a:pt x="8323354" y="4182913"/>
                  <a:pt x="8320825" y="4185576"/>
                </a:cubicBezTo>
                <a:cubicBezTo>
                  <a:pt x="8318163" y="4188238"/>
                  <a:pt x="8315101" y="4190368"/>
                  <a:pt x="8311507" y="4191832"/>
                </a:cubicBezTo>
                <a:cubicBezTo>
                  <a:pt x="8307913" y="4193296"/>
                  <a:pt x="8304052" y="4194095"/>
                  <a:pt x="8299793" y="4194095"/>
                </a:cubicBezTo>
                <a:cubicBezTo>
                  <a:pt x="8290874" y="4194095"/>
                  <a:pt x="8283553" y="4191166"/>
                  <a:pt x="8277960" y="4185576"/>
                </a:cubicBezTo>
                <a:cubicBezTo>
                  <a:pt x="8272370" y="4179984"/>
                  <a:pt x="8269574" y="4172795"/>
                  <a:pt x="8269574" y="4164409"/>
                </a:cubicBezTo>
                <a:cubicBezTo>
                  <a:pt x="8269574" y="4156156"/>
                  <a:pt x="8272370" y="4149100"/>
                  <a:pt x="8277960" y="4143376"/>
                </a:cubicBezTo>
                <a:cubicBezTo>
                  <a:pt x="8283553" y="4137653"/>
                  <a:pt x="8290741" y="4134724"/>
                  <a:pt x="8299793" y="4134724"/>
                </a:cubicBezTo>
                <a:close/>
                <a:moveTo>
                  <a:pt x="8082281" y="4134724"/>
                </a:moveTo>
                <a:cubicBezTo>
                  <a:pt x="8086407" y="4134724"/>
                  <a:pt x="8090401" y="4135523"/>
                  <a:pt x="8094127" y="4137253"/>
                </a:cubicBezTo>
                <a:cubicBezTo>
                  <a:pt x="8097855" y="4138851"/>
                  <a:pt x="8100916" y="4140980"/>
                  <a:pt x="8103446" y="4143643"/>
                </a:cubicBezTo>
                <a:cubicBezTo>
                  <a:pt x="8105975" y="4146305"/>
                  <a:pt x="8108104" y="4149500"/>
                  <a:pt x="8109569" y="4153094"/>
                </a:cubicBezTo>
                <a:cubicBezTo>
                  <a:pt x="8111033" y="4156688"/>
                  <a:pt x="8111832" y="4160415"/>
                  <a:pt x="8111832" y="4164542"/>
                </a:cubicBezTo>
                <a:cubicBezTo>
                  <a:pt x="8111832" y="4168668"/>
                  <a:pt x="8111033" y="4172662"/>
                  <a:pt x="8109569" y="4176257"/>
                </a:cubicBezTo>
                <a:cubicBezTo>
                  <a:pt x="8107972" y="4179851"/>
                  <a:pt x="8105975" y="4182913"/>
                  <a:pt x="8103446" y="4185576"/>
                </a:cubicBezTo>
                <a:cubicBezTo>
                  <a:pt x="8100783" y="4188238"/>
                  <a:pt x="8097722" y="4190368"/>
                  <a:pt x="8094127" y="4191832"/>
                </a:cubicBezTo>
                <a:cubicBezTo>
                  <a:pt x="8090401" y="4193296"/>
                  <a:pt x="8086540" y="4194095"/>
                  <a:pt x="8082281" y="4194095"/>
                </a:cubicBezTo>
                <a:cubicBezTo>
                  <a:pt x="8073361" y="4194095"/>
                  <a:pt x="8066040" y="4191166"/>
                  <a:pt x="8060448" y="4185576"/>
                </a:cubicBezTo>
                <a:cubicBezTo>
                  <a:pt x="8054857" y="4179984"/>
                  <a:pt x="8052062" y="4172795"/>
                  <a:pt x="8052062" y="4164409"/>
                </a:cubicBezTo>
                <a:cubicBezTo>
                  <a:pt x="8052062" y="4156156"/>
                  <a:pt x="8054857" y="4149100"/>
                  <a:pt x="8060448" y="4143376"/>
                </a:cubicBezTo>
                <a:cubicBezTo>
                  <a:pt x="8066040" y="4137653"/>
                  <a:pt x="8073228" y="4134724"/>
                  <a:pt x="8082281" y="4134724"/>
                </a:cubicBezTo>
                <a:close/>
                <a:moveTo>
                  <a:pt x="7864636" y="4134724"/>
                </a:moveTo>
                <a:cubicBezTo>
                  <a:pt x="7868762" y="4134724"/>
                  <a:pt x="7872756" y="4135523"/>
                  <a:pt x="7876483" y="4137253"/>
                </a:cubicBezTo>
                <a:cubicBezTo>
                  <a:pt x="7880210" y="4138851"/>
                  <a:pt x="7883272" y="4140980"/>
                  <a:pt x="7885802" y="4143643"/>
                </a:cubicBezTo>
                <a:cubicBezTo>
                  <a:pt x="7888331" y="4146305"/>
                  <a:pt x="7890460" y="4149500"/>
                  <a:pt x="7891924" y="4153094"/>
                </a:cubicBezTo>
                <a:cubicBezTo>
                  <a:pt x="7893389" y="4156688"/>
                  <a:pt x="7894188" y="4160415"/>
                  <a:pt x="7894188" y="4164542"/>
                </a:cubicBezTo>
                <a:cubicBezTo>
                  <a:pt x="7894188" y="4168668"/>
                  <a:pt x="7893389" y="4172662"/>
                  <a:pt x="7891924" y="4176257"/>
                </a:cubicBezTo>
                <a:cubicBezTo>
                  <a:pt x="7890327" y="4179851"/>
                  <a:pt x="7888331" y="4182913"/>
                  <a:pt x="7885802" y="4185576"/>
                </a:cubicBezTo>
                <a:cubicBezTo>
                  <a:pt x="7883139" y="4188238"/>
                  <a:pt x="7880078" y="4190368"/>
                  <a:pt x="7876483" y="4191832"/>
                </a:cubicBezTo>
                <a:cubicBezTo>
                  <a:pt x="7872756" y="4193296"/>
                  <a:pt x="7868895" y="4194095"/>
                  <a:pt x="7864636" y="4194095"/>
                </a:cubicBezTo>
                <a:cubicBezTo>
                  <a:pt x="7855717" y="4194095"/>
                  <a:pt x="7848396" y="4191166"/>
                  <a:pt x="7842803" y="4185576"/>
                </a:cubicBezTo>
                <a:cubicBezTo>
                  <a:pt x="7837213" y="4179984"/>
                  <a:pt x="7834417" y="4172795"/>
                  <a:pt x="7834417" y="4164409"/>
                </a:cubicBezTo>
                <a:cubicBezTo>
                  <a:pt x="7834417" y="4156156"/>
                  <a:pt x="7837213" y="4149100"/>
                  <a:pt x="7842803" y="4143376"/>
                </a:cubicBezTo>
                <a:cubicBezTo>
                  <a:pt x="7848396" y="4137653"/>
                  <a:pt x="7855584" y="4134724"/>
                  <a:pt x="7864636" y="4134724"/>
                </a:cubicBezTo>
                <a:close/>
                <a:moveTo>
                  <a:pt x="7646991" y="4134724"/>
                </a:moveTo>
                <a:cubicBezTo>
                  <a:pt x="7651250" y="4134724"/>
                  <a:pt x="7655111" y="4135523"/>
                  <a:pt x="7658705" y="4137253"/>
                </a:cubicBezTo>
                <a:cubicBezTo>
                  <a:pt x="7662432" y="4138851"/>
                  <a:pt x="7665493" y="4140980"/>
                  <a:pt x="7668022" y="4143643"/>
                </a:cubicBezTo>
                <a:cubicBezTo>
                  <a:pt x="7670552" y="4146305"/>
                  <a:pt x="7672682" y="4149500"/>
                  <a:pt x="7674146" y="4153094"/>
                </a:cubicBezTo>
                <a:cubicBezTo>
                  <a:pt x="7675610" y="4156688"/>
                  <a:pt x="7676409" y="4160415"/>
                  <a:pt x="7676409" y="4164542"/>
                </a:cubicBezTo>
                <a:cubicBezTo>
                  <a:pt x="7676409" y="4168668"/>
                  <a:pt x="7675610" y="4172662"/>
                  <a:pt x="7674146" y="4176257"/>
                </a:cubicBezTo>
                <a:cubicBezTo>
                  <a:pt x="7672549" y="4179851"/>
                  <a:pt x="7670552" y="4182913"/>
                  <a:pt x="7668022" y="4185576"/>
                </a:cubicBezTo>
                <a:cubicBezTo>
                  <a:pt x="7665361" y="4188238"/>
                  <a:pt x="7662299" y="4190368"/>
                  <a:pt x="7658705" y="4191832"/>
                </a:cubicBezTo>
                <a:cubicBezTo>
                  <a:pt x="7655111" y="4193296"/>
                  <a:pt x="7651250" y="4194095"/>
                  <a:pt x="7646991" y="4194095"/>
                </a:cubicBezTo>
                <a:cubicBezTo>
                  <a:pt x="7638071" y="4194095"/>
                  <a:pt x="7630750" y="4191166"/>
                  <a:pt x="7625158" y="4185576"/>
                </a:cubicBezTo>
                <a:cubicBezTo>
                  <a:pt x="7619568" y="4179984"/>
                  <a:pt x="7616772" y="4172795"/>
                  <a:pt x="7616772" y="4164409"/>
                </a:cubicBezTo>
                <a:cubicBezTo>
                  <a:pt x="7616772" y="4156156"/>
                  <a:pt x="7619568" y="4149100"/>
                  <a:pt x="7625158" y="4143376"/>
                </a:cubicBezTo>
                <a:cubicBezTo>
                  <a:pt x="7630750" y="4137653"/>
                  <a:pt x="7637939" y="4134724"/>
                  <a:pt x="7646991" y="4134724"/>
                </a:cubicBezTo>
                <a:close/>
                <a:moveTo>
                  <a:pt x="7429345" y="4134724"/>
                </a:moveTo>
                <a:cubicBezTo>
                  <a:pt x="7433605" y="4134724"/>
                  <a:pt x="7437466" y="4135523"/>
                  <a:pt x="7441059" y="4137253"/>
                </a:cubicBezTo>
                <a:cubicBezTo>
                  <a:pt x="7444787" y="4138851"/>
                  <a:pt x="7447848" y="4140980"/>
                  <a:pt x="7450377" y="4143643"/>
                </a:cubicBezTo>
                <a:cubicBezTo>
                  <a:pt x="7452907" y="4146305"/>
                  <a:pt x="7455036" y="4149500"/>
                  <a:pt x="7456501" y="4153094"/>
                </a:cubicBezTo>
                <a:cubicBezTo>
                  <a:pt x="7457965" y="4156688"/>
                  <a:pt x="7458764" y="4160415"/>
                  <a:pt x="7458764" y="4164542"/>
                </a:cubicBezTo>
                <a:cubicBezTo>
                  <a:pt x="7458764" y="4168668"/>
                  <a:pt x="7457965" y="4172662"/>
                  <a:pt x="7456501" y="4176257"/>
                </a:cubicBezTo>
                <a:cubicBezTo>
                  <a:pt x="7454904" y="4179851"/>
                  <a:pt x="7452907" y="4182913"/>
                  <a:pt x="7450377" y="4185576"/>
                </a:cubicBezTo>
                <a:cubicBezTo>
                  <a:pt x="7447715" y="4188238"/>
                  <a:pt x="7444654" y="4190368"/>
                  <a:pt x="7441059" y="4191832"/>
                </a:cubicBezTo>
                <a:cubicBezTo>
                  <a:pt x="7437466" y="4193296"/>
                  <a:pt x="7433605" y="4194095"/>
                  <a:pt x="7429345" y="4194095"/>
                </a:cubicBezTo>
                <a:cubicBezTo>
                  <a:pt x="7420426" y="4194095"/>
                  <a:pt x="7413105" y="4191166"/>
                  <a:pt x="7407513" y="4185576"/>
                </a:cubicBezTo>
                <a:cubicBezTo>
                  <a:pt x="7401922" y="4179984"/>
                  <a:pt x="7399127" y="4172795"/>
                  <a:pt x="7399127" y="4164409"/>
                </a:cubicBezTo>
                <a:cubicBezTo>
                  <a:pt x="7399127" y="4156156"/>
                  <a:pt x="7401922" y="4149100"/>
                  <a:pt x="7407513" y="4143376"/>
                </a:cubicBezTo>
                <a:cubicBezTo>
                  <a:pt x="7413105" y="4137653"/>
                  <a:pt x="7420293" y="4134724"/>
                  <a:pt x="7429345" y="4134724"/>
                </a:cubicBezTo>
                <a:close/>
                <a:moveTo>
                  <a:pt x="7211701" y="4134724"/>
                </a:moveTo>
                <a:cubicBezTo>
                  <a:pt x="7215960" y="4134724"/>
                  <a:pt x="7219954" y="4135523"/>
                  <a:pt x="7223415" y="4137253"/>
                </a:cubicBezTo>
                <a:cubicBezTo>
                  <a:pt x="7227142" y="4138851"/>
                  <a:pt x="7230204" y="4140980"/>
                  <a:pt x="7232733" y="4143643"/>
                </a:cubicBezTo>
                <a:cubicBezTo>
                  <a:pt x="7235262" y="4146305"/>
                  <a:pt x="7237392" y="4149500"/>
                  <a:pt x="7238856" y="4153094"/>
                </a:cubicBezTo>
                <a:cubicBezTo>
                  <a:pt x="7240321" y="4156688"/>
                  <a:pt x="7241120" y="4160415"/>
                  <a:pt x="7241120" y="4164542"/>
                </a:cubicBezTo>
                <a:cubicBezTo>
                  <a:pt x="7241120" y="4168668"/>
                  <a:pt x="7240321" y="4172662"/>
                  <a:pt x="7238856" y="4176257"/>
                </a:cubicBezTo>
                <a:cubicBezTo>
                  <a:pt x="7237259" y="4179851"/>
                  <a:pt x="7235262" y="4182913"/>
                  <a:pt x="7232733" y="4185576"/>
                </a:cubicBezTo>
                <a:cubicBezTo>
                  <a:pt x="7230071" y="4188238"/>
                  <a:pt x="7227009" y="4190368"/>
                  <a:pt x="7223415" y="4191832"/>
                </a:cubicBezTo>
                <a:cubicBezTo>
                  <a:pt x="7219821" y="4193296"/>
                  <a:pt x="7215960" y="4194095"/>
                  <a:pt x="7211701" y="4194095"/>
                </a:cubicBezTo>
                <a:cubicBezTo>
                  <a:pt x="7202782" y="4194095"/>
                  <a:pt x="7195460" y="4191166"/>
                  <a:pt x="7189868" y="4185576"/>
                </a:cubicBezTo>
                <a:cubicBezTo>
                  <a:pt x="7184278" y="4179984"/>
                  <a:pt x="7181482" y="4172795"/>
                  <a:pt x="7181482" y="4164409"/>
                </a:cubicBezTo>
                <a:cubicBezTo>
                  <a:pt x="7181482" y="4156156"/>
                  <a:pt x="7184278" y="4149100"/>
                  <a:pt x="7189868" y="4143376"/>
                </a:cubicBezTo>
                <a:cubicBezTo>
                  <a:pt x="7195460" y="4137653"/>
                  <a:pt x="7202649" y="4134724"/>
                  <a:pt x="7211701" y="4134724"/>
                </a:cubicBezTo>
                <a:close/>
                <a:moveTo>
                  <a:pt x="6994056" y="4134724"/>
                </a:moveTo>
                <a:cubicBezTo>
                  <a:pt x="6998315" y="4134724"/>
                  <a:pt x="7002309" y="4135523"/>
                  <a:pt x="7005769" y="4137253"/>
                </a:cubicBezTo>
                <a:cubicBezTo>
                  <a:pt x="7009497" y="4138851"/>
                  <a:pt x="7012558" y="4140980"/>
                  <a:pt x="7015087" y="4143643"/>
                </a:cubicBezTo>
                <a:cubicBezTo>
                  <a:pt x="7017617" y="4146305"/>
                  <a:pt x="7019747" y="4149500"/>
                  <a:pt x="7021211" y="4153094"/>
                </a:cubicBezTo>
                <a:cubicBezTo>
                  <a:pt x="7022675" y="4156688"/>
                  <a:pt x="7023474" y="4160415"/>
                  <a:pt x="7023474" y="4164542"/>
                </a:cubicBezTo>
                <a:cubicBezTo>
                  <a:pt x="7023474" y="4168668"/>
                  <a:pt x="7022675" y="4172662"/>
                  <a:pt x="7021211" y="4176257"/>
                </a:cubicBezTo>
                <a:cubicBezTo>
                  <a:pt x="7019614" y="4179851"/>
                  <a:pt x="7017617" y="4182913"/>
                  <a:pt x="7015087" y="4185576"/>
                </a:cubicBezTo>
                <a:cubicBezTo>
                  <a:pt x="7012425" y="4188238"/>
                  <a:pt x="7009364" y="4190368"/>
                  <a:pt x="7005769" y="4191832"/>
                </a:cubicBezTo>
                <a:cubicBezTo>
                  <a:pt x="7002176" y="4193296"/>
                  <a:pt x="6998315" y="4194095"/>
                  <a:pt x="6994056" y="4194095"/>
                </a:cubicBezTo>
                <a:cubicBezTo>
                  <a:pt x="6985136" y="4194095"/>
                  <a:pt x="6977815" y="4191166"/>
                  <a:pt x="6972223" y="4185576"/>
                </a:cubicBezTo>
                <a:cubicBezTo>
                  <a:pt x="6966632" y="4179984"/>
                  <a:pt x="6963837" y="4172795"/>
                  <a:pt x="6963837" y="4164409"/>
                </a:cubicBezTo>
                <a:cubicBezTo>
                  <a:pt x="6963837" y="4156156"/>
                  <a:pt x="6966632" y="4149100"/>
                  <a:pt x="6972223" y="4143376"/>
                </a:cubicBezTo>
                <a:cubicBezTo>
                  <a:pt x="6977815" y="4137653"/>
                  <a:pt x="6985003" y="4134724"/>
                  <a:pt x="6994056" y="4134724"/>
                </a:cubicBezTo>
                <a:close/>
                <a:moveTo>
                  <a:pt x="6776544" y="4134724"/>
                </a:moveTo>
                <a:cubicBezTo>
                  <a:pt x="6780670" y="4134724"/>
                  <a:pt x="6784664" y="4135523"/>
                  <a:pt x="6788258" y="4137253"/>
                </a:cubicBezTo>
                <a:cubicBezTo>
                  <a:pt x="6791985" y="4138851"/>
                  <a:pt x="6795047" y="4140980"/>
                  <a:pt x="6797576" y="4143643"/>
                </a:cubicBezTo>
                <a:cubicBezTo>
                  <a:pt x="6800105" y="4146305"/>
                  <a:pt x="6802235" y="4149500"/>
                  <a:pt x="6803699" y="4153094"/>
                </a:cubicBezTo>
                <a:cubicBezTo>
                  <a:pt x="6805164" y="4156688"/>
                  <a:pt x="6805963" y="4160415"/>
                  <a:pt x="6805963" y="4164542"/>
                </a:cubicBezTo>
                <a:cubicBezTo>
                  <a:pt x="6805963" y="4168668"/>
                  <a:pt x="6805164" y="4172662"/>
                  <a:pt x="6803699" y="4176257"/>
                </a:cubicBezTo>
                <a:cubicBezTo>
                  <a:pt x="6802102" y="4179851"/>
                  <a:pt x="6800105" y="4182913"/>
                  <a:pt x="6797576" y="4185576"/>
                </a:cubicBezTo>
                <a:cubicBezTo>
                  <a:pt x="6794914" y="4188238"/>
                  <a:pt x="6791852" y="4190368"/>
                  <a:pt x="6788258" y="4191832"/>
                </a:cubicBezTo>
                <a:cubicBezTo>
                  <a:pt x="6784664" y="4193296"/>
                  <a:pt x="6780803" y="4194095"/>
                  <a:pt x="6776544" y="4194095"/>
                </a:cubicBezTo>
                <a:cubicBezTo>
                  <a:pt x="6767625" y="4194095"/>
                  <a:pt x="6760303" y="4191166"/>
                  <a:pt x="6754711" y="4185576"/>
                </a:cubicBezTo>
                <a:cubicBezTo>
                  <a:pt x="6749121" y="4179984"/>
                  <a:pt x="6746325" y="4172795"/>
                  <a:pt x="6746325" y="4164409"/>
                </a:cubicBezTo>
                <a:cubicBezTo>
                  <a:pt x="6746325" y="4156156"/>
                  <a:pt x="6749121" y="4149100"/>
                  <a:pt x="6754711" y="4143376"/>
                </a:cubicBezTo>
                <a:cubicBezTo>
                  <a:pt x="6760303" y="4137653"/>
                  <a:pt x="6767492" y="4134724"/>
                  <a:pt x="6776544" y="4134724"/>
                </a:cubicBezTo>
                <a:close/>
                <a:moveTo>
                  <a:pt x="6558899" y="4134724"/>
                </a:moveTo>
                <a:cubicBezTo>
                  <a:pt x="6563158" y="4134724"/>
                  <a:pt x="6567019" y="4135523"/>
                  <a:pt x="6570612" y="4137253"/>
                </a:cubicBezTo>
                <a:cubicBezTo>
                  <a:pt x="6574340" y="4138851"/>
                  <a:pt x="6577401" y="4140980"/>
                  <a:pt x="6579930" y="4143643"/>
                </a:cubicBezTo>
                <a:cubicBezTo>
                  <a:pt x="6582460" y="4146305"/>
                  <a:pt x="6584590" y="4149500"/>
                  <a:pt x="6586054" y="4153094"/>
                </a:cubicBezTo>
                <a:cubicBezTo>
                  <a:pt x="6587518" y="4156688"/>
                  <a:pt x="6588317" y="4160415"/>
                  <a:pt x="6588317" y="4164542"/>
                </a:cubicBezTo>
                <a:cubicBezTo>
                  <a:pt x="6588317" y="4168668"/>
                  <a:pt x="6587518" y="4172662"/>
                  <a:pt x="6586054" y="4176257"/>
                </a:cubicBezTo>
                <a:cubicBezTo>
                  <a:pt x="6584457" y="4179851"/>
                  <a:pt x="6582460" y="4182913"/>
                  <a:pt x="6579930" y="4185576"/>
                </a:cubicBezTo>
                <a:cubicBezTo>
                  <a:pt x="6577268" y="4188238"/>
                  <a:pt x="6574207" y="4190368"/>
                  <a:pt x="6570612" y="4191832"/>
                </a:cubicBezTo>
                <a:cubicBezTo>
                  <a:pt x="6567019" y="4193296"/>
                  <a:pt x="6563158" y="4194095"/>
                  <a:pt x="6558899" y="4194095"/>
                </a:cubicBezTo>
                <a:cubicBezTo>
                  <a:pt x="6549979" y="4194095"/>
                  <a:pt x="6542658" y="4191166"/>
                  <a:pt x="6537066" y="4185576"/>
                </a:cubicBezTo>
                <a:cubicBezTo>
                  <a:pt x="6531476" y="4179984"/>
                  <a:pt x="6528680" y="4172795"/>
                  <a:pt x="6528680" y="4164409"/>
                </a:cubicBezTo>
                <a:cubicBezTo>
                  <a:pt x="6528680" y="4156156"/>
                  <a:pt x="6531476" y="4149100"/>
                  <a:pt x="6537066" y="4143376"/>
                </a:cubicBezTo>
                <a:cubicBezTo>
                  <a:pt x="6542658" y="4137653"/>
                  <a:pt x="6549846" y="4134724"/>
                  <a:pt x="6558899" y="4134724"/>
                </a:cubicBezTo>
                <a:close/>
                <a:moveTo>
                  <a:pt x="6341253" y="4134724"/>
                </a:moveTo>
                <a:cubicBezTo>
                  <a:pt x="6345513" y="4134724"/>
                  <a:pt x="6349373" y="4135523"/>
                  <a:pt x="6352968" y="4137253"/>
                </a:cubicBezTo>
                <a:cubicBezTo>
                  <a:pt x="6356695" y="4138851"/>
                  <a:pt x="6359757" y="4140980"/>
                  <a:pt x="6362286" y="4143643"/>
                </a:cubicBezTo>
                <a:cubicBezTo>
                  <a:pt x="6364815" y="4146305"/>
                  <a:pt x="6366945" y="4149500"/>
                  <a:pt x="6368409" y="4153094"/>
                </a:cubicBezTo>
                <a:cubicBezTo>
                  <a:pt x="6369874" y="4156688"/>
                  <a:pt x="6370672" y="4160415"/>
                  <a:pt x="6370672" y="4164542"/>
                </a:cubicBezTo>
                <a:cubicBezTo>
                  <a:pt x="6370672" y="4168668"/>
                  <a:pt x="6369874" y="4172662"/>
                  <a:pt x="6368409" y="4176257"/>
                </a:cubicBezTo>
                <a:cubicBezTo>
                  <a:pt x="6366811" y="4179851"/>
                  <a:pt x="6364815" y="4182913"/>
                  <a:pt x="6362286" y="4185576"/>
                </a:cubicBezTo>
                <a:cubicBezTo>
                  <a:pt x="6359623" y="4188238"/>
                  <a:pt x="6356562" y="4190368"/>
                  <a:pt x="6352968" y="4191832"/>
                </a:cubicBezTo>
                <a:cubicBezTo>
                  <a:pt x="6349373" y="4193296"/>
                  <a:pt x="6345513" y="4194095"/>
                  <a:pt x="6341253" y="4194095"/>
                </a:cubicBezTo>
                <a:cubicBezTo>
                  <a:pt x="6332335" y="4194095"/>
                  <a:pt x="6325013" y="4191166"/>
                  <a:pt x="6319421" y="4185576"/>
                </a:cubicBezTo>
                <a:cubicBezTo>
                  <a:pt x="6313830" y="4179984"/>
                  <a:pt x="6311035" y="4172795"/>
                  <a:pt x="6311035" y="4164409"/>
                </a:cubicBezTo>
                <a:cubicBezTo>
                  <a:pt x="6311035" y="4156156"/>
                  <a:pt x="6313830" y="4149100"/>
                  <a:pt x="6319421" y="4143376"/>
                </a:cubicBezTo>
                <a:cubicBezTo>
                  <a:pt x="6325013" y="4137653"/>
                  <a:pt x="6332201" y="4134724"/>
                  <a:pt x="6341253" y="4134724"/>
                </a:cubicBezTo>
                <a:close/>
                <a:moveTo>
                  <a:pt x="6123608" y="4134724"/>
                </a:moveTo>
                <a:cubicBezTo>
                  <a:pt x="6127867" y="4134724"/>
                  <a:pt x="6131728" y="4135523"/>
                  <a:pt x="6135322" y="4137253"/>
                </a:cubicBezTo>
                <a:cubicBezTo>
                  <a:pt x="6139049" y="4138851"/>
                  <a:pt x="6142111" y="4140980"/>
                  <a:pt x="6144640" y="4143643"/>
                </a:cubicBezTo>
                <a:cubicBezTo>
                  <a:pt x="6147169" y="4146305"/>
                  <a:pt x="6149299" y="4149500"/>
                  <a:pt x="6150763" y="4153094"/>
                </a:cubicBezTo>
                <a:cubicBezTo>
                  <a:pt x="6152228" y="4156688"/>
                  <a:pt x="6153026" y="4160415"/>
                  <a:pt x="6153026" y="4164542"/>
                </a:cubicBezTo>
                <a:cubicBezTo>
                  <a:pt x="6153026" y="4168668"/>
                  <a:pt x="6152228" y="4172662"/>
                  <a:pt x="6150763" y="4176257"/>
                </a:cubicBezTo>
                <a:cubicBezTo>
                  <a:pt x="6149299" y="4179851"/>
                  <a:pt x="6147169" y="4182913"/>
                  <a:pt x="6144640" y="4185576"/>
                </a:cubicBezTo>
                <a:cubicBezTo>
                  <a:pt x="6141977" y="4188238"/>
                  <a:pt x="6138916" y="4190368"/>
                  <a:pt x="6135322" y="4191832"/>
                </a:cubicBezTo>
                <a:cubicBezTo>
                  <a:pt x="6131728" y="4193296"/>
                  <a:pt x="6127867" y="4194095"/>
                  <a:pt x="6123608" y="4194095"/>
                </a:cubicBezTo>
                <a:cubicBezTo>
                  <a:pt x="6114689" y="4194095"/>
                  <a:pt x="6107367" y="4191166"/>
                  <a:pt x="6101775" y="4185576"/>
                </a:cubicBezTo>
                <a:cubicBezTo>
                  <a:pt x="6096184" y="4179984"/>
                  <a:pt x="6093389" y="4172795"/>
                  <a:pt x="6093389" y="4164409"/>
                </a:cubicBezTo>
                <a:cubicBezTo>
                  <a:pt x="6093389" y="4156156"/>
                  <a:pt x="6096184" y="4149100"/>
                  <a:pt x="6101775" y="4143376"/>
                </a:cubicBezTo>
                <a:cubicBezTo>
                  <a:pt x="6107367" y="4137653"/>
                  <a:pt x="6114555" y="4134724"/>
                  <a:pt x="6123608" y="4134724"/>
                </a:cubicBezTo>
                <a:close/>
                <a:moveTo>
                  <a:pt x="5905963" y="4134724"/>
                </a:moveTo>
                <a:cubicBezTo>
                  <a:pt x="5910222" y="4134724"/>
                  <a:pt x="5914216" y="4135523"/>
                  <a:pt x="5917677" y="4137253"/>
                </a:cubicBezTo>
                <a:cubicBezTo>
                  <a:pt x="5921404" y="4138851"/>
                  <a:pt x="5924466" y="4140980"/>
                  <a:pt x="5926995" y="4143643"/>
                </a:cubicBezTo>
                <a:cubicBezTo>
                  <a:pt x="5929524" y="4146305"/>
                  <a:pt x="5931654" y="4149500"/>
                  <a:pt x="5933118" y="4153094"/>
                </a:cubicBezTo>
                <a:cubicBezTo>
                  <a:pt x="5934583" y="4156688"/>
                  <a:pt x="5935381" y="4160415"/>
                  <a:pt x="5935381" y="4164542"/>
                </a:cubicBezTo>
                <a:cubicBezTo>
                  <a:pt x="5935381" y="4168668"/>
                  <a:pt x="5934583" y="4172662"/>
                  <a:pt x="5933118" y="4176257"/>
                </a:cubicBezTo>
                <a:cubicBezTo>
                  <a:pt x="5931654" y="4179851"/>
                  <a:pt x="5929524" y="4182913"/>
                  <a:pt x="5926995" y="4185576"/>
                </a:cubicBezTo>
                <a:cubicBezTo>
                  <a:pt x="5924333" y="4188238"/>
                  <a:pt x="5921271" y="4190368"/>
                  <a:pt x="5917677" y="4191832"/>
                </a:cubicBezTo>
                <a:cubicBezTo>
                  <a:pt x="5914083" y="4193296"/>
                  <a:pt x="5910222" y="4194095"/>
                  <a:pt x="5905963" y="4194095"/>
                </a:cubicBezTo>
                <a:cubicBezTo>
                  <a:pt x="5897044" y="4194095"/>
                  <a:pt x="5889722" y="4191166"/>
                  <a:pt x="5884130" y="4185576"/>
                </a:cubicBezTo>
                <a:cubicBezTo>
                  <a:pt x="5878540" y="4179984"/>
                  <a:pt x="5875744" y="4172795"/>
                  <a:pt x="5875744" y="4164409"/>
                </a:cubicBezTo>
                <a:cubicBezTo>
                  <a:pt x="5875744" y="4156156"/>
                  <a:pt x="5878540" y="4149100"/>
                  <a:pt x="5884130" y="4143376"/>
                </a:cubicBezTo>
                <a:cubicBezTo>
                  <a:pt x="5889722" y="4137653"/>
                  <a:pt x="5896910" y="4134724"/>
                  <a:pt x="5905963" y="4134724"/>
                </a:cubicBezTo>
                <a:close/>
                <a:moveTo>
                  <a:pt x="5688451" y="4134724"/>
                </a:moveTo>
                <a:cubicBezTo>
                  <a:pt x="5692577" y="4134724"/>
                  <a:pt x="5696571" y="4135523"/>
                  <a:pt x="5700165" y="4137253"/>
                </a:cubicBezTo>
                <a:cubicBezTo>
                  <a:pt x="5703892" y="4138851"/>
                  <a:pt x="5706954" y="4140980"/>
                  <a:pt x="5709483" y="4143643"/>
                </a:cubicBezTo>
                <a:cubicBezTo>
                  <a:pt x="5712012" y="4146305"/>
                  <a:pt x="5714142" y="4149500"/>
                  <a:pt x="5715606" y="4153094"/>
                </a:cubicBezTo>
                <a:cubicBezTo>
                  <a:pt x="5717071" y="4156688"/>
                  <a:pt x="5717869" y="4160415"/>
                  <a:pt x="5717869" y="4164542"/>
                </a:cubicBezTo>
                <a:cubicBezTo>
                  <a:pt x="5717869" y="4168668"/>
                  <a:pt x="5717071" y="4172662"/>
                  <a:pt x="5715606" y="4176257"/>
                </a:cubicBezTo>
                <a:cubicBezTo>
                  <a:pt x="5714142" y="4179851"/>
                  <a:pt x="5712012" y="4182913"/>
                  <a:pt x="5709483" y="4185576"/>
                </a:cubicBezTo>
                <a:cubicBezTo>
                  <a:pt x="5706820" y="4188238"/>
                  <a:pt x="5703759" y="4190368"/>
                  <a:pt x="5700165" y="4191832"/>
                </a:cubicBezTo>
                <a:cubicBezTo>
                  <a:pt x="5696571" y="4193296"/>
                  <a:pt x="5692710" y="4194095"/>
                  <a:pt x="5688451" y="4194095"/>
                </a:cubicBezTo>
                <a:cubicBezTo>
                  <a:pt x="5679532" y="4194095"/>
                  <a:pt x="5672210" y="4191166"/>
                  <a:pt x="5666618" y="4185576"/>
                </a:cubicBezTo>
                <a:cubicBezTo>
                  <a:pt x="5661028" y="4179984"/>
                  <a:pt x="5658232" y="4172795"/>
                  <a:pt x="5658232" y="4164409"/>
                </a:cubicBezTo>
                <a:cubicBezTo>
                  <a:pt x="5658232" y="4156156"/>
                  <a:pt x="5661028" y="4149100"/>
                  <a:pt x="5666618" y="4143376"/>
                </a:cubicBezTo>
                <a:cubicBezTo>
                  <a:pt x="5672210" y="4137653"/>
                  <a:pt x="5679398" y="4134724"/>
                  <a:pt x="5688451" y="4134724"/>
                </a:cubicBezTo>
                <a:close/>
                <a:moveTo>
                  <a:pt x="5470806" y="4134724"/>
                </a:moveTo>
                <a:cubicBezTo>
                  <a:pt x="5475065" y="4134724"/>
                  <a:pt x="5478926" y="4135523"/>
                  <a:pt x="5482520" y="4137253"/>
                </a:cubicBezTo>
                <a:cubicBezTo>
                  <a:pt x="5486247" y="4138851"/>
                  <a:pt x="5489309" y="4140980"/>
                  <a:pt x="5491838" y="4143643"/>
                </a:cubicBezTo>
                <a:cubicBezTo>
                  <a:pt x="5494367" y="4146305"/>
                  <a:pt x="5496497" y="4149500"/>
                  <a:pt x="5497961" y="4153094"/>
                </a:cubicBezTo>
                <a:cubicBezTo>
                  <a:pt x="5499426" y="4156688"/>
                  <a:pt x="5500224" y="4160415"/>
                  <a:pt x="5500224" y="4164542"/>
                </a:cubicBezTo>
                <a:cubicBezTo>
                  <a:pt x="5500224" y="4168668"/>
                  <a:pt x="5499426" y="4172662"/>
                  <a:pt x="5497961" y="4176257"/>
                </a:cubicBezTo>
                <a:cubicBezTo>
                  <a:pt x="5496497" y="4179851"/>
                  <a:pt x="5494367" y="4182913"/>
                  <a:pt x="5491838" y="4185576"/>
                </a:cubicBezTo>
                <a:cubicBezTo>
                  <a:pt x="5489176" y="4188238"/>
                  <a:pt x="5486114" y="4190368"/>
                  <a:pt x="5482520" y="4191832"/>
                </a:cubicBezTo>
                <a:cubicBezTo>
                  <a:pt x="5478926" y="4193296"/>
                  <a:pt x="5475065" y="4194095"/>
                  <a:pt x="5470806" y="4194095"/>
                </a:cubicBezTo>
                <a:cubicBezTo>
                  <a:pt x="5461887" y="4194095"/>
                  <a:pt x="5454565" y="4191166"/>
                  <a:pt x="5448973" y="4185576"/>
                </a:cubicBezTo>
                <a:cubicBezTo>
                  <a:pt x="5443383" y="4179984"/>
                  <a:pt x="5440587" y="4172795"/>
                  <a:pt x="5440587" y="4164409"/>
                </a:cubicBezTo>
                <a:cubicBezTo>
                  <a:pt x="5440587" y="4156156"/>
                  <a:pt x="5443383" y="4149100"/>
                  <a:pt x="5448973" y="4143376"/>
                </a:cubicBezTo>
                <a:cubicBezTo>
                  <a:pt x="5454565" y="4137653"/>
                  <a:pt x="5461754" y="4134724"/>
                  <a:pt x="5470806" y="4134724"/>
                </a:cubicBezTo>
                <a:close/>
                <a:moveTo>
                  <a:pt x="5253160" y="4134724"/>
                </a:moveTo>
                <a:cubicBezTo>
                  <a:pt x="5257420" y="4134724"/>
                  <a:pt x="5261280" y="4135523"/>
                  <a:pt x="5264875" y="4137253"/>
                </a:cubicBezTo>
                <a:cubicBezTo>
                  <a:pt x="5268602" y="4138851"/>
                  <a:pt x="5271664" y="4140980"/>
                  <a:pt x="5274192" y="4143643"/>
                </a:cubicBezTo>
                <a:cubicBezTo>
                  <a:pt x="5276722" y="4146305"/>
                  <a:pt x="5278852" y="4149500"/>
                  <a:pt x="5280316" y="4153094"/>
                </a:cubicBezTo>
                <a:cubicBezTo>
                  <a:pt x="5281780" y="4156688"/>
                  <a:pt x="5282579" y="4160415"/>
                  <a:pt x="5282579" y="4164542"/>
                </a:cubicBezTo>
                <a:cubicBezTo>
                  <a:pt x="5282579" y="4168668"/>
                  <a:pt x="5281780" y="4172662"/>
                  <a:pt x="5280316" y="4176257"/>
                </a:cubicBezTo>
                <a:cubicBezTo>
                  <a:pt x="5278852" y="4179851"/>
                  <a:pt x="5276722" y="4182913"/>
                  <a:pt x="5274192" y="4185576"/>
                </a:cubicBezTo>
                <a:cubicBezTo>
                  <a:pt x="5271664" y="4188238"/>
                  <a:pt x="5268469" y="4190368"/>
                  <a:pt x="5264875" y="4191832"/>
                </a:cubicBezTo>
                <a:cubicBezTo>
                  <a:pt x="5261280" y="4193296"/>
                  <a:pt x="5257420" y="4194095"/>
                  <a:pt x="5253160" y="4194095"/>
                </a:cubicBezTo>
                <a:cubicBezTo>
                  <a:pt x="5244241" y="4194095"/>
                  <a:pt x="5236920" y="4191166"/>
                  <a:pt x="5231328" y="4185576"/>
                </a:cubicBezTo>
                <a:cubicBezTo>
                  <a:pt x="5225737" y="4179984"/>
                  <a:pt x="5222942" y="4172795"/>
                  <a:pt x="5222942" y="4164409"/>
                </a:cubicBezTo>
                <a:cubicBezTo>
                  <a:pt x="5222942" y="4156156"/>
                  <a:pt x="5225737" y="4149100"/>
                  <a:pt x="5231328" y="4143376"/>
                </a:cubicBezTo>
                <a:cubicBezTo>
                  <a:pt x="5236920" y="4137653"/>
                  <a:pt x="5244108" y="4134724"/>
                  <a:pt x="5253160" y="4134724"/>
                </a:cubicBezTo>
                <a:close/>
                <a:moveTo>
                  <a:pt x="5035515" y="4134724"/>
                </a:moveTo>
                <a:cubicBezTo>
                  <a:pt x="5039775" y="4134724"/>
                  <a:pt x="5043636" y="4135523"/>
                  <a:pt x="5047230" y="4137253"/>
                </a:cubicBezTo>
                <a:cubicBezTo>
                  <a:pt x="5050957" y="4138851"/>
                  <a:pt x="5054019" y="4140980"/>
                  <a:pt x="5056548" y="4143643"/>
                </a:cubicBezTo>
                <a:cubicBezTo>
                  <a:pt x="5059077" y="4146305"/>
                  <a:pt x="5061207" y="4149500"/>
                  <a:pt x="5062671" y="4153094"/>
                </a:cubicBezTo>
                <a:cubicBezTo>
                  <a:pt x="5064135" y="4156688"/>
                  <a:pt x="5064934" y="4160415"/>
                  <a:pt x="5064934" y="4164542"/>
                </a:cubicBezTo>
                <a:cubicBezTo>
                  <a:pt x="5064934" y="4168668"/>
                  <a:pt x="5064135" y="4172662"/>
                  <a:pt x="5062671" y="4176257"/>
                </a:cubicBezTo>
                <a:cubicBezTo>
                  <a:pt x="5061207" y="4179851"/>
                  <a:pt x="5059077" y="4182913"/>
                  <a:pt x="5056548" y="4185576"/>
                </a:cubicBezTo>
                <a:cubicBezTo>
                  <a:pt x="5053885" y="4188238"/>
                  <a:pt x="5050824" y="4190368"/>
                  <a:pt x="5047230" y="4191832"/>
                </a:cubicBezTo>
                <a:cubicBezTo>
                  <a:pt x="5043636" y="4193296"/>
                  <a:pt x="5039775" y="4194095"/>
                  <a:pt x="5035515" y="4194095"/>
                </a:cubicBezTo>
                <a:cubicBezTo>
                  <a:pt x="5026597" y="4194095"/>
                  <a:pt x="5019275" y="4191166"/>
                  <a:pt x="5013683" y="4185576"/>
                </a:cubicBezTo>
                <a:cubicBezTo>
                  <a:pt x="5008092" y="4179984"/>
                  <a:pt x="5005297" y="4172795"/>
                  <a:pt x="5005297" y="4164409"/>
                </a:cubicBezTo>
                <a:cubicBezTo>
                  <a:pt x="5005297" y="4156156"/>
                  <a:pt x="5008092" y="4149100"/>
                  <a:pt x="5013683" y="4143376"/>
                </a:cubicBezTo>
                <a:cubicBezTo>
                  <a:pt x="5019275" y="4137653"/>
                  <a:pt x="5026463" y="4134724"/>
                  <a:pt x="5035515" y="4134724"/>
                </a:cubicBezTo>
                <a:close/>
                <a:moveTo>
                  <a:pt x="4817870" y="4134724"/>
                </a:moveTo>
                <a:cubicBezTo>
                  <a:pt x="4822130" y="4134724"/>
                  <a:pt x="4826124" y="4135523"/>
                  <a:pt x="4829585" y="4137253"/>
                </a:cubicBezTo>
                <a:cubicBezTo>
                  <a:pt x="4833312" y="4138851"/>
                  <a:pt x="4836374" y="4140980"/>
                  <a:pt x="4838903" y="4143643"/>
                </a:cubicBezTo>
                <a:cubicBezTo>
                  <a:pt x="4841432" y="4146305"/>
                  <a:pt x="4843562" y="4149500"/>
                  <a:pt x="4845026" y="4153094"/>
                </a:cubicBezTo>
                <a:cubicBezTo>
                  <a:pt x="4846491" y="4156688"/>
                  <a:pt x="4847289" y="4160415"/>
                  <a:pt x="4847289" y="4164542"/>
                </a:cubicBezTo>
                <a:cubicBezTo>
                  <a:pt x="4847289" y="4168668"/>
                  <a:pt x="4846491" y="4172662"/>
                  <a:pt x="4845026" y="4176257"/>
                </a:cubicBezTo>
                <a:cubicBezTo>
                  <a:pt x="4843562" y="4179851"/>
                  <a:pt x="4841432" y="4182913"/>
                  <a:pt x="4838903" y="4185576"/>
                </a:cubicBezTo>
                <a:cubicBezTo>
                  <a:pt x="4836240" y="4188238"/>
                  <a:pt x="4833179" y="4190368"/>
                  <a:pt x="4829585" y="4191832"/>
                </a:cubicBezTo>
                <a:cubicBezTo>
                  <a:pt x="4825991" y="4193296"/>
                  <a:pt x="4822130" y="4194095"/>
                  <a:pt x="4817870" y="4194095"/>
                </a:cubicBezTo>
                <a:cubicBezTo>
                  <a:pt x="4808952" y="4194095"/>
                  <a:pt x="4801630" y="4191166"/>
                  <a:pt x="4796038" y="4185576"/>
                </a:cubicBezTo>
                <a:cubicBezTo>
                  <a:pt x="4790447" y="4179984"/>
                  <a:pt x="4787652" y="4172795"/>
                  <a:pt x="4787652" y="4164409"/>
                </a:cubicBezTo>
                <a:cubicBezTo>
                  <a:pt x="4787652" y="4156156"/>
                  <a:pt x="4790447" y="4149100"/>
                  <a:pt x="4796038" y="4143376"/>
                </a:cubicBezTo>
                <a:cubicBezTo>
                  <a:pt x="4801630" y="4137653"/>
                  <a:pt x="4808818" y="4134724"/>
                  <a:pt x="4817870" y="4134724"/>
                </a:cubicBezTo>
                <a:close/>
                <a:moveTo>
                  <a:pt x="4600226" y="4134724"/>
                </a:moveTo>
                <a:cubicBezTo>
                  <a:pt x="4604485" y="4134724"/>
                  <a:pt x="4608479" y="4135523"/>
                  <a:pt x="4612073" y="4137253"/>
                </a:cubicBezTo>
                <a:cubicBezTo>
                  <a:pt x="4615800" y="4138851"/>
                  <a:pt x="4618862" y="4140980"/>
                  <a:pt x="4621391" y="4143643"/>
                </a:cubicBezTo>
                <a:cubicBezTo>
                  <a:pt x="4623920" y="4146305"/>
                  <a:pt x="4626050" y="4149500"/>
                  <a:pt x="4627514" y="4153094"/>
                </a:cubicBezTo>
                <a:cubicBezTo>
                  <a:pt x="4628978" y="4156688"/>
                  <a:pt x="4629777" y="4160415"/>
                  <a:pt x="4629777" y="4164542"/>
                </a:cubicBezTo>
                <a:cubicBezTo>
                  <a:pt x="4629777" y="4168668"/>
                  <a:pt x="4628978" y="4172662"/>
                  <a:pt x="4627514" y="4176257"/>
                </a:cubicBezTo>
                <a:cubicBezTo>
                  <a:pt x="4626050" y="4179851"/>
                  <a:pt x="4623920" y="4182913"/>
                  <a:pt x="4621391" y="4185576"/>
                </a:cubicBezTo>
                <a:cubicBezTo>
                  <a:pt x="4618729" y="4188238"/>
                  <a:pt x="4615667" y="4190368"/>
                  <a:pt x="4612073" y="4191832"/>
                </a:cubicBezTo>
                <a:cubicBezTo>
                  <a:pt x="4608346" y="4193296"/>
                  <a:pt x="4604485" y="4194095"/>
                  <a:pt x="4600226" y="4194095"/>
                </a:cubicBezTo>
                <a:cubicBezTo>
                  <a:pt x="4591173" y="4194095"/>
                  <a:pt x="4583985" y="4191166"/>
                  <a:pt x="4578393" y="4185576"/>
                </a:cubicBezTo>
                <a:cubicBezTo>
                  <a:pt x="4572803" y="4179984"/>
                  <a:pt x="4570007" y="4172795"/>
                  <a:pt x="4570007" y="4164409"/>
                </a:cubicBezTo>
                <a:cubicBezTo>
                  <a:pt x="4570007" y="4156156"/>
                  <a:pt x="4572803" y="4149100"/>
                  <a:pt x="4578393" y="4143376"/>
                </a:cubicBezTo>
                <a:cubicBezTo>
                  <a:pt x="4583985" y="4137653"/>
                  <a:pt x="4591173" y="4134724"/>
                  <a:pt x="4600226" y="4134724"/>
                </a:cubicBezTo>
                <a:close/>
                <a:moveTo>
                  <a:pt x="4382713" y="4134724"/>
                </a:moveTo>
                <a:cubicBezTo>
                  <a:pt x="4386840" y="4134724"/>
                  <a:pt x="4390834" y="4135523"/>
                  <a:pt x="4394428" y="4137253"/>
                </a:cubicBezTo>
                <a:cubicBezTo>
                  <a:pt x="4398155" y="4138851"/>
                  <a:pt x="4401217" y="4140980"/>
                  <a:pt x="4403746" y="4143643"/>
                </a:cubicBezTo>
                <a:cubicBezTo>
                  <a:pt x="4406275" y="4146305"/>
                  <a:pt x="4408405" y="4149500"/>
                  <a:pt x="4409869" y="4153094"/>
                </a:cubicBezTo>
                <a:cubicBezTo>
                  <a:pt x="4411334" y="4156688"/>
                  <a:pt x="4412132" y="4160415"/>
                  <a:pt x="4412132" y="4164542"/>
                </a:cubicBezTo>
                <a:cubicBezTo>
                  <a:pt x="4412132" y="4168668"/>
                  <a:pt x="4411334" y="4172662"/>
                  <a:pt x="4409869" y="4176257"/>
                </a:cubicBezTo>
                <a:cubicBezTo>
                  <a:pt x="4408405" y="4179851"/>
                  <a:pt x="4406275" y="4182913"/>
                  <a:pt x="4403746" y="4185576"/>
                </a:cubicBezTo>
                <a:cubicBezTo>
                  <a:pt x="4401083" y="4188238"/>
                  <a:pt x="4398022" y="4190368"/>
                  <a:pt x="4394428" y="4191832"/>
                </a:cubicBezTo>
                <a:cubicBezTo>
                  <a:pt x="4390834" y="4193296"/>
                  <a:pt x="4386973" y="4194095"/>
                  <a:pt x="4382713" y="4194095"/>
                </a:cubicBezTo>
                <a:cubicBezTo>
                  <a:pt x="4373661" y="4194095"/>
                  <a:pt x="4366473" y="4191166"/>
                  <a:pt x="4360881" y="4185576"/>
                </a:cubicBezTo>
                <a:cubicBezTo>
                  <a:pt x="4355290" y="4179984"/>
                  <a:pt x="4352495" y="4172795"/>
                  <a:pt x="4352495" y="4164409"/>
                </a:cubicBezTo>
                <a:cubicBezTo>
                  <a:pt x="4352495" y="4156156"/>
                  <a:pt x="4355290" y="4149100"/>
                  <a:pt x="4360881" y="4143376"/>
                </a:cubicBezTo>
                <a:cubicBezTo>
                  <a:pt x="4366473" y="4137653"/>
                  <a:pt x="4373661" y="4134724"/>
                  <a:pt x="4382713" y="4134724"/>
                </a:cubicBezTo>
                <a:close/>
                <a:moveTo>
                  <a:pt x="4165068" y="4134724"/>
                </a:moveTo>
                <a:cubicBezTo>
                  <a:pt x="4169327" y="4134724"/>
                  <a:pt x="4173188" y="4135523"/>
                  <a:pt x="4176782" y="4137253"/>
                </a:cubicBezTo>
                <a:cubicBezTo>
                  <a:pt x="4180509" y="4138851"/>
                  <a:pt x="4183571" y="4140980"/>
                  <a:pt x="4186100" y="4143643"/>
                </a:cubicBezTo>
                <a:cubicBezTo>
                  <a:pt x="4188629" y="4146305"/>
                  <a:pt x="4190759" y="4149500"/>
                  <a:pt x="4192223" y="4153094"/>
                </a:cubicBezTo>
                <a:cubicBezTo>
                  <a:pt x="4193688" y="4156688"/>
                  <a:pt x="4194486" y="4160415"/>
                  <a:pt x="4194486" y="4164542"/>
                </a:cubicBezTo>
                <a:cubicBezTo>
                  <a:pt x="4194486" y="4168668"/>
                  <a:pt x="4193688" y="4172662"/>
                  <a:pt x="4192223" y="4176257"/>
                </a:cubicBezTo>
                <a:cubicBezTo>
                  <a:pt x="4190759" y="4179851"/>
                  <a:pt x="4188629" y="4182913"/>
                  <a:pt x="4186100" y="4185576"/>
                </a:cubicBezTo>
                <a:cubicBezTo>
                  <a:pt x="4183438" y="4188238"/>
                  <a:pt x="4180376" y="4190368"/>
                  <a:pt x="4176782" y="4191832"/>
                </a:cubicBezTo>
                <a:cubicBezTo>
                  <a:pt x="4173188" y="4193296"/>
                  <a:pt x="4169327" y="4194095"/>
                  <a:pt x="4165068" y="4194095"/>
                </a:cubicBezTo>
                <a:cubicBezTo>
                  <a:pt x="4156015" y="4194095"/>
                  <a:pt x="4148827" y="4191166"/>
                  <a:pt x="4143235" y="4185576"/>
                </a:cubicBezTo>
                <a:cubicBezTo>
                  <a:pt x="4137645" y="4179984"/>
                  <a:pt x="4134849" y="4172795"/>
                  <a:pt x="4134849" y="4164409"/>
                </a:cubicBezTo>
                <a:cubicBezTo>
                  <a:pt x="4134849" y="4156156"/>
                  <a:pt x="4137645" y="4149100"/>
                  <a:pt x="4143235" y="4143376"/>
                </a:cubicBezTo>
                <a:cubicBezTo>
                  <a:pt x="4148827" y="4137653"/>
                  <a:pt x="4156015" y="4134724"/>
                  <a:pt x="4165068" y="4134724"/>
                </a:cubicBezTo>
                <a:close/>
                <a:moveTo>
                  <a:pt x="3947651" y="4134724"/>
                </a:moveTo>
                <a:cubicBezTo>
                  <a:pt x="3951913" y="4134724"/>
                  <a:pt x="3955773" y="4135523"/>
                  <a:pt x="3959368" y="4137253"/>
                </a:cubicBezTo>
                <a:cubicBezTo>
                  <a:pt x="3963096" y="4138851"/>
                  <a:pt x="3966157" y="4140980"/>
                  <a:pt x="3968686" y="4143643"/>
                </a:cubicBezTo>
                <a:cubicBezTo>
                  <a:pt x="3971217" y="4146305"/>
                  <a:pt x="3973346" y="4149500"/>
                  <a:pt x="3974810" y="4153094"/>
                </a:cubicBezTo>
                <a:cubicBezTo>
                  <a:pt x="3976275" y="4156688"/>
                  <a:pt x="3977074" y="4160415"/>
                  <a:pt x="3977074" y="4164542"/>
                </a:cubicBezTo>
                <a:cubicBezTo>
                  <a:pt x="3977074" y="4168668"/>
                  <a:pt x="3976275" y="4172662"/>
                  <a:pt x="3974810" y="4176257"/>
                </a:cubicBezTo>
                <a:cubicBezTo>
                  <a:pt x="3973346" y="4179851"/>
                  <a:pt x="3971217" y="4182913"/>
                  <a:pt x="3968686" y="4185576"/>
                </a:cubicBezTo>
                <a:cubicBezTo>
                  <a:pt x="3966024" y="4188238"/>
                  <a:pt x="3962963" y="4190368"/>
                  <a:pt x="3959368" y="4191832"/>
                </a:cubicBezTo>
                <a:cubicBezTo>
                  <a:pt x="3955773" y="4193296"/>
                  <a:pt x="3951913" y="4194095"/>
                  <a:pt x="3947651" y="4194095"/>
                </a:cubicBezTo>
                <a:cubicBezTo>
                  <a:pt x="3938598" y="4194095"/>
                  <a:pt x="3931411" y="4191166"/>
                  <a:pt x="3925819" y="4185576"/>
                </a:cubicBezTo>
                <a:cubicBezTo>
                  <a:pt x="3920228" y="4179984"/>
                  <a:pt x="3917432" y="4172795"/>
                  <a:pt x="3917432" y="4164409"/>
                </a:cubicBezTo>
                <a:cubicBezTo>
                  <a:pt x="3917432" y="4156156"/>
                  <a:pt x="3920228" y="4149100"/>
                  <a:pt x="3925819" y="4143376"/>
                </a:cubicBezTo>
                <a:cubicBezTo>
                  <a:pt x="3931411" y="4137653"/>
                  <a:pt x="3938598" y="4134724"/>
                  <a:pt x="3947651" y="4134724"/>
                </a:cubicBezTo>
                <a:close/>
                <a:moveTo>
                  <a:pt x="3729995" y="4134724"/>
                </a:moveTo>
                <a:cubicBezTo>
                  <a:pt x="3734257" y="4134724"/>
                  <a:pt x="3738249" y="4135523"/>
                  <a:pt x="3741711" y="4137253"/>
                </a:cubicBezTo>
                <a:cubicBezTo>
                  <a:pt x="3745305" y="4138851"/>
                  <a:pt x="3748501" y="4140980"/>
                  <a:pt x="3751030" y="4143643"/>
                </a:cubicBezTo>
                <a:cubicBezTo>
                  <a:pt x="3753559" y="4146305"/>
                  <a:pt x="3755688" y="4149500"/>
                  <a:pt x="3757152" y="4153094"/>
                </a:cubicBezTo>
                <a:cubicBezTo>
                  <a:pt x="3758616" y="4156688"/>
                  <a:pt x="3759415" y="4160415"/>
                  <a:pt x="3759415" y="4164542"/>
                </a:cubicBezTo>
                <a:cubicBezTo>
                  <a:pt x="3759415" y="4168668"/>
                  <a:pt x="3758616" y="4172662"/>
                  <a:pt x="3757152" y="4176257"/>
                </a:cubicBezTo>
                <a:cubicBezTo>
                  <a:pt x="3755688" y="4179851"/>
                  <a:pt x="3753559" y="4182913"/>
                  <a:pt x="3751030" y="4185576"/>
                </a:cubicBezTo>
                <a:cubicBezTo>
                  <a:pt x="3748367" y="4188238"/>
                  <a:pt x="3745305" y="4190368"/>
                  <a:pt x="3741711" y="4191832"/>
                </a:cubicBezTo>
                <a:cubicBezTo>
                  <a:pt x="3738117" y="4193296"/>
                  <a:pt x="3734257" y="4194095"/>
                  <a:pt x="3729995" y="4194095"/>
                </a:cubicBezTo>
                <a:cubicBezTo>
                  <a:pt x="3720944" y="4194095"/>
                  <a:pt x="3713755" y="4191166"/>
                  <a:pt x="3708158" y="4185576"/>
                </a:cubicBezTo>
                <a:cubicBezTo>
                  <a:pt x="3702566" y="4179984"/>
                  <a:pt x="3699772" y="4172795"/>
                  <a:pt x="3699772" y="4164409"/>
                </a:cubicBezTo>
                <a:cubicBezTo>
                  <a:pt x="3699772" y="4156156"/>
                  <a:pt x="3702566" y="4149100"/>
                  <a:pt x="3708158" y="4143376"/>
                </a:cubicBezTo>
                <a:cubicBezTo>
                  <a:pt x="3713755" y="4137653"/>
                  <a:pt x="3720944" y="4134724"/>
                  <a:pt x="3729995" y="4134724"/>
                </a:cubicBezTo>
                <a:close/>
                <a:moveTo>
                  <a:pt x="3512338" y="4134724"/>
                </a:moveTo>
                <a:cubicBezTo>
                  <a:pt x="3516599" y="4134724"/>
                  <a:pt x="3520592" y="4135523"/>
                  <a:pt x="3524054" y="4137253"/>
                </a:cubicBezTo>
                <a:cubicBezTo>
                  <a:pt x="3527648" y="4138851"/>
                  <a:pt x="3530843" y="4140980"/>
                  <a:pt x="3533372" y="4143643"/>
                </a:cubicBezTo>
                <a:cubicBezTo>
                  <a:pt x="3535901" y="4146305"/>
                  <a:pt x="3538032" y="4149500"/>
                  <a:pt x="3539496" y="4153094"/>
                </a:cubicBezTo>
                <a:cubicBezTo>
                  <a:pt x="3540960" y="4156688"/>
                  <a:pt x="3541759" y="4160415"/>
                  <a:pt x="3541759" y="4164542"/>
                </a:cubicBezTo>
                <a:cubicBezTo>
                  <a:pt x="3541759" y="4168668"/>
                  <a:pt x="3540960" y="4172662"/>
                  <a:pt x="3539496" y="4176257"/>
                </a:cubicBezTo>
                <a:cubicBezTo>
                  <a:pt x="3538032" y="4179851"/>
                  <a:pt x="3535901" y="4182913"/>
                  <a:pt x="3533372" y="4185576"/>
                </a:cubicBezTo>
                <a:cubicBezTo>
                  <a:pt x="3530709" y="4188238"/>
                  <a:pt x="3527648" y="4190368"/>
                  <a:pt x="3524054" y="4191832"/>
                </a:cubicBezTo>
                <a:cubicBezTo>
                  <a:pt x="3520460" y="4193296"/>
                  <a:pt x="3516599" y="4194095"/>
                  <a:pt x="3512338" y="4194095"/>
                </a:cubicBezTo>
                <a:cubicBezTo>
                  <a:pt x="3503284" y="4194095"/>
                  <a:pt x="3496094" y="4191166"/>
                  <a:pt x="3490503" y="4185576"/>
                </a:cubicBezTo>
                <a:cubicBezTo>
                  <a:pt x="3484912" y="4179984"/>
                  <a:pt x="3482117" y="4172795"/>
                  <a:pt x="3482117" y="4164409"/>
                </a:cubicBezTo>
                <a:cubicBezTo>
                  <a:pt x="3482117" y="4156156"/>
                  <a:pt x="3484912" y="4149100"/>
                  <a:pt x="3490503" y="4143376"/>
                </a:cubicBezTo>
                <a:cubicBezTo>
                  <a:pt x="3496094" y="4137653"/>
                  <a:pt x="3503284" y="4134724"/>
                  <a:pt x="3512338" y="4134724"/>
                </a:cubicBezTo>
                <a:close/>
                <a:moveTo>
                  <a:pt x="3294815" y="4134724"/>
                </a:moveTo>
                <a:cubicBezTo>
                  <a:pt x="3298942" y="4134724"/>
                  <a:pt x="3302936" y="4135523"/>
                  <a:pt x="3306531" y="4137253"/>
                </a:cubicBezTo>
                <a:cubicBezTo>
                  <a:pt x="3310257" y="4138851"/>
                  <a:pt x="3313319" y="4140980"/>
                  <a:pt x="3315848" y="4143643"/>
                </a:cubicBezTo>
                <a:cubicBezTo>
                  <a:pt x="3318378" y="4146305"/>
                  <a:pt x="3320508" y="4149500"/>
                  <a:pt x="3321972" y="4153094"/>
                </a:cubicBezTo>
                <a:cubicBezTo>
                  <a:pt x="3323436" y="4156688"/>
                  <a:pt x="3324235" y="4160415"/>
                  <a:pt x="3324235" y="4164542"/>
                </a:cubicBezTo>
                <a:cubicBezTo>
                  <a:pt x="3324235" y="4168668"/>
                  <a:pt x="3323436" y="4172662"/>
                  <a:pt x="3321972" y="4176257"/>
                </a:cubicBezTo>
                <a:cubicBezTo>
                  <a:pt x="3320508" y="4179851"/>
                  <a:pt x="3318378" y="4182913"/>
                  <a:pt x="3315848" y="4185576"/>
                </a:cubicBezTo>
                <a:cubicBezTo>
                  <a:pt x="3313185" y="4188238"/>
                  <a:pt x="3310124" y="4190368"/>
                  <a:pt x="3306531" y="4191832"/>
                </a:cubicBezTo>
                <a:cubicBezTo>
                  <a:pt x="3302936" y="4193296"/>
                  <a:pt x="3299075" y="4194095"/>
                  <a:pt x="3294815" y="4194095"/>
                </a:cubicBezTo>
                <a:cubicBezTo>
                  <a:pt x="3285761" y="4194095"/>
                  <a:pt x="3278572" y="4191166"/>
                  <a:pt x="3272979" y="4185576"/>
                </a:cubicBezTo>
                <a:cubicBezTo>
                  <a:pt x="3267386" y="4179984"/>
                  <a:pt x="3264591" y="4172795"/>
                  <a:pt x="3264591" y="4164409"/>
                </a:cubicBezTo>
                <a:cubicBezTo>
                  <a:pt x="3264591" y="4156156"/>
                  <a:pt x="3267386" y="4149100"/>
                  <a:pt x="3272979" y="4143376"/>
                </a:cubicBezTo>
                <a:cubicBezTo>
                  <a:pt x="3278572" y="4137653"/>
                  <a:pt x="3285761" y="4134724"/>
                  <a:pt x="3294815" y="4134724"/>
                </a:cubicBezTo>
                <a:close/>
                <a:moveTo>
                  <a:pt x="3077158" y="4134724"/>
                </a:moveTo>
                <a:cubicBezTo>
                  <a:pt x="3081285" y="4134724"/>
                  <a:pt x="3085279" y="4135523"/>
                  <a:pt x="3088873" y="4137253"/>
                </a:cubicBezTo>
                <a:cubicBezTo>
                  <a:pt x="3092467" y="4138851"/>
                  <a:pt x="3095663" y="4140980"/>
                  <a:pt x="3098191" y="4143643"/>
                </a:cubicBezTo>
                <a:cubicBezTo>
                  <a:pt x="3100720" y="4146305"/>
                  <a:pt x="3102851" y="4149500"/>
                  <a:pt x="3104315" y="4153094"/>
                </a:cubicBezTo>
                <a:cubicBezTo>
                  <a:pt x="3105780" y="4156688"/>
                  <a:pt x="3106577" y="4160415"/>
                  <a:pt x="3106577" y="4164542"/>
                </a:cubicBezTo>
                <a:cubicBezTo>
                  <a:pt x="3106577" y="4168668"/>
                  <a:pt x="3105780" y="4172662"/>
                  <a:pt x="3104315" y="4176257"/>
                </a:cubicBezTo>
                <a:cubicBezTo>
                  <a:pt x="3102851" y="4179851"/>
                  <a:pt x="3100720" y="4182913"/>
                  <a:pt x="3098191" y="4185576"/>
                </a:cubicBezTo>
                <a:cubicBezTo>
                  <a:pt x="3095529" y="4188238"/>
                  <a:pt x="3092467" y="4190368"/>
                  <a:pt x="3088873" y="4191832"/>
                </a:cubicBezTo>
                <a:cubicBezTo>
                  <a:pt x="3085279" y="4193296"/>
                  <a:pt x="3081418" y="4194095"/>
                  <a:pt x="3077158" y="4194095"/>
                </a:cubicBezTo>
                <a:cubicBezTo>
                  <a:pt x="3068237" y="4194095"/>
                  <a:pt x="3060915" y="4191166"/>
                  <a:pt x="3055321" y="4185576"/>
                </a:cubicBezTo>
                <a:cubicBezTo>
                  <a:pt x="3049730" y="4179984"/>
                  <a:pt x="3046935" y="4172795"/>
                  <a:pt x="3046935" y="4164409"/>
                </a:cubicBezTo>
                <a:cubicBezTo>
                  <a:pt x="3046935" y="4156156"/>
                  <a:pt x="3049730" y="4149100"/>
                  <a:pt x="3055321" y="4143376"/>
                </a:cubicBezTo>
                <a:cubicBezTo>
                  <a:pt x="3060915" y="4137653"/>
                  <a:pt x="3068105" y="4134724"/>
                  <a:pt x="3077158" y="4134724"/>
                </a:cubicBezTo>
                <a:close/>
                <a:moveTo>
                  <a:pt x="2859501" y="4134724"/>
                </a:moveTo>
                <a:cubicBezTo>
                  <a:pt x="2863761" y="4134724"/>
                  <a:pt x="2867622" y="4135523"/>
                  <a:pt x="2871349" y="4137253"/>
                </a:cubicBezTo>
                <a:cubicBezTo>
                  <a:pt x="2875076" y="4138851"/>
                  <a:pt x="2878138" y="4140980"/>
                  <a:pt x="2880667" y="4143643"/>
                </a:cubicBezTo>
                <a:cubicBezTo>
                  <a:pt x="2883329" y="4146305"/>
                  <a:pt x="2885327" y="4149500"/>
                  <a:pt x="2886791" y="4153094"/>
                </a:cubicBezTo>
                <a:cubicBezTo>
                  <a:pt x="2888255" y="4156688"/>
                  <a:pt x="2889054" y="4160415"/>
                  <a:pt x="2889054" y="4164542"/>
                </a:cubicBezTo>
                <a:cubicBezTo>
                  <a:pt x="2889054" y="4168668"/>
                  <a:pt x="2888255" y="4172662"/>
                  <a:pt x="2886791" y="4176257"/>
                </a:cubicBezTo>
                <a:cubicBezTo>
                  <a:pt x="2885327" y="4179851"/>
                  <a:pt x="2883196" y="4182913"/>
                  <a:pt x="2880667" y="4185576"/>
                </a:cubicBezTo>
                <a:cubicBezTo>
                  <a:pt x="2878006" y="4188238"/>
                  <a:pt x="2874943" y="4190368"/>
                  <a:pt x="2871349" y="4191832"/>
                </a:cubicBezTo>
                <a:cubicBezTo>
                  <a:pt x="2867622" y="4193296"/>
                  <a:pt x="2863761" y="4194095"/>
                  <a:pt x="2859501" y="4194095"/>
                </a:cubicBezTo>
                <a:cubicBezTo>
                  <a:pt x="2850583" y="4194095"/>
                  <a:pt x="2843255" y="4191166"/>
                  <a:pt x="2837665" y="4185576"/>
                </a:cubicBezTo>
                <a:cubicBezTo>
                  <a:pt x="2832074" y="4179984"/>
                  <a:pt x="2829278" y="4172795"/>
                  <a:pt x="2829278" y="4164409"/>
                </a:cubicBezTo>
                <a:cubicBezTo>
                  <a:pt x="2829278" y="4156156"/>
                  <a:pt x="2832074" y="4149100"/>
                  <a:pt x="2837665" y="4143376"/>
                </a:cubicBezTo>
                <a:cubicBezTo>
                  <a:pt x="2843255" y="4137653"/>
                  <a:pt x="2850449" y="4134724"/>
                  <a:pt x="2859501" y="4134724"/>
                </a:cubicBezTo>
                <a:close/>
                <a:moveTo>
                  <a:pt x="2641844" y="4134724"/>
                </a:moveTo>
                <a:cubicBezTo>
                  <a:pt x="2646104" y="4134724"/>
                  <a:pt x="2649964" y="4135523"/>
                  <a:pt x="2653559" y="4137253"/>
                </a:cubicBezTo>
                <a:cubicBezTo>
                  <a:pt x="2657286" y="4138851"/>
                  <a:pt x="2660348" y="4140980"/>
                  <a:pt x="2662877" y="4143643"/>
                </a:cubicBezTo>
                <a:cubicBezTo>
                  <a:pt x="2665539" y="4146305"/>
                  <a:pt x="2667537" y="4149500"/>
                  <a:pt x="2669001" y="4153094"/>
                </a:cubicBezTo>
                <a:cubicBezTo>
                  <a:pt x="2670465" y="4156688"/>
                  <a:pt x="2671264" y="4160415"/>
                  <a:pt x="2671264" y="4164542"/>
                </a:cubicBezTo>
                <a:cubicBezTo>
                  <a:pt x="2671264" y="4168668"/>
                  <a:pt x="2670465" y="4172662"/>
                  <a:pt x="2669001" y="4176257"/>
                </a:cubicBezTo>
                <a:cubicBezTo>
                  <a:pt x="2667537" y="4179851"/>
                  <a:pt x="2665406" y="4182913"/>
                  <a:pt x="2662877" y="4185576"/>
                </a:cubicBezTo>
                <a:cubicBezTo>
                  <a:pt x="2660348" y="4188238"/>
                  <a:pt x="2657153" y="4190368"/>
                  <a:pt x="2653559" y="4191832"/>
                </a:cubicBezTo>
                <a:cubicBezTo>
                  <a:pt x="2649964" y="4193296"/>
                  <a:pt x="2646104" y="4194095"/>
                  <a:pt x="2641844" y="4194095"/>
                </a:cubicBezTo>
                <a:cubicBezTo>
                  <a:pt x="2632925" y="4194095"/>
                  <a:pt x="2625603" y="4191166"/>
                  <a:pt x="2620011" y="4185576"/>
                </a:cubicBezTo>
                <a:cubicBezTo>
                  <a:pt x="2614419" y="4179984"/>
                  <a:pt x="2611622" y="4172795"/>
                  <a:pt x="2611622" y="4164409"/>
                </a:cubicBezTo>
                <a:cubicBezTo>
                  <a:pt x="2611622" y="4156156"/>
                  <a:pt x="2614419" y="4149100"/>
                  <a:pt x="2620011" y="4143376"/>
                </a:cubicBezTo>
                <a:cubicBezTo>
                  <a:pt x="2625603" y="4137653"/>
                  <a:pt x="2632792" y="4134724"/>
                  <a:pt x="2641844" y="4134724"/>
                </a:cubicBezTo>
                <a:close/>
                <a:moveTo>
                  <a:pt x="2424187" y="4134724"/>
                </a:moveTo>
                <a:cubicBezTo>
                  <a:pt x="2428447" y="4134724"/>
                  <a:pt x="2432441" y="4135523"/>
                  <a:pt x="2435902" y="4137253"/>
                </a:cubicBezTo>
                <a:cubicBezTo>
                  <a:pt x="2439629" y="4138851"/>
                  <a:pt x="2442691" y="4140980"/>
                  <a:pt x="2445220" y="4143643"/>
                </a:cubicBezTo>
                <a:cubicBezTo>
                  <a:pt x="2447883" y="4146305"/>
                  <a:pt x="2449879" y="4149500"/>
                  <a:pt x="2451343" y="4153094"/>
                </a:cubicBezTo>
                <a:cubicBezTo>
                  <a:pt x="2452807" y="4156688"/>
                  <a:pt x="2453606" y="4160415"/>
                  <a:pt x="2453606" y="4164542"/>
                </a:cubicBezTo>
                <a:cubicBezTo>
                  <a:pt x="2453606" y="4168668"/>
                  <a:pt x="2452807" y="4172662"/>
                  <a:pt x="2451343" y="4176257"/>
                </a:cubicBezTo>
                <a:cubicBezTo>
                  <a:pt x="2449879" y="4179851"/>
                  <a:pt x="2447749" y="4182913"/>
                  <a:pt x="2445220" y="4185576"/>
                </a:cubicBezTo>
                <a:cubicBezTo>
                  <a:pt x="2442691" y="4188238"/>
                  <a:pt x="2439496" y="4190368"/>
                  <a:pt x="2435902" y="4191832"/>
                </a:cubicBezTo>
                <a:cubicBezTo>
                  <a:pt x="2432308" y="4193296"/>
                  <a:pt x="2428447" y="4194095"/>
                  <a:pt x="2424187" y="4194095"/>
                </a:cubicBezTo>
                <a:cubicBezTo>
                  <a:pt x="2415269" y="4194095"/>
                  <a:pt x="2407946" y="4191166"/>
                  <a:pt x="2402355" y="4185576"/>
                </a:cubicBezTo>
                <a:cubicBezTo>
                  <a:pt x="2396763" y="4179984"/>
                  <a:pt x="2393967" y="4172795"/>
                  <a:pt x="2393967" y="4164409"/>
                </a:cubicBezTo>
                <a:cubicBezTo>
                  <a:pt x="2393967" y="4156156"/>
                  <a:pt x="2396763" y="4149100"/>
                  <a:pt x="2402355" y="4143376"/>
                </a:cubicBezTo>
                <a:cubicBezTo>
                  <a:pt x="2407946" y="4137653"/>
                  <a:pt x="2415135" y="4134724"/>
                  <a:pt x="2424187" y="4134724"/>
                </a:cubicBezTo>
                <a:close/>
                <a:moveTo>
                  <a:pt x="2206530" y="4134724"/>
                </a:moveTo>
                <a:cubicBezTo>
                  <a:pt x="2210790" y="4134724"/>
                  <a:pt x="2214784" y="4135523"/>
                  <a:pt x="2218245" y="4137253"/>
                </a:cubicBezTo>
                <a:cubicBezTo>
                  <a:pt x="2221972" y="4138851"/>
                  <a:pt x="2225033" y="4140980"/>
                  <a:pt x="2227563" y="4143643"/>
                </a:cubicBezTo>
                <a:cubicBezTo>
                  <a:pt x="2230225" y="4146305"/>
                  <a:pt x="2232222" y="4149500"/>
                  <a:pt x="2233686" y="4153094"/>
                </a:cubicBezTo>
                <a:cubicBezTo>
                  <a:pt x="2235150" y="4156688"/>
                  <a:pt x="2235949" y="4160415"/>
                  <a:pt x="2235949" y="4164542"/>
                </a:cubicBezTo>
                <a:cubicBezTo>
                  <a:pt x="2235949" y="4168668"/>
                  <a:pt x="2235150" y="4172662"/>
                  <a:pt x="2233686" y="4176257"/>
                </a:cubicBezTo>
                <a:cubicBezTo>
                  <a:pt x="2232222" y="4179851"/>
                  <a:pt x="2230092" y="4182913"/>
                  <a:pt x="2227563" y="4185576"/>
                </a:cubicBezTo>
                <a:cubicBezTo>
                  <a:pt x="2225033" y="4188238"/>
                  <a:pt x="2221839" y="4190368"/>
                  <a:pt x="2218245" y="4191832"/>
                </a:cubicBezTo>
                <a:cubicBezTo>
                  <a:pt x="2214650" y="4193296"/>
                  <a:pt x="2210790" y="4194095"/>
                  <a:pt x="2206530" y="4194095"/>
                </a:cubicBezTo>
                <a:cubicBezTo>
                  <a:pt x="2197477" y="4194095"/>
                  <a:pt x="2190289" y="4191166"/>
                  <a:pt x="2184697" y="4185576"/>
                </a:cubicBezTo>
                <a:cubicBezTo>
                  <a:pt x="2179106" y="4179984"/>
                  <a:pt x="2176310" y="4172795"/>
                  <a:pt x="2176310" y="4164409"/>
                </a:cubicBezTo>
                <a:cubicBezTo>
                  <a:pt x="2176310" y="4156156"/>
                  <a:pt x="2179106" y="4149100"/>
                  <a:pt x="2184697" y="4143376"/>
                </a:cubicBezTo>
                <a:cubicBezTo>
                  <a:pt x="2190289" y="4137653"/>
                  <a:pt x="2197477" y="4134724"/>
                  <a:pt x="2206530" y="4134724"/>
                </a:cubicBezTo>
                <a:close/>
                <a:moveTo>
                  <a:pt x="1989006" y="4134724"/>
                </a:moveTo>
                <a:cubicBezTo>
                  <a:pt x="1993133" y="4134724"/>
                  <a:pt x="1997127" y="4135523"/>
                  <a:pt x="2000721" y="4137253"/>
                </a:cubicBezTo>
                <a:cubicBezTo>
                  <a:pt x="2004448" y="4138851"/>
                  <a:pt x="2007510" y="4140980"/>
                  <a:pt x="2010039" y="4143643"/>
                </a:cubicBezTo>
                <a:cubicBezTo>
                  <a:pt x="2012701" y="4146305"/>
                  <a:pt x="2014698" y="4149500"/>
                  <a:pt x="2016162" y="4153094"/>
                </a:cubicBezTo>
                <a:cubicBezTo>
                  <a:pt x="2017626" y="4156688"/>
                  <a:pt x="2018425" y="4160415"/>
                  <a:pt x="2018425" y="4164542"/>
                </a:cubicBezTo>
                <a:cubicBezTo>
                  <a:pt x="2018425" y="4168668"/>
                  <a:pt x="2017626" y="4172662"/>
                  <a:pt x="2016162" y="4176257"/>
                </a:cubicBezTo>
                <a:cubicBezTo>
                  <a:pt x="2014698" y="4179851"/>
                  <a:pt x="2012568" y="4182913"/>
                  <a:pt x="2010039" y="4185576"/>
                </a:cubicBezTo>
                <a:cubicBezTo>
                  <a:pt x="2007510" y="4188238"/>
                  <a:pt x="2004315" y="4190368"/>
                  <a:pt x="2000721" y="4191832"/>
                </a:cubicBezTo>
                <a:cubicBezTo>
                  <a:pt x="1997127" y="4193296"/>
                  <a:pt x="1993265" y="4194095"/>
                  <a:pt x="1989006" y="4194095"/>
                </a:cubicBezTo>
                <a:cubicBezTo>
                  <a:pt x="1979954" y="4194095"/>
                  <a:pt x="1972765" y="4191166"/>
                  <a:pt x="1967174" y="4185576"/>
                </a:cubicBezTo>
                <a:cubicBezTo>
                  <a:pt x="1961584" y="4179984"/>
                  <a:pt x="1958788" y="4172795"/>
                  <a:pt x="1958788" y="4164409"/>
                </a:cubicBezTo>
                <a:cubicBezTo>
                  <a:pt x="1958788" y="4156156"/>
                  <a:pt x="1961584" y="4149100"/>
                  <a:pt x="1967174" y="4143376"/>
                </a:cubicBezTo>
                <a:cubicBezTo>
                  <a:pt x="1972765" y="4137653"/>
                  <a:pt x="1979954" y="4134724"/>
                  <a:pt x="1989006" y="4134724"/>
                </a:cubicBezTo>
                <a:close/>
                <a:moveTo>
                  <a:pt x="1771369" y="4134724"/>
                </a:moveTo>
                <a:cubicBezTo>
                  <a:pt x="1775628" y="4134724"/>
                  <a:pt x="1779488" y="4135523"/>
                  <a:pt x="1783083" y="4137253"/>
                </a:cubicBezTo>
                <a:cubicBezTo>
                  <a:pt x="1786811" y="4138851"/>
                  <a:pt x="1789872" y="4140980"/>
                  <a:pt x="1792401" y="4143643"/>
                </a:cubicBezTo>
                <a:cubicBezTo>
                  <a:pt x="1795063" y="4146305"/>
                  <a:pt x="1797061" y="4149500"/>
                  <a:pt x="1798524" y="4153094"/>
                </a:cubicBezTo>
                <a:cubicBezTo>
                  <a:pt x="1799988" y="4156688"/>
                  <a:pt x="1800787" y="4160415"/>
                  <a:pt x="1800787" y="4164542"/>
                </a:cubicBezTo>
                <a:cubicBezTo>
                  <a:pt x="1800787" y="4168668"/>
                  <a:pt x="1799988" y="4172662"/>
                  <a:pt x="1798524" y="4176257"/>
                </a:cubicBezTo>
                <a:cubicBezTo>
                  <a:pt x="1797061" y="4179851"/>
                  <a:pt x="1794931" y="4182913"/>
                  <a:pt x="1792401" y="4185576"/>
                </a:cubicBezTo>
                <a:cubicBezTo>
                  <a:pt x="1789738" y="4188238"/>
                  <a:pt x="1786678" y="4190368"/>
                  <a:pt x="1783083" y="4191832"/>
                </a:cubicBezTo>
                <a:cubicBezTo>
                  <a:pt x="1779488" y="4193296"/>
                  <a:pt x="1775628" y="4194095"/>
                  <a:pt x="1771369" y="4194095"/>
                </a:cubicBezTo>
                <a:cubicBezTo>
                  <a:pt x="1762450" y="4194095"/>
                  <a:pt x="1755130" y="4191166"/>
                  <a:pt x="1749539" y="4185576"/>
                </a:cubicBezTo>
                <a:cubicBezTo>
                  <a:pt x="1743948" y="4179984"/>
                  <a:pt x="1741156" y="4172795"/>
                  <a:pt x="1741156" y="4164409"/>
                </a:cubicBezTo>
                <a:cubicBezTo>
                  <a:pt x="1741156" y="4156156"/>
                  <a:pt x="1743948" y="4149100"/>
                  <a:pt x="1749539" y="4143376"/>
                </a:cubicBezTo>
                <a:cubicBezTo>
                  <a:pt x="1755130" y="4137653"/>
                  <a:pt x="1762317" y="4134724"/>
                  <a:pt x="1771369" y="4134724"/>
                </a:cubicBezTo>
                <a:close/>
                <a:moveTo>
                  <a:pt x="1553730" y="4134724"/>
                </a:moveTo>
                <a:cubicBezTo>
                  <a:pt x="1557990" y="4134724"/>
                  <a:pt x="1561851" y="4135523"/>
                  <a:pt x="1565445" y="4137253"/>
                </a:cubicBezTo>
                <a:cubicBezTo>
                  <a:pt x="1569039" y="4138851"/>
                  <a:pt x="1572234" y="4140980"/>
                  <a:pt x="1574763" y="4143643"/>
                </a:cubicBezTo>
                <a:cubicBezTo>
                  <a:pt x="1577425" y="4146305"/>
                  <a:pt x="1579422" y="4149500"/>
                  <a:pt x="1580886" y="4153094"/>
                </a:cubicBezTo>
                <a:cubicBezTo>
                  <a:pt x="1582350" y="4156688"/>
                  <a:pt x="1583149" y="4160415"/>
                  <a:pt x="1583149" y="4164542"/>
                </a:cubicBezTo>
                <a:cubicBezTo>
                  <a:pt x="1583149" y="4168668"/>
                  <a:pt x="1582350" y="4172662"/>
                  <a:pt x="1580886" y="4176257"/>
                </a:cubicBezTo>
                <a:cubicBezTo>
                  <a:pt x="1579422" y="4179851"/>
                  <a:pt x="1577292" y="4182913"/>
                  <a:pt x="1574763" y="4185576"/>
                </a:cubicBezTo>
                <a:cubicBezTo>
                  <a:pt x="1572101" y="4188238"/>
                  <a:pt x="1569039" y="4190368"/>
                  <a:pt x="1565445" y="4191832"/>
                </a:cubicBezTo>
                <a:cubicBezTo>
                  <a:pt x="1561851" y="4193296"/>
                  <a:pt x="1557990" y="4194095"/>
                  <a:pt x="1553730" y="4194095"/>
                </a:cubicBezTo>
                <a:cubicBezTo>
                  <a:pt x="1544812" y="4194095"/>
                  <a:pt x="1537490" y="4191166"/>
                  <a:pt x="1531900" y="4185576"/>
                </a:cubicBezTo>
                <a:cubicBezTo>
                  <a:pt x="1526311" y="4179984"/>
                  <a:pt x="1523514" y="4172795"/>
                  <a:pt x="1523514" y="4164409"/>
                </a:cubicBezTo>
                <a:cubicBezTo>
                  <a:pt x="1523514" y="4156156"/>
                  <a:pt x="1526311" y="4149100"/>
                  <a:pt x="1531900" y="4143376"/>
                </a:cubicBezTo>
                <a:cubicBezTo>
                  <a:pt x="1537490" y="4137653"/>
                  <a:pt x="1544678" y="4134724"/>
                  <a:pt x="1553730" y="4134724"/>
                </a:cubicBezTo>
                <a:close/>
                <a:moveTo>
                  <a:pt x="1336086" y="4134724"/>
                </a:moveTo>
                <a:cubicBezTo>
                  <a:pt x="1340346" y="4134724"/>
                  <a:pt x="1344341" y="4135523"/>
                  <a:pt x="1347802" y="4137253"/>
                </a:cubicBezTo>
                <a:cubicBezTo>
                  <a:pt x="1351395" y="4138851"/>
                  <a:pt x="1354590" y="4140980"/>
                  <a:pt x="1357120" y="4143643"/>
                </a:cubicBezTo>
                <a:cubicBezTo>
                  <a:pt x="1359782" y="4146305"/>
                  <a:pt x="1361779" y="4149500"/>
                  <a:pt x="1363243" y="4153094"/>
                </a:cubicBezTo>
                <a:cubicBezTo>
                  <a:pt x="1364707" y="4156688"/>
                  <a:pt x="1365505" y="4160415"/>
                  <a:pt x="1365505" y="4164542"/>
                </a:cubicBezTo>
                <a:cubicBezTo>
                  <a:pt x="1365505" y="4168668"/>
                  <a:pt x="1364707" y="4172662"/>
                  <a:pt x="1363243" y="4176257"/>
                </a:cubicBezTo>
                <a:cubicBezTo>
                  <a:pt x="1361779" y="4179851"/>
                  <a:pt x="1359649" y="4182913"/>
                  <a:pt x="1357120" y="4185576"/>
                </a:cubicBezTo>
                <a:cubicBezTo>
                  <a:pt x="1354456" y="4188238"/>
                  <a:pt x="1351395" y="4190368"/>
                  <a:pt x="1347802" y="4191832"/>
                </a:cubicBezTo>
                <a:cubicBezTo>
                  <a:pt x="1344207" y="4193296"/>
                  <a:pt x="1340346" y="4194095"/>
                  <a:pt x="1336086" y="4194095"/>
                </a:cubicBezTo>
                <a:cubicBezTo>
                  <a:pt x="1327166" y="4194095"/>
                  <a:pt x="1319845" y="4191166"/>
                  <a:pt x="1314253" y="4185576"/>
                </a:cubicBezTo>
                <a:cubicBezTo>
                  <a:pt x="1308663" y="4179984"/>
                  <a:pt x="1305868" y="4172795"/>
                  <a:pt x="1305868" y="4164409"/>
                </a:cubicBezTo>
                <a:cubicBezTo>
                  <a:pt x="1305868" y="4156156"/>
                  <a:pt x="1308663" y="4149100"/>
                  <a:pt x="1314253" y="4143376"/>
                </a:cubicBezTo>
                <a:cubicBezTo>
                  <a:pt x="1319845" y="4137653"/>
                  <a:pt x="1327033" y="4134724"/>
                  <a:pt x="1336086" y="4134724"/>
                </a:cubicBezTo>
                <a:close/>
                <a:moveTo>
                  <a:pt x="1118441" y="4134724"/>
                </a:moveTo>
                <a:cubicBezTo>
                  <a:pt x="1122702" y="4134724"/>
                  <a:pt x="1126698" y="4135523"/>
                  <a:pt x="1130158" y="4137253"/>
                </a:cubicBezTo>
                <a:cubicBezTo>
                  <a:pt x="1133885" y="4138851"/>
                  <a:pt x="1136947" y="4140980"/>
                  <a:pt x="1139474" y="4143643"/>
                </a:cubicBezTo>
                <a:cubicBezTo>
                  <a:pt x="1142135" y="4146305"/>
                  <a:pt x="1144131" y="4149500"/>
                  <a:pt x="1145595" y="4153094"/>
                </a:cubicBezTo>
                <a:cubicBezTo>
                  <a:pt x="1147059" y="4156688"/>
                  <a:pt x="1147858" y="4160415"/>
                  <a:pt x="1147858" y="4164542"/>
                </a:cubicBezTo>
                <a:cubicBezTo>
                  <a:pt x="1147858" y="4168668"/>
                  <a:pt x="1147059" y="4172662"/>
                  <a:pt x="1145595" y="4176257"/>
                </a:cubicBezTo>
                <a:cubicBezTo>
                  <a:pt x="1144131" y="4179851"/>
                  <a:pt x="1142002" y="4182913"/>
                  <a:pt x="1139474" y="4185576"/>
                </a:cubicBezTo>
                <a:cubicBezTo>
                  <a:pt x="1136947" y="4188238"/>
                  <a:pt x="1133752" y="4190368"/>
                  <a:pt x="1130158" y="4191832"/>
                </a:cubicBezTo>
                <a:cubicBezTo>
                  <a:pt x="1126562" y="4193296"/>
                  <a:pt x="1122702" y="4194095"/>
                  <a:pt x="1118441" y="4194095"/>
                </a:cubicBezTo>
                <a:cubicBezTo>
                  <a:pt x="1109521" y="4194095"/>
                  <a:pt x="1102198" y="4191166"/>
                  <a:pt x="1096607" y="4185576"/>
                </a:cubicBezTo>
                <a:cubicBezTo>
                  <a:pt x="1091017" y="4179984"/>
                  <a:pt x="1088222" y="4172795"/>
                  <a:pt x="1088222" y="4164409"/>
                </a:cubicBezTo>
                <a:cubicBezTo>
                  <a:pt x="1088222" y="4156156"/>
                  <a:pt x="1091017" y="4149100"/>
                  <a:pt x="1096607" y="4143376"/>
                </a:cubicBezTo>
                <a:cubicBezTo>
                  <a:pt x="1102198" y="4137653"/>
                  <a:pt x="1109387" y="4134724"/>
                  <a:pt x="1118441" y="4134724"/>
                </a:cubicBezTo>
                <a:close/>
                <a:moveTo>
                  <a:pt x="900928" y="4134724"/>
                </a:moveTo>
                <a:cubicBezTo>
                  <a:pt x="905055" y="4134724"/>
                  <a:pt x="909049" y="4135523"/>
                  <a:pt x="912643" y="4137253"/>
                </a:cubicBezTo>
                <a:cubicBezTo>
                  <a:pt x="916370" y="4138851"/>
                  <a:pt x="919432" y="4140980"/>
                  <a:pt x="921961" y="4143643"/>
                </a:cubicBezTo>
                <a:cubicBezTo>
                  <a:pt x="924623" y="4146305"/>
                  <a:pt x="926620" y="4149500"/>
                  <a:pt x="928084" y="4153094"/>
                </a:cubicBezTo>
                <a:cubicBezTo>
                  <a:pt x="929548" y="4156688"/>
                  <a:pt x="930347" y="4160415"/>
                  <a:pt x="930347" y="4164542"/>
                </a:cubicBezTo>
                <a:cubicBezTo>
                  <a:pt x="930347" y="4168668"/>
                  <a:pt x="929548" y="4172662"/>
                  <a:pt x="928084" y="4176257"/>
                </a:cubicBezTo>
                <a:cubicBezTo>
                  <a:pt x="926620" y="4179851"/>
                  <a:pt x="924490" y="4182913"/>
                  <a:pt x="921961" y="4185576"/>
                </a:cubicBezTo>
                <a:cubicBezTo>
                  <a:pt x="919432" y="4188238"/>
                  <a:pt x="916237" y="4190368"/>
                  <a:pt x="912643" y="4191832"/>
                </a:cubicBezTo>
                <a:cubicBezTo>
                  <a:pt x="909049" y="4193296"/>
                  <a:pt x="905188" y="4194095"/>
                  <a:pt x="900928" y="4194095"/>
                </a:cubicBezTo>
                <a:cubicBezTo>
                  <a:pt x="892010" y="4194095"/>
                  <a:pt x="884688" y="4191166"/>
                  <a:pt x="879097" y="4185576"/>
                </a:cubicBezTo>
                <a:cubicBezTo>
                  <a:pt x="873508" y="4179984"/>
                  <a:pt x="870712" y="4172795"/>
                  <a:pt x="870712" y="4164409"/>
                </a:cubicBezTo>
                <a:cubicBezTo>
                  <a:pt x="870712" y="4156156"/>
                  <a:pt x="873508" y="4149100"/>
                  <a:pt x="879097" y="4143376"/>
                </a:cubicBezTo>
                <a:cubicBezTo>
                  <a:pt x="884688" y="4137653"/>
                  <a:pt x="891877" y="4134724"/>
                  <a:pt x="900928" y="4134724"/>
                </a:cubicBezTo>
                <a:close/>
                <a:moveTo>
                  <a:pt x="683287" y="4134724"/>
                </a:moveTo>
                <a:cubicBezTo>
                  <a:pt x="687547" y="4134724"/>
                  <a:pt x="691408" y="4135523"/>
                  <a:pt x="695002" y="4137253"/>
                </a:cubicBezTo>
                <a:cubicBezTo>
                  <a:pt x="698729" y="4138851"/>
                  <a:pt x="701791" y="4140980"/>
                  <a:pt x="704319" y="4143643"/>
                </a:cubicBezTo>
                <a:cubicBezTo>
                  <a:pt x="706981" y="4146305"/>
                  <a:pt x="708979" y="4149500"/>
                  <a:pt x="710442" y="4153094"/>
                </a:cubicBezTo>
                <a:cubicBezTo>
                  <a:pt x="711906" y="4156688"/>
                  <a:pt x="712705" y="4160415"/>
                  <a:pt x="712705" y="4164542"/>
                </a:cubicBezTo>
                <a:cubicBezTo>
                  <a:pt x="712705" y="4168668"/>
                  <a:pt x="711906" y="4172662"/>
                  <a:pt x="710442" y="4176257"/>
                </a:cubicBezTo>
                <a:cubicBezTo>
                  <a:pt x="708979" y="4179851"/>
                  <a:pt x="706849" y="4182913"/>
                  <a:pt x="704319" y="4185576"/>
                </a:cubicBezTo>
                <a:cubicBezTo>
                  <a:pt x="701791" y="4188238"/>
                  <a:pt x="698596" y="4190368"/>
                  <a:pt x="695002" y="4191832"/>
                </a:cubicBezTo>
                <a:cubicBezTo>
                  <a:pt x="691408" y="4193296"/>
                  <a:pt x="687547" y="4194095"/>
                  <a:pt x="683287" y="4194095"/>
                </a:cubicBezTo>
                <a:cubicBezTo>
                  <a:pt x="674369" y="4194095"/>
                  <a:pt x="667047" y="4191166"/>
                  <a:pt x="661455" y="4185576"/>
                </a:cubicBezTo>
                <a:cubicBezTo>
                  <a:pt x="655864" y="4179984"/>
                  <a:pt x="653069" y="4172795"/>
                  <a:pt x="653069" y="4164409"/>
                </a:cubicBezTo>
                <a:cubicBezTo>
                  <a:pt x="653069" y="4156156"/>
                  <a:pt x="655864" y="4149100"/>
                  <a:pt x="661455" y="4143376"/>
                </a:cubicBezTo>
                <a:cubicBezTo>
                  <a:pt x="667047" y="4137653"/>
                  <a:pt x="674236" y="4134724"/>
                  <a:pt x="683287" y="4134724"/>
                </a:cubicBezTo>
                <a:close/>
                <a:moveTo>
                  <a:pt x="465645" y="4134724"/>
                </a:moveTo>
                <a:cubicBezTo>
                  <a:pt x="469905" y="4134724"/>
                  <a:pt x="473765" y="4135523"/>
                  <a:pt x="477360" y="4137253"/>
                </a:cubicBezTo>
                <a:cubicBezTo>
                  <a:pt x="481087" y="4138851"/>
                  <a:pt x="484148" y="4140980"/>
                  <a:pt x="486677" y="4143643"/>
                </a:cubicBezTo>
                <a:cubicBezTo>
                  <a:pt x="489339" y="4146305"/>
                  <a:pt x="491336" y="4149500"/>
                  <a:pt x="492801" y="4153094"/>
                </a:cubicBezTo>
                <a:cubicBezTo>
                  <a:pt x="494264" y="4156688"/>
                  <a:pt x="495063" y="4160415"/>
                  <a:pt x="495063" y="4164542"/>
                </a:cubicBezTo>
                <a:cubicBezTo>
                  <a:pt x="495063" y="4168668"/>
                  <a:pt x="494264" y="4172662"/>
                  <a:pt x="492801" y="4176257"/>
                </a:cubicBezTo>
                <a:cubicBezTo>
                  <a:pt x="491336" y="4179851"/>
                  <a:pt x="489207" y="4182913"/>
                  <a:pt x="486677" y="4185576"/>
                </a:cubicBezTo>
                <a:cubicBezTo>
                  <a:pt x="484014" y="4188238"/>
                  <a:pt x="480954" y="4190368"/>
                  <a:pt x="477360" y="4191832"/>
                </a:cubicBezTo>
                <a:cubicBezTo>
                  <a:pt x="473765" y="4193296"/>
                  <a:pt x="469905" y="4194095"/>
                  <a:pt x="465645" y="4194095"/>
                </a:cubicBezTo>
                <a:cubicBezTo>
                  <a:pt x="456726" y="4194095"/>
                  <a:pt x="449404" y="4191166"/>
                  <a:pt x="443813" y="4185576"/>
                </a:cubicBezTo>
                <a:cubicBezTo>
                  <a:pt x="438222" y="4179984"/>
                  <a:pt x="435427" y="4172795"/>
                  <a:pt x="435427" y="4164409"/>
                </a:cubicBezTo>
                <a:cubicBezTo>
                  <a:pt x="435427" y="4156156"/>
                  <a:pt x="438222" y="4149100"/>
                  <a:pt x="443813" y="4143376"/>
                </a:cubicBezTo>
                <a:cubicBezTo>
                  <a:pt x="449404" y="4137653"/>
                  <a:pt x="456594" y="4134724"/>
                  <a:pt x="465645" y="4134724"/>
                </a:cubicBezTo>
                <a:close/>
                <a:moveTo>
                  <a:pt x="248002" y="4134724"/>
                </a:moveTo>
                <a:cubicBezTo>
                  <a:pt x="252262" y="4134724"/>
                  <a:pt x="256256" y="4135523"/>
                  <a:pt x="259717" y="4137253"/>
                </a:cubicBezTo>
                <a:cubicBezTo>
                  <a:pt x="263444" y="4138851"/>
                  <a:pt x="266506" y="4140980"/>
                  <a:pt x="269035" y="4143643"/>
                </a:cubicBezTo>
                <a:cubicBezTo>
                  <a:pt x="271697" y="4146305"/>
                  <a:pt x="273694" y="4149500"/>
                  <a:pt x="275158" y="4153094"/>
                </a:cubicBezTo>
                <a:cubicBezTo>
                  <a:pt x="276622" y="4156688"/>
                  <a:pt x="277421" y="4160415"/>
                  <a:pt x="277421" y="4164542"/>
                </a:cubicBezTo>
                <a:cubicBezTo>
                  <a:pt x="277421" y="4168668"/>
                  <a:pt x="276622" y="4172662"/>
                  <a:pt x="275158" y="4176257"/>
                </a:cubicBezTo>
                <a:cubicBezTo>
                  <a:pt x="273694" y="4179851"/>
                  <a:pt x="271564" y="4182913"/>
                  <a:pt x="269035" y="4185576"/>
                </a:cubicBezTo>
                <a:cubicBezTo>
                  <a:pt x="266372" y="4188238"/>
                  <a:pt x="263311" y="4190368"/>
                  <a:pt x="259717" y="4191832"/>
                </a:cubicBezTo>
                <a:cubicBezTo>
                  <a:pt x="256122" y="4193296"/>
                  <a:pt x="252262" y="4194095"/>
                  <a:pt x="248002" y="4194095"/>
                </a:cubicBezTo>
                <a:cubicBezTo>
                  <a:pt x="239085" y="4194095"/>
                  <a:pt x="231763" y="4191166"/>
                  <a:pt x="226172" y="4185576"/>
                </a:cubicBezTo>
                <a:cubicBezTo>
                  <a:pt x="220582" y="4179984"/>
                  <a:pt x="217787" y="4172795"/>
                  <a:pt x="217787" y="4164409"/>
                </a:cubicBezTo>
                <a:cubicBezTo>
                  <a:pt x="217787" y="4156156"/>
                  <a:pt x="220582" y="4149100"/>
                  <a:pt x="226172" y="4143376"/>
                </a:cubicBezTo>
                <a:cubicBezTo>
                  <a:pt x="231763" y="4137653"/>
                  <a:pt x="238951" y="4134724"/>
                  <a:pt x="248002" y="4134724"/>
                </a:cubicBezTo>
                <a:close/>
                <a:moveTo>
                  <a:pt x="30360" y="4134724"/>
                </a:moveTo>
                <a:cubicBezTo>
                  <a:pt x="34620" y="4134724"/>
                  <a:pt x="38614" y="4135523"/>
                  <a:pt x="42075" y="4137253"/>
                </a:cubicBezTo>
                <a:cubicBezTo>
                  <a:pt x="45802" y="4138851"/>
                  <a:pt x="48864" y="4140980"/>
                  <a:pt x="51393" y="4143643"/>
                </a:cubicBezTo>
                <a:cubicBezTo>
                  <a:pt x="54055" y="4146305"/>
                  <a:pt x="56052" y="4149500"/>
                  <a:pt x="57516" y="4153094"/>
                </a:cubicBezTo>
                <a:cubicBezTo>
                  <a:pt x="58980" y="4156688"/>
                  <a:pt x="59779" y="4160415"/>
                  <a:pt x="59779" y="4164542"/>
                </a:cubicBezTo>
                <a:cubicBezTo>
                  <a:pt x="59779" y="4168668"/>
                  <a:pt x="58980" y="4172662"/>
                  <a:pt x="57516" y="4176257"/>
                </a:cubicBezTo>
                <a:cubicBezTo>
                  <a:pt x="56052" y="4179851"/>
                  <a:pt x="53922" y="4182913"/>
                  <a:pt x="51393" y="4185576"/>
                </a:cubicBezTo>
                <a:cubicBezTo>
                  <a:pt x="48730" y="4188238"/>
                  <a:pt x="45669" y="4190368"/>
                  <a:pt x="42075" y="4191832"/>
                </a:cubicBezTo>
                <a:cubicBezTo>
                  <a:pt x="38481" y="4193296"/>
                  <a:pt x="34620" y="4194095"/>
                  <a:pt x="30360" y="4194095"/>
                </a:cubicBezTo>
                <a:cubicBezTo>
                  <a:pt x="21442" y="4194095"/>
                  <a:pt x="14121" y="4191166"/>
                  <a:pt x="8531" y="4185576"/>
                </a:cubicBezTo>
                <a:cubicBezTo>
                  <a:pt x="2940" y="4179984"/>
                  <a:pt x="145" y="4172795"/>
                  <a:pt x="145" y="4164409"/>
                </a:cubicBezTo>
                <a:cubicBezTo>
                  <a:pt x="145" y="4156156"/>
                  <a:pt x="2940" y="4149100"/>
                  <a:pt x="8531" y="4143376"/>
                </a:cubicBezTo>
                <a:cubicBezTo>
                  <a:pt x="14121" y="4137653"/>
                  <a:pt x="21308" y="4134724"/>
                  <a:pt x="30360" y="4134724"/>
                </a:cubicBezTo>
                <a:close/>
                <a:moveTo>
                  <a:pt x="10475977" y="3933852"/>
                </a:moveTo>
                <a:cubicBezTo>
                  <a:pt x="10470119" y="3933852"/>
                  <a:pt x="10467589" y="3935849"/>
                  <a:pt x="10465992" y="3937447"/>
                </a:cubicBezTo>
                <a:cubicBezTo>
                  <a:pt x="10463463" y="3940109"/>
                  <a:pt x="10462399" y="3942904"/>
                  <a:pt x="10462399" y="3946897"/>
                </a:cubicBezTo>
                <a:cubicBezTo>
                  <a:pt x="10462399" y="3951025"/>
                  <a:pt x="10463463" y="3953820"/>
                  <a:pt x="10465992" y="3956349"/>
                </a:cubicBezTo>
                <a:cubicBezTo>
                  <a:pt x="10467589" y="3957947"/>
                  <a:pt x="10470119" y="3959810"/>
                  <a:pt x="10475977" y="3959810"/>
                </a:cubicBezTo>
                <a:cubicBezTo>
                  <a:pt x="10478107" y="3959810"/>
                  <a:pt x="10479838" y="3959411"/>
                  <a:pt x="10481302" y="3959011"/>
                </a:cubicBezTo>
                <a:cubicBezTo>
                  <a:pt x="10482899" y="3958479"/>
                  <a:pt x="10484098" y="3957548"/>
                  <a:pt x="10485029" y="3956615"/>
                </a:cubicBezTo>
                <a:cubicBezTo>
                  <a:pt x="10486094" y="3955417"/>
                  <a:pt x="10487026" y="3954086"/>
                  <a:pt x="10487691" y="3952355"/>
                </a:cubicBezTo>
                <a:cubicBezTo>
                  <a:pt x="10488357" y="3950758"/>
                  <a:pt x="10488623" y="3948894"/>
                  <a:pt x="10488623" y="3946897"/>
                </a:cubicBezTo>
                <a:cubicBezTo>
                  <a:pt x="10488623" y="3945034"/>
                  <a:pt x="10488357" y="3943304"/>
                  <a:pt x="10487691" y="3941706"/>
                </a:cubicBezTo>
                <a:cubicBezTo>
                  <a:pt x="10487026" y="3939975"/>
                  <a:pt x="10486094" y="3938645"/>
                  <a:pt x="10485029" y="3937447"/>
                </a:cubicBezTo>
                <a:cubicBezTo>
                  <a:pt x="10483964" y="3936382"/>
                  <a:pt x="10482633" y="3935449"/>
                  <a:pt x="10481035" y="3934784"/>
                </a:cubicBezTo>
                <a:cubicBezTo>
                  <a:pt x="10479571" y="3934118"/>
                  <a:pt x="10477974" y="3933852"/>
                  <a:pt x="10475977" y="3933852"/>
                </a:cubicBezTo>
                <a:close/>
                <a:moveTo>
                  <a:pt x="10258466" y="3933852"/>
                </a:moveTo>
                <a:cubicBezTo>
                  <a:pt x="10252608" y="3933852"/>
                  <a:pt x="10250078" y="3935849"/>
                  <a:pt x="10248481" y="3937447"/>
                </a:cubicBezTo>
                <a:cubicBezTo>
                  <a:pt x="10245952" y="3940109"/>
                  <a:pt x="10244887" y="3942904"/>
                  <a:pt x="10244887" y="3946897"/>
                </a:cubicBezTo>
                <a:cubicBezTo>
                  <a:pt x="10244887" y="3951025"/>
                  <a:pt x="10245952" y="3953820"/>
                  <a:pt x="10248481" y="3956349"/>
                </a:cubicBezTo>
                <a:cubicBezTo>
                  <a:pt x="10250078" y="3957947"/>
                  <a:pt x="10252608" y="3959810"/>
                  <a:pt x="10258466" y="3959810"/>
                </a:cubicBezTo>
                <a:cubicBezTo>
                  <a:pt x="10260462" y="3959810"/>
                  <a:pt x="10262192" y="3959411"/>
                  <a:pt x="10263790" y="3959011"/>
                </a:cubicBezTo>
                <a:cubicBezTo>
                  <a:pt x="10265388" y="3958479"/>
                  <a:pt x="10266586" y="3957548"/>
                  <a:pt x="10267517" y="3956615"/>
                </a:cubicBezTo>
                <a:cubicBezTo>
                  <a:pt x="10268583" y="3955417"/>
                  <a:pt x="10269515" y="3954086"/>
                  <a:pt x="10270180" y="3952355"/>
                </a:cubicBezTo>
                <a:cubicBezTo>
                  <a:pt x="10270845" y="3950758"/>
                  <a:pt x="10271112" y="3948894"/>
                  <a:pt x="10271112" y="3946897"/>
                </a:cubicBezTo>
                <a:cubicBezTo>
                  <a:pt x="10271112" y="3945034"/>
                  <a:pt x="10270845" y="3943304"/>
                  <a:pt x="10270180" y="3941706"/>
                </a:cubicBezTo>
                <a:cubicBezTo>
                  <a:pt x="10269515" y="3939975"/>
                  <a:pt x="10268583" y="3938645"/>
                  <a:pt x="10267517" y="3937447"/>
                </a:cubicBezTo>
                <a:cubicBezTo>
                  <a:pt x="10266452" y="3936382"/>
                  <a:pt x="10265121" y="3935449"/>
                  <a:pt x="10263524" y="3934784"/>
                </a:cubicBezTo>
                <a:cubicBezTo>
                  <a:pt x="10262060" y="3934118"/>
                  <a:pt x="10260462" y="3933852"/>
                  <a:pt x="10258466" y="3933852"/>
                </a:cubicBezTo>
                <a:close/>
                <a:moveTo>
                  <a:pt x="10040820" y="3933852"/>
                </a:moveTo>
                <a:cubicBezTo>
                  <a:pt x="10034962" y="3933852"/>
                  <a:pt x="10032433" y="3935849"/>
                  <a:pt x="10030835" y="3937447"/>
                </a:cubicBezTo>
                <a:cubicBezTo>
                  <a:pt x="10028306" y="3940109"/>
                  <a:pt x="10027242" y="3942904"/>
                  <a:pt x="10027242" y="3946897"/>
                </a:cubicBezTo>
                <a:cubicBezTo>
                  <a:pt x="10027242" y="3951025"/>
                  <a:pt x="10028306" y="3953820"/>
                  <a:pt x="10030835" y="3956349"/>
                </a:cubicBezTo>
                <a:cubicBezTo>
                  <a:pt x="10032433" y="3957947"/>
                  <a:pt x="10034962" y="3959810"/>
                  <a:pt x="10040820" y="3959810"/>
                </a:cubicBezTo>
                <a:cubicBezTo>
                  <a:pt x="10042817" y="3959810"/>
                  <a:pt x="10044681" y="3959411"/>
                  <a:pt x="10046145" y="3959011"/>
                </a:cubicBezTo>
                <a:cubicBezTo>
                  <a:pt x="10047742" y="3958479"/>
                  <a:pt x="10048941" y="3957548"/>
                  <a:pt x="10049872" y="3956615"/>
                </a:cubicBezTo>
                <a:cubicBezTo>
                  <a:pt x="10050937" y="3955417"/>
                  <a:pt x="10051869" y="3954086"/>
                  <a:pt x="10052534" y="3952355"/>
                </a:cubicBezTo>
                <a:cubicBezTo>
                  <a:pt x="10053333" y="3950758"/>
                  <a:pt x="10053599" y="3948894"/>
                  <a:pt x="10053599" y="3946897"/>
                </a:cubicBezTo>
                <a:cubicBezTo>
                  <a:pt x="10053599" y="3945034"/>
                  <a:pt x="10053200" y="3943304"/>
                  <a:pt x="10052534" y="3941706"/>
                </a:cubicBezTo>
                <a:cubicBezTo>
                  <a:pt x="10051869" y="3939975"/>
                  <a:pt x="10050937" y="3938645"/>
                  <a:pt x="10049872" y="3937447"/>
                </a:cubicBezTo>
                <a:cubicBezTo>
                  <a:pt x="10048807" y="3936382"/>
                  <a:pt x="10047476" y="3935449"/>
                  <a:pt x="10045878" y="3934784"/>
                </a:cubicBezTo>
                <a:cubicBezTo>
                  <a:pt x="10044414" y="3934118"/>
                  <a:pt x="10042817" y="3933852"/>
                  <a:pt x="10040820" y="3933852"/>
                </a:cubicBezTo>
                <a:close/>
                <a:moveTo>
                  <a:pt x="9823176" y="3933852"/>
                </a:moveTo>
                <a:cubicBezTo>
                  <a:pt x="9817318" y="3933852"/>
                  <a:pt x="9814788" y="3935849"/>
                  <a:pt x="9813191" y="3937447"/>
                </a:cubicBezTo>
                <a:cubicBezTo>
                  <a:pt x="9810662" y="3940109"/>
                  <a:pt x="9809597" y="3942904"/>
                  <a:pt x="9809597" y="3946897"/>
                </a:cubicBezTo>
                <a:cubicBezTo>
                  <a:pt x="9809597" y="3951025"/>
                  <a:pt x="9810662" y="3953820"/>
                  <a:pt x="9813191" y="3956349"/>
                </a:cubicBezTo>
                <a:cubicBezTo>
                  <a:pt x="9814788" y="3957947"/>
                  <a:pt x="9817318" y="3959810"/>
                  <a:pt x="9823176" y="3959810"/>
                </a:cubicBezTo>
                <a:cubicBezTo>
                  <a:pt x="9825173" y="3959810"/>
                  <a:pt x="9827036" y="3959411"/>
                  <a:pt x="9828501" y="3959011"/>
                </a:cubicBezTo>
                <a:cubicBezTo>
                  <a:pt x="9830098" y="3958479"/>
                  <a:pt x="9831296" y="3957548"/>
                  <a:pt x="9832227" y="3956615"/>
                </a:cubicBezTo>
                <a:cubicBezTo>
                  <a:pt x="9833293" y="3955417"/>
                  <a:pt x="9834225" y="3954086"/>
                  <a:pt x="9834890" y="3952355"/>
                </a:cubicBezTo>
                <a:cubicBezTo>
                  <a:pt x="9835689" y="3950758"/>
                  <a:pt x="9835955" y="3948894"/>
                  <a:pt x="9835955" y="3946897"/>
                </a:cubicBezTo>
                <a:cubicBezTo>
                  <a:pt x="9835955" y="3945034"/>
                  <a:pt x="9835555" y="3943304"/>
                  <a:pt x="9834890" y="3941706"/>
                </a:cubicBezTo>
                <a:cubicBezTo>
                  <a:pt x="9834225" y="3939975"/>
                  <a:pt x="9833293" y="3938645"/>
                  <a:pt x="9832227" y="3937447"/>
                </a:cubicBezTo>
                <a:cubicBezTo>
                  <a:pt x="9831162" y="3936382"/>
                  <a:pt x="9829831" y="3935449"/>
                  <a:pt x="9828234" y="3934784"/>
                </a:cubicBezTo>
                <a:cubicBezTo>
                  <a:pt x="9826770" y="3934118"/>
                  <a:pt x="9825173" y="3933852"/>
                  <a:pt x="9823176" y="3933852"/>
                </a:cubicBezTo>
                <a:close/>
                <a:moveTo>
                  <a:pt x="9605531" y="3933852"/>
                </a:moveTo>
                <a:cubicBezTo>
                  <a:pt x="9599673" y="3933852"/>
                  <a:pt x="9597143" y="3935849"/>
                  <a:pt x="9595546" y="3937447"/>
                </a:cubicBezTo>
                <a:cubicBezTo>
                  <a:pt x="9593017" y="3940109"/>
                  <a:pt x="9591952" y="3942904"/>
                  <a:pt x="9591952" y="3946897"/>
                </a:cubicBezTo>
                <a:cubicBezTo>
                  <a:pt x="9591952" y="3951025"/>
                  <a:pt x="9593017" y="3953820"/>
                  <a:pt x="9595546" y="3956349"/>
                </a:cubicBezTo>
                <a:cubicBezTo>
                  <a:pt x="9597143" y="3957947"/>
                  <a:pt x="9599673" y="3959810"/>
                  <a:pt x="9605531" y="3959810"/>
                </a:cubicBezTo>
                <a:cubicBezTo>
                  <a:pt x="9607660" y="3959810"/>
                  <a:pt x="9609391" y="3959411"/>
                  <a:pt x="9610855" y="3959011"/>
                </a:cubicBezTo>
                <a:cubicBezTo>
                  <a:pt x="9612319" y="3958479"/>
                  <a:pt x="9613651" y="3957548"/>
                  <a:pt x="9614582" y="3956615"/>
                </a:cubicBezTo>
                <a:cubicBezTo>
                  <a:pt x="9615647" y="3955417"/>
                  <a:pt x="9616579" y="3954086"/>
                  <a:pt x="9617245" y="3952355"/>
                </a:cubicBezTo>
                <a:cubicBezTo>
                  <a:pt x="9618044" y="3950758"/>
                  <a:pt x="9618309" y="3948894"/>
                  <a:pt x="9618309" y="3946897"/>
                </a:cubicBezTo>
                <a:cubicBezTo>
                  <a:pt x="9618309" y="3945034"/>
                  <a:pt x="9617910" y="3943304"/>
                  <a:pt x="9617245" y="3941706"/>
                </a:cubicBezTo>
                <a:cubicBezTo>
                  <a:pt x="9616579" y="3939975"/>
                  <a:pt x="9615647" y="3938645"/>
                  <a:pt x="9614582" y="3937447"/>
                </a:cubicBezTo>
                <a:cubicBezTo>
                  <a:pt x="9613517" y="3936382"/>
                  <a:pt x="9612186" y="3935449"/>
                  <a:pt x="9610589" y="3934784"/>
                </a:cubicBezTo>
                <a:cubicBezTo>
                  <a:pt x="9609124" y="3934118"/>
                  <a:pt x="9607394" y="3933852"/>
                  <a:pt x="9605531" y="3933852"/>
                </a:cubicBezTo>
                <a:close/>
                <a:moveTo>
                  <a:pt x="9387885" y="3933852"/>
                </a:moveTo>
                <a:cubicBezTo>
                  <a:pt x="9382027" y="3933852"/>
                  <a:pt x="9379497" y="3935849"/>
                  <a:pt x="9377900" y="3937447"/>
                </a:cubicBezTo>
                <a:cubicBezTo>
                  <a:pt x="9375371" y="3940109"/>
                  <a:pt x="9374307" y="3942904"/>
                  <a:pt x="9374307" y="3946897"/>
                </a:cubicBezTo>
                <a:cubicBezTo>
                  <a:pt x="9374307" y="3951025"/>
                  <a:pt x="9375371" y="3953820"/>
                  <a:pt x="9377900" y="3956349"/>
                </a:cubicBezTo>
                <a:cubicBezTo>
                  <a:pt x="9379497" y="3957947"/>
                  <a:pt x="9382027" y="3959810"/>
                  <a:pt x="9387885" y="3959810"/>
                </a:cubicBezTo>
                <a:cubicBezTo>
                  <a:pt x="9390015" y="3959810"/>
                  <a:pt x="9391746" y="3959411"/>
                  <a:pt x="9393210" y="3959011"/>
                </a:cubicBezTo>
                <a:cubicBezTo>
                  <a:pt x="9394674" y="3958479"/>
                  <a:pt x="9396005" y="3957548"/>
                  <a:pt x="9396937" y="3956615"/>
                </a:cubicBezTo>
                <a:cubicBezTo>
                  <a:pt x="9398002" y="3955417"/>
                  <a:pt x="9398934" y="3954086"/>
                  <a:pt x="9399599" y="3952355"/>
                </a:cubicBezTo>
                <a:cubicBezTo>
                  <a:pt x="9400398" y="3950758"/>
                  <a:pt x="9400664" y="3948894"/>
                  <a:pt x="9400664" y="3946897"/>
                </a:cubicBezTo>
                <a:cubicBezTo>
                  <a:pt x="9400664" y="3945034"/>
                  <a:pt x="9400265" y="3943304"/>
                  <a:pt x="9399599" y="3941706"/>
                </a:cubicBezTo>
                <a:cubicBezTo>
                  <a:pt x="9398934" y="3939975"/>
                  <a:pt x="9398002" y="3938645"/>
                  <a:pt x="9396937" y="3937447"/>
                </a:cubicBezTo>
                <a:cubicBezTo>
                  <a:pt x="9395872" y="3936382"/>
                  <a:pt x="9394541" y="3935449"/>
                  <a:pt x="9392943" y="3934784"/>
                </a:cubicBezTo>
                <a:cubicBezTo>
                  <a:pt x="9391479" y="3934118"/>
                  <a:pt x="9389749" y="3933852"/>
                  <a:pt x="9387885" y="3933852"/>
                </a:cubicBezTo>
                <a:close/>
                <a:moveTo>
                  <a:pt x="9170374" y="3933852"/>
                </a:moveTo>
                <a:cubicBezTo>
                  <a:pt x="9164649" y="3933852"/>
                  <a:pt x="9161986" y="3935849"/>
                  <a:pt x="9160389" y="3937447"/>
                </a:cubicBezTo>
                <a:cubicBezTo>
                  <a:pt x="9157860" y="3940109"/>
                  <a:pt x="9156795" y="3942904"/>
                  <a:pt x="9156795" y="3946897"/>
                </a:cubicBezTo>
                <a:cubicBezTo>
                  <a:pt x="9156795" y="3951025"/>
                  <a:pt x="9157860" y="3953820"/>
                  <a:pt x="9160389" y="3956349"/>
                </a:cubicBezTo>
                <a:cubicBezTo>
                  <a:pt x="9161986" y="3957947"/>
                  <a:pt x="9164516" y="3959810"/>
                  <a:pt x="9170374" y="3959810"/>
                </a:cubicBezTo>
                <a:cubicBezTo>
                  <a:pt x="9172370" y="3959810"/>
                  <a:pt x="9174100" y="3959411"/>
                  <a:pt x="9175698" y="3959011"/>
                </a:cubicBezTo>
                <a:cubicBezTo>
                  <a:pt x="9177163" y="3958479"/>
                  <a:pt x="9178494" y="3957548"/>
                  <a:pt x="9179425" y="3956615"/>
                </a:cubicBezTo>
                <a:cubicBezTo>
                  <a:pt x="9180491" y="3955417"/>
                  <a:pt x="9181422" y="3954086"/>
                  <a:pt x="9182088" y="3952355"/>
                </a:cubicBezTo>
                <a:cubicBezTo>
                  <a:pt x="9182887" y="3950758"/>
                  <a:pt x="9183152" y="3948894"/>
                  <a:pt x="9183152" y="3946897"/>
                </a:cubicBezTo>
                <a:cubicBezTo>
                  <a:pt x="9183152" y="3945034"/>
                  <a:pt x="9182753" y="3943304"/>
                  <a:pt x="9182088" y="3941706"/>
                </a:cubicBezTo>
                <a:cubicBezTo>
                  <a:pt x="9181422" y="3939975"/>
                  <a:pt x="9180491" y="3938645"/>
                  <a:pt x="9179425" y="3937447"/>
                </a:cubicBezTo>
                <a:cubicBezTo>
                  <a:pt x="9178360" y="3936382"/>
                  <a:pt x="9177029" y="3935449"/>
                  <a:pt x="9175432" y="3934784"/>
                </a:cubicBezTo>
                <a:cubicBezTo>
                  <a:pt x="9173967" y="3934118"/>
                  <a:pt x="9172237" y="3933852"/>
                  <a:pt x="9170374" y="3933852"/>
                </a:cubicBezTo>
                <a:close/>
                <a:moveTo>
                  <a:pt x="8952728" y="3933852"/>
                </a:moveTo>
                <a:cubicBezTo>
                  <a:pt x="8947003" y="3933852"/>
                  <a:pt x="8944340" y="3935849"/>
                  <a:pt x="8942743" y="3937447"/>
                </a:cubicBezTo>
                <a:cubicBezTo>
                  <a:pt x="8940214" y="3940109"/>
                  <a:pt x="8939150" y="3942904"/>
                  <a:pt x="8939150" y="3946897"/>
                </a:cubicBezTo>
                <a:cubicBezTo>
                  <a:pt x="8939150" y="3951025"/>
                  <a:pt x="8940214" y="3953820"/>
                  <a:pt x="8942743" y="3956349"/>
                </a:cubicBezTo>
                <a:cubicBezTo>
                  <a:pt x="8944340" y="3957947"/>
                  <a:pt x="8946870" y="3959810"/>
                  <a:pt x="8952728" y="3959810"/>
                </a:cubicBezTo>
                <a:cubicBezTo>
                  <a:pt x="8954725" y="3959810"/>
                  <a:pt x="8956589" y="3959411"/>
                  <a:pt x="8958053" y="3959011"/>
                </a:cubicBezTo>
                <a:cubicBezTo>
                  <a:pt x="8959517" y="3958479"/>
                  <a:pt x="8960849" y="3957548"/>
                  <a:pt x="8961780" y="3956615"/>
                </a:cubicBezTo>
                <a:cubicBezTo>
                  <a:pt x="8962845" y="3955417"/>
                  <a:pt x="8963777" y="3954086"/>
                  <a:pt x="8964442" y="3952355"/>
                </a:cubicBezTo>
                <a:cubicBezTo>
                  <a:pt x="8965241" y="3950758"/>
                  <a:pt x="8965507" y="3948894"/>
                  <a:pt x="8965507" y="3946897"/>
                </a:cubicBezTo>
                <a:cubicBezTo>
                  <a:pt x="8965507" y="3945034"/>
                  <a:pt x="8965108" y="3943304"/>
                  <a:pt x="8964442" y="3941706"/>
                </a:cubicBezTo>
                <a:cubicBezTo>
                  <a:pt x="8963777" y="3939975"/>
                  <a:pt x="8962845" y="3938645"/>
                  <a:pt x="8961780" y="3937447"/>
                </a:cubicBezTo>
                <a:cubicBezTo>
                  <a:pt x="8960715" y="3936382"/>
                  <a:pt x="8959384" y="3935449"/>
                  <a:pt x="8957786" y="3934784"/>
                </a:cubicBezTo>
                <a:cubicBezTo>
                  <a:pt x="8956322" y="3934118"/>
                  <a:pt x="8954592" y="3933852"/>
                  <a:pt x="8952728" y="3933852"/>
                </a:cubicBezTo>
                <a:close/>
                <a:moveTo>
                  <a:pt x="8735083" y="3933852"/>
                </a:moveTo>
                <a:cubicBezTo>
                  <a:pt x="8729358" y="3933852"/>
                  <a:pt x="8726695" y="3935849"/>
                  <a:pt x="8725098" y="3937447"/>
                </a:cubicBezTo>
                <a:cubicBezTo>
                  <a:pt x="8722569" y="3940109"/>
                  <a:pt x="8721504" y="3942904"/>
                  <a:pt x="8721504" y="3946897"/>
                </a:cubicBezTo>
                <a:cubicBezTo>
                  <a:pt x="8721504" y="3951025"/>
                  <a:pt x="8722569" y="3953820"/>
                  <a:pt x="8725098" y="3956349"/>
                </a:cubicBezTo>
                <a:cubicBezTo>
                  <a:pt x="8726695" y="3957947"/>
                  <a:pt x="8729225" y="3959810"/>
                  <a:pt x="8735083" y="3959810"/>
                </a:cubicBezTo>
                <a:cubicBezTo>
                  <a:pt x="8737079" y="3959810"/>
                  <a:pt x="8738943" y="3959411"/>
                  <a:pt x="8740407" y="3959011"/>
                </a:cubicBezTo>
                <a:cubicBezTo>
                  <a:pt x="8741872" y="3958479"/>
                  <a:pt x="8743203" y="3957548"/>
                  <a:pt x="8744134" y="3956615"/>
                </a:cubicBezTo>
                <a:cubicBezTo>
                  <a:pt x="8745200" y="3955417"/>
                  <a:pt x="8746132" y="3954086"/>
                  <a:pt x="8746797" y="3952355"/>
                </a:cubicBezTo>
                <a:cubicBezTo>
                  <a:pt x="8747596" y="3950758"/>
                  <a:pt x="8747862" y="3948894"/>
                  <a:pt x="8747862" y="3946897"/>
                </a:cubicBezTo>
                <a:cubicBezTo>
                  <a:pt x="8747862" y="3945034"/>
                  <a:pt x="8747462" y="3943304"/>
                  <a:pt x="8746797" y="3941706"/>
                </a:cubicBezTo>
                <a:cubicBezTo>
                  <a:pt x="8746132" y="3939975"/>
                  <a:pt x="8745200" y="3938645"/>
                  <a:pt x="8744134" y="3937447"/>
                </a:cubicBezTo>
                <a:cubicBezTo>
                  <a:pt x="8743069" y="3936382"/>
                  <a:pt x="8741738" y="3935449"/>
                  <a:pt x="8740141" y="3934784"/>
                </a:cubicBezTo>
                <a:cubicBezTo>
                  <a:pt x="8738677" y="3934118"/>
                  <a:pt x="8736946" y="3933852"/>
                  <a:pt x="8735083" y="3933852"/>
                </a:cubicBezTo>
                <a:close/>
                <a:moveTo>
                  <a:pt x="8517438" y="3933852"/>
                </a:moveTo>
                <a:cubicBezTo>
                  <a:pt x="8511713" y="3933852"/>
                  <a:pt x="8509051" y="3935849"/>
                  <a:pt x="8507453" y="3937447"/>
                </a:cubicBezTo>
                <a:cubicBezTo>
                  <a:pt x="8504925" y="3940109"/>
                  <a:pt x="8503860" y="3942904"/>
                  <a:pt x="8503860" y="3946897"/>
                </a:cubicBezTo>
                <a:cubicBezTo>
                  <a:pt x="8503860" y="3951025"/>
                  <a:pt x="8504925" y="3953820"/>
                  <a:pt x="8507453" y="3956349"/>
                </a:cubicBezTo>
                <a:cubicBezTo>
                  <a:pt x="8509051" y="3957947"/>
                  <a:pt x="8511581" y="3959810"/>
                  <a:pt x="8517438" y="3959810"/>
                </a:cubicBezTo>
                <a:cubicBezTo>
                  <a:pt x="8519568" y="3959810"/>
                  <a:pt x="8521299" y="3959411"/>
                  <a:pt x="8522763" y="3959011"/>
                </a:cubicBezTo>
                <a:cubicBezTo>
                  <a:pt x="8524227" y="3958479"/>
                  <a:pt x="8525559" y="3957548"/>
                  <a:pt x="8526490" y="3956615"/>
                </a:cubicBezTo>
                <a:cubicBezTo>
                  <a:pt x="8527555" y="3955417"/>
                  <a:pt x="8528487" y="3954086"/>
                  <a:pt x="8529152" y="3952355"/>
                </a:cubicBezTo>
                <a:cubicBezTo>
                  <a:pt x="8529818" y="3950758"/>
                  <a:pt x="8530084" y="3948894"/>
                  <a:pt x="8530084" y="3946897"/>
                </a:cubicBezTo>
                <a:cubicBezTo>
                  <a:pt x="8530084" y="3945034"/>
                  <a:pt x="8529818" y="3943304"/>
                  <a:pt x="8529152" y="3941706"/>
                </a:cubicBezTo>
                <a:cubicBezTo>
                  <a:pt x="8528487" y="3939975"/>
                  <a:pt x="8527555" y="3938645"/>
                  <a:pt x="8526490" y="3937447"/>
                </a:cubicBezTo>
                <a:cubicBezTo>
                  <a:pt x="8525425" y="3936382"/>
                  <a:pt x="8524094" y="3935449"/>
                  <a:pt x="8522496" y="3934784"/>
                </a:cubicBezTo>
                <a:cubicBezTo>
                  <a:pt x="8521032" y="3934118"/>
                  <a:pt x="8519302" y="3933852"/>
                  <a:pt x="8517438" y="3933852"/>
                </a:cubicBezTo>
                <a:close/>
                <a:moveTo>
                  <a:pt x="8299793" y="3933852"/>
                </a:moveTo>
                <a:cubicBezTo>
                  <a:pt x="8294068" y="3933852"/>
                  <a:pt x="8291406" y="3935849"/>
                  <a:pt x="8289809" y="3937447"/>
                </a:cubicBezTo>
                <a:cubicBezTo>
                  <a:pt x="8287280" y="3940109"/>
                  <a:pt x="8286215" y="3942904"/>
                  <a:pt x="8286215" y="3946897"/>
                </a:cubicBezTo>
                <a:cubicBezTo>
                  <a:pt x="8286215" y="3951025"/>
                  <a:pt x="8287280" y="3953820"/>
                  <a:pt x="8289809" y="3956349"/>
                </a:cubicBezTo>
                <a:cubicBezTo>
                  <a:pt x="8291406" y="3957947"/>
                  <a:pt x="8293935" y="3959810"/>
                  <a:pt x="8299793" y="3959810"/>
                </a:cubicBezTo>
                <a:cubicBezTo>
                  <a:pt x="8301923" y="3959810"/>
                  <a:pt x="8303653" y="3959411"/>
                  <a:pt x="8305118" y="3959011"/>
                </a:cubicBezTo>
                <a:cubicBezTo>
                  <a:pt x="8306582" y="3958479"/>
                  <a:pt x="8307913" y="3957548"/>
                  <a:pt x="8308844" y="3956615"/>
                </a:cubicBezTo>
                <a:cubicBezTo>
                  <a:pt x="8309910" y="3955417"/>
                  <a:pt x="8310842" y="3954086"/>
                  <a:pt x="8311507" y="3952355"/>
                </a:cubicBezTo>
                <a:cubicBezTo>
                  <a:pt x="8312172" y="3950758"/>
                  <a:pt x="8312439" y="3948894"/>
                  <a:pt x="8312439" y="3946897"/>
                </a:cubicBezTo>
                <a:cubicBezTo>
                  <a:pt x="8312439" y="3945034"/>
                  <a:pt x="8312172" y="3943304"/>
                  <a:pt x="8311507" y="3941706"/>
                </a:cubicBezTo>
                <a:cubicBezTo>
                  <a:pt x="8310842" y="3939975"/>
                  <a:pt x="8309910" y="3938645"/>
                  <a:pt x="8308844" y="3937447"/>
                </a:cubicBezTo>
                <a:cubicBezTo>
                  <a:pt x="8307779" y="3936382"/>
                  <a:pt x="8306448" y="3935449"/>
                  <a:pt x="8304851" y="3934784"/>
                </a:cubicBezTo>
                <a:cubicBezTo>
                  <a:pt x="8303387" y="3934118"/>
                  <a:pt x="8301790" y="3933852"/>
                  <a:pt x="8299793" y="3933852"/>
                </a:cubicBezTo>
                <a:close/>
                <a:moveTo>
                  <a:pt x="8082281" y="3933852"/>
                </a:moveTo>
                <a:cubicBezTo>
                  <a:pt x="8076424" y="3933852"/>
                  <a:pt x="8073894" y="3935849"/>
                  <a:pt x="8072297" y="3937447"/>
                </a:cubicBezTo>
                <a:cubicBezTo>
                  <a:pt x="8069768" y="3940109"/>
                  <a:pt x="8068703" y="3942904"/>
                  <a:pt x="8068703" y="3946897"/>
                </a:cubicBezTo>
                <a:cubicBezTo>
                  <a:pt x="8068703" y="3951025"/>
                  <a:pt x="8069768" y="3953820"/>
                  <a:pt x="8072297" y="3956349"/>
                </a:cubicBezTo>
                <a:cubicBezTo>
                  <a:pt x="8073894" y="3957947"/>
                  <a:pt x="8076424" y="3959810"/>
                  <a:pt x="8082281" y="3959810"/>
                </a:cubicBezTo>
                <a:cubicBezTo>
                  <a:pt x="8084277" y="3959810"/>
                  <a:pt x="8086007" y="3959411"/>
                  <a:pt x="8087605" y="3959011"/>
                </a:cubicBezTo>
                <a:cubicBezTo>
                  <a:pt x="8089069" y="3958479"/>
                  <a:pt x="8090401" y="3957548"/>
                  <a:pt x="8091332" y="3956615"/>
                </a:cubicBezTo>
                <a:cubicBezTo>
                  <a:pt x="8092397" y="3955417"/>
                  <a:pt x="8093329" y="3954086"/>
                  <a:pt x="8093994" y="3952355"/>
                </a:cubicBezTo>
                <a:cubicBezTo>
                  <a:pt x="8094660" y="3950758"/>
                  <a:pt x="8094926" y="3948894"/>
                  <a:pt x="8094926" y="3946897"/>
                </a:cubicBezTo>
                <a:cubicBezTo>
                  <a:pt x="8094926" y="3945034"/>
                  <a:pt x="8094660" y="3943304"/>
                  <a:pt x="8093994" y="3941706"/>
                </a:cubicBezTo>
                <a:cubicBezTo>
                  <a:pt x="8093329" y="3939975"/>
                  <a:pt x="8092397" y="3938645"/>
                  <a:pt x="8091332" y="3937447"/>
                </a:cubicBezTo>
                <a:cubicBezTo>
                  <a:pt x="8090267" y="3936382"/>
                  <a:pt x="8088936" y="3935449"/>
                  <a:pt x="8087338" y="3934784"/>
                </a:cubicBezTo>
                <a:cubicBezTo>
                  <a:pt x="8085874" y="3934118"/>
                  <a:pt x="8084277" y="3933852"/>
                  <a:pt x="8082281" y="3933852"/>
                </a:cubicBezTo>
                <a:close/>
                <a:moveTo>
                  <a:pt x="7864636" y="3933852"/>
                </a:moveTo>
                <a:cubicBezTo>
                  <a:pt x="7858779" y="3933852"/>
                  <a:pt x="7856249" y="3935849"/>
                  <a:pt x="7854652" y="3937447"/>
                </a:cubicBezTo>
                <a:cubicBezTo>
                  <a:pt x="7852123" y="3940109"/>
                  <a:pt x="7851058" y="3942904"/>
                  <a:pt x="7851058" y="3946897"/>
                </a:cubicBezTo>
                <a:cubicBezTo>
                  <a:pt x="7851058" y="3951025"/>
                  <a:pt x="7852123" y="3953820"/>
                  <a:pt x="7854652" y="3956349"/>
                </a:cubicBezTo>
                <a:cubicBezTo>
                  <a:pt x="7856249" y="3957947"/>
                  <a:pt x="7858779" y="3959810"/>
                  <a:pt x="7864636" y="3959810"/>
                </a:cubicBezTo>
                <a:cubicBezTo>
                  <a:pt x="7866633" y="3959810"/>
                  <a:pt x="7868363" y="3959411"/>
                  <a:pt x="7869961" y="3959011"/>
                </a:cubicBezTo>
                <a:cubicBezTo>
                  <a:pt x="7871425" y="3958479"/>
                  <a:pt x="7872756" y="3957548"/>
                  <a:pt x="7873687" y="3956615"/>
                </a:cubicBezTo>
                <a:cubicBezTo>
                  <a:pt x="7874753" y="3955417"/>
                  <a:pt x="7875685" y="3954086"/>
                  <a:pt x="7876350" y="3952355"/>
                </a:cubicBezTo>
                <a:cubicBezTo>
                  <a:pt x="7877015" y="3950758"/>
                  <a:pt x="7877282" y="3948894"/>
                  <a:pt x="7877282" y="3946897"/>
                </a:cubicBezTo>
                <a:cubicBezTo>
                  <a:pt x="7877282" y="3945034"/>
                  <a:pt x="7877015" y="3943304"/>
                  <a:pt x="7876350" y="3941706"/>
                </a:cubicBezTo>
                <a:cubicBezTo>
                  <a:pt x="7875685" y="3939975"/>
                  <a:pt x="7874753" y="3938645"/>
                  <a:pt x="7873687" y="3937447"/>
                </a:cubicBezTo>
                <a:cubicBezTo>
                  <a:pt x="7872623" y="3936382"/>
                  <a:pt x="7871291" y="3935449"/>
                  <a:pt x="7869694" y="3934784"/>
                </a:cubicBezTo>
                <a:cubicBezTo>
                  <a:pt x="7868230" y="3934118"/>
                  <a:pt x="7866633" y="3933852"/>
                  <a:pt x="7864636" y="3933852"/>
                </a:cubicBezTo>
                <a:close/>
                <a:moveTo>
                  <a:pt x="7646991" y="3933852"/>
                </a:moveTo>
                <a:cubicBezTo>
                  <a:pt x="7641134" y="3933852"/>
                  <a:pt x="7638604" y="3935849"/>
                  <a:pt x="7637007" y="3937447"/>
                </a:cubicBezTo>
                <a:cubicBezTo>
                  <a:pt x="7634478" y="3940109"/>
                  <a:pt x="7633413" y="3942904"/>
                  <a:pt x="7633413" y="3946897"/>
                </a:cubicBezTo>
                <a:cubicBezTo>
                  <a:pt x="7633413" y="3951025"/>
                  <a:pt x="7634478" y="3953820"/>
                  <a:pt x="7637007" y="3956349"/>
                </a:cubicBezTo>
                <a:cubicBezTo>
                  <a:pt x="7638604" y="3957947"/>
                  <a:pt x="7641134" y="3959810"/>
                  <a:pt x="7646991" y="3959810"/>
                </a:cubicBezTo>
                <a:cubicBezTo>
                  <a:pt x="7648987" y="3959810"/>
                  <a:pt x="7650851" y="3959411"/>
                  <a:pt x="7652315" y="3959011"/>
                </a:cubicBezTo>
                <a:cubicBezTo>
                  <a:pt x="7653780" y="3958479"/>
                  <a:pt x="7655111" y="3957548"/>
                  <a:pt x="7656042" y="3956615"/>
                </a:cubicBezTo>
                <a:cubicBezTo>
                  <a:pt x="7657108" y="3955417"/>
                  <a:pt x="7658039" y="3954086"/>
                  <a:pt x="7658705" y="3952355"/>
                </a:cubicBezTo>
                <a:cubicBezTo>
                  <a:pt x="7659504" y="3950758"/>
                  <a:pt x="7659769" y="3948894"/>
                  <a:pt x="7659769" y="3946897"/>
                </a:cubicBezTo>
                <a:cubicBezTo>
                  <a:pt x="7659769" y="3945034"/>
                  <a:pt x="7659370" y="3943304"/>
                  <a:pt x="7658705" y="3941706"/>
                </a:cubicBezTo>
                <a:cubicBezTo>
                  <a:pt x="7658039" y="3939975"/>
                  <a:pt x="7657108" y="3938645"/>
                  <a:pt x="7656042" y="3937447"/>
                </a:cubicBezTo>
                <a:cubicBezTo>
                  <a:pt x="7654977" y="3936382"/>
                  <a:pt x="7653646" y="3935449"/>
                  <a:pt x="7652049" y="3934784"/>
                </a:cubicBezTo>
                <a:cubicBezTo>
                  <a:pt x="7650584" y="3934118"/>
                  <a:pt x="7648987" y="3933852"/>
                  <a:pt x="7646991" y="3933852"/>
                </a:cubicBezTo>
                <a:close/>
                <a:moveTo>
                  <a:pt x="7429345" y="3933852"/>
                </a:moveTo>
                <a:cubicBezTo>
                  <a:pt x="7423488" y="3933852"/>
                  <a:pt x="7420958" y="3935849"/>
                  <a:pt x="7419361" y="3937447"/>
                </a:cubicBezTo>
                <a:cubicBezTo>
                  <a:pt x="7416832" y="3940109"/>
                  <a:pt x="7415768" y="3942904"/>
                  <a:pt x="7415768" y="3946897"/>
                </a:cubicBezTo>
                <a:cubicBezTo>
                  <a:pt x="7415768" y="3951025"/>
                  <a:pt x="7416832" y="3953820"/>
                  <a:pt x="7419361" y="3956349"/>
                </a:cubicBezTo>
                <a:cubicBezTo>
                  <a:pt x="7420958" y="3957947"/>
                  <a:pt x="7423488" y="3959810"/>
                  <a:pt x="7429345" y="3959810"/>
                </a:cubicBezTo>
                <a:cubicBezTo>
                  <a:pt x="7431342" y="3959810"/>
                  <a:pt x="7433206" y="3959411"/>
                  <a:pt x="7434670" y="3959011"/>
                </a:cubicBezTo>
                <a:cubicBezTo>
                  <a:pt x="7436134" y="3958479"/>
                  <a:pt x="7437466" y="3957548"/>
                  <a:pt x="7438397" y="3956615"/>
                </a:cubicBezTo>
                <a:cubicBezTo>
                  <a:pt x="7439462" y="3955417"/>
                  <a:pt x="7440394" y="3954086"/>
                  <a:pt x="7441059" y="3952355"/>
                </a:cubicBezTo>
                <a:cubicBezTo>
                  <a:pt x="7441858" y="3950758"/>
                  <a:pt x="7442124" y="3948894"/>
                  <a:pt x="7442124" y="3946897"/>
                </a:cubicBezTo>
                <a:cubicBezTo>
                  <a:pt x="7442124" y="3945034"/>
                  <a:pt x="7441725" y="3943304"/>
                  <a:pt x="7441059" y="3941706"/>
                </a:cubicBezTo>
                <a:cubicBezTo>
                  <a:pt x="7440394" y="3939975"/>
                  <a:pt x="7439462" y="3938645"/>
                  <a:pt x="7438397" y="3937447"/>
                </a:cubicBezTo>
                <a:cubicBezTo>
                  <a:pt x="7437332" y="3936382"/>
                  <a:pt x="7436001" y="3935449"/>
                  <a:pt x="7434403" y="3934784"/>
                </a:cubicBezTo>
                <a:cubicBezTo>
                  <a:pt x="7432939" y="3934118"/>
                  <a:pt x="7431342" y="3933852"/>
                  <a:pt x="7429345" y="3933852"/>
                </a:cubicBezTo>
                <a:close/>
                <a:moveTo>
                  <a:pt x="7211701" y="3933852"/>
                </a:moveTo>
                <a:cubicBezTo>
                  <a:pt x="7205844" y="3933852"/>
                  <a:pt x="7203314" y="3935849"/>
                  <a:pt x="7201717" y="3937447"/>
                </a:cubicBezTo>
                <a:cubicBezTo>
                  <a:pt x="7199188" y="3940109"/>
                  <a:pt x="7198123" y="3942904"/>
                  <a:pt x="7198123" y="3946897"/>
                </a:cubicBezTo>
                <a:cubicBezTo>
                  <a:pt x="7198123" y="3951025"/>
                  <a:pt x="7199188" y="3953820"/>
                  <a:pt x="7201717" y="3956349"/>
                </a:cubicBezTo>
                <a:cubicBezTo>
                  <a:pt x="7203314" y="3957947"/>
                  <a:pt x="7205844" y="3959810"/>
                  <a:pt x="7211701" y="3959810"/>
                </a:cubicBezTo>
                <a:cubicBezTo>
                  <a:pt x="7213830" y="3959810"/>
                  <a:pt x="7215561" y="3959411"/>
                  <a:pt x="7217026" y="3959011"/>
                </a:cubicBezTo>
                <a:cubicBezTo>
                  <a:pt x="7218490" y="3958479"/>
                  <a:pt x="7219821" y="3957548"/>
                  <a:pt x="7220752" y="3956615"/>
                </a:cubicBezTo>
                <a:cubicBezTo>
                  <a:pt x="7221818" y="3955417"/>
                  <a:pt x="7222750" y="3954086"/>
                  <a:pt x="7223415" y="3952355"/>
                </a:cubicBezTo>
                <a:cubicBezTo>
                  <a:pt x="7224214" y="3950758"/>
                  <a:pt x="7224480" y="3948894"/>
                  <a:pt x="7224480" y="3946897"/>
                </a:cubicBezTo>
                <a:cubicBezTo>
                  <a:pt x="7224480" y="3945034"/>
                  <a:pt x="7224080" y="3943304"/>
                  <a:pt x="7223415" y="3941706"/>
                </a:cubicBezTo>
                <a:cubicBezTo>
                  <a:pt x="7222750" y="3939975"/>
                  <a:pt x="7221818" y="3938645"/>
                  <a:pt x="7220752" y="3937447"/>
                </a:cubicBezTo>
                <a:cubicBezTo>
                  <a:pt x="7219687" y="3936382"/>
                  <a:pt x="7218356" y="3935449"/>
                  <a:pt x="7216759" y="3934784"/>
                </a:cubicBezTo>
                <a:cubicBezTo>
                  <a:pt x="7215295" y="3934118"/>
                  <a:pt x="7213698" y="3933852"/>
                  <a:pt x="7211701" y="3933852"/>
                </a:cubicBezTo>
                <a:close/>
                <a:moveTo>
                  <a:pt x="6994056" y="3933852"/>
                </a:moveTo>
                <a:cubicBezTo>
                  <a:pt x="6988199" y="3933852"/>
                  <a:pt x="6985669" y="3935849"/>
                  <a:pt x="6984072" y="3937447"/>
                </a:cubicBezTo>
                <a:cubicBezTo>
                  <a:pt x="6981543" y="3940109"/>
                  <a:pt x="6980478" y="3942904"/>
                  <a:pt x="6980478" y="3946897"/>
                </a:cubicBezTo>
                <a:cubicBezTo>
                  <a:pt x="6980478" y="3951025"/>
                  <a:pt x="6981543" y="3953820"/>
                  <a:pt x="6984072" y="3956349"/>
                </a:cubicBezTo>
                <a:cubicBezTo>
                  <a:pt x="6985669" y="3957947"/>
                  <a:pt x="6988199" y="3959810"/>
                  <a:pt x="6994056" y="3959810"/>
                </a:cubicBezTo>
                <a:cubicBezTo>
                  <a:pt x="6996185" y="3959810"/>
                  <a:pt x="6997916" y="3959411"/>
                  <a:pt x="6999380" y="3959011"/>
                </a:cubicBezTo>
                <a:cubicBezTo>
                  <a:pt x="7000844" y="3958479"/>
                  <a:pt x="7002176" y="3957548"/>
                  <a:pt x="7003107" y="3956615"/>
                </a:cubicBezTo>
                <a:cubicBezTo>
                  <a:pt x="7004172" y="3955417"/>
                  <a:pt x="7005104" y="3954086"/>
                  <a:pt x="7005769" y="3952355"/>
                </a:cubicBezTo>
                <a:cubicBezTo>
                  <a:pt x="7006568" y="3950758"/>
                  <a:pt x="7006834" y="3948894"/>
                  <a:pt x="7006834" y="3946897"/>
                </a:cubicBezTo>
                <a:cubicBezTo>
                  <a:pt x="7006834" y="3945034"/>
                  <a:pt x="7006435" y="3943304"/>
                  <a:pt x="7005769" y="3941706"/>
                </a:cubicBezTo>
                <a:cubicBezTo>
                  <a:pt x="7005104" y="3939975"/>
                  <a:pt x="7004172" y="3938645"/>
                  <a:pt x="7003107" y="3937447"/>
                </a:cubicBezTo>
                <a:cubicBezTo>
                  <a:pt x="7002042" y="3936382"/>
                  <a:pt x="7000711" y="3935449"/>
                  <a:pt x="6999113" y="3934784"/>
                </a:cubicBezTo>
                <a:cubicBezTo>
                  <a:pt x="6997649" y="3934118"/>
                  <a:pt x="6996052" y="3933852"/>
                  <a:pt x="6994056" y="3933852"/>
                </a:cubicBezTo>
                <a:close/>
                <a:moveTo>
                  <a:pt x="6776544" y="3933852"/>
                </a:moveTo>
                <a:cubicBezTo>
                  <a:pt x="6770687" y="3933852"/>
                  <a:pt x="6768157" y="3935849"/>
                  <a:pt x="6766560" y="3937447"/>
                </a:cubicBezTo>
                <a:cubicBezTo>
                  <a:pt x="6764031" y="3940109"/>
                  <a:pt x="6762966" y="3942904"/>
                  <a:pt x="6762966" y="3946897"/>
                </a:cubicBezTo>
                <a:cubicBezTo>
                  <a:pt x="6762966" y="3951025"/>
                  <a:pt x="6764031" y="3953820"/>
                  <a:pt x="6766560" y="3956349"/>
                </a:cubicBezTo>
                <a:cubicBezTo>
                  <a:pt x="6768157" y="3957947"/>
                  <a:pt x="6770687" y="3959810"/>
                  <a:pt x="6776544" y="3959810"/>
                </a:cubicBezTo>
                <a:cubicBezTo>
                  <a:pt x="6778541" y="3959810"/>
                  <a:pt x="6780270" y="3959411"/>
                  <a:pt x="6781869" y="3959011"/>
                </a:cubicBezTo>
                <a:cubicBezTo>
                  <a:pt x="6783333" y="3958479"/>
                  <a:pt x="6784664" y="3957548"/>
                  <a:pt x="6785595" y="3956615"/>
                </a:cubicBezTo>
                <a:cubicBezTo>
                  <a:pt x="6786661" y="3955417"/>
                  <a:pt x="6787593" y="3954086"/>
                  <a:pt x="6788258" y="3952355"/>
                </a:cubicBezTo>
                <a:cubicBezTo>
                  <a:pt x="6789057" y="3950758"/>
                  <a:pt x="6789323" y="3948894"/>
                  <a:pt x="6789323" y="3946897"/>
                </a:cubicBezTo>
                <a:cubicBezTo>
                  <a:pt x="6789323" y="3945034"/>
                  <a:pt x="6788923" y="3943304"/>
                  <a:pt x="6788258" y="3941706"/>
                </a:cubicBezTo>
                <a:cubicBezTo>
                  <a:pt x="6787593" y="3939975"/>
                  <a:pt x="6786661" y="3938645"/>
                  <a:pt x="6785595" y="3937447"/>
                </a:cubicBezTo>
                <a:cubicBezTo>
                  <a:pt x="6784530" y="3936382"/>
                  <a:pt x="6783199" y="3935449"/>
                  <a:pt x="6781602" y="3934784"/>
                </a:cubicBezTo>
                <a:cubicBezTo>
                  <a:pt x="6780138" y="3934118"/>
                  <a:pt x="6778541" y="3933852"/>
                  <a:pt x="6776544" y="3933852"/>
                </a:cubicBezTo>
                <a:close/>
                <a:moveTo>
                  <a:pt x="6558899" y="3933852"/>
                </a:moveTo>
                <a:cubicBezTo>
                  <a:pt x="6553042" y="3933852"/>
                  <a:pt x="6550512" y="3935849"/>
                  <a:pt x="6548915" y="3937447"/>
                </a:cubicBezTo>
                <a:cubicBezTo>
                  <a:pt x="6546386" y="3940109"/>
                  <a:pt x="6545321" y="3942904"/>
                  <a:pt x="6545321" y="3946897"/>
                </a:cubicBezTo>
                <a:cubicBezTo>
                  <a:pt x="6545321" y="3951025"/>
                  <a:pt x="6546386" y="3953820"/>
                  <a:pt x="6548915" y="3956349"/>
                </a:cubicBezTo>
                <a:cubicBezTo>
                  <a:pt x="6550512" y="3957947"/>
                  <a:pt x="6553042" y="3959810"/>
                  <a:pt x="6558899" y="3959810"/>
                </a:cubicBezTo>
                <a:cubicBezTo>
                  <a:pt x="6560895" y="3959810"/>
                  <a:pt x="6562759" y="3959411"/>
                  <a:pt x="6564223" y="3959011"/>
                </a:cubicBezTo>
                <a:cubicBezTo>
                  <a:pt x="6565687" y="3958479"/>
                  <a:pt x="6567019" y="3957548"/>
                  <a:pt x="6567950" y="3956615"/>
                </a:cubicBezTo>
                <a:cubicBezTo>
                  <a:pt x="6569015" y="3955417"/>
                  <a:pt x="6569947" y="3954086"/>
                  <a:pt x="6570612" y="3952355"/>
                </a:cubicBezTo>
                <a:cubicBezTo>
                  <a:pt x="6571412" y="3950758"/>
                  <a:pt x="6571677" y="3948894"/>
                  <a:pt x="6571677" y="3946897"/>
                </a:cubicBezTo>
                <a:cubicBezTo>
                  <a:pt x="6571677" y="3945034"/>
                  <a:pt x="6571278" y="3943304"/>
                  <a:pt x="6570612" y="3941706"/>
                </a:cubicBezTo>
                <a:cubicBezTo>
                  <a:pt x="6569947" y="3939975"/>
                  <a:pt x="6569015" y="3938645"/>
                  <a:pt x="6567950" y="3937447"/>
                </a:cubicBezTo>
                <a:cubicBezTo>
                  <a:pt x="6566885" y="3936382"/>
                  <a:pt x="6565554" y="3935449"/>
                  <a:pt x="6563956" y="3934784"/>
                </a:cubicBezTo>
                <a:cubicBezTo>
                  <a:pt x="6562492" y="3934118"/>
                  <a:pt x="6560895" y="3933852"/>
                  <a:pt x="6558899" y="3933852"/>
                </a:cubicBezTo>
                <a:close/>
                <a:moveTo>
                  <a:pt x="6341253" y="3933852"/>
                </a:moveTo>
                <a:cubicBezTo>
                  <a:pt x="6335396" y="3933852"/>
                  <a:pt x="6332867" y="3935849"/>
                  <a:pt x="6331270" y="3937447"/>
                </a:cubicBezTo>
                <a:cubicBezTo>
                  <a:pt x="6328740" y="3940109"/>
                  <a:pt x="6327675" y="3942904"/>
                  <a:pt x="6327675" y="3946897"/>
                </a:cubicBezTo>
                <a:cubicBezTo>
                  <a:pt x="6327675" y="3951025"/>
                  <a:pt x="6328740" y="3953820"/>
                  <a:pt x="6331270" y="3956349"/>
                </a:cubicBezTo>
                <a:cubicBezTo>
                  <a:pt x="6332867" y="3957947"/>
                  <a:pt x="6335396" y="3959810"/>
                  <a:pt x="6341253" y="3959810"/>
                </a:cubicBezTo>
                <a:cubicBezTo>
                  <a:pt x="6343250" y="3959810"/>
                  <a:pt x="6345114" y="3959411"/>
                  <a:pt x="6346578" y="3959011"/>
                </a:cubicBezTo>
                <a:cubicBezTo>
                  <a:pt x="6348042" y="3958479"/>
                  <a:pt x="6349373" y="3957548"/>
                  <a:pt x="6350305" y="3956615"/>
                </a:cubicBezTo>
                <a:cubicBezTo>
                  <a:pt x="6351370" y="3955417"/>
                  <a:pt x="6352302" y="3954086"/>
                  <a:pt x="6352968" y="3952355"/>
                </a:cubicBezTo>
                <a:cubicBezTo>
                  <a:pt x="6353766" y="3950758"/>
                  <a:pt x="6354033" y="3948894"/>
                  <a:pt x="6354033" y="3946897"/>
                </a:cubicBezTo>
                <a:cubicBezTo>
                  <a:pt x="6354033" y="3945034"/>
                  <a:pt x="6353633" y="3943304"/>
                  <a:pt x="6352968" y="3941706"/>
                </a:cubicBezTo>
                <a:cubicBezTo>
                  <a:pt x="6352302" y="3939975"/>
                  <a:pt x="6351370" y="3938645"/>
                  <a:pt x="6350305" y="3937447"/>
                </a:cubicBezTo>
                <a:cubicBezTo>
                  <a:pt x="6349241" y="3936382"/>
                  <a:pt x="6347909" y="3935449"/>
                  <a:pt x="6346312" y="3934784"/>
                </a:cubicBezTo>
                <a:cubicBezTo>
                  <a:pt x="6344848" y="3934118"/>
                  <a:pt x="6343250" y="3933852"/>
                  <a:pt x="6341253" y="3933852"/>
                </a:cubicBezTo>
                <a:close/>
                <a:moveTo>
                  <a:pt x="6123608" y="3933852"/>
                </a:moveTo>
                <a:cubicBezTo>
                  <a:pt x="6117751" y="3933852"/>
                  <a:pt x="6115221" y="3935849"/>
                  <a:pt x="6113624" y="3937447"/>
                </a:cubicBezTo>
                <a:cubicBezTo>
                  <a:pt x="6111095" y="3940109"/>
                  <a:pt x="6110030" y="3942904"/>
                  <a:pt x="6110030" y="3946897"/>
                </a:cubicBezTo>
                <a:cubicBezTo>
                  <a:pt x="6110030" y="3951025"/>
                  <a:pt x="6111095" y="3953820"/>
                  <a:pt x="6113624" y="3956349"/>
                </a:cubicBezTo>
                <a:cubicBezTo>
                  <a:pt x="6115221" y="3957947"/>
                  <a:pt x="6117751" y="3959810"/>
                  <a:pt x="6123608" y="3959810"/>
                </a:cubicBezTo>
                <a:cubicBezTo>
                  <a:pt x="6125737" y="3959810"/>
                  <a:pt x="6127468" y="3959411"/>
                  <a:pt x="6128932" y="3959011"/>
                </a:cubicBezTo>
                <a:cubicBezTo>
                  <a:pt x="6130530" y="3958479"/>
                  <a:pt x="6131728" y="3957548"/>
                  <a:pt x="6132659" y="3956615"/>
                </a:cubicBezTo>
                <a:cubicBezTo>
                  <a:pt x="6133724" y="3955417"/>
                  <a:pt x="6134656" y="3954086"/>
                  <a:pt x="6135322" y="3952355"/>
                </a:cubicBezTo>
                <a:cubicBezTo>
                  <a:pt x="6135987" y="3950758"/>
                  <a:pt x="6136387" y="3948894"/>
                  <a:pt x="6136387" y="3946897"/>
                </a:cubicBezTo>
                <a:cubicBezTo>
                  <a:pt x="6136387" y="3945034"/>
                  <a:pt x="6135987" y="3943304"/>
                  <a:pt x="6135322" y="3941706"/>
                </a:cubicBezTo>
                <a:cubicBezTo>
                  <a:pt x="6134656" y="3939975"/>
                  <a:pt x="6133724" y="3938645"/>
                  <a:pt x="6132659" y="3937447"/>
                </a:cubicBezTo>
                <a:cubicBezTo>
                  <a:pt x="6131594" y="3936382"/>
                  <a:pt x="6130263" y="3935449"/>
                  <a:pt x="6128666" y="3934784"/>
                </a:cubicBezTo>
                <a:cubicBezTo>
                  <a:pt x="6127202" y="3934118"/>
                  <a:pt x="6125604" y="3933852"/>
                  <a:pt x="6123608" y="3933852"/>
                </a:cubicBezTo>
                <a:close/>
                <a:moveTo>
                  <a:pt x="5905963" y="3933852"/>
                </a:moveTo>
                <a:cubicBezTo>
                  <a:pt x="5900106" y="3933852"/>
                  <a:pt x="5897576" y="3935849"/>
                  <a:pt x="5895979" y="3937447"/>
                </a:cubicBezTo>
                <a:cubicBezTo>
                  <a:pt x="5893450" y="3940109"/>
                  <a:pt x="5892385" y="3942904"/>
                  <a:pt x="5892385" y="3946897"/>
                </a:cubicBezTo>
                <a:cubicBezTo>
                  <a:pt x="5892385" y="3951025"/>
                  <a:pt x="5893450" y="3953820"/>
                  <a:pt x="5895979" y="3956349"/>
                </a:cubicBezTo>
                <a:cubicBezTo>
                  <a:pt x="5897576" y="3957947"/>
                  <a:pt x="5900106" y="3959810"/>
                  <a:pt x="5905963" y="3959810"/>
                </a:cubicBezTo>
                <a:cubicBezTo>
                  <a:pt x="5908093" y="3959810"/>
                  <a:pt x="5909823" y="3959411"/>
                  <a:pt x="5911287" y="3959011"/>
                </a:cubicBezTo>
                <a:cubicBezTo>
                  <a:pt x="5912751" y="3958479"/>
                  <a:pt x="5914083" y="3957548"/>
                  <a:pt x="5915014" y="3956615"/>
                </a:cubicBezTo>
                <a:cubicBezTo>
                  <a:pt x="5916079" y="3955417"/>
                  <a:pt x="5917011" y="3954086"/>
                  <a:pt x="5917677" y="3952355"/>
                </a:cubicBezTo>
                <a:cubicBezTo>
                  <a:pt x="5918342" y="3950758"/>
                  <a:pt x="5918742" y="3948894"/>
                  <a:pt x="5918742" y="3946897"/>
                </a:cubicBezTo>
                <a:cubicBezTo>
                  <a:pt x="5918742" y="3945034"/>
                  <a:pt x="5918342" y="3943304"/>
                  <a:pt x="5917677" y="3941706"/>
                </a:cubicBezTo>
                <a:cubicBezTo>
                  <a:pt x="5917011" y="3939975"/>
                  <a:pt x="5916079" y="3938645"/>
                  <a:pt x="5915014" y="3937447"/>
                </a:cubicBezTo>
                <a:cubicBezTo>
                  <a:pt x="5913950" y="3936382"/>
                  <a:pt x="5912618" y="3935449"/>
                  <a:pt x="5911021" y="3934784"/>
                </a:cubicBezTo>
                <a:cubicBezTo>
                  <a:pt x="5909557" y="3934118"/>
                  <a:pt x="5907826" y="3933852"/>
                  <a:pt x="5905963" y="3933852"/>
                </a:cubicBezTo>
                <a:close/>
                <a:moveTo>
                  <a:pt x="5688451" y="3933852"/>
                </a:moveTo>
                <a:cubicBezTo>
                  <a:pt x="5682594" y="3933852"/>
                  <a:pt x="5680064" y="3935849"/>
                  <a:pt x="5678467" y="3937447"/>
                </a:cubicBezTo>
                <a:cubicBezTo>
                  <a:pt x="5675938" y="3940109"/>
                  <a:pt x="5674873" y="3942904"/>
                  <a:pt x="5674873" y="3946897"/>
                </a:cubicBezTo>
                <a:cubicBezTo>
                  <a:pt x="5674873" y="3951025"/>
                  <a:pt x="5675938" y="3953820"/>
                  <a:pt x="5678467" y="3956349"/>
                </a:cubicBezTo>
                <a:cubicBezTo>
                  <a:pt x="5680064" y="3957947"/>
                  <a:pt x="5682594" y="3959810"/>
                  <a:pt x="5688451" y="3959810"/>
                </a:cubicBezTo>
                <a:cubicBezTo>
                  <a:pt x="5690447" y="3959810"/>
                  <a:pt x="5692178" y="3959411"/>
                  <a:pt x="5693775" y="3959011"/>
                </a:cubicBezTo>
                <a:cubicBezTo>
                  <a:pt x="5695239" y="3958479"/>
                  <a:pt x="5696571" y="3957548"/>
                  <a:pt x="5697502" y="3956615"/>
                </a:cubicBezTo>
                <a:cubicBezTo>
                  <a:pt x="5698567" y="3955417"/>
                  <a:pt x="5699499" y="3954086"/>
                  <a:pt x="5700165" y="3952355"/>
                </a:cubicBezTo>
                <a:cubicBezTo>
                  <a:pt x="5700830" y="3950758"/>
                  <a:pt x="5701230" y="3948894"/>
                  <a:pt x="5701230" y="3946897"/>
                </a:cubicBezTo>
                <a:cubicBezTo>
                  <a:pt x="5701230" y="3945034"/>
                  <a:pt x="5700830" y="3943304"/>
                  <a:pt x="5700165" y="3941706"/>
                </a:cubicBezTo>
                <a:cubicBezTo>
                  <a:pt x="5699499" y="3939975"/>
                  <a:pt x="5698567" y="3938645"/>
                  <a:pt x="5697502" y="3937447"/>
                </a:cubicBezTo>
                <a:cubicBezTo>
                  <a:pt x="5696437" y="3936382"/>
                  <a:pt x="5695106" y="3935449"/>
                  <a:pt x="5693509" y="3934784"/>
                </a:cubicBezTo>
                <a:cubicBezTo>
                  <a:pt x="5692045" y="3934118"/>
                  <a:pt x="5690314" y="3933852"/>
                  <a:pt x="5688451" y="3933852"/>
                </a:cubicBezTo>
                <a:close/>
                <a:moveTo>
                  <a:pt x="5470806" y="3933852"/>
                </a:moveTo>
                <a:cubicBezTo>
                  <a:pt x="5464949" y="3933852"/>
                  <a:pt x="5462419" y="3935849"/>
                  <a:pt x="5460822" y="3937447"/>
                </a:cubicBezTo>
                <a:cubicBezTo>
                  <a:pt x="5458293" y="3940109"/>
                  <a:pt x="5457228" y="3942904"/>
                  <a:pt x="5457228" y="3946897"/>
                </a:cubicBezTo>
                <a:cubicBezTo>
                  <a:pt x="5457228" y="3951025"/>
                  <a:pt x="5458293" y="3953820"/>
                  <a:pt x="5460822" y="3956349"/>
                </a:cubicBezTo>
                <a:cubicBezTo>
                  <a:pt x="5462419" y="3957947"/>
                  <a:pt x="5464949" y="3959810"/>
                  <a:pt x="5470806" y="3959810"/>
                </a:cubicBezTo>
                <a:cubicBezTo>
                  <a:pt x="5472802" y="3959810"/>
                  <a:pt x="5474666" y="3959411"/>
                  <a:pt x="5476130" y="3959011"/>
                </a:cubicBezTo>
                <a:cubicBezTo>
                  <a:pt x="5477594" y="3958479"/>
                  <a:pt x="5478926" y="3957548"/>
                  <a:pt x="5479857" y="3956615"/>
                </a:cubicBezTo>
                <a:cubicBezTo>
                  <a:pt x="5480922" y="3955417"/>
                  <a:pt x="5481854" y="3954086"/>
                  <a:pt x="5482520" y="3952355"/>
                </a:cubicBezTo>
                <a:cubicBezTo>
                  <a:pt x="5483319" y="3950758"/>
                  <a:pt x="5483585" y="3948894"/>
                  <a:pt x="5483585" y="3946897"/>
                </a:cubicBezTo>
                <a:cubicBezTo>
                  <a:pt x="5483585" y="3945034"/>
                  <a:pt x="5483185" y="3943304"/>
                  <a:pt x="5482520" y="3941706"/>
                </a:cubicBezTo>
                <a:cubicBezTo>
                  <a:pt x="5481854" y="3939975"/>
                  <a:pt x="5480922" y="3938645"/>
                  <a:pt x="5479857" y="3937447"/>
                </a:cubicBezTo>
                <a:cubicBezTo>
                  <a:pt x="5478793" y="3936382"/>
                  <a:pt x="5477461" y="3935449"/>
                  <a:pt x="5475864" y="3934784"/>
                </a:cubicBezTo>
                <a:cubicBezTo>
                  <a:pt x="5474400" y="3934118"/>
                  <a:pt x="5472669" y="3933852"/>
                  <a:pt x="5470806" y="3933852"/>
                </a:cubicBezTo>
                <a:close/>
                <a:moveTo>
                  <a:pt x="5253160" y="3933852"/>
                </a:moveTo>
                <a:cubicBezTo>
                  <a:pt x="5247303" y="3933852"/>
                  <a:pt x="5244774" y="3935849"/>
                  <a:pt x="5243177" y="3937447"/>
                </a:cubicBezTo>
                <a:cubicBezTo>
                  <a:pt x="5240647" y="3940109"/>
                  <a:pt x="5239583" y="3942904"/>
                  <a:pt x="5239583" y="3946897"/>
                </a:cubicBezTo>
                <a:cubicBezTo>
                  <a:pt x="5239583" y="3951025"/>
                  <a:pt x="5240647" y="3953820"/>
                  <a:pt x="5243177" y="3956349"/>
                </a:cubicBezTo>
                <a:cubicBezTo>
                  <a:pt x="5244774" y="3957947"/>
                  <a:pt x="5247303" y="3959810"/>
                  <a:pt x="5253160" y="3959810"/>
                </a:cubicBezTo>
                <a:cubicBezTo>
                  <a:pt x="5255157" y="3959810"/>
                  <a:pt x="5257021" y="3959411"/>
                  <a:pt x="5258485" y="3959011"/>
                </a:cubicBezTo>
                <a:cubicBezTo>
                  <a:pt x="5259949" y="3958479"/>
                  <a:pt x="5261280" y="3957548"/>
                  <a:pt x="5262212" y="3956615"/>
                </a:cubicBezTo>
                <a:cubicBezTo>
                  <a:pt x="5263277" y="3955417"/>
                  <a:pt x="5264209" y="3954086"/>
                  <a:pt x="5264875" y="3952355"/>
                </a:cubicBezTo>
                <a:cubicBezTo>
                  <a:pt x="5265673" y="3950758"/>
                  <a:pt x="5265939" y="3948894"/>
                  <a:pt x="5265939" y="3946897"/>
                </a:cubicBezTo>
                <a:cubicBezTo>
                  <a:pt x="5265939" y="3945034"/>
                  <a:pt x="5265540" y="3943304"/>
                  <a:pt x="5264875" y="3941706"/>
                </a:cubicBezTo>
                <a:cubicBezTo>
                  <a:pt x="5264209" y="3939975"/>
                  <a:pt x="5263277" y="3938645"/>
                  <a:pt x="5262212" y="3937447"/>
                </a:cubicBezTo>
                <a:cubicBezTo>
                  <a:pt x="5261147" y="3936382"/>
                  <a:pt x="5259816" y="3935449"/>
                  <a:pt x="5258219" y="3934784"/>
                </a:cubicBezTo>
                <a:cubicBezTo>
                  <a:pt x="5256754" y="3934118"/>
                  <a:pt x="5255024" y="3933852"/>
                  <a:pt x="5253160" y="3933852"/>
                </a:cubicBezTo>
                <a:close/>
                <a:moveTo>
                  <a:pt x="5035515" y="3933852"/>
                </a:moveTo>
                <a:cubicBezTo>
                  <a:pt x="5029658" y="3933852"/>
                  <a:pt x="5027129" y="3935849"/>
                  <a:pt x="5025532" y="3937447"/>
                </a:cubicBezTo>
                <a:cubicBezTo>
                  <a:pt x="5023002" y="3940109"/>
                  <a:pt x="5021938" y="3942904"/>
                  <a:pt x="5021938" y="3946897"/>
                </a:cubicBezTo>
                <a:cubicBezTo>
                  <a:pt x="5021938" y="3951025"/>
                  <a:pt x="5023002" y="3953820"/>
                  <a:pt x="5025532" y="3956349"/>
                </a:cubicBezTo>
                <a:cubicBezTo>
                  <a:pt x="5027129" y="3957947"/>
                  <a:pt x="5029658" y="3959810"/>
                  <a:pt x="5035515" y="3959810"/>
                </a:cubicBezTo>
                <a:cubicBezTo>
                  <a:pt x="5037645" y="3959810"/>
                  <a:pt x="5039376" y="3959411"/>
                  <a:pt x="5040840" y="3959011"/>
                </a:cubicBezTo>
                <a:cubicBezTo>
                  <a:pt x="5042304" y="3958479"/>
                  <a:pt x="5043636" y="3957548"/>
                  <a:pt x="5044567" y="3956615"/>
                </a:cubicBezTo>
                <a:cubicBezTo>
                  <a:pt x="5045632" y="3955417"/>
                  <a:pt x="5046564" y="3954086"/>
                  <a:pt x="5047230" y="3952355"/>
                </a:cubicBezTo>
                <a:cubicBezTo>
                  <a:pt x="5048028" y="3950758"/>
                  <a:pt x="5048294" y="3948894"/>
                  <a:pt x="5048294" y="3946897"/>
                </a:cubicBezTo>
                <a:cubicBezTo>
                  <a:pt x="5048294" y="3945034"/>
                  <a:pt x="5047895" y="3943304"/>
                  <a:pt x="5047230" y="3941706"/>
                </a:cubicBezTo>
                <a:cubicBezTo>
                  <a:pt x="5046564" y="3939975"/>
                  <a:pt x="5045632" y="3938645"/>
                  <a:pt x="5044567" y="3937447"/>
                </a:cubicBezTo>
                <a:cubicBezTo>
                  <a:pt x="5043502" y="3936382"/>
                  <a:pt x="5042171" y="3935449"/>
                  <a:pt x="5040574" y="3934784"/>
                </a:cubicBezTo>
                <a:cubicBezTo>
                  <a:pt x="5039110" y="3934118"/>
                  <a:pt x="5037379" y="3933852"/>
                  <a:pt x="5035515" y="3933852"/>
                </a:cubicBezTo>
                <a:close/>
                <a:moveTo>
                  <a:pt x="4817870" y="3933852"/>
                </a:moveTo>
                <a:cubicBezTo>
                  <a:pt x="4812013" y="3933852"/>
                  <a:pt x="4809484" y="3935849"/>
                  <a:pt x="4807887" y="3937447"/>
                </a:cubicBezTo>
                <a:cubicBezTo>
                  <a:pt x="4805357" y="3940109"/>
                  <a:pt x="4804293" y="3942904"/>
                  <a:pt x="4804293" y="3946897"/>
                </a:cubicBezTo>
                <a:cubicBezTo>
                  <a:pt x="4804293" y="3951025"/>
                  <a:pt x="4805357" y="3953820"/>
                  <a:pt x="4807887" y="3956349"/>
                </a:cubicBezTo>
                <a:cubicBezTo>
                  <a:pt x="4809484" y="3957947"/>
                  <a:pt x="4812013" y="3959810"/>
                  <a:pt x="4817870" y="3959810"/>
                </a:cubicBezTo>
                <a:cubicBezTo>
                  <a:pt x="4820000" y="3959810"/>
                  <a:pt x="4821731" y="3959411"/>
                  <a:pt x="4823195" y="3959011"/>
                </a:cubicBezTo>
                <a:cubicBezTo>
                  <a:pt x="4824659" y="3958479"/>
                  <a:pt x="4825857" y="3957548"/>
                  <a:pt x="4826922" y="3956615"/>
                </a:cubicBezTo>
                <a:cubicBezTo>
                  <a:pt x="4827987" y="3955417"/>
                  <a:pt x="4828919" y="3954086"/>
                  <a:pt x="4829585" y="3952355"/>
                </a:cubicBezTo>
                <a:cubicBezTo>
                  <a:pt x="4830383" y="3950758"/>
                  <a:pt x="4830650" y="3948894"/>
                  <a:pt x="4830650" y="3946897"/>
                </a:cubicBezTo>
                <a:cubicBezTo>
                  <a:pt x="4830650" y="3945034"/>
                  <a:pt x="4830250" y="3943304"/>
                  <a:pt x="4829585" y="3941706"/>
                </a:cubicBezTo>
                <a:cubicBezTo>
                  <a:pt x="4828919" y="3939975"/>
                  <a:pt x="4827987" y="3938645"/>
                  <a:pt x="4826922" y="3937447"/>
                </a:cubicBezTo>
                <a:cubicBezTo>
                  <a:pt x="4825857" y="3936382"/>
                  <a:pt x="4824526" y="3935449"/>
                  <a:pt x="4822929" y="3934784"/>
                </a:cubicBezTo>
                <a:cubicBezTo>
                  <a:pt x="4821465" y="3934118"/>
                  <a:pt x="4819734" y="3933852"/>
                  <a:pt x="4817870" y="3933852"/>
                </a:cubicBezTo>
                <a:close/>
                <a:moveTo>
                  <a:pt x="4600226" y="3933852"/>
                </a:moveTo>
                <a:cubicBezTo>
                  <a:pt x="4594369" y="3933852"/>
                  <a:pt x="4591839" y="3935849"/>
                  <a:pt x="4590242" y="3937447"/>
                </a:cubicBezTo>
                <a:cubicBezTo>
                  <a:pt x="4587713" y="3940109"/>
                  <a:pt x="4586648" y="3942904"/>
                  <a:pt x="4586648" y="3946897"/>
                </a:cubicBezTo>
                <a:cubicBezTo>
                  <a:pt x="4586648" y="3951025"/>
                  <a:pt x="4587713" y="3953820"/>
                  <a:pt x="4590242" y="3956349"/>
                </a:cubicBezTo>
                <a:cubicBezTo>
                  <a:pt x="4591839" y="3957947"/>
                  <a:pt x="4594369" y="3959810"/>
                  <a:pt x="4600226" y="3959810"/>
                </a:cubicBezTo>
                <a:cubicBezTo>
                  <a:pt x="4602355" y="3959810"/>
                  <a:pt x="4604086" y="3959411"/>
                  <a:pt x="4605550" y="3959011"/>
                </a:cubicBezTo>
                <a:cubicBezTo>
                  <a:pt x="4607148" y="3958479"/>
                  <a:pt x="4608346" y="3957548"/>
                  <a:pt x="4609277" y="3956615"/>
                </a:cubicBezTo>
                <a:cubicBezTo>
                  <a:pt x="4610342" y="3955417"/>
                  <a:pt x="4611274" y="3954086"/>
                  <a:pt x="4611940" y="3952355"/>
                </a:cubicBezTo>
                <a:cubicBezTo>
                  <a:pt x="4612605" y="3950758"/>
                  <a:pt x="4613005" y="3948894"/>
                  <a:pt x="4613005" y="3946897"/>
                </a:cubicBezTo>
                <a:cubicBezTo>
                  <a:pt x="4613005" y="3945034"/>
                  <a:pt x="4612605" y="3943304"/>
                  <a:pt x="4611940" y="3941706"/>
                </a:cubicBezTo>
                <a:cubicBezTo>
                  <a:pt x="4611274" y="3939975"/>
                  <a:pt x="4610342" y="3938645"/>
                  <a:pt x="4609277" y="3937447"/>
                </a:cubicBezTo>
                <a:cubicBezTo>
                  <a:pt x="4608212" y="3936382"/>
                  <a:pt x="4606881" y="3935449"/>
                  <a:pt x="4605284" y="3934784"/>
                </a:cubicBezTo>
                <a:cubicBezTo>
                  <a:pt x="4603820" y="3934118"/>
                  <a:pt x="4602222" y="3933852"/>
                  <a:pt x="4600226" y="3933852"/>
                </a:cubicBezTo>
                <a:close/>
                <a:moveTo>
                  <a:pt x="4382713" y="3933852"/>
                </a:moveTo>
                <a:cubicBezTo>
                  <a:pt x="4376857" y="3933852"/>
                  <a:pt x="4374327" y="3935849"/>
                  <a:pt x="4372730" y="3937447"/>
                </a:cubicBezTo>
                <a:cubicBezTo>
                  <a:pt x="4370201" y="3940109"/>
                  <a:pt x="4369136" y="3942904"/>
                  <a:pt x="4369136" y="3946897"/>
                </a:cubicBezTo>
                <a:cubicBezTo>
                  <a:pt x="4369136" y="3951025"/>
                  <a:pt x="4370201" y="3953820"/>
                  <a:pt x="4372730" y="3956349"/>
                </a:cubicBezTo>
                <a:cubicBezTo>
                  <a:pt x="4374327" y="3957947"/>
                  <a:pt x="4376857" y="3959810"/>
                  <a:pt x="4382713" y="3959810"/>
                </a:cubicBezTo>
                <a:cubicBezTo>
                  <a:pt x="4384710" y="3959810"/>
                  <a:pt x="4386441" y="3959411"/>
                  <a:pt x="4388038" y="3959011"/>
                </a:cubicBezTo>
                <a:cubicBezTo>
                  <a:pt x="4389502" y="3958479"/>
                  <a:pt x="4390834" y="3957548"/>
                  <a:pt x="4391765" y="3956615"/>
                </a:cubicBezTo>
                <a:cubicBezTo>
                  <a:pt x="4392830" y="3955417"/>
                  <a:pt x="4393762" y="3954086"/>
                  <a:pt x="4394428" y="3952355"/>
                </a:cubicBezTo>
                <a:cubicBezTo>
                  <a:pt x="4395093" y="3950758"/>
                  <a:pt x="4395493" y="3948894"/>
                  <a:pt x="4395493" y="3946897"/>
                </a:cubicBezTo>
                <a:cubicBezTo>
                  <a:pt x="4395493" y="3945034"/>
                  <a:pt x="4395093" y="3943304"/>
                  <a:pt x="4394428" y="3941706"/>
                </a:cubicBezTo>
                <a:cubicBezTo>
                  <a:pt x="4393762" y="3939975"/>
                  <a:pt x="4392830" y="3938645"/>
                  <a:pt x="4391765" y="3937447"/>
                </a:cubicBezTo>
                <a:cubicBezTo>
                  <a:pt x="4390700" y="3936382"/>
                  <a:pt x="4389369" y="3935449"/>
                  <a:pt x="4387772" y="3934784"/>
                </a:cubicBezTo>
                <a:cubicBezTo>
                  <a:pt x="4386308" y="3934118"/>
                  <a:pt x="4384710" y="3933852"/>
                  <a:pt x="4382713" y="3933852"/>
                </a:cubicBezTo>
                <a:close/>
                <a:moveTo>
                  <a:pt x="4165068" y="3933852"/>
                </a:moveTo>
                <a:cubicBezTo>
                  <a:pt x="4159211" y="3933852"/>
                  <a:pt x="4156681" y="3935849"/>
                  <a:pt x="4155084" y="3937447"/>
                </a:cubicBezTo>
                <a:cubicBezTo>
                  <a:pt x="4152555" y="3940109"/>
                  <a:pt x="4151490" y="3942904"/>
                  <a:pt x="4151490" y="3946897"/>
                </a:cubicBezTo>
                <a:cubicBezTo>
                  <a:pt x="4151490" y="3951025"/>
                  <a:pt x="4152555" y="3953820"/>
                  <a:pt x="4155084" y="3956349"/>
                </a:cubicBezTo>
                <a:cubicBezTo>
                  <a:pt x="4156681" y="3957947"/>
                  <a:pt x="4159211" y="3959810"/>
                  <a:pt x="4165068" y="3959810"/>
                </a:cubicBezTo>
                <a:cubicBezTo>
                  <a:pt x="4167064" y="3959810"/>
                  <a:pt x="4168928" y="3959411"/>
                  <a:pt x="4170392" y="3959011"/>
                </a:cubicBezTo>
                <a:cubicBezTo>
                  <a:pt x="4171856" y="3958479"/>
                  <a:pt x="4173188" y="3957548"/>
                  <a:pt x="4174119" y="3956615"/>
                </a:cubicBezTo>
                <a:cubicBezTo>
                  <a:pt x="4175184" y="3955417"/>
                  <a:pt x="4176116" y="3954086"/>
                  <a:pt x="4176782" y="3952355"/>
                </a:cubicBezTo>
                <a:cubicBezTo>
                  <a:pt x="4177447" y="3950758"/>
                  <a:pt x="4177847" y="3948894"/>
                  <a:pt x="4177847" y="3946897"/>
                </a:cubicBezTo>
                <a:cubicBezTo>
                  <a:pt x="4177847" y="3945034"/>
                  <a:pt x="4177447" y="3943304"/>
                  <a:pt x="4176782" y="3941706"/>
                </a:cubicBezTo>
                <a:cubicBezTo>
                  <a:pt x="4176116" y="3939975"/>
                  <a:pt x="4175184" y="3938645"/>
                  <a:pt x="4174119" y="3937447"/>
                </a:cubicBezTo>
                <a:cubicBezTo>
                  <a:pt x="4173054" y="3936382"/>
                  <a:pt x="4171723" y="3935449"/>
                  <a:pt x="4170126" y="3934784"/>
                </a:cubicBezTo>
                <a:cubicBezTo>
                  <a:pt x="4168662" y="3934118"/>
                  <a:pt x="4167064" y="3933852"/>
                  <a:pt x="4165068" y="3933852"/>
                </a:cubicBezTo>
                <a:close/>
                <a:moveTo>
                  <a:pt x="3947640" y="3933852"/>
                </a:moveTo>
                <a:cubicBezTo>
                  <a:pt x="3941782" y="3933852"/>
                  <a:pt x="3939253" y="3935849"/>
                  <a:pt x="3937657" y="3937447"/>
                </a:cubicBezTo>
                <a:cubicBezTo>
                  <a:pt x="3935125" y="3940109"/>
                  <a:pt x="3934062" y="3942904"/>
                  <a:pt x="3934062" y="3946897"/>
                </a:cubicBezTo>
                <a:cubicBezTo>
                  <a:pt x="3934062" y="3951025"/>
                  <a:pt x="3935125" y="3953820"/>
                  <a:pt x="3937657" y="3956349"/>
                </a:cubicBezTo>
                <a:cubicBezTo>
                  <a:pt x="3939253" y="3957947"/>
                  <a:pt x="3941782" y="3959810"/>
                  <a:pt x="3947640" y="3959810"/>
                </a:cubicBezTo>
                <a:cubicBezTo>
                  <a:pt x="3949637" y="3959810"/>
                  <a:pt x="3951500" y="3959411"/>
                  <a:pt x="3952967" y="3959011"/>
                </a:cubicBezTo>
                <a:cubicBezTo>
                  <a:pt x="3954430" y="3958479"/>
                  <a:pt x="3955761" y="3957548"/>
                  <a:pt x="3956693" y="3956615"/>
                </a:cubicBezTo>
                <a:cubicBezTo>
                  <a:pt x="3957759" y="3955417"/>
                  <a:pt x="3958691" y="3954086"/>
                  <a:pt x="3959356" y="3952355"/>
                </a:cubicBezTo>
                <a:cubicBezTo>
                  <a:pt x="3960022" y="3950758"/>
                  <a:pt x="3960422" y="3948894"/>
                  <a:pt x="3960422" y="3946897"/>
                </a:cubicBezTo>
                <a:cubicBezTo>
                  <a:pt x="3960422" y="3945034"/>
                  <a:pt x="3960022" y="3943304"/>
                  <a:pt x="3959356" y="3941706"/>
                </a:cubicBezTo>
                <a:cubicBezTo>
                  <a:pt x="3958691" y="3939975"/>
                  <a:pt x="3957759" y="3938645"/>
                  <a:pt x="3956693" y="3937447"/>
                </a:cubicBezTo>
                <a:cubicBezTo>
                  <a:pt x="3955628" y="3936382"/>
                  <a:pt x="3954298" y="3935449"/>
                  <a:pt x="3952700" y="3934784"/>
                </a:cubicBezTo>
                <a:cubicBezTo>
                  <a:pt x="3951234" y="3934118"/>
                  <a:pt x="3949637" y="3933852"/>
                  <a:pt x="3947640" y="3933852"/>
                </a:cubicBezTo>
                <a:close/>
                <a:moveTo>
                  <a:pt x="3729984" y="3933852"/>
                </a:moveTo>
                <a:cubicBezTo>
                  <a:pt x="3724128" y="3933852"/>
                  <a:pt x="3721597" y="3935849"/>
                  <a:pt x="3719998" y="3937447"/>
                </a:cubicBezTo>
                <a:cubicBezTo>
                  <a:pt x="3717469" y="3940109"/>
                  <a:pt x="3716405" y="3942904"/>
                  <a:pt x="3716405" y="3946897"/>
                </a:cubicBezTo>
                <a:cubicBezTo>
                  <a:pt x="3716405" y="3951025"/>
                  <a:pt x="3717469" y="3953820"/>
                  <a:pt x="3719998" y="3956349"/>
                </a:cubicBezTo>
                <a:cubicBezTo>
                  <a:pt x="3721597" y="3957947"/>
                  <a:pt x="3724128" y="3959810"/>
                  <a:pt x="3729984" y="3959810"/>
                </a:cubicBezTo>
                <a:cubicBezTo>
                  <a:pt x="3732115" y="3959810"/>
                  <a:pt x="3733846" y="3959411"/>
                  <a:pt x="3735309" y="3959011"/>
                </a:cubicBezTo>
                <a:cubicBezTo>
                  <a:pt x="3736774" y="3958479"/>
                  <a:pt x="3738106" y="3957548"/>
                  <a:pt x="3739037" y="3956615"/>
                </a:cubicBezTo>
                <a:cubicBezTo>
                  <a:pt x="3740102" y="3955417"/>
                  <a:pt x="3741034" y="3954086"/>
                  <a:pt x="3741700" y="3952355"/>
                </a:cubicBezTo>
                <a:cubicBezTo>
                  <a:pt x="3742365" y="3950758"/>
                  <a:pt x="3742764" y="3948894"/>
                  <a:pt x="3742764" y="3946897"/>
                </a:cubicBezTo>
                <a:cubicBezTo>
                  <a:pt x="3742764" y="3945034"/>
                  <a:pt x="3742365" y="3943304"/>
                  <a:pt x="3741700" y="3941706"/>
                </a:cubicBezTo>
                <a:cubicBezTo>
                  <a:pt x="3741034" y="3939975"/>
                  <a:pt x="3740102" y="3938645"/>
                  <a:pt x="3739037" y="3937447"/>
                </a:cubicBezTo>
                <a:cubicBezTo>
                  <a:pt x="3737972" y="3936382"/>
                  <a:pt x="3736641" y="3935449"/>
                  <a:pt x="3735044" y="3934784"/>
                </a:cubicBezTo>
                <a:cubicBezTo>
                  <a:pt x="3733579" y="3934118"/>
                  <a:pt x="3731982" y="3933852"/>
                  <a:pt x="3729984" y="3933852"/>
                </a:cubicBezTo>
                <a:close/>
                <a:moveTo>
                  <a:pt x="3512328" y="3933852"/>
                </a:moveTo>
                <a:cubicBezTo>
                  <a:pt x="3506470" y="3933852"/>
                  <a:pt x="3503940" y="3935849"/>
                  <a:pt x="3502341" y="3937447"/>
                </a:cubicBezTo>
                <a:cubicBezTo>
                  <a:pt x="3499811" y="3940109"/>
                  <a:pt x="3498747" y="3942904"/>
                  <a:pt x="3498747" y="3946897"/>
                </a:cubicBezTo>
                <a:cubicBezTo>
                  <a:pt x="3498747" y="3951025"/>
                  <a:pt x="3499811" y="3953820"/>
                  <a:pt x="3502341" y="3956349"/>
                </a:cubicBezTo>
                <a:cubicBezTo>
                  <a:pt x="3503940" y="3957947"/>
                  <a:pt x="3506470" y="3959810"/>
                  <a:pt x="3512328" y="3959810"/>
                </a:cubicBezTo>
                <a:cubicBezTo>
                  <a:pt x="3514458" y="3959810"/>
                  <a:pt x="3516189" y="3959411"/>
                  <a:pt x="3517653" y="3959011"/>
                </a:cubicBezTo>
                <a:cubicBezTo>
                  <a:pt x="3519118" y="3958479"/>
                  <a:pt x="3520450" y="3957548"/>
                  <a:pt x="3521381" y="3956615"/>
                </a:cubicBezTo>
                <a:cubicBezTo>
                  <a:pt x="3522446" y="3955417"/>
                  <a:pt x="3523378" y="3954086"/>
                  <a:pt x="3524044" y="3952355"/>
                </a:cubicBezTo>
                <a:cubicBezTo>
                  <a:pt x="3524709" y="3950758"/>
                  <a:pt x="3525109" y="3948894"/>
                  <a:pt x="3525109" y="3946897"/>
                </a:cubicBezTo>
                <a:cubicBezTo>
                  <a:pt x="3525109" y="3945034"/>
                  <a:pt x="3524709" y="3943304"/>
                  <a:pt x="3524044" y="3941706"/>
                </a:cubicBezTo>
                <a:cubicBezTo>
                  <a:pt x="3523378" y="3939975"/>
                  <a:pt x="3522446" y="3938645"/>
                  <a:pt x="3521381" y="3937447"/>
                </a:cubicBezTo>
                <a:cubicBezTo>
                  <a:pt x="3520316" y="3936382"/>
                  <a:pt x="3518984" y="3935449"/>
                  <a:pt x="3517388" y="3934784"/>
                </a:cubicBezTo>
                <a:cubicBezTo>
                  <a:pt x="3515924" y="3934118"/>
                  <a:pt x="3514325" y="3933852"/>
                  <a:pt x="3512328" y="3933852"/>
                </a:cubicBezTo>
                <a:close/>
                <a:moveTo>
                  <a:pt x="3294805" y="3933852"/>
                </a:moveTo>
                <a:cubicBezTo>
                  <a:pt x="3288947" y="3933852"/>
                  <a:pt x="3286416" y="3935849"/>
                  <a:pt x="3284820" y="3937447"/>
                </a:cubicBezTo>
                <a:cubicBezTo>
                  <a:pt x="3282289" y="3940109"/>
                  <a:pt x="3281226" y="3942904"/>
                  <a:pt x="3281226" y="3946897"/>
                </a:cubicBezTo>
                <a:cubicBezTo>
                  <a:pt x="3281226" y="3951025"/>
                  <a:pt x="3282289" y="3953820"/>
                  <a:pt x="3284820" y="3956349"/>
                </a:cubicBezTo>
                <a:cubicBezTo>
                  <a:pt x="3286416" y="3957947"/>
                  <a:pt x="3288947" y="3959810"/>
                  <a:pt x="3294805" y="3959810"/>
                </a:cubicBezTo>
                <a:cubicBezTo>
                  <a:pt x="3296802" y="3959810"/>
                  <a:pt x="3298533" y="3959411"/>
                  <a:pt x="3300131" y="3959011"/>
                </a:cubicBezTo>
                <a:cubicBezTo>
                  <a:pt x="3301595" y="3958479"/>
                  <a:pt x="3302926" y="3957548"/>
                  <a:pt x="3303858" y="3956615"/>
                </a:cubicBezTo>
                <a:cubicBezTo>
                  <a:pt x="3304923" y="3955417"/>
                  <a:pt x="3305854" y="3954086"/>
                  <a:pt x="3306521" y="3952355"/>
                </a:cubicBezTo>
                <a:cubicBezTo>
                  <a:pt x="3307186" y="3950758"/>
                  <a:pt x="3307584" y="3948894"/>
                  <a:pt x="3307584" y="3946897"/>
                </a:cubicBezTo>
                <a:cubicBezTo>
                  <a:pt x="3307584" y="3945034"/>
                  <a:pt x="3307186" y="3943304"/>
                  <a:pt x="3306521" y="3941706"/>
                </a:cubicBezTo>
                <a:cubicBezTo>
                  <a:pt x="3305854" y="3939975"/>
                  <a:pt x="3304923" y="3938645"/>
                  <a:pt x="3303858" y="3937447"/>
                </a:cubicBezTo>
                <a:cubicBezTo>
                  <a:pt x="3302792" y="3936382"/>
                  <a:pt x="3301461" y="3935449"/>
                  <a:pt x="3299864" y="3934784"/>
                </a:cubicBezTo>
                <a:cubicBezTo>
                  <a:pt x="3298400" y="3934118"/>
                  <a:pt x="3296802" y="3933852"/>
                  <a:pt x="3294805" y="3933852"/>
                </a:cubicBezTo>
                <a:close/>
                <a:moveTo>
                  <a:pt x="3077282" y="3933852"/>
                </a:moveTo>
                <a:cubicBezTo>
                  <a:pt x="3071424" y="3933852"/>
                  <a:pt x="3068895" y="3935849"/>
                  <a:pt x="3067299" y="3937447"/>
                </a:cubicBezTo>
                <a:cubicBezTo>
                  <a:pt x="3064633" y="3940109"/>
                  <a:pt x="3063569" y="3942904"/>
                  <a:pt x="3063569" y="3946897"/>
                </a:cubicBezTo>
                <a:cubicBezTo>
                  <a:pt x="3063569" y="3951025"/>
                  <a:pt x="3064633" y="3953820"/>
                  <a:pt x="3067164" y="3956349"/>
                </a:cubicBezTo>
                <a:cubicBezTo>
                  <a:pt x="3068762" y="3957947"/>
                  <a:pt x="3071291" y="3959810"/>
                  <a:pt x="3077148" y="3959810"/>
                </a:cubicBezTo>
                <a:cubicBezTo>
                  <a:pt x="3079146" y="3959810"/>
                  <a:pt x="3080876" y="3959411"/>
                  <a:pt x="3082607" y="3959011"/>
                </a:cubicBezTo>
                <a:cubicBezTo>
                  <a:pt x="3084072" y="3958479"/>
                  <a:pt x="3085403" y="3957548"/>
                  <a:pt x="3086334" y="3956615"/>
                </a:cubicBezTo>
                <a:cubicBezTo>
                  <a:pt x="3087399" y="3955417"/>
                  <a:pt x="3088331" y="3954086"/>
                  <a:pt x="3088997" y="3952355"/>
                </a:cubicBezTo>
                <a:cubicBezTo>
                  <a:pt x="3089662" y="3950758"/>
                  <a:pt x="3089929" y="3948894"/>
                  <a:pt x="3089929" y="3946897"/>
                </a:cubicBezTo>
                <a:cubicBezTo>
                  <a:pt x="3089929" y="3945034"/>
                  <a:pt x="3089662" y="3943304"/>
                  <a:pt x="3088997" y="3941706"/>
                </a:cubicBezTo>
                <a:cubicBezTo>
                  <a:pt x="3088331" y="3939975"/>
                  <a:pt x="3087399" y="3938645"/>
                  <a:pt x="3086334" y="3937447"/>
                </a:cubicBezTo>
                <a:cubicBezTo>
                  <a:pt x="3085270" y="3936382"/>
                  <a:pt x="3083938" y="3935449"/>
                  <a:pt x="3082341" y="3934784"/>
                </a:cubicBezTo>
                <a:cubicBezTo>
                  <a:pt x="3080876" y="3934118"/>
                  <a:pt x="3079279" y="3933852"/>
                  <a:pt x="3077282" y="3933852"/>
                </a:cubicBezTo>
                <a:close/>
                <a:moveTo>
                  <a:pt x="2859492" y="3933852"/>
                </a:moveTo>
                <a:cubicBezTo>
                  <a:pt x="2853635" y="3933852"/>
                  <a:pt x="2851106" y="3935849"/>
                  <a:pt x="2849506" y="3937447"/>
                </a:cubicBezTo>
                <a:cubicBezTo>
                  <a:pt x="2846973" y="3940109"/>
                  <a:pt x="2845910" y="3942904"/>
                  <a:pt x="2845910" y="3946897"/>
                </a:cubicBezTo>
                <a:cubicBezTo>
                  <a:pt x="2845910" y="3951025"/>
                  <a:pt x="2846973" y="3953820"/>
                  <a:pt x="2849506" y="3956349"/>
                </a:cubicBezTo>
                <a:cubicBezTo>
                  <a:pt x="2851106" y="3957947"/>
                  <a:pt x="2853635" y="3959810"/>
                  <a:pt x="2859492" y="3959810"/>
                </a:cubicBezTo>
                <a:cubicBezTo>
                  <a:pt x="2861489" y="3959810"/>
                  <a:pt x="2863353" y="3959411"/>
                  <a:pt x="2864817" y="3959011"/>
                </a:cubicBezTo>
                <a:cubicBezTo>
                  <a:pt x="2866415" y="3958479"/>
                  <a:pt x="2867614" y="3957548"/>
                  <a:pt x="2868544" y="3956615"/>
                </a:cubicBezTo>
                <a:cubicBezTo>
                  <a:pt x="2869609" y="3955417"/>
                  <a:pt x="2870542" y="3954086"/>
                  <a:pt x="2871207" y="3952355"/>
                </a:cubicBezTo>
                <a:cubicBezTo>
                  <a:pt x="2871740" y="3950758"/>
                  <a:pt x="2872138" y="3948894"/>
                  <a:pt x="2872138" y="3946897"/>
                </a:cubicBezTo>
                <a:cubicBezTo>
                  <a:pt x="2872138" y="3945034"/>
                  <a:pt x="2871872" y="3943304"/>
                  <a:pt x="2871207" y="3941706"/>
                </a:cubicBezTo>
                <a:cubicBezTo>
                  <a:pt x="2870542" y="3939975"/>
                  <a:pt x="2869609" y="3938645"/>
                  <a:pt x="2868544" y="3937447"/>
                </a:cubicBezTo>
                <a:cubicBezTo>
                  <a:pt x="2867480" y="3936382"/>
                  <a:pt x="2866149" y="3935449"/>
                  <a:pt x="2864552" y="3934784"/>
                </a:cubicBezTo>
                <a:cubicBezTo>
                  <a:pt x="2863088" y="3934118"/>
                  <a:pt x="2861489" y="3933852"/>
                  <a:pt x="2859492" y="3933852"/>
                </a:cubicBezTo>
                <a:close/>
                <a:moveTo>
                  <a:pt x="2641836" y="3933852"/>
                </a:moveTo>
                <a:cubicBezTo>
                  <a:pt x="2635979" y="3933852"/>
                  <a:pt x="2633449" y="3935849"/>
                  <a:pt x="2631853" y="3937447"/>
                </a:cubicBezTo>
                <a:cubicBezTo>
                  <a:pt x="2629322" y="3940109"/>
                  <a:pt x="2628258" y="3942904"/>
                  <a:pt x="2628258" y="3946897"/>
                </a:cubicBezTo>
                <a:cubicBezTo>
                  <a:pt x="2628258" y="3951025"/>
                  <a:pt x="2629322" y="3953820"/>
                  <a:pt x="2631853" y="3956349"/>
                </a:cubicBezTo>
                <a:cubicBezTo>
                  <a:pt x="2633449" y="3957947"/>
                  <a:pt x="2635979" y="3959810"/>
                  <a:pt x="2641836" y="3959810"/>
                </a:cubicBezTo>
                <a:cubicBezTo>
                  <a:pt x="2643833" y="3959810"/>
                  <a:pt x="2645697" y="3959411"/>
                  <a:pt x="2647161" y="3959011"/>
                </a:cubicBezTo>
                <a:cubicBezTo>
                  <a:pt x="2648758" y="3958479"/>
                  <a:pt x="2649956" y="3957548"/>
                  <a:pt x="2650888" y="3956615"/>
                </a:cubicBezTo>
                <a:cubicBezTo>
                  <a:pt x="2651953" y="3955417"/>
                  <a:pt x="2652885" y="3954086"/>
                  <a:pt x="2653551" y="3952355"/>
                </a:cubicBezTo>
                <a:cubicBezTo>
                  <a:pt x="2654083" y="3950758"/>
                  <a:pt x="2654482" y="3948894"/>
                  <a:pt x="2654482" y="3946897"/>
                </a:cubicBezTo>
                <a:cubicBezTo>
                  <a:pt x="2654482" y="3945034"/>
                  <a:pt x="2654216" y="3943304"/>
                  <a:pt x="2653551" y="3941706"/>
                </a:cubicBezTo>
                <a:cubicBezTo>
                  <a:pt x="2652885" y="3939975"/>
                  <a:pt x="2651953" y="3938645"/>
                  <a:pt x="2650888" y="3937447"/>
                </a:cubicBezTo>
                <a:cubicBezTo>
                  <a:pt x="2649823" y="3936382"/>
                  <a:pt x="2648492" y="3935449"/>
                  <a:pt x="2646895" y="3934784"/>
                </a:cubicBezTo>
                <a:cubicBezTo>
                  <a:pt x="2645430" y="3934118"/>
                  <a:pt x="2643833" y="3933852"/>
                  <a:pt x="2641836" y="3933852"/>
                </a:cubicBezTo>
                <a:close/>
                <a:moveTo>
                  <a:pt x="2424179" y="3933852"/>
                </a:moveTo>
                <a:cubicBezTo>
                  <a:pt x="2418323" y="3933852"/>
                  <a:pt x="2415793" y="3935849"/>
                  <a:pt x="2414196" y="3937447"/>
                </a:cubicBezTo>
                <a:cubicBezTo>
                  <a:pt x="2411666" y="3940109"/>
                  <a:pt x="2410602" y="3942904"/>
                  <a:pt x="2410602" y="3946897"/>
                </a:cubicBezTo>
                <a:cubicBezTo>
                  <a:pt x="2410602" y="3951025"/>
                  <a:pt x="2411666" y="3953820"/>
                  <a:pt x="2414196" y="3956349"/>
                </a:cubicBezTo>
                <a:cubicBezTo>
                  <a:pt x="2415793" y="3957947"/>
                  <a:pt x="2418323" y="3959810"/>
                  <a:pt x="2424179" y="3959810"/>
                </a:cubicBezTo>
                <a:cubicBezTo>
                  <a:pt x="2426309" y="3959810"/>
                  <a:pt x="2428041" y="3959411"/>
                  <a:pt x="2429505" y="3959011"/>
                </a:cubicBezTo>
                <a:cubicBezTo>
                  <a:pt x="2431103" y="3958479"/>
                  <a:pt x="2432300" y="3957548"/>
                  <a:pt x="2433232" y="3956615"/>
                </a:cubicBezTo>
                <a:cubicBezTo>
                  <a:pt x="2434297" y="3955417"/>
                  <a:pt x="2435228" y="3954086"/>
                  <a:pt x="2435895" y="3952355"/>
                </a:cubicBezTo>
                <a:cubicBezTo>
                  <a:pt x="2436426" y="3950758"/>
                  <a:pt x="2436826" y="3948894"/>
                  <a:pt x="2436826" y="3946897"/>
                </a:cubicBezTo>
                <a:cubicBezTo>
                  <a:pt x="2436826" y="3945034"/>
                  <a:pt x="2436560" y="3943304"/>
                  <a:pt x="2435895" y="3941706"/>
                </a:cubicBezTo>
                <a:cubicBezTo>
                  <a:pt x="2435228" y="3939975"/>
                  <a:pt x="2434297" y="3938645"/>
                  <a:pt x="2433232" y="3937447"/>
                </a:cubicBezTo>
                <a:cubicBezTo>
                  <a:pt x="2432168" y="3936382"/>
                  <a:pt x="2430836" y="3935449"/>
                  <a:pt x="2429239" y="3934784"/>
                </a:cubicBezTo>
                <a:cubicBezTo>
                  <a:pt x="2427775" y="3934118"/>
                  <a:pt x="2426177" y="3933852"/>
                  <a:pt x="2424179" y="3933852"/>
                </a:cubicBezTo>
                <a:close/>
                <a:moveTo>
                  <a:pt x="2206523" y="3933852"/>
                </a:moveTo>
                <a:cubicBezTo>
                  <a:pt x="2200666" y="3933852"/>
                  <a:pt x="2198137" y="3935849"/>
                  <a:pt x="2196540" y="3937447"/>
                </a:cubicBezTo>
                <a:cubicBezTo>
                  <a:pt x="2194010" y="3940109"/>
                  <a:pt x="2192945" y="3942904"/>
                  <a:pt x="2192945" y="3946897"/>
                </a:cubicBezTo>
                <a:cubicBezTo>
                  <a:pt x="2192945" y="3951025"/>
                  <a:pt x="2194010" y="3953820"/>
                  <a:pt x="2196540" y="3956349"/>
                </a:cubicBezTo>
                <a:cubicBezTo>
                  <a:pt x="2198137" y="3957947"/>
                  <a:pt x="2200666" y="3959810"/>
                  <a:pt x="2206523" y="3959810"/>
                </a:cubicBezTo>
                <a:cubicBezTo>
                  <a:pt x="2208653" y="3959810"/>
                  <a:pt x="2210384" y="3959411"/>
                  <a:pt x="2211848" y="3959011"/>
                </a:cubicBezTo>
                <a:cubicBezTo>
                  <a:pt x="2213445" y="3958479"/>
                  <a:pt x="2214643" y="3957548"/>
                  <a:pt x="2215575" y="3956615"/>
                </a:cubicBezTo>
                <a:cubicBezTo>
                  <a:pt x="2216640" y="3955417"/>
                  <a:pt x="2217572" y="3954086"/>
                  <a:pt x="2218238" y="3952355"/>
                </a:cubicBezTo>
                <a:cubicBezTo>
                  <a:pt x="2218770" y="3950758"/>
                  <a:pt x="2219169" y="3948894"/>
                  <a:pt x="2219169" y="3946897"/>
                </a:cubicBezTo>
                <a:cubicBezTo>
                  <a:pt x="2219169" y="3945034"/>
                  <a:pt x="2218903" y="3943304"/>
                  <a:pt x="2218238" y="3941706"/>
                </a:cubicBezTo>
                <a:cubicBezTo>
                  <a:pt x="2217572" y="3939975"/>
                  <a:pt x="2216640" y="3938645"/>
                  <a:pt x="2215575" y="3937447"/>
                </a:cubicBezTo>
                <a:cubicBezTo>
                  <a:pt x="2214510" y="3936382"/>
                  <a:pt x="2213179" y="3935449"/>
                  <a:pt x="2211582" y="3934784"/>
                </a:cubicBezTo>
                <a:cubicBezTo>
                  <a:pt x="2210117" y="3934118"/>
                  <a:pt x="2208520" y="3933852"/>
                  <a:pt x="2206523" y="3933852"/>
                </a:cubicBezTo>
                <a:close/>
                <a:moveTo>
                  <a:pt x="1988999" y="3933852"/>
                </a:moveTo>
                <a:cubicBezTo>
                  <a:pt x="1983142" y="3933852"/>
                  <a:pt x="1980613" y="3935849"/>
                  <a:pt x="1979016" y="3937447"/>
                </a:cubicBezTo>
                <a:cubicBezTo>
                  <a:pt x="1976486" y="3940109"/>
                  <a:pt x="1975422" y="3942904"/>
                  <a:pt x="1975422" y="3946897"/>
                </a:cubicBezTo>
                <a:cubicBezTo>
                  <a:pt x="1975422" y="3951025"/>
                  <a:pt x="1976486" y="3953820"/>
                  <a:pt x="1979016" y="3956349"/>
                </a:cubicBezTo>
                <a:cubicBezTo>
                  <a:pt x="1980613" y="3957947"/>
                  <a:pt x="1983142" y="3959810"/>
                  <a:pt x="1988999" y="3959810"/>
                </a:cubicBezTo>
                <a:cubicBezTo>
                  <a:pt x="1990996" y="3959810"/>
                  <a:pt x="1992728" y="3959411"/>
                  <a:pt x="1994324" y="3959011"/>
                </a:cubicBezTo>
                <a:cubicBezTo>
                  <a:pt x="1995922" y="3958479"/>
                  <a:pt x="1997121" y="3957548"/>
                  <a:pt x="1998052" y="3956615"/>
                </a:cubicBezTo>
                <a:cubicBezTo>
                  <a:pt x="1999116" y="3955417"/>
                  <a:pt x="2000049" y="3954086"/>
                  <a:pt x="2000715" y="3952355"/>
                </a:cubicBezTo>
                <a:cubicBezTo>
                  <a:pt x="2001246" y="3950758"/>
                  <a:pt x="2001645" y="3948894"/>
                  <a:pt x="2001645" y="3946897"/>
                </a:cubicBezTo>
                <a:cubicBezTo>
                  <a:pt x="2001645" y="3945034"/>
                  <a:pt x="2001380" y="3943304"/>
                  <a:pt x="2000715" y="3941706"/>
                </a:cubicBezTo>
                <a:cubicBezTo>
                  <a:pt x="2000049" y="3939975"/>
                  <a:pt x="1999116" y="3938645"/>
                  <a:pt x="1998052" y="3937447"/>
                </a:cubicBezTo>
                <a:cubicBezTo>
                  <a:pt x="1996987" y="3936382"/>
                  <a:pt x="1995656" y="3935449"/>
                  <a:pt x="1994058" y="3934784"/>
                </a:cubicBezTo>
                <a:cubicBezTo>
                  <a:pt x="1992594" y="3934118"/>
                  <a:pt x="1990996" y="3933852"/>
                  <a:pt x="1988999" y="3933852"/>
                </a:cubicBezTo>
                <a:close/>
                <a:moveTo>
                  <a:pt x="1771363" y="3933852"/>
                </a:moveTo>
                <a:cubicBezTo>
                  <a:pt x="1765505" y="3933852"/>
                  <a:pt x="1762977" y="3935849"/>
                  <a:pt x="1761380" y="3937447"/>
                </a:cubicBezTo>
                <a:cubicBezTo>
                  <a:pt x="1758851" y="3940109"/>
                  <a:pt x="1757786" y="3942904"/>
                  <a:pt x="1757786" y="3946897"/>
                </a:cubicBezTo>
                <a:cubicBezTo>
                  <a:pt x="1757786" y="3951025"/>
                  <a:pt x="1758851" y="3953820"/>
                  <a:pt x="1761380" y="3956349"/>
                </a:cubicBezTo>
                <a:cubicBezTo>
                  <a:pt x="1762977" y="3957947"/>
                  <a:pt x="1765505" y="3959810"/>
                  <a:pt x="1771363" y="3959810"/>
                </a:cubicBezTo>
                <a:cubicBezTo>
                  <a:pt x="1773360" y="3959810"/>
                  <a:pt x="1775223" y="3959411"/>
                  <a:pt x="1776687" y="3959011"/>
                </a:cubicBezTo>
                <a:cubicBezTo>
                  <a:pt x="1778151" y="3958479"/>
                  <a:pt x="1779482" y="3957548"/>
                  <a:pt x="1780414" y="3956615"/>
                </a:cubicBezTo>
                <a:cubicBezTo>
                  <a:pt x="1781479" y="3955417"/>
                  <a:pt x="1782411" y="3954086"/>
                  <a:pt x="1783077" y="3952355"/>
                </a:cubicBezTo>
                <a:cubicBezTo>
                  <a:pt x="1783742" y="3950758"/>
                  <a:pt x="1784142" y="3948894"/>
                  <a:pt x="1784142" y="3946897"/>
                </a:cubicBezTo>
                <a:cubicBezTo>
                  <a:pt x="1784142" y="3945034"/>
                  <a:pt x="1783742" y="3943304"/>
                  <a:pt x="1783077" y="3941706"/>
                </a:cubicBezTo>
                <a:cubicBezTo>
                  <a:pt x="1782411" y="3939975"/>
                  <a:pt x="1781479" y="3938645"/>
                  <a:pt x="1780414" y="3937447"/>
                </a:cubicBezTo>
                <a:cubicBezTo>
                  <a:pt x="1779349" y="3936382"/>
                  <a:pt x="1778019" y="3935449"/>
                  <a:pt x="1776422" y="3934784"/>
                </a:cubicBezTo>
                <a:cubicBezTo>
                  <a:pt x="1774957" y="3934118"/>
                  <a:pt x="1773360" y="3933852"/>
                  <a:pt x="1771363" y="3933852"/>
                </a:cubicBezTo>
                <a:close/>
                <a:moveTo>
                  <a:pt x="1553723" y="3933852"/>
                </a:moveTo>
                <a:cubicBezTo>
                  <a:pt x="1547866" y="3933852"/>
                  <a:pt x="1545337" y="3935849"/>
                  <a:pt x="1543740" y="3937447"/>
                </a:cubicBezTo>
                <a:cubicBezTo>
                  <a:pt x="1541210" y="3940109"/>
                  <a:pt x="1540146" y="3942904"/>
                  <a:pt x="1540146" y="3946897"/>
                </a:cubicBezTo>
                <a:cubicBezTo>
                  <a:pt x="1540146" y="3951025"/>
                  <a:pt x="1541210" y="3953820"/>
                  <a:pt x="1543740" y="3956349"/>
                </a:cubicBezTo>
                <a:cubicBezTo>
                  <a:pt x="1545337" y="3957947"/>
                  <a:pt x="1547866" y="3959810"/>
                  <a:pt x="1553723" y="3959810"/>
                </a:cubicBezTo>
                <a:cubicBezTo>
                  <a:pt x="1555720" y="3959810"/>
                  <a:pt x="1557584" y="3959411"/>
                  <a:pt x="1559048" y="3959011"/>
                </a:cubicBezTo>
                <a:cubicBezTo>
                  <a:pt x="1560512" y="3958479"/>
                  <a:pt x="1561844" y="3957548"/>
                  <a:pt x="1562775" y="3956615"/>
                </a:cubicBezTo>
                <a:cubicBezTo>
                  <a:pt x="1563840" y="3955417"/>
                  <a:pt x="1564772" y="3954086"/>
                  <a:pt x="1565438" y="3952355"/>
                </a:cubicBezTo>
                <a:cubicBezTo>
                  <a:pt x="1566103" y="3950758"/>
                  <a:pt x="1566503" y="3948894"/>
                  <a:pt x="1566503" y="3946897"/>
                </a:cubicBezTo>
                <a:cubicBezTo>
                  <a:pt x="1566503" y="3945034"/>
                  <a:pt x="1566103" y="3943304"/>
                  <a:pt x="1565438" y="3941706"/>
                </a:cubicBezTo>
                <a:cubicBezTo>
                  <a:pt x="1564772" y="3939975"/>
                  <a:pt x="1563840" y="3938645"/>
                  <a:pt x="1562775" y="3937447"/>
                </a:cubicBezTo>
                <a:cubicBezTo>
                  <a:pt x="1561710" y="3936382"/>
                  <a:pt x="1560379" y="3935449"/>
                  <a:pt x="1558782" y="3934784"/>
                </a:cubicBezTo>
                <a:cubicBezTo>
                  <a:pt x="1557318" y="3934118"/>
                  <a:pt x="1555720" y="3933852"/>
                  <a:pt x="1553723" y="3933852"/>
                </a:cubicBezTo>
                <a:close/>
                <a:moveTo>
                  <a:pt x="1336079" y="3933852"/>
                </a:moveTo>
                <a:cubicBezTo>
                  <a:pt x="1330221" y="3933852"/>
                  <a:pt x="1327692" y="3935849"/>
                  <a:pt x="1326096" y="3937447"/>
                </a:cubicBezTo>
                <a:cubicBezTo>
                  <a:pt x="1323565" y="3940109"/>
                  <a:pt x="1322501" y="3942904"/>
                  <a:pt x="1322501" y="3946897"/>
                </a:cubicBezTo>
                <a:cubicBezTo>
                  <a:pt x="1322501" y="3951025"/>
                  <a:pt x="1323565" y="3953820"/>
                  <a:pt x="1326096" y="3956349"/>
                </a:cubicBezTo>
                <a:cubicBezTo>
                  <a:pt x="1327692" y="3957947"/>
                  <a:pt x="1330221" y="3959810"/>
                  <a:pt x="1336079" y="3959810"/>
                </a:cubicBezTo>
                <a:cubicBezTo>
                  <a:pt x="1338209" y="3959810"/>
                  <a:pt x="1339939" y="3959411"/>
                  <a:pt x="1341405" y="3959011"/>
                </a:cubicBezTo>
                <a:cubicBezTo>
                  <a:pt x="1342869" y="3958479"/>
                  <a:pt x="1344200" y="3957548"/>
                  <a:pt x="1345133" y="3956615"/>
                </a:cubicBezTo>
                <a:cubicBezTo>
                  <a:pt x="1346196" y="3955417"/>
                  <a:pt x="1347130" y="3954086"/>
                  <a:pt x="1347795" y="3952355"/>
                </a:cubicBezTo>
                <a:cubicBezTo>
                  <a:pt x="1348460" y="3950758"/>
                  <a:pt x="1348861" y="3948894"/>
                  <a:pt x="1348861" y="3946897"/>
                </a:cubicBezTo>
                <a:cubicBezTo>
                  <a:pt x="1348861" y="3945034"/>
                  <a:pt x="1348460" y="3943304"/>
                  <a:pt x="1347795" y="3941706"/>
                </a:cubicBezTo>
                <a:cubicBezTo>
                  <a:pt x="1347130" y="3939975"/>
                  <a:pt x="1346196" y="3938645"/>
                  <a:pt x="1345133" y="3937447"/>
                </a:cubicBezTo>
                <a:cubicBezTo>
                  <a:pt x="1344067" y="3936382"/>
                  <a:pt x="1342736" y="3935449"/>
                  <a:pt x="1341138" y="3934784"/>
                </a:cubicBezTo>
                <a:cubicBezTo>
                  <a:pt x="1339675" y="3934118"/>
                  <a:pt x="1338076" y="3933852"/>
                  <a:pt x="1336079" y="3933852"/>
                </a:cubicBezTo>
                <a:close/>
                <a:moveTo>
                  <a:pt x="1118567" y="3933852"/>
                </a:moveTo>
                <a:cubicBezTo>
                  <a:pt x="1112709" y="3933852"/>
                  <a:pt x="1110179" y="3935849"/>
                  <a:pt x="1108582" y="3937447"/>
                </a:cubicBezTo>
                <a:cubicBezTo>
                  <a:pt x="1105919" y="3940109"/>
                  <a:pt x="1104855" y="3942904"/>
                  <a:pt x="1104855" y="3946897"/>
                </a:cubicBezTo>
                <a:cubicBezTo>
                  <a:pt x="1104855" y="3951025"/>
                  <a:pt x="1105919" y="3953820"/>
                  <a:pt x="1108449" y="3956349"/>
                </a:cubicBezTo>
                <a:cubicBezTo>
                  <a:pt x="1110047" y="3957947"/>
                  <a:pt x="1112576" y="3959810"/>
                  <a:pt x="1118434" y="3959810"/>
                </a:cubicBezTo>
                <a:cubicBezTo>
                  <a:pt x="1120564" y="3959810"/>
                  <a:pt x="1122296" y="3959411"/>
                  <a:pt x="1123891" y="3959011"/>
                </a:cubicBezTo>
                <a:cubicBezTo>
                  <a:pt x="1125356" y="3958479"/>
                  <a:pt x="1126690" y="3957548"/>
                  <a:pt x="1127620" y="3956615"/>
                </a:cubicBezTo>
                <a:cubicBezTo>
                  <a:pt x="1128685" y="3955417"/>
                  <a:pt x="1129617" y="3954086"/>
                  <a:pt x="1130284" y="3952355"/>
                </a:cubicBezTo>
                <a:cubicBezTo>
                  <a:pt x="1130948" y="3950758"/>
                  <a:pt x="1131349" y="3948894"/>
                  <a:pt x="1131349" y="3946897"/>
                </a:cubicBezTo>
                <a:cubicBezTo>
                  <a:pt x="1131349" y="3945034"/>
                  <a:pt x="1130948" y="3943304"/>
                  <a:pt x="1130284" y="3941706"/>
                </a:cubicBezTo>
                <a:cubicBezTo>
                  <a:pt x="1129617" y="3939975"/>
                  <a:pt x="1128685" y="3938645"/>
                  <a:pt x="1127620" y="3937447"/>
                </a:cubicBezTo>
                <a:cubicBezTo>
                  <a:pt x="1126555" y="3936382"/>
                  <a:pt x="1125224" y="3935449"/>
                  <a:pt x="1123625" y="3934784"/>
                </a:cubicBezTo>
                <a:cubicBezTo>
                  <a:pt x="1122163" y="3934118"/>
                  <a:pt x="1120564" y="3933852"/>
                  <a:pt x="1118567" y="3933852"/>
                </a:cubicBezTo>
                <a:close/>
                <a:moveTo>
                  <a:pt x="901055" y="3933852"/>
                </a:moveTo>
                <a:cubicBezTo>
                  <a:pt x="895197" y="3933852"/>
                  <a:pt x="892668" y="3935849"/>
                  <a:pt x="891071" y="3937447"/>
                </a:cubicBezTo>
                <a:cubicBezTo>
                  <a:pt x="888408" y="3940109"/>
                  <a:pt x="887344" y="3942904"/>
                  <a:pt x="887344" y="3946897"/>
                </a:cubicBezTo>
                <a:cubicBezTo>
                  <a:pt x="887344" y="3951025"/>
                  <a:pt x="888408" y="3953820"/>
                  <a:pt x="890938" y="3956349"/>
                </a:cubicBezTo>
                <a:cubicBezTo>
                  <a:pt x="892535" y="3957947"/>
                  <a:pt x="895064" y="3959810"/>
                  <a:pt x="900921" y="3959810"/>
                </a:cubicBezTo>
                <a:cubicBezTo>
                  <a:pt x="902918" y="3959810"/>
                  <a:pt x="904649" y="3959411"/>
                  <a:pt x="906379" y="3959011"/>
                </a:cubicBezTo>
                <a:cubicBezTo>
                  <a:pt x="907843" y="3958479"/>
                  <a:pt x="909175" y="3957548"/>
                  <a:pt x="910107" y="3956615"/>
                </a:cubicBezTo>
                <a:cubicBezTo>
                  <a:pt x="911171" y="3955417"/>
                  <a:pt x="912103" y="3954086"/>
                  <a:pt x="912769" y="3952355"/>
                </a:cubicBezTo>
                <a:cubicBezTo>
                  <a:pt x="913434" y="3950758"/>
                  <a:pt x="913834" y="3948894"/>
                  <a:pt x="913834" y="3946897"/>
                </a:cubicBezTo>
                <a:cubicBezTo>
                  <a:pt x="913834" y="3945034"/>
                  <a:pt x="913434" y="3943304"/>
                  <a:pt x="912769" y="3941706"/>
                </a:cubicBezTo>
                <a:cubicBezTo>
                  <a:pt x="912103" y="3939975"/>
                  <a:pt x="911171" y="3938645"/>
                  <a:pt x="910107" y="3937447"/>
                </a:cubicBezTo>
                <a:cubicBezTo>
                  <a:pt x="909042" y="3936382"/>
                  <a:pt x="907710" y="3935449"/>
                  <a:pt x="906113" y="3934784"/>
                </a:cubicBezTo>
                <a:cubicBezTo>
                  <a:pt x="904649" y="3934118"/>
                  <a:pt x="903051" y="3933852"/>
                  <a:pt x="901055" y="3933852"/>
                </a:cubicBezTo>
                <a:close/>
                <a:moveTo>
                  <a:pt x="683280" y="3933852"/>
                </a:moveTo>
                <a:cubicBezTo>
                  <a:pt x="677423" y="3933852"/>
                  <a:pt x="674894" y="3935849"/>
                  <a:pt x="673296" y="3937447"/>
                </a:cubicBezTo>
                <a:cubicBezTo>
                  <a:pt x="670766" y="3940109"/>
                  <a:pt x="669703" y="3942904"/>
                  <a:pt x="669703" y="3946897"/>
                </a:cubicBezTo>
                <a:cubicBezTo>
                  <a:pt x="669703" y="3951025"/>
                  <a:pt x="670766" y="3953820"/>
                  <a:pt x="673296" y="3956349"/>
                </a:cubicBezTo>
                <a:cubicBezTo>
                  <a:pt x="674894" y="3957947"/>
                  <a:pt x="677423" y="3959810"/>
                  <a:pt x="683280" y="3959810"/>
                </a:cubicBezTo>
                <a:cubicBezTo>
                  <a:pt x="685277" y="3959810"/>
                  <a:pt x="687141" y="3959411"/>
                  <a:pt x="688605" y="3959011"/>
                </a:cubicBezTo>
                <a:cubicBezTo>
                  <a:pt x="690069" y="3958479"/>
                  <a:pt x="691401" y="3957548"/>
                  <a:pt x="692332" y="3956615"/>
                </a:cubicBezTo>
                <a:cubicBezTo>
                  <a:pt x="693397" y="3955417"/>
                  <a:pt x="694329" y="3954086"/>
                  <a:pt x="694995" y="3952355"/>
                </a:cubicBezTo>
                <a:cubicBezTo>
                  <a:pt x="695660" y="3950758"/>
                  <a:pt x="696060" y="3948894"/>
                  <a:pt x="696060" y="3946897"/>
                </a:cubicBezTo>
                <a:cubicBezTo>
                  <a:pt x="696060" y="3945034"/>
                  <a:pt x="695660" y="3943304"/>
                  <a:pt x="694995" y="3941706"/>
                </a:cubicBezTo>
                <a:cubicBezTo>
                  <a:pt x="694329" y="3939975"/>
                  <a:pt x="693397" y="3938645"/>
                  <a:pt x="692332" y="3937447"/>
                </a:cubicBezTo>
                <a:cubicBezTo>
                  <a:pt x="691267" y="3936382"/>
                  <a:pt x="689936" y="3935449"/>
                  <a:pt x="688339" y="3934784"/>
                </a:cubicBezTo>
                <a:cubicBezTo>
                  <a:pt x="686875" y="3934118"/>
                  <a:pt x="685277" y="3933852"/>
                  <a:pt x="683280" y="3933852"/>
                </a:cubicBezTo>
                <a:close/>
                <a:moveTo>
                  <a:pt x="465637" y="3933852"/>
                </a:moveTo>
                <a:cubicBezTo>
                  <a:pt x="459780" y="3933852"/>
                  <a:pt x="457251" y="3935849"/>
                  <a:pt x="455654" y="3937447"/>
                </a:cubicBezTo>
                <a:cubicBezTo>
                  <a:pt x="453124" y="3940109"/>
                  <a:pt x="452060" y="3942904"/>
                  <a:pt x="452060" y="3946897"/>
                </a:cubicBezTo>
                <a:cubicBezTo>
                  <a:pt x="452060" y="3951025"/>
                  <a:pt x="453124" y="3953820"/>
                  <a:pt x="455654" y="3956349"/>
                </a:cubicBezTo>
                <a:cubicBezTo>
                  <a:pt x="457251" y="3957947"/>
                  <a:pt x="459780" y="3959810"/>
                  <a:pt x="465637" y="3959810"/>
                </a:cubicBezTo>
                <a:cubicBezTo>
                  <a:pt x="467635" y="3959810"/>
                  <a:pt x="469498" y="3959411"/>
                  <a:pt x="470962" y="3959011"/>
                </a:cubicBezTo>
                <a:cubicBezTo>
                  <a:pt x="472426" y="3958479"/>
                  <a:pt x="473758" y="3957548"/>
                  <a:pt x="474689" y="3956615"/>
                </a:cubicBezTo>
                <a:cubicBezTo>
                  <a:pt x="475754" y="3955417"/>
                  <a:pt x="476686" y="3954086"/>
                  <a:pt x="477353" y="3952355"/>
                </a:cubicBezTo>
                <a:cubicBezTo>
                  <a:pt x="478018" y="3950758"/>
                  <a:pt x="478418" y="3948894"/>
                  <a:pt x="478418" y="3946897"/>
                </a:cubicBezTo>
                <a:cubicBezTo>
                  <a:pt x="478418" y="3945034"/>
                  <a:pt x="478018" y="3943304"/>
                  <a:pt x="477353" y="3941706"/>
                </a:cubicBezTo>
                <a:cubicBezTo>
                  <a:pt x="476686" y="3939975"/>
                  <a:pt x="475754" y="3938645"/>
                  <a:pt x="474689" y="3937447"/>
                </a:cubicBezTo>
                <a:cubicBezTo>
                  <a:pt x="473625" y="3936382"/>
                  <a:pt x="472293" y="3935449"/>
                  <a:pt x="470697" y="3934784"/>
                </a:cubicBezTo>
                <a:cubicBezTo>
                  <a:pt x="469232" y="3934118"/>
                  <a:pt x="467635" y="3933852"/>
                  <a:pt x="465637" y="3933852"/>
                </a:cubicBezTo>
                <a:close/>
                <a:moveTo>
                  <a:pt x="247995" y="3933852"/>
                </a:moveTo>
                <a:cubicBezTo>
                  <a:pt x="242138" y="3933852"/>
                  <a:pt x="239609" y="3935849"/>
                  <a:pt x="238012" y="3937447"/>
                </a:cubicBezTo>
                <a:cubicBezTo>
                  <a:pt x="235482" y="3940109"/>
                  <a:pt x="234419" y="3942904"/>
                  <a:pt x="234419" y="3946897"/>
                </a:cubicBezTo>
                <a:cubicBezTo>
                  <a:pt x="234419" y="3951025"/>
                  <a:pt x="235482" y="3953820"/>
                  <a:pt x="238012" y="3956349"/>
                </a:cubicBezTo>
                <a:cubicBezTo>
                  <a:pt x="239609" y="3957947"/>
                  <a:pt x="242138" y="3959810"/>
                  <a:pt x="247995" y="3959810"/>
                </a:cubicBezTo>
                <a:cubicBezTo>
                  <a:pt x="250125" y="3959810"/>
                  <a:pt x="251856" y="3959411"/>
                  <a:pt x="253320" y="3959011"/>
                </a:cubicBezTo>
                <a:cubicBezTo>
                  <a:pt x="254784" y="3958479"/>
                  <a:pt x="256114" y="3957548"/>
                  <a:pt x="257046" y="3956615"/>
                </a:cubicBezTo>
                <a:cubicBezTo>
                  <a:pt x="258111" y="3955417"/>
                  <a:pt x="259043" y="3954086"/>
                  <a:pt x="259710" y="3952355"/>
                </a:cubicBezTo>
                <a:cubicBezTo>
                  <a:pt x="260375" y="3950758"/>
                  <a:pt x="260775" y="3948894"/>
                  <a:pt x="260775" y="3946897"/>
                </a:cubicBezTo>
                <a:cubicBezTo>
                  <a:pt x="260775" y="3945034"/>
                  <a:pt x="260375" y="3943304"/>
                  <a:pt x="259710" y="3941706"/>
                </a:cubicBezTo>
                <a:cubicBezTo>
                  <a:pt x="259043" y="3939975"/>
                  <a:pt x="258111" y="3938645"/>
                  <a:pt x="257046" y="3937447"/>
                </a:cubicBezTo>
                <a:cubicBezTo>
                  <a:pt x="255981" y="3936382"/>
                  <a:pt x="254651" y="3935449"/>
                  <a:pt x="253054" y="3934784"/>
                </a:cubicBezTo>
                <a:cubicBezTo>
                  <a:pt x="251589" y="3934118"/>
                  <a:pt x="249992" y="3933852"/>
                  <a:pt x="247995" y="3933852"/>
                </a:cubicBezTo>
                <a:close/>
                <a:moveTo>
                  <a:pt x="30352" y="3933852"/>
                </a:moveTo>
                <a:cubicBezTo>
                  <a:pt x="24495" y="3933852"/>
                  <a:pt x="21966" y="3935849"/>
                  <a:pt x="20369" y="3937447"/>
                </a:cubicBezTo>
                <a:cubicBezTo>
                  <a:pt x="17840" y="3940109"/>
                  <a:pt x="16776" y="3942904"/>
                  <a:pt x="16776" y="3946897"/>
                </a:cubicBezTo>
                <a:cubicBezTo>
                  <a:pt x="16776" y="3951025"/>
                  <a:pt x="17840" y="3953820"/>
                  <a:pt x="20369" y="3956349"/>
                </a:cubicBezTo>
                <a:cubicBezTo>
                  <a:pt x="21966" y="3957947"/>
                  <a:pt x="24495" y="3959810"/>
                  <a:pt x="30352" y="3959810"/>
                </a:cubicBezTo>
                <a:cubicBezTo>
                  <a:pt x="32482" y="3959810"/>
                  <a:pt x="34213" y="3959411"/>
                  <a:pt x="35677" y="3959011"/>
                </a:cubicBezTo>
                <a:cubicBezTo>
                  <a:pt x="37142" y="3958479"/>
                  <a:pt x="38474" y="3957548"/>
                  <a:pt x="39405" y="3956615"/>
                </a:cubicBezTo>
                <a:cubicBezTo>
                  <a:pt x="40470" y="3955417"/>
                  <a:pt x="41402" y="3954086"/>
                  <a:pt x="42068" y="3952355"/>
                </a:cubicBezTo>
                <a:cubicBezTo>
                  <a:pt x="42733" y="3950758"/>
                  <a:pt x="42999" y="3948894"/>
                  <a:pt x="42999" y="3946897"/>
                </a:cubicBezTo>
                <a:cubicBezTo>
                  <a:pt x="42999" y="3945034"/>
                  <a:pt x="42733" y="3943304"/>
                  <a:pt x="42068" y="3941706"/>
                </a:cubicBezTo>
                <a:cubicBezTo>
                  <a:pt x="41402" y="3939975"/>
                  <a:pt x="40470" y="3938645"/>
                  <a:pt x="39405" y="3937447"/>
                </a:cubicBezTo>
                <a:cubicBezTo>
                  <a:pt x="38340" y="3936382"/>
                  <a:pt x="37009" y="3935449"/>
                  <a:pt x="35412" y="3934784"/>
                </a:cubicBezTo>
                <a:cubicBezTo>
                  <a:pt x="33948" y="3934118"/>
                  <a:pt x="32350" y="3933852"/>
                  <a:pt x="30352" y="3933852"/>
                </a:cubicBezTo>
                <a:close/>
                <a:moveTo>
                  <a:pt x="10475977" y="3917212"/>
                </a:moveTo>
                <a:cubicBezTo>
                  <a:pt x="10480237" y="3917212"/>
                  <a:pt x="10484230" y="3918011"/>
                  <a:pt x="10487824" y="3919741"/>
                </a:cubicBezTo>
                <a:cubicBezTo>
                  <a:pt x="10491419" y="3921339"/>
                  <a:pt x="10494613" y="3923468"/>
                  <a:pt x="10497143" y="3926131"/>
                </a:cubicBezTo>
                <a:cubicBezTo>
                  <a:pt x="10499672" y="3928793"/>
                  <a:pt x="10501801" y="3931988"/>
                  <a:pt x="10503266" y="3935582"/>
                </a:cubicBezTo>
                <a:cubicBezTo>
                  <a:pt x="10504730" y="3939177"/>
                  <a:pt x="10505529" y="3942904"/>
                  <a:pt x="10505529" y="3947031"/>
                </a:cubicBezTo>
                <a:cubicBezTo>
                  <a:pt x="10505529" y="3951157"/>
                  <a:pt x="10504730" y="3955151"/>
                  <a:pt x="10503266" y="3958745"/>
                </a:cubicBezTo>
                <a:cubicBezTo>
                  <a:pt x="10501669" y="3962339"/>
                  <a:pt x="10499672" y="3965401"/>
                  <a:pt x="10497143" y="3968064"/>
                </a:cubicBezTo>
                <a:cubicBezTo>
                  <a:pt x="10494480" y="3970726"/>
                  <a:pt x="10491419" y="3972856"/>
                  <a:pt x="10487824" y="3974320"/>
                </a:cubicBezTo>
                <a:cubicBezTo>
                  <a:pt x="10484098" y="3975784"/>
                  <a:pt x="10480237" y="3976583"/>
                  <a:pt x="10475977" y="3976583"/>
                </a:cubicBezTo>
                <a:cubicBezTo>
                  <a:pt x="10466924" y="3976583"/>
                  <a:pt x="10459736" y="3973654"/>
                  <a:pt x="10454145" y="3968064"/>
                </a:cubicBezTo>
                <a:cubicBezTo>
                  <a:pt x="10448554" y="3962339"/>
                  <a:pt x="10445759" y="3955284"/>
                  <a:pt x="10445759" y="3946897"/>
                </a:cubicBezTo>
                <a:cubicBezTo>
                  <a:pt x="10445759" y="3938645"/>
                  <a:pt x="10448554" y="3931589"/>
                  <a:pt x="10454145" y="3925864"/>
                </a:cubicBezTo>
                <a:cubicBezTo>
                  <a:pt x="10459603" y="3920141"/>
                  <a:pt x="10466924" y="3917212"/>
                  <a:pt x="10475977" y="3917212"/>
                </a:cubicBezTo>
                <a:close/>
                <a:moveTo>
                  <a:pt x="10258466" y="3917212"/>
                </a:moveTo>
                <a:cubicBezTo>
                  <a:pt x="10262592" y="3917212"/>
                  <a:pt x="10266586" y="3918011"/>
                  <a:pt x="10270313" y="3919741"/>
                </a:cubicBezTo>
                <a:cubicBezTo>
                  <a:pt x="10273907" y="3921339"/>
                  <a:pt x="10277101" y="3923468"/>
                  <a:pt x="10279631" y="3926131"/>
                </a:cubicBezTo>
                <a:cubicBezTo>
                  <a:pt x="10282160" y="3928793"/>
                  <a:pt x="10284290" y="3931988"/>
                  <a:pt x="10285754" y="3935582"/>
                </a:cubicBezTo>
                <a:cubicBezTo>
                  <a:pt x="10287218" y="3939177"/>
                  <a:pt x="10288017" y="3942904"/>
                  <a:pt x="10288017" y="3947031"/>
                </a:cubicBezTo>
                <a:cubicBezTo>
                  <a:pt x="10288017" y="3951157"/>
                  <a:pt x="10287218" y="3955151"/>
                  <a:pt x="10285754" y="3958745"/>
                </a:cubicBezTo>
                <a:cubicBezTo>
                  <a:pt x="10284157" y="3962339"/>
                  <a:pt x="10282160" y="3965401"/>
                  <a:pt x="10279631" y="3968064"/>
                </a:cubicBezTo>
                <a:cubicBezTo>
                  <a:pt x="10276969" y="3970726"/>
                  <a:pt x="10273907" y="3972856"/>
                  <a:pt x="10270313" y="3974320"/>
                </a:cubicBezTo>
                <a:cubicBezTo>
                  <a:pt x="10266586" y="3975784"/>
                  <a:pt x="10262725" y="3976583"/>
                  <a:pt x="10258466" y="3976583"/>
                </a:cubicBezTo>
                <a:cubicBezTo>
                  <a:pt x="10249546" y="3976583"/>
                  <a:pt x="10242224" y="3973654"/>
                  <a:pt x="10236633" y="3968064"/>
                </a:cubicBezTo>
                <a:cubicBezTo>
                  <a:pt x="10231043" y="3962339"/>
                  <a:pt x="10228247" y="3955284"/>
                  <a:pt x="10228247" y="3946897"/>
                </a:cubicBezTo>
                <a:cubicBezTo>
                  <a:pt x="10228247" y="3938645"/>
                  <a:pt x="10231043" y="3931589"/>
                  <a:pt x="10236633" y="3925864"/>
                </a:cubicBezTo>
                <a:cubicBezTo>
                  <a:pt x="10242092" y="3920141"/>
                  <a:pt x="10249413" y="3917212"/>
                  <a:pt x="10258466" y="3917212"/>
                </a:cubicBezTo>
                <a:close/>
                <a:moveTo>
                  <a:pt x="10040820" y="3917212"/>
                </a:moveTo>
                <a:cubicBezTo>
                  <a:pt x="10045080" y="3917212"/>
                  <a:pt x="10048941" y="3918011"/>
                  <a:pt x="10052534" y="3919741"/>
                </a:cubicBezTo>
                <a:cubicBezTo>
                  <a:pt x="10056129" y="3921339"/>
                  <a:pt x="10059323" y="3923468"/>
                  <a:pt x="10061852" y="3926131"/>
                </a:cubicBezTo>
                <a:cubicBezTo>
                  <a:pt x="10064382" y="3928793"/>
                  <a:pt x="10066512" y="3931988"/>
                  <a:pt x="10067976" y="3935582"/>
                </a:cubicBezTo>
                <a:cubicBezTo>
                  <a:pt x="10069440" y="3939177"/>
                  <a:pt x="10070239" y="3942904"/>
                  <a:pt x="10070239" y="3947031"/>
                </a:cubicBezTo>
                <a:cubicBezTo>
                  <a:pt x="10070239" y="3951157"/>
                  <a:pt x="10069440" y="3955151"/>
                  <a:pt x="10067976" y="3958745"/>
                </a:cubicBezTo>
                <a:cubicBezTo>
                  <a:pt x="10066379" y="3962339"/>
                  <a:pt x="10064382" y="3965401"/>
                  <a:pt x="10061852" y="3968064"/>
                </a:cubicBezTo>
                <a:cubicBezTo>
                  <a:pt x="10059190" y="3970726"/>
                  <a:pt x="10056129" y="3972856"/>
                  <a:pt x="10052534" y="3974320"/>
                </a:cubicBezTo>
                <a:cubicBezTo>
                  <a:pt x="10048941" y="3975784"/>
                  <a:pt x="10045080" y="3976583"/>
                  <a:pt x="10040820" y="3976583"/>
                </a:cubicBezTo>
                <a:cubicBezTo>
                  <a:pt x="10031767" y="3976583"/>
                  <a:pt x="10024579" y="3973654"/>
                  <a:pt x="10018988" y="3968064"/>
                </a:cubicBezTo>
                <a:cubicBezTo>
                  <a:pt x="10013397" y="3962339"/>
                  <a:pt x="10010602" y="3955284"/>
                  <a:pt x="10010602" y="3946897"/>
                </a:cubicBezTo>
                <a:cubicBezTo>
                  <a:pt x="10010602" y="3938645"/>
                  <a:pt x="10013397" y="3931589"/>
                  <a:pt x="10018988" y="3925864"/>
                </a:cubicBezTo>
                <a:cubicBezTo>
                  <a:pt x="10024579" y="3920141"/>
                  <a:pt x="10031767" y="3917212"/>
                  <a:pt x="10040820" y="3917212"/>
                </a:cubicBezTo>
                <a:close/>
                <a:moveTo>
                  <a:pt x="9823176" y="3917212"/>
                </a:moveTo>
                <a:cubicBezTo>
                  <a:pt x="9827435" y="3917212"/>
                  <a:pt x="9831296" y="3918011"/>
                  <a:pt x="9834890" y="3919741"/>
                </a:cubicBezTo>
                <a:cubicBezTo>
                  <a:pt x="9838617" y="3921339"/>
                  <a:pt x="9841679" y="3923468"/>
                  <a:pt x="9844208" y="3926131"/>
                </a:cubicBezTo>
                <a:cubicBezTo>
                  <a:pt x="9846737" y="3928793"/>
                  <a:pt x="9848867" y="3931988"/>
                  <a:pt x="9850331" y="3935582"/>
                </a:cubicBezTo>
                <a:cubicBezTo>
                  <a:pt x="9851796" y="3939177"/>
                  <a:pt x="9852595" y="3942904"/>
                  <a:pt x="9852595" y="3947031"/>
                </a:cubicBezTo>
                <a:cubicBezTo>
                  <a:pt x="9852595" y="3951157"/>
                  <a:pt x="9851796" y="3955151"/>
                  <a:pt x="9850331" y="3958745"/>
                </a:cubicBezTo>
                <a:cubicBezTo>
                  <a:pt x="9848734" y="3962339"/>
                  <a:pt x="9846737" y="3965401"/>
                  <a:pt x="9844208" y="3968064"/>
                </a:cubicBezTo>
                <a:cubicBezTo>
                  <a:pt x="9841546" y="3970726"/>
                  <a:pt x="9838484" y="3972856"/>
                  <a:pt x="9834890" y="3974320"/>
                </a:cubicBezTo>
                <a:cubicBezTo>
                  <a:pt x="9831296" y="3975784"/>
                  <a:pt x="9827435" y="3976583"/>
                  <a:pt x="9823176" y="3976583"/>
                </a:cubicBezTo>
                <a:cubicBezTo>
                  <a:pt x="9814123" y="3976583"/>
                  <a:pt x="9806935" y="3973654"/>
                  <a:pt x="9801343" y="3968064"/>
                </a:cubicBezTo>
                <a:cubicBezTo>
                  <a:pt x="9795753" y="3962339"/>
                  <a:pt x="9792957" y="3955284"/>
                  <a:pt x="9792957" y="3946897"/>
                </a:cubicBezTo>
                <a:cubicBezTo>
                  <a:pt x="9792957" y="3938645"/>
                  <a:pt x="9795753" y="3931589"/>
                  <a:pt x="9801343" y="3925864"/>
                </a:cubicBezTo>
                <a:cubicBezTo>
                  <a:pt x="9806935" y="3920141"/>
                  <a:pt x="9814123" y="3917212"/>
                  <a:pt x="9823176" y="3917212"/>
                </a:cubicBezTo>
                <a:close/>
                <a:moveTo>
                  <a:pt x="9605531" y="3917212"/>
                </a:moveTo>
                <a:cubicBezTo>
                  <a:pt x="9609790" y="3917212"/>
                  <a:pt x="9613784" y="3918011"/>
                  <a:pt x="9617245" y="3919741"/>
                </a:cubicBezTo>
                <a:cubicBezTo>
                  <a:pt x="9620839" y="3921339"/>
                  <a:pt x="9624033" y="3923468"/>
                  <a:pt x="9626562" y="3926131"/>
                </a:cubicBezTo>
                <a:cubicBezTo>
                  <a:pt x="9629092" y="3928793"/>
                  <a:pt x="9631222" y="3931988"/>
                  <a:pt x="9632686" y="3935582"/>
                </a:cubicBezTo>
                <a:cubicBezTo>
                  <a:pt x="9634150" y="3939177"/>
                  <a:pt x="9634949" y="3942904"/>
                  <a:pt x="9634949" y="3947031"/>
                </a:cubicBezTo>
                <a:cubicBezTo>
                  <a:pt x="9634949" y="3951157"/>
                  <a:pt x="9634150" y="3955151"/>
                  <a:pt x="9632686" y="3958745"/>
                </a:cubicBezTo>
                <a:cubicBezTo>
                  <a:pt x="9631089" y="3962339"/>
                  <a:pt x="9629092" y="3965401"/>
                  <a:pt x="9626562" y="3968064"/>
                </a:cubicBezTo>
                <a:cubicBezTo>
                  <a:pt x="9623901" y="3970726"/>
                  <a:pt x="9620839" y="3972856"/>
                  <a:pt x="9617245" y="3974320"/>
                </a:cubicBezTo>
                <a:cubicBezTo>
                  <a:pt x="9613651" y="3975784"/>
                  <a:pt x="9609790" y="3976583"/>
                  <a:pt x="9605531" y="3976583"/>
                </a:cubicBezTo>
                <a:cubicBezTo>
                  <a:pt x="9596610" y="3976583"/>
                  <a:pt x="9589289" y="3973654"/>
                  <a:pt x="9583698" y="3968064"/>
                </a:cubicBezTo>
                <a:cubicBezTo>
                  <a:pt x="9578108" y="3962339"/>
                  <a:pt x="9575312" y="3955284"/>
                  <a:pt x="9575312" y="3946897"/>
                </a:cubicBezTo>
                <a:cubicBezTo>
                  <a:pt x="9575312" y="3938645"/>
                  <a:pt x="9578108" y="3931589"/>
                  <a:pt x="9583698" y="3925864"/>
                </a:cubicBezTo>
                <a:cubicBezTo>
                  <a:pt x="9589289" y="3920141"/>
                  <a:pt x="9596478" y="3917212"/>
                  <a:pt x="9605531" y="3917212"/>
                </a:cubicBezTo>
                <a:close/>
                <a:moveTo>
                  <a:pt x="9387885" y="3917212"/>
                </a:moveTo>
                <a:cubicBezTo>
                  <a:pt x="9392145" y="3917212"/>
                  <a:pt x="9396138" y="3918011"/>
                  <a:pt x="9399599" y="3919741"/>
                </a:cubicBezTo>
                <a:cubicBezTo>
                  <a:pt x="9403194" y="3921339"/>
                  <a:pt x="9406388" y="3923468"/>
                  <a:pt x="9408917" y="3926131"/>
                </a:cubicBezTo>
                <a:cubicBezTo>
                  <a:pt x="9411447" y="3928793"/>
                  <a:pt x="9413576" y="3931988"/>
                  <a:pt x="9415041" y="3935582"/>
                </a:cubicBezTo>
                <a:cubicBezTo>
                  <a:pt x="9416505" y="3939177"/>
                  <a:pt x="9417304" y="3942904"/>
                  <a:pt x="9417304" y="3947031"/>
                </a:cubicBezTo>
                <a:cubicBezTo>
                  <a:pt x="9417304" y="3951157"/>
                  <a:pt x="9416505" y="3955151"/>
                  <a:pt x="9415041" y="3958745"/>
                </a:cubicBezTo>
                <a:cubicBezTo>
                  <a:pt x="9413444" y="3962339"/>
                  <a:pt x="9411447" y="3965401"/>
                  <a:pt x="9408917" y="3968064"/>
                </a:cubicBezTo>
                <a:cubicBezTo>
                  <a:pt x="9406255" y="3970726"/>
                  <a:pt x="9403194" y="3972856"/>
                  <a:pt x="9399599" y="3974320"/>
                </a:cubicBezTo>
                <a:cubicBezTo>
                  <a:pt x="9396005" y="3975784"/>
                  <a:pt x="9392145" y="3976583"/>
                  <a:pt x="9387885" y="3976583"/>
                </a:cubicBezTo>
                <a:cubicBezTo>
                  <a:pt x="9378965" y="3976583"/>
                  <a:pt x="9371644" y="3973654"/>
                  <a:pt x="9366053" y="3968064"/>
                </a:cubicBezTo>
                <a:cubicBezTo>
                  <a:pt x="9360462" y="3962339"/>
                  <a:pt x="9357667" y="3955284"/>
                  <a:pt x="9357667" y="3946897"/>
                </a:cubicBezTo>
                <a:cubicBezTo>
                  <a:pt x="9357667" y="3938645"/>
                  <a:pt x="9360462" y="3931589"/>
                  <a:pt x="9366053" y="3925864"/>
                </a:cubicBezTo>
                <a:cubicBezTo>
                  <a:pt x="9371644" y="3920141"/>
                  <a:pt x="9378832" y="3917212"/>
                  <a:pt x="9387885" y="3917212"/>
                </a:cubicBezTo>
                <a:close/>
                <a:moveTo>
                  <a:pt x="9170374" y="3917212"/>
                </a:moveTo>
                <a:cubicBezTo>
                  <a:pt x="9174500" y="3917212"/>
                  <a:pt x="9178494" y="3918011"/>
                  <a:pt x="9182088" y="3919741"/>
                </a:cubicBezTo>
                <a:cubicBezTo>
                  <a:pt x="9185682" y="3921339"/>
                  <a:pt x="9188876" y="3923468"/>
                  <a:pt x="9191405" y="3926131"/>
                </a:cubicBezTo>
                <a:cubicBezTo>
                  <a:pt x="9193935" y="3928793"/>
                  <a:pt x="9196065" y="3931988"/>
                  <a:pt x="9197529" y="3935582"/>
                </a:cubicBezTo>
                <a:cubicBezTo>
                  <a:pt x="9198993" y="3939177"/>
                  <a:pt x="9199792" y="3942904"/>
                  <a:pt x="9199792" y="3947031"/>
                </a:cubicBezTo>
                <a:cubicBezTo>
                  <a:pt x="9199792" y="3951157"/>
                  <a:pt x="9198993" y="3955151"/>
                  <a:pt x="9197529" y="3958745"/>
                </a:cubicBezTo>
                <a:cubicBezTo>
                  <a:pt x="9195932" y="3962339"/>
                  <a:pt x="9193935" y="3965401"/>
                  <a:pt x="9191405" y="3968064"/>
                </a:cubicBezTo>
                <a:cubicBezTo>
                  <a:pt x="9188744" y="3970726"/>
                  <a:pt x="9185682" y="3972856"/>
                  <a:pt x="9182088" y="3974320"/>
                </a:cubicBezTo>
                <a:cubicBezTo>
                  <a:pt x="9178494" y="3975784"/>
                  <a:pt x="9174633" y="3976583"/>
                  <a:pt x="9170374" y="3976583"/>
                </a:cubicBezTo>
                <a:cubicBezTo>
                  <a:pt x="9161453" y="3976583"/>
                  <a:pt x="9154132" y="3973654"/>
                  <a:pt x="9148541" y="3968064"/>
                </a:cubicBezTo>
                <a:cubicBezTo>
                  <a:pt x="9142951" y="3962339"/>
                  <a:pt x="9140155" y="3955284"/>
                  <a:pt x="9140155" y="3946897"/>
                </a:cubicBezTo>
                <a:cubicBezTo>
                  <a:pt x="9140155" y="3938645"/>
                  <a:pt x="9142951" y="3931589"/>
                  <a:pt x="9148541" y="3925864"/>
                </a:cubicBezTo>
                <a:cubicBezTo>
                  <a:pt x="9154132" y="3920141"/>
                  <a:pt x="9161321" y="3917212"/>
                  <a:pt x="9170374" y="3917212"/>
                </a:cubicBezTo>
                <a:close/>
                <a:moveTo>
                  <a:pt x="8952728" y="3917212"/>
                </a:moveTo>
                <a:cubicBezTo>
                  <a:pt x="8956988" y="3917212"/>
                  <a:pt x="8960849" y="3918011"/>
                  <a:pt x="8964442" y="3919741"/>
                </a:cubicBezTo>
                <a:cubicBezTo>
                  <a:pt x="8968037" y="3921339"/>
                  <a:pt x="8971231" y="3923468"/>
                  <a:pt x="8973760" y="3926131"/>
                </a:cubicBezTo>
                <a:cubicBezTo>
                  <a:pt x="8976290" y="3928793"/>
                  <a:pt x="8978419" y="3931988"/>
                  <a:pt x="8979884" y="3935582"/>
                </a:cubicBezTo>
                <a:cubicBezTo>
                  <a:pt x="8981348" y="3939177"/>
                  <a:pt x="8982147" y="3942904"/>
                  <a:pt x="8982147" y="3947031"/>
                </a:cubicBezTo>
                <a:cubicBezTo>
                  <a:pt x="8982147" y="3951157"/>
                  <a:pt x="8981348" y="3955151"/>
                  <a:pt x="8979884" y="3958745"/>
                </a:cubicBezTo>
                <a:cubicBezTo>
                  <a:pt x="8978287" y="3962339"/>
                  <a:pt x="8976290" y="3965401"/>
                  <a:pt x="8973760" y="3968064"/>
                </a:cubicBezTo>
                <a:cubicBezTo>
                  <a:pt x="8971098" y="3970726"/>
                  <a:pt x="8968037" y="3972856"/>
                  <a:pt x="8964442" y="3974320"/>
                </a:cubicBezTo>
                <a:cubicBezTo>
                  <a:pt x="8960849" y="3975784"/>
                  <a:pt x="8956988" y="3976583"/>
                  <a:pt x="8952728" y="3976583"/>
                </a:cubicBezTo>
                <a:cubicBezTo>
                  <a:pt x="8943808" y="3976583"/>
                  <a:pt x="8936487" y="3973654"/>
                  <a:pt x="8930896" y="3968064"/>
                </a:cubicBezTo>
                <a:cubicBezTo>
                  <a:pt x="8925305" y="3962339"/>
                  <a:pt x="8922510" y="3955284"/>
                  <a:pt x="8922510" y="3946897"/>
                </a:cubicBezTo>
                <a:cubicBezTo>
                  <a:pt x="8922510" y="3938645"/>
                  <a:pt x="8925305" y="3931589"/>
                  <a:pt x="8930896" y="3925864"/>
                </a:cubicBezTo>
                <a:cubicBezTo>
                  <a:pt x="8936487" y="3920141"/>
                  <a:pt x="8943675" y="3917212"/>
                  <a:pt x="8952728" y="3917212"/>
                </a:cubicBezTo>
                <a:close/>
                <a:moveTo>
                  <a:pt x="8735083" y="3917212"/>
                </a:moveTo>
                <a:cubicBezTo>
                  <a:pt x="8739342" y="3917212"/>
                  <a:pt x="8743203" y="3918011"/>
                  <a:pt x="8746797" y="3919741"/>
                </a:cubicBezTo>
                <a:cubicBezTo>
                  <a:pt x="8750391" y="3921339"/>
                  <a:pt x="8753586" y="3923468"/>
                  <a:pt x="8756115" y="3926131"/>
                </a:cubicBezTo>
                <a:cubicBezTo>
                  <a:pt x="8758644" y="3928793"/>
                  <a:pt x="8760774" y="3931988"/>
                  <a:pt x="8762238" y="3935582"/>
                </a:cubicBezTo>
                <a:cubicBezTo>
                  <a:pt x="8763702" y="3939177"/>
                  <a:pt x="8764502" y="3942904"/>
                  <a:pt x="8764502" y="3947031"/>
                </a:cubicBezTo>
                <a:cubicBezTo>
                  <a:pt x="8764502" y="3951157"/>
                  <a:pt x="8763702" y="3955151"/>
                  <a:pt x="8762238" y="3958745"/>
                </a:cubicBezTo>
                <a:cubicBezTo>
                  <a:pt x="8760641" y="3962339"/>
                  <a:pt x="8758644" y="3965401"/>
                  <a:pt x="8756115" y="3968064"/>
                </a:cubicBezTo>
                <a:cubicBezTo>
                  <a:pt x="8753453" y="3970726"/>
                  <a:pt x="8750391" y="3972856"/>
                  <a:pt x="8746797" y="3974320"/>
                </a:cubicBezTo>
                <a:cubicBezTo>
                  <a:pt x="8743203" y="3975784"/>
                  <a:pt x="8739342" y="3976583"/>
                  <a:pt x="8735083" y="3976583"/>
                </a:cubicBezTo>
                <a:cubicBezTo>
                  <a:pt x="8726030" y="3976583"/>
                  <a:pt x="8718841" y="3973654"/>
                  <a:pt x="8713250" y="3968064"/>
                </a:cubicBezTo>
                <a:cubicBezTo>
                  <a:pt x="8707660" y="3962339"/>
                  <a:pt x="8704864" y="3955284"/>
                  <a:pt x="8704864" y="3946897"/>
                </a:cubicBezTo>
                <a:cubicBezTo>
                  <a:pt x="8704864" y="3938645"/>
                  <a:pt x="8707660" y="3931589"/>
                  <a:pt x="8713250" y="3925864"/>
                </a:cubicBezTo>
                <a:cubicBezTo>
                  <a:pt x="8718841" y="3920141"/>
                  <a:pt x="8726030" y="3917212"/>
                  <a:pt x="8735083" y="3917212"/>
                </a:cubicBezTo>
                <a:close/>
                <a:moveTo>
                  <a:pt x="8517438" y="3917212"/>
                </a:moveTo>
                <a:cubicBezTo>
                  <a:pt x="8521698" y="3917212"/>
                  <a:pt x="8525559" y="3918011"/>
                  <a:pt x="8529152" y="3919741"/>
                </a:cubicBezTo>
                <a:cubicBezTo>
                  <a:pt x="8532880" y="3921339"/>
                  <a:pt x="8535941" y="3923468"/>
                  <a:pt x="8538470" y="3926131"/>
                </a:cubicBezTo>
                <a:cubicBezTo>
                  <a:pt x="8541000" y="3928793"/>
                  <a:pt x="8543130" y="3931988"/>
                  <a:pt x="8544594" y="3935582"/>
                </a:cubicBezTo>
                <a:cubicBezTo>
                  <a:pt x="8546058" y="3939177"/>
                  <a:pt x="8546857" y="3942904"/>
                  <a:pt x="8546857" y="3947031"/>
                </a:cubicBezTo>
                <a:cubicBezTo>
                  <a:pt x="8546857" y="3951157"/>
                  <a:pt x="8546058" y="3955151"/>
                  <a:pt x="8544594" y="3958745"/>
                </a:cubicBezTo>
                <a:cubicBezTo>
                  <a:pt x="8542997" y="3962339"/>
                  <a:pt x="8541000" y="3965401"/>
                  <a:pt x="8538470" y="3968064"/>
                </a:cubicBezTo>
                <a:cubicBezTo>
                  <a:pt x="8535808" y="3970726"/>
                  <a:pt x="8532747" y="3972856"/>
                  <a:pt x="8529152" y="3974320"/>
                </a:cubicBezTo>
                <a:cubicBezTo>
                  <a:pt x="8525559" y="3975784"/>
                  <a:pt x="8521698" y="3976583"/>
                  <a:pt x="8517438" y="3976583"/>
                </a:cubicBezTo>
                <a:cubicBezTo>
                  <a:pt x="8508385" y="3976583"/>
                  <a:pt x="8501197" y="3973654"/>
                  <a:pt x="8495606" y="3968064"/>
                </a:cubicBezTo>
                <a:cubicBezTo>
                  <a:pt x="8490015" y="3962339"/>
                  <a:pt x="8487220" y="3955284"/>
                  <a:pt x="8487220" y="3946897"/>
                </a:cubicBezTo>
                <a:cubicBezTo>
                  <a:pt x="8487220" y="3938645"/>
                  <a:pt x="8490015" y="3931589"/>
                  <a:pt x="8495606" y="3925864"/>
                </a:cubicBezTo>
                <a:cubicBezTo>
                  <a:pt x="8501197" y="3920141"/>
                  <a:pt x="8508385" y="3917212"/>
                  <a:pt x="8517438" y="3917212"/>
                </a:cubicBezTo>
                <a:close/>
                <a:moveTo>
                  <a:pt x="8299793" y="3917212"/>
                </a:moveTo>
                <a:cubicBezTo>
                  <a:pt x="8304052" y="3917212"/>
                  <a:pt x="8308046" y="3918011"/>
                  <a:pt x="8311507" y="3919741"/>
                </a:cubicBezTo>
                <a:cubicBezTo>
                  <a:pt x="8315235" y="3921339"/>
                  <a:pt x="8318296" y="3923468"/>
                  <a:pt x="8320825" y="3926131"/>
                </a:cubicBezTo>
                <a:cubicBezTo>
                  <a:pt x="8323354" y="3928793"/>
                  <a:pt x="8325484" y="3931988"/>
                  <a:pt x="8326948" y="3935582"/>
                </a:cubicBezTo>
                <a:cubicBezTo>
                  <a:pt x="8328413" y="3939177"/>
                  <a:pt x="8329212" y="3942904"/>
                  <a:pt x="8329212" y="3947031"/>
                </a:cubicBezTo>
                <a:cubicBezTo>
                  <a:pt x="8329212" y="3951157"/>
                  <a:pt x="8328413" y="3955151"/>
                  <a:pt x="8326948" y="3958745"/>
                </a:cubicBezTo>
                <a:cubicBezTo>
                  <a:pt x="8325351" y="3962339"/>
                  <a:pt x="8323354" y="3965401"/>
                  <a:pt x="8320825" y="3968064"/>
                </a:cubicBezTo>
                <a:cubicBezTo>
                  <a:pt x="8318163" y="3970726"/>
                  <a:pt x="8315101" y="3972856"/>
                  <a:pt x="8311507" y="3974320"/>
                </a:cubicBezTo>
                <a:cubicBezTo>
                  <a:pt x="8307913" y="3975784"/>
                  <a:pt x="8304052" y="3976583"/>
                  <a:pt x="8299793" y="3976583"/>
                </a:cubicBezTo>
                <a:cubicBezTo>
                  <a:pt x="8290874" y="3976583"/>
                  <a:pt x="8283553" y="3973654"/>
                  <a:pt x="8277960" y="3968064"/>
                </a:cubicBezTo>
                <a:cubicBezTo>
                  <a:pt x="8272370" y="3962339"/>
                  <a:pt x="8269574" y="3955284"/>
                  <a:pt x="8269574" y="3946897"/>
                </a:cubicBezTo>
                <a:cubicBezTo>
                  <a:pt x="8269574" y="3938645"/>
                  <a:pt x="8272370" y="3931589"/>
                  <a:pt x="8277960" y="3925864"/>
                </a:cubicBezTo>
                <a:cubicBezTo>
                  <a:pt x="8283553" y="3920141"/>
                  <a:pt x="8290741" y="3917212"/>
                  <a:pt x="8299793" y="3917212"/>
                </a:cubicBezTo>
                <a:close/>
                <a:moveTo>
                  <a:pt x="8082281" y="3917212"/>
                </a:moveTo>
                <a:cubicBezTo>
                  <a:pt x="8086407" y="3917212"/>
                  <a:pt x="8090401" y="3918011"/>
                  <a:pt x="8094127" y="3919741"/>
                </a:cubicBezTo>
                <a:cubicBezTo>
                  <a:pt x="8097855" y="3921339"/>
                  <a:pt x="8100916" y="3923468"/>
                  <a:pt x="8103446" y="3926131"/>
                </a:cubicBezTo>
                <a:cubicBezTo>
                  <a:pt x="8105975" y="3928793"/>
                  <a:pt x="8108104" y="3931988"/>
                  <a:pt x="8109569" y="3935582"/>
                </a:cubicBezTo>
                <a:cubicBezTo>
                  <a:pt x="8111033" y="3939177"/>
                  <a:pt x="8111832" y="3942904"/>
                  <a:pt x="8111832" y="3947031"/>
                </a:cubicBezTo>
                <a:cubicBezTo>
                  <a:pt x="8111832" y="3951157"/>
                  <a:pt x="8111033" y="3955151"/>
                  <a:pt x="8109569" y="3958745"/>
                </a:cubicBezTo>
                <a:cubicBezTo>
                  <a:pt x="8107972" y="3962339"/>
                  <a:pt x="8105975" y="3965401"/>
                  <a:pt x="8103446" y="3968064"/>
                </a:cubicBezTo>
                <a:cubicBezTo>
                  <a:pt x="8100783" y="3970726"/>
                  <a:pt x="8097722" y="3972856"/>
                  <a:pt x="8094127" y="3974320"/>
                </a:cubicBezTo>
                <a:cubicBezTo>
                  <a:pt x="8090401" y="3975784"/>
                  <a:pt x="8086540" y="3976583"/>
                  <a:pt x="8082281" y="3976583"/>
                </a:cubicBezTo>
                <a:cubicBezTo>
                  <a:pt x="8073361" y="3976583"/>
                  <a:pt x="8066040" y="3973654"/>
                  <a:pt x="8060448" y="3968064"/>
                </a:cubicBezTo>
                <a:cubicBezTo>
                  <a:pt x="8054857" y="3962339"/>
                  <a:pt x="8052062" y="3955284"/>
                  <a:pt x="8052062" y="3946897"/>
                </a:cubicBezTo>
                <a:cubicBezTo>
                  <a:pt x="8052062" y="3938645"/>
                  <a:pt x="8054857" y="3931589"/>
                  <a:pt x="8060448" y="3925864"/>
                </a:cubicBezTo>
                <a:cubicBezTo>
                  <a:pt x="8066040" y="3920141"/>
                  <a:pt x="8073228" y="3917212"/>
                  <a:pt x="8082281" y="3917212"/>
                </a:cubicBezTo>
                <a:close/>
                <a:moveTo>
                  <a:pt x="7864636" y="3917212"/>
                </a:moveTo>
                <a:cubicBezTo>
                  <a:pt x="7868762" y="3917212"/>
                  <a:pt x="7872756" y="3918011"/>
                  <a:pt x="7876483" y="3919741"/>
                </a:cubicBezTo>
                <a:cubicBezTo>
                  <a:pt x="7880210" y="3921339"/>
                  <a:pt x="7883272" y="3923468"/>
                  <a:pt x="7885802" y="3926131"/>
                </a:cubicBezTo>
                <a:cubicBezTo>
                  <a:pt x="7888331" y="3928793"/>
                  <a:pt x="7890460" y="3931988"/>
                  <a:pt x="7891924" y="3935582"/>
                </a:cubicBezTo>
                <a:cubicBezTo>
                  <a:pt x="7893389" y="3939177"/>
                  <a:pt x="7894188" y="3942904"/>
                  <a:pt x="7894188" y="3947031"/>
                </a:cubicBezTo>
                <a:cubicBezTo>
                  <a:pt x="7894188" y="3951157"/>
                  <a:pt x="7893389" y="3955151"/>
                  <a:pt x="7891924" y="3958745"/>
                </a:cubicBezTo>
                <a:cubicBezTo>
                  <a:pt x="7890327" y="3962339"/>
                  <a:pt x="7888331" y="3965401"/>
                  <a:pt x="7885802" y="3968064"/>
                </a:cubicBezTo>
                <a:cubicBezTo>
                  <a:pt x="7883139" y="3970726"/>
                  <a:pt x="7880078" y="3972856"/>
                  <a:pt x="7876483" y="3974320"/>
                </a:cubicBezTo>
                <a:cubicBezTo>
                  <a:pt x="7872756" y="3975784"/>
                  <a:pt x="7868895" y="3976583"/>
                  <a:pt x="7864636" y="3976583"/>
                </a:cubicBezTo>
                <a:cubicBezTo>
                  <a:pt x="7855717" y="3976583"/>
                  <a:pt x="7848396" y="3973654"/>
                  <a:pt x="7842803" y="3968064"/>
                </a:cubicBezTo>
                <a:cubicBezTo>
                  <a:pt x="7837213" y="3962339"/>
                  <a:pt x="7834417" y="3955284"/>
                  <a:pt x="7834417" y="3946897"/>
                </a:cubicBezTo>
                <a:cubicBezTo>
                  <a:pt x="7834417" y="3938645"/>
                  <a:pt x="7837213" y="3931589"/>
                  <a:pt x="7842803" y="3925864"/>
                </a:cubicBezTo>
                <a:cubicBezTo>
                  <a:pt x="7848396" y="3920141"/>
                  <a:pt x="7855584" y="3917212"/>
                  <a:pt x="7864636" y="3917212"/>
                </a:cubicBezTo>
                <a:close/>
                <a:moveTo>
                  <a:pt x="7646991" y="3917212"/>
                </a:moveTo>
                <a:cubicBezTo>
                  <a:pt x="7651250" y="3917212"/>
                  <a:pt x="7655111" y="3918011"/>
                  <a:pt x="7658705" y="3919741"/>
                </a:cubicBezTo>
                <a:cubicBezTo>
                  <a:pt x="7662432" y="3921339"/>
                  <a:pt x="7665493" y="3923468"/>
                  <a:pt x="7668022" y="3926131"/>
                </a:cubicBezTo>
                <a:cubicBezTo>
                  <a:pt x="7670552" y="3928793"/>
                  <a:pt x="7672682" y="3931988"/>
                  <a:pt x="7674146" y="3935582"/>
                </a:cubicBezTo>
                <a:cubicBezTo>
                  <a:pt x="7675610" y="3939177"/>
                  <a:pt x="7676409" y="3942904"/>
                  <a:pt x="7676409" y="3947031"/>
                </a:cubicBezTo>
                <a:cubicBezTo>
                  <a:pt x="7676409" y="3951157"/>
                  <a:pt x="7675610" y="3955151"/>
                  <a:pt x="7674146" y="3958745"/>
                </a:cubicBezTo>
                <a:cubicBezTo>
                  <a:pt x="7672549" y="3962339"/>
                  <a:pt x="7670552" y="3965401"/>
                  <a:pt x="7668022" y="3968064"/>
                </a:cubicBezTo>
                <a:cubicBezTo>
                  <a:pt x="7665361" y="3970726"/>
                  <a:pt x="7662299" y="3972856"/>
                  <a:pt x="7658705" y="3974320"/>
                </a:cubicBezTo>
                <a:cubicBezTo>
                  <a:pt x="7655111" y="3975784"/>
                  <a:pt x="7651250" y="3976583"/>
                  <a:pt x="7646991" y="3976583"/>
                </a:cubicBezTo>
                <a:cubicBezTo>
                  <a:pt x="7638071" y="3976583"/>
                  <a:pt x="7630750" y="3973654"/>
                  <a:pt x="7625158" y="3968064"/>
                </a:cubicBezTo>
                <a:cubicBezTo>
                  <a:pt x="7619568" y="3962339"/>
                  <a:pt x="7616772" y="3955284"/>
                  <a:pt x="7616772" y="3946897"/>
                </a:cubicBezTo>
                <a:cubicBezTo>
                  <a:pt x="7616772" y="3938645"/>
                  <a:pt x="7619568" y="3931589"/>
                  <a:pt x="7625158" y="3925864"/>
                </a:cubicBezTo>
                <a:cubicBezTo>
                  <a:pt x="7630750" y="3920141"/>
                  <a:pt x="7637939" y="3917212"/>
                  <a:pt x="7646991" y="3917212"/>
                </a:cubicBezTo>
                <a:close/>
                <a:moveTo>
                  <a:pt x="7429345" y="3917212"/>
                </a:moveTo>
                <a:cubicBezTo>
                  <a:pt x="7433605" y="3917212"/>
                  <a:pt x="7437466" y="3918011"/>
                  <a:pt x="7441059" y="3919741"/>
                </a:cubicBezTo>
                <a:cubicBezTo>
                  <a:pt x="7444787" y="3921339"/>
                  <a:pt x="7447848" y="3923468"/>
                  <a:pt x="7450377" y="3926131"/>
                </a:cubicBezTo>
                <a:cubicBezTo>
                  <a:pt x="7452907" y="3928793"/>
                  <a:pt x="7455036" y="3931988"/>
                  <a:pt x="7456501" y="3935582"/>
                </a:cubicBezTo>
                <a:cubicBezTo>
                  <a:pt x="7457965" y="3939177"/>
                  <a:pt x="7458764" y="3942904"/>
                  <a:pt x="7458764" y="3947031"/>
                </a:cubicBezTo>
                <a:cubicBezTo>
                  <a:pt x="7458764" y="3951157"/>
                  <a:pt x="7457965" y="3955151"/>
                  <a:pt x="7456501" y="3958745"/>
                </a:cubicBezTo>
                <a:cubicBezTo>
                  <a:pt x="7454904" y="3962339"/>
                  <a:pt x="7452907" y="3965401"/>
                  <a:pt x="7450377" y="3968064"/>
                </a:cubicBezTo>
                <a:cubicBezTo>
                  <a:pt x="7447715" y="3970726"/>
                  <a:pt x="7444654" y="3972856"/>
                  <a:pt x="7441059" y="3974320"/>
                </a:cubicBezTo>
                <a:cubicBezTo>
                  <a:pt x="7437466" y="3975784"/>
                  <a:pt x="7433605" y="3976583"/>
                  <a:pt x="7429345" y="3976583"/>
                </a:cubicBezTo>
                <a:cubicBezTo>
                  <a:pt x="7420426" y="3976583"/>
                  <a:pt x="7413105" y="3973654"/>
                  <a:pt x="7407513" y="3968064"/>
                </a:cubicBezTo>
                <a:cubicBezTo>
                  <a:pt x="7401922" y="3962339"/>
                  <a:pt x="7399127" y="3955284"/>
                  <a:pt x="7399127" y="3946897"/>
                </a:cubicBezTo>
                <a:cubicBezTo>
                  <a:pt x="7399127" y="3938645"/>
                  <a:pt x="7401922" y="3931589"/>
                  <a:pt x="7407513" y="3925864"/>
                </a:cubicBezTo>
                <a:cubicBezTo>
                  <a:pt x="7413105" y="3920141"/>
                  <a:pt x="7420293" y="3917212"/>
                  <a:pt x="7429345" y="3917212"/>
                </a:cubicBezTo>
                <a:close/>
                <a:moveTo>
                  <a:pt x="7211701" y="3917212"/>
                </a:moveTo>
                <a:cubicBezTo>
                  <a:pt x="7215960" y="3917212"/>
                  <a:pt x="7219954" y="3918011"/>
                  <a:pt x="7223415" y="3919741"/>
                </a:cubicBezTo>
                <a:cubicBezTo>
                  <a:pt x="7227142" y="3921339"/>
                  <a:pt x="7230204" y="3923468"/>
                  <a:pt x="7232733" y="3926131"/>
                </a:cubicBezTo>
                <a:cubicBezTo>
                  <a:pt x="7235262" y="3928793"/>
                  <a:pt x="7237392" y="3931988"/>
                  <a:pt x="7238856" y="3935582"/>
                </a:cubicBezTo>
                <a:cubicBezTo>
                  <a:pt x="7240321" y="3939177"/>
                  <a:pt x="7241120" y="3942904"/>
                  <a:pt x="7241120" y="3947031"/>
                </a:cubicBezTo>
                <a:cubicBezTo>
                  <a:pt x="7241120" y="3951157"/>
                  <a:pt x="7240321" y="3955151"/>
                  <a:pt x="7238856" y="3958745"/>
                </a:cubicBezTo>
                <a:cubicBezTo>
                  <a:pt x="7237259" y="3962339"/>
                  <a:pt x="7235262" y="3965401"/>
                  <a:pt x="7232733" y="3968064"/>
                </a:cubicBezTo>
                <a:cubicBezTo>
                  <a:pt x="7230071" y="3970726"/>
                  <a:pt x="7227009" y="3972856"/>
                  <a:pt x="7223415" y="3974320"/>
                </a:cubicBezTo>
                <a:cubicBezTo>
                  <a:pt x="7219821" y="3975784"/>
                  <a:pt x="7215960" y="3976583"/>
                  <a:pt x="7211701" y="3976583"/>
                </a:cubicBezTo>
                <a:cubicBezTo>
                  <a:pt x="7202782" y="3976583"/>
                  <a:pt x="7195460" y="3973654"/>
                  <a:pt x="7189868" y="3968064"/>
                </a:cubicBezTo>
                <a:cubicBezTo>
                  <a:pt x="7184278" y="3962339"/>
                  <a:pt x="7181482" y="3955284"/>
                  <a:pt x="7181482" y="3946897"/>
                </a:cubicBezTo>
                <a:cubicBezTo>
                  <a:pt x="7181482" y="3938645"/>
                  <a:pt x="7184278" y="3931589"/>
                  <a:pt x="7189868" y="3925864"/>
                </a:cubicBezTo>
                <a:cubicBezTo>
                  <a:pt x="7195460" y="3920141"/>
                  <a:pt x="7202649" y="3917212"/>
                  <a:pt x="7211701" y="3917212"/>
                </a:cubicBezTo>
                <a:close/>
                <a:moveTo>
                  <a:pt x="6994056" y="3917212"/>
                </a:moveTo>
                <a:cubicBezTo>
                  <a:pt x="6998315" y="3917212"/>
                  <a:pt x="7002309" y="3918011"/>
                  <a:pt x="7005769" y="3919741"/>
                </a:cubicBezTo>
                <a:cubicBezTo>
                  <a:pt x="7009497" y="3921339"/>
                  <a:pt x="7012558" y="3923468"/>
                  <a:pt x="7015087" y="3926131"/>
                </a:cubicBezTo>
                <a:cubicBezTo>
                  <a:pt x="7017617" y="3928793"/>
                  <a:pt x="7019747" y="3931988"/>
                  <a:pt x="7021211" y="3935582"/>
                </a:cubicBezTo>
                <a:cubicBezTo>
                  <a:pt x="7022675" y="3939177"/>
                  <a:pt x="7023474" y="3942904"/>
                  <a:pt x="7023474" y="3947031"/>
                </a:cubicBezTo>
                <a:cubicBezTo>
                  <a:pt x="7023474" y="3951157"/>
                  <a:pt x="7022675" y="3955151"/>
                  <a:pt x="7021211" y="3958745"/>
                </a:cubicBezTo>
                <a:cubicBezTo>
                  <a:pt x="7019614" y="3962339"/>
                  <a:pt x="7017617" y="3965401"/>
                  <a:pt x="7015087" y="3968064"/>
                </a:cubicBezTo>
                <a:cubicBezTo>
                  <a:pt x="7012425" y="3970726"/>
                  <a:pt x="7009364" y="3972856"/>
                  <a:pt x="7005769" y="3974320"/>
                </a:cubicBezTo>
                <a:cubicBezTo>
                  <a:pt x="7002176" y="3975784"/>
                  <a:pt x="6998315" y="3976583"/>
                  <a:pt x="6994056" y="3976583"/>
                </a:cubicBezTo>
                <a:cubicBezTo>
                  <a:pt x="6985136" y="3976583"/>
                  <a:pt x="6977815" y="3973654"/>
                  <a:pt x="6972223" y="3968064"/>
                </a:cubicBezTo>
                <a:cubicBezTo>
                  <a:pt x="6966632" y="3962339"/>
                  <a:pt x="6963837" y="3955284"/>
                  <a:pt x="6963837" y="3946897"/>
                </a:cubicBezTo>
                <a:cubicBezTo>
                  <a:pt x="6963837" y="3938645"/>
                  <a:pt x="6966632" y="3931589"/>
                  <a:pt x="6972223" y="3925864"/>
                </a:cubicBezTo>
                <a:cubicBezTo>
                  <a:pt x="6977815" y="3920141"/>
                  <a:pt x="6985003" y="3917212"/>
                  <a:pt x="6994056" y="3917212"/>
                </a:cubicBezTo>
                <a:close/>
                <a:moveTo>
                  <a:pt x="6776544" y="3917212"/>
                </a:moveTo>
                <a:cubicBezTo>
                  <a:pt x="6780670" y="3917212"/>
                  <a:pt x="6784664" y="3918011"/>
                  <a:pt x="6788258" y="3919741"/>
                </a:cubicBezTo>
                <a:cubicBezTo>
                  <a:pt x="6791985" y="3921339"/>
                  <a:pt x="6795047" y="3923468"/>
                  <a:pt x="6797576" y="3926131"/>
                </a:cubicBezTo>
                <a:cubicBezTo>
                  <a:pt x="6800105" y="3928793"/>
                  <a:pt x="6802235" y="3931988"/>
                  <a:pt x="6803699" y="3935582"/>
                </a:cubicBezTo>
                <a:cubicBezTo>
                  <a:pt x="6805164" y="3939177"/>
                  <a:pt x="6805963" y="3942904"/>
                  <a:pt x="6805963" y="3947031"/>
                </a:cubicBezTo>
                <a:cubicBezTo>
                  <a:pt x="6805963" y="3951157"/>
                  <a:pt x="6805164" y="3955151"/>
                  <a:pt x="6803699" y="3958745"/>
                </a:cubicBezTo>
                <a:cubicBezTo>
                  <a:pt x="6802102" y="3962339"/>
                  <a:pt x="6800105" y="3965401"/>
                  <a:pt x="6797576" y="3968064"/>
                </a:cubicBezTo>
                <a:cubicBezTo>
                  <a:pt x="6794914" y="3970726"/>
                  <a:pt x="6791852" y="3972856"/>
                  <a:pt x="6788258" y="3974320"/>
                </a:cubicBezTo>
                <a:cubicBezTo>
                  <a:pt x="6784664" y="3975784"/>
                  <a:pt x="6780803" y="3976583"/>
                  <a:pt x="6776544" y="3976583"/>
                </a:cubicBezTo>
                <a:cubicBezTo>
                  <a:pt x="6767625" y="3976583"/>
                  <a:pt x="6760303" y="3973654"/>
                  <a:pt x="6754711" y="3968064"/>
                </a:cubicBezTo>
                <a:cubicBezTo>
                  <a:pt x="6749121" y="3962339"/>
                  <a:pt x="6746325" y="3955284"/>
                  <a:pt x="6746325" y="3946897"/>
                </a:cubicBezTo>
                <a:cubicBezTo>
                  <a:pt x="6746325" y="3938645"/>
                  <a:pt x="6749121" y="3931589"/>
                  <a:pt x="6754711" y="3925864"/>
                </a:cubicBezTo>
                <a:cubicBezTo>
                  <a:pt x="6760303" y="3920141"/>
                  <a:pt x="6767492" y="3917212"/>
                  <a:pt x="6776544" y="3917212"/>
                </a:cubicBezTo>
                <a:close/>
                <a:moveTo>
                  <a:pt x="6558899" y="3917212"/>
                </a:moveTo>
                <a:cubicBezTo>
                  <a:pt x="6563158" y="3917212"/>
                  <a:pt x="6567019" y="3918011"/>
                  <a:pt x="6570612" y="3919741"/>
                </a:cubicBezTo>
                <a:cubicBezTo>
                  <a:pt x="6574340" y="3921339"/>
                  <a:pt x="6577401" y="3923468"/>
                  <a:pt x="6579930" y="3926131"/>
                </a:cubicBezTo>
                <a:cubicBezTo>
                  <a:pt x="6582460" y="3928793"/>
                  <a:pt x="6584590" y="3931988"/>
                  <a:pt x="6586054" y="3935582"/>
                </a:cubicBezTo>
                <a:cubicBezTo>
                  <a:pt x="6587518" y="3939177"/>
                  <a:pt x="6588317" y="3942904"/>
                  <a:pt x="6588317" y="3947031"/>
                </a:cubicBezTo>
                <a:cubicBezTo>
                  <a:pt x="6588317" y="3951157"/>
                  <a:pt x="6587518" y="3955151"/>
                  <a:pt x="6586054" y="3958745"/>
                </a:cubicBezTo>
                <a:cubicBezTo>
                  <a:pt x="6584457" y="3962339"/>
                  <a:pt x="6582460" y="3965401"/>
                  <a:pt x="6579930" y="3968064"/>
                </a:cubicBezTo>
                <a:cubicBezTo>
                  <a:pt x="6577268" y="3970726"/>
                  <a:pt x="6574207" y="3972856"/>
                  <a:pt x="6570612" y="3974320"/>
                </a:cubicBezTo>
                <a:cubicBezTo>
                  <a:pt x="6567019" y="3975784"/>
                  <a:pt x="6563158" y="3976583"/>
                  <a:pt x="6558899" y="3976583"/>
                </a:cubicBezTo>
                <a:cubicBezTo>
                  <a:pt x="6549979" y="3976583"/>
                  <a:pt x="6542658" y="3973654"/>
                  <a:pt x="6537066" y="3968064"/>
                </a:cubicBezTo>
                <a:cubicBezTo>
                  <a:pt x="6531476" y="3962339"/>
                  <a:pt x="6528680" y="3955284"/>
                  <a:pt x="6528680" y="3946897"/>
                </a:cubicBezTo>
                <a:cubicBezTo>
                  <a:pt x="6528680" y="3938645"/>
                  <a:pt x="6531476" y="3931589"/>
                  <a:pt x="6537066" y="3925864"/>
                </a:cubicBezTo>
                <a:cubicBezTo>
                  <a:pt x="6542658" y="3920141"/>
                  <a:pt x="6549846" y="3917212"/>
                  <a:pt x="6558899" y="3917212"/>
                </a:cubicBezTo>
                <a:close/>
                <a:moveTo>
                  <a:pt x="6341253" y="3917212"/>
                </a:moveTo>
                <a:cubicBezTo>
                  <a:pt x="6345513" y="3917212"/>
                  <a:pt x="6349373" y="3918011"/>
                  <a:pt x="6352968" y="3919741"/>
                </a:cubicBezTo>
                <a:cubicBezTo>
                  <a:pt x="6356695" y="3921339"/>
                  <a:pt x="6359757" y="3923468"/>
                  <a:pt x="6362286" y="3926131"/>
                </a:cubicBezTo>
                <a:cubicBezTo>
                  <a:pt x="6364815" y="3928793"/>
                  <a:pt x="6366945" y="3931988"/>
                  <a:pt x="6368409" y="3935582"/>
                </a:cubicBezTo>
                <a:cubicBezTo>
                  <a:pt x="6369874" y="3939177"/>
                  <a:pt x="6370672" y="3942904"/>
                  <a:pt x="6370672" y="3947031"/>
                </a:cubicBezTo>
                <a:cubicBezTo>
                  <a:pt x="6370672" y="3951157"/>
                  <a:pt x="6369874" y="3955151"/>
                  <a:pt x="6368409" y="3958745"/>
                </a:cubicBezTo>
                <a:cubicBezTo>
                  <a:pt x="6366811" y="3962339"/>
                  <a:pt x="6364815" y="3965401"/>
                  <a:pt x="6362286" y="3968064"/>
                </a:cubicBezTo>
                <a:cubicBezTo>
                  <a:pt x="6359623" y="3970726"/>
                  <a:pt x="6356562" y="3972856"/>
                  <a:pt x="6352968" y="3974320"/>
                </a:cubicBezTo>
                <a:cubicBezTo>
                  <a:pt x="6349373" y="3975784"/>
                  <a:pt x="6345513" y="3976583"/>
                  <a:pt x="6341253" y="3976583"/>
                </a:cubicBezTo>
                <a:cubicBezTo>
                  <a:pt x="6332335" y="3976583"/>
                  <a:pt x="6325013" y="3973654"/>
                  <a:pt x="6319421" y="3968064"/>
                </a:cubicBezTo>
                <a:cubicBezTo>
                  <a:pt x="6313830" y="3962339"/>
                  <a:pt x="6311035" y="3955284"/>
                  <a:pt x="6311035" y="3946897"/>
                </a:cubicBezTo>
                <a:cubicBezTo>
                  <a:pt x="6311035" y="3938645"/>
                  <a:pt x="6313830" y="3931589"/>
                  <a:pt x="6319421" y="3925864"/>
                </a:cubicBezTo>
                <a:cubicBezTo>
                  <a:pt x="6325013" y="3920141"/>
                  <a:pt x="6332201" y="3917212"/>
                  <a:pt x="6341253" y="3917212"/>
                </a:cubicBezTo>
                <a:close/>
                <a:moveTo>
                  <a:pt x="6123608" y="3917212"/>
                </a:moveTo>
                <a:cubicBezTo>
                  <a:pt x="6127867" y="3917212"/>
                  <a:pt x="6131728" y="3918011"/>
                  <a:pt x="6135322" y="3919741"/>
                </a:cubicBezTo>
                <a:cubicBezTo>
                  <a:pt x="6139049" y="3921339"/>
                  <a:pt x="6142111" y="3923468"/>
                  <a:pt x="6144640" y="3926131"/>
                </a:cubicBezTo>
                <a:cubicBezTo>
                  <a:pt x="6147169" y="3928793"/>
                  <a:pt x="6149299" y="3931988"/>
                  <a:pt x="6150763" y="3935582"/>
                </a:cubicBezTo>
                <a:cubicBezTo>
                  <a:pt x="6152228" y="3939177"/>
                  <a:pt x="6153026" y="3942904"/>
                  <a:pt x="6153026" y="3947031"/>
                </a:cubicBezTo>
                <a:cubicBezTo>
                  <a:pt x="6153026" y="3951157"/>
                  <a:pt x="6152228" y="3955151"/>
                  <a:pt x="6150763" y="3958745"/>
                </a:cubicBezTo>
                <a:cubicBezTo>
                  <a:pt x="6149299" y="3962339"/>
                  <a:pt x="6147169" y="3965401"/>
                  <a:pt x="6144640" y="3968064"/>
                </a:cubicBezTo>
                <a:cubicBezTo>
                  <a:pt x="6141977" y="3970726"/>
                  <a:pt x="6138916" y="3972856"/>
                  <a:pt x="6135322" y="3974320"/>
                </a:cubicBezTo>
                <a:cubicBezTo>
                  <a:pt x="6131728" y="3975784"/>
                  <a:pt x="6127867" y="3976583"/>
                  <a:pt x="6123608" y="3976583"/>
                </a:cubicBezTo>
                <a:cubicBezTo>
                  <a:pt x="6114689" y="3976583"/>
                  <a:pt x="6107367" y="3973654"/>
                  <a:pt x="6101775" y="3968064"/>
                </a:cubicBezTo>
                <a:cubicBezTo>
                  <a:pt x="6096184" y="3962339"/>
                  <a:pt x="6093389" y="3955284"/>
                  <a:pt x="6093389" y="3946897"/>
                </a:cubicBezTo>
                <a:cubicBezTo>
                  <a:pt x="6093389" y="3938645"/>
                  <a:pt x="6096184" y="3931589"/>
                  <a:pt x="6101775" y="3925864"/>
                </a:cubicBezTo>
                <a:cubicBezTo>
                  <a:pt x="6107367" y="3920141"/>
                  <a:pt x="6114555" y="3917212"/>
                  <a:pt x="6123608" y="3917212"/>
                </a:cubicBezTo>
                <a:close/>
                <a:moveTo>
                  <a:pt x="5905963" y="3917212"/>
                </a:moveTo>
                <a:cubicBezTo>
                  <a:pt x="5910222" y="3917212"/>
                  <a:pt x="5914216" y="3918011"/>
                  <a:pt x="5917677" y="3919741"/>
                </a:cubicBezTo>
                <a:cubicBezTo>
                  <a:pt x="5921404" y="3921339"/>
                  <a:pt x="5924466" y="3923468"/>
                  <a:pt x="5926995" y="3926131"/>
                </a:cubicBezTo>
                <a:cubicBezTo>
                  <a:pt x="5929524" y="3928793"/>
                  <a:pt x="5931654" y="3931988"/>
                  <a:pt x="5933118" y="3935582"/>
                </a:cubicBezTo>
                <a:cubicBezTo>
                  <a:pt x="5934583" y="3939177"/>
                  <a:pt x="5935381" y="3942904"/>
                  <a:pt x="5935381" y="3947031"/>
                </a:cubicBezTo>
                <a:cubicBezTo>
                  <a:pt x="5935381" y="3951157"/>
                  <a:pt x="5934583" y="3955151"/>
                  <a:pt x="5933118" y="3958745"/>
                </a:cubicBezTo>
                <a:cubicBezTo>
                  <a:pt x="5931654" y="3962339"/>
                  <a:pt x="5929524" y="3965401"/>
                  <a:pt x="5926995" y="3968064"/>
                </a:cubicBezTo>
                <a:cubicBezTo>
                  <a:pt x="5924333" y="3970726"/>
                  <a:pt x="5921271" y="3972856"/>
                  <a:pt x="5917677" y="3974320"/>
                </a:cubicBezTo>
                <a:cubicBezTo>
                  <a:pt x="5914083" y="3975784"/>
                  <a:pt x="5910222" y="3976583"/>
                  <a:pt x="5905963" y="3976583"/>
                </a:cubicBezTo>
                <a:cubicBezTo>
                  <a:pt x="5897044" y="3976583"/>
                  <a:pt x="5889722" y="3973654"/>
                  <a:pt x="5884130" y="3968064"/>
                </a:cubicBezTo>
                <a:cubicBezTo>
                  <a:pt x="5878540" y="3962339"/>
                  <a:pt x="5875744" y="3955284"/>
                  <a:pt x="5875744" y="3946897"/>
                </a:cubicBezTo>
                <a:cubicBezTo>
                  <a:pt x="5875744" y="3938645"/>
                  <a:pt x="5878540" y="3931589"/>
                  <a:pt x="5884130" y="3925864"/>
                </a:cubicBezTo>
                <a:cubicBezTo>
                  <a:pt x="5889722" y="3920141"/>
                  <a:pt x="5896910" y="3917212"/>
                  <a:pt x="5905963" y="3917212"/>
                </a:cubicBezTo>
                <a:close/>
                <a:moveTo>
                  <a:pt x="5688451" y="3917212"/>
                </a:moveTo>
                <a:cubicBezTo>
                  <a:pt x="5692577" y="3917212"/>
                  <a:pt x="5696571" y="3918011"/>
                  <a:pt x="5700165" y="3919741"/>
                </a:cubicBezTo>
                <a:cubicBezTo>
                  <a:pt x="5703892" y="3921339"/>
                  <a:pt x="5706954" y="3923468"/>
                  <a:pt x="5709483" y="3926131"/>
                </a:cubicBezTo>
                <a:cubicBezTo>
                  <a:pt x="5712012" y="3928793"/>
                  <a:pt x="5714142" y="3931988"/>
                  <a:pt x="5715606" y="3935582"/>
                </a:cubicBezTo>
                <a:cubicBezTo>
                  <a:pt x="5717071" y="3939177"/>
                  <a:pt x="5717869" y="3942904"/>
                  <a:pt x="5717869" y="3947031"/>
                </a:cubicBezTo>
                <a:cubicBezTo>
                  <a:pt x="5717869" y="3951157"/>
                  <a:pt x="5717071" y="3955151"/>
                  <a:pt x="5715606" y="3958745"/>
                </a:cubicBezTo>
                <a:cubicBezTo>
                  <a:pt x="5714142" y="3962339"/>
                  <a:pt x="5712012" y="3965401"/>
                  <a:pt x="5709483" y="3968064"/>
                </a:cubicBezTo>
                <a:cubicBezTo>
                  <a:pt x="5706820" y="3970726"/>
                  <a:pt x="5703759" y="3972856"/>
                  <a:pt x="5700165" y="3974320"/>
                </a:cubicBezTo>
                <a:cubicBezTo>
                  <a:pt x="5696571" y="3975784"/>
                  <a:pt x="5692710" y="3976583"/>
                  <a:pt x="5688451" y="3976583"/>
                </a:cubicBezTo>
                <a:cubicBezTo>
                  <a:pt x="5679532" y="3976583"/>
                  <a:pt x="5672210" y="3973654"/>
                  <a:pt x="5666618" y="3968064"/>
                </a:cubicBezTo>
                <a:cubicBezTo>
                  <a:pt x="5661028" y="3962339"/>
                  <a:pt x="5658232" y="3955284"/>
                  <a:pt x="5658232" y="3946897"/>
                </a:cubicBezTo>
                <a:cubicBezTo>
                  <a:pt x="5658232" y="3938645"/>
                  <a:pt x="5661028" y="3931589"/>
                  <a:pt x="5666618" y="3925864"/>
                </a:cubicBezTo>
                <a:cubicBezTo>
                  <a:pt x="5672210" y="3920141"/>
                  <a:pt x="5679398" y="3917212"/>
                  <a:pt x="5688451" y="3917212"/>
                </a:cubicBezTo>
                <a:close/>
                <a:moveTo>
                  <a:pt x="5470806" y="3917212"/>
                </a:moveTo>
                <a:cubicBezTo>
                  <a:pt x="5475065" y="3917212"/>
                  <a:pt x="5478926" y="3918011"/>
                  <a:pt x="5482520" y="3919741"/>
                </a:cubicBezTo>
                <a:cubicBezTo>
                  <a:pt x="5486247" y="3921339"/>
                  <a:pt x="5489309" y="3923468"/>
                  <a:pt x="5491838" y="3926131"/>
                </a:cubicBezTo>
                <a:cubicBezTo>
                  <a:pt x="5494367" y="3928793"/>
                  <a:pt x="5496497" y="3931988"/>
                  <a:pt x="5497961" y="3935582"/>
                </a:cubicBezTo>
                <a:cubicBezTo>
                  <a:pt x="5499426" y="3939177"/>
                  <a:pt x="5500224" y="3942904"/>
                  <a:pt x="5500224" y="3947031"/>
                </a:cubicBezTo>
                <a:cubicBezTo>
                  <a:pt x="5500224" y="3951157"/>
                  <a:pt x="5499426" y="3955151"/>
                  <a:pt x="5497961" y="3958745"/>
                </a:cubicBezTo>
                <a:cubicBezTo>
                  <a:pt x="5496497" y="3962339"/>
                  <a:pt x="5494367" y="3965401"/>
                  <a:pt x="5491838" y="3968064"/>
                </a:cubicBezTo>
                <a:cubicBezTo>
                  <a:pt x="5489176" y="3970726"/>
                  <a:pt x="5486114" y="3972856"/>
                  <a:pt x="5482520" y="3974320"/>
                </a:cubicBezTo>
                <a:cubicBezTo>
                  <a:pt x="5478926" y="3975784"/>
                  <a:pt x="5475065" y="3976583"/>
                  <a:pt x="5470806" y="3976583"/>
                </a:cubicBezTo>
                <a:cubicBezTo>
                  <a:pt x="5461887" y="3976583"/>
                  <a:pt x="5454565" y="3973654"/>
                  <a:pt x="5448973" y="3968064"/>
                </a:cubicBezTo>
                <a:cubicBezTo>
                  <a:pt x="5443383" y="3962339"/>
                  <a:pt x="5440587" y="3955284"/>
                  <a:pt x="5440587" y="3946897"/>
                </a:cubicBezTo>
                <a:cubicBezTo>
                  <a:pt x="5440587" y="3938645"/>
                  <a:pt x="5443383" y="3931589"/>
                  <a:pt x="5448973" y="3925864"/>
                </a:cubicBezTo>
                <a:cubicBezTo>
                  <a:pt x="5454565" y="3920141"/>
                  <a:pt x="5461754" y="3917212"/>
                  <a:pt x="5470806" y="3917212"/>
                </a:cubicBezTo>
                <a:close/>
                <a:moveTo>
                  <a:pt x="5253160" y="3917212"/>
                </a:moveTo>
                <a:cubicBezTo>
                  <a:pt x="5257420" y="3917212"/>
                  <a:pt x="5261280" y="3918011"/>
                  <a:pt x="5264875" y="3919741"/>
                </a:cubicBezTo>
                <a:cubicBezTo>
                  <a:pt x="5268602" y="3921339"/>
                  <a:pt x="5271664" y="3923468"/>
                  <a:pt x="5274192" y="3926131"/>
                </a:cubicBezTo>
                <a:cubicBezTo>
                  <a:pt x="5276722" y="3928793"/>
                  <a:pt x="5278852" y="3931988"/>
                  <a:pt x="5280316" y="3935582"/>
                </a:cubicBezTo>
                <a:cubicBezTo>
                  <a:pt x="5281780" y="3939177"/>
                  <a:pt x="5282579" y="3942904"/>
                  <a:pt x="5282579" y="3947031"/>
                </a:cubicBezTo>
                <a:cubicBezTo>
                  <a:pt x="5282579" y="3951157"/>
                  <a:pt x="5281780" y="3955151"/>
                  <a:pt x="5280316" y="3958745"/>
                </a:cubicBezTo>
                <a:cubicBezTo>
                  <a:pt x="5278852" y="3962339"/>
                  <a:pt x="5276722" y="3965401"/>
                  <a:pt x="5274192" y="3968064"/>
                </a:cubicBezTo>
                <a:cubicBezTo>
                  <a:pt x="5271664" y="3970726"/>
                  <a:pt x="5268469" y="3972856"/>
                  <a:pt x="5264875" y="3974320"/>
                </a:cubicBezTo>
                <a:cubicBezTo>
                  <a:pt x="5261280" y="3975784"/>
                  <a:pt x="5257420" y="3976583"/>
                  <a:pt x="5253160" y="3976583"/>
                </a:cubicBezTo>
                <a:cubicBezTo>
                  <a:pt x="5244241" y="3976583"/>
                  <a:pt x="5236920" y="3973654"/>
                  <a:pt x="5231328" y="3968064"/>
                </a:cubicBezTo>
                <a:cubicBezTo>
                  <a:pt x="5225737" y="3962339"/>
                  <a:pt x="5222942" y="3955284"/>
                  <a:pt x="5222942" y="3946897"/>
                </a:cubicBezTo>
                <a:cubicBezTo>
                  <a:pt x="5222942" y="3938645"/>
                  <a:pt x="5225737" y="3931589"/>
                  <a:pt x="5231328" y="3925864"/>
                </a:cubicBezTo>
                <a:cubicBezTo>
                  <a:pt x="5236920" y="3920141"/>
                  <a:pt x="5244108" y="3917212"/>
                  <a:pt x="5253160" y="3917212"/>
                </a:cubicBezTo>
                <a:close/>
                <a:moveTo>
                  <a:pt x="5035515" y="3917212"/>
                </a:moveTo>
                <a:cubicBezTo>
                  <a:pt x="5039775" y="3917212"/>
                  <a:pt x="5043636" y="3918011"/>
                  <a:pt x="5047230" y="3919741"/>
                </a:cubicBezTo>
                <a:cubicBezTo>
                  <a:pt x="5050957" y="3921339"/>
                  <a:pt x="5054019" y="3923468"/>
                  <a:pt x="5056548" y="3926131"/>
                </a:cubicBezTo>
                <a:cubicBezTo>
                  <a:pt x="5059077" y="3928793"/>
                  <a:pt x="5061207" y="3931988"/>
                  <a:pt x="5062671" y="3935582"/>
                </a:cubicBezTo>
                <a:cubicBezTo>
                  <a:pt x="5064135" y="3939177"/>
                  <a:pt x="5064934" y="3942904"/>
                  <a:pt x="5064934" y="3947031"/>
                </a:cubicBezTo>
                <a:cubicBezTo>
                  <a:pt x="5064934" y="3951157"/>
                  <a:pt x="5064135" y="3955151"/>
                  <a:pt x="5062671" y="3958745"/>
                </a:cubicBezTo>
                <a:cubicBezTo>
                  <a:pt x="5061207" y="3962339"/>
                  <a:pt x="5059077" y="3965401"/>
                  <a:pt x="5056548" y="3968064"/>
                </a:cubicBezTo>
                <a:cubicBezTo>
                  <a:pt x="5053885" y="3970726"/>
                  <a:pt x="5050824" y="3972856"/>
                  <a:pt x="5047230" y="3974320"/>
                </a:cubicBezTo>
                <a:cubicBezTo>
                  <a:pt x="5043636" y="3975784"/>
                  <a:pt x="5039775" y="3976583"/>
                  <a:pt x="5035515" y="3976583"/>
                </a:cubicBezTo>
                <a:cubicBezTo>
                  <a:pt x="5026597" y="3976583"/>
                  <a:pt x="5019275" y="3973654"/>
                  <a:pt x="5013683" y="3968064"/>
                </a:cubicBezTo>
                <a:cubicBezTo>
                  <a:pt x="5008092" y="3962339"/>
                  <a:pt x="5005297" y="3955284"/>
                  <a:pt x="5005297" y="3946897"/>
                </a:cubicBezTo>
                <a:cubicBezTo>
                  <a:pt x="5005297" y="3938645"/>
                  <a:pt x="5008092" y="3931589"/>
                  <a:pt x="5013683" y="3925864"/>
                </a:cubicBezTo>
                <a:cubicBezTo>
                  <a:pt x="5019275" y="3920141"/>
                  <a:pt x="5026463" y="3917212"/>
                  <a:pt x="5035515" y="3917212"/>
                </a:cubicBezTo>
                <a:close/>
                <a:moveTo>
                  <a:pt x="4817870" y="3917212"/>
                </a:moveTo>
                <a:cubicBezTo>
                  <a:pt x="4822130" y="3917212"/>
                  <a:pt x="4826124" y="3918011"/>
                  <a:pt x="4829585" y="3919741"/>
                </a:cubicBezTo>
                <a:cubicBezTo>
                  <a:pt x="4833312" y="3921339"/>
                  <a:pt x="4836374" y="3923468"/>
                  <a:pt x="4838903" y="3926131"/>
                </a:cubicBezTo>
                <a:cubicBezTo>
                  <a:pt x="4841432" y="3928793"/>
                  <a:pt x="4843562" y="3931988"/>
                  <a:pt x="4845026" y="3935582"/>
                </a:cubicBezTo>
                <a:cubicBezTo>
                  <a:pt x="4846491" y="3939177"/>
                  <a:pt x="4847289" y="3942904"/>
                  <a:pt x="4847289" y="3947031"/>
                </a:cubicBezTo>
                <a:cubicBezTo>
                  <a:pt x="4847289" y="3951157"/>
                  <a:pt x="4846491" y="3955151"/>
                  <a:pt x="4845026" y="3958745"/>
                </a:cubicBezTo>
                <a:cubicBezTo>
                  <a:pt x="4843562" y="3962339"/>
                  <a:pt x="4841432" y="3965401"/>
                  <a:pt x="4838903" y="3968064"/>
                </a:cubicBezTo>
                <a:cubicBezTo>
                  <a:pt x="4836240" y="3970726"/>
                  <a:pt x="4833179" y="3972856"/>
                  <a:pt x="4829585" y="3974320"/>
                </a:cubicBezTo>
                <a:cubicBezTo>
                  <a:pt x="4825991" y="3975784"/>
                  <a:pt x="4822130" y="3976583"/>
                  <a:pt x="4817870" y="3976583"/>
                </a:cubicBezTo>
                <a:cubicBezTo>
                  <a:pt x="4808952" y="3976583"/>
                  <a:pt x="4801630" y="3973654"/>
                  <a:pt x="4796038" y="3968064"/>
                </a:cubicBezTo>
                <a:cubicBezTo>
                  <a:pt x="4790447" y="3962339"/>
                  <a:pt x="4787652" y="3955284"/>
                  <a:pt x="4787652" y="3946897"/>
                </a:cubicBezTo>
                <a:cubicBezTo>
                  <a:pt x="4787652" y="3938645"/>
                  <a:pt x="4790447" y="3931589"/>
                  <a:pt x="4796038" y="3925864"/>
                </a:cubicBezTo>
                <a:cubicBezTo>
                  <a:pt x="4801630" y="3920141"/>
                  <a:pt x="4808818" y="3917212"/>
                  <a:pt x="4817870" y="3917212"/>
                </a:cubicBezTo>
                <a:close/>
                <a:moveTo>
                  <a:pt x="4600226" y="3917212"/>
                </a:moveTo>
                <a:cubicBezTo>
                  <a:pt x="4604485" y="3917212"/>
                  <a:pt x="4608479" y="3918011"/>
                  <a:pt x="4612073" y="3919741"/>
                </a:cubicBezTo>
                <a:cubicBezTo>
                  <a:pt x="4615800" y="3921339"/>
                  <a:pt x="4618862" y="3923468"/>
                  <a:pt x="4621391" y="3926131"/>
                </a:cubicBezTo>
                <a:cubicBezTo>
                  <a:pt x="4623920" y="3928793"/>
                  <a:pt x="4626050" y="3931988"/>
                  <a:pt x="4627514" y="3935582"/>
                </a:cubicBezTo>
                <a:cubicBezTo>
                  <a:pt x="4628978" y="3939177"/>
                  <a:pt x="4629777" y="3942904"/>
                  <a:pt x="4629777" y="3947031"/>
                </a:cubicBezTo>
                <a:cubicBezTo>
                  <a:pt x="4629777" y="3951157"/>
                  <a:pt x="4628978" y="3955151"/>
                  <a:pt x="4627514" y="3958745"/>
                </a:cubicBezTo>
                <a:cubicBezTo>
                  <a:pt x="4626050" y="3962339"/>
                  <a:pt x="4623920" y="3965401"/>
                  <a:pt x="4621391" y="3968064"/>
                </a:cubicBezTo>
                <a:cubicBezTo>
                  <a:pt x="4618729" y="3970726"/>
                  <a:pt x="4615667" y="3972856"/>
                  <a:pt x="4612073" y="3974320"/>
                </a:cubicBezTo>
                <a:cubicBezTo>
                  <a:pt x="4608346" y="3975784"/>
                  <a:pt x="4604485" y="3976583"/>
                  <a:pt x="4600226" y="3976583"/>
                </a:cubicBezTo>
                <a:cubicBezTo>
                  <a:pt x="4591173" y="3976583"/>
                  <a:pt x="4583985" y="3973654"/>
                  <a:pt x="4578393" y="3968064"/>
                </a:cubicBezTo>
                <a:cubicBezTo>
                  <a:pt x="4572803" y="3962339"/>
                  <a:pt x="4570007" y="3955284"/>
                  <a:pt x="4570007" y="3946897"/>
                </a:cubicBezTo>
                <a:cubicBezTo>
                  <a:pt x="4570007" y="3938645"/>
                  <a:pt x="4572803" y="3931589"/>
                  <a:pt x="4578393" y="3925864"/>
                </a:cubicBezTo>
                <a:cubicBezTo>
                  <a:pt x="4583985" y="3920141"/>
                  <a:pt x="4591173" y="3917212"/>
                  <a:pt x="4600226" y="3917212"/>
                </a:cubicBezTo>
                <a:close/>
                <a:moveTo>
                  <a:pt x="4382713" y="3917212"/>
                </a:moveTo>
                <a:cubicBezTo>
                  <a:pt x="4386840" y="3917212"/>
                  <a:pt x="4390834" y="3918011"/>
                  <a:pt x="4394428" y="3919741"/>
                </a:cubicBezTo>
                <a:cubicBezTo>
                  <a:pt x="4398155" y="3921339"/>
                  <a:pt x="4401217" y="3923468"/>
                  <a:pt x="4403746" y="3926131"/>
                </a:cubicBezTo>
                <a:cubicBezTo>
                  <a:pt x="4406275" y="3928793"/>
                  <a:pt x="4408405" y="3931988"/>
                  <a:pt x="4409869" y="3935582"/>
                </a:cubicBezTo>
                <a:cubicBezTo>
                  <a:pt x="4411334" y="3939177"/>
                  <a:pt x="4412132" y="3942904"/>
                  <a:pt x="4412132" y="3947031"/>
                </a:cubicBezTo>
                <a:cubicBezTo>
                  <a:pt x="4412132" y="3951157"/>
                  <a:pt x="4411334" y="3955151"/>
                  <a:pt x="4409869" y="3958745"/>
                </a:cubicBezTo>
                <a:cubicBezTo>
                  <a:pt x="4408405" y="3962339"/>
                  <a:pt x="4406275" y="3965401"/>
                  <a:pt x="4403746" y="3968064"/>
                </a:cubicBezTo>
                <a:cubicBezTo>
                  <a:pt x="4401083" y="3970726"/>
                  <a:pt x="4398022" y="3972856"/>
                  <a:pt x="4394428" y="3974320"/>
                </a:cubicBezTo>
                <a:cubicBezTo>
                  <a:pt x="4390834" y="3975784"/>
                  <a:pt x="4386973" y="3976583"/>
                  <a:pt x="4382713" y="3976583"/>
                </a:cubicBezTo>
                <a:cubicBezTo>
                  <a:pt x="4373661" y="3976583"/>
                  <a:pt x="4366473" y="3973654"/>
                  <a:pt x="4360881" y="3968064"/>
                </a:cubicBezTo>
                <a:cubicBezTo>
                  <a:pt x="4355290" y="3962339"/>
                  <a:pt x="4352495" y="3955284"/>
                  <a:pt x="4352495" y="3946897"/>
                </a:cubicBezTo>
                <a:cubicBezTo>
                  <a:pt x="4352495" y="3938645"/>
                  <a:pt x="4355290" y="3931589"/>
                  <a:pt x="4360881" y="3925864"/>
                </a:cubicBezTo>
                <a:cubicBezTo>
                  <a:pt x="4366473" y="3920141"/>
                  <a:pt x="4373661" y="3917212"/>
                  <a:pt x="4382713" y="3917212"/>
                </a:cubicBezTo>
                <a:close/>
                <a:moveTo>
                  <a:pt x="4165068" y="3917212"/>
                </a:moveTo>
                <a:cubicBezTo>
                  <a:pt x="4169327" y="3917212"/>
                  <a:pt x="4173188" y="3918011"/>
                  <a:pt x="4176782" y="3919741"/>
                </a:cubicBezTo>
                <a:cubicBezTo>
                  <a:pt x="4180509" y="3921339"/>
                  <a:pt x="4183571" y="3923468"/>
                  <a:pt x="4186100" y="3926131"/>
                </a:cubicBezTo>
                <a:cubicBezTo>
                  <a:pt x="4188629" y="3928793"/>
                  <a:pt x="4190759" y="3931988"/>
                  <a:pt x="4192223" y="3935582"/>
                </a:cubicBezTo>
                <a:cubicBezTo>
                  <a:pt x="4193688" y="3939177"/>
                  <a:pt x="4194486" y="3942904"/>
                  <a:pt x="4194486" y="3947031"/>
                </a:cubicBezTo>
                <a:cubicBezTo>
                  <a:pt x="4194486" y="3951157"/>
                  <a:pt x="4193688" y="3955151"/>
                  <a:pt x="4192223" y="3958745"/>
                </a:cubicBezTo>
                <a:cubicBezTo>
                  <a:pt x="4190759" y="3962339"/>
                  <a:pt x="4188629" y="3965401"/>
                  <a:pt x="4186100" y="3968064"/>
                </a:cubicBezTo>
                <a:cubicBezTo>
                  <a:pt x="4183438" y="3970726"/>
                  <a:pt x="4180376" y="3972856"/>
                  <a:pt x="4176782" y="3974320"/>
                </a:cubicBezTo>
                <a:cubicBezTo>
                  <a:pt x="4173188" y="3975784"/>
                  <a:pt x="4169327" y="3976583"/>
                  <a:pt x="4165068" y="3976583"/>
                </a:cubicBezTo>
                <a:cubicBezTo>
                  <a:pt x="4156015" y="3976583"/>
                  <a:pt x="4148827" y="3973654"/>
                  <a:pt x="4143235" y="3968064"/>
                </a:cubicBezTo>
                <a:cubicBezTo>
                  <a:pt x="4137645" y="3962339"/>
                  <a:pt x="4134849" y="3955284"/>
                  <a:pt x="4134849" y="3946897"/>
                </a:cubicBezTo>
                <a:cubicBezTo>
                  <a:pt x="4134849" y="3938645"/>
                  <a:pt x="4137645" y="3931589"/>
                  <a:pt x="4143235" y="3925864"/>
                </a:cubicBezTo>
                <a:cubicBezTo>
                  <a:pt x="4148827" y="3920141"/>
                  <a:pt x="4156015" y="3917212"/>
                  <a:pt x="4165068" y="3917212"/>
                </a:cubicBezTo>
                <a:close/>
                <a:moveTo>
                  <a:pt x="3947640" y="3917212"/>
                </a:moveTo>
                <a:cubicBezTo>
                  <a:pt x="3951902" y="3917212"/>
                  <a:pt x="3955761" y="3918011"/>
                  <a:pt x="3959356" y="3919741"/>
                </a:cubicBezTo>
                <a:cubicBezTo>
                  <a:pt x="3963085" y="3921339"/>
                  <a:pt x="3966145" y="3923468"/>
                  <a:pt x="3968674" y="3926131"/>
                </a:cubicBezTo>
                <a:cubicBezTo>
                  <a:pt x="3971205" y="3928793"/>
                  <a:pt x="3973334" y="3931988"/>
                  <a:pt x="3974798" y="3935582"/>
                </a:cubicBezTo>
                <a:cubicBezTo>
                  <a:pt x="3976263" y="3939177"/>
                  <a:pt x="3977062" y="3942904"/>
                  <a:pt x="3977062" y="3947031"/>
                </a:cubicBezTo>
                <a:cubicBezTo>
                  <a:pt x="3977062" y="3951157"/>
                  <a:pt x="3976263" y="3955151"/>
                  <a:pt x="3974798" y="3958745"/>
                </a:cubicBezTo>
                <a:cubicBezTo>
                  <a:pt x="3973334" y="3962339"/>
                  <a:pt x="3971205" y="3965401"/>
                  <a:pt x="3968674" y="3968064"/>
                </a:cubicBezTo>
                <a:cubicBezTo>
                  <a:pt x="3966013" y="3970726"/>
                  <a:pt x="3962951" y="3972856"/>
                  <a:pt x="3959356" y="3974320"/>
                </a:cubicBezTo>
                <a:cubicBezTo>
                  <a:pt x="3955761" y="3975784"/>
                  <a:pt x="3951902" y="3976583"/>
                  <a:pt x="3947640" y="3976583"/>
                </a:cubicBezTo>
                <a:cubicBezTo>
                  <a:pt x="3938587" y="3976583"/>
                  <a:pt x="3931399" y="3973654"/>
                  <a:pt x="3925807" y="3968064"/>
                </a:cubicBezTo>
                <a:cubicBezTo>
                  <a:pt x="3920216" y="3962339"/>
                  <a:pt x="3917421" y="3955284"/>
                  <a:pt x="3917421" y="3946897"/>
                </a:cubicBezTo>
                <a:cubicBezTo>
                  <a:pt x="3917421" y="3938645"/>
                  <a:pt x="3920216" y="3931589"/>
                  <a:pt x="3925807" y="3925864"/>
                </a:cubicBezTo>
                <a:cubicBezTo>
                  <a:pt x="3931399" y="3920141"/>
                  <a:pt x="3938587" y="3917212"/>
                  <a:pt x="3947640" y="3917212"/>
                </a:cubicBezTo>
                <a:close/>
                <a:moveTo>
                  <a:pt x="3729984" y="3917212"/>
                </a:moveTo>
                <a:cubicBezTo>
                  <a:pt x="3734245" y="3917212"/>
                  <a:pt x="3738238" y="3918011"/>
                  <a:pt x="3741700" y="3919741"/>
                </a:cubicBezTo>
                <a:cubicBezTo>
                  <a:pt x="3745294" y="3921339"/>
                  <a:pt x="3748489" y="3923468"/>
                  <a:pt x="3751018" y="3926131"/>
                </a:cubicBezTo>
                <a:cubicBezTo>
                  <a:pt x="3753548" y="3928793"/>
                  <a:pt x="3755677" y="3931988"/>
                  <a:pt x="3757141" y="3935582"/>
                </a:cubicBezTo>
                <a:cubicBezTo>
                  <a:pt x="3758605" y="3939177"/>
                  <a:pt x="3759404" y="3942904"/>
                  <a:pt x="3759404" y="3947031"/>
                </a:cubicBezTo>
                <a:cubicBezTo>
                  <a:pt x="3759404" y="3951157"/>
                  <a:pt x="3758605" y="3955151"/>
                  <a:pt x="3757141" y="3958745"/>
                </a:cubicBezTo>
                <a:cubicBezTo>
                  <a:pt x="3755677" y="3962339"/>
                  <a:pt x="3753548" y="3965401"/>
                  <a:pt x="3751018" y="3968064"/>
                </a:cubicBezTo>
                <a:cubicBezTo>
                  <a:pt x="3748355" y="3970726"/>
                  <a:pt x="3745294" y="3972856"/>
                  <a:pt x="3741700" y="3974320"/>
                </a:cubicBezTo>
                <a:cubicBezTo>
                  <a:pt x="3738106" y="3975784"/>
                  <a:pt x="3734245" y="3976583"/>
                  <a:pt x="3729984" y="3976583"/>
                </a:cubicBezTo>
                <a:cubicBezTo>
                  <a:pt x="3720932" y="3976583"/>
                  <a:pt x="3713743" y="3973654"/>
                  <a:pt x="3708147" y="3968064"/>
                </a:cubicBezTo>
                <a:cubicBezTo>
                  <a:pt x="3702555" y="3962339"/>
                  <a:pt x="3699761" y="3955284"/>
                  <a:pt x="3699761" y="3946897"/>
                </a:cubicBezTo>
                <a:cubicBezTo>
                  <a:pt x="3699761" y="3938645"/>
                  <a:pt x="3702555" y="3931589"/>
                  <a:pt x="3708147" y="3925864"/>
                </a:cubicBezTo>
                <a:cubicBezTo>
                  <a:pt x="3713743" y="3920141"/>
                  <a:pt x="3720932" y="3917212"/>
                  <a:pt x="3729984" y="3917212"/>
                </a:cubicBezTo>
                <a:close/>
                <a:moveTo>
                  <a:pt x="3512328" y="3917212"/>
                </a:moveTo>
                <a:cubicBezTo>
                  <a:pt x="3516589" y="3917212"/>
                  <a:pt x="3520582" y="3918011"/>
                  <a:pt x="3524044" y="3919741"/>
                </a:cubicBezTo>
                <a:cubicBezTo>
                  <a:pt x="3527637" y="3921339"/>
                  <a:pt x="3530833" y="3923468"/>
                  <a:pt x="3533362" y="3926131"/>
                </a:cubicBezTo>
                <a:cubicBezTo>
                  <a:pt x="3535891" y="3928793"/>
                  <a:pt x="3538021" y="3931988"/>
                  <a:pt x="3539485" y="3935582"/>
                </a:cubicBezTo>
                <a:cubicBezTo>
                  <a:pt x="3540949" y="3939177"/>
                  <a:pt x="3541748" y="3942904"/>
                  <a:pt x="3541748" y="3947031"/>
                </a:cubicBezTo>
                <a:cubicBezTo>
                  <a:pt x="3541748" y="3951157"/>
                  <a:pt x="3540949" y="3955151"/>
                  <a:pt x="3539485" y="3958745"/>
                </a:cubicBezTo>
                <a:cubicBezTo>
                  <a:pt x="3538021" y="3962339"/>
                  <a:pt x="3535891" y="3965401"/>
                  <a:pt x="3533362" y="3968064"/>
                </a:cubicBezTo>
                <a:cubicBezTo>
                  <a:pt x="3530699" y="3970726"/>
                  <a:pt x="3527637" y="3972856"/>
                  <a:pt x="3524044" y="3974320"/>
                </a:cubicBezTo>
                <a:cubicBezTo>
                  <a:pt x="3520450" y="3975784"/>
                  <a:pt x="3516589" y="3976583"/>
                  <a:pt x="3512328" y="3976583"/>
                </a:cubicBezTo>
                <a:cubicBezTo>
                  <a:pt x="3503274" y="3976583"/>
                  <a:pt x="3496084" y="3973654"/>
                  <a:pt x="3490493" y="3968064"/>
                </a:cubicBezTo>
                <a:cubicBezTo>
                  <a:pt x="3484902" y="3962339"/>
                  <a:pt x="3482106" y="3955284"/>
                  <a:pt x="3482106" y="3946897"/>
                </a:cubicBezTo>
                <a:cubicBezTo>
                  <a:pt x="3482106" y="3938645"/>
                  <a:pt x="3484902" y="3931589"/>
                  <a:pt x="3490493" y="3925864"/>
                </a:cubicBezTo>
                <a:cubicBezTo>
                  <a:pt x="3496084" y="3920141"/>
                  <a:pt x="3503274" y="3917212"/>
                  <a:pt x="3512328" y="3917212"/>
                </a:cubicBezTo>
                <a:close/>
                <a:moveTo>
                  <a:pt x="3294805" y="3917212"/>
                </a:moveTo>
                <a:cubicBezTo>
                  <a:pt x="3298932" y="3917212"/>
                  <a:pt x="3302926" y="3918011"/>
                  <a:pt x="3306521" y="3919741"/>
                </a:cubicBezTo>
                <a:cubicBezTo>
                  <a:pt x="3310248" y="3921339"/>
                  <a:pt x="3313309" y="3923468"/>
                  <a:pt x="3315839" y="3926131"/>
                </a:cubicBezTo>
                <a:cubicBezTo>
                  <a:pt x="3318368" y="3928793"/>
                  <a:pt x="3320498" y="3931988"/>
                  <a:pt x="3321962" y="3935582"/>
                </a:cubicBezTo>
                <a:cubicBezTo>
                  <a:pt x="3323426" y="3939177"/>
                  <a:pt x="3324225" y="3942904"/>
                  <a:pt x="3324225" y="3947031"/>
                </a:cubicBezTo>
                <a:cubicBezTo>
                  <a:pt x="3324225" y="3951157"/>
                  <a:pt x="3323426" y="3955151"/>
                  <a:pt x="3321962" y="3958745"/>
                </a:cubicBezTo>
                <a:cubicBezTo>
                  <a:pt x="3320498" y="3962339"/>
                  <a:pt x="3318368" y="3965401"/>
                  <a:pt x="3315839" y="3968064"/>
                </a:cubicBezTo>
                <a:cubicBezTo>
                  <a:pt x="3313175" y="3970726"/>
                  <a:pt x="3310114" y="3972856"/>
                  <a:pt x="3306521" y="3974320"/>
                </a:cubicBezTo>
                <a:cubicBezTo>
                  <a:pt x="3302926" y="3975784"/>
                  <a:pt x="3299065" y="3976583"/>
                  <a:pt x="3294805" y="3976583"/>
                </a:cubicBezTo>
                <a:cubicBezTo>
                  <a:pt x="3285751" y="3976583"/>
                  <a:pt x="3278562" y="3973654"/>
                  <a:pt x="3272969" y="3968064"/>
                </a:cubicBezTo>
                <a:cubicBezTo>
                  <a:pt x="3267376" y="3962339"/>
                  <a:pt x="3264581" y="3955284"/>
                  <a:pt x="3264581" y="3946897"/>
                </a:cubicBezTo>
                <a:cubicBezTo>
                  <a:pt x="3264581" y="3938645"/>
                  <a:pt x="3267376" y="3931589"/>
                  <a:pt x="3272969" y="3925864"/>
                </a:cubicBezTo>
                <a:cubicBezTo>
                  <a:pt x="3278562" y="3920141"/>
                  <a:pt x="3285751" y="3917212"/>
                  <a:pt x="3294805" y="3917212"/>
                </a:cubicBezTo>
                <a:close/>
                <a:moveTo>
                  <a:pt x="3077148" y="3917212"/>
                </a:moveTo>
                <a:cubicBezTo>
                  <a:pt x="3081276" y="3917212"/>
                  <a:pt x="3085270" y="3918011"/>
                  <a:pt x="3088864" y="3919741"/>
                </a:cubicBezTo>
                <a:cubicBezTo>
                  <a:pt x="3092458" y="3921339"/>
                  <a:pt x="3095653" y="3923468"/>
                  <a:pt x="3098182" y="3926131"/>
                </a:cubicBezTo>
                <a:cubicBezTo>
                  <a:pt x="3100711" y="3928793"/>
                  <a:pt x="3102841" y="3931988"/>
                  <a:pt x="3104305" y="3935582"/>
                </a:cubicBezTo>
                <a:cubicBezTo>
                  <a:pt x="3105770" y="3939177"/>
                  <a:pt x="3106568" y="3942904"/>
                  <a:pt x="3106568" y="3947031"/>
                </a:cubicBezTo>
                <a:cubicBezTo>
                  <a:pt x="3106568" y="3951157"/>
                  <a:pt x="3105770" y="3955151"/>
                  <a:pt x="3104305" y="3958745"/>
                </a:cubicBezTo>
                <a:cubicBezTo>
                  <a:pt x="3102841" y="3962339"/>
                  <a:pt x="3100711" y="3965401"/>
                  <a:pt x="3098182" y="3968064"/>
                </a:cubicBezTo>
                <a:cubicBezTo>
                  <a:pt x="3095519" y="3970726"/>
                  <a:pt x="3092458" y="3972856"/>
                  <a:pt x="3088864" y="3974320"/>
                </a:cubicBezTo>
                <a:cubicBezTo>
                  <a:pt x="3085270" y="3975784"/>
                  <a:pt x="3081409" y="3976583"/>
                  <a:pt x="3077148" y="3976583"/>
                </a:cubicBezTo>
                <a:cubicBezTo>
                  <a:pt x="3068228" y="3976583"/>
                  <a:pt x="3060906" y="3973654"/>
                  <a:pt x="3055312" y="3968064"/>
                </a:cubicBezTo>
                <a:cubicBezTo>
                  <a:pt x="3049722" y="3962339"/>
                  <a:pt x="3046926" y="3955284"/>
                  <a:pt x="3046926" y="3946897"/>
                </a:cubicBezTo>
                <a:cubicBezTo>
                  <a:pt x="3046926" y="3938645"/>
                  <a:pt x="3049722" y="3931589"/>
                  <a:pt x="3055312" y="3925864"/>
                </a:cubicBezTo>
                <a:cubicBezTo>
                  <a:pt x="3060906" y="3920141"/>
                  <a:pt x="3068095" y="3917212"/>
                  <a:pt x="3077148" y="3917212"/>
                </a:cubicBezTo>
                <a:close/>
                <a:moveTo>
                  <a:pt x="2859492" y="3917212"/>
                </a:moveTo>
                <a:cubicBezTo>
                  <a:pt x="2863753" y="3917212"/>
                  <a:pt x="2867614" y="3918011"/>
                  <a:pt x="2871341" y="3919741"/>
                </a:cubicBezTo>
                <a:cubicBezTo>
                  <a:pt x="2875068" y="3921339"/>
                  <a:pt x="2878130" y="3923468"/>
                  <a:pt x="2880659" y="3926131"/>
                </a:cubicBezTo>
                <a:cubicBezTo>
                  <a:pt x="2883321" y="3928793"/>
                  <a:pt x="2885318" y="3931988"/>
                  <a:pt x="2886782" y="3935582"/>
                </a:cubicBezTo>
                <a:cubicBezTo>
                  <a:pt x="2888247" y="3939177"/>
                  <a:pt x="2889045" y="3942904"/>
                  <a:pt x="2889045" y="3947031"/>
                </a:cubicBezTo>
                <a:cubicBezTo>
                  <a:pt x="2889045" y="3951157"/>
                  <a:pt x="2888247" y="3955151"/>
                  <a:pt x="2886782" y="3958745"/>
                </a:cubicBezTo>
                <a:cubicBezTo>
                  <a:pt x="2885318" y="3962339"/>
                  <a:pt x="2883188" y="3965401"/>
                  <a:pt x="2880659" y="3968064"/>
                </a:cubicBezTo>
                <a:cubicBezTo>
                  <a:pt x="2877997" y="3970726"/>
                  <a:pt x="2874934" y="3972856"/>
                  <a:pt x="2871341" y="3974320"/>
                </a:cubicBezTo>
                <a:cubicBezTo>
                  <a:pt x="2867614" y="3975784"/>
                  <a:pt x="2863753" y="3976583"/>
                  <a:pt x="2859492" y="3976583"/>
                </a:cubicBezTo>
                <a:cubicBezTo>
                  <a:pt x="2850575" y="3976583"/>
                  <a:pt x="2843247" y="3973654"/>
                  <a:pt x="2837657" y="3968064"/>
                </a:cubicBezTo>
                <a:cubicBezTo>
                  <a:pt x="2832066" y="3962339"/>
                  <a:pt x="2829269" y="3955284"/>
                  <a:pt x="2829269" y="3946897"/>
                </a:cubicBezTo>
                <a:cubicBezTo>
                  <a:pt x="2829269" y="3938645"/>
                  <a:pt x="2832066" y="3931589"/>
                  <a:pt x="2837657" y="3925864"/>
                </a:cubicBezTo>
                <a:cubicBezTo>
                  <a:pt x="2843247" y="3920141"/>
                  <a:pt x="2850441" y="3917212"/>
                  <a:pt x="2859492" y="3917212"/>
                </a:cubicBezTo>
                <a:close/>
                <a:moveTo>
                  <a:pt x="2641836" y="3917212"/>
                </a:moveTo>
                <a:cubicBezTo>
                  <a:pt x="2646096" y="3917212"/>
                  <a:pt x="2649956" y="3918011"/>
                  <a:pt x="2653551" y="3919741"/>
                </a:cubicBezTo>
                <a:cubicBezTo>
                  <a:pt x="2657278" y="3921339"/>
                  <a:pt x="2660340" y="3923468"/>
                  <a:pt x="2662869" y="3926131"/>
                </a:cubicBezTo>
                <a:cubicBezTo>
                  <a:pt x="2665531" y="3928793"/>
                  <a:pt x="2667529" y="3931988"/>
                  <a:pt x="2668993" y="3935582"/>
                </a:cubicBezTo>
                <a:cubicBezTo>
                  <a:pt x="2670457" y="3939177"/>
                  <a:pt x="2671256" y="3942904"/>
                  <a:pt x="2671256" y="3947031"/>
                </a:cubicBezTo>
                <a:cubicBezTo>
                  <a:pt x="2671256" y="3951157"/>
                  <a:pt x="2670457" y="3955151"/>
                  <a:pt x="2668993" y="3958745"/>
                </a:cubicBezTo>
                <a:cubicBezTo>
                  <a:pt x="2667529" y="3962339"/>
                  <a:pt x="2665398" y="3965401"/>
                  <a:pt x="2662869" y="3968064"/>
                </a:cubicBezTo>
                <a:cubicBezTo>
                  <a:pt x="2660340" y="3970726"/>
                  <a:pt x="2657145" y="3972856"/>
                  <a:pt x="2653551" y="3974320"/>
                </a:cubicBezTo>
                <a:cubicBezTo>
                  <a:pt x="2649956" y="3975784"/>
                  <a:pt x="2646096" y="3976583"/>
                  <a:pt x="2641836" y="3976583"/>
                </a:cubicBezTo>
                <a:cubicBezTo>
                  <a:pt x="2632917" y="3976583"/>
                  <a:pt x="2625595" y="3973654"/>
                  <a:pt x="2620003" y="3968064"/>
                </a:cubicBezTo>
                <a:cubicBezTo>
                  <a:pt x="2614411" y="3962339"/>
                  <a:pt x="2611614" y="3955284"/>
                  <a:pt x="2611614" y="3946897"/>
                </a:cubicBezTo>
                <a:cubicBezTo>
                  <a:pt x="2611614" y="3938645"/>
                  <a:pt x="2614411" y="3931589"/>
                  <a:pt x="2620003" y="3925864"/>
                </a:cubicBezTo>
                <a:cubicBezTo>
                  <a:pt x="2625595" y="3920141"/>
                  <a:pt x="2632784" y="3917212"/>
                  <a:pt x="2641836" y="3917212"/>
                </a:cubicBezTo>
                <a:close/>
                <a:moveTo>
                  <a:pt x="2424179" y="3917212"/>
                </a:moveTo>
                <a:cubicBezTo>
                  <a:pt x="2428440" y="3917212"/>
                  <a:pt x="2432434" y="3918011"/>
                  <a:pt x="2435895" y="3919741"/>
                </a:cubicBezTo>
                <a:cubicBezTo>
                  <a:pt x="2439622" y="3921339"/>
                  <a:pt x="2442684" y="3923468"/>
                  <a:pt x="2445213" y="3926131"/>
                </a:cubicBezTo>
                <a:cubicBezTo>
                  <a:pt x="2447875" y="3928793"/>
                  <a:pt x="2449872" y="3931988"/>
                  <a:pt x="2451336" y="3935582"/>
                </a:cubicBezTo>
                <a:cubicBezTo>
                  <a:pt x="2452800" y="3939177"/>
                  <a:pt x="2453599" y="3942904"/>
                  <a:pt x="2453599" y="3947031"/>
                </a:cubicBezTo>
                <a:cubicBezTo>
                  <a:pt x="2453599" y="3951157"/>
                  <a:pt x="2452800" y="3955151"/>
                  <a:pt x="2451336" y="3958745"/>
                </a:cubicBezTo>
                <a:cubicBezTo>
                  <a:pt x="2449872" y="3962339"/>
                  <a:pt x="2447742" y="3965401"/>
                  <a:pt x="2445213" y="3968064"/>
                </a:cubicBezTo>
                <a:cubicBezTo>
                  <a:pt x="2442684" y="3970726"/>
                  <a:pt x="2439489" y="3972856"/>
                  <a:pt x="2435895" y="3974320"/>
                </a:cubicBezTo>
                <a:cubicBezTo>
                  <a:pt x="2432300" y="3975784"/>
                  <a:pt x="2428440" y="3976583"/>
                  <a:pt x="2424179" y="3976583"/>
                </a:cubicBezTo>
                <a:cubicBezTo>
                  <a:pt x="2415261" y="3976583"/>
                  <a:pt x="2407939" y="3973654"/>
                  <a:pt x="2402347" y="3968064"/>
                </a:cubicBezTo>
                <a:cubicBezTo>
                  <a:pt x="2396756" y="3962339"/>
                  <a:pt x="2393959" y="3955284"/>
                  <a:pt x="2393959" y="3946897"/>
                </a:cubicBezTo>
                <a:cubicBezTo>
                  <a:pt x="2393959" y="3938645"/>
                  <a:pt x="2396756" y="3931589"/>
                  <a:pt x="2402347" y="3925864"/>
                </a:cubicBezTo>
                <a:cubicBezTo>
                  <a:pt x="2407939" y="3920141"/>
                  <a:pt x="2415127" y="3917212"/>
                  <a:pt x="2424179" y="3917212"/>
                </a:cubicBezTo>
                <a:close/>
                <a:moveTo>
                  <a:pt x="2206523" y="3917212"/>
                </a:moveTo>
                <a:cubicBezTo>
                  <a:pt x="2210783" y="3917212"/>
                  <a:pt x="2214777" y="3918011"/>
                  <a:pt x="2218238" y="3919741"/>
                </a:cubicBezTo>
                <a:cubicBezTo>
                  <a:pt x="2221965" y="3921339"/>
                  <a:pt x="2225026" y="3923468"/>
                  <a:pt x="2227557" y="3926131"/>
                </a:cubicBezTo>
                <a:cubicBezTo>
                  <a:pt x="2230218" y="3928793"/>
                  <a:pt x="2232215" y="3931988"/>
                  <a:pt x="2233679" y="3935582"/>
                </a:cubicBezTo>
                <a:cubicBezTo>
                  <a:pt x="2235143" y="3939177"/>
                  <a:pt x="2235942" y="3942904"/>
                  <a:pt x="2235942" y="3947031"/>
                </a:cubicBezTo>
                <a:cubicBezTo>
                  <a:pt x="2235942" y="3951157"/>
                  <a:pt x="2235143" y="3955151"/>
                  <a:pt x="2233679" y="3958745"/>
                </a:cubicBezTo>
                <a:cubicBezTo>
                  <a:pt x="2232215" y="3962339"/>
                  <a:pt x="2230085" y="3965401"/>
                  <a:pt x="2227557" y="3968064"/>
                </a:cubicBezTo>
                <a:cubicBezTo>
                  <a:pt x="2225026" y="3970726"/>
                  <a:pt x="2221832" y="3972856"/>
                  <a:pt x="2218238" y="3974320"/>
                </a:cubicBezTo>
                <a:cubicBezTo>
                  <a:pt x="2214643" y="3975784"/>
                  <a:pt x="2210783" y="3976583"/>
                  <a:pt x="2206523" y="3976583"/>
                </a:cubicBezTo>
                <a:cubicBezTo>
                  <a:pt x="2197471" y="3976583"/>
                  <a:pt x="2190282" y="3973654"/>
                  <a:pt x="2184690" y="3968064"/>
                </a:cubicBezTo>
                <a:cubicBezTo>
                  <a:pt x="2179099" y="3962339"/>
                  <a:pt x="2176303" y="3955284"/>
                  <a:pt x="2176303" y="3946897"/>
                </a:cubicBezTo>
                <a:cubicBezTo>
                  <a:pt x="2176303" y="3938645"/>
                  <a:pt x="2179099" y="3931589"/>
                  <a:pt x="2184690" y="3925864"/>
                </a:cubicBezTo>
                <a:cubicBezTo>
                  <a:pt x="2190282" y="3920141"/>
                  <a:pt x="2197471" y="3917212"/>
                  <a:pt x="2206523" y="3917212"/>
                </a:cubicBezTo>
                <a:close/>
                <a:moveTo>
                  <a:pt x="1988999" y="3917212"/>
                </a:moveTo>
                <a:cubicBezTo>
                  <a:pt x="1993126" y="3917212"/>
                  <a:pt x="1997121" y="3918011"/>
                  <a:pt x="2000715" y="3919741"/>
                </a:cubicBezTo>
                <a:cubicBezTo>
                  <a:pt x="2004442" y="3921339"/>
                  <a:pt x="2007504" y="3923468"/>
                  <a:pt x="2010033" y="3926131"/>
                </a:cubicBezTo>
                <a:cubicBezTo>
                  <a:pt x="2012695" y="3928793"/>
                  <a:pt x="2014692" y="3931988"/>
                  <a:pt x="2016156" y="3935582"/>
                </a:cubicBezTo>
                <a:cubicBezTo>
                  <a:pt x="2017620" y="3939177"/>
                  <a:pt x="2018419" y="3942904"/>
                  <a:pt x="2018419" y="3947031"/>
                </a:cubicBezTo>
                <a:cubicBezTo>
                  <a:pt x="2018419" y="3951157"/>
                  <a:pt x="2017620" y="3955151"/>
                  <a:pt x="2016156" y="3958745"/>
                </a:cubicBezTo>
                <a:cubicBezTo>
                  <a:pt x="2014692" y="3962339"/>
                  <a:pt x="2012562" y="3965401"/>
                  <a:pt x="2010033" y="3968064"/>
                </a:cubicBezTo>
                <a:cubicBezTo>
                  <a:pt x="2007504" y="3970726"/>
                  <a:pt x="2004308" y="3972856"/>
                  <a:pt x="2000715" y="3974320"/>
                </a:cubicBezTo>
                <a:cubicBezTo>
                  <a:pt x="1997121" y="3975784"/>
                  <a:pt x="1993259" y="3976583"/>
                  <a:pt x="1988999" y="3976583"/>
                </a:cubicBezTo>
                <a:cubicBezTo>
                  <a:pt x="1979948" y="3976583"/>
                  <a:pt x="1972759" y="3973654"/>
                  <a:pt x="1967168" y="3968064"/>
                </a:cubicBezTo>
                <a:cubicBezTo>
                  <a:pt x="1961578" y="3962339"/>
                  <a:pt x="1958782" y="3955284"/>
                  <a:pt x="1958782" y="3946897"/>
                </a:cubicBezTo>
                <a:cubicBezTo>
                  <a:pt x="1958782" y="3938645"/>
                  <a:pt x="1961578" y="3931589"/>
                  <a:pt x="1967168" y="3925864"/>
                </a:cubicBezTo>
                <a:cubicBezTo>
                  <a:pt x="1972759" y="3920141"/>
                  <a:pt x="1979948" y="3917212"/>
                  <a:pt x="1988999" y="3917212"/>
                </a:cubicBezTo>
                <a:close/>
                <a:moveTo>
                  <a:pt x="1771363" y="3917212"/>
                </a:moveTo>
                <a:cubicBezTo>
                  <a:pt x="1775622" y="3917212"/>
                  <a:pt x="1779482" y="3918011"/>
                  <a:pt x="1783077" y="3919741"/>
                </a:cubicBezTo>
                <a:cubicBezTo>
                  <a:pt x="1786804" y="3921339"/>
                  <a:pt x="1789866" y="3923468"/>
                  <a:pt x="1792394" y="3926131"/>
                </a:cubicBezTo>
                <a:cubicBezTo>
                  <a:pt x="1795057" y="3928793"/>
                  <a:pt x="1797054" y="3931988"/>
                  <a:pt x="1798518" y="3935582"/>
                </a:cubicBezTo>
                <a:cubicBezTo>
                  <a:pt x="1799982" y="3939177"/>
                  <a:pt x="1800780" y="3942904"/>
                  <a:pt x="1800780" y="3947031"/>
                </a:cubicBezTo>
                <a:cubicBezTo>
                  <a:pt x="1800780" y="3951157"/>
                  <a:pt x="1799982" y="3955151"/>
                  <a:pt x="1798518" y="3958745"/>
                </a:cubicBezTo>
                <a:cubicBezTo>
                  <a:pt x="1797054" y="3962339"/>
                  <a:pt x="1794924" y="3965401"/>
                  <a:pt x="1792394" y="3968064"/>
                </a:cubicBezTo>
                <a:cubicBezTo>
                  <a:pt x="1789732" y="3970726"/>
                  <a:pt x="1786671" y="3972856"/>
                  <a:pt x="1783077" y="3974320"/>
                </a:cubicBezTo>
                <a:cubicBezTo>
                  <a:pt x="1779482" y="3975784"/>
                  <a:pt x="1775622" y="3976583"/>
                  <a:pt x="1771363" y="3976583"/>
                </a:cubicBezTo>
                <a:cubicBezTo>
                  <a:pt x="1762443" y="3976583"/>
                  <a:pt x="1755123" y="3973654"/>
                  <a:pt x="1749533" y="3968064"/>
                </a:cubicBezTo>
                <a:cubicBezTo>
                  <a:pt x="1743941" y="3962339"/>
                  <a:pt x="1741149" y="3955284"/>
                  <a:pt x="1741149" y="3946897"/>
                </a:cubicBezTo>
                <a:cubicBezTo>
                  <a:pt x="1741149" y="3938645"/>
                  <a:pt x="1743941" y="3931589"/>
                  <a:pt x="1749533" y="3925864"/>
                </a:cubicBezTo>
                <a:cubicBezTo>
                  <a:pt x="1755123" y="3920141"/>
                  <a:pt x="1762310" y="3917212"/>
                  <a:pt x="1771363" y="3917212"/>
                </a:cubicBezTo>
                <a:close/>
                <a:moveTo>
                  <a:pt x="1553723" y="3917212"/>
                </a:moveTo>
                <a:cubicBezTo>
                  <a:pt x="1557983" y="3917212"/>
                  <a:pt x="1561844" y="3918011"/>
                  <a:pt x="1565438" y="3919741"/>
                </a:cubicBezTo>
                <a:cubicBezTo>
                  <a:pt x="1569032" y="3921339"/>
                  <a:pt x="1572227" y="3923468"/>
                  <a:pt x="1574756" y="3926131"/>
                </a:cubicBezTo>
                <a:cubicBezTo>
                  <a:pt x="1577418" y="3928793"/>
                  <a:pt x="1579415" y="3931988"/>
                  <a:pt x="1580879" y="3935582"/>
                </a:cubicBezTo>
                <a:cubicBezTo>
                  <a:pt x="1582343" y="3939177"/>
                  <a:pt x="1583142" y="3942904"/>
                  <a:pt x="1583142" y="3947031"/>
                </a:cubicBezTo>
                <a:cubicBezTo>
                  <a:pt x="1583142" y="3951157"/>
                  <a:pt x="1582343" y="3955151"/>
                  <a:pt x="1580879" y="3958745"/>
                </a:cubicBezTo>
                <a:cubicBezTo>
                  <a:pt x="1579415" y="3962339"/>
                  <a:pt x="1577285" y="3965401"/>
                  <a:pt x="1574756" y="3968064"/>
                </a:cubicBezTo>
                <a:cubicBezTo>
                  <a:pt x="1572094" y="3970726"/>
                  <a:pt x="1569032" y="3972856"/>
                  <a:pt x="1565438" y="3974320"/>
                </a:cubicBezTo>
                <a:cubicBezTo>
                  <a:pt x="1561844" y="3975784"/>
                  <a:pt x="1557983" y="3976583"/>
                  <a:pt x="1553723" y="3976583"/>
                </a:cubicBezTo>
                <a:cubicBezTo>
                  <a:pt x="1544805" y="3976583"/>
                  <a:pt x="1537483" y="3973654"/>
                  <a:pt x="1531893" y="3968064"/>
                </a:cubicBezTo>
                <a:cubicBezTo>
                  <a:pt x="1526304" y="3962339"/>
                  <a:pt x="1523507" y="3955284"/>
                  <a:pt x="1523507" y="3946897"/>
                </a:cubicBezTo>
                <a:cubicBezTo>
                  <a:pt x="1523507" y="3938645"/>
                  <a:pt x="1526304" y="3931589"/>
                  <a:pt x="1531893" y="3925864"/>
                </a:cubicBezTo>
                <a:cubicBezTo>
                  <a:pt x="1537483" y="3920141"/>
                  <a:pt x="1544670" y="3917212"/>
                  <a:pt x="1553723" y="3917212"/>
                </a:cubicBezTo>
                <a:close/>
                <a:moveTo>
                  <a:pt x="1336079" y="3917212"/>
                </a:moveTo>
                <a:cubicBezTo>
                  <a:pt x="1340339" y="3917212"/>
                  <a:pt x="1344334" y="3918011"/>
                  <a:pt x="1347795" y="3919741"/>
                </a:cubicBezTo>
                <a:cubicBezTo>
                  <a:pt x="1351388" y="3921339"/>
                  <a:pt x="1354583" y="3923468"/>
                  <a:pt x="1357113" y="3926131"/>
                </a:cubicBezTo>
                <a:cubicBezTo>
                  <a:pt x="1359775" y="3928793"/>
                  <a:pt x="1361772" y="3931988"/>
                  <a:pt x="1363236" y="3935582"/>
                </a:cubicBezTo>
                <a:cubicBezTo>
                  <a:pt x="1364700" y="3939177"/>
                  <a:pt x="1365498" y="3942904"/>
                  <a:pt x="1365498" y="3947031"/>
                </a:cubicBezTo>
                <a:cubicBezTo>
                  <a:pt x="1365498" y="3951157"/>
                  <a:pt x="1364700" y="3955151"/>
                  <a:pt x="1363236" y="3958745"/>
                </a:cubicBezTo>
                <a:cubicBezTo>
                  <a:pt x="1361772" y="3962339"/>
                  <a:pt x="1359642" y="3965401"/>
                  <a:pt x="1357113" y="3968064"/>
                </a:cubicBezTo>
                <a:cubicBezTo>
                  <a:pt x="1354449" y="3970726"/>
                  <a:pt x="1351388" y="3972856"/>
                  <a:pt x="1347795" y="3974320"/>
                </a:cubicBezTo>
                <a:cubicBezTo>
                  <a:pt x="1344200" y="3975784"/>
                  <a:pt x="1340339" y="3976583"/>
                  <a:pt x="1336079" y="3976583"/>
                </a:cubicBezTo>
                <a:cubicBezTo>
                  <a:pt x="1327159" y="3976583"/>
                  <a:pt x="1319838" y="3973654"/>
                  <a:pt x="1314246" y="3968064"/>
                </a:cubicBezTo>
                <a:cubicBezTo>
                  <a:pt x="1308656" y="3962339"/>
                  <a:pt x="1305861" y="3955284"/>
                  <a:pt x="1305861" y="3946897"/>
                </a:cubicBezTo>
                <a:cubicBezTo>
                  <a:pt x="1305861" y="3938645"/>
                  <a:pt x="1308656" y="3931589"/>
                  <a:pt x="1314246" y="3925864"/>
                </a:cubicBezTo>
                <a:cubicBezTo>
                  <a:pt x="1319838" y="3920141"/>
                  <a:pt x="1327026" y="3917212"/>
                  <a:pt x="1336079" y="3917212"/>
                </a:cubicBezTo>
                <a:close/>
                <a:moveTo>
                  <a:pt x="1118434" y="3917212"/>
                </a:moveTo>
                <a:cubicBezTo>
                  <a:pt x="1122695" y="3917212"/>
                  <a:pt x="1126690" y="3918011"/>
                  <a:pt x="1130151" y="3919741"/>
                </a:cubicBezTo>
                <a:cubicBezTo>
                  <a:pt x="1133878" y="3921339"/>
                  <a:pt x="1136940" y="3923468"/>
                  <a:pt x="1139467" y="3926131"/>
                </a:cubicBezTo>
                <a:cubicBezTo>
                  <a:pt x="1142128" y="3928793"/>
                  <a:pt x="1144125" y="3931988"/>
                  <a:pt x="1145588" y="3935582"/>
                </a:cubicBezTo>
                <a:cubicBezTo>
                  <a:pt x="1147052" y="3939177"/>
                  <a:pt x="1147851" y="3942904"/>
                  <a:pt x="1147851" y="3947031"/>
                </a:cubicBezTo>
                <a:cubicBezTo>
                  <a:pt x="1147851" y="3951157"/>
                  <a:pt x="1147052" y="3955151"/>
                  <a:pt x="1145588" y="3958745"/>
                </a:cubicBezTo>
                <a:cubicBezTo>
                  <a:pt x="1144125" y="3962339"/>
                  <a:pt x="1141995" y="3965401"/>
                  <a:pt x="1139467" y="3968064"/>
                </a:cubicBezTo>
                <a:cubicBezTo>
                  <a:pt x="1136940" y="3970726"/>
                  <a:pt x="1133745" y="3972856"/>
                  <a:pt x="1130151" y="3974320"/>
                </a:cubicBezTo>
                <a:cubicBezTo>
                  <a:pt x="1126555" y="3975784"/>
                  <a:pt x="1122695" y="3976583"/>
                  <a:pt x="1118434" y="3976583"/>
                </a:cubicBezTo>
                <a:cubicBezTo>
                  <a:pt x="1109514" y="3976583"/>
                  <a:pt x="1102191" y="3973654"/>
                  <a:pt x="1096600" y="3968064"/>
                </a:cubicBezTo>
                <a:cubicBezTo>
                  <a:pt x="1091010" y="3962339"/>
                  <a:pt x="1088215" y="3955284"/>
                  <a:pt x="1088215" y="3946897"/>
                </a:cubicBezTo>
                <a:cubicBezTo>
                  <a:pt x="1088215" y="3938645"/>
                  <a:pt x="1091010" y="3931589"/>
                  <a:pt x="1096600" y="3925864"/>
                </a:cubicBezTo>
                <a:cubicBezTo>
                  <a:pt x="1102191" y="3920141"/>
                  <a:pt x="1109380" y="3917212"/>
                  <a:pt x="1118434" y="3917212"/>
                </a:cubicBezTo>
                <a:close/>
                <a:moveTo>
                  <a:pt x="900921" y="3917212"/>
                </a:moveTo>
                <a:cubicBezTo>
                  <a:pt x="905048" y="3917212"/>
                  <a:pt x="909042" y="3918011"/>
                  <a:pt x="912636" y="3919741"/>
                </a:cubicBezTo>
                <a:cubicBezTo>
                  <a:pt x="916363" y="3921339"/>
                  <a:pt x="919425" y="3923468"/>
                  <a:pt x="921955" y="3926131"/>
                </a:cubicBezTo>
                <a:cubicBezTo>
                  <a:pt x="924616" y="3928793"/>
                  <a:pt x="926613" y="3931988"/>
                  <a:pt x="928077" y="3935582"/>
                </a:cubicBezTo>
                <a:cubicBezTo>
                  <a:pt x="929541" y="3939177"/>
                  <a:pt x="930340" y="3942904"/>
                  <a:pt x="930340" y="3947031"/>
                </a:cubicBezTo>
                <a:cubicBezTo>
                  <a:pt x="930340" y="3951157"/>
                  <a:pt x="929541" y="3955151"/>
                  <a:pt x="928077" y="3958745"/>
                </a:cubicBezTo>
                <a:cubicBezTo>
                  <a:pt x="926613" y="3962339"/>
                  <a:pt x="924483" y="3965401"/>
                  <a:pt x="921955" y="3968064"/>
                </a:cubicBezTo>
                <a:cubicBezTo>
                  <a:pt x="919425" y="3970726"/>
                  <a:pt x="916230" y="3972856"/>
                  <a:pt x="912636" y="3974320"/>
                </a:cubicBezTo>
                <a:cubicBezTo>
                  <a:pt x="909042" y="3975784"/>
                  <a:pt x="905181" y="3976583"/>
                  <a:pt x="900921" y="3976583"/>
                </a:cubicBezTo>
                <a:cubicBezTo>
                  <a:pt x="892003" y="3976583"/>
                  <a:pt x="884681" y="3973654"/>
                  <a:pt x="879090" y="3968064"/>
                </a:cubicBezTo>
                <a:cubicBezTo>
                  <a:pt x="873501" y="3962339"/>
                  <a:pt x="870705" y="3955284"/>
                  <a:pt x="870705" y="3946897"/>
                </a:cubicBezTo>
                <a:cubicBezTo>
                  <a:pt x="870705" y="3938645"/>
                  <a:pt x="873501" y="3931589"/>
                  <a:pt x="879090" y="3925864"/>
                </a:cubicBezTo>
                <a:cubicBezTo>
                  <a:pt x="884681" y="3920141"/>
                  <a:pt x="891870" y="3917212"/>
                  <a:pt x="900921" y="3917212"/>
                </a:cubicBezTo>
                <a:close/>
                <a:moveTo>
                  <a:pt x="683280" y="3917212"/>
                </a:moveTo>
                <a:cubicBezTo>
                  <a:pt x="687540" y="3917212"/>
                  <a:pt x="691401" y="3918011"/>
                  <a:pt x="694995" y="3919741"/>
                </a:cubicBezTo>
                <a:cubicBezTo>
                  <a:pt x="698722" y="3921339"/>
                  <a:pt x="701784" y="3923468"/>
                  <a:pt x="704312" y="3926131"/>
                </a:cubicBezTo>
                <a:cubicBezTo>
                  <a:pt x="706974" y="3928793"/>
                  <a:pt x="708972" y="3931988"/>
                  <a:pt x="710435" y="3935582"/>
                </a:cubicBezTo>
                <a:cubicBezTo>
                  <a:pt x="711899" y="3939177"/>
                  <a:pt x="712698" y="3942904"/>
                  <a:pt x="712698" y="3947031"/>
                </a:cubicBezTo>
                <a:cubicBezTo>
                  <a:pt x="712698" y="3951157"/>
                  <a:pt x="711899" y="3955151"/>
                  <a:pt x="710435" y="3958745"/>
                </a:cubicBezTo>
                <a:cubicBezTo>
                  <a:pt x="708972" y="3962339"/>
                  <a:pt x="706841" y="3965401"/>
                  <a:pt x="704312" y="3968064"/>
                </a:cubicBezTo>
                <a:cubicBezTo>
                  <a:pt x="701784" y="3970726"/>
                  <a:pt x="698589" y="3972856"/>
                  <a:pt x="694995" y="3974320"/>
                </a:cubicBezTo>
                <a:cubicBezTo>
                  <a:pt x="691401" y="3975784"/>
                  <a:pt x="687540" y="3976583"/>
                  <a:pt x="683280" y="3976583"/>
                </a:cubicBezTo>
                <a:cubicBezTo>
                  <a:pt x="674362" y="3976583"/>
                  <a:pt x="667040" y="3973654"/>
                  <a:pt x="661448" y="3968064"/>
                </a:cubicBezTo>
                <a:cubicBezTo>
                  <a:pt x="655857" y="3962339"/>
                  <a:pt x="653062" y="3955284"/>
                  <a:pt x="653062" y="3946897"/>
                </a:cubicBezTo>
                <a:cubicBezTo>
                  <a:pt x="653062" y="3938645"/>
                  <a:pt x="655857" y="3931589"/>
                  <a:pt x="661448" y="3925864"/>
                </a:cubicBezTo>
                <a:cubicBezTo>
                  <a:pt x="667040" y="3920141"/>
                  <a:pt x="674229" y="3917212"/>
                  <a:pt x="683280" y="3917212"/>
                </a:cubicBezTo>
                <a:close/>
                <a:moveTo>
                  <a:pt x="465637" y="3917212"/>
                </a:moveTo>
                <a:cubicBezTo>
                  <a:pt x="469897" y="3917212"/>
                  <a:pt x="473758" y="3918011"/>
                  <a:pt x="477353" y="3919741"/>
                </a:cubicBezTo>
                <a:cubicBezTo>
                  <a:pt x="481080" y="3921339"/>
                  <a:pt x="484141" y="3923468"/>
                  <a:pt x="486670" y="3926131"/>
                </a:cubicBezTo>
                <a:cubicBezTo>
                  <a:pt x="489332" y="3928793"/>
                  <a:pt x="491329" y="3931988"/>
                  <a:pt x="492793" y="3935582"/>
                </a:cubicBezTo>
                <a:cubicBezTo>
                  <a:pt x="494257" y="3939177"/>
                  <a:pt x="495056" y="3942904"/>
                  <a:pt x="495056" y="3947031"/>
                </a:cubicBezTo>
                <a:cubicBezTo>
                  <a:pt x="495056" y="3951157"/>
                  <a:pt x="494257" y="3955151"/>
                  <a:pt x="492793" y="3958745"/>
                </a:cubicBezTo>
                <a:cubicBezTo>
                  <a:pt x="491329" y="3962339"/>
                  <a:pt x="489199" y="3965401"/>
                  <a:pt x="486670" y="3968064"/>
                </a:cubicBezTo>
                <a:cubicBezTo>
                  <a:pt x="484007" y="3970726"/>
                  <a:pt x="480947" y="3972856"/>
                  <a:pt x="477353" y="3974320"/>
                </a:cubicBezTo>
                <a:cubicBezTo>
                  <a:pt x="473758" y="3975784"/>
                  <a:pt x="469897" y="3976583"/>
                  <a:pt x="465637" y="3976583"/>
                </a:cubicBezTo>
                <a:cubicBezTo>
                  <a:pt x="456719" y="3976583"/>
                  <a:pt x="449397" y="3973654"/>
                  <a:pt x="443806" y="3968064"/>
                </a:cubicBezTo>
                <a:cubicBezTo>
                  <a:pt x="438215" y="3962339"/>
                  <a:pt x="435420" y="3955284"/>
                  <a:pt x="435420" y="3946897"/>
                </a:cubicBezTo>
                <a:cubicBezTo>
                  <a:pt x="435420" y="3938645"/>
                  <a:pt x="438215" y="3931589"/>
                  <a:pt x="443806" y="3925864"/>
                </a:cubicBezTo>
                <a:cubicBezTo>
                  <a:pt x="449397" y="3920141"/>
                  <a:pt x="456586" y="3917212"/>
                  <a:pt x="465637" y="3917212"/>
                </a:cubicBezTo>
                <a:close/>
                <a:moveTo>
                  <a:pt x="247995" y="3917212"/>
                </a:moveTo>
                <a:cubicBezTo>
                  <a:pt x="252255" y="3917212"/>
                  <a:pt x="256249" y="3918011"/>
                  <a:pt x="259710" y="3919741"/>
                </a:cubicBezTo>
                <a:cubicBezTo>
                  <a:pt x="263437" y="3921339"/>
                  <a:pt x="266499" y="3923468"/>
                  <a:pt x="269028" y="3926131"/>
                </a:cubicBezTo>
                <a:cubicBezTo>
                  <a:pt x="271690" y="3928793"/>
                  <a:pt x="273687" y="3931988"/>
                  <a:pt x="275151" y="3935582"/>
                </a:cubicBezTo>
                <a:cubicBezTo>
                  <a:pt x="276615" y="3939177"/>
                  <a:pt x="277414" y="3942904"/>
                  <a:pt x="277414" y="3947031"/>
                </a:cubicBezTo>
                <a:cubicBezTo>
                  <a:pt x="277414" y="3951157"/>
                  <a:pt x="276615" y="3955151"/>
                  <a:pt x="275151" y="3958745"/>
                </a:cubicBezTo>
                <a:cubicBezTo>
                  <a:pt x="273687" y="3962339"/>
                  <a:pt x="271557" y="3965401"/>
                  <a:pt x="269028" y="3968064"/>
                </a:cubicBezTo>
                <a:cubicBezTo>
                  <a:pt x="266365" y="3970726"/>
                  <a:pt x="263304" y="3972856"/>
                  <a:pt x="259710" y="3974320"/>
                </a:cubicBezTo>
                <a:cubicBezTo>
                  <a:pt x="256114" y="3975784"/>
                  <a:pt x="252255" y="3976583"/>
                  <a:pt x="247995" y="3976583"/>
                </a:cubicBezTo>
                <a:cubicBezTo>
                  <a:pt x="239077" y="3976583"/>
                  <a:pt x="231756" y="3973654"/>
                  <a:pt x="226165" y="3968064"/>
                </a:cubicBezTo>
                <a:cubicBezTo>
                  <a:pt x="220574" y="3962339"/>
                  <a:pt x="217779" y="3955284"/>
                  <a:pt x="217779" y="3946897"/>
                </a:cubicBezTo>
                <a:cubicBezTo>
                  <a:pt x="217779" y="3938645"/>
                  <a:pt x="220574" y="3931589"/>
                  <a:pt x="226165" y="3925864"/>
                </a:cubicBezTo>
                <a:cubicBezTo>
                  <a:pt x="231756" y="3920141"/>
                  <a:pt x="238943" y="3917212"/>
                  <a:pt x="247995" y="3917212"/>
                </a:cubicBezTo>
                <a:close/>
                <a:moveTo>
                  <a:pt x="30352" y="3917212"/>
                </a:moveTo>
                <a:cubicBezTo>
                  <a:pt x="34613" y="3917212"/>
                  <a:pt x="38607" y="3918011"/>
                  <a:pt x="42068" y="3919741"/>
                </a:cubicBezTo>
                <a:cubicBezTo>
                  <a:pt x="45795" y="3921339"/>
                  <a:pt x="48857" y="3923468"/>
                  <a:pt x="51386" y="3926131"/>
                </a:cubicBezTo>
                <a:cubicBezTo>
                  <a:pt x="54048" y="3928793"/>
                  <a:pt x="56045" y="3931988"/>
                  <a:pt x="57509" y="3935582"/>
                </a:cubicBezTo>
                <a:cubicBezTo>
                  <a:pt x="58973" y="3939177"/>
                  <a:pt x="59772" y="3942904"/>
                  <a:pt x="59772" y="3947031"/>
                </a:cubicBezTo>
                <a:cubicBezTo>
                  <a:pt x="59772" y="3951157"/>
                  <a:pt x="58973" y="3955151"/>
                  <a:pt x="57509" y="3958745"/>
                </a:cubicBezTo>
                <a:cubicBezTo>
                  <a:pt x="56045" y="3962339"/>
                  <a:pt x="53915" y="3965401"/>
                  <a:pt x="51386" y="3968064"/>
                </a:cubicBezTo>
                <a:cubicBezTo>
                  <a:pt x="48723" y="3970726"/>
                  <a:pt x="45662" y="3972856"/>
                  <a:pt x="42068" y="3974320"/>
                </a:cubicBezTo>
                <a:cubicBezTo>
                  <a:pt x="38474" y="3975784"/>
                  <a:pt x="34613" y="3976583"/>
                  <a:pt x="30352" y="3976583"/>
                </a:cubicBezTo>
                <a:cubicBezTo>
                  <a:pt x="21434" y="3976583"/>
                  <a:pt x="14113" y="3973654"/>
                  <a:pt x="8524" y="3968064"/>
                </a:cubicBezTo>
                <a:cubicBezTo>
                  <a:pt x="2933" y="3962339"/>
                  <a:pt x="138" y="3955284"/>
                  <a:pt x="138" y="3946897"/>
                </a:cubicBezTo>
                <a:cubicBezTo>
                  <a:pt x="138" y="3938645"/>
                  <a:pt x="2933" y="3931589"/>
                  <a:pt x="8524" y="3925864"/>
                </a:cubicBezTo>
                <a:cubicBezTo>
                  <a:pt x="14113" y="3920141"/>
                  <a:pt x="21300" y="3917212"/>
                  <a:pt x="30352" y="3917212"/>
                </a:cubicBezTo>
                <a:close/>
                <a:moveTo>
                  <a:pt x="10475977" y="3716208"/>
                </a:moveTo>
                <a:cubicBezTo>
                  <a:pt x="10470119" y="3716208"/>
                  <a:pt x="10467589" y="3718204"/>
                  <a:pt x="10465992" y="3719802"/>
                </a:cubicBezTo>
                <a:cubicBezTo>
                  <a:pt x="10463463" y="3722464"/>
                  <a:pt x="10462399" y="3725259"/>
                  <a:pt x="10462399" y="3729253"/>
                </a:cubicBezTo>
                <a:cubicBezTo>
                  <a:pt x="10462399" y="3733381"/>
                  <a:pt x="10463463" y="3736175"/>
                  <a:pt x="10465992" y="3738705"/>
                </a:cubicBezTo>
                <a:cubicBezTo>
                  <a:pt x="10467589" y="3740302"/>
                  <a:pt x="10470119" y="3742165"/>
                  <a:pt x="10475977" y="3742165"/>
                </a:cubicBezTo>
                <a:cubicBezTo>
                  <a:pt x="10478107" y="3742165"/>
                  <a:pt x="10479838" y="3741766"/>
                  <a:pt x="10481302" y="3741367"/>
                </a:cubicBezTo>
                <a:cubicBezTo>
                  <a:pt x="10482899" y="3740834"/>
                  <a:pt x="10484098" y="3739902"/>
                  <a:pt x="10485029" y="3738970"/>
                </a:cubicBezTo>
                <a:cubicBezTo>
                  <a:pt x="10486094" y="3737772"/>
                  <a:pt x="10487026" y="3736441"/>
                  <a:pt x="10487691" y="3734711"/>
                </a:cubicBezTo>
                <a:cubicBezTo>
                  <a:pt x="10488357" y="3733113"/>
                  <a:pt x="10488623" y="3731250"/>
                  <a:pt x="10488623" y="3729253"/>
                </a:cubicBezTo>
                <a:cubicBezTo>
                  <a:pt x="10488623" y="3727388"/>
                  <a:pt x="10488357" y="3725659"/>
                  <a:pt x="10487691" y="3724061"/>
                </a:cubicBezTo>
                <a:cubicBezTo>
                  <a:pt x="10487026" y="3722331"/>
                  <a:pt x="10486094" y="3721000"/>
                  <a:pt x="10485029" y="3719802"/>
                </a:cubicBezTo>
                <a:cubicBezTo>
                  <a:pt x="10483964" y="3718737"/>
                  <a:pt x="10482633" y="3717805"/>
                  <a:pt x="10481035" y="3717139"/>
                </a:cubicBezTo>
                <a:cubicBezTo>
                  <a:pt x="10479571" y="3716473"/>
                  <a:pt x="10477974" y="3716208"/>
                  <a:pt x="10475977" y="3716208"/>
                </a:cubicBezTo>
                <a:close/>
                <a:moveTo>
                  <a:pt x="10258466" y="3716208"/>
                </a:moveTo>
                <a:cubicBezTo>
                  <a:pt x="10252608" y="3716208"/>
                  <a:pt x="10250078" y="3718204"/>
                  <a:pt x="10248481" y="3719802"/>
                </a:cubicBezTo>
                <a:cubicBezTo>
                  <a:pt x="10245952" y="3722464"/>
                  <a:pt x="10244887" y="3725259"/>
                  <a:pt x="10244887" y="3729253"/>
                </a:cubicBezTo>
                <a:cubicBezTo>
                  <a:pt x="10244887" y="3733381"/>
                  <a:pt x="10245952" y="3736175"/>
                  <a:pt x="10248481" y="3738705"/>
                </a:cubicBezTo>
                <a:cubicBezTo>
                  <a:pt x="10250078" y="3740302"/>
                  <a:pt x="10252608" y="3742165"/>
                  <a:pt x="10258466" y="3742165"/>
                </a:cubicBezTo>
                <a:cubicBezTo>
                  <a:pt x="10260462" y="3742165"/>
                  <a:pt x="10262192" y="3741766"/>
                  <a:pt x="10263790" y="3741367"/>
                </a:cubicBezTo>
                <a:cubicBezTo>
                  <a:pt x="10265388" y="3740834"/>
                  <a:pt x="10266586" y="3739902"/>
                  <a:pt x="10267517" y="3738970"/>
                </a:cubicBezTo>
                <a:cubicBezTo>
                  <a:pt x="10268583" y="3737772"/>
                  <a:pt x="10269515" y="3736441"/>
                  <a:pt x="10270180" y="3734711"/>
                </a:cubicBezTo>
                <a:cubicBezTo>
                  <a:pt x="10270845" y="3733113"/>
                  <a:pt x="10271112" y="3731250"/>
                  <a:pt x="10271112" y="3729253"/>
                </a:cubicBezTo>
                <a:cubicBezTo>
                  <a:pt x="10271112" y="3727388"/>
                  <a:pt x="10270845" y="3725659"/>
                  <a:pt x="10270180" y="3724061"/>
                </a:cubicBezTo>
                <a:cubicBezTo>
                  <a:pt x="10269515" y="3722331"/>
                  <a:pt x="10268583" y="3721000"/>
                  <a:pt x="10267517" y="3719802"/>
                </a:cubicBezTo>
                <a:cubicBezTo>
                  <a:pt x="10266452" y="3718737"/>
                  <a:pt x="10265121" y="3717805"/>
                  <a:pt x="10263524" y="3717139"/>
                </a:cubicBezTo>
                <a:cubicBezTo>
                  <a:pt x="10262060" y="3716473"/>
                  <a:pt x="10260462" y="3716208"/>
                  <a:pt x="10258466" y="3716208"/>
                </a:cubicBezTo>
                <a:close/>
                <a:moveTo>
                  <a:pt x="10040820" y="3716208"/>
                </a:moveTo>
                <a:cubicBezTo>
                  <a:pt x="10034962" y="3716208"/>
                  <a:pt x="10032433" y="3718204"/>
                  <a:pt x="10030835" y="3719802"/>
                </a:cubicBezTo>
                <a:cubicBezTo>
                  <a:pt x="10028306" y="3722464"/>
                  <a:pt x="10027242" y="3725259"/>
                  <a:pt x="10027242" y="3729253"/>
                </a:cubicBezTo>
                <a:cubicBezTo>
                  <a:pt x="10027242" y="3733381"/>
                  <a:pt x="10028306" y="3736175"/>
                  <a:pt x="10030835" y="3738705"/>
                </a:cubicBezTo>
                <a:cubicBezTo>
                  <a:pt x="10032433" y="3740302"/>
                  <a:pt x="10034962" y="3742165"/>
                  <a:pt x="10040820" y="3742165"/>
                </a:cubicBezTo>
                <a:cubicBezTo>
                  <a:pt x="10042817" y="3742165"/>
                  <a:pt x="10044681" y="3741766"/>
                  <a:pt x="10046145" y="3741367"/>
                </a:cubicBezTo>
                <a:cubicBezTo>
                  <a:pt x="10047742" y="3740834"/>
                  <a:pt x="10048941" y="3739902"/>
                  <a:pt x="10049872" y="3738970"/>
                </a:cubicBezTo>
                <a:cubicBezTo>
                  <a:pt x="10050937" y="3737772"/>
                  <a:pt x="10051869" y="3736441"/>
                  <a:pt x="10052534" y="3734711"/>
                </a:cubicBezTo>
                <a:cubicBezTo>
                  <a:pt x="10053333" y="3733113"/>
                  <a:pt x="10053599" y="3731250"/>
                  <a:pt x="10053599" y="3729253"/>
                </a:cubicBezTo>
                <a:cubicBezTo>
                  <a:pt x="10053599" y="3727388"/>
                  <a:pt x="10053200" y="3725659"/>
                  <a:pt x="10052534" y="3724061"/>
                </a:cubicBezTo>
                <a:cubicBezTo>
                  <a:pt x="10051869" y="3722331"/>
                  <a:pt x="10050937" y="3721000"/>
                  <a:pt x="10049872" y="3719802"/>
                </a:cubicBezTo>
                <a:cubicBezTo>
                  <a:pt x="10048807" y="3718737"/>
                  <a:pt x="10047476" y="3717805"/>
                  <a:pt x="10045878" y="3717139"/>
                </a:cubicBezTo>
                <a:cubicBezTo>
                  <a:pt x="10044414" y="3716473"/>
                  <a:pt x="10042817" y="3716208"/>
                  <a:pt x="10040820" y="3716208"/>
                </a:cubicBezTo>
                <a:close/>
                <a:moveTo>
                  <a:pt x="9823176" y="3716208"/>
                </a:moveTo>
                <a:cubicBezTo>
                  <a:pt x="9817318" y="3716208"/>
                  <a:pt x="9814788" y="3718204"/>
                  <a:pt x="9813191" y="3719802"/>
                </a:cubicBezTo>
                <a:cubicBezTo>
                  <a:pt x="9810662" y="3722464"/>
                  <a:pt x="9809597" y="3725259"/>
                  <a:pt x="9809597" y="3729253"/>
                </a:cubicBezTo>
                <a:cubicBezTo>
                  <a:pt x="9809597" y="3733381"/>
                  <a:pt x="9810662" y="3736175"/>
                  <a:pt x="9813191" y="3738705"/>
                </a:cubicBezTo>
                <a:cubicBezTo>
                  <a:pt x="9814788" y="3740302"/>
                  <a:pt x="9817318" y="3742165"/>
                  <a:pt x="9823176" y="3742165"/>
                </a:cubicBezTo>
                <a:cubicBezTo>
                  <a:pt x="9825173" y="3742165"/>
                  <a:pt x="9827036" y="3741766"/>
                  <a:pt x="9828501" y="3741367"/>
                </a:cubicBezTo>
                <a:cubicBezTo>
                  <a:pt x="9830098" y="3740834"/>
                  <a:pt x="9831296" y="3739902"/>
                  <a:pt x="9832227" y="3738970"/>
                </a:cubicBezTo>
                <a:cubicBezTo>
                  <a:pt x="9833293" y="3737772"/>
                  <a:pt x="9834225" y="3736441"/>
                  <a:pt x="9834890" y="3734711"/>
                </a:cubicBezTo>
                <a:cubicBezTo>
                  <a:pt x="9835689" y="3733113"/>
                  <a:pt x="9835955" y="3731250"/>
                  <a:pt x="9835955" y="3729253"/>
                </a:cubicBezTo>
                <a:cubicBezTo>
                  <a:pt x="9835955" y="3727388"/>
                  <a:pt x="9835555" y="3725659"/>
                  <a:pt x="9834890" y="3724061"/>
                </a:cubicBezTo>
                <a:cubicBezTo>
                  <a:pt x="9834225" y="3722331"/>
                  <a:pt x="9833293" y="3721000"/>
                  <a:pt x="9832227" y="3719802"/>
                </a:cubicBezTo>
                <a:cubicBezTo>
                  <a:pt x="9831162" y="3718737"/>
                  <a:pt x="9829831" y="3717805"/>
                  <a:pt x="9828234" y="3717139"/>
                </a:cubicBezTo>
                <a:cubicBezTo>
                  <a:pt x="9826770" y="3716473"/>
                  <a:pt x="9825173" y="3716208"/>
                  <a:pt x="9823176" y="3716208"/>
                </a:cubicBezTo>
                <a:close/>
                <a:moveTo>
                  <a:pt x="9605531" y="3716208"/>
                </a:moveTo>
                <a:cubicBezTo>
                  <a:pt x="9599673" y="3716208"/>
                  <a:pt x="9597143" y="3718204"/>
                  <a:pt x="9595546" y="3719802"/>
                </a:cubicBezTo>
                <a:cubicBezTo>
                  <a:pt x="9593017" y="3722464"/>
                  <a:pt x="9591952" y="3725259"/>
                  <a:pt x="9591952" y="3729253"/>
                </a:cubicBezTo>
                <a:cubicBezTo>
                  <a:pt x="9591952" y="3733381"/>
                  <a:pt x="9593017" y="3736175"/>
                  <a:pt x="9595546" y="3738705"/>
                </a:cubicBezTo>
                <a:cubicBezTo>
                  <a:pt x="9597143" y="3740302"/>
                  <a:pt x="9599673" y="3742165"/>
                  <a:pt x="9605531" y="3742165"/>
                </a:cubicBezTo>
                <a:cubicBezTo>
                  <a:pt x="9607660" y="3742165"/>
                  <a:pt x="9609391" y="3741766"/>
                  <a:pt x="9610855" y="3741367"/>
                </a:cubicBezTo>
                <a:cubicBezTo>
                  <a:pt x="9612319" y="3740834"/>
                  <a:pt x="9613651" y="3739902"/>
                  <a:pt x="9614582" y="3738970"/>
                </a:cubicBezTo>
                <a:cubicBezTo>
                  <a:pt x="9615647" y="3737772"/>
                  <a:pt x="9616579" y="3736441"/>
                  <a:pt x="9617245" y="3734711"/>
                </a:cubicBezTo>
                <a:cubicBezTo>
                  <a:pt x="9618044" y="3733113"/>
                  <a:pt x="9618309" y="3731250"/>
                  <a:pt x="9618309" y="3729253"/>
                </a:cubicBezTo>
                <a:cubicBezTo>
                  <a:pt x="9618309" y="3727388"/>
                  <a:pt x="9617910" y="3725659"/>
                  <a:pt x="9617245" y="3724061"/>
                </a:cubicBezTo>
                <a:cubicBezTo>
                  <a:pt x="9616579" y="3722331"/>
                  <a:pt x="9615647" y="3721000"/>
                  <a:pt x="9614582" y="3719802"/>
                </a:cubicBezTo>
                <a:cubicBezTo>
                  <a:pt x="9613517" y="3718737"/>
                  <a:pt x="9612186" y="3717805"/>
                  <a:pt x="9610589" y="3717139"/>
                </a:cubicBezTo>
                <a:cubicBezTo>
                  <a:pt x="9609124" y="3716473"/>
                  <a:pt x="9607394" y="3716208"/>
                  <a:pt x="9605531" y="3716208"/>
                </a:cubicBezTo>
                <a:close/>
                <a:moveTo>
                  <a:pt x="9387885" y="3716208"/>
                </a:moveTo>
                <a:cubicBezTo>
                  <a:pt x="9382027" y="3716208"/>
                  <a:pt x="9379497" y="3718204"/>
                  <a:pt x="9377900" y="3719802"/>
                </a:cubicBezTo>
                <a:cubicBezTo>
                  <a:pt x="9375371" y="3722464"/>
                  <a:pt x="9374307" y="3725259"/>
                  <a:pt x="9374307" y="3729253"/>
                </a:cubicBezTo>
                <a:cubicBezTo>
                  <a:pt x="9374307" y="3733381"/>
                  <a:pt x="9375371" y="3736175"/>
                  <a:pt x="9377900" y="3738705"/>
                </a:cubicBezTo>
                <a:cubicBezTo>
                  <a:pt x="9379497" y="3740302"/>
                  <a:pt x="9382027" y="3742165"/>
                  <a:pt x="9387885" y="3742165"/>
                </a:cubicBezTo>
                <a:cubicBezTo>
                  <a:pt x="9390015" y="3742165"/>
                  <a:pt x="9391746" y="3741766"/>
                  <a:pt x="9393210" y="3741367"/>
                </a:cubicBezTo>
                <a:cubicBezTo>
                  <a:pt x="9394674" y="3740834"/>
                  <a:pt x="9396005" y="3739902"/>
                  <a:pt x="9396937" y="3738970"/>
                </a:cubicBezTo>
                <a:cubicBezTo>
                  <a:pt x="9398002" y="3737772"/>
                  <a:pt x="9398934" y="3736441"/>
                  <a:pt x="9399599" y="3734711"/>
                </a:cubicBezTo>
                <a:cubicBezTo>
                  <a:pt x="9400398" y="3733113"/>
                  <a:pt x="9400664" y="3731250"/>
                  <a:pt x="9400664" y="3729253"/>
                </a:cubicBezTo>
                <a:cubicBezTo>
                  <a:pt x="9400664" y="3727388"/>
                  <a:pt x="9400265" y="3725659"/>
                  <a:pt x="9399599" y="3724061"/>
                </a:cubicBezTo>
                <a:cubicBezTo>
                  <a:pt x="9398934" y="3722331"/>
                  <a:pt x="9398002" y="3721000"/>
                  <a:pt x="9396937" y="3719802"/>
                </a:cubicBezTo>
                <a:cubicBezTo>
                  <a:pt x="9395872" y="3718737"/>
                  <a:pt x="9394541" y="3717805"/>
                  <a:pt x="9392943" y="3717139"/>
                </a:cubicBezTo>
                <a:cubicBezTo>
                  <a:pt x="9391479" y="3716473"/>
                  <a:pt x="9389749" y="3716208"/>
                  <a:pt x="9387885" y="3716208"/>
                </a:cubicBezTo>
                <a:close/>
                <a:moveTo>
                  <a:pt x="9170374" y="3716208"/>
                </a:moveTo>
                <a:cubicBezTo>
                  <a:pt x="9164649" y="3716208"/>
                  <a:pt x="9161986" y="3718204"/>
                  <a:pt x="9160389" y="3719802"/>
                </a:cubicBezTo>
                <a:cubicBezTo>
                  <a:pt x="9157860" y="3722464"/>
                  <a:pt x="9156795" y="3725259"/>
                  <a:pt x="9156795" y="3729253"/>
                </a:cubicBezTo>
                <a:cubicBezTo>
                  <a:pt x="9156795" y="3733381"/>
                  <a:pt x="9157860" y="3736175"/>
                  <a:pt x="9160389" y="3738705"/>
                </a:cubicBezTo>
                <a:cubicBezTo>
                  <a:pt x="9161986" y="3740302"/>
                  <a:pt x="9164516" y="3742165"/>
                  <a:pt x="9170374" y="3742165"/>
                </a:cubicBezTo>
                <a:cubicBezTo>
                  <a:pt x="9172370" y="3742165"/>
                  <a:pt x="9174100" y="3741766"/>
                  <a:pt x="9175698" y="3741367"/>
                </a:cubicBezTo>
                <a:cubicBezTo>
                  <a:pt x="9177163" y="3740834"/>
                  <a:pt x="9178494" y="3739902"/>
                  <a:pt x="9179425" y="3738970"/>
                </a:cubicBezTo>
                <a:cubicBezTo>
                  <a:pt x="9180491" y="3737772"/>
                  <a:pt x="9181422" y="3736441"/>
                  <a:pt x="9182088" y="3734711"/>
                </a:cubicBezTo>
                <a:cubicBezTo>
                  <a:pt x="9182887" y="3733113"/>
                  <a:pt x="9183152" y="3731250"/>
                  <a:pt x="9183152" y="3729253"/>
                </a:cubicBezTo>
                <a:cubicBezTo>
                  <a:pt x="9183152" y="3727388"/>
                  <a:pt x="9182753" y="3725659"/>
                  <a:pt x="9182088" y="3724061"/>
                </a:cubicBezTo>
                <a:cubicBezTo>
                  <a:pt x="9181422" y="3722331"/>
                  <a:pt x="9180491" y="3721000"/>
                  <a:pt x="9179425" y="3719802"/>
                </a:cubicBezTo>
                <a:cubicBezTo>
                  <a:pt x="9178360" y="3718737"/>
                  <a:pt x="9177029" y="3717805"/>
                  <a:pt x="9175432" y="3717139"/>
                </a:cubicBezTo>
                <a:cubicBezTo>
                  <a:pt x="9173967" y="3716473"/>
                  <a:pt x="9172237" y="3716208"/>
                  <a:pt x="9170374" y="3716208"/>
                </a:cubicBezTo>
                <a:close/>
                <a:moveTo>
                  <a:pt x="8952728" y="3716208"/>
                </a:moveTo>
                <a:cubicBezTo>
                  <a:pt x="8947003" y="3716208"/>
                  <a:pt x="8944340" y="3718204"/>
                  <a:pt x="8942743" y="3719802"/>
                </a:cubicBezTo>
                <a:cubicBezTo>
                  <a:pt x="8940214" y="3722464"/>
                  <a:pt x="8939150" y="3725259"/>
                  <a:pt x="8939150" y="3729253"/>
                </a:cubicBezTo>
                <a:cubicBezTo>
                  <a:pt x="8939150" y="3733381"/>
                  <a:pt x="8940214" y="3736175"/>
                  <a:pt x="8942743" y="3738705"/>
                </a:cubicBezTo>
                <a:cubicBezTo>
                  <a:pt x="8944340" y="3740302"/>
                  <a:pt x="8946870" y="3742165"/>
                  <a:pt x="8952728" y="3742165"/>
                </a:cubicBezTo>
                <a:cubicBezTo>
                  <a:pt x="8954725" y="3742165"/>
                  <a:pt x="8956589" y="3741766"/>
                  <a:pt x="8958053" y="3741367"/>
                </a:cubicBezTo>
                <a:cubicBezTo>
                  <a:pt x="8959517" y="3740834"/>
                  <a:pt x="8960849" y="3739902"/>
                  <a:pt x="8961780" y="3738970"/>
                </a:cubicBezTo>
                <a:cubicBezTo>
                  <a:pt x="8962845" y="3737772"/>
                  <a:pt x="8963777" y="3736441"/>
                  <a:pt x="8964442" y="3734711"/>
                </a:cubicBezTo>
                <a:cubicBezTo>
                  <a:pt x="8965241" y="3733113"/>
                  <a:pt x="8965507" y="3731250"/>
                  <a:pt x="8965507" y="3729253"/>
                </a:cubicBezTo>
                <a:cubicBezTo>
                  <a:pt x="8965507" y="3727388"/>
                  <a:pt x="8965108" y="3725659"/>
                  <a:pt x="8964442" y="3724061"/>
                </a:cubicBezTo>
                <a:cubicBezTo>
                  <a:pt x="8963777" y="3722331"/>
                  <a:pt x="8962845" y="3721000"/>
                  <a:pt x="8961780" y="3719802"/>
                </a:cubicBezTo>
                <a:cubicBezTo>
                  <a:pt x="8960715" y="3718737"/>
                  <a:pt x="8959384" y="3717805"/>
                  <a:pt x="8957786" y="3717139"/>
                </a:cubicBezTo>
                <a:cubicBezTo>
                  <a:pt x="8956322" y="3716473"/>
                  <a:pt x="8954592" y="3716208"/>
                  <a:pt x="8952728" y="3716208"/>
                </a:cubicBezTo>
                <a:close/>
                <a:moveTo>
                  <a:pt x="8735083" y="3716208"/>
                </a:moveTo>
                <a:cubicBezTo>
                  <a:pt x="8729358" y="3716208"/>
                  <a:pt x="8726695" y="3718204"/>
                  <a:pt x="8725098" y="3719802"/>
                </a:cubicBezTo>
                <a:cubicBezTo>
                  <a:pt x="8722569" y="3722464"/>
                  <a:pt x="8721504" y="3725259"/>
                  <a:pt x="8721504" y="3729253"/>
                </a:cubicBezTo>
                <a:cubicBezTo>
                  <a:pt x="8721504" y="3733381"/>
                  <a:pt x="8722569" y="3736175"/>
                  <a:pt x="8725098" y="3738705"/>
                </a:cubicBezTo>
                <a:cubicBezTo>
                  <a:pt x="8726695" y="3740302"/>
                  <a:pt x="8729225" y="3742165"/>
                  <a:pt x="8735083" y="3742165"/>
                </a:cubicBezTo>
                <a:cubicBezTo>
                  <a:pt x="8737079" y="3742165"/>
                  <a:pt x="8738943" y="3741766"/>
                  <a:pt x="8740407" y="3741367"/>
                </a:cubicBezTo>
                <a:cubicBezTo>
                  <a:pt x="8741872" y="3740834"/>
                  <a:pt x="8743203" y="3739902"/>
                  <a:pt x="8744134" y="3738970"/>
                </a:cubicBezTo>
                <a:cubicBezTo>
                  <a:pt x="8745200" y="3737772"/>
                  <a:pt x="8746132" y="3736441"/>
                  <a:pt x="8746797" y="3734711"/>
                </a:cubicBezTo>
                <a:cubicBezTo>
                  <a:pt x="8747596" y="3733113"/>
                  <a:pt x="8747862" y="3731250"/>
                  <a:pt x="8747862" y="3729253"/>
                </a:cubicBezTo>
                <a:cubicBezTo>
                  <a:pt x="8747862" y="3727388"/>
                  <a:pt x="8747462" y="3725659"/>
                  <a:pt x="8746797" y="3724061"/>
                </a:cubicBezTo>
                <a:cubicBezTo>
                  <a:pt x="8746132" y="3722331"/>
                  <a:pt x="8745200" y="3721000"/>
                  <a:pt x="8744134" y="3719802"/>
                </a:cubicBezTo>
                <a:cubicBezTo>
                  <a:pt x="8743069" y="3718737"/>
                  <a:pt x="8741738" y="3717805"/>
                  <a:pt x="8740141" y="3717139"/>
                </a:cubicBezTo>
                <a:cubicBezTo>
                  <a:pt x="8738677" y="3716473"/>
                  <a:pt x="8736946" y="3716208"/>
                  <a:pt x="8735083" y="3716208"/>
                </a:cubicBezTo>
                <a:close/>
                <a:moveTo>
                  <a:pt x="8517438" y="3716208"/>
                </a:moveTo>
                <a:cubicBezTo>
                  <a:pt x="8511713" y="3716208"/>
                  <a:pt x="8509051" y="3718204"/>
                  <a:pt x="8507453" y="3719802"/>
                </a:cubicBezTo>
                <a:cubicBezTo>
                  <a:pt x="8504925" y="3722464"/>
                  <a:pt x="8503860" y="3725259"/>
                  <a:pt x="8503860" y="3729253"/>
                </a:cubicBezTo>
                <a:cubicBezTo>
                  <a:pt x="8503860" y="3733381"/>
                  <a:pt x="8504925" y="3736175"/>
                  <a:pt x="8507453" y="3738705"/>
                </a:cubicBezTo>
                <a:cubicBezTo>
                  <a:pt x="8509051" y="3740302"/>
                  <a:pt x="8511581" y="3742165"/>
                  <a:pt x="8517438" y="3742165"/>
                </a:cubicBezTo>
                <a:cubicBezTo>
                  <a:pt x="8519568" y="3742165"/>
                  <a:pt x="8521299" y="3741766"/>
                  <a:pt x="8522763" y="3741367"/>
                </a:cubicBezTo>
                <a:cubicBezTo>
                  <a:pt x="8524227" y="3740834"/>
                  <a:pt x="8525559" y="3739902"/>
                  <a:pt x="8526490" y="3738970"/>
                </a:cubicBezTo>
                <a:cubicBezTo>
                  <a:pt x="8527555" y="3737772"/>
                  <a:pt x="8528487" y="3736441"/>
                  <a:pt x="8529152" y="3734711"/>
                </a:cubicBezTo>
                <a:cubicBezTo>
                  <a:pt x="8529818" y="3733113"/>
                  <a:pt x="8530084" y="3731250"/>
                  <a:pt x="8530084" y="3729253"/>
                </a:cubicBezTo>
                <a:cubicBezTo>
                  <a:pt x="8530084" y="3727388"/>
                  <a:pt x="8529818" y="3725659"/>
                  <a:pt x="8529152" y="3724061"/>
                </a:cubicBezTo>
                <a:cubicBezTo>
                  <a:pt x="8528487" y="3722331"/>
                  <a:pt x="8527555" y="3721000"/>
                  <a:pt x="8526490" y="3719802"/>
                </a:cubicBezTo>
                <a:cubicBezTo>
                  <a:pt x="8525425" y="3718737"/>
                  <a:pt x="8524094" y="3717805"/>
                  <a:pt x="8522496" y="3717139"/>
                </a:cubicBezTo>
                <a:cubicBezTo>
                  <a:pt x="8521032" y="3716473"/>
                  <a:pt x="8519302" y="3716208"/>
                  <a:pt x="8517438" y="3716208"/>
                </a:cubicBezTo>
                <a:close/>
                <a:moveTo>
                  <a:pt x="8299793" y="3716208"/>
                </a:moveTo>
                <a:cubicBezTo>
                  <a:pt x="8294068" y="3716208"/>
                  <a:pt x="8291406" y="3718204"/>
                  <a:pt x="8289809" y="3719802"/>
                </a:cubicBezTo>
                <a:cubicBezTo>
                  <a:pt x="8287280" y="3722464"/>
                  <a:pt x="8286215" y="3725259"/>
                  <a:pt x="8286215" y="3729253"/>
                </a:cubicBezTo>
                <a:cubicBezTo>
                  <a:pt x="8286215" y="3733381"/>
                  <a:pt x="8287280" y="3736175"/>
                  <a:pt x="8289809" y="3738705"/>
                </a:cubicBezTo>
                <a:cubicBezTo>
                  <a:pt x="8291406" y="3740302"/>
                  <a:pt x="8293935" y="3742165"/>
                  <a:pt x="8299793" y="3742165"/>
                </a:cubicBezTo>
                <a:cubicBezTo>
                  <a:pt x="8301923" y="3742165"/>
                  <a:pt x="8303653" y="3741766"/>
                  <a:pt x="8305118" y="3741367"/>
                </a:cubicBezTo>
                <a:cubicBezTo>
                  <a:pt x="8306582" y="3740834"/>
                  <a:pt x="8307913" y="3739902"/>
                  <a:pt x="8308844" y="3738970"/>
                </a:cubicBezTo>
                <a:cubicBezTo>
                  <a:pt x="8309910" y="3737772"/>
                  <a:pt x="8310842" y="3736441"/>
                  <a:pt x="8311507" y="3734711"/>
                </a:cubicBezTo>
                <a:cubicBezTo>
                  <a:pt x="8312172" y="3733113"/>
                  <a:pt x="8312439" y="3731250"/>
                  <a:pt x="8312439" y="3729253"/>
                </a:cubicBezTo>
                <a:cubicBezTo>
                  <a:pt x="8312439" y="3727388"/>
                  <a:pt x="8312172" y="3725659"/>
                  <a:pt x="8311507" y="3724061"/>
                </a:cubicBezTo>
                <a:cubicBezTo>
                  <a:pt x="8310842" y="3722331"/>
                  <a:pt x="8309910" y="3721000"/>
                  <a:pt x="8308844" y="3719802"/>
                </a:cubicBezTo>
                <a:cubicBezTo>
                  <a:pt x="8307779" y="3718737"/>
                  <a:pt x="8306448" y="3717805"/>
                  <a:pt x="8304851" y="3717139"/>
                </a:cubicBezTo>
                <a:cubicBezTo>
                  <a:pt x="8303387" y="3716473"/>
                  <a:pt x="8301790" y="3716208"/>
                  <a:pt x="8299793" y="3716208"/>
                </a:cubicBezTo>
                <a:close/>
                <a:moveTo>
                  <a:pt x="8082281" y="3716208"/>
                </a:moveTo>
                <a:cubicBezTo>
                  <a:pt x="8076424" y="3716208"/>
                  <a:pt x="8073894" y="3718204"/>
                  <a:pt x="8072297" y="3719802"/>
                </a:cubicBezTo>
                <a:cubicBezTo>
                  <a:pt x="8069768" y="3722464"/>
                  <a:pt x="8068703" y="3725259"/>
                  <a:pt x="8068703" y="3729253"/>
                </a:cubicBezTo>
                <a:cubicBezTo>
                  <a:pt x="8068703" y="3733381"/>
                  <a:pt x="8069768" y="3736175"/>
                  <a:pt x="8072297" y="3738705"/>
                </a:cubicBezTo>
                <a:cubicBezTo>
                  <a:pt x="8073894" y="3740302"/>
                  <a:pt x="8076424" y="3742165"/>
                  <a:pt x="8082281" y="3742165"/>
                </a:cubicBezTo>
                <a:cubicBezTo>
                  <a:pt x="8084277" y="3742165"/>
                  <a:pt x="8086007" y="3741766"/>
                  <a:pt x="8087605" y="3741367"/>
                </a:cubicBezTo>
                <a:cubicBezTo>
                  <a:pt x="8089069" y="3740834"/>
                  <a:pt x="8090401" y="3739902"/>
                  <a:pt x="8091332" y="3738970"/>
                </a:cubicBezTo>
                <a:cubicBezTo>
                  <a:pt x="8092397" y="3737772"/>
                  <a:pt x="8093329" y="3736441"/>
                  <a:pt x="8093994" y="3734711"/>
                </a:cubicBezTo>
                <a:cubicBezTo>
                  <a:pt x="8094660" y="3733113"/>
                  <a:pt x="8094926" y="3731250"/>
                  <a:pt x="8094926" y="3729253"/>
                </a:cubicBezTo>
                <a:cubicBezTo>
                  <a:pt x="8094926" y="3727388"/>
                  <a:pt x="8094660" y="3725659"/>
                  <a:pt x="8093994" y="3724061"/>
                </a:cubicBezTo>
                <a:cubicBezTo>
                  <a:pt x="8093329" y="3722331"/>
                  <a:pt x="8092397" y="3721000"/>
                  <a:pt x="8091332" y="3719802"/>
                </a:cubicBezTo>
                <a:cubicBezTo>
                  <a:pt x="8090267" y="3718737"/>
                  <a:pt x="8088936" y="3717805"/>
                  <a:pt x="8087338" y="3717139"/>
                </a:cubicBezTo>
                <a:cubicBezTo>
                  <a:pt x="8085874" y="3716473"/>
                  <a:pt x="8084277" y="3716208"/>
                  <a:pt x="8082281" y="3716208"/>
                </a:cubicBezTo>
                <a:close/>
                <a:moveTo>
                  <a:pt x="7864636" y="3716208"/>
                </a:moveTo>
                <a:cubicBezTo>
                  <a:pt x="7858779" y="3716208"/>
                  <a:pt x="7856249" y="3718204"/>
                  <a:pt x="7854652" y="3719802"/>
                </a:cubicBezTo>
                <a:cubicBezTo>
                  <a:pt x="7852123" y="3722464"/>
                  <a:pt x="7851058" y="3725259"/>
                  <a:pt x="7851058" y="3729253"/>
                </a:cubicBezTo>
                <a:cubicBezTo>
                  <a:pt x="7851058" y="3733381"/>
                  <a:pt x="7852123" y="3736175"/>
                  <a:pt x="7854652" y="3738705"/>
                </a:cubicBezTo>
                <a:cubicBezTo>
                  <a:pt x="7856249" y="3740302"/>
                  <a:pt x="7858779" y="3742165"/>
                  <a:pt x="7864636" y="3742165"/>
                </a:cubicBezTo>
                <a:cubicBezTo>
                  <a:pt x="7866633" y="3742165"/>
                  <a:pt x="7868363" y="3741766"/>
                  <a:pt x="7869961" y="3741367"/>
                </a:cubicBezTo>
                <a:cubicBezTo>
                  <a:pt x="7871425" y="3740834"/>
                  <a:pt x="7872756" y="3739902"/>
                  <a:pt x="7873687" y="3738970"/>
                </a:cubicBezTo>
                <a:cubicBezTo>
                  <a:pt x="7874753" y="3737772"/>
                  <a:pt x="7875685" y="3736441"/>
                  <a:pt x="7876350" y="3734711"/>
                </a:cubicBezTo>
                <a:cubicBezTo>
                  <a:pt x="7877015" y="3733113"/>
                  <a:pt x="7877282" y="3731250"/>
                  <a:pt x="7877282" y="3729253"/>
                </a:cubicBezTo>
                <a:cubicBezTo>
                  <a:pt x="7877282" y="3727388"/>
                  <a:pt x="7877015" y="3725659"/>
                  <a:pt x="7876350" y="3724061"/>
                </a:cubicBezTo>
                <a:cubicBezTo>
                  <a:pt x="7875685" y="3722331"/>
                  <a:pt x="7874753" y="3721000"/>
                  <a:pt x="7873687" y="3719802"/>
                </a:cubicBezTo>
                <a:cubicBezTo>
                  <a:pt x="7872623" y="3718737"/>
                  <a:pt x="7871291" y="3717805"/>
                  <a:pt x="7869694" y="3717139"/>
                </a:cubicBezTo>
                <a:cubicBezTo>
                  <a:pt x="7868230" y="3716473"/>
                  <a:pt x="7866633" y="3716208"/>
                  <a:pt x="7864636" y="3716208"/>
                </a:cubicBezTo>
                <a:close/>
                <a:moveTo>
                  <a:pt x="7646991" y="3716208"/>
                </a:moveTo>
                <a:cubicBezTo>
                  <a:pt x="7641134" y="3716208"/>
                  <a:pt x="7638604" y="3718204"/>
                  <a:pt x="7637007" y="3719802"/>
                </a:cubicBezTo>
                <a:cubicBezTo>
                  <a:pt x="7634478" y="3722464"/>
                  <a:pt x="7633413" y="3725259"/>
                  <a:pt x="7633413" y="3729253"/>
                </a:cubicBezTo>
                <a:cubicBezTo>
                  <a:pt x="7633413" y="3733381"/>
                  <a:pt x="7634478" y="3736175"/>
                  <a:pt x="7637007" y="3738705"/>
                </a:cubicBezTo>
                <a:cubicBezTo>
                  <a:pt x="7638604" y="3740302"/>
                  <a:pt x="7641134" y="3742165"/>
                  <a:pt x="7646991" y="3742165"/>
                </a:cubicBezTo>
                <a:cubicBezTo>
                  <a:pt x="7648987" y="3742165"/>
                  <a:pt x="7650851" y="3741766"/>
                  <a:pt x="7652315" y="3741367"/>
                </a:cubicBezTo>
                <a:cubicBezTo>
                  <a:pt x="7653780" y="3740834"/>
                  <a:pt x="7655111" y="3739902"/>
                  <a:pt x="7656042" y="3738970"/>
                </a:cubicBezTo>
                <a:cubicBezTo>
                  <a:pt x="7657108" y="3737772"/>
                  <a:pt x="7658039" y="3736441"/>
                  <a:pt x="7658705" y="3734711"/>
                </a:cubicBezTo>
                <a:cubicBezTo>
                  <a:pt x="7659504" y="3733113"/>
                  <a:pt x="7659769" y="3731250"/>
                  <a:pt x="7659769" y="3729253"/>
                </a:cubicBezTo>
                <a:cubicBezTo>
                  <a:pt x="7659769" y="3727388"/>
                  <a:pt x="7659370" y="3725659"/>
                  <a:pt x="7658705" y="3724061"/>
                </a:cubicBezTo>
                <a:cubicBezTo>
                  <a:pt x="7658039" y="3722331"/>
                  <a:pt x="7657108" y="3721000"/>
                  <a:pt x="7656042" y="3719802"/>
                </a:cubicBezTo>
                <a:cubicBezTo>
                  <a:pt x="7654977" y="3718737"/>
                  <a:pt x="7653646" y="3717805"/>
                  <a:pt x="7652049" y="3717139"/>
                </a:cubicBezTo>
                <a:cubicBezTo>
                  <a:pt x="7650584" y="3716473"/>
                  <a:pt x="7648987" y="3716208"/>
                  <a:pt x="7646991" y="3716208"/>
                </a:cubicBezTo>
                <a:close/>
                <a:moveTo>
                  <a:pt x="7429345" y="3716208"/>
                </a:moveTo>
                <a:cubicBezTo>
                  <a:pt x="7423488" y="3716208"/>
                  <a:pt x="7420958" y="3718204"/>
                  <a:pt x="7419361" y="3719802"/>
                </a:cubicBezTo>
                <a:cubicBezTo>
                  <a:pt x="7416832" y="3722464"/>
                  <a:pt x="7415768" y="3725259"/>
                  <a:pt x="7415768" y="3729253"/>
                </a:cubicBezTo>
                <a:cubicBezTo>
                  <a:pt x="7415768" y="3733381"/>
                  <a:pt x="7416832" y="3736175"/>
                  <a:pt x="7419361" y="3738705"/>
                </a:cubicBezTo>
                <a:cubicBezTo>
                  <a:pt x="7420958" y="3740302"/>
                  <a:pt x="7423488" y="3742165"/>
                  <a:pt x="7429345" y="3742165"/>
                </a:cubicBezTo>
                <a:cubicBezTo>
                  <a:pt x="7431342" y="3742165"/>
                  <a:pt x="7433206" y="3741766"/>
                  <a:pt x="7434670" y="3741367"/>
                </a:cubicBezTo>
                <a:cubicBezTo>
                  <a:pt x="7436134" y="3740834"/>
                  <a:pt x="7437466" y="3739902"/>
                  <a:pt x="7438397" y="3738970"/>
                </a:cubicBezTo>
                <a:cubicBezTo>
                  <a:pt x="7439462" y="3737772"/>
                  <a:pt x="7440394" y="3736441"/>
                  <a:pt x="7441059" y="3734711"/>
                </a:cubicBezTo>
                <a:cubicBezTo>
                  <a:pt x="7441858" y="3733113"/>
                  <a:pt x="7442124" y="3731250"/>
                  <a:pt x="7442124" y="3729253"/>
                </a:cubicBezTo>
                <a:cubicBezTo>
                  <a:pt x="7442124" y="3727388"/>
                  <a:pt x="7441725" y="3725659"/>
                  <a:pt x="7441059" y="3724061"/>
                </a:cubicBezTo>
                <a:cubicBezTo>
                  <a:pt x="7440394" y="3722331"/>
                  <a:pt x="7439462" y="3721000"/>
                  <a:pt x="7438397" y="3719802"/>
                </a:cubicBezTo>
                <a:cubicBezTo>
                  <a:pt x="7437332" y="3718737"/>
                  <a:pt x="7436001" y="3717805"/>
                  <a:pt x="7434403" y="3717139"/>
                </a:cubicBezTo>
                <a:cubicBezTo>
                  <a:pt x="7432939" y="3716473"/>
                  <a:pt x="7431342" y="3716208"/>
                  <a:pt x="7429345" y="3716208"/>
                </a:cubicBezTo>
                <a:close/>
                <a:moveTo>
                  <a:pt x="7211701" y="3716208"/>
                </a:moveTo>
                <a:cubicBezTo>
                  <a:pt x="7205844" y="3716208"/>
                  <a:pt x="7203314" y="3718204"/>
                  <a:pt x="7201717" y="3719802"/>
                </a:cubicBezTo>
                <a:cubicBezTo>
                  <a:pt x="7199188" y="3722464"/>
                  <a:pt x="7198123" y="3725259"/>
                  <a:pt x="7198123" y="3729253"/>
                </a:cubicBezTo>
                <a:cubicBezTo>
                  <a:pt x="7198123" y="3733381"/>
                  <a:pt x="7199188" y="3736175"/>
                  <a:pt x="7201717" y="3738705"/>
                </a:cubicBezTo>
                <a:cubicBezTo>
                  <a:pt x="7203314" y="3740302"/>
                  <a:pt x="7205844" y="3742165"/>
                  <a:pt x="7211701" y="3742165"/>
                </a:cubicBezTo>
                <a:cubicBezTo>
                  <a:pt x="7213830" y="3742165"/>
                  <a:pt x="7215561" y="3741766"/>
                  <a:pt x="7217026" y="3741367"/>
                </a:cubicBezTo>
                <a:cubicBezTo>
                  <a:pt x="7218490" y="3740834"/>
                  <a:pt x="7219821" y="3739902"/>
                  <a:pt x="7220752" y="3738970"/>
                </a:cubicBezTo>
                <a:cubicBezTo>
                  <a:pt x="7221818" y="3737772"/>
                  <a:pt x="7222750" y="3736441"/>
                  <a:pt x="7223415" y="3734711"/>
                </a:cubicBezTo>
                <a:cubicBezTo>
                  <a:pt x="7224214" y="3733113"/>
                  <a:pt x="7224480" y="3731250"/>
                  <a:pt x="7224480" y="3729253"/>
                </a:cubicBezTo>
                <a:cubicBezTo>
                  <a:pt x="7224480" y="3727388"/>
                  <a:pt x="7224080" y="3725659"/>
                  <a:pt x="7223415" y="3724061"/>
                </a:cubicBezTo>
                <a:cubicBezTo>
                  <a:pt x="7222750" y="3722331"/>
                  <a:pt x="7221818" y="3721000"/>
                  <a:pt x="7220752" y="3719802"/>
                </a:cubicBezTo>
                <a:cubicBezTo>
                  <a:pt x="7219687" y="3718737"/>
                  <a:pt x="7218356" y="3717805"/>
                  <a:pt x="7216759" y="3717139"/>
                </a:cubicBezTo>
                <a:cubicBezTo>
                  <a:pt x="7215295" y="3716473"/>
                  <a:pt x="7213698" y="3716208"/>
                  <a:pt x="7211701" y="3716208"/>
                </a:cubicBezTo>
                <a:close/>
                <a:moveTo>
                  <a:pt x="6994056" y="3716208"/>
                </a:moveTo>
                <a:cubicBezTo>
                  <a:pt x="6988199" y="3716208"/>
                  <a:pt x="6985669" y="3718204"/>
                  <a:pt x="6984072" y="3719802"/>
                </a:cubicBezTo>
                <a:cubicBezTo>
                  <a:pt x="6981543" y="3722464"/>
                  <a:pt x="6980478" y="3725259"/>
                  <a:pt x="6980478" y="3729253"/>
                </a:cubicBezTo>
                <a:cubicBezTo>
                  <a:pt x="6980478" y="3733381"/>
                  <a:pt x="6981543" y="3736175"/>
                  <a:pt x="6984072" y="3738705"/>
                </a:cubicBezTo>
                <a:cubicBezTo>
                  <a:pt x="6985669" y="3740302"/>
                  <a:pt x="6988199" y="3742165"/>
                  <a:pt x="6994056" y="3742165"/>
                </a:cubicBezTo>
                <a:cubicBezTo>
                  <a:pt x="6996185" y="3742165"/>
                  <a:pt x="6997916" y="3741766"/>
                  <a:pt x="6999380" y="3741367"/>
                </a:cubicBezTo>
                <a:cubicBezTo>
                  <a:pt x="7000844" y="3740834"/>
                  <a:pt x="7002176" y="3739902"/>
                  <a:pt x="7003107" y="3738970"/>
                </a:cubicBezTo>
                <a:cubicBezTo>
                  <a:pt x="7004172" y="3737772"/>
                  <a:pt x="7005104" y="3736441"/>
                  <a:pt x="7005769" y="3734711"/>
                </a:cubicBezTo>
                <a:cubicBezTo>
                  <a:pt x="7006568" y="3733113"/>
                  <a:pt x="7006834" y="3731250"/>
                  <a:pt x="7006834" y="3729253"/>
                </a:cubicBezTo>
                <a:cubicBezTo>
                  <a:pt x="7006834" y="3727388"/>
                  <a:pt x="7006435" y="3725659"/>
                  <a:pt x="7005769" y="3724061"/>
                </a:cubicBezTo>
                <a:cubicBezTo>
                  <a:pt x="7005104" y="3722331"/>
                  <a:pt x="7004172" y="3721000"/>
                  <a:pt x="7003107" y="3719802"/>
                </a:cubicBezTo>
                <a:cubicBezTo>
                  <a:pt x="7002042" y="3718737"/>
                  <a:pt x="7000711" y="3717805"/>
                  <a:pt x="6999113" y="3717139"/>
                </a:cubicBezTo>
                <a:cubicBezTo>
                  <a:pt x="6997649" y="3716473"/>
                  <a:pt x="6996052" y="3716208"/>
                  <a:pt x="6994056" y="3716208"/>
                </a:cubicBezTo>
                <a:close/>
                <a:moveTo>
                  <a:pt x="6776544" y="3716208"/>
                </a:moveTo>
                <a:cubicBezTo>
                  <a:pt x="6770687" y="3716208"/>
                  <a:pt x="6768157" y="3718204"/>
                  <a:pt x="6766560" y="3719802"/>
                </a:cubicBezTo>
                <a:cubicBezTo>
                  <a:pt x="6764031" y="3722464"/>
                  <a:pt x="6762966" y="3725259"/>
                  <a:pt x="6762966" y="3729253"/>
                </a:cubicBezTo>
                <a:cubicBezTo>
                  <a:pt x="6762966" y="3733381"/>
                  <a:pt x="6764031" y="3736175"/>
                  <a:pt x="6766560" y="3738705"/>
                </a:cubicBezTo>
                <a:cubicBezTo>
                  <a:pt x="6768157" y="3740302"/>
                  <a:pt x="6770687" y="3742165"/>
                  <a:pt x="6776544" y="3742165"/>
                </a:cubicBezTo>
                <a:cubicBezTo>
                  <a:pt x="6778541" y="3742165"/>
                  <a:pt x="6780270" y="3741766"/>
                  <a:pt x="6781869" y="3741367"/>
                </a:cubicBezTo>
                <a:cubicBezTo>
                  <a:pt x="6783333" y="3740834"/>
                  <a:pt x="6784664" y="3739902"/>
                  <a:pt x="6785595" y="3738970"/>
                </a:cubicBezTo>
                <a:cubicBezTo>
                  <a:pt x="6786661" y="3737772"/>
                  <a:pt x="6787593" y="3736441"/>
                  <a:pt x="6788258" y="3734711"/>
                </a:cubicBezTo>
                <a:cubicBezTo>
                  <a:pt x="6789057" y="3733113"/>
                  <a:pt x="6789323" y="3731250"/>
                  <a:pt x="6789323" y="3729253"/>
                </a:cubicBezTo>
                <a:cubicBezTo>
                  <a:pt x="6789323" y="3727388"/>
                  <a:pt x="6788923" y="3725659"/>
                  <a:pt x="6788258" y="3724061"/>
                </a:cubicBezTo>
                <a:cubicBezTo>
                  <a:pt x="6787593" y="3722331"/>
                  <a:pt x="6786661" y="3721000"/>
                  <a:pt x="6785595" y="3719802"/>
                </a:cubicBezTo>
                <a:cubicBezTo>
                  <a:pt x="6784530" y="3718737"/>
                  <a:pt x="6783199" y="3717805"/>
                  <a:pt x="6781602" y="3717139"/>
                </a:cubicBezTo>
                <a:cubicBezTo>
                  <a:pt x="6780138" y="3716473"/>
                  <a:pt x="6778541" y="3716208"/>
                  <a:pt x="6776544" y="3716208"/>
                </a:cubicBezTo>
                <a:close/>
                <a:moveTo>
                  <a:pt x="6558899" y="3716208"/>
                </a:moveTo>
                <a:cubicBezTo>
                  <a:pt x="6553042" y="3716208"/>
                  <a:pt x="6550512" y="3718204"/>
                  <a:pt x="6548915" y="3719802"/>
                </a:cubicBezTo>
                <a:cubicBezTo>
                  <a:pt x="6546386" y="3722464"/>
                  <a:pt x="6545321" y="3725259"/>
                  <a:pt x="6545321" y="3729253"/>
                </a:cubicBezTo>
                <a:cubicBezTo>
                  <a:pt x="6545321" y="3733381"/>
                  <a:pt x="6546386" y="3736175"/>
                  <a:pt x="6548915" y="3738705"/>
                </a:cubicBezTo>
                <a:cubicBezTo>
                  <a:pt x="6550512" y="3740302"/>
                  <a:pt x="6553042" y="3742165"/>
                  <a:pt x="6558899" y="3742165"/>
                </a:cubicBezTo>
                <a:cubicBezTo>
                  <a:pt x="6560895" y="3742165"/>
                  <a:pt x="6562759" y="3741766"/>
                  <a:pt x="6564223" y="3741367"/>
                </a:cubicBezTo>
                <a:cubicBezTo>
                  <a:pt x="6565687" y="3740834"/>
                  <a:pt x="6567019" y="3739902"/>
                  <a:pt x="6567950" y="3738970"/>
                </a:cubicBezTo>
                <a:cubicBezTo>
                  <a:pt x="6569015" y="3737772"/>
                  <a:pt x="6569947" y="3736441"/>
                  <a:pt x="6570612" y="3734711"/>
                </a:cubicBezTo>
                <a:cubicBezTo>
                  <a:pt x="6571412" y="3733113"/>
                  <a:pt x="6571677" y="3731250"/>
                  <a:pt x="6571677" y="3729253"/>
                </a:cubicBezTo>
                <a:cubicBezTo>
                  <a:pt x="6571677" y="3727388"/>
                  <a:pt x="6571278" y="3725659"/>
                  <a:pt x="6570612" y="3724061"/>
                </a:cubicBezTo>
                <a:cubicBezTo>
                  <a:pt x="6569947" y="3722331"/>
                  <a:pt x="6569015" y="3721000"/>
                  <a:pt x="6567950" y="3719802"/>
                </a:cubicBezTo>
                <a:cubicBezTo>
                  <a:pt x="6566885" y="3718737"/>
                  <a:pt x="6565554" y="3717805"/>
                  <a:pt x="6563956" y="3717139"/>
                </a:cubicBezTo>
                <a:cubicBezTo>
                  <a:pt x="6562492" y="3716473"/>
                  <a:pt x="6560895" y="3716208"/>
                  <a:pt x="6558899" y="3716208"/>
                </a:cubicBezTo>
                <a:close/>
                <a:moveTo>
                  <a:pt x="6341253" y="3716208"/>
                </a:moveTo>
                <a:cubicBezTo>
                  <a:pt x="6335396" y="3716208"/>
                  <a:pt x="6332867" y="3718204"/>
                  <a:pt x="6331270" y="3719802"/>
                </a:cubicBezTo>
                <a:cubicBezTo>
                  <a:pt x="6328740" y="3722464"/>
                  <a:pt x="6327675" y="3725259"/>
                  <a:pt x="6327675" y="3729253"/>
                </a:cubicBezTo>
                <a:cubicBezTo>
                  <a:pt x="6327675" y="3733381"/>
                  <a:pt x="6328740" y="3736175"/>
                  <a:pt x="6331270" y="3738705"/>
                </a:cubicBezTo>
                <a:cubicBezTo>
                  <a:pt x="6332867" y="3740302"/>
                  <a:pt x="6335396" y="3742165"/>
                  <a:pt x="6341253" y="3742165"/>
                </a:cubicBezTo>
                <a:cubicBezTo>
                  <a:pt x="6343250" y="3742165"/>
                  <a:pt x="6345114" y="3741766"/>
                  <a:pt x="6346578" y="3741367"/>
                </a:cubicBezTo>
                <a:cubicBezTo>
                  <a:pt x="6348042" y="3740834"/>
                  <a:pt x="6349373" y="3739902"/>
                  <a:pt x="6350305" y="3738970"/>
                </a:cubicBezTo>
                <a:cubicBezTo>
                  <a:pt x="6351370" y="3737772"/>
                  <a:pt x="6352302" y="3736441"/>
                  <a:pt x="6352968" y="3734711"/>
                </a:cubicBezTo>
                <a:cubicBezTo>
                  <a:pt x="6353766" y="3733113"/>
                  <a:pt x="6354033" y="3731250"/>
                  <a:pt x="6354033" y="3729253"/>
                </a:cubicBezTo>
                <a:cubicBezTo>
                  <a:pt x="6354033" y="3727388"/>
                  <a:pt x="6353633" y="3725659"/>
                  <a:pt x="6352968" y="3724061"/>
                </a:cubicBezTo>
                <a:cubicBezTo>
                  <a:pt x="6352302" y="3722331"/>
                  <a:pt x="6351370" y="3721000"/>
                  <a:pt x="6350305" y="3719802"/>
                </a:cubicBezTo>
                <a:cubicBezTo>
                  <a:pt x="6349241" y="3718737"/>
                  <a:pt x="6347909" y="3717805"/>
                  <a:pt x="6346312" y="3717139"/>
                </a:cubicBezTo>
                <a:cubicBezTo>
                  <a:pt x="6344848" y="3716473"/>
                  <a:pt x="6343250" y="3716208"/>
                  <a:pt x="6341253" y="3716208"/>
                </a:cubicBezTo>
                <a:close/>
                <a:moveTo>
                  <a:pt x="6123608" y="3716208"/>
                </a:moveTo>
                <a:cubicBezTo>
                  <a:pt x="6117751" y="3716208"/>
                  <a:pt x="6115221" y="3718204"/>
                  <a:pt x="6113624" y="3719802"/>
                </a:cubicBezTo>
                <a:cubicBezTo>
                  <a:pt x="6111095" y="3722464"/>
                  <a:pt x="6110030" y="3725259"/>
                  <a:pt x="6110030" y="3729253"/>
                </a:cubicBezTo>
                <a:cubicBezTo>
                  <a:pt x="6110030" y="3733381"/>
                  <a:pt x="6111095" y="3736175"/>
                  <a:pt x="6113624" y="3738705"/>
                </a:cubicBezTo>
                <a:cubicBezTo>
                  <a:pt x="6115221" y="3740302"/>
                  <a:pt x="6117751" y="3742165"/>
                  <a:pt x="6123608" y="3742165"/>
                </a:cubicBezTo>
                <a:cubicBezTo>
                  <a:pt x="6125737" y="3742165"/>
                  <a:pt x="6127468" y="3741766"/>
                  <a:pt x="6128932" y="3741367"/>
                </a:cubicBezTo>
                <a:cubicBezTo>
                  <a:pt x="6130530" y="3740834"/>
                  <a:pt x="6131728" y="3739902"/>
                  <a:pt x="6132659" y="3738970"/>
                </a:cubicBezTo>
                <a:cubicBezTo>
                  <a:pt x="6133724" y="3737772"/>
                  <a:pt x="6134656" y="3736441"/>
                  <a:pt x="6135322" y="3734711"/>
                </a:cubicBezTo>
                <a:cubicBezTo>
                  <a:pt x="6135987" y="3733113"/>
                  <a:pt x="6136387" y="3731250"/>
                  <a:pt x="6136387" y="3729253"/>
                </a:cubicBezTo>
                <a:cubicBezTo>
                  <a:pt x="6136387" y="3727388"/>
                  <a:pt x="6135987" y="3725659"/>
                  <a:pt x="6135322" y="3724061"/>
                </a:cubicBezTo>
                <a:cubicBezTo>
                  <a:pt x="6134656" y="3722331"/>
                  <a:pt x="6133724" y="3721000"/>
                  <a:pt x="6132659" y="3719802"/>
                </a:cubicBezTo>
                <a:cubicBezTo>
                  <a:pt x="6131594" y="3718737"/>
                  <a:pt x="6130263" y="3717805"/>
                  <a:pt x="6128666" y="3717139"/>
                </a:cubicBezTo>
                <a:cubicBezTo>
                  <a:pt x="6127202" y="3716473"/>
                  <a:pt x="6125604" y="3716208"/>
                  <a:pt x="6123608" y="3716208"/>
                </a:cubicBezTo>
                <a:close/>
                <a:moveTo>
                  <a:pt x="5905963" y="3716208"/>
                </a:moveTo>
                <a:cubicBezTo>
                  <a:pt x="5900106" y="3716208"/>
                  <a:pt x="5897576" y="3718204"/>
                  <a:pt x="5895979" y="3719802"/>
                </a:cubicBezTo>
                <a:cubicBezTo>
                  <a:pt x="5893450" y="3722464"/>
                  <a:pt x="5892385" y="3725259"/>
                  <a:pt x="5892385" y="3729253"/>
                </a:cubicBezTo>
                <a:cubicBezTo>
                  <a:pt x="5892385" y="3733381"/>
                  <a:pt x="5893450" y="3736175"/>
                  <a:pt x="5895979" y="3738705"/>
                </a:cubicBezTo>
                <a:cubicBezTo>
                  <a:pt x="5897576" y="3740302"/>
                  <a:pt x="5900106" y="3742165"/>
                  <a:pt x="5905963" y="3742165"/>
                </a:cubicBezTo>
                <a:cubicBezTo>
                  <a:pt x="5908093" y="3742165"/>
                  <a:pt x="5909823" y="3741766"/>
                  <a:pt x="5911287" y="3741367"/>
                </a:cubicBezTo>
                <a:cubicBezTo>
                  <a:pt x="5912751" y="3740834"/>
                  <a:pt x="5914083" y="3739902"/>
                  <a:pt x="5915014" y="3738970"/>
                </a:cubicBezTo>
                <a:cubicBezTo>
                  <a:pt x="5916079" y="3737772"/>
                  <a:pt x="5917011" y="3736441"/>
                  <a:pt x="5917677" y="3734711"/>
                </a:cubicBezTo>
                <a:cubicBezTo>
                  <a:pt x="5918342" y="3733113"/>
                  <a:pt x="5918742" y="3731250"/>
                  <a:pt x="5918742" y="3729253"/>
                </a:cubicBezTo>
                <a:cubicBezTo>
                  <a:pt x="5918742" y="3727388"/>
                  <a:pt x="5918342" y="3725659"/>
                  <a:pt x="5917677" y="3724061"/>
                </a:cubicBezTo>
                <a:cubicBezTo>
                  <a:pt x="5917011" y="3722331"/>
                  <a:pt x="5916079" y="3721000"/>
                  <a:pt x="5915014" y="3719802"/>
                </a:cubicBezTo>
                <a:cubicBezTo>
                  <a:pt x="5913950" y="3718737"/>
                  <a:pt x="5912618" y="3717805"/>
                  <a:pt x="5911021" y="3717139"/>
                </a:cubicBezTo>
                <a:cubicBezTo>
                  <a:pt x="5909557" y="3716473"/>
                  <a:pt x="5907826" y="3716208"/>
                  <a:pt x="5905963" y="3716208"/>
                </a:cubicBezTo>
                <a:close/>
                <a:moveTo>
                  <a:pt x="5688451" y="3716208"/>
                </a:moveTo>
                <a:cubicBezTo>
                  <a:pt x="5682594" y="3716208"/>
                  <a:pt x="5680064" y="3718204"/>
                  <a:pt x="5678467" y="3719802"/>
                </a:cubicBezTo>
                <a:cubicBezTo>
                  <a:pt x="5675938" y="3722464"/>
                  <a:pt x="5674873" y="3725259"/>
                  <a:pt x="5674873" y="3729253"/>
                </a:cubicBezTo>
                <a:cubicBezTo>
                  <a:pt x="5674873" y="3733381"/>
                  <a:pt x="5675938" y="3736175"/>
                  <a:pt x="5678467" y="3738705"/>
                </a:cubicBezTo>
                <a:cubicBezTo>
                  <a:pt x="5680064" y="3740302"/>
                  <a:pt x="5682594" y="3742165"/>
                  <a:pt x="5688451" y="3742165"/>
                </a:cubicBezTo>
                <a:cubicBezTo>
                  <a:pt x="5690447" y="3742165"/>
                  <a:pt x="5692178" y="3741766"/>
                  <a:pt x="5693775" y="3741367"/>
                </a:cubicBezTo>
                <a:cubicBezTo>
                  <a:pt x="5695239" y="3740834"/>
                  <a:pt x="5696571" y="3739902"/>
                  <a:pt x="5697502" y="3738970"/>
                </a:cubicBezTo>
                <a:cubicBezTo>
                  <a:pt x="5698567" y="3737772"/>
                  <a:pt x="5699499" y="3736441"/>
                  <a:pt x="5700165" y="3734711"/>
                </a:cubicBezTo>
                <a:cubicBezTo>
                  <a:pt x="5700830" y="3733113"/>
                  <a:pt x="5701230" y="3731250"/>
                  <a:pt x="5701230" y="3729253"/>
                </a:cubicBezTo>
                <a:cubicBezTo>
                  <a:pt x="5701230" y="3727388"/>
                  <a:pt x="5700830" y="3725659"/>
                  <a:pt x="5700165" y="3724061"/>
                </a:cubicBezTo>
                <a:cubicBezTo>
                  <a:pt x="5699499" y="3722331"/>
                  <a:pt x="5698567" y="3721000"/>
                  <a:pt x="5697502" y="3719802"/>
                </a:cubicBezTo>
                <a:cubicBezTo>
                  <a:pt x="5696437" y="3718737"/>
                  <a:pt x="5695106" y="3717805"/>
                  <a:pt x="5693509" y="3717139"/>
                </a:cubicBezTo>
                <a:cubicBezTo>
                  <a:pt x="5692045" y="3716473"/>
                  <a:pt x="5690314" y="3716208"/>
                  <a:pt x="5688451" y="3716208"/>
                </a:cubicBezTo>
                <a:close/>
                <a:moveTo>
                  <a:pt x="5470806" y="3716208"/>
                </a:moveTo>
                <a:cubicBezTo>
                  <a:pt x="5464949" y="3716208"/>
                  <a:pt x="5462419" y="3718204"/>
                  <a:pt x="5460822" y="3719802"/>
                </a:cubicBezTo>
                <a:cubicBezTo>
                  <a:pt x="5458293" y="3722464"/>
                  <a:pt x="5457228" y="3725259"/>
                  <a:pt x="5457228" y="3729253"/>
                </a:cubicBezTo>
                <a:cubicBezTo>
                  <a:pt x="5457228" y="3733381"/>
                  <a:pt x="5458293" y="3736175"/>
                  <a:pt x="5460822" y="3738705"/>
                </a:cubicBezTo>
                <a:cubicBezTo>
                  <a:pt x="5462419" y="3740302"/>
                  <a:pt x="5464949" y="3742165"/>
                  <a:pt x="5470806" y="3742165"/>
                </a:cubicBezTo>
                <a:cubicBezTo>
                  <a:pt x="5472802" y="3742165"/>
                  <a:pt x="5474666" y="3741766"/>
                  <a:pt x="5476130" y="3741367"/>
                </a:cubicBezTo>
                <a:cubicBezTo>
                  <a:pt x="5477594" y="3740834"/>
                  <a:pt x="5478926" y="3739902"/>
                  <a:pt x="5479857" y="3738970"/>
                </a:cubicBezTo>
                <a:cubicBezTo>
                  <a:pt x="5480922" y="3737772"/>
                  <a:pt x="5481854" y="3736441"/>
                  <a:pt x="5482520" y="3734711"/>
                </a:cubicBezTo>
                <a:cubicBezTo>
                  <a:pt x="5483319" y="3733113"/>
                  <a:pt x="5483585" y="3731250"/>
                  <a:pt x="5483585" y="3729253"/>
                </a:cubicBezTo>
                <a:cubicBezTo>
                  <a:pt x="5483585" y="3727388"/>
                  <a:pt x="5483185" y="3725659"/>
                  <a:pt x="5482520" y="3724061"/>
                </a:cubicBezTo>
                <a:cubicBezTo>
                  <a:pt x="5481854" y="3722331"/>
                  <a:pt x="5480922" y="3721000"/>
                  <a:pt x="5479857" y="3719802"/>
                </a:cubicBezTo>
                <a:cubicBezTo>
                  <a:pt x="5478793" y="3718737"/>
                  <a:pt x="5477461" y="3717805"/>
                  <a:pt x="5475864" y="3717139"/>
                </a:cubicBezTo>
                <a:cubicBezTo>
                  <a:pt x="5474400" y="3716473"/>
                  <a:pt x="5472669" y="3716208"/>
                  <a:pt x="5470806" y="3716208"/>
                </a:cubicBezTo>
                <a:close/>
                <a:moveTo>
                  <a:pt x="5253160" y="3716208"/>
                </a:moveTo>
                <a:cubicBezTo>
                  <a:pt x="5247303" y="3716208"/>
                  <a:pt x="5244774" y="3718204"/>
                  <a:pt x="5243177" y="3719802"/>
                </a:cubicBezTo>
                <a:cubicBezTo>
                  <a:pt x="5240647" y="3722464"/>
                  <a:pt x="5239583" y="3725259"/>
                  <a:pt x="5239583" y="3729253"/>
                </a:cubicBezTo>
                <a:cubicBezTo>
                  <a:pt x="5239583" y="3733381"/>
                  <a:pt x="5240647" y="3736175"/>
                  <a:pt x="5243177" y="3738705"/>
                </a:cubicBezTo>
                <a:cubicBezTo>
                  <a:pt x="5244774" y="3740302"/>
                  <a:pt x="5247303" y="3742165"/>
                  <a:pt x="5253160" y="3742165"/>
                </a:cubicBezTo>
                <a:cubicBezTo>
                  <a:pt x="5255157" y="3742165"/>
                  <a:pt x="5257021" y="3741766"/>
                  <a:pt x="5258485" y="3741367"/>
                </a:cubicBezTo>
                <a:cubicBezTo>
                  <a:pt x="5259949" y="3740834"/>
                  <a:pt x="5261280" y="3739902"/>
                  <a:pt x="5262212" y="3738970"/>
                </a:cubicBezTo>
                <a:cubicBezTo>
                  <a:pt x="5263277" y="3737772"/>
                  <a:pt x="5264209" y="3736441"/>
                  <a:pt x="5264875" y="3734711"/>
                </a:cubicBezTo>
                <a:cubicBezTo>
                  <a:pt x="5265673" y="3733113"/>
                  <a:pt x="5265939" y="3731250"/>
                  <a:pt x="5265939" y="3729253"/>
                </a:cubicBezTo>
                <a:cubicBezTo>
                  <a:pt x="5265939" y="3727388"/>
                  <a:pt x="5265540" y="3725659"/>
                  <a:pt x="5264875" y="3724061"/>
                </a:cubicBezTo>
                <a:cubicBezTo>
                  <a:pt x="5264209" y="3722331"/>
                  <a:pt x="5263277" y="3721000"/>
                  <a:pt x="5262212" y="3719802"/>
                </a:cubicBezTo>
                <a:cubicBezTo>
                  <a:pt x="5261147" y="3718737"/>
                  <a:pt x="5259816" y="3717805"/>
                  <a:pt x="5258219" y="3717139"/>
                </a:cubicBezTo>
                <a:cubicBezTo>
                  <a:pt x="5256754" y="3716473"/>
                  <a:pt x="5255024" y="3716208"/>
                  <a:pt x="5253160" y="3716208"/>
                </a:cubicBezTo>
                <a:close/>
                <a:moveTo>
                  <a:pt x="5035515" y="3716208"/>
                </a:moveTo>
                <a:cubicBezTo>
                  <a:pt x="5029658" y="3716208"/>
                  <a:pt x="5027129" y="3718204"/>
                  <a:pt x="5025532" y="3719802"/>
                </a:cubicBezTo>
                <a:cubicBezTo>
                  <a:pt x="5023002" y="3722464"/>
                  <a:pt x="5021938" y="3725259"/>
                  <a:pt x="5021938" y="3729253"/>
                </a:cubicBezTo>
                <a:cubicBezTo>
                  <a:pt x="5021938" y="3733381"/>
                  <a:pt x="5023002" y="3736175"/>
                  <a:pt x="5025532" y="3738705"/>
                </a:cubicBezTo>
                <a:cubicBezTo>
                  <a:pt x="5027129" y="3740302"/>
                  <a:pt x="5029658" y="3742165"/>
                  <a:pt x="5035515" y="3742165"/>
                </a:cubicBezTo>
                <a:cubicBezTo>
                  <a:pt x="5037645" y="3742165"/>
                  <a:pt x="5039376" y="3741766"/>
                  <a:pt x="5040840" y="3741367"/>
                </a:cubicBezTo>
                <a:cubicBezTo>
                  <a:pt x="5042304" y="3740834"/>
                  <a:pt x="5043636" y="3739902"/>
                  <a:pt x="5044567" y="3738970"/>
                </a:cubicBezTo>
                <a:cubicBezTo>
                  <a:pt x="5045632" y="3737772"/>
                  <a:pt x="5046564" y="3736441"/>
                  <a:pt x="5047230" y="3734711"/>
                </a:cubicBezTo>
                <a:cubicBezTo>
                  <a:pt x="5048028" y="3733113"/>
                  <a:pt x="5048294" y="3731250"/>
                  <a:pt x="5048294" y="3729253"/>
                </a:cubicBezTo>
                <a:cubicBezTo>
                  <a:pt x="5048294" y="3727388"/>
                  <a:pt x="5047895" y="3725659"/>
                  <a:pt x="5047230" y="3724061"/>
                </a:cubicBezTo>
                <a:cubicBezTo>
                  <a:pt x="5046564" y="3722331"/>
                  <a:pt x="5045632" y="3721000"/>
                  <a:pt x="5044567" y="3719802"/>
                </a:cubicBezTo>
                <a:cubicBezTo>
                  <a:pt x="5043502" y="3718737"/>
                  <a:pt x="5042171" y="3717805"/>
                  <a:pt x="5040574" y="3717139"/>
                </a:cubicBezTo>
                <a:cubicBezTo>
                  <a:pt x="5039110" y="3716473"/>
                  <a:pt x="5037379" y="3716208"/>
                  <a:pt x="5035515" y="3716208"/>
                </a:cubicBezTo>
                <a:close/>
                <a:moveTo>
                  <a:pt x="4817870" y="3716208"/>
                </a:moveTo>
                <a:cubicBezTo>
                  <a:pt x="4812013" y="3716208"/>
                  <a:pt x="4809484" y="3718204"/>
                  <a:pt x="4807887" y="3719802"/>
                </a:cubicBezTo>
                <a:cubicBezTo>
                  <a:pt x="4805357" y="3722464"/>
                  <a:pt x="4804293" y="3725259"/>
                  <a:pt x="4804293" y="3729253"/>
                </a:cubicBezTo>
                <a:cubicBezTo>
                  <a:pt x="4804293" y="3733381"/>
                  <a:pt x="4805357" y="3736175"/>
                  <a:pt x="4807887" y="3738705"/>
                </a:cubicBezTo>
                <a:cubicBezTo>
                  <a:pt x="4809484" y="3740302"/>
                  <a:pt x="4812013" y="3742165"/>
                  <a:pt x="4817870" y="3742165"/>
                </a:cubicBezTo>
                <a:cubicBezTo>
                  <a:pt x="4820000" y="3742165"/>
                  <a:pt x="4821731" y="3741766"/>
                  <a:pt x="4823195" y="3741367"/>
                </a:cubicBezTo>
                <a:cubicBezTo>
                  <a:pt x="4824659" y="3740834"/>
                  <a:pt x="4825857" y="3739902"/>
                  <a:pt x="4826922" y="3738970"/>
                </a:cubicBezTo>
                <a:cubicBezTo>
                  <a:pt x="4827987" y="3737772"/>
                  <a:pt x="4828919" y="3736441"/>
                  <a:pt x="4829585" y="3734711"/>
                </a:cubicBezTo>
                <a:cubicBezTo>
                  <a:pt x="4830383" y="3733113"/>
                  <a:pt x="4830650" y="3731250"/>
                  <a:pt x="4830650" y="3729253"/>
                </a:cubicBezTo>
                <a:cubicBezTo>
                  <a:pt x="4830650" y="3727388"/>
                  <a:pt x="4830250" y="3725659"/>
                  <a:pt x="4829585" y="3724061"/>
                </a:cubicBezTo>
                <a:cubicBezTo>
                  <a:pt x="4828919" y="3722331"/>
                  <a:pt x="4827987" y="3721000"/>
                  <a:pt x="4826922" y="3719802"/>
                </a:cubicBezTo>
                <a:cubicBezTo>
                  <a:pt x="4825857" y="3718737"/>
                  <a:pt x="4824526" y="3717805"/>
                  <a:pt x="4822929" y="3717139"/>
                </a:cubicBezTo>
                <a:cubicBezTo>
                  <a:pt x="4821465" y="3716473"/>
                  <a:pt x="4819734" y="3716208"/>
                  <a:pt x="4817870" y="3716208"/>
                </a:cubicBezTo>
                <a:close/>
                <a:moveTo>
                  <a:pt x="4600226" y="3716208"/>
                </a:moveTo>
                <a:cubicBezTo>
                  <a:pt x="4594369" y="3716208"/>
                  <a:pt x="4591839" y="3718204"/>
                  <a:pt x="4590242" y="3719802"/>
                </a:cubicBezTo>
                <a:cubicBezTo>
                  <a:pt x="4587713" y="3722464"/>
                  <a:pt x="4586648" y="3725259"/>
                  <a:pt x="4586648" y="3729253"/>
                </a:cubicBezTo>
                <a:cubicBezTo>
                  <a:pt x="4586648" y="3733381"/>
                  <a:pt x="4587713" y="3736175"/>
                  <a:pt x="4590242" y="3738705"/>
                </a:cubicBezTo>
                <a:cubicBezTo>
                  <a:pt x="4591839" y="3740302"/>
                  <a:pt x="4594369" y="3742165"/>
                  <a:pt x="4600226" y="3742165"/>
                </a:cubicBezTo>
                <a:cubicBezTo>
                  <a:pt x="4602355" y="3742165"/>
                  <a:pt x="4604086" y="3741766"/>
                  <a:pt x="4605550" y="3741367"/>
                </a:cubicBezTo>
                <a:cubicBezTo>
                  <a:pt x="4607148" y="3740834"/>
                  <a:pt x="4608346" y="3739902"/>
                  <a:pt x="4609277" y="3738970"/>
                </a:cubicBezTo>
                <a:cubicBezTo>
                  <a:pt x="4610342" y="3737772"/>
                  <a:pt x="4611274" y="3736441"/>
                  <a:pt x="4611940" y="3734711"/>
                </a:cubicBezTo>
                <a:cubicBezTo>
                  <a:pt x="4612605" y="3733113"/>
                  <a:pt x="4613005" y="3731250"/>
                  <a:pt x="4613005" y="3729253"/>
                </a:cubicBezTo>
                <a:cubicBezTo>
                  <a:pt x="4613005" y="3727388"/>
                  <a:pt x="4612605" y="3725659"/>
                  <a:pt x="4611940" y="3724061"/>
                </a:cubicBezTo>
                <a:cubicBezTo>
                  <a:pt x="4611274" y="3722331"/>
                  <a:pt x="4610342" y="3721000"/>
                  <a:pt x="4609277" y="3719802"/>
                </a:cubicBezTo>
                <a:cubicBezTo>
                  <a:pt x="4608212" y="3718737"/>
                  <a:pt x="4606881" y="3717805"/>
                  <a:pt x="4605284" y="3717139"/>
                </a:cubicBezTo>
                <a:cubicBezTo>
                  <a:pt x="4603820" y="3716473"/>
                  <a:pt x="4602222" y="3716208"/>
                  <a:pt x="4600226" y="3716208"/>
                </a:cubicBezTo>
                <a:close/>
                <a:moveTo>
                  <a:pt x="4382713" y="3716208"/>
                </a:moveTo>
                <a:cubicBezTo>
                  <a:pt x="4376857" y="3716208"/>
                  <a:pt x="4374327" y="3718204"/>
                  <a:pt x="4372730" y="3719802"/>
                </a:cubicBezTo>
                <a:cubicBezTo>
                  <a:pt x="4370201" y="3722464"/>
                  <a:pt x="4369136" y="3725259"/>
                  <a:pt x="4369136" y="3729253"/>
                </a:cubicBezTo>
                <a:cubicBezTo>
                  <a:pt x="4369136" y="3733381"/>
                  <a:pt x="4370201" y="3736175"/>
                  <a:pt x="4372730" y="3738705"/>
                </a:cubicBezTo>
                <a:cubicBezTo>
                  <a:pt x="4374327" y="3740302"/>
                  <a:pt x="4376857" y="3742165"/>
                  <a:pt x="4382713" y="3742165"/>
                </a:cubicBezTo>
                <a:cubicBezTo>
                  <a:pt x="4384710" y="3742165"/>
                  <a:pt x="4386441" y="3741766"/>
                  <a:pt x="4388038" y="3741367"/>
                </a:cubicBezTo>
                <a:cubicBezTo>
                  <a:pt x="4389502" y="3740834"/>
                  <a:pt x="4390834" y="3739902"/>
                  <a:pt x="4391765" y="3738970"/>
                </a:cubicBezTo>
                <a:cubicBezTo>
                  <a:pt x="4392830" y="3737772"/>
                  <a:pt x="4393762" y="3736441"/>
                  <a:pt x="4394428" y="3734711"/>
                </a:cubicBezTo>
                <a:cubicBezTo>
                  <a:pt x="4395093" y="3733113"/>
                  <a:pt x="4395493" y="3731250"/>
                  <a:pt x="4395493" y="3729253"/>
                </a:cubicBezTo>
                <a:cubicBezTo>
                  <a:pt x="4395493" y="3727388"/>
                  <a:pt x="4395093" y="3725659"/>
                  <a:pt x="4394428" y="3724061"/>
                </a:cubicBezTo>
                <a:cubicBezTo>
                  <a:pt x="4393762" y="3722331"/>
                  <a:pt x="4392830" y="3721000"/>
                  <a:pt x="4391765" y="3719802"/>
                </a:cubicBezTo>
                <a:cubicBezTo>
                  <a:pt x="4390700" y="3718737"/>
                  <a:pt x="4389369" y="3717805"/>
                  <a:pt x="4387772" y="3717139"/>
                </a:cubicBezTo>
                <a:cubicBezTo>
                  <a:pt x="4386308" y="3716473"/>
                  <a:pt x="4384710" y="3716208"/>
                  <a:pt x="4382713" y="3716208"/>
                </a:cubicBezTo>
                <a:close/>
                <a:moveTo>
                  <a:pt x="4165068" y="3716208"/>
                </a:moveTo>
                <a:cubicBezTo>
                  <a:pt x="4159211" y="3716208"/>
                  <a:pt x="4156681" y="3718204"/>
                  <a:pt x="4155084" y="3719802"/>
                </a:cubicBezTo>
                <a:cubicBezTo>
                  <a:pt x="4152555" y="3722464"/>
                  <a:pt x="4151490" y="3725259"/>
                  <a:pt x="4151490" y="3729253"/>
                </a:cubicBezTo>
                <a:cubicBezTo>
                  <a:pt x="4151490" y="3733381"/>
                  <a:pt x="4152555" y="3736175"/>
                  <a:pt x="4155084" y="3738705"/>
                </a:cubicBezTo>
                <a:cubicBezTo>
                  <a:pt x="4156681" y="3740302"/>
                  <a:pt x="4159211" y="3742165"/>
                  <a:pt x="4165068" y="3742165"/>
                </a:cubicBezTo>
                <a:cubicBezTo>
                  <a:pt x="4167064" y="3742165"/>
                  <a:pt x="4168928" y="3741766"/>
                  <a:pt x="4170392" y="3741367"/>
                </a:cubicBezTo>
                <a:cubicBezTo>
                  <a:pt x="4171856" y="3740834"/>
                  <a:pt x="4173188" y="3739902"/>
                  <a:pt x="4174119" y="3738970"/>
                </a:cubicBezTo>
                <a:cubicBezTo>
                  <a:pt x="4175184" y="3737772"/>
                  <a:pt x="4176116" y="3736441"/>
                  <a:pt x="4176782" y="3734711"/>
                </a:cubicBezTo>
                <a:cubicBezTo>
                  <a:pt x="4177447" y="3733113"/>
                  <a:pt x="4177847" y="3731250"/>
                  <a:pt x="4177847" y="3729253"/>
                </a:cubicBezTo>
                <a:cubicBezTo>
                  <a:pt x="4177847" y="3727388"/>
                  <a:pt x="4177447" y="3725659"/>
                  <a:pt x="4176782" y="3724061"/>
                </a:cubicBezTo>
                <a:cubicBezTo>
                  <a:pt x="4176116" y="3722331"/>
                  <a:pt x="4175184" y="3721000"/>
                  <a:pt x="4174119" y="3719802"/>
                </a:cubicBezTo>
                <a:cubicBezTo>
                  <a:pt x="4173054" y="3718737"/>
                  <a:pt x="4171723" y="3717805"/>
                  <a:pt x="4170126" y="3717139"/>
                </a:cubicBezTo>
                <a:cubicBezTo>
                  <a:pt x="4168662" y="3716473"/>
                  <a:pt x="4167064" y="3716208"/>
                  <a:pt x="4165068" y="3716208"/>
                </a:cubicBezTo>
                <a:close/>
                <a:moveTo>
                  <a:pt x="3947628" y="3716208"/>
                </a:moveTo>
                <a:cubicBezTo>
                  <a:pt x="3941770" y="3716208"/>
                  <a:pt x="3939242" y="3718204"/>
                  <a:pt x="3937645" y="3719802"/>
                </a:cubicBezTo>
                <a:cubicBezTo>
                  <a:pt x="3935113" y="3722464"/>
                  <a:pt x="3934050" y="3725259"/>
                  <a:pt x="3934050" y="3729253"/>
                </a:cubicBezTo>
                <a:cubicBezTo>
                  <a:pt x="3934050" y="3733381"/>
                  <a:pt x="3935113" y="3736175"/>
                  <a:pt x="3937645" y="3738705"/>
                </a:cubicBezTo>
                <a:cubicBezTo>
                  <a:pt x="3939242" y="3740302"/>
                  <a:pt x="3941770" y="3742165"/>
                  <a:pt x="3947628" y="3742165"/>
                </a:cubicBezTo>
                <a:cubicBezTo>
                  <a:pt x="3949626" y="3742165"/>
                  <a:pt x="3951488" y="3741766"/>
                  <a:pt x="3952955" y="3741367"/>
                </a:cubicBezTo>
                <a:cubicBezTo>
                  <a:pt x="3954419" y="3740834"/>
                  <a:pt x="3955749" y="3739902"/>
                  <a:pt x="3956682" y="3738970"/>
                </a:cubicBezTo>
                <a:cubicBezTo>
                  <a:pt x="3957747" y="3737772"/>
                  <a:pt x="3958680" y="3736441"/>
                  <a:pt x="3959345" y="3734711"/>
                </a:cubicBezTo>
                <a:cubicBezTo>
                  <a:pt x="3960010" y="3733113"/>
                  <a:pt x="3960410" y="3731250"/>
                  <a:pt x="3960410" y="3729253"/>
                </a:cubicBezTo>
                <a:cubicBezTo>
                  <a:pt x="3960410" y="3727388"/>
                  <a:pt x="3960010" y="3725659"/>
                  <a:pt x="3959345" y="3724061"/>
                </a:cubicBezTo>
                <a:cubicBezTo>
                  <a:pt x="3958680" y="3722331"/>
                  <a:pt x="3957747" y="3721000"/>
                  <a:pt x="3956682" y="3719802"/>
                </a:cubicBezTo>
                <a:cubicBezTo>
                  <a:pt x="3955617" y="3718737"/>
                  <a:pt x="3954286" y="3717805"/>
                  <a:pt x="3952688" y="3717139"/>
                </a:cubicBezTo>
                <a:cubicBezTo>
                  <a:pt x="3951223" y="3716473"/>
                  <a:pt x="3949626" y="3716208"/>
                  <a:pt x="3947628" y="3716208"/>
                </a:cubicBezTo>
                <a:close/>
                <a:moveTo>
                  <a:pt x="3729973" y="3716208"/>
                </a:moveTo>
                <a:cubicBezTo>
                  <a:pt x="3724117" y="3716208"/>
                  <a:pt x="3721586" y="3718204"/>
                  <a:pt x="3719987" y="3719802"/>
                </a:cubicBezTo>
                <a:cubicBezTo>
                  <a:pt x="3717457" y="3722464"/>
                  <a:pt x="3716395" y="3725259"/>
                  <a:pt x="3716395" y="3729253"/>
                </a:cubicBezTo>
                <a:cubicBezTo>
                  <a:pt x="3716395" y="3733381"/>
                  <a:pt x="3717457" y="3736175"/>
                  <a:pt x="3719987" y="3738705"/>
                </a:cubicBezTo>
                <a:cubicBezTo>
                  <a:pt x="3721586" y="3740302"/>
                  <a:pt x="3724117" y="3742165"/>
                  <a:pt x="3729973" y="3742165"/>
                </a:cubicBezTo>
                <a:cubicBezTo>
                  <a:pt x="3732103" y="3742165"/>
                  <a:pt x="3733835" y="3741766"/>
                  <a:pt x="3735298" y="3741367"/>
                </a:cubicBezTo>
                <a:cubicBezTo>
                  <a:pt x="3736763" y="3740834"/>
                  <a:pt x="3738095" y="3739902"/>
                  <a:pt x="3739026" y="3738970"/>
                </a:cubicBezTo>
                <a:cubicBezTo>
                  <a:pt x="3740091" y="3737772"/>
                  <a:pt x="3741023" y="3736441"/>
                  <a:pt x="3741689" y="3734711"/>
                </a:cubicBezTo>
                <a:cubicBezTo>
                  <a:pt x="3742354" y="3733113"/>
                  <a:pt x="3742753" y="3731250"/>
                  <a:pt x="3742753" y="3729253"/>
                </a:cubicBezTo>
                <a:cubicBezTo>
                  <a:pt x="3742753" y="3727388"/>
                  <a:pt x="3742354" y="3725659"/>
                  <a:pt x="3741689" y="3724061"/>
                </a:cubicBezTo>
                <a:cubicBezTo>
                  <a:pt x="3741023" y="3722331"/>
                  <a:pt x="3740091" y="3721000"/>
                  <a:pt x="3739026" y="3719802"/>
                </a:cubicBezTo>
                <a:cubicBezTo>
                  <a:pt x="3737961" y="3718737"/>
                  <a:pt x="3736630" y="3717805"/>
                  <a:pt x="3735033" y="3717139"/>
                </a:cubicBezTo>
                <a:cubicBezTo>
                  <a:pt x="3733568" y="3716473"/>
                  <a:pt x="3731971" y="3716208"/>
                  <a:pt x="3729973" y="3716208"/>
                </a:cubicBezTo>
                <a:close/>
                <a:moveTo>
                  <a:pt x="3512318" y="3716208"/>
                </a:moveTo>
                <a:cubicBezTo>
                  <a:pt x="3506460" y="3716208"/>
                  <a:pt x="3503930" y="3718204"/>
                  <a:pt x="3502330" y="3719802"/>
                </a:cubicBezTo>
                <a:cubicBezTo>
                  <a:pt x="3499801" y="3722464"/>
                  <a:pt x="3498737" y="3725259"/>
                  <a:pt x="3498737" y="3729253"/>
                </a:cubicBezTo>
                <a:cubicBezTo>
                  <a:pt x="3498737" y="3733381"/>
                  <a:pt x="3499801" y="3736175"/>
                  <a:pt x="3502330" y="3738705"/>
                </a:cubicBezTo>
                <a:cubicBezTo>
                  <a:pt x="3503930" y="3740302"/>
                  <a:pt x="3506460" y="3742165"/>
                  <a:pt x="3512318" y="3742165"/>
                </a:cubicBezTo>
                <a:cubicBezTo>
                  <a:pt x="3514447" y="3742165"/>
                  <a:pt x="3516179" y="3741766"/>
                  <a:pt x="3517643" y="3741367"/>
                </a:cubicBezTo>
                <a:cubicBezTo>
                  <a:pt x="3519107" y="3740834"/>
                  <a:pt x="3520439" y="3739902"/>
                  <a:pt x="3521370" y="3738970"/>
                </a:cubicBezTo>
                <a:cubicBezTo>
                  <a:pt x="3522435" y="3737772"/>
                  <a:pt x="3523367" y="3736441"/>
                  <a:pt x="3524033" y="3734711"/>
                </a:cubicBezTo>
                <a:cubicBezTo>
                  <a:pt x="3524698" y="3733113"/>
                  <a:pt x="3525098" y="3731250"/>
                  <a:pt x="3525098" y="3729253"/>
                </a:cubicBezTo>
                <a:cubicBezTo>
                  <a:pt x="3525098" y="3727388"/>
                  <a:pt x="3524698" y="3725659"/>
                  <a:pt x="3524033" y="3724061"/>
                </a:cubicBezTo>
                <a:cubicBezTo>
                  <a:pt x="3523367" y="3722331"/>
                  <a:pt x="3522435" y="3721000"/>
                  <a:pt x="3521370" y="3719802"/>
                </a:cubicBezTo>
                <a:cubicBezTo>
                  <a:pt x="3520305" y="3718737"/>
                  <a:pt x="3518974" y="3717805"/>
                  <a:pt x="3517377" y="3717139"/>
                </a:cubicBezTo>
                <a:cubicBezTo>
                  <a:pt x="3515913" y="3716473"/>
                  <a:pt x="3514315" y="3716208"/>
                  <a:pt x="3512318" y="3716208"/>
                </a:cubicBezTo>
                <a:close/>
                <a:moveTo>
                  <a:pt x="3294795" y="3716208"/>
                </a:moveTo>
                <a:cubicBezTo>
                  <a:pt x="3288937" y="3716208"/>
                  <a:pt x="3286407" y="3718204"/>
                  <a:pt x="3284810" y="3719802"/>
                </a:cubicBezTo>
                <a:cubicBezTo>
                  <a:pt x="3282279" y="3722464"/>
                  <a:pt x="3281216" y="3725259"/>
                  <a:pt x="3281216" y="3729253"/>
                </a:cubicBezTo>
                <a:cubicBezTo>
                  <a:pt x="3281216" y="3733381"/>
                  <a:pt x="3282279" y="3736175"/>
                  <a:pt x="3284810" y="3738705"/>
                </a:cubicBezTo>
                <a:cubicBezTo>
                  <a:pt x="3286407" y="3740302"/>
                  <a:pt x="3288937" y="3742165"/>
                  <a:pt x="3294795" y="3742165"/>
                </a:cubicBezTo>
                <a:cubicBezTo>
                  <a:pt x="3296792" y="3742165"/>
                  <a:pt x="3298523" y="3741766"/>
                  <a:pt x="3300121" y="3741367"/>
                </a:cubicBezTo>
                <a:cubicBezTo>
                  <a:pt x="3301585" y="3740834"/>
                  <a:pt x="3302916" y="3739902"/>
                  <a:pt x="3303848" y="3738970"/>
                </a:cubicBezTo>
                <a:cubicBezTo>
                  <a:pt x="3304913" y="3737772"/>
                  <a:pt x="3305844" y="3736441"/>
                  <a:pt x="3306511" y="3734711"/>
                </a:cubicBezTo>
                <a:cubicBezTo>
                  <a:pt x="3307176" y="3733113"/>
                  <a:pt x="3307575" y="3731250"/>
                  <a:pt x="3307575" y="3729253"/>
                </a:cubicBezTo>
                <a:cubicBezTo>
                  <a:pt x="3307575" y="3727388"/>
                  <a:pt x="3307176" y="3725659"/>
                  <a:pt x="3306511" y="3724061"/>
                </a:cubicBezTo>
                <a:cubicBezTo>
                  <a:pt x="3305844" y="3722331"/>
                  <a:pt x="3304913" y="3721000"/>
                  <a:pt x="3303848" y="3719802"/>
                </a:cubicBezTo>
                <a:cubicBezTo>
                  <a:pt x="3302782" y="3718737"/>
                  <a:pt x="3301451" y="3717805"/>
                  <a:pt x="3299855" y="3717139"/>
                </a:cubicBezTo>
                <a:cubicBezTo>
                  <a:pt x="3298391" y="3716473"/>
                  <a:pt x="3296792" y="3716208"/>
                  <a:pt x="3294795" y="3716208"/>
                </a:cubicBezTo>
                <a:close/>
                <a:moveTo>
                  <a:pt x="3077272" y="3716208"/>
                </a:moveTo>
                <a:cubicBezTo>
                  <a:pt x="3071415" y="3716208"/>
                  <a:pt x="3068886" y="3718204"/>
                  <a:pt x="3067289" y="3719802"/>
                </a:cubicBezTo>
                <a:cubicBezTo>
                  <a:pt x="3064624" y="3722464"/>
                  <a:pt x="3063559" y="3725259"/>
                  <a:pt x="3063559" y="3729253"/>
                </a:cubicBezTo>
                <a:cubicBezTo>
                  <a:pt x="3063559" y="3733381"/>
                  <a:pt x="3064624" y="3736175"/>
                  <a:pt x="3067155" y="3738705"/>
                </a:cubicBezTo>
                <a:cubicBezTo>
                  <a:pt x="3068753" y="3740302"/>
                  <a:pt x="3071282" y="3742165"/>
                  <a:pt x="3077139" y="3742165"/>
                </a:cubicBezTo>
                <a:cubicBezTo>
                  <a:pt x="3079137" y="3742165"/>
                  <a:pt x="3080867" y="3741766"/>
                  <a:pt x="3082597" y="3741367"/>
                </a:cubicBezTo>
                <a:cubicBezTo>
                  <a:pt x="3084063" y="3740834"/>
                  <a:pt x="3085394" y="3739902"/>
                  <a:pt x="3086325" y="3738970"/>
                </a:cubicBezTo>
                <a:cubicBezTo>
                  <a:pt x="3087389" y="3737772"/>
                  <a:pt x="3088322" y="3736441"/>
                  <a:pt x="3088987" y="3734711"/>
                </a:cubicBezTo>
                <a:cubicBezTo>
                  <a:pt x="3089652" y="3733113"/>
                  <a:pt x="3089920" y="3731250"/>
                  <a:pt x="3089920" y="3729253"/>
                </a:cubicBezTo>
                <a:cubicBezTo>
                  <a:pt x="3089920" y="3727388"/>
                  <a:pt x="3089652" y="3725659"/>
                  <a:pt x="3088987" y="3724061"/>
                </a:cubicBezTo>
                <a:cubicBezTo>
                  <a:pt x="3088322" y="3722331"/>
                  <a:pt x="3087389" y="3721000"/>
                  <a:pt x="3086325" y="3719802"/>
                </a:cubicBezTo>
                <a:cubicBezTo>
                  <a:pt x="3085260" y="3718737"/>
                  <a:pt x="3083929" y="3717805"/>
                  <a:pt x="3082332" y="3717139"/>
                </a:cubicBezTo>
                <a:cubicBezTo>
                  <a:pt x="3080867" y="3716473"/>
                  <a:pt x="3079269" y="3716208"/>
                  <a:pt x="3077272" y="3716208"/>
                </a:cubicBezTo>
                <a:close/>
                <a:moveTo>
                  <a:pt x="2859484" y="3716208"/>
                </a:moveTo>
                <a:cubicBezTo>
                  <a:pt x="2853627" y="3716208"/>
                  <a:pt x="2851097" y="3718204"/>
                  <a:pt x="2849498" y="3719802"/>
                </a:cubicBezTo>
                <a:cubicBezTo>
                  <a:pt x="2846965" y="3722464"/>
                  <a:pt x="2845902" y="3725259"/>
                  <a:pt x="2845902" y="3729253"/>
                </a:cubicBezTo>
                <a:cubicBezTo>
                  <a:pt x="2845902" y="3733381"/>
                  <a:pt x="2846965" y="3736175"/>
                  <a:pt x="2849498" y="3738705"/>
                </a:cubicBezTo>
                <a:cubicBezTo>
                  <a:pt x="2851097" y="3740302"/>
                  <a:pt x="2853627" y="3742165"/>
                  <a:pt x="2859484" y="3742165"/>
                </a:cubicBezTo>
                <a:cubicBezTo>
                  <a:pt x="2861481" y="3742165"/>
                  <a:pt x="2863345" y="3741766"/>
                  <a:pt x="2864809" y="3741367"/>
                </a:cubicBezTo>
                <a:cubicBezTo>
                  <a:pt x="2866407" y="3740834"/>
                  <a:pt x="2867605" y="3739902"/>
                  <a:pt x="2868536" y="3738970"/>
                </a:cubicBezTo>
                <a:cubicBezTo>
                  <a:pt x="2869601" y="3737772"/>
                  <a:pt x="2870533" y="3736441"/>
                  <a:pt x="2871199" y="3734711"/>
                </a:cubicBezTo>
                <a:cubicBezTo>
                  <a:pt x="2871731" y="3733113"/>
                  <a:pt x="2872130" y="3731250"/>
                  <a:pt x="2872130" y="3729253"/>
                </a:cubicBezTo>
                <a:cubicBezTo>
                  <a:pt x="2872130" y="3727388"/>
                  <a:pt x="2871864" y="3725659"/>
                  <a:pt x="2871199" y="3724061"/>
                </a:cubicBezTo>
                <a:cubicBezTo>
                  <a:pt x="2870533" y="3722331"/>
                  <a:pt x="2869601" y="3721000"/>
                  <a:pt x="2868536" y="3719802"/>
                </a:cubicBezTo>
                <a:cubicBezTo>
                  <a:pt x="2867472" y="3718737"/>
                  <a:pt x="2866140" y="3717805"/>
                  <a:pt x="2864543" y="3717139"/>
                </a:cubicBezTo>
                <a:cubicBezTo>
                  <a:pt x="2863079" y="3716473"/>
                  <a:pt x="2861481" y="3716208"/>
                  <a:pt x="2859484" y="3716208"/>
                </a:cubicBezTo>
                <a:close/>
                <a:moveTo>
                  <a:pt x="2641828" y="3716208"/>
                </a:moveTo>
                <a:cubicBezTo>
                  <a:pt x="2635971" y="3716208"/>
                  <a:pt x="2633441" y="3718204"/>
                  <a:pt x="2631845" y="3719802"/>
                </a:cubicBezTo>
                <a:cubicBezTo>
                  <a:pt x="2629314" y="3722464"/>
                  <a:pt x="2628250" y="3725259"/>
                  <a:pt x="2628250" y="3729253"/>
                </a:cubicBezTo>
                <a:cubicBezTo>
                  <a:pt x="2628250" y="3733381"/>
                  <a:pt x="2629314" y="3736175"/>
                  <a:pt x="2631845" y="3738705"/>
                </a:cubicBezTo>
                <a:cubicBezTo>
                  <a:pt x="2633441" y="3740302"/>
                  <a:pt x="2635971" y="3742165"/>
                  <a:pt x="2641828" y="3742165"/>
                </a:cubicBezTo>
                <a:cubicBezTo>
                  <a:pt x="2643825" y="3742165"/>
                  <a:pt x="2645689" y="3741766"/>
                  <a:pt x="2647153" y="3741367"/>
                </a:cubicBezTo>
                <a:cubicBezTo>
                  <a:pt x="2648750" y="3740834"/>
                  <a:pt x="2649948" y="3739902"/>
                  <a:pt x="2650880" y="3738970"/>
                </a:cubicBezTo>
                <a:cubicBezTo>
                  <a:pt x="2651945" y="3737772"/>
                  <a:pt x="2652877" y="3736441"/>
                  <a:pt x="2653543" y="3734711"/>
                </a:cubicBezTo>
                <a:cubicBezTo>
                  <a:pt x="2654075" y="3733113"/>
                  <a:pt x="2654474" y="3731250"/>
                  <a:pt x="2654474" y="3729253"/>
                </a:cubicBezTo>
                <a:cubicBezTo>
                  <a:pt x="2654474" y="3727388"/>
                  <a:pt x="2654208" y="3725659"/>
                  <a:pt x="2653543" y="3724061"/>
                </a:cubicBezTo>
                <a:cubicBezTo>
                  <a:pt x="2652877" y="3722331"/>
                  <a:pt x="2651945" y="3721000"/>
                  <a:pt x="2650880" y="3719802"/>
                </a:cubicBezTo>
                <a:cubicBezTo>
                  <a:pt x="2649815" y="3718737"/>
                  <a:pt x="2648484" y="3717805"/>
                  <a:pt x="2646887" y="3717139"/>
                </a:cubicBezTo>
                <a:cubicBezTo>
                  <a:pt x="2645422" y="3716473"/>
                  <a:pt x="2643825" y="3716208"/>
                  <a:pt x="2641828" y="3716208"/>
                </a:cubicBezTo>
                <a:close/>
                <a:moveTo>
                  <a:pt x="2424172" y="3716208"/>
                </a:moveTo>
                <a:cubicBezTo>
                  <a:pt x="2418315" y="3716208"/>
                  <a:pt x="2415786" y="3718204"/>
                  <a:pt x="2414189" y="3719802"/>
                </a:cubicBezTo>
                <a:cubicBezTo>
                  <a:pt x="2411658" y="3722464"/>
                  <a:pt x="2410594" y="3725259"/>
                  <a:pt x="2410594" y="3729253"/>
                </a:cubicBezTo>
                <a:cubicBezTo>
                  <a:pt x="2410594" y="3733381"/>
                  <a:pt x="2411658" y="3736175"/>
                  <a:pt x="2414189" y="3738705"/>
                </a:cubicBezTo>
                <a:cubicBezTo>
                  <a:pt x="2415786" y="3740302"/>
                  <a:pt x="2418315" y="3742165"/>
                  <a:pt x="2424172" y="3742165"/>
                </a:cubicBezTo>
                <a:cubicBezTo>
                  <a:pt x="2426302" y="3742165"/>
                  <a:pt x="2428033" y="3741766"/>
                  <a:pt x="2429497" y="3741367"/>
                </a:cubicBezTo>
                <a:cubicBezTo>
                  <a:pt x="2431095" y="3740834"/>
                  <a:pt x="2432293" y="3739902"/>
                  <a:pt x="2433224" y="3738970"/>
                </a:cubicBezTo>
                <a:cubicBezTo>
                  <a:pt x="2434289" y="3737772"/>
                  <a:pt x="2435221" y="3736441"/>
                  <a:pt x="2435887" y="3734711"/>
                </a:cubicBezTo>
                <a:cubicBezTo>
                  <a:pt x="2436419" y="3733113"/>
                  <a:pt x="2436818" y="3731250"/>
                  <a:pt x="2436818" y="3729253"/>
                </a:cubicBezTo>
                <a:cubicBezTo>
                  <a:pt x="2436818" y="3727388"/>
                  <a:pt x="2436552" y="3725659"/>
                  <a:pt x="2435887" y="3724061"/>
                </a:cubicBezTo>
                <a:cubicBezTo>
                  <a:pt x="2435221" y="3722331"/>
                  <a:pt x="2434289" y="3721000"/>
                  <a:pt x="2433224" y="3719802"/>
                </a:cubicBezTo>
                <a:cubicBezTo>
                  <a:pt x="2432160" y="3718737"/>
                  <a:pt x="2430828" y="3717805"/>
                  <a:pt x="2429231" y="3717139"/>
                </a:cubicBezTo>
                <a:cubicBezTo>
                  <a:pt x="2427767" y="3716473"/>
                  <a:pt x="2426169" y="3716208"/>
                  <a:pt x="2424172" y="3716208"/>
                </a:cubicBezTo>
                <a:close/>
                <a:moveTo>
                  <a:pt x="2206516" y="3716208"/>
                </a:moveTo>
                <a:cubicBezTo>
                  <a:pt x="2200659" y="3716208"/>
                  <a:pt x="2198130" y="3718204"/>
                  <a:pt x="2196533" y="3719802"/>
                </a:cubicBezTo>
                <a:cubicBezTo>
                  <a:pt x="2194003" y="3722464"/>
                  <a:pt x="2192938" y="3725259"/>
                  <a:pt x="2192938" y="3729253"/>
                </a:cubicBezTo>
                <a:cubicBezTo>
                  <a:pt x="2192938" y="3733381"/>
                  <a:pt x="2194003" y="3736175"/>
                  <a:pt x="2196533" y="3738705"/>
                </a:cubicBezTo>
                <a:cubicBezTo>
                  <a:pt x="2198130" y="3740302"/>
                  <a:pt x="2200659" y="3742165"/>
                  <a:pt x="2206516" y="3742165"/>
                </a:cubicBezTo>
                <a:cubicBezTo>
                  <a:pt x="2208646" y="3742165"/>
                  <a:pt x="2210377" y="3741766"/>
                  <a:pt x="2211841" y="3741367"/>
                </a:cubicBezTo>
                <a:cubicBezTo>
                  <a:pt x="2213439" y="3740834"/>
                  <a:pt x="2214636" y="3739902"/>
                  <a:pt x="2215568" y="3738970"/>
                </a:cubicBezTo>
                <a:cubicBezTo>
                  <a:pt x="2216633" y="3737772"/>
                  <a:pt x="2217565" y="3736441"/>
                  <a:pt x="2218231" y="3734711"/>
                </a:cubicBezTo>
                <a:cubicBezTo>
                  <a:pt x="2218763" y="3733113"/>
                  <a:pt x="2219162" y="3731250"/>
                  <a:pt x="2219162" y="3729253"/>
                </a:cubicBezTo>
                <a:cubicBezTo>
                  <a:pt x="2219162" y="3727388"/>
                  <a:pt x="2218896" y="3725659"/>
                  <a:pt x="2218231" y="3724061"/>
                </a:cubicBezTo>
                <a:cubicBezTo>
                  <a:pt x="2217565" y="3722331"/>
                  <a:pt x="2216633" y="3721000"/>
                  <a:pt x="2215568" y="3719802"/>
                </a:cubicBezTo>
                <a:cubicBezTo>
                  <a:pt x="2214503" y="3718737"/>
                  <a:pt x="2213172" y="3717805"/>
                  <a:pt x="2211575" y="3717139"/>
                </a:cubicBezTo>
                <a:cubicBezTo>
                  <a:pt x="2210110" y="3716473"/>
                  <a:pt x="2208513" y="3716208"/>
                  <a:pt x="2206516" y="3716208"/>
                </a:cubicBezTo>
                <a:close/>
                <a:moveTo>
                  <a:pt x="1988993" y="3716208"/>
                </a:moveTo>
                <a:cubicBezTo>
                  <a:pt x="1983136" y="3716208"/>
                  <a:pt x="1980607" y="3718204"/>
                  <a:pt x="1979010" y="3719802"/>
                </a:cubicBezTo>
                <a:cubicBezTo>
                  <a:pt x="1976480" y="3722464"/>
                  <a:pt x="1975416" y="3725259"/>
                  <a:pt x="1975416" y="3729253"/>
                </a:cubicBezTo>
                <a:cubicBezTo>
                  <a:pt x="1975416" y="3733381"/>
                  <a:pt x="1976480" y="3736175"/>
                  <a:pt x="1979010" y="3738705"/>
                </a:cubicBezTo>
                <a:cubicBezTo>
                  <a:pt x="1980607" y="3740302"/>
                  <a:pt x="1983136" y="3742165"/>
                  <a:pt x="1988993" y="3742165"/>
                </a:cubicBezTo>
                <a:cubicBezTo>
                  <a:pt x="1990990" y="3742165"/>
                  <a:pt x="1992721" y="3741766"/>
                  <a:pt x="1994318" y="3741367"/>
                </a:cubicBezTo>
                <a:cubicBezTo>
                  <a:pt x="1995916" y="3740834"/>
                  <a:pt x="1997115" y="3739902"/>
                  <a:pt x="1998046" y="3738970"/>
                </a:cubicBezTo>
                <a:cubicBezTo>
                  <a:pt x="1999110" y="3737772"/>
                  <a:pt x="2000042" y="3736441"/>
                  <a:pt x="2000709" y="3734711"/>
                </a:cubicBezTo>
                <a:cubicBezTo>
                  <a:pt x="2001240" y="3733113"/>
                  <a:pt x="2001639" y="3731250"/>
                  <a:pt x="2001639" y="3729253"/>
                </a:cubicBezTo>
                <a:cubicBezTo>
                  <a:pt x="2001639" y="3727388"/>
                  <a:pt x="2001374" y="3725659"/>
                  <a:pt x="2000709" y="3724061"/>
                </a:cubicBezTo>
                <a:cubicBezTo>
                  <a:pt x="2000042" y="3722331"/>
                  <a:pt x="1999110" y="3721000"/>
                  <a:pt x="1998046" y="3719802"/>
                </a:cubicBezTo>
                <a:cubicBezTo>
                  <a:pt x="1996981" y="3718737"/>
                  <a:pt x="1995649" y="3717805"/>
                  <a:pt x="1994052" y="3717139"/>
                </a:cubicBezTo>
                <a:cubicBezTo>
                  <a:pt x="1992588" y="3716473"/>
                  <a:pt x="1990990" y="3716208"/>
                  <a:pt x="1988993" y="3716208"/>
                </a:cubicBezTo>
                <a:close/>
                <a:moveTo>
                  <a:pt x="1771356" y="3716208"/>
                </a:moveTo>
                <a:cubicBezTo>
                  <a:pt x="1765499" y="3716208"/>
                  <a:pt x="1762971" y="3718204"/>
                  <a:pt x="1761374" y="3719802"/>
                </a:cubicBezTo>
                <a:cubicBezTo>
                  <a:pt x="1758844" y="3722464"/>
                  <a:pt x="1757780" y="3725259"/>
                  <a:pt x="1757780" y="3729253"/>
                </a:cubicBezTo>
                <a:cubicBezTo>
                  <a:pt x="1757780" y="3733381"/>
                  <a:pt x="1758844" y="3736175"/>
                  <a:pt x="1761374" y="3738705"/>
                </a:cubicBezTo>
                <a:cubicBezTo>
                  <a:pt x="1762971" y="3740302"/>
                  <a:pt x="1765499" y="3742165"/>
                  <a:pt x="1771356" y="3742165"/>
                </a:cubicBezTo>
                <a:cubicBezTo>
                  <a:pt x="1773353" y="3742165"/>
                  <a:pt x="1775217" y="3741766"/>
                  <a:pt x="1776681" y="3741367"/>
                </a:cubicBezTo>
                <a:cubicBezTo>
                  <a:pt x="1778145" y="3740834"/>
                  <a:pt x="1779475" y="3739902"/>
                  <a:pt x="1780407" y="3738970"/>
                </a:cubicBezTo>
                <a:cubicBezTo>
                  <a:pt x="1781472" y="3737772"/>
                  <a:pt x="1782404" y="3736441"/>
                  <a:pt x="1783070" y="3734711"/>
                </a:cubicBezTo>
                <a:cubicBezTo>
                  <a:pt x="1783735" y="3733113"/>
                  <a:pt x="1784135" y="3731250"/>
                  <a:pt x="1784135" y="3729253"/>
                </a:cubicBezTo>
                <a:cubicBezTo>
                  <a:pt x="1784135" y="3727388"/>
                  <a:pt x="1783735" y="3725659"/>
                  <a:pt x="1783070" y="3724061"/>
                </a:cubicBezTo>
                <a:cubicBezTo>
                  <a:pt x="1782404" y="3722331"/>
                  <a:pt x="1781472" y="3721000"/>
                  <a:pt x="1780407" y="3719802"/>
                </a:cubicBezTo>
                <a:cubicBezTo>
                  <a:pt x="1779342" y="3718737"/>
                  <a:pt x="1778012" y="3717805"/>
                  <a:pt x="1776415" y="3717139"/>
                </a:cubicBezTo>
                <a:cubicBezTo>
                  <a:pt x="1774950" y="3716473"/>
                  <a:pt x="1773353" y="3716208"/>
                  <a:pt x="1771356" y="3716208"/>
                </a:cubicBezTo>
                <a:close/>
                <a:moveTo>
                  <a:pt x="1553716" y="3716208"/>
                </a:moveTo>
                <a:cubicBezTo>
                  <a:pt x="1547859" y="3716208"/>
                  <a:pt x="1545330" y="3718204"/>
                  <a:pt x="1543733" y="3719802"/>
                </a:cubicBezTo>
                <a:cubicBezTo>
                  <a:pt x="1541203" y="3722464"/>
                  <a:pt x="1540138" y="3725259"/>
                  <a:pt x="1540138" y="3729253"/>
                </a:cubicBezTo>
                <a:cubicBezTo>
                  <a:pt x="1540138" y="3733381"/>
                  <a:pt x="1541203" y="3736175"/>
                  <a:pt x="1543733" y="3738705"/>
                </a:cubicBezTo>
                <a:cubicBezTo>
                  <a:pt x="1545330" y="3740302"/>
                  <a:pt x="1547859" y="3742165"/>
                  <a:pt x="1553716" y="3742165"/>
                </a:cubicBezTo>
                <a:cubicBezTo>
                  <a:pt x="1555713" y="3742165"/>
                  <a:pt x="1557577" y="3741766"/>
                  <a:pt x="1559041" y="3741367"/>
                </a:cubicBezTo>
                <a:cubicBezTo>
                  <a:pt x="1560505" y="3740834"/>
                  <a:pt x="1561837" y="3739902"/>
                  <a:pt x="1562768" y="3738970"/>
                </a:cubicBezTo>
                <a:cubicBezTo>
                  <a:pt x="1563833" y="3737772"/>
                  <a:pt x="1564765" y="3736441"/>
                  <a:pt x="1565431" y="3734711"/>
                </a:cubicBezTo>
                <a:cubicBezTo>
                  <a:pt x="1566096" y="3733113"/>
                  <a:pt x="1566496" y="3731250"/>
                  <a:pt x="1566496" y="3729253"/>
                </a:cubicBezTo>
                <a:cubicBezTo>
                  <a:pt x="1566496" y="3727388"/>
                  <a:pt x="1566096" y="3725659"/>
                  <a:pt x="1565431" y="3724061"/>
                </a:cubicBezTo>
                <a:cubicBezTo>
                  <a:pt x="1564765" y="3722331"/>
                  <a:pt x="1563833" y="3721000"/>
                  <a:pt x="1562768" y="3719802"/>
                </a:cubicBezTo>
                <a:cubicBezTo>
                  <a:pt x="1561703" y="3718737"/>
                  <a:pt x="1560372" y="3717805"/>
                  <a:pt x="1558775" y="3717139"/>
                </a:cubicBezTo>
                <a:cubicBezTo>
                  <a:pt x="1557311" y="3716473"/>
                  <a:pt x="1555713" y="3716208"/>
                  <a:pt x="1553716" y="3716208"/>
                </a:cubicBezTo>
                <a:close/>
                <a:moveTo>
                  <a:pt x="1336072" y="3716208"/>
                </a:moveTo>
                <a:cubicBezTo>
                  <a:pt x="1330214" y="3716208"/>
                  <a:pt x="1327685" y="3718204"/>
                  <a:pt x="1326089" y="3719802"/>
                </a:cubicBezTo>
                <a:cubicBezTo>
                  <a:pt x="1323559" y="3722464"/>
                  <a:pt x="1322494" y="3725259"/>
                  <a:pt x="1322494" y="3729253"/>
                </a:cubicBezTo>
                <a:cubicBezTo>
                  <a:pt x="1322494" y="3733381"/>
                  <a:pt x="1323559" y="3736175"/>
                  <a:pt x="1326089" y="3738705"/>
                </a:cubicBezTo>
                <a:cubicBezTo>
                  <a:pt x="1327685" y="3740302"/>
                  <a:pt x="1330214" y="3742165"/>
                  <a:pt x="1336072" y="3742165"/>
                </a:cubicBezTo>
                <a:cubicBezTo>
                  <a:pt x="1338202" y="3742165"/>
                  <a:pt x="1339932" y="3741766"/>
                  <a:pt x="1341398" y="3741367"/>
                </a:cubicBezTo>
                <a:cubicBezTo>
                  <a:pt x="1342862" y="3740834"/>
                  <a:pt x="1344193" y="3739902"/>
                  <a:pt x="1345126" y="3738970"/>
                </a:cubicBezTo>
                <a:cubicBezTo>
                  <a:pt x="1346189" y="3737772"/>
                  <a:pt x="1347122" y="3736441"/>
                  <a:pt x="1347788" y="3734711"/>
                </a:cubicBezTo>
                <a:cubicBezTo>
                  <a:pt x="1348453" y="3733113"/>
                  <a:pt x="1348854" y="3731250"/>
                  <a:pt x="1348854" y="3729253"/>
                </a:cubicBezTo>
                <a:cubicBezTo>
                  <a:pt x="1348854" y="3727388"/>
                  <a:pt x="1348453" y="3725659"/>
                  <a:pt x="1347788" y="3724061"/>
                </a:cubicBezTo>
                <a:cubicBezTo>
                  <a:pt x="1347122" y="3722331"/>
                  <a:pt x="1346189" y="3721000"/>
                  <a:pt x="1345126" y="3719802"/>
                </a:cubicBezTo>
                <a:cubicBezTo>
                  <a:pt x="1344060" y="3718737"/>
                  <a:pt x="1342730" y="3717805"/>
                  <a:pt x="1341131" y="3717139"/>
                </a:cubicBezTo>
                <a:cubicBezTo>
                  <a:pt x="1339667" y="3716473"/>
                  <a:pt x="1338068" y="3716208"/>
                  <a:pt x="1336072" y="3716208"/>
                </a:cubicBezTo>
                <a:close/>
                <a:moveTo>
                  <a:pt x="1118560" y="3716208"/>
                </a:moveTo>
                <a:cubicBezTo>
                  <a:pt x="1112702" y="3716208"/>
                  <a:pt x="1110172" y="3718204"/>
                  <a:pt x="1108575" y="3719802"/>
                </a:cubicBezTo>
                <a:cubicBezTo>
                  <a:pt x="1105912" y="3722464"/>
                  <a:pt x="1104848" y="3725259"/>
                  <a:pt x="1104848" y="3729253"/>
                </a:cubicBezTo>
                <a:cubicBezTo>
                  <a:pt x="1104848" y="3733381"/>
                  <a:pt x="1105912" y="3736175"/>
                  <a:pt x="1108442" y="3738705"/>
                </a:cubicBezTo>
                <a:cubicBezTo>
                  <a:pt x="1110039" y="3740302"/>
                  <a:pt x="1112569" y="3742165"/>
                  <a:pt x="1118427" y="3742165"/>
                </a:cubicBezTo>
                <a:cubicBezTo>
                  <a:pt x="1120557" y="3742165"/>
                  <a:pt x="1122289" y="3741766"/>
                  <a:pt x="1123884" y="3741367"/>
                </a:cubicBezTo>
                <a:cubicBezTo>
                  <a:pt x="1125349" y="3740834"/>
                  <a:pt x="1126683" y="3739902"/>
                  <a:pt x="1127613" y="3738970"/>
                </a:cubicBezTo>
                <a:cubicBezTo>
                  <a:pt x="1128678" y="3737772"/>
                  <a:pt x="1129611" y="3736441"/>
                  <a:pt x="1130277" y="3734711"/>
                </a:cubicBezTo>
                <a:cubicBezTo>
                  <a:pt x="1130941" y="3733113"/>
                  <a:pt x="1131342" y="3731250"/>
                  <a:pt x="1131342" y="3729253"/>
                </a:cubicBezTo>
                <a:cubicBezTo>
                  <a:pt x="1131342" y="3727388"/>
                  <a:pt x="1130941" y="3725659"/>
                  <a:pt x="1130277" y="3724061"/>
                </a:cubicBezTo>
                <a:cubicBezTo>
                  <a:pt x="1129611" y="3722331"/>
                  <a:pt x="1128678" y="3721000"/>
                  <a:pt x="1127613" y="3719802"/>
                </a:cubicBezTo>
                <a:cubicBezTo>
                  <a:pt x="1126549" y="3718737"/>
                  <a:pt x="1125217" y="3717805"/>
                  <a:pt x="1123618" y="3717139"/>
                </a:cubicBezTo>
                <a:cubicBezTo>
                  <a:pt x="1122156" y="3716473"/>
                  <a:pt x="1120557" y="3716208"/>
                  <a:pt x="1118560" y="3716208"/>
                </a:cubicBezTo>
                <a:close/>
                <a:moveTo>
                  <a:pt x="901048" y="3716208"/>
                </a:moveTo>
                <a:cubicBezTo>
                  <a:pt x="895190" y="3716208"/>
                  <a:pt x="892661" y="3718204"/>
                  <a:pt x="891064" y="3719802"/>
                </a:cubicBezTo>
                <a:cubicBezTo>
                  <a:pt x="888401" y="3722464"/>
                  <a:pt x="887337" y="3725259"/>
                  <a:pt x="887337" y="3729253"/>
                </a:cubicBezTo>
                <a:cubicBezTo>
                  <a:pt x="887337" y="3733381"/>
                  <a:pt x="888401" y="3736175"/>
                  <a:pt x="890931" y="3738705"/>
                </a:cubicBezTo>
                <a:cubicBezTo>
                  <a:pt x="892528" y="3740302"/>
                  <a:pt x="895057" y="3742165"/>
                  <a:pt x="900914" y="3742165"/>
                </a:cubicBezTo>
                <a:cubicBezTo>
                  <a:pt x="902911" y="3742165"/>
                  <a:pt x="904642" y="3741766"/>
                  <a:pt x="906372" y="3741367"/>
                </a:cubicBezTo>
                <a:cubicBezTo>
                  <a:pt x="907836" y="3740834"/>
                  <a:pt x="909168" y="3739902"/>
                  <a:pt x="910100" y="3738970"/>
                </a:cubicBezTo>
                <a:cubicBezTo>
                  <a:pt x="911164" y="3737772"/>
                  <a:pt x="912096" y="3736441"/>
                  <a:pt x="912762" y="3734711"/>
                </a:cubicBezTo>
                <a:cubicBezTo>
                  <a:pt x="913427" y="3733113"/>
                  <a:pt x="913828" y="3731250"/>
                  <a:pt x="913828" y="3729253"/>
                </a:cubicBezTo>
                <a:cubicBezTo>
                  <a:pt x="913828" y="3727388"/>
                  <a:pt x="913427" y="3725659"/>
                  <a:pt x="912762" y="3724061"/>
                </a:cubicBezTo>
                <a:cubicBezTo>
                  <a:pt x="912096" y="3722331"/>
                  <a:pt x="911164" y="3721000"/>
                  <a:pt x="910100" y="3719802"/>
                </a:cubicBezTo>
                <a:cubicBezTo>
                  <a:pt x="909035" y="3718737"/>
                  <a:pt x="907703" y="3717805"/>
                  <a:pt x="906106" y="3717139"/>
                </a:cubicBezTo>
                <a:cubicBezTo>
                  <a:pt x="904642" y="3716473"/>
                  <a:pt x="903044" y="3716208"/>
                  <a:pt x="901048" y="3716208"/>
                </a:cubicBezTo>
                <a:close/>
                <a:moveTo>
                  <a:pt x="683273" y="3716208"/>
                </a:moveTo>
                <a:cubicBezTo>
                  <a:pt x="677415" y="3716208"/>
                  <a:pt x="674886" y="3718204"/>
                  <a:pt x="673289" y="3719802"/>
                </a:cubicBezTo>
                <a:cubicBezTo>
                  <a:pt x="670759" y="3722464"/>
                  <a:pt x="669695" y="3725259"/>
                  <a:pt x="669695" y="3729253"/>
                </a:cubicBezTo>
                <a:cubicBezTo>
                  <a:pt x="669695" y="3733381"/>
                  <a:pt x="670759" y="3736175"/>
                  <a:pt x="673289" y="3738705"/>
                </a:cubicBezTo>
                <a:cubicBezTo>
                  <a:pt x="674886" y="3740302"/>
                  <a:pt x="677415" y="3742165"/>
                  <a:pt x="683273" y="3742165"/>
                </a:cubicBezTo>
                <a:cubicBezTo>
                  <a:pt x="685269" y="3742165"/>
                  <a:pt x="687133" y="3741766"/>
                  <a:pt x="688598" y="3741367"/>
                </a:cubicBezTo>
                <a:cubicBezTo>
                  <a:pt x="690062" y="3740834"/>
                  <a:pt x="691394" y="3739902"/>
                  <a:pt x="692325" y="3738970"/>
                </a:cubicBezTo>
                <a:cubicBezTo>
                  <a:pt x="693389" y="3737772"/>
                  <a:pt x="694322" y="3736441"/>
                  <a:pt x="694988" y="3734711"/>
                </a:cubicBezTo>
                <a:cubicBezTo>
                  <a:pt x="695653" y="3733113"/>
                  <a:pt x="696053" y="3731250"/>
                  <a:pt x="696053" y="3729253"/>
                </a:cubicBezTo>
                <a:cubicBezTo>
                  <a:pt x="696053" y="3727388"/>
                  <a:pt x="695653" y="3725659"/>
                  <a:pt x="694988" y="3724061"/>
                </a:cubicBezTo>
                <a:cubicBezTo>
                  <a:pt x="694322" y="3722331"/>
                  <a:pt x="693389" y="3721000"/>
                  <a:pt x="692325" y="3719802"/>
                </a:cubicBezTo>
                <a:cubicBezTo>
                  <a:pt x="691260" y="3718737"/>
                  <a:pt x="689929" y="3717805"/>
                  <a:pt x="688332" y="3717139"/>
                </a:cubicBezTo>
                <a:cubicBezTo>
                  <a:pt x="686868" y="3716473"/>
                  <a:pt x="685269" y="3716208"/>
                  <a:pt x="683273" y="3716208"/>
                </a:cubicBezTo>
                <a:close/>
                <a:moveTo>
                  <a:pt x="465630" y="3716208"/>
                </a:moveTo>
                <a:cubicBezTo>
                  <a:pt x="459773" y="3716208"/>
                  <a:pt x="457244" y="3718204"/>
                  <a:pt x="455647" y="3719802"/>
                </a:cubicBezTo>
                <a:cubicBezTo>
                  <a:pt x="453117" y="3722464"/>
                  <a:pt x="452053" y="3725259"/>
                  <a:pt x="452053" y="3729253"/>
                </a:cubicBezTo>
                <a:cubicBezTo>
                  <a:pt x="452053" y="3733381"/>
                  <a:pt x="453117" y="3736175"/>
                  <a:pt x="455647" y="3738705"/>
                </a:cubicBezTo>
                <a:cubicBezTo>
                  <a:pt x="457244" y="3740302"/>
                  <a:pt x="459773" y="3742165"/>
                  <a:pt x="465630" y="3742165"/>
                </a:cubicBezTo>
                <a:cubicBezTo>
                  <a:pt x="467627" y="3742165"/>
                  <a:pt x="469491" y="3741766"/>
                  <a:pt x="470955" y="3741367"/>
                </a:cubicBezTo>
                <a:cubicBezTo>
                  <a:pt x="472419" y="3740834"/>
                  <a:pt x="473750" y="3739902"/>
                  <a:pt x="474682" y="3738970"/>
                </a:cubicBezTo>
                <a:cubicBezTo>
                  <a:pt x="475747" y="3737772"/>
                  <a:pt x="476679" y="3736441"/>
                  <a:pt x="477345" y="3734711"/>
                </a:cubicBezTo>
                <a:cubicBezTo>
                  <a:pt x="478010" y="3733113"/>
                  <a:pt x="478410" y="3731250"/>
                  <a:pt x="478410" y="3729253"/>
                </a:cubicBezTo>
                <a:cubicBezTo>
                  <a:pt x="478410" y="3727388"/>
                  <a:pt x="478010" y="3725659"/>
                  <a:pt x="477345" y="3724061"/>
                </a:cubicBezTo>
                <a:cubicBezTo>
                  <a:pt x="476679" y="3722331"/>
                  <a:pt x="475747" y="3721000"/>
                  <a:pt x="474682" y="3719802"/>
                </a:cubicBezTo>
                <a:cubicBezTo>
                  <a:pt x="473617" y="3718737"/>
                  <a:pt x="472286" y="3717805"/>
                  <a:pt x="470689" y="3717139"/>
                </a:cubicBezTo>
                <a:cubicBezTo>
                  <a:pt x="469225" y="3716473"/>
                  <a:pt x="467627" y="3716208"/>
                  <a:pt x="465630" y="3716208"/>
                </a:cubicBezTo>
                <a:close/>
                <a:moveTo>
                  <a:pt x="247987" y="3716208"/>
                </a:moveTo>
                <a:cubicBezTo>
                  <a:pt x="242131" y="3716208"/>
                  <a:pt x="239602" y="3718204"/>
                  <a:pt x="238005" y="3719802"/>
                </a:cubicBezTo>
                <a:cubicBezTo>
                  <a:pt x="235475" y="3722464"/>
                  <a:pt x="234411" y="3725259"/>
                  <a:pt x="234411" y="3729253"/>
                </a:cubicBezTo>
                <a:cubicBezTo>
                  <a:pt x="234411" y="3733381"/>
                  <a:pt x="235475" y="3736175"/>
                  <a:pt x="238005" y="3738705"/>
                </a:cubicBezTo>
                <a:cubicBezTo>
                  <a:pt x="239602" y="3740302"/>
                  <a:pt x="242131" y="3742165"/>
                  <a:pt x="247987" y="3742165"/>
                </a:cubicBezTo>
                <a:cubicBezTo>
                  <a:pt x="250118" y="3742165"/>
                  <a:pt x="251848" y="3741766"/>
                  <a:pt x="253312" y="3741367"/>
                </a:cubicBezTo>
                <a:cubicBezTo>
                  <a:pt x="254776" y="3740834"/>
                  <a:pt x="256107" y="3739902"/>
                  <a:pt x="257039" y="3738970"/>
                </a:cubicBezTo>
                <a:cubicBezTo>
                  <a:pt x="258104" y="3737772"/>
                  <a:pt x="259036" y="3736441"/>
                  <a:pt x="259702" y="3734711"/>
                </a:cubicBezTo>
                <a:cubicBezTo>
                  <a:pt x="260367" y="3733113"/>
                  <a:pt x="260767" y="3731250"/>
                  <a:pt x="260767" y="3729253"/>
                </a:cubicBezTo>
                <a:cubicBezTo>
                  <a:pt x="260767" y="3727388"/>
                  <a:pt x="260367" y="3725659"/>
                  <a:pt x="259702" y="3724061"/>
                </a:cubicBezTo>
                <a:cubicBezTo>
                  <a:pt x="259036" y="3722331"/>
                  <a:pt x="258104" y="3721000"/>
                  <a:pt x="257039" y="3719802"/>
                </a:cubicBezTo>
                <a:cubicBezTo>
                  <a:pt x="255974" y="3718737"/>
                  <a:pt x="254643" y="3717805"/>
                  <a:pt x="253046" y="3717139"/>
                </a:cubicBezTo>
                <a:cubicBezTo>
                  <a:pt x="251581" y="3716473"/>
                  <a:pt x="249985" y="3716208"/>
                  <a:pt x="247987" y="3716208"/>
                </a:cubicBezTo>
                <a:close/>
                <a:moveTo>
                  <a:pt x="30345" y="3716208"/>
                </a:moveTo>
                <a:cubicBezTo>
                  <a:pt x="24488" y="3716208"/>
                  <a:pt x="21959" y="3718204"/>
                  <a:pt x="20362" y="3719802"/>
                </a:cubicBezTo>
                <a:cubicBezTo>
                  <a:pt x="17832" y="3722464"/>
                  <a:pt x="16768" y="3725259"/>
                  <a:pt x="16768" y="3729253"/>
                </a:cubicBezTo>
                <a:cubicBezTo>
                  <a:pt x="16768" y="3733381"/>
                  <a:pt x="17832" y="3736175"/>
                  <a:pt x="20362" y="3738705"/>
                </a:cubicBezTo>
                <a:cubicBezTo>
                  <a:pt x="21959" y="3740302"/>
                  <a:pt x="24488" y="3742165"/>
                  <a:pt x="30345" y="3742165"/>
                </a:cubicBezTo>
                <a:cubicBezTo>
                  <a:pt x="32475" y="3742165"/>
                  <a:pt x="34206" y="3741766"/>
                  <a:pt x="35670" y="3741367"/>
                </a:cubicBezTo>
                <a:cubicBezTo>
                  <a:pt x="37134" y="3740834"/>
                  <a:pt x="38466" y="3739902"/>
                  <a:pt x="39397" y="3738970"/>
                </a:cubicBezTo>
                <a:cubicBezTo>
                  <a:pt x="40462" y="3737772"/>
                  <a:pt x="41394" y="3736441"/>
                  <a:pt x="42060" y="3734711"/>
                </a:cubicBezTo>
                <a:cubicBezTo>
                  <a:pt x="42725" y="3733113"/>
                  <a:pt x="42991" y="3731250"/>
                  <a:pt x="42991" y="3729253"/>
                </a:cubicBezTo>
                <a:cubicBezTo>
                  <a:pt x="42991" y="3727388"/>
                  <a:pt x="42725" y="3725659"/>
                  <a:pt x="42060" y="3724061"/>
                </a:cubicBezTo>
                <a:cubicBezTo>
                  <a:pt x="41394" y="3722331"/>
                  <a:pt x="40462" y="3721000"/>
                  <a:pt x="39397" y="3719802"/>
                </a:cubicBezTo>
                <a:cubicBezTo>
                  <a:pt x="38332" y="3718737"/>
                  <a:pt x="37001" y="3717805"/>
                  <a:pt x="35404" y="3717139"/>
                </a:cubicBezTo>
                <a:cubicBezTo>
                  <a:pt x="33940" y="3716473"/>
                  <a:pt x="32342" y="3716208"/>
                  <a:pt x="30345" y="3716208"/>
                </a:cubicBezTo>
                <a:close/>
                <a:moveTo>
                  <a:pt x="10475977" y="3699567"/>
                </a:moveTo>
                <a:cubicBezTo>
                  <a:pt x="10480237" y="3699567"/>
                  <a:pt x="10484230" y="3700366"/>
                  <a:pt x="10487824" y="3702096"/>
                </a:cubicBezTo>
                <a:cubicBezTo>
                  <a:pt x="10491419" y="3703694"/>
                  <a:pt x="10494613" y="3705824"/>
                  <a:pt x="10497143" y="3708486"/>
                </a:cubicBezTo>
                <a:cubicBezTo>
                  <a:pt x="10499672" y="3711148"/>
                  <a:pt x="10501801" y="3714344"/>
                  <a:pt x="10503266" y="3717937"/>
                </a:cubicBezTo>
                <a:cubicBezTo>
                  <a:pt x="10504730" y="3721532"/>
                  <a:pt x="10505529" y="3725259"/>
                  <a:pt x="10505529" y="3729385"/>
                </a:cubicBezTo>
                <a:cubicBezTo>
                  <a:pt x="10505529" y="3733512"/>
                  <a:pt x="10504730" y="3737506"/>
                  <a:pt x="10503266" y="3741100"/>
                </a:cubicBezTo>
                <a:cubicBezTo>
                  <a:pt x="10501669" y="3744695"/>
                  <a:pt x="10499672" y="3747756"/>
                  <a:pt x="10497143" y="3750419"/>
                </a:cubicBezTo>
                <a:cubicBezTo>
                  <a:pt x="10494480" y="3753081"/>
                  <a:pt x="10491419" y="3755212"/>
                  <a:pt x="10487824" y="3756675"/>
                </a:cubicBezTo>
                <a:cubicBezTo>
                  <a:pt x="10484098" y="3758139"/>
                  <a:pt x="10480237" y="3758938"/>
                  <a:pt x="10475977" y="3758938"/>
                </a:cubicBezTo>
                <a:cubicBezTo>
                  <a:pt x="10466924" y="3758938"/>
                  <a:pt x="10459736" y="3756009"/>
                  <a:pt x="10454145" y="3750419"/>
                </a:cubicBezTo>
                <a:cubicBezTo>
                  <a:pt x="10448554" y="3744695"/>
                  <a:pt x="10445759" y="3737639"/>
                  <a:pt x="10445759" y="3729253"/>
                </a:cubicBezTo>
                <a:cubicBezTo>
                  <a:pt x="10445759" y="3721000"/>
                  <a:pt x="10448554" y="3713944"/>
                  <a:pt x="10454145" y="3708220"/>
                </a:cubicBezTo>
                <a:cubicBezTo>
                  <a:pt x="10459603" y="3702363"/>
                  <a:pt x="10466924" y="3699567"/>
                  <a:pt x="10475977" y="3699567"/>
                </a:cubicBezTo>
                <a:close/>
                <a:moveTo>
                  <a:pt x="10258466" y="3699567"/>
                </a:moveTo>
                <a:cubicBezTo>
                  <a:pt x="10262592" y="3699567"/>
                  <a:pt x="10266586" y="3700366"/>
                  <a:pt x="10270313" y="3702096"/>
                </a:cubicBezTo>
                <a:cubicBezTo>
                  <a:pt x="10273907" y="3703694"/>
                  <a:pt x="10277101" y="3705824"/>
                  <a:pt x="10279631" y="3708486"/>
                </a:cubicBezTo>
                <a:cubicBezTo>
                  <a:pt x="10282160" y="3711148"/>
                  <a:pt x="10284290" y="3714344"/>
                  <a:pt x="10285754" y="3717937"/>
                </a:cubicBezTo>
                <a:cubicBezTo>
                  <a:pt x="10287218" y="3721532"/>
                  <a:pt x="10288017" y="3725259"/>
                  <a:pt x="10288017" y="3729385"/>
                </a:cubicBezTo>
                <a:cubicBezTo>
                  <a:pt x="10288017" y="3733512"/>
                  <a:pt x="10287218" y="3737506"/>
                  <a:pt x="10285754" y="3741100"/>
                </a:cubicBezTo>
                <a:cubicBezTo>
                  <a:pt x="10284157" y="3744695"/>
                  <a:pt x="10282160" y="3747756"/>
                  <a:pt x="10279631" y="3750419"/>
                </a:cubicBezTo>
                <a:cubicBezTo>
                  <a:pt x="10276969" y="3753081"/>
                  <a:pt x="10273907" y="3755212"/>
                  <a:pt x="10270313" y="3756675"/>
                </a:cubicBezTo>
                <a:cubicBezTo>
                  <a:pt x="10266586" y="3758139"/>
                  <a:pt x="10262725" y="3758938"/>
                  <a:pt x="10258466" y="3758938"/>
                </a:cubicBezTo>
                <a:cubicBezTo>
                  <a:pt x="10249546" y="3758938"/>
                  <a:pt x="10242224" y="3756009"/>
                  <a:pt x="10236633" y="3750419"/>
                </a:cubicBezTo>
                <a:cubicBezTo>
                  <a:pt x="10231043" y="3744695"/>
                  <a:pt x="10228247" y="3737639"/>
                  <a:pt x="10228247" y="3729253"/>
                </a:cubicBezTo>
                <a:cubicBezTo>
                  <a:pt x="10228247" y="3721000"/>
                  <a:pt x="10231043" y="3713944"/>
                  <a:pt x="10236633" y="3708220"/>
                </a:cubicBezTo>
                <a:cubicBezTo>
                  <a:pt x="10242092" y="3702363"/>
                  <a:pt x="10249413" y="3699567"/>
                  <a:pt x="10258466" y="3699567"/>
                </a:cubicBezTo>
                <a:close/>
                <a:moveTo>
                  <a:pt x="10040820" y="3699567"/>
                </a:moveTo>
                <a:cubicBezTo>
                  <a:pt x="10045080" y="3699567"/>
                  <a:pt x="10048941" y="3700366"/>
                  <a:pt x="10052534" y="3702096"/>
                </a:cubicBezTo>
                <a:cubicBezTo>
                  <a:pt x="10056129" y="3703694"/>
                  <a:pt x="10059323" y="3705824"/>
                  <a:pt x="10061852" y="3708486"/>
                </a:cubicBezTo>
                <a:cubicBezTo>
                  <a:pt x="10064382" y="3711148"/>
                  <a:pt x="10066512" y="3714344"/>
                  <a:pt x="10067976" y="3717937"/>
                </a:cubicBezTo>
                <a:cubicBezTo>
                  <a:pt x="10069440" y="3721532"/>
                  <a:pt x="10070239" y="3725259"/>
                  <a:pt x="10070239" y="3729385"/>
                </a:cubicBezTo>
                <a:cubicBezTo>
                  <a:pt x="10070239" y="3733512"/>
                  <a:pt x="10069440" y="3737506"/>
                  <a:pt x="10067976" y="3741100"/>
                </a:cubicBezTo>
                <a:cubicBezTo>
                  <a:pt x="10066379" y="3744695"/>
                  <a:pt x="10064382" y="3747756"/>
                  <a:pt x="10061852" y="3750419"/>
                </a:cubicBezTo>
                <a:cubicBezTo>
                  <a:pt x="10059190" y="3753081"/>
                  <a:pt x="10056129" y="3755212"/>
                  <a:pt x="10052534" y="3756675"/>
                </a:cubicBezTo>
                <a:cubicBezTo>
                  <a:pt x="10048941" y="3758139"/>
                  <a:pt x="10045080" y="3758938"/>
                  <a:pt x="10040820" y="3758938"/>
                </a:cubicBezTo>
                <a:cubicBezTo>
                  <a:pt x="10031767" y="3758938"/>
                  <a:pt x="10024579" y="3756009"/>
                  <a:pt x="10018988" y="3750419"/>
                </a:cubicBezTo>
                <a:cubicBezTo>
                  <a:pt x="10013397" y="3744695"/>
                  <a:pt x="10010602" y="3737639"/>
                  <a:pt x="10010602" y="3729253"/>
                </a:cubicBezTo>
                <a:cubicBezTo>
                  <a:pt x="10010602" y="3721000"/>
                  <a:pt x="10013397" y="3713944"/>
                  <a:pt x="10018988" y="3708220"/>
                </a:cubicBezTo>
                <a:cubicBezTo>
                  <a:pt x="10024579" y="3702363"/>
                  <a:pt x="10031767" y="3699567"/>
                  <a:pt x="10040820" y="3699567"/>
                </a:cubicBezTo>
                <a:close/>
                <a:moveTo>
                  <a:pt x="9823176" y="3699567"/>
                </a:moveTo>
                <a:cubicBezTo>
                  <a:pt x="9827435" y="3699567"/>
                  <a:pt x="9831296" y="3700366"/>
                  <a:pt x="9834890" y="3702096"/>
                </a:cubicBezTo>
                <a:cubicBezTo>
                  <a:pt x="9838617" y="3703694"/>
                  <a:pt x="9841679" y="3705824"/>
                  <a:pt x="9844208" y="3708486"/>
                </a:cubicBezTo>
                <a:cubicBezTo>
                  <a:pt x="9846737" y="3711148"/>
                  <a:pt x="9848867" y="3714344"/>
                  <a:pt x="9850331" y="3717937"/>
                </a:cubicBezTo>
                <a:cubicBezTo>
                  <a:pt x="9851796" y="3721532"/>
                  <a:pt x="9852595" y="3725259"/>
                  <a:pt x="9852595" y="3729385"/>
                </a:cubicBezTo>
                <a:cubicBezTo>
                  <a:pt x="9852595" y="3733512"/>
                  <a:pt x="9851796" y="3737506"/>
                  <a:pt x="9850331" y="3741100"/>
                </a:cubicBezTo>
                <a:cubicBezTo>
                  <a:pt x="9848734" y="3744695"/>
                  <a:pt x="9846737" y="3747756"/>
                  <a:pt x="9844208" y="3750419"/>
                </a:cubicBezTo>
                <a:cubicBezTo>
                  <a:pt x="9841546" y="3753081"/>
                  <a:pt x="9838484" y="3755212"/>
                  <a:pt x="9834890" y="3756675"/>
                </a:cubicBezTo>
                <a:cubicBezTo>
                  <a:pt x="9831296" y="3758139"/>
                  <a:pt x="9827435" y="3758938"/>
                  <a:pt x="9823176" y="3758938"/>
                </a:cubicBezTo>
                <a:cubicBezTo>
                  <a:pt x="9814123" y="3758938"/>
                  <a:pt x="9806935" y="3756009"/>
                  <a:pt x="9801343" y="3750419"/>
                </a:cubicBezTo>
                <a:cubicBezTo>
                  <a:pt x="9795753" y="3744695"/>
                  <a:pt x="9792957" y="3737639"/>
                  <a:pt x="9792957" y="3729253"/>
                </a:cubicBezTo>
                <a:cubicBezTo>
                  <a:pt x="9792957" y="3721000"/>
                  <a:pt x="9795753" y="3713944"/>
                  <a:pt x="9801343" y="3708220"/>
                </a:cubicBezTo>
                <a:cubicBezTo>
                  <a:pt x="9806935" y="3702363"/>
                  <a:pt x="9814123" y="3699567"/>
                  <a:pt x="9823176" y="3699567"/>
                </a:cubicBezTo>
                <a:close/>
                <a:moveTo>
                  <a:pt x="9605531" y="3699567"/>
                </a:moveTo>
                <a:cubicBezTo>
                  <a:pt x="9609790" y="3699567"/>
                  <a:pt x="9613784" y="3700366"/>
                  <a:pt x="9617245" y="3702096"/>
                </a:cubicBezTo>
                <a:cubicBezTo>
                  <a:pt x="9620839" y="3703694"/>
                  <a:pt x="9624033" y="3705824"/>
                  <a:pt x="9626562" y="3708486"/>
                </a:cubicBezTo>
                <a:cubicBezTo>
                  <a:pt x="9629092" y="3711148"/>
                  <a:pt x="9631222" y="3714344"/>
                  <a:pt x="9632686" y="3717937"/>
                </a:cubicBezTo>
                <a:cubicBezTo>
                  <a:pt x="9634150" y="3721532"/>
                  <a:pt x="9634949" y="3725259"/>
                  <a:pt x="9634949" y="3729385"/>
                </a:cubicBezTo>
                <a:cubicBezTo>
                  <a:pt x="9634949" y="3733512"/>
                  <a:pt x="9634150" y="3737506"/>
                  <a:pt x="9632686" y="3741100"/>
                </a:cubicBezTo>
                <a:cubicBezTo>
                  <a:pt x="9631089" y="3744695"/>
                  <a:pt x="9629092" y="3747756"/>
                  <a:pt x="9626562" y="3750419"/>
                </a:cubicBezTo>
                <a:cubicBezTo>
                  <a:pt x="9623901" y="3753081"/>
                  <a:pt x="9620839" y="3755212"/>
                  <a:pt x="9617245" y="3756675"/>
                </a:cubicBezTo>
                <a:cubicBezTo>
                  <a:pt x="9613651" y="3758139"/>
                  <a:pt x="9609790" y="3758938"/>
                  <a:pt x="9605531" y="3758938"/>
                </a:cubicBezTo>
                <a:cubicBezTo>
                  <a:pt x="9596610" y="3758938"/>
                  <a:pt x="9589289" y="3756009"/>
                  <a:pt x="9583698" y="3750419"/>
                </a:cubicBezTo>
                <a:cubicBezTo>
                  <a:pt x="9578108" y="3744695"/>
                  <a:pt x="9575312" y="3737639"/>
                  <a:pt x="9575312" y="3729253"/>
                </a:cubicBezTo>
                <a:cubicBezTo>
                  <a:pt x="9575312" y="3721000"/>
                  <a:pt x="9578108" y="3713944"/>
                  <a:pt x="9583698" y="3708220"/>
                </a:cubicBezTo>
                <a:cubicBezTo>
                  <a:pt x="9589289" y="3702363"/>
                  <a:pt x="9596478" y="3699567"/>
                  <a:pt x="9605531" y="3699567"/>
                </a:cubicBezTo>
                <a:close/>
                <a:moveTo>
                  <a:pt x="9387885" y="3699567"/>
                </a:moveTo>
                <a:cubicBezTo>
                  <a:pt x="9392145" y="3699567"/>
                  <a:pt x="9396138" y="3700366"/>
                  <a:pt x="9399599" y="3702096"/>
                </a:cubicBezTo>
                <a:cubicBezTo>
                  <a:pt x="9403194" y="3703694"/>
                  <a:pt x="9406388" y="3705824"/>
                  <a:pt x="9408917" y="3708486"/>
                </a:cubicBezTo>
                <a:cubicBezTo>
                  <a:pt x="9411447" y="3711148"/>
                  <a:pt x="9413576" y="3714344"/>
                  <a:pt x="9415041" y="3717937"/>
                </a:cubicBezTo>
                <a:cubicBezTo>
                  <a:pt x="9416505" y="3721532"/>
                  <a:pt x="9417304" y="3725259"/>
                  <a:pt x="9417304" y="3729385"/>
                </a:cubicBezTo>
                <a:cubicBezTo>
                  <a:pt x="9417304" y="3733512"/>
                  <a:pt x="9416505" y="3737506"/>
                  <a:pt x="9415041" y="3741100"/>
                </a:cubicBezTo>
                <a:cubicBezTo>
                  <a:pt x="9413444" y="3744695"/>
                  <a:pt x="9411447" y="3747756"/>
                  <a:pt x="9408917" y="3750419"/>
                </a:cubicBezTo>
                <a:cubicBezTo>
                  <a:pt x="9406255" y="3753081"/>
                  <a:pt x="9403194" y="3755212"/>
                  <a:pt x="9399599" y="3756675"/>
                </a:cubicBezTo>
                <a:cubicBezTo>
                  <a:pt x="9396005" y="3758139"/>
                  <a:pt x="9392145" y="3758938"/>
                  <a:pt x="9387885" y="3758938"/>
                </a:cubicBezTo>
                <a:cubicBezTo>
                  <a:pt x="9378965" y="3758938"/>
                  <a:pt x="9371644" y="3756009"/>
                  <a:pt x="9366053" y="3750419"/>
                </a:cubicBezTo>
                <a:cubicBezTo>
                  <a:pt x="9360462" y="3744695"/>
                  <a:pt x="9357667" y="3737639"/>
                  <a:pt x="9357667" y="3729253"/>
                </a:cubicBezTo>
                <a:cubicBezTo>
                  <a:pt x="9357667" y="3721000"/>
                  <a:pt x="9360462" y="3713944"/>
                  <a:pt x="9366053" y="3708220"/>
                </a:cubicBezTo>
                <a:cubicBezTo>
                  <a:pt x="9371644" y="3702363"/>
                  <a:pt x="9378832" y="3699567"/>
                  <a:pt x="9387885" y="3699567"/>
                </a:cubicBezTo>
                <a:close/>
                <a:moveTo>
                  <a:pt x="9170374" y="3699567"/>
                </a:moveTo>
                <a:cubicBezTo>
                  <a:pt x="9174500" y="3699567"/>
                  <a:pt x="9178494" y="3700366"/>
                  <a:pt x="9182088" y="3702096"/>
                </a:cubicBezTo>
                <a:cubicBezTo>
                  <a:pt x="9185682" y="3703694"/>
                  <a:pt x="9188876" y="3705824"/>
                  <a:pt x="9191405" y="3708486"/>
                </a:cubicBezTo>
                <a:cubicBezTo>
                  <a:pt x="9193935" y="3711148"/>
                  <a:pt x="9196065" y="3714344"/>
                  <a:pt x="9197529" y="3717937"/>
                </a:cubicBezTo>
                <a:cubicBezTo>
                  <a:pt x="9198993" y="3721532"/>
                  <a:pt x="9199792" y="3725259"/>
                  <a:pt x="9199792" y="3729385"/>
                </a:cubicBezTo>
                <a:cubicBezTo>
                  <a:pt x="9199792" y="3733512"/>
                  <a:pt x="9198993" y="3737506"/>
                  <a:pt x="9197529" y="3741100"/>
                </a:cubicBezTo>
                <a:cubicBezTo>
                  <a:pt x="9195932" y="3744695"/>
                  <a:pt x="9193935" y="3747756"/>
                  <a:pt x="9191405" y="3750419"/>
                </a:cubicBezTo>
                <a:cubicBezTo>
                  <a:pt x="9188744" y="3753081"/>
                  <a:pt x="9185682" y="3755212"/>
                  <a:pt x="9182088" y="3756675"/>
                </a:cubicBezTo>
                <a:cubicBezTo>
                  <a:pt x="9178494" y="3758139"/>
                  <a:pt x="9174633" y="3758938"/>
                  <a:pt x="9170374" y="3758938"/>
                </a:cubicBezTo>
                <a:cubicBezTo>
                  <a:pt x="9161453" y="3758938"/>
                  <a:pt x="9154132" y="3756009"/>
                  <a:pt x="9148541" y="3750419"/>
                </a:cubicBezTo>
                <a:cubicBezTo>
                  <a:pt x="9142951" y="3744695"/>
                  <a:pt x="9140155" y="3737639"/>
                  <a:pt x="9140155" y="3729253"/>
                </a:cubicBezTo>
                <a:cubicBezTo>
                  <a:pt x="9140155" y="3721000"/>
                  <a:pt x="9142951" y="3713944"/>
                  <a:pt x="9148541" y="3708220"/>
                </a:cubicBezTo>
                <a:cubicBezTo>
                  <a:pt x="9154132" y="3702363"/>
                  <a:pt x="9161321" y="3699567"/>
                  <a:pt x="9170374" y="3699567"/>
                </a:cubicBezTo>
                <a:close/>
                <a:moveTo>
                  <a:pt x="8952728" y="3699567"/>
                </a:moveTo>
                <a:cubicBezTo>
                  <a:pt x="8956988" y="3699567"/>
                  <a:pt x="8960849" y="3700366"/>
                  <a:pt x="8964442" y="3702096"/>
                </a:cubicBezTo>
                <a:cubicBezTo>
                  <a:pt x="8968037" y="3703694"/>
                  <a:pt x="8971231" y="3705824"/>
                  <a:pt x="8973760" y="3708486"/>
                </a:cubicBezTo>
                <a:cubicBezTo>
                  <a:pt x="8976290" y="3711148"/>
                  <a:pt x="8978419" y="3714344"/>
                  <a:pt x="8979884" y="3717937"/>
                </a:cubicBezTo>
                <a:cubicBezTo>
                  <a:pt x="8981348" y="3721532"/>
                  <a:pt x="8982147" y="3725259"/>
                  <a:pt x="8982147" y="3729385"/>
                </a:cubicBezTo>
                <a:cubicBezTo>
                  <a:pt x="8982147" y="3733512"/>
                  <a:pt x="8981348" y="3737506"/>
                  <a:pt x="8979884" y="3741100"/>
                </a:cubicBezTo>
                <a:cubicBezTo>
                  <a:pt x="8978287" y="3744695"/>
                  <a:pt x="8976290" y="3747756"/>
                  <a:pt x="8973760" y="3750419"/>
                </a:cubicBezTo>
                <a:cubicBezTo>
                  <a:pt x="8971098" y="3753081"/>
                  <a:pt x="8968037" y="3755212"/>
                  <a:pt x="8964442" y="3756675"/>
                </a:cubicBezTo>
                <a:cubicBezTo>
                  <a:pt x="8960849" y="3758139"/>
                  <a:pt x="8956988" y="3758938"/>
                  <a:pt x="8952728" y="3758938"/>
                </a:cubicBezTo>
                <a:cubicBezTo>
                  <a:pt x="8943808" y="3758938"/>
                  <a:pt x="8936487" y="3756009"/>
                  <a:pt x="8930896" y="3750419"/>
                </a:cubicBezTo>
                <a:cubicBezTo>
                  <a:pt x="8925305" y="3744695"/>
                  <a:pt x="8922510" y="3737639"/>
                  <a:pt x="8922510" y="3729253"/>
                </a:cubicBezTo>
                <a:cubicBezTo>
                  <a:pt x="8922510" y="3721000"/>
                  <a:pt x="8925305" y="3713944"/>
                  <a:pt x="8930896" y="3708220"/>
                </a:cubicBezTo>
                <a:cubicBezTo>
                  <a:pt x="8936487" y="3702363"/>
                  <a:pt x="8943675" y="3699567"/>
                  <a:pt x="8952728" y="3699567"/>
                </a:cubicBezTo>
                <a:close/>
                <a:moveTo>
                  <a:pt x="8735083" y="3699567"/>
                </a:moveTo>
                <a:cubicBezTo>
                  <a:pt x="8739342" y="3699567"/>
                  <a:pt x="8743203" y="3700366"/>
                  <a:pt x="8746797" y="3702096"/>
                </a:cubicBezTo>
                <a:cubicBezTo>
                  <a:pt x="8750391" y="3703694"/>
                  <a:pt x="8753586" y="3705824"/>
                  <a:pt x="8756115" y="3708486"/>
                </a:cubicBezTo>
                <a:cubicBezTo>
                  <a:pt x="8758644" y="3711148"/>
                  <a:pt x="8760774" y="3714344"/>
                  <a:pt x="8762238" y="3717937"/>
                </a:cubicBezTo>
                <a:cubicBezTo>
                  <a:pt x="8763702" y="3721532"/>
                  <a:pt x="8764502" y="3725259"/>
                  <a:pt x="8764502" y="3729385"/>
                </a:cubicBezTo>
                <a:cubicBezTo>
                  <a:pt x="8764502" y="3733512"/>
                  <a:pt x="8763702" y="3737506"/>
                  <a:pt x="8762238" y="3741100"/>
                </a:cubicBezTo>
                <a:cubicBezTo>
                  <a:pt x="8760641" y="3744695"/>
                  <a:pt x="8758644" y="3747756"/>
                  <a:pt x="8756115" y="3750419"/>
                </a:cubicBezTo>
                <a:cubicBezTo>
                  <a:pt x="8753453" y="3753081"/>
                  <a:pt x="8750391" y="3755212"/>
                  <a:pt x="8746797" y="3756675"/>
                </a:cubicBezTo>
                <a:cubicBezTo>
                  <a:pt x="8743203" y="3758139"/>
                  <a:pt x="8739342" y="3758938"/>
                  <a:pt x="8735083" y="3758938"/>
                </a:cubicBezTo>
                <a:cubicBezTo>
                  <a:pt x="8726030" y="3758938"/>
                  <a:pt x="8718841" y="3756009"/>
                  <a:pt x="8713250" y="3750419"/>
                </a:cubicBezTo>
                <a:cubicBezTo>
                  <a:pt x="8707660" y="3744695"/>
                  <a:pt x="8704864" y="3737639"/>
                  <a:pt x="8704864" y="3729253"/>
                </a:cubicBezTo>
                <a:cubicBezTo>
                  <a:pt x="8704864" y="3721000"/>
                  <a:pt x="8707660" y="3713944"/>
                  <a:pt x="8713250" y="3708220"/>
                </a:cubicBezTo>
                <a:cubicBezTo>
                  <a:pt x="8718841" y="3702363"/>
                  <a:pt x="8726030" y="3699567"/>
                  <a:pt x="8735083" y="3699567"/>
                </a:cubicBezTo>
                <a:close/>
                <a:moveTo>
                  <a:pt x="8517438" y="3699567"/>
                </a:moveTo>
                <a:cubicBezTo>
                  <a:pt x="8521698" y="3699567"/>
                  <a:pt x="8525559" y="3700366"/>
                  <a:pt x="8529152" y="3702096"/>
                </a:cubicBezTo>
                <a:cubicBezTo>
                  <a:pt x="8532880" y="3703694"/>
                  <a:pt x="8535941" y="3705824"/>
                  <a:pt x="8538470" y="3708486"/>
                </a:cubicBezTo>
                <a:cubicBezTo>
                  <a:pt x="8541000" y="3711148"/>
                  <a:pt x="8543130" y="3714344"/>
                  <a:pt x="8544594" y="3717937"/>
                </a:cubicBezTo>
                <a:cubicBezTo>
                  <a:pt x="8546058" y="3721532"/>
                  <a:pt x="8546857" y="3725259"/>
                  <a:pt x="8546857" y="3729385"/>
                </a:cubicBezTo>
                <a:cubicBezTo>
                  <a:pt x="8546857" y="3733512"/>
                  <a:pt x="8546058" y="3737506"/>
                  <a:pt x="8544594" y="3741100"/>
                </a:cubicBezTo>
                <a:cubicBezTo>
                  <a:pt x="8542997" y="3744695"/>
                  <a:pt x="8541000" y="3747756"/>
                  <a:pt x="8538470" y="3750419"/>
                </a:cubicBezTo>
                <a:cubicBezTo>
                  <a:pt x="8535808" y="3753081"/>
                  <a:pt x="8532747" y="3755212"/>
                  <a:pt x="8529152" y="3756675"/>
                </a:cubicBezTo>
                <a:cubicBezTo>
                  <a:pt x="8525559" y="3758139"/>
                  <a:pt x="8521698" y="3758938"/>
                  <a:pt x="8517438" y="3758938"/>
                </a:cubicBezTo>
                <a:cubicBezTo>
                  <a:pt x="8508385" y="3758938"/>
                  <a:pt x="8501197" y="3756009"/>
                  <a:pt x="8495606" y="3750419"/>
                </a:cubicBezTo>
                <a:cubicBezTo>
                  <a:pt x="8490015" y="3744695"/>
                  <a:pt x="8487220" y="3737639"/>
                  <a:pt x="8487220" y="3729253"/>
                </a:cubicBezTo>
                <a:cubicBezTo>
                  <a:pt x="8487220" y="3721000"/>
                  <a:pt x="8490015" y="3713944"/>
                  <a:pt x="8495606" y="3708220"/>
                </a:cubicBezTo>
                <a:cubicBezTo>
                  <a:pt x="8501197" y="3702363"/>
                  <a:pt x="8508385" y="3699567"/>
                  <a:pt x="8517438" y="3699567"/>
                </a:cubicBezTo>
                <a:close/>
                <a:moveTo>
                  <a:pt x="8299793" y="3699567"/>
                </a:moveTo>
                <a:cubicBezTo>
                  <a:pt x="8304052" y="3699567"/>
                  <a:pt x="8308046" y="3700366"/>
                  <a:pt x="8311507" y="3702096"/>
                </a:cubicBezTo>
                <a:cubicBezTo>
                  <a:pt x="8315235" y="3703694"/>
                  <a:pt x="8318296" y="3705824"/>
                  <a:pt x="8320825" y="3708486"/>
                </a:cubicBezTo>
                <a:cubicBezTo>
                  <a:pt x="8323354" y="3711148"/>
                  <a:pt x="8325484" y="3714344"/>
                  <a:pt x="8326948" y="3717937"/>
                </a:cubicBezTo>
                <a:cubicBezTo>
                  <a:pt x="8328413" y="3721532"/>
                  <a:pt x="8329212" y="3725259"/>
                  <a:pt x="8329212" y="3729385"/>
                </a:cubicBezTo>
                <a:cubicBezTo>
                  <a:pt x="8329212" y="3733512"/>
                  <a:pt x="8328413" y="3737506"/>
                  <a:pt x="8326948" y="3741100"/>
                </a:cubicBezTo>
                <a:cubicBezTo>
                  <a:pt x="8325351" y="3744695"/>
                  <a:pt x="8323354" y="3747756"/>
                  <a:pt x="8320825" y="3750419"/>
                </a:cubicBezTo>
                <a:cubicBezTo>
                  <a:pt x="8318163" y="3753081"/>
                  <a:pt x="8315101" y="3755212"/>
                  <a:pt x="8311507" y="3756675"/>
                </a:cubicBezTo>
                <a:cubicBezTo>
                  <a:pt x="8307913" y="3758139"/>
                  <a:pt x="8304052" y="3758938"/>
                  <a:pt x="8299793" y="3758938"/>
                </a:cubicBezTo>
                <a:cubicBezTo>
                  <a:pt x="8290874" y="3758938"/>
                  <a:pt x="8283553" y="3756009"/>
                  <a:pt x="8277960" y="3750419"/>
                </a:cubicBezTo>
                <a:cubicBezTo>
                  <a:pt x="8272370" y="3744695"/>
                  <a:pt x="8269574" y="3737639"/>
                  <a:pt x="8269574" y="3729253"/>
                </a:cubicBezTo>
                <a:cubicBezTo>
                  <a:pt x="8269574" y="3721000"/>
                  <a:pt x="8272370" y="3713944"/>
                  <a:pt x="8277960" y="3708220"/>
                </a:cubicBezTo>
                <a:cubicBezTo>
                  <a:pt x="8283553" y="3702363"/>
                  <a:pt x="8290741" y="3699567"/>
                  <a:pt x="8299793" y="3699567"/>
                </a:cubicBezTo>
                <a:close/>
                <a:moveTo>
                  <a:pt x="8082281" y="3699567"/>
                </a:moveTo>
                <a:cubicBezTo>
                  <a:pt x="8086407" y="3699567"/>
                  <a:pt x="8090401" y="3700366"/>
                  <a:pt x="8094127" y="3702096"/>
                </a:cubicBezTo>
                <a:cubicBezTo>
                  <a:pt x="8097855" y="3703694"/>
                  <a:pt x="8100916" y="3705824"/>
                  <a:pt x="8103446" y="3708486"/>
                </a:cubicBezTo>
                <a:cubicBezTo>
                  <a:pt x="8105975" y="3711148"/>
                  <a:pt x="8108104" y="3714344"/>
                  <a:pt x="8109569" y="3717937"/>
                </a:cubicBezTo>
                <a:cubicBezTo>
                  <a:pt x="8111033" y="3721532"/>
                  <a:pt x="8111832" y="3725259"/>
                  <a:pt x="8111832" y="3729385"/>
                </a:cubicBezTo>
                <a:cubicBezTo>
                  <a:pt x="8111832" y="3733512"/>
                  <a:pt x="8111033" y="3737506"/>
                  <a:pt x="8109569" y="3741100"/>
                </a:cubicBezTo>
                <a:cubicBezTo>
                  <a:pt x="8107972" y="3744695"/>
                  <a:pt x="8105975" y="3747756"/>
                  <a:pt x="8103446" y="3750419"/>
                </a:cubicBezTo>
                <a:cubicBezTo>
                  <a:pt x="8100783" y="3753081"/>
                  <a:pt x="8097722" y="3755212"/>
                  <a:pt x="8094127" y="3756675"/>
                </a:cubicBezTo>
                <a:cubicBezTo>
                  <a:pt x="8090401" y="3758139"/>
                  <a:pt x="8086540" y="3758938"/>
                  <a:pt x="8082281" y="3758938"/>
                </a:cubicBezTo>
                <a:cubicBezTo>
                  <a:pt x="8073361" y="3758938"/>
                  <a:pt x="8066040" y="3756009"/>
                  <a:pt x="8060448" y="3750419"/>
                </a:cubicBezTo>
                <a:cubicBezTo>
                  <a:pt x="8054857" y="3744695"/>
                  <a:pt x="8052062" y="3737639"/>
                  <a:pt x="8052062" y="3729253"/>
                </a:cubicBezTo>
                <a:cubicBezTo>
                  <a:pt x="8052062" y="3721000"/>
                  <a:pt x="8054857" y="3713944"/>
                  <a:pt x="8060448" y="3708220"/>
                </a:cubicBezTo>
                <a:cubicBezTo>
                  <a:pt x="8066040" y="3702363"/>
                  <a:pt x="8073228" y="3699567"/>
                  <a:pt x="8082281" y="3699567"/>
                </a:cubicBezTo>
                <a:close/>
                <a:moveTo>
                  <a:pt x="7864636" y="3699567"/>
                </a:moveTo>
                <a:cubicBezTo>
                  <a:pt x="7868762" y="3699567"/>
                  <a:pt x="7872756" y="3700366"/>
                  <a:pt x="7876483" y="3702096"/>
                </a:cubicBezTo>
                <a:cubicBezTo>
                  <a:pt x="7880210" y="3703694"/>
                  <a:pt x="7883272" y="3705824"/>
                  <a:pt x="7885802" y="3708486"/>
                </a:cubicBezTo>
                <a:cubicBezTo>
                  <a:pt x="7888331" y="3711148"/>
                  <a:pt x="7890460" y="3714344"/>
                  <a:pt x="7891924" y="3717937"/>
                </a:cubicBezTo>
                <a:cubicBezTo>
                  <a:pt x="7893389" y="3721532"/>
                  <a:pt x="7894188" y="3725259"/>
                  <a:pt x="7894188" y="3729385"/>
                </a:cubicBezTo>
                <a:cubicBezTo>
                  <a:pt x="7894188" y="3733512"/>
                  <a:pt x="7893389" y="3737506"/>
                  <a:pt x="7891924" y="3741100"/>
                </a:cubicBezTo>
                <a:cubicBezTo>
                  <a:pt x="7890327" y="3744695"/>
                  <a:pt x="7888331" y="3747756"/>
                  <a:pt x="7885802" y="3750419"/>
                </a:cubicBezTo>
                <a:cubicBezTo>
                  <a:pt x="7883139" y="3753081"/>
                  <a:pt x="7880078" y="3755212"/>
                  <a:pt x="7876483" y="3756675"/>
                </a:cubicBezTo>
                <a:cubicBezTo>
                  <a:pt x="7872756" y="3758139"/>
                  <a:pt x="7868895" y="3758938"/>
                  <a:pt x="7864636" y="3758938"/>
                </a:cubicBezTo>
                <a:cubicBezTo>
                  <a:pt x="7855717" y="3758938"/>
                  <a:pt x="7848396" y="3756009"/>
                  <a:pt x="7842803" y="3750419"/>
                </a:cubicBezTo>
                <a:cubicBezTo>
                  <a:pt x="7837213" y="3744695"/>
                  <a:pt x="7834417" y="3737639"/>
                  <a:pt x="7834417" y="3729253"/>
                </a:cubicBezTo>
                <a:cubicBezTo>
                  <a:pt x="7834417" y="3721000"/>
                  <a:pt x="7837213" y="3713944"/>
                  <a:pt x="7842803" y="3708220"/>
                </a:cubicBezTo>
                <a:cubicBezTo>
                  <a:pt x="7848396" y="3702363"/>
                  <a:pt x="7855584" y="3699567"/>
                  <a:pt x="7864636" y="3699567"/>
                </a:cubicBezTo>
                <a:close/>
                <a:moveTo>
                  <a:pt x="7646991" y="3699567"/>
                </a:moveTo>
                <a:cubicBezTo>
                  <a:pt x="7651250" y="3699567"/>
                  <a:pt x="7655111" y="3700366"/>
                  <a:pt x="7658705" y="3702096"/>
                </a:cubicBezTo>
                <a:cubicBezTo>
                  <a:pt x="7662432" y="3703694"/>
                  <a:pt x="7665493" y="3705824"/>
                  <a:pt x="7668022" y="3708486"/>
                </a:cubicBezTo>
                <a:cubicBezTo>
                  <a:pt x="7670552" y="3711148"/>
                  <a:pt x="7672682" y="3714344"/>
                  <a:pt x="7674146" y="3717937"/>
                </a:cubicBezTo>
                <a:cubicBezTo>
                  <a:pt x="7675610" y="3721532"/>
                  <a:pt x="7676409" y="3725259"/>
                  <a:pt x="7676409" y="3729385"/>
                </a:cubicBezTo>
                <a:cubicBezTo>
                  <a:pt x="7676409" y="3733512"/>
                  <a:pt x="7675610" y="3737506"/>
                  <a:pt x="7674146" y="3741100"/>
                </a:cubicBezTo>
                <a:cubicBezTo>
                  <a:pt x="7672549" y="3744695"/>
                  <a:pt x="7670552" y="3747756"/>
                  <a:pt x="7668022" y="3750419"/>
                </a:cubicBezTo>
                <a:cubicBezTo>
                  <a:pt x="7665361" y="3753081"/>
                  <a:pt x="7662299" y="3755212"/>
                  <a:pt x="7658705" y="3756675"/>
                </a:cubicBezTo>
                <a:cubicBezTo>
                  <a:pt x="7655111" y="3758139"/>
                  <a:pt x="7651250" y="3758938"/>
                  <a:pt x="7646991" y="3758938"/>
                </a:cubicBezTo>
                <a:cubicBezTo>
                  <a:pt x="7638071" y="3758938"/>
                  <a:pt x="7630750" y="3756009"/>
                  <a:pt x="7625158" y="3750419"/>
                </a:cubicBezTo>
                <a:cubicBezTo>
                  <a:pt x="7619568" y="3744695"/>
                  <a:pt x="7616772" y="3737639"/>
                  <a:pt x="7616772" y="3729253"/>
                </a:cubicBezTo>
                <a:cubicBezTo>
                  <a:pt x="7616772" y="3721000"/>
                  <a:pt x="7619568" y="3713944"/>
                  <a:pt x="7625158" y="3708220"/>
                </a:cubicBezTo>
                <a:cubicBezTo>
                  <a:pt x="7630750" y="3702363"/>
                  <a:pt x="7637939" y="3699567"/>
                  <a:pt x="7646991" y="3699567"/>
                </a:cubicBezTo>
                <a:close/>
                <a:moveTo>
                  <a:pt x="7429345" y="3699567"/>
                </a:moveTo>
                <a:cubicBezTo>
                  <a:pt x="7433605" y="3699567"/>
                  <a:pt x="7437466" y="3700366"/>
                  <a:pt x="7441059" y="3702096"/>
                </a:cubicBezTo>
                <a:cubicBezTo>
                  <a:pt x="7444787" y="3703694"/>
                  <a:pt x="7447848" y="3705824"/>
                  <a:pt x="7450377" y="3708486"/>
                </a:cubicBezTo>
                <a:cubicBezTo>
                  <a:pt x="7452907" y="3711148"/>
                  <a:pt x="7455036" y="3714344"/>
                  <a:pt x="7456501" y="3717937"/>
                </a:cubicBezTo>
                <a:cubicBezTo>
                  <a:pt x="7457965" y="3721532"/>
                  <a:pt x="7458764" y="3725259"/>
                  <a:pt x="7458764" y="3729385"/>
                </a:cubicBezTo>
                <a:cubicBezTo>
                  <a:pt x="7458764" y="3733512"/>
                  <a:pt x="7457965" y="3737506"/>
                  <a:pt x="7456501" y="3741100"/>
                </a:cubicBezTo>
                <a:cubicBezTo>
                  <a:pt x="7454904" y="3744695"/>
                  <a:pt x="7452907" y="3747756"/>
                  <a:pt x="7450377" y="3750419"/>
                </a:cubicBezTo>
                <a:cubicBezTo>
                  <a:pt x="7447715" y="3753081"/>
                  <a:pt x="7444654" y="3755212"/>
                  <a:pt x="7441059" y="3756675"/>
                </a:cubicBezTo>
                <a:cubicBezTo>
                  <a:pt x="7437466" y="3758139"/>
                  <a:pt x="7433605" y="3758938"/>
                  <a:pt x="7429345" y="3758938"/>
                </a:cubicBezTo>
                <a:cubicBezTo>
                  <a:pt x="7420426" y="3758938"/>
                  <a:pt x="7413105" y="3756009"/>
                  <a:pt x="7407513" y="3750419"/>
                </a:cubicBezTo>
                <a:cubicBezTo>
                  <a:pt x="7401922" y="3744695"/>
                  <a:pt x="7399127" y="3737639"/>
                  <a:pt x="7399127" y="3729253"/>
                </a:cubicBezTo>
                <a:cubicBezTo>
                  <a:pt x="7399127" y="3721000"/>
                  <a:pt x="7401922" y="3713944"/>
                  <a:pt x="7407513" y="3708220"/>
                </a:cubicBezTo>
                <a:cubicBezTo>
                  <a:pt x="7413105" y="3702363"/>
                  <a:pt x="7420293" y="3699567"/>
                  <a:pt x="7429345" y="3699567"/>
                </a:cubicBezTo>
                <a:close/>
                <a:moveTo>
                  <a:pt x="7211701" y="3699567"/>
                </a:moveTo>
                <a:cubicBezTo>
                  <a:pt x="7215960" y="3699567"/>
                  <a:pt x="7219954" y="3700366"/>
                  <a:pt x="7223415" y="3702096"/>
                </a:cubicBezTo>
                <a:cubicBezTo>
                  <a:pt x="7227142" y="3703694"/>
                  <a:pt x="7230204" y="3705824"/>
                  <a:pt x="7232733" y="3708486"/>
                </a:cubicBezTo>
                <a:cubicBezTo>
                  <a:pt x="7235262" y="3711148"/>
                  <a:pt x="7237392" y="3714344"/>
                  <a:pt x="7238856" y="3717937"/>
                </a:cubicBezTo>
                <a:cubicBezTo>
                  <a:pt x="7240321" y="3721532"/>
                  <a:pt x="7241120" y="3725259"/>
                  <a:pt x="7241120" y="3729385"/>
                </a:cubicBezTo>
                <a:cubicBezTo>
                  <a:pt x="7241120" y="3733512"/>
                  <a:pt x="7240321" y="3737506"/>
                  <a:pt x="7238856" y="3741100"/>
                </a:cubicBezTo>
                <a:cubicBezTo>
                  <a:pt x="7237259" y="3744695"/>
                  <a:pt x="7235262" y="3747756"/>
                  <a:pt x="7232733" y="3750419"/>
                </a:cubicBezTo>
                <a:cubicBezTo>
                  <a:pt x="7230071" y="3753081"/>
                  <a:pt x="7227009" y="3755212"/>
                  <a:pt x="7223415" y="3756675"/>
                </a:cubicBezTo>
                <a:cubicBezTo>
                  <a:pt x="7219821" y="3758139"/>
                  <a:pt x="7215960" y="3758938"/>
                  <a:pt x="7211701" y="3758938"/>
                </a:cubicBezTo>
                <a:cubicBezTo>
                  <a:pt x="7202782" y="3758938"/>
                  <a:pt x="7195460" y="3756009"/>
                  <a:pt x="7189868" y="3750419"/>
                </a:cubicBezTo>
                <a:cubicBezTo>
                  <a:pt x="7184278" y="3744695"/>
                  <a:pt x="7181482" y="3737639"/>
                  <a:pt x="7181482" y="3729253"/>
                </a:cubicBezTo>
                <a:cubicBezTo>
                  <a:pt x="7181482" y="3721000"/>
                  <a:pt x="7184278" y="3713944"/>
                  <a:pt x="7189868" y="3708220"/>
                </a:cubicBezTo>
                <a:cubicBezTo>
                  <a:pt x="7195460" y="3702363"/>
                  <a:pt x="7202649" y="3699567"/>
                  <a:pt x="7211701" y="3699567"/>
                </a:cubicBezTo>
                <a:close/>
                <a:moveTo>
                  <a:pt x="6994056" y="3699567"/>
                </a:moveTo>
                <a:cubicBezTo>
                  <a:pt x="6998315" y="3699567"/>
                  <a:pt x="7002309" y="3700366"/>
                  <a:pt x="7005769" y="3702096"/>
                </a:cubicBezTo>
                <a:cubicBezTo>
                  <a:pt x="7009497" y="3703694"/>
                  <a:pt x="7012558" y="3705824"/>
                  <a:pt x="7015087" y="3708486"/>
                </a:cubicBezTo>
                <a:cubicBezTo>
                  <a:pt x="7017617" y="3711148"/>
                  <a:pt x="7019747" y="3714344"/>
                  <a:pt x="7021211" y="3717937"/>
                </a:cubicBezTo>
                <a:cubicBezTo>
                  <a:pt x="7022675" y="3721532"/>
                  <a:pt x="7023474" y="3725259"/>
                  <a:pt x="7023474" y="3729385"/>
                </a:cubicBezTo>
                <a:cubicBezTo>
                  <a:pt x="7023474" y="3733512"/>
                  <a:pt x="7022675" y="3737506"/>
                  <a:pt x="7021211" y="3741100"/>
                </a:cubicBezTo>
                <a:cubicBezTo>
                  <a:pt x="7019614" y="3744695"/>
                  <a:pt x="7017617" y="3747756"/>
                  <a:pt x="7015087" y="3750419"/>
                </a:cubicBezTo>
                <a:cubicBezTo>
                  <a:pt x="7012425" y="3753081"/>
                  <a:pt x="7009364" y="3755212"/>
                  <a:pt x="7005769" y="3756675"/>
                </a:cubicBezTo>
                <a:cubicBezTo>
                  <a:pt x="7002176" y="3758139"/>
                  <a:pt x="6998315" y="3758938"/>
                  <a:pt x="6994056" y="3758938"/>
                </a:cubicBezTo>
                <a:cubicBezTo>
                  <a:pt x="6985136" y="3758938"/>
                  <a:pt x="6977815" y="3756009"/>
                  <a:pt x="6972223" y="3750419"/>
                </a:cubicBezTo>
                <a:cubicBezTo>
                  <a:pt x="6966632" y="3744695"/>
                  <a:pt x="6963837" y="3737639"/>
                  <a:pt x="6963837" y="3729253"/>
                </a:cubicBezTo>
                <a:cubicBezTo>
                  <a:pt x="6963837" y="3721000"/>
                  <a:pt x="6966632" y="3713944"/>
                  <a:pt x="6972223" y="3708220"/>
                </a:cubicBezTo>
                <a:cubicBezTo>
                  <a:pt x="6977815" y="3702363"/>
                  <a:pt x="6985003" y="3699567"/>
                  <a:pt x="6994056" y="3699567"/>
                </a:cubicBezTo>
                <a:close/>
                <a:moveTo>
                  <a:pt x="6776544" y="3699567"/>
                </a:moveTo>
                <a:cubicBezTo>
                  <a:pt x="6780670" y="3699567"/>
                  <a:pt x="6784664" y="3700366"/>
                  <a:pt x="6788258" y="3702096"/>
                </a:cubicBezTo>
                <a:cubicBezTo>
                  <a:pt x="6791985" y="3703694"/>
                  <a:pt x="6795047" y="3705824"/>
                  <a:pt x="6797576" y="3708486"/>
                </a:cubicBezTo>
                <a:cubicBezTo>
                  <a:pt x="6800105" y="3711148"/>
                  <a:pt x="6802235" y="3714344"/>
                  <a:pt x="6803699" y="3717937"/>
                </a:cubicBezTo>
                <a:cubicBezTo>
                  <a:pt x="6805164" y="3721532"/>
                  <a:pt x="6805963" y="3725259"/>
                  <a:pt x="6805963" y="3729385"/>
                </a:cubicBezTo>
                <a:cubicBezTo>
                  <a:pt x="6805963" y="3733512"/>
                  <a:pt x="6805164" y="3737506"/>
                  <a:pt x="6803699" y="3741100"/>
                </a:cubicBezTo>
                <a:cubicBezTo>
                  <a:pt x="6802102" y="3744695"/>
                  <a:pt x="6800105" y="3747756"/>
                  <a:pt x="6797576" y="3750419"/>
                </a:cubicBezTo>
                <a:cubicBezTo>
                  <a:pt x="6794914" y="3753081"/>
                  <a:pt x="6791852" y="3755212"/>
                  <a:pt x="6788258" y="3756675"/>
                </a:cubicBezTo>
                <a:cubicBezTo>
                  <a:pt x="6784664" y="3758139"/>
                  <a:pt x="6780803" y="3758938"/>
                  <a:pt x="6776544" y="3758938"/>
                </a:cubicBezTo>
                <a:cubicBezTo>
                  <a:pt x="6767625" y="3758938"/>
                  <a:pt x="6760303" y="3756009"/>
                  <a:pt x="6754711" y="3750419"/>
                </a:cubicBezTo>
                <a:cubicBezTo>
                  <a:pt x="6749121" y="3744695"/>
                  <a:pt x="6746325" y="3737639"/>
                  <a:pt x="6746325" y="3729253"/>
                </a:cubicBezTo>
                <a:cubicBezTo>
                  <a:pt x="6746325" y="3721000"/>
                  <a:pt x="6749121" y="3713944"/>
                  <a:pt x="6754711" y="3708220"/>
                </a:cubicBezTo>
                <a:cubicBezTo>
                  <a:pt x="6760303" y="3702363"/>
                  <a:pt x="6767492" y="3699567"/>
                  <a:pt x="6776544" y="3699567"/>
                </a:cubicBezTo>
                <a:close/>
                <a:moveTo>
                  <a:pt x="6558899" y="3699567"/>
                </a:moveTo>
                <a:cubicBezTo>
                  <a:pt x="6563158" y="3699567"/>
                  <a:pt x="6567019" y="3700366"/>
                  <a:pt x="6570612" y="3702096"/>
                </a:cubicBezTo>
                <a:cubicBezTo>
                  <a:pt x="6574340" y="3703694"/>
                  <a:pt x="6577401" y="3705824"/>
                  <a:pt x="6579930" y="3708486"/>
                </a:cubicBezTo>
                <a:cubicBezTo>
                  <a:pt x="6582460" y="3711148"/>
                  <a:pt x="6584590" y="3714344"/>
                  <a:pt x="6586054" y="3717937"/>
                </a:cubicBezTo>
                <a:cubicBezTo>
                  <a:pt x="6587518" y="3721532"/>
                  <a:pt x="6588317" y="3725259"/>
                  <a:pt x="6588317" y="3729385"/>
                </a:cubicBezTo>
                <a:cubicBezTo>
                  <a:pt x="6588317" y="3733512"/>
                  <a:pt x="6587518" y="3737506"/>
                  <a:pt x="6586054" y="3741100"/>
                </a:cubicBezTo>
                <a:cubicBezTo>
                  <a:pt x="6584457" y="3744695"/>
                  <a:pt x="6582460" y="3747756"/>
                  <a:pt x="6579930" y="3750419"/>
                </a:cubicBezTo>
                <a:cubicBezTo>
                  <a:pt x="6577268" y="3753081"/>
                  <a:pt x="6574207" y="3755212"/>
                  <a:pt x="6570612" y="3756675"/>
                </a:cubicBezTo>
                <a:cubicBezTo>
                  <a:pt x="6567019" y="3758139"/>
                  <a:pt x="6563158" y="3758938"/>
                  <a:pt x="6558899" y="3758938"/>
                </a:cubicBezTo>
                <a:cubicBezTo>
                  <a:pt x="6549979" y="3758938"/>
                  <a:pt x="6542658" y="3756009"/>
                  <a:pt x="6537066" y="3750419"/>
                </a:cubicBezTo>
                <a:cubicBezTo>
                  <a:pt x="6531476" y="3744695"/>
                  <a:pt x="6528680" y="3737639"/>
                  <a:pt x="6528680" y="3729253"/>
                </a:cubicBezTo>
                <a:cubicBezTo>
                  <a:pt x="6528680" y="3721000"/>
                  <a:pt x="6531476" y="3713944"/>
                  <a:pt x="6537066" y="3708220"/>
                </a:cubicBezTo>
                <a:cubicBezTo>
                  <a:pt x="6542658" y="3702363"/>
                  <a:pt x="6549846" y="3699567"/>
                  <a:pt x="6558899" y="3699567"/>
                </a:cubicBezTo>
                <a:close/>
                <a:moveTo>
                  <a:pt x="6341253" y="3699567"/>
                </a:moveTo>
                <a:cubicBezTo>
                  <a:pt x="6345513" y="3699567"/>
                  <a:pt x="6349373" y="3700366"/>
                  <a:pt x="6352968" y="3702096"/>
                </a:cubicBezTo>
                <a:cubicBezTo>
                  <a:pt x="6356695" y="3703694"/>
                  <a:pt x="6359757" y="3705824"/>
                  <a:pt x="6362286" y="3708486"/>
                </a:cubicBezTo>
                <a:cubicBezTo>
                  <a:pt x="6364815" y="3711148"/>
                  <a:pt x="6366945" y="3714344"/>
                  <a:pt x="6368409" y="3717937"/>
                </a:cubicBezTo>
                <a:cubicBezTo>
                  <a:pt x="6369874" y="3721532"/>
                  <a:pt x="6370672" y="3725259"/>
                  <a:pt x="6370672" y="3729385"/>
                </a:cubicBezTo>
                <a:cubicBezTo>
                  <a:pt x="6370672" y="3733512"/>
                  <a:pt x="6369874" y="3737506"/>
                  <a:pt x="6368409" y="3741100"/>
                </a:cubicBezTo>
                <a:cubicBezTo>
                  <a:pt x="6366811" y="3744695"/>
                  <a:pt x="6364815" y="3747756"/>
                  <a:pt x="6362286" y="3750419"/>
                </a:cubicBezTo>
                <a:cubicBezTo>
                  <a:pt x="6359623" y="3753081"/>
                  <a:pt x="6356562" y="3755212"/>
                  <a:pt x="6352968" y="3756675"/>
                </a:cubicBezTo>
                <a:cubicBezTo>
                  <a:pt x="6349373" y="3758139"/>
                  <a:pt x="6345513" y="3758938"/>
                  <a:pt x="6341253" y="3758938"/>
                </a:cubicBezTo>
                <a:cubicBezTo>
                  <a:pt x="6332335" y="3758938"/>
                  <a:pt x="6325013" y="3756009"/>
                  <a:pt x="6319421" y="3750419"/>
                </a:cubicBezTo>
                <a:cubicBezTo>
                  <a:pt x="6313830" y="3744695"/>
                  <a:pt x="6311035" y="3737639"/>
                  <a:pt x="6311035" y="3729253"/>
                </a:cubicBezTo>
                <a:cubicBezTo>
                  <a:pt x="6311035" y="3721000"/>
                  <a:pt x="6313830" y="3713944"/>
                  <a:pt x="6319421" y="3708220"/>
                </a:cubicBezTo>
                <a:cubicBezTo>
                  <a:pt x="6325013" y="3702363"/>
                  <a:pt x="6332201" y="3699567"/>
                  <a:pt x="6341253" y="3699567"/>
                </a:cubicBezTo>
                <a:close/>
                <a:moveTo>
                  <a:pt x="6123608" y="3699567"/>
                </a:moveTo>
                <a:cubicBezTo>
                  <a:pt x="6127867" y="3699567"/>
                  <a:pt x="6131728" y="3700366"/>
                  <a:pt x="6135322" y="3702096"/>
                </a:cubicBezTo>
                <a:cubicBezTo>
                  <a:pt x="6139049" y="3703694"/>
                  <a:pt x="6142111" y="3705824"/>
                  <a:pt x="6144640" y="3708486"/>
                </a:cubicBezTo>
                <a:cubicBezTo>
                  <a:pt x="6147169" y="3711148"/>
                  <a:pt x="6149299" y="3714344"/>
                  <a:pt x="6150763" y="3717937"/>
                </a:cubicBezTo>
                <a:cubicBezTo>
                  <a:pt x="6152228" y="3721532"/>
                  <a:pt x="6153026" y="3725259"/>
                  <a:pt x="6153026" y="3729385"/>
                </a:cubicBezTo>
                <a:cubicBezTo>
                  <a:pt x="6153026" y="3733512"/>
                  <a:pt x="6152228" y="3737506"/>
                  <a:pt x="6150763" y="3741100"/>
                </a:cubicBezTo>
                <a:cubicBezTo>
                  <a:pt x="6149299" y="3744695"/>
                  <a:pt x="6147169" y="3747756"/>
                  <a:pt x="6144640" y="3750419"/>
                </a:cubicBezTo>
                <a:cubicBezTo>
                  <a:pt x="6141977" y="3753081"/>
                  <a:pt x="6138916" y="3755212"/>
                  <a:pt x="6135322" y="3756675"/>
                </a:cubicBezTo>
                <a:cubicBezTo>
                  <a:pt x="6131728" y="3758139"/>
                  <a:pt x="6127867" y="3758938"/>
                  <a:pt x="6123608" y="3758938"/>
                </a:cubicBezTo>
                <a:cubicBezTo>
                  <a:pt x="6114689" y="3758938"/>
                  <a:pt x="6107367" y="3756009"/>
                  <a:pt x="6101775" y="3750419"/>
                </a:cubicBezTo>
                <a:cubicBezTo>
                  <a:pt x="6096184" y="3744695"/>
                  <a:pt x="6093389" y="3737639"/>
                  <a:pt x="6093389" y="3729253"/>
                </a:cubicBezTo>
                <a:cubicBezTo>
                  <a:pt x="6093389" y="3721000"/>
                  <a:pt x="6096184" y="3713944"/>
                  <a:pt x="6101775" y="3708220"/>
                </a:cubicBezTo>
                <a:cubicBezTo>
                  <a:pt x="6107367" y="3702363"/>
                  <a:pt x="6114555" y="3699567"/>
                  <a:pt x="6123608" y="3699567"/>
                </a:cubicBezTo>
                <a:close/>
                <a:moveTo>
                  <a:pt x="5905963" y="3699567"/>
                </a:moveTo>
                <a:cubicBezTo>
                  <a:pt x="5910222" y="3699567"/>
                  <a:pt x="5914216" y="3700366"/>
                  <a:pt x="5917677" y="3702096"/>
                </a:cubicBezTo>
                <a:cubicBezTo>
                  <a:pt x="5921404" y="3703694"/>
                  <a:pt x="5924466" y="3705824"/>
                  <a:pt x="5926995" y="3708486"/>
                </a:cubicBezTo>
                <a:cubicBezTo>
                  <a:pt x="5929524" y="3711148"/>
                  <a:pt x="5931654" y="3714344"/>
                  <a:pt x="5933118" y="3717937"/>
                </a:cubicBezTo>
                <a:cubicBezTo>
                  <a:pt x="5934583" y="3721532"/>
                  <a:pt x="5935381" y="3725259"/>
                  <a:pt x="5935381" y="3729385"/>
                </a:cubicBezTo>
                <a:cubicBezTo>
                  <a:pt x="5935381" y="3733512"/>
                  <a:pt x="5934583" y="3737506"/>
                  <a:pt x="5933118" y="3741100"/>
                </a:cubicBezTo>
                <a:cubicBezTo>
                  <a:pt x="5931654" y="3744695"/>
                  <a:pt x="5929524" y="3747756"/>
                  <a:pt x="5926995" y="3750419"/>
                </a:cubicBezTo>
                <a:cubicBezTo>
                  <a:pt x="5924333" y="3753081"/>
                  <a:pt x="5921271" y="3755212"/>
                  <a:pt x="5917677" y="3756675"/>
                </a:cubicBezTo>
                <a:cubicBezTo>
                  <a:pt x="5914083" y="3758139"/>
                  <a:pt x="5910222" y="3758938"/>
                  <a:pt x="5905963" y="3758938"/>
                </a:cubicBezTo>
                <a:cubicBezTo>
                  <a:pt x="5897044" y="3758938"/>
                  <a:pt x="5889722" y="3756009"/>
                  <a:pt x="5884130" y="3750419"/>
                </a:cubicBezTo>
                <a:cubicBezTo>
                  <a:pt x="5878540" y="3744695"/>
                  <a:pt x="5875744" y="3737639"/>
                  <a:pt x="5875744" y="3729253"/>
                </a:cubicBezTo>
                <a:cubicBezTo>
                  <a:pt x="5875744" y="3721000"/>
                  <a:pt x="5878540" y="3713944"/>
                  <a:pt x="5884130" y="3708220"/>
                </a:cubicBezTo>
                <a:cubicBezTo>
                  <a:pt x="5889722" y="3702363"/>
                  <a:pt x="5896910" y="3699567"/>
                  <a:pt x="5905963" y="3699567"/>
                </a:cubicBezTo>
                <a:close/>
                <a:moveTo>
                  <a:pt x="5688451" y="3699567"/>
                </a:moveTo>
                <a:cubicBezTo>
                  <a:pt x="5692577" y="3699567"/>
                  <a:pt x="5696571" y="3700366"/>
                  <a:pt x="5700165" y="3702096"/>
                </a:cubicBezTo>
                <a:cubicBezTo>
                  <a:pt x="5703892" y="3703694"/>
                  <a:pt x="5706954" y="3705824"/>
                  <a:pt x="5709483" y="3708486"/>
                </a:cubicBezTo>
                <a:cubicBezTo>
                  <a:pt x="5712012" y="3711148"/>
                  <a:pt x="5714142" y="3714344"/>
                  <a:pt x="5715606" y="3717937"/>
                </a:cubicBezTo>
                <a:cubicBezTo>
                  <a:pt x="5717071" y="3721532"/>
                  <a:pt x="5717869" y="3725259"/>
                  <a:pt x="5717869" y="3729385"/>
                </a:cubicBezTo>
                <a:cubicBezTo>
                  <a:pt x="5717869" y="3733512"/>
                  <a:pt x="5717071" y="3737506"/>
                  <a:pt x="5715606" y="3741100"/>
                </a:cubicBezTo>
                <a:cubicBezTo>
                  <a:pt x="5714142" y="3744695"/>
                  <a:pt x="5712012" y="3747756"/>
                  <a:pt x="5709483" y="3750419"/>
                </a:cubicBezTo>
                <a:cubicBezTo>
                  <a:pt x="5706820" y="3753081"/>
                  <a:pt x="5703759" y="3755212"/>
                  <a:pt x="5700165" y="3756675"/>
                </a:cubicBezTo>
                <a:cubicBezTo>
                  <a:pt x="5696571" y="3758139"/>
                  <a:pt x="5692710" y="3758938"/>
                  <a:pt x="5688451" y="3758938"/>
                </a:cubicBezTo>
                <a:cubicBezTo>
                  <a:pt x="5679532" y="3758938"/>
                  <a:pt x="5672210" y="3756009"/>
                  <a:pt x="5666618" y="3750419"/>
                </a:cubicBezTo>
                <a:cubicBezTo>
                  <a:pt x="5661028" y="3744695"/>
                  <a:pt x="5658232" y="3737639"/>
                  <a:pt x="5658232" y="3729253"/>
                </a:cubicBezTo>
                <a:cubicBezTo>
                  <a:pt x="5658232" y="3721000"/>
                  <a:pt x="5661028" y="3713944"/>
                  <a:pt x="5666618" y="3708220"/>
                </a:cubicBezTo>
                <a:cubicBezTo>
                  <a:pt x="5672210" y="3702363"/>
                  <a:pt x="5679398" y="3699567"/>
                  <a:pt x="5688451" y="3699567"/>
                </a:cubicBezTo>
                <a:close/>
                <a:moveTo>
                  <a:pt x="5470806" y="3699567"/>
                </a:moveTo>
                <a:cubicBezTo>
                  <a:pt x="5475065" y="3699567"/>
                  <a:pt x="5478926" y="3700366"/>
                  <a:pt x="5482520" y="3702096"/>
                </a:cubicBezTo>
                <a:cubicBezTo>
                  <a:pt x="5486247" y="3703694"/>
                  <a:pt x="5489309" y="3705824"/>
                  <a:pt x="5491838" y="3708486"/>
                </a:cubicBezTo>
                <a:cubicBezTo>
                  <a:pt x="5494367" y="3711148"/>
                  <a:pt x="5496497" y="3714344"/>
                  <a:pt x="5497961" y="3717937"/>
                </a:cubicBezTo>
                <a:cubicBezTo>
                  <a:pt x="5499426" y="3721532"/>
                  <a:pt x="5500224" y="3725259"/>
                  <a:pt x="5500224" y="3729385"/>
                </a:cubicBezTo>
                <a:cubicBezTo>
                  <a:pt x="5500224" y="3733512"/>
                  <a:pt x="5499426" y="3737506"/>
                  <a:pt x="5497961" y="3741100"/>
                </a:cubicBezTo>
                <a:cubicBezTo>
                  <a:pt x="5496497" y="3744695"/>
                  <a:pt x="5494367" y="3747756"/>
                  <a:pt x="5491838" y="3750419"/>
                </a:cubicBezTo>
                <a:cubicBezTo>
                  <a:pt x="5489176" y="3753081"/>
                  <a:pt x="5486114" y="3755212"/>
                  <a:pt x="5482520" y="3756675"/>
                </a:cubicBezTo>
                <a:cubicBezTo>
                  <a:pt x="5478926" y="3758139"/>
                  <a:pt x="5475065" y="3758938"/>
                  <a:pt x="5470806" y="3758938"/>
                </a:cubicBezTo>
                <a:cubicBezTo>
                  <a:pt x="5461887" y="3758938"/>
                  <a:pt x="5454565" y="3756009"/>
                  <a:pt x="5448973" y="3750419"/>
                </a:cubicBezTo>
                <a:cubicBezTo>
                  <a:pt x="5443383" y="3744695"/>
                  <a:pt x="5440587" y="3737639"/>
                  <a:pt x="5440587" y="3729253"/>
                </a:cubicBezTo>
                <a:cubicBezTo>
                  <a:pt x="5440587" y="3721000"/>
                  <a:pt x="5443383" y="3713944"/>
                  <a:pt x="5448973" y="3708220"/>
                </a:cubicBezTo>
                <a:cubicBezTo>
                  <a:pt x="5454565" y="3702363"/>
                  <a:pt x="5461754" y="3699567"/>
                  <a:pt x="5470806" y="3699567"/>
                </a:cubicBezTo>
                <a:close/>
                <a:moveTo>
                  <a:pt x="5253160" y="3699567"/>
                </a:moveTo>
                <a:cubicBezTo>
                  <a:pt x="5257420" y="3699567"/>
                  <a:pt x="5261280" y="3700366"/>
                  <a:pt x="5264875" y="3702096"/>
                </a:cubicBezTo>
                <a:cubicBezTo>
                  <a:pt x="5268602" y="3703694"/>
                  <a:pt x="5271664" y="3705824"/>
                  <a:pt x="5274192" y="3708486"/>
                </a:cubicBezTo>
                <a:cubicBezTo>
                  <a:pt x="5276722" y="3711148"/>
                  <a:pt x="5278852" y="3714344"/>
                  <a:pt x="5280316" y="3717937"/>
                </a:cubicBezTo>
                <a:cubicBezTo>
                  <a:pt x="5281780" y="3721532"/>
                  <a:pt x="5282579" y="3725259"/>
                  <a:pt x="5282579" y="3729385"/>
                </a:cubicBezTo>
                <a:cubicBezTo>
                  <a:pt x="5282579" y="3733512"/>
                  <a:pt x="5281780" y="3737506"/>
                  <a:pt x="5280316" y="3741100"/>
                </a:cubicBezTo>
                <a:cubicBezTo>
                  <a:pt x="5278852" y="3744695"/>
                  <a:pt x="5276722" y="3747756"/>
                  <a:pt x="5274192" y="3750419"/>
                </a:cubicBezTo>
                <a:cubicBezTo>
                  <a:pt x="5271664" y="3753081"/>
                  <a:pt x="5268469" y="3755212"/>
                  <a:pt x="5264875" y="3756675"/>
                </a:cubicBezTo>
                <a:cubicBezTo>
                  <a:pt x="5261280" y="3758139"/>
                  <a:pt x="5257420" y="3758938"/>
                  <a:pt x="5253160" y="3758938"/>
                </a:cubicBezTo>
                <a:cubicBezTo>
                  <a:pt x="5244241" y="3758938"/>
                  <a:pt x="5236920" y="3756009"/>
                  <a:pt x="5231328" y="3750419"/>
                </a:cubicBezTo>
                <a:cubicBezTo>
                  <a:pt x="5225737" y="3744695"/>
                  <a:pt x="5222942" y="3737639"/>
                  <a:pt x="5222942" y="3729253"/>
                </a:cubicBezTo>
                <a:cubicBezTo>
                  <a:pt x="5222942" y="3721000"/>
                  <a:pt x="5225737" y="3713944"/>
                  <a:pt x="5231328" y="3708220"/>
                </a:cubicBezTo>
                <a:cubicBezTo>
                  <a:pt x="5236920" y="3702363"/>
                  <a:pt x="5244108" y="3699567"/>
                  <a:pt x="5253160" y="3699567"/>
                </a:cubicBezTo>
                <a:close/>
                <a:moveTo>
                  <a:pt x="5035515" y="3699567"/>
                </a:moveTo>
                <a:cubicBezTo>
                  <a:pt x="5039775" y="3699567"/>
                  <a:pt x="5043636" y="3700366"/>
                  <a:pt x="5047230" y="3702096"/>
                </a:cubicBezTo>
                <a:cubicBezTo>
                  <a:pt x="5050957" y="3703694"/>
                  <a:pt x="5054019" y="3705824"/>
                  <a:pt x="5056548" y="3708486"/>
                </a:cubicBezTo>
                <a:cubicBezTo>
                  <a:pt x="5059077" y="3711148"/>
                  <a:pt x="5061207" y="3714344"/>
                  <a:pt x="5062671" y="3717937"/>
                </a:cubicBezTo>
                <a:cubicBezTo>
                  <a:pt x="5064135" y="3721532"/>
                  <a:pt x="5064934" y="3725259"/>
                  <a:pt x="5064934" y="3729385"/>
                </a:cubicBezTo>
                <a:cubicBezTo>
                  <a:pt x="5064934" y="3733512"/>
                  <a:pt x="5064135" y="3737506"/>
                  <a:pt x="5062671" y="3741100"/>
                </a:cubicBezTo>
                <a:cubicBezTo>
                  <a:pt x="5061207" y="3744695"/>
                  <a:pt x="5059077" y="3747756"/>
                  <a:pt x="5056548" y="3750419"/>
                </a:cubicBezTo>
                <a:cubicBezTo>
                  <a:pt x="5053885" y="3753081"/>
                  <a:pt x="5050824" y="3755212"/>
                  <a:pt x="5047230" y="3756675"/>
                </a:cubicBezTo>
                <a:cubicBezTo>
                  <a:pt x="5043636" y="3758139"/>
                  <a:pt x="5039775" y="3758938"/>
                  <a:pt x="5035515" y="3758938"/>
                </a:cubicBezTo>
                <a:cubicBezTo>
                  <a:pt x="5026597" y="3758938"/>
                  <a:pt x="5019275" y="3756009"/>
                  <a:pt x="5013683" y="3750419"/>
                </a:cubicBezTo>
                <a:cubicBezTo>
                  <a:pt x="5008092" y="3744695"/>
                  <a:pt x="5005297" y="3737639"/>
                  <a:pt x="5005297" y="3729253"/>
                </a:cubicBezTo>
                <a:cubicBezTo>
                  <a:pt x="5005297" y="3721000"/>
                  <a:pt x="5008092" y="3713944"/>
                  <a:pt x="5013683" y="3708220"/>
                </a:cubicBezTo>
                <a:cubicBezTo>
                  <a:pt x="5019275" y="3702363"/>
                  <a:pt x="5026463" y="3699567"/>
                  <a:pt x="5035515" y="3699567"/>
                </a:cubicBezTo>
                <a:close/>
                <a:moveTo>
                  <a:pt x="4817870" y="3699567"/>
                </a:moveTo>
                <a:cubicBezTo>
                  <a:pt x="4822130" y="3699567"/>
                  <a:pt x="4826124" y="3700366"/>
                  <a:pt x="4829585" y="3702096"/>
                </a:cubicBezTo>
                <a:cubicBezTo>
                  <a:pt x="4833312" y="3703694"/>
                  <a:pt x="4836374" y="3705824"/>
                  <a:pt x="4838903" y="3708486"/>
                </a:cubicBezTo>
                <a:cubicBezTo>
                  <a:pt x="4841432" y="3711148"/>
                  <a:pt x="4843562" y="3714344"/>
                  <a:pt x="4845026" y="3717937"/>
                </a:cubicBezTo>
                <a:cubicBezTo>
                  <a:pt x="4846491" y="3721532"/>
                  <a:pt x="4847289" y="3725259"/>
                  <a:pt x="4847289" y="3729385"/>
                </a:cubicBezTo>
                <a:cubicBezTo>
                  <a:pt x="4847289" y="3733512"/>
                  <a:pt x="4846491" y="3737506"/>
                  <a:pt x="4845026" y="3741100"/>
                </a:cubicBezTo>
                <a:cubicBezTo>
                  <a:pt x="4843562" y="3744695"/>
                  <a:pt x="4841432" y="3747756"/>
                  <a:pt x="4838903" y="3750419"/>
                </a:cubicBezTo>
                <a:cubicBezTo>
                  <a:pt x="4836240" y="3753081"/>
                  <a:pt x="4833179" y="3755212"/>
                  <a:pt x="4829585" y="3756675"/>
                </a:cubicBezTo>
                <a:cubicBezTo>
                  <a:pt x="4825991" y="3758139"/>
                  <a:pt x="4822130" y="3758938"/>
                  <a:pt x="4817870" y="3758938"/>
                </a:cubicBezTo>
                <a:cubicBezTo>
                  <a:pt x="4808952" y="3758938"/>
                  <a:pt x="4801630" y="3756009"/>
                  <a:pt x="4796038" y="3750419"/>
                </a:cubicBezTo>
                <a:cubicBezTo>
                  <a:pt x="4790447" y="3744695"/>
                  <a:pt x="4787652" y="3737639"/>
                  <a:pt x="4787652" y="3729253"/>
                </a:cubicBezTo>
                <a:cubicBezTo>
                  <a:pt x="4787652" y="3721000"/>
                  <a:pt x="4790447" y="3713944"/>
                  <a:pt x="4796038" y="3708220"/>
                </a:cubicBezTo>
                <a:cubicBezTo>
                  <a:pt x="4801630" y="3702363"/>
                  <a:pt x="4808818" y="3699567"/>
                  <a:pt x="4817870" y="3699567"/>
                </a:cubicBezTo>
                <a:close/>
                <a:moveTo>
                  <a:pt x="4600226" y="3699567"/>
                </a:moveTo>
                <a:cubicBezTo>
                  <a:pt x="4604485" y="3699567"/>
                  <a:pt x="4608479" y="3700366"/>
                  <a:pt x="4612073" y="3702096"/>
                </a:cubicBezTo>
                <a:cubicBezTo>
                  <a:pt x="4615800" y="3703694"/>
                  <a:pt x="4618862" y="3705824"/>
                  <a:pt x="4621391" y="3708486"/>
                </a:cubicBezTo>
                <a:cubicBezTo>
                  <a:pt x="4623920" y="3711148"/>
                  <a:pt x="4626050" y="3714344"/>
                  <a:pt x="4627514" y="3717937"/>
                </a:cubicBezTo>
                <a:cubicBezTo>
                  <a:pt x="4628978" y="3721532"/>
                  <a:pt x="4629777" y="3725259"/>
                  <a:pt x="4629777" y="3729385"/>
                </a:cubicBezTo>
                <a:cubicBezTo>
                  <a:pt x="4629777" y="3733512"/>
                  <a:pt x="4628978" y="3737506"/>
                  <a:pt x="4627514" y="3741100"/>
                </a:cubicBezTo>
                <a:cubicBezTo>
                  <a:pt x="4626050" y="3744695"/>
                  <a:pt x="4623920" y="3747756"/>
                  <a:pt x="4621391" y="3750419"/>
                </a:cubicBezTo>
                <a:cubicBezTo>
                  <a:pt x="4618729" y="3753081"/>
                  <a:pt x="4615667" y="3755212"/>
                  <a:pt x="4612073" y="3756675"/>
                </a:cubicBezTo>
                <a:cubicBezTo>
                  <a:pt x="4608346" y="3758139"/>
                  <a:pt x="4604485" y="3758938"/>
                  <a:pt x="4600226" y="3758938"/>
                </a:cubicBezTo>
                <a:cubicBezTo>
                  <a:pt x="4591173" y="3758938"/>
                  <a:pt x="4583985" y="3756009"/>
                  <a:pt x="4578393" y="3750419"/>
                </a:cubicBezTo>
                <a:cubicBezTo>
                  <a:pt x="4572803" y="3744695"/>
                  <a:pt x="4570007" y="3737639"/>
                  <a:pt x="4570007" y="3729253"/>
                </a:cubicBezTo>
                <a:cubicBezTo>
                  <a:pt x="4570007" y="3721000"/>
                  <a:pt x="4572803" y="3713944"/>
                  <a:pt x="4578393" y="3708220"/>
                </a:cubicBezTo>
                <a:cubicBezTo>
                  <a:pt x="4583985" y="3702363"/>
                  <a:pt x="4591173" y="3699567"/>
                  <a:pt x="4600226" y="3699567"/>
                </a:cubicBezTo>
                <a:close/>
                <a:moveTo>
                  <a:pt x="4382713" y="3699567"/>
                </a:moveTo>
                <a:cubicBezTo>
                  <a:pt x="4386840" y="3699567"/>
                  <a:pt x="4390834" y="3700366"/>
                  <a:pt x="4394428" y="3702096"/>
                </a:cubicBezTo>
                <a:cubicBezTo>
                  <a:pt x="4398155" y="3703694"/>
                  <a:pt x="4401217" y="3705824"/>
                  <a:pt x="4403746" y="3708486"/>
                </a:cubicBezTo>
                <a:cubicBezTo>
                  <a:pt x="4406275" y="3711148"/>
                  <a:pt x="4408405" y="3714344"/>
                  <a:pt x="4409869" y="3717937"/>
                </a:cubicBezTo>
                <a:cubicBezTo>
                  <a:pt x="4411334" y="3721532"/>
                  <a:pt x="4412132" y="3725259"/>
                  <a:pt x="4412132" y="3729385"/>
                </a:cubicBezTo>
                <a:cubicBezTo>
                  <a:pt x="4412132" y="3733512"/>
                  <a:pt x="4411334" y="3737506"/>
                  <a:pt x="4409869" y="3741100"/>
                </a:cubicBezTo>
                <a:cubicBezTo>
                  <a:pt x="4408405" y="3744695"/>
                  <a:pt x="4406275" y="3747756"/>
                  <a:pt x="4403746" y="3750419"/>
                </a:cubicBezTo>
                <a:cubicBezTo>
                  <a:pt x="4401083" y="3753081"/>
                  <a:pt x="4398022" y="3755212"/>
                  <a:pt x="4394428" y="3756675"/>
                </a:cubicBezTo>
                <a:cubicBezTo>
                  <a:pt x="4390834" y="3758139"/>
                  <a:pt x="4386973" y="3758938"/>
                  <a:pt x="4382713" y="3758938"/>
                </a:cubicBezTo>
                <a:cubicBezTo>
                  <a:pt x="4373661" y="3758938"/>
                  <a:pt x="4366473" y="3756009"/>
                  <a:pt x="4360881" y="3750419"/>
                </a:cubicBezTo>
                <a:cubicBezTo>
                  <a:pt x="4355290" y="3744695"/>
                  <a:pt x="4352495" y="3737639"/>
                  <a:pt x="4352495" y="3729253"/>
                </a:cubicBezTo>
                <a:cubicBezTo>
                  <a:pt x="4352495" y="3721000"/>
                  <a:pt x="4355290" y="3713944"/>
                  <a:pt x="4360881" y="3708220"/>
                </a:cubicBezTo>
                <a:cubicBezTo>
                  <a:pt x="4366473" y="3702363"/>
                  <a:pt x="4373661" y="3699567"/>
                  <a:pt x="4382713" y="3699567"/>
                </a:cubicBezTo>
                <a:close/>
                <a:moveTo>
                  <a:pt x="4165068" y="3699567"/>
                </a:moveTo>
                <a:cubicBezTo>
                  <a:pt x="4169327" y="3699567"/>
                  <a:pt x="4173188" y="3700366"/>
                  <a:pt x="4176782" y="3702096"/>
                </a:cubicBezTo>
                <a:cubicBezTo>
                  <a:pt x="4180509" y="3703694"/>
                  <a:pt x="4183571" y="3705824"/>
                  <a:pt x="4186100" y="3708486"/>
                </a:cubicBezTo>
                <a:cubicBezTo>
                  <a:pt x="4188629" y="3711148"/>
                  <a:pt x="4190759" y="3714344"/>
                  <a:pt x="4192223" y="3717937"/>
                </a:cubicBezTo>
                <a:cubicBezTo>
                  <a:pt x="4193688" y="3721532"/>
                  <a:pt x="4194486" y="3725259"/>
                  <a:pt x="4194486" y="3729385"/>
                </a:cubicBezTo>
                <a:cubicBezTo>
                  <a:pt x="4194486" y="3733512"/>
                  <a:pt x="4193688" y="3737506"/>
                  <a:pt x="4192223" y="3741100"/>
                </a:cubicBezTo>
                <a:cubicBezTo>
                  <a:pt x="4190759" y="3744695"/>
                  <a:pt x="4188629" y="3747756"/>
                  <a:pt x="4186100" y="3750419"/>
                </a:cubicBezTo>
                <a:cubicBezTo>
                  <a:pt x="4183438" y="3753081"/>
                  <a:pt x="4180376" y="3755212"/>
                  <a:pt x="4176782" y="3756675"/>
                </a:cubicBezTo>
                <a:cubicBezTo>
                  <a:pt x="4173188" y="3758139"/>
                  <a:pt x="4169327" y="3758938"/>
                  <a:pt x="4165068" y="3758938"/>
                </a:cubicBezTo>
                <a:cubicBezTo>
                  <a:pt x="4156015" y="3758938"/>
                  <a:pt x="4148827" y="3756009"/>
                  <a:pt x="4143235" y="3750419"/>
                </a:cubicBezTo>
                <a:cubicBezTo>
                  <a:pt x="4137645" y="3744695"/>
                  <a:pt x="4134849" y="3737639"/>
                  <a:pt x="4134849" y="3729253"/>
                </a:cubicBezTo>
                <a:cubicBezTo>
                  <a:pt x="4134849" y="3721000"/>
                  <a:pt x="4137645" y="3713944"/>
                  <a:pt x="4143235" y="3708220"/>
                </a:cubicBezTo>
                <a:cubicBezTo>
                  <a:pt x="4148827" y="3702363"/>
                  <a:pt x="4156015" y="3699567"/>
                  <a:pt x="4165068" y="3699567"/>
                </a:cubicBezTo>
                <a:close/>
                <a:moveTo>
                  <a:pt x="3947628" y="3699567"/>
                </a:moveTo>
                <a:cubicBezTo>
                  <a:pt x="3951890" y="3699567"/>
                  <a:pt x="3955749" y="3700366"/>
                  <a:pt x="3959345" y="3702096"/>
                </a:cubicBezTo>
                <a:cubicBezTo>
                  <a:pt x="3963073" y="3703694"/>
                  <a:pt x="3966134" y="3705824"/>
                  <a:pt x="3968663" y="3708486"/>
                </a:cubicBezTo>
                <a:cubicBezTo>
                  <a:pt x="3971193" y="3711148"/>
                  <a:pt x="3973323" y="3714344"/>
                  <a:pt x="3974787" y="3717937"/>
                </a:cubicBezTo>
                <a:cubicBezTo>
                  <a:pt x="3976251" y="3721532"/>
                  <a:pt x="3977050" y="3725259"/>
                  <a:pt x="3977050" y="3729385"/>
                </a:cubicBezTo>
                <a:cubicBezTo>
                  <a:pt x="3977050" y="3733512"/>
                  <a:pt x="3976251" y="3737506"/>
                  <a:pt x="3974787" y="3741100"/>
                </a:cubicBezTo>
                <a:cubicBezTo>
                  <a:pt x="3973323" y="3744695"/>
                  <a:pt x="3971193" y="3747756"/>
                  <a:pt x="3968663" y="3750419"/>
                </a:cubicBezTo>
                <a:cubicBezTo>
                  <a:pt x="3966001" y="3753081"/>
                  <a:pt x="3962940" y="3755212"/>
                  <a:pt x="3959345" y="3756675"/>
                </a:cubicBezTo>
                <a:cubicBezTo>
                  <a:pt x="3955749" y="3758139"/>
                  <a:pt x="3951890" y="3758938"/>
                  <a:pt x="3947628" y="3758938"/>
                </a:cubicBezTo>
                <a:cubicBezTo>
                  <a:pt x="3938575" y="3758938"/>
                  <a:pt x="3931388" y="3756009"/>
                  <a:pt x="3925795" y="3750419"/>
                </a:cubicBezTo>
                <a:cubicBezTo>
                  <a:pt x="3920204" y="3744695"/>
                  <a:pt x="3917409" y="3737639"/>
                  <a:pt x="3917409" y="3729253"/>
                </a:cubicBezTo>
                <a:cubicBezTo>
                  <a:pt x="3917409" y="3721000"/>
                  <a:pt x="3920204" y="3713944"/>
                  <a:pt x="3925795" y="3708220"/>
                </a:cubicBezTo>
                <a:cubicBezTo>
                  <a:pt x="3931388" y="3702363"/>
                  <a:pt x="3938575" y="3699567"/>
                  <a:pt x="3947628" y="3699567"/>
                </a:cubicBezTo>
                <a:close/>
                <a:moveTo>
                  <a:pt x="3729973" y="3699567"/>
                </a:moveTo>
                <a:cubicBezTo>
                  <a:pt x="3734234" y="3699567"/>
                  <a:pt x="3738227" y="3700366"/>
                  <a:pt x="3741689" y="3702096"/>
                </a:cubicBezTo>
                <a:cubicBezTo>
                  <a:pt x="3745283" y="3703694"/>
                  <a:pt x="3748478" y="3705824"/>
                  <a:pt x="3751007" y="3708486"/>
                </a:cubicBezTo>
                <a:cubicBezTo>
                  <a:pt x="3753536" y="3711148"/>
                  <a:pt x="3755666" y="3714344"/>
                  <a:pt x="3757130" y="3717937"/>
                </a:cubicBezTo>
                <a:cubicBezTo>
                  <a:pt x="3758594" y="3721532"/>
                  <a:pt x="3759393" y="3725259"/>
                  <a:pt x="3759393" y="3729385"/>
                </a:cubicBezTo>
                <a:cubicBezTo>
                  <a:pt x="3759393" y="3733512"/>
                  <a:pt x="3758594" y="3737506"/>
                  <a:pt x="3757130" y="3741100"/>
                </a:cubicBezTo>
                <a:cubicBezTo>
                  <a:pt x="3755666" y="3744695"/>
                  <a:pt x="3753536" y="3747756"/>
                  <a:pt x="3751007" y="3750419"/>
                </a:cubicBezTo>
                <a:cubicBezTo>
                  <a:pt x="3748344" y="3753081"/>
                  <a:pt x="3745283" y="3755212"/>
                  <a:pt x="3741689" y="3756675"/>
                </a:cubicBezTo>
                <a:cubicBezTo>
                  <a:pt x="3738095" y="3758139"/>
                  <a:pt x="3734234" y="3758938"/>
                  <a:pt x="3729973" y="3758938"/>
                </a:cubicBezTo>
                <a:cubicBezTo>
                  <a:pt x="3720921" y="3758938"/>
                  <a:pt x="3713732" y="3756009"/>
                  <a:pt x="3708136" y="3750419"/>
                </a:cubicBezTo>
                <a:cubicBezTo>
                  <a:pt x="3702544" y="3744695"/>
                  <a:pt x="3699750" y="3737639"/>
                  <a:pt x="3699750" y="3729253"/>
                </a:cubicBezTo>
                <a:cubicBezTo>
                  <a:pt x="3699750" y="3721000"/>
                  <a:pt x="3702544" y="3713944"/>
                  <a:pt x="3708136" y="3708220"/>
                </a:cubicBezTo>
                <a:cubicBezTo>
                  <a:pt x="3713732" y="3702363"/>
                  <a:pt x="3720921" y="3699567"/>
                  <a:pt x="3729973" y="3699567"/>
                </a:cubicBezTo>
                <a:close/>
                <a:moveTo>
                  <a:pt x="3512318" y="3699567"/>
                </a:moveTo>
                <a:cubicBezTo>
                  <a:pt x="3516578" y="3699567"/>
                  <a:pt x="3520571" y="3700366"/>
                  <a:pt x="3524033" y="3702096"/>
                </a:cubicBezTo>
                <a:cubicBezTo>
                  <a:pt x="3527627" y="3703694"/>
                  <a:pt x="3530822" y="3705824"/>
                  <a:pt x="3533351" y="3708486"/>
                </a:cubicBezTo>
                <a:cubicBezTo>
                  <a:pt x="3535880" y="3711148"/>
                  <a:pt x="3538011" y="3714344"/>
                  <a:pt x="3539475" y="3717937"/>
                </a:cubicBezTo>
                <a:cubicBezTo>
                  <a:pt x="3540939" y="3721532"/>
                  <a:pt x="3541738" y="3725259"/>
                  <a:pt x="3541738" y="3729385"/>
                </a:cubicBezTo>
                <a:cubicBezTo>
                  <a:pt x="3541738" y="3733512"/>
                  <a:pt x="3540939" y="3737506"/>
                  <a:pt x="3539475" y="3741100"/>
                </a:cubicBezTo>
                <a:cubicBezTo>
                  <a:pt x="3538011" y="3744695"/>
                  <a:pt x="3535880" y="3747756"/>
                  <a:pt x="3533351" y="3750419"/>
                </a:cubicBezTo>
                <a:cubicBezTo>
                  <a:pt x="3530688" y="3753081"/>
                  <a:pt x="3527627" y="3755212"/>
                  <a:pt x="3524033" y="3756675"/>
                </a:cubicBezTo>
                <a:cubicBezTo>
                  <a:pt x="3520439" y="3758139"/>
                  <a:pt x="3516578" y="3758938"/>
                  <a:pt x="3512318" y="3758938"/>
                </a:cubicBezTo>
                <a:cubicBezTo>
                  <a:pt x="3503263" y="3758938"/>
                  <a:pt x="3496073" y="3756009"/>
                  <a:pt x="3490482" y="3750419"/>
                </a:cubicBezTo>
                <a:cubicBezTo>
                  <a:pt x="3484892" y="3744695"/>
                  <a:pt x="3482096" y="3737639"/>
                  <a:pt x="3482096" y="3729253"/>
                </a:cubicBezTo>
                <a:cubicBezTo>
                  <a:pt x="3482096" y="3721000"/>
                  <a:pt x="3484892" y="3713944"/>
                  <a:pt x="3490482" y="3708220"/>
                </a:cubicBezTo>
                <a:cubicBezTo>
                  <a:pt x="3496073" y="3702363"/>
                  <a:pt x="3503263" y="3699567"/>
                  <a:pt x="3512318" y="3699567"/>
                </a:cubicBezTo>
                <a:close/>
                <a:moveTo>
                  <a:pt x="3294795" y="3699567"/>
                </a:moveTo>
                <a:cubicBezTo>
                  <a:pt x="3298922" y="3699567"/>
                  <a:pt x="3302916" y="3700366"/>
                  <a:pt x="3306511" y="3702096"/>
                </a:cubicBezTo>
                <a:cubicBezTo>
                  <a:pt x="3310238" y="3703694"/>
                  <a:pt x="3313300" y="3705824"/>
                  <a:pt x="3315829" y="3708486"/>
                </a:cubicBezTo>
                <a:cubicBezTo>
                  <a:pt x="3318358" y="3711148"/>
                  <a:pt x="3320488" y="3714344"/>
                  <a:pt x="3321952" y="3717937"/>
                </a:cubicBezTo>
                <a:cubicBezTo>
                  <a:pt x="3323416" y="3721532"/>
                  <a:pt x="3324215" y="3725259"/>
                  <a:pt x="3324215" y="3729385"/>
                </a:cubicBezTo>
                <a:cubicBezTo>
                  <a:pt x="3324215" y="3733512"/>
                  <a:pt x="3323416" y="3737506"/>
                  <a:pt x="3321952" y="3741100"/>
                </a:cubicBezTo>
                <a:cubicBezTo>
                  <a:pt x="3320488" y="3744695"/>
                  <a:pt x="3318358" y="3747756"/>
                  <a:pt x="3315829" y="3750419"/>
                </a:cubicBezTo>
                <a:cubicBezTo>
                  <a:pt x="3313166" y="3753081"/>
                  <a:pt x="3310104" y="3755212"/>
                  <a:pt x="3306511" y="3756675"/>
                </a:cubicBezTo>
                <a:cubicBezTo>
                  <a:pt x="3302916" y="3758139"/>
                  <a:pt x="3299056" y="3758938"/>
                  <a:pt x="3294795" y="3758938"/>
                </a:cubicBezTo>
                <a:cubicBezTo>
                  <a:pt x="3285742" y="3758938"/>
                  <a:pt x="3278552" y="3756009"/>
                  <a:pt x="3272959" y="3750419"/>
                </a:cubicBezTo>
                <a:cubicBezTo>
                  <a:pt x="3267367" y="3744695"/>
                  <a:pt x="3264572" y="3737639"/>
                  <a:pt x="3264572" y="3729253"/>
                </a:cubicBezTo>
                <a:cubicBezTo>
                  <a:pt x="3264572" y="3721000"/>
                  <a:pt x="3267367" y="3713944"/>
                  <a:pt x="3272959" y="3708220"/>
                </a:cubicBezTo>
                <a:cubicBezTo>
                  <a:pt x="3278552" y="3702363"/>
                  <a:pt x="3285742" y="3699567"/>
                  <a:pt x="3294795" y="3699567"/>
                </a:cubicBezTo>
                <a:close/>
                <a:moveTo>
                  <a:pt x="3077139" y="3699567"/>
                </a:moveTo>
                <a:cubicBezTo>
                  <a:pt x="3081267" y="3699567"/>
                  <a:pt x="3085260" y="3700366"/>
                  <a:pt x="3088855" y="3702096"/>
                </a:cubicBezTo>
                <a:cubicBezTo>
                  <a:pt x="3092449" y="3703694"/>
                  <a:pt x="3095644" y="3705824"/>
                  <a:pt x="3098173" y="3708486"/>
                </a:cubicBezTo>
                <a:cubicBezTo>
                  <a:pt x="3100702" y="3711148"/>
                  <a:pt x="3102832" y="3714344"/>
                  <a:pt x="3104296" y="3717937"/>
                </a:cubicBezTo>
                <a:cubicBezTo>
                  <a:pt x="3105761" y="3721532"/>
                  <a:pt x="3106559" y="3725259"/>
                  <a:pt x="3106559" y="3729385"/>
                </a:cubicBezTo>
                <a:cubicBezTo>
                  <a:pt x="3106559" y="3733512"/>
                  <a:pt x="3105761" y="3737506"/>
                  <a:pt x="3104296" y="3741100"/>
                </a:cubicBezTo>
                <a:cubicBezTo>
                  <a:pt x="3102832" y="3744695"/>
                  <a:pt x="3100702" y="3747756"/>
                  <a:pt x="3098173" y="3750419"/>
                </a:cubicBezTo>
                <a:cubicBezTo>
                  <a:pt x="3095510" y="3753081"/>
                  <a:pt x="3092449" y="3755212"/>
                  <a:pt x="3088855" y="3756675"/>
                </a:cubicBezTo>
                <a:cubicBezTo>
                  <a:pt x="3085260" y="3758139"/>
                  <a:pt x="3081400" y="3758938"/>
                  <a:pt x="3077139" y="3758938"/>
                </a:cubicBezTo>
                <a:cubicBezTo>
                  <a:pt x="3068219" y="3758938"/>
                  <a:pt x="3060897" y="3756009"/>
                  <a:pt x="3055303" y="3750419"/>
                </a:cubicBezTo>
                <a:cubicBezTo>
                  <a:pt x="3049712" y="3744695"/>
                  <a:pt x="3046917" y="3737639"/>
                  <a:pt x="3046917" y="3729253"/>
                </a:cubicBezTo>
                <a:cubicBezTo>
                  <a:pt x="3046917" y="3721000"/>
                  <a:pt x="3049712" y="3713944"/>
                  <a:pt x="3055303" y="3708220"/>
                </a:cubicBezTo>
                <a:cubicBezTo>
                  <a:pt x="3060897" y="3702363"/>
                  <a:pt x="3068086" y="3699567"/>
                  <a:pt x="3077139" y="3699567"/>
                </a:cubicBezTo>
                <a:close/>
                <a:moveTo>
                  <a:pt x="2859484" y="3699567"/>
                </a:moveTo>
                <a:cubicBezTo>
                  <a:pt x="2863744" y="3699567"/>
                  <a:pt x="2867605" y="3700366"/>
                  <a:pt x="2871332" y="3702096"/>
                </a:cubicBezTo>
                <a:cubicBezTo>
                  <a:pt x="2875059" y="3703694"/>
                  <a:pt x="2878121" y="3705824"/>
                  <a:pt x="2880650" y="3708486"/>
                </a:cubicBezTo>
                <a:cubicBezTo>
                  <a:pt x="2883312" y="3711148"/>
                  <a:pt x="2885309" y="3714344"/>
                  <a:pt x="2886773" y="3717937"/>
                </a:cubicBezTo>
                <a:cubicBezTo>
                  <a:pt x="2888238" y="3721532"/>
                  <a:pt x="2889036" y="3725259"/>
                  <a:pt x="2889036" y="3729385"/>
                </a:cubicBezTo>
                <a:cubicBezTo>
                  <a:pt x="2889036" y="3733512"/>
                  <a:pt x="2888238" y="3737506"/>
                  <a:pt x="2886773" y="3741100"/>
                </a:cubicBezTo>
                <a:cubicBezTo>
                  <a:pt x="2885309" y="3744695"/>
                  <a:pt x="2883179" y="3747756"/>
                  <a:pt x="2880650" y="3750419"/>
                </a:cubicBezTo>
                <a:cubicBezTo>
                  <a:pt x="2877988" y="3753081"/>
                  <a:pt x="2874926" y="3755212"/>
                  <a:pt x="2871332" y="3756675"/>
                </a:cubicBezTo>
                <a:cubicBezTo>
                  <a:pt x="2867605" y="3758139"/>
                  <a:pt x="2863744" y="3758938"/>
                  <a:pt x="2859484" y="3758938"/>
                </a:cubicBezTo>
                <a:cubicBezTo>
                  <a:pt x="2850566" y="3758938"/>
                  <a:pt x="2843238" y="3756009"/>
                  <a:pt x="2837648" y="3750419"/>
                </a:cubicBezTo>
                <a:cubicBezTo>
                  <a:pt x="2832057" y="3744695"/>
                  <a:pt x="2829261" y="3737639"/>
                  <a:pt x="2829261" y="3729253"/>
                </a:cubicBezTo>
                <a:cubicBezTo>
                  <a:pt x="2829261" y="3721000"/>
                  <a:pt x="2832057" y="3713944"/>
                  <a:pt x="2837648" y="3708220"/>
                </a:cubicBezTo>
                <a:cubicBezTo>
                  <a:pt x="2843238" y="3702363"/>
                  <a:pt x="2850432" y="3699567"/>
                  <a:pt x="2859484" y="3699567"/>
                </a:cubicBezTo>
                <a:close/>
                <a:moveTo>
                  <a:pt x="2641828" y="3699567"/>
                </a:moveTo>
                <a:cubicBezTo>
                  <a:pt x="2646088" y="3699567"/>
                  <a:pt x="2649948" y="3700366"/>
                  <a:pt x="2653543" y="3702096"/>
                </a:cubicBezTo>
                <a:cubicBezTo>
                  <a:pt x="2657270" y="3703694"/>
                  <a:pt x="2660332" y="3705824"/>
                  <a:pt x="2662861" y="3708486"/>
                </a:cubicBezTo>
                <a:cubicBezTo>
                  <a:pt x="2665523" y="3711148"/>
                  <a:pt x="2667521" y="3714344"/>
                  <a:pt x="2668985" y="3717937"/>
                </a:cubicBezTo>
                <a:cubicBezTo>
                  <a:pt x="2670448" y="3721532"/>
                  <a:pt x="2671247" y="3725259"/>
                  <a:pt x="2671247" y="3729385"/>
                </a:cubicBezTo>
                <a:cubicBezTo>
                  <a:pt x="2671247" y="3733512"/>
                  <a:pt x="2670448" y="3737506"/>
                  <a:pt x="2668985" y="3741100"/>
                </a:cubicBezTo>
                <a:cubicBezTo>
                  <a:pt x="2667521" y="3744695"/>
                  <a:pt x="2665390" y="3747756"/>
                  <a:pt x="2662861" y="3750419"/>
                </a:cubicBezTo>
                <a:cubicBezTo>
                  <a:pt x="2660332" y="3753081"/>
                  <a:pt x="2657137" y="3755212"/>
                  <a:pt x="2653543" y="3756675"/>
                </a:cubicBezTo>
                <a:cubicBezTo>
                  <a:pt x="2649948" y="3758139"/>
                  <a:pt x="2646088" y="3758938"/>
                  <a:pt x="2641828" y="3758938"/>
                </a:cubicBezTo>
                <a:cubicBezTo>
                  <a:pt x="2632909" y="3758938"/>
                  <a:pt x="2625587" y="3756009"/>
                  <a:pt x="2619995" y="3750419"/>
                </a:cubicBezTo>
                <a:cubicBezTo>
                  <a:pt x="2614403" y="3744695"/>
                  <a:pt x="2611606" y="3737639"/>
                  <a:pt x="2611606" y="3729253"/>
                </a:cubicBezTo>
                <a:cubicBezTo>
                  <a:pt x="2611606" y="3721000"/>
                  <a:pt x="2614403" y="3713944"/>
                  <a:pt x="2619995" y="3708220"/>
                </a:cubicBezTo>
                <a:cubicBezTo>
                  <a:pt x="2625587" y="3702363"/>
                  <a:pt x="2632776" y="3699567"/>
                  <a:pt x="2641828" y="3699567"/>
                </a:cubicBezTo>
                <a:close/>
                <a:moveTo>
                  <a:pt x="2424172" y="3699567"/>
                </a:moveTo>
                <a:cubicBezTo>
                  <a:pt x="2428432" y="3699567"/>
                  <a:pt x="2432426" y="3700366"/>
                  <a:pt x="2435887" y="3702096"/>
                </a:cubicBezTo>
                <a:cubicBezTo>
                  <a:pt x="2439614" y="3703694"/>
                  <a:pt x="2442676" y="3705824"/>
                  <a:pt x="2445205" y="3708486"/>
                </a:cubicBezTo>
                <a:cubicBezTo>
                  <a:pt x="2447868" y="3711148"/>
                  <a:pt x="2449865" y="3714344"/>
                  <a:pt x="2451329" y="3717937"/>
                </a:cubicBezTo>
                <a:cubicBezTo>
                  <a:pt x="2452792" y="3721532"/>
                  <a:pt x="2453591" y="3725259"/>
                  <a:pt x="2453591" y="3729385"/>
                </a:cubicBezTo>
                <a:cubicBezTo>
                  <a:pt x="2453591" y="3733512"/>
                  <a:pt x="2452792" y="3737506"/>
                  <a:pt x="2451329" y="3741100"/>
                </a:cubicBezTo>
                <a:cubicBezTo>
                  <a:pt x="2449865" y="3744695"/>
                  <a:pt x="2447734" y="3747756"/>
                  <a:pt x="2445205" y="3750419"/>
                </a:cubicBezTo>
                <a:cubicBezTo>
                  <a:pt x="2442676" y="3753081"/>
                  <a:pt x="2439481" y="3755212"/>
                  <a:pt x="2435887" y="3756675"/>
                </a:cubicBezTo>
                <a:cubicBezTo>
                  <a:pt x="2432293" y="3758139"/>
                  <a:pt x="2428432" y="3758938"/>
                  <a:pt x="2424172" y="3758938"/>
                </a:cubicBezTo>
                <a:cubicBezTo>
                  <a:pt x="2415254" y="3758938"/>
                  <a:pt x="2407931" y="3756009"/>
                  <a:pt x="2402340" y="3750419"/>
                </a:cubicBezTo>
                <a:cubicBezTo>
                  <a:pt x="2396748" y="3744695"/>
                  <a:pt x="2393952" y="3737639"/>
                  <a:pt x="2393952" y="3729253"/>
                </a:cubicBezTo>
                <a:cubicBezTo>
                  <a:pt x="2393952" y="3721000"/>
                  <a:pt x="2396748" y="3713944"/>
                  <a:pt x="2402340" y="3708220"/>
                </a:cubicBezTo>
                <a:cubicBezTo>
                  <a:pt x="2407931" y="3702363"/>
                  <a:pt x="2415120" y="3699567"/>
                  <a:pt x="2424172" y="3699567"/>
                </a:cubicBezTo>
                <a:close/>
                <a:moveTo>
                  <a:pt x="2206516" y="3699567"/>
                </a:moveTo>
                <a:cubicBezTo>
                  <a:pt x="2210776" y="3699567"/>
                  <a:pt x="2214770" y="3700366"/>
                  <a:pt x="2218231" y="3702096"/>
                </a:cubicBezTo>
                <a:cubicBezTo>
                  <a:pt x="2221958" y="3703694"/>
                  <a:pt x="2225019" y="3705824"/>
                  <a:pt x="2227550" y="3708486"/>
                </a:cubicBezTo>
                <a:cubicBezTo>
                  <a:pt x="2230212" y="3711148"/>
                  <a:pt x="2232209" y="3714344"/>
                  <a:pt x="2233672" y="3717937"/>
                </a:cubicBezTo>
                <a:cubicBezTo>
                  <a:pt x="2235136" y="3721532"/>
                  <a:pt x="2235935" y="3725259"/>
                  <a:pt x="2235935" y="3729385"/>
                </a:cubicBezTo>
                <a:cubicBezTo>
                  <a:pt x="2235935" y="3733512"/>
                  <a:pt x="2235136" y="3737506"/>
                  <a:pt x="2233672" y="3741100"/>
                </a:cubicBezTo>
                <a:cubicBezTo>
                  <a:pt x="2232209" y="3744695"/>
                  <a:pt x="2230078" y="3747756"/>
                  <a:pt x="2227550" y="3750419"/>
                </a:cubicBezTo>
                <a:cubicBezTo>
                  <a:pt x="2225019" y="3753081"/>
                  <a:pt x="2221825" y="3755212"/>
                  <a:pt x="2218231" y="3756675"/>
                </a:cubicBezTo>
                <a:cubicBezTo>
                  <a:pt x="2214636" y="3758139"/>
                  <a:pt x="2210776" y="3758938"/>
                  <a:pt x="2206516" y="3758938"/>
                </a:cubicBezTo>
                <a:cubicBezTo>
                  <a:pt x="2197464" y="3758938"/>
                  <a:pt x="2190275" y="3756009"/>
                  <a:pt x="2184684" y="3750419"/>
                </a:cubicBezTo>
                <a:cubicBezTo>
                  <a:pt x="2179092" y="3744695"/>
                  <a:pt x="2176296" y="3737639"/>
                  <a:pt x="2176296" y="3729253"/>
                </a:cubicBezTo>
                <a:cubicBezTo>
                  <a:pt x="2176296" y="3721000"/>
                  <a:pt x="2179092" y="3713944"/>
                  <a:pt x="2184684" y="3708220"/>
                </a:cubicBezTo>
                <a:cubicBezTo>
                  <a:pt x="2190275" y="3702363"/>
                  <a:pt x="2197464" y="3699567"/>
                  <a:pt x="2206516" y="3699567"/>
                </a:cubicBezTo>
                <a:close/>
                <a:moveTo>
                  <a:pt x="1988993" y="3699567"/>
                </a:moveTo>
                <a:cubicBezTo>
                  <a:pt x="1993120" y="3699567"/>
                  <a:pt x="1997115" y="3700366"/>
                  <a:pt x="2000709" y="3702096"/>
                </a:cubicBezTo>
                <a:cubicBezTo>
                  <a:pt x="2004436" y="3703694"/>
                  <a:pt x="2007497" y="3705824"/>
                  <a:pt x="2010027" y="3708486"/>
                </a:cubicBezTo>
                <a:cubicBezTo>
                  <a:pt x="2012688" y="3711148"/>
                  <a:pt x="2014686" y="3714344"/>
                  <a:pt x="2016150" y="3717937"/>
                </a:cubicBezTo>
                <a:cubicBezTo>
                  <a:pt x="2017614" y="3721532"/>
                  <a:pt x="2018413" y="3725259"/>
                  <a:pt x="2018413" y="3729385"/>
                </a:cubicBezTo>
                <a:cubicBezTo>
                  <a:pt x="2018413" y="3733512"/>
                  <a:pt x="2017614" y="3737506"/>
                  <a:pt x="2016150" y="3741100"/>
                </a:cubicBezTo>
                <a:cubicBezTo>
                  <a:pt x="2014686" y="3744695"/>
                  <a:pt x="2012556" y="3747756"/>
                  <a:pt x="2010027" y="3750419"/>
                </a:cubicBezTo>
                <a:cubicBezTo>
                  <a:pt x="2007497" y="3753081"/>
                  <a:pt x="2004302" y="3755212"/>
                  <a:pt x="2000709" y="3756675"/>
                </a:cubicBezTo>
                <a:cubicBezTo>
                  <a:pt x="1997115" y="3758139"/>
                  <a:pt x="1993253" y="3758938"/>
                  <a:pt x="1988993" y="3758938"/>
                </a:cubicBezTo>
                <a:cubicBezTo>
                  <a:pt x="1979942" y="3758938"/>
                  <a:pt x="1972753" y="3756009"/>
                  <a:pt x="1967162" y="3750419"/>
                </a:cubicBezTo>
                <a:cubicBezTo>
                  <a:pt x="1961572" y="3744695"/>
                  <a:pt x="1958776" y="3737639"/>
                  <a:pt x="1958776" y="3729253"/>
                </a:cubicBezTo>
                <a:cubicBezTo>
                  <a:pt x="1958776" y="3721000"/>
                  <a:pt x="1961572" y="3713944"/>
                  <a:pt x="1967162" y="3708220"/>
                </a:cubicBezTo>
                <a:cubicBezTo>
                  <a:pt x="1972753" y="3702363"/>
                  <a:pt x="1979942" y="3699567"/>
                  <a:pt x="1988993" y="3699567"/>
                </a:cubicBezTo>
                <a:close/>
                <a:moveTo>
                  <a:pt x="1771356" y="3699567"/>
                </a:moveTo>
                <a:cubicBezTo>
                  <a:pt x="1775615" y="3699567"/>
                  <a:pt x="1779475" y="3700366"/>
                  <a:pt x="1783070" y="3702096"/>
                </a:cubicBezTo>
                <a:cubicBezTo>
                  <a:pt x="1786797" y="3703694"/>
                  <a:pt x="1789859" y="3705824"/>
                  <a:pt x="1792388" y="3708486"/>
                </a:cubicBezTo>
                <a:cubicBezTo>
                  <a:pt x="1795050" y="3711148"/>
                  <a:pt x="1797047" y="3714344"/>
                  <a:pt x="1798511" y="3717937"/>
                </a:cubicBezTo>
                <a:cubicBezTo>
                  <a:pt x="1799975" y="3721532"/>
                  <a:pt x="1800773" y="3725259"/>
                  <a:pt x="1800773" y="3729385"/>
                </a:cubicBezTo>
                <a:cubicBezTo>
                  <a:pt x="1800773" y="3733512"/>
                  <a:pt x="1799975" y="3737506"/>
                  <a:pt x="1798511" y="3741100"/>
                </a:cubicBezTo>
                <a:cubicBezTo>
                  <a:pt x="1797047" y="3744695"/>
                  <a:pt x="1794917" y="3747756"/>
                  <a:pt x="1792388" y="3750419"/>
                </a:cubicBezTo>
                <a:cubicBezTo>
                  <a:pt x="1789725" y="3753081"/>
                  <a:pt x="1786664" y="3755212"/>
                  <a:pt x="1783070" y="3756675"/>
                </a:cubicBezTo>
                <a:cubicBezTo>
                  <a:pt x="1779475" y="3758139"/>
                  <a:pt x="1775615" y="3758938"/>
                  <a:pt x="1771356" y="3758938"/>
                </a:cubicBezTo>
                <a:cubicBezTo>
                  <a:pt x="1762437" y="3758938"/>
                  <a:pt x="1755117" y="3756009"/>
                  <a:pt x="1749526" y="3750419"/>
                </a:cubicBezTo>
                <a:cubicBezTo>
                  <a:pt x="1743935" y="3744695"/>
                  <a:pt x="1741142" y="3737639"/>
                  <a:pt x="1741142" y="3729253"/>
                </a:cubicBezTo>
                <a:cubicBezTo>
                  <a:pt x="1741142" y="3721000"/>
                  <a:pt x="1743935" y="3713944"/>
                  <a:pt x="1749526" y="3708220"/>
                </a:cubicBezTo>
                <a:cubicBezTo>
                  <a:pt x="1755117" y="3702363"/>
                  <a:pt x="1762304" y="3699567"/>
                  <a:pt x="1771356" y="3699567"/>
                </a:cubicBezTo>
                <a:close/>
                <a:moveTo>
                  <a:pt x="1553716" y="3699567"/>
                </a:moveTo>
                <a:cubicBezTo>
                  <a:pt x="1557976" y="3699567"/>
                  <a:pt x="1561837" y="3700366"/>
                  <a:pt x="1565431" y="3702096"/>
                </a:cubicBezTo>
                <a:cubicBezTo>
                  <a:pt x="1569025" y="3703694"/>
                  <a:pt x="1572220" y="3705824"/>
                  <a:pt x="1574749" y="3708486"/>
                </a:cubicBezTo>
                <a:cubicBezTo>
                  <a:pt x="1577411" y="3711148"/>
                  <a:pt x="1579408" y="3714344"/>
                  <a:pt x="1580872" y="3717937"/>
                </a:cubicBezTo>
                <a:cubicBezTo>
                  <a:pt x="1582336" y="3721532"/>
                  <a:pt x="1583135" y="3725259"/>
                  <a:pt x="1583135" y="3729385"/>
                </a:cubicBezTo>
                <a:cubicBezTo>
                  <a:pt x="1583135" y="3733512"/>
                  <a:pt x="1582336" y="3737506"/>
                  <a:pt x="1580872" y="3741100"/>
                </a:cubicBezTo>
                <a:cubicBezTo>
                  <a:pt x="1579408" y="3744695"/>
                  <a:pt x="1577278" y="3747756"/>
                  <a:pt x="1574749" y="3750419"/>
                </a:cubicBezTo>
                <a:cubicBezTo>
                  <a:pt x="1572087" y="3753081"/>
                  <a:pt x="1569025" y="3755212"/>
                  <a:pt x="1565431" y="3756675"/>
                </a:cubicBezTo>
                <a:cubicBezTo>
                  <a:pt x="1561837" y="3758139"/>
                  <a:pt x="1557976" y="3758938"/>
                  <a:pt x="1553716" y="3758938"/>
                </a:cubicBezTo>
                <a:cubicBezTo>
                  <a:pt x="1544798" y="3758938"/>
                  <a:pt x="1537476" y="3756009"/>
                  <a:pt x="1531886" y="3750419"/>
                </a:cubicBezTo>
                <a:cubicBezTo>
                  <a:pt x="1526297" y="3744695"/>
                  <a:pt x="1523500" y="3737639"/>
                  <a:pt x="1523500" y="3729253"/>
                </a:cubicBezTo>
                <a:cubicBezTo>
                  <a:pt x="1523500" y="3721000"/>
                  <a:pt x="1526297" y="3713944"/>
                  <a:pt x="1531886" y="3708220"/>
                </a:cubicBezTo>
                <a:cubicBezTo>
                  <a:pt x="1537476" y="3702363"/>
                  <a:pt x="1544664" y="3699567"/>
                  <a:pt x="1553716" y="3699567"/>
                </a:cubicBezTo>
                <a:close/>
                <a:moveTo>
                  <a:pt x="1336072" y="3699567"/>
                </a:moveTo>
                <a:cubicBezTo>
                  <a:pt x="1340332" y="3699567"/>
                  <a:pt x="1344327" y="3700366"/>
                  <a:pt x="1347788" y="3702096"/>
                </a:cubicBezTo>
                <a:cubicBezTo>
                  <a:pt x="1351381" y="3703694"/>
                  <a:pt x="1354576" y="3705824"/>
                  <a:pt x="1357106" y="3708486"/>
                </a:cubicBezTo>
                <a:cubicBezTo>
                  <a:pt x="1359768" y="3711148"/>
                  <a:pt x="1361765" y="3714344"/>
                  <a:pt x="1363229" y="3717937"/>
                </a:cubicBezTo>
                <a:cubicBezTo>
                  <a:pt x="1364693" y="3721532"/>
                  <a:pt x="1365491" y="3725259"/>
                  <a:pt x="1365491" y="3729385"/>
                </a:cubicBezTo>
                <a:cubicBezTo>
                  <a:pt x="1365491" y="3733512"/>
                  <a:pt x="1364693" y="3737506"/>
                  <a:pt x="1363229" y="3741100"/>
                </a:cubicBezTo>
                <a:cubicBezTo>
                  <a:pt x="1361765" y="3744695"/>
                  <a:pt x="1359635" y="3747756"/>
                  <a:pt x="1357106" y="3750419"/>
                </a:cubicBezTo>
                <a:cubicBezTo>
                  <a:pt x="1354442" y="3753081"/>
                  <a:pt x="1351381" y="3755212"/>
                  <a:pt x="1347788" y="3756675"/>
                </a:cubicBezTo>
                <a:cubicBezTo>
                  <a:pt x="1344193" y="3758139"/>
                  <a:pt x="1340332" y="3758938"/>
                  <a:pt x="1336072" y="3758938"/>
                </a:cubicBezTo>
                <a:cubicBezTo>
                  <a:pt x="1327152" y="3758938"/>
                  <a:pt x="1319831" y="3756009"/>
                  <a:pt x="1314239" y="3750419"/>
                </a:cubicBezTo>
                <a:cubicBezTo>
                  <a:pt x="1308649" y="3744695"/>
                  <a:pt x="1305854" y="3737639"/>
                  <a:pt x="1305854" y="3729253"/>
                </a:cubicBezTo>
                <a:cubicBezTo>
                  <a:pt x="1305854" y="3721000"/>
                  <a:pt x="1308649" y="3713944"/>
                  <a:pt x="1314239" y="3708220"/>
                </a:cubicBezTo>
                <a:cubicBezTo>
                  <a:pt x="1319831" y="3702363"/>
                  <a:pt x="1327019" y="3699567"/>
                  <a:pt x="1336072" y="3699567"/>
                </a:cubicBezTo>
                <a:close/>
                <a:moveTo>
                  <a:pt x="1118427" y="3699567"/>
                </a:moveTo>
                <a:cubicBezTo>
                  <a:pt x="1122688" y="3699567"/>
                  <a:pt x="1126683" y="3700366"/>
                  <a:pt x="1130144" y="3702096"/>
                </a:cubicBezTo>
                <a:cubicBezTo>
                  <a:pt x="1133871" y="3703694"/>
                  <a:pt x="1136933" y="3705824"/>
                  <a:pt x="1139460" y="3708486"/>
                </a:cubicBezTo>
                <a:cubicBezTo>
                  <a:pt x="1142121" y="3711148"/>
                  <a:pt x="1144118" y="3714344"/>
                  <a:pt x="1145581" y="3717937"/>
                </a:cubicBezTo>
                <a:cubicBezTo>
                  <a:pt x="1147046" y="3721532"/>
                  <a:pt x="1147844" y="3725259"/>
                  <a:pt x="1147844" y="3729385"/>
                </a:cubicBezTo>
                <a:cubicBezTo>
                  <a:pt x="1147844" y="3733512"/>
                  <a:pt x="1147046" y="3737506"/>
                  <a:pt x="1145581" y="3741100"/>
                </a:cubicBezTo>
                <a:cubicBezTo>
                  <a:pt x="1144118" y="3744695"/>
                  <a:pt x="1141988" y="3747756"/>
                  <a:pt x="1139460" y="3750419"/>
                </a:cubicBezTo>
                <a:cubicBezTo>
                  <a:pt x="1136933" y="3753081"/>
                  <a:pt x="1133738" y="3755212"/>
                  <a:pt x="1130144" y="3756675"/>
                </a:cubicBezTo>
                <a:cubicBezTo>
                  <a:pt x="1126549" y="3758139"/>
                  <a:pt x="1122688" y="3758938"/>
                  <a:pt x="1118427" y="3758938"/>
                </a:cubicBezTo>
                <a:cubicBezTo>
                  <a:pt x="1109507" y="3758938"/>
                  <a:pt x="1102184" y="3756009"/>
                  <a:pt x="1096593" y="3750419"/>
                </a:cubicBezTo>
                <a:cubicBezTo>
                  <a:pt x="1091003" y="3744695"/>
                  <a:pt x="1088208" y="3737639"/>
                  <a:pt x="1088208" y="3729253"/>
                </a:cubicBezTo>
                <a:cubicBezTo>
                  <a:pt x="1088208" y="3721000"/>
                  <a:pt x="1091003" y="3713944"/>
                  <a:pt x="1096593" y="3708220"/>
                </a:cubicBezTo>
                <a:cubicBezTo>
                  <a:pt x="1102184" y="3702363"/>
                  <a:pt x="1109373" y="3699567"/>
                  <a:pt x="1118427" y="3699567"/>
                </a:cubicBezTo>
                <a:close/>
                <a:moveTo>
                  <a:pt x="900914" y="3699567"/>
                </a:moveTo>
                <a:cubicBezTo>
                  <a:pt x="905041" y="3699567"/>
                  <a:pt x="909035" y="3700366"/>
                  <a:pt x="912629" y="3702096"/>
                </a:cubicBezTo>
                <a:cubicBezTo>
                  <a:pt x="916356" y="3703694"/>
                  <a:pt x="919418" y="3705824"/>
                  <a:pt x="921948" y="3708486"/>
                </a:cubicBezTo>
                <a:cubicBezTo>
                  <a:pt x="924610" y="3711148"/>
                  <a:pt x="926606" y="3714344"/>
                  <a:pt x="928070" y="3717937"/>
                </a:cubicBezTo>
                <a:cubicBezTo>
                  <a:pt x="929535" y="3721532"/>
                  <a:pt x="930333" y="3725259"/>
                  <a:pt x="930333" y="3729385"/>
                </a:cubicBezTo>
                <a:cubicBezTo>
                  <a:pt x="930333" y="3733512"/>
                  <a:pt x="929535" y="3737506"/>
                  <a:pt x="928070" y="3741100"/>
                </a:cubicBezTo>
                <a:cubicBezTo>
                  <a:pt x="926606" y="3744695"/>
                  <a:pt x="924476" y="3747756"/>
                  <a:pt x="921948" y="3750419"/>
                </a:cubicBezTo>
                <a:cubicBezTo>
                  <a:pt x="919418" y="3753081"/>
                  <a:pt x="916223" y="3755212"/>
                  <a:pt x="912629" y="3756675"/>
                </a:cubicBezTo>
                <a:cubicBezTo>
                  <a:pt x="909035" y="3758139"/>
                  <a:pt x="905174" y="3758938"/>
                  <a:pt x="900914" y="3758938"/>
                </a:cubicBezTo>
                <a:cubicBezTo>
                  <a:pt x="891996" y="3758938"/>
                  <a:pt x="884674" y="3756009"/>
                  <a:pt x="879083" y="3750419"/>
                </a:cubicBezTo>
                <a:cubicBezTo>
                  <a:pt x="873494" y="3744695"/>
                  <a:pt x="870698" y="3737639"/>
                  <a:pt x="870698" y="3729253"/>
                </a:cubicBezTo>
                <a:cubicBezTo>
                  <a:pt x="870698" y="3721000"/>
                  <a:pt x="873494" y="3713944"/>
                  <a:pt x="879083" y="3708220"/>
                </a:cubicBezTo>
                <a:cubicBezTo>
                  <a:pt x="884674" y="3702363"/>
                  <a:pt x="891863" y="3699567"/>
                  <a:pt x="900914" y="3699567"/>
                </a:cubicBezTo>
                <a:close/>
                <a:moveTo>
                  <a:pt x="683273" y="3699567"/>
                </a:moveTo>
                <a:cubicBezTo>
                  <a:pt x="687533" y="3699567"/>
                  <a:pt x="691394" y="3700366"/>
                  <a:pt x="694988" y="3702096"/>
                </a:cubicBezTo>
                <a:cubicBezTo>
                  <a:pt x="698715" y="3703694"/>
                  <a:pt x="701777" y="3705824"/>
                  <a:pt x="704305" y="3708486"/>
                </a:cubicBezTo>
                <a:cubicBezTo>
                  <a:pt x="706967" y="3711148"/>
                  <a:pt x="708964" y="3714344"/>
                  <a:pt x="710428" y="3717937"/>
                </a:cubicBezTo>
                <a:cubicBezTo>
                  <a:pt x="711892" y="3721532"/>
                  <a:pt x="712691" y="3725259"/>
                  <a:pt x="712691" y="3729385"/>
                </a:cubicBezTo>
                <a:cubicBezTo>
                  <a:pt x="712691" y="3733512"/>
                  <a:pt x="711892" y="3737506"/>
                  <a:pt x="710428" y="3741100"/>
                </a:cubicBezTo>
                <a:cubicBezTo>
                  <a:pt x="708964" y="3744695"/>
                  <a:pt x="706834" y="3747756"/>
                  <a:pt x="704305" y="3750419"/>
                </a:cubicBezTo>
                <a:cubicBezTo>
                  <a:pt x="701777" y="3753081"/>
                  <a:pt x="698582" y="3755212"/>
                  <a:pt x="694988" y="3756675"/>
                </a:cubicBezTo>
                <a:cubicBezTo>
                  <a:pt x="691394" y="3758139"/>
                  <a:pt x="687533" y="3758938"/>
                  <a:pt x="683273" y="3758938"/>
                </a:cubicBezTo>
                <a:cubicBezTo>
                  <a:pt x="674354" y="3758938"/>
                  <a:pt x="667032" y="3756009"/>
                  <a:pt x="661441" y="3750419"/>
                </a:cubicBezTo>
                <a:cubicBezTo>
                  <a:pt x="655850" y="3744695"/>
                  <a:pt x="653055" y="3737639"/>
                  <a:pt x="653055" y="3729253"/>
                </a:cubicBezTo>
                <a:cubicBezTo>
                  <a:pt x="653055" y="3721000"/>
                  <a:pt x="655850" y="3713944"/>
                  <a:pt x="661441" y="3708220"/>
                </a:cubicBezTo>
                <a:cubicBezTo>
                  <a:pt x="667032" y="3702363"/>
                  <a:pt x="674221" y="3699567"/>
                  <a:pt x="683273" y="3699567"/>
                </a:cubicBezTo>
                <a:close/>
                <a:moveTo>
                  <a:pt x="465630" y="3699567"/>
                </a:moveTo>
                <a:cubicBezTo>
                  <a:pt x="469890" y="3699567"/>
                  <a:pt x="473750" y="3700366"/>
                  <a:pt x="477345" y="3702096"/>
                </a:cubicBezTo>
                <a:cubicBezTo>
                  <a:pt x="481073" y="3703694"/>
                  <a:pt x="484134" y="3705824"/>
                  <a:pt x="486663" y="3708486"/>
                </a:cubicBezTo>
                <a:cubicBezTo>
                  <a:pt x="489325" y="3711148"/>
                  <a:pt x="491322" y="3714344"/>
                  <a:pt x="492786" y="3717937"/>
                </a:cubicBezTo>
                <a:cubicBezTo>
                  <a:pt x="494250" y="3721532"/>
                  <a:pt x="495049" y="3725259"/>
                  <a:pt x="495049" y="3729385"/>
                </a:cubicBezTo>
                <a:cubicBezTo>
                  <a:pt x="495049" y="3733512"/>
                  <a:pt x="494250" y="3737506"/>
                  <a:pt x="492786" y="3741100"/>
                </a:cubicBezTo>
                <a:cubicBezTo>
                  <a:pt x="491322" y="3744695"/>
                  <a:pt x="489192" y="3747756"/>
                  <a:pt x="486663" y="3750419"/>
                </a:cubicBezTo>
                <a:cubicBezTo>
                  <a:pt x="484000" y="3753081"/>
                  <a:pt x="480939" y="3755212"/>
                  <a:pt x="477345" y="3756675"/>
                </a:cubicBezTo>
                <a:cubicBezTo>
                  <a:pt x="473750" y="3758139"/>
                  <a:pt x="469890" y="3758938"/>
                  <a:pt x="465630" y="3758938"/>
                </a:cubicBezTo>
                <a:cubicBezTo>
                  <a:pt x="456712" y="3758938"/>
                  <a:pt x="449390" y="3756009"/>
                  <a:pt x="443799" y="3750419"/>
                </a:cubicBezTo>
                <a:cubicBezTo>
                  <a:pt x="438208" y="3744695"/>
                  <a:pt x="435413" y="3737639"/>
                  <a:pt x="435413" y="3729253"/>
                </a:cubicBezTo>
                <a:cubicBezTo>
                  <a:pt x="435413" y="3721000"/>
                  <a:pt x="438208" y="3713944"/>
                  <a:pt x="443799" y="3708220"/>
                </a:cubicBezTo>
                <a:cubicBezTo>
                  <a:pt x="449390" y="3702363"/>
                  <a:pt x="456579" y="3699567"/>
                  <a:pt x="465630" y="3699567"/>
                </a:cubicBezTo>
                <a:close/>
                <a:moveTo>
                  <a:pt x="247987" y="3699567"/>
                </a:moveTo>
                <a:cubicBezTo>
                  <a:pt x="252247" y="3699567"/>
                  <a:pt x="256241" y="3700366"/>
                  <a:pt x="259702" y="3702096"/>
                </a:cubicBezTo>
                <a:cubicBezTo>
                  <a:pt x="263429" y="3703694"/>
                  <a:pt x="266491" y="3705824"/>
                  <a:pt x="269020" y="3708486"/>
                </a:cubicBezTo>
                <a:cubicBezTo>
                  <a:pt x="271682" y="3711148"/>
                  <a:pt x="273679" y="3714344"/>
                  <a:pt x="275143" y="3717937"/>
                </a:cubicBezTo>
                <a:cubicBezTo>
                  <a:pt x="276607" y="3721532"/>
                  <a:pt x="277406" y="3725259"/>
                  <a:pt x="277406" y="3729385"/>
                </a:cubicBezTo>
                <a:cubicBezTo>
                  <a:pt x="277406" y="3733512"/>
                  <a:pt x="276607" y="3737506"/>
                  <a:pt x="275143" y="3741100"/>
                </a:cubicBezTo>
                <a:cubicBezTo>
                  <a:pt x="273679" y="3744695"/>
                  <a:pt x="271549" y="3747756"/>
                  <a:pt x="269020" y="3750419"/>
                </a:cubicBezTo>
                <a:cubicBezTo>
                  <a:pt x="266357" y="3753081"/>
                  <a:pt x="263296" y="3755212"/>
                  <a:pt x="259702" y="3756675"/>
                </a:cubicBezTo>
                <a:cubicBezTo>
                  <a:pt x="256107" y="3758139"/>
                  <a:pt x="252247" y="3758938"/>
                  <a:pt x="247987" y="3758938"/>
                </a:cubicBezTo>
                <a:cubicBezTo>
                  <a:pt x="239070" y="3758938"/>
                  <a:pt x="231748" y="3756009"/>
                  <a:pt x="226157" y="3750419"/>
                </a:cubicBezTo>
                <a:cubicBezTo>
                  <a:pt x="220567" y="3744695"/>
                  <a:pt x="217772" y="3737639"/>
                  <a:pt x="217772" y="3729253"/>
                </a:cubicBezTo>
                <a:cubicBezTo>
                  <a:pt x="217772" y="3721000"/>
                  <a:pt x="220567" y="3713944"/>
                  <a:pt x="226157" y="3708220"/>
                </a:cubicBezTo>
                <a:cubicBezTo>
                  <a:pt x="231748" y="3702363"/>
                  <a:pt x="238936" y="3699567"/>
                  <a:pt x="247987" y="3699567"/>
                </a:cubicBezTo>
                <a:close/>
                <a:moveTo>
                  <a:pt x="30345" y="3699567"/>
                </a:moveTo>
                <a:cubicBezTo>
                  <a:pt x="34605" y="3699567"/>
                  <a:pt x="38599" y="3700366"/>
                  <a:pt x="42060" y="3702096"/>
                </a:cubicBezTo>
                <a:cubicBezTo>
                  <a:pt x="45787" y="3703694"/>
                  <a:pt x="48849" y="3705824"/>
                  <a:pt x="51378" y="3708486"/>
                </a:cubicBezTo>
                <a:cubicBezTo>
                  <a:pt x="54040" y="3711148"/>
                  <a:pt x="56037" y="3714344"/>
                  <a:pt x="57501" y="3717937"/>
                </a:cubicBezTo>
                <a:cubicBezTo>
                  <a:pt x="58965" y="3721532"/>
                  <a:pt x="59764" y="3725259"/>
                  <a:pt x="59764" y="3729385"/>
                </a:cubicBezTo>
                <a:cubicBezTo>
                  <a:pt x="59764" y="3733512"/>
                  <a:pt x="58965" y="3737506"/>
                  <a:pt x="57501" y="3741100"/>
                </a:cubicBezTo>
                <a:cubicBezTo>
                  <a:pt x="56037" y="3744695"/>
                  <a:pt x="53907" y="3747756"/>
                  <a:pt x="51378" y="3750419"/>
                </a:cubicBezTo>
                <a:cubicBezTo>
                  <a:pt x="48715" y="3753081"/>
                  <a:pt x="45654" y="3755212"/>
                  <a:pt x="42060" y="3756675"/>
                </a:cubicBezTo>
                <a:cubicBezTo>
                  <a:pt x="38466" y="3758139"/>
                  <a:pt x="34605" y="3758938"/>
                  <a:pt x="30345" y="3758938"/>
                </a:cubicBezTo>
                <a:cubicBezTo>
                  <a:pt x="21427" y="3758938"/>
                  <a:pt x="14106" y="3756009"/>
                  <a:pt x="8516" y="3750419"/>
                </a:cubicBezTo>
                <a:cubicBezTo>
                  <a:pt x="2925" y="3744695"/>
                  <a:pt x="130" y="3737639"/>
                  <a:pt x="130" y="3729253"/>
                </a:cubicBezTo>
                <a:cubicBezTo>
                  <a:pt x="130" y="3721000"/>
                  <a:pt x="2925" y="3713944"/>
                  <a:pt x="8516" y="3708220"/>
                </a:cubicBezTo>
                <a:cubicBezTo>
                  <a:pt x="14106" y="3702363"/>
                  <a:pt x="21293" y="3699567"/>
                  <a:pt x="30345" y="3699567"/>
                </a:cubicBezTo>
                <a:close/>
                <a:moveTo>
                  <a:pt x="10475977" y="3498563"/>
                </a:moveTo>
                <a:cubicBezTo>
                  <a:pt x="10470119" y="3498563"/>
                  <a:pt x="10467589" y="3500558"/>
                  <a:pt x="10465992" y="3502157"/>
                </a:cubicBezTo>
                <a:cubicBezTo>
                  <a:pt x="10463463" y="3504819"/>
                  <a:pt x="10462399" y="3507614"/>
                  <a:pt x="10462399" y="3511608"/>
                </a:cubicBezTo>
                <a:cubicBezTo>
                  <a:pt x="10462399" y="3515735"/>
                  <a:pt x="10463463" y="3518530"/>
                  <a:pt x="10465992" y="3521059"/>
                </a:cubicBezTo>
                <a:cubicBezTo>
                  <a:pt x="10467589" y="3522657"/>
                  <a:pt x="10470119" y="3524520"/>
                  <a:pt x="10475977" y="3524520"/>
                </a:cubicBezTo>
                <a:cubicBezTo>
                  <a:pt x="10478107" y="3524520"/>
                  <a:pt x="10479838" y="3524254"/>
                  <a:pt x="10481302" y="3523722"/>
                </a:cubicBezTo>
                <a:cubicBezTo>
                  <a:pt x="10482899" y="3523189"/>
                  <a:pt x="10484098" y="3522257"/>
                  <a:pt x="10485029" y="3521325"/>
                </a:cubicBezTo>
                <a:cubicBezTo>
                  <a:pt x="10486094" y="3520127"/>
                  <a:pt x="10487026" y="3518796"/>
                  <a:pt x="10487691" y="3517066"/>
                </a:cubicBezTo>
                <a:cubicBezTo>
                  <a:pt x="10488357" y="3515469"/>
                  <a:pt x="10488623" y="3513605"/>
                  <a:pt x="10488623" y="3511608"/>
                </a:cubicBezTo>
                <a:cubicBezTo>
                  <a:pt x="10488623" y="3509744"/>
                  <a:pt x="10488357" y="3508014"/>
                  <a:pt x="10487691" y="3506416"/>
                </a:cubicBezTo>
                <a:cubicBezTo>
                  <a:pt x="10487026" y="3504686"/>
                  <a:pt x="10486094" y="3503355"/>
                  <a:pt x="10485029" y="3502157"/>
                </a:cubicBezTo>
                <a:cubicBezTo>
                  <a:pt x="10483964" y="3501092"/>
                  <a:pt x="10482633" y="3500159"/>
                  <a:pt x="10481035" y="3499495"/>
                </a:cubicBezTo>
                <a:cubicBezTo>
                  <a:pt x="10479571" y="3498829"/>
                  <a:pt x="10477974" y="3498563"/>
                  <a:pt x="10475977" y="3498563"/>
                </a:cubicBezTo>
                <a:close/>
                <a:moveTo>
                  <a:pt x="10258466" y="3498563"/>
                </a:moveTo>
                <a:cubicBezTo>
                  <a:pt x="10252608" y="3498563"/>
                  <a:pt x="10250078" y="3500558"/>
                  <a:pt x="10248481" y="3502157"/>
                </a:cubicBezTo>
                <a:cubicBezTo>
                  <a:pt x="10245952" y="3504819"/>
                  <a:pt x="10244887" y="3507614"/>
                  <a:pt x="10244887" y="3511608"/>
                </a:cubicBezTo>
                <a:cubicBezTo>
                  <a:pt x="10244887" y="3515735"/>
                  <a:pt x="10245952" y="3518530"/>
                  <a:pt x="10248481" y="3521059"/>
                </a:cubicBezTo>
                <a:cubicBezTo>
                  <a:pt x="10250078" y="3522657"/>
                  <a:pt x="10252608" y="3524520"/>
                  <a:pt x="10258466" y="3524520"/>
                </a:cubicBezTo>
                <a:cubicBezTo>
                  <a:pt x="10260462" y="3524520"/>
                  <a:pt x="10262192" y="3524254"/>
                  <a:pt x="10263790" y="3523722"/>
                </a:cubicBezTo>
                <a:cubicBezTo>
                  <a:pt x="10265388" y="3523189"/>
                  <a:pt x="10266586" y="3522257"/>
                  <a:pt x="10267517" y="3521325"/>
                </a:cubicBezTo>
                <a:cubicBezTo>
                  <a:pt x="10268583" y="3520127"/>
                  <a:pt x="10269515" y="3518796"/>
                  <a:pt x="10270180" y="3517066"/>
                </a:cubicBezTo>
                <a:cubicBezTo>
                  <a:pt x="10270845" y="3515469"/>
                  <a:pt x="10271112" y="3513605"/>
                  <a:pt x="10271112" y="3511608"/>
                </a:cubicBezTo>
                <a:cubicBezTo>
                  <a:pt x="10271112" y="3509744"/>
                  <a:pt x="10270845" y="3508014"/>
                  <a:pt x="10270180" y="3506416"/>
                </a:cubicBezTo>
                <a:cubicBezTo>
                  <a:pt x="10269515" y="3504686"/>
                  <a:pt x="10268583" y="3503355"/>
                  <a:pt x="10267517" y="3502157"/>
                </a:cubicBezTo>
                <a:cubicBezTo>
                  <a:pt x="10266452" y="3501092"/>
                  <a:pt x="10265121" y="3500159"/>
                  <a:pt x="10263524" y="3499495"/>
                </a:cubicBezTo>
                <a:cubicBezTo>
                  <a:pt x="10262060" y="3498829"/>
                  <a:pt x="10260462" y="3498563"/>
                  <a:pt x="10258466" y="3498563"/>
                </a:cubicBezTo>
                <a:close/>
                <a:moveTo>
                  <a:pt x="10040820" y="3498563"/>
                </a:moveTo>
                <a:cubicBezTo>
                  <a:pt x="10034962" y="3498563"/>
                  <a:pt x="10032433" y="3500558"/>
                  <a:pt x="10030835" y="3502157"/>
                </a:cubicBezTo>
                <a:cubicBezTo>
                  <a:pt x="10028306" y="3504819"/>
                  <a:pt x="10027242" y="3507614"/>
                  <a:pt x="10027242" y="3511608"/>
                </a:cubicBezTo>
                <a:cubicBezTo>
                  <a:pt x="10027242" y="3515735"/>
                  <a:pt x="10028306" y="3518530"/>
                  <a:pt x="10030835" y="3521059"/>
                </a:cubicBezTo>
                <a:cubicBezTo>
                  <a:pt x="10032433" y="3522657"/>
                  <a:pt x="10034962" y="3524520"/>
                  <a:pt x="10040820" y="3524520"/>
                </a:cubicBezTo>
                <a:cubicBezTo>
                  <a:pt x="10042817" y="3524520"/>
                  <a:pt x="10044681" y="3524254"/>
                  <a:pt x="10046145" y="3523722"/>
                </a:cubicBezTo>
                <a:cubicBezTo>
                  <a:pt x="10047742" y="3523189"/>
                  <a:pt x="10048941" y="3522257"/>
                  <a:pt x="10049872" y="3521325"/>
                </a:cubicBezTo>
                <a:cubicBezTo>
                  <a:pt x="10050937" y="3520127"/>
                  <a:pt x="10051869" y="3518796"/>
                  <a:pt x="10052534" y="3517066"/>
                </a:cubicBezTo>
                <a:cubicBezTo>
                  <a:pt x="10053333" y="3515469"/>
                  <a:pt x="10053599" y="3513605"/>
                  <a:pt x="10053599" y="3511608"/>
                </a:cubicBezTo>
                <a:cubicBezTo>
                  <a:pt x="10053599" y="3509744"/>
                  <a:pt x="10053200" y="3508014"/>
                  <a:pt x="10052534" y="3506416"/>
                </a:cubicBezTo>
                <a:cubicBezTo>
                  <a:pt x="10051869" y="3504686"/>
                  <a:pt x="10050937" y="3503355"/>
                  <a:pt x="10049872" y="3502157"/>
                </a:cubicBezTo>
                <a:cubicBezTo>
                  <a:pt x="10048807" y="3501092"/>
                  <a:pt x="10047476" y="3500159"/>
                  <a:pt x="10045878" y="3499495"/>
                </a:cubicBezTo>
                <a:cubicBezTo>
                  <a:pt x="10044414" y="3498829"/>
                  <a:pt x="10042817" y="3498563"/>
                  <a:pt x="10040820" y="3498563"/>
                </a:cubicBezTo>
                <a:close/>
                <a:moveTo>
                  <a:pt x="9823176" y="3498563"/>
                </a:moveTo>
                <a:cubicBezTo>
                  <a:pt x="9817318" y="3498563"/>
                  <a:pt x="9814788" y="3500558"/>
                  <a:pt x="9813191" y="3502157"/>
                </a:cubicBezTo>
                <a:cubicBezTo>
                  <a:pt x="9810662" y="3504819"/>
                  <a:pt x="9809597" y="3507614"/>
                  <a:pt x="9809597" y="3511608"/>
                </a:cubicBezTo>
                <a:cubicBezTo>
                  <a:pt x="9809597" y="3515735"/>
                  <a:pt x="9810662" y="3518530"/>
                  <a:pt x="9813191" y="3521059"/>
                </a:cubicBezTo>
                <a:cubicBezTo>
                  <a:pt x="9814788" y="3522657"/>
                  <a:pt x="9817318" y="3524520"/>
                  <a:pt x="9823176" y="3524520"/>
                </a:cubicBezTo>
                <a:cubicBezTo>
                  <a:pt x="9825173" y="3524520"/>
                  <a:pt x="9827036" y="3524254"/>
                  <a:pt x="9828501" y="3523722"/>
                </a:cubicBezTo>
                <a:cubicBezTo>
                  <a:pt x="9830098" y="3523189"/>
                  <a:pt x="9831296" y="3522257"/>
                  <a:pt x="9832227" y="3521325"/>
                </a:cubicBezTo>
                <a:cubicBezTo>
                  <a:pt x="9833293" y="3520127"/>
                  <a:pt x="9834225" y="3518796"/>
                  <a:pt x="9834890" y="3517066"/>
                </a:cubicBezTo>
                <a:cubicBezTo>
                  <a:pt x="9835689" y="3515469"/>
                  <a:pt x="9835955" y="3513605"/>
                  <a:pt x="9835955" y="3511608"/>
                </a:cubicBezTo>
                <a:cubicBezTo>
                  <a:pt x="9835955" y="3509744"/>
                  <a:pt x="9835555" y="3508014"/>
                  <a:pt x="9834890" y="3506416"/>
                </a:cubicBezTo>
                <a:cubicBezTo>
                  <a:pt x="9834225" y="3504686"/>
                  <a:pt x="9833293" y="3503355"/>
                  <a:pt x="9832227" y="3502157"/>
                </a:cubicBezTo>
                <a:cubicBezTo>
                  <a:pt x="9831162" y="3501092"/>
                  <a:pt x="9829831" y="3500159"/>
                  <a:pt x="9828234" y="3499495"/>
                </a:cubicBezTo>
                <a:cubicBezTo>
                  <a:pt x="9826770" y="3498829"/>
                  <a:pt x="9825173" y="3498563"/>
                  <a:pt x="9823176" y="3498563"/>
                </a:cubicBezTo>
                <a:close/>
                <a:moveTo>
                  <a:pt x="9605531" y="3498563"/>
                </a:moveTo>
                <a:cubicBezTo>
                  <a:pt x="9599673" y="3498563"/>
                  <a:pt x="9597143" y="3500558"/>
                  <a:pt x="9595546" y="3502157"/>
                </a:cubicBezTo>
                <a:cubicBezTo>
                  <a:pt x="9593017" y="3504819"/>
                  <a:pt x="9591952" y="3507614"/>
                  <a:pt x="9591952" y="3511608"/>
                </a:cubicBezTo>
                <a:cubicBezTo>
                  <a:pt x="9591952" y="3515735"/>
                  <a:pt x="9593017" y="3518530"/>
                  <a:pt x="9595546" y="3521059"/>
                </a:cubicBezTo>
                <a:cubicBezTo>
                  <a:pt x="9597143" y="3522657"/>
                  <a:pt x="9599673" y="3524520"/>
                  <a:pt x="9605531" y="3524520"/>
                </a:cubicBezTo>
                <a:cubicBezTo>
                  <a:pt x="9607660" y="3524520"/>
                  <a:pt x="9609391" y="3524254"/>
                  <a:pt x="9610855" y="3523722"/>
                </a:cubicBezTo>
                <a:cubicBezTo>
                  <a:pt x="9612319" y="3523189"/>
                  <a:pt x="9613651" y="3522257"/>
                  <a:pt x="9614582" y="3521325"/>
                </a:cubicBezTo>
                <a:cubicBezTo>
                  <a:pt x="9615647" y="3520127"/>
                  <a:pt x="9616579" y="3518796"/>
                  <a:pt x="9617245" y="3517066"/>
                </a:cubicBezTo>
                <a:cubicBezTo>
                  <a:pt x="9618044" y="3515469"/>
                  <a:pt x="9618309" y="3513605"/>
                  <a:pt x="9618309" y="3511608"/>
                </a:cubicBezTo>
                <a:cubicBezTo>
                  <a:pt x="9618309" y="3509744"/>
                  <a:pt x="9617910" y="3508014"/>
                  <a:pt x="9617245" y="3506416"/>
                </a:cubicBezTo>
                <a:cubicBezTo>
                  <a:pt x="9616579" y="3504686"/>
                  <a:pt x="9615647" y="3503355"/>
                  <a:pt x="9614582" y="3502157"/>
                </a:cubicBezTo>
                <a:cubicBezTo>
                  <a:pt x="9613517" y="3501092"/>
                  <a:pt x="9612186" y="3500159"/>
                  <a:pt x="9610589" y="3499495"/>
                </a:cubicBezTo>
                <a:cubicBezTo>
                  <a:pt x="9609124" y="3498829"/>
                  <a:pt x="9607394" y="3498563"/>
                  <a:pt x="9605531" y="3498563"/>
                </a:cubicBezTo>
                <a:close/>
                <a:moveTo>
                  <a:pt x="9387885" y="3498563"/>
                </a:moveTo>
                <a:cubicBezTo>
                  <a:pt x="9382027" y="3498563"/>
                  <a:pt x="9379497" y="3500558"/>
                  <a:pt x="9377900" y="3502157"/>
                </a:cubicBezTo>
                <a:cubicBezTo>
                  <a:pt x="9375371" y="3504819"/>
                  <a:pt x="9374307" y="3507614"/>
                  <a:pt x="9374307" y="3511608"/>
                </a:cubicBezTo>
                <a:cubicBezTo>
                  <a:pt x="9374307" y="3515735"/>
                  <a:pt x="9375371" y="3518530"/>
                  <a:pt x="9377900" y="3521059"/>
                </a:cubicBezTo>
                <a:cubicBezTo>
                  <a:pt x="9379497" y="3522657"/>
                  <a:pt x="9382027" y="3524520"/>
                  <a:pt x="9387885" y="3524520"/>
                </a:cubicBezTo>
                <a:cubicBezTo>
                  <a:pt x="9390015" y="3524520"/>
                  <a:pt x="9391746" y="3524254"/>
                  <a:pt x="9393210" y="3523722"/>
                </a:cubicBezTo>
                <a:cubicBezTo>
                  <a:pt x="9394674" y="3523189"/>
                  <a:pt x="9396005" y="3522257"/>
                  <a:pt x="9396937" y="3521325"/>
                </a:cubicBezTo>
                <a:cubicBezTo>
                  <a:pt x="9398002" y="3520127"/>
                  <a:pt x="9398934" y="3518796"/>
                  <a:pt x="9399599" y="3517066"/>
                </a:cubicBezTo>
                <a:cubicBezTo>
                  <a:pt x="9400398" y="3515469"/>
                  <a:pt x="9400664" y="3513605"/>
                  <a:pt x="9400664" y="3511608"/>
                </a:cubicBezTo>
                <a:cubicBezTo>
                  <a:pt x="9400664" y="3509744"/>
                  <a:pt x="9400265" y="3508014"/>
                  <a:pt x="9399599" y="3506416"/>
                </a:cubicBezTo>
                <a:cubicBezTo>
                  <a:pt x="9398934" y="3504686"/>
                  <a:pt x="9398002" y="3503355"/>
                  <a:pt x="9396937" y="3502157"/>
                </a:cubicBezTo>
                <a:cubicBezTo>
                  <a:pt x="9395872" y="3501092"/>
                  <a:pt x="9394541" y="3500159"/>
                  <a:pt x="9392943" y="3499495"/>
                </a:cubicBezTo>
                <a:cubicBezTo>
                  <a:pt x="9391479" y="3498829"/>
                  <a:pt x="9389749" y="3498563"/>
                  <a:pt x="9387885" y="3498563"/>
                </a:cubicBezTo>
                <a:close/>
                <a:moveTo>
                  <a:pt x="9170374" y="3498563"/>
                </a:moveTo>
                <a:cubicBezTo>
                  <a:pt x="9164649" y="3498563"/>
                  <a:pt x="9161986" y="3500558"/>
                  <a:pt x="9160389" y="3502157"/>
                </a:cubicBezTo>
                <a:cubicBezTo>
                  <a:pt x="9157860" y="3504819"/>
                  <a:pt x="9156795" y="3507614"/>
                  <a:pt x="9156795" y="3511608"/>
                </a:cubicBezTo>
                <a:cubicBezTo>
                  <a:pt x="9156795" y="3515735"/>
                  <a:pt x="9157860" y="3518530"/>
                  <a:pt x="9160389" y="3521059"/>
                </a:cubicBezTo>
                <a:cubicBezTo>
                  <a:pt x="9161986" y="3522657"/>
                  <a:pt x="9164516" y="3524520"/>
                  <a:pt x="9170374" y="3524520"/>
                </a:cubicBezTo>
                <a:cubicBezTo>
                  <a:pt x="9172370" y="3524520"/>
                  <a:pt x="9174100" y="3524254"/>
                  <a:pt x="9175698" y="3523722"/>
                </a:cubicBezTo>
                <a:cubicBezTo>
                  <a:pt x="9177163" y="3523189"/>
                  <a:pt x="9178494" y="3522257"/>
                  <a:pt x="9179425" y="3521325"/>
                </a:cubicBezTo>
                <a:cubicBezTo>
                  <a:pt x="9180491" y="3520127"/>
                  <a:pt x="9181422" y="3518796"/>
                  <a:pt x="9182088" y="3517066"/>
                </a:cubicBezTo>
                <a:cubicBezTo>
                  <a:pt x="9182887" y="3515469"/>
                  <a:pt x="9183152" y="3513605"/>
                  <a:pt x="9183152" y="3511608"/>
                </a:cubicBezTo>
                <a:cubicBezTo>
                  <a:pt x="9183152" y="3509744"/>
                  <a:pt x="9182753" y="3508014"/>
                  <a:pt x="9182088" y="3506416"/>
                </a:cubicBezTo>
                <a:cubicBezTo>
                  <a:pt x="9181422" y="3504686"/>
                  <a:pt x="9180491" y="3503355"/>
                  <a:pt x="9179425" y="3502157"/>
                </a:cubicBezTo>
                <a:cubicBezTo>
                  <a:pt x="9178360" y="3501092"/>
                  <a:pt x="9177029" y="3500159"/>
                  <a:pt x="9175432" y="3499495"/>
                </a:cubicBezTo>
                <a:cubicBezTo>
                  <a:pt x="9173967" y="3498829"/>
                  <a:pt x="9172237" y="3498563"/>
                  <a:pt x="9170374" y="3498563"/>
                </a:cubicBezTo>
                <a:close/>
                <a:moveTo>
                  <a:pt x="8952728" y="3498563"/>
                </a:moveTo>
                <a:cubicBezTo>
                  <a:pt x="8947003" y="3498563"/>
                  <a:pt x="8944340" y="3500558"/>
                  <a:pt x="8942743" y="3502157"/>
                </a:cubicBezTo>
                <a:cubicBezTo>
                  <a:pt x="8940214" y="3504819"/>
                  <a:pt x="8939150" y="3507614"/>
                  <a:pt x="8939150" y="3511608"/>
                </a:cubicBezTo>
                <a:cubicBezTo>
                  <a:pt x="8939150" y="3515735"/>
                  <a:pt x="8940214" y="3518530"/>
                  <a:pt x="8942743" y="3521059"/>
                </a:cubicBezTo>
                <a:cubicBezTo>
                  <a:pt x="8944340" y="3522657"/>
                  <a:pt x="8946870" y="3524520"/>
                  <a:pt x="8952728" y="3524520"/>
                </a:cubicBezTo>
                <a:cubicBezTo>
                  <a:pt x="8954725" y="3524520"/>
                  <a:pt x="8956589" y="3524254"/>
                  <a:pt x="8958053" y="3523722"/>
                </a:cubicBezTo>
                <a:cubicBezTo>
                  <a:pt x="8959517" y="3523189"/>
                  <a:pt x="8960849" y="3522257"/>
                  <a:pt x="8961780" y="3521325"/>
                </a:cubicBezTo>
                <a:cubicBezTo>
                  <a:pt x="8962845" y="3520127"/>
                  <a:pt x="8963777" y="3518796"/>
                  <a:pt x="8964442" y="3517066"/>
                </a:cubicBezTo>
                <a:cubicBezTo>
                  <a:pt x="8965241" y="3515469"/>
                  <a:pt x="8965507" y="3513605"/>
                  <a:pt x="8965507" y="3511608"/>
                </a:cubicBezTo>
                <a:cubicBezTo>
                  <a:pt x="8965507" y="3509744"/>
                  <a:pt x="8965108" y="3508014"/>
                  <a:pt x="8964442" y="3506416"/>
                </a:cubicBezTo>
                <a:cubicBezTo>
                  <a:pt x="8963777" y="3504686"/>
                  <a:pt x="8962845" y="3503355"/>
                  <a:pt x="8961780" y="3502157"/>
                </a:cubicBezTo>
                <a:cubicBezTo>
                  <a:pt x="8960715" y="3501092"/>
                  <a:pt x="8959384" y="3500159"/>
                  <a:pt x="8957786" y="3499495"/>
                </a:cubicBezTo>
                <a:cubicBezTo>
                  <a:pt x="8956322" y="3498829"/>
                  <a:pt x="8954592" y="3498563"/>
                  <a:pt x="8952728" y="3498563"/>
                </a:cubicBezTo>
                <a:close/>
                <a:moveTo>
                  <a:pt x="8735083" y="3498563"/>
                </a:moveTo>
                <a:cubicBezTo>
                  <a:pt x="8729358" y="3498563"/>
                  <a:pt x="8726695" y="3500558"/>
                  <a:pt x="8725098" y="3502157"/>
                </a:cubicBezTo>
                <a:cubicBezTo>
                  <a:pt x="8722569" y="3504819"/>
                  <a:pt x="8721504" y="3507614"/>
                  <a:pt x="8721504" y="3511608"/>
                </a:cubicBezTo>
                <a:cubicBezTo>
                  <a:pt x="8721504" y="3515735"/>
                  <a:pt x="8722569" y="3518530"/>
                  <a:pt x="8725098" y="3521059"/>
                </a:cubicBezTo>
                <a:cubicBezTo>
                  <a:pt x="8726695" y="3522657"/>
                  <a:pt x="8729225" y="3524520"/>
                  <a:pt x="8735083" y="3524520"/>
                </a:cubicBezTo>
                <a:cubicBezTo>
                  <a:pt x="8737079" y="3524520"/>
                  <a:pt x="8738943" y="3524254"/>
                  <a:pt x="8740407" y="3523722"/>
                </a:cubicBezTo>
                <a:cubicBezTo>
                  <a:pt x="8741872" y="3523189"/>
                  <a:pt x="8743203" y="3522257"/>
                  <a:pt x="8744134" y="3521325"/>
                </a:cubicBezTo>
                <a:cubicBezTo>
                  <a:pt x="8745200" y="3520127"/>
                  <a:pt x="8746132" y="3518796"/>
                  <a:pt x="8746797" y="3517066"/>
                </a:cubicBezTo>
                <a:cubicBezTo>
                  <a:pt x="8747596" y="3515469"/>
                  <a:pt x="8747862" y="3513605"/>
                  <a:pt x="8747862" y="3511608"/>
                </a:cubicBezTo>
                <a:cubicBezTo>
                  <a:pt x="8747862" y="3509744"/>
                  <a:pt x="8747462" y="3508014"/>
                  <a:pt x="8746797" y="3506416"/>
                </a:cubicBezTo>
                <a:cubicBezTo>
                  <a:pt x="8746132" y="3504686"/>
                  <a:pt x="8745200" y="3503355"/>
                  <a:pt x="8744134" y="3502157"/>
                </a:cubicBezTo>
                <a:cubicBezTo>
                  <a:pt x="8743069" y="3501092"/>
                  <a:pt x="8741738" y="3500159"/>
                  <a:pt x="8740141" y="3499495"/>
                </a:cubicBezTo>
                <a:cubicBezTo>
                  <a:pt x="8738677" y="3498829"/>
                  <a:pt x="8736946" y="3498563"/>
                  <a:pt x="8735083" y="3498563"/>
                </a:cubicBezTo>
                <a:close/>
                <a:moveTo>
                  <a:pt x="8517438" y="3498563"/>
                </a:moveTo>
                <a:cubicBezTo>
                  <a:pt x="8511713" y="3498563"/>
                  <a:pt x="8509051" y="3500558"/>
                  <a:pt x="8507453" y="3502157"/>
                </a:cubicBezTo>
                <a:cubicBezTo>
                  <a:pt x="8504925" y="3504819"/>
                  <a:pt x="8503860" y="3507614"/>
                  <a:pt x="8503860" y="3511608"/>
                </a:cubicBezTo>
                <a:cubicBezTo>
                  <a:pt x="8503860" y="3515735"/>
                  <a:pt x="8504925" y="3518530"/>
                  <a:pt x="8507453" y="3521059"/>
                </a:cubicBezTo>
                <a:cubicBezTo>
                  <a:pt x="8509051" y="3522657"/>
                  <a:pt x="8511581" y="3524520"/>
                  <a:pt x="8517438" y="3524520"/>
                </a:cubicBezTo>
                <a:cubicBezTo>
                  <a:pt x="8519568" y="3524520"/>
                  <a:pt x="8521299" y="3524254"/>
                  <a:pt x="8522763" y="3523722"/>
                </a:cubicBezTo>
                <a:cubicBezTo>
                  <a:pt x="8524227" y="3523189"/>
                  <a:pt x="8525559" y="3522257"/>
                  <a:pt x="8526490" y="3521325"/>
                </a:cubicBezTo>
                <a:cubicBezTo>
                  <a:pt x="8527555" y="3520127"/>
                  <a:pt x="8528487" y="3518796"/>
                  <a:pt x="8529152" y="3517066"/>
                </a:cubicBezTo>
                <a:cubicBezTo>
                  <a:pt x="8529818" y="3515469"/>
                  <a:pt x="8530084" y="3513605"/>
                  <a:pt x="8530084" y="3511608"/>
                </a:cubicBezTo>
                <a:cubicBezTo>
                  <a:pt x="8530084" y="3509744"/>
                  <a:pt x="8529818" y="3508014"/>
                  <a:pt x="8529152" y="3506416"/>
                </a:cubicBezTo>
                <a:cubicBezTo>
                  <a:pt x="8528487" y="3504686"/>
                  <a:pt x="8527555" y="3503355"/>
                  <a:pt x="8526490" y="3502157"/>
                </a:cubicBezTo>
                <a:cubicBezTo>
                  <a:pt x="8525425" y="3501092"/>
                  <a:pt x="8524094" y="3500159"/>
                  <a:pt x="8522496" y="3499495"/>
                </a:cubicBezTo>
                <a:cubicBezTo>
                  <a:pt x="8521032" y="3498829"/>
                  <a:pt x="8519302" y="3498563"/>
                  <a:pt x="8517438" y="3498563"/>
                </a:cubicBezTo>
                <a:close/>
                <a:moveTo>
                  <a:pt x="8299793" y="3498563"/>
                </a:moveTo>
                <a:cubicBezTo>
                  <a:pt x="8294068" y="3498563"/>
                  <a:pt x="8291406" y="3500558"/>
                  <a:pt x="8289809" y="3502157"/>
                </a:cubicBezTo>
                <a:cubicBezTo>
                  <a:pt x="8287280" y="3504819"/>
                  <a:pt x="8286215" y="3507614"/>
                  <a:pt x="8286215" y="3511608"/>
                </a:cubicBezTo>
                <a:cubicBezTo>
                  <a:pt x="8286215" y="3515735"/>
                  <a:pt x="8287280" y="3518530"/>
                  <a:pt x="8289809" y="3521059"/>
                </a:cubicBezTo>
                <a:cubicBezTo>
                  <a:pt x="8291406" y="3522657"/>
                  <a:pt x="8293935" y="3524520"/>
                  <a:pt x="8299793" y="3524520"/>
                </a:cubicBezTo>
                <a:cubicBezTo>
                  <a:pt x="8301923" y="3524520"/>
                  <a:pt x="8303653" y="3524254"/>
                  <a:pt x="8305118" y="3523722"/>
                </a:cubicBezTo>
                <a:cubicBezTo>
                  <a:pt x="8306582" y="3523189"/>
                  <a:pt x="8307913" y="3522257"/>
                  <a:pt x="8308844" y="3521325"/>
                </a:cubicBezTo>
                <a:cubicBezTo>
                  <a:pt x="8309910" y="3520127"/>
                  <a:pt x="8310842" y="3518796"/>
                  <a:pt x="8311507" y="3517066"/>
                </a:cubicBezTo>
                <a:cubicBezTo>
                  <a:pt x="8312172" y="3515469"/>
                  <a:pt x="8312439" y="3513605"/>
                  <a:pt x="8312439" y="3511608"/>
                </a:cubicBezTo>
                <a:cubicBezTo>
                  <a:pt x="8312439" y="3509744"/>
                  <a:pt x="8312172" y="3508014"/>
                  <a:pt x="8311507" y="3506416"/>
                </a:cubicBezTo>
                <a:cubicBezTo>
                  <a:pt x="8310842" y="3504686"/>
                  <a:pt x="8309910" y="3503355"/>
                  <a:pt x="8308844" y="3502157"/>
                </a:cubicBezTo>
                <a:cubicBezTo>
                  <a:pt x="8307779" y="3501092"/>
                  <a:pt x="8306448" y="3500159"/>
                  <a:pt x="8304851" y="3499495"/>
                </a:cubicBezTo>
                <a:cubicBezTo>
                  <a:pt x="8303387" y="3498829"/>
                  <a:pt x="8301790" y="3498563"/>
                  <a:pt x="8299793" y="3498563"/>
                </a:cubicBezTo>
                <a:close/>
                <a:moveTo>
                  <a:pt x="8082281" y="3498563"/>
                </a:moveTo>
                <a:cubicBezTo>
                  <a:pt x="8076424" y="3498563"/>
                  <a:pt x="8073894" y="3500558"/>
                  <a:pt x="8072297" y="3502157"/>
                </a:cubicBezTo>
                <a:cubicBezTo>
                  <a:pt x="8069768" y="3504819"/>
                  <a:pt x="8068703" y="3507614"/>
                  <a:pt x="8068703" y="3511608"/>
                </a:cubicBezTo>
                <a:cubicBezTo>
                  <a:pt x="8068703" y="3515735"/>
                  <a:pt x="8069768" y="3518530"/>
                  <a:pt x="8072297" y="3521059"/>
                </a:cubicBezTo>
                <a:cubicBezTo>
                  <a:pt x="8073894" y="3522657"/>
                  <a:pt x="8076424" y="3524520"/>
                  <a:pt x="8082281" y="3524520"/>
                </a:cubicBezTo>
                <a:cubicBezTo>
                  <a:pt x="8084277" y="3524520"/>
                  <a:pt x="8086007" y="3524254"/>
                  <a:pt x="8087605" y="3523722"/>
                </a:cubicBezTo>
                <a:cubicBezTo>
                  <a:pt x="8089069" y="3523189"/>
                  <a:pt x="8090401" y="3522257"/>
                  <a:pt x="8091332" y="3521325"/>
                </a:cubicBezTo>
                <a:cubicBezTo>
                  <a:pt x="8092397" y="3520127"/>
                  <a:pt x="8093329" y="3518796"/>
                  <a:pt x="8093994" y="3517066"/>
                </a:cubicBezTo>
                <a:cubicBezTo>
                  <a:pt x="8094660" y="3515469"/>
                  <a:pt x="8094926" y="3513605"/>
                  <a:pt x="8094926" y="3511608"/>
                </a:cubicBezTo>
                <a:cubicBezTo>
                  <a:pt x="8094926" y="3509744"/>
                  <a:pt x="8094660" y="3508014"/>
                  <a:pt x="8093994" y="3506416"/>
                </a:cubicBezTo>
                <a:cubicBezTo>
                  <a:pt x="8093329" y="3504686"/>
                  <a:pt x="8092397" y="3503355"/>
                  <a:pt x="8091332" y="3502157"/>
                </a:cubicBezTo>
                <a:cubicBezTo>
                  <a:pt x="8090267" y="3501092"/>
                  <a:pt x="8088936" y="3500159"/>
                  <a:pt x="8087338" y="3499495"/>
                </a:cubicBezTo>
                <a:cubicBezTo>
                  <a:pt x="8085874" y="3498829"/>
                  <a:pt x="8084277" y="3498563"/>
                  <a:pt x="8082281" y="3498563"/>
                </a:cubicBezTo>
                <a:close/>
                <a:moveTo>
                  <a:pt x="7864636" y="3498563"/>
                </a:moveTo>
                <a:cubicBezTo>
                  <a:pt x="7858779" y="3498563"/>
                  <a:pt x="7856249" y="3500558"/>
                  <a:pt x="7854652" y="3502157"/>
                </a:cubicBezTo>
                <a:cubicBezTo>
                  <a:pt x="7852123" y="3504819"/>
                  <a:pt x="7851058" y="3507614"/>
                  <a:pt x="7851058" y="3511608"/>
                </a:cubicBezTo>
                <a:cubicBezTo>
                  <a:pt x="7851058" y="3515735"/>
                  <a:pt x="7852123" y="3518530"/>
                  <a:pt x="7854652" y="3521059"/>
                </a:cubicBezTo>
                <a:cubicBezTo>
                  <a:pt x="7856249" y="3522657"/>
                  <a:pt x="7858779" y="3524520"/>
                  <a:pt x="7864636" y="3524520"/>
                </a:cubicBezTo>
                <a:cubicBezTo>
                  <a:pt x="7866633" y="3524520"/>
                  <a:pt x="7868363" y="3524254"/>
                  <a:pt x="7869961" y="3523722"/>
                </a:cubicBezTo>
                <a:cubicBezTo>
                  <a:pt x="7871425" y="3523189"/>
                  <a:pt x="7872756" y="3522257"/>
                  <a:pt x="7873687" y="3521325"/>
                </a:cubicBezTo>
                <a:cubicBezTo>
                  <a:pt x="7874753" y="3520127"/>
                  <a:pt x="7875685" y="3518796"/>
                  <a:pt x="7876350" y="3517066"/>
                </a:cubicBezTo>
                <a:cubicBezTo>
                  <a:pt x="7877015" y="3515469"/>
                  <a:pt x="7877282" y="3513605"/>
                  <a:pt x="7877282" y="3511608"/>
                </a:cubicBezTo>
                <a:cubicBezTo>
                  <a:pt x="7877282" y="3509744"/>
                  <a:pt x="7877015" y="3508014"/>
                  <a:pt x="7876350" y="3506416"/>
                </a:cubicBezTo>
                <a:cubicBezTo>
                  <a:pt x="7875685" y="3504686"/>
                  <a:pt x="7874753" y="3503355"/>
                  <a:pt x="7873687" y="3502157"/>
                </a:cubicBezTo>
                <a:cubicBezTo>
                  <a:pt x="7872623" y="3501092"/>
                  <a:pt x="7871291" y="3500159"/>
                  <a:pt x="7869694" y="3499495"/>
                </a:cubicBezTo>
                <a:cubicBezTo>
                  <a:pt x="7868230" y="3498829"/>
                  <a:pt x="7866633" y="3498563"/>
                  <a:pt x="7864636" y="3498563"/>
                </a:cubicBezTo>
                <a:close/>
                <a:moveTo>
                  <a:pt x="7646991" y="3498563"/>
                </a:moveTo>
                <a:cubicBezTo>
                  <a:pt x="7641134" y="3498563"/>
                  <a:pt x="7638604" y="3500558"/>
                  <a:pt x="7637007" y="3502157"/>
                </a:cubicBezTo>
                <a:cubicBezTo>
                  <a:pt x="7634478" y="3504819"/>
                  <a:pt x="7633413" y="3507614"/>
                  <a:pt x="7633413" y="3511608"/>
                </a:cubicBezTo>
                <a:cubicBezTo>
                  <a:pt x="7633413" y="3515735"/>
                  <a:pt x="7634478" y="3518530"/>
                  <a:pt x="7637007" y="3521059"/>
                </a:cubicBezTo>
                <a:cubicBezTo>
                  <a:pt x="7638604" y="3522657"/>
                  <a:pt x="7641134" y="3524520"/>
                  <a:pt x="7646991" y="3524520"/>
                </a:cubicBezTo>
                <a:cubicBezTo>
                  <a:pt x="7648987" y="3524520"/>
                  <a:pt x="7650851" y="3524254"/>
                  <a:pt x="7652315" y="3523722"/>
                </a:cubicBezTo>
                <a:cubicBezTo>
                  <a:pt x="7653780" y="3523189"/>
                  <a:pt x="7655111" y="3522257"/>
                  <a:pt x="7656042" y="3521325"/>
                </a:cubicBezTo>
                <a:cubicBezTo>
                  <a:pt x="7657108" y="3520127"/>
                  <a:pt x="7658039" y="3518796"/>
                  <a:pt x="7658705" y="3517066"/>
                </a:cubicBezTo>
                <a:cubicBezTo>
                  <a:pt x="7659504" y="3515469"/>
                  <a:pt x="7659769" y="3513605"/>
                  <a:pt x="7659769" y="3511608"/>
                </a:cubicBezTo>
                <a:cubicBezTo>
                  <a:pt x="7659769" y="3509744"/>
                  <a:pt x="7659370" y="3508014"/>
                  <a:pt x="7658705" y="3506416"/>
                </a:cubicBezTo>
                <a:cubicBezTo>
                  <a:pt x="7658039" y="3504686"/>
                  <a:pt x="7657108" y="3503355"/>
                  <a:pt x="7656042" y="3502157"/>
                </a:cubicBezTo>
                <a:cubicBezTo>
                  <a:pt x="7654977" y="3501092"/>
                  <a:pt x="7653646" y="3500159"/>
                  <a:pt x="7652049" y="3499495"/>
                </a:cubicBezTo>
                <a:cubicBezTo>
                  <a:pt x="7650584" y="3498829"/>
                  <a:pt x="7648987" y="3498563"/>
                  <a:pt x="7646991" y="3498563"/>
                </a:cubicBezTo>
                <a:close/>
                <a:moveTo>
                  <a:pt x="7429345" y="3498563"/>
                </a:moveTo>
                <a:cubicBezTo>
                  <a:pt x="7423488" y="3498563"/>
                  <a:pt x="7420958" y="3500558"/>
                  <a:pt x="7419361" y="3502157"/>
                </a:cubicBezTo>
                <a:cubicBezTo>
                  <a:pt x="7416832" y="3504819"/>
                  <a:pt x="7415768" y="3507614"/>
                  <a:pt x="7415768" y="3511608"/>
                </a:cubicBezTo>
                <a:cubicBezTo>
                  <a:pt x="7415768" y="3515735"/>
                  <a:pt x="7416832" y="3518530"/>
                  <a:pt x="7419361" y="3521059"/>
                </a:cubicBezTo>
                <a:cubicBezTo>
                  <a:pt x="7420958" y="3522657"/>
                  <a:pt x="7423488" y="3524520"/>
                  <a:pt x="7429345" y="3524520"/>
                </a:cubicBezTo>
                <a:cubicBezTo>
                  <a:pt x="7431342" y="3524520"/>
                  <a:pt x="7433206" y="3524254"/>
                  <a:pt x="7434670" y="3523722"/>
                </a:cubicBezTo>
                <a:cubicBezTo>
                  <a:pt x="7436134" y="3523189"/>
                  <a:pt x="7437466" y="3522257"/>
                  <a:pt x="7438397" y="3521325"/>
                </a:cubicBezTo>
                <a:cubicBezTo>
                  <a:pt x="7439462" y="3520127"/>
                  <a:pt x="7440394" y="3518796"/>
                  <a:pt x="7441059" y="3517066"/>
                </a:cubicBezTo>
                <a:cubicBezTo>
                  <a:pt x="7441858" y="3515469"/>
                  <a:pt x="7442124" y="3513605"/>
                  <a:pt x="7442124" y="3511608"/>
                </a:cubicBezTo>
                <a:cubicBezTo>
                  <a:pt x="7442124" y="3509744"/>
                  <a:pt x="7441725" y="3508014"/>
                  <a:pt x="7441059" y="3506416"/>
                </a:cubicBezTo>
                <a:cubicBezTo>
                  <a:pt x="7440394" y="3504686"/>
                  <a:pt x="7439462" y="3503355"/>
                  <a:pt x="7438397" y="3502157"/>
                </a:cubicBezTo>
                <a:cubicBezTo>
                  <a:pt x="7437332" y="3501092"/>
                  <a:pt x="7436001" y="3500159"/>
                  <a:pt x="7434403" y="3499495"/>
                </a:cubicBezTo>
                <a:cubicBezTo>
                  <a:pt x="7432939" y="3498829"/>
                  <a:pt x="7431342" y="3498563"/>
                  <a:pt x="7429345" y="3498563"/>
                </a:cubicBezTo>
                <a:close/>
                <a:moveTo>
                  <a:pt x="7211701" y="3498563"/>
                </a:moveTo>
                <a:cubicBezTo>
                  <a:pt x="7205844" y="3498563"/>
                  <a:pt x="7203314" y="3500558"/>
                  <a:pt x="7201717" y="3502157"/>
                </a:cubicBezTo>
                <a:cubicBezTo>
                  <a:pt x="7199188" y="3504819"/>
                  <a:pt x="7198123" y="3507614"/>
                  <a:pt x="7198123" y="3511608"/>
                </a:cubicBezTo>
                <a:cubicBezTo>
                  <a:pt x="7198123" y="3515735"/>
                  <a:pt x="7199188" y="3518530"/>
                  <a:pt x="7201717" y="3521059"/>
                </a:cubicBezTo>
                <a:cubicBezTo>
                  <a:pt x="7203314" y="3522657"/>
                  <a:pt x="7205844" y="3524520"/>
                  <a:pt x="7211701" y="3524520"/>
                </a:cubicBezTo>
                <a:cubicBezTo>
                  <a:pt x="7213830" y="3524520"/>
                  <a:pt x="7215561" y="3524254"/>
                  <a:pt x="7217026" y="3523722"/>
                </a:cubicBezTo>
                <a:cubicBezTo>
                  <a:pt x="7218490" y="3523189"/>
                  <a:pt x="7219821" y="3522257"/>
                  <a:pt x="7220752" y="3521325"/>
                </a:cubicBezTo>
                <a:cubicBezTo>
                  <a:pt x="7221818" y="3520127"/>
                  <a:pt x="7222750" y="3518796"/>
                  <a:pt x="7223415" y="3517066"/>
                </a:cubicBezTo>
                <a:cubicBezTo>
                  <a:pt x="7224214" y="3515469"/>
                  <a:pt x="7224480" y="3513605"/>
                  <a:pt x="7224480" y="3511608"/>
                </a:cubicBezTo>
                <a:cubicBezTo>
                  <a:pt x="7224480" y="3509744"/>
                  <a:pt x="7224080" y="3508014"/>
                  <a:pt x="7223415" y="3506416"/>
                </a:cubicBezTo>
                <a:cubicBezTo>
                  <a:pt x="7222750" y="3504686"/>
                  <a:pt x="7221818" y="3503355"/>
                  <a:pt x="7220752" y="3502157"/>
                </a:cubicBezTo>
                <a:cubicBezTo>
                  <a:pt x="7219687" y="3501092"/>
                  <a:pt x="7218356" y="3500159"/>
                  <a:pt x="7216759" y="3499495"/>
                </a:cubicBezTo>
                <a:cubicBezTo>
                  <a:pt x="7215295" y="3498829"/>
                  <a:pt x="7213698" y="3498563"/>
                  <a:pt x="7211701" y="3498563"/>
                </a:cubicBezTo>
                <a:close/>
                <a:moveTo>
                  <a:pt x="6994056" y="3498563"/>
                </a:moveTo>
                <a:cubicBezTo>
                  <a:pt x="6988199" y="3498563"/>
                  <a:pt x="6985669" y="3500558"/>
                  <a:pt x="6984072" y="3502157"/>
                </a:cubicBezTo>
                <a:cubicBezTo>
                  <a:pt x="6981543" y="3504819"/>
                  <a:pt x="6980478" y="3507614"/>
                  <a:pt x="6980478" y="3511608"/>
                </a:cubicBezTo>
                <a:cubicBezTo>
                  <a:pt x="6980478" y="3515735"/>
                  <a:pt x="6981543" y="3518530"/>
                  <a:pt x="6984072" y="3521059"/>
                </a:cubicBezTo>
                <a:cubicBezTo>
                  <a:pt x="6985669" y="3522657"/>
                  <a:pt x="6988199" y="3524520"/>
                  <a:pt x="6994056" y="3524520"/>
                </a:cubicBezTo>
                <a:cubicBezTo>
                  <a:pt x="6996185" y="3524520"/>
                  <a:pt x="6997916" y="3524254"/>
                  <a:pt x="6999380" y="3523722"/>
                </a:cubicBezTo>
                <a:cubicBezTo>
                  <a:pt x="7000844" y="3523189"/>
                  <a:pt x="7002176" y="3522257"/>
                  <a:pt x="7003107" y="3521325"/>
                </a:cubicBezTo>
                <a:cubicBezTo>
                  <a:pt x="7004172" y="3520127"/>
                  <a:pt x="7005104" y="3518796"/>
                  <a:pt x="7005769" y="3517066"/>
                </a:cubicBezTo>
                <a:cubicBezTo>
                  <a:pt x="7006568" y="3515469"/>
                  <a:pt x="7006834" y="3513605"/>
                  <a:pt x="7006834" y="3511608"/>
                </a:cubicBezTo>
                <a:cubicBezTo>
                  <a:pt x="7006834" y="3509744"/>
                  <a:pt x="7006435" y="3508014"/>
                  <a:pt x="7005769" y="3506416"/>
                </a:cubicBezTo>
                <a:cubicBezTo>
                  <a:pt x="7005104" y="3504686"/>
                  <a:pt x="7004172" y="3503355"/>
                  <a:pt x="7003107" y="3502157"/>
                </a:cubicBezTo>
                <a:cubicBezTo>
                  <a:pt x="7002042" y="3501092"/>
                  <a:pt x="7000711" y="3500159"/>
                  <a:pt x="6999113" y="3499495"/>
                </a:cubicBezTo>
                <a:cubicBezTo>
                  <a:pt x="6997649" y="3498829"/>
                  <a:pt x="6996052" y="3498563"/>
                  <a:pt x="6994056" y="3498563"/>
                </a:cubicBezTo>
                <a:close/>
                <a:moveTo>
                  <a:pt x="6776544" y="3498563"/>
                </a:moveTo>
                <a:cubicBezTo>
                  <a:pt x="6770687" y="3498563"/>
                  <a:pt x="6768157" y="3500558"/>
                  <a:pt x="6766560" y="3502157"/>
                </a:cubicBezTo>
                <a:cubicBezTo>
                  <a:pt x="6764031" y="3504819"/>
                  <a:pt x="6762966" y="3507614"/>
                  <a:pt x="6762966" y="3511608"/>
                </a:cubicBezTo>
                <a:cubicBezTo>
                  <a:pt x="6762966" y="3515735"/>
                  <a:pt x="6764031" y="3518530"/>
                  <a:pt x="6766560" y="3521059"/>
                </a:cubicBezTo>
                <a:cubicBezTo>
                  <a:pt x="6768157" y="3522657"/>
                  <a:pt x="6770687" y="3524520"/>
                  <a:pt x="6776544" y="3524520"/>
                </a:cubicBezTo>
                <a:cubicBezTo>
                  <a:pt x="6778541" y="3524520"/>
                  <a:pt x="6780270" y="3524254"/>
                  <a:pt x="6781869" y="3523722"/>
                </a:cubicBezTo>
                <a:cubicBezTo>
                  <a:pt x="6783333" y="3523189"/>
                  <a:pt x="6784664" y="3522257"/>
                  <a:pt x="6785595" y="3521325"/>
                </a:cubicBezTo>
                <a:cubicBezTo>
                  <a:pt x="6786661" y="3520127"/>
                  <a:pt x="6787593" y="3518796"/>
                  <a:pt x="6788258" y="3517066"/>
                </a:cubicBezTo>
                <a:cubicBezTo>
                  <a:pt x="6789057" y="3515469"/>
                  <a:pt x="6789323" y="3513605"/>
                  <a:pt x="6789323" y="3511608"/>
                </a:cubicBezTo>
                <a:cubicBezTo>
                  <a:pt x="6789323" y="3509744"/>
                  <a:pt x="6788923" y="3508014"/>
                  <a:pt x="6788258" y="3506416"/>
                </a:cubicBezTo>
                <a:cubicBezTo>
                  <a:pt x="6787593" y="3504686"/>
                  <a:pt x="6786661" y="3503355"/>
                  <a:pt x="6785595" y="3502157"/>
                </a:cubicBezTo>
                <a:cubicBezTo>
                  <a:pt x="6784530" y="3501092"/>
                  <a:pt x="6783199" y="3500159"/>
                  <a:pt x="6781602" y="3499495"/>
                </a:cubicBezTo>
                <a:cubicBezTo>
                  <a:pt x="6780138" y="3498829"/>
                  <a:pt x="6778541" y="3498563"/>
                  <a:pt x="6776544" y="3498563"/>
                </a:cubicBezTo>
                <a:close/>
                <a:moveTo>
                  <a:pt x="6558899" y="3498563"/>
                </a:moveTo>
                <a:cubicBezTo>
                  <a:pt x="6553042" y="3498563"/>
                  <a:pt x="6550512" y="3500558"/>
                  <a:pt x="6548915" y="3502157"/>
                </a:cubicBezTo>
                <a:cubicBezTo>
                  <a:pt x="6546386" y="3504819"/>
                  <a:pt x="6545321" y="3507614"/>
                  <a:pt x="6545321" y="3511608"/>
                </a:cubicBezTo>
                <a:cubicBezTo>
                  <a:pt x="6545321" y="3515735"/>
                  <a:pt x="6546386" y="3518530"/>
                  <a:pt x="6548915" y="3521059"/>
                </a:cubicBezTo>
                <a:cubicBezTo>
                  <a:pt x="6550512" y="3522657"/>
                  <a:pt x="6553042" y="3524520"/>
                  <a:pt x="6558899" y="3524520"/>
                </a:cubicBezTo>
                <a:cubicBezTo>
                  <a:pt x="6560895" y="3524520"/>
                  <a:pt x="6562759" y="3524254"/>
                  <a:pt x="6564223" y="3523722"/>
                </a:cubicBezTo>
                <a:cubicBezTo>
                  <a:pt x="6565687" y="3523189"/>
                  <a:pt x="6567019" y="3522257"/>
                  <a:pt x="6567950" y="3521325"/>
                </a:cubicBezTo>
                <a:cubicBezTo>
                  <a:pt x="6569015" y="3520127"/>
                  <a:pt x="6569947" y="3518796"/>
                  <a:pt x="6570612" y="3517066"/>
                </a:cubicBezTo>
                <a:cubicBezTo>
                  <a:pt x="6571412" y="3515469"/>
                  <a:pt x="6571677" y="3513605"/>
                  <a:pt x="6571677" y="3511608"/>
                </a:cubicBezTo>
                <a:cubicBezTo>
                  <a:pt x="6571677" y="3509744"/>
                  <a:pt x="6571278" y="3508014"/>
                  <a:pt x="6570612" y="3506416"/>
                </a:cubicBezTo>
                <a:cubicBezTo>
                  <a:pt x="6569947" y="3504686"/>
                  <a:pt x="6569015" y="3503355"/>
                  <a:pt x="6567950" y="3502157"/>
                </a:cubicBezTo>
                <a:cubicBezTo>
                  <a:pt x="6566885" y="3501092"/>
                  <a:pt x="6565554" y="3500159"/>
                  <a:pt x="6563956" y="3499495"/>
                </a:cubicBezTo>
                <a:cubicBezTo>
                  <a:pt x="6562492" y="3498829"/>
                  <a:pt x="6560895" y="3498563"/>
                  <a:pt x="6558899" y="3498563"/>
                </a:cubicBezTo>
                <a:close/>
                <a:moveTo>
                  <a:pt x="6341253" y="3498563"/>
                </a:moveTo>
                <a:cubicBezTo>
                  <a:pt x="6335396" y="3498563"/>
                  <a:pt x="6332867" y="3500558"/>
                  <a:pt x="6331270" y="3502157"/>
                </a:cubicBezTo>
                <a:cubicBezTo>
                  <a:pt x="6328740" y="3504819"/>
                  <a:pt x="6327675" y="3507614"/>
                  <a:pt x="6327675" y="3511608"/>
                </a:cubicBezTo>
                <a:cubicBezTo>
                  <a:pt x="6327675" y="3515735"/>
                  <a:pt x="6328740" y="3518530"/>
                  <a:pt x="6331270" y="3521059"/>
                </a:cubicBezTo>
                <a:cubicBezTo>
                  <a:pt x="6332867" y="3522657"/>
                  <a:pt x="6335396" y="3524520"/>
                  <a:pt x="6341253" y="3524520"/>
                </a:cubicBezTo>
                <a:cubicBezTo>
                  <a:pt x="6343250" y="3524520"/>
                  <a:pt x="6345114" y="3524254"/>
                  <a:pt x="6346578" y="3523722"/>
                </a:cubicBezTo>
                <a:cubicBezTo>
                  <a:pt x="6348042" y="3523189"/>
                  <a:pt x="6349373" y="3522257"/>
                  <a:pt x="6350305" y="3521325"/>
                </a:cubicBezTo>
                <a:cubicBezTo>
                  <a:pt x="6351370" y="3520127"/>
                  <a:pt x="6352302" y="3518796"/>
                  <a:pt x="6352968" y="3517066"/>
                </a:cubicBezTo>
                <a:cubicBezTo>
                  <a:pt x="6353766" y="3515469"/>
                  <a:pt x="6354033" y="3513605"/>
                  <a:pt x="6354033" y="3511608"/>
                </a:cubicBezTo>
                <a:cubicBezTo>
                  <a:pt x="6354033" y="3509744"/>
                  <a:pt x="6353633" y="3508014"/>
                  <a:pt x="6352968" y="3506416"/>
                </a:cubicBezTo>
                <a:cubicBezTo>
                  <a:pt x="6352302" y="3504686"/>
                  <a:pt x="6351370" y="3503355"/>
                  <a:pt x="6350305" y="3502157"/>
                </a:cubicBezTo>
                <a:cubicBezTo>
                  <a:pt x="6349241" y="3501092"/>
                  <a:pt x="6347909" y="3500159"/>
                  <a:pt x="6346312" y="3499495"/>
                </a:cubicBezTo>
                <a:cubicBezTo>
                  <a:pt x="6344848" y="3498829"/>
                  <a:pt x="6343250" y="3498563"/>
                  <a:pt x="6341253" y="3498563"/>
                </a:cubicBezTo>
                <a:close/>
                <a:moveTo>
                  <a:pt x="6123608" y="3498563"/>
                </a:moveTo>
                <a:cubicBezTo>
                  <a:pt x="6117751" y="3498563"/>
                  <a:pt x="6115221" y="3500558"/>
                  <a:pt x="6113624" y="3502157"/>
                </a:cubicBezTo>
                <a:cubicBezTo>
                  <a:pt x="6111095" y="3504819"/>
                  <a:pt x="6110030" y="3507614"/>
                  <a:pt x="6110030" y="3511608"/>
                </a:cubicBezTo>
                <a:cubicBezTo>
                  <a:pt x="6110030" y="3515735"/>
                  <a:pt x="6111095" y="3518530"/>
                  <a:pt x="6113624" y="3521059"/>
                </a:cubicBezTo>
                <a:cubicBezTo>
                  <a:pt x="6115221" y="3522657"/>
                  <a:pt x="6117751" y="3524520"/>
                  <a:pt x="6123608" y="3524520"/>
                </a:cubicBezTo>
                <a:cubicBezTo>
                  <a:pt x="6125737" y="3524520"/>
                  <a:pt x="6127468" y="3524254"/>
                  <a:pt x="6128932" y="3523722"/>
                </a:cubicBezTo>
                <a:cubicBezTo>
                  <a:pt x="6130530" y="3523189"/>
                  <a:pt x="6131728" y="3522257"/>
                  <a:pt x="6132659" y="3521325"/>
                </a:cubicBezTo>
                <a:cubicBezTo>
                  <a:pt x="6133724" y="3520127"/>
                  <a:pt x="6134656" y="3518796"/>
                  <a:pt x="6135322" y="3517066"/>
                </a:cubicBezTo>
                <a:cubicBezTo>
                  <a:pt x="6135987" y="3515469"/>
                  <a:pt x="6136387" y="3513605"/>
                  <a:pt x="6136387" y="3511608"/>
                </a:cubicBezTo>
                <a:cubicBezTo>
                  <a:pt x="6136387" y="3509744"/>
                  <a:pt x="6135987" y="3508014"/>
                  <a:pt x="6135322" y="3506416"/>
                </a:cubicBezTo>
                <a:cubicBezTo>
                  <a:pt x="6134656" y="3504686"/>
                  <a:pt x="6133724" y="3503355"/>
                  <a:pt x="6132659" y="3502157"/>
                </a:cubicBezTo>
                <a:cubicBezTo>
                  <a:pt x="6131594" y="3501092"/>
                  <a:pt x="6130263" y="3500159"/>
                  <a:pt x="6128666" y="3499495"/>
                </a:cubicBezTo>
                <a:cubicBezTo>
                  <a:pt x="6127202" y="3498829"/>
                  <a:pt x="6125604" y="3498563"/>
                  <a:pt x="6123608" y="3498563"/>
                </a:cubicBezTo>
                <a:close/>
                <a:moveTo>
                  <a:pt x="5905963" y="3498563"/>
                </a:moveTo>
                <a:cubicBezTo>
                  <a:pt x="5900106" y="3498563"/>
                  <a:pt x="5897576" y="3500558"/>
                  <a:pt x="5895979" y="3502157"/>
                </a:cubicBezTo>
                <a:cubicBezTo>
                  <a:pt x="5893450" y="3504819"/>
                  <a:pt x="5892385" y="3507614"/>
                  <a:pt x="5892385" y="3511608"/>
                </a:cubicBezTo>
                <a:cubicBezTo>
                  <a:pt x="5892385" y="3515735"/>
                  <a:pt x="5893450" y="3518530"/>
                  <a:pt x="5895979" y="3521059"/>
                </a:cubicBezTo>
                <a:cubicBezTo>
                  <a:pt x="5897576" y="3522657"/>
                  <a:pt x="5900106" y="3524520"/>
                  <a:pt x="5905963" y="3524520"/>
                </a:cubicBezTo>
                <a:cubicBezTo>
                  <a:pt x="5908093" y="3524520"/>
                  <a:pt x="5909823" y="3524254"/>
                  <a:pt x="5911287" y="3523722"/>
                </a:cubicBezTo>
                <a:cubicBezTo>
                  <a:pt x="5912751" y="3523189"/>
                  <a:pt x="5914083" y="3522257"/>
                  <a:pt x="5915014" y="3521325"/>
                </a:cubicBezTo>
                <a:cubicBezTo>
                  <a:pt x="5916079" y="3520127"/>
                  <a:pt x="5917011" y="3518796"/>
                  <a:pt x="5917677" y="3517066"/>
                </a:cubicBezTo>
                <a:cubicBezTo>
                  <a:pt x="5918342" y="3515469"/>
                  <a:pt x="5918742" y="3513605"/>
                  <a:pt x="5918742" y="3511608"/>
                </a:cubicBezTo>
                <a:cubicBezTo>
                  <a:pt x="5918742" y="3509744"/>
                  <a:pt x="5918342" y="3508014"/>
                  <a:pt x="5917677" y="3506416"/>
                </a:cubicBezTo>
                <a:cubicBezTo>
                  <a:pt x="5917011" y="3504686"/>
                  <a:pt x="5916079" y="3503355"/>
                  <a:pt x="5915014" y="3502157"/>
                </a:cubicBezTo>
                <a:cubicBezTo>
                  <a:pt x="5913950" y="3501092"/>
                  <a:pt x="5912618" y="3500159"/>
                  <a:pt x="5911021" y="3499495"/>
                </a:cubicBezTo>
                <a:cubicBezTo>
                  <a:pt x="5909557" y="3498829"/>
                  <a:pt x="5907826" y="3498563"/>
                  <a:pt x="5905963" y="3498563"/>
                </a:cubicBezTo>
                <a:close/>
                <a:moveTo>
                  <a:pt x="5688451" y="3498563"/>
                </a:moveTo>
                <a:cubicBezTo>
                  <a:pt x="5682594" y="3498563"/>
                  <a:pt x="5680064" y="3500558"/>
                  <a:pt x="5678467" y="3502157"/>
                </a:cubicBezTo>
                <a:cubicBezTo>
                  <a:pt x="5675938" y="3504819"/>
                  <a:pt x="5674873" y="3507614"/>
                  <a:pt x="5674873" y="3511608"/>
                </a:cubicBezTo>
                <a:cubicBezTo>
                  <a:pt x="5674873" y="3515735"/>
                  <a:pt x="5675938" y="3518530"/>
                  <a:pt x="5678467" y="3521059"/>
                </a:cubicBezTo>
                <a:cubicBezTo>
                  <a:pt x="5680064" y="3522657"/>
                  <a:pt x="5682594" y="3524520"/>
                  <a:pt x="5688451" y="3524520"/>
                </a:cubicBezTo>
                <a:cubicBezTo>
                  <a:pt x="5690447" y="3524520"/>
                  <a:pt x="5692178" y="3524254"/>
                  <a:pt x="5693775" y="3523722"/>
                </a:cubicBezTo>
                <a:cubicBezTo>
                  <a:pt x="5695239" y="3523189"/>
                  <a:pt x="5696571" y="3522257"/>
                  <a:pt x="5697502" y="3521325"/>
                </a:cubicBezTo>
                <a:cubicBezTo>
                  <a:pt x="5698567" y="3520127"/>
                  <a:pt x="5699499" y="3518796"/>
                  <a:pt x="5700165" y="3517066"/>
                </a:cubicBezTo>
                <a:cubicBezTo>
                  <a:pt x="5700830" y="3515469"/>
                  <a:pt x="5701230" y="3513605"/>
                  <a:pt x="5701230" y="3511608"/>
                </a:cubicBezTo>
                <a:cubicBezTo>
                  <a:pt x="5701230" y="3509744"/>
                  <a:pt x="5700830" y="3508014"/>
                  <a:pt x="5700165" y="3506416"/>
                </a:cubicBezTo>
                <a:cubicBezTo>
                  <a:pt x="5699499" y="3504686"/>
                  <a:pt x="5698567" y="3503355"/>
                  <a:pt x="5697502" y="3502157"/>
                </a:cubicBezTo>
                <a:cubicBezTo>
                  <a:pt x="5696437" y="3501092"/>
                  <a:pt x="5695106" y="3500159"/>
                  <a:pt x="5693509" y="3499495"/>
                </a:cubicBezTo>
                <a:cubicBezTo>
                  <a:pt x="5692045" y="3498829"/>
                  <a:pt x="5690314" y="3498563"/>
                  <a:pt x="5688451" y="3498563"/>
                </a:cubicBezTo>
                <a:close/>
                <a:moveTo>
                  <a:pt x="5470806" y="3498563"/>
                </a:moveTo>
                <a:cubicBezTo>
                  <a:pt x="5464949" y="3498563"/>
                  <a:pt x="5462419" y="3500558"/>
                  <a:pt x="5460822" y="3502157"/>
                </a:cubicBezTo>
                <a:cubicBezTo>
                  <a:pt x="5458293" y="3504819"/>
                  <a:pt x="5457228" y="3507614"/>
                  <a:pt x="5457228" y="3511608"/>
                </a:cubicBezTo>
                <a:cubicBezTo>
                  <a:pt x="5457228" y="3515735"/>
                  <a:pt x="5458293" y="3518530"/>
                  <a:pt x="5460822" y="3521059"/>
                </a:cubicBezTo>
                <a:cubicBezTo>
                  <a:pt x="5462419" y="3522657"/>
                  <a:pt x="5464949" y="3524520"/>
                  <a:pt x="5470806" y="3524520"/>
                </a:cubicBezTo>
                <a:cubicBezTo>
                  <a:pt x="5472802" y="3524520"/>
                  <a:pt x="5474666" y="3524254"/>
                  <a:pt x="5476130" y="3523722"/>
                </a:cubicBezTo>
                <a:cubicBezTo>
                  <a:pt x="5477594" y="3523189"/>
                  <a:pt x="5478926" y="3522257"/>
                  <a:pt x="5479857" y="3521325"/>
                </a:cubicBezTo>
                <a:cubicBezTo>
                  <a:pt x="5480922" y="3520127"/>
                  <a:pt x="5481854" y="3518796"/>
                  <a:pt x="5482520" y="3517066"/>
                </a:cubicBezTo>
                <a:cubicBezTo>
                  <a:pt x="5483319" y="3515469"/>
                  <a:pt x="5483585" y="3513605"/>
                  <a:pt x="5483585" y="3511608"/>
                </a:cubicBezTo>
                <a:cubicBezTo>
                  <a:pt x="5483585" y="3509744"/>
                  <a:pt x="5483185" y="3508014"/>
                  <a:pt x="5482520" y="3506416"/>
                </a:cubicBezTo>
                <a:cubicBezTo>
                  <a:pt x="5481854" y="3504686"/>
                  <a:pt x="5480922" y="3503355"/>
                  <a:pt x="5479857" y="3502157"/>
                </a:cubicBezTo>
                <a:cubicBezTo>
                  <a:pt x="5478793" y="3501092"/>
                  <a:pt x="5477461" y="3500159"/>
                  <a:pt x="5475864" y="3499495"/>
                </a:cubicBezTo>
                <a:cubicBezTo>
                  <a:pt x="5474400" y="3498829"/>
                  <a:pt x="5472669" y="3498563"/>
                  <a:pt x="5470806" y="3498563"/>
                </a:cubicBezTo>
                <a:close/>
                <a:moveTo>
                  <a:pt x="5253160" y="3498563"/>
                </a:moveTo>
                <a:cubicBezTo>
                  <a:pt x="5247303" y="3498563"/>
                  <a:pt x="5244774" y="3500558"/>
                  <a:pt x="5243177" y="3502157"/>
                </a:cubicBezTo>
                <a:cubicBezTo>
                  <a:pt x="5240647" y="3504819"/>
                  <a:pt x="5239583" y="3507614"/>
                  <a:pt x="5239583" y="3511608"/>
                </a:cubicBezTo>
                <a:cubicBezTo>
                  <a:pt x="5239583" y="3515735"/>
                  <a:pt x="5240647" y="3518530"/>
                  <a:pt x="5243177" y="3521059"/>
                </a:cubicBezTo>
                <a:cubicBezTo>
                  <a:pt x="5244774" y="3522657"/>
                  <a:pt x="5247303" y="3524520"/>
                  <a:pt x="5253160" y="3524520"/>
                </a:cubicBezTo>
                <a:cubicBezTo>
                  <a:pt x="5255157" y="3524520"/>
                  <a:pt x="5257021" y="3524254"/>
                  <a:pt x="5258485" y="3523722"/>
                </a:cubicBezTo>
                <a:cubicBezTo>
                  <a:pt x="5259949" y="3523189"/>
                  <a:pt x="5261280" y="3522257"/>
                  <a:pt x="5262212" y="3521325"/>
                </a:cubicBezTo>
                <a:cubicBezTo>
                  <a:pt x="5263277" y="3520127"/>
                  <a:pt x="5264209" y="3518796"/>
                  <a:pt x="5264875" y="3517066"/>
                </a:cubicBezTo>
                <a:cubicBezTo>
                  <a:pt x="5265673" y="3515469"/>
                  <a:pt x="5265939" y="3513605"/>
                  <a:pt x="5265939" y="3511608"/>
                </a:cubicBezTo>
                <a:cubicBezTo>
                  <a:pt x="5265939" y="3509744"/>
                  <a:pt x="5265540" y="3508014"/>
                  <a:pt x="5264875" y="3506416"/>
                </a:cubicBezTo>
                <a:cubicBezTo>
                  <a:pt x="5264209" y="3504686"/>
                  <a:pt x="5263277" y="3503355"/>
                  <a:pt x="5262212" y="3502157"/>
                </a:cubicBezTo>
                <a:cubicBezTo>
                  <a:pt x="5261147" y="3501092"/>
                  <a:pt x="5259816" y="3500159"/>
                  <a:pt x="5258219" y="3499495"/>
                </a:cubicBezTo>
                <a:cubicBezTo>
                  <a:pt x="5256754" y="3498829"/>
                  <a:pt x="5255024" y="3498563"/>
                  <a:pt x="5253160" y="3498563"/>
                </a:cubicBezTo>
                <a:close/>
                <a:moveTo>
                  <a:pt x="5035515" y="3498563"/>
                </a:moveTo>
                <a:cubicBezTo>
                  <a:pt x="5029658" y="3498563"/>
                  <a:pt x="5027129" y="3500558"/>
                  <a:pt x="5025532" y="3502157"/>
                </a:cubicBezTo>
                <a:cubicBezTo>
                  <a:pt x="5023002" y="3504819"/>
                  <a:pt x="5021938" y="3507614"/>
                  <a:pt x="5021938" y="3511608"/>
                </a:cubicBezTo>
                <a:cubicBezTo>
                  <a:pt x="5021938" y="3515735"/>
                  <a:pt x="5023002" y="3518530"/>
                  <a:pt x="5025532" y="3521059"/>
                </a:cubicBezTo>
                <a:cubicBezTo>
                  <a:pt x="5027129" y="3522657"/>
                  <a:pt x="5029658" y="3524520"/>
                  <a:pt x="5035515" y="3524520"/>
                </a:cubicBezTo>
                <a:cubicBezTo>
                  <a:pt x="5037645" y="3524520"/>
                  <a:pt x="5039376" y="3524254"/>
                  <a:pt x="5040840" y="3523722"/>
                </a:cubicBezTo>
                <a:cubicBezTo>
                  <a:pt x="5042304" y="3523189"/>
                  <a:pt x="5043636" y="3522257"/>
                  <a:pt x="5044567" y="3521325"/>
                </a:cubicBezTo>
                <a:cubicBezTo>
                  <a:pt x="5045632" y="3520127"/>
                  <a:pt x="5046564" y="3518796"/>
                  <a:pt x="5047230" y="3517066"/>
                </a:cubicBezTo>
                <a:cubicBezTo>
                  <a:pt x="5048028" y="3515469"/>
                  <a:pt x="5048294" y="3513605"/>
                  <a:pt x="5048294" y="3511608"/>
                </a:cubicBezTo>
                <a:cubicBezTo>
                  <a:pt x="5048294" y="3509744"/>
                  <a:pt x="5047895" y="3508014"/>
                  <a:pt x="5047230" y="3506416"/>
                </a:cubicBezTo>
                <a:cubicBezTo>
                  <a:pt x="5046564" y="3504686"/>
                  <a:pt x="5045632" y="3503355"/>
                  <a:pt x="5044567" y="3502157"/>
                </a:cubicBezTo>
                <a:cubicBezTo>
                  <a:pt x="5043502" y="3501092"/>
                  <a:pt x="5042171" y="3500159"/>
                  <a:pt x="5040574" y="3499495"/>
                </a:cubicBezTo>
                <a:cubicBezTo>
                  <a:pt x="5039110" y="3498829"/>
                  <a:pt x="5037379" y="3498563"/>
                  <a:pt x="5035515" y="3498563"/>
                </a:cubicBezTo>
                <a:close/>
                <a:moveTo>
                  <a:pt x="4817870" y="3498563"/>
                </a:moveTo>
                <a:cubicBezTo>
                  <a:pt x="4812013" y="3498563"/>
                  <a:pt x="4809484" y="3500558"/>
                  <a:pt x="4807887" y="3502157"/>
                </a:cubicBezTo>
                <a:cubicBezTo>
                  <a:pt x="4805357" y="3504819"/>
                  <a:pt x="4804293" y="3507614"/>
                  <a:pt x="4804293" y="3511608"/>
                </a:cubicBezTo>
                <a:cubicBezTo>
                  <a:pt x="4804293" y="3515735"/>
                  <a:pt x="4805357" y="3518530"/>
                  <a:pt x="4807887" y="3521059"/>
                </a:cubicBezTo>
                <a:cubicBezTo>
                  <a:pt x="4809484" y="3522657"/>
                  <a:pt x="4812013" y="3524520"/>
                  <a:pt x="4817870" y="3524520"/>
                </a:cubicBezTo>
                <a:cubicBezTo>
                  <a:pt x="4820000" y="3524520"/>
                  <a:pt x="4821731" y="3524254"/>
                  <a:pt x="4823195" y="3523722"/>
                </a:cubicBezTo>
                <a:cubicBezTo>
                  <a:pt x="4824659" y="3523189"/>
                  <a:pt x="4825857" y="3522257"/>
                  <a:pt x="4826922" y="3521325"/>
                </a:cubicBezTo>
                <a:cubicBezTo>
                  <a:pt x="4827987" y="3520127"/>
                  <a:pt x="4828919" y="3518796"/>
                  <a:pt x="4829585" y="3517066"/>
                </a:cubicBezTo>
                <a:cubicBezTo>
                  <a:pt x="4830383" y="3515469"/>
                  <a:pt x="4830650" y="3513605"/>
                  <a:pt x="4830650" y="3511608"/>
                </a:cubicBezTo>
                <a:cubicBezTo>
                  <a:pt x="4830650" y="3509744"/>
                  <a:pt x="4830250" y="3508014"/>
                  <a:pt x="4829585" y="3506416"/>
                </a:cubicBezTo>
                <a:cubicBezTo>
                  <a:pt x="4828919" y="3504686"/>
                  <a:pt x="4827987" y="3503355"/>
                  <a:pt x="4826922" y="3502157"/>
                </a:cubicBezTo>
                <a:cubicBezTo>
                  <a:pt x="4825857" y="3501092"/>
                  <a:pt x="4824526" y="3500159"/>
                  <a:pt x="4822929" y="3499495"/>
                </a:cubicBezTo>
                <a:cubicBezTo>
                  <a:pt x="4821465" y="3498829"/>
                  <a:pt x="4819734" y="3498563"/>
                  <a:pt x="4817870" y="3498563"/>
                </a:cubicBezTo>
                <a:close/>
                <a:moveTo>
                  <a:pt x="4600226" y="3498563"/>
                </a:moveTo>
                <a:cubicBezTo>
                  <a:pt x="4594369" y="3498563"/>
                  <a:pt x="4591839" y="3500558"/>
                  <a:pt x="4590242" y="3502157"/>
                </a:cubicBezTo>
                <a:cubicBezTo>
                  <a:pt x="4587713" y="3504819"/>
                  <a:pt x="4586648" y="3507614"/>
                  <a:pt x="4586648" y="3511608"/>
                </a:cubicBezTo>
                <a:cubicBezTo>
                  <a:pt x="4586648" y="3515735"/>
                  <a:pt x="4587713" y="3518530"/>
                  <a:pt x="4590242" y="3521059"/>
                </a:cubicBezTo>
                <a:cubicBezTo>
                  <a:pt x="4591839" y="3522657"/>
                  <a:pt x="4594369" y="3524520"/>
                  <a:pt x="4600226" y="3524520"/>
                </a:cubicBezTo>
                <a:cubicBezTo>
                  <a:pt x="4602355" y="3524520"/>
                  <a:pt x="4604086" y="3524254"/>
                  <a:pt x="4605550" y="3523722"/>
                </a:cubicBezTo>
                <a:cubicBezTo>
                  <a:pt x="4607148" y="3523189"/>
                  <a:pt x="4608346" y="3522257"/>
                  <a:pt x="4609277" y="3521325"/>
                </a:cubicBezTo>
                <a:cubicBezTo>
                  <a:pt x="4610342" y="3520127"/>
                  <a:pt x="4611274" y="3518796"/>
                  <a:pt x="4611940" y="3517066"/>
                </a:cubicBezTo>
                <a:cubicBezTo>
                  <a:pt x="4612605" y="3515469"/>
                  <a:pt x="4613005" y="3513605"/>
                  <a:pt x="4613005" y="3511608"/>
                </a:cubicBezTo>
                <a:cubicBezTo>
                  <a:pt x="4613005" y="3509744"/>
                  <a:pt x="4612605" y="3508014"/>
                  <a:pt x="4611940" y="3506416"/>
                </a:cubicBezTo>
                <a:cubicBezTo>
                  <a:pt x="4611274" y="3504686"/>
                  <a:pt x="4610342" y="3503355"/>
                  <a:pt x="4609277" y="3502157"/>
                </a:cubicBezTo>
                <a:cubicBezTo>
                  <a:pt x="4608212" y="3501092"/>
                  <a:pt x="4606881" y="3500159"/>
                  <a:pt x="4605284" y="3499495"/>
                </a:cubicBezTo>
                <a:cubicBezTo>
                  <a:pt x="4603820" y="3498829"/>
                  <a:pt x="4602222" y="3498563"/>
                  <a:pt x="4600226" y="3498563"/>
                </a:cubicBezTo>
                <a:close/>
                <a:moveTo>
                  <a:pt x="4382713" y="3498563"/>
                </a:moveTo>
                <a:cubicBezTo>
                  <a:pt x="4376857" y="3498563"/>
                  <a:pt x="4374327" y="3500558"/>
                  <a:pt x="4372730" y="3502157"/>
                </a:cubicBezTo>
                <a:cubicBezTo>
                  <a:pt x="4370201" y="3504819"/>
                  <a:pt x="4369136" y="3507614"/>
                  <a:pt x="4369136" y="3511608"/>
                </a:cubicBezTo>
                <a:cubicBezTo>
                  <a:pt x="4369136" y="3515735"/>
                  <a:pt x="4370201" y="3518530"/>
                  <a:pt x="4372730" y="3521059"/>
                </a:cubicBezTo>
                <a:cubicBezTo>
                  <a:pt x="4374327" y="3522657"/>
                  <a:pt x="4376857" y="3524520"/>
                  <a:pt x="4382713" y="3524520"/>
                </a:cubicBezTo>
                <a:cubicBezTo>
                  <a:pt x="4384710" y="3524520"/>
                  <a:pt x="4386441" y="3524254"/>
                  <a:pt x="4388038" y="3523722"/>
                </a:cubicBezTo>
                <a:cubicBezTo>
                  <a:pt x="4389502" y="3523189"/>
                  <a:pt x="4390834" y="3522257"/>
                  <a:pt x="4391765" y="3521325"/>
                </a:cubicBezTo>
                <a:cubicBezTo>
                  <a:pt x="4392830" y="3520127"/>
                  <a:pt x="4393762" y="3518796"/>
                  <a:pt x="4394428" y="3517066"/>
                </a:cubicBezTo>
                <a:cubicBezTo>
                  <a:pt x="4395093" y="3515469"/>
                  <a:pt x="4395493" y="3513605"/>
                  <a:pt x="4395493" y="3511608"/>
                </a:cubicBezTo>
                <a:cubicBezTo>
                  <a:pt x="4395493" y="3509744"/>
                  <a:pt x="4395093" y="3508014"/>
                  <a:pt x="4394428" y="3506416"/>
                </a:cubicBezTo>
                <a:cubicBezTo>
                  <a:pt x="4393762" y="3504686"/>
                  <a:pt x="4392830" y="3503355"/>
                  <a:pt x="4391765" y="3502157"/>
                </a:cubicBezTo>
                <a:cubicBezTo>
                  <a:pt x="4390700" y="3501092"/>
                  <a:pt x="4389369" y="3500159"/>
                  <a:pt x="4387772" y="3499495"/>
                </a:cubicBezTo>
                <a:cubicBezTo>
                  <a:pt x="4386308" y="3498829"/>
                  <a:pt x="4384710" y="3498563"/>
                  <a:pt x="4382713" y="3498563"/>
                </a:cubicBezTo>
                <a:close/>
                <a:moveTo>
                  <a:pt x="4165068" y="3498563"/>
                </a:moveTo>
                <a:cubicBezTo>
                  <a:pt x="4159211" y="3498563"/>
                  <a:pt x="4156681" y="3500558"/>
                  <a:pt x="4155084" y="3502157"/>
                </a:cubicBezTo>
                <a:cubicBezTo>
                  <a:pt x="4152555" y="3504819"/>
                  <a:pt x="4151490" y="3507614"/>
                  <a:pt x="4151490" y="3511608"/>
                </a:cubicBezTo>
                <a:cubicBezTo>
                  <a:pt x="4151490" y="3515735"/>
                  <a:pt x="4152555" y="3518530"/>
                  <a:pt x="4155084" y="3521059"/>
                </a:cubicBezTo>
                <a:cubicBezTo>
                  <a:pt x="4156681" y="3522657"/>
                  <a:pt x="4159211" y="3524520"/>
                  <a:pt x="4165068" y="3524520"/>
                </a:cubicBezTo>
                <a:cubicBezTo>
                  <a:pt x="4167064" y="3524520"/>
                  <a:pt x="4168928" y="3524254"/>
                  <a:pt x="4170392" y="3523722"/>
                </a:cubicBezTo>
                <a:cubicBezTo>
                  <a:pt x="4171856" y="3523189"/>
                  <a:pt x="4173188" y="3522257"/>
                  <a:pt x="4174119" y="3521325"/>
                </a:cubicBezTo>
                <a:cubicBezTo>
                  <a:pt x="4175184" y="3520127"/>
                  <a:pt x="4176116" y="3518796"/>
                  <a:pt x="4176782" y="3517066"/>
                </a:cubicBezTo>
                <a:cubicBezTo>
                  <a:pt x="4177447" y="3515469"/>
                  <a:pt x="4177847" y="3513605"/>
                  <a:pt x="4177847" y="3511608"/>
                </a:cubicBezTo>
                <a:cubicBezTo>
                  <a:pt x="4177847" y="3509744"/>
                  <a:pt x="4177447" y="3508014"/>
                  <a:pt x="4176782" y="3506416"/>
                </a:cubicBezTo>
                <a:cubicBezTo>
                  <a:pt x="4176116" y="3504686"/>
                  <a:pt x="4175184" y="3503355"/>
                  <a:pt x="4174119" y="3502157"/>
                </a:cubicBezTo>
                <a:cubicBezTo>
                  <a:pt x="4173054" y="3501092"/>
                  <a:pt x="4171723" y="3500159"/>
                  <a:pt x="4170126" y="3499495"/>
                </a:cubicBezTo>
                <a:cubicBezTo>
                  <a:pt x="4168662" y="3498829"/>
                  <a:pt x="4167064" y="3498563"/>
                  <a:pt x="4165068" y="3498563"/>
                </a:cubicBezTo>
                <a:close/>
                <a:moveTo>
                  <a:pt x="3947617" y="3498563"/>
                </a:moveTo>
                <a:cubicBezTo>
                  <a:pt x="3941759" y="3498563"/>
                  <a:pt x="3939230" y="3500558"/>
                  <a:pt x="3937633" y="3502157"/>
                </a:cubicBezTo>
                <a:cubicBezTo>
                  <a:pt x="3935102" y="3504819"/>
                  <a:pt x="3934039" y="3507614"/>
                  <a:pt x="3934039" y="3511608"/>
                </a:cubicBezTo>
                <a:cubicBezTo>
                  <a:pt x="3934039" y="3515735"/>
                  <a:pt x="3935102" y="3518530"/>
                  <a:pt x="3937633" y="3521059"/>
                </a:cubicBezTo>
                <a:cubicBezTo>
                  <a:pt x="3939230" y="3522657"/>
                  <a:pt x="3941759" y="3524520"/>
                  <a:pt x="3947617" y="3524520"/>
                </a:cubicBezTo>
                <a:cubicBezTo>
                  <a:pt x="3949614" y="3524520"/>
                  <a:pt x="3951476" y="3524254"/>
                  <a:pt x="3952944" y="3523722"/>
                </a:cubicBezTo>
                <a:cubicBezTo>
                  <a:pt x="3954407" y="3523189"/>
                  <a:pt x="3955737" y="3522257"/>
                  <a:pt x="3956670" y="3521325"/>
                </a:cubicBezTo>
                <a:cubicBezTo>
                  <a:pt x="3957735" y="3520127"/>
                  <a:pt x="3958668" y="3518796"/>
                  <a:pt x="3959333" y="3517066"/>
                </a:cubicBezTo>
                <a:cubicBezTo>
                  <a:pt x="3959999" y="3515469"/>
                  <a:pt x="3960398" y="3513605"/>
                  <a:pt x="3960398" y="3511608"/>
                </a:cubicBezTo>
                <a:cubicBezTo>
                  <a:pt x="3960398" y="3509744"/>
                  <a:pt x="3959999" y="3508014"/>
                  <a:pt x="3959333" y="3506416"/>
                </a:cubicBezTo>
                <a:cubicBezTo>
                  <a:pt x="3958668" y="3504686"/>
                  <a:pt x="3957735" y="3503355"/>
                  <a:pt x="3956670" y="3502157"/>
                </a:cubicBezTo>
                <a:cubicBezTo>
                  <a:pt x="3955605" y="3501092"/>
                  <a:pt x="3954274" y="3500159"/>
                  <a:pt x="3952676" y="3499495"/>
                </a:cubicBezTo>
                <a:cubicBezTo>
                  <a:pt x="3951211" y="3498829"/>
                  <a:pt x="3949614" y="3498563"/>
                  <a:pt x="3947617" y="3498563"/>
                </a:cubicBezTo>
                <a:close/>
                <a:moveTo>
                  <a:pt x="3729962" y="3498563"/>
                </a:moveTo>
                <a:cubicBezTo>
                  <a:pt x="3724105" y="3498563"/>
                  <a:pt x="3721576" y="3500558"/>
                  <a:pt x="3719976" y="3502157"/>
                </a:cubicBezTo>
                <a:cubicBezTo>
                  <a:pt x="3717446" y="3504819"/>
                  <a:pt x="3716384" y="3507614"/>
                  <a:pt x="3716384" y="3511608"/>
                </a:cubicBezTo>
                <a:cubicBezTo>
                  <a:pt x="3716384" y="3515735"/>
                  <a:pt x="3717446" y="3518530"/>
                  <a:pt x="3719976" y="3521059"/>
                </a:cubicBezTo>
                <a:cubicBezTo>
                  <a:pt x="3721576" y="3522657"/>
                  <a:pt x="3724105" y="3524520"/>
                  <a:pt x="3729962" y="3524520"/>
                </a:cubicBezTo>
                <a:cubicBezTo>
                  <a:pt x="3732092" y="3524520"/>
                  <a:pt x="3733824" y="3524254"/>
                  <a:pt x="3735287" y="3523722"/>
                </a:cubicBezTo>
                <a:cubicBezTo>
                  <a:pt x="3736751" y="3523189"/>
                  <a:pt x="3738084" y="3522257"/>
                  <a:pt x="3739014" y="3521325"/>
                </a:cubicBezTo>
                <a:cubicBezTo>
                  <a:pt x="3740080" y="3520127"/>
                  <a:pt x="3741012" y="3518796"/>
                  <a:pt x="3741678" y="3517066"/>
                </a:cubicBezTo>
                <a:cubicBezTo>
                  <a:pt x="3742343" y="3515469"/>
                  <a:pt x="3742742" y="3513605"/>
                  <a:pt x="3742742" y="3511608"/>
                </a:cubicBezTo>
                <a:cubicBezTo>
                  <a:pt x="3742742" y="3509744"/>
                  <a:pt x="3742343" y="3508014"/>
                  <a:pt x="3741678" y="3506416"/>
                </a:cubicBezTo>
                <a:cubicBezTo>
                  <a:pt x="3741012" y="3504686"/>
                  <a:pt x="3740080" y="3503355"/>
                  <a:pt x="3739014" y="3502157"/>
                </a:cubicBezTo>
                <a:cubicBezTo>
                  <a:pt x="3737950" y="3501092"/>
                  <a:pt x="3736619" y="3500159"/>
                  <a:pt x="3735021" y="3499495"/>
                </a:cubicBezTo>
                <a:cubicBezTo>
                  <a:pt x="3733557" y="3498829"/>
                  <a:pt x="3731959" y="3498563"/>
                  <a:pt x="3729962" y="3498563"/>
                </a:cubicBezTo>
                <a:close/>
                <a:moveTo>
                  <a:pt x="3512307" y="3498563"/>
                </a:moveTo>
                <a:cubicBezTo>
                  <a:pt x="3506449" y="3498563"/>
                  <a:pt x="3503920" y="3500558"/>
                  <a:pt x="3502320" y="3502157"/>
                </a:cubicBezTo>
                <a:cubicBezTo>
                  <a:pt x="3499790" y="3504819"/>
                  <a:pt x="3498727" y="3507614"/>
                  <a:pt x="3498727" y="3511608"/>
                </a:cubicBezTo>
                <a:cubicBezTo>
                  <a:pt x="3498727" y="3515735"/>
                  <a:pt x="3499790" y="3518530"/>
                  <a:pt x="3502320" y="3521059"/>
                </a:cubicBezTo>
                <a:cubicBezTo>
                  <a:pt x="3503920" y="3522657"/>
                  <a:pt x="3506449" y="3524520"/>
                  <a:pt x="3512307" y="3524520"/>
                </a:cubicBezTo>
                <a:cubicBezTo>
                  <a:pt x="3514437" y="3524520"/>
                  <a:pt x="3516168" y="3524254"/>
                  <a:pt x="3517632" y="3523722"/>
                </a:cubicBezTo>
                <a:cubicBezTo>
                  <a:pt x="3519097" y="3523189"/>
                  <a:pt x="3520429" y="3522257"/>
                  <a:pt x="3521360" y="3521325"/>
                </a:cubicBezTo>
                <a:cubicBezTo>
                  <a:pt x="3522425" y="3520127"/>
                  <a:pt x="3523357" y="3518796"/>
                  <a:pt x="3524023" y="3517066"/>
                </a:cubicBezTo>
                <a:cubicBezTo>
                  <a:pt x="3524688" y="3515469"/>
                  <a:pt x="3525088" y="3513605"/>
                  <a:pt x="3525088" y="3511608"/>
                </a:cubicBezTo>
                <a:cubicBezTo>
                  <a:pt x="3525088" y="3509744"/>
                  <a:pt x="3524688" y="3508014"/>
                  <a:pt x="3524023" y="3506416"/>
                </a:cubicBezTo>
                <a:cubicBezTo>
                  <a:pt x="3523357" y="3504686"/>
                  <a:pt x="3522425" y="3503355"/>
                  <a:pt x="3521360" y="3502157"/>
                </a:cubicBezTo>
                <a:cubicBezTo>
                  <a:pt x="3520295" y="3501092"/>
                  <a:pt x="3518963" y="3500159"/>
                  <a:pt x="3517367" y="3499495"/>
                </a:cubicBezTo>
                <a:cubicBezTo>
                  <a:pt x="3515903" y="3498829"/>
                  <a:pt x="3514304" y="3498563"/>
                  <a:pt x="3512307" y="3498563"/>
                </a:cubicBezTo>
                <a:close/>
                <a:moveTo>
                  <a:pt x="3294785" y="3498563"/>
                </a:moveTo>
                <a:cubicBezTo>
                  <a:pt x="3288927" y="3498563"/>
                  <a:pt x="3286397" y="3500558"/>
                  <a:pt x="3284800" y="3502157"/>
                </a:cubicBezTo>
                <a:cubicBezTo>
                  <a:pt x="3282269" y="3504819"/>
                  <a:pt x="3281206" y="3507614"/>
                  <a:pt x="3281206" y="3511608"/>
                </a:cubicBezTo>
                <a:cubicBezTo>
                  <a:pt x="3281206" y="3515735"/>
                  <a:pt x="3282269" y="3518530"/>
                  <a:pt x="3284800" y="3521059"/>
                </a:cubicBezTo>
                <a:cubicBezTo>
                  <a:pt x="3286397" y="3522657"/>
                  <a:pt x="3288927" y="3524520"/>
                  <a:pt x="3294785" y="3524520"/>
                </a:cubicBezTo>
                <a:cubicBezTo>
                  <a:pt x="3296782" y="3524520"/>
                  <a:pt x="3298513" y="3524254"/>
                  <a:pt x="3300111" y="3523722"/>
                </a:cubicBezTo>
                <a:cubicBezTo>
                  <a:pt x="3301575" y="3523189"/>
                  <a:pt x="3302907" y="3522257"/>
                  <a:pt x="3303838" y="3521325"/>
                </a:cubicBezTo>
                <a:cubicBezTo>
                  <a:pt x="3304903" y="3520127"/>
                  <a:pt x="3305834" y="3518796"/>
                  <a:pt x="3306501" y="3517066"/>
                </a:cubicBezTo>
                <a:cubicBezTo>
                  <a:pt x="3307166" y="3515469"/>
                  <a:pt x="3307565" y="3513605"/>
                  <a:pt x="3307565" y="3511608"/>
                </a:cubicBezTo>
                <a:cubicBezTo>
                  <a:pt x="3307565" y="3509744"/>
                  <a:pt x="3307166" y="3508014"/>
                  <a:pt x="3306501" y="3506416"/>
                </a:cubicBezTo>
                <a:cubicBezTo>
                  <a:pt x="3305834" y="3504686"/>
                  <a:pt x="3304903" y="3503355"/>
                  <a:pt x="3303838" y="3502157"/>
                </a:cubicBezTo>
                <a:cubicBezTo>
                  <a:pt x="3302773" y="3501092"/>
                  <a:pt x="3301441" y="3500159"/>
                  <a:pt x="3299845" y="3499495"/>
                </a:cubicBezTo>
                <a:cubicBezTo>
                  <a:pt x="3298381" y="3498829"/>
                  <a:pt x="3296782" y="3498563"/>
                  <a:pt x="3294785" y="3498563"/>
                </a:cubicBezTo>
                <a:close/>
                <a:moveTo>
                  <a:pt x="3077263" y="3498563"/>
                </a:moveTo>
                <a:cubicBezTo>
                  <a:pt x="3071405" y="3498563"/>
                  <a:pt x="3068876" y="3500558"/>
                  <a:pt x="3067280" y="3502157"/>
                </a:cubicBezTo>
                <a:cubicBezTo>
                  <a:pt x="3064615" y="3504819"/>
                  <a:pt x="3063551" y="3507614"/>
                  <a:pt x="3063551" y="3511608"/>
                </a:cubicBezTo>
                <a:cubicBezTo>
                  <a:pt x="3063551" y="3515735"/>
                  <a:pt x="3064615" y="3518530"/>
                  <a:pt x="3067146" y="3521059"/>
                </a:cubicBezTo>
                <a:cubicBezTo>
                  <a:pt x="3068744" y="3522657"/>
                  <a:pt x="3071273" y="3524520"/>
                  <a:pt x="3077130" y="3524520"/>
                </a:cubicBezTo>
                <a:cubicBezTo>
                  <a:pt x="3079127" y="3524520"/>
                  <a:pt x="3080857" y="3524254"/>
                  <a:pt x="3082588" y="3523722"/>
                </a:cubicBezTo>
                <a:cubicBezTo>
                  <a:pt x="3084053" y="3523189"/>
                  <a:pt x="3085385" y="3522257"/>
                  <a:pt x="3086316" y="3521325"/>
                </a:cubicBezTo>
                <a:cubicBezTo>
                  <a:pt x="3087380" y="3520127"/>
                  <a:pt x="3088312" y="3518796"/>
                  <a:pt x="3088978" y="3517066"/>
                </a:cubicBezTo>
                <a:cubicBezTo>
                  <a:pt x="3089643" y="3515469"/>
                  <a:pt x="3089910" y="3513605"/>
                  <a:pt x="3089910" y="3511608"/>
                </a:cubicBezTo>
                <a:cubicBezTo>
                  <a:pt x="3089910" y="3509744"/>
                  <a:pt x="3089643" y="3508014"/>
                  <a:pt x="3088978" y="3506416"/>
                </a:cubicBezTo>
                <a:cubicBezTo>
                  <a:pt x="3088312" y="3504686"/>
                  <a:pt x="3087380" y="3503355"/>
                  <a:pt x="3086316" y="3502157"/>
                </a:cubicBezTo>
                <a:cubicBezTo>
                  <a:pt x="3085251" y="3501092"/>
                  <a:pt x="3083919" y="3500159"/>
                  <a:pt x="3082323" y="3499495"/>
                </a:cubicBezTo>
                <a:cubicBezTo>
                  <a:pt x="3080857" y="3498829"/>
                  <a:pt x="3079260" y="3498563"/>
                  <a:pt x="3077263" y="3498563"/>
                </a:cubicBezTo>
                <a:close/>
                <a:moveTo>
                  <a:pt x="2859475" y="3498563"/>
                </a:moveTo>
                <a:cubicBezTo>
                  <a:pt x="2853618" y="3498563"/>
                  <a:pt x="2851089" y="3500558"/>
                  <a:pt x="2849489" y="3502157"/>
                </a:cubicBezTo>
                <a:cubicBezTo>
                  <a:pt x="2846957" y="3504819"/>
                  <a:pt x="2845893" y="3507614"/>
                  <a:pt x="2845893" y="3511608"/>
                </a:cubicBezTo>
                <a:cubicBezTo>
                  <a:pt x="2845893" y="3515735"/>
                  <a:pt x="2846957" y="3518530"/>
                  <a:pt x="2849489" y="3521059"/>
                </a:cubicBezTo>
                <a:cubicBezTo>
                  <a:pt x="2851089" y="3522657"/>
                  <a:pt x="2853618" y="3524520"/>
                  <a:pt x="2859475" y="3524520"/>
                </a:cubicBezTo>
                <a:cubicBezTo>
                  <a:pt x="2861472" y="3524520"/>
                  <a:pt x="2863336" y="3524254"/>
                  <a:pt x="2864800" y="3523722"/>
                </a:cubicBezTo>
                <a:cubicBezTo>
                  <a:pt x="2866398" y="3523189"/>
                  <a:pt x="2867596" y="3522257"/>
                  <a:pt x="2868527" y="3521325"/>
                </a:cubicBezTo>
                <a:cubicBezTo>
                  <a:pt x="2869592" y="3520127"/>
                  <a:pt x="2870524" y="3518796"/>
                  <a:pt x="2871190" y="3517066"/>
                </a:cubicBezTo>
                <a:cubicBezTo>
                  <a:pt x="2871722" y="3515469"/>
                  <a:pt x="2872121" y="3513605"/>
                  <a:pt x="2872121" y="3511608"/>
                </a:cubicBezTo>
                <a:cubicBezTo>
                  <a:pt x="2872121" y="3509744"/>
                  <a:pt x="2871855" y="3508014"/>
                  <a:pt x="2871190" y="3506416"/>
                </a:cubicBezTo>
                <a:cubicBezTo>
                  <a:pt x="2870524" y="3504686"/>
                  <a:pt x="2869592" y="3503355"/>
                  <a:pt x="2868527" y="3502157"/>
                </a:cubicBezTo>
                <a:cubicBezTo>
                  <a:pt x="2867463" y="3501092"/>
                  <a:pt x="2866131" y="3500159"/>
                  <a:pt x="2864534" y="3499495"/>
                </a:cubicBezTo>
                <a:cubicBezTo>
                  <a:pt x="2863070" y="3498829"/>
                  <a:pt x="2861472" y="3498563"/>
                  <a:pt x="2859475" y="3498563"/>
                </a:cubicBezTo>
                <a:close/>
                <a:moveTo>
                  <a:pt x="2641820" y="3498563"/>
                </a:moveTo>
                <a:cubicBezTo>
                  <a:pt x="2635962" y="3498563"/>
                  <a:pt x="2633433" y="3500558"/>
                  <a:pt x="2631837" y="3502157"/>
                </a:cubicBezTo>
                <a:cubicBezTo>
                  <a:pt x="2629306" y="3504819"/>
                  <a:pt x="2628242" y="3507614"/>
                  <a:pt x="2628242" y="3511608"/>
                </a:cubicBezTo>
                <a:cubicBezTo>
                  <a:pt x="2628242" y="3515735"/>
                  <a:pt x="2629306" y="3518530"/>
                  <a:pt x="2631837" y="3521059"/>
                </a:cubicBezTo>
                <a:cubicBezTo>
                  <a:pt x="2633433" y="3522657"/>
                  <a:pt x="2635962" y="3524520"/>
                  <a:pt x="2641820" y="3524520"/>
                </a:cubicBezTo>
                <a:cubicBezTo>
                  <a:pt x="2643816" y="3524520"/>
                  <a:pt x="2645681" y="3524254"/>
                  <a:pt x="2647145" y="3523722"/>
                </a:cubicBezTo>
                <a:cubicBezTo>
                  <a:pt x="2648742" y="3523189"/>
                  <a:pt x="2649940" y="3522257"/>
                  <a:pt x="2650872" y="3521325"/>
                </a:cubicBezTo>
                <a:cubicBezTo>
                  <a:pt x="2651937" y="3520127"/>
                  <a:pt x="2652869" y="3518796"/>
                  <a:pt x="2653535" y="3517066"/>
                </a:cubicBezTo>
                <a:cubicBezTo>
                  <a:pt x="2654067" y="3515469"/>
                  <a:pt x="2654466" y="3513605"/>
                  <a:pt x="2654466" y="3511608"/>
                </a:cubicBezTo>
                <a:cubicBezTo>
                  <a:pt x="2654466" y="3509744"/>
                  <a:pt x="2654200" y="3508014"/>
                  <a:pt x="2653535" y="3506416"/>
                </a:cubicBezTo>
                <a:cubicBezTo>
                  <a:pt x="2652869" y="3504686"/>
                  <a:pt x="2651937" y="3503355"/>
                  <a:pt x="2650872" y="3502157"/>
                </a:cubicBezTo>
                <a:cubicBezTo>
                  <a:pt x="2649807" y="3501092"/>
                  <a:pt x="2648476" y="3500159"/>
                  <a:pt x="2646879" y="3499495"/>
                </a:cubicBezTo>
                <a:cubicBezTo>
                  <a:pt x="2645414" y="3498829"/>
                  <a:pt x="2643816" y="3498563"/>
                  <a:pt x="2641820" y="3498563"/>
                </a:cubicBezTo>
                <a:close/>
                <a:moveTo>
                  <a:pt x="2424164" y="3498563"/>
                </a:moveTo>
                <a:cubicBezTo>
                  <a:pt x="2418308" y="3498563"/>
                  <a:pt x="2415779" y="3500558"/>
                  <a:pt x="2414181" y="3502157"/>
                </a:cubicBezTo>
                <a:cubicBezTo>
                  <a:pt x="2411651" y="3504819"/>
                  <a:pt x="2410587" y="3507614"/>
                  <a:pt x="2410587" y="3511608"/>
                </a:cubicBezTo>
                <a:cubicBezTo>
                  <a:pt x="2410587" y="3515735"/>
                  <a:pt x="2411651" y="3518530"/>
                  <a:pt x="2414181" y="3521059"/>
                </a:cubicBezTo>
                <a:cubicBezTo>
                  <a:pt x="2415779" y="3522657"/>
                  <a:pt x="2418308" y="3524520"/>
                  <a:pt x="2424164" y="3524520"/>
                </a:cubicBezTo>
                <a:cubicBezTo>
                  <a:pt x="2426294" y="3524520"/>
                  <a:pt x="2428026" y="3524254"/>
                  <a:pt x="2429490" y="3523722"/>
                </a:cubicBezTo>
                <a:cubicBezTo>
                  <a:pt x="2431088" y="3523189"/>
                  <a:pt x="2432286" y="3522257"/>
                  <a:pt x="2433217" y="3521325"/>
                </a:cubicBezTo>
                <a:cubicBezTo>
                  <a:pt x="2434282" y="3520127"/>
                  <a:pt x="2435214" y="3518796"/>
                  <a:pt x="2435880" y="3517066"/>
                </a:cubicBezTo>
                <a:cubicBezTo>
                  <a:pt x="2436411" y="3515469"/>
                  <a:pt x="2436811" y="3513605"/>
                  <a:pt x="2436811" y="3511608"/>
                </a:cubicBezTo>
                <a:cubicBezTo>
                  <a:pt x="2436811" y="3509744"/>
                  <a:pt x="2436545" y="3508014"/>
                  <a:pt x="2435880" y="3506416"/>
                </a:cubicBezTo>
                <a:cubicBezTo>
                  <a:pt x="2435214" y="3504686"/>
                  <a:pt x="2434282" y="3503355"/>
                  <a:pt x="2433217" y="3502157"/>
                </a:cubicBezTo>
                <a:cubicBezTo>
                  <a:pt x="2432153" y="3501092"/>
                  <a:pt x="2430821" y="3500159"/>
                  <a:pt x="2429224" y="3499495"/>
                </a:cubicBezTo>
                <a:cubicBezTo>
                  <a:pt x="2427760" y="3498829"/>
                  <a:pt x="2426162" y="3498563"/>
                  <a:pt x="2424164" y="3498563"/>
                </a:cubicBezTo>
                <a:close/>
                <a:moveTo>
                  <a:pt x="2206509" y="3498563"/>
                </a:moveTo>
                <a:cubicBezTo>
                  <a:pt x="2200652" y="3498563"/>
                  <a:pt x="2198123" y="3500558"/>
                  <a:pt x="2196526" y="3502157"/>
                </a:cubicBezTo>
                <a:cubicBezTo>
                  <a:pt x="2193996" y="3504819"/>
                  <a:pt x="2192932" y="3507614"/>
                  <a:pt x="2192932" y="3511608"/>
                </a:cubicBezTo>
                <a:cubicBezTo>
                  <a:pt x="2192932" y="3515735"/>
                  <a:pt x="2193996" y="3518530"/>
                  <a:pt x="2196526" y="3521059"/>
                </a:cubicBezTo>
                <a:cubicBezTo>
                  <a:pt x="2198123" y="3522657"/>
                  <a:pt x="2200652" y="3524520"/>
                  <a:pt x="2206509" y="3524520"/>
                </a:cubicBezTo>
                <a:cubicBezTo>
                  <a:pt x="2208639" y="3524520"/>
                  <a:pt x="2210370" y="3524254"/>
                  <a:pt x="2211834" y="3523722"/>
                </a:cubicBezTo>
                <a:cubicBezTo>
                  <a:pt x="2213432" y="3523189"/>
                  <a:pt x="2214630" y="3522257"/>
                  <a:pt x="2215561" y="3521325"/>
                </a:cubicBezTo>
                <a:cubicBezTo>
                  <a:pt x="2216626" y="3520127"/>
                  <a:pt x="2217558" y="3518796"/>
                  <a:pt x="2218224" y="3517066"/>
                </a:cubicBezTo>
                <a:cubicBezTo>
                  <a:pt x="2218757" y="3515469"/>
                  <a:pt x="2219156" y="3513605"/>
                  <a:pt x="2219156" y="3511608"/>
                </a:cubicBezTo>
                <a:cubicBezTo>
                  <a:pt x="2219156" y="3509744"/>
                  <a:pt x="2218889" y="3508014"/>
                  <a:pt x="2218224" y="3506416"/>
                </a:cubicBezTo>
                <a:cubicBezTo>
                  <a:pt x="2217558" y="3504686"/>
                  <a:pt x="2216626" y="3503355"/>
                  <a:pt x="2215561" y="3502157"/>
                </a:cubicBezTo>
                <a:cubicBezTo>
                  <a:pt x="2214496" y="3501092"/>
                  <a:pt x="2213166" y="3500159"/>
                  <a:pt x="2211568" y="3499495"/>
                </a:cubicBezTo>
                <a:cubicBezTo>
                  <a:pt x="2210104" y="3498829"/>
                  <a:pt x="2208506" y="3498563"/>
                  <a:pt x="2206509" y="3498563"/>
                </a:cubicBezTo>
                <a:close/>
                <a:moveTo>
                  <a:pt x="1988987" y="3498563"/>
                </a:moveTo>
                <a:cubicBezTo>
                  <a:pt x="1983130" y="3498563"/>
                  <a:pt x="1980601" y="3500558"/>
                  <a:pt x="1979004" y="3502157"/>
                </a:cubicBezTo>
                <a:cubicBezTo>
                  <a:pt x="1976474" y="3504819"/>
                  <a:pt x="1975410" y="3507614"/>
                  <a:pt x="1975410" y="3511608"/>
                </a:cubicBezTo>
                <a:cubicBezTo>
                  <a:pt x="1975410" y="3515735"/>
                  <a:pt x="1976474" y="3518530"/>
                  <a:pt x="1979004" y="3521059"/>
                </a:cubicBezTo>
                <a:cubicBezTo>
                  <a:pt x="1980601" y="3522657"/>
                  <a:pt x="1983130" y="3524520"/>
                  <a:pt x="1988987" y="3524520"/>
                </a:cubicBezTo>
                <a:cubicBezTo>
                  <a:pt x="1990984" y="3524520"/>
                  <a:pt x="1992715" y="3524254"/>
                  <a:pt x="1994312" y="3523722"/>
                </a:cubicBezTo>
                <a:cubicBezTo>
                  <a:pt x="1995910" y="3523189"/>
                  <a:pt x="1997108" y="3522257"/>
                  <a:pt x="1998039" y="3521325"/>
                </a:cubicBezTo>
                <a:cubicBezTo>
                  <a:pt x="1999104" y="3520127"/>
                  <a:pt x="2000036" y="3518796"/>
                  <a:pt x="2000702" y="3517066"/>
                </a:cubicBezTo>
                <a:cubicBezTo>
                  <a:pt x="2001234" y="3515469"/>
                  <a:pt x="2001633" y="3513605"/>
                  <a:pt x="2001633" y="3511608"/>
                </a:cubicBezTo>
                <a:cubicBezTo>
                  <a:pt x="2001633" y="3509744"/>
                  <a:pt x="2001367" y="3508014"/>
                  <a:pt x="2000702" y="3506416"/>
                </a:cubicBezTo>
                <a:cubicBezTo>
                  <a:pt x="2000036" y="3504686"/>
                  <a:pt x="1999104" y="3503355"/>
                  <a:pt x="1998039" y="3502157"/>
                </a:cubicBezTo>
                <a:cubicBezTo>
                  <a:pt x="1996975" y="3501092"/>
                  <a:pt x="1995643" y="3500159"/>
                  <a:pt x="1994046" y="3499495"/>
                </a:cubicBezTo>
                <a:cubicBezTo>
                  <a:pt x="1992582" y="3498829"/>
                  <a:pt x="1990984" y="3498563"/>
                  <a:pt x="1988987" y="3498563"/>
                </a:cubicBezTo>
                <a:close/>
                <a:moveTo>
                  <a:pt x="1771349" y="3498563"/>
                </a:moveTo>
                <a:cubicBezTo>
                  <a:pt x="1765492" y="3498563"/>
                  <a:pt x="1762964" y="3500558"/>
                  <a:pt x="1761367" y="3502157"/>
                </a:cubicBezTo>
                <a:cubicBezTo>
                  <a:pt x="1758837" y="3504819"/>
                  <a:pt x="1757773" y="3507614"/>
                  <a:pt x="1757773" y="3511608"/>
                </a:cubicBezTo>
                <a:cubicBezTo>
                  <a:pt x="1757773" y="3515735"/>
                  <a:pt x="1758837" y="3518530"/>
                  <a:pt x="1761367" y="3521059"/>
                </a:cubicBezTo>
                <a:cubicBezTo>
                  <a:pt x="1762964" y="3522657"/>
                  <a:pt x="1765492" y="3524520"/>
                  <a:pt x="1771349" y="3524520"/>
                </a:cubicBezTo>
                <a:cubicBezTo>
                  <a:pt x="1773347" y="3524520"/>
                  <a:pt x="1775210" y="3524254"/>
                  <a:pt x="1776674" y="3523722"/>
                </a:cubicBezTo>
                <a:cubicBezTo>
                  <a:pt x="1778138" y="3523189"/>
                  <a:pt x="1779468" y="3522257"/>
                  <a:pt x="1780401" y="3521325"/>
                </a:cubicBezTo>
                <a:cubicBezTo>
                  <a:pt x="1781466" y="3520127"/>
                  <a:pt x="1782398" y="3518796"/>
                  <a:pt x="1783063" y="3517066"/>
                </a:cubicBezTo>
                <a:cubicBezTo>
                  <a:pt x="1783728" y="3515469"/>
                  <a:pt x="1784129" y="3513605"/>
                  <a:pt x="1784129" y="3511608"/>
                </a:cubicBezTo>
                <a:cubicBezTo>
                  <a:pt x="1784129" y="3509744"/>
                  <a:pt x="1783728" y="3508014"/>
                  <a:pt x="1783063" y="3506416"/>
                </a:cubicBezTo>
                <a:cubicBezTo>
                  <a:pt x="1782398" y="3504686"/>
                  <a:pt x="1781466" y="3503355"/>
                  <a:pt x="1780401" y="3502157"/>
                </a:cubicBezTo>
                <a:cubicBezTo>
                  <a:pt x="1779336" y="3501092"/>
                  <a:pt x="1778005" y="3500159"/>
                  <a:pt x="1776408" y="3499495"/>
                </a:cubicBezTo>
                <a:cubicBezTo>
                  <a:pt x="1774943" y="3498829"/>
                  <a:pt x="1773347" y="3498563"/>
                  <a:pt x="1771349" y="3498563"/>
                </a:cubicBezTo>
                <a:close/>
                <a:moveTo>
                  <a:pt x="1553709" y="3498563"/>
                </a:moveTo>
                <a:cubicBezTo>
                  <a:pt x="1547852" y="3498563"/>
                  <a:pt x="1545323" y="3500558"/>
                  <a:pt x="1543726" y="3502157"/>
                </a:cubicBezTo>
                <a:cubicBezTo>
                  <a:pt x="1541196" y="3504819"/>
                  <a:pt x="1540131" y="3507614"/>
                  <a:pt x="1540131" y="3511608"/>
                </a:cubicBezTo>
                <a:cubicBezTo>
                  <a:pt x="1540131" y="3515735"/>
                  <a:pt x="1541196" y="3518530"/>
                  <a:pt x="1543726" y="3521059"/>
                </a:cubicBezTo>
                <a:cubicBezTo>
                  <a:pt x="1545323" y="3522657"/>
                  <a:pt x="1547852" y="3524520"/>
                  <a:pt x="1553709" y="3524520"/>
                </a:cubicBezTo>
                <a:cubicBezTo>
                  <a:pt x="1555706" y="3524520"/>
                  <a:pt x="1557570" y="3524254"/>
                  <a:pt x="1559034" y="3523722"/>
                </a:cubicBezTo>
                <a:cubicBezTo>
                  <a:pt x="1560498" y="3523189"/>
                  <a:pt x="1561830" y="3522257"/>
                  <a:pt x="1562761" y="3521325"/>
                </a:cubicBezTo>
                <a:cubicBezTo>
                  <a:pt x="1563826" y="3520127"/>
                  <a:pt x="1564758" y="3518796"/>
                  <a:pt x="1565424" y="3517066"/>
                </a:cubicBezTo>
                <a:cubicBezTo>
                  <a:pt x="1566089" y="3515469"/>
                  <a:pt x="1566489" y="3513605"/>
                  <a:pt x="1566489" y="3511608"/>
                </a:cubicBezTo>
                <a:cubicBezTo>
                  <a:pt x="1566489" y="3509744"/>
                  <a:pt x="1566089" y="3508014"/>
                  <a:pt x="1565424" y="3506416"/>
                </a:cubicBezTo>
                <a:cubicBezTo>
                  <a:pt x="1564758" y="3504686"/>
                  <a:pt x="1563826" y="3503355"/>
                  <a:pt x="1562761" y="3502157"/>
                </a:cubicBezTo>
                <a:cubicBezTo>
                  <a:pt x="1561696" y="3501092"/>
                  <a:pt x="1560365" y="3500159"/>
                  <a:pt x="1558768" y="3499495"/>
                </a:cubicBezTo>
                <a:cubicBezTo>
                  <a:pt x="1557304" y="3498829"/>
                  <a:pt x="1555706" y="3498563"/>
                  <a:pt x="1553709" y="3498563"/>
                </a:cubicBezTo>
                <a:close/>
                <a:moveTo>
                  <a:pt x="1336065" y="3498563"/>
                </a:moveTo>
                <a:cubicBezTo>
                  <a:pt x="1330207" y="3498563"/>
                  <a:pt x="1327678" y="3500558"/>
                  <a:pt x="1326082" y="3502157"/>
                </a:cubicBezTo>
                <a:cubicBezTo>
                  <a:pt x="1323551" y="3504819"/>
                  <a:pt x="1322487" y="3507614"/>
                  <a:pt x="1322487" y="3511608"/>
                </a:cubicBezTo>
                <a:cubicBezTo>
                  <a:pt x="1322487" y="3515735"/>
                  <a:pt x="1323551" y="3518530"/>
                  <a:pt x="1326082" y="3521059"/>
                </a:cubicBezTo>
                <a:cubicBezTo>
                  <a:pt x="1327678" y="3522657"/>
                  <a:pt x="1330207" y="3524520"/>
                  <a:pt x="1336065" y="3524520"/>
                </a:cubicBezTo>
                <a:cubicBezTo>
                  <a:pt x="1338195" y="3524520"/>
                  <a:pt x="1339925" y="3524254"/>
                  <a:pt x="1341391" y="3523722"/>
                </a:cubicBezTo>
                <a:cubicBezTo>
                  <a:pt x="1342855" y="3523189"/>
                  <a:pt x="1344186" y="3522257"/>
                  <a:pt x="1345118" y="3521325"/>
                </a:cubicBezTo>
                <a:cubicBezTo>
                  <a:pt x="1346183" y="3520127"/>
                  <a:pt x="1347115" y="3518796"/>
                  <a:pt x="1347781" y="3517066"/>
                </a:cubicBezTo>
                <a:cubicBezTo>
                  <a:pt x="1348446" y="3515469"/>
                  <a:pt x="1348847" y="3513605"/>
                  <a:pt x="1348847" y="3511608"/>
                </a:cubicBezTo>
                <a:cubicBezTo>
                  <a:pt x="1348847" y="3509744"/>
                  <a:pt x="1348446" y="3508014"/>
                  <a:pt x="1347781" y="3506416"/>
                </a:cubicBezTo>
                <a:cubicBezTo>
                  <a:pt x="1347115" y="3504686"/>
                  <a:pt x="1346183" y="3503355"/>
                  <a:pt x="1345118" y="3502157"/>
                </a:cubicBezTo>
                <a:cubicBezTo>
                  <a:pt x="1344053" y="3501092"/>
                  <a:pt x="1342722" y="3500159"/>
                  <a:pt x="1341124" y="3499495"/>
                </a:cubicBezTo>
                <a:cubicBezTo>
                  <a:pt x="1339660" y="3498829"/>
                  <a:pt x="1338061" y="3498563"/>
                  <a:pt x="1336065" y="3498563"/>
                </a:cubicBezTo>
                <a:close/>
                <a:moveTo>
                  <a:pt x="1118553" y="3498563"/>
                </a:moveTo>
                <a:cubicBezTo>
                  <a:pt x="1112695" y="3498563"/>
                  <a:pt x="1110165" y="3500558"/>
                  <a:pt x="1108568" y="3502157"/>
                </a:cubicBezTo>
                <a:cubicBezTo>
                  <a:pt x="1105906" y="3504819"/>
                  <a:pt x="1104841" y="3507614"/>
                  <a:pt x="1104841" y="3511608"/>
                </a:cubicBezTo>
                <a:cubicBezTo>
                  <a:pt x="1104841" y="3515735"/>
                  <a:pt x="1105906" y="3518530"/>
                  <a:pt x="1108436" y="3521059"/>
                </a:cubicBezTo>
                <a:cubicBezTo>
                  <a:pt x="1110033" y="3522657"/>
                  <a:pt x="1112562" y="3524520"/>
                  <a:pt x="1118420" y="3524520"/>
                </a:cubicBezTo>
                <a:cubicBezTo>
                  <a:pt x="1120550" y="3524520"/>
                  <a:pt x="1122282" y="3524254"/>
                  <a:pt x="1123877" y="3523722"/>
                </a:cubicBezTo>
                <a:cubicBezTo>
                  <a:pt x="1125342" y="3523189"/>
                  <a:pt x="1126676" y="3522257"/>
                  <a:pt x="1127606" y="3521325"/>
                </a:cubicBezTo>
                <a:cubicBezTo>
                  <a:pt x="1128671" y="3520127"/>
                  <a:pt x="1129603" y="3518796"/>
                  <a:pt x="1130270" y="3517066"/>
                </a:cubicBezTo>
                <a:cubicBezTo>
                  <a:pt x="1130934" y="3515469"/>
                  <a:pt x="1131335" y="3513605"/>
                  <a:pt x="1131335" y="3511608"/>
                </a:cubicBezTo>
                <a:cubicBezTo>
                  <a:pt x="1131335" y="3509744"/>
                  <a:pt x="1130934" y="3508014"/>
                  <a:pt x="1130270" y="3506416"/>
                </a:cubicBezTo>
                <a:cubicBezTo>
                  <a:pt x="1129603" y="3504686"/>
                  <a:pt x="1128671" y="3503355"/>
                  <a:pt x="1127606" y="3502157"/>
                </a:cubicBezTo>
                <a:cubicBezTo>
                  <a:pt x="1126541" y="3501092"/>
                  <a:pt x="1125210" y="3500159"/>
                  <a:pt x="1123611" y="3499495"/>
                </a:cubicBezTo>
                <a:cubicBezTo>
                  <a:pt x="1122149" y="3498829"/>
                  <a:pt x="1120550" y="3498563"/>
                  <a:pt x="1118553" y="3498563"/>
                </a:cubicBezTo>
                <a:close/>
                <a:moveTo>
                  <a:pt x="901041" y="3498563"/>
                </a:moveTo>
                <a:cubicBezTo>
                  <a:pt x="895183" y="3498563"/>
                  <a:pt x="892654" y="3500558"/>
                  <a:pt x="891057" y="3502157"/>
                </a:cubicBezTo>
                <a:cubicBezTo>
                  <a:pt x="888394" y="3504819"/>
                  <a:pt x="887330" y="3507614"/>
                  <a:pt x="887330" y="3511608"/>
                </a:cubicBezTo>
                <a:cubicBezTo>
                  <a:pt x="887330" y="3515735"/>
                  <a:pt x="888394" y="3518530"/>
                  <a:pt x="890924" y="3521059"/>
                </a:cubicBezTo>
                <a:cubicBezTo>
                  <a:pt x="892521" y="3522657"/>
                  <a:pt x="895050" y="3524520"/>
                  <a:pt x="900907" y="3524520"/>
                </a:cubicBezTo>
                <a:cubicBezTo>
                  <a:pt x="902904" y="3524520"/>
                  <a:pt x="904635" y="3524254"/>
                  <a:pt x="906365" y="3523722"/>
                </a:cubicBezTo>
                <a:cubicBezTo>
                  <a:pt x="907829" y="3523189"/>
                  <a:pt x="909161" y="3522257"/>
                  <a:pt x="910093" y="3521325"/>
                </a:cubicBezTo>
                <a:cubicBezTo>
                  <a:pt x="911157" y="3520127"/>
                  <a:pt x="912089" y="3518796"/>
                  <a:pt x="912755" y="3517066"/>
                </a:cubicBezTo>
                <a:cubicBezTo>
                  <a:pt x="913420" y="3515469"/>
                  <a:pt x="913821" y="3513605"/>
                  <a:pt x="913821" y="3511608"/>
                </a:cubicBezTo>
                <a:cubicBezTo>
                  <a:pt x="913821" y="3509744"/>
                  <a:pt x="913420" y="3508014"/>
                  <a:pt x="912755" y="3506416"/>
                </a:cubicBezTo>
                <a:cubicBezTo>
                  <a:pt x="912089" y="3504686"/>
                  <a:pt x="911157" y="3503355"/>
                  <a:pt x="910093" y="3502157"/>
                </a:cubicBezTo>
                <a:cubicBezTo>
                  <a:pt x="909028" y="3501092"/>
                  <a:pt x="907696" y="3500159"/>
                  <a:pt x="906099" y="3499495"/>
                </a:cubicBezTo>
                <a:cubicBezTo>
                  <a:pt x="904635" y="3498829"/>
                  <a:pt x="903037" y="3498563"/>
                  <a:pt x="901041" y="3498563"/>
                </a:cubicBezTo>
                <a:close/>
                <a:moveTo>
                  <a:pt x="683265" y="3498563"/>
                </a:moveTo>
                <a:cubicBezTo>
                  <a:pt x="677408" y="3498563"/>
                  <a:pt x="674879" y="3500558"/>
                  <a:pt x="673282" y="3502157"/>
                </a:cubicBezTo>
                <a:cubicBezTo>
                  <a:pt x="670752" y="3504819"/>
                  <a:pt x="669688" y="3507614"/>
                  <a:pt x="669688" y="3511608"/>
                </a:cubicBezTo>
                <a:cubicBezTo>
                  <a:pt x="669688" y="3515735"/>
                  <a:pt x="670752" y="3518530"/>
                  <a:pt x="673282" y="3521059"/>
                </a:cubicBezTo>
                <a:cubicBezTo>
                  <a:pt x="674879" y="3522657"/>
                  <a:pt x="677408" y="3524520"/>
                  <a:pt x="683265" y="3524520"/>
                </a:cubicBezTo>
                <a:cubicBezTo>
                  <a:pt x="685262" y="3524520"/>
                  <a:pt x="687126" y="3524254"/>
                  <a:pt x="688591" y="3523722"/>
                </a:cubicBezTo>
                <a:cubicBezTo>
                  <a:pt x="690055" y="3523189"/>
                  <a:pt x="691386" y="3522257"/>
                  <a:pt x="692318" y="3521325"/>
                </a:cubicBezTo>
                <a:cubicBezTo>
                  <a:pt x="693382" y="3520127"/>
                  <a:pt x="694314" y="3518796"/>
                  <a:pt x="694981" y="3517066"/>
                </a:cubicBezTo>
                <a:cubicBezTo>
                  <a:pt x="695646" y="3515469"/>
                  <a:pt x="696046" y="3513605"/>
                  <a:pt x="696046" y="3511608"/>
                </a:cubicBezTo>
                <a:cubicBezTo>
                  <a:pt x="696046" y="3509744"/>
                  <a:pt x="695646" y="3508014"/>
                  <a:pt x="694981" y="3506416"/>
                </a:cubicBezTo>
                <a:cubicBezTo>
                  <a:pt x="694314" y="3504686"/>
                  <a:pt x="693382" y="3503355"/>
                  <a:pt x="692318" y="3502157"/>
                </a:cubicBezTo>
                <a:cubicBezTo>
                  <a:pt x="691252" y="3501092"/>
                  <a:pt x="689922" y="3500159"/>
                  <a:pt x="688325" y="3499495"/>
                </a:cubicBezTo>
                <a:cubicBezTo>
                  <a:pt x="686861" y="3498829"/>
                  <a:pt x="685262" y="3498563"/>
                  <a:pt x="683265" y="3498563"/>
                </a:cubicBezTo>
                <a:close/>
                <a:moveTo>
                  <a:pt x="465623" y="3498563"/>
                </a:moveTo>
                <a:cubicBezTo>
                  <a:pt x="459766" y="3498563"/>
                  <a:pt x="457237" y="3500558"/>
                  <a:pt x="455640" y="3502157"/>
                </a:cubicBezTo>
                <a:cubicBezTo>
                  <a:pt x="453110" y="3504819"/>
                  <a:pt x="452046" y="3507614"/>
                  <a:pt x="452046" y="3511608"/>
                </a:cubicBezTo>
                <a:cubicBezTo>
                  <a:pt x="452046" y="3515735"/>
                  <a:pt x="453110" y="3518530"/>
                  <a:pt x="455640" y="3521059"/>
                </a:cubicBezTo>
                <a:cubicBezTo>
                  <a:pt x="457237" y="3522657"/>
                  <a:pt x="459766" y="3524520"/>
                  <a:pt x="465623" y="3524520"/>
                </a:cubicBezTo>
                <a:cubicBezTo>
                  <a:pt x="467620" y="3524520"/>
                  <a:pt x="469484" y="3524254"/>
                  <a:pt x="470948" y="3523722"/>
                </a:cubicBezTo>
                <a:cubicBezTo>
                  <a:pt x="472412" y="3523189"/>
                  <a:pt x="473743" y="3522257"/>
                  <a:pt x="474675" y="3521325"/>
                </a:cubicBezTo>
                <a:cubicBezTo>
                  <a:pt x="475740" y="3520127"/>
                  <a:pt x="476672" y="3518796"/>
                  <a:pt x="477338" y="3517066"/>
                </a:cubicBezTo>
                <a:cubicBezTo>
                  <a:pt x="478003" y="3515469"/>
                  <a:pt x="478403" y="3513605"/>
                  <a:pt x="478403" y="3511608"/>
                </a:cubicBezTo>
                <a:cubicBezTo>
                  <a:pt x="478403" y="3509744"/>
                  <a:pt x="478003" y="3508014"/>
                  <a:pt x="477338" y="3506416"/>
                </a:cubicBezTo>
                <a:cubicBezTo>
                  <a:pt x="476672" y="3504686"/>
                  <a:pt x="475740" y="3503355"/>
                  <a:pt x="474675" y="3502157"/>
                </a:cubicBezTo>
                <a:cubicBezTo>
                  <a:pt x="473610" y="3501092"/>
                  <a:pt x="472279" y="3500159"/>
                  <a:pt x="470682" y="3499495"/>
                </a:cubicBezTo>
                <a:cubicBezTo>
                  <a:pt x="469218" y="3498829"/>
                  <a:pt x="467620" y="3498563"/>
                  <a:pt x="465623" y="3498563"/>
                </a:cubicBezTo>
                <a:close/>
                <a:moveTo>
                  <a:pt x="247980" y="3498563"/>
                </a:moveTo>
                <a:cubicBezTo>
                  <a:pt x="242123" y="3498563"/>
                  <a:pt x="239594" y="3500558"/>
                  <a:pt x="237997" y="3502157"/>
                </a:cubicBezTo>
                <a:cubicBezTo>
                  <a:pt x="235468" y="3504819"/>
                  <a:pt x="234404" y="3507614"/>
                  <a:pt x="234404" y="3511608"/>
                </a:cubicBezTo>
                <a:cubicBezTo>
                  <a:pt x="234404" y="3515735"/>
                  <a:pt x="235468" y="3518530"/>
                  <a:pt x="237997" y="3521059"/>
                </a:cubicBezTo>
                <a:cubicBezTo>
                  <a:pt x="239594" y="3522657"/>
                  <a:pt x="242123" y="3524520"/>
                  <a:pt x="247980" y="3524520"/>
                </a:cubicBezTo>
                <a:cubicBezTo>
                  <a:pt x="250110" y="3524520"/>
                  <a:pt x="251841" y="3524254"/>
                  <a:pt x="253305" y="3523722"/>
                </a:cubicBezTo>
                <a:cubicBezTo>
                  <a:pt x="254769" y="3523189"/>
                  <a:pt x="256100" y="3522257"/>
                  <a:pt x="257032" y="3521325"/>
                </a:cubicBezTo>
                <a:cubicBezTo>
                  <a:pt x="258097" y="3520127"/>
                  <a:pt x="259029" y="3518796"/>
                  <a:pt x="259695" y="3517066"/>
                </a:cubicBezTo>
                <a:cubicBezTo>
                  <a:pt x="260360" y="3515469"/>
                  <a:pt x="260760" y="3513605"/>
                  <a:pt x="260760" y="3511608"/>
                </a:cubicBezTo>
                <a:cubicBezTo>
                  <a:pt x="260760" y="3509744"/>
                  <a:pt x="260360" y="3508014"/>
                  <a:pt x="259695" y="3506416"/>
                </a:cubicBezTo>
                <a:cubicBezTo>
                  <a:pt x="259029" y="3504686"/>
                  <a:pt x="258097" y="3503355"/>
                  <a:pt x="257032" y="3502157"/>
                </a:cubicBezTo>
                <a:cubicBezTo>
                  <a:pt x="255967" y="3501092"/>
                  <a:pt x="254636" y="3500159"/>
                  <a:pt x="253039" y="3499495"/>
                </a:cubicBezTo>
                <a:cubicBezTo>
                  <a:pt x="251574" y="3498829"/>
                  <a:pt x="249977" y="3498563"/>
                  <a:pt x="247980" y="3498563"/>
                </a:cubicBezTo>
                <a:close/>
                <a:moveTo>
                  <a:pt x="30337" y="3498563"/>
                </a:moveTo>
                <a:cubicBezTo>
                  <a:pt x="24480" y="3498563"/>
                  <a:pt x="21951" y="3500558"/>
                  <a:pt x="20354" y="3502157"/>
                </a:cubicBezTo>
                <a:cubicBezTo>
                  <a:pt x="17825" y="3504819"/>
                  <a:pt x="16761" y="3507614"/>
                  <a:pt x="16761" y="3511608"/>
                </a:cubicBezTo>
                <a:cubicBezTo>
                  <a:pt x="16761" y="3515735"/>
                  <a:pt x="17825" y="3518530"/>
                  <a:pt x="20354" y="3521059"/>
                </a:cubicBezTo>
                <a:cubicBezTo>
                  <a:pt x="21951" y="3522657"/>
                  <a:pt x="24480" y="3524520"/>
                  <a:pt x="30337" y="3524520"/>
                </a:cubicBezTo>
                <a:cubicBezTo>
                  <a:pt x="32467" y="3524520"/>
                  <a:pt x="34198" y="3524254"/>
                  <a:pt x="35662" y="3523722"/>
                </a:cubicBezTo>
                <a:cubicBezTo>
                  <a:pt x="37126" y="3523189"/>
                  <a:pt x="38459" y="3522257"/>
                  <a:pt x="39389" y="3521325"/>
                </a:cubicBezTo>
                <a:cubicBezTo>
                  <a:pt x="40455" y="3520127"/>
                  <a:pt x="41387" y="3518796"/>
                  <a:pt x="42053" y="3517066"/>
                </a:cubicBezTo>
                <a:cubicBezTo>
                  <a:pt x="42718" y="3515469"/>
                  <a:pt x="42984" y="3513605"/>
                  <a:pt x="42984" y="3511608"/>
                </a:cubicBezTo>
                <a:cubicBezTo>
                  <a:pt x="42984" y="3509744"/>
                  <a:pt x="42718" y="3508014"/>
                  <a:pt x="42053" y="3506416"/>
                </a:cubicBezTo>
                <a:cubicBezTo>
                  <a:pt x="41387" y="3504686"/>
                  <a:pt x="40455" y="3503355"/>
                  <a:pt x="39389" y="3502157"/>
                </a:cubicBezTo>
                <a:cubicBezTo>
                  <a:pt x="38325" y="3501092"/>
                  <a:pt x="36994" y="3500159"/>
                  <a:pt x="35397" y="3499495"/>
                </a:cubicBezTo>
                <a:cubicBezTo>
                  <a:pt x="33932" y="3498829"/>
                  <a:pt x="32334" y="3498563"/>
                  <a:pt x="30337" y="3498563"/>
                </a:cubicBezTo>
                <a:close/>
                <a:moveTo>
                  <a:pt x="10475977" y="3481923"/>
                </a:moveTo>
                <a:cubicBezTo>
                  <a:pt x="10480237" y="3481923"/>
                  <a:pt x="10484230" y="3482721"/>
                  <a:pt x="10487824" y="3484451"/>
                </a:cubicBezTo>
                <a:cubicBezTo>
                  <a:pt x="10491419" y="3486050"/>
                  <a:pt x="10494613" y="3488179"/>
                  <a:pt x="10497143" y="3490842"/>
                </a:cubicBezTo>
                <a:cubicBezTo>
                  <a:pt x="10499672" y="3493504"/>
                  <a:pt x="10501801" y="3496699"/>
                  <a:pt x="10503266" y="3500292"/>
                </a:cubicBezTo>
                <a:cubicBezTo>
                  <a:pt x="10504730" y="3503887"/>
                  <a:pt x="10505529" y="3507614"/>
                  <a:pt x="10505529" y="3511741"/>
                </a:cubicBezTo>
                <a:cubicBezTo>
                  <a:pt x="10505529" y="3515868"/>
                  <a:pt x="10504730" y="3519862"/>
                  <a:pt x="10503266" y="3523456"/>
                </a:cubicBezTo>
                <a:cubicBezTo>
                  <a:pt x="10501669" y="3527050"/>
                  <a:pt x="10499672" y="3530111"/>
                  <a:pt x="10497143" y="3532774"/>
                </a:cubicBezTo>
                <a:cubicBezTo>
                  <a:pt x="10494480" y="3535437"/>
                  <a:pt x="10491419" y="3537566"/>
                  <a:pt x="10487824" y="3539030"/>
                </a:cubicBezTo>
                <a:cubicBezTo>
                  <a:pt x="10484098" y="3540494"/>
                  <a:pt x="10480237" y="3541293"/>
                  <a:pt x="10475977" y="3541293"/>
                </a:cubicBezTo>
                <a:cubicBezTo>
                  <a:pt x="10466924" y="3541293"/>
                  <a:pt x="10459736" y="3538365"/>
                  <a:pt x="10454145" y="3532774"/>
                </a:cubicBezTo>
                <a:cubicBezTo>
                  <a:pt x="10448554" y="3527050"/>
                  <a:pt x="10445759" y="3520127"/>
                  <a:pt x="10445759" y="3511608"/>
                </a:cubicBezTo>
                <a:cubicBezTo>
                  <a:pt x="10445759" y="3503355"/>
                  <a:pt x="10448554" y="3496299"/>
                  <a:pt x="10454145" y="3490575"/>
                </a:cubicBezTo>
                <a:cubicBezTo>
                  <a:pt x="10459603" y="3484717"/>
                  <a:pt x="10466924" y="3481923"/>
                  <a:pt x="10475977" y="3481923"/>
                </a:cubicBezTo>
                <a:close/>
                <a:moveTo>
                  <a:pt x="10258466" y="3481923"/>
                </a:moveTo>
                <a:cubicBezTo>
                  <a:pt x="10262592" y="3481923"/>
                  <a:pt x="10266586" y="3482721"/>
                  <a:pt x="10270313" y="3484451"/>
                </a:cubicBezTo>
                <a:cubicBezTo>
                  <a:pt x="10273907" y="3486050"/>
                  <a:pt x="10277101" y="3488179"/>
                  <a:pt x="10279631" y="3490842"/>
                </a:cubicBezTo>
                <a:cubicBezTo>
                  <a:pt x="10282160" y="3493504"/>
                  <a:pt x="10284290" y="3496699"/>
                  <a:pt x="10285754" y="3500292"/>
                </a:cubicBezTo>
                <a:cubicBezTo>
                  <a:pt x="10287218" y="3503887"/>
                  <a:pt x="10288017" y="3507614"/>
                  <a:pt x="10288017" y="3511741"/>
                </a:cubicBezTo>
                <a:cubicBezTo>
                  <a:pt x="10288017" y="3515868"/>
                  <a:pt x="10287218" y="3519862"/>
                  <a:pt x="10285754" y="3523456"/>
                </a:cubicBezTo>
                <a:cubicBezTo>
                  <a:pt x="10284157" y="3527050"/>
                  <a:pt x="10282160" y="3530111"/>
                  <a:pt x="10279631" y="3532774"/>
                </a:cubicBezTo>
                <a:cubicBezTo>
                  <a:pt x="10276969" y="3535437"/>
                  <a:pt x="10273907" y="3537566"/>
                  <a:pt x="10270313" y="3539030"/>
                </a:cubicBezTo>
                <a:cubicBezTo>
                  <a:pt x="10266586" y="3540494"/>
                  <a:pt x="10262725" y="3541293"/>
                  <a:pt x="10258466" y="3541293"/>
                </a:cubicBezTo>
                <a:cubicBezTo>
                  <a:pt x="10249546" y="3541293"/>
                  <a:pt x="10242224" y="3538365"/>
                  <a:pt x="10236633" y="3532774"/>
                </a:cubicBezTo>
                <a:cubicBezTo>
                  <a:pt x="10231043" y="3527050"/>
                  <a:pt x="10228247" y="3520127"/>
                  <a:pt x="10228247" y="3511608"/>
                </a:cubicBezTo>
                <a:cubicBezTo>
                  <a:pt x="10228247" y="3503355"/>
                  <a:pt x="10231043" y="3496299"/>
                  <a:pt x="10236633" y="3490575"/>
                </a:cubicBezTo>
                <a:cubicBezTo>
                  <a:pt x="10242092" y="3484717"/>
                  <a:pt x="10249413" y="3481923"/>
                  <a:pt x="10258466" y="3481923"/>
                </a:cubicBezTo>
                <a:close/>
                <a:moveTo>
                  <a:pt x="10040820" y="3481923"/>
                </a:moveTo>
                <a:cubicBezTo>
                  <a:pt x="10045080" y="3481923"/>
                  <a:pt x="10048941" y="3482721"/>
                  <a:pt x="10052534" y="3484451"/>
                </a:cubicBezTo>
                <a:cubicBezTo>
                  <a:pt x="10056129" y="3486050"/>
                  <a:pt x="10059323" y="3488179"/>
                  <a:pt x="10061852" y="3490842"/>
                </a:cubicBezTo>
                <a:cubicBezTo>
                  <a:pt x="10064382" y="3493504"/>
                  <a:pt x="10066512" y="3496699"/>
                  <a:pt x="10067976" y="3500292"/>
                </a:cubicBezTo>
                <a:cubicBezTo>
                  <a:pt x="10069440" y="3503887"/>
                  <a:pt x="10070239" y="3507614"/>
                  <a:pt x="10070239" y="3511741"/>
                </a:cubicBezTo>
                <a:cubicBezTo>
                  <a:pt x="10070239" y="3515868"/>
                  <a:pt x="10069440" y="3519862"/>
                  <a:pt x="10067976" y="3523456"/>
                </a:cubicBezTo>
                <a:cubicBezTo>
                  <a:pt x="10066379" y="3527050"/>
                  <a:pt x="10064382" y="3530111"/>
                  <a:pt x="10061852" y="3532774"/>
                </a:cubicBezTo>
                <a:cubicBezTo>
                  <a:pt x="10059190" y="3535437"/>
                  <a:pt x="10056129" y="3537566"/>
                  <a:pt x="10052534" y="3539030"/>
                </a:cubicBezTo>
                <a:cubicBezTo>
                  <a:pt x="10048941" y="3540494"/>
                  <a:pt x="10045080" y="3541293"/>
                  <a:pt x="10040820" y="3541293"/>
                </a:cubicBezTo>
                <a:cubicBezTo>
                  <a:pt x="10031767" y="3541293"/>
                  <a:pt x="10024579" y="3538365"/>
                  <a:pt x="10018988" y="3532774"/>
                </a:cubicBezTo>
                <a:cubicBezTo>
                  <a:pt x="10013397" y="3527050"/>
                  <a:pt x="10010602" y="3520127"/>
                  <a:pt x="10010602" y="3511608"/>
                </a:cubicBezTo>
                <a:cubicBezTo>
                  <a:pt x="10010602" y="3503355"/>
                  <a:pt x="10013397" y="3496299"/>
                  <a:pt x="10018988" y="3490575"/>
                </a:cubicBezTo>
                <a:cubicBezTo>
                  <a:pt x="10024579" y="3484717"/>
                  <a:pt x="10031767" y="3481923"/>
                  <a:pt x="10040820" y="3481923"/>
                </a:cubicBezTo>
                <a:close/>
                <a:moveTo>
                  <a:pt x="9823176" y="3481923"/>
                </a:moveTo>
                <a:cubicBezTo>
                  <a:pt x="9827435" y="3481923"/>
                  <a:pt x="9831296" y="3482721"/>
                  <a:pt x="9834890" y="3484451"/>
                </a:cubicBezTo>
                <a:cubicBezTo>
                  <a:pt x="9838617" y="3486050"/>
                  <a:pt x="9841679" y="3488179"/>
                  <a:pt x="9844208" y="3490842"/>
                </a:cubicBezTo>
                <a:cubicBezTo>
                  <a:pt x="9846737" y="3493504"/>
                  <a:pt x="9848867" y="3496699"/>
                  <a:pt x="9850331" y="3500292"/>
                </a:cubicBezTo>
                <a:cubicBezTo>
                  <a:pt x="9851796" y="3503887"/>
                  <a:pt x="9852595" y="3507614"/>
                  <a:pt x="9852595" y="3511741"/>
                </a:cubicBezTo>
                <a:cubicBezTo>
                  <a:pt x="9852595" y="3515868"/>
                  <a:pt x="9851796" y="3519862"/>
                  <a:pt x="9850331" y="3523456"/>
                </a:cubicBezTo>
                <a:cubicBezTo>
                  <a:pt x="9848734" y="3527050"/>
                  <a:pt x="9846737" y="3530111"/>
                  <a:pt x="9844208" y="3532774"/>
                </a:cubicBezTo>
                <a:cubicBezTo>
                  <a:pt x="9841546" y="3535437"/>
                  <a:pt x="9838484" y="3537566"/>
                  <a:pt x="9834890" y="3539030"/>
                </a:cubicBezTo>
                <a:cubicBezTo>
                  <a:pt x="9831296" y="3540494"/>
                  <a:pt x="9827435" y="3541293"/>
                  <a:pt x="9823176" y="3541293"/>
                </a:cubicBezTo>
                <a:cubicBezTo>
                  <a:pt x="9814123" y="3541293"/>
                  <a:pt x="9806935" y="3538365"/>
                  <a:pt x="9801343" y="3532774"/>
                </a:cubicBezTo>
                <a:cubicBezTo>
                  <a:pt x="9795753" y="3527050"/>
                  <a:pt x="9792957" y="3520127"/>
                  <a:pt x="9792957" y="3511608"/>
                </a:cubicBezTo>
                <a:cubicBezTo>
                  <a:pt x="9792957" y="3503355"/>
                  <a:pt x="9795753" y="3496299"/>
                  <a:pt x="9801343" y="3490575"/>
                </a:cubicBezTo>
                <a:cubicBezTo>
                  <a:pt x="9806935" y="3484717"/>
                  <a:pt x="9814123" y="3481923"/>
                  <a:pt x="9823176" y="3481923"/>
                </a:cubicBezTo>
                <a:close/>
                <a:moveTo>
                  <a:pt x="9605531" y="3481923"/>
                </a:moveTo>
                <a:cubicBezTo>
                  <a:pt x="9609790" y="3481923"/>
                  <a:pt x="9613784" y="3482721"/>
                  <a:pt x="9617245" y="3484451"/>
                </a:cubicBezTo>
                <a:cubicBezTo>
                  <a:pt x="9620839" y="3486050"/>
                  <a:pt x="9624033" y="3488179"/>
                  <a:pt x="9626562" y="3490842"/>
                </a:cubicBezTo>
                <a:cubicBezTo>
                  <a:pt x="9629092" y="3493504"/>
                  <a:pt x="9631222" y="3496699"/>
                  <a:pt x="9632686" y="3500292"/>
                </a:cubicBezTo>
                <a:cubicBezTo>
                  <a:pt x="9634150" y="3503887"/>
                  <a:pt x="9634949" y="3507614"/>
                  <a:pt x="9634949" y="3511741"/>
                </a:cubicBezTo>
                <a:cubicBezTo>
                  <a:pt x="9634949" y="3515868"/>
                  <a:pt x="9634150" y="3519862"/>
                  <a:pt x="9632686" y="3523456"/>
                </a:cubicBezTo>
                <a:cubicBezTo>
                  <a:pt x="9631089" y="3527050"/>
                  <a:pt x="9629092" y="3530111"/>
                  <a:pt x="9626562" y="3532774"/>
                </a:cubicBezTo>
                <a:cubicBezTo>
                  <a:pt x="9623901" y="3535437"/>
                  <a:pt x="9620839" y="3537566"/>
                  <a:pt x="9617245" y="3539030"/>
                </a:cubicBezTo>
                <a:cubicBezTo>
                  <a:pt x="9613651" y="3540494"/>
                  <a:pt x="9609790" y="3541293"/>
                  <a:pt x="9605531" y="3541293"/>
                </a:cubicBezTo>
                <a:cubicBezTo>
                  <a:pt x="9596610" y="3541293"/>
                  <a:pt x="9589289" y="3538365"/>
                  <a:pt x="9583698" y="3532774"/>
                </a:cubicBezTo>
                <a:cubicBezTo>
                  <a:pt x="9578108" y="3527050"/>
                  <a:pt x="9575312" y="3520127"/>
                  <a:pt x="9575312" y="3511608"/>
                </a:cubicBezTo>
                <a:cubicBezTo>
                  <a:pt x="9575312" y="3503355"/>
                  <a:pt x="9578108" y="3496299"/>
                  <a:pt x="9583698" y="3490575"/>
                </a:cubicBezTo>
                <a:cubicBezTo>
                  <a:pt x="9589289" y="3484717"/>
                  <a:pt x="9596478" y="3481923"/>
                  <a:pt x="9605531" y="3481923"/>
                </a:cubicBezTo>
                <a:close/>
                <a:moveTo>
                  <a:pt x="9387885" y="3481923"/>
                </a:moveTo>
                <a:cubicBezTo>
                  <a:pt x="9392145" y="3481923"/>
                  <a:pt x="9396138" y="3482721"/>
                  <a:pt x="9399599" y="3484451"/>
                </a:cubicBezTo>
                <a:cubicBezTo>
                  <a:pt x="9403194" y="3486050"/>
                  <a:pt x="9406388" y="3488179"/>
                  <a:pt x="9408917" y="3490842"/>
                </a:cubicBezTo>
                <a:cubicBezTo>
                  <a:pt x="9411447" y="3493504"/>
                  <a:pt x="9413576" y="3496699"/>
                  <a:pt x="9415041" y="3500292"/>
                </a:cubicBezTo>
                <a:cubicBezTo>
                  <a:pt x="9416505" y="3503887"/>
                  <a:pt x="9417304" y="3507614"/>
                  <a:pt x="9417304" y="3511741"/>
                </a:cubicBezTo>
                <a:cubicBezTo>
                  <a:pt x="9417304" y="3515868"/>
                  <a:pt x="9416505" y="3519862"/>
                  <a:pt x="9415041" y="3523456"/>
                </a:cubicBezTo>
                <a:cubicBezTo>
                  <a:pt x="9413444" y="3527050"/>
                  <a:pt x="9411447" y="3530111"/>
                  <a:pt x="9408917" y="3532774"/>
                </a:cubicBezTo>
                <a:cubicBezTo>
                  <a:pt x="9406255" y="3535437"/>
                  <a:pt x="9403194" y="3537566"/>
                  <a:pt x="9399599" y="3539030"/>
                </a:cubicBezTo>
                <a:cubicBezTo>
                  <a:pt x="9396005" y="3540494"/>
                  <a:pt x="9392145" y="3541293"/>
                  <a:pt x="9387885" y="3541293"/>
                </a:cubicBezTo>
                <a:cubicBezTo>
                  <a:pt x="9378965" y="3541293"/>
                  <a:pt x="9371644" y="3538365"/>
                  <a:pt x="9366053" y="3532774"/>
                </a:cubicBezTo>
                <a:cubicBezTo>
                  <a:pt x="9360462" y="3527050"/>
                  <a:pt x="9357667" y="3520127"/>
                  <a:pt x="9357667" y="3511608"/>
                </a:cubicBezTo>
                <a:cubicBezTo>
                  <a:pt x="9357667" y="3503355"/>
                  <a:pt x="9360462" y="3496299"/>
                  <a:pt x="9366053" y="3490575"/>
                </a:cubicBezTo>
                <a:cubicBezTo>
                  <a:pt x="9371644" y="3484717"/>
                  <a:pt x="9378832" y="3481923"/>
                  <a:pt x="9387885" y="3481923"/>
                </a:cubicBezTo>
                <a:close/>
                <a:moveTo>
                  <a:pt x="9170374" y="3481923"/>
                </a:moveTo>
                <a:cubicBezTo>
                  <a:pt x="9174500" y="3481923"/>
                  <a:pt x="9178494" y="3482721"/>
                  <a:pt x="9182088" y="3484451"/>
                </a:cubicBezTo>
                <a:cubicBezTo>
                  <a:pt x="9185682" y="3486050"/>
                  <a:pt x="9188876" y="3488179"/>
                  <a:pt x="9191405" y="3490842"/>
                </a:cubicBezTo>
                <a:cubicBezTo>
                  <a:pt x="9193935" y="3493504"/>
                  <a:pt x="9196065" y="3496699"/>
                  <a:pt x="9197529" y="3500292"/>
                </a:cubicBezTo>
                <a:cubicBezTo>
                  <a:pt x="9198993" y="3503887"/>
                  <a:pt x="9199792" y="3507614"/>
                  <a:pt x="9199792" y="3511741"/>
                </a:cubicBezTo>
                <a:cubicBezTo>
                  <a:pt x="9199792" y="3515868"/>
                  <a:pt x="9198993" y="3519862"/>
                  <a:pt x="9197529" y="3523456"/>
                </a:cubicBezTo>
                <a:cubicBezTo>
                  <a:pt x="9195932" y="3527050"/>
                  <a:pt x="9193935" y="3530111"/>
                  <a:pt x="9191405" y="3532774"/>
                </a:cubicBezTo>
                <a:cubicBezTo>
                  <a:pt x="9188744" y="3535437"/>
                  <a:pt x="9185682" y="3537566"/>
                  <a:pt x="9182088" y="3539030"/>
                </a:cubicBezTo>
                <a:cubicBezTo>
                  <a:pt x="9178494" y="3540494"/>
                  <a:pt x="9174633" y="3541293"/>
                  <a:pt x="9170374" y="3541293"/>
                </a:cubicBezTo>
                <a:cubicBezTo>
                  <a:pt x="9161453" y="3541293"/>
                  <a:pt x="9154132" y="3538365"/>
                  <a:pt x="9148541" y="3532774"/>
                </a:cubicBezTo>
                <a:cubicBezTo>
                  <a:pt x="9142951" y="3527050"/>
                  <a:pt x="9140155" y="3520127"/>
                  <a:pt x="9140155" y="3511608"/>
                </a:cubicBezTo>
                <a:cubicBezTo>
                  <a:pt x="9140155" y="3503355"/>
                  <a:pt x="9142951" y="3496299"/>
                  <a:pt x="9148541" y="3490575"/>
                </a:cubicBezTo>
                <a:cubicBezTo>
                  <a:pt x="9154132" y="3484717"/>
                  <a:pt x="9161321" y="3481923"/>
                  <a:pt x="9170374" y="3481923"/>
                </a:cubicBezTo>
                <a:close/>
                <a:moveTo>
                  <a:pt x="8952728" y="3481923"/>
                </a:moveTo>
                <a:cubicBezTo>
                  <a:pt x="8956988" y="3481923"/>
                  <a:pt x="8960849" y="3482721"/>
                  <a:pt x="8964442" y="3484451"/>
                </a:cubicBezTo>
                <a:cubicBezTo>
                  <a:pt x="8968037" y="3486050"/>
                  <a:pt x="8971231" y="3488179"/>
                  <a:pt x="8973760" y="3490842"/>
                </a:cubicBezTo>
                <a:cubicBezTo>
                  <a:pt x="8976290" y="3493504"/>
                  <a:pt x="8978419" y="3496699"/>
                  <a:pt x="8979884" y="3500292"/>
                </a:cubicBezTo>
                <a:cubicBezTo>
                  <a:pt x="8981348" y="3503887"/>
                  <a:pt x="8982147" y="3507614"/>
                  <a:pt x="8982147" y="3511741"/>
                </a:cubicBezTo>
                <a:cubicBezTo>
                  <a:pt x="8982147" y="3515868"/>
                  <a:pt x="8981348" y="3519862"/>
                  <a:pt x="8979884" y="3523456"/>
                </a:cubicBezTo>
                <a:cubicBezTo>
                  <a:pt x="8978287" y="3527050"/>
                  <a:pt x="8976290" y="3530111"/>
                  <a:pt x="8973760" y="3532774"/>
                </a:cubicBezTo>
                <a:cubicBezTo>
                  <a:pt x="8971098" y="3535437"/>
                  <a:pt x="8968037" y="3537566"/>
                  <a:pt x="8964442" y="3539030"/>
                </a:cubicBezTo>
                <a:cubicBezTo>
                  <a:pt x="8960849" y="3540494"/>
                  <a:pt x="8956988" y="3541293"/>
                  <a:pt x="8952728" y="3541293"/>
                </a:cubicBezTo>
                <a:cubicBezTo>
                  <a:pt x="8943808" y="3541293"/>
                  <a:pt x="8936487" y="3538365"/>
                  <a:pt x="8930896" y="3532774"/>
                </a:cubicBezTo>
                <a:cubicBezTo>
                  <a:pt x="8925305" y="3527050"/>
                  <a:pt x="8922510" y="3520127"/>
                  <a:pt x="8922510" y="3511608"/>
                </a:cubicBezTo>
                <a:cubicBezTo>
                  <a:pt x="8922510" y="3503355"/>
                  <a:pt x="8925305" y="3496299"/>
                  <a:pt x="8930896" y="3490575"/>
                </a:cubicBezTo>
                <a:cubicBezTo>
                  <a:pt x="8936487" y="3484717"/>
                  <a:pt x="8943675" y="3481923"/>
                  <a:pt x="8952728" y="3481923"/>
                </a:cubicBezTo>
                <a:close/>
                <a:moveTo>
                  <a:pt x="8735083" y="3481923"/>
                </a:moveTo>
                <a:cubicBezTo>
                  <a:pt x="8739342" y="3481923"/>
                  <a:pt x="8743203" y="3482721"/>
                  <a:pt x="8746797" y="3484451"/>
                </a:cubicBezTo>
                <a:cubicBezTo>
                  <a:pt x="8750391" y="3486050"/>
                  <a:pt x="8753586" y="3488179"/>
                  <a:pt x="8756115" y="3490842"/>
                </a:cubicBezTo>
                <a:cubicBezTo>
                  <a:pt x="8758644" y="3493504"/>
                  <a:pt x="8760774" y="3496699"/>
                  <a:pt x="8762238" y="3500292"/>
                </a:cubicBezTo>
                <a:cubicBezTo>
                  <a:pt x="8763702" y="3503887"/>
                  <a:pt x="8764502" y="3507614"/>
                  <a:pt x="8764502" y="3511741"/>
                </a:cubicBezTo>
                <a:cubicBezTo>
                  <a:pt x="8764502" y="3515868"/>
                  <a:pt x="8763702" y="3519862"/>
                  <a:pt x="8762238" y="3523456"/>
                </a:cubicBezTo>
                <a:cubicBezTo>
                  <a:pt x="8760641" y="3527050"/>
                  <a:pt x="8758644" y="3530111"/>
                  <a:pt x="8756115" y="3532774"/>
                </a:cubicBezTo>
                <a:cubicBezTo>
                  <a:pt x="8753453" y="3535437"/>
                  <a:pt x="8750391" y="3537566"/>
                  <a:pt x="8746797" y="3539030"/>
                </a:cubicBezTo>
                <a:cubicBezTo>
                  <a:pt x="8743203" y="3540494"/>
                  <a:pt x="8739342" y="3541293"/>
                  <a:pt x="8735083" y="3541293"/>
                </a:cubicBezTo>
                <a:cubicBezTo>
                  <a:pt x="8726030" y="3541293"/>
                  <a:pt x="8718841" y="3538365"/>
                  <a:pt x="8713250" y="3532774"/>
                </a:cubicBezTo>
                <a:cubicBezTo>
                  <a:pt x="8707660" y="3527050"/>
                  <a:pt x="8704864" y="3520127"/>
                  <a:pt x="8704864" y="3511608"/>
                </a:cubicBezTo>
                <a:cubicBezTo>
                  <a:pt x="8704864" y="3503355"/>
                  <a:pt x="8707660" y="3496299"/>
                  <a:pt x="8713250" y="3490575"/>
                </a:cubicBezTo>
                <a:cubicBezTo>
                  <a:pt x="8718841" y="3484717"/>
                  <a:pt x="8726030" y="3481923"/>
                  <a:pt x="8735083" y="3481923"/>
                </a:cubicBezTo>
                <a:close/>
                <a:moveTo>
                  <a:pt x="8517438" y="3481923"/>
                </a:moveTo>
                <a:cubicBezTo>
                  <a:pt x="8521698" y="3481923"/>
                  <a:pt x="8525559" y="3482721"/>
                  <a:pt x="8529152" y="3484451"/>
                </a:cubicBezTo>
                <a:cubicBezTo>
                  <a:pt x="8532880" y="3486050"/>
                  <a:pt x="8535941" y="3488179"/>
                  <a:pt x="8538470" y="3490842"/>
                </a:cubicBezTo>
                <a:cubicBezTo>
                  <a:pt x="8541000" y="3493504"/>
                  <a:pt x="8543130" y="3496699"/>
                  <a:pt x="8544594" y="3500292"/>
                </a:cubicBezTo>
                <a:cubicBezTo>
                  <a:pt x="8546058" y="3503887"/>
                  <a:pt x="8546857" y="3507614"/>
                  <a:pt x="8546857" y="3511741"/>
                </a:cubicBezTo>
                <a:cubicBezTo>
                  <a:pt x="8546857" y="3515868"/>
                  <a:pt x="8546058" y="3519862"/>
                  <a:pt x="8544594" y="3523456"/>
                </a:cubicBezTo>
                <a:cubicBezTo>
                  <a:pt x="8542997" y="3527050"/>
                  <a:pt x="8541000" y="3530111"/>
                  <a:pt x="8538470" y="3532774"/>
                </a:cubicBezTo>
                <a:cubicBezTo>
                  <a:pt x="8535808" y="3535437"/>
                  <a:pt x="8532747" y="3537566"/>
                  <a:pt x="8529152" y="3539030"/>
                </a:cubicBezTo>
                <a:cubicBezTo>
                  <a:pt x="8525559" y="3540494"/>
                  <a:pt x="8521698" y="3541293"/>
                  <a:pt x="8517438" y="3541293"/>
                </a:cubicBezTo>
                <a:cubicBezTo>
                  <a:pt x="8508385" y="3541293"/>
                  <a:pt x="8501197" y="3538365"/>
                  <a:pt x="8495606" y="3532774"/>
                </a:cubicBezTo>
                <a:cubicBezTo>
                  <a:pt x="8490015" y="3527050"/>
                  <a:pt x="8487220" y="3520127"/>
                  <a:pt x="8487220" y="3511608"/>
                </a:cubicBezTo>
                <a:cubicBezTo>
                  <a:pt x="8487220" y="3503355"/>
                  <a:pt x="8490015" y="3496299"/>
                  <a:pt x="8495606" y="3490575"/>
                </a:cubicBezTo>
                <a:cubicBezTo>
                  <a:pt x="8501197" y="3484717"/>
                  <a:pt x="8508385" y="3481923"/>
                  <a:pt x="8517438" y="3481923"/>
                </a:cubicBezTo>
                <a:close/>
                <a:moveTo>
                  <a:pt x="8299793" y="3481923"/>
                </a:moveTo>
                <a:cubicBezTo>
                  <a:pt x="8304052" y="3481923"/>
                  <a:pt x="8308046" y="3482721"/>
                  <a:pt x="8311507" y="3484451"/>
                </a:cubicBezTo>
                <a:cubicBezTo>
                  <a:pt x="8315235" y="3486050"/>
                  <a:pt x="8318296" y="3488179"/>
                  <a:pt x="8320825" y="3490842"/>
                </a:cubicBezTo>
                <a:cubicBezTo>
                  <a:pt x="8323354" y="3493504"/>
                  <a:pt x="8325484" y="3496699"/>
                  <a:pt x="8326948" y="3500292"/>
                </a:cubicBezTo>
                <a:cubicBezTo>
                  <a:pt x="8328413" y="3503887"/>
                  <a:pt x="8329212" y="3507614"/>
                  <a:pt x="8329212" y="3511741"/>
                </a:cubicBezTo>
                <a:cubicBezTo>
                  <a:pt x="8329212" y="3515868"/>
                  <a:pt x="8328413" y="3519862"/>
                  <a:pt x="8326948" y="3523456"/>
                </a:cubicBezTo>
                <a:cubicBezTo>
                  <a:pt x="8325351" y="3527050"/>
                  <a:pt x="8323354" y="3530111"/>
                  <a:pt x="8320825" y="3532774"/>
                </a:cubicBezTo>
                <a:cubicBezTo>
                  <a:pt x="8318163" y="3535437"/>
                  <a:pt x="8315101" y="3537566"/>
                  <a:pt x="8311507" y="3539030"/>
                </a:cubicBezTo>
                <a:cubicBezTo>
                  <a:pt x="8307913" y="3540494"/>
                  <a:pt x="8304052" y="3541293"/>
                  <a:pt x="8299793" y="3541293"/>
                </a:cubicBezTo>
                <a:cubicBezTo>
                  <a:pt x="8290874" y="3541293"/>
                  <a:pt x="8283553" y="3538365"/>
                  <a:pt x="8277960" y="3532774"/>
                </a:cubicBezTo>
                <a:cubicBezTo>
                  <a:pt x="8272370" y="3527050"/>
                  <a:pt x="8269574" y="3520127"/>
                  <a:pt x="8269574" y="3511608"/>
                </a:cubicBezTo>
                <a:cubicBezTo>
                  <a:pt x="8269574" y="3503355"/>
                  <a:pt x="8272370" y="3496299"/>
                  <a:pt x="8277960" y="3490575"/>
                </a:cubicBezTo>
                <a:cubicBezTo>
                  <a:pt x="8283553" y="3484717"/>
                  <a:pt x="8290741" y="3481923"/>
                  <a:pt x="8299793" y="3481923"/>
                </a:cubicBezTo>
                <a:close/>
                <a:moveTo>
                  <a:pt x="8082281" y="3481923"/>
                </a:moveTo>
                <a:cubicBezTo>
                  <a:pt x="8086407" y="3481923"/>
                  <a:pt x="8090401" y="3482721"/>
                  <a:pt x="8094127" y="3484451"/>
                </a:cubicBezTo>
                <a:cubicBezTo>
                  <a:pt x="8097855" y="3486050"/>
                  <a:pt x="8100916" y="3488179"/>
                  <a:pt x="8103446" y="3490842"/>
                </a:cubicBezTo>
                <a:cubicBezTo>
                  <a:pt x="8105975" y="3493504"/>
                  <a:pt x="8108104" y="3496699"/>
                  <a:pt x="8109569" y="3500292"/>
                </a:cubicBezTo>
                <a:cubicBezTo>
                  <a:pt x="8111033" y="3503887"/>
                  <a:pt x="8111832" y="3507614"/>
                  <a:pt x="8111832" y="3511741"/>
                </a:cubicBezTo>
                <a:cubicBezTo>
                  <a:pt x="8111832" y="3515868"/>
                  <a:pt x="8111033" y="3519862"/>
                  <a:pt x="8109569" y="3523456"/>
                </a:cubicBezTo>
                <a:cubicBezTo>
                  <a:pt x="8107972" y="3527050"/>
                  <a:pt x="8105975" y="3530111"/>
                  <a:pt x="8103446" y="3532774"/>
                </a:cubicBezTo>
                <a:cubicBezTo>
                  <a:pt x="8100783" y="3535437"/>
                  <a:pt x="8097722" y="3537566"/>
                  <a:pt x="8094127" y="3539030"/>
                </a:cubicBezTo>
                <a:cubicBezTo>
                  <a:pt x="8090401" y="3540494"/>
                  <a:pt x="8086540" y="3541293"/>
                  <a:pt x="8082281" y="3541293"/>
                </a:cubicBezTo>
                <a:cubicBezTo>
                  <a:pt x="8073361" y="3541293"/>
                  <a:pt x="8066040" y="3538365"/>
                  <a:pt x="8060448" y="3532774"/>
                </a:cubicBezTo>
                <a:cubicBezTo>
                  <a:pt x="8054857" y="3527050"/>
                  <a:pt x="8052062" y="3520127"/>
                  <a:pt x="8052062" y="3511608"/>
                </a:cubicBezTo>
                <a:cubicBezTo>
                  <a:pt x="8052062" y="3503355"/>
                  <a:pt x="8054857" y="3496299"/>
                  <a:pt x="8060448" y="3490575"/>
                </a:cubicBezTo>
                <a:cubicBezTo>
                  <a:pt x="8066040" y="3484717"/>
                  <a:pt x="8073228" y="3481923"/>
                  <a:pt x="8082281" y="3481923"/>
                </a:cubicBezTo>
                <a:close/>
                <a:moveTo>
                  <a:pt x="7864636" y="3481923"/>
                </a:moveTo>
                <a:cubicBezTo>
                  <a:pt x="7868762" y="3481923"/>
                  <a:pt x="7872756" y="3482721"/>
                  <a:pt x="7876483" y="3484451"/>
                </a:cubicBezTo>
                <a:cubicBezTo>
                  <a:pt x="7880210" y="3486050"/>
                  <a:pt x="7883272" y="3488179"/>
                  <a:pt x="7885802" y="3490842"/>
                </a:cubicBezTo>
                <a:cubicBezTo>
                  <a:pt x="7888331" y="3493504"/>
                  <a:pt x="7890460" y="3496699"/>
                  <a:pt x="7891924" y="3500292"/>
                </a:cubicBezTo>
                <a:cubicBezTo>
                  <a:pt x="7893389" y="3503887"/>
                  <a:pt x="7894188" y="3507614"/>
                  <a:pt x="7894188" y="3511741"/>
                </a:cubicBezTo>
                <a:cubicBezTo>
                  <a:pt x="7894188" y="3515868"/>
                  <a:pt x="7893389" y="3519862"/>
                  <a:pt x="7891924" y="3523456"/>
                </a:cubicBezTo>
                <a:cubicBezTo>
                  <a:pt x="7890327" y="3527050"/>
                  <a:pt x="7888331" y="3530111"/>
                  <a:pt x="7885802" y="3532774"/>
                </a:cubicBezTo>
                <a:cubicBezTo>
                  <a:pt x="7883139" y="3535437"/>
                  <a:pt x="7880078" y="3537566"/>
                  <a:pt x="7876483" y="3539030"/>
                </a:cubicBezTo>
                <a:cubicBezTo>
                  <a:pt x="7872756" y="3540494"/>
                  <a:pt x="7868895" y="3541293"/>
                  <a:pt x="7864636" y="3541293"/>
                </a:cubicBezTo>
                <a:cubicBezTo>
                  <a:pt x="7855717" y="3541293"/>
                  <a:pt x="7848396" y="3538365"/>
                  <a:pt x="7842803" y="3532774"/>
                </a:cubicBezTo>
                <a:cubicBezTo>
                  <a:pt x="7837213" y="3527050"/>
                  <a:pt x="7834417" y="3520127"/>
                  <a:pt x="7834417" y="3511608"/>
                </a:cubicBezTo>
                <a:cubicBezTo>
                  <a:pt x="7834417" y="3503355"/>
                  <a:pt x="7837213" y="3496299"/>
                  <a:pt x="7842803" y="3490575"/>
                </a:cubicBezTo>
                <a:cubicBezTo>
                  <a:pt x="7848396" y="3484717"/>
                  <a:pt x="7855584" y="3481923"/>
                  <a:pt x="7864636" y="3481923"/>
                </a:cubicBezTo>
                <a:close/>
                <a:moveTo>
                  <a:pt x="7646991" y="3481923"/>
                </a:moveTo>
                <a:cubicBezTo>
                  <a:pt x="7651250" y="3481923"/>
                  <a:pt x="7655111" y="3482721"/>
                  <a:pt x="7658705" y="3484451"/>
                </a:cubicBezTo>
                <a:cubicBezTo>
                  <a:pt x="7662432" y="3486050"/>
                  <a:pt x="7665493" y="3488179"/>
                  <a:pt x="7668022" y="3490842"/>
                </a:cubicBezTo>
                <a:cubicBezTo>
                  <a:pt x="7670552" y="3493504"/>
                  <a:pt x="7672682" y="3496699"/>
                  <a:pt x="7674146" y="3500292"/>
                </a:cubicBezTo>
                <a:cubicBezTo>
                  <a:pt x="7675610" y="3503887"/>
                  <a:pt x="7676409" y="3507614"/>
                  <a:pt x="7676409" y="3511741"/>
                </a:cubicBezTo>
                <a:cubicBezTo>
                  <a:pt x="7676409" y="3515868"/>
                  <a:pt x="7675610" y="3519862"/>
                  <a:pt x="7674146" y="3523456"/>
                </a:cubicBezTo>
                <a:cubicBezTo>
                  <a:pt x="7672549" y="3527050"/>
                  <a:pt x="7670552" y="3530111"/>
                  <a:pt x="7668022" y="3532774"/>
                </a:cubicBezTo>
                <a:cubicBezTo>
                  <a:pt x="7665361" y="3535437"/>
                  <a:pt x="7662299" y="3537566"/>
                  <a:pt x="7658705" y="3539030"/>
                </a:cubicBezTo>
                <a:cubicBezTo>
                  <a:pt x="7655111" y="3540494"/>
                  <a:pt x="7651250" y="3541293"/>
                  <a:pt x="7646991" y="3541293"/>
                </a:cubicBezTo>
                <a:cubicBezTo>
                  <a:pt x="7638071" y="3541293"/>
                  <a:pt x="7630750" y="3538365"/>
                  <a:pt x="7625158" y="3532774"/>
                </a:cubicBezTo>
                <a:cubicBezTo>
                  <a:pt x="7619568" y="3527050"/>
                  <a:pt x="7616772" y="3520127"/>
                  <a:pt x="7616772" y="3511608"/>
                </a:cubicBezTo>
                <a:cubicBezTo>
                  <a:pt x="7616772" y="3503355"/>
                  <a:pt x="7619568" y="3496299"/>
                  <a:pt x="7625158" y="3490575"/>
                </a:cubicBezTo>
                <a:cubicBezTo>
                  <a:pt x="7630750" y="3484717"/>
                  <a:pt x="7637939" y="3481923"/>
                  <a:pt x="7646991" y="3481923"/>
                </a:cubicBezTo>
                <a:close/>
                <a:moveTo>
                  <a:pt x="7429345" y="3481923"/>
                </a:moveTo>
                <a:cubicBezTo>
                  <a:pt x="7433605" y="3481923"/>
                  <a:pt x="7437466" y="3482721"/>
                  <a:pt x="7441059" y="3484451"/>
                </a:cubicBezTo>
                <a:cubicBezTo>
                  <a:pt x="7444787" y="3486050"/>
                  <a:pt x="7447848" y="3488179"/>
                  <a:pt x="7450377" y="3490842"/>
                </a:cubicBezTo>
                <a:cubicBezTo>
                  <a:pt x="7452907" y="3493504"/>
                  <a:pt x="7455036" y="3496699"/>
                  <a:pt x="7456501" y="3500292"/>
                </a:cubicBezTo>
                <a:cubicBezTo>
                  <a:pt x="7457965" y="3503887"/>
                  <a:pt x="7458764" y="3507614"/>
                  <a:pt x="7458764" y="3511741"/>
                </a:cubicBezTo>
                <a:cubicBezTo>
                  <a:pt x="7458764" y="3515868"/>
                  <a:pt x="7457965" y="3519862"/>
                  <a:pt x="7456501" y="3523456"/>
                </a:cubicBezTo>
                <a:cubicBezTo>
                  <a:pt x="7454904" y="3527050"/>
                  <a:pt x="7452907" y="3530111"/>
                  <a:pt x="7450377" y="3532774"/>
                </a:cubicBezTo>
                <a:cubicBezTo>
                  <a:pt x="7447715" y="3535437"/>
                  <a:pt x="7444654" y="3537566"/>
                  <a:pt x="7441059" y="3539030"/>
                </a:cubicBezTo>
                <a:cubicBezTo>
                  <a:pt x="7437466" y="3540494"/>
                  <a:pt x="7433605" y="3541293"/>
                  <a:pt x="7429345" y="3541293"/>
                </a:cubicBezTo>
                <a:cubicBezTo>
                  <a:pt x="7420426" y="3541293"/>
                  <a:pt x="7413105" y="3538365"/>
                  <a:pt x="7407513" y="3532774"/>
                </a:cubicBezTo>
                <a:cubicBezTo>
                  <a:pt x="7401922" y="3527050"/>
                  <a:pt x="7399127" y="3520127"/>
                  <a:pt x="7399127" y="3511608"/>
                </a:cubicBezTo>
                <a:cubicBezTo>
                  <a:pt x="7399127" y="3503355"/>
                  <a:pt x="7401922" y="3496299"/>
                  <a:pt x="7407513" y="3490575"/>
                </a:cubicBezTo>
                <a:cubicBezTo>
                  <a:pt x="7413105" y="3484717"/>
                  <a:pt x="7420293" y="3481923"/>
                  <a:pt x="7429345" y="3481923"/>
                </a:cubicBezTo>
                <a:close/>
                <a:moveTo>
                  <a:pt x="7211701" y="3481923"/>
                </a:moveTo>
                <a:cubicBezTo>
                  <a:pt x="7215960" y="3481923"/>
                  <a:pt x="7219954" y="3482721"/>
                  <a:pt x="7223415" y="3484451"/>
                </a:cubicBezTo>
                <a:cubicBezTo>
                  <a:pt x="7227142" y="3486050"/>
                  <a:pt x="7230204" y="3488179"/>
                  <a:pt x="7232733" y="3490842"/>
                </a:cubicBezTo>
                <a:cubicBezTo>
                  <a:pt x="7235262" y="3493504"/>
                  <a:pt x="7237392" y="3496699"/>
                  <a:pt x="7238856" y="3500292"/>
                </a:cubicBezTo>
                <a:cubicBezTo>
                  <a:pt x="7240321" y="3503887"/>
                  <a:pt x="7241120" y="3507614"/>
                  <a:pt x="7241120" y="3511741"/>
                </a:cubicBezTo>
                <a:cubicBezTo>
                  <a:pt x="7241120" y="3515868"/>
                  <a:pt x="7240321" y="3519862"/>
                  <a:pt x="7238856" y="3523456"/>
                </a:cubicBezTo>
                <a:cubicBezTo>
                  <a:pt x="7237259" y="3527050"/>
                  <a:pt x="7235262" y="3530111"/>
                  <a:pt x="7232733" y="3532774"/>
                </a:cubicBezTo>
                <a:cubicBezTo>
                  <a:pt x="7230071" y="3535437"/>
                  <a:pt x="7227009" y="3537566"/>
                  <a:pt x="7223415" y="3539030"/>
                </a:cubicBezTo>
                <a:cubicBezTo>
                  <a:pt x="7219821" y="3540494"/>
                  <a:pt x="7215960" y="3541293"/>
                  <a:pt x="7211701" y="3541293"/>
                </a:cubicBezTo>
                <a:cubicBezTo>
                  <a:pt x="7202782" y="3541293"/>
                  <a:pt x="7195460" y="3538365"/>
                  <a:pt x="7189868" y="3532774"/>
                </a:cubicBezTo>
                <a:cubicBezTo>
                  <a:pt x="7184278" y="3527050"/>
                  <a:pt x="7181482" y="3520127"/>
                  <a:pt x="7181482" y="3511608"/>
                </a:cubicBezTo>
                <a:cubicBezTo>
                  <a:pt x="7181482" y="3503355"/>
                  <a:pt x="7184278" y="3496299"/>
                  <a:pt x="7189868" y="3490575"/>
                </a:cubicBezTo>
                <a:cubicBezTo>
                  <a:pt x="7195460" y="3484717"/>
                  <a:pt x="7202649" y="3481923"/>
                  <a:pt x="7211701" y="3481923"/>
                </a:cubicBezTo>
                <a:close/>
                <a:moveTo>
                  <a:pt x="6994056" y="3481923"/>
                </a:moveTo>
                <a:cubicBezTo>
                  <a:pt x="6998315" y="3481923"/>
                  <a:pt x="7002309" y="3482721"/>
                  <a:pt x="7005769" y="3484451"/>
                </a:cubicBezTo>
                <a:cubicBezTo>
                  <a:pt x="7009497" y="3486050"/>
                  <a:pt x="7012558" y="3488179"/>
                  <a:pt x="7015087" y="3490842"/>
                </a:cubicBezTo>
                <a:cubicBezTo>
                  <a:pt x="7017617" y="3493504"/>
                  <a:pt x="7019747" y="3496699"/>
                  <a:pt x="7021211" y="3500292"/>
                </a:cubicBezTo>
                <a:cubicBezTo>
                  <a:pt x="7022675" y="3503887"/>
                  <a:pt x="7023474" y="3507614"/>
                  <a:pt x="7023474" y="3511741"/>
                </a:cubicBezTo>
                <a:cubicBezTo>
                  <a:pt x="7023474" y="3515868"/>
                  <a:pt x="7022675" y="3519862"/>
                  <a:pt x="7021211" y="3523456"/>
                </a:cubicBezTo>
                <a:cubicBezTo>
                  <a:pt x="7019614" y="3527050"/>
                  <a:pt x="7017617" y="3530111"/>
                  <a:pt x="7015087" y="3532774"/>
                </a:cubicBezTo>
                <a:cubicBezTo>
                  <a:pt x="7012425" y="3535437"/>
                  <a:pt x="7009364" y="3537566"/>
                  <a:pt x="7005769" y="3539030"/>
                </a:cubicBezTo>
                <a:cubicBezTo>
                  <a:pt x="7002176" y="3540494"/>
                  <a:pt x="6998315" y="3541293"/>
                  <a:pt x="6994056" y="3541293"/>
                </a:cubicBezTo>
                <a:cubicBezTo>
                  <a:pt x="6985136" y="3541293"/>
                  <a:pt x="6977815" y="3538365"/>
                  <a:pt x="6972223" y="3532774"/>
                </a:cubicBezTo>
                <a:cubicBezTo>
                  <a:pt x="6966632" y="3527050"/>
                  <a:pt x="6963837" y="3520127"/>
                  <a:pt x="6963837" y="3511608"/>
                </a:cubicBezTo>
                <a:cubicBezTo>
                  <a:pt x="6963837" y="3503355"/>
                  <a:pt x="6966632" y="3496299"/>
                  <a:pt x="6972223" y="3490575"/>
                </a:cubicBezTo>
                <a:cubicBezTo>
                  <a:pt x="6977815" y="3484717"/>
                  <a:pt x="6985003" y="3481923"/>
                  <a:pt x="6994056" y="3481923"/>
                </a:cubicBezTo>
                <a:close/>
                <a:moveTo>
                  <a:pt x="6776544" y="3481923"/>
                </a:moveTo>
                <a:cubicBezTo>
                  <a:pt x="6780670" y="3481923"/>
                  <a:pt x="6784664" y="3482721"/>
                  <a:pt x="6788258" y="3484451"/>
                </a:cubicBezTo>
                <a:cubicBezTo>
                  <a:pt x="6791985" y="3486050"/>
                  <a:pt x="6795047" y="3488179"/>
                  <a:pt x="6797576" y="3490842"/>
                </a:cubicBezTo>
                <a:cubicBezTo>
                  <a:pt x="6800105" y="3493504"/>
                  <a:pt x="6802235" y="3496699"/>
                  <a:pt x="6803699" y="3500292"/>
                </a:cubicBezTo>
                <a:cubicBezTo>
                  <a:pt x="6805164" y="3503887"/>
                  <a:pt x="6805963" y="3507614"/>
                  <a:pt x="6805963" y="3511741"/>
                </a:cubicBezTo>
                <a:cubicBezTo>
                  <a:pt x="6805963" y="3515868"/>
                  <a:pt x="6805164" y="3519862"/>
                  <a:pt x="6803699" y="3523456"/>
                </a:cubicBezTo>
                <a:cubicBezTo>
                  <a:pt x="6802102" y="3527050"/>
                  <a:pt x="6800105" y="3530111"/>
                  <a:pt x="6797576" y="3532774"/>
                </a:cubicBezTo>
                <a:cubicBezTo>
                  <a:pt x="6794914" y="3535437"/>
                  <a:pt x="6791852" y="3537566"/>
                  <a:pt x="6788258" y="3539030"/>
                </a:cubicBezTo>
                <a:cubicBezTo>
                  <a:pt x="6784664" y="3540494"/>
                  <a:pt x="6780803" y="3541293"/>
                  <a:pt x="6776544" y="3541293"/>
                </a:cubicBezTo>
                <a:cubicBezTo>
                  <a:pt x="6767625" y="3541293"/>
                  <a:pt x="6760303" y="3538365"/>
                  <a:pt x="6754711" y="3532774"/>
                </a:cubicBezTo>
                <a:cubicBezTo>
                  <a:pt x="6749121" y="3527050"/>
                  <a:pt x="6746325" y="3520127"/>
                  <a:pt x="6746325" y="3511608"/>
                </a:cubicBezTo>
                <a:cubicBezTo>
                  <a:pt x="6746325" y="3503355"/>
                  <a:pt x="6749121" y="3496299"/>
                  <a:pt x="6754711" y="3490575"/>
                </a:cubicBezTo>
                <a:cubicBezTo>
                  <a:pt x="6760303" y="3484717"/>
                  <a:pt x="6767492" y="3481923"/>
                  <a:pt x="6776544" y="3481923"/>
                </a:cubicBezTo>
                <a:close/>
                <a:moveTo>
                  <a:pt x="6558899" y="3481923"/>
                </a:moveTo>
                <a:cubicBezTo>
                  <a:pt x="6563158" y="3481923"/>
                  <a:pt x="6567019" y="3482721"/>
                  <a:pt x="6570612" y="3484451"/>
                </a:cubicBezTo>
                <a:cubicBezTo>
                  <a:pt x="6574340" y="3486050"/>
                  <a:pt x="6577401" y="3488179"/>
                  <a:pt x="6579930" y="3490842"/>
                </a:cubicBezTo>
                <a:cubicBezTo>
                  <a:pt x="6582460" y="3493504"/>
                  <a:pt x="6584590" y="3496699"/>
                  <a:pt x="6586054" y="3500292"/>
                </a:cubicBezTo>
                <a:cubicBezTo>
                  <a:pt x="6587518" y="3503887"/>
                  <a:pt x="6588317" y="3507614"/>
                  <a:pt x="6588317" y="3511741"/>
                </a:cubicBezTo>
                <a:cubicBezTo>
                  <a:pt x="6588317" y="3515868"/>
                  <a:pt x="6587518" y="3519862"/>
                  <a:pt x="6586054" y="3523456"/>
                </a:cubicBezTo>
                <a:cubicBezTo>
                  <a:pt x="6584457" y="3527050"/>
                  <a:pt x="6582460" y="3530111"/>
                  <a:pt x="6579930" y="3532774"/>
                </a:cubicBezTo>
                <a:cubicBezTo>
                  <a:pt x="6577268" y="3535437"/>
                  <a:pt x="6574207" y="3537566"/>
                  <a:pt x="6570612" y="3539030"/>
                </a:cubicBezTo>
                <a:cubicBezTo>
                  <a:pt x="6567019" y="3540494"/>
                  <a:pt x="6563158" y="3541293"/>
                  <a:pt x="6558899" y="3541293"/>
                </a:cubicBezTo>
                <a:cubicBezTo>
                  <a:pt x="6549979" y="3541293"/>
                  <a:pt x="6542658" y="3538365"/>
                  <a:pt x="6537066" y="3532774"/>
                </a:cubicBezTo>
                <a:cubicBezTo>
                  <a:pt x="6531476" y="3527050"/>
                  <a:pt x="6528680" y="3520127"/>
                  <a:pt x="6528680" y="3511608"/>
                </a:cubicBezTo>
                <a:cubicBezTo>
                  <a:pt x="6528680" y="3503355"/>
                  <a:pt x="6531476" y="3496299"/>
                  <a:pt x="6537066" y="3490575"/>
                </a:cubicBezTo>
                <a:cubicBezTo>
                  <a:pt x="6542658" y="3484717"/>
                  <a:pt x="6549846" y="3481923"/>
                  <a:pt x="6558899" y="3481923"/>
                </a:cubicBezTo>
                <a:close/>
                <a:moveTo>
                  <a:pt x="6341253" y="3481923"/>
                </a:moveTo>
                <a:cubicBezTo>
                  <a:pt x="6345513" y="3481923"/>
                  <a:pt x="6349373" y="3482721"/>
                  <a:pt x="6352968" y="3484451"/>
                </a:cubicBezTo>
                <a:cubicBezTo>
                  <a:pt x="6356695" y="3486050"/>
                  <a:pt x="6359757" y="3488179"/>
                  <a:pt x="6362286" y="3490842"/>
                </a:cubicBezTo>
                <a:cubicBezTo>
                  <a:pt x="6364815" y="3493504"/>
                  <a:pt x="6366945" y="3496699"/>
                  <a:pt x="6368409" y="3500292"/>
                </a:cubicBezTo>
                <a:cubicBezTo>
                  <a:pt x="6369874" y="3503887"/>
                  <a:pt x="6370672" y="3507614"/>
                  <a:pt x="6370672" y="3511741"/>
                </a:cubicBezTo>
                <a:cubicBezTo>
                  <a:pt x="6370672" y="3515868"/>
                  <a:pt x="6369874" y="3519862"/>
                  <a:pt x="6368409" y="3523456"/>
                </a:cubicBezTo>
                <a:cubicBezTo>
                  <a:pt x="6366811" y="3527050"/>
                  <a:pt x="6364815" y="3530111"/>
                  <a:pt x="6362286" y="3532774"/>
                </a:cubicBezTo>
                <a:cubicBezTo>
                  <a:pt x="6359623" y="3535437"/>
                  <a:pt x="6356562" y="3537566"/>
                  <a:pt x="6352968" y="3539030"/>
                </a:cubicBezTo>
                <a:cubicBezTo>
                  <a:pt x="6349373" y="3540494"/>
                  <a:pt x="6345513" y="3541293"/>
                  <a:pt x="6341253" y="3541293"/>
                </a:cubicBezTo>
                <a:cubicBezTo>
                  <a:pt x="6332335" y="3541293"/>
                  <a:pt x="6325013" y="3538365"/>
                  <a:pt x="6319421" y="3532774"/>
                </a:cubicBezTo>
                <a:cubicBezTo>
                  <a:pt x="6313830" y="3527050"/>
                  <a:pt x="6311035" y="3520127"/>
                  <a:pt x="6311035" y="3511608"/>
                </a:cubicBezTo>
                <a:cubicBezTo>
                  <a:pt x="6311035" y="3503355"/>
                  <a:pt x="6313830" y="3496299"/>
                  <a:pt x="6319421" y="3490575"/>
                </a:cubicBezTo>
                <a:cubicBezTo>
                  <a:pt x="6325013" y="3484717"/>
                  <a:pt x="6332201" y="3481923"/>
                  <a:pt x="6341253" y="3481923"/>
                </a:cubicBezTo>
                <a:close/>
                <a:moveTo>
                  <a:pt x="6123608" y="3481923"/>
                </a:moveTo>
                <a:cubicBezTo>
                  <a:pt x="6127867" y="3481923"/>
                  <a:pt x="6131728" y="3482721"/>
                  <a:pt x="6135322" y="3484451"/>
                </a:cubicBezTo>
                <a:cubicBezTo>
                  <a:pt x="6139049" y="3486050"/>
                  <a:pt x="6142111" y="3488179"/>
                  <a:pt x="6144640" y="3490842"/>
                </a:cubicBezTo>
                <a:cubicBezTo>
                  <a:pt x="6147169" y="3493504"/>
                  <a:pt x="6149299" y="3496699"/>
                  <a:pt x="6150763" y="3500292"/>
                </a:cubicBezTo>
                <a:cubicBezTo>
                  <a:pt x="6152228" y="3503887"/>
                  <a:pt x="6153026" y="3507614"/>
                  <a:pt x="6153026" y="3511741"/>
                </a:cubicBezTo>
                <a:cubicBezTo>
                  <a:pt x="6153026" y="3515868"/>
                  <a:pt x="6152228" y="3519862"/>
                  <a:pt x="6150763" y="3523456"/>
                </a:cubicBezTo>
                <a:cubicBezTo>
                  <a:pt x="6149299" y="3527050"/>
                  <a:pt x="6147169" y="3530111"/>
                  <a:pt x="6144640" y="3532774"/>
                </a:cubicBezTo>
                <a:cubicBezTo>
                  <a:pt x="6141977" y="3535437"/>
                  <a:pt x="6138916" y="3537566"/>
                  <a:pt x="6135322" y="3539030"/>
                </a:cubicBezTo>
                <a:cubicBezTo>
                  <a:pt x="6131728" y="3540494"/>
                  <a:pt x="6127867" y="3541293"/>
                  <a:pt x="6123608" y="3541293"/>
                </a:cubicBezTo>
                <a:cubicBezTo>
                  <a:pt x="6114689" y="3541293"/>
                  <a:pt x="6107367" y="3538365"/>
                  <a:pt x="6101775" y="3532774"/>
                </a:cubicBezTo>
                <a:cubicBezTo>
                  <a:pt x="6096184" y="3527050"/>
                  <a:pt x="6093389" y="3520127"/>
                  <a:pt x="6093389" y="3511608"/>
                </a:cubicBezTo>
                <a:cubicBezTo>
                  <a:pt x="6093389" y="3503355"/>
                  <a:pt x="6096184" y="3496299"/>
                  <a:pt x="6101775" y="3490575"/>
                </a:cubicBezTo>
                <a:cubicBezTo>
                  <a:pt x="6107367" y="3484717"/>
                  <a:pt x="6114555" y="3481923"/>
                  <a:pt x="6123608" y="3481923"/>
                </a:cubicBezTo>
                <a:close/>
                <a:moveTo>
                  <a:pt x="5905963" y="3481923"/>
                </a:moveTo>
                <a:cubicBezTo>
                  <a:pt x="5910222" y="3481923"/>
                  <a:pt x="5914216" y="3482721"/>
                  <a:pt x="5917677" y="3484451"/>
                </a:cubicBezTo>
                <a:cubicBezTo>
                  <a:pt x="5921404" y="3486050"/>
                  <a:pt x="5924466" y="3488179"/>
                  <a:pt x="5926995" y="3490842"/>
                </a:cubicBezTo>
                <a:cubicBezTo>
                  <a:pt x="5929524" y="3493504"/>
                  <a:pt x="5931654" y="3496699"/>
                  <a:pt x="5933118" y="3500292"/>
                </a:cubicBezTo>
                <a:cubicBezTo>
                  <a:pt x="5934583" y="3503887"/>
                  <a:pt x="5935381" y="3507614"/>
                  <a:pt x="5935381" y="3511741"/>
                </a:cubicBezTo>
                <a:cubicBezTo>
                  <a:pt x="5935381" y="3515868"/>
                  <a:pt x="5934583" y="3519862"/>
                  <a:pt x="5933118" y="3523456"/>
                </a:cubicBezTo>
                <a:cubicBezTo>
                  <a:pt x="5931654" y="3527050"/>
                  <a:pt x="5929524" y="3530111"/>
                  <a:pt x="5926995" y="3532774"/>
                </a:cubicBezTo>
                <a:cubicBezTo>
                  <a:pt x="5924333" y="3535437"/>
                  <a:pt x="5921271" y="3537566"/>
                  <a:pt x="5917677" y="3539030"/>
                </a:cubicBezTo>
                <a:cubicBezTo>
                  <a:pt x="5914083" y="3540494"/>
                  <a:pt x="5910222" y="3541293"/>
                  <a:pt x="5905963" y="3541293"/>
                </a:cubicBezTo>
                <a:cubicBezTo>
                  <a:pt x="5897044" y="3541293"/>
                  <a:pt x="5889722" y="3538365"/>
                  <a:pt x="5884130" y="3532774"/>
                </a:cubicBezTo>
                <a:cubicBezTo>
                  <a:pt x="5878540" y="3527050"/>
                  <a:pt x="5875744" y="3520127"/>
                  <a:pt x="5875744" y="3511608"/>
                </a:cubicBezTo>
                <a:cubicBezTo>
                  <a:pt x="5875744" y="3503355"/>
                  <a:pt x="5878540" y="3496299"/>
                  <a:pt x="5884130" y="3490575"/>
                </a:cubicBezTo>
                <a:cubicBezTo>
                  <a:pt x="5889722" y="3484717"/>
                  <a:pt x="5896910" y="3481923"/>
                  <a:pt x="5905963" y="3481923"/>
                </a:cubicBezTo>
                <a:close/>
                <a:moveTo>
                  <a:pt x="5688451" y="3481923"/>
                </a:moveTo>
                <a:cubicBezTo>
                  <a:pt x="5692577" y="3481923"/>
                  <a:pt x="5696571" y="3482721"/>
                  <a:pt x="5700165" y="3484451"/>
                </a:cubicBezTo>
                <a:cubicBezTo>
                  <a:pt x="5703892" y="3486050"/>
                  <a:pt x="5706954" y="3488179"/>
                  <a:pt x="5709483" y="3490842"/>
                </a:cubicBezTo>
                <a:cubicBezTo>
                  <a:pt x="5712012" y="3493504"/>
                  <a:pt x="5714142" y="3496699"/>
                  <a:pt x="5715606" y="3500292"/>
                </a:cubicBezTo>
                <a:cubicBezTo>
                  <a:pt x="5717071" y="3503887"/>
                  <a:pt x="5717869" y="3507614"/>
                  <a:pt x="5717869" y="3511741"/>
                </a:cubicBezTo>
                <a:cubicBezTo>
                  <a:pt x="5717869" y="3515868"/>
                  <a:pt x="5717071" y="3519862"/>
                  <a:pt x="5715606" y="3523456"/>
                </a:cubicBezTo>
                <a:cubicBezTo>
                  <a:pt x="5714142" y="3527050"/>
                  <a:pt x="5712012" y="3530111"/>
                  <a:pt x="5709483" y="3532774"/>
                </a:cubicBezTo>
                <a:cubicBezTo>
                  <a:pt x="5706820" y="3535437"/>
                  <a:pt x="5703759" y="3537566"/>
                  <a:pt x="5700165" y="3539030"/>
                </a:cubicBezTo>
                <a:cubicBezTo>
                  <a:pt x="5696571" y="3540494"/>
                  <a:pt x="5692710" y="3541293"/>
                  <a:pt x="5688451" y="3541293"/>
                </a:cubicBezTo>
                <a:cubicBezTo>
                  <a:pt x="5679532" y="3541293"/>
                  <a:pt x="5672210" y="3538365"/>
                  <a:pt x="5666618" y="3532774"/>
                </a:cubicBezTo>
                <a:cubicBezTo>
                  <a:pt x="5661028" y="3527050"/>
                  <a:pt x="5658232" y="3520127"/>
                  <a:pt x="5658232" y="3511608"/>
                </a:cubicBezTo>
                <a:cubicBezTo>
                  <a:pt x="5658232" y="3503355"/>
                  <a:pt x="5661028" y="3496299"/>
                  <a:pt x="5666618" y="3490575"/>
                </a:cubicBezTo>
                <a:cubicBezTo>
                  <a:pt x="5672210" y="3484717"/>
                  <a:pt x="5679398" y="3481923"/>
                  <a:pt x="5688451" y="3481923"/>
                </a:cubicBezTo>
                <a:close/>
                <a:moveTo>
                  <a:pt x="5470806" y="3481923"/>
                </a:moveTo>
                <a:cubicBezTo>
                  <a:pt x="5475065" y="3481923"/>
                  <a:pt x="5478926" y="3482721"/>
                  <a:pt x="5482520" y="3484451"/>
                </a:cubicBezTo>
                <a:cubicBezTo>
                  <a:pt x="5486247" y="3486050"/>
                  <a:pt x="5489309" y="3488179"/>
                  <a:pt x="5491838" y="3490842"/>
                </a:cubicBezTo>
                <a:cubicBezTo>
                  <a:pt x="5494367" y="3493504"/>
                  <a:pt x="5496497" y="3496699"/>
                  <a:pt x="5497961" y="3500292"/>
                </a:cubicBezTo>
                <a:cubicBezTo>
                  <a:pt x="5499426" y="3503887"/>
                  <a:pt x="5500224" y="3507614"/>
                  <a:pt x="5500224" y="3511741"/>
                </a:cubicBezTo>
                <a:cubicBezTo>
                  <a:pt x="5500224" y="3515868"/>
                  <a:pt x="5499426" y="3519862"/>
                  <a:pt x="5497961" y="3523456"/>
                </a:cubicBezTo>
                <a:cubicBezTo>
                  <a:pt x="5496497" y="3527050"/>
                  <a:pt x="5494367" y="3530111"/>
                  <a:pt x="5491838" y="3532774"/>
                </a:cubicBezTo>
                <a:cubicBezTo>
                  <a:pt x="5489176" y="3535437"/>
                  <a:pt x="5486114" y="3537566"/>
                  <a:pt x="5482520" y="3539030"/>
                </a:cubicBezTo>
                <a:cubicBezTo>
                  <a:pt x="5478926" y="3540494"/>
                  <a:pt x="5475065" y="3541293"/>
                  <a:pt x="5470806" y="3541293"/>
                </a:cubicBezTo>
                <a:cubicBezTo>
                  <a:pt x="5461887" y="3541293"/>
                  <a:pt x="5454565" y="3538365"/>
                  <a:pt x="5448973" y="3532774"/>
                </a:cubicBezTo>
                <a:cubicBezTo>
                  <a:pt x="5443383" y="3527050"/>
                  <a:pt x="5440587" y="3520127"/>
                  <a:pt x="5440587" y="3511608"/>
                </a:cubicBezTo>
                <a:cubicBezTo>
                  <a:pt x="5440587" y="3503355"/>
                  <a:pt x="5443383" y="3496299"/>
                  <a:pt x="5448973" y="3490575"/>
                </a:cubicBezTo>
                <a:cubicBezTo>
                  <a:pt x="5454565" y="3484717"/>
                  <a:pt x="5461754" y="3481923"/>
                  <a:pt x="5470806" y="3481923"/>
                </a:cubicBezTo>
                <a:close/>
                <a:moveTo>
                  <a:pt x="5253160" y="3481923"/>
                </a:moveTo>
                <a:cubicBezTo>
                  <a:pt x="5257420" y="3481923"/>
                  <a:pt x="5261280" y="3482721"/>
                  <a:pt x="5264875" y="3484451"/>
                </a:cubicBezTo>
                <a:cubicBezTo>
                  <a:pt x="5268602" y="3486050"/>
                  <a:pt x="5271664" y="3488179"/>
                  <a:pt x="5274192" y="3490842"/>
                </a:cubicBezTo>
                <a:cubicBezTo>
                  <a:pt x="5276722" y="3493504"/>
                  <a:pt x="5278852" y="3496699"/>
                  <a:pt x="5280316" y="3500292"/>
                </a:cubicBezTo>
                <a:cubicBezTo>
                  <a:pt x="5281780" y="3503887"/>
                  <a:pt x="5282579" y="3507614"/>
                  <a:pt x="5282579" y="3511741"/>
                </a:cubicBezTo>
                <a:cubicBezTo>
                  <a:pt x="5282579" y="3515868"/>
                  <a:pt x="5281780" y="3519862"/>
                  <a:pt x="5280316" y="3523456"/>
                </a:cubicBezTo>
                <a:cubicBezTo>
                  <a:pt x="5278852" y="3527050"/>
                  <a:pt x="5276722" y="3530111"/>
                  <a:pt x="5274192" y="3532774"/>
                </a:cubicBezTo>
                <a:cubicBezTo>
                  <a:pt x="5271664" y="3535437"/>
                  <a:pt x="5268469" y="3537566"/>
                  <a:pt x="5264875" y="3539030"/>
                </a:cubicBezTo>
                <a:cubicBezTo>
                  <a:pt x="5261280" y="3540494"/>
                  <a:pt x="5257420" y="3541293"/>
                  <a:pt x="5253160" y="3541293"/>
                </a:cubicBezTo>
                <a:cubicBezTo>
                  <a:pt x="5244241" y="3541293"/>
                  <a:pt x="5236920" y="3538365"/>
                  <a:pt x="5231328" y="3532774"/>
                </a:cubicBezTo>
                <a:cubicBezTo>
                  <a:pt x="5225737" y="3527050"/>
                  <a:pt x="5222942" y="3520127"/>
                  <a:pt x="5222942" y="3511608"/>
                </a:cubicBezTo>
                <a:cubicBezTo>
                  <a:pt x="5222942" y="3503355"/>
                  <a:pt x="5225737" y="3496299"/>
                  <a:pt x="5231328" y="3490575"/>
                </a:cubicBezTo>
                <a:cubicBezTo>
                  <a:pt x="5236920" y="3484717"/>
                  <a:pt x="5244108" y="3481923"/>
                  <a:pt x="5253160" y="3481923"/>
                </a:cubicBezTo>
                <a:close/>
                <a:moveTo>
                  <a:pt x="5035515" y="3481923"/>
                </a:moveTo>
                <a:cubicBezTo>
                  <a:pt x="5039775" y="3481923"/>
                  <a:pt x="5043636" y="3482721"/>
                  <a:pt x="5047230" y="3484451"/>
                </a:cubicBezTo>
                <a:cubicBezTo>
                  <a:pt x="5050957" y="3486050"/>
                  <a:pt x="5054019" y="3488179"/>
                  <a:pt x="5056548" y="3490842"/>
                </a:cubicBezTo>
                <a:cubicBezTo>
                  <a:pt x="5059077" y="3493504"/>
                  <a:pt x="5061207" y="3496699"/>
                  <a:pt x="5062671" y="3500292"/>
                </a:cubicBezTo>
                <a:cubicBezTo>
                  <a:pt x="5064135" y="3503887"/>
                  <a:pt x="5064934" y="3507614"/>
                  <a:pt x="5064934" y="3511741"/>
                </a:cubicBezTo>
                <a:cubicBezTo>
                  <a:pt x="5064934" y="3515868"/>
                  <a:pt x="5064135" y="3519862"/>
                  <a:pt x="5062671" y="3523456"/>
                </a:cubicBezTo>
                <a:cubicBezTo>
                  <a:pt x="5061207" y="3527050"/>
                  <a:pt x="5059077" y="3530111"/>
                  <a:pt x="5056548" y="3532774"/>
                </a:cubicBezTo>
                <a:cubicBezTo>
                  <a:pt x="5053885" y="3535437"/>
                  <a:pt x="5050824" y="3537566"/>
                  <a:pt x="5047230" y="3539030"/>
                </a:cubicBezTo>
                <a:cubicBezTo>
                  <a:pt x="5043636" y="3540494"/>
                  <a:pt x="5039775" y="3541293"/>
                  <a:pt x="5035515" y="3541293"/>
                </a:cubicBezTo>
                <a:cubicBezTo>
                  <a:pt x="5026597" y="3541293"/>
                  <a:pt x="5019275" y="3538365"/>
                  <a:pt x="5013683" y="3532774"/>
                </a:cubicBezTo>
                <a:cubicBezTo>
                  <a:pt x="5008092" y="3527050"/>
                  <a:pt x="5005297" y="3520127"/>
                  <a:pt x="5005297" y="3511608"/>
                </a:cubicBezTo>
                <a:cubicBezTo>
                  <a:pt x="5005297" y="3503355"/>
                  <a:pt x="5008092" y="3496299"/>
                  <a:pt x="5013683" y="3490575"/>
                </a:cubicBezTo>
                <a:cubicBezTo>
                  <a:pt x="5019275" y="3484717"/>
                  <a:pt x="5026463" y="3481923"/>
                  <a:pt x="5035515" y="3481923"/>
                </a:cubicBezTo>
                <a:close/>
                <a:moveTo>
                  <a:pt x="4817870" y="3481923"/>
                </a:moveTo>
                <a:cubicBezTo>
                  <a:pt x="4822130" y="3481923"/>
                  <a:pt x="4826124" y="3482721"/>
                  <a:pt x="4829585" y="3484451"/>
                </a:cubicBezTo>
                <a:cubicBezTo>
                  <a:pt x="4833312" y="3486050"/>
                  <a:pt x="4836374" y="3488179"/>
                  <a:pt x="4838903" y="3490842"/>
                </a:cubicBezTo>
                <a:cubicBezTo>
                  <a:pt x="4841432" y="3493504"/>
                  <a:pt x="4843562" y="3496699"/>
                  <a:pt x="4845026" y="3500292"/>
                </a:cubicBezTo>
                <a:cubicBezTo>
                  <a:pt x="4846491" y="3503887"/>
                  <a:pt x="4847289" y="3507614"/>
                  <a:pt x="4847289" y="3511741"/>
                </a:cubicBezTo>
                <a:cubicBezTo>
                  <a:pt x="4847289" y="3515868"/>
                  <a:pt x="4846491" y="3519862"/>
                  <a:pt x="4845026" y="3523456"/>
                </a:cubicBezTo>
                <a:cubicBezTo>
                  <a:pt x="4843562" y="3527050"/>
                  <a:pt x="4841432" y="3530111"/>
                  <a:pt x="4838903" y="3532774"/>
                </a:cubicBezTo>
                <a:cubicBezTo>
                  <a:pt x="4836240" y="3535437"/>
                  <a:pt x="4833179" y="3537566"/>
                  <a:pt x="4829585" y="3539030"/>
                </a:cubicBezTo>
                <a:cubicBezTo>
                  <a:pt x="4825991" y="3540494"/>
                  <a:pt x="4822130" y="3541293"/>
                  <a:pt x="4817870" y="3541293"/>
                </a:cubicBezTo>
                <a:cubicBezTo>
                  <a:pt x="4808952" y="3541293"/>
                  <a:pt x="4801630" y="3538365"/>
                  <a:pt x="4796038" y="3532774"/>
                </a:cubicBezTo>
                <a:cubicBezTo>
                  <a:pt x="4790447" y="3527050"/>
                  <a:pt x="4787652" y="3520127"/>
                  <a:pt x="4787652" y="3511608"/>
                </a:cubicBezTo>
                <a:cubicBezTo>
                  <a:pt x="4787652" y="3503355"/>
                  <a:pt x="4790447" y="3496299"/>
                  <a:pt x="4796038" y="3490575"/>
                </a:cubicBezTo>
                <a:cubicBezTo>
                  <a:pt x="4801630" y="3484717"/>
                  <a:pt x="4808818" y="3481923"/>
                  <a:pt x="4817870" y="3481923"/>
                </a:cubicBezTo>
                <a:close/>
                <a:moveTo>
                  <a:pt x="4600226" y="3481923"/>
                </a:moveTo>
                <a:cubicBezTo>
                  <a:pt x="4604485" y="3481923"/>
                  <a:pt x="4608479" y="3482721"/>
                  <a:pt x="4612073" y="3484451"/>
                </a:cubicBezTo>
                <a:cubicBezTo>
                  <a:pt x="4615800" y="3486050"/>
                  <a:pt x="4618862" y="3488179"/>
                  <a:pt x="4621391" y="3490842"/>
                </a:cubicBezTo>
                <a:cubicBezTo>
                  <a:pt x="4623920" y="3493504"/>
                  <a:pt x="4626050" y="3496699"/>
                  <a:pt x="4627514" y="3500292"/>
                </a:cubicBezTo>
                <a:cubicBezTo>
                  <a:pt x="4628978" y="3503887"/>
                  <a:pt x="4629777" y="3507614"/>
                  <a:pt x="4629777" y="3511741"/>
                </a:cubicBezTo>
                <a:cubicBezTo>
                  <a:pt x="4629777" y="3515868"/>
                  <a:pt x="4628978" y="3519862"/>
                  <a:pt x="4627514" y="3523456"/>
                </a:cubicBezTo>
                <a:cubicBezTo>
                  <a:pt x="4626050" y="3527050"/>
                  <a:pt x="4623920" y="3530111"/>
                  <a:pt x="4621391" y="3532774"/>
                </a:cubicBezTo>
                <a:cubicBezTo>
                  <a:pt x="4618729" y="3535437"/>
                  <a:pt x="4615667" y="3537566"/>
                  <a:pt x="4612073" y="3539030"/>
                </a:cubicBezTo>
                <a:cubicBezTo>
                  <a:pt x="4608346" y="3540494"/>
                  <a:pt x="4604485" y="3541293"/>
                  <a:pt x="4600226" y="3541293"/>
                </a:cubicBezTo>
                <a:cubicBezTo>
                  <a:pt x="4591173" y="3541293"/>
                  <a:pt x="4583985" y="3538365"/>
                  <a:pt x="4578393" y="3532774"/>
                </a:cubicBezTo>
                <a:cubicBezTo>
                  <a:pt x="4572803" y="3527050"/>
                  <a:pt x="4570007" y="3520127"/>
                  <a:pt x="4570007" y="3511608"/>
                </a:cubicBezTo>
                <a:cubicBezTo>
                  <a:pt x="4570007" y="3503355"/>
                  <a:pt x="4572803" y="3496299"/>
                  <a:pt x="4578393" y="3490575"/>
                </a:cubicBezTo>
                <a:cubicBezTo>
                  <a:pt x="4583985" y="3484717"/>
                  <a:pt x="4591173" y="3481923"/>
                  <a:pt x="4600226" y="3481923"/>
                </a:cubicBezTo>
                <a:close/>
                <a:moveTo>
                  <a:pt x="4382713" y="3481923"/>
                </a:moveTo>
                <a:cubicBezTo>
                  <a:pt x="4386840" y="3481923"/>
                  <a:pt x="4390834" y="3482721"/>
                  <a:pt x="4394428" y="3484451"/>
                </a:cubicBezTo>
                <a:cubicBezTo>
                  <a:pt x="4398155" y="3486050"/>
                  <a:pt x="4401217" y="3488179"/>
                  <a:pt x="4403746" y="3490842"/>
                </a:cubicBezTo>
                <a:cubicBezTo>
                  <a:pt x="4406275" y="3493504"/>
                  <a:pt x="4408405" y="3496699"/>
                  <a:pt x="4409869" y="3500292"/>
                </a:cubicBezTo>
                <a:cubicBezTo>
                  <a:pt x="4411334" y="3503887"/>
                  <a:pt x="4412132" y="3507614"/>
                  <a:pt x="4412132" y="3511741"/>
                </a:cubicBezTo>
                <a:cubicBezTo>
                  <a:pt x="4412132" y="3515868"/>
                  <a:pt x="4411334" y="3519862"/>
                  <a:pt x="4409869" y="3523456"/>
                </a:cubicBezTo>
                <a:cubicBezTo>
                  <a:pt x="4408405" y="3527050"/>
                  <a:pt x="4406275" y="3530111"/>
                  <a:pt x="4403746" y="3532774"/>
                </a:cubicBezTo>
                <a:cubicBezTo>
                  <a:pt x="4401083" y="3535437"/>
                  <a:pt x="4398022" y="3537566"/>
                  <a:pt x="4394428" y="3539030"/>
                </a:cubicBezTo>
                <a:cubicBezTo>
                  <a:pt x="4390834" y="3540494"/>
                  <a:pt x="4386973" y="3541293"/>
                  <a:pt x="4382713" y="3541293"/>
                </a:cubicBezTo>
                <a:cubicBezTo>
                  <a:pt x="4373661" y="3541293"/>
                  <a:pt x="4366473" y="3538365"/>
                  <a:pt x="4360881" y="3532774"/>
                </a:cubicBezTo>
                <a:cubicBezTo>
                  <a:pt x="4355290" y="3527050"/>
                  <a:pt x="4352495" y="3520127"/>
                  <a:pt x="4352495" y="3511608"/>
                </a:cubicBezTo>
                <a:cubicBezTo>
                  <a:pt x="4352495" y="3503355"/>
                  <a:pt x="4355290" y="3496299"/>
                  <a:pt x="4360881" y="3490575"/>
                </a:cubicBezTo>
                <a:cubicBezTo>
                  <a:pt x="4366473" y="3484717"/>
                  <a:pt x="4373661" y="3481923"/>
                  <a:pt x="4382713" y="3481923"/>
                </a:cubicBezTo>
                <a:close/>
                <a:moveTo>
                  <a:pt x="4165068" y="3481923"/>
                </a:moveTo>
                <a:cubicBezTo>
                  <a:pt x="4169327" y="3481923"/>
                  <a:pt x="4173188" y="3482721"/>
                  <a:pt x="4176782" y="3484451"/>
                </a:cubicBezTo>
                <a:cubicBezTo>
                  <a:pt x="4180509" y="3486050"/>
                  <a:pt x="4183571" y="3488179"/>
                  <a:pt x="4186100" y="3490842"/>
                </a:cubicBezTo>
                <a:cubicBezTo>
                  <a:pt x="4188629" y="3493504"/>
                  <a:pt x="4190759" y="3496699"/>
                  <a:pt x="4192223" y="3500292"/>
                </a:cubicBezTo>
                <a:cubicBezTo>
                  <a:pt x="4193688" y="3503887"/>
                  <a:pt x="4194486" y="3507614"/>
                  <a:pt x="4194486" y="3511741"/>
                </a:cubicBezTo>
                <a:cubicBezTo>
                  <a:pt x="4194486" y="3515868"/>
                  <a:pt x="4193688" y="3519862"/>
                  <a:pt x="4192223" y="3523456"/>
                </a:cubicBezTo>
                <a:cubicBezTo>
                  <a:pt x="4190759" y="3527050"/>
                  <a:pt x="4188629" y="3530111"/>
                  <a:pt x="4186100" y="3532774"/>
                </a:cubicBezTo>
                <a:cubicBezTo>
                  <a:pt x="4183438" y="3535437"/>
                  <a:pt x="4180376" y="3537566"/>
                  <a:pt x="4176782" y="3539030"/>
                </a:cubicBezTo>
                <a:cubicBezTo>
                  <a:pt x="4173188" y="3540494"/>
                  <a:pt x="4169327" y="3541293"/>
                  <a:pt x="4165068" y="3541293"/>
                </a:cubicBezTo>
                <a:cubicBezTo>
                  <a:pt x="4156015" y="3541293"/>
                  <a:pt x="4148827" y="3538365"/>
                  <a:pt x="4143235" y="3532774"/>
                </a:cubicBezTo>
                <a:cubicBezTo>
                  <a:pt x="4137645" y="3527050"/>
                  <a:pt x="4134849" y="3520127"/>
                  <a:pt x="4134849" y="3511608"/>
                </a:cubicBezTo>
                <a:cubicBezTo>
                  <a:pt x="4134849" y="3503355"/>
                  <a:pt x="4137645" y="3496299"/>
                  <a:pt x="4143235" y="3490575"/>
                </a:cubicBezTo>
                <a:cubicBezTo>
                  <a:pt x="4148827" y="3484717"/>
                  <a:pt x="4156015" y="3481923"/>
                  <a:pt x="4165068" y="3481923"/>
                </a:cubicBezTo>
                <a:close/>
                <a:moveTo>
                  <a:pt x="3947617" y="3481923"/>
                </a:moveTo>
                <a:cubicBezTo>
                  <a:pt x="3951878" y="3481923"/>
                  <a:pt x="3955737" y="3482721"/>
                  <a:pt x="3959333" y="3484451"/>
                </a:cubicBezTo>
                <a:cubicBezTo>
                  <a:pt x="3963061" y="3486050"/>
                  <a:pt x="3966122" y="3488179"/>
                  <a:pt x="3968651" y="3490842"/>
                </a:cubicBezTo>
                <a:cubicBezTo>
                  <a:pt x="3971181" y="3493504"/>
                  <a:pt x="3973311" y="3496699"/>
                  <a:pt x="3974775" y="3500292"/>
                </a:cubicBezTo>
                <a:cubicBezTo>
                  <a:pt x="3976239" y="3503887"/>
                  <a:pt x="3977038" y="3507614"/>
                  <a:pt x="3977038" y="3511741"/>
                </a:cubicBezTo>
                <a:cubicBezTo>
                  <a:pt x="3977038" y="3515868"/>
                  <a:pt x="3976239" y="3519862"/>
                  <a:pt x="3974775" y="3523456"/>
                </a:cubicBezTo>
                <a:cubicBezTo>
                  <a:pt x="3973311" y="3527050"/>
                  <a:pt x="3971181" y="3530111"/>
                  <a:pt x="3968651" y="3532774"/>
                </a:cubicBezTo>
                <a:cubicBezTo>
                  <a:pt x="3965989" y="3535437"/>
                  <a:pt x="3962928" y="3537566"/>
                  <a:pt x="3959333" y="3539030"/>
                </a:cubicBezTo>
                <a:cubicBezTo>
                  <a:pt x="3955737" y="3540494"/>
                  <a:pt x="3951878" y="3541293"/>
                  <a:pt x="3947617" y="3541293"/>
                </a:cubicBezTo>
                <a:cubicBezTo>
                  <a:pt x="3938564" y="3541293"/>
                  <a:pt x="3931376" y="3538365"/>
                  <a:pt x="3925784" y="3532774"/>
                </a:cubicBezTo>
                <a:cubicBezTo>
                  <a:pt x="3920193" y="3527050"/>
                  <a:pt x="3917397" y="3520127"/>
                  <a:pt x="3917397" y="3511608"/>
                </a:cubicBezTo>
                <a:cubicBezTo>
                  <a:pt x="3917397" y="3503355"/>
                  <a:pt x="3920193" y="3496299"/>
                  <a:pt x="3925784" y="3490575"/>
                </a:cubicBezTo>
                <a:cubicBezTo>
                  <a:pt x="3931376" y="3484717"/>
                  <a:pt x="3938564" y="3481923"/>
                  <a:pt x="3947617" y="3481923"/>
                </a:cubicBezTo>
                <a:close/>
                <a:moveTo>
                  <a:pt x="3729962" y="3481923"/>
                </a:moveTo>
                <a:cubicBezTo>
                  <a:pt x="3734223" y="3481923"/>
                  <a:pt x="3738215" y="3482721"/>
                  <a:pt x="3741678" y="3484451"/>
                </a:cubicBezTo>
                <a:cubicBezTo>
                  <a:pt x="3745272" y="3486050"/>
                  <a:pt x="3748467" y="3488179"/>
                  <a:pt x="3750996" y="3490842"/>
                </a:cubicBezTo>
                <a:cubicBezTo>
                  <a:pt x="3753525" y="3493504"/>
                  <a:pt x="3755655" y="3496699"/>
                  <a:pt x="3757119" y="3500292"/>
                </a:cubicBezTo>
                <a:cubicBezTo>
                  <a:pt x="3758583" y="3503887"/>
                  <a:pt x="3759382" y="3507614"/>
                  <a:pt x="3759382" y="3511741"/>
                </a:cubicBezTo>
                <a:cubicBezTo>
                  <a:pt x="3759382" y="3515868"/>
                  <a:pt x="3758583" y="3519862"/>
                  <a:pt x="3757119" y="3523456"/>
                </a:cubicBezTo>
                <a:cubicBezTo>
                  <a:pt x="3755655" y="3527050"/>
                  <a:pt x="3753525" y="3530111"/>
                  <a:pt x="3750996" y="3532774"/>
                </a:cubicBezTo>
                <a:cubicBezTo>
                  <a:pt x="3748333" y="3535437"/>
                  <a:pt x="3745272" y="3537566"/>
                  <a:pt x="3741678" y="3539030"/>
                </a:cubicBezTo>
                <a:cubicBezTo>
                  <a:pt x="3738084" y="3540494"/>
                  <a:pt x="3734223" y="3541293"/>
                  <a:pt x="3729962" y="3541293"/>
                </a:cubicBezTo>
                <a:cubicBezTo>
                  <a:pt x="3720910" y="3541293"/>
                  <a:pt x="3713721" y="3538365"/>
                  <a:pt x="3708126" y="3532774"/>
                </a:cubicBezTo>
                <a:cubicBezTo>
                  <a:pt x="3702533" y="3527050"/>
                  <a:pt x="3699739" y="3520127"/>
                  <a:pt x="3699739" y="3511608"/>
                </a:cubicBezTo>
                <a:cubicBezTo>
                  <a:pt x="3699739" y="3503355"/>
                  <a:pt x="3702533" y="3496299"/>
                  <a:pt x="3708126" y="3490575"/>
                </a:cubicBezTo>
                <a:cubicBezTo>
                  <a:pt x="3713721" y="3484717"/>
                  <a:pt x="3720910" y="3481923"/>
                  <a:pt x="3729962" y="3481923"/>
                </a:cubicBezTo>
                <a:close/>
                <a:moveTo>
                  <a:pt x="3512307" y="3481923"/>
                </a:moveTo>
                <a:cubicBezTo>
                  <a:pt x="3516568" y="3481923"/>
                  <a:pt x="3520561" y="3482721"/>
                  <a:pt x="3524023" y="3484451"/>
                </a:cubicBezTo>
                <a:cubicBezTo>
                  <a:pt x="3527616" y="3486050"/>
                  <a:pt x="3530812" y="3488179"/>
                  <a:pt x="3533341" y="3490842"/>
                </a:cubicBezTo>
                <a:cubicBezTo>
                  <a:pt x="3535870" y="3493504"/>
                  <a:pt x="3538000" y="3496699"/>
                  <a:pt x="3539464" y="3500292"/>
                </a:cubicBezTo>
                <a:cubicBezTo>
                  <a:pt x="3540928" y="3503887"/>
                  <a:pt x="3541727" y="3507614"/>
                  <a:pt x="3541727" y="3511741"/>
                </a:cubicBezTo>
                <a:cubicBezTo>
                  <a:pt x="3541727" y="3515868"/>
                  <a:pt x="3540928" y="3519862"/>
                  <a:pt x="3539464" y="3523456"/>
                </a:cubicBezTo>
                <a:cubicBezTo>
                  <a:pt x="3538000" y="3527050"/>
                  <a:pt x="3535870" y="3530111"/>
                  <a:pt x="3533341" y="3532774"/>
                </a:cubicBezTo>
                <a:cubicBezTo>
                  <a:pt x="3530678" y="3535437"/>
                  <a:pt x="3527616" y="3537566"/>
                  <a:pt x="3524023" y="3539030"/>
                </a:cubicBezTo>
                <a:cubicBezTo>
                  <a:pt x="3520429" y="3540494"/>
                  <a:pt x="3516568" y="3541293"/>
                  <a:pt x="3512307" y="3541293"/>
                </a:cubicBezTo>
                <a:cubicBezTo>
                  <a:pt x="3503253" y="3541293"/>
                  <a:pt x="3496063" y="3538365"/>
                  <a:pt x="3490472" y="3532774"/>
                </a:cubicBezTo>
                <a:cubicBezTo>
                  <a:pt x="3484881" y="3527050"/>
                  <a:pt x="3482086" y="3520127"/>
                  <a:pt x="3482086" y="3511608"/>
                </a:cubicBezTo>
                <a:cubicBezTo>
                  <a:pt x="3482086" y="3503355"/>
                  <a:pt x="3484881" y="3496299"/>
                  <a:pt x="3490472" y="3490575"/>
                </a:cubicBezTo>
                <a:cubicBezTo>
                  <a:pt x="3496063" y="3484717"/>
                  <a:pt x="3503253" y="3481923"/>
                  <a:pt x="3512307" y="3481923"/>
                </a:cubicBezTo>
                <a:close/>
                <a:moveTo>
                  <a:pt x="3294785" y="3481923"/>
                </a:moveTo>
                <a:cubicBezTo>
                  <a:pt x="3298912" y="3481923"/>
                  <a:pt x="3302907" y="3482721"/>
                  <a:pt x="3306501" y="3484451"/>
                </a:cubicBezTo>
                <a:cubicBezTo>
                  <a:pt x="3310228" y="3486050"/>
                  <a:pt x="3313290" y="3488179"/>
                  <a:pt x="3315819" y="3490842"/>
                </a:cubicBezTo>
                <a:cubicBezTo>
                  <a:pt x="3318348" y="3493504"/>
                  <a:pt x="3320478" y="3496699"/>
                  <a:pt x="3321942" y="3500292"/>
                </a:cubicBezTo>
                <a:cubicBezTo>
                  <a:pt x="3323406" y="3503887"/>
                  <a:pt x="3324205" y="3507614"/>
                  <a:pt x="3324205" y="3511741"/>
                </a:cubicBezTo>
                <a:cubicBezTo>
                  <a:pt x="3324205" y="3515868"/>
                  <a:pt x="3323406" y="3519862"/>
                  <a:pt x="3321942" y="3523456"/>
                </a:cubicBezTo>
                <a:cubicBezTo>
                  <a:pt x="3320478" y="3527050"/>
                  <a:pt x="3318348" y="3530111"/>
                  <a:pt x="3315819" y="3532774"/>
                </a:cubicBezTo>
                <a:cubicBezTo>
                  <a:pt x="3313156" y="3535437"/>
                  <a:pt x="3310094" y="3537566"/>
                  <a:pt x="3306501" y="3539030"/>
                </a:cubicBezTo>
                <a:cubicBezTo>
                  <a:pt x="3302907" y="3540494"/>
                  <a:pt x="3299046" y="3541293"/>
                  <a:pt x="3294785" y="3541293"/>
                </a:cubicBezTo>
                <a:cubicBezTo>
                  <a:pt x="3285732" y="3541293"/>
                  <a:pt x="3278542" y="3538365"/>
                  <a:pt x="3272950" y="3532774"/>
                </a:cubicBezTo>
                <a:cubicBezTo>
                  <a:pt x="3267357" y="3527050"/>
                  <a:pt x="3264562" y="3520127"/>
                  <a:pt x="3264562" y="3511608"/>
                </a:cubicBezTo>
                <a:cubicBezTo>
                  <a:pt x="3264562" y="3503355"/>
                  <a:pt x="3267357" y="3496299"/>
                  <a:pt x="3272950" y="3490575"/>
                </a:cubicBezTo>
                <a:cubicBezTo>
                  <a:pt x="3278542" y="3484717"/>
                  <a:pt x="3285732" y="3481923"/>
                  <a:pt x="3294785" y="3481923"/>
                </a:cubicBezTo>
                <a:close/>
                <a:moveTo>
                  <a:pt x="3077130" y="3481923"/>
                </a:moveTo>
                <a:cubicBezTo>
                  <a:pt x="3081257" y="3481923"/>
                  <a:pt x="3085251" y="3482721"/>
                  <a:pt x="3088845" y="3484451"/>
                </a:cubicBezTo>
                <a:cubicBezTo>
                  <a:pt x="3092440" y="3486050"/>
                  <a:pt x="3095635" y="3488179"/>
                  <a:pt x="3098163" y="3490842"/>
                </a:cubicBezTo>
                <a:cubicBezTo>
                  <a:pt x="3100692" y="3493504"/>
                  <a:pt x="3102823" y="3496699"/>
                  <a:pt x="3104287" y="3500292"/>
                </a:cubicBezTo>
                <a:cubicBezTo>
                  <a:pt x="3105752" y="3503887"/>
                  <a:pt x="3106550" y="3507614"/>
                  <a:pt x="3106550" y="3511741"/>
                </a:cubicBezTo>
                <a:cubicBezTo>
                  <a:pt x="3106550" y="3515868"/>
                  <a:pt x="3105752" y="3519862"/>
                  <a:pt x="3104287" y="3523456"/>
                </a:cubicBezTo>
                <a:cubicBezTo>
                  <a:pt x="3102823" y="3527050"/>
                  <a:pt x="3100692" y="3530111"/>
                  <a:pt x="3098163" y="3532774"/>
                </a:cubicBezTo>
                <a:cubicBezTo>
                  <a:pt x="3095501" y="3535437"/>
                  <a:pt x="3092440" y="3537566"/>
                  <a:pt x="3088845" y="3539030"/>
                </a:cubicBezTo>
                <a:cubicBezTo>
                  <a:pt x="3085251" y="3540494"/>
                  <a:pt x="3081390" y="3541293"/>
                  <a:pt x="3077130" y="3541293"/>
                </a:cubicBezTo>
                <a:cubicBezTo>
                  <a:pt x="3068209" y="3541293"/>
                  <a:pt x="3060888" y="3538365"/>
                  <a:pt x="3055294" y="3532774"/>
                </a:cubicBezTo>
                <a:cubicBezTo>
                  <a:pt x="3049704" y="3527050"/>
                  <a:pt x="3046908" y="3520127"/>
                  <a:pt x="3046908" y="3511608"/>
                </a:cubicBezTo>
                <a:cubicBezTo>
                  <a:pt x="3046908" y="3503355"/>
                  <a:pt x="3049704" y="3496299"/>
                  <a:pt x="3055294" y="3490575"/>
                </a:cubicBezTo>
                <a:cubicBezTo>
                  <a:pt x="3060888" y="3484717"/>
                  <a:pt x="3068077" y="3481923"/>
                  <a:pt x="3077130" y="3481923"/>
                </a:cubicBezTo>
                <a:close/>
                <a:moveTo>
                  <a:pt x="2859475" y="3481923"/>
                </a:moveTo>
                <a:cubicBezTo>
                  <a:pt x="2863735" y="3481923"/>
                  <a:pt x="2867596" y="3482721"/>
                  <a:pt x="2871323" y="3484451"/>
                </a:cubicBezTo>
                <a:cubicBezTo>
                  <a:pt x="2875050" y="3486050"/>
                  <a:pt x="2878112" y="3488179"/>
                  <a:pt x="2880641" y="3490842"/>
                </a:cubicBezTo>
                <a:cubicBezTo>
                  <a:pt x="2883303" y="3493504"/>
                  <a:pt x="2885301" y="3496699"/>
                  <a:pt x="2886765" y="3500292"/>
                </a:cubicBezTo>
                <a:cubicBezTo>
                  <a:pt x="2888229" y="3503887"/>
                  <a:pt x="2889028" y="3507614"/>
                  <a:pt x="2889028" y="3511741"/>
                </a:cubicBezTo>
                <a:cubicBezTo>
                  <a:pt x="2889028" y="3515868"/>
                  <a:pt x="2888229" y="3519862"/>
                  <a:pt x="2886765" y="3523456"/>
                </a:cubicBezTo>
                <a:cubicBezTo>
                  <a:pt x="2885301" y="3527050"/>
                  <a:pt x="2883170" y="3530111"/>
                  <a:pt x="2880641" y="3532774"/>
                </a:cubicBezTo>
                <a:cubicBezTo>
                  <a:pt x="2877979" y="3535437"/>
                  <a:pt x="2874917" y="3537566"/>
                  <a:pt x="2871323" y="3539030"/>
                </a:cubicBezTo>
                <a:cubicBezTo>
                  <a:pt x="2867596" y="3540494"/>
                  <a:pt x="2863735" y="3541293"/>
                  <a:pt x="2859475" y="3541293"/>
                </a:cubicBezTo>
                <a:cubicBezTo>
                  <a:pt x="2850557" y="3541293"/>
                  <a:pt x="2843230" y="3538365"/>
                  <a:pt x="2837640" y="3532774"/>
                </a:cubicBezTo>
                <a:cubicBezTo>
                  <a:pt x="2832049" y="3527050"/>
                  <a:pt x="2829253" y="3520127"/>
                  <a:pt x="2829253" y="3511608"/>
                </a:cubicBezTo>
                <a:cubicBezTo>
                  <a:pt x="2829253" y="3503355"/>
                  <a:pt x="2832049" y="3496299"/>
                  <a:pt x="2837640" y="3490575"/>
                </a:cubicBezTo>
                <a:cubicBezTo>
                  <a:pt x="2843230" y="3484717"/>
                  <a:pt x="2850423" y="3481923"/>
                  <a:pt x="2859475" y="3481923"/>
                </a:cubicBezTo>
                <a:close/>
                <a:moveTo>
                  <a:pt x="2641820" y="3481923"/>
                </a:moveTo>
                <a:cubicBezTo>
                  <a:pt x="2646080" y="3481923"/>
                  <a:pt x="2649940" y="3482721"/>
                  <a:pt x="2653535" y="3484451"/>
                </a:cubicBezTo>
                <a:cubicBezTo>
                  <a:pt x="2657262" y="3486050"/>
                  <a:pt x="2660324" y="3488179"/>
                  <a:pt x="2662853" y="3490842"/>
                </a:cubicBezTo>
                <a:cubicBezTo>
                  <a:pt x="2665515" y="3493504"/>
                  <a:pt x="2667512" y="3496699"/>
                  <a:pt x="2668976" y="3500292"/>
                </a:cubicBezTo>
                <a:cubicBezTo>
                  <a:pt x="2670440" y="3503887"/>
                  <a:pt x="2671239" y="3507614"/>
                  <a:pt x="2671239" y="3511741"/>
                </a:cubicBezTo>
                <a:cubicBezTo>
                  <a:pt x="2671239" y="3515868"/>
                  <a:pt x="2670440" y="3519862"/>
                  <a:pt x="2668976" y="3523456"/>
                </a:cubicBezTo>
                <a:cubicBezTo>
                  <a:pt x="2667512" y="3527050"/>
                  <a:pt x="2665382" y="3530111"/>
                  <a:pt x="2662853" y="3532774"/>
                </a:cubicBezTo>
                <a:cubicBezTo>
                  <a:pt x="2660324" y="3535437"/>
                  <a:pt x="2657129" y="3537566"/>
                  <a:pt x="2653535" y="3539030"/>
                </a:cubicBezTo>
                <a:cubicBezTo>
                  <a:pt x="2649940" y="3540494"/>
                  <a:pt x="2646080" y="3541293"/>
                  <a:pt x="2641820" y="3541293"/>
                </a:cubicBezTo>
                <a:cubicBezTo>
                  <a:pt x="2632901" y="3541293"/>
                  <a:pt x="2625579" y="3538365"/>
                  <a:pt x="2619987" y="3532774"/>
                </a:cubicBezTo>
                <a:cubicBezTo>
                  <a:pt x="2614395" y="3527050"/>
                  <a:pt x="2611599" y="3520127"/>
                  <a:pt x="2611599" y="3511608"/>
                </a:cubicBezTo>
                <a:cubicBezTo>
                  <a:pt x="2611599" y="3503355"/>
                  <a:pt x="2614395" y="3496299"/>
                  <a:pt x="2619987" y="3490575"/>
                </a:cubicBezTo>
                <a:cubicBezTo>
                  <a:pt x="2625579" y="3484717"/>
                  <a:pt x="2632768" y="3481923"/>
                  <a:pt x="2641820" y="3481923"/>
                </a:cubicBezTo>
                <a:close/>
                <a:moveTo>
                  <a:pt x="2424164" y="3481923"/>
                </a:moveTo>
                <a:cubicBezTo>
                  <a:pt x="2428425" y="3481923"/>
                  <a:pt x="2432419" y="3482721"/>
                  <a:pt x="2435880" y="3484451"/>
                </a:cubicBezTo>
                <a:cubicBezTo>
                  <a:pt x="2439607" y="3486050"/>
                  <a:pt x="2442669" y="3488179"/>
                  <a:pt x="2445198" y="3490842"/>
                </a:cubicBezTo>
                <a:cubicBezTo>
                  <a:pt x="2447860" y="3493504"/>
                  <a:pt x="2449857" y="3496699"/>
                  <a:pt x="2451321" y="3500292"/>
                </a:cubicBezTo>
                <a:cubicBezTo>
                  <a:pt x="2452785" y="3503887"/>
                  <a:pt x="2453584" y="3507614"/>
                  <a:pt x="2453584" y="3511741"/>
                </a:cubicBezTo>
                <a:cubicBezTo>
                  <a:pt x="2453584" y="3515868"/>
                  <a:pt x="2452785" y="3519862"/>
                  <a:pt x="2451321" y="3523456"/>
                </a:cubicBezTo>
                <a:cubicBezTo>
                  <a:pt x="2449857" y="3527050"/>
                  <a:pt x="2447727" y="3530111"/>
                  <a:pt x="2445198" y="3532774"/>
                </a:cubicBezTo>
                <a:cubicBezTo>
                  <a:pt x="2442669" y="3535437"/>
                  <a:pt x="2439474" y="3537566"/>
                  <a:pt x="2435880" y="3539030"/>
                </a:cubicBezTo>
                <a:cubicBezTo>
                  <a:pt x="2432286" y="3540494"/>
                  <a:pt x="2428425" y="3541293"/>
                  <a:pt x="2424164" y="3541293"/>
                </a:cubicBezTo>
                <a:cubicBezTo>
                  <a:pt x="2415246" y="3541293"/>
                  <a:pt x="2407924" y="3538365"/>
                  <a:pt x="2402332" y="3532774"/>
                </a:cubicBezTo>
                <a:cubicBezTo>
                  <a:pt x="2396741" y="3527050"/>
                  <a:pt x="2393944" y="3520127"/>
                  <a:pt x="2393944" y="3511608"/>
                </a:cubicBezTo>
                <a:cubicBezTo>
                  <a:pt x="2393944" y="3503355"/>
                  <a:pt x="2396741" y="3496299"/>
                  <a:pt x="2402332" y="3490575"/>
                </a:cubicBezTo>
                <a:cubicBezTo>
                  <a:pt x="2407924" y="3484717"/>
                  <a:pt x="2415112" y="3481923"/>
                  <a:pt x="2424164" y="3481923"/>
                </a:cubicBezTo>
                <a:close/>
                <a:moveTo>
                  <a:pt x="2206509" y="3481923"/>
                </a:moveTo>
                <a:cubicBezTo>
                  <a:pt x="2210769" y="3481923"/>
                  <a:pt x="2214764" y="3482721"/>
                  <a:pt x="2218224" y="3484451"/>
                </a:cubicBezTo>
                <a:cubicBezTo>
                  <a:pt x="2221951" y="3486050"/>
                  <a:pt x="2225013" y="3488179"/>
                  <a:pt x="2227543" y="3490842"/>
                </a:cubicBezTo>
                <a:cubicBezTo>
                  <a:pt x="2230205" y="3493504"/>
                  <a:pt x="2232202" y="3496699"/>
                  <a:pt x="2233666" y="3500292"/>
                </a:cubicBezTo>
                <a:cubicBezTo>
                  <a:pt x="2235130" y="3503887"/>
                  <a:pt x="2235929" y="3507614"/>
                  <a:pt x="2235929" y="3511741"/>
                </a:cubicBezTo>
                <a:cubicBezTo>
                  <a:pt x="2235929" y="3515868"/>
                  <a:pt x="2235130" y="3519862"/>
                  <a:pt x="2233666" y="3523456"/>
                </a:cubicBezTo>
                <a:cubicBezTo>
                  <a:pt x="2232202" y="3527050"/>
                  <a:pt x="2230071" y="3530111"/>
                  <a:pt x="2227543" y="3532774"/>
                </a:cubicBezTo>
                <a:cubicBezTo>
                  <a:pt x="2225013" y="3535437"/>
                  <a:pt x="2221819" y="3537566"/>
                  <a:pt x="2218224" y="3539030"/>
                </a:cubicBezTo>
                <a:cubicBezTo>
                  <a:pt x="2214630" y="3540494"/>
                  <a:pt x="2210769" y="3541293"/>
                  <a:pt x="2206509" y="3541293"/>
                </a:cubicBezTo>
                <a:cubicBezTo>
                  <a:pt x="2197457" y="3541293"/>
                  <a:pt x="2190269" y="3538365"/>
                  <a:pt x="2184677" y="3532774"/>
                </a:cubicBezTo>
                <a:cubicBezTo>
                  <a:pt x="2179085" y="3527050"/>
                  <a:pt x="2176289" y="3520127"/>
                  <a:pt x="2176289" y="3511608"/>
                </a:cubicBezTo>
                <a:cubicBezTo>
                  <a:pt x="2176289" y="3503355"/>
                  <a:pt x="2179085" y="3496299"/>
                  <a:pt x="2184677" y="3490575"/>
                </a:cubicBezTo>
                <a:cubicBezTo>
                  <a:pt x="2190269" y="3484717"/>
                  <a:pt x="2197457" y="3481923"/>
                  <a:pt x="2206509" y="3481923"/>
                </a:cubicBezTo>
                <a:close/>
                <a:moveTo>
                  <a:pt x="1988987" y="3481923"/>
                </a:moveTo>
                <a:cubicBezTo>
                  <a:pt x="1993114" y="3481923"/>
                  <a:pt x="1997108" y="3482721"/>
                  <a:pt x="2000702" y="3484451"/>
                </a:cubicBezTo>
                <a:cubicBezTo>
                  <a:pt x="2004429" y="3486050"/>
                  <a:pt x="2007491" y="3488179"/>
                  <a:pt x="2010020" y="3490842"/>
                </a:cubicBezTo>
                <a:cubicBezTo>
                  <a:pt x="2012682" y="3493504"/>
                  <a:pt x="2014680" y="3496699"/>
                  <a:pt x="2016144" y="3500292"/>
                </a:cubicBezTo>
                <a:cubicBezTo>
                  <a:pt x="2017608" y="3503887"/>
                  <a:pt x="2018407" y="3507614"/>
                  <a:pt x="2018407" y="3511741"/>
                </a:cubicBezTo>
                <a:cubicBezTo>
                  <a:pt x="2018407" y="3515868"/>
                  <a:pt x="2017608" y="3519862"/>
                  <a:pt x="2016144" y="3523456"/>
                </a:cubicBezTo>
                <a:cubicBezTo>
                  <a:pt x="2014680" y="3527050"/>
                  <a:pt x="2012549" y="3530111"/>
                  <a:pt x="2010020" y="3532774"/>
                </a:cubicBezTo>
                <a:cubicBezTo>
                  <a:pt x="2007491" y="3535437"/>
                  <a:pt x="2004296" y="3537566"/>
                  <a:pt x="2000702" y="3539030"/>
                </a:cubicBezTo>
                <a:cubicBezTo>
                  <a:pt x="1997108" y="3540494"/>
                  <a:pt x="1993247" y="3541293"/>
                  <a:pt x="1988987" y="3541293"/>
                </a:cubicBezTo>
                <a:cubicBezTo>
                  <a:pt x="1979936" y="3541293"/>
                  <a:pt x="1972747" y="3538365"/>
                  <a:pt x="1967156" y="3532774"/>
                </a:cubicBezTo>
                <a:cubicBezTo>
                  <a:pt x="1961565" y="3527050"/>
                  <a:pt x="1958770" y="3520127"/>
                  <a:pt x="1958770" y="3511608"/>
                </a:cubicBezTo>
                <a:cubicBezTo>
                  <a:pt x="1958770" y="3503355"/>
                  <a:pt x="1961565" y="3496299"/>
                  <a:pt x="1967156" y="3490575"/>
                </a:cubicBezTo>
                <a:cubicBezTo>
                  <a:pt x="1972747" y="3484717"/>
                  <a:pt x="1979936" y="3481923"/>
                  <a:pt x="1988987" y="3481923"/>
                </a:cubicBezTo>
                <a:close/>
                <a:moveTo>
                  <a:pt x="1771349" y="3481923"/>
                </a:moveTo>
                <a:cubicBezTo>
                  <a:pt x="1775608" y="3481923"/>
                  <a:pt x="1779468" y="3482721"/>
                  <a:pt x="1783063" y="3484451"/>
                </a:cubicBezTo>
                <a:cubicBezTo>
                  <a:pt x="1786791" y="3486050"/>
                  <a:pt x="1789852" y="3488179"/>
                  <a:pt x="1792381" y="3490842"/>
                </a:cubicBezTo>
                <a:cubicBezTo>
                  <a:pt x="1795043" y="3493504"/>
                  <a:pt x="1797041" y="3496699"/>
                  <a:pt x="1798505" y="3500292"/>
                </a:cubicBezTo>
                <a:cubicBezTo>
                  <a:pt x="1799968" y="3503887"/>
                  <a:pt x="1800767" y="3507614"/>
                  <a:pt x="1800767" y="3511741"/>
                </a:cubicBezTo>
                <a:cubicBezTo>
                  <a:pt x="1800767" y="3515868"/>
                  <a:pt x="1799968" y="3519862"/>
                  <a:pt x="1798505" y="3523456"/>
                </a:cubicBezTo>
                <a:cubicBezTo>
                  <a:pt x="1797041" y="3527050"/>
                  <a:pt x="1794911" y="3530111"/>
                  <a:pt x="1792381" y="3532774"/>
                </a:cubicBezTo>
                <a:cubicBezTo>
                  <a:pt x="1789718" y="3535437"/>
                  <a:pt x="1786658" y="3537566"/>
                  <a:pt x="1783063" y="3539030"/>
                </a:cubicBezTo>
                <a:cubicBezTo>
                  <a:pt x="1779468" y="3540494"/>
                  <a:pt x="1775608" y="3541293"/>
                  <a:pt x="1771349" y="3541293"/>
                </a:cubicBezTo>
                <a:cubicBezTo>
                  <a:pt x="1762430" y="3541293"/>
                  <a:pt x="1755110" y="3538365"/>
                  <a:pt x="1749519" y="3532774"/>
                </a:cubicBezTo>
                <a:cubicBezTo>
                  <a:pt x="1743928" y="3527050"/>
                  <a:pt x="1741135" y="3520127"/>
                  <a:pt x="1741135" y="3511608"/>
                </a:cubicBezTo>
                <a:cubicBezTo>
                  <a:pt x="1741135" y="3503355"/>
                  <a:pt x="1743928" y="3496299"/>
                  <a:pt x="1749519" y="3490575"/>
                </a:cubicBezTo>
                <a:cubicBezTo>
                  <a:pt x="1755110" y="3484717"/>
                  <a:pt x="1762297" y="3481923"/>
                  <a:pt x="1771349" y="3481923"/>
                </a:cubicBezTo>
                <a:close/>
                <a:moveTo>
                  <a:pt x="1553709" y="3481923"/>
                </a:moveTo>
                <a:cubicBezTo>
                  <a:pt x="1557969" y="3481923"/>
                  <a:pt x="1561830" y="3482721"/>
                  <a:pt x="1565424" y="3484451"/>
                </a:cubicBezTo>
                <a:cubicBezTo>
                  <a:pt x="1569018" y="3486050"/>
                  <a:pt x="1572213" y="3488179"/>
                  <a:pt x="1574742" y="3490842"/>
                </a:cubicBezTo>
                <a:cubicBezTo>
                  <a:pt x="1577404" y="3493504"/>
                  <a:pt x="1579401" y="3496699"/>
                  <a:pt x="1580865" y="3500292"/>
                </a:cubicBezTo>
                <a:cubicBezTo>
                  <a:pt x="1582329" y="3503887"/>
                  <a:pt x="1583128" y="3507614"/>
                  <a:pt x="1583128" y="3511741"/>
                </a:cubicBezTo>
                <a:cubicBezTo>
                  <a:pt x="1583128" y="3515868"/>
                  <a:pt x="1582329" y="3519862"/>
                  <a:pt x="1580865" y="3523456"/>
                </a:cubicBezTo>
                <a:cubicBezTo>
                  <a:pt x="1579401" y="3527050"/>
                  <a:pt x="1577271" y="3530111"/>
                  <a:pt x="1574742" y="3532774"/>
                </a:cubicBezTo>
                <a:cubicBezTo>
                  <a:pt x="1572080" y="3535437"/>
                  <a:pt x="1569018" y="3537566"/>
                  <a:pt x="1565424" y="3539030"/>
                </a:cubicBezTo>
                <a:cubicBezTo>
                  <a:pt x="1561830" y="3540494"/>
                  <a:pt x="1557969" y="3541293"/>
                  <a:pt x="1553709" y="3541293"/>
                </a:cubicBezTo>
                <a:cubicBezTo>
                  <a:pt x="1544791" y="3541293"/>
                  <a:pt x="1537469" y="3538365"/>
                  <a:pt x="1531878" y="3532774"/>
                </a:cubicBezTo>
                <a:cubicBezTo>
                  <a:pt x="1526290" y="3527050"/>
                  <a:pt x="1523493" y="3520127"/>
                  <a:pt x="1523493" y="3511608"/>
                </a:cubicBezTo>
                <a:cubicBezTo>
                  <a:pt x="1523493" y="3503355"/>
                  <a:pt x="1526290" y="3496299"/>
                  <a:pt x="1531878" y="3490575"/>
                </a:cubicBezTo>
                <a:cubicBezTo>
                  <a:pt x="1537469" y="3484717"/>
                  <a:pt x="1544657" y="3481923"/>
                  <a:pt x="1553709" y="3481923"/>
                </a:cubicBezTo>
                <a:close/>
                <a:moveTo>
                  <a:pt x="1336065" y="3481923"/>
                </a:moveTo>
                <a:cubicBezTo>
                  <a:pt x="1340324" y="3481923"/>
                  <a:pt x="1344320" y="3482721"/>
                  <a:pt x="1347781" y="3484451"/>
                </a:cubicBezTo>
                <a:cubicBezTo>
                  <a:pt x="1351374" y="3486050"/>
                  <a:pt x="1354568" y="3488179"/>
                  <a:pt x="1357099" y="3490842"/>
                </a:cubicBezTo>
                <a:cubicBezTo>
                  <a:pt x="1359761" y="3493504"/>
                  <a:pt x="1361758" y="3496699"/>
                  <a:pt x="1363222" y="3500292"/>
                </a:cubicBezTo>
                <a:cubicBezTo>
                  <a:pt x="1364686" y="3503887"/>
                  <a:pt x="1365484" y="3507614"/>
                  <a:pt x="1365484" y="3511741"/>
                </a:cubicBezTo>
                <a:cubicBezTo>
                  <a:pt x="1365484" y="3515868"/>
                  <a:pt x="1364686" y="3519862"/>
                  <a:pt x="1363222" y="3523456"/>
                </a:cubicBezTo>
                <a:cubicBezTo>
                  <a:pt x="1361758" y="3527050"/>
                  <a:pt x="1359628" y="3530111"/>
                  <a:pt x="1357099" y="3532774"/>
                </a:cubicBezTo>
                <a:cubicBezTo>
                  <a:pt x="1354435" y="3535437"/>
                  <a:pt x="1351374" y="3537566"/>
                  <a:pt x="1347781" y="3539030"/>
                </a:cubicBezTo>
                <a:cubicBezTo>
                  <a:pt x="1344186" y="3540494"/>
                  <a:pt x="1340324" y="3541293"/>
                  <a:pt x="1336065" y="3541293"/>
                </a:cubicBezTo>
                <a:cubicBezTo>
                  <a:pt x="1327145" y="3541293"/>
                  <a:pt x="1319824" y="3538365"/>
                  <a:pt x="1314232" y="3532774"/>
                </a:cubicBezTo>
                <a:cubicBezTo>
                  <a:pt x="1308642" y="3527050"/>
                  <a:pt x="1305847" y="3520127"/>
                  <a:pt x="1305847" y="3511608"/>
                </a:cubicBezTo>
                <a:cubicBezTo>
                  <a:pt x="1305847" y="3503355"/>
                  <a:pt x="1308642" y="3496299"/>
                  <a:pt x="1314232" y="3490575"/>
                </a:cubicBezTo>
                <a:cubicBezTo>
                  <a:pt x="1319824" y="3484717"/>
                  <a:pt x="1327012" y="3481923"/>
                  <a:pt x="1336065" y="3481923"/>
                </a:cubicBezTo>
                <a:close/>
                <a:moveTo>
                  <a:pt x="1118420" y="3481923"/>
                </a:moveTo>
                <a:cubicBezTo>
                  <a:pt x="1122681" y="3481923"/>
                  <a:pt x="1126676" y="3482721"/>
                  <a:pt x="1130137" y="3484451"/>
                </a:cubicBezTo>
                <a:cubicBezTo>
                  <a:pt x="1133864" y="3486050"/>
                  <a:pt x="1136925" y="3488179"/>
                  <a:pt x="1139453" y="3490842"/>
                </a:cubicBezTo>
                <a:cubicBezTo>
                  <a:pt x="1142114" y="3493504"/>
                  <a:pt x="1144111" y="3496699"/>
                  <a:pt x="1145574" y="3500292"/>
                </a:cubicBezTo>
                <a:cubicBezTo>
                  <a:pt x="1147039" y="3503887"/>
                  <a:pt x="1147837" y="3507614"/>
                  <a:pt x="1147837" y="3511741"/>
                </a:cubicBezTo>
                <a:cubicBezTo>
                  <a:pt x="1147837" y="3515868"/>
                  <a:pt x="1147039" y="3519862"/>
                  <a:pt x="1145574" y="3523456"/>
                </a:cubicBezTo>
                <a:cubicBezTo>
                  <a:pt x="1144111" y="3527050"/>
                  <a:pt x="1141981" y="3530111"/>
                  <a:pt x="1139453" y="3532774"/>
                </a:cubicBezTo>
                <a:cubicBezTo>
                  <a:pt x="1136925" y="3535437"/>
                  <a:pt x="1133731" y="3537566"/>
                  <a:pt x="1130137" y="3539030"/>
                </a:cubicBezTo>
                <a:cubicBezTo>
                  <a:pt x="1126541" y="3540494"/>
                  <a:pt x="1122681" y="3541293"/>
                  <a:pt x="1118420" y="3541293"/>
                </a:cubicBezTo>
                <a:cubicBezTo>
                  <a:pt x="1109500" y="3541293"/>
                  <a:pt x="1102177" y="3538365"/>
                  <a:pt x="1096586" y="3532774"/>
                </a:cubicBezTo>
                <a:cubicBezTo>
                  <a:pt x="1090996" y="3527050"/>
                  <a:pt x="1088201" y="3520127"/>
                  <a:pt x="1088201" y="3511608"/>
                </a:cubicBezTo>
                <a:cubicBezTo>
                  <a:pt x="1088201" y="3503355"/>
                  <a:pt x="1090996" y="3496299"/>
                  <a:pt x="1096586" y="3490575"/>
                </a:cubicBezTo>
                <a:cubicBezTo>
                  <a:pt x="1102177" y="3484717"/>
                  <a:pt x="1109366" y="3481923"/>
                  <a:pt x="1118420" y="3481923"/>
                </a:cubicBezTo>
                <a:close/>
                <a:moveTo>
                  <a:pt x="900907" y="3481923"/>
                </a:moveTo>
                <a:cubicBezTo>
                  <a:pt x="905034" y="3481923"/>
                  <a:pt x="909028" y="3482721"/>
                  <a:pt x="912622" y="3484451"/>
                </a:cubicBezTo>
                <a:cubicBezTo>
                  <a:pt x="916349" y="3486050"/>
                  <a:pt x="919411" y="3488179"/>
                  <a:pt x="921941" y="3490842"/>
                </a:cubicBezTo>
                <a:cubicBezTo>
                  <a:pt x="924603" y="3493504"/>
                  <a:pt x="926600" y="3496699"/>
                  <a:pt x="928063" y="3500292"/>
                </a:cubicBezTo>
                <a:cubicBezTo>
                  <a:pt x="929528" y="3503887"/>
                  <a:pt x="930326" y="3507614"/>
                  <a:pt x="930326" y="3511741"/>
                </a:cubicBezTo>
                <a:cubicBezTo>
                  <a:pt x="930326" y="3515868"/>
                  <a:pt x="929528" y="3519862"/>
                  <a:pt x="928063" y="3523456"/>
                </a:cubicBezTo>
                <a:cubicBezTo>
                  <a:pt x="926600" y="3527050"/>
                  <a:pt x="924469" y="3530111"/>
                  <a:pt x="921941" y="3532774"/>
                </a:cubicBezTo>
                <a:cubicBezTo>
                  <a:pt x="919411" y="3535437"/>
                  <a:pt x="916216" y="3537566"/>
                  <a:pt x="912622" y="3539030"/>
                </a:cubicBezTo>
                <a:cubicBezTo>
                  <a:pt x="909028" y="3540494"/>
                  <a:pt x="905167" y="3541293"/>
                  <a:pt x="900907" y="3541293"/>
                </a:cubicBezTo>
                <a:cubicBezTo>
                  <a:pt x="891989" y="3541293"/>
                  <a:pt x="884667" y="3538365"/>
                  <a:pt x="879076" y="3532774"/>
                </a:cubicBezTo>
                <a:cubicBezTo>
                  <a:pt x="873487" y="3527050"/>
                  <a:pt x="870691" y="3520127"/>
                  <a:pt x="870691" y="3511608"/>
                </a:cubicBezTo>
                <a:cubicBezTo>
                  <a:pt x="870691" y="3503355"/>
                  <a:pt x="873487" y="3496299"/>
                  <a:pt x="879076" y="3490575"/>
                </a:cubicBezTo>
                <a:cubicBezTo>
                  <a:pt x="884667" y="3484717"/>
                  <a:pt x="891856" y="3481923"/>
                  <a:pt x="900907" y="3481923"/>
                </a:cubicBezTo>
                <a:close/>
                <a:moveTo>
                  <a:pt x="683265" y="3481923"/>
                </a:moveTo>
                <a:cubicBezTo>
                  <a:pt x="687526" y="3481923"/>
                  <a:pt x="691386" y="3482721"/>
                  <a:pt x="694981" y="3484451"/>
                </a:cubicBezTo>
                <a:cubicBezTo>
                  <a:pt x="698708" y="3486050"/>
                  <a:pt x="701770" y="3488179"/>
                  <a:pt x="704298" y="3490842"/>
                </a:cubicBezTo>
                <a:cubicBezTo>
                  <a:pt x="706960" y="3493504"/>
                  <a:pt x="708957" y="3496699"/>
                  <a:pt x="710421" y="3500292"/>
                </a:cubicBezTo>
                <a:cubicBezTo>
                  <a:pt x="711885" y="3503887"/>
                  <a:pt x="712684" y="3507614"/>
                  <a:pt x="712684" y="3511741"/>
                </a:cubicBezTo>
                <a:cubicBezTo>
                  <a:pt x="712684" y="3515868"/>
                  <a:pt x="711885" y="3519862"/>
                  <a:pt x="710421" y="3523456"/>
                </a:cubicBezTo>
                <a:cubicBezTo>
                  <a:pt x="708957" y="3527050"/>
                  <a:pt x="706827" y="3530111"/>
                  <a:pt x="704298" y="3532774"/>
                </a:cubicBezTo>
                <a:cubicBezTo>
                  <a:pt x="701770" y="3535437"/>
                  <a:pt x="698575" y="3537566"/>
                  <a:pt x="694981" y="3539030"/>
                </a:cubicBezTo>
                <a:cubicBezTo>
                  <a:pt x="691386" y="3540494"/>
                  <a:pt x="687526" y="3541293"/>
                  <a:pt x="683265" y="3541293"/>
                </a:cubicBezTo>
                <a:cubicBezTo>
                  <a:pt x="674347" y="3541293"/>
                  <a:pt x="667025" y="3538365"/>
                  <a:pt x="661434" y="3532774"/>
                </a:cubicBezTo>
                <a:cubicBezTo>
                  <a:pt x="655843" y="3527050"/>
                  <a:pt x="653048" y="3520127"/>
                  <a:pt x="653048" y="3511608"/>
                </a:cubicBezTo>
                <a:cubicBezTo>
                  <a:pt x="653048" y="3503355"/>
                  <a:pt x="655843" y="3496299"/>
                  <a:pt x="661434" y="3490575"/>
                </a:cubicBezTo>
                <a:cubicBezTo>
                  <a:pt x="667025" y="3484717"/>
                  <a:pt x="674214" y="3481923"/>
                  <a:pt x="683265" y="3481923"/>
                </a:cubicBezTo>
                <a:close/>
                <a:moveTo>
                  <a:pt x="465623" y="3481923"/>
                </a:moveTo>
                <a:cubicBezTo>
                  <a:pt x="469883" y="3481923"/>
                  <a:pt x="473743" y="3482721"/>
                  <a:pt x="477338" y="3484451"/>
                </a:cubicBezTo>
                <a:cubicBezTo>
                  <a:pt x="481065" y="3486050"/>
                  <a:pt x="484127" y="3488179"/>
                  <a:pt x="486656" y="3490842"/>
                </a:cubicBezTo>
                <a:cubicBezTo>
                  <a:pt x="489318" y="3493504"/>
                  <a:pt x="491315" y="3496699"/>
                  <a:pt x="492779" y="3500292"/>
                </a:cubicBezTo>
                <a:cubicBezTo>
                  <a:pt x="494243" y="3503887"/>
                  <a:pt x="495042" y="3507614"/>
                  <a:pt x="495042" y="3511741"/>
                </a:cubicBezTo>
                <a:cubicBezTo>
                  <a:pt x="495042" y="3515868"/>
                  <a:pt x="494243" y="3519862"/>
                  <a:pt x="492779" y="3523456"/>
                </a:cubicBezTo>
                <a:cubicBezTo>
                  <a:pt x="491315" y="3527050"/>
                  <a:pt x="489185" y="3530111"/>
                  <a:pt x="486656" y="3532774"/>
                </a:cubicBezTo>
                <a:cubicBezTo>
                  <a:pt x="483993" y="3535437"/>
                  <a:pt x="480932" y="3537566"/>
                  <a:pt x="477338" y="3539030"/>
                </a:cubicBezTo>
                <a:cubicBezTo>
                  <a:pt x="473743" y="3540494"/>
                  <a:pt x="469883" y="3541293"/>
                  <a:pt x="465623" y="3541293"/>
                </a:cubicBezTo>
                <a:cubicBezTo>
                  <a:pt x="456705" y="3541293"/>
                  <a:pt x="449382" y="3538365"/>
                  <a:pt x="443792" y="3532774"/>
                </a:cubicBezTo>
                <a:cubicBezTo>
                  <a:pt x="438201" y="3527050"/>
                  <a:pt x="435406" y="3520127"/>
                  <a:pt x="435406" y="3511608"/>
                </a:cubicBezTo>
                <a:cubicBezTo>
                  <a:pt x="435406" y="3503355"/>
                  <a:pt x="438201" y="3496299"/>
                  <a:pt x="443792" y="3490575"/>
                </a:cubicBezTo>
                <a:cubicBezTo>
                  <a:pt x="449382" y="3484717"/>
                  <a:pt x="456572" y="3481923"/>
                  <a:pt x="465623" y="3481923"/>
                </a:cubicBezTo>
                <a:close/>
                <a:moveTo>
                  <a:pt x="247980" y="3481923"/>
                </a:moveTo>
                <a:cubicBezTo>
                  <a:pt x="252240" y="3481923"/>
                  <a:pt x="256234" y="3482721"/>
                  <a:pt x="259695" y="3484451"/>
                </a:cubicBezTo>
                <a:cubicBezTo>
                  <a:pt x="263422" y="3486050"/>
                  <a:pt x="266484" y="3488179"/>
                  <a:pt x="269013" y="3490842"/>
                </a:cubicBezTo>
                <a:cubicBezTo>
                  <a:pt x="271675" y="3493504"/>
                  <a:pt x="273672" y="3496699"/>
                  <a:pt x="275136" y="3500292"/>
                </a:cubicBezTo>
                <a:cubicBezTo>
                  <a:pt x="276600" y="3503887"/>
                  <a:pt x="277399" y="3507614"/>
                  <a:pt x="277399" y="3511741"/>
                </a:cubicBezTo>
                <a:cubicBezTo>
                  <a:pt x="277399" y="3515868"/>
                  <a:pt x="276600" y="3519862"/>
                  <a:pt x="275136" y="3523456"/>
                </a:cubicBezTo>
                <a:cubicBezTo>
                  <a:pt x="273672" y="3527050"/>
                  <a:pt x="271542" y="3530111"/>
                  <a:pt x="269013" y="3532774"/>
                </a:cubicBezTo>
                <a:cubicBezTo>
                  <a:pt x="266350" y="3535437"/>
                  <a:pt x="263289" y="3537566"/>
                  <a:pt x="259695" y="3539030"/>
                </a:cubicBezTo>
                <a:cubicBezTo>
                  <a:pt x="256100" y="3540494"/>
                  <a:pt x="252240" y="3541293"/>
                  <a:pt x="247980" y="3541293"/>
                </a:cubicBezTo>
                <a:cubicBezTo>
                  <a:pt x="239062" y="3541293"/>
                  <a:pt x="231741" y="3538365"/>
                  <a:pt x="226150" y="3532774"/>
                </a:cubicBezTo>
                <a:cubicBezTo>
                  <a:pt x="220559" y="3527050"/>
                  <a:pt x="217764" y="3520127"/>
                  <a:pt x="217764" y="3511608"/>
                </a:cubicBezTo>
                <a:cubicBezTo>
                  <a:pt x="217764" y="3503355"/>
                  <a:pt x="220559" y="3496299"/>
                  <a:pt x="226150" y="3490575"/>
                </a:cubicBezTo>
                <a:cubicBezTo>
                  <a:pt x="231741" y="3484717"/>
                  <a:pt x="238928" y="3481923"/>
                  <a:pt x="247980" y="3481923"/>
                </a:cubicBezTo>
                <a:close/>
                <a:moveTo>
                  <a:pt x="30337" y="3481923"/>
                </a:moveTo>
                <a:cubicBezTo>
                  <a:pt x="34597" y="3481923"/>
                  <a:pt x="38592" y="3482721"/>
                  <a:pt x="42053" y="3484451"/>
                </a:cubicBezTo>
                <a:cubicBezTo>
                  <a:pt x="45780" y="3486050"/>
                  <a:pt x="48842" y="3488179"/>
                  <a:pt x="51371" y="3490842"/>
                </a:cubicBezTo>
                <a:cubicBezTo>
                  <a:pt x="54033" y="3493504"/>
                  <a:pt x="56030" y="3496699"/>
                  <a:pt x="57494" y="3500292"/>
                </a:cubicBezTo>
                <a:cubicBezTo>
                  <a:pt x="58958" y="3503887"/>
                  <a:pt x="59757" y="3507614"/>
                  <a:pt x="59757" y="3511741"/>
                </a:cubicBezTo>
                <a:cubicBezTo>
                  <a:pt x="59757" y="3515868"/>
                  <a:pt x="58958" y="3519862"/>
                  <a:pt x="57494" y="3523456"/>
                </a:cubicBezTo>
                <a:cubicBezTo>
                  <a:pt x="56030" y="3527050"/>
                  <a:pt x="53900" y="3530111"/>
                  <a:pt x="51371" y="3532774"/>
                </a:cubicBezTo>
                <a:cubicBezTo>
                  <a:pt x="48708" y="3535437"/>
                  <a:pt x="45647" y="3537566"/>
                  <a:pt x="42053" y="3539030"/>
                </a:cubicBezTo>
                <a:cubicBezTo>
                  <a:pt x="38459" y="3540494"/>
                  <a:pt x="34597" y="3541293"/>
                  <a:pt x="30337" y="3541293"/>
                </a:cubicBezTo>
                <a:cubicBezTo>
                  <a:pt x="21419" y="3541293"/>
                  <a:pt x="14098" y="3538365"/>
                  <a:pt x="8508" y="3532774"/>
                </a:cubicBezTo>
                <a:cubicBezTo>
                  <a:pt x="2917" y="3527050"/>
                  <a:pt x="122" y="3520127"/>
                  <a:pt x="122" y="3511608"/>
                </a:cubicBezTo>
                <a:cubicBezTo>
                  <a:pt x="122" y="3503355"/>
                  <a:pt x="2917" y="3496299"/>
                  <a:pt x="8508" y="3490575"/>
                </a:cubicBezTo>
                <a:cubicBezTo>
                  <a:pt x="14098" y="3484717"/>
                  <a:pt x="21285" y="3481923"/>
                  <a:pt x="30337" y="3481923"/>
                </a:cubicBezTo>
                <a:close/>
                <a:moveTo>
                  <a:pt x="10475977" y="3280919"/>
                </a:moveTo>
                <a:cubicBezTo>
                  <a:pt x="10470119" y="3280919"/>
                  <a:pt x="10467589" y="3282914"/>
                  <a:pt x="10465992" y="3284512"/>
                </a:cubicBezTo>
                <a:cubicBezTo>
                  <a:pt x="10463463" y="3287174"/>
                  <a:pt x="10462399" y="3289970"/>
                  <a:pt x="10462399" y="3293962"/>
                </a:cubicBezTo>
                <a:cubicBezTo>
                  <a:pt x="10462399" y="3298090"/>
                  <a:pt x="10463463" y="3300885"/>
                  <a:pt x="10465992" y="3303414"/>
                </a:cubicBezTo>
                <a:cubicBezTo>
                  <a:pt x="10467589" y="3305013"/>
                  <a:pt x="10470119" y="3306875"/>
                  <a:pt x="10475977" y="3306875"/>
                </a:cubicBezTo>
                <a:cubicBezTo>
                  <a:pt x="10478107" y="3306875"/>
                  <a:pt x="10479838" y="3306609"/>
                  <a:pt x="10481302" y="3305943"/>
                </a:cubicBezTo>
                <a:cubicBezTo>
                  <a:pt x="10482899" y="3305411"/>
                  <a:pt x="10484098" y="3304612"/>
                  <a:pt x="10485029" y="3303547"/>
                </a:cubicBezTo>
                <a:cubicBezTo>
                  <a:pt x="10486094" y="3302483"/>
                  <a:pt x="10487026" y="3301018"/>
                  <a:pt x="10487691" y="3299421"/>
                </a:cubicBezTo>
                <a:cubicBezTo>
                  <a:pt x="10488357" y="3297824"/>
                  <a:pt x="10488623" y="3295960"/>
                  <a:pt x="10488623" y="3293962"/>
                </a:cubicBezTo>
                <a:cubicBezTo>
                  <a:pt x="10488623" y="3292100"/>
                  <a:pt x="10488357" y="3290369"/>
                  <a:pt x="10487691" y="3288772"/>
                </a:cubicBezTo>
                <a:cubicBezTo>
                  <a:pt x="10487026" y="3287040"/>
                  <a:pt x="10486094" y="3285709"/>
                  <a:pt x="10485029" y="3284512"/>
                </a:cubicBezTo>
                <a:cubicBezTo>
                  <a:pt x="10483964" y="3283446"/>
                  <a:pt x="10482633" y="3282514"/>
                  <a:pt x="10481035" y="3281849"/>
                </a:cubicBezTo>
                <a:cubicBezTo>
                  <a:pt x="10479571" y="3281184"/>
                  <a:pt x="10477974" y="3280919"/>
                  <a:pt x="10475977" y="3280919"/>
                </a:cubicBezTo>
                <a:close/>
                <a:moveTo>
                  <a:pt x="10258466" y="3280919"/>
                </a:moveTo>
                <a:cubicBezTo>
                  <a:pt x="10252608" y="3280919"/>
                  <a:pt x="10250078" y="3282914"/>
                  <a:pt x="10248481" y="3284512"/>
                </a:cubicBezTo>
                <a:cubicBezTo>
                  <a:pt x="10245952" y="3287174"/>
                  <a:pt x="10244887" y="3289970"/>
                  <a:pt x="10244887" y="3293962"/>
                </a:cubicBezTo>
                <a:cubicBezTo>
                  <a:pt x="10244887" y="3298090"/>
                  <a:pt x="10245952" y="3300885"/>
                  <a:pt x="10248481" y="3303414"/>
                </a:cubicBezTo>
                <a:cubicBezTo>
                  <a:pt x="10250078" y="3305013"/>
                  <a:pt x="10252608" y="3306875"/>
                  <a:pt x="10258466" y="3306875"/>
                </a:cubicBezTo>
                <a:cubicBezTo>
                  <a:pt x="10260462" y="3306875"/>
                  <a:pt x="10262192" y="3306609"/>
                  <a:pt x="10263790" y="3305943"/>
                </a:cubicBezTo>
                <a:cubicBezTo>
                  <a:pt x="10265388" y="3305411"/>
                  <a:pt x="10266586" y="3304612"/>
                  <a:pt x="10267517" y="3303547"/>
                </a:cubicBezTo>
                <a:cubicBezTo>
                  <a:pt x="10268583" y="3302483"/>
                  <a:pt x="10269515" y="3301018"/>
                  <a:pt x="10270180" y="3299421"/>
                </a:cubicBezTo>
                <a:cubicBezTo>
                  <a:pt x="10270845" y="3297824"/>
                  <a:pt x="10271112" y="3295960"/>
                  <a:pt x="10271112" y="3293962"/>
                </a:cubicBezTo>
                <a:cubicBezTo>
                  <a:pt x="10271112" y="3292100"/>
                  <a:pt x="10270845" y="3290369"/>
                  <a:pt x="10270180" y="3288772"/>
                </a:cubicBezTo>
                <a:cubicBezTo>
                  <a:pt x="10269515" y="3287040"/>
                  <a:pt x="10268583" y="3285709"/>
                  <a:pt x="10267517" y="3284512"/>
                </a:cubicBezTo>
                <a:cubicBezTo>
                  <a:pt x="10266452" y="3283446"/>
                  <a:pt x="10265121" y="3282514"/>
                  <a:pt x="10263524" y="3281849"/>
                </a:cubicBezTo>
                <a:cubicBezTo>
                  <a:pt x="10262060" y="3281184"/>
                  <a:pt x="10260462" y="3280919"/>
                  <a:pt x="10258466" y="3280919"/>
                </a:cubicBezTo>
                <a:close/>
                <a:moveTo>
                  <a:pt x="10040820" y="3280919"/>
                </a:moveTo>
                <a:cubicBezTo>
                  <a:pt x="10034962" y="3280919"/>
                  <a:pt x="10032433" y="3282914"/>
                  <a:pt x="10030835" y="3284512"/>
                </a:cubicBezTo>
                <a:cubicBezTo>
                  <a:pt x="10028306" y="3287174"/>
                  <a:pt x="10027242" y="3289970"/>
                  <a:pt x="10027242" y="3293962"/>
                </a:cubicBezTo>
                <a:cubicBezTo>
                  <a:pt x="10027242" y="3298090"/>
                  <a:pt x="10028306" y="3300885"/>
                  <a:pt x="10030835" y="3303414"/>
                </a:cubicBezTo>
                <a:cubicBezTo>
                  <a:pt x="10032433" y="3305013"/>
                  <a:pt x="10034962" y="3306875"/>
                  <a:pt x="10040820" y="3306875"/>
                </a:cubicBezTo>
                <a:cubicBezTo>
                  <a:pt x="10042817" y="3306875"/>
                  <a:pt x="10044681" y="3306609"/>
                  <a:pt x="10046145" y="3305943"/>
                </a:cubicBezTo>
                <a:cubicBezTo>
                  <a:pt x="10047742" y="3305411"/>
                  <a:pt x="10048941" y="3304612"/>
                  <a:pt x="10049872" y="3303547"/>
                </a:cubicBezTo>
                <a:cubicBezTo>
                  <a:pt x="10050937" y="3302483"/>
                  <a:pt x="10051869" y="3301018"/>
                  <a:pt x="10052534" y="3299421"/>
                </a:cubicBezTo>
                <a:cubicBezTo>
                  <a:pt x="10053333" y="3297824"/>
                  <a:pt x="10053599" y="3295960"/>
                  <a:pt x="10053599" y="3293962"/>
                </a:cubicBezTo>
                <a:cubicBezTo>
                  <a:pt x="10053599" y="3292100"/>
                  <a:pt x="10053200" y="3290369"/>
                  <a:pt x="10052534" y="3288772"/>
                </a:cubicBezTo>
                <a:cubicBezTo>
                  <a:pt x="10051869" y="3287040"/>
                  <a:pt x="10050937" y="3285709"/>
                  <a:pt x="10049872" y="3284512"/>
                </a:cubicBezTo>
                <a:cubicBezTo>
                  <a:pt x="10048807" y="3283446"/>
                  <a:pt x="10047476" y="3282514"/>
                  <a:pt x="10045878" y="3281849"/>
                </a:cubicBezTo>
                <a:cubicBezTo>
                  <a:pt x="10044414" y="3281184"/>
                  <a:pt x="10042817" y="3280919"/>
                  <a:pt x="10040820" y="3280919"/>
                </a:cubicBezTo>
                <a:close/>
                <a:moveTo>
                  <a:pt x="9823176" y="3280919"/>
                </a:moveTo>
                <a:cubicBezTo>
                  <a:pt x="9817318" y="3280919"/>
                  <a:pt x="9814788" y="3282914"/>
                  <a:pt x="9813191" y="3284512"/>
                </a:cubicBezTo>
                <a:cubicBezTo>
                  <a:pt x="9810662" y="3287174"/>
                  <a:pt x="9809597" y="3289970"/>
                  <a:pt x="9809597" y="3293962"/>
                </a:cubicBezTo>
                <a:cubicBezTo>
                  <a:pt x="9809597" y="3298090"/>
                  <a:pt x="9810662" y="3300885"/>
                  <a:pt x="9813191" y="3303414"/>
                </a:cubicBezTo>
                <a:cubicBezTo>
                  <a:pt x="9814788" y="3305013"/>
                  <a:pt x="9817318" y="3306875"/>
                  <a:pt x="9823176" y="3306875"/>
                </a:cubicBezTo>
                <a:cubicBezTo>
                  <a:pt x="9825173" y="3306875"/>
                  <a:pt x="9827036" y="3306609"/>
                  <a:pt x="9828501" y="3305943"/>
                </a:cubicBezTo>
                <a:cubicBezTo>
                  <a:pt x="9830098" y="3305411"/>
                  <a:pt x="9831296" y="3304612"/>
                  <a:pt x="9832227" y="3303547"/>
                </a:cubicBezTo>
                <a:cubicBezTo>
                  <a:pt x="9833293" y="3302483"/>
                  <a:pt x="9834225" y="3301018"/>
                  <a:pt x="9834890" y="3299421"/>
                </a:cubicBezTo>
                <a:cubicBezTo>
                  <a:pt x="9835689" y="3297824"/>
                  <a:pt x="9835955" y="3295960"/>
                  <a:pt x="9835955" y="3293962"/>
                </a:cubicBezTo>
                <a:cubicBezTo>
                  <a:pt x="9835955" y="3292100"/>
                  <a:pt x="9835555" y="3290369"/>
                  <a:pt x="9834890" y="3288772"/>
                </a:cubicBezTo>
                <a:cubicBezTo>
                  <a:pt x="9834225" y="3287040"/>
                  <a:pt x="9833293" y="3285709"/>
                  <a:pt x="9832227" y="3284512"/>
                </a:cubicBezTo>
                <a:cubicBezTo>
                  <a:pt x="9831162" y="3283446"/>
                  <a:pt x="9829831" y="3282514"/>
                  <a:pt x="9828234" y="3281849"/>
                </a:cubicBezTo>
                <a:cubicBezTo>
                  <a:pt x="9826770" y="3281184"/>
                  <a:pt x="9825173" y="3280919"/>
                  <a:pt x="9823176" y="3280919"/>
                </a:cubicBezTo>
                <a:close/>
                <a:moveTo>
                  <a:pt x="9605531" y="3280919"/>
                </a:moveTo>
                <a:cubicBezTo>
                  <a:pt x="9599673" y="3280919"/>
                  <a:pt x="9597143" y="3282914"/>
                  <a:pt x="9595546" y="3284512"/>
                </a:cubicBezTo>
                <a:cubicBezTo>
                  <a:pt x="9593017" y="3287174"/>
                  <a:pt x="9591952" y="3289970"/>
                  <a:pt x="9591952" y="3293962"/>
                </a:cubicBezTo>
                <a:cubicBezTo>
                  <a:pt x="9591952" y="3298090"/>
                  <a:pt x="9593017" y="3300885"/>
                  <a:pt x="9595546" y="3303414"/>
                </a:cubicBezTo>
                <a:cubicBezTo>
                  <a:pt x="9597143" y="3305013"/>
                  <a:pt x="9599673" y="3306875"/>
                  <a:pt x="9605531" y="3306875"/>
                </a:cubicBezTo>
                <a:cubicBezTo>
                  <a:pt x="9607660" y="3306875"/>
                  <a:pt x="9609391" y="3306609"/>
                  <a:pt x="9610855" y="3305943"/>
                </a:cubicBezTo>
                <a:cubicBezTo>
                  <a:pt x="9612319" y="3305411"/>
                  <a:pt x="9613651" y="3304612"/>
                  <a:pt x="9614582" y="3303547"/>
                </a:cubicBezTo>
                <a:cubicBezTo>
                  <a:pt x="9615647" y="3302483"/>
                  <a:pt x="9616579" y="3301018"/>
                  <a:pt x="9617245" y="3299421"/>
                </a:cubicBezTo>
                <a:cubicBezTo>
                  <a:pt x="9618044" y="3297824"/>
                  <a:pt x="9618309" y="3295960"/>
                  <a:pt x="9618309" y="3293962"/>
                </a:cubicBezTo>
                <a:cubicBezTo>
                  <a:pt x="9618309" y="3292100"/>
                  <a:pt x="9617910" y="3290369"/>
                  <a:pt x="9617245" y="3288772"/>
                </a:cubicBezTo>
                <a:cubicBezTo>
                  <a:pt x="9616579" y="3287040"/>
                  <a:pt x="9615647" y="3285709"/>
                  <a:pt x="9614582" y="3284512"/>
                </a:cubicBezTo>
                <a:cubicBezTo>
                  <a:pt x="9613517" y="3283446"/>
                  <a:pt x="9612186" y="3282514"/>
                  <a:pt x="9610589" y="3281849"/>
                </a:cubicBezTo>
                <a:cubicBezTo>
                  <a:pt x="9609124" y="3281184"/>
                  <a:pt x="9607394" y="3280919"/>
                  <a:pt x="9605531" y="3280919"/>
                </a:cubicBezTo>
                <a:close/>
                <a:moveTo>
                  <a:pt x="9387885" y="3280919"/>
                </a:moveTo>
                <a:cubicBezTo>
                  <a:pt x="9382027" y="3280919"/>
                  <a:pt x="9379497" y="3282914"/>
                  <a:pt x="9377900" y="3284512"/>
                </a:cubicBezTo>
                <a:cubicBezTo>
                  <a:pt x="9375371" y="3287174"/>
                  <a:pt x="9374307" y="3289970"/>
                  <a:pt x="9374307" y="3293962"/>
                </a:cubicBezTo>
                <a:cubicBezTo>
                  <a:pt x="9374307" y="3298090"/>
                  <a:pt x="9375371" y="3300885"/>
                  <a:pt x="9377900" y="3303414"/>
                </a:cubicBezTo>
                <a:cubicBezTo>
                  <a:pt x="9379497" y="3305013"/>
                  <a:pt x="9382027" y="3306875"/>
                  <a:pt x="9387885" y="3306875"/>
                </a:cubicBezTo>
                <a:cubicBezTo>
                  <a:pt x="9390015" y="3306875"/>
                  <a:pt x="9391746" y="3306609"/>
                  <a:pt x="9393210" y="3305943"/>
                </a:cubicBezTo>
                <a:cubicBezTo>
                  <a:pt x="9394674" y="3305411"/>
                  <a:pt x="9396005" y="3304612"/>
                  <a:pt x="9396937" y="3303547"/>
                </a:cubicBezTo>
                <a:cubicBezTo>
                  <a:pt x="9398002" y="3302483"/>
                  <a:pt x="9398934" y="3301018"/>
                  <a:pt x="9399599" y="3299421"/>
                </a:cubicBezTo>
                <a:cubicBezTo>
                  <a:pt x="9400398" y="3297824"/>
                  <a:pt x="9400664" y="3295960"/>
                  <a:pt x="9400664" y="3293962"/>
                </a:cubicBezTo>
                <a:cubicBezTo>
                  <a:pt x="9400664" y="3292100"/>
                  <a:pt x="9400265" y="3290369"/>
                  <a:pt x="9399599" y="3288772"/>
                </a:cubicBezTo>
                <a:cubicBezTo>
                  <a:pt x="9398934" y="3287040"/>
                  <a:pt x="9398002" y="3285709"/>
                  <a:pt x="9396937" y="3284512"/>
                </a:cubicBezTo>
                <a:cubicBezTo>
                  <a:pt x="9395872" y="3283446"/>
                  <a:pt x="9394541" y="3282514"/>
                  <a:pt x="9392943" y="3281849"/>
                </a:cubicBezTo>
                <a:cubicBezTo>
                  <a:pt x="9391479" y="3281184"/>
                  <a:pt x="9389749" y="3280919"/>
                  <a:pt x="9387885" y="3280919"/>
                </a:cubicBezTo>
                <a:close/>
                <a:moveTo>
                  <a:pt x="9170374" y="3280919"/>
                </a:moveTo>
                <a:cubicBezTo>
                  <a:pt x="9164649" y="3280919"/>
                  <a:pt x="9161986" y="3282914"/>
                  <a:pt x="9160389" y="3284512"/>
                </a:cubicBezTo>
                <a:cubicBezTo>
                  <a:pt x="9157860" y="3287174"/>
                  <a:pt x="9156795" y="3289970"/>
                  <a:pt x="9156795" y="3293962"/>
                </a:cubicBezTo>
                <a:cubicBezTo>
                  <a:pt x="9156795" y="3298090"/>
                  <a:pt x="9157860" y="3300885"/>
                  <a:pt x="9160389" y="3303414"/>
                </a:cubicBezTo>
                <a:cubicBezTo>
                  <a:pt x="9161986" y="3305013"/>
                  <a:pt x="9164516" y="3306875"/>
                  <a:pt x="9170374" y="3306875"/>
                </a:cubicBezTo>
                <a:cubicBezTo>
                  <a:pt x="9172370" y="3306875"/>
                  <a:pt x="9174100" y="3306609"/>
                  <a:pt x="9175698" y="3305943"/>
                </a:cubicBezTo>
                <a:cubicBezTo>
                  <a:pt x="9177163" y="3305411"/>
                  <a:pt x="9178494" y="3304612"/>
                  <a:pt x="9179425" y="3303547"/>
                </a:cubicBezTo>
                <a:cubicBezTo>
                  <a:pt x="9180491" y="3302483"/>
                  <a:pt x="9181422" y="3301018"/>
                  <a:pt x="9182088" y="3299421"/>
                </a:cubicBezTo>
                <a:cubicBezTo>
                  <a:pt x="9182887" y="3297824"/>
                  <a:pt x="9183152" y="3295960"/>
                  <a:pt x="9183152" y="3293962"/>
                </a:cubicBezTo>
                <a:cubicBezTo>
                  <a:pt x="9183152" y="3292100"/>
                  <a:pt x="9182753" y="3290369"/>
                  <a:pt x="9182088" y="3288772"/>
                </a:cubicBezTo>
                <a:cubicBezTo>
                  <a:pt x="9181422" y="3287040"/>
                  <a:pt x="9180491" y="3285709"/>
                  <a:pt x="9179425" y="3284512"/>
                </a:cubicBezTo>
                <a:cubicBezTo>
                  <a:pt x="9178360" y="3283446"/>
                  <a:pt x="9177029" y="3282514"/>
                  <a:pt x="9175432" y="3281849"/>
                </a:cubicBezTo>
                <a:cubicBezTo>
                  <a:pt x="9173967" y="3281184"/>
                  <a:pt x="9172237" y="3280919"/>
                  <a:pt x="9170374" y="3280919"/>
                </a:cubicBezTo>
                <a:close/>
                <a:moveTo>
                  <a:pt x="8952728" y="3280919"/>
                </a:moveTo>
                <a:cubicBezTo>
                  <a:pt x="8947003" y="3280919"/>
                  <a:pt x="8944340" y="3282914"/>
                  <a:pt x="8942743" y="3284512"/>
                </a:cubicBezTo>
                <a:cubicBezTo>
                  <a:pt x="8940214" y="3287174"/>
                  <a:pt x="8939150" y="3289970"/>
                  <a:pt x="8939150" y="3293962"/>
                </a:cubicBezTo>
                <a:cubicBezTo>
                  <a:pt x="8939150" y="3298090"/>
                  <a:pt x="8940214" y="3300885"/>
                  <a:pt x="8942743" y="3303414"/>
                </a:cubicBezTo>
                <a:cubicBezTo>
                  <a:pt x="8944340" y="3305013"/>
                  <a:pt x="8946870" y="3306875"/>
                  <a:pt x="8952728" y="3306875"/>
                </a:cubicBezTo>
                <a:cubicBezTo>
                  <a:pt x="8954725" y="3306875"/>
                  <a:pt x="8956589" y="3306609"/>
                  <a:pt x="8958053" y="3305943"/>
                </a:cubicBezTo>
                <a:cubicBezTo>
                  <a:pt x="8959517" y="3305411"/>
                  <a:pt x="8960849" y="3304612"/>
                  <a:pt x="8961780" y="3303547"/>
                </a:cubicBezTo>
                <a:cubicBezTo>
                  <a:pt x="8962845" y="3302483"/>
                  <a:pt x="8963777" y="3301018"/>
                  <a:pt x="8964442" y="3299421"/>
                </a:cubicBezTo>
                <a:cubicBezTo>
                  <a:pt x="8965241" y="3297824"/>
                  <a:pt x="8965507" y="3295960"/>
                  <a:pt x="8965507" y="3293962"/>
                </a:cubicBezTo>
                <a:cubicBezTo>
                  <a:pt x="8965507" y="3292100"/>
                  <a:pt x="8965108" y="3290369"/>
                  <a:pt x="8964442" y="3288772"/>
                </a:cubicBezTo>
                <a:cubicBezTo>
                  <a:pt x="8963777" y="3287040"/>
                  <a:pt x="8962845" y="3285709"/>
                  <a:pt x="8961780" y="3284512"/>
                </a:cubicBezTo>
                <a:cubicBezTo>
                  <a:pt x="8960715" y="3283446"/>
                  <a:pt x="8959384" y="3282514"/>
                  <a:pt x="8957786" y="3281849"/>
                </a:cubicBezTo>
                <a:cubicBezTo>
                  <a:pt x="8956322" y="3281184"/>
                  <a:pt x="8954592" y="3280919"/>
                  <a:pt x="8952728" y="3280919"/>
                </a:cubicBezTo>
                <a:close/>
                <a:moveTo>
                  <a:pt x="8735083" y="3280919"/>
                </a:moveTo>
                <a:cubicBezTo>
                  <a:pt x="8729358" y="3280919"/>
                  <a:pt x="8726695" y="3282914"/>
                  <a:pt x="8725098" y="3284512"/>
                </a:cubicBezTo>
                <a:cubicBezTo>
                  <a:pt x="8722569" y="3287174"/>
                  <a:pt x="8721504" y="3289970"/>
                  <a:pt x="8721504" y="3293962"/>
                </a:cubicBezTo>
                <a:cubicBezTo>
                  <a:pt x="8721504" y="3298090"/>
                  <a:pt x="8722569" y="3300885"/>
                  <a:pt x="8725098" y="3303414"/>
                </a:cubicBezTo>
                <a:cubicBezTo>
                  <a:pt x="8726695" y="3305013"/>
                  <a:pt x="8729225" y="3306875"/>
                  <a:pt x="8735083" y="3306875"/>
                </a:cubicBezTo>
                <a:cubicBezTo>
                  <a:pt x="8737079" y="3306875"/>
                  <a:pt x="8738943" y="3306609"/>
                  <a:pt x="8740407" y="3305943"/>
                </a:cubicBezTo>
                <a:cubicBezTo>
                  <a:pt x="8741872" y="3305411"/>
                  <a:pt x="8743203" y="3304612"/>
                  <a:pt x="8744134" y="3303547"/>
                </a:cubicBezTo>
                <a:cubicBezTo>
                  <a:pt x="8745200" y="3302483"/>
                  <a:pt x="8746132" y="3301018"/>
                  <a:pt x="8746797" y="3299421"/>
                </a:cubicBezTo>
                <a:cubicBezTo>
                  <a:pt x="8747596" y="3297824"/>
                  <a:pt x="8747862" y="3295960"/>
                  <a:pt x="8747862" y="3293962"/>
                </a:cubicBezTo>
                <a:cubicBezTo>
                  <a:pt x="8747862" y="3292100"/>
                  <a:pt x="8747462" y="3290369"/>
                  <a:pt x="8746797" y="3288772"/>
                </a:cubicBezTo>
                <a:cubicBezTo>
                  <a:pt x="8746132" y="3287040"/>
                  <a:pt x="8745200" y="3285709"/>
                  <a:pt x="8744134" y="3284512"/>
                </a:cubicBezTo>
                <a:cubicBezTo>
                  <a:pt x="8743069" y="3283446"/>
                  <a:pt x="8741738" y="3282514"/>
                  <a:pt x="8740141" y="3281849"/>
                </a:cubicBezTo>
                <a:cubicBezTo>
                  <a:pt x="8738677" y="3281184"/>
                  <a:pt x="8736946" y="3280919"/>
                  <a:pt x="8735083" y="3280919"/>
                </a:cubicBezTo>
                <a:close/>
                <a:moveTo>
                  <a:pt x="8517438" y="3280919"/>
                </a:moveTo>
                <a:cubicBezTo>
                  <a:pt x="8511713" y="3280919"/>
                  <a:pt x="8509051" y="3282914"/>
                  <a:pt x="8507453" y="3284512"/>
                </a:cubicBezTo>
                <a:cubicBezTo>
                  <a:pt x="8504925" y="3287174"/>
                  <a:pt x="8503860" y="3289970"/>
                  <a:pt x="8503860" y="3293962"/>
                </a:cubicBezTo>
                <a:cubicBezTo>
                  <a:pt x="8503860" y="3298090"/>
                  <a:pt x="8504925" y="3300885"/>
                  <a:pt x="8507453" y="3303414"/>
                </a:cubicBezTo>
                <a:cubicBezTo>
                  <a:pt x="8509051" y="3305013"/>
                  <a:pt x="8511581" y="3306875"/>
                  <a:pt x="8517438" y="3306875"/>
                </a:cubicBezTo>
                <a:cubicBezTo>
                  <a:pt x="8519568" y="3306875"/>
                  <a:pt x="8521299" y="3306609"/>
                  <a:pt x="8522763" y="3305943"/>
                </a:cubicBezTo>
                <a:cubicBezTo>
                  <a:pt x="8524227" y="3305411"/>
                  <a:pt x="8525559" y="3304612"/>
                  <a:pt x="8526490" y="3303547"/>
                </a:cubicBezTo>
                <a:cubicBezTo>
                  <a:pt x="8527555" y="3302483"/>
                  <a:pt x="8528487" y="3301018"/>
                  <a:pt x="8529152" y="3299421"/>
                </a:cubicBezTo>
                <a:cubicBezTo>
                  <a:pt x="8529818" y="3297824"/>
                  <a:pt x="8530084" y="3295960"/>
                  <a:pt x="8530084" y="3293962"/>
                </a:cubicBezTo>
                <a:cubicBezTo>
                  <a:pt x="8530084" y="3292100"/>
                  <a:pt x="8529818" y="3290369"/>
                  <a:pt x="8529152" y="3288772"/>
                </a:cubicBezTo>
                <a:cubicBezTo>
                  <a:pt x="8528487" y="3287040"/>
                  <a:pt x="8527555" y="3285709"/>
                  <a:pt x="8526490" y="3284512"/>
                </a:cubicBezTo>
                <a:cubicBezTo>
                  <a:pt x="8525425" y="3283446"/>
                  <a:pt x="8524094" y="3282514"/>
                  <a:pt x="8522496" y="3281849"/>
                </a:cubicBezTo>
                <a:cubicBezTo>
                  <a:pt x="8521032" y="3281184"/>
                  <a:pt x="8519302" y="3280919"/>
                  <a:pt x="8517438" y="3280919"/>
                </a:cubicBezTo>
                <a:close/>
                <a:moveTo>
                  <a:pt x="8299793" y="3280919"/>
                </a:moveTo>
                <a:cubicBezTo>
                  <a:pt x="8294068" y="3280919"/>
                  <a:pt x="8291406" y="3282914"/>
                  <a:pt x="8289809" y="3284512"/>
                </a:cubicBezTo>
                <a:cubicBezTo>
                  <a:pt x="8287280" y="3287174"/>
                  <a:pt x="8286215" y="3289970"/>
                  <a:pt x="8286215" y="3293962"/>
                </a:cubicBezTo>
                <a:cubicBezTo>
                  <a:pt x="8286215" y="3298090"/>
                  <a:pt x="8287280" y="3300885"/>
                  <a:pt x="8289809" y="3303414"/>
                </a:cubicBezTo>
                <a:cubicBezTo>
                  <a:pt x="8291406" y="3305013"/>
                  <a:pt x="8293935" y="3306875"/>
                  <a:pt x="8299793" y="3306875"/>
                </a:cubicBezTo>
                <a:cubicBezTo>
                  <a:pt x="8301923" y="3306875"/>
                  <a:pt x="8303653" y="3306609"/>
                  <a:pt x="8305118" y="3305943"/>
                </a:cubicBezTo>
                <a:cubicBezTo>
                  <a:pt x="8306582" y="3305411"/>
                  <a:pt x="8307913" y="3304612"/>
                  <a:pt x="8308844" y="3303547"/>
                </a:cubicBezTo>
                <a:cubicBezTo>
                  <a:pt x="8309910" y="3302483"/>
                  <a:pt x="8310842" y="3301018"/>
                  <a:pt x="8311507" y="3299421"/>
                </a:cubicBezTo>
                <a:cubicBezTo>
                  <a:pt x="8312172" y="3297824"/>
                  <a:pt x="8312439" y="3295960"/>
                  <a:pt x="8312439" y="3293962"/>
                </a:cubicBezTo>
                <a:cubicBezTo>
                  <a:pt x="8312439" y="3292100"/>
                  <a:pt x="8312172" y="3290369"/>
                  <a:pt x="8311507" y="3288772"/>
                </a:cubicBezTo>
                <a:cubicBezTo>
                  <a:pt x="8310842" y="3287040"/>
                  <a:pt x="8309910" y="3285709"/>
                  <a:pt x="8308844" y="3284512"/>
                </a:cubicBezTo>
                <a:cubicBezTo>
                  <a:pt x="8307779" y="3283446"/>
                  <a:pt x="8306448" y="3282514"/>
                  <a:pt x="8304851" y="3281849"/>
                </a:cubicBezTo>
                <a:cubicBezTo>
                  <a:pt x="8303387" y="3281184"/>
                  <a:pt x="8301790" y="3280919"/>
                  <a:pt x="8299793" y="3280919"/>
                </a:cubicBezTo>
                <a:close/>
                <a:moveTo>
                  <a:pt x="8082281" y="3280919"/>
                </a:moveTo>
                <a:cubicBezTo>
                  <a:pt x="8076424" y="3280919"/>
                  <a:pt x="8073894" y="3282914"/>
                  <a:pt x="8072297" y="3284512"/>
                </a:cubicBezTo>
                <a:cubicBezTo>
                  <a:pt x="8069768" y="3287174"/>
                  <a:pt x="8068703" y="3289970"/>
                  <a:pt x="8068703" y="3293962"/>
                </a:cubicBezTo>
                <a:cubicBezTo>
                  <a:pt x="8068703" y="3298090"/>
                  <a:pt x="8069768" y="3300885"/>
                  <a:pt x="8072297" y="3303414"/>
                </a:cubicBezTo>
                <a:cubicBezTo>
                  <a:pt x="8073894" y="3305013"/>
                  <a:pt x="8076424" y="3306875"/>
                  <a:pt x="8082281" y="3306875"/>
                </a:cubicBezTo>
                <a:cubicBezTo>
                  <a:pt x="8084277" y="3306875"/>
                  <a:pt x="8086007" y="3306609"/>
                  <a:pt x="8087605" y="3305943"/>
                </a:cubicBezTo>
                <a:cubicBezTo>
                  <a:pt x="8089069" y="3305411"/>
                  <a:pt x="8090401" y="3304612"/>
                  <a:pt x="8091332" y="3303547"/>
                </a:cubicBezTo>
                <a:cubicBezTo>
                  <a:pt x="8092397" y="3302483"/>
                  <a:pt x="8093329" y="3301018"/>
                  <a:pt x="8093994" y="3299421"/>
                </a:cubicBezTo>
                <a:cubicBezTo>
                  <a:pt x="8094660" y="3297824"/>
                  <a:pt x="8094926" y="3295960"/>
                  <a:pt x="8094926" y="3293962"/>
                </a:cubicBezTo>
                <a:cubicBezTo>
                  <a:pt x="8094926" y="3292100"/>
                  <a:pt x="8094660" y="3290369"/>
                  <a:pt x="8093994" y="3288772"/>
                </a:cubicBezTo>
                <a:cubicBezTo>
                  <a:pt x="8093329" y="3287040"/>
                  <a:pt x="8092397" y="3285709"/>
                  <a:pt x="8091332" y="3284512"/>
                </a:cubicBezTo>
                <a:cubicBezTo>
                  <a:pt x="8090267" y="3283446"/>
                  <a:pt x="8088936" y="3282514"/>
                  <a:pt x="8087338" y="3281849"/>
                </a:cubicBezTo>
                <a:cubicBezTo>
                  <a:pt x="8085874" y="3281184"/>
                  <a:pt x="8084277" y="3280919"/>
                  <a:pt x="8082281" y="3280919"/>
                </a:cubicBezTo>
                <a:close/>
                <a:moveTo>
                  <a:pt x="7864636" y="3280919"/>
                </a:moveTo>
                <a:cubicBezTo>
                  <a:pt x="7858779" y="3280919"/>
                  <a:pt x="7856249" y="3282914"/>
                  <a:pt x="7854652" y="3284512"/>
                </a:cubicBezTo>
                <a:cubicBezTo>
                  <a:pt x="7852123" y="3287174"/>
                  <a:pt x="7851058" y="3289970"/>
                  <a:pt x="7851058" y="3293962"/>
                </a:cubicBezTo>
                <a:cubicBezTo>
                  <a:pt x="7851058" y="3298090"/>
                  <a:pt x="7852123" y="3300885"/>
                  <a:pt x="7854652" y="3303414"/>
                </a:cubicBezTo>
                <a:cubicBezTo>
                  <a:pt x="7856249" y="3305013"/>
                  <a:pt x="7858779" y="3306875"/>
                  <a:pt x="7864636" y="3306875"/>
                </a:cubicBezTo>
                <a:cubicBezTo>
                  <a:pt x="7866633" y="3306875"/>
                  <a:pt x="7868363" y="3306609"/>
                  <a:pt x="7869961" y="3305943"/>
                </a:cubicBezTo>
                <a:cubicBezTo>
                  <a:pt x="7871425" y="3305411"/>
                  <a:pt x="7872756" y="3304612"/>
                  <a:pt x="7873687" y="3303547"/>
                </a:cubicBezTo>
                <a:cubicBezTo>
                  <a:pt x="7874753" y="3302483"/>
                  <a:pt x="7875685" y="3301018"/>
                  <a:pt x="7876350" y="3299421"/>
                </a:cubicBezTo>
                <a:cubicBezTo>
                  <a:pt x="7877015" y="3297824"/>
                  <a:pt x="7877282" y="3295960"/>
                  <a:pt x="7877282" y="3293962"/>
                </a:cubicBezTo>
                <a:cubicBezTo>
                  <a:pt x="7877282" y="3292100"/>
                  <a:pt x="7877015" y="3290369"/>
                  <a:pt x="7876350" y="3288772"/>
                </a:cubicBezTo>
                <a:cubicBezTo>
                  <a:pt x="7875685" y="3287040"/>
                  <a:pt x="7874753" y="3285709"/>
                  <a:pt x="7873687" y="3284512"/>
                </a:cubicBezTo>
                <a:cubicBezTo>
                  <a:pt x="7872623" y="3283446"/>
                  <a:pt x="7871291" y="3282514"/>
                  <a:pt x="7869694" y="3281849"/>
                </a:cubicBezTo>
                <a:cubicBezTo>
                  <a:pt x="7868230" y="3281184"/>
                  <a:pt x="7866633" y="3280919"/>
                  <a:pt x="7864636" y="3280919"/>
                </a:cubicBezTo>
                <a:close/>
                <a:moveTo>
                  <a:pt x="7646991" y="3280919"/>
                </a:moveTo>
                <a:cubicBezTo>
                  <a:pt x="7641134" y="3280919"/>
                  <a:pt x="7638604" y="3282914"/>
                  <a:pt x="7637007" y="3284512"/>
                </a:cubicBezTo>
                <a:cubicBezTo>
                  <a:pt x="7634478" y="3287174"/>
                  <a:pt x="7633413" y="3289970"/>
                  <a:pt x="7633413" y="3293962"/>
                </a:cubicBezTo>
                <a:cubicBezTo>
                  <a:pt x="7633413" y="3298090"/>
                  <a:pt x="7634478" y="3300885"/>
                  <a:pt x="7637007" y="3303414"/>
                </a:cubicBezTo>
                <a:cubicBezTo>
                  <a:pt x="7638604" y="3305013"/>
                  <a:pt x="7641134" y="3306875"/>
                  <a:pt x="7646991" y="3306875"/>
                </a:cubicBezTo>
                <a:cubicBezTo>
                  <a:pt x="7648987" y="3306875"/>
                  <a:pt x="7650851" y="3306609"/>
                  <a:pt x="7652315" y="3305943"/>
                </a:cubicBezTo>
                <a:cubicBezTo>
                  <a:pt x="7653780" y="3305411"/>
                  <a:pt x="7655111" y="3304612"/>
                  <a:pt x="7656042" y="3303547"/>
                </a:cubicBezTo>
                <a:cubicBezTo>
                  <a:pt x="7657108" y="3302483"/>
                  <a:pt x="7658039" y="3301018"/>
                  <a:pt x="7658705" y="3299421"/>
                </a:cubicBezTo>
                <a:cubicBezTo>
                  <a:pt x="7659504" y="3297824"/>
                  <a:pt x="7659769" y="3295960"/>
                  <a:pt x="7659769" y="3293962"/>
                </a:cubicBezTo>
                <a:cubicBezTo>
                  <a:pt x="7659769" y="3292100"/>
                  <a:pt x="7659370" y="3290369"/>
                  <a:pt x="7658705" y="3288772"/>
                </a:cubicBezTo>
                <a:cubicBezTo>
                  <a:pt x="7658039" y="3287040"/>
                  <a:pt x="7657108" y="3285709"/>
                  <a:pt x="7656042" y="3284512"/>
                </a:cubicBezTo>
                <a:cubicBezTo>
                  <a:pt x="7654977" y="3283446"/>
                  <a:pt x="7653646" y="3282514"/>
                  <a:pt x="7652049" y="3281849"/>
                </a:cubicBezTo>
                <a:cubicBezTo>
                  <a:pt x="7650584" y="3281184"/>
                  <a:pt x="7648987" y="3280919"/>
                  <a:pt x="7646991" y="3280919"/>
                </a:cubicBezTo>
                <a:close/>
                <a:moveTo>
                  <a:pt x="7429345" y="3280919"/>
                </a:moveTo>
                <a:cubicBezTo>
                  <a:pt x="7423488" y="3280919"/>
                  <a:pt x="7420958" y="3282914"/>
                  <a:pt x="7419361" y="3284512"/>
                </a:cubicBezTo>
                <a:cubicBezTo>
                  <a:pt x="7416832" y="3287174"/>
                  <a:pt x="7415768" y="3289970"/>
                  <a:pt x="7415768" y="3293962"/>
                </a:cubicBezTo>
                <a:cubicBezTo>
                  <a:pt x="7415768" y="3298090"/>
                  <a:pt x="7416832" y="3300885"/>
                  <a:pt x="7419361" y="3303414"/>
                </a:cubicBezTo>
                <a:cubicBezTo>
                  <a:pt x="7420958" y="3305013"/>
                  <a:pt x="7423488" y="3306875"/>
                  <a:pt x="7429345" y="3306875"/>
                </a:cubicBezTo>
                <a:cubicBezTo>
                  <a:pt x="7431342" y="3306875"/>
                  <a:pt x="7433206" y="3306609"/>
                  <a:pt x="7434670" y="3305943"/>
                </a:cubicBezTo>
                <a:cubicBezTo>
                  <a:pt x="7436134" y="3305411"/>
                  <a:pt x="7437466" y="3304612"/>
                  <a:pt x="7438397" y="3303547"/>
                </a:cubicBezTo>
                <a:cubicBezTo>
                  <a:pt x="7439462" y="3302483"/>
                  <a:pt x="7440394" y="3301018"/>
                  <a:pt x="7441059" y="3299421"/>
                </a:cubicBezTo>
                <a:cubicBezTo>
                  <a:pt x="7441858" y="3297824"/>
                  <a:pt x="7442124" y="3295960"/>
                  <a:pt x="7442124" y="3293962"/>
                </a:cubicBezTo>
                <a:cubicBezTo>
                  <a:pt x="7442124" y="3292100"/>
                  <a:pt x="7441725" y="3290369"/>
                  <a:pt x="7441059" y="3288772"/>
                </a:cubicBezTo>
                <a:cubicBezTo>
                  <a:pt x="7440394" y="3287040"/>
                  <a:pt x="7439462" y="3285709"/>
                  <a:pt x="7438397" y="3284512"/>
                </a:cubicBezTo>
                <a:cubicBezTo>
                  <a:pt x="7437332" y="3283446"/>
                  <a:pt x="7436001" y="3282514"/>
                  <a:pt x="7434403" y="3281849"/>
                </a:cubicBezTo>
                <a:cubicBezTo>
                  <a:pt x="7432939" y="3281184"/>
                  <a:pt x="7431342" y="3280919"/>
                  <a:pt x="7429345" y="3280919"/>
                </a:cubicBezTo>
                <a:close/>
                <a:moveTo>
                  <a:pt x="7211701" y="3280919"/>
                </a:moveTo>
                <a:cubicBezTo>
                  <a:pt x="7205844" y="3280919"/>
                  <a:pt x="7203314" y="3282914"/>
                  <a:pt x="7201717" y="3284512"/>
                </a:cubicBezTo>
                <a:cubicBezTo>
                  <a:pt x="7199188" y="3287174"/>
                  <a:pt x="7198123" y="3289970"/>
                  <a:pt x="7198123" y="3293962"/>
                </a:cubicBezTo>
                <a:cubicBezTo>
                  <a:pt x="7198123" y="3298090"/>
                  <a:pt x="7199188" y="3300885"/>
                  <a:pt x="7201717" y="3303414"/>
                </a:cubicBezTo>
                <a:cubicBezTo>
                  <a:pt x="7203314" y="3305013"/>
                  <a:pt x="7205844" y="3306875"/>
                  <a:pt x="7211701" y="3306875"/>
                </a:cubicBezTo>
                <a:cubicBezTo>
                  <a:pt x="7213830" y="3306875"/>
                  <a:pt x="7215561" y="3306609"/>
                  <a:pt x="7217026" y="3305943"/>
                </a:cubicBezTo>
                <a:cubicBezTo>
                  <a:pt x="7218490" y="3305411"/>
                  <a:pt x="7219821" y="3304612"/>
                  <a:pt x="7220752" y="3303547"/>
                </a:cubicBezTo>
                <a:cubicBezTo>
                  <a:pt x="7221818" y="3302483"/>
                  <a:pt x="7222750" y="3301018"/>
                  <a:pt x="7223415" y="3299421"/>
                </a:cubicBezTo>
                <a:cubicBezTo>
                  <a:pt x="7224214" y="3297824"/>
                  <a:pt x="7224480" y="3295960"/>
                  <a:pt x="7224480" y="3293962"/>
                </a:cubicBezTo>
                <a:cubicBezTo>
                  <a:pt x="7224480" y="3292100"/>
                  <a:pt x="7224080" y="3290369"/>
                  <a:pt x="7223415" y="3288772"/>
                </a:cubicBezTo>
                <a:cubicBezTo>
                  <a:pt x="7222750" y="3287040"/>
                  <a:pt x="7221818" y="3285709"/>
                  <a:pt x="7220752" y="3284512"/>
                </a:cubicBezTo>
                <a:cubicBezTo>
                  <a:pt x="7219687" y="3283446"/>
                  <a:pt x="7218356" y="3282514"/>
                  <a:pt x="7216759" y="3281849"/>
                </a:cubicBezTo>
                <a:cubicBezTo>
                  <a:pt x="7215295" y="3281184"/>
                  <a:pt x="7213698" y="3280919"/>
                  <a:pt x="7211701" y="3280919"/>
                </a:cubicBezTo>
                <a:close/>
                <a:moveTo>
                  <a:pt x="6994056" y="3280919"/>
                </a:moveTo>
                <a:cubicBezTo>
                  <a:pt x="6988199" y="3280919"/>
                  <a:pt x="6985669" y="3282914"/>
                  <a:pt x="6984072" y="3284512"/>
                </a:cubicBezTo>
                <a:cubicBezTo>
                  <a:pt x="6981543" y="3287174"/>
                  <a:pt x="6980478" y="3289970"/>
                  <a:pt x="6980478" y="3293962"/>
                </a:cubicBezTo>
                <a:cubicBezTo>
                  <a:pt x="6980478" y="3298090"/>
                  <a:pt x="6981543" y="3300885"/>
                  <a:pt x="6984072" y="3303414"/>
                </a:cubicBezTo>
                <a:cubicBezTo>
                  <a:pt x="6985669" y="3305013"/>
                  <a:pt x="6988199" y="3306875"/>
                  <a:pt x="6994056" y="3306875"/>
                </a:cubicBezTo>
                <a:cubicBezTo>
                  <a:pt x="6996185" y="3306875"/>
                  <a:pt x="6997916" y="3306609"/>
                  <a:pt x="6999380" y="3305943"/>
                </a:cubicBezTo>
                <a:cubicBezTo>
                  <a:pt x="7000844" y="3305411"/>
                  <a:pt x="7002176" y="3304612"/>
                  <a:pt x="7003107" y="3303547"/>
                </a:cubicBezTo>
                <a:cubicBezTo>
                  <a:pt x="7004172" y="3302483"/>
                  <a:pt x="7005104" y="3301018"/>
                  <a:pt x="7005769" y="3299421"/>
                </a:cubicBezTo>
                <a:cubicBezTo>
                  <a:pt x="7006568" y="3297824"/>
                  <a:pt x="7006834" y="3295960"/>
                  <a:pt x="7006834" y="3293962"/>
                </a:cubicBezTo>
                <a:cubicBezTo>
                  <a:pt x="7006834" y="3292100"/>
                  <a:pt x="7006435" y="3290369"/>
                  <a:pt x="7005769" y="3288772"/>
                </a:cubicBezTo>
                <a:cubicBezTo>
                  <a:pt x="7005104" y="3287040"/>
                  <a:pt x="7004172" y="3285709"/>
                  <a:pt x="7003107" y="3284512"/>
                </a:cubicBezTo>
                <a:cubicBezTo>
                  <a:pt x="7002042" y="3283446"/>
                  <a:pt x="7000711" y="3282514"/>
                  <a:pt x="6999113" y="3281849"/>
                </a:cubicBezTo>
                <a:cubicBezTo>
                  <a:pt x="6997649" y="3281184"/>
                  <a:pt x="6996052" y="3280919"/>
                  <a:pt x="6994056" y="3280919"/>
                </a:cubicBezTo>
                <a:close/>
                <a:moveTo>
                  <a:pt x="6776544" y="3280919"/>
                </a:moveTo>
                <a:cubicBezTo>
                  <a:pt x="6770687" y="3280919"/>
                  <a:pt x="6768157" y="3282914"/>
                  <a:pt x="6766560" y="3284512"/>
                </a:cubicBezTo>
                <a:cubicBezTo>
                  <a:pt x="6764031" y="3287174"/>
                  <a:pt x="6762966" y="3289970"/>
                  <a:pt x="6762966" y="3293962"/>
                </a:cubicBezTo>
                <a:cubicBezTo>
                  <a:pt x="6762966" y="3298090"/>
                  <a:pt x="6764031" y="3300885"/>
                  <a:pt x="6766560" y="3303414"/>
                </a:cubicBezTo>
                <a:cubicBezTo>
                  <a:pt x="6768157" y="3305013"/>
                  <a:pt x="6770687" y="3306875"/>
                  <a:pt x="6776544" y="3306875"/>
                </a:cubicBezTo>
                <a:cubicBezTo>
                  <a:pt x="6778541" y="3306875"/>
                  <a:pt x="6780270" y="3306609"/>
                  <a:pt x="6781869" y="3305943"/>
                </a:cubicBezTo>
                <a:cubicBezTo>
                  <a:pt x="6783333" y="3305411"/>
                  <a:pt x="6784664" y="3304612"/>
                  <a:pt x="6785595" y="3303547"/>
                </a:cubicBezTo>
                <a:cubicBezTo>
                  <a:pt x="6786661" y="3302483"/>
                  <a:pt x="6787593" y="3301018"/>
                  <a:pt x="6788258" y="3299421"/>
                </a:cubicBezTo>
                <a:cubicBezTo>
                  <a:pt x="6789057" y="3297824"/>
                  <a:pt x="6789323" y="3295960"/>
                  <a:pt x="6789323" y="3293962"/>
                </a:cubicBezTo>
                <a:cubicBezTo>
                  <a:pt x="6789323" y="3292100"/>
                  <a:pt x="6788923" y="3290369"/>
                  <a:pt x="6788258" y="3288772"/>
                </a:cubicBezTo>
                <a:cubicBezTo>
                  <a:pt x="6787593" y="3287040"/>
                  <a:pt x="6786661" y="3285709"/>
                  <a:pt x="6785595" y="3284512"/>
                </a:cubicBezTo>
                <a:cubicBezTo>
                  <a:pt x="6784530" y="3283446"/>
                  <a:pt x="6783199" y="3282514"/>
                  <a:pt x="6781602" y="3281849"/>
                </a:cubicBezTo>
                <a:cubicBezTo>
                  <a:pt x="6780138" y="3281184"/>
                  <a:pt x="6778541" y="3280919"/>
                  <a:pt x="6776544" y="3280919"/>
                </a:cubicBezTo>
                <a:close/>
                <a:moveTo>
                  <a:pt x="6558899" y="3280919"/>
                </a:moveTo>
                <a:cubicBezTo>
                  <a:pt x="6553042" y="3280919"/>
                  <a:pt x="6550512" y="3282914"/>
                  <a:pt x="6548915" y="3284512"/>
                </a:cubicBezTo>
                <a:cubicBezTo>
                  <a:pt x="6546386" y="3287174"/>
                  <a:pt x="6545321" y="3289970"/>
                  <a:pt x="6545321" y="3293962"/>
                </a:cubicBezTo>
                <a:cubicBezTo>
                  <a:pt x="6545321" y="3298090"/>
                  <a:pt x="6546386" y="3300885"/>
                  <a:pt x="6548915" y="3303414"/>
                </a:cubicBezTo>
                <a:cubicBezTo>
                  <a:pt x="6550512" y="3305013"/>
                  <a:pt x="6553042" y="3306875"/>
                  <a:pt x="6558899" y="3306875"/>
                </a:cubicBezTo>
                <a:cubicBezTo>
                  <a:pt x="6560895" y="3306875"/>
                  <a:pt x="6562759" y="3306609"/>
                  <a:pt x="6564223" y="3305943"/>
                </a:cubicBezTo>
                <a:cubicBezTo>
                  <a:pt x="6565687" y="3305411"/>
                  <a:pt x="6567019" y="3304612"/>
                  <a:pt x="6567950" y="3303547"/>
                </a:cubicBezTo>
                <a:cubicBezTo>
                  <a:pt x="6569015" y="3302483"/>
                  <a:pt x="6569947" y="3301018"/>
                  <a:pt x="6570612" y="3299421"/>
                </a:cubicBezTo>
                <a:cubicBezTo>
                  <a:pt x="6571412" y="3297824"/>
                  <a:pt x="6571677" y="3295960"/>
                  <a:pt x="6571677" y="3293962"/>
                </a:cubicBezTo>
                <a:cubicBezTo>
                  <a:pt x="6571677" y="3292100"/>
                  <a:pt x="6571278" y="3290369"/>
                  <a:pt x="6570612" y="3288772"/>
                </a:cubicBezTo>
                <a:cubicBezTo>
                  <a:pt x="6569947" y="3287040"/>
                  <a:pt x="6569015" y="3285709"/>
                  <a:pt x="6567950" y="3284512"/>
                </a:cubicBezTo>
                <a:cubicBezTo>
                  <a:pt x="6566885" y="3283446"/>
                  <a:pt x="6565554" y="3282514"/>
                  <a:pt x="6563956" y="3281849"/>
                </a:cubicBezTo>
                <a:cubicBezTo>
                  <a:pt x="6562492" y="3281184"/>
                  <a:pt x="6560895" y="3280919"/>
                  <a:pt x="6558899" y="3280919"/>
                </a:cubicBezTo>
                <a:close/>
                <a:moveTo>
                  <a:pt x="6341253" y="3280919"/>
                </a:moveTo>
                <a:cubicBezTo>
                  <a:pt x="6335396" y="3280919"/>
                  <a:pt x="6332867" y="3282914"/>
                  <a:pt x="6331270" y="3284512"/>
                </a:cubicBezTo>
                <a:cubicBezTo>
                  <a:pt x="6328740" y="3287174"/>
                  <a:pt x="6327675" y="3289970"/>
                  <a:pt x="6327675" y="3293962"/>
                </a:cubicBezTo>
                <a:cubicBezTo>
                  <a:pt x="6327675" y="3298090"/>
                  <a:pt x="6328740" y="3300885"/>
                  <a:pt x="6331270" y="3303414"/>
                </a:cubicBezTo>
                <a:cubicBezTo>
                  <a:pt x="6332867" y="3305013"/>
                  <a:pt x="6335396" y="3306875"/>
                  <a:pt x="6341253" y="3306875"/>
                </a:cubicBezTo>
                <a:cubicBezTo>
                  <a:pt x="6343250" y="3306875"/>
                  <a:pt x="6345114" y="3306609"/>
                  <a:pt x="6346578" y="3305943"/>
                </a:cubicBezTo>
                <a:cubicBezTo>
                  <a:pt x="6348042" y="3305411"/>
                  <a:pt x="6349373" y="3304612"/>
                  <a:pt x="6350305" y="3303547"/>
                </a:cubicBezTo>
                <a:cubicBezTo>
                  <a:pt x="6351370" y="3302483"/>
                  <a:pt x="6352302" y="3301018"/>
                  <a:pt x="6352968" y="3299421"/>
                </a:cubicBezTo>
                <a:cubicBezTo>
                  <a:pt x="6353766" y="3297824"/>
                  <a:pt x="6354033" y="3295960"/>
                  <a:pt x="6354033" y="3293962"/>
                </a:cubicBezTo>
                <a:cubicBezTo>
                  <a:pt x="6354033" y="3292100"/>
                  <a:pt x="6353633" y="3290369"/>
                  <a:pt x="6352968" y="3288772"/>
                </a:cubicBezTo>
                <a:cubicBezTo>
                  <a:pt x="6352302" y="3287040"/>
                  <a:pt x="6351370" y="3285709"/>
                  <a:pt x="6350305" y="3284512"/>
                </a:cubicBezTo>
                <a:cubicBezTo>
                  <a:pt x="6349241" y="3283446"/>
                  <a:pt x="6347909" y="3282514"/>
                  <a:pt x="6346312" y="3281849"/>
                </a:cubicBezTo>
                <a:cubicBezTo>
                  <a:pt x="6344848" y="3281184"/>
                  <a:pt x="6343250" y="3280919"/>
                  <a:pt x="6341253" y="3280919"/>
                </a:cubicBezTo>
                <a:close/>
                <a:moveTo>
                  <a:pt x="6123608" y="3280919"/>
                </a:moveTo>
                <a:cubicBezTo>
                  <a:pt x="6117751" y="3280919"/>
                  <a:pt x="6115221" y="3282914"/>
                  <a:pt x="6113624" y="3284512"/>
                </a:cubicBezTo>
                <a:cubicBezTo>
                  <a:pt x="6111095" y="3287174"/>
                  <a:pt x="6110030" y="3289970"/>
                  <a:pt x="6110030" y="3293962"/>
                </a:cubicBezTo>
                <a:cubicBezTo>
                  <a:pt x="6110030" y="3298090"/>
                  <a:pt x="6111095" y="3300885"/>
                  <a:pt x="6113624" y="3303414"/>
                </a:cubicBezTo>
                <a:cubicBezTo>
                  <a:pt x="6115221" y="3305013"/>
                  <a:pt x="6117751" y="3306875"/>
                  <a:pt x="6123608" y="3306875"/>
                </a:cubicBezTo>
                <a:cubicBezTo>
                  <a:pt x="6125737" y="3306875"/>
                  <a:pt x="6127468" y="3306609"/>
                  <a:pt x="6128932" y="3305943"/>
                </a:cubicBezTo>
                <a:cubicBezTo>
                  <a:pt x="6130530" y="3305411"/>
                  <a:pt x="6131728" y="3304612"/>
                  <a:pt x="6132659" y="3303547"/>
                </a:cubicBezTo>
                <a:cubicBezTo>
                  <a:pt x="6133724" y="3302483"/>
                  <a:pt x="6134656" y="3301018"/>
                  <a:pt x="6135322" y="3299421"/>
                </a:cubicBezTo>
                <a:cubicBezTo>
                  <a:pt x="6135987" y="3297824"/>
                  <a:pt x="6136387" y="3295960"/>
                  <a:pt x="6136387" y="3293962"/>
                </a:cubicBezTo>
                <a:cubicBezTo>
                  <a:pt x="6136387" y="3292100"/>
                  <a:pt x="6135987" y="3290369"/>
                  <a:pt x="6135322" y="3288772"/>
                </a:cubicBezTo>
                <a:cubicBezTo>
                  <a:pt x="6134656" y="3287040"/>
                  <a:pt x="6133724" y="3285709"/>
                  <a:pt x="6132659" y="3284512"/>
                </a:cubicBezTo>
                <a:cubicBezTo>
                  <a:pt x="6131594" y="3283446"/>
                  <a:pt x="6130263" y="3282514"/>
                  <a:pt x="6128666" y="3281849"/>
                </a:cubicBezTo>
                <a:cubicBezTo>
                  <a:pt x="6127202" y="3281184"/>
                  <a:pt x="6125604" y="3280919"/>
                  <a:pt x="6123608" y="3280919"/>
                </a:cubicBezTo>
                <a:close/>
                <a:moveTo>
                  <a:pt x="5905963" y="3280919"/>
                </a:moveTo>
                <a:cubicBezTo>
                  <a:pt x="5900106" y="3280919"/>
                  <a:pt x="5897576" y="3282914"/>
                  <a:pt x="5895979" y="3284512"/>
                </a:cubicBezTo>
                <a:cubicBezTo>
                  <a:pt x="5893450" y="3287174"/>
                  <a:pt x="5892385" y="3289970"/>
                  <a:pt x="5892385" y="3293962"/>
                </a:cubicBezTo>
                <a:cubicBezTo>
                  <a:pt x="5892385" y="3298090"/>
                  <a:pt x="5893450" y="3300885"/>
                  <a:pt x="5895979" y="3303414"/>
                </a:cubicBezTo>
                <a:cubicBezTo>
                  <a:pt x="5897576" y="3305013"/>
                  <a:pt x="5900106" y="3306875"/>
                  <a:pt x="5905963" y="3306875"/>
                </a:cubicBezTo>
                <a:cubicBezTo>
                  <a:pt x="5908093" y="3306875"/>
                  <a:pt x="5909823" y="3306609"/>
                  <a:pt x="5911287" y="3305943"/>
                </a:cubicBezTo>
                <a:cubicBezTo>
                  <a:pt x="5912751" y="3305411"/>
                  <a:pt x="5914083" y="3304612"/>
                  <a:pt x="5915014" y="3303547"/>
                </a:cubicBezTo>
                <a:cubicBezTo>
                  <a:pt x="5916079" y="3302483"/>
                  <a:pt x="5917011" y="3301018"/>
                  <a:pt x="5917677" y="3299421"/>
                </a:cubicBezTo>
                <a:cubicBezTo>
                  <a:pt x="5918342" y="3297824"/>
                  <a:pt x="5918742" y="3295960"/>
                  <a:pt x="5918742" y="3293962"/>
                </a:cubicBezTo>
                <a:cubicBezTo>
                  <a:pt x="5918742" y="3292100"/>
                  <a:pt x="5918342" y="3290369"/>
                  <a:pt x="5917677" y="3288772"/>
                </a:cubicBezTo>
                <a:cubicBezTo>
                  <a:pt x="5917011" y="3287040"/>
                  <a:pt x="5916079" y="3285709"/>
                  <a:pt x="5915014" y="3284512"/>
                </a:cubicBezTo>
                <a:cubicBezTo>
                  <a:pt x="5913950" y="3283446"/>
                  <a:pt x="5912618" y="3282514"/>
                  <a:pt x="5911021" y="3281849"/>
                </a:cubicBezTo>
                <a:cubicBezTo>
                  <a:pt x="5909557" y="3281184"/>
                  <a:pt x="5907826" y="3280919"/>
                  <a:pt x="5905963" y="3280919"/>
                </a:cubicBezTo>
                <a:close/>
                <a:moveTo>
                  <a:pt x="5688451" y="3280919"/>
                </a:moveTo>
                <a:cubicBezTo>
                  <a:pt x="5682594" y="3280919"/>
                  <a:pt x="5680064" y="3282914"/>
                  <a:pt x="5678467" y="3284512"/>
                </a:cubicBezTo>
                <a:cubicBezTo>
                  <a:pt x="5675938" y="3287174"/>
                  <a:pt x="5674873" y="3289970"/>
                  <a:pt x="5674873" y="3293962"/>
                </a:cubicBezTo>
                <a:cubicBezTo>
                  <a:pt x="5674873" y="3298090"/>
                  <a:pt x="5675938" y="3300885"/>
                  <a:pt x="5678467" y="3303414"/>
                </a:cubicBezTo>
                <a:cubicBezTo>
                  <a:pt x="5680064" y="3305013"/>
                  <a:pt x="5682594" y="3306875"/>
                  <a:pt x="5688451" y="3306875"/>
                </a:cubicBezTo>
                <a:cubicBezTo>
                  <a:pt x="5690447" y="3306875"/>
                  <a:pt x="5692178" y="3306609"/>
                  <a:pt x="5693775" y="3305943"/>
                </a:cubicBezTo>
                <a:cubicBezTo>
                  <a:pt x="5695239" y="3305411"/>
                  <a:pt x="5696571" y="3304612"/>
                  <a:pt x="5697502" y="3303547"/>
                </a:cubicBezTo>
                <a:cubicBezTo>
                  <a:pt x="5698567" y="3302483"/>
                  <a:pt x="5699499" y="3301018"/>
                  <a:pt x="5700165" y="3299421"/>
                </a:cubicBezTo>
                <a:cubicBezTo>
                  <a:pt x="5700830" y="3297824"/>
                  <a:pt x="5701230" y="3295960"/>
                  <a:pt x="5701230" y="3293962"/>
                </a:cubicBezTo>
                <a:cubicBezTo>
                  <a:pt x="5701230" y="3292100"/>
                  <a:pt x="5700830" y="3290369"/>
                  <a:pt x="5700165" y="3288772"/>
                </a:cubicBezTo>
                <a:cubicBezTo>
                  <a:pt x="5699499" y="3287040"/>
                  <a:pt x="5698567" y="3285709"/>
                  <a:pt x="5697502" y="3284512"/>
                </a:cubicBezTo>
                <a:cubicBezTo>
                  <a:pt x="5696437" y="3283446"/>
                  <a:pt x="5695106" y="3282514"/>
                  <a:pt x="5693509" y="3281849"/>
                </a:cubicBezTo>
                <a:cubicBezTo>
                  <a:pt x="5692045" y="3281184"/>
                  <a:pt x="5690314" y="3280919"/>
                  <a:pt x="5688451" y="3280919"/>
                </a:cubicBezTo>
                <a:close/>
                <a:moveTo>
                  <a:pt x="5470806" y="3280919"/>
                </a:moveTo>
                <a:cubicBezTo>
                  <a:pt x="5464949" y="3280919"/>
                  <a:pt x="5462419" y="3282914"/>
                  <a:pt x="5460822" y="3284512"/>
                </a:cubicBezTo>
                <a:cubicBezTo>
                  <a:pt x="5458293" y="3287174"/>
                  <a:pt x="5457228" y="3289970"/>
                  <a:pt x="5457228" y="3293962"/>
                </a:cubicBezTo>
                <a:cubicBezTo>
                  <a:pt x="5457228" y="3298090"/>
                  <a:pt x="5458293" y="3300885"/>
                  <a:pt x="5460822" y="3303414"/>
                </a:cubicBezTo>
                <a:cubicBezTo>
                  <a:pt x="5462419" y="3305013"/>
                  <a:pt x="5464949" y="3306875"/>
                  <a:pt x="5470806" y="3306875"/>
                </a:cubicBezTo>
                <a:cubicBezTo>
                  <a:pt x="5472802" y="3306875"/>
                  <a:pt x="5474666" y="3306609"/>
                  <a:pt x="5476130" y="3305943"/>
                </a:cubicBezTo>
                <a:cubicBezTo>
                  <a:pt x="5477594" y="3305411"/>
                  <a:pt x="5478926" y="3304612"/>
                  <a:pt x="5479857" y="3303547"/>
                </a:cubicBezTo>
                <a:cubicBezTo>
                  <a:pt x="5480922" y="3302483"/>
                  <a:pt x="5481854" y="3301018"/>
                  <a:pt x="5482520" y="3299421"/>
                </a:cubicBezTo>
                <a:cubicBezTo>
                  <a:pt x="5483319" y="3297824"/>
                  <a:pt x="5483585" y="3295960"/>
                  <a:pt x="5483585" y="3293962"/>
                </a:cubicBezTo>
                <a:cubicBezTo>
                  <a:pt x="5483585" y="3292100"/>
                  <a:pt x="5483185" y="3290369"/>
                  <a:pt x="5482520" y="3288772"/>
                </a:cubicBezTo>
                <a:cubicBezTo>
                  <a:pt x="5481854" y="3287040"/>
                  <a:pt x="5480922" y="3285709"/>
                  <a:pt x="5479857" y="3284512"/>
                </a:cubicBezTo>
                <a:cubicBezTo>
                  <a:pt x="5478793" y="3283446"/>
                  <a:pt x="5477461" y="3282514"/>
                  <a:pt x="5475864" y="3281849"/>
                </a:cubicBezTo>
                <a:cubicBezTo>
                  <a:pt x="5474400" y="3281184"/>
                  <a:pt x="5472669" y="3280919"/>
                  <a:pt x="5470806" y="3280919"/>
                </a:cubicBezTo>
                <a:close/>
                <a:moveTo>
                  <a:pt x="5253160" y="3280919"/>
                </a:moveTo>
                <a:cubicBezTo>
                  <a:pt x="5247303" y="3280919"/>
                  <a:pt x="5244774" y="3282914"/>
                  <a:pt x="5243177" y="3284512"/>
                </a:cubicBezTo>
                <a:cubicBezTo>
                  <a:pt x="5240647" y="3287174"/>
                  <a:pt x="5239583" y="3289970"/>
                  <a:pt x="5239583" y="3293962"/>
                </a:cubicBezTo>
                <a:cubicBezTo>
                  <a:pt x="5239583" y="3298090"/>
                  <a:pt x="5240647" y="3300885"/>
                  <a:pt x="5243177" y="3303414"/>
                </a:cubicBezTo>
                <a:cubicBezTo>
                  <a:pt x="5244774" y="3305013"/>
                  <a:pt x="5247303" y="3306875"/>
                  <a:pt x="5253160" y="3306875"/>
                </a:cubicBezTo>
                <a:cubicBezTo>
                  <a:pt x="5255157" y="3306875"/>
                  <a:pt x="5257021" y="3306609"/>
                  <a:pt x="5258485" y="3305943"/>
                </a:cubicBezTo>
                <a:cubicBezTo>
                  <a:pt x="5259949" y="3305411"/>
                  <a:pt x="5261280" y="3304612"/>
                  <a:pt x="5262212" y="3303547"/>
                </a:cubicBezTo>
                <a:cubicBezTo>
                  <a:pt x="5263277" y="3302483"/>
                  <a:pt x="5264209" y="3301018"/>
                  <a:pt x="5264875" y="3299421"/>
                </a:cubicBezTo>
                <a:cubicBezTo>
                  <a:pt x="5265673" y="3297824"/>
                  <a:pt x="5265939" y="3295960"/>
                  <a:pt x="5265939" y="3293962"/>
                </a:cubicBezTo>
                <a:cubicBezTo>
                  <a:pt x="5265939" y="3292100"/>
                  <a:pt x="5265540" y="3290369"/>
                  <a:pt x="5264875" y="3288772"/>
                </a:cubicBezTo>
                <a:cubicBezTo>
                  <a:pt x="5264209" y="3287040"/>
                  <a:pt x="5263277" y="3285709"/>
                  <a:pt x="5262212" y="3284512"/>
                </a:cubicBezTo>
                <a:cubicBezTo>
                  <a:pt x="5261147" y="3283446"/>
                  <a:pt x="5259816" y="3282514"/>
                  <a:pt x="5258219" y="3281849"/>
                </a:cubicBezTo>
                <a:cubicBezTo>
                  <a:pt x="5256754" y="3281184"/>
                  <a:pt x="5255024" y="3280919"/>
                  <a:pt x="5253160" y="3280919"/>
                </a:cubicBezTo>
                <a:close/>
                <a:moveTo>
                  <a:pt x="5035515" y="3280919"/>
                </a:moveTo>
                <a:cubicBezTo>
                  <a:pt x="5029658" y="3280919"/>
                  <a:pt x="5027129" y="3282914"/>
                  <a:pt x="5025532" y="3284512"/>
                </a:cubicBezTo>
                <a:cubicBezTo>
                  <a:pt x="5023002" y="3287174"/>
                  <a:pt x="5021938" y="3289970"/>
                  <a:pt x="5021938" y="3293962"/>
                </a:cubicBezTo>
                <a:cubicBezTo>
                  <a:pt x="5021938" y="3298090"/>
                  <a:pt x="5023002" y="3300885"/>
                  <a:pt x="5025532" y="3303414"/>
                </a:cubicBezTo>
                <a:cubicBezTo>
                  <a:pt x="5027129" y="3305013"/>
                  <a:pt x="5029658" y="3306875"/>
                  <a:pt x="5035515" y="3306875"/>
                </a:cubicBezTo>
                <a:cubicBezTo>
                  <a:pt x="5037645" y="3306875"/>
                  <a:pt x="5039376" y="3306609"/>
                  <a:pt x="5040840" y="3305943"/>
                </a:cubicBezTo>
                <a:cubicBezTo>
                  <a:pt x="5042304" y="3305411"/>
                  <a:pt x="5043636" y="3304612"/>
                  <a:pt x="5044567" y="3303547"/>
                </a:cubicBezTo>
                <a:cubicBezTo>
                  <a:pt x="5045632" y="3302483"/>
                  <a:pt x="5046564" y="3301018"/>
                  <a:pt x="5047230" y="3299421"/>
                </a:cubicBezTo>
                <a:cubicBezTo>
                  <a:pt x="5048028" y="3297824"/>
                  <a:pt x="5048294" y="3295960"/>
                  <a:pt x="5048294" y="3293962"/>
                </a:cubicBezTo>
                <a:cubicBezTo>
                  <a:pt x="5048294" y="3292100"/>
                  <a:pt x="5047895" y="3290369"/>
                  <a:pt x="5047230" y="3288772"/>
                </a:cubicBezTo>
                <a:cubicBezTo>
                  <a:pt x="5046564" y="3287040"/>
                  <a:pt x="5045632" y="3285709"/>
                  <a:pt x="5044567" y="3284512"/>
                </a:cubicBezTo>
                <a:cubicBezTo>
                  <a:pt x="5043502" y="3283446"/>
                  <a:pt x="5042171" y="3282514"/>
                  <a:pt x="5040574" y="3281849"/>
                </a:cubicBezTo>
                <a:cubicBezTo>
                  <a:pt x="5039110" y="3281184"/>
                  <a:pt x="5037379" y="3280919"/>
                  <a:pt x="5035515" y="3280919"/>
                </a:cubicBezTo>
                <a:close/>
                <a:moveTo>
                  <a:pt x="4817870" y="3280919"/>
                </a:moveTo>
                <a:cubicBezTo>
                  <a:pt x="4812013" y="3280919"/>
                  <a:pt x="4809484" y="3282914"/>
                  <a:pt x="4807887" y="3284512"/>
                </a:cubicBezTo>
                <a:cubicBezTo>
                  <a:pt x="4805357" y="3287174"/>
                  <a:pt x="4804293" y="3289970"/>
                  <a:pt x="4804293" y="3293962"/>
                </a:cubicBezTo>
                <a:cubicBezTo>
                  <a:pt x="4804293" y="3298090"/>
                  <a:pt x="4805357" y="3300885"/>
                  <a:pt x="4807887" y="3303414"/>
                </a:cubicBezTo>
                <a:cubicBezTo>
                  <a:pt x="4809484" y="3305013"/>
                  <a:pt x="4812013" y="3306875"/>
                  <a:pt x="4817870" y="3306875"/>
                </a:cubicBezTo>
                <a:cubicBezTo>
                  <a:pt x="4820000" y="3306875"/>
                  <a:pt x="4821731" y="3306609"/>
                  <a:pt x="4823195" y="3305943"/>
                </a:cubicBezTo>
                <a:cubicBezTo>
                  <a:pt x="4824659" y="3305411"/>
                  <a:pt x="4825857" y="3304612"/>
                  <a:pt x="4826922" y="3303547"/>
                </a:cubicBezTo>
                <a:cubicBezTo>
                  <a:pt x="4827987" y="3302483"/>
                  <a:pt x="4828919" y="3301018"/>
                  <a:pt x="4829585" y="3299421"/>
                </a:cubicBezTo>
                <a:cubicBezTo>
                  <a:pt x="4830383" y="3297824"/>
                  <a:pt x="4830650" y="3295960"/>
                  <a:pt x="4830650" y="3293962"/>
                </a:cubicBezTo>
                <a:cubicBezTo>
                  <a:pt x="4830650" y="3292100"/>
                  <a:pt x="4830250" y="3290369"/>
                  <a:pt x="4829585" y="3288772"/>
                </a:cubicBezTo>
                <a:cubicBezTo>
                  <a:pt x="4828919" y="3287040"/>
                  <a:pt x="4827987" y="3285709"/>
                  <a:pt x="4826922" y="3284512"/>
                </a:cubicBezTo>
                <a:cubicBezTo>
                  <a:pt x="4825857" y="3283446"/>
                  <a:pt x="4824526" y="3282514"/>
                  <a:pt x="4822929" y="3281849"/>
                </a:cubicBezTo>
                <a:cubicBezTo>
                  <a:pt x="4821465" y="3281184"/>
                  <a:pt x="4819734" y="3280919"/>
                  <a:pt x="4817870" y="3280919"/>
                </a:cubicBezTo>
                <a:close/>
                <a:moveTo>
                  <a:pt x="4600226" y="3280919"/>
                </a:moveTo>
                <a:cubicBezTo>
                  <a:pt x="4594369" y="3280919"/>
                  <a:pt x="4591839" y="3282914"/>
                  <a:pt x="4590242" y="3284512"/>
                </a:cubicBezTo>
                <a:cubicBezTo>
                  <a:pt x="4587713" y="3287174"/>
                  <a:pt x="4586648" y="3289970"/>
                  <a:pt x="4586648" y="3293962"/>
                </a:cubicBezTo>
                <a:cubicBezTo>
                  <a:pt x="4586648" y="3298090"/>
                  <a:pt x="4587713" y="3300885"/>
                  <a:pt x="4590242" y="3303414"/>
                </a:cubicBezTo>
                <a:cubicBezTo>
                  <a:pt x="4591839" y="3305013"/>
                  <a:pt x="4594369" y="3306875"/>
                  <a:pt x="4600226" y="3306875"/>
                </a:cubicBezTo>
                <a:cubicBezTo>
                  <a:pt x="4602355" y="3306875"/>
                  <a:pt x="4604086" y="3306609"/>
                  <a:pt x="4605550" y="3305943"/>
                </a:cubicBezTo>
                <a:cubicBezTo>
                  <a:pt x="4607148" y="3305411"/>
                  <a:pt x="4608346" y="3304612"/>
                  <a:pt x="4609277" y="3303547"/>
                </a:cubicBezTo>
                <a:cubicBezTo>
                  <a:pt x="4610342" y="3302483"/>
                  <a:pt x="4611274" y="3301018"/>
                  <a:pt x="4611940" y="3299421"/>
                </a:cubicBezTo>
                <a:cubicBezTo>
                  <a:pt x="4612605" y="3297824"/>
                  <a:pt x="4613005" y="3295960"/>
                  <a:pt x="4613005" y="3293962"/>
                </a:cubicBezTo>
                <a:cubicBezTo>
                  <a:pt x="4613005" y="3292100"/>
                  <a:pt x="4612605" y="3290369"/>
                  <a:pt x="4611940" y="3288772"/>
                </a:cubicBezTo>
                <a:cubicBezTo>
                  <a:pt x="4611274" y="3287040"/>
                  <a:pt x="4610342" y="3285709"/>
                  <a:pt x="4609277" y="3284512"/>
                </a:cubicBezTo>
                <a:cubicBezTo>
                  <a:pt x="4608212" y="3283446"/>
                  <a:pt x="4606881" y="3282514"/>
                  <a:pt x="4605284" y="3281849"/>
                </a:cubicBezTo>
                <a:cubicBezTo>
                  <a:pt x="4603820" y="3281184"/>
                  <a:pt x="4602222" y="3280919"/>
                  <a:pt x="4600226" y="3280919"/>
                </a:cubicBezTo>
                <a:close/>
                <a:moveTo>
                  <a:pt x="4382713" y="3280919"/>
                </a:moveTo>
                <a:cubicBezTo>
                  <a:pt x="4376857" y="3280919"/>
                  <a:pt x="4374327" y="3282914"/>
                  <a:pt x="4372730" y="3284512"/>
                </a:cubicBezTo>
                <a:cubicBezTo>
                  <a:pt x="4370201" y="3287174"/>
                  <a:pt x="4369136" y="3289970"/>
                  <a:pt x="4369136" y="3293962"/>
                </a:cubicBezTo>
                <a:cubicBezTo>
                  <a:pt x="4369136" y="3298090"/>
                  <a:pt x="4370201" y="3300885"/>
                  <a:pt x="4372730" y="3303414"/>
                </a:cubicBezTo>
                <a:cubicBezTo>
                  <a:pt x="4374327" y="3305013"/>
                  <a:pt x="4376857" y="3306875"/>
                  <a:pt x="4382713" y="3306875"/>
                </a:cubicBezTo>
                <a:cubicBezTo>
                  <a:pt x="4384710" y="3306875"/>
                  <a:pt x="4386441" y="3306609"/>
                  <a:pt x="4388038" y="3305943"/>
                </a:cubicBezTo>
                <a:cubicBezTo>
                  <a:pt x="4389502" y="3305411"/>
                  <a:pt x="4390834" y="3304612"/>
                  <a:pt x="4391765" y="3303547"/>
                </a:cubicBezTo>
                <a:cubicBezTo>
                  <a:pt x="4392830" y="3302483"/>
                  <a:pt x="4393762" y="3301018"/>
                  <a:pt x="4394428" y="3299421"/>
                </a:cubicBezTo>
                <a:cubicBezTo>
                  <a:pt x="4395093" y="3297824"/>
                  <a:pt x="4395493" y="3295960"/>
                  <a:pt x="4395493" y="3293962"/>
                </a:cubicBezTo>
                <a:cubicBezTo>
                  <a:pt x="4395493" y="3292100"/>
                  <a:pt x="4395093" y="3290369"/>
                  <a:pt x="4394428" y="3288772"/>
                </a:cubicBezTo>
                <a:cubicBezTo>
                  <a:pt x="4393762" y="3287040"/>
                  <a:pt x="4392830" y="3285709"/>
                  <a:pt x="4391765" y="3284512"/>
                </a:cubicBezTo>
                <a:cubicBezTo>
                  <a:pt x="4390700" y="3283446"/>
                  <a:pt x="4389369" y="3282514"/>
                  <a:pt x="4387772" y="3281849"/>
                </a:cubicBezTo>
                <a:cubicBezTo>
                  <a:pt x="4386308" y="3281184"/>
                  <a:pt x="4384710" y="3280919"/>
                  <a:pt x="4382713" y="3280919"/>
                </a:cubicBezTo>
                <a:close/>
                <a:moveTo>
                  <a:pt x="4165068" y="3280919"/>
                </a:moveTo>
                <a:cubicBezTo>
                  <a:pt x="4159211" y="3280919"/>
                  <a:pt x="4156681" y="3282914"/>
                  <a:pt x="4155084" y="3284512"/>
                </a:cubicBezTo>
                <a:cubicBezTo>
                  <a:pt x="4152555" y="3287174"/>
                  <a:pt x="4151490" y="3289970"/>
                  <a:pt x="4151490" y="3293962"/>
                </a:cubicBezTo>
                <a:cubicBezTo>
                  <a:pt x="4151490" y="3298090"/>
                  <a:pt x="4152555" y="3300885"/>
                  <a:pt x="4155084" y="3303414"/>
                </a:cubicBezTo>
                <a:cubicBezTo>
                  <a:pt x="4156681" y="3305013"/>
                  <a:pt x="4159211" y="3306875"/>
                  <a:pt x="4165068" y="3306875"/>
                </a:cubicBezTo>
                <a:cubicBezTo>
                  <a:pt x="4167064" y="3306875"/>
                  <a:pt x="4168928" y="3306609"/>
                  <a:pt x="4170392" y="3305943"/>
                </a:cubicBezTo>
                <a:cubicBezTo>
                  <a:pt x="4171856" y="3305411"/>
                  <a:pt x="4173188" y="3304612"/>
                  <a:pt x="4174119" y="3303547"/>
                </a:cubicBezTo>
                <a:cubicBezTo>
                  <a:pt x="4175184" y="3302483"/>
                  <a:pt x="4176116" y="3301018"/>
                  <a:pt x="4176782" y="3299421"/>
                </a:cubicBezTo>
                <a:cubicBezTo>
                  <a:pt x="4177447" y="3297824"/>
                  <a:pt x="4177847" y="3295960"/>
                  <a:pt x="4177847" y="3293962"/>
                </a:cubicBezTo>
                <a:cubicBezTo>
                  <a:pt x="4177847" y="3292100"/>
                  <a:pt x="4177447" y="3290369"/>
                  <a:pt x="4176782" y="3288772"/>
                </a:cubicBezTo>
                <a:cubicBezTo>
                  <a:pt x="4176116" y="3287040"/>
                  <a:pt x="4175184" y="3285709"/>
                  <a:pt x="4174119" y="3284512"/>
                </a:cubicBezTo>
                <a:cubicBezTo>
                  <a:pt x="4173054" y="3283446"/>
                  <a:pt x="4171723" y="3282514"/>
                  <a:pt x="4170126" y="3281849"/>
                </a:cubicBezTo>
                <a:cubicBezTo>
                  <a:pt x="4168662" y="3281184"/>
                  <a:pt x="4167064" y="3280919"/>
                  <a:pt x="4165068" y="3280919"/>
                </a:cubicBezTo>
                <a:close/>
                <a:moveTo>
                  <a:pt x="3947605" y="3280919"/>
                </a:moveTo>
                <a:cubicBezTo>
                  <a:pt x="3941747" y="3280919"/>
                  <a:pt x="3939219" y="3282914"/>
                  <a:pt x="3937622" y="3284512"/>
                </a:cubicBezTo>
                <a:cubicBezTo>
                  <a:pt x="3935090" y="3287174"/>
                  <a:pt x="3934027" y="3289970"/>
                  <a:pt x="3934027" y="3293962"/>
                </a:cubicBezTo>
                <a:cubicBezTo>
                  <a:pt x="3934027" y="3298090"/>
                  <a:pt x="3935090" y="3300885"/>
                  <a:pt x="3937622" y="3303414"/>
                </a:cubicBezTo>
                <a:cubicBezTo>
                  <a:pt x="3939219" y="3305013"/>
                  <a:pt x="3941747" y="3306875"/>
                  <a:pt x="3947605" y="3306875"/>
                </a:cubicBezTo>
                <a:cubicBezTo>
                  <a:pt x="3949602" y="3306875"/>
                  <a:pt x="3951465" y="3306609"/>
                  <a:pt x="3952932" y="3305943"/>
                </a:cubicBezTo>
                <a:cubicBezTo>
                  <a:pt x="3954395" y="3305411"/>
                  <a:pt x="3955726" y="3304612"/>
                  <a:pt x="3956658" y="3303547"/>
                </a:cubicBezTo>
                <a:cubicBezTo>
                  <a:pt x="3957723" y="3302483"/>
                  <a:pt x="3958656" y="3301018"/>
                  <a:pt x="3959321" y="3299421"/>
                </a:cubicBezTo>
                <a:cubicBezTo>
                  <a:pt x="3959987" y="3297824"/>
                  <a:pt x="3960386" y="3295960"/>
                  <a:pt x="3960386" y="3293962"/>
                </a:cubicBezTo>
                <a:cubicBezTo>
                  <a:pt x="3960386" y="3292100"/>
                  <a:pt x="3959987" y="3290369"/>
                  <a:pt x="3959321" y="3288772"/>
                </a:cubicBezTo>
                <a:cubicBezTo>
                  <a:pt x="3958656" y="3287040"/>
                  <a:pt x="3957723" y="3285709"/>
                  <a:pt x="3956658" y="3284512"/>
                </a:cubicBezTo>
                <a:cubicBezTo>
                  <a:pt x="3955593" y="3283446"/>
                  <a:pt x="3954262" y="3282514"/>
                  <a:pt x="3952664" y="3281849"/>
                </a:cubicBezTo>
                <a:cubicBezTo>
                  <a:pt x="3951199" y="3281184"/>
                  <a:pt x="3949602" y="3280919"/>
                  <a:pt x="3947605" y="3280919"/>
                </a:cubicBezTo>
                <a:close/>
                <a:moveTo>
                  <a:pt x="3729951" y="3280919"/>
                </a:moveTo>
                <a:cubicBezTo>
                  <a:pt x="3724094" y="3280919"/>
                  <a:pt x="3721565" y="3282914"/>
                  <a:pt x="3719965" y="3284512"/>
                </a:cubicBezTo>
                <a:cubicBezTo>
                  <a:pt x="3717435" y="3287174"/>
                  <a:pt x="3716373" y="3289970"/>
                  <a:pt x="3716373" y="3293962"/>
                </a:cubicBezTo>
                <a:cubicBezTo>
                  <a:pt x="3716373" y="3298090"/>
                  <a:pt x="3717435" y="3300885"/>
                  <a:pt x="3719965" y="3303414"/>
                </a:cubicBezTo>
                <a:cubicBezTo>
                  <a:pt x="3721565" y="3305013"/>
                  <a:pt x="3724094" y="3306875"/>
                  <a:pt x="3729951" y="3306875"/>
                </a:cubicBezTo>
                <a:cubicBezTo>
                  <a:pt x="3732081" y="3306875"/>
                  <a:pt x="3733812" y="3306609"/>
                  <a:pt x="3735276" y="3305943"/>
                </a:cubicBezTo>
                <a:cubicBezTo>
                  <a:pt x="3736740" y="3305411"/>
                  <a:pt x="3738073" y="3304612"/>
                  <a:pt x="3739003" y="3303547"/>
                </a:cubicBezTo>
                <a:cubicBezTo>
                  <a:pt x="3740068" y="3302483"/>
                  <a:pt x="3741001" y="3301018"/>
                  <a:pt x="3741666" y="3299421"/>
                </a:cubicBezTo>
                <a:cubicBezTo>
                  <a:pt x="3742331" y="3297824"/>
                  <a:pt x="3742731" y="3295960"/>
                  <a:pt x="3742731" y="3293962"/>
                </a:cubicBezTo>
                <a:cubicBezTo>
                  <a:pt x="3742731" y="3292100"/>
                  <a:pt x="3742331" y="3290369"/>
                  <a:pt x="3741666" y="3288772"/>
                </a:cubicBezTo>
                <a:cubicBezTo>
                  <a:pt x="3741001" y="3287040"/>
                  <a:pt x="3740068" y="3285709"/>
                  <a:pt x="3739003" y="3284512"/>
                </a:cubicBezTo>
                <a:cubicBezTo>
                  <a:pt x="3737939" y="3283446"/>
                  <a:pt x="3736608" y="3282514"/>
                  <a:pt x="3735010" y="3281849"/>
                </a:cubicBezTo>
                <a:cubicBezTo>
                  <a:pt x="3733546" y="3281184"/>
                  <a:pt x="3731948" y="3280919"/>
                  <a:pt x="3729951" y="3280919"/>
                </a:cubicBezTo>
                <a:close/>
                <a:moveTo>
                  <a:pt x="3512297" y="3280919"/>
                </a:moveTo>
                <a:cubicBezTo>
                  <a:pt x="3506439" y="3280919"/>
                  <a:pt x="3503909" y="3282914"/>
                  <a:pt x="3502310" y="3284512"/>
                </a:cubicBezTo>
                <a:cubicBezTo>
                  <a:pt x="3499780" y="3287174"/>
                  <a:pt x="3498717" y="3289970"/>
                  <a:pt x="3498717" y="3293962"/>
                </a:cubicBezTo>
                <a:cubicBezTo>
                  <a:pt x="3498717" y="3298090"/>
                  <a:pt x="3499780" y="3300885"/>
                  <a:pt x="3502310" y="3303414"/>
                </a:cubicBezTo>
                <a:cubicBezTo>
                  <a:pt x="3503909" y="3305013"/>
                  <a:pt x="3506439" y="3306875"/>
                  <a:pt x="3512297" y="3306875"/>
                </a:cubicBezTo>
                <a:cubicBezTo>
                  <a:pt x="3514426" y="3306875"/>
                  <a:pt x="3516158" y="3306609"/>
                  <a:pt x="3517622" y="3305943"/>
                </a:cubicBezTo>
                <a:cubicBezTo>
                  <a:pt x="3519086" y="3305411"/>
                  <a:pt x="3520418" y="3304612"/>
                  <a:pt x="3521349" y="3303547"/>
                </a:cubicBezTo>
                <a:cubicBezTo>
                  <a:pt x="3522414" y="3302483"/>
                  <a:pt x="3523346" y="3301018"/>
                  <a:pt x="3524012" y="3299421"/>
                </a:cubicBezTo>
                <a:cubicBezTo>
                  <a:pt x="3524677" y="3297824"/>
                  <a:pt x="3525077" y="3295960"/>
                  <a:pt x="3525077" y="3293962"/>
                </a:cubicBezTo>
                <a:cubicBezTo>
                  <a:pt x="3525077" y="3292100"/>
                  <a:pt x="3524677" y="3290369"/>
                  <a:pt x="3524012" y="3288772"/>
                </a:cubicBezTo>
                <a:cubicBezTo>
                  <a:pt x="3523346" y="3287040"/>
                  <a:pt x="3522414" y="3285709"/>
                  <a:pt x="3521349" y="3284512"/>
                </a:cubicBezTo>
                <a:cubicBezTo>
                  <a:pt x="3520284" y="3283446"/>
                  <a:pt x="3518953" y="3282514"/>
                  <a:pt x="3517356" y="3281849"/>
                </a:cubicBezTo>
                <a:cubicBezTo>
                  <a:pt x="3515892" y="3281184"/>
                  <a:pt x="3514293" y="3280919"/>
                  <a:pt x="3512297" y="3280919"/>
                </a:cubicBezTo>
                <a:close/>
                <a:moveTo>
                  <a:pt x="3294775" y="3280919"/>
                </a:moveTo>
                <a:cubicBezTo>
                  <a:pt x="3288917" y="3280919"/>
                  <a:pt x="3286387" y="3282914"/>
                  <a:pt x="3284790" y="3284512"/>
                </a:cubicBezTo>
                <a:cubicBezTo>
                  <a:pt x="3282259" y="3287174"/>
                  <a:pt x="3281196" y="3289970"/>
                  <a:pt x="3281196" y="3293962"/>
                </a:cubicBezTo>
                <a:cubicBezTo>
                  <a:pt x="3281196" y="3298090"/>
                  <a:pt x="3282259" y="3300885"/>
                  <a:pt x="3284790" y="3303414"/>
                </a:cubicBezTo>
                <a:cubicBezTo>
                  <a:pt x="3286387" y="3305013"/>
                  <a:pt x="3288917" y="3306875"/>
                  <a:pt x="3294775" y="3306875"/>
                </a:cubicBezTo>
                <a:cubicBezTo>
                  <a:pt x="3296772" y="3306875"/>
                  <a:pt x="3298503" y="3306609"/>
                  <a:pt x="3300101" y="3305943"/>
                </a:cubicBezTo>
                <a:cubicBezTo>
                  <a:pt x="3301565" y="3305411"/>
                  <a:pt x="3302897" y="3304612"/>
                  <a:pt x="3303828" y="3303547"/>
                </a:cubicBezTo>
                <a:cubicBezTo>
                  <a:pt x="3304893" y="3302483"/>
                  <a:pt x="3305825" y="3301018"/>
                  <a:pt x="3306491" y="3299421"/>
                </a:cubicBezTo>
                <a:cubicBezTo>
                  <a:pt x="3307156" y="3297824"/>
                  <a:pt x="3307555" y="3295960"/>
                  <a:pt x="3307555" y="3293962"/>
                </a:cubicBezTo>
                <a:cubicBezTo>
                  <a:pt x="3307555" y="3292100"/>
                  <a:pt x="3307156" y="3290369"/>
                  <a:pt x="3306491" y="3288772"/>
                </a:cubicBezTo>
                <a:cubicBezTo>
                  <a:pt x="3305825" y="3287040"/>
                  <a:pt x="3304893" y="3285709"/>
                  <a:pt x="3303828" y="3284512"/>
                </a:cubicBezTo>
                <a:cubicBezTo>
                  <a:pt x="3302763" y="3283446"/>
                  <a:pt x="3301431" y="3282514"/>
                  <a:pt x="3299835" y="3281849"/>
                </a:cubicBezTo>
                <a:cubicBezTo>
                  <a:pt x="3298371" y="3281184"/>
                  <a:pt x="3296772" y="3280919"/>
                  <a:pt x="3294775" y="3280919"/>
                </a:cubicBezTo>
                <a:close/>
                <a:moveTo>
                  <a:pt x="3077254" y="3280919"/>
                </a:moveTo>
                <a:cubicBezTo>
                  <a:pt x="3071396" y="3280919"/>
                  <a:pt x="3068867" y="3282914"/>
                  <a:pt x="3067271" y="3284512"/>
                </a:cubicBezTo>
                <a:cubicBezTo>
                  <a:pt x="3064606" y="3287174"/>
                  <a:pt x="3063541" y="3289970"/>
                  <a:pt x="3063541" y="3293962"/>
                </a:cubicBezTo>
                <a:cubicBezTo>
                  <a:pt x="3063541" y="3298090"/>
                  <a:pt x="3064606" y="3300885"/>
                  <a:pt x="3067136" y="3303414"/>
                </a:cubicBezTo>
                <a:cubicBezTo>
                  <a:pt x="3068734" y="3305013"/>
                  <a:pt x="3071263" y="3306875"/>
                  <a:pt x="3077120" y="3306875"/>
                </a:cubicBezTo>
                <a:cubicBezTo>
                  <a:pt x="3079118" y="3306875"/>
                  <a:pt x="3080848" y="3306609"/>
                  <a:pt x="3082579" y="3305943"/>
                </a:cubicBezTo>
                <a:cubicBezTo>
                  <a:pt x="3084044" y="3305411"/>
                  <a:pt x="3085375" y="3304612"/>
                  <a:pt x="3086306" y="3303547"/>
                </a:cubicBezTo>
                <a:cubicBezTo>
                  <a:pt x="3087371" y="3302483"/>
                  <a:pt x="3088303" y="3301018"/>
                  <a:pt x="3088969" y="3299421"/>
                </a:cubicBezTo>
                <a:cubicBezTo>
                  <a:pt x="3089634" y="3297824"/>
                  <a:pt x="3089901" y="3295960"/>
                  <a:pt x="3089901" y="3293962"/>
                </a:cubicBezTo>
                <a:cubicBezTo>
                  <a:pt x="3089901" y="3292100"/>
                  <a:pt x="3089634" y="3290369"/>
                  <a:pt x="3088969" y="3288772"/>
                </a:cubicBezTo>
                <a:cubicBezTo>
                  <a:pt x="3088303" y="3287040"/>
                  <a:pt x="3087371" y="3285709"/>
                  <a:pt x="3086306" y="3284512"/>
                </a:cubicBezTo>
                <a:cubicBezTo>
                  <a:pt x="3085242" y="3283446"/>
                  <a:pt x="3083910" y="3282514"/>
                  <a:pt x="3082313" y="3281849"/>
                </a:cubicBezTo>
                <a:cubicBezTo>
                  <a:pt x="3080848" y="3281184"/>
                  <a:pt x="3079251" y="3280919"/>
                  <a:pt x="3077254" y="3280919"/>
                </a:cubicBezTo>
                <a:close/>
                <a:moveTo>
                  <a:pt x="2859466" y="3280919"/>
                </a:moveTo>
                <a:cubicBezTo>
                  <a:pt x="2853609" y="3280919"/>
                  <a:pt x="2851080" y="3282914"/>
                  <a:pt x="2849480" y="3284512"/>
                </a:cubicBezTo>
                <a:cubicBezTo>
                  <a:pt x="2846948" y="3287174"/>
                  <a:pt x="2845885" y="3289970"/>
                  <a:pt x="2845885" y="3293962"/>
                </a:cubicBezTo>
                <a:cubicBezTo>
                  <a:pt x="2845885" y="3298090"/>
                  <a:pt x="2846948" y="3300885"/>
                  <a:pt x="2849480" y="3303414"/>
                </a:cubicBezTo>
                <a:cubicBezTo>
                  <a:pt x="2851080" y="3305013"/>
                  <a:pt x="2853609" y="3306875"/>
                  <a:pt x="2859466" y="3306875"/>
                </a:cubicBezTo>
                <a:cubicBezTo>
                  <a:pt x="2861463" y="3306875"/>
                  <a:pt x="2863327" y="3306609"/>
                  <a:pt x="2864791" y="3305943"/>
                </a:cubicBezTo>
                <a:cubicBezTo>
                  <a:pt x="2866389" y="3305411"/>
                  <a:pt x="2867588" y="3304612"/>
                  <a:pt x="2868518" y="3303547"/>
                </a:cubicBezTo>
                <a:cubicBezTo>
                  <a:pt x="2869583" y="3302483"/>
                  <a:pt x="2870516" y="3301018"/>
                  <a:pt x="2871181" y="3299421"/>
                </a:cubicBezTo>
                <a:cubicBezTo>
                  <a:pt x="2871714" y="3297824"/>
                  <a:pt x="2872112" y="3295960"/>
                  <a:pt x="2872112" y="3293962"/>
                </a:cubicBezTo>
                <a:cubicBezTo>
                  <a:pt x="2872112" y="3292100"/>
                  <a:pt x="2871846" y="3290369"/>
                  <a:pt x="2871181" y="3288772"/>
                </a:cubicBezTo>
                <a:cubicBezTo>
                  <a:pt x="2870516" y="3287040"/>
                  <a:pt x="2869583" y="3285709"/>
                  <a:pt x="2868518" y="3284512"/>
                </a:cubicBezTo>
                <a:cubicBezTo>
                  <a:pt x="2867454" y="3283446"/>
                  <a:pt x="2866122" y="3282514"/>
                  <a:pt x="2864526" y="3281849"/>
                </a:cubicBezTo>
                <a:cubicBezTo>
                  <a:pt x="2863062" y="3281184"/>
                  <a:pt x="2861463" y="3280919"/>
                  <a:pt x="2859466" y="3280919"/>
                </a:cubicBezTo>
                <a:close/>
                <a:moveTo>
                  <a:pt x="2641812" y="3280919"/>
                </a:moveTo>
                <a:cubicBezTo>
                  <a:pt x="2635954" y="3280919"/>
                  <a:pt x="2633425" y="3282914"/>
                  <a:pt x="2631829" y="3284512"/>
                </a:cubicBezTo>
                <a:cubicBezTo>
                  <a:pt x="2629298" y="3287174"/>
                  <a:pt x="2628234" y="3289970"/>
                  <a:pt x="2628234" y="3293962"/>
                </a:cubicBezTo>
                <a:cubicBezTo>
                  <a:pt x="2628234" y="3298090"/>
                  <a:pt x="2629298" y="3300885"/>
                  <a:pt x="2631829" y="3303414"/>
                </a:cubicBezTo>
                <a:cubicBezTo>
                  <a:pt x="2633425" y="3305013"/>
                  <a:pt x="2635954" y="3306875"/>
                  <a:pt x="2641812" y="3306875"/>
                </a:cubicBezTo>
                <a:cubicBezTo>
                  <a:pt x="2643808" y="3306875"/>
                  <a:pt x="2645673" y="3306609"/>
                  <a:pt x="2647137" y="3305943"/>
                </a:cubicBezTo>
                <a:cubicBezTo>
                  <a:pt x="2648734" y="3305411"/>
                  <a:pt x="2649932" y="3304612"/>
                  <a:pt x="2650864" y="3303547"/>
                </a:cubicBezTo>
                <a:cubicBezTo>
                  <a:pt x="2651929" y="3302483"/>
                  <a:pt x="2652861" y="3301018"/>
                  <a:pt x="2653527" y="3299421"/>
                </a:cubicBezTo>
                <a:cubicBezTo>
                  <a:pt x="2654059" y="3297824"/>
                  <a:pt x="2654458" y="3295960"/>
                  <a:pt x="2654458" y="3293962"/>
                </a:cubicBezTo>
                <a:cubicBezTo>
                  <a:pt x="2654458" y="3292100"/>
                  <a:pt x="2654192" y="3290369"/>
                  <a:pt x="2653527" y="3288772"/>
                </a:cubicBezTo>
                <a:cubicBezTo>
                  <a:pt x="2652861" y="3287040"/>
                  <a:pt x="2651929" y="3285709"/>
                  <a:pt x="2650864" y="3284512"/>
                </a:cubicBezTo>
                <a:cubicBezTo>
                  <a:pt x="2649799" y="3283446"/>
                  <a:pt x="2648468" y="3282514"/>
                  <a:pt x="2646871" y="3281849"/>
                </a:cubicBezTo>
                <a:cubicBezTo>
                  <a:pt x="2645406" y="3281184"/>
                  <a:pt x="2643808" y="3280919"/>
                  <a:pt x="2641812" y="3280919"/>
                </a:cubicBezTo>
                <a:close/>
                <a:moveTo>
                  <a:pt x="2424157" y="3280919"/>
                </a:moveTo>
                <a:cubicBezTo>
                  <a:pt x="2418300" y="3280919"/>
                  <a:pt x="2415771" y="3282914"/>
                  <a:pt x="2414174" y="3284512"/>
                </a:cubicBezTo>
                <a:cubicBezTo>
                  <a:pt x="2411643" y="3287174"/>
                  <a:pt x="2410580" y="3289970"/>
                  <a:pt x="2410580" y="3293962"/>
                </a:cubicBezTo>
                <a:cubicBezTo>
                  <a:pt x="2410580" y="3298090"/>
                  <a:pt x="2411643" y="3300885"/>
                  <a:pt x="2414174" y="3303414"/>
                </a:cubicBezTo>
                <a:cubicBezTo>
                  <a:pt x="2415771" y="3305013"/>
                  <a:pt x="2418300" y="3306875"/>
                  <a:pt x="2424157" y="3306875"/>
                </a:cubicBezTo>
                <a:cubicBezTo>
                  <a:pt x="2426287" y="3306875"/>
                  <a:pt x="2428018" y="3306609"/>
                  <a:pt x="2429482" y="3305943"/>
                </a:cubicBezTo>
                <a:cubicBezTo>
                  <a:pt x="2431080" y="3305411"/>
                  <a:pt x="2432278" y="3304612"/>
                  <a:pt x="2433209" y="3303547"/>
                </a:cubicBezTo>
                <a:cubicBezTo>
                  <a:pt x="2434274" y="3302483"/>
                  <a:pt x="2435206" y="3301018"/>
                  <a:pt x="2435872" y="3299421"/>
                </a:cubicBezTo>
                <a:cubicBezTo>
                  <a:pt x="2436404" y="3297824"/>
                  <a:pt x="2436803" y="3295960"/>
                  <a:pt x="2436803" y="3293962"/>
                </a:cubicBezTo>
                <a:cubicBezTo>
                  <a:pt x="2436803" y="3292100"/>
                  <a:pt x="2436537" y="3290369"/>
                  <a:pt x="2435872" y="3288772"/>
                </a:cubicBezTo>
                <a:cubicBezTo>
                  <a:pt x="2435206" y="3287040"/>
                  <a:pt x="2434274" y="3285709"/>
                  <a:pt x="2433209" y="3284512"/>
                </a:cubicBezTo>
                <a:cubicBezTo>
                  <a:pt x="2432145" y="3283446"/>
                  <a:pt x="2430814" y="3282514"/>
                  <a:pt x="2429216" y="3281849"/>
                </a:cubicBezTo>
                <a:cubicBezTo>
                  <a:pt x="2427752" y="3281184"/>
                  <a:pt x="2426154" y="3280919"/>
                  <a:pt x="2424157" y="3280919"/>
                </a:cubicBezTo>
                <a:close/>
                <a:moveTo>
                  <a:pt x="2206503" y="3280919"/>
                </a:moveTo>
                <a:cubicBezTo>
                  <a:pt x="2200645" y="3280919"/>
                  <a:pt x="2198116" y="3282914"/>
                  <a:pt x="2196519" y="3284512"/>
                </a:cubicBezTo>
                <a:cubicBezTo>
                  <a:pt x="2193989" y="3287174"/>
                  <a:pt x="2192925" y="3289970"/>
                  <a:pt x="2192925" y="3293962"/>
                </a:cubicBezTo>
                <a:cubicBezTo>
                  <a:pt x="2192925" y="3298090"/>
                  <a:pt x="2193989" y="3300885"/>
                  <a:pt x="2196519" y="3303414"/>
                </a:cubicBezTo>
                <a:cubicBezTo>
                  <a:pt x="2198116" y="3305013"/>
                  <a:pt x="2200645" y="3306875"/>
                  <a:pt x="2206503" y="3306875"/>
                </a:cubicBezTo>
                <a:cubicBezTo>
                  <a:pt x="2208632" y="3306875"/>
                  <a:pt x="2210364" y="3306609"/>
                  <a:pt x="2211828" y="3305943"/>
                </a:cubicBezTo>
                <a:cubicBezTo>
                  <a:pt x="2213425" y="3305411"/>
                  <a:pt x="2214623" y="3304612"/>
                  <a:pt x="2215554" y="3303547"/>
                </a:cubicBezTo>
                <a:cubicBezTo>
                  <a:pt x="2216620" y="3302483"/>
                  <a:pt x="2217551" y="3301018"/>
                  <a:pt x="2218218" y="3299421"/>
                </a:cubicBezTo>
                <a:cubicBezTo>
                  <a:pt x="2218750" y="3297824"/>
                  <a:pt x="2219149" y="3295960"/>
                  <a:pt x="2219149" y="3293962"/>
                </a:cubicBezTo>
                <a:cubicBezTo>
                  <a:pt x="2219149" y="3292100"/>
                  <a:pt x="2218883" y="3290369"/>
                  <a:pt x="2218218" y="3288772"/>
                </a:cubicBezTo>
                <a:cubicBezTo>
                  <a:pt x="2217551" y="3287040"/>
                  <a:pt x="2216620" y="3285709"/>
                  <a:pt x="2215554" y="3284512"/>
                </a:cubicBezTo>
                <a:cubicBezTo>
                  <a:pt x="2214489" y="3283446"/>
                  <a:pt x="2213159" y="3282514"/>
                  <a:pt x="2211561" y="3281849"/>
                </a:cubicBezTo>
                <a:cubicBezTo>
                  <a:pt x="2210097" y="3281184"/>
                  <a:pt x="2208499" y="3280919"/>
                  <a:pt x="2206503" y="3280919"/>
                </a:cubicBezTo>
                <a:close/>
                <a:moveTo>
                  <a:pt x="1988981" y="3280919"/>
                </a:moveTo>
                <a:cubicBezTo>
                  <a:pt x="1983124" y="3280919"/>
                  <a:pt x="1980595" y="3282914"/>
                  <a:pt x="1978998" y="3284512"/>
                </a:cubicBezTo>
                <a:cubicBezTo>
                  <a:pt x="1976468" y="3287174"/>
                  <a:pt x="1975404" y="3289970"/>
                  <a:pt x="1975404" y="3293962"/>
                </a:cubicBezTo>
                <a:cubicBezTo>
                  <a:pt x="1975404" y="3298090"/>
                  <a:pt x="1976468" y="3300885"/>
                  <a:pt x="1978998" y="3303414"/>
                </a:cubicBezTo>
                <a:cubicBezTo>
                  <a:pt x="1980595" y="3305013"/>
                  <a:pt x="1983124" y="3306875"/>
                  <a:pt x="1988981" y="3306875"/>
                </a:cubicBezTo>
                <a:cubicBezTo>
                  <a:pt x="1990978" y="3306875"/>
                  <a:pt x="1992709" y="3306609"/>
                  <a:pt x="1994306" y="3305943"/>
                </a:cubicBezTo>
                <a:cubicBezTo>
                  <a:pt x="1995904" y="3305411"/>
                  <a:pt x="1997102" y="3304612"/>
                  <a:pt x="1998033" y="3303547"/>
                </a:cubicBezTo>
                <a:cubicBezTo>
                  <a:pt x="1999098" y="3302483"/>
                  <a:pt x="2000030" y="3301018"/>
                  <a:pt x="2000696" y="3299421"/>
                </a:cubicBezTo>
                <a:cubicBezTo>
                  <a:pt x="2001228" y="3297824"/>
                  <a:pt x="2001627" y="3295960"/>
                  <a:pt x="2001627" y="3293962"/>
                </a:cubicBezTo>
                <a:cubicBezTo>
                  <a:pt x="2001627" y="3292100"/>
                  <a:pt x="2001361" y="3290369"/>
                  <a:pt x="2000696" y="3288772"/>
                </a:cubicBezTo>
                <a:cubicBezTo>
                  <a:pt x="2000030" y="3287040"/>
                  <a:pt x="1999098" y="3285709"/>
                  <a:pt x="1998033" y="3284512"/>
                </a:cubicBezTo>
                <a:cubicBezTo>
                  <a:pt x="1996969" y="3283446"/>
                  <a:pt x="1995637" y="3282514"/>
                  <a:pt x="1994040" y="3281849"/>
                </a:cubicBezTo>
                <a:cubicBezTo>
                  <a:pt x="1992576" y="3281184"/>
                  <a:pt x="1990978" y="3280919"/>
                  <a:pt x="1988981" y="3280919"/>
                </a:cubicBezTo>
                <a:close/>
                <a:moveTo>
                  <a:pt x="1771343" y="3280919"/>
                </a:moveTo>
                <a:cubicBezTo>
                  <a:pt x="1765486" y="3280919"/>
                  <a:pt x="1762957" y="3282914"/>
                  <a:pt x="1761360" y="3284512"/>
                </a:cubicBezTo>
                <a:cubicBezTo>
                  <a:pt x="1758831" y="3287174"/>
                  <a:pt x="1757766" y="3289970"/>
                  <a:pt x="1757766" y="3293962"/>
                </a:cubicBezTo>
                <a:cubicBezTo>
                  <a:pt x="1757766" y="3298090"/>
                  <a:pt x="1758831" y="3300885"/>
                  <a:pt x="1761360" y="3303414"/>
                </a:cubicBezTo>
                <a:cubicBezTo>
                  <a:pt x="1762957" y="3305013"/>
                  <a:pt x="1765486" y="3306875"/>
                  <a:pt x="1771343" y="3306875"/>
                </a:cubicBezTo>
                <a:cubicBezTo>
                  <a:pt x="1773340" y="3306875"/>
                  <a:pt x="1775204" y="3306609"/>
                  <a:pt x="1776668" y="3305943"/>
                </a:cubicBezTo>
                <a:cubicBezTo>
                  <a:pt x="1778132" y="3305411"/>
                  <a:pt x="1779462" y="3304612"/>
                  <a:pt x="1780394" y="3303547"/>
                </a:cubicBezTo>
                <a:cubicBezTo>
                  <a:pt x="1781459" y="3302483"/>
                  <a:pt x="1782391" y="3301018"/>
                  <a:pt x="1783057" y="3299421"/>
                </a:cubicBezTo>
                <a:cubicBezTo>
                  <a:pt x="1783722" y="3297824"/>
                  <a:pt x="1784122" y="3295960"/>
                  <a:pt x="1784122" y="3293962"/>
                </a:cubicBezTo>
                <a:cubicBezTo>
                  <a:pt x="1784122" y="3292100"/>
                  <a:pt x="1783722" y="3290369"/>
                  <a:pt x="1783057" y="3288772"/>
                </a:cubicBezTo>
                <a:cubicBezTo>
                  <a:pt x="1782391" y="3287040"/>
                  <a:pt x="1781459" y="3285709"/>
                  <a:pt x="1780394" y="3284512"/>
                </a:cubicBezTo>
                <a:cubicBezTo>
                  <a:pt x="1779329" y="3283446"/>
                  <a:pt x="1777999" y="3282514"/>
                  <a:pt x="1776402" y="3281849"/>
                </a:cubicBezTo>
                <a:cubicBezTo>
                  <a:pt x="1774937" y="3281184"/>
                  <a:pt x="1773340" y="3280919"/>
                  <a:pt x="1771343" y="3280919"/>
                </a:cubicBezTo>
                <a:close/>
                <a:moveTo>
                  <a:pt x="1553702" y="3280919"/>
                </a:moveTo>
                <a:cubicBezTo>
                  <a:pt x="1547845" y="3280919"/>
                  <a:pt x="1545316" y="3282914"/>
                  <a:pt x="1543719" y="3284512"/>
                </a:cubicBezTo>
                <a:cubicBezTo>
                  <a:pt x="1541189" y="3287174"/>
                  <a:pt x="1540125" y="3289970"/>
                  <a:pt x="1540125" y="3293962"/>
                </a:cubicBezTo>
                <a:cubicBezTo>
                  <a:pt x="1540125" y="3298090"/>
                  <a:pt x="1541189" y="3300885"/>
                  <a:pt x="1543719" y="3303414"/>
                </a:cubicBezTo>
                <a:cubicBezTo>
                  <a:pt x="1545316" y="3305013"/>
                  <a:pt x="1547845" y="3306875"/>
                  <a:pt x="1553702" y="3306875"/>
                </a:cubicBezTo>
                <a:cubicBezTo>
                  <a:pt x="1555699" y="3306875"/>
                  <a:pt x="1557563" y="3306609"/>
                  <a:pt x="1559027" y="3305943"/>
                </a:cubicBezTo>
                <a:cubicBezTo>
                  <a:pt x="1560491" y="3305411"/>
                  <a:pt x="1561823" y="3304612"/>
                  <a:pt x="1562754" y="3303547"/>
                </a:cubicBezTo>
                <a:cubicBezTo>
                  <a:pt x="1563819" y="3302483"/>
                  <a:pt x="1564751" y="3301018"/>
                  <a:pt x="1565417" y="3299421"/>
                </a:cubicBezTo>
                <a:cubicBezTo>
                  <a:pt x="1566082" y="3297824"/>
                  <a:pt x="1566482" y="3295960"/>
                  <a:pt x="1566482" y="3293962"/>
                </a:cubicBezTo>
                <a:cubicBezTo>
                  <a:pt x="1566482" y="3292100"/>
                  <a:pt x="1566082" y="3290369"/>
                  <a:pt x="1565417" y="3288772"/>
                </a:cubicBezTo>
                <a:cubicBezTo>
                  <a:pt x="1564751" y="3287040"/>
                  <a:pt x="1563819" y="3285709"/>
                  <a:pt x="1562754" y="3284512"/>
                </a:cubicBezTo>
                <a:cubicBezTo>
                  <a:pt x="1561689" y="3283446"/>
                  <a:pt x="1560358" y="3282514"/>
                  <a:pt x="1558761" y="3281849"/>
                </a:cubicBezTo>
                <a:cubicBezTo>
                  <a:pt x="1557297" y="3281184"/>
                  <a:pt x="1555699" y="3280919"/>
                  <a:pt x="1553702" y="3280919"/>
                </a:cubicBezTo>
                <a:close/>
                <a:moveTo>
                  <a:pt x="1336057" y="3280919"/>
                </a:moveTo>
                <a:cubicBezTo>
                  <a:pt x="1330200" y="3280919"/>
                  <a:pt x="1327671" y="3282914"/>
                  <a:pt x="1326075" y="3284512"/>
                </a:cubicBezTo>
                <a:cubicBezTo>
                  <a:pt x="1323544" y="3287174"/>
                  <a:pt x="1322480" y="3289970"/>
                  <a:pt x="1322480" y="3293962"/>
                </a:cubicBezTo>
                <a:cubicBezTo>
                  <a:pt x="1322480" y="3298090"/>
                  <a:pt x="1323544" y="3300885"/>
                  <a:pt x="1326075" y="3303414"/>
                </a:cubicBezTo>
                <a:cubicBezTo>
                  <a:pt x="1327671" y="3305013"/>
                  <a:pt x="1330200" y="3306875"/>
                  <a:pt x="1336057" y="3306875"/>
                </a:cubicBezTo>
                <a:cubicBezTo>
                  <a:pt x="1338188" y="3306875"/>
                  <a:pt x="1339918" y="3306609"/>
                  <a:pt x="1341384" y="3305943"/>
                </a:cubicBezTo>
                <a:cubicBezTo>
                  <a:pt x="1342848" y="3305411"/>
                  <a:pt x="1344179" y="3304612"/>
                  <a:pt x="1345111" y="3303547"/>
                </a:cubicBezTo>
                <a:cubicBezTo>
                  <a:pt x="1346175" y="3302483"/>
                  <a:pt x="1347109" y="3301018"/>
                  <a:pt x="1347774" y="3299421"/>
                </a:cubicBezTo>
                <a:cubicBezTo>
                  <a:pt x="1348439" y="3297824"/>
                  <a:pt x="1348840" y="3295960"/>
                  <a:pt x="1348840" y="3293962"/>
                </a:cubicBezTo>
                <a:cubicBezTo>
                  <a:pt x="1348840" y="3292100"/>
                  <a:pt x="1348439" y="3290369"/>
                  <a:pt x="1347774" y="3288772"/>
                </a:cubicBezTo>
                <a:cubicBezTo>
                  <a:pt x="1347109" y="3287040"/>
                  <a:pt x="1346175" y="3285709"/>
                  <a:pt x="1345111" y="3284512"/>
                </a:cubicBezTo>
                <a:cubicBezTo>
                  <a:pt x="1344046" y="3283446"/>
                  <a:pt x="1342715" y="3282514"/>
                  <a:pt x="1341117" y="3281849"/>
                </a:cubicBezTo>
                <a:cubicBezTo>
                  <a:pt x="1339653" y="3281184"/>
                  <a:pt x="1338054" y="3280919"/>
                  <a:pt x="1336057" y="3280919"/>
                </a:cubicBezTo>
                <a:close/>
                <a:moveTo>
                  <a:pt x="1118546" y="3280919"/>
                </a:moveTo>
                <a:cubicBezTo>
                  <a:pt x="1112688" y="3280919"/>
                  <a:pt x="1110158" y="3282914"/>
                  <a:pt x="1108561" y="3284512"/>
                </a:cubicBezTo>
                <a:cubicBezTo>
                  <a:pt x="1105899" y="3287174"/>
                  <a:pt x="1104834" y="3289970"/>
                  <a:pt x="1104834" y="3293962"/>
                </a:cubicBezTo>
                <a:cubicBezTo>
                  <a:pt x="1104834" y="3298090"/>
                  <a:pt x="1105899" y="3300885"/>
                  <a:pt x="1108429" y="3303414"/>
                </a:cubicBezTo>
                <a:cubicBezTo>
                  <a:pt x="1110026" y="3305013"/>
                  <a:pt x="1112555" y="3306875"/>
                  <a:pt x="1118413" y="3306875"/>
                </a:cubicBezTo>
                <a:cubicBezTo>
                  <a:pt x="1120543" y="3306875"/>
                  <a:pt x="1122275" y="3306609"/>
                  <a:pt x="1123870" y="3305943"/>
                </a:cubicBezTo>
                <a:cubicBezTo>
                  <a:pt x="1125335" y="3305411"/>
                  <a:pt x="1126669" y="3304612"/>
                  <a:pt x="1127599" y="3303547"/>
                </a:cubicBezTo>
                <a:cubicBezTo>
                  <a:pt x="1128664" y="3302483"/>
                  <a:pt x="1129596" y="3301018"/>
                  <a:pt x="1130262" y="3299421"/>
                </a:cubicBezTo>
                <a:cubicBezTo>
                  <a:pt x="1130927" y="3297824"/>
                  <a:pt x="1131328" y="3295960"/>
                  <a:pt x="1131328" y="3293962"/>
                </a:cubicBezTo>
                <a:cubicBezTo>
                  <a:pt x="1131328" y="3292100"/>
                  <a:pt x="1130927" y="3290369"/>
                  <a:pt x="1130262" y="3288772"/>
                </a:cubicBezTo>
                <a:cubicBezTo>
                  <a:pt x="1129596" y="3287040"/>
                  <a:pt x="1128664" y="3285709"/>
                  <a:pt x="1127599" y="3284512"/>
                </a:cubicBezTo>
                <a:cubicBezTo>
                  <a:pt x="1126534" y="3283446"/>
                  <a:pt x="1125203" y="3282514"/>
                  <a:pt x="1123604" y="3281849"/>
                </a:cubicBezTo>
                <a:cubicBezTo>
                  <a:pt x="1122142" y="3281184"/>
                  <a:pt x="1120543" y="3280919"/>
                  <a:pt x="1118546" y="3280919"/>
                </a:cubicBezTo>
                <a:close/>
                <a:moveTo>
                  <a:pt x="901034" y="3280919"/>
                </a:moveTo>
                <a:cubicBezTo>
                  <a:pt x="895176" y="3280919"/>
                  <a:pt x="892647" y="3282914"/>
                  <a:pt x="891050" y="3284512"/>
                </a:cubicBezTo>
                <a:cubicBezTo>
                  <a:pt x="888387" y="3287174"/>
                  <a:pt x="887323" y="3289970"/>
                  <a:pt x="887323" y="3293962"/>
                </a:cubicBezTo>
                <a:cubicBezTo>
                  <a:pt x="887323" y="3298090"/>
                  <a:pt x="888387" y="3300885"/>
                  <a:pt x="890917" y="3303414"/>
                </a:cubicBezTo>
                <a:cubicBezTo>
                  <a:pt x="892514" y="3305013"/>
                  <a:pt x="895043" y="3306875"/>
                  <a:pt x="900900" y="3306875"/>
                </a:cubicBezTo>
                <a:cubicBezTo>
                  <a:pt x="902897" y="3306875"/>
                  <a:pt x="904628" y="3306609"/>
                  <a:pt x="906358" y="3305943"/>
                </a:cubicBezTo>
                <a:cubicBezTo>
                  <a:pt x="907822" y="3305411"/>
                  <a:pt x="909154" y="3304612"/>
                  <a:pt x="910086" y="3303547"/>
                </a:cubicBezTo>
                <a:cubicBezTo>
                  <a:pt x="911150" y="3302483"/>
                  <a:pt x="912083" y="3301018"/>
                  <a:pt x="912748" y="3299421"/>
                </a:cubicBezTo>
                <a:cubicBezTo>
                  <a:pt x="913413" y="3297824"/>
                  <a:pt x="913814" y="3295960"/>
                  <a:pt x="913814" y="3293962"/>
                </a:cubicBezTo>
                <a:cubicBezTo>
                  <a:pt x="913814" y="3292100"/>
                  <a:pt x="913413" y="3290369"/>
                  <a:pt x="912748" y="3288772"/>
                </a:cubicBezTo>
                <a:cubicBezTo>
                  <a:pt x="912083" y="3287040"/>
                  <a:pt x="911150" y="3285709"/>
                  <a:pt x="910086" y="3284512"/>
                </a:cubicBezTo>
                <a:cubicBezTo>
                  <a:pt x="909021" y="3283446"/>
                  <a:pt x="907689" y="3282514"/>
                  <a:pt x="906092" y="3281849"/>
                </a:cubicBezTo>
                <a:cubicBezTo>
                  <a:pt x="904628" y="3281184"/>
                  <a:pt x="903030" y="3280919"/>
                  <a:pt x="901034" y="3280919"/>
                </a:cubicBezTo>
                <a:close/>
                <a:moveTo>
                  <a:pt x="683258" y="3280919"/>
                </a:moveTo>
                <a:cubicBezTo>
                  <a:pt x="677401" y="3280919"/>
                  <a:pt x="674872" y="3282914"/>
                  <a:pt x="673275" y="3284512"/>
                </a:cubicBezTo>
                <a:cubicBezTo>
                  <a:pt x="670745" y="3287174"/>
                  <a:pt x="669681" y="3289970"/>
                  <a:pt x="669681" y="3293962"/>
                </a:cubicBezTo>
                <a:cubicBezTo>
                  <a:pt x="669681" y="3298090"/>
                  <a:pt x="670745" y="3300885"/>
                  <a:pt x="673275" y="3303414"/>
                </a:cubicBezTo>
                <a:cubicBezTo>
                  <a:pt x="674872" y="3305013"/>
                  <a:pt x="677401" y="3306875"/>
                  <a:pt x="683258" y="3306875"/>
                </a:cubicBezTo>
                <a:cubicBezTo>
                  <a:pt x="685255" y="3306875"/>
                  <a:pt x="687119" y="3306609"/>
                  <a:pt x="688584" y="3305943"/>
                </a:cubicBezTo>
                <a:cubicBezTo>
                  <a:pt x="690048" y="3305411"/>
                  <a:pt x="691379" y="3304612"/>
                  <a:pt x="692310" y="3303547"/>
                </a:cubicBezTo>
                <a:cubicBezTo>
                  <a:pt x="693375" y="3302483"/>
                  <a:pt x="694307" y="3301018"/>
                  <a:pt x="694974" y="3299421"/>
                </a:cubicBezTo>
                <a:cubicBezTo>
                  <a:pt x="695639" y="3297824"/>
                  <a:pt x="696039" y="3295960"/>
                  <a:pt x="696039" y="3293962"/>
                </a:cubicBezTo>
                <a:cubicBezTo>
                  <a:pt x="696039" y="3292100"/>
                  <a:pt x="695639" y="3290369"/>
                  <a:pt x="694974" y="3288772"/>
                </a:cubicBezTo>
                <a:cubicBezTo>
                  <a:pt x="694307" y="3287040"/>
                  <a:pt x="693375" y="3285709"/>
                  <a:pt x="692310" y="3284512"/>
                </a:cubicBezTo>
                <a:cubicBezTo>
                  <a:pt x="691245" y="3283446"/>
                  <a:pt x="689914" y="3282514"/>
                  <a:pt x="688317" y="3281849"/>
                </a:cubicBezTo>
                <a:cubicBezTo>
                  <a:pt x="686853" y="3281184"/>
                  <a:pt x="685255" y="3280919"/>
                  <a:pt x="683258" y="3280919"/>
                </a:cubicBezTo>
                <a:close/>
                <a:moveTo>
                  <a:pt x="465615" y="3280919"/>
                </a:moveTo>
                <a:cubicBezTo>
                  <a:pt x="459758" y="3280919"/>
                  <a:pt x="457230" y="3282914"/>
                  <a:pt x="455632" y="3284512"/>
                </a:cubicBezTo>
                <a:cubicBezTo>
                  <a:pt x="453102" y="3287174"/>
                  <a:pt x="452038" y="3289970"/>
                  <a:pt x="452038" y="3293962"/>
                </a:cubicBezTo>
                <a:cubicBezTo>
                  <a:pt x="452038" y="3298090"/>
                  <a:pt x="453102" y="3300885"/>
                  <a:pt x="455632" y="3303414"/>
                </a:cubicBezTo>
                <a:cubicBezTo>
                  <a:pt x="457230" y="3305013"/>
                  <a:pt x="459758" y="3306875"/>
                  <a:pt x="465615" y="3306875"/>
                </a:cubicBezTo>
                <a:cubicBezTo>
                  <a:pt x="467613" y="3306875"/>
                  <a:pt x="469477" y="3306609"/>
                  <a:pt x="470941" y="3305943"/>
                </a:cubicBezTo>
                <a:cubicBezTo>
                  <a:pt x="472405" y="3305411"/>
                  <a:pt x="473736" y="3304612"/>
                  <a:pt x="474668" y="3303547"/>
                </a:cubicBezTo>
                <a:cubicBezTo>
                  <a:pt x="475733" y="3302483"/>
                  <a:pt x="476665" y="3301018"/>
                  <a:pt x="477331" y="3299421"/>
                </a:cubicBezTo>
                <a:cubicBezTo>
                  <a:pt x="477996" y="3297824"/>
                  <a:pt x="478396" y="3295960"/>
                  <a:pt x="478396" y="3293962"/>
                </a:cubicBezTo>
                <a:cubicBezTo>
                  <a:pt x="478396" y="3292100"/>
                  <a:pt x="477996" y="3290369"/>
                  <a:pt x="477331" y="3288772"/>
                </a:cubicBezTo>
                <a:cubicBezTo>
                  <a:pt x="476665" y="3287040"/>
                  <a:pt x="475733" y="3285709"/>
                  <a:pt x="474668" y="3284512"/>
                </a:cubicBezTo>
                <a:cubicBezTo>
                  <a:pt x="473603" y="3283446"/>
                  <a:pt x="472272" y="3282514"/>
                  <a:pt x="470675" y="3281849"/>
                </a:cubicBezTo>
                <a:cubicBezTo>
                  <a:pt x="469210" y="3281184"/>
                  <a:pt x="467613" y="3280919"/>
                  <a:pt x="465615" y="3280919"/>
                </a:cubicBezTo>
                <a:close/>
                <a:moveTo>
                  <a:pt x="247973" y="3280919"/>
                </a:moveTo>
                <a:cubicBezTo>
                  <a:pt x="242116" y="3280919"/>
                  <a:pt x="239587" y="3282914"/>
                  <a:pt x="237990" y="3284512"/>
                </a:cubicBezTo>
                <a:cubicBezTo>
                  <a:pt x="235460" y="3287174"/>
                  <a:pt x="234396" y="3289970"/>
                  <a:pt x="234396" y="3293962"/>
                </a:cubicBezTo>
                <a:cubicBezTo>
                  <a:pt x="234396" y="3298090"/>
                  <a:pt x="235460" y="3300885"/>
                  <a:pt x="237990" y="3303414"/>
                </a:cubicBezTo>
                <a:cubicBezTo>
                  <a:pt x="239587" y="3305013"/>
                  <a:pt x="242116" y="3306875"/>
                  <a:pt x="247973" y="3306875"/>
                </a:cubicBezTo>
                <a:cubicBezTo>
                  <a:pt x="250103" y="3306875"/>
                  <a:pt x="251834" y="3306609"/>
                  <a:pt x="253298" y="3305943"/>
                </a:cubicBezTo>
                <a:cubicBezTo>
                  <a:pt x="254762" y="3305411"/>
                  <a:pt x="256092" y="3304612"/>
                  <a:pt x="257024" y="3303547"/>
                </a:cubicBezTo>
                <a:cubicBezTo>
                  <a:pt x="258089" y="3302483"/>
                  <a:pt x="259021" y="3301018"/>
                  <a:pt x="259687" y="3299421"/>
                </a:cubicBezTo>
                <a:cubicBezTo>
                  <a:pt x="260352" y="3297824"/>
                  <a:pt x="260752" y="3295960"/>
                  <a:pt x="260752" y="3293962"/>
                </a:cubicBezTo>
                <a:cubicBezTo>
                  <a:pt x="260752" y="3292100"/>
                  <a:pt x="260352" y="3290369"/>
                  <a:pt x="259687" y="3288772"/>
                </a:cubicBezTo>
                <a:cubicBezTo>
                  <a:pt x="259021" y="3287040"/>
                  <a:pt x="258089" y="3285709"/>
                  <a:pt x="257024" y="3284512"/>
                </a:cubicBezTo>
                <a:cubicBezTo>
                  <a:pt x="255959" y="3283446"/>
                  <a:pt x="254628" y="3282514"/>
                  <a:pt x="253032" y="3281849"/>
                </a:cubicBezTo>
                <a:cubicBezTo>
                  <a:pt x="251567" y="3281184"/>
                  <a:pt x="249970" y="3280919"/>
                  <a:pt x="247973" y="3280919"/>
                </a:cubicBezTo>
                <a:close/>
                <a:moveTo>
                  <a:pt x="30330" y="3280919"/>
                </a:moveTo>
                <a:cubicBezTo>
                  <a:pt x="24473" y="3280919"/>
                  <a:pt x="21944" y="3282914"/>
                  <a:pt x="20347" y="3284512"/>
                </a:cubicBezTo>
                <a:cubicBezTo>
                  <a:pt x="17817" y="3287174"/>
                  <a:pt x="16753" y="3289970"/>
                  <a:pt x="16753" y="3293962"/>
                </a:cubicBezTo>
                <a:cubicBezTo>
                  <a:pt x="16753" y="3298090"/>
                  <a:pt x="17817" y="3300885"/>
                  <a:pt x="20347" y="3303414"/>
                </a:cubicBezTo>
                <a:cubicBezTo>
                  <a:pt x="21944" y="3305013"/>
                  <a:pt x="24473" y="3306875"/>
                  <a:pt x="30330" y="3306875"/>
                </a:cubicBezTo>
                <a:cubicBezTo>
                  <a:pt x="32460" y="3306875"/>
                  <a:pt x="34191" y="3306609"/>
                  <a:pt x="35655" y="3305943"/>
                </a:cubicBezTo>
                <a:cubicBezTo>
                  <a:pt x="37119" y="3305411"/>
                  <a:pt x="38451" y="3304612"/>
                  <a:pt x="39382" y="3303547"/>
                </a:cubicBezTo>
                <a:cubicBezTo>
                  <a:pt x="40447" y="3302483"/>
                  <a:pt x="41379" y="3301018"/>
                  <a:pt x="42045" y="3299421"/>
                </a:cubicBezTo>
                <a:cubicBezTo>
                  <a:pt x="42710" y="3297824"/>
                  <a:pt x="42976" y="3295960"/>
                  <a:pt x="42976" y="3293962"/>
                </a:cubicBezTo>
                <a:cubicBezTo>
                  <a:pt x="42976" y="3292100"/>
                  <a:pt x="42710" y="3290369"/>
                  <a:pt x="42045" y="3288772"/>
                </a:cubicBezTo>
                <a:cubicBezTo>
                  <a:pt x="41379" y="3287040"/>
                  <a:pt x="40447" y="3285709"/>
                  <a:pt x="39382" y="3284512"/>
                </a:cubicBezTo>
                <a:cubicBezTo>
                  <a:pt x="38317" y="3283446"/>
                  <a:pt x="36986" y="3282514"/>
                  <a:pt x="35389" y="3281849"/>
                </a:cubicBezTo>
                <a:cubicBezTo>
                  <a:pt x="33925" y="3281184"/>
                  <a:pt x="32327" y="3280919"/>
                  <a:pt x="30330" y="3280919"/>
                </a:cubicBezTo>
                <a:close/>
                <a:moveTo>
                  <a:pt x="10475977" y="3264278"/>
                </a:moveTo>
                <a:cubicBezTo>
                  <a:pt x="10480237" y="3264278"/>
                  <a:pt x="10484230" y="3265076"/>
                  <a:pt x="10487824" y="3266807"/>
                </a:cubicBezTo>
                <a:cubicBezTo>
                  <a:pt x="10491419" y="3268405"/>
                  <a:pt x="10494613" y="3270534"/>
                  <a:pt x="10497143" y="3273196"/>
                </a:cubicBezTo>
                <a:cubicBezTo>
                  <a:pt x="10499672" y="3275859"/>
                  <a:pt x="10501801" y="3279054"/>
                  <a:pt x="10503266" y="3282648"/>
                </a:cubicBezTo>
                <a:cubicBezTo>
                  <a:pt x="10504730" y="3286242"/>
                  <a:pt x="10505529" y="3289970"/>
                  <a:pt x="10505529" y="3294096"/>
                </a:cubicBezTo>
                <a:cubicBezTo>
                  <a:pt x="10505529" y="3298223"/>
                  <a:pt x="10504730" y="3302216"/>
                  <a:pt x="10503266" y="3305811"/>
                </a:cubicBezTo>
                <a:cubicBezTo>
                  <a:pt x="10501669" y="3309405"/>
                  <a:pt x="10499672" y="3312466"/>
                  <a:pt x="10497143" y="3315129"/>
                </a:cubicBezTo>
                <a:cubicBezTo>
                  <a:pt x="10494480" y="3317791"/>
                  <a:pt x="10491419" y="3319921"/>
                  <a:pt x="10487824" y="3321385"/>
                </a:cubicBezTo>
                <a:cubicBezTo>
                  <a:pt x="10484098" y="3322850"/>
                  <a:pt x="10480237" y="3323648"/>
                  <a:pt x="10475977" y="3323648"/>
                </a:cubicBezTo>
                <a:cubicBezTo>
                  <a:pt x="10466924" y="3323648"/>
                  <a:pt x="10459736" y="3320721"/>
                  <a:pt x="10454145" y="3315129"/>
                </a:cubicBezTo>
                <a:cubicBezTo>
                  <a:pt x="10448554" y="3309538"/>
                  <a:pt x="10445759" y="3302483"/>
                  <a:pt x="10445759" y="3293962"/>
                </a:cubicBezTo>
                <a:cubicBezTo>
                  <a:pt x="10445759" y="3285709"/>
                  <a:pt x="10448554" y="3278655"/>
                  <a:pt x="10454145" y="3272931"/>
                </a:cubicBezTo>
                <a:cubicBezTo>
                  <a:pt x="10459603" y="3267207"/>
                  <a:pt x="10466924" y="3264278"/>
                  <a:pt x="10475977" y="3264278"/>
                </a:cubicBezTo>
                <a:close/>
                <a:moveTo>
                  <a:pt x="10258466" y="3264278"/>
                </a:moveTo>
                <a:cubicBezTo>
                  <a:pt x="10262592" y="3264278"/>
                  <a:pt x="10266586" y="3265076"/>
                  <a:pt x="10270313" y="3266807"/>
                </a:cubicBezTo>
                <a:cubicBezTo>
                  <a:pt x="10273907" y="3268405"/>
                  <a:pt x="10277101" y="3270534"/>
                  <a:pt x="10279631" y="3273196"/>
                </a:cubicBezTo>
                <a:cubicBezTo>
                  <a:pt x="10282160" y="3275859"/>
                  <a:pt x="10284290" y="3279054"/>
                  <a:pt x="10285754" y="3282648"/>
                </a:cubicBezTo>
                <a:cubicBezTo>
                  <a:pt x="10287218" y="3286242"/>
                  <a:pt x="10288017" y="3289970"/>
                  <a:pt x="10288017" y="3294096"/>
                </a:cubicBezTo>
                <a:cubicBezTo>
                  <a:pt x="10288017" y="3298223"/>
                  <a:pt x="10287218" y="3302216"/>
                  <a:pt x="10285754" y="3305811"/>
                </a:cubicBezTo>
                <a:cubicBezTo>
                  <a:pt x="10284157" y="3309405"/>
                  <a:pt x="10282160" y="3312466"/>
                  <a:pt x="10279631" y="3315129"/>
                </a:cubicBezTo>
                <a:cubicBezTo>
                  <a:pt x="10276969" y="3317791"/>
                  <a:pt x="10273907" y="3319921"/>
                  <a:pt x="10270313" y="3321385"/>
                </a:cubicBezTo>
                <a:cubicBezTo>
                  <a:pt x="10266586" y="3322850"/>
                  <a:pt x="10262725" y="3323648"/>
                  <a:pt x="10258466" y="3323648"/>
                </a:cubicBezTo>
                <a:cubicBezTo>
                  <a:pt x="10249546" y="3323648"/>
                  <a:pt x="10242224" y="3320721"/>
                  <a:pt x="10236633" y="3315129"/>
                </a:cubicBezTo>
                <a:cubicBezTo>
                  <a:pt x="10231043" y="3309538"/>
                  <a:pt x="10228247" y="3302483"/>
                  <a:pt x="10228247" y="3293962"/>
                </a:cubicBezTo>
                <a:cubicBezTo>
                  <a:pt x="10228247" y="3285709"/>
                  <a:pt x="10231043" y="3278655"/>
                  <a:pt x="10236633" y="3272931"/>
                </a:cubicBezTo>
                <a:cubicBezTo>
                  <a:pt x="10242092" y="3267207"/>
                  <a:pt x="10249413" y="3264278"/>
                  <a:pt x="10258466" y="3264278"/>
                </a:cubicBezTo>
                <a:close/>
                <a:moveTo>
                  <a:pt x="10040820" y="3264278"/>
                </a:moveTo>
                <a:cubicBezTo>
                  <a:pt x="10045080" y="3264278"/>
                  <a:pt x="10048941" y="3265076"/>
                  <a:pt x="10052534" y="3266807"/>
                </a:cubicBezTo>
                <a:cubicBezTo>
                  <a:pt x="10056129" y="3268405"/>
                  <a:pt x="10059323" y="3270534"/>
                  <a:pt x="10061852" y="3273196"/>
                </a:cubicBezTo>
                <a:cubicBezTo>
                  <a:pt x="10064382" y="3275859"/>
                  <a:pt x="10066512" y="3279054"/>
                  <a:pt x="10067976" y="3282648"/>
                </a:cubicBezTo>
                <a:cubicBezTo>
                  <a:pt x="10069440" y="3286242"/>
                  <a:pt x="10070239" y="3289970"/>
                  <a:pt x="10070239" y="3294096"/>
                </a:cubicBezTo>
                <a:cubicBezTo>
                  <a:pt x="10070239" y="3298223"/>
                  <a:pt x="10069440" y="3302216"/>
                  <a:pt x="10067976" y="3305811"/>
                </a:cubicBezTo>
                <a:cubicBezTo>
                  <a:pt x="10066379" y="3309405"/>
                  <a:pt x="10064382" y="3312466"/>
                  <a:pt x="10061852" y="3315129"/>
                </a:cubicBezTo>
                <a:cubicBezTo>
                  <a:pt x="10059190" y="3317791"/>
                  <a:pt x="10056129" y="3319921"/>
                  <a:pt x="10052534" y="3321385"/>
                </a:cubicBezTo>
                <a:cubicBezTo>
                  <a:pt x="10048941" y="3322850"/>
                  <a:pt x="10045080" y="3323648"/>
                  <a:pt x="10040820" y="3323648"/>
                </a:cubicBezTo>
                <a:cubicBezTo>
                  <a:pt x="10031767" y="3323648"/>
                  <a:pt x="10024579" y="3320721"/>
                  <a:pt x="10018988" y="3315129"/>
                </a:cubicBezTo>
                <a:cubicBezTo>
                  <a:pt x="10013397" y="3309538"/>
                  <a:pt x="10010602" y="3302483"/>
                  <a:pt x="10010602" y="3293962"/>
                </a:cubicBezTo>
                <a:cubicBezTo>
                  <a:pt x="10010602" y="3285709"/>
                  <a:pt x="10013397" y="3278655"/>
                  <a:pt x="10018988" y="3272931"/>
                </a:cubicBezTo>
                <a:cubicBezTo>
                  <a:pt x="10024579" y="3267207"/>
                  <a:pt x="10031767" y="3264278"/>
                  <a:pt x="10040820" y="3264278"/>
                </a:cubicBezTo>
                <a:close/>
                <a:moveTo>
                  <a:pt x="9823176" y="3264278"/>
                </a:moveTo>
                <a:cubicBezTo>
                  <a:pt x="9827435" y="3264278"/>
                  <a:pt x="9831296" y="3265076"/>
                  <a:pt x="9834890" y="3266807"/>
                </a:cubicBezTo>
                <a:cubicBezTo>
                  <a:pt x="9838617" y="3268405"/>
                  <a:pt x="9841679" y="3270534"/>
                  <a:pt x="9844208" y="3273196"/>
                </a:cubicBezTo>
                <a:cubicBezTo>
                  <a:pt x="9846737" y="3275859"/>
                  <a:pt x="9848867" y="3279054"/>
                  <a:pt x="9850331" y="3282648"/>
                </a:cubicBezTo>
                <a:cubicBezTo>
                  <a:pt x="9851796" y="3286242"/>
                  <a:pt x="9852595" y="3289970"/>
                  <a:pt x="9852595" y="3294096"/>
                </a:cubicBezTo>
                <a:cubicBezTo>
                  <a:pt x="9852595" y="3298223"/>
                  <a:pt x="9851796" y="3302216"/>
                  <a:pt x="9850331" y="3305811"/>
                </a:cubicBezTo>
                <a:cubicBezTo>
                  <a:pt x="9848734" y="3309405"/>
                  <a:pt x="9846737" y="3312466"/>
                  <a:pt x="9844208" y="3315129"/>
                </a:cubicBezTo>
                <a:cubicBezTo>
                  <a:pt x="9841546" y="3317791"/>
                  <a:pt x="9838484" y="3319921"/>
                  <a:pt x="9834890" y="3321385"/>
                </a:cubicBezTo>
                <a:cubicBezTo>
                  <a:pt x="9831296" y="3322850"/>
                  <a:pt x="9827435" y="3323648"/>
                  <a:pt x="9823176" y="3323648"/>
                </a:cubicBezTo>
                <a:cubicBezTo>
                  <a:pt x="9814123" y="3323648"/>
                  <a:pt x="9806935" y="3320721"/>
                  <a:pt x="9801343" y="3315129"/>
                </a:cubicBezTo>
                <a:cubicBezTo>
                  <a:pt x="9795753" y="3309538"/>
                  <a:pt x="9792957" y="3302483"/>
                  <a:pt x="9792957" y="3293962"/>
                </a:cubicBezTo>
                <a:cubicBezTo>
                  <a:pt x="9792957" y="3285709"/>
                  <a:pt x="9795753" y="3278655"/>
                  <a:pt x="9801343" y="3272931"/>
                </a:cubicBezTo>
                <a:cubicBezTo>
                  <a:pt x="9806935" y="3267207"/>
                  <a:pt x="9814123" y="3264278"/>
                  <a:pt x="9823176" y="3264278"/>
                </a:cubicBezTo>
                <a:close/>
                <a:moveTo>
                  <a:pt x="9605531" y="3264278"/>
                </a:moveTo>
                <a:cubicBezTo>
                  <a:pt x="9609790" y="3264278"/>
                  <a:pt x="9613784" y="3265076"/>
                  <a:pt x="9617245" y="3266807"/>
                </a:cubicBezTo>
                <a:cubicBezTo>
                  <a:pt x="9620839" y="3268405"/>
                  <a:pt x="9624033" y="3270534"/>
                  <a:pt x="9626562" y="3273196"/>
                </a:cubicBezTo>
                <a:cubicBezTo>
                  <a:pt x="9629092" y="3275859"/>
                  <a:pt x="9631222" y="3279054"/>
                  <a:pt x="9632686" y="3282648"/>
                </a:cubicBezTo>
                <a:cubicBezTo>
                  <a:pt x="9634150" y="3286242"/>
                  <a:pt x="9634949" y="3289970"/>
                  <a:pt x="9634949" y="3294096"/>
                </a:cubicBezTo>
                <a:cubicBezTo>
                  <a:pt x="9634949" y="3298223"/>
                  <a:pt x="9634150" y="3302216"/>
                  <a:pt x="9632686" y="3305811"/>
                </a:cubicBezTo>
                <a:cubicBezTo>
                  <a:pt x="9631089" y="3309405"/>
                  <a:pt x="9629092" y="3312466"/>
                  <a:pt x="9626562" y="3315129"/>
                </a:cubicBezTo>
                <a:cubicBezTo>
                  <a:pt x="9623901" y="3317791"/>
                  <a:pt x="9620839" y="3319921"/>
                  <a:pt x="9617245" y="3321385"/>
                </a:cubicBezTo>
                <a:cubicBezTo>
                  <a:pt x="9613651" y="3322850"/>
                  <a:pt x="9609790" y="3323648"/>
                  <a:pt x="9605531" y="3323648"/>
                </a:cubicBezTo>
                <a:cubicBezTo>
                  <a:pt x="9596610" y="3323648"/>
                  <a:pt x="9589289" y="3320721"/>
                  <a:pt x="9583698" y="3315129"/>
                </a:cubicBezTo>
                <a:cubicBezTo>
                  <a:pt x="9578108" y="3309538"/>
                  <a:pt x="9575312" y="3302483"/>
                  <a:pt x="9575312" y="3293962"/>
                </a:cubicBezTo>
                <a:cubicBezTo>
                  <a:pt x="9575312" y="3285709"/>
                  <a:pt x="9578108" y="3278655"/>
                  <a:pt x="9583698" y="3272931"/>
                </a:cubicBezTo>
                <a:cubicBezTo>
                  <a:pt x="9589289" y="3267207"/>
                  <a:pt x="9596478" y="3264278"/>
                  <a:pt x="9605531" y="3264278"/>
                </a:cubicBezTo>
                <a:close/>
                <a:moveTo>
                  <a:pt x="9387885" y="3264278"/>
                </a:moveTo>
                <a:cubicBezTo>
                  <a:pt x="9392145" y="3264278"/>
                  <a:pt x="9396138" y="3265076"/>
                  <a:pt x="9399599" y="3266807"/>
                </a:cubicBezTo>
                <a:cubicBezTo>
                  <a:pt x="9403194" y="3268405"/>
                  <a:pt x="9406388" y="3270534"/>
                  <a:pt x="9408917" y="3273196"/>
                </a:cubicBezTo>
                <a:cubicBezTo>
                  <a:pt x="9411447" y="3275859"/>
                  <a:pt x="9413576" y="3279054"/>
                  <a:pt x="9415041" y="3282648"/>
                </a:cubicBezTo>
                <a:cubicBezTo>
                  <a:pt x="9416505" y="3286242"/>
                  <a:pt x="9417304" y="3289970"/>
                  <a:pt x="9417304" y="3294096"/>
                </a:cubicBezTo>
                <a:cubicBezTo>
                  <a:pt x="9417304" y="3298223"/>
                  <a:pt x="9416505" y="3302216"/>
                  <a:pt x="9415041" y="3305811"/>
                </a:cubicBezTo>
                <a:cubicBezTo>
                  <a:pt x="9413444" y="3309405"/>
                  <a:pt x="9411447" y="3312466"/>
                  <a:pt x="9408917" y="3315129"/>
                </a:cubicBezTo>
                <a:cubicBezTo>
                  <a:pt x="9406255" y="3317791"/>
                  <a:pt x="9403194" y="3319921"/>
                  <a:pt x="9399599" y="3321385"/>
                </a:cubicBezTo>
                <a:cubicBezTo>
                  <a:pt x="9396005" y="3322850"/>
                  <a:pt x="9392145" y="3323648"/>
                  <a:pt x="9387885" y="3323648"/>
                </a:cubicBezTo>
                <a:cubicBezTo>
                  <a:pt x="9378965" y="3323648"/>
                  <a:pt x="9371644" y="3320721"/>
                  <a:pt x="9366053" y="3315129"/>
                </a:cubicBezTo>
                <a:cubicBezTo>
                  <a:pt x="9360462" y="3309538"/>
                  <a:pt x="9357667" y="3302483"/>
                  <a:pt x="9357667" y="3293962"/>
                </a:cubicBezTo>
                <a:cubicBezTo>
                  <a:pt x="9357667" y="3285709"/>
                  <a:pt x="9360462" y="3278655"/>
                  <a:pt x="9366053" y="3272931"/>
                </a:cubicBezTo>
                <a:cubicBezTo>
                  <a:pt x="9371644" y="3267207"/>
                  <a:pt x="9378832" y="3264278"/>
                  <a:pt x="9387885" y="3264278"/>
                </a:cubicBezTo>
                <a:close/>
                <a:moveTo>
                  <a:pt x="9170374" y="3264278"/>
                </a:moveTo>
                <a:cubicBezTo>
                  <a:pt x="9174500" y="3264278"/>
                  <a:pt x="9178494" y="3265076"/>
                  <a:pt x="9182088" y="3266807"/>
                </a:cubicBezTo>
                <a:cubicBezTo>
                  <a:pt x="9185682" y="3268405"/>
                  <a:pt x="9188876" y="3270534"/>
                  <a:pt x="9191405" y="3273196"/>
                </a:cubicBezTo>
                <a:cubicBezTo>
                  <a:pt x="9193935" y="3275859"/>
                  <a:pt x="9196065" y="3279054"/>
                  <a:pt x="9197529" y="3282648"/>
                </a:cubicBezTo>
                <a:cubicBezTo>
                  <a:pt x="9198993" y="3286242"/>
                  <a:pt x="9199792" y="3289970"/>
                  <a:pt x="9199792" y="3294096"/>
                </a:cubicBezTo>
                <a:cubicBezTo>
                  <a:pt x="9199792" y="3298223"/>
                  <a:pt x="9198993" y="3302216"/>
                  <a:pt x="9197529" y="3305811"/>
                </a:cubicBezTo>
                <a:cubicBezTo>
                  <a:pt x="9195932" y="3309405"/>
                  <a:pt x="9193935" y="3312466"/>
                  <a:pt x="9191405" y="3315129"/>
                </a:cubicBezTo>
                <a:cubicBezTo>
                  <a:pt x="9188744" y="3317791"/>
                  <a:pt x="9185682" y="3319921"/>
                  <a:pt x="9182088" y="3321385"/>
                </a:cubicBezTo>
                <a:cubicBezTo>
                  <a:pt x="9178494" y="3322850"/>
                  <a:pt x="9174633" y="3323648"/>
                  <a:pt x="9170374" y="3323648"/>
                </a:cubicBezTo>
                <a:cubicBezTo>
                  <a:pt x="9161453" y="3323648"/>
                  <a:pt x="9154132" y="3320721"/>
                  <a:pt x="9148541" y="3315129"/>
                </a:cubicBezTo>
                <a:cubicBezTo>
                  <a:pt x="9142951" y="3309538"/>
                  <a:pt x="9140155" y="3302483"/>
                  <a:pt x="9140155" y="3293962"/>
                </a:cubicBezTo>
                <a:cubicBezTo>
                  <a:pt x="9140155" y="3285709"/>
                  <a:pt x="9142951" y="3278655"/>
                  <a:pt x="9148541" y="3272931"/>
                </a:cubicBezTo>
                <a:cubicBezTo>
                  <a:pt x="9154132" y="3267207"/>
                  <a:pt x="9161321" y="3264278"/>
                  <a:pt x="9170374" y="3264278"/>
                </a:cubicBezTo>
                <a:close/>
                <a:moveTo>
                  <a:pt x="8952728" y="3264278"/>
                </a:moveTo>
                <a:cubicBezTo>
                  <a:pt x="8956988" y="3264278"/>
                  <a:pt x="8960849" y="3265076"/>
                  <a:pt x="8964442" y="3266807"/>
                </a:cubicBezTo>
                <a:cubicBezTo>
                  <a:pt x="8968037" y="3268405"/>
                  <a:pt x="8971231" y="3270534"/>
                  <a:pt x="8973760" y="3273196"/>
                </a:cubicBezTo>
                <a:cubicBezTo>
                  <a:pt x="8976290" y="3275859"/>
                  <a:pt x="8978419" y="3279054"/>
                  <a:pt x="8979884" y="3282648"/>
                </a:cubicBezTo>
                <a:cubicBezTo>
                  <a:pt x="8981348" y="3286242"/>
                  <a:pt x="8982147" y="3289970"/>
                  <a:pt x="8982147" y="3294096"/>
                </a:cubicBezTo>
                <a:cubicBezTo>
                  <a:pt x="8982147" y="3298223"/>
                  <a:pt x="8981348" y="3302216"/>
                  <a:pt x="8979884" y="3305811"/>
                </a:cubicBezTo>
                <a:cubicBezTo>
                  <a:pt x="8978287" y="3309405"/>
                  <a:pt x="8976290" y="3312466"/>
                  <a:pt x="8973760" y="3315129"/>
                </a:cubicBezTo>
                <a:cubicBezTo>
                  <a:pt x="8971098" y="3317791"/>
                  <a:pt x="8968037" y="3319921"/>
                  <a:pt x="8964442" y="3321385"/>
                </a:cubicBezTo>
                <a:cubicBezTo>
                  <a:pt x="8960849" y="3322850"/>
                  <a:pt x="8956988" y="3323648"/>
                  <a:pt x="8952728" y="3323648"/>
                </a:cubicBezTo>
                <a:cubicBezTo>
                  <a:pt x="8943808" y="3323648"/>
                  <a:pt x="8936487" y="3320721"/>
                  <a:pt x="8930896" y="3315129"/>
                </a:cubicBezTo>
                <a:cubicBezTo>
                  <a:pt x="8925305" y="3309538"/>
                  <a:pt x="8922510" y="3302483"/>
                  <a:pt x="8922510" y="3293962"/>
                </a:cubicBezTo>
                <a:cubicBezTo>
                  <a:pt x="8922510" y="3285709"/>
                  <a:pt x="8925305" y="3278655"/>
                  <a:pt x="8930896" y="3272931"/>
                </a:cubicBezTo>
                <a:cubicBezTo>
                  <a:pt x="8936487" y="3267207"/>
                  <a:pt x="8943675" y="3264278"/>
                  <a:pt x="8952728" y="3264278"/>
                </a:cubicBezTo>
                <a:close/>
                <a:moveTo>
                  <a:pt x="8735083" y="3264278"/>
                </a:moveTo>
                <a:cubicBezTo>
                  <a:pt x="8739342" y="3264278"/>
                  <a:pt x="8743203" y="3265076"/>
                  <a:pt x="8746797" y="3266807"/>
                </a:cubicBezTo>
                <a:cubicBezTo>
                  <a:pt x="8750391" y="3268405"/>
                  <a:pt x="8753586" y="3270534"/>
                  <a:pt x="8756115" y="3273196"/>
                </a:cubicBezTo>
                <a:cubicBezTo>
                  <a:pt x="8758644" y="3275859"/>
                  <a:pt x="8760774" y="3279054"/>
                  <a:pt x="8762238" y="3282648"/>
                </a:cubicBezTo>
                <a:cubicBezTo>
                  <a:pt x="8763702" y="3286242"/>
                  <a:pt x="8764502" y="3289970"/>
                  <a:pt x="8764502" y="3294096"/>
                </a:cubicBezTo>
                <a:cubicBezTo>
                  <a:pt x="8764502" y="3298223"/>
                  <a:pt x="8763702" y="3302216"/>
                  <a:pt x="8762238" y="3305811"/>
                </a:cubicBezTo>
                <a:cubicBezTo>
                  <a:pt x="8760641" y="3309405"/>
                  <a:pt x="8758644" y="3312466"/>
                  <a:pt x="8756115" y="3315129"/>
                </a:cubicBezTo>
                <a:cubicBezTo>
                  <a:pt x="8753453" y="3317791"/>
                  <a:pt x="8750391" y="3319921"/>
                  <a:pt x="8746797" y="3321385"/>
                </a:cubicBezTo>
                <a:cubicBezTo>
                  <a:pt x="8743203" y="3322850"/>
                  <a:pt x="8739342" y="3323648"/>
                  <a:pt x="8735083" y="3323648"/>
                </a:cubicBezTo>
                <a:cubicBezTo>
                  <a:pt x="8726030" y="3323648"/>
                  <a:pt x="8718841" y="3320721"/>
                  <a:pt x="8713250" y="3315129"/>
                </a:cubicBezTo>
                <a:cubicBezTo>
                  <a:pt x="8707660" y="3309538"/>
                  <a:pt x="8704864" y="3302483"/>
                  <a:pt x="8704864" y="3293962"/>
                </a:cubicBezTo>
                <a:cubicBezTo>
                  <a:pt x="8704864" y="3285709"/>
                  <a:pt x="8707660" y="3278655"/>
                  <a:pt x="8713250" y="3272931"/>
                </a:cubicBezTo>
                <a:cubicBezTo>
                  <a:pt x="8718841" y="3267207"/>
                  <a:pt x="8726030" y="3264278"/>
                  <a:pt x="8735083" y="3264278"/>
                </a:cubicBezTo>
                <a:close/>
                <a:moveTo>
                  <a:pt x="8517438" y="3264278"/>
                </a:moveTo>
                <a:cubicBezTo>
                  <a:pt x="8521698" y="3264278"/>
                  <a:pt x="8525559" y="3265076"/>
                  <a:pt x="8529152" y="3266807"/>
                </a:cubicBezTo>
                <a:cubicBezTo>
                  <a:pt x="8532880" y="3268405"/>
                  <a:pt x="8535941" y="3270534"/>
                  <a:pt x="8538470" y="3273196"/>
                </a:cubicBezTo>
                <a:cubicBezTo>
                  <a:pt x="8541000" y="3275859"/>
                  <a:pt x="8543130" y="3279054"/>
                  <a:pt x="8544594" y="3282648"/>
                </a:cubicBezTo>
                <a:cubicBezTo>
                  <a:pt x="8546058" y="3286242"/>
                  <a:pt x="8546857" y="3289970"/>
                  <a:pt x="8546857" y="3294096"/>
                </a:cubicBezTo>
                <a:cubicBezTo>
                  <a:pt x="8546857" y="3298223"/>
                  <a:pt x="8546058" y="3302216"/>
                  <a:pt x="8544594" y="3305811"/>
                </a:cubicBezTo>
                <a:cubicBezTo>
                  <a:pt x="8542997" y="3309405"/>
                  <a:pt x="8541000" y="3312466"/>
                  <a:pt x="8538470" y="3315129"/>
                </a:cubicBezTo>
                <a:cubicBezTo>
                  <a:pt x="8535808" y="3317791"/>
                  <a:pt x="8532747" y="3319921"/>
                  <a:pt x="8529152" y="3321385"/>
                </a:cubicBezTo>
                <a:cubicBezTo>
                  <a:pt x="8525559" y="3322850"/>
                  <a:pt x="8521698" y="3323648"/>
                  <a:pt x="8517438" y="3323648"/>
                </a:cubicBezTo>
                <a:cubicBezTo>
                  <a:pt x="8508385" y="3323648"/>
                  <a:pt x="8501197" y="3320721"/>
                  <a:pt x="8495606" y="3315129"/>
                </a:cubicBezTo>
                <a:cubicBezTo>
                  <a:pt x="8490015" y="3309538"/>
                  <a:pt x="8487220" y="3302483"/>
                  <a:pt x="8487220" y="3293962"/>
                </a:cubicBezTo>
                <a:cubicBezTo>
                  <a:pt x="8487220" y="3285709"/>
                  <a:pt x="8490015" y="3278655"/>
                  <a:pt x="8495606" y="3272931"/>
                </a:cubicBezTo>
                <a:cubicBezTo>
                  <a:pt x="8501197" y="3267207"/>
                  <a:pt x="8508385" y="3264278"/>
                  <a:pt x="8517438" y="3264278"/>
                </a:cubicBezTo>
                <a:close/>
                <a:moveTo>
                  <a:pt x="8299793" y="3264278"/>
                </a:moveTo>
                <a:cubicBezTo>
                  <a:pt x="8304052" y="3264278"/>
                  <a:pt x="8308046" y="3265076"/>
                  <a:pt x="8311507" y="3266807"/>
                </a:cubicBezTo>
                <a:cubicBezTo>
                  <a:pt x="8315235" y="3268405"/>
                  <a:pt x="8318296" y="3270534"/>
                  <a:pt x="8320825" y="3273196"/>
                </a:cubicBezTo>
                <a:cubicBezTo>
                  <a:pt x="8323354" y="3275859"/>
                  <a:pt x="8325484" y="3279054"/>
                  <a:pt x="8326948" y="3282648"/>
                </a:cubicBezTo>
                <a:cubicBezTo>
                  <a:pt x="8328413" y="3286242"/>
                  <a:pt x="8329212" y="3289970"/>
                  <a:pt x="8329212" y="3294096"/>
                </a:cubicBezTo>
                <a:cubicBezTo>
                  <a:pt x="8329212" y="3298223"/>
                  <a:pt x="8328413" y="3302216"/>
                  <a:pt x="8326948" y="3305811"/>
                </a:cubicBezTo>
                <a:cubicBezTo>
                  <a:pt x="8325351" y="3309405"/>
                  <a:pt x="8323354" y="3312466"/>
                  <a:pt x="8320825" y="3315129"/>
                </a:cubicBezTo>
                <a:cubicBezTo>
                  <a:pt x="8318163" y="3317791"/>
                  <a:pt x="8315101" y="3319921"/>
                  <a:pt x="8311507" y="3321385"/>
                </a:cubicBezTo>
                <a:cubicBezTo>
                  <a:pt x="8307913" y="3322850"/>
                  <a:pt x="8304052" y="3323648"/>
                  <a:pt x="8299793" y="3323648"/>
                </a:cubicBezTo>
                <a:cubicBezTo>
                  <a:pt x="8290874" y="3323648"/>
                  <a:pt x="8283553" y="3320721"/>
                  <a:pt x="8277960" y="3315129"/>
                </a:cubicBezTo>
                <a:cubicBezTo>
                  <a:pt x="8272370" y="3309538"/>
                  <a:pt x="8269574" y="3302483"/>
                  <a:pt x="8269574" y="3293962"/>
                </a:cubicBezTo>
                <a:cubicBezTo>
                  <a:pt x="8269574" y="3285709"/>
                  <a:pt x="8272370" y="3278655"/>
                  <a:pt x="8277960" y="3272931"/>
                </a:cubicBezTo>
                <a:cubicBezTo>
                  <a:pt x="8283553" y="3267207"/>
                  <a:pt x="8290741" y="3264278"/>
                  <a:pt x="8299793" y="3264278"/>
                </a:cubicBezTo>
                <a:close/>
                <a:moveTo>
                  <a:pt x="8082281" y="3264278"/>
                </a:moveTo>
                <a:cubicBezTo>
                  <a:pt x="8086407" y="3264278"/>
                  <a:pt x="8090401" y="3265076"/>
                  <a:pt x="8094127" y="3266807"/>
                </a:cubicBezTo>
                <a:cubicBezTo>
                  <a:pt x="8097855" y="3268405"/>
                  <a:pt x="8100916" y="3270534"/>
                  <a:pt x="8103446" y="3273196"/>
                </a:cubicBezTo>
                <a:cubicBezTo>
                  <a:pt x="8105975" y="3275859"/>
                  <a:pt x="8108104" y="3279054"/>
                  <a:pt x="8109569" y="3282648"/>
                </a:cubicBezTo>
                <a:cubicBezTo>
                  <a:pt x="8111033" y="3286242"/>
                  <a:pt x="8111832" y="3289970"/>
                  <a:pt x="8111832" y="3294096"/>
                </a:cubicBezTo>
                <a:cubicBezTo>
                  <a:pt x="8111832" y="3298223"/>
                  <a:pt x="8111033" y="3302216"/>
                  <a:pt x="8109569" y="3305811"/>
                </a:cubicBezTo>
                <a:cubicBezTo>
                  <a:pt x="8107972" y="3309405"/>
                  <a:pt x="8105975" y="3312466"/>
                  <a:pt x="8103446" y="3315129"/>
                </a:cubicBezTo>
                <a:cubicBezTo>
                  <a:pt x="8100783" y="3317791"/>
                  <a:pt x="8097722" y="3319921"/>
                  <a:pt x="8094127" y="3321385"/>
                </a:cubicBezTo>
                <a:cubicBezTo>
                  <a:pt x="8090401" y="3322850"/>
                  <a:pt x="8086540" y="3323648"/>
                  <a:pt x="8082281" y="3323648"/>
                </a:cubicBezTo>
                <a:cubicBezTo>
                  <a:pt x="8073361" y="3323648"/>
                  <a:pt x="8066040" y="3320721"/>
                  <a:pt x="8060448" y="3315129"/>
                </a:cubicBezTo>
                <a:cubicBezTo>
                  <a:pt x="8054857" y="3309538"/>
                  <a:pt x="8052062" y="3302483"/>
                  <a:pt x="8052062" y="3293962"/>
                </a:cubicBezTo>
                <a:cubicBezTo>
                  <a:pt x="8052062" y="3285709"/>
                  <a:pt x="8054857" y="3278655"/>
                  <a:pt x="8060448" y="3272931"/>
                </a:cubicBezTo>
                <a:cubicBezTo>
                  <a:pt x="8066040" y="3267207"/>
                  <a:pt x="8073228" y="3264278"/>
                  <a:pt x="8082281" y="3264278"/>
                </a:cubicBezTo>
                <a:close/>
                <a:moveTo>
                  <a:pt x="7864636" y="3264278"/>
                </a:moveTo>
                <a:cubicBezTo>
                  <a:pt x="7868762" y="3264278"/>
                  <a:pt x="7872756" y="3265076"/>
                  <a:pt x="7876483" y="3266807"/>
                </a:cubicBezTo>
                <a:cubicBezTo>
                  <a:pt x="7880210" y="3268405"/>
                  <a:pt x="7883272" y="3270534"/>
                  <a:pt x="7885802" y="3273196"/>
                </a:cubicBezTo>
                <a:cubicBezTo>
                  <a:pt x="7888331" y="3275859"/>
                  <a:pt x="7890460" y="3279054"/>
                  <a:pt x="7891924" y="3282648"/>
                </a:cubicBezTo>
                <a:cubicBezTo>
                  <a:pt x="7893389" y="3286242"/>
                  <a:pt x="7894188" y="3289970"/>
                  <a:pt x="7894188" y="3294096"/>
                </a:cubicBezTo>
                <a:cubicBezTo>
                  <a:pt x="7894188" y="3298223"/>
                  <a:pt x="7893389" y="3302216"/>
                  <a:pt x="7891924" y="3305811"/>
                </a:cubicBezTo>
                <a:cubicBezTo>
                  <a:pt x="7890327" y="3309405"/>
                  <a:pt x="7888331" y="3312466"/>
                  <a:pt x="7885802" y="3315129"/>
                </a:cubicBezTo>
                <a:cubicBezTo>
                  <a:pt x="7883139" y="3317791"/>
                  <a:pt x="7880078" y="3319921"/>
                  <a:pt x="7876483" y="3321385"/>
                </a:cubicBezTo>
                <a:cubicBezTo>
                  <a:pt x="7872756" y="3322850"/>
                  <a:pt x="7868895" y="3323648"/>
                  <a:pt x="7864636" y="3323648"/>
                </a:cubicBezTo>
                <a:cubicBezTo>
                  <a:pt x="7855717" y="3323648"/>
                  <a:pt x="7848396" y="3320721"/>
                  <a:pt x="7842803" y="3315129"/>
                </a:cubicBezTo>
                <a:cubicBezTo>
                  <a:pt x="7837213" y="3309538"/>
                  <a:pt x="7834417" y="3302483"/>
                  <a:pt x="7834417" y="3293962"/>
                </a:cubicBezTo>
                <a:cubicBezTo>
                  <a:pt x="7834417" y="3285709"/>
                  <a:pt x="7837213" y="3278655"/>
                  <a:pt x="7842803" y="3272931"/>
                </a:cubicBezTo>
                <a:cubicBezTo>
                  <a:pt x="7848396" y="3267207"/>
                  <a:pt x="7855584" y="3264278"/>
                  <a:pt x="7864636" y="3264278"/>
                </a:cubicBezTo>
                <a:close/>
                <a:moveTo>
                  <a:pt x="7646991" y="3264278"/>
                </a:moveTo>
                <a:cubicBezTo>
                  <a:pt x="7651250" y="3264278"/>
                  <a:pt x="7655111" y="3265076"/>
                  <a:pt x="7658705" y="3266807"/>
                </a:cubicBezTo>
                <a:cubicBezTo>
                  <a:pt x="7662432" y="3268405"/>
                  <a:pt x="7665493" y="3270534"/>
                  <a:pt x="7668022" y="3273196"/>
                </a:cubicBezTo>
                <a:cubicBezTo>
                  <a:pt x="7670552" y="3275859"/>
                  <a:pt x="7672682" y="3279054"/>
                  <a:pt x="7674146" y="3282648"/>
                </a:cubicBezTo>
                <a:cubicBezTo>
                  <a:pt x="7675610" y="3286242"/>
                  <a:pt x="7676409" y="3289970"/>
                  <a:pt x="7676409" y="3294096"/>
                </a:cubicBezTo>
                <a:cubicBezTo>
                  <a:pt x="7676409" y="3298223"/>
                  <a:pt x="7675610" y="3302216"/>
                  <a:pt x="7674146" y="3305811"/>
                </a:cubicBezTo>
                <a:cubicBezTo>
                  <a:pt x="7672549" y="3309405"/>
                  <a:pt x="7670552" y="3312466"/>
                  <a:pt x="7668022" y="3315129"/>
                </a:cubicBezTo>
                <a:cubicBezTo>
                  <a:pt x="7665361" y="3317791"/>
                  <a:pt x="7662299" y="3319921"/>
                  <a:pt x="7658705" y="3321385"/>
                </a:cubicBezTo>
                <a:cubicBezTo>
                  <a:pt x="7655111" y="3322850"/>
                  <a:pt x="7651250" y="3323648"/>
                  <a:pt x="7646991" y="3323648"/>
                </a:cubicBezTo>
                <a:cubicBezTo>
                  <a:pt x="7638071" y="3323648"/>
                  <a:pt x="7630750" y="3320721"/>
                  <a:pt x="7625158" y="3315129"/>
                </a:cubicBezTo>
                <a:cubicBezTo>
                  <a:pt x="7619568" y="3309538"/>
                  <a:pt x="7616772" y="3302483"/>
                  <a:pt x="7616772" y="3293962"/>
                </a:cubicBezTo>
                <a:cubicBezTo>
                  <a:pt x="7616772" y="3285709"/>
                  <a:pt x="7619568" y="3278655"/>
                  <a:pt x="7625158" y="3272931"/>
                </a:cubicBezTo>
                <a:cubicBezTo>
                  <a:pt x="7630750" y="3267207"/>
                  <a:pt x="7637939" y="3264278"/>
                  <a:pt x="7646991" y="3264278"/>
                </a:cubicBezTo>
                <a:close/>
                <a:moveTo>
                  <a:pt x="7429345" y="3264278"/>
                </a:moveTo>
                <a:cubicBezTo>
                  <a:pt x="7433605" y="3264278"/>
                  <a:pt x="7437466" y="3265076"/>
                  <a:pt x="7441059" y="3266807"/>
                </a:cubicBezTo>
                <a:cubicBezTo>
                  <a:pt x="7444787" y="3268405"/>
                  <a:pt x="7447848" y="3270534"/>
                  <a:pt x="7450377" y="3273196"/>
                </a:cubicBezTo>
                <a:cubicBezTo>
                  <a:pt x="7452907" y="3275859"/>
                  <a:pt x="7455036" y="3279054"/>
                  <a:pt x="7456501" y="3282648"/>
                </a:cubicBezTo>
                <a:cubicBezTo>
                  <a:pt x="7457965" y="3286242"/>
                  <a:pt x="7458764" y="3289970"/>
                  <a:pt x="7458764" y="3294096"/>
                </a:cubicBezTo>
                <a:cubicBezTo>
                  <a:pt x="7458764" y="3298223"/>
                  <a:pt x="7457965" y="3302216"/>
                  <a:pt x="7456501" y="3305811"/>
                </a:cubicBezTo>
                <a:cubicBezTo>
                  <a:pt x="7454904" y="3309405"/>
                  <a:pt x="7452907" y="3312466"/>
                  <a:pt x="7450377" y="3315129"/>
                </a:cubicBezTo>
                <a:cubicBezTo>
                  <a:pt x="7447715" y="3317791"/>
                  <a:pt x="7444654" y="3319921"/>
                  <a:pt x="7441059" y="3321385"/>
                </a:cubicBezTo>
                <a:cubicBezTo>
                  <a:pt x="7437466" y="3322850"/>
                  <a:pt x="7433605" y="3323648"/>
                  <a:pt x="7429345" y="3323648"/>
                </a:cubicBezTo>
                <a:cubicBezTo>
                  <a:pt x="7420426" y="3323648"/>
                  <a:pt x="7413105" y="3320721"/>
                  <a:pt x="7407513" y="3315129"/>
                </a:cubicBezTo>
                <a:cubicBezTo>
                  <a:pt x="7401922" y="3309538"/>
                  <a:pt x="7399127" y="3302483"/>
                  <a:pt x="7399127" y="3293962"/>
                </a:cubicBezTo>
                <a:cubicBezTo>
                  <a:pt x="7399127" y="3285709"/>
                  <a:pt x="7401922" y="3278655"/>
                  <a:pt x="7407513" y="3272931"/>
                </a:cubicBezTo>
                <a:cubicBezTo>
                  <a:pt x="7413105" y="3267207"/>
                  <a:pt x="7420293" y="3264278"/>
                  <a:pt x="7429345" y="3264278"/>
                </a:cubicBezTo>
                <a:close/>
                <a:moveTo>
                  <a:pt x="7211701" y="3264278"/>
                </a:moveTo>
                <a:cubicBezTo>
                  <a:pt x="7215960" y="3264278"/>
                  <a:pt x="7219954" y="3265076"/>
                  <a:pt x="7223415" y="3266807"/>
                </a:cubicBezTo>
                <a:cubicBezTo>
                  <a:pt x="7227142" y="3268405"/>
                  <a:pt x="7230204" y="3270534"/>
                  <a:pt x="7232733" y="3273196"/>
                </a:cubicBezTo>
                <a:cubicBezTo>
                  <a:pt x="7235262" y="3275859"/>
                  <a:pt x="7237392" y="3279054"/>
                  <a:pt x="7238856" y="3282648"/>
                </a:cubicBezTo>
                <a:cubicBezTo>
                  <a:pt x="7240321" y="3286242"/>
                  <a:pt x="7241120" y="3289970"/>
                  <a:pt x="7241120" y="3294096"/>
                </a:cubicBezTo>
                <a:cubicBezTo>
                  <a:pt x="7241120" y="3298223"/>
                  <a:pt x="7240321" y="3302216"/>
                  <a:pt x="7238856" y="3305811"/>
                </a:cubicBezTo>
                <a:cubicBezTo>
                  <a:pt x="7237259" y="3309405"/>
                  <a:pt x="7235262" y="3312466"/>
                  <a:pt x="7232733" y="3315129"/>
                </a:cubicBezTo>
                <a:cubicBezTo>
                  <a:pt x="7230071" y="3317791"/>
                  <a:pt x="7227009" y="3319921"/>
                  <a:pt x="7223415" y="3321385"/>
                </a:cubicBezTo>
                <a:cubicBezTo>
                  <a:pt x="7219821" y="3322850"/>
                  <a:pt x="7215960" y="3323648"/>
                  <a:pt x="7211701" y="3323648"/>
                </a:cubicBezTo>
                <a:cubicBezTo>
                  <a:pt x="7202782" y="3323648"/>
                  <a:pt x="7195460" y="3320721"/>
                  <a:pt x="7189868" y="3315129"/>
                </a:cubicBezTo>
                <a:cubicBezTo>
                  <a:pt x="7184278" y="3309538"/>
                  <a:pt x="7181482" y="3302483"/>
                  <a:pt x="7181482" y="3293962"/>
                </a:cubicBezTo>
                <a:cubicBezTo>
                  <a:pt x="7181482" y="3285709"/>
                  <a:pt x="7184278" y="3278655"/>
                  <a:pt x="7189868" y="3272931"/>
                </a:cubicBezTo>
                <a:cubicBezTo>
                  <a:pt x="7195460" y="3267207"/>
                  <a:pt x="7202649" y="3264278"/>
                  <a:pt x="7211701" y="3264278"/>
                </a:cubicBezTo>
                <a:close/>
                <a:moveTo>
                  <a:pt x="6994056" y="3264278"/>
                </a:moveTo>
                <a:cubicBezTo>
                  <a:pt x="6998315" y="3264278"/>
                  <a:pt x="7002309" y="3265076"/>
                  <a:pt x="7005769" y="3266807"/>
                </a:cubicBezTo>
                <a:cubicBezTo>
                  <a:pt x="7009497" y="3268405"/>
                  <a:pt x="7012558" y="3270534"/>
                  <a:pt x="7015087" y="3273196"/>
                </a:cubicBezTo>
                <a:cubicBezTo>
                  <a:pt x="7017617" y="3275859"/>
                  <a:pt x="7019747" y="3279054"/>
                  <a:pt x="7021211" y="3282648"/>
                </a:cubicBezTo>
                <a:cubicBezTo>
                  <a:pt x="7022675" y="3286242"/>
                  <a:pt x="7023474" y="3289970"/>
                  <a:pt x="7023474" y="3294096"/>
                </a:cubicBezTo>
                <a:cubicBezTo>
                  <a:pt x="7023474" y="3298223"/>
                  <a:pt x="7022675" y="3302216"/>
                  <a:pt x="7021211" y="3305811"/>
                </a:cubicBezTo>
                <a:cubicBezTo>
                  <a:pt x="7019614" y="3309405"/>
                  <a:pt x="7017617" y="3312466"/>
                  <a:pt x="7015087" y="3315129"/>
                </a:cubicBezTo>
                <a:cubicBezTo>
                  <a:pt x="7012425" y="3317791"/>
                  <a:pt x="7009364" y="3319921"/>
                  <a:pt x="7005769" y="3321385"/>
                </a:cubicBezTo>
                <a:cubicBezTo>
                  <a:pt x="7002176" y="3322850"/>
                  <a:pt x="6998315" y="3323648"/>
                  <a:pt x="6994056" y="3323648"/>
                </a:cubicBezTo>
                <a:cubicBezTo>
                  <a:pt x="6985136" y="3323648"/>
                  <a:pt x="6977815" y="3320721"/>
                  <a:pt x="6972223" y="3315129"/>
                </a:cubicBezTo>
                <a:cubicBezTo>
                  <a:pt x="6966632" y="3309538"/>
                  <a:pt x="6963837" y="3302483"/>
                  <a:pt x="6963837" y="3293962"/>
                </a:cubicBezTo>
                <a:cubicBezTo>
                  <a:pt x="6963837" y="3285709"/>
                  <a:pt x="6966632" y="3278655"/>
                  <a:pt x="6972223" y="3272931"/>
                </a:cubicBezTo>
                <a:cubicBezTo>
                  <a:pt x="6977815" y="3267207"/>
                  <a:pt x="6985003" y="3264278"/>
                  <a:pt x="6994056" y="3264278"/>
                </a:cubicBezTo>
                <a:close/>
                <a:moveTo>
                  <a:pt x="6776544" y="3264278"/>
                </a:moveTo>
                <a:cubicBezTo>
                  <a:pt x="6780670" y="3264278"/>
                  <a:pt x="6784664" y="3265076"/>
                  <a:pt x="6788258" y="3266807"/>
                </a:cubicBezTo>
                <a:cubicBezTo>
                  <a:pt x="6791985" y="3268405"/>
                  <a:pt x="6795047" y="3270534"/>
                  <a:pt x="6797576" y="3273196"/>
                </a:cubicBezTo>
                <a:cubicBezTo>
                  <a:pt x="6800105" y="3275859"/>
                  <a:pt x="6802235" y="3279054"/>
                  <a:pt x="6803699" y="3282648"/>
                </a:cubicBezTo>
                <a:cubicBezTo>
                  <a:pt x="6805164" y="3286242"/>
                  <a:pt x="6805963" y="3289970"/>
                  <a:pt x="6805963" y="3294096"/>
                </a:cubicBezTo>
                <a:cubicBezTo>
                  <a:pt x="6805963" y="3298223"/>
                  <a:pt x="6805164" y="3302216"/>
                  <a:pt x="6803699" y="3305811"/>
                </a:cubicBezTo>
                <a:cubicBezTo>
                  <a:pt x="6802102" y="3309405"/>
                  <a:pt x="6800105" y="3312466"/>
                  <a:pt x="6797576" y="3315129"/>
                </a:cubicBezTo>
                <a:cubicBezTo>
                  <a:pt x="6794914" y="3317791"/>
                  <a:pt x="6791852" y="3319921"/>
                  <a:pt x="6788258" y="3321385"/>
                </a:cubicBezTo>
                <a:cubicBezTo>
                  <a:pt x="6784664" y="3322850"/>
                  <a:pt x="6780803" y="3323648"/>
                  <a:pt x="6776544" y="3323648"/>
                </a:cubicBezTo>
                <a:cubicBezTo>
                  <a:pt x="6767625" y="3323648"/>
                  <a:pt x="6760303" y="3320721"/>
                  <a:pt x="6754711" y="3315129"/>
                </a:cubicBezTo>
                <a:cubicBezTo>
                  <a:pt x="6749121" y="3309538"/>
                  <a:pt x="6746325" y="3302483"/>
                  <a:pt x="6746325" y="3293962"/>
                </a:cubicBezTo>
                <a:cubicBezTo>
                  <a:pt x="6746325" y="3285709"/>
                  <a:pt x="6749121" y="3278655"/>
                  <a:pt x="6754711" y="3272931"/>
                </a:cubicBezTo>
                <a:cubicBezTo>
                  <a:pt x="6760303" y="3267207"/>
                  <a:pt x="6767492" y="3264278"/>
                  <a:pt x="6776544" y="3264278"/>
                </a:cubicBezTo>
                <a:close/>
                <a:moveTo>
                  <a:pt x="6558899" y="3264278"/>
                </a:moveTo>
                <a:cubicBezTo>
                  <a:pt x="6563158" y="3264278"/>
                  <a:pt x="6567019" y="3265076"/>
                  <a:pt x="6570612" y="3266807"/>
                </a:cubicBezTo>
                <a:cubicBezTo>
                  <a:pt x="6574340" y="3268405"/>
                  <a:pt x="6577401" y="3270534"/>
                  <a:pt x="6579930" y="3273196"/>
                </a:cubicBezTo>
                <a:cubicBezTo>
                  <a:pt x="6582460" y="3275859"/>
                  <a:pt x="6584590" y="3279054"/>
                  <a:pt x="6586054" y="3282648"/>
                </a:cubicBezTo>
                <a:cubicBezTo>
                  <a:pt x="6587518" y="3286242"/>
                  <a:pt x="6588317" y="3289970"/>
                  <a:pt x="6588317" y="3294096"/>
                </a:cubicBezTo>
                <a:cubicBezTo>
                  <a:pt x="6588317" y="3298223"/>
                  <a:pt x="6587518" y="3302216"/>
                  <a:pt x="6586054" y="3305811"/>
                </a:cubicBezTo>
                <a:cubicBezTo>
                  <a:pt x="6584457" y="3309405"/>
                  <a:pt x="6582460" y="3312466"/>
                  <a:pt x="6579930" y="3315129"/>
                </a:cubicBezTo>
                <a:cubicBezTo>
                  <a:pt x="6577268" y="3317791"/>
                  <a:pt x="6574207" y="3319921"/>
                  <a:pt x="6570612" y="3321385"/>
                </a:cubicBezTo>
                <a:cubicBezTo>
                  <a:pt x="6567019" y="3322850"/>
                  <a:pt x="6563158" y="3323648"/>
                  <a:pt x="6558899" y="3323648"/>
                </a:cubicBezTo>
                <a:cubicBezTo>
                  <a:pt x="6549979" y="3323648"/>
                  <a:pt x="6542658" y="3320721"/>
                  <a:pt x="6537066" y="3315129"/>
                </a:cubicBezTo>
                <a:cubicBezTo>
                  <a:pt x="6531476" y="3309538"/>
                  <a:pt x="6528680" y="3302483"/>
                  <a:pt x="6528680" y="3293962"/>
                </a:cubicBezTo>
                <a:cubicBezTo>
                  <a:pt x="6528680" y="3285709"/>
                  <a:pt x="6531476" y="3278655"/>
                  <a:pt x="6537066" y="3272931"/>
                </a:cubicBezTo>
                <a:cubicBezTo>
                  <a:pt x="6542658" y="3267207"/>
                  <a:pt x="6549846" y="3264278"/>
                  <a:pt x="6558899" y="3264278"/>
                </a:cubicBezTo>
                <a:close/>
                <a:moveTo>
                  <a:pt x="6341253" y="3264278"/>
                </a:moveTo>
                <a:cubicBezTo>
                  <a:pt x="6345513" y="3264278"/>
                  <a:pt x="6349373" y="3265076"/>
                  <a:pt x="6352968" y="3266807"/>
                </a:cubicBezTo>
                <a:cubicBezTo>
                  <a:pt x="6356695" y="3268405"/>
                  <a:pt x="6359757" y="3270534"/>
                  <a:pt x="6362286" y="3273196"/>
                </a:cubicBezTo>
                <a:cubicBezTo>
                  <a:pt x="6364815" y="3275859"/>
                  <a:pt x="6366945" y="3279054"/>
                  <a:pt x="6368409" y="3282648"/>
                </a:cubicBezTo>
                <a:cubicBezTo>
                  <a:pt x="6369874" y="3286242"/>
                  <a:pt x="6370672" y="3289970"/>
                  <a:pt x="6370672" y="3294096"/>
                </a:cubicBezTo>
                <a:cubicBezTo>
                  <a:pt x="6370672" y="3298223"/>
                  <a:pt x="6369874" y="3302216"/>
                  <a:pt x="6368409" y="3305811"/>
                </a:cubicBezTo>
                <a:cubicBezTo>
                  <a:pt x="6366811" y="3309405"/>
                  <a:pt x="6364815" y="3312466"/>
                  <a:pt x="6362286" y="3315129"/>
                </a:cubicBezTo>
                <a:cubicBezTo>
                  <a:pt x="6359623" y="3317791"/>
                  <a:pt x="6356562" y="3319921"/>
                  <a:pt x="6352968" y="3321385"/>
                </a:cubicBezTo>
                <a:cubicBezTo>
                  <a:pt x="6349373" y="3322850"/>
                  <a:pt x="6345513" y="3323648"/>
                  <a:pt x="6341253" y="3323648"/>
                </a:cubicBezTo>
                <a:cubicBezTo>
                  <a:pt x="6332335" y="3323648"/>
                  <a:pt x="6325013" y="3320721"/>
                  <a:pt x="6319421" y="3315129"/>
                </a:cubicBezTo>
                <a:cubicBezTo>
                  <a:pt x="6313830" y="3309538"/>
                  <a:pt x="6311035" y="3302483"/>
                  <a:pt x="6311035" y="3293962"/>
                </a:cubicBezTo>
                <a:cubicBezTo>
                  <a:pt x="6311035" y="3285709"/>
                  <a:pt x="6313830" y="3278655"/>
                  <a:pt x="6319421" y="3272931"/>
                </a:cubicBezTo>
                <a:cubicBezTo>
                  <a:pt x="6325013" y="3267207"/>
                  <a:pt x="6332201" y="3264278"/>
                  <a:pt x="6341253" y="3264278"/>
                </a:cubicBezTo>
                <a:close/>
                <a:moveTo>
                  <a:pt x="6123608" y="3264278"/>
                </a:moveTo>
                <a:cubicBezTo>
                  <a:pt x="6127867" y="3264278"/>
                  <a:pt x="6131728" y="3265076"/>
                  <a:pt x="6135322" y="3266807"/>
                </a:cubicBezTo>
                <a:cubicBezTo>
                  <a:pt x="6139049" y="3268405"/>
                  <a:pt x="6142111" y="3270534"/>
                  <a:pt x="6144640" y="3273196"/>
                </a:cubicBezTo>
                <a:cubicBezTo>
                  <a:pt x="6147169" y="3275859"/>
                  <a:pt x="6149299" y="3279054"/>
                  <a:pt x="6150763" y="3282648"/>
                </a:cubicBezTo>
                <a:cubicBezTo>
                  <a:pt x="6152228" y="3286242"/>
                  <a:pt x="6153026" y="3289970"/>
                  <a:pt x="6153026" y="3294096"/>
                </a:cubicBezTo>
                <a:cubicBezTo>
                  <a:pt x="6153026" y="3298223"/>
                  <a:pt x="6152228" y="3302216"/>
                  <a:pt x="6150763" y="3305811"/>
                </a:cubicBezTo>
                <a:cubicBezTo>
                  <a:pt x="6149299" y="3309405"/>
                  <a:pt x="6147169" y="3312466"/>
                  <a:pt x="6144640" y="3315129"/>
                </a:cubicBezTo>
                <a:cubicBezTo>
                  <a:pt x="6141977" y="3317791"/>
                  <a:pt x="6138916" y="3319921"/>
                  <a:pt x="6135322" y="3321385"/>
                </a:cubicBezTo>
                <a:cubicBezTo>
                  <a:pt x="6131728" y="3322850"/>
                  <a:pt x="6127867" y="3323648"/>
                  <a:pt x="6123608" y="3323648"/>
                </a:cubicBezTo>
                <a:cubicBezTo>
                  <a:pt x="6114689" y="3323648"/>
                  <a:pt x="6107367" y="3320721"/>
                  <a:pt x="6101775" y="3315129"/>
                </a:cubicBezTo>
                <a:cubicBezTo>
                  <a:pt x="6096184" y="3309538"/>
                  <a:pt x="6093389" y="3302483"/>
                  <a:pt x="6093389" y="3293962"/>
                </a:cubicBezTo>
                <a:cubicBezTo>
                  <a:pt x="6093389" y="3285709"/>
                  <a:pt x="6096184" y="3278655"/>
                  <a:pt x="6101775" y="3272931"/>
                </a:cubicBezTo>
                <a:cubicBezTo>
                  <a:pt x="6107367" y="3267207"/>
                  <a:pt x="6114555" y="3264278"/>
                  <a:pt x="6123608" y="3264278"/>
                </a:cubicBezTo>
                <a:close/>
                <a:moveTo>
                  <a:pt x="5905963" y="3264278"/>
                </a:moveTo>
                <a:cubicBezTo>
                  <a:pt x="5910222" y="3264278"/>
                  <a:pt x="5914216" y="3265076"/>
                  <a:pt x="5917677" y="3266807"/>
                </a:cubicBezTo>
                <a:cubicBezTo>
                  <a:pt x="5921404" y="3268405"/>
                  <a:pt x="5924466" y="3270534"/>
                  <a:pt x="5926995" y="3273196"/>
                </a:cubicBezTo>
                <a:cubicBezTo>
                  <a:pt x="5929524" y="3275859"/>
                  <a:pt x="5931654" y="3279054"/>
                  <a:pt x="5933118" y="3282648"/>
                </a:cubicBezTo>
                <a:cubicBezTo>
                  <a:pt x="5934583" y="3286242"/>
                  <a:pt x="5935381" y="3289970"/>
                  <a:pt x="5935381" y="3294096"/>
                </a:cubicBezTo>
                <a:cubicBezTo>
                  <a:pt x="5935381" y="3298223"/>
                  <a:pt x="5934583" y="3302216"/>
                  <a:pt x="5933118" y="3305811"/>
                </a:cubicBezTo>
                <a:cubicBezTo>
                  <a:pt x="5931654" y="3309405"/>
                  <a:pt x="5929524" y="3312466"/>
                  <a:pt x="5926995" y="3315129"/>
                </a:cubicBezTo>
                <a:cubicBezTo>
                  <a:pt x="5924333" y="3317791"/>
                  <a:pt x="5921271" y="3319921"/>
                  <a:pt x="5917677" y="3321385"/>
                </a:cubicBezTo>
                <a:cubicBezTo>
                  <a:pt x="5914083" y="3322850"/>
                  <a:pt x="5910222" y="3323648"/>
                  <a:pt x="5905963" y="3323648"/>
                </a:cubicBezTo>
                <a:cubicBezTo>
                  <a:pt x="5897044" y="3323648"/>
                  <a:pt x="5889722" y="3320721"/>
                  <a:pt x="5884130" y="3315129"/>
                </a:cubicBezTo>
                <a:cubicBezTo>
                  <a:pt x="5878540" y="3309538"/>
                  <a:pt x="5875744" y="3302483"/>
                  <a:pt x="5875744" y="3293962"/>
                </a:cubicBezTo>
                <a:cubicBezTo>
                  <a:pt x="5875744" y="3285709"/>
                  <a:pt x="5878540" y="3278655"/>
                  <a:pt x="5884130" y="3272931"/>
                </a:cubicBezTo>
                <a:cubicBezTo>
                  <a:pt x="5889722" y="3267207"/>
                  <a:pt x="5896910" y="3264278"/>
                  <a:pt x="5905963" y="3264278"/>
                </a:cubicBezTo>
                <a:close/>
                <a:moveTo>
                  <a:pt x="5688451" y="3264278"/>
                </a:moveTo>
                <a:cubicBezTo>
                  <a:pt x="5692577" y="3264278"/>
                  <a:pt x="5696571" y="3265076"/>
                  <a:pt x="5700165" y="3266807"/>
                </a:cubicBezTo>
                <a:cubicBezTo>
                  <a:pt x="5703892" y="3268405"/>
                  <a:pt x="5706954" y="3270534"/>
                  <a:pt x="5709483" y="3273196"/>
                </a:cubicBezTo>
                <a:cubicBezTo>
                  <a:pt x="5712012" y="3275859"/>
                  <a:pt x="5714142" y="3279054"/>
                  <a:pt x="5715606" y="3282648"/>
                </a:cubicBezTo>
                <a:cubicBezTo>
                  <a:pt x="5717071" y="3286242"/>
                  <a:pt x="5717869" y="3289970"/>
                  <a:pt x="5717869" y="3294096"/>
                </a:cubicBezTo>
                <a:cubicBezTo>
                  <a:pt x="5717869" y="3298223"/>
                  <a:pt x="5717071" y="3302216"/>
                  <a:pt x="5715606" y="3305811"/>
                </a:cubicBezTo>
                <a:cubicBezTo>
                  <a:pt x="5714142" y="3309405"/>
                  <a:pt x="5712012" y="3312466"/>
                  <a:pt x="5709483" y="3315129"/>
                </a:cubicBezTo>
                <a:cubicBezTo>
                  <a:pt x="5706820" y="3317791"/>
                  <a:pt x="5703759" y="3319921"/>
                  <a:pt x="5700165" y="3321385"/>
                </a:cubicBezTo>
                <a:cubicBezTo>
                  <a:pt x="5696571" y="3322850"/>
                  <a:pt x="5692710" y="3323648"/>
                  <a:pt x="5688451" y="3323648"/>
                </a:cubicBezTo>
                <a:cubicBezTo>
                  <a:pt x="5679532" y="3323648"/>
                  <a:pt x="5672210" y="3320721"/>
                  <a:pt x="5666618" y="3315129"/>
                </a:cubicBezTo>
                <a:cubicBezTo>
                  <a:pt x="5661028" y="3309538"/>
                  <a:pt x="5658232" y="3302483"/>
                  <a:pt x="5658232" y="3293962"/>
                </a:cubicBezTo>
                <a:cubicBezTo>
                  <a:pt x="5658232" y="3285709"/>
                  <a:pt x="5661028" y="3278655"/>
                  <a:pt x="5666618" y="3272931"/>
                </a:cubicBezTo>
                <a:cubicBezTo>
                  <a:pt x="5672210" y="3267207"/>
                  <a:pt x="5679398" y="3264278"/>
                  <a:pt x="5688451" y="3264278"/>
                </a:cubicBezTo>
                <a:close/>
                <a:moveTo>
                  <a:pt x="5470806" y="3264278"/>
                </a:moveTo>
                <a:cubicBezTo>
                  <a:pt x="5475065" y="3264278"/>
                  <a:pt x="5478926" y="3265076"/>
                  <a:pt x="5482520" y="3266807"/>
                </a:cubicBezTo>
                <a:cubicBezTo>
                  <a:pt x="5486247" y="3268405"/>
                  <a:pt x="5489309" y="3270534"/>
                  <a:pt x="5491838" y="3273196"/>
                </a:cubicBezTo>
                <a:cubicBezTo>
                  <a:pt x="5494367" y="3275859"/>
                  <a:pt x="5496497" y="3279054"/>
                  <a:pt x="5497961" y="3282648"/>
                </a:cubicBezTo>
                <a:cubicBezTo>
                  <a:pt x="5499426" y="3286242"/>
                  <a:pt x="5500224" y="3289970"/>
                  <a:pt x="5500224" y="3294096"/>
                </a:cubicBezTo>
                <a:cubicBezTo>
                  <a:pt x="5500224" y="3298223"/>
                  <a:pt x="5499426" y="3302216"/>
                  <a:pt x="5497961" y="3305811"/>
                </a:cubicBezTo>
                <a:cubicBezTo>
                  <a:pt x="5496497" y="3309405"/>
                  <a:pt x="5494367" y="3312466"/>
                  <a:pt x="5491838" y="3315129"/>
                </a:cubicBezTo>
                <a:cubicBezTo>
                  <a:pt x="5489176" y="3317791"/>
                  <a:pt x="5486114" y="3319921"/>
                  <a:pt x="5482520" y="3321385"/>
                </a:cubicBezTo>
                <a:cubicBezTo>
                  <a:pt x="5478926" y="3322850"/>
                  <a:pt x="5475065" y="3323648"/>
                  <a:pt x="5470806" y="3323648"/>
                </a:cubicBezTo>
                <a:cubicBezTo>
                  <a:pt x="5461887" y="3323648"/>
                  <a:pt x="5454565" y="3320721"/>
                  <a:pt x="5448973" y="3315129"/>
                </a:cubicBezTo>
                <a:cubicBezTo>
                  <a:pt x="5443383" y="3309538"/>
                  <a:pt x="5440587" y="3302483"/>
                  <a:pt x="5440587" y="3293962"/>
                </a:cubicBezTo>
                <a:cubicBezTo>
                  <a:pt x="5440587" y="3285709"/>
                  <a:pt x="5443383" y="3278655"/>
                  <a:pt x="5448973" y="3272931"/>
                </a:cubicBezTo>
                <a:cubicBezTo>
                  <a:pt x="5454565" y="3267207"/>
                  <a:pt x="5461754" y="3264278"/>
                  <a:pt x="5470806" y="3264278"/>
                </a:cubicBezTo>
                <a:close/>
                <a:moveTo>
                  <a:pt x="5253160" y="3264278"/>
                </a:moveTo>
                <a:cubicBezTo>
                  <a:pt x="5257420" y="3264278"/>
                  <a:pt x="5261280" y="3265076"/>
                  <a:pt x="5264875" y="3266807"/>
                </a:cubicBezTo>
                <a:cubicBezTo>
                  <a:pt x="5268602" y="3268405"/>
                  <a:pt x="5271664" y="3270534"/>
                  <a:pt x="5274192" y="3273196"/>
                </a:cubicBezTo>
                <a:cubicBezTo>
                  <a:pt x="5276722" y="3275859"/>
                  <a:pt x="5278852" y="3279054"/>
                  <a:pt x="5280316" y="3282648"/>
                </a:cubicBezTo>
                <a:cubicBezTo>
                  <a:pt x="5281780" y="3286242"/>
                  <a:pt x="5282579" y="3289970"/>
                  <a:pt x="5282579" y="3294096"/>
                </a:cubicBezTo>
                <a:cubicBezTo>
                  <a:pt x="5282579" y="3298223"/>
                  <a:pt x="5281780" y="3302216"/>
                  <a:pt x="5280316" y="3305811"/>
                </a:cubicBezTo>
                <a:cubicBezTo>
                  <a:pt x="5278852" y="3309405"/>
                  <a:pt x="5276722" y="3312466"/>
                  <a:pt x="5274192" y="3315129"/>
                </a:cubicBezTo>
                <a:cubicBezTo>
                  <a:pt x="5271664" y="3317791"/>
                  <a:pt x="5268469" y="3319921"/>
                  <a:pt x="5264875" y="3321385"/>
                </a:cubicBezTo>
                <a:cubicBezTo>
                  <a:pt x="5261280" y="3322850"/>
                  <a:pt x="5257420" y="3323648"/>
                  <a:pt x="5253160" y="3323648"/>
                </a:cubicBezTo>
                <a:cubicBezTo>
                  <a:pt x="5244241" y="3323648"/>
                  <a:pt x="5236920" y="3320721"/>
                  <a:pt x="5231328" y="3315129"/>
                </a:cubicBezTo>
                <a:cubicBezTo>
                  <a:pt x="5225737" y="3309538"/>
                  <a:pt x="5222942" y="3302483"/>
                  <a:pt x="5222942" y="3293962"/>
                </a:cubicBezTo>
                <a:cubicBezTo>
                  <a:pt x="5222942" y="3285709"/>
                  <a:pt x="5225737" y="3278655"/>
                  <a:pt x="5231328" y="3272931"/>
                </a:cubicBezTo>
                <a:cubicBezTo>
                  <a:pt x="5236920" y="3267207"/>
                  <a:pt x="5244108" y="3264278"/>
                  <a:pt x="5253160" y="3264278"/>
                </a:cubicBezTo>
                <a:close/>
                <a:moveTo>
                  <a:pt x="5035515" y="3264278"/>
                </a:moveTo>
                <a:cubicBezTo>
                  <a:pt x="5039775" y="3264278"/>
                  <a:pt x="5043636" y="3265076"/>
                  <a:pt x="5047230" y="3266807"/>
                </a:cubicBezTo>
                <a:cubicBezTo>
                  <a:pt x="5050957" y="3268405"/>
                  <a:pt x="5054019" y="3270534"/>
                  <a:pt x="5056548" y="3273196"/>
                </a:cubicBezTo>
                <a:cubicBezTo>
                  <a:pt x="5059077" y="3275859"/>
                  <a:pt x="5061207" y="3279054"/>
                  <a:pt x="5062671" y="3282648"/>
                </a:cubicBezTo>
                <a:cubicBezTo>
                  <a:pt x="5064135" y="3286242"/>
                  <a:pt x="5064934" y="3289970"/>
                  <a:pt x="5064934" y="3294096"/>
                </a:cubicBezTo>
                <a:cubicBezTo>
                  <a:pt x="5064934" y="3298223"/>
                  <a:pt x="5064135" y="3302216"/>
                  <a:pt x="5062671" y="3305811"/>
                </a:cubicBezTo>
                <a:cubicBezTo>
                  <a:pt x="5061207" y="3309405"/>
                  <a:pt x="5059077" y="3312466"/>
                  <a:pt x="5056548" y="3315129"/>
                </a:cubicBezTo>
                <a:cubicBezTo>
                  <a:pt x="5053885" y="3317791"/>
                  <a:pt x="5050824" y="3319921"/>
                  <a:pt x="5047230" y="3321385"/>
                </a:cubicBezTo>
                <a:cubicBezTo>
                  <a:pt x="5043636" y="3322850"/>
                  <a:pt x="5039775" y="3323648"/>
                  <a:pt x="5035515" y="3323648"/>
                </a:cubicBezTo>
                <a:cubicBezTo>
                  <a:pt x="5026597" y="3323648"/>
                  <a:pt x="5019275" y="3320721"/>
                  <a:pt x="5013683" y="3315129"/>
                </a:cubicBezTo>
                <a:cubicBezTo>
                  <a:pt x="5008092" y="3309538"/>
                  <a:pt x="5005297" y="3302483"/>
                  <a:pt x="5005297" y="3293962"/>
                </a:cubicBezTo>
                <a:cubicBezTo>
                  <a:pt x="5005297" y="3285709"/>
                  <a:pt x="5008092" y="3278655"/>
                  <a:pt x="5013683" y="3272931"/>
                </a:cubicBezTo>
                <a:cubicBezTo>
                  <a:pt x="5019275" y="3267207"/>
                  <a:pt x="5026463" y="3264278"/>
                  <a:pt x="5035515" y="3264278"/>
                </a:cubicBezTo>
                <a:close/>
                <a:moveTo>
                  <a:pt x="4817870" y="3264278"/>
                </a:moveTo>
                <a:cubicBezTo>
                  <a:pt x="4822130" y="3264278"/>
                  <a:pt x="4826124" y="3265076"/>
                  <a:pt x="4829585" y="3266807"/>
                </a:cubicBezTo>
                <a:cubicBezTo>
                  <a:pt x="4833312" y="3268405"/>
                  <a:pt x="4836374" y="3270534"/>
                  <a:pt x="4838903" y="3273196"/>
                </a:cubicBezTo>
                <a:cubicBezTo>
                  <a:pt x="4841432" y="3275859"/>
                  <a:pt x="4843562" y="3279054"/>
                  <a:pt x="4845026" y="3282648"/>
                </a:cubicBezTo>
                <a:cubicBezTo>
                  <a:pt x="4846491" y="3286242"/>
                  <a:pt x="4847289" y="3289970"/>
                  <a:pt x="4847289" y="3294096"/>
                </a:cubicBezTo>
                <a:cubicBezTo>
                  <a:pt x="4847289" y="3298223"/>
                  <a:pt x="4846491" y="3302216"/>
                  <a:pt x="4845026" y="3305811"/>
                </a:cubicBezTo>
                <a:cubicBezTo>
                  <a:pt x="4843562" y="3309405"/>
                  <a:pt x="4841432" y="3312466"/>
                  <a:pt x="4838903" y="3315129"/>
                </a:cubicBezTo>
                <a:cubicBezTo>
                  <a:pt x="4836240" y="3317791"/>
                  <a:pt x="4833179" y="3319921"/>
                  <a:pt x="4829585" y="3321385"/>
                </a:cubicBezTo>
                <a:cubicBezTo>
                  <a:pt x="4825991" y="3322850"/>
                  <a:pt x="4822130" y="3323648"/>
                  <a:pt x="4817870" y="3323648"/>
                </a:cubicBezTo>
                <a:cubicBezTo>
                  <a:pt x="4808952" y="3323648"/>
                  <a:pt x="4801630" y="3320721"/>
                  <a:pt x="4796038" y="3315129"/>
                </a:cubicBezTo>
                <a:cubicBezTo>
                  <a:pt x="4790447" y="3309538"/>
                  <a:pt x="4787652" y="3302483"/>
                  <a:pt x="4787652" y="3293962"/>
                </a:cubicBezTo>
                <a:cubicBezTo>
                  <a:pt x="4787652" y="3285709"/>
                  <a:pt x="4790447" y="3278655"/>
                  <a:pt x="4796038" y="3272931"/>
                </a:cubicBezTo>
                <a:cubicBezTo>
                  <a:pt x="4801630" y="3267207"/>
                  <a:pt x="4808818" y="3264278"/>
                  <a:pt x="4817870" y="3264278"/>
                </a:cubicBezTo>
                <a:close/>
                <a:moveTo>
                  <a:pt x="4600226" y="3264278"/>
                </a:moveTo>
                <a:cubicBezTo>
                  <a:pt x="4604485" y="3264278"/>
                  <a:pt x="4608479" y="3265076"/>
                  <a:pt x="4612073" y="3266807"/>
                </a:cubicBezTo>
                <a:cubicBezTo>
                  <a:pt x="4615800" y="3268405"/>
                  <a:pt x="4618862" y="3270534"/>
                  <a:pt x="4621391" y="3273196"/>
                </a:cubicBezTo>
                <a:cubicBezTo>
                  <a:pt x="4623920" y="3275859"/>
                  <a:pt x="4626050" y="3279054"/>
                  <a:pt x="4627514" y="3282648"/>
                </a:cubicBezTo>
                <a:cubicBezTo>
                  <a:pt x="4628978" y="3286242"/>
                  <a:pt x="4629777" y="3289970"/>
                  <a:pt x="4629777" y="3294096"/>
                </a:cubicBezTo>
                <a:cubicBezTo>
                  <a:pt x="4629777" y="3298223"/>
                  <a:pt x="4628978" y="3302216"/>
                  <a:pt x="4627514" y="3305811"/>
                </a:cubicBezTo>
                <a:cubicBezTo>
                  <a:pt x="4626050" y="3309405"/>
                  <a:pt x="4623920" y="3312466"/>
                  <a:pt x="4621391" y="3315129"/>
                </a:cubicBezTo>
                <a:cubicBezTo>
                  <a:pt x="4618729" y="3317791"/>
                  <a:pt x="4615667" y="3319921"/>
                  <a:pt x="4612073" y="3321385"/>
                </a:cubicBezTo>
                <a:cubicBezTo>
                  <a:pt x="4608346" y="3322850"/>
                  <a:pt x="4604485" y="3323648"/>
                  <a:pt x="4600226" y="3323648"/>
                </a:cubicBezTo>
                <a:cubicBezTo>
                  <a:pt x="4591173" y="3323648"/>
                  <a:pt x="4583985" y="3320721"/>
                  <a:pt x="4578393" y="3315129"/>
                </a:cubicBezTo>
                <a:cubicBezTo>
                  <a:pt x="4572803" y="3309538"/>
                  <a:pt x="4570007" y="3302483"/>
                  <a:pt x="4570007" y="3293962"/>
                </a:cubicBezTo>
                <a:cubicBezTo>
                  <a:pt x="4570007" y="3285709"/>
                  <a:pt x="4572803" y="3278655"/>
                  <a:pt x="4578393" y="3272931"/>
                </a:cubicBezTo>
                <a:cubicBezTo>
                  <a:pt x="4583985" y="3267207"/>
                  <a:pt x="4591173" y="3264278"/>
                  <a:pt x="4600226" y="3264278"/>
                </a:cubicBezTo>
                <a:close/>
                <a:moveTo>
                  <a:pt x="4382713" y="3264278"/>
                </a:moveTo>
                <a:cubicBezTo>
                  <a:pt x="4386840" y="3264278"/>
                  <a:pt x="4390834" y="3265076"/>
                  <a:pt x="4394428" y="3266807"/>
                </a:cubicBezTo>
                <a:cubicBezTo>
                  <a:pt x="4398155" y="3268405"/>
                  <a:pt x="4401217" y="3270534"/>
                  <a:pt x="4403746" y="3273196"/>
                </a:cubicBezTo>
                <a:cubicBezTo>
                  <a:pt x="4406275" y="3275859"/>
                  <a:pt x="4408405" y="3279054"/>
                  <a:pt x="4409869" y="3282648"/>
                </a:cubicBezTo>
                <a:cubicBezTo>
                  <a:pt x="4411334" y="3286242"/>
                  <a:pt x="4412132" y="3289970"/>
                  <a:pt x="4412132" y="3294096"/>
                </a:cubicBezTo>
                <a:cubicBezTo>
                  <a:pt x="4412132" y="3298223"/>
                  <a:pt x="4411334" y="3302216"/>
                  <a:pt x="4409869" y="3305811"/>
                </a:cubicBezTo>
                <a:cubicBezTo>
                  <a:pt x="4408405" y="3309405"/>
                  <a:pt x="4406275" y="3312466"/>
                  <a:pt x="4403746" y="3315129"/>
                </a:cubicBezTo>
                <a:cubicBezTo>
                  <a:pt x="4401083" y="3317791"/>
                  <a:pt x="4398022" y="3319921"/>
                  <a:pt x="4394428" y="3321385"/>
                </a:cubicBezTo>
                <a:cubicBezTo>
                  <a:pt x="4390834" y="3322850"/>
                  <a:pt x="4386973" y="3323648"/>
                  <a:pt x="4382713" y="3323648"/>
                </a:cubicBezTo>
                <a:cubicBezTo>
                  <a:pt x="4373661" y="3323648"/>
                  <a:pt x="4366473" y="3320721"/>
                  <a:pt x="4360881" y="3315129"/>
                </a:cubicBezTo>
                <a:cubicBezTo>
                  <a:pt x="4355290" y="3309538"/>
                  <a:pt x="4352495" y="3302483"/>
                  <a:pt x="4352495" y="3293962"/>
                </a:cubicBezTo>
                <a:cubicBezTo>
                  <a:pt x="4352495" y="3285709"/>
                  <a:pt x="4355290" y="3278655"/>
                  <a:pt x="4360881" y="3272931"/>
                </a:cubicBezTo>
                <a:cubicBezTo>
                  <a:pt x="4366473" y="3267207"/>
                  <a:pt x="4373661" y="3264278"/>
                  <a:pt x="4382713" y="3264278"/>
                </a:cubicBezTo>
                <a:close/>
                <a:moveTo>
                  <a:pt x="4165068" y="3264278"/>
                </a:moveTo>
                <a:cubicBezTo>
                  <a:pt x="4169327" y="3264278"/>
                  <a:pt x="4173188" y="3265076"/>
                  <a:pt x="4176782" y="3266807"/>
                </a:cubicBezTo>
                <a:cubicBezTo>
                  <a:pt x="4180509" y="3268405"/>
                  <a:pt x="4183571" y="3270534"/>
                  <a:pt x="4186100" y="3273196"/>
                </a:cubicBezTo>
                <a:cubicBezTo>
                  <a:pt x="4188629" y="3275859"/>
                  <a:pt x="4190759" y="3279054"/>
                  <a:pt x="4192223" y="3282648"/>
                </a:cubicBezTo>
                <a:cubicBezTo>
                  <a:pt x="4193688" y="3286242"/>
                  <a:pt x="4194486" y="3289970"/>
                  <a:pt x="4194486" y="3294096"/>
                </a:cubicBezTo>
                <a:cubicBezTo>
                  <a:pt x="4194486" y="3298223"/>
                  <a:pt x="4193688" y="3302216"/>
                  <a:pt x="4192223" y="3305811"/>
                </a:cubicBezTo>
                <a:cubicBezTo>
                  <a:pt x="4190759" y="3309405"/>
                  <a:pt x="4188629" y="3312466"/>
                  <a:pt x="4186100" y="3315129"/>
                </a:cubicBezTo>
                <a:cubicBezTo>
                  <a:pt x="4183438" y="3317791"/>
                  <a:pt x="4180376" y="3319921"/>
                  <a:pt x="4176782" y="3321385"/>
                </a:cubicBezTo>
                <a:cubicBezTo>
                  <a:pt x="4173188" y="3322850"/>
                  <a:pt x="4169327" y="3323648"/>
                  <a:pt x="4165068" y="3323648"/>
                </a:cubicBezTo>
                <a:cubicBezTo>
                  <a:pt x="4156015" y="3323648"/>
                  <a:pt x="4148827" y="3320721"/>
                  <a:pt x="4143235" y="3315129"/>
                </a:cubicBezTo>
                <a:cubicBezTo>
                  <a:pt x="4137645" y="3309538"/>
                  <a:pt x="4134849" y="3302483"/>
                  <a:pt x="4134849" y="3293962"/>
                </a:cubicBezTo>
                <a:cubicBezTo>
                  <a:pt x="4134849" y="3285709"/>
                  <a:pt x="4137645" y="3278655"/>
                  <a:pt x="4143235" y="3272931"/>
                </a:cubicBezTo>
                <a:cubicBezTo>
                  <a:pt x="4148827" y="3267207"/>
                  <a:pt x="4156015" y="3264278"/>
                  <a:pt x="4165068" y="3264278"/>
                </a:cubicBezTo>
                <a:close/>
                <a:moveTo>
                  <a:pt x="3947605" y="3264278"/>
                </a:moveTo>
                <a:cubicBezTo>
                  <a:pt x="3951867" y="3264278"/>
                  <a:pt x="3955726" y="3265076"/>
                  <a:pt x="3959321" y="3266807"/>
                </a:cubicBezTo>
                <a:cubicBezTo>
                  <a:pt x="3963049" y="3268405"/>
                  <a:pt x="3966110" y="3270534"/>
                  <a:pt x="3968639" y="3273196"/>
                </a:cubicBezTo>
                <a:cubicBezTo>
                  <a:pt x="3971169" y="3275859"/>
                  <a:pt x="3973299" y="3279054"/>
                  <a:pt x="3974763" y="3282648"/>
                </a:cubicBezTo>
                <a:cubicBezTo>
                  <a:pt x="3976228" y="3286242"/>
                  <a:pt x="3977027" y="3289970"/>
                  <a:pt x="3977027" y="3294096"/>
                </a:cubicBezTo>
                <a:cubicBezTo>
                  <a:pt x="3977027" y="3298223"/>
                  <a:pt x="3976228" y="3302216"/>
                  <a:pt x="3974763" y="3305811"/>
                </a:cubicBezTo>
                <a:cubicBezTo>
                  <a:pt x="3973299" y="3309405"/>
                  <a:pt x="3971169" y="3312466"/>
                  <a:pt x="3968639" y="3315129"/>
                </a:cubicBezTo>
                <a:cubicBezTo>
                  <a:pt x="3965977" y="3317791"/>
                  <a:pt x="3962916" y="3319921"/>
                  <a:pt x="3959321" y="3321385"/>
                </a:cubicBezTo>
                <a:cubicBezTo>
                  <a:pt x="3955726" y="3322850"/>
                  <a:pt x="3951867" y="3323648"/>
                  <a:pt x="3947605" y="3323648"/>
                </a:cubicBezTo>
                <a:cubicBezTo>
                  <a:pt x="3938552" y="3323648"/>
                  <a:pt x="3931365" y="3320721"/>
                  <a:pt x="3925772" y="3315129"/>
                </a:cubicBezTo>
                <a:cubicBezTo>
                  <a:pt x="3920181" y="3309538"/>
                  <a:pt x="3917386" y="3302483"/>
                  <a:pt x="3917386" y="3293962"/>
                </a:cubicBezTo>
                <a:cubicBezTo>
                  <a:pt x="3917386" y="3285709"/>
                  <a:pt x="3920181" y="3278655"/>
                  <a:pt x="3925772" y="3272931"/>
                </a:cubicBezTo>
                <a:cubicBezTo>
                  <a:pt x="3931365" y="3267207"/>
                  <a:pt x="3938552" y="3264278"/>
                  <a:pt x="3947605" y="3264278"/>
                </a:cubicBezTo>
                <a:close/>
                <a:moveTo>
                  <a:pt x="3729951" y="3264278"/>
                </a:moveTo>
                <a:cubicBezTo>
                  <a:pt x="3734212" y="3264278"/>
                  <a:pt x="3738204" y="3265076"/>
                  <a:pt x="3741666" y="3266807"/>
                </a:cubicBezTo>
                <a:cubicBezTo>
                  <a:pt x="3745261" y="3268405"/>
                  <a:pt x="3748456" y="3270534"/>
                  <a:pt x="3750985" y="3273196"/>
                </a:cubicBezTo>
                <a:cubicBezTo>
                  <a:pt x="3753514" y="3275859"/>
                  <a:pt x="3755644" y="3279054"/>
                  <a:pt x="3757108" y="3282648"/>
                </a:cubicBezTo>
                <a:cubicBezTo>
                  <a:pt x="3758572" y="3286242"/>
                  <a:pt x="3759371" y="3289970"/>
                  <a:pt x="3759371" y="3294096"/>
                </a:cubicBezTo>
                <a:cubicBezTo>
                  <a:pt x="3759371" y="3298223"/>
                  <a:pt x="3758572" y="3302216"/>
                  <a:pt x="3757108" y="3305811"/>
                </a:cubicBezTo>
                <a:cubicBezTo>
                  <a:pt x="3755644" y="3309405"/>
                  <a:pt x="3753514" y="3312466"/>
                  <a:pt x="3750985" y="3315129"/>
                </a:cubicBezTo>
                <a:cubicBezTo>
                  <a:pt x="3748322" y="3317791"/>
                  <a:pt x="3745261" y="3319921"/>
                  <a:pt x="3741666" y="3321385"/>
                </a:cubicBezTo>
                <a:cubicBezTo>
                  <a:pt x="3738073" y="3322850"/>
                  <a:pt x="3734212" y="3323648"/>
                  <a:pt x="3729951" y="3323648"/>
                </a:cubicBezTo>
                <a:cubicBezTo>
                  <a:pt x="3720899" y="3323648"/>
                  <a:pt x="3713710" y="3320721"/>
                  <a:pt x="3708115" y="3315129"/>
                </a:cubicBezTo>
                <a:cubicBezTo>
                  <a:pt x="3702522" y="3309538"/>
                  <a:pt x="3699728" y="3302483"/>
                  <a:pt x="3699728" y="3293962"/>
                </a:cubicBezTo>
                <a:cubicBezTo>
                  <a:pt x="3699728" y="3285709"/>
                  <a:pt x="3702522" y="3278655"/>
                  <a:pt x="3708115" y="3272931"/>
                </a:cubicBezTo>
                <a:cubicBezTo>
                  <a:pt x="3713710" y="3267207"/>
                  <a:pt x="3720899" y="3264278"/>
                  <a:pt x="3729951" y="3264278"/>
                </a:cubicBezTo>
                <a:close/>
                <a:moveTo>
                  <a:pt x="3512297" y="3264278"/>
                </a:moveTo>
                <a:cubicBezTo>
                  <a:pt x="3516557" y="3264278"/>
                  <a:pt x="3520550" y="3265076"/>
                  <a:pt x="3524012" y="3266807"/>
                </a:cubicBezTo>
                <a:cubicBezTo>
                  <a:pt x="3527606" y="3268405"/>
                  <a:pt x="3530801" y="3270534"/>
                  <a:pt x="3533330" y="3273196"/>
                </a:cubicBezTo>
                <a:cubicBezTo>
                  <a:pt x="3535859" y="3275859"/>
                  <a:pt x="3537989" y="3279054"/>
                  <a:pt x="3539453" y="3282648"/>
                </a:cubicBezTo>
                <a:cubicBezTo>
                  <a:pt x="3540917" y="3286242"/>
                  <a:pt x="3541716" y="3289970"/>
                  <a:pt x="3541716" y="3294096"/>
                </a:cubicBezTo>
                <a:cubicBezTo>
                  <a:pt x="3541716" y="3298223"/>
                  <a:pt x="3540917" y="3302216"/>
                  <a:pt x="3539453" y="3305811"/>
                </a:cubicBezTo>
                <a:cubicBezTo>
                  <a:pt x="3537989" y="3309405"/>
                  <a:pt x="3535859" y="3312466"/>
                  <a:pt x="3533330" y="3315129"/>
                </a:cubicBezTo>
                <a:cubicBezTo>
                  <a:pt x="3530667" y="3317791"/>
                  <a:pt x="3527606" y="3319921"/>
                  <a:pt x="3524012" y="3321385"/>
                </a:cubicBezTo>
                <a:cubicBezTo>
                  <a:pt x="3520418" y="3322850"/>
                  <a:pt x="3516557" y="3323648"/>
                  <a:pt x="3512297" y="3323648"/>
                </a:cubicBezTo>
                <a:cubicBezTo>
                  <a:pt x="3503242" y="3323648"/>
                  <a:pt x="3496053" y="3320721"/>
                  <a:pt x="3490462" y="3315129"/>
                </a:cubicBezTo>
                <a:cubicBezTo>
                  <a:pt x="3484871" y="3309538"/>
                  <a:pt x="3482075" y="3302483"/>
                  <a:pt x="3482075" y="3293962"/>
                </a:cubicBezTo>
                <a:cubicBezTo>
                  <a:pt x="3482075" y="3285709"/>
                  <a:pt x="3484871" y="3278655"/>
                  <a:pt x="3490462" y="3272931"/>
                </a:cubicBezTo>
                <a:cubicBezTo>
                  <a:pt x="3496053" y="3267207"/>
                  <a:pt x="3503242" y="3264278"/>
                  <a:pt x="3512297" y="3264278"/>
                </a:cubicBezTo>
                <a:close/>
                <a:moveTo>
                  <a:pt x="3294775" y="3264278"/>
                </a:moveTo>
                <a:cubicBezTo>
                  <a:pt x="3298902" y="3264278"/>
                  <a:pt x="3302897" y="3265076"/>
                  <a:pt x="3306491" y="3266807"/>
                </a:cubicBezTo>
                <a:cubicBezTo>
                  <a:pt x="3310218" y="3268405"/>
                  <a:pt x="3313280" y="3270534"/>
                  <a:pt x="3315809" y="3273196"/>
                </a:cubicBezTo>
                <a:cubicBezTo>
                  <a:pt x="3318338" y="3275859"/>
                  <a:pt x="3320468" y="3279054"/>
                  <a:pt x="3321932" y="3282648"/>
                </a:cubicBezTo>
                <a:cubicBezTo>
                  <a:pt x="3323396" y="3286242"/>
                  <a:pt x="3324195" y="3289970"/>
                  <a:pt x="3324195" y="3294096"/>
                </a:cubicBezTo>
                <a:cubicBezTo>
                  <a:pt x="3324195" y="3298223"/>
                  <a:pt x="3323396" y="3302216"/>
                  <a:pt x="3321932" y="3305811"/>
                </a:cubicBezTo>
                <a:cubicBezTo>
                  <a:pt x="3320468" y="3309405"/>
                  <a:pt x="3318338" y="3312466"/>
                  <a:pt x="3315809" y="3315129"/>
                </a:cubicBezTo>
                <a:cubicBezTo>
                  <a:pt x="3313146" y="3317791"/>
                  <a:pt x="3310084" y="3319921"/>
                  <a:pt x="3306491" y="3321385"/>
                </a:cubicBezTo>
                <a:cubicBezTo>
                  <a:pt x="3302897" y="3322850"/>
                  <a:pt x="3299036" y="3323648"/>
                  <a:pt x="3294775" y="3323648"/>
                </a:cubicBezTo>
                <a:cubicBezTo>
                  <a:pt x="3285722" y="3323648"/>
                  <a:pt x="3278533" y="3320721"/>
                  <a:pt x="3272940" y="3315129"/>
                </a:cubicBezTo>
                <a:cubicBezTo>
                  <a:pt x="3267348" y="3309538"/>
                  <a:pt x="3264553" y="3302483"/>
                  <a:pt x="3264553" y="3293962"/>
                </a:cubicBezTo>
                <a:cubicBezTo>
                  <a:pt x="3264553" y="3285709"/>
                  <a:pt x="3267348" y="3278655"/>
                  <a:pt x="3272940" y="3272931"/>
                </a:cubicBezTo>
                <a:cubicBezTo>
                  <a:pt x="3278533" y="3267207"/>
                  <a:pt x="3285722" y="3264278"/>
                  <a:pt x="3294775" y="3264278"/>
                </a:cubicBezTo>
                <a:close/>
                <a:moveTo>
                  <a:pt x="3077120" y="3264278"/>
                </a:moveTo>
                <a:cubicBezTo>
                  <a:pt x="3081248" y="3264278"/>
                  <a:pt x="3085242" y="3265076"/>
                  <a:pt x="3088836" y="3266807"/>
                </a:cubicBezTo>
                <a:cubicBezTo>
                  <a:pt x="3092430" y="3268405"/>
                  <a:pt x="3095626" y="3270534"/>
                  <a:pt x="3098154" y="3273196"/>
                </a:cubicBezTo>
                <a:cubicBezTo>
                  <a:pt x="3100683" y="3275859"/>
                  <a:pt x="3102813" y="3279054"/>
                  <a:pt x="3104277" y="3282648"/>
                </a:cubicBezTo>
                <a:cubicBezTo>
                  <a:pt x="3105743" y="3286242"/>
                  <a:pt x="3106540" y="3289970"/>
                  <a:pt x="3106540" y="3294096"/>
                </a:cubicBezTo>
                <a:cubicBezTo>
                  <a:pt x="3106540" y="3298223"/>
                  <a:pt x="3105743" y="3302216"/>
                  <a:pt x="3104277" y="3305811"/>
                </a:cubicBezTo>
                <a:cubicBezTo>
                  <a:pt x="3102813" y="3309405"/>
                  <a:pt x="3100683" y="3312466"/>
                  <a:pt x="3098154" y="3315129"/>
                </a:cubicBezTo>
                <a:cubicBezTo>
                  <a:pt x="3095492" y="3317791"/>
                  <a:pt x="3092430" y="3319921"/>
                  <a:pt x="3088836" y="3321385"/>
                </a:cubicBezTo>
                <a:cubicBezTo>
                  <a:pt x="3085242" y="3322850"/>
                  <a:pt x="3081381" y="3323648"/>
                  <a:pt x="3077120" y="3323648"/>
                </a:cubicBezTo>
                <a:cubicBezTo>
                  <a:pt x="3068201" y="3323648"/>
                  <a:pt x="3060879" y="3320721"/>
                  <a:pt x="3055285" y="3315129"/>
                </a:cubicBezTo>
                <a:cubicBezTo>
                  <a:pt x="3049694" y="3309538"/>
                  <a:pt x="3046899" y="3302483"/>
                  <a:pt x="3046899" y="3293962"/>
                </a:cubicBezTo>
                <a:cubicBezTo>
                  <a:pt x="3046899" y="3285709"/>
                  <a:pt x="3049694" y="3278655"/>
                  <a:pt x="3055285" y="3272931"/>
                </a:cubicBezTo>
                <a:cubicBezTo>
                  <a:pt x="3060879" y="3267207"/>
                  <a:pt x="3068068" y="3264278"/>
                  <a:pt x="3077120" y="3264278"/>
                </a:cubicBezTo>
                <a:close/>
                <a:moveTo>
                  <a:pt x="2859466" y="3264278"/>
                </a:moveTo>
                <a:cubicBezTo>
                  <a:pt x="2863727" y="3264278"/>
                  <a:pt x="2867588" y="3265076"/>
                  <a:pt x="2871315" y="3266807"/>
                </a:cubicBezTo>
                <a:cubicBezTo>
                  <a:pt x="2875042" y="3268405"/>
                  <a:pt x="2878104" y="3270534"/>
                  <a:pt x="2880633" y="3273196"/>
                </a:cubicBezTo>
                <a:cubicBezTo>
                  <a:pt x="2883294" y="3275859"/>
                  <a:pt x="2885292" y="3279054"/>
                  <a:pt x="2886756" y="3282648"/>
                </a:cubicBezTo>
                <a:cubicBezTo>
                  <a:pt x="2888221" y="3286242"/>
                  <a:pt x="2889019" y="3289970"/>
                  <a:pt x="2889019" y="3294096"/>
                </a:cubicBezTo>
                <a:cubicBezTo>
                  <a:pt x="2889019" y="3298223"/>
                  <a:pt x="2888221" y="3302216"/>
                  <a:pt x="2886756" y="3305811"/>
                </a:cubicBezTo>
                <a:cubicBezTo>
                  <a:pt x="2885292" y="3309405"/>
                  <a:pt x="2883162" y="3312466"/>
                  <a:pt x="2880633" y="3315129"/>
                </a:cubicBezTo>
                <a:cubicBezTo>
                  <a:pt x="2877971" y="3317791"/>
                  <a:pt x="2874908" y="3319921"/>
                  <a:pt x="2871315" y="3321385"/>
                </a:cubicBezTo>
                <a:cubicBezTo>
                  <a:pt x="2867588" y="3322850"/>
                  <a:pt x="2863727" y="3323648"/>
                  <a:pt x="2859466" y="3323648"/>
                </a:cubicBezTo>
                <a:cubicBezTo>
                  <a:pt x="2850548" y="3323648"/>
                  <a:pt x="2843222" y="3320721"/>
                  <a:pt x="2837631" y="3315129"/>
                </a:cubicBezTo>
                <a:cubicBezTo>
                  <a:pt x="2832040" y="3309538"/>
                  <a:pt x="2829244" y="3302483"/>
                  <a:pt x="2829244" y="3293962"/>
                </a:cubicBezTo>
                <a:cubicBezTo>
                  <a:pt x="2829244" y="3285709"/>
                  <a:pt x="2832040" y="3278655"/>
                  <a:pt x="2837631" y="3272931"/>
                </a:cubicBezTo>
                <a:cubicBezTo>
                  <a:pt x="2843222" y="3267207"/>
                  <a:pt x="2850414" y="3264278"/>
                  <a:pt x="2859466" y="3264278"/>
                </a:cubicBezTo>
                <a:close/>
                <a:moveTo>
                  <a:pt x="2641812" y="3264278"/>
                </a:moveTo>
                <a:cubicBezTo>
                  <a:pt x="2646072" y="3264278"/>
                  <a:pt x="2649932" y="3265076"/>
                  <a:pt x="2653527" y="3266807"/>
                </a:cubicBezTo>
                <a:cubicBezTo>
                  <a:pt x="2657254" y="3268405"/>
                  <a:pt x="2660316" y="3270534"/>
                  <a:pt x="2662845" y="3273196"/>
                </a:cubicBezTo>
                <a:cubicBezTo>
                  <a:pt x="2665507" y="3275859"/>
                  <a:pt x="2667504" y="3279054"/>
                  <a:pt x="2668968" y="3282648"/>
                </a:cubicBezTo>
                <a:cubicBezTo>
                  <a:pt x="2670432" y="3286242"/>
                  <a:pt x="2671231" y="3289970"/>
                  <a:pt x="2671231" y="3294096"/>
                </a:cubicBezTo>
                <a:cubicBezTo>
                  <a:pt x="2671231" y="3298223"/>
                  <a:pt x="2670432" y="3302216"/>
                  <a:pt x="2668968" y="3305811"/>
                </a:cubicBezTo>
                <a:cubicBezTo>
                  <a:pt x="2667504" y="3309405"/>
                  <a:pt x="2665374" y="3312466"/>
                  <a:pt x="2662845" y="3315129"/>
                </a:cubicBezTo>
                <a:cubicBezTo>
                  <a:pt x="2660316" y="3317791"/>
                  <a:pt x="2657121" y="3319921"/>
                  <a:pt x="2653527" y="3321385"/>
                </a:cubicBezTo>
                <a:cubicBezTo>
                  <a:pt x="2649932" y="3322850"/>
                  <a:pt x="2646072" y="3323648"/>
                  <a:pt x="2641812" y="3323648"/>
                </a:cubicBezTo>
                <a:cubicBezTo>
                  <a:pt x="2632892" y="3323648"/>
                  <a:pt x="2625571" y="3320721"/>
                  <a:pt x="2619979" y="3315129"/>
                </a:cubicBezTo>
                <a:cubicBezTo>
                  <a:pt x="2614388" y="3309538"/>
                  <a:pt x="2611591" y="3302483"/>
                  <a:pt x="2611591" y="3293962"/>
                </a:cubicBezTo>
                <a:cubicBezTo>
                  <a:pt x="2611591" y="3285709"/>
                  <a:pt x="2614388" y="3278655"/>
                  <a:pt x="2619979" y="3272931"/>
                </a:cubicBezTo>
                <a:cubicBezTo>
                  <a:pt x="2625571" y="3267207"/>
                  <a:pt x="2632760" y="3264278"/>
                  <a:pt x="2641812" y="3264278"/>
                </a:cubicBezTo>
                <a:close/>
                <a:moveTo>
                  <a:pt x="2424157" y="3264278"/>
                </a:moveTo>
                <a:cubicBezTo>
                  <a:pt x="2428417" y="3264278"/>
                  <a:pt x="2432412" y="3265076"/>
                  <a:pt x="2435872" y="3266807"/>
                </a:cubicBezTo>
                <a:cubicBezTo>
                  <a:pt x="2439599" y="3268405"/>
                  <a:pt x="2442661" y="3270534"/>
                  <a:pt x="2445190" y="3273196"/>
                </a:cubicBezTo>
                <a:cubicBezTo>
                  <a:pt x="2447853" y="3275859"/>
                  <a:pt x="2449850" y="3279054"/>
                  <a:pt x="2451314" y="3282648"/>
                </a:cubicBezTo>
                <a:cubicBezTo>
                  <a:pt x="2452778" y="3286242"/>
                  <a:pt x="2453577" y="3289970"/>
                  <a:pt x="2453577" y="3294096"/>
                </a:cubicBezTo>
                <a:cubicBezTo>
                  <a:pt x="2453577" y="3298223"/>
                  <a:pt x="2452778" y="3302216"/>
                  <a:pt x="2451314" y="3305811"/>
                </a:cubicBezTo>
                <a:cubicBezTo>
                  <a:pt x="2449850" y="3309405"/>
                  <a:pt x="2447719" y="3312466"/>
                  <a:pt x="2445190" y="3315129"/>
                </a:cubicBezTo>
                <a:cubicBezTo>
                  <a:pt x="2442661" y="3317791"/>
                  <a:pt x="2439467" y="3319921"/>
                  <a:pt x="2435872" y="3321385"/>
                </a:cubicBezTo>
                <a:cubicBezTo>
                  <a:pt x="2432278" y="3322850"/>
                  <a:pt x="2428417" y="3323648"/>
                  <a:pt x="2424157" y="3323648"/>
                </a:cubicBezTo>
                <a:cubicBezTo>
                  <a:pt x="2415239" y="3323648"/>
                  <a:pt x="2407917" y="3320721"/>
                  <a:pt x="2402325" y="3315129"/>
                </a:cubicBezTo>
                <a:cubicBezTo>
                  <a:pt x="2396733" y="3309538"/>
                  <a:pt x="2393937" y="3302483"/>
                  <a:pt x="2393937" y="3293962"/>
                </a:cubicBezTo>
                <a:cubicBezTo>
                  <a:pt x="2393937" y="3285709"/>
                  <a:pt x="2396733" y="3278655"/>
                  <a:pt x="2402325" y="3272931"/>
                </a:cubicBezTo>
                <a:cubicBezTo>
                  <a:pt x="2407917" y="3267207"/>
                  <a:pt x="2415105" y="3264278"/>
                  <a:pt x="2424157" y="3264278"/>
                </a:cubicBezTo>
                <a:close/>
                <a:moveTo>
                  <a:pt x="2206503" y="3264278"/>
                </a:moveTo>
                <a:cubicBezTo>
                  <a:pt x="2210762" y="3264278"/>
                  <a:pt x="2214757" y="3265076"/>
                  <a:pt x="2218218" y="3266807"/>
                </a:cubicBezTo>
                <a:cubicBezTo>
                  <a:pt x="2221945" y="3268405"/>
                  <a:pt x="2225006" y="3270534"/>
                  <a:pt x="2227536" y="3273196"/>
                </a:cubicBezTo>
                <a:cubicBezTo>
                  <a:pt x="2230198" y="3275859"/>
                  <a:pt x="2232195" y="3279054"/>
                  <a:pt x="2233659" y="3282648"/>
                </a:cubicBezTo>
                <a:cubicBezTo>
                  <a:pt x="2235123" y="3286242"/>
                  <a:pt x="2235922" y="3289970"/>
                  <a:pt x="2235922" y="3294096"/>
                </a:cubicBezTo>
                <a:cubicBezTo>
                  <a:pt x="2235922" y="3298223"/>
                  <a:pt x="2235123" y="3302216"/>
                  <a:pt x="2233659" y="3305811"/>
                </a:cubicBezTo>
                <a:cubicBezTo>
                  <a:pt x="2232195" y="3309405"/>
                  <a:pt x="2230065" y="3312466"/>
                  <a:pt x="2227536" y="3315129"/>
                </a:cubicBezTo>
                <a:cubicBezTo>
                  <a:pt x="2225006" y="3317791"/>
                  <a:pt x="2221812" y="3319921"/>
                  <a:pt x="2218218" y="3321385"/>
                </a:cubicBezTo>
                <a:cubicBezTo>
                  <a:pt x="2214623" y="3322850"/>
                  <a:pt x="2210762" y="3323648"/>
                  <a:pt x="2206503" y="3323648"/>
                </a:cubicBezTo>
                <a:cubicBezTo>
                  <a:pt x="2197450" y="3323648"/>
                  <a:pt x="2190262" y="3320721"/>
                  <a:pt x="2184670" y="3315129"/>
                </a:cubicBezTo>
                <a:cubicBezTo>
                  <a:pt x="2179078" y="3309538"/>
                  <a:pt x="2176283" y="3302483"/>
                  <a:pt x="2176283" y="3293962"/>
                </a:cubicBezTo>
                <a:cubicBezTo>
                  <a:pt x="2176283" y="3285709"/>
                  <a:pt x="2179078" y="3278655"/>
                  <a:pt x="2184670" y="3272931"/>
                </a:cubicBezTo>
                <a:cubicBezTo>
                  <a:pt x="2190262" y="3267207"/>
                  <a:pt x="2197450" y="3264278"/>
                  <a:pt x="2206503" y="3264278"/>
                </a:cubicBezTo>
                <a:close/>
                <a:moveTo>
                  <a:pt x="1988981" y="3264278"/>
                </a:moveTo>
                <a:cubicBezTo>
                  <a:pt x="1993108" y="3264278"/>
                  <a:pt x="1997102" y="3265076"/>
                  <a:pt x="2000696" y="3266807"/>
                </a:cubicBezTo>
                <a:cubicBezTo>
                  <a:pt x="2004423" y="3268405"/>
                  <a:pt x="2007485" y="3270534"/>
                  <a:pt x="2010014" y="3273196"/>
                </a:cubicBezTo>
                <a:cubicBezTo>
                  <a:pt x="2012676" y="3275859"/>
                  <a:pt x="2014673" y="3279054"/>
                  <a:pt x="2016137" y="3282648"/>
                </a:cubicBezTo>
                <a:cubicBezTo>
                  <a:pt x="2017601" y="3286242"/>
                  <a:pt x="2018400" y="3289970"/>
                  <a:pt x="2018400" y="3294096"/>
                </a:cubicBezTo>
                <a:cubicBezTo>
                  <a:pt x="2018400" y="3298223"/>
                  <a:pt x="2017601" y="3302216"/>
                  <a:pt x="2016137" y="3305811"/>
                </a:cubicBezTo>
                <a:cubicBezTo>
                  <a:pt x="2014673" y="3309405"/>
                  <a:pt x="2012543" y="3312466"/>
                  <a:pt x="2010014" y="3315129"/>
                </a:cubicBezTo>
                <a:cubicBezTo>
                  <a:pt x="2007485" y="3317791"/>
                  <a:pt x="2004290" y="3319921"/>
                  <a:pt x="2000696" y="3321385"/>
                </a:cubicBezTo>
                <a:cubicBezTo>
                  <a:pt x="1997102" y="3322850"/>
                  <a:pt x="1993241" y="3323648"/>
                  <a:pt x="1988981" y="3323648"/>
                </a:cubicBezTo>
                <a:cubicBezTo>
                  <a:pt x="1979930" y="3323648"/>
                  <a:pt x="1972741" y="3320721"/>
                  <a:pt x="1967150" y="3315129"/>
                </a:cubicBezTo>
                <a:cubicBezTo>
                  <a:pt x="1961559" y="3309538"/>
                  <a:pt x="1958763" y="3302483"/>
                  <a:pt x="1958763" y="3293962"/>
                </a:cubicBezTo>
                <a:cubicBezTo>
                  <a:pt x="1958763" y="3285709"/>
                  <a:pt x="1961559" y="3278655"/>
                  <a:pt x="1967150" y="3272931"/>
                </a:cubicBezTo>
                <a:cubicBezTo>
                  <a:pt x="1972741" y="3267207"/>
                  <a:pt x="1979930" y="3264278"/>
                  <a:pt x="1988981" y="3264278"/>
                </a:cubicBezTo>
                <a:close/>
                <a:moveTo>
                  <a:pt x="1771343" y="3264278"/>
                </a:moveTo>
                <a:cubicBezTo>
                  <a:pt x="1775602" y="3264278"/>
                  <a:pt x="1779462" y="3265076"/>
                  <a:pt x="1783057" y="3266807"/>
                </a:cubicBezTo>
                <a:cubicBezTo>
                  <a:pt x="1786784" y="3268405"/>
                  <a:pt x="1789846" y="3270534"/>
                  <a:pt x="1792375" y="3273196"/>
                </a:cubicBezTo>
                <a:cubicBezTo>
                  <a:pt x="1795037" y="3275859"/>
                  <a:pt x="1797034" y="3279054"/>
                  <a:pt x="1798498" y="3282648"/>
                </a:cubicBezTo>
                <a:cubicBezTo>
                  <a:pt x="1799962" y="3286242"/>
                  <a:pt x="1800760" y="3289970"/>
                  <a:pt x="1800760" y="3294096"/>
                </a:cubicBezTo>
                <a:cubicBezTo>
                  <a:pt x="1800760" y="3298223"/>
                  <a:pt x="1799962" y="3302216"/>
                  <a:pt x="1798498" y="3305811"/>
                </a:cubicBezTo>
                <a:cubicBezTo>
                  <a:pt x="1797034" y="3309405"/>
                  <a:pt x="1794904" y="3312466"/>
                  <a:pt x="1792375" y="3315129"/>
                </a:cubicBezTo>
                <a:cubicBezTo>
                  <a:pt x="1789712" y="3317791"/>
                  <a:pt x="1786651" y="3319921"/>
                  <a:pt x="1783057" y="3321385"/>
                </a:cubicBezTo>
                <a:cubicBezTo>
                  <a:pt x="1779462" y="3322850"/>
                  <a:pt x="1775602" y="3323648"/>
                  <a:pt x="1771343" y="3323648"/>
                </a:cubicBezTo>
                <a:cubicBezTo>
                  <a:pt x="1762424" y="3323648"/>
                  <a:pt x="1755103" y="3320721"/>
                  <a:pt x="1749513" y="3315129"/>
                </a:cubicBezTo>
                <a:cubicBezTo>
                  <a:pt x="1743921" y="3309538"/>
                  <a:pt x="1741128" y="3302483"/>
                  <a:pt x="1741128" y="3293962"/>
                </a:cubicBezTo>
                <a:cubicBezTo>
                  <a:pt x="1741128" y="3285709"/>
                  <a:pt x="1743921" y="3278655"/>
                  <a:pt x="1749513" y="3272931"/>
                </a:cubicBezTo>
                <a:cubicBezTo>
                  <a:pt x="1755103" y="3267207"/>
                  <a:pt x="1762290" y="3264278"/>
                  <a:pt x="1771343" y="3264278"/>
                </a:cubicBezTo>
                <a:close/>
                <a:moveTo>
                  <a:pt x="1553702" y="3264278"/>
                </a:moveTo>
                <a:cubicBezTo>
                  <a:pt x="1557962" y="3264278"/>
                  <a:pt x="1561823" y="3265076"/>
                  <a:pt x="1565417" y="3266807"/>
                </a:cubicBezTo>
                <a:cubicBezTo>
                  <a:pt x="1569011" y="3268405"/>
                  <a:pt x="1572206" y="3270534"/>
                  <a:pt x="1574735" y="3273196"/>
                </a:cubicBezTo>
                <a:cubicBezTo>
                  <a:pt x="1577397" y="3275859"/>
                  <a:pt x="1579394" y="3279054"/>
                  <a:pt x="1580858" y="3282648"/>
                </a:cubicBezTo>
                <a:cubicBezTo>
                  <a:pt x="1582322" y="3286242"/>
                  <a:pt x="1583121" y="3289970"/>
                  <a:pt x="1583121" y="3294096"/>
                </a:cubicBezTo>
                <a:cubicBezTo>
                  <a:pt x="1583121" y="3298223"/>
                  <a:pt x="1582322" y="3302216"/>
                  <a:pt x="1580858" y="3305811"/>
                </a:cubicBezTo>
                <a:cubicBezTo>
                  <a:pt x="1579394" y="3309405"/>
                  <a:pt x="1577264" y="3312466"/>
                  <a:pt x="1574735" y="3315129"/>
                </a:cubicBezTo>
                <a:cubicBezTo>
                  <a:pt x="1572073" y="3317791"/>
                  <a:pt x="1569011" y="3319921"/>
                  <a:pt x="1565417" y="3321385"/>
                </a:cubicBezTo>
                <a:cubicBezTo>
                  <a:pt x="1561823" y="3322850"/>
                  <a:pt x="1557962" y="3323648"/>
                  <a:pt x="1553702" y="3323648"/>
                </a:cubicBezTo>
                <a:cubicBezTo>
                  <a:pt x="1544784" y="3323648"/>
                  <a:pt x="1537462" y="3320721"/>
                  <a:pt x="1531871" y="3315129"/>
                </a:cubicBezTo>
                <a:cubicBezTo>
                  <a:pt x="1526282" y="3309538"/>
                  <a:pt x="1523486" y="3302483"/>
                  <a:pt x="1523486" y="3293962"/>
                </a:cubicBezTo>
                <a:cubicBezTo>
                  <a:pt x="1523486" y="3285709"/>
                  <a:pt x="1526282" y="3278655"/>
                  <a:pt x="1531871" y="3272931"/>
                </a:cubicBezTo>
                <a:cubicBezTo>
                  <a:pt x="1537462" y="3267207"/>
                  <a:pt x="1544650" y="3264278"/>
                  <a:pt x="1553702" y="3264278"/>
                </a:cubicBezTo>
                <a:close/>
                <a:moveTo>
                  <a:pt x="1336057" y="3264278"/>
                </a:moveTo>
                <a:cubicBezTo>
                  <a:pt x="1340318" y="3264278"/>
                  <a:pt x="1344313" y="3265076"/>
                  <a:pt x="1347774" y="3266807"/>
                </a:cubicBezTo>
                <a:cubicBezTo>
                  <a:pt x="1351367" y="3268405"/>
                  <a:pt x="1354561" y="3270534"/>
                  <a:pt x="1357092" y="3273196"/>
                </a:cubicBezTo>
                <a:cubicBezTo>
                  <a:pt x="1359754" y="3275859"/>
                  <a:pt x="1361750" y="3279054"/>
                  <a:pt x="1363214" y="3282648"/>
                </a:cubicBezTo>
                <a:cubicBezTo>
                  <a:pt x="1364679" y="3286242"/>
                  <a:pt x="1365477" y="3289970"/>
                  <a:pt x="1365477" y="3294096"/>
                </a:cubicBezTo>
                <a:cubicBezTo>
                  <a:pt x="1365477" y="3298223"/>
                  <a:pt x="1364679" y="3302216"/>
                  <a:pt x="1363214" y="3305811"/>
                </a:cubicBezTo>
                <a:cubicBezTo>
                  <a:pt x="1361750" y="3309405"/>
                  <a:pt x="1359621" y="3312466"/>
                  <a:pt x="1357092" y="3315129"/>
                </a:cubicBezTo>
                <a:cubicBezTo>
                  <a:pt x="1354428" y="3317791"/>
                  <a:pt x="1351367" y="3319921"/>
                  <a:pt x="1347774" y="3321385"/>
                </a:cubicBezTo>
                <a:cubicBezTo>
                  <a:pt x="1344179" y="3322850"/>
                  <a:pt x="1340318" y="3323648"/>
                  <a:pt x="1336057" y="3323648"/>
                </a:cubicBezTo>
                <a:cubicBezTo>
                  <a:pt x="1327138" y="3323648"/>
                  <a:pt x="1319817" y="3320721"/>
                  <a:pt x="1314226" y="3315129"/>
                </a:cubicBezTo>
                <a:cubicBezTo>
                  <a:pt x="1308635" y="3309538"/>
                  <a:pt x="1305840" y="3302483"/>
                  <a:pt x="1305840" y="3293962"/>
                </a:cubicBezTo>
                <a:cubicBezTo>
                  <a:pt x="1305840" y="3285709"/>
                  <a:pt x="1308635" y="3278655"/>
                  <a:pt x="1314226" y="3272931"/>
                </a:cubicBezTo>
                <a:cubicBezTo>
                  <a:pt x="1319817" y="3267207"/>
                  <a:pt x="1327006" y="3264278"/>
                  <a:pt x="1336057" y="3264278"/>
                </a:cubicBezTo>
                <a:close/>
                <a:moveTo>
                  <a:pt x="1118413" y="3264278"/>
                </a:moveTo>
                <a:cubicBezTo>
                  <a:pt x="1122674" y="3264278"/>
                  <a:pt x="1126669" y="3265076"/>
                  <a:pt x="1130130" y="3266807"/>
                </a:cubicBezTo>
                <a:cubicBezTo>
                  <a:pt x="1133856" y="3268405"/>
                  <a:pt x="1136918" y="3270534"/>
                  <a:pt x="1139446" y="3273196"/>
                </a:cubicBezTo>
                <a:cubicBezTo>
                  <a:pt x="1142107" y="3275859"/>
                  <a:pt x="1144103" y="3279054"/>
                  <a:pt x="1145567" y="3282648"/>
                </a:cubicBezTo>
                <a:cubicBezTo>
                  <a:pt x="1147032" y="3286242"/>
                  <a:pt x="1147830" y="3289970"/>
                  <a:pt x="1147830" y="3294096"/>
                </a:cubicBezTo>
                <a:cubicBezTo>
                  <a:pt x="1147830" y="3298223"/>
                  <a:pt x="1147032" y="3302216"/>
                  <a:pt x="1145567" y="3305811"/>
                </a:cubicBezTo>
                <a:cubicBezTo>
                  <a:pt x="1144103" y="3309405"/>
                  <a:pt x="1141974" y="3312466"/>
                  <a:pt x="1139446" y="3315129"/>
                </a:cubicBezTo>
                <a:cubicBezTo>
                  <a:pt x="1136918" y="3317791"/>
                  <a:pt x="1133724" y="3319921"/>
                  <a:pt x="1130130" y="3321385"/>
                </a:cubicBezTo>
                <a:cubicBezTo>
                  <a:pt x="1126534" y="3322850"/>
                  <a:pt x="1122674" y="3323648"/>
                  <a:pt x="1118413" y="3323648"/>
                </a:cubicBezTo>
                <a:cubicBezTo>
                  <a:pt x="1109494" y="3323648"/>
                  <a:pt x="1102170" y="3320721"/>
                  <a:pt x="1096579" y="3315129"/>
                </a:cubicBezTo>
                <a:cubicBezTo>
                  <a:pt x="1090989" y="3309538"/>
                  <a:pt x="1088194" y="3302483"/>
                  <a:pt x="1088194" y="3293962"/>
                </a:cubicBezTo>
                <a:cubicBezTo>
                  <a:pt x="1088194" y="3285709"/>
                  <a:pt x="1090989" y="3278655"/>
                  <a:pt x="1096579" y="3272931"/>
                </a:cubicBezTo>
                <a:cubicBezTo>
                  <a:pt x="1102170" y="3267207"/>
                  <a:pt x="1109360" y="3264278"/>
                  <a:pt x="1118413" y="3264278"/>
                </a:cubicBezTo>
                <a:close/>
                <a:moveTo>
                  <a:pt x="900900" y="3264278"/>
                </a:moveTo>
                <a:cubicBezTo>
                  <a:pt x="905027" y="3264278"/>
                  <a:pt x="909021" y="3265076"/>
                  <a:pt x="912615" y="3266807"/>
                </a:cubicBezTo>
                <a:cubicBezTo>
                  <a:pt x="916342" y="3268405"/>
                  <a:pt x="919404" y="3270534"/>
                  <a:pt x="921934" y="3273196"/>
                </a:cubicBezTo>
                <a:cubicBezTo>
                  <a:pt x="924596" y="3275859"/>
                  <a:pt x="926593" y="3279054"/>
                  <a:pt x="928056" y="3282648"/>
                </a:cubicBezTo>
                <a:cubicBezTo>
                  <a:pt x="929521" y="3286242"/>
                  <a:pt x="930319" y="3289970"/>
                  <a:pt x="930319" y="3294096"/>
                </a:cubicBezTo>
                <a:cubicBezTo>
                  <a:pt x="930319" y="3298223"/>
                  <a:pt x="929521" y="3302216"/>
                  <a:pt x="928056" y="3305811"/>
                </a:cubicBezTo>
                <a:cubicBezTo>
                  <a:pt x="926593" y="3309405"/>
                  <a:pt x="924463" y="3312466"/>
                  <a:pt x="921934" y="3315129"/>
                </a:cubicBezTo>
                <a:cubicBezTo>
                  <a:pt x="919404" y="3317791"/>
                  <a:pt x="916209" y="3319921"/>
                  <a:pt x="912615" y="3321385"/>
                </a:cubicBezTo>
                <a:cubicBezTo>
                  <a:pt x="909021" y="3322850"/>
                  <a:pt x="905160" y="3323648"/>
                  <a:pt x="900900" y="3323648"/>
                </a:cubicBezTo>
                <a:cubicBezTo>
                  <a:pt x="891982" y="3323648"/>
                  <a:pt x="884660" y="3320721"/>
                  <a:pt x="879069" y="3315129"/>
                </a:cubicBezTo>
                <a:cubicBezTo>
                  <a:pt x="873480" y="3309538"/>
                  <a:pt x="870684" y="3302483"/>
                  <a:pt x="870684" y="3293962"/>
                </a:cubicBezTo>
                <a:cubicBezTo>
                  <a:pt x="870684" y="3285709"/>
                  <a:pt x="873480" y="3278655"/>
                  <a:pt x="879069" y="3272931"/>
                </a:cubicBezTo>
                <a:cubicBezTo>
                  <a:pt x="884660" y="3267207"/>
                  <a:pt x="891849" y="3264278"/>
                  <a:pt x="900900" y="3264278"/>
                </a:cubicBezTo>
                <a:close/>
                <a:moveTo>
                  <a:pt x="683258" y="3264278"/>
                </a:moveTo>
                <a:cubicBezTo>
                  <a:pt x="687518" y="3264278"/>
                  <a:pt x="691379" y="3265076"/>
                  <a:pt x="694974" y="3266807"/>
                </a:cubicBezTo>
                <a:cubicBezTo>
                  <a:pt x="698701" y="3268405"/>
                  <a:pt x="701762" y="3270534"/>
                  <a:pt x="704291" y="3273196"/>
                </a:cubicBezTo>
                <a:cubicBezTo>
                  <a:pt x="706953" y="3275859"/>
                  <a:pt x="708950" y="3279054"/>
                  <a:pt x="710414" y="3282648"/>
                </a:cubicBezTo>
                <a:cubicBezTo>
                  <a:pt x="711878" y="3286242"/>
                  <a:pt x="712677" y="3289970"/>
                  <a:pt x="712677" y="3294096"/>
                </a:cubicBezTo>
                <a:cubicBezTo>
                  <a:pt x="712677" y="3298223"/>
                  <a:pt x="711878" y="3302216"/>
                  <a:pt x="710414" y="3305811"/>
                </a:cubicBezTo>
                <a:cubicBezTo>
                  <a:pt x="708950" y="3309405"/>
                  <a:pt x="706820" y="3312466"/>
                  <a:pt x="704291" y="3315129"/>
                </a:cubicBezTo>
                <a:cubicBezTo>
                  <a:pt x="701762" y="3317791"/>
                  <a:pt x="698567" y="3319921"/>
                  <a:pt x="694974" y="3321385"/>
                </a:cubicBezTo>
                <a:cubicBezTo>
                  <a:pt x="691379" y="3322850"/>
                  <a:pt x="687518" y="3323648"/>
                  <a:pt x="683258" y="3323648"/>
                </a:cubicBezTo>
                <a:cubicBezTo>
                  <a:pt x="674340" y="3323648"/>
                  <a:pt x="667018" y="3320721"/>
                  <a:pt x="661427" y="3315129"/>
                </a:cubicBezTo>
                <a:cubicBezTo>
                  <a:pt x="655836" y="3309538"/>
                  <a:pt x="653041" y="3302483"/>
                  <a:pt x="653041" y="3293962"/>
                </a:cubicBezTo>
                <a:cubicBezTo>
                  <a:pt x="653041" y="3285709"/>
                  <a:pt x="655836" y="3278655"/>
                  <a:pt x="661427" y="3272931"/>
                </a:cubicBezTo>
                <a:cubicBezTo>
                  <a:pt x="667018" y="3267207"/>
                  <a:pt x="674207" y="3264278"/>
                  <a:pt x="683258" y="3264278"/>
                </a:cubicBezTo>
                <a:close/>
                <a:moveTo>
                  <a:pt x="465615" y="3264278"/>
                </a:moveTo>
                <a:cubicBezTo>
                  <a:pt x="469876" y="3264278"/>
                  <a:pt x="473736" y="3265076"/>
                  <a:pt x="477331" y="3266807"/>
                </a:cubicBezTo>
                <a:cubicBezTo>
                  <a:pt x="481058" y="3268405"/>
                  <a:pt x="484119" y="3270534"/>
                  <a:pt x="486649" y="3273196"/>
                </a:cubicBezTo>
                <a:cubicBezTo>
                  <a:pt x="489310" y="3275859"/>
                  <a:pt x="491307" y="3279054"/>
                  <a:pt x="492772" y="3282648"/>
                </a:cubicBezTo>
                <a:cubicBezTo>
                  <a:pt x="494235" y="3286242"/>
                  <a:pt x="495035" y="3289970"/>
                  <a:pt x="495035" y="3294096"/>
                </a:cubicBezTo>
                <a:cubicBezTo>
                  <a:pt x="495035" y="3298223"/>
                  <a:pt x="494235" y="3302216"/>
                  <a:pt x="492772" y="3305811"/>
                </a:cubicBezTo>
                <a:cubicBezTo>
                  <a:pt x="491307" y="3309405"/>
                  <a:pt x="489178" y="3312466"/>
                  <a:pt x="486649" y="3315129"/>
                </a:cubicBezTo>
                <a:cubicBezTo>
                  <a:pt x="483985" y="3317791"/>
                  <a:pt x="480925" y="3319921"/>
                  <a:pt x="477331" y="3321385"/>
                </a:cubicBezTo>
                <a:cubicBezTo>
                  <a:pt x="473736" y="3322850"/>
                  <a:pt x="469876" y="3323648"/>
                  <a:pt x="465615" y="3323648"/>
                </a:cubicBezTo>
                <a:cubicBezTo>
                  <a:pt x="456697" y="3323648"/>
                  <a:pt x="449375" y="3320721"/>
                  <a:pt x="443784" y="3315129"/>
                </a:cubicBezTo>
                <a:cubicBezTo>
                  <a:pt x="438193" y="3309538"/>
                  <a:pt x="435398" y="3302483"/>
                  <a:pt x="435398" y="3293962"/>
                </a:cubicBezTo>
                <a:cubicBezTo>
                  <a:pt x="435398" y="3285709"/>
                  <a:pt x="438193" y="3278655"/>
                  <a:pt x="443784" y="3272931"/>
                </a:cubicBezTo>
                <a:cubicBezTo>
                  <a:pt x="449375" y="3267207"/>
                  <a:pt x="456565" y="3264278"/>
                  <a:pt x="465615" y="3264278"/>
                </a:cubicBezTo>
                <a:close/>
                <a:moveTo>
                  <a:pt x="247973" y="3264278"/>
                </a:moveTo>
                <a:cubicBezTo>
                  <a:pt x="252233" y="3264278"/>
                  <a:pt x="256227" y="3265076"/>
                  <a:pt x="259687" y="3266807"/>
                </a:cubicBezTo>
                <a:cubicBezTo>
                  <a:pt x="263415" y="3268405"/>
                  <a:pt x="266477" y="3270534"/>
                  <a:pt x="269006" y="3273196"/>
                </a:cubicBezTo>
                <a:cubicBezTo>
                  <a:pt x="271668" y="3275859"/>
                  <a:pt x="273665" y="3279054"/>
                  <a:pt x="275129" y="3282648"/>
                </a:cubicBezTo>
                <a:cubicBezTo>
                  <a:pt x="276593" y="3286242"/>
                  <a:pt x="277392" y="3289970"/>
                  <a:pt x="277392" y="3294096"/>
                </a:cubicBezTo>
                <a:cubicBezTo>
                  <a:pt x="277392" y="3298223"/>
                  <a:pt x="276593" y="3302216"/>
                  <a:pt x="275129" y="3305811"/>
                </a:cubicBezTo>
                <a:cubicBezTo>
                  <a:pt x="273665" y="3309405"/>
                  <a:pt x="271535" y="3312466"/>
                  <a:pt x="269006" y="3315129"/>
                </a:cubicBezTo>
                <a:cubicBezTo>
                  <a:pt x="266343" y="3317791"/>
                  <a:pt x="263281" y="3319921"/>
                  <a:pt x="259687" y="3321385"/>
                </a:cubicBezTo>
                <a:cubicBezTo>
                  <a:pt x="256092" y="3322850"/>
                  <a:pt x="252233" y="3323648"/>
                  <a:pt x="247973" y="3323648"/>
                </a:cubicBezTo>
                <a:cubicBezTo>
                  <a:pt x="239055" y="3323648"/>
                  <a:pt x="231733" y="3320721"/>
                  <a:pt x="226142" y="3315129"/>
                </a:cubicBezTo>
                <a:cubicBezTo>
                  <a:pt x="220552" y="3309538"/>
                  <a:pt x="217757" y="3302483"/>
                  <a:pt x="217757" y="3293962"/>
                </a:cubicBezTo>
                <a:cubicBezTo>
                  <a:pt x="217757" y="3285709"/>
                  <a:pt x="220552" y="3278655"/>
                  <a:pt x="226142" y="3272931"/>
                </a:cubicBezTo>
                <a:cubicBezTo>
                  <a:pt x="231733" y="3267207"/>
                  <a:pt x="238921" y="3264278"/>
                  <a:pt x="247973" y="3264278"/>
                </a:cubicBezTo>
                <a:close/>
                <a:moveTo>
                  <a:pt x="30330" y="3264278"/>
                </a:moveTo>
                <a:cubicBezTo>
                  <a:pt x="34590" y="3264278"/>
                  <a:pt x="38584" y="3265076"/>
                  <a:pt x="42045" y="3266807"/>
                </a:cubicBezTo>
                <a:cubicBezTo>
                  <a:pt x="45772" y="3268405"/>
                  <a:pt x="48834" y="3270534"/>
                  <a:pt x="51363" y="3273196"/>
                </a:cubicBezTo>
                <a:cubicBezTo>
                  <a:pt x="54025" y="3275859"/>
                  <a:pt x="56022" y="3279054"/>
                  <a:pt x="57486" y="3282648"/>
                </a:cubicBezTo>
                <a:cubicBezTo>
                  <a:pt x="58950" y="3286242"/>
                  <a:pt x="59749" y="3289970"/>
                  <a:pt x="59749" y="3294096"/>
                </a:cubicBezTo>
                <a:cubicBezTo>
                  <a:pt x="59749" y="3298223"/>
                  <a:pt x="58950" y="3302216"/>
                  <a:pt x="57486" y="3305811"/>
                </a:cubicBezTo>
                <a:cubicBezTo>
                  <a:pt x="56022" y="3309405"/>
                  <a:pt x="53892" y="3312466"/>
                  <a:pt x="51363" y="3315129"/>
                </a:cubicBezTo>
                <a:cubicBezTo>
                  <a:pt x="48700" y="3317791"/>
                  <a:pt x="45639" y="3319921"/>
                  <a:pt x="42045" y="3321385"/>
                </a:cubicBezTo>
                <a:cubicBezTo>
                  <a:pt x="38451" y="3322850"/>
                  <a:pt x="34590" y="3323648"/>
                  <a:pt x="30330" y="3323648"/>
                </a:cubicBezTo>
                <a:cubicBezTo>
                  <a:pt x="21412" y="3323648"/>
                  <a:pt x="14091" y="3320721"/>
                  <a:pt x="8501" y="3315129"/>
                </a:cubicBezTo>
                <a:cubicBezTo>
                  <a:pt x="2910" y="3309538"/>
                  <a:pt x="115" y="3302483"/>
                  <a:pt x="115" y="3293962"/>
                </a:cubicBezTo>
                <a:cubicBezTo>
                  <a:pt x="115" y="3285709"/>
                  <a:pt x="2910" y="3278655"/>
                  <a:pt x="8501" y="3272931"/>
                </a:cubicBezTo>
                <a:cubicBezTo>
                  <a:pt x="14091" y="3267207"/>
                  <a:pt x="21278" y="3264278"/>
                  <a:pt x="30330" y="3264278"/>
                </a:cubicBezTo>
                <a:close/>
                <a:moveTo>
                  <a:pt x="10475977" y="3063272"/>
                </a:moveTo>
                <a:cubicBezTo>
                  <a:pt x="10470119" y="3063272"/>
                  <a:pt x="10467589" y="3065269"/>
                  <a:pt x="10465992" y="3066867"/>
                </a:cubicBezTo>
                <a:cubicBezTo>
                  <a:pt x="10463463" y="3069529"/>
                  <a:pt x="10462399" y="3072325"/>
                  <a:pt x="10462399" y="3076318"/>
                </a:cubicBezTo>
                <a:cubicBezTo>
                  <a:pt x="10462399" y="3080445"/>
                  <a:pt x="10463463" y="3083240"/>
                  <a:pt x="10465992" y="3085769"/>
                </a:cubicBezTo>
                <a:cubicBezTo>
                  <a:pt x="10467589" y="3087368"/>
                  <a:pt x="10470119" y="3089230"/>
                  <a:pt x="10475977" y="3089230"/>
                </a:cubicBezTo>
                <a:cubicBezTo>
                  <a:pt x="10478107" y="3089230"/>
                  <a:pt x="10479838" y="3088964"/>
                  <a:pt x="10481302" y="3088298"/>
                </a:cubicBezTo>
                <a:cubicBezTo>
                  <a:pt x="10482899" y="3087766"/>
                  <a:pt x="10484098" y="3086835"/>
                  <a:pt x="10485029" y="3085902"/>
                </a:cubicBezTo>
                <a:cubicBezTo>
                  <a:pt x="10486094" y="3084838"/>
                  <a:pt x="10487026" y="3083373"/>
                  <a:pt x="10487691" y="3081776"/>
                </a:cubicBezTo>
                <a:cubicBezTo>
                  <a:pt x="10488357" y="3080178"/>
                  <a:pt x="10488623" y="3078315"/>
                  <a:pt x="10488623" y="3076318"/>
                </a:cubicBezTo>
                <a:cubicBezTo>
                  <a:pt x="10488623" y="3074454"/>
                  <a:pt x="10488357" y="3072724"/>
                  <a:pt x="10487691" y="3071126"/>
                </a:cubicBezTo>
                <a:cubicBezTo>
                  <a:pt x="10487026" y="3069396"/>
                  <a:pt x="10486094" y="3068065"/>
                  <a:pt x="10485029" y="3066867"/>
                </a:cubicBezTo>
                <a:cubicBezTo>
                  <a:pt x="10483964" y="3065802"/>
                  <a:pt x="10482633" y="3064870"/>
                  <a:pt x="10481035" y="3064204"/>
                </a:cubicBezTo>
                <a:cubicBezTo>
                  <a:pt x="10479571" y="3063539"/>
                  <a:pt x="10477974" y="3063272"/>
                  <a:pt x="10475977" y="3063272"/>
                </a:cubicBezTo>
                <a:close/>
                <a:moveTo>
                  <a:pt x="10258466" y="3063272"/>
                </a:moveTo>
                <a:cubicBezTo>
                  <a:pt x="10252608" y="3063272"/>
                  <a:pt x="10250078" y="3065269"/>
                  <a:pt x="10248481" y="3066867"/>
                </a:cubicBezTo>
                <a:cubicBezTo>
                  <a:pt x="10245952" y="3069529"/>
                  <a:pt x="10244887" y="3072325"/>
                  <a:pt x="10244887" y="3076318"/>
                </a:cubicBezTo>
                <a:cubicBezTo>
                  <a:pt x="10244887" y="3080445"/>
                  <a:pt x="10245952" y="3083240"/>
                  <a:pt x="10248481" y="3085769"/>
                </a:cubicBezTo>
                <a:cubicBezTo>
                  <a:pt x="10250078" y="3087368"/>
                  <a:pt x="10252608" y="3089230"/>
                  <a:pt x="10258466" y="3089230"/>
                </a:cubicBezTo>
                <a:cubicBezTo>
                  <a:pt x="10260462" y="3089230"/>
                  <a:pt x="10262192" y="3088964"/>
                  <a:pt x="10263790" y="3088298"/>
                </a:cubicBezTo>
                <a:cubicBezTo>
                  <a:pt x="10265388" y="3087766"/>
                  <a:pt x="10266586" y="3086835"/>
                  <a:pt x="10267517" y="3085902"/>
                </a:cubicBezTo>
                <a:cubicBezTo>
                  <a:pt x="10268583" y="3084838"/>
                  <a:pt x="10269515" y="3083373"/>
                  <a:pt x="10270180" y="3081776"/>
                </a:cubicBezTo>
                <a:cubicBezTo>
                  <a:pt x="10270845" y="3080178"/>
                  <a:pt x="10271112" y="3078315"/>
                  <a:pt x="10271112" y="3076318"/>
                </a:cubicBezTo>
                <a:cubicBezTo>
                  <a:pt x="10271112" y="3074454"/>
                  <a:pt x="10270845" y="3072724"/>
                  <a:pt x="10270180" y="3071126"/>
                </a:cubicBezTo>
                <a:cubicBezTo>
                  <a:pt x="10269515" y="3069396"/>
                  <a:pt x="10268583" y="3068065"/>
                  <a:pt x="10267517" y="3066867"/>
                </a:cubicBezTo>
                <a:cubicBezTo>
                  <a:pt x="10266452" y="3065802"/>
                  <a:pt x="10265121" y="3064870"/>
                  <a:pt x="10263524" y="3064204"/>
                </a:cubicBezTo>
                <a:cubicBezTo>
                  <a:pt x="10262060" y="3063539"/>
                  <a:pt x="10260462" y="3063272"/>
                  <a:pt x="10258466" y="3063272"/>
                </a:cubicBezTo>
                <a:close/>
                <a:moveTo>
                  <a:pt x="10040820" y="3063272"/>
                </a:moveTo>
                <a:cubicBezTo>
                  <a:pt x="10034962" y="3063272"/>
                  <a:pt x="10032433" y="3065269"/>
                  <a:pt x="10030835" y="3066867"/>
                </a:cubicBezTo>
                <a:cubicBezTo>
                  <a:pt x="10028306" y="3069529"/>
                  <a:pt x="10027242" y="3072325"/>
                  <a:pt x="10027242" y="3076318"/>
                </a:cubicBezTo>
                <a:cubicBezTo>
                  <a:pt x="10027242" y="3080445"/>
                  <a:pt x="10028306" y="3083240"/>
                  <a:pt x="10030835" y="3085769"/>
                </a:cubicBezTo>
                <a:cubicBezTo>
                  <a:pt x="10032433" y="3087368"/>
                  <a:pt x="10034962" y="3089230"/>
                  <a:pt x="10040820" y="3089230"/>
                </a:cubicBezTo>
                <a:cubicBezTo>
                  <a:pt x="10042817" y="3089230"/>
                  <a:pt x="10044681" y="3088964"/>
                  <a:pt x="10046145" y="3088298"/>
                </a:cubicBezTo>
                <a:cubicBezTo>
                  <a:pt x="10047742" y="3087766"/>
                  <a:pt x="10048941" y="3086835"/>
                  <a:pt x="10049872" y="3085902"/>
                </a:cubicBezTo>
                <a:cubicBezTo>
                  <a:pt x="10050937" y="3084838"/>
                  <a:pt x="10051869" y="3083373"/>
                  <a:pt x="10052534" y="3081776"/>
                </a:cubicBezTo>
                <a:cubicBezTo>
                  <a:pt x="10053333" y="3080178"/>
                  <a:pt x="10053599" y="3078315"/>
                  <a:pt x="10053599" y="3076318"/>
                </a:cubicBezTo>
                <a:cubicBezTo>
                  <a:pt x="10053599" y="3074454"/>
                  <a:pt x="10053200" y="3072724"/>
                  <a:pt x="10052534" y="3071126"/>
                </a:cubicBezTo>
                <a:cubicBezTo>
                  <a:pt x="10051869" y="3069396"/>
                  <a:pt x="10050937" y="3068065"/>
                  <a:pt x="10049872" y="3066867"/>
                </a:cubicBezTo>
                <a:cubicBezTo>
                  <a:pt x="10048807" y="3065802"/>
                  <a:pt x="10047476" y="3064870"/>
                  <a:pt x="10045878" y="3064204"/>
                </a:cubicBezTo>
                <a:cubicBezTo>
                  <a:pt x="10044414" y="3063539"/>
                  <a:pt x="10042817" y="3063272"/>
                  <a:pt x="10040820" y="3063272"/>
                </a:cubicBezTo>
                <a:close/>
                <a:moveTo>
                  <a:pt x="9823176" y="3063272"/>
                </a:moveTo>
                <a:cubicBezTo>
                  <a:pt x="9817318" y="3063272"/>
                  <a:pt x="9814788" y="3065269"/>
                  <a:pt x="9813191" y="3066867"/>
                </a:cubicBezTo>
                <a:cubicBezTo>
                  <a:pt x="9810662" y="3069529"/>
                  <a:pt x="9809597" y="3072325"/>
                  <a:pt x="9809597" y="3076318"/>
                </a:cubicBezTo>
                <a:cubicBezTo>
                  <a:pt x="9809597" y="3080445"/>
                  <a:pt x="9810662" y="3083240"/>
                  <a:pt x="9813191" y="3085769"/>
                </a:cubicBezTo>
                <a:cubicBezTo>
                  <a:pt x="9814788" y="3087368"/>
                  <a:pt x="9817318" y="3089230"/>
                  <a:pt x="9823176" y="3089230"/>
                </a:cubicBezTo>
                <a:cubicBezTo>
                  <a:pt x="9825173" y="3089230"/>
                  <a:pt x="9827036" y="3088964"/>
                  <a:pt x="9828501" y="3088298"/>
                </a:cubicBezTo>
                <a:cubicBezTo>
                  <a:pt x="9830098" y="3087766"/>
                  <a:pt x="9831296" y="3086835"/>
                  <a:pt x="9832227" y="3085902"/>
                </a:cubicBezTo>
                <a:cubicBezTo>
                  <a:pt x="9833293" y="3084838"/>
                  <a:pt x="9834225" y="3083373"/>
                  <a:pt x="9834890" y="3081776"/>
                </a:cubicBezTo>
                <a:cubicBezTo>
                  <a:pt x="9835689" y="3080178"/>
                  <a:pt x="9835955" y="3078315"/>
                  <a:pt x="9835955" y="3076318"/>
                </a:cubicBezTo>
                <a:cubicBezTo>
                  <a:pt x="9835955" y="3074454"/>
                  <a:pt x="9835555" y="3072724"/>
                  <a:pt x="9834890" y="3071126"/>
                </a:cubicBezTo>
                <a:cubicBezTo>
                  <a:pt x="9834225" y="3069396"/>
                  <a:pt x="9833293" y="3068065"/>
                  <a:pt x="9832227" y="3066867"/>
                </a:cubicBezTo>
                <a:cubicBezTo>
                  <a:pt x="9831162" y="3065802"/>
                  <a:pt x="9829831" y="3064870"/>
                  <a:pt x="9828234" y="3064204"/>
                </a:cubicBezTo>
                <a:cubicBezTo>
                  <a:pt x="9826770" y="3063539"/>
                  <a:pt x="9825173" y="3063272"/>
                  <a:pt x="9823176" y="3063272"/>
                </a:cubicBezTo>
                <a:close/>
                <a:moveTo>
                  <a:pt x="9605531" y="3063272"/>
                </a:moveTo>
                <a:cubicBezTo>
                  <a:pt x="9599673" y="3063272"/>
                  <a:pt x="9597143" y="3065269"/>
                  <a:pt x="9595546" y="3066867"/>
                </a:cubicBezTo>
                <a:cubicBezTo>
                  <a:pt x="9593017" y="3069529"/>
                  <a:pt x="9591952" y="3072325"/>
                  <a:pt x="9591952" y="3076318"/>
                </a:cubicBezTo>
                <a:cubicBezTo>
                  <a:pt x="9591952" y="3080445"/>
                  <a:pt x="9593017" y="3083240"/>
                  <a:pt x="9595546" y="3085769"/>
                </a:cubicBezTo>
                <a:cubicBezTo>
                  <a:pt x="9597143" y="3087368"/>
                  <a:pt x="9599673" y="3089230"/>
                  <a:pt x="9605531" y="3089230"/>
                </a:cubicBezTo>
                <a:cubicBezTo>
                  <a:pt x="9607660" y="3089230"/>
                  <a:pt x="9609391" y="3088964"/>
                  <a:pt x="9610855" y="3088298"/>
                </a:cubicBezTo>
                <a:cubicBezTo>
                  <a:pt x="9612319" y="3087766"/>
                  <a:pt x="9613651" y="3086835"/>
                  <a:pt x="9614582" y="3085902"/>
                </a:cubicBezTo>
                <a:cubicBezTo>
                  <a:pt x="9615647" y="3084838"/>
                  <a:pt x="9616579" y="3083373"/>
                  <a:pt x="9617245" y="3081776"/>
                </a:cubicBezTo>
                <a:cubicBezTo>
                  <a:pt x="9618044" y="3080178"/>
                  <a:pt x="9618309" y="3078315"/>
                  <a:pt x="9618309" y="3076318"/>
                </a:cubicBezTo>
                <a:cubicBezTo>
                  <a:pt x="9618309" y="3074454"/>
                  <a:pt x="9617910" y="3072724"/>
                  <a:pt x="9617245" y="3071126"/>
                </a:cubicBezTo>
                <a:cubicBezTo>
                  <a:pt x="9616579" y="3069396"/>
                  <a:pt x="9615647" y="3068065"/>
                  <a:pt x="9614582" y="3066867"/>
                </a:cubicBezTo>
                <a:cubicBezTo>
                  <a:pt x="9613517" y="3065802"/>
                  <a:pt x="9612186" y="3064870"/>
                  <a:pt x="9610589" y="3064204"/>
                </a:cubicBezTo>
                <a:cubicBezTo>
                  <a:pt x="9609124" y="3063539"/>
                  <a:pt x="9607394" y="3063272"/>
                  <a:pt x="9605531" y="3063272"/>
                </a:cubicBezTo>
                <a:close/>
                <a:moveTo>
                  <a:pt x="9387885" y="3063272"/>
                </a:moveTo>
                <a:cubicBezTo>
                  <a:pt x="9382027" y="3063272"/>
                  <a:pt x="9379497" y="3065269"/>
                  <a:pt x="9377900" y="3066867"/>
                </a:cubicBezTo>
                <a:cubicBezTo>
                  <a:pt x="9375371" y="3069529"/>
                  <a:pt x="9374307" y="3072325"/>
                  <a:pt x="9374307" y="3076318"/>
                </a:cubicBezTo>
                <a:cubicBezTo>
                  <a:pt x="9374307" y="3080445"/>
                  <a:pt x="9375371" y="3083240"/>
                  <a:pt x="9377900" y="3085769"/>
                </a:cubicBezTo>
                <a:cubicBezTo>
                  <a:pt x="9379497" y="3087368"/>
                  <a:pt x="9382027" y="3089230"/>
                  <a:pt x="9387885" y="3089230"/>
                </a:cubicBezTo>
                <a:cubicBezTo>
                  <a:pt x="9390015" y="3089230"/>
                  <a:pt x="9391746" y="3088964"/>
                  <a:pt x="9393210" y="3088298"/>
                </a:cubicBezTo>
                <a:cubicBezTo>
                  <a:pt x="9394674" y="3087766"/>
                  <a:pt x="9396005" y="3086835"/>
                  <a:pt x="9396937" y="3085902"/>
                </a:cubicBezTo>
                <a:cubicBezTo>
                  <a:pt x="9398002" y="3084838"/>
                  <a:pt x="9398934" y="3083373"/>
                  <a:pt x="9399599" y="3081776"/>
                </a:cubicBezTo>
                <a:cubicBezTo>
                  <a:pt x="9400398" y="3080178"/>
                  <a:pt x="9400664" y="3078315"/>
                  <a:pt x="9400664" y="3076318"/>
                </a:cubicBezTo>
                <a:cubicBezTo>
                  <a:pt x="9400664" y="3074454"/>
                  <a:pt x="9400265" y="3072724"/>
                  <a:pt x="9399599" y="3071126"/>
                </a:cubicBezTo>
                <a:cubicBezTo>
                  <a:pt x="9398934" y="3069396"/>
                  <a:pt x="9398002" y="3068065"/>
                  <a:pt x="9396937" y="3066867"/>
                </a:cubicBezTo>
                <a:cubicBezTo>
                  <a:pt x="9395872" y="3065802"/>
                  <a:pt x="9394541" y="3064870"/>
                  <a:pt x="9392943" y="3064204"/>
                </a:cubicBezTo>
                <a:cubicBezTo>
                  <a:pt x="9391479" y="3063539"/>
                  <a:pt x="9389749" y="3063272"/>
                  <a:pt x="9387885" y="3063272"/>
                </a:cubicBezTo>
                <a:close/>
                <a:moveTo>
                  <a:pt x="9170374" y="3063272"/>
                </a:moveTo>
                <a:cubicBezTo>
                  <a:pt x="9164649" y="3063272"/>
                  <a:pt x="9161986" y="3065269"/>
                  <a:pt x="9160389" y="3066867"/>
                </a:cubicBezTo>
                <a:cubicBezTo>
                  <a:pt x="9157860" y="3069529"/>
                  <a:pt x="9156795" y="3072325"/>
                  <a:pt x="9156795" y="3076318"/>
                </a:cubicBezTo>
                <a:cubicBezTo>
                  <a:pt x="9156795" y="3080445"/>
                  <a:pt x="9157860" y="3083240"/>
                  <a:pt x="9160389" y="3085769"/>
                </a:cubicBezTo>
                <a:cubicBezTo>
                  <a:pt x="9161986" y="3087368"/>
                  <a:pt x="9164516" y="3089230"/>
                  <a:pt x="9170374" y="3089230"/>
                </a:cubicBezTo>
                <a:cubicBezTo>
                  <a:pt x="9172370" y="3089230"/>
                  <a:pt x="9174100" y="3088964"/>
                  <a:pt x="9175698" y="3088298"/>
                </a:cubicBezTo>
                <a:cubicBezTo>
                  <a:pt x="9177163" y="3087766"/>
                  <a:pt x="9178494" y="3086835"/>
                  <a:pt x="9179425" y="3085902"/>
                </a:cubicBezTo>
                <a:cubicBezTo>
                  <a:pt x="9180491" y="3084838"/>
                  <a:pt x="9181422" y="3083373"/>
                  <a:pt x="9182088" y="3081776"/>
                </a:cubicBezTo>
                <a:cubicBezTo>
                  <a:pt x="9182887" y="3080178"/>
                  <a:pt x="9183152" y="3078315"/>
                  <a:pt x="9183152" y="3076318"/>
                </a:cubicBezTo>
                <a:cubicBezTo>
                  <a:pt x="9183152" y="3074454"/>
                  <a:pt x="9182753" y="3072724"/>
                  <a:pt x="9182088" y="3071126"/>
                </a:cubicBezTo>
                <a:cubicBezTo>
                  <a:pt x="9181422" y="3069396"/>
                  <a:pt x="9180491" y="3068065"/>
                  <a:pt x="9179425" y="3066867"/>
                </a:cubicBezTo>
                <a:cubicBezTo>
                  <a:pt x="9178360" y="3065802"/>
                  <a:pt x="9177029" y="3064870"/>
                  <a:pt x="9175432" y="3064204"/>
                </a:cubicBezTo>
                <a:cubicBezTo>
                  <a:pt x="9173967" y="3063539"/>
                  <a:pt x="9172237" y="3063272"/>
                  <a:pt x="9170374" y="3063272"/>
                </a:cubicBezTo>
                <a:close/>
                <a:moveTo>
                  <a:pt x="8952728" y="3063272"/>
                </a:moveTo>
                <a:cubicBezTo>
                  <a:pt x="8947003" y="3063272"/>
                  <a:pt x="8944340" y="3065269"/>
                  <a:pt x="8942743" y="3066867"/>
                </a:cubicBezTo>
                <a:cubicBezTo>
                  <a:pt x="8940214" y="3069529"/>
                  <a:pt x="8939150" y="3072325"/>
                  <a:pt x="8939150" y="3076318"/>
                </a:cubicBezTo>
                <a:cubicBezTo>
                  <a:pt x="8939150" y="3080445"/>
                  <a:pt x="8940214" y="3083240"/>
                  <a:pt x="8942743" y="3085769"/>
                </a:cubicBezTo>
                <a:cubicBezTo>
                  <a:pt x="8944340" y="3087368"/>
                  <a:pt x="8946870" y="3089230"/>
                  <a:pt x="8952728" y="3089230"/>
                </a:cubicBezTo>
                <a:cubicBezTo>
                  <a:pt x="8954725" y="3089230"/>
                  <a:pt x="8956589" y="3088964"/>
                  <a:pt x="8958053" y="3088298"/>
                </a:cubicBezTo>
                <a:cubicBezTo>
                  <a:pt x="8959517" y="3087766"/>
                  <a:pt x="8960849" y="3086835"/>
                  <a:pt x="8961780" y="3085902"/>
                </a:cubicBezTo>
                <a:cubicBezTo>
                  <a:pt x="8962845" y="3084838"/>
                  <a:pt x="8963777" y="3083373"/>
                  <a:pt x="8964442" y="3081776"/>
                </a:cubicBezTo>
                <a:cubicBezTo>
                  <a:pt x="8965241" y="3080178"/>
                  <a:pt x="8965507" y="3078315"/>
                  <a:pt x="8965507" y="3076318"/>
                </a:cubicBezTo>
                <a:cubicBezTo>
                  <a:pt x="8965507" y="3074454"/>
                  <a:pt x="8965108" y="3072724"/>
                  <a:pt x="8964442" y="3071126"/>
                </a:cubicBezTo>
                <a:cubicBezTo>
                  <a:pt x="8963777" y="3069396"/>
                  <a:pt x="8962845" y="3068065"/>
                  <a:pt x="8961780" y="3066867"/>
                </a:cubicBezTo>
                <a:cubicBezTo>
                  <a:pt x="8960715" y="3065802"/>
                  <a:pt x="8959384" y="3064870"/>
                  <a:pt x="8957786" y="3064204"/>
                </a:cubicBezTo>
                <a:cubicBezTo>
                  <a:pt x="8956322" y="3063539"/>
                  <a:pt x="8954592" y="3063272"/>
                  <a:pt x="8952728" y="3063272"/>
                </a:cubicBezTo>
                <a:close/>
                <a:moveTo>
                  <a:pt x="8735083" y="3063272"/>
                </a:moveTo>
                <a:cubicBezTo>
                  <a:pt x="8729358" y="3063272"/>
                  <a:pt x="8726695" y="3065269"/>
                  <a:pt x="8725098" y="3066867"/>
                </a:cubicBezTo>
                <a:cubicBezTo>
                  <a:pt x="8722569" y="3069529"/>
                  <a:pt x="8721504" y="3072325"/>
                  <a:pt x="8721504" y="3076318"/>
                </a:cubicBezTo>
                <a:cubicBezTo>
                  <a:pt x="8721504" y="3080445"/>
                  <a:pt x="8722569" y="3083240"/>
                  <a:pt x="8725098" y="3085769"/>
                </a:cubicBezTo>
                <a:cubicBezTo>
                  <a:pt x="8726695" y="3087368"/>
                  <a:pt x="8729225" y="3089230"/>
                  <a:pt x="8735083" y="3089230"/>
                </a:cubicBezTo>
                <a:cubicBezTo>
                  <a:pt x="8737079" y="3089230"/>
                  <a:pt x="8738943" y="3088964"/>
                  <a:pt x="8740407" y="3088298"/>
                </a:cubicBezTo>
                <a:cubicBezTo>
                  <a:pt x="8741872" y="3087766"/>
                  <a:pt x="8743203" y="3086835"/>
                  <a:pt x="8744134" y="3085902"/>
                </a:cubicBezTo>
                <a:cubicBezTo>
                  <a:pt x="8745200" y="3084838"/>
                  <a:pt x="8746132" y="3083373"/>
                  <a:pt x="8746797" y="3081776"/>
                </a:cubicBezTo>
                <a:cubicBezTo>
                  <a:pt x="8747596" y="3080178"/>
                  <a:pt x="8747862" y="3078315"/>
                  <a:pt x="8747862" y="3076318"/>
                </a:cubicBezTo>
                <a:cubicBezTo>
                  <a:pt x="8747862" y="3074454"/>
                  <a:pt x="8747462" y="3072724"/>
                  <a:pt x="8746797" y="3071126"/>
                </a:cubicBezTo>
                <a:cubicBezTo>
                  <a:pt x="8746132" y="3069396"/>
                  <a:pt x="8745200" y="3068065"/>
                  <a:pt x="8744134" y="3066867"/>
                </a:cubicBezTo>
                <a:cubicBezTo>
                  <a:pt x="8743069" y="3065802"/>
                  <a:pt x="8741738" y="3064870"/>
                  <a:pt x="8740141" y="3064204"/>
                </a:cubicBezTo>
                <a:cubicBezTo>
                  <a:pt x="8738677" y="3063539"/>
                  <a:pt x="8736946" y="3063272"/>
                  <a:pt x="8735083" y="3063272"/>
                </a:cubicBezTo>
                <a:close/>
                <a:moveTo>
                  <a:pt x="8517438" y="3063272"/>
                </a:moveTo>
                <a:cubicBezTo>
                  <a:pt x="8511713" y="3063272"/>
                  <a:pt x="8509051" y="3065269"/>
                  <a:pt x="8507453" y="3066867"/>
                </a:cubicBezTo>
                <a:cubicBezTo>
                  <a:pt x="8504925" y="3069529"/>
                  <a:pt x="8503860" y="3072325"/>
                  <a:pt x="8503860" y="3076318"/>
                </a:cubicBezTo>
                <a:cubicBezTo>
                  <a:pt x="8503860" y="3080445"/>
                  <a:pt x="8504925" y="3083240"/>
                  <a:pt x="8507453" y="3085769"/>
                </a:cubicBezTo>
                <a:cubicBezTo>
                  <a:pt x="8509051" y="3087368"/>
                  <a:pt x="8511581" y="3089230"/>
                  <a:pt x="8517438" y="3089230"/>
                </a:cubicBezTo>
                <a:cubicBezTo>
                  <a:pt x="8519568" y="3089230"/>
                  <a:pt x="8521299" y="3088964"/>
                  <a:pt x="8522763" y="3088298"/>
                </a:cubicBezTo>
                <a:cubicBezTo>
                  <a:pt x="8524227" y="3087766"/>
                  <a:pt x="8525559" y="3086835"/>
                  <a:pt x="8526490" y="3085902"/>
                </a:cubicBezTo>
                <a:cubicBezTo>
                  <a:pt x="8527555" y="3084838"/>
                  <a:pt x="8528487" y="3083373"/>
                  <a:pt x="8529152" y="3081776"/>
                </a:cubicBezTo>
                <a:cubicBezTo>
                  <a:pt x="8529818" y="3080178"/>
                  <a:pt x="8530084" y="3078315"/>
                  <a:pt x="8530084" y="3076318"/>
                </a:cubicBezTo>
                <a:cubicBezTo>
                  <a:pt x="8530084" y="3074454"/>
                  <a:pt x="8529818" y="3072724"/>
                  <a:pt x="8529152" y="3071126"/>
                </a:cubicBezTo>
                <a:cubicBezTo>
                  <a:pt x="8528487" y="3069396"/>
                  <a:pt x="8527555" y="3068065"/>
                  <a:pt x="8526490" y="3066867"/>
                </a:cubicBezTo>
                <a:cubicBezTo>
                  <a:pt x="8525425" y="3065802"/>
                  <a:pt x="8524094" y="3064870"/>
                  <a:pt x="8522496" y="3064204"/>
                </a:cubicBezTo>
                <a:cubicBezTo>
                  <a:pt x="8521032" y="3063539"/>
                  <a:pt x="8519302" y="3063272"/>
                  <a:pt x="8517438" y="3063272"/>
                </a:cubicBezTo>
                <a:close/>
                <a:moveTo>
                  <a:pt x="8299793" y="3063272"/>
                </a:moveTo>
                <a:cubicBezTo>
                  <a:pt x="8294068" y="3063272"/>
                  <a:pt x="8291406" y="3065269"/>
                  <a:pt x="8289809" y="3066867"/>
                </a:cubicBezTo>
                <a:cubicBezTo>
                  <a:pt x="8287280" y="3069529"/>
                  <a:pt x="8286215" y="3072325"/>
                  <a:pt x="8286215" y="3076318"/>
                </a:cubicBezTo>
                <a:cubicBezTo>
                  <a:pt x="8286215" y="3080445"/>
                  <a:pt x="8287280" y="3083240"/>
                  <a:pt x="8289809" y="3085769"/>
                </a:cubicBezTo>
                <a:cubicBezTo>
                  <a:pt x="8291406" y="3087368"/>
                  <a:pt x="8293935" y="3089230"/>
                  <a:pt x="8299793" y="3089230"/>
                </a:cubicBezTo>
                <a:cubicBezTo>
                  <a:pt x="8301923" y="3089230"/>
                  <a:pt x="8303653" y="3088964"/>
                  <a:pt x="8305118" y="3088298"/>
                </a:cubicBezTo>
                <a:cubicBezTo>
                  <a:pt x="8306582" y="3087766"/>
                  <a:pt x="8307913" y="3086835"/>
                  <a:pt x="8308844" y="3085902"/>
                </a:cubicBezTo>
                <a:cubicBezTo>
                  <a:pt x="8309910" y="3084838"/>
                  <a:pt x="8310842" y="3083373"/>
                  <a:pt x="8311507" y="3081776"/>
                </a:cubicBezTo>
                <a:cubicBezTo>
                  <a:pt x="8312172" y="3080178"/>
                  <a:pt x="8312439" y="3078315"/>
                  <a:pt x="8312439" y="3076318"/>
                </a:cubicBezTo>
                <a:cubicBezTo>
                  <a:pt x="8312439" y="3074454"/>
                  <a:pt x="8312172" y="3072724"/>
                  <a:pt x="8311507" y="3071126"/>
                </a:cubicBezTo>
                <a:cubicBezTo>
                  <a:pt x="8310842" y="3069396"/>
                  <a:pt x="8309910" y="3068065"/>
                  <a:pt x="8308844" y="3066867"/>
                </a:cubicBezTo>
                <a:cubicBezTo>
                  <a:pt x="8307779" y="3065802"/>
                  <a:pt x="8306448" y="3064870"/>
                  <a:pt x="8304851" y="3064204"/>
                </a:cubicBezTo>
                <a:cubicBezTo>
                  <a:pt x="8303387" y="3063539"/>
                  <a:pt x="8301790" y="3063272"/>
                  <a:pt x="8299793" y="3063272"/>
                </a:cubicBezTo>
                <a:close/>
                <a:moveTo>
                  <a:pt x="8082281" y="3063272"/>
                </a:moveTo>
                <a:cubicBezTo>
                  <a:pt x="8076424" y="3063272"/>
                  <a:pt x="8073894" y="3065269"/>
                  <a:pt x="8072297" y="3066867"/>
                </a:cubicBezTo>
                <a:cubicBezTo>
                  <a:pt x="8069768" y="3069529"/>
                  <a:pt x="8068703" y="3072325"/>
                  <a:pt x="8068703" y="3076318"/>
                </a:cubicBezTo>
                <a:cubicBezTo>
                  <a:pt x="8068703" y="3080445"/>
                  <a:pt x="8069768" y="3083240"/>
                  <a:pt x="8072297" y="3085769"/>
                </a:cubicBezTo>
                <a:cubicBezTo>
                  <a:pt x="8073894" y="3087368"/>
                  <a:pt x="8076424" y="3089230"/>
                  <a:pt x="8082281" y="3089230"/>
                </a:cubicBezTo>
                <a:cubicBezTo>
                  <a:pt x="8084277" y="3089230"/>
                  <a:pt x="8086007" y="3088964"/>
                  <a:pt x="8087605" y="3088298"/>
                </a:cubicBezTo>
                <a:cubicBezTo>
                  <a:pt x="8089069" y="3087766"/>
                  <a:pt x="8090401" y="3086835"/>
                  <a:pt x="8091332" y="3085902"/>
                </a:cubicBezTo>
                <a:cubicBezTo>
                  <a:pt x="8092397" y="3084838"/>
                  <a:pt x="8093329" y="3083373"/>
                  <a:pt x="8093994" y="3081776"/>
                </a:cubicBezTo>
                <a:cubicBezTo>
                  <a:pt x="8094660" y="3080178"/>
                  <a:pt x="8094926" y="3078315"/>
                  <a:pt x="8094926" y="3076318"/>
                </a:cubicBezTo>
                <a:cubicBezTo>
                  <a:pt x="8094926" y="3074454"/>
                  <a:pt x="8094660" y="3072724"/>
                  <a:pt x="8093994" y="3071126"/>
                </a:cubicBezTo>
                <a:cubicBezTo>
                  <a:pt x="8093329" y="3069396"/>
                  <a:pt x="8092397" y="3068065"/>
                  <a:pt x="8091332" y="3066867"/>
                </a:cubicBezTo>
                <a:cubicBezTo>
                  <a:pt x="8090267" y="3065802"/>
                  <a:pt x="8088936" y="3064870"/>
                  <a:pt x="8087338" y="3064204"/>
                </a:cubicBezTo>
                <a:cubicBezTo>
                  <a:pt x="8085874" y="3063539"/>
                  <a:pt x="8084277" y="3063272"/>
                  <a:pt x="8082281" y="3063272"/>
                </a:cubicBezTo>
                <a:close/>
                <a:moveTo>
                  <a:pt x="7864636" y="3063272"/>
                </a:moveTo>
                <a:cubicBezTo>
                  <a:pt x="7858779" y="3063272"/>
                  <a:pt x="7856249" y="3065269"/>
                  <a:pt x="7854652" y="3066867"/>
                </a:cubicBezTo>
                <a:cubicBezTo>
                  <a:pt x="7852123" y="3069529"/>
                  <a:pt x="7851058" y="3072325"/>
                  <a:pt x="7851058" y="3076318"/>
                </a:cubicBezTo>
                <a:cubicBezTo>
                  <a:pt x="7851058" y="3080445"/>
                  <a:pt x="7852123" y="3083240"/>
                  <a:pt x="7854652" y="3085769"/>
                </a:cubicBezTo>
                <a:cubicBezTo>
                  <a:pt x="7856249" y="3087368"/>
                  <a:pt x="7858779" y="3089230"/>
                  <a:pt x="7864636" y="3089230"/>
                </a:cubicBezTo>
                <a:cubicBezTo>
                  <a:pt x="7866633" y="3089230"/>
                  <a:pt x="7868363" y="3088964"/>
                  <a:pt x="7869961" y="3088298"/>
                </a:cubicBezTo>
                <a:cubicBezTo>
                  <a:pt x="7871425" y="3087766"/>
                  <a:pt x="7872756" y="3086835"/>
                  <a:pt x="7873687" y="3085902"/>
                </a:cubicBezTo>
                <a:cubicBezTo>
                  <a:pt x="7874753" y="3084838"/>
                  <a:pt x="7875685" y="3083373"/>
                  <a:pt x="7876350" y="3081776"/>
                </a:cubicBezTo>
                <a:cubicBezTo>
                  <a:pt x="7877015" y="3080178"/>
                  <a:pt x="7877282" y="3078315"/>
                  <a:pt x="7877282" y="3076318"/>
                </a:cubicBezTo>
                <a:cubicBezTo>
                  <a:pt x="7877282" y="3074454"/>
                  <a:pt x="7877015" y="3072724"/>
                  <a:pt x="7876350" y="3071126"/>
                </a:cubicBezTo>
                <a:cubicBezTo>
                  <a:pt x="7875685" y="3069396"/>
                  <a:pt x="7874753" y="3068065"/>
                  <a:pt x="7873687" y="3066867"/>
                </a:cubicBezTo>
                <a:cubicBezTo>
                  <a:pt x="7872623" y="3065802"/>
                  <a:pt x="7871291" y="3064870"/>
                  <a:pt x="7869694" y="3064204"/>
                </a:cubicBezTo>
                <a:cubicBezTo>
                  <a:pt x="7868230" y="3063539"/>
                  <a:pt x="7866633" y="3063272"/>
                  <a:pt x="7864636" y="3063272"/>
                </a:cubicBezTo>
                <a:close/>
                <a:moveTo>
                  <a:pt x="7646991" y="3063272"/>
                </a:moveTo>
                <a:cubicBezTo>
                  <a:pt x="7641134" y="3063272"/>
                  <a:pt x="7638604" y="3065269"/>
                  <a:pt x="7637007" y="3066867"/>
                </a:cubicBezTo>
                <a:cubicBezTo>
                  <a:pt x="7634478" y="3069529"/>
                  <a:pt x="7633413" y="3072325"/>
                  <a:pt x="7633413" y="3076318"/>
                </a:cubicBezTo>
                <a:cubicBezTo>
                  <a:pt x="7633413" y="3080445"/>
                  <a:pt x="7634478" y="3083240"/>
                  <a:pt x="7637007" y="3085769"/>
                </a:cubicBezTo>
                <a:cubicBezTo>
                  <a:pt x="7638604" y="3087368"/>
                  <a:pt x="7641134" y="3089230"/>
                  <a:pt x="7646991" y="3089230"/>
                </a:cubicBezTo>
                <a:cubicBezTo>
                  <a:pt x="7648987" y="3089230"/>
                  <a:pt x="7650851" y="3088964"/>
                  <a:pt x="7652315" y="3088298"/>
                </a:cubicBezTo>
                <a:cubicBezTo>
                  <a:pt x="7653780" y="3087766"/>
                  <a:pt x="7655111" y="3086835"/>
                  <a:pt x="7656042" y="3085902"/>
                </a:cubicBezTo>
                <a:cubicBezTo>
                  <a:pt x="7657108" y="3084838"/>
                  <a:pt x="7658039" y="3083373"/>
                  <a:pt x="7658705" y="3081776"/>
                </a:cubicBezTo>
                <a:cubicBezTo>
                  <a:pt x="7659504" y="3080178"/>
                  <a:pt x="7659769" y="3078315"/>
                  <a:pt x="7659769" y="3076318"/>
                </a:cubicBezTo>
                <a:cubicBezTo>
                  <a:pt x="7659769" y="3074454"/>
                  <a:pt x="7659370" y="3072724"/>
                  <a:pt x="7658705" y="3071126"/>
                </a:cubicBezTo>
                <a:cubicBezTo>
                  <a:pt x="7658039" y="3069396"/>
                  <a:pt x="7657108" y="3068065"/>
                  <a:pt x="7656042" y="3066867"/>
                </a:cubicBezTo>
                <a:cubicBezTo>
                  <a:pt x="7654977" y="3065802"/>
                  <a:pt x="7653646" y="3064870"/>
                  <a:pt x="7652049" y="3064204"/>
                </a:cubicBezTo>
                <a:cubicBezTo>
                  <a:pt x="7650584" y="3063539"/>
                  <a:pt x="7648987" y="3063272"/>
                  <a:pt x="7646991" y="3063272"/>
                </a:cubicBezTo>
                <a:close/>
                <a:moveTo>
                  <a:pt x="7429345" y="3063272"/>
                </a:moveTo>
                <a:cubicBezTo>
                  <a:pt x="7423488" y="3063272"/>
                  <a:pt x="7420958" y="3065269"/>
                  <a:pt x="7419361" y="3066867"/>
                </a:cubicBezTo>
                <a:cubicBezTo>
                  <a:pt x="7416832" y="3069529"/>
                  <a:pt x="7415768" y="3072325"/>
                  <a:pt x="7415768" y="3076318"/>
                </a:cubicBezTo>
                <a:cubicBezTo>
                  <a:pt x="7415768" y="3080445"/>
                  <a:pt x="7416832" y="3083240"/>
                  <a:pt x="7419361" y="3085769"/>
                </a:cubicBezTo>
                <a:cubicBezTo>
                  <a:pt x="7420958" y="3087368"/>
                  <a:pt x="7423488" y="3089230"/>
                  <a:pt x="7429345" y="3089230"/>
                </a:cubicBezTo>
                <a:cubicBezTo>
                  <a:pt x="7431342" y="3089230"/>
                  <a:pt x="7433206" y="3088964"/>
                  <a:pt x="7434670" y="3088298"/>
                </a:cubicBezTo>
                <a:cubicBezTo>
                  <a:pt x="7436134" y="3087766"/>
                  <a:pt x="7437466" y="3086835"/>
                  <a:pt x="7438397" y="3085902"/>
                </a:cubicBezTo>
                <a:cubicBezTo>
                  <a:pt x="7439462" y="3084838"/>
                  <a:pt x="7440394" y="3083373"/>
                  <a:pt x="7441059" y="3081776"/>
                </a:cubicBezTo>
                <a:cubicBezTo>
                  <a:pt x="7441858" y="3080178"/>
                  <a:pt x="7442124" y="3078315"/>
                  <a:pt x="7442124" y="3076318"/>
                </a:cubicBezTo>
                <a:cubicBezTo>
                  <a:pt x="7442124" y="3074454"/>
                  <a:pt x="7441725" y="3072724"/>
                  <a:pt x="7441059" y="3071126"/>
                </a:cubicBezTo>
                <a:cubicBezTo>
                  <a:pt x="7440394" y="3069396"/>
                  <a:pt x="7439462" y="3068065"/>
                  <a:pt x="7438397" y="3066867"/>
                </a:cubicBezTo>
                <a:cubicBezTo>
                  <a:pt x="7437332" y="3065802"/>
                  <a:pt x="7436001" y="3064870"/>
                  <a:pt x="7434403" y="3064204"/>
                </a:cubicBezTo>
                <a:cubicBezTo>
                  <a:pt x="7432939" y="3063539"/>
                  <a:pt x="7431342" y="3063272"/>
                  <a:pt x="7429345" y="3063272"/>
                </a:cubicBezTo>
                <a:close/>
                <a:moveTo>
                  <a:pt x="7211701" y="3063272"/>
                </a:moveTo>
                <a:cubicBezTo>
                  <a:pt x="7205844" y="3063272"/>
                  <a:pt x="7203314" y="3065269"/>
                  <a:pt x="7201717" y="3066867"/>
                </a:cubicBezTo>
                <a:cubicBezTo>
                  <a:pt x="7199188" y="3069529"/>
                  <a:pt x="7198123" y="3072325"/>
                  <a:pt x="7198123" y="3076318"/>
                </a:cubicBezTo>
                <a:cubicBezTo>
                  <a:pt x="7198123" y="3080445"/>
                  <a:pt x="7199188" y="3083240"/>
                  <a:pt x="7201717" y="3085769"/>
                </a:cubicBezTo>
                <a:cubicBezTo>
                  <a:pt x="7203314" y="3087368"/>
                  <a:pt x="7205844" y="3089230"/>
                  <a:pt x="7211701" y="3089230"/>
                </a:cubicBezTo>
                <a:cubicBezTo>
                  <a:pt x="7213830" y="3089230"/>
                  <a:pt x="7215561" y="3088964"/>
                  <a:pt x="7217026" y="3088298"/>
                </a:cubicBezTo>
                <a:cubicBezTo>
                  <a:pt x="7218490" y="3087766"/>
                  <a:pt x="7219821" y="3086835"/>
                  <a:pt x="7220752" y="3085902"/>
                </a:cubicBezTo>
                <a:cubicBezTo>
                  <a:pt x="7221818" y="3084838"/>
                  <a:pt x="7222750" y="3083373"/>
                  <a:pt x="7223415" y="3081776"/>
                </a:cubicBezTo>
                <a:cubicBezTo>
                  <a:pt x="7224214" y="3080178"/>
                  <a:pt x="7224480" y="3078315"/>
                  <a:pt x="7224480" y="3076318"/>
                </a:cubicBezTo>
                <a:cubicBezTo>
                  <a:pt x="7224480" y="3074454"/>
                  <a:pt x="7224080" y="3072724"/>
                  <a:pt x="7223415" y="3071126"/>
                </a:cubicBezTo>
                <a:cubicBezTo>
                  <a:pt x="7222750" y="3069396"/>
                  <a:pt x="7221818" y="3068065"/>
                  <a:pt x="7220752" y="3066867"/>
                </a:cubicBezTo>
                <a:cubicBezTo>
                  <a:pt x="7219687" y="3065802"/>
                  <a:pt x="7218356" y="3064870"/>
                  <a:pt x="7216759" y="3064204"/>
                </a:cubicBezTo>
                <a:cubicBezTo>
                  <a:pt x="7215295" y="3063539"/>
                  <a:pt x="7213698" y="3063272"/>
                  <a:pt x="7211701" y="3063272"/>
                </a:cubicBezTo>
                <a:close/>
                <a:moveTo>
                  <a:pt x="6994056" y="3063272"/>
                </a:moveTo>
                <a:cubicBezTo>
                  <a:pt x="6988199" y="3063272"/>
                  <a:pt x="6985669" y="3065269"/>
                  <a:pt x="6984072" y="3066867"/>
                </a:cubicBezTo>
                <a:cubicBezTo>
                  <a:pt x="6981543" y="3069529"/>
                  <a:pt x="6980478" y="3072325"/>
                  <a:pt x="6980478" y="3076318"/>
                </a:cubicBezTo>
                <a:cubicBezTo>
                  <a:pt x="6980478" y="3080445"/>
                  <a:pt x="6981543" y="3083240"/>
                  <a:pt x="6984072" y="3085769"/>
                </a:cubicBezTo>
                <a:cubicBezTo>
                  <a:pt x="6985669" y="3087368"/>
                  <a:pt x="6988199" y="3089230"/>
                  <a:pt x="6994056" y="3089230"/>
                </a:cubicBezTo>
                <a:cubicBezTo>
                  <a:pt x="6996185" y="3089230"/>
                  <a:pt x="6997916" y="3088964"/>
                  <a:pt x="6999380" y="3088298"/>
                </a:cubicBezTo>
                <a:cubicBezTo>
                  <a:pt x="7000844" y="3087766"/>
                  <a:pt x="7002176" y="3086835"/>
                  <a:pt x="7003107" y="3085902"/>
                </a:cubicBezTo>
                <a:cubicBezTo>
                  <a:pt x="7004172" y="3084838"/>
                  <a:pt x="7005104" y="3083373"/>
                  <a:pt x="7005769" y="3081776"/>
                </a:cubicBezTo>
                <a:cubicBezTo>
                  <a:pt x="7006568" y="3080178"/>
                  <a:pt x="7006834" y="3078315"/>
                  <a:pt x="7006834" y="3076318"/>
                </a:cubicBezTo>
                <a:cubicBezTo>
                  <a:pt x="7006834" y="3074454"/>
                  <a:pt x="7006435" y="3072724"/>
                  <a:pt x="7005769" y="3071126"/>
                </a:cubicBezTo>
                <a:cubicBezTo>
                  <a:pt x="7005104" y="3069396"/>
                  <a:pt x="7004172" y="3068065"/>
                  <a:pt x="7003107" y="3066867"/>
                </a:cubicBezTo>
                <a:cubicBezTo>
                  <a:pt x="7002042" y="3065802"/>
                  <a:pt x="7000711" y="3064870"/>
                  <a:pt x="6999113" y="3064204"/>
                </a:cubicBezTo>
                <a:cubicBezTo>
                  <a:pt x="6997649" y="3063539"/>
                  <a:pt x="6996052" y="3063272"/>
                  <a:pt x="6994056" y="3063272"/>
                </a:cubicBezTo>
                <a:close/>
                <a:moveTo>
                  <a:pt x="6776544" y="3063272"/>
                </a:moveTo>
                <a:cubicBezTo>
                  <a:pt x="6770687" y="3063272"/>
                  <a:pt x="6768157" y="3065269"/>
                  <a:pt x="6766560" y="3066867"/>
                </a:cubicBezTo>
                <a:cubicBezTo>
                  <a:pt x="6764031" y="3069529"/>
                  <a:pt x="6762966" y="3072325"/>
                  <a:pt x="6762966" y="3076318"/>
                </a:cubicBezTo>
                <a:cubicBezTo>
                  <a:pt x="6762966" y="3080445"/>
                  <a:pt x="6764031" y="3083240"/>
                  <a:pt x="6766560" y="3085769"/>
                </a:cubicBezTo>
                <a:cubicBezTo>
                  <a:pt x="6768157" y="3087368"/>
                  <a:pt x="6770687" y="3089230"/>
                  <a:pt x="6776544" y="3089230"/>
                </a:cubicBezTo>
                <a:cubicBezTo>
                  <a:pt x="6778541" y="3089230"/>
                  <a:pt x="6780270" y="3088964"/>
                  <a:pt x="6781869" y="3088298"/>
                </a:cubicBezTo>
                <a:cubicBezTo>
                  <a:pt x="6783333" y="3087766"/>
                  <a:pt x="6784664" y="3086835"/>
                  <a:pt x="6785595" y="3085902"/>
                </a:cubicBezTo>
                <a:cubicBezTo>
                  <a:pt x="6786661" y="3084838"/>
                  <a:pt x="6787593" y="3083373"/>
                  <a:pt x="6788258" y="3081776"/>
                </a:cubicBezTo>
                <a:cubicBezTo>
                  <a:pt x="6789057" y="3080178"/>
                  <a:pt x="6789323" y="3078315"/>
                  <a:pt x="6789323" y="3076318"/>
                </a:cubicBezTo>
                <a:cubicBezTo>
                  <a:pt x="6789323" y="3074454"/>
                  <a:pt x="6788923" y="3072724"/>
                  <a:pt x="6788258" y="3071126"/>
                </a:cubicBezTo>
                <a:cubicBezTo>
                  <a:pt x="6787593" y="3069396"/>
                  <a:pt x="6786661" y="3068065"/>
                  <a:pt x="6785595" y="3066867"/>
                </a:cubicBezTo>
                <a:cubicBezTo>
                  <a:pt x="6784530" y="3065802"/>
                  <a:pt x="6783199" y="3064870"/>
                  <a:pt x="6781602" y="3064204"/>
                </a:cubicBezTo>
                <a:cubicBezTo>
                  <a:pt x="6780138" y="3063539"/>
                  <a:pt x="6778541" y="3063272"/>
                  <a:pt x="6776544" y="3063272"/>
                </a:cubicBezTo>
                <a:close/>
                <a:moveTo>
                  <a:pt x="6558899" y="3063272"/>
                </a:moveTo>
                <a:cubicBezTo>
                  <a:pt x="6553042" y="3063272"/>
                  <a:pt x="6550512" y="3065269"/>
                  <a:pt x="6548915" y="3066867"/>
                </a:cubicBezTo>
                <a:cubicBezTo>
                  <a:pt x="6546386" y="3069529"/>
                  <a:pt x="6545321" y="3072325"/>
                  <a:pt x="6545321" y="3076318"/>
                </a:cubicBezTo>
                <a:cubicBezTo>
                  <a:pt x="6545321" y="3080445"/>
                  <a:pt x="6546386" y="3083240"/>
                  <a:pt x="6548915" y="3085769"/>
                </a:cubicBezTo>
                <a:cubicBezTo>
                  <a:pt x="6550512" y="3087368"/>
                  <a:pt x="6553042" y="3089230"/>
                  <a:pt x="6558899" y="3089230"/>
                </a:cubicBezTo>
                <a:cubicBezTo>
                  <a:pt x="6560895" y="3089230"/>
                  <a:pt x="6562759" y="3088964"/>
                  <a:pt x="6564223" y="3088298"/>
                </a:cubicBezTo>
                <a:cubicBezTo>
                  <a:pt x="6565687" y="3087766"/>
                  <a:pt x="6567019" y="3086835"/>
                  <a:pt x="6567950" y="3085902"/>
                </a:cubicBezTo>
                <a:cubicBezTo>
                  <a:pt x="6569015" y="3084838"/>
                  <a:pt x="6569947" y="3083373"/>
                  <a:pt x="6570612" y="3081776"/>
                </a:cubicBezTo>
                <a:cubicBezTo>
                  <a:pt x="6571412" y="3080178"/>
                  <a:pt x="6571677" y="3078315"/>
                  <a:pt x="6571677" y="3076318"/>
                </a:cubicBezTo>
                <a:cubicBezTo>
                  <a:pt x="6571677" y="3074454"/>
                  <a:pt x="6571278" y="3072724"/>
                  <a:pt x="6570612" y="3071126"/>
                </a:cubicBezTo>
                <a:cubicBezTo>
                  <a:pt x="6569947" y="3069396"/>
                  <a:pt x="6569015" y="3068065"/>
                  <a:pt x="6567950" y="3066867"/>
                </a:cubicBezTo>
                <a:cubicBezTo>
                  <a:pt x="6566885" y="3065802"/>
                  <a:pt x="6565554" y="3064870"/>
                  <a:pt x="6563956" y="3064204"/>
                </a:cubicBezTo>
                <a:cubicBezTo>
                  <a:pt x="6562492" y="3063539"/>
                  <a:pt x="6560895" y="3063272"/>
                  <a:pt x="6558899" y="3063272"/>
                </a:cubicBezTo>
                <a:close/>
                <a:moveTo>
                  <a:pt x="6341253" y="3063272"/>
                </a:moveTo>
                <a:cubicBezTo>
                  <a:pt x="6335396" y="3063272"/>
                  <a:pt x="6332867" y="3065269"/>
                  <a:pt x="6331270" y="3066867"/>
                </a:cubicBezTo>
                <a:cubicBezTo>
                  <a:pt x="6328740" y="3069529"/>
                  <a:pt x="6327675" y="3072325"/>
                  <a:pt x="6327675" y="3076318"/>
                </a:cubicBezTo>
                <a:cubicBezTo>
                  <a:pt x="6327675" y="3080445"/>
                  <a:pt x="6328740" y="3083240"/>
                  <a:pt x="6331270" y="3085769"/>
                </a:cubicBezTo>
                <a:cubicBezTo>
                  <a:pt x="6332867" y="3087368"/>
                  <a:pt x="6335396" y="3089230"/>
                  <a:pt x="6341253" y="3089230"/>
                </a:cubicBezTo>
                <a:cubicBezTo>
                  <a:pt x="6343250" y="3089230"/>
                  <a:pt x="6345114" y="3088964"/>
                  <a:pt x="6346578" y="3088298"/>
                </a:cubicBezTo>
                <a:cubicBezTo>
                  <a:pt x="6348042" y="3087766"/>
                  <a:pt x="6349373" y="3086835"/>
                  <a:pt x="6350305" y="3085902"/>
                </a:cubicBezTo>
                <a:cubicBezTo>
                  <a:pt x="6351370" y="3084838"/>
                  <a:pt x="6352302" y="3083373"/>
                  <a:pt x="6352968" y="3081776"/>
                </a:cubicBezTo>
                <a:cubicBezTo>
                  <a:pt x="6353766" y="3080178"/>
                  <a:pt x="6354033" y="3078315"/>
                  <a:pt x="6354033" y="3076318"/>
                </a:cubicBezTo>
                <a:cubicBezTo>
                  <a:pt x="6354033" y="3074454"/>
                  <a:pt x="6353633" y="3072724"/>
                  <a:pt x="6352968" y="3071126"/>
                </a:cubicBezTo>
                <a:cubicBezTo>
                  <a:pt x="6352302" y="3069396"/>
                  <a:pt x="6351370" y="3068065"/>
                  <a:pt x="6350305" y="3066867"/>
                </a:cubicBezTo>
                <a:cubicBezTo>
                  <a:pt x="6349241" y="3065802"/>
                  <a:pt x="6347909" y="3064870"/>
                  <a:pt x="6346312" y="3064204"/>
                </a:cubicBezTo>
                <a:cubicBezTo>
                  <a:pt x="6344848" y="3063539"/>
                  <a:pt x="6343250" y="3063272"/>
                  <a:pt x="6341253" y="3063272"/>
                </a:cubicBezTo>
                <a:close/>
                <a:moveTo>
                  <a:pt x="6123608" y="3063272"/>
                </a:moveTo>
                <a:cubicBezTo>
                  <a:pt x="6117751" y="3063272"/>
                  <a:pt x="6115221" y="3065269"/>
                  <a:pt x="6113624" y="3066867"/>
                </a:cubicBezTo>
                <a:cubicBezTo>
                  <a:pt x="6111095" y="3069529"/>
                  <a:pt x="6110030" y="3072325"/>
                  <a:pt x="6110030" y="3076318"/>
                </a:cubicBezTo>
                <a:cubicBezTo>
                  <a:pt x="6110030" y="3080445"/>
                  <a:pt x="6111095" y="3083240"/>
                  <a:pt x="6113624" y="3085769"/>
                </a:cubicBezTo>
                <a:cubicBezTo>
                  <a:pt x="6115221" y="3087368"/>
                  <a:pt x="6117751" y="3089230"/>
                  <a:pt x="6123608" y="3089230"/>
                </a:cubicBezTo>
                <a:cubicBezTo>
                  <a:pt x="6125737" y="3089230"/>
                  <a:pt x="6127468" y="3088964"/>
                  <a:pt x="6128932" y="3088298"/>
                </a:cubicBezTo>
                <a:cubicBezTo>
                  <a:pt x="6130530" y="3087766"/>
                  <a:pt x="6131728" y="3086835"/>
                  <a:pt x="6132659" y="3085902"/>
                </a:cubicBezTo>
                <a:cubicBezTo>
                  <a:pt x="6133724" y="3084838"/>
                  <a:pt x="6134656" y="3083373"/>
                  <a:pt x="6135322" y="3081776"/>
                </a:cubicBezTo>
                <a:cubicBezTo>
                  <a:pt x="6135987" y="3080178"/>
                  <a:pt x="6136387" y="3078315"/>
                  <a:pt x="6136387" y="3076318"/>
                </a:cubicBezTo>
                <a:cubicBezTo>
                  <a:pt x="6136387" y="3074454"/>
                  <a:pt x="6135987" y="3072724"/>
                  <a:pt x="6135322" y="3071126"/>
                </a:cubicBezTo>
                <a:cubicBezTo>
                  <a:pt x="6134656" y="3069396"/>
                  <a:pt x="6133724" y="3068065"/>
                  <a:pt x="6132659" y="3066867"/>
                </a:cubicBezTo>
                <a:cubicBezTo>
                  <a:pt x="6131594" y="3065802"/>
                  <a:pt x="6130263" y="3064870"/>
                  <a:pt x="6128666" y="3064204"/>
                </a:cubicBezTo>
                <a:cubicBezTo>
                  <a:pt x="6127202" y="3063539"/>
                  <a:pt x="6125604" y="3063272"/>
                  <a:pt x="6123608" y="3063272"/>
                </a:cubicBezTo>
                <a:close/>
                <a:moveTo>
                  <a:pt x="5905963" y="3063272"/>
                </a:moveTo>
                <a:cubicBezTo>
                  <a:pt x="5900106" y="3063272"/>
                  <a:pt x="5897576" y="3065269"/>
                  <a:pt x="5895979" y="3066867"/>
                </a:cubicBezTo>
                <a:cubicBezTo>
                  <a:pt x="5893450" y="3069529"/>
                  <a:pt x="5892385" y="3072325"/>
                  <a:pt x="5892385" y="3076318"/>
                </a:cubicBezTo>
                <a:cubicBezTo>
                  <a:pt x="5892385" y="3080445"/>
                  <a:pt x="5893450" y="3083240"/>
                  <a:pt x="5895979" y="3085769"/>
                </a:cubicBezTo>
                <a:cubicBezTo>
                  <a:pt x="5897576" y="3087368"/>
                  <a:pt x="5900106" y="3089230"/>
                  <a:pt x="5905963" y="3089230"/>
                </a:cubicBezTo>
                <a:cubicBezTo>
                  <a:pt x="5908093" y="3089230"/>
                  <a:pt x="5909823" y="3088964"/>
                  <a:pt x="5911287" y="3088298"/>
                </a:cubicBezTo>
                <a:cubicBezTo>
                  <a:pt x="5912751" y="3087766"/>
                  <a:pt x="5914083" y="3086835"/>
                  <a:pt x="5915014" y="3085902"/>
                </a:cubicBezTo>
                <a:cubicBezTo>
                  <a:pt x="5916079" y="3084838"/>
                  <a:pt x="5917011" y="3083373"/>
                  <a:pt x="5917677" y="3081776"/>
                </a:cubicBezTo>
                <a:cubicBezTo>
                  <a:pt x="5918342" y="3080178"/>
                  <a:pt x="5918742" y="3078315"/>
                  <a:pt x="5918742" y="3076318"/>
                </a:cubicBezTo>
                <a:cubicBezTo>
                  <a:pt x="5918742" y="3074454"/>
                  <a:pt x="5918342" y="3072724"/>
                  <a:pt x="5917677" y="3071126"/>
                </a:cubicBezTo>
                <a:cubicBezTo>
                  <a:pt x="5917011" y="3069396"/>
                  <a:pt x="5916079" y="3068065"/>
                  <a:pt x="5915014" y="3066867"/>
                </a:cubicBezTo>
                <a:cubicBezTo>
                  <a:pt x="5913950" y="3065802"/>
                  <a:pt x="5912618" y="3064870"/>
                  <a:pt x="5911021" y="3064204"/>
                </a:cubicBezTo>
                <a:cubicBezTo>
                  <a:pt x="5909557" y="3063539"/>
                  <a:pt x="5907826" y="3063272"/>
                  <a:pt x="5905963" y="3063272"/>
                </a:cubicBezTo>
                <a:close/>
                <a:moveTo>
                  <a:pt x="5688451" y="3063272"/>
                </a:moveTo>
                <a:cubicBezTo>
                  <a:pt x="5682594" y="3063272"/>
                  <a:pt x="5680064" y="3065269"/>
                  <a:pt x="5678467" y="3066867"/>
                </a:cubicBezTo>
                <a:cubicBezTo>
                  <a:pt x="5675938" y="3069529"/>
                  <a:pt x="5674873" y="3072325"/>
                  <a:pt x="5674873" y="3076318"/>
                </a:cubicBezTo>
                <a:cubicBezTo>
                  <a:pt x="5674873" y="3080445"/>
                  <a:pt x="5675938" y="3083240"/>
                  <a:pt x="5678467" y="3085769"/>
                </a:cubicBezTo>
                <a:cubicBezTo>
                  <a:pt x="5680064" y="3087368"/>
                  <a:pt x="5682594" y="3089230"/>
                  <a:pt x="5688451" y="3089230"/>
                </a:cubicBezTo>
                <a:cubicBezTo>
                  <a:pt x="5690447" y="3089230"/>
                  <a:pt x="5692178" y="3088964"/>
                  <a:pt x="5693775" y="3088298"/>
                </a:cubicBezTo>
                <a:cubicBezTo>
                  <a:pt x="5695239" y="3087766"/>
                  <a:pt x="5696571" y="3086835"/>
                  <a:pt x="5697502" y="3085902"/>
                </a:cubicBezTo>
                <a:cubicBezTo>
                  <a:pt x="5698567" y="3084838"/>
                  <a:pt x="5699499" y="3083373"/>
                  <a:pt x="5700165" y="3081776"/>
                </a:cubicBezTo>
                <a:cubicBezTo>
                  <a:pt x="5700830" y="3080178"/>
                  <a:pt x="5701230" y="3078315"/>
                  <a:pt x="5701230" y="3076318"/>
                </a:cubicBezTo>
                <a:cubicBezTo>
                  <a:pt x="5701230" y="3074454"/>
                  <a:pt x="5700830" y="3072724"/>
                  <a:pt x="5700165" y="3071126"/>
                </a:cubicBezTo>
                <a:cubicBezTo>
                  <a:pt x="5699499" y="3069396"/>
                  <a:pt x="5698567" y="3068065"/>
                  <a:pt x="5697502" y="3066867"/>
                </a:cubicBezTo>
                <a:cubicBezTo>
                  <a:pt x="5696437" y="3065802"/>
                  <a:pt x="5695106" y="3064870"/>
                  <a:pt x="5693509" y="3064204"/>
                </a:cubicBezTo>
                <a:cubicBezTo>
                  <a:pt x="5692045" y="3063539"/>
                  <a:pt x="5690314" y="3063272"/>
                  <a:pt x="5688451" y="3063272"/>
                </a:cubicBezTo>
                <a:close/>
                <a:moveTo>
                  <a:pt x="5470806" y="3063272"/>
                </a:moveTo>
                <a:cubicBezTo>
                  <a:pt x="5464949" y="3063272"/>
                  <a:pt x="5462419" y="3065269"/>
                  <a:pt x="5460822" y="3066867"/>
                </a:cubicBezTo>
                <a:cubicBezTo>
                  <a:pt x="5458293" y="3069529"/>
                  <a:pt x="5457228" y="3072325"/>
                  <a:pt x="5457228" y="3076318"/>
                </a:cubicBezTo>
                <a:cubicBezTo>
                  <a:pt x="5457228" y="3080445"/>
                  <a:pt x="5458293" y="3083240"/>
                  <a:pt x="5460822" y="3085769"/>
                </a:cubicBezTo>
                <a:cubicBezTo>
                  <a:pt x="5462419" y="3087368"/>
                  <a:pt x="5464949" y="3089230"/>
                  <a:pt x="5470806" y="3089230"/>
                </a:cubicBezTo>
                <a:cubicBezTo>
                  <a:pt x="5472802" y="3089230"/>
                  <a:pt x="5474666" y="3088964"/>
                  <a:pt x="5476130" y="3088298"/>
                </a:cubicBezTo>
                <a:cubicBezTo>
                  <a:pt x="5477594" y="3087766"/>
                  <a:pt x="5478926" y="3086835"/>
                  <a:pt x="5479857" y="3085902"/>
                </a:cubicBezTo>
                <a:cubicBezTo>
                  <a:pt x="5480922" y="3084838"/>
                  <a:pt x="5481854" y="3083373"/>
                  <a:pt x="5482520" y="3081776"/>
                </a:cubicBezTo>
                <a:cubicBezTo>
                  <a:pt x="5483319" y="3080178"/>
                  <a:pt x="5483585" y="3078315"/>
                  <a:pt x="5483585" y="3076318"/>
                </a:cubicBezTo>
                <a:cubicBezTo>
                  <a:pt x="5483585" y="3074454"/>
                  <a:pt x="5483185" y="3072724"/>
                  <a:pt x="5482520" y="3071126"/>
                </a:cubicBezTo>
                <a:cubicBezTo>
                  <a:pt x="5481854" y="3069396"/>
                  <a:pt x="5480922" y="3068065"/>
                  <a:pt x="5479857" y="3066867"/>
                </a:cubicBezTo>
                <a:cubicBezTo>
                  <a:pt x="5478793" y="3065802"/>
                  <a:pt x="5477461" y="3064870"/>
                  <a:pt x="5475864" y="3064204"/>
                </a:cubicBezTo>
                <a:cubicBezTo>
                  <a:pt x="5474400" y="3063539"/>
                  <a:pt x="5472669" y="3063272"/>
                  <a:pt x="5470806" y="3063272"/>
                </a:cubicBezTo>
                <a:close/>
                <a:moveTo>
                  <a:pt x="5253160" y="3063272"/>
                </a:moveTo>
                <a:cubicBezTo>
                  <a:pt x="5247303" y="3063272"/>
                  <a:pt x="5244774" y="3065269"/>
                  <a:pt x="5243177" y="3066867"/>
                </a:cubicBezTo>
                <a:cubicBezTo>
                  <a:pt x="5240647" y="3069529"/>
                  <a:pt x="5239583" y="3072325"/>
                  <a:pt x="5239583" y="3076318"/>
                </a:cubicBezTo>
                <a:cubicBezTo>
                  <a:pt x="5239583" y="3080445"/>
                  <a:pt x="5240647" y="3083240"/>
                  <a:pt x="5243177" y="3085769"/>
                </a:cubicBezTo>
                <a:cubicBezTo>
                  <a:pt x="5244774" y="3087368"/>
                  <a:pt x="5247303" y="3089230"/>
                  <a:pt x="5253160" y="3089230"/>
                </a:cubicBezTo>
                <a:cubicBezTo>
                  <a:pt x="5255157" y="3089230"/>
                  <a:pt x="5257021" y="3088964"/>
                  <a:pt x="5258485" y="3088298"/>
                </a:cubicBezTo>
                <a:cubicBezTo>
                  <a:pt x="5259949" y="3087766"/>
                  <a:pt x="5261280" y="3086835"/>
                  <a:pt x="5262212" y="3085902"/>
                </a:cubicBezTo>
                <a:cubicBezTo>
                  <a:pt x="5263277" y="3084838"/>
                  <a:pt x="5264209" y="3083373"/>
                  <a:pt x="5264875" y="3081776"/>
                </a:cubicBezTo>
                <a:cubicBezTo>
                  <a:pt x="5265673" y="3080178"/>
                  <a:pt x="5265939" y="3078315"/>
                  <a:pt x="5265939" y="3076318"/>
                </a:cubicBezTo>
                <a:cubicBezTo>
                  <a:pt x="5265939" y="3074454"/>
                  <a:pt x="5265540" y="3072724"/>
                  <a:pt x="5264875" y="3071126"/>
                </a:cubicBezTo>
                <a:cubicBezTo>
                  <a:pt x="5264209" y="3069396"/>
                  <a:pt x="5263277" y="3068065"/>
                  <a:pt x="5262212" y="3066867"/>
                </a:cubicBezTo>
                <a:cubicBezTo>
                  <a:pt x="5261147" y="3065802"/>
                  <a:pt x="5259816" y="3064870"/>
                  <a:pt x="5258219" y="3064204"/>
                </a:cubicBezTo>
                <a:cubicBezTo>
                  <a:pt x="5256754" y="3063539"/>
                  <a:pt x="5255024" y="3063272"/>
                  <a:pt x="5253160" y="3063272"/>
                </a:cubicBezTo>
                <a:close/>
                <a:moveTo>
                  <a:pt x="5035515" y="3063272"/>
                </a:moveTo>
                <a:cubicBezTo>
                  <a:pt x="5029658" y="3063272"/>
                  <a:pt x="5027129" y="3065269"/>
                  <a:pt x="5025532" y="3066867"/>
                </a:cubicBezTo>
                <a:cubicBezTo>
                  <a:pt x="5023002" y="3069529"/>
                  <a:pt x="5021938" y="3072325"/>
                  <a:pt x="5021938" y="3076318"/>
                </a:cubicBezTo>
                <a:cubicBezTo>
                  <a:pt x="5021938" y="3080445"/>
                  <a:pt x="5023002" y="3083240"/>
                  <a:pt x="5025532" y="3085769"/>
                </a:cubicBezTo>
                <a:cubicBezTo>
                  <a:pt x="5027129" y="3087368"/>
                  <a:pt x="5029658" y="3089230"/>
                  <a:pt x="5035515" y="3089230"/>
                </a:cubicBezTo>
                <a:cubicBezTo>
                  <a:pt x="5037645" y="3089230"/>
                  <a:pt x="5039376" y="3088964"/>
                  <a:pt x="5040840" y="3088298"/>
                </a:cubicBezTo>
                <a:cubicBezTo>
                  <a:pt x="5042304" y="3087766"/>
                  <a:pt x="5043636" y="3086835"/>
                  <a:pt x="5044567" y="3085902"/>
                </a:cubicBezTo>
                <a:cubicBezTo>
                  <a:pt x="5045632" y="3084838"/>
                  <a:pt x="5046564" y="3083373"/>
                  <a:pt x="5047230" y="3081776"/>
                </a:cubicBezTo>
                <a:cubicBezTo>
                  <a:pt x="5048028" y="3080178"/>
                  <a:pt x="5048294" y="3078315"/>
                  <a:pt x="5048294" y="3076318"/>
                </a:cubicBezTo>
                <a:cubicBezTo>
                  <a:pt x="5048294" y="3074454"/>
                  <a:pt x="5047895" y="3072724"/>
                  <a:pt x="5047230" y="3071126"/>
                </a:cubicBezTo>
                <a:cubicBezTo>
                  <a:pt x="5046564" y="3069396"/>
                  <a:pt x="5045632" y="3068065"/>
                  <a:pt x="5044567" y="3066867"/>
                </a:cubicBezTo>
                <a:cubicBezTo>
                  <a:pt x="5043502" y="3065802"/>
                  <a:pt x="5042171" y="3064870"/>
                  <a:pt x="5040574" y="3064204"/>
                </a:cubicBezTo>
                <a:cubicBezTo>
                  <a:pt x="5039110" y="3063539"/>
                  <a:pt x="5037379" y="3063272"/>
                  <a:pt x="5035515" y="3063272"/>
                </a:cubicBezTo>
                <a:close/>
                <a:moveTo>
                  <a:pt x="4817870" y="3063272"/>
                </a:moveTo>
                <a:cubicBezTo>
                  <a:pt x="4812013" y="3063272"/>
                  <a:pt x="4809484" y="3065269"/>
                  <a:pt x="4807887" y="3066867"/>
                </a:cubicBezTo>
                <a:cubicBezTo>
                  <a:pt x="4805357" y="3069529"/>
                  <a:pt x="4804293" y="3072325"/>
                  <a:pt x="4804293" y="3076318"/>
                </a:cubicBezTo>
                <a:cubicBezTo>
                  <a:pt x="4804293" y="3080445"/>
                  <a:pt x="4805357" y="3083240"/>
                  <a:pt x="4807887" y="3085769"/>
                </a:cubicBezTo>
                <a:cubicBezTo>
                  <a:pt x="4809484" y="3087368"/>
                  <a:pt x="4812013" y="3089230"/>
                  <a:pt x="4817870" y="3089230"/>
                </a:cubicBezTo>
                <a:cubicBezTo>
                  <a:pt x="4820000" y="3089230"/>
                  <a:pt x="4821731" y="3088964"/>
                  <a:pt x="4823195" y="3088298"/>
                </a:cubicBezTo>
                <a:cubicBezTo>
                  <a:pt x="4824659" y="3087766"/>
                  <a:pt x="4825857" y="3086835"/>
                  <a:pt x="4826922" y="3085902"/>
                </a:cubicBezTo>
                <a:cubicBezTo>
                  <a:pt x="4827987" y="3084838"/>
                  <a:pt x="4828919" y="3083373"/>
                  <a:pt x="4829585" y="3081776"/>
                </a:cubicBezTo>
                <a:cubicBezTo>
                  <a:pt x="4830383" y="3080178"/>
                  <a:pt x="4830650" y="3078315"/>
                  <a:pt x="4830650" y="3076318"/>
                </a:cubicBezTo>
                <a:cubicBezTo>
                  <a:pt x="4830650" y="3074454"/>
                  <a:pt x="4830250" y="3072724"/>
                  <a:pt x="4829585" y="3071126"/>
                </a:cubicBezTo>
                <a:cubicBezTo>
                  <a:pt x="4828919" y="3069396"/>
                  <a:pt x="4827987" y="3068065"/>
                  <a:pt x="4826922" y="3066867"/>
                </a:cubicBezTo>
                <a:cubicBezTo>
                  <a:pt x="4825857" y="3065802"/>
                  <a:pt x="4824526" y="3064870"/>
                  <a:pt x="4822929" y="3064204"/>
                </a:cubicBezTo>
                <a:cubicBezTo>
                  <a:pt x="4821465" y="3063539"/>
                  <a:pt x="4819734" y="3063272"/>
                  <a:pt x="4817870" y="3063272"/>
                </a:cubicBezTo>
                <a:close/>
                <a:moveTo>
                  <a:pt x="4600226" y="3063272"/>
                </a:moveTo>
                <a:cubicBezTo>
                  <a:pt x="4594369" y="3063272"/>
                  <a:pt x="4591839" y="3065269"/>
                  <a:pt x="4590242" y="3066867"/>
                </a:cubicBezTo>
                <a:cubicBezTo>
                  <a:pt x="4587713" y="3069529"/>
                  <a:pt x="4586648" y="3072325"/>
                  <a:pt x="4586648" y="3076318"/>
                </a:cubicBezTo>
                <a:cubicBezTo>
                  <a:pt x="4586648" y="3080445"/>
                  <a:pt x="4587713" y="3083240"/>
                  <a:pt x="4590242" y="3085769"/>
                </a:cubicBezTo>
                <a:cubicBezTo>
                  <a:pt x="4591839" y="3087368"/>
                  <a:pt x="4594369" y="3089230"/>
                  <a:pt x="4600226" y="3089230"/>
                </a:cubicBezTo>
                <a:cubicBezTo>
                  <a:pt x="4602355" y="3089230"/>
                  <a:pt x="4604086" y="3088964"/>
                  <a:pt x="4605550" y="3088298"/>
                </a:cubicBezTo>
                <a:cubicBezTo>
                  <a:pt x="4607148" y="3087766"/>
                  <a:pt x="4608346" y="3086835"/>
                  <a:pt x="4609277" y="3085902"/>
                </a:cubicBezTo>
                <a:cubicBezTo>
                  <a:pt x="4610342" y="3084838"/>
                  <a:pt x="4611274" y="3083373"/>
                  <a:pt x="4611940" y="3081776"/>
                </a:cubicBezTo>
                <a:cubicBezTo>
                  <a:pt x="4612605" y="3080178"/>
                  <a:pt x="4613005" y="3078315"/>
                  <a:pt x="4613005" y="3076318"/>
                </a:cubicBezTo>
                <a:cubicBezTo>
                  <a:pt x="4613005" y="3074454"/>
                  <a:pt x="4612605" y="3072724"/>
                  <a:pt x="4611940" y="3071126"/>
                </a:cubicBezTo>
                <a:cubicBezTo>
                  <a:pt x="4611274" y="3069396"/>
                  <a:pt x="4610342" y="3068065"/>
                  <a:pt x="4609277" y="3066867"/>
                </a:cubicBezTo>
                <a:cubicBezTo>
                  <a:pt x="4608212" y="3065802"/>
                  <a:pt x="4606881" y="3064870"/>
                  <a:pt x="4605284" y="3064204"/>
                </a:cubicBezTo>
                <a:cubicBezTo>
                  <a:pt x="4603820" y="3063539"/>
                  <a:pt x="4602222" y="3063272"/>
                  <a:pt x="4600226" y="3063272"/>
                </a:cubicBezTo>
                <a:close/>
                <a:moveTo>
                  <a:pt x="4382713" y="3063272"/>
                </a:moveTo>
                <a:cubicBezTo>
                  <a:pt x="4376857" y="3063272"/>
                  <a:pt x="4374327" y="3065269"/>
                  <a:pt x="4372730" y="3066867"/>
                </a:cubicBezTo>
                <a:cubicBezTo>
                  <a:pt x="4370201" y="3069529"/>
                  <a:pt x="4369136" y="3072325"/>
                  <a:pt x="4369136" y="3076318"/>
                </a:cubicBezTo>
                <a:cubicBezTo>
                  <a:pt x="4369136" y="3080445"/>
                  <a:pt x="4370201" y="3083240"/>
                  <a:pt x="4372730" y="3085769"/>
                </a:cubicBezTo>
                <a:cubicBezTo>
                  <a:pt x="4374327" y="3087368"/>
                  <a:pt x="4376857" y="3089230"/>
                  <a:pt x="4382713" y="3089230"/>
                </a:cubicBezTo>
                <a:cubicBezTo>
                  <a:pt x="4384710" y="3089230"/>
                  <a:pt x="4386441" y="3088964"/>
                  <a:pt x="4388038" y="3088298"/>
                </a:cubicBezTo>
                <a:cubicBezTo>
                  <a:pt x="4389502" y="3087766"/>
                  <a:pt x="4390834" y="3086835"/>
                  <a:pt x="4391765" y="3085902"/>
                </a:cubicBezTo>
                <a:cubicBezTo>
                  <a:pt x="4392830" y="3084838"/>
                  <a:pt x="4393762" y="3083373"/>
                  <a:pt x="4394428" y="3081776"/>
                </a:cubicBezTo>
                <a:cubicBezTo>
                  <a:pt x="4395093" y="3080178"/>
                  <a:pt x="4395493" y="3078315"/>
                  <a:pt x="4395493" y="3076318"/>
                </a:cubicBezTo>
                <a:cubicBezTo>
                  <a:pt x="4395493" y="3074454"/>
                  <a:pt x="4395093" y="3072724"/>
                  <a:pt x="4394428" y="3071126"/>
                </a:cubicBezTo>
                <a:cubicBezTo>
                  <a:pt x="4393762" y="3069396"/>
                  <a:pt x="4392830" y="3068065"/>
                  <a:pt x="4391765" y="3066867"/>
                </a:cubicBezTo>
                <a:cubicBezTo>
                  <a:pt x="4390700" y="3065802"/>
                  <a:pt x="4389369" y="3064870"/>
                  <a:pt x="4387772" y="3064204"/>
                </a:cubicBezTo>
                <a:cubicBezTo>
                  <a:pt x="4386308" y="3063539"/>
                  <a:pt x="4384710" y="3063272"/>
                  <a:pt x="4382713" y="3063272"/>
                </a:cubicBezTo>
                <a:close/>
                <a:moveTo>
                  <a:pt x="4165068" y="3063272"/>
                </a:moveTo>
                <a:cubicBezTo>
                  <a:pt x="4159211" y="3063272"/>
                  <a:pt x="4156681" y="3065269"/>
                  <a:pt x="4155084" y="3066867"/>
                </a:cubicBezTo>
                <a:cubicBezTo>
                  <a:pt x="4152555" y="3069529"/>
                  <a:pt x="4151490" y="3072325"/>
                  <a:pt x="4151490" y="3076318"/>
                </a:cubicBezTo>
                <a:cubicBezTo>
                  <a:pt x="4151490" y="3080445"/>
                  <a:pt x="4152555" y="3083240"/>
                  <a:pt x="4155084" y="3085769"/>
                </a:cubicBezTo>
                <a:cubicBezTo>
                  <a:pt x="4156681" y="3087368"/>
                  <a:pt x="4159211" y="3089230"/>
                  <a:pt x="4165068" y="3089230"/>
                </a:cubicBezTo>
                <a:cubicBezTo>
                  <a:pt x="4167064" y="3089230"/>
                  <a:pt x="4168928" y="3088964"/>
                  <a:pt x="4170392" y="3088298"/>
                </a:cubicBezTo>
                <a:cubicBezTo>
                  <a:pt x="4171856" y="3087766"/>
                  <a:pt x="4173188" y="3086835"/>
                  <a:pt x="4174119" y="3085902"/>
                </a:cubicBezTo>
                <a:cubicBezTo>
                  <a:pt x="4175184" y="3084838"/>
                  <a:pt x="4176116" y="3083373"/>
                  <a:pt x="4176782" y="3081776"/>
                </a:cubicBezTo>
                <a:cubicBezTo>
                  <a:pt x="4177447" y="3080178"/>
                  <a:pt x="4177847" y="3078315"/>
                  <a:pt x="4177847" y="3076318"/>
                </a:cubicBezTo>
                <a:cubicBezTo>
                  <a:pt x="4177847" y="3074454"/>
                  <a:pt x="4177447" y="3072724"/>
                  <a:pt x="4176782" y="3071126"/>
                </a:cubicBezTo>
                <a:cubicBezTo>
                  <a:pt x="4176116" y="3069396"/>
                  <a:pt x="4175184" y="3068065"/>
                  <a:pt x="4174119" y="3066867"/>
                </a:cubicBezTo>
                <a:cubicBezTo>
                  <a:pt x="4173054" y="3065802"/>
                  <a:pt x="4171723" y="3064870"/>
                  <a:pt x="4170126" y="3064204"/>
                </a:cubicBezTo>
                <a:cubicBezTo>
                  <a:pt x="4168662" y="3063539"/>
                  <a:pt x="4167064" y="3063272"/>
                  <a:pt x="4165068" y="3063272"/>
                </a:cubicBezTo>
                <a:close/>
                <a:moveTo>
                  <a:pt x="3947593" y="3063272"/>
                </a:moveTo>
                <a:cubicBezTo>
                  <a:pt x="3941735" y="3063272"/>
                  <a:pt x="3939207" y="3065269"/>
                  <a:pt x="3937610" y="3066867"/>
                </a:cubicBezTo>
                <a:cubicBezTo>
                  <a:pt x="3935079" y="3069529"/>
                  <a:pt x="3934015" y="3072325"/>
                  <a:pt x="3934015" y="3076318"/>
                </a:cubicBezTo>
                <a:cubicBezTo>
                  <a:pt x="3934015" y="3080445"/>
                  <a:pt x="3935079" y="3083240"/>
                  <a:pt x="3937610" y="3085769"/>
                </a:cubicBezTo>
                <a:cubicBezTo>
                  <a:pt x="3939207" y="3087368"/>
                  <a:pt x="3941735" y="3089230"/>
                  <a:pt x="3947593" y="3089230"/>
                </a:cubicBezTo>
                <a:cubicBezTo>
                  <a:pt x="3949591" y="3089230"/>
                  <a:pt x="3951453" y="3088964"/>
                  <a:pt x="3952920" y="3088298"/>
                </a:cubicBezTo>
                <a:cubicBezTo>
                  <a:pt x="3954383" y="3087766"/>
                  <a:pt x="3955714" y="3086835"/>
                  <a:pt x="3956646" y="3085902"/>
                </a:cubicBezTo>
                <a:cubicBezTo>
                  <a:pt x="3957712" y="3084838"/>
                  <a:pt x="3958644" y="3083373"/>
                  <a:pt x="3959309" y="3081776"/>
                </a:cubicBezTo>
                <a:cubicBezTo>
                  <a:pt x="3959975" y="3080178"/>
                  <a:pt x="3960374" y="3078315"/>
                  <a:pt x="3960374" y="3076318"/>
                </a:cubicBezTo>
                <a:cubicBezTo>
                  <a:pt x="3960374" y="3074454"/>
                  <a:pt x="3959975" y="3072724"/>
                  <a:pt x="3959309" y="3071126"/>
                </a:cubicBezTo>
                <a:cubicBezTo>
                  <a:pt x="3958644" y="3069396"/>
                  <a:pt x="3957712" y="3068065"/>
                  <a:pt x="3956646" y="3066867"/>
                </a:cubicBezTo>
                <a:cubicBezTo>
                  <a:pt x="3955581" y="3065802"/>
                  <a:pt x="3954251" y="3064870"/>
                  <a:pt x="3952653" y="3064204"/>
                </a:cubicBezTo>
                <a:cubicBezTo>
                  <a:pt x="3951188" y="3063539"/>
                  <a:pt x="3949591" y="3063272"/>
                  <a:pt x="3947593" y="3063272"/>
                </a:cubicBezTo>
                <a:close/>
                <a:moveTo>
                  <a:pt x="3729940" y="3063272"/>
                </a:moveTo>
                <a:cubicBezTo>
                  <a:pt x="3724083" y="3063272"/>
                  <a:pt x="3721554" y="3065269"/>
                  <a:pt x="3719954" y="3066867"/>
                </a:cubicBezTo>
                <a:cubicBezTo>
                  <a:pt x="3717424" y="3069529"/>
                  <a:pt x="3716362" y="3072325"/>
                  <a:pt x="3716362" y="3076318"/>
                </a:cubicBezTo>
                <a:cubicBezTo>
                  <a:pt x="3716362" y="3080445"/>
                  <a:pt x="3717424" y="3083240"/>
                  <a:pt x="3719954" y="3085769"/>
                </a:cubicBezTo>
                <a:cubicBezTo>
                  <a:pt x="3721554" y="3087368"/>
                  <a:pt x="3724083" y="3089230"/>
                  <a:pt x="3729940" y="3089230"/>
                </a:cubicBezTo>
                <a:cubicBezTo>
                  <a:pt x="3732070" y="3089230"/>
                  <a:pt x="3733801" y="3088964"/>
                  <a:pt x="3735265" y="3088298"/>
                </a:cubicBezTo>
                <a:cubicBezTo>
                  <a:pt x="3736729" y="3087766"/>
                  <a:pt x="3738062" y="3086835"/>
                  <a:pt x="3738992" y="3085902"/>
                </a:cubicBezTo>
                <a:cubicBezTo>
                  <a:pt x="3740057" y="3084838"/>
                  <a:pt x="3740990" y="3083373"/>
                  <a:pt x="3741655" y="3081776"/>
                </a:cubicBezTo>
                <a:cubicBezTo>
                  <a:pt x="3742320" y="3080178"/>
                  <a:pt x="3742720" y="3078315"/>
                  <a:pt x="3742720" y="3076318"/>
                </a:cubicBezTo>
                <a:cubicBezTo>
                  <a:pt x="3742720" y="3074454"/>
                  <a:pt x="3742320" y="3072724"/>
                  <a:pt x="3741655" y="3071126"/>
                </a:cubicBezTo>
                <a:cubicBezTo>
                  <a:pt x="3740990" y="3069396"/>
                  <a:pt x="3740057" y="3068065"/>
                  <a:pt x="3738992" y="3066867"/>
                </a:cubicBezTo>
                <a:cubicBezTo>
                  <a:pt x="3737928" y="3065802"/>
                  <a:pt x="3736596" y="3064870"/>
                  <a:pt x="3734999" y="3064204"/>
                </a:cubicBezTo>
                <a:cubicBezTo>
                  <a:pt x="3733534" y="3063539"/>
                  <a:pt x="3731937" y="3063272"/>
                  <a:pt x="3729940" y="3063272"/>
                </a:cubicBezTo>
                <a:close/>
                <a:moveTo>
                  <a:pt x="3512286" y="3063272"/>
                </a:moveTo>
                <a:cubicBezTo>
                  <a:pt x="3506429" y="3063272"/>
                  <a:pt x="3503899" y="3065269"/>
                  <a:pt x="3502299" y="3066867"/>
                </a:cubicBezTo>
                <a:cubicBezTo>
                  <a:pt x="3499770" y="3069529"/>
                  <a:pt x="3498706" y="3072325"/>
                  <a:pt x="3498706" y="3076318"/>
                </a:cubicBezTo>
                <a:cubicBezTo>
                  <a:pt x="3498706" y="3080445"/>
                  <a:pt x="3499770" y="3083240"/>
                  <a:pt x="3502299" y="3085769"/>
                </a:cubicBezTo>
                <a:cubicBezTo>
                  <a:pt x="3503899" y="3087368"/>
                  <a:pt x="3506429" y="3089230"/>
                  <a:pt x="3512286" y="3089230"/>
                </a:cubicBezTo>
                <a:cubicBezTo>
                  <a:pt x="3514416" y="3089230"/>
                  <a:pt x="3516147" y="3088964"/>
                  <a:pt x="3517611" y="3088298"/>
                </a:cubicBezTo>
                <a:cubicBezTo>
                  <a:pt x="3519076" y="3087766"/>
                  <a:pt x="3520407" y="3086835"/>
                  <a:pt x="3521339" y="3085902"/>
                </a:cubicBezTo>
                <a:cubicBezTo>
                  <a:pt x="3522404" y="3084838"/>
                  <a:pt x="3523335" y="3083373"/>
                  <a:pt x="3524002" y="3081776"/>
                </a:cubicBezTo>
                <a:cubicBezTo>
                  <a:pt x="3524667" y="3080178"/>
                  <a:pt x="3525067" y="3078315"/>
                  <a:pt x="3525067" y="3076318"/>
                </a:cubicBezTo>
                <a:cubicBezTo>
                  <a:pt x="3525067" y="3074454"/>
                  <a:pt x="3524667" y="3072724"/>
                  <a:pt x="3524002" y="3071126"/>
                </a:cubicBezTo>
                <a:cubicBezTo>
                  <a:pt x="3523335" y="3069396"/>
                  <a:pt x="3522404" y="3068065"/>
                  <a:pt x="3521339" y="3066867"/>
                </a:cubicBezTo>
                <a:cubicBezTo>
                  <a:pt x="3520273" y="3065802"/>
                  <a:pt x="3518942" y="3064870"/>
                  <a:pt x="3517346" y="3064204"/>
                </a:cubicBezTo>
                <a:cubicBezTo>
                  <a:pt x="3515882" y="3063539"/>
                  <a:pt x="3514283" y="3063272"/>
                  <a:pt x="3512286" y="3063272"/>
                </a:cubicBezTo>
                <a:close/>
                <a:moveTo>
                  <a:pt x="3294765" y="3063272"/>
                </a:moveTo>
                <a:cubicBezTo>
                  <a:pt x="3288908" y="3063272"/>
                  <a:pt x="3286377" y="3065269"/>
                  <a:pt x="3284780" y="3066867"/>
                </a:cubicBezTo>
                <a:cubicBezTo>
                  <a:pt x="3282250" y="3069529"/>
                  <a:pt x="3281186" y="3072325"/>
                  <a:pt x="3281186" y="3076318"/>
                </a:cubicBezTo>
                <a:cubicBezTo>
                  <a:pt x="3281186" y="3080445"/>
                  <a:pt x="3282250" y="3083240"/>
                  <a:pt x="3284780" y="3085769"/>
                </a:cubicBezTo>
                <a:cubicBezTo>
                  <a:pt x="3286377" y="3087368"/>
                  <a:pt x="3288908" y="3089230"/>
                  <a:pt x="3294765" y="3089230"/>
                </a:cubicBezTo>
                <a:cubicBezTo>
                  <a:pt x="3296762" y="3089230"/>
                  <a:pt x="3298493" y="3088964"/>
                  <a:pt x="3300091" y="3088298"/>
                </a:cubicBezTo>
                <a:cubicBezTo>
                  <a:pt x="3301555" y="3087766"/>
                  <a:pt x="3302887" y="3086835"/>
                  <a:pt x="3303818" y="3085902"/>
                </a:cubicBezTo>
                <a:cubicBezTo>
                  <a:pt x="3304883" y="3084838"/>
                  <a:pt x="3305815" y="3083373"/>
                  <a:pt x="3306481" y="3081776"/>
                </a:cubicBezTo>
                <a:cubicBezTo>
                  <a:pt x="3307146" y="3080178"/>
                  <a:pt x="3307545" y="3078315"/>
                  <a:pt x="3307545" y="3076318"/>
                </a:cubicBezTo>
                <a:cubicBezTo>
                  <a:pt x="3307545" y="3074454"/>
                  <a:pt x="3307146" y="3072724"/>
                  <a:pt x="3306481" y="3071126"/>
                </a:cubicBezTo>
                <a:cubicBezTo>
                  <a:pt x="3305815" y="3069396"/>
                  <a:pt x="3304883" y="3068065"/>
                  <a:pt x="3303818" y="3066867"/>
                </a:cubicBezTo>
                <a:cubicBezTo>
                  <a:pt x="3302753" y="3065802"/>
                  <a:pt x="3301421" y="3064870"/>
                  <a:pt x="3299825" y="3064204"/>
                </a:cubicBezTo>
                <a:cubicBezTo>
                  <a:pt x="3298361" y="3063539"/>
                  <a:pt x="3296762" y="3063272"/>
                  <a:pt x="3294765" y="3063272"/>
                </a:cubicBezTo>
                <a:close/>
                <a:moveTo>
                  <a:pt x="3077245" y="3063272"/>
                </a:moveTo>
                <a:cubicBezTo>
                  <a:pt x="3071387" y="3063272"/>
                  <a:pt x="3068858" y="3065269"/>
                  <a:pt x="3067262" y="3066867"/>
                </a:cubicBezTo>
                <a:cubicBezTo>
                  <a:pt x="3064597" y="3069529"/>
                  <a:pt x="3063532" y="3072325"/>
                  <a:pt x="3063532" y="3076318"/>
                </a:cubicBezTo>
                <a:cubicBezTo>
                  <a:pt x="3063532" y="3080445"/>
                  <a:pt x="3064597" y="3083240"/>
                  <a:pt x="3067127" y="3085769"/>
                </a:cubicBezTo>
                <a:cubicBezTo>
                  <a:pt x="3068725" y="3087368"/>
                  <a:pt x="3071254" y="3089230"/>
                  <a:pt x="3077111" y="3089230"/>
                </a:cubicBezTo>
                <a:cubicBezTo>
                  <a:pt x="3079109" y="3089230"/>
                  <a:pt x="3080839" y="3088964"/>
                  <a:pt x="3082569" y="3088298"/>
                </a:cubicBezTo>
                <a:cubicBezTo>
                  <a:pt x="3084035" y="3087766"/>
                  <a:pt x="3085366" y="3086835"/>
                  <a:pt x="3086297" y="3085902"/>
                </a:cubicBezTo>
                <a:cubicBezTo>
                  <a:pt x="3087362" y="3084838"/>
                  <a:pt x="3088294" y="3083373"/>
                  <a:pt x="3088959" y="3081776"/>
                </a:cubicBezTo>
                <a:cubicBezTo>
                  <a:pt x="3089624" y="3080178"/>
                  <a:pt x="3089892" y="3078315"/>
                  <a:pt x="3089892" y="3076318"/>
                </a:cubicBezTo>
                <a:cubicBezTo>
                  <a:pt x="3089892" y="3074454"/>
                  <a:pt x="3089624" y="3072724"/>
                  <a:pt x="3088959" y="3071126"/>
                </a:cubicBezTo>
                <a:cubicBezTo>
                  <a:pt x="3088294" y="3069396"/>
                  <a:pt x="3087362" y="3068065"/>
                  <a:pt x="3086297" y="3066867"/>
                </a:cubicBezTo>
                <a:cubicBezTo>
                  <a:pt x="3085233" y="3065802"/>
                  <a:pt x="3083901" y="3064870"/>
                  <a:pt x="3082304" y="3064204"/>
                </a:cubicBezTo>
                <a:cubicBezTo>
                  <a:pt x="3080839" y="3063539"/>
                  <a:pt x="3079241" y="3063272"/>
                  <a:pt x="3077245" y="3063272"/>
                </a:cubicBezTo>
                <a:close/>
                <a:moveTo>
                  <a:pt x="2859458" y="3063272"/>
                </a:moveTo>
                <a:cubicBezTo>
                  <a:pt x="2853600" y="3063272"/>
                  <a:pt x="2851071" y="3065269"/>
                  <a:pt x="2849472" y="3066867"/>
                </a:cubicBezTo>
                <a:cubicBezTo>
                  <a:pt x="2846940" y="3069529"/>
                  <a:pt x="2845877" y="3072325"/>
                  <a:pt x="2845877" y="3076318"/>
                </a:cubicBezTo>
                <a:cubicBezTo>
                  <a:pt x="2845877" y="3080445"/>
                  <a:pt x="2846940" y="3083240"/>
                  <a:pt x="2849472" y="3085769"/>
                </a:cubicBezTo>
                <a:cubicBezTo>
                  <a:pt x="2851071" y="3087368"/>
                  <a:pt x="2853600" y="3089230"/>
                  <a:pt x="2859458" y="3089230"/>
                </a:cubicBezTo>
                <a:cubicBezTo>
                  <a:pt x="2861454" y="3089230"/>
                  <a:pt x="2863319" y="3088964"/>
                  <a:pt x="2864783" y="3088298"/>
                </a:cubicBezTo>
                <a:cubicBezTo>
                  <a:pt x="2866381" y="3087766"/>
                  <a:pt x="2867579" y="3086835"/>
                  <a:pt x="2868510" y="3085902"/>
                </a:cubicBezTo>
                <a:cubicBezTo>
                  <a:pt x="2869575" y="3084838"/>
                  <a:pt x="2870507" y="3083373"/>
                  <a:pt x="2871173" y="3081776"/>
                </a:cubicBezTo>
                <a:cubicBezTo>
                  <a:pt x="2871705" y="3080178"/>
                  <a:pt x="2872104" y="3078315"/>
                  <a:pt x="2872104" y="3076318"/>
                </a:cubicBezTo>
                <a:cubicBezTo>
                  <a:pt x="2872104" y="3074454"/>
                  <a:pt x="2871838" y="3072724"/>
                  <a:pt x="2871173" y="3071126"/>
                </a:cubicBezTo>
                <a:cubicBezTo>
                  <a:pt x="2870507" y="3069396"/>
                  <a:pt x="2869575" y="3068065"/>
                  <a:pt x="2868510" y="3066867"/>
                </a:cubicBezTo>
                <a:cubicBezTo>
                  <a:pt x="2867446" y="3065802"/>
                  <a:pt x="2866114" y="3064870"/>
                  <a:pt x="2864517" y="3064204"/>
                </a:cubicBezTo>
                <a:cubicBezTo>
                  <a:pt x="2863053" y="3063539"/>
                  <a:pt x="2861454" y="3063272"/>
                  <a:pt x="2859458" y="3063272"/>
                </a:cubicBezTo>
                <a:close/>
                <a:moveTo>
                  <a:pt x="2641803" y="3063272"/>
                </a:moveTo>
                <a:cubicBezTo>
                  <a:pt x="2635946" y="3063272"/>
                  <a:pt x="2633417" y="3065269"/>
                  <a:pt x="2631821" y="3066867"/>
                </a:cubicBezTo>
                <a:cubicBezTo>
                  <a:pt x="2629290" y="3069529"/>
                  <a:pt x="2628226" y="3072325"/>
                  <a:pt x="2628226" y="3076318"/>
                </a:cubicBezTo>
                <a:cubicBezTo>
                  <a:pt x="2628226" y="3080445"/>
                  <a:pt x="2629290" y="3083240"/>
                  <a:pt x="2631821" y="3085769"/>
                </a:cubicBezTo>
                <a:cubicBezTo>
                  <a:pt x="2633417" y="3087368"/>
                  <a:pt x="2635946" y="3089230"/>
                  <a:pt x="2641803" y="3089230"/>
                </a:cubicBezTo>
                <a:cubicBezTo>
                  <a:pt x="2643800" y="3089230"/>
                  <a:pt x="2645665" y="3088964"/>
                  <a:pt x="2647129" y="3088298"/>
                </a:cubicBezTo>
                <a:cubicBezTo>
                  <a:pt x="2648726" y="3087766"/>
                  <a:pt x="2649924" y="3086835"/>
                  <a:pt x="2650856" y="3085902"/>
                </a:cubicBezTo>
                <a:cubicBezTo>
                  <a:pt x="2651921" y="3084838"/>
                  <a:pt x="2652853" y="3083373"/>
                  <a:pt x="2653519" y="3081776"/>
                </a:cubicBezTo>
                <a:cubicBezTo>
                  <a:pt x="2654051" y="3080178"/>
                  <a:pt x="2654450" y="3078315"/>
                  <a:pt x="2654450" y="3076318"/>
                </a:cubicBezTo>
                <a:cubicBezTo>
                  <a:pt x="2654450" y="3074454"/>
                  <a:pt x="2654184" y="3072724"/>
                  <a:pt x="2653519" y="3071126"/>
                </a:cubicBezTo>
                <a:cubicBezTo>
                  <a:pt x="2652853" y="3069396"/>
                  <a:pt x="2651921" y="3068065"/>
                  <a:pt x="2650856" y="3066867"/>
                </a:cubicBezTo>
                <a:cubicBezTo>
                  <a:pt x="2649791" y="3065802"/>
                  <a:pt x="2648460" y="3064870"/>
                  <a:pt x="2646863" y="3064204"/>
                </a:cubicBezTo>
                <a:cubicBezTo>
                  <a:pt x="2645398" y="3063539"/>
                  <a:pt x="2643800" y="3063272"/>
                  <a:pt x="2641803" y="3063272"/>
                </a:cubicBezTo>
                <a:close/>
                <a:moveTo>
                  <a:pt x="2424149" y="3063272"/>
                </a:moveTo>
                <a:cubicBezTo>
                  <a:pt x="2418293" y="3063272"/>
                  <a:pt x="2415764" y="3065269"/>
                  <a:pt x="2414166" y="3066867"/>
                </a:cubicBezTo>
                <a:cubicBezTo>
                  <a:pt x="2411636" y="3069529"/>
                  <a:pt x="2410572" y="3072325"/>
                  <a:pt x="2410572" y="3076318"/>
                </a:cubicBezTo>
                <a:cubicBezTo>
                  <a:pt x="2410572" y="3080445"/>
                  <a:pt x="2411636" y="3083240"/>
                  <a:pt x="2414166" y="3085769"/>
                </a:cubicBezTo>
                <a:cubicBezTo>
                  <a:pt x="2415764" y="3087368"/>
                  <a:pt x="2418293" y="3089230"/>
                  <a:pt x="2424149" y="3089230"/>
                </a:cubicBezTo>
                <a:cubicBezTo>
                  <a:pt x="2426280" y="3089230"/>
                  <a:pt x="2428011" y="3088964"/>
                  <a:pt x="2429475" y="3088298"/>
                </a:cubicBezTo>
                <a:cubicBezTo>
                  <a:pt x="2431073" y="3087766"/>
                  <a:pt x="2432271" y="3086835"/>
                  <a:pt x="2433202" y="3085902"/>
                </a:cubicBezTo>
                <a:cubicBezTo>
                  <a:pt x="2434267" y="3084838"/>
                  <a:pt x="2435199" y="3083373"/>
                  <a:pt x="2435865" y="3081776"/>
                </a:cubicBezTo>
                <a:cubicBezTo>
                  <a:pt x="2436397" y="3080178"/>
                  <a:pt x="2436796" y="3078315"/>
                  <a:pt x="2436796" y="3076318"/>
                </a:cubicBezTo>
                <a:cubicBezTo>
                  <a:pt x="2436796" y="3074454"/>
                  <a:pt x="2436530" y="3072724"/>
                  <a:pt x="2435865" y="3071126"/>
                </a:cubicBezTo>
                <a:cubicBezTo>
                  <a:pt x="2435199" y="3069396"/>
                  <a:pt x="2434267" y="3068065"/>
                  <a:pt x="2433202" y="3066867"/>
                </a:cubicBezTo>
                <a:cubicBezTo>
                  <a:pt x="2432138" y="3065802"/>
                  <a:pt x="2430806" y="3064870"/>
                  <a:pt x="2429209" y="3064204"/>
                </a:cubicBezTo>
                <a:cubicBezTo>
                  <a:pt x="2427745" y="3063539"/>
                  <a:pt x="2426147" y="3063272"/>
                  <a:pt x="2424149" y="3063272"/>
                </a:cubicBezTo>
                <a:close/>
                <a:moveTo>
                  <a:pt x="2206496" y="3063272"/>
                </a:moveTo>
                <a:cubicBezTo>
                  <a:pt x="2200639" y="3063272"/>
                  <a:pt x="2198110" y="3065269"/>
                  <a:pt x="2196512" y="3066867"/>
                </a:cubicBezTo>
                <a:cubicBezTo>
                  <a:pt x="2193982" y="3069529"/>
                  <a:pt x="2192918" y="3072325"/>
                  <a:pt x="2192918" y="3076318"/>
                </a:cubicBezTo>
                <a:cubicBezTo>
                  <a:pt x="2192918" y="3080445"/>
                  <a:pt x="2193982" y="3083240"/>
                  <a:pt x="2196512" y="3085769"/>
                </a:cubicBezTo>
                <a:cubicBezTo>
                  <a:pt x="2198110" y="3087368"/>
                  <a:pt x="2200639" y="3089230"/>
                  <a:pt x="2206496" y="3089230"/>
                </a:cubicBezTo>
                <a:cubicBezTo>
                  <a:pt x="2208625" y="3089230"/>
                  <a:pt x="2210357" y="3088964"/>
                  <a:pt x="2211821" y="3088298"/>
                </a:cubicBezTo>
                <a:cubicBezTo>
                  <a:pt x="2213418" y="3087766"/>
                  <a:pt x="2214616" y="3086835"/>
                  <a:pt x="2215548" y="3085902"/>
                </a:cubicBezTo>
                <a:cubicBezTo>
                  <a:pt x="2216613" y="3084838"/>
                  <a:pt x="2217545" y="3083373"/>
                  <a:pt x="2218211" y="3081776"/>
                </a:cubicBezTo>
                <a:cubicBezTo>
                  <a:pt x="2218743" y="3080178"/>
                  <a:pt x="2219142" y="3078315"/>
                  <a:pt x="2219142" y="3076318"/>
                </a:cubicBezTo>
                <a:cubicBezTo>
                  <a:pt x="2219142" y="3074454"/>
                  <a:pt x="2218876" y="3072724"/>
                  <a:pt x="2218211" y="3071126"/>
                </a:cubicBezTo>
                <a:cubicBezTo>
                  <a:pt x="2217545" y="3069396"/>
                  <a:pt x="2216613" y="3068065"/>
                  <a:pt x="2215548" y="3066867"/>
                </a:cubicBezTo>
                <a:cubicBezTo>
                  <a:pt x="2214483" y="3065802"/>
                  <a:pt x="2213152" y="3064870"/>
                  <a:pt x="2211555" y="3064204"/>
                </a:cubicBezTo>
                <a:cubicBezTo>
                  <a:pt x="2210090" y="3063539"/>
                  <a:pt x="2208493" y="3063272"/>
                  <a:pt x="2206496" y="3063272"/>
                </a:cubicBezTo>
                <a:close/>
                <a:moveTo>
                  <a:pt x="1988975" y="3063272"/>
                </a:moveTo>
                <a:cubicBezTo>
                  <a:pt x="1983117" y="3063272"/>
                  <a:pt x="1980588" y="3065269"/>
                  <a:pt x="1978992" y="3066867"/>
                </a:cubicBezTo>
                <a:cubicBezTo>
                  <a:pt x="1976461" y="3069529"/>
                  <a:pt x="1975397" y="3072325"/>
                  <a:pt x="1975397" y="3076318"/>
                </a:cubicBezTo>
                <a:cubicBezTo>
                  <a:pt x="1975397" y="3080445"/>
                  <a:pt x="1976461" y="3083240"/>
                  <a:pt x="1978992" y="3085769"/>
                </a:cubicBezTo>
                <a:cubicBezTo>
                  <a:pt x="1980588" y="3087368"/>
                  <a:pt x="1983117" y="3089230"/>
                  <a:pt x="1988975" y="3089230"/>
                </a:cubicBezTo>
                <a:cubicBezTo>
                  <a:pt x="1990971" y="3089230"/>
                  <a:pt x="1992703" y="3088964"/>
                  <a:pt x="1994299" y="3088298"/>
                </a:cubicBezTo>
                <a:cubicBezTo>
                  <a:pt x="1995897" y="3087766"/>
                  <a:pt x="1997096" y="3086835"/>
                  <a:pt x="1998027" y="3085902"/>
                </a:cubicBezTo>
                <a:cubicBezTo>
                  <a:pt x="1999092" y="3084838"/>
                  <a:pt x="2000024" y="3083373"/>
                  <a:pt x="2000690" y="3081776"/>
                </a:cubicBezTo>
                <a:cubicBezTo>
                  <a:pt x="2001222" y="3080178"/>
                  <a:pt x="2001620" y="3078315"/>
                  <a:pt x="2001620" y="3076318"/>
                </a:cubicBezTo>
                <a:cubicBezTo>
                  <a:pt x="2001620" y="3074454"/>
                  <a:pt x="2001355" y="3072724"/>
                  <a:pt x="2000690" y="3071126"/>
                </a:cubicBezTo>
                <a:cubicBezTo>
                  <a:pt x="2000024" y="3069396"/>
                  <a:pt x="1999092" y="3068065"/>
                  <a:pt x="1998027" y="3066867"/>
                </a:cubicBezTo>
                <a:cubicBezTo>
                  <a:pt x="1996963" y="3065802"/>
                  <a:pt x="1995631" y="3064870"/>
                  <a:pt x="1994033" y="3064204"/>
                </a:cubicBezTo>
                <a:cubicBezTo>
                  <a:pt x="1992569" y="3063539"/>
                  <a:pt x="1990971" y="3063272"/>
                  <a:pt x="1988975" y="3063272"/>
                </a:cubicBezTo>
                <a:close/>
                <a:moveTo>
                  <a:pt x="1771336" y="3063272"/>
                </a:moveTo>
                <a:cubicBezTo>
                  <a:pt x="1765479" y="3063272"/>
                  <a:pt x="1762950" y="3065269"/>
                  <a:pt x="1761353" y="3066867"/>
                </a:cubicBezTo>
                <a:cubicBezTo>
                  <a:pt x="1758824" y="3069529"/>
                  <a:pt x="1757759" y="3072325"/>
                  <a:pt x="1757759" y="3076318"/>
                </a:cubicBezTo>
                <a:cubicBezTo>
                  <a:pt x="1757759" y="3080445"/>
                  <a:pt x="1758824" y="3083240"/>
                  <a:pt x="1761353" y="3085769"/>
                </a:cubicBezTo>
                <a:cubicBezTo>
                  <a:pt x="1762950" y="3087368"/>
                  <a:pt x="1765479" y="3089230"/>
                  <a:pt x="1771336" y="3089230"/>
                </a:cubicBezTo>
                <a:cubicBezTo>
                  <a:pt x="1773333" y="3089230"/>
                  <a:pt x="1775197" y="3088964"/>
                  <a:pt x="1776661" y="3088298"/>
                </a:cubicBezTo>
                <a:cubicBezTo>
                  <a:pt x="1778125" y="3087766"/>
                  <a:pt x="1779455" y="3086835"/>
                  <a:pt x="1780388" y="3085902"/>
                </a:cubicBezTo>
                <a:cubicBezTo>
                  <a:pt x="1781452" y="3084838"/>
                  <a:pt x="1782384" y="3083373"/>
                  <a:pt x="1783050" y="3081776"/>
                </a:cubicBezTo>
                <a:cubicBezTo>
                  <a:pt x="1783715" y="3080178"/>
                  <a:pt x="1784115" y="3078315"/>
                  <a:pt x="1784115" y="3076318"/>
                </a:cubicBezTo>
                <a:cubicBezTo>
                  <a:pt x="1784115" y="3074454"/>
                  <a:pt x="1783715" y="3072724"/>
                  <a:pt x="1783050" y="3071126"/>
                </a:cubicBezTo>
                <a:cubicBezTo>
                  <a:pt x="1782384" y="3069396"/>
                  <a:pt x="1781452" y="3068065"/>
                  <a:pt x="1780388" y="3066867"/>
                </a:cubicBezTo>
                <a:cubicBezTo>
                  <a:pt x="1779323" y="3065802"/>
                  <a:pt x="1777992" y="3064870"/>
                  <a:pt x="1776395" y="3064204"/>
                </a:cubicBezTo>
                <a:cubicBezTo>
                  <a:pt x="1774930" y="3063539"/>
                  <a:pt x="1773333" y="3063272"/>
                  <a:pt x="1771336" y="3063272"/>
                </a:cubicBezTo>
                <a:close/>
                <a:moveTo>
                  <a:pt x="1553695" y="3063272"/>
                </a:moveTo>
                <a:cubicBezTo>
                  <a:pt x="1547838" y="3063272"/>
                  <a:pt x="1545309" y="3065269"/>
                  <a:pt x="1543712" y="3066867"/>
                </a:cubicBezTo>
                <a:cubicBezTo>
                  <a:pt x="1541182" y="3069529"/>
                  <a:pt x="1540118" y="3072325"/>
                  <a:pt x="1540118" y="3076318"/>
                </a:cubicBezTo>
                <a:cubicBezTo>
                  <a:pt x="1540118" y="3080445"/>
                  <a:pt x="1541182" y="3083240"/>
                  <a:pt x="1543712" y="3085769"/>
                </a:cubicBezTo>
                <a:cubicBezTo>
                  <a:pt x="1545309" y="3087368"/>
                  <a:pt x="1547838" y="3089230"/>
                  <a:pt x="1553695" y="3089230"/>
                </a:cubicBezTo>
                <a:cubicBezTo>
                  <a:pt x="1555692" y="3089230"/>
                  <a:pt x="1557556" y="3088964"/>
                  <a:pt x="1559020" y="3088298"/>
                </a:cubicBezTo>
                <a:cubicBezTo>
                  <a:pt x="1560484" y="3087766"/>
                  <a:pt x="1561816" y="3086835"/>
                  <a:pt x="1562747" y="3085902"/>
                </a:cubicBezTo>
                <a:cubicBezTo>
                  <a:pt x="1563812" y="3084838"/>
                  <a:pt x="1564744" y="3083373"/>
                  <a:pt x="1565410" y="3081776"/>
                </a:cubicBezTo>
                <a:cubicBezTo>
                  <a:pt x="1566075" y="3080178"/>
                  <a:pt x="1566475" y="3078315"/>
                  <a:pt x="1566475" y="3076318"/>
                </a:cubicBezTo>
                <a:cubicBezTo>
                  <a:pt x="1566475" y="3074454"/>
                  <a:pt x="1566075" y="3072724"/>
                  <a:pt x="1565410" y="3071126"/>
                </a:cubicBezTo>
                <a:cubicBezTo>
                  <a:pt x="1564744" y="3069396"/>
                  <a:pt x="1563812" y="3068065"/>
                  <a:pt x="1562747" y="3066867"/>
                </a:cubicBezTo>
                <a:cubicBezTo>
                  <a:pt x="1561682" y="3065802"/>
                  <a:pt x="1560351" y="3064870"/>
                  <a:pt x="1558754" y="3064204"/>
                </a:cubicBezTo>
                <a:cubicBezTo>
                  <a:pt x="1557290" y="3063539"/>
                  <a:pt x="1555692" y="3063272"/>
                  <a:pt x="1553695" y="3063272"/>
                </a:cubicBezTo>
                <a:close/>
                <a:moveTo>
                  <a:pt x="1336051" y="3063272"/>
                </a:moveTo>
                <a:cubicBezTo>
                  <a:pt x="1330193" y="3063272"/>
                  <a:pt x="1327664" y="3065269"/>
                  <a:pt x="1326068" y="3066867"/>
                </a:cubicBezTo>
                <a:cubicBezTo>
                  <a:pt x="1323537" y="3069529"/>
                  <a:pt x="1322473" y="3072325"/>
                  <a:pt x="1322473" y="3076318"/>
                </a:cubicBezTo>
                <a:cubicBezTo>
                  <a:pt x="1322473" y="3080445"/>
                  <a:pt x="1323537" y="3083240"/>
                  <a:pt x="1326068" y="3085769"/>
                </a:cubicBezTo>
                <a:cubicBezTo>
                  <a:pt x="1327664" y="3087368"/>
                  <a:pt x="1330193" y="3089230"/>
                  <a:pt x="1336051" y="3089230"/>
                </a:cubicBezTo>
                <a:cubicBezTo>
                  <a:pt x="1338181" y="3089230"/>
                  <a:pt x="1339911" y="3088964"/>
                  <a:pt x="1341377" y="3088298"/>
                </a:cubicBezTo>
                <a:cubicBezTo>
                  <a:pt x="1342841" y="3087766"/>
                  <a:pt x="1344172" y="3086835"/>
                  <a:pt x="1345104" y="3085902"/>
                </a:cubicBezTo>
                <a:cubicBezTo>
                  <a:pt x="1346168" y="3084838"/>
                  <a:pt x="1347102" y="3083373"/>
                  <a:pt x="1347767" y="3081776"/>
                </a:cubicBezTo>
                <a:cubicBezTo>
                  <a:pt x="1348432" y="3080178"/>
                  <a:pt x="1348833" y="3078315"/>
                  <a:pt x="1348833" y="3076318"/>
                </a:cubicBezTo>
                <a:cubicBezTo>
                  <a:pt x="1348833" y="3074454"/>
                  <a:pt x="1348432" y="3072724"/>
                  <a:pt x="1347767" y="3071126"/>
                </a:cubicBezTo>
                <a:cubicBezTo>
                  <a:pt x="1347102" y="3069396"/>
                  <a:pt x="1346168" y="3068065"/>
                  <a:pt x="1345104" y="3066867"/>
                </a:cubicBezTo>
                <a:cubicBezTo>
                  <a:pt x="1344039" y="3065802"/>
                  <a:pt x="1342709" y="3064870"/>
                  <a:pt x="1341110" y="3064204"/>
                </a:cubicBezTo>
                <a:cubicBezTo>
                  <a:pt x="1339646" y="3063539"/>
                  <a:pt x="1338047" y="3063272"/>
                  <a:pt x="1336051" y="3063272"/>
                </a:cubicBezTo>
                <a:close/>
                <a:moveTo>
                  <a:pt x="1118539" y="3063272"/>
                </a:moveTo>
                <a:cubicBezTo>
                  <a:pt x="1112681" y="3063272"/>
                  <a:pt x="1110152" y="3065269"/>
                  <a:pt x="1108554" y="3066867"/>
                </a:cubicBezTo>
                <a:cubicBezTo>
                  <a:pt x="1105892" y="3069529"/>
                  <a:pt x="1104827" y="3072325"/>
                  <a:pt x="1104827" y="3076318"/>
                </a:cubicBezTo>
                <a:cubicBezTo>
                  <a:pt x="1104827" y="3080445"/>
                  <a:pt x="1105892" y="3083240"/>
                  <a:pt x="1108422" y="3085769"/>
                </a:cubicBezTo>
                <a:cubicBezTo>
                  <a:pt x="1110019" y="3087368"/>
                  <a:pt x="1112548" y="3089230"/>
                  <a:pt x="1118406" y="3089230"/>
                </a:cubicBezTo>
                <a:cubicBezTo>
                  <a:pt x="1120536" y="3089230"/>
                  <a:pt x="1122268" y="3088964"/>
                  <a:pt x="1123863" y="3088298"/>
                </a:cubicBezTo>
                <a:cubicBezTo>
                  <a:pt x="1125328" y="3087766"/>
                  <a:pt x="1126662" y="3086835"/>
                  <a:pt x="1127592" y="3085902"/>
                </a:cubicBezTo>
                <a:cubicBezTo>
                  <a:pt x="1128657" y="3084838"/>
                  <a:pt x="1129589" y="3083373"/>
                  <a:pt x="1130255" y="3081776"/>
                </a:cubicBezTo>
                <a:cubicBezTo>
                  <a:pt x="1130920" y="3080178"/>
                  <a:pt x="1131321" y="3078315"/>
                  <a:pt x="1131321" y="3076318"/>
                </a:cubicBezTo>
                <a:cubicBezTo>
                  <a:pt x="1131321" y="3074454"/>
                  <a:pt x="1130920" y="3072724"/>
                  <a:pt x="1130255" y="3071126"/>
                </a:cubicBezTo>
                <a:cubicBezTo>
                  <a:pt x="1129589" y="3069396"/>
                  <a:pt x="1128657" y="3068065"/>
                  <a:pt x="1127592" y="3066867"/>
                </a:cubicBezTo>
                <a:cubicBezTo>
                  <a:pt x="1126527" y="3065802"/>
                  <a:pt x="1125196" y="3064870"/>
                  <a:pt x="1123597" y="3064204"/>
                </a:cubicBezTo>
                <a:cubicBezTo>
                  <a:pt x="1122134" y="3063539"/>
                  <a:pt x="1120536" y="3063272"/>
                  <a:pt x="1118539" y="3063272"/>
                </a:cubicBezTo>
                <a:close/>
                <a:moveTo>
                  <a:pt x="901027" y="3063272"/>
                </a:moveTo>
                <a:cubicBezTo>
                  <a:pt x="895169" y="3063272"/>
                  <a:pt x="892640" y="3065269"/>
                  <a:pt x="891043" y="3066867"/>
                </a:cubicBezTo>
                <a:cubicBezTo>
                  <a:pt x="888380" y="3069529"/>
                  <a:pt x="887316" y="3072325"/>
                  <a:pt x="887316" y="3076318"/>
                </a:cubicBezTo>
                <a:cubicBezTo>
                  <a:pt x="887316" y="3080445"/>
                  <a:pt x="888380" y="3083240"/>
                  <a:pt x="890910" y="3085769"/>
                </a:cubicBezTo>
                <a:cubicBezTo>
                  <a:pt x="892507" y="3087368"/>
                  <a:pt x="895036" y="3089230"/>
                  <a:pt x="900893" y="3089230"/>
                </a:cubicBezTo>
                <a:cubicBezTo>
                  <a:pt x="902890" y="3089230"/>
                  <a:pt x="904621" y="3088964"/>
                  <a:pt x="906351" y="3088298"/>
                </a:cubicBezTo>
                <a:cubicBezTo>
                  <a:pt x="907816" y="3087766"/>
                  <a:pt x="909147" y="3086835"/>
                  <a:pt x="910080" y="3085902"/>
                </a:cubicBezTo>
                <a:cubicBezTo>
                  <a:pt x="911143" y="3084838"/>
                  <a:pt x="912076" y="3083373"/>
                  <a:pt x="912741" y="3081776"/>
                </a:cubicBezTo>
                <a:cubicBezTo>
                  <a:pt x="913406" y="3080178"/>
                  <a:pt x="913807" y="3078315"/>
                  <a:pt x="913807" y="3076318"/>
                </a:cubicBezTo>
                <a:cubicBezTo>
                  <a:pt x="913807" y="3074454"/>
                  <a:pt x="913406" y="3072724"/>
                  <a:pt x="912741" y="3071126"/>
                </a:cubicBezTo>
                <a:cubicBezTo>
                  <a:pt x="912076" y="3069396"/>
                  <a:pt x="911143" y="3068065"/>
                  <a:pt x="910080" y="3066867"/>
                </a:cubicBezTo>
                <a:cubicBezTo>
                  <a:pt x="909014" y="3065802"/>
                  <a:pt x="907683" y="3064870"/>
                  <a:pt x="906085" y="3064204"/>
                </a:cubicBezTo>
                <a:cubicBezTo>
                  <a:pt x="904621" y="3063539"/>
                  <a:pt x="903023" y="3063272"/>
                  <a:pt x="901027" y="3063272"/>
                </a:cubicBezTo>
                <a:close/>
                <a:moveTo>
                  <a:pt x="683251" y="3063272"/>
                </a:moveTo>
                <a:cubicBezTo>
                  <a:pt x="677394" y="3063272"/>
                  <a:pt x="674865" y="3065269"/>
                  <a:pt x="673268" y="3066867"/>
                </a:cubicBezTo>
                <a:cubicBezTo>
                  <a:pt x="670738" y="3069529"/>
                  <a:pt x="669674" y="3072325"/>
                  <a:pt x="669674" y="3076318"/>
                </a:cubicBezTo>
                <a:cubicBezTo>
                  <a:pt x="669674" y="3080445"/>
                  <a:pt x="670738" y="3083240"/>
                  <a:pt x="673268" y="3085769"/>
                </a:cubicBezTo>
                <a:cubicBezTo>
                  <a:pt x="674865" y="3087368"/>
                  <a:pt x="677394" y="3089230"/>
                  <a:pt x="683251" y="3089230"/>
                </a:cubicBezTo>
                <a:cubicBezTo>
                  <a:pt x="685248" y="3089230"/>
                  <a:pt x="687112" y="3088964"/>
                  <a:pt x="688576" y="3088298"/>
                </a:cubicBezTo>
                <a:cubicBezTo>
                  <a:pt x="690040" y="3087766"/>
                  <a:pt x="691372" y="3086835"/>
                  <a:pt x="692303" y="3085902"/>
                </a:cubicBezTo>
                <a:cubicBezTo>
                  <a:pt x="693368" y="3084838"/>
                  <a:pt x="694300" y="3083373"/>
                  <a:pt x="694966" y="3081776"/>
                </a:cubicBezTo>
                <a:cubicBezTo>
                  <a:pt x="695631" y="3080178"/>
                  <a:pt x="696031" y="3078315"/>
                  <a:pt x="696031" y="3076318"/>
                </a:cubicBezTo>
                <a:cubicBezTo>
                  <a:pt x="696031" y="3074454"/>
                  <a:pt x="695631" y="3072724"/>
                  <a:pt x="694966" y="3071126"/>
                </a:cubicBezTo>
                <a:cubicBezTo>
                  <a:pt x="694300" y="3069396"/>
                  <a:pt x="693368" y="3068065"/>
                  <a:pt x="692303" y="3066867"/>
                </a:cubicBezTo>
                <a:cubicBezTo>
                  <a:pt x="691238" y="3065802"/>
                  <a:pt x="689907" y="3064870"/>
                  <a:pt x="688310" y="3064204"/>
                </a:cubicBezTo>
                <a:cubicBezTo>
                  <a:pt x="686846" y="3063539"/>
                  <a:pt x="685248" y="3063272"/>
                  <a:pt x="683251" y="3063272"/>
                </a:cubicBezTo>
                <a:close/>
                <a:moveTo>
                  <a:pt x="465608" y="3063272"/>
                </a:moveTo>
                <a:cubicBezTo>
                  <a:pt x="459751" y="3063272"/>
                  <a:pt x="457222" y="3065269"/>
                  <a:pt x="455625" y="3066867"/>
                </a:cubicBezTo>
                <a:cubicBezTo>
                  <a:pt x="453095" y="3069529"/>
                  <a:pt x="452031" y="3072325"/>
                  <a:pt x="452031" y="3076318"/>
                </a:cubicBezTo>
                <a:cubicBezTo>
                  <a:pt x="452031" y="3080445"/>
                  <a:pt x="453095" y="3083240"/>
                  <a:pt x="455625" y="3085769"/>
                </a:cubicBezTo>
                <a:cubicBezTo>
                  <a:pt x="457222" y="3087368"/>
                  <a:pt x="459751" y="3089230"/>
                  <a:pt x="465608" y="3089230"/>
                </a:cubicBezTo>
                <a:cubicBezTo>
                  <a:pt x="467605" y="3089230"/>
                  <a:pt x="469469" y="3088964"/>
                  <a:pt x="470933" y="3088298"/>
                </a:cubicBezTo>
                <a:cubicBezTo>
                  <a:pt x="472397" y="3087766"/>
                  <a:pt x="473729" y="3086835"/>
                  <a:pt x="474660" y="3085902"/>
                </a:cubicBezTo>
                <a:cubicBezTo>
                  <a:pt x="475725" y="3084838"/>
                  <a:pt x="476657" y="3083373"/>
                  <a:pt x="477324" y="3081776"/>
                </a:cubicBezTo>
                <a:cubicBezTo>
                  <a:pt x="477989" y="3080178"/>
                  <a:pt x="478388" y="3078315"/>
                  <a:pt x="478388" y="3076318"/>
                </a:cubicBezTo>
                <a:cubicBezTo>
                  <a:pt x="478388" y="3074454"/>
                  <a:pt x="477989" y="3072724"/>
                  <a:pt x="477324" y="3071126"/>
                </a:cubicBezTo>
                <a:cubicBezTo>
                  <a:pt x="476657" y="3069396"/>
                  <a:pt x="475725" y="3068065"/>
                  <a:pt x="474660" y="3066867"/>
                </a:cubicBezTo>
                <a:cubicBezTo>
                  <a:pt x="473596" y="3065802"/>
                  <a:pt x="472264" y="3064870"/>
                  <a:pt x="470668" y="3064204"/>
                </a:cubicBezTo>
                <a:cubicBezTo>
                  <a:pt x="469203" y="3063539"/>
                  <a:pt x="467605" y="3063272"/>
                  <a:pt x="465608" y="3063272"/>
                </a:cubicBezTo>
                <a:close/>
                <a:moveTo>
                  <a:pt x="247965" y="3063272"/>
                </a:moveTo>
                <a:cubicBezTo>
                  <a:pt x="242108" y="3063272"/>
                  <a:pt x="239579" y="3065269"/>
                  <a:pt x="237983" y="3066867"/>
                </a:cubicBezTo>
                <a:cubicBezTo>
                  <a:pt x="235453" y="3069529"/>
                  <a:pt x="234389" y="3072325"/>
                  <a:pt x="234389" y="3076318"/>
                </a:cubicBezTo>
                <a:cubicBezTo>
                  <a:pt x="234389" y="3080445"/>
                  <a:pt x="235453" y="3083240"/>
                  <a:pt x="237983" y="3085769"/>
                </a:cubicBezTo>
                <a:cubicBezTo>
                  <a:pt x="239579" y="3087368"/>
                  <a:pt x="242108" y="3089230"/>
                  <a:pt x="247965" y="3089230"/>
                </a:cubicBezTo>
                <a:cubicBezTo>
                  <a:pt x="250095" y="3089230"/>
                  <a:pt x="251826" y="3088964"/>
                  <a:pt x="253290" y="3088298"/>
                </a:cubicBezTo>
                <a:cubicBezTo>
                  <a:pt x="254754" y="3087766"/>
                  <a:pt x="256085" y="3086835"/>
                  <a:pt x="257017" y="3085902"/>
                </a:cubicBezTo>
                <a:cubicBezTo>
                  <a:pt x="258082" y="3084838"/>
                  <a:pt x="259014" y="3083373"/>
                  <a:pt x="259680" y="3081776"/>
                </a:cubicBezTo>
                <a:cubicBezTo>
                  <a:pt x="260345" y="3080178"/>
                  <a:pt x="260745" y="3078315"/>
                  <a:pt x="260745" y="3076318"/>
                </a:cubicBezTo>
                <a:cubicBezTo>
                  <a:pt x="260745" y="3074454"/>
                  <a:pt x="260345" y="3072724"/>
                  <a:pt x="259680" y="3071126"/>
                </a:cubicBezTo>
                <a:cubicBezTo>
                  <a:pt x="259014" y="3069396"/>
                  <a:pt x="258082" y="3068065"/>
                  <a:pt x="257017" y="3066867"/>
                </a:cubicBezTo>
                <a:cubicBezTo>
                  <a:pt x="255952" y="3065802"/>
                  <a:pt x="254621" y="3064870"/>
                  <a:pt x="253024" y="3064204"/>
                </a:cubicBezTo>
                <a:cubicBezTo>
                  <a:pt x="251559" y="3063539"/>
                  <a:pt x="249962" y="3063272"/>
                  <a:pt x="247965" y="3063272"/>
                </a:cubicBezTo>
                <a:close/>
                <a:moveTo>
                  <a:pt x="30322" y="3063272"/>
                </a:moveTo>
                <a:cubicBezTo>
                  <a:pt x="24465" y="3063272"/>
                  <a:pt x="21936" y="3065269"/>
                  <a:pt x="20339" y="3066867"/>
                </a:cubicBezTo>
                <a:cubicBezTo>
                  <a:pt x="17809" y="3069529"/>
                  <a:pt x="16745" y="3072325"/>
                  <a:pt x="16745" y="3076318"/>
                </a:cubicBezTo>
                <a:cubicBezTo>
                  <a:pt x="16745" y="3080445"/>
                  <a:pt x="17809" y="3083240"/>
                  <a:pt x="20339" y="3085769"/>
                </a:cubicBezTo>
                <a:cubicBezTo>
                  <a:pt x="21936" y="3087368"/>
                  <a:pt x="24465" y="3089230"/>
                  <a:pt x="30322" y="3089230"/>
                </a:cubicBezTo>
                <a:cubicBezTo>
                  <a:pt x="32452" y="3089230"/>
                  <a:pt x="34183" y="3088964"/>
                  <a:pt x="35647" y="3088298"/>
                </a:cubicBezTo>
                <a:cubicBezTo>
                  <a:pt x="37111" y="3087766"/>
                  <a:pt x="38443" y="3086835"/>
                  <a:pt x="39374" y="3085902"/>
                </a:cubicBezTo>
                <a:cubicBezTo>
                  <a:pt x="40440" y="3084838"/>
                  <a:pt x="41371" y="3083373"/>
                  <a:pt x="42038" y="3081776"/>
                </a:cubicBezTo>
                <a:cubicBezTo>
                  <a:pt x="42703" y="3080178"/>
                  <a:pt x="42969" y="3078315"/>
                  <a:pt x="42969" y="3076318"/>
                </a:cubicBezTo>
                <a:cubicBezTo>
                  <a:pt x="42969" y="3074454"/>
                  <a:pt x="42703" y="3072724"/>
                  <a:pt x="42038" y="3071126"/>
                </a:cubicBezTo>
                <a:cubicBezTo>
                  <a:pt x="41371" y="3069396"/>
                  <a:pt x="40440" y="3068065"/>
                  <a:pt x="39374" y="3066867"/>
                </a:cubicBezTo>
                <a:cubicBezTo>
                  <a:pt x="38309" y="3065802"/>
                  <a:pt x="36979" y="3064870"/>
                  <a:pt x="35381" y="3064204"/>
                </a:cubicBezTo>
                <a:cubicBezTo>
                  <a:pt x="33917" y="3063539"/>
                  <a:pt x="32319" y="3063272"/>
                  <a:pt x="30322" y="3063272"/>
                </a:cubicBezTo>
                <a:close/>
                <a:moveTo>
                  <a:pt x="10475977" y="3046633"/>
                </a:moveTo>
                <a:cubicBezTo>
                  <a:pt x="10480237" y="3046633"/>
                  <a:pt x="10484230" y="3047431"/>
                  <a:pt x="10487824" y="3049161"/>
                </a:cubicBezTo>
                <a:cubicBezTo>
                  <a:pt x="10491419" y="3050760"/>
                  <a:pt x="10494613" y="3052889"/>
                  <a:pt x="10497143" y="3055552"/>
                </a:cubicBezTo>
                <a:cubicBezTo>
                  <a:pt x="10499672" y="3058213"/>
                  <a:pt x="10501801" y="3061408"/>
                  <a:pt x="10503266" y="3065002"/>
                </a:cubicBezTo>
                <a:cubicBezTo>
                  <a:pt x="10504730" y="3068597"/>
                  <a:pt x="10505529" y="3072325"/>
                  <a:pt x="10505529" y="3076451"/>
                </a:cubicBezTo>
                <a:cubicBezTo>
                  <a:pt x="10505529" y="3080578"/>
                  <a:pt x="10504730" y="3084572"/>
                  <a:pt x="10503266" y="3088165"/>
                </a:cubicBezTo>
                <a:cubicBezTo>
                  <a:pt x="10501669" y="3091759"/>
                  <a:pt x="10499672" y="3094821"/>
                  <a:pt x="10497143" y="3097485"/>
                </a:cubicBezTo>
                <a:cubicBezTo>
                  <a:pt x="10494480" y="3100146"/>
                  <a:pt x="10491419" y="3102277"/>
                  <a:pt x="10487824" y="3103740"/>
                </a:cubicBezTo>
                <a:cubicBezTo>
                  <a:pt x="10484098" y="3105204"/>
                  <a:pt x="10480237" y="3106003"/>
                  <a:pt x="10475977" y="3106003"/>
                </a:cubicBezTo>
                <a:cubicBezTo>
                  <a:pt x="10466924" y="3106003"/>
                  <a:pt x="10459736" y="3103074"/>
                  <a:pt x="10454145" y="3097485"/>
                </a:cubicBezTo>
                <a:cubicBezTo>
                  <a:pt x="10448554" y="3091894"/>
                  <a:pt x="10445759" y="3084838"/>
                  <a:pt x="10445759" y="3076318"/>
                </a:cubicBezTo>
                <a:cubicBezTo>
                  <a:pt x="10445759" y="3068065"/>
                  <a:pt x="10448554" y="3061009"/>
                  <a:pt x="10454145" y="3055286"/>
                </a:cubicBezTo>
                <a:cubicBezTo>
                  <a:pt x="10459603" y="3049561"/>
                  <a:pt x="10466924" y="3046633"/>
                  <a:pt x="10475977" y="3046633"/>
                </a:cubicBezTo>
                <a:close/>
                <a:moveTo>
                  <a:pt x="10258466" y="3046633"/>
                </a:moveTo>
                <a:cubicBezTo>
                  <a:pt x="10262592" y="3046633"/>
                  <a:pt x="10266586" y="3047431"/>
                  <a:pt x="10270313" y="3049161"/>
                </a:cubicBezTo>
                <a:cubicBezTo>
                  <a:pt x="10273907" y="3050760"/>
                  <a:pt x="10277101" y="3052889"/>
                  <a:pt x="10279631" y="3055552"/>
                </a:cubicBezTo>
                <a:cubicBezTo>
                  <a:pt x="10282160" y="3058213"/>
                  <a:pt x="10284290" y="3061408"/>
                  <a:pt x="10285754" y="3065002"/>
                </a:cubicBezTo>
                <a:cubicBezTo>
                  <a:pt x="10287218" y="3068597"/>
                  <a:pt x="10288017" y="3072325"/>
                  <a:pt x="10288017" y="3076451"/>
                </a:cubicBezTo>
                <a:cubicBezTo>
                  <a:pt x="10288017" y="3080578"/>
                  <a:pt x="10287218" y="3084572"/>
                  <a:pt x="10285754" y="3088165"/>
                </a:cubicBezTo>
                <a:cubicBezTo>
                  <a:pt x="10284157" y="3091759"/>
                  <a:pt x="10282160" y="3094821"/>
                  <a:pt x="10279631" y="3097485"/>
                </a:cubicBezTo>
                <a:cubicBezTo>
                  <a:pt x="10276969" y="3100146"/>
                  <a:pt x="10273907" y="3102277"/>
                  <a:pt x="10270313" y="3103740"/>
                </a:cubicBezTo>
                <a:cubicBezTo>
                  <a:pt x="10266586" y="3105204"/>
                  <a:pt x="10262725" y="3106003"/>
                  <a:pt x="10258466" y="3106003"/>
                </a:cubicBezTo>
                <a:cubicBezTo>
                  <a:pt x="10249546" y="3106003"/>
                  <a:pt x="10242224" y="3103074"/>
                  <a:pt x="10236633" y="3097485"/>
                </a:cubicBezTo>
                <a:cubicBezTo>
                  <a:pt x="10231043" y="3091894"/>
                  <a:pt x="10228247" y="3084838"/>
                  <a:pt x="10228247" y="3076318"/>
                </a:cubicBezTo>
                <a:cubicBezTo>
                  <a:pt x="10228247" y="3068065"/>
                  <a:pt x="10231043" y="3061009"/>
                  <a:pt x="10236633" y="3055286"/>
                </a:cubicBezTo>
                <a:cubicBezTo>
                  <a:pt x="10242092" y="3049561"/>
                  <a:pt x="10249413" y="3046633"/>
                  <a:pt x="10258466" y="3046633"/>
                </a:cubicBezTo>
                <a:close/>
                <a:moveTo>
                  <a:pt x="10040820" y="3046633"/>
                </a:moveTo>
                <a:cubicBezTo>
                  <a:pt x="10045080" y="3046633"/>
                  <a:pt x="10048941" y="3047431"/>
                  <a:pt x="10052534" y="3049161"/>
                </a:cubicBezTo>
                <a:cubicBezTo>
                  <a:pt x="10056129" y="3050760"/>
                  <a:pt x="10059323" y="3052889"/>
                  <a:pt x="10061852" y="3055552"/>
                </a:cubicBezTo>
                <a:cubicBezTo>
                  <a:pt x="10064382" y="3058213"/>
                  <a:pt x="10066512" y="3061408"/>
                  <a:pt x="10067976" y="3065002"/>
                </a:cubicBezTo>
                <a:cubicBezTo>
                  <a:pt x="10069440" y="3068597"/>
                  <a:pt x="10070239" y="3072325"/>
                  <a:pt x="10070239" y="3076451"/>
                </a:cubicBezTo>
                <a:cubicBezTo>
                  <a:pt x="10070239" y="3080578"/>
                  <a:pt x="10069440" y="3084572"/>
                  <a:pt x="10067976" y="3088165"/>
                </a:cubicBezTo>
                <a:cubicBezTo>
                  <a:pt x="10066379" y="3091759"/>
                  <a:pt x="10064382" y="3094821"/>
                  <a:pt x="10061852" y="3097485"/>
                </a:cubicBezTo>
                <a:cubicBezTo>
                  <a:pt x="10059190" y="3100146"/>
                  <a:pt x="10056129" y="3102277"/>
                  <a:pt x="10052534" y="3103740"/>
                </a:cubicBezTo>
                <a:cubicBezTo>
                  <a:pt x="10048941" y="3105204"/>
                  <a:pt x="10045080" y="3106003"/>
                  <a:pt x="10040820" y="3106003"/>
                </a:cubicBezTo>
                <a:cubicBezTo>
                  <a:pt x="10031767" y="3106003"/>
                  <a:pt x="10024579" y="3103074"/>
                  <a:pt x="10018988" y="3097485"/>
                </a:cubicBezTo>
                <a:cubicBezTo>
                  <a:pt x="10013397" y="3091894"/>
                  <a:pt x="10010602" y="3084838"/>
                  <a:pt x="10010602" y="3076318"/>
                </a:cubicBezTo>
                <a:cubicBezTo>
                  <a:pt x="10010602" y="3068065"/>
                  <a:pt x="10013397" y="3061009"/>
                  <a:pt x="10018988" y="3055286"/>
                </a:cubicBezTo>
                <a:cubicBezTo>
                  <a:pt x="10024579" y="3049561"/>
                  <a:pt x="10031767" y="3046633"/>
                  <a:pt x="10040820" y="3046633"/>
                </a:cubicBezTo>
                <a:close/>
                <a:moveTo>
                  <a:pt x="9823176" y="3046633"/>
                </a:moveTo>
                <a:cubicBezTo>
                  <a:pt x="9827435" y="3046633"/>
                  <a:pt x="9831296" y="3047431"/>
                  <a:pt x="9834890" y="3049161"/>
                </a:cubicBezTo>
                <a:cubicBezTo>
                  <a:pt x="9838617" y="3050760"/>
                  <a:pt x="9841679" y="3052889"/>
                  <a:pt x="9844208" y="3055552"/>
                </a:cubicBezTo>
                <a:cubicBezTo>
                  <a:pt x="9846737" y="3058213"/>
                  <a:pt x="9848867" y="3061408"/>
                  <a:pt x="9850331" y="3065002"/>
                </a:cubicBezTo>
                <a:cubicBezTo>
                  <a:pt x="9851796" y="3068597"/>
                  <a:pt x="9852595" y="3072325"/>
                  <a:pt x="9852595" y="3076451"/>
                </a:cubicBezTo>
                <a:cubicBezTo>
                  <a:pt x="9852595" y="3080578"/>
                  <a:pt x="9851796" y="3084572"/>
                  <a:pt x="9850331" y="3088165"/>
                </a:cubicBezTo>
                <a:cubicBezTo>
                  <a:pt x="9848734" y="3091759"/>
                  <a:pt x="9846737" y="3094821"/>
                  <a:pt x="9844208" y="3097485"/>
                </a:cubicBezTo>
                <a:cubicBezTo>
                  <a:pt x="9841546" y="3100146"/>
                  <a:pt x="9838484" y="3102277"/>
                  <a:pt x="9834890" y="3103740"/>
                </a:cubicBezTo>
                <a:cubicBezTo>
                  <a:pt x="9831296" y="3105204"/>
                  <a:pt x="9827435" y="3106003"/>
                  <a:pt x="9823176" y="3106003"/>
                </a:cubicBezTo>
                <a:cubicBezTo>
                  <a:pt x="9814123" y="3106003"/>
                  <a:pt x="9806935" y="3103074"/>
                  <a:pt x="9801343" y="3097485"/>
                </a:cubicBezTo>
                <a:cubicBezTo>
                  <a:pt x="9795753" y="3091894"/>
                  <a:pt x="9792957" y="3084838"/>
                  <a:pt x="9792957" y="3076318"/>
                </a:cubicBezTo>
                <a:cubicBezTo>
                  <a:pt x="9792957" y="3068065"/>
                  <a:pt x="9795753" y="3061009"/>
                  <a:pt x="9801343" y="3055286"/>
                </a:cubicBezTo>
                <a:cubicBezTo>
                  <a:pt x="9806935" y="3049561"/>
                  <a:pt x="9814123" y="3046633"/>
                  <a:pt x="9823176" y="3046633"/>
                </a:cubicBezTo>
                <a:close/>
                <a:moveTo>
                  <a:pt x="9605531" y="3046633"/>
                </a:moveTo>
                <a:cubicBezTo>
                  <a:pt x="9609790" y="3046633"/>
                  <a:pt x="9613784" y="3047431"/>
                  <a:pt x="9617245" y="3049161"/>
                </a:cubicBezTo>
                <a:cubicBezTo>
                  <a:pt x="9620839" y="3050760"/>
                  <a:pt x="9624033" y="3052889"/>
                  <a:pt x="9626562" y="3055552"/>
                </a:cubicBezTo>
                <a:cubicBezTo>
                  <a:pt x="9629092" y="3058213"/>
                  <a:pt x="9631222" y="3061408"/>
                  <a:pt x="9632686" y="3065002"/>
                </a:cubicBezTo>
                <a:cubicBezTo>
                  <a:pt x="9634150" y="3068597"/>
                  <a:pt x="9634949" y="3072325"/>
                  <a:pt x="9634949" y="3076451"/>
                </a:cubicBezTo>
                <a:cubicBezTo>
                  <a:pt x="9634949" y="3080578"/>
                  <a:pt x="9634150" y="3084572"/>
                  <a:pt x="9632686" y="3088165"/>
                </a:cubicBezTo>
                <a:cubicBezTo>
                  <a:pt x="9631089" y="3091759"/>
                  <a:pt x="9629092" y="3094821"/>
                  <a:pt x="9626562" y="3097485"/>
                </a:cubicBezTo>
                <a:cubicBezTo>
                  <a:pt x="9623901" y="3100146"/>
                  <a:pt x="9620839" y="3102277"/>
                  <a:pt x="9617245" y="3103740"/>
                </a:cubicBezTo>
                <a:cubicBezTo>
                  <a:pt x="9613651" y="3105204"/>
                  <a:pt x="9609790" y="3106003"/>
                  <a:pt x="9605531" y="3106003"/>
                </a:cubicBezTo>
                <a:cubicBezTo>
                  <a:pt x="9596610" y="3106003"/>
                  <a:pt x="9589289" y="3103074"/>
                  <a:pt x="9583698" y="3097485"/>
                </a:cubicBezTo>
                <a:cubicBezTo>
                  <a:pt x="9578108" y="3091894"/>
                  <a:pt x="9575312" y="3084838"/>
                  <a:pt x="9575312" y="3076318"/>
                </a:cubicBezTo>
                <a:cubicBezTo>
                  <a:pt x="9575312" y="3068065"/>
                  <a:pt x="9578108" y="3061009"/>
                  <a:pt x="9583698" y="3055286"/>
                </a:cubicBezTo>
                <a:cubicBezTo>
                  <a:pt x="9589289" y="3049561"/>
                  <a:pt x="9596478" y="3046633"/>
                  <a:pt x="9605531" y="3046633"/>
                </a:cubicBezTo>
                <a:close/>
                <a:moveTo>
                  <a:pt x="9387885" y="3046633"/>
                </a:moveTo>
                <a:cubicBezTo>
                  <a:pt x="9392145" y="3046633"/>
                  <a:pt x="9396138" y="3047431"/>
                  <a:pt x="9399599" y="3049161"/>
                </a:cubicBezTo>
                <a:cubicBezTo>
                  <a:pt x="9403194" y="3050760"/>
                  <a:pt x="9406388" y="3052889"/>
                  <a:pt x="9408917" y="3055552"/>
                </a:cubicBezTo>
                <a:cubicBezTo>
                  <a:pt x="9411447" y="3058213"/>
                  <a:pt x="9413576" y="3061408"/>
                  <a:pt x="9415041" y="3065002"/>
                </a:cubicBezTo>
                <a:cubicBezTo>
                  <a:pt x="9416505" y="3068597"/>
                  <a:pt x="9417304" y="3072325"/>
                  <a:pt x="9417304" y="3076451"/>
                </a:cubicBezTo>
                <a:cubicBezTo>
                  <a:pt x="9417304" y="3080578"/>
                  <a:pt x="9416505" y="3084572"/>
                  <a:pt x="9415041" y="3088165"/>
                </a:cubicBezTo>
                <a:cubicBezTo>
                  <a:pt x="9413444" y="3091759"/>
                  <a:pt x="9411447" y="3094821"/>
                  <a:pt x="9408917" y="3097485"/>
                </a:cubicBezTo>
                <a:cubicBezTo>
                  <a:pt x="9406255" y="3100146"/>
                  <a:pt x="9403194" y="3102277"/>
                  <a:pt x="9399599" y="3103740"/>
                </a:cubicBezTo>
                <a:cubicBezTo>
                  <a:pt x="9396005" y="3105204"/>
                  <a:pt x="9392145" y="3106003"/>
                  <a:pt x="9387885" y="3106003"/>
                </a:cubicBezTo>
                <a:cubicBezTo>
                  <a:pt x="9378965" y="3106003"/>
                  <a:pt x="9371644" y="3103074"/>
                  <a:pt x="9366053" y="3097485"/>
                </a:cubicBezTo>
                <a:cubicBezTo>
                  <a:pt x="9360462" y="3091894"/>
                  <a:pt x="9357667" y="3084838"/>
                  <a:pt x="9357667" y="3076318"/>
                </a:cubicBezTo>
                <a:cubicBezTo>
                  <a:pt x="9357667" y="3068065"/>
                  <a:pt x="9360462" y="3061009"/>
                  <a:pt x="9366053" y="3055286"/>
                </a:cubicBezTo>
                <a:cubicBezTo>
                  <a:pt x="9371644" y="3049561"/>
                  <a:pt x="9378832" y="3046633"/>
                  <a:pt x="9387885" y="3046633"/>
                </a:cubicBezTo>
                <a:close/>
                <a:moveTo>
                  <a:pt x="9170374" y="3046633"/>
                </a:moveTo>
                <a:cubicBezTo>
                  <a:pt x="9174500" y="3046633"/>
                  <a:pt x="9178494" y="3047431"/>
                  <a:pt x="9182088" y="3049161"/>
                </a:cubicBezTo>
                <a:cubicBezTo>
                  <a:pt x="9185682" y="3050760"/>
                  <a:pt x="9188876" y="3052889"/>
                  <a:pt x="9191405" y="3055552"/>
                </a:cubicBezTo>
                <a:cubicBezTo>
                  <a:pt x="9193935" y="3058213"/>
                  <a:pt x="9196065" y="3061408"/>
                  <a:pt x="9197529" y="3065002"/>
                </a:cubicBezTo>
                <a:cubicBezTo>
                  <a:pt x="9198993" y="3068597"/>
                  <a:pt x="9199792" y="3072325"/>
                  <a:pt x="9199792" y="3076451"/>
                </a:cubicBezTo>
                <a:cubicBezTo>
                  <a:pt x="9199792" y="3080578"/>
                  <a:pt x="9198993" y="3084572"/>
                  <a:pt x="9197529" y="3088165"/>
                </a:cubicBezTo>
                <a:cubicBezTo>
                  <a:pt x="9195932" y="3091759"/>
                  <a:pt x="9193935" y="3094821"/>
                  <a:pt x="9191405" y="3097485"/>
                </a:cubicBezTo>
                <a:cubicBezTo>
                  <a:pt x="9188744" y="3100146"/>
                  <a:pt x="9185682" y="3102277"/>
                  <a:pt x="9182088" y="3103740"/>
                </a:cubicBezTo>
                <a:cubicBezTo>
                  <a:pt x="9178494" y="3105204"/>
                  <a:pt x="9174633" y="3106003"/>
                  <a:pt x="9170374" y="3106003"/>
                </a:cubicBezTo>
                <a:cubicBezTo>
                  <a:pt x="9161453" y="3106003"/>
                  <a:pt x="9154132" y="3103074"/>
                  <a:pt x="9148541" y="3097485"/>
                </a:cubicBezTo>
                <a:cubicBezTo>
                  <a:pt x="9142951" y="3091894"/>
                  <a:pt x="9140155" y="3084838"/>
                  <a:pt x="9140155" y="3076318"/>
                </a:cubicBezTo>
                <a:cubicBezTo>
                  <a:pt x="9140155" y="3068065"/>
                  <a:pt x="9142951" y="3061009"/>
                  <a:pt x="9148541" y="3055286"/>
                </a:cubicBezTo>
                <a:cubicBezTo>
                  <a:pt x="9154132" y="3049561"/>
                  <a:pt x="9161321" y="3046633"/>
                  <a:pt x="9170374" y="3046633"/>
                </a:cubicBezTo>
                <a:close/>
                <a:moveTo>
                  <a:pt x="8952728" y="3046633"/>
                </a:moveTo>
                <a:cubicBezTo>
                  <a:pt x="8956988" y="3046633"/>
                  <a:pt x="8960849" y="3047431"/>
                  <a:pt x="8964442" y="3049161"/>
                </a:cubicBezTo>
                <a:cubicBezTo>
                  <a:pt x="8968037" y="3050760"/>
                  <a:pt x="8971231" y="3052889"/>
                  <a:pt x="8973760" y="3055552"/>
                </a:cubicBezTo>
                <a:cubicBezTo>
                  <a:pt x="8976290" y="3058213"/>
                  <a:pt x="8978419" y="3061408"/>
                  <a:pt x="8979884" y="3065002"/>
                </a:cubicBezTo>
                <a:cubicBezTo>
                  <a:pt x="8981348" y="3068597"/>
                  <a:pt x="8982147" y="3072325"/>
                  <a:pt x="8982147" y="3076451"/>
                </a:cubicBezTo>
                <a:cubicBezTo>
                  <a:pt x="8982147" y="3080578"/>
                  <a:pt x="8981348" y="3084572"/>
                  <a:pt x="8979884" y="3088165"/>
                </a:cubicBezTo>
                <a:cubicBezTo>
                  <a:pt x="8978287" y="3091759"/>
                  <a:pt x="8976290" y="3094821"/>
                  <a:pt x="8973760" y="3097485"/>
                </a:cubicBezTo>
                <a:cubicBezTo>
                  <a:pt x="8971098" y="3100146"/>
                  <a:pt x="8968037" y="3102277"/>
                  <a:pt x="8964442" y="3103740"/>
                </a:cubicBezTo>
                <a:cubicBezTo>
                  <a:pt x="8960849" y="3105204"/>
                  <a:pt x="8956988" y="3106003"/>
                  <a:pt x="8952728" y="3106003"/>
                </a:cubicBezTo>
                <a:cubicBezTo>
                  <a:pt x="8943808" y="3106003"/>
                  <a:pt x="8936487" y="3103074"/>
                  <a:pt x="8930896" y="3097485"/>
                </a:cubicBezTo>
                <a:cubicBezTo>
                  <a:pt x="8925305" y="3091894"/>
                  <a:pt x="8922510" y="3084838"/>
                  <a:pt x="8922510" y="3076318"/>
                </a:cubicBezTo>
                <a:cubicBezTo>
                  <a:pt x="8922510" y="3068065"/>
                  <a:pt x="8925305" y="3061009"/>
                  <a:pt x="8930896" y="3055286"/>
                </a:cubicBezTo>
                <a:cubicBezTo>
                  <a:pt x="8936487" y="3049561"/>
                  <a:pt x="8943675" y="3046633"/>
                  <a:pt x="8952728" y="3046633"/>
                </a:cubicBezTo>
                <a:close/>
                <a:moveTo>
                  <a:pt x="8735083" y="3046633"/>
                </a:moveTo>
                <a:cubicBezTo>
                  <a:pt x="8739342" y="3046633"/>
                  <a:pt x="8743203" y="3047431"/>
                  <a:pt x="8746797" y="3049161"/>
                </a:cubicBezTo>
                <a:cubicBezTo>
                  <a:pt x="8750391" y="3050760"/>
                  <a:pt x="8753586" y="3052889"/>
                  <a:pt x="8756115" y="3055552"/>
                </a:cubicBezTo>
                <a:cubicBezTo>
                  <a:pt x="8758644" y="3058213"/>
                  <a:pt x="8760774" y="3061408"/>
                  <a:pt x="8762238" y="3065002"/>
                </a:cubicBezTo>
                <a:cubicBezTo>
                  <a:pt x="8763702" y="3068597"/>
                  <a:pt x="8764502" y="3072325"/>
                  <a:pt x="8764502" y="3076451"/>
                </a:cubicBezTo>
                <a:cubicBezTo>
                  <a:pt x="8764502" y="3080578"/>
                  <a:pt x="8763702" y="3084572"/>
                  <a:pt x="8762238" y="3088165"/>
                </a:cubicBezTo>
                <a:cubicBezTo>
                  <a:pt x="8760641" y="3091759"/>
                  <a:pt x="8758644" y="3094821"/>
                  <a:pt x="8756115" y="3097485"/>
                </a:cubicBezTo>
                <a:cubicBezTo>
                  <a:pt x="8753453" y="3100146"/>
                  <a:pt x="8750391" y="3102277"/>
                  <a:pt x="8746797" y="3103740"/>
                </a:cubicBezTo>
                <a:cubicBezTo>
                  <a:pt x="8743203" y="3105204"/>
                  <a:pt x="8739342" y="3106003"/>
                  <a:pt x="8735083" y="3106003"/>
                </a:cubicBezTo>
                <a:cubicBezTo>
                  <a:pt x="8726030" y="3106003"/>
                  <a:pt x="8718841" y="3103074"/>
                  <a:pt x="8713250" y="3097485"/>
                </a:cubicBezTo>
                <a:cubicBezTo>
                  <a:pt x="8707660" y="3091894"/>
                  <a:pt x="8704864" y="3084838"/>
                  <a:pt x="8704864" y="3076318"/>
                </a:cubicBezTo>
                <a:cubicBezTo>
                  <a:pt x="8704864" y="3068065"/>
                  <a:pt x="8707660" y="3061009"/>
                  <a:pt x="8713250" y="3055286"/>
                </a:cubicBezTo>
                <a:cubicBezTo>
                  <a:pt x="8718841" y="3049561"/>
                  <a:pt x="8726030" y="3046633"/>
                  <a:pt x="8735083" y="3046633"/>
                </a:cubicBezTo>
                <a:close/>
                <a:moveTo>
                  <a:pt x="8517438" y="3046633"/>
                </a:moveTo>
                <a:cubicBezTo>
                  <a:pt x="8521698" y="3046633"/>
                  <a:pt x="8525559" y="3047431"/>
                  <a:pt x="8529152" y="3049161"/>
                </a:cubicBezTo>
                <a:cubicBezTo>
                  <a:pt x="8532880" y="3050760"/>
                  <a:pt x="8535941" y="3052889"/>
                  <a:pt x="8538470" y="3055552"/>
                </a:cubicBezTo>
                <a:cubicBezTo>
                  <a:pt x="8541000" y="3058213"/>
                  <a:pt x="8543130" y="3061408"/>
                  <a:pt x="8544594" y="3065002"/>
                </a:cubicBezTo>
                <a:cubicBezTo>
                  <a:pt x="8546058" y="3068597"/>
                  <a:pt x="8546857" y="3072325"/>
                  <a:pt x="8546857" y="3076451"/>
                </a:cubicBezTo>
                <a:cubicBezTo>
                  <a:pt x="8546857" y="3080578"/>
                  <a:pt x="8546058" y="3084572"/>
                  <a:pt x="8544594" y="3088165"/>
                </a:cubicBezTo>
                <a:cubicBezTo>
                  <a:pt x="8542997" y="3091759"/>
                  <a:pt x="8541000" y="3094821"/>
                  <a:pt x="8538470" y="3097485"/>
                </a:cubicBezTo>
                <a:cubicBezTo>
                  <a:pt x="8535808" y="3100146"/>
                  <a:pt x="8532747" y="3102277"/>
                  <a:pt x="8529152" y="3103740"/>
                </a:cubicBezTo>
                <a:cubicBezTo>
                  <a:pt x="8525559" y="3105204"/>
                  <a:pt x="8521698" y="3106003"/>
                  <a:pt x="8517438" y="3106003"/>
                </a:cubicBezTo>
                <a:cubicBezTo>
                  <a:pt x="8508385" y="3106003"/>
                  <a:pt x="8501197" y="3103074"/>
                  <a:pt x="8495606" y="3097485"/>
                </a:cubicBezTo>
                <a:cubicBezTo>
                  <a:pt x="8490015" y="3091894"/>
                  <a:pt x="8487220" y="3084838"/>
                  <a:pt x="8487220" y="3076318"/>
                </a:cubicBezTo>
                <a:cubicBezTo>
                  <a:pt x="8487220" y="3068065"/>
                  <a:pt x="8490015" y="3061009"/>
                  <a:pt x="8495606" y="3055286"/>
                </a:cubicBezTo>
                <a:cubicBezTo>
                  <a:pt x="8501197" y="3049561"/>
                  <a:pt x="8508385" y="3046633"/>
                  <a:pt x="8517438" y="3046633"/>
                </a:cubicBezTo>
                <a:close/>
                <a:moveTo>
                  <a:pt x="8299793" y="3046633"/>
                </a:moveTo>
                <a:cubicBezTo>
                  <a:pt x="8304052" y="3046633"/>
                  <a:pt x="8308046" y="3047431"/>
                  <a:pt x="8311507" y="3049161"/>
                </a:cubicBezTo>
                <a:cubicBezTo>
                  <a:pt x="8315235" y="3050760"/>
                  <a:pt x="8318296" y="3052889"/>
                  <a:pt x="8320825" y="3055552"/>
                </a:cubicBezTo>
                <a:cubicBezTo>
                  <a:pt x="8323354" y="3058213"/>
                  <a:pt x="8325484" y="3061408"/>
                  <a:pt x="8326948" y="3065002"/>
                </a:cubicBezTo>
                <a:cubicBezTo>
                  <a:pt x="8328413" y="3068597"/>
                  <a:pt x="8329212" y="3072325"/>
                  <a:pt x="8329212" y="3076451"/>
                </a:cubicBezTo>
                <a:cubicBezTo>
                  <a:pt x="8329212" y="3080578"/>
                  <a:pt x="8328413" y="3084572"/>
                  <a:pt x="8326948" y="3088165"/>
                </a:cubicBezTo>
                <a:cubicBezTo>
                  <a:pt x="8325351" y="3091759"/>
                  <a:pt x="8323354" y="3094821"/>
                  <a:pt x="8320825" y="3097485"/>
                </a:cubicBezTo>
                <a:cubicBezTo>
                  <a:pt x="8318163" y="3100146"/>
                  <a:pt x="8315101" y="3102277"/>
                  <a:pt x="8311507" y="3103740"/>
                </a:cubicBezTo>
                <a:cubicBezTo>
                  <a:pt x="8307913" y="3105204"/>
                  <a:pt x="8304052" y="3106003"/>
                  <a:pt x="8299793" y="3106003"/>
                </a:cubicBezTo>
                <a:cubicBezTo>
                  <a:pt x="8290874" y="3106003"/>
                  <a:pt x="8283553" y="3103074"/>
                  <a:pt x="8277960" y="3097485"/>
                </a:cubicBezTo>
                <a:cubicBezTo>
                  <a:pt x="8272370" y="3091894"/>
                  <a:pt x="8269574" y="3084838"/>
                  <a:pt x="8269574" y="3076318"/>
                </a:cubicBezTo>
                <a:cubicBezTo>
                  <a:pt x="8269574" y="3068065"/>
                  <a:pt x="8272370" y="3061009"/>
                  <a:pt x="8277960" y="3055286"/>
                </a:cubicBezTo>
                <a:cubicBezTo>
                  <a:pt x="8283553" y="3049561"/>
                  <a:pt x="8290741" y="3046633"/>
                  <a:pt x="8299793" y="3046633"/>
                </a:cubicBezTo>
                <a:close/>
                <a:moveTo>
                  <a:pt x="8082281" y="3046633"/>
                </a:moveTo>
                <a:cubicBezTo>
                  <a:pt x="8086407" y="3046633"/>
                  <a:pt x="8090401" y="3047431"/>
                  <a:pt x="8094127" y="3049161"/>
                </a:cubicBezTo>
                <a:cubicBezTo>
                  <a:pt x="8097855" y="3050760"/>
                  <a:pt x="8100916" y="3052889"/>
                  <a:pt x="8103446" y="3055552"/>
                </a:cubicBezTo>
                <a:cubicBezTo>
                  <a:pt x="8105975" y="3058213"/>
                  <a:pt x="8108104" y="3061408"/>
                  <a:pt x="8109569" y="3065002"/>
                </a:cubicBezTo>
                <a:cubicBezTo>
                  <a:pt x="8111033" y="3068597"/>
                  <a:pt x="8111832" y="3072325"/>
                  <a:pt x="8111832" y="3076451"/>
                </a:cubicBezTo>
                <a:cubicBezTo>
                  <a:pt x="8111832" y="3080578"/>
                  <a:pt x="8111033" y="3084572"/>
                  <a:pt x="8109569" y="3088165"/>
                </a:cubicBezTo>
                <a:cubicBezTo>
                  <a:pt x="8107972" y="3091759"/>
                  <a:pt x="8105975" y="3094821"/>
                  <a:pt x="8103446" y="3097485"/>
                </a:cubicBezTo>
                <a:cubicBezTo>
                  <a:pt x="8100783" y="3100146"/>
                  <a:pt x="8097722" y="3102277"/>
                  <a:pt x="8094127" y="3103740"/>
                </a:cubicBezTo>
                <a:cubicBezTo>
                  <a:pt x="8090401" y="3105204"/>
                  <a:pt x="8086540" y="3106003"/>
                  <a:pt x="8082281" y="3106003"/>
                </a:cubicBezTo>
                <a:cubicBezTo>
                  <a:pt x="8073361" y="3106003"/>
                  <a:pt x="8066040" y="3103074"/>
                  <a:pt x="8060448" y="3097485"/>
                </a:cubicBezTo>
                <a:cubicBezTo>
                  <a:pt x="8054857" y="3091894"/>
                  <a:pt x="8052062" y="3084838"/>
                  <a:pt x="8052062" y="3076318"/>
                </a:cubicBezTo>
                <a:cubicBezTo>
                  <a:pt x="8052062" y="3068065"/>
                  <a:pt x="8054857" y="3061009"/>
                  <a:pt x="8060448" y="3055286"/>
                </a:cubicBezTo>
                <a:cubicBezTo>
                  <a:pt x="8066040" y="3049561"/>
                  <a:pt x="8073228" y="3046633"/>
                  <a:pt x="8082281" y="3046633"/>
                </a:cubicBezTo>
                <a:close/>
                <a:moveTo>
                  <a:pt x="7864636" y="3046633"/>
                </a:moveTo>
                <a:cubicBezTo>
                  <a:pt x="7868762" y="3046633"/>
                  <a:pt x="7872756" y="3047431"/>
                  <a:pt x="7876483" y="3049161"/>
                </a:cubicBezTo>
                <a:cubicBezTo>
                  <a:pt x="7880210" y="3050760"/>
                  <a:pt x="7883272" y="3052889"/>
                  <a:pt x="7885802" y="3055552"/>
                </a:cubicBezTo>
                <a:cubicBezTo>
                  <a:pt x="7888331" y="3058213"/>
                  <a:pt x="7890460" y="3061408"/>
                  <a:pt x="7891924" y="3065002"/>
                </a:cubicBezTo>
                <a:cubicBezTo>
                  <a:pt x="7893389" y="3068597"/>
                  <a:pt x="7894188" y="3072325"/>
                  <a:pt x="7894188" y="3076451"/>
                </a:cubicBezTo>
                <a:cubicBezTo>
                  <a:pt x="7894188" y="3080578"/>
                  <a:pt x="7893389" y="3084572"/>
                  <a:pt x="7891924" y="3088165"/>
                </a:cubicBezTo>
                <a:cubicBezTo>
                  <a:pt x="7890327" y="3091759"/>
                  <a:pt x="7888331" y="3094821"/>
                  <a:pt x="7885802" y="3097485"/>
                </a:cubicBezTo>
                <a:cubicBezTo>
                  <a:pt x="7883139" y="3100146"/>
                  <a:pt x="7880078" y="3102277"/>
                  <a:pt x="7876483" y="3103740"/>
                </a:cubicBezTo>
                <a:cubicBezTo>
                  <a:pt x="7872756" y="3105204"/>
                  <a:pt x="7868895" y="3106003"/>
                  <a:pt x="7864636" y="3106003"/>
                </a:cubicBezTo>
                <a:cubicBezTo>
                  <a:pt x="7855717" y="3106003"/>
                  <a:pt x="7848396" y="3103074"/>
                  <a:pt x="7842803" y="3097485"/>
                </a:cubicBezTo>
                <a:cubicBezTo>
                  <a:pt x="7837213" y="3091894"/>
                  <a:pt x="7834417" y="3084838"/>
                  <a:pt x="7834417" y="3076318"/>
                </a:cubicBezTo>
                <a:cubicBezTo>
                  <a:pt x="7834417" y="3068065"/>
                  <a:pt x="7837213" y="3061009"/>
                  <a:pt x="7842803" y="3055286"/>
                </a:cubicBezTo>
                <a:cubicBezTo>
                  <a:pt x="7848396" y="3049561"/>
                  <a:pt x="7855584" y="3046633"/>
                  <a:pt x="7864636" y="3046633"/>
                </a:cubicBezTo>
                <a:close/>
                <a:moveTo>
                  <a:pt x="7646991" y="3046633"/>
                </a:moveTo>
                <a:cubicBezTo>
                  <a:pt x="7651250" y="3046633"/>
                  <a:pt x="7655111" y="3047431"/>
                  <a:pt x="7658705" y="3049161"/>
                </a:cubicBezTo>
                <a:cubicBezTo>
                  <a:pt x="7662432" y="3050760"/>
                  <a:pt x="7665493" y="3052889"/>
                  <a:pt x="7668022" y="3055552"/>
                </a:cubicBezTo>
                <a:cubicBezTo>
                  <a:pt x="7670552" y="3058213"/>
                  <a:pt x="7672682" y="3061408"/>
                  <a:pt x="7674146" y="3065002"/>
                </a:cubicBezTo>
                <a:cubicBezTo>
                  <a:pt x="7675610" y="3068597"/>
                  <a:pt x="7676409" y="3072325"/>
                  <a:pt x="7676409" y="3076451"/>
                </a:cubicBezTo>
                <a:cubicBezTo>
                  <a:pt x="7676409" y="3080578"/>
                  <a:pt x="7675610" y="3084572"/>
                  <a:pt x="7674146" y="3088165"/>
                </a:cubicBezTo>
                <a:cubicBezTo>
                  <a:pt x="7672549" y="3091759"/>
                  <a:pt x="7670552" y="3094821"/>
                  <a:pt x="7668022" y="3097485"/>
                </a:cubicBezTo>
                <a:cubicBezTo>
                  <a:pt x="7665361" y="3100146"/>
                  <a:pt x="7662299" y="3102277"/>
                  <a:pt x="7658705" y="3103740"/>
                </a:cubicBezTo>
                <a:cubicBezTo>
                  <a:pt x="7655111" y="3105204"/>
                  <a:pt x="7651250" y="3106003"/>
                  <a:pt x="7646991" y="3106003"/>
                </a:cubicBezTo>
                <a:cubicBezTo>
                  <a:pt x="7638071" y="3106003"/>
                  <a:pt x="7630750" y="3103074"/>
                  <a:pt x="7625158" y="3097485"/>
                </a:cubicBezTo>
                <a:cubicBezTo>
                  <a:pt x="7619568" y="3091894"/>
                  <a:pt x="7616772" y="3084838"/>
                  <a:pt x="7616772" y="3076318"/>
                </a:cubicBezTo>
                <a:cubicBezTo>
                  <a:pt x="7616772" y="3068065"/>
                  <a:pt x="7619568" y="3061009"/>
                  <a:pt x="7625158" y="3055286"/>
                </a:cubicBezTo>
                <a:cubicBezTo>
                  <a:pt x="7630750" y="3049561"/>
                  <a:pt x="7637939" y="3046633"/>
                  <a:pt x="7646991" y="3046633"/>
                </a:cubicBezTo>
                <a:close/>
                <a:moveTo>
                  <a:pt x="7429345" y="3046633"/>
                </a:moveTo>
                <a:cubicBezTo>
                  <a:pt x="7433605" y="3046633"/>
                  <a:pt x="7437466" y="3047431"/>
                  <a:pt x="7441059" y="3049161"/>
                </a:cubicBezTo>
                <a:cubicBezTo>
                  <a:pt x="7444787" y="3050760"/>
                  <a:pt x="7447848" y="3052889"/>
                  <a:pt x="7450377" y="3055552"/>
                </a:cubicBezTo>
                <a:cubicBezTo>
                  <a:pt x="7452907" y="3058213"/>
                  <a:pt x="7455036" y="3061408"/>
                  <a:pt x="7456501" y="3065002"/>
                </a:cubicBezTo>
                <a:cubicBezTo>
                  <a:pt x="7457965" y="3068597"/>
                  <a:pt x="7458764" y="3072325"/>
                  <a:pt x="7458764" y="3076451"/>
                </a:cubicBezTo>
                <a:cubicBezTo>
                  <a:pt x="7458764" y="3080578"/>
                  <a:pt x="7457965" y="3084572"/>
                  <a:pt x="7456501" y="3088165"/>
                </a:cubicBezTo>
                <a:cubicBezTo>
                  <a:pt x="7454904" y="3091759"/>
                  <a:pt x="7452907" y="3094821"/>
                  <a:pt x="7450377" y="3097485"/>
                </a:cubicBezTo>
                <a:cubicBezTo>
                  <a:pt x="7447715" y="3100146"/>
                  <a:pt x="7444654" y="3102277"/>
                  <a:pt x="7441059" y="3103740"/>
                </a:cubicBezTo>
                <a:cubicBezTo>
                  <a:pt x="7437466" y="3105204"/>
                  <a:pt x="7433605" y="3106003"/>
                  <a:pt x="7429345" y="3106003"/>
                </a:cubicBezTo>
                <a:cubicBezTo>
                  <a:pt x="7420426" y="3106003"/>
                  <a:pt x="7413105" y="3103074"/>
                  <a:pt x="7407513" y="3097485"/>
                </a:cubicBezTo>
                <a:cubicBezTo>
                  <a:pt x="7401922" y="3091894"/>
                  <a:pt x="7399127" y="3084838"/>
                  <a:pt x="7399127" y="3076318"/>
                </a:cubicBezTo>
                <a:cubicBezTo>
                  <a:pt x="7399127" y="3068065"/>
                  <a:pt x="7401922" y="3061009"/>
                  <a:pt x="7407513" y="3055286"/>
                </a:cubicBezTo>
                <a:cubicBezTo>
                  <a:pt x="7413105" y="3049561"/>
                  <a:pt x="7420293" y="3046633"/>
                  <a:pt x="7429345" y="3046633"/>
                </a:cubicBezTo>
                <a:close/>
                <a:moveTo>
                  <a:pt x="7211701" y="3046633"/>
                </a:moveTo>
                <a:cubicBezTo>
                  <a:pt x="7215960" y="3046633"/>
                  <a:pt x="7219954" y="3047431"/>
                  <a:pt x="7223415" y="3049161"/>
                </a:cubicBezTo>
                <a:cubicBezTo>
                  <a:pt x="7227142" y="3050760"/>
                  <a:pt x="7230204" y="3052889"/>
                  <a:pt x="7232733" y="3055552"/>
                </a:cubicBezTo>
                <a:cubicBezTo>
                  <a:pt x="7235262" y="3058213"/>
                  <a:pt x="7237392" y="3061408"/>
                  <a:pt x="7238856" y="3065002"/>
                </a:cubicBezTo>
                <a:cubicBezTo>
                  <a:pt x="7240321" y="3068597"/>
                  <a:pt x="7241120" y="3072325"/>
                  <a:pt x="7241120" y="3076451"/>
                </a:cubicBezTo>
                <a:cubicBezTo>
                  <a:pt x="7241120" y="3080578"/>
                  <a:pt x="7240321" y="3084572"/>
                  <a:pt x="7238856" y="3088165"/>
                </a:cubicBezTo>
                <a:cubicBezTo>
                  <a:pt x="7237259" y="3091759"/>
                  <a:pt x="7235262" y="3094821"/>
                  <a:pt x="7232733" y="3097485"/>
                </a:cubicBezTo>
                <a:cubicBezTo>
                  <a:pt x="7230071" y="3100146"/>
                  <a:pt x="7227009" y="3102277"/>
                  <a:pt x="7223415" y="3103740"/>
                </a:cubicBezTo>
                <a:cubicBezTo>
                  <a:pt x="7219821" y="3105204"/>
                  <a:pt x="7215960" y="3106003"/>
                  <a:pt x="7211701" y="3106003"/>
                </a:cubicBezTo>
                <a:cubicBezTo>
                  <a:pt x="7202782" y="3106003"/>
                  <a:pt x="7195460" y="3103074"/>
                  <a:pt x="7189868" y="3097485"/>
                </a:cubicBezTo>
                <a:cubicBezTo>
                  <a:pt x="7184278" y="3091894"/>
                  <a:pt x="7181482" y="3084838"/>
                  <a:pt x="7181482" y="3076318"/>
                </a:cubicBezTo>
                <a:cubicBezTo>
                  <a:pt x="7181482" y="3068065"/>
                  <a:pt x="7184278" y="3061009"/>
                  <a:pt x="7189868" y="3055286"/>
                </a:cubicBezTo>
                <a:cubicBezTo>
                  <a:pt x="7195460" y="3049561"/>
                  <a:pt x="7202649" y="3046633"/>
                  <a:pt x="7211701" y="3046633"/>
                </a:cubicBezTo>
                <a:close/>
                <a:moveTo>
                  <a:pt x="6994056" y="3046633"/>
                </a:moveTo>
                <a:cubicBezTo>
                  <a:pt x="6998315" y="3046633"/>
                  <a:pt x="7002309" y="3047431"/>
                  <a:pt x="7005769" y="3049161"/>
                </a:cubicBezTo>
                <a:cubicBezTo>
                  <a:pt x="7009497" y="3050760"/>
                  <a:pt x="7012558" y="3052889"/>
                  <a:pt x="7015087" y="3055552"/>
                </a:cubicBezTo>
                <a:cubicBezTo>
                  <a:pt x="7017617" y="3058213"/>
                  <a:pt x="7019747" y="3061408"/>
                  <a:pt x="7021211" y="3065002"/>
                </a:cubicBezTo>
                <a:cubicBezTo>
                  <a:pt x="7022675" y="3068597"/>
                  <a:pt x="7023474" y="3072325"/>
                  <a:pt x="7023474" y="3076451"/>
                </a:cubicBezTo>
                <a:cubicBezTo>
                  <a:pt x="7023474" y="3080578"/>
                  <a:pt x="7022675" y="3084572"/>
                  <a:pt x="7021211" y="3088165"/>
                </a:cubicBezTo>
                <a:cubicBezTo>
                  <a:pt x="7019614" y="3091759"/>
                  <a:pt x="7017617" y="3094821"/>
                  <a:pt x="7015087" y="3097485"/>
                </a:cubicBezTo>
                <a:cubicBezTo>
                  <a:pt x="7012425" y="3100146"/>
                  <a:pt x="7009364" y="3102277"/>
                  <a:pt x="7005769" y="3103740"/>
                </a:cubicBezTo>
                <a:cubicBezTo>
                  <a:pt x="7002176" y="3105204"/>
                  <a:pt x="6998315" y="3106003"/>
                  <a:pt x="6994056" y="3106003"/>
                </a:cubicBezTo>
                <a:cubicBezTo>
                  <a:pt x="6985136" y="3106003"/>
                  <a:pt x="6977815" y="3103074"/>
                  <a:pt x="6972223" y="3097485"/>
                </a:cubicBezTo>
                <a:cubicBezTo>
                  <a:pt x="6966632" y="3091894"/>
                  <a:pt x="6963837" y="3084838"/>
                  <a:pt x="6963837" y="3076318"/>
                </a:cubicBezTo>
                <a:cubicBezTo>
                  <a:pt x="6963837" y="3068065"/>
                  <a:pt x="6966632" y="3061009"/>
                  <a:pt x="6972223" y="3055286"/>
                </a:cubicBezTo>
                <a:cubicBezTo>
                  <a:pt x="6977815" y="3049561"/>
                  <a:pt x="6985003" y="3046633"/>
                  <a:pt x="6994056" y="3046633"/>
                </a:cubicBezTo>
                <a:close/>
                <a:moveTo>
                  <a:pt x="6776544" y="3046633"/>
                </a:moveTo>
                <a:cubicBezTo>
                  <a:pt x="6780670" y="3046633"/>
                  <a:pt x="6784664" y="3047431"/>
                  <a:pt x="6788258" y="3049161"/>
                </a:cubicBezTo>
                <a:cubicBezTo>
                  <a:pt x="6791985" y="3050760"/>
                  <a:pt x="6795047" y="3052889"/>
                  <a:pt x="6797576" y="3055552"/>
                </a:cubicBezTo>
                <a:cubicBezTo>
                  <a:pt x="6800105" y="3058213"/>
                  <a:pt x="6802235" y="3061408"/>
                  <a:pt x="6803699" y="3065002"/>
                </a:cubicBezTo>
                <a:cubicBezTo>
                  <a:pt x="6805164" y="3068597"/>
                  <a:pt x="6805963" y="3072325"/>
                  <a:pt x="6805963" y="3076451"/>
                </a:cubicBezTo>
                <a:cubicBezTo>
                  <a:pt x="6805963" y="3080578"/>
                  <a:pt x="6805164" y="3084572"/>
                  <a:pt x="6803699" y="3088165"/>
                </a:cubicBezTo>
                <a:cubicBezTo>
                  <a:pt x="6802102" y="3091759"/>
                  <a:pt x="6800105" y="3094821"/>
                  <a:pt x="6797576" y="3097485"/>
                </a:cubicBezTo>
                <a:cubicBezTo>
                  <a:pt x="6794914" y="3100146"/>
                  <a:pt x="6791852" y="3102277"/>
                  <a:pt x="6788258" y="3103740"/>
                </a:cubicBezTo>
                <a:cubicBezTo>
                  <a:pt x="6784664" y="3105204"/>
                  <a:pt x="6780803" y="3106003"/>
                  <a:pt x="6776544" y="3106003"/>
                </a:cubicBezTo>
                <a:cubicBezTo>
                  <a:pt x="6767625" y="3106003"/>
                  <a:pt x="6760303" y="3103074"/>
                  <a:pt x="6754711" y="3097485"/>
                </a:cubicBezTo>
                <a:cubicBezTo>
                  <a:pt x="6749121" y="3091894"/>
                  <a:pt x="6746325" y="3084838"/>
                  <a:pt x="6746325" y="3076318"/>
                </a:cubicBezTo>
                <a:cubicBezTo>
                  <a:pt x="6746325" y="3068065"/>
                  <a:pt x="6749121" y="3061009"/>
                  <a:pt x="6754711" y="3055286"/>
                </a:cubicBezTo>
                <a:cubicBezTo>
                  <a:pt x="6760303" y="3049561"/>
                  <a:pt x="6767492" y="3046633"/>
                  <a:pt x="6776544" y="3046633"/>
                </a:cubicBezTo>
                <a:close/>
                <a:moveTo>
                  <a:pt x="6558899" y="3046633"/>
                </a:moveTo>
                <a:cubicBezTo>
                  <a:pt x="6563158" y="3046633"/>
                  <a:pt x="6567019" y="3047431"/>
                  <a:pt x="6570612" y="3049161"/>
                </a:cubicBezTo>
                <a:cubicBezTo>
                  <a:pt x="6574340" y="3050760"/>
                  <a:pt x="6577401" y="3052889"/>
                  <a:pt x="6579930" y="3055552"/>
                </a:cubicBezTo>
                <a:cubicBezTo>
                  <a:pt x="6582460" y="3058213"/>
                  <a:pt x="6584590" y="3061408"/>
                  <a:pt x="6586054" y="3065002"/>
                </a:cubicBezTo>
                <a:cubicBezTo>
                  <a:pt x="6587518" y="3068597"/>
                  <a:pt x="6588317" y="3072325"/>
                  <a:pt x="6588317" y="3076451"/>
                </a:cubicBezTo>
                <a:cubicBezTo>
                  <a:pt x="6588317" y="3080578"/>
                  <a:pt x="6587518" y="3084572"/>
                  <a:pt x="6586054" y="3088165"/>
                </a:cubicBezTo>
                <a:cubicBezTo>
                  <a:pt x="6584457" y="3091759"/>
                  <a:pt x="6582460" y="3094821"/>
                  <a:pt x="6579930" y="3097485"/>
                </a:cubicBezTo>
                <a:cubicBezTo>
                  <a:pt x="6577268" y="3100146"/>
                  <a:pt x="6574207" y="3102277"/>
                  <a:pt x="6570612" y="3103740"/>
                </a:cubicBezTo>
                <a:cubicBezTo>
                  <a:pt x="6567019" y="3105204"/>
                  <a:pt x="6563158" y="3106003"/>
                  <a:pt x="6558899" y="3106003"/>
                </a:cubicBezTo>
                <a:cubicBezTo>
                  <a:pt x="6549979" y="3106003"/>
                  <a:pt x="6542658" y="3103074"/>
                  <a:pt x="6537066" y="3097485"/>
                </a:cubicBezTo>
                <a:cubicBezTo>
                  <a:pt x="6531476" y="3091894"/>
                  <a:pt x="6528680" y="3084838"/>
                  <a:pt x="6528680" y="3076318"/>
                </a:cubicBezTo>
                <a:cubicBezTo>
                  <a:pt x="6528680" y="3068065"/>
                  <a:pt x="6531476" y="3061009"/>
                  <a:pt x="6537066" y="3055286"/>
                </a:cubicBezTo>
                <a:cubicBezTo>
                  <a:pt x="6542658" y="3049561"/>
                  <a:pt x="6549846" y="3046633"/>
                  <a:pt x="6558899" y="3046633"/>
                </a:cubicBezTo>
                <a:close/>
                <a:moveTo>
                  <a:pt x="6341253" y="3046633"/>
                </a:moveTo>
                <a:cubicBezTo>
                  <a:pt x="6345513" y="3046633"/>
                  <a:pt x="6349373" y="3047431"/>
                  <a:pt x="6352968" y="3049161"/>
                </a:cubicBezTo>
                <a:cubicBezTo>
                  <a:pt x="6356695" y="3050760"/>
                  <a:pt x="6359757" y="3052889"/>
                  <a:pt x="6362286" y="3055552"/>
                </a:cubicBezTo>
                <a:cubicBezTo>
                  <a:pt x="6364815" y="3058213"/>
                  <a:pt x="6366945" y="3061408"/>
                  <a:pt x="6368409" y="3065002"/>
                </a:cubicBezTo>
                <a:cubicBezTo>
                  <a:pt x="6369874" y="3068597"/>
                  <a:pt x="6370672" y="3072325"/>
                  <a:pt x="6370672" y="3076451"/>
                </a:cubicBezTo>
                <a:cubicBezTo>
                  <a:pt x="6370672" y="3080578"/>
                  <a:pt x="6369874" y="3084572"/>
                  <a:pt x="6368409" y="3088165"/>
                </a:cubicBezTo>
                <a:cubicBezTo>
                  <a:pt x="6366811" y="3091759"/>
                  <a:pt x="6364815" y="3094821"/>
                  <a:pt x="6362286" y="3097485"/>
                </a:cubicBezTo>
                <a:cubicBezTo>
                  <a:pt x="6359623" y="3100146"/>
                  <a:pt x="6356562" y="3102277"/>
                  <a:pt x="6352968" y="3103740"/>
                </a:cubicBezTo>
                <a:cubicBezTo>
                  <a:pt x="6349373" y="3105204"/>
                  <a:pt x="6345513" y="3106003"/>
                  <a:pt x="6341253" y="3106003"/>
                </a:cubicBezTo>
                <a:cubicBezTo>
                  <a:pt x="6332335" y="3106003"/>
                  <a:pt x="6325013" y="3103074"/>
                  <a:pt x="6319421" y="3097485"/>
                </a:cubicBezTo>
                <a:cubicBezTo>
                  <a:pt x="6313830" y="3091894"/>
                  <a:pt x="6311035" y="3084838"/>
                  <a:pt x="6311035" y="3076318"/>
                </a:cubicBezTo>
                <a:cubicBezTo>
                  <a:pt x="6311035" y="3068065"/>
                  <a:pt x="6313830" y="3061009"/>
                  <a:pt x="6319421" y="3055286"/>
                </a:cubicBezTo>
                <a:cubicBezTo>
                  <a:pt x="6325013" y="3049561"/>
                  <a:pt x="6332201" y="3046633"/>
                  <a:pt x="6341253" y="3046633"/>
                </a:cubicBezTo>
                <a:close/>
                <a:moveTo>
                  <a:pt x="6123608" y="3046633"/>
                </a:moveTo>
                <a:cubicBezTo>
                  <a:pt x="6127867" y="3046633"/>
                  <a:pt x="6131728" y="3047431"/>
                  <a:pt x="6135322" y="3049161"/>
                </a:cubicBezTo>
                <a:cubicBezTo>
                  <a:pt x="6139049" y="3050760"/>
                  <a:pt x="6142111" y="3052889"/>
                  <a:pt x="6144640" y="3055552"/>
                </a:cubicBezTo>
                <a:cubicBezTo>
                  <a:pt x="6147169" y="3058213"/>
                  <a:pt x="6149299" y="3061408"/>
                  <a:pt x="6150763" y="3065002"/>
                </a:cubicBezTo>
                <a:cubicBezTo>
                  <a:pt x="6152228" y="3068597"/>
                  <a:pt x="6153026" y="3072325"/>
                  <a:pt x="6153026" y="3076451"/>
                </a:cubicBezTo>
                <a:cubicBezTo>
                  <a:pt x="6153026" y="3080578"/>
                  <a:pt x="6152228" y="3084572"/>
                  <a:pt x="6150763" y="3088165"/>
                </a:cubicBezTo>
                <a:cubicBezTo>
                  <a:pt x="6149299" y="3091759"/>
                  <a:pt x="6147169" y="3094821"/>
                  <a:pt x="6144640" y="3097485"/>
                </a:cubicBezTo>
                <a:cubicBezTo>
                  <a:pt x="6141977" y="3100146"/>
                  <a:pt x="6138916" y="3102277"/>
                  <a:pt x="6135322" y="3103740"/>
                </a:cubicBezTo>
                <a:cubicBezTo>
                  <a:pt x="6131728" y="3105204"/>
                  <a:pt x="6127867" y="3106003"/>
                  <a:pt x="6123608" y="3106003"/>
                </a:cubicBezTo>
                <a:cubicBezTo>
                  <a:pt x="6114689" y="3106003"/>
                  <a:pt x="6107367" y="3103074"/>
                  <a:pt x="6101775" y="3097485"/>
                </a:cubicBezTo>
                <a:cubicBezTo>
                  <a:pt x="6096184" y="3091894"/>
                  <a:pt x="6093389" y="3084838"/>
                  <a:pt x="6093389" y="3076318"/>
                </a:cubicBezTo>
                <a:cubicBezTo>
                  <a:pt x="6093389" y="3068065"/>
                  <a:pt x="6096184" y="3061009"/>
                  <a:pt x="6101775" y="3055286"/>
                </a:cubicBezTo>
                <a:cubicBezTo>
                  <a:pt x="6107367" y="3049561"/>
                  <a:pt x="6114555" y="3046633"/>
                  <a:pt x="6123608" y="3046633"/>
                </a:cubicBezTo>
                <a:close/>
                <a:moveTo>
                  <a:pt x="5905963" y="3046633"/>
                </a:moveTo>
                <a:cubicBezTo>
                  <a:pt x="5910222" y="3046633"/>
                  <a:pt x="5914216" y="3047431"/>
                  <a:pt x="5917677" y="3049161"/>
                </a:cubicBezTo>
                <a:cubicBezTo>
                  <a:pt x="5921404" y="3050760"/>
                  <a:pt x="5924466" y="3052889"/>
                  <a:pt x="5926995" y="3055552"/>
                </a:cubicBezTo>
                <a:cubicBezTo>
                  <a:pt x="5929524" y="3058213"/>
                  <a:pt x="5931654" y="3061408"/>
                  <a:pt x="5933118" y="3065002"/>
                </a:cubicBezTo>
                <a:cubicBezTo>
                  <a:pt x="5934583" y="3068597"/>
                  <a:pt x="5935381" y="3072325"/>
                  <a:pt x="5935381" y="3076451"/>
                </a:cubicBezTo>
                <a:cubicBezTo>
                  <a:pt x="5935381" y="3080578"/>
                  <a:pt x="5934583" y="3084572"/>
                  <a:pt x="5933118" y="3088165"/>
                </a:cubicBezTo>
                <a:cubicBezTo>
                  <a:pt x="5931654" y="3091759"/>
                  <a:pt x="5929524" y="3094821"/>
                  <a:pt x="5926995" y="3097485"/>
                </a:cubicBezTo>
                <a:cubicBezTo>
                  <a:pt x="5924333" y="3100146"/>
                  <a:pt x="5921271" y="3102277"/>
                  <a:pt x="5917677" y="3103740"/>
                </a:cubicBezTo>
                <a:cubicBezTo>
                  <a:pt x="5914083" y="3105204"/>
                  <a:pt x="5910222" y="3106003"/>
                  <a:pt x="5905963" y="3106003"/>
                </a:cubicBezTo>
                <a:cubicBezTo>
                  <a:pt x="5897044" y="3106003"/>
                  <a:pt x="5889722" y="3103074"/>
                  <a:pt x="5884130" y="3097485"/>
                </a:cubicBezTo>
                <a:cubicBezTo>
                  <a:pt x="5878540" y="3091894"/>
                  <a:pt x="5875744" y="3084838"/>
                  <a:pt x="5875744" y="3076318"/>
                </a:cubicBezTo>
                <a:cubicBezTo>
                  <a:pt x="5875744" y="3068065"/>
                  <a:pt x="5878540" y="3061009"/>
                  <a:pt x="5884130" y="3055286"/>
                </a:cubicBezTo>
                <a:cubicBezTo>
                  <a:pt x="5889722" y="3049561"/>
                  <a:pt x="5896910" y="3046633"/>
                  <a:pt x="5905963" y="3046633"/>
                </a:cubicBezTo>
                <a:close/>
                <a:moveTo>
                  <a:pt x="5688451" y="3046633"/>
                </a:moveTo>
                <a:cubicBezTo>
                  <a:pt x="5692577" y="3046633"/>
                  <a:pt x="5696571" y="3047431"/>
                  <a:pt x="5700165" y="3049161"/>
                </a:cubicBezTo>
                <a:cubicBezTo>
                  <a:pt x="5703892" y="3050760"/>
                  <a:pt x="5706954" y="3052889"/>
                  <a:pt x="5709483" y="3055552"/>
                </a:cubicBezTo>
                <a:cubicBezTo>
                  <a:pt x="5712012" y="3058213"/>
                  <a:pt x="5714142" y="3061408"/>
                  <a:pt x="5715606" y="3065002"/>
                </a:cubicBezTo>
                <a:cubicBezTo>
                  <a:pt x="5717071" y="3068597"/>
                  <a:pt x="5717869" y="3072325"/>
                  <a:pt x="5717869" y="3076451"/>
                </a:cubicBezTo>
                <a:cubicBezTo>
                  <a:pt x="5717869" y="3080578"/>
                  <a:pt x="5717071" y="3084572"/>
                  <a:pt x="5715606" y="3088165"/>
                </a:cubicBezTo>
                <a:cubicBezTo>
                  <a:pt x="5714142" y="3091759"/>
                  <a:pt x="5712012" y="3094821"/>
                  <a:pt x="5709483" y="3097485"/>
                </a:cubicBezTo>
                <a:cubicBezTo>
                  <a:pt x="5706820" y="3100146"/>
                  <a:pt x="5703759" y="3102277"/>
                  <a:pt x="5700165" y="3103740"/>
                </a:cubicBezTo>
                <a:cubicBezTo>
                  <a:pt x="5696571" y="3105204"/>
                  <a:pt x="5692710" y="3106003"/>
                  <a:pt x="5688451" y="3106003"/>
                </a:cubicBezTo>
                <a:cubicBezTo>
                  <a:pt x="5679532" y="3106003"/>
                  <a:pt x="5672210" y="3103074"/>
                  <a:pt x="5666618" y="3097485"/>
                </a:cubicBezTo>
                <a:cubicBezTo>
                  <a:pt x="5661028" y="3091894"/>
                  <a:pt x="5658232" y="3084838"/>
                  <a:pt x="5658232" y="3076318"/>
                </a:cubicBezTo>
                <a:cubicBezTo>
                  <a:pt x="5658232" y="3068065"/>
                  <a:pt x="5661028" y="3061009"/>
                  <a:pt x="5666618" y="3055286"/>
                </a:cubicBezTo>
                <a:cubicBezTo>
                  <a:pt x="5672210" y="3049561"/>
                  <a:pt x="5679398" y="3046633"/>
                  <a:pt x="5688451" y="3046633"/>
                </a:cubicBezTo>
                <a:close/>
                <a:moveTo>
                  <a:pt x="5470806" y="3046633"/>
                </a:moveTo>
                <a:cubicBezTo>
                  <a:pt x="5475065" y="3046633"/>
                  <a:pt x="5478926" y="3047431"/>
                  <a:pt x="5482520" y="3049161"/>
                </a:cubicBezTo>
                <a:cubicBezTo>
                  <a:pt x="5486247" y="3050760"/>
                  <a:pt x="5489309" y="3052889"/>
                  <a:pt x="5491838" y="3055552"/>
                </a:cubicBezTo>
                <a:cubicBezTo>
                  <a:pt x="5494367" y="3058213"/>
                  <a:pt x="5496497" y="3061408"/>
                  <a:pt x="5497961" y="3065002"/>
                </a:cubicBezTo>
                <a:cubicBezTo>
                  <a:pt x="5499426" y="3068597"/>
                  <a:pt x="5500224" y="3072325"/>
                  <a:pt x="5500224" y="3076451"/>
                </a:cubicBezTo>
                <a:cubicBezTo>
                  <a:pt x="5500224" y="3080578"/>
                  <a:pt x="5499426" y="3084572"/>
                  <a:pt x="5497961" y="3088165"/>
                </a:cubicBezTo>
                <a:cubicBezTo>
                  <a:pt x="5496497" y="3091759"/>
                  <a:pt x="5494367" y="3094821"/>
                  <a:pt x="5491838" y="3097485"/>
                </a:cubicBezTo>
                <a:cubicBezTo>
                  <a:pt x="5489176" y="3100146"/>
                  <a:pt x="5486114" y="3102277"/>
                  <a:pt x="5482520" y="3103740"/>
                </a:cubicBezTo>
                <a:cubicBezTo>
                  <a:pt x="5478926" y="3105204"/>
                  <a:pt x="5475065" y="3106003"/>
                  <a:pt x="5470806" y="3106003"/>
                </a:cubicBezTo>
                <a:cubicBezTo>
                  <a:pt x="5461887" y="3106003"/>
                  <a:pt x="5454565" y="3103074"/>
                  <a:pt x="5448973" y="3097485"/>
                </a:cubicBezTo>
                <a:cubicBezTo>
                  <a:pt x="5443383" y="3091894"/>
                  <a:pt x="5440587" y="3084838"/>
                  <a:pt x="5440587" y="3076318"/>
                </a:cubicBezTo>
                <a:cubicBezTo>
                  <a:pt x="5440587" y="3068065"/>
                  <a:pt x="5443383" y="3061009"/>
                  <a:pt x="5448973" y="3055286"/>
                </a:cubicBezTo>
                <a:cubicBezTo>
                  <a:pt x="5454565" y="3049561"/>
                  <a:pt x="5461754" y="3046633"/>
                  <a:pt x="5470806" y="3046633"/>
                </a:cubicBezTo>
                <a:close/>
                <a:moveTo>
                  <a:pt x="5253160" y="3046633"/>
                </a:moveTo>
                <a:cubicBezTo>
                  <a:pt x="5257420" y="3046633"/>
                  <a:pt x="5261280" y="3047431"/>
                  <a:pt x="5264875" y="3049161"/>
                </a:cubicBezTo>
                <a:cubicBezTo>
                  <a:pt x="5268602" y="3050760"/>
                  <a:pt x="5271664" y="3052889"/>
                  <a:pt x="5274192" y="3055552"/>
                </a:cubicBezTo>
                <a:cubicBezTo>
                  <a:pt x="5276722" y="3058213"/>
                  <a:pt x="5278852" y="3061408"/>
                  <a:pt x="5280316" y="3065002"/>
                </a:cubicBezTo>
                <a:cubicBezTo>
                  <a:pt x="5281780" y="3068597"/>
                  <a:pt x="5282579" y="3072325"/>
                  <a:pt x="5282579" y="3076451"/>
                </a:cubicBezTo>
                <a:cubicBezTo>
                  <a:pt x="5282579" y="3080578"/>
                  <a:pt x="5281780" y="3084572"/>
                  <a:pt x="5280316" y="3088165"/>
                </a:cubicBezTo>
                <a:cubicBezTo>
                  <a:pt x="5278852" y="3091759"/>
                  <a:pt x="5276722" y="3094821"/>
                  <a:pt x="5274192" y="3097485"/>
                </a:cubicBezTo>
                <a:cubicBezTo>
                  <a:pt x="5271664" y="3100146"/>
                  <a:pt x="5268469" y="3102277"/>
                  <a:pt x="5264875" y="3103740"/>
                </a:cubicBezTo>
                <a:cubicBezTo>
                  <a:pt x="5261280" y="3105204"/>
                  <a:pt x="5257420" y="3106003"/>
                  <a:pt x="5253160" y="3106003"/>
                </a:cubicBezTo>
                <a:cubicBezTo>
                  <a:pt x="5244241" y="3106003"/>
                  <a:pt x="5236920" y="3103074"/>
                  <a:pt x="5231328" y="3097485"/>
                </a:cubicBezTo>
                <a:cubicBezTo>
                  <a:pt x="5225737" y="3091894"/>
                  <a:pt x="5222942" y="3084838"/>
                  <a:pt x="5222942" y="3076318"/>
                </a:cubicBezTo>
                <a:cubicBezTo>
                  <a:pt x="5222942" y="3068065"/>
                  <a:pt x="5225737" y="3061009"/>
                  <a:pt x="5231328" y="3055286"/>
                </a:cubicBezTo>
                <a:cubicBezTo>
                  <a:pt x="5236920" y="3049561"/>
                  <a:pt x="5244108" y="3046633"/>
                  <a:pt x="5253160" y="3046633"/>
                </a:cubicBezTo>
                <a:close/>
                <a:moveTo>
                  <a:pt x="5035515" y="3046633"/>
                </a:moveTo>
                <a:cubicBezTo>
                  <a:pt x="5039775" y="3046633"/>
                  <a:pt x="5043636" y="3047431"/>
                  <a:pt x="5047230" y="3049161"/>
                </a:cubicBezTo>
                <a:cubicBezTo>
                  <a:pt x="5050957" y="3050760"/>
                  <a:pt x="5054019" y="3052889"/>
                  <a:pt x="5056548" y="3055552"/>
                </a:cubicBezTo>
                <a:cubicBezTo>
                  <a:pt x="5059077" y="3058213"/>
                  <a:pt x="5061207" y="3061408"/>
                  <a:pt x="5062671" y="3065002"/>
                </a:cubicBezTo>
                <a:cubicBezTo>
                  <a:pt x="5064135" y="3068597"/>
                  <a:pt x="5064934" y="3072325"/>
                  <a:pt x="5064934" y="3076451"/>
                </a:cubicBezTo>
                <a:cubicBezTo>
                  <a:pt x="5064934" y="3080578"/>
                  <a:pt x="5064135" y="3084572"/>
                  <a:pt x="5062671" y="3088165"/>
                </a:cubicBezTo>
                <a:cubicBezTo>
                  <a:pt x="5061207" y="3091759"/>
                  <a:pt x="5059077" y="3094821"/>
                  <a:pt x="5056548" y="3097485"/>
                </a:cubicBezTo>
                <a:cubicBezTo>
                  <a:pt x="5053885" y="3100146"/>
                  <a:pt x="5050824" y="3102277"/>
                  <a:pt x="5047230" y="3103740"/>
                </a:cubicBezTo>
                <a:cubicBezTo>
                  <a:pt x="5043636" y="3105204"/>
                  <a:pt x="5039775" y="3106003"/>
                  <a:pt x="5035515" y="3106003"/>
                </a:cubicBezTo>
                <a:cubicBezTo>
                  <a:pt x="5026597" y="3106003"/>
                  <a:pt x="5019275" y="3103074"/>
                  <a:pt x="5013683" y="3097485"/>
                </a:cubicBezTo>
                <a:cubicBezTo>
                  <a:pt x="5008092" y="3091894"/>
                  <a:pt x="5005297" y="3084838"/>
                  <a:pt x="5005297" y="3076318"/>
                </a:cubicBezTo>
                <a:cubicBezTo>
                  <a:pt x="5005297" y="3068065"/>
                  <a:pt x="5008092" y="3061009"/>
                  <a:pt x="5013683" y="3055286"/>
                </a:cubicBezTo>
                <a:cubicBezTo>
                  <a:pt x="5019275" y="3049561"/>
                  <a:pt x="5026463" y="3046633"/>
                  <a:pt x="5035515" y="3046633"/>
                </a:cubicBezTo>
                <a:close/>
                <a:moveTo>
                  <a:pt x="4817870" y="3046633"/>
                </a:moveTo>
                <a:cubicBezTo>
                  <a:pt x="4822130" y="3046633"/>
                  <a:pt x="4826124" y="3047431"/>
                  <a:pt x="4829585" y="3049161"/>
                </a:cubicBezTo>
                <a:cubicBezTo>
                  <a:pt x="4833312" y="3050760"/>
                  <a:pt x="4836374" y="3052889"/>
                  <a:pt x="4838903" y="3055552"/>
                </a:cubicBezTo>
                <a:cubicBezTo>
                  <a:pt x="4841432" y="3058213"/>
                  <a:pt x="4843562" y="3061408"/>
                  <a:pt x="4845026" y="3065002"/>
                </a:cubicBezTo>
                <a:cubicBezTo>
                  <a:pt x="4846491" y="3068597"/>
                  <a:pt x="4847289" y="3072325"/>
                  <a:pt x="4847289" y="3076451"/>
                </a:cubicBezTo>
                <a:cubicBezTo>
                  <a:pt x="4847289" y="3080578"/>
                  <a:pt x="4846491" y="3084572"/>
                  <a:pt x="4845026" y="3088165"/>
                </a:cubicBezTo>
                <a:cubicBezTo>
                  <a:pt x="4843562" y="3091759"/>
                  <a:pt x="4841432" y="3094821"/>
                  <a:pt x="4838903" y="3097485"/>
                </a:cubicBezTo>
                <a:cubicBezTo>
                  <a:pt x="4836240" y="3100146"/>
                  <a:pt x="4833179" y="3102277"/>
                  <a:pt x="4829585" y="3103740"/>
                </a:cubicBezTo>
                <a:cubicBezTo>
                  <a:pt x="4825991" y="3105204"/>
                  <a:pt x="4822130" y="3106003"/>
                  <a:pt x="4817870" y="3106003"/>
                </a:cubicBezTo>
                <a:cubicBezTo>
                  <a:pt x="4808952" y="3106003"/>
                  <a:pt x="4801630" y="3103074"/>
                  <a:pt x="4796038" y="3097485"/>
                </a:cubicBezTo>
                <a:cubicBezTo>
                  <a:pt x="4790447" y="3091894"/>
                  <a:pt x="4787652" y="3084838"/>
                  <a:pt x="4787652" y="3076318"/>
                </a:cubicBezTo>
                <a:cubicBezTo>
                  <a:pt x="4787652" y="3068065"/>
                  <a:pt x="4790447" y="3061009"/>
                  <a:pt x="4796038" y="3055286"/>
                </a:cubicBezTo>
                <a:cubicBezTo>
                  <a:pt x="4801630" y="3049561"/>
                  <a:pt x="4808818" y="3046633"/>
                  <a:pt x="4817870" y="3046633"/>
                </a:cubicBezTo>
                <a:close/>
                <a:moveTo>
                  <a:pt x="4600226" y="3046633"/>
                </a:moveTo>
                <a:cubicBezTo>
                  <a:pt x="4604485" y="3046633"/>
                  <a:pt x="4608479" y="3047431"/>
                  <a:pt x="4612073" y="3049161"/>
                </a:cubicBezTo>
                <a:cubicBezTo>
                  <a:pt x="4615800" y="3050760"/>
                  <a:pt x="4618862" y="3052889"/>
                  <a:pt x="4621391" y="3055552"/>
                </a:cubicBezTo>
                <a:cubicBezTo>
                  <a:pt x="4623920" y="3058213"/>
                  <a:pt x="4626050" y="3061408"/>
                  <a:pt x="4627514" y="3065002"/>
                </a:cubicBezTo>
                <a:cubicBezTo>
                  <a:pt x="4628978" y="3068597"/>
                  <a:pt x="4629777" y="3072325"/>
                  <a:pt x="4629777" y="3076451"/>
                </a:cubicBezTo>
                <a:cubicBezTo>
                  <a:pt x="4629777" y="3080578"/>
                  <a:pt x="4628978" y="3084572"/>
                  <a:pt x="4627514" y="3088165"/>
                </a:cubicBezTo>
                <a:cubicBezTo>
                  <a:pt x="4626050" y="3091759"/>
                  <a:pt x="4623920" y="3094821"/>
                  <a:pt x="4621391" y="3097485"/>
                </a:cubicBezTo>
                <a:cubicBezTo>
                  <a:pt x="4618729" y="3100146"/>
                  <a:pt x="4615667" y="3102277"/>
                  <a:pt x="4612073" y="3103740"/>
                </a:cubicBezTo>
                <a:cubicBezTo>
                  <a:pt x="4608346" y="3105204"/>
                  <a:pt x="4604485" y="3106003"/>
                  <a:pt x="4600226" y="3106003"/>
                </a:cubicBezTo>
                <a:cubicBezTo>
                  <a:pt x="4591173" y="3106003"/>
                  <a:pt x="4583985" y="3103074"/>
                  <a:pt x="4578393" y="3097485"/>
                </a:cubicBezTo>
                <a:cubicBezTo>
                  <a:pt x="4572803" y="3091894"/>
                  <a:pt x="4570007" y="3084838"/>
                  <a:pt x="4570007" y="3076318"/>
                </a:cubicBezTo>
                <a:cubicBezTo>
                  <a:pt x="4570007" y="3068065"/>
                  <a:pt x="4572803" y="3061009"/>
                  <a:pt x="4578393" y="3055286"/>
                </a:cubicBezTo>
                <a:cubicBezTo>
                  <a:pt x="4583985" y="3049561"/>
                  <a:pt x="4591173" y="3046633"/>
                  <a:pt x="4600226" y="3046633"/>
                </a:cubicBezTo>
                <a:close/>
                <a:moveTo>
                  <a:pt x="4382713" y="3046633"/>
                </a:moveTo>
                <a:cubicBezTo>
                  <a:pt x="4386840" y="3046633"/>
                  <a:pt x="4390834" y="3047431"/>
                  <a:pt x="4394428" y="3049161"/>
                </a:cubicBezTo>
                <a:cubicBezTo>
                  <a:pt x="4398155" y="3050760"/>
                  <a:pt x="4401217" y="3052889"/>
                  <a:pt x="4403746" y="3055552"/>
                </a:cubicBezTo>
                <a:cubicBezTo>
                  <a:pt x="4406275" y="3058213"/>
                  <a:pt x="4408405" y="3061408"/>
                  <a:pt x="4409869" y="3065002"/>
                </a:cubicBezTo>
                <a:cubicBezTo>
                  <a:pt x="4411334" y="3068597"/>
                  <a:pt x="4412132" y="3072325"/>
                  <a:pt x="4412132" y="3076451"/>
                </a:cubicBezTo>
                <a:cubicBezTo>
                  <a:pt x="4412132" y="3080578"/>
                  <a:pt x="4411334" y="3084572"/>
                  <a:pt x="4409869" y="3088165"/>
                </a:cubicBezTo>
                <a:cubicBezTo>
                  <a:pt x="4408405" y="3091759"/>
                  <a:pt x="4406275" y="3094821"/>
                  <a:pt x="4403746" y="3097485"/>
                </a:cubicBezTo>
                <a:cubicBezTo>
                  <a:pt x="4401083" y="3100146"/>
                  <a:pt x="4398022" y="3102277"/>
                  <a:pt x="4394428" y="3103740"/>
                </a:cubicBezTo>
                <a:cubicBezTo>
                  <a:pt x="4390834" y="3105204"/>
                  <a:pt x="4386973" y="3106003"/>
                  <a:pt x="4382713" y="3106003"/>
                </a:cubicBezTo>
                <a:cubicBezTo>
                  <a:pt x="4373661" y="3106003"/>
                  <a:pt x="4366473" y="3103074"/>
                  <a:pt x="4360881" y="3097485"/>
                </a:cubicBezTo>
                <a:cubicBezTo>
                  <a:pt x="4355290" y="3091894"/>
                  <a:pt x="4352495" y="3084838"/>
                  <a:pt x="4352495" y="3076318"/>
                </a:cubicBezTo>
                <a:cubicBezTo>
                  <a:pt x="4352495" y="3068065"/>
                  <a:pt x="4355290" y="3061009"/>
                  <a:pt x="4360881" y="3055286"/>
                </a:cubicBezTo>
                <a:cubicBezTo>
                  <a:pt x="4366473" y="3049561"/>
                  <a:pt x="4373661" y="3046633"/>
                  <a:pt x="4382713" y="3046633"/>
                </a:cubicBezTo>
                <a:close/>
                <a:moveTo>
                  <a:pt x="4165068" y="3046633"/>
                </a:moveTo>
                <a:cubicBezTo>
                  <a:pt x="4169327" y="3046633"/>
                  <a:pt x="4173188" y="3047431"/>
                  <a:pt x="4176782" y="3049161"/>
                </a:cubicBezTo>
                <a:cubicBezTo>
                  <a:pt x="4180509" y="3050760"/>
                  <a:pt x="4183571" y="3052889"/>
                  <a:pt x="4186100" y="3055552"/>
                </a:cubicBezTo>
                <a:cubicBezTo>
                  <a:pt x="4188629" y="3058213"/>
                  <a:pt x="4190759" y="3061408"/>
                  <a:pt x="4192223" y="3065002"/>
                </a:cubicBezTo>
                <a:cubicBezTo>
                  <a:pt x="4193688" y="3068597"/>
                  <a:pt x="4194486" y="3072325"/>
                  <a:pt x="4194486" y="3076451"/>
                </a:cubicBezTo>
                <a:cubicBezTo>
                  <a:pt x="4194486" y="3080578"/>
                  <a:pt x="4193688" y="3084572"/>
                  <a:pt x="4192223" y="3088165"/>
                </a:cubicBezTo>
                <a:cubicBezTo>
                  <a:pt x="4190759" y="3091759"/>
                  <a:pt x="4188629" y="3094821"/>
                  <a:pt x="4186100" y="3097485"/>
                </a:cubicBezTo>
                <a:cubicBezTo>
                  <a:pt x="4183438" y="3100146"/>
                  <a:pt x="4180376" y="3102277"/>
                  <a:pt x="4176782" y="3103740"/>
                </a:cubicBezTo>
                <a:cubicBezTo>
                  <a:pt x="4173188" y="3105204"/>
                  <a:pt x="4169327" y="3106003"/>
                  <a:pt x="4165068" y="3106003"/>
                </a:cubicBezTo>
                <a:cubicBezTo>
                  <a:pt x="4156015" y="3106003"/>
                  <a:pt x="4148827" y="3103074"/>
                  <a:pt x="4143235" y="3097485"/>
                </a:cubicBezTo>
                <a:cubicBezTo>
                  <a:pt x="4137645" y="3091894"/>
                  <a:pt x="4134849" y="3084838"/>
                  <a:pt x="4134849" y="3076318"/>
                </a:cubicBezTo>
                <a:cubicBezTo>
                  <a:pt x="4134849" y="3068065"/>
                  <a:pt x="4137645" y="3061009"/>
                  <a:pt x="4143235" y="3055286"/>
                </a:cubicBezTo>
                <a:cubicBezTo>
                  <a:pt x="4148827" y="3049561"/>
                  <a:pt x="4156015" y="3046633"/>
                  <a:pt x="4165068" y="3046633"/>
                </a:cubicBezTo>
                <a:close/>
                <a:moveTo>
                  <a:pt x="3947593" y="3046633"/>
                </a:moveTo>
                <a:cubicBezTo>
                  <a:pt x="3951855" y="3046633"/>
                  <a:pt x="3955714" y="3047431"/>
                  <a:pt x="3959309" y="3049161"/>
                </a:cubicBezTo>
                <a:cubicBezTo>
                  <a:pt x="3963038" y="3050760"/>
                  <a:pt x="3966098" y="3052889"/>
                  <a:pt x="3968627" y="3055552"/>
                </a:cubicBezTo>
                <a:cubicBezTo>
                  <a:pt x="3971158" y="3058213"/>
                  <a:pt x="3973287" y="3061408"/>
                  <a:pt x="3974751" y="3065002"/>
                </a:cubicBezTo>
                <a:cubicBezTo>
                  <a:pt x="3976216" y="3068597"/>
                  <a:pt x="3977015" y="3072325"/>
                  <a:pt x="3977015" y="3076451"/>
                </a:cubicBezTo>
                <a:cubicBezTo>
                  <a:pt x="3977015" y="3080578"/>
                  <a:pt x="3976216" y="3084572"/>
                  <a:pt x="3974751" y="3088165"/>
                </a:cubicBezTo>
                <a:cubicBezTo>
                  <a:pt x="3973287" y="3091759"/>
                  <a:pt x="3971158" y="3094821"/>
                  <a:pt x="3968627" y="3097485"/>
                </a:cubicBezTo>
                <a:cubicBezTo>
                  <a:pt x="3965965" y="3100146"/>
                  <a:pt x="3962904" y="3102277"/>
                  <a:pt x="3959309" y="3103740"/>
                </a:cubicBezTo>
                <a:cubicBezTo>
                  <a:pt x="3955714" y="3105204"/>
                  <a:pt x="3951855" y="3106003"/>
                  <a:pt x="3947593" y="3106003"/>
                </a:cubicBezTo>
                <a:cubicBezTo>
                  <a:pt x="3938541" y="3106003"/>
                  <a:pt x="3931353" y="3103074"/>
                  <a:pt x="3925761" y="3097485"/>
                </a:cubicBezTo>
                <a:cubicBezTo>
                  <a:pt x="3920170" y="3091894"/>
                  <a:pt x="3917374" y="3084838"/>
                  <a:pt x="3917374" y="3076318"/>
                </a:cubicBezTo>
                <a:cubicBezTo>
                  <a:pt x="3917374" y="3068065"/>
                  <a:pt x="3920170" y="3061009"/>
                  <a:pt x="3925761" y="3055286"/>
                </a:cubicBezTo>
                <a:cubicBezTo>
                  <a:pt x="3931353" y="3049561"/>
                  <a:pt x="3938541" y="3046633"/>
                  <a:pt x="3947593" y="3046633"/>
                </a:cubicBezTo>
                <a:close/>
                <a:moveTo>
                  <a:pt x="3729940" y="3046633"/>
                </a:moveTo>
                <a:cubicBezTo>
                  <a:pt x="3734201" y="3046633"/>
                  <a:pt x="3738193" y="3047431"/>
                  <a:pt x="3741655" y="3049161"/>
                </a:cubicBezTo>
                <a:cubicBezTo>
                  <a:pt x="3745249" y="3050760"/>
                  <a:pt x="3748445" y="3052889"/>
                  <a:pt x="3750974" y="3055552"/>
                </a:cubicBezTo>
                <a:cubicBezTo>
                  <a:pt x="3753503" y="3058213"/>
                  <a:pt x="3755632" y="3061408"/>
                  <a:pt x="3757096" y="3065002"/>
                </a:cubicBezTo>
                <a:cubicBezTo>
                  <a:pt x="3758560" y="3068597"/>
                  <a:pt x="3759359" y="3072325"/>
                  <a:pt x="3759359" y="3076451"/>
                </a:cubicBezTo>
                <a:cubicBezTo>
                  <a:pt x="3759359" y="3080578"/>
                  <a:pt x="3758560" y="3084572"/>
                  <a:pt x="3757096" y="3088165"/>
                </a:cubicBezTo>
                <a:cubicBezTo>
                  <a:pt x="3755632" y="3091759"/>
                  <a:pt x="3753503" y="3094821"/>
                  <a:pt x="3750974" y="3097485"/>
                </a:cubicBezTo>
                <a:cubicBezTo>
                  <a:pt x="3748311" y="3100146"/>
                  <a:pt x="3745249" y="3102277"/>
                  <a:pt x="3741655" y="3103740"/>
                </a:cubicBezTo>
                <a:cubicBezTo>
                  <a:pt x="3738062" y="3105204"/>
                  <a:pt x="3734201" y="3106003"/>
                  <a:pt x="3729940" y="3106003"/>
                </a:cubicBezTo>
                <a:cubicBezTo>
                  <a:pt x="3720888" y="3106003"/>
                  <a:pt x="3713699" y="3103074"/>
                  <a:pt x="3708104" y="3097485"/>
                </a:cubicBezTo>
                <a:cubicBezTo>
                  <a:pt x="3702512" y="3091894"/>
                  <a:pt x="3699718" y="3084838"/>
                  <a:pt x="3699718" y="3076318"/>
                </a:cubicBezTo>
                <a:cubicBezTo>
                  <a:pt x="3699718" y="3068065"/>
                  <a:pt x="3702512" y="3061009"/>
                  <a:pt x="3708104" y="3055286"/>
                </a:cubicBezTo>
                <a:cubicBezTo>
                  <a:pt x="3713699" y="3049561"/>
                  <a:pt x="3720888" y="3046633"/>
                  <a:pt x="3729940" y="3046633"/>
                </a:cubicBezTo>
                <a:close/>
                <a:moveTo>
                  <a:pt x="3512286" y="3046633"/>
                </a:moveTo>
                <a:cubicBezTo>
                  <a:pt x="3516547" y="3046633"/>
                  <a:pt x="3520540" y="3047431"/>
                  <a:pt x="3524002" y="3049161"/>
                </a:cubicBezTo>
                <a:cubicBezTo>
                  <a:pt x="3527595" y="3050760"/>
                  <a:pt x="3530791" y="3052889"/>
                  <a:pt x="3533320" y="3055552"/>
                </a:cubicBezTo>
                <a:cubicBezTo>
                  <a:pt x="3535849" y="3058213"/>
                  <a:pt x="3537979" y="3061408"/>
                  <a:pt x="3539443" y="3065002"/>
                </a:cubicBezTo>
                <a:cubicBezTo>
                  <a:pt x="3540907" y="3068597"/>
                  <a:pt x="3541706" y="3072325"/>
                  <a:pt x="3541706" y="3076451"/>
                </a:cubicBezTo>
                <a:cubicBezTo>
                  <a:pt x="3541706" y="3080578"/>
                  <a:pt x="3540907" y="3084572"/>
                  <a:pt x="3539443" y="3088165"/>
                </a:cubicBezTo>
                <a:cubicBezTo>
                  <a:pt x="3537979" y="3091759"/>
                  <a:pt x="3535849" y="3094821"/>
                  <a:pt x="3533320" y="3097485"/>
                </a:cubicBezTo>
                <a:cubicBezTo>
                  <a:pt x="3530657" y="3100146"/>
                  <a:pt x="3527595" y="3102277"/>
                  <a:pt x="3524002" y="3103740"/>
                </a:cubicBezTo>
                <a:cubicBezTo>
                  <a:pt x="3520407" y="3105204"/>
                  <a:pt x="3516547" y="3106003"/>
                  <a:pt x="3512286" y="3106003"/>
                </a:cubicBezTo>
                <a:cubicBezTo>
                  <a:pt x="3503232" y="3106003"/>
                  <a:pt x="3496042" y="3103074"/>
                  <a:pt x="3490452" y="3097485"/>
                </a:cubicBezTo>
                <a:cubicBezTo>
                  <a:pt x="3484861" y="3091894"/>
                  <a:pt x="3482065" y="3084838"/>
                  <a:pt x="3482065" y="3076318"/>
                </a:cubicBezTo>
                <a:cubicBezTo>
                  <a:pt x="3482065" y="3068065"/>
                  <a:pt x="3484861" y="3061009"/>
                  <a:pt x="3490452" y="3055286"/>
                </a:cubicBezTo>
                <a:cubicBezTo>
                  <a:pt x="3496042" y="3049561"/>
                  <a:pt x="3503232" y="3046633"/>
                  <a:pt x="3512286" y="3046633"/>
                </a:cubicBezTo>
                <a:close/>
                <a:moveTo>
                  <a:pt x="3294765" y="3046633"/>
                </a:moveTo>
                <a:cubicBezTo>
                  <a:pt x="3298892" y="3046633"/>
                  <a:pt x="3302887" y="3047431"/>
                  <a:pt x="3306481" y="3049161"/>
                </a:cubicBezTo>
                <a:cubicBezTo>
                  <a:pt x="3310208" y="3050760"/>
                  <a:pt x="3313270" y="3052889"/>
                  <a:pt x="3315799" y="3055552"/>
                </a:cubicBezTo>
                <a:cubicBezTo>
                  <a:pt x="3318328" y="3058213"/>
                  <a:pt x="3320458" y="3061408"/>
                  <a:pt x="3321922" y="3065002"/>
                </a:cubicBezTo>
                <a:cubicBezTo>
                  <a:pt x="3323386" y="3068597"/>
                  <a:pt x="3324185" y="3072325"/>
                  <a:pt x="3324185" y="3076451"/>
                </a:cubicBezTo>
                <a:cubicBezTo>
                  <a:pt x="3324185" y="3080578"/>
                  <a:pt x="3323386" y="3084572"/>
                  <a:pt x="3321922" y="3088165"/>
                </a:cubicBezTo>
                <a:cubicBezTo>
                  <a:pt x="3320458" y="3091759"/>
                  <a:pt x="3318328" y="3094821"/>
                  <a:pt x="3315799" y="3097485"/>
                </a:cubicBezTo>
                <a:cubicBezTo>
                  <a:pt x="3313136" y="3100146"/>
                  <a:pt x="3310074" y="3102277"/>
                  <a:pt x="3306481" y="3103740"/>
                </a:cubicBezTo>
                <a:cubicBezTo>
                  <a:pt x="3302887" y="3105204"/>
                  <a:pt x="3299026" y="3106003"/>
                  <a:pt x="3294765" y="3106003"/>
                </a:cubicBezTo>
                <a:cubicBezTo>
                  <a:pt x="3285712" y="3106003"/>
                  <a:pt x="3278523" y="3103074"/>
                  <a:pt x="3272930" y="3097485"/>
                </a:cubicBezTo>
                <a:cubicBezTo>
                  <a:pt x="3267338" y="3091894"/>
                  <a:pt x="3264543" y="3084838"/>
                  <a:pt x="3264543" y="3076318"/>
                </a:cubicBezTo>
                <a:cubicBezTo>
                  <a:pt x="3264543" y="3068065"/>
                  <a:pt x="3267338" y="3061009"/>
                  <a:pt x="3272930" y="3055286"/>
                </a:cubicBezTo>
                <a:cubicBezTo>
                  <a:pt x="3278523" y="3049561"/>
                  <a:pt x="3285712" y="3046633"/>
                  <a:pt x="3294765" y="3046633"/>
                </a:cubicBezTo>
                <a:close/>
                <a:moveTo>
                  <a:pt x="3077111" y="3046633"/>
                </a:moveTo>
                <a:cubicBezTo>
                  <a:pt x="3081239" y="3046633"/>
                  <a:pt x="3085233" y="3047431"/>
                  <a:pt x="3088827" y="3049161"/>
                </a:cubicBezTo>
                <a:cubicBezTo>
                  <a:pt x="3092421" y="3050760"/>
                  <a:pt x="3095616" y="3052889"/>
                  <a:pt x="3098145" y="3055552"/>
                </a:cubicBezTo>
                <a:cubicBezTo>
                  <a:pt x="3100674" y="3058213"/>
                  <a:pt x="3102804" y="3061408"/>
                  <a:pt x="3104268" y="3065002"/>
                </a:cubicBezTo>
                <a:cubicBezTo>
                  <a:pt x="3105733" y="3068597"/>
                  <a:pt x="3106531" y="3072325"/>
                  <a:pt x="3106531" y="3076451"/>
                </a:cubicBezTo>
                <a:cubicBezTo>
                  <a:pt x="3106531" y="3080578"/>
                  <a:pt x="3105733" y="3084572"/>
                  <a:pt x="3104268" y="3088165"/>
                </a:cubicBezTo>
                <a:cubicBezTo>
                  <a:pt x="3102804" y="3091759"/>
                  <a:pt x="3100674" y="3094821"/>
                  <a:pt x="3098145" y="3097485"/>
                </a:cubicBezTo>
                <a:cubicBezTo>
                  <a:pt x="3095482" y="3100146"/>
                  <a:pt x="3092421" y="3102277"/>
                  <a:pt x="3088827" y="3103740"/>
                </a:cubicBezTo>
                <a:cubicBezTo>
                  <a:pt x="3085233" y="3105204"/>
                  <a:pt x="3081372" y="3106003"/>
                  <a:pt x="3077111" y="3106003"/>
                </a:cubicBezTo>
                <a:cubicBezTo>
                  <a:pt x="3068191" y="3106003"/>
                  <a:pt x="3060870" y="3103074"/>
                  <a:pt x="3055276" y="3097485"/>
                </a:cubicBezTo>
                <a:cubicBezTo>
                  <a:pt x="3049686" y="3091894"/>
                  <a:pt x="3046890" y="3084838"/>
                  <a:pt x="3046890" y="3076318"/>
                </a:cubicBezTo>
                <a:cubicBezTo>
                  <a:pt x="3046890" y="3068065"/>
                  <a:pt x="3049686" y="3061009"/>
                  <a:pt x="3055276" y="3055286"/>
                </a:cubicBezTo>
                <a:cubicBezTo>
                  <a:pt x="3060870" y="3049561"/>
                  <a:pt x="3068059" y="3046633"/>
                  <a:pt x="3077111" y="3046633"/>
                </a:cubicBezTo>
                <a:close/>
                <a:moveTo>
                  <a:pt x="2859458" y="3046633"/>
                </a:moveTo>
                <a:cubicBezTo>
                  <a:pt x="2863718" y="3046633"/>
                  <a:pt x="2867579" y="3047431"/>
                  <a:pt x="2871306" y="3049161"/>
                </a:cubicBezTo>
                <a:cubicBezTo>
                  <a:pt x="2875033" y="3050760"/>
                  <a:pt x="2878095" y="3052889"/>
                  <a:pt x="2880624" y="3055552"/>
                </a:cubicBezTo>
                <a:cubicBezTo>
                  <a:pt x="2883286" y="3058213"/>
                  <a:pt x="2885283" y="3061408"/>
                  <a:pt x="2886747" y="3065002"/>
                </a:cubicBezTo>
                <a:cubicBezTo>
                  <a:pt x="2888212" y="3068597"/>
                  <a:pt x="2889010" y="3072325"/>
                  <a:pt x="2889010" y="3076451"/>
                </a:cubicBezTo>
                <a:cubicBezTo>
                  <a:pt x="2889010" y="3080578"/>
                  <a:pt x="2888212" y="3084572"/>
                  <a:pt x="2886747" y="3088165"/>
                </a:cubicBezTo>
                <a:cubicBezTo>
                  <a:pt x="2885283" y="3091759"/>
                  <a:pt x="2883153" y="3094821"/>
                  <a:pt x="2880624" y="3097485"/>
                </a:cubicBezTo>
                <a:cubicBezTo>
                  <a:pt x="2877962" y="3100146"/>
                  <a:pt x="2874900" y="3102277"/>
                  <a:pt x="2871306" y="3103740"/>
                </a:cubicBezTo>
                <a:cubicBezTo>
                  <a:pt x="2867579" y="3105204"/>
                  <a:pt x="2863718" y="3106003"/>
                  <a:pt x="2859458" y="3106003"/>
                </a:cubicBezTo>
                <a:cubicBezTo>
                  <a:pt x="2850540" y="3106003"/>
                  <a:pt x="2843213" y="3103074"/>
                  <a:pt x="2837623" y="3097485"/>
                </a:cubicBezTo>
                <a:cubicBezTo>
                  <a:pt x="2832032" y="3091894"/>
                  <a:pt x="2829236" y="3084838"/>
                  <a:pt x="2829236" y="3076318"/>
                </a:cubicBezTo>
                <a:cubicBezTo>
                  <a:pt x="2829236" y="3068065"/>
                  <a:pt x="2832032" y="3061009"/>
                  <a:pt x="2837623" y="3055286"/>
                </a:cubicBezTo>
                <a:cubicBezTo>
                  <a:pt x="2843213" y="3049561"/>
                  <a:pt x="2850406" y="3046633"/>
                  <a:pt x="2859458" y="3046633"/>
                </a:cubicBezTo>
                <a:close/>
                <a:moveTo>
                  <a:pt x="2641803" y="3046633"/>
                </a:moveTo>
                <a:cubicBezTo>
                  <a:pt x="2646064" y="3046633"/>
                  <a:pt x="2649924" y="3047431"/>
                  <a:pt x="2653519" y="3049161"/>
                </a:cubicBezTo>
                <a:cubicBezTo>
                  <a:pt x="2657246" y="3050760"/>
                  <a:pt x="2660308" y="3052889"/>
                  <a:pt x="2662837" y="3055552"/>
                </a:cubicBezTo>
                <a:cubicBezTo>
                  <a:pt x="2665499" y="3058213"/>
                  <a:pt x="2667496" y="3061408"/>
                  <a:pt x="2668960" y="3065002"/>
                </a:cubicBezTo>
                <a:cubicBezTo>
                  <a:pt x="2670424" y="3068597"/>
                  <a:pt x="2671223" y="3072325"/>
                  <a:pt x="2671223" y="3076451"/>
                </a:cubicBezTo>
                <a:cubicBezTo>
                  <a:pt x="2671223" y="3080578"/>
                  <a:pt x="2670424" y="3084572"/>
                  <a:pt x="2668960" y="3088165"/>
                </a:cubicBezTo>
                <a:cubicBezTo>
                  <a:pt x="2667496" y="3091759"/>
                  <a:pt x="2665366" y="3094821"/>
                  <a:pt x="2662837" y="3097485"/>
                </a:cubicBezTo>
                <a:cubicBezTo>
                  <a:pt x="2660308" y="3100146"/>
                  <a:pt x="2657113" y="3102277"/>
                  <a:pt x="2653519" y="3103740"/>
                </a:cubicBezTo>
                <a:cubicBezTo>
                  <a:pt x="2649924" y="3105204"/>
                  <a:pt x="2646064" y="3106003"/>
                  <a:pt x="2641803" y="3106003"/>
                </a:cubicBezTo>
                <a:cubicBezTo>
                  <a:pt x="2632884" y="3106003"/>
                  <a:pt x="2625563" y="3103074"/>
                  <a:pt x="2619971" y="3097485"/>
                </a:cubicBezTo>
                <a:cubicBezTo>
                  <a:pt x="2614380" y="3091894"/>
                  <a:pt x="2611583" y="3084838"/>
                  <a:pt x="2611583" y="3076318"/>
                </a:cubicBezTo>
                <a:cubicBezTo>
                  <a:pt x="2611583" y="3068065"/>
                  <a:pt x="2614380" y="3061009"/>
                  <a:pt x="2619971" y="3055286"/>
                </a:cubicBezTo>
                <a:cubicBezTo>
                  <a:pt x="2625563" y="3049561"/>
                  <a:pt x="2632752" y="3046633"/>
                  <a:pt x="2641803" y="3046633"/>
                </a:cubicBezTo>
                <a:close/>
                <a:moveTo>
                  <a:pt x="2424149" y="3046633"/>
                </a:moveTo>
                <a:cubicBezTo>
                  <a:pt x="2428410" y="3046633"/>
                  <a:pt x="2432404" y="3047431"/>
                  <a:pt x="2435865" y="3049161"/>
                </a:cubicBezTo>
                <a:cubicBezTo>
                  <a:pt x="2439592" y="3050760"/>
                  <a:pt x="2442654" y="3052889"/>
                  <a:pt x="2445183" y="3055552"/>
                </a:cubicBezTo>
                <a:cubicBezTo>
                  <a:pt x="2447845" y="3058213"/>
                  <a:pt x="2449842" y="3061408"/>
                  <a:pt x="2451306" y="3065002"/>
                </a:cubicBezTo>
                <a:cubicBezTo>
                  <a:pt x="2452770" y="3068597"/>
                  <a:pt x="2453569" y="3072325"/>
                  <a:pt x="2453569" y="3076451"/>
                </a:cubicBezTo>
                <a:cubicBezTo>
                  <a:pt x="2453569" y="3080578"/>
                  <a:pt x="2452770" y="3084572"/>
                  <a:pt x="2451306" y="3088165"/>
                </a:cubicBezTo>
                <a:cubicBezTo>
                  <a:pt x="2449842" y="3091759"/>
                  <a:pt x="2447712" y="3094821"/>
                  <a:pt x="2445183" y="3097485"/>
                </a:cubicBezTo>
                <a:cubicBezTo>
                  <a:pt x="2442654" y="3100146"/>
                  <a:pt x="2439459" y="3102277"/>
                  <a:pt x="2435865" y="3103740"/>
                </a:cubicBezTo>
                <a:cubicBezTo>
                  <a:pt x="2432271" y="3105204"/>
                  <a:pt x="2428410" y="3106003"/>
                  <a:pt x="2424149" y="3106003"/>
                </a:cubicBezTo>
                <a:cubicBezTo>
                  <a:pt x="2415231" y="3106003"/>
                  <a:pt x="2407909" y="3103074"/>
                  <a:pt x="2402317" y="3097485"/>
                </a:cubicBezTo>
                <a:cubicBezTo>
                  <a:pt x="2396726" y="3091894"/>
                  <a:pt x="2393929" y="3084838"/>
                  <a:pt x="2393929" y="3076318"/>
                </a:cubicBezTo>
                <a:cubicBezTo>
                  <a:pt x="2393929" y="3068065"/>
                  <a:pt x="2396726" y="3061009"/>
                  <a:pt x="2402317" y="3055286"/>
                </a:cubicBezTo>
                <a:cubicBezTo>
                  <a:pt x="2407909" y="3049561"/>
                  <a:pt x="2415097" y="3046633"/>
                  <a:pt x="2424149" y="3046633"/>
                </a:cubicBezTo>
                <a:close/>
                <a:moveTo>
                  <a:pt x="2206496" y="3046633"/>
                </a:moveTo>
                <a:cubicBezTo>
                  <a:pt x="2210756" y="3046633"/>
                  <a:pt x="2214750" y="3047431"/>
                  <a:pt x="2218211" y="3049161"/>
                </a:cubicBezTo>
                <a:cubicBezTo>
                  <a:pt x="2221938" y="3050760"/>
                  <a:pt x="2224999" y="3052889"/>
                  <a:pt x="2227529" y="3055552"/>
                </a:cubicBezTo>
                <a:cubicBezTo>
                  <a:pt x="2230191" y="3058213"/>
                  <a:pt x="2232188" y="3061408"/>
                  <a:pt x="2233652" y="3065002"/>
                </a:cubicBezTo>
                <a:cubicBezTo>
                  <a:pt x="2235116" y="3068597"/>
                  <a:pt x="2235915" y="3072325"/>
                  <a:pt x="2235915" y="3076451"/>
                </a:cubicBezTo>
                <a:cubicBezTo>
                  <a:pt x="2235915" y="3080578"/>
                  <a:pt x="2235116" y="3084572"/>
                  <a:pt x="2233652" y="3088165"/>
                </a:cubicBezTo>
                <a:cubicBezTo>
                  <a:pt x="2232188" y="3091759"/>
                  <a:pt x="2230058" y="3094821"/>
                  <a:pt x="2227529" y="3097485"/>
                </a:cubicBezTo>
                <a:cubicBezTo>
                  <a:pt x="2224999" y="3100146"/>
                  <a:pt x="2221805" y="3102277"/>
                  <a:pt x="2218211" y="3103740"/>
                </a:cubicBezTo>
                <a:cubicBezTo>
                  <a:pt x="2214616" y="3105204"/>
                  <a:pt x="2210756" y="3106003"/>
                  <a:pt x="2206496" y="3106003"/>
                </a:cubicBezTo>
                <a:cubicBezTo>
                  <a:pt x="2197443" y="3106003"/>
                  <a:pt x="2190255" y="3103074"/>
                  <a:pt x="2184663" y="3097485"/>
                </a:cubicBezTo>
                <a:cubicBezTo>
                  <a:pt x="2179072" y="3091894"/>
                  <a:pt x="2176276" y="3084838"/>
                  <a:pt x="2176276" y="3076318"/>
                </a:cubicBezTo>
                <a:cubicBezTo>
                  <a:pt x="2176276" y="3068065"/>
                  <a:pt x="2179072" y="3061009"/>
                  <a:pt x="2184663" y="3055286"/>
                </a:cubicBezTo>
                <a:cubicBezTo>
                  <a:pt x="2190255" y="3049561"/>
                  <a:pt x="2197443" y="3046633"/>
                  <a:pt x="2206496" y="3046633"/>
                </a:cubicBezTo>
                <a:close/>
                <a:moveTo>
                  <a:pt x="1988975" y="3046633"/>
                </a:moveTo>
                <a:cubicBezTo>
                  <a:pt x="1993102" y="3046633"/>
                  <a:pt x="1997096" y="3047431"/>
                  <a:pt x="2000690" y="3049161"/>
                </a:cubicBezTo>
                <a:cubicBezTo>
                  <a:pt x="2004417" y="3050760"/>
                  <a:pt x="2007479" y="3052889"/>
                  <a:pt x="2010008" y="3055552"/>
                </a:cubicBezTo>
                <a:cubicBezTo>
                  <a:pt x="2012670" y="3058213"/>
                  <a:pt x="2014667" y="3061408"/>
                  <a:pt x="2016131" y="3065002"/>
                </a:cubicBezTo>
                <a:cubicBezTo>
                  <a:pt x="2017595" y="3068597"/>
                  <a:pt x="2018394" y="3072325"/>
                  <a:pt x="2018394" y="3076451"/>
                </a:cubicBezTo>
                <a:cubicBezTo>
                  <a:pt x="2018394" y="3080578"/>
                  <a:pt x="2017595" y="3084572"/>
                  <a:pt x="2016131" y="3088165"/>
                </a:cubicBezTo>
                <a:cubicBezTo>
                  <a:pt x="2014667" y="3091759"/>
                  <a:pt x="2012537" y="3094821"/>
                  <a:pt x="2010008" y="3097485"/>
                </a:cubicBezTo>
                <a:cubicBezTo>
                  <a:pt x="2007479" y="3100146"/>
                  <a:pt x="2004284" y="3102277"/>
                  <a:pt x="2000690" y="3103740"/>
                </a:cubicBezTo>
                <a:cubicBezTo>
                  <a:pt x="1997096" y="3105204"/>
                  <a:pt x="1993234" y="3106003"/>
                  <a:pt x="1988975" y="3106003"/>
                </a:cubicBezTo>
                <a:cubicBezTo>
                  <a:pt x="1979923" y="3106003"/>
                  <a:pt x="1972734" y="3103074"/>
                  <a:pt x="1967143" y="3097485"/>
                </a:cubicBezTo>
                <a:cubicBezTo>
                  <a:pt x="1961553" y="3091894"/>
                  <a:pt x="1958757" y="3084838"/>
                  <a:pt x="1958757" y="3076318"/>
                </a:cubicBezTo>
                <a:cubicBezTo>
                  <a:pt x="1958757" y="3068065"/>
                  <a:pt x="1961553" y="3061009"/>
                  <a:pt x="1967143" y="3055286"/>
                </a:cubicBezTo>
                <a:cubicBezTo>
                  <a:pt x="1972734" y="3049561"/>
                  <a:pt x="1979923" y="3046633"/>
                  <a:pt x="1988975" y="3046633"/>
                </a:cubicBezTo>
                <a:close/>
                <a:moveTo>
                  <a:pt x="1771336" y="3046633"/>
                </a:moveTo>
                <a:cubicBezTo>
                  <a:pt x="1775595" y="3046633"/>
                  <a:pt x="1779455" y="3047431"/>
                  <a:pt x="1783050" y="3049161"/>
                </a:cubicBezTo>
                <a:cubicBezTo>
                  <a:pt x="1786778" y="3050760"/>
                  <a:pt x="1789839" y="3052889"/>
                  <a:pt x="1792368" y="3055552"/>
                </a:cubicBezTo>
                <a:cubicBezTo>
                  <a:pt x="1795030" y="3058213"/>
                  <a:pt x="1797028" y="3061408"/>
                  <a:pt x="1798491" y="3065002"/>
                </a:cubicBezTo>
                <a:cubicBezTo>
                  <a:pt x="1799955" y="3068597"/>
                  <a:pt x="1800754" y="3072325"/>
                  <a:pt x="1800754" y="3076451"/>
                </a:cubicBezTo>
                <a:cubicBezTo>
                  <a:pt x="1800754" y="3080578"/>
                  <a:pt x="1799955" y="3084572"/>
                  <a:pt x="1798491" y="3088165"/>
                </a:cubicBezTo>
                <a:cubicBezTo>
                  <a:pt x="1797028" y="3091759"/>
                  <a:pt x="1794897" y="3094821"/>
                  <a:pt x="1792368" y="3097485"/>
                </a:cubicBezTo>
                <a:cubicBezTo>
                  <a:pt x="1789705" y="3100146"/>
                  <a:pt x="1786645" y="3102277"/>
                  <a:pt x="1783050" y="3103740"/>
                </a:cubicBezTo>
                <a:cubicBezTo>
                  <a:pt x="1779455" y="3105204"/>
                  <a:pt x="1775595" y="3106003"/>
                  <a:pt x="1771336" y="3106003"/>
                </a:cubicBezTo>
                <a:cubicBezTo>
                  <a:pt x="1762417" y="3106003"/>
                  <a:pt x="1755096" y="3103074"/>
                  <a:pt x="1749506" y="3097485"/>
                </a:cubicBezTo>
                <a:cubicBezTo>
                  <a:pt x="1743915" y="3091894"/>
                  <a:pt x="1741121" y="3084838"/>
                  <a:pt x="1741121" y="3076318"/>
                </a:cubicBezTo>
                <a:cubicBezTo>
                  <a:pt x="1741121" y="3068065"/>
                  <a:pt x="1743915" y="3061009"/>
                  <a:pt x="1749506" y="3055286"/>
                </a:cubicBezTo>
                <a:cubicBezTo>
                  <a:pt x="1755096" y="3049561"/>
                  <a:pt x="1762284" y="3046633"/>
                  <a:pt x="1771336" y="3046633"/>
                </a:cubicBezTo>
                <a:close/>
                <a:moveTo>
                  <a:pt x="1553695" y="3046633"/>
                </a:moveTo>
                <a:cubicBezTo>
                  <a:pt x="1557955" y="3046633"/>
                  <a:pt x="1561816" y="3047431"/>
                  <a:pt x="1565410" y="3049161"/>
                </a:cubicBezTo>
                <a:cubicBezTo>
                  <a:pt x="1569004" y="3050760"/>
                  <a:pt x="1572199" y="3052889"/>
                  <a:pt x="1574728" y="3055552"/>
                </a:cubicBezTo>
                <a:cubicBezTo>
                  <a:pt x="1577390" y="3058213"/>
                  <a:pt x="1579387" y="3061408"/>
                  <a:pt x="1580851" y="3065002"/>
                </a:cubicBezTo>
                <a:cubicBezTo>
                  <a:pt x="1582315" y="3068597"/>
                  <a:pt x="1583114" y="3072325"/>
                  <a:pt x="1583114" y="3076451"/>
                </a:cubicBezTo>
                <a:cubicBezTo>
                  <a:pt x="1583114" y="3080578"/>
                  <a:pt x="1582315" y="3084572"/>
                  <a:pt x="1580851" y="3088165"/>
                </a:cubicBezTo>
                <a:cubicBezTo>
                  <a:pt x="1579387" y="3091759"/>
                  <a:pt x="1577257" y="3094821"/>
                  <a:pt x="1574728" y="3097485"/>
                </a:cubicBezTo>
                <a:cubicBezTo>
                  <a:pt x="1572066" y="3100146"/>
                  <a:pt x="1569004" y="3102277"/>
                  <a:pt x="1565410" y="3103740"/>
                </a:cubicBezTo>
                <a:cubicBezTo>
                  <a:pt x="1561816" y="3105204"/>
                  <a:pt x="1557955" y="3106003"/>
                  <a:pt x="1553695" y="3106003"/>
                </a:cubicBezTo>
                <a:cubicBezTo>
                  <a:pt x="1544777" y="3106003"/>
                  <a:pt x="1537455" y="3103074"/>
                  <a:pt x="1531864" y="3097485"/>
                </a:cubicBezTo>
                <a:cubicBezTo>
                  <a:pt x="1526275" y="3091894"/>
                  <a:pt x="1523479" y="3084838"/>
                  <a:pt x="1523479" y="3076318"/>
                </a:cubicBezTo>
                <a:cubicBezTo>
                  <a:pt x="1523479" y="3068065"/>
                  <a:pt x="1526275" y="3061009"/>
                  <a:pt x="1531864" y="3055286"/>
                </a:cubicBezTo>
                <a:cubicBezTo>
                  <a:pt x="1537455" y="3049561"/>
                  <a:pt x="1544643" y="3046633"/>
                  <a:pt x="1553695" y="3046633"/>
                </a:cubicBezTo>
                <a:close/>
                <a:moveTo>
                  <a:pt x="1336051" y="3046633"/>
                </a:moveTo>
                <a:cubicBezTo>
                  <a:pt x="1340311" y="3046633"/>
                  <a:pt x="1344306" y="3047431"/>
                  <a:pt x="1347767" y="3049161"/>
                </a:cubicBezTo>
                <a:cubicBezTo>
                  <a:pt x="1351360" y="3050760"/>
                  <a:pt x="1354554" y="3052889"/>
                  <a:pt x="1357085" y="3055552"/>
                </a:cubicBezTo>
                <a:cubicBezTo>
                  <a:pt x="1359747" y="3058213"/>
                  <a:pt x="1361744" y="3061408"/>
                  <a:pt x="1363207" y="3065002"/>
                </a:cubicBezTo>
                <a:cubicBezTo>
                  <a:pt x="1364672" y="3068597"/>
                  <a:pt x="1365470" y="3072325"/>
                  <a:pt x="1365470" y="3076451"/>
                </a:cubicBezTo>
                <a:cubicBezTo>
                  <a:pt x="1365470" y="3080578"/>
                  <a:pt x="1364672" y="3084572"/>
                  <a:pt x="1363207" y="3088165"/>
                </a:cubicBezTo>
                <a:cubicBezTo>
                  <a:pt x="1361744" y="3091759"/>
                  <a:pt x="1359614" y="3094821"/>
                  <a:pt x="1357085" y="3097485"/>
                </a:cubicBezTo>
                <a:cubicBezTo>
                  <a:pt x="1354421" y="3100146"/>
                  <a:pt x="1351360" y="3102277"/>
                  <a:pt x="1347767" y="3103740"/>
                </a:cubicBezTo>
                <a:cubicBezTo>
                  <a:pt x="1344172" y="3105204"/>
                  <a:pt x="1340311" y="3106003"/>
                  <a:pt x="1336051" y="3106003"/>
                </a:cubicBezTo>
                <a:cubicBezTo>
                  <a:pt x="1327131" y="3106003"/>
                  <a:pt x="1319810" y="3103074"/>
                  <a:pt x="1314219" y="3097485"/>
                </a:cubicBezTo>
                <a:cubicBezTo>
                  <a:pt x="1308628" y="3091894"/>
                  <a:pt x="1305833" y="3084838"/>
                  <a:pt x="1305833" y="3076318"/>
                </a:cubicBezTo>
                <a:cubicBezTo>
                  <a:pt x="1305833" y="3068065"/>
                  <a:pt x="1308628" y="3061009"/>
                  <a:pt x="1314219" y="3055286"/>
                </a:cubicBezTo>
                <a:cubicBezTo>
                  <a:pt x="1319810" y="3049561"/>
                  <a:pt x="1326998" y="3046633"/>
                  <a:pt x="1336051" y="3046633"/>
                </a:cubicBezTo>
                <a:close/>
                <a:moveTo>
                  <a:pt x="1118406" y="3046633"/>
                </a:moveTo>
                <a:cubicBezTo>
                  <a:pt x="1122667" y="3046633"/>
                  <a:pt x="1126662" y="3047431"/>
                  <a:pt x="1130123" y="3049161"/>
                </a:cubicBezTo>
                <a:cubicBezTo>
                  <a:pt x="1133849" y="3050760"/>
                  <a:pt x="1136911" y="3052889"/>
                  <a:pt x="1139439" y="3055552"/>
                </a:cubicBezTo>
                <a:cubicBezTo>
                  <a:pt x="1142100" y="3058213"/>
                  <a:pt x="1144096" y="3061408"/>
                  <a:pt x="1145560" y="3065002"/>
                </a:cubicBezTo>
                <a:cubicBezTo>
                  <a:pt x="1147025" y="3068597"/>
                  <a:pt x="1147824" y="3072325"/>
                  <a:pt x="1147824" y="3076451"/>
                </a:cubicBezTo>
                <a:cubicBezTo>
                  <a:pt x="1147824" y="3080578"/>
                  <a:pt x="1147025" y="3084572"/>
                  <a:pt x="1145560" y="3088165"/>
                </a:cubicBezTo>
                <a:cubicBezTo>
                  <a:pt x="1144096" y="3091759"/>
                  <a:pt x="1141967" y="3094821"/>
                  <a:pt x="1139439" y="3097485"/>
                </a:cubicBezTo>
                <a:cubicBezTo>
                  <a:pt x="1136911" y="3100146"/>
                  <a:pt x="1133716" y="3102277"/>
                  <a:pt x="1130123" y="3103740"/>
                </a:cubicBezTo>
                <a:cubicBezTo>
                  <a:pt x="1126527" y="3105204"/>
                  <a:pt x="1122667" y="3106003"/>
                  <a:pt x="1118406" y="3106003"/>
                </a:cubicBezTo>
                <a:cubicBezTo>
                  <a:pt x="1109487" y="3106003"/>
                  <a:pt x="1102163" y="3103074"/>
                  <a:pt x="1096572" y="3097485"/>
                </a:cubicBezTo>
                <a:cubicBezTo>
                  <a:pt x="1090982" y="3091894"/>
                  <a:pt x="1088187" y="3084838"/>
                  <a:pt x="1088187" y="3076318"/>
                </a:cubicBezTo>
                <a:cubicBezTo>
                  <a:pt x="1088187" y="3068065"/>
                  <a:pt x="1090982" y="3061009"/>
                  <a:pt x="1096572" y="3055286"/>
                </a:cubicBezTo>
                <a:cubicBezTo>
                  <a:pt x="1102163" y="3049561"/>
                  <a:pt x="1109353" y="3046633"/>
                  <a:pt x="1118406" y="3046633"/>
                </a:cubicBezTo>
                <a:close/>
                <a:moveTo>
                  <a:pt x="900893" y="3046633"/>
                </a:moveTo>
                <a:cubicBezTo>
                  <a:pt x="905020" y="3046633"/>
                  <a:pt x="909014" y="3047431"/>
                  <a:pt x="912608" y="3049161"/>
                </a:cubicBezTo>
                <a:cubicBezTo>
                  <a:pt x="916336" y="3050760"/>
                  <a:pt x="919398" y="3052889"/>
                  <a:pt x="921927" y="3055552"/>
                </a:cubicBezTo>
                <a:cubicBezTo>
                  <a:pt x="924589" y="3058213"/>
                  <a:pt x="926586" y="3061408"/>
                  <a:pt x="928049" y="3065002"/>
                </a:cubicBezTo>
                <a:cubicBezTo>
                  <a:pt x="929514" y="3068597"/>
                  <a:pt x="930312" y="3072325"/>
                  <a:pt x="930312" y="3076451"/>
                </a:cubicBezTo>
                <a:cubicBezTo>
                  <a:pt x="930312" y="3080578"/>
                  <a:pt x="929514" y="3084572"/>
                  <a:pt x="928049" y="3088165"/>
                </a:cubicBezTo>
                <a:cubicBezTo>
                  <a:pt x="926586" y="3091759"/>
                  <a:pt x="924456" y="3094821"/>
                  <a:pt x="921927" y="3097485"/>
                </a:cubicBezTo>
                <a:cubicBezTo>
                  <a:pt x="919398" y="3100146"/>
                  <a:pt x="916202" y="3102277"/>
                  <a:pt x="912608" y="3103740"/>
                </a:cubicBezTo>
                <a:cubicBezTo>
                  <a:pt x="909014" y="3105204"/>
                  <a:pt x="905153" y="3106003"/>
                  <a:pt x="900893" y="3106003"/>
                </a:cubicBezTo>
                <a:cubicBezTo>
                  <a:pt x="891975" y="3106003"/>
                  <a:pt x="884653" y="3103074"/>
                  <a:pt x="879062" y="3097485"/>
                </a:cubicBezTo>
                <a:cubicBezTo>
                  <a:pt x="873473" y="3091894"/>
                  <a:pt x="870677" y="3084838"/>
                  <a:pt x="870677" y="3076318"/>
                </a:cubicBezTo>
                <a:cubicBezTo>
                  <a:pt x="870677" y="3068065"/>
                  <a:pt x="873473" y="3061009"/>
                  <a:pt x="879062" y="3055286"/>
                </a:cubicBezTo>
                <a:cubicBezTo>
                  <a:pt x="884653" y="3049561"/>
                  <a:pt x="891842" y="3046633"/>
                  <a:pt x="900893" y="3046633"/>
                </a:cubicBezTo>
                <a:close/>
                <a:moveTo>
                  <a:pt x="683251" y="3046633"/>
                </a:moveTo>
                <a:cubicBezTo>
                  <a:pt x="687511" y="3046633"/>
                  <a:pt x="691372" y="3047431"/>
                  <a:pt x="694966" y="3049161"/>
                </a:cubicBezTo>
                <a:cubicBezTo>
                  <a:pt x="698693" y="3050760"/>
                  <a:pt x="701755" y="3052889"/>
                  <a:pt x="704284" y="3055552"/>
                </a:cubicBezTo>
                <a:cubicBezTo>
                  <a:pt x="706946" y="3058213"/>
                  <a:pt x="708943" y="3061408"/>
                  <a:pt x="710407" y="3065002"/>
                </a:cubicBezTo>
                <a:cubicBezTo>
                  <a:pt x="711871" y="3068597"/>
                  <a:pt x="712670" y="3072325"/>
                  <a:pt x="712670" y="3076451"/>
                </a:cubicBezTo>
                <a:cubicBezTo>
                  <a:pt x="712670" y="3080578"/>
                  <a:pt x="711871" y="3084572"/>
                  <a:pt x="710407" y="3088165"/>
                </a:cubicBezTo>
                <a:cubicBezTo>
                  <a:pt x="708943" y="3091759"/>
                  <a:pt x="706813" y="3094821"/>
                  <a:pt x="704284" y="3097485"/>
                </a:cubicBezTo>
                <a:cubicBezTo>
                  <a:pt x="701755" y="3100146"/>
                  <a:pt x="698560" y="3102277"/>
                  <a:pt x="694966" y="3103740"/>
                </a:cubicBezTo>
                <a:cubicBezTo>
                  <a:pt x="691372" y="3105204"/>
                  <a:pt x="687511" y="3106003"/>
                  <a:pt x="683251" y="3106003"/>
                </a:cubicBezTo>
                <a:cubicBezTo>
                  <a:pt x="674333" y="3106003"/>
                  <a:pt x="667011" y="3103074"/>
                  <a:pt x="661420" y="3097485"/>
                </a:cubicBezTo>
                <a:cubicBezTo>
                  <a:pt x="655829" y="3091894"/>
                  <a:pt x="653034" y="3084838"/>
                  <a:pt x="653034" y="3076318"/>
                </a:cubicBezTo>
                <a:cubicBezTo>
                  <a:pt x="653034" y="3068065"/>
                  <a:pt x="655829" y="3061009"/>
                  <a:pt x="661420" y="3055286"/>
                </a:cubicBezTo>
                <a:cubicBezTo>
                  <a:pt x="667011" y="3049561"/>
                  <a:pt x="674200" y="3046633"/>
                  <a:pt x="683251" y="3046633"/>
                </a:cubicBezTo>
                <a:close/>
                <a:moveTo>
                  <a:pt x="465608" y="3046633"/>
                </a:moveTo>
                <a:cubicBezTo>
                  <a:pt x="469868" y="3046633"/>
                  <a:pt x="473729" y="3047431"/>
                  <a:pt x="477324" y="3049161"/>
                </a:cubicBezTo>
                <a:cubicBezTo>
                  <a:pt x="481051" y="3050760"/>
                  <a:pt x="484112" y="3052889"/>
                  <a:pt x="486641" y="3055552"/>
                </a:cubicBezTo>
                <a:cubicBezTo>
                  <a:pt x="489303" y="3058213"/>
                  <a:pt x="491300" y="3061408"/>
                  <a:pt x="492764" y="3065002"/>
                </a:cubicBezTo>
                <a:cubicBezTo>
                  <a:pt x="494228" y="3068597"/>
                  <a:pt x="495027" y="3072325"/>
                  <a:pt x="495027" y="3076451"/>
                </a:cubicBezTo>
                <a:cubicBezTo>
                  <a:pt x="495027" y="3080578"/>
                  <a:pt x="494228" y="3084572"/>
                  <a:pt x="492764" y="3088165"/>
                </a:cubicBezTo>
                <a:cubicBezTo>
                  <a:pt x="491300" y="3091759"/>
                  <a:pt x="489170" y="3094821"/>
                  <a:pt x="486641" y="3097485"/>
                </a:cubicBezTo>
                <a:cubicBezTo>
                  <a:pt x="483978" y="3100146"/>
                  <a:pt x="480918" y="3102277"/>
                  <a:pt x="477324" y="3103740"/>
                </a:cubicBezTo>
                <a:cubicBezTo>
                  <a:pt x="473729" y="3105204"/>
                  <a:pt x="469868" y="3106003"/>
                  <a:pt x="465608" y="3106003"/>
                </a:cubicBezTo>
                <a:cubicBezTo>
                  <a:pt x="456690" y="3106003"/>
                  <a:pt x="449368" y="3103074"/>
                  <a:pt x="443777" y="3097485"/>
                </a:cubicBezTo>
                <a:cubicBezTo>
                  <a:pt x="438186" y="3091894"/>
                  <a:pt x="435391" y="3084838"/>
                  <a:pt x="435391" y="3076318"/>
                </a:cubicBezTo>
                <a:cubicBezTo>
                  <a:pt x="435391" y="3068065"/>
                  <a:pt x="438186" y="3061009"/>
                  <a:pt x="443777" y="3055286"/>
                </a:cubicBezTo>
                <a:cubicBezTo>
                  <a:pt x="449368" y="3049561"/>
                  <a:pt x="456557" y="3046633"/>
                  <a:pt x="465608" y="3046633"/>
                </a:cubicBezTo>
                <a:close/>
                <a:moveTo>
                  <a:pt x="247965" y="3046633"/>
                </a:moveTo>
                <a:cubicBezTo>
                  <a:pt x="252225" y="3046633"/>
                  <a:pt x="256219" y="3047431"/>
                  <a:pt x="259680" y="3049161"/>
                </a:cubicBezTo>
                <a:cubicBezTo>
                  <a:pt x="263407" y="3050760"/>
                  <a:pt x="266469" y="3052889"/>
                  <a:pt x="268998" y="3055552"/>
                </a:cubicBezTo>
                <a:cubicBezTo>
                  <a:pt x="271660" y="3058213"/>
                  <a:pt x="273657" y="3061408"/>
                  <a:pt x="275121" y="3065002"/>
                </a:cubicBezTo>
                <a:cubicBezTo>
                  <a:pt x="276585" y="3068597"/>
                  <a:pt x="277384" y="3072325"/>
                  <a:pt x="277384" y="3076451"/>
                </a:cubicBezTo>
                <a:cubicBezTo>
                  <a:pt x="277384" y="3080578"/>
                  <a:pt x="276585" y="3084572"/>
                  <a:pt x="275121" y="3088165"/>
                </a:cubicBezTo>
                <a:cubicBezTo>
                  <a:pt x="273657" y="3091759"/>
                  <a:pt x="271527" y="3094821"/>
                  <a:pt x="268998" y="3097485"/>
                </a:cubicBezTo>
                <a:cubicBezTo>
                  <a:pt x="266335" y="3100146"/>
                  <a:pt x="263274" y="3102277"/>
                  <a:pt x="259680" y="3103740"/>
                </a:cubicBezTo>
                <a:cubicBezTo>
                  <a:pt x="256085" y="3105204"/>
                  <a:pt x="252225" y="3106003"/>
                  <a:pt x="247965" y="3106003"/>
                </a:cubicBezTo>
                <a:cubicBezTo>
                  <a:pt x="239048" y="3106003"/>
                  <a:pt x="231726" y="3103074"/>
                  <a:pt x="226135" y="3097485"/>
                </a:cubicBezTo>
                <a:cubicBezTo>
                  <a:pt x="220544" y="3091894"/>
                  <a:pt x="217749" y="3084838"/>
                  <a:pt x="217749" y="3076318"/>
                </a:cubicBezTo>
                <a:cubicBezTo>
                  <a:pt x="217749" y="3068065"/>
                  <a:pt x="220544" y="3061009"/>
                  <a:pt x="226135" y="3055286"/>
                </a:cubicBezTo>
                <a:cubicBezTo>
                  <a:pt x="231726" y="3049561"/>
                  <a:pt x="238914" y="3046633"/>
                  <a:pt x="247965" y="3046633"/>
                </a:cubicBezTo>
                <a:close/>
                <a:moveTo>
                  <a:pt x="30322" y="3046633"/>
                </a:moveTo>
                <a:cubicBezTo>
                  <a:pt x="34582" y="3046633"/>
                  <a:pt x="38577" y="3047431"/>
                  <a:pt x="42038" y="3049161"/>
                </a:cubicBezTo>
                <a:cubicBezTo>
                  <a:pt x="45765" y="3050760"/>
                  <a:pt x="48827" y="3052889"/>
                  <a:pt x="51356" y="3055552"/>
                </a:cubicBezTo>
                <a:cubicBezTo>
                  <a:pt x="54018" y="3058213"/>
                  <a:pt x="56015" y="3061408"/>
                  <a:pt x="57479" y="3065002"/>
                </a:cubicBezTo>
                <a:cubicBezTo>
                  <a:pt x="58943" y="3068597"/>
                  <a:pt x="59742" y="3072325"/>
                  <a:pt x="59742" y="3076451"/>
                </a:cubicBezTo>
                <a:cubicBezTo>
                  <a:pt x="59742" y="3080578"/>
                  <a:pt x="58943" y="3084572"/>
                  <a:pt x="57479" y="3088165"/>
                </a:cubicBezTo>
                <a:cubicBezTo>
                  <a:pt x="56015" y="3091759"/>
                  <a:pt x="53885" y="3094821"/>
                  <a:pt x="51356" y="3097485"/>
                </a:cubicBezTo>
                <a:cubicBezTo>
                  <a:pt x="48693" y="3100146"/>
                  <a:pt x="45632" y="3102277"/>
                  <a:pt x="42038" y="3103740"/>
                </a:cubicBezTo>
                <a:cubicBezTo>
                  <a:pt x="38443" y="3105204"/>
                  <a:pt x="34582" y="3106003"/>
                  <a:pt x="30322" y="3106003"/>
                </a:cubicBezTo>
                <a:cubicBezTo>
                  <a:pt x="21404" y="3106003"/>
                  <a:pt x="14083" y="3103074"/>
                  <a:pt x="8493" y="3097485"/>
                </a:cubicBezTo>
                <a:cubicBezTo>
                  <a:pt x="2902" y="3091894"/>
                  <a:pt x="107" y="3084838"/>
                  <a:pt x="107" y="3076318"/>
                </a:cubicBezTo>
                <a:cubicBezTo>
                  <a:pt x="107" y="3068065"/>
                  <a:pt x="2902" y="3061009"/>
                  <a:pt x="8493" y="3055286"/>
                </a:cubicBezTo>
                <a:cubicBezTo>
                  <a:pt x="14083" y="3049561"/>
                  <a:pt x="21270" y="3046633"/>
                  <a:pt x="30322" y="3046633"/>
                </a:cubicBezTo>
                <a:close/>
                <a:moveTo>
                  <a:pt x="10475977" y="2845761"/>
                </a:moveTo>
                <a:cubicBezTo>
                  <a:pt x="10470119" y="2845761"/>
                  <a:pt x="10467589" y="2847756"/>
                  <a:pt x="10465992" y="2849355"/>
                </a:cubicBezTo>
                <a:cubicBezTo>
                  <a:pt x="10463463" y="2852017"/>
                  <a:pt x="10462399" y="2854812"/>
                  <a:pt x="10462399" y="2858806"/>
                </a:cubicBezTo>
                <a:cubicBezTo>
                  <a:pt x="10462399" y="2862933"/>
                  <a:pt x="10463463" y="2865729"/>
                  <a:pt x="10465992" y="2868257"/>
                </a:cubicBezTo>
                <a:cubicBezTo>
                  <a:pt x="10467589" y="2869855"/>
                  <a:pt x="10470119" y="2871718"/>
                  <a:pt x="10475977" y="2871718"/>
                </a:cubicBezTo>
                <a:cubicBezTo>
                  <a:pt x="10478107" y="2871718"/>
                  <a:pt x="10479838" y="2871319"/>
                  <a:pt x="10481302" y="2870787"/>
                </a:cubicBezTo>
                <a:cubicBezTo>
                  <a:pt x="10482899" y="2870254"/>
                  <a:pt x="10484098" y="2869455"/>
                  <a:pt x="10485029" y="2868390"/>
                </a:cubicBezTo>
                <a:cubicBezTo>
                  <a:pt x="10486094" y="2867325"/>
                  <a:pt x="10487026" y="2865861"/>
                  <a:pt x="10487691" y="2864264"/>
                </a:cubicBezTo>
                <a:cubicBezTo>
                  <a:pt x="10488357" y="2862666"/>
                  <a:pt x="10488623" y="2860803"/>
                  <a:pt x="10488623" y="2858806"/>
                </a:cubicBezTo>
                <a:cubicBezTo>
                  <a:pt x="10488623" y="2856941"/>
                  <a:pt x="10488357" y="2855212"/>
                  <a:pt x="10487691" y="2853614"/>
                </a:cubicBezTo>
                <a:cubicBezTo>
                  <a:pt x="10487026" y="2851884"/>
                  <a:pt x="10486094" y="2850552"/>
                  <a:pt x="10485029" y="2849355"/>
                </a:cubicBezTo>
                <a:cubicBezTo>
                  <a:pt x="10483964" y="2848289"/>
                  <a:pt x="10482633" y="2847357"/>
                  <a:pt x="10481035" y="2846692"/>
                </a:cubicBezTo>
                <a:cubicBezTo>
                  <a:pt x="10479571" y="2846027"/>
                  <a:pt x="10477974" y="2845761"/>
                  <a:pt x="10475977" y="2845761"/>
                </a:cubicBezTo>
                <a:close/>
                <a:moveTo>
                  <a:pt x="10258466" y="2845761"/>
                </a:moveTo>
                <a:cubicBezTo>
                  <a:pt x="10252608" y="2845761"/>
                  <a:pt x="10250078" y="2847756"/>
                  <a:pt x="10248481" y="2849355"/>
                </a:cubicBezTo>
                <a:cubicBezTo>
                  <a:pt x="10245952" y="2852017"/>
                  <a:pt x="10244887" y="2854812"/>
                  <a:pt x="10244887" y="2858806"/>
                </a:cubicBezTo>
                <a:cubicBezTo>
                  <a:pt x="10244887" y="2862933"/>
                  <a:pt x="10245952" y="2865729"/>
                  <a:pt x="10248481" y="2868257"/>
                </a:cubicBezTo>
                <a:cubicBezTo>
                  <a:pt x="10250078" y="2869855"/>
                  <a:pt x="10252608" y="2871718"/>
                  <a:pt x="10258466" y="2871718"/>
                </a:cubicBezTo>
                <a:cubicBezTo>
                  <a:pt x="10260462" y="2871718"/>
                  <a:pt x="10262192" y="2871319"/>
                  <a:pt x="10263790" y="2870787"/>
                </a:cubicBezTo>
                <a:cubicBezTo>
                  <a:pt x="10265388" y="2870254"/>
                  <a:pt x="10266586" y="2869455"/>
                  <a:pt x="10267517" y="2868390"/>
                </a:cubicBezTo>
                <a:cubicBezTo>
                  <a:pt x="10268583" y="2867325"/>
                  <a:pt x="10269515" y="2865861"/>
                  <a:pt x="10270180" y="2864264"/>
                </a:cubicBezTo>
                <a:cubicBezTo>
                  <a:pt x="10270845" y="2862666"/>
                  <a:pt x="10271112" y="2860803"/>
                  <a:pt x="10271112" y="2858806"/>
                </a:cubicBezTo>
                <a:cubicBezTo>
                  <a:pt x="10271112" y="2856941"/>
                  <a:pt x="10270845" y="2855212"/>
                  <a:pt x="10270180" y="2853614"/>
                </a:cubicBezTo>
                <a:cubicBezTo>
                  <a:pt x="10269515" y="2851884"/>
                  <a:pt x="10268583" y="2850552"/>
                  <a:pt x="10267517" y="2849355"/>
                </a:cubicBezTo>
                <a:cubicBezTo>
                  <a:pt x="10266452" y="2848289"/>
                  <a:pt x="10265121" y="2847357"/>
                  <a:pt x="10263524" y="2846692"/>
                </a:cubicBezTo>
                <a:cubicBezTo>
                  <a:pt x="10262060" y="2846027"/>
                  <a:pt x="10260462" y="2845761"/>
                  <a:pt x="10258466" y="2845761"/>
                </a:cubicBezTo>
                <a:close/>
                <a:moveTo>
                  <a:pt x="10040820" y="2845761"/>
                </a:moveTo>
                <a:cubicBezTo>
                  <a:pt x="10034962" y="2845761"/>
                  <a:pt x="10032433" y="2847756"/>
                  <a:pt x="10030835" y="2849355"/>
                </a:cubicBezTo>
                <a:cubicBezTo>
                  <a:pt x="10028306" y="2852017"/>
                  <a:pt x="10027242" y="2854812"/>
                  <a:pt x="10027242" y="2858806"/>
                </a:cubicBezTo>
                <a:cubicBezTo>
                  <a:pt x="10027242" y="2862933"/>
                  <a:pt x="10028306" y="2865729"/>
                  <a:pt x="10030835" y="2868257"/>
                </a:cubicBezTo>
                <a:cubicBezTo>
                  <a:pt x="10032433" y="2869855"/>
                  <a:pt x="10034962" y="2871718"/>
                  <a:pt x="10040820" y="2871718"/>
                </a:cubicBezTo>
                <a:cubicBezTo>
                  <a:pt x="10042817" y="2871718"/>
                  <a:pt x="10044681" y="2871319"/>
                  <a:pt x="10046145" y="2870787"/>
                </a:cubicBezTo>
                <a:cubicBezTo>
                  <a:pt x="10047742" y="2870254"/>
                  <a:pt x="10048941" y="2869455"/>
                  <a:pt x="10049872" y="2868390"/>
                </a:cubicBezTo>
                <a:cubicBezTo>
                  <a:pt x="10050937" y="2867325"/>
                  <a:pt x="10051869" y="2865861"/>
                  <a:pt x="10052534" y="2864264"/>
                </a:cubicBezTo>
                <a:cubicBezTo>
                  <a:pt x="10053333" y="2862666"/>
                  <a:pt x="10053599" y="2860803"/>
                  <a:pt x="10053599" y="2858806"/>
                </a:cubicBezTo>
                <a:cubicBezTo>
                  <a:pt x="10053599" y="2856941"/>
                  <a:pt x="10053200" y="2855212"/>
                  <a:pt x="10052534" y="2853614"/>
                </a:cubicBezTo>
                <a:cubicBezTo>
                  <a:pt x="10051869" y="2851884"/>
                  <a:pt x="10050937" y="2850552"/>
                  <a:pt x="10049872" y="2849355"/>
                </a:cubicBezTo>
                <a:cubicBezTo>
                  <a:pt x="10048807" y="2848289"/>
                  <a:pt x="10047476" y="2847357"/>
                  <a:pt x="10045878" y="2846692"/>
                </a:cubicBezTo>
                <a:cubicBezTo>
                  <a:pt x="10044414" y="2846027"/>
                  <a:pt x="10042817" y="2845761"/>
                  <a:pt x="10040820" y="2845761"/>
                </a:cubicBezTo>
                <a:close/>
                <a:moveTo>
                  <a:pt x="9823176" y="2845761"/>
                </a:moveTo>
                <a:cubicBezTo>
                  <a:pt x="9817318" y="2845761"/>
                  <a:pt x="9814788" y="2847756"/>
                  <a:pt x="9813191" y="2849355"/>
                </a:cubicBezTo>
                <a:cubicBezTo>
                  <a:pt x="9810662" y="2852017"/>
                  <a:pt x="9809597" y="2854812"/>
                  <a:pt x="9809597" y="2858806"/>
                </a:cubicBezTo>
                <a:cubicBezTo>
                  <a:pt x="9809597" y="2862933"/>
                  <a:pt x="9810662" y="2865729"/>
                  <a:pt x="9813191" y="2868257"/>
                </a:cubicBezTo>
                <a:cubicBezTo>
                  <a:pt x="9814788" y="2869855"/>
                  <a:pt x="9817318" y="2871718"/>
                  <a:pt x="9823176" y="2871718"/>
                </a:cubicBezTo>
                <a:cubicBezTo>
                  <a:pt x="9825173" y="2871718"/>
                  <a:pt x="9827036" y="2871319"/>
                  <a:pt x="9828501" y="2870787"/>
                </a:cubicBezTo>
                <a:cubicBezTo>
                  <a:pt x="9830098" y="2870254"/>
                  <a:pt x="9831296" y="2869455"/>
                  <a:pt x="9832227" y="2868390"/>
                </a:cubicBezTo>
                <a:cubicBezTo>
                  <a:pt x="9833293" y="2867325"/>
                  <a:pt x="9834225" y="2865861"/>
                  <a:pt x="9834890" y="2864264"/>
                </a:cubicBezTo>
                <a:cubicBezTo>
                  <a:pt x="9835689" y="2862666"/>
                  <a:pt x="9835955" y="2860803"/>
                  <a:pt x="9835955" y="2858806"/>
                </a:cubicBezTo>
                <a:cubicBezTo>
                  <a:pt x="9835955" y="2856941"/>
                  <a:pt x="9835555" y="2855212"/>
                  <a:pt x="9834890" y="2853614"/>
                </a:cubicBezTo>
                <a:cubicBezTo>
                  <a:pt x="9834225" y="2851884"/>
                  <a:pt x="9833293" y="2850552"/>
                  <a:pt x="9832227" y="2849355"/>
                </a:cubicBezTo>
                <a:cubicBezTo>
                  <a:pt x="9831162" y="2848289"/>
                  <a:pt x="9829831" y="2847357"/>
                  <a:pt x="9828234" y="2846692"/>
                </a:cubicBezTo>
                <a:cubicBezTo>
                  <a:pt x="9826770" y="2846027"/>
                  <a:pt x="9825173" y="2845761"/>
                  <a:pt x="9823176" y="2845761"/>
                </a:cubicBezTo>
                <a:close/>
                <a:moveTo>
                  <a:pt x="9605531" y="2845761"/>
                </a:moveTo>
                <a:cubicBezTo>
                  <a:pt x="9599673" y="2845761"/>
                  <a:pt x="9597143" y="2847756"/>
                  <a:pt x="9595546" y="2849355"/>
                </a:cubicBezTo>
                <a:cubicBezTo>
                  <a:pt x="9593017" y="2852017"/>
                  <a:pt x="9591952" y="2854812"/>
                  <a:pt x="9591952" y="2858806"/>
                </a:cubicBezTo>
                <a:cubicBezTo>
                  <a:pt x="9591952" y="2862933"/>
                  <a:pt x="9593017" y="2865729"/>
                  <a:pt x="9595546" y="2868257"/>
                </a:cubicBezTo>
                <a:cubicBezTo>
                  <a:pt x="9597143" y="2869855"/>
                  <a:pt x="9599673" y="2871718"/>
                  <a:pt x="9605531" y="2871718"/>
                </a:cubicBezTo>
                <a:cubicBezTo>
                  <a:pt x="9607660" y="2871718"/>
                  <a:pt x="9609391" y="2871319"/>
                  <a:pt x="9610855" y="2870787"/>
                </a:cubicBezTo>
                <a:cubicBezTo>
                  <a:pt x="9612319" y="2870254"/>
                  <a:pt x="9613651" y="2869455"/>
                  <a:pt x="9614582" y="2868390"/>
                </a:cubicBezTo>
                <a:cubicBezTo>
                  <a:pt x="9615647" y="2867325"/>
                  <a:pt x="9616579" y="2865861"/>
                  <a:pt x="9617245" y="2864264"/>
                </a:cubicBezTo>
                <a:cubicBezTo>
                  <a:pt x="9618044" y="2862666"/>
                  <a:pt x="9618309" y="2860803"/>
                  <a:pt x="9618309" y="2858806"/>
                </a:cubicBezTo>
                <a:cubicBezTo>
                  <a:pt x="9618309" y="2856941"/>
                  <a:pt x="9617910" y="2855212"/>
                  <a:pt x="9617245" y="2853614"/>
                </a:cubicBezTo>
                <a:cubicBezTo>
                  <a:pt x="9616579" y="2851884"/>
                  <a:pt x="9615647" y="2850552"/>
                  <a:pt x="9614582" y="2849355"/>
                </a:cubicBezTo>
                <a:cubicBezTo>
                  <a:pt x="9613517" y="2848289"/>
                  <a:pt x="9612186" y="2847357"/>
                  <a:pt x="9610589" y="2846692"/>
                </a:cubicBezTo>
                <a:cubicBezTo>
                  <a:pt x="9609124" y="2846027"/>
                  <a:pt x="9607394" y="2845761"/>
                  <a:pt x="9605531" y="2845761"/>
                </a:cubicBezTo>
                <a:close/>
                <a:moveTo>
                  <a:pt x="9387885" y="2845761"/>
                </a:moveTo>
                <a:cubicBezTo>
                  <a:pt x="9382027" y="2845761"/>
                  <a:pt x="9379497" y="2847756"/>
                  <a:pt x="9377900" y="2849355"/>
                </a:cubicBezTo>
                <a:cubicBezTo>
                  <a:pt x="9375371" y="2852017"/>
                  <a:pt x="9374307" y="2854812"/>
                  <a:pt x="9374307" y="2858806"/>
                </a:cubicBezTo>
                <a:cubicBezTo>
                  <a:pt x="9374307" y="2862933"/>
                  <a:pt x="9375371" y="2865729"/>
                  <a:pt x="9377900" y="2868257"/>
                </a:cubicBezTo>
                <a:cubicBezTo>
                  <a:pt x="9379497" y="2869855"/>
                  <a:pt x="9382027" y="2871718"/>
                  <a:pt x="9387885" y="2871718"/>
                </a:cubicBezTo>
                <a:cubicBezTo>
                  <a:pt x="9390015" y="2871718"/>
                  <a:pt x="9391746" y="2871319"/>
                  <a:pt x="9393210" y="2870787"/>
                </a:cubicBezTo>
                <a:cubicBezTo>
                  <a:pt x="9394674" y="2870254"/>
                  <a:pt x="9396005" y="2869455"/>
                  <a:pt x="9396937" y="2868390"/>
                </a:cubicBezTo>
                <a:cubicBezTo>
                  <a:pt x="9398002" y="2867325"/>
                  <a:pt x="9398934" y="2865861"/>
                  <a:pt x="9399599" y="2864264"/>
                </a:cubicBezTo>
                <a:cubicBezTo>
                  <a:pt x="9400398" y="2862666"/>
                  <a:pt x="9400664" y="2860803"/>
                  <a:pt x="9400664" y="2858806"/>
                </a:cubicBezTo>
                <a:cubicBezTo>
                  <a:pt x="9400664" y="2856941"/>
                  <a:pt x="9400265" y="2855212"/>
                  <a:pt x="9399599" y="2853614"/>
                </a:cubicBezTo>
                <a:cubicBezTo>
                  <a:pt x="9398934" y="2851884"/>
                  <a:pt x="9398002" y="2850552"/>
                  <a:pt x="9396937" y="2849355"/>
                </a:cubicBezTo>
                <a:cubicBezTo>
                  <a:pt x="9395872" y="2848289"/>
                  <a:pt x="9394541" y="2847357"/>
                  <a:pt x="9392943" y="2846692"/>
                </a:cubicBezTo>
                <a:cubicBezTo>
                  <a:pt x="9391479" y="2846027"/>
                  <a:pt x="9389749" y="2845761"/>
                  <a:pt x="9387885" y="2845761"/>
                </a:cubicBezTo>
                <a:close/>
                <a:moveTo>
                  <a:pt x="9170374" y="2845761"/>
                </a:moveTo>
                <a:cubicBezTo>
                  <a:pt x="9164649" y="2845761"/>
                  <a:pt x="9161986" y="2847756"/>
                  <a:pt x="9160389" y="2849355"/>
                </a:cubicBezTo>
                <a:cubicBezTo>
                  <a:pt x="9157860" y="2852017"/>
                  <a:pt x="9156795" y="2854812"/>
                  <a:pt x="9156795" y="2858806"/>
                </a:cubicBezTo>
                <a:cubicBezTo>
                  <a:pt x="9156795" y="2862933"/>
                  <a:pt x="9157860" y="2865729"/>
                  <a:pt x="9160389" y="2868257"/>
                </a:cubicBezTo>
                <a:cubicBezTo>
                  <a:pt x="9161986" y="2869855"/>
                  <a:pt x="9164516" y="2871718"/>
                  <a:pt x="9170374" y="2871718"/>
                </a:cubicBezTo>
                <a:cubicBezTo>
                  <a:pt x="9172370" y="2871718"/>
                  <a:pt x="9174100" y="2871319"/>
                  <a:pt x="9175698" y="2870787"/>
                </a:cubicBezTo>
                <a:cubicBezTo>
                  <a:pt x="9177163" y="2870254"/>
                  <a:pt x="9178494" y="2869455"/>
                  <a:pt x="9179425" y="2868390"/>
                </a:cubicBezTo>
                <a:cubicBezTo>
                  <a:pt x="9180491" y="2867325"/>
                  <a:pt x="9181422" y="2865861"/>
                  <a:pt x="9182088" y="2864264"/>
                </a:cubicBezTo>
                <a:cubicBezTo>
                  <a:pt x="9182887" y="2862666"/>
                  <a:pt x="9183152" y="2860803"/>
                  <a:pt x="9183152" y="2858806"/>
                </a:cubicBezTo>
                <a:cubicBezTo>
                  <a:pt x="9183152" y="2856941"/>
                  <a:pt x="9182753" y="2855212"/>
                  <a:pt x="9182088" y="2853614"/>
                </a:cubicBezTo>
                <a:cubicBezTo>
                  <a:pt x="9181422" y="2851884"/>
                  <a:pt x="9180491" y="2850552"/>
                  <a:pt x="9179425" y="2849355"/>
                </a:cubicBezTo>
                <a:cubicBezTo>
                  <a:pt x="9178360" y="2848289"/>
                  <a:pt x="9177029" y="2847357"/>
                  <a:pt x="9175432" y="2846692"/>
                </a:cubicBezTo>
                <a:cubicBezTo>
                  <a:pt x="9173967" y="2846027"/>
                  <a:pt x="9172237" y="2845761"/>
                  <a:pt x="9170374" y="2845761"/>
                </a:cubicBezTo>
                <a:close/>
                <a:moveTo>
                  <a:pt x="8952728" y="2845761"/>
                </a:moveTo>
                <a:cubicBezTo>
                  <a:pt x="8947003" y="2845761"/>
                  <a:pt x="8944340" y="2847756"/>
                  <a:pt x="8942743" y="2849355"/>
                </a:cubicBezTo>
                <a:cubicBezTo>
                  <a:pt x="8940214" y="2852017"/>
                  <a:pt x="8939150" y="2854812"/>
                  <a:pt x="8939150" y="2858806"/>
                </a:cubicBezTo>
                <a:cubicBezTo>
                  <a:pt x="8939150" y="2862933"/>
                  <a:pt x="8940214" y="2865729"/>
                  <a:pt x="8942743" y="2868257"/>
                </a:cubicBezTo>
                <a:cubicBezTo>
                  <a:pt x="8944340" y="2869855"/>
                  <a:pt x="8946870" y="2871718"/>
                  <a:pt x="8952728" y="2871718"/>
                </a:cubicBezTo>
                <a:cubicBezTo>
                  <a:pt x="8954725" y="2871718"/>
                  <a:pt x="8956589" y="2871319"/>
                  <a:pt x="8958053" y="2870787"/>
                </a:cubicBezTo>
                <a:cubicBezTo>
                  <a:pt x="8959517" y="2870254"/>
                  <a:pt x="8960849" y="2869455"/>
                  <a:pt x="8961780" y="2868390"/>
                </a:cubicBezTo>
                <a:cubicBezTo>
                  <a:pt x="8962845" y="2867325"/>
                  <a:pt x="8963777" y="2865861"/>
                  <a:pt x="8964442" y="2864264"/>
                </a:cubicBezTo>
                <a:cubicBezTo>
                  <a:pt x="8965241" y="2862666"/>
                  <a:pt x="8965507" y="2860803"/>
                  <a:pt x="8965507" y="2858806"/>
                </a:cubicBezTo>
                <a:cubicBezTo>
                  <a:pt x="8965507" y="2856941"/>
                  <a:pt x="8965108" y="2855212"/>
                  <a:pt x="8964442" y="2853614"/>
                </a:cubicBezTo>
                <a:cubicBezTo>
                  <a:pt x="8963777" y="2851884"/>
                  <a:pt x="8962845" y="2850552"/>
                  <a:pt x="8961780" y="2849355"/>
                </a:cubicBezTo>
                <a:cubicBezTo>
                  <a:pt x="8960715" y="2848289"/>
                  <a:pt x="8959384" y="2847357"/>
                  <a:pt x="8957786" y="2846692"/>
                </a:cubicBezTo>
                <a:cubicBezTo>
                  <a:pt x="8956322" y="2846027"/>
                  <a:pt x="8954592" y="2845761"/>
                  <a:pt x="8952728" y="2845761"/>
                </a:cubicBezTo>
                <a:close/>
                <a:moveTo>
                  <a:pt x="8735083" y="2845761"/>
                </a:moveTo>
                <a:cubicBezTo>
                  <a:pt x="8729358" y="2845761"/>
                  <a:pt x="8726695" y="2847756"/>
                  <a:pt x="8725098" y="2849355"/>
                </a:cubicBezTo>
                <a:cubicBezTo>
                  <a:pt x="8722569" y="2852017"/>
                  <a:pt x="8721504" y="2854812"/>
                  <a:pt x="8721504" y="2858806"/>
                </a:cubicBezTo>
                <a:cubicBezTo>
                  <a:pt x="8721504" y="2862933"/>
                  <a:pt x="8722569" y="2865729"/>
                  <a:pt x="8725098" y="2868257"/>
                </a:cubicBezTo>
                <a:cubicBezTo>
                  <a:pt x="8726695" y="2869855"/>
                  <a:pt x="8729225" y="2871718"/>
                  <a:pt x="8735083" y="2871718"/>
                </a:cubicBezTo>
                <a:cubicBezTo>
                  <a:pt x="8737079" y="2871718"/>
                  <a:pt x="8738943" y="2871319"/>
                  <a:pt x="8740407" y="2870787"/>
                </a:cubicBezTo>
                <a:cubicBezTo>
                  <a:pt x="8741872" y="2870254"/>
                  <a:pt x="8743203" y="2869455"/>
                  <a:pt x="8744134" y="2868390"/>
                </a:cubicBezTo>
                <a:cubicBezTo>
                  <a:pt x="8745200" y="2867325"/>
                  <a:pt x="8746132" y="2865861"/>
                  <a:pt x="8746797" y="2864264"/>
                </a:cubicBezTo>
                <a:cubicBezTo>
                  <a:pt x="8747596" y="2862666"/>
                  <a:pt x="8747862" y="2860803"/>
                  <a:pt x="8747862" y="2858806"/>
                </a:cubicBezTo>
                <a:cubicBezTo>
                  <a:pt x="8747862" y="2856941"/>
                  <a:pt x="8747462" y="2855212"/>
                  <a:pt x="8746797" y="2853614"/>
                </a:cubicBezTo>
                <a:cubicBezTo>
                  <a:pt x="8746132" y="2851884"/>
                  <a:pt x="8745200" y="2850552"/>
                  <a:pt x="8744134" y="2849355"/>
                </a:cubicBezTo>
                <a:cubicBezTo>
                  <a:pt x="8743069" y="2848289"/>
                  <a:pt x="8741738" y="2847357"/>
                  <a:pt x="8740141" y="2846692"/>
                </a:cubicBezTo>
                <a:cubicBezTo>
                  <a:pt x="8738677" y="2846027"/>
                  <a:pt x="8736946" y="2845761"/>
                  <a:pt x="8735083" y="2845761"/>
                </a:cubicBezTo>
                <a:close/>
                <a:moveTo>
                  <a:pt x="8517438" y="2845761"/>
                </a:moveTo>
                <a:cubicBezTo>
                  <a:pt x="8511713" y="2845761"/>
                  <a:pt x="8509051" y="2847756"/>
                  <a:pt x="8507453" y="2849355"/>
                </a:cubicBezTo>
                <a:cubicBezTo>
                  <a:pt x="8504925" y="2852017"/>
                  <a:pt x="8503860" y="2854812"/>
                  <a:pt x="8503860" y="2858806"/>
                </a:cubicBezTo>
                <a:cubicBezTo>
                  <a:pt x="8503860" y="2862933"/>
                  <a:pt x="8504925" y="2865729"/>
                  <a:pt x="8507453" y="2868257"/>
                </a:cubicBezTo>
                <a:cubicBezTo>
                  <a:pt x="8509051" y="2869855"/>
                  <a:pt x="8511581" y="2871718"/>
                  <a:pt x="8517438" y="2871718"/>
                </a:cubicBezTo>
                <a:cubicBezTo>
                  <a:pt x="8519568" y="2871718"/>
                  <a:pt x="8521299" y="2871319"/>
                  <a:pt x="8522763" y="2870787"/>
                </a:cubicBezTo>
                <a:cubicBezTo>
                  <a:pt x="8524227" y="2870254"/>
                  <a:pt x="8525559" y="2869455"/>
                  <a:pt x="8526490" y="2868390"/>
                </a:cubicBezTo>
                <a:cubicBezTo>
                  <a:pt x="8527555" y="2867325"/>
                  <a:pt x="8528487" y="2865861"/>
                  <a:pt x="8529152" y="2864264"/>
                </a:cubicBezTo>
                <a:cubicBezTo>
                  <a:pt x="8529818" y="2862666"/>
                  <a:pt x="8530084" y="2860803"/>
                  <a:pt x="8530084" y="2858806"/>
                </a:cubicBezTo>
                <a:cubicBezTo>
                  <a:pt x="8530084" y="2856941"/>
                  <a:pt x="8529818" y="2855212"/>
                  <a:pt x="8529152" y="2853614"/>
                </a:cubicBezTo>
                <a:cubicBezTo>
                  <a:pt x="8528487" y="2851884"/>
                  <a:pt x="8527555" y="2850552"/>
                  <a:pt x="8526490" y="2849355"/>
                </a:cubicBezTo>
                <a:cubicBezTo>
                  <a:pt x="8525425" y="2848289"/>
                  <a:pt x="8524094" y="2847357"/>
                  <a:pt x="8522496" y="2846692"/>
                </a:cubicBezTo>
                <a:cubicBezTo>
                  <a:pt x="8521032" y="2846027"/>
                  <a:pt x="8519302" y="2845761"/>
                  <a:pt x="8517438" y="2845761"/>
                </a:cubicBezTo>
                <a:close/>
                <a:moveTo>
                  <a:pt x="8299793" y="2845761"/>
                </a:moveTo>
                <a:cubicBezTo>
                  <a:pt x="8294068" y="2845761"/>
                  <a:pt x="8291406" y="2847756"/>
                  <a:pt x="8289809" y="2849355"/>
                </a:cubicBezTo>
                <a:cubicBezTo>
                  <a:pt x="8287280" y="2852017"/>
                  <a:pt x="8286215" y="2854812"/>
                  <a:pt x="8286215" y="2858806"/>
                </a:cubicBezTo>
                <a:cubicBezTo>
                  <a:pt x="8286215" y="2862933"/>
                  <a:pt x="8287280" y="2865729"/>
                  <a:pt x="8289809" y="2868257"/>
                </a:cubicBezTo>
                <a:cubicBezTo>
                  <a:pt x="8291406" y="2869855"/>
                  <a:pt x="8293935" y="2871718"/>
                  <a:pt x="8299793" y="2871718"/>
                </a:cubicBezTo>
                <a:cubicBezTo>
                  <a:pt x="8301923" y="2871718"/>
                  <a:pt x="8303653" y="2871319"/>
                  <a:pt x="8305118" y="2870787"/>
                </a:cubicBezTo>
                <a:cubicBezTo>
                  <a:pt x="8306582" y="2870254"/>
                  <a:pt x="8307913" y="2869455"/>
                  <a:pt x="8308844" y="2868390"/>
                </a:cubicBezTo>
                <a:cubicBezTo>
                  <a:pt x="8309910" y="2867325"/>
                  <a:pt x="8310842" y="2865861"/>
                  <a:pt x="8311507" y="2864264"/>
                </a:cubicBezTo>
                <a:cubicBezTo>
                  <a:pt x="8312172" y="2862666"/>
                  <a:pt x="8312439" y="2860803"/>
                  <a:pt x="8312439" y="2858806"/>
                </a:cubicBezTo>
                <a:cubicBezTo>
                  <a:pt x="8312439" y="2856941"/>
                  <a:pt x="8312172" y="2855212"/>
                  <a:pt x="8311507" y="2853614"/>
                </a:cubicBezTo>
                <a:cubicBezTo>
                  <a:pt x="8310842" y="2851884"/>
                  <a:pt x="8309910" y="2850552"/>
                  <a:pt x="8308844" y="2849355"/>
                </a:cubicBezTo>
                <a:cubicBezTo>
                  <a:pt x="8307779" y="2848289"/>
                  <a:pt x="8306448" y="2847357"/>
                  <a:pt x="8304851" y="2846692"/>
                </a:cubicBezTo>
                <a:cubicBezTo>
                  <a:pt x="8303387" y="2846027"/>
                  <a:pt x="8301790" y="2845761"/>
                  <a:pt x="8299793" y="2845761"/>
                </a:cubicBezTo>
                <a:close/>
                <a:moveTo>
                  <a:pt x="8082281" y="2845761"/>
                </a:moveTo>
                <a:cubicBezTo>
                  <a:pt x="8076424" y="2845761"/>
                  <a:pt x="8073894" y="2847756"/>
                  <a:pt x="8072297" y="2849355"/>
                </a:cubicBezTo>
                <a:cubicBezTo>
                  <a:pt x="8069768" y="2852017"/>
                  <a:pt x="8068703" y="2854812"/>
                  <a:pt x="8068703" y="2858806"/>
                </a:cubicBezTo>
                <a:cubicBezTo>
                  <a:pt x="8068703" y="2862933"/>
                  <a:pt x="8069768" y="2865729"/>
                  <a:pt x="8072297" y="2868257"/>
                </a:cubicBezTo>
                <a:cubicBezTo>
                  <a:pt x="8073894" y="2869855"/>
                  <a:pt x="8076424" y="2871718"/>
                  <a:pt x="8082281" y="2871718"/>
                </a:cubicBezTo>
                <a:cubicBezTo>
                  <a:pt x="8084277" y="2871718"/>
                  <a:pt x="8086007" y="2871319"/>
                  <a:pt x="8087605" y="2870787"/>
                </a:cubicBezTo>
                <a:cubicBezTo>
                  <a:pt x="8089069" y="2870254"/>
                  <a:pt x="8090401" y="2869455"/>
                  <a:pt x="8091332" y="2868390"/>
                </a:cubicBezTo>
                <a:cubicBezTo>
                  <a:pt x="8092397" y="2867325"/>
                  <a:pt x="8093329" y="2865861"/>
                  <a:pt x="8093994" y="2864264"/>
                </a:cubicBezTo>
                <a:cubicBezTo>
                  <a:pt x="8094660" y="2862666"/>
                  <a:pt x="8094926" y="2860803"/>
                  <a:pt x="8094926" y="2858806"/>
                </a:cubicBezTo>
                <a:cubicBezTo>
                  <a:pt x="8094926" y="2856941"/>
                  <a:pt x="8094660" y="2855212"/>
                  <a:pt x="8093994" y="2853614"/>
                </a:cubicBezTo>
                <a:cubicBezTo>
                  <a:pt x="8093329" y="2851884"/>
                  <a:pt x="8092397" y="2850552"/>
                  <a:pt x="8091332" y="2849355"/>
                </a:cubicBezTo>
                <a:cubicBezTo>
                  <a:pt x="8090267" y="2848289"/>
                  <a:pt x="8088936" y="2847357"/>
                  <a:pt x="8087338" y="2846692"/>
                </a:cubicBezTo>
                <a:cubicBezTo>
                  <a:pt x="8085874" y="2846027"/>
                  <a:pt x="8084277" y="2845761"/>
                  <a:pt x="8082281" y="2845761"/>
                </a:cubicBezTo>
                <a:close/>
                <a:moveTo>
                  <a:pt x="7864636" y="2845761"/>
                </a:moveTo>
                <a:cubicBezTo>
                  <a:pt x="7858779" y="2845761"/>
                  <a:pt x="7856249" y="2847756"/>
                  <a:pt x="7854652" y="2849355"/>
                </a:cubicBezTo>
                <a:cubicBezTo>
                  <a:pt x="7852123" y="2852017"/>
                  <a:pt x="7851058" y="2854812"/>
                  <a:pt x="7851058" y="2858806"/>
                </a:cubicBezTo>
                <a:cubicBezTo>
                  <a:pt x="7851058" y="2862933"/>
                  <a:pt x="7852123" y="2865729"/>
                  <a:pt x="7854652" y="2868257"/>
                </a:cubicBezTo>
                <a:cubicBezTo>
                  <a:pt x="7856249" y="2869855"/>
                  <a:pt x="7858779" y="2871718"/>
                  <a:pt x="7864636" y="2871718"/>
                </a:cubicBezTo>
                <a:cubicBezTo>
                  <a:pt x="7866633" y="2871718"/>
                  <a:pt x="7868363" y="2871319"/>
                  <a:pt x="7869961" y="2870787"/>
                </a:cubicBezTo>
                <a:cubicBezTo>
                  <a:pt x="7871425" y="2870254"/>
                  <a:pt x="7872756" y="2869455"/>
                  <a:pt x="7873687" y="2868390"/>
                </a:cubicBezTo>
                <a:cubicBezTo>
                  <a:pt x="7874753" y="2867325"/>
                  <a:pt x="7875685" y="2865861"/>
                  <a:pt x="7876350" y="2864264"/>
                </a:cubicBezTo>
                <a:cubicBezTo>
                  <a:pt x="7877015" y="2862666"/>
                  <a:pt x="7877282" y="2860803"/>
                  <a:pt x="7877282" y="2858806"/>
                </a:cubicBezTo>
                <a:cubicBezTo>
                  <a:pt x="7877282" y="2856941"/>
                  <a:pt x="7877015" y="2855212"/>
                  <a:pt x="7876350" y="2853614"/>
                </a:cubicBezTo>
                <a:cubicBezTo>
                  <a:pt x="7875685" y="2851884"/>
                  <a:pt x="7874753" y="2850552"/>
                  <a:pt x="7873687" y="2849355"/>
                </a:cubicBezTo>
                <a:cubicBezTo>
                  <a:pt x="7872623" y="2848289"/>
                  <a:pt x="7871291" y="2847357"/>
                  <a:pt x="7869694" y="2846692"/>
                </a:cubicBezTo>
                <a:cubicBezTo>
                  <a:pt x="7868230" y="2846027"/>
                  <a:pt x="7866633" y="2845761"/>
                  <a:pt x="7864636" y="2845761"/>
                </a:cubicBezTo>
                <a:close/>
                <a:moveTo>
                  <a:pt x="7646991" y="2845761"/>
                </a:moveTo>
                <a:cubicBezTo>
                  <a:pt x="7641134" y="2845761"/>
                  <a:pt x="7638604" y="2847756"/>
                  <a:pt x="7637007" y="2849355"/>
                </a:cubicBezTo>
                <a:cubicBezTo>
                  <a:pt x="7634478" y="2852017"/>
                  <a:pt x="7633413" y="2854812"/>
                  <a:pt x="7633413" y="2858806"/>
                </a:cubicBezTo>
                <a:cubicBezTo>
                  <a:pt x="7633413" y="2862933"/>
                  <a:pt x="7634478" y="2865729"/>
                  <a:pt x="7637007" y="2868257"/>
                </a:cubicBezTo>
                <a:cubicBezTo>
                  <a:pt x="7638604" y="2869855"/>
                  <a:pt x="7641134" y="2871718"/>
                  <a:pt x="7646991" y="2871718"/>
                </a:cubicBezTo>
                <a:cubicBezTo>
                  <a:pt x="7648987" y="2871718"/>
                  <a:pt x="7650851" y="2871319"/>
                  <a:pt x="7652315" y="2870787"/>
                </a:cubicBezTo>
                <a:cubicBezTo>
                  <a:pt x="7653780" y="2870254"/>
                  <a:pt x="7655111" y="2869455"/>
                  <a:pt x="7656042" y="2868390"/>
                </a:cubicBezTo>
                <a:cubicBezTo>
                  <a:pt x="7657108" y="2867325"/>
                  <a:pt x="7658039" y="2865861"/>
                  <a:pt x="7658705" y="2864264"/>
                </a:cubicBezTo>
                <a:cubicBezTo>
                  <a:pt x="7659504" y="2862666"/>
                  <a:pt x="7659769" y="2860803"/>
                  <a:pt x="7659769" y="2858806"/>
                </a:cubicBezTo>
                <a:cubicBezTo>
                  <a:pt x="7659769" y="2856941"/>
                  <a:pt x="7659370" y="2855212"/>
                  <a:pt x="7658705" y="2853614"/>
                </a:cubicBezTo>
                <a:cubicBezTo>
                  <a:pt x="7658039" y="2851884"/>
                  <a:pt x="7657108" y="2850552"/>
                  <a:pt x="7656042" y="2849355"/>
                </a:cubicBezTo>
                <a:cubicBezTo>
                  <a:pt x="7654977" y="2848289"/>
                  <a:pt x="7653646" y="2847357"/>
                  <a:pt x="7652049" y="2846692"/>
                </a:cubicBezTo>
                <a:cubicBezTo>
                  <a:pt x="7650584" y="2846027"/>
                  <a:pt x="7648987" y="2845761"/>
                  <a:pt x="7646991" y="2845761"/>
                </a:cubicBezTo>
                <a:close/>
                <a:moveTo>
                  <a:pt x="7429345" y="2845761"/>
                </a:moveTo>
                <a:cubicBezTo>
                  <a:pt x="7423488" y="2845761"/>
                  <a:pt x="7420958" y="2847756"/>
                  <a:pt x="7419361" y="2849355"/>
                </a:cubicBezTo>
                <a:cubicBezTo>
                  <a:pt x="7416832" y="2852017"/>
                  <a:pt x="7415768" y="2854812"/>
                  <a:pt x="7415768" y="2858806"/>
                </a:cubicBezTo>
                <a:cubicBezTo>
                  <a:pt x="7415768" y="2862933"/>
                  <a:pt x="7416832" y="2865729"/>
                  <a:pt x="7419361" y="2868257"/>
                </a:cubicBezTo>
                <a:cubicBezTo>
                  <a:pt x="7420958" y="2869855"/>
                  <a:pt x="7423488" y="2871718"/>
                  <a:pt x="7429345" y="2871718"/>
                </a:cubicBezTo>
                <a:cubicBezTo>
                  <a:pt x="7431342" y="2871718"/>
                  <a:pt x="7433206" y="2871319"/>
                  <a:pt x="7434670" y="2870787"/>
                </a:cubicBezTo>
                <a:cubicBezTo>
                  <a:pt x="7436134" y="2870254"/>
                  <a:pt x="7437466" y="2869455"/>
                  <a:pt x="7438397" y="2868390"/>
                </a:cubicBezTo>
                <a:cubicBezTo>
                  <a:pt x="7439462" y="2867325"/>
                  <a:pt x="7440394" y="2865861"/>
                  <a:pt x="7441059" y="2864264"/>
                </a:cubicBezTo>
                <a:cubicBezTo>
                  <a:pt x="7441858" y="2862666"/>
                  <a:pt x="7442124" y="2860803"/>
                  <a:pt x="7442124" y="2858806"/>
                </a:cubicBezTo>
                <a:cubicBezTo>
                  <a:pt x="7442124" y="2856941"/>
                  <a:pt x="7441725" y="2855212"/>
                  <a:pt x="7441059" y="2853614"/>
                </a:cubicBezTo>
                <a:cubicBezTo>
                  <a:pt x="7440394" y="2851884"/>
                  <a:pt x="7439462" y="2850552"/>
                  <a:pt x="7438397" y="2849355"/>
                </a:cubicBezTo>
                <a:cubicBezTo>
                  <a:pt x="7437332" y="2848289"/>
                  <a:pt x="7436001" y="2847357"/>
                  <a:pt x="7434403" y="2846692"/>
                </a:cubicBezTo>
                <a:cubicBezTo>
                  <a:pt x="7432939" y="2846027"/>
                  <a:pt x="7431342" y="2845761"/>
                  <a:pt x="7429345" y="2845761"/>
                </a:cubicBezTo>
                <a:close/>
                <a:moveTo>
                  <a:pt x="7211701" y="2845761"/>
                </a:moveTo>
                <a:cubicBezTo>
                  <a:pt x="7205844" y="2845761"/>
                  <a:pt x="7203314" y="2847756"/>
                  <a:pt x="7201717" y="2849355"/>
                </a:cubicBezTo>
                <a:cubicBezTo>
                  <a:pt x="7199188" y="2852017"/>
                  <a:pt x="7198123" y="2854812"/>
                  <a:pt x="7198123" y="2858806"/>
                </a:cubicBezTo>
                <a:cubicBezTo>
                  <a:pt x="7198123" y="2862933"/>
                  <a:pt x="7199188" y="2865729"/>
                  <a:pt x="7201717" y="2868257"/>
                </a:cubicBezTo>
                <a:cubicBezTo>
                  <a:pt x="7203314" y="2869855"/>
                  <a:pt x="7205844" y="2871718"/>
                  <a:pt x="7211701" y="2871718"/>
                </a:cubicBezTo>
                <a:cubicBezTo>
                  <a:pt x="7213830" y="2871718"/>
                  <a:pt x="7215561" y="2871319"/>
                  <a:pt x="7217026" y="2870787"/>
                </a:cubicBezTo>
                <a:cubicBezTo>
                  <a:pt x="7218490" y="2870254"/>
                  <a:pt x="7219821" y="2869455"/>
                  <a:pt x="7220752" y="2868390"/>
                </a:cubicBezTo>
                <a:cubicBezTo>
                  <a:pt x="7221818" y="2867325"/>
                  <a:pt x="7222750" y="2865861"/>
                  <a:pt x="7223415" y="2864264"/>
                </a:cubicBezTo>
                <a:cubicBezTo>
                  <a:pt x="7224214" y="2862666"/>
                  <a:pt x="7224480" y="2860803"/>
                  <a:pt x="7224480" y="2858806"/>
                </a:cubicBezTo>
                <a:cubicBezTo>
                  <a:pt x="7224480" y="2856941"/>
                  <a:pt x="7224080" y="2855212"/>
                  <a:pt x="7223415" y="2853614"/>
                </a:cubicBezTo>
                <a:cubicBezTo>
                  <a:pt x="7222750" y="2851884"/>
                  <a:pt x="7221818" y="2850552"/>
                  <a:pt x="7220752" y="2849355"/>
                </a:cubicBezTo>
                <a:cubicBezTo>
                  <a:pt x="7219687" y="2848289"/>
                  <a:pt x="7218356" y="2847357"/>
                  <a:pt x="7216759" y="2846692"/>
                </a:cubicBezTo>
                <a:cubicBezTo>
                  <a:pt x="7215295" y="2846027"/>
                  <a:pt x="7213698" y="2845761"/>
                  <a:pt x="7211701" y="2845761"/>
                </a:cubicBezTo>
                <a:close/>
                <a:moveTo>
                  <a:pt x="6994056" y="2845761"/>
                </a:moveTo>
                <a:cubicBezTo>
                  <a:pt x="6988199" y="2845761"/>
                  <a:pt x="6985669" y="2847756"/>
                  <a:pt x="6984072" y="2849355"/>
                </a:cubicBezTo>
                <a:cubicBezTo>
                  <a:pt x="6981543" y="2852017"/>
                  <a:pt x="6980478" y="2854812"/>
                  <a:pt x="6980478" y="2858806"/>
                </a:cubicBezTo>
                <a:cubicBezTo>
                  <a:pt x="6980478" y="2862933"/>
                  <a:pt x="6981543" y="2865729"/>
                  <a:pt x="6984072" y="2868257"/>
                </a:cubicBezTo>
                <a:cubicBezTo>
                  <a:pt x="6985669" y="2869855"/>
                  <a:pt x="6988199" y="2871718"/>
                  <a:pt x="6994056" y="2871718"/>
                </a:cubicBezTo>
                <a:cubicBezTo>
                  <a:pt x="6996185" y="2871718"/>
                  <a:pt x="6997916" y="2871319"/>
                  <a:pt x="6999380" y="2870787"/>
                </a:cubicBezTo>
                <a:cubicBezTo>
                  <a:pt x="7000844" y="2870254"/>
                  <a:pt x="7002176" y="2869455"/>
                  <a:pt x="7003107" y="2868390"/>
                </a:cubicBezTo>
                <a:cubicBezTo>
                  <a:pt x="7004172" y="2867325"/>
                  <a:pt x="7005104" y="2865861"/>
                  <a:pt x="7005769" y="2864264"/>
                </a:cubicBezTo>
                <a:cubicBezTo>
                  <a:pt x="7006568" y="2862666"/>
                  <a:pt x="7006834" y="2860803"/>
                  <a:pt x="7006834" y="2858806"/>
                </a:cubicBezTo>
                <a:cubicBezTo>
                  <a:pt x="7006834" y="2856941"/>
                  <a:pt x="7006435" y="2855212"/>
                  <a:pt x="7005769" y="2853614"/>
                </a:cubicBezTo>
                <a:cubicBezTo>
                  <a:pt x="7005104" y="2851884"/>
                  <a:pt x="7004172" y="2850552"/>
                  <a:pt x="7003107" y="2849355"/>
                </a:cubicBezTo>
                <a:cubicBezTo>
                  <a:pt x="7002042" y="2848289"/>
                  <a:pt x="7000711" y="2847357"/>
                  <a:pt x="6999113" y="2846692"/>
                </a:cubicBezTo>
                <a:cubicBezTo>
                  <a:pt x="6997649" y="2846027"/>
                  <a:pt x="6996052" y="2845761"/>
                  <a:pt x="6994056" y="2845761"/>
                </a:cubicBezTo>
                <a:close/>
                <a:moveTo>
                  <a:pt x="6776544" y="2845761"/>
                </a:moveTo>
                <a:cubicBezTo>
                  <a:pt x="6770687" y="2845761"/>
                  <a:pt x="6768157" y="2847756"/>
                  <a:pt x="6766560" y="2849355"/>
                </a:cubicBezTo>
                <a:cubicBezTo>
                  <a:pt x="6764031" y="2852017"/>
                  <a:pt x="6762966" y="2854812"/>
                  <a:pt x="6762966" y="2858806"/>
                </a:cubicBezTo>
                <a:cubicBezTo>
                  <a:pt x="6762966" y="2862933"/>
                  <a:pt x="6764031" y="2865729"/>
                  <a:pt x="6766560" y="2868257"/>
                </a:cubicBezTo>
                <a:cubicBezTo>
                  <a:pt x="6768157" y="2869855"/>
                  <a:pt x="6770687" y="2871718"/>
                  <a:pt x="6776544" y="2871718"/>
                </a:cubicBezTo>
                <a:cubicBezTo>
                  <a:pt x="6778541" y="2871718"/>
                  <a:pt x="6780270" y="2871319"/>
                  <a:pt x="6781869" y="2870787"/>
                </a:cubicBezTo>
                <a:cubicBezTo>
                  <a:pt x="6783333" y="2870254"/>
                  <a:pt x="6784664" y="2869455"/>
                  <a:pt x="6785595" y="2868390"/>
                </a:cubicBezTo>
                <a:cubicBezTo>
                  <a:pt x="6786661" y="2867325"/>
                  <a:pt x="6787593" y="2865861"/>
                  <a:pt x="6788258" y="2864264"/>
                </a:cubicBezTo>
                <a:cubicBezTo>
                  <a:pt x="6789057" y="2862666"/>
                  <a:pt x="6789323" y="2860803"/>
                  <a:pt x="6789323" y="2858806"/>
                </a:cubicBezTo>
                <a:cubicBezTo>
                  <a:pt x="6789323" y="2856941"/>
                  <a:pt x="6788923" y="2855212"/>
                  <a:pt x="6788258" y="2853614"/>
                </a:cubicBezTo>
                <a:cubicBezTo>
                  <a:pt x="6787593" y="2851884"/>
                  <a:pt x="6786661" y="2850552"/>
                  <a:pt x="6785595" y="2849355"/>
                </a:cubicBezTo>
                <a:cubicBezTo>
                  <a:pt x="6784530" y="2848289"/>
                  <a:pt x="6783199" y="2847357"/>
                  <a:pt x="6781602" y="2846692"/>
                </a:cubicBezTo>
                <a:cubicBezTo>
                  <a:pt x="6780138" y="2846027"/>
                  <a:pt x="6778541" y="2845761"/>
                  <a:pt x="6776544" y="2845761"/>
                </a:cubicBezTo>
                <a:close/>
                <a:moveTo>
                  <a:pt x="6558899" y="2845761"/>
                </a:moveTo>
                <a:cubicBezTo>
                  <a:pt x="6553042" y="2845761"/>
                  <a:pt x="6550512" y="2847756"/>
                  <a:pt x="6548915" y="2849355"/>
                </a:cubicBezTo>
                <a:cubicBezTo>
                  <a:pt x="6546386" y="2852017"/>
                  <a:pt x="6545321" y="2854812"/>
                  <a:pt x="6545321" y="2858806"/>
                </a:cubicBezTo>
                <a:cubicBezTo>
                  <a:pt x="6545321" y="2862933"/>
                  <a:pt x="6546386" y="2865729"/>
                  <a:pt x="6548915" y="2868257"/>
                </a:cubicBezTo>
                <a:cubicBezTo>
                  <a:pt x="6550512" y="2869855"/>
                  <a:pt x="6553042" y="2871718"/>
                  <a:pt x="6558899" y="2871718"/>
                </a:cubicBezTo>
                <a:cubicBezTo>
                  <a:pt x="6560895" y="2871718"/>
                  <a:pt x="6562759" y="2871319"/>
                  <a:pt x="6564223" y="2870787"/>
                </a:cubicBezTo>
                <a:cubicBezTo>
                  <a:pt x="6565687" y="2870254"/>
                  <a:pt x="6567019" y="2869455"/>
                  <a:pt x="6567950" y="2868390"/>
                </a:cubicBezTo>
                <a:cubicBezTo>
                  <a:pt x="6569015" y="2867325"/>
                  <a:pt x="6569947" y="2865861"/>
                  <a:pt x="6570612" y="2864264"/>
                </a:cubicBezTo>
                <a:cubicBezTo>
                  <a:pt x="6571412" y="2862666"/>
                  <a:pt x="6571677" y="2860803"/>
                  <a:pt x="6571677" y="2858806"/>
                </a:cubicBezTo>
                <a:cubicBezTo>
                  <a:pt x="6571677" y="2856941"/>
                  <a:pt x="6571278" y="2855212"/>
                  <a:pt x="6570612" y="2853614"/>
                </a:cubicBezTo>
                <a:cubicBezTo>
                  <a:pt x="6569947" y="2851884"/>
                  <a:pt x="6569015" y="2850552"/>
                  <a:pt x="6567950" y="2849355"/>
                </a:cubicBezTo>
                <a:cubicBezTo>
                  <a:pt x="6566885" y="2848289"/>
                  <a:pt x="6565554" y="2847357"/>
                  <a:pt x="6563956" y="2846692"/>
                </a:cubicBezTo>
                <a:cubicBezTo>
                  <a:pt x="6562492" y="2846027"/>
                  <a:pt x="6560895" y="2845761"/>
                  <a:pt x="6558899" y="2845761"/>
                </a:cubicBezTo>
                <a:close/>
                <a:moveTo>
                  <a:pt x="6341253" y="2845761"/>
                </a:moveTo>
                <a:cubicBezTo>
                  <a:pt x="6335396" y="2845761"/>
                  <a:pt x="6332867" y="2847756"/>
                  <a:pt x="6331270" y="2849355"/>
                </a:cubicBezTo>
                <a:cubicBezTo>
                  <a:pt x="6328740" y="2852017"/>
                  <a:pt x="6327675" y="2854812"/>
                  <a:pt x="6327675" y="2858806"/>
                </a:cubicBezTo>
                <a:cubicBezTo>
                  <a:pt x="6327675" y="2862933"/>
                  <a:pt x="6328740" y="2865729"/>
                  <a:pt x="6331270" y="2868257"/>
                </a:cubicBezTo>
                <a:cubicBezTo>
                  <a:pt x="6332867" y="2869855"/>
                  <a:pt x="6335396" y="2871718"/>
                  <a:pt x="6341253" y="2871718"/>
                </a:cubicBezTo>
                <a:cubicBezTo>
                  <a:pt x="6343250" y="2871718"/>
                  <a:pt x="6345114" y="2871319"/>
                  <a:pt x="6346578" y="2870787"/>
                </a:cubicBezTo>
                <a:cubicBezTo>
                  <a:pt x="6348042" y="2870254"/>
                  <a:pt x="6349373" y="2869455"/>
                  <a:pt x="6350305" y="2868390"/>
                </a:cubicBezTo>
                <a:cubicBezTo>
                  <a:pt x="6351370" y="2867325"/>
                  <a:pt x="6352302" y="2865861"/>
                  <a:pt x="6352968" y="2864264"/>
                </a:cubicBezTo>
                <a:cubicBezTo>
                  <a:pt x="6353766" y="2862666"/>
                  <a:pt x="6354033" y="2860803"/>
                  <a:pt x="6354033" y="2858806"/>
                </a:cubicBezTo>
                <a:cubicBezTo>
                  <a:pt x="6354033" y="2856941"/>
                  <a:pt x="6353633" y="2855212"/>
                  <a:pt x="6352968" y="2853614"/>
                </a:cubicBezTo>
                <a:cubicBezTo>
                  <a:pt x="6352302" y="2851884"/>
                  <a:pt x="6351370" y="2850552"/>
                  <a:pt x="6350305" y="2849355"/>
                </a:cubicBezTo>
                <a:cubicBezTo>
                  <a:pt x="6349241" y="2848289"/>
                  <a:pt x="6347909" y="2847357"/>
                  <a:pt x="6346312" y="2846692"/>
                </a:cubicBezTo>
                <a:cubicBezTo>
                  <a:pt x="6344848" y="2846027"/>
                  <a:pt x="6343250" y="2845761"/>
                  <a:pt x="6341253" y="2845761"/>
                </a:cubicBezTo>
                <a:close/>
                <a:moveTo>
                  <a:pt x="6123608" y="2845761"/>
                </a:moveTo>
                <a:cubicBezTo>
                  <a:pt x="6117751" y="2845761"/>
                  <a:pt x="6115221" y="2847756"/>
                  <a:pt x="6113624" y="2849355"/>
                </a:cubicBezTo>
                <a:cubicBezTo>
                  <a:pt x="6111095" y="2852017"/>
                  <a:pt x="6110030" y="2854812"/>
                  <a:pt x="6110030" y="2858806"/>
                </a:cubicBezTo>
                <a:cubicBezTo>
                  <a:pt x="6110030" y="2862933"/>
                  <a:pt x="6111095" y="2865729"/>
                  <a:pt x="6113624" y="2868257"/>
                </a:cubicBezTo>
                <a:cubicBezTo>
                  <a:pt x="6115221" y="2869855"/>
                  <a:pt x="6117751" y="2871718"/>
                  <a:pt x="6123608" y="2871718"/>
                </a:cubicBezTo>
                <a:cubicBezTo>
                  <a:pt x="6125737" y="2871718"/>
                  <a:pt x="6127468" y="2871319"/>
                  <a:pt x="6128932" y="2870787"/>
                </a:cubicBezTo>
                <a:cubicBezTo>
                  <a:pt x="6130530" y="2870254"/>
                  <a:pt x="6131728" y="2869455"/>
                  <a:pt x="6132659" y="2868390"/>
                </a:cubicBezTo>
                <a:cubicBezTo>
                  <a:pt x="6133724" y="2867325"/>
                  <a:pt x="6134656" y="2865861"/>
                  <a:pt x="6135322" y="2864264"/>
                </a:cubicBezTo>
                <a:cubicBezTo>
                  <a:pt x="6135987" y="2862666"/>
                  <a:pt x="6136387" y="2860803"/>
                  <a:pt x="6136387" y="2858806"/>
                </a:cubicBezTo>
                <a:cubicBezTo>
                  <a:pt x="6136387" y="2856941"/>
                  <a:pt x="6135987" y="2855212"/>
                  <a:pt x="6135322" y="2853614"/>
                </a:cubicBezTo>
                <a:cubicBezTo>
                  <a:pt x="6134656" y="2851884"/>
                  <a:pt x="6133724" y="2850552"/>
                  <a:pt x="6132659" y="2849355"/>
                </a:cubicBezTo>
                <a:cubicBezTo>
                  <a:pt x="6131594" y="2848289"/>
                  <a:pt x="6130263" y="2847357"/>
                  <a:pt x="6128666" y="2846692"/>
                </a:cubicBezTo>
                <a:cubicBezTo>
                  <a:pt x="6127202" y="2846027"/>
                  <a:pt x="6125604" y="2845761"/>
                  <a:pt x="6123608" y="2845761"/>
                </a:cubicBezTo>
                <a:close/>
                <a:moveTo>
                  <a:pt x="5905963" y="2845761"/>
                </a:moveTo>
                <a:cubicBezTo>
                  <a:pt x="5900106" y="2845761"/>
                  <a:pt x="5897576" y="2847756"/>
                  <a:pt x="5895979" y="2849355"/>
                </a:cubicBezTo>
                <a:cubicBezTo>
                  <a:pt x="5893450" y="2852017"/>
                  <a:pt x="5892385" y="2854812"/>
                  <a:pt x="5892385" y="2858806"/>
                </a:cubicBezTo>
                <a:cubicBezTo>
                  <a:pt x="5892385" y="2862933"/>
                  <a:pt x="5893450" y="2865729"/>
                  <a:pt x="5895979" y="2868257"/>
                </a:cubicBezTo>
                <a:cubicBezTo>
                  <a:pt x="5897576" y="2869855"/>
                  <a:pt x="5900106" y="2871718"/>
                  <a:pt x="5905963" y="2871718"/>
                </a:cubicBezTo>
                <a:cubicBezTo>
                  <a:pt x="5908093" y="2871718"/>
                  <a:pt x="5909823" y="2871319"/>
                  <a:pt x="5911287" y="2870787"/>
                </a:cubicBezTo>
                <a:cubicBezTo>
                  <a:pt x="5912751" y="2870254"/>
                  <a:pt x="5914083" y="2869455"/>
                  <a:pt x="5915014" y="2868390"/>
                </a:cubicBezTo>
                <a:cubicBezTo>
                  <a:pt x="5916079" y="2867325"/>
                  <a:pt x="5917011" y="2865861"/>
                  <a:pt x="5917677" y="2864264"/>
                </a:cubicBezTo>
                <a:cubicBezTo>
                  <a:pt x="5918342" y="2862666"/>
                  <a:pt x="5918742" y="2860803"/>
                  <a:pt x="5918742" y="2858806"/>
                </a:cubicBezTo>
                <a:cubicBezTo>
                  <a:pt x="5918742" y="2856941"/>
                  <a:pt x="5918342" y="2855212"/>
                  <a:pt x="5917677" y="2853614"/>
                </a:cubicBezTo>
                <a:cubicBezTo>
                  <a:pt x="5917011" y="2851884"/>
                  <a:pt x="5916079" y="2850552"/>
                  <a:pt x="5915014" y="2849355"/>
                </a:cubicBezTo>
                <a:cubicBezTo>
                  <a:pt x="5913950" y="2848289"/>
                  <a:pt x="5912618" y="2847357"/>
                  <a:pt x="5911021" y="2846692"/>
                </a:cubicBezTo>
                <a:cubicBezTo>
                  <a:pt x="5909557" y="2846027"/>
                  <a:pt x="5907826" y="2845761"/>
                  <a:pt x="5905963" y="2845761"/>
                </a:cubicBezTo>
                <a:close/>
                <a:moveTo>
                  <a:pt x="5688451" y="2845761"/>
                </a:moveTo>
                <a:cubicBezTo>
                  <a:pt x="5682594" y="2845761"/>
                  <a:pt x="5680064" y="2847756"/>
                  <a:pt x="5678467" y="2849355"/>
                </a:cubicBezTo>
                <a:cubicBezTo>
                  <a:pt x="5675938" y="2852017"/>
                  <a:pt x="5674873" y="2854812"/>
                  <a:pt x="5674873" y="2858806"/>
                </a:cubicBezTo>
                <a:cubicBezTo>
                  <a:pt x="5674873" y="2862933"/>
                  <a:pt x="5675938" y="2865729"/>
                  <a:pt x="5678467" y="2868257"/>
                </a:cubicBezTo>
                <a:cubicBezTo>
                  <a:pt x="5680064" y="2869855"/>
                  <a:pt x="5682594" y="2871718"/>
                  <a:pt x="5688451" y="2871718"/>
                </a:cubicBezTo>
                <a:cubicBezTo>
                  <a:pt x="5690447" y="2871718"/>
                  <a:pt x="5692178" y="2871319"/>
                  <a:pt x="5693775" y="2870787"/>
                </a:cubicBezTo>
                <a:cubicBezTo>
                  <a:pt x="5695239" y="2870254"/>
                  <a:pt x="5696571" y="2869455"/>
                  <a:pt x="5697502" y="2868390"/>
                </a:cubicBezTo>
                <a:cubicBezTo>
                  <a:pt x="5698567" y="2867325"/>
                  <a:pt x="5699499" y="2865861"/>
                  <a:pt x="5700165" y="2864264"/>
                </a:cubicBezTo>
                <a:cubicBezTo>
                  <a:pt x="5700830" y="2862666"/>
                  <a:pt x="5701230" y="2860803"/>
                  <a:pt x="5701230" y="2858806"/>
                </a:cubicBezTo>
                <a:cubicBezTo>
                  <a:pt x="5701230" y="2856941"/>
                  <a:pt x="5700830" y="2855212"/>
                  <a:pt x="5700165" y="2853614"/>
                </a:cubicBezTo>
                <a:cubicBezTo>
                  <a:pt x="5699499" y="2851884"/>
                  <a:pt x="5698567" y="2850552"/>
                  <a:pt x="5697502" y="2849355"/>
                </a:cubicBezTo>
                <a:cubicBezTo>
                  <a:pt x="5696437" y="2848289"/>
                  <a:pt x="5695106" y="2847357"/>
                  <a:pt x="5693509" y="2846692"/>
                </a:cubicBezTo>
                <a:cubicBezTo>
                  <a:pt x="5692045" y="2846027"/>
                  <a:pt x="5690314" y="2845761"/>
                  <a:pt x="5688451" y="2845761"/>
                </a:cubicBezTo>
                <a:close/>
                <a:moveTo>
                  <a:pt x="5470806" y="2845761"/>
                </a:moveTo>
                <a:cubicBezTo>
                  <a:pt x="5464949" y="2845761"/>
                  <a:pt x="5462419" y="2847756"/>
                  <a:pt x="5460822" y="2849355"/>
                </a:cubicBezTo>
                <a:cubicBezTo>
                  <a:pt x="5458293" y="2852017"/>
                  <a:pt x="5457228" y="2854812"/>
                  <a:pt x="5457228" y="2858806"/>
                </a:cubicBezTo>
                <a:cubicBezTo>
                  <a:pt x="5457228" y="2862933"/>
                  <a:pt x="5458293" y="2865729"/>
                  <a:pt x="5460822" y="2868257"/>
                </a:cubicBezTo>
                <a:cubicBezTo>
                  <a:pt x="5462419" y="2869855"/>
                  <a:pt x="5464949" y="2871718"/>
                  <a:pt x="5470806" y="2871718"/>
                </a:cubicBezTo>
                <a:cubicBezTo>
                  <a:pt x="5472802" y="2871718"/>
                  <a:pt x="5474666" y="2871319"/>
                  <a:pt x="5476130" y="2870787"/>
                </a:cubicBezTo>
                <a:cubicBezTo>
                  <a:pt x="5477594" y="2870254"/>
                  <a:pt x="5478926" y="2869455"/>
                  <a:pt x="5479857" y="2868390"/>
                </a:cubicBezTo>
                <a:cubicBezTo>
                  <a:pt x="5480922" y="2867325"/>
                  <a:pt x="5481854" y="2865861"/>
                  <a:pt x="5482520" y="2864264"/>
                </a:cubicBezTo>
                <a:cubicBezTo>
                  <a:pt x="5483319" y="2862666"/>
                  <a:pt x="5483585" y="2860803"/>
                  <a:pt x="5483585" y="2858806"/>
                </a:cubicBezTo>
                <a:cubicBezTo>
                  <a:pt x="5483585" y="2856941"/>
                  <a:pt x="5483185" y="2855212"/>
                  <a:pt x="5482520" y="2853614"/>
                </a:cubicBezTo>
                <a:cubicBezTo>
                  <a:pt x="5481854" y="2851884"/>
                  <a:pt x="5480922" y="2850552"/>
                  <a:pt x="5479857" y="2849355"/>
                </a:cubicBezTo>
                <a:cubicBezTo>
                  <a:pt x="5478793" y="2848289"/>
                  <a:pt x="5477461" y="2847357"/>
                  <a:pt x="5475864" y="2846692"/>
                </a:cubicBezTo>
                <a:cubicBezTo>
                  <a:pt x="5474400" y="2846027"/>
                  <a:pt x="5472669" y="2845761"/>
                  <a:pt x="5470806" y="2845761"/>
                </a:cubicBezTo>
                <a:close/>
                <a:moveTo>
                  <a:pt x="5253160" y="2845761"/>
                </a:moveTo>
                <a:cubicBezTo>
                  <a:pt x="5247303" y="2845761"/>
                  <a:pt x="5244774" y="2847756"/>
                  <a:pt x="5243177" y="2849355"/>
                </a:cubicBezTo>
                <a:cubicBezTo>
                  <a:pt x="5240647" y="2852017"/>
                  <a:pt x="5239583" y="2854812"/>
                  <a:pt x="5239583" y="2858806"/>
                </a:cubicBezTo>
                <a:cubicBezTo>
                  <a:pt x="5239583" y="2862933"/>
                  <a:pt x="5240647" y="2865729"/>
                  <a:pt x="5243177" y="2868257"/>
                </a:cubicBezTo>
                <a:cubicBezTo>
                  <a:pt x="5244774" y="2869855"/>
                  <a:pt x="5247303" y="2871718"/>
                  <a:pt x="5253160" y="2871718"/>
                </a:cubicBezTo>
                <a:cubicBezTo>
                  <a:pt x="5255157" y="2871718"/>
                  <a:pt x="5257021" y="2871319"/>
                  <a:pt x="5258485" y="2870787"/>
                </a:cubicBezTo>
                <a:cubicBezTo>
                  <a:pt x="5259949" y="2870254"/>
                  <a:pt x="5261280" y="2869455"/>
                  <a:pt x="5262212" y="2868390"/>
                </a:cubicBezTo>
                <a:cubicBezTo>
                  <a:pt x="5263277" y="2867325"/>
                  <a:pt x="5264209" y="2865861"/>
                  <a:pt x="5264875" y="2864264"/>
                </a:cubicBezTo>
                <a:cubicBezTo>
                  <a:pt x="5265673" y="2862666"/>
                  <a:pt x="5265939" y="2860803"/>
                  <a:pt x="5265939" y="2858806"/>
                </a:cubicBezTo>
                <a:cubicBezTo>
                  <a:pt x="5265939" y="2856941"/>
                  <a:pt x="5265540" y="2855212"/>
                  <a:pt x="5264875" y="2853614"/>
                </a:cubicBezTo>
                <a:cubicBezTo>
                  <a:pt x="5264209" y="2851884"/>
                  <a:pt x="5263277" y="2850552"/>
                  <a:pt x="5262212" y="2849355"/>
                </a:cubicBezTo>
                <a:cubicBezTo>
                  <a:pt x="5261147" y="2848289"/>
                  <a:pt x="5259816" y="2847357"/>
                  <a:pt x="5258219" y="2846692"/>
                </a:cubicBezTo>
                <a:cubicBezTo>
                  <a:pt x="5256754" y="2846027"/>
                  <a:pt x="5255024" y="2845761"/>
                  <a:pt x="5253160" y="2845761"/>
                </a:cubicBezTo>
                <a:close/>
                <a:moveTo>
                  <a:pt x="5035515" y="2845761"/>
                </a:moveTo>
                <a:cubicBezTo>
                  <a:pt x="5029658" y="2845761"/>
                  <a:pt x="5027129" y="2847756"/>
                  <a:pt x="5025532" y="2849355"/>
                </a:cubicBezTo>
                <a:cubicBezTo>
                  <a:pt x="5023002" y="2852017"/>
                  <a:pt x="5021938" y="2854812"/>
                  <a:pt x="5021938" y="2858806"/>
                </a:cubicBezTo>
                <a:cubicBezTo>
                  <a:pt x="5021938" y="2862933"/>
                  <a:pt x="5023002" y="2865729"/>
                  <a:pt x="5025532" y="2868257"/>
                </a:cubicBezTo>
                <a:cubicBezTo>
                  <a:pt x="5027129" y="2869855"/>
                  <a:pt x="5029658" y="2871718"/>
                  <a:pt x="5035515" y="2871718"/>
                </a:cubicBezTo>
                <a:cubicBezTo>
                  <a:pt x="5037645" y="2871718"/>
                  <a:pt x="5039376" y="2871319"/>
                  <a:pt x="5040840" y="2870787"/>
                </a:cubicBezTo>
                <a:cubicBezTo>
                  <a:pt x="5042304" y="2870254"/>
                  <a:pt x="5043636" y="2869455"/>
                  <a:pt x="5044567" y="2868390"/>
                </a:cubicBezTo>
                <a:cubicBezTo>
                  <a:pt x="5045632" y="2867325"/>
                  <a:pt x="5046564" y="2865861"/>
                  <a:pt x="5047230" y="2864264"/>
                </a:cubicBezTo>
                <a:cubicBezTo>
                  <a:pt x="5048028" y="2862666"/>
                  <a:pt x="5048294" y="2860803"/>
                  <a:pt x="5048294" y="2858806"/>
                </a:cubicBezTo>
                <a:cubicBezTo>
                  <a:pt x="5048294" y="2856941"/>
                  <a:pt x="5047895" y="2855212"/>
                  <a:pt x="5047230" y="2853614"/>
                </a:cubicBezTo>
                <a:cubicBezTo>
                  <a:pt x="5046564" y="2851884"/>
                  <a:pt x="5045632" y="2850552"/>
                  <a:pt x="5044567" y="2849355"/>
                </a:cubicBezTo>
                <a:cubicBezTo>
                  <a:pt x="5043502" y="2848289"/>
                  <a:pt x="5042171" y="2847357"/>
                  <a:pt x="5040574" y="2846692"/>
                </a:cubicBezTo>
                <a:cubicBezTo>
                  <a:pt x="5039110" y="2846027"/>
                  <a:pt x="5037379" y="2845761"/>
                  <a:pt x="5035515" y="2845761"/>
                </a:cubicBezTo>
                <a:close/>
                <a:moveTo>
                  <a:pt x="4817870" y="2845761"/>
                </a:moveTo>
                <a:cubicBezTo>
                  <a:pt x="4812013" y="2845761"/>
                  <a:pt x="4809484" y="2847756"/>
                  <a:pt x="4807887" y="2849355"/>
                </a:cubicBezTo>
                <a:cubicBezTo>
                  <a:pt x="4805357" y="2852017"/>
                  <a:pt x="4804293" y="2854812"/>
                  <a:pt x="4804293" y="2858806"/>
                </a:cubicBezTo>
                <a:cubicBezTo>
                  <a:pt x="4804293" y="2862933"/>
                  <a:pt x="4805357" y="2865729"/>
                  <a:pt x="4807887" y="2868257"/>
                </a:cubicBezTo>
                <a:cubicBezTo>
                  <a:pt x="4809484" y="2869855"/>
                  <a:pt x="4812013" y="2871718"/>
                  <a:pt x="4817870" y="2871718"/>
                </a:cubicBezTo>
                <a:cubicBezTo>
                  <a:pt x="4820000" y="2871718"/>
                  <a:pt x="4821731" y="2871319"/>
                  <a:pt x="4823195" y="2870787"/>
                </a:cubicBezTo>
                <a:cubicBezTo>
                  <a:pt x="4824659" y="2870254"/>
                  <a:pt x="4825857" y="2869455"/>
                  <a:pt x="4826922" y="2868390"/>
                </a:cubicBezTo>
                <a:cubicBezTo>
                  <a:pt x="4827987" y="2867325"/>
                  <a:pt x="4828919" y="2865861"/>
                  <a:pt x="4829585" y="2864264"/>
                </a:cubicBezTo>
                <a:cubicBezTo>
                  <a:pt x="4830383" y="2862666"/>
                  <a:pt x="4830650" y="2860803"/>
                  <a:pt x="4830650" y="2858806"/>
                </a:cubicBezTo>
                <a:cubicBezTo>
                  <a:pt x="4830650" y="2856941"/>
                  <a:pt x="4830250" y="2855212"/>
                  <a:pt x="4829585" y="2853614"/>
                </a:cubicBezTo>
                <a:cubicBezTo>
                  <a:pt x="4828919" y="2851884"/>
                  <a:pt x="4827987" y="2850552"/>
                  <a:pt x="4826922" y="2849355"/>
                </a:cubicBezTo>
                <a:cubicBezTo>
                  <a:pt x="4825857" y="2848289"/>
                  <a:pt x="4824526" y="2847357"/>
                  <a:pt x="4822929" y="2846692"/>
                </a:cubicBezTo>
                <a:cubicBezTo>
                  <a:pt x="4821465" y="2846027"/>
                  <a:pt x="4819734" y="2845761"/>
                  <a:pt x="4817870" y="2845761"/>
                </a:cubicBezTo>
                <a:close/>
                <a:moveTo>
                  <a:pt x="4600226" y="2845761"/>
                </a:moveTo>
                <a:cubicBezTo>
                  <a:pt x="4594369" y="2845761"/>
                  <a:pt x="4591839" y="2847756"/>
                  <a:pt x="4590242" y="2849355"/>
                </a:cubicBezTo>
                <a:cubicBezTo>
                  <a:pt x="4587713" y="2852017"/>
                  <a:pt x="4586648" y="2854812"/>
                  <a:pt x="4586648" y="2858806"/>
                </a:cubicBezTo>
                <a:cubicBezTo>
                  <a:pt x="4586648" y="2862933"/>
                  <a:pt x="4587713" y="2865729"/>
                  <a:pt x="4590242" y="2868257"/>
                </a:cubicBezTo>
                <a:cubicBezTo>
                  <a:pt x="4591839" y="2869855"/>
                  <a:pt x="4594369" y="2871718"/>
                  <a:pt x="4600226" y="2871718"/>
                </a:cubicBezTo>
                <a:cubicBezTo>
                  <a:pt x="4602355" y="2871718"/>
                  <a:pt x="4604086" y="2871319"/>
                  <a:pt x="4605550" y="2870787"/>
                </a:cubicBezTo>
                <a:cubicBezTo>
                  <a:pt x="4607148" y="2870254"/>
                  <a:pt x="4608346" y="2869455"/>
                  <a:pt x="4609277" y="2868390"/>
                </a:cubicBezTo>
                <a:cubicBezTo>
                  <a:pt x="4610342" y="2867325"/>
                  <a:pt x="4611274" y="2865861"/>
                  <a:pt x="4611940" y="2864264"/>
                </a:cubicBezTo>
                <a:cubicBezTo>
                  <a:pt x="4612605" y="2862666"/>
                  <a:pt x="4613005" y="2860803"/>
                  <a:pt x="4613005" y="2858806"/>
                </a:cubicBezTo>
                <a:cubicBezTo>
                  <a:pt x="4613005" y="2856941"/>
                  <a:pt x="4612605" y="2855212"/>
                  <a:pt x="4611940" y="2853614"/>
                </a:cubicBezTo>
                <a:cubicBezTo>
                  <a:pt x="4611274" y="2851884"/>
                  <a:pt x="4610342" y="2850552"/>
                  <a:pt x="4609277" y="2849355"/>
                </a:cubicBezTo>
                <a:cubicBezTo>
                  <a:pt x="4608212" y="2848289"/>
                  <a:pt x="4606881" y="2847357"/>
                  <a:pt x="4605284" y="2846692"/>
                </a:cubicBezTo>
                <a:cubicBezTo>
                  <a:pt x="4603820" y="2846027"/>
                  <a:pt x="4602222" y="2845761"/>
                  <a:pt x="4600226" y="2845761"/>
                </a:cubicBezTo>
                <a:close/>
                <a:moveTo>
                  <a:pt x="4382713" y="2845761"/>
                </a:moveTo>
                <a:cubicBezTo>
                  <a:pt x="4376857" y="2845761"/>
                  <a:pt x="4374327" y="2847756"/>
                  <a:pt x="4372730" y="2849355"/>
                </a:cubicBezTo>
                <a:cubicBezTo>
                  <a:pt x="4370201" y="2852017"/>
                  <a:pt x="4369136" y="2854812"/>
                  <a:pt x="4369136" y="2858806"/>
                </a:cubicBezTo>
                <a:cubicBezTo>
                  <a:pt x="4369136" y="2862933"/>
                  <a:pt x="4370201" y="2865729"/>
                  <a:pt x="4372730" y="2868257"/>
                </a:cubicBezTo>
                <a:cubicBezTo>
                  <a:pt x="4374327" y="2869855"/>
                  <a:pt x="4376857" y="2871718"/>
                  <a:pt x="4382713" y="2871718"/>
                </a:cubicBezTo>
                <a:cubicBezTo>
                  <a:pt x="4384710" y="2871718"/>
                  <a:pt x="4386441" y="2871319"/>
                  <a:pt x="4388038" y="2870787"/>
                </a:cubicBezTo>
                <a:cubicBezTo>
                  <a:pt x="4389502" y="2870254"/>
                  <a:pt x="4390834" y="2869455"/>
                  <a:pt x="4391765" y="2868390"/>
                </a:cubicBezTo>
                <a:cubicBezTo>
                  <a:pt x="4392830" y="2867325"/>
                  <a:pt x="4393762" y="2865861"/>
                  <a:pt x="4394428" y="2864264"/>
                </a:cubicBezTo>
                <a:cubicBezTo>
                  <a:pt x="4395093" y="2862666"/>
                  <a:pt x="4395493" y="2860803"/>
                  <a:pt x="4395493" y="2858806"/>
                </a:cubicBezTo>
                <a:cubicBezTo>
                  <a:pt x="4395493" y="2856941"/>
                  <a:pt x="4395093" y="2855212"/>
                  <a:pt x="4394428" y="2853614"/>
                </a:cubicBezTo>
                <a:cubicBezTo>
                  <a:pt x="4393762" y="2851884"/>
                  <a:pt x="4392830" y="2850552"/>
                  <a:pt x="4391765" y="2849355"/>
                </a:cubicBezTo>
                <a:cubicBezTo>
                  <a:pt x="4390700" y="2848289"/>
                  <a:pt x="4389369" y="2847357"/>
                  <a:pt x="4387772" y="2846692"/>
                </a:cubicBezTo>
                <a:cubicBezTo>
                  <a:pt x="4386308" y="2846027"/>
                  <a:pt x="4384710" y="2845761"/>
                  <a:pt x="4382713" y="2845761"/>
                </a:cubicBezTo>
                <a:close/>
                <a:moveTo>
                  <a:pt x="4165068" y="2845761"/>
                </a:moveTo>
                <a:cubicBezTo>
                  <a:pt x="4159211" y="2845761"/>
                  <a:pt x="4156681" y="2847756"/>
                  <a:pt x="4155084" y="2849355"/>
                </a:cubicBezTo>
                <a:cubicBezTo>
                  <a:pt x="4152555" y="2852017"/>
                  <a:pt x="4151490" y="2854812"/>
                  <a:pt x="4151490" y="2858806"/>
                </a:cubicBezTo>
                <a:cubicBezTo>
                  <a:pt x="4151490" y="2862933"/>
                  <a:pt x="4152555" y="2865729"/>
                  <a:pt x="4155084" y="2868257"/>
                </a:cubicBezTo>
                <a:cubicBezTo>
                  <a:pt x="4156681" y="2869855"/>
                  <a:pt x="4159211" y="2871718"/>
                  <a:pt x="4165068" y="2871718"/>
                </a:cubicBezTo>
                <a:cubicBezTo>
                  <a:pt x="4167064" y="2871718"/>
                  <a:pt x="4168928" y="2871319"/>
                  <a:pt x="4170392" y="2870787"/>
                </a:cubicBezTo>
                <a:cubicBezTo>
                  <a:pt x="4171856" y="2870254"/>
                  <a:pt x="4173188" y="2869455"/>
                  <a:pt x="4174119" y="2868390"/>
                </a:cubicBezTo>
                <a:cubicBezTo>
                  <a:pt x="4175184" y="2867325"/>
                  <a:pt x="4176116" y="2865861"/>
                  <a:pt x="4176782" y="2864264"/>
                </a:cubicBezTo>
                <a:cubicBezTo>
                  <a:pt x="4177447" y="2862666"/>
                  <a:pt x="4177847" y="2860803"/>
                  <a:pt x="4177847" y="2858806"/>
                </a:cubicBezTo>
                <a:cubicBezTo>
                  <a:pt x="4177847" y="2856941"/>
                  <a:pt x="4177447" y="2855212"/>
                  <a:pt x="4176782" y="2853614"/>
                </a:cubicBezTo>
                <a:cubicBezTo>
                  <a:pt x="4176116" y="2851884"/>
                  <a:pt x="4175184" y="2850552"/>
                  <a:pt x="4174119" y="2849355"/>
                </a:cubicBezTo>
                <a:cubicBezTo>
                  <a:pt x="4173054" y="2848289"/>
                  <a:pt x="4171723" y="2847357"/>
                  <a:pt x="4170126" y="2846692"/>
                </a:cubicBezTo>
                <a:cubicBezTo>
                  <a:pt x="4168662" y="2846027"/>
                  <a:pt x="4167064" y="2845761"/>
                  <a:pt x="4165068" y="2845761"/>
                </a:cubicBezTo>
                <a:close/>
                <a:moveTo>
                  <a:pt x="3947582" y="2845761"/>
                </a:moveTo>
                <a:cubicBezTo>
                  <a:pt x="3941724" y="2845761"/>
                  <a:pt x="3939195" y="2847756"/>
                  <a:pt x="3937598" y="2849355"/>
                </a:cubicBezTo>
                <a:cubicBezTo>
                  <a:pt x="3935067" y="2852017"/>
                  <a:pt x="3934004" y="2854812"/>
                  <a:pt x="3934004" y="2858806"/>
                </a:cubicBezTo>
                <a:cubicBezTo>
                  <a:pt x="3934004" y="2862933"/>
                  <a:pt x="3935067" y="2865729"/>
                  <a:pt x="3937598" y="2868257"/>
                </a:cubicBezTo>
                <a:cubicBezTo>
                  <a:pt x="3939195" y="2869855"/>
                  <a:pt x="3941724" y="2871718"/>
                  <a:pt x="3947582" y="2871718"/>
                </a:cubicBezTo>
                <a:cubicBezTo>
                  <a:pt x="3949579" y="2871718"/>
                  <a:pt x="3951442" y="2871319"/>
                  <a:pt x="3952908" y="2870787"/>
                </a:cubicBezTo>
                <a:cubicBezTo>
                  <a:pt x="3954372" y="2870254"/>
                  <a:pt x="3955702" y="2869455"/>
                  <a:pt x="3956634" y="2868390"/>
                </a:cubicBezTo>
                <a:cubicBezTo>
                  <a:pt x="3957700" y="2867325"/>
                  <a:pt x="3958633" y="2865861"/>
                  <a:pt x="3959298" y="2864264"/>
                </a:cubicBezTo>
                <a:cubicBezTo>
                  <a:pt x="3959963" y="2862666"/>
                  <a:pt x="3960363" y="2860803"/>
                  <a:pt x="3960363" y="2858806"/>
                </a:cubicBezTo>
                <a:cubicBezTo>
                  <a:pt x="3960363" y="2856941"/>
                  <a:pt x="3959963" y="2855212"/>
                  <a:pt x="3959298" y="2853614"/>
                </a:cubicBezTo>
                <a:cubicBezTo>
                  <a:pt x="3958633" y="2851884"/>
                  <a:pt x="3957700" y="2850552"/>
                  <a:pt x="3956634" y="2849355"/>
                </a:cubicBezTo>
                <a:cubicBezTo>
                  <a:pt x="3955569" y="2848289"/>
                  <a:pt x="3954239" y="2847357"/>
                  <a:pt x="3952641" y="2846692"/>
                </a:cubicBezTo>
                <a:cubicBezTo>
                  <a:pt x="3951176" y="2846027"/>
                  <a:pt x="3949579" y="2845761"/>
                  <a:pt x="3947582" y="2845761"/>
                </a:cubicBezTo>
                <a:close/>
                <a:moveTo>
                  <a:pt x="3729929" y="2845761"/>
                </a:moveTo>
                <a:cubicBezTo>
                  <a:pt x="3724072" y="2845761"/>
                  <a:pt x="3721543" y="2847756"/>
                  <a:pt x="3719943" y="2849355"/>
                </a:cubicBezTo>
                <a:cubicBezTo>
                  <a:pt x="3717413" y="2852017"/>
                  <a:pt x="3716351" y="2854812"/>
                  <a:pt x="3716351" y="2858806"/>
                </a:cubicBezTo>
                <a:cubicBezTo>
                  <a:pt x="3716351" y="2862933"/>
                  <a:pt x="3717413" y="2865729"/>
                  <a:pt x="3719943" y="2868257"/>
                </a:cubicBezTo>
                <a:cubicBezTo>
                  <a:pt x="3721543" y="2869855"/>
                  <a:pt x="3724072" y="2871718"/>
                  <a:pt x="3729929" y="2871718"/>
                </a:cubicBezTo>
                <a:cubicBezTo>
                  <a:pt x="3732059" y="2871718"/>
                  <a:pt x="3733790" y="2871319"/>
                  <a:pt x="3735254" y="2870787"/>
                </a:cubicBezTo>
                <a:cubicBezTo>
                  <a:pt x="3736718" y="2870254"/>
                  <a:pt x="3738050" y="2869455"/>
                  <a:pt x="3738981" y="2868390"/>
                </a:cubicBezTo>
                <a:cubicBezTo>
                  <a:pt x="3740046" y="2867325"/>
                  <a:pt x="3740978" y="2865861"/>
                  <a:pt x="3741644" y="2864264"/>
                </a:cubicBezTo>
                <a:cubicBezTo>
                  <a:pt x="3742309" y="2862666"/>
                  <a:pt x="3742709" y="2860803"/>
                  <a:pt x="3742709" y="2858806"/>
                </a:cubicBezTo>
                <a:cubicBezTo>
                  <a:pt x="3742709" y="2856941"/>
                  <a:pt x="3742309" y="2855212"/>
                  <a:pt x="3741644" y="2853614"/>
                </a:cubicBezTo>
                <a:cubicBezTo>
                  <a:pt x="3740978" y="2851884"/>
                  <a:pt x="3740046" y="2850552"/>
                  <a:pt x="3738981" y="2849355"/>
                </a:cubicBezTo>
                <a:cubicBezTo>
                  <a:pt x="3737916" y="2848289"/>
                  <a:pt x="3736585" y="2847357"/>
                  <a:pt x="3734988" y="2846692"/>
                </a:cubicBezTo>
                <a:cubicBezTo>
                  <a:pt x="3733523" y="2846027"/>
                  <a:pt x="3731926" y="2845761"/>
                  <a:pt x="3729929" y="2845761"/>
                </a:cubicBezTo>
                <a:close/>
                <a:moveTo>
                  <a:pt x="3512276" y="2845761"/>
                </a:moveTo>
                <a:cubicBezTo>
                  <a:pt x="3506418" y="2845761"/>
                  <a:pt x="3503889" y="2847756"/>
                  <a:pt x="3502289" y="2849355"/>
                </a:cubicBezTo>
                <a:cubicBezTo>
                  <a:pt x="3499759" y="2852017"/>
                  <a:pt x="3498696" y="2854812"/>
                  <a:pt x="3498696" y="2858806"/>
                </a:cubicBezTo>
                <a:cubicBezTo>
                  <a:pt x="3498696" y="2862933"/>
                  <a:pt x="3499759" y="2865729"/>
                  <a:pt x="3502289" y="2868257"/>
                </a:cubicBezTo>
                <a:cubicBezTo>
                  <a:pt x="3503889" y="2869855"/>
                  <a:pt x="3506418" y="2871718"/>
                  <a:pt x="3512276" y="2871718"/>
                </a:cubicBezTo>
                <a:cubicBezTo>
                  <a:pt x="3514405" y="2871718"/>
                  <a:pt x="3516136" y="2871319"/>
                  <a:pt x="3517600" y="2870787"/>
                </a:cubicBezTo>
                <a:cubicBezTo>
                  <a:pt x="3519065" y="2870254"/>
                  <a:pt x="3520397" y="2869455"/>
                  <a:pt x="3521328" y="2868390"/>
                </a:cubicBezTo>
                <a:cubicBezTo>
                  <a:pt x="3522393" y="2867325"/>
                  <a:pt x="3523325" y="2865861"/>
                  <a:pt x="3523991" y="2864264"/>
                </a:cubicBezTo>
                <a:cubicBezTo>
                  <a:pt x="3524656" y="2862666"/>
                  <a:pt x="3525056" y="2860803"/>
                  <a:pt x="3525056" y="2858806"/>
                </a:cubicBezTo>
                <a:cubicBezTo>
                  <a:pt x="3525056" y="2856941"/>
                  <a:pt x="3524656" y="2855212"/>
                  <a:pt x="3523991" y="2853614"/>
                </a:cubicBezTo>
                <a:cubicBezTo>
                  <a:pt x="3523325" y="2851884"/>
                  <a:pt x="3522393" y="2850552"/>
                  <a:pt x="3521328" y="2849355"/>
                </a:cubicBezTo>
                <a:cubicBezTo>
                  <a:pt x="3520263" y="2848289"/>
                  <a:pt x="3518932" y="2847357"/>
                  <a:pt x="3517335" y="2846692"/>
                </a:cubicBezTo>
                <a:cubicBezTo>
                  <a:pt x="3515871" y="2846027"/>
                  <a:pt x="3514272" y="2845761"/>
                  <a:pt x="3512276" y="2845761"/>
                </a:cubicBezTo>
                <a:close/>
                <a:moveTo>
                  <a:pt x="3294755" y="2845761"/>
                </a:moveTo>
                <a:cubicBezTo>
                  <a:pt x="3288898" y="2845761"/>
                  <a:pt x="3286367" y="2847756"/>
                  <a:pt x="3284771" y="2849355"/>
                </a:cubicBezTo>
                <a:cubicBezTo>
                  <a:pt x="3282240" y="2852017"/>
                  <a:pt x="3281177" y="2854812"/>
                  <a:pt x="3281177" y="2858806"/>
                </a:cubicBezTo>
                <a:cubicBezTo>
                  <a:pt x="3281177" y="2862933"/>
                  <a:pt x="3282240" y="2865729"/>
                  <a:pt x="3284771" y="2868257"/>
                </a:cubicBezTo>
                <a:cubicBezTo>
                  <a:pt x="3286367" y="2869855"/>
                  <a:pt x="3288898" y="2871718"/>
                  <a:pt x="3294755" y="2871718"/>
                </a:cubicBezTo>
                <a:cubicBezTo>
                  <a:pt x="3296752" y="2871718"/>
                  <a:pt x="3298483" y="2871319"/>
                  <a:pt x="3300081" y="2870787"/>
                </a:cubicBezTo>
                <a:cubicBezTo>
                  <a:pt x="3301545" y="2870254"/>
                  <a:pt x="3302877" y="2869455"/>
                  <a:pt x="3303808" y="2868390"/>
                </a:cubicBezTo>
                <a:cubicBezTo>
                  <a:pt x="3304873" y="2867325"/>
                  <a:pt x="3305805" y="2865861"/>
                  <a:pt x="3306471" y="2864264"/>
                </a:cubicBezTo>
                <a:cubicBezTo>
                  <a:pt x="3307136" y="2862666"/>
                  <a:pt x="3307535" y="2860803"/>
                  <a:pt x="3307535" y="2858806"/>
                </a:cubicBezTo>
                <a:cubicBezTo>
                  <a:pt x="3307535" y="2856941"/>
                  <a:pt x="3307136" y="2855212"/>
                  <a:pt x="3306471" y="2853614"/>
                </a:cubicBezTo>
                <a:cubicBezTo>
                  <a:pt x="3305805" y="2851884"/>
                  <a:pt x="3304873" y="2850552"/>
                  <a:pt x="3303808" y="2849355"/>
                </a:cubicBezTo>
                <a:cubicBezTo>
                  <a:pt x="3302743" y="2848289"/>
                  <a:pt x="3301412" y="2847357"/>
                  <a:pt x="3299815" y="2846692"/>
                </a:cubicBezTo>
                <a:cubicBezTo>
                  <a:pt x="3298351" y="2846027"/>
                  <a:pt x="3296752" y="2845761"/>
                  <a:pt x="3294755" y="2845761"/>
                </a:cubicBezTo>
                <a:close/>
                <a:moveTo>
                  <a:pt x="3077235" y="2845761"/>
                </a:moveTo>
                <a:cubicBezTo>
                  <a:pt x="3071377" y="2845761"/>
                  <a:pt x="3068848" y="2847756"/>
                  <a:pt x="3067252" y="2849355"/>
                </a:cubicBezTo>
                <a:cubicBezTo>
                  <a:pt x="3064588" y="2852017"/>
                  <a:pt x="3063523" y="2854812"/>
                  <a:pt x="3063523" y="2858806"/>
                </a:cubicBezTo>
                <a:cubicBezTo>
                  <a:pt x="3063523" y="2862933"/>
                  <a:pt x="3064588" y="2865729"/>
                  <a:pt x="3067118" y="2868257"/>
                </a:cubicBezTo>
                <a:cubicBezTo>
                  <a:pt x="3068716" y="2869855"/>
                  <a:pt x="3071245" y="2871718"/>
                  <a:pt x="3077102" y="2871718"/>
                </a:cubicBezTo>
                <a:cubicBezTo>
                  <a:pt x="3079099" y="2871718"/>
                  <a:pt x="3080829" y="2871319"/>
                  <a:pt x="3082560" y="2870787"/>
                </a:cubicBezTo>
                <a:cubicBezTo>
                  <a:pt x="3084025" y="2870254"/>
                  <a:pt x="3085357" y="2869455"/>
                  <a:pt x="3086288" y="2868390"/>
                </a:cubicBezTo>
                <a:cubicBezTo>
                  <a:pt x="3087352" y="2867325"/>
                  <a:pt x="3088285" y="2865861"/>
                  <a:pt x="3088950" y="2864264"/>
                </a:cubicBezTo>
                <a:cubicBezTo>
                  <a:pt x="3089615" y="2862666"/>
                  <a:pt x="3089883" y="2860803"/>
                  <a:pt x="3089883" y="2858806"/>
                </a:cubicBezTo>
                <a:cubicBezTo>
                  <a:pt x="3089883" y="2856941"/>
                  <a:pt x="3089615" y="2855212"/>
                  <a:pt x="3088950" y="2853614"/>
                </a:cubicBezTo>
                <a:cubicBezTo>
                  <a:pt x="3088285" y="2851884"/>
                  <a:pt x="3087352" y="2850552"/>
                  <a:pt x="3086288" y="2849355"/>
                </a:cubicBezTo>
                <a:cubicBezTo>
                  <a:pt x="3085223" y="2848289"/>
                  <a:pt x="3083891" y="2847357"/>
                  <a:pt x="3082295" y="2846692"/>
                </a:cubicBezTo>
                <a:cubicBezTo>
                  <a:pt x="3080829" y="2846027"/>
                  <a:pt x="3079232" y="2845761"/>
                  <a:pt x="3077235" y="2845761"/>
                </a:cubicBezTo>
                <a:close/>
                <a:moveTo>
                  <a:pt x="2859449" y="2845761"/>
                </a:moveTo>
                <a:cubicBezTo>
                  <a:pt x="2853592" y="2845761"/>
                  <a:pt x="2851063" y="2847756"/>
                  <a:pt x="2849463" y="2849355"/>
                </a:cubicBezTo>
                <a:cubicBezTo>
                  <a:pt x="2846931" y="2852017"/>
                  <a:pt x="2845868" y="2854812"/>
                  <a:pt x="2845868" y="2858806"/>
                </a:cubicBezTo>
                <a:cubicBezTo>
                  <a:pt x="2845868" y="2862933"/>
                  <a:pt x="2846931" y="2865729"/>
                  <a:pt x="2849463" y="2868257"/>
                </a:cubicBezTo>
                <a:cubicBezTo>
                  <a:pt x="2851063" y="2869855"/>
                  <a:pt x="2853592" y="2871718"/>
                  <a:pt x="2859449" y="2871718"/>
                </a:cubicBezTo>
                <a:cubicBezTo>
                  <a:pt x="2861446" y="2871718"/>
                  <a:pt x="2863310" y="2871319"/>
                  <a:pt x="2864774" y="2870787"/>
                </a:cubicBezTo>
                <a:cubicBezTo>
                  <a:pt x="2866372" y="2870254"/>
                  <a:pt x="2867570" y="2869455"/>
                  <a:pt x="2868501" y="2868390"/>
                </a:cubicBezTo>
                <a:cubicBezTo>
                  <a:pt x="2869566" y="2867325"/>
                  <a:pt x="2870498" y="2865861"/>
                  <a:pt x="2871164" y="2864264"/>
                </a:cubicBezTo>
                <a:cubicBezTo>
                  <a:pt x="2871696" y="2862666"/>
                  <a:pt x="2872095" y="2860803"/>
                  <a:pt x="2872095" y="2858806"/>
                </a:cubicBezTo>
                <a:cubicBezTo>
                  <a:pt x="2872095" y="2856941"/>
                  <a:pt x="2871829" y="2855212"/>
                  <a:pt x="2871164" y="2853614"/>
                </a:cubicBezTo>
                <a:cubicBezTo>
                  <a:pt x="2870498" y="2851884"/>
                  <a:pt x="2869566" y="2850552"/>
                  <a:pt x="2868501" y="2849355"/>
                </a:cubicBezTo>
                <a:cubicBezTo>
                  <a:pt x="2867437" y="2848289"/>
                  <a:pt x="2866105" y="2847357"/>
                  <a:pt x="2864508" y="2846692"/>
                </a:cubicBezTo>
                <a:cubicBezTo>
                  <a:pt x="2863044" y="2846027"/>
                  <a:pt x="2861446" y="2845761"/>
                  <a:pt x="2859449" y="2845761"/>
                </a:cubicBezTo>
                <a:close/>
                <a:moveTo>
                  <a:pt x="2641795" y="2845761"/>
                </a:moveTo>
                <a:cubicBezTo>
                  <a:pt x="2635938" y="2845761"/>
                  <a:pt x="2633409" y="2847756"/>
                  <a:pt x="2631812" y="2849355"/>
                </a:cubicBezTo>
                <a:cubicBezTo>
                  <a:pt x="2629282" y="2852017"/>
                  <a:pt x="2628218" y="2854812"/>
                  <a:pt x="2628218" y="2858806"/>
                </a:cubicBezTo>
                <a:cubicBezTo>
                  <a:pt x="2628218" y="2862933"/>
                  <a:pt x="2629282" y="2865729"/>
                  <a:pt x="2631812" y="2868257"/>
                </a:cubicBezTo>
                <a:cubicBezTo>
                  <a:pt x="2633409" y="2869855"/>
                  <a:pt x="2635938" y="2871718"/>
                  <a:pt x="2641795" y="2871718"/>
                </a:cubicBezTo>
                <a:cubicBezTo>
                  <a:pt x="2643792" y="2871718"/>
                  <a:pt x="2645657" y="2871319"/>
                  <a:pt x="2647121" y="2870787"/>
                </a:cubicBezTo>
                <a:cubicBezTo>
                  <a:pt x="2648718" y="2870254"/>
                  <a:pt x="2649916" y="2869455"/>
                  <a:pt x="2650848" y="2868390"/>
                </a:cubicBezTo>
                <a:cubicBezTo>
                  <a:pt x="2651913" y="2867325"/>
                  <a:pt x="2652845" y="2865861"/>
                  <a:pt x="2653511" y="2864264"/>
                </a:cubicBezTo>
                <a:cubicBezTo>
                  <a:pt x="2654043" y="2862666"/>
                  <a:pt x="2654441" y="2860803"/>
                  <a:pt x="2654441" y="2858806"/>
                </a:cubicBezTo>
                <a:cubicBezTo>
                  <a:pt x="2654441" y="2856941"/>
                  <a:pt x="2654176" y="2855212"/>
                  <a:pt x="2653511" y="2853614"/>
                </a:cubicBezTo>
                <a:cubicBezTo>
                  <a:pt x="2652845" y="2851884"/>
                  <a:pt x="2651913" y="2850552"/>
                  <a:pt x="2650848" y="2849355"/>
                </a:cubicBezTo>
                <a:cubicBezTo>
                  <a:pt x="2649783" y="2848289"/>
                  <a:pt x="2648452" y="2847357"/>
                  <a:pt x="2646855" y="2846692"/>
                </a:cubicBezTo>
                <a:cubicBezTo>
                  <a:pt x="2645390" y="2846027"/>
                  <a:pt x="2643792" y="2845761"/>
                  <a:pt x="2641795" y="2845761"/>
                </a:cubicBezTo>
                <a:close/>
                <a:moveTo>
                  <a:pt x="2424142" y="2845761"/>
                </a:moveTo>
                <a:cubicBezTo>
                  <a:pt x="2418285" y="2845761"/>
                  <a:pt x="2415756" y="2847756"/>
                  <a:pt x="2414159" y="2849355"/>
                </a:cubicBezTo>
                <a:cubicBezTo>
                  <a:pt x="2411629" y="2852017"/>
                  <a:pt x="2410565" y="2854812"/>
                  <a:pt x="2410565" y="2858806"/>
                </a:cubicBezTo>
                <a:cubicBezTo>
                  <a:pt x="2410565" y="2862933"/>
                  <a:pt x="2411629" y="2865729"/>
                  <a:pt x="2414159" y="2868257"/>
                </a:cubicBezTo>
                <a:cubicBezTo>
                  <a:pt x="2415756" y="2869855"/>
                  <a:pt x="2418285" y="2871718"/>
                  <a:pt x="2424142" y="2871718"/>
                </a:cubicBezTo>
                <a:cubicBezTo>
                  <a:pt x="2426272" y="2871718"/>
                  <a:pt x="2428003" y="2871319"/>
                  <a:pt x="2429467" y="2870787"/>
                </a:cubicBezTo>
                <a:cubicBezTo>
                  <a:pt x="2431065" y="2870254"/>
                  <a:pt x="2432263" y="2869455"/>
                  <a:pt x="2433194" y="2868390"/>
                </a:cubicBezTo>
                <a:cubicBezTo>
                  <a:pt x="2434259" y="2867325"/>
                  <a:pt x="2435191" y="2865861"/>
                  <a:pt x="2435857" y="2864264"/>
                </a:cubicBezTo>
                <a:cubicBezTo>
                  <a:pt x="2436389" y="2862666"/>
                  <a:pt x="2436789" y="2860803"/>
                  <a:pt x="2436789" y="2858806"/>
                </a:cubicBezTo>
                <a:cubicBezTo>
                  <a:pt x="2436789" y="2856941"/>
                  <a:pt x="2436522" y="2855212"/>
                  <a:pt x="2435857" y="2853614"/>
                </a:cubicBezTo>
                <a:cubicBezTo>
                  <a:pt x="2435191" y="2851884"/>
                  <a:pt x="2434259" y="2850552"/>
                  <a:pt x="2433194" y="2849355"/>
                </a:cubicBezTo>
                <a:cubicBezTo>
                  <a:pt x="2432131" y="2848289"/>
                  <a:pt x="2430799" y="2847357"/>
                  <a:pt x="2429201" y="2846692"/>
                </a:cubicBezTo>
                <a:cubicBezTo>
                  <a:pt x="2427737" y="2846027"/>
                  <a:pt x="2426139" y="2845761"/>
                  <a:pt x="2424142" y="2845761"/>
                </a:cubicBezTo>
                <a:close/>
                <a:moveTo>
                  <a:pt x="2206489" y="2845761"/>
                </a:moveTo>
                <a:cubicBezTo>
                  <a:pt x="2200632" y="2845761"/>
                  <a:pt x="2198103" y="2847756"/>
                  <a:pt x="2196505" y="2849355"/>
                </a:cubicBezTo>
                <a:cubicBezTo>
                  <a:pt x="2193976" y="2852017"/>
                  <a:pt x="2192911" y="2854812"/>
                  <a:pt x="2192911" y="2858806"/>
                </a:cubicBezTo>
                <a:cubicBezTo>
                  <a:pt x="2192911" y="2862933"/>
                  <a:pt x="2193976" y="2865729"/>
                  <a:pt x="2196505" y="2868257"/>
                </a:cubicBezTo>
                <a:cubicBezTo>
                  <a:pt x="2198103" y="2869855"/>
                  <a:pt x="2200632" y="2871718"/>
                  <a:pt x="2206489" y="2871718"/>
                </a:cubicBezTo>
                <a:cubicBezTo>
                  <a:pt x="2208619" y="2871718"/>
                  <a:pt x="2210350" y="2871319"/>
                  <a:pt x="2211814" y="2870787"/>
                </a:cubicBezTo>
                <a:cubicBezTo>
                  <a:pt x="2213411" y="2870254"/>
                  <a:pt x="2214609" y="2869455"/>
                  <a:pt x="2215541" y="2868390"/>
                </a:cubicBezTo>
                <a:cubicBezTo>
                  <a:pt x="2216606" y="2867325"/>
                  <a:pt x="2217538" y="2865861"/>
                  <a:pt x="2218204" y="2864264"/>
                </a:cubicBezTo>
                <a:cubicBezTo>
                  <a:pt x="2218736" y="2862666"/>
                  <a:pt x="2219135" y="2860803"/>
                  <a:pt x="2219135" y="2858806"/>
                </a:cubicBezTo>
                <a:cubicBezTo>
                  <a:pt x="2219135" y="2856941"/>
                  <a:pt x="2218869" y="2855212"/>
                  <a:pt x="2218204" y="2853614"/>
                </a:cubicBezTo>
                <a:cubicBezTo>
                  <a:pt x="2217538" y="2851884"/>
                  <a:pt x="2216606" y="2850552"/>
                  <a:pt x="2215541" y="2849355"/>
                </a:cubicBezTo>
                <a:cubicBezTo>
                  <a:pt x="2214476" y="2848289"/>
                  <a:pt x="2213145" y="2847357"/>
                  <a:pt x="2211548" y="2846692"/>
                </a:cubicBezTo>
                <a:cubicBezTo>
                  <a:pt x="2210083" y="2846027"/>
                  <a:pt x="2208486" y="2845761"/>
                  <a:pt x="2206489" y="2845761"/>
                </a:cubicBezTo>
                <a:close/>
                <a:moveTo>
                  <a:pt x="1988968" y="2845761"/>
                </a:moveTo>
                <a:cubicBezTo>
                  <a:pt x="1983111" y="2845761"/>
                  <a:pt x="1980582" y="2847756"/>
                  <a:pt x="1978985" y="2849355"/>
                </a:cubicBezTo>
                <a:cubicBezTo>
                  <a:pt x="1976455" y="2852017"/>
                  <a:pt x="1975391" y="2854812"/>
                  <a:pt x="1975391" y="2858806"/>
                </a:cubicBezTo>
                <a:cubicBezTo>
                  <a:pt x="1975391" y="2862933"/>
                  <a:pt x="1976455" y="2865729"/>
                  <a:pt x="1978985" y="2868257"/>
                </a:cubicBezTo>
                <a:cubicBezTo>
                  <a:pt x="1980582" y="2869855"/>
                  <a:pt x="1983111" y="2871718"/>
                  <a:pt x="1988968" y="2871718"/>
                </a:cubicBezTo>
                <a:cubicBezTo>
                  <a:pt x="1990965" y="2871718"/>
                  <a:pt x="1992697" y="2871319"/>
                  <a:pt x="1994293" y="2870787"/>
                </a:cubicBezTo>
                <a:cubicBezTo>
                  <a:pt x="1995891" y="2870254"/>
                  <a:pt x="1997090" y="2869455"/>
                  <a:pt x="1998021" y="2868390"/>
                </a:cubicBezTo>
                <a:cubicBezTo>
                  <a:pt x="1999085" y="2867325"/>
                  <a:pt x="2000018" y="2865861"/>
                  <a:pt x="2000684" y="2864264"/>
                </a:cubicBezTo>
                <a:cubicBezTo>
                  <a:pt x="2001215" y="2862666"/>
                  <a:pt x="2001614" y="2860803"/>
                  <a:pt x="2001614" y="2858806"/>
                </a:cubicBezTo>
                <a:cubicBezTo>
                  <a:pt x="2001614" y="2856941"/>
                  <a:pt x="2001349" y="2855212"/>
                  <a:pt x="2000684" y="2853614"/>
                </a:cubicBezTo>
                <a:cubicBezTo>
                  <a:pt x="2000018" y="2851884"/>
                  <a:pt x="1999085" y="2850552"/>
                  <a:pt x="1998021" y="2849355"/>
                </a:cubicBezTo>
                <a:cubicBezTo>
                  <a:pt x="1996956" y="2848289"/>
                  <a:pt x="1995624" y="2847357"/>
                  <a:pt x="1994027" y="2846692"/>
                </a:cubicBezTo>
                <a:cubicBezTo>
                  <a:pt x="1992563" y="2846027"/>
                  <a:pt x="1990965" y="2845761"/>
                  <a:pt x="1988968" y="2845761"/>
                </a:cubicBezTo>
                <a:close/>
                <a:moveTo>
                  <a:pt x="1771329" y="2845761"/>
                </a:moveTo>
                <a:cubicBezTo>
                  <a:pt x="1765472" y="2845761"/>
                  <a:pt x="1762944" y="2847756"/>
                  <a:pt x="1761347" y="2849355"/>
                </a:cubicBezTo>
                <a:cubicBezTo>
                  <a:pt x="1758818" y="2852017"/>
                  <a:pt x="1757753" y="2854812"/>
                  <a:pt x="1757753" y="2858806"/>
                </a:cubicBezTo>
                <a:cubicBezTo>
                  <a:pt x="1757753" y="2862933"/>
                  <a:pt x="1758818" y="2865729"/>
                  <a:pt x="1761347" y="2868257"/>
                </a:cubicBezTo>
                <a:cubicBezTo>
                  <a:pt x="1762944" y="2869855"/>
                  <a:pt x="1765472" y="2871718"/>
                  <a:pt x="1771329" y="2871718"/>
                </a:cubicBezTo>
                <a:cubicBezTo>
                  <a:pt x="1773327" y="2871718"/>
                  <a:pt x="1775190" y="2871319"/>
                  <a:pt x="1776654" y="2870787"/>
                </a:cubicBezTo>
                <a:cubicBezTo>
                  <a:pt x="1778118" y="2870254"/>
                  <a:pt x="1779449" y="2869455"/>
                  <a:pt x="1780381" y="2868390"/>
                </a:cubicBezTo>
                <a:cubicBezTo>
                  <a:pt x="1781446" y="2867325"/>
                  <a:pt x="1782378" y="2865861"/>
                  <a:pt x="1783044" y="2864264"/>
                </a:cubicBezTo>
                <a:cubicBezTo>
                  <a:pt x="1783709" y="2862666"/>
                  <a:pt x="1784109" y="2860803"/>
                  <a:pt x="1784109" y="2858806"/>
                </a:cubicBezTo>
                <a:cubicBezTo>
                  <a:pt x="1784109" y="2856941"/>
                  <a:pt x="1783709" y="2855212"/>
                  <a:pt x="1783044" y="2853614"/>
                </a:cubicBezTo>
                <a:cubicBezTo>
                  <a:pt x="1782378" y="2851884"/>
                  <a:pt x="1781446" y="2850552"/>
                  <a:pt x="1780381" y="2849355"/>
                </a:cubicBezTo>
                <a:cubicBezTo>
                  <a:pt x="1779316" y="2848289"/>
                  <a:pt x="1777985" y="2847357"/>
                  <a:pt x="1776388" y="2846692"/>
                </a:cubicBezTo>
                <a:cubicBezTo>
                  <a:pt x="1774923" y="2846027"/>
                  <a:pt x="1773327" y="2845761"/>
                  <a:pt x="1771329" y="2845761"/>
                </a:cubicBezTo>
                <a:close/>
                <a:moveTo>
                  <a:pt x="1553688" y="2845761"/>
                </a:moveTo>
                <a:cubicBezTo>
                  <a:pt x="1547831" y="2845761"/>
                  <a:pt x="1545302" y="2847756"/>
                  <a:pt x="1543705" y="2849355"/>
                </a:cubicBezTo>
                <a:cubicBezTo>
                  <a:pt x="1541175" y="2852017"/>
                  <a:pt x="1540111" y="2854812"/>
                  <a:pt x="1540111" y="2858806"/>
                </a:cubicBezTo>
                <a:cubicBezTo>
                  <a:pt x="1540111" y="2862933"/>
                  <a:pt x="1541175" y="2865729"/>
                  <a:pt x="1543705" y="2868257"/>
                </a:cubicBezTo>
                <a:cubicBezTo>
                  <a:pt x="1545302" y="2869855"/>
                  <a:pt x="1547831" y="2871718"/>
                  <a:pt x="1553688" y="2871718"/>
                </a:cubicBezTo>
                <a:cubicBezTo>
                  <a:pt x="1555685" y="2871718"/>
                  <a:pt x="1557549" y="2871319"/>
                  <a:pt x="1559013" y="2870787"/>
                </a:cubicBezTo>
                <a:cubicBezTo>
                  <a:pt x="1560477" y="2870254"/>
                  <a:pt x="1561809" y="2869455"/>
                  <a:pt x="1562740" y="2868390"/>
                </a:cubicBezTo>
                <a:cubicBezTo>
                  <a:pt x="1563805" y="2867325"/>
                  <a:pt x="1564737" y="2865861"/>
                  <a:pt x="1565403" y="2864264"/>
                </a:cubicBezTo>
                <a:cubicBezTo>
                  <a:pt x="1566068" y="2862666"/>
                  <a:pt x="1566468" y="2860803"/>
                  <a:pt x="1566468" y="2858806"/>
                </a:cubicBezTo>
                <a:cubicBezTo>
                  <a:pt x="1566468" y="2856941"/>
                  <a:pt x="1566068" y="2855212"/>
                  <a:pt x="1565403" y="2853614"/>
                </a:cubicBezTo>
                <a:cubicBezTo>
                  <a:pt x="1564737" y="2851884"/>
                  <a:pt x="1563805" y="2850552"/>
                  <a:pt x="1562740" y="2849355"/>
                </a:cubicBezTo>
                <a:cubicBezTo>
                  <a:pt x="1561675" y="2848289"/>
                  <a:pt x="1560344" y="2847357"/>
                  <a:pt x="1558747" y="2846692"/>
                </a:cubicBezTo>
                <a:cubicBezTo>
                  <a:pt x="1557283" y="2846027"/>
                  <a:pt x="1555685" y="2845761"/>
                  <a:pt x="1553688" y="2845761"/>
                </a:cubicBezTo>
                <a:close/>
                <a:moveTo>
                  <a:pt x="1336044" y="2845761"/>
                </a:moveTo>
                <a:cubicBezTo>
                  <a:pt x="1330186" y="2845761"/>
                  <a:pt x="1327657" y="2847756"/>
                  <a:pt x="1326061" y="2849355"/>
                </a:cubicBezTo>
                <a:cubicBezTo>
                  <a:pt x="1323530" y="2852017"/>
                  <a:pt x="1322466" y="2854812"/>
                  <a:pt x="1322466" y="2858806"/>
                </a:cubicBezTo>
                <a:cubicBezTo>
                  <a:pt x="1322466" y="2862933"/>
                  <a:pt x="1323530" y="2865729"/>
                  <a:pt x="1326061" y="2868257"/>
                </a:cubicBezTo>
                <a:cubicBezTo>
                  <a:pt x="1327657" y="2869855"/>
                  <a:pt x="1330186" y="2871718"/>
                  <a:pt x="1336044" y="2871718"/>
                </a:cubicBezTo>
                <a:cubicBezTo>
                  <a:pt x="1338174" y="2871718"/>
                  <a:pt x="1339904" y="2871319"/>
                  <a:pt x="1341370" y="2870787"/>
                </a:cubicBezTo>
                <a:cubicBezTo>
                  <a:pt x="1342834" y="2870254"/>
                  <a:pt x="1344165" y="2869455"/>
                  <a:pt x="1345097" y="2868390"/>
                </a:cubicBezTo>
                <a:cubicBezTo>
                  <a:pt x="1346161" y="2867325"/>
                  <a:pt x="1347094" y="2865861"/>
                  <a:pt x="1347760" y="2864264"/>
                </a:cubicBezTo>
                <a:cubicBezTo>
                  <a:pt x="1348425" y="2862666"/>
                  <a:pt x="1348826" y="2860803"/>
                  <a:pt x="1348826" y="2858806"/>
                </a:cubicBezTo>
                <a:cubicBezTo>
                  <a:pt x="1348826" y="2856941"/>
                  <a:pt x="1348425" y="2855212"/>
                  <a:pt x="1347760" y="2853614"/>
                </a:cubicBezTo>
                <a:cubicBezTo>
                  <a:pt x="1347094" y="2851884"/>
                  <a:pt x="1346161" y="2850552"/>
                  <a:pt x="1345097" y="2849355"/>
                </a:cubicBezTo>
                <a:cubicBezTo>
                  <a:pt x="1344032" y="2848289"/>
                  <a:pt x="1342702" y="2847357"/>
                  <a:pt x="1341103" y="2846692"/>
                </a:cubicBezTo>
                <a:cubicBezTo>
                  <a:pt x="1339639" y="2846027"/>
                  <a:pt x="1338040" y="2845761"/>
                  <a:pt x="1336044" y="2845761"/>
                </a:cubicBezTo>
                <a:close/>
                <a:moveTo>
                  <a:pt x="1118532" y="2845761"/>
                </a:moveTo>
                <a:cubicBezTo>
                  <a:pt x="1112674" y="2845761"/>
                  <a:pt x="1110145" y="2847756"/>
                  <a:pt x="1108547" y="2849355"/>
                </a:cubicBezTo>
                <a:cubicBezTo>
                  <a:pt x="1105885" y="2852017"/>
                  <a:pt x="1104820" y="2854812"/>
                  <a:pt x="1104820" y="2858806"/>
                </a:cubicBezTo>
                <a:cubicBezTo>
                  <a:pt x="1104820" y="2862933"/>
                  <a:pt x="1105885" y="2865729"/>
                  <a:pt x="1108415" y="2868257"/>
                </a:cubicBezTo>
                <a:cubicBezTo>
                  <a:pt x="1110012" y="2869855"/>
                  <a:pt x="1112541" y="2871718"/>
                  <a:pt x="1118399" y="2871718"/>
                </a:cubicBezTo>
                <a:cubicBezTo>
                  <a:pt x="1120529" y="2871718"/>
                  <a:pt x="1122260" y="2871319"/>
                  <a:pt x="1123856" y="2870787"/>
                </a:cubicBezTo>
                <a:cubicBezTo>
                  <a:pt x="1125321" y="2870254"/>
                  <a:pt x="1126655" y="2869455"/>
                  <a:pt x="1127585" y="2868390"/>
                </a:cubicBezTo>
                <a:cubicBezTo>
                  <a:pt x="1128650" y="2867325"/>
                  <a:pt x="1129582" y="2865861"/>
                  <a:pt x="1130248" y="2864264"/>
                </a:cubicBezTo>
                <a:cubicBezTo>
                  <a:pt x="1130913" y="2862666"/>
                  <a:pt x="1131314" y="2860803"/>
                  <a:pt x="1131314" y="2858806"/>
                </a:cubicBezTo>
                <a:cubicBezTo>
                  <a:pt x="1131314" y="2856941"/>
                  <a:pt x="1130913" y="2855212"/>
                  <a:pt x="1130248" y="2853614"/>
                </a:cubicBezTo>
                <a:cubicBezTo>
                  <a:pt x="1129582" y="2851884"/>
                  <a:pt x="1128650" y="2850552"/>
                  <a:pt x="1127585" y="2849355"/>
                </a:cubicBezTo>
                <a:cubicBezTo>
                  <a:pt x="1126520" y="2848289"/>
                  <a:pt x="1125189" y="2847357"/>
                  <a:pt x="1123590" y="2846692"/>
                </a:cubicBezTo>
                <a:cubicBezTo>
                  <a:pt x="1122127" y="2846027"/>
                  <a:pt x="1120529" y="2845761"/>
                  <a:pt x="1118532" y="2845761"/>
                </a:cubicBezTo>
                <a:close/>
                <a:moveTo>
                  <a:pt x="901020" y="2845761"/>
                </a:moveTo>
                <a:cubicBezTo>
                  <a:pt x="895162" y="2845761"/>
                  <a:pt x="892633" y="2847756"/>
                  <a:pt x="891036" y="2849355"/>
                </a:cubicBezTo>
                <a:cubicBezTo>
                  <a:pt x="888373" y="2852017"/>
                  <a:pt x="887309" y="2854812"/>
                  <a:pt x="887309" y="2858806"/>
                </a:cubicBezTo>
                <a:cubicBezTo>
                  <a:pt x="887309" y="2862933"/>
                  <a:pt x="888373" y="2865729"/>
                  <a:pt x="890903" y="2868257"/>
                </a:cubicBezTo>
                <a:cubicBezTo>
                  <a:pt x="892500" y="2869855"/>
                  <a:pt x="895029" y="2871718"/>
                  <a:pt x="900886" y="2871718"/>
                </a:cubicBezTo>
                <a:cubicBezTo>
                  <a:pt x="902883" y="2871718"/>
                  <a:pt x="904614" y="2871319"/>
                  <a:pt x="906345" y="2870787"/>
                </a:cubicBezTo>
                <a:cubicBezTo>
                  <a:pt x="907809" y="2870254"/>
                  <a:pt x="909140" y="2869455"/>
                  <a:pt x="910073" y="2868390"/>
                </a:cubicBezTo>
                <a:cubicBezTo>
                  <a:pt x="911137" y="2867325"/>
                  <a:pt x="912069" y="2865861"/>
                  <a:pt x="912735" y="2864264"/>
                </a:cubicBezTo>
                <a:cubicBezTo>
                  <a:pt x="913400" y="2862666"/>
                  <a:pt x="913800" y="2860803"/>
                  <a:pt x="913800" y="2858806"/>
                </a:cubicBezTo>
                <a:cubicBezTo>
                  <a:pt x="913800" y="2856941"/>
                  <a:pt x="913400" y="2855212"/>
                  <a:pt x="912735" y="2853614"/>
                </a:cubicBezTo>
                <a:cubicBezTo>
                  <a:pt x="912069" y="2851884"/>
                  <a:pt x="911137" y="2850552"/>
                  <a:pt x="910073" y="2849355"/>
                </a:cubicBezTo>
                <a:cubicBezTo>
                  <a:pt x="909007" y="2848289"/>
                  <a:pt x="907676" y="2847357"/>
                  <a:pt x="906078" y="2846692"/>
                </a:cubicBezTo>
                <a:cubicBezTo>
                  <a:pt x="904614" y="2846027"/>
                  <a:pt x="903016" y="2845761"/>
                  <a:pt x="901020" y="2845761"/>
                </a:cubicBezTo>
                <a:close/>
                <a:moveTo>
                  <a:pt x="683244" y="2845761"/>
                </a:moveTo>
                <a:cubicBezTo>
                  <a:pt x="677387" y="2845761"/>
                  <a:pt x="674858" y="2847756"/>
                  <a:pt x="673261" y="2849355"/>
                </a:cubicBezTo>
                <a:cubicBezTo>
                  <a:pt x="670731" y="2852017"/>
                  <a:pt x="669667" y="2854812"/>
                  <a:pt x="669667" y="2858806"/>
                </a:cubicBezTo>
                <a:cubicBezTo>
                  <a:pt x="669667" y="2862933"/>
                  <a:pt x="670731" y="2865729"/>
                  <a:pt x="673261" y="2868257"/>
                </a:cubicBezTo>
                <a:cubicBezTo>
                  <a:pt x="674858" y="2869855"/>
                  <a:pt x="677387" y="2871718"/>
                  <a:pt x="683244" y="2871718"/>
                </a:cubicBezTo>
                <a:cubicBezTo>
                  <a:pt x="685241" y="2871718"/>
                  <a:pt x="687105" y="2871319"/>
                  <a:pt x="688569" y="2870787"/>
                </a:cubicBezTo>
                <a:cubicBezTo>
                  <a:pt x="690033" y="2870254"/>
                  <a:pt x="691365" y="2869455"/>
                  <a:pt x="692296" y="2868390"/>
                </a:cubicBezTo>
                <a:cubicBezTo>
                  <a:pt x="693361" y="2867325"/>
                  <a:pt x="694293" y="2865861"/>
                  <a:pt x="694959" y="2864264"/>
                </a:cubicBezTo>
                <a:cubicBezTo>
                  <a:pt x="695624" y="2862666"/>
                  <a:pt x="696024" y="2860803"/>
                  <a:pt x="696024" y="2858806"/>
                </a:cubicBezTo>
                <a:cubicBezTo>
                  <a:pt x="696024" y="2856941"/>
                  <a:pt x="695624" y="2855212"/>
                  <a:pt x="694959" y="2853614"/>
                </a:cubicBezTo>
                <a:cubicBezTo>
                  <a:pt x="694293" y="2851884"/>
                  <a:pt x="693361" y="2850552"/>
                  <a:pt x="692296" y="2849355"/>
                </a:cubicBezTo>
                <a:cubicBezTo>
                  <a:pt x="691231" y="2848289"/>
                  <a:pt x="689900" y="2847357"/>
                  <a:pt x="688303" y="2846692"/>
                </a:cubicBezTo>
                <a:cubicBezTo>
                  <a:pt x="686839" y="2846027"/>
                  <a:pt x="685241" y="2845761"/>
                  <a:pt x="683244" y="2845761"/>
                </a:cubicBezTo>
                <a:close/>
                <a:moveTo>
                  <a:pt x="465601" y="2845761"/>
                </a:moveTo>
                <a:cubicBezTo>
                  <a:pt x="459744" y="2845761"/>
                  <a:pt x="457215" y="2847756"/>
                  <a:pt x="455618" y="2849355"/>
                </a:cubicBezTo>
                <a:cubicBezTo>
                  <a:pt x="453088" y="2852017"/>
                  <a:pt x="452024" y="2854812"/>
                  <a:pt x="452024" y="2858806"/>
                </a:cubicBezTo>
                <a:cubicBezTo>
                  <a:pt x="452024" y="2862933"/>
                  <a:pt x="453088" y="2865729"/>
                  <a:pt x="455618" y="2868257"/>
                </a:cubicBezTo>
                <a:cubicBezTo>
                  <a:pt x="457215" y="2869855"/>
                  <a:pt x="459744" y="2871718"/>
                  <a:pt x="465601" y="2871718"/>
                </a:cubicBezTo>
                <a:cubicBezTo>
                  <a:pt x="467598" y="2871718"/>
                  <a:pt x="469462" y="2871319"/>
                  <a:pt x="470926" y="2870787"/>
                </a:cubicBezTo>
                <a:cubicBezTo>
                  <a:pt x="472390" y="2870254"/>
                  <a:pt x="473721" y="2869455"/>
                  <a:pt x="474653" y="2868390"/>
                </a:cubicBezTo>
                <a:cubicBezTo>
                  <a:pt x="475718" y="2867325"/>
                  <a:pt x="476650" y="2865861"/>
                  <a:pt x="477316" y="2864264"/>
                </a:cubicBezTo>
                <a:cubicBezTo>
                  <a:pt x="477981" y="2862666"/>
                  <a:pt x="478381" y="2860803"/>
                  <a:pt x="478381" y="2858806"/>
                </a:cubicBezTo>
                <a:cubicBezTo>
                  <a:pt x="478381" y="2856941"/>
                  <a:pt x="477981" y="2855212"/>
                  <a:pt x="477316" y="2853614"/>
                </a:cubicBezTo>
                <a:cubicBezTo>
                  <a:pt x="476650" y="2851884"/>
                  <a:pt x="475718" y="2850552"/>
                  <a:pt x="474653" y="2849355"/>
                </a:cubicBezTo>
                <a:cubicBezTo>
                  <a:pt x="473588" y="2848289"/>
                  <a:pt x="472257" y="2847357"/>
                  <a:pt x="470660" y="2846692"/>
                </a:cubicBezTo>
                <a:cubicBezTo>
                  <a:pt x="469196" y="2846027"/>
                  <a:pt x="467598" y="2845761"/>
                  <a:pt x="465601" y="2845761"/>
                </a:cubicBezTo>
                <a:close/>
                <a:moveTo>
                  <a:pt x="247958" y="2845761"/>
                </a:moveTo>
                <a:cubicBezTo>
                  <a:pt x="242101" y="2845761"/>
                  <a:pt x="239572" y="2847756"/>
                  <a:pt x="237975" y="2849355"/>
                </a:cubicBezTo>
                <a:cubicBezTo>
                  <a:pt x="235445" y="2852017"/>
                  <a:pt x="234381" y="2854812"/>
                  <a:pt x="234381" y="2858806"/>
                </a:cubicBezTo>
                <a:cubicBezTo>
                  <a:pt x="234381" y="2862933"/>
                  <a:pt x="235445" y="2865729"/>
                  <a:pt x="237975" y="2868257"/>
                </a:cubicBezTo>
                <a:cubicBezTo>
                  <a:pt x="239572" y="2869855"/>
                  <a:pt x="242101" y="2871718"/>
                  <a:pt x="247958" y="2871718"/>
                </a:cubicBezTo>
                <a:cubicBezTo>
                  <a:pt x="250088" y="2871718"/>
                  <a:pt x="251819" y="2871319"/>
                  <a:pt x="253283" y="2870787"/>
                </a:cubicBezTo>
                <a:cubicBezTo>
                  <a:pt x="254747" y="2870254"/>
                  <a:pt x="256078" y="2869455"/>
                  <a:pt x="257010" y="2868390"/>
                </a:cubicBezTo>
                <a:cubicBezTo>
                  <a:pt x="258075" y="2867325"/>
                  <a:pt x="259007" y="2865861"/>
                  <a:pt x="259673" y="2864264"/>
                </a:cubicBezTo>
                <a:cubicBezTo>
                  <a:pt x="260338" y="2862666"/>
                  <a:pt x="260738" y="2860803"/>
                  <a:pt x="260738" y="2858806"/>
                </a:cubicBezTo>
                <a:cubicBezTo>
                  <a:pt x="260738" y="2856941"/>
                  <a:pt x="260338" y="2855212"/>
                  <a:pt x="259673" y="2853614"/>
                </a:cubicBezTo>
                <a:cubicBezTo>
                  <a:pt x="259007" y="2851884"/>
                  <a:pt x="258075" y="2850552"/>
                  <a:pt x="257010" y="2849355"/>
                </a:cubicBezTo>
                <a:cubicBezTo>
                  <a:pt x="255945" y="2848289"/>
                  <a:pt x="254614" y="2847357"/>
                  <a:pt x="253017" y="2846692"/>
                </a:cubicBezTo>
                <a:cubicBezTo>
                  <a:pt x="251552" y="2846027"/>
                  <a:pt x="249955" y="2845761"/>
                  <a:pt x="247958" y="2845761"/>
                </a:cubicBezTo>
                <a:close/>
                <a:moveTo>
                  <a:pt x="30315" y="2845761"/>
                </a:moveTo>
                <a:cubicBezTo>
                  <a:pt x="24458" y="2845761"/>
                  <a:pt x="21929" y="2847756"/>
                  <a:pt x="20332" y="2849355"/>
                </a:cubicBezTo>
                <a:cubicBezTo>
                  <a:pt x="17802" y="2852017"/>
                  <a:pt x="16738" y="2854812"/>
                  <a:pt x="16738" y="2858806"/>
                </a:cubicBezTo>
                <a:cubicBezTo>
                  <a:pt x="16738" y="2862933"/>
                  <a:pt x="17802" y="2865729"/>
                  <a:pt x="20332" y="2868257"/>
                </a:cubicBezTo>
                <a:cubicBezTo>
                  <a:pt x="21929" y="2869855"/>
                  <a:pt x="24458" y="2871718"/>
                  <a:pt x="30315" y="2871718"/>
                </a:cubicBezTo>
                <a:cubicBezTo>
                  <a:pt x="32445" y="2871718"/>
                  <a:pt x="34176" y="2871319"/>
                  <a:pt x="35640" y="2870787"/>
                </a:cubicBezTo>
                <a:cubicBezTo>
                  <a:pt x="37104" y="2870254"/>
                  <a:pt x="38436" y="2869455"/>
                  <a:pt x="39367" y="2868390"/>
                </a:cubicBezTo>
                <a:cubicBezTo>
                  <a:pt x="40432" y="2867325"/>
                  <a:pt x="41364" y="2865861"/>
                  <a:pt x="42030" y="2864264"/>
                </a:cubicBezTo>
                <a:cubicBezTo>
                  <a:pt x="42695" y="2862666"/>
                  <a:pt x="42961" y="2860803"/>
                  <a:pt x="42961" y="2858806"/>
                </a:cubicBezTo>
                <a:cubicBezTo>
                  <a:pt x="42961" y="2856941"/>
                  <a:pt x="42695" y="2855212"/>
                  <a:pt x="42030" y="2853614"/>
                </a:cubicBezTo>
                <a:cubicBezTo>
                  <a:pt x="41364" y="2851884"/>
                  <a:pt x="40432" y="2850552"/>
                  <a:pt x="39367" y="2849355"/>
                </a:cubicBezTo>
                <a:cubicBezTo>
                  <a:pt x="38302" y="2848289"/>
                  <a:pt x="36971" y="2847357"/>
                  <a:pt x="35374" y="2846692"/>
                </a:cubicBezTo>
                <a:cubicBezTo>
                  <a:pt x="33910" y="2846027"/>
                  <a:pt x="32312" y="2845761"/>
                  <a:pt x="30315" y="2845761"/>
                </a:cubicBezTo>
                <a:close/>
                <a:moveTo>
                  <a:pt x="10475977" y="2828988"/>
                </a:moveTo>
                <a:cubicBezTo>
                  <a:pt x="10480237" y="2828988"/>
                  <a:pt x="10484230" y="2829786"/>
                  <a:pt x="10487824" y="2831516"/>
                </a:cubicBezTo>
                <a:cubicBezTo>
                  <a:pt x="10491419" y="2833114"/>
                  <a:pt x="10494613" y="2835243"/>
                  <a:pt x="10497143" y="2837906"/>
                </a:cubicBezTo>
                <a:cubicBezTo>
                  <a:pt x="10499672" y="2840568"/>
                  <a:pt x="10501801" y="2843764"/>
                  <a:pt x="10503266" y="2847357"/>
                </a:cubicBezTo>
                <a:cubicBezTo>
                  <a:pt x="10504730" y="2850952"/>
                  <a:pt x="10505529" y="2854678"/>
                  <a:pt x="10505529" y="2858806"/>
                </a:cubicBezTo>
                <a:cubicBezTo>
                  <a:pt x="10505529" y="2862933"/>
                  <a:pt x="10504730" y="2866926"/>
                  <a:pt x="10503266" y="2870520"/>
                </a:cubicBezTo>
                <a:cubicBezTo>
                  <a:pt x="10501669" y="2874114"/>
                  <a:pt x="10499672" y="2877176"/>
                  <a:pt x="10497143" y="2879838"/>
                </a:cubicBezTo>
                <a:cubicBezTo>
                  <a:pt x="10494480" y="2882501"/>
                  <a:pt x="10491419" y="2884631"/>
                  <a:pt x="10487824" y="2886095"/>
                </a:cubicBezTo>
                <a:cubicBezTo>
                  <a:pt x="10484098" y="2887559"/>
                  <a:pt x="10480237" y="2888359"/>
                  <a:pt x="10475977" y="2888359"/>
                </a:cubicBezTo>
                <a:cubicBezTo>
                  <a:pt x="10466924" y="2888359"/>
                  <a:pt x="10459736" y="2885429"/>
                  <a:pt x="10454145" y="2879838"/>
                </a:cubicBezTo>
                <a:cubicBezTo>
                  <a:pt x="10448554" y="2874247"/>
                  <a:pt x="10445759" y="2867192"/>
                  <a:pt x="10445759" y="2858673"/>
                </a:cubicBezTo>
                <a:cubicBezTo>
                  <a:pt x="10445759" y="2850420"/>
                  <a:pt x="10448554" y="2843363"/>
                  <a:pt x="10454145" y="2837640"/>
                </a:cubicBezTo>
                <a:cubicBezTo>
                  <a:pt x="10459603" y="2831916"/>
                  <a:pt x="10466924" y="2828988"/>
                  <a:pt x="10475977" y="2828988"/>
                </a:cubicBezTo>
                <a:close/>
                <a:moveTo>
                  <a:pt x="10258466" y="2828988"/>
                </a:moveTo>
                <a:cubicBezTo>
                  <a:pt x="10262592" y="2828988"/>
                  <a:pt x="10266586" y="2829786"/>
                  <a:pt x="10270313" y="2831516"/>
                </a:cubicBezTo>
                <a:cubicBezTo>
                  <a:pt x="10273907" y="2833114"/>
                  <a:pt x="10277101" y="2835243"/>
                  <a:pt x="10279631" y="2837906"/>
                </a:cubicBezTo>
                <a:cubicBezTo>
                  <a:pt x="10282160" y="2840568"/>
                  <a:pt x="10284290" y="2843764"/>
                  <a:pt x="10285754" y="2847357"/>
                </a:cubicBezTo>
                <a:cubicBezTo>
                  <a:pt x="10287218" y="2850952"/>
                  <a:pt x="10288017" y="2854678"/>
                  <a:pt x="10288017" y="2858806"/>
                </a:cubicBezTo>
                <a:cubicBezTo>
                  <a:pt x="10288017" y="2862933"/>
                  <a:pt x="10287218" y="2866926"/>
                  <a:pt x="10285754" y="2870520"/>
                </a:cubicBezTo>
                <a:cubicBezTo>
                  <a:pt x="10284157" y="2874114"/>
                  <a:pt x="10282160" y="2877176"/>
                  <a:pt x="10279631" y="2879838"/>
                </a:cubicBezTo>
                <a:cubicBezTo>
                  <a:pt x="10276969" y="2882501"/>
                  <a:pt x="10273907" y="2884631"/>
                  <a:pt x="10270313" y="2886095"/>
                </a:cubicBezTo>
                <a:cubicBezTo>
                  <a:pt x="10266586" y="2887559"/>
                  <a:pt x="10262725" y="2888359"/>
                  <a:pt x="10258466" y="2888359"/>
                </a:cubicBezTo>
                <a:cubicBezTo>
                  <a:pt x="10249546" y="2888359"/>
                  <a:pt x="10242224" y="2885429"/>
                  <a:pt x="10236633" y="2879838"/>
                </a:cubicBezTo>
                <a:cubicBezTo>
                  <a:pt x="10231043" y="2874247"/>
                  <a:pt x="10228247" y="2867192"/>
                  <a:pt x="10228247" y="2858673"/>
                </a:cubicBezTo>
                <a:cubicBezTo>
                  <a:pt x="10228247" y="2850420"/>
                  <a:pt x="10231043" y="2843363"/>
                  <a:pt x="10236633" y="2837640"/>
                </a:cubicBezTo>
                <a:cubicBezTo>
                  <a:pt x="10242092" y="2831916"/>
                  <a:pt x="10249413" y="2828988"/>
                  <a:pt x="10258466" y="2828988"/>
                </a:cubicBezTo>
                <a:close/>
                <a:moveTo>
                  <a:pt x="10040820" y="2828988"/>
                </a:moveTo>
                <a:cubicBezTo>
                  <a:pt x="10045080" y="2828988"/>
                  <a:pt x="10048941" y="2829786"/>
                  <a:pt x="10052534" y="2831516"/>
                </a:cubicBezTo>
                <a:cubicBezTo>
                  <a:pt x="10056129" y="2833114"/>
                  <a:pt x="10059323" y="2835243"/>
                  <a:pt x="10061852" y="2837906"/>
                </a:cubicBezTo>
                <a:cubicBezTo>
                  <a:pt x="10064382" y="2840568"/>
                  <a:pt x="10066512" y="2843764"/>
                  <a:pt x="10067976" y="2847357"/>
                </a:cubicBezTo>
                <a:cubicBezTo>
                  <a:pt x="10069440" y="2850952"/>
                  <a:pt x="10070239" y="2854678"/>
                  <a:pt x="10070239" y="2858806"/>
                </a:cubicBezTo>
                <a:cubicBezTo>
                  <a:pt x="10070239" y="2862933"/>
                  <a:pt x="10069440" y="2866926"/>
                  <a:pt x="10067976" y="2870520"/>
                </a:cubicBezTo>
                <a:cubicBezTo>
                  <a:pt x="10066379" y="2874114"/>
                  <a:pt x="10064382" y="2877176"/>
                  <a:pt x="10061852" y="2879838"/>
                </a:cubicBezTo>
                <a:cubicBezTo>
                  <a:pt x="10059190" y="2882501"/>
                  <a:pt x="10056129" y="2884631"/>
                  <a:pt x="10052534" y="2886095"/>
                </a:cubicBezTo>
                <a:cubicBezTo>
                  <a:pt x="10048941" y="2887559"/>
                  <a:pt x="10045080" y="2888359"/>
                  <a:pt x="10040820" y="2888359"/>
                </a:cubicBezTo>
                <a:cubicBezTo>
                  <a:pt x="10031767" y="2888359"/>
                  <a:pt x="10024579" y="2885429"/>
                  <a:pt x="10018988" y="2879838"/>
                </a:cubicBezTo>
                <a:cubicBezTo>
                  <a:pt x="10013397" y="2874247"/>
                  <a:pt x="10010602" y="2867192"/>
                  <a:pt x="10010602" y="2858673"/>
                </a:cubicBezTo>
                <a:cubicBezTo>
                  <a:pt x="10010602" y="2850420"/>
                  <a:pt x="10013397" y="2843363"/>
                  <a:pt x="10018988" y="2837640"/>
                </a:cubicBezTo>
                <a:cubicBezTo>
                  <a:pt x="10024579" y="2831916"/>
                  <a:pt x="10031767" y="2828988"/>
                  <a:pt x="10040820" y="2828988"/>
                </a:cubicBezTo>
                <a:close/>
                <a:moveTo>
                  <a:pt x="9823176" y="2828988"/>
                </a:moveTo>
                <a:cubicBezTo>
                  <a:pt x="9827435" y="2828988"/>
                  <a:pt x="9831296" y="2829786"/>
                  <a:pt x="9834890" y="2831516"/>
                </a:cubicBezTo>
                <a:cubicBezTo>
                  <a:pt x="9838617" y="2833114"/>
                  <a:pt x="9841679" y="2835243"/>
                  <a:pt x="9844208" y="2837906"/>
                </a:cubicBezTo>
                <a:cubicBezTo>
                  <a:pt x="9846737" y="2840568"/>
                  <a:pt x="9848867" y="2843764"/>
                  <a:pt x="9850331" y="2847357"/>
                </a:cubicBezTo>
                <a:cubicBezTo>
                  <a:pt x="9851796" y="2850952"/>
                  <a:pt x="9852595" y="2854678"/>
                  <a:pt x="9852595" y="2858806"/>
                </a:cubicBezTo>
                <a:cubicBezTo>
                  <a:pt x="9852595" y="2862933"/>
                  <a:pt x="9851796" y="2866926"/>
                  <a:pt x="9850331" y="2870520"/>
                </a:cubicBezTo>
                <a:cubicBezTo>
                  <a:pt x="9848734" y="2874114"/>
                  <a:pt x="9846737" y="2877176"/>
                  <a:pt x="9844208" y="2879838"/>
                </a:cubicBezTo>
                <a:cubicBezTo>
                  <a:pt x="9841546" y="2882501"/>
                  <a:pt x="9838484" y="2884631"/>
                  <a:pt x="9834890" y="2886095"/>
                </a:cubicBezTo>
                <a:cubicBezTo>
                  <a:pt x="9831296" y="2887559"/>
                  <a:pt x="9827435" y="2888359"/>
                  <a:pt x="9823176" y="2888359"/>
                </a:cubicBezTo>
                <a:cubicBezTo>
                  <a:pt x="9814123" y="2888359"/>
                  <a:pt x="9806935" y="2885429"/>
                  <a:pt x="9801343" y="2879838"/>
                </a:cubicBezTo>
                <a:cubicBezTo>
                  <a:pt x="9795753" y="2874247"/>
                  <a:pt x="9792957" y="2867192"/>
                  <a:pt x="9792957" y="2858673"/>
                </a:cubicBezTo>
                <a:cubicBezTo>
                  <a:pt x="9792957" y="2850420"/>
                  <a:pt x="9795753" y="2843363"/>
                  <a:pt x="9801343" y="2837640"/>
                </a:cubicBezTo>
                <a:cubicBezTo>
                  <a:pt x="9806935" y="2831916"/>
                  <a:pt x="9814123" y="2828988"/>
                  <a:pt x="9823176" y="2828988"/>
                </a:cubicBezTo>
                <a:close/>
                <a:moveTo>
                  <a:pt x="9605531" y="2828988"/>
                </a:moveTo>
                <a:cubicBezTo>
                  <a:pt x="9609790" y="2828988"/>
                  <a:pt x="9613784" y="2829786"/>
                  <a:pt x="9617245" y="2831516"/>
                </a:cubicBezTo>
                <a:cubicBezTo>
                  <a:pt x="9620839" y="2833114"/>
                  <a:pt x="9624033" y="2835243"/>
                  <a:pt x="9626562" y="2837906"/>
                </a:cubicBezTo>
                <a:cubicBezTo>
                  <a:pt x="9629092" y="2840568"/>
                  <a:pt x="9631222" y="2843764"/>
                  <a:pt x="9632686" y="2847357"/>
                </a:cubicBezTo>
                <a:cubicBezTo>
                  <a:pt x="9634150" y="2850952"/>
                  <a:pt x="9634949" y="2854678"/>
                  <a:pt x="9634949" y="2858806"/>
                </a:cubicBezTo>
                <a:cubicBezTo>
                  <a:pt x="9634949" y="2862933"/>
                  <a:pt x="9634150" y="2866926"/>
                  <a:pt x="9632686" y="2870520"/>
                </a:cubicBezTo>
                <a:cubicBezTo>
                  <a:pt x="9631089" y="2874114"/>
                  <a:pt x="9629092" y="2877176"/>
                  <a:pt x="9626562" y="2879838"/>
                </a:cubicBezTo>
                <a:cubicBezTo>
                  <a:pt x="9623901" y="2882501"/>
                  <a:pt x="9620839" y="2884631"/>
                  <a:pt x="9617245" y="2886095"/>
                </a:cubicBezTo>
                <a:cubicBezTo>
                  <a:pt x="9613651" y="2887559"/>
                  <a:pt x="9609790" y="2888359"/>
                  <a:pt x="9605531" y="2888359"/>
                </a:cubicBezTo>
                <a:cubicBezTo>
                  <a:pt x="9596610" y="2888359"/>
                  <a:pt x="9589289" y="2885429"/>
                  <a:pt x="9583698" y="2879838"/>
                </a:cubicBezTo>
                <a:cubicBezTo>
                  <a:pt x="9578108" y="2874247"/>
                  <a:pt x="9575312" y="2867192"/>
                  <a:pt x="9575312" y="2858673"/>
                </a:cubicBezTo>
                <a:cubicBezTo>
                  <a:pt x="9575312" y="2850420"/>
                  <a:pt x="9578108" y="2843363"/>
                  <a:pt x="9583698" y="2837640"/>
                </a:cubicBezTo>
                <a:cubicBezTo>
                  <a:pt x="9589289" y="2831916"/>
                  <a:pt x="9596478" y="2828988"/>
                  <a:pt x="9605531" y="2828988"/>
                </a:cubicBezTo>
                <a:close/>
                <a:moveTo>
                  <a:pt x="9387885" y="2828988"/>
                </a:moveTo>
                <a:cubicBezTo>
                  <a:pt x="9392145" y="2828988"/>
                  <a:pt x="9396138" y="2829786"/>
                  <a:pt x="9399599" y="2831516"/>
                </a:cubicBezTo>
                <a:cubicBezTo>
                  <a:pt x="9403194" y="2833114"/>
                  <a:pt x="9406388" y="2835243"/>
                  <a:pt x="9408917" y="2837906"/>
                </a:cubicBezTo>
                <a:cubicBezTo>
                  <a:pt x="9411447" y="2840568"/>
                  <a:pt x="9413576" y="2843764"/>
                  <a:pt x="9415041" y="2847357"/>
                </a:cubicBezTo>
                <a:cubicBezTo>
                  <a:pt x="9416505" y="2850952"/>
                  <a:pt x="9417304" y="2854678"/>
                  <a:pt x="9417304" y="2858806"/>
                </a:cubicBezTo>
                <a:cubicBezTo>
                  <a:pt x="9417304" y="2862933"/>
                  <a:pt x="9416505" y="2866926"/>
                  <a:pt x="9415041" y="2870520"/>
                </a:cubicBezTo>
                <a:cubicBezTo>
                  <a:pt x="9413444" y="2874114"/>
                  <a:pt x="9411447" y="2877176"/>
                  <a:pt x="9408917" y="2879838"/>
                </a:cubicBezTo>
                <a:cubicBezTo>
                  <a:pt x="9406255" y="2882501"/>
                  <a:pt x="9403194" y="2884631"/>
                  <a:pt x="9399599" y="2886095"/>
                </a:cubicBezTo>
                <a:cubicBezTo>
                  <a:pt x="9396005" y="2887559"/>
                  <a:pt x="9392145" y="2888359"/>
                  <a:pt x="9387885" y="2888359"/>
                </a:cubicBezTo>
                <a:cubicBezTo>
                  <a:pt x="9378965" y="2888359"/>
                  <a:pt x="9371644" y="2885429"/>
                  <a:pt x="9366053" y="2879838"/>
                </a:cubicBezTo>
                <a:cubicBezTo>
                  <a:pt x="9360462" y="2874247"/>
                  <a:pt x="9357667" y="2867192"/>
                  <a:pt x="9357667" y="2858673"/>
                </a:cubicBezTo>
                <a:cubicBezTo>
                  <a:pt x="9357667" y="2850420"/>
                  <a:pt x="9360462" y="2843363"/>
                  <a:pt x="9366053" y="2837640"/>
                </a:cubicBezTo>
                <a:cubicBezTo>
                  <a:pt x="9371644" y="2831916"/>
                  <a:pt x="9378832" y="2828988"/>
                  <a:pt x="9387885" y="2828988"/>
                </a:cubicBezTo>
                <a:close/>
                <a:moveTo>
                  <a:pt x="9170374" y="2828988"/>
                </a:moveTo>
                <a:cubicBezTo>
                  <a:pt x="9174500" y="2828988"/>
                  <a:pt x="9178494" y="2829786"/>
                  <a:pt x="9182088" y="2831516"/>
                </a:cubicBezTo>
                <a:cubicBezTo>
                  <a:pt x="9185682" y="2833114"/>
                  <a:pt x="9188876" y="2835243"/>
                  <a:pt x="9191405" y="2837906"/>
                </a:cubicBezTo>
                <a:cubicBezTo>
                  <a:pt x="9193935" y="2840568"/>
                  <a:pt x="9196065" y="2843764"/>
                  <a:pt x="9197529" y="2847357"/>
                </a:cubicBezTo>
                <a:cubicBezTo>
                  <a:pt x="9198993" y="2850952"/>
                  <a:pt x="9199792" y="2854678"/>
                  <a:pt x="9199792" y="2858806"/>
                </a:cubicBezTo>
                <a:cubicBezTo>
                  <a:pt x="9199792" y="2862933"/>
                  <a:pt x="9198993" y="2866926"/>
                  <a:pt x="9197529" y="2870520"/>
                </a:cubicBezTo>
                <a:cubicBezTo>
                  <a:pt x="9195932" y="2874114"/>
                  <a:pt x="9193935" y="2877176"/>
                  <a:pt x="9191405" y="2879838"/>
                </a:cubicBezTo>
                <a:cubicBezTo>
                  <a:pt x="9188744" y="2882501"/>
                  <a:pt x="9185682" y="2884631"/>
                  <a:pt x="9182088" y="2886095"/>
                </a:cubicBezTo>
                <a:cubicBezTo>
                  <a:pt x="9178494" y="2887559"/>
                  <a:pt x="9174633" y="2888359"/>
                  <a:pt x="9170374" y="2888359"/>
                </a:cubicBezTo>
                <a:cubicBezTo>
                  <a:pt x="9161453" y="2888359"/>
                  <a:pt x="9154132" y="2885429"/>
                  <a:pt x="9148541" y="2879838"/>
                </a:cubicBezTo>
                <a:cubicBezTo>
                  <a:pt x="9142951" y="2874247"/>
                  <a:pt x="9140155" y="2867192"/>
                  <a:pt x="9140155" y="2858673"/>
                </a:cubicBezTo>
                <a:cubicBezTo>
                  <a:pt x="9140155" y="2850420"/>
                  <a:pt x="9142951" y="2843363"/>
                  <a:pt x="9148541" y="2837640"/>
                </a:cubicBezTo>
                <a:cubicBezTo>
                  <a:pt x="9154132" y="2831916"/>
                  <a:pt x="9161321" y="2828988"/>
                  <a:pt x="9170374" y="2828988"/>
                </a:cubicBezTo>
                <a:close/>
                <a:moveTo>
                  <a:pt x="8952728" y="2828988"/>
                </a:moveTo>
                <a:cubicBezTo>
                  <a:pt x="8956988" y="2828988"/>
                  <a:pt x="8960849" y="2829786"/>
                  <a:pt x="8964442" y="2831516"/>
                </a:cubicBezTo>
                <a:cubicBezTo>
                  <a:pt x="8968037" y="2833114"/>
                  <a:pt x="8971231" y="2835243"/>
                  <a:pt x="8973760" y="2837906"/>
                </a:cubicBezTo>
                <a:cubicBezTo>
                  <a:pt x="8976290" y="2840568"/>
                  <a:pt x="8978419" y="2843764"/>
                  <a:pt x="8979884" y="2847357"/>
                </a:cubicBezTo>
                <a:cubicBezTo>
                  <a:pt x="8981348" y="2850952"/>
                  <a:pt x="8982147" y="2854678"/>
                  <a:pt x="8982147" y="2858806"/>
                </a:cubicBezTo>
                <a:cubicBezTo>
                  <a:pt x="8982147" y="2862933"/>
                  <a:pt x="8981348" y="2866926"/>
                  <a:pt x="8979884" y="2870520"/>
                </a:cubicBezTo>
                <a:cubicBezTo>
                  <a:pt x="8978287" y="2874114"/>
                  <a:pt x="8976290" y="2877176"/>
                  <a:pt x="8973760" y="2879838"/>
                </a:cubicBezTo>
                <a:cubicBezTo>
                  <a:pt x="8971098" y="2882501"/>
                  <a:pt x="8968037" y="2884631"/>
                  <a:pt x="8964442" y="2886095"/>
                </a:cubicBezTo>
                <a:cubicBezTo>
                  <a:pt x="8960849" y="2887559"/>
                  <a:pt x="8956988" y="2888359"/>
                  <a:pt x="8952728" y="2888359"/>
                </a:cubicBezTo>
                <a:cubicBezTo>
                  <a:pt x="8943808" y="2888359"/>
                  <a:pt x="8936487" y="2885429"/>
                  <a:pt x="8930896" y="2879838"/>
                </a:cubicBezTo>
                <a:cubicBezTo>
                  <a:pt x="8925305" y="2874247"/>
                  <a:pt x="8922510" y="2867192"/>
                  <a:pt x="8922510" y="2858673"/>
                </a:cubicBezTo>
                <a:cubicBezTo>
                  <a:pt x="8922510" y="2850420"/>
                  <a:pt x="8925305" y="2843363"/>
                  <a:pt x="8930896" y="2837640"/>
                </a:cubicBezTo>
                <a:cubicBezTo>
                  <a:pt x="8936487" y="2831916"/>
                  <a:pt x="8943675" y="2828988"/>
                  <a:pt x="8952728" y="2828988"/>
                </a:cubicBezTo>
                <a:close/>
                <a:moveTo>
                  <a:pt x="8735083" y="2828988"/>
                </a:moveTo>
                <a:cubicBezTo>
                  <a:pt x="8739342" y="2828988"/>
                  <a:pt x="8743203" y="2829786"/>
                  <a:pt x="8746797" y="2831516"/>
                </a:cubicBezTo>
                <a:cubicBezTo>
                  <a:pt x="8750391" y="2833114"/>
                  <a:pt x="8753586" y="2835243"/>
                  <a:pt x="8756115" y="2837906"/>
                </a:cubicBezTo>
                <a:cubicBezTo>
                  <a:pt x="8758644" y="2840568"/>
                  <a:pt x="8760774" y="2843764"/>
                  <a:pt x="8762238" y="2847357"/>
                </a:cubicBezTo>
                <a:cubicBezTo>
                  <a:pt x="8763702" y="2850952"/>
                  <a:pt x="8764502" y="2854678"/>
                  <a:pt x="8764502" y="2858806"/>
                </a:cubicBezTo>
                <a:cubicBezTo>
                  <a:pt x="8764502" y="2862933"/>
                  <a:pt x="8763702" y="2866926"/>
                  <a:pt x="8762238" y="2870520"/>
                </a:cubicBezTo>
                <a:cubicBezTo>
                  <a:pt x="8760641" y="2874114"/>
                  <a:pt x="8758644" y="2877176"/>
                  <a:pt x="8756115" y="2879838"/>
                </a:cubicBezTo>
                <a:cubicBezTo>
                  <a:pt x="8753453" y="2882501"/>
                  <a:pt x="8750391" y="2884631"/>
                  <a:pt x="8746797" y="2886095"/>
                </a:cubicBezTo>
                <a:cubicBezTo>
                  <a:pt x="8743203" y="2887559"/>
                  <a:pt x="8739342" y="2888359"/>
                  <a:pt x="8735083" y="2888359"/>
                </a:cubicBezTo>
                <a:cubicBezTo>
                  <a:pt x="8726030" y="2888359"/>
                  <a:pt x="8718841" y="2885429"/>
                  <a:pt x="8713250" y="2879838"/>
                </a:cubicBezTo>
                <a:cubicBezTo>
                  <a:pt x="8707660" y="2874247"/>
                  <a:pt x="8704864" y="2867192"/>
                  <a:pt x="8704864" y="2858673"/>
                </a:cubicBezTo>
                <a:cubicBezTo>
                  <a:pt x="8704864" y="2850420"/>
                  <a:pt x="8707660" y="2843363"/>
                  <a:pt x="8713250" y="2837640"/>
                </a:cubicBezTo>
                <a:cubicBezTo>
                  <a:pt x="8718841" y="2831916"/>
                  <a:pt x="8726030" y="2828988"/>
                  <a:pt x="8735083" y="2828988"/>
                </a:cubicBezTo>
                <a:close/>
                <a:moveTo>
                  <a:pt x="8517438" y="2828988"/>
                </a:moveTo>
                <a:cubicBezTo>
                  <a:pt x="8521698" y="2828988"/>
                  <a:pt x="8525559" y="2829786"/>
                  <a:pt x="8529152" y="2831516"/>
                </a:cubicBezTo>
                <a:cubicBezTo>
                  <a:pt x="8532880" y="2833114"/>
                  <a:pt x="8535941" y="2835243"/>
                  <a:pt x="8538470" y="2837906"/>
                </a:cubicBezTo>
                <a:cubicBezTo>
                  <a:pt x="8541000" y="2840568"/>
                  <a:pt x="8543130" y="2843764"/>
                  <a:pt x="8544594" y="2847357"/>
                </a:cubicBezTo>
                <a:cubicBezTo>
                  <a:pt x="8546058" y="2850952"/>
                  <a:pt x="8546857" y="2854678"/>
                  <a:pt x="8546857" y="2858806"/>
                </a:cubicBezTo>
                <a:cubicBezTo>
                  <a:pt x="8546857" y="2862933"/>
                  <a:pt x="8546058" y="2866926"/>
                  <a:pt x="8544594" y="2870520"/>
                </a:cubicBezTo>
                <a:cubicBezTo>
                  <a:pt x="8542997" y="2874114"/>
                  <a:pt x="8541000" y="2877176"/>
                  <a:pt x="8538470" y="2879838"/>
                </a:cubicBezTo>
                <a:cubicBezTo>
                  <a:pt x="8535808" y="2882501"/>
                  <a:pt x="8532747" y="2884631"/>
                  <a:pt x="8529152" y="2886095"/>
                </a:cubicBezTo>
                <a:cubicBezTo>
                  <a:pt x="8525559" y="2887559"/>
                  <a:pt x="8521698" y="2888359"/>
                  <a:pt x="8517438" y="2888359"/>
                </a:cubicBezTo>
                <a:cubicBezTo>
                  <a:pt x="8508385" y="2888359"/>
                  <a:pt x="8501197" y="2885429"/>
                  <a:pt x="8495606" y="2879838"/>
                </a:cubicBezTo>
                <a:cubicBezTo>
                  <a:pt x="8490015" y="2874247"/>
                  <a:pt x="8487220" y="2867192"/>
                  <a:pt x="8487220" y="2858673"/>
                </a:cubicBezTo>
                <a:cubicBezTo>
                  <a:pt x="8487220" y="2850420"/>
                  <a:pt x="8490015" y="2843363"/>
                  <a:pt x="8495606" y="2837640"/>
                </a:cubicBezTo>
                <a:cubicBezTo>
                  <a:pt x="8501197" y="2831916"/>
                  <a:pt x="8508385" y="2828988"/>
                  <a:pt x="8517438" y="2828988"/>
                </a:cubicBezTo>
                <a:close/>
                <a:moveTo>
                  <a:pt x="8299793" y="2828988"/>
                </a:moveTo>
                <a:cubicBezTo>
                  <a:pt x="8304052" y="2828988"/>
                  <a:pt x="8308046" y="2829786"/>
                  <a:pt x="8311507" y="2831516"/>
                </a:cubicBezTo>
                <a:cubicBezTo>
                  <a:pt x="8315235" y="2833114"/>
                  <a:pt x="8318296" y="2835243"/>
                  <a:pt x="8320825" y="2837906"/>
                </a:cubicBezTo>
                <a:cubicBezTo>
                  <a:pt x="8323354" y="2840568"/>
                  <a:pt x="8325484" y="2843764"/>
                  <a:pt x="8326948" y="2847357"/>
                </a:cubicBezTo>
                <a:cubicBezTo>
                  <a:pt x="8328413" y="2850952"/>
                  <a:pt x="8329212" y="2854678"/>
                  <a:pt x="8329212" y="2858806"/>
                </a:cubicBezTo>
                <a:cubicBezTo>
                  <a:pt x="8329212" y="2862933"/>
                  <a:pt x="8328413" y="2866926"/>
                  <a:pt x="8326948" y="2870520"/>
                </a:cubicBezTo>
                <a:cubicBezTo>
                  <a:pt x="8325351" y="2874114"/>
                  <a:pt x="8323354" y="2877176"/>
                  <a:pt x="8320825" y="2879838"/>
                </a:cubicBezTo>
                <a:cubicBezTo>
                  <a:pt x="8318163" y="2882501"/>
                  <a:pt x="8315101" y="2884631"/>
                  <a:pt x="8311507" y="2886095"/>
                </a:cubicBezTo>
                <a:cubicBezTo>
                  <a:pt x="8307913" y="2887559"/>
                  <a:pt x="8304052" y="2888359"/>
                  <a:pt x="8299793" y="2888359"/>
                </a:cubicBezTo>
                <a:cubicBezTo>
                  <a:pt x="8290874" y="2888359"/>
                  <a:pt x="8283553" y="2885429"/>
                  <a:pt x="8277960" y="2879838"/>
                </a:cubicBezTo>
                <a:cubicBezTo>
                  <a:pt x="8272370" y="2874247"/>
                  <a:pt x="8269574" y="2867192"/>
                  <a:pt x="8269574" y="2858673"/>
                </a:cubicBezTo>
                <a:cubicBezTo>
                  <a:pt x="8269574" y="2850420"/>
                  <a:pt x="8272370" y="2843363"/>
                  <a:pt x="8277960" y="2837640"/>
                </a:cubicBezTo>
                <a:cubicBezTo>
                  <a:pt x="8283553" y="2831916"/>
                  <a:pt x="8290741" y="2828988"/>
                  <a:pt x="8299793" y="2828988"/>
                </a:cubicBezTo>
                <a:close/>
                <a:moveTo>
                  <a:pt x="8082281" y="2828988"/>
                </a:moveTo>
                <a:cubicBezTo>
                  <a:pt x="8086407" y="2828988"/>
                  <a:pt x="8090401" y="2829786"/>
                  <a:pt x="8094127" y="2831516"/>
                </a:cubicBezTo>
                <a:cubicBezTo>
                  <a:pt x="8097855" y="2833114"/>
                  <a:pt x="8100916" y="2835243"/>
                  <a:pt x="8103446" y="2837906"/>
                </a:cubicBezTo>
                <a:cubicBezTo>
                  <a:pt x="8105975" y="2840568"/>
                  <a:pt x="8108104" y="2843764"/>
                  <a:pt x="8109569" y="2847357"/>
                </a:cubicBezTo>
                <a:cubicBezTo>
                  <a:pt x="8111033" y="2850952"/>
                  <a:pt x="8111832" y="2854678"/>
                  <a:pt x="8111832" y="2858806"/>
                </a:cubicBezTo>
                <a:cubicBezTo>
                  <a:pt x="8111832" y="2862933"/>
                  <a:pt x="8111033" y="2866926"/>
                  <a:pt x="8109569" y="2870520"/>
                </a:cubicBezTo>
                <a:cubicBezTo>
                  <a:pt x="8107972" y="2874114"/>
                  <a:pt x="8105975" y="2877176"/>
                  <a:pt x="8103446" y="2879838"/>
                </a:cubicBezTo>
                <a:cubicBezTo>
                  <a:pt x="8100783" y="2882501"/>
                  <a:pt x="8097722" y="2884631"/>
                  <a:pt x="8094127" y="2886095"/>
                </a:cubicBezTo>
                <a:cubicBezTo>
                  <a:pt x="8090401" y="2887559"/>
                  <a:pt x="8086540" y="2888359"/>
                  <a:pt x="8082281" y="2888359"/>
                </a:cubicBezTo>
                <a:cubicBezTo>
                  <a:pt x="8073361" y="2888359"/>
                  <a:pt x="8066040" y="2885429"/>
                  <a:pt x="8060448" y="2879838"/>
                </a:cubicBezTo>
                <a:cubicBezTo>
                  <a:pt x="8054857" y="2874247"/>
                  <a:pt x="8052062" y="2867192"/>
                  <a:pt x="8052062" y="2858673"/>
                </a:cubicBezTo>
                <a:cubicBezTo>
                  <a:pt x="8052062" y="2850420"/>
                  <a:pt x="8054857" y="2843363"/>
                  <a:pt x="8060448" y="2837640"/>
                </a:cubicBezTo>
                <a:cubicBezTo>
                  <a:pt x="8066040" y="2831916"/>
                  <a:pt x="8073228" y="2828988"/>
                  <a:pt x="8082281" y="2828988"/>
                </a:cubicBezTo>
                <a:close/>
                <a:moveTo>
                  <a:pt x="7864636" y="2828988"/>
                </a:moveTo>
                <a:cubicBezTo>
                  <a:pt x="7868762" y="2828988"/>
                  <a:pt x="7872756" y="2829786"/>
                  <a:pt x="7876483" y="2831516"/>
                </a:cubicBezTo>
                <a:cubicBezTo>
                  <a:pt x="7880210" y="2833114"/>
                  <a:pt x="7883272" y="2835243"/>
                  <a:pt x="7885802" y="2837906"/>
                </a:cubicBezTo>
                <a:cubicBezTo>
                  <a:pt x="7888331" y="2840568"/>
                  <a:pt x="7890460" y="2843764"/>
                  <a:pt x="7891924" y="2847357"/>
                </a:cubicBezTo>
                <a:cubicBezTo>
                  <a:pt x="7893389" y="2850952"/>
                  <a:pt x="7894188" y="2854678"/>
                  <a:pt x="7894188" y="2858806"/>
                </a:cubicBezTo>
                <a:cubicBezTo>
                  <a:pt x="7894188" y="2862933"/>
                  <a:pt x="7893389" y="2866926"/>
                  <a:pt x="7891924" y="2870520"/>
                </a:cubicBezTo>
                <a:cubicBezTo>
                  <a:pt x="7890327" y="2874114"/>
                  <a:pt x="7888331" y="2877176"/>
                  <a:pt x="7885802" y="2879838"/>
                </a:cubicBezTo>
                <a:cubicBezTo>
                  <a:pt x="7883139" y="2882501"/>
                  <a:pt x="7880078" y="2884631"/>
                  <a:pt x="7876483" y="2886095"/>
                </a:cubicBezTo>
                <a:cubicBezTo>
                  <a:pt x="7872756" y="2887559"/>
                  <a:pt x="7868895" y="2888359"/>
                  <a:pt x="7864636" y="2888359"/>
                </a:cubicBezTo>
                <a:cubicBezTo>
                  <a:pt x="7855717" y="2888359"/>
                  <a:pt x="7848396" y="2885429"/>
                  <a:pt x="7842803" y="2879838"/>
                </a:cubicBezTo>
                <a:cubicBezTo>
                  <a:pt x="7837213" y="2874247"/>
                  <a:pt x="7834417" y="2867192"/>
                  <a:pt x="7834417" y="2858673"/>
                </a:cubicBezTo>
                <a:cubicBezTo>
                  <a:pt x="7834417" y="2850420"/>
                  <a:pt x="7837213" y="2843363"/>
                  <a:pt x="7842803" y="2837640"/>
                </a:cubicBezTo>
                <a:cubicBezTo>
                  <a:pt x="7848396" y="2831916"/>
                  <a:pt x="7855584" y="2828988"/>
                  <a:pt x="7864636" y="2828988"/>
                </a:cubicBezTo>
                <a:close/>
                <a:moveTo>
                  <a:pt x="7646991" y="2828988"/>
                </a:moveTo>
                <a:cubicBezTo>
                  <a:pt x="7651250" y="2828988"/>
                  <a:pt x="7655111" y="2829786"/>
                  <a:pt x="7658705" y="2831516"/>
                </a:cubicBezTo>
                <a:cubicBezTo>
                  <a:pt x="7662432" y="2833114"/>
                  <a:pt x="7665493" y="2835243"/>
                  <a:pt x="7668022" y="2837906"/>
                </a:cubicBezTo>
                <a:cubicBezTo>
                  <a:pt x="7670552" y="2840568"/>
                  <a:pt x="7672682" y="2843764"/>
                  <a:pt x="7674146" y="2847357"/>
                </a:cubicBezTo>
                <a:cubicBezTo>
                  <a:pt x="7675610" y="2850952"/>
                  <a:pt x="7676409" y="2854678"/>
                  <a:pt x="7676409" y="2858806"/>
                </a:cubicBezTo>
                <a:cubicBezTo>
                  <a:pt x="7676409" y="2862933"/>
                  <a:pt x="7675610" y="2866926"/>
                  <a:pt x="7674146" y="2870520"/>
                </a:cubicBezTo>
                <a:cubicBezTo>
                  <a:pt x="7672549" y="2874114"/>
                  <a:pt x="7670552" y="2877176"/>
                  <a:pt x="7668022" y="2879838"/>
                </a:cubicBezTo>
                <a:cubicBezTo>
                  <a:pt x="7665361" y="2882501"/>
                  <a:pt x="7662299" y="2884631"/>
                  <a:pt x="7658705" y="2886095"/>
                </a:cubicBezTo>
                <a:cubicBezTo>
                  <a:pt x="7655111" y="2887559"/>
                  <a:pt x="7651250" y="2888359"/>
                  <a:pt x="7646991" y="2888359"/>
                </a:cubicBezTo>
                <a:cubicBezTo>
                  <a:pt x="7638071" y="2888359"/>
                  <a:pt x="7630750" y="2885429"/>
                  <a:pt x="7625158" y="2879838"/>
                </a:cubicBezTo>
                <a:cubicBezTo>
                  <a:pt x="7619568" y="2874247"/>
                  <a:pt x="7616772" y="2867192"/>
                  <a:pt x="7616772" y="2858673"/>
                </a:cubicBezTo>
                <a:cubicBezTo>
                  <a:pt x="7616772" y="2850420"/>
                  <a:pt x="7619568" y="2843363"/>
                  <a:pt x="7625158" y="2837640"/>
                </a:cubicBezTo>
                <a:cubicBezTo>
                  <a:pt x="7630750" y="2831916"/>
                  <a:pt x="7637939" y="2828988"/>
                  <a:pt x="7646991" y="2828988"/>
                </a:cubicBezTo>
                <a:close/>
                <a:moveTo>
                  <a:pt x="7429345" y="2828988"/>
                </a:moveTo>
                <a:cubicBezTo>
                  <a:pt x="7433605" y="2828988"/>
                  <a:pt x="7437466" y="2829786"/>
                  <a:pt x="7441059" y="2831516"/>
                </a:cubicBezTo>
                <a:cubicBezTo>
                  <a:pt x="7444787" y="2833114"/>
                  <a:pt x="7447848" y="2835243"/>
                  <a:pt x="7450377" y="2837906"/>
                </a:cubicBezTo>
                <a:cubicBezTo>
                  <a:pt x="7452907" y="2840568"/>
                  <a:pt x="7455036" y="2843764"/>
                  <a:pt x="7456501" y="2847357"/>
                </a:cubicBezTo>
                <a:cubicBezTo>
                  <a:pt x="7457965" y="2850952"/>
                  <a:pt x="7458764" y="2854678"/>
                  <a:pt x="7458764" y="2858806"/>
                </a:cubicBezTo>
                <a:cubicBezTo>
                  <a:pt x="7458764" y="2862933"/>
                  <a:pt x="7457965" y="2866926"/>
                  <a:pt x="7456501" y="2870520"/>
                </a:cubicBezTo>
                <a:cubicBezTo>
                  <a:pt x="7454904" y="2874114"/>
                  <a:pt x="7452907" y="2877176"/>
                  <a:pt x="7450377" y="2879838"/>
                </a:cubicBezTo>
                <a:cubicBezTo>
                  <a:pt x="7447715" y="2882501"/>
                  <a:pt x="7444654" y="2884631"/>
                  <a:pt x="7441059" y="2886095"/>
                </a:cubicBezTo>
                <a:cubicBezTo>
                  <a:pt x="7437466" y="2887559"/>
                  <a:pt x="7433605" y="2888359"/>
                  <a:pt x="7429345" y="2888359"/>
                </a:cubicBezTo>
                <a:cubicBezTo>
                  <a:pt x="7420426" y="2888359"/>
                  <a:pt x="7413105" y="2885429"/>
                  <a:pt x="7407513" y="2879838"/>
                </a:cubicBezTo>
                <a:cubicBezTo>
                  <a:pt x="7401922" y="2874247"/>
                  <a:pt x="7399127" y="2867192"/>
                  <a:pt x="7399127" y="2858673"/>
                </a:cubicBezTo>
                <a:cubicBezTo>
                  <a:pt x="7399127" y="2850420"/>
                  <a:pt x="7401922" y="2843363"/>
                  <a:pt x="7407513" y="2837640"/>
                </a:cubicBezTo>
                <a:cubicBezTo>
                  <a:pt x="7413105" y="2831916"/>
                  <a:pt x="7420293" y="2828988"/>
                  <a:pt x="7429345" y="2828988"/>
                </a:cubicBezTo>
                <a:close/>
                <a:moveTo>
                  <a:pt x="7211701" y="2828988"/>
                </a:moveTo>
                <a:cubicBezTo>
                  <a:pt x="7215960" y="2828988"/>
                  <a:pt x="7219954" y="2829786"/>
                  <a:pt x="7223415" y="2831516"/>
                </a:cubicBezTo>
                <a:cubicBezTo>
                  <a:pt x="7227142" y="2833114"/>
                  <a:pt x="7230204" y="2835243"/>
                  <a:pt x="7232733" y="2837906"/>
                </a:cubicBezTo>
                <a:cubicBezTo>
                  <a:pt x="7235262" y="2840568"/>
                  <a:pt x="7237392" y="2843764"/>
                  <a:pt x="7238856" y="2847357"/>
                </a:cubicBezTo>
                <a:cubicBezTo>
                  <a:pt x="7240321" y="2850952"/>
                  <a:pt x="7241120" y="2854678"/>
                  <a:pt x="7241120" y="2858806"/>
                </a:cubicBezTo>
                <a:cubicBezTo>
                  <a:pt x="7241120" y="2862933"/>
                  <a:pt x="7240321" y="2866926"/>
                  <a:pt x="7238856" y="2870520"/>
                </a:cubicBezTo>
                <a:cubicBezTo>
                  <a:pt x="7237259" y="2874114"/>
                  <a:pt x="7235262" y="2877176"/>
                  <a:pt x="7232733" y="2879838"/>
                </a:cubicBezTo>
                <a:cubicBezTo>
                  <a:pt x="7230071" y="2882501"/>
                  <a:pt x="7227009" y="2884631"/>
                  <a:pt x="7223415" y="2886095"/>
                </a:cubicBezTo>
                <a:cubicBezTo>
                  <a:pt x="7219821" y="2887559"/>
                  <a:pt x="7215960" y="2888359"/>
                  <a:pt x="7211701" y="2888359"/>
                </a:cubicBezTo>
                <a:cubicBezTo>
                  <a:pt x="7202782" y="2888359"/>
                  <a:pt x="7195460" y="2885429"/>
                  <a:pt x="7189868" y="2879838"/>
                </a:cubicBezTo>
                <a:cubicBezTo>
                  <a:pt x="7184278" y="2874247"/>
                  <a:pt x="7181482" y="2867192"/>
                  <a:pt x="7181482" y="2858673"/>
                </a:cubicBezTo>
                <a:cubicBezTo>
                  <a:pt x="7181482" y="2850420"/>
                  <a:pt x="7184278" y="2843363"/>
                  <a:pt x="7189868" y="2837640"/>
                </a:cubicBezTo>
                <a:cubicBezTo>
                  <a:pt x="7195460" y="2831916"/>
                  <a:pt x="7202649" y="2828988"/>
                  <a:pt x="7211701" y="2828988"/>
                </a:cubicBezTo>
                <a:close/>
                <a:moveTo>
                  <a:pt x="6994056" y="2828988"/>
                </a:moveTo>
                <a:cubicBezTo>
                  <a:pt x="6998315" y="2828988"/>
                  <a:pt x="7002309" y="2829786"/>
                  <a:pt x="7005769" y="2831516"/>
                </a:cubicBezTo>
                <a:cubicBezTo>
                  <a:pt x="7009497" y="2833114"/>
                  <a:pt x="7012558" y="2835243"/>
                  <a:pt x="7015087" y="2837906"/>
                </a:cubicBezTo>
                <a:cubicBezTo>
                  <a:pt x="7017617" y="2840568"/>
                  <a:pt x="7019747" y="2843764"/>
                  <a:pt x="7021211" y="2847357"/>
                </a:cubicBezTo>
                <a:cubicBezTo>
                  <a:pt x="7022675" y="2850952"/>
                  <a:pt x="7023474" y="2854678"/>
                  <a:pt x="7023474" y="2858806"/>
                </a:cubicBezTo>
                <a:cubicBezTo>
                  <a:pt x="7023474" y="2862933"/>
                  <a:pt x="7022675" y="2866926"/>
                  <a:pt x="7021211" y="2870520"/>
                </a:cubicBezTo>
                <a:cubicBezTo>
                  <a:pt x="7019614" y="2874114"/>
                  <a:pt x="7017617" y="2877176"/>
                  <a:pt x="7015087" y="2879838"/>
                </a:cubicBezTo>
                <a:cubicBezTo>
                  <a:pt x="7012425" y="2882501"/>
                  <a:pt x="7009364" y="2884631"/>
                  <a:pt x="7005769" y="2886095"/>
                </a:cubicBezTo>
                <a:cubicBezTo>
                  <a:pt x="7002176" y="2887559"/>
                  <a:pt x="6998315" y="2888359"/>
                  <a:pt x="6994056" y="2888359"/>
                </a:cubicBezTo>
                <a:cubicBezTo>
                  <a:pt x="6985136" y="2888359"/>
                  <a:pt x="6977815" y="2885429"/>
                  <a:pt x="6972223" y="2879838"/>
                </a:cubicBezTo>
                <a:cubicBezTo>
                  <a:pt x="6966632" y="2874247"/>
                  <a:pt x="6963837" y="2867192"/>
                  <a:pt x="6963837" y="2858673"/>
                </a:cubicBezTo>
                <a:cubicBezTo>
                  <a:pt x="6963837" y="2850420"/>
                  <a:pt x="6966632" y="2843363"/>
                  <a:pt x="6972223" y="2837640"/>
                </a:cubicBezTo>
                <a:cubicBezTo>
                  <a:pt x="6977815" y="2831916"/>
                  <a:pt x="6985003" y="2828988"/>
                  <a:pt x="6994056" y="2828988"/>
                </a:cubicBezTo>
                <a:close/>
                <a:moveTo>
                  <a:pt x="6776544" y="2828988"/>
                </a:moveTo>
                <a:cubicBezTo>
                  <a:pt x="6780670" y="2828988"/>
                  <a:pt x="6784664" y="2829786"/>
                  <a:pt x="6788258" y="2831516"/>
                </a:cubicBezTo>
                <a:cubicBezTo>
                  <a:pt x="6791985" y="2833114"/>
                  <a:pt x="6795047" y="2835243"/>
                  <a:pt x="6797576" y="2837906"/>
                </a:cubicBezTo>
                <a:cubicBezTo>
                  <a:pt x="6800105" y="2840568"/>
                  <a:pt x="6802235" y="2843764"/>
                  <a:pt x="6803699" y="2847357"/>
                </a:cubicBezTo>
                <a:cubicBezTo>
                  <a:pt x="6805164" y="2850952"/>
                  <a:pt x="6805963" y="2854678"/>
                  <a:pt x="6805963" y="2858806"/>
                </a:cubicBezTo>
                <a:cubicBezTo>
                  <a:pt x="6805963" y="2862933"/>
                  <a:pt x="6805164" y="2866926"/>
                  <a:pt x="6803699" y="2870520"/>
                </a:cubicBezTo>
                <a:cubicBezTo>
                  <a:pt x="6802102" y="2874114"/>
                  <a:pt x="6800105" y="2877176"/>
                  <a:pt x="6797576" y="2879838"/>
                </a:cubicBezTo>
                <a:cubicBezTo>
                  <a:pt x="6794914" y="2882501"/>
                  <a:pt x="6791852" y="2884631"/>
                  <a:pt x="6788258" y="2886095"/>
                </a:cubicBezTo>
                <a:cubicBezTo>
                  <a:pt x="6784664" y="2887559"/>
                  <a:pt x="6780803" y="2888359"/>
                  <a:pt x="6776544" y="2888359"/>
                </a:cubicBezTo>
                <a:cubicBezTo>
                  <a:pt x="6767625" y="2888359"/>
                  <a:pt x="6760303" y="2885429"/>
                  <a:pt x="6754711" y="2879838"/>
                </a:cubicBezTo>
                <a:cubicBezTo>
                  <a:pt x="6749121" y="2874247"/>
                  <a:pt x="6746325" y="2867192"/>
                  <a:pt x="6746325" y="2858673"/>
                </a:cubicBezTo>
                <a:cubicBezTo>
                  <a:pt x="6746325" y="2850420"/>
                  <a:pt x="6749121" y="2843363"/>
                  <a:pt x="6754711" y="2837640"/>
                </a:cubicBezTo>
                <a:cubicBezTo>
                  <a:pt x="6760303" y="2831916"/>
                  <a:pt x="6767492" y="2828988"/>
                  <a:pt x="6776544" y="2828988"/>
                </a:cubicBezTo>
                <a:close/>
                <a:moveTo>
                  <a:pt x="6558899" y="2828988"/>
                </a:moveTo>
                <a:cubicBezTo>
                  <a:pt x="6563158" y="2828988"/>
                  <a:pt x="6567019" y="2829786"/>
                  <a:pt x="6570612" y="2831516"/>
                </a:cubicBezTo>
                <a:cubicBezTo>
                  <a:pt x="6574340" y="2833114"/>
                  <a:pt x="6577401" y="2835243"/>
                  <a:pt x="6579930" y="2837906"/>
                </a:cubicBezTo>
                <a:cubicBezTo>
                  <a:pt x="6582460" y="2840568"/>
                  <a:pt x="6584590" y="2843764"/>
                  <a:pt x="6586054" y="2847357"/>
                </a:cubicBezTo>
                <a:cubicBezTo>
                  <a:pt x="6587518" y="2850952"/>
                  <a:pt x="6588317" y="2854678"/>
                  <a:pt x="6588317" y="2858806"/>
                </a:cubicBezTo>
                <a:cubicBezTo>
                  <a:pt x="6588317" y="2862933"/>
                  <a:pt x="6587518" y="2866926"/>
                  <a:pt x="6586054" y="2870520"/>
                </a:cubicBezTo>
                <a:cubicBezTo>
                  <a:pt x="6584457" y="2874114"/>
                  <a:pt x="6582460" y="2877176"/>
                  <a:pt x="6579930" y="2879838"/>
                </a:cubicBezTo>
                <a:cubicBezTo>
                  <a:pt x="6577268" y="2882501"/>
                  <a:pt x="6574207" y="2884631"/>
                  <a:pt x="6570612" y="2886095"/>
                </a:cubicBezTo>
                <a:cubicBezTo>
                  <a:pt x="6567019" y="2887559"/>
                  <a:pt x="6563158" y="2888359"/>
                  <a:pt x="6558899" y="2888359"/>
                </a:cubicBezTo>
                <a:cubicBezTo>
                  <a:pt x="6549979" y="2888359"/>
                  <a:pt x="6542658" y="2885429"/>
                  <a:pt x="6537066" y="2879838"/>
                </a:cubicBezTo>
                <a:cubicBezTo>
                  <a:pt x="6531476" y="2874247"/>
                  <a:pt x="6528680" y="2867192"/>
                  <a:pt x="6528680" y="2858673"/>
                </a:cubicBezTo>
                <a:cubicBezTo>
                  <a:pt x="6528680" y="2850420"/>
                  <a:pt x="6531476" y="2843363"/>
                  <a:pt x="6537066" y="2837640"/>
                </a:cubicBezTo>
                <a:cubicBezTo>
                  <a:pt x="6542658" y="2831916"/>
                  <a:pt x="6549846" y="2828988"/>
                  <a:pt x="6558899" y="2828988"/>
                </a:cubicBezTo>
                <a:close/>
                <a:moveTo>
                  <a:pt x="6341253" y="2828988"/>
                </a:moveTo>
                <a:cubicBezTo>
                  <a:pt x="6345513" y="2828988"/>
                  <a:pt x="6349373" y="2829786"/>
                  <a:pt x="6352968" y="2831516"/>
                </a:cubicBezTo>
                <a:cubicBezTo>
                  <a:pt x="6356695" y="2833114"/>
                  <a:pt x="6359757" y="2835243"/>
                  <a:pt x="6362286" y="2837906"/>
                </a:cubicBezTo>
                <a:cubicBezTo>
                  <a:pt x="6364815" y="2840568"/>
                  <a:pt x="6366945" y="2843764"/>
                  <a:pt x="6368409" y="2847357"/>
                </a:cubicBezTo>
                <a:cubicBezTo>
                  <a:pt x="6369874" y="2850952"/>
                  <a:pt x="6370672" y="2854678"/>
                  <a:pt x="6370672" y="2858806"/>
                </a:cubicBezTo>
                <a:cubicBezTo>
                  <a:pt x="6370672" y="2862933"/>
                  <a:pt x="6369874" y="2866926"/>
                  <a:pt x="6368409" y="2870520"/>
                </a:cubicBezTo>
                <a:cubicBezTo>
                  <a:pt x="6366811" y="2874114"/>
                  <a:pt x="6364815" y="2877176"/>
                  <a:pt x="6362286" y="2879838"/>
                </a:cubicBezTo>
                <a:cubicBezTo>
                  <a:pt x="6359623" y="2882501"/>
                  <a:pt x="6356562" y="2884631"/>
                  <a:pt x="6352968" y="2886095"/>
                </a:cubicBezTo>
                <a:cubicBezTo>
                  <a:pt x="6349373" y="2887559"/>
                  <a:pt x="6345513" y="2888359"/>
                  <a:pt x="6341253" y="2888359"/>
                </a:cubicBezTo>
                <a:cubicBezTo>
                  <a:pt x="6332335" y="2888359"/>
                  <a:pt x="6325013" y="2885429"/>
                  <a:pt x="6319421" y="2879838"/>
                </a:cubicBezTo>
                <a:cubicBezTo>
                  <a:pt x="6313830" y="2874247"/>
                  <a:pt x="6311035" y="2867192"/>
                  <a:pt x="6311035" y="2858673"/>
                </a:cubicBezTo>
                <a:cubicBezTo>
                  <a:pt x="6311035" y="2850420"/>
                  <a:pt x="6313830" y="2843363"/>
                  <a:pt x="6319421" y="2837640"/>
                </a:cubicBezTo>
                <a:cubicBezTo>
                  <a:pt x="6325013" y="2831916"/>
                  <a:pt x="6332201" y="2828988"/>
                  <a:pt x="6341253" y="2828988"/>
                </a:cubicBezTo>
                <a:close/>
                <a:moveTo>
                  <a:pt x="6123608" y="2828988"/>
                </a:moveTo>
                <a:cubicBezTo>
                  <a:pt x="6127867" y="2828988"/>
                  <a:pt x="6131728" y="2829786"/>
                  <a:pt x="6135322" y="2831516"/>
                </a:cubicBezTo>
                <a:cubicBezTo>
                  <a:pt x="6139049" y="2833114"/>
                  <a:pt x="6142111" y="2835243"/>
                  <a:pt x="6144640" y="2837906"/>
                </a:cubicBezTo>
                <a:cubicBezTo>
                  <a:pt x="6147169" y="2840568"/>
                  <a:pt x="6149299" y="2843764"/>
                  <a:pt x="6150763" y="2847357"/>
                </a:cubicBezTo>
                <a:cubicBezTo>
                  <a:pt x="6152228" y="2850952"/>
                  <a:pt x="6153026" y="2854678"/>
                  <a:pt x="6153026" y="2858806"/>
                </a:cubicBezTo>
                <a:cubicBezTo>
                  <a:pt x="6153026" y="2862933"/>
                  <a:pt x="6152228" y="2866926"/>
                  <a:pt x="6150763" y="2870520"/>
                </a:cubicBezTo>
                <a:cubicBezTo>
                  <a:pt x="6149299" y="2874114"/>
                  <a:pt x="6147169" y="2877176"/>
                  <a:pt x="6144640" y="2879838"/>
                </a:cubicBezTo>
                <a:cubicBezTo>
                  <a:pt x="6141977" y="2882501"/>
                  <a:pt x="6138916" y="2884631"/>
                  <a:pt x="6135322" y="2886095"/>
                </a:cubicBezTo>
                <a:cubicBezTo>
                  <a:pt x="6131728" y="2887559"/>
                  <a:pt x="6127867" y="2888359"/>
                  <a:pt x="6123608" y="2888359"/>
                </a:cubicBezTo>
                <a:cubicBezTo>
                  <a:pt x="6114689" y="2888359"/>
                  <a:pt x="6107367" y="2885429"/>
                  <a:pt x="6101775" y="2879838"/>
                </a:cubicBezTo>
                <a:cubicBezTo>
                  <a:pt x="6096184" y="2874247"/>
                  <a:pt x="6093389" y="2867192"/>
                  <a:pt x="6093389" y="2858673"/>
                </a:cubicBezTo>
                <a:cubicBezTo>
                  <a:pt x="6093389" y="2850420"/>
                  <a:pt x="6096184" y="2843363"/>
                  <a:pt x="6101775" y="2837640"/>
                </a:cubicBezTo>
                <a:cubicBezTo>
                  <a:pt x="6107367" y="2831916"/>
                  <a:pt x="6114555" y="2828988"/>
                  <a:pt x="6123608" y="2828988"/>
                </a:cubicBezTo>
                <a:close/>
                <a:moveTo>
                  <a:pt x="5905963" y="2828988"/>
                </a:moveTo>
                <a:cubicBezTo>
                  <a:pt x="5910222" y="2828988"/>
                  <a:pt x="5914216" y="2829786"/>
                  <a:pt x="5917677" y="2831516"/>
                </a:cubicBezTo>
                <a:cubicBezTo>
                  <a:pt x="5921404" y="2833114"/>
                  <a:pt x="5924466" y="2835243"/>
                  <a:pt x="5926995" y="2837906"/>
                </a:cubicBezTo>
                <a:cubicBezTo>
                  <a:pt x="5929524" y="2840568"/>
                  <a:pt x="5931654" y="2843764"/>
                  <a:pt x="5933118" y="2847357"/>
                </a:cubicBezTo>
                <a:cubicBezTo>
                  <a:pt x="5934583" y="2850952"/>
                  <a:pt x="5935381" y="2854678"/>
                  <a:pt x="5935381" y="2858806"/>
                </a:cubicBezTo>
                <a:cubicBezTo>
                  <a:pt x="5935381" y="2862933"/>
                  <a:pt x="5934583" y="2866926"/>
                  <a:pt x="5933118" y="2870520"/>
                </a:cubicBezTo>
                <a:cubicBezTo>
                  <a:pt x="5931654" y="2874114"/>
                  <a:pt x="5929524" y="2877176"/>
                  <a:pt x="5926995" y="2879838"/>
                </a:cubicBezTo>
                <a:cubicBezTo>
                  <a:pt x="5924333" y="2882501"/>
                  <a:pt x="5921271" y="2884631"/>
                  <a:pt x="5917677" y="2886095"/>
                </a:cubicBezTo>
                <a:cubicBezTo>
                  <a:pt x="5914083" y="2887559"/>
                  <a:pt x="5910222" y="2888359"/>
                  <a:pt x="5905963" y="2888359"/>
                </a:cubicBezTo>
                <a:cubicBezTo>
                  <a:pt x="5897044" y="2888359"/>
                  <a:pt x="5889722" y="2885429"/>
                  <a:pt x="5884130" y="2879838"/>
                </a:cubicBezTo>
                <a:cubicBezTo>
                  <a:pt x="5878540" y="2874247"/>
                  <a:pt x="5875744" y="2867192"/>
                  <a:pt x="5875744" y="2858673"/>
                </a:cubicBezTo>
                <a:cubicBezTo>
                  <a:pt x="5875744" y="2850420"/>
                  <a:pt x="5878540" y="2843363"/>
                  <a:pt x="5884130" y="2837640"/>
                </a:cubicBezTo>
                <a:cubicBezTo>
                  <a:pt x="5889722" y="2831916"/>
                  <a:pt x="5896910" y="2828988"/>
                  <a:pt x="5905963" y="2828988"/>
                </a:cubicBezTo>
                <a:close/>
                <a:moveTo>
                  <a:pt x="5688451" y="2828988"/>
                </a:moveTo>
                <a:cubicBezTo>
                  <a:pt x="5692577" y="2828988"/>
                  <a:pt x="5696571" y="2829786"/>
                  <a:pt x="5700165" y="2831516"/>
                </a:cubicBezTo>
                <a:cubicBezTo>
                  <a:pt x="5703892" y="2833114"/>
                  <a:pt x="5706954" y="2835243"/>
                  <a:pt x="5709483" y="2837906"/>
                </a:cubicBezTo>
                <a:cubicBezTo>
                  <a:pt x="5712012" y="2840568"/>
                  <a:pt x="5714142" y="2843764"/>
                  <a:pt x="5715606" y="2847357"/>
                </a:cubicBezTo>
                <a:cubicBezTo>
                  <a:pt x="5717071" y="2850952"/>
                  <a:pt x="5717869" y="2854678"/>
                  <a:pt x="5717869" y="2858806"/>
                </a:cubicBezTo>
                <a:cubicBezTo>
                  <a:pt x="5717869" y="2862933"/>
                  <a:pt x="5717071" y="2866926"/>
                  <a:pt x="5715606" y="2870520"/>
                </a:cubicBezTo>
                <a:cubicBezTo>
                  <a:pt x="5714142" y="2874114"/>
                  <a:pt x="5712012" y="2877176"/>
                  <a:pt x="5709483" y="2879838"/>
                </a:cubicBezTo>
                <a:cubicBezTo>
                  <a:pt x="5706820" y="2882501"/>
                  <a:pt x="5703759" y="2884631"/>
                  <a:pt x="5700165" y="2886095"/>
                </a:cubicBezTo>
                <a:cubicBezTo>
                  <a:pt x="5696571" y="2887559"/>
                  <a:pt x="5692710" y="2888359"/>
                  <a:pt x="5688451" y="2888359"/>
                </a:cubicBezTo>
                <a:cubicBezTo>
                  <a:pt x="5679532" y="2888359"/>
                  <a:pt x="5672210" y="2885429"/>
                  <a:pt x="5666618" y="2879838"/>
                </a:cubicBezTo>
                <a:cubicBezTo>
                  <a:pt x="5661028" y="2874247"/>
                  <a:pt x="5658232" y="2867192"/>
                  <a:pt x="5658232" y="2858673"/>
                </a:cubicBezTo>
                <a:cubicBezTo>
                  <a:pt x="5658232" y="2850420"/>
                  <a:pt x="5661028" y="2843363"/>
                  <a:pt x="5666618" y="2837640"/>
                </a:cubicBezTo>
                <a:cubicBezTo>
                  <a:pt x="5672210" y="2831916"/>
                  <a:pt x="5679398" y="2828988"/>
                  <a:pt x="5688451" y="2828988"/>
                </a:cubicBezTo>
                <a:close/>
                <a:moveTo>
                  <a:pt x="5470806" y="2828988"/>
                </a:moveTo>
                <a:cubicBezTo>
                  <a:pt x="5475065" y="2828988"/>
                  <a:pt x="5478926" y="2829786"/>
                  <a:pt x="5482520" y="2831516"/>
                </a:cubicBezTo>
                <a:cubicBezTo>
                  <a:pt x="5486247" y="2833114"/>
                  <a:pt x="5489309" y="2835243"/>
                  <a:pt x="5491838" y="2837906"/>
                </a:cubicBezTo>
                <a:cubicBezTo>
                  <a:pt x="5494367" y="2840568"/>
                  <a:pt x="5496497" y="2843764"/>
                  <a:pt x="5497961" y="2847357"/>
                </a:cubicBezTo>
                <a:cubicBezTo>
                  <a:pt x="5499426" y="2850952"/>
                  <a:pt x="5500224" y="2854678"/>
                  <a:pt x="5500224" y="2858806"/>
                </a:cubicBezTo>
                <a:cubicBezTo>
                  <a:pt x="5500224" y="2862933"/>
                  <a:pt x="5499426" y="2866926"/>
                  <a:pt x="5497961" y="2870520"/>
                </a:cubicBezTo>
                <a:cubicBezTo>
                  <a:pt x="5496497" y="2874114"/>
                  <a:pt x="5494367" y="2877176"/>
                  <a:pt x="5491838" y="2879838"/>
                </a:cubicBezTo>
                <a:cubicBezTo>
                  <a:pt x="5489176" y="2882501"/>
                  <a:pt x="5486114" y="2884631"/>
                  <a:pt x="5482520" y="2886095"/>
                </a:cubicBezTo>
                <a:cubicBezTo>
                  <a:pt x="5478926" y="2887559"/>
                  <a:pt x="5475065" y="2888359"/>
                  <a:pt x="5470806" y="2888359"/>
                </a:cubicBezTo>
                <a:cubicBezTo>
                  <a:pt x="5461887" y="2888359"/>
                  <a:pt x="5454565" y="2885429"/>
                  <a:pt x="5448973" y="2879838"/>
                </a:cubicBezTo>
                <a:cubicBezTo>
                  <a:pt x="5443383" y="2874247"/>
                  <a:pt x="5440587" y="2867192"/>
                  <a:pt x="5440587" y="2858673"/>
                </a:cubicBezTo>
                <a:cubicBezTo>
                  <a:pt x="5440587" y="2850420"/>
                  <a:pt x="5443383" y="2843363"/>
                  <a:pt x="5448973" y="2837640"/>
                </a:cubicBezTo>
                <a:cubicBezTo>
                  <a:pt x="5454565" y="2831916"/>
                  <a:pt x="5461754" y="2828988"/>
                  <a:pt x="5470806" y="2828988"/>
                </a:cubicBezTo>
                <a:close/>
                <a:moveTo>
                  <a:pt x="5253160" y="2828988"/>
                </a:moveTo>
                <a:cubicBezTo>
                  <a:pt x="5257420" y="2828988"/>
                  <a:pt x="5261280" y="2829786"/>
                  <a:pt x="5264875" y="2831516"/>
                </a:cubicBezTo>
                <a:cubicBezTo>
                  <a:pt x="5268602" y="2833114"/>
                  <a:pt x="5271664" y="2835243"/>
                  <a:pt x="5274192" y="2837906"/>
                </a:cubicBezTo>
                <a:cubicBezTo>
                  <a:pt x="5276722" y="2840568"/>
                  <a:pt x="5278852" y="2843764"/>
                  <a:pt x="5280316" y="2847357"/>
                </a:cubicBezTo>
                <a:cubicBezTo>
                  <a:pt x="5281780" y="2850952"/>
                  <a:pt x="5282579" y="2854678"/>
                  <a:pt x="5282579" y="2858806"/>
                </a:cubicBezTo>
                <a:cubicBezTo>
                  <a:pt x="5282579" y="2862933"/>
                  <a:pt x="5281780" y="2866926"/>
                  <a:pt x="5280316" y="2870520"/>
                </a:cubicBezTo>
                <a:cubicBezTo>
                  <a:pt x="5278852" y="2874114"/>
                  <a:pt x="5276722" y="2877176"/>
                  <a:pt x="5274192" y="2879838"/>
                </a:cubicBezTo>
                <a:cubicBezTo>
                  <a:pt x="5271664" y="2882501"/>
                  <a:pt x="5268469" y="2884631"/>
                  <a:pt x="5264875" y="2886095"/>
                </a:cubicBezTo>
                <a:cubicBezTo>
                  <a:pt x="5261280" y="2887559"/>
                  <a:pt x="5257420" y="2888359"/>
                  <a:pt x="5253160" y="2888359"/>
                </a:cubicBezTo>
                <a:cubicBezTo>
                  <a:pt x="5244241" y="2888359"/>
                  <a:pt x="5236920" y="2885429"/>
                  <a:pt x="5231328" y="2879838"/>
                </a:cubicBezTo>
                <a:cubicBezTo>
                  <a:pt x="5225737" y="2874247"/>
                  <a:pt x="5222942" y="2867192"/>
                  <a:pt x="5222942" y="2858673"/>
                </a:cubicBezTo>
                <a:cubicBezTo>
                  <a:pt x="5222942" y="2850420"/>
                  <a:pt x="5225737" y="2843363"/>
                  <a:pt x="5231328" y="2837640"/>
                </a:cubicBezTo>
                <a:cubicBezTo>
                  <a:pt x="5236920" y="2831916"/>
                  <a:pt x="5244108" y="2828988"/>
                  <a:pt x="5253160" y="2828988"/>
                </a:cubicBezTo>
                <a:close/>
                <a:moveTo>
                  <a:pt x="5035515" y="2828988"/>
                </a:moveTo>
                <a:cubicBezTo>
                  <a:pt x="5039775" y="2828988"/>
                  <a:pt x="5043636" y="2829786"/>
                  <a:pt x="5047230" y="2831516"/>
                </a:cubicBezTo>
                <a:cubicBezTo>
                  <a:pt x="5050957" y="2833114"/>
                  <a:pt x="5054019" y="2835243"/>
                  <a:pt x="5056548" y="2837906"/>
                </a:cubicBezTo>
                <a:cubicBezTo>
                  <a:pt x="5059077" y="2840568"/>
                  <a:pt x="5061207" y="2843764"/>
                  <a:pt x="5062671" y="2847357"/>
                </a:cubicBezTo>
                <a:cubicBezTo>
                  <a:pt x="5064135" y="2850952"/>
                  <a:pt x="5064934" y="2854678"/>
                  <a:pt x="5064934" y="2858806"/>
                </a:cubicBezTo>
                <a:cubicBezTo>
                  <a:pt x="5064934" y="2862933"/>
                  <a:pt x="5064135" y="2866926"/>
                  <a:pt x="5062671" y="2870520"/>
                </a:cubicBezTo>
                <a:cubicBezTo>
                  <a:pt x="5061207" y="2874114"/>
                  <a:pt x="5059077" y="2877176"/>
                  <a:pt x="5056548" y="2879838"/>
                </a:cubicBezTo>
                <a:cubicBezTo>
                  <a:pt x="5053885" y="2882501"/>
                  <a:pt x="5050824" y="2884631"/>
                  <a:pt x="5047230" y="2886095"/>
                </a:cubicBezTo>
                <a:cubicBezTo>
                  <a:pt x="5043636" y="2887559"/>
                  <a:pt x="5039775" y="2888359"/>
                  <a:pt x="5035515" y="2888359"/>
                </a:cubicBezTo>
                <a:cubicBezTo>
                  <a:pt x="5026597" y="2888359"/>
                  <a:pt x="5019275" y="2885429"/>
                  <a:pt x="5013683" y="2879838"/>
                </a:cubicBezTo>
                <a:cubicBezTo>
                  <a:pt x="5008092" y="2874247"/>
                  <a:pt x="5005297" y="2867192"/>
                  <a:pt x="5005297" y="2858673"/>
                </a:cubicBezTo>
                <a:cubicBezTo>
                  <a:pt x="5005297" y="2850420"/>
                  <a:pt x="5008092" y="2843363"/>
                  <a:pt x="5013683" y="2837640"/>
                </a:cubicBezTo>
                <a:cubicBezTo>
                  <a:pt x="5019275" y="2831916"/>
                  <a:pt x="5026463" y="2828988"/>
                  <a:pt x="5035515" y="2828988"/>
                </a:cubicBezTo>
                <a:close/>
                <a:moveTo>
                  <a:pt x="4817870" y="2828988"/>
                </a:moveTo>
                <a:cubicBezTo>
                  <a:pt x="4822130" y="2828988"/>
                  <a:pt x="4826124" y="2829786"/>
                  <a:pt x="4829585" y="2831516"/>
                </a:cubicBezTo>
                <a:cubicBezTo>
                  <a:pt x="4833312" y="2833114"/>
                  <a:pt x="4836374" y="2835243"/>
                  <a:pt x="4838903" y="2837906"/>
                </a:cubicBezTo>
                <a:cubicBezTo>
                  <a:pt x="4841432" y="2840568"/>
                  <a:pt x="4843562" y="2843764"/>
                  <a:pt x="4845026" y="2847357"/>
                </a:cubicBezTo>
                <a:cubicBezTo>
                  <a:pt x="4846491" y="2850952"/>
                  <a:pt x="4847289" y="2854678"/>
                  <a:pt x="4847289" y="2858806"/>
                </a:cubicBezTo>
                <a:cubicBezTo>
                  <a:pt x="4847289" y="2862933"/>
                  <a:pt x="4846491" y="2866926"/>
                  <a:pt x="4845026" y="2870520"/>
                </a:cubicBezTo>
                <a:cubicBezTo>
                  <a:pt x="4843562" y="2874114"/>
                  <a:pt x="4841432" y="2877176"/>
                  <a:pt x="4838903" y="2879838"/>
                </a:cubicBezTo>
                <a:cubicBezTo>
                  <a:pt x="4836240" y="2882501"/>
                  <a:pt x="4833179" y="2884631"/>
                  <a:pt x="4829585" y="2886095"/>
                </a:cubicBezTo>
                <a:cubicBezTo>
                  <a:pt x="4825991" y="2887559"/>
                  <a:pt x="4822130" y="2888359"/>
                  <a:pt x="4817870" y="2888359"/>
                </a:cubicBezTo>
                <a:cubicBezTo>
                  <a:pt x="4808952" y="2888359"/>
                  <a:pt x="4801630" y="2885429"/>
                  <a:pt x="4796038" y="2879838"/>
                </a:cubicBezTo>
                <a:cubicBezTo>
                  <a:pt x="4790447" y="2874247"/>
                  <a:pt x="4787652" y="2867192"/>
                  <a:pt x="4787652" y="2858673"/>
                </a:cubicBezTo>
                <a:cubicBezTo>
                  <a:pt x="4787652" y="2850420"/>
                  <a:pt x="4790447" y="2843363"/>
                  <a:pt x="4796038" y="2837640"/>
                </a:cubicBezTo>
                <a:cubicBezTo>
                  <a:pt x="4801630" y="2831916"/>
                  <a:pt x="4808818" y="2828988"/>
                  <a:pt x="4817870" y="2828988"/>
                </a:cubicBezTo>
                <a:close/>
                <a:moveTo>
                  <a:pt x="4600226" y="2828988"/>
                </a:moveTo>
                <a:cubicBezTo>
                  <a:pt x="4604485" y="2828988"/>
                  <a:pt x="4608479" y="2829786"/>
                  <a:pt x="4612073" y="2831516"/>
                </a:cubicBezTo>
                <a:cubicBezTo>
                  <a:pt x="4615800" y="2833114"/>
                  <a:pt x="4618862" y="2835243"/>
                  <a:pt x="4621391" y="2837906"/>
                </a:cubicBezTo>
                <a:cubicBezTo>
                  <a:pt x="4623920" y="2840568"/>
                  <a:pt x="4626050" y="2843764"/>
                  <a:pt x="4627514" y="2847357"/>
                </a:cubicBezTo>
                <a:cubicBezTo>
                  <a:pt x="4628978" y="2850952"/>
                  <a:pt x="4629777" y="2854678"/>
                  <a:pt x="4629777" y="2858806"/>
                </a:cubicBezTo>
                <a:cubicBezTo>
                  <a:pt x="4629777" y="2862933"/>
                  <a:pt x="4628978" y="2866926"/>
                  <a:pt x="4627514" y="2870520"/>
                </a:cubicBezTo>
                <a:cubicBezTo>
                  <a:pt x="4626050" y="2874114"/>
                  <a:pt x="4623920" y="2877176"/>
                  <a:pt x="4621391" y="2879838"/>
                </a:cubicBezTo>
                <a:cubicBezTo>
                  <a:pt x="4618729" y="2882501"/>
                  <a:pt x="4615667" y="2884631"/>
                  <a:pt x="4612073" y="2886095"/>
                </a:cubicBezTo>
                <a:cubicBezTo>
                  <a:pt x="4608346" y="2887559"/>
                  <a:pt x="4604485" y="2888359"/>
                  <a:pt x="4600226" y="2888359"/>
                </a:cubicBezTo>
                <a:cubicBezTo>
                  <a:pt x="4591173" y="2888359"/>
                  <a:pt x="4583985" y="2885429"/>
                  <a:pt x="4578393" y="2879838"/>
                </a:cubicBezTo>
                <a:cubicBezTo>
                  <a:pt x="4572803" y="2874247"/>
                  <a:pt x="4570007" y="2867192"/>
                  <a:pt x="4570007" y="2858673"/>
                </a:cubicBezTo>
                <a:cubicBezTo>
                  <a:pt x="4570007" y="2850420"/>
                  <a:pt x="4572803" y="2843363"/>
                  <a:pt x="4578393" y="2837640"/>
                </a:cubicBezTo>
                <a:cubicBezTo>
                  <a:pt x="4583985" y="2831916"/>
                  <a:pt x="4591173" y="2828988"/>
                  <a:pt x="4600226" y="2828988"/>
                </a:cubicBezTo>
                <a:close/>
                <a:moveTo>
                  <a:pt x="4382713" y="2828988"/>
                </a:moveTo>
                <a:cubicBezTo>
                  <a:pt x="4386840" y="2828988"/>
                  <a:pt x="4390834" y="2829786"/>
                  <a:pt x="4394428" y="2831516"/>
                </a:cubicBezTo>
                <a:cubicBezTo>
                  <a:pt x="4398155" y="2833114"/>
                  <a:pt x="4401217" y="2835243"/>
                  <a:pt x="4403746" y="2837906"/>
                </a:cubicBezTo>
                <a:cubicBezTo>
                  <a:pt x="4406275" y="2840568"/>
                  <a:pt x="4408405" y="2843764"/>
                  <a:pt x="4409869" y="2847357"/>
                </a:cubicBezTo>
                <a:cubicBezTo>
                  <a:pt x="4411334" y="2850952"/>
                  <a:pt x="4412132" y="2854678"/>
                  <a:pt x="4412132" y="2858806"/>
                </a:cubicBezTo>
                <a:cubicBezTo>
                  <a:pt x="4412132" y="2862933"/>
                  <a:pt x="4411334" y="2866926"/>
                  <a:pt x="4409869" y="2870520"/>
                </a:cubicBezTo>
                <a:cubicBezTo>
                  <a:pt x="4408405" y="2874114"/>
                  <a:pt x="4406275" y="2877176"/>
                  <a:pt x="4403746" y="2879838"/>
                </a:cubicBezTo>
                <a:cubicBezTo>
                  <a:pt x="4401083" y="2882501"/>
                  <a:pt x="4398022" y="2884631"/>
                  <a:pt x="4394428" y="2886095"/>
                </a:cubicBezTo>
                <a:cubicBezTo>
                  <a:pt x="4390834" y="2887559"/>
                  <a:pt x="4386973" y="2888359"/>
                  <a:pt x="4382713" y="2888359"/>
                </a:cubicBezTo>
                <a:cubicBezTo>
                  <a:pt x="4373661" y="2888359"/>
                  <a:pt x="4366473" y="2885429"/>
                  <a:pt x="4360881" y="2879838"/>
                </a:cubicBezTo>
                <a:cubicBezTo>
                  <a:pt x="4355290" y="2874247"/>
                  <a:pt x="4352495" y="2867192"/>
                  <a:pt x="4352495" y="2858673"/>
                </a:cubicBezTo>
                <a:cubicBezTo>
                  <a:pt x="4352495" y="2850420"/>
                  <a:pt x="4355290" y="2843363"/>
                  <a:pt x="4360881" y="2837640"/>
                </a:cubicBezTo>
                <a:cubicBezTo>
                  <a:pt x="4366473" y="2831916"/>
                  <a:pt x="4373661" y="2828988"/>
                  <a:pt x="4382713" y="2828988"/>
                </a:cubicBezTo>
                <a:close/>
                <a:moveTo>
                  <a:pt x="4165068" y="2828988"/>
                </a:moveTo>
                <a:cubicBezTo>
                  <a:pt x="4169327" y="2828988"/>
                  <a:pt x="4173188" y="2829786"/>
                  <a:pt x="4176782" y="2831516"/>
                </a:cubicBezTo>
                <a:cubicBezTo>
                  <a:pt x="4180509" y="2833114"/>
                  <a:pt x="4183571" y="2835243"/>
                  <a:pt x="4186100" y="2837906"/>
                </a:cubicBezTo>
                <a:cubicBezTo>
                  <a:pt x="4188629" y="2840568"/>
                  <a:pt x="4190759" y="2843764"/>
                  <a:pt x="4192223" y="2847357"/>
                </a:cubicBezTo>
                <a:cubicBezTo>
                  <a:pt x="4193688" y="2850952"/>
                  <a:pt x="4194486" y="2854678"/>
                  <a:pt x="4194486" y="2858806"/>
                </a:cubicBezTo>
                <a:cubicBezTo>
                  <a:pt x="4194486" y="2862933"/>
                  <a:pt x="4193688" y="2866926"/>
                  <a:pt x="4192223" y="2870520"/>
                </a:cubicBezTo>
                <a:cubicBezTo>
                  <a:pt x="4190759" y="2874114"/>
                  <a:pt x="4188629" y="2877176"/>
                  <a:pt x="4186100" y="2879838"/>
                </a:cubicBezTo>
                <a:cubicBezTo>
                  <a:pt x="4183438" y="2882501"/>
                  <a:pt x="4180376" y="2884631"/>
                  <a:pt x="4176782" y="2886095"/>
                </a:cubicBezTo>
                <a:cubicBezTo>
                  <a:pt x="4173188" y="2887559"/>
                  <a:pt x="4169327" y="2888359"/>
                  <a:pt x="4165068" y="2888359"/>
                </a:cubicBezTo>
                <a:cubicBezTo>
                  <a:pt x="4156015" y="2888359"/>
                  <a:pt x="4148827" y="2885429"/>
                  <a:pt x="4143235" y="2879838"/>
                </a:cubicBezTo>
                <a:cubicBezTo>
                  <a:pt x="4137645" y="2874247"/>
                  <a:pt x="4134849" y="2867192"/>
                  <a:pt x="4134849" y="2858673"/>
                </a:cubicBezTo>
                <a:cubicBezTo>
                  <a:pt x="4134849" y="2850420"/>
                  <a:pt x="4137645" y="2843363"/>
                  <a:pt x="4143235" y="2837640"/>
                </a:cubicBezTo>
                <a:cubicBezTo>
                  <a:pt x="4148827" y="2831916"/>
                  <a:pt x="4156015" y="2828988"/>
                  <a:pt x="4165068" y="2828988"/>
                </a:cubicBezTo>
                <a:close/>
                <a:moveTo>
                  <a:pt x="3947582" y="2828988"/>
                </a:moveTo>
                <a:cubicBezTo>
                  <a:pt x="3951843" y="2828988"/>
                  <a:pt x="3955702" y="2829786"/>
                  <a:pt x="3959298" y="2831516"/>
                </a:cubicBezTo>
                <a:cubicBezTo>
                  <a:pt x="3963026" y="2833114"/>
                  <a:pt x="3966086" y="2835243"/>
                  <a:pt x="3968616" y="2837906"/>
                </a:cubicBezTo>
                <a:cubicBezTo>
                  <a:pt x="3971146" y="2840568"/>
                  <a:pt x="3973275" y="2843764"/>
                  <a:pt x="3974739" y="2847357"/>
                </a:cubicBezTo>
                <a:cubicBezTo>
                  <a:pt x="3976204" y="2850952"/>
                  <a:pt x="3977003" y="2854678"/>
                  <a:pt x="3977003" y="2858806"/>
                </a:cubicBezTo>
                <a:cubicBezTo>
                  <a:pt x="3977003" y="2862933"/>
                  <a:pt x="3976204" y="2866926"/>
                  <a:pt x="3974739" y="2870520"/>
                </a:cubicBezTo>
                <a:cubicBezTo>
                  <a:pt x="3973275" y="2874114"/>
                  <a:pt x="3971146" y="2877176"/>
                  <a:pt x="3968616" y="2879838"/>
                </a:cubicBezTo>
                <a:cubicBezTo>
                  <a:pt x="3965954" y="2882501"/>
                  <a:pt x="3962892" y="2884631"/>
                  <a:pt x="3959298" y="2886095"/>
                </a:cubicBezTo>
                <a:cubicBezTo>
                  <a:pt x="3955702" y="2887559"/>
                  <a:pt x="3951843" y="2888359"/>
                  <a:pt x="3947582" y="2888359"/>
                </a:cubicBezTo>
                <a:cubicBezTo>
                  <a:pt x="3938529" y="2888359"/>
                  <a:pt x="3931341" y="2885429"/>
                  <a:pt x="3925749" y="2879838"/>
                </a:cubicBezTo>
                <a:cubicBezTo>
                  <a:pt x="3920158" y="2874247"/>
                  <a:pt x="3917363" y="2867192"/>
                  <a:pt x="3917363" y="2858673"/>
                </a:cubicBezTo>
                <a:cubicBezTo>
                  <a:pt x="3917363" y="2850420"/>
                  <a:pt x="3920158" y="2843363"/>
                  <a:pt x="3925749" y="2837640"/>
                </a:cubicBezTo>
                <a:cubicBezTo>
                  <a:pt x="3931341" y="2831916"/>
                  <a:pt x="3938529" y="2828988"/>
                  <a:pt x="3947582" y="2828988"/>
                </a:cubicBezTo>
                <a:close/>
                <a:moveTo>
                  <a:pt x="3729929" y="2828988"/>
                </a:moveTo>
                <a:cubicBezTo>
                  <a:pt x="3734190" y="2828988"/>
                  <a:pt x="3738182" y="2829786"/>
                  <a:pt x="3741644" y="2831516"/>
                </a:cubicBezTo>
                <a:cubicBezTo>
                  <a:pt x="3745238" y="2833114"/>
                  <a:pt x="3748434" y="2835243"/>
                  <a:pt x="3750963" y="2837906"/>
                </a:cubicBezTo>
                <a:cubicBezTo>
                  <a:pt x="3753492" y="2840568"/>
                  <a:pt x="3755621" y="2843764"/>
                  <a:pt x="3757085" y="2847357"/>
                </a:cubicBezTo>
                <a:cubicBezTo>
                  <a:pt x="3758549" y="2850952"/>
                  <a:pt x="3759348" y="2854678"/>
                  <a:pt x="3759348" y="2858806"/>
                </a:cubicBezTo>
                <a:cubicBezTo>
                  <a:pt x="3759348" y="2862933"/>
                  <a:pt x="3758549" y="2866926"/>
                  <a:pt x="3757085" y="2870520"/>
                </a:cubicBezTo>
                <a:cubicBezTo>
                  <a:pt x="3755621" y="2874114"/>
                  <a:pt x="3753492" y="2877176"/>
                  <a:pt x="3750963" y="2879838"/>
                </a:cubicBezTo>
                <a:cubicBezTo>
                  <a:pt x="3748300" y="2882501"/>
                  <a:pt x="3745238" y="2884631"/>
                  <a:pt x="3741644" y="2886095"/>
                </a:cubicBezTo>
                <a:cubicBezTo>
                  <a:pt x="3738050" y="2887559"/>
                  <a:pt x="3734190" y="2888359"/>
                  <a:pt x="3729929" y="2888359"/>
                </a:cubicBezTo>
                <a:cubicBezTo>
                  <a:pt x="3720877" y="2888359"/>
                  <a:pt x="3713688" y="2885429"/>
                  <a:pt x="3708093" y="2879838"/>
                </a:cubicBezTo>
                <a:cubicBezTo>
                  <a:pt x="3702501" y="2874247"/>
                  <a:pt x="3699707" y="2867192"/>
                  <a:pt x="3699707" y="2858673"/>
                </a:cubicBezTo>
                <a:cubicBezTo>
                  <a:pt x="3699707" y="2850420"/>
                  <a:pt x="3702501" y="2843363"/>
                  <a:pt x="3708093" y="2837640"/>
                </a:cubicBezTo>
                <a:cubicBezTo>
                  <a:pt x="3713688" y="2831916"/>
                  <a:pt x="3720877" y="2828988"/>
                  <a:pt x="3729929" y="2828988"/>
                </a:cubicBezTo>
                <a:close/>
                <a:moveTo>
                  <a:pt x="3512276" y="2828988"/>
                </a:moveTo>
                <a:cubicBezTo>
                  <a:pt x="3516536" y="2828988"/>
                  <a:pt x="3520529" y="2829786"/>
                  <a:pt x="3523991" y="2831516"/>
                </a:cubicBezTo>
                <a:cubicBezTo>
                  <a:pt x="3527585" y="2833114"/>
                  <a:pt x="3530780" y="2835243"/>
                  <a:pt x="3533309" y="2837906"/>
                </a:cubicBezTo>
                <a:cubicBezTo>
                  <a:pt x="3535838" y="2840568"/>
                  <a:pt x="3537968" y="2843764"/>
                  <a:pt x="3539432" y="2847357"/>
                </a:cubicBezTo>
                <a:cubicBezTo>
                  <a:pt x="3540896" y="2850952"/>
                  <a:pt x="3541695" y="2854678"/>
                  <a:pt x="3541695" y="2858806"/>
                </a:cubicBezTo>
                <a:cubicBezTo>
                  <a:pt x="3541695" y="2862933"/>
                  <a:pt x="3540896" y="2866926"/>
                  <a:pt x="3539432" y="2870520"/>
                </a:cubicBezTo>
                <a:cubicBezTo>
                  <a:pt x="3537968" y="2874114"/>
                  <a:pt x="3535838" y="2877176"/>
                  <a:pt x="3533309" y="2879838"/>
                </a:cubicBezTo>
                <a:cubicBezTo>
                  <a:pt x="3530646" y="2882501"/>
                  <a:pt x="3527585" y="2884631"/>
                  <a:pt x="3523991" y="2886095"/>
                </a:cubicBezTo>
                <a:cubicBezTo>
                  <a:pt x="3520397" y="2887559"/>
                  <a:pt x="3516536" y="2888359"/>
                  <a:pt x="3512276" y="2888359"/>
                </a:cubicBezTo>
                <a:cubicBezTo>
                  <a:pt x="3503221" y="2888359"/>
                  <a:pt x="3496032" y="2885429"/>
                  <a:pt x="3490441" y="2879838"/>
                </a:cubicBezTo>
                <a:cubicBezTo>
                  <a:pt x="3484850" y="2874247"/>
                  <a:pt x="3482055" y="2867192"/>
                  <a:pt x="3482055" y="2858673"/>
                </a:cubicBezTo>
                <a:cubicBezTo>
                  <a:pt x="3482055" y="2850420"/>
                  <a:pt x="3484850" y="2843363"/>
                  <a:pt x="3490441" y="2837640"/>
                </a:cubicBezTo>
                <a:cubicBezTo>
                  <a:pt x="3496032" y="2831916"/>
                  <a:pt x="3503221" y="2828988"/>
                  <a:pt x="3512276" y="2828988"/>
                </a:cubicBezTo>
                <a:close/>
                <a:moveTo>
                  <a:pt x="3294755" y="2828988"/>
                </a:moveTo>
                <a:cubicBezTo>
                  <a:pt x="3298882" y="2828988"/>
                  <a:pt x="3302877" y="2829786"/>
                  <a:pt x="3306471" y="2831516"/>
                </a:cubicBezTo>
                <a:cubicBezTo>
                  <a:pt x="3310198" y="2833114"/>
                  <a:pt x="3313260" y="2835243"/>
                  <a:pt x="3315789" y="2837906"/>
                </a:cubicBezTo>
                <a:cubicBezTo>
                  <a:pt x="3318318" y="2840568"/>
                  <a:pt x="3320448" y="2843764"/>
                  <a:pt x="3321912" y="2847357"/>
                </a:cubicBezTo>
                <a:cubicBezTo>
                  <a:pt x="3323376" y="2850952"/>
                  <a:pt x="3324175" y="2854678"/>
                  <a:pt x="3324175" y="2858806"/>
                </a:cubicBezTo>
                <a:cubicBezTo>
                  <a:pt x="3324175" y="2862933"/>
                  <a:pt x="3323376" y="2866926"/>
                  <a:pt x="3321912" y="2870520"/>
                </a:cubicBezTo>
                <a:cubicBezTo>
                  <a:pt x="3320448" y="2874114"/>
                  <a:pt x="3318318" y="2877176"/>
                  <a:pt x="3315789" y="2879838"/>
                </a:cubicBezTo>
                <a:cubicBezTo>
                  <a:pt x="3313126" y="2882501"/>
                  <a:pt x="3310065" y="2884631"/>
                  <a:pt x="3306471" y="2886095"/>
                </a:cubicBezTo>
                <a:cubicBezTo>
                  <a:pt x="3302877" y="2887559"/>
                  <a:pt x="3299016" y="2888359"/>
                  <a:pt x="3294755" y="2888359"/>
                </a:cubicBezTo>
                <a:cubicBezTo>
                  <a:pt x="3285702" y="2888359"/>
                  <a:pt x="3278513" y="2885429"/>
                  <a:pt x="3272920" y="2879838"/>
                </a:cubicBezTo>
                <a:cubicBezTo>
                  <a:pt x="3267329" y="2874247"/>
                  <a:pt x="3264534" y="2867192"/>
                  <a:pt x="3264534" y="2858673"/>
                </a:cubicBezTo>
                <a:cubicBezTo>
                  <a:pt x="3264534" y="2850420"/>
                  <a:pt x="3267329" y="2843363"/>
                  <a:pt x="3272920" y="2837640"/>
                </a:cubicBezTo>
                <a:cubicBezTo>
                  <a:pt x="3278513" y="2831916"/>
                  <a:pt x="3285702" y="2828988"/>
                  <a:pt x="3294755" y="2828988"/>
                </a:cubicBezTo>
                <a:close/>
                <a:moveTo>
                  <a:pt x="3077102" y="2828988"/>
                </a:moveTo>
                <a:cubicBezTo>
                  <a:pt x="3081230" y="2828988"/>
                  <a:pt x="3085223" y="2829786"/>
                  <a:pt x="3088817" y="2831516"/>
                </a:cubicBezTo>
                <a:cubicBezTo>
                  <a:pt x="3092412" y="2833114"/>
                  <a:pt x="3095607" y="2835243"/>
                  <a:pt x="3098135" y="2837906"/>
                </a:cubicBezTo>
                <a:cubicBezTo>
                  <a:pt x="3100664" y="2840568"/>
                  <a:pt x="3102795" y="2843764"/>
                  <a:pt x="3104259" y="2847357"/>
                </a:cubicBezTo>
                <a:cubicBezTo>
                  <a:pt x="3105724" y="2850952"/>
                  <a:pt x="3106522" y="2854678"/>
                  <a:pt x="3106522" y="2858806"/>
                </a:cubicBezTo>
                <a:cubicBezTo>
                  <a:pt x="3106522" y="2862933"/>
                  <a:pt x="3105724" y="2866926"/>
                  <a:pt x="3104259" y="2870520"/>
                </a:cubicBezTo>
                <a:cubicBezTo>
                  <a:pt x="3102795" y="2874114"/>
                  <a:pt x="3100664" y="2877176"/>
                  <a:pt x="3098135" y="2879838"/>
                </a:cubicBezTo>
                <a:cubicBezTo>
                  <a:pt x="3095473" y="2882501"/>
                  <a:pt x="3092412" y="2884631"/>
                  <a:pt x="3088817" y="2886095"/>
                </a:cubicBezTo>
                <a:cubicBezTo>
                  <a:pt x="3085223" y="2887559"/>
                  <a:pt x="3081362" y="2888359"/>
                  <a:pt x="3077102" y="2888359"/>
                </a:cubicBezTo>
                <a:cubicBezTo>
                  <a:pt x="3068183" y="2888359"/>
                  <a:pt x="3060860" y="2885429"/>
                  <a:pt x="3055267" y="2879838"/>
                </a:cubicBezTo>
                <a:cubicBezTo>
                  <a:pt x="3049676" y="2874247"/>
                  <a:pt x="3046881" y="2867192"/>
                  <a:pt x="3046881" y="2858673"/>
                </a:cubicBezTo>
                <a:cubicBezTo>
                  <a:pt x="3046881" y="2850420"/>
                  <a:pt x="3049676" y="2843363"/>
                  <a:pt x="3055267" y="2837640"/>
                </a:cubicBezTo>
                <a:cubicBezTo>
                  <a:pt x="3060860" y="2831916"/>
                  <a:pt x="3068050" y="2828988"/>
                  <a:pt x="3077102" y="2828988"/>
                </a:cubicBezTo>
                <a:close/>
                <a:moveTo>
                  <a:pt x="2859449" y="2828988"/>
                </a:moveTo>
                <a:cubicBezTo>
                  <a:pt x="2863709" y="2828988"/>
                  <a:pt x="2867570" y="2829786"/>
                  <a:pt x="2871297" y="2831516"/>
                </a:cubicBezTo>
                <a:cubicBezTo>
                  <a:pt x="2875024" y="2833114"/>
                  <a:pt x="2878086" y="2835243"/>
                  <a:pt x="2880615" y="2837906"/>
                </a:cubicBezTo>
                <a:cubicBezTo>
                  <a:pt x="2883277" y="2840568"/>
                  <a:pt x="2885275" y="2843764"/>
                  <a:pt x="2886739" y="2847357"/>
                </a:cubicBezTo>
                <a:cubicBezTo>
                  <a:pt x="2888203" y="2850952"/>
                  <a:pt x="2889002" y="2854678"/>
                  <a:pt x="2889002" y="2858806"/>
                </a:cubicBezTo>
                <a:cubicBezTo>
                  <a:pt x="2889002" y="2862933"/>
                  <a:pt x="2888203" y="2866926"/>
                  <a:pt x="2886739" y="2870520"/>
                </a:cubicBezTo>
                <a:cubicBezTo>
                  <a:pt x="2885275" y="2874114"/>
                  <a:pt x="2883144" y="2877176"/>
                  <a:pt x="2880615" y="2879838"/>
                </a:cubicBezTo>
                <a:cubicBezTo>
                  <a:pt x="2877953" y="2882501"/>
                  <a:pt x="2874891" y="2884631"/>
                  <a:pt x="2871297" y="2886095"/>
                </a:cubicBezTo>
                <a:cubicBezTo>
                  <a:pt x="2867570" y="2887559"/>
                  <a:pt x="2863709" y="2888359"/>
                  <a:pt x="2859449" y="2888359"/>
                </a:cubicBezTo>
                <a:cubicBezTo>
                  <a:pt x="2850531" y="2888359"/>
                  <a:pt x="2843205" y="2885429"/>
                  <a:pt x="2837615" y="2879838"/>
                </a:cubicBezTo>
                <a:cubicBezTo>
                  <a:pt x="2832024" y="2874247"/>
                  <a:pt x="2829228" y="2867192"/>
                  <a:pt x="2829228" y="2858673"/>
                </a:cubicBezTo>
                <a:cubicBezTo>
                  <a:pt x="2829228" y="2850420"/>
                  <a:pt x="2832024" y="2843363"/>
                  <a:pt x="2837615" y="2837640"/>
                </a:cubicBezTo>
                <a:cubicBezTo>
                  <a:pt x="2843205" y="2831916"/>
                  <a:pt x="2850397" y="2828988"/>
                  <a:pt x="2859449" y="2828988"/>
                </a:cubicBezTo>
                <a:close/>
                <a:moveTo>
                  <a:pt x="2641795" y="2828988"/>
                </a:moveTo>
                <a:cubicBezTo>
                  <a:pt x="2646056" y="2828988"/>
                  <a:pt x="2649916" y="2829786"/>
                  <a:pt x="2653511" y="2831516"/>
                </a:cubicBezTo>
                <a:cubicBezTo>
                  <a:pt x="2657238" y="2833114"/>
                  <a:pt x="2660300" y="2835243"/>
                  <a:pt x="2662829" y="2837906"/>
                </a:cubicBezTo>
                <a:cubicBezTo>
                  <a:pt x="2665491" y="2840568"/>
                  <a:pt x="2667488" y="2843764"/>
                  <a:pt x="2668952" y="2847357"/>
                </a:cubicBezTo>
                <a:cubicBezTo>
                  <a:pt x="2670416" y="2850952"/>
                  <a:pt x="2671215" y="2854678"/>
                  <a:pt x="2671215" y="2858806"/>
                </a:cubicBezTo>
                <a:cubicBezTo>
                  <a:pt x="2671215" y="2862933"/>
                  <a:pt x="2670416" y="2866926"/>
                  <a:pt x="2668952" y="2870520"/>
                </a:cubicBezTo>
                <a:cubicBezTo>
                  <a:pt x="2667488" y="2874114"/>
                  <a:pt x="2665358" y="2877176"/>
                  <a:pt x="2662829" y="2879838"/>
                </a:cubicBezTo>
                <a:cubicBezTo>
                  <a:pt x="2660300" y="2882501"/>
                  <a:pt x="2657105" y="2884631"/>
                  <a:pt x="2653511" y="2886095"/>
                </a:cubicBezTo>
                <a:cubicBezTo>
                  <a:pt x="2649916" y="2887559"/>
                  <a:pt x="2646056" y="2888359"/>
                  <a:pt x="2641795" y="2888359"/>
                </a:cubicBezTo>
                <a:cubicBezTo>
                  <a:pt x="2632876" y="2888359"/>
                  <a:pt x="2625555" y="2885429"/>
                  <a:pt x="2619963" y="2879838"/>
                </a:cubicBezTo>
                <a:cubicBezTo>
                  <a:pt x="2614372" y="2874247"/>
                  <a:pt x="2611575" y="2867192"/>
                  <a:pt x="2611575" y="2858673"/>
                </a:cubicBezTo>
                <a:cubicBezTo>
                  <a:pt x="2611575" y="2850420"/>
                  <a:pt x="2614372" y="2843363"/>
                  <a:pt x="2619963" y="2837640"/>
                </a:cubicBezTo>
                <a:cubicBezTo>
                  <a:pt x="2625555" y="2831916"/>
                  <a:pt x="2632744" y="2828988"/>
                  <a:pt x="2641795" y="2828988"/>
                </a:cubicBezTo>
                <a:close/>
                <a:moveTo>
                  <a:pt x="2424142" y="2828988"/>
                </a:moveTo>
                <a:cubicBezTo>
                  <a:pt x="2428402" y="2828988"/>
                  <a:pt x="2432397" y="2829786"/>
                  <a:pt x="2435857" y="2831516"/>
                </a:cubicBezTo>
                <a:cubicBezTo>
                  <a:pt x="2439584" y="2833114"/>
                  <a:pt x="2442646" y="2835243"/>
                  <a:pt x="2445175" y="2837906"/>
                </a:cubicBezTo>
                <a:cubicBezTo>
                  <a:pt x="2447838" y="2840568"/>
                  <a:pt x="2449835" y="2843764"/>
                  <a:pt x="2451299" y="2847357"/>
                </a:cubicBezTo>
                <a:cubicBezTo>
                  <a:pt x="2452763" y="2850952"/>
                  <a:pt x="2453562" y="2854678"/>
                  <a:pt x="2453562" y="2858806"/>
                </a:cubicBezTo>
                <a:cubicBezTo>
                  <a:pt x="2453562" y="2862933"/>
                  <a:pt x="2452763" y="2866926"/>
                  <a:pt x="2451299" y="2870520"/>
                </a:cubicBezTo>
                <a:cubicBezTo>
                  <a:pt x="2449835" y="2874114"/>
                  <a:pt x="2447705" y="2877176"/>
                  <a:pt x="2445175" y="2879838"/>
                </a:cubicBezTo>
                <a:cubicBezTo>
                  <a:pt x="2442646" y="2882501"/>
                  <a:pt x="2439452" y="2884631"/>
                  <a:pt x="2435857" y="2886095"/>
                </a:cubicBezTo>
                <a:cubicBezTo>
                  <a:pt x="2432263" y="2887559"/>
                  <a:pt x="2428402" y="2888359"/>
                  <a:pt x="2424142" y="2888359"/>
                </a:cubicBezTo>
                <a:cubicBezTo>
                  <a:pt x="2415224" y="2888359"/>
                  <a:pt x="2407902" y="2885429"/>
                  <a:pt x="2402310" y="2879838"/>
                </a:cubicBezTo>
                <a:cubicBezTo>
                  <a:pt x="2396718" y="2874247"/>
                  <a:pt x="2393922" y="2867192"/>
                  <a:pt x="2393922" y="2858673"/>
                </a:cubicBezTo>
                <a:cubicBezTo>
                  <a:pt x="2393922" y="2850420"/>
                  <a:pt x="2396718" y="2843363"/>
                  <a:pt x="2402310" y="2837640"/>
                </a:cubicBezTo>
                <a:cubicBezTo>
                  <a:pt x="2407902" y="2831916"/>
                  <a:pt x="2415090" y="2828988"/>
                  <a:pt x="2424142" y="2828988"/>
                </a:cubicBezTo>
                <a:close/>
                <a:moveTo>
                  <a:pt x="2206489" y="2828988"/>
                </a:moveTo>
                <a:cubicBezTo>
                  <a:pt x="2210749" y="2828988"/>
                  <a:pt x="2214743" y="2829786"/>
                  <a:pt x="2218204" y="2831516"/>
                </a:cubicBezTo>
                <a:cubicBezTo>
                  <a:pt x="2221931" y="2833114"/>
                  <a:pt x="2224992" y="2835243"/>
                  <a:pt x="2227523" y="2837906"/>
                </a:cubicBezTo>
                <a:cubicBezTo>
                  <a:pt x="2230184" y="2840568"/>
                  <a:pt x="2232181" y="2843764"/>
                  <a:pt x="2233645" y="2847357"/>
                </a:cubicBezTo>
                <a:cubicBezTo>
                  <a:pt x="2235109" y="2850952"/>
                  <a:pt x="2235908" y="2854678"/>
                  <a:pt x="2235908" y="2858806"/>
                </a:cubicBezTo>
                <a:cubicBezTo>
                  <a:pt x="2235908" y="2862933"/>
                  <a:pt x="2235109" y="2866926"/>
                  <a:pt x="2233645" y="2870520"/>
                </a:cubicBezTo>
                <a:cubicBezTo>
                  <a:pt x="2232181" y="2874114"/>
                  <a:pt x="2230051" y="2877176"/>
                  <a:pt x="2227523" y="2879838"/>
                </a:cubicBezTo>
                <a:cubicBezTo>
                  <a:pt x="2224992" y="2882501"/>
                  <a:pt x="2221798" y="2884631"/>
                  <a:pt x="2218204" y="2886095"/>
                </a:cubicBezTo>
                <a:cubicBezTo>
                  <a:pt x="2214609" y="2887559"/>
                  <a:pt x="2210749" y="2888359"/>
                  <a:pt x="2206489" y="2888359"/>
                </a:cubicBezTo>
                <a:cubicBezTo>
                  <a:pt x="2197436" y="2888359"/>
                  <a:pt x="2190248" y="2885429"/>
                  <a:pt x="2184656" y="2879838"/>
                </a:cubicBezTo>
                <a:cubicBezTo>
                  <a:pt x="2179065" y="2874247"/>
                  <a:pt x="2176270" y="2867192"/>
                  <a:pt x="2176270" y="2858673"/>
                </a:cubicBezTo>
                <a:cubicBezTo>
                  <a:pt x="2176270" y="2850420"/>
                  <a:pt x="2179065" y="2843363"/>
                  <a:pt x="2184656" y="2837640"/>
                </a:cubicBezTo>
                <a:cubicBezTo>
                  <a:pt x="2190248" y="2831916"/>
                  <a:pt x="2197436" y="2828988"/>
                  <a:pt x="2206489" y="2828988"/>
                </a:cubicBezTo>
                <a:close/>
                <a:moveTo>
                  <a:pt x="1988968" y="2828988"/>
                </a:moveTo>
                <a:cubicBezTo>
                  <a:pt x="1993095" y="2828988"/>
                  <a:pt x="1997090" y="2829786"/>
                  <a:pt x="2000684" y="2831516"/>
                </a:cubicBezTo>
                <a:cubicBezTo>
                  <a:pt x="2004411" y="2833114"/>
                  <a:pt x="2007473" y="2835243"/>
                  <a:pt x="2010002" y="2837906"/>
                </a:cubicBezTo>
                <a:cubicBezTo>
                  <a:pt x="2012664" y="2840568"/>
                  <a:pt x="2014661" y="2843764"/>
                  <a:pt x="2016125" y="2847357"/>
                </a:cubicBezTo>
                <a:cubicBezTo>
                  <a:pt x="2017589" y="2850952"/>
                  <a:pt x="2018388" y="2854678"/>
                  <a:pt x="2018388" y="2858806"/>
                </a:cubicBezTo>
                <a:cubicBezTo>
                  <a:pt x="2018388" y="2862933"/>
                  <a:pt x="2017589" y="2866926"/>
                  <a:pt x="2016125" y="2870520"/>
                </a:cubicBezTo>
                <a:cubicBezTo>
                  <a:pt x="2014661" y="2874114"/>
                  <a:pt x="2012531" y="2877176"/>
                  <a:pt x="2010002" y="2879838"/>
                </a:cubicBezTo>
                <a:cubicBezTo>
                  <a:pt x="2007473" y="2882501"/>
                  <a:pt x="2004277" y="2884631"/>
                  <a:pt x="2000684" y="2886095"/>
                </a:cubicBezTo>
                <a:cubicBezTo>
                  <a:pt x="1997090" y="2887559"/>
                  <a:pt x="1993228" y="2888359"/>
                  <a:pt x="1988968" y="2888359"/>
                </a:cubicBezTo>
                <a:cubicBezTo>
                  <a:pt x="1979917" y="2888359"/>
                  <a:pt x="1972728" y="2885429"/>
                  <a:pt x="1967137" y="2879838"/>
                </a:cubicBezTo>
                <a:cubicBezTo>
                  <a:pt x="1961547" y="2874247"/>
                  <a:pt x="1958751" y="2867192"/>
                  <a:pt x="1958751" y="2858673"/>
                </a:cubicBezTo>
                <a:cubicBezTo>
                  <a:pt x="1958751" y="2850420"/>
                  <a:pt x="1961547" y="2843363"/>
                  <a:pt x="1967137" y="2837640"/>
                </a:cubicBezTo>
                <a:cubicBezTo>
                  <a:pt x="1972728" y="2831916"/>
                  <a:pt x="1979917" y="2828988"/>
                  <a:pt x="1988968" y="2828988"/>
                </a:cubicBezTo>
                <a:close/>
                <a:moveTo>
                  <a:pt x="1771329" y="2828988"/>
                </a:moveTo>
                <a:cubicBezTo>
                  <a:pt x="1775589" y="2828988"/>
                  <a:pt x="1779449" y="2829786"/>
                  <a:pt x="1783044" y="2831516"/>
                </a:cubicBezTo>
                <a:cubicBezTo>
                  <a:pt x="1786771" y="2833114"/>
                  <a:pt x="1789833" y="2835243"/>
                  <a:pt x="1792362" y="2837906"/>
                </a:cubicBezTo>
                <a:cubicBezTo>
                  <a:pt x="1795024" y="2840568"/>
                  <a:pt x="1797021" y="2843764"/>
                  <a:pt x="1798485" y="2847357"/>
                </a:cubicBezTo>
                <a:cubicBezTo>
                  <a:pt x="1799949" y="2850952"/>
                  <a:pt x="1800747" y="2854678"/>
                  <a:pt x="1800747" y="2858806"/>
                </a:cubicBezTo>
                <a:cubicBezTo>
                  <a:pt x="1800747" y="2862933"/>
                  <a:pt x="1799949" y="2866926"/>
                  <a:pt x="1798485" y="2870520"/>
                </a:cubicBezTo>
                <a:cubicBezTo>
                  <a:pt x="1797021" y="2874114"/>
                  <a:pt x="1794891" y="2877176"/>
                  <a:pt x="1792362" y="2879838"/>
                </a:cubicBezTo>
                <a:cubicBezTo>
                  <a:pt x="1789699" y="2882501"/>
                  <a:pt x="1786638" y="2884631"/>
                  <a:pt x="1783044" y="2886095"/>
                </a:cubicBezTo>
                <a:cubicBezTo>
                  <a:pt x="1779449" y="2887559"/>
                  <a:pt x="1775589" y="2888359"/>
                  <a:pt x="1771329" y="2888359"/>
                </a:cubicBezTo>
                <a:cubicBezTo>
                  <a:pt x="1762410" y="2888359"/>
                  <a:pt x="1755090" y="2885429"/>
                  <a:pt x="1749499" y="2879838"/>
                </a:cubicBezTo>
                <a:cubicBezTo>
                  <a:pt x="1743908" y="2874247"/>
                  <a:pt x="1741115" y="2867192"/>
                  <a:pt x="1741115" y="2858673"/>
                </a:cubicBezTo>
                <a:cubicBezTo>
                  <a:pt x="1741115" y="2850420"/>
                  <a:pt x="1743908" y="2843363"/>
                  <a:pt x="1749499" y="2837640"/>
                </a:cubicBezTo>
                <a:cubicBezTo>
                  <a:pt x="1755090" y="2831916"/>
                  <a:pt x="1762277" y="2828988"/>
                  <a:pt x="1771329" y="2828988"/>
                </a:cubicBezTo>
                <a:close/>
                <a:moveTo>
                  <a:pt x="1553688" y="2828988"/>
                </a:moveTo>
                <a:cubicBezTo>
                  <a:pt x="1557948" y="2828988"/>
                  <a:pt x="1561809" y="2829786"/>
                  <a:pt x="1565403" y="2831516"/>
                </a:cubicBezTo>
                <a:cubicBezTo>
                  <a:pt x="1568997" y="2833114"/>
                  <a:pt x="1572192" y="2835243"/>
                  <a:pt x="1574722" y="2837906"/>
                </a:cubicBezTo>
                <a:cubicBezTo>
                  <a:pt x="1577383" y="2840568"/>
                  <a:pt x="1579380" y="2843764"/>
                  <a:pt x="1580844" y="2847357"/>
                </a:cubicBezTo>
                <a:cubicBezTo>
                  <a:pt x="1582308" y="2850952"/>
                  <a:pt x="1583107" y="2854678"/>
                  <a:pt x="1583107" y="2858806"/>
                </a:cubicBezTo>
                <a:cubicBezTo>
                  <a:pt x="1583107" y="2862933"/>
                  <a:pt x="1582308" y="2866926"/>
                  <a:pt x="1580844" y="2870520"/>
                </a:cubicBezTo>
                <a:cubicBezTo>
                  <a:pt x="1579380" y="2874114"/>
                  <a:pt x="1577250" y="2877176"/>
                  <a:pt x="1574722" y="2879838"/>
                </a:cubicBezTo>
                <a:cubicBezTo>
                  <a:pt x="1572059" y="2882501"/>
                  <a:pt x="1568997" y="2884631"/>
                  <a:pt x="1565403" y="2886095"/>
                </a:cubicBezTo>
                <a:cubicBezTo>
                  <a:pt x="1561809" y="2887559"/>
                  <a:pt x="1557948" y="2888359"/>
                  <a:pt x="1553688" y="2888359"/>
                </a:cubicBezTo>
                <a:cubicBezTo>
                  <a:pt x="1544770" y="2888359"/>
                  <a:pt x="1537448" y="2885429"/>
                  <a:pt x="1531857" y="2879838"/>
                </a:cubicBezTo>
                <a:cubicBezTo>
                  <a:pt x="1526268" y="2874247"/>
                  <a:pt x="1523472" y="2867192"/>
                  <a:pt x="1523472" y="2858673"/>
                </a:cubicBezTo>
                <a:cubicBezTo>
                  <a:pt x="1523472" y="2850420"/>
                  <a:pt x="1526268" y="2843363"/>
                  <a:pt x="1531857" y="2837640"/>
                </a:cubicBezTo>
                <a:cubicBezTo>
                  <a:pt x="1537448" y="2831916"/>
                  <a:pt x="1544636" y="2828988"/>
                  <a:pt x="1553688" y="2828988"/>
                </a:cubicBezTo>
                <a:close/>
                <a:moveTo>
                  <a:pt x="1336044" y="2828988"/>
                </a:moveTo>
                <a:cubicBezTo>
                  <a:pt x="1340304" y="2828988"/>
                  <a:pt x="1344298" y="2829786"/>
                  <a:pt x="1347760" y="2831516"/>
                </a:cubicBezTo>
                <a:cubicBezTo>
                  <a:pt x="1351353" y="2833114"/>
                  <a:pt x="1354548" y="2835243"/>
                  <a:pt x="1357078" y="2837906"/>
                </a:cubicBezTo>
                <a:cubicBezTo>
                  <a:pt x="1359740" y="2840568"/>
                  <a:pt x="1361736" y="2843764"/>
                  <a:pt x="1363200" y="2847357"/>
                </a:cubicBezTo>
                <a:cubicBezTo>
                  <a:pt x="1364665" y="2850952"/>
                  <a:pt x="1365463" y="2854678"/>
                  <a:pt x="1365463" y="2858806"/>
                </a:cubicBezTo>
                <a:cubicBezTo>
                  <a:pt x="1365463" y="2862933"/>
                  <a:pt x="1364665" y="2866926"/>
                  <a:pt x="1363200" y="2870520"/>
                </a:cubicBezTo>
                <a:cubicBezTo>
                  <a:pt x="1361736" y="2874114"/>
                  <a:pt x="1359607" y="2877176"/>
                  <a:pt x="1357078" y="2879838"/>
                </a:cubicBezTo>
                <a:cubicBezTo>
                  <a:pt x="1354414" y="2882501"/>
                  <a:pt x="1351353" y="2884631"/>
                  <a:pt x="1347760" y="2886095"/>
                </a:cubicBezTo>
                <a:cubicBezTo>
                  <a:pt x="1344165" y="2887559"/>
                  <a:pt x="1340304" y="2888359"/>
                  <a:pt x="1336044" y="2888359"/>
                </a:cubicBezTo>
                <a:cubicBezTo>
                  <a:pt x="1327124" y="2888359"/>
                  <a:pt x="1319803" y="2885429"/>
                  <a:pt x="1314212" y="2879838"/>
                </a:cubicBezTo>
                <a:cubicBezTo>
                  <a:pt x="1308621" y="2874247"/>
                  <a:pt x="1305826" y="2867192"/>
                  <a:pt x="1305826" y="2858673"/>
                </a:cubicBezTo>
                <a:cubicBezTo>
                  <a:pt x="1305826" y="2850420"/>
                  <a:pt x="1308621" y="2843363"/>
                  <a:pt x="1314212" y="2837640"/>
                </a:cubicBezTo>
                <a:cubicBezTo>
                  <a:pt x="1319803" y="2831916"/>
                  <a:pt x="1326991" y="2828988"/>
                  <a:pt x="1336044" y="2828988"/>
                </a:cubicBezTo>
                <a:close/>
                <a:moveTo>
                  <a:pt x="1118399" y="2828988"/>
                </a:moveTo>
                <a:cubicBezTo>
                  <a:pt x="1122659" y="2828988"/>
                  <a:pt x="1126655" y="2829786"/>
                  <a:pt x="1130116" y="2831516"/>
                </a:cubicBezTo>
                <a:cubicBezTo>
                  <a:pt x="1133842" y="2833114"/>
                  <a:pt x="1136904" y="2835243"/>
                  <a:pt x="1139433" y="2837906"/>
                </a:cubicBezTo>
                <a:cubicBezTo>
                  <a:pt x="1142093" y="2840568"/>
                  <a:pt x="1144089" y="2843764"/>
                  <a:pt x="1145553" y="2847357"/>
                </a:cubicBezTo>
                <a:cubicBezTo>
                  <a:pt x="1147018" y="2850952"/>
                  <a:pt x="1147817" y="2854678"/>
                  <a:pt x="1147817" y="2858806"/>
                </a:cubicBezTo>
                <a:cubicBezTo>
                  <a:pt x="1147817" y="2862933"/>
                  <a:pt x="1147018" y="2866926"/>
                  <a:pt x="1145553" y="2870520"/>
                </a:cubicBezTo>
                <a:cubicBezTo>
                  <a:pt x="1144089" y="2874114"/>
                  <a:pt x="1141960" y="2877176"/>
                  <a:pt x="1139433" y="2879838"/>
                </a:cubicBezTo>
                <a:cubicBezTo>
                  <a:pt x="1136904" y="2882501"/>
                  <a:pt x="1133709" y="2884631"/>
                  <a:pt x="1130116" y="2886095"/>
                </a:cubicBezTo>
                <a:cubicBezTo>
                  <a:pt x="1126520" y="2887559"/>
                  <a:pt x="1122659" y="2888359"/>
                  <a:pt x="1118399" y="2888359"/>
                </a:cubicBezTo>
                <a:cubicBezTo>
                  <a:pt x="1109480" y="2888359"/>
                  <a:pt x="1102156" y="2885429"/>
                  <a:pt x="1096565" y="2879838"/>
                </a:cubicBezTo>
                <a:cubicBezTo>
                  <a:pt x="1090975" y="2874247"/>
                  <a:pt x="1088180" y="2867192"/>
                  <a:pt x="1088180" y="2858673"/>
                </a:cubicBezTo>
                <a:cubicBezTo>
                  <a:pt x="1088180" y="2850420"/>
                  <a:pt x="1090975" y="2843363"/>
                  <a:pt x="1096565" y="2837640"/>
                </a:cubicBezTo>
                <a:cubicBezTo>
                  <a:pt x="1102156" y="2831916"/>
                  <a:pt x="1109346" y="2828988"/>
                  <a:pt x="1118399" y="2828988"/>
                </a:cubicBezTo>
                <a:close/>
                <a:moveTo>
                  <a:pt x="900886" y="2828988"/>
                </a:moveTo>
                <a:cubicBezTo>
                  <a:pt x="905013" y="2828988"/>
                  <a:pt x="909007" y="2829786"/>
                  <a:pt x="912601" y="2831516"/>
                </a:cubicBezTo>
                <a:cubicBezTo>
                  <a:pt x="916329" y="2833114"/>
                  <a:pt x="919391" y="2835243"/>
                  <a:pt x="921920" y="2837906"/>
                </a:cubicBezTo>
                <a:cubicBezTo>
                  <a:pt x="924582" y="2840568"/>
                  <a:pt x="926579" y="2843764"/>
                  <a:pt x="928042" y="2847357"/>
                </a:cubicBezTo>
                <a:cubicBezTo>
                  <a:pt x="929507" y="2850952"/>
                  <a:pt x="930305" y="2854678"/>
                  <a:pt x="930305" y="2858806"/>
                </a:cubicBezTo>
                <a:cubicBezTo>
                  <a:pt x="930305" y="2862933"/>
                  <a:pt x="929507" y="2866926"/>
                  <a:pt x="928042" y="2870520"/>
                </a:cubicBezTo>
                <a:cubicBezTo>
                  <a:pt x="926579" y="2874114"/>
                  <a:pt x="924449" y="2877176"/>
                  <a:pt x="921920" y="2879838"/>
                </a:cubicBezTo>
                <a:cubicBezTo>
                  <a:pt x="919391" y="2882501"/>
                  <a:pt x="916195" y="2884631"/>
                  <a:pt x="912601" y="2886095"/>
                </a:cubicBezTo>
                <a:cubicBezTo>
                  <a:pt x="909007" y="2887559"/>
                  <a:pt x="905146" y="2888359"/>
                  <a:pt x="900886" y="2888359"/>
                </a:cubicBezTo>
                <a:cubicBezTo>
                  <a:pt x="891968" y="2888359"/>
                  <a:pt x="884646" y="2885429"/>
                  <a:pt x="879056" y="2879838"/>
                </a:cubicBezTo>
                <a:cubicBezTo>
                  <a:pt x="873466" y="2874247"/>
                  <a:pt x="870670" y="2867192"/>
                  <a:pt x="870670" y="2858673"/>
                </a:cubicBezTo>
                <a:cubicBezTo>
                  <a:pt x="870670" y="2850420"/>
                  <a:pt x="873466" y="2843363"/>
                  <a:pt x="879056" y="2837640"/>
                </a:cubicBezTo>
                <a:cubicBezTo>
                  <a:pt x="884646" y="2831916"/>
                  <a:pt x="891835" y="2828988"/>
                  <a:pt x="900886" y="2828988"/>
                </a:cubicBezTo>
                <a:close/>
                <a:moveTo>
                  <a:pt x="683244" y="2828988"/>
                </a:moveTo>
                <a:cubicBezTo>
                  <a:pt x="687504" y="2828988"/>
                  <a:pt x="691365" y="2829786"/>
                  <a:pt x="694959" y="2831516"/>
                </a:cubicBezTo>
                <a:cubicBezTo>
                  <a:pt x="698686" y="2833114"/>
                  <a:pt x="701748" y="2835243"/>
                  <a:pt x="704277" y="2837906"/>
                </a:cubicBezTo>
                <a:cubicBezTo>
                  <a:pt x="706939" y="2840568"/>
                  <a:pt x="708936" y="2843764"/>
                  <a:pt x="710400" y="2847357"/>
                </a:cubicBezTo>
                <a:cubicBezTo>
                  <a:pt x="711864" y="2850952"/>
                  <a:pt x="712663" y="2854678"/>
                  <a:pt x="712663" y="2858806"/>
                </a:cubicBezTo>
                <a:cubicBezTo>
                  <a:pt x="712663" y="2862933"/>
                  <a:pt x="711864" y="2866926"/>
                  <a:pt x="710400" y="2870520"/>
                </a:cubicBezTo>
                <a:cubicBezTo>
                  <a:pt x="708936" y="2874114"/>
                  <a:pt x="706806" y="2877176"/>
                  <a:pt x="704277" y="2879838"/>
                </a:cubicBezTo>
                <a:cubicBezTo>
                  <a:pt x="701748" y="2882501"/>
                  <a:pt x="698553" y="2884631"/>
                  <a:pt x="694959" y="2886095"/>
                </a:cubicBezTo>
                <a:cubicBezTo>
                  <a:pt x="691365" y="2887559"/>
                  <a:pt x="687504" y="2888359"/>
                  <a:pt x="683244" y="2888359"/>
                </a:cubicBezTo>
                <a:cubicBezTo>
                  <a:pt x="674326" y="2888359"/>
                  <a:pt x="667004" y="2885429"/>
                  <a:pt x="661413" y="2879838"/>
                </a:cubicBezTo>
                <a:cubicBezTo>
                  <a:pt x="655822" y="2874247"/>
                  <a:pt x="653027" y="2867192"/>
                  <a:pt x="653027" y="2858673"/>
                </a:cubicBezTo>
                <a:cubicBezTo>
                  <a:pt x="653027" y="2850420"/>
                  <a:pt x="655822" y="2843363"/>
                  <a:pt x="661413" y="2837640"/>
                </a:cubicBezTo>
                <a:cubicBezTo>
                  <a:pt x="667004" y="2831916"/>
                  <a:pt x="674193" y="2828988"/>
                  <a:pt x="683244" y="2828988"/>
                </a:cubicBezTo>
                <a:close/>
                <a:moveTo>
                  <a:pt x="465601" y="2828988"/>
                </a:moveTo>
                <a:cubicBezTo>
                  <a:pt x="469861" y="2828988"/>
                  <a:pt x="473721" y="2829786"/>
                  <a:pt x="477316" y="2831516"/>
                </a:cubicBezTo>
                <a:cubicBezTo>
                  <a:pt x="481043" y="2833114"/>
                  <a:pt x="484105" y="2835243"/>
                  <a:pt x="486634" y="2837906"/>
                </a:cubicBezTo>
                <a:cubicBezTo>
                  <a:pt x="489296" y="2840568"/>
                  <a:pt x="491293" y="2843764"/>
                  <a:pt x="492757" y="2847357"/>
                </a:cubicBezTo>
                <a:cubicBezTo>
                  <a:pt x="494221" y="2850952"/>
                  <a:pt x="495020" y="2854678"/>
                  <a:pt x="495020" y="2858806"/>
                </a:cubicBezTo>
                <a:cubicBezTo>
                  <a:pt x="495020" y="2862933"/>
                  <a:pt x="494221" y="2866926"/>
                  <a:pt x="492757" y="2870520"/>
                </a:cubicBezTo>
                <a:cubicBezTo>
                  <a:pt x="491293" y="2874114"/>
                  <a:pt x="489163" y="2877176"/>
                  <a:pt x="486634" y="2879838"/>
                </a:cubicBezTo>
                <a:cubicBezTo>
                  <a:pt x="483971" y="2882501"/>
                  <a:pt x="480910" y="2884631"/>
                  <a:pt x="477316" y="2886095"/>
                </a:cubicBezTo>
                <a:cubicBezTo>
                  <a:pt x="473721" y="2887559"/>
                  <a:pt x="469861" y="2888359"/>
                  <a:pt x="465601" y="2888359"/>
                </a:cubicBezTo>
                <a:cubicBezTo>
                  <a:pt x="456683" y="2888359"/>
                  <a:pt x="449361" y="2885429"/>
                  <a:pt x="443770" y="2879838"/>
                </a:cubicBezTo>
                <a:cubicBezTo>
                  <a:pt x="438179" y="2874247"/>
                  <a:pt x="435384" y="2867192"/>
                  <a:pt x="435384" y="2858673"/>
                </a:cubicBezTo>
                <a:cubicBezTo>
                  <a:pt x="435384" y="2850420"/>
                  <a:pt x="438179" y="2843363"/>
                  <a:pt x="443770" y="2837640"/>
                </a:cubicBezTo>
                <a:cubicBezTo>
                  <a:pt x="449361" y="2831916"/>
                  <a:pt x="456550" y="2828988"/>
                  <a:pt x="465601" y="2828988"/>
                </a:cubicBezTo>
                <a:close/>
                <a:moveTo>
                  <a:pt x="247958" y="2828988"/>
                </a:moveTo>
                <a:cubicBezTo>
                  <a:pt x="252218" y="2828988"/>
                  <a:pt x="256212" y="2829786"/>
                  <a:pt x="259673" y="2831516"/>
                </a:cubicBezTo>
                <a:cubicBezTo>
                  <a:pt x="263400" y="2833114"/>
                  <a:pt x="266462" y="2835243"/>
                  <a:pt x="268991" y="2837906"/>
                </a:cubicBezTo>
                <a:cubicBezTo>
                  <a:pt x="271653" y="2840568"/>
                  <a:pt x="273650" y="2843764"/>
                  <a:pt x="275114" y="2847357"/>
                </a:cubicBezTo>
                <a:cubicBezTo>
                  <a:pt x="276578" y="2850952"/>
                  <a:pt x="277377" y="2854678"/>
                  <a:pt x="277377" y="2858806"/>
                </a:cubicBezTo>
                <a:cubicBezTo>
                  <a:pt x="277377" y="2862933"/>
                  <a:pt x="276578" y="2866926"/>
                  <a:pt x="275114" y="2870520"/>
                </a:cubicBezTo>
                <a:cubicBezTo>
                  <a:pt x="273650" y="2874114"/>
                  <a:pt x="271520" y="2877176"/>
                  <a:pt x="268991" y="2879838"/>
                </a:cubicBezTo>
                <a:cubicBezTo>
                  <a:pt x="266328" y="2882501"/>
                  <a:pt x="263267" y="2884631"/>
                  <a:pt x="259673" y="2886095"/>
                </a:cubicBezTo>
                <a:cubicBezTo>
                  <a:pt x="256078" y="2887559"/>
                  <a:pt x="252218" y="2888359"/>
                  <a:pt x="247958" y="2888359"/>
                </a:cubicBezTo>
                <a:cubicBezTo>
                  <a:pt x="239040" y="2888359"/>
                  <a:pt x="231718" y="2885429"/>
                  <a:pt x="226127" y="2879838"/>
                </a:cubicBezTo>
                <a:cubicBezTo>
                  <a:pt x="220537" y="2874247"/>
                  <a:pt x="217742" y="2867192"/>
                  <a:pt x="217742" y="2858673"/>
                </a:cubicBezTo>
                <a:cubicBezTo>
                  <a:pt x="217742" y="2850420"/>
                  <a:pt x="220537" y="2843363"/>
                  <a:pt x="226127" y="2837640"/>
                </a:cubicBezTo>
                <a:cubicBezTo>
                  <a:pt x="231718" y="2831916"/>
                  <a:pt x="238906" y="2828988"/>
                  <a:pt x="247958" y="2828988"/>
                </a:cubicBezTo>
                <a:close/>
                <a:moveTo>
                  <a:pt x="30315" y="2828988"/>
                </a:moveTo>
                <a:cubicBezTo>
                  <a:pt x="34575" y="2828988"/>
                  <a:pt x="38569" y="2829786"/>
                  <a:pt x="42030" y="2831516"/>
                </a:cubicBezTo>
                <a:cubicBezTo>
                  <a:pt x="45757" y="2833114"/>
                  <a:pt x="48819" y="2835243"/>
                  <a:pt x="51348" y="2837906"/>
                </a:cubicBezTo>
                <a:cubicBezTo>
                  <a:pt x="54010" y="2840568"/>
                  <a:pt x="56007" y="2843764"/>
                  <a:pt x="57471" y="2847357"/>
                </a:cubicBezTo>
                <a:cubicBezTo>
                  <a:pt x="58935" y="2850952"/>
                  <a:pt x="59734" y="2854678"/>
                  <a:pt x="59734" y="2858806"/>
                </a:cubicBezTo>
                <a:cubicBezTo>
                  <a:pt x="59734" y="2862933"/>
                  <a:pt x="58935" y="2866926"/>
                  <a:pt x="57471" y="2870520"/>
                </a:cubicBezTo>
                <a:cubicBezTo>
                  <a:pt x="56007" y="2874114"/>
                  <a:pt x="53877" y="2877176"/>
                  <a:pt x="51348" y="2879838"/>
                </a:cubicBezTo>
                <a:cubicBezTo>
                  <a:pt x="48685" y="2882501"/>
                  <a:pt x="45624" y="2884631"/>
                  <a:pt x="42030" y="2886095"/>
                </a:cubicBezTo>
                <a:cubicBezTo>
                  <a:pt x="38436" y="2887559"/>
                  <a:pt x="34575" y="2888359"/>
                  <a:pt x="30315" y="2888359"/>
                </a:cubicBezTo>
                <a:cubicBezTo>
                  <a:pt x="21397" y="2888359"/>
                  <a:pt x="14076" y="2885429"/>
                  <a:pt x="8485" y="2879838"/>
                </a:cubicBezTo>
                <a:cubicBezTo>
                  <a:pt x="2894" y="2874247"/>
                  <a:pt x="99" y="2867192"/>
                  <a:pt x="99" y="2858673"/>
                </a:cubicBezTo>
                <a:cubicBezTo>
                  <a:pt x="99" y="2850420"/>
                  <a:pt x="2894" y="2843363"/>
                  <a:pt x="8485" y="2837640"/>
                </a:cubicBezTo>
                <a:cubicBezTo>
                  <a:pt x="14076" y="2831916"/>
                  <a:pt x="21263" y="2828988"/>
                  <a:pt x="30315" y="2828988"/>
                </a:cubicBezTo>
                <a:close/>
                <a:moveTo>
                  <a:pt x="10475977" y="2628116"/>
                </a:moveTo>
                <a:cubicBezTo>
                  <a:pt x="10470119" y="2628116"/>
                  <a:pt x="10467589" y="2630111"/>
                  <a:pt x="10465992" y="2631711"/>
                </a:cubicBezTo>
                <a:cubicBezTo>
                  <a:pt x="10463463" y="2634372"/>
                  <a:pt x="10462399" y="2637168"/>
                  <a:pt x="10462399" y="2641161"/>
                </a:cubicBezTo>
                <a:cubicBezTo>
                  <a:pt x="10462399" y="2645288"/>
                  <a:pt x="10463463" y="2648084"/>
                  <a:pt x="10465992" y="2650612"/>
                </a:cubicBezTo>
                <a:cubicBezTo>
                  <a:pt x="10467589" y="2652210"/>
                  <a:pt x="10470119" y="2654073"/>
                  <a:pt x="10475977" y="2654073"/>
                </a:cubicBezTo>
                <a:cubicBezTo>
                  <a:pt x="10478107" y="2654073"/>
                  <a:pt x="10479838" y="2653808"/>
                  <a:pt x="10481302" y="2653141"/>
                </a:cubicBezTo>
                <a:cubicBezTo>
                  <a:pt x="10482899" y="2652609"/>
                  <a:pt x="10484098" y="2651810"/>
                  <a:pt x="10485029" y="2650745"/>
                </a:cubicBezTo>
                <a:cubicBezTo>
                  <a:pt x="10486094" y="2649547"/>
                  <a:pt x="10487026" y="2648216"/>
                  <a:pt x="10487691" y="2646486"/>
                </a:cubicBezTo>
                <a:cubicBezTo>
                  <a:pt x="10488357" y="2644889"/>
                  <a:pt x="10488623" y="2643025"/>
                  <a:pt x="10488623" y="2641028"/>
                </a:cubicBezTo>
                <a:cubicBezTo>
                  <a:pt x="10488623" y="2639164"/>
                  <a:pt x="10488357" y="2637434"/>
                  <a:pt x="10487691" y="2635836"/>
                </a:cubicBezTo>
                <a:cubicBezTo>
                  <a:pt x="10487026" y="2634238"/>
                  <a:pt x="10486094" y="2632908"/>
                  <a:pt x="10485029" y="2631711"/>
                </a:cubicBezTo>
                <a:cubicBezTo>
                  <a:pt x="10483964" y="2630645"/>
                  <a:pt x="10482633" y="2629712"/>
                  <a:pt x="10481035" y="2629047"/>
                </a:cubicBezTo>
                <a:cubicBezTo>
                  <a:pt x="10479571" y="2628382"/>
                  <a:pt x="10477974" y="2628116"/>
                  <a:pt x="10475977" y="2628116"/>
                </a:cubicBezTo>
                <a:close/>
                <a:moveTo>
                  <a:pt x="10258466" y="2628116"/>
                </a:moveTo>
                <a:cubicBezTo>
                  <a:pt x="10252608" y="2628116"/>
                  <a:pt x="10250078" y="2630111"/>
                  <a:pt x="10248481" y="2631711"/>
                </a:cubicBezTo>
                <a:cubicBezTo>
                  <a:pt x="10245952" y="2634372"/>
                  <a:pt x="10244887" y="2637168"/>
                  <a:pt x="10244887" y="2641161"/>
                </a:cubicBezTo>
                <a:cubicBezTo>
                  <a:pt x="10244887" y="2645288"/>
                  <a:pt x="10245952" y="2648084"/>
                  <a:pt x="10248481" y="2650612"/>
                </a:cubicBezTo>
                <a:cubicBezTo>
                  <a:pt x="10250078" y="2652210"/>
                  <a:pt x="10252608" y="2654073"/>
                  <a:pt x="10258466" y="2654073"/>
                </a:cubicBezTo>
                <a:cubicBezTo>
                  <a:pt x="10260462" y="2654073"/>
                  <a:pt x="10262192" y="2653808"/>
                  <a:pt x="10263790" y="2653141"/>
                </a:cubicBezTo>
                <a:cubicBezTo>
                  <a:pt x="10265388" y="2652609"/>
                  <a:pt x="10266586" y="2651810"/>
                  <a:pt x="10267517" y="2650745"/>
                </a:cubicBezTo>
                <a:cubicBezTo>
                  <a:pt x="10268583" y="2649547"/>
                  <a:pt x="10269515" y="2648216"/>
                  <a:pt x="10270180" y="2646486"/>
                </a:cubicBezTo>
                <a:cubicBezTo>
                  <a:pt x="10270845" y="2644889"/>
                  <a:pt x="10271112" y="2643025"/>
                  <a:pt x="10271112" y="2641028"/>
                </a:cubicBezTo>
                <a:cubicBezTo>
                  <a:pt x="10271112" y="2639164"/>
                  <a:pt x="10270845" y="2637434"/>
                  <a:pt x="10270180" y="2635836"/>
                </a:cubicBezTo>
                <a:cubicBezTo>
                  <a:pt x="10269515" y="2634238"/>
                  <a:pt x="10268583" y="2632908"/>
                  <a:pt x="10267517" y="2631711"/>
                </a:cubicBezTo>
                <a:cubicBezTo>
                  <a:pt x="10266452" y="2630645"/>
                  <a:pt x="10265121" y="2629712"/>
                  <a:pt x="10263524" y="2629047"/>
                </a:cubicBezTo>
                <a:cubicBezTo>
                  <a:pt x="10262060" y="2628382"/>
                  <a:pt x="10260462" y="2628116"/>
                  <a:pt x="10258466" y="2628116"/>
                </a:cubicBezTo>
                <a:close/>
                <a:moveTo>
                  <a:pt x="10040820" y="2628116"/>
                </a:moveTo>
                <a:cubicBezTo>
                  <a:pt x="10034962" y="2628116"/>
                  <a:pt x="10032433" y="2630111"/>
                  <a:pt x="10030835" y="2631711"/>
                </a:cubicBezTo>
                <a:cubicBezTo>
                  <a:pt x="10028306" y="2634372"/>
                  <a:pt x="10027242" y="2637168"/>
                  <a:pt x="10027242" y="2641161"/>
                </a:cubicBezTo>
                <a:cubicBezTo>
                  <a:pt x="10027242" y="2645288"/>
                  <a:pt x="10028306" y="2648084"/>
                  <a:pt x="10030835" y="2650612"/>
                </a:cubicBezTo>
                <a:cubicBezTo>
                  <a:pt x="10032433" y="2652210"/>
                  <a:pt x="10034962" y="2654073"/>
                  <a:pt x="10040820" y="2654073"/>
                </a:cubicBezTo>
                <a:cubicBezTo>
                  <a:pt x="10042817" y="2654073"/>
                  <a:pt x="10044681" y="2653808"/>
                  <a:pt x="10046145" y="2653141"/>
                </a:cubicBezTo>
                <a:cubicBezTo>
                  <a:pt x="10047742" y="2652609"/>
                  <a:pt x="10048941" y="2651810"/>
                  <a:pt x="10049872" y="2650745"/>
                </a:cubicBezTo>
                <a:cubicBezTo>
                  <a:pt x="10050937" y="2649547"/>
                  <a:pt x="10051869" y="2648216"/>
                  <a:pt x="10052534" y="2646486"/>
                </a:cubicBezTo>
                <a:cubicBezTo>
                  <a:pt x="10053333" y="2644889"/>
                  <a:pt x="10053599" y="2643025"/>
                  <a:pt x="10053599" y="2641028"/>
                </a:cubicBezTo>
                <a:cubicBezTo>
                  <a:pt x="10053599" y="2639164"/>
                  <a:pt x="10053200" y="2637434"/>
                  <a:pt x="10052534" y="2635836"/>
                </a:cubicBezTo>
                <a:cubicBezTo>
                  <a:pt x="10051869" y="2634238"/>
                  <a:pt x="10050937" y="2632908"/>
                  <a:pt x="10049872" y="2631711"/>
                </a:cubicBezTo>
                <a:cubicBezTo>
                  <a:pt x="10048807" y="2630645"/>
                  <a:pt x="10047476" y="2629712"/>
                  <a:pt x="10045878" y="2629047"/>
                </a:cubicBezTo>
                <a:cubicBezTo>
                  <a:pt x="10044414" y="2628382"/>
                  <a:pt x="10042817" y="2628116"/>
                  <a:pt x="10040820" y="2628116"/>
                </a:cubicBezTo>
                <a:close/>
                <a:moveTo>
                  <a:pt x="9823176" y="2628116"/>
                </a:moveTo>
                <a:cubicBezTo>
                  <a:pt x="9817318" y="2628116"/>
                  <a:pt x="9814788" y="2630111"/>
                  <a:pt x="9813191" y="2631711"/>
                </a:cubicBezTo>
                <a:cubicBezTo>
                  <a:pt x="9810662" y="2634372"/>
                  <a:pt x="9809597" y="2637168"/>
                  <a:pt x="9809597" y="2641161"/>
                </a:cubicBezTo>
                <a:cubicBezTo>
                  <a:pt x="9809597" y="2645288"/>
                  <a:pt x="9810662" y="2648084"/>
                  <a:pt x="9813191" y="2650612"/>
                </a:cubicBezTo>
                <a:cubicBezTo>
                  <a:pt x="9814788" y="2652210"/>
                  <a:pt x="9817318" y="2654073"/>
                  <a:pt x="9823176" y="2654073"/>
                </a:cubicBezTo>
                <a:cubicBezTo>
                  <a:pt x="9825173" y="2654073"/>
                  <a:pt x="9827036" y="2653808"/>
                  <a:pt x="9828501" y="2653141"/>
                </a:cubicBezTo>
                <a:cubicBezTo>
                  <a:pt x="9830098" y="2652609"/>
                  <a:pt x="9831296" y="2651810"/>
                  <a:pt x="9832227" y="2650745"/>
                </a:cubicBezTo>
                <a:cubicBezTo>
                  <a:pt x="9833293" y="2649547"/>
                  <a:pt x="9834225" y="2648216"/>
                  <a:pt x="9834890" y="2646486"/>
                </a:cubicBezTo>
                <a:cubicBezTo>
                  <a:pt x="9835689" y="2644889"/>
                  <a:pt x="9835955" y="2643025"/>
                  <a:pt x="9835955" y="2641028"/>
                </a:cubicBezTo>
                <a:cubicBezTo>
                  <a:pt x="9835955" y="2639164"/>
                  <a:pt x="9835555" y="2637434"/>
                  <a:pt x="9834890" y="2635836"/>
                </a:cubicBezTo>
                <a:cubicBezTo>
                  <a:pt x="9834225" y="2634238"/>
                  <a:pt x="9833293" y="2632908"/>
                  <a:pt x="9832227" y="2631711"/>
                </a:cubicBezTo>
                <a:cubicBezTo>
                  <a:pt x="9831162" y="2630645"/>
                  <a:pt x="9829831" y="2629712"/>
                  <a:pt x="9828234" y="2629047"/>
                </a:cubicBezTo>
                <a:cubicBezTo>
                  <a:pt x="9826770" y="2628382"/>
                  <a:pt x="9825173" y="2628116"/>
                  <a:pt x="9823176" y="2628116"/>
                </a:cubicBezTo>
                <a:close/>
                <a:moveTo>
                  <a:pt x="9605531" y="2628116"/>
                </a:moveTo>
                <a:cubicBezTo>
                  <a:pt x="9599673" y="2628116"/>
                  <a:pt x="9597143" y="2630111"/>
                  <a:pt x="9595546" y="2631711"/>
                </a:cubicBezTo>
                <a:cubicBezTo>
                  <a:pt x="9593017" y="2634372"/>
                  <a:pt x="9591952" y="2637168"/>
                  <a:pt x="9591952" y="2641161"/>
                </a:cubicBezTo>
                <a:cubicBezTo>
                  <a:pt x="9591952" y="2645288"/>
                  <a:pt x="9593017" y="2648084"/>
                  <a:pt x="9595546" y="2650612"/>
                </a:cubicBezTo>
                <a:cubicBezTo>
                  <a:pt x="9597143" y="2652210"/>
                  <a:pt x="9599673" y="2654073"/>
                  <a:pt x="9605531" y="2654073"/>
                </a:cubicBezTo>
                <a:cubicBezTo>
                  <a:pt x="9607660" y="2654073"/>
                  <a:pt x="9609391" y="2653808"/>
                  <a:pt x="9610855" y="2653141"/>
                </a:cubicBezTo>
                <a:cubicBezTo>
                  <a:pt x="9612319" y="2652609"/>
                  <a:pt x="9613651" y="2651810"/>
                  <a:pt x="9614582" y="2650745"/>
                </a:cubicBezTo>
                <a:cubicBezTo>
                  <a:pt x="9615647" y="2649547"/>
                  <a:pt x="9616579" y="2648216"/>
                  <a:pt x="9617245" y="2646486"/>
                </a:cubicBezTo>
                <a:cubicBezTo>
                  <a:pt x="9618044" y="2644889"/>
                  <a:pt x="9618309" y="2643025"/>
                  <a:pt x="9618309" y="2641028"/>
                </a:cubicBezTo>
                <a:cubicBezTo>
                  <a:pt x="9618309" y="2639164"/>
                  <a:pt x="9617910" y="2637434"/>
                  <a:pt x="9617245" y="2635836"/>
                </a:cubicBezTo>
                <a:cubicBezTo>
                  <a:pt x="9616579" y="2634238"/>
                  <a:pt x="9615647" y="2632908"/>
                  <a:pt x="9614582" y="2631711"/>
                </a:cubicBezTo>
                <a:cubicBezTo>
                  <a:pt x="9613517" y="2630645"/>
                  <a:pt x="9612186" y="2629712"/>
                  <a:pt x="9610589" y="2629047"/>
                </a:cubicBezTo>
                <a:cubicBezTo>
                  <a:pt x="9609124" y="2628382"/>
                  <a:pt x="9607394" y="2628116"/>
                  <a:pt x="9605531" y="2628116"/>
                </a:cubicBezTo>
                <a:close/>
                <a:moveTo>
                  <a:pt x="9387885" y="2628116"/>
                </a:moveTo>
                <a:cubicBezTo>
                  <a:pt x="9382027" y="2628116"/>
                  <a:pt x="9379497" y="2630111"/>
                  <a:pt x="9377900" y="2631711"/>
                </a:cubicBezTo>
                <a:cubicBezTo>
                  <a:pt x="9375371" y="2634372"/>
                  <a:pt x="9374307" y="2637168"/>
                  <a:pt x="9374307" y="2641161"/>
                </a:cubicBezTo>
                <a:cubicBezTo>
                  <a:pt x="9374307" y="2645288"/>
                  <a:pt x="9375371" y="2648084"/>
                  <a:pt x="9377900" y="2650612"/>
                </a:cubicBezTo>
                <a:cubicBezTo>
                  <a:pt x="9379497" y="2652210"/>
                  <a:pt x="9382027" y="2654073"/>
                  <a:pt x="9387885" y="2654073"/>
                </a:cubicBezTo>
                <a:cubicBezTo>
                  <a:pt x="9390015" y="2654073"/>
                  <a:pt x="9391746" y="2653808"/>
                  <a:pt x="9393210" y="2653141"/>
                </a:cubicBezTo>
                <a:cubicBezTo>
                  <a:pt x="9394674" y="2652609"/>
                  <a:pt x="9396005" y="2651810"/>
                  <a:pt x="9396937" y="2650745"/>
                </a:cubicBezTo>
                <a:cubicBezTo>
                  <a:pt x="9398002" y="2649547"/>
                  <a:pt x="9398934" y="2648216"/>
                  <a:pt x="9399599" y="2646486"/>
                </a:cubicBezTo>
                <a:cubicBezTo>
                  <a:pt x="9400398" y="2644889"/>
                  <a:pt x="9400664" y="2643025"/>
                  <a:pt x="9400664" y="2641028"/>
                </a:cubicBezTo>
                <a:cubicBezTo>
                  <a:pt x="9400664" y="2639164"/>
                  <a:pt x="9400265" y="2637434"/>
                  <a:pt x="9399599" y="2635836"/>
                </a:cubicBezTo>
                <a:cubicBezTo>
                  <a:pt x="9398934" y="2634238"/>
                  <a:pt x="9398002" y="2632908"/>
                  <a:pt x="9396937" y="2631711"/>
                </a:cubicBezTo>
                <a:cubicBezTo>
                  <a:pt x="9395872" y="2630645"/>
                  <a:pt x="9394541" y="2629712"/>
                  <a:pt x="9392943" y="2629047"/>
                </a:cubicBezTo>
                <a:cubicBezTo>
                  <a:pt x="9391479" y="2628382"/>
                  <a:pt x="9389749" y="2628116"/>
                  <a:pt x="9387885" y="2628116"/>
                </a:cubicBezTo>
                <a:close/>
                <a:moveTo>
                  <a:pt x="9170374" y="2628116"/>
                </a:moveTo>
                <a:cubicBezTo>
                  <a:pt x="9164649" y="2628116"/>
                  <a:pt x="9161986" y="2630111"/>
                  <a:pt x="9160389" y="2631711"/>
                </a:cubicBezTo>
                <a:cubicBezTo>
                  <a:pt x="9157860" y="2634372"/>
                  <a:pt x="9156795" y="2637168"/>
                  <a:pt x="9156795" y="2641161"/>
                </a:cubicBezTo>
                <a:cubicBezTo>
                  <a:pt x="9156795" y="2645288"/>
                  <a:pt x="9157860" y="2648084"/>
                  <a:pt x="9160389" y="2650612"/>
                </a:cubicBezTo>
                <a:cubicBezTo>
                  <a:pt x="9161986" y="2652210"/>
                  <a:pt x="9164516" y="2654073"/>
                  <a:pt x="9170374" y="2654073"/>
                </a:cubicBezTo>
                <a:cubicBezTo>
                  <a:pt x="9172370" y="2654073"/>
                  <a:pt x="9174100" y="2653808"/>
                  <a:pt x="9175698" y="2653141"/>
                </a:cubicBezTo>
                <a:cubicBezTo>
                  <a:pt x="9177163" y="2652609"/>
                  <a:pt x="9178494" y="2651810"/>
                  <a:pt x="9179425" y="2650745"/>
                </a:cubicBezTo>
                <a:cubicBezTo>
                  <a:pt x="9180491" y="2649547"/>
                  <a:pt x="9181422" y="2648216"/>
                  <a:pt x="9182088" y="2646486"/>
                </a:cubicBezTo>
                <a:cubicBezTo>
                  <a:pt x="9182887" y="2644889"/>
                  <a:pt x="9183152" y="2643025"/>
                  <a:pt x="9183152" y="2641028"/>
                </a:cubicBezTo>
                <a:cubicBezTo>
                  <a:pt x="9183152" y="2639164"/>
                  <a:pt x="9182753" y="2637434"/>
                  <a:pt x="9182088" y="2635836"/>
                </a:cubicBezTo>
                <a:cubicBezTo>
                  <a:pt x="9181422" y="2634238"/>
                  <a:pt x="9180491" y="2632908"/>
                  <a:pt x="9179425" y="2631711"/>
                </a:cubicBezTo>
                <a:cubicBezTo>
                  <a:pt x="9178360" y="2630645"/>
                  <a:pt x="9177029" y="2629712"/>
                  <a:pt x="9175432" y="2629047"/>
                </a:cubicBezTo>
                <a:cubicBezTo>
                  <a:pt x="9173967" y="2628382"/>
                  <a:pt x="9172237" y="2628116"/>
                  <a:pt x="9170374" y="2628116"/>
                </a:cubicBezTo>
                <a:close/>
                <a:moveTo>
                  <a:pt x="8952728" y="2628116"/>
                </a:moveTo>
                <a:cubicBezTo>
                  <a:pt x="8947003" y="2628116"/>
                  <a:pt x="8944340" y="2630111"/>
                  <a:pt x="8942743" y="2631711"/>
                </a:cubicBezTo>
                <a:cubicBezTo>
                  <a:pt x="8940214" y="2634372"/>
                  <a:pt x="8939150" y="2637168"/>
                  <a:pt x="8939150" y="2641161"/>
                </a:cubicBezTo>
                <a:cubicBezTo>
                  <a:pt x="8939150" y="2645288"/>
                  <a:pt x="8940214" y="2648084"/>
                  <a:pt x="8942743" y="2650612"/>
                </a:cubicBezTo>
                <a:cubicBezTo>
                  <a:pt x="8944340" y="2652210"/>
                  <a:pt x="8946870" y="2654073"/>
                  <a:pt x="8952728" y="2654073"/>
                </a:cubicBezTo>
                <a:cubicBezTo>
                  <a:pt x="8954725" y="2654073"/>
                  <a:pt x="8956589" y="2653808"/>
                  <a:pt x="8958053" y="2653141"/>
                </a:cubicBezTo>
                <a:cubicBezTo>
                  <a:pt x="8959517" y="2652609"/>
                  <a:pt x="8960849" y="2651810"/>
                  <a:pt x="8961780" y="2650745"/>
                </a:cubicBezTo>
                <a:cubicBezTo>
                  <a:pt x="8962845" y="2649547"/>
                  <a:pt x="8963777" y="2648216"/>
                  <a:pt x="8964442" y="2646486"/>
                </a:cubicBezTo>
                <a:cubicBezTo>
                  <a:pt x="8965241" y="2644889"/>
                  <a:pt x="8965507" y="2643025"/>
                  <a:pt x="8965507" y="2641028"/>
                </a:cubicBezTo>
                <a:cubicBezTo>
                  <a:pt x="8965507" y="2639164"/>
                  <a:pt x="8965108" y="2637434"/>
                  <a:pt x="8964442" y="2635836"/>
                </a:cubicBezTo>
                <a:cubicBezTo>
                  <a:pt x="8963777" y="2634238"/>
                  <a:pt x="8962845" y="2632908"/>
                  <a:pt x="8961780" y="2631711"/>
                </a:cubicBezTo>
                <a:cubicBezTo>
                  <a:pt x="8960715" y="2630645"/>
                  <a:pt x="8959384" y="2629712"/>
                  <a:pt x="8957786" y="2629047"/>
                </a:cubicBezTo>
                <a:cubicBezTo>
                  <a:pt x="8956322" y="2628382"/>
                  <a:pt x="8954592" y="2628116"/>
                  <a:pt x="8952728" y="2628116"/>
                </a:cubicBezTo>
                <a:close/>
                <a:moveTo>
                  <a:pt x="8735083" y="2628116"/>
                </a:moveTo>
                <a:cubicBezTo>
                  <a:pt x="8729358" y="2628116"/>
                  <a:pt x="8726695" y="2630111"/>
                  <a:pt x="8725098" y="2631711"/>
                </a:cubicBezTo>
                <a:cubicBezTo>
                  <a:pt x="8722569" y="2634372"/>
                  <a:pt x="8721504" y="2637168"/>
                  <a:pt x="8721504" y="2641161"/>
                </a:cubicBezTo>
                <a:cubicBezTo>
                  <a:pt x="8721504" y="2645288"/>
                  <a:pt x="8722569" y="2648084"/>
                  <a:pt x="8725098" y="2650612"/>
                </a:cubicBezTo>
                <a:cubicBezTo>
                  <a:pt x="8726695" y="2652210"/>
                  <a:pt x="8729225" y="2654073"/>
                  <a:pt x="8735083" y="2654073"/>
                </a:cubicBezTo>
                <a:cubicBezTo>
                  <a:pt x="8737079" y="2654073"/>
                  <a:pt x="8738943" y="2653808"/>
                  <a:pt x="8740407" y="2653141"/>
                </a:cubicBezTo>
                <a:cubicBezTo>
                  <a:pt x="8741872" y="2652609"/>
                  <a:pt x="8743203" y="2651810"/>
                  <a:pt x="8744134" y="2650745"/>
                </a:cubicBezTo>
                <a:cubicBezTo>
                  <a:pt x="8745200" y="2649547"/>
                  <a:pt x="8746132" y="2648216"/>
                  <a:pt x="8746797" y="2646486"/>
                </a:cubicBezTo>
                <a:cubicBezTo>
                  <a:pt x="8747596" y="2644889"/>
                  <a:pt x="8747862" y="2643025"/>
                  <a:pt x="8747862" y="2641028"/>
                </a:cubicBezTo>
                <a:cubicBezTo>
                  <a:pt x="8747862" y="2639164"/>
                  <a:pt x="8747462" y="2637434"/>
                  <a:pt x="8746797" y="2635836"/>
                </a:cubicBezTo>
                <a:cubicBezTo>
                  <a:pt x="8746132" y="2634238"/>
                  <a:pt x="8745200" y="2632908"/>
                  <a:pt x="8744134" y="2631711"/>
                </a:cubicBezTo>
                <a:cubicBezTo>
                  <a:pt x="8743069" y="2630645"/>
                  <a:pt x="8741738" y="2629712"/>
                  <a:pt x="8740141" y="2629047"/>
                </a:cubicBezTo>
                <a:cubicBezTo>
                  <a:pt x="8738677" y="2628382"/>
                  <a:pt x="8736946" y="2628116"/>
                  <a:pt x="8735083" y="2628116"/>
                </a:cubicBezTo>
                <a:close/>
                <a:moveTo>
                  <a:pt x="8517438" y="2628116"/>
                </a:moveTo>
                <a:cubicBezTo>
                  <a:pt x="8511713" y="2628116"/>
                  <a:pt x="8509051" y="2630111"/>
                  <a:pt x="8507453" y="2631711"/>
                </a:cubicBezTo>
                <a:cubicBezTo>
                  <a:pt x="8504925" y="2634372"/>
                  <a:pt x="8503860" y="2637168"/>
                  <a:pt x="8503860" y="2641161"/>
                </a:cubicBezTo>
                <a:cubicBezTo>
                  <a:pt x="8503860" y="2645288"/>
                  <a:pt x="8504925" y="2648084"/>
                  <a:pt x="8507453" y="2650612"/>
                </a:cubicBezTo>
                <a:cubicBezTo>
                  <a:pt x="8509051" y="2652210"/>
                  <a:pt x="8511581" y="2654073"/>
                  <a:pt x="8517438" y="2654073"/>
                </a:cubicBezTo>
                <a:cubicBezTo>
                  <a:pt x="8519568" y="2654073"/>
                  <a:pt x="8521299" y="2653808"/>
                  <a:pt x="8522763" y="2653141"/>
                </a:cubicBezTo>
                <a:cubicBezTo>
                  <a:pt x="8524227" y="2652609"/>
                  <a:pt x="8525559" y="2651810"/>
                  <a:pt x="8526490" y="2650745"/>
                </a:cubicBezTo>
                <a:cubicBezTo>
                  <a:pt x="8527555" y="2649547"/>
                  <a:pt x="8528487" y="2648216"/>
                  <a:pt x="8529152" y="2646486"/>
                </a:cubicBezTo>
                <a:cubicBezTo>
                  <a:pt x="8529818" y="2644889"/>
                  <a:pt x="8530084" y="2643025"/>
                  <a:pt x="8530084" y="2641028"/>
                </a:cubicBezTo>
                <a:cubicBezTo>
                  <a:pt x="8530084" y="2639164"/>
                  <a:pt x="8529818" y="2637434"/>
                  <a:pt x="8529152" y="2635836"/>
                </a:cubicBezTo>
                <a:cubicBezTo>
                  <a:pt x="8528487" y="2634238"/>
                  <a:pt x="8527555" y="2632908"/>
                  <a:pt x="8526490" y="2631711"/>
                </a:cubicBezTo>
                <a:cubicBezTo>
                  <a:pt x="8525425" y="2630645"/>
                  <a:pt x="8524094" y="2629712"/>
                  <a:pt x="8522496" y="2629047"/>
                </a:cubicBezTo>
                <a:cubicBezTo>
                  <a:pt x="8521032" y="2628382"/>
                  <a:pt x="8519302" y="2628116"/>
                  <a:pt x="8517438" y="2628116"/>
                </a:cubicBezTo>
                <a:close/>
                <a:moveTo>
                  <a:pt x="8299793" y="2628116"/>
                </a:moveTo>
                <a:cubicBezTo>
                  <a:pt x="8294068" y="2628116"/>
                  <a:pt x="8291406" y="2630111"/>
                  <a:pt x="8289809" y="2631711"/>
                </a:cubicBezTo>
                <a:cubicBezTo>
                  <a:pt x="8287280" y="2634372"/>
                  <a:pt x="8286215" y="2637168"/>
                  <a:pt x="8286215" y="2641161"/>
                </a:cubicBezTo>
                <a:cubicBezTo>
                  <a:pt x="8286215" y="2645288"/>
                  <a:pt x="8287280" y="2648084"/>
                  <a:pt x="8289809" y="2650612"/>
                </a:cubicBezTo>
                <a:cubicBezTo>
                  <a:pt x="8291406" y="2652210"/>
                  <a:pt x="8293935" y="2654073"/>
                  <a:pt x="8299793" y="2654073"/>
                </a:cubicBezTo>
                <a:cubicBezTo>
                  <a:pt x="8301923" y="2654073"/>
                  <a:pt x="8303653" y="2653808"/>
                  <a:pt x="8305118" y="2653141"/>
                </a:cubicBezTo>
                <a:cubicBezTo>
                  <a:pt x="8306582" y="2652609"/>
                  <a:pt x="8307913" y="2651810"/>
                  <a:pt x="8308844" y="2650745"/>
                </a:cubicBezTo>
                <a:cubicBezTo>
                  <a:pt x="8309910" y="2649547"/>
                  <a:pt x="8310842" y="2648216"/>
                  <a:pt x="8311507" y="2646486"/>
                </a:cubicBezTo>
                <a:cubicBezTo>
                  <a:pt x="8312172" y="2644889"/>
                  <a:pt x="8312439" y="2643025"/>
                  <a:pt x="8312439" y="2641028"/>
                </a:cubicBezTo>
                <a:cubicBezTo>
                  <a:pt x="8312439" y="2639164"/>
                  <a:pt x="8312172" y="2637434"/>
                  <a:pt x="8311507" y="2635836"/>
                </a:cubicBezTo>
                <a:cubicBezTo>
                  <a:pt x="8310842" y="2634238"/>
                  <a:pt x="8309910" y="2632908"/>
                  <a:pt x="8308844" y="2631711"/>
                </a:cubicBezTo>
                <a:cubicBezTo>
                  <a:pt x="8307779" y="2630645"/>
                  <a:pt x="8306448" y="2629712"/>
                  <a:pt x="8304851" y="2629047"/>
                </a:cubicBezTo>
                <a:cubicBezTo>
                  <a:pt x="8303387" y="2628382"/>
                  <a:pt x="8301790" y="2628116"/>
                  <a:pt x="8299793" y="2628116"/>
                </a:cubicBezTo>
                <a:close/>
                <a:moveTo>
                  <a:pt x="8082281" y="2628116"/>
                </a:moveTo>
                <a:cubicBezTo>
                  <a:pt x="8076424" y="2628116"/>
                  <a:pt x="8073894" y="2630111"/>
                  <a:pt x="8072297" y="2631711"/>
                </a:cubicBezTo>
                <a:cubicBezTo>
                  <a:pt x="8069768" y="2634372"/>
                  <a:pt x="8068703" y="2637168"/>
                  <a:pt x="8068703" y="2641161"/>
                </a:cubicBezTo>
                <a:cubicBezTo>
                  <a:pt x="8068703" y="2645288"/>
                  <a:pt x="8069768" y="2648084"/>
                  <a:pt x="8072297" y="2650612"/>
                </a:cubicBezTo>
                <a:cubicBezTo>
                  <a:pt x="8073894" y="2652210"/>
                  <a:pt x="8076424" y="2654073"/>
                  <a:pt x="8082281" y="2654073"/>
                </a:cubicBezTo>
                <a:cubicBezTo>
                  <a:pt x="8084277" y="2654073"/>
                  <a:pt x="8086007" y="2653808"/>
                  <a:pt x="8087605" y="2653141"/>
                </a:cubicBezTo>
                <a:cubicBezTo>
                  <a:pt x="8089069" y="2652609"/>
                  <a:pt x="8090401" y="2651810"/>
                  <a:pt x="8091332" y="2650745"/>
                </a:cubicBezTo>
                <a:cubicBezTo>
                  <a:pt x="8092397" y="2649547"/>
                  <a:pt x="8093329" y="2648216"/>
                  <a:pt x="8093994" y="2646486"/>
                </a:cubicBezTo>
                <a:cubicBezTo>
                  <a:pt x="8094660" y="2644889"/>
                  <a:pt x="8094926" y="2643025"/>
                  <a:pt x="8094926" y="2641028"/>
                </a:cubicBezTo>
                <a:cubicBezTo>
                  <a:pt x="8094926" y="2639164"/>
                  <a:pt x="8094660" y="2637434"/>
                  <a:pt x="8093994" y="2635836"/>
                </a:cubicBezTo>
                <a:cubicBezTo>
                  <a:pt x="8093329" y="2634238"/>
                  <a:pt x="8092397" y="2632908"/>
                  <a:pt x="8091332" y="2631711"/>
                </a:cubicBezTo>
                <a:cubicBezTo>
                  <a:pt x="8090267" y="2630645"/>
                  <a:pt x="8088936" y="2629712"/>
                  <a:pt x="8087338" y="2629047"/>
                </a:cubicBezTo>
                <a:cubicBezTo>
                  <a:pt x="8085874" y="2628382"/>
                  <a:pt x="8084277" y="2628116"/>
                  <a:pt x="8082281" y="2628116"/>
                </a:cubicBezTo>
                <a:close/>
                <a:moveTo>
                  <a:pt x="7864636" y="2628116"/>
                </a:moveTo>
                <a:cubicBezTo>
                  <a:pt x="7858779" y="2628116"/>
                  <a:pt x="7856249" y="2630111"/>
                  <a:pt x="7854652" y="2631711"/>
                </a:cubicBezTo>
                <a:cubicBezTo>
                  <a:pt x="7852123" y="2634372"/>
                  <a:pt x="7851058" y="2637168"/>
                  <a:pt x="7851058" y="2641161"/>
                </a:cubicBezTo>
                <a:cubicBezTo>
                  <a:pt x="7851058" y="2645288"/>
                  <a:pt x="7852123" y="2648084"/>
                  <a:pt x="7854652" y="2650612"/>
                </a:cubicBezTo>
                <a:cubicBezTo>
                  <a:pt x="7856249" y="2652210"/>
                  <a:pt x="7858779" y="2654073"/>
                  <a:pt x="7864636" y="2654073"/>
                </a:cubicBezTo>
                <a:cubicBezTo>
                  <a:pt x="7866633" y="2654073"/>
                  <a:pt x="7868363" y="2653808"/>
                  <a:pt x="7869961" y="2653141"/>
                </a:cubicBezTo>
                <a:cubicBezTo>
                  <a:pt x="7871425" y="2652609"/>
                  <a:pt x="7872756" y="2651810"/>
                  <a:pt x="7873687" y="2650745"/>
                </a:cubicBezTo>
                <a:cubicBezTo>
                  <a:pt x="7874753" y="2649547"/>
                  <a:pt x="7875685" y="2648216"/>
                  <a:pt x="7876350" y="2646486"/>
                </a:cubicBezTo>
                <a:cubicBezTo>
                  <a:pt x="7877015" y="2644889"/>
                  <a:pt x="7877282" y="2643025"/>
                  <a:pt x="7877282" y="2641028"/>
                </a:cubicBezTo>
                <a:cubicBezTo>
                  <a:pt x="7877282" y="2639164"/>
                  <a:pt x="7877015" y="2637434"/>
                  <a:pt x="7876350" y="2635836"/>
                </a:cubicBezTo>
                <a:cubicBezTo>
                  <a:pt x="7875685" y="2634238"/>
                  <a:pt x="7874753" y="2632908"/>
                  <a:pt x="7873687" y="2631711"/>
                </a:cubicBezTo>
                <a:cubicBezTo>
                  <a:pt x="7872623" y="2630645"/>
                  <a:pt x="7871291" y="2629712"/>
                  <a:pt x="7869694" y="2629047"/>
                </a:cubicBezTo>
                <a:cubicBezTo>
                  <a:pt x="7868230" y="2628382"/>
                  <a:pt x="7866633" y="2628116"/>
                  <a:pt x="7864636" y="2628116"/>
                </a:cubicBezTo>
                <a:close/>
                <a:moveTo>
                  <a:pt x="7646991" y="2628116"/>
                </a:moveTo>
                <a:cubicBezTo>
                  <a:pt x="7641134" y="2628116"/>
                  <a:pt x="7638604" y="2630111"/>
                  <a:pt x="7637007" y="2631711"/>
                </a:cubicBezTo>
                <a:cubicBezTo>
                  <a:pt x="7634478" y="2634372"/>
                  <a:pt x="7633413" y="2637168"/>
                  <a:pt x="7633413" y="2641161"/>
                </a:cubicBezTo>
                <a:cubicBezTo>
                  <a:pt x="7633413" y="2645288"/>
                  <a:pt x="7634478" y="2648084"/>
                  <a:pt x="7637007" y="2650612"/>
                </a:cubicBezTo>
                <a:cubicBezTo>
                  <a:pt x="7638604" y="2652210"/>
                  <a:pt x="7641134" y="2654073"/>
                  <a:pt x="7646991" y="2654073"/>
                </a:cubicBezTo>
                <a:cubicBezTo>
                  <a:pt x="7648987" y="2654073"/>
                  <a:pt x="7650851" y="2653808"/>
                  <a:pt x="7652315" y="2653141"/>
                </a:cubicBezTo>
                <a:cubicBezTo>
                  <a:pt x="7653780" y="2652609"/>
                  <a:pt x="7655111" y="2651810"/>
                  <a:pt x="7656042" y="2650745"/>
                </a:cubicBezTo>
                <a:cubicBezTo>
                  <a:pt x="7657108" y="2649547"/>
                  <a:pt x="7658039" y="2648216"/>
                  <a:pt x="7658705" y="2646486"/>
                </a:cubicBezTo>
                <a:cubicBezTo>
                  <a:pt x="7659504" y="2644889"/>
                  <a:pt x="7659769" y="2643025"/>
                  <a:pt x="7659769" y="2641028"/>
                </a:cubicBezTo>
                <a:cubicBezTo>
                  <a:pt x="7659769" y="2639164"/>
                  <a:pt x="7659370" y="2637434"/>
                  <a:pt x="7658705" y="2635836"/>
                </a:cubicBezTo>
                <a:cubicBezTo>
                  <a:pt x="7658039" y="2634238"/>
                  <a:pt x="7657108" y="2632908"/>
                  <a:pt x="7656042" y="2631711"/>
                </a:cubicBezTo>
                <a:cubicBezTo>
                  <a:pt x="7654977" y="2630645"/>
                  <a:pt x="7653646" y="2629712"/>
                  <a:pt x="7652049" y="2629047"/>
                </a:cubicBezTo>
                <a:cubicBezTo>
                  <a:pt x="7650584" y="2628382"/>
                  <a:pt x="7648987" y="2628116"/>
                  <a:pt x="7646991" y="2628116"/>
                </a:cubicBezTo>
                <a:close/>
                <a:moveTo>
                  <a:pt x="7429345" y="2628116"/>
                </a:moveTo>
                <a:cubicBezTo>
                  <a:pt x="7423488" y="2628116"/>
                  <a:pt x="7420958" y="2630111"/>
                  <a:pt x="7419361" y="2631711"/>
                </a:cubicBezTo>
                <a:cubicBezTo>
                  <a:pt x="7416832" y="2634372"/>
                  <a:pt x="7415768" y="2637168"/>
                  <a:pt x="7415768" y="2641161"/>
                </a:cubicBezTo>
                <a:cubicBezTo>
                  <a:pt x="7415768" y="2645288"/>
                  <a:pt x="7416832" y="2648084"/>
                  <a:pt x="7419361" y="2650612"/>
                </a:cubicBezTo>
                <a:cubicBezTo>
                  <a:pt x="7420958" y="2652210"/>
                  <a:pt x="7423488" y="2654073"/>
                  <a:pt x="7429345" y="2654073"/>
                </a:cubicBezTo>
                <a:cubicBezTo>
                  <a:pt x="7431342" y="2654073"/>
                  <a:pt x="7433206" y="2653808"/>
                  <a:pt x="7434670" y="2653141"/>
                </a:cubicBezTo>
                <a:cubicBezTo>
                  <a:pt x="7436134" y="2652609"/>
                  <a:pt x="7437466" y="2651810"/>
                  <a:pt x="7438397" y="2650745"/>
                </a:cubicBezTo>
                <a:cubicBezTo>
                  <a:pt x="7439462" y="2649547"/>
                  <a:pt x="7440394" y="2648216"/>
                  <a:pt x="7441059" y="2646486"/>
                </a:cubicBezTo>
                <a:cubicBezTo>
                  <a:pt x="7441858" y="2644889"/>
                  <a:pt x="7442124" y="2643025"/>
                  <a:pt x="7442124" y="2641028"/>
                </a:cubicBezTo>
                <a:cubicBezTo>
                  <a:pt x="7442124" y="2639164"/>
                  <a:pt x="7441725" y="2637434"/>
                  <a:pt x="7441059" y="2635836"/>
                </a:cubicBezTo>
                <a:cubicBezTo>
                  <a:pt x="7440394" y="2634238"/>
                  <a:pt x="7439462" y="2632908"/>
                  <a:pt x="7438397" y="2631711"/>
                </a:cubicBezTo>
                <a:cubicBezTo>
                  <a:pt x="7437332" y="2630645"/>
                  <a:pt x="7436001" y="2629712"/>
                  <a:pt x="7434403" y="2629047"/>
                </a:cubicBezTo>
                <a:cubicBezTo>
                  <a:pt x="7432939" y="2628382"/>
                  <a:pt x="7431342" y="2628116"/>
                  <a:pt x="7429345" y="2628116"/>
                </a:cubicBezTo>
                <a:close/>
                <a:moveTo>
                  <a:pt x="7211701" y="2628116"/>
                </a:moveTo>
                <a:cubicBezTo>
                  <a:pt x="7205844" y="2628116"/>
                  <a:pt x="7203314" y="2630111"/>
                  <a:pt x="7201717" y="2631711"/>
                </a:cubicBezTo>
                <a:cubicBezTo>
                  <a:pt x="7199188" y="2634372"/>
                  <a:pt x="7198123" y="2637168"/>
                  <a:pt x="7198123" y="2641161"/>
                </a:cubicBezTo>
                <a:cubicBezTo>
                  <a:pt x="7198123" y="2645288"/>
                  <a:pt x="7199188" y="2648084"/>
                  <a:pt x="7201717" y="2650612"/>
                </a:cubicBezTo>
                <a:cubicBezTo>
                  <a:pt x="7203314" y="2652210"/>
                  <a:pt x="7205844" y="2654073"/>
                  <a:pt x="7211701" y="2654073"/>
                </a:cubicBezTo>
                <a:cubicBezTo>
                  <a:pt x="7213830" y="2654073"/>
                  <a:pt x="7215561" y="2653808"/>
                  <a:pt x="7217026" y="2653141"/>
                </a:cubicBezTo>
                <a:cubicBezTo>
                  <a:pt x="7218490" y="2652609"/>
                  <a:pt x="7219821" y="2651810"/>
                  <a:pt x="7220752" y="2650745"/>
                </a:cubicBezTo>
                <a:cubicBezTo>
                  <a:pt x="7221818" y="2649547"/>
                  <a:pt x="7222750" y="2648216"/>
                  <a:pt x="7223415" y="2646486"/>
                </a:cubicBezTo>
                <a:cubicBezTo>
                  <a:pt x="7224214" y="2644889"/>
                  <a:pt x="7224480" y="2643025"/>
                  <a:pt x="7224480" y="2641028"/>
                </a:cubicBezTo>
                <a:cubicBezTo>
                  <a:pt x="7224480" y="2639164"/>
                  <a:pt x="7224080" y="2637434"/>
                  <a:pt x="7223415" y="2635836"/>
                </a:cubicBezTo>
                <a:cubicBezTo>
                  <a:pt x="7222750" y="2634238"/>
                  <a:pt x="7221818" y="2632908"/>
                  <a:pt x="7220752" y="2631711"/>
                </a:cubicBezTo>
                <a:cubicBezTo>
                  <a:pt x="7219687" y="2630645"/>
                  <a:pt x="7218356" y="2629712"/>
                  <a:pt x="7216759" y="2629047"/>
                </a:cubicBezTo>
                <a:cubicBezTo>
                  <a:pt x="7215295" y="2628382"/>
                  <a:pt x="7213698" y="2628116"/>
                  <a:pt x="7211701" y="2628116"/>
                </a:cubicBezTo>
                <a:close/>
                <a:moveTo>
                  <a:pt x="6994056" y="2628116"/>
                </a:moveTo>
                <a:cubicBezTo>
                  <a:pt x="6988199" y="2628116"/>
                  <a:pt x="6985669" y="2630111"/>
                  <a:pt x="6984072" y="2631711"/>
                </a:cubicBezTo>
                <a:cubicBezTo>
                  <a:pt x="6981543" y="2634372"/>
                  <a:pt x="6980478" y="2637168"/>
                  <a:pt x="6980478" y="2641161"/>
                </a:cubicBezTo>
                <a:cubicBezTo>
                  <a:pt x="6980478" y="2645288"/>
                  <a:pt x="6981543" y="2648084"/>
                  <a:pt x="6984072" y="2650612"/>
                </a:cubicBezTo>
                <a:cubicBezTo>
                  <a:pt x="6985669" y="2652210"/>
                  <a:pt x="6988199" y="2654073"/>
                  <a:pt x="6994056" y="2654073"/>
                </a:cubicBezTo>
                <a:cubicBezTo>
                  <a:pt x="6996185" y="2654073"/>
                  <a:pt x="6997916" y="2653808"/>
                  <a:pt x="6999380" y="2653141"/>
                </a:cubicBezTo>
                <a:cubicBezTo>
                  <a:pt x="7000844" y="2652609"/>
                  <a:pt x="7002176" y="2651810"/>
                  <a:pt x="7003107" y="2650745"/>
                </a:cubicBezTo>
                <a:cubicBezTo>
                  <a:pt x="7004172" y="2649547"/>
                  <a:pt x="7005104" y="2648216"/>
                  <a:pt x="7005769" y="2646486"/>
                </a:cubicBezTo>
                <a:cubicBezTo>
                  <a:pt x="7006568" y="2644889"/>
                  <a:pt x="7006834" y="2643025"/>
                  <a:pt x="7006834" y="2641028"/>
                </a:cubicBezTo>
                <a:cubicBezTo>
                  <a:pt x="7006834" y="2639164"/>
                  <a:pt x="7006435" y="2637434"/>
                  <a:pt x="7005769" y="2635836"/>
                </a:cubicBezTo>
                <a:cubicBezTo>
                  <a:pt x="7005104" y="2634238"/>
                  <a:pt x="7004172" y="2632908"/>
                  <a:pt x="7003107" y="2631711"/>
                </a:cubicBezTo>
                <a:cubicBezTo>
                  <a:pt x="7002042" y="2630645"/>
                  <a:pt x="7000711" y="2629712"/>
                  <a:pt x="6999113" y="2629047"/>
                </a:cubicBezTo>
                <a:cubicBezTo>
                  <a:pt x="6997649" y="2628382"/>
                  <a:pt x="6996052" y="2628116"/>
                  <a:pt x="6994056" y="2628116"/>
                </a:cubicBezTo>
                <a:close/>
                <a:moveTo>
                  <a:pt x="6776544" y="2628116"/>
                </a:moveTo>
                <a:cubicBezTo>
                  <a:pt x="6770687" y="2628116"/>
                  <a:pt x="6768157" y="2630111"/>
                  <a:pt x="6766560" y="2631711"/>
                </a:cubicBezTo>
                <a:cubicBezTo>
                  <a:pt x="6764031" y="2634372"/>
                  <a:pt x="6762966" y="2637168"/>
                  <a:pt x="6762966" y="2641161"/>
                </a:cubicBezTo>
                <a:cubicBezTo>
                  <a:pt x="6762966" y="2645288"/>
                  <a:pt x="6764031" y="2648084"/>
                  <a:pt x="6766560" y="2650612"/>
                </a:cubicBezTo>
                <a:cubicBezTo>
                  <a:pt x="6768157" y="2652210"/>
                  <a:pt x="6770687" y="2654073"/>
                  <a:pt x="6776544" y="2654073"/>
                </a:cubicBezTo>
                <a:cubicBezTo>
                  <a:pt x="6778541" y="2654073"/>
                  <a:pt x="6780270" y="2653808"/>
                  <a:pt x="6781869" y="2653141"/>
                </a:cubicBezTo>
                <a:cubicBezTo>
                  <a:pt x="6783333" y="2652609"/>
                  <a:pt x="6784664" y="2651810"/>
                  <a:pt x="6785595" y="2650745"/>
                </a:cubicBezTo>
                <a:cubicBezTo>
                  <a:pt x="6786661" y="2649547"/>
                  <a:pt x="6787593" y="2648216"/>
                  <a:pt x="6788258" y="2646486"/>
                </a:cubicBezTo>
                <a:cubicBezTo>
                  <a:pt x="6789057" y="2644889"/>
                  <a:pt x="6789323" y="2643025"/>
                  <a:pt x="6789323" y="2641028"/>
                </a:cubicBezTo>
                <a:cubicBezTo>
                  <a:pt x="6789323" y="2639164"/>
                  <a:pt x="6788923" y="2637434"/>
                  <a:pt x="6788258" y="2635836"/>
                </a:cubicBezTo>
                <a:cubicBezTo>
                  <a:pt x="6787593" y="2634238"/>
                  <a:pt x="6786661" y="2632908"/>
                  <a:pt x="6785595" y="2631711"/>
                </a:cubicBezTo>
                <a:cubicBezTo>
                  <a:pt x="6784530" y="2630645"/>
                  <a:pt x="6783199" y="2629712"/>
                  <a:pt x="6781602" y="2629047"/>
                </a:cubicBezTo>
                <a:cubicBezTo>
                  <a:pt x="6780138" y="2628382"/>
                  <a:pt x="6778541" y="2628116"/>
                  <a:pt x="6776544" y="2628116"/>
                </a:cubicBezTo>
                <a:close/>
                <a:moveTo>
                  <a:pt x="6558899" y="2628116"/>
                </a:moveTo>
                <a:cubicBezTo>
                  <a:pt x="6553042" y="2628116"/>
                  <a:pt x="6550512" y="2630111"/>
                  <a:pt x="6548915" y="2631711"/>
                </a:cubicBezTo>
                <a:cubicBezTo>
                  <a:pt x="6546386" y="2634372"/>
                  <a:pt x="6545321" y="2637168"/>
                  <a:pt x="6545321" y="2641161"/>
                </a:cubicBezTo>
                <a:cubicBezTo>
                  <a:pt x="6545321" y="2645288"/>
                  <a:pt x="6546386" y="2648084"/>
                  <a:pt x="6548915" y="2650612"/>
                </a:cubicBezTo>
                <a:cubicBezTo>
                  <a:pt x="6550512" y="2652210"/>
                  <a:pt x="6553042" y="2654073"/>
                  <a:pt x="6558899" y="2654073"/>
                </a:cubicBezTo>
                <a:cubicBezTo>
                  <a:pt x="6560895" y="2654073"/>
                  <a:pt x="6562759" y="2653808"/>
                  <a:pt x="6564223" y="2653141"/>
                </a:cubicBezTo>
                <a:cubicBezTo>
                  <a:pt x="6565687" y="2652609"/>
                  <a:pt x="6567019" y="2651810"/>
                  <a:pt x="6567950" y="2650745"/>
                </a:cubicBezTo>
                <a:cubicBezTo>
                  <a:pt x="6569015" y="2649547"/>
                  <a:pt x="6569947" y="2648216"/>
                  <a:pt x="6570612" y="2646486"/>
                </a:cubicBezTo>
                <a:cubicBezTo>
                  <a:pt x="6571412" y="2644889"/>
                  <a:pt x="6571677" y="2643025"/>
                  <a:pt x="6571677" y="2641028"/>
                </a:cubicBezTo>
                <a:cubicBezTo>
                  <a:pt x="6571677" y="2639164"/>
                  <a:pt x="6571278" y="2637434"/>
                  <a:pt x="6570612" y="2635836"/>
                </a:cubicBezTo>
                <a:cubicBezTo>
                  <a:pt x="6569947" y="2634238"/>
                  <a:pt x="6569015" y="2632908"/>
                  <a:pt x="6567950" y="2631711"/>
                </a:cubicBezTo>
                <a:cubicBezTo>
                  <a:pt x="6566885" y="2630645"/>
                  <a:pt x="6565554" y="2629712"/>
                  <a:pt x="6563956" y="2629047"/>
                </a:cubicBezTo>
                <a:cubicBezTo>
                  <a:pt x="6562492" y="2628382"/>
                  <a:pt x="6560895" y="2628116"/>
                  <a:pt x="6558899" y="2628116"/>
                </a:cubicBezTo>
                <a:close/>
                <a:moveTo>
                  <a:pt x="6341253" y="2628116"/>
                </a:moveTo>
                <a:cubicBezTo>
                  <a:pt x="6335396" y="2628116"/>
                  <a:pt x="6332867" y="2630111"/>
                  <a:pt x="6331270" y="2631711"/>
                </a:cubicBezTo>
                <a:cubicBezTo>
                  <a:pt x="6328740" y="2634372"/>
                  <a:pt x="6327675" y="2637168"/>
                  <a:pt x="6327675" y="2641161"/>
                </a:cubicBezTo>
                <a:cubicBezTo>
                  <a:pt x="6327675" y="2645288"/>
                  <a:pt x="6328740" y="2648084"/>
                  <a:pt x="6331270" y="2650612"/>
                </a:cubicBezTo>
                <a:cubicBezTo>
                  <a:pt x="6332867" y="2652210"/>
                  <a:pt x="6335396" y="2654073"/>
                  <a:pt x="6341253" y="2654073"/>
                </a:cubicBezTo>
                <a:cubicBezTo>
                  <a:pt x="6343250" y="2654073"/>
                  <a:pt x="6345114" y="2653808"/>
                  <a:pt x="6346578" y="2653141"/>
                </a:cubicBezTo>
                <a:cubicBezTo>
                  <a:pt x="6348042" y="2652609"/>
                  <a:pt x="6349373" y="2651810"/>
                  <a:pt x="6350305" y="2650745"/>
                </a:cubicBezTo>
                <a:cubicBezTo>
                  <a:pt x="6351370" y="2649547"/>
                  <a:pt x="6352302" y="2648216"/>
                  <a:pt x="6352968" y="2646486"/>
                </a:cubicBezTo>
                <a:cubicBezTo>
                  <a:pt x="6353766" y="2644889"/>
                  <a:pt x="6354033" y="2643025"/>
                  <a:pt x="6354033" y="2641028"/>
                </a:cubicBezTo>
                <a:cubicBezTo>
                  <a:pt x="6354033" y="2639164"/>
                  <a:pt x="6353633" y="2637434"/>
                  <a:pt x="6352968" y="2635836"/>
                </a:cubicBezTo>
                <a:cubicBezTo>
                  <a:pt x="6352302" y="2634238"/>
                  <a:pt x="6351370" y="2632908"/>
                  <a:pt x="6350305" y="2631711"/>
                </a:cubicBezTo>
                <a:cubicBezTo>
                  <a:pt x="6349241" y="2630645"/>
                  <a:pt x="6347909" y="2629712"/>
                  <a:pt x="6346312" y="2629047"/>
                </a:cubicBezTo>
                <a:cubicBezTo>
                  <a:pt x="6344848" y="2628382"/>
                  <a:pt x="6343250" y="2628116"/>
                  <a:pt x="6341253" y="2628116"/>
                </a:cubicBezTo>
                <a:close/>
                <a:moveTo>
                  <a:pt x="6123608" y="2628116"/>
                </a:moveTo>
                <a:cubicBezTo>
                  <a:pt x="6117751" y="2628116"/>
                  <a:pt x="6115221" y="2630111"/>
                  <a:pt x="6113624" y="2631711"/>
                </a:cubicBezTo>
                <a:cubicBezTo>
                  <a:pt x="6111095" y="2634372"/>
                  <a:pt x="6110030" y="2637168"/>
                  <a:pt x="6110030" y="2641161"/>
                </a:cubicBezTo>
                <a:cubicBezTo>
                  <a:pt x="6110030" y="2645288"/>
                  <a:pt x="6111095" y="2648084"/>
                  <a:pt x="6113624" y="2650612"/>
                </a:cubicBezTo>
                <a:cubicBezTo>
                  <a:pt x="6115221" y="2652210"/>
                  <a:pt x="6117751" y="2654073"/>
                  <a:pt x="6123608" y="2654073"/>
                </a:cubicBezTo>
                <a:cubicBezTo>
                  <a:pt x="6125737" y="2654073"/>
                  <a:pt x="6127468" y="2653808"/>
                  <a:pt x="6128932" y="2653141"/>
                </a:cubicBezTo>
                <a:cubicBezTo>
                  <a:pt x="6130530" y="2652609"/>
                  <a:pt x="6131728" y="2651810"/>
                  <a:pt x="6132659" y="2650745"/>
                </a:cubicBezTo>
                <a:cubicBezTo>
                  <a:pt x="6133724" y="2649547"/>
                  <a:pt x="6134656" y="2648216"/>
                  <a:pt x="6135322" y="2646486"/>
                </a:cubicBezTo>
                <a:cubicBezTo>
                  <a:pt x="6135987" y="2644889"/>
                  <a:pt x="6136387" y="2643025"/>
                  <a:pt x="6136387" y="2641028"/>
                </a:cubicBezTo>
                <a:cubicBezTo>
                  <a:pt x="6136387" y="2639164"/>
                  <a:pt x="6135987" y="2637434"/>
                  <a:pt x="6135322" y="2635836"/>
                </a:cubicBezTo>
                <a:cubicBezTo>
                  <a:pt x="6134656" y="2634238"/>
                  <a:pt x="6133724" y="2632908"/>
                  <a:pt x="6132659" y="2631711"/>
                </a:cubicBezTo>
                <a:cubicBezTo>
                  <a:pt x="6131594" y="2630645"/>
                  <a:pt x="6130263" y="2629712"/>
                  <a:pt x="6128666" y="2629047"/>
                </a:cubicBezTo>
                <a:cubicBezTo>
                  <a:pt x="6127202" y="2628382"/>
                  <a:pt x="6125604" y="2628116"/>
                  <a:pt x="6123608" y="2628116"/>
                </a:cubicBezTo>
                <a:close/>
                <a:moveTo>
                  <a:pt x="5905963" y="2628116"/>
                </a:moveTo>
                <a:cubicBezTo>
                  <a:pt x="5900106" y="2628116"/>
                  <a:pt x="5897576" y="2630111"/>
                  <a:pt x="5895979" y="2631711"/>
                </a:cubicBezTo>
                <a:cubicBezTo>
                  <a:pt x="5893450" y="2634372"/>
                  <a:pt x="5892385" y="2637168"/>
                  <a:pt x="5892385" y="2641161"/>
                </a:cubicBezTo>
                <a:cubicBezTo>
                  <a:pt x="5892385" y="2645288"/>
                  <a:pt x="5893450" y="2648084"/>
                  <a:pt x="5895979" y="2650612"/>
                </a:cubicBezTo>
                <a:cubicBezTo>
                  <a:pt x="5897576" y="2652210"/>
                  <a:pt x="5900106" y="2654073"/>
                  <a:pt x="5905963" y="2654073"/>
                </a:cubicBezTo>
                <a:cubicBezTo>
                  <a:pt x="5908093" y="2654073"/>
                  <a:pt x="5909823" y="2653808"/>
                  <a:pt x="5911287" y="2653141"/>
                </a:cubicBezTo>
                <a:cubicBezTo>
                  <a:pt x="5912751" y="2652609"/>
                  <a:pt x="5914083" y="2651810"/>
                  <a:pt x="5915014" y="2650745"/>
                </a:cubicBezTo>
                <a:cubicBezTo>
                  <a:pt x="5916079" y="2649547"/>
                  <a:pt x="5917011" y="2648216"/>
                  <a:pt x="5917677" y="2646486"/>
                </a:cubicBezTo>
                <a:cubicBezTo>
                  <a:pt x="5918342" y="2644889"/>
                  <a:pt x="5918742" y="2643025"/>
                  <a:pt x="5918742" y="2641028"/>
                </a:cubicBezTo>
                <a:cubicBezTo>
                  <a:pt x="5918742" y="2639164"/>
                  <a:pt x="5918342" y="2637434"/>
                  <a:pt x="5917677" y="2635836"/>
                </a:cubicBezTo>
                <a:cubicBezTo>
                  <a:pt x="5917011" y="2634238"/>
                  <a:pt x="5916079" y="2632908"/>
                  <a:pt x="5915014" y="2631711"/>
                </a:cubicBezTo>
                <a:cubicBezTo>
                  <a:pt x="5913950" y="2630645"/>
                  <a:pt x="5912618" y="2629712"/>
                  <a:pt x="5911021" y="2629047"/>
                </a:cubicBezTo>
                <a:cubicBezTo>
                  <a:pt x="5909557" y="2628382"/>
                  <a:pt x="5907826" y="2628116"/>
                  <a:pt x="5905963" y="2628116"/>
                </a:cubicBezTo>
                <a:close/>
                <a:moveTo>
                  <a:pt x="5688451" y="2628116"/>
                </a:moveTo>
                <a:cubicBezTo>
                  <a:pt x="5682594" y="2628116"/>
                  <a:pt x="5680064" y="2630111"/>
                  <a:pt x="5678467" y="2631711"/>
                </a:cubicBezTo>
                <a:cubicBezTo>
                  <a:pt x="5675938" y="2634372"/>
                  <a:pt x="5674873" y="2637168"/>
                  <a:pt x="5674873" y="2641161"/>
                </a:cubicBezTo>
                <a:cubicBezTo>
                  <a:pt x="5674873" y="2645288"/>
                  <a:pt x="5675938" y="2648084"/>
                  <a:pt x="5678467" y="2650612"/>
                </a:cubicBezTo>
                <a:cubicBezTo>
                  <a:pt x="5680064" y="2652210"/>
                  <a:pt x="5682594" y="2654073"/>
                  <a:pt x="5688451" y="2654073"/>
                </a:cubicBezTo>
                <a:cubicBezTo>
                  <a:pt x="5690447" y="2654073"/>
                  <a:pt x="5692178" y="2653808"/>
                  <a:pt x="5693775" y="2653141"/>
                </a:cubicBezTo>
                <a:cubicBezTo>
                  <a:pt x="5695239" y="2652609"/>
                  <a:pt x="5696571" y="2651810"/>
                  <a:pt x="5697502" y="2650745"/>
                </a:cubicBezTo>
                <a:cubicBezTo>
                  <a:pt x="5698567" y="2649547"/>
                  <a:pt x="5699499" y="2648216"/>
                  <a:pt x="5700165" y="2646486"/>
                </a:cubicBezTo>
                <a:cubicBezTo>
                  <a:pt x="5700830" y="2644889"/>
                  <a:pt x="5701230" y="2643025"/>
                  <a:pt x="5701230" y="2641028"/>
                </a:cubicBezTo>
                <a:cubicBezTo>
                  <a:pt x="5701230" y="2639164"/>
                  <a:pt x="5700830" y="2637434"/>
                  <a:pt x="5700165" y="2635836"/>
                </a:cubicBezTo>
                <a:cubicBezTo>
                  <a:pt x="5699499" y="2634238"/>
                  <a:pt x="5698567" y="2632908"/>
                  <a:pt x="5697502" y="2631711"/>
                </a:cubicBezTo>
                <a:cubicBezTo>
                  <a:pt x="5696437" y="2630645"/>
                  <a:pt x="5695106" y="2629712"/>
                  <a:pt x="5693509" y="2629047"/>
                </a:cubicBezTo>
                <a:cubicBezTo>
                  <a:pt x="5692045" y="2628382"/>
                  <a:pt x="5690314" y="2628116"/>
                  <a:pt x="5688451" y="2628116"/>
                </a:cubicBezTo>
                <a:close/>
                <a:moveTo>
                  <a:pt x="5470806" y="2628116"/>
                </a:moveTo>
                <a:cubicBezTo>
                  <a:pt x="5464949" y="2628116"/>
                  <a:pt x="5462419" y="2630111"/>
                  <a:pt x="5460822" y="2631711"/>
                </a:cubicBezTo>
                <a:cubicBezTo>
                  <a:pt x="5458293" y="2634372"/>
                  <a:pt x="5457228" y="2637168"/>
                  <a:pt x="5457228" y="2641161"/>
                </a:cubicBezTo>
                <a:cubicBezTo>
                  <a:pt x="5457228" y="2645288"/>
                  <a:pt x="5458293" y="2648084"/>
                  <a:pt x="5460822" y="2650612"/>
                </a:cubicBezTo>
                <a:cubicBezTo>
                  <a:pt x="5462419" y="2652210"/>
                  <a:pt x="5464949" y="2654073"/>
                  <a:pt x="5470806" y="2654073"/>
                </a:cubicBezTo>
                <a:cubicBezTo>
                  <a:pt x="5472802" y="2654073"/>
                  <a:pt x="5474666" y="2653808"/>
                  <a:pt x="5476130" y="2653141"/>
                </a:cubicBezTo>
                <a:cubicBezTo>
                  <a:pt x="5477594" y="2652609"/>
                  <a:pt x="5478926" y="2651810"/>
                  <a:pt x="5479857" y="2650745"/>
                </a:cubicBezTo>
                <a:cubicBezTo>
                  <a:pt x="5480922" y="2649547"/>
                  <a:pt x="5481854" y="2648216"/>
                  <a:pt x="5482520" y="2646486"/>
                </a:cubicBezTo>
                <a:cubicBezTo>
                  <a:pt x="5483319" y="2644889"/>
                  <a:pt x="5483585" y="2643025"/>
                  <a:pt x="5483585" y="2641028"/>
                </a:cubicBezTo>
                <a:cubicBezTo>
                  <a:pt x="5483585" y="2639164"/>
                  <a:pt x="5483185" y="2637434"/>
                  <a:pt x="5482520" y="2635836"/>
                </a:cubicBezTo>
                <a:cubicBezTo>
                  <a:pt x="5481854" y="2634238"/>
                  <a:pt x="5480922" y="2632908"/>
                  <a:pt x="5479857" y="2631711"/>
                </a:cubicBezTo>
                <a:cubicBezTo>
                  <a:pt x="5478793" y="2630645"/>
                  <a:pt x="5477461" y="2629712"/>
                  <a:pt x="5475864" y="2629047"/>
                </a:cubicBezTo>
                <a:cubicBezTo>
                  <a:pt x="5474400" y="2628382"/>
                  <a:pt x="5472669" y="2628116"/>
                  <a:pt x="5470806" y="2628116"/>
                </a:cubicBezTo>
                <a:close/>
                <a:moveTo>
                  <a:pt x="5253160" y="2628116"/>
                </a:moveTo>
                <a:cubicBezTo>
                  <a:pt x="5247303" y="2628116"/>
                  <a:pt x="5244774" y="2630111"/>
                  <a:pt x="5243177" y="2631711"/>
                </a:cubicBezTo>
                <a:cubicBezTo>
                  <a:pt x="5240647" y="2634372"/>
                  <a:pt x="5239583" y="2637168"/>
                  <a:pt x="5239583" y="2641161"/>
                </a:cubicBezTo>
                <a:cubicBezTo>
                  <a:pt x="5239583" y="2645288"/>
                  <a:pt x="5240647" y="2648084"/>
                  <a:pt x="5243177" y="2650612"/>
                </a:cubicBezTo>
                <a:cubicBezTo>
                  <a:pt x="5244774" y="2652210"/>
                  <a:pt x="5247303" y="2654073"/>
                  <a:pt x="5253160" y="2654073"/>
                </a:cubicBezTo>
                <a:cubicBezTo>
                  <a:pt x="5255157" y="2654073"/>
                  <a:pt x="5257021" y="2653808"/>
                  <a:pt x="5258485" y="2653141"/>
                </a:cubicBezTo>
                <a:cubicBezTo>
                  <a:pt x="5259949" y="2652609"/>
                  <a:pt x="5261280" y="2651810"/>
                  <a:pt x="5262212" y="2650745"/>
                </a:cubicBezTo>
                <a:cubicBezTo>
                  <a:pt x="5263277" y="2649547"/>
                  <a:pt x="5264209" y="2648216"/>
                  <a:pt x="5264875" y="2646486"/>
                </a:cubicBezTo>
                <a:cubicBezTo>
                  <a:pt x="5265673" y="2644889"/>
                  <a:pt x="5265939" y="2643025"/>
                  <a:pt x="5265939" y="2641028"/>
                </a:cubicBezTo>
                <a:cubicBezTo>
                  <a:pt x="5265939" y="2639164"/>
                  <a:pt x="5265540" y="2637434"/>
                  <a:pt x="5264875" y="2635836"/>
                </a:cubicBezTo>
                <a:cubicBezTo>
                  <a:pt x="5264209" y="2634238"/>
                  <a:pt x="5263277" y="2632908"/>
                  <a:pt x="5262212" y="2631711"/>
                </a:cubicBezTo>
                <a:cubicBezTo>
                  <a:pt x="5261147" y="2630645"/>
                  <a:pt x="5259816" y="2629712"/>
                  <a:pt x="5258219" y="2629047"/>
                </a:cubicBezTo>
                <a:cubicBezTo>
                  <a:pt x="5256754" y="2628382"/>
                  <a:pt x="5255024" y="2628116"/>
                  <a:pt x="5253160" y="2628116"/>
                </a:cubicBezTo>
                <a:close/>
                <a:moveTo>
                  <a:pt x="5035515" y="2628116"/>
                </a:moveTo>
                <a:cubicBezTo>
                  <a:pt x="5029658" y="2628116"/>
                  <a:pt x="5027129" y="2630111"/>
                  <a:pt x="5025532" y="2631711"/>
                </a:cubicBezTo>
                <a:cubicBezTo>
                  <a:pt x="5023002" y="2634372"/>
                  <a:pt x="5021938" y="2637168"/>
                  <a:pt x="5021938" y="2641161"/>
                </a:cubicBezTo>
                <a:cubicBezTo>
                  <a:pt x="5021938" y="2645288"/>
                  <a:pt x="5023002" y="2648084"/>
                  <a:pt x="5025532" y="2650612"/>
                </a:cubicBezTo>
                <a:cubicBezTo>
                  <a:pt x="5027129" y="2652210"/>
                  <a:pt x="5029658" y="2654073"/>
                  <a:pt x="5035515" y="2654073"/>
                </a:cubicBezTo>
                <a:cubicBezTo>
                  <a:pt x="5037645" y="2654073"/>
                  <a:pt x="5039376" y="2653808"/>
                  <a:pt x="5040840" y="2653141"/>
                </a:cubicBezTo>
                <a:cubicBezTo>
                  <a:pt x="5042304" y="2652609"/>
                  <a:pt x="5043636" y="2651810"/>
                  <a:pt x="5044567" y="2650745"/>
                </a:cubicBezTo>
                <a:cubicBezTo>
                  <a:pt x="5045632" y="2649547"/>
                  <a:pt x="5046564" y="2648216"/>
                  <a:pt x="5047230" y="2646486"/>
                </a:cubicBezTo>
                <a:cubicBezTo>
                  <a:pt x="5048028" y="2644889"/>
                  <a:pt x="5048294" y="2643025"/>
                  <a:pt x="5048294" y="2641028"/>
                </a:cubicBezTo>
                <a:cubicBezTo>
                  <a:pt x="5048294" y="2639164"/>
                  <a:pt x="5047895" y="2637434"/>
                  <a:pt x="5047230" y="2635836"/>
                </a:cubicBezTo>
                <a:cubicBezTo>
                  <a:pt x="5046564" y="2634238"/>
                  <a:pt x="5045632" y="2632908"/>
                  <a:pt x="5044567" y="2631711"/>
                </a:cubicBezTo>
                <a:cubicBezTo>
                  <a:pt x="5043502" y="2630645"/>
                  <a:pt x="5042171" y="2629712"/>
                  <a:pt x="5040574" y="2629047"/>
                </a:cubicBezTo>
                <a:cubicBezTo>
                  <a:pt x="5039110" y="2628382"/>
                  <a:pt x="5037379" y="2628116"/>
                  <a:pt x="5035515" y="2628116"/>
                </a:cubicBezTo>
                <a:close/>
                <a:moveTo>
                  <a:pt x="4817870" y="2628116"/>
                </a:moveTo>
                <a:cubicBezTo>
                  <a:pt x="4812013" y="2628116"/>
                  <a:pt x="4809484" y="2630111"/>
                  <a:pt x="4807887" y="2631711"/>
                </a:cubicBezTo>
                <a:cubicBezTo>
                  <a:pt x="4805357" y="2634372"/>
                  <a:pt x="4804293" y="2637168"/>
                  <a:pt x="4804293" y="2641161"/>
                </a:cubicBezTo>
                <a:cubicBezTo>
                  <a:pt x="4804293" y="2645288"/>
                  <a:pt x="4805357" y="2648084"/>
                  <a:pt x="4807887" y="2650612"/>
                </a:cubicBezTo>
                <a:cubicBezTo>
                  <a:pt x="4809484" y="2652210"/>
                  <a:pt x="4812013" y="2654073"/>
                  <a:pt x="4817870" y="2654073"/>
                </a:cubicBezTo>
                <a:cubicBezTo>
                  <a:pt x="4820000" y="2654073"/>
                  <a:pt x="4821731" y="2653808"/>
                  <a:pt x="4823195" y="2653141"/>
                </a:cubicBezTo>
                <a:cubicBezTo>
                  <a:pt x="4824659" y="2652609"/>
                  <a:pt x="4825857" y="2651810"/>
                  <a:pt x="4826922" y="2650745"/>
                </a:cubicBezTo>
                <a:cubicBezTo>
                  <a:pt x="4827987" y="2649547"/>
                  <a:pt x="4828919" y="2648216"/>
                  <a:pt x="4829585" y="2646486"/>
                </a:cubicBezTo>
                <a:cubicBezTo>
                  <a:pt x="4830383" y="2644889"/>
                  <a:pt x="4830650" y="2643025"/>
                  <a:pt x="4830650" y="2641028"/>
                </a:cubicBezTo>
                <a:cubicBezTo>
                  <a:pt x="4830650" y="2639164"/>
                  <a:pt x="4830250" y="2637434"/>
                  <a:pt x="4829585" y="2635836"/>
                </a:cubicBezTo>
                <a:cubicBezTo>
                  <a:pt x="4828919" y="2634238"/>
                  <a:pt x="4827987" y="2632908"/>
                  <a:pt x="4826922" y="2631711"/>
                </a:cubicBezTo>
                <a:cubicBezTo>
                  <a:pt x="4825857" y="2630645"/>
                  <a:pt x="4824526" y="2629712"/>
                  <a:pt x="4822929" y="2629047"/>
                </a:cubicBezTo>
                <a:cubicBezTo>
                  <a:pt x="4821465" y="2628382"/>
                  <a:pt x="4819734" y="2628116"/>
                  <a:pt x="4817870" y="2628116"/>
                </a:cubicBezTo>
                <a:close/>
                <a:moveTo>
                  <a:pt x="4600226" y="2628116"/>
                </a:moveTo>
                <a:cubicBezTo>
                  <a:pt x="4594369" y="2628116"/>
                  <a:pt x="4591839" y="2630111"/>
                  <a:pt x="4590242" y="2631711"/>
                </a:cubicBezTo>
                <a:cubicBezTo>
                  <a:pt x="4587713" y="2634372"/>
                  <a:pt x="4586648" y="2637168"/>
                  <a:pt x="4586648" y="2641161"/>
                </a:cubicBezTo>
                <a:cubicBezTo>
                  <a:pt x="4586648" y="2645288"/>
                  <a:pt x="4587713" y="2648084"/>
                  <a:pt x="4590242" y="2650612"/>
                </a:cubicBezTo>
                <a:cubicBezTo>
                  <a:pt x="4591839" y="2652210"/>
                  <a:pt x="4594369" y="2654073"/>
                  <a:pt x="4600226" y="2654073"/>
                </a:cubicBezTo>
                <a:cubicBezTo>
                  <a:pt x="4602355" y="2654073"/>
                  <a:pt x="4604086" y="2653808"/>
                  <a:pt x="4605550" y="2653141"/>
                </a:cubicBezTo>
                <a:cubicBezTo>
                  <a:pt x="4607148" y="2652609"/>
                  <a:pt x="4608346" y="2651810"/>
                  <a:pt x="4609277" y="2650745"/>
                </a:cubicBezTo>
                <a:cubicBezTo>
                  <a:pt x="4610342" y="2649547"/>
                  <a:pt x="4611274" y="2648216"/>
                  <a:pt x="4611940" y="2646486"/>
                </a:cubicBezTo>
                <a:cubicBezTo>
                  <a:pt x="4612605" y="2644889"/>
                  <a:pt x="4613005" y="2643025"/>
                  <a:pt x="4613005" y="2641028"/>
                </a:cubicBezTo>
                <a:cubicBezTo>
                  <a:pt x="4613005" y="2639164"/>
                  <a:pt x="4612605" y="2637434"/>
                  <a:pt x="4611940" y="2635836"/>
                </a:cubicBezTo>
                <a:cubicBezTo>
                  <a:pt x="4611274" y="2634238"/>
                  <a:pt x="4610342" y="2632908"/>
                  <a:pt x="4609277" y="2631711"/>
                </a:cubicBezTo>
                <a:cubicBezTo>
                  <a:pt x="4608212" y="2630645"/>
                  <a:pt x="4606881" y="2629712"/>
                  <a:pt x="4605284" y="2629047"/>
                </a:cubicBezTo>
                <a:cubicBezTo>
                  <a:pt x="4603820" y="2628382"/>
                  <a:pt x="4602222" y="2628116"/>
                  <a:pt x="4600226" y="2628116"/>
                </a:cubicBezTo>
                <a:close/>
                <a:moveTo>
                  <a:pt x="4382713" y="2628116"/>
                </a:moveTo>
                <a:cubicBezTo>
                  <a:pt x="4376857" y="2628116"/>
                  <a:pt x="4374327" y="2630111"/>
                  <a:pt x="4372730" y="2631711"/>
                </a:cubicBezTo>
                <a:cubicBezTo>
                  <a:pt x="4370201" y="2634372"/>
                  <a:pt x="4369136" y="2637168"/>
                  <a:pt x="4369136" y="2641161"/>
                </a:cubicBezTo>
                <a:cubicBezTo>
                  <a:pt x="4369136" y="2645288"/>
                  <a:pt x="4370201" y="2648084"/>
                  <a:pt x="4372730" y="2650612"/>
                </a:cubicBezTo>
                <a:cubicBezTo>
                  <a:pt x="4374327" y="2652210"/>
                  <a:pt x="4376857" y="2654073"/>
                  <a:pt x="4382713" y="2654073"/>
                </a:cubicBezTo>
                <a:cubicBezTo>
                  <a:pt x="4384710" y="2654073"/>
                  <a:pt x="4386441" y="2653808"/>
                  <a:pt x="4388038" y="2653141"/>
                </a:cubicBezTo>
                <a:cubicBezTo>
                  <a:pt x="4389502" y="2652609"/>
                  <a:pt x="4390834" y="2651810"/>
                  <a:pt x="4391765" y="2650745"/>
                </a:cubicBezTo>
                <a:cubicBezTo>
                  <a:pt x="4392830" y="2649547"/>
                  <a:pt x="4393762" y="2648216"/>
                  <a:pt x="4394428" y="2646486"/>
                </a:cubicBezTo>
                <a:cubicBezTo>
                  <a:pt x="4395093" y="2644889"/>
                  <a:pt x="4395493" y="2643025"/>
                  <a:pt x="4395493" y="2641028"/>
                </a:cubicBezTo>
                <a:cubicBezTo>
                  <a:pt x="4395493" y="2639164"/>
                  <a:pt x="4395093" y="2637434"/>
                  <a:pt x="4394428" y="2635836"/>
                </a:cubicBezTo>
                <a:cubicBezTo>
                  <a:pt x="4393762" y="2634238"/>
                  <a:pt x="4392830" y="2632908"/>
                  <a:pt x="4391765" y="2631711"/>
                </a:cubicBezTo>
                <a:cubicBezTo>
                  <a:pt x="4390700" y="2630645"/>
                  <a:pt x="4389369" y="2629712"/>
                  <a:pt x="4387772" y="2629047"/>
                </a:cubicBezTo>
                <a:cubicBezTo>
                  <a:pt x="4386308" y="2628382"/>
                  <a:pt x="4384710" y="2628116"/>
                  <a:pt x="4382713" y="2628116"/>
                </a:cubicBezTo>
                <a:close/>
                <a:moveTo>
                  <a:pt x="4165068" y="2628116"/>
                </a:moveTo>
                <a:cubicBezTo>
                  <a:pt x="4159211" y="2628116"/>
                  <a:pt x="4156681" y="2630111"/>
                  <a:pt x="4155084" y="2631711"/>
                </a:cubicBezTo>
                <a:cubicBezTo>
                  <a:pt x="4152555" y="2634372"/>
                  <a:pt x="4151490" y="2637168"/>
                  <a:pt x="4151490" y="2641161"/>
                </a:cubicBezTo>
                <a:cubicBezTo>
                  <a:pt x="4151490" y="2645288"/>
                  <a:pt x="4152555" y="2648084"/>
                  <a:pt x="4155084" y="2650612"/>
                </a:cubicBezTo>
                <a:cubicBezTo>
                  <a:pt x="4156681" y="2652210"/>
                  <a:pt x="4159211" y="2654073"/>
                  <a:pt x="4165068" y="2654073"/>
                </a:cubicBezTo>
                <a:cubicBezTo>
                  <a:pt x="4167064" y="2654073"/>
                  <a:pt x="4168928" y="2653808"/>
                  <a:pt x="4170392" y="2653141"/>
                </a:cubicBezTo>
                <a:cubicBezTo>
                  <a:pt x="4171856" y="2652609"/>
                  <a:pt x="4173188" y="2651810"/>
                  <a:pt x="4174119" y="2650745"/>
                </a:cubicBezTo>
                <a:cubicBezTo>
                  <a:pt x="4175184" y="2649547"/>
                  <a:pt x="4176116" y="2648216"/>
                  <a:pt x="4176782" y="2646486"/>
                </a:cubicBezTo>
                <a:cubicBezTo>
                  <a:pt x="4177447" y="2644889"/>
                  <a:pt x="4177847" y="2643025"/>
                  <a:pt x="4177847" y="2641028"/>
                </a:cubicBezTo>
                <a:cubicBezTo>
                  <a:pt x="4177847" y="2639164"/>
                  <a:pt x="4177447" y="2637434"/>
                  <a:pt x="4176782" y="2635836"/>
                </a:cubicBezTo>
                <a:cubicBezTo>
                  <a:pt x="4176116" y="2634238"/>
                  <a:pt x="4175184" y="2632908"/>
                  <a:pt x="4174119" y="2631711"/>
                </a:cubicBezTo>
                <a:cubicBezTo>
                  <a:pt x="4173054" y="2630645"/>
                  <a:pt x="4171723" y="2629712"/>
                  <a:pt x="4170126" y="2629047"/>
                </a:cubicBezTo>
                <a:cubicBezTo>
                  <a:pt x="4168662" y="2628382"/>
                  <a:pt x="4167064" y="2628116"/>
                  <a:pt x="4165068" y="2628116"/>
                </a:cubicBezTo>
                <a:close/>
                <a:moveTo>
                  <a:pt x="3947570" y="2628116"/>
                </a:moveTo>
                <a:cubicBezTo>
                  <a:pt x="3941712" y="2628116"/>
                  <a:pt x="3939184" y="2630111"/>
                  <a:pt x="3937587" y="2631711"/>
                </a:cubicBezTo>
                <a:cubicBezTo>
                  <a:pt x="3935056" y="2634372"/>
                  <a:pt x="3933992" y="2637168"/>
                  <a:pt x="3933992" y="2641161"/>
                </a:cubicBezTo>
                <a:cubicBezTo>
                  <a:pt x="3933992" y="2645288"/>
                  <a:pt x="3935056" y="2648084"/>
                  <a:pt x="3937587" y="2650612"/>
                </a:cubicBezTo>
                <a:cubicBezTo>
                  <a:pt x="3939184" y="2652210"/>
                  <a:pt x="3941712" y="2654073"/>
                  <a:pt x="3947570" y="2654073"/>
                </a:cubicBezTo>
                <a:cubicBezTo>
                  <a:pt x="3949568" y="2654073"/>
                  <a:pt x="3951430" y="2653808"/>
                  <a:pt x="3952896" y="2653141"/>
                </a:cubicBezTo>
                <a:cubicBezTo>
                  <a:pt x="3954360" y="2652609"/>
                  <a:pt x="3955690" y="2651810"/>
                  <a:pt x="3956623" y="2650745"/>
                </a:cubicBezTo>
                <a:cubicBezTo>
                  <a:pt x="3957688" y="2649547"/>
                  <a:pt x="3958621" y="2648216"/>
                  <a:pt x="3959286" y="2646486"/>
                </a:cubicBezTo>
                <a:cubicBezTo>
                  <a:pt x="3959951" y="2644889"/>
                  <a:pt x="3960351" y="2643025"/>
                  <a:pt x="3960351" y="2641028"/>
                </a:cubicBezTo>
                <a:cubicBezTo>
                  <a:pt x="3960351" y="2639164"/>
                  <a:pt x="3959951" y="2637434"/>
                  <a:pt x="3959286" y="2635836"/>
                </a:cubicBezTo>
                <a:cubicBezTo>
                  <a:pt x="3958621" y="2634238"/>
                  <a:pt x="3957688" y="2632908"/>
                  <a:pt x="3956623" y="2631711"/>
                </a:cubicBezTo>
                <a:cubicBezTo>
                  <a:pt x="3955558" y="2630645"/>
                  <a:pt x="3954227" y="2629712"/>
                  <a:pt x="3952629" y="2629047"/>
                </a:cubicBezTo>
                <a:cubicBezTo>
                  <a:pt x="3951164" y="2628382"/>
                  <a:pt x="3949568" y="2628116"/>
                  <a:pt x="3947570" y="2628116"/>
                </a:cubicBezTo>
                <a:close/>
                <a:moveTo>
                  <a:pt x="3729918" y="2628116"/>
                </a:moveTo>
                <a:cubicBezTo>
                  <a:pt x="3724061" y="2628116"/>
                  <a:pt x="3721532" y="2630111"/>
                  <a:pt x="3719932" y="2631711"/>
                </a:cubicBezTo>
                <a:cubicBezTo>
                  <a:pt x="3717402" y="2634372"/>
                  <a:pt x="3716340" y="2637168"/>
                  <a:pt x="3716340" y="2641161"/>
                </a:cubicBezTo>
                <a:cubicBezTo>
                  <a:pt x="3716340" y="2645288"/>
                  <a:pt x="3717402" y="2648084"/>
                  <a:pt x="3719932" y="2650612"/>
                </a:cubicBezTo>
                <a:cubicBezTo>
                  <a:pt x="3721532" y="2652210"/>
                  <a:pt x="3724061" y="2654073"/>
                  <a:pt x="3729918" y="2654073"/>
                </a:cubicBezTo>
                <a:cubicBezTo>
                  <a:pt x="3732048" y="2654073"/>
                  <a:pt x="3733779" y="2653808"/>
                  <a:pt x="3735243" y="2653141"/>
                </a:cubicBezTo>
                <a:cubicBezTo>
                  <a:pt x="3736707" y="2652609"/>
                  <a:pt x="3738039" y="2651810"/>
                  <a:pt x="3738970" y="2650745"/>
                </a:cubicBezTo>
                <a:cubicBezTo>
                  <a:pt x="3740035" y="2649547"/>
                  <a:pt x="3740967" y="2648216"/>
                  <a:pt x="3741633" y="2646486"/>
                </a:cubicBezTo>
                <a:cubicBezTo>
                  <a:pt x="3742298" y="2644889"/>
                  <a:pt x="3742697" y="2643025"/>
                  <a:pt x="3742697" y="2641028"/>
                </a:cubicBezTo>
                <a:cubicBezTo>
                  <a:pt x="3742697" y="2639164"/>
                  <a:pt x="3742298" y="2637434"/>
                  <a:pt x="3741633" y="2635836"/>
                </a:cubicBezTo>
                <a:cubicBezTo>
                  <a:pt x="3740967" y="2634238"/>
                  <a:pt x="3740035" y="2632908"/>
                  <a:pt x="3738970" y="2631711"/>
                </a:cubicBezTo>
                <a:cubicBezTo>
                  <a:pt x="3737905" y="2630645"/>
                  <a:pt x="3736574" y="2629712"/>
                  <a:pt x="3734977" y="2629047"/>
                </a:cubicBezTo>
                <a:cubicBezTo>
                  <a:pt x="3733512" y="2628382"/>
                  <a:pt x="3731915" y="2628116"/>
                  <a:pt x="3729918" y="2628116"/>
                </a:cubicBezTo>
                <a:close/>
                <a:moveTo>
                  <a:pt x="3512265" y="2628116"/>
                </a:moveTo>
                <a:cubicBezTo>
                  <a:pt x="3506408" y="2628116"/>
                  <a:pt x="3503878" y="2630111"/>
                  <a:pt x="3502279" y="2631711"/>
                </a:cubicBezTo>
                <a:cubicBezTo>
                  <a:pt x="3499749" y="2634372"/>
                  <a:pt x="3498686" y="2637168"/>
                  <a:pt x="3498686" y="2641161"/>
                </a:cubicBezTo>
                <a:cubicBezTo>
                  <a:pt x="3498686" y="2645288"/>
                  <a:pt x="3499749" y="2648084"/>
                  <a:pt x="3502279" y="2650612"/>
                </a:cubicBezTo>
                <a:cubicBezTo>
                  <a:pt x="3503878" y="2652210"/>
                  <a:pt x="3506408" y="2654073"/>
                  <a:pt x="3512265" y="2654073"/>
                </a:cubicBezTo>
                <a:cubicBezTo>
                  <a:pt x="3514395" y="2654073"/>
                  <a:pt x="3516126" y="2653808"/>
                  <a:pt x="3517590" y="2653141"/>
                </a:cubicBezTo>
                <a:cubicBezTo>
                  <a:pt x="3519055" y="2652609"/>
                  <a:pt x="3520386" y="2651810"/>
                  <a:pt x="3521317" y="2650745"/>
                </a:cubicBezTo>
                <a:cubicBezTo>
                  <a:pt x="3522383" y="2649547"/>
                  <a:pt x="3523314" y="2648216"/>
                  <a:pt x="3523981" y="2646486"/>
                </a:cubicBezTo>
                <a:cubicBezTo>
                  <a:pt x="3524646" y="2644889"/>
                  <a:pt x="3525046" y="2643025"/>
                  <a:pt x="3525046" y="2641028"/>
                </a:cubicBezTo>
                <a:cubicBezTo>
                  <a:pt x="3525046" y="2639164"/>
                  <a:pt x="3524646" y="2637434"/>
                  <a:pt x="3523981" y="2635836"/>
                </a:cubicBezTo>
                <a:cubicBezTo>
                  <a:pt x="3523314" y="2634238"/>
                  <a:pt x="3522383" y="2632908"/>
                  <a:pt x="3521317" y="2631711"/>
                </a:cubicBezTo>
                <a:cubicBezTo>
                  <a:pt x="3520252" y="2630645"/>
                  <a:pt x="3518921" y="2629712"/>
                  <a:pt x="3517324" y="2629047"/>
                </a:cubicBezTo>
                <a:cubicBezTo>
                  <a:pt x="3515860" y="2628382"/>
                  <a:pt x="3514262" y="2628116"/>
                  <a:pt x="3512265" y="2628116"/>
                </a:cubicBezTo>
                <a:close/>
                <a:moveTo>
                  <a:pt x="3294745" y="2628116"/>
                </a:moveTo>
                <a:cubicBezTo>
                  <a:pt x="3288888" y="2628116"/>
                  <a:pt x="3286358" y="2630111"/>
                  <a:pt x="3284761" y="2631711"/>
                </a:cubicBezTo>
                <a:cubicBezTo>
                  <a:pt x="3282230" y="2634372"/>
                  <a:pt x="3281167" y="2637168"/>
                  <a:pt x="3281167" y="2641161"/>
                </a:cubicBezTo>
                <a:cubicBezTo>
                  <a:pt x="3281167" y="2645288"/>
                  <a:pt x="3282230" y="2648084"/>
                  <a:pt x="3284761" y="2650612"/>
                </a:cubicBezTo>
                <a:cubicBezTo>
                  <a:pt x="3286358" y="2652210"/>
                  <a:pt x="3288888" y="2654073"/>
                  <a:pt x="3294745" y="2654073"/>
                </a:cubicBezTo>
                <a:cubicBezTo>
                  <a:pt x="3296742" y="2654073"/>
                  <a:pt x="3298473" y="2653808"/>
                  <a:pt x="3300071" y="2653141"/>
                </a:cubicBezTo>
                <a:cubicBezTo>
                  <a:pt x="3301535" y="2652609"/>
                  <a:pt x="3302867" y="2651810"/>
                  <a:pt x="3303798" y="2650745"/>
                </a:cubicBezTo>
                <a:cubicBezTo>
                  <a:pt x="3304863" y="2649547"/>
                  <a:pt x="3305795" y="2648216"/>
                  <a:pt x="3306461" y="2646486"/>
                </a:cubicBezTo>
                <a:cubicBezTo>
                  <a:pt x="3307126" y="2644889"/>
                  <a:pt x="3307525" y="2643025"/>
                  <a:pt x="3307525" y="2641028"/>
                </a:cubicBezTo>
                <a:cubicBezTo>
                  <a:pt x="3307525" y="2639164"/>
                  <a:pt x="3307126" y="2637434"/>
                  <a:pt x="3306461" y="2635836"/>
                </a:cubicBezTo>
                <a:cubicBezTo>
                  <a:pt x="3305795" y="2634238"/>
                  <a:pt x="3304863" y="2632908"/>
                  <a:pt x="3303798" y="2631711"/>
                </a:cubicBezTo>
                <a:cubicBezTo>
                  <a:pt x="3302733" y="2630645"/>
                  <a:pt x="3301402" y="2629712"/>
                  <a:pt x="3299805" y="2629047"/>
                </a:cubicBezTo>
                <a:cubicBezTo>
                  <a:pt x="3298341" y="2628382"/>
                  <a:pt x="3296742" y="2628116"/>
                  <a:pt x="3294745" y="2628116"/>
                </a:cubicBezTo>
                <a:close/>
                <a:moveTo>
                  <a:pt x="3077226" y="2628116"/>
                </a:moveTo>
                <a:cubicBezTo>
                  <a:pt x="3071368" y="2628116"/>
                  <a:pt x="3068839" y="2630111"/>
                  <a:pt x="3067243" y="2631711"/>
                </a:cubicBezTo>
                <a:cubicBezTo>
                  <a:pt x="3064579" y="2634372"/>
                  <a:pt x="3063514" y="2637168"/>
                  <a:pt x="3063514" y="2641161"/>
                </a:cubicBezTo>
                <a:cubicBezTo>
                  <a:pt x="3063514" y="2645288"/>
                  <a:pt x="3064579" y="2648084"/>
                  <a:pt x="3067108" y="2650612"/>
                </a:cubicBezTo>
                <a:cubicBezTo>
                  <a:pt x="3068706" y="2652210"/>
                  <a:pt x="3071235" y="2654073"/>
                  <a:pt x="3077093" y="2654073"/>
                </a:cubicBezTo>
                <a:cubicBezTo>
                  <a:pt x="3079090" y="2654073"/>
                  <a:pt x="3080820" y="2653808"/>
                  <a:pt x="3082551" y="2653141"/>
                </a:cubicBezTo>
                <a:cubicBezTo>
                  <a:pt x="3084016" y="2652609"/>
                  <a:pt x="3085347" y="2651810"/>
                  <a:pt x="3086278" y="2650745"/>
                </a:cubicBezTo>
                <a:cubicBezTo>
                  <a:pt x="3087343" y="2649547"/>
                  <a:pt x="3088275" y="2648216"/>
                  <a:pt x="3088941" y="2646486"/>
                </a:cubicBezTo>
                <a:cubicBezTo>
                  <a:pt x="3089606" y="2644889"/>
                  <a:pt x="3089873" y="2643025"/>
                  <a:pt x="3089873" y="2641028"/>
                </a:cubicBezTo>
                <a:cubicBezTo>
                  <a:pt x="3089873" y="2639164"/>
                  <a:pt x="3089606" y="2637434"/>
                  <a:pt x="3088941" y="2635836"/>
                </a:cubicBezTo>
                <a:cubicBezTo>
                  <a:pt x="3088275" y="2634238"/>
                  <a:pt x="3087343" y="2632908"/>
                  <a:pt x="3086278" y="2631711"/>
                </a:cubicBezTo>
                <a:cubicBezTo>
                  <a:pt x="3085214" y="2630645"/>
                  <a:pt x="3083882" y="2629712"/>
                  <a:pt x="3082285" y="2629047"/>
                </a:cubicBezTo>
                <a:cubicBezTo>
                  <a:pt x="3080820" y="2628382"/>
                  <a:pt x="3079223" y="2628116"/>
                  <a:pt x="3077226" y="2628116"/>
                </a:cubicBezTo>
                <a:close/>
                <a:moveTo>
                  <a:pt x="2859440" y="2628116"/>
                </a:moveTo>
                <a:cubicBezTo>
                  <a:pt x="2853583" y="2628116"/>
                  <a:pt x="2851054" y="2630111"/>
                  <a:pt x="2849455" y="2631711"/>
                </a:cubicBezTo>
                <a:cubicBezTo>
                  <a:pt x="2846923" y="2634372"/>
                  <a:pt x="2845860" y="2637168"/>
                  <a:pt x="2845860" y="2641161"/>
                </a:cubicBezTo>
                <a:cubicBezTo>
                  <a:pt x="2845860" y="2645288"/>
                  <a:pt x="2846923" y="2648084"/>
                  <a:pt x="2849455" y="2650612"/>
                </a:cubicBezTo>
                <a:cubicBezTo>
                  <a:pt x="2851054" y="2652210"/>
                  <a:pt x="2853583" y="2654073"/>
                  <a:pt x="2859440" y="2654073"/>
                </a:cubicBezTo>
                <a:cubicBezTo>
                  <a:pt x="2861437" y="2654073"/>
                  <a:pt x="2863301" y="2653808"/>
                  <a:pt x="2864765" y="2653141"/>
                </a:cubicBezTo>
                <a:cubicBezTo>
                  <a:pt x="2866363" y="2652609"/>
                  <a:pt x="2867562" y="2651810"/>
                  <a:pt x="2868492" y="2650745"/>
                </a:cubicBezTo>
                <a:cubicBezTo>
                  <a:pt x="2869557" y="2649547"/>
                  <a:pt x="2870490" y="2648216"/>
                  <a:pt x="2871155" y="2646486"/>
                </a:cubicBezTo>
                <a:cubicBezTo>
                  <a:pt x="2871687" y="2644889"/>
                  <a:pt x="2872086" y="2643025"/>
                  <a:pt x="2872086" y="2641028"/>
                </a:cubicBezTo>
                <a:cubicBezTo>
                  <a:pt x="2872086" y="2639164"/>
                  <a:pt x="2871820" y="2637434"/>
                  <a:pt x="2871155" y="2635836"/>
                </a:cubicBezTo>
                <a:cubicBezTo>
                  <a:pt x="2870490" y="2634238"/>
                  <a:pt x="2869557" y="2632908"/>
                  <a:pt x="2868492" y="2631711"/>
                </a:cubicBezTo>
                <a:cubicBezTo>
                  <a:pt x="2867428" y="2630645"/>
                  <a:pt x="2866096" y="2629712"/>
                  <a:pt x="2864500" y="2629047"/>
                </a:cubicBezTo>
                <a:cubicBezTo>
                  <a:pt x="2863036" y="2628382"/>
                  <a:pt x="2861437" y="2628116"/>
                  <a:pt x="2859440" y="2628116"/>
                </a:cubicBezTo>
                <a:close/>
                <a:moveTo>
                  <a:pt x="2641787" y="2628116"/>
                </a:moveTo>
                <a:cubicBezTo>
                  <a:pt x="2635930" y="2628116"/>
                  <a:pt x="2633401" y="2630111"/>
                  <a:pt x="2631804" y="2631711"/>
                </a:cubicBezTo>
                <a:cubicBezTo>
                  <a:pt x="2629274" y="2634372"/>
                  <a:pt x="2628210" y="2637168"/>
                  <a:pt x="2628210" y="2641161"/>
                </a:cubicBezTo>
                <a:cubicBezTo>
                  <a:pt x="2628210" y="2645288"/>
                  <a:pt x="2629274" y="2648084"/>
                  <a:pt x="2631804" y="2650612"/>
                </a:cubicBezTo>
                <a:cubicBezTo>
                  <a:pt x="2633401" y="2652210"/>
                  <a:pt x="2635930" y="2654073"/>
                  <a:pt x="2641787" y="2654073"/>
                </a:cubicBezTo>
                <a:cubicBezTo>
                  <a:pt x="2643784" y="2654073"/>
                  <a:pt x="2645649" y="2653808"/>
                  <a:pt x="2647113" y="2653141"/>
                </a:cubicBezTo>
                <a:cubicBezTo>
                  <a:pt x="2648710" y="2652609"/>
                  <a:pt x="2649907" y="2651810"/>
                  <a:pt x="2650840" y="2650745"/>
                </a:cubicBezTo>
                <a:cubicBezTo>
                  <a:pt x="2651905" y="2649547"/>
                  <a:pt x="2652837" y="2648216"/>
                  <a:pt x="2653503" y="2646486"/>
                </a:cubicBezTo>
                <a:cubicBezTo>
                  <a:pt x="2654035" y="2644889"/>
                  <a:pt x="2654433" y="2643025"/>
                  <a:pt x="2654433" y="2641028"/>
                </a:cubicBezTo>
                <a:cubicBezTo>
                  <a:pt x="2654433" y="2639164"/>
                  <a:pt x="2654168" y="2637434"/>
                  <a:pt x="2653503" y="2635836"/>
                </a:cubicBezTo>
                <a:cubicBezTo>
                  <a:pt x="2652837" y="2634238"/>
                  <a:pt x="2651905" y="2632908"/>
                  <a:pt x="2650840" y="2631711"/>
                </a:cubicBezTo>
                <a:cubicBezTo>
                  <a:pt x="2649775" y="2630645"/>
                  <a:pt x="2648444" y="2629712"/>
                  <a:pt x="2646847" y="2629047"/>
                </a:cubicBezTo>
                <a:cubicBezTo>
                  <a:pt x="2645382" y="2628382"/>
                  <a:pt x="2643784" y="2628116"/>
                  <a:pt x="2641787" y="2628116"/>
                </a:cubicBezTo>
                <a:close/>
                <a:moveTo>
                  <a:pt x="2424134" y="2628116"/>
                </a:moveTo>
                <a:cubicBezTo>
                  <a:pt x="2418278" y="2628116"/>
                  <a:pt x="2415749" y="2630111"/>
                  <a:pt x="2414151" y="2631711"/>
                </a:cubicBezTo>
                <a:cubicBezTo>
                  <a:pt x="2411621" y="2634372"/>
                  <a:pt x="2410557" y="2637168"/>
                  <a:pt x="2410557" y="2641161"/>
                </a:cubicBezTo>
                <a:cubicBezTo>
                  <a:pt x="2410557" y="2645288"/>
                  <a:pt x="2411621" y="2648084"/>
                  <a:pt x="2414151" y="2650612"/>
                </a:cubicBezTo>
                <a:cubicBezTo>
                  <a:pt x="2415749" y="2652210"/>
                  <a:pt x="2418278" y="2654073"/>
                  <a:pt x="2424134" y="2654073"/>
                </a:cubicBezTo>
                <a:cubicBezTo>
                  <a:pt x="2426265" y="2654073"/>
                  <a:pt x="2427996" y="2653808"/>
                  <a:pt x="2429460" y="2653141"/>
                </a:cubicBezTo>
                <a:cubicBezTo>
                  <a:pt x="2431058" y="2652609"/>
                  <a:pt x="2432256" y="2651810"/>
                  <a:pt x="2433187" y="2650745"/>
                </a:cubicBezTo>
                <a:cubicBezTo>
                  <a:pt x="2434252" y="2649547"/>
                  <a:pt x="2435184" y="2648216"/>
                  <a:pt x="2435850" y="2646486"/>
                </a:cubicBezTo>
                <a:cubicBezTo>
                  <a:pt x="2436382" y="2644889"/>
                  <a:pt x="2436781" y="2643025"/>
                  <a:pt x="2436781" y="2641028"/>
                </a:cubicBezTo>
                <a:cubicBezTo>
                  <a:pt x="2436781" y="2639164"/>
                  <a:pt x="2436515" y="2637434"/>
                  <a:pt x="2435850" y="2635836"/>
                </a:cubicBezTo>
                <a:cubicBezTo>
                  <a:pt x="2435184" y="2634238"/>
                  <a:pt x="2434252" y="2632908"/>
                  <a:pt x="2433187" y="2631711"/>
                </a:cubicBezTo>
                <a:cubicBezTo>
                  <a:pt x="2432123" y="2630645"/>
                  <a:pt x="2430791" y="2629712"/>
                  <a:pt x="2429194" y="2629047"/>
                </a:cubicBezTo>
                <a:cubicBezTo>
                  <a:pt x="2427730" y="2628382"/>
                  <a:pt x="2426132" y="2628116"/>
                  <a:pt x="2424134" y="2628116"/>
                </a:cubicBezTo>
                <a:close/>
                <a:moveTo>
                  <a:pt x="2206482" y="2628116"/>
                </a:moveTo>
                <a:cubicBezTo>
                  <a:pt x="2200625" y="2628116"/>
                  <a:pt x="2198096" y="2630111"/>
                  <a:pt x="2196499" y="2631711"/>
                </a:cubicBezTo>
                <a:cubicBezTo>
                  <a:pt x="2193969" y="2634372"/>
                  <a:pt x="2192904" y="2637168"/>
                  <a:pt x="2192904" y="2641161"/>
                </a:cubicBezTo>
                <a:cubicBezTo>
                  <a:pt x="2192904" y="2645288"/>
                  <a:pt x="2193969" y="2648084"/>
                  <a:pt x="2196499" y="2650612"/>
                </a:cubicBezTo>
                <a:cubicBezTo>
                  <a:pt x="2198096" y="2652210"/>
                  <a:pt x="2200625" y="2654073"/>
                  <a:pt x="2206482" y="2654073"/>
                </a:cubicBezTo>
                <a:cubicBezTo>
                  <a:pt x="2208612" y="2654073"/>
                  <a:pt x="2210343" y="2653808"/>
                  <a:pt x="2211807" y="2653141"/>
                </a:cubicBezTo>
                <a:cubicBezTo>
                  <a:pt x="2213404" y="2652609"/>
                  <a:pt x="2214602" y="2651810"/>
                  <a:pt x="2215534" y="2650745"/>
                </a:cubicBezTo>
                <a:cubicBezTo>
                  <a:pt x="2216599" y="2649547"/>
                  <a:pt x="2217531" y="2648216"/>
                  <a:pt x="2218197" y="2646486"/>
                </a:cubicBezTo>
                <a:cubicBezTo>
                  <a:pt x="2218729" y="2644889"/>
                  <a:pt x="2219128" y="2643025"/>
                  <a:pt x="2219128" y="2641028"/>
                </a:cubicBezTo>
                <a:cubicBezTo>
                  <a:pt x="2219128" y="2639164"/>
                  <a:pt x="2218862" y="2637434"/>
                  <a:pt x="2218197" y="2635836"/>
                </a:cubicBezTo>
                <a:cubicBezTo>
                  <a:pt x="2217531" y="2634238"/>
                  <a:pt x="2216599" y="2632908"/>
                  <a:pt x="2215534" y="2631711"/>
                </a:cubicBezTo>
                <a:cubicBezTo>
                  <a:pt x="2214469" y="2630645"/>
                  <a:pt x="2213138" y="2629712"/>
                  <a:pt x="2211541" y="2629047"/>
                </a:cubicBezTo>
                <a:cubicBezTo>
                  <a:pt x="2210076" y="2628382"/>
                  <a:pt x="2208479" y="2628116"/>
                  <a:pt x="2206482" y="2628116"/>
                </a:cubicBezTo>
                <a:close/>
                <a:moveTo>
                  <a:pt x="1988962" y="2628116"/>
                </a:moveTo>
                <a:cubicBezTo>
                  <a:pt x="1983105" y="2628116"/>
                  <a:pt x="1980576" y="2630111"/>
                  <a:pt x="1978979" y="2631711"/>
                </a:cubicBezTo>
                <a:cubicBezTo>
                  <a:pt x="1976449" y="2634372"/>
                  <a:pt x="1975385" y="2637168"/>
                  <a:pt x="1975385" y="2641161"/>
                </a:cubicBezTo>
                <a:cubicBezTo>
                  <a:pt x="1975385" y="2645288"/>
                  <a:pt x="1976449" y="2648084"/>
                  <a:pt x="1978979" y="2650612"/>
                </a:cubicBezTo>
                <a:cubicBezTo>
                  <a:pt x="1980576" y="2652210"/>
                  <a:pt x="1983105" y="2654073"/>
                  <a:pt x="1988962" y="2654073"/>
                </a:cubicBezTo>
                <a:cubicBezTo>
                  <a:pt x="1990959" y="2654073"/>
                  <a:pt x="1992690" y="2653808"/>
                  <a:pt x="1994287" y="2653141"/>
                </a:cubicBezTo>
                <a:cubicBezTo>
                  <a:pt x="1995885" y="2652609"/>
                  <a:pt x="1997084" y="2651810"/>
                  <a:pt x="1998015" y="2650745"/>
                </a:cubicBezTo>
                <a:cubicBezTo>
                  <a:pt x="1999079" y="2649547"/>
                  <a:pt x="2000011" y="2648216"/>
                  <a:pt x="2000678" y="2646486"/>
                </a:cubicBezTo>
                <a:cubicBezTo>
                  <a:pt x="2001209" y="2644889"/>
                  <a:pt x="2001608" y="2643025"/>
                  <a:pt x="2001608" y="2641028"/>
                </a:cubicBezTo>
                <a:cubicBezTo>
                  <a:pt x="2001608" y="2639164"/>
                  <a:pt x="2001343" y="2637434"/>
                  <a:pt x="2000678" y="2635836"/>
                </a:cubicBezTo>
                <a:cubicBezTo>
                  <a:pt x="2000011" y="2634238"/>
                  <a:pt x="1999079" y="2632908"/>
                  <a:pt x="1998015" y="2631711"/>
                </a:cubicBezTo>
                <a:cubicBezTo>
                  <a:pt x="1996950" y="2630645"/>
                  <a:pt x="1995618" y="2629712"/>
                  <a:pt x="1994021" y="2629047"/>
                </a:cubicBezTo>
                <a:cubicBezTo>
                  <a:pt x="1992557" y="2628382"/>
                  <a:pt x="1990959" y="2628116"/>
                  <a:pt x="1988962" y="2628116"/>
                </a:cubicBezTo>
                <a:close/>
                <a:moveTo>
                  <a:pt x="1771323" y="2628116"/>
                </a:moveTo>
                <a:cubicBezTo>
                  <a:pt x="1765466" y="2628116"/>
                  <a:pt x="1762937" y="2630111"/>
                  <a:pt x="1761340" y="2631711"/>
                </a:cubicBezTo>
                <a:cubicBezTo>
                  <a:pt x="1758811" y="2634372"/>
                  <a:pt x="1757746" y="2637168"/>
                  <a:pt x="1757746" y="2641161"/>
                </a:cubicBezTo>
                <a:cubicBezTo>
                  <a:pt x="1757746" y="2645288"/>
                  <a:pt x="1758811" y="2648084"/>
                  <a:pt x="1761340" y="2650612"/>
                </a:cubicBezTo>
                <a:cubicBezTo>
                  <a:pt x="1762937" y="2652210"/>
                  <a:pt x="1765466" y="2654073"/>
                  <a:pt x="1771323" y="2654073"/>
                </a:cubicBezTo>
                <a:cubicBezTo>
                  <a:pt x="1773320" y="2654073"/>
                  <a:pt x="1775184" y="2653808"/>
                  <a:pt x="1776648" y="2653141"/>
                </a:cubicBezTo>
                <a:cubicBezTo>
                  <a:pt x="1778112" y="2652609"/>
                  <a:pt x="1779442" y="2651810"/>
                  <a:pt x="1780374" y="2650745"/>
                </a:cubicBezTo>
                <a:cubicBezTo>
                  <a:pt x="1781439" y="2649547"/>
                  <a:pt x="1782371" y="2648216"/>
                  <a:pt x="1783037" y="2646486"/>
                </a:cubicBezTo>
                <a:cubicBezTo>
                  <a:pt x="1783702" y="2644889"/>
                  <a:pt x="1784102" y="2643025"/>
                  <a:pt x="1784102" y="2641028"/>
                </a:cubicBezTo>
                <a:cubicBezTo>
                  <a:pt x="1784102" y="2639164"/>
                  <a:pt x="1783702" y="2637434"/>
                  <a:pt x="1783037" y="2635836"/>
                </a:cubicBezTo>
                <a:cubicBezTo>
                  <a:pt x="1782371" y="2634238"/>
                  <a:pt x="1781439" y="2632908"/>
                  <a:pt x="1780374" y="2631711"/>
                </a:cubicBezTo>
                <a:cubicBezTo>
                  <a:pt x="1779310" y="2630645"/>
                  <a:pt x="1777979" y="2629712"/>
                  <a:pt x="1776382" y="2629047"/>
                </a:cubicBezTo>
                <a:cubicBezTo>
                  <a:pt x="1774917" y="2628382"/>
                  <a:pt x="1773320" y="2628116"/>
                  <a:pt x="1771323" y="2628116"/>
                </a:cubicBezTo>
                <a:close/>
                <a:moveTo>
                  <a:pt x="1553681" y="2628116"/>
                </a:moveTo>
                <a:cubicBezTo>
                  <a:pt x="1547824" y="2628116"/>
                  <a:pt x="1545295" y="2630111"/>
                  <a:pt x="1543698" y="2631711"/>
                </a:cubicBezTo>
                <a:cubicBezTo>
                  <a:pt x="1541168" y="2634372"/>
                  <a:pt x="1540104" y="2637168"/>
                  <a:pt x="1540104" y="2641161"/>
                </a:cubicBezTo>
                <a:cubicBezTo>
                  <a:pt x="1540104" y="2645288"/>
                  <a:pt x="1541168" y="2648084"/>
                  <a:pt x="1543698" y="2650612"/>
                </a:cubicBezTo>
                <a:cubicBezTo>
                  <a:pt x="1545295" y="2652210"/>
                  <a:pt x="1547824" y="2654073"/>
                  <a:pt x="1553681" y="2654073"/>
                </a:cubicBezTo>
                <a:cubicBezTo>
                  <a:pt x="1555678" y="2654073"/>
                  <a:pt x="1557542" y="2653808"/>
                  <a:pt x="1559006" y="2653141"/>
                </a:cubicBezTo>
                <a:cubicBezTo>
                  <a:pt x="1560470" y="2652609"/>
                  <a:pt x="1561802" y="2651810"/>
                  <a:pt x="1562733" y="2650745"/>
                </a:cubicBezTo>
                <a:cubicBezTo>
                  <a:pt x="1563798" y="2649547"/>
                  <a:pt x="1564730" y="2648216"/>
                  <a:pt x="1565396" y="2646486"/>
                </a:cubicBezTo>
                <a:cubicBezTo>
                  <a:pt x="1566061" y="2644889"/>
                  <a:pt x="1566461" y="2643025"/>
                  <a:pt x="1566461" y="2641028"/>
                </a:cubicBezTo>
                <a:cubicBezTo>
                  <a:pt x="1566461" y="2639164"/>
                  <a:pt x="1566061" y="2637434"/>
                  <a:pt x="1565396" y="2635836"/>
                </a:cubicBezTo>
                <a:cubicBezTo>
                  <a:pt x="1564730" y="2634238"/>
                  <a:pt x="1563798" y="2632908"/>
                  <a:pt x="1562733" y="2631711"/>
                </a:cubicBezTo>
                <a:cubicBezTo>
                  <a:pt x="1561668" y="2630645"/>
                  <a:pt x="1560337" y="2629712"/>
                  <a:pt x="1558740" y="2629047"/>
                </a:cubicBezTo>
                <a:cubicBezTo>
                  <a:pt x="1557276" y="2628382"/>
                  <a:pt x="1555678" y="2628116"/>
                  <a:pt x="1553681" y="2628116"/>
                </a:cubicBezTo>
                <a:close/>
                <a:moveTo>
                  <a:pt x="1336036" y="2628116"/>
                </a:moveTo>
                <a:cubicBezTo>
                  <a:pt x="1330179" y="2628116"/>
                  <a:pt x="1327650" y="2630111"/>
                  <a:pt x="1326054" y="2631711"/>
                </a:cubicBezTo>
                <a:cubicBezTo>
                  <a:pt x="1323523" y="2634372"/>
                  <a:pt x="1322459" y="2637168"/>
                  <a:pt x="1322459" y="2641161"/>
                </a:cubicBezTo>
                <a:cubicBezTo>
                  <a:pt x="1322459" y="2645288"/>
                  <a:pt x="1323523" y="2648084"/>
                  <a:pt x="1326054" y="2650612"/>
                </a:cubicBezTo>
                <a:cubicBezTo>
                  <a:pt x="1327650" y="2652210"/>
                  <a:pt x="1330179" y="2654073"/>
                  <a:pt x="1336036" y="2654073"/>
                </a:cubicBezTo>
                <a:cubicBezTo>
                  <a:pt x="1338166" y="2654073"/>
                  <a:pt x="1339897" y="2653808"/>
                  <a:pt x="1341363" y="2653141"/>
                </a:cubicBezTo>
                <a:cubicBezTo>
                  <a:pt x="1342827" y="2652609"/>
                  <a:pt x="1344158" y="2651810"/>
                  <a:pt x="1345090" y="2650745"/>
                </a:cubicBezTo>
                <a:cubicBezTo>
                  <a:pt x="1346154" y="2649547"/>
                  <a:pt x="1347087" y="2648216"/>
                  <a:pt x="1347753" y="2646486"/>
                </a:cubicBezTo>
                <a:cubicBezTo>
                  <a:pt x="1348418" y="2644889"/>
                  <a:pt x="1348818" y="2643025"/>
                  <a:pt x="1348818" y="2641028"/>
                </a:cubicBezTo>
                <a:cubicBezTo>
                  <a:pt x="1348818" y="2639164"/>
                  <a:pt x="1348418" y="2637434"/>
                  <a:pt x="1347753" y="2635836"/>
                </a:cubicBezTo>
                <a:cubicBezTo>
                  <a:pt x="1347087" y="2634238"/>
                  <a:pt x="1346154" y="2632908"/>
                  <a:pt x="1345090" y="2631711"/>
                </a:cubicBezTo>
                <a:cubicBezTo>
                  <a:pt x="1344025" y="2630645"/>
                  <a:pt x="1342694" y="2629712"/>
                  <a:pt x="1341096" y="2629047"/>
                </a:cubicBezTo>
                <a:cubicBezTo>
                  <a:pt x="1339632" y="2628382"/>
                  <a:pt x="1338033" y="2628116"/>
                  <a:pt x="1336036" y="2628116"/>
                </a:cubicBezTo>
                <a:close/>
                <a:moveTo>
                  <a:pt x="1118525" y="2628116"/>
                </a:moveTo>
                <a:cubicBezTo>
                  <a:pt x="1112667" y="2628116"/>
                  <a:pt x="1110138" y="2630111"/>
                  <a:pt x="1108541" y="2631711"/>
                </a:cubicBezTo>
                <a:cubicBezTo>
                  <a:pt x="1105878" y="2634372"/>
                  <a:pt x="1104814" y="2637168"/>
                  <a:pt x="1104814" y="2641161"/>
                </a:cubicBezTo>
                <a:cubicBezTo>
                  <a:pt x="1104814" y="2645288"/>
                  <a:pt x="1105878" y="2648084"/>
                  <a:pt x="1108408" y="2650612"/>
                </a:cubicBezTo>
                <a:cubicBezTo>
                  <a:pt x="1110005" y="2652210"/>
                  <a:pt x="1112534" y="2654073"/>
                  <a:pt x="1118392" y="2654073"/>
                </a:cubicBezTo>
                <a:cubicBezTo>
                  <a:pt x="1120522" y="2654073"/>
                  <a:pt x="1122253" y="2653808"/>
                  <a:pt x="1123849" y="2653141"/>
                </a:cubicBezTo>
                <a:cubicBezTo>
                  <a:pt x="1125314" y="2652609"/>
                  <a:pt x="1126648" y="2651810"/>
                  <a:pt x="1127578" y="2650745"/>
                </a:cubicBezTo>
                <a:cubicBezTo>
                  <a:pt x="1128642" y="2649547"/>
                  <a:pt x="1129575" y="2648216"/>
                  <a:pt x="1130241" y="2646486"/>
                </a:cubicBezTo>
                <a:cubicBezTo>
                  <a:pt x="1130906" y="2644889"/>
                  <a:pt x="1131307" y="2643025"/>
                  <a:pt x="1131307" y="2641028"/>
                </a:cubicBezTo>
                <a:cubicBezTo>
                  <a:pt x="1131307" y="2639164"/>
                  <a:pt x="1130906" y="2637434"/>
                  <a:pt x="1130241" y="2635836"/>
                </a:cubicBezTo>
                <a:cubicBezTo>
                  <a:pt x="1129575" y="2634238"/>
                  <a:pt x="1128642" y="2632908"/>
                  <a:pt x="1127578" y="2631711"/>
                </a:cubicBezTo>
                <a:cubicBezTo>
                  <a:pt x="1126513" y="2630645"/>
                  <a:pt x="1125182" y="2629712"/>
                  <a:pt x="1123583" y="2629047"/>
                </a:cubicBezTo>
                <a:cubicBezTo>
                  <a:pt x="1122120" y="2628382"/>
                  <a:pt x="1120522" y="2628116"/>
                  <a:pt x="1118525" y="2628116"/>
                </a:cubicBezTo>
                <a:close/>
                <a:moveTo>
                  <a:pt x="901013" y="2628116"/>
                </a:moveTo>
                <a:cubicBezTo>
                  <a:pt x="895155" y="2628116"/>
                  <a:pt x="892626" y="2630111"/>
                  <a:pt x="891029" y="2631711"/>
                </a:cubicBezTo>
                <a:cubicBezTo>
                  <a:pt x="888366" y="2634372"/>
                  <a:pt x="887302" y="2637168"/>
                  <a:pt x="887302" y="2641161"/>
                </a:cubicBezTo>
                <a:cubicBezTo>
                  <a:pt x="887302" y="2645288"/>
                  <a:pt x="888366" y="2648084"/>
                  <a:pt x="890896" y="2650612"/>
                </a:cubicBezTo>
                <a:cubicBezTo>
                  <a:pt x="892493" y="2652210"/>
                  <a:pt x="895022" y="2654073"/>
                  <a:pt x="900879" y="2654073"/>
                </a:cubicBezTo>
                <a:cubicBezTo>
                  <a:pt x="902876" y="2654073"/>
                  <a:pt x="904607" y="2653808"/>
                  <a:pt x="906338" y="2653141"/>
                </a:cubicBezTo>
                <a:cubicBezTo>
                  <a:pt x="907802" y="2652609"/>
                  <a:pt x="909134" y="2651810"/>
                  <a:pt x="910066" y="2650745"/>
                </a:cubicBezTo>
                <a:cubicBezTo>
                  <a:pt x="911130" y="2649547"/>
                  <a:pt x="912062" y="2648216"/>
                  <a:pt x="912728" y="2646486"/>
                </a:cubicBezTo>
                <a:cubicBezTo>
                  <a:pt x="913393" y="2644889"/>
                  <a:pt x="913793" y="2643025"/>
                  <a:pt x="913793" y="2641028"/>
                </a:cubicBezTo>
                <a:cubicBezTo>
                  <a:pt x="913793" y="2639164"/>
                  <a:pt x="913393" y="2637434"/>
                  <a:pt x="912728" y="2635836"/>
                </a:cubicBezTo>
                <a:cubicBezTo>
                  <a:pt x="912062" y="2634238"/>
                  <a:pt x="911130" y="2632908"/>
                  <a:pt x="910066" y="2631711"/>
                </a:cubicBezTo>
                <a:cubicBezTo>
                  <a:pt x="909000" y="2630645"/>
                  <a:pt x="907669" y="2629712"/>
                  <a:pt x="906072" y="2629047"/>
                </a:cubicBezTo>
                <a:cubicBezTo>
                  <a:pt x="904607" y="2628382"/>
                  <a:pt x="903009" y="2628116"/>
                  <a:pt x="901013" y="2628116"/>
                </a:cubicBezTo>
                <a:close/>
                <a:moveTo>
                  <a:pt x="683237" y="2628116"/>
                </a:moveTo>
                <a:cubicBezTo>
                  <a:pt x="677380" y="2628116"/>
                  <a:pt x="674851" y="2630111"/>
                  <a:pt x="673254" y="2631711"/>
                </a:cubicBezTo>
                <a:cubicBezTo>
                  <a:pt x="670724" y="2634372"/>
                  <a:pt x="669660" y="2637168"/>
                  <a:pt x="669660" y="2641161"/>
                </a:cubicBezTo>
                <a:cubicBezTo>
                  <a:pt x="669660" y="2645288"/>
                  <a:pt x="670724" y="2648084"/>
                  <a:pt x="673254" y="2650612"/>
                </a:cubicBezTo>
                <a:cubicBezTo>
                  <a:pt x="674851" y="2652210"/>
                  <a:pt x="677380" y="2654073"/>
                  <a:pt x="683237" y="2654073"/>
                </a:cubicBezTo>
                <a:cubicBezTo>
                  <a:pt x="685234" y="2654073"/>
                  <a:pt x="687098" y="2653808"/>
                  <a:pt x="688562" y="2653141"/>
                </a:cubicBezTo>
                <a:cubicBezTo>
                  <a:pt x="690026" y="2652609"/>
                  <a:pt x="691358" y="2651810"/>
                  <a:pt x="692289" y="2650745"/>
                </a:cubicBezTo>
                <a:cubicBezTo>
                  <a:pt x="693354" y="2649547"/>
                  <a:pt x="694286" y="2648216"/>
                  <a:pt x="694952" y="2646486"/>
                </a:cubicBezTo>
                <a:cubicBezTo>
                  <a:pt x="695617" y="2644889"/>
                  <a:pt x="696017" y="2643025"/>
                  <a:pt x="696017" y="2641028"/>
                </a:cubicBezTo>
                <a:cubicBezTo>
                  <a:pt x="696017" y="2639164"/>
                  <a:pt x="695617" y="2637434"/>
                  <a:pt x="694952" y="2635836"/>
                </a:cubicBezTo>
                <a:cubicBezTo>
                  <a:pt x="694286" y="2634238"/>
                  <a:pt x="693354" y="2632908"/>
                  <a:pt x="692289" y="2631711"/>
                </a:cubicBezTo>
                <a:cubicBezTo>
                  <a:pt x="691224" y="2630645"/>
                  <a:pt x="689893" y="2629712"/>
                  <a:pt x="688296" y="2629047"/>
                </a:cubicBezTo>
                <a:cubicBezTo>
                  <a:pt x="686832" y="2628382"/>
                  <a:pt x="685234" y="2628116"/>
                  <a:pt x="683237" y="2628116"/>
                </a:cubicBezTo>
                <a:close/>
                <a:moveTo>
                  <a:pt x="465594" y="2628116"/>
                </a:moveTo>
                <a:cubicBezTo>
                  <a:pt x="459737" y="2628116"/>
                  <a:pt x="457208" y="2630111"/>
                  <a:pt x="455611" y="2631711"/>
                </a:cubicBezTo>
                <a:cubicBezTo>
                  <a:pt x="453081" y="2634372"/>
                  <a:pt x="452017" y="2637168"/>
                  <a:pt x="452017" y="2641161"/>
                </a:cubicBezTo>
                <a:cubicBezTo>
                  <a:pt x="452017" y="2645288"/>
                  <a:pt x="453081" y="2648084"/>
                  <a:pt x="455611" y="2650612"/>
                </a:cubicBezTo>
                <a:cubicBezTo>
                  <a:pt x="457208" y="2652210"/>
                  <a:pt x="459737" y="2654073"/>
                  <a:pt x="465594" y="2654073"/>
                </a:cubicBezTo>
                <a:cubicBezTo>
                  <a:pt x="467591" y="2654073"/>
                  <a:pt x="469455" y="2653808"/>
                  <a:pt x="470919" y="2653141"/>
                </a:cubicBezTo>
                <a:cubicBezTo>
                  <a:pt x="472383" y="2652609"/>
                  <a:pt x="473714" y="2651810"/>
                  <a:pt x="474646" y="2650745"/>
                </a:cubicBezTo>
                <a:cubicBezTo>
                  <a:pt x="475711" y="2649547"/>
                  <a:pt x="476643" y="2648216"/>
                  <a:pt x="477309" y="2646486"/>
                </a:cubicBezTo>
                <a:cubicBezTo>
                  <a:pt x="477974" y="2644889"/>
                  <a:pt x="478374" y="2643025"/>
                  <a:pt x="478374" y="2641028"/>
                </a:cubicBezTo>
                <a:cubicBezTo>
                  <a:pt x="478374" y="2639164"/>
                  <a:pt x="477974" y="2637434"/>
                  <a:pt x="477309" y="2635836"/>
                </a:cubicBezTo>
                <a:cubicBezTo>
                  <a:pt x="476643" y="2634238"/>
                  <a:pt x="475711" y="2632908"/>
                  <a:pt x="474646" y="2631711"/>
                </a:cubicBezTo>
                <a:cubicBezTo>
                  <a:pt x="473581" y="2630645"/>
                  <a:pt x="472250" y="2629712"/>
                  <a:pt x="470653" y="2629047"/>
                </a:cubicBezTo>
                <a:cubicBezTo>
                  <a:pt x="469189" y="2628382"/>
                  <a:pt x="467591" y="2628116"/>
                  <a:pt x="465594" y="2628116"/>
                </a:cubicBezTo>
                <a:close/>
                <a:moveTo>
                  <a:pt x="247951" y="2628116"/>
                </a:moveTo>
                <a:cubicBezTo>
                  <a:pt x="242093" y="2628116"/>
                  <a:pt x="239565" y="2630111"/>
                  <a:pt x="237968" y="2631711"/>
                </a:cubicBezTo>
                <a:cubicBezTo>
                  <a:pt x="235438" y="2634372"/>
                  <a:pt x="234374" y="2637168"/>
                  <a:pt x="234374" y="2641161"/>
                </a:cubicBezTo>
                <a:cubicBezTo>
                  <a:pt x="234374" y="2645288"/>
                  <a:pt x="235438" y="2648084"/>
                  <a:pt x="237968" y="2650612"/>
                </a:cubicBezTo>
                <a:cubicBezTo>
                  <a:pt x="239565" y="2652210"/>
                  <a:pt x="242093" y="2654073"/>
                  <a:pt x="247951" y="2654073"/>
                </a:cubicBezTo>
                <a:cubicBezTo>
                  <a:pt x="250081" y="2654073"/>
                  <a:pt x="251812" y="2653808"/>
                  <a:pt x="253275" y="2653141"/>
                </a:cubicBezTo>
                <a:cubicBezTo>
                  <a:pt x="254739" y="2652609"/>
                  <a:pt x="256070" y="2651810"/>
                  <a:pt x="257002" y="2650745"/>
                </a:cubicBezTo>
                <a:cubicBezTo>
                  <a:pt x="258067" y="2649547"/>
                  <a:pt x="258999" y="2648216"/>
                  <a:pt x="259665" y="2646486"/>
                </a:cubicBezTo>
                <a:cubicBezTo>
                  <a:pt x="260330" y="2644889"/>
                  <a:pt x="260730" y="2643025"/>
                  <a:pt x="260730" y="2641028"/>
                </a:cubicBezTo>
                <a:cubicBezTo>
                  <a:pt x="260730" y="2639164"/>
                  <a:pt x="260330" y="2637434"/>
                  <a:pt x="259665" y="2635836"/>
                </a:cubicBezTo>
                <a:cubicBezTo>
                  <a:pt x="258999" y="2634238"/>
                  <a:pt x="258067" y="2632908"/>
                  <a:pt x="257002" y="2631711"/>
                </a:cubicBezTo>
                <a:cubicBezTo>
                  <a:pt x="255937" y="2630645"/>
                  <a:pt x="254606" y="2629712"/>
                  <a:pt x="253009" y="2629047"/>
                </a:cubicBezTo>
                <a:cubicBezTo>
                  <a:pt x="251545" y="2628382"/>
                  <a:pt x="249947" y="2628116"/>
                  <a:pt x="247951" y="2628116"/>
                </a:cubicBezTo>
                <a:close/>
                <a:moveTo>
                  <a:pt x="30307" y="2628116"/>
                </a:moveTo>
                <a:cubicBezTo>
                  <a:pt x="24450" y="2628116"/>
                  <a:pt x="21921" y="2630111"/>
                  <a:pt x="20324" y="2631711"/>
                </a:cubicBezTo>
                <a:cubicBezTo>
                  <a:pt x="17794" y="2634372"/>
                  <a:pt x="16730" y="2637168"/>
                  <a:pt x="16730" y="2641161"/>
                </a:cubicBezTo>
                <a:cubicBezTo>
                  <a:pt x="16730" y="2645288"/>
                  <a:pt x="17794" y="2648084"/>
                  <a:pt x="20324" y="2650612"/>
                </a:cubicBezTo>
                <a:cubicBezTo>
                  <a:pt x="21921" y="2652210"/>
                  <a:pt x="24450" y="2654073"/>
                  <a:pt x="30307" y="2654073"/>
                </a:cubicBezTo>
                <a:cubicBezTo>
                  <a:pt x="32437" y="2654073"/>
                  <a:pt x="34168" y="2653808"/>
                  <a:pt x="35632" y="2653141"/>
                </a:cubicBezTo>
                <a:cubicBezTo>
                  <a:pt x="37096" y="2652609"/>
                  <a:pt x="38428" y="2651810"/>
                  <a:pt x="39359" y="2650745"/>
                </a:cubicBezTo>
                <a:cubicBezTo>
                  <a:pt x="40425" y="2649547"/>
                  <a:pt x="41356" y="2648216"/>
                  <a:pt x="42023" y="2646486"/>
                </a:cubicBezTo>
                <a:cubicBezTo>
                  <a:pt x="42688" y="2644889"/>
                  <a:pt x="42954" y="2643025"/>
                  <a:pt x="42954" y="2641028"/>
                </a:cubicBezTo>
                <a:cubicBezTo>
                  <a:pt x="42954" y="2639164"/>
                  <a:pt x="42688" y="2637434"/>
                  <a:pt x="42023" y="2635836"/>
                </a:cubicBezTo>
                <a:cubicBezTo>
                  <a:pt x="41356" y="2634238"/>
                  <a:pt x="40425" y="2632908"/>
                  <a:pt x="39359" y="2631711"/>
                </a:cubicBezTo>
                <a:cubicBezTo>
                  <a:pt x="38294" y="2630645"/>
                  <a:pt x="36964" y="2629712"/>
                  <a:pt x="35366" y="2629047"/>
                </a:cubicBezTo>
                <a:cubicBezTo>
                  <a:pt x="33902" y="2628382"/>
                  <a:pt x="32304" y="2628116"/>
                  <a:pt x="30307" y="2628116"/>
                </a:cubicBezTo>
                <a:close/>
                <a:moveTo>
                  <a:pt x="10475977" y="2611475"/>
                </a:moveTo>
                <a:cubicBezTo>
                  <a:pt x="10480237" y="2611475"/>
                  <a:pt x="10484230" y="2612274"/>
                  <a:pt x="10487824" y="2614137"/>
                </a:cubicBezTo>
                <a:cubicBezTo>
                  <a:pt x="10491419" y="2615735"/>
                  <a:pt x="10494613" y="2617865"/>
                  <a:pt x="10497143" y="2620528"/>
                </a:cubicBezTo>
                <a:cubicBezTo>
                  <a:pt x="10499672" y="2623057"/>
                  <a:pt x="10501801" y="2626252"/>
                  <a:pt x="10503266" y="2629846"/>
                </a:cubicBezTo>
                <a:cubicBezTo>
                  <a:pt x="10504730" y="2633439"/>
                  <a:pt x="10505529" y="2637168"/>
                  <a:pt x="10505529" y="2641294"/>
                </a:cubicBezTo>
                <a:cubicBezTo>
                  <a:pt x="10505529" y="2645421"/>
                  <a:pt x="10504730" y="2649414"/>
                  <a:pt x="10503266" y="2653009"/>
                </a:cubicBezTo>
                <a:cubicBezTo>
                  <a:pt x="10501669" y="2656602"/>
                  <a:pt x="10499672" y="2659664"/>
                  <a:pt x="10497143" y="2662328"/>
                </a:cubicBezTo>
                <a:cubicBezTo>
                  <a:pt x="10494480" y="2664989"/>
                  <a:pt x="10491419" y="2667119"/>
                  <a:pt x="10487824" y="2668583"/>
                </a:cubicBezTo>
                <a:cubicBezTo>
                  <a:pt x="10484098" y="2670047"/>
                  <a:pt x="10480237" y="2670846"/>
                  <a:pt x="10475977" y="2670846"/>
                </a:cubicBezTo>
                <a:cubicBezTo>
                  <a:pt x="10466924" y="2670846"/>
                  <a:pt x="10459736" y="2667917"/>
                  <a:pt x="10454145" y="2662328"/>
                </a:cubicBezTo>
                <a:cubicBezTo>
                  <a:pt x="10448554" y="2656736"/>
                  <a:pt x="10445759" y="2649681"/>
                  <a:pt x="10445759" y="2641161"/>
                </a:cubicBezTo>
                <a:cubicBezTo>
                  <a:pt x="10445759" y="2632908"/>
                  <a:pt x="10448554" y="2625852"/>
                  <a:pt x="10454145" y="2620128"/>
                </a:cubicBezTo>
                <a:cubicBezTo>
                  <a:pt x="10459603" y="2614271"/>
                  <a:pt x="10466924" y="2611475"/>
                  <a:pt x="10475977" y="2611475"/>
                </a:cubicBezTo>
                <a:close/>
                <a:moveTo>
                  <a:pt x="10258466" y="2611475"/>
                </a:moveTo>
                <a:cubicBezTo>
                  <a:pt x="10262592" y="2611475"/>
                  <a:pt x="10266586" y="2612274"/>
                  <a:pt x="10270313" y="2614137"/>
                </a:cubicBezTo>
                <a:cubicBezTo>
                  <a:pt x="10273907" y="2615735"/>
                  <a:pt x="10277101" y="2617865"/>
                  <a:pt x="10279631" y="2620528"/>
                </a:cubicBezTo>
                <a:cubicBezTo>
                  <a:pt x="10282160" y="2623057"/>
                  <a:pt x="10284290" y="2626252"/>
                  <a:pt x="10285754" y="2629846"/>
                </a:cubicBezTo>
                <a:cubicBezTo>
                  <a:pt x="10287218" y="2633439"/>
                  <a:pt x="10288017" y="2637168"/>
                  <a:pt x="10288017" y="2641294"/>
                </a:cubicBezTo>
                <a:cubicBezTo>
                  <a:pt x="10288017" y="2645421"/>
                  <a:pt x="10287218" y="2649414"/>
                  <a:pt x="10285754" y="2653009"/>
                </a:cubicBezTo>
                <a:cubicBezTo>
                  <a:pt x="10284157" y="2656602"/>
                  <a:pt x="10282160" y="2659664"/>
                  <a:pt x="10279631" y="2662328"/>
                </a:cubicBezTo>
                <a:cubicBezTo>
                  <a:pt x="10276969" y="2664989"/>
                  <a:pt x="10273907" y="2667119"/>
                  <a:pt x="10270313" y="2668583"/>
                </a:cubicBezTo>
                <a:cubicBezTo>
                  <a:pt x="10266586" y="2670047"/>
                  <a:pt x="10262725" y="2670846"/>
                  <a:pt x="10258466" y="2670846"/>
                </a:cubicBezTo>
                <a:cubicBezTo>
                  <a:pt x="10249546" y="2670846"/>
                  <a:pt x="10242224" y="2667917"/>
                  <a:pt x="10236633" y="2662328"/>
                </a:cubicBezTo>
                <a:cubicBezTo>
                  <a:pt x="10231043" y="2656736"/>
                  <a:pt x="10228247" y="2649681"/>
                  <a:pt x="10228247" y="2641161"/>
                </a:cubicBezTo>
                <a:cubicBezTo>
                  <a:pt x="10228247" y="2632908"/>
                  <a:pt x="10231043" y="2625852"/>
                  <a:pt x="10236633" y="2620128"/>
                </a:cubicBezTo>
                <a:cubicBezTo>
                  <a:pt x="10242092" y="2614271"/>
                  <a:pt x="10249413" y="2611475"/>
                  <a:pt x="10258466" y="2611475"/>
                </a:cubicBezTo>
                <a:close/>
                <a:moveTo>
                  <a:pt x="10040820" y="2611475"/>
                </a:moveTo>
                <a:cubicBezTo>
                  <a:pt x="10045080" y="2611475"/>
                  <a:pt x="10048941" y="2612274"/>
                  <a:pt x="10052534" y="2614137"/>
                </a:cubicBezTo>
                <a:cubicBezTo>
                  <a:pt x="10056129" y="2615735"/>
                  <a:pt x="10059323" y="2617865"/>
                  <a:pt x="10061852" y="2620528"/>
                </a:cubicBezTo>
                <a:cubicBezTo>
                  <a:pt x="10064382" y="2623057"/>
                  <a:pt x="10066512" y="2626252"/>
                  <a:pt x="10067976" y="2629846"/>
                </a:cubicBezTo>
                <a:cubicBezTo>
                  <a:pt x="10069440" y="2633439"/>
                  <a:pt x="10070239" y="2637168"/>
                  <a:pt x="10070239" y="2641294"/>
                </a:cubicBezTo>
                <a:cubicBezTo>
                  <a:pt x="10070239" y="2645421"/>
                  <a:pt x="10069440" y="2649414"/>
                  <a:pt x="10067976" y="2653009"/>
                </a:cubicBezTo>
                <a:cubicBezTo>
                  <a:pt x="10066379" y="2656602"/>
                  <a:pt x="10064382" y="2659664"/>
                  <a:pt x="10061852" y="2662328"/>
                </a:cubicBezTo>
                <a:cubicBezTo>
                  <a:pt x="10059190" y="2664989"/>
                  <a:pt x="10056129" y="2667119"/>
                  <a:pt x="10052534" y="2668583"/>
                </a:cubicBezTo>
                <a:cubicBezTo>
                  <a:pt x="10048941" y="2670047"/>
                  <a:pt x="10045080" y="2670846"/>
                  <a:pt x="10040820" y="2670846"/>
                </a:cubicBezTo>
                <a:cubicBezTo>
                  <a:pt x="10031767" y="2670846"/>
                  <a:pt x="10024579" y="2667917"/>
                  <a:pt x="10018988" y="2662328"/>
                </a:cubicBezTo>
                <a:cubicBezTo>
                  <a:pt x="10013397" y="2656736"/>
                  <a:pt x="10010602" y="2649681"/>
                  <a:pt x="10010602" y="2641161"/>
                </a:cubicBezTo>
                <a:cubicBezTo>
                  <a:pt x="10010602" y="2632908"/>
                  <a:pt x="10013397" y="2625852"/>
                  <a:pt x="10018988" y="2620128"/>
                </a:cubicBezTo>
                <a:cubicBezTo>
                  <a:pt x="10024579" y="2614271"/>
                  <a:pt x="10031767" y="2611475"/>
                  <a:pt x="10040820" y="2611475"/>
                </a:cubicBezTo>
                <a:close/>
                <a:moveTo>
                  <a:pt x="9823176" y="2611475"/>
                </a:moveTo>
                <a:cubicBezTo>
                  <a:pt x="9827435" y="2611475"/>
                  <a:pt x="9831296" y="2612274"/>
                  <a:pt x="9834890" y="2614137"/>
                </a:cubicBezTo>
                <a:cubicBezTo>
                  <a:pt x="9838617" y="2615735"/>
                  <a:pt x="9841679" y="2617865"/>
                  <a:pt x="9844208" y="2620528"/>
                </a:cubicBezTo>
                <a:cubicBezTo>
                  <a:pt x="9846737" y="2623057"/>
                  <a:pt x="9848867" y="2626252"/>
                  <a:pt x="9850331" y="2629846"/>
                </a:cubicBezTo>
                <a:cubicBezTo>
                  <a:pt x="9851796" y="2633439"/>
                  <a:pt x="9852595" y="2637168"/>
                  <a:pt x="9852595" y="2641294"/>
                </a:cubicBezTo>
                <a:cubicBezTo>
                  <a:pt x="9852595" y="2645421"/>
                  <a:pt x="9851796" y="2649414"/>
                  <a:pt x="9850331" y="2653009"/>
                </a:cubicBezTo>
                <a:cubicBezTo>
                  <a:pt x="9848734" y="2656602"/>
                  <a:pt x="9846737" y="2659664"/>
                  <a:pt x="9844208" y="2662328"/>
                </a:cubicBezTo>
                <a:cubicBezTo>
                  <a:pt x="9841546" y="2664989"/>
                  <a:pt x="9838484" y="2667119"/>
                  <a:pt x="9834890" y="2668583"/>
                </a:cubicBezTo>
                <a:cubicBezTo>
                  <a:pt x="9831296" y="2670047"/>
                  <a:pt x="9827435" y="2670846"/>
                  <a:pt x="9823176" y="2670846"/>
                </a:cubicBezTo>
                <a:cubicBezTo>
                  <a:pt x="9814123" y="2670846"/>
                  <a:pt x="9806935" y="2667917"/>
                  <a:pt x="9801343" y="2662328"/>
                </a:cubicBezTo>
                <a:cubicBezTo>
                  <a:pt x="9795753" y="2656736"/>
                  <a:pt x="9792957" y="2649681"/>
                  <a:pt x="9792957" y="2641161"/>
                </a:cubicBezTo>
                <a:cubicBezTo>
                  <a:pt x="9792957" y="2632908"/>
                  <a:pt x="9795753" y="2625852"/>
                  <a:pt x="9801343" y="2620128"/>
                </a:cubicBezTo>
                <a:cubicBezTo>
                  <a:pt x="9806935" y="2614271"/>
                  <a:pt x="9814123" y="2611475"/>
                  <a:pt x="9823176" y="2611475"/>
                </a:cubicBezTo>
                <a:close/>
                <a:moveTo>
                  <a:pt x="9605531" y="2611475"/>
                </a:moveTo>
                <a:cubicBezTo>
                  <a:pt x="9609790" y="2611475"/>
                  <a:pt x="9613784" y="2612274"/>
                  <a:pt x="9617245" y="2614137"/>
                </a:cubicBezTo>
                <a:cubicBezTo>
                  <a:pt x="9620839" y="2615735"/>
                  <a:pt x="9624033" y="2617865"/>
                  <a:pt x="9626562" y="2620528"/>
                </a:cubicBezTo>
                <a:cubicBezTo>
                  <a:pt x="9629092" y="2623057"/>
                  <a:pt x="9631222" y="2626252"/>
                  <a:pt x="9632686" y="2629846"/>
                </a:cubicBezTo>
                <a:cubicBezTo>
                  <a:pt x="9634150" y="2633439"/>
                  <a:pt x="9634949" y="2637168"/>
                  <a:pt x="9634949" y="2641294"/>
                </a:cubicBezTo>
                <a:cubicBezTo>
                  <a:pt x="9634949" y="2645421"/>
                  <a:pt x="9634150" y="2649414"/>
                  <a:pt x="9632686" y="2653009"/>
                </a:cubicBezTo>
                <a:cubicBezTo>
                  <a:pt x="9631089" y="2656602"/>
                  <a:pt x="9629092" y="2659664"/>
                  <a:pt x="9626562" y="2662328"/>
                </a:cubicBezTo>
                <a:cubicBezTo>
                  <a:pt x="9623901" y="2664989"/>
                  <a:pt x="9620839" y="2667119"/>
                  <a:pt x="9617245" y="2668583"/>
                </a:cubicBezTo>
                <a:cubicBezTo>
                  <a:pt x="9613651" y="2670047"/>
                  <a:pt x="9609790" y="2670846"/>
                  <a:pt x="9605531" y="2670846"/>
                </a:cubicBezTo>
                <a:cubicBezTo>
                  <a:pt x="9596610" y="2670846"/>
                  <a:pt x="9589289" y="2667917"/>
                  <a:pt x="9583698" y="2662328"/>
                </a:cubicBezTo>
                <a:cubicBezTo>
                  <a:pt x="9578108" y="2656736"/>
                  <a:pt x="9575312" y="2649681"/>
                  <a:pt x="9575312" y="2641161"/>
                </a:cubicBezTo>
                <a:cubicBezTo>
                  <a:pt x="9575312" y="2632908"/>
                  <a:pt x="9578108" y="2625852"/>
                  <a:pt x="9583698" y="2620128"/>
                </a:cubicBezTo>
                <a:cubicBezTo>
                  <a:pt x="9589289" y="2614271"/>
                  <a:pt x="9596478" y="2611475"/>
                  <a:pt x="9605531" y="2611475"/>
                </a:cubicBezTo>
                <a:close/>
                <a:moveTo>
                  <a:pt x="9387885" y="2611475"/>
                </a:moveTo>
                <a:cubicBezTo>
                  <a:pt x="9392145" y="2611475"/>
                  <a:pt x="9396138" y="2612274"/>
                  <a:pt x="9399599" y="2614137"/>
                </a:cubicBezTo>
                <a:cubicBezTo>
                  <a:pt x="9403194" y="2615735"/>
                  <a:pt x="9406388" y="2617865"/>
                  <a:pt x="9408917" y="2620528"/>
                </a:cubicBezTo>
                <a:cubicBezTo>
                  <a:pt x="9411447" y="2623057"/>
                  <a:pt x="9413576" y="2626252"/>
                  <a:pt x="9415041" y="2629846"/>
                </a:cubicBezTo>
                <a:cubicBezTo>
                  <a:pt x="9416505" y="2633439"/>
                  <a:pt x="9417304" y="2637168"/>
                  <a:pt x="9417304" y="2641294"/>
                </a:cubicBezTo>
                <a:cubicBezTo>
                  <a:pt x="9417304" y="2645421"/>
                  <a:pt x="9416505" y="2649414"/>
                  <a:pt x="9415041" y="2653009"/>
                </a:cubicBezTo>
                <a:cubicBezTo>
                  <a:pt x="9413444" y="2656602"/>
                  <a:pt x="9411447" y="2659664"/>
                  <a:pt x="9408917" y="2662328"/>
                </a:cubicBezTo>
                <a:cubicBezTo>
                  <a:pt x="9406255" y="2664989"/>
                  <a:pt x="9403194" y="2667119"/>
                  <a:pt x="9399599" y="2668583"/>
                </a:cubicBezTo>
                <a:cubicBezTo>
                  <a:pt x="9396005" y="2670047"/>
                  <a:pt x="9392145" y="2670846"/>
                  <a:pt x="9387885" y="2670846"/>
                </a:cubicBezTo>
                <a:cubicBezTo>
                  <a:pt x="9378965" y="2670846"/>
                  <a:pt x="9371644" y="2667917"/>
                  <a:pt x="9366053" y="2662328"/>
                </a:cubicBezTo>
                <a:cubicBezTo>
                  <a:pt x="9360462" y="2656736"/>
                  <a:pt x="9357667" y="2649681"/>
                  <a:pt x="9357667" y="2641161"/>
                </a:cubicBezTo>
                <a:cubicBezTo>
                  <a:pt x="9357667" y="2632908"/>
                  <a:pt x="9360462" y="2625852"/>
                  <a:pt x="9366053" y="2620128"/>
                </a:cubicBezTo>
                <a:cubicBezTo>
                  <a:pt x="9371644" y="2614271"/>
                  <a:pt x="9378832" y="2611475"/>
                  <a:pt x="9387885" y="2611475"/>
                </a:cubicBezTo>
                <a:close/>
                <a:moveTo>
                  <a:pt x="9170374" y="2611475"/>
                </a:moveTo>
                <a:cubicBezTo>
                  <a:pt x="9174500" y="2611475"/>
                  <a:pt x="9178494" y="2612274"/>
                  <a:pt x="9182088" y="2614137"/>
                </a:cubicBezTo>
                <a:cubicBezTo>
                  <a:pt x="9185682" y="2615735"/>
                  <a:pt x="9188876" y="2617865"/>
                  <a:pt x="9191405" y="2620528"/>
                </a:cubicBezTo>
                <a:cubicBezTo>
                  <a:pt x="9193935" y="2623057"/>
                  <a:pt x="9196065" y="2626252"/>
                  <a:pt x="9197529" y="2629846"/>
                </a:cubicBezTo>
                <a:cubicBezTo>
                  <a:pt x="9198993" y="2633439"/>
                  <a:pt x="9199792" y="2637168"/>
                  <a:pt x="9199792" y="2641294"/>
                </a:cubicBezTo>
                <a:cubicBezTo>
                  <a:pt x="9199792" y="2645421"/>
                  <a:pt x="9198993" y="2649414"/>
                  <a:pt x="9197529" y="2653009"/>
                </a:cubicBezTo>
                <a:cubicBezTo>
                  <a:pt x="9195932" y="2656602"/>
                  <a:pt x="9193935" y="2659664"/>
                  <a:pt x="9191405" y="2662328"/>
                </a:cubicBezTo>
                <a:cubicBezTo>
                  <a:pt x="9188744" y="2664989"/>
                  <a:pt x="9185682" y="2667119"/>
                  <a:pt x="9182088" y="2668583"/>
                </a:cubicBezTo>
                <a:cubicBezTo>
                  <a:pt x="9178494" y="2670047"/>
                  <a:pt x="9174633" y="2670846"/>
                  <a:pt x="9170374" y="2670846"/>
                </a:cubicBezTo>
                <a:cubicBezTo>
                  <a:pt x="9161453" y="2670846"/>
                  <a:pt x="9154132" y="2667917"/>
                  <a:pt x="9148541" y="2662328"/>
                </a:cubicBezTo>
                <a:cubicBezTo>
                  <a:pt x="9142951" y="2656736"/>
                  <a:pt x="9140155" y="2649681"/>
                  <a:pt x="9140155" y="2641161"/>
                </a:cubicBezTo>
                <a:cubicBezTo>
                  <a:pt x="9140155" y="2632908"/>
                  <a:pt x="9142951" y="2625852"/>
                  <a:pt x="9148541" y="2620128"/>
                </a:cubicBezTo>
                <a:cubicBezTo>
                  <a:pt x="9154132" y="2614271"/>
                  <a:pt x="9161321" y="2611475"/>
                  <a:pt x="9170374" y="2611475"/>
                </a:cubicBezTo>
                <a:close/>
                <a:moveTo>
                  <a:pt x="8952728" y="2611475"/>
                </a:moveTo>
                <a:cubicBezTo>
                  <a:pt x="8956988" y="2611475"/>
                  <a:pt x="8960849" y="2612274"/>
                  <a:pt x="8964442" y="2614137"/>
                </a:cubicBezTo>
                <a:cubicBezTo>
                  <a:pt x="8968037" y="2615735"/>
                  <a:pt x="8971231" y="2617865"/>
                  <a:pt x="8973760" y="2620528"/>
                </a:cubicBezTo>
                <a:cubicBezTo>
                  <a:pt x="8976290" y="2623057"/>
                  <a:pt x="8978419" y="2626252"/>
                  <a:pt x="8979884" y="2629846"/>
                </a:cubicBezTo>
                <a:cubicBezTo>
                  <a:pt x="8981348" y="2633439"/>
                  <a:pt x="8982147" y="2637168"/>
                  <a:pt x="8982147" y="2641294"/>
                </a:cubicBezTo>
                <a:cubicBezTo>
                  <a:pt x="8982147" y="2645421"/>
                  <a:pt x="8981348" y="2649414"/>
                  <a:pt x="8979884" y="2653009"/>
                </a:cubicBezTo>
                <a:cubicBezTo>
                  <a:pt x="8978287" y="2656602"/>
                  <a:pt x="8976290" y="2659664"/>
                  <a:pt x="8973760" y="2662328"/>
                </a:cubicBezTo>
                <a:cubicBezTo>
                  <a:pt x="8971098" y="2664989"/>
                  <a:pt x="8968037" y="2667119"/>
                  <a:pt x="8964442" y="2668583"/>
                </a:cubicBezTo>
                <a:cubicBezTo>
                  <a:pt x="8960849" y="2670047"/>
                  <a:pt x="8956988" y="2670846"/>
                  <a:pt x="8952728" y="2670846"/>
                </a:cubicBezTo>
                <a:cubicBezTo>
                  <a:pt x="8943808" y="2670846"/>
                  <a:pt x="8936487" y="2667917"/>
                  <a:pt x="8930896" y="2662328"/>
                </a:cubicBezTo>
                <a:cubicBezTo>
                  <a:pt x="8925305" y="2656736"/>
                  <a:pt x="8922510" y="2649681"/>
                  <a:pt x="8922510" y="2641161"/>
                </a:cubicBezTo>
                <a:cubicBezTo>
                  <a:pt x="8922510" y="2632908"/>
                  <a:pt x="8925305" y="2625852"/>
                  <a:pt x="8930896" y="2620128"/>
                </a:cubicBezTo>
                <a:cubicBezTo>
                  <a:pt x="8936487" y="2614271"/>
                  <a:pt x="8943675" y="2611475"/>
                  <a:pt x="8952728" y="2611475"/>
                </a:cubicBezTo>
                <a:close/>
                <a:moveTo>
                  <a:pt x="8735083" y="2611475"/>
                </a:moveTo>
                <a:cubicBezTo>
                  <a:pt x="8739342" y="2611475"/>
                  <a:pt x="8743203" y="2612274"/>
                  <a:pt x="8746797" y="2614137"/>
                </a:cubicBezTo>
                <a:cubicBezTo>
                  <a:pt x="8750391" y="2615735"/>
                  <a:pt x="8753586" y="2617865"/>
                  <a:pt x="8756115" y="2620528"/>
                </a:cubicBezTo>
                <a:cubicBezTo>
                  <a:pt x="8758644" y="2623057"/>
                  <a:pt x="8760774" y="2626252"/>
                  <a:pt x="8762238" y="2629846"/>
                </a:cubicBezTo>
                <a:cubicBezTo>
                  <a:pt x="8763702" y="2633439"/>
                  <a:pt x="8764502" y="2637168"/>
                  <a:pt x="8764502" y="2641294"/>
                </a:cubicBezTo>
                <a:cubicBezTo>
                  <a:pt x="8764502" y="2645421"/>
                  <a:pt x="8763702" y="2649414"/>
                  <a:pt x="8762238" y="2653009"/>
                </a:cubicBezTo>
                <a:cubicBezTo>
                  <a:pt x="8760641" y="2656602"/>
                  <a:pt x="8758644" y="2659664"/>
                  <a:pt x="8756115" y="2662328"/>
                </a:cubicBezTo>
                <a:cubicBezTo>
                  <a:pt x="8753453" y="2664989"/>
                  <a:pt x="8750391" y="2667119"/>
                  <a:pt x="8746797" y="2668583"/>
                </a:cubicBezTo>
                <a:cubicBezTo>
                  <a:pt x="8743203" y="2670047"/>
                  <a:pt x="8739342" y="2670846"/>
                  <a:pt x="8735083" y="2670846"/>
                </a:cubicBezTo>
                <a:cubicBezTo>
                  <a:pt x="8726030" y="2670846"/>
                  <a:pt x="8718841" y="2667917"/>
                  <a:pt x="8713250" y="2662328"/>
                </a:cubicBezTo>
                <a:cubicBezTo>
                  <a:pt x="8707660" y="2656736"/>
                  <a:pt x="8704864" y="2649681"/>
                  <a:pt x="8704864" y="2641161"/>
                </a:cubicBezTo>
                <a:cubicBezTo>
                  <a:pt x="8704864" y="2632908"/>
                  <a:pt x="8707660" y="2625852"/>
                  <a:pt x="8713250" y="2620128"/>
                </a:cubicBezTo>
                <a:cubicBezTo>
                  <a:pt x="8718841" y="2614271"/>
                  <a:pt x="8726030" y="2611475"/>
                  <a:pt x="8735083" y="2611475"/>
                </a:cubicBezTo>
                <a:close/>
                <a:moveTo>
                  <a:pt x="8517438" y="2611475"/>
                </a:moveTo>
                <a:cubicBezTo>
                  <a:pt x="8521698" y="2611475"/>
                  <a:pt x="8525559" y="2612274"/>
                  <a:pt x="8529152" y="2614137"/>
                </a:cubicBezTo>
                <a:cubicBezTo>
                  <a:pt x="8532880" y="2615735"/>
                  <a:pt x="8535941" y="2617865"/>
                  <a:pt x="8538470" y="2620528"/>
                </a:cubicBezTo>
                <a:cubicBezTo>
                  <a:pt x="8541000" y="2623057"/>
                  <a:pt x="8543130" y="2626252"/>
                  <a:pt x="8544594" y="2629846"/>
                </a:cubicBezTo>
                <a:cubicBezTo>
                  <a:pt x="8546058" y="2633439"/>
                  <a:pt x="8546857" y="2637168"/>
                  <a:pt x="8546857" y="2641294"/>
                </a:cubicBezTo>
                <a:cubicBezTo>
                  <a:pt x="8546857" y="2645421"/>
                  <a:pt x="8546058" y="2649414"/>
                  <a:pt x="8544594" y="2653009"/>
                </a:cubicBezTo>
                <a:cubicBezTo>
                  <a:pt x="8542997" y="2656602"/>
                  <a:pt x="8541000" y="2659664"/>
                  <a:pt x="8538470" y="2662328"/>
                </a:cubicBezTo>
                <a:cubicBezTo>
                  <a:pt x="8535808" y="2664989"/>
                  <a:pt x="8532747" y="2667119"/>
                  <a:pt x="8529152" y="2668583"/>
                </a:cubicBezTo>
                <a:cubicBezTo>
                  <a:pt x="8525559" y="2670047"/>
                  <a:pt x="8521698" y="2670846"/>
                  <a:pt x="8517438" y="2670846"/>
                </a:cubicBezTo>
                <a:cubicBezTo>
                  <a:pt x="8508385" y="2670846"/>
                  <a:pt x="8501197" y="2667917"/>
                  <a:pt x="8495606" y="2662328"/>
                </a:cubicBezTo>
                <a:cubicBezTo>
                  <a:pt x="8490015" y="2656736"/>
                  <a:pt x="8487220" y="2649681"/>
                  <a:pt x="8487220" y="2641161"/>
                </a:cubicBezTo>
                <a:cubicBezTo>
                  <a:pt x="8487220" y="2632908"/>
                  <a:pt x="8490015" y="2625852"/>
                  <a:pt x="8495606" y="2620128"/>
                </a:cubicBezTo>
                <a:cubicBezTo>
                  <a:pt x="8501197" y="2614271"/>
                  <a:pt x="8508385" y="2611475"/>
                  <a:pt x="8517438" y="2611475"/>
                </a:cubicBezTo>
                <a:close/>
                <a:moveTo>
                  <a:pt x="8299793" y="2611475"/>
                </a:moveTo>
                <a:cubicBezTo>
                  <a:pt x="8304052" y="2611475"/>
                  <a:pt x="8308046" y="2612274"/>
                  <a:pt x="8311507" y="2614137"/>
                </a:cubicBezTo>
                <a:cubicBezTo>
                  <a:pt x="8315235" y="2615735"/>
                  <a:pt x="8318296" y="2617865"/>
                  <a:pt x="8320825" y="2620528"/>
                </a:cubicBezTo>
                <a:cubicBezTo>
                  <a:pt x="8323354" y="2623057"/>
                  <a:pt x="8325484" y="2626252"/>
                  <a:pt x="8326948" y="2629846"/>
                </a:cubicBezTo>
                <a:cubicBezTo>
                  <a:pt x="8328413" y="2633439"/>
                  <a:pt x="8329212" y="2637168"/>
                  <a:pt x="8329212" y="2641294"/>
                </a:cubicBezTo>
                <a:cubicBezTo>
                  <a:pt x="8329212" y="2645421"/>
                  <a:pt x="8328413" y="2649414"/>
                  <a:pt x="8326948" y="2653009"/>
                </a:cubicBezTo>
                <a:cubicBezTo>
                  <a:pt x="8325351" y="2656602"/>
                  <a:pt x="8323354" y="2659664"/>
                  <a:pt x="8320825" y="2662328"/>
                </a:cubicBezTo>
                <a:cubicBezTo>
                  <a:pt x="8318163" y="2664989"/>
                  <a:pt x="8315101" y="2667119"/>
                  <a:pt x="8311507" y="2668583"/>
                </a:cubicBezTo>
                <a:cubicBezTo>
                  <a:pt x="8307913" y="2670047"/>
                  <a:pt x="8304052" y="2670846"/>
                  <a:pt x="8299793" y="2670846"/>
                </a:cubicBezTo>
                <a:cubicBezTo>
                  <a:pt x="8290874" y="2670846"/>
                  <a:pt x="8283553" y="2667917"/>
                  <a:pt x="8277960" y="2662328"/>
                </a:cubicBezTo>
                <a:cubicBezTo>
                  <a:pt x="8272370" y="2656736"/>
                  <a:pt x="8269574" y="2649681"/>
                  <a:pt x="8269574" y="2641161"/>
                </a:cubicBezTo>
                <a:cubicBezTo>
                  <a:pt x="8269574" y="2632908"/>
                  <a:pt x="8272370" y="2625852"/>
                  <a:pt x="8277960" y="2620128"/>
                </a:cubicBezTo>
                <a:cubicBezTo>
                  <a:pt x="8283553" y="2614271"/>
                  <a:pt x="8290741" y="2611475"/>
                  <a:pt x="8299793" y="2611475"/>
                </a:cubicBezTo>
                <a:close/>
                <a:moveTo>
                  <a:pt x="8082281" y="2611475"/>
                </a:moveTo>
                <a:cubicBezTo>
                  <a:pt x="8086407" y="2611475"/>
                  <a:pt x="8090401" y="2612274"/>
                  <a:pt x="8094127" y="2614137"/>
                </a:cubicBezTo>
                <a:cubicBezTo>
                  <a:pt x="8097855" y="2615735"/>
                  <a:pt x="8100916" y="2617865"/>
                  <a:pt x="8103446" y="2620528"/>
                </a:cubicBezTo>
                <a:cubicBezTo>
                  <a:pt x="8105975" y="2623057"/>
                  <a:pt x="8108104" y="2626252"/>
                  <a:pt x="8109569" y="2629846"/>
                </a:cubicBezTo>
                <a:cubicBezTo>
                  <a:pt x="8111033" y="2633439"/>
                  <a:pt x="8111832" y="2637168"/>
                  <a:pt x="8111832" y="2641294"/>
                </a:cubicBezTo>
                <a:cubicBezTo>
                  <a:pt x="8111832" y="2645421"/>
                  <a:pt x="8111033" y="2649414"/>
                  <a:pt x="8109569" y="2653009"/>
                </a:cubicBezTo>
                <a:cubicBezTo>
                  <a:pt x="8107972" y="2656602"/>
                  <a:pt x="8105975" y="2659664"/>
                  <a:pt x="8103446" y="2662328"/>
                </a:cubicBezTo>
                <a:cubicBezTo>
                  <a:pt x="8100783" y="2664989"/>
                  <a:pt x="8097722" y="2667119"/>
                  <a:pt x="8094127" y="2668583"/>
                </a:cubicBezTo>
                <a:cubicBezTo>
                  <a:pt x="8090401" y="2670047"/>
                  <a:pt x="8086540" y="2670846"/>
                  <a:pt x="8082281" y="2670846"/>
                </a:cubicBezTo>
                <a:cubicBezTo>
                  <a:pt x="8073361" y="2670846"/>
                  <a:pt x="8066040" y="2667917"/>
                  <a:pt x="8060448" y="2662328"/>
                </a:cubicBezTo>
                <a:cubicBezTo>
                  <a:pt x="8054857" y="2656736"/>
                  <a:pt x="8052062" y="2649681"/>
                  <a:pt x="8052062" y="2641161"/>
                </a:cubicBezTo>
                <a:cubicBezTo>
                  <a:pt x="8052062" y="2632908"/>
                  <a:pt x="8054857" y="2625852"/>
                  <a:pt x="8060448" y="2620128"/>
                </a:cubicBezTo>
                <a:cubicBezTo>
                  <a:pt x="8066040" y="2614271"/>
                  <a:pt x="8073228" y="2611475"/>
                  <a:pt x="8082281" y="2611475"/>
                </a:cubicBezTo>
                <a:close/>
                <a:moveTo>
                  <a:pt x="7864636" y="2611475"/>
                </a:moveTo>
                <a:cubicBezTo>
                  <a:pt x="7868762" y="2611475"/>
                  <a:pt x="7872756" y="2612274"/>
                  <a:pt x="7876483" y="2614137"/>
                </a:cubicBezTo>
                <a:cubicBezTo>
                  <a:pt x="7880210" y="2615735"/>
                  <a:pt x="7883272" y="2617865"/>
                  <a:pt x="7885802" y="2620528"/>
                </a:cubicBezTo>
                <a:cubicBezTo>
                  <a:pt x="7888331" y="2623057"/>
                  <a:pt x="7890460" y="2626252"/>
                  <a:pt x="7891924" y="2629846"/>
                </a:cubicBezTo>
                <a:cubicBezTo>
                  <a:pt x="7893389" y="2633439"/>
                  <a:pt x="7894188" y="2637168"/>
                  <a:pt x="7894188" y="2641294"/>
                </a:cubicBezTo>
                <a:cubicBezTo>
                  <a:pt x="7894188" y="2645421"/>
                  <a:pt x="7893389" y="2649414"/>
                  <a:pt x="7891924" y="2653009"/>
                </a:cubicBezTo>
                <a:cubicBezTo>
                  <a:pt x="7890327" y="2656602"/>
                  <a:pt x="7888331" y="2659664"/>
                  <a:pt x="7885802" y="2662328"/>
                </a:cubicBezTo>
                <a:cubicBezTo>
                  <a:pt x="7883139" y="2664989"/>
                  <a:pt x="7880078" y="2667119"/>
                  <a:pt x="7876483" y="2668583"/>
                </a:cubicBezTo>
                <a:cubicBezTo>
                  <a:pt x="7872756" y="2670047"/>
                  <a:pt x="7868895" y="2670846"/>
                  <a:pt x="7864636" y="2670846"/>
                </a:cubicBezTo>
                <a:cubicBezTo>
                  <a:pt x="7855717" y="2670846"/>
                  <a:pt x="7848396" y="2667917"/>
                  <a:pt x="7842803" y="2662328"/>
                </a:cubicBezTo>
                <a:cubicBezTo>
                  <a:pt x="7837213" y="2656736"/>
                  <a:pt x="7834417" y="2649681"/>
                  <a:pt x="7834417" y="2641161"/>
                </a:cubicBezTo>
                <a:cubicBezTo>
                  <a:pt x="7834417" y="2632908"/>
                  <a:pt x="7837213" y="2625852"/>
                  <a:pt x="7842803" y="2620128"/>
                </a:cubicBezTo>
                <a:cubicBezTo>
                  <a:pt x="7848396" y="2614271"/>
                  <a:pt x="7855584" y="2611475"/>
                  <a:pt x="7864636" y="2611475"/>
                </a:cubicBezTo>
                <a:close/>
                <a:moveTo>
                  <a:pt x="7646991" y="2611475"/>
                </a:moveTo>
                <a:cubicBezTo>
                  <a:pt x="7651250" y="2611475"/>
                  <a:pt x="7655111" y="2612274"/>
                  <a:pt x="7658705" y="2614137"/>
                </a:cubicBezTo>
                <a:cubicBezTo>
                  <a:pt x="7662432" y="2615735"/>
                  <a:pt x="7665493" y="2617865"/>
                  <a:pt x="7668022" y="2620528"/>
                </a:cubicBezTo>
                <a:cubicBezTo>
                  <a:pt x="7670552" y="2623057"/>
                  <a:pt x="7672682" y="2626252"/>
                  <a:pt x="7674146" y="2629846"/>
                </a:cubicBezTo>
                <a:cubicBezTo>
                  <a:pt x="7675610" y="2633439"/>
                  <a:pt x="7676409" y="2637168"/>
                  <a:pt x="7676409" y="2641294"/>
                </a:cubicBezTo>
                <a:cubicBezTo>
                  <a:pt x="7676409" y="2645421"/>
                  <a:pt x="7675610" y="2649414"/>
                  <a:pt x="7674146" y="2653009"/>
                </a:cubicBezTo>
                <a:cubicBezTo>
                  <a:pt x="7672549" y="2656602"/>
                  <a:pt x="7670552" y="2659664"/>
                  <a:pt x="7668022" y="2662328"/>
                </a:cubicBezTo>
                <a:cubicBezTo>
                  <a:pt x="7665361" y="2664989"/>
                  <a:pt x="7662299" y="2667119"/>
                  <a:pt x="7658705" y="2668583"/>
                </a:cubicBezTo>
                <a:cubicBezTo>
                  <a:pt x="7655111" y="2670047"/>
                  <a:pt x="7651250" y="2670846"/>
                  <a:pt x="7646991" y="2670846"/>
                </a:cubicBezTo>
                <a:cubicBezTo>
                  <a:pt x="7638071" y="2670846"/>
                  <a:pt x="7630750" y="2667917"/>
                  <a:pt x="7625158" y="2662328"/>
                </a:cubicBezTo>
                <a:cubicBezTo>
                  <a:pt x="7619568" y="2656736"/>
                  <a:pt x="7616772" y="2649681"/>
                  <a:pt x="7616772" y="2641161"/>
                </a:cubicBezTo>
                <a:cubicBezTo>
                  <a:pt x="7616772" y="2632908"/>
                  <a:pt x="7619568" y="2625852"/>
                  <a:pt x="7625158" y="2620128"/>
                </a:cubicBezTo>
                <a:cubicBezTo>
                  <a:pt x="7630750" y="2614271"/>
                  <a:pt x="7637939" y="2611475"/>
                  <a:pt x="7646991" y="2611475"/>
                </a:cubicBezTo>
                <a:close/>
                <a:moveTo>
                  <a:pt x="7429345" y="2611475"/>
                </a:moveTo>
                <a:cubicBezTo>
                  <a:pt x="7433605" y="2611475"/>
                  <a:pt x="7437466" y="2612274"/>
                  <a:pt x="7441059" y="2614137"/>
                </a:cubicBezTo>
                <a:cubicBezTo>
                  <a:pt x="7444787" y="2615735"/>
                  <a:pt x="7447848" y="2617865"/>
                  <a:pt x="7450377" y="2620528"/>
                </a:cubicBezTo>
                <a:cubicBezTo>
                  <a:pt x="7452907" y="2623057"/>
                  <a:pt x="7455036" y="2626252"/>
                  <a:pt x="7456501" y="2629846"/>
                </a:cubicBezTo>
                <a:cubicBezTo>
                  <a:pt x="7457965" y="2633439"/>
                  <a:pt x="7458764" y="2637168"/>
                  <a:pt x="7458764" y="2641294"/>
                </a:cubicBezTo>
                <a:cubicBezTo>
                  <a:pt x="7458764" y="2645421"/>
                  <a:pt x="7457965" y="2649414"/>
                  <a:pt x="7456501" y="2653009"/>
                </a:cubicBezTo>
                <a:cubicBezTo>
                  <a:pt x="7454904" y="2656602"/>
                  <a:pt x="7452907" y="2659664"/>
                  <a:pt x="7450377" y="2662328"/>
                </a:cubicBezTo>
                <a:cubicBezTo>
                  <a:pt x="7447715" y="2664989"/>
                  <a:pt x="7444654" y="2667119"/>
                  <a:pt x="7441059" y="2668583"/>
                </a:cubicBezTo>
                <a:cubicBezTo>
                  <a:pt x="7437466" y="2670047"/>
                  <a:pt x="7433605" y="2670846"/>
                  <a:pt x="7429345" y="2670846"/>
                </a:cubicBezTo>
                <a:cubicBezTo>
                  <a:pt x="7420426" y="2670846"/>
                  <a:pt x="7413105" y="2667917"/>
                  <a:pt x="7407513" y="2662328"/>
                </a:cubicBezTo>
                <a:cubicBezTo>
                  <a:pt x="7401922" y="2656736"/>
                  <a:pt x="7399127" y="2649681"/>
                  <a:pt x="7399127" y="2641161"/>
                </a:cubicBezTo>
                <a:cubicBezTo>
                  <a:pt x="7399127" y="2632908"/>
                  <a:pt x="7401922" y="2625852"/>
                  <a:pt x="7407513" y="2620128"/>
                </a:cubicBezTo>
                <a:cubicBezTo>
                  <a:pt x="7413105" y="2614271"/>
                  <a:pt x="7420293" y="2611475"/>
                  <a:pt x="7429345" y="2611475"/>
                </a:cubicBezTo>
                <a:close/>
                <a:moveTo>
                  <a:pt x="7211701" y="2611475"/>
                </a:moveTo>
                <a:cubicBezTo>
                  <a:pt x="7215960" y="2611475"/>
                  <a:pt x="7219954" y="2612274"/>
                  <a:pt x="7223415" y="2614137"/>
                </a:cubicBezTo>
                <a:cubicBezTo>
                  <a:pt x="7227142" y="2615735"/>
                  <a:pt x="7230204" y="2617865"/>
                  <a:pt x="7232733" y="2620528"/>
                </a:cubicBezTo>
                <a:cubicBezTo>
                  <a:pt x="7235262" y="2623057"/>
                  <a:pt x="7237392" y="2626252"/>
                  <a:pt x="7238856" y="2629846"/>
                </a:cubicBezTo>
                <a:cubicBezTo>
                  <a:pt x="7240321" y="2633439"/>
                  <a:pt x="7241120" y="2637168"/>
                  <a:pt x="7241120" y="2641294"/>
                </a:cubicBezTo>
                <a:cubicBezTo>
                  <a:pt x="7241120" y="2645421"/>
                  <a:pt x="7240321" y="2649414"/>
                  <a:pt x="7238856" y="2653009"/>
                </a:cubicBezTo>
                <a:cubicBezTo>
                  <a:pt x="7237259" y="2656602"/>
                  <a:pt x="7235262" y="2659664"/>
                  <a:pt x="7232733" y="2662328"/>
                </a:cubicBezTo>
                <a:cubicBezTo>
                  <a:pt x="7230071" y="2664989"/>
                  <a:pt x="7227009" y="2667119"/>
                  <a:pt x="7223415" y="2668583"/>
                </a:cubicBezTo>
                <a:cubicBezTo>
                  <a:pt x="7219821" y="2670047"/>
                  <a:pt x="7215960" y="2670846"/>
                  <a:pt x="7211701" y="2670846"/>
                </a:cubicBezTo>
                <a:cubicBezTo>
                  <a:pt x="7202782" y="2670846"/>
                  <a:pt x="7195460" y="2667917"/>
                  <a:pt x="7189868" y="2662328"/>
                </a:cubicBezTo>
                <a:cubicBezTo>
                  <a:pt x="7184278" y="2656736"/>
                  <a:pt x="7181482" y="2649681"/>
                  <a:pt x="7181482" y="2641161"/>
                </a:cubicBezTo>
                <a:cubicBezTo>
                  <a:pt x="7181482" y="2632908"/>
                  <a:pt x="7184278" y="2625852"/>
                  <a:pt x="7189868" y="2620128"/>
                </a:cubicBezTo>
                <a:cubicBezTo>
                  <a:pt x="7195460" y="2614271"/>
                  <a:pt x="7202649" y="2611475"/>
                  <a:pt x="7211701" y="2611475"/>
                </a:cubicBezTo>
                <a:close/>
                <a:moveTo>
                  <a:pt x="6994056" y="2611475"/>
                </a:moveTo>
                <a:cubicBezTo>
                  <a:pt x="6998315" y="2611475"/>
                  <a:pt x="7002309" y="2612274"/>
                  <a:pt x="7005769" y="2614137"/>
                </a:cubicBezTo>
                <a:cubicBezTo>
                  <a:pt x="7009497" y="2615735"/>
                  <a:pt x="7012558" y="2617865"/>
                  <a:pt x="7015087" y="2620528"/>
                </a:cubicBezTo>
                <a:cubicBezTo>
                  <a:pt x="7017617" y="2623057"/>
                  <a:pt x="7019747" y="2626252"/>
                  <a:pt x="7021211" y="2629846"/>
                </a:cubicBezTo>
                <a:cubicBezTo>
                  <a:pt x="7022675" y="2633439"/>
                  <a:pt x="7023474" y="2637168"/>
                  <a:pt x="7023474" y="2641294"/>
                </a:cubicBezTo>
                <a:cubicBezTo>
                  <a:pt x="7023474" y="2645421"/>
                  <a:pt x="7022675" y="2649414"/>
                  <a:pt x="7021211" y="2653009"/>
                </a:cubicBezTo>
                <a:cubicBezTo>
                  <a:pt x="7019614" y="2656602"/>
                  <a:pt x="7017617" y="2659664"/>
                  <a:pt x="7015087" y="2662328"/>
                </a:cubicBezTo>
                <a:cubicBezTo>
                  <a:pt x="7012425" y="2664989"/>
                  <a:pt x="7009364" y="2667119"/>
                  <a:pt x="7005769" y="2668583"/>
                </a:cubicBezTo>
                <a:cubicBezTo>
                  <a:pt x="7002176" y="2670047"/>
                  <a:pt x="6998315" y="2670846"/>
                  <a:pt x="6994056" y="2670846"/>
                </a:cubicBezTo>
                <a:cubicBezTo>
                  <a:pt x="6985136" y="2670846"/>
                  <a:pt x="6977815" y="2667917"/>
                  <a:pt x="6972223" y="2662328"/>
                </a:cubicBezTo>
                <a:cubicBezTo>
                  <a:pt x="6966632" y="2656736"/>
                  <a:pt x="6963837" y="2649681"/>
                  <a:pt x="6963837" y="2641161"/>
                </a:cubicBezTo>
                <a:cubicBezTo>
                  <a:pt x="6963837" y="2632908"/>
                  <a:pt x="6966632" y="2625852"/>
                  <a:pt x="6972223" y="2620128"/>
                </a:cubicBezTo>
                <a:cubicBezTo>
                  <a:pt x="6977815" y="2614271"/>
                  <a:pt x="6985003" y="2611475"/>
                  <a:pt x="6994056" y="2611475"/>
                </a:cubicBezTo>
                <a:close/>
                <a:moveTo>
                  <a:pt x="6776544" y="2611475"/>
                </a:moveTo>
                <a:cubicBezTo>
                  <a:pt x="6780670" y="2611475"/>
                  <a:pt x="6784664" y="2612274"/>
                  <a:pt x="6788258" y="2614137"/>
                </a:cubicBezTo>
                <a:cubicBezTo>
                  <a:pt x="6791985" y="2615735"/>
                  <a:pt x="6795047" y="2617865"/>
                  <a:pt x="6797576" y="2620528"/>
                </a:cubicBezTo>
                <a:cubicBezTo>
                  <a:pt x="6800105" y="2623057"/>
                  <a:pt x="6802235" y="2626252"/>
                  <a:pt x="6803699" y="2629846"/>
                </a:cubicBezTo>
                <a:cubicBezTo>
                  <a:pt x="6805164" y="2633439"/>
                  <a:pt x="6805963" y="2637168"/>
                  <a:pt x="6805963" y="2641294"/>
                </a:cubicBezTo>
                <a:cubicBezTo>
                  <a:pt x="6805963" y="2645421"/>
                  <a:pt x="6805164" y="2649414"/>
                  <a:pt x="6803699" y="2653009"/>
                </a:cubicBezTo>
                <a:cubicBezTo>
                  <a:pt x="6802102" y="2656602"/>
                  <a:pt x="6800105" y="2659664"/>
                  <a:pt x="6797576" y="2662328"/>
                </a:cubicBezTo>
                <a:cubicBezTo>
                  <a:pt x="6794914" y="2664989"/>
                  <a:pt x="6791852" y="2667119"/>
                  <a:pt x="6788258" y="2668583"/>
                </a:cubicBezTo>
                <a:cubicBezTo>
                  <a:pt x="6784664" y="2670047"/>
                  <a:pt x="6780803" y="2670846"/>
                  <a:pt x="6776544" y="2670846"/>
                </a:cubicBezTo>
                <a:cubicBezTo>
                  <a:pt x="6767625" y="2670846"/>
                  <a:pt x="6760303" y="2667917"/>
                  <a:pt x="6754711" y="2662328"/>
                </a:cubicBezTo>
                <a:cubicBezTo>
                  <a:pt x="6749121" y="2656736"/>
                  <a:pt x="6746325" y="2649681"/>
                  <a:pt x="6746325" y="2641161"/>
                </a:cubicBezTo>
                <a:cubicBezTo>
                  <a:pt x="6746325" y="2632908"/>
                  <a:pt x="6749121" y="2625852"/>
                  <a:pt x="6754711" y="2620128"/>
                </a:cubicBezTo>
                <a:cubicBezTo>
                  <a:pt x="6760303" y="2614271"/>
                  <a:pt x="6767492" y="2611475"/>
                  <a:pt x="6776544" y="2611475"/>
                </a:cubicBezTo>
                <a:close/>
                <a:moveTo>
                  <a:pt x="6558899" y="2611475"/>
                </a:moveTo>
                <a:cubicBezTo>
                  <a:pt x="6563158" y="2611475"/>
                  <a:pt x="6567019" y="2612274"/>
                  <a:pt x="6570612" y="2614137"/>
                </a:cubicBezTo>
                <a:cubicBezTo>
                  <a:pt x="6574340" y="2615735"/>
                  <a:pt x="6577401" y="2617865"/>
                  <a:pt x="6579930" y="2620528"/>
                </a:cubicBezTo>
                <a:cubicBezTo>
                  <a:pt x="6582460" y="2623057"/>
                  <a:pt x="6584590" y="2626252"/>
                  <a:pt x="6586054" y="2629846"/>
                </a:cubicBezTo>
                <a:cubicBezTo>
                  <a:pt x="6587518" y="2633439"/>
                  <a:pt x="6588317" y="2637168"/>
                  <a:pt x="6588317" y="2641294"/>
                </a:cubicBezTo>
                <a:cubicBezTo>
                  <a:pt x="6588317" y="2645421"/>
                  <a:pt x="6587518" y="2649414"/>
                  <a:pt x="6586054" y="2653009"/>
                </a:cubicBezTo>
                <a:cubicBezTo>
                  <a:pt x="6584457" y="2656602"/>
                  <a:pt x="6582460" y="2659664"/>
                  <a:pt x="6579930" y="2662328"/>
                </a:cubicBezTo>
                <a:cubicBezTo>
                  <a:pt x="6577268" y="2664989"/>
                  <a:pt x="6574207" y="2667119"/>
                  <a:pt x="6570612" y="2668583"/>
                </a:cubicBezTo>
                <a:cubicBezTo>
                  <a:pt x="6567019" y="2670047"/>
                  <a:pt x="6563158" y="2670846"/>
                  <a:pt x="6558899" y="2670846"/>
                </a:cubicBezTo>
                <a:cubicBezTo>
                  <a:pt x="6549979" y="2670846"/>
                  <a:pt x="6542658" y="2667917"/>
                  <a:pt x="6537066" y="2662328"/>
                </a:cubicBezTo>
                <a:cubicBezTo>
                  <a:pt x="6531476" y="2656736"/>
                  <a:pt x="6528680" y="2649681"/>
                  <a:pt x="6528680" y="2641161"/>
                </a:cubicBezTo>
                <a:cubicBezTo>
                  <a:pt x="6528680" y="2632908"/>
                  <a:pt x="6531476" y="2625852"/>
                  <a:pt x="6537066" y="2620128"/>
                </a:cubicBezTo>
                <a:cubicBezTo>
                  <a:pt x="6542658" y="2614271"/>
                  <a:pt x="6549846" y="2611475"/>
                  <a:pt x="6558899" y="2611475"/>
                </a:cubicBezTo>
                <a:close/>
                <a:moveTo>
                  <a:pt x="6341253" y="2611475"/>
                </a:moveTo>
                <a:cubicBezTo>
                  <a:pt x="6345513" y="2611475"/>
                  <a:pt x="6349373" y="2612274"/>
                  <a:pt x="6352968" y="2614137"/>
                </a:cubicBezTo>
                <a:cubicBezTo>
                  <a:pt x="6356695" y="2615735"/>
                  <a:pt x="6359757" y="2617865"/>
                  <a:pt x="6362286" y="2620528"/>
                </a:cubicBezTo>
                <a:cubicBezTo>
                  <a:pt x="6364815" y="2623057"/>
                  <a:pt x="6366945" y="2626252"/>
                  <a:pt x="6368409" y="2629846"/>
                </a:cubicBezTo>
                <a:cubicBezTo>
                  <a:pt x="6369874" y="2633439"/>
                  <a:pt x="6370672" y="2637168"/>
                  <a:pt x="6370672" y="2641294"/>
                </a:cubicBezTo>
                <a:cubicBezTo>
                  <a:pt x="6370672" y="2645421"/>
                  <a:pt x="6369874" y="2649414"/>
                  <a:pt x="6368409" y="2653009"/>
                </a:cubicBezTo>
                <a:cubicBezTo>
                  <a:pt x="6366811" y="2656602"/>
                  <a:pt x="6364815" y="2659664"/>
                  <a:pt x="6362286" y="2662328"/>
                </a:cubicBezTo>
                <a:cubicBezTo>
                  <a:pt x="6359623" y="2664989"/>
                  <a:pt x="6356562" y="2667119"/>
                  <a:pt x="6352968" y="2668583"/>
                </a:cubicBezTo>
                <a:cubicBezTo>
                  <a:pt x="6349373" y="2670047"/>
                  <a:pt x="6345513" y="2670846"/>
                  <a:pt x="6341253" y="2670846"/>
                </a:cubicBezTo>
                <a:cubicBezTo>
                  <a:pt x="6332335" y="2670846"/>
                  <a:pt x="6325013" y="2667917"/>
                  <a:pt x="6319421" y="2662328"/>
                </a:cubicBezTo>
                <a:cubicBezTo>
                  <a:pt x="6313830" y="2656736"/>
                  <a:pt x="6311035" y="2649681"/>
                  <a:pt x="6311035" y="2641161"/>
                </a:cubicBezTo>
                <a:cubicBezTo>
                  <a:pt x="6311035" y="2632908"/>
                  <a:pt x="6313830" y="2625852"/>
                  <a:pt x="6319421" y="2620128"/>
                </a:cubicBezTo>
                <a:cubicBezTo>
                  <a:pt x="6325013" y="2614271"/>
                  <a:pt x="6332201" y="2611475"/>
                  <a:pt x="6341253" y="2611475"/>
                </a:cubicBezTo>
                <a:close/>
                <a:moveTo>
                  <a:pt x="6123608" y="2611475"/>
                </a:moveTo>
                <a:cubicBezTo>
                  <a:pt x="6127867" y="2611475"/>
                  <a:pt x="6131728" y="2612274"/>
                  <a:pt x="6135322" y="2614137"/>
                </a:cubicBezTo>
                <a:cubicBezTo>
                  <a:pt x="6139049" y="2615735"/>
                  <a:pt x="6142111" y="2617865"/>
                  <a:pt x="6144640" y="2620528"/>
                </a:cubicBezTo>
                <a:cubicBezTo>
                  <a:pt x="6147169" y="2623057"/>
                  <a:pt x="6149299" y="2626252"/>
                  <a:pt x="6150763" y="2629846"/>
                </a:cubicBezTo>
                <a:cubicBezTo>
                  <a:pt x="6152228" y="2633439"/>
                  <a:pt x="6153026" y="2637168"/>
                  <a:pt x="6153026" y="2641294"/>
                </a:cubicBezTo>
                <a:cubicBezTo>
                  <a:pt x="6153026" y="2645421"/>
                  <a:pt x="6152228" y="2649414"/>
                  <a:pt x="6150763" y="2653009"/>
                </a:cubicBezTo>
                <a:cubicBezTo>
                  <a:pt x="6149299" y="2656602"/>
                  <a:pt x="6147169" y="2659664"/>
                  <a:pt x="6144640" y="2662328"/>
                </a:cubicBezTo>
                <a:cubicBezTo>
                  <a:pt x="6141977" y="2664989"/>
                  <a:pt x="6138916" y="2667119"/>
                  <a:pt x="6135322" y="2668583"/>
                </a:cubicBezTo>
                <a:cubicBezTo>
                  <a:pt x="6131728" y="2670047"/>
                  <a:pt x="6127867" y="2670846"/>
                  <a:pt x="6123608" y="2670846"/>
                </a:cubicBezTo>
                <a:cubicBezTo>
                  <a:pt x="6114689" y="2670846"/>
                  <a:pt x="6107367" y="2667917"/>
                  <a:pt x="6101775" y="2662328"/>
                </a:cubicBezTo>
                <a:cubicBezTo>
                  <a:pt x="6096184" y="2656736"/>
                  <a:pt x="6093389" y="2649681"/>
                  <a:pt x="6093389" y="2641161"/>
                </a:cubicBezTo>
                <a:cubicBezTo>
                  <a:pt x="6093389" y="2632908"/>
                  <a:pt x="6096184" y="2625852"/>
                  <a:pt x="6101775" y="2620128"/>
                </a:cubicBezTo>
                <a:cubicBezTo>
                  <a:pt x="6107367" y="2614271"/>
                  <a:pt x="6114555" y="2611475"/>
                  <a:pt x="6123608" y="2611475"/>
                </a:cubicBezTo>
                <a:close/>
                <a:moveTo>
                  <a:pt x="5905963" y="2611475"/>
                </a:moveTo>
                <a:cubicBezTo>
                  <a:pt x="5910222" y="2611475"/>
                  <a:pt x="5914216" y="2612274"/>
                  <a:pt x="5917677" y="2614137"/>
                </a:cubicBezTo>
                <a:cubicBezTo>
                  <a:pt x="5921404" y="2615735"/>
                  <a:pt x="5924466" y="2617865"/>
                  <a:pt x="5926995" y="2620528"/>
                </a:cubicBezTo>
                <a:cubicBezTo>
                  <a:pt x="5929524" y="2623057"/>
                  <a:pt x="5931654" y="2626252"/>
                  <a:pt x="5933118" y="2629846"/>
                </a:cubicBezTo>
                <a:cubicBezTo>
                  <a:pt x="5934583" y="2633439"/>
                  <a:pt x="5935381" y="2637168"/>
                  <a:pt x="5935381" y="2641294"/>
                </a:cubicBezTo>
                <a:cubicBezTo>
                  <a:pt x="5935381" y="2645421"/>
                  <a:pt x="5934583" y="2649414"/>
                  <a:pt x="5933118" y="2653009"/>
                </a:cubicBezTo>
                <a:cubicBezTo>
                  <a:pt x="5931654" y="2656602"/>
                  <a:pt x="5929524" y="2659664"/>
                  <a:pt x="5926995" y="2662328"/>
                </a:cubicBezTo>
                <a:cubicBezTo>
                  <a:pt x="5924333" y="2664989"/>
                  <a:pt x="5921271" y="2667119"/>
                  <a:pt x="5917677" y="2668583"/>
                </a:cubicBezTo>
                <a:cubicBezTo>
                  <a:pt x="5914083" y="2670047"/>
                  <a:pt x="5910222" y="2670846"/>
                  <a:pt x="5905963" y="2670846"/>
                </a:cubicBezTo>
                <a:cubicBezTo>
                  <a:pt x="5897044" y="2670846"/>
                  <a:pt x="5889722" y="2667917"/>
                  <a:pt x="5884130" y="2662328"/>
                </a:cubicBezTo>
                <a:cubicBezTo>
                  <a:pt x="5878540" y="2656736"/>
                  <a:pt x="5875744" y="2649681"/>
                  <a:pt x="5875744" y="2641161"/>
                </a:cubicBezTo>
                <a:cubicBezTo>
                  <a:pt x="5875744" y="2632908"/>
                  <a:pt x="5878540" y="2625852"/>
                  <a:pt x="5884130" y="2620128"/>
                </a:cubicBezTo>
                <a:cubicBezTo>
                  <a:pt x="5889722" y="2614271"/>
                  <a:pt x="5896910" y="2611475"/>
                  <a:pt x="5905963" y="2611475"/>
                </a:cubicBezTo>
                <a:close/>
                <a:moveTo>
                  <a:pt x="5688451" y="2611475"/>
                </a:moveTo>
                <a:cubicBezTo>
                  <a:pt x="5692577" y="2611475"/>
                  <a:pt x="5696571" y="2612274"/>
                  <a:pt x="5700165" y="2614137"/>
                </a:cubicBezTo>
                <a:cubicBezTo>
                  <a:pt x="5703892" y="2615735"/>
                  <a:pt x="5706954" y="2617865"/>
                  <a:pt x="5709483" y="2620528"/>
                </a:cubicBezTo>
                <a:cubicBezTo>
                  <a:pt x="5712012" y="2623057"/>
                  <a:pt x="5714142" y="2626252"/>
                  <a:pt x="5715606" y="2629846"/>
                </a:cubicBezTo>
                <a:cubicBezTo>
                  <a:pt x="5717071" y="2633439"/>
                  <a:pt x="5717869" y="2637168"/>
                  <a:pt x="5717869" y="2641294"/>
                </a:cubicBezTo>
                <a:cubicBezTo>
                  <a:pt x="5717869" y="2645421"/>
                  <a:pt x="5717071" y="2649414"/>
                  <a:pt x="5715606" y="2653009"/>
                </a:cubicBezTo>
                <a:cubicBezTo>
                  <a:pt x="5714142" y="2656602"/>
                  <a:pt x="5712012" y="2659664"/>
                  <a:pt x="5709483" y="2662328"/>
                </a:cubicBezTo>
                <a:cubicBezTo>
                  <a:pt x="5706820" y="2664989"/>
                  <a:pt x="5703759" y="2667119"/>
                  <a:pt x="5700165" y="2668583"/>
                </a:cubicBezTo>
                <a:cubicBezTo>
                  <a:pt x="5696571" y="2670047"/>
                  <a:pt x="5692710" y="2670846"/>
                  <a:pt x="5688451" y="2670846"/>
                </a:cubicBezTo>
                <a:cubicBezTo>
                  <a:pt x="5679532" y="2670846"/>
                  <a:pt x="5672210" y="2667917"/>
                  <a:pt x="5666618" y="2662328"/>
                </a:cubicBezTo>
                <a:cubicBezTo>
                  <a:pt x="5661028" y="2656736"/>
                  <a:pt x="5658232" y="2649681"/>
                  <a:pt x="5658232" y="2641161"/>
                </a:cubicBezTo>
                <a:cubicBezTo>
                  <a:pt x="5658232" y="2632908"/>
                  <a:pt x="5661028" y="2625852"/>
                  <a:pt x="5666618" y="2620128"/>
                </a:cubicBezTo>
                <a:cubicBezTo>
                  <a:pt x="5672210" y="2614271"/>
                  <a:pt x="5679398" y="2611475"/>
                  <a:pt x="5688451" y="2611475"/>
                </a:cubicBezTo>
                <a:close/>
                <a:moveTo>
                  <a:pt x="5470806" y="2611475"/>
                </a:moveTo>
                <a:cubicBezTo>
                  <a:pt x="5475065" y="2611475"/>
                  <a:pt x="5478926" y="2612274"/>
                  <a:pt x="5482520" y="2614137"/>
                </a:cubicBezTo>
                <a:cubicBezTo>
                  <a:pt x="5486247" y="2615735"/>
                  <a:pt x="5489309" y="2617865"/>
                  <a:pt x="5491838" y="2620528"/>
                </a:cubicBezTo>
                <a:cubicBezTo>
                  <a:pt x="5494367" y="2623057"/>
                  <a:pt x="5496497" y="2626252"/>
                  <a:pt x="5497961" y="2629846"/>
                </a:cubicBezTo>
                <a:cubicBezTo>
                  <a:pt x="5499426" y="2633439"/>
                  <a:pt x="5500224" y="2637168"/>
                  <a:pt x="5500224" y="2641294"/>
                </a:cubicBezTo>
                <a:cubicBezTo>
                  <a:pt x="5500224" y="2645421"/>
                  <a:pt x="5499426" y="2649414"/>
                  <a:pt x="5497961" y="2653009"/>
                </a:cubicBezTo>
                <a:cubicBezTo>
                  <a:pt x="5496497" y="2656602"/>
                  <a:pt x="5494367" y="2659664"/>
                  <a:pt x="5491838" y="2662328"/>
                </a:cubicBezTo>
                <a:cubicBezTo>
                  <a:pt x="5489176" y="2664989"/>
                  <a:pt x="5486114" y="2667119"/>
                  <a:pt x="5482520" y="2668583"/>
                </a:cubicBezTo>
                <a:cubicBezTo>
                  <a:pt x="5478926" y="2670047"/>
                  <a:pt x="5475065" y="2670846"/>
                  <a:pt x="5470806" y="2670846"/>
                </a:cubicBezTo>
                <a:cubicBezTo>
                  <a:pt x="5461887" y="2670846"/>
                  <a:pt x="5454565" y="2667917"/>
                  <a:pt x="5448973" y="2662328"/>
                </a:cubicBezTo>
                <a:cubicBezTo>
                  <a:pt x="5443383" y="2656736"/>
                  <a:pt x="5440587" y="2649681"/>
                  <a:pt x="5440587" y="2641161"/>
                </a:cubicBezTo>
                <a:cubicBezTo>
                  <a:pt x="5440587" y="2632908"/>
                  <a:pt x="5443383" y="2625852"/>
                  <a:pt x="5448973" y="2620128"/>
                </a:cubicBezTo>
                <a:cubicBezTo>
                  <a:pt x="5454565" y="2614271"/>
                  <a:pt x="5461754" y="2611475"/>
                  <a:pt x="5470806" y="2611475"/>
                </a:cubicBezTo>
                <a:close/>
                <a:moveTo>
                  <a:pt x="5253160" y="2611475"/>
                </a:moveTo>
                <a:cubicBezTo>
                  <a:pt x="5257420" y="2611475"/>
                  <a:pt x="5261280" y="2612274"/>
                  <a:pt x="5264875" y="2614137"/>
                </a:cubicBezTo>
                <a:cubicBezTo>
                  <a:pt x="5268602" y="2615735"/>
                  <a:pt x="5271664" y="2617865"/>
                  <a:pt x="5274192" y="2620528"/>
                </a:cubicBezTo>
                <a:cubicBezTo>
                  <a:pt x="5276722" y="2623057"/>
                  <a:pt x="5278852" y="2626252"/>
                  <a:pt x="5280316" y="2629846"/>
                </a:cubicBezTo>
                <a:cubicBezTo>
                  <a:pt x="5281780" y="2633439"/>
                  <a:pt x="5282579" y="2637168"/>
                  <a:pt x="5282579" y="2641294"/>
                </a:cubicBezTo>
                <a:cubicBezTo>
                  <a:pt x="5282579" y="2645421"/>
                  <a:pt x="5281780" y="2649414"/>
                  <a:pt x="5280316" y="2653009"/>
                </a:cubicBezTo>
                <a:cubicBezTo>
                  <a:pt x="5278852" y="2656602"/>
                  <a:pt x="5276722" y="2659664"/>
                  <a:pt x="5274192" y="2662328"/>
                </a:cubicBezTo>
                <a:cubicBezTo>
                  <a:pt x="5271664" y="2664989"/>
                  <a:pt x="5268469" y="2667119"/>
                  <a:pt x="5264875" y="2668583"/>
                </a:cubicBezTo>
                <a:cubicBezTo>
                  <a:pt x="5261280" y="2670047"/>
                  <a:pt x="5257420" y="2670846"/>
                  <a:pt x="5253160" y="2670846"/>
                </a:cubicBezTo>
                <a:cubicBezTo>
                  <a:pt x="5244241" y="2670846"/>
                  <a:pt x="5236920" y="2667917"/>
                  <a:pt x="5231328" y="2662328"/>
                </a:cubicBezTo>
                <a:cubicBezTo>
                  <a:pt x="5225737" y="2656736"/>
                  <a:pt x="5222942" y="2649681"/>
                  <a:pt x="5222942" y="2641161"/>
                </a:cubicBezTo>
                <a:cubicBezTo>
                  <a:pt x="5222942" y="2632908"/>
                  <a:pt x="5225737" y="2625852"/>
                  <a:pt x="5231328" y="2620128"/>
                </a:cubicBezTo>
                <a:cubicBezTo>
                  <a:pt x="5236920" y="2614271"/>
                  <a:pt x="5244108" y="2611475"/>
                  <a:pt x="5253160" y="2611475"/>
                </a:cubicBezTo>
                <a:close/>
                <a:moveTo>
                  <a:pt x="5035515" y="2611475"/>
                </a:moveTo>
                <a:cubicBezTo>
                  <a:pt x="5039775" y="2611475"/>
                  <a:pt x="5043636" y="2612274"/>
                  <a:pt x="5047230" y="2614137"/>
                </a:cubicBezTo>
                <a:cubicBezTo>
                  <a:pt x="5050957" y="2615735"/>
                  <a:pt x="5054019" y="2617865"/>
                  <a:pt x="5056548" y="2620528"/>
                </a:cubicBezTo>
                <a:cubicBezTo>
                  <a:pt x="5059077" y="2623057"/>
                  <a:pt x="5061207" y="2626252"/>
                  <a:pt x="5062671" y="2629846"/>
                </a:cubicBezTo>
                <a:cubicBezTo>
                  <a:pt x="5064135" y="2633439"/>
                  <a:pt x="5064934" y="2637168"/>
                  <a:pt x="5064934" y="2641294"/>
                </a:cubicBezTo>
                <a:cubicBezTo>
                  <a:pt x="5064934" y="2645421"/>
                  <a:pt x="5064135" y="2649414"/>
                  <a:pt x="5062671" y="2653009"/>
                </a:cubicBezTo>
                <a:cubicBezTo>
                  <a:pt x="5061207" y="2656602"/>
                  <a:pt x="5059077" y="2659664"/>
                  <a:pt x="5056548" y="2662328"/>
                </a:cubicBezTo>
                <a:cubicBezTo>
                  <a:pt x="5053885" y="2664989"/>
                  <a:pt x="5050824" y="2667119"/>
                  <a:pt x="5047230" y="2668583"/>
                </a:cubicBezTo>
                <a:cubicBezTo>
                  <a:pt x="5043636" y="2670047"/>
                  <a:pt x="5039775" y="2670846"/>
                  <a:pt x="5035515" y="2670846"/>
                </a:cubicBezTo>
                <a:cubicBezTo>
                  <a:pt x="5026597" y="2670846"/>
                  <a:pt x="5019275" y="2667917"/>
                  <a:pt x="5013683" y="2662328"/>
                </a:cubicBezTo>
                <a:cubicBezTo>
                  <a:pt x="5008092" y="2656736"/>
                  <a:pt x="5005297" y="2649681"/>
                  <a:pt x="5005297" y="2641161"/>
                </a:cubicBezTo>
                <a:cubicBezTo>
                  <a:pt x="5005297" y="2632908"/>
                  <a:pt x="5008092" y="2625852"/>
                  <a:pt x="5013683" y="2620128"/>
                </a:cubicBezTo>
                <a:cubicBezTo>
                  <a:pt x="5019275" y="2614271"/>
                  <a:pt x="5026463" y="2611475"/>
                  <a:pt x="5035515" y="2611475"/>
                </a:cubicBezTo>
                <a:close/>
                <a:moveTo>
                  <a:pt x="4817870" y="2611475"/>
                </a:moveTo>
                <a:cubicBezTo>
                  <a:pt x="4822130" y="2611475"/>
                  <a:pt x="4826124" y="2612274"/>
                  <a:pt x="4829585" y="2614137"/>
                </a:cubicBezTo>
                <a:cubicBezTo>
                  <a:pt x="4833312" y="2615735"/>
                  <a:pt x="4836374" y="2617865"/>
                  <a:pt x="4838903" y="2620528"/>
                </a:cubicBezTo>
                <a:cubicBezTo>
                  <a:pt x="4841432" y="2623057"/>
                  <a:pt x="4843562" y="2626252"/>
                  <a:pt x="4845026" y="2629846"/>
                </a:cubicBezTo>
                <a:cubicBezTo>
                  <a:pt x="4846491" y="2633439"/>
                  <a:pt x="4847289" y="2637168"/>
                  <a:pt x="4847289" y="2641294"/>
                </a:cubicBezTo>
                <a:cubicBezTo>
                  <a:pt x="4847289" y="2645421"/>
                  <a:pt x="4846491" y="2649414"/>
                  <a:pt x="4845026" y="2653009"/>
                </a:cubicBezTo>
                <a:cubicBezTo>
                  <a:pt x="4843562" y="2656602"/>
                  <a:pt x="4841432" y="2659664"/>
                  <a:pt x="4838903" y="2662328"/>
                </a:cubicBezTo>
                <a:cubicBezTo>
                  <a:pt x="4836240" y="2664989"/>
                  <a:pt x="4833179" y="2667119"/>
                  <a:pt x="4829585" y="2668583"/>
                </a:cubicBezTo>
                <a:cubicBezTo>
                  <a:pt x="4825991" y="2670047"/>
                  <a:pt x="4822130" y="2670846"/>
                  <a:pt x="4817870" y="2670846"/>
                </a:cubicBezTo>
                <a:cubicBezTo>
                  <a:pt x="4808952" y="2670846"/>
                  <a:pt x="4801630" y="2667917"/>
                  <a:pt x="4796038" y="2662328"/>
                </a:cubicBezTo>
                <a:cubicBezTo>
                  <a:pt x="4790447" y="2656736"/>
                  <a:pt x="4787652" y="2649681"/>
                  <a:pt x="4787652" y="2641161"/>
                </a:cubicBezTo>
                <a:cubicBezTo>
                  <a:pt x="4787652" y="2632908"/>
                  <a:pt x="4790447" y="2625852"/>
                  <a:pt x="4796038" y="2620128"/>
                </a:cubicBezTo>
                <a:cubicBezTo>
                  <a:pt x="4801630" y="2614271"/>
                  <a:pt x="4808818" y="2611475"/>
                  <a:pt x="4817870" y="2611475"/>
                </a:cubicBezTo>
                <a:close/>
                <a:moveTo>
                  <a:pt x="4600226" y="2611475"/>
                </a:moveTo>
                <a:cubicBezTo>
                  <a:pt x="4604485" y="2611475"/>
                  <a:pt x="4608479" y="2612274"/>
                  <a:pt x="4612073" y="2614137"/>
                </a:cubicBezTo>
                <a:cubicBezTo>
                  <a:pt x="4615800" y="2615735"/>
                  <a:pt x="4618862" y="2617865"/>
                  <a:pt x="4621391" y="2620528"/>
                </a:cubicBezTo>
                <a:cubicBezTo>
                  <a:pt x="4623920" y="2623057"/>
                  <a:pt x="4626050" y="2626252"/>
                  <a:pt x="4627514" y="2629846"/>
                </a:cubicBezTo>
                <a:cubicBezTo>
                  <a:pt x="4628978" y="2633439"/>
                  <a:pt x="4629777" y="2637168"/>
                  <a:pt x="4629777" y="2641294"/>
                </a:cubicBezTo>
                <a:cubicBezTo>
                  <a:pt x="4629777" y="2645421"/>
                  <a:pt x="4628978" y="2649414"/>
                  <a:pt x="4627514" y="2653009"/>
                </a:cubicBezTo>
                <a:cubicBezTo>
                  <a:pt x="4626050" y="2656602"/>
                  <a:pt x="4623920" y="2659664"/>
                  <a:pt x="4621391" y="2662328"/>
                </a:cubicBezTo>
                <a:cubicBezTo>
                  <a:pt x="4618729" y="2664989"/>
                  <a:pt x="4615667" y="2667119"/>
                  <a:pt x="4612073" y="2668583"/>
                </a:cubicBezTo>
                <a:cubicBezTo>
                  <a:pt x="4608346" y="2670047"/>
                  <a:pt x="4604485" y="2670846"/>
                  <a:pt x="4600226" y="2670846"/>
                </a:cubicBezTo>
                <a:cubicBezTo>
                  <a:pt x="4591173" y="2670846"/>
                  <a:pt x="4583985" y="2667917"/>
                  <a:pt x="4578393" y="2662328"/>
                </a:cubicBezTo>
                <a:cubicBezTo>
                  <a:pt x="4572803" y="2656736"/>
                  <a:pt x="4570007" y="2649681"/>
                  <a:pt x="4570007" y="2641161"/>
                </a:cubicBezTo>
                <a:cubicBezTo>
                  <a:pt x="4570007" y="2632908"/>
                  <a:pt x="4572803" y="2625852"/>
                  <a:pt x="4578393" y="2620128"/>
                </a:cubicBezTo>
                <a:cubicBezTo>
                  <a:pt x="4583985" y="2614271"/>
                  <a:pt x="4591173" y="2611475"/>
                  <a:pt x="4600226" y="2611475"/>
                </a:cubicBezTo>
                <a:close/>
                <a:moveTo>
                  <a:pt x="4382713" y="2611475"/>
                </a:moveTo>
                <a:cubicBezTo>
                  <a:pt x="4386840" y="2611475"/>
                  <a:pt x="4390834" y="2612274"/>
                  <a:pt x="4394428" y="2614137"/>
                </a:cubicBezTo>
                <a:cubicBezTo>
                  <a:pt x="4398155" y="2615735"/>
                  <a:pt x="4401217" y="2617865"/>
                  <a:pt x="4403746" y="2620528"/>
                </a:cubicBezTo>
                <a:cubicBezTo>
                  <a:pt x="4406275" y="2623057"/>
                  <a:pt x="4408405" y="2626252"/>
                  <a:pt x="4409869" y="2629846"/>
                </a:cubicBezTo>
                <a:cubicBezTo>
                  <a:pt x="4411334" y="2633439"/>
                  <a:pt x="4412132" y="2637168"/>
                  <a:pt x="4412132" y="2641294"/>
                </a:cubicBezTo>
                <a:cubicBezTo>
                  <a:pt x="4412132" y="2645421"/>
                  <a:pt x="4411334" y="2649414"/>
                  <a:pt x="4409869" y="2653009"/>
                </a:cubicBezTo>
                <a:cubicBezTo>
                  <a:pt x="4408405" y="2656602"/>
                  <a:pt x="4406275" y="2659664"/>
                  <a:pt x="4403746" y="2662328"/>
                </a:cubicBezTo>
                <a:cubicBezTo>
                  <a:pt x="4401083" y="2664989"/>
                  <a:pt x="4398022" y="2667119"/>
                  <a:pt x="4394428" y="2668583"/>
                </a:cubicBezTo>
                <a:cubicBezTo>
                  <a:pt x="4390834" y="2670047"/>
                  <a:pt x="4386973" y="2670846"/>
                  <a:pt x="4382713" y="2670846"/>
                </a:cubicBezTo>
                <a:cubicBezTo>
                  <a:pt x="4373661" y="2670846"/>
                  <a:pt x="4366473" y="2667917"/>
                  <a:pt x="4360881" y="2662328"/>
                </a:cubicBezTo>
                <a:cubicBezTo>
                  <a:pt x="4355290" y="2656736"/>
                  <a:pt x="4352495" y="2649681"/>
                  <a:pt x="4352495" y="2641161"/>
                </a:cubicBezTo>
                <a:cubicBezTo>
                  <a:pt x="4352495" y="2632908"/>
                  <a:pt x="4355290" y="2625852"/>
                  <a:pt x="4360881" y="2620128"/>
                </a:cubicBezTo>
                <a:cubicBezTo>
                  <a:pt x="4366473" y="2614271"/>
                  <a:pt x="4373661" y="2611475"/>
                  <a:pt x="4382713" y="2611475"/>
                </a:cubicBezTo>
                <a:close/>
                <a:moveTo>
                  <a:pt x="4165068" y="2611475"/>
                </a:moveTo>
                <a:cubicBezTo>
                  <a:pt x="4169327" y="2611475"/>
                  <a:pt x="4173188" y="2612274"/>
                  <a:pt x="4176782" y="2614137"/>
                </a:cubicBezTo>
                <a:cubicBezTo>
                  <a:pt x="4180509" y="2615735"/>
                  <a:pt x="4183571" y="2617865"/>
                  <a:pt x="4186100" y="2620528"/>
                </a:cubicBezTo>
                <a:cubicBezTo>
                  <a:pt x="4188629" y="2623057"/>
                  <a:pt x="4190759" y="2626252"/>
                  <a:pt x="4192223" y="2629846"/>
                </a:cubicBezTo>
                <a:cubicBezTo>
                  <a:pt x="4193688" y="2633439"/>
                  <a:pt x="4194486" y="2637168"/>
                  <a:pt x="4194486" y="2641294"/>
                </a:cubicBezTo>
                <a:cubicBezTo>
                  <a:pt x="4194486" y="2645421"/>
                  <a:pt x="4193688" y="2649414"/>
                  <a:pt x="4192223" y="2653009"/>
                </a:cubicBezTo>
                <a:cubicBezTo>
                  <a:pt x="4190759" y="2656602"/>
                  <a:pt x="4188629" y="2659664"/>
                  <a:pt x="4186100" y="2662328"/>
                </a:cubicBezTo>
                <a:cubicBezTo>
                  <a:pt x="4183438" y="2664989"/>
                  <a:pt x="4180376" y="2667119"/>
                  <a:pt x="4176782" y="2668583"/>
                </a:cubicBezTo>
                <a:cubicBezTo>
                  <a:pt x="4173188" y="2670047"/>
                  <a:pt x="4169327" y="2670846"/>
                  <a:pt x="4165068" y="2670846"/>
                </a:cubicBezTo>
                <a:cubicBezTo>
                  <a:pt x="4156015" y="2670846"/>
                  <a:pt x="4148827" y="2667917"/>
                  <a:pt x="4143235" y="2662328"/>
                </a:cubicBezTo>
                <a:cubicBezTo>
                  <a:pt x="4137645" y="2656736"/>
                  <a:pt x="4134849" y="2649681"/>
                  <a:pt x="4134849" y="2641161"/>
                </a:cubicBezTo>
                <a:cubicBezTo>
                  <a:pt x="4134849" y="2632908"/>
                  <a:pt x="4137645" y="2625852"/>
                  <a:pt x="4143235" y="2620128"/>
                </a:cubicBezTo>
                <a:cubicBezTo>
                  <a:pt x="4148827" y="2614271"/>
                  <a:pt x="4156015" y="2611475"/>
                  <a:pt x="4165068" y="2611475"/>
                </a:cubicBezTo>
                <a:close/>
                <a:moveTo>
                  <a:pt x="3947570" y="2611475"/>
                </a:moveTo>
                <a:cubicBezTo>
                  <a:pt x="3951831" y="2611475"/>
                  <a:pt x="3955690" y="2612274"/>
                  <a:pt x="3959286" y="2614137"/>
                </a:cubicBezTo>
                <a:cubicBezTo>
                  <a:pt x="3963014" y="2615735"/>
                  <a:pt x="3966075" y="2617865"/>
                  <a:pt x="3968604" y="2620528"/>
                </a:cubicBezTo>
                <a:cubicBezTo>
                  <a:pt x="3971134" y="2623057"/>
                  <a:pt x="3973264" y="2626252"/>
                  <a:pt x="3974728" y="2629846"/>
                </a:cubicBezTo>
                <a:cubicBezTo>
                  <a:pt x="3976192" y="2633439"/>
                  <a:pt x="3976991" y="2637168"/>
                  <a:pt x="3976991" y="2641294"/>
                </a:cubicBezTo>
                <a:cubicBezTo>
                  <a:pt x="3976991" y="2645421"/>
                  <a:pt x="3976192" y="2649414"/>
                  <a:pt x="3974728" y="2653009"/>
                </a:cubicBezTo>
                <a:cubicBezTo>
                  <a:pt x="3973264" y="2656602"/>
                  <a:pt x="3971134" y="2659664"/>
                  <a:pt x="3968604" y="2662328"/>
                </a:cubicBezTo>
                <a:cubicBezTo>
                  <a:pt x="3965942" y="2664989"/>
                  <a:pt x="3962881" y="2667119"/>
                  <a:pt x="3959286" y="2668583"/>
                </a:cubicBezTo>
                <a:cubicBezTo>
                  <a:pt x="3955690" y="2670047"/>
                  <a:pt x="3951831" y="2670846"/>
                  <a:pt x="3947570" y="2670846"/>
                </a:cubicBezTo>
                <a:cubicBezTo>
                  <a:pt x="3938517" y="2670846"/>
                  <a:pt x="3931329" y="2667917"/>
                  <a:pt x="3925738" y="2662328"/>
                </a:cubicBezTo>
                <a:cubicBezTo>
                  <a:pt x="3920147" y="2656736"/>
                  <a:pt x="3917351" y="2649681"/>
                  <a:pt x="3917351" y="2641161"/>
                </a:cubicBezTo>
                <a:cubicBezTo>
                  <a:pt x="3917351" y="2632908"/>
                  <a:pt x="3920147" y="2625852"/>
                  <a:pt x="3925738" y="2620128"/>
                </a:cubicBezTo>
                <a:cubicBezTo>
                  <a:pt x="3931329" y="2614271"/>
                  <a:pt x="3938517" y="2611475"/>
                  <a:pt x="3947570" y="2611475"/>
                </a:cubicBezTo>
                <a:close/>
                <a:moveTo>
                  <a:pt x="3729918" y="2611475"/>
                </a:moveTo>
                <a:cubicBezTo>
                  <a:pt x="3734178" y="2611475"/>
                  <a:pt x="3738171" y="2612274"/>
                  <a:pt x="3741633" y="2614137"/>
                </a:cubicBezTo>
                <a:cubicBezTo>
                  <a:pt x="3745227" y="2615735"/>
                  <a:pt x="3748422" y="2617865"/>
                  <a:pt x="3750951" y="2620528"/>
                </a:cubicBezTo>
                <a:cubicBezTo>
                  <a:pt x="3753481" y="2623057"/>
                  <a:pt x="3755610" y="2626252"/>
                  <a:pt x="3757074" y="2629846"/>
                </a:cubicBezTo>
                <a:cubicBezTo>
                  <a:pt x="3758538" y="2633439"/>
                  <a:pt x="3759337" y="2637168"/>
                  <a:pt x="3759337" y="2641294"/>
                </a:cubicBezTo>
                <a:cubicBezTo>
                  <a:pt x="3759337" y="2645421"/>
                  <a:pt x="3758538" y="2649414"/>
                  <a:pt x="3757074" y="2653009"/>
                </a:cubicBezTo>
                <a:cubicBezTo>
                  <a:pt x="3755610" y="2656602"/>
                  <a:pt x="3753481" y="2659664"/>
                  <a:pt x="3750951" y="2662328"/>
                </a:cubicBezTo>
                <a:cubicBezTo>
                  <a:pt x="3748288" y="2664989"/>
                  <a:pt x="3745227" y="2667119"/>
                  <a:pt x="3741633" y="2668583"/>
                </a:cubicBezTo>
                <a:cubicBezTo>
                  <a:pt x="3738039" y="2670047"/>
                  <a:pt x="3734178" y="2670846"/>
                  <a:pt x="3729918" y="2670846"/>
                </a:cubicBezTo>
                <a:cubicBezTo>
                  <a:pt x="3720865" y="2670846"/>
                  <a:pt x="3713676" y="2667917"/>
                  <a:pt x="3708082" y="2662328"/>
                </a:cubicBezTo>
                <a:cubicBezTo>
                  <a:pt x="3702490" y="2656736"/>
                  <a:pt x="3699696" y="2649681"/>
                  <a:pt x="3699696" y="2641161"/>
                </a:cubicBezTo>
                <a:cubicBezTo>
                  <a:pt x="3699696" y="2632908"/>
                  <a:pt x="3702490" y="2625852"/>
                  <a:pt x="3708082" y="2620128"/>
                </a:cubicBezTo>
                <a:cubicBezTo>
                  <a:pt x="3713676" y="2614271"/>
                  <a:pt x="3720865" y="2611475"/>
                  <a:pt x="3729918" y="2611475"/>
                </a:cubicBezTo>
                <a:close/>
                <a:moveTo>
                  <a:pt x="3512265" y="2611475"/>
                </a:moveTo>
                <a:cubicBezTo>
                  <a:pt x="3516525" y="2611475"/>
                  <a:pt x="3520519" y="2612274"/>
                  <a:pt x="3523981" y="2614137"/>
                </a:cubicBezTo>
                <a:cubicBezTo>
                  <a:pt x="3527574" y="2615735"/>
                  <a:pt x="3530769" y="2617865"/>
                  <a:pt x="3533299" y="2620528"/>
                </a:cubicBezTo>
                <a:cubicBezTo>
                  <a:pt x="3535828" y="2623057"/>
                  <a:pt x="3537958" y="2626252"/>
                  <a:pt x="3539422" y="2629846"/>
                </a:cubicBezTo>
                <a:cubicBezTo>
                  <a:pt x="3540886" y="2633439"/>
                  <a:pt x="3541685" y="2637168"/>
                  <a:pt x="3541685" y="2641294"/>
                </a:cubicBezTo>
                <a:cubicBezTo>
                  <a:pt x="3541685" y="2645421"/>
                  <a:pt x="3540886" y="2649414"/>
                  <a:pt x="3539422" y="2653009"/>
                </a:cubicBezTo>
                <a:cubicBezTo>
                  <a:pt x="3537958" y="2656602"/>
                  <a:pt x="3535828" y="2659664"/>
                  <a:pt x="3533299" y="2662328"/>
                </a:cubicBezTo>
                <a:cubicBezTo>
                  <a:pt x="3530635" y="2664989"/>
                  <a:pt x="3527574" y="2667119"/>
                  <a:pt x="3523981" y="2668583"/>
                </a:cubicBezTo>
                <a:cubicBezTo>
                  <a:pt x="3520386" y="2670047"/>
                  <a:pt x="3516525" y="2670846"/>
                  <a:pt x="3512265" y="2670846"/>
                </a:cubicBezTo>
                <a:cubicBezTo>
                  <a:pt x="3503211" y="2670846"/>
                  <a:pt x="3496022" y="2667917"/>
                  <a:pt x="3490431" y="2662328"/>
                </a:cubicBezTo>
                <a:cubicBezTo>
                  <a:pt x="3484840" y="2656736"/>
                  <a:pt x="3482044" y="2649681"/>
                  <a:pt x="3482044" y="2641161"/>
                </a:cubicBezTo>
                <a:cubicBezTo>
                  <a:pt x="3482044" y="2632908"/>
                  <a:pt x="3484840" y="2625852"/>
                  <a:pt x="3490431" y="2620128"/>
                </a:cubicBezTo>
                <a:cubicBezTo>
                  <a:pt x="3496022" y="2614271"/>
                  <a:pt x="3503211" y="2611475"/>
                  <a:pt x="3512265" y="2611475"/>
                </a:cubicBezTo>
                <a:close/>
                <a:moveTo>
                  <a:pt x="3294745" y="2611475"/>
                </a:moveTo>
                <a:cubicBezTo>
                  <a:pt x="3298873" y="2611475"/>
                  <a:pt x="3302867" y="2612274"/>
                  <a:pt x="3306461" y="2614137"/>
                </a:cubicBezTo>
                <a:cubicBezTo>
                  <a:pt x="3310188" y="2615735"/>
                  <a:pt x="3313250" y="2617865"/>
                  <a:pt x="3315779" y="2620528"/>
                </a:cubicBezTo>
                <a:cubicBezTo>
                  <a:pt x="3318308" y="2623057"/>
                  <a:pt x="3320438" y="2626252"/>
                  <a:pt x="3321902" y="2629846"/>
                </a:cubicBezTo>
                <a:cubicBezTo>
                  <a:pt x="3323366" y="2633439"/>
                  <a:pt x="3324165" y="2637168"/>
                  <a:pt x="3324165" y="2641294"/>
                </a:cubicBezTo>
                <a:cubicBezTo>
                  <a:pt x="3324165" y="2645421"/>
                  <a:pt x="3323366" y="2649414"/>
                  <a:pt x="3321902" y="2653009"/>
                </a:cubicBezTo>
                <a:cubicBezTo>
                  <a:pt x="3320438" y="2656602"/>
                  <a:pt x="3318308" y="2659664"/>
                  <a:pt x="3315779" y="2662328"/>
                </a:cubicBezTo>
                <a:cubicBezTo>
                  <a:pt x="3313116" y="2664989"/>
                  <a:pt x="3310055" y="2667119"/>
                  <a:pt x="3306461" y="2668583"/>
                </a:cubicBezTo>
                <a:cubicBezTo>
                  <a:pt x="3302867" y="2670047"/>
                  <a:pt x="3299006" y="2670846"/>
                  <a:pt x="3294745" y="2670846"/>
                </a:cubicBezTo>
                <a:cubicBezTo>
                  <a:pt x="3285693" y="2670846"/>
                  <a:pt x="3278504" y="2667917"/>
                  <a:pt x="3272910" y="2662328"/>
                </a:cubicBezTo>
                <a:cubicBezTo>
                  <a:pt x="3267319" y="2656736"/>
                  <a:pt x="3264524" y="2649681"/>
                  <a:pt x="3264524" y="2641161"/>
                </a:cubicBezTo>
                <a:cubicBezTo>
                  <a:pt x="3264524" y="2632908"/>
                  <a:pt x="3267319" y="2625852"/>
                  <a:pt x="3272910" y="2620128"/>
                </a:cubicBezTo>
                <a:cubicBezTo>
                  <a:pt x="3278504" y="2614271"/>
                  <a:pt x="3285693" y="2611475"/>
                  <a:pt x="3294745" y="2611475"/>
                </a:cubicBezTo>
                <a:close/>
                <a:moveTo>
                  <a:pt x="3077093" y="2611475"/>
                </a:moveTo>
                <a:cubicBezTo>
                  <a:pt x="3081220" y="2611475"/>
                  <a:pt x="3085214" y="2612274"/>
                  <a:pt x="3088808" y="2614137"/>
                </a:cubicBezTo>
                <a:cubicBezTo>
                  <a:pt x="3092402" y="2615735"/>
                  <a:pt x="3095598" y="2617865"/>
                  <a:pt x="3098126" y="2620528"/>
                </a:cubicBezTo>
                <a:cubicBezTo>
                  <a:pt x="3100655" y="2623057"/>
                  <a:pt x="3102785" y="2626252"/>
                  <a:pt x="3104249" y="2629846"/>
                </a:cubicBezTo>
                <a:cubicBezTo>
                  <a:pt x="3105715" y="2633439"/>
                  <a:pt x="3106512" y="2637168"/>
                  <a:pt x="3106512" y="2641294"/>
                </a:cubicBezTo>
                <a:cubicBezTo>
                  <a:pt x="3106512" y="2645421"/>
                  <a:pt x="3105715" y="2649414"/>
                  <a:pt x="3104249" y="2653009"/>
                </a:cubicBezTo>
                <a:cubicBezTo>
                  <a:pt x="3102785" y="2656602"/>
                  <a:pt x="3100655" y="2659664"/>
                  <a:pt x="3098126" y="2662328"/>
                </a:cubicBezTo>
                <a:cubicBezTo>
                  <a:pt x="3095464" y="2664989"/>
                  <a:pt x="3092402" y="2667119"/>
                  <a:pt x="3088808" y="2668583"/>
                </a:cubicBezTo>
                <a:cubicBezTo>
                  <a:pt x="3085214" y="2670047"/>
                  <a:pt x="3081353" y="2670846"/>
                  <a:pt x="3077093" y="2670846"/>
                </a:cubicBezTo>
                <a:cubicBezTo>
                  <a:pt x="3068173" y="2670846"/>
                  <a:pt x="3060851" y="2667917"/>
                  <a:pt x="3055258" y="2662328"/>
                </a:cubicBezTo>
                <a:cubicBezTo>
                  <a:pt x="3049667" y="2656736"/>
                  <a:pt x="3046872" y="2649681"/>
                  <a:pt x="3046872" y="2641161"/>
                </a:cubicBezTo>
                <a:cubicBezTo>
                  <a:pt x="3046872" y="2632908"/>
                  <a:pt x="3049667" y="2625852"/>
                  <a:pt x="3055258" y="2620128"/>
                </a:cubicBezTo>
                <a:cubicBezTo>
                  <a:pt x="3060851" y="2614271"/>
                  <a:pt x="3068041" y="2611475"/>
                  <a:pt x="3077093" y="2611475"/>
                </a:cubicBezTo>
                <a:close/>
                <a:moveTo>
                  <a:pt x="2859440" y="2611475"/>
                </a:moveTo>
                <a:cubicBezTo>
                  <a:pt x="2863701" y="2611475"/>
                  <a:pt x="2867562" y="2612274"/>
                  <a:pt x="2871289" y="2614137"/>
                </a:cubicBezTo>
                <a:cubicBezTo>
                  <a:pt x="2875016" y="2615735"/>
                  <a:pt x="2878077" y="2617865"/>
                  <a:pt x="2880607" y="2620528"/>
                </a:cubicBezTo>
                <a:cubicBezTo>
                  <a:pt x="2883268" y="2623057"/>
                  <a:pt x="2885266" y="2626252"/>
                  <a:pt x="2886730" y="2629846"/>
                </a:cubicBezTo>
                <a:cubicBezTo>
                  <a:pt x="2888194" y="2633439"/>
                  <a:pt x="2888993" y="2637168"/>
                  <a:pt x="2888993" y="2641294"/>
                </a:cubicBezTo>
                <a:cubicBezTo>
                  <a:pt x="2888993" y="2645421"/>
                  <a:pt x="2888194" y="2649414"/>
                  <a:pt x="2886730" y="2653009"/>
                </a:cubicBezTo>
                <a:cubicBezTo>
                  <a:pt x="2885266" y="2656602"/>
                  <a:pt x="2883136" y="2659664"/>
                  <a:pt x="2880607" y="2662328"/>
                </a:cubicBezTo>
                <a:cubicBezTo>
                  <a:pt x="2877945" y="2664989"/>
                  <a:pt x="2874882" y="2667119"/>
                  <a:pt x="2871289" y="2668583"/>
                </a:cubicBezTo>
                <a:cubicBezTo>
                  <a:pt x="2867562" y="2670047"/>
                  <a:pt x="2863701" y="2670846"/>
                  <a:pt x="2859440" y="2670846"/>
                </a:cubicBezTo>
                <a:cubicBezTo>
                  <a:pt x="2850522" y="2670846"/>
                  <a:pt x="2843196" y="2667917"/>
                  <a:pt x="2837606" y="2662328"/>
                </a:cubicBezTo>
                <a:cubicBezTo>
                  <a:pt x="2832015" y="2656736"/>
                  <a:pt x="2829219" y="2649681"/>
                  <a:pt x="2829219" y="2641161"/>
                </a:cubicBezTo>
                <a:cubicBezTo>
                  <a:pt x="2829219" y="2632908"/>
                  <a:pt x="2832015" y="2625852"/>
                  <a:pt x="2837606" y="2620128"/>
                </a:cubicBezTo>
                <a:cubicBezTo>
                  <a:pt x="2843196" y="2614271"/>
                  <a:pt x="2850388" y="2611475"/>
                  <a:pt x="2859440" y="2611475"/>
                </a:cubicBezTo>
                <a:close/>
                <a:moveTo>
                  <a:pt x="2641787" y="2611475"/>
                </a:moveTo>
                <a:cubicBezTo>
                  <a:pt x="2646048" y="2611475"/>
                  <a:pt x="2649907" y="2612274"/>
                  <a:pt x="2653503" y="2614137"/>
                </a:cubicBezTo>
                <a:cubicBezTo>
                  <a:pt x="2657230" y="2615735"/>
                  <a:pt x="2660292" y="2617865"/>
                  <a:pt x="2662821" y="2620528"/>
                </a:cubicBezTo>
                <a:cubicBezTo>
                  <a:pt x="2665483" y="2623057"/>
                  <a:pt x="2667480" y="2626252"/>
                  <a:pt x="2668944" y="2629846"/>
                </a:cubicBezTo>
                <a:cubicBezTo>
                  <a:pt x="2670408" y="2633439"/>
                  <a:pt x="2671207" y="2637168"/>
                  <a:pt x="2671207" y="2641294"/>
                </a:cubicBezTo>
                <a:cubicBezTo>
                  <a:pt x="2671207" y="2645421"/>
                  <a:pt x="2670408" y="2649414"/>
                  <a:pt x="2668944" y="2653009"/>
                </a:cubicBezTo>
                <a:cubicBezTo>
                  <a:pt x="2667480" y="2656602"/>
                  <a:pt x="2665350" y="2659664"/>
                  <a:pt x="2662821" y="2662328"/>
                </a:cubicBezTo>
                <a:cubicBezTo>
                  <a:pt x="2660292" y="2664989"/>
                  <a:pt x="2657096" y="2667119"/>
                  <a:pt x="2653503" y="2668583"/>
                </a:cubicBezTo>
                <a:cubicBezTo>
                  <a:pt x="2649907" y="2670047"/>
                  <a:pt x="2646048" y="2670846"/>
                  <a:pt x="2641787" y="2670846"/>
                </a:cubicBezTo>
                <a:cubicBezTo>
                  <a:pt x="2632868" y="2670846"/>
                  <a:pt x="2625547" y="2667917"/>
                  <a:pt x="2619955" y="2662328"/>
                </a:cubicBezTo>
                <a:cubicBezTo>
                  <a:pt x="2614364" y="2656736"/>
                  <a:pt x="2611568" y="2649681"/>
                  <a:pt x="2611568" y="2641161"/>
                </a:cubicBezTo>
                <a:cubicBezTo>
                  <a:pt x="2611568" y="2632908"/>
                  <a:pt x="2614364" y="2625852"/>
                  <a:pt x="2619955" y="2620128"/>
                </a:cubicBezTo>
                <a:cubicBezTo>
                  <a:pt x="2625547" y="2614271"/>
                  <a:pt x="2632735" y="2611475"/>
                  <a:pt x="2641787" y="2611475"/>
                </a:cubicBezTo>
                <a:close/>
                <a:moveTo>
                  <a:pt x="2424134" y="2611475"/>
                </a:moveTo>
                <a:cubicBezTo>
                  <a:pt x="2428395" y="2611475"/>
                  <a:pt x="2432389" y="2612274"/>
                  <a:pt x="2435850" y="2614137"/>
                </a:cubicBezTo>
                <a:cubicBezTo>
                  <a:pt x="2439577" y="2615735"/>
                  <a:pt x="2442639" y="2617865"/>
                  <a:pt x="2445168" y="2620528"/>
                </a:cubicBezTo>
                <a:cubicBezTo>
                  <a:pt x="2447830" y="2623057"/>
                  <a:pt x="2449827" y="2626252"/>
                  <a:pt x="2451291" y="2629846"/>
                </a:cubicBezTo>
                <a:cubicBezTo>
                  <a:pt x="2452755" y="2633439"/>
                  <a:pt x="2453554" y="2637168"/>
                  <a:pt x="2453554" y="2641294"/>
                </a:cubicBezTo>
                <a:cubicBezTo>
                  <a:pt x="2453554" y="2645421"/>
                  <a:pt x="2452755" y="2649414"/>
                  <a:pt x="2451291" y="2653009"/>
                </a:cubicBezTo>
                <a:cubicBezTo>
                  <a:pt x="2449827" y="2656602"/>
                  <a:pt x="2447697" y="2659664"/>
                  <a:pt x="2445168" y="2662328"/>
                </a:cubicBezTo>
                <a:cubicBezTo>
                  <a:pt x="2442639" y="2664989"/>
                  <a:pt x="2439444" y="2667119"/>
                  <a:pt x="2435850" y="2668583"/>
                </a:cubicBezTo>
                <a:cubicBezTo>
                  <a:pt x="2432256" y="2670047"/>
                  <a:pt x="2428395" y="2670846"/>
                  <a:pt x="2424134" y="2670846"/>
                </a:cubicBezTo>
                <a:cubicBezTo>
                  <a:pt x="2415217" y="2670846"/>
                  <a:pt x="2407894" y="2667917"/>
                  <a:pt x="2402303" y="2662328"/>
                </a:cubicBezTo>
                <a:cubicBezTo>
                  <a:pt x="2396711" y="2656736"/>
                  <a:pt x="2393915" y="2649681"/>
                  <a:pt x="2393915" y="2641161"/>
                </a:cubicBezTo>
                <a:cubicBezTo>
                  <a:pt x="2393915" y="2632908"/>
                  <a:pt x="2396711" y="2625852"/>
                  <a:pt x="2402303" y="2620128"/>
                </a:cubicBezTo>
                <a:cubicBezTo>
                  <a:pt x="2407894" y="2614271"/>
                  <a:pt x="2415083" y="2611475"/>
                  <a:pt x="2424134" y="2611475"/>
                </a:cubicBezTo>
                <a:close/>
                <a:moveTo>
                  <a:pt x="2206482" y="2611475"/>
                </a:moveTo>
                <a:cubicBezTo>
                  <a:pt x="2210742" y="2611475"/>
                  <a:pt x="2214736" y="2612274"/>
                  <a:pt x="2218197" y="2614137"/>
                </a:cubicBezTo>
                <a:cubicBezTo>
                  <a:pt x="2221924" y="2615735"/>
                  <a:pt x="2224985" y="2617865"/>
                  <a:pt x="2227516" y="2620528"/>
                </a:cubicBezTo>
                <a:cubicBezTo>
                  <a:pt x="2230178" y="2623057"/>
                  <a:pt x="2232174" y="2626252"/>
                  <a:pt x="2233638" y="2629846"/>
                </a:cubicBezTo>
                <a:cubicBezTo>
                  <a:pt x="2235102" y="2633439"/>
                  <a:pt x="2235901" y="2637168"/>
                  <a:pt x="2235901" y="2641294"/>
                </a:cubicBezTo>
                <a:cubicBezTo>
                  <a:pt x="2235901" y="2645421"/>
                  <a:pt x="2235102" y="2649414"/>
                  <a:pt x="2233638" y="2653009"/>
                </a:cubicBezTo>
                <a:cubicBezTo>
                  <a:pt x="2232174" y="2656602"/>
                  <a:pt x="2230044" y="2659664"/>
                  <a:pt x="2227516" y="2662328"/>
                </a:cubicBezTo>
                <a:cubicBezTo>
                  <a:pt x="2224985" y="2664989"/>
                  <a:pt x="2221791" y="2667119"/>
                  <a:pt x="2218197" y="2668583"/>
                </a:cubicBezTo>
                <a:cubicBezTo>
                  <a:pt x="2214602" y="2670047"/>
                  <a:pt x="2210742" y="2670846"/>
                  <a:pt x="2206482" y="2670846"/>
                </a:cubicBezTo>
                <a:cubicBezTo>
                  <a:pt x="2197430" y="2670846"/>
                  <a:pt x="2190241" y="2667917"/>
                  <a:pt x="2184650" y="2662328"/>
                </a:cubicBezTo>
                <a:cubicBezTo>
                  <a:pt x="2179059" y="2656736"/>
                  <a:pt x="2176263" y="2649681"/>
                  <a:pt x="2176263" y="2641161"/>
                </a:cubicBezTo>
                <a:cubicBezTo>
                  <a:pt x="2176263" y="2632908"/>
                  <a:pt x="2179059" y="2625852"/>
                  <a:pt x="2184650" y="2620128"/>
                </a:cubicBezTo>
                <a:cubicBezTo>
                  <a:pt x="2190241" y="2614271"/>
                  <a:pt x="2197430" y="2611475"/>
                  <a:pt x="2206482" y="2611475"/>
                </a:cubicBezTo>
                <a:close/>
                <a:moveTo>
                  <a:pt x="1988962" y="2611475"/>
                </a:moveTo>
                <a:cubicBezTo>
                  <a:pt x="1993089" y="2611475"/>
                  <a:pt x="1997084" y="2612274"/>
                  <a:pt x="2000678" y="2614137"/>
                </a:cubicBezTo>
                <a:cubicBezTo>
                  <a:pt x="2004405" y="2615735"/>
                  <a:pt x="2007466" y="2617865"/>
                  <a:pt x="2009996" y="2620528"/>
                </a:cubicBezTo>
                <a:cubicBezTo>
                  <a:pt x="2012657" y="2623057"/>
                  <a:pt x="2014655" y="2626252"/>
                  <a:pt x="2016119" y="2629846"/>
                </a:cubicBezTo>
                <a:cubicBezTo>
                  <a:pt x="2017583" y="2633439"/>
                  <a:pt x="2018382" y="2637168"/>
                  <a:pt x="2018382" y="2641294"/>
                </a:cubicBezTo>
                <a:cubicBezTo>
                  <a:pt x="2018382" y="2645421"/>
                  <a:pt x="2017583" y="2649414"/>
                  <a:pt x="2016119" y="2653009"/>
                </a:cubicBezTo>
                <a:cubicBezTo>
                  <a:pt x="2014655" y="2656602"/>
                  <a:pt x="2012525" y="2659664"/>
                  <a:pt x="2009996" y="2662328"/>
                </a:cubicBezTo>
                <a:cubicBezTo>
                  <a:pt x="2007466" y="2664989"/>
                  <a:pt x="2004271" y="2667119"/>
                  <a:pt x="2000678" y="2668583"/>
                </a:cubicBezTo>
                <a:cubicBezTo>
                  <a:pt x="1997084" y="2670047"/>
                  <a:pt x="1993222" y="2670846"/>
                  <a:pt x="1988962" y="2670846"/>
                </a:cubicBezTo>
                <a:cubicBezTo>
                  <a:pt x="1979911" y="2670846"/>
                  <a:pt x="1972722" y="2667917"/>
                  <a:pt x="1967131" y="2662328"/>
                </a:cubicBezTo>
                <a:cubicBezTo>
                  <a:pt x="1961541" y="2656736"/>
                  <a:pt x="1958745" y="2649681"/>
                  <a:pt x="1958745" y="2641161"/>
                </a:cubicBezTo>
                <a:cubicBezTo>
                  <a:pt x="1958745" y="2632908"/>
                  <a:pt x="1961541" y="2625852"/>
                  <a:pt x="1967131" y="2620128"/>
                </a:cubicBezTo>
                <a:cubicBezTo>
                  <a:pt x="1972722" y="2614271"/>
                  <a:pt x="1979911" y="2611475"/>
                  <a:pt x="1988962" y="2611475"/>
                </a:cubicBezTo>
                <a:close/>
                <a:moveTo>
                  <a:pt x="1771323" y="2611475"/>
                </a:moveTo>
                <a:cubicBezTo>
                  <a:pt x="1775582" y="2611475"/>
                  <a:pt x="1779442" y="2612274"/>
                  <a:pt x="1783037" y="2614137"/>
                </a:cubicBezTo>
                <a:cubicBezTo>
                  <a:pt x="1786764" y="2615735"/>
                  <a:pt x="1789826" y="2617865"/>
                  <a:pt x="1792355" y="2620528"/>
                </a:cubicBezTo>
                <a:cubicBezTo>
                  <a:pt x="1795017" y="2623057"/>
                  <a:pt x="1797014" y="2626252"/>
                  <a:pt x="1798478" y="2629846"/>
                </a:cubicBezTo>
                <a:cubicBezTo>
                  <a:pt x="1799942" y="2633439"/>
                  <a:pt x="1800741" y="2637168"/>
                  <a:pt x="1800741" y="2641294"/>
                </a:cubicBezTo>
                <a:cubicBezTo>
                  <a:pt x="1800741" y="2645421"/>
                  <a:pt x="1799942" y="2649414"/>
                  <a:pt x="1798478" y="2653009"/>
                </a:cubicBezTo>
                <a:cubicBezTo>
                  <a:pt x="1797014" y="2656602"/>
                  <a:pt x="1794884" y="2659664"/>
                  <a:pt x="1792355" y="2662328"/>
                </a:cubicBezTo>
                <a:cubicBezTo>
                  <a:pt x="1789692" y="2664989"/>
                  <a:pt x="1786632" y="2667119"/>
                  <a:pt x="1783037" y="2668583"/>
                </a:cubicBezTo>
                <a:cubicBezTo>
                  <a:pt x="1779442" y="2670047"/>
                  <a:pt x="1775582" y="2670846"/>
                  <a:pt x="1771323" y="2670846"/>
                </a:cubicBezTo>
                <a:cubicBezTo>
                  <a:pt x="1762404" y="2670846"/>
                  <a:pt x="1755083" y="2667917"/>
                  <a:pt x="1749493" y="2662328"/>
                </a:cubicBezTo>
                <a:cubicBezTo>
                  <a:pt x="1743901" y="2656736"/>
                  <a:pt x="1741108" y="2649681"/>
                  <a:pt x="1741108" y="2641161"/>
                </a:cubicBezTo>
                <a:cubicBezTo>
                  <a:pt x="1741108" y="2632908"/>
                  <a:pt x="1743901" y="2625852"/>
                  <a:pt x="1749493" y="2620128"/>
                </a:cubicBezTo>
                <a:cubicBezTo>
                  <a:pt x="1755083" y="2614271"/>
                  <a:pt x="1762271" y="2611475"/>
                  <a:pt x="1771323" y="2611475"/>
                </a:cubicBezTo>
                <a:close/>
                <a:moveTo>
                  <a:pt x="1553681" y="2611475"/>
                </a:moveTo>
                <a:cubicBezTo>
                  <a:pt x="1557941" y="2611475"/>
                  <a:pt x="1561802" y="2612274"/>
                  <a:pt x="1565396" y="2614137"/>
                </a:cubicBezTo>
                <a:cubicBezTo>
                  <a:pt x="1568990" y="2615735"/>
                  <a:pt x="1572185" y="2617865"/>
                  <a:pt x="1574714" y="2620528"/>
                </a:cubicBezTo>
                <a:cubicBezTo>
                  <a:pt x="1577377" y="2623057"/>
                  <a:pt x="1579373" y="2626252"/>
                  <a:pt x="1580837" y="2629846"/>
                </a:cubicBezTo>
                <a:cubicBezTo>
                  <a:pt x="1582301" y="2633439"/>
                  <a:pt x="1583100" y="2637168"/>
                  <a:pt x="1583100" y="2641294"/>
                </a:cubicBezTo>
                <a:cubicBezTo>
                  <a:pt x="1583100" y="2645421"/>
                  <a:pt x="1582301" y="2649414"/>
                  <a:pt x="1580837" y="2653009"/>
                </a:cubicBezTo>
                <a:cubicBezTo>
                  <a:pt x="1579373" y="2656602"/>
                  <a:pt x="1577243" y="2659664"/>
                  <a:pt x="1574714" y="2662328"/>
                </a:cubicBezTo>
                <a:cubicBezTo>
                  <a:pt x="1572052" y="2664989"/>
                  <a:pt x="1568990" y="2667119"/>
                  <a:pt x="1565396" y="2668583"/>
                </a:cubicBezTo>
                <a:cubicBezTo>
                  <a:pt x="1561802" y="2670047"/>
                  <a:pt x="1557941" y="2670846"/>
                  <a:pt x="1553681" y="2670846"/>
                </a:cubicBezTo>
                <a:cubicBezTo>
                  <a:pt x="1544763" y="2670846"/>
                  <a:pt x="1537441" y="2667917"/>
                  <a:pt x="1531850" y="2662328"/>
                </a:cubicBezTo>
                <a:cubicBezTo>
                  <a:pt x="1526261" y="2656736"/>
                  <a:pt x="1523464" y="2649681"/>
                  <a:pt x="1523464" y="2641161"/>
                </a:cubicBezTo>
                <a:cubicBezTo>
                  <a:pt x="1523464" y="2632908"/>
                  <a:pt x="1526261" y="2625852"/>
                  <a:pt x="1531850" y="2620128"/>
                </a:cubicBezTo>
                <a:cubicBezTo>
                  <a:pt x="1537441" y="2614271"/>
                  <a:pt x="1544629" y="2611475"/>
                  <a:pt x="1553681" y="2611475"/>
                </a:cubicBezTo>
                <a:close/>
                <a:moveTo>
                  <a:pt x="1336036" y="2611475"/>
                </a:moveTo>
                <a:cubicBezTo>
                  <a:pt x="1340297" y="2611475"/>
                  <a:pt x="1344292" y="2612274"/>
                  <a:pt x="1347753" y="2614137"/>
                </a:cubicBezTo>
                <a:cubicBezTo>
                  <a:pt x="1351346" y="2615735"/>
                  <a:pt x="1354541" y="2617865"/>
                  <a:pt x="1357071" y="2620528"/>
                </a:cubicBezTo>
                <a:cubicBezTo>
                  <a:pt x="1359733" y="2623057"/>
                  <a:pt x="1361729" y="2626252"/>
                  <a:pt x="1363193" y="2629846"/>
                </a:cubicBezTo>
                <a:cubicBezTo>
                  <a:pt x="1364658" y="2633439"/>
                  <a:pt x="1365456" y="2637168"/>
                  <a:pt x="1365456" y="2641294"/>
                </a:cubicBezTo>
                <a:cubicBezTo>
                  <a:pt x="1365456" y="2645421"/>
                  <a:pt x="1364658" y="2649414"/>
                  <a:pt x="1363193" y="2653009"/>
                </a:cubicBezTo>
                <a:cubicBezTo>
                  <a:pt x="1361729" y="2656602"/>
                  <a:pt x="1359599" y="2659664"/>
                  <a:pt x="1357071" y="2662328"/>
                </a:cubicBezTo>
                <a:cubicBezTo>
                  <a:pt x="1354407" y="2664989"/>
                  <a:pt x="1351346" y="2667119"/>
                  <a:pt x="1347753" y="2668583"/>
                </a:cubicBezTo>
                <a:cubicBezTo>
                  <a:pt x="1344158" y="2670047"/>
                  <a:pt x="1340297" y="2670846"/>
                  <a:pt x="1336036" y="2670846"/>
                </a:cubicBezTo>
                <a:cubicBezTo>
                  <a:pt x="1327117" y="2670846"/>
                  <a:pt x="1319796" y="2667917"/>
                  <a:pt x="1314205" y="2662328"/>
                </a:cubicBezTo>
                <a:cubicBezTo>
                  <a:pt x="1308614" y="2656736"/>
                  <a:pt x="1305819" y="2649681"/>
                  <a:pt x="1305819" y="2641161"/>
                </a:cubicBezTo>
                <a:cubicBezTo>
                  <a:pt x="1305819" y="2632908"/>
                  <a:pt x="1308614" y="2625852"/>
                  <a:pt x="1314205" y="2620128"/>
                </a:cubicBezTo>
                <a:cubicBezTo>
                  <a:pt x="1319796" y="2614271"/>
                  <a:pt x="1326985" y="2611475"/>
                  <a:pt x="1336036" y="2611475"/>
                </a:cubicBezTo>
                <a:close/>
                <a:moveTo>
                  <a:pt x="1118392" y="2611475"/>
                </a:moveTo>
                <a:cubicBezTo>
                  <a:pt x="1122652" y="2611475"/>
                  <a:pt x="1126648" y="2612274"/>
                  <a:pt x="1130109" y="2614137"/>
                </a:cubicBezTo>
                <a:cubicBezTo>
                  <a:pt x="1133835" y="2615735"/>
                  <a:pt x="1136897" y="2617865"/>
                  <a:pt x="1139426" y="2620528"/>
                </a:cubicBezTo>
                <a:cubicBezTo>
                  <a:pt x="1142086" y="2623057"/>
                  <a:pt x="1144083" y="2626252"/>
                  <a:pt x="1145546" y="2629846"/>
                </a:cubicBezTo>
                <a:cubicBezTo>
                  <a:pt x="1147011" y="2633439"/>
                  <a:pt x="1147810" y="2637168"/>
                  <a:pt x="1147810" y="2641294"/>
                </a:cubicBezTo>
                <a:cubicBezTo>
                  <a:pt x="1147810" y="2645421"/>
                  <a:pt x="1147011" y="2649414"/>
                  <a:pt x="1145546" y="2653009"/>
                </a:cubicBezTo>
                <a:cubicBezTo>
                  <a:pt x="1144083" y="2656602"/>
                  <a:pt x="1141954" y="2659664"/>
                  <a:pt x="1139426" y="2662328"/>
                </a:cubicBezTo>
                <a:cubicBezTo>
                  <a:pt x="1136897" y="2664989"/>
                  <a:pt x="1133702" y="2667119"/>
                  <a:pt x="1130109" y="2668583"/>
                </a:cubicBezTo>
                <a:cubicBezTo>
                  <a:pt x="1126513" y="2670047"/>
                  <a:pt x="1122652" y="2670846"/>
                  <a:pt x="1118392" y="2670846"/>
                </a:cubicBezTo>
                <a:cubicBezTo>
                  <a:pt x="1109473" y="2670846"/>
                  <a:pt x="1102149" y="2667917"/>
                  <a:pt x="1096558" y="2662328"/>
                </a:cubicBezTo>
                <a:cubicBezTo>
                  <a:pt x="1090968" y="2656736"/>
                  <a:pt x="1088173" y="2649681"/>
                  <a:pt x="1088173" y="2641161"/>
                </a:cubicBezTo>
                <a:cubicBezTo>
                  <a:pt x="1088173" y="2632908"/>
                  <a:pt x="1090968" y="2625852"/>
                  <a:pt x="1096558" y="2620128"/>
                </a:cubicBezTo>
                <a:cubicBezTo>
                  <a:pt x="1102149" y="2614271"/>
                  <a:pt x="1109339" y="2611475"/>
                  <a:pt x="1118392" y="2611475"/>
                </a:cubicBezTo>
                <a:close/>
                <a:moveTo>
                  <a:pt x="900879" y="2611475"/>
                </a:moveTo>
                <a:cubicBezTo>
                  <a:pt x="905006" y="2611475"/>
                  <a:pt x="909000" y="2612274"/>
                  <a:pt x="912594" y="2614137"/>
                </a:cubicBezTo>
                <a:cubicBezTo>
                  <a:pt x="916322" y="2615735"/>
                  <a:pt x="919384" y="2617865"/>
                  <a:pt x="921913" y="2620528"/>
                </a:cubicBezTo>
                <a:cubicBezTo>
                  <a:pt x="924575" y="2623057"/>
                  <a:pt x="926572" y="2626252"/>
                  <a:pt x="928035" y="2629846"/>
                </a:cubicBezTo>
                <a:cubicBezTo>
                  <a:pt x="929500" y="2633439"/>
                  <a:pt x="930299" y="2637168"/>
                  <a:pt x="930299" y="2641294"/>
                </a:cubicBezTo>
                <a:cubicBezTo>
                  <a:pt x="930299" y="2645421"/>
                  <a:pt x="929500" y="2649414"/>
                  <a:pt x="928035" y="2653009"/>
                </a:cubicBezTo>
                <a:cubicBezTo>
                  <a:pt x="926572" y="2656602"/>
                  <a:pt x="924442" y="2659664"/>
                  <a:pt x="921913" y="2662328"/>
                </a:cubicBezTo>
                <a:cubicBezTo>
                  <a:pt x="919384" y="2664989"/>
                  <a:pt x="916189" y="2667119"/>
                  <a:pt x="912594" y="2668583"/>
                </a:cubicBezTo>
                <a:cubicBezTo>
                  <a:pt x="909000" y="2670047"/>
                  <a:pt x="905139" y="2670846"/>
                  <a:pt x="900879" y="2670846"/>
                </a:cubicBezTo>
                <a:cubicBezTo>
                  <a:pt x="891961" y="2670846"/>
                  <a:pt x="884639" y="2667917"/>
                  <a:pt x="879049" y="2662328"/>
                </a:cubicBezTo>
                <a:cubicBezTo>
                  <a:pt x="873459" y="2656736"/>
                  <a:pt x="870663" y="2649681"/>
                  <a:pt x="870663" y="2641161"/>
                </a:cubicBezTo>
                <a:cubicBezTo>
                  <a:pt x="870663" y="2632908"/>
                  <a:pt x="873459" y="2625852"/>
                  <a:pt x="879049" y="2620128"/>
                </a:cubicBezTo>
                <a:cubicBezTo>
                  <a:pt x="884639" y="2614271"/>
                  <a:pt x="891828" y="2611475"/>
                  <a:pt x="900879" y="2611475"/>
                </a:cubicBezTo>
                <a:close/>
                <a:moveTo>
                  <a:pt x="683237" y="2611475"/>
                </a:moveTo>
                <a:cubicBezTo>
                  <a:pt x="687497" y="2611475"/>
                  <a:pt x="691358" y="2612274"/>
                  <a:pt x="694952" y="2614137"/>
                </a:cubicBezTo>
                <a:cubicBezTo>
                  <a:pt x="698679" y="2615735"/>
                  <a:pt x="701741" y="2617865"/>
                  <a:pt x="704270" y="2620528"/>
                </a:cubicBezTo>
                <a:cubicBezTo>
                  <a:pt x="706932" y="2623057"/>
                  <a:pt x="708929" y="2626252"/>
                  <a:pt x="710393" y="2629846"/>
                </a:cubicBezTo>
                <a:cubicBezTo>
                  <a:pt x="711857" y="2633439"/>
                  <a:pt x="712656" y="2637168"/>
                  <a:pt x="712656" y="2641294"/>
                </a:cubicBezTo>
                <a:cubicBezTo>
                  <a:pt x="712656" y="2645421"/>
                  <a:pt x="711857" y="2649414"/>
                  <a:pt x="710393" y="2653009"/>
                </a:cubicBezTo>
                <a:cubicBezTo>
                  <a:pt x="708929" y="2656602"/>
                  <a:pt x="706799" y="2659664"/>
                  <a:pt x="704270" y="2662328"/>
                </a:cubicBezTo>
                <a:cubicBezTo>
                  <a:pt x="701741" y="2664989"/>
                  <a:pt x="698546" y="2667119"/>
                  <a:pt x="694952" y="2668583"/>
                </a:cubicBezTo>
                <a:cubicBezTo>
                  <a:pt x="691358" y="2670047"/>
                  <a:pt x="687497" y="2670846"/>
                  <a:pt x="683237" y="2670846"/>
                </a:cubicBezTo>
                <a:cubicBezTo>
                  <a:pt x="674319" y="2670846"/>
                  <a:pt x="666997" y="2667917"/>
                  <a:pt x="661405" y="2662328"/>
                </a:cubicBezTo>
                <a:cubicBezTo>
                  <a:pt x="655814" y="2656736"/>
                  <a:pt x="653019" y="2649681"/>
                  <a:pt x="653019" y="2641161"/>
                </a:cubicBezTo>
                <a:cubicBezTo>
                  <a:pt x="653019" y="2632908"/>
                  <a:pt x="655814" y="2625852"/>
                  <a:pt x="661405" y="2620128"/>
                </a:cubicBezTo>
                <a:cubicBezTo>
                  <a:pt x="666997" y="2614271"/>
                  <a:pt x="674186" y="2611475"/>
                  <a:pt x="683237" y="2611475"/>
                </a:cubicBezTo>
                <a:close/>
                <a:moveTo>
                  <a:pt x="465594" y="2611475"/>
                </a:moveTo>
                <a:cubicBezTo>
                  <a:pt x="469854" y="2611475"/>
                  <a:pt x="473714" y="2612274"/>
                  <a:pt x="477309" y="2614137"/>
                </a:cubicBezTo>
                <a:cubicBezTo>
                  <a:pt x="481036" y="2615735"/>
                  <a:pt x="484098" y="2617865"/>
                  <a:pt x="486627" y="2620528"/>
                </a:cubicBezTo>
                <a:cubicBezTo>
                  <a:pt x="489289" y="2623057"/>
                  <a:pt x="491286" y="2626252"/>
                  <a:pt x="492750" y="2629846"/>
                </a:cubicBezTo>
                <a:cubicBezTo>
                  <a:pt x="494214" y="2633439"/>
                  <a:pt x="495013" y="2637168"/>
                  <a:pt x="495013" y="2641294"/>
                </a:cubicBezTo>
                <a:cubicBezTo>
                  <a:pt x="495013" y="2645421"/>
                  <a:pt x="494214" y="2649414"/>
                  <a:pt x="492750" y="2653009"/>
                </a:cubicBezTo>
                <a:cubicBezTo>
                  <a:pt x="491286" y="2656602"/>
                  <a:pt x="489156" y="2659664"/>
                  <a:pt x="486627" y="2662328"/>
                </a:cubicBezTo>
                <a:cubicBezTo>
                  <a:pt x="483964" y="2664989"/>
                  <a:pt x="480903" y="2667119"/>
                  <a:pt x="477309" y="2668583"/>
                </a:cubicBezTo>
                <a:cubicBezTo>
                  <a:pt x="473714" y="2670047"/>
                  <a:pt x="469854" y="2670846"/>
                  <a:pt x="465594" y="2670846"/>
                </a:cubicBezTo>
                <a:cubicBezTo>
                  <a:pt x="456676" y="2670846"/>
                  <a:pt x="449353" y="2667917"/>
                  <a:pt x="443762" y="2662328"/>
                </a:cubicBezTo>
                <a:cubicBezTo>
                  <a:pt x="438172" y="2656736"/>
                  <a:pt x="435377" y="2649681"/>
                  <a:pt x="435377" y="2641161"/>
                </a:cubicBezTo>
                <a:cubicBezTo>
                  <a:pt x="435377" y="2632908"/>
                  <a:pt x="438172" y="2625852"/>
                  <a:pt x="443762" y="2620128"/>
                </a:cubicBezTo>
                <a:cubicBezTo>
                  <a:pt x="449353" y="2614271"/>
                  <a:pt x="456543" y="2611475"/>
                  <a:pt x="465594" y="2611475"/>
                </a:cubicBezTo>
                <a:close/>
                <a:moveTo>
                  <a:pt x="247951" y="2611475"/>
                </a:moveTo>
                <a:cubicBezTo>
                  <a:pt x="252211" y="2611475"/>
                  <a:pt x="256204" y="2612274"/>
                  <a:pt x="259665" y="2614137"/>
                </a:cubicBezTo>
                <a:cubicBezTo>
                  <a:pt x="263392" y="2615735"/>
                  <a:pt x="266454" y="2617865"/>
                  <a:pt x="268984" y="2620528"/>
                </a:cubicBezTo>
                <a:cubicBezTo>
                  <a:pt x="271646" y="2623057"/>
                  <a:pt x="273643" y="2626252"/>
                  <a:pt x="275107" y="2629846"/>
                </a:cubicBezTo>
                <a:cubicBezTo>
                  <a:pt x="276571" y="2633439"/>
                  <a:pt x="277370" y="2637168"/>
                  <a:pt x="277370" y="2641294"/>
                </a:cubicBezTo>
                <a:cubicBezTo>
                  <a:pt x="277370" y="2645421"/>
                  <a:pt x="276571" y="2649414"/>
                  <a:pt x="275107" y="2653009"/>
                </a:cubicBezTo>
                <a:cubicBezTo>
                  <a:pt x="273643" y="2656602"/>
                  <a:pt x="271513" y="2659664"/>
                  <a:pt x="268984" y="2662328"/>
                </a:cubicBezTo>
                <a:cubicBezTo>
                  <a:pt x="266320" y="2664989"/>
                  <a:pt x="263259" y="2667119"/>
                  <a:pt x="259665" y="2668583"/>
                </a:cubicBezTo>
                <a:cubicBezTo>
                  <a:pt x="256070" y="2670047"/>
                  <a:pt x="252211" y="2670846"/>
                  <a:pt x="247951" y="2670846"/>
                </a:cubicBezTo>
                <a:cubicBezTo>
                  <a:pt x="239033" y="2670846"/>
                  <a:pt x="231711" y="2667917"/>
                  <a:pt x="226120" y="2662328"/>
                </a:cubicBezTo>
                <a:cubicBezTo>
                  <a:pt x="220529" y="2656736"/>
                  <a:pt x="217734" y="2649681"/>
                  <a:pt x="217734" y="2641161"/>
                </a:cubicBezTo>
                <a:cubicBezTo>
                  <a:pt x="217734" y="2632908"/>
                  <a:pt x="220529" y="2625852"/>
                  <a:pt x="226120" y="2620128"/>
                </a:cubicBezTo>
                <a:cubicBezTo>
                  <a:pt x="231711" y="2614271"/>
                  <a:pt x="238899" y="2611475"/>
                  <a:pt x="247951" y="2611475"/>
                </a:cubicBezTo>
                <a:close/>
                <a:moveTo>
                  <a:pt x="30307" y="2611475"/>
                </a:moveTo>
                <a:cubicBezTo>
                  <a:pt x="34567" y="2611475"/>
                  <a:pt x="38562" y="2612274"/>
                  <a:pt x="42023" y="2614137"/>
                </a:cubicBezTo>
                <a:cubicBezTo>
                  <a:pt x="45750" y="2615735"/>
                  <a:pt x="48812" y="2617865"/>
                  <a:pt x="51341" y="2620528"/>
                </a:cubicBezTo>
                <a:cubicBezTo>
                  <a:pt x="54003" y="2623057"/>
                  <a:pt x="56000" y="2626252"/>
                  <a:pt x="57464" y="2629846"/>
                </a:cubicBezTo>
                <a:cubicBezTo>
                  <a:pt x="58928" y="2633439"/>
                  <a:pt x="59727" y="2637168"/>
                  <a:pt x="59727" y="2641294"/>
                </a:cubicBezTo>
                <a:cubicBezTo>
                  <a:pt x="59727" y="2645421"/>
                  <a:pt x="58928" y="2649414"/>
                  <a:pt x="57464" y="2653009"/>
                </a:cubicBezTo>
                <a:cubicBezTo>
                  <a:pt x="56000" y="2656602"/>
                  <a:pt x="53870" y="2659664"/>
                  <a:pt x="51341" y="2662328"/>
                </a:cubicBezTo>
                <a:cubicBezTo>
                  <a:pt x="48678" y="2664989"/>
                  <a:pt x="45617" y="2667119"/>
                  <a:pt x="42023" y="2668583"/>
                </a:cubicBezTo>
                <a:cubicBezTo>
                  <a:pt x="38428" y="2670047"/>
                  <a:pt x="34567" y="2670846"/>
                  <a:pt x="30307" y="2670846"/>
                </a:cubicBezTo>
                <a:cubicBezTo>
                  <a:pt x="21389" y="2670846"/>
                  <a:pt x="14068" y="2667917"/>
                  <a:pt x="8478" y="2662328"/>
                </a:cubicBezTo>
                <a:cubicBezTo>
                  <a:pt x="2887" y="2656736"/>
                  <a:pt x="92" y="2649681"/>
                  <a:pt x="92" y="2641161"/>
                </a:cubicBezTo>
                <a:cubicBezTo>
                  <a:pt x="92" y="2632908"/>
                  <a:pt x="2887" y="2625852"/>
                  <a:pt x="8478" y="2620128"/>
                </a:cubicBezTo>
                <a:cubicBezTo>
                  <a:pt x="14068" y="2614271"/>
                  <a:pt x="21255" y="2611475"/>
                  <a:pt x="30307" y="2611475"/>
                </a:cubicBezTo>
                <a:close/>
                <a:moveTo>
                  <a:pt x="10475977" y="2410471"/>
                </a:moveTo>
                <a:cubicBezTo>
                  <a:pt x="10470119" y="2410471"/>
                  <a:pt x="10467589" y="2412467"/>
                  <a:pt x="10465992" y="2414065"/>
                </a:cubicBezTo>
                <a:cubicBezTo>
                  <a:pt x="10463463" y="2416727"/>
                  <a:pt x="10462399" y="2419522"/>
                  <a:pt x="10462399" y="2423515"/>
                </a:cubicBezTo>
                <a:cubicBezTo>
                  <a:pt x="10462399" y="2427642"/>
                  <a:pt x="10463463" y="2430438"/>
                  <a:pt x="10465992" y="2432967"/>
                </a:cubicBezTo>
                <a:cubicBezTo>
                  <a:pt x="10467589" y="2434565"/>
                  <a:pt x="10470119" y="2436428"/>
                  <a:pt x="10475977" y="2436428"/>
                </a:cubicBezTo>
                <a:cubicBezTo>
                  <a:pt x="10478107" y="2436428"/>
                  <a:pt x="10479838" y="2436162"/>
                  <a:pt x="10481302" y="2435496"/>
                </a:cubicBezTo>
                <a:cubicBezTo>
                  <a:pt x="10482899" y="2434965"/>
                  <a:pt x="10484098" y="2434165"/>
                  <a:pt x="10485029" y="2433101"/>
                </a:cubicBezTo>
                <a:cubicBezTo>
                  <a:pt x="10486094" y="2432035"/>
                  <a:pt x="10487026" y="2430704"/>
                  <a:pt x="10487691" y="2428974"/>
                </a:cubicBezTo>
                <a:cubicBezTo>
                  <a:pt x="10488357" y="2427376"/>
                  <a:pt x="10488623" y="2425513"/>
                  <a:pt x="10488623" y="2423515"/>
                </a:cubicBezTo>
                <a:cubicBezTo>
                  <a:pt x="10488623" y="2421652"/>
                  <a:pt x="10488357" y="2419922"/>
                  <a:pt x="10487691" y="2418324"/>
                </a:cubicBezTo>
                <a:cubicBezTo>
                  <a:pt x="10487026" y="2416594"/>
                  <a:pt x="10486094" y="2415263"/>
                  <a:pt x="10485029" y="2414065"/>
                </a:cubicBezTo>
                <a:cubicBezTo>
                  <a:pt x="10483964" y="2412999"/>
                  <a:pt x="10482633" y="2412067"/>
                  <a:pt x="10481035" y="2411402"/>
                </a:cubicBezTo>
                <a:cubicBezTo>
                  <a:pt x="10479571" y="2410737"/>
                  <a:pt x="10477974" y="2410471"/>
                  <a:pt x="10475977" y="2410471"/>
                </a:cubicBezTo>
                <a:close/>
                <a:moveTo>
                  <a:pt x="10258466" y="2410471"/>
                </a:moveTo>
                <a:cubicBezTo>
                  <a:pt x="10252608" y="2410471"/>
                  <a:pt x="10250078" y="2412467"/>
                  <a:pt x="10248481" y="2414065"/>
                </a:cubicBezTo>
                <a:cubicBezTo>
                  <a:pt x="10245952" y="2416727"/>
                  <a:pt x="10244887" y="2419522"/>
                  <a:pt x="10244887" y="2423515"/>
                </a:cubicBezTo>
                <a:cubicBezTo>
                  <a:pt x="10244887" y="2427642"/>
                  <a:pt x="10245952" y="2430438"/>
                  <a:pt x="10248481" y="2432967"/>
                </a:cubicBezTo>
                <a:cubicBezTo>
                  <a:pt x="10250078" y="2434565"/>
                  <a:pt x="10252608" y="2436428"/>
                  <a:pt x="10258466" y="2436428"/>
                </a:cubicBezTo>
                <a:cubicBezTo>
                  <a:pt x="10260462" y="2436428"/>
                  <a:pt x="10262192" y="2436162"/>
                  <a:pt x="10263790" y="2435496"/>
                </a:cubicBezTo>
                <a:cubicBezTo>
                  <a:pt x="10265388" y="2434965"/>
                  <a:pt x="10266586" y="2434165"/>
                  <a:pt x="10267517" y="2433101"/>
                </a:cubicBezTo>
                <a:cubicBezTo>
                  <a:pt x="10268583" y="2432035"/>
                  <a:pt x="10269515" y="2430704"/>
                  <a:pt x="10270180" y="2428974"/>
                </a:cubicBezTo>
                <a:cubicBezTo>
                  <a:pt x="10270845" y="2427376"/>
                  <a:pt x="10271112" y="2425513"/>
                  <a:pt x="10271112" y="2423515"/>
                </a:cubicBezTo>
                <a:cubicBezTo>
                  <a:pt x="10271112" y="2421652"/>
                  <a:pt x="10270845" y="2419922"/>
                  <a:pt x="10270180" y="2418324"/>
                </a:cubicBezTo>
                <a:cubicBezTo>
                  <a:pt x="10269515" y="2416594"/>
                  <a:pt x="10268583" y="2415263"/>
                  <a:pt x="10267517" y="2414065"/>
                </a:cubicBezTo>
                <a:cubicBezTo>
                  <a:pt x="10266452" y="2412999"/>
                  <a:pt x="10265121" y="2412067"/>
                  <a:pt x="10263524" y="2411402"/>
                </a:cubicBezTo>
                <a:cubicBezTo>
                  <a:pt x="10262060" y="2410737"/>
                  <a:pt x="10260462" y="2410471"/>
                  <a:pt x="10258466" y="2410471"/>
                </a:cubicBezTo>
                <a:close/>
                <a:moveTo>
                  <a:pt x="10040820" y="2410471"/>
                </a:moveTo>
                <a:cubicBezTo>
                  <a:pt x="10034962" y="2410471"/>
                  <a:pt x="10032433" y="2412467"/>
                  <a:pt x="10030835" y="2414065"/>
                </a:cubicBezTo>
                <a:cubicBezTo>
                  <a:pt x="10028306" y="2416727"/>
                  <a:pt x="10027242" y="2419522"/>
                  <a:pt x="10027242" y="2423515"/>
                </a:cubicBezTo>
                <a:cubicBezTo>
                  <a:pt x="10027242" y="2427642"/>
                  <a:pt x="10028306" y="2430438"/>
                  <a:pt x="10030835" y="2432967"/>
                </a:cubicBezTo>
                <a:cubicBezTo>
                  <a:pt x="10032433" y="2434565"/>
                  <a:pt x="10034962" y="2436428"/>
                  <a:pt x="10040820" y="2436428"/>
                </a:cubicBezTo>
                <a:cubicBezTo>
                  <a:pt x="10042817" y="2436428"/>
                  <a:pt x="10044681" y="2436162"/>
                  <a:pt x="10046145" y="2435496"/>
                </a:cubicBezTo>
                <a:cubicBezTo>
                  <a:pt x="10047742" y="2434965"/>
                  <a:pt x="10048941" y="2434165"/>
                  <a:pt x="10049872" y="2433101"/>
                </a:cubicBezTo>
                <a:cubicBezTo>
                  <a:pt x="10050937" y="2432035"/>
                  <a:pt x="10051869" y="2430704"/>
                  <a:pt x="10052534" y="2428974"/>
                </a:cubicBezTo>
                <a:cubicBezTo>
                  <a:pt x="10053333" y="2427376"/>
                  <a:pt x="10053599" y="2425513"/>
                  <a:pt x="10053599" y="2423515"/>
                </a:cubicBezTo>
                <a:cubicBezTo>
                  <a:pt x="10053599" y="2421652"/>
                  <a:pt x="10053200" y="2419922"/>
                  <a:pt x="10052534" y="2418324"/>
                </a:cubicBezTo>
                <a:cubicBezTo>
                  <a:pt x="10051869" y="2416594"/>
                  <a:pt x="10050937" y="2415263"/>
                  <a:pt x="10049872" y="2414065"/>
                </a:cubicBezTo>
                <a:cubicBezTo>
                  <a:pt x="10048807" y="2412999"/>
                  <a:pt x="10047476" y="2412067"/>
                  <a:pt x="10045878" y="2411402"/>
                </a:cubicBezTo>
                <a:cubicBezTo>
                  <a:pt x="10044414" y="2410737"/>
                  <a:pt x="10042817" y="2410471"/>
                  <a:pt x="10040820" y="2410471"/>
                </a:cubicBezTo>
                <a:close/>
                <a:moveTo>
                  <a:pt x="9823176" y="2410471"/>
                </a:moveTo>
                <a:cubicBezTo>
                  <a:pt x="9817318" y="2410471"/>
                  <a:pt x="9814788" y="2412467"/>
                  <a:pt x="9813191" y="2414065"/>
                </a:cubicBezTo>
                <a:cubicBezTo>
                  <a:pt x="9810662" y="2416727"/>
                  <a:pt x="9809597" y="2419522"/>
                  <a:pt x="9809597" y="2423515"/>
                </a:cubicBezTo>
                <a:cubicBezTo>
                  <a:pt x="9809597" y="2427642"/>
                  <a:pt x="9810662" y="2430438"/>
                  <a:pt x="9813191" y="2432967"/>
                </a:cubicBezTo>
                <a:cubicBezTo>
                  <a:pt x="9814788" y="2434565"/>
                  <a:pt x="9817318" y="2436428"/>
                  <a:pt x="9823176" y="2436428"/>
                </a:cubicBezTo>
                <a:cubicBezTo>
                  <a:pt x="9825173" y="2436428"/>
                  <a:pt x="9827036" y="2436162"/>
                  <a:pt x="9828501" y="2435496"/>
                </a:cubicBezTo>
                <a:cubicBezTo>
                  <a:pt x="9830098" y="2434965"/>
                  <a:pt x="9831296" y="2434165"/>
                  <a:pt x="9832227" y="2433101"/>
                </a:cubicBezTo>
                <a:cubicBezTo>
                  <a:pt x="9833293" y="2432035"/>
                  <a:pt x="9834225" y="2430704"/>
                  <a:pt x="9834890" y="2428974"/>
                </a:cubicBezTo>
                <a:cubicBezTo>
                  <a:pt x="9835689" y="2427376"/>
                  <a:pt x="9835955" y="2425513"/>
                  <a:pt x="9835955" y="2423515"/>
                </a:cubicBezTo>
                <a:cubicBezTo>
                  <a:pt x="9835955" y="2421652"/>
                  <a:pt x="9835555" y="2419922"/>
                  <a:pt x="9834890" y="2418324"/>
                </a:cubicBezTo>
                <a:cubicBezTo>
                  <a:pt x="9834225" y="2416594"/>
                  <a:pt x="9833293" y="2415263"/>
                  <a:pt x="9832227" y="2414065"/>
                </a:cubicBezTo>
                <a:cubicBezTo>
                  <a:pt x="9831162" y="2412999"/>
                  <a:pt x="9829831" y="2412067"/>
                  <a:pt x="9828234" y="2411402"/>
                </a:cubicBezTo>
                <a:cubicBezTo>
                  <a:pt x="9826770" y="2410737"/>
                  <a:pt x="9825173" y="2410471"/>
                  <a:pt x="9823176" y="2410471"/>
                </a:cubicBezTo>
                <a:close/>
                <a:moveTo>
                  <a:pt x="9605531" y="2410471"/>
                </a:moveTo>
                <a:cubicBezTo>
                  <a:pt x="9599673" y="2410471"/>
                  <a:pt x="9597143" y="2412467"/>
                  <a:pt x="9595546" y="2414065"/>
                </a:cubicBezTo>
                <a:cubicBezTo>
                  <a:pt x="9593017" y="2416727"/>
                  <a:pt x="9591952" y="2419522"/>
                  <a:pt x="9591952" y="2423515"/>
                </a:cubicBezTo>
                <a:cubicBezTo>
                  <a:pt x="9591952" y="2427642"/>
                  <a:pt x="9593017" y="2430438"/>
                  <a:pt x="9595546" y="2432967"/>
                </a:cubicBezTo>
                <a:cubicBezTo>
                  <a:pt x="9597143" y="2434565"/>
                  <a:pt x="9599673" y="2436428"/>
                  <a:pt x="9605531" y="2436428"/>
                </a:cubicBezTo>
                <a:cubicBezTo>
                  <a:pt x="9607660" y="2436428"/>
                  <a:pt x="9609391" y="2436162"/>
                  <a:pt x="9610855" y="2435496"/>
                </a:cubicBezTo>
                <a:cubicBezTo>
                  <a:pt x="9612319" y="2434965"/>
                  <a:pt x="9613651" y="2434165"/>
                  <a:pt x="9614582" y="2433101"/>
                </a:cubicBezTo>
                <a:cubicBezTo>
                  <a:pt x="9615647" y="2432035"/>
                  <a:pt x="9616579" y="2430704"/>
                  <a:pt x="9617245" y="2428974"/>
                </a:cubicBezTo>
                <a:cubicBezTo>
                  <a:pt x="9618044" y="2427376"/>
                  <a:pt x="9618309" y="2425513"/>
                  <a:pt x="9618309" y="2423515"/>
                </a:cubicBezTo>
                <a:cubicBezTo>
                  <a:pt x="9618309" y="2421652"/>
                  <a:pt x="9617910" y="2419922"/>
                  <a:pt x="9617245" y="2418324"/>
                </a:cubicBezTo>
                <a:cubicBezTo>
                  <a:pt x="9616579" y="2416594"/>
                  <a:pt x="9615647" y="2415263"/>
                  <a:pt x="9614582" y="2414065"/>
                </a:cubicBezTo>
                <a:cubicBezTo>
                  <a:pt x="9613517" y="2412999"/>
                  <a:pt x="9612186" y="2412067"/>
                  <a:pt x="9610589" y="2411402"/>
                </a:cubicBezTo>
                <a:cubicBezTo>
                  <a:pt x="9609124" y="2410737"/>
                  <a:pt x="9607394" y="2410471"/>
                  <a:pt x="9605531" y="2410471"/>
                </a:cubicBezTo>
                <a:close/>
                <a:moveTo>
                  <a:pt x="9387885" y="2410471"/>
                </a:moveTo>
                <a:cubicBezTo>
                  <a:pt x="9382027" y="2410471"/>
                  <a:pt x="9379497" y="2412467"/>
                  <a:pt x="9377900" y="2414065"/>
                </a:cubicBezTo>
                <a:cubicBezTo>
                  <a:pt x="9375371" y="2416727"/>
                  <a:pt x="9374307" y="2419522"/>
                  <a:pt x="9374307" y="2423515"/>
                </a:cubicBezTo>
                <a:cubicBezTo>
                  <a:pt x="9374307" y="2427642"/>
                  <a:pt x="9375371" y="2430438"/>
                  <a:pt x="9377900" y="2432967"/>
                </a:cubicBezTo>
                <a:cubicBezTo>
                  <a:pt x="9379497" y="2434565"/>
                  <a:pt x="9382027" y="2436428"/>
                  <a:pt x="9387885" y="2436428"/>
                </a:cubicBezTo>
                <a:cubicBezTo>
                  <a:pt x="9390015" y="2436428"/>
                  <a:pt x="9391746" y="2436162"/>
                  <a:pt x="9393210" y="2435496"/>
                </a:cubicBezTo>
                <a:cubicBezTo>
                  <a:pt x="9394674" y="2434965"/>
                  <a:pt x="9396005" y="2434165"/>
                  <a:pt x="9396937" y="2433101"/>
                </a:cubicBezTo>
                <a:cubicBezTo>
                  <a:pt x="9398002" y="2432035"/>
                  <a:pt x="9398934" y="2430704"/>
                  <a:pt x="9399599" y="2428974"/>
                </a:cubicBezTo>
                <a:cubicBezTo>
                  <a:pt x="9400398" y="2427376"/>
                  <a:pt x="9400664" y="2425513"/>
                  <a:pt x="9400664" y="2423515"/>
                </a:cubicBezTo>
                <a:cubicBezTo>
                  <a:pt x="9400664" y="2421652"/>
                  <a:pt x="9400265" y="2419922"/>
                  <a:pt x="9399599" y="2418324"/>
                </a:cubicBezTo>
                <a:cubicBezTo>
                  <a:pt x="9398934" y="2416594"/>
                  <a:pt x="9398002" y="2415263"/>
                  <a:pt x="9396937" y="2414065"/>
                </a:cubicBezTo>
                <a:cubicBezTo>
                  <a:pt x="9395872" y="2412999"/>
                  <a:pt x="9394541" y="2412067"/>
                  <a:pt x="9392943" y="2411402"/>
                </a:cubicBezTo>
                <a:cubicBezTo>
                  <a:pt x="9391479" y="2410737"/>
                  <a:pt x="9389749" y="2410471"/>
                  <a:pt x="9387885" y="2410471"/>
                </a:cubicBezTo>
                <a:close/>
                <a:moveTo>
                  <a:pt x="9170374" y="2410471"/>
                </a:moveTo>
                <a:cubicBezTo>
                  <a:pt x="9164649" y="2410471"/>
                  <a:pt x="9161986" y="2412467"/>
                  <a:pt x="9160389" y="2414065"/>
                </a:cubicBezTo>
                <a:cubicBezTo>
                  <a:pt x="9157860" y="2416727"/>
                  <a:pt x="9156795" y="2419522"/>
                  <a:pt x="9156795" y="2423515"/>
                </a:cubicBezTo>
                <a:cubicBezTo>
                  <a:pt x="9156795" y="2427642"/>
                  <a:pt x="9157860" y="2430438"/>
                  <a:pt x="9160389" y="2432967"/>
                </a:cubicBezTo>
                <a:cubicBezTo>
                  <a:pt x="9161986" y="2434565"/>
                  <a:pt x="9164516" y="2436428"/>
                  <a:pt x="9170374" y="2436428"/>
                </a:cubicBezTo>
                <a:cubicBezTo>
                  <a:pt x="9172370" y="2436428"/>
                  <a:pt x="9174100" y="2436162"/>
                  <a:pt x="9175698" y="2435496"/>
                </a:cubicBezTo>
                <a:cubicBezTo>
                  <a:pt x="9177163" y="2434965"/>
                  <a:pt x="9178494" y="2434165"/>
                  <a:pt x="9179425" y="2433101"/>
                </a:cubicBezTo>
                <a:cubicBezTo>
                  <a:pt x="9180491" y="2432035"/>
                  <a:pt x="9181422" y="2430704"/>
                  <a:pt x="9182088" y="2428974"/>
                </a:cubicBezTo>
                <a:cubicBezTo>
                  <a:pt x="9182887" y="2427376"/>
                  <a:pt x="9183152" y="2425513"/>
                  <a:pt x="9183152" y="2423515"/>
                </a:cubicBezTo>
                <a:cubicBezTo>
                  <a:pt x="9183152" y="2421652"/>
                  <a:pt x="9182753" y="2419922"/>
                  <a:pt x="9182088" y="2418324"/>
                </a:cubicBezTo>
                <a:cubicBezTo>
                  <a:pt x="9181422" y="2416594"/>
                  <a:pt x="9180491" y="2415263"/>
                  <a:pt x="9179425" y="2414065"/>
                </a:cubicBezTo>
                <a:cubicBezTo>
                  <a:pt x="9178360" y="2412999"/>
                  <a:pt x="9177029" y="2412067"/>
                  <a:pt x="9175432" y="2411402"/>
                </a:cubicBezTo>
                <a:cubicBezTo>
                  <a:pt x="9173967" y="2410737"/>
                  <a:pt x="9172237" y="2410471"/>
                  <a:pt x="9170374" y="2410471"/>
                </a:cubicBezTo>
                <a:close/>
                <a:moveTo>
                  <a:pt x="8952728" y="2410471"/>
                </a:moveTo>
                <a:cubicBezTo>
                  <a:pt x="8947003" y="2410471"/>
                  <a:pt x="8944340" y="2412467"/>
                  <a:pt x="8942743" y="2414065"/>
                </a:cubicBezTo>
                <a:cubicBezTo>
                  <a:pt x="8940214" y="2416727"/>
                  <a:pt x="8939150" y="2419522"/>
                  <a:pt x="8939150" y="2423515"/>
                </a:cubicBezTo>
                <a:cubicBezTo>
                  <a:pt x="8939150" y="2427642"/>
                  <a:pt x="8940214" y="2430438"/>
                  <a:pt x="8942743" y="2432967"/>
                </a:cubicBezTo>
                <a:cubicBezTo>
                  <a:pt x="8944340" y="2434565"/>
                  <a:pt x="8946870" y="2436428"/>
                  <a:pt x="8952728" y="2436428"/>
                </a:cubicBezTo>
                <a:cubicBezTo>
                  <a:pt x="8954725" y="2436428"/>
                  <a:pt x="8956589" y="2436162"/>
                  <a:pt x="8958053" y="2435496"/>
                </a:cubicBezTo>
                <a:cubicBezTo>
                  <a:pt x="8959517" y="2434965"/>
                  <a:pt x="8960849" y="2434165"/>
                  <a:pt x="8961780" y="2433101"/>
                </a:cubicBezTo>
                <a:cubicBezTo>
                  <a:pt x="8962845" y="2432035"/>
                  <a:pt x="8963777" y="2430704"/>
                  <a:pt x="8964442" y="2428974"/>
                </a:cubicBezTo>
                <a:cubicBezTo>
                  <a:pt x="8965241" y="2427376"/>
                  <a:pt x="8965507" y="2425513"/>
                  <a:pt x="8965507" y="2423515"/>
                </a:cubicBezTo>
                <a:cubicBezTo>
                  <a:pt x="8965507" y="2421652"/>
                  <a:pt x="8965108" y="2419922"/>
                  <a:pt x="8964442" y="2418324"/>
                </a:cubicBezTo>
                <a:cubicBezTo>
                  <a:pt x="8963777" y="2416594"/>
                  <a:pt x="8962845" y="2415263"/>
                  <a:pt x="8961780" y="2414065"/>
                </a:cubicBezTo>
                <a:cubicBezTo>
                  <a:pt x="8960715" y="2412999"/>
                  <a:pt x="8959384" y="2412067"/>
                  <a:pt x="8957786" y="2411402"/>
                </a:cubicBezTo>
                <a:cubicBezTo>
                  <a:pt x="8956322" y="2410737"/>
                  <a:pt x="8954592" y="2410471"/>
                  <a:pt x="8952728" y="2410471"/>
                </a:cubicBezTo>
                <a:close/>
                <a:moveTo>
                  <a:pt x="8735083" y="2410471"/>
                </a:moveTo>
                <a:cubicBezTo>
                  <a:pt x="8729358" y="2410471"/>
                  <a:pt x="8726695" y="2412467"/>
                  <a:pt x="8725098" y="2414065"/>
                </a:cubicBezTo>
                <a:cubicBezTo>
                  <a:pt x="8722569" y="2416727"/>
                  <a:pt x="8721504" y="2419522"/>
                  <a:pt x="8721504" y="2423515"/>
                </a:cubicBezTo>
                <a:cubicBezTo>
                  <a:pt x="8721504" y="2427642"/>
                  <a:pt x="8722569" y="2430438"/>
                  <a:pt x="8725098" y="2432967"/>
                </a:cubicBezTo>
                <a:cubicBezTo>
                  <a:pt x="8726695" y="2434565"/>
                  <a:pt x="8729225" y="2436428"/>
                  <a:pt x="8735083" y="2436428"/>
                </a:cubicBezTo>
                <a:cubicBezTo>
                  <a:pt x="8737079" y="2436428"/>
                  <a:pt x="8738943" y="2436162"/>
                  <a:pt x="8740407" y="2435496"/>
                </a:cubicBezTo>
                <a:cubicBezTo>
                  <a:pt x="8741872" y="2434965"/>
                  <a:pt x="8743203" y="2434165"/>
                  <a:pt x="8744134" y="2433101"/>
                </a:cubicBezTo>
                <a:cubicBezTo>
                  <a:pt x="8745200" y="2432035"/>
                  <a:pt x="8746132" y="2430704"/>
                  <a:pt x="8746797" y="2428974"/>
                </a:cubicBezTo>
                <a:cubicBezTo>
                  <a:pt x="8747596" y="2427376"/>
                  <a:pt x="8747862" y="2425513"/>
                  <a:pt x="8747862" y="2423515"/>
                </a:cubicBezTo>
                <a:cubicBezTo>
                  <a:pt x="8747862" y="2421652"/>
                  <a:pt x="8747462" y="2419922"/>
                  <a:pt x="8746797" y="2418324"/>
                </a:cubicBezTo>
                <a:cubicBezTo>
                  <a:pt x="8746132" y="2416594"/>
                  <a:pt x="8745200" y="2415263"/>
                  <a:pt x="8744134" y="2414065"/>
                </a:cubicBezTo>
                <a:cubicBezTo>
                  <a:pt x="8743069" y="2412999"/>
                  <a:pt x="8741738" y="2412067"/>
                  <a:pt x="8740141" y="2411402"/>
                </a:cubicBezTo>
                <a:cubicBezTo>
                  <a:pt x="8738677" y="2410737"/>
                  <a:pt x="8736946" y="2410471"/>
                  <a:pt x="8735083" y="2410471"/>
                </a:cubicBezTo>
                <a:close/>
                <a:moveTo>
                  <a:pt x="8517438" y="2410471"/>
                </a:moveTo>
                <a:cubicBezTo>
                  <a:pt x="8511713" y="2410471"/>
                  <a:pt x="8509051" y="2412467"/>
                  <a:pt x="8507453" y="2414065"/>
                </a:cubicBezTo>
                <a:cubicBezTo>
                  <a:pt x="8504925" y="2416727"/>
                  <a:pt x="8503860" y="2419522"/>
                  <a:pt x="8503860" y="2423515"/>
                </a:cubicBezTo>
                <a:cubicBezTo>
                  <a:pt x="8503860" y="2427642"/>
                  <a:pt x="8504925" y="2430438"/>
                  <a:pt x="8507453" y="2432967"/>
                </a:cubicBezTo>
                <a:cubicBezTo>
                  <a:pt x="8509051" y="2434565"/>
                  <a:pt x="8511581" y="2436428"/>
                  <a:pt x="8517438" y="2436428"/>
                </a:cubicBezTo>
                <a:cubicBezTo>
                  <a:pt x="8519568" y="2436428"/>
                  <a:pt x="8521299" y="2436162"/>
                  <a:pt x="8522763" y="2435496"/>
                </a:cubicBezTo>
                <a:cubicBezTo>
                  <a:pt x="8524227" y="2434965"/>
                  <a:pt x="8525559" y="2434165"/>
                  <a:pt x="8526490" y="2433101"/>
                </a:cubicBezTo>
                <a:cubicBezTo>
                  <a:pt x="8527555" y="2432035"/>
                  <a:pt x="8528487" y="2430704"/>
                  <a:pt x="8529152" y="2428974"/>
                </a:cubicBezTo>
                <a:cubicBezTo>
                  <a:pt x="8529818" y="2427376"/>
                  <a:pt x="8530084" y="2425513"/>
                  <a:pt x="8530084" y="2423515"/>
                </a:cubicBezTo>
                <a:cubicBezTo>
                  <a:pt x="8530084" y="2421652"/>
                  <a:pt x="8529818" y="2419922"/>
                  <a:pt x="8529152" y="2418324"/>
                </a:cubicBezTo>
                <a:cubicBezTo>
                  <a:pt x="8528487" y="2416594"/>
                  <a:pt x="8527555" y="2415263"/>
                  <a:pt x="8526490" y="2414065"/>
                </a:cubicBezTo>
                <a:cubicBezTo>
                  <a:pt x="8525425" y="2412999"/>
                  <a:pt x="8524094" y="2412067"/>
                  <a:pt x="8522496" y="2411402"/>
                </a:cubicBezTo>
                <a:cubicBezTo>
                  <a:pt x="8521032" y="2410737"/>
                  <a:pt x="8519302" y="2410471"/>
                  <a:pt x="8517438" y="2410471"/>
                </a:cubicBezTo>
                <a:close/>
                <a:moveTo>
                  <a:pt x="8299793" y="2410471"/>
                </a:moveTo>
                <a:cubicBezTo>
                  <a:pt x="8294068" y="2410471"/>
                  <a:pt x="8291406" y="2412467"/>
                  <a:pt x="8289809" y="2414065"/>
                </a:cubicBezTo>
                <a:cubicBezTo>
                  <a:pt x="8287280" y="2416727"/>
                  <a:pt x="8286215" y="2419522"/>
                  <a:pt x="8286215" y="2423515"/>
                </a:cubicBezTo>
                <a:cubicBezTo>
                  <a:pt x="8286215" y="2427642"/>
                  <a:pt x="8287280" y="2430438"/>
                  <a:pt x="8289809" y="2432967"/>
                </a:cubicBezTo>
                <a:cubicBezTo>
                  <a:pt x="8291406" y="2434565"/>
                  <a:pt x="8293935" y="2436428"/>
                  <a:pt x="8299793" y="2436428"/>
                </a:cubicBezTo>
                <a:cubicBezTo>
                  <a:pt x="8301923" y="2436428"/>
                  <a:pt x="8303653" y="2436162"/>
                  <a:pt x="8305118" y="2435496"/>
                </a:cubicBezTo>
                <a:cubicBezTo>
                  <a:pt x="8306582" y="2434965"/>
                  <a:pt x="8307913" y="2434165"/>
                  <a:pt x="8308844" y="2433101"/>
                </a:cubicBezTo>
                <a:cubicBezTo>
                  <a:pt x="8309910" y="2432035"/>
                  <a:pt x="8310842" y="2430704"/>
                  <a:pt x="8311507" y="2428974"/>
                </a:cubicBezTo>
                <a:cubicBezTo>
                  <a:pt x="8312172" y="2427376"/>
                  <a:pt x="8312439" y="2425513"/>
                  <a:pt x="8312439" y="2423515"/>
                </a:cubicBezTo>
                <a:cubicBezTo>
                  <a:pt x="8312439" y="2421652"/>
                  <a:pt x="8312172" y="2419922"/>
                  <a:pt x="8311507" y="2418324"/>
                </a:cubicBezTo>
                <a:cubicBezTo>
                  <a:pt x="8310842" y="2416594"/>
                  <a:pt x="8309910" y="2415263"/>
                  <a:pt x="8308844" y="2414065"/>
                </a:cubicBezTo>
                <a:cubicBezTo>
                  <a:pt x="8307779" y="2412999"/>
                  <a:pt x="8306448" y="2412067"/>
                  <a:pt x="8304851" y="2411402"/>
                </a:cubicBezTo>
                <a:cubicBezTo>
                  <a:pt x="8303387" y="2410737"/>
                  <a:pt x="8301790" y="2410471"/>
                  <a:pt x="8299793" y="2410471"/>
                </a:cubicBezTo>
                <a:close/>
                <a:moveTo>
                  <a:pt x="8082281" y="2410471"/>
                </a:moveTo>
                <a:cubicBezTo>
                  <a:pt x="8076424" y="2410471"/>
                  <a:pt x="8073894" y="2412467"/>
                  <a:pt x="8072297" y="2414065"/>
                </a:cubicBezTo>
                <a:cubicBezTo>
                  <a:pt x="8069768" y="2416727"/>
                  <a:pt x="8068703" y="2419522"/>
                  <a:pt x="8068703" y="2423515"/>
                </a:cubicBezTo>
                <a:cubicBezTo>
                  <a:pt x="8068703" y="2427642"/>
                  <a:pt x="8069768" y="2430438"/>
                  <a:pt x="8072297" y="2432967"/>
                </a:cubicBezTo>
                <a:cubicBezTo>
                  <a:pt x="8073894" y="2434565"/>
                  <a:pt x="8076424" y="2436428"/>
                  <a:pt x="8082281" y="2436428"/>
                </a:cubicBezTo>
                <a:cubicBezTo>
                  <a:pt x="8084277" y="2436428"/>
                  <a:pt x="8086007" y="2436162"/>
                  <a:pt x="8087605" y="2435496"/>
                </a:cubicBezTo>
                <a:cubicBezTo>
                  <a:pt x="8089069" y="2434965"/>
                  <a:pt x="8090401" y="2434165"/>
                  <a:pt x="8091332" y="2433101"/>
                </a:cubicBezTo>
                <a:cubicBezTo>
                  <a:pt x="8092397" y="2432035"/>
                  <a:pt x="8093329" y="2430704"/>
                  <a:pt x="8093994" y="2428974"/>
                </a:cubicBezTo>
                <a:cubicBezTo>
                  <a:pt x="8094660" y="2427376"/>
                  <a:pt x="8094926" y="2425513"/>
                  <a:pt x="8094926" y="2423515"/>
                </a:cubicBezTo>
                <a:cubicBezTo>
                  <a:pt x="8094926" y="2421652"/>
                  <a:pt x="8094660" y="2419922"/>
                  <a:pt x="8093994" y="2418324"/>
                </a:cubicBezTo>
                <a:cubicBezTo>
                  <a:pt x="8093329" y="2416594"/>
                  <a:pt x="8092397" y="2415263"/>
                  <a:pt x="8091332" y="2414065"/>
                </a:cubicBezTo>
                <a:cubicBezTo>
                  <a:pt x="8090267" y="2412999"/>
                  <a:pt x="8088936" y="2412067"/>
                  <a:pt x="8087338" y="2411402"/>
                </a:cubicBezTo>
                <a:cubicBezTo>
                  <a:pt x="8085874" y="2410737"/>
                  <a:pt x="8084277" y="2410471"/>
                  <a:pt x="8082281" y="2410471"/>
                </a:cubicBezTo>
                <a:close/>
                <a:moveTo>
                  <a:pt x="7864636" y="2410471"/>
                </a:moveTo>
                <a:cubicBezTo>
                  <a:pt x="7858779" y="2410471"/>
                  <a:pt x="7856249" y="2412467"/>
                  <a:pt x="7854652" y="2414065"/>
                </a:cubicBezTo>
                <a:cubicBezTo>
                  <a:pt x="7852123" y="2416727"/>
                  <a:pt x="7851058" y="2419522"/>
                  <a:pt x="7851058" y="2423515"/>
                </a:cubicBezTo>
                <a:cubicBezTo>
                  <a:pt x="7851058" y="2427642"/>
                  <a:pt x="7852123" y="2430438"/>
                  <a:pt x="7854652" y="2432967"/>
                </a:cubicBezTo>
                <a:cubicBezTo>
                  <a:pt x="7856249" y="2434565"/>
                  <a:pt x="7858779" y="2436428"/>
                  <a:pt x="7864636" y="2436428"/>
                </a:cubicBezTo>
                <a:cubicBezTo>
                  <a:pt x="7866633" y="2436428"/>
                  <a:pt x="7868363" y="2436162"/>
                  <a:pt x="7869961" y="2435496"/>
                </a:cubicBezTo>
                <a:cubicBezTo>
                  <a:pt x="7871425" y="2434965"/>
                  <a:pt x="7872756" y="2434165"/>
                  <a:pt x="7873687" y="2433101"/>
                </a:cubicBezTo>
                <a:cubicBezTo>
                  <a:pt x="7874753" y="2432035"/>
                  <a:pt x="7875685" y="2430704"/>
                  <a:pt x="7876350" y="2428974"/>
                </a:cubicBezTo>
                <a:cubicBezTo>
                  <a:pt x="7877015" y="2427376"/>
                  <a:pt x="7877282" y="2425513"/>
                  <a:pt x="7877282" y="2423515"/>
                </a:cubicBezTo>
                <a:cubicBezTo>
                  <a:pt x="7877282" y="2421652"/>
                  <a:pt x="7877015" y="2419922"/>
                  <a:pt x="7876350" y="2418324"/>
                </a:cubicBezTo>
                <a:cubicBezTo>
                  <a:pt x="7875685" y="2416594"/>
                  <a:pt x="7874753" y="2415263"/>
                  <a:pt x="7873687" y="2414065"/>
                </a:cubicBezTo>
                <a:cubicBezTo>
                  <a:pt x="7872623" y="2412999"/>
                  <a:pt x="7871291" y="2412067"/>
                  <a:pt x="7869694" y="2411402"/>
                </a:cubicBezTo>
                <a:cubicBezTo>
                  <a:pt x="7868230" y="2410737"/>
                  <a:pt x="7866633" y="2410471"/>
                  <a:pt x="7864636" y="2410471"/>
                </a:cubicBezTo>
                <a:close/>
                <a:moveTo>
                  <a:pt x="7646991" y="2410471"/>
                </a:moveTo>
                <a:cubicBezTo>
                  <a:pt x="7641134" y="2410471"/>
                  <a:pt x="7638604" y="2412467"/>
                  <a:pt x="7637007" y="2414065"/>
                </a:cubicBezTo>
                <a:cubicBezTo>
                  <a:pt x="7634478" y="2416727"/>
                  <a:pt x="7633413" y="2419522"/>
                  <a:pt x="7633413" y="2423515"/>
                </a:cubicBezTo>
                <a:cubicBezTo>
                  <a:pt x="7633413" y="2427642"/>
                  <a:pt x="7634478" y="2430438"/>
                  <a:pt x="7637007" y="2432967"/>
                </a:cubicBezTo>
                <a:cubicBezTo>
                  <a:pt x="7638604" y="2434565"/>
                  <a:pt x="7641134" y="2436428"/>
                  <a:pt x="7646991" y="2436428"/>
                </a:cubicBezTo>
                <a:cubicBezTo>
                  <a:pt x="7648987" y="2436428"/>
                  <a:pt x="7650851" y="2436162"/>
                  <a:pt x="7652315" y="2435496"/>
                </a:cubicBezTo>
                <a:cubicBezTo>
                  <a:pt x="7653780" y="2434965"/>
                  <a:pt x="7655111" y="2434165"/>
                  <a:pt x="7656042" y="2433101"/>
                </a:cubicBezTo>
                <a:cubicBezTo>
                  <a:pt x="7657108" y="2432035"/>
                  <a:pt x="7658039" y="2430704"/>
                  <a:pt x="7658705" y="2428974"/>
                </a:cubicBezTo>
                <a:cubicBezTo>
                  <a:pt x="7659504" y="2427376"/>
                  <a:pt x="7659769" y="2425513"/>
                  <a:pt x="7659769" y="2423515"/>
                </a:cubicBezTo>
                <a:cubicBezTo>
                  <a:pt x="7659769" y="2421652"/>
                  <a:pt x="7659370" y="2419922"/>
                  <a:pt x="7658705" y="2418324"/>
                </a:cubicBezTo>
                <a:cubicBezTo>
                  <a:pt x="7658039" y="2416594"/>
                  <a:pt x="7657108" y="2415263"/>
                  <a:pt x="7656042" y="2414065"/>
                </a:cubicBezTo>
                <a:cubicBezTo>
                  <a:pt x="7654977" y="2412999"/>
                  <a:pt x="7653646" y="2412067"/>
                  <a:pt x="7652049" y="2411402"/>
                </a:cubicBezTo>
                <a:cubicBezTo>
                  <a:pt x="7650584" y="2410737"/>
                  <a:pt x="7648987" y="2410471"/>
                  <a:pt x="7646991" y="2410471"/>
                </a:cubicBezTo>
                <a:close/>
                <a:moveTo>
                  <a:pt x="7429345" y="2410471"/>
                </a:moveTo>
                <a:cubicBezTo>
                  <a:pt x="7423488" y="2410471"/>
                  <a:pt x="7420958" y="2412467"/>
                  <a:pt x="7419361" y="2414065"/>
                </a:cubicBezTo>
                <a:cubicBezTo>
                  <a:pt x="7416832" y="2416727"/>
                  <a:pt x="7415768" y="2419522"/>
                  <a:pt x="7415768" y="2423515"/>
                </a:cubicBezTo>
                <a:cubicBezTo>
                  <a:pt x="7415768" y="2427642"/>
                  <a:pt x="7416832" y="2430438"/>
                  <a:pt x="7419361" y="2432967"/>
                </a:cubicBezTo>
                <a:cubicBezTo>
                  <a:pt x="7420958" y="2434565"/>
                  <a:pt x="7423488" y="2436428"/>
                  <a:pt x="7429345" y="2436428"/>
                </a:cubicBezTo>
                <a:cubicBezTo>
                  <a:pt x="7431342" y="2436428"/>
                  <a:pt x="7433206" y="2436162"/>
                  <a:pt x="7434670" y="2435496"/>
                </a:cubicBezTo>
                <a:cubicBezTo>
                  <a:pt x="7436134" y="2434965"/>
                  <a:pt x="7437466" y="2434165"/>
                  <a:pt x="7438397" y="2433101"/>
                </a:cubicBezTo>
                <a:cubicBezTo>
                  <a:pt x="7439462" y="2432035"/>
                  <a:pt x="7440394" y="2430704"/>
                  <a:pt x="7441059" y="2428974"/>
                </a:cubicBezTo>
                <a:cubicBezTo>
                  <a:pt x="7441858" y="2427376"/>
                  <a:pt x="7442124" y="2425513"/>
                  <a:pt x="7442124" y="2423515"/>
                </a:cubicBezTo>
                <a:cubicBezTo>
                  <a:pt x="7442124" y="2421652"/>
                  <a:pt x="7441725" y="2419922"/>
                  <a:pt x="7441059" y="2418324"/>
                </a:cubicBezTo>
                <a:cubicBezTo>
                  <a:pt x="7440394" y="2416594"/>
                  <a:pt x="7439462" y="2415263"/>
                  <a:pt x="7438397" y="2414065"/>
                </a:cubicBezTo>
                <a:cubicBezTo>
                  <a:pt x="7437332" y="2412999"/>
                  <a:pt x="7436001" y="2412067"/>
                  <a:pt x="7434403" y="2411402"/>
                </a:cubicBezTo>
                <a:cubicBezTo>
                  <a:pt x="7432939" y="2410737"/>
                  <a:pt x="7431342" y="2410471"/>
                  <a:pt x="7429345" y="2410471"/>
                </a:cubicBezTo>
                <a:close/>
                <a:moveTo>
                  <a:pt x="7211701" y="2410471"/>
                </a:moveTo>
                <a:cubicBezTo>
                  <a:pt x="7205844" y="2410471"/>
                  <a:pt x="7203314" y="2412467"/>
                  <a:pt x="7201717" y="2414065"/>
                </a:cubicBezTo>
                <a:cubicBezTo>
                  <a:pt x="7199188" y="2416727"/>
                  <a:pt x="7198123" y="2419522"/>
                  <a:pt x="7198123" y="2423515"/>
                </a:cubicBezTo>
                <a:cubicBezTo>
                  <a:pt x="7198123" y="2427642"/>
                  <a:pt x="7199188" y="2430438"/>
                  <a:pt x="7201717" y="2432967"/>
                </a:cubicBezTo>
                <a:cubicBezTo>
                  <a:pt x="7203314" y="2434565"/>
                  <a:pt x="7205844" y="2436428"/>
                  <a:pt x="7211701" y="2436428"/>
                </a:cubicBezTo>
                <a:cubicBezTo>
                  <a:pt x="7213830" y="2436428"/>
                  <a:pt x="7215561" y="2436162"/>
                  <a:pt x="7217026" y="2435496"/>
                </a:cubicBezTo>
                <a:cubicBezTo>
                  <a:pt x="7218490" y="2434965"/>
                  <a:pt x="7219821" y="2434165"/>
                  <a:pt x="7220752" y="2433101"/>
                </a:cubicBezTo>
                <a:cubicBezTo>
                  <a:pt x="7221818" y="2432035"/>
                  <a:pt x="7222750" y="2430704"/>
                  <a:pt x="7223415" y="2428974"/>
                </a:cubicBezTo>
                <a:cubicBezTo>
                  <a:pt x="7224214" y="2427376"/>
                  <a:pt x="7224480" y="2425513"/>
                  <a:pt x="7224480" y="2423515"/>
                </a:cubicBezTo>
                <a:cubicBezTo>
                  <a:pt x="7224480" y="2421652"/>
                  <a:pt x="7224080" y="2419922"/>
                  <a:pt x="7223415" y="2418324"/>
                </a:cubicBezTo>
                <a:cubicBezTo>
                  <a:pt x="7222750" y="2416594"/>
                  <a:pt x="7221818" y="2415263"/>
                  <a:pt x="7220752" y="2414065"/>
                </a:cubicBezTo>
                <a:cubicBezTo>
                  <a:pt x="7219687" y="2412999"/>
                  <a:pt x="7218356" y="2412067"/>
                  <a:pt x="7216759" y="2411402"/>
                </a:cubicBezTo>
                <a:cubicBezTo>
                  <a:pt x="7215295" y="2410737"/>
                  <a:pt x="7213698" y="2410471"/>
                  <a:pt x="7211701" y="2410471"/>
                </a:cubicBezTo>
                <a:close/>
                <a:moveTo>
                  <a:pt x="6994056" y="2410471"/>
                </a:moveTo>
                <a:cubicBezTo>
                  <a:pt x="6988199" y="2410471"/>
                  <a:pt x="6985669" y="2412467"/>
                  <a:pt x="6984072" y="2414065"/>
                </a:cubicBezTo>
                <a:cubicBezTo>
                  <a:pt x="6981543" y="2416727"/>
                  <a:pt x="6980478" y="2419522"/>
                  <a:pt x="6980478" y="2423515"/>
                </a:cubicBezTo>
                <a:cubicBezTo>
                  <a:pt x="6980478" y="2427642"/>
                  <a:pt x="6981543" y="2430438"/>
                  <a:pt x="6984072" y="2432967"/>
                </a:cubicBezTo>
                <a:cubicBezTo>
                  <a:pt x="6985669" y="2434565"/>
                  <a:pt x="6988199" y="2436428"/>
                  <a:pt x="6994056" y="2436428"/>
                </a:cubicBezTo>
                <a:cubicBezTo>
                  <a:pt x="6996185" y="2436428"/>
                  <a:pt x="6997916" y="2436162"/>
                  <a:pt x="6999380" y="2435496"/>
                </a:cubicBezTo>
                <a:cubicBezTo>
                  <a:pt x="7000844" y="2434965"/>
                  <a:pt x="7002176" y="2434165"/>
                  <a:pt x="7003107" y="2433101"/>
                </a:cubicBezTo>
                <a:cubicBezTo>
                  <a:pt x="7004172" y="2432035"/>
                  <a:pt x="7005104" y="2430704"/>
                  <a:pt x="7005769" y="2428974"/>
                </a:cubicBezTo>
                <a:cubicBezTo>
                  <a:pt x="7006568" y="2427376"/>
                  <a:pt x="7006834" y="2425513"/>
                  <a:pt x="7006834" y="2423515"/>
                </a:cubicBezTo>
                <a:cubicBezTo>
                  <a:pt x="7006834" y="2421652"/>
                  <a:pt x="7006435" y="2419922"/>
                  <a:pt x="7005769" y="2418324"/>
                </a:cubicBezTo>
                <a:cubicBezTo>
                  <a:pt x="7005104" y="2416594"/>
                  <a:pt x="7004172" y="2415263"/>
                  <a:pt x="7003107" y="2414065"/>
                </a:cubicBezTo>
                <a:cubicBezTo>
                  <a:pt x="7002042" y="2412999"/>
                  <a:pt x="7000711" y="2412067"/>
                  <a:pt x="6999113" y="2411402"/>
                </a:cubicBezTo>
                <a:cubicBezTo>
                  <a:pt x="6997649" y="2410737"/>
                  <a:pt x="6996052" y="2410471"/>
                  <a:pt x="6994056" y="2410471"/>
                </a:cubicBezTo>
                <a:close/>
                <a:moveTo>
                  <a:pt x="6776544" y="2410471"/>
                </a:moveTo>
                <a:cubicBezTo>
                  <a:pt x="6770687" y="2410471"/>
                  <a:pt x="6768157" y="2412467"/>
                  <a:pt x="6766560" y="2414065"/>
                </a:cubicBezTo>
                <a:cubicBezTo>
                  <a:pt x="6764031" y="2416727"/>
                  <a:pt x="6762966" y="2419522"/>
                  <a:pt x="6762966" y="2423515"/>
                </a:cubicBezTo>
                <a:cubicBezTo>
                  <a:pt x="6762966" y="2427642"/>
                  <a:pt x="6764031" y="2430438"/>
                  <a:pt x="6766560" y="2432967"/>
                </a:cubicBezTo>
                <a:cubicBezTo>
                  <a:pt x="6768157" y="2434565"/>
                  <a:pt x="6770687" y="2436428"/>
                  <a:pt x="6776544" y="2436428"/>
                </a:cubicBezTo>
                <a:cubicBezTo>
                  <a:pt x="6778541" y="2436428"/>
                  <a:pt x="6780270" y="2436162"/>
                  <a:pt x="6781869" y="2435496"/>
                </a:cubicBezTo>
                <a:cubicBezTo>
                  <a:pt x="6783333" y="2434965"/>
                  <a:pt x="6784664" y="2434165"/>
                  <a:pt x="6785595" y="2433101"/>
                </a:cubicBezTo>
                <a:cubicBezTo>
                  <a:pt x="6786661" y="2432035"/>
                  <a:pt x="6787593" y="2430704"/>
                  <a:pt x="6788258" y="2428974"/>
                </a:cubicBezTo>
                <a:cubicBezTo>
                  <a:pt x="6789057" y="2427376"/>
                  <a:pt x="6789323" y="2425513"/>
                  <a:pt x="6789323" y="2423515"/>
                </a:cubicBezTo>
                <a:cubicBezTo>
                  <a:pt x="6789323" y="2421652"/>
                  <a:pt x="6788923" y="2419922"/>
                  <a:pt x="6788258" y="2418324"/>
                </a:cubicBezTo>
                <a:cubicBezTo>
                  <a:pt x="6787593" y="2416594"/>
                  <a:pt x="6786661" y="2415263"/>
                  <a:pt x="6785595" y="2414065"/>
                </a:cubicBezTo>
                <a:cubicBezTo>
                  <a:pt x="6784530" y="2412999"/>
                  <a:pt x="6783199" y="2412067"/>
                  <a:pt x="6781602" y="2411402"/>
                </a:cubicBezTo>
                <a:cubicBezTo>
                  <a:pt x="6780138" y="2410737"/>
                  <a:pt x="6778541" y="2410471"/>
                  <a:pt x="6776544" y="2410471"/>
                </a:cubicBezTo>
                <a:close/>
                <a:moveTo>
                  <a:pt x="6558899" y="2410471"/>
                </a:moveTo>
                <a:cubicBezTo>
                  <a:pt x="6553042" y="2410471"/>
                  <a:pt x="6550512" y="2412467"/>
                  <a:pt x="6548915" y="2414065"/>
                </a:cubicBezTo>
                <a:cubicBezTo>
                  <a:pt x="6546386" y="2416727"/>
                  <a:pt x="6545321" y="2419522"/>
                  <a:pt x="6545321" y="2423515"/>
                </a:cubicBezTo>
                <a:cubicBezTo>
                  <a:pt x="6545321" y="2427642"/>
                  <a:pt x="6546386" y="2430438"/>
                  <a:pt x="6548915" y="2432967"/>
                </a:cubicBezTo>
                <a:cubicBezTo>
                  <a:pt x="6550512" y="2434565"/>
                  <a:pt x="6553042" y="2436428"/>
                  <a:pt x="6558899" y="2436428"/>
                </a:cubicBezTo>
                <a:cubicBezTo>
                  <a:pt x="6560895" y="2436428"/>
                  <a:pt x="6562759" y="2436162"/>
                  <a:pt x="6564223" y="2435496"/>
                </a:cubicBezTo>
                <a:cubicBezTo>
                  <a:pt x="6565687" y="2434965"/>
                  <a:pt x="6567019" y="2434165"/>
                  <a:pt x="6567950" y="2433101"/>
                </a:cubicBezTo>
                <a:cubicBezTo>
                  <a:pt x="6569015" y="2432035"/>
                  <a:pt x="6569947" y="2430704"/>
                  <a:pt x="6570612" y="2428974"/>
                </a:cubicBezTo>
                <a:cubicBezTo>
                  <a:pt x="6571412" y="2427376"/>
                  <a:pt x="6571677" y="2425513"/>
                  <a:pt x="6571677" y="2423515"/>
                </a:cubicBezTo>
                <a:cubicBezTo>
                  <a:pt x="6571677" y="2421652"/>
                  <a:pt x="6571278" y="2419922"/>
                  <a:pt x="6570612" y="2418324"/>
                </a:cubicBezTo>
                <a:cubicBezTo>
                  <a:pt x="6569947" y="2416594"/>
                  <a:pt x="6569015" y="2415263"/>
                  <a:pt x="6567950" y="2414065"/>
                </a:cubicBezTo>
                <a:cubicBezTo>
                  <a:pt x="6566885" y="2412999"/>
                  <a:pt x="6565554" y="2412067"/>
                  <a:pt x="6563956" y="2411402"/>
                </a:cubicBezTo>
                <a:cubicBezTo>
                  <a:pt x="6562492" y="2410737"/>
                  <a:pt x="6560895" y="2410471"/>
                  <a:pt x="6558899" y="2410471"/>
                </a:cubicBezTo>
                <a:close/>
                <a:moveTo>
                  <a:pt x="6341253" y="2410471"/>
                </a:moveTo>
                <a:cubicBezTo>
                  <a:pt x="6335396" y="2410471"/>
                  <a:pt x="6332867" y="2412467"/>
                  <a:pt x="6331270" y="2414065"/>
                </a:cubicBezTo>
                <a:cubicBezTo>
                  <a:pt x="6328740" y="2416727"/>
                  <a:pt x="6327675" y="2419522"/>
                  <a:pt x="6327675" y="2423515"/>
                </a:cubicBezTo>
                <a:cubicBezTo>
                  <a:pt x="6327675" y="2427642"/>
                  <a:pt x="6328740" y="2430438"/>
                  <a:pt x="6331270" y="2432967"/>
                </a:cubicBezTo>
                <a:cubicBezTo>
                  <a:pt x="6332867" y="2434565"/>
                  <a:pt x="6335396" y="2436428"/>
                  <a:pt x="6341253" y="2436428"/>
                </a:cubicBezTo>
                <a:cubicBezTo>
                  <a:pt x="6343250" y="2436428"/>
                  <a:pt x="6345114" y="2436162"/>
                  <a:pt x="6346578" y="2435496"/>
                </a:cubicBezTo>
                <a:cubicBezTo>
                  <a:pt x="6348042" y="2434965"/>
                  <a:pt x="6349373" y="2434165"/>
                  <a:pt x="6350305" y="2433101"/>
                </a:cubicBezTo>
                <a:cubicBezTo>
                  <a:pt x="6351370" y="2432035"/>
                  <a:pt x="6352302" y="2430704"/>
                  <a:pt x="6352968" y="2428974"/>
                </a:cubicBezTo>
                <a:cubicBezTo>
                  <a:pt x="6353766" y="2427376"/>
                  <a:pt x="6354033" y="2425513"/>
                  <a:pt x="6354033" y="2423515"/>
                </a:cubicBezTo>
                <a:cubicBezTo>
                  <a:pt x="6354033" y="2421652"/>
                  <a:pt x="6353633" y="2419922"/>
                  <a:pt x="6352968" y="2418324"/>
                </a:cubicBezTo>
                <a:cubicBezTo>
                  <a:pt x="6352302" y="2416594"/>
                  <a:pt x="6351370" y="2415263"/>
                  <a:pt x="6350305" y="2414065"/>
                </a:cubicBezTo>
                <a:cubicBezTo>
                  <a:pt x="6349241" y="2412999"/>
                  <a:pt x="6347909" y="2412067"/>
                  <a:pt x="6346312" y="2411402"/>
                </a:cubicBezTo>
                <a:cubicBezTo>
                  <a:pt x="6344848" y="2410737"/>
                  <a:pt x="6343250" y="2410471"/>
                  <a:pt x="6341253" y="2410471"/>
                </a:cubicBezTo>
                <a:close/>
                <a:moveTo>
                  <a:pt x="6123608" y="2410471"/>
                </a:moveTo>
                <a:cubicBezTo>
                  <a:pt x="6117751" y="2410471"/>
                  <a:pt x="6115221" y="2412467"/>
                  <a:pt x="6113624" y="2414065"/>
                </a:cubicBezTo>
                <a:cubicBezTo>
                  <a:pt x="6111095" y="2416727"/>
                  <a:pt x="6110030" y="2419522"/>
                  <a:pt x="6110030" y="2423515"/>
                </a:cubicBezTo>
                <a:cubicBezTo>
                  <a:pt x="6110030" y="2427642"/>
                  <a:pt x="6111095" y="2430438"/>
                  <a:pt x="6113624" y="2432967"/>
                </a:cubicBezTo>
                <a:cubicBezTo>
                  <a:pt x="6115221" y="2434565"/>
                  <a:pt x="6117751" y="2436428"/>
                  <a:pt x="6123608" y="2436428"/>
                </a:cubicBezTo>
                <a:cubicBezTo>
                  <a:pt x="6125737" y="2436428"/>
                  <a:pt x="6127468" y="2436162"/>
                  <a:pt x="6128932" y="2435496"/>
                </a:cubicBezTo>
                <a:cubicBezTo>
                  <a:pt x="6130530" y="2434965"/>
                  <a:pt x="6131728" y="2434165"/>
                  <a:pt x="6132659" y="2433101"/>
                </a:cubicBezTo>
                <a:cubicBezTo>
                  <a:pt x="6133724" y="2432035"/>
                  <a:pt x="6134656" y="2430704"/>
                  <a:pt x="6135322" y="2428974"/>
                </a:cubicBezTo>
                <a:cubicBezTo>
                  <a:pt x="6135987" y="2427376"/>
                  <a:pt x="6136387" y="2425513"/>
                  <a:pt x="6136387" y="2423515"/>
                </a:cubicBezTo>
                <a:cubicBezTo>
                  <a:pt x="6136387" y="2421652"/>
                  <a:pt x="6135987" y="2419922"/>
                  <a:pt x="6135322" y="2418324"/>
                </a:cubicBezTo>
                <a:cubicBezTo>
                  <a:pt x="6134656" y="2416594"/>
                  <a:pt x="6133724" y="2415263"/>
                  <a:pt x="6132659" y="2414065"/>
                </a:cubicBezTo>
                <a:cubicBezTo>
                  <a:pt x="6131594" y="2412999"/>
                  <a:pt x="6130263" y="2412067"/>
                  <a:pt x="6128666" y="2411402"/>
                </a:cubicBezTo>
                <a:cubicBezTo>
                  <a:pt x="6127202" y="2410737"/>
                  <a:pt x="6125604" y="2410471"/>
                  <a:pt x="6123608" y="2410471"/>
                </a:cubicBezTo>
                <a:close/>
                <a:moveTo>
                  <a:pt x="5905963" y="2410471"/>
                </a:moveTo>
                <a:cubicBezTo>
                  <a:pt x="5900106" y="2410471"/>
                  <a:pt x="5897576" y="2412467"/>
                  <a:pt x="5895979" y="2414065"/>
                </a:cubicBezTo>
                <a:cubicBezTo>
                  <a:pt x="5893450" y="2416727"/>
                  <a:pt x="5892385" y="2419522"/>
                  <a:pt x="5892385" y="2423515"/>
                </a:cubicBezTo>
                <a:cubicBezTo>
                  <a:pt x="5892385" y="2427642"/>
                  <a:pt x="5893450" y="2430438"/>
                  <a:pt x="5895979" y="2432967"/>
                </a:cubicBezTo>
                <a:cubicBezTo>
                  <a:pt x="5897576" y="2434565"/>
                  <a:pt x="5900106" y="2436428"/>
                  <a:pt x="5905963" y="2436428"/>
                </a:cubicBezTo>
                <a:cubicBezTo>
                  <a:pt x="5908093" y="2436428"/>
                  <a:pt x="5909823" y="2436162"/>
                  <a:pt x="5911287" y="2435496"/>
                </a:cubicBezTo>
                <a:cubicBezTo>
                  <a:pt x="5912751" y="2434965"/>
                  <a:pt x="5914083" y="2434165"/>
                  <a:pt x="5915014" y="2433101"/>
                </a:cubicBezTo>
                <a:cubicBezTo>
                  <a:pt x="5916079" y="2432035"/>
                  <a:pt x="5917011" y="2430704"/>
                  <a:pt x="5917677" y="2428974"/>
                </a:cubicBezTo>
                <a:cubicBezTo>
                  <a:pt x="5918342" y="2427376"/>
                  <a:pt x="5918742" y="2425513"/>
                  <a:pt x="5918742" y="2423515"/>
                </a:cubicBezTo>
                <a:cubicBezTo>
                  <a:pt x="5918742" y="2421652"/>
                  <a:pt x="5918342" y="2419922"/>
                  <a:pt x="5917677" y="2418324"/>
                </a:cubicBezTo>
                <a:cubicBezTo>
                  <a:pt x="5917011" y="2416594"/>
                  <a:pt x="5916079" y="2415263"/>
                  <a:pt x="5915014" y="2414065"/>
                </a:cubicBezTo>
                <a:cubicBezTo>
                  <a:pt x="5913950" y="2412999"/>
                  <a:pt x="5912618" y="2412067"/>
                  <a:pt x="5911021" y="2411402"/>
                </a:cubicBezTo>
                <a:cubicBezTo>
                  <a:pt x="5909557" y="2410737"/>
                  <a:pt x="5907826" y="2410471"/>
                  <a:pt x="5905963" y="2410471"/>
                </a:cubicBezTo>
                <a:close/>
                <a:moveTo>
                  <a:pt x="5688451" y="2410471"/>
                </a:moveTo>
                <a:cubicBezTo>
                  <a:pt x="5682594" y="2410471"/>
                  <a:pt x="5680064" y="2412467"/>
                  <a:pt x="5678467" y="2414065"/>
                </a:cubicBezTo>
                <a:cubicBezTo>
                  <a:pt x="5675938" y="2416727"/>
                  <a:pt x="5674873" y="2419522"/>
                  <a:pt x="5674873" y="2423515"/>
                </a:cubicBezTo>
                <a:cubicBezTo>
                  <a:pt x="5674873" y="2427642"/>
                  <a:pt x="5675938" y="2430438"/>
                  <a:pt x="5678467" y="2432967"/>
                </a:cubicBezTo>
                <a:cubicBezTo>
                  <a:pt x="5680064" y="2434565"/>
                  <a:pt x="5682594" y="2436428"/>
                  <a:pt x="5688451" y="2436428"/>
                </a:cubicBezTo>
                <a:cubicBezTo>
                  <a:pt x="5690447" y="2436428"/>
                  <a:pt x="5692178" y="2436162"/>
                  <a:pt x="5693775" y="2435496"/>
                </a:cubicBezTo>
                <a:cubicBezTo>
                  <a:pt x="5695239" y="2434965"/>
                  <a:pt x="5696571" y="2434165"/>
                  <a:pt x="5697502" y="2433101"/>
                </a:cubicBezTo>
                <a:cubicBezTo>
                  <a:pt x="5698567" y="2432035"/>
                  <a:pt x="5699499" y="2430704"/>
                  <a:pt x="5700165" y="2428974"/>
                </a:cubicBezTo>
                <a:cubicBezTo>
                  <a:pt x="5700830" y="2427376"/>
                  <a:pt x="5701230" y="2425513"/>
                  <a:pt x="5701230" y="2423515"/>
                </a:cubicBezTo>
                <a:cubicBezTo>
                  <a:pt x="5701230" y="2421652"/>
                  <a:pt x="5700830" y="2419922"/>
                  <a:pt x="5700165" y="2418324"/>
                </a:cubicBezTo>
                <a:cubicBezTo>
                  <a:pt x="5699499" y="2416594"/>
                  <a:pt x="5698567" y="2415263"/>
                  <a:pt x="5697502" y="2414065"/>
                </a:cubicBezTo>
                <a:cubicBezTo>
                  <a:pt x="5696437" y="2412999"/>
                  <a:pt x="5695106" y="2412067"/>
                  <a:pt x="5693509" y="2411402"/>
                </a:cubicBezTo>
                <a:cubicBezTo>
                  <a:pt x="5692045" y="2410737"/>
                  <a:pt x="5690314" y="2410471"/>
                  <a:pt x="5688451" y="2410471"/>
                </a:cubicBezTo>
                <a:close/>
                <a:moveTo>
                  <a:pt x="5470806" y="2410471"/>
                </a:moveTo>
                <a:cubicBezTo>
                  <a:pt x="5464949" y="2410471"/>
                  <a:pt x="5462419" y="2412467"/>
                  <a:pt x="5460822" y="2414065"/>
                </a:cubicBezTo>
                <a:cubicBezTo>
                  <a:pt x="5458293" y="2416727"/>
                  <a:pt x="5457228" y="2419522"/>
                  <a:pt x="5457228" y="2423515"/>
                </a:cubicBezTo>
                <a:cubicBezTo>
                  <a:pt x="5457228" y="2427642"/>
                  <a:pt x="5458293" y="2430438"/>
                  <a:pt x="5460822" y="2432967"/>
                </a:cubicBezTo>
                <a:cubicBezTo>
                  <a:pt x="5462419" y="2434565"/>
                  <a:pt x="5464949" y="2436428"/>
                  <a:pt x="5470806" y="2436428"/>
                </a:cubicBezTo>
                <a:cubicBezTo>
                  <a:pt x="5472802" y="2436428"/>
                  <a:pt x="5474666" y="2436162"/>
                  <a:pt x="5476130" y="2435496"/>
                </a:cubicBezTo>
                <a:cubicBezTo>
                  <a:pt x="5477594" y="2434965"/>
                  <a:pt x="5478926" y="2434165"/>
                  <a:pt x="5479857" y="2433101"/>
                </a:cubicBezTo>
                <a:cubicBezTo>
                  <a:pt x="5480922" y="2432035"/>
                  <a:pt x="5481854" y="2430704"/>
                  <a:pt x="5482520" y="2428974"/>
                </a:cubicBezTo>
                <a:cubicBezTo>
                  <a:pt x="5483319" y="2427376"/>
                  <a:pt x="5483585" y="2425513"/>
                  <a:pt x="5483585" y="2423515"/>
                </a:cubicBezTo>
                <a:cubicBezTo>
                  <a:pt x="5483585" y="2421652"/>
                  <a:pt x="5483185" y="2419922"/>
                  <a:pt x="5482520" y="2418324"/>
                </a:cubicBezTo>
                <a:cubicBezTo>
                  <a:pt x="5481854" y="2416594"/>
                  <a:pt x="5480922" y="2415263"/>
                  <a:pt x="5479857" y="2414065"/>
                </a:cubicBezTo>
                <a:cubicBezTo>
                  <a:pt x="5478793" y="2412999"/>
                  <a:pt x="5477461" y="2412067"/>
                  <a:pt x="5475864" y="2411402"/>
                </a:cubicBezTo>
                <a:cubicBezTo>
                  <a:pt x="5474400" y="2410737"/>
                  <a:pt x="5472669" y="2410471"/>
                  <a:pt x="5470806" y="2410471"/>
                </a:cubicBezTo>
                <a:close/>
                <a:moveTo>
                  <a:pt x="5253160" y="2410471"/>
                </a:moveTo>
                <a:cubicBezTo>
                  <a:pt x="5247303" y="2410471"/>
                  <a:pt x="5244774" y="2412467"/>
                  <a:pt x="5243177" y="2414065"/>
                </a:cubicBezTo>
                <a:cubicBezTo>
                  <a:pt x="5240647" y="2416727"/>
                  <a:pt x="5239583" y="2419522"/>
                  <a:pt x="5239583" y="2423515"/>
                </a:cubicBezTo>
                <a:cubicBezTo>
                  <a:pt x="5239583" y="2427642"/>
                  <a:pt x="5240647" y="2430438"/>
                  <a:pt x="5243177" y="2432967"/>
                </a:cubicBezTo>
                <a:cubicBezTo>
                  <a:pt x="5244774" y="2434565"/>
                  <a:pt x="5247303" y="2436428"/>
                  <a:pt x="5253160" y="2436428"/>
                </a:cubicBezTo>
                <a:cubicBezTo>
                  <a:pt x="5255157" y="2436428"/>
                  <a:pt x="5257021" y="2436162"/>
                  <a:pt x="5258485" y="2435496"/>
                </a:cubicBezTo>
                <a:cubicBezTo>
                  <a:pt x="5259949" y="2434965"/>
                  <a:pt x="5261280" y="2434165"/>
                  <a:pt x="5262212" y="2433101"/>
                </a:cubicBezTo>
                <a:cubicBezTo>
                  <a:pt x="5263277" y="2432035"/>
                  <a:pt x="5264209" y="2430704"/>
                  <a:pt x="5264875" y="2428974"/>
                </a:cubicBezTo>
                <a:cubicBezTo>
                  <a:pt x="5265673" y="2427376"/>
                  <a:pt x="5265939" y="2425513"/>
                  <a:pt x="5265939" y="2423515"/>
                </a:cubicBezTo>
                <a:cubicBezTo>
                  <a:pt x="5265939" y="2421652"/>
                  <a:pt x="5265540" y="2419922"/>
                  <a:pt x="5264875" y="2418324"/>
                </a:cubicBezTo>
                <a:cubicBezTo>
                  <a:pt x="5264209" y="2416594"/>
                  <a:pt x="5263277" y="2415263"/>
                  <a:pt x="5262212" y="2414065"/>
                </a:cubicBezTo>
                <a:cubicBezTo>
                  <a:pt x="5261147" y="2412999"/>
                  <a:pt x="5259816" y="2412067"/>
                  <a:pt x="5258219" y="2411402"/>
                </a:cubicBezTo>
                <a:cubicBezTo>
                  <a:pt x="5256754" y="2410737"/>
                  <a:pt x="5255024" y="2410471"/>
                  <a:pt x="5253160" y="2410471"/>
                </a:cubicBezTo>
                <a:close/>
                <a:moveTo>
                  <a:pt x="5035515" y="2410471"/>
                </a:moveTo>
                <a:cubicBezTo>
                  <a:pt x="5029658" y="2410471"/>
                  <a:pt x="5027129" y="2412467"/>
                  <a:pt x="5025532" y="2414065"/>
                </a:cubicBezTo>
                <a:cubicBezTo>
                  <a:pt x="5023002" y="2416727"/>
                  <a:pt x="5021938" y="2419522"/>
                  <a:pt x="5021938" y="2423515"/>
                </a:cubicBezTo>
                <a:cubicBezTo>
                  <a:pt x="5021938" y="2427642"/>
                  <a:pt x="5023002" y="2430438"/>
                  <a:pt x="5025532" y="2432967"/>
                </a:cubicBezTo>
                <a:cubicBezTo>
                  <a:pt x="5027129" y="2434565"/>
                  <a:pt x="5029658" y="2436428"/>
                  <a:pt x="5035515" y="2436428"/>
                </a:cubicBezTo>
                <a:cubicBezTo>
                  <a:pt x="5037645" y="2436428"/>
                  <a:pt x="5039376" y="2436162"/>
                  <a:pt x="5040840" y="2435496"/>
                </a:cubicBezTo>
                <a:cubicBezTo>
                  <a:pt x="5042304" y="2434965"/>
                  <a:pt x="5043636" y="2434165"/>
                  <a:pt x="5044567" y="2433101"/>
                </a:cubicBezTo>
                <a:cubicBezTo>
                  <a:pt x="5045632" y="2432035"/>
                  <a:pt x="5046564" y="2430704"/>
                  <a:pt x="5047230" y="2428974"/>
                </a:cubicBezTo>
                <a:cubicBezTo>
                  <a:pt x="5048028" y="2427376"/>
                  <a:pt x="5048294" y="2425513"/>
                  <a:pt x="5048294" y="2423515"/>
                </a:cubicBezTo>
                <a:cubicBezTo>
                  <a:pt x="5048294" y="2421652"/>
                  <a:pt x="5047895" y="2419922"/>
                  <a:pt x="5047230" y="2418324"/>
                </a:cubicBezTo>
                <a:cubicBezTo>
                  <a:pt x="5046564" y="2416594"/>
                  <a:pt x="5045632" y="2415263"/>
                  <a:pt x="5044567" y="2414065"/>
                </a:cubicBezTo>
                <a:cubicBezTo>
                  <a:pt x="5043502" y="2412999"/>
                  <a:pt x="5042171" y="2412067"/>
                  <a:pt x="5040574" y="2411402"/>
                </a:cubicBezTo>
                <a:cubicBezTo>
                  <a:pt x="5039110" y="2410737"/>
                  <a:pt x="5037379" y="2410471"/>
                  <a:pt x="5035515" y="2410471"/>
                </a:cubicBezTo>
                <a:close/>
                <a:moveTo>
                  <a:pt x="4817870" y="2410471"/>
                </a:moveTo>
                <a:cubicBezTo>
                  <a:pt x="4812013" y="2410471"/>
                  <a:pt x="4809484" y="2412467"/>
                  <a:pt x="4807887" y="2414065"/>
                </a:cubicBezTo>
                <a:cubicBezTo>
                  <a:pt x="4805357" y="2416727"/>
                  <a:pt x="4804293" y="2419522"/>
                  <a:pt x="4804293" y="2423515"/>
                </a:cubicBezTo>
                <a:cubicBezTo>
                  <a:pt x="4804293" y="2427642"/>
                  <a:pt x="4805357" y="2430438"/>
                  <a:pt x="4807887" y="2432967"/>
                </a:cubicBezTo>
                <a:cubicBezTo>
                  <a:pt x="4809484" y="2434565"/>
                  <a:pt x="4812013" y="2436428"/>
                  <a:pt x="4817870" y="2436428"/>
                </a:cubicBezTo>
                <a:cubicBezTo>
                  <a:pt x="4820000" y="2436428"/>
                  <a:pt x="4821731" y="2436162"/>
                  <a:pt x="4823195" y="2435496"/>
                </a:cubicBezTo>
                <a:cubicBezTo>
                  <a:pt x="4824659" y="2434965"/>
                  <a:pt x="4825857" y="2434165"/>
                  <a:pt x="4826922" y="2433101"/>
                </a:cubicBezTo>
                <a:cubicBezTo>
                  <a:pt x="4827987" y="2432035"/>
                  <a:pt x="4828919" y="2430704"/>
                  <a:pt x="4829585" y="2428974"/>
                </a:cubicBezTo>
                <a:cubicBezTo>
                  <a:pt x="4830383" y="2427376"/>
                  <a:pt x="4830650" y="2425513"/>
                  <a:pt x="4830650" y="2423515"/>
                </a:cubicBezTo>
                <a:cubicBezTo>
                  <a:pt x="4830650" y="2421652"/>
                  <a:pt x="4830250" y="2419922"/>
                  <a:pt x="4829585" y="2418324"/>
                </a:cubicBezTo>
                <a:cubicBezTo>
                  <a:pt x="4828919" y="2416594"/>
                  <a:pt x="4827987" y="2415263"/>
                  <a:pt x="4826922" y="2414065"/>
                </a:cubicBezTo>
                <a:cubicBezTo>
                  <a:pt x="4825857" y="2412999"/>
                  <a:pt x="4824526" y="2412067"/>
                  <a:pt x="4822929" y="2411402"/>
                </a:cubicBezTo>
                <a:cubicBezTo>
                  <a:pt x="4821465" y="2410737"/>
                  <a:pt x="4819734" y="2410471"/>
                  <a:pt x="4817870" y="2410471"/>
                </a:cubicBezTo>
                <a:close/>
                <a:moveTo>
                  <a:pt x="4600226" y="2410471"/>
                </a:moveTo>
                <a:cubicBezTo>
                  <a:pt x="4594369" y="2410471"/>
                  <a:pt x="4591839" y="2412467"/>
                  <a:pt x="4590242" y="2414065"/>
                </a:cubicBezTo>
                <a:cubicBezTo>
                  <a:pt x="4587713" y="2416727"/>
                  <a:pt x="4586648" y="2419522"/>
                  <a:pt x="4586648" y="2423515"/>
                </a:cubicBezTo>
                <a:cubicBezTo>
                  <a:pt x="4586648" y="2427642"/>
                  <a:pt x="4587713" y="2430438"/>
                  <a:pt x="4590242" y="2432967"/>
                </a:cubicBezTo>
                <a:cubicBezTo>
                  <a:pt x="4591839" y="2434565"/>
                  <a:pt x="4594369" y="2436428"/>
                  <a:pt x="4600226" y="2436428"/>
                </a:cubicBezTo>
                <a:cubicBezTo>
                  <a:pt x="4602355" y="2436428"/>
                  <a:pt x="4604086" y="2436162"/>
                  <a:pt x="4605550" y="2435496"/>
                </a:cubicBezTo>
                <a:cubicBezTo>
                  <a:pt x="4607148" y="2434965"/>
                  <a:pt x="4608346" y="2434165"/>
                  <a:pt x="4609277" y="2433101"/>
                </a:cubicBezTo>
                <a:cubicBezTo>
                  <a:pt x="4610342" y="2432035"/>
                  <a:pt x="4611274" y="2430704"/>
                  <a:pt x="4611940" y="2428974"/>
                </a:cubicBezTo>
                <a:cubicBezTo>
                  <a:pt x="4612605" y="2427376"/>
                  <a:pt x="4613005" y="2425513"/>
                  <a:pt x="4613005" y="2423515"/>
                </a:cubicBezTo>
                <a:cubicBezTo>
                  <a:pt x="4613005" y="2421652"/>
                  <a:pt x="4612605" y="2419922"/>
                  <a:pt x="4611940" y="2418324"/>
                </a:cubicBezTo>
                <a:cubicBezTo>
                  <a:pt x="4611274" y="2416594"/>
                  <a:pt x="4610342" y="2415263"/>
                  <a:pt x="4609277" y="2414065"/>
                </a:cubicBezTo>
                <a:cubicBezTo>
                  <a:pt x="4608212" y="2412999"/>
                  <a:pt x="4606881" y="2412067"/>
                  <a:pt x="4605284" y="2411402"/>
                </a:cubicBezTo>
                <a:cubicBezTo>
                  <a:pt x="4603820" y="2410737"/>
                  <a:pt x="4602222" y="2410471"/>
                  <a:pt x="4600226" y="2410471"/>
                </a:cubicBezTo>
                <a:close/>
                <a:moveTo>
                  <a:pt x="4382713" y="2410471"/>
                </a:moveTo>
                <a:cubicBezTo>
                  <a:pt x="4376857" y="2410471"/>
                  <a:pt x="4374327" y="2412467"/>
                  <a:pt x="4372730" y="2414065"/>
                </a:cubicBezTo>
                <a:cubicBezTo>
                  <a:pt x="4370201" y="2416727"/>
                  <a:pt x="4369136" y="2419522"/>
                  <a:pt x="4369136" y="2423515"/>
                </a:cubicBezTo>
                <a:cubicBezTo>
                  <a:pt x="4369136" y="2427642"/>
                  <a:pt x="4370201" y="2430438"/>
                  <a:pt x="4372730" y="2432967"/>
                </a:cubicBezTo>
                <a:cubicBezTo>
                  <a:pt x="4374327" y="2434565"/>
                  <a:pt x="4376857" y="2436428"/>
                  <a:pt x="4382713" y="2436428"/>
                </a:cubicBezTo>
                <a:cubicBezTo>
                  <a:pt x="4384710" y="2436428"/>
                  <a:pt x="4386441" y="2436162"/>
                  <a:pt x="4388038" y="2435496"/>
                </a:cubicBezTo>
                <a:cubicBezTo>
                  <a:pt x="4389502" y="2434965"/>
                  <a:pt x="4390834" y="2434165"/>
                  <a:pt x="4391765" y="2433101"/>
                </a:cubicBezTo>
                <a:cubicBezTo>
                  <a:pt x="4392830" y="2432035"/>
                  <a:pt x="4393762" y="2430704"/>
                  <a:pt x="4394428" y="2428974"/>
                </a:cubicBezTo>
                <a:cubicBezTo>
                  <a:pt x="4395093" y="2427376"/>
                  <a:pt x="4395493" y="2425513"/>
                  <a:pt x="4395493" y="2423515"/>
                </a:cubicBezTo>
                <a:cubicBezTo>
                  <a:pt x="4395493" y="2421652"/>
                  <a:pt x="4395093" y="2419922"/>
                  <a:pt x="4394428" y="2418324"/>
                </a:cubicBezTo>
                <a:cubicBezTo>
                  <a:pt x="4393762" y="2416594"/>
                  <a:pt x="4392830" y="2415263"/>
                  <a:pt x="4391765" y="2414065"/>
                </a:cubicBezTo>
                <a:cubicBezTo>
                  <a:pt x="4390700" y="2412999"/>
                  <a:pt x="4389369" y="2412067"/>
                  <a:pt x="4387772" y="2411402"/>
                </a:cubicBezTo>
                <a:cubicBezTo>
                  <a:pt x="4386308" y="2410737"/>
                  <a:pt x="4384710" y="2410471"/>
                  <a:pt x="4382713" y="2410471"/>
                </a:cubicBezTo>
                <a:close/>
                <a:moveTo>
                  <a:pt x="4165068" y="2410471"/>
                </a:moveTo>
                <a:cubicBezTo>
                  <a:pt x="4159211" y="2410471"/>
                  <a:pt x="4156681" y="2412467"/>
                  <a:pt x="4155084" y="2414065"/>
                </a:cubicBezTo>
                <a:cubicBezTo>
                  <a:pt x="4152555" y="2416727"/>
                  <a:pt x="4151490" y="2419522"/>
                  <a:pt x="4151490" y="2423515"/>
                </a:cubicBezTo>
                <a:cubicBezTo>
                  <a:pt x="4151490" y="2427642"/>
                  <a:pt x="4152555" y="2430438"/>
                  <a:pt x="4155084" y="2432967"/>
                </a:cubicBezTo>
                <a:cubicBezTo>
                  <a:pt x="4156681" y="2434565"/>
                  <a:pt x="4159211" y="2436428"/>
                  <a:pt x="4165068" y="2436428"/>
                </a:cubicBezTo>
                <a:cubicBezTo>
                  <a:pt x="4167064" y="2436428"/>
                  <a:pt x="4168928" y="2436162"/>
                  <a:pt x="4170392" y="2435496"/>
                </a:cubicBezTo>
                <a:cubicBezTo>
                  <a:pt x="4171856" y="2434965"/>
                  <a:pt x="4173188" y="2434165"/>
                  <a:pt x="4174119" y="2433101"/>
                </a:cubicBezTo>
                <a:cubicBezTo>
                  <a:pt x="4175184" y="2432035"/>
                  <a:pt x="4176116" y="2430704"/>
                  <a:pt x="4176782" y="2428974"/>
                </a:cubicBezTo>
                <a:cubicBezTo>
                  <a:pt x="4177447" y="2427376"/>
                  <a:pt x="4177847" y="2425513"/>
                  <a:pt x="4177847" y="2423515"/>
                </a:cubicBezTo>
                <a:cubicBezTo>
                  <a:pt x="4177847" y="2421652"/>
                  <a:pt x="4177447" y="2419922"/>
                  <a:pt x="4176782" y="2418324"/>
                </a:cubicBezTo>
                <a:cubicBezTo>
                  <a:pt x="4176116" y="2416594"/>
                  <a:pt x="4175184" y="2415263"/>
                  <a:pt x="4174119" y="2414065"/>
                </a:cubicBezTo>
                <a:cubicBezTo>
                  <a:pt x="4173054" y="2412999"/>
                  <a:pt x="4171723" y="2412067"/>
                  <a:pt x="4170126" y="2411402"/>
                </a:cubicBezTo>
                <a:cubicBezTo>
                  <a:pt x="4168662" y="2410737"/>
                  <a:pt x="4167064" y="2410471"/>
                  <a:pt x="4165068" y="2410471"/>
                </a:cubicBezTo>
                <a:close/>
                <a:moveTo>
                  <a:pt x="3947558" y="2410471"/>
                </a:moveTo>
                <a:cubicBezTo>
                  <a:pt x="3941701" y="2410471"/>
                  <a:pt x="3939172" y="2412467"/>
                  <a:pt x="3937575" y="2414065"/>
                </a:cubicBezTo>
                <a:cubicBezTo>
                  <a:pt x="3935044" y="2416727"/>
                  <a:pt x="3933981" y="2419522"/>
                  <a:pt x="3933981" y="2423515"/>
                </a:cubicBezTo>
                <a:cubicBezTo>
                  <a:pt x="3933981" y="2427642"/>
                  <a:pt x="3935044" y="2430438"/>
                  <a:pt x="3937575" y="2432967"/>
                </a:cubicBezTo>
                <a:cubicBezTo>
                  <a:pt x="3939172" y="2434565"/>
                  <a:pt x="3941701" y="2436428"/>
                  <a:pt x="3947558" y="2436428"/>
                </a:cubicBezTo>
                <a:cubicBezTo>
                  <a:pt x="3949556" y="2436428"/>
                  <a:pt x="3951419" y="2436162"/>
                  <a:pt x="3952885" y="2435496"/>
                </a:cubicBezTo>
                <a:cubicBezTo>
                  <a:pt x="3954348" y="2434965"/>
                  <a:pt x="3955679" y="2434165"/>
                  <a:pt x="3956611" y="2433101"/>
                </a:cubicBezTo>
                <a:cubicBezTo>
                  <a:pt x="3957677" y="2432035"/>
                  <a:pt x="3958609" y="2430704"/>
                  <a:pt x="3959274" y="2428974"/>
                </a:cubicBezTo>
                <a:cubicBezTo>
                  <a:pt x="3959940" y="2427376"/>
                  <a:pt x="3960339" y="2425513"/>
                  <a:pt x="3960339" y="2423515"/>
                </a:cubicBezTo>
                <a:cubicBezTo>
                  <a:pt x="3960339" y="2421652"/>
                  <a:pt x="3959940" y="2419922"/>
                  <a:pt x="3959274" y="2418324"/>
                </a:cubicBezTo>
                <a:cubicBezTo>
                  <a:pt x="3958609" y="2416594"/>
                  <a:pt x="3957677" y="2415263"/>
                  <a:pt x="3956611" y="2414065"/>
                </a:cubicBezTo>
                <a:cubicBezTo>
                  <a:pt x="3955546" y="2412999"/>
                  <a:pt x="3954215" y="2412067"/>
                  <a:pt x="3952617" y="2411402"/>
                </a:cubicBezTo>
                <a:cubicBezTo>
                  <a:pt x="3951153" y="2410737"/>
                  <a:pt x="3949556" y="2410471"/>
                  <a:pt x="3947558" y="2410471"/>
                </a:cubicBezTo>
                <a:close/>
                <a:moveTo>
                  <a:pt x="3729907" y="2410471"/>
                </a:moveTo>
                <a:cubicBezTo>
                  <a:pt x="3724050" y="2410471"/>
                  <a:pt x="3721521" y="2412467"/>
                  <a:pt x="3719921" y="2414065"/>
                </a:cubicBezTo>
                <a:cubicBezTo>
                  <a:pt x="3717391" y="2416727"/>
                  <a:pt x="3716328" y="2419522"/>
                  <a:pt x="3716328" y="2423515"/>
                </a:cubicBezTo>
                <a:cubicBezTo>
                  <a:pt x="3716328" y="2427642"/>
                  <a:pt x="3717391" y="2430438"/>
                  <a:pt x="3719921" y="2432967"/>
                </a:cubicBezTo>
                <a:cubicBezTo>
                  <a:pt x="3721521" y="2434565"/>
                  <a:pt x="3724050" y="2436428"/>
                  <a:pt x="3729907" y="2436428"/>
                </a:cubicBezTo>
                <a:cubicBezTo>
                  <a:pt x="3732036" y="2436428"/>
                  <a:pt x="3733768" y="2436162"/>
                  <a:pt x="3735232" y="2435496"/>
                </a:cubicBezTo>
                <a:cubicBezTo>
                  <a:pt x="3736696" y="2434965"/>
                  <a:pt x="3738028" y="2434165"/>
                  <a:pt x="3738959" y="2433101"/>
                </a:cubicBezTo>
                <a:cubicBezTo>
                  <a:pt x="3740024" y="2432035"/>
                  <a:pt x="3740956" y="2430704"/>
                  <a:pt x="3741622" y="2428974"/>
                </a:cubicBezTo>
                <a:cubicBezTo>
                  <a:pt x="3742287" y="2427376"/>
                  <a:pt x="3742686" y="2425513"/>
                  <a:pt x="3742686" y="2423515"/>
                </a:cubicBezTo>
                <a:cubicBezTo>
                  <a:pt x="3742686" y="2421652"/>
                  <a:pt x="3742287" y="2419922"/>
                  <a:pt x="3741622" y="2418324"/>
                </a:cubicBezTo>
                <a:cubicBezTo>
                  <a:pt x="3740956" y="2416594"/>
                  <a:pt x="3740024" y="2415263"/>
                  <a:pt x="3738959" y="2414065"/>
                </a:cubicBezTo>
                <a:cubicBezTo>
                  <a:pt x="3737894" y="2412999"/>
                  <a:pt x="3736563" y="2412067"/>
                  <a:pt x="3734966" y="2411402"/>
                </a:cubicBezTo>
                <a:cubicBezTo>
                  <a:pt x="3733501" y="2410737"/>
                  <a:pt x="3731904" y="2410471"/>
                  <a:pt x="3729907" y="2410471"/>
                </a:cubicBezTo>
                <a:close/>
                <a:moveTo>
                  <a:pt x="3512254" y="2410471"/>
                </a:moveTo>
                <a:cubicBezTo>
                  <a:pt x="3506397" y="2410471"/>
                  <a:pt x="3503868" y="2412467"/>
                  <a:pt x="3502269" y="2414065"/>
                </a:cubicBezTo>
                <a:cubicBezTo>
                  <a:pt x="3499739" y="2416727"/>
                  <a:pt x="3498675" y="2419522"/>
                  <a:pt x="3498675" y="2423515"/>
                </a:cubicBezTo>
                <a:cubicBezTo>
                  <a:pt x="3498675" y="2427642"/>
                  <a:pt x="3499739" y="2430438"/>
                  <a:pt x="3502269" y="2432967"/>
                </a:cubicBezTo>
                <a:cubicBezTo>
                  <a:pt x="3503868" y="2434565"/>
                  <a:pt x="3506397" y="2436428"/>
                  <a:pt x="3512254" y="2436428"/>
                </a:cubicBezTo>
                <a:cubicBezTo>
                  <a:pt x="3514384" y="2436428"/>
                  <a:pt x="3516115" y="2436162"/>
                  <a:pt x="3517580" y="2435496"/>
                </a:cubicBezTo>
                <a:cubicBezTo>
                  <a:pt x="3519044" y="2434965"/>
                  <a:pt x="3520376" y="2434165"/>
                  <a:pt x="3521307" y="2433101"/>
                </a:cubicBezTo>
                <a:cubicBezTo>
                  <a:pt x="3522372" y="2432035"/>
                  <a:pt x="3523304" y="2430704"/>
                  <a:pt x="3523970" y="2428974"/>
                </a:cubicBezTo>
                <a:cubicBezTo>
                  <a:pt x="3524635" y="2427376"/>
                  <a:pt x="3525035" y="2425513"/>
                  <a:pt x="3525035" y="2423515"/>
                </a:cubicBezTo>
                <a:cubicBezTo>
                  <a:pt x="3525035" y="2421652"/>
                  <a:pt x="3524635" y="2419922"/>
                  <a:pt x="3523970" y="2418324"/>
                </a:cubicBezTo>
                <a:cubicBezTo>
                  <a:pt x="3523304" y="2416594"/>
                  <a:pt x="3522372" y="2415263"/>
                  <a:pt x="3521307" y="2414065"/>
                </a:cubicBezTo>
                <a:cubicBezTo>
                  <a:pt x="3520242" y="2412999"/>
                  <a:pt x="3518911" y="2412067"/>
                  <a:pt x="3517314" y="2411402"/>
                </a:cubicBezTo>
                <a:cubicBezTo>
                  <a:pt x="3515850" y="2410737"/>
                  <a:pt x="3514251" y="2410471"/>
                  <a:pt x="3512254" y="2410471"/>
                </a:cubicBezTo>
                <a:close/>
                <a:moveTo>
                  <a:pt x="3294736" y="2410471"/>
                </a:moveTo>
                <a:cubicBezTo>
                  <a:pt x="3288878" y="2410471"/>
                  <a:pt x="3286348" y="2412467"/>
                  <a:pt x="3284751" y="2414065"/>
                </a:cubicBezTo>
                <a:cubicBezTo>
                  <a:pt x="3282220" y="2416727"/>
                  <a:pt x="3281157" y="2419522"/>
                  <a:pt x="3281157" y="2423515"/>
                </a:cubicBezTo>
                <a:cubicBezTo>
                  <a:pt x="3281157" y="2427642"/>
                  <a:pt x="3282220" y="2430438"/>
                  <a:pt x="3284751" y="2432967"/>
                </a:cubicBezTo>
                <a:cubicBezTo>
                  <a:pt x="3286348" y="2434565"/>
                  <a:pt x="3288878" y="2436428"/>
                  <a:pt x="3294736" y="2436428"/>
                </a:cubicBezTo>
                <a:cubicBezTo>
                  <a:pt x="3296732" y="2436428"/>
                  <a:pt x="3298463" y="2436162"/>
                  <a:pt x="3300061" y="2435496"/>
                </a:cubicBezTo>
                <a:cubicBezTo>
                  <a:pt x="3301525" y="2434965"/>
                  <a:pt x="3302857" y="2434165"/>
                  <a:pt x="3303788" y="2433101"/>
                </a:cubicBezTo>
                <a:cubicBezTo>
                  <a:pt x="3304853" y="2432035"/>
                  <a:pt x="3305785" y="2430704"/>
                  <a:pt x="3306451" y="2428974"/>
                </a:cubicBezTo>
                <a:cubicBezTo>
                  <a:pt x="3307116" y="2427376"/>
                  <a:pt x="3307515" y="2425513"/>
                  <a:pt x="3307515" y="2423515"/>
                </a:cubicBezTo>
                <a:cubicBezTo>
                  <a:pt x="3307515" y="2421652"/>
                  <a:pt x="3307116" y="2419922"/>
                  <a:pt x="3306451" y="2418324"/>
                </a:cubicBezTo>
                <a:cubicBezTo>
                  <a:pt x="3305785" y="2416594"/>
                  <a:pt x="3304853" y="2415263"/>
                  <a:pt x="3303788" y="2414065"/>
                </a:cubicBezTo>
                <a:cubicBezTo>
                  <a:pt x="3302723" y="2412999"/>
                  <a:pt x="3301392" y="2412067"/>
                  <a:pt x="3299795" y="2411402"/>
                </a:cubicBezTo>
                <a:cubicBezTo>
                  <a:pt x="3298331" y="2410737"/>
                  <a:pt x="3296732" y="2410471"/>
                  <a:pt x="3294736" y="2410471"/>
                </a:cubicBezTo>
                <a:close/>
                <a:moveTo>
                  <a:pt x="3077217" y="2410471"/>
                </a:moveTo>
                <a:cubicBezTo>
                  <a:pt x="3071359" y="2410471"/>
                  <a:pt x="3068830" y="2412467"/>
                  <a:pt x="3067234" y="2414065"/>
                </a:cubicBezTo>
                <a:cubicBezTo>
                  <a:pt x="3064569" y="2416727"/>
                  <a:pt x="3063504" y="2419522"/>
                  <a:pt x="3063504" y="2423515"/>
                </a:cubicBezTo>
                <a:cubicBezTo>
                  <a:pt x="3063504" y="2427642"/>
                  <a:pt x="3064569" y="2430438"/>
                  <a:pt x="3067099" y="2432967"/>
                </a:cubicBezTo>
                <a:cubicBezTo>
                  <a:pt x="3068697" y="2434565"/>
                  <a:pt x="3071226" y="2436428"/>
                  <a:pt x="3077083" y="2436428"/>
                </a:cubicBezTo>
                <a:cubicBezTo>
                  <a:pt x="3079081" y="2436428"/>
                  <a:pt x="3080811" y="2436162"/>
                  <a:pt x="3082542" y="2435496"/>
                </a:cubicBezTo>
                <a:cubicBezTo>
                  <a:pt x="3084007" y="2434965"/>
                  <a:pt x="3085338" y="2434165"/>
                  <a:pt x="3086269" y="2433101"/>
                </a:cubicBezTo>
                <a:cubicBezTo>
                  <a:pt x="3087334" y="2432035"/>
                  <a:pt x="3088266" y="2430704"/>
                  <a:pt x="3088932" y="2428974"/>
                </a:cubicBezTo>
                <a:cubicBezTo>
                  <a:pt x="3089597" y="2427376"/>
                  <a:pt x="3089864" y="2425513"/>
                  <a:pt x="3089864" y="2423515"/>
                </a:cubicBezTo>
                <a:cubicBezTo>
                  <a:pt x="3089864" y="2421652"/>
                  <a:pt x="3089597" y="2419922"/>
                  <a:pt x="3088932" y="2418324"/>
                </a:cubicBezTo>
                <a:cubicBezTo>
                  <a:pt x="3088266" y="2416594"/>
                  <a:pt x="3087334" y="2415263"/>
                  <a:pt x="3086269" y="2414065"/>
                </a:cubicBezTo>
                <a:cubicBezTo>
                  <a:pt x="3085205" y="2412999"/>
                  <a:pt x="3083873" y="2412067"/>
                  <a:pt x="3082276" y="2411402"/>
                </a:cubicBezTo>
                <a:cubicBezTo>
                  <a:pt x="3080811" y="2410737"/>
                  <a:pt x="3079213" y="2410471"/>
                  <a:pt x="3077217" y="2410471"/>
                </a:cubicBezTo>
                <a:close/>
                <a:moveTo>
                  <a:pt x="2859432" y="2410471"/>
                </a:moveTo>
                <a:cubicBezTo>
                  <a:pt x="2853574" y="2410471"/>
                  <a:pt x="2851045" y="2412467"/>
                  <a:pt x="2849447" y="2414065"/>
                </a:cubicBezTo>
                <a:cubicBezTo>
                  <a:pt x="2846915" y="2416727"/>
                  <a:pt x="2845851" y="2419522"/>
                  <a:pt x="2845851" y="2423515"/>
                </a:cubicBezTo>
                <a:cubicBezTo>
                  <a:pt x="2845851" y="2427642"/>
                  <a:pt x="2846915" y="2430438"/>
                  <a:pt x="2849447" y="2432967"/>
                </a:cubicBezTo>
                <a:cubicBezTo>
                  <a:pt x="2851045" y="2434565"/>
                  <a:pt x="2853574" y="2436428"/>
                  <a:pt x="2859432" y="2436428"/>
                </a:cubicBezTo>
                <a:cubicBezTo>
                  <a:pt x="2861428" y="2436428"/>
                  <a:pt x="2863293" y="2436162"/>
                  <a:pt x="2864757" y="2435496"/>
                </a:cubicBezTo>
                <a:cubicBezTo>
                  <a:pt x="2866354" y="2434965"/>
                  <a:pt x="2867553" y="2434165"/>
                  <a:pt x="2868483" y="2433101"/>
                </a:cubicBezTo>
                <a:cubicBezTo>
                  <a:pt x="2869549" y="2432035"/>
                  <a:pt x="2870481" y="2430704"/>
                  <a:pt x="2871147" y="2428974"/>
                </a:cubicBezTo>
                <a:cubicBezTo>
                  <a:pt x="2871679" y="2427376"/>
                  <a:pt x="2872078" y="2425513"/>
                  <a:pt x="2872078" y="2423515"/>
                </a:cubicBezTo>
                <a:cubicBezTo>
                  <a:pt x="2872078" y="2421652"/>
                  <a:pt x="2871812" y="2419922"/>
                  <a:pt x="2871147" y="2418324"/>
                </a:cubicBezTo>
                <a:cubicBezTo>
                  <a:pt x="2870481" y="2416594"/>
                  <a:pt x="2869549" y="2415263"/>
                  <a:pt x="2868483" y="2414065"/>
                </a:cubicBezTo>
                <a:cubicBezTo>
                  <a:pt x="2867420" y="2412999"/>
                  <a:pt x="2866088" y="2412067"/>
                  <a:pt x="2864491" y="2411402"/>
                </a:cubicBezTo>
                <a:cubicBezTo>
                  <a:pt x="2863027" y="2410737"/>
                  <a:pt x="2861428" y="2410471"/>
                  <a:pt x="2859432" y="2410471"/>
                </a:cubicBezTo>
                <a:close/>
                <a:moveTo>
                  <a:pt x="2641779" y="2410471"/>
                </a:moveTo>
                <a:cubicBezTo>
                  <a:pt x="2635922" y="2410471"/>
                  <a:pt x="2633393" y="2412467"/>
                  <a:pt x="2631796" y="2414065"/>
                </a:cubicBezTo>
                <a:cubicBezTo>
                  <a:pt x="2629266" y="2416727"/>
                  <a:pt x="2628202" y="2419522"/>
                  <a:pt x="2628202" y="2423515"/>
                </a:cubicBezTo>
                <a:cubicBezTo>
                  <a:pt x="2628202" y="2427642"/>
                  <a:pt x="2629266" y="2430438"/>
                  <a:pt x="2631796" y="2432967"/>
                </a:cubicBezTo>
                <a:cubicBezTo>
                  <a:pt x="2633393" y="2434565"/>
                  <a:pt x="2635922" y="2436428"/>
                  <a:pt x="2641779" y="2436428"/>
                </a:cubicBezTo>
                <a:cubicBezTo>
                  <a:pt x="2643776" y="2436428"/>
                  <a:pt x="2645641" y="2436162"/>
                  <a:pt x="2647105" y="2435496"/>
                </a:cubicBezTo>
                <a:cubicBezTo>
                  <a:pt x="2648702" y="2434965"/>
                  <a:pt x="2649899" y="2434165"/>
                  <a:pt x="2650832" y="2433101"/>
                </a:cubicBezTo>
                <a:cubicBezTo>
                  <a:pt x="2651897" y="2432035"/>
                  <a:pt x="2652829" y="2430704"/>
                  <a:pt x="2653495" y="2428974"/>
                </a:cubicBezTo>
                <a:cubicBezTo>
                  <a:pt x="2654026" y="2427376"/>
                  <a:pt x="2654425" y="2425513"/>
                  <a:pt x="2654425" y="2423515"/>
                </a:cubicBezTo>
                <a:cubicBezTo>
                  <a:pt x="2654425" y="2421652"/>
                  <a:pt x="2654160" y="2419922"/>
                  <a:pt x="2653495" y="2418324"/>
                </a:cubicBezTo>
                <a:cubicBezTo>
                  <a:pt x="2652829" y="2416594"/>
                  <a:pt x="2651897" y="2415263"/>
                  <a:pt x="2650832" y="2414065"/>
                </a:cubicBezTo>
                <a:cubicBezTo>
                  <a:pt x="2649767" y="2412999"/>
                  <a:pt x="2648435" y="2412067"/>
                  <a:pt x="2646839" y="2411402"/>
                </a:cubicBezTo>
                <a:cubicBezTo>
                  <a:pt x="2645373" y="2410737"/>
                  <a:pt x="2643776" y="2410471"/>
                  <a:pt x="2641779" y="2410471"/>
                </a:cubicBezTo>
                <a:close/>
                <a:moveTo>
                  <a:pt x="2424127" y="2410471"/>
                </a:moveTo>
                <a:cubicBezTo>
                  <a:pt x="2418270" y="2410471"/>
                  <a:pt x="2415741" y="2412467"/>
                  <a:pt x="2414144" y="2414065"/>
                </a:cubicBezTo>
                <a:cubicBezTo>
                  <a:pt x="2411614" y="2416727"/>
                  <a:pt x="2410550" y="2419522"/>
                  <a:pt x="2410550" y="2423515"/>
                </a:cubicBezTo>
                <a:cubicBezTo>
                  <a:pt x="2410550" y="2427642"/>
                  <a:pt x="2411614" y="2430438"/>
                  <a:pt x="2414144" y="2432967"/>
                </a:cubicBezTo>
                <a:cubicBezTo>
                  <a:pt x="2415741" y="2434565"/>
                  <a:pt x="2418270" y="2436428"/>
                  <a:pt x="2424127" y="2436428"/>
                </a:cubicBezTo>
                <a:cubicBezTo>
                  <a:pt x="2426257" y="2436428"/>
                  <a:pt x="2427989" y="2436162"/>
                  <a:pt x="2429453" y="2435496"/>
                </a:cubicBezTo>
                <a:cubicBezTo>
                  <a:pt x="2431051" y="2434965"/>
                  <a:pt x="2432248" y="2434165"/>
                  <a:pt x="2433179" y="2433101"/>
                </a:cubicBezTo>
                <a:cubicBezTo>
                  <a:pt x="2434245" y="2432035"/>
                  <a:pt x="2435176" y="2430704"/>
                  <a:pt x="2435843" y="2428974"/>
                </a:cubicBezTo>
                <a:cubicBezTo>
                  <a:pt x="2436374" y="2427376"/>
                  <a:pt x="2436774" y="2425513"/>
                  <a:pt x="2436774" y="2423515"/>
                </a:cubicBezTo>
                <a:cubicBezTo>
                  <a:pt x="2436774" y="2421652"/>
                  <a:pt x="2436508" y="2419922"/>
                  <a:pt x="2435843" y="2418324"/>
                </a:cubicBezTo>
                <a:cubicBezTo>
                  <a:pt x="2435176" y="2416594"/>
                  <a:pt x="2434245" y="2415263"/>
                  <a:pt x="2433179" y="2414065"/>
                </a:cubicBezTo>
                <a:cubicBezTo>
                  <a:pt x="2432116" y="2412999"/>
                  <a:pt x="2430784" y="2412067"/>
                  <a:pt x="2429186" y="2411402"/>
                </a:cubicBezTo>
                <a:cubicBezTo>
                  <a:pt x="2427722" y="2410737"/>
                  <a:pt x="2426124" y="2410471"/>
                  <a:pt x="2424127" y="2410471"/>
                </a:cubicBezTo>
                <a:close/>
                <a:moveTo>
                  <a:pt x="2206475" y="2410471"/>
                </a:moveTo>
                <a:cubicBezTo>
                  <a:pt x="2200618" y="2410471"/>
                  <a:pt x="2198089" y="2412467"/>
                  <a:pt x="2196492" y="2414065"/>
                </a:cubicBezTo>
                <a:cubicBezTo>
                  <a:pt x="2193962" y="2416727"/>
                  <a:pt x="2192898" y="2419522"/>
                  <a:pt x="2192898" y="2423515"/>
                </a:cubicBezTo>
                <a:cubicBezTo>
                  <a:pt x="2192898" y="2427642"/>
                  <a:pt x="2193962" y="2430438"/>
                  <a:pt x="2196492" y="2432967"/>
                </a:cubicBezTo>
                <a:cubicBezTo>
                  <a:pt x="2198089" y="2434565"/>
                  <a:pt x="2200618" y="2436428"/>
                  <a:pt x="2206475" y="2436428"/>
                </a:cubicBezTo>
                <a:cubicBezTo>
                  <a:pt x="2208605" y="2436428"/>
                  <a:pt x="2210336" y="2436162"/>
                  <a:pt x="2211800" y="2435496"/>
                </a:cubicBezTo>
                <a:cubicBezTo>
                  <a:pt x="2213398" y="2434965"/>
                  <a:pt x="2214595" y="2434165"/>
                  <a:pt x="2215527" y="2433101"/>
                </a:cubicBezTo>
                <a:cubicBezTo>
                  <a:pt x="2216592" y="2432035"/>
                  <a:pt x="2217524" y="2430704"/>
                  <a:pt x="2218190" y="2428974"/>
                </a:cubicBezTo>
                <a:cubicBezTo>
                  <a:pt x="2218723" y="2427376"/>
                  <a:pt x="2219121" y="2425513"/>
                  <a:pt x="2219121" y="2423515"/>
                </a:cubicBezTo>
                <a:cubicBezTo>
                  <a:pt x="2219121" y="2421652"/>
                  <a:pt x="2218855" y="2419922"/>
                  <a:pt x="2218190" y="2418324"/>
                </a:cubicBezTo>
                <a:cubicBezTo>
                  <a:pt x="2217524" y="2416594"/>
                  <a:pt x="2216592" y="2415263"/>
                  <a:pt x="2215527" y="2414065"/>
                </a:cubicBezTo>
                <a:cubicBezTo>
                  <a:pt x="2214462" y="2412999"/>
                  <a:pt x="2213131" y="2412067"/>
                  <a:pt x="2211534" y="2411402"/>
                </a:cubicBezTo>
                <a:cubicBezTo>
                  <a:pt x="2210070" y="2410737"/>
                  <a:pt x="2208472" y="2410471"/>
                  <a:pt x="2206475" y="2410471"/>
                </a:cubicBezTo>
                <a:close/>
                <a:moveTo>
                  <a:pt x="1988956" y="2410471"/>
                </a:moveTo>
                <a:cubicBezTo>
                  <a:pt x="1983099" y="2410471"/>
                  <a:pt x="1980570" y="2412467"/>
                  <a:pt x="1978973" y="2414065"/>
                </a:cubicBezTo>
                <a:cubicBezTo>
                  <a:pt x="1976443" y="2416727"/>
                  <a:pt x="1975379" y="2419522"/>
                  <a:pt x="1975379" y="2423515"/>
                </a:cubicBezTo>
                <a:cubicBezTo>
                  <a:pt x="1975379" y="2427642"/>
                  <a:pt x="1976443" y="2430438"/>
                  <a:pt x="1978973" y="2432967"/>
                </a:cubicBezTo>
                <a:cubicBezTo>
                  <a:pt x="1980570" y="2434565"/>
                  <a:pt x="1983099" y="2436428"/>
                  <a:pt x="1988956" y="2436428"/>
                </a:cubicBezTo>
                <a:cubicBezTo>
                  <a:pt x="1990953" y="2436428"/>
                  <a:pt x="1992684" y="2436162"/>
                  <a:pt x="1994281" y="2435496"/>
                </a:cubicBezTo>
                <a:cubicBezTo>
                  <a:pt x="1995879" y="2434965"/>
                  <a:pt x="1997077" y="2434165"/>
                  <a:pt x="1998008" y="2433101"/>
                </a:cubicBezTo>
                <a:cubicBezTo>
                  <a:pt x="1999073" y="2432035"/>
                  <a:pt x="2000005" y="2430704"/>
                  <a:pt x="2000671" y="2428974"/>
                </a:cubicBezTo>
                <a:cubicBezTo>
                  <a:pt x="2001203" y="2427376"/>
                  <a:pt x="2001602" y="2425513"/>
                  <a:pt x="2001602" y="2423515"/>
                </a:cubicBezTo>
                <a:cubicBezTo>
                  <a:pt x="2001602" y="2421652"/>
                  <a:pt x="2001336" y="2419922"/>
                  <a:pt x="2000671" y="2418324"/>
                </a:cubicBezTo>
                <a:cubicBezTo>
                  <a:pt x="2000005" y="2416594"/>
                  <a:pt x="1999073" y="2415263"/>
                  <a:pt x="1998008" y="2414065"/>
                </a:cubicBezTo>
                <a:cubicBezTo>
                  <a:pt x="1996944" y="2412999"/>
                  <a:pt x="1995612" y="2412067"/>
                  <a:pt x="1994015" y="2411402"/>
                </a:cubicBezTo>
                <a:cubicBezTo>
                  <a:pt x="1992551" y="2410737"/>
                  <a:pt x="1990953" y="2410471"/>
                  <a:pt x="1988956" y="2410471"/>
                </a:cubicBezTo>
                <a:close/>
                <a:moveTo>
                  <a:pt x="1771316" y="2410471"/>
                </a:moveTo>
                <a:cubicBezTo>
                  <a:pt x="1765459" y="2410471"/>
                  <a:pt x="1762930" y="2412467"/>
                  <a:pt x="1761333" y="2414065"/>
                </a:cubicBezTo>
                <a:cubicBezTo>
                  <a:pt x="1758804" y="2416727"/>
                  <a:pt x="1757739" y="2419522"/>
                  <a:pt x="1757739" y="2423515"/>
                </a:cubicBezTo>
                <a:cubicBezTo>
                  <a:pt x="1757739" y="2427642"/>
                  <a:pt x="1758804" y="2430438"/>
                  <a:pt x="1761333" y="2432967"/>
                </a:cubicBezTo>
                <a:cubicBezTo>
                  <a:pt x="1762930" y="2434565"/>
                  <a:pt x="1765459" y="2436428"/>
                  <a:pt x="1771316" y="2436428"/>
                </a:cubicBezTo>
                <a:cubicBezTo>
                  <a:pt x="1773313" y="2436428"/>
                  <a:pt x="1775177" y="2436162"/>
                  <a:pt x="1776641" y="2435496"/>
                </a:cubicBezTo>
                <a:cubicBezTo>
                  <a:pt x="1778105" y="2434965"/>
                  <a:pt x="1779436" y="2434165"/>
                  <a:pt x="1780368" y="2433101"/>
                </a:cubicBezTo>
                <a:cubicBezTo>
                  <a:pt x="1781433" y="2432035"/>
                  <a:pt x="1782365" y="2430704"/>
                  <a:pt x="1783031" y="2428974"/>
                </a:cubicBezTo>
                <a:cubicBezTo>
                  <a:pt x="1783696" y="2427376"/>
                  <a:pt x="1784096" y="2425513"/>
                  <a:pt x="1784096" y="2423515"/>
                </a:cubicBezTo>
                <a:cubicBezTo>
                  <a:pt x="1784096" y="2421652"/>
                  <a:pt x="1783696" y="2419922"/>
                  <a:pt x="1783031" y="2418324"/>
                </a:cubicBezTo>
                <a:cubicBezTo>
                  <a:pt x="1782365" y="2416594"/>
                  <a:pt x="1781433" y="2415263"/>
                  <a:pt x="1780368" y="2414065"/>
                </a:cubicBezTo>
                <a:cubicBezTo>
                  <a:pt x="1779303" y="2412999"/>
                  <a:pt x="1777972" y="2412067"/>
                  <a:pt x="1776375" y="2411402"/>
                </a:cubicBezTo>
                <a:cubicBezTo>
                  <a:pt x="1774910" y="2410737"/>
                  <a:pt x="1773313" y="2410471"/>
                  <a:pt x="1771316" y="2410471"/>
                </a:cubicBezTo>
                <a:close/>
                <a:moveTo>
                  <a:pt x="1553674" y="2410471"/>
                </a:moveTo>
                <a:cubicBezTo>
                  <a:pt x="1547817" y="2410471"/>
                  <a:pt x="1545288" y="2412467"/>
                  <a:pt x="1543691" y="2414065"/>
                </a:cubicBezTo>
                <a:cubicBezTo>
                  <a:pt x="1541161" y="2416727"/>
                  <a:pt x="1540097" y="2419522"/>
                  <a:pt x="1540097" y="2423515"/>
                </a:cubicBezTo>
                <a:cubicBezTo>
                  <a:pt x="1540097" y="2427642"/>
                  <a:pt x="1541161" y="2430438"/>
                  <a:pt x="1543691" y="2432967"/>
                </a:cubicBezTo>
                <a:cubicBezTo>
                  <a:pt x="1545288" y="2434565"/>
                  <a:pt x="1547817" y="2436428"/>
                  <a:pt x="1553674" y="2436428"/>
                </a:cubicBezTo>
                <a:cubicBezTo>
                  <a:pt x="1555671" y="2436428"/>
                  <a:pt x="1557535" y="2436162"/>
                  <a:pt x="1558999" y="2435496"/>
                </a:cubicBezTo>
                <a:cubicBezTo>
                  <a:pt x="1560463" y="2434965"/>
                  <a:pt x="1561795" y="2434165"/>
                  <a:pt x="1562726" y="2433101"/>
                </a:cubicBezTo>
                <a:cubicBezTo>
                  <a:pt x="1563791" y="2432035"/>
                  <a:pt x="1564723" y="2430704"/>
                  <a:pt x="1565389" y="2428974"/>
                </a:cubicBezTo>
                <a:cubicBezTo>
                  <a:pt x="1566054" y="2427376"/>
                  <a:pt x="1566454" y="2425513"/>
                  <a:pt x="1566454" y="2423515"/>
                </a:cubicBezTo>
                <a:cubicBezTo>
                  <a:pt x="1566454" y="2421652"/>
                  <a:pt x="1566054" y="2419922"/>
                  <a:pt x="1565389" y="2418324"/>
                </a:cubicBezTo>
                <a:cubicBezTo>
                  <a:pt x="1564723" y="2416594"/>
                  <a:pt x="1563791" y="2415263"/>
                  <a:pt x="1562726" y="2414065"/>
                </a:cubicBezTo>
                <a:cubicBezTo>
                  <a:pt x="1561661" y="2412999"/>
                  <a:pt x="1560331" y="2412067"/>
                  <a:pt x="1558733" y="2411402"/>
                </a:cubicBezTo>
                <a:cubicBezTo>
                  <a:pt x="1557269" y="2410737"/>
                  <a:pt x="1555671" y="2410471"/>
                  <a:pt x="1553674" y="2410471"/>
                </a:cubicBezTo>
                <a:close/>
                <a:moveTo>
                  <a:pt x="1336029" y="2410471"/>
                </a:moveTo>
                <a:cubicBezTo>
                  <a:pt x="1330172" y="2410471"/>
                  <a:pt x="1327643" y="2412467"/>
                  <a:pt x="1326047" y="2414065"/>
                </a:cubicBezTo>
                <a:cubicBezTo>
                  <a:pt x="1323516" y="2416727"/>
                  <a:pt x="1322452" y="2419522"/>
                  <a:pt x="1322452" y="2423515"/>
                </a:cubicBezTo>
                <a:cubicBezTo>
                  <a:pt x="1322452" y="2427642"/>
                  <a:pt x="1323516" y="2430438"/>
                  <a:pt x="1326047" y="2432967"/>
                </a:cubicBezTo>
                <a:cubicBezTo>
                  <a:pt x="1327643" y="2434565"/>
                  <a:pt x="1330172" y="2436428"/>
                  <a:pt x="1336029" y="2436428"/>
                </a:cubicBezTo>
                <a:cubicBezTo>
                  <a:pt x="1338160" y="2436428"/>
                  <a:pt x="1339890" y="2436162"/>
                  <a:pt x="1341356" y="2435496"/>
                </a:cubicBezTo>
                <a:cubicBezTo>
                  <a:pt x="1342820" y="2434965"/>
                  <a:pt x="1344151" y="2434165"/>
                  <a:pt x="1345083" y="2433101"/>
                </a:cubicBezTo>
                <a:cubicBezTo>
                  <a:pt x="1346147" y="2432035"/>
                  <a:pt x="1347080" y="2430704"/>
                  <a:pt x="1347746" y="2428974"/>
                </a:cubicBezTo>
                <a:cubicBezTo>
                  <a:pt x="1348411" y="2427376"/>
                  <a:pt x="1348811" y="2425513"/>
                  <a:pt x="1348811" y="2423515"/>
                </a:cubicBezTo>
                <a:cubicBezTo>
                  <a:pt x="1348811" y="2421652"/>
                  <a:pt x="1348411" y="2419922"/>
                  <a:pt x="1347746" y="2418324"/>
                </a:cubicBezTo>
                <a:cubicBezTo>
                  <a:pt x="1347080" y="2416594"/>
                  <a:pt x="1346147" y="2415263"/>
                  <a:pt x="1345083" y="2414065"/>
                </a:cubicBezTo>
                <a:cubicBezTo>
                  <a:pt x="1344018" y="2412999"/>
                  <a:pt x="1342687" y="2412067"/>
                  <a:pt x="1341089" y="2411402"/>
                </a:cubicBezTo>
                <a:cubicBezTo>
                  <a:pt x="1339625" y="2410737"/>
                  <a:pt x="1338026" y="2410471"/>
                  <a:pt x="1336029" y="2410471"/>
                </a:cubicBezTo>
                <a:close/>
                <a:moveTo>
                  <a:pt x="1118518" y="2410471"/>
                </a:moveTo>
                <a:cubicBezTo>
                  <a:pt x="1112660" y="2410471"/>
                  <a:pt x="1110131" y="2412467"/>
                  <a:pt x="1108534" y="2414065"/>
                </a:cubicBezTo>
                <a:cubicBezTo>
                  <a:pt x="1105871" y="2416727"/>
                  <a:pt x="1104807" y="2419522"/>
                  <a:pt x="1104807" y="2423515"/>
                </a:cubicBezTo>
                <a:cubicBezTo>
                  <a:pt x="1104807" y="2427642"/>
                  <a:pt x="1105871" y="2430438"/>
                  <a:pt x="1108401" y="2432967"/>
                </a:cubicBezTo>
                <a:cubicBezTo>
                  <a:pt x="1109998" y="2434565"/>
                  <a:pt x="1112527" y="2436428"/>
                  <a:pt x="1118385" y="2436428"/>
                </a:cubicBezTo>
                <a:cubicBezTo>
                  <a:pt x="1120515" y="2436428"/>
                  <a:pt x="1122246" y="2436162"/>
                  <a:pt x="1123842" y="2435496"/>
                </a:cubicBezTo>
                <a:cubicBezTo>
                  <a:pt x="1125307" y="2434965"/>
                  <a:pt x="1126641" y="2434165"/>
                  <a:pt x="1127570" y="2433101"/>
                </a:cubicBezTo>
                <a:cubicBezTo>
                  <a:pt x="1128635" y="2432035"/>
                  <a:pt x="1129568" y="2430704"/>
                  <a:pt x="1130234" y="2428974"/>
                </a:cubicBezTo>
                <a:cubicBezTo>
                  <a:pt x="1130898" y="2427376"/>
                  <a:pt x="1131299" y="2425513"/>
                  <a:pt x="1131299" y="2423515"/>
                </a:cubicBezTo>
                <a:cubicBezTo>
                  <a:pt x="1131299" y="2421652"/>
                  <a:pt x="1130898" y="2419922"/>
                  <a:pt x="1130234" y="2418324"/>
                </a:cubicBezTo>
                <a:cubicBezTo>
                  <a:pt x="1129568" y="2416594"/>
                  <a:pt x="1128635" y="2415263"/>
                  <a:pt x="1127570" y="2414065"/>
                </a:cubicBezTo>
                <a:cubicBezTo>
                  <a:pt x="1126506" y="2412999"/>
                  <a:pt x="1125175" y="2412067"/>
                  <a:pt x="1123577" y="2411402"/>
                </a:cubicBezTo>
                <a:cubicBezTo>
                  <a:pt x="1122113" y="2410737"/>
                  <a:pt x="1120515" y="2410471"/>
                  <a:pt x="1118518" y="2410471"/>
                </a:cubicBezTo>
                <a:close/>
                <a:moveTo>
                  <a:pt x="901007" y="2410471"/>
                </a:moveTo>
                <a:cubicBezTo>
                  <a:pt x="895148" y="2410471"/>
                  <a:pt x="892619" y="2412467"/>
                  <a:pt x="891022" y="2414065"/>
                </a:cubicBezTo>
                <a:cubicBezTo>
                  <a:pt x="888359" y="2416727"/>
                  <a:pt x="887295" y="2419522"/>
                  <a:pt x="887295" y="2423515"/>
                </a:cubicBezTo>
                <a:cubicBezTo>
                  <a:pt x="887295" y="2427642"/>
                  <a:pt x="888359" y="2430438"/>
                  <a:pt x="890889" y="2432967"/>
                </a:cubicBezTo>
                <a:cubicBezTo>
                  <a:pt x="892487" y="2434565"/>
                  <a:pt x="895015" y="2436428"/>
                  <a:pt x="900873" y="2436428"/>
                </a:cubicBezTo>
                <a:cubicBezTo>
                  <a:pt x="902869" y="2436428"/>
                  <a:pt x="904600" y="2436162"/>
                  <a:pt x="906331" y="2435496"/>
                </a:cubicBezTo>
                <a:cubicBezTo>
                  <a:pt x="907795" y="2434965"/>
                  <a:pt x="909127" y="2434165"/>
                  <a:pt x="910059" y="2433101"/>
                </a:cubicBezTo>
                <a:cubicBezTo>
                  <a:pt x="911123" y="2432035"/>
                  <a:pt x="912055" y="2430704"/>
                  <a:pt x="912721" y="2428974"/>
                </a:cubicBezTo>
                <a:cubicBezTo>
                  <a:pt x="913386" y="2427376"/>
                  <a:pt x="913786" y="2425513"/>
                  <a:pt x="913786" y="2423515"/>
                </a:cubicBezTo>
                <a:cubicBezTo>
                  <a:pt x="913786" y="2421652"/>
                  <a:pt x="913386" y="2419922"/>
                  <a:pt x="912721" y="2418324"/>
                </a:cubicBezTo>
                <a:cubicBezTo>
                  <a:pt x="912055" y="2416594"/>
                  <a:pt x="911123" y="2415263"/>
                  <a:pt x="910059" y="2414065"/>
                </a:cubicBezTo>
                <a:cubicBezTo>
                  <a:pt x="908994" y="2412999"/>
                  <a:pt x="907662" y="2412067"/>
                  <a:pt x="906065" y="2411402"/>
                </a:cubicBezTo>
                <a:cubicBezTo>
                  <a:pt x="904600" y="2410737"/>
                  <a:pt x="903002" y="2410471"/>
                  <a:pt x="901007" y="2410471"/>
                </a:cubicBezTo>
                <a:close/>
                <a:moveTo>
                  <a:pt x="683230" y="2410471"/>
                </a:moveTo>
                <a:cubicBezTo>
                  <a:pt x="677373" y="2410471"/>
                  <a:pt x="674844" y="2412467"/>
                  <a:pt x="673247" y="2414065"/>
                </a:cubicBezTo>
                <a:cubicBezTo>
                  <a:pt x="670716" y="2416727"/>
                  <a:pt x="669653" y="2419522"/>
                  <a:pt x="669653" y="2423515"/>
                </a:cubicBezTo>
                <a:cubicBezTo>
                  <a:pt x="669653" y="2427642"/>
                  <a:pt x="670716" y="2430438"/>
                  <a:pt x="673247" y="2432967"/>
                </a:cubicBezTo>
                <a:cubicBezTo>
                  <a:pt x="674844" y="2434565"/>
                  <a:pt x="677373" y="2436428"/>
                  <a:pt x="683230" y="2436428"/>
                </a:cubicBezTo>
                <a:cubicBezTo>
                  <a:pt x="685227" y="2436428"/>
                  <a:pt x="687091" y="2436162"/>
                  <a:pt x="688555" y="2435496"/>
                </a:cubicBezTo>
                <a:cubicBezTo>
                  <a:pt x="690019" y="2434965"/>
                  <a:pt x="691351" y="2434165"/>
                  <a:pt x="692282" y="2433101"/>
                </a:cubicBezTo>
                <a:cubicBezTo>
                  <a:pt x="693347" y="2432035"/>
                  <a:pt x="694279" y="2430704"/>
                  <a:pt x="694945" y="2428974"/>
                </a:cubicBezTo>
                <a:cubicBezTo>
                  <a:pt x="695610" y="2427376"/>
                  <a:pt x="696010" y="2425513"/>
                  <a:pt x="696010" y="2423515"/>
                </a:cubicBezTo>
                <a:cubicBezTo>
                  <a:pt x="696010" y="2421652"/>
                  <a:pt x="695610" y="2419922"/>
                  <a:pt x="694945" y="2418324"/>
                </a:cubicBezTo>
                <a:cubicBezTo>
                  <a:pt x="694279" y="2416594"/>
                  <a:pt x="693347" y="2415263"/>
                  <a:pt x="692282" y="2414065"/>
                </a:cubicBezTo>
                <a:cubicBezTo>
                  <a:pt x="691217" y="2412999"/>
                  <a:pt x="689886" y="2412067"/>
                  <a:pt x="688289" y="2411402"/>
                </a:cubicBezTo>
                <a:cubicBezTo>
                  <a:pt x="686825" y="2410737"/>
                  <a:pt x="685227" y="2410471"/>
                  <a:pt x="683230" y="2410471"/>
                </a:cubicBezTo>
                <a:close/>
                <a:moveTo>
                  <a:pt x="465586" y="2410471"/>
                </a:moveTo>
                <a:cubicBezTo>
                  <a:pt x="459729" y="2410471"/>
                  <a:pt x="457200" y="2412467"/>
                  <a:pt x="455603" y="2414065"/>
                </a:cubicBezTo>
                <a:cubicBezTo>
                  <a:pt x="453073" y="2416727"/>
                  <a:pt x="452009" y="2419522"/>
                  <a:pt x="452009" y="2423515"/>
                </a:cubicBezTo>
                <a:cubicBezTo>
                  <a:pt x="452009" y="2427642"/>
                  <a:pt x="453073" y="2430438"/>
                  <a:pt x="455603" y="2432967"/>
                </a:cubicBezTo>
                <a:cubicBezTo>
                  <a:pt x="457200" y="2434565"/>
                  <a:pt x="459729" y="2436428"/>
                  <a:pt x="465586" y="2436428"/>
                </a:cubicBezTo>
                <a:cubicBezTo>
                  <a:pt x="467584" y="2436428"/>
                  <a:pt x="469448" y="2436162"/>
                  <a:pt x="470912" y="2435496"/>
                </a:cubicBezTo>
                <a:cubicBezTo>
                  <a:pt x="472376" y="2434965"/>
                  <a:pt x="473707" y="2434165"/>
                  <a:pt x="474639" y="2433101"/>
                </a:cubicBezTo>
                <a:cubicBezTo>
                  <a:pt x="475703" y="2432035"/>
                  <a:pt x="476636" y="2430704"/>
                  <a:pt x="477302" y="2428974"/>
                </a:cubicBezTo>
                <a:cubicBezTo>
                  <a:pt x="477967" y="2427376"/>
                  <a:pt x="478367" y="2425513"/>
                  <a:pt x="478367" y="2423515"/>
                </a:cubicBezTo>
                <a:cubicBezTo>
                  <a:pt x="478367" y="2421652"/>
                  <a:pt x="477967" y="2419922"/>
                  <a:pt x="477302" y="2418324"/>
                </a:cubicBezTo>
                <a:cubicBezTo>
                  <a:pt x="476636" y="2416594"/>
                  <a:pt x="475703" y="2415263"/>
                  <a:pt x="474639" y="2414065"/>
                </a:cubicBezTo>
                <a:cubicBezTo>
                  <a:pt x="473574" y="2412999"/>
                  <a:pt x="472243" y="2412067"/>
                  <a:pt x="470646" y="2411402"/>
                </a:cubicBezTo>
                <a:cubicBezTo>
                  <a:pt x="469181" y="2410737"/>
                  <a:pt x="467584" y="2410471"/>
                  <a:pt x="465586" y="2410471"/>
                </a:cubicBezTo>
                <a:close/>
                <a:moveTo>
                  <a:pt x="247943" y="2410471"/>
                </a:moveTo>
                <a:cubicBezTo>
                  <a:pt x="242086" y="2410471"/>
                  <a:pt x="239557" y="2412467"/>
                  <a:pt x="237960" y="2414065"/>
                </a:cubicBezTo>
                <a:cubicBezTo>
                  <a:pt x="235430" y="2416727"/>
                  <a:pt x="234367" y="2419522"/>
                  <a:pt x="234367" y="2423515"/>
                </a:cubicBezTo>
                <a:cubicBezTo>
                  <a:pt x="234367" y="2427642"/>
                  <a:pt x="235430" y="2430438"/>
                  <a:pt x="237960" y="2432967"/>
                </a:cubicBezTo>
                <a:cubicBezTo>
                  <a:pt x="239557" y="2434565"/>
                  <a:pt x="242086" y="2436428"/>
                  <a:pt x="247943" y="2436428"/>
                </a:cubicBezTo>
                <a:cubicBezTo>
                  <a:pt x="250073" y="2436428"/>
                  <a:pt x="251804" y="2436162"/>
                  <a:pt x="253268" y="2435496"/>
                </a:cubicBezTo>
                <a:cubicBezTo>
                  <a:pt x="254732" y="2434965"/>
                  <a:pt x="256063" y="2434165"/>
                  <a:pt x="256995" y="2433101"/>
                </a:cubicBezTo>
                <a:cubicBezTo>
                  <a:pt x="258060" y="2432035"/>
                  <a:pt x="258992" y="2430704"/>
                  <a:pt x="259658" y="2428974"/>
                </a:cubicBezTo>
                <a:cubicBezTo>
                  <a:pt x="260323" y="2427376"/>
                  <a:pt x="260723" y="2425513"/>
                  <a:pt x="260723" y="2423515"/>
                </a:cubicBezTo>
                <a:cubicBezTo>
                  <a:pt x="260723" y="2421652"/>
                  <a:pt x="260323" y="2419922"/>
                  <a:pt x="259658" y="2418324"/>
                </a:cubicBezTo>
                <a:cubicBezTo>
                  <a:pt x="258992" y="2416594"/>
                  <a:pt x="258060" y="2415263"/>
                  <a:pt x="256995" y="2414065"/>
                </a:cubicBezTo>
                <a:cubicBezTo>
                  <a:pt x="255930" y="2412999"/>
                  <a:pt x="254599" y="2412067"/>
                  <a:pt x="253002" y="2411402"/>
                </a:cubicBezTo>
                <a:cubicBezTo>
                  <a:pt x="251537" y="2410737"/>
                  <a:pt x="249940" y="2410471"/>
                  <a:pt x="247943" y="2410471"/>
                </a:cubicBezTo>
                <a:close/>
                <a:moveTo>
                  <a:pt x="30300" y="2410471"/>
                </a:moveTo>
                <a:cubicBezTo>
                  <a:pt x="24443" y="2410471"/>
                  <a:pt x="21914" y="2412467"/>
                  <a:pt x="20317" y="2414065"/>
                </a:cubicBezTo>
                <a:cubicBezTo>
                  <a:pt x="17787" y="2416727"/>
                  <a:pt x="16723" y="2419522"/>
                  <a:pt x="16723" y="2423515"/>
                </a:cubicBezTo>
                <a:cubicBezTo>
                  <a:pt x="16723" y="2427642"/>
                  <a:pt x="17787" y="2430438"/>
                  <a:pt x="20317" y="2432967"/>
                </a:cubicBezTo>
                <a:cubicBezTo>
                  <a:pt x="21914" y="2434565"/>
                  <a:pt x="24443" y="2436428"/>
                  <a:pt x="30300" y="2436428"/>
                </a:cubicBezTo>
                <a:cubicBezTo>
                  <a:pt x="32430" y="2436428"/>
                  <a:pt x="34161" y="2436162"/>
                  <a:pt x="35625" y="2435496"/>
                </a:cubicBezTo>
                <a:cubicBezTo>
                  <a:pt x="37089" y="2434965"/>
                  <a:pt x="38421" y="2434165"/>
                  <a:pt x="39352" y="2433101"/>
                </a:cubicBezTo>
                <a:cubicBezTo>
                  <a:pt x="40417" y="2432035"/>
                  <a:pt x="41349" y="2430704"/>
                  <a:pt x="42015" y="2428974"/>
                </a:cubicBezTo>
                <a:cubicBezTo>
                  <a:pt x="42680" y="2427376"/>
                  <a:pt x="42946" y="2425513"/>
                  <a:pt x="42946" y="2423515"/>
                </a:cubicBezTo>
                <a:cubicBezTo>
                  <a:pt x="42946" y="2421652"/>
                  <a:pt x="42680" y="2419922"/>
                  <a:pt x="42015" y="2418324"/>
                </a:cubicBezTo>
                <a:cubicBezTo>
                  <a:pt x="41349" y="2416594"/>
                  <a:pt x="40417" y="2415263"/>
                  <a:pt x="39352" y="2414065"/>
                </a:cubicBezTo>
                <a:cubicBezTo>
                  <a:pt x="38287" y="2412999"/>
                  <a:pt x="36956" y="2412067"/>
                  <a:pt x="35359" y="2411402"/>
                </a:cubicBezTo>
                <a:cubicBezTo>
                  <a:pt x="33895" y="2410737"/>
                  <a:pt x="32297" y="2410471"/>
                  <a:pt x="30300" y="2410471"/>
                </a:cubicBezTo>
                <a:close/>
                <a:moveTo>
                  <a:pt x="10475977" y="2393830"/>
                </a:moveTo>
                <a:cubicBezTo>
                  <a:pt x="10480237" y="2393830"/>
                  <a:pt x="10484230" y="2394630"/>
                  <a:pt x="10487824" y="2396493"/>
                </a:cubicBezTo>
                <a:cubicBezTo>
                  <a:pt x="10491419" y="2398090"/>
                  <a:pt x="10494613" y="2400220"/>
                  <a:pt x="10497143" y="2402882"/>
                </a:cubicBezTo>
                <a:cubicBezTo>
                  <a:pt x="10499672" y="2405412"/>
                  <a:pt x="10501801" y="2408607"/>
                  <a:pt x="10503266" y="2412201"/>
                </a:cubicBezTo>
                <a:cubicBezTo>
                  <a:pt x="10504730" y="2415795"/>
                  <a:pt x="10505529" y="2419522"/>
                  <a:pt x="10505529" y="2423650"/>
                </a:cubicBezTo>
                <a:cubicBezTo>
                  <a:pt x="10505529" y="2427776"/>
                  <a:pt x="10504730" y="2431769"/>
                  <a:pt x="10503266" y="2435363"/>
                </a:cubicBezTo>
                <a:cubicBezTo>
                  <a:pt x="10501669" y="2438958"/>
                  <a:pt x="10499672" y="2442019"/>
                  <a:pt x="10497143" y="2444681"/>
                </a:cubicBezTo>
                <a:cubicBezTo>
                  <a:pt x="10494480" y="2447344"/>
                  <a:pt x="10491419" y="2449474"/>
                  <a:pt x="10487824" y="2450938"/>
                </a:cubicBezTo>
                <a:cubicBezTo>
                  <a:pt x="10484098" y="2452402"/>
                  <a:pt x="10480237" y="2453201"/>
                  <a:pt x="10475977" y="2453201"/>
                </a:cubicBezTo>
                <a:cubicBezTo>
                  <a:pt x="10466924" y="2453201"/>
                  <a:pt x="10459736" y="2450273"/>
                  <a:pt x="10454145" y="2444681"/>
                </a:cubicBezTo>
                <a:cubicBezTo>
                  <a:pt x="10448554" y="2439090"/>
                  <a:pt x="10445759" y="2432035"/>
                  <a:pt x="10445759" y="2423515"/>
                </a:cubicBezTo>
                <a:cubicBezTo>
                  <a:pt x="10445759" y="2415263"/>
                  <a:pt x="10448554" y="2408208"/>
                  <a:pt x="10454145" y="2402482"/>
                </a:cubicBezTo>
                <a:cubicBezTo>
                  <a:pt x="10459603" y="2396625"/>
                  <a:pt x="10466924" y="2393830"/>
                  <a:pt x="10475977" y="2393830"/>
                </a:cubicBezTo>
                <a:close/>
                <a:moveTo>
                  <a:pt x="10258466" y="2393830"/>
                </a:moveTo>
                <a:cubicBezTo>
                  <a:pt x="10262592" y="2393830"/>
                  <a:pt x="10266586" y="2394630"/>
                  <a:pt x="10270313" y="2396493"/>
                </a:cubicBezTo>
                <a:cubicBezTo>
                  <a:pt x="10273907" y="2398090"/>
                  <a:pt x="10277101" y="2400220"/>
                  <a:pt x="10279631" y="2402882"/>
                </a:cubicBezTo>
                <a:cubicBezTo>
                  <a:pt x="10282160" y="2405412"/>
                  <a:pt x="10284290" y="2408607"/>
                  <a:pt x="10285754" y="2412201"/>
                </a:cubicBezTo>
                <a:cubicBezTo>
                  <a:pt x="10287218" y="2415795"/>
                  <a:pt x="10288017" y="2419522"/>
                  <a:pt x="10288017" y="2423650"/>
                </a:cubicBezTo>
                <a:cubicBezTo>
                  <a:pt x="10288017" y="2427776"/>
                  <a:pt x="10287218" y="2431769"/>
                  <a:pt x="10285754" y="2435363"/>
                </a:cubicBezTo>
                <a:cubicBezTo>
                  <a:pt x="10284157" y="2438958"/>
                  <a:pt x="10282160" y="2442019"/>
                  <a:pt x="10279631" y="2444681"/>
                </a:cubicBezTo>
                <a:cubicBezTo>
                  <a:pt x="10276969" y="2447344"/>
                  <a:pt x="10273907" y="2449474"/>
                  <a:pt x="10270313" y="2450938"/>
                </a:cubicBezTo>
                <a:cubicBezTo>
                  <a:pt x="10266586" y="2452402"/>
                  <a:pt x="10262725" y="2453201"/>
                  <a:pt x="10258466" y="2453201"/>
                </a:cubicBezTo>
                <a:cubicBezTo>
                  <a:pt x="10249546" y="2453201"/>
                  <a:pt x="10242224" y="2450273"/>
                  <a:pt x="10236633" y="2444681"/>
                </a:cubicBezTo>
                <a:cubicBezTo>
                  <a:pt x="10231043" y="2439090"/>
                  <a:pt x="10228247" y="2432035"/>
                  <a:pt x="10228247" y="2423515"/>
                </a:cubicBezTo>
                <a:cubicBezTo>
                  <a:pt x="10228247" y="2415263"/>
                  <a:pt x="10231043" y="2408208"/>
                  <a:pt x="10236633" y="2402482"/>
                </a:cubicBezTo>
                <a:cubicBezTo>
                  <a:pt x="10242092" y="2396625"/>
                  <a:pt x="10249413" y="2393830"/>
                  <a:pt x="10258466" y="2393830"/>
                </a:cubicBezTo>
                <a:close/>
                <a:moveTo>
                  <a:pt x="10040820" y="2393830"/>
                </a:moveTo>
                <a:cubicBezTo>
                  <a:pt x="10045080" y="2393830"/>
                  <a:pt x="10048941" y="2394630"/>
                  <a:pt x="10052534" y="2396493"/>
                </a:cubicBezTo>
                <a:cubicBezTo>
                  <a:pt x="10056129" y="2398090"/>
                  <a:pt x="10059323" y="2400220"/>
                  <a:pt x="10061852" y="2402882"/>
                </a:cubicBezTo>
                <a:cubicBezTo>
                  <a:pt x="10064382" y="2405412"/>
                  <a:pt x="10066512" y="2408607"/>
                  <a:pt x="10067976" y="2412201"/>
                </a:cubicBezTo>
                <a:cubicBezTo>
                  <a:pt x="10069440" y="2415795"/>
                  <a:pt x="10070239" y="2419522"/>
                  <a:pt x="10070239" y="2423650"/>
                </a:cubicBezTo>
                <a:cubicBezTo>
                  <a:pt x="10070239" y="2427776"/>
                  <a:pt x="10069440" y="2431769"/>
                  <a:pt x="10067976" y="2435363"/>
                </a:cubicBezTo>
                <a:cubicBezTo>
                  <a:pt x="10066379" y="2438958"/>
                  <a:pt x="10064382" y="2442019"/>
                  <a:pt x="10061852" y="2444681"/>
                </a:cubicBezTo>
                <a:cubicBezTo>
                  <a:pt x="10059190" y="2447344"/>
                  <a:pt x="10056129" y="2449474"/>
                  <a:pt x="10052534" y="2450938"/>
                </a:cubicBezTo>
                <a:cubicBezTo>
                  <a:pt x="10048941" y="2452402"/>
                  <a:pt x="10045080" y="2453201"/>
                  <a:pt x="10040820" y="2453201"/>
                </a:cubicBezTo>
                <a:cubicBezTo>
                  <a:pt x="10031767" y="2453201"/>
                  <a:pt x="10024579" y="2450273"/>
                  <a:pt x="10018988" y="2444681"/>
                </a:cubicBezTo>
                <a:cubicBezTo>
                  <a:pt x="10013397" y="2439090"/>
                  <a:pt x="10010602" y="2432035"/>
                  <a:pt x="10010602" y="2423515"/>
                </a:cubicBezTo>
                <a:cubicBezTo>
                  <a:pt x="10010602" y="2415263"/>
                  <a:pt x="10013397" y="2408208"/>
                  <a:pt x="10018988" y="2402482"/>
                </a:cubicBezTo>
                <a:cubicBezTo>
                  <a:pt x="10024579" y="2396625"/>
                  <a:pt x="10031767" y="2393830"/>
                  <a:pt x="10040820" y="2393830"/>
                </a:cubicBezTo>
                <a:close/>
                <a:moveTo>
                  <a:pt x="9823176" y="2393830"/>
                </a:moveTo>
                <a:cubicBezTo>
                  <a:pt x="9827435" y="2393830"/>
                  <a:pt x="9831296" y="2394630"/>
                  <a:pt x="9834890" y="2396493"/>
                </a:cubicBezTo>
                <a:cubicBezTo>
                  <a:pt x="9838617" y="2398090"/>
                  <a:pt x="9841679" y="2400220"/>
                  <a:pt x="9844208" y="2402882"/>
                </a:cubicBezTo>
                <a:cubicBezTo>
                  <a:pt x="9846737" y="2405412"/>
                  <a:pt x="9848867" y="2408607"/>
                  <a:pt x="9850331" y="2412201"/>
                </a:cubicBezTo>
                <a:cubicBezTo>
                  <a:pt x="9851796" y="2415795"/>
                  <a:pt x="9852595" y="2419522"/>
                  <a:pt x="9852595" y="2423650"/>
                </a:cubicBezTo>
                <a:cubicBezTo>
                  <a:pt x="9852595" y="2427776"/>
                  <a:pt x="9851796" y="2431769"/>
                  <a:pt x="9850331" y="2435363"/>
                </a:cubicBezTo>
                <a:cubicBezTo>
                  <a:pt x="9848734" y="2438958"/>
                  <a:pt x="9846737" y="2442019"/>
                  <a:pt x="9844208" y="2444681"/>
                </a:cubicBezTo>
                <a:cubicBezTo>
                  <a:pt x="9841546" y="2447344"/>
                  <a:pt x="9838484" y="2449474"/>
                  <a:pt x="9834890" y="2450938"/>
                </a:cubicBezTo>
                <a:cubicBezTo>
                  <a:pt x="9831296" y="2452402"/>
                  <a:pt x="9827435" y="2453201"/>
                  <a:pt x="9823176" y="2453201"/>
                </a:cubicBezTo>
                <a:cubicBezTo>
                  <a:pt x="9814123" y="2453201"/>
                  <a:pt x="9806935" y="2450273"/>
                  <a:pt x="9801343" y="2444681"/>
                </a:cubicBezTo>
                <a:cubicBezTo>
                  <a:pt x="9795753" y="2439090"/>
                  <a:pt x="9792957" y="2432035"/>
                  <a:pt x="9792957" y="2423515"/>
                </a:cubicBezTo>
                <a:cubicBezTo>
                  <a:pt x="9792957" y="2415263"/>
                  <a:pt x="9795753" y="2408208"/>
                  <a:pt x="9801343" y="2402482"/>
                </a:cubicBezTo>
                <a:cubicBezTo>
                  <a:pt x="9806935" y="2396625"/>
                  <a:pt x="9814123" y="2393830"/>
                  <a:pt x="9823176" y="2393830"/>
                </a:cubicBezTo>
                <a:close/>
                <a:moveTo>
                  <a:pt x="9605531" y="2393830"/>
                </a:moveTo>
                <a:cubicBezTo>
                  <a:pt x="9609790" y="2393830"/>
                  <a:pt x="9613784" y="2394630"/>
                  <a:pt x="9617245" y="2396493"/>
                </a:cubicBezTo>
                <a:cubicBezTo>
                  <a:pt x="9620839" y="2398090"/>
                  <a:pt x="9624033" y="2400220"/>
                  <a:pt x="9626562" y="2402882"/>
                </a:cubicBezTo>
                <a:cubicBezTo>
                  <a:pt x="9629092" y="2405412"/>
                  <a:pt x="9631222" y="2408607"/>
                  <a:pt x="9632686" y="2412201"/>
                </a:cubicBezTo>
                <a:cubicBezTo>
                  <a:pt x="9634150" y="2415795"/>
                  <a:pt x="9634949" y="2419522"/>
                  <a:pt x="9634949" y="2423650"/>
                </a:cubicBezTo>
                <a:cubicBezTo>
                  <a:pt x="9634949" y="2427776"/>
                  <a:pt x="9634150" y="2431769"/>
                  <a:pt x="9632686" y="2435363"/>
                </a:cubicBezTo>
                <a:cubicBezTo>
                  <a:pt x="9631089" y="2438958"/>
                  <a:pt x="9629092" y="2442019"/>
                  <a:pt x="9626562" y="2444681"/>
                </a:cubicBezTo>
                <a:cubicBezTo>
                  <a:pt x="9623901" y="2447344"/>
                  <a:pt x="9620839" y="2449474"/>
                  <a:pt x="9617245" y="2450938"/>
                </a:cubicBezTo>
                <a:cubicBezTo>
                  <a:pt x="9613651" y="2452402"/>
                  <a:pt x="9609790" y="2453201"/>
                  <a:pt x="9605531" y="2453201"/>
                </a:cubicBezTo>
                <a:cubicBezTo>
                  <a:pt x="9596610" y="2453201"/>
                  <a:pt x="9589289" y="2450273"/>
                  <a:pt x="9583698" y="2444681"/>
                </a:cubicBezTo>
                <a:cubicBezTo>
                  <a:pt x="9578108" y="2439090"/>
                  <a:pt x="9575312" y="2432035"/>
                  <a:pt x="9575312" y="2423515"/>
                </a:cubicBezTo>
                <a:cubicBezTo>
                  <a:pt x="9575312" y="2415263"/>
                  <a:pt x="9578108" y="2408208"/>
                  <a:pt x="9583698" y="2402482"/>
                </a:cubicBezTo>
                <a:cubicBezTo>
                  <a:pt x="9589289" y="2396625"/>
                  <a:pt x="9596478" y="2393830"/>
                  <a:pt x="9605531" y="2393830"/>
                </a:cubicBezTo>
                <a:close/>
                <a:moveTo>
                  <a:pt x="9387885" y="2393830"/>
                </a:moveTo>
                <a:cubicBezTo>
                  <a:pt x="9392145" y="2393830"/>
                  <a:pt x="9396138" y="2394630"/>
                  <a:pt x="9399599" y="2396493"/>
                </a:cubicBezTo>
                <a:cubicBezTo>
                  <a:pt x="9403194" y="2398090"/>
                  <a:pt x="9406388" y="2400220"/>
                  <a:pt x="9408917" y="2402882"/>
                </a:cubicBezTo>
                <a:cubicBezTo>
                  <a:pt x="9411447" y="2405412"/>
                  <a:pt x="9413576" y="2408607"/>
                  <a:pt x="9415041" y="2412201"/>
                </a:cubicBezTo>
                <a:cubicBezTo>
                  <a:pt x="9416505" y="2415795"/>
                  <a:pt x="9417304" y="2419522"/>
                  <a:pt x="9417304" y="2423650"/>
                </a:cubicBezTo>
                <a:cubicBezTo>
                  <a:pt x="9417304" y="2427776"/>
                  <a:pt x="9416505" y="2431769"/>
                  <a:pt x="9415041" y="2435363"/>
                </a:cubicBezTo>
                <a:cubicBezTo>
                  <a:pt x="9413444" y="2438958"/>
                  <a:pt x="9411447" y="2442019"/>
                  <a:pt x="9408917" y="2444681"/>
                </a:cubicBezTo>
                <a:cubicBezTo>
                  <a:pt x="9406255" y="2447344"/>
                  <a:pt x="9403194" y="2449474"/>
                  <a:pt x="9399599" y="2450938"/>
                </a:cubicBezTo>
                <a:cubicBezTo>
                  <a:pt x="9396005" y="2452402"/>
                  <a:pt x="9392145" y="2453201"/>
                  <a:pt x="9387885" y="2453201"/>
                </a:cubicBezTo>
                <a:cubicBezTo>
                  <a:pt x="9378965" y="2453201"/>
                  <a:pt x="9371644" y="2450273"/>
                  <a:pt x="9366053" y="2444681"/>
                </a:cubicBezTo>
                <a:cubicBezTo>
                  <a:pt x="9360462" y="2439090"/>
                  <a:pt x="9357667" y="2432035"/>
                  <a:pt x="9357667" y="2423515"/>
                </a:cubicBezTo>
                <a:cubicBezTo>
                  <a:pt x="9357667" y="2415263"/>
                  <a:pt x="9360462" y="2408208"/>
                  <a:pt x="9366053" y="2402482"/>
                </a:cubicBezTo>
                <a:cubicBezTo>
                  <a:pt x="9371644" y="2396625"/>
                  <a:pt x="9378832" y="2393830"/>
                  <a:pt x="9387885" y="2393830"/>
                </a:cubicBezTo>
                <a:close/>
                <a:moveTo>
                  <a:pt x="9170374" y="2393830"/>
                </a:moveTo>
                <a:cubicBezTo>
                  <a:pt x="9174500" y="2393830"/>
                  <a:pt x="9178494" y="2394630"/>
                  <a:pt x="9182088" y="2396493"/>
                </a:cubicBezTo>
                <a:cubicBezTo>
                  <a:pt x="9185682" y="2398090"/>
                  <a:pt x="9188876" y="2400220"/>
                  <a:pt x="9191405" y="2402882"/>
                </a:cubicBezTo>
                <a:cubicBezTo>
                  <a:pt x="9193935" y="2405412"/>
                  <a:pt x="9196065" y="2408607"/>
                  <a:pt x="9197529" y="2412201"/>
                </a:cubicBezTo>
                <a:cubicBezTo>
                  <a:pt x="9198993" y="2415795"/>
                  <a:pt x="9199792" y="2419522"/>
                  <a:pt x="9199792" y="2423650"/>
                </a:cubicBezTo>
                <a:cubicBezTo>
                  <a:pt x="9199792" y="2427776"/>
                  <a:pt x="9198993" y="2431769"/>
                  <a:pt x="9197529" y="2435363"/>
                </a:cubicBezTo>
                <a:cubicBezTo>
                  <a:pt x="9195932" y="2438958"/>
                  <a:pt x="9193935" y="2442019"/>
                  <a:pt x="9191405" y="2444681"/>
                </a:cubicBezTo>
                <a:cubicBezTo>
                  <a:pt x="9188744" y="2447344"/>
                  <a:pt x="9185682" y="2449474"/>
                  <a:pt x="9182088" y="2450938"/>
                </a:cubicBezTo>
                <a:cubicBezTo>
                  <a:pt x="9178494" y="2452402"/>
                  <a:pt x="9174633" y="2453201"/>
                  <a:pt x="9170374" y="2453201"/>
                </a:cubicBezTo>
                <a:cubicBezTo>
                  <a:pt x="9161453" y="2453201"/>
                  <a:pt x="9154132" y="2450273"/>
                  <a:pt x="9148541" y="2444681"/>
                </a:cubicBezTo>
                <a:cubicBezTo>
                  <a:pt x="9142951" y="2439090"/>
                  <a:pt x="9140155" y="2432035"/>
                  <a:pt x="9140155" y="2423515"/>
                </a:cubicBezTo>
                <a:cubicBezTo>
                  <a:pt x="9140155" y="2415263"/>
                  <a:pt x="9142951" y="2408208"/>
                  <a:pt x="9148541" y="2402482"/>
                </a:cubicBezTo>
                <a:cubicBezTo>
                  <a:pt x="9154132" y="2396625"/>
                  <a:pt x="9161321" y="2393830"/>
                  <a:pt x="9170374" y="2393830"/>
                </a:cubicBezTo>
                <a:close/>
                <a:moveTo>
                  <a:pt x="8952728" y="2393830"/>
                </a:moveTo>
                <a:cubicBezTo>
                  <a:pt x="8956988" y="2393830"/>
                  <a:pt x="8960849" y="2394630"/>
                  <a:pt x="8964442" y="2396493"/>
                </a:cubicBezTo>
                <a:cubicBezTo>
                  <a:pt x="8968037" y="2398090"/>
                  <a:pt x="8971231" y="2400220"/>
                  <a:pt x="8973760" y="2402882"/>
                </a:cubicBezTo>
                <a:cubicBezTo>
                  <a:pt x="8976290" y="2405412"/>
                  <a:pt x="8978419" y="2408607"/>
                  <a:pt x="8979884" y="2412201"/>
                </a:cubicBezTo>
                <a:cubicBezTo>
                  <a:pt x="8981348" y="2415795"/>
                  <a:pt x="8982147" y="2419522"/>
                  <a:pt x="8982147" y="2423650"/>
                </a:cubicBezTo>
                <a:cubicBezTo>
                  <a:pt x="8982147" y="2427776"/>
                  <a:pt x="8981348" y="2431769"/>
                  <a:pt x="8979884" y="2435363"/>
                </a:cubicBezTo>
                <a:cubicBezTo>
                  <a:pt x="8978287" y="2438958"/>
                  <a:pt x="8976290" y="2442019"/>
                  <a:pt x="8973760" y="2444681"/>
                </a:cubicBezTo>
                <a:cubicBezTo>
                  <a:pt x="8971098" y="2447344"/>
                  <a:pt x="8968037" y="2449474"/>
                  <a:pt x="8964442" y="2450938"/>
                </a:cubicBezTo>
                <a:cubicBezTo>
                  <a:pt x="8960849" y="2452402"/>
                  <a:pt x="8956988" y="2453201"/>
                  <a:pt x="8952728" y="2453201"/>
                </a:cubicBezTo>
                <a:cubicBezTo>
                  <a:pt x="8943808" y="2453201"/>
                  <a:pt x="8936487" y="2450273"/>
                  <a:pt x="8930896" y="2444681"/>
                </a:cubicBezTo>
                <a:cubicBezTo>
                  <a:pt x="8925305" y="2439090"/>
                  <a:pt x="8922510" y="2432035"/>
                  <a:pt x="8922510" y="2423515"/>
                </a:cubicBezTo>
                <a:cubicBezTo>
                  <a:pt x="8922510" y="2415263"/>
                  <a:pt x="8925305" y="2408208"/>
                  <a:pt x="8930896" y="2402482"/>
                </a:cubicBezTo>
                <a:cubicBezTo>
                  <a:pt x="8936487" y="2396625"/>
                  <a:pt x="8943675" y="2393830"/>
                  <a:pt x="8952728" y="2393830"/>
                </a:cubicBezTo>
                <a:close/>
                <a:moveTo>
                  <a:pt x="8735083" y="2393830"/>
                </a:moveTo>
                <a:cubicBezTo>
                  <a:pt x="8739342" y="2393830"/>
                  <a:pt x="8743203" y="2394630"/>
                  <a:pt x="8746797" y="2396493"/>
                </a:cubicBezTo>
                <a:cubicBezTo>
                  <a:pt x="8750391" y="2398090"/>
                  <a:pt x="8753586" y="2400220"/>
                  <a:pt x="8756115" y="2402882"/>
                </a:cubicBezTo>
                <a:cubicBezTo>
                  <a:pt x="8758644" y="2405412"/>
                  <a:pt x="8760774" y="2408607"/>
                  <a:pt x="8762238" y="2412201"/>
                </a:cubicBezTo>
                <a:cubicBezTo>
                  <a:pt x="8763702" y="2415795"/>
                  <a:pt x="8764502" y="2419522"/>
                  <a:pt x="8764502" y="2423650"/>
                </a:cubicBezTo>
                <a:cubicBezTo>
                  <a:pt x="8764502" y="2427776"/>
                  <a:pt x="8763702" y="2431769"/>
                  <a:pt x="8762238" y="2435363"/>
                </a:cubicBezTo>
                <a:cubicBezTo>
                  <a:pt x="8760641" y="2438958"/>
                  <a:pt x="8758644" y="2442019"/>
                  <a:pt x="8756115" y="2444681"/>
                </a:cubicBezTo>
                <a:cubicBezTo>
                  <a:pt x="8753453" y="2447344"/>
                  <a:pt x="8750391" y="2449474"/>
                  <a:pt x="8746797" y="2450938"/>
                </a:cubicBezTo>
                <a:cubicBezTo>
                  <a:pt x="8743203" y="2452402"/>
                  <a:pt x="8739342" y="2453201"/>
                  <a:pt x="8735083" y="2453201"/>
                </a:cubicBezTo>
                <a:cubicBezTo>
                  <a:pt x="8726030" y="2453201"/>
                  <a:pt x="8718841" y="2450273"/>
                  <a:pt x="8713250" y="2444681"/>
                </a:cubicBezTo>
                <a:cubicBezTo>
                  <a:pt x="8707660" y="2439090"/>
                  <a:pt x="8704864" y="2432035"/>
                  <a:pt x="8704864" y="2423515"/>
                </a:cubicBezTo>
                <a:cubicBezTo>
                  <a:pt x="8704864" y="2415263"/>
                  <a:pt x="8707660" y="2408208"/>
                  <a:pt x="8713250" y="2402482"/>
                </a:cubicBezTo>
                <a:cubicBezTo>
                  <a:pt x="8718841" y="2396625"/>
                  <a:pt x="8726030" y="2393830"/>
                  <a:pt x="8735083" y="2393830"/>
                </a:cubicBezTo>
                <a:close/>
                <a:moveTo>
                  <a:pt x="8517438" y="2393830"/>
                </a:moveTo>
                <a:cubicBezTo>
                  <a:pt x="8521698" y="2393830"/>
                  <a:pt x="8525559" y="2394630"/>
                  <a:pt x="8529152" y="2396493"/>
                </a:cubicBezTo>
                <a:cubicBezTo>
                  <a:pt x="8532880" y="2398090"/>
                  <a:pt x="8535941" y="2400220"/>
                  <a:pt x="8538470" y="2402882"/>
                </a:cubicBezTo>
                <a:cubicBezTo>
                  <a:pt x="8541000" y="2405412"/>
                  <a:pt x="8543130" y="2408607"/>
                  <a:pt x="8544594" y="2412201"/>
                </a:cubicBezTo>
                <a:cubicBezTo>
                  <a:pt x="8546058" y="2415795"/>
                  <a:pt x="8546857" y="2419522"/>
                  <a:pt x="8546857" y="2423650"/>
                </a:cubicBezTo>
                <a:cubicBezTo>
                  <a:pt x="8546857" y="2427776"/>
                  <a:pt x="8546058" y="2431769"/>
                  <a:pt x="8544594" y="2435363"/>
                </a:cubicBezTo>
                <a:cubicBezTo>
                  <a:pt x="8542997" y="2438958"/>
                  <a:pt x="8541000" y="2442019"/>
                  <a:pt x="8538470" y="2444681"/>
                </a:cubicBezTo>
                <a:cubicBezTo>
                  <a:pt x="8535808" y="2447344"/>
                  <a:pt x="8532747" y="2449474"/>
                  <a:pt x="8529152" y="2450938"/>
                </a:cubicBezTo>
                <a:cubicBezTo>
                  <a:pt x="8525559" y="2452402"/>
                  <a:pt x="8521698" y="2453201"/>
                  <a:pt x="8517438" y="2453201"/>
                </a:cubicBezTo>
                <a:cubicBezTo>
                  <a:pt x="8508385" y="2453201"/>
                  <a:pt x="8501197" y="2450273"/>
                  <a:pt x="8495606" y="2444681"/>
                </a:cubicBezTo>
                <a:cubicBezTo>
                  <a:pt x="8490015" y="2439090"/>
                  <a:pt x="8487220" y="2432035"/>
                  <a:pt x="8487220" y="2423515"/>
                </a:cubicBezTo>
                <a:cubicBezTo>
                  <a:pt x="8487220" y="2415263"/>
                  <a:pt x="8490015" y="2408208"/>
                  <a:pt x="8495606" y="2402482"/>
                </a:cubicBezTo>
                <a:cubicBezTo>
                  <a:pt x="8501197" y="2396625"/>
                  <a:pt x="8508385" y="2393830"/>
                  <a:pt x="8517438" y="2393830"/>
                </a:cubicBezTo>
                <a:close/>
                <a:moveTo>
                  <a:pt x="8299793" y="2393830"/>
                </a:moveTo>
                <a:cubicBezTo>
                  <a:pt x="8304052" y="2393830"/>
                  <a:pt x="8308046" y="2394630"/>
                  <a:pt x="8311507" y="2396493"/>
                </a:cubicBezTo>
                <a:cubicBezTo>
                  <a:pt x="8315235" y="2398090"/>
                  <a:pt x="8318296" y="2400220"/>
                  <a:pt x="8320825" y="2402882"/>
                </a:cubicBezTo>
                <a:cubicBezTo>
                  <a:pt x="8323354" y="2405412"/>
                  <a:pt x="8325484" y="2408607"/>
                  <a:pt x="8326948" y="2412201"/>
                </a:cubicBezTo>
                <a:cubicBezTo>
                  <a:pt x="8328413" y="2415795"/>
                  <a:pt x="8329212" y="2419522"/>
                  <a:pt x="8329212" y="2423650"/>
                </a:cubicBezTo>
                <a:cubicBezTo>
                  <a:pt x="8329212" y="2427776"/>
                  <a:pt x="8328413" y="2431769"/>
                  <a:pt x="8326948" y="2435363"/>
                </a:cubicBezTo>
                <a:cubicBezTo>
                  <a:pt x="8325351" y="2438958"/>
                  <a:pt x="8323354" y="2442019"/>
                  <a:pt x="8320825" y="2444681"/>
                </a:cubicBezTo>
                <a:cubicBezTo>
                  <a:pt x="8318163" y="2447344"/>
                  <a:pt x="8315101" y="2449474"/>
                  <a:pt x="8311507" y="2450938"/>
                </a:cubicBezTo>
                <a:cubicBezTo>
                  <a:pt x="8307913" y="2452402"/>
                  <a:pt x="8304052" y="2453201"/>
                  <a:pt x="8299793" y="2453201"/>
                </a:cubicBezTo>
                <a:cubicBezTo>
                  <a:pt x="8290874" y="2453201"/>
                  <a:pt x="8283553" y="2450273"/>
                  <a:pt x="8277960" y="2444681"/>
                </a:cubicBezTo>
                <a:cubicBezTo>
                  <a:pt x="8272370" y="2439090"/>
                  <a:pt x="8269574" y="2432035"/>
                  <a:pt x="8269574" y="2423515"/>
                </a:cubicBezTo>
                <a:cubicBezTo>
                  <a:pt x="8269574" y="2415263"/>
                  <a:pt x="8272370" y="2408208"/>
                  <a:pt x="8277960" y="2402482"/>
                </a:cubicBezTo>
                <a:cubicBezTo>
                  <a:pt x="8283553" y="2396625"/>
                  <a:pt x="8290741" y="2393830"/>
                  <a:pt x="8299793" y="2393830"/>
                </a:cubicBezTo>
                <a:close/>
                <a:moveTo>
                  <a:pt x="8082281" y="2393830"/>
                </a:moveTo>
                <a:cubicBezTo>
                  <a:pt x="8086407" y="2393830"/>
                  <a:pt x="8090401" y="2394630"/>
                  <a:pt x="8094127" y="2396493"/>
                </a:cubicBezTo>
                <a:cubicBezTo>
                  <a:pt x="8097855" y="2398090"/>
                  <a:pt x="8100916" y="2400220"/>
                  <a:pt x="8103446" y="2402882"/>
                </a:cubicBezTo>
                <a:cubicBezTo>
                  <a:pt x="8105975" y="2405412"/>
                  <a:pt x="8108104" y="2408607"/>
                  <a:pt x="8109569" y="2412201"/>
                </a:cubicBezTo>
                <a:cubicBezTo>
                  <a:pt x="8111033" y="2415795"/>
                  <a:pt x="8111832" y="2419522"/>
                  <a:pt x="8111832" y="2423650"/>
                </a:cubicBezTo>
                <a:cubicBezTo>
                  <a:pt x="8111832" y="2427776"/>
                  <a:pt x="8111033" y="2431769"/>
                  <a:pt x="8109569" y="2435363"/>
                </a:cubicBezTo>
                <a:cubicBezTo>
                  <a:pt x="8107972" y="2438958"/>
                  <a:pt x="8105975" y="2442019"/>
                  <a:pt x="8103446" y="2444681"/>
                </a:cubicBezTo>
                <a:cubicBezTo>
                  <a:pt x="8100783" y="2447344"/>
                  <a:pt x="8097722" y="2449474"/>
                  <a:pt x="8094127" y="2450938"/>
                </a:cubicBezTo>
                <a:cubicBezTo>
                  <a:pt x="8090401" y="2452402"/>
                  <a:pt x="8086540" y="2453201"/>
                  <a:pt x="8082281" y="2453201"/>
                </a:cubicBezTo>
                <a:cubicBezTo>
                  <a:pt x="8073361" y="2453201"/>
                  <a:pt x="8066040" y="2450273"/>
                  <a:pt x="8060448" y="2444681"/>
                </a:cubicBezTo>
                <a:cubicBezTo>
                  <a:pt x="8054857" y="2439090"/>
                  <a:pt x="8052062" y="2432035"/>
                  <a:pt x="8052062" y="2423515"/>
                </a:cubicBezTo>
                <a:cubicBezTo>
                  <a:pt x="8052062" y="2415263"/>
                  <a:pt x="8054857" y="2408208"/>
                  <a:pt x="8060448" y="2402482"/>
                </a:cubicBezTo>
                <a:cubicBezTo>
                  <a:pt x="8066040" y="2396625"/>
                  <a:pt x="8073228" y="2393830"/>
                  <a:pt x="8082281" y="2393830"/>
                </a:cubicBezTo>
                <a:close/>
                <a:moveTo>
                  <a:pt x="7864636" y="2393830"/>
                </a:moveTo>
                <a:cubicBezTo>
                  <a:pt x="7868762" y="2393830"/>
                  <a:pt x="7872756" y="2394630"/>
                  <a:pt x="7876483" y="2396493"/>
                </a:cubicBezTo>
                <a:cubicBezTo>
                  <a:pt x="7880210" y="2398090"/>
                  <a:pt x="7883272" y="2400220"/>
                  <a:pt x="7885802" y="2402882"/>
                </a:cubicBezTo>
                <a:cubicBezTo>
                  <a:pt x="7888331" y="2405412"/>
                  <a:pt x="7890460" y="2408607"/>
                  <a:pt x="7891924" y="2412201"/>
                </a:cubicBezTo>
                <a:cubicBezTo>
                  <a:pt x="7893389" y="2415795"/>
                  <a:pt x="7894188" y="2419522"/>
                  <a:pt x="7894188" y="2423650"/>
                </a:cubicBezTo>
                <a:cubicBezTo>
                  <a:pt x="7894188" y="2427776"/>
                  <a:pt x="7893389" y="2431769"/>
                  <a:pt x="7891924" y="2435363"/>
                </a:cubicBezTo>
                <a:cubicBezTo>
                  <a:pt x="7890327" y="2438958"/>
                  <a:pt x="7888331" y="2442019"/>
                  <a:pt x="7885802" y="2444681"/>
                </a:cubicBezTo>
                <a:cubicBezTo>
                  <a:pt x="7883139" y="2447344"/>
                  <a:pt x="7880078" y="2449474"/>
                  <a:pt x="7876483" y="2450938"/>
                </a:cubicBezTo>
                <a:cubicBezTo>
                  <a:pt x="7872756" y="2452402"/>
                  <a:pt x="7868895" y="2453201"/>
                  <a:pt x="7864636" y="2453201"/>
                </a:cubicBezTo>
                <a:cubicBezTo>
                  <a:pt x="7855717" y="2453201"/>
                  <a:pt x="7848396" y="2450273"/>
                  <a:pt x="7842803" y="2444681"/>
                </a:cubicBezTo>
                <a:cubicBezTo>
                  <a:pt x="7837213" y="2439090"/>
                  <a:pt x="7834417" y="2432035"/>
                  <a:pt x="7834417" y="2423515"/>
                </a:cubicBezTo>
                <a:cubicBezTo>
                  <a:pt x="7834417" y="2415263"/>
                  <a:pt x="7837213" y="2408208"/>
                  <a:pt x="7842803" y="2402482"/>
                </a:cubicBezTo>
                <a:cubicBezTo>
                  <a:pt x="7848396" y="2396625"/>
                  <a:pt x="7855584" y="2393830"/>
                  <a:pt x="7864636" y="2393830"/>
                </a:cubicBezTo>
                <a:close/>
                <a:moveTo>
                  <a:pt x="7646991" y="2393830"/>
                </a:moveTo>
                <a:cubicBezTo>
                  <a:pt x="7651250" y="2393830"/>
                  <a:pt x="7655111" y="2394630"/>
                  <a:pt x="7658705" y="2396493"/>
                </a:cubicBezTo>
                <a:cubicBezTo>
                  <a:pt x="7662432" y="2398090"/>
                  <a:pt x="7665493" y="2400220"/>
                  <a:pt x="7668022" y="2402882"/>
                </a:cubicBezTo>
                <a:cubicBezTo>
                  <a:pt x="7670552" y="2405412"/>
                  <a:pt x="7672682" y="2408607"/>
                  <a:pt x="7674146" y="2412201"/>
                </a:cubicBezTo>
                <a:cubicBezTo>
                  <a:pt x="7675610" y="2415795"/>
                  <a:pt x="7676409" y="2419522"/>
                  <a:pt x="7676409" y="2423650"/>
                </a:cubicBezTo>
                <a:cubicBezTo>
                  <a:pt x="7676409" y="2427776"/>
                  <a:pt x="7675610" y="2431769"/>
                  <a:pt x="7674146" y="2435363"/>
                </a:cubicBezTo>
                <a:cubicBezTo>
                  <a:pt x="7672549" y="2438958"/>
                  <a:pt x="7670552" y="2442019"/>
                  <a:pt x="7668022" y="2444681"/>
                </a:cubicBezTo>
                <a:cubicBezTo>
                  <a:pt x="7665361" y="2447344"/>
                  <a:pt x="7662299" y="2449474"/>
                  <a:pt x="7658705" y="2450938"/>
                </a:cubicBezTo>
                <a:cubicBezTo>
                  <a:pt x="7655111" y="2452402"/>
                  <a:pt x="7651250" y="2453201"/>
                  <a:pt x="7646991" y="2453201"/>
                </a:cubicBezTo>
                <a:cubicBezTo>
                  <a:pt x="7638071" y="2453201"/>
                  <a:pt x="7630750" y="2450273"/>
                  <a:pt x="7625158" y="2444681"/>
                </a:cubicBezTo>
                <a:cubicBezTo>
                  <a:pt x="7619568" y="2439090"/>
                  <a:pt x="7616772" y="2432035"/>
                  <a:pt x="7616772" y="2423515"/>
                </a:cubicBezTo>
                <a:cubicBezTo>
                  <a:pt x="7616772" y="2415263"/>
                  <a:pt x="7619568" y="2408208"/>
                  <a:pt x="7625158" y="2402482"/>
                </a:cubicBezTo>
                <a:cubicBezTo>
                  <a:pt x="7630750" y="2396625"/>
                  <a:pt x="7637939" y="2393830"/>
                  <a:pt x="7646991" y="2393830"/>
                </a:cubicBezTo>
                <a:close/>
                <a:moveTo>
                  <a:pt x="7429345" y="2393830"/>
                </a:moveTo>
                <a:cubicBezTo>
                  <a:pt x="7433605" y="2393830"/>
                  <a:pt x="7437466" y="2394630"/>
                  <a:pt x="7441059" y="2396493"/>
                </a:cubicBezTo>
                <a:cubicBezTo>
                  <a:pt x="7444787" y="2398090"/>
                  <a:pt x="7447848" y="2400220"/>
                  <a:pt x="7450377" y="2402882"/>
                </a:cubicBezTo>
                <a:cubicBezTo>
                  <a:pt x="7452907" y="2405412"/>
                  <a:pt x="7455036" y="2408607"/>
                  <a:pt x="7456501" y="2412201"/>
                </a:cubicBezTo>
                <a:cubicBezTo>
                  <a:pt x="7457965" y="2415795"/>
                  <a:pt x="7458764" y="2419522"/>
                  <a:pt x="7458764" y="2423650"/>
                </a:cubicBezTo>
                <a:cubicBezTo>
                  <a:pt x="7458764" y="2427776"/>
                  <a:pt x="7457965" y="2431769"/>
                  <a:pt x="7456501" y="2435363"/>
                </a:cubicBezTo>
                <a:cubicBezTo>
                  <a:pt x="7454904" y="2438958"/>
                  <a:pt x="7452907" y="2442019"/>
                  <a:pt x="7450377" y="2444681"/>
                </a:cubicBezTo>
                <a:cubicBezTo>
                  <a:pt x="7447715" y="2447344"/>
                  <a:pt x="7444654" y="2449474"/>
                  <a:pt x="7441059" y="2450938"/>
                </a:cubicBezTo>
                <a:cubicBezTo>
                  <a:pt x="7437466" y="2452402"/>
                  <a:pt x="7433605" y="2453201"/>
                  <a:pt x="7429345" y="2453201"/>
                </a:cubicBezTo>
                <a:cubicBezTo>
                  <a:pt x="7420426" y="2453201"/>
                  <a:pt x="7413105" y="2450273"/>
                  <a:pt x="7407513" y="2444681"/>
                </a:cubicBezTo>
                <a:cubicBezTo>
                  <a:pt x="7401922" y="2439090"/>
                  <a:pt x="7399127" y="2432035"/>
                  <a:pt x="7399127" y="2423515"/>
                </a:cubicBezTo>
                <a:cubicBezTo>
                  <a:pt x="7399127" y="2415263"/>
                  <a:pt x="7401922" y="2408208"/>
                  <a:pt x="7407513" y="2402482"/>
                </a:cubicBezTo>
                <a:cubicBezTo>
                  <a:pt x="7413105" y="2396625"/>
                  <a:pt x="7420293" y="2393830"/>
                  <a:pt x="7429345" y="2393830"/>
                </a:cubicBezTo>
                <a:close/>
                <a:moveTo>
                  <a:pt x="7211701" y="2393830"/>
                </a:moveTo>
                <a:cubicBezTo>
                  <a:pt x="7215960" y="2393830"/>
                  <a:pt x="7219954" y="2394630"/>
                  <a:pt x="7223415" y="2396493"/>
                </a:cubicBezTo>
                <a:cubicBezTo>
                  <a:pt x="7227142" y="2398090"/>
                  <a:pt x="7230204" y="2400220"/>
                  <a:pt x="7232733" y="2402882"/>
                </a:cubicBezTo>
                <a:cubicBezTo>
                  <a:pt x="7235262" y="2405412"/>
                  <a:pt x="7237392" y="2408607"/>
                  <a:pt x="7238856" y="2412201"/>
                </a:cubicBezTo>
                <a:cubicBezTo>
                  <a:pt x="7240321" y="2415795"/>
                  <a:pt x="7241120" y="2419522"/>
                  <a:pt x="7241120" y="2423650"/>
                </a:cubicBezTo>
                <a:cubicBezTo>
                  <a:pt x="7241120" y="2427776"/>
                  <a:pt x="7240321" y="2431769"/>
                  <a:pt x="7238856" y="2435363"/>
                </a:cubicBezTo>
                <a:cubicBezTo>
                  <a:pt x="7237259" y="2438958"/>
                  <a:pt x="7235262" y="2442019"/>
                  <a:pt x="7232733" y="2444681"/>
                </a:cubicBezTo>
                <a:cubicBezTo>
                  <a:pt x="7230071" y="2447344"/>
                  <a:pt x="7227009" y="2449474"/>
                  <a:pt x="7223415" y="2450938"/>
                </a:cubicBezTo>
                <a:cubicBezTo>
                  <a:pt x="7219821" y="2452402"/>
                  <a:pt x="7215960" y="2453201"/>
                  <a:pt x="7211701" y="2453201"/>
                </a:cubicBezTo>
                <a:cubicBezTo>
                  <a:pt x="7202782" y="2453201"/>
                  <a:pt x="7195460" y="2450273"/>
                  <a:pt x="7189868" y="2444681"/>
                </a:cubicBezTo>
                <a:cubicBezTo>
                  <a:pt x="7184278" y="2439090"/>
                  <a:pt x="7181482" y="2432035"/>
                  <a:pt x="7181482" y="2423515"/>
                </a:cubicBezTo>
                <a:cubicBezTo>
                  <a:pt x="7181482" y="2415263"/>
                  <a:pt x="7184278" y="2408208"/>
                  <a:pt x="7189868" y="2402482"/>
                </a:cubicBezTo>
                <a:cubicBezTo>
                  <a:pt x="7195460" y="2396625"/>
                  <a:pt x="7202649" y="2393830"/>
                  <a:pt x="7211701" y="2393830"/>
                </a:cubicBezTo>
                <a:close/>
                <a:moveTo>
                  <a:pt x="6994056" y="2393830"/>
                </a:moveTo>
                <a:cubicBezTo>
                  <a:pt x="6998315" y="2393830"/>
                  <a:pt x="7002309" y="2394630"/>
                  <a:pt x="7005769" y="2396493"/>
                </a:cubicBezTo>
                <a:cubicBezTo>
                  <a:pt x="7009497" y="2398090"/>
                  <a:pt x="7012558" y="2400220"/>
                  <a:pt x="7015087" y="2402882"/>
                </a:cubicBezTo>
                <a:cubicBezTo>
                  <a:pt x="7017617" y="2405412"/>
                  <a:pt x="7019747" y="2408607"/>
                  <a:pt x="7021211" y="2412201"/>
                </a:cubicBezTo>
                <a:cubicBezTo>
                  <a:pt x="7022675" y="2415795"/>
                  <a:pt x="7023474" y="2419522"/>
                  <a:pt x="7023474" y="2423650"/>
                </a:cubicBezTo>
                <a:cubicBezTo>
                  <a:pt x="7023474" y="2427776"/>
                  <a:pt x="7022675" y="2431769"/>
                  <a:pt x="7021211" y="2435363"/>
                </a:cubicBezTo>
                <a:cubicBezTo>
                  <a:pt x="7019614" y="2438958"/>
                  <a:pt x="7017617" y="2442019"/>
                  <a:pt x="7015087" y="2444681"/>
                </a:cubicBezTo>
                <a:cubicBezTo>
                  <a:pt x="7012425" y="2447344"/>
                  <a:pt x="7009364" y="2449474"/>
                  <a:pt x="7005769" y="2450938"/>
                </a:cubicBezTo>
                <a:cubicBezTo>
                  <a:pt x="7002176" y="2452402"/>
                  <a:pt x="6998315" y="2453201"/>
                  <a:pt x="6994056" y="2453201"/>
                </a:cubicBezTo>
                <a:cubicBezTo>
                  <a:pt x="6985136" y="2453201"/>
                  <a:pt x="6977815" y="2450273"/>
                  <a:pt x="6972223" y="2444681"/>
                </a:cubicBezTo>
                <a:cubicBezTo>
                  <a:pt x="6966632" y="2439090"/>
                  <a:pt x="6963837" y="2432035"/>
                  <a:pt x="6963837" y="2423515"/>
                </a:cubicBezTo>
                <a:cubicBezTo>
                  <a:pt x="6963837" y="2415263"/>
                  <a:pt x="6966632" y="2408208"/>
                  <a:pt x="6972223" y="2402482"/>
                </a:cubicBezTo>
                <a:cubicBezTo>
                  <a:pt x="6977815" y="2396625"/>
                  <a:pt x="6985003" y="2393830"/>
                  <a:pt x="6994056" y="2393830"/>
                </a:cubicBezTo>
                <a:close/>
                <a:moveTo>
                  <a:pt x="6776544" y="2393830"/>
                </a:moveTo>
                <a:cubicBezTo>
                  <a:pt x="6780670" y="2393830"/>
                  <a:pt x="6784664" y="2394630"/>
                  <a:pt x="6788258" y="2396493"/>
                </a:cubicBezTo>
                <a:cubicBezTo>
                  <a:pt x="6791985" y="2398090"/>
                  <a:pt x="6795047" y="2400220"/>
                  <a:pt x="6797576" y="2402882"/>
                </a:cubicBezTo>
                <a:cubicBezTo>
                  <a:pt x="6800105" y="2405412"/>
                  <a:pt x="6802235" y="2408607"/>
                  <a:pt x="6803699" y="2412201"/>
                </a:cubicBezTo>
                <a:cubicBezTo>
                  <a:pt x="6805164" y="2415795"/>
                  <a:pt x="6805963" y="2419522"/>
                  <a:pt x="6805963" y="2423650"/>
                </a:cubicBezTo>
                <a:cubicBezTo>
                  <a:pt x="6805963" y="2427776"/>
                  <a:pt x="6805164" y="2431769"/>
                  <a:pt x="6803699" y="2435363"/>
                </a:cubicBezTo>
                <a:cubicBezTo>
                  <a:pt x="6802102" y="2438958"/>
                  <a:pt x="6800105" y="2442019"/>
                  <a:pt x="6797576" y="2444681"/>
                </a:cubicBezTo>
                <a:cubicBezTo>
                  <a:pt x="6794914" y="2447344"/>
                  <a:pt x="6791852" y="2449474"/>
                  <a:pt x="6788258" y="2450938"/>
                </a:cubicBezTo>
                <a:cubicBezTo>
                  <a:pt x="6784664" y="2452402"/>
                  <a:pt x="6780803" y="2453201"/>
                  <a:pt x="6776544" y="2453201"/>
                </a:cubicBezTo>
                <a:cubicBezTo>
                  <a:pt x="6767625" y="2453201"/>
                  <a:pt x="6760303" y="2450273"/>
                  <a:pt x="6754711" y="2444681"/>
                </a:cubicBezTo>
                <a:cubicBezTo>
                  <a:pt x="6749121" y="2439090"/>
                  <a:pt x="6746325" y="2432035"/>
                  <a:pt x="6746325" y="2423515"/>
                </a:cubicBezTo>
                <a:cubicBezTo>
                  <a:pt x="6746325" y="2415263"/>
                  <a:pt x="6749121" y="2408208"/>
                  <a:pt x="6754711" y="2402482"/>
                </a:cubicBezTo>
                <a:cubicBezTo>
                  <a:pt x="6760303" y="2396625"/>
                  <a:pt x="6767492" y="2393830"/>
                  <a:pt x="6776544" y="2393830"/>
                </a:cubicBezTo>
                <a:close/>
                <a:moveTo>
                  <a:pt x="6558899" y="2393830"/>
                </a:moveTo>
                <a:cubicBezTo>
                  <a:pt x="6563158" y="2393830"/>
                  <a:pt x="6567019" y="2394630"/>
                  <a:pt x="6570612" y="2396493"/>
                </a:cubicBezTo>
                <a:cubicBezTo>
                  <a:pt x="6574340" y="2398090"/>
                  <a:pt x="6577401" y="2400220"/>
                  <a:pt x="6579930" y="2402882"/>
                </a:cubicBezTo>
                <a:cubicBezTo>
                  <a:pt x="6582460" y="2405412"/>
                  <a:pt x="6584590" y="2408607"/>
                  <a:pt x="6586054" y="2412201"/>
                </a:cubicBezTo>
                <a:cubicBezTo>
                  <a:pt x="6587518" y="2415795"/>
                  <a:pt x="6588317" y="2419522"/>
                  <a:pt x="6588317" y="2423650"/>
                </a:cubicBezTo>
                <a:cubicBezTo>
                  <a:pt x="6588317" y="2427776"/>
                  <a:pt x="6587518" y="2431769"/>
                  <a:pt x="6586054" y="2435363"/>
                </a:cubicBezTo>
                <a:cubicBezTo>
                  <a:pt x="6584457" y="2438958"/>
                  <a:pt x="6582460" y="2442019"/>
                  <a:pt x="6579930" y="2444681"/>
                </a:cubicBezTo>
                <a:cubicBezTo>
                  <a:pt x="6577268" y="2447344"/>
                  <a:pt x="6574207" y="2449474"/>
                  <a:pt x="6570612" y="2450938"/>
                </a:cubicBezTo>
                <a:cubicBezTo>
                  <a:pt x="6567019" y="2452402"/>
                  <a:pt x="6563158" y="2453201"/>
                  <a:pt x="6558899" y="2453201"/>
                </a:cubicBezTo>
                <a:cubicBezTo>
                  <a:pt x="6549979" y="2453201"/>
                  <a:pt x="6542658" y="2450273"/>
                  <a:pt x="6537066" y="2444681"/>
                </a:cubicBezTo>
                <a:cubicBezTo>
                  <a:pt x="6531476" y="2439090"/>
                  <a:pt x="6528680" y="2432035"/>
                  <a:pt x="6528680" y="2423515"/>
                </a:cubicBezTo>
                <a:cubicBezTo>
                  <a:pt x="6528680" y="2415263"/>
                  <a:pt x="6531476" y="2408208"/>
                  <a:pt x="6537066" y="2402482"/>
                </a:cubicBezTo>
                <a:cubicBezTo>
                  <a:pt x="6542658" y="2396625"/>
                  <a:pt x="6549846" y="2393830"/>
                  <a:pt x="6558899" y="2393830"/>
                </a:cubicBezTo>
                <a:close/>
                <a:moveTo>
                  <a:pt x="6341253" y="2393830"/>
                </a:moveTo>
                <a:cubicBezTo>
                  <a:pt x="6345513" y="2393830"/>
                  <a:pt x="6349373" y="2394630"/>
                  <a:pt x="6352968" y="2396493"/>
                </a:cubicBezTo>
                <a:cubicBezTo>
                  <a:pt x="6356695" y="2398090"/>
                  <a:pt x="6359757" y="2400220"/>
                  <a:pt x="6362286" y="2402882"/>
                </a:cubicBezTo>
                <a:cubicBezTo>
                  <a:pt x="6364815" y="2405412"/>
                  <a:pt x="6366945" y="2408607"/>
                  <a:pt x="6368409" y="2412201"/>
                </a:cubicBezTo>
                <a:cubicBezTo>
                  <a:pt x="6369874" y="2415795"/>
                  <a:pt x="6370672" y="2419522"/>
                  <a:pt x="6370672" y="2423650"/>
                </a:cubicBezTo>
                <a:cubicBezTo>
                  <a:pt x="6370672" y="2427776"/>
                  <a:pt x="6369874" y="2431769"/>
                  <a:pt x="6368409" y="2435363"/>
                </a:cubicBezTo>
                <a:cubicBezTo>
                  <a:pt x="6366811" y="2438958"/>
                  <a:pt x="6364815" y="2442019"/>
                  <a:pt x="6362286" y="2444681"/>
                </a:cubicBezTo>
                <a:cubicBezTo>
                  <a:pt x="6359623" y="2447344"/>
                  <a:pt x="6356562" y="2449474"/>
                  <a:pt x="6352968" y="2450938"/>
                </a:cubicBezTo>
                <a:cubicBezTo>
                  <a:pt x="6349373" y="2452402"/>
                  <a:pt x="6345513" y="2453201"/>
                  <a:pt x="6341253" y="2453201"/>
                </a:cubicBezTo>
                <a:cubicBezTo>
                  <a:pt x="6332335" y="2453201"/>
                  <a:pt x="6325013" y="2450273"/>
                  <a:pt x="6319421" y="2444681"/>
                </a:cubicBezTo>
                <a:cubicBezTo>
                  <a:pt x="6313830" y="2439090"/>
                  <a:pt x="6311035" y="2432035"/>
                  <a:pt x="6311035" y="2423515"/>
                </a:cubicBezTo>
                <a:cubicBezTo>
                  <a:pt x="6311035" y="2415263"/>
                  <a:pt x="6313830" y="2408208"/>
                  <a:pt x="6319421" y="2402482"/>
                </a:cubicBezTo>
                <a:cubicBezTo>
                  <a:pt x="6325013" y="2396625"/>
                  <a:pt x="6332201" y="2393830"/>
                  <a:pt x="6341253" y="2393830"/>
                </a:cubicBezTo>
                <a:close/>
                <a:moveTo>
                  <a:pt x="6123608" y="2393830"/>
                </a:moveTo>
                <a:cubicBezTo>
                  <a:pt x="6127867" y="2393830"/>
                  <a:pt x="6131728" y="2394630"/>
                  <a:pt x="6135322" y="2396493"/>
                </a:cubicBezTo>
                <a:cubicBezTo>
                  <a:pt x="6139049" y="2398090"/>
                  <a:pt x="6142111" y="2400220"/>
                  <a:pt x="6144640" y="2402882"/>
                </a:cubicBezTo>
                <a:cubicBezTo>
                  <a:pt x="6147169" y="2405412"/>
                  <a:pt x="6149299" y="2408607"/>
                  <a:pt x="6150763" y="2412201"/>
                </a:cubicBezTo>
                <a:cubicBezTo>
                  <a:pt x="6152228" y="2415795"/>
                  <a:pt x="6153026" y="2419522"/>
                  <a:pt x="6153026" y="2423650"/>
                </a:cubicBezTo>
                <a:cubicBezTo>
                  <a:pt x="6153026" y="2427776"/>
                  <a:pt x="6152228" y="2431769"/>
                  <a:pt x="6150763" y="2435363"/>
                </a:cubicBezTo>
                <a:cubicBezTo>
                  <a:pt x="6149299" y="2438958"/>
                  <a:pt x="6147169" y="2442019"/>
                  <a:pt x="6144640" y="2444681"/>
                </a:cubicBezTo>
                <a:cubicBezTo>
                  <a:pt x="6141977" y="2447344"/>
                  <a:pt x="6138916" y="2449474"/>
                  <a:pt x="6135322" y="2450938"/>
                </a:cubicBezTo>
                <a:cubicBezTo>
                  <a:pt x="6131728" y="2452402"/>
                  <a:pt x="6127867" y="2453201"/>
                  <a:pt x="6123608" y="2453201"/>
                </a:cubicBezTo>
                <a:cubicBezTo>
                  <a:pt x="6114689" y="2453201"/>
                  <a:pt x="6107367" y="2450273"/>
                  <a:pt x="6101775" y="2444681"/>
                </a:cubicBezTo>
                <a:cubicBezTo>
                  <a:pt x="6096184" y="2439090"/>
                  <a:pt x="6093389" y="2432035"/>
                  <a:pt x="6093389" y="2423515"/>
                </a:cubicBezTo>
                <a:cubicBezTo>
                  <a:pt x="6093389" y="2415263"/>
                  <a:pt x="6096184" y="2408208"/>
                  <a:pt x="6101775" y="2402482"/>
                </a:cubicBezTo>
                <a:cubicBezTo>
                  <a:pt x="6107367" y="2396625"/>
                  <a:pt x="6114555" y="2393830"/>
                  <a:pt x="6123608" y="2393830"/>
                </a:cubicBezTo>
                <a:close/>
                <a:moveTo>
                  <a:pt x="5905963" y="2393830"/>
                </a:moveTo>
                <a:cubicBezTo>
                  <a:pt x="5910222" y="2393830"/>
                  <a:pt x="5914216" y="2394630"/>
                  <a:pt x="5917677" y="2396493"/>
                </a:cubicBezTo>
                <a:cubicBezTo>
                  <a:pt x="5921404" y="2398090"/>
                  <a:pt x="5924466" y="2400220"/>
                  <a:pt x="5926995" y="2402882"/>
                </a:cubicBezTo>
                <a:cubicBezTo>
                  <a:pt x="5929524" y="2405412"/>
                  <a:pt x="5931654" y="2408607"/>
                  <a:pt x="5933118" y="2412201"/>
                </a:cubicBezTo>
                <a:cubicBezTo>
                  <a:pt x="5934583" y="2415795"/>
                  <a:pt x="5935381" y="2419522"/>
                  <a:pt x="5935381" y="2423650"/>
                </a:cubicBezTo>
                <a:cubicBezTo>
                  <a:pt x="5935381" y="2427776"/>
                  <a:pt x="5934583" y="2431769"/>
                  <a:pt x="5933118" y="2435363"/>
                </a:cubicBezTo>
                <a:cubicBezTo>
                  <a:pt x="5931654" y="2438958"/>
                  <a:pt x="5929524" y="2442019"/>
                  <a:pt x="5926995" y="2444681"/>
                </a:cubicBezTo>
                <a:cubicBezTo>
                  <a:pt x="5924333" y="2447344"/>
                  <a:pt x="5921271" y="2449474"/>
                  <a:pt x="5917677" y="2450938"/>
                </a:cubicBezTo>
                <a:cubicBezTo>
                  <a:pt x="5914083" y="2452402"/>
                  <a:pt x="5910222" y="2453201"/>
                  <a:pt x="5905963" y="2453201"/>
                </a:cubicBezTo>
                <a:cubicBezTo>
                  <a:pt x="5897044" y="2453201"/>
                  <a:pt x="5889722" y="2450273"/>
                  <a:pt x="5884130" y="2444681"/>
                </a:cubicBezTo>
                <a:cubicBezTo>
                  <a:pt x="5878540" y="2439090"/>
                  <a:pt x="5875744" y="2432035"/>
                  <a:pt x="5875744" y="2423515"/>
                </a:cubicBezTo>
                <a:cubicBezTo>
                  <a:pt x="5875744" y="2415263"/>
                  <a:pt x="5878540" y="2408208"/>
                  <a:pt x="5884130" y="2402482"/>
                </a:cubicBezTo>
                <a:cubicBezTo>
                  <a:pt x="5889722" y="2396625"/>
                  <a:pt x="5896910" y="2393830"/>
                  <a:pt x="5905963" y="2393830"/>
                </a:cubicBezTo>
                <a:close/>
                <a:moveTo>
                  <a:pt x="5688451" y="2393830"/>
                </a:moveTo>
                <a:cubicBezTo>
                  <a:pt x="5692577" y="2393830"/>
                  <a:pt x="5696571" y="2394630"/>
                  <a:pt x="5700165" y="2396493"/>
                </a:cubicBezTo>
                <a:cubicBezTo>
                  <a:pt x="5703892" y="2398090"/>
                  <a:pt x="5706954" y="2400220"/>
                  <a:pt x="5709483" y="2402882"/>
                </a:cubicBezTo>
                <a:cubicBezTo>
                  <a:pt x="5712012" y="2405412"/>
                  <a:pt x="5714142" y="2408607"/>
                  <a:pt x="5715606" y="2412201"/>
                </a:cubicBezTo>
                <a:cubicBezTo>
                  <a:pt x="5717071" y="2415795"/>
                  <a:pt x="5717869" y="2419522"/>
                  <a:pt x="5717869" y="2423650"/>
                </a:cubicBezTo>
                <a:cubicBezTo>
                  <a:pt x="5717869" y="2427776"/>
                  <a:pt x="5717071" y="2431769"/>
                  <a:pt x="5715606" y="2435363"/>
                </a:cubicBezTo>
                <a:cubicBezTo>
                  <a:pt x="5714142" y="2438958"/>
                  <a:pt x="5712012" y="2442019"/>
                  <a:pt x="5709483" y="2444681"/>
                </a:cubicBezTo>
                <a:cubicBezTo>
                  <a:pt x="5706820" y="2447344"/>
                  <a:pt x="5703759" y="2449474"/>
                  <a:pt x="5700165" y="2450938"/>
                </a:cubicBezTo>
                <a:cubicBezTo>
                  <a:pt x="5696571" y="2452402"/>
                  <a:pt x="5692710" y="2453201"/>
                  <a:pt x="5688451" y="2453201"/>
                </a:cubicBezTo>
                <a:cubicBezTo>
                  <a:pt x="5679532" y="2453201"/>
                  <a:pt x="5672210" y="2450273"/>
                  <a:pt x="5666618" y="2444681"/>
                </a:cubicBezTo>
                <a:cubicBezTo>
                  <a:pt x="5661028" y="2439090"/>
                  <a:pt x="5658232" y="2432035"/>
                  <a:pt x="5658232" y="2423515"/>
                </a:cubicBezTo>
                <a:cubicBezTo>
                  <a:pt x="5658232" y="2415263"/>
                  <a:pt x="5661028" y="2408208"/>
                  <a:pt x="5666618" y="2402482"/>
                </a:cubicBezTo>
                <a:cubicBezTo>
                  <a:pt x="5672210" y="2396625"/>
                  <a:pt x="5679398" y="2393830"/>
                  <a:pt x="5688451" y="2393830"/>
                </a:cubicBezTo>
                <a:close/>
                <a:moveTo>
                  <a:pt x="5470806" y="2393830"/>
                </a:moveTo>
                <a:cubicBezTo>
                  <a:pt x="5475065" y="2393830"/>
                  <a:pt x="5478926" y="2394630"/>
                  <a:pt x="5482520" y="2396493"/>
                </a:cubicBezTo>
                <a:cubicBezTo>
                  <a:pt x="5486247" y="2398090"/>
                  <a:pt x="5489309" y="2400220"/>
                  <a:pt x="5491838" y="2402882"/>
                </a:cubicBezTo>
                <a:cubicBezTo>
                  <a:pt x="5494367" y="2405412"/>
                  <a:pt x="5496497" y="2408607"/>
                  <a:pt x="5497961" y="2412201"/>
                </a:cubicBezTo>
                <a:cubicBezTo>
                  <a:pt x="5499426" y="2415795"/>
                  <a:pt x="5500224" y="2419522"/>
                  <a:pt x="5500224" y="2423650"/>
                </a:cubicBezTo>
                <a:cubicBezTo>
                  <a:pt x="5500224" y="2427776"/>
                  <a:pt x="5499426" y="2431769"/>
                  <a:pt x="5497961" y="2435363"/>
                </a:cubicBezTo>
                <a:cubicBezTo>
                  <a:pt x="5496497" y="2438958"/>
                  <a:pt x="5494367" y="2442019"/>
                  <a:pt x="5491838" y="2444681"/>
                </a:cubicBezTo>
                <a:cubicBezTo>
                  <a:pt x="5489176" y="2447344"/>
                  <a:pt x="5486114" y="2449474"/>
                  <a:pt x="5482520" y="2450938"/>
                </a:cubicBezTo>
                <a:cubicBezTo>
                  <a:pt x="5478926" y="2452402"/>
                  <a:pt x="5475065" y="2453201"/>
                  <a:pt x="5470806" y="2453201"/>
                </a:cubicBezTo>
                <a:cubicBezTo>
                  <a:pt x="5461887" y="2453201"/>
                  <a:pt x="5454565" y="2450273"/>
                  <a:pt x="5448973" y="2444681"/>
                </a:cubicBezTo>
                <a:cubicBezTo>
                  <a:pt x="5443383" y="2439090"/>
                  <a:pt x="5440587" y="2432035"/>
                  <a:pt x="5440587" y="2423515"/>
                </a:cubicBezTo>
                <a:cubicBezTo>
                  <a:pt x="5440587" y="2415263"/>
                  <a:pt x="5443383" y="2408208"/>
                  <a:pt x="5448973" y="2402482"/>
                </a:cubicBezTo>
                <a:cubicBezTo>
                  <a:pt x="5454565" y="2396625"/>
                  <a:pt x="5461754" y="2393830"/>
                  <a:pt x="5470806" y="2393830"/>
                </a:cubicBezTo>
                <a:close/>
                <a:moveTo>
                  <a:pt x="5253160" y="2393830"/>
                </a:moveTo>
                <a:cubicBezTo>
                  <a:pt x="5257420" y="2393830"/>
                  <a:pt x="5261280" y="2394630"/>
                  <a:pt x="5264875" y="2396493"/>
                </a:cubicBezTo>
                <a:cubicBezTo>
                  <a:pt x="5268602" y="2398090"/>
                  <a:pt x="5271664" y="2400220"/>
                  <a:pt x="5274192" y="2402882"/>
                </a:cubicBezTo>
                <a:cubicBezTo>
                  <a:pt x="5276722" y="2405412"/>
                  <a:pt x="5278852" y="2408607"/>
                  <a:pt x="5280316" y="2412201"/>
                </a:cubicBezTo>
                <a:cubicBezTo>
                  <a:pt x="5281780" y="2415795"/>
                  <a:pt x="5282579" y="2419522"/>
                  <a:pt x="5282579" y="2423650"/>
                </a:cubicBezTo>
                <a:cubicBezTo>
                  <a:pt x="5282579" y="2427776"/>
                  <a:pt x="5281780" y="2431769"/>
                  <a:pt x="5280316" y="2435363"/>
                </a:cubicBezTo>
                <a:cubicBezTo>
                  <a:pt x="5278852" y="2438958"/>
                  <a:pt x="5276722" y="2442019"/>
                  <a:pt x="5274192" y="2444681"/>
                </a:cubicBezTo>
                <a:cubicBezTo>
                  <a:pt x="5271664" y="2447344"/>
                  <a:pt x="5268469" y="2449474"/>
                  <a:pt x="5264875" y="2450938"/>
                </a:cubicBezTo>
                <a:cubicBezTo>
                  <a:pt x="5261280" y="2452402"/>
                  <a:pt x="5257420" y="2453201"/>
                  <a:pt x="5253160" y="2453201"/>
                </a:cubicBezTo>
                <a:cubicBezTo>
                  <a:pt x="5244241" y="2453201"/>
                  <a:pt x="5236920" y="2450273"/>
                  <a:pt x="5231328" y="2444681"/>
                </a:cubicBezTo>
                <a:cubicBezTo>
                  <a:pt x="5225737" y="2439090"/>
                  <a:pt x="5222942" y="2432035"/>
                  <a:pt x="5222942" y="2423515"/>
                </a:cubicBezTo>
                <a:cubicBezTo>
                  <a:pt x="5222942" y="2415263"/>
                  <a:pt x="5225737" y="2408208"/>
                  <a:pt x="5231328" y="2402482"/>
                </a:cubicBezTo>
                <a:cubicBezTo>
                  <a:pt x="5236920" y="2396625"/>
                  <a:pt x="5244108" y="2393830"/>
                  <a:pt x="5253160" y="2393830"/>
                </a:cubicBezTo>
                <a:close/>
                <a:moveTo>
                  <a:pt x="5035515" y="2393830"/>
                </a:moveTo>
                <a:cubicBezTo>
                  <a:pt x="5039775" y="2393830"/>
                  <a:pt x="5043636" y="2394630"/>
                  <a:pt x="5047230" y="2396493"/>
                </a:cubicBezTo>
                <a:cubicBezTo>
                  <a:pt x="5050957" y="2398090"/>
                  <a:pt x="5054019" y="2400220"/>
                  <a:pt x="5056548" y="2402882"/>
                </a:cubicBezTo>
                <a:cubicBezTo>
                  <a:pt x="5059077" y="2405412"/>
                  <a:pt x="5061207" y="2408607"/>
                  <a:pt x="5062671" y="2412201"/>
                </a:cubicBezTo>
                <a:cubicBezTo>
                  <a:pt x="5064135" y="2415795"/>
                  <a:pt x="5064934" y="2419522"/>
                  <a:pt x="5064934" y="2423650"/>
                </a:cubicBezTo>
                <a:cubicBezTo>
                  <a:pt x="5064934" y="2427776"/>
                  <a:pt x="5064135" y="2431769"/>
                  <a:pt x="5062671" y="2435363"/>
                </a:cubicBezTo>
                <a:cubicBezTo>
                  <a:pt x="5061207" y="2438958"/>
                  <a:pt x="5059077" y="2442019"/>
                  <a:pt x="5056548" y="2444681"/>
                </a:cubicBezTo>
                <a:cubicBezTo>
                  <a:pt x="5053885" y="2447344"/>
                  <a:pt x="5050824" y="2449474"/>
                  <a:pt x="5047230" y="2450938"/>
                </a:cubicBezTo>
                <a:cubicBezTo>
                  <a:pt x="5043636" y="2452402"/>
                  <a:pt x="5039775" y="2453201"/>
                  <a:pt x="5035515" y="2453201"/>
                </a:cubicBezTo>
                <a:cubicBezTo>
                  <a:pt x="5026597" y="2453201"/>
                  <a:pt x="5019275" y="2450273"/>
                  <a:pt x="5013683" y="2444681"/>
                </a:cubicBezTo>
                <a:cubicBezTo>
                  <a:pt x="5008092" y="2439090"/>
                  <a:pt x="5005297" y="2432035"/>
                  <a:pt x="5005297" y="2423515"/>
                </a:cubicBezTo>
                <a:cubicBezTo>
                  <a:pt x="5005297" y="2415263"/>
                  <a:pt x="5008092" y="2408208"/>
                  <a:pt x="5013683" y="2402482"/>
                </a:cubicBezTo>
                <a:cubicBezTo>
                  <a:pt x="5019275" y="2396625"/>
                  <a:pt x="5026463" y="2393830"/>
                  <a:pt x="5035515" y="2393830"/>
                </a:cubicBezTo>
                <a:close/>
                <a:moveTo>
                  <a:pt x="4817870" y="2393830"/>
                </a:moveTo>
                <a:cubicBezTo>
                  <a:pt x="4822130" y="2393830"/>
                  <a:pt x="4826124" y="2394630"/>
                  <a:pt x="4829585" y="2396493"/>
                </a:cubicBezTo>
                <a:cubicBezTo>
                  <a:pt x="4833312" y="2398090"/>
                  <a:pt x="4836374" y="2400220"/>
                  <a:pt x="4838903" y="2402882"/>
                </a:cubicBezTo>
                <a:cubicBezTo>
                  <a:pt x="4841432" y="2405412"/>
                  <a:pt x="4843562" y="2408607"/>
                  <a:pt x="4845026" y="2412201"/>
                </a:cubicBezTo>
                <a:cubicBezTo>
                  <a:pt x="4846491" y="2415795"/>
                  <a:pt x="4847289" y="2419522"/>
                  <a:pt x="4847289" y="2423650"/>
                </a:cubicBezTo>
                <a:cubicBezTo>
                  <a:pt x="4847289" y="2427776"/>
                  <a:pt x="4846491" y="2431769"/>
                  <a:pt x="4845026" y="2435363"/>
                </a:cubicBezTo>
                <a:cubicBezTo>
                  <a:pt x="4843562" y="2438958"/>
                  <a:pt x="4841432" y="2442019"/>
                  <a:pt x="4838903" y="2444681"/>
                </a:cubicBezTo>
                <a:cubicBezTo>
                  <a:pt x="4836240" y="2447344"/>
                  <a:pt x="4833179" y="2449474"/>
                  <a:pt x="4829585" y="2450938"/>
                </a:cubicBezTo>
                <a:cubicBezTo>
                  <a:pt x="4825991" y="2452402"/>
                  <a:pt x="4822130" y="2453201"/>
                  <a:pt x="4817870" y="2453201"/>
                </a:cubicBezTo>
                <a:cubicBezTo>
                  <a:pt x="4808952" y="2453201"/>
                  <a:pt x="4801630" y="2450273"/>
                  <a:pt x="4796038" y="2444681"/>
                </a:cubicBezTo>
                <a:cubicBezTo>
                  <a:pt x="4790447" y="2439090"/>
                  <a:pt x="4787652" y="2432035"/>
                  <a:pt x="4787652" y="2423515"/>
                </a:cubicBezTo>
                <a:cubicBezTo>
                  <a:pt x="4787652" y="2415263"/>
                  <a:pt x="4790447" y="2408208"/>
                  <a:pt x="4796038" y="2402482"/>
                </a:cubicBezTo>
                <a:cubicBezTo>
                  <a:pt x="4801630" y="2396625"/>
                  <a:pt x="4808818" y="2393830"/>
                  <a:pt x="4817870" y="2393830"/>
                </a:cubicBezTo>
                <a:close/>
                <a:moveTo>
                  <a:pt x="4600226" y="2393830"/>
                </a:moveTo>
                <a:cubicBezTo>
                  <a:pt x="4604485" y="2393830"/>
                  <a:pt x="4608479" y="2394630"/>
                  <a:pt x="4612073" y="2396493"/>
                </a:cubicBezTo>
                <a:cubicBezTo>
                  <a:pt x="4615800" y="2398090"/>
                  <a:pt x="4618862" y="2400220"/>
                  <a:pt x="4621391" y="2402882"/>
                </a:cubicBezTo>
                <a:cubicBezTo>
                  <a:pt x="4623920" y="2405412"/>
                  <a:pt x="4626050" y="2408607"/>
                  <a:pt x="4627514" y="2412201"/>
                </a:cubicBezTo>
                <a:cubicBezTo>
                  <a:pt x="4628978" y="2415795"/>
                  <a:pt x="4629777" y="2419522"/>
                  <a:pt x="4629777" y="2423650"/>
                </a:cubicBezTo>
                <a:cubicBezTo>
                  <a:pt x="4629777" y="2427776"/>
                  <a:pt x="4628978" y="2431769"/>
                  <a:pt x="4627514" y="2435363"/>
                </a:cubicBezTo>
                <a:cubicBezTo>
                  <a:pt x="4626050" y="2438958"/>
                  <a:pt x="4623920" y="2442019"/>
                  <a:pt x="4621391" y="2444681"/>
                </a:cubicBezTo>
                <a:cubicBezTo>
                  <a:pt x="4618729" y="2447344"/>
                  <a:pt x="4615667" y="2449474"/>
                  <a:pt x="4612073" y="2450938"/>
                </a:cubicBezTo>
                <a:cubicBezTo>
                  <a:pt x="4608346" y="2452402"/>
                  <a:pt x="4604485" y="2453201"/>
                  <a:pt x="4600226" y="2453201"/>
                </a:cubicBezTo>
                <a:cubicBezTo>
                  <a:pt x="4591173" y="2453201"/>
                  <a:pt x="4583985" y="2450273"/>
                  <a:pt x="4578393" y="2444681"/>
                </a:cubicBezTo>
                <a:cubicBezTo>
                  <a:pt x="4572803" y="2439090"/>
                  <a:pt x="4570007" y="2432035"/>
                  <a:pt x="4570007" y="2423515"/>
                </a:cubicBezTo>
                <a:cubicBezTo>
                  <a:pt x="4570007" y="2415263"/>
                  <a:pt x="4572803" y="2408208"/>
                  <a:pt x="4578393" y="2402482"/>
                </a:cubicBezTo>
                <a:cubicBezTo>
                  <a:pt x="4583985" y="2396625"/>
                  <a:pt x="4591173" y="2393830"/>
                  <a:pt x="4600226" y="2393830"/>
                </a:cubicBezTo>
                <a:close/>
                <a:moveTo>
                  <a:pt x="4382713" y="2393830"/>
                </a:moveTo>
                <a:cubicBezTo>
                  <a:pt x="4386840" y="2393830"/>
                  <a:pt x="4390834" y="2394630"/>
                  <a:pt x="4394428" y="2396493"/>
                </a:cubicBezTo>
                <a:cubicBezTo>
                  <a:pt x="4398155" y="2398090"/>
                  <a:pt x="4401217" y="2400220"/>
                  <a:pt x="4403746" y="2402882"/>
                </a:cubicBezTo>
                <a:cubicBezTo>
                  <a:pt x="4406275" y="2405412"/>
                  <a:pt x="4408405" y="2408607"/>
                  <a:pt x="4409869" y="2412201"/>
                </a:cubicBezTo>
                <a:cubicBezTo>
                  <a:pt x="4411334" y="2415795"/>
                  <a:pt x="4412132" y="2419522"/>
                  <a:pt x="4412132" y="2423650"/>
                </a:cubicBezTo>
                <a:cubicBezTo>
                  <a:pt x="4412132" y="2427776"/>
                  <a:pt x="4411334" y="2431769"/>
                  <a:pt x="4409869" y="2435363"/>
                </a:cubicBezTo>
                <a:cubicBezTo>
                  <a:pt x="4408405" y="2438958"/>
                  <a:pt x="4406275" y="2442019"/>
                  <a:pt x="4403746" y="2444681"/>
                </a:cubicBezTo>
                <a:cubicBezTo>
                  <a:pt x="4401083" y="2447344"/>
                  <a:pt x="4398022" y="2449474"/>
                  <a:pt x="4394428" y="2450938"/>
                </a:cubicBezTo>
                <a:cubicBezTo>
                  <a:pt x="4390834" y="2452402"/>
                  <a:pt x="4386973" y="2453201"/>
                  <a:pt x="4382713" y="2453201"/>
                </a:cubicBezTo>
                <a:cubicBezTo>
                  <a:pt x="4373661" y="2453201"/>
                  <a:pt x="4366473" y="2450273"/>
                  <a:pt x="4360881" y="2444681"/>
                </a:cubicBezTo>
                <a:cubicBezTo>
                  <a:pt x="4355290" y="2439090"/>
                  <a:pt x="4352495" y="2432035"/>
                  <a:pt x="4352495" y="2423515"/>
                </a:cubicBezTo>
                <a:cubicBezTo>
                  <a:pt x="4352495" y="2415263"/>
                  <a:pt x="4355290" y="2408208"/>
                  <a:pt x="4360881" y="2402482"/>
                </a:cubicBezTo>
                <a:cubicBezTo>
                  <a:pt x="4366473" y="2396625"/>
                  <a:pt x="4373661" y="2393830"/>
                  <a:pt x="4382713" y="2393830"/>
                </a:cubicBezTo>
                <a:close/>
                <a:moveTo>
                  <a:pt x="4165068" y="2393830"/>
                </a:moveTo>
                <a:cubicBezTo>
                  <a:pt x="4169327" y="2393830"/>
                  <a:pt x="4173188" y="2394630"/>
                  <a:pt x="4176782" y="2396493"/>
                </a:cubicBezTo>
                <a:cubicBezTo>
                  <a:pt x="4180509" y="2398090"/>
                  <a:pt x="4183571" y="2400220"/>
                  <a:pt x="4186100" y="2402882"/>
                </a:cubicBezTo>
                <a:cubicBezTo>
                  <a:pt x="4188629" y="2405412"/>
                  <a:pt x="4190759" y="2408607"/>
                  <a:pt x="4192223" y="2412201"/>
                </a:cubicBezTo>
                <a:cubicBezTo>
                  <a:pt x="4193688" y="2415795"/>
                  <a:pt x="4194486" y="2419522"/>
                  <a:pt x="4194486" y="2423650"/>
                </a:cubicBezTo>
                <a:cubicBezTo>
                  <a:pt x="4194486" y="2427776"/>
                  <a:pt x="4193688" y="2431769"/>
                  <a:pt x="4192223" y="2435363"/>
                </a:cubicBezTo>
                <a:cubicBezTo>
                  <a:pt x="4190759" y="2438958"/>
                  <a:pt x="4188629" y="2442019"/>
                  <a:pt x="4186100" y="2444681"/>
                </a:cubicBezTo>
                <a:cubicBezTo>
                  <a:pt x="4183438" y="2447344"/>
                  <a:pt x="4180376" y="2449474"/>
                  <a:pt x="4176782" y="2450938"/>
                </a:cubicBezTo>
                <a:cubicBezTo>
                  <a:pt x="4173188" y="2452402"/>
                  <a:pt x="4169327" y="2453201"/>
                  <a:pt x="4165068" y="2453201"/>
                </a:cubicBezTo>
                <a:cubicBezTo>
                  <a:pt x="4156015" y="2453201"/>
                  <a:pt x="4148827" y="2450273"/>
                  <a:pt x="4143235" y="2444681"/>
                </a:cubicBezTo>
                <a:cubicBezTo>
                  <a:pt x="4137645" y="2439090"/>
                  <a:pt x="4134849" y="2432035"/>
                  <a:pt x="4134849" y="2423515"/>
                </a:cubicBezTo>
                <a:cubicBezTo>
                  <a:pt x="4134849" y="2415263"/>
                  <a:pt x="4137645" y="2408208"/>
                  <a:pt x="4143235" y="2402482"/>
                </a:cubicBezTo>
                <a:cubicBezTo>
                  <a:pt x="4148827" y="2396625"/>
                  <a:pt x="4156015" y="2393830"/>
                  <a:pt x="4165068" y="2393830"/>
                </a:cubicBezTo>
                <a:close/>
                <a:moveTo>
                  <a:pt x="3947558" y="2393830"/>
                </a:moveTo>
                <a:cubicBezTo>
                  <a:pt x="3951819" y="2393830"/>
                  <a:pt x="3955679" y="2394630"/>
                  <a:pt x="3959274" y="2396493"/>
                </a:cubicBezTo>
                <a:cubicBezTo>
                  <a:pt x="3963002" y="2398090"/>
                  <a:pt x="3966063" y="2400220"/>
                  <a:pt x="3968592" y="2402882"/>
                </a:cubicBezTo>
                <a:cubicBezTo>
                  <a:pt x="3971122" y="2405412"/>
                  <a:pt x="3973252" y="2408607"/>
                  <a:pt x="3974716" y="2412201"/>
                </a:cubicBezTo>
                <a:cubicBezTo>
                  <a:pt x="3976180" y="2415795"/>
                  <a:pt x="3976979" y="2419522"/>
                  <a:pt x="3976979" y="2423650"/>
                </a:cubicBezTo>
                <a:cubicBezTo>
                  <a:pt x="3976979" y="2427776"/>
                  <a:pt x="3976180" y="2431769"/>
                  <a:pt x="3974716" y="2435363"/>
                </a:cubicBezTo>
                <a:cubicBezTo>
                  <a:pt x="3973252" y="2438958"/>
                  <a:pt x="3971122" y="2442019"/>
                  <a:pt x="3968592" y="2444681"/>
                </a:cubicBezTo>
                <a:cubicBezTo>
                  <a:pt x="3965930" y="2447344"/>
                  <a:pt x="3962869" y="2449474"/>
                  <a:pt x="3959274" y="2450938"/>
                </a:cubicBezTo>
                <a:cubicBezTo>
                  <a:pt x="3955679" y="2452402"/>
                  <a:pt x="3951819" y="2453201"/>
                  <a:pt x="3947558" y="2453201"/>
                </a:cubicBezTo>
                <a:cubicBezTo>
                  <a:pt x="3938506" y="2453201"/>
                  <a:pt x="3931318" y="2450273"/>
                  <a:pt x="3925726" y="2444681"/>
                </a:cubicBezTo>
                <a:cubicBezTo>
                  <a:pt x="3920135" y="2439090"/>
                  <a:pt x="3917340" y="2432035"/>
                  <a:pt x="3917340" y="2423515"/>
                </a:cubicBezTo>
                <a:cubicBezTo>
                  <a:pt x="3917340" y="2415263"/>
                  <a:pt x="3920135" y="2408208"/>
                  <a:pt x="3925726" y="2402482"/>
                </a:cubicBezTo>
                <a:cubicBezTo>
                  <a:pt x="3931318" y="2396625"/>
                  <a:pt x="3938506" y="2393830"/>
                  <a:pt x="3947558" y="2393830"/>
                </a:cubicBezTo>
                <a:close/>
                <a:moveTo>
                  <a:pt x="3729907" y="2393830"/>
                </a:moveTo>
                <a:cubicBezTo>
                  <a:pt x="3734167" y="2393830"/>
                  <a:pt x="3738160" y="2394630"/>
                  <a:pt x="3741622" y="2396493"/>
                </a:cubicBezTo>
                <a:cubicBezTo>
                  <a:pt x="3745216" y="2398090"/>
                  <a:pt x="3748411" y="2400220"/>
                  <a:pt x="3750940" y="2402882"/>
                </a:cubicBezTo>
                <a:cubicBezTo>
                  <a:pt x="3753469" y="2405412"/>
                  <a:pt x="3755599" y="2408607"/>
                  <a:pt x="3757063" y="2412201"/>
                </a:cubicBezTo>
                <a:cubicBezTo>
                  <a:pt x="3758527" y="2415795"/>
                  <a:pt x="3759326" y="2419522"/>
                  <a:pt x="3759326" y="2423650"/>
                </a:cubicBezTo>
                <a:cubicBezTo>
                  <a:pt x="3759326" y="2427776"/>
                  <a:pt x="3758527" y="2431769"/>
                  <a:pt x="3757063" y="2435363"/>
                </a:cubicBezTo>
                <a:cubicBezTo>
                  <a:pt x="3755599" y="2438958"/>
                  <a:pt x="3753469" y="2442019"/>
                  <a:pt x="3750940" y="2444681"/>
                </a:cubicBezTo>
                <a:cubicBezTo>
                  <a:pt x="3748277" y="2447344"/>
                  <a:pt x="3745216" y="2449474"/>
                  <a:pt x="3741622" y="2450938"/>
                </a:cubicBezTo>
                <a:cubicBezTo>
                  <a:pt x="3738028" y="2452402"/>
                  <a:pt x="3734167" y="2453201"/>
                  <a:pt x="3729907" y="2453201"/>
                </a:cubicBezTo>
                <a:cubicBezTo>
                  <a:pt x="3720854" y="2453201"/>
                  <a:pt x="3713665" y="2450273"/>
                  <a:pt x="3708072" y="2444681"/>
                </a:cubicBezTo>
                <a:cubicBezTo>
                  <a:pt x="3702479" y="2439090"/>
                  <a:pt x="3699685" y="2432035"/>
                  <a:pt x="3699685" y="2423515"/>
                </a:cubicBezTo>
                <a:cubicBezTo>
                  <a:pt x="3699685" y="2415263"/>
                  <a:pt x="3702479" y="2408208"/>
                  <a:pt x="3708072" y="2402482"/>
                </a:cubicBezTo>
                <a:cubicBezTo>
                  <a:pt x="3713665" y="2396625"/>
                  <a:pt x="3720854" y="2393830"/>
                  <a:pt x="3729907" y="2393830"/>
                </a:cubicBezTo>
                <a:close/>
                <a:moveTo>
                  <a:pt x="3512254" y="2393830"/>
                </a:moveTo>
                <a:cubicBezTo>
                  <a:pt x="3516515" y="2393830"/>
                  <a:pt x="3520508" y="2394630"/>
                  <a:pt x="3523970" y="2396493"/>
                </a:cubicBezTo>
                <a:cubicBezTo>
                  <a:pt x="3527564" y="2398090"/>
                  <a:pt x="3530759" y="2400220"/>
                  <a:pt x="3533288" y="2402882"/>
                </a:cubicBezTo>
                <a:cubicBezTo>
                  <a:pt x="3535817" y="2405412"/>
                  <a:pt x="3537947" y="2408607"/>
                  <a:pt x="3539411" y="2412201"/>
                </a:cubicBezTo>
                <a:cubicBezTo>
                  <a:pt x="3540875" y="2415795"/>
                  <a:pt x="3541674" y="2419522"/>
                  <a:pt x="3541674" y="2423650"/>
                </a:cubicBezTo>
                <a:cubicBezTo>
                  <a:pt x="3541674" y="2427776"/>
                  <a:pt x="3540875" y="2431769"/>
                  <a:pt x="3539411" y="2435363"/>
                </a:cubicBezTo>
                <a:cubicBezTo>
                  <a:pt x="3537947" y="2438958"/>
                  <a:pt x="3535817" y="2442019"/>
                  <a:pt x="3533288" y="2444681"/>
                </a:cubicBezTo>
                <a:cubicBezTo>
                  <a:pt x="3530625" y="2447344"/>
                  <a:pt x="3527564" y="2449474"/>
                  <a:pt x="3523970" y="2450938"/>
                </a:cubicBezTo>
                <a:cubicBezTo>
                  <a:pt x="3520376" y="2452402"/>
                  <a:pt x="3516515" y="2453201"/>
                  <a:pt x="3512254" y="2453201"/>
                </a:cubicBezTo>
                <a:cubicBezTo>
                  <a:pt x="3503201" y="2453201"/>
                  <a:pt x="3496012" y="2450273"/>
                  <a:pt x="3490421" y="2444681"/>
                </a:cubicBezTo>
                <a:cubicBezTo>
                  <a:pt x="3484830" y="2439090"/>
                  <a:pt x="3482034" y="2432035"/>
                  <a:pt x="3482034" y="2423515"/>
                </a:cubicBezTo>
                <a:cubicBezTo>
                  <a:pt x="3482034" y="2415263"/>
                  <a:pt x="3484830" y="2408208"/>
                  <a:pt x="3490421" y="2402482"/>
                </a:cubicBezTo>
                <a:cubicBezTo>
                  <a:pt x="3496012" y="2396625"/>
                  <a:pt x="3503201" y="2393830"/>
                  <a:pt x="3512254" y="2393830"/>
                </a:cubicBezTo>
                <a:close/>
                <a:moveTo>
                  <a:pt x="3294736" y="2393830"/>
                </a:moveTo>
                <a:cubicBezTo>
                  <a:pt x="3298863" y="2393830"/>
                  <a:pt x="3302857" y="2394630"/>
                  <a:pt x="3306451" y="2396493"/>
                </a:cubicBezTo>
                <a:cubicBezTo>
                  <a:pt x="3310178" y="2398090"/>
                  <a:pt x="3313240" y="2400220"/>
                  <a:pt x="3315769" y="2402882"/>
                </a:cubicBezTo>
                <a:cubicBezTo>
                  <a:pt x="3318298" y="2405412"/>
                  <a:pt x="3320428" y="2408607"/>
                  <a:pt x="3321892" y="2412201"/>
                </a:cubicBezTo>
                <a:cubicBezTo>
                  <a:pt x="3323356" y="2415795"/>
                  <a:pt x="3324155" y="2419522"/>
                  <a:pt x="3324155" y="2423650"/>
                </a:cubicBezTo>
                <a:cubicBezTo>
                  <a:pt x="3324155" y="2427776"/>
                  <a:pt x="3323356" y="2431769"/>
                  <a:pt x="3321892" y="2435363"/>
                </a:cubicBezTo>
                <a:cubicBezTo>
                  <a:pt x="3320428" y="2438958"/>
                  <a:pt x="3318298" y="2442019"/>
                  <a:pt x="3315769" y="2444681"/>
                </a:cubicBezTo>
                <a:cubicBezTo>
                  <a:pt x="3313106" y="2447344"/>
                  <a:pt x="3310045" y="2449474"/>
                  <a:pt x="3306451" y="2450938"/>
                </a:cubicBezTo>
                <a:cubicBezTo>
                  <a:pt x="3302857" y="2452402"/>
                  <a:pt x="3298996" y="2453201"/>
                  <a:pt x="3294736" y="2453201"/>
                </a:cubicBezTo>
                <a:cubicBezTo>
                  <a:pt x="3285683" y="2453201"/>
                  <a:pt x="3278494" y="2450273"/>
                  <a:pt x="3272901" y="2444681"/>
                </a:cubicBezTo>
                <a:cubicBezTo>
                  <a:pt x="3267309" y="2439090"/>
                  <a:pt x="3264514" y="2432035"/>
                  <a:pt x="3264514" y="2423515"/>
                </a:cubicBezTo>
                <a:cubicBezTo>
                  <a:pt x="3264514" y="2415263"/>
                  <a:pt x="3267309" y="2408208"/>
                  <a:pt x="3272901" y="2402482"/>
                </a:cubicBezTo>
                <a:cubicBezTo>
                  <a:pt x="3278494" y="2396625"/>
                  <a:pt x="3285683" y="2393830"/>
                  <a:pt x="3294736" y="2393830"/>
                </a:cubicBezTo>
                <a:close/>
                <a:moveTo>
                  <a:pt x="3077083" y="2393830"/>
                </a:moveTo>
                <a:cubicBezTo>
                  <a:pt x="3081211" y="2393830"/>
                  <a:pt x="3085205" y="2394630"/>
                  <a:pt x="3088799" y="2396493"/>
                </a:cubicBezTo>
                <a:cubicBezTo>
                  <a:pt x="3092393" y="2398090"/>
                  <a:pt x="3095588" y="2400220"/>
                  <a:pt x="3098117" y="2402882"/>
                </a:cubicBezTo>
                <a:cubicBezTo>
                  <a:pt x="3100646" y="2405412"/>
                  <a:pt x="3102776" y="2408607"/>
                  <a:pt x="3104240" y="2412201"/>
                </a:cubicBezTo>
                <a:cubicBezTo>
                  <a:pt x="3105705" y="2415795"/>
                  <a:pt x="3106503" y="2419522"/>
                  <a:pt x="3106503" y="2423650"/>
                </a:cubicBezTo>
                <a:cubicBezTo>
                  <a:pt x="3106503" y="2427776"/>
                  <a:pt x="3105705" y="2431769"/>
                  <a:pt x="3104240" y="2435363"/>
                </a:cubicBezTo>
                <a:cubicBezTo>
                  <a:pt x="3102776" y="2438958"/>
                  <a:pt x="3100646" y="2442019"/>
                  <a:pt x="3098117" y="2444681"/>
                </a:cubicBezTo>
                <a:cubicBezTo>
                  <a:pt x="3095454" y="2447344"/>
                  <a:pt x="3092393" y="2449474"/>
                  <a:pt x="3088799" y="2450938"/>
                </a:cubicBezTo>
                <a:cubicBezTo>
                  <a:pt x="3085205" y="2452402"/>
                  <a:pt x="3081344" y="2453201"/>
                  <a:pt x="3077083" y="2453201"/>
                </a:cubicBezTo>
                <a:cubicBezTo>
                  <a:pt x="3068164" y="2453201"/>
                  <a:pt x="3060842" y="2450273"/>
                  <a:pt x="3055249" y="2444681"/>
                </a:cubicBezTo>
                <a:cubicBezTo>
                  <a:pt x="3049658" y="2439090"/>
                  <a:pt x="3046863" y="2432035"/>
                  <a:pt x="3046863" y="2423515"/>
                </a:cubicBezTo>
                <a:cubicBezTo>
                  <a:pt x="3046863" y="2415263"/>
                  <a:pt x="3049658" y="2408208"/>
                  <a:pt x="3055249" y="2402482"/>
                </a:cubicBezTo>
                <a:cubicBezTo>
                  <a:pt x="3060842" y="2396625"/>
                  <a:pt x="3068031" y="2393830"/>
                  <a:pt x="3077083" y="2393830"/>
                </a:cubicBezTo>
                <a:close/>
                <a:moveTo>
                  <a:pt x="2859432" y="2393830"/>
                </a:moveTo>
                <a:cubicBezTo>
                  <a:pt x="2863692" y="2393830"/>
                  <a:pt x="2867553" y="2394630"/>
                  <a:pt x="2871280" y="2396493"/>
                </a:cubicBezTo>
                <a:cubicBezTo>
                  <a:pt x="2875007" y="2398090"/>
                  <a:pt x="2878069" y="2400220"/>
                  <a:pt x="2880598" y="2402882"/>
                </a:cubicBezTo>
                <a:cubicBezTo>
                  <a:pt x="2883260" y="2405412"/>
                  <a:pt x="2885257" y="2408607"/>
                  <a:pt x="2886721" y="2412201"/>
                </a:cubicBezTo>
                <a:cubicBezTo>
                  <a:pt x="2888186" y="2415795"/>
                  <a:pt x="2888984" y="2419522"/>
                  <a:pt x="2888984" y="2423650"/>
                </a:cubicBezTo>
                <a:cubicBezTo>
                  <a:pt x="2888984" y="2427776"/>
                  <a:pt x="2888186" y="2431769"/>
                  <a:pt x="2886721" y="2435363"/>
                </a:cubicBezTo>
                <a:cubicBezTo>
                  <a:pt x="2885257" y="2438958"/>
                  <a:pt x="2883127" y="2442019"/>
                  <a:pt x="2880598" y="2444681"/>
                </a:cubicBezTo>
                <a:cubicBezTo>
                  <a:pt x="2877936" y="2447344"/>
                  <a:pt x="2874873" y="2449474"/>
                  <a:pt x="2871280" y="2450938"/>
                </a:cubicBezTo>
                <a:cubicBezTo>
                  <a:pt x="2867553" y="2452402"/>
                  <a:pt x="2863692" y="2453201"/>
                  <a:pt x="2859432" y="2453201"/>
                </a:cubicBezTo>
                <a:cubicBezTo>
                  <a:pt x="2850514" y="2453201"/>
                  <a:pt x="2843188" y="2450273"/>
                  <a:pt x="2837598" y="2444681"/>
                </a:cubicBezTo>
                <a:cubicBezTo>
                  <a:pt x="2832007" y="2439090"/>
                  <a:pt x="2829211" y="2432035"/>
                  <a:pt x="2829211" y="2423515"/>
                </a:cubicBezTo>
                <a:cubicBezTo>
                  <a:pt x="2829211" y="2415263"/>
                  <a:pt x="2832007" y="2408208"/>
                  <a:pt x="2837598" y="2402482"/>
                </a:cubicBezTo>
                <a:cubicBezTo>
                  <a:pt x="2843188" y="2396625"/>
                  <a:pt x="2850380" y="2393830"/>
                  <a:pt x="2859432" y="2393830"/>
                </a:cubicBezTo>
                <a:close/>
                <a:moveTo>
                  <a:pt x="2641779" y="2393830"/>
                </a:moveTo>
                <a:cubicBezTo>
                  <a:pt x="2646040" y="2393830"/>
                  <a:pt x="2649899" y="2394630"/>
                  <a:pt x="2653495" y="2396493"/>
                </a:cubicBezTo>
                <a:cubicBezTo>
                  <a:pt x="2657222" y="2398090"/>
                  <a:pt x="2660284" y="2400220"/>
                  <a:pt x="2662813" y="2402882"/>
                </a:cubicBezTo>
                <a:cubicBezTo>
                  <a:pt x="2665475" y="2405412"/>
                  <a:pt x="2667472" y="2408607"/>
                  <a:pt x="2668936" y="2412201"/>
                </a:cubicBezTo>
                <a:cubicBezTo>
                  <a:pt x="2670400" y="2415795"/>
                  <a:pt x="2671199" y="2419522"/>
                  <a:pt x="2671199" y="2423650"/>
                </a:cubicBezTo>
                <a:cubicBezTo>
                  <a:pt x="2671199" y="2427776"/>
                  <a:pt x="2670400" y="2431769"/>
                  <a:pt x="2668936" y="2435363"/>
                </a:cubicBezTo>
                <a:cubicBezTo>
                  <a:pt x="2667472" y="2438958"/>
                  <a:pt x="2665342" y="2442019"/>
                  <a:pt x="2662813" y="2444681"/>
                </a:cubicBezTo>
                <a:cubicBezTo>
                  <a:pt x="2660284" y="2447344"/>
                  <a:pt x="2657088" y="2449474"/>
                  <a:pt x="2653495" y="2450938"/>
                </a:cubicBezTo>
                <a:cubicBezTo>
                  <a:pt x="2649899" y="2452402"/>
                  <a:pt x="2646040" y="2453201"/>
                  <a:pt x="2641779" y="2453201"/>
                </a:cubicBezTo>
                <a:cubicBezTo>
                  <a:pt x="2632860" y="2453201"/>
                  <a:pt x="2625539" y="2450273"/>
                  <a:pt x="2619947" y="2444681"/>
                </a:cubicBezTo>
                <a:cubicBezTo>
                  <a:pt x="2614357" y="2439090"/>
                  <a:pt x="2611560" y="2432035"/>
                  <a:pt x="2611560" y="2423515"/>
                </a:cubicBezTo>
                <a:cubicBezTo>
                  <a:pt x="2611560" y="2415263"/>
                  <a:pt x="2614357" y="2408208"/>
                  <a:pt x="2619947" y="2402482"/>
                </a:cubicBezTo>
                <a:cubicBezTo>
                  <a:pt x="2625539" y="2396625"/>
                  <a:pt x="2632727" y="2393830"/>
                  <a:pt x="2641779" y="2393830"/>
                </a:cubicBezTo>
                <a:close/>
                <a:moveTo>
                  <a:pt x="2424127" y="2393830"/>
                </a:moveTo>
                <a:cubicBezTo>
                  <a:pt x="2428387" y="2393830"/>
                  <a:pt x="2432382" y="2394630"/>
                  <a:pt x="2435843" y="2396493"/>
                </a:cubicBezTo>
                <a:cubicBezTo>
                  <a:pt x="2439570" y="2398090"/>
                  <a:pt x="2442631" y="2400220"/>
                  <a:pt x="2445161" y="2402882"/>
                </a:cubicBezTo>
                <a:cubicBezTo>
                  <a:pt x="2447823" y="2405412"/>
                  <a:pt x="2449820" y="2408607"/>
                  <a:pt x="2451284" y="2412201"/>
                </a:cubicBezTo>
                <a:cubicBezTo>
                  <a:pt x="2452748" y="2415795"/>
                  <a:pt x="2453547" y="2419522"/>
                  <a:pt x="2453547" y="2423650"/>
                </a:cubicBezTo>
                <a:cubicBezTo>
                  <a:pt x="2453547" y="2427776"/>
                  <a:pt x="2452748" y="2431769"/>
                  <a:pt x="2451284" y="2435363"/>
                </a:cubicBezTo>
                <a:cubicBezTo>
                  <a:pt x="2449820" y="2438958"/>
                  <a:pt x="2447690" y="2442019"/>
                  <a:pt x="2445161" y="2444681"/>
                </a:cubicBezTo>
                <a:cubicBezTo>
                  <a:pt x="2442631" y="2447344"/>
                  <a:pt x="2439437" y="2449474"/>
                  <a:pt x="2435843" y="2450938"/>
                </a:cubicBezTo>
                <a:cubicBezTo>
                  <a:pt x="2432248" y="2452402"/>
                  <a:pt x="2428387" y="2453201"/>
                  <a:pt x="2424127" y="2453201"/>
                </a:cubicBezTo>
                <a:cubicBezTo>
                  <a:pt x="2415209" y="2453201"/>
                  <a:pt x="2407887" y="2450273"/>
                  <a:pt x="2402295" y="2444681"/>
                </a:cubicBezTo>
                <a:cubicBezTo>
                  <a:pt x="2396704" y="2439090"/>
                  <a:pt x="2393908" y="2432035"/>
                  <a:pt x="2393908" y="2423515"/>
                </a:cubicBezTo>
                <a:cubicBezTo>
                  <a:pt x="2393908" y="2415263"/>
                  <a:pt x="2396704" y="2408208"/>
                  <a:pt x="2402295" y="2402482"/>
                </a:cubicBezTo>
                <a:cubicBezTo>
                  <a:pt x="2407887" y="2396625"/>
                  <a:pt x="2415075" y="2393830"/>
                  <a:pt x="2424127" y="2393830"/>
                </a:cubicBezTo>
                <a:close/>
                <a:moveTo>
                  <a:pt x="2206475" y="2393830"/>
                </a:moveTo>
                <a:cubicBezTo>
                  <a:pt x="2210735" y="2393830"/>
                  <a:pt x="2214729" y="2394630"/>
                  <a:pt x="2218190" y="2396493"/>
                </a:cubicBezTo>
                <a:cubicBezTo>
                  <a:pt x="2221917" y="2398090"/>
                  <a:pt x="2224979" y="2400220"/>
                  <a:pt x="2227509" y="2402882"/>
                </a:cubicBezTo>
                <a:cubicBezTo>
                  <a:pt x="2230171" y="2405412"/>
                  <a:pt x="2232168" y="2408607"/>
                  <a:pt x="2233632" y="2412201"/>
                </a:cubicBezTo>
                <a:cubicBezTo>
                  <a:pt x="2235096" y="2415795"/>
                  <a:pt x="2235895" y="2419522"/>
                  <a:pt x="2235895" y="2423650"/>
                </a:cubicBezTo>
                <a:cubicBezTo>
                  <a:pt x="2235895" y="2427776"/>
                  <a:pt x="2235096" y="2431769"/>
                  <a:pt x="2233632" y="2435363"/>
                </a:cubicBezTo>
                <a:cubicBezTo>
                  <a:pt x="2232168" y="2438958"/>
                  <a:pt x="2230037" y="2442019"/>
                  <a:pt x="2227509" y="2444681"/>
                </a:cubicBezTo>
                <a:cubicBezTo>
                  <a:pt x="2224979" y="2447344"/>
                  <a:pt x="2221784" y="2449474"/>
                  <a:pt x="2218190" y="2450938"/>
                </a:cubicBezTo>
                <a:cubicBezTo>
                  <a:pt x="2214595" y="2452402"/>
                  <a:pt x="2210735" y="2453201"/>
                  <a:pt x="2206475" y="2453201"/>
                </a:cubicBezTo>
                <a:cubicBezTo>
                  <a:pt x="2197423" y="2453201"/>
                  <a:pt x="2190234" y="2450273"/>
                  <a:pt x="2184643" y="2444681"/>
                </a:cubicBezTo>
                <a:cubicBezTo>
                  <a:pt x="2179052" y="2439090"/>
                  <a:pt x="2176256" y="2432035"/>
                  <a:pt x="2176256" y="2423515"/>
                </a:cubicBezTo>
                <a:cubicBezTo>
                  <a:pt x="2176256" y="2415263"/>
                  <a:pt x="2179052" y="2408208"/>
                  <a:pt x="2184643" y="2402482"/>
                </a:cubicBezTo>
                <a:cubicBezTo>
                  <a:pt x="2190234" y="2396625"/>
                  <a:pt x="2197423" y="2393830"/>
                  <a:pt x="2206475" y="2393830"/>
                </a:cubicBezTo>
                <a:close/>
                <a:moveTo>
                  <a:pt x="1988956" y="2393830"/>
                </a:moveTo>
                <a:cubicBezTo>
                  <a:pt x="1993083" y="2393830"/>
                  <a:pt x="1997077" y="2394630"/>
                  <a:pt x="2000671" y="2396493"/>
                </a:cubicBezTo>
                <a:cubicBezTo>
                  <a:pt x="2004398" y="2398090"/>
                  <a:pt x="2007460" y="2400220"/>
                  <a:pt x="2009989" y="2402882"/>
                </a:cubicBezTo>
                <a:cubicBezTo>
                  <a:pt x="2012651" y="2405412"/>
                  <a:pt x="2014649" y="2408607"/>
                  <a:pt x="2016113" y="2412201"/>
                </a:cubicBezTo>
                <a:cubicBezTo>
                  <a:pt x="2017577" y="2415795"/>
                  <a:pt x="2018376" y="2419522"/>
                  <a:pt x="2018376" y="2423650"/>
                </a:cubicBezTo>
                <a:cubicBezTo>
                  <a:pt x="2018376" y="2427776"/>
                  <a:pt x="2017577" y="2431769"/>
                  <a:pt x="2016113" y="2435363"/>
                </a:cubicBezTo>
                <a:cubicBezTo>
                  <a:pt x="2014649" y="2438958"/>
                  <a:pt x="2012518" y="2442019"/>
                  <a:pt x="2009989" y="2444681"/>
                </a:cubicBezTo>
                <a:cubicBezTo>
                  <a:pt x="2007460" y="2447344"/>
                  <a:pt x="2004265" y="2449474"/>
                  <a:pt x="2000671" y="2450938"/>
                </a:cubicBezTo>
                <a:cubicBezTo>
                  <a:pt x="1997077" y="2452402"/>
                  <a:pt x="1993216" y="2453201"/>
                  <a:pt x="1988956" y="2453201"/>
                </a:cubicBezTo>
                <a:cubicBezTo>
                  <a:pt x="1979905" y="2453201"/>
                  <a:pt x="1972716" y="2450273"/>
                  <a:pt x="1967125" y="2444681"/>
                </a:cubicBezTo>
                <a:cubicBezTo>
                  <a:pt x="1961534" y="2439090"/>
                  <a:pt x="1958739" y="2432035"/>
                  <a:pt x="1958739" y="2423515"/>
                </a:cubicBezTo>
                <a:cubicBezTo>
                  <a:pt x="1958739" y="2415263"/>
                  <a:pt x="1961534" y="2408208"/>
                  <a:pt x="1967125" y="2402482"/>
                </a:cubicBezTo>
                <a:cubicBezTo>
                  <a:pt x="1972716" y="2396625"/>
                  <a:pt x="1979905" y="2393830"/>
                  <a:pt x="1988956" y="2393830"/>
                </a:cubicBezTo>
                <a:close/>
                <a:moveTo>
                  <a:pt x="1771316" y="2393830"/>
                </a:moveTo>
                <a:cubicBezTo>
                  <a:pt x="1775575" y="2393830"/>
                  <a:pt x="1779436" y="2394630"/>
                  <a:pt x="1783031" y="2396493"/>
                </a:cubicBezTo>
                <a:cubicBezTo>
                  <a:pt x="1786758" y="2398090"/>
                  <a:pt x="1789819" y="2400220"/>
                  <a:pt x="1792348" y="2402882"/>
                </a:cubicBezTo>
                <a:cubicBezTo>
                  <a:pt x="1795011" y="2405412"/>
                  <a:pt x="1797008" y="2408607"/>
                  <a:pt x="1798472" y="2412201"/>
                </a:cubicBezTo>
                <a:cubicBezTo>
                  <a:pt x="1799936" y="2415795"/>
                  <a:pt x="1800734" y="2419522"/>
                  <a:pt x="1800734" y="2423650"/>
                </a:cubicBezTo>
                <a:cubicBezTo>
                  <a:pt x="1800734" y="2427776"/>
                  <a:pt x="1799936" y="2431769"/>
                  <a:pt x="1798472" y="2435363"/>
                </a:cubicBezTo>
                <a:cubicBezTo>
                  <a:pt x="1797008" y="2438958"/>
                  <a:pt x="1794878" y="2442019"/>
                  <a:pt x="1792348" y="2444681"/>
                </a:cubicBezTo>
                <a:cubicBezTo>
                  <a:pt x="1789685" y="2447344"/>
                  <a:pt x="1786625" y="2449474"/>
                  <a:pt x="1783031" y="2450938"/>
                </a:cubicBezTo>
                <a:cubicBezTo>
                  <a:pt x="1779436" y="2452402"/>
                  <a:pt x="1775575" y="2453201"/>
                  <a:pt x="1771316" y="2453201"/>
                </a:cubicBezTo>
                <a:cubicBezTo>
                  <a:pt x="1762397" y="2453201"/>
                  <a:pt x="1755076" y="2450273"/>
                  <a:pt x="1749486" y="2444681"/>
                </a:cubicBezTo>
                <a:cubicBezTo>
                  <a:pt x="1743894" y="2439090"/>
                  <a:pt x="1741101" y="2432035"/>
                  <a:pt x="1741101" y="2423515"/>
                </a:cubicBezTo>
                <a:cubicBezTo>
                  <a:pt x="1741101" y="2415263"/>
                  <a:pt x="1743894" y="2408208"/>
                  <a:pt x="1749486" y="2402482"/>
                </a:cubicBezTo>
                <a:cubicBezTo>
                  <a:pt x="1755076" y="2396625"/>
                  <a:pt x="1762264" y="2393830"/>
                  <a:pt x="1771316" y="2393830"/>
                </a:cubicBezTo>
                <a:close/>
                <a:moveTo>
                  <a:pt x="1553674" y="2393830"/>
                </a:moveTo>
                <a:cubicBezTo>
                  <a:pt x="1557934" y="2393830"/>
                  <a:pt x="1561795" y="2394630"/>
                  <a:pt x="1565389" y="2396493"/>
                </a:cubicBezTo>
                <a:cubicBezTo>
                  <a:pt x="1568984" y="2398090"/>
                  <a:pt x="1572178" y="2400220"/>
                  <a:pt x="1574707" y="2402882"/>
                </a:cubicBezTo>
                <a:cubicBezTo>
                  <a:pt x="1577369" y="2405412"/>
                  <a:pt x="1579366" y="2408607"/>
                  <a:pt x="1580831" y="2412201"/>
                </a:cubicBezTo>
                <a:cubicBezTo>
                  <a:pt x="1582295" y="2415795"/>
                  <a:pt x="1583094" y="2419522"/>
                  <a:pt x="1583094" y="2423650"/>
                </a:cubicBezTo>
                <a:cubicBezTo>
                  <a:pt x="1583094" y="2427776"/>
                  <a:pt x="1582295" y="2431769"/>
                  <a:pt x="1580831" y="2435363"/>
                </a:cubicBezTo>
                <a:cubicBezTo>
                  <a:pt x="1579366" y="2438958"/>
                  <a:pt x="1577236" y="2442019"/>
                  <a:pt x="1574707" y="2444681"/>
                </a:cubicBezTo>
                <a:cubicBezTo>
                  <a:pt x="1572045" y="2447344"/>
                  <a:pt x="1568984" y="2449474"/>
                  <a:pt x="1565389" y="2450938"/>
                </a:cubicBezTo>
                <a:cubicBezTo>
                  <a:pt x="1561795" y="2452402"/>
                  <a:pt x="1557934" y="2453201"/>
                  <a:pt x="1553674" y="2453201"/>
                </a:cubicBezTo>
                <a:cubicBezTo>
                  <a:pt x="1544756" y="2453201"/>
                  <a:pt x="1537434" y="2450273"/>
                  <a:pt x="1531843" y="2444681"/>
                </a:cubicBezTo>
                <a:cubicBezTo>
                  <a:pt x="1526254" y="2439090"/>
                  <a:pt x="1523457" y="2432035"/>
                  <a:pt x="1523457" y="2423515"/>
                </a:cubicBezTo>
                <a:cubicBezTo>
                  <a:pt x="1523457" y="2415263"/>
                  <a:pt x="1526254" y="2408208"/>
                  <a:pt x="1531843" y="2402482"/>
                </a:cubicBezTo>
                <a:cubicBezTo>
                  <a:pt x="1537434" y="2396625"/>
                  <a:pt x="1544622" y="2393830"/>
                  <a:pt x="1553674" y="2393830"/>
                </a:cubicBezTo>
                <a:close/>
                <a:moveTo>
                  <a:pt x="1336029" y="2393830"/>
                </a:moveTo>
                <a:cubicBezTo>
                  <a:pt x="1340290" y="2393830"/>
                  <a:pt x="1344285" y="2394630"/>
                  <a:pt x="1347746" y="2396493"/>
                </a:cubicBezTo>
                <a:cubicBezTo>
                  <a:pt x="1351339" y="2398090"/>
                  <a:pt x="1354533" y="2400220"/>
                  <a:pt x="1357064" y="2402882"/>
                </a:cubicBezTo>
                <a:cubicBezTo>
                  <a:pt x="1359726" y="2405412"/>
                  <a:pt x="1361722" y="2408607"/>
                  <a:pt x="1363186" y="2412201"/>
                </a:cubicBezTo>
                <a:cubicBezTo>
                  <a:pt x="1364651" y="2415795"/>
                  <a:pt x="1365449" y="2419522"/>
                  <a:pt x="1365449" y="2423650"/>
                </a:cubicBezTo>
                <a:cubicBezTo>
                  <a:pt x="1365449" y="2427776"/>
                  <a:pt x="1364651" y="2431769"/>
                  <a:pt x="1363186" y="2435363"/>
                </a:cubicBezTo>
                <a:cubicBezTo>
                  <a:pt x="1361722" y="2438958"/>
                  <a:pt x="1359592" y="2442019"/>
                  <a:pt x="1357064" y="2444681"/>
                </a:cubicBezTo>
                <a:cubicBezTo>
                  <a:pt x="1354400" y="2447344"/>
                  <a:pt x="1351339" y="2449474"/>
                  <a:pt x="1347746" y="2450938"/>
                </a:cubicBezTo>
                <a:cubicBezTo>
                  <a:pt x="1344151" y="2452402"/>
                  <a:pt x="1340290" y="2453201"/>
                  <a:pt x="1336029" y="2453201"/>
                </a:cubicBezTo>
                <a:cubicBezTo>
                  <a:pt x="1327110" y="2453201"/>
                  <a:pt x="1319789" y="2450273"/>
                  <a:pt x="1314198" y="2444681"/>
                </a:cubicBezTo>
                <a:cubicBezTo>
                  <a:pt x="1308607" y="2439090"/>
                  <a:pt x="1305812" y="2432035"/>
                  <a:pt x="1305812" y="2423515"/>
                </a:cubicBezTo>
                <a:cubicBezTo>
                  <a:pt x="1305812" y="2415263"/>
                  <a:pt x="1308607" y="2408208"/>
                  <a:pt x="1314198" y="2402482"/>
                </a:cubicBezTo>
                <a:cubicBezTo>
                  <a:pt x="1319789" y="2396625"/>
                  <a:pt x="1326978" y="2393830"/>
                  <a:pt x="1336029" y="2393830"/>
                </a:cubicBezTo>
                <a:close/>
                <a:moveTo>
                  <a:pt x="1118385" y="2393830"/>
                </a:moveTo>
                <a:cubicBezTo>
                  <a:pt x="1122645" y="2393830"/>
                  <a:pt x="1126641" y="2394630"/>
                  <a:pt x="1130102" y="2396493"/>
                </a:cubicBezTo>
                <a:cubicBezTo>
                  <a:pt x="1133828" y="2398090"/>
                  <a:pt x="1136890" y="2400220"/>
                  <a:pt x="1139419" y="2402882"/>
                </a:cubicBezTo>
                <a:cubicBezTo>
                  <a:pt x="1142080" y="2405412"/>
                  <a:pt x="1144076" y="2408607"/>
                  <a:pt x="1145540" y="2412201"/>
                </a:cubicBezTo>
                <a:cubicBezTo>
                  <a:pt x="1147004" y="2415795"/>
                  <a:pt x="1147803" y="2419522"/>
                  <a:pt x="1147803" y="2423650"/>
                </a:cubicBezTo>
                <a:cubicBezTo>
                  <a:pt x="1147803" y="2427776"/>
                  <a:pt x="1147004" y="2431769"/>
                  <a:pt x="1145540" y="2435363"/>
                </a:cubicBezTo>
                <a:cubicBezTo>
                  <a:pt x="1144076" y="2438958"/>
                  <a:pt x="1141947" y="2442019"/>
                  <a:pt x="1139419" y="2444681"/>
                </a:cubicBezTo>
                <a:cubicBezTo>
                  <a:pt x="1136890" y="2447344"/>
                  <a:pt x="1133695" y="2449474"/>
                  <a:pt x="1130102" y="2450938"/>
                </a:cubicBezTo>
                <a:cubicBezTo>
                  <a:pt x="1126506" y="2452402"/>
                  <a:pt x="1122645" y="2453201"/>
                  <a:pt x="1118385" y="2453201"/>
                </a:cubicBezTo>
                <a:cubicBezTo>
                  <a:pt x="1109466" y="2453201"/>
                  <a:pt x="1102143" y="2450273"/>
                  <a:pt x="1096552" y="2444681"/>
                </a:cubicBezTo>
                <a:cubicBezTo>
                  <a:pt x="1090961" y="2439090"/>
                  <a:pt x="1088167" y="2432035"/>
                  <a:pt x="1088167" y="2423515"/>
                </a:cubicBezTo>
                <a:cubicBezTo>
                  <a:pt x="1088167" y="2415263"/>
                  <a:pt x="1090961" y="2408208"/>
                  <a:pt x="1096552" y="2402482"/>
                </a:cubicBezTo>
                <a:cubicBezTo>
                  <a:pt x="1102143" y="2396625"/>
                  <a:pt x="1109332" y="2393830"/>
                  <a:pt x="1118385" y="2393830"/>
                </a:cubicBezTo>
                <a:close/>
                <a:moveTo>
                  <a:pt x="900873" y="2393830"/>
                </a:moveTo>
                <a:cubicBezTo>
                  <a:pt x="904999" y="2393830"/>
                  <a:pt x="908994" y="2394630"/>
                  <a:pt x="912588" y="2396493"/>
                </a:cubicBezTo>
                <a:cubicBezTo>
                  <a:pt x="916315" y="2398090"/>
                  <a:pt x="919377" y="2400220"/>
                  <a:pt x="921906" y="2402882"/>
                </a:cubicBezTo>
                <a:cubicBezTo>
                  <a:pt x="924568" y="2405412"/>
                  <a:pt x="926565" y="2408607"/>
                  <a:pt x="928028" y="2412201"/>
                </a:cubicBezTo>
                <a:cubicBezTo>
                  <a:pt x="929493" y="2415795"/>
                  <a:pt x="930292" y="2419522"/>
                  <a:pt x="930292" y="2423650"/>
                </a:cubicBezTo>
                <a:cubicBezTo>
                  <a:pt x="930292" y="2427776"/>
                  <a:pt x="929493" y="2431769"/>
                  <a:pt x="928028" y="2435363"/>
                </a:cubicBezTo>
                <a:cubicBezTo>
                  <a:pt x="926565" y="2438958"/>
                  <a:pt x="924435" y="2442019"/>
                  <a:pt x="921906" y="2444681"/>
                </a:cubicBezTo>
                <a:cubicBezTo>
                  <a:pt x="919377" y="2447344"/>
                  <a:pt x="916182" y="2449474"/>
                  <a:pt x="912588" y="2450938"/>
                </a:cubicBezTo>
                <a:cubicBezTo>
                  <a:pt x="908994" y="2452402"/>
                  <a:pt x="905132" y="2453201"/>
                  <a:pt x="900873" y="2453201"/>
                </a:cubicBezTo>
                <a:cubicBezTo>
                  <a:pt x="891954" y="2453201"/>
                  <a:pt x="884632" y="2450273"/>
                  <a:pt x="879042" y="2444681"/>
                </a:cubicBezTo>
                <a:cubicBezTo>
                  <a:pt x="873452" y="2439090"/>
                  <a:pt x="870656" y="2432035"/>
                  <a:pt x="870656" y="2423515"/>
                </a:cubicBezTo>
                <a:cubicBezTo>
                  <a:pt x="870656" y="2415263"/>
                  <a:pt x="873452" y="2408208"/>
                  <a:pt x="879042" y="2402482"/>
                </a:cubicBezTo>
                <a:cubicBezTo>
                  <a:pt x="884632" y="2396625"/>
                  <a:pt x="891821" y="2393830"/>
                  <a:pt x="900873" y="2393830"/>
                </a:cubicBezTo>
                <a:close/>
                <a:moveTo>
                  <a:pt x="683230" y="2393830"/>
                </a:moveTo>
                <a:cubicBezTo>
                  <a:pt x="687490" y="2393830"/>
                  <a:pt x="691351" y="2394630"/>
                  <a:pt x="694945" y="2396493"/>
                </a:cubicBezTo>
                <a:cubicBezTo>
                  <a:pt x="698672" y="2398090"/>
                  <a:pt x="701734" y="2400220"/>
                  <a:pt x="704263" y="2402882"/>
                </a:cubicBezTo>
                <a:cubicBezTo>
                  <a:pt x="706924" y="2405412"/>
                  <a:pt x="708922" y="2408607"/>
                  <a:pt x="710386" y="2412201"/>
                </a:cubicBezTo>
                <a:cubicBezTo>
                  <a:pt x="711850" y="2415795"/>
                  <a:pt x="712649" y="2419522"/>
                  <a:pt x="712649" y="2423650"/>
                </a:cubicBezTo>
                <a:cubicBezTo>
                  <a:pt x="712649" y="2427776"/>
                  <a:pt x="711850" y="2431769"/>
                  <a:pt x="710386" y="2435363"/>
                </a:cubicBezTo>
                <a:cubicBezTo>
                  <a:pt x="708922" y="2438958"/>
                  <a:pt x="706792" y="2442019"/>
                  <a:pt x="704263" y="2444681"/>
                </a:cubicBezTo>
                <a:cubicBezTo>
                  <a:pt x="701734" y="2447344"/>
                  <a:pt x="698539" y="2449474"/>
                  <a:pt x="694945" y="2450938"/>
                </a:cubicBezTo>
                <a:cubicBezTo>
                  <a:pt x="691351" y="2452402"/>
                  <a:pt x="687490" y="2453201"/>
                  <a:pt x="683230" y="2453201"/>
                </a:cubicBezTo>
                <a:cubicBezTo>
                  <a:pt x="674312" y="2453201"/>
                  <a:pt x="666990" y="2450273"/>
                  <a:pt x="661398" y="2444681"/>
                </a:cubicBezTo>
                <a:cubicBezTo>
                  <a:pt x="655807" y="2439090"/>
                  <a:pt x="653012" y="2432035"/>
                  <a:pt x="653012" y="2423515"/>
                </a:cubicBezTo>
                <a:cubicBezTo>
                  <a:pt x="653012" y="2415263"/>
                  <a:pt x="655807" y="2408208"/>
                  <a:pt x="661398" y="2402482"/>
                </a:cubicBezTo>
                <a:cubicBezTo>
                  <a:pt x="666990" y="2396625"/>
                  <a:pt x="674179" y="2393830"/>
                  <a:pt x="683230" y="2393830"/>
                </a:cubicBezTo>
                <a:close/>
                <a:moveTo>
                  <a:pt x="465586" y="2393830"/>
                </a:moveTo>
                <a:cubicBezTo>
                  <a:pt x="469846" y="2393830"/>
                  <a:pt x="473707" y="2394630"/>
                  <a:pt x="477302" y="2396493"/>
                </a:cubicBezTo>
                <a:cubicBezTo>
                  <a:pt x="481029" y="2398090"/>
                  <a:pt x="484090" y="2400220"/>
                  <a:pt x="486620" y="2402882"/>
                </a:cubicBezTo>
                <a:cubicBezTo>
                  <a:pt x="489281" y="2405412"/>
                  <a:pt x="491279" y="2408607"/>
                  <a:pt x="492743" y="2412201"/>
                </a:cubicBezTo>
                <a:cubicBezTo>
                  <a:pt x="494206" y="2415795"/>
                  <a:pt x="495006" y="2419522"/>
                  <a:pt x="495006" y="2423650"/>
                </a:cubicBezTo>
                <a:cubicBezTo>
                  <a:pt x="495006" y="2427776"/>
                  <a:pt x="494206" y="2431769"/>
                  <a:pt x="492743" y="2435363"/>
                </a:cubicBezTo>
                <a:cubicBezTo>
                  <a:pt x="491279" y="2438958"/>
                  <a:pt x="489149" y="2442019"/>
                  <a:pt x="486620" y="2444681"/>
                </a:cubicBezTo>
                <a:cubicBezTo>
                  <a:pt x="483957" y="2447344"/>
                  <a:pt x="480896" y="2449474"/>
                  <a:pt x="477302" y="2450938"/>
                </a:cubicBezTo>
                <a:cubicBezTo>
                  <a:pt x="473707" y="2452402"/>
                  <a:pt x="469846" y="2453201"/>
                  <a:pt x="465586" y="2453201"/>
                </a:cubicBezTo>
                <a:cubicBezTo>
                  <a:pt x="456668" y="2453201"/>
                  <a:pt x="449346" y="2450273"/>
                  <a:pt x="443755" y="2444681"/>
                </a:cubicBezTo>
                <a:cubicBezTo>
                  <a:pt x="438164" y="2439090"/>
                  <a:pt x="435369" y="2432035"/>
                  <a:pt x="435369" y="2423515"/>
                </a:cubicBezTo>
                <a:cubicBezTo>
                  <a:pt x="435369" y="2415263"/>
                  <a:pt x="438164" y="2408208"/>
                  <a:pt x="443755" y="2402482"/>
                </a:cubicBezTo>
                <a:cubicBezTo>
                  <a:pt x="449346" y="2396625"/>
                  <a:pt x="456535" y="2393830"/>
                  <a:pt x="465586" y="2393830"/>
                </a:cubicBezTo>
                <a:close/>
                <a:moveTo>
                  <a:pt x="247943" y="2393830"/>
                </a:moveTo>
                <a:cubicBezTo>
                  <a:pt x="252203" y="2393830"/>
                  <a:pt x="256197" y="2394630"/>
                  <a:pt x="259658" y="2396493"/>
                </a:cubicBezTo>
                <a:cubicBezTo>
                  <a:pt x="263385" y="2398090"/>
                  <a:pt x="266447" y="2400220"/>
                  <a:pt x="268976" y="2402882"/>
                </a:cubicBezTo>
                <a:cubicBezTo>
                  <a:pt x="271638" y="2405412"/>
                  <a:pt x="273635" y="2408607"/>
                  <a:pt x="275099" y="2412201"/>
                </a:cubicBezTo>
                <a:cubicBezTo>
                  <a:pt x="276563" y="2415795"/>
                  <a:pt x="277362" y="2419522"/>
                  <a:pt x="277362" y="2423650"/>
                </a:cubicBezTo>
                <a:cubicBezTo>
                  <a:pt x="277362" y="2427776"/>
                  <a:pt x="276563" y="2431769"/>
                  <a:pt x="275099" y="2435363"/>
                </a:cubicBezTo>
                <a:cubicBezTo>
                  <a:pt x="273635" y="2438958"/>
                  <a:pt x="271505" y="2442019"/>
                  <a:pt x="268976" y="2444681"/>
                </a:cubicBezTo>
                <a:cubicBezTo>
                  <a:pt x="266313" y="2447344"/>
                  <a:pt x="263252" y="2449474"/>
                  <a:pt x="259658" y="2450938"/>
                </a:cubicBezTo>
                <a:cubicBezTo>
                  <a:pt x="256063" y="2452402"/>
                  <a:pt x="252203" y="2453201"/>
                  <a:pt x="247943" y="2453201"/>
                </a:cubicBezTo>
                <a:cubicBezTo>
                  <a:pt x="239025" y="2453201"/>
                  <a:pt x="231704" y="2450273"/>
                  <a:pt x="226113" y="2444681"/>
                </a:cubicBezTo>
                <a:cubicBezTo>
                  <a:pt x="220522" y="2439090"/>
                  <a:pt x="217727" y="2432035"/>
                  <a:pt x="217727" y="2423515"/>
                </a:cubicBezTo>
                <a:cubicBezTo>
                  <a:pt x="217727" y="2415263"/>
                  <a:pt x="220522" y="2408208"/>
                  <a:pt x="226113" y="2402482"/>
                </a:cubicBezTo>
                <a:cubicBezTo>
                  <a:pt x="231704" y="2396625"/>
                  <a:pt x="238891" y="2393830"/>
                  <a:pt x="247943" y="2393830"/>
                </a:cubicBezTo>
                <a:close/>
                <a:moveTo>
                  <a:pt x="30300" y="2393830"/>
                </a:moveTo>
                <a:cubicBezTo>
                  <a:pt x="34560" y="2393830"/>
                  <a:pt x="38554" y="2394630"/>
                  <a:pt x="42015" y="2396493"/>
                </a:cubicBezTo>
                <a:cubicBezTo>
                  <a:pt x="45742" y="2398090"/>
                  <a:pt x="48804" y="2400220"/>
                  <a:pt x="51333" y="2402882"/>
                </a:cubicBezTo>
                <a:cubicBezTo>
                  <a:pt x="53995" y="2405412"/>
                  <a:pt x="55992" y="2408607"/>
                  <a:pt x="57456" y="2412201"/>
                </a:cubicBezTo>
                <a:cubicBezTo>
                  <a:pt x="58920" y="2415795"/>
                  <a:pt x="59719" y="2419522"/>
                  <a:pt x="59719" y="2423650"/>
                </a:cubicBezTo>
                <a:cubicBezTo>
                  <a:pt x="59719" y="2427776"/>
                  <a:pt x="58920" y="2431769"/>
                  <a:pt x="57456" y="2435363"/>
                </a:cubicBezTo>
                <a:cubicBezTo>
                  <a:pt x="55992" y="2438958"/>
                  <a:pt x="53862" y="2442019"/>
                  <a:pt x="51333" y="2444681"/>
                </a:cubicBezTo>
                <a:cubicBezTo>
                  <a:pt x="48670" y="2447344"/>
                  <a:pt x="45609" y="2449474"/>
                  <a:pt x="42015" y="2450938"/>
                </a:cubicBezTo>
                <a:cubicBezTo>
                  <a:pt x="38421" y="2452402"/>
                  <a:pt x="34560" y="2453201"/>
                  <a:pt x="30300" y="2453201"/>
                </a:cubicBezTo>
                <a:cubicBezTo>
                  <a:pt x="21382" y="2453201"/>
                  <a:pt x="14060" y="2450273"/>
                  <a:pt x="8470" y="2444681"/>
                </a:cubicBezTo>
                <a:cubicBezTo>
                  <a:pt x="2879" y="2439090"/>
                  <a:pt x="84" y="2432035"/>
                  <a:pt x="84" y="2423515"/>
                </a:cubicBezTo>
                <a:cubicBezTo>
                  <a:pt x="84" y="2415263"/>
                  <a:pt x="2879" y="2408208"/>
                  <a:pt x="8470" y="2402482"/>
                </a:cubicBezTo>
                <a:cubicBezTo>
                  <a:pt x="14060" y="2396625"/>
                  <a:pt x="21248" y="2393830"/>
                  <a:pt x="30300" y="2393830"/>
                </a:cubicBezTo>
                <a:close/>
                <a:moveTo>
                  <a:pt x="10475977" y="2192826"/>
                </a:moveTo>
                <a:cubicBezTo>
                  <a:pt x="10470119" y="2192826"/>
                  <a:pt x="10467589" y="2194822"/>
                  <a:pt x="10465992" y="2196420"/>
                </a:cubicBezTo>
                <a:cubicBezTo>
                  <a:pt x="10463463" y="2199082"/>
                  <a:pt x="10462399" y="2201878"/>
                  <a:pt x="10462399" y="2205871"/>
                </a:cubicBezTo>
                <a:cubicBezTo>
                  <a:pt x="10462399" y="2209999"/>
                  <a:pt x="10463463" y="2212793"/>
                  <a:pt x="10465992" y="2215322"/>
                </a:cubicBezTo>
                <a:cubicBezTo>
                  <a:pt x="10467589" y="2216920"/>
                  <a:pt x="10470119" y="2218783"/>
                  <a:pt x="10475977" y="2218783"/>
                </a:cubicBezTo>
                <a:cubicBezTo>
                  <a:pt x="10478107" y="2218783"/>
                  <a:pt x="10479838" y="2218517"/>
                  <a:pt x="10481302" y="2217851"/>
                </a:cubicBezTo>
                <a:cubicBezTo>
                  <a:pt x="10482899" y="2217319"/>
                  <a:pt x="10484098" y="2216520"/>
                  <a:pt x="10485029" y="2215455"/>
                </a:cubicBezTo>
                <a:cubicBezTo>
                  <a:pt x="10486094" y="2214257"/>
                  <a:pt x="10487026" y="2212926"/>
                  <a:pt x="10487691" y="2211196"/>
                </a:cubicBezTo>
                <a:cubicBezTo>
                  <a:pt x="10488357" y="2209598"/>
                  <a:pt x="10488623" y="2207734"/>
                  <a:pt x="10488623" y="2205738"/>
                </a:cubicBezTo>
                <a:cubicBezTo>
                  <a:pt x="10488623" y="2203874"/>
                  <a:pt x="10488357" y="2202144"/>
                  <a:pt x="10487691" y="2200546"/>
                </a:cubicBezTo>
                <a:cubicBezTo>
                  <a:pt x="10487026" y="2198949"/>
                  <a:pt x="10486094" y="2197618"/>
                  <a:pt x="10485029" y="2196420"/>
                </a:cubicBezTo>
                <a:cubicBezTo>
                  <a:pt x="10483964" y="2195354"/>
                  <a:pt x="10482633" y="2194555"/>
                  <a:pt x="10481035" y="2193757"/>
                </a:cubicBezTo>
                <a:cubicBezTo>
                  <a:pt x="10479571" y="2193091"/>
                  <a:pt x="10477974" y="2192826"/>
                  <a:pt x="10475977" y="2192826"/>
                </a:cubicBezTo>
                <a:close/>
                <a:moveTo>
                  <a:pt x="10258466" y="2192826"/>
                </a:moveTo>
                <a:cubicBezTo>
                  <a:pt x="10252608" y="2192826"/>
                  <a:pt x="10250078" y="2194822"/>
                  <a:pt x="10248481" y="2196420"/>
                </a:cubicBezTo>
                <a:cubicBezTo>
                  <a:pt x="10245952" y="2199082"/>
                  <a:pt x="10244887" y="2201878"/>
                  <a:pt x="10244887" y="2205871"/>
                </a:cubicBezTo>
                <a:cubicBezTo>
                  <a:pt x="10244887" y="2209999"/>
                  <a:pt x="10245952" y="2212793"/>
                  <a:pt x="10248481" y="2215322"/>
                </a:cubicBezTo>
                <a:cubicBezTo>
                  <a:pt x="10250078" y="2216920"/>
                  <a:pt x="10252608" y="2218783"/>
                  <a:pt x="10258466" y="2218783"/>
                </a:cubicBezTo>
                <a:cubicBezTo>
                  <a:pt x="10260462" y="2218783"/>
                  <a:pt x="10262192" y="2218517"/>
                  <a:pt x="10263790" y="2217851"/>
                </a:cubicBezTo>
                <a:cubicBezTo>
                  <a:pt x="10265388" y="2217319"/>
                  <a:pt x="10266586" y="2216520"/>
                  <a:pt x="10267517" y="2215455"/>
                </a:cubicBezTo>
                <a:cubicBezTo>
                  <a:pt x="10268583" y="2214257"/>
                  <a:pt x="10269515" y="2212926"/>
                  <a:pt x="10270180" y="2211196"/>
                </a:cubicBezTo>
                <a:cubicBezTo>
                  <a:pt x="10270845" y="2209598"/>
                  <a:pt x="10271112" y="2207734"/>
                  <a:pt x="10271112" y="2205738"/>
                </a:cubicBezTo>
                <a:cubicBezTo>
                  <a:pt x="10271112" y="2203874"/>
                  <a:pt x="10270845" y="2202144"/>
                  <a:pt x="10270180" y="2200546"/>
                </a:cubicBezTo>
                <a:cubicBezTo>
                  <a:pt x="10269515" y="2198949"/>
                  <a:pt x="10268583" y="2197618"/>
                  <a:pt x="10267517" y="2196420"/>
                </a:cubicBezTo>
                <a:cubicBezTo>
                  <a:pt x="10266452" y="2195354"/>
                  <a:pt x="10265121" y="2194555"/>
                  <a:pt x="10263524" y="2193757"/>
                </a:cubicBezTo>
                <a:cubicBezTo>
                  <a:pt x="10262060" y="2193091"/>
                  <a:pt x="10260462" y="2192826"/>
                  <a:pt x="10258466" y="2192826"/>
                </a:cubicBezTo>
                <a:close/>
                <a:moveTo>
                  <a:pt x="10040820" y="2192826"/>
                </a:moveTo>
                <a:cubicBezTo>
                  <a:pt x="10034962" y="2192826"/>
                  <a:pt x="10032433" y="2194822"/>
                  <a:pt x="10030835" y="2196420"/>
                </a:cubicBezTo>
                <a:cubicBezTo>
                  <a:pt x="10028306" y="2199082"/>
                  <a:pt x="10027242" y="2201878"/>
                  <a:pt x="10027242" y="2205871"/>
                </a:cubicBezTo>
                <a:cubicBezTo>
                  <a:pt x="10027242" y="2209999"/>
                  <a:pt x="10028306" y="2212793"/>
                  <a:pt x="10030835" y="2215322"/>
                </a:cubicBezTo>
                <a:cubicBezTo>
                  <a:pt x="10032433" y="2216920"/>
                  <a:pt x="10034962" y="2218783"/>
                  <a:pt x="10040820" y="2218783"/>
                </a:cubicBezTo>
                <a:cubicBezTo>
                  <a:pt x="10042817" y="2218783"/>
                  <a:pt x="10044681" y="2218517"/>
                  <a:pt x="10046145" y="2217851"/>
                </a:cubicBezTo>
                <a:cubicBezTo>
                  <a:pt x="10047742" y="2217319"/>
                  <a:pt x="10048941" y="2216520"/>
                  <a:pt x="10049872" y="2215455"/>
                </a:cubicBezTo>
                <a:cubicBezTo>
                  <a:pt x="10050937" y="2214257"/>
                  <a:pt x="10051869" y="2212926"/>
                  <a:pt x="10052534" y="2211196"/>
                </a:cubicBezTo>
                <a:cubicBezTo>
                  <a:pt x="10053333" y="2209598"/>
                  <a:pt x="10053599" y="2207734"/>
                  <a:pt x="10053599" y="2205738"/>
                </a:cubicBezTo>
                <a:cubicBezTo>
                  <a:pt x="10053599" y="2203874"/>
                  <a:pt x="10053200" y="2202144"/>
                  <a:pt x="10052534" y="2200546"/>
                </a:cubicBezTo>
                <a:cubicBezTo>
                  <a:pt x="10051869" y="2198949"/>
                  <a:pt x="10050937" y="2197618"/>
                  <a:pt x="10049872" y="2196420"/>
                </a:cubicBezTo>
                <a:cubicBezTo>
                  <a:pt x="10048807" y="2195354"/>
                  <a:pt x="10047476" y="2194555"/>
                  <a:pt x="10045878" y="2193757"/>
                </a:cubicBezTo>
                <a:cubicBezTo>
                  <a:pt x="10044414" y="2193091"/>
                  <a:pt x="10042817" y="2192826"/>
                  <a:pt x="10040820" y="2192826"/>
                </a:cubicBezTo>
                <a:close/>
                <a:moveTo>
                  <a:pt x="9823176" y="2192826"/>
                </a:moveTo>
                <a:cubicBezTo>
                  <a:pt x="9817318" y="2192826"/>
                  <a:pt x="9814788" y="2194822"/>
                  <a:pt x="9813191" y="2196420"/>
                </a:cubicBezTo>
                <a:cubicBezTo>
                  <a:pt x="9810662" y="2199082"/>
                  <a:pt x="9809597" y="2201878"/>
                  <a:pt x="9809597" y="2205871"/>
                </a:cubicBezTo>
                <a:cubicBezTo>
                  <a:pt x="9809597" y="2209999"/>
                  <a:pt x="9810662" y="2212793"/>
                  <a:pt x="9813191" y="2215322"/>
                </a:cubicBezTo>
                <a:cubicBezTo>
                  <a:pt x="9814788" y="2216920"/>
                  <a:pt x="9817318" y="2218783"/>
                  <a:pt x="9823176" y="2218783"/>
                </a:cubicBezTo>
                <a:cubicBezTo>
                  <a:pt x="9825173" y="2218783"/>
                  <a:pt x="9827036" y="2218517"/>
                  <a:pt x="9828501" y="2217851"/>
                </a:cubicBezTo>
                <a:cubicBezTo>
                  <a:pt x="9830098" y="2217319"/>
                  <a:pt x="9831296" y="2216520"/>
                  <a:pt x="9832227" y="2215455"/>
                </a:cubicBezTo>
                <a:cubicBezTo>
                  <a:pt x="9833293" y="2214257"/>
                  <a:pt x="9834225" y="2212926"/>
                  <a:pt x="9834890" y="2211196"/>
                </a:cubicBezTo>
                <a:cubicBezTo>
                  <a:pt x="9835689" y="2209598"/>
                  <a:pt x="9835955" y="2207734"/>
                  <a:pt x="9835955" y="2205738"/>
                </a:cubicBezTo>
                <a:cubicBezTo>
                  <a:pt x="9835955" y="2203874"/>
                  <a:pt x="9835555" y="2202144"/>
                  <a:pt x="9834890" y="2200546"/>
                </a:cubicBezTo>
                <a:cubicBezTo>
                  <a:pt x="9834225" y="2198949"/>
                  <a:pt x="9833293" y="2197618"/>
                  <a:pt x="9832227" y="2196420"/>
                </a:cubicBezTo>
                <a:cubicBezTo>
                  <a:pt x="9831162" y="2195354"/>
                  <a:pt x="9829831" y="2194555"/>
                  <a:pt x="9828234" y="2193757"/>
                </a:cubicBezTo>
                <a:cubicBezTo>
                  <a:pt x="9826770" y="2193091"/>
                  <a:pt x="9825173" y="2192826"/>
                  <a:pt x="9823176" y="2192826"/>
                </a:cubicBezTo>
                <a:close/>
                <a:moveTo>
                  <a:pt x="9605531" y="2192826"/>
                </a:moveTo>
                <a:cubicBezTo>
                  <a:pt x="9599673" y="2192826"/>
                  <a:pt x="9597143" y="2194822"/>
                  <a:pt x="9595546" y="2196420"/>
                </a:cubicBezTo>
                <a:cubicBezTo>
                  <a:pt x="9593017" y="2199082"/>
                  <a:pt x="9591952" y="2201878"/>
                  <a:pt x="9591952" y="2205871"/>
                </a:cubicBezTo>
                <a:cubicBezTo>
                  <a:pt x="9591952" y="2209999"/>
                  <a:pt x="9593017" y="2212793"/>
                  <a:pt x="9595546" y="2215322"/>
                </a:cubicBezTo>
                <a:cubicBezTo>
                  <a:pt x="9597143" y="2216920"/>
                  <a:pt x="9599673" y="2218783"/>
                  <a:pt x="9605531" y="2218783"/>
                </a:cubicBezTo>
                <a:cubicBezTo>
                  <a:pt x="9607660" y="2218783"/>
                  <a:pt x="9609391" y="2218517"/>
                  <a:pt x="9610855" y="2217851"/>
                </a:cubicBezTo>
                <a:cubicBezTo>
                  <a:pt x="9612319" y="2217319"/>
                  <a:pt x="9613651" y="2216520"/>
                  <a:pt x="9614582" y="2215455"/>
                </a:cubicBezTo>
                <a:cubicBezTo>
                  <a:pt x="9615647" y="2214257"/>
                  <a:pt x="9616579" y="2212926"/>
                  <a:pt x="9617245" y="2211196"/>
                </a:cubicBezTo>
                <a:cubicBezTo>
                  <a:pt x="9618044" y="2209598"/>
                  <a:pt x="9618309" y="2207734"/>
                  <a:pt x="9618309" y="2205738"/>
                </a:cubicBezTo>
                <a:cubicBezTo>
                  <a:pt x="9618309" y="2203874"/>
                  <a:pt x="9617910" y="2202144"/>
                  <a:pt x="9617245" y="2200546"/>
                </a:cubicBezTo>
                <a:cubicBezTo>
                  <a:pt x="9616579" y="2198949"/>
                  <a:pt x="9615647" y="2197618"/>
                  <a:pt x="9614582" y="2196420"/>
                </a:cubicBezTo>
                <a:cubicBezTo>
                  <a:pt x="9613517" y="2195354"/>
                  <a:pt x="9612186" y="2194555"/>
                  <a:pt x="9610589" y="2193757"/>
                </a:cubicBezTo>
                <a:cubicBezTo>
                  <a:pt x="9609124" y="2193091"/>
                  <a:pt x="9607394" y="2192826"/>
                  <a:pt x="9605531" y="2192826"/>
                </a:cubicBezTo>
                <a:close/>
                <a:moveTo>
                  <a:pt x="9387885" y="2192826"/>
                </a:moveTo>
                <a:cubicBezTo>
                  <a:pt x="9382027" y="2192826"/>
                  <a:pt x="9379497" y="2194822"/>
                  <a:pt x="9377900" y="2196420"/>
                </a:cubicBezTo>
                <a:cubicBezTo>
                  <a:pt x="9375371" y="2199082"/>
                  <a:pt x="9374307" y="2201878"/>
                  <a:pt x="9374307" y="2205871"/>
                </a:cubicBezTo>
                <a:cubicBezTo>
                  <a:pt x="9374307" y="2209999"/>
                  <a:pt x="9375371" y="2212793"/>
                  <a:pt x="9377900" y="2215322"/>
                </a:cubicBezTo>
                <a:cubicBezTo>
                  <a:pt x="9379497" y="2216920"/>
                  <a:pt x="9382027" y="2218783"/>
                  <a:pt x="9387885" y="2218783"/>
                </a:cubicBezTo>
                <a:cubicBezTo>
                  <a:pt x="9390015" y="2218783"/>
                  <a:pt x="9391746" y="2218517"/>
                  <a:pt x="9393210" y="2217851"/>
                </a:cubicBezTo>
                <a:cubicBezTo>
                  <a:pt x="9394674" y="2217319"/>
                  <a:pt x="9396005" y="2216520"/>
                  <a:pt x="9396937" y="2215455"/>
                </a:cubicBezTo>
                <a:cubicBezTo>
                  <a:pt x="9398002" y="2214257"/>
                  <a:pt x="9398934" y="2212926"/>
                  <a:pt x="9399599" y="2211196"/>
                </a:cubicBezTo>
                <a:cubicBezTo>
                  <a:pt x="9400398" y="2209598"/>
                  <a:pt x="9400664" y="2207734"/>
                  <a:pt x="9400664" y="2205738"/>
                </a:cubicBezTo>
                <a:cubicBezTo>
                  <a:pt x="9400664" y="2203874"/>
                  <a:pt x="9400265" y="2202144"/>
                  <a:pt x="9399599" y="2200546"/>
                </a:cubicBezTo>
                <a:cubicBezTo>
                  <a:pt x="9398934" y="2198949"/>
                  <a:pt x="9398002" y="2197618"/>
                  <a:pt x="9396937" y="2196420"/>
                </a:cubicBezTo>
                <a:cubicBezTo>
                  <a:pt x="9395872" y="2195354"/>
                  <a:pt x="9394541" y="2194555"/>
                  <a:pt x="9392943" y="2193757"/>
                </a:cubicBezTo>
                <a:cubicBezTo>
                  <a:pt x="9391479" y="2193091"/>
                  <a:pt x="9389749" y="2192826"/>
                  <a:pt x="9387885" y="2192826"/>
                </a:cubicBezTo>
                <a:close/>
                <a:moveTo>
                  <a:pt x="9170374" y="2192826"/>
                </a:moveTo>
                <a:cubicBezTo>
                  <a:pt x="9164649" y="2192826"/>
                  <a:pt x="9161986" y="2194822"/>
                  <a:pt x="9160389" y="2196420"/>
                </a:cubicBezTo>
                <a:cubicBezTo>
                  <a:pt x="9157860" y="2199082"/>
                  <a:pt x="9156795" y="2201878"/>
                  <a:pt x="9156795" y="2205871"/>
                </a:cubicBezTo>
                <a:cubicBezTo>
                  <a:pt x="9156795" y="2209999"/>
                  <a:pt x="9157860" y="2212793"/>
                  <a:pt x="9160389" y="2215322"/>
                </a:cubicBezTo>
                <a:cubicBezTo>
                  <a:pt x="9161986" y="2216920"/>
                  <a:pt x="9164516" y="2218783"/>
                  <a:pt x="9170374" y="2218783"/>
                </a:cubicBezTo>
                <a:cubicBezTo>
                  <a:pt x="9172370" y="2218783"/>
                  <a:pt x="9174100" y="2218517"/>
                  <a:pt x="9175698" y="2217851"/>
                </a:cubicBezTo>
                <a:cubicBezTo>
                  <a:pt x="9177163" y="2217319"/>
                  <a:pt x="9178494" y="2216520"/>
                  <a:pt x="9179425" y="2215455"/>
                </a:cubicBezTo>
                <a:cubicBezTo>
                  <a:pt x="9180491" y="2214257"/>
                  <a:pt x="9181422" y="2212926"/>
                  <a:pt x="9182088" y="2211196"/>
                </a:cubicBezTo>
                <a:cubicBezTo>
                  <a:pt x="9182887" y="2209598"/>
                  <a:pt x="9183152" y="2207734"/>
                  <a:pt x="9183152" y="2205738"/>
                </a:cubicBezTo>
                <a:cubicBezTo>
                  <a:pt x="9183152" y="2203874"/>
                  <a:pt x="9182753" y="2202144"/>
                  <a:pt x="9182088" y="2200546"/>
                </a:cubicBezTo>
                <a:cubicBezTo>
                  <a:pt x="9181422" y="2198949"/>
                  <a:pt x="9180491" y="2197618"/>
                  <a:pt x="9179425" y="2196420"/>
                </a:cubicBezTo>
                <a:cubicBezTo>
                  <a:pt x="9178360" y="2195354"/>
                  <a:pt x="9177029" y="2194555"/>
                  <a:pt x="9175432" y="2193757"/>
                </a:cubicBezTo>
                <a:cubicBezTo>
                  <a:pt x="9173967" y="2193091"/>
                  <a:pt x="9172237" y="2192826"/>
                  <a:pt x="9170374" y="2192826"/>
                </a:cubicBezTo>
                <a:close/>
                <a:moveTo>
                  <a:pt x="8952728" y="2192826"/>
                </a:moveTo>
                <a:cubicBezTo>
                  <a:pt x="8947003" y="2192826"/>
                  <a:pt x="8944340" y="2194822"/>
                  <a:pt x="8942743" y="2196420"/>
                </a:cubicBezTo>
                <a:cubicBezTo>
                  <a:pt x="8940214" y="2199082"/>
                  <a:pt x="8939150" y="2201878"/>
                  <a:pt x="8939150" y="2205871"/>
                </a:cubicBezTo>
                <a:cubicBezTo>
                  <a:pt x="8939150" y="2209999"/>
                  <a:pt x="8940214" y="2212793"/>
                  <a:pt x="8942743" y="2215322"/>
                </a:cubicBezTo>
                <a:cubicBezTo>
                  <a:pt x="8944340" y="2216920"/>
                  <a:pt x="8946870" y="2218783"/>
                  <a:pt x="8952728" y="2218783"/>
                </a:cubicBezTo>
                <a:cubicBezTo>
                  <a:pt x="8954725" y="2218783"/>
                  <a:pt x="8956589" y="2218517"/>
                  <a:pt x="8958053" y="2217851"/>
                </a:cubicBezTo>
                <a:cubicBezTo>
                  <a:pt x="8959517" y="2217319"/>
                  <a:pt x="8960849" y="2216520"/>
                  <a:pt x="8961780" y="2215455"/>
                </a:cubicBezTo>
                <a:cubicBezTo>
                  <a:pt x="8962845" y="2214257"/>
                  <a:pt x="8963777" y="2212926"/>
                  <a:pt x="8964442" y="2211196"/>
                </a:cubicBezTo>
                <a:cubicBezTo>
                  <a:pt x="8965241" y="2209598"/>
                  <a:pt x="8965507" y="2207734"/>
                  <a:pt x="8965507" y="2205738"/>
                </a:cubicBezTo>
                <a:cubicBezTo>
                  <a:pt x="8965507" y="2203874"/>
                  <a:pt x="8965108" y="2202144"/>
                  <a:pt x="8964442" y="2200546"/>
                </a:cubicBezTo>
                <a:cubicBezTo>
                  <a:pt x="8963777" y="2198949"/>
                  <a:pt x="8962845" y="2197618"/>
                  <a:pt x="8961780" y="2196420"/>
                </a:cubicBezTo>
                <a:cubicBezTo>
                  <a:pt x="8960715" y="2195354"/>
                  <a:pt x="8959384" y="2194555"/>
                  <a:pt x="8957786" y="2193757"/>
                </a:cubicBezTo>
                <a:cubicBezTo>
                  <a:pt x="8956322" y="2193091"/>
                  <a:pt x="8954592" y="2192826"/>
                  <a:pt x="8952728" y="2192826"/>
                </a:cubicBezTo>
                <a:close/>
                <a:moveTo>
                  <a:pt x="8735083" y="2192826"/>
                </a:moveTo>
                <a:cubicBezTo>
                  <a:pt x="8729358" y="2192826"/>
                  <a:pt x="8726695" y="2194822"/>
                  <a:pt x="8725098" y="2196420"/>
                </a:cubicBezTo>
                <a:cubicBezTo>
                  <a:pt x="8722569" y="2199082"/>
                  <a:pt x="8721504" y="2201878"/>
                  <a:pt x="8721504" y="2205871"/>
                </a:cubicBezTo>
                <a:cubicBezTo>
                  <a:pt x="8721504" y="2209999"/>
                  <a:pt x="8722569" y="2212793"/>
                  <a:pt x="8725098" y="2215322"/>
                </a:cubicBezTo>
                <a:cubicBezTo>
                  <a:pt x="8726695" y="2216920"/>
                  <a:pt x="8729225" y="2218783"/>
                  <a:pt x="8735083" y="2218783"/>
                </a:cubicBezTo>
                <a:cubicBezTo>
                  <a:pt x="8737079" y="2218783"/>
                  <a:pt x="8738943" y="2218517"/>
                  <a:pt x="8740407" y="2217851"/>
                </a:cubicBezTo>
                <a:cubicBezTo>
                  <a:pt x="8741872" y="2217319"/>
                  <a:pt x="8743203" y="2216520"/>
                  <a:pt x="8744134" y="2215455"/>
                </a:cubicBezTo>
                <a:cubicBezTo>
                  <a:pt x="8745200" y="2214257"/>
                  <a:pt x="8746132" y="2212926"/>
                  <a:pt x="8746797" y="2211196"/>
                </a:cubicBezTo>
                <a:cubicBezTo>
                  <a:pt x="8747596" y="2209598"/>
                  <a:pt x="8747862" y="2207734"/>
                  <a:pt x="8747862" y="2205738"/>
                </a:cubicBezTo>
                <a:cubicBezTo>
                  <a:pt x="8747862" y="2203874"/>
                  <a:pt x="8747462" y="2202144"/>
                  <a:pt x="8746797" y="2200546"/>
                </a:cubicBezTo>
                <a:cubicBezTo>
                  <a:pt x="8746132" y="2198949"/>
                  <a:pt x="8745200" y="2197618"/>
                  <a:pt x="8744134" y="2196420"/>
                </a:cubicBezTo>
                <a:cubicBezTo>
                  <a:pt x="8743069" y="2195354"/>
                  <a:pt x="8741738" y="2194555"/>
                  <a:pt x="8740141" y="2193757"/>
                </a:cubicBezTo>
                <a:cubicBezTo>
                  <a:pt x="8738677" y="2193091"/>
                  <a:pt x="8736946" y="2192826"/>
                  <a:pt x="8735083" y="2192826"/>
                </a:cubicBezTo>
                <a:close/>
                <a:moveTo>
                  <a:pt x="8517438" y="2192826"/>
                </a:moveTo>
                <a:cubicBezTo>
                  <a:pt x="8511713" y="2192826"/>
                  <a:pt x="8509051" y="2194822"/>
                  <a:pt x="8507453" y="2196420"/>
                </a:cubicBezTo>
                <a:cubicBezTo>
                  <a:pt x="8504925" y="2199082"/>
                  <a:pt x="8503860" y="2201878"/>
                  <a:pt x="8503860" y="2205871"/>
                </a:cubicBezTo>
                <a:cubicBezTo>
                  <a:pt x="8503860" y="2209999"/>
                  <a:pt x="8504925" y="2212793"/>
                  <a:pt x="8507453" y="2215322"/>
                </a:cubicBezTo>
                <a:cubicBezTo>
                  <a:pt x="8509051" y="2216920"/>
                  <a:pt x="8511581" y="2218783"/>
                  <a:pt x="8517438" y="2218783"/>
                </a:cubicBezTo>
                <a:cubicBezTo>
                  <a:pt x="8519568" y="2218783"/>
                  <a:pt x="8521299" y="2218517"/>
                  <a:pt x="8522763" y="2217851"/>
                </a:cubicBezTo>
                <a:cubicBezTo>
                  <a:pt x="8524227" y="2217319"/>
                  <a:pt x="8525559" y="2216520"/>
                  <a:pt x="8526490" y="2215455"/>
                </a:cubicBezTo>
                <a:cubicBezTo>
                  <a:pt x="8527555" y="2214257"/>
                  <a:pt x="8528487" y="2212926"/>
                  <a:pt x="8529152" y="2211196"/>
                </a:cubicBezTo>
                <a:cubicBezTo>
                  <a:pt x="8529818" y="2209598"/>
                  <a:pt x="8530084" y="2207734"/>
                  <a:pt x="8530084" y="2205738"/>
                </a:cubicBezTo>
                <a:cubicBezTo>
                  <a:pt x="8530084" y="2203874"/>
                  <a:pt x="8529818" y="2202144"/>
                  <a:pt x="8529152" y="2200546"/>
                </a:cubicBezTo>
                <a:cubicBezTo>
                  <a:pt x="8528487" y="2198949"/>
                  <a:pt x="8527555" y="2197618"/>
                  <a:pt x="8526490" y="2196420"/>
                </a:cubicBezTo>
                <a:cubicBezTo>
                  <a:pt x="8525425" y="2195354"/>
                  <a:pt x="8524094" y="2194555"/>
                  <a:pt x="8522496" y="2193757"/>
                </a:cubicBezTo>
                <a:cubicBezTo>
                  <a:pt x="8521032" y="2193091"/>
                  <a:pt x="8519302" y="2192826"/>
                  <a:pt x="8517438" y="2192826"/>
                </a:cubicBezTo>
                <a:close/>
                <a:moveTo>
                  <a:pt x="8299793" y="2192826"/>
                </a:moveTo>
                <a:cubicBezTo>
                  <a:pt x="8294068" y="2192826"/>
                  <a:pt x="8291406" y="2194822"/>
                  <a:pt x="8289809" y="2196420"/>
                </a:cubicBezTo>
                <a:cubicBezTo>
                  <a:pt x="8287280" y="2199082"/>
                  <a:pt x="8286215" y="2201878"/>
                  <a:pt x="8286215" y="2205871"/>
                </a:cubicBezTo>
                <a:cubicBezTo>
                  <a:pt x="8286215" y="2209999"/>
                  <a:pt x="8287280" y="2212793"/>
                  <a:pt x="8289809" y="2215322"/>
                </a:cubicBezTo>
                <a:cubicBezTo>
                  <a:pt x="8291406" y="2216920"/>
                  <a:pt x="8293935" y="2218783"/>
                  <a:pt x="8299793" y="2218783"/>
                </a:cubicBezTo>
                <a:cubicBezTo>
                  <a:pt x="8301923" y="2218783"/>
                  <a:pt x="8303653" y="2218517"/>
                  <a:pt x="8305118" y="2217851"/>
                </a:cubicBezTo>
                <a:cubicBezTo>
                  <a:pt x="8306582" y="2217319"/>
                  <a:pt x="8307913" y="2216520"/>
                  <a:pt x="8308844" y="2215455"/>
                </a:cubicBezTo>
                <a:cubicBezTo>
                  <a:pt x="8309910" y="2214257"/>
                  <a:pt x="8310842" y="2212926"/>
                  <a:pt x="8311507" y="2211196"/>
                </a:cubicBezTo>
                <a:cubicBezTo>
                  <a:pt x="8312172" y="2209598"/>
                  <a:pt x="8312439" y="2207734"/>
                  <a:pt x="8312439" y="2205738"/>
                </a:cubicBezTo>
                <a:cubicBezTo>
                  <a:pt x="8312439" y="2203874"/>
                  <a:pt x="8312172" y="2202144"/>
                  <a:pt x="8311507" y="2200546"/>
                </a:cubicBezTo>
                <a:cubicBezTo>
                  <a:pt x="8310842" y="2198949"/>
                  <a:pt x="8309910" y="2197618"/>
                  <a:pt x="8308844" y="2196420"/>
                </a:cubicBezTo>
                <a:cubicBezTo>
                  <a:pt x="8307779" y="2195354"/>
                  <a:pt x="8306448" y="2194555"/>
                  <a:pt x="8304851" y="2193757"/>
                </a:cubicBezTo>
                <a:cubicBezTo>
                  <a:pt x="8303387" y="2193091"/>
                  <a:pt x="8301790" y="2192826"/>
                  <a:pt x="8299793" y="2192826"/>
                </a:cubicBezTo>
                <a:close/>
                <a:moveTo>
                  <a:pt x="8082281" y="2192826"/>
                </a:moveTo>
                <a:cubicBezTo>
                  <a:pt x="8076424" y="2192826"/>
                  <a:pt x="8073894" y="2194822"/>
                  <a:pt x="8072297" y="2196420"/>
                </a:cubicBezTo>
                <a:cubicBezTo>
                  <a:pt x="8069768" y="2199082"/>
                  <a:pt x="8068703" y="2201878"/>
                  <a:pt x="8068703" y="2205871"/>
                </a:cubicBezTo>
                <a:cubicBezTo>
                  <a:pt x="8068703" y="2209999"/>
                  <a:pt x="8069768" y="2212793"/>
                  <a:pt x="8072297" y="2215322"/>
                </a:cubicBezTo>
                <a:cubicBezTo>
                  <a:pt x="8073894" y="2216920"/>
                  <a:pt x="8076424" y="2218783"/>
                  <a:pt x="8082281" y="2218783"/>
                </a:cubicBezTo>
                <a:cubicBezTo>
                  <a:pt x="8084277" y="2218783"/>
                  <a:pt x="8086007" y="2218517"/>
                  <a:pt x="8087605" y="2217851"/>
                </a:cubicBezTo>
                <a:cubicBezTo>
                  <a:pt x="8089069" y="2217319"/>
                  <a:pt x="8090401" y="2216520"/>
                  <a:pt x="8091332" y="2215455"/>
                </a:cubicBezTo>
                <a:cubicBezTo>
                  <a:pt x="8092397" y="2214257"/>
                  <a:pt x="8093329" y="2212926"/>
                  <a:pt x="8093994" y="2211196"/>
                </a:cubicBezTo>
                <a:cubicBezTo>
                  <a:pt x="8094660" y="2209598"/>
                  <a:pt x="8094926" y="2207734"/>
                  <a:pt x="8094926" y="2205738"/>
                </a:cubicBezTo>
                <a:cubicBezTo>
                  <a:pt x="8094926" y="2203874"/>
                  <a:pt x="8094660" y="2202144"/>
                  <a:pt x="8093994" y="2200546"/>
                </a:cubicBezTo>
                <a:cubicBezTo>
                  <a:pt x="8093329" y="2198949"/>
                  <a:pt x="8092397" y="2197618"/>
                  <a:pt x="8091332" y="2196420"/>
                </a:cubicBezTo>
                <a:cubicBezTo>
                  <a:pt x="8090267" y="2195354"/>
                  <a:pt x="8088936" y="2194555"/>
                  <a:pt x="8087338" y="2193757"/>
                </a:cubicBezTo>
                <a:cubicBezTo>
                  <a:pt x="8085874" y="2193091"/>
                  <a:pt x="8084277" y="2192826"/>
                  <a:pt x="8082281" y="2192826"/>
                </a:cubicBezTo>
                <a:close/>
                <a:moveTo>
                  <a:pt x="7864636" y="2192826"/>
                </a:moveTo>
                <a:cubicBezTo>
                  <a:pt x="7858779" y="2192826"/>
                  <a:pt x="7856249" y="2194822"/>
                  <a:pt x="7854652" y="2196420"/>
                </a:cubicBezTo>
                <a:cubicBezTo>
                  <a:pt x="7852123" y="2199082"/>
                  <a:pt x="7851058" y="2201878"/>
                  <a:pt x="7851058" y="2205871"/>
                </a:cubicBezTo>
                <a:cubicBezTo>
                  <a:pt x="7851058" y="2209999"/>
                  <a:pt x="7852123" y="2212793"/>
                  <a:pt x="7854652" y="2215322"/>
                </a:cubicBezTo>
                <a:cubicBezTo>
                  <a:pt x="7856249" y="2216920"/>
                  <a:pt x="7858779" y="2218783"/>
                  <a:pt x="7864636" y="2218783"/>
                </a:cubicBezTo>
                <a:cubicBezTo>
                  <a:pt x="7866633" y="2218783"/>
                  <a:pt x="7868363" y="2218517"/>
                  <a:pt x="7869961" y="2217851"/>
                </a:cubicBezTo>
                <a:cubicBezTo>
                  <a:pt x="7871425" y="2217319"/>
                  <a:pt x="7872756" y="2216520"/>
                  <a:pt x="7873687" y="2215455"/>
                </a:cubicBezTo>
                <a:cubicBezTo>
                  <a:pt x="7874753" y="2214257"/>
                  <a:pt x="7875685" y="2212926"/>
                  <a:pt x="7876350" y="2211196"/>
                </a:cubicBezTo>
                <a:cubicBezTo>
                  <a:pt x="7877015" y="2209598"/>
                  <a:pt x="7877282" y="2207734"/>
                  <a:pt x="7877282" y="2205738"/>
                </a:cubicBezTo>
                <a:cubicBezTo>
                  <a:pt x="7877282" y="2203874"/>
                  <a:pt x="7877015" y="2202144"/>
                  <a:pt x="7876350" y="2200546"/>
                </a:cubicBezTo>
                <a:cubicBezTo>
                  <a:pt x="7875685" y="2198949"/>
                  <a:pt x="7874753" y="2197618"/>
                  <a:pt x="7873687" y="2196420"/>
                </a:cubicBezTo>
                <a:cubicBezTo>
                  <a:pt x="7872623" y="2195354"/>
                  <a:pt x="7871291" y="2194555"/>
                  <a:pt x="7869694" y="2193757"/>
                </a:cubicBezTo>
                <a:cubicBezTo>
                  <a:pt x="7868230" y="2193091"/>
                  <a:pt x="7866633" y="2192826"/>
                  <a:pt x="7864636" y="2192826"/>
                </a:cubicBezTo>
                <a:close/>
                <a:moveTo>
                  <a:pt x="7646991" y="2192826"/>
                </a:moveTo>
                <a:cubicBezTo>
                  <a:pt x="7641134" y="2192826"/>
                  <a:pt x="7638604" y="2194822"/>
                  <a:pt x="7637007" y="2196420"/>
                </a:cubicBezTo>
                <a:cubicBezTo>
                  <a:pt x="7634478" y="2199082"/>
                  <a:pt x="7633413" y="2201878"/>
                  <a:pt x="7633413" y="2205871"/>
                </a:cubicBezTo>
                <a:cubicBezTo>
                  <a:pt x="7633413" y="2209999"/>
                  <a:pt x="7634478" y="2212793"/>
                  <a:pt x="7637007" y="2215322"/>
                </a:cubicBezTo>
                <a:cubicBezTo>
                  <a:pt x="7638604" y="2216920"/>
                  <a:pt x="7641134" y="2218783"/>
                  <a:pt x="7646991" y="2218783"/>
                </a:cubicBezTo>
                <a:cubicBezTo>
                  <a:pt x="7648987" y="2218783"/>
                  <a:pt x="7650851" y="2218517"/>
                  <a:pt x="7652315" y="2217851"/>
                </a:cubicBezTo>
                <a:cubicBezTo>
                  <a:pt x="7653780" y="2217319"/>
                  <a:pt x="7655111" y="2216520"/>
                  <a:pt x="7656042" y="2215455"/>
                </a:cubicBezTo>
                <a:cubicBezTo>
                  <a:pt x="7657108" y="2214257"/>
                  <a:pt x="7658039" y="2212926"/>
                  <a:pt x="7658705" y="2211196"/>
                </a:cubicBezTo>
                <a:cubicBezTo>
                  <a:pt x="7659504" y="2209598"/>
                  <a:pt x="7659769" y="2207734"/>
                  <a:pt x="7659769" y="2205738"/>
                </a:cubicBezTo>
                <a:cubicBezTo>
                  <a:pt x="7659769" y="2203874"/>
                  <a:pt x="7659370" y="2202144"/>
                  <a:pt x="7658705" y="2200546"/>
                </a:cubicBezTo>
                <a:cubicBezTo>
                  <a:pt x="7658039" y="2198949"/>
                  <a:pt x="7657108" y="2197618"/>
                  <a:pt x="7656042" y="2196420"/>
                </a:cubicBezTo>
                <a:cubicBezTo>
                  <a:pt x="7654977" y="2195354"/>
                  <a:pt x="7653646" y="2194555"/>
                  <a:pt x="7652049" y="2193757"/>
                </a:cubicBezTo>
                <a:cubicBezTo>
                  <a:pt x="7650584" y="2193091"/>
                  <a:pt x="7648987" y="2192826"/>
                  <a:pt x="7646991" y="2192826"/>
                </a:cubicBezTo>
                <a:close/>
                <a:moveTo>
                  <a:pt x="7429345" y="2192826"/>
                </a:moveTo>
                <a:cubicBezTo>
                  <a:pt x="7423488" y="2192826"/>
                  <a:pt x="7420958" y="2194822"/>
                  <a:pt x="7419361" y="2196420"/>
                </a:cubicBezTo>
                <a:cubicBezTo>
                  <a:pt x="7416832" y="2199082"/>
                  <a:pt x="7415768" y="2201878"/>
                  <a:pt x="7415768" y="2205871"/>
                </a:cubicBezTo>
                <a:cubicBezTo>
                  <a:pt x="7415768" y="2209999"/>
                  <a:pt x="7416832" y="2212793"/>
                  <a:pt x="7419361" y="2215322"/>
                </a:cubicBezTo>
                <a:cubicBezTo>
                  <a:pt x="7420958" y="2216920"/>
                  <a:pt x="7423488" y="2218783"/>
                  <a:pt x="7429345" y="2218783"/>
                </a:cubicBezTo>
                <a:cubicBezTo>
                  <a:pt x="7431342" y="2218783"/>
                  <a:pt x="7433206" y="2218517"/>
                  <a:pt x="7434670" y="2217851"/>
                </a:cubicBezTo>
                <a:cubicBezTo>
                  <a:pt x="7436134" y="2217319"/>
                  <a:pt x="7437466" y="2216520"/>
                  <a:pt x="7438397" y="2215455"/>
                </a:cubicBezTo>
                <a:cubicBezTo>
                  <a:pt x="7439462" y="2214257"/>
                  <a:pt x="7440394" y="2212926"/>
                  <a:pt x="7441059" y="2211196"/>
                </a:cubicBezTo>
                <a:cubicBezTo>
                  <a:pt x="7441858" y="2209598"/>
                  <a:pt x="7442124" y="2207734"/>
                  <a:pt x="7442124" y="2205738"/>
                </a:cubicBezTo>
                <a:cubicBezTo>
                  <a:pt x="7442124" y="2203874"/>
                  <a:pt x="7441725" y="2202144"/>
                  <a:pt x="7441059" y="2200546"/>
                </a:cubicBezTo>
                <a:cubicBezTo>
                  <a:pt x="7440394" y="2198949"/>
                  <a:pt x="7439462" y="2197618"/>
                  <a:pt x="7438397" y="2196420"/>
                </a:cubicBezTo>
                <a:cubicBezTo>
                  <a:pt x="7437332" y="2195354"/>
                  <a:pt x="7436001" y="2194555"/>
                  <a:pt x="7434403" y="2193757"/>
                </a:cubicBezTo>
                <a:cubicBezTo>
                  <a:pt x="7432939" y="2193091"/>
                  <a:pt x="7431342" y="2192826"/>
                  <a:pt x="7429345" y="2192826"/>
                </a:cubicBezTo>
                <a:close/>
                <a:moveTo>
                  <a:pt x="7211701" y="2192826"/>
                </a:moveTo>
                <a:cubicBezTo>
                  <a:pt x="7205844" y="2192826"/>
                  <a:pt x="7203314" y="2194822"/>
                  <a:pt x="7201717" y="2196420"/>
                </a:cubicBezTo>
                <a:cubicBezTo>
                  <a:pt x="7199188" y="2199082"/>
                  <a:pt x="7198123" y="2201878"/>
                  <a:pt x="7198123" y="2205871"/>
                </a:cubicBezTo>
                <a:cubicBezTo>
                  <a:pt x="7198123" y="2209999"/>
                  <a:pt x="7199188" y="2212793"/>
                  <a:pt x="7201717" y="2215322"/>
                </a:cubicBezTo>
                <a:cubicBezTo>
                  <a:pt x="7203314" y="2216920"/>
                  <a:pt x="7205844" y="2218783"/>
                  <a:pt x="7211701" y="2218783"/>
                </a:cubicBezTo>
                <a:cubicBezTo>
                  <a:pt x="7213830" y="2218783"/>
                  <a:pt x="7215561" y="2218517"/>
                  <a:pt x="7217026" y="2217851"/>
                </a:cubicBezTo>
                <a:cubicBezTo>
                  <a:pt x="7218490" y="2217319"/>
                  <a:pt x="7219821" y="2216520"/>
                  <a:pt x="7220752" y="2215455"/>
                </a:cubicBezTo>
                <a:cubicBezTo>
                  <a:pt x="7221818" y="2214257"/>
                  <a:pt x="7222750" y="2212926"/>
                  <a:pt x="7223415" y="2211196"/>
                </a:cubicBezTo>
                <a:cubicBezTo>
                  <a:pt x="7224214" y="2209598"/>
                  <a:pt x="7224480" y="2207734"/>
                  <a:pt x="7224480" y="2205738"/>
                </a:cubicBezTo>
                <a:cubicBezTo>
                  <a:pt x="7224480" y="2203874"/>
                  <a:pt x="7224080" y="2202144"/>
                  <a:pt x="7223415" y="2200546"/>
                </a:cubicBezTo>
                <a:cubicBezTo>
                  <a:pt x="7222750" y="2198949"/>
                  <a:pt x="7221818" y="2197618"/>
                  <a:pt x="7220752" y="2196420"/>
                </a:cubicBezTo>
                <a:cubicBezTo>
                  <a:pt x="7219687" y="2195354"/>
                  <a:pt x="7218356" y="2194555"/>
                  <a:pt x="7216759" y="2193757"/>
                </a:cubicBezTo>
                <a:cubicBezTo>
                  <a:pt x="7215295" y="2193091"/>
                  <a:pt x="7213698" y="2192826"/>
                  <a:pt x="7211701" y="2192826"/>
                </a:cubicBezTo>
                <a:close/>
                <a:moveTo>
                  <a:pt x="6994056" y="2192826"/>
                </a:moveTo>
                <a:cubicBezTo>
                  <a:pt x="6988199" y="2192826"/>
                  <a:pt x="6985669" y="2194822"/>
                  <a:pt x="6984072" y="2196420"/>
                </a:cubicBezTo>
                <a:cubicBezTo>
                  <a:pt x="6981543" y="2199082"/>
                  <a:pt x="6980478" y="2201878"/>
                  <a:pt x="6980478" y="2205871"/>
                </a:cubicBezTo>
                <a:cubicBezTo>
                  <a:pt x="6980478" y="2209999"/>
                  <a:pt x="6981543" y="2212793"/>
                  <a:pt x="6984072" y="2215322"/>
                </a:cubicBezTo>
                <a:cubicBezTo>
                  <a:pt x="6985669" y="2216920"/>
                  <a:pt x="6988199" y="2218783"/>
                  <a:pt x="6994056" y="2218783"/>
                </a:cubicBezTo>
                <a:cubicBezTo>
                  <a:pt x="6996185" y="2218783"/>
                  <a:pt x="6997916" y="2218517"/>
                  <a:pt x="6999380" y="2217851"/>
                </a:cubicBezTo>
                <a:cubicBezTo>
                  <a:pt x="7000844" y="2217319"/>
                  <a:pt x="7002176" y="2216520"/>
                  <a:pt x="7003107" y="2215455"/>
                </a:cubicBezTo>
                <a:cubicBezTo>
                  <a:pt x="7004172" y="2214257"/>
                  <a:pt x="7005104" y="2212926"/>
                  <a:pt x="7005769" y="2211196"/>
                </a:cubicBezTo>
                <a:cubicBezTo>
                  <a:pt x="7006568" y="2209598"/>
                  <a:pt x="7006834" y="2207734"/>
                  <a:pt x="7006834" y="2205738"/>
                </a:cubicBezTo>
                <a:cubicBezTo>
                  <a:pt x="7006834" y="2203874"/>
                  <a:pt x="7006435" y="2202144"/>
                  <a:pt x="7005769" y="2200546"/>
                </a:cubicBezTo>
                <a:cubicBezTo>
                  <a:pt x="7005104" y="2198949"/>
                  <a:pt x="7004172" y="2197618"/>
                  <a:pt x="7003107" y="2196420"/>
                </a:cubicBezTo>
                <a:cubicBezTo>
                  <a:pt x="7002042" y="2195354"/>
                  <a:pt x="7000711" y="2194555"/>
                  <a:pt x="6999113" y="2193757"/>
                </a:cubicBezTo>
                <a:cubicBezTo>
                  <a:pt x="6997649" y="2193091"/>
                  <a:pt x="6996052" y="2192826"/>
                  <a:pt x="6994056" y="2192826"/>
                </a:cubicBezTo>
                <a:close/>
                <a:moveTo>
                  <a:pt x="6776544" y="2192826"/>
                </a:moveTo>
                <a:cubicBezTo>
                  <a:pt x="6770687" y="2192826"/>
                  <a:pt x="6768157" y="2194822"/>
                  <a:pt x="6766560" y="2196420"/>
                </a:cubicBezTo>
                <a:cubicBezTo>
                  <a:pt x="6764031" y="2199082"/>
                  <a:pt x="6762966" y="2201878"/>
                  <a:pt x="6762966" y="2205871"/>
                </a:cubicBezTo>
                <a:cubicBezTo>
                  <a:pt x="6762966" y="2209999"/>
                  <a:pt x="6764031" y="2212793"/>
                  <a:pt x="6766560" y="2215322"/>
                </a:cubicBezTo>
                <a:cubicBezTo>
                  <a:pt x="6768157" y="2216920"/>
                  <a:pt x="6770687" y="2218783"/>
                  <a:pt x="6776544" y="2218783"/>
                </a:cubicBezTo>
                <a:cubicBezTo>
                  <a:pt x="6778541" y="2218783"/>
                  <a:pt x="6780270" y="2218517"/>
                  <a:pt x="6781869" y="2217851"/>
                </a:cubicBezTo>
                <a:cubicBezTo>
                  <a:pt x="6783333" y="2217319"/>
                  <a:pt x="6784664" y="2216520"/>
                  <a:pt x="6785595" y="2215455"/>
                </a:cubicBezTo>
                <a:cubicBezTo>
                  <a:pt x="6786661" y="2214257"/>
                  <a:pt x="6787593" y="2212926"/>
                  <a:pt x="6788258" y="2211196"/>
                </a:cubicBezTo>
                <a:cubicBezTo>
                  <a:pt x="6789057" y="2209598"/>
                  <a:pt x="6789323" y="2207734"/>
                  <a:pt x="6789323" y="2205738"/>
                </a:cubicBezTo>
                <a:cubicBezTo>
                  <a:pt x="6789323" y="2203874"/>
                  <a:pt x="6788923" y="2202144"/>
                  <a:pt x="6788258" y="2200546"/>
                </a:cubicBezTo>
                <a:cubicBezTo>
                  <a:pt x="6787593" y="2198949"/>
                  <a:pt x="6786661" y="2197618"/>
                  <a:pt x="6785595" y="2196420"/>
                </a:cubicBezTo>
                <a:cubicBezTo>
                  <a:pt x="6784530" y="2195354"/>
                  <a:pt x="6783199" y="2194555"/>
                  <a:pt x="6781602" y="2193757"/>
                </a:cubicBezTo>
                <a:cubicBezTo>
                  <a:pt x="6780138" y="2193091"/>
                  <a:pt x="6778541" y="2192826"/>
                  <a:pt x="6776544" y="2192826"/>
                </a:cubicBezTo>
                <a:close/>
                <a:moveTo>
                  <a:pt x="6558899" y="2192826"/>
                </a:moveTo>
                <a:cubicBezTo>
                  <a:pt x="6553042" y="2192826"/>
                  <a:pt x="6550512" y="2194822"/>
                  <a:pt x="6548915" y="2196420"/>
                </a:cubicBezTo>
                <a:cubicBezTo>
                  <a:pt x="6546386" y="2199082"/>
                  <a:pt x="6545321" y="2201878"/>
                  <a:pt x="6545321" y="2205871"/>
                </a:cubicBezTo>
                <a:cubicBezTo>
                  <a:pt x="6545321" y="2209999"/>
                  <a:pt x="6546386" y="2212793"/>
                  <a:pt x="6548915" y="2215322"/>
                </a:cubicBezTo>
                <a:cubicBezTo>
                  <a:pt x="6550512" y="2216920"/>
                  <a:pt x="6553042" y="2218783"/>
                  <a:pt x="6558899" y="2218783"/>
                </a:cubicBezTo>
                <a:cubicBezTo>
                  <a:pt x="6560895" y="2218783"/>
                  <a:pt x="6562759" y="2218517"/>
                  <a:pt x="6564223" y="2217851"/>
                </a:cubicBezTo>
                <a:cubicBezTo>
                  <a:pt x="6565687" y="2217319"/>
                  <a:pt x="6567019" y="2216520"/>
                  <a:pt x="6567950" y="2215455"/>
                </a:cubicBezTo>
                <a:cubicBezTo>
                  <a:pt x="6569015" y="2214257"/>
                  <a:pt x="6569947" y="2212926"/>
                  <a:pt x="6570612" y="2211196"/>
                </a:cubicBezTo>
                <a:cubicBezTo>
                  <a:pt x="6571412" y="2209598"/>
                  <a:pt x="6571677" y="2207734"/>
                  <a:pt x="6571677" y="2205738"/>
                </a:cubicBezTo>
                <a:cubicBezTo>
                  <a:pt x="6571677" y="2203874"/>
                  <a:pt x="6571278" y="2202144"/>
                  <a:pt x="6570612" y="2200546"/>
                </a:cubicBezTo>
                <a:cubicBezTo>
                  <a:pt x="6569947" y="2198949"/>
                  <a:pt x="6569015" y="2197618"/>
                  <a:pt x="6567950" y="2196420"/>
                </a:cubicBezTo>
                <a:cubicBezTo>
                  <a:pt x="6566885" y="2195354"/>
                  <a:pt x="6565554" y="2194555"/>
                  <a:pt x="6563956" y="2193757"/>
                </a:cubicBezTo>
                <a:cubicBezTo>
                  <a:pt x="6562492" y="2193091"/>
                  <a:pt x="6560895" y="2192826"/>
                  <a:pt x="6558899" y="2192826"/>
                </a:cubicBezTo>
                <a:close/>
                <a:moveTo>
                  <a:pt x="6341253" y="2192826"/>
                </a:moveTo>
                <a:cubicBezTo>
                  <a:pt x="6335396" y="2192826"/>
                  <a:pt x="6332867" y="2194822"/>
                  <a:pt x="6331270" y="2196420"/>
                </a:cubicBezTo>
                <a:cubicBezTo>
                  <a:pt x="6328740" y="2199082"/>
                  <a:pt x="6327675" y="2201878"/>
                  <a:pt x="6327675" y="2205871"/>
                </a:cubicBezTo>
                <a:cubicBezTo>
                  <a:pt x="6327675" y="2209999"/>
                  <a:pt x="6328740" y="2212793"/>
                  <a:pt x="6331270" y="2215322"/>
                </a:cubicBezTo>
                <a:cubicBezTo>
                  <a:pt x="6332867" y="2216920"/>
                  <a:pt x="6335396" y="2218783"/>
                  <a:pt x="6341253" y="2218783"/>
                </a:cubicBezTo>
                <a:cubicBezTo>
                  <a:pt x="6343250" y="2218783"/>
                  <a:pt x="6345114" y="2218517"/>
                  <a:pt x="6346578" y="2217851"/>
                </a:cubicBezTo>
                <a:cubicBezTo>
                  <a:pt x="6348042" y="2217319"/>
                  <a:pt x="6349373" y="2216520"/>
                  <a:pt x="6350305" y="2215455"/>
                </a:cubicBezTo>
                <a:cubicBezTo>
                  <a:pt x="6351370" y="2214257"/>
                  <a:pt x="6352302" y="2212926"/>
                  <a:pt x="6352968" y="2211196"/>
                </a:cubicBezTo>
                <a:cubicBezTo>
                  <a:pt x="6353766" y="2209598"/>
                  <a:pt x="6354033" y="2207734"/>
                  <a:pt x="6354033" y="2205738"/>
                </a:cubicBezTo>
                <a:cubicBezTo>
                  <a:pt x="6354033" y="2203874"/>
                  <a:pt x="6353633" y="2202144"/>
                  <a:pt x="6352968" y="2200546"/>
                </a:cubicBezTo>
                <a:cubicBezTo>
                  <a:pt x="6352302" y="2198949"/>
                  <a:pt x="6351370" y="2197618"/>
                  <a:pt x="6350305" y="2196420"/>
                </a:cubicBezTo>
                <a:cubicBezTo>
                  <a:pt x="6349241" y="2195354"/>
                  <a:pt x="6347909" y="2194555"/>
                  <a:pt x="6346312" y="2193757"/>
                </a:cubicBezTo>
                <a:cubicBezTo>
                  <a:pt x="6344848" y="2193091"/>
                  <a:pt x="6343250" y="2192826"/>
                  <a:pt x="6341253" y="2192826"/>
                </a:cubicBezTo>
                <a:close/>
                <a:moveTo>
                  <a:pt x="6123608" y="2192826"/>
                </a:moveTo>
                <a:cubicBezTo>
                  <a:pt x="6117751" y="2192826"/>
                  <a:pt x="6115221" y="2194822"/>
                  <a:pt x="6113624" y="2196420"/>
                </a:cubicBezTo>
                <a:cubicBezTo>
                  <a:pt x="6111095" y="2199082"/>
                  <a:pt x="6110030" y="2201878"/>
                  <a:pt x="6110030" y="2205871"/>
                </a:cubicBezTo>
                <a:cubicBezTo>
                  <a:pt x="6110030" y="2209999"/>
                  <a:pt x="6111095" y="2212793"/>
                  <a:pt x="6113624" y="2215322"/>
                </a:cubicBezTo>
                <a:cubicBezTo>
                  <a:pt x="6115221" y="2216920"/>
                  <a:pt x="6117751" y="2218783"/>
                  <a:pt x="6123608" y="2218783"/>
                </a:cubicBezTo>
                <a:cubicBezTo>
                  <a:pt x="6125737" y="2218783"/>
                  <a:pt x="6127468" y="2218517"/>
                  <a:pt x="6128932" y="2217851"/>
                </a:cubicBezTo>
                <a:cubicBezTo>
                  <a:pt x="6130530" y="2217319"/>
                  <a:pt x="6131728" y="2216520"/>
                  <a:pt x="6132659" y="2215455"/>
                </a:cubicBezTo>
                <a:cubicBezTo>
                  <a:pt x="6133724" y="2214257"/>
                  <a:pt x="6134656" y="2212926"/>
                  <a:pt x="6135322" y="2211196"/>
                </a:cubicBezTo>
                <a:cubicBezTo>
                  <a:pt x="6135987" y="2209598"/>
                  <a:pt x="6136387" y="2207734"/>
                  <a:pt x="6136387" y="2205738"/>
                </a:cubicBezTo>
                <a:cubicBezTo>
                  <a:pt x="6136387" y="2203874"/>
                  <a:pt x="6135987" y="2202144"/>
                  <a:pt x="6135322" y="2200546"/>
                </a:cubicBezTo>
                <a:cubicBezTo>
                  <a:pt x="6134656" y="2198949"/>
                  <a:pt x="6133724" y="2197618"/>
                  <a:pt x="6132659" y="2196420"/>
                </a:cubicBezTo>
                <a:cubicBezTo>
                  <a:pt x="6131594" y="2195354"/>
                  <a:pt x="6130263" y="2194555"/>
                  <a:pt x="6128666" y="2193757"/>
                </a:cubicBezTo>
                <a:cubicBezTo>
                  <a:pt x="6127202" y="2193091"/>
                  <a:pt x="6125604" y="2192826"/>
                  <a:pt x="6123608" y="2192826"/>
                </a:cubicBezTo>
                <a:close/>
                <a:moveTo>
                  <a:pt x="5905963" y="2192826"/>
                </a:moveTo>
                <a:cubicBezTo>
                  <a:pt x="5900106" y="2192826"/>
                  <a:pt x="5897576" y="2194822"/>
                  <a:pt x="5895979" y="2196420"/>
                </a:cubicBezTo>
                <a:cubicBezTo>
                  <a:pt x="5893450" y="2199082"/>
                  <a:pt x="5892385" y="2201878"/>
                  <a:pt x="5892385" y="2205871"/>
                </a:cubicBezTo>
                <a:cubicBezTo>
                  <a:pt x="5892385" y="2209999"/>
                  <a:pt x="5893450" y="2212793"/>
                  <a:pt x="5895979" y="2215322"/>
                </a:cubicBezTo>
                <a:cubicBezTo>
                  <a:pt x="5897576" y="2216920"/>
                  <a:pt x="5900106" y="2218783"/>
                  <a:pt x="5905963" y="2218783"/>
                </a:cubicBezTo>
                <a:cubicBezTo>
                  <a:pt x="5908093" y="2218783"/>
                  <a:pt x="5909823" y="2218517"/>
                  <a:pt x="5911287" y="2217851"/>
                </a:cubicBezTo>
                <a:cubicBezTo>
                  <a:pt x="5912751" y="2217319"/>
                  <a:pt x="5914083" y="2216520"/>
                  <a:pt x="5915014" y="2215455"/>
                </a:cubicBezTo>
                <a:cubicBezTo>
                  <a:pt x="5916079" y="2214257"/>
                  <a:pt x="5917011" y="2212926"/>
                  <a:pt x="5917677" y="2211196"/>
                </a:cubicBezTo>
                <a:cubicBezTo>
                  <a:pt x="5918342" y="2209598"/>
                  <a:pt x="5918742" y="2207734"/>
                  <a:pt x="5918742" y="2205738"/>
                </a:cubicBezTo>
                <a:cubicBezTo>
                  <a:pt x="5918742" y="2203874"/>
                  <a:pt x="5918342" y="2202144"/>
                  <a:pt x="5917677" y="2200546"/>
                </a:cubicBezTo>
                <a:cubicBezTo>
                  <a:pt x="5917011" y="2198949"/>
                  <a:pt x="5916079" y="2197618"/>
                  <a:pt x="5915014" y="2196420"/>
                </a:cubicBezTo>
                <a:cubicBezTo>
                  <a:pt x="5913950" y="2195354"/>
                  <a:pt x="5912618" y="2194555"/>
                  <a:pt x="5911021" y="2193757"/>
                </a:cubicBezTo>
                <a:cubicBezTo>
                  <a:pt x="5909557" y="2193091"/>
                  <a:pt x="5907826" y="2192826"/>
                  <a:pt x="5905963" y="2192826"/>
                </a:cubicBezTo>
                <a:close/>
                <a:moveTo>
                  <a:pt x="5688451" y="2192826"/>
                </a:moveTo>
                <a:cubicBezTo>
                  <a:pt x="5682594" y="2192826"/>
                  <a:pt x="5680064" y="2194822"/>
                  <a:pt x="5678467" y="2196420"/>
                </a:cubicBezTo>
                <a:cubicBezTo>
                  <a:pt x="5675938" y="2199082"/>
                  <a:pt x="5674873" y="2201878"/>
                  <a:pt x="5674873" y="2205871"/>
                </a:cubicBezTo>
                <a:cubicBezTo>
                  <a:pt x="5674873" y="2209999"/>
                  <a:pt x="5675938" y="2212793"/>
                  <a:pt x="5678467" y="2215322"/>
                </a:cubicBezTo>
                <a:cubicBezTo>
                  <a:pt x="5680064" y="2216920"/>
                  <a:pt x="5682594" y="2218783"/>
                  <a:pt x="5688451" y="2218783"/>
                </a:cubicBezTo>
                <a:cubicBezTo>
                  <a:pt x="5690447" y="2218783"/>
                  <a:pt x="5692178" y="2218517"/>
                  <a:pt x="5693775" y="2217851"/>
                </a:cubicBezTo>
                <a:cubicBezTo>
                  <a:pt x="5695239" y="2217319"/>
                  <a:pt x="5696571" y="2216520"/>
                  <a:pt x="5697502" y="2215455"/>
                </a:cubicBezTo>
                <a:cubicBezTo>
                  <a:pt x="5698567" y="2214257"/>
                  <a:pt x="5699499" y="2212926"/>
                  <a:pt x="5700165" y="2211196"/>
                </a:cubicBezTo>
                <a:cubicBezTo>
                  <a:pt x="5700830" y="2209598"/>
                  <a:pt x="5701230" y="2207734"/>
                  <a:pt x="5701230" y="2205738"/>
                </a:cubicBezTo>
                <a:cubicBezTo>
                  <a:pt x="5701230" y="2203874"/>
                  <a:pt x="5700830" y="2202144"/>
                  <a:pt x="5700165" y="2200546"/>
                </a:cubicBezTo>
                <a:cubicBezTo>
                  <a:pt x="5699499" y="2198949"/>
                  <a:pt x="5698567" y="2197618"/>
                  <a:pt x="5697502" y="2196420"/>
                </a:cubicBezTo>
                <a:cubicBezTo>
                  <a:pt x="5696437" y="2195354"/>
                  <a:pt x="5695106" y="2194555"/>
                  <a:pt x="5693509" y="2193757"/>
                </a:cubicBezTo>
                <a:cubicBezTo>
                  <a:pt x="5692045" y="2193091"/>
                  <a:pt x="5690314" y="2192826"/>
                  <a:pt x="5688451" y="2192826"/>
                </a:cubicBezTo>
                <a:close/>
                <a:moveTo>
                  <a:pt x="5470806" y="2192826"/>
                </a:moveTo>
                <a:cubicBezTo>
                  <a:pt x="5464949" y="2192826"/>
                  <a:pt x="5462419" y="2194822"/>
                  <a:pt x="5460822" y="2196420"/>
                </a:cubicBezTo>
                <a:cubicBezTo>
                  <a:pt x="5458293" y="2199082"/>
                  <a:pt x="5457228" y="2201878"/>
                  <a:pt x="5457228" y="2205871"/>
                </a:cubicBezTo>
                <a:cubicBezTo>
                  <a:pt x="5457228" y="2209999"/>
                  <a:pt x="5458293" y="2212793"/>
                  <a:pt x="5460822" y="2215322"/>
                </a:cubicBezTo>
                <a:cubicBezTo>
                  <a:pt x="5462419" y="2216920"/>
                  <a:pt x="5464949" y="2218783"/>
                  <a:pt x="5470806" y="2218783"/>
                </a:cubicBezTo>
                <a:cubicBezTo>
                  <a:pt x="5472802" y="2218783"/>
                  <a:pt x="5474666" y="2218517"/>
                  <a:pt x="5476130" y="2217851"/>
                </a:cubicBezTo>
                <a:cubicBezTo>
                  <a:pt x="5477594" y="2217319"/>
                  <a:pt x="5478926" y="2216520"/>
                  <a:pt x="5479857" y="2215455"/>
                </a:cubicBezTo>
                <a:cubicBezTo>
                  <a:pt x="5480922" y="2214257"/>
                  <a:pt x="5481854" y="2212926"/>
                  <a:pt x="5482520" y="2211196"/>
                </a:cubicBezTo>
                <a:cubicBezTo>
                  <a:pt x="5483319" y="2209598"/>
                  <a:pt x="5483585" y="2207734"/>
                  <a:pt x="5483585" y="2205738"/>
                </a:cubicBezTo>
                <a:cubicBezTo>
                  <a:pt x="5483585" y="2203874"/>
                  <a:pt x="5483185" y="2202144"/>
                  <a:pt x="5482520" y="2200546"/>
                </a:cubicBezTo>
                <a:cubicBezTo>
                  <a:pt x="5481854" y="2198949"/>
                  <a:pt x="5480922" y="2197618"/>
                  <a:pt x="5479857" y="2196420"/>
                </a:cubicBezTo>
                <a:cubicBezTo>
                  <a:pt x="5478793" y="2195354"/>
                  <a:pt x="5477461" y="2194555"/>
                  <a:pt x="5475864" y="2193757"/>
                </a:cubicBezTo>
                <a:cubicBezTo>
                  <a:pt x="5474400" y="2193091"/>
                  <a:pt x="5472669" y="2192826"/>
                  <a:pt x="5470806" y="2192826"/>
                </a:cubicBezTo>
                <a:close/>
                <a:moveTo>
                  <a:pt x="5253160" y="2192826"/>
                </a:moveTo>
                <a:cubicBezTo>
                  <a:pt x="5247303" y="2192826"/>
                  <a:pt x="5244774" y="2194822"/>
                  <a:pt x="5243177" y="2196420"/>
                </a:cubicBezTo>
                <a:cubicBezTo>
                  <a:pt x="5240647" y="2199082"/>
                  <a:pt x="5239583" y="2201878"/>
                  <a:pt x="5239583" y="2205871"/>
                </a:cubicBezTo>
                <a:cubicBezTo>
                  <a:pt x="5239583" y="2209999"/>
                  <a:pt x="5240647" y="2212793"/>
                  <a:pt x="5243177" y="2215322"/>
                </a:cubicBezTo>
                <a:cubicBezTo>
                  <a:pt x="5244774" y="2216920"/>
                  <a:pt x="5247303" y="2218783"/>
                  <a:pt x="5253160" y="2218783"/>
                </a:cubicBezTo>
                <a:cubicBezTo>
                  <a:pt x="5255157" y="2218783"/>
                  <a:pt x="5257021" y="2218517"/>
                  <a:pt x="5258485" y="2217851"/>
                </a:cubicBezTo>
                <a:cubicBezTo>
                  <a:pt x="5259949" y="2217319"/>
                  <a:pt x="5261280" y="2216520"/>
                  <a:pt x="5262212" y="2215455"/>
                </a:cubicBezTo>
                <a:cubicBezTo>
                  <a:pt x="5263277" y="2214257"/>
                  <a:pt x="5264209" y="2212926"/>
                  <a:pt x="5264875" y="2211196"/>
                </a:cubicBezTo>
                <a:cubicBezTo>
                  <a:pt x="5265673" y="2209598"/>
                  <a:pt x="5265939" y="2207734"/>
                  <a:pt x="5265939" y="2205738"/>
                </a:cubicBezTo>
                <a:cubicBezTo>
                  <a:pt x="5265939" y="2203874"/>
                  <a:pt x="5265540" y="2202144"/>
                  <a:pt x="5264875" y="2200546"/>
                </a:cubicBezTo>
                <a:cubicBezTo>
                  <a:pt x="5264209" y="2198949"/>
                  <a:pt x="5263277" y="2197618"/>
                  <a:pt x="5262212" y="2196420"/>
                </a:cubicBezTo>
                <a:cubicBezTo>
                  <a:pt x="5261147" y="2195354"/>
                  <a:pt x="5259816" y="2194555"/>
                  <a:pt x="5258219" y="2193757"/>
                </a:cubicBezTo>
                <a:cubicBezTo>
                  <a:pt x="5256754" y="2193091"/>
                  <a:pt x="5255024" y="2192826"/>
                  <a:pt x="5253160" y="2192826"/>
                </a:cubicBezTo>
                <a:close/>
                <a:moveTo>
                  <a:pt x="5035515" y="2192826"/>
                </a:moveTo>
                <a:cubicBezTo>
                  <a:pt x="5029658" y="2192826"/>
                  <a:pt x="5027129" y="2194822"/>
                  <a:pt x="5025532" y="2196420"/>
                </a:cubicBezTo>
                <a:cubicBezTo>
                  <a:pt x="5023002" y="2199082"/>
                  <a:pt x="5021938" y="2201878"/>
                  <a:pt x="5021938" y="2205871"/>
                </a:cubicBezTo>
                <a:cubicBezTo>
                  <a:pt x="5021938" y="2209999"/>
                  <a:pt x="5023002" y="2212793"/>
                  <a:pt x="5025532" y="2215322"/>
                </a:cubicBezTo>
                <a:cubicBezTo>
                  <a:pt x="5027129" y="2216920"/>
                  <a:pt x="5029658" y="2218783"/>
                  <a:pt x="5035515" y="2218783"/>
                </a:cubicBezTo>
                <a:cubicBezTo>
                  <a:pt x="5037645" y="2218783"/>
                  <a:pt x="5039376" y="2218517"/>
                  <a:pt x="5040840" y="2217851"/>
                </a:cubicBezTo>
                <a:cubicBezTo>
                  <a:pt x="5042304" y="2217319"/>
                  <a:pt x="5043636" y="2216520"/>
                  <a:pt x="5044567" y="2215455"/>
                </a:cubicBezTo>
                <a:cubicBezTo>
                  <a:pt x="5045632" y="2214257"/>
                  <a:pt x="5046564" y="2212926"/>
                  <a:pt x="5047230" y="2211196"/>
                </a:cubicBezTo>
                <a:cubicBezTo>
                  <a:pt x="5048028" y="2209598"/>
                  <a:pt x="5048294" y="2207734"/>
                  <a:pt x="5048294" y="2205738"/>
                </a:cubicBezTo>
                <a:cubicBezTo>
                  <a:pt x="5048294" y="2203874"/>
                  <a:pt x="5047895" y="2202144"/>
                  <a:pt x="5047230" y="2200546"/>
                </a:cubicBezTo>
                <a:cubicBezTo>
                  <a:pt x="5046564" y="2198949"/>
                  <a:pt x="5045632" y="2197618"/>
                  <a:pt x="5044567" y="2196420"/>
                </a:cubicBezTo>
                <a:cubicBezTo>
                  <a:pt x="5043502" y="2195354"/>
                  <a:pt x="5042171" y="2194555"/>
                  <a:pt x="5040574" y="2193757"/>
                </a:cubicBezTo>
                <a:cubicBezTo>
                  <a:pt x="5039110" y="2193091"/>
                  <a:pt x="5037379" y="2192826"/>
                  <a:pt x="5035515" y="2192826"/>
                </a:cubicBezTo>
                <a:close/>
                <a:moveTo>
                  <a:pt x="4817870" y="2192826"/>
                </a:moveTo>
                <a:cubicBezTo>
                  <a:pt x="4812013" y="2192826"/>
                  <a:pt x="4809484" y="2194822"/>
                  <a:pt x="4807887" y="2196420"/>
                </a:cubicBezTo>
                <a:cubicBezTo>
                  <a:pt x="4805357" y="2199082"/>
                  <a:pt x="4804293" y="2201878"/>
                  <a:pt x="4804293" y="2205871"/>
                </a:cubicBezTo>
                <a:cubicBezTo>
                  <a:pt x="4804293" y="2209999"/>
                  <a:pt x="4805357" y="2212793"/>
                  <a:pt x="4807887" y="2215322"/>
                </a:cubicBezTo>
                <a:cubicBezTo>
                  <a:pt x="4809484" y="2216920"/>
                  <a:pt x="4812013" y="2218783"/>
                  <a:pt x="4817870" y="2218783"/>
                </a:cubicBezTo>
                <a:cubicBezTo>
                  <a:pt x="4820000" y="2218783"/>
                  <a:pt x="4821731" y="2218517"/>
                  <a:pt x="4823195" y="2217851"/>
                </a:cubicBezTo>
                <a:cubicBezTo>
                  <a:pt x="4824659" y="2217319"/>
                  <a:pt x="4825857" y="2216520"/>
                  <a:pt x="4826922" y="2215455"/>
                </a:cubicBezTo>
                <a:cubicBezTo>
                  <a:pt x="4827987" y="2214257"/>
                  <a:pt x="4828919" y="2212926"/>
                  <a:pt x="4829585" y="2211196"/>
                </a:cubicBezTo>
                <a:cubicBezTo>
                  <a:pt x="4830383" y="2209598"/>
                  <a:pt x="4830650" y="2207734"/>
                  <a:pt x="4830650" y="2205738"/>
                </a:cubicBezTo>
                <a:cubicBezTo>
                  <a:pt x="4830650" y="2203874"/>
                  <a:pt x="4830250" y="2202144"/>
                  <a:pt x="4829585" y="2200546"/>
                </a:cubicBezTo>
                <a:cubicBezTo>
                  <a:pt x="4828919" y="2198949"/>
                  <a:pt x="4827987" y="2197618"/>
                  <a:pt x="4826922" y="2196420"/>
                </a:cubicBezTo>
                <a:cubicBezTo>
                  <a:pt x="4825857" y="2195354"/>
                  <a:pt x="4824526" y="2194555"/>
                  <a:pt x="4822929" y="2193757"/>
                </a:cubicBezTo>
                <a:cubicBezTo>
                  <a:pt x="4821465" y="2193091"/>
                  <a:pt x="4819734" y="2192826"/>
                  <a:pt x="4817870" y="2192826"/>
                </a:cubicBezTo>
                <a:close/>
                <a:moveTo>
                  <a:pt x="4600226" y="2192826"/>
                </a:moveTo>
                <a:cubicBezTo>
                  <a:pt x="4594369" y="2192826"/>
                  <a:pt x="4591839" y="2194822"/>
                  <a:pt x="4590242" y="2196420"/>
                </a:cubicBezTo>
                <a:cubicBezTo>
                  <a:pt x="4587713" y="2199082"/>
                  <a:pt x="4586648" y="2201878"/>
                  <a:pt x="4586648" y="2205871"/>
                </a:cubicBezTo>
                <a:cubicBezTo>
                  <a:pt x="4586648" y="2209999"/>
                  <a:pt x="4587713" y="2212793"/>
                  <a:pt x="4590242" y="2215322"/>
                </a:cubicBezTo>
                <a:cubicBezTo>
                  <a:pt x="4591839" y="2216920"/>
                  <a:pt x="4594369" y="2218783"/>
                  <a:pt x="4600226" y="2218783"/>
                </a:cubicBezTo>
                <a:cubicBezTo>
                  <a:pt x="4602355" y="2218783"/>
                  <a:pt x="4604086" y="2218517"/>
                  <a:pt x="4605550" y="2217851"/>
                </a:cubicBezTo>
                <a:cubicBezTo>
                  <a:pt x="4607148" y="2217319"/>
                  <a:pt x="4608346" y="2216520"/>
                  <a:pt x="4609277" y="2215455"/>
                </a:cubicBezTo>
                <a:cubicBezTo>
                  <a:pt x="4610342" y="2214257"/>
                  <a:pt x="4611274" y="2212926"/>
                  <a:pt x="4611940" y="2211196"/>
                </a:cubicBezTo>
                <a:cubicBezTo>
                  <a:pt x="4612605" y="2209598"/>
                  <a:pt x="4613005" y="2207734"/>
                  <a:pt x="4613005" y="2205738"/>
                </a:cubicBezTo>
                <a:cubicBezTo>
                  <a:pt x="4613005" y="2203874"/>
                  <a:pt x="4612605" y="2202144"/>
                  <a:pt x="4611940" y="2200546"/>
                </a:cubicBezTo>
                <a:cubicBezTo>
                  <a:pt x="4611274" y="2198949"/>
                  <a:pt x="4610342" y="2197618"/>
                  <a:pt x="4609277" y="2196420"/>
                </a:cubicBezTo>
                <a:cubicBezTo>
                  <a:pt x="4608212" y="2195354"/>
                  <a:pt x="4606881" y="2194555"/>
                  <a:pt x="4605284" y="2193757"/>
                </a:cubicBezTo>
                <a:cubicBezTo>
                  <a:pt x="4603820" y="2193091"/>
                  <a:pt x="4602222" y="2192826"/>
                  <a:pt x="4600226" y="2192826"/>
                </a:cubicBezTo>
                <a:close/>
                <a:moveTo>
                  <a:pt x="4382713" y="2192826"/>
                </a:moveTo>
                <a:cubicBezTo>
                  <a:pt x="4376857" y="2192826"/>
                  <a:pt x="4374327" y="2194822"/>
                  <a:pt x="4372730" y="2196420"/>
                </a:cubicBezTo>
                <a:cubicBezTo>
                  <a:pt x="4370201" y="2199082"/>
                  <a:pt x="4369136" y="2201878"/>
                  <a:pt x="4369136" y="2205871"/>
                </a:cubicBezTo>
                <a:cubicBezTo>
                  <a:pt x="4369136" y="2209999"/>
                  <a:pt x="4370201" y="2212793"/>
                  <a:pt x="4372730" y="2215322"/>
                </a:cubicBezTo>
                <a:cubicBezTo>
                  <a:pt x="4374327" y="2216920"/>
                  <a:pt x="4376857" y="2218783"/>
                  <a:pt x="4382713" y="2218783"/>
                </a:cubicBezTo>
                <a:cubicBezTo>
                  <a:pt x="4384710" y="2218783"/>
                  <a:pt x="4386441" y="2218517"/>
                  <a:pt x="4388038" y="2217851"/>
                </a:cubicBezTo>
                <a:cubicBezTo>
                  <a:pt x="4389502" y="2217319"/>
                  <a:pt x="4390834" y="2216520"/>
                  <a:pt x="4391765" y="2215455"/>
                </a:cubicBezTo>
                <a:cubicBezTo>
                  <a:pt x="4392830" y="2214257"/>
                  <a:pt x="4393762" y="2212926"/>
                  <a:pt x="4394428" y="2211196"/>
                </a:cubicBezTo>
                <a:cubicBezTo>
                  <a:pt x="4395093" y="2209598"/>
                  <a:pt x="4395493" y="2207734"/>
                  <a:pt x="4395493" y="2205738"/>
                </a:cubicBezTo>
                <a:cubicBezTo>
                  <a:pt x="4395493" y="2203874"/>
                  <a:pt x="4395093" y="2202144"/>
                  <a:pt x="4394428" y="2200546"/>
                </a:cubicBezTo>
                <a:cubicBezTo>
                  <a:pt x="4393762" y="2198949"/>
                  <a:pt x="4392830" y="2197618"/>
                  <a:pt x="4391765" y="2196420"/>
                </a:cubicBezTo>
                <a:cubicBezTo>
                  <a:pt x="4390700" y="2195354"/>
                  <a:pt x="4389369" y="2194555"/>
                  <a:pt x="4387772" y="2193757"/>
                </a:cubicBezTo>
                <a:cubicBezTo>
                  <a:pt x="4386308" y="2193091"/>
                  <a:pt x="4384710" y="2192826"/>
                  <a:pt x="4382713" y="2192826"/>
                </a:cubicBezTo>
                <a:close/>
                <a:moveTo>
                  <a:pt x="4165068" y="2192826"/>
                </a:moveTo>
                <a:cubicBezTo>
                  <a:pt x="4159211" y="2192826"/>
                  <a:pt x="4156681" y="2194822"/>
                  <a:pt x="4155084" y="2196420"/>
                </a:cubicBezTo>
                <a:cubicBezTo>
                  <a:pt x="4152555" y="2199082"/>
                  <a:pt x="4151490" y="2201878"/>
                  <a:pt x="4151490" y="2205871"/>
                </a:cubicBezTo>
                <a:cubicBezTo>
                  <a:pt x="4151490" y="2209999"/>
                  <a:pt x="4152555" y="2212793"/>
                  <a:pt x="4155084" y="2215322"/>
                </a:cubicBezTo>
                <a:cubicBezTo>
                  <a:pt x="4156681" y="2216920"/>
                  <a:pt x="4159211" y="2218783"/>
                  <a:pt x="4165068" y="2218783"/>
                </a:cubicBezTo>
                <a:cubicBezTo>
                  <a:pt x="4167064" y="2218783"/>
                  <a:pt x="4168928" y="2218517"/>
                  <a:pt x="4170392" y="2217851"/>
                </a:cubicBezTo>
                <a:cubicBezTo>
                  <a:pt x="4171856" y="2217319"/>
                  <a:pt x="4173188" y="2216520"/>
                  <a:pt x="4174119" y="2215455"/>
                </a:cubicBezTo>
                <a:cubicBezTo>
                  <a:pt x="4175184" y="2214257"/>
                  <a:pt x="4176116" y="2212926"/>
                  <a:pt x="4176782" y="2211196"/>
                </a:cubicBezTo>
                <a:cubicBezTo>
                  <a:pt x="4177447" y="2209598"/>
                  <a:pt x="4177847" y="2207734"/>
                  <a:pt x="4177847" y="2205738"/>
                </a:cubicBezTo>
                <a:cubicBezTo>
                  <a:pt x="4177847" y="2203874"/>
                  <a:pt x="4177447" y="2202144"/>
                  <a:pt x="4176782" y="2200546"/>
                </a:cubicBezTo>
                <a:cubicBezTo>
                  <a:pt x="4176116" y="2198949"/>
                  <a:pt x="4175184" y="2197618"/>
                  <a:pt x="4174119" y="2196420"/>
                </a:cubicBezTo>
                <a:cubicBezTo>
                  <a:pt x="4173054" y="2195354"/>
                  <a:pt x="4171723" y="2194555"/>
                  <a:pt x="4170126" y="2193757"/>
                </a:cubicBezTo>
                <a:cubicBezTo>
                  <a:pt x="4168662" y="2193091"/>
                  <a:pt x="4167064" y="2192826"/>
                  <a:pt x="4165068" y="2192826"/>
                </a:cubicBezTo>
                <a:close/>
                <a:moveTo>
                  <a:pt x="3947547" y="2192826"/>
                </a:moveTo>
                <a:cubicBezTo>
                  <a:pt x="3941689" y="2192826"/>
                  <a:pt x="3939160" y="2194822"/>
                  <a:pt x="3937564" y="2196420"/>
                </a:cubicBezTo>
                <a:cubicBezTo>
                  <a:pt x="3935033" y="2199082"/>
                  <a:pt x="3933969" y="2201878"/>
                  <a:pt x="3933969" y="2205871"/>
                </a:cubicBezTo>
                <a:cubicBezTo>
                  <a:pt x="3933969" y="2209999"/>
                  <a:pt x="3935033" y="2212793"/>
                  <a:pt x="3937564" y="2215322"/>
                </a:cubicBezTo>
                <a:cubicBezTo>
                  <a:pt x="3939160" y="2216920"/>
                  <a:pt x="3941689" y="2218783"/>
                  <a:pt x="3947547" y="2218783"/>
                </a:cubicBezTo>
                <a:cubicBezTo>
                  <a:pt x="3949545" y="2218783"/>
                  <a:pt x="3951407" y="2218517"/>
                  <a:pt x="3952873" y="2217851"/>
                </a:cubicBezTo>
                <a:cubicBezTo>
                  <a:pt x="3954336" y="2217319"/>
                  <a:pt x="3955667" y="2216520"/>
                  <a:pt x="3956600" y="2215455"/>
                </a:cubicBezTo>
                <a:cubicBezTo>
                  <a:pt x="3957665" y="2214257"/>
                  <a:pt x="3958597" y="2212926"/>
                  <a:pt x="3959262" y="2211196"/>
                </a:cubicBezTo>
                <a:cubicBezTo>
                  <a:pt x="3959928" y="2209598"/>
                  <a:pt x="3960327" y="2207734"/>
                  <a:pt x="3960327" y="2205738"/>
                </a:cubicBezTo>
                <a:cubicBezTo>
                  <a:pt x="3960327" y="2203874"/>
                  <a:pt x="3959928" y="2202144"/>
                  <a:pt x="3959262" y="2200546"/>
                </a:cubicBezTo>
                <a:cubicBezTo>
                  <a:pt x="3958597" y="2198949"/>
                  <a:pt x="3957665" y="2197618"/>
                  <a:pt x="3956600" y="2196420"/>
                </a:cubicBezTo>
                <a:cubicBezTo>
                  <a:pt x="3955534" y="2195354"/>
                  <a:pt x="3954203" y="2194555"/>
                  <a:pt x="3952605" y="2193757"/>
                </a:cubicBezTo>
                <a:cubicBezTo>
                  <a:pt x="3951141" y="2193091"/>
                  <a:pt x="3949545" y="2192826"/>
                  <a:pt x="3947547" y="2192826"/>
                </a:cubicBezTo>
                <a:close/>
                <a:moveTo>
                  <a:pt x="3729896" y="2192826"/>
                </a:moveTo>
                <a:cubicBezTo>
                  <a:pt x="3724038" y="2192826"/>
                  <a:pt x="3721509" y="2194822"/>
                  <a:pt x="3719910" y="2196420"/>
                </a:cubicBezTo>
                <a:cubicBezTo>
                  <a:pt x="3717380" y="2199082"/>
                  <a:pt x="3716317" y="2201878"/>
                  <a:pt x="3716317" y="2205871"/>
                </a:cubicBezTo>
                <a:cubicBezTo>
                  <a:pt x="3716317" y="2209999"/>
                  <a:pt x="3717380" y="2212793"/>
                  <a:pt x="3719910" y="2215322"/>
                </a:cubicBezTo>
                <a:cubicBezTo>
                  <a:pt x="3721509" y="2216920"/>
                  <a:pt x="3724038" y="2218783"/>
                  <a:pt x="3729896" y="2218783"/>
                </a:cubicBezTo>
                <a:cubicBezTo>
                  <a:pt x="3732025" y="2218783"/>
                  <a:pt x="3733757" y="2218517"/>
                  <a:pt x="3735221" y="2217851"/>
                </a:cubicBezTo>
                <a:cubicBezTo>
                  <a:pt x="3736684" y="2217319"/>
                  <a:pt x="3738017" y="2216520"/>
                  <a:pt x="3738947" y="2215455"/>
                </a:cubicBezTo>
                <a:cubicBezTo>
                  <a:pt x="3740013" y="2214257"/>
                  <a:pt x="3740945" y="2212926"/>
                  <a:pt x="3741611" y="2211196"/>
                </a:cubicBezTo>
                <a:cubicBezTo>
                  <a:pt x="3742276" y="2209598"/>
                  <a:pt x="3742675" y="2207734"/>
                  <a:pt x="3742675" y="2205738"/>
                </a:cubicBezTo>
                <a:cubicBezTo>
                  <a:pt x="3742675" y="2203874"/>
                  <a:pt x="3742276" y="2202144"/>
                  <a:pt x="3741611" y="2200546"/>
                </a:cubicBezTo>
                <a:cubicBezTo>
                  <a:pt x="3740945" y="2198949"/>
                  <a:pt x="3740013" y="2197618"/>
                  <a:pt x="3738947" y="2196420"/>
                </a:cubicBezTo>
                <a:cubicBezTo>
                  <a:pt x="3737883" y="2195354"/>
                  <a:pt x="3736552" y="2194555"/>
                  <a:pt x="3734955" y="2193757"/>
                </a:cubicBezTo>
                <a:cubicBezTo>
                  <a:pt x="3733490" y="2193091"/>
                  <a:pt x="3731892" y="2192826"/>
                  <a:pt x="3729896" y="2192826"/>
                </a:cubicBezTo>
                <a:close/>
                <a:moveTo>
                  <a:pt x="3512244" y="2192826"/>
                </a:moveTo>
                <a:cubicBezTo>
                  <a:pt x="3506387" y="2192826"/>
                  <a:pt x="3503857" y="2194822"/>
                  <a:pt x="3502258" y="2196420"/>
                </a:cubicBezTo>
                <a:cubicBezTo>
                  <a:pt x="3499728" y="2199082"/>
                  <a:pt x="3498665" y="2201878"/>
                  <a:pt x="3498665" y="2205871"/>
                </a:cubicBezTo>
                <a:cubicBezTo>
                  <a:pt x="3498665" y="2209999"/>
                  <a:pt x="3499728" y="2212793"/>
                  <a:pt x="3502258" y="2215322"/>
                </a:cubicBezTo>
                <a:cubicBezTo>
                  <a:pt x="3503857" y="2216920"/>
                  <a:pt x="3506387" y="2218783"/>
                  <a:pt x="3512244" y="2218783"/>
                </a:cubicBezTo>
                <a:cubicBezTo>
                  <a:pt x="3514374" y="2218783"/>
                  <a:pt x="3516105" y="2218517"/>
                  <a:pt x="3517569" y="2217851"/>
                </a:cubicBezTo>
                <a:cubicBezTo>
                  <a:pt x="3519033" y="2217319"/>
                  <a:pt x="3520365" y="2216520"/>
                  <a:pt x="3521296" y="2215455"/>
                </a:cubicBezTo>
                <a:cubicBezTo>
                  <a:pt x="3522362" y="2214257"/>
                  <a:pt x="3523293" y="2212926"/>
                  <a:pt x="3523959" y="2211196"/>
                </a:cubicBezTo>
                <a:cubicBezTo>
                  <a:pt x="3524624" y="2209598"/>
                  <a:pt x="3525025" y="2207734"/>
                  <a:pt x="3525025" y="2205738"/>
                </a:cubicBezTo>
                <a:cubicBezTo>
                  <a:pt x="3525025" y="2203874"/>
                  <a:pt x="3524624" y="2202144"/>
                  <a:pt x="3523959" y="2200546"/>
                </a:cubicBezTo>
                <a:cubicBezTo>
                  <a:pt x="3523293" y="2198949"/>
                  <a:pt x="3522362" y="2197618"/>
                  <a:pt x="3521296" y="2196420"/>
                </a:cubicBezTo>
                <a:cubicBezTo>
                  <a:pt x="3520231" y="2195354"/>
                  <a:pt x="3518900" y="2194555"/>
                  <a:pt x="3517303" y="2193757"/>
                </a:cubicBezTo>
                <a:cubicBezTo>
                  <a:pt x="3515839" y="2193091"/>
                  <a:pt x="3514241" y="2192826"/>
                  <a:pt x="3512244" y="2192826"/>
                </a:cubicBezTo>
                <a:close/>
                <a:moveTo>
                  <a:pt x="3294726" y="2192826"/>
                </a:moveTo>
                <a:cubicBezTo>
                  <a:pt x="3288868" y="2192826"/>
                  <a:pt x="3286339" y="2194822"/>
                  <a:pt x="3284741" y="2196420"/>
                </a:cubicBezTo>
                <a:cubicBezTo>
                  <a:pt x="3282210" y="2199082"/>
                  <a:pt x="3281147" y="2201878"/>
                  <a:pt x="3281147" y="2205871"/>
                </a:cubicBezTo>
                <a:cubicBezTo>
                  <a:pt x="3281147" y="2209999"/>
                  <a:pt x="3282210" y="2212793"/>
                  <a:pt x="3284741" y="2215322"/>
                </a:cubicBezTo>
                <a:cubicBezTo>
                  <a:pt x="3286339" y="2216920"/>
                  <a:pt x="3288868" y="2218783"/>
                  <a:pt x="3294726" y="2218783"/>
                </a:cubicBezTo>
                <a:cubicBezTo>
                  <a:pt x="3296722" y="2218783"/>
                  <a:pt x="3298453" y="2218517"/>
                  <a:pt x="3300051" y="2217851"/>
                </a:cubicBezTo>
                <a:cubicBezTo>
                  <a:pt x="3301515" y="2217319"/>
                  <a:pt x="3302847" y="2216520"/>
                  <a:pt x="3303778" y="2215455"/>
                </a:cubicBezTo>
                <a:cubicBezTo>
                  <a:pt x="3304843" y="2214257"/>
                  <a:pt x="3305775" y="2212926"/>
                  <a:pt x="3306441" y="2211196"/>
                </a:cubicBezTo>
                <a:cubicBezTo>
                  <a:pt x="3307106" y="2209598"/>
                  <a:pt x="3307505" y="2207734"/>
                  <a:pt x="3307505" y="2205738"/>
                </a:cubicBezTo>
                <a:cubicBezTo>
                  <a:pt x="3307505" y="2203874"/>
                  <a:pt x="3307106" y="2202144"/>
                  <a:pt x="3306441" y="2200546"/>
                </a:cubicBezTo>
                <a:cubicBezTo>
                  <a:pt x="3305775" y="2198949"/>
                  <a:pt x="3304843" y="2197618"/>
                  <a:pt x="3303778" y="2196420"/>
                </a:cubicBezTo>
                <a:cubicBezTo>
                  <a:pt x="3302713" y="2195354"/>
                  <a:pt x="3301382" y="2194555"/>
                  <a:pt x="3299785" y="2193757"/>
                </a:cubicBezTo>
                <a:cubicBezTo>
                  <a:pt x="3298321" y="2193091"/>
                  <a:pt x="3296722" y="2192826"/>
                  <a:pt x="3294726" y="2192826"/>
                </a:cubicBezTo>
                <a:close/>
                <a:moveTo>
                  <a:pt x="3077207" y="2192826"/>
                </a:moveTo>
                <a:cubicBezTo>
                  <a:pt x="3071350" y="2192826"/>
                  <a:pt x="3068820" y="2194822"/>
                  <a:pt x="3067224" y="2196420"/>
                </a:cubicBezTo>
                <a:cubicBezTo>
                  <a:pt x="3064560" y="2199082"/>
                  <a:pt x="3063495" y="2201878"/>
                  <a:pt x="3063495" y="2205871"/>
                </a:cubicBezTo>
                <a:cubicBezTo>
                  <a:pt x="3063495" y="2209999"/>
                  <a:pt x="3064560" y="2212793"/>
                  <a:pt x="3067090" y="2215322"/>
                </a:cubicBezTo>
                <a:cubicBezTo>
                  <a:pt x="3068688" y="2216920"/>
                  <a:pt x="3071217" y="2218783"/>
                  <a:pt x="3077074" y="2218783"/>
                </a:cubicBezTo>
                <a:cubicBezTo>
                  <a:pt x="3079071" y="2218783"/>
                  <a:pt x="3080802" y="2218517"/>
                  <a:pt x="3082532" y="2217851"/>
                </a:cubicBezTo>
                <a:cubicBezTo>
                  <a:pt x="3083997" y="2217319"/>
                  <a:pt x="3085329" y="2216520"/>
                  <a:pt x="3086260" y="2215455"/>
                </a:cubicBezTo>
                <a:cubicBezTo>
                  <a:pt x="3087324" y="2214257"/>
                  <a:pt x="3088257" y="2212926"/>
                  <a:pt x="3088922" y="2211196"/>
                </a:cubicBezTo>
                <a:cubicBezTo>
                  <a:pt x="3089587" y="2209598"/>
                  <a:pt x="3089855" y="2207734"/>
                  <a:pt x="3089855" y="2205738"/>
                </a:cubicBezTo>
                <a:cubicBezTo>
                  <a:pt x="3089855" y="2203874"/>
                  <a:pt x="3089587" y="2202144"/>
                  <a:pt x="3088922" y="2200546"/>
                </a:cubicBezTo>
                <a:cubicBezTo>
                  <a:pt x="3088257" y="2198949"/>
                  <a:pt x="3087324" y="2197618"/>
                  <a:pt x="3086260" y="2196420"/>
                </a:cubicBezTo>
                <a:cubicBezTo>
                  <a:pt x="3085195" y="2195354"/>
                  <a:pt x="3083863" y="2194555"/>
                  <a:pt x="3082267" y="2193757"/>
                </a:cubicBezTo>
                <a:cubicBezTo>
                  <a:pt x="3080802" y="2193091"/>
                  <a:pt x="3079204" y="2192826"/>
                  <a:pt x="3077207" y="2192826"/>
                </a:cubicBezTo>
                <a:close/>
                <a:moveTo>
                  <a:pt x="2859423" y="2192826"/>
                </a:moveTo>
                <a:cubicBezTo>
                  <a:pt x="2853566" y="2192826"/>
                  <a:pt x="2851037" y="2194822"/>
                  <a:pt x="2849438" y="2196420"/>
                </a:cubicBezTo>
                <a:cubicBezTo>
                  <a:pt x="2846906" y="2199082"/>
                  <a:pt x="2845843" y="2201878"/>
                  <a:pt x="2845843" y="2205871"/>
                </a:cubicBezTo>
                <a:cubicBezTo>
                  <a:pt x="2845843" y="2209999"/>
                  <a:pt x="2846906" y="2212793"/>
                  <a:pt x="2849438" y="2215322"/>
                </a:cubicBezTo>
                <a:cubicBezTo>
                  <a:pt x="2851037" y="2216920"/>
                  <a:pt x="2853566" y="2218783"/>
                  <a:pt x="2859423" y="2218783"/>
                </a:cubicBezTo>
                <a:cubicBezTo>
                  <a:pt x="2861420" y="2218783"/>
                  <a:pt x="2863284" y="2218517"/>
                  <a:pt x="2864748" y="2217851"/>
                </a:cubicBezTo>
                <a:cubicBezTo>
                  <a:pt x="2866346" y="2217319"/>
                  <a:pt x="2867544" y="2216520"/>
                  <a:pt x="2868475" y="2215455"/>
                </a:cubicBezTo>
                <a:cubicBezTo>
                  <a:pt x="2869540" y="2214257"/>
                  <a:pt x="2870472" y="2212926"/>
                  <a:pt x="2871138" y="2211196"/>
                </a:cubicBezTo>
                <a:cubicBezTo>
                  <a:pt x="2871670" y="2209598"/>
                  <a:pt x="2872069" y="2207734"/>
                  <a:pt x="2872069" y="2205738"/>
                </a:cubicBezTo>
                <a:cubicBezTo>
                  <a:pt x="2872069" y="2203874"/>
                  <a:pt x="2871803" y="2202144"/>
                  <a:pt x="2871138" y="2200546"/>
                </a:cubicBezTo>
                <a:cubicBezTo>
                  <a:pt x="2870472" y="2198949"/>
                  <a:pt x="2869540" y="2197618"/>
                  <a:pt x="2868475" y="2196420"/>
                </a:cubicBezTo>
                <a:cubicBezTo>
                  <a:pt x="2867411" y="2195354"/>
                  <a:pt x="2866079" y="2194555"/>
                  <a:pt x="2864482" y="2193757"/>
                </a:cubicBezTo>
                <a:cubicBezTo>
                  <a:pt x="2863018" y="2193091"/>
                  <a:pt x="2861420" y="2192826"/>
                  <a:pt x="2859423" y="2192826"/>
                </a:cubicBezTo>
                <a:close/>
                <a:moveTo>
                  <a:pt x="2641771" y="2192826"/>
                </a:moveTo>
                <a:cubicBezTo>
                  <a:pt x="2635914" y="2192826"/>
                  <a:pt x="2633385" y="2194822"/>
                  <a:pt x="2631788" y="2196420"/>
                </a:cubicBezTo>
                <a:cubicBezTo>
                  <a:pt x="2629258" y="2199082"/>
                  <a:pt x="2628194" y="2201878"/>
                  <a:pt x="2628194" y="2205871"/>
                </a:cubicBezTo>
                <a:cubicBezTo>
                  <a:pt x="2628194" y="2209999"/>
                  <a:pt x="2629258" y="2212793"/>
                  <a:pt x="2631788" y="2215322"/>
                </a:cubicBezTo>
                <a:cubicBezTo>
                  <a:pt x="2633385" y="2216920"/>
                  <a:pt x="2635914" y="2218783"/>
                  <a:pt x="2641771" y="2218783"/>
                </a:cubicBezTo>
                <a:cubicBezTo>
                  <a:pt x="2643768" y="2218783"/>
                  <a:pt x="2645633" y="2218517"/>
                  <a:pt x="2647097" y="2217851"/>
                </a:cubicBezTo>
                <a:cubicBezTo>
                  <a:pt x="2648693" y="2217319"/>
                  <a:pt x="2649891" y="2216520"/>
                  <a:pt x="2650824" y="2215455"/>
                </a:cubicBezTo>
                <a:cubicBezTo>
                  <a:pt x="2651889" y="2214257"/>
                  <a:pt x="2652821" y="2212926"/>
                  <a:pt x="2653487" y="2211196"/>
                </a:cubicBezTo>
                <a:cubicBezTo>
                  <a:pt x="2654018" y="2209598"/>
                  <a:pt x="2654417" y="2207734"/>
                  <a:pt x="2654417" y="2205738"/>
                </a:cubicBezTo>
                <a:cubicBezTo>
                  <a:pt x="2654417" y="2203874"/>
                  <a:pt x="2654152" y="2202144"/>
                  <a:pt x="2653487" y="2200546"/>
                </a:cubicBezTo>
                <a:cubicBezTo>
                  <a:pt x="2652821" y="2198949"/>
                  <a:pt x="2651889" y="2197618"/>
                  <a:pt x="2650824" y="2196420"/>
                </a:cubicBezTo>
                <a:cubicBezTo>
                  <a:pt x="2649759" y="2195354"/>
                  <a:pt x="2648427" y="2194555"/>
                  <a:pt x="2646831" y="2193757"/>
                </a:cubicBezTo>
                <a:cubicBezTo>
                  <a:pt x="2645365" y="2193091"/>
                  <a:pt x="2643768" y="2192826"/>
                  <a:pt x="2641771" y="2192826"/>
                </a:cubicBezTo>
                <a:close/>
                <a:moveTo>
                  <a:pt x="2424120" y="2192826"/>
                </a:moveTo>
                <a:cubicBezTo>
                  <a:pt x="2418263" y="2192826"/>
                  <a:pt x="2415734" y="2194822"/>
                  <a:pt x="2414137" y="2196420"/>
                </a:cubicBezTo>
                <a:cubicBezTo>
                  <a:pt x="2411606" y="2199082"/>
                  <a:pt x="2410542" y="2201878"/>
                  <a:pt x="2410542" y="2205871"/>
                </a:cubicBezTo>
                <a:cubicBezTo>
                  <a:pt x="2410542" y="2209999"/>
                  <a:pt x="2411606" y="2212793"/>
                  <a:pt x="2414137" y="2215322"/>
                </a:cubicBezTo>
                <a:cubicBezTo>
                  <a:pt x="2415734" y="2216920"/>
                  <a:pt x="2418263" y="2218783"/>
                  <a:pt x="2424120" y="2218783"/>
                </a:cubicBezTo>
                <a:cubicBezTo>
                  <a:pt x="2426250" y="2218783"/>
                  <a:pt x="2427981" y="2218517"/>
                  <a:pt x="2429445" y="2217851"/>
                </a:cubicBezTo>
                <a:cubicBezTo>
                  <a:pt x="2431043" y="2217319"/>
                  <a:pt x="2432241" y="2216520"/>
                  <a:pt x="2433172" y="2215455"/>
                </a:cubicBezTo>
                <a:cubicBezTo>
                  <a:pt x="2434237" y="2214257"/>
                  <a:pt x="2435169" y="2212926"/>
                  <a:pt x="2435835" y="2211196"/>
                </a:cubicBezTo>
                <a:cubicBezTo>
                  <a:pt x="2436367" y="2209598"/>
                  <a:pt x="2436766" y="2207734"/>
                  <a:pt x="2436766" y="2205738"/>
                </a:cubicBezTo>
                <a:cubicBezTo>
                  <a:pt x="2436766" y="2203874"/>
                  <a:pt x="2436500" y="2202144"/>
                  <a:pt x="2435835" y="2200546"/>
                </a:cubicBezTo>
                <a:cubicBezTo>
                  <a:pt x="2435169" y="2198949"/>
                  <a:pt x="2434237" y="2197618"/>
                  <a:pt x="2433172" y="2196420"/>
                </a:cubicBezTo>
                <a:cubicBezTo>
                  <a:pt x="2432108" y="2195354"/>
                  <a:pt x="2430776" y="2194555"/>
                  <a:pt x="2429179" y="2193757"/>
                </a:cubicBezTo>
                <a:cubicBezTo>
                  <a:pt x="2427715" y="2193091"/>
                  <a:pt x="2426117" y="2192826"/>
                  <a:pt x="2424120" y="2192826"/>
                </a:cubicBezTo>
                <a:close/>
                <a:moveTo>
                  <a:pt x="2206469" y="2192826"/>
                </a:moveTo>
                <a:cubicBezTo>
                  <a:pt x="2200611" y="2192826"/>
                  <a:pt x="2198082" y="2194822"/>
                  <a:pt x="2196485" y="2196420"/>
                </a:cubicBezTo>
                <a:cubicBezTo>
                  <a:pt x="2193955" y="2199082"/>
                  <a:pt x="2192891" y="2201878"/>
                  <a:pt x="2192891" y="2205871"/>
                </a:cubicBezTo>
                <a:cubicBezTo>
                  <a:pt x="2192891" y="2209999"/>
                  <a:pt x="2193955" y="2212793"/>
                  <a:pt x="2196485" y="2215322"/>
                </a:cubicBezTo>
                <a:cubicBezTo>
                  <a:pt x="2198082" y="2216920"/>
                  <a:pt x="2200611" y="2218783"/>
                  <a:pt x="2206469" y="2218783"/>
                </a:cubicBezTo>
                <a:cubicBezTo>
                  <a:pt x="2208598" y="2218783"/>
                  <a:pt x="2210329" y="2218517"/>
                  <a:pt x="2211793" y="2217851"/>
                </a:cubicBezTo>
                <a:cubicBezTo>
                  <a:pt x="2213391" y="2217319"/>
                  <a:pt x="2214589" y="2216520"/>
                  <a:pt x="2215520" y="2215455"/>
                </a:cubicBezTo>
                <a:cubicBezTo>
                  <a:pt x="2216585" y="2214257"/>
                  <a:pt x="2217517" y="2212926"/>
                  <a:pt x="2218183" y="2211196"/>
                </a:cubicBezTo>
                <a:cubicBezTo>
                  <a:pt x="2218716" y="2209598"/>
                  <a:pt x="2219115" y="2207734"/>
                  <a:pt x="2219115" y="2205738"/>
                </a:cubicBezTo>
                <a:cubicBezTo>
                  <a:pt x="2219115" y="2203874"/>
                  <a:pt x="2218848" y="2202144"/>
                  <a:pt x="2218183" y="2200546"/>
                </a:cubicBezTo>
                <a:cubicBezTo>
                  <a:pt x="2217517" y="2198949"/>
                  <a:pt x="2216585" y="2197618"/>
                  <a:pt x="2215520" y="2196420"/>
                </a:cubicBezTo>
                <a:cubicBezTo>
                  <a:pt x="2214455" y="2195354"/>
                  <a:pt x="2213125" y="2194555"/>
                  <a:pt x="2211527" y="2193757"/>
                </a:cubicBezTo>
                <a:cubicBezTo>
                  <a:pt x="2210063" y="2193091"/>
                  <a:pt x="2208465" y="2192826"/>
                  <a:pt x="2206469" y="2192826"/>
                </a:cubicBezTo>
                <a:close/>
                <a:moveTo>
                  <a:pt x="1988950" y="2192826"/>
                </a:moveTo>
                <a:cubicBezTo>
                  <a:pt x="1983093" y="2192826"/>
                  <a:pt x="1980564" y="2194822"/>
                  <a:pt x="1978967" y="2196420"/>
                </a:cubicBezTo>
                <a:cubicBezTo>
                  <a:pt x="1976436" y="2199082"/>
                  <a:pt x="1975373" y="2201878"/>
                  <a:pt x="1975373" y="2205871"/>
                </a:cubicBezTo>
                <a:cubicBezTo>
                  <a:pt x="1975373" y="2209999"/>
                  <a:pt x="1976436" y="2212793"/>
                  <a:pt x="1978967" y="2215322"/>
                </a:cubicBezTo>
                <a:cubicBezTo>
                  <a:pt x="1980564" y="2216920"/>
                  <a:pt x="1983093" y="2218783"/>
                  <a:pt x="1988950" y="2218783"/>
                </a:cubicBezTo>
                <a:cubicBezTo>
                  <a:pt x="1990947" y="2218783"/>
                  <a:pt x="1992678" y="2218517"/>
                  <a:pt x="1994275" y="2217851"/>
                </a:cubicBezTo>
                <a:cubicBezTo>
                  <a:pt x="1995873" y="2217319"/>
                  <a:pt x="1997071" y="2216520"/>
                  <a:pt x="1998002" y="2215455"/>
                </a:cubicBezTo>
                <a:cubicBezTo>
                  <a:pt x="1999067" y="2214257"/>
                  <a:pt x="1999999" y="2212926"/>
                  <a:pt x="2000665" y="2211196"/>
                </a:cubicBezTo>
                <a:cubicBezTo>
                  <a:pt x="2001197" y="2209598"/>
                  <a:pt x="2001596" y="2207734"/>
                  <a:pt x="2001596" y="2205738"/>
                </a:cubicBezTo>
                <a:cubicBezTo>
                  <a:pt x="2001596" y="2203874"/>
                  <a:pt x="2001330" y="2202144"/>
                  <a:pt x="2000665" y="2200546"/>
                </a:cubicBezTo>
                <a:cubicBezTo>
                  <a:pt x="1999999" y="2198949"/>
                  <a:pt x="1999067" y="2197618"/>
                  <a:pt x="1998002" y="2196420"/>
                </a:cubicBezTo>
                <a:cubicBezTo>
                  <a:pt x="1996938" y="2195354"/>
                  <a:pt x="1995606" y="2194555"/>
                  <a:pt x="1994009" y="2193757"/>
                </a:cubicBezTo>
                <a:cubicBezTo>
                  <a:pt x="1992545" y="2193091"/>
                  <a:pt x="1990947" y="2192826"/>
                  <a:pt x="1988950" y="2192826"/>
                </a:cubicBezTo>
                <a:close/>
                <a:moveTo>
                  <a:pt x="1771309" y="2192826"/>
                </a:moveTo>
                <a:cubicBezTo>
                  <a:pt x="1765452" y="2192826"/>
                  <a:pt x="1762924" y="2194822"/>
                  <a:pt x="1761327" y="2196420"/>
                </a:cubicBezTo>
                <a:cubicBezTo>
                  <a:pt x="1758797" y="2199082"/>
                  <a:pt x="1757733" y="2201878"/>
                  <a:pt x="1757733" y="2205871"/>
                </a:cubicBezTo>
                <a:cubicBezTo>
                  <a:pt x="1757733" y="2209999"/>
                  <a:pt x="1758797" y="2212793"/>
                  <a:pt x="1761327" y="2215322"/>
                </a:cubicBezTo>
                <a:cubicBezTo>
                  <a:pt x="1762924" y="2216920"/>
                  <a:pt x="1765452" y="2218783"/>
                  <a:pt x="1771309" y="2218783"/>
                </a:cubicBezTo>
                <a:cubicBezTo>
                  <a:pt x="1773307" y="2218783"/>
                  <a:pt x="1775170" y="2218517"/>
                  <a:pt x="1776634" y="2217851"/>
                </a:cubicBezTo>
                <a:cubicBezTo>
                  <a:pt x="1778098" y="2217319"/>
                  <a:pt x="1779429" y="2216520"/>
                  <a:pt x="1780361" y="2215455"/>
                </a:cubicBezTo>
                <a:cubicBezTo>
                  <a:pt x="1781426" y="2214257"/>
                  <a:pt x="1782358" y="2212926"/>
                  <a:pt x="1783024" y="2211196"/>
                </a:cubicBezTo>
                <a:cubicBezTo>
                  <a:pt x="1783689" y="2209598"/>
                  <a:pt x="1784089" y="2207734"/>
                  <a:pt x="1784089" y="2205738"/>
                </a:cubicBezTo>
                <a:cubicBezTo>
                  <a:pt x="1784089" y="2203874"/>
                  <a:pt x="1783689" y="2202144"/>
                  <a:pt x="1783024" y="2200546"/>
                </a:cubicBezTo>
                <a:cubicBezTo>
                  <a:pt x="1782358" y="2198949"/>
                  <a:pt x="1781426" y="2197618"/>
                  <a:pt x="1780361" y="2196420"/>
                </a:cubicBezTo>
                <a:cubicBezTo>
                  <a:pt x="1779296" y="2195354"/>
                  <a:pt x="1777966" y="2194555"/>
                  <a:pt x="1776369" y="2193757"/>
                </a:cubicBezTo>
                <a:cubicBezTo>
                  <a:pt x="1774903" y="2193091"/>
                  <a:pt x="1773307" y="2192826"/>
                  <a:pt x="1771309" y="2192826"/>
                </a:cubicBezTo>
                <a:close/>
                <a:moveTo>
                  <a:pt x="1553668" y="2192826"/>
                </a:moveTo>
                <a:cubicBezTo>
                  <a:pt x="1547810" y="2192826"/>
                  <a:pt x="1545281" y="2194822"/>
                  <a:pt x="1543684" y="2196420"/>
                </a:cubicBezTo>
                <a:cubicBezTo>
                  <a:pt x="1541154" y="2199082"/>
                  <a:pt x="1540090" y="2201878"/>
                  <a:pt x="1540090" y="2205871"/>
                </a:cubicBezTo>
                <a:cubicBezTo>
                  <a:pt x="1540090" y="2209999"/>
                  <a:pt x="1541154" y="2212793"/>
                  <a:pt x="1543684" y="2215322"/>
                </a:cubicBezTo>
                <a:cubicBezTo>
                  <a:pt x="1545281" y="2216920"/>
                  <a:pt x="1547810" y="2218783"/>
                  <a:pt x="1553668" y="2218783"/>
                </a:cubicBezTo>
                <a:cubicBezTo>
                  <a:pt x="1555664" y="2218783"/>
                  <a:pt x="1557528" y="2218517"/>
                  <a:pt x="1558992" y="2217851"/>
                </a:cubicBezTo>
                <a:cubicBezTo>
                  <a:pt x="1560456" y="2217319"/>
                  <a:pt x="1561788" y="2216520"/>
                  <a:pt x="1562719" y="2215455"/>
                </a:cubicBezTo>
                <a:cubicBezTo>
                  <a:pt x="1563784" y="2214257"/>
                  <a:pt x="1564716" y="2212926"/>
                  <a:pt x="1565382" y="2211196"/>
                </a:cubicBezTo>
                <a:cubicBezTo>
                  <a:pt x="1566047" y="2209598"/>
                  <a:pt x="1566447" y="2207734"/>
                  <a:pt x="1566447" y="2205738"/>
                </a:cubicBezTo>
                <a:cubicBezTo>
                  <a:pt x="1566447" y="2203874"/>
                  <a:pt x="1566047" y="2202144"/>
                  <a:pt x="1565382" y="2200546"/>
                </a:cubicBezTo>
                <a:cubicBezTo>
                  <a:pt x="1564716" y="2198949"/>
                  <a:pt x="1563784" y="2197618"/>
                  <a:pt x="1562719" y="2196420"/>
                </a:cubicBezTo>
                <a:cubicBezTo>
                  <a:pt x="1561654" y="2195354"/>
                  <a:pt x="1560324" y="2194555"/>
                  <a:pt x="1558726" y="2193757"/>
                </a:cubicBezTo>
                <a:cubicBezTo>
                  <a:pt x="1557262" y="2193091"/>
                  <a:pt x="1555664" y="2192826"/>
                  <a:pt x="1553668" y="2192826"/>
                </a:cubicBezTo>
                <a:close/>
                <a:moveTo>
                  <a:pt x="1336023" y="2192826"/>
                </a:moveTo>
                <a:cubicBezTo>
                  <a:pt x="1330166" y="2192826"/>
                  <a:pt x="1327636" y="2194822"/>
                  <a:pt x="1326040" y="2196420"/>
                </a:cubicBezTo>
                <a:cubicBezTo>
                  <a:pt x="1323509" y="2199082"/>
                  <a:pt x="1322445" y="2201878"/>
                  <a:pt x="1322445" y="2205871"/>
                </a:cubicBezTo>
                <a:cubicBezTo>
                  <a:pt x="1322445" y="2209999"/>
                  <a:pt x="1323509" y="2212793"/>
                  <a:pt x="1326040" y="2215322"/>
                </a:cubicBezTo>
                <a:cubicBezTo>
                  <a:pt x="1327636" y="2216920"/>
                  <a:pt x="1330166" y="2218783"/>
                  <a:pt x="1336023" y="2218783"/>
                </a:cubicBezTo>
                <a:cubicBezTo>
                  <a:pt x="1338153" y="2218783"/>
                  <a:pt x="1339883" y="2218517"/>
                  <a:pt x="1341349" y="2217851"/>
                </a:cubicBezTo>
                <a:cubicBezTo>
                  <a:pt x="1342813" y="2217319"/>
                  <a:pt x="1344143" y="2216520"/>
                  <a:pt x="1345076" y="2215455"/>
                </a:cubicBezTo>
                <a:cubicBezTo>
                  <a:pt x="1346140" y="2214257"/>
                  <a:pt x="1347073" y="2212926"/>
                  <a:pt x="1347739" y="2211196"/>
                </a:cubicBezTo>
                <a:cubicBezTo>
                  <a:pt x="1348404" y="2209598"/>
                  <a:pt x="1348804" y="2207734"/>
                  <a:pt x="1348804" y="2205738"/>
                </a:cubicBezTo>
                <a:cubicBezTo>
                  <a:pt x="1348804" y="2203874"/>
                  <a:pt x="1348404" y="2202144"/>
                  <a:pt x="1347739" y="2200546"/>
                </a:cubicBezTo>
                <a:cubicBezTo>
                  <a:pt x="1347073" y="2198949"/>
                  <a:pt x="1346140" y="2197618"/>
                  <a:pt x="1345076" y="2196420"/>
                </a:cubicBezTo>
                <a:cubicBezTo>
                  <a:pt x="1344011" y="2195354"/>
                  <a:pt x="1342680" y="2194555"/>
                  <a:pt x="1341082" y="2193757"/>
                </a:cubicBezTo>
                <a:cubicBezTo>
                  <a:pt x="1339618" y="2193091"/>
                  <a:pt x="1338020" y="2192826"/>
                  <a:pt x="1336023" y="2192826"/>
                </a:cubicBezTo>
                <a:close/>
                <a:moveTo>
                  <a:pt x="1118511" y="2192826"/>
                </a:moveTo>
                <a:cubicBezTo>
                  <a:pt x="1112653" y="2192826"/>
                  <a:pt x="1110124" y="2194822"/>
                  <a:pt x="1108527" y="2196420"/>
                </a:cubicBezTo>
                <a:cubicBezTo>
                  <a:pt x="1105864" y="2199082"/>
                  <a:pt x="1104800" y="2201878"/>
                  <a:pt x="1104800" y="2205871"/>
                </a:cubicBezTo>
                <a:cubicBezTo>
                  <a:pt x="1104800" y="2209999"/>
                  <a:pt x="1105864" y="2212793"/>
                  <a:pt x="1108394" y="2215322"/>
                </a:cubicBezTo>
                <a:cubicBezTo>
                  <a:pt x="1109991" y="2216920"/>
                  <a:pt x="1112520" y="2218783"/>
                  <a:pt x="1118378" y="2218783"/>
                </a:cubicBezTo>
                <a:cubicBezTo>
                  <a:pt x="1120508" y="2218783"/>
                  <a:pt x="1122239" y="2218517"/>
                  <a:pt x="1123836" y="2217851"/>
                </a:cubicBezTo>
                <a:cubicBezTo>
                  <a:pt x="1125300" y="2217319"/>
                  <a:pt x="1126634" y="2216520"/>
                  <a:pt x="1127563" y="2215455"/>
                </a:cubicBezTo>
                <a:cubicBezTo>
                  <a:pt x="1128628" y="2214257"/>
                  <a:pt x="1129561" y="2212926"/>
                  <a:pt x="1130227" y="2211196"/>
                </a:cubicBezTo>
                <a:cubicBezTo>
                  <a:pt x="1130891" y="2209598"/>
                  <a:pt x="1131292" y="2207734"/>
                  <a:pt x="1131292" y="2205738"/>
                </a:cubicBezTo>
                <a:cubicBezTo>
                  <a:pt x="1131292" y="2203874"/>
                  <a:pt x="1130891" y="2202144"/>
                  <a:pt x="1130227" y="2200546"/>
                </a:cubicBezTo>
                <a:cubicBezTo>
                  <a:pt x="1129561" y="2198949"/>
                  <a:pt x="1128628" y="2197618"/>
                  <a:pt x="1127563" y="2196420"/>
                </a:cubicBezTo>
                <a:cubicBezTo>
                  <a:pt x="1126498" y="2195354"/>
                  <a:pt x="1125168" y="2194555"/>
                  <a:pt x="1123569" y="2193757"/>
                </a:cubicBezTo>
                <a:cubicBezTo>
                  <a:pt x="1122106" y="2193091"/>
                  <a:pt x="1120508" y="2192826"/>
                  <a:pt x="1118511" y="2192826"/>
                </a:cubicBezTo>
                <a:close/>
                <a:moveTo>
                  <a:pt x="901000" y="2192826"/>
                </a:moveTo>
                <a:cubicBezTo>
                  <a:pt x="895141" y="2192826"/>
                  <a:pt x="892612" y="2194822"/>
                  <a:pt x="891015" y="2196420"/>
                </a:cubicBezTo>
                <a:cubicBezTo>
                  <a:pt x="888352" y="2199082"/>
                  <a:pt x="887289" y="2201878"/>
                  <a:pt x="887289" y="2205871"/>
                </a:cubicBezTo>
                <a:cubicBezTo>
                  <a:pt x="887289" y="2209999"/>
                  <a:pt x="888352" y="2212793"/>
                  <a:pt x="890882" y="2215322"/>
                </a:cubicBezTo>
                <a:cubicBezTo>
                  <a:pt x="892480" y="2216920"/>
                  <a:pt x="895008" y="2218783"/>
                  <a:pt x="900866" y="2218783"/>
                </a:cubicBezTo>
                <a:cubicBezTo>
                  <a:pt x="902862" y="2218783"/>
                  <a:pt x="904594" y="2218517"/>
                  <a:pt x="906324" y="2217851"/>
                </a:cubicBezTo>
                <a:cubicBezTo>
                  <a:pt x="907788" y="2217319"/>
                  <a:pt x="909120" y="2216520"/>
                  <a:pt x="910052" y="2215455"/>
                </a:cubicBezTo>
                <a:cubicBezTo>
                  <a:pt x="911116" y="2214257"/>
                  <a:pt x="912048" y="2212926"/>
                  <a:pt x="912714" y="2211196"/>
                </a:cubicBezTo>
                <a:cubicBezTo>
                  <a:pt x="913379" y="2209598"/>
                  <a:pt x="913779" y="2207734"/>
                  <a:pt x="913779" y="2205738"/>
                </a:cubicBezTo>
                <a:cubicBezTo>
                  <a:pt x="913779" y="2203874"/>
                  <a:pt x="913379" y="2202144"/>
                  <a:pt x="912714" y="2200546"/>
                </a:cubicBezTo>
                <a:cubicBezTo>
                  <a:pt x="912048" y="2198949"/>
                  <a:pt x="911116" y="2197618"/>
                  <a:pt x="910052" y="2196420"/>
                </a:cubicBezTo>
                <a:cubicBezTo>
                  <a:pt x="908987" y="2195354"/>
                  <a:pt x="907655" y="2194555"/>
                  <a:pt x="906058" y="2193757"/>
                </a:cubicBezTo>
                <a:cubicBezTo>
                  <a:pt x="904594" y="2193091"/>
                  <a:pt x="902995" y="2192826"/>
                  <a:pt x="901000" y="2192826"/>
                </a:cubicBezTo>
                <a:close/>
                <a:moveTo>
                  <a:pt x="683223" y="2192826"/>
                </a:moveTo>
                <a:cubicBezTo>
                  <a:pt x="677366" y="2192826"/>
                  <a:pt x="674836" y="2194822"/>
                  <a:pt x="673239" y="2196420"/>
                </a:cubicBezTo>
                <a:cubicBezTo>
                  <a:pt x="670709" y="2199082"/>
                  <a:pt x="669646" y="2201878"/>
                  <a:pt x="669646" y="2205871"/>
                </a:cubicBezTo>
                <a:cubicBezTo>
                  <a:pt x="669646" y="2209999"/>
                  <a:pt x="670709" y="2212793"/>
                  <a:pt x="673239" y="2215322"/>
                </a:cubicBezTo>
                <a:cubicBezTo>
                  <a:pt x="674836" y="2216920"/>
                  <a:pt x="677366" y="2218783"/>
                  <a:pt x="683223" y="2218783"/>
                </a:cubicBezTo>
                <a:cubicBezTo>
                  <a:pt x="685220" y="2218783"/>
                  <a:pt x="687084" y="2218517"/>
                  <a:pt x="688548" y="2217851"/>
                </a:cubicBezTo>
                <a:cubicBezTo>
                  <a:pt x="690012" y="2217319"/>
                  <a:pt x="691344" y="2216520"/>
                  <a:pt x="692275" y="2215455"/>
                </a:cubicBezTo>
                <a:cubicBezTo>
                  <a:pt x="693340" y="2214257"/>
                  <a:pt x="694272" y="2212926"/>
                  <a:pt x="694938" y="2211196"/>
                </a:cubicBezTo>
                <a:cubicBezTo>
                  <a:pt x="695603" y="2209598"/>
                  <a:pt x="696003" y="2207734"/>
                  <a:pt x="696003" y="2205738"/>
                </a:cubicBezTo>
                <a:cubicBezTo>
                  <a:pt x="696003" y="2203874"/>
                  <a:pt x="695603" y="2202144"/>
                  <a:pt x="694938" y="2200546"/>
                </a:cubicBezTo>
                <a:cubicBezTo>
                  <a:pt x="694272" y="2198949"/>
                  <a:pt x="693340" y="2197618"/>
                  <a:pt x="692275" y="2196420"/>
                </a:cubicBezTo>
                <a:cubicBezTo>
                  <a:pt x="691210" y="2195354"/>
                  <a:pt x="689879" y="2194555"/>
                  <a:pt x="688282" y="2193757"/>
                </a:cubicBezTo>
                <a:cubicBezTo>
                  <a:pt x="686818" y="2193091"/>
                  <a:pt x="685220" y="2192826"/>
                  <a:pt x="683223" y="2192826"/>
                </a:cubicBezTo>
                <a:close/>
                <a:moveTo>
                  <a:pt x="465579" y="2192826"/>
                </a:moveTo>
                <a:cubicBezTo>
                  <a:pt x="459722" y="2192826"/>
                  <a:pt x="457193" y="2194822"/>
                  <a:pt x="455596" y="2196420"/>
                </a:cubicBezTo>
                <a:cubicBezTo>
                  <a:pt x="453066" y="2199082"/>
                  <a:pt x="452002" y="2201878"/>
                  <a:pt x="452002" y="2205871"/>
                </a:cubicBezTo>
                <a:cubicBezTo>
                  <a:pt x="452002" y="2209999"/>
                  <a:pt x="453066" y="2212793"/>
                  <a:pt x="455596" y="2215322"/>
                </a:cubicBezTo>
                <a:cubicBezTo>
                  <a:pt x="457193" y="2216920"/>
                  <a:pt x="459722" y="2218783"/>
                  <a:pt x="465579" y="2218783"/>
                </a:cubicBezTo>
                <a:cubicBezTo>
                  <a:pt x="467576" y="2218783"/>
                  <a:pt x="469440" y="2218517"/>
                  <a:pt x="470904" y="2217851"/>
                </a:cubicBezTo>
                <a:cubicBezTo>
                  <a:pt x="472368" y="2217319"/>
                  <a:pt x="473700" y="2216520"/>
                  <a:pt x="474631" y="2215455"/>
                </a:cubicBezTo>
                <a:cubicBezTo>
                  <a:pt x="475696" y="2214257"/>
                  <a:pt x="476628" y="2212926"/>
                  <a:pt x="477295" y="2211196"/>
                </a:cubicBezTo>
                <a:cubicBezTo>
                  <a:pt x="477960" y="2209598"/>
                  <a:pt x="478359" y="2207734"/>
                  <a:pt x="478359" y="2205738"/>
                </a:cubicBezTo>
                <a:cubicBezTo>
                  <a:pt x="478359" y="2203874"/>
                  <a:pt x="477960" y="2202144"/>
                  <a:pt x="477295" y="2200546"/>
                </a:cubicBezTo>
                <a:cubicBezTo>
                  <a:pt x="476628" y="2198949"/>
                  <a:pt x="475696" y="2197618"/>
                  <a:pt x="474631" y="2196420"/>
                </a:cubicBezTo>
                <a:cubicBezTo>
                  <a:pt x="473567" y="2195354"/>
                  <a:pt x="472235" y="2194555"/>
                  <a:pt x="470638" y="2193757"/>
                </a:cubicBezTo>
                <a:cubicBezTo>
                  <a:pt x="469174" y="2193091"/>
                  <a:pt x="467576" y="2192826"/>
                  <a:pt x="465579" y="2192826"/>
                </a:cubicBezTo>
                <a:close/>
                <a:moveTo>
                  <a:pt x="247936" y="2192826"/>
                </a:moveTo>
                <a:cubicBezTo>
                  <a:pt x="242079" y="2192826"/>
                  <a:pt x="239550" y="2194822"/>
                  <a:pt x="237953" y="2196420"/>
                </a:cubicBezTo>
                <a:cubicBezTo>
                  <a:pt x="235423" y="2199082"/>
                  <a:pt x="234359" y="2201878"/>
                  <a:pt x="234359" y="2205871"/>
                </a:cubicBezTo>
                <a:cubicBezTo>
                  <a:pt x="234359" y="2209999"/>
                  <a:pt x="235423" y="2212793"/>
                  <a:pt x="237953" y="2215322"/>
                </a:cubicBezTo>
                <a:cubicBezTo>
                  <a:pt x="239550" y="2216920"/>
                  <a:pt x="242079" y="2218783"/>
                  <a:pt x="247936" y="2218783"/>
                </a:cubicBezTo>
                <a:cubicBezTo>
                  <a:pt x="250066" y="2218783"/>
                  <a:pt x="251797" y="2218517"/>
                  <a:pt x="253261" y="2217851"/>
                </a:cubicBezTo>
                <a:cubicBezTo>
                  <a:pt x="254725" y="2217319"/>
                  <a:pt x="256056" y="2216520"/>
                  <a:pt x="256988" y="2215455"/>
                </a:cubicBezTo>
                <a:cubicBezTo>
                  <a:pt x="258053" y="2214257"/>
                  <a:pt x="258985" y="2212926"/>
                  <a:pt x="259651" y="2211196"/>
                </a:cubicBezTo>
                <a:cubicBezTo>
                  <a:pt x="260316" y="2209598"/>
                  <a:pt x="260716" y="2207734"/>
                  <a:pt x="260716" y="2205738"/>
                </a:cubicBezTo>
                <a:cubicBezTo>
                  <a:pt x="260716" y="2203874"/>
                  <a:pt x="260316" y="2202144"/>
                  <a:pt x="259651" y="2200546"/>
                </a:cubicBezTo>
                <a:cubicBezTo>
                  <a:pt x="258985" y="2198949"/>
                  <a:pt x="258053" y="2197618"/>
                  <a:pt x="256988" y="2196420"/>
                </a:cubicBezTo>
                <a:cubicBezTo>
                  <a:pt x="255923" y="2195354"/>
                  <a:pt x="254592" y="2194555"/>
                  <a:pt x="252995" y="2193757"/>
                </a:cubicBezTo>
                <a:cubicBezTo>
                  <a:pt x="251530" y="2193091"/>
                  <a:pt x="249933" y="2192826"/>
                  <a:pt x="247936" y="2192826"/>
                </a:cubicBezTo>
                <a:close/>
                <a:moveTo>
                  <a:pt x="30292" y="2192826"/>
                </a:moveTo>
                <a:cubicBezTo>
                  <a:pt x="24435" y="2192826"/>
                  <a:pt x="21906" y="2194822"/>
                  <a:pt x="20309" y="2196420"/>
                </a:cubicBezTo>
                <a:cubicBezTo>
                  <a:pt x="17779" y="2199082"/>
                  <a:pt x="16715" y="2201878"/>
                  <a:pt x="16715" y="2205871"/>
                </a:cubicBezTo>
                <a:cubicBezTo>
                  <a:pt x="16715" y="2209999"/>
                  <a:pt x="17779" y="2212793"/>
                  <a:pt x="20309" y="2215322"/>
                </a:cubicBezTo>
                <a:cubicBezTo>
                  <a:pt x="21906" y="2216920"/>
                  <a:pt x="24435" y="2218783"/>
                  <a:pt x="30292" y="2218783"/>
                </a:cubicBezTo>
                <a:cubicBezTo>
                  <a:pt x="32422" y="2218783"/>
                  <a:pt x="34153" y="2218517"/>
                  <a:pt x="35617" y="2217851"/>
                </a:cubicBezTo>
                <a:cubicBezTo>
                  <a:pt x="37081" y="2217319"/>
                  <a:pt x="38413" y="2216520"/>
                  <a:pt x="39344" y="2215455"/>
                </a:cubicBezTo>
                <a:cubicBezTo>
                  <a:pt x="40410" y="2214257"/>
                  <a:pt x="41341" y="2212926"/>
                  <a:pt x="42008" y="2211196"/>
                </a:cubicBezTo>
                <a:cubicBezTo>
                  <a:pt x="42673" y="2209598"/>
                  <a:pt x="42939" y="2207734"/>
                  <a:pt x="42939" y="2205738"/>
                </a:cubicBezTo>
                <a:cubicBezTo>
                  <a:pt x="42939" y="2203874"/>
                  <a:pt x="42673" y="2202144"/>
                  <a:pt x="42008" y="2200546"/>
                </a:cubicBezTo>
                <a:cubicBezTo>
                  <a:pt x="41341" y="2198949"/>
                  <a:pt x="40410" y="2197618"/>
                  <a:pt x="39344" y="2196420"/>
                </a:cubicBezTo>
                <a:cubicBezTo>
                  <a:pt x="38279" y="2195354"/>
                  <a:pt x="36948" y="2194555"/>
                  <a:pt x="35351" y="2193757"/>
                </a:cubicBezTo>
                <a:cubicBezTo>
                  <a:pt x="33887" y="2193091"/>
                  <a:pt x="32289" y="2192826"/>
                  <a:pt x="30292" y="2192826"/>
                </a:cubicBezTo>
                <a:close/>
                <a:moveTo>
                  <a:pt x="10475977" y="2176186"/>
                </a:moveTo>
                <a:cubicBezTo>
                  <a:pt x="10480237" y="2176186"/>
                  <a:pt x="10484230" y="2176985"/>
                  <a:pt x="10487824" y="2178848"/>
                </a:cubicBezTo>
                <a:cubicBezTo>
                  <a:pt x="10491419" y="2180445"/>
                  <a:pt x="10494613" y="2182575"/>
                  <a:pt x="10497143" y="2185238"/>
                </a:cubicBezTo>
                <a:cubicBezTo>
                  <a:pt x="10499672" y="2187766"/>
                  <a:pt x="10501801" y="2190962"/>
                  <a:pt x="10503266" y="2194555"/>
                </a:cubicBezTo>
                <a:cubicBezTo>
                  <a:pt x="10504730" y="2198150"/>
                  <a:pt x="10505529" y="2201878"/>
                  <a:pt x="10505529" y="2206004"/>
                </a:cubicBezTo>
                <a:cubicBezTo>
                  <a:pt x="10505529" y="2210131"/>
                  <a:pt x="10504730" y="2214125"/>
                  <a:pt x="10503266" y="2217718"/>
                </a:cubicBezTo>
                <a:cubicBezTo>
                  <a:pt x="10501669" y="2221312"/>
                  <a:pt x="10499672" y="2224374"/>
                  <a:pt x="10497143" y="2227037"/>
                </a:cubicBezTo>
                <a:cubicBezTo>
                  <a:pt x="10494480" y="2229700"/>
                  <a:pt x="10491419" y="2231830"/>
                  <a:pt x="10487824" y="2233293"/>
                </a:cubicBezTo>
                <a:cubicBezTo>
                  <a:pt x="10484098" y="2234757"/>
                  <a:pt x="10480237" y="2235556"/>
                  <a:pt x="10475977" y="2235556"/>
                </a:cubicBezTo>
                <a:cubicBezTo>
                  <a:pt x="10466924" y="2235556"/>
                  <a:pt x="10459736" y="2232628"/>
                  <a:pt x="10454145" y="2227037"/>
                </a:cubicBezTo>
                <a:cubicBezTo>
                  <a:pt x="10448554" y="2221446"/>
                  <a:pt x="10445759" y="2214390"/>
                  <a:pt x="10445759" y="2205871"/>
                </a:cubicBezTo>
                <a:cubicBezTo>
                  <a:pt x="10445759" y="2197618"/>
                  <a:pt x="10448554" y="2190563"/>
                  <a:pt x="10454145" y="2184838"/>
                </a:cubicBezTo>
                <a:cubicBezTo>
                  <a:pt x="10459603" y="2178981"/>
                  <a:pt x="10466924" y="2176186"/>
                  <a:pt x="10475977" y="2176186"/>
                </a:cubicBezTo>
                <a:close/>
                <a:moveTo>
                  <a:pt x="10258466" y="2176186"/>
                </a:moveTo>
                <a:cubicBezTo>
                  <a:pt x="10262592" y="2176186"/>
                  <a:pt x="10266586" y="2176985"/>
                  <a:pt x="10270313" y="2178848"/>
                </a:cubicBezTo>
                <a:cubicBezTo>
                  <a:pt x="10273907" y="2180445"/>
                  <a:pt x="10277101" y="2182575"/>
                  <a:pt x="10279631" y="2185238"/>
                </a:cubicBezTo>
                <a:cubicBezTo>
                  <a:pt x="10282160" y="2187766"/>
                  <a:pt x="10284290" y="2190962"/>
                  <a:pt x="10285754" y="2194555"/>
                </a:cubicBezTo>
                <a:cubicBezTo>
                  <a:pt x="10287218" y="2198150"/>
                  <a:pt x="10288017" y="2201878"/>
                  <a:pt x="10288017" y="2206004"/>
                </a:cubicBezTo>
                <a:cubicBezTo>
                  <a:pt x="10288017" y="2210131"/>
                  <a:pt x="10287218" y="2214125"/>
                  <a:pt x="10285754" y="2217718"/>
                </a:cubicBezTo>
                <a:cubicBezTo>
                  <a:pt x="10284157" y="2221312"/>
                  <a:pt x="10282160" y="2224374"/>
                  <a:pt x="10279631" y="2227037"/>
                </a:cubicBezTo>
                <a:cubicBezTo>
                  <a:pt x="10276969" y="2229700"/>
                  <a:pt x="10273907" y="2231830"/>
                  <a:pt x="10270313" y="2233293"/>
                </a:cubicBezTo>
                <a:cubicBezTo>
                  <a:pt x="10266586" y="2234757"/>
                  <a:pt x="10262725" y="2235556"/>
                  <a:pt x="10258466" y="2235556"/>
                </a:cubicBezTo>
                <a:cubicBezTo>
                  <a:pt x="10249546" y="2235556"/>
                  <a:pt x="10242224" y="2232628"/>
                  <a:pt x="10236633" y="2227037"/>
                </a:cubicBezTo>
                <a:cubicBezTo>
                  <a:pt x="10231043" y="2221446"/>
                  <a:pt x="10228247" y="2214390"/>
                  <a:pt x="10228247" y="2205871"/>
                </a:cubicBezTo>
                <a:cubicBezTo>
                  <a:pt x="10228247" y="2197618"/>
                  <a:pt x="10231043" y="2190563"/>
                  <a:pt x="10236633" y="2184838"/>
                </a:cubicBezTo>
                <a:cubicBezTo>
                  <a:pt x="10242092" y="2178981"/>
                  <a:pt x="10249413" y="2176186"/>
                  <a:pt x="10258466" y="2176186"/>
                </a:cubicBezTo>
                <a:close/>
                <a:moveTo>
                  <a:pt x="10040820" y="2176186"/>
                </a:moveTo>
                <a:cubicBezTo>
                  <a:pt x="10045080" y="2176186"/>
                  <a:pt x="10048941" y="2176985"/>
                  <a:pt x="10052534" y="2178848"/>
                </a:cubicBezTo>
                <a:cubicBezTo>
                  <a:pt x="10056129" y="2180445"/>
                  <a:pt x="10059323" y="2182575"/>
                  <a:pt x="10061852" y="2185238"/>
                </a:cubicBezTo>
                <a:cubicBezTo>
                  <a:pt x="10064382" y="2187766"/>
                  <a:pt x="10066512" y="2190962"/>
                  <a:pt x="10067976" y="2194555"/>
                </a:cubicBezTo>
                <a:cubicBezTo>
                  <a:pt x="10069440" y="2198150"/>
                  <a:pt x="10070239" y="2201878"/>
                  <a:pt x="10070239" y="2206004"/>
                </a:cubicBezTo>
                <a:cubicBezTo>
                  <a:pt x="10070239" y="2210131"/>
                  <a:pt x="10069440" y="2214125"/>
                  <a:pt x="10067976" y="2217718"/>
                </a:cubicBezTo>
                <a:cubicBezTo>
                  <a:pt x="10066379" y="2221312"/>
                  <a:pt x="10064382" y="2224374"/>
                  <a:pt x="10061852" y="2227037"/>
                </a:cubicBezTo>
                <a:cubicBezTo>
                  <a:pt x="10059190" y="2229700"/>
                  <a:pt x="10056129" y="2231830"/>
                  <a:pt x="10052534" y="2233293"/>
                </a:cubicBezTo>
                <a:cubicBezTo>
                  <a:pt x="10048941" y="2234757"/>
                  <a:pt x="10045080" y="2235556"/>
                  <a:pt x="10040820" y="2235556"/>
                </a:cubicBezTo>
                <a:cubicBezTo>
                  <a:pt x="10031767" y="2235556"/>
                  <a:pt x="10024579" y="2232628"/>
                  <a:pt x="10018988" y="2227037"/>
                </a:cubicBezTo>
                <a:cubicBezTo>
                  <a:pt x="10013397" y="2221446"/>
                  <a:pt x="10010602" y="2214390"/>
                  <a:pt x="10010602" y="2205871"/>
                </a:cubicBezTo>
                <a:cubicBezTo>
                  <a:pt x="10010602" y="2197618"/>
                  <a:pt x="10013397" y="2190563"/>
                  <a:pt x="10018988" y="2184838"/>
                </a:cubicBezTo>
                <a:cubicBezTo>
                  <a:pt x="10024579" y="2178981"/>
                  <a:pt x="10031767" y="2176186"/>
                  <a:pt x="10040820" y="2176186"/>
                </a:cubicBezTo>
                <a:close/>
                <a:moveTo>
                  <a:pt x="9823176" y="2176186"/>
                </a:moveTo>
                <a:cubicBezTo>
                  <a:pt x="9827435" y="2176186"/>
                  <a:pt x="9831296" y="2176985"/>
                  <a:pt x="9834890" y="2178848"/>
                </a:cubicBezTo>
                <a:cubicBezTo>
                  <a:pt x="9838617" y="2180445"/>
                  <a:pt x="9841679" y="2182575"/>
                  <a:pt x="9844208" y="2185238"/>
                </a:cubicBezTo>
                <a:cubicBezTo>
                  <a:pt x="9846737" y="2187766"/>
                  <a:pt x="9848867" y="2190962"/>
                  <a:pt x="9850331" y="2194555"/>
                </a:cubicBezTo>
                <a:cubicBezTo>
                  <a:pt x="9851796" y="2198150"/>
                  <a:pt x="9852595" y="2201878"/>
                  <a:pt x="9852595" y="2206004"/>
                </a:cubicBezTo>
                <a:cubicBezTo>
                  <a:pt x="9852595" y="2210131"/>
                  <a:pt x="9851796" y="2214125"/>
                  <a:pt x="9850331" y="2217718"/>
                </a:cubicBezTo>
                <a:cubicBezTo>
                  <a:pt x="9848734" y="2221312"/>
                  <a:pt x="9846737" y="2224374"/>
                  <a:pt x="9844208" y="2227037"/>
                </a:cubicBezTo>
                <a:cubicBezTo>
                  <a:pt x="9841546" y="2229700"/>
                  <a:pt x="9838484" y="2231830"/>
                  <a:pt x="9834890" y="2233293"/>
                </a:cubicBezTo>
                <a:cubicBezTo>
                  <a:pt x="9831296" y="2234757"/>
                  <a:pt x="9827435" y="2235556"/>
                  <a:pt x="9823176" y="2235556"/>
                </a:cubicBezTo>
                <a:cubicBezTo>
                  <a:pt x="9814123" y="2235556"/>
                  <a:pt x="9806935" y="2232628"/>
                  <a:pt x="9801343" y="2227037"/>
                </a:cubicBezTo>
                <a:cubicBezTo>
                  <a:pt x="9795753" y="2221446"/>
                  <a:pt x="9792957" y="2214390"/>
                  <a:pt x="9792957" y="2205871"/>
                </a:cubicBezTo>
                <a:cubicBezTo>
                  <a:pt x="9792957" y="2197618"/>
                  <a:pt x="9795753" y="2190563"/>
                  <a:pt x="9801343" y="2184838"/>
                </a:cubicBezTo>
                <a:cubicBezTo>
                  <a:pt x="9806935" y="2178981"/>
                  <a:pt x="9814123" y="2176186"/>
                  <a:pt x="9823176" y="2176186"/>
                </a:cubicBezTo>
                <a:close/>
                <a:moveTo>
                  <a:pt x="9605531" y="2176186"/>
                </a:moveTo>
                <a:cubicBezTo>
                  <a:pt x="9609790" y="2176186"/>
                  <a:pt x="9613784" y="2176985"/>
                  <a:pt x="9617245" y="2178848"/>
                </a:cubicBezTo>
                <a:cubicBezTo>
                  <a:pt x="9620839" y="2180445"/>
                  <a:pt x="9624033" y="2182575"/>
                  <a:pt x="9626562" y="2185238"/>
                </a:cubicBezTo>
                <a:cubicBezTo>
                  <a:pt x="9629092" y="2187766"/>
                  <a:pt x="9631222" y="2190962"/>
                  <a:pt x="9632686" y="2194555"/>
                </a:cubicBezTo>
                <a:cubicBezTo>
                  <a:pt x="9634150" y="2198150"/>
                  <a:pt x="9634949" y="2201878"/>
                  <a:pt x="9634949" y="2206004"/>
                </a:cubicBezTo>
                <a:cubicBezTo>
                  <a:pt x="9634949" y="2210131"/>
                  <a:pt x="9634150" y="2214125"/>
                  <a:pt x="9632686" y="2217718"/>
                </a:cubicBezTo>
                <a:cubicBezTo>
                  <a:pt x="9631089" y="2221312"/>
                  <a:pt x="9629092" y="2224374"/>
                  <a:pt x="9626562" y="2227037"/>
                </a:cubicBezTo>
                <a:cubicBezTo>
                  <a:pt x="9623901" y="2229700"/>
                  <a:pt x="9620839" y="2231830"/>
                  <a:pt x="9617245" y="2233293"/>
                </a:cubicBezTo>
                <a:cubicBezTo>
                  <a:pt x="9613651" y="2234757"/>
                  <a:pt x="9609790" y="2235556"/>
                  <a:pt x="9605531" y="2235556"/>
                </a:cubicBezTo>
                <a:cubicBezTo>
                  <a:pt x="9596610" y="2235556"/>
                  <a:pt x="9589289" y="2232628"/>
                  <a:pt x="9583698" y="2227037"/>
                </a:cubicBezTo>
                <a:cubicBezTo>
                  <a:pt x="9578108" y="2221446"/>
                  <a:pt x="9575312" y="2214390"/>
                  <a:pt x="9575312" y="2205871"/>
                </a:cubicBezTo>
                <a:cubicBezTo>
                  <a:pt x="9575312" y="2197618"/>
                  <a:pt x="9578108" y="2190563"/>
                  <a:pt x="9583698" y="2184838"/>
                </a:cubicBezTo>
                <a:cubicBezTo>
                  <a:pt x="9589289" y="2178981"/>
                  <a:pt x="9596478" y="2176186"/>
                  <a:pt x="9605531" y="2176186"/>
                </a:cubicBezTo>
                <a:close/>
                <a:moveTo>
                  <a:pt x="9387885" y="2176186"/>
                </a:moveTo>
                <a:cubicBezTo>
                  <a:pt x="9392145" y="2176186"/>
                  <a:pt x="9396138" y="2176985"/>
                  <a:pt x="9399599" y="2178848"/>
                </a:cubicBezTo>
                <a:cubicBezTo>
                  <a:pt x="9403194" y="2180445"/>
                  <a:pt x="9406388" y="2182575"/>
                  <a:pt x="9408917" y="2185238"/>
                </a:cubicBezTo>
                <a:cubicBezTo>
                  <a:pt x="9411447" y="2187766"/>
                  <a:pt x="9413576" y="2190962"/>
                  <a:pt x="9415041" y="2194555"/>
                </a:cubicBezTo>
                <a:cubicBezTo>
                  <a:pt x="9416505" y="2198150"/>
                  <a:pt x="9417304" y="2201878"/>
                  <a:pt x="9417304" y="2206004"/>
                </a:cubicBezTo>
                <a:cubicBezTo>
                  <a:pt x="9417304" y="2210131"/>
                  <a:pt x="9416505" y="2214125"/>
                  <a:pt x="9415041" y="2217718"/>
                </a:cubicBezTo>
                <a:cubicBezTo>
                  <a:pt x="9413444" y="2221312"/>
                  <a:pt x="9411447" y="2224374"/>
                  <a:pt x="9408917" y="2227037"/>
                </a:cubicBezTo>
                <a:cubicBezTo>
                  <a:pt x="9406255" y="2229700"/>
                  <a:pt x="9403194" y="2231830"/>
                  <a:pt x="9399599" y="2233293"/>
                </a:cubicBezTo>
                <a:cubicBezTo>
                  <a:pt x="9396005" y="2234757"/>
                  <a:pt x="9392145" y="2235556"/>
                  <a:pt x="9387885" y="2235556"/>
                </a:cubicBezTo>
                <a:cubicBezTo>
                  <a:pt x="9378965" y="2235556"/>
                  <a:pt x="9371644" y="2232628"/>
                  <a:pt x="9366053" y="2227037"/>
                </a:cubicBezTo>
                <a:cubicBezTo>
                  <a:pt x="9360462" y="2221446"/>
                  <a:pt x="9357667" y="2214390"/>
                  <a:pt x="9357667" y="2205871"/>
                </a:cubicBezTo>
                <a:cubicBezTo>
                  <a:pt x="9357667" y="2197618"/>
                  <a:pt x="9360462" y="2190563"/>
                  <a:pt x="9366053" y="2184838"/>
                </a:cubicBezTo>
                <a:cubicBezTo>
                  <a:pt x="9371644" y="2178981"/>
                  <a:pt x="9378832" y="2176186"/>
                  <a:pt x="9387885" y="2176186"/>
                </a:cubicBezTo>
                <a:close/>
                <a:moveTo>
                  <a:pt x="9170374" y="2176186"/>
                </a:moveTo>
                <a:cubicBezTo>
                  <a:pt x="9174500" y="2176186"/>
                  <a:pt x="9178494" y="2176985"/>
                  <a:pt x="9182088" y="2178848"/>
                </a:cubicBezTo>
                <a:cubicBezTo>
                  <a:pt x="9185682" y="2180445"/>
                  <a:pt x="9188876" y="2182575"/>
                  <a:pt x="9191405" y="2185238"/>
                </a:cubicBezTo>
                <a:cubicBezTo>
                  <a:pt x="9193935" y="2187766"/>
                  <a:pt x="9196065" y="2190962"/>
                  <a:pt x="9197529" y="2194555"/>
                </a:cubicBezTo>
                <a:cubicBezTo>
                  <a:pt x="9198993" y="2198150"/>
                  <a:pt x="9199792" y="2201878"/>
                  <a:pt x="9199792" y="2206004"/>
                </a:cubicBezTo>
                <a:cubicBezTo>
                  <a:pt x="9199792" y="2210131"/>
                  <a:pt x="9198993" y="2214125"/>
                  <a:pt x="9197529" y="2217718"/>
                </a:cubicBezTo>
                <a:cubicBezTo>
                  <a:pt x="9195932" y="2221312"/>
                  <a:pt x="9193935" y="2224374"/>
                  <a:pt x="9191405" y="2227037"/>
                </a:cubicBezTo>
                <a:cubicBezTo>
                  <a:pt x="9188744" y="2229700"/>
                  <a:pt x="9185682" y="2231830"/>
                  <a:pt x="9182088" y="2233293"/>
                </a:cubicBezTo>
                <a:cubicBezTo>
                  <a:pt x="9178494" y="2234757"/>
                  <a:pt x="9174633" y="2235556"/>
                  <a:pt x="9170374" y="2235556"/>
                </a:cubicBezTo>
                <a:cubicBezTo>
                  <a:pt x="9161453" y="2235556"/>
                  <a:pt x="9154132" y="2232628"/>
                  <a:pt x="9148541" y="2227037"/>
                </a:cubicBezTo>
                <a:cubicBezTo>
                  <a:pt x="9142951" y="2221446"/>
                  <a:pt x="9140155" y="2214390"/>
                  <a:pt x="9140155" y="2205871"/>
                </a:cubicBezTo>
                <a:cubicBezTo>
                  <a:pt x="9140155" y="2197618"/>
                  <a:pt x="9142951" y="2190563"/>
                  <a:pt x="9148541" y="2184838"/>
                </a:cubicBezTo>
                <a:cubicBezTo>
                  <a:pt x="9154132" y="2178981"/>
                  <a:pt x="9161321" y="2176186"/>
                  <a:pt x="9170374" y="2176186"/>
                </a:cubicBezTo>
                <a:close/>
                <a:moveTo>
                  <a:pt x="8952728" y="2176186"/>
                </a:moveTo>
                <a:cubicBezTo>
                  <a:pt x="8956988" y="2176186"/>
                  <a:pt x="8960849" y="2176985"/>
                  <a:pt x="8964442" y="2178848"/>
                </a:cubicBezTo>
                <a:cubicBezTo>
                  <a:pt x="8968037" y="2180445"/>
                  <a:pt x="8971231" y="2182575"/>
                  <a:pt x="8973760" y="2185238"/>
                </a:cubicBezTo>
                <a:cubicBezTo>
                  <a:pt x="8976290" y="2187766"/>
                  <a:pt x="8978419" y="2190962"/>
                  <a:pt x="8979884" y="2194555"/>
                </a:cubicBezTo>
                <a:cubicBezTo>
                  <a:pt x="8981348" y="2198150"/>
                  <a:pt x="8982147" y="2201878"/>
                  <a:pt x="8982147" y="2206004"/>
                </a:cubicBezTo>
                <a:cubicBezTo>
                  <a:pt x="8982147" y="2210131"/>
                  <a:pt x="8981348" y="2214125"/>
                  <a:pt x="8979884" y="2217718"/>
                </a:cubicBezTo>
                <a:cubicBezTo>
                  <a:pt x="8978287" y="2221312"/>
                  <a:pt x="8976290" y="2224374"/>
                  <a:pt x="8973760" y="2227037"/>
                </a:cubicBezTo>
                <a:cubicBezTo>
                  <a:pt x="8971098" y="2229700"/>
                  <a:pt x="8968037" y="2231830"/>
                  <a:pt x="8964442" y="2233293"/>
                </a:cubicBezTo>
                <a:cubicBezTo>
                  <a:pt x="8960849" y="2234757"/>
                  <a:pt x="8956988" y="2235556"/>
                  <a:pt x="8952728" y="2235556"/>
                </a:cubicBezTo>
                <a:cubicBezTo>
                  <a:pt x="8943808" y="2235556"/>
                  <a:pt x="8936487" y="2232628"/>
                  <a:pt x="8930896" y="2227037"/>
                </a:cubicBezTo>
                <a:cubicBezTo>
                  <a:pt x="8925305" y="2221446"/>
                  <a:pt x="8922510" y="2214390"/>
                  <a:pt x="8922510" y="2205871"/>
                </a:cubicBezTo>
                <a:cubicBezTo>
                  <a:pt x="8922510" y="2197618"/>
                  <a:pt x="8925305" y="2190563"/>
                  <a:pt x="8930896" y="2184838"/>
                </a:cubicBezTo>
                <a:cubicBezTo>
                  <a:pt x="8936487" y="2178981"/>
                  <a:pt x="8943675" y="2176186"/>
                  <a:pt x="8952728" y="2176186"/>
                </a:cubicBezTo>
                <a:close/>
                <a:moveTo>
                  <a:pt x="8735083" y="2176186"/>
                </a:moveTo>
                <a:cubicBezTo>
                  <a:pt x="8739342" y="2176186"/>
                  <a:pt x="8743203" y="2176985"/>
                  <a:pt x="8746797" y="2178848"/>
                </a:cubicBezTo>
                <a:cubicBezTo>
                  <a:pt x="8750391" y="2180445"/>
                  <a:pt x="8753586" y="2182575"/>
                  <a:pt x="8756115" y="2185238"/>
                </a:cubicBezTo>
                <a:cubicBezTo>
                  <a:pt x="8758644" y="2187766"/>
                  <a:pt x="8760774" y="2190962"/>
                  <a:pt x="8762238" y="2194555"/>
                </a:cubicBezTo>
                <a:cubicBezTo>
                  <a:pt x="8763702" y="2198150"/>
                  <a:pt x="8764502" y="2201878"/>
                  <a:pt x="8764502" y="2206004"/>
                </a:cubicBezTo>
                <a:cubicBezTo>
                  <a:pt x="8764502" y="2210131"/>
                  <a:pt x="8763702" y="2214125"/>
                  <a:pt x="8762238" y="2217718"/>
                </a:cubicBezTo>
                <a:cubicBezTo>
                  <a:pt x="8760641" y="2221312"/>
                  <a:pt x="8758644" y="2224374"/>
                  <a:pt x="8756115" y="2227037"/>
                </a:cubicBezTo>
                <a:cubicBezTo>
                  <a:pt x="8753453" y="2229700"/>
                  <a:pt x="8750391" y="2231830"/>
                  <a:pt x="8746797" y="2233293"/>
                </a:cubicBezTo>
                <a:cubicBezTo>
                  <a:pt x="8743203" y="2234757"/>
                  <a:pt x="8739342" y="2235556"/>
                  <a:pt x="8735083" y="2235556"/>
                </a:cubicBezTo>
                <a:cubicBezTo>
                  <a:pt x="8726030" y="2235556"/>
                  <a:pt x="8718841" y="2232628"/>
                  <a:pt x="8713250" y="2227037"/>
                </a:cubicBezTo>
                <a:cubicBezTo>
                  <a:pt x="8707660" y="2221446"/>
                  <a:pt x="8704864" y="2214390"/>
                  <a:pt x="8704864" y="2205871"/>
                </a:cubicBezTo>
                <a:cubicBezTo>
                  <a:pt x="8704864" y="2197618"/>
                  <a:pt x="8707660" y="2190563"/>
                  <a:pt x="8713250" y="2184838"/>
                </a:cubicBezTo>
                <a:cubicBezTo>
                  <a:pt x="8718841" y="2178981"/>
                  <a:pt x="8726030" y="2176186"/>
                  <a:pt x="8735083" y="2176186"/>
                </a:cubicBezTo>
                <a:close/>
                <a:moveTo>
                  <a:pt x="8517438" y="2176186"/>
                </a:moveTo>
                <a:cubicBezTo>
                  <a:pt x="8521698" y="2176186"/>
                  <a:pt x="8525559" y="2176985"/>
                  <a:pt x="8529152" y="2178848"/>
                </a:cubicBezTo>
                <a:cubicBezTo>
                  <a:pt x="8532880" y="2180445"/>
                  <a:pt x="8535941" y="2182575"/>
                  <a:pt x="8538470" y="2185238"/>
                </a:cubicBezTo>
                <a:cubicBezTo>
                  <a:pt x="8541000" y="2187766"/>
                  <a:pt x="8543130" y="2190962"/>
                  <a:pt x="8544594" y="2194555"/>
                </a:cubicBezTo>
                <a:cubicBezTo>
                  <a:pt x="8546058" y="2198150"/>
                  <a:pt x="8546857" y="2201878"/>
                  <a:pt x="8546857" y="2206004"/>
                </a:cubicBezTo>
                <a:cubicBezTo>
                  <a:pt x="8546857" y="2210131"/>
                  <a:pt x="8546058" y="2214125"/>
                  <a:pt x="8544594" y="2217718"/>
                </a:cubicBezTo>
                <a:cubicBezTo>
                  <a:pt x="8542997" y="2221312"/>
                  <a:pt x="8541000" y="2224374"/>
                  <a:pt x="8538470" y="2227037"/>
                </a:cubicBezTo>
                <a:cubicBezTo>
                  <a:pt x="8535808" y="2229700"/>
                  <a:pt x="8532747" y="2231830"/>
                  <a:pt x="8529152" y="2233293"/>
                </a:cubicBezTo>
                <a:cubicBezTo>
                  <a:pt x="8525559" y="2234757"/>
                  <a:pt x="8521698" y="2235556"/>
                  <a:pt x="8517438" y="2235556"/>
                </a:cubicBezTo>
                <a:cubicBezTo>
                  <a:pt x="8508385" y="2235556"/>
                  <a:pt x="8501197" y="2232628"/>
                  <a:pt x="8495606" y="2227037"/>
                </a:cubicBezTo>
                <a:cubicBezTo>
                  <a:pt x="8490015" y="2221446"/>
                  <a:pt x="8487220" y="2214390"/>
                  <a:pt x="8487220" y="2205871"/>
                </a:cubicBezTo>
                <a:cubicBezTo>
                  <a:pt x="8487220" y="2197618"/>
                  <a:pt x="8490015" y="2190563"/>
                  <a:pt x="8495606" y="2184838"/>
                </a:cubicBezTo>
                <a:cubicBezTo>
                  <a:pt x="8501197" y="2178981"/>
                  <a:pt x="8508385" y="2176186"/>
                  <a:pt x="8517438" y="2176186"/>
                </a:cubicBezTo>
                <a:close/>
                <a:moveTo>
                  <a:pt x="8299793" y="2176186"/>
                </a:moveTo>
                <a:cubicBezTo>
                  <a:pt x="8304052" y="2176186"/>
                  <a:pt x="8308046" y="2176985"/>
                  <a:pt x="8311507" y="2178848"/>
                </a:cubicBezTo>
                <a:cubicBezTo>
                  <a:pt x="8315235" y="2180445"/>
                  <a:pt x="8318296" y="2182575"/>
                  <a:pt x="8320825" y="2185238"/>
                </a:cubicBezTo>
                <a:cubicBezTo>
                  <a:pt x="8323354" y="2187766"/>
                  <a:pt x="8325484" y="2190962"/>
                  <a:pt x="8326948" y="2194555"/>
                </a:cubicBezTo>
                <a:cubicBezTo>
                  <a:pt x="8328413" y="2198150"/>
                  <a:pt x="8329212" y="2201878"/>
                  <a:pt x="8329212" y="2206004"/>
                </a:cubicBezTo>
                <a:cubicBezTo>
                  <a:pt x="8329212" y="2210131"/>
                  <a:pt x="8328413" y="2214125"/>
                  <a:pt x="8326948" y="2217718"/>
                </a:cubicBezTo>
                <a:cubicBezTo>
                  <a:pt x="8325351" y="2221312"/>
                  <a:pt x="8323354" y="2224374"/>
                  <a:pt x="8320825" y="2227037"/>
                </a:cubicBezTo>
                <a:cubicBezTo>
                  <a:pt x="8318163" y="2229700"/>
                  <a:pt x="8315101" y="2231830"/>
                  <a:pt x="8311507" y="2233293"/>
                </a:cubicBezTo>
                <a:cubicBezTo>
                  <a:pt x="8307913" y="2234757"/>
                  <a:pt x="8304052" y="2235556"/>
                  <a:pt x="8299793" y="2235556"/>
                </a:cubicBezTo>
                <a:cubicBezTo>
                  <a:pt x="8290874" y="2235556"/>
                  <a:pt x="8283553" y="2232628"/>
                  <a:pt x="8277960" y="2227037"/>
                </a:cubicBezTo>
                <a:cubicBezTo>
                  <a:pt x="8272370" y="2221446"/>
                  <a:pt x="8269574" y="2214390"/>
                  <a:pt x="8269574" y="2205871"/>
                </a:cubicBezTo>
                <a:cubicBezTo>
                  <a:pt x="8269574" y="2197618"/>
                  <a:pt x="8272370" y="2190563"/>
                  <a:pt x="8277960" y="2184838"/>
                </a:cubicBezTo>
                <a:cubicBezTo>
                  <a:pt x="8283553" y="2178981"/>
                  <a:pt x="8290741" y="2176186"/>
                  <a:pt x="8299793" y="2176186"/>
                </a:cubicBezTo>
                <a:close/>
                <a:moveTo>
                  <a:pt x="8082281" y="2176186"/>
                </a:moveTo>
                <a:cubicBezTo>
                  <a:pt x="8086407" y="2176186"/>
                  <a:pt x="8090401" y="2176985"/>
                  <a:pt x="8094127" y="2178848"/>
                </a:cubicBezTo>
                <a:cubicBezTo>
                  <a:pt x="8097855" y="2180445"/>
                  <a:pt x="8100916" y="2182575"/>
                  <a:pt x="8103446" y="2185238"/>
                </a:cubicBezTo>
                <a:cubicBezTo>
                  <a:pt x="8105975" y="2187766"/>
                  <a:pt x="8108104" y="2190962"/>
                  <a:pt x="8109569" y="2194555"/>
                </a:cubicBezTo>
                <a:cubicBezTo>
                  <a:pt x="8111033" y="2198150"/>
                  <a:pt x="8111832" y="2201878"/>
                  <a:pt x="8111832" y="2206004"/>
                </a:cubicBezTo>
                <a:cubicBezTo>
                  <a:pt x="8111832" y="2210131"/>
                  <a:pt x="8111033" y="2214125"/>
                  <a:pt x="8109569" y="2217718"/>
                </a:cubicBezTo>
                <a:cubicBezTo>
                  <a:pt x="8107972" y="2221312"/>
                  <a:pt x="8105975" y="2224374"/>
                  <a:pt x="8103446" y="2227037"/>
                </a:cubicBezTo>
                <a:cubicBezTo>
                  <a:pt x="8100783" y="2229700"/>
                  <a:pt x="8097722" y="2231830"/>
                  <a:pt x="8094127" y="2233293"/>
                </a:cubicBezTo>
                <a:cubicBezTo>
                  <a:pt x="8090401" y="2234757"/>
                  <a:pt x="8086540" y="2235556"/>
                  <a:pt x="8082281" y="2235556"/>
                </a:cubicBezTo>
                <a:cubicBezTo>
                  <a:pt x="8073361" y="2235556"/>
                  <a:pt x="8066040" y="2232628"/>
                  <a:pt x="8060448" y="2227037"/>
                </a:cubicBezTo>
                <a:cubicBezTo>
                  <a:pt x="8054857" y="2221446"/>
                  <a:pt x="8052062" y="2214390"/>
                  <a:pt x="8052062" y="2205871"/>
                </a:cubicBezTo>
                <a:cubicBezTo>
                  <a:pt x="8052062" y="2197618"/>
                  <a:pt x="8054857" y="2190563"/>
                  <a:pt x="8060448" y="2184838"/>
                </a:cubicBezTo>
                <a:cubicBezTo>
                  <a:pt x="8066040" y="2178981"/>
                  <a:pt x="8073228" y="2176186"/>
                  <a:pt x="8082281" y="2176186"/>
                </a:cubicBezTo>
                <a:close/>
                <a:moveTo>
                  <a:pt x="7864636" y="2176186"/>
                </a:moveTo>
                <a:cubicBezTo>
                  <a:pt x="7868762" y="2176186"/>
                  <a:pt x="7872756" y="2176985"/>
                  <a:pt x="7876483" y="2178848"/>
                </a:cubicBezTo>
                <a:cubicBezTo>
                  <a:pt x="7880210" y="2180445"/>
                  <a:pt x="7883272" y="2182575"/>
                  <a:pt x="7885802" y="2185238"/>
                </a:cubicBezTo>
                <a:cubicBezTo>
                  <a:pt x="7888331" y="2187766"/>
                  <a:pt x="7890460" y="2190962"/>
                  <a:pt x="7891924" y="2194555"/>
                </a:cubicBezTo>
                <a:cubicBezTo>
                  <a:pt x="7893389" y="2198150"/>
                  <a:pt x="7894188" y="2201878"/>
                  <a:pt x="7894188" y="2206004"/>
                </a:cubicBezTo>
                <a:cubicBezTo>
                  <a:pt x="7894188" y="2210131"/>
                  <a:pt x="7893389" y="2214125"/>
                  <a:pt x="7891924" y="2217718"/>
                </a:cubicBezTo>
                <a:cubicBezTo>
                  <a:pt x="7890327" y="2221312"/>
                  <a:pt x="7888331" y="2224374"/>
                  <a:pt x="7885802" y="2227037"/>
                </a:cubicBezTo>
                <a:cubicBezTo>
                  <a:pt x="7883139" y="2229700"/>
                  <a:pt x="7880078" y="2231830"/>
                  <a:pt x="7876483" y="2233293"/>
                </a:cubicBezTo>
                <a:cubicBezTo>
                  <a:pt x="7872756" y="2234757"/>
                  <a:pt x="7868895" y="2235556"/>
                  <a:pt x="7864636" y="2235556"/>
                </a:cubicBezTo>
                <a:cubicBezTo>
                  <a:pt x="7855717" y="2235556"/>
                  <a:pt x="7848396" y="2232628"/>
                  <a:pt x="7842803" y="2227037"/>
                </a:cubicBezTo>
                <a:cubicBezTo>
                  <a:pt x="7837213" y="2221446"/>
                  <a:pt x="7834417" y="2214390"/>
                  <a:pt x="7834417" y="2205871"/>
                </a:cubicBezTo>
                <a:cubicBezTo>
                  <a:pt x="7834417" y="2197618"/>
                  <a:pt x="7837213" y="2190563"/>
                  <a:pt x="7842803" y="2184838"/>
                </a:cubicBezTo>
                <a:cubicBezTo>
                  <a:pt x="7848396" y="2178981"/>
                  <a:pt x="7855584" y="2176186"/>
                  <a:pt x="7864636" y="2176186"/>
                </a:cubicBezTo>
                <a:close/>
                <a:moveTo>
                  <a:pt x="7646991" y="2176186"/>
                </a:moveTo>
                <a:cubicBezTo>
                  <a:pt x="7651250" y="2176186"/>
                  <a:pt x="7655111" y="2176985"/>
                  <a:pt x="7658705" y="2178848"/>
                </a:cubicBezTo>
                <a:cubicBezTo>
                  <a:pt x="7662432" y="2180445"/>
                  <a:pt x="7665493" y="2182575"/>
                  <a:pt x="7668022" y="2185238"/>
                </a:cubicBezTo>
                <a:cubicBezTo>
                  <a:pt x="7670552" y="2187766"/>
                  <a:pt x="7672682" y="2190962"/>
                  <a:pt x="7674146" y="2194555"/>
                </a:cubicBezTo>
                <a:cubicBezTo>
                  <a:pt x="7675610" y="2198150"/>
                  <a:pt x="7676409" y="2201878"/>
                  <a:pt x="7676409" y="2206004"/>
                </a:cubicBezTo>
                <a:cubicBezTo>
                  <a:pt x="7676409" y="2210131"/>
                  <a:pt x="7675610" y="2214125"/>
                  <a:pt x="7674146" y="2217718"/>
                </a:cubicBezTo>
                <a:cubicBezTo>
                  <a:pt x="7672549" y="2221312"/>
                  <a:pt x="7670552" y="2224374"/>
                  <a:pt x="7668022" y="2227037"/>
                </a:cubicBezTo>
                <a:cubicBezTo>
                  <a:pt x="7665361" y="2229700"/>
                  <a:pt x="7662299" y="2231830"/>
                  <a:pt x="7658705" y="2233293"/>
                </a:cubicBezTo>
                <a:cubicBezTo>
                  <a:pt x="7655111" y="2234757"/>
                  <a:pt x="7651250" y="2235556"/>
                  <a:pt x="7646991" y="2235556"/>
                </a:cubicBezTo>
                <a:cubicBezTo>
                  <a:pt x="7638071" y="2235556"/>
                  <a:pt x="7630750" y="2232628"/>
                  <a:pt x="7625158" y="2227037"/>
                </a:cubicBezTo>
                <a:cubicBezTo>
                  <a:pt x="7619568" y="2221446"/>
                  <a:pt x="7616772" y="2214390"/>
                  <a:pt x="7616772" y="2205871"/>
                </a:cubicBezTo>
                <a:cubicBezTo>
                  <a:pt x="7616772" y="2197618"/>
                  <a:pt x="7619568" y="2190563"/>
                  <a:pt x="7625158" y="2184838"/>
                </a:cubicBezTo>
                <a:cubicBezTo>
                  <a:pt x="7630750" y="2178981"/>
                  <a:pt x="7637939" y="2176186"/>
                  <a:pt x="7646991" y="2176186"/>
                </a:cubicBezTo>
                <a:close/>
                <a:moveTo>
                  <a:pt x="7429345" y="2176186"/>
                </a:moveTo>
                <a:cubicBezTo>
                  <a:pt x="7433605" y="2176186"/>
                  <a:pt x="7437466" y="2176985"/>
                  <a:pt x="7441059" y="2178848"/>
                </a:cubicBezTo>
                <a:cubicBezTo>
                  <a:pt x="7444787" y="2180445"/>
                  <a:pt x="7447848" y="2182575"/>
                  <a:pt x="7450377" y="2185238"/>
                </a:cubicBezTo>
                <a:cubicBezTo>
                  <a:pt x="7452907" y="2187766"/>
                  <a:pt x="7455036" y="2190962"/>
                  <a:pt x="7456501" y="2194555"/>
                </a:cubicBezTo>
                <a:cubicBezTo>
                  <a:pt x="7457965" y="2198150"/>
                  <a:pt x="7458764" y="2201878"/>
                  <a:pt x="7458764" y="2206004"/>
                </a:cubicBezTo>
                <a:cubicBezTo>
                  <a:pt x="7458764" y="2210131"/>
                  <a:pt x="7457965" y="2214125"/>
                  <a:pt x="7456501" y="2217718"/>
                </a:cubicBezTo>
                <a:cubicBezTo>
                  <a:pt x="7454904" y="2221312"/>
                  <a:pt x="7452907" y="2224374"/>
                  <a:pt x="7450377" y="2227037"/>
                </a:cubicBezTo>
                <a:cubicBezTo>
                  <a:pt x="7447715" y="2229700"/>
                  <a:pt x="7444654" y="2231830"/>
                  <a:pt x="7441059" y="2233293"/>
                </a:cubicBezTo>
                <a:cubicBezTo>
                  <a:pt x="7437466" y="2234757"/>
                  <a:pt x="7433605" y="2235556"/>
                  <a:pt x="7429345" y="2235556"/>
                </a:cubicBezTo>
                <a:cubicBezTo>
                  <a:pt x="7420426" y="2235556"/>
                  <a:pt x="7413105" y="2232628"/>
                  <a:pt x="7407513" y="2227037"/>
                </a:cubicBezTo>
                <a:cubicBezTo>
                  <a:pt x="7401922" y="2221446"/>
                  <a:pt x="7399127" y="2214390"/>
                  <a:pt x="7399127" y="2205871"/>
                </a:cubicBezTo>
                <a:cubicBezTo>
                  <a:pt x="7399127" y="2197618"/>
                  <a:pt x="7401922" y="2190563"/>
                  <a:pt x="7407513" y="2184838"/>
                </a:cubicBezTo>
                <a:cubicBezTo>
                  <a:pt x="7413105" y="2178981"/>
                  <a:pt x="7420293" y="2176186"/>
                  <a:pt x="7429345" y="2176186"/>
                </a:cubicBezTo>
                <a:close/>
                <a:moveTo>
                  <a:pt x="7211701" y="2176186"/>
                </a:moveTo>
                <a:cubicBezTo>
                  <a:pt x="7215960" y="2176186"/>
                  <a:pt x="7219954" y="2176985"/>
                  <a:pt x="7223415" y="2178848"/>
                </a:cubicBezTo>
                <a:cubicBezTo>
                  <a:pt x="7227142" y="2180445"/>
                  <a:pt x="7230204" y="2182575"/>
                  <a:pt x="7232733" y="2185238"/>
                </a:cubicBezTo>
                <a:cubicBezTo>
                  <a:pt x="7235262" y="2187766"/>
                  <a:pt x="7237392" y="2190962"/>
                  <a:pt x="7238856" y="2194555"/>
                </a:cubicBezTo>
                <a:cubicBezTo>
                  <a:pt x="7240321" y="2198150"/>
                  <a:pt x="7241120" y="2201878"/>
                  <a:pt x="7241120" y="2206004"/>
                </a:cubicBezTo>
                <a:cubicBezTo>
                  <a:pt x="7241120" y="2210131"/>
                  <a:pt x="7240321" y="2214125"/>
                  <a:pt x="7238856" y="2217718"/>
                </a:cubicBezTo>
                <a:cubicBezTo>
                  <a:pt x="7237259" y="2221312"/>
                  <a:pt x="7235262" y="2224374"/>
                  <a:pt x="7232733" y="2227037"/>
                </a:cubicBezTo>
                <a:cubicBezTo>
                  <a:pt x="7230071" y="2229700"/>
                  <a:pt x="7227009" y="2231830"/>
                  <a:pt x="7223415" y="2233293"/>
                </a:cubicBezTo>
                <a:cubicBezTo>
                  <a:pt x="7219821" y="2234757"/>
                  <a:pt x="7215960" y="2235556"/>
                  <a:pt x="7211701" y="2235556"/>
                </a:cubicBezTo>
                <a:cubicBezTo>
                  <a:pt x="7202782" y="2235556"/>
                  <a:pt x="7195460" y="2232628"/>
                  <a:pt x="7189868" y="2227037"/>
                </a:cubicBezTo>
                <a:cubicBezTo>
                  <a:pt x="7184278" y="2221446"/>
                  <a:pt x="7181482" y="2214390"/>
                  <a:pt x="7181482" y="2205871"/>
                </a:cubicBezTo>
                <a:cubicBezTo>
                  <a:pt x="7181482" y="2197618"/>
                  <a:pt x="7184278" y="2190563"/>
                  <a:pt x="7189868" y="2184838"/>
                </a:cubicBezTo>
                <a:cubicBezTo>
                  <a:pt x="7195460" y="2178981"/>
                  <a:pt x="7202649" y="2176186"/>
                  <a:pt x="7211701" y="2176186"/>
                </a:cubicBezTo>
                <a:close/>
                <a:moveTo>
                  <a:pt x="6994056" y="2176186"/>
                </a:moveTo>
                <a:cubicBezTo>
                  <a:pt x="6998315" y="2176186"/>
                  <a:pt x="7002309" y="2176985"/>
                  <a:pt x="7005769" y="2178848"/>
                </a:cubicBezTo>
                <a:cubicBezTo>
                  <a:pt x="7009497" y="2180445"/>
                  <a:pt x="7012558" y="2182575"/>
                  <a:pt x="7015087" y="2185238"/>
                </a:cubicBezTo>
                <a:cubicBezTo>
                  <a:pt x="7017617" y="2187766"/>
                  <a:pt x="7019747" y="2190962"/>
                  <a:pt x="7021211" y="2194555"/>
                </a:cubicBezTo>
                <a:cubicBezTo>
                  <a:pt x="7022675" y="2198150"/>
                  <a:pt x="7023474" y="2201878"/>
                  <a:pt x="7023474" y="2206004"/>
                </a:cubicBezTo>
                <a:cubicBezTo>
                  <a:pt x="7023474" y="2210131"/>
                  <a:pt x="7022675" y="2214125"/>
                  <a:pt x="7021211" y="2217718"/>
                </a:cubicBezTo>
                <a:cubicBezTo>
                  <a:pt x="7019614" y="2221312"/>
                  <a:pt x="7017617" y="2224374"/>
                  <a:pt x="7015087" y="2227037"/>
                </a:cubicBezTo>
                <a:cubicBezTo>
                  <a:pt x="7012425" y="2229700"/>
                  <a:pt x="7009364" y="2231830"/>
                  <a:pt x="7005769" y="2233293"/>
                </a:cubicBezTo>
                <a:cubicBezTo>
                  <a:pt x="7002176" y="2234757"/>
                  <a:pt x="6998315" y="2235556"/>
                  <a:pt x="6994056" y="2235556"/>
                </a:cubicBezTo>
                <a:cubicBezTo>
                  <a:pt x="6985136" y="2235556"/>
                  <a:pt x="6977815" y="2232628"/>
                  <a:pt x="6972223" y="2227037"/>
                </a:cubicBezTo>
                <a:cubicBezTo>
                  <a:pt x="6966632" y="2221446"/>
                  <a:pt x="6963837" y="2214390"/>
                  <a:pt x="6963837" y="2205871"/>
                </a:cubicBezTo>
                <a:cubicBezTo>
                  <a:pt x="6963837" y="2197618"/>
                  <a:pt x="6966632" y="2190563"/>
                  <a:pt x="6972223" y="2184838"/>
                </a:cubicBezTo>
                <a:cubicBezTo>
                  <a:pt x="6977815" y="2178981"/>
                  <a:pt x="6985003" y="2176186"/>
                  <a:pt x="6994056" y="2176186"/>
                </a:cubicBezTo>
                <a:close/>
                <a:moveTo>
                  <a:pt x="6776544" y="2176186"/>
                </a:moveTo>
                <a:cubicBezTo>
                  <a:pt x="6780670" y="2176186"/>
                  <a:pt x="6784664" y="2176985"/>
                  <a:pt x="6788258" y="2178848"/>
                </a:cubicBezTo>
                <a:cubicBezTo>
                  <a:pt x="6791985" y="2180445"/>
                  <a:pt x="6795047" y="2182575"/>
                  <a:pt x="6797576" y="2185238"/>
                </a:cubicBezTo>
                <a:cubicBezTo>
                  <a:pt x="6800105" y="2187766"/>
                  <a:pt x="6802235" y="2190962"/>
                  <a:pt x="6803699" y="2194555"/>
                </a:cubicBezTo>
                <a:cubicBezTo>
                  <a:pt x="6805164" y="2198150"/>
                  <a:pt x="6805963" y="2201878"/>
                  <a:pt x="6805963" y="2206004"/>
                </a:cubicBezTo>
                <a:cubicBezTo>
                  <a:pt x="6805963" y="2210131"/>
                  <a:pt x="6805164" y="2214125"/>
                  <a:pt x="6803699" y="2217718"/>
                </a:cubicBezTo>
                <a:cubicBezTo>
                  <a:pt x="6802102" y="2221312"/>
                  <a:pt x="6800105" y="2224374"/>
                  <a:pt x="6797576" y="2227037"/>
                </a:cubicBezTo>
                <a:cubicBezTo>
                  <a:pt x="6794914" y="2229700"/>
                  <a:pt x="6791852" y="2231830"/>
                  <a:pt x="6788258" y="2233293"/>
                </a:cubicBezTo>
                <a:cubicBezTo>
                  <a:pt x="6784664" y="2234757"/>
                  <a:pt x="6780803" y="2235556"/>
                  <a:pt x="6776544" y="2235556"/>
                </a:cubicBezTo>
                <a:cubicBezTo>
                  <a:pt x="6767625" y="2235556"/>
                  <a:pt x="6760303" y="2232628"/>
                  <a:pt x="6754711" y="2227037"/>
                </a:cubicBezTo>
                <a:cubicBezTo>
                  <a:pt x="6749121" y="2221446"/>
                  <a:pt x="6746325" y="2214390"/>
                  <a:pt x="6746325" y="2205871"/>
                </a:cubicBezTo>
                <a:cubicBezTo>
                  <a:pt x="6746325" y="2197618"/>
                  <a:pt x="6749121" y="2190563"/>
                  <a:pt x="6754711" y="2184838"/>
                </a:cubicBezTo>
                <a:cubicBezTo>
                  <a:pt x="6760303" y="2178981"/>
                  <a:pt x="6767492" y="2176186"/>
                  <a:pt x="6776544" y="2176186"/>
                </a:cubicBezTo>
                <a:close/>
                <a:moveTo>
                  <a:pt x="6558899" y="2176186"/>
                </a:moveTo>
                <a:cubicBezTo>
                  <a:pt x="6563158" y="2176186"/>
                  <a:pt x="6567019" y="2176985"/>
                  <a:pt x="6570612" y="2178848"/>
                </a:cubicBezTo>
                <a:cubicBezTo>
                  <a:pt x="6574340" y="2180445"/>
                  <a:pt x="6577401" y="2182575"/>
                  <a:pt x="6579930" y="2185238"/>
                </a:cubicBezTo>
                <a:cubicBezTo>
                  <a:pt x="6582460" y="2187766"/>
                  <a:pt x="6584590" y="2190962"/>
                  <a:pt x="6586054" y="2194555"/>
                </a:cubicBezTo>
                <a:cubicBezTo>
                  <a:pt x="6587518" y="2198150"/>
                  <a:pt x="6588317" y="2201878"/>
                  <a:pt x="6588317" y="2206004"/>
                </a:cubicBezTo>
                <a:cubicBezTo>
                  <a:pt x="6588317" y="2210131"/>
                  <a:pt x="6587518" y="2214125"/>
                  <a:pt x="6586054" y="2217718"/>
                </a:cubicBezTo>
                <a:cubicBezTo>
                  <a:pt x="6584457" y="2221312"/>
                  <a:pt x="6582460" y="2224374"/>
                  <a:pt x="6579930" y="2227037"/>
                </a:cubicBezTo>
                <a:cubicBezTo>
                  <a:pt x="6577268" y="2229700"/>
                  <a:pt x="6574207" y="2231830"/>
                  <a:pt x="6570612" y="2233293"/>
                </a:cubicBezTo>
                <a:cubicBezTo>
                  <a:pt x="6567019" y="2234757"/>
                  <a:pt x="6563158" y="2235556"/>
                  <a:pt x="6558899" y="2235556"/>
                </a:cubicBezTo>
                <a:cubicBezTo>
                  <a:pt x="6549979" y="2235556"/>
                  <a:pt x="6542658" y="2232628"/>
                  <a:pt x="6537066" y="2227037"/>
                </a:cubicBezTo>
                <a:cubicBezTo>
                  <a:pt x="6531476" y="2221446"/>
                  <a:pt x="6528680" y="2214390"/>
                  <a:pt x="6528680" y="2205871"/>
                </a:cubicBezTo>
                <a:cubicBezTo>
                  <a:pt x="6528680" y="2197618"/>
                  <a:pt x="6531476" y="2190563"/>
                  <a:pt x="6537066" y="2184838"/>
                </a:cubicBezTo>
                <a:cubicBezTo>
                  <a:pt x="6542658" y="2178981"/>
                  <a:pt x="6549846" y="2176186"/>
                  <a:pt x="6558899" y="2176186"/>
                </a:cubicBezTo>
                <a:close/>
                <a:moveTo>
                  <a:pt x="6341253" y="2176186"/>
                </a:moveTo>
                <a:cubicBezTo>
                  <a:pt x="6345513" y="2176186"/>
                  <a:pt x="6349373" y="2176985"/>
                  <a:pt x="6352968" y="2178848"/>
                </a:cubicBezTo>
                <a:cubicBezTo>
                  <a:pt x="6356695" y="2180445"/>
                  <a:pt x="6359757" y="2182575"/>
                  <a:pt x="6362286" y="2185238"/>
                </a:cubicBezTo>
                <a:cubicBezTo>
                  <a:pt x="6364815" y="2187766"/>
                  <a:pt x="6366945" y="2190962"/>
                  <a:pt x="6368409" y="2194555"/>
                </a:cubicBezTo>
                <a:cubicBezTo>
                  <a:pt x="6369874" y="2198150"/>
                  <a:pt x="6370672" y="2201878"/>
                  <a:pt x="6370672" y="2206004"/>
                </a:cubicBezTo>
                <a:cubicBezTo>
                  <a:pt x="6370672" y="2210131"/>
                  <a:pt x="6369874" y="2214125"/>
                  <a:pt x="6368409" y="2217718"/>
                </a:cubicBezTo>
                <a:cubicBezTo>
                  <a:pt x="6366811" y="2221312"/>
                  <a:pt x="6364815" y="2224374"/>
                  <a:pt x="6362286" y="2227037"/>
                </a:cubicBezTo>
                <a:cubicBezTo>
                  <a:pt x="6359623" y="2229700"/>
                  <a:pt x="6356562" y="2231830"/>
                  <a:pt x="6352968" y="2233293"/>
                </a:cubicBezTo>
                <a:cubicBezTo>
                  <a:pt x="6349373" y="2234757"/>
                  <a:pt x="6345513" y="2235556"/>
                  <a:pt x="6341253" y="2235556"/>
                </a:cubicBezTo>
                <a:cubicBezTo>
                  <a:pt x="6332335" y="2235556"/>
                  <a:pt x="6325013" y="2232628"/>
                  <a:pt x="6319421" y="2227037"/>
                </a:cubicBezTo>
                <a:cubicBezTo>
                  <a:pt x="6313830" y="2221446"/>
                  <a:pt x="6311035" y="2214390"/>
                  <a:pt x="6311035" y="2205871"/>
                </a:cubicBezTo>
                <a:cubicBezTo>
                  <a:pt x="6311035" y="2197618"/>
                  <a:pt x="6313830" y="2190563"/>
                  <a:pt x="6319421" y="2184838"/>
                </a:cubicBezTo>
                <a:cubicBezTo>
                  <a:pt x="6325013" y="2178981"/>
                  <a:pt x="6332201" y="2176186"/>
                  <a:pt x="6341253" y="2176186"/>
                </a:cubicBezTo>
                <a:close/>
                <a:moveTo>
                  <a:pt x="6123608" y="2176186"/>
                </a:moveTo>
                <a:cubicBezTo>
                  <a:pt x="6127867" y="2176186"/>
                  <a:pt x="6131728" y="2176985"/>
                  <a:pt x="6135322" y="2178848"/>
                </a:cubicBezTo>
                <a:cubicBezTo>
                  <a:pt x="6139049" y="2180445"/>
                  <a:pt x="6142111" y="2182575"/>
                  <a:pt x="6144640" y="2185238"/>
                </a:cubicBezTo>
                <a:cubicBezTo>
                  <a:pt x="6147169" y="2187766"/>
                  <a:pt x="6149299" y="2190962"/>
                  <a:pt x="6150763" y="2194555"/>
                </a:cubicBezTo>
                <a:cubicBezTo>
                  <a:pt x="6152228" y="2198150"/>
                  <a:pt x="6153026" y="2201878"/>
                  <a:pt x="6153026" y="2206004"/>
                </a:cubicBezTo>
                <a:cubicBezTo>
                  <a:pt x="6153026" y="2210131"/>
                  <a:pt x="6152228" y="2214125"/>
                  <a:pt x="6150763" y="2217718"/>
                </a:cubicBezTo>
                <a:cubicBezTo>
                  <a:pt x="6149299" y="2221312"/>
                  <a:pt x="6147169" y="2224374"/>
                  <a:pt x="6144640" y="2227037"/>
                </a:cubicBezTo>
                <a:cubicBezTo>
                  <a:pt x="6141977" y="2229700"/>
                  <a:pt x="6138916" y="2231830"/>
                  <a:pt x="6135322" y="2233293"/>
                </a:cubicBezTo>
                <a:cubicBezTo>
                  <a:pt x="6131728" y="2234757"/>
                  <a:pt x="6127867" y="2235556"/>
                  <a:pt x="6123608" y="2235556"/>
                </a:cubicBezTo>
                <a:cubicBezTo>
                  <a:pt x="6114689" y="2235556"/>
                  <a:pt x="6107367" y="2232628"/>
                  <a:pt x="6101775" y="2227037"/>
                </a:cubicBezTo>
                <a:cubicBezTo>
                  <a:pt x="6096184" y="2221446"/>
                  <a:pt x="6093389" y="2214390"/>
                  <a:pt x="6093389" y="2205871"/>
                </a:cubicBezTo>
                <a:cubicBezTo>
                  <a:pt x="6093389" y="2197618"/>
                  <a:pt x="6096184" y="2190563"/>
                  <a:pt x="6101775" y="2184838"/>
                </a:cubicBezTo>
                <a:cubicBezTo>
                  <a:pt x="6107367" y="2178981"/>
                  <a:pt x="6114555" y="2176186"/>
                  <a:pt x="6123608" y="2176186"/>
                </a:cubicBezTo>
                <a:close/>
                <a:moveTo>
                  <a:pt x="5905963" y="2176186"/>
                </a:moveTo>
                <a:cubicBezTo>
                  <a:pt x="5910222" y="2176186"/>
                  <a:pt x="5914216" y="2176985"/>
                  <a:pt x="5917677" y="2178848"/>
                </a:cubicBezTo>
                <a:cubicBezTo>
                  <a:pt x="5921404" y="2180445"/>
                  <a:pt x="5924466" y="2182575"/>
                  <a:pt x="5926995" y="2185238"/>
                </a:cubicBezTo>
                <a:cubicBezTo>
                  <a:pt x="5929524" y="2187766"/>
                  <a:pt x="5931654" y="2190962"/>
                  <a:pt x="5933118" y="2194555"/>
                </a:cubicBezTo>
                <a:cubicBezTo>
                  <a:pt x="5934583" y="2198150"/>
                  <a:pt x="5935381" y="2201878"/>
                  <a:pt x="5935381" y="2206004"/>
                </a:cubicBezTo>
                <a:cubicBezTo>
                  <a:pt x="5935381" y="2210131"/>
                  <a:pt x="5934583" y="2214125"/>
                  <a:pt x="5933118" y="2217718"/>
                </a:cubicBezTo>
                <a:cubicBezTo>
                  <a:pt x="5931654" y="2221312"/>
                  <a:pt x="5929524" y="2224374"/>
                  <a:pt x="5926995" y="2227037"/>
                </a:cubicBezTo>
                <a:cubicBezTo>
                  <a:pt x="5924333" y="2229700"/>
                  <a:pt x="5921271" y="2231830"/>
                  <a:pt x="5917677" y="2233293"/>
                </a:cubicBezTo>
                <a:cubicBezTo>
                  <a:pt x="5914083" y="2234757"/>
                  <a:pt x="5910222" y="2235556"/>
                  <a:pt x="5905963" y="2235556"/>
                </a:cubicBezTo>
                <a:cubicBezTo>
                  <a:pt x="5897044" y="2235556"/>
                  <a:pt x="5889722" y="2232628"/>
                  <a:pt x="5884130" y="2227037"/>
                </a:cubicBezTo>
                <a:cubicBezTo>
                  <a:pt x="5878540" y="2221446"/>
                  <a:pt x="5875744" y="2214390"/>
                  <a:pt x="5875744" y="2205871"/>
                </a:cubicBezTo>
                <a:cubicBezTo>
                  <a:pt x="5875744" y="2197618"/>
                  <a:pt x="5878540" y="2190563"/>
                  <a:pt x="5884130" y="2184838"/>
                </a:cubicBezTo>
                <a:cubicBezTo>
                  <a:pt x="5889722" y="2178981"/>
                  <a:pt x="5896910" y="2176186"/>
                  <a:pt x="5905963" y="2176186"/>
                </a:cubicBezTo>
                <a:close/>
                <a:moveTo>
                  <a:pt x="5688451" y="2176186"/>
                </a:moveTo>
                <a:cubicBezTo>
                  <a:pt x="5692577" y="2176186"/>
                  <a:pt x="5696571" y="2176985"/>
                  <a:pt x="5700165" y="2178848"/>
                </a:cubicBezTo>
                <a:cubicBezTo>
                  <a:pt x="5703892" y="2180445"/>
                  <a:pt x="5706954" y="2182575"/>
                  <a:pt x="5709483" y="2185238"/>
                </a:cubicBezTo>
                <a:cubicBezTo>
                  <a:pt x="5712012" y="2187766"/>
                  <a:pt x="5714142" y="2190962"/>
                  <a:pt x="5715606" y="2194555"/>
                </a:cubicBezTo>
                <a:cubicBezTo>
                  <a:pt x="5717071" y="2198150"/>
                  <a:pt x="5717869" y="2201878"/>
                  <a:pt x="5717869" y="2206004"/>
                </a:cubicBezTo>
                <a:cubicBezTo>
                  <a:pt x="5717869" y="2210131"/>
                  <a:pt x="5717071" y="2214125"/>
                  <a:pt x="5715606" y="2217718"/>
                </a:cubicBezTo>
                <a:cubicBezTo>
                  <a:pt x="5714142" y="2221312"/>
                  <a:pt x="5712012" y="2224374"/>
                  <a:pt x="5709483" y="2227037"/>
                </a:cubicBezTo>
                <a:cubicBezTo>
                  <a:pt x="5706820" y="2229700"/>
                  <a:pt x="5703759" y="2231830"/>
                  <a:pt x="5700165" y="2233293"/>
                </a:cubicBezTo>
                <a:cubicBezTo>
                  <a:pt x="5696571" y="2234757"/>
                  <a:pt x="5692710" y="2235556"/>
                  <a:pt x="5688451" y="2235556"/>
                </a:cubicBezTo>
                <a:cubicBezTo>
                  <a:pt x="5679532" y="2235556"/>
                  <a:pt x="5672210" y="2232628"/>
                  <a:pt x="5666618" y="2227037"/>
                </a:cubicBezTo>
                <a:cubicBezTo>
                  <a:pt x="5661028" y="2221446"/>
                  <a:pt x="5658232" y="2214390"/>
                  <a:pt x="5658232" y="2205871"/>
                </a:cubicBezTo>
                <a:cubicBezTo>
                  <a:pt x="5658232" y="2197618"/>
                  <a:pt x="5661028" y="2190563"/>
                  <a:pt x="5666618" y="2184838"/>
                </a:cubicBezTo>
                <a:cubicBezTo>
                  <a:pt x="5672210" y="2178981"/>
                  <a:pt x="5679398" y="2176186"/>
                  <a:pt x="5688451" y="2176186"/>
                </a:cubicBezTo>
                <a:close/>
                <a:moveTo>
                  <a:pt x="5470806" y="2176186"/>
                </a:moveTo>
                <a:cubicBezTo>
                  <a:pt x="5475065" y="2176186"/>
                  <a:pt x="5478926" y="2176985"/>
                  <a:pt x="5482520" y="2178848"/>
                </a:cubicBezTo>
                <a:cubicBezTo>
                  <a:pt x="5486247" y="2180445"/>
                  <a:pt x="5489309" y="2182575"/>
                  <a:pt x="5491838" y="2185238"/>
                </a:cubicBezTo>
                <a:cubicBezTo>
                  <a:pt x="5494367" y="2187766"/>
                  <a:pt x="5496497" y="2190962"/>
                  <a:pt x="5497961" y="2194555"/>
                </a:cubicBezTo>
                <a:cubicBezTo>
                  <a:pt x="5499426" y="2198150"/>
                  <a:pt x="5500224" y="2201878"/>
                  <a:pt x="5500224" y="2206004"/>
                </a:cubicBezTo>
                <a:cubicBezTo>
                  <a:pt x="5500224" y="2210131"/>
                  <a:pt x="5499426" y="2214125"/>
                  <a:pt x="5497961" y="2217718"/>
                </a:cubicBezTo>
                <a:cubicBezTo>
                  <a:pt x="5496497" y="2221312"/>
                  <a:pt x="5494367" y="2224374"/>
                  <a:pt x="5491838" y="2227037"/>
                </a:cubicBezTo>
                <a:cubicBezTo>
                  <a:pt x="5489176" y="2229700"/>
                  <a:pt x="5486114" y="2231830"/>
                  <a:pt x="5482520" y="2233293"/>
                </a:cubicBezTo>
                <a:cubicBezTo>
                  <a:pt x="5478926" y="2234757"/>
                  <a:pt x="5475065" y="2235556"/>
                  <a:pt x="5470806" y="2235556"/>
                </a:cubicBezTo>
                <a:cubicBezTo>
                  <a:pt x="5461887" y="2235556"/>
                  <a:pt x="5454565" y="2232628"/>
                  <a:pt x="5448973" y="2227037"/>
                </a:cubicBezTo>
                <a:cubicBezTo>
                  <a:pt x="5443383" y="2221446"/>
                  <a:pt x="5440587" y="2214390"/>
                  <a:pt x="5440587" y="2205871"/>
                </a:cubicBezTo>
                <a:cubicBezTo>
                  <a:pt x="5440587" y="2197618"/>
                  <a:pt x="5443383" y="2190563"/>
                  <a:pt x="5448973" y="2184838"/>
                </a:cubicBezTo>
                <a:cubicBezTo>
                  <a:pt x="5454565" y="2178981"/>
                  <a:pt x="5461754" y="2176186"/>
                  <a:pt x="5470806" y="2176186"/>
                </a:cubicBezTo>
                <a:close/>
                <a:moveTo>
                  <a:pt x="5253160" y="2176186"/>
                </a:moveTo>
                <a:cubicBezTo>
                  <a:pt x="5257420" y="2176186"/>
                  <a:pt x="5261280" y="2176985"/>
                  <a:pt x="5264875" y="2178848"/>
                </a:cubicBezTo>
                <a:cubicBezTo>
                  <a:pt x="5268602" y="2180445"/>
                  <a:pt x="5271664" y="2182575"/>
                  <a:pt x="5274192" y="2185238"/>
                </a:cubicBezTo>
                <a:cubicBezTo>
                  <a:pt x="5276722" y="2187766"/>
                  <a:pt x="5278852" y="2190962"/>
                  <a:pt x="5280316" y="2194555"/>
                </a:cubicBezTo>
                <a:cubicBezTo>
                  <a:pt x="5281780" y="2198150"/>
                  <a:pt x="5282579" y="2201878"/>
                  <a:pt x="5282579" y="2206004"/>
                </a:cubicBezTo>
                <a:cubicBezTo>
                  <a:pt x="5282579" y="2210131"/>
                  <a:pt x="5281780" y="2214125"/>
                  <a:pt x="5280316" y="2217718"/>
                </a:cubicBezTo>
                <a:cubicBezTo>
                  <a:pt x="5278852" y="2221312"/>
                  <a:pt x="5276722" y="2224374"/>
                  <a:pt x="5274192" y="2227037"/>
                </a:cubicBezTo>
                <a:cubicBezTo>
                  <a:pt x="5271664" y="2229700"/>
                  <a:pt x="5268469" y="2231830"/>
                  <a:pt x="5264875" y="2233293"/>
                </a:cubicBezTo>
                <a:cubicBezTo>
                  <a:pt x="5261280" y="2234757"/>
                  <a:pt x="5257420" y="2235556"/>
                  <a:pt x="5253160" y="2235556"/>
                </a:cubicBezTo>
                <a:cubicBezTo>
                  <a:pt x="5244241" y="2235556"/>
                  <a:pt x="5236920" y="2232628"/>
                  <a:pt x="5231328" y="2227037"/>
                </a:cubicBezTo>
                <a:cubicBezTo>
                  <a:pt x="5225737" y="2221446"/>
                  <a:pt x="5222942" y="2214390"/>
                  <a:pt x="5222942" y="2205871"/>
                </a:cubicBezTo>
                <a:cubicBezTo>
                  <a:pt x="5222942" y="2197618"/>
                  <a:pt x="5225737" y="2190563"/>
                  <a:pt x="5231328" y="2184838"/>
                </a:cubicBezTo>
                <a:cubicBezTo>
                  <a:pt x="5236920" y="2178981"/>
                  <a:pt x="5244108" y="2176186"/>
                  <a:pt x="5253160" y="2176186"/>
                </a:cubicBezTo>
                <a:close/>
                <a:moveTo>
                  <a:pt x="5035515" y="2176186"/>
                </a:moveTo>
                <a:cubicBezTo>
                  <a:pt x="5039775" y="2176186"/>
                  <a:pt x="5043636" y="2176985"/>
                  <a:pt x="5047230" y="2178848"/>
                </a:cubicBezTo>
                <a:cubicBezTo>
                  <a:pt x="5050957" y="2180445"/>
                  <a:pt x="5054019" y="2182575"/>
                  <a:pt x="5056548" y="2185238"/>
                </a:cubicBezTo>
                <a:cubicBezTo>
                  <a:pt x="5059077" y="2187766"/>
                  <a:pt x="5061207" y="2190962"/>
                  <a:pt x="5062671" y="2194555"/>
                </a:cubicBezTo>
                <a:cubicBezTo>
                  <a:pt x="5064135" y="2198150"/>
                  <a:pt x="5064934" y="2201878"/>
                  <a:pt x="5064934" y="2206004"/>
                </a:cubicBezTo>
                <a:cubicBezTo>
                  <a:pt x="5064934" y="2210131"/>
                  <a:pt x="5064135" y="2214125"/>
                  <a:pt x="5062671" y="2217718"/>
                </a:cubicBezTo>
                <a:cubicBezTo>
                  <a:pt x="5061207" y="2221312"/>
                  <a:pt x="5059077" y="2224374"/>
                  <a:pt x="5056548" y="2227037"/>
                </a:cubicBezTo>
                <a:cubicBezTo>
                  <a:pt x="5053885" y="2229700"/>
                  <a:pt x="5050824" y="2231830"/>
                  <a:pt x="5047230" y="2233293"/>
                </a:cubicBezTo>
                <a:cubicBezTo>
                  <a:pt x="5043636" y="2234757"/>
                  <a:pt x="5039775" y="2235556"/>
                  <a:pt x="5035515" y="2235556"/>
                </a:cubicBezTo>
                <a:cubicBezTo>
                  <a:pt x="5026597" y="2235556"/>
                  <a:pt x="5019275" y="2232628"/>
                  <a:pt x="5013683" y="2227037"/>
                </a:cubicBezTo>
                <a:cubicBezTo>
                  <a:pt x="5008092" y="2221446"/>
                  <a:pt x="5005297" y="2214390"/>
                  <a:pt x="5005297" y="2205871"/>
                </a:cubicBezTo>
                <a:cubicBezTo>
                  <a:pt x="5005297" y="2197618"/>
                  <a:pt x="5008092" y="2190563"/>
                  <a:pt x="5013683" y="2184838"/>
                </a:cubicBezTo>
                <a:cubicBezTo>
                  <a:pt x="5019275" y="2178981"/>
                  <a:pt x="5026463" y="2176186"/>
                  <a:pt x="5035515" y="2176186"/>
                </a:cubicBezTo>
                <a:close/>
                <a:moveTo>
                  <a:pt x="4817870" y="2176186"/>
                </a:moveTo>
                <a:cubicBezTo>
                  <a:pt x="4822130" y="2176186"/>
                  <a:pt x="4826124" y="2176985"/>
                  <a:pt x="4829585" y="2178848"/>
                </a:cubicBezTo>
                <a:cubicBezTo>
                  <a:pt x="4833312" y="2180445"/>
                  <a:pt x="4836374" y="2182575"/>
                  <a:pt x="4838903" y="2185238"/>
                </a:cubicBezTo>
                <a:cubicBezTo>
                  <a:pt x="4841432" y="2187766"/>
                  <a:pt x="4843562" y="2190962"/>
                  <a:pt x="4845026" y="2194555"/>
                </a:cubicBezTo>
                <a:cubicBezTo>
                  <a:pt x="4846491" y="2198150"/>
                  <a:pt x="4847289" y="2201878"/>
                  <a:pt x="4847289" y="2206004"/>
                </a:cubicBezTo>
                <a:cubicBezTo>
                  <a:pt x="4847289" y="2210131"/>
                  <a:pt x="4846491" y="2214125"/>
                  <a:pt x="4845026" y="2217718"/>
                </a:cubicBezTo>
                <a:cubicBezTo>
                  <a:pt x="4843562" y="2221312"/>
                  <a:pt x="4841432" y="2224374"/>
                  <a:pt x="4838903" y="2227037"/>
                </a:cubicBezTo>
                <a:cubicBezTo>
                  <a:pt x="4836240" y="2229700"/>
                  <a:pt x="4833179" y="2231830"/>
                  <a:pt x="4829585" y="2233293"/>
                </a:cubicBezTo>
                <a:cubicBezTo>
                  <a:pt x="4825991" y="2234757"/>
                  <a:pt x="4822130" y="2235556"/>
                  <a:pt x="4817870" y="2235556"/>
                </a:cubicBezTo>
                <a:cubicBezTo>
                  <a:pt x="4808952" y="2235556"/>
                  <a:pt x="4801630" y="2232628"/>
                  <a:pt x="4796038" y="2227037"/>
                </a:cubicBezTo>
                <a:cubicBezTo>
                  <a:pt x="4790447" y="2221446"/>
                  <a:pt x="4787652" y="2214390"/>
                  <a:pt x="4787652" y="2205871"/>
                </a:cubicBezTo>
                <a:cubicBezTo>
                  <a:pt x="4787652" y="2197618"/>
                  <a:pt x="4790447" y="2190563"/>
                  <a:pt x="4796038" y="2184838"/>
                </a:cubicBezTo>
                <a:cubicBezTo>
                  <a:pt x="4801630" y="2178981"/>
                  <a:pt x="4808818" y="2176186"/>
                  <a:pt x="4817870" y="2176186"/>
                </a:cubicBezTo>
                <a:close/>
                <a:moveTo>
                  <a:pt x="4600226" y="2176186"/>
                </a:moveTo>
                <a:cubicBezTo>
                  <a:pt x="4604485" y="2176186"/>
                  <a:pt x="4608479" y="2176985"/>
                  <a:pt x="4612073" y="2178848"/>
                </a:cubicBezTo>
                <a:cubicBezTo>
                  <a:pt x="4615800" y="2180445"/>
                  <a:pt x="4618862" y="2182575"/>
                  <a:pt x="4621391" y="2185238"/>
                </a:cubicBezTo>
                <a:cubicBezTo>
                  <a:pt x="4623920" y="2187766"/>
                  <a:pt x="4626050" y="2190962"/>
                  <a:pt x="4627514" y="2194555"/>
                </a:cubicBezTo>
                <a:cubicBezTo>
                  <a:pt x="4628978" y="2198150"/>
                  <a:pt x="4629777" y="2201878"/>
                  <a:pt x="4629777" y="2206004"/>
                </a:cubicBezTo>
                <a:cubicBezTo>
                  <a:pt x="4629777" y="2210131"/>
                  <a:pt x="4628978" y="2214125"/>
                  <a:pt x="4627514" y="2217718"/>
                </a:cubicBezTo>
                <a:cubicBezTo>
                  <a:pt x="4626050" y="2221312"/>
                  <a:pt x="4623920" y="2224374"/>
                  <a:pt x="4621391" y="2227037"/>
                </a:cubicBezTo>
                <a:cubicBezTo>
                  <a:pt x="4618729" y="2229700"/>
                  <a:pt x="4615667" y="2231830"/>
                  <a:pt x="4612073" y="2233293"/>
                </a:cubicBezTo>
                <a:cubicBezTo>
                  <a:pt x="4608346" y="2234757"/>
                  <a:pt x="4604485" y="2235556"/>
                  <a:pt x="4600226" y="2235556"/>
                </a:cubicBezTo>
                <a:cubicBezTo>
                  <a:pt x="4591173" y="2235556"/>
                  <a:pt x="4583985" y="2232628"/>
                  <a:pt x="4578393" y="2227037"/>
                </a:cubicBezTo>
                <a:cubicBezTo>
                  <a:pt x="4572803" y="2221446"/>
                  <a:pt x="4570007" y="2214390"/>
                  <a:pt x="4570007" y="2205871"/>
                </a:cubicBezTo>
                <a:cubicBezTo>
                  <a:pt x="4570007" y="2197618"/>
                  <a:pt x="4572803" y="2190563"/>
                  <a:pt x="4578393" y="2184838"/>
                </a:cubicBezTo>
                <a:cubicBezTo>
                  <a:pt x="4583985" y="2178981"/>
                  <a:pt x="4591173" y="2176186"/>
                  <a:pt x="4600226" y="2176186"/>
                </a:cubicBezTo>
                <a:close/>
                <a:moveTo>
                  <a:pt x="4382713" y="2176186"/>
                </a:moveTo>
                <a:cubicBezTo>
                  <a:pt x="4386840" y="2176186"/>
                  <a:pt x="4390834" y="2176985"/>
                  <a:pt x="4394428" y="2178848"/>
                </a:cubicBezTo>
                <a:cubicBezTo>
                  <a:pt x="4398155" y="2180445"/>
                  <a:pt x="4401217" y="2182575"/>
                  <a:pt x="4403746" y="2185238"/>
                </a:cubicBezTo>
                <a:cubicBezTo>
                  <a:pt x="4406275" y="2187766"/>
                  <a:pt x="4408405" y="2190962"/>
                  <a:pt x="4409869" y="2194555"/>
                </a:cubicBezTo>
                <a:cubicBezTo>
                  <a:pt x="4411334" y="2198150"/>
                  <a:pt x="4412132" y="2201878"/>
                  <a:pt x="4412132" y="2206004"/>
                </a:cubicBezTo>
                <a:cubicBezTo>
                  <a:pt x="4412132" y="2210131"/>
                  <a:pt x="4411334" y="2214125"/>
                  <a:pt x="4409869" y="2217718"/>
                </a:cubicBezTo>
                <a:cubicBezTo>
                  <a:pt x="4408405" y="2221312"/>
                  <a:pt x="4406275" y="2224374"/>
                  <a:pt x="4403746" y="2227037"/>
                </a:cubicBezTo>
                <a:cubicBezTo>
                  <a:pt x="4401083" y="2229700"/>
                  <a:pt x="4398022" y="2231830"/>
                  <a:pt x="4394428" y="2233293"/>
                </a:cubicBezTo>
                <a:cubicBezTo>
                  <a:pt x="4390834" y="2234757"/>
                  <a:pt x="4386973" y="2235556"/>
                  <a:pt x="4382713" y="2235556"/>
                </a:cubicBezTo>
                <a:cubicBezTo>
                  <a:pt x="4373661" y="2235556"/>
                  <a:pt x="4366473" y="2232628"/>
                  <a:pt x="4360881" y="2227037"/>
                </a:cubicBezTo>
                <a:cubicBezTo>
                  <a:pt x="4355290" y="2221446"/>
                  <a:pt x="4352495" y="2214390"/>
                  <a:pt x="4352495" y="2205871"/>
                </a:cubicBezTo>
                <a:cubicBezTo>
                  <a:pt x="4352495" y="2197618"/>
                  <a:pt x="4355290" y="2190563"/>
                  <a:pt x="4360881" y="2184838"/>
                </a:cubicBezTo>
                <a:cubicBezTo>
                  <a:pt x="4366473" y="2178981"/>
                  <a:pt x="4373661" y="2176186"/>
                  <a:pt x="4382713" y="2176186"/>
                </a:cubicBezTo>
                <a:close/>
                <a:moveTo>
                  <a:pt x="4165068" y="2176186"/>
                </a:moveTo>
                <a:cubicBezTo>
                  <a:pt x="4169327" y="2176186"/>
                  <a:pt x="4173188" y="2176985"/>
                  <a:pt x="4176782" y="2178848"/>
                </a:cubicBezTo>
                <a:cubicBezTo>
                  <a:pt x="4180509" y="2180445"/>
                  <a:pt x="4183571" y="2182575"/>
                  <a:pt x="4186100" y="2185238"/>
                </a:cubicBezTo>
                <a:cubicBezTo>
                  <a:pt x="4188629" y="2187766"/>
                  <a:pt x="4190759" y="2190962"/>
                  <a:pt x="4192223" y="2194555"/>
                </a:cubicBezTo>
                <a:cubicBezTo>
                  <a:pt x="4193688" y="2198150"/>
                  <a:pt x="4194486" y="2201878"/>
                  <a:pt x="4194486" y="2206004"/>
                </a:cubicBezTo>
                <a:cubicBezTo>
                  <a:pt x="4194486" y="2210131"/>
                  <a:pt x="4193688" y="2214125"/>
                  <a:pt x="4192223" y="2217718"/>
                </a:cubicBezTo>
                <a:cubicBezTo>
                  <a:pt x="4190759" y="2221312"/>
                  <a:pt x="4188629" y="2224374"/>
                  <a:pt x="4186100" y="2227037"/>
                </a:cubicBezTo>
                <a:cubicBezTo>
                  <a:pt x="4183438" y="2229700"/>
                  <a:pt x="4180376" y="2231830"/>
                  <a:pt x="4176782" y="2233293"/>
                </a:cubicBezTo>
                <a:cubicBezTo>
                  <a:pt x="4173188" y="2234757"/>
                  <a:pt x="4169327" y="2235556"/>
                  <a:pt x="4165068" y="2235556"/>
                </a:cubicBezTo>
                <a:cubicBezTo>
                  <a:pt x="4156015" y="2235556"/>
                  <a:pt x="4148827" y="2232628"/>
                  <a:pt x="4143235" y="2227037"/>
                </a:cubicBezTo>
                <a:cubicBezTo>
                  <a:pt x="4137645" y="2221446"/>
                  <a:pt x="4134849" y="2214390"/>
                  <a:pt x="4134849" y="2205871"/>
                </a:cubicBezTo>
                <a:cubicBezTo>
                  <a:pt x="4134849" y="2197618"/>
                  <a:pt x="4137645" y="2190563"/>
                  <a:pt x="4143235" y="2184838"/>
                </a:cubicBezTo>
                <a:cubicBezTo>
                  <a:pt x="4148827" y="2178981"/>
                  <a:pt x="4156015" y="2176186"/>
                  <a:pt x="4165068" y="2176186"/>
                </a:cubicBezTo>
                <a:close/>
                <a:moveTo>
                  <a:pt x="3947547" y="2176186"/>
                </a:moveTo>
                <a:cubicBezTo>
                  <a:pt x="3951808" y="2176186"/>
                  <a:pt x="3955667" y="2176985"/>
                  <a:pt x="3959262" y="2178848"/>
                </a:cubicBezTo>
                <a:cubicBezTo>
                  <a:pt x="3962990" y="2180445"/>
                  <a:pt x="3966051" y="2182575"/>
                  <a:pt x="3968580" y="2185238"/>
                </a:cubicBezTo>
                <a:cubicBezTo>
                  <a:pt x="3971111" y="2187766"/>
                  <a:pt x="3973240" y="2190962"/>
                  <a:pt x="3974704" y="2194555"/>
                </a:cubicBezTo>
                <a:cubicBezTo>
                  <a:pt x="3976169" y="2198150"/>
                  <a:pt x="3976968" y="2201878"/>
                  <a:pt x="3976968" y="2206004"/>
                </a:cubicBezTo>
                <a:cubicBezTo>
                  <a:pt x="3976968" y="2210131"/>
                  <a:pt x="3976169" y="2214125"/>
                  <a:pt x="3974704" y="2217718"/>
                </a:cubicBezTo>
                <a:cubicBezTo>
                  <a:pt x="3973240" y="2221312"/>
                  <a:pt x="3971111" y="2224374"/>
                  <a:pt x="3968580" y="2227037"/>
                </a:cubicBezTo>
                <a:cubicBezTo>
                  <a:pt x="3965918" y="2229700"/>
                  <a:pt x="3962857" y="2231830"/>
                  <a:pt x="3959262" y="2233293"/>
                </a:cubicBezTo>
                <a:cubicBezTo>
                  <a:pt x="3955667" y="2234757"/>
                  <a:pt x="3951808" y="2235556"/>
                  <a:pt x="3947547" y="2235556"/>
                </a:cubicBezTo>
                <a:cubicBezTo>
                  <a:pt x="3938494" y="2235556"/>
                  <a:pt x="3931306" y="2232628"/>
                  <a:pt x="3925714" y="2227037"/>
                </a:cubicBezTo>
                <a:cubicBezTo>
                  <a:pt x="3920123" y="2221446"/>
                  <a:pt x="3917328" y="2214390"/>
                  <a:pt x="3917328" y="2205871"/>
                </a:cubicBezTo>
                <a:cubicBezTo>
                  <a:pt x="3917328" y="2197618"/>
                  <a:pt x="3920123" y="2190563"/>
                  <a:pt x="3925714" y="2184838"/>
                </a:cubicBezTo>
                <a:cubicBezTo>
                  <a:pt x="3931306" y="2178981"/>
                  <a:pt x="3938494" y="2176186"/>
                  <a:pt x="3947547" y="2176186"/>
                </a:cubicBezTo>
                <a:close/>
                <a:moveTo>
                  <a:pt x="3729896" y="2176186"/>
                </a:moveTo>
                <a:cubicBezTo>
                  <a:pt x="3734156" y="2176186"/>
                  <a:pt x="3738148" y="2176985"/>
                  <a:pt x="3741611" y="2178848"/>
                </a:cubicBezTo>
                <a:cubicBezTo>
                  <a:pt x="3745205" y="2180445"/>
                  <a:pt x="3748400" y="2182575"/>
                  <a:pt x="3750929" y="2185238"/>
                </a:cubicBezTo>
                <a:cubicBezTo>
                  <a:pt x="3753458" y="2187766"/>
                  <a:pt x="3755588" y="2190962"/>
                  <a:pt x="3757052" y="2194555"/>
                </a:cubicBezTo>
                <a:cubicBezTo>
                  <a:pt x="3758516" y="2198150"/>
                  <a:pt x="3759315" y="2201878"/>
                  <a:pt x="3759315" y="2206004"/>
                </a:cubicBezTo>
                <a:cubicBezTo>
                  <a:pt x="3759315" y="2210131"/>
                  <a:pt x="3758516" y="2214125"/>
                  <a:pt x="3757052" y="2217718"/>
                </a:cubicBezTo>
                <a:cubicBezTo>
                  <a:pt x="3755588" y="2221312"/>
                  <a:pt x="3753458" y="2224374"/>
                  <a:pt x="3750929" y="2227037"/>
                </a:cubicBezTo>
                <a:cubicBezTo>
                  <a:pt x="3748266" y="2229700"/>
                  <a:pt x="3745205" y="2231830"/>
                  <a:pt x="3741611" y="2233293"/>
                </a:cubicBezTo>
                <a:cubicBezTo>
                  <a:pt x="3738017" y="2234757"/>
                  <a:pt x="3734156" y="2235556"/>
                  <a:pt x="3729896" y="2235556"/>
                </a:cubicBezTo>
                <a:cubicBezTo>
                  <a:pt x="3720843" y="2235556"/>
                  <a:pt x="3713655" y="2232628"/>
                  <a:pt x="3708061" y="2227037"/>
                </a:cubicBezTo>
                <a:cubicBezTo>
                  <a:pt x="3702468" y="2221446"/>
                  <a:pt x="3699675" y="2214390"/>
                  <a:pt x="3699675" y="2205871"/>
                </a:cubicBezTo>
                <a:cubicBezTo>
                  <a:pt x="3699675" y="2197618"/>
                  <a:pt x="3702468" y="2190563"/>
                  <a:pt x="3708061" y="2184838"/>
                </a:cubicBezTo>
                <a:cubicBezTo>
                  <a:pt x="3713655" y="2178981"/>
                  <a:pt x="3720843" y="2176186"/>
                  <a:pt x="3729896" y="2176186"/>
                </a:cubicBezTo>
                <a:close/>
                <a:moveTo>
                  <a:pt x="3512244" y="2176186"/>
                </a:moveTo>
                <a:cubicBezTo>
                  <a:pt x="3516504" y="2176186"/>
                  <a:pt x="3520497" y="2176985"/>
                  <a:pt x="3523959" y="2178848"/>
                </a:cubicBezTo>
                <a:cubicBezTo>
                  <a:pt x="3527553" y="2180445"/>
                  <a:pt x="3530748" y="2182575"/>
                  <a:pt x="3533277" y="2185238"/>
                </a:cubicBezTo>
                <a:cubicBezTo>
                  <a:pt x="3535807" y="2187766"/>
                  <a:pt x="3537937" y="2190962"/>
                  <a:pt x="3539401" y="2194555"/>
                </a:cubicBezTo>
                <a:cubicBezTo>
                  <a:pt x="3540865" y="2198150"/>
                  <a:pt x="3541664" y="2201878"/>
                  <a:pt x="3541664" y="2206004"/>
                </a:cubicBezTo>
                <a:cubicBezTo>
                  <a:pt x="3541664" y="2210131"/>
                  <a:pt x="3540865" y="2214125"/>
                  <a:pt x="3539401" y="2217718"/>
                </a:cubicBezTo>
                <a:cubicBezTo>
                  <a:pt x="3537937" y="2221312"/>
                  <a:pt x="3535807" y="2224374"/>
                  <a:pt x="3533277" y="2227037"/>
                </a:cubicBezTo>
                <a:cubicBezTo>
                  <a:pt x="3530614" y="2229700"/>
                  <a:pt x="3527553" y="2231830"/>
                  <a:pt x="3523959" y="2233293"/>
                </a:cubicBezTo>
                <a:cubicBezTo>
                  <a:pt x="3520365" y="2234757"/>
                  <a:pt x="3516504" y="2235556"/>
                  <a:pt x="3512244" y="2235556"/>
                </a:cubicBezTo>
                <a:cubicBezTo>
                  <a:pt x="3503190" y="2235556"/>
                  <a:pt x="3496001" y="2232628"/>
                  <a:pt x="3490410" y="2227037"/>
                </a:cubicBezTo>
                <a:cubicBezTo>
                  <a:pt x="3484819" y="2221446"/>
                  <a:pt x="3482024" y="2214390"/>
                  <a:pt x="3482024" y="2205871"/>
                </a:cubicBezTo>
                <a:cubicBezTo>
                  <a:pt x="3482024" y="2197618"/>
                  <a:pt x="3484819" y="2190563"/>
                  <a:pt x="3490410" y="2184838"/>
                </a:cubicBezTo>
                <a:cubicBezTo>
                  <a:pt x="3496001" y="2178981"/>
                  <a:pt x="3503190" y="2176186"/>
                  <a:pt x="3512244" y="2176186"/>
                </a:cubicBezTo>
                <a:close/>
                <a:moveTo>
                  <a:pt x="3294726" y="2176186"/>
                </a:moveTo>
                <a:cubicBezTo>
                  <a:pt x="3298853" y="2176186"/>
                  <a:pt x="3302847" y="2176985"/>
                  <a:pt x="3306441" y="2178848"/>
                </a:cubicBezTo>
                <a:cubicBezTo>
                  <a:pt x="3310168" y="2180445"/>
                  <a:pt x="3313230" y="2182575"/>
                  <a:pt x="3315759" y="2185238"/>
                </a:cubicBezTo>
                <a:cubicBezTo>
                  <a:pt x="3318288" y="2187766"/>
                  <a:pt x="3320418" y="2190962"/>
                  <a:pt x="3321882" y="2194555"/>
                </a:cubicBezTo>
                <a:cubicBezTo>
                  <a:pt x="3323346" y="2198150"/>
                  <a:pt x="3324145" y="2201878"/>
                  <a:pt x="3324145" y="2206004"/>
                </a:cubicBezTo>
                <a:cubicBezTo>
                  <a:pt x="3324145" y="2210131"/>
                  <a:pt x="3323346" y="2214125"/>
                  <a:pt x="3321882" y="2217718"/>
                </a:cubicBezTo>
                <a:cubicBezTo>
                  <a:pt x="3320418" y="2221312"/>
                  <a:pt x="3318288" y="2224374"/>
                  <a:pt x="3315759" y="2227037"/>
                </a:cubicBezTo>
                <a:cubicBezTo>
                  <a:pt x="3313096" y="2229700"/>
                  <a:pt x="3310035" y="2231830"/>
                  <a:pt x="3306441" y="2233293"/>
                </a:cubicBezTo>
                <a:cubicBezTo>
                  <a:pt x="3302847" y="2234757"/>
                  <a:pt x="3298986" y="2235556"/>
                  <a:pt x="3294726" y="2235556"/>
                </a:cubicBezTo>
                <a:cubicBezTo>
                  <a:pt x="3285673" y="2235556"/>
                  <a:pt x="3278484" y="2232628"/>
                  <a:pt x="3272891" y="2227037"/>
                </a:cubicBezTo>
                <a:cubicBezTo>
                  <a:pt x="3267300" y="2221446"/>
                  <a:pt x="3264505" y="2214390"/>
                  <a:pt x="3264505" y="2205871"/>
                </a:cubicBezTo>
                <a:cubicBezTo>
                  <a:pt x="3264505" y="2197618"/>
                  <a:pt x="3267300" y="2190563"/>
                  <a:pt x="3272891" y="2184838"/>
                </a:cubicBezTo>
                <a:cubicBezTo>
                  <a:pt x="3278484" y="2178981"/>
                  <a:pt x="3285673" y="2176186"/>
                  <a:pt x="3294726" y="2176186"/>
                </a:cubicBezTo>
                <a:close/>
                <a:moveTo>
                  <a:pt x="3077074" y="2176186"/>
                </a:moveTo>
                <a:cubicBezTo>
                  <a:pt x="3081202" y="2176186"/>
                  <a:pt x="3085195" y="2176985"/>
                  <a:pt x="3088790" y="2178848"/>
                </a:cubicBezTo>
                <a:cubicBezTo>
                  <a:pt x="3092384" y="2180445"/>
                  <a:pt x="3095579" y="2182575"/>
                  <a:pt x="3098107" y="2185238"/>
                </a:cubicBezTo>
                <a:cubicBezTo>
                  <a:pt x="3100637" y="2187766"/>
                  <a:pt x="3102767" y="2190962"/>
                  <a:pt x="3104231" y="2194555"/>
                </a:cubicBezTo>
                <a:cubicBezTo>
                  <a:pt x="3105696" y="2198150"/>
                  <a:pt x="3106494" y="2201878"/>
                  <a:pt x="3106494" y="2206004"/>
                </a:cubicBezTo>
                <a:cubicBezTo>
                  <a:pt x="3106494" y="2210131"/>
                  <a:pt x="3105696" y="2214125"/>
                  <a:pt x="3104231" y="2217718"/>
                </a:cubicBezTo>
                <a:cubicBezTo>
                  <a:pt x="3102767" y="2221312"/>
                  <a:pt x="3100637" y="2224374"/>
                  <a:pt x="3098107" y="2227037"/>
                </a:cubicBezTo>
                <a:cubicBezTo>
                  <a:pt x="3095445" y="2229700"/>
                  <a:pt x="3092384" y="2231830"/>
                  <a:pt x="3088790" y="2233293"/>
                </a:cubicBezTo>
                <a:cubicBezTo>
                  <a:pt x="3085195" y="2234757"/>
                  <a:pt x="3081334" y="2235556"/>
                  <a:pt x="3077074" y="2235556"/>
                </a:cubicBezTo>
                <a:cubicBezTo>
                  <a:pt x="3068155" y="2235556"/>
                  <a:pt x="3060832" y="2232628"/>
                  <a:pt x="3055240" y="2227037"/>
                </a:cubicBezTo>
                <a:cubicBezTo>
                  <a:pt x="3049649" y="2221446"/>
                  <a:pt x="3046854" y="2214390"/>
                  <a:pt x="3046854" y="2205871"/>
                </a:cubicBezTo>
                <a:cubicBezTo>
                  <a:pt x="3046854" y="2197618"/>
                  <a:pt x="3049649" y="2190563"/>
                  <a:pt x="3055240" y="2184838"/>
                </a:cubicBezTo>
                <a:cubicBezTo>
                  <a:pt x="3060832" y="2178981"/>
                  <a:pt x="3068022" y="2176186"/>
                  <a:pt x="3077074" y="2176186"/>
                </a:cubicBezTo>
                <a:close/>
                <a:moveTo>
                  <a:pt x="2859423" y="2176186"/>
                </a:moveTo>
                <a:cubicBezTo>
                  <a:pt x="2863683" y="2176186"/>
                  <a:pt x="2867544" y="2176985"/>
                  <a:pt x="2871271" y="2178848"/>
                </a:cubicBezTo>
                <a:cubicBezTo>
                  <a:pt x="2874998" y="2180445"/>
                  <a:pt x="2878060" y="2182575"/>
                  <a:pt x="2880589" y="2185238"/>
                </a:cubicBezTo>
                <a:cubicBezTo>
                  <a:pt x="2883251" y="2187766"/>
                  <a:pt x="2885249" y="2190962"/>
                  <a:pt x="2886712" y="2194555"/>
                </a:cubicBezTo>
                <a:cubicBezTo>
                  <a:pt x="2888177" y="2198150"/>
                  <a:pt x="2888975" y="2201878"/>
                  <a:pt x="2888975" y="2206004"/>
                </a:cubicBezTo>
                <a:cubicBezTo>
                  <a:pt x="2888975" y="2210131"/>
                  <a:pt x="2888177" y="2214125"/>
                  <a:pt x="2886712" y="2217718"/>
                </a:cubicBezTo>
                <a:cubicBezTo>
                  <a:pt x="2885249" y="2221312"/>
                  <a:pt x="2883118" y="2224374"/>
                  <a:pt x="2880589" y="2227037"/>
                </a:cubicBezTo>
                <a:cubicBezTo>
                  <a:pt x="2877927" y="2229700"/>
                  <a:pt x="2874865" y="2231830"/>
                  <a:pt x="2871271" y="2233293"/>
                </a:cubicBezTo>
                <a:cubicBezTo>
                  <a:pt x="2867544" y="2234757"/>
                  <a:pt x="2863683" y="2235556"/>
                  <a:pt x="2859423" y="2235556"/>
                </a:cubicBezTo>
                <a:cubicBezTo>
                  <a:pt x="2850505" y="2235556"/>
                  <a:pt x="2843180" y="2232628"/>
                  <a:pt x="2837590" y="2227037"/>
                </a:cubicBezTo>
                <a:cubicBezTo>
                  <a:pt x="2831999" y="2221446"/>
                  <a:pt x="2829202" y="2214390"/>
                  <a:pt x="2829202" y="2205871"/>
                </a:cubicBezTo>
                <a:cubicBezTo>
                  <a:pt x="2829202" y="2197618"/>
                  <a:pt x="2831999" y="2190563"/>
                  <a:pt x="2837590" y="2184838"/>
                </a:cubicBezTo>
                <a:cubicBezTo>
                  <a:pt x="2843180" y="2178981"/>
                  <a:pt x="2850371" y="2176186"/>
                  <a:pt x="2859423" y="2176186"/>
                </a:cubicBezTo>
                <a:close/>
                <a:moveTo>
                  <a:pt x="2641771" y="2176186"/>
                </a:moveTo>
                <a:cubicBezTo>
                  <a:pt x="2646032" y="2176186"/>
                  <a:pt x="2649891" y="2176985"/>
                  <a:pt x="2653487" y="2178848"/>
                </a:cubicBezTo>
                <a:cubicBezTo>
                  <a:pt x="2657214" y="2180445"/>
                  <a:pt x="2660276" y="2182575"/>
                  <a:pt x="2662805" y="2185238"/>
                </a:cubicBezTo>
                <a:cubicBezTo>
                  <a:pt x="2665467" y="2187766"/>
                  <a:pt x="2667464" y="2190962"/>
                  <a:pt x="2668928" y="2194555"/>
                </a:cubicBezTo>
                <a:cubicBezTo>
                  <a:pt x="2670392" y="2198150"/>
                  <a:pt x="2671191" y="2201878"/>
                  <a:pt x="2671191" y="2206004"/>
                </a:cubicBezTo>
                <a:cubicBezTo>
                  <a:pt x="2671191" y="2210131"/>
                  <a:pt x="2670392" y="2214125"/>
                  <a:pt x="2668928" y="2217718"/>
                </a:cubicBezTo>
                <a:cubicBezTo>
                  <a:pt x="2667464" y="2221312"/>
                  <a:pt x="2665334" y="2224374"/>
                  <a:pt x="2662805" y="2227037"/>
                </a:cubicBezTo>
                <a:cubicBezTo>
                  <a:pt x="2660276" y="2229700"/>
                  <a:pt x="2657080" y="2231830"/>
                  <a:pt x="2653487" y="2233293"/>
                </a:cubicBezTo>
                <a:cubicBezTo>
                  <a:pt x="2649891" y="2234757"/>
                  <a:pt x="2646032" y="2235556"/>
                  <a:pt x="2641771" y="2235556"/>
                </a:cubicBezTo>
                <a:cubicBezTo>
                  <a:pt x="2632852" y="2235556"/>
                  <a:pt x="2625531" y="2232628"/>
                  <a:pt x="2619939" y="2227037"/>
                </a:cubicBezTo>
                <a:cubicBezTo>
                  <a:pt x="2614349" y="2221446"/>
                  <a:pt x="2611552" y="2214390"/>
                  <a:pt x="2611552" y="2205871"/>
                </a:cubicBezTo>
                <a:cubicBezTo>
                  <a:pt x="2611552" y="2197618"/>
                  <a:pt x="2614349" y="2190563"/>
                  <a:pt x="2619939" y="2184838"/>
                </a:cubicBezTo>
                <a:cubicBezTo>
                  <a:pt x="2625531" y="2178981"/>
                  <a:pt x="2632719" y="2176186"/>
                  <a:pt x="2641771" y="2176186"/>
                </a:cubicBezTo>
                <a:close/>
                <a:moveTo>
                  <a:pt x="2424120" y="2176186"/>
                </a:moveTo>
                <a:cubicBezTo>
                  <a:pt x="2428380" y="2176186"/>
                  <a:pt x="2432374" y="2176985"/>
                  <a:pt x="2435835" y="2178848"/>
                </a:cubicBezTo>
                <a:cubicBezTo>
                  <a:pt x="2439562" y="2180445"/>
                  <a:pt x="2442624" y="2182575"/>
                  <a:pt x="2445153" y="2185238"/>
                </a:cubicBezTo>
                <a:cubicBezTo>
                  <a:pt x="2447816" y="2187766"/>
                  <a:pt x="2449812" y="2190962"/>
                  <a:pt x="2451276" y="2194555"/>
                </a:cubicBezTo>
                <a:cubicBezTo>
                  <a:pt x="2452740" y="2198150"/>
                  <a:pt x="2453539" y="2201878"/>
                  <a:pt x="2453539" y="2206004"/>
                </a:cubicBezTo>
                <a:cubicBezTo>
                  <a:pt x="2453539" y="2210131"/>
                  <a:pt x="2452740" y="2214125"/>
                  <a:pt x="2451276" y="2217718"/>
                </a:cubicBezTo>
                <a:cubicBezTo>
                  <a:pt x="2449812" y="2221312"/>
                  <a:pt x="2447682" y="2224374"/>
                  <a:pt x="2445153" y="2227037"/>
                </a:cubicBezTo>
                <a:cubicBezTo>
                  <a:pt x="2442624" y="2229700"/>
                  <a:pt x="2439429" y="2231830"/>
                  <a:pt x="2435835" y="2233293"/>
                </a:cubicBezTo>
                <a:cubicBezTo>
                  <a:pt x="2432241" y="2234757"/>
                  <a:pt x="2428380" y="2235556"/>
                  <a:pt x="2424120" y="2235556"/>
                </a:cubicBezTo>
                <a:cubicBezTo>
                  <a:pt x="2415202" y="2235556"/>
                  <a:pt x="2407879" y="2232628"/>
                  <a:pt x="2402288" y="2227037"/>
                </a:cubicBezTo>
                <a:cubicBezTo>
                  <a:pt x="2396697" y="2221446"/>
                  <a:pt x="2393901" y="2214390"/>
                  <a:pt x="2393901" y="2205871"/>
                </a:cubicBezTo>
                <a:cubicBezTo>
                  <a:pt x="2393901" y="2197618"/>
                  <a:pt x="2396697" y="2190563"/>
                  <a:pt x="2402288" y="2184838"/>
                </a:cubicBezTo>
                <a:cubicBezTo>
                  <a:pt x="2407879" y="2178981"/>
                  <a:pt x="2415068" y="2176186"/>
                  <a:pt x="2424120" y="2176186"/>
                </a:cubicBezTo>
                <a:close/>
                <a:moveTo>
                  <a:pt x="2206469" y="2176186"/>
                </a:moveTo>
                <a:cubicBezTo>
                  <a:pt x="2210728" y="2176186"/>
                  <a:pt x="2214723" y="2176985"/>
                  <a:pt x="2218183" y="2178848"/>
                </a:cubicBezTo>
                <a:cubicBezTo>
                  <a:pt x="2221910" y="2180445"/>
                  <a:pt x="2224972" y="2182575"/>
                  <a:pt x="2227502" y="2185238"/>
                </a:cubicBezTo>
                <a:cubicBezTo>
                  <a:pt x="2230164" y="2187766"/>
                  <a:pt x="2232161" y="2190962"/>
                  <a:pt x="2233625" y="2194555"/>
                </a:cubicBezTo>
                <a:cubicBezTo>
                  <a:pt x="2235089" y="2198150"/>
                  <a:pt x="2235888" y="2201878"/>
                  <a:pt x="2235888" y="2206004"/>
                </a:cubicBezTo>
                <a:cubicBezTo>
                  <a:pt x="2235888" y="2210131"/>
                  <a:pt x="2235089" y="2214125"/>
                  <a:pt x="2233625" y="2217718"/>
                </a:cubicBezTo>
                <a:cubicBezTo>
                  <a:pt x="2232161" y="2221312"/>
                  <a:pt x="2230031" y="2224374"/>
                  <a:pt x="2227502" y="2227037"/>
                </a:cubicBezTo>
                <a:cubicBezTo>
                  <a:pt x="2224972" y="2229700"/>
                  <a:pt x="2221778" y="2231830"/>
                  <a:pt x="2218183" y="2233293"/>
                </a:cubicBezTo>
                <a:cubicBezTo>
                  <a:pt x="2214589" y="2234757"/>
                  <a:pt x="2210728" y="2235556"/>
                  <a:pt x="2206469" y="2235556"/>
                </a:cubicBezTo>
                <a:cubicBezTo>
                  <a:pt x="2197416" y="2235556"/>
                  <a:pt x="2190228" y="2232628"/>
                  <a:pt x="2184637" y="2227037"/>
                </a:cubicBezTo>
                <a:cubicBezTo>
                  <a:pt x="2179045" y="2221446"/>
                  <a:pt x="2176250" y="2214390"/>
                  <a:pt x="2176250" y="2205871"/>
                </a:cubicBezTo>
                <a:cubicBezTo>
                  <a:pt x="2176250" y="2197618"/>
                  <a:pt x="2179045" y="2190563"/>
                  <a:pt x="2184637" y="2184838"/>
                </a:cubicBezTo>
                <a:cubicBezTo>
                  <a:pt x="2190228" y="2178981"/>
                  <a:pt x="2197416" y="2176186"/>
                  <a:pt x="2206469" y="2176186"/>
                </a:cubicBezTo>
                <a:close/>
                <a:moveTo>
                  <a:pt x="1988950" y="2176186"/>
                </a:moveTo>
                <a:cubicBezTo>
                  <a:pt x="1993077" y="2176186"/>
                  <a:pt x="1997071" y="2176985"/>
                  <a:pt x="2000665" y="2178848"/>
                </a:cubicBezTo>
                <a:cubicBezTo>
                  <a:pt x="2004392" y="2180445"/>
                  <a:pt x="2007454" y="2182575"/>
                  <a:pt x="2009983" y="2185238"/>
                </a:cubicBezTo>
                <a:cubicBezTo>
                  <a:pt x="2012645" y="2187766"/>
                  <a:pt x="2014642" y="2190962"/>
                  <a:pt x="2016106" y="2194555"/>
                </a:cubicBezTo>
                <a:cubicBezTo>
                  <a:pt x="2017570" y="2198150"/>
                  <a:pt x="2018369" y="2201878"/>
                  <a:pt x="2018369" y="2206004"/>
                </a:cubicBezTo>
                <a:cubicBezTo>
                  <a:pt x="2018369" y="2210131"/>
                  <a:pt x="2017570" y="2214125"/>
                  <a:pt x="2016106" y="2217718"/>
                </a:cubicBezTo>
                <a:cubicBezTo>
                  <a:pt x="2014642" y="2221312"/>
                  <a:pt x="2012512" y="2224374"/>
                  <a:pt x="2009983" y="2227037"/>
                </a:cubicBezTo>
                <a:cubicBezTo>
                  <a:pt x="2007454" y="2229700"/>
                  <a:pt x="2004259" y="2231830"/>
                  <a:pt x="2000665" y="2233293"/>
                </a:cubicBezTo>
                <a:cubicBezTo>
                  <a:pt x="1997071" y="2234757"/>
                  <a:pt x="1993210" y="2235556"/>
                  <a:pt x="1988950" y="2235556"/>
                </a:cubicBezTo>
                <a:cubicBezTo>
                  <a:pt x="1979899" y="2235556"/>
                  <a:pt x="1972710" y="2232628"/>
                  <a:pt x="1967119" y="2227037"/>
                </a:cubicBezTo>
                <a:cubicBezTo>
                  <a:pt x="1961528" y="2221446"/>
                  <a:pt x="1958732" y="2214390"/>
                  <a:pt x="1958732" y="2205871"/>
                </a:cubicBezTo>
                <a:cubicBezTo>
                  <a:pt x="1958732" y="2197618"/>
                  <a:pt x="1961528" y="2190563"/>
                  <a:pt x="1967119" y="2184838"/>
                </a:cubicBezTo>
                <a:cubicBezTo>
                  <a:pt x="1972710" y="2178981"/>
                  <a:pt x="1979899" y="2176186"/>
                  <a:pt x="1988950" y="2176186"/>
                </a:cubicBezTo>
                <a:close/>
                <a:moveTo>
                  <a:pt x="1771309" y="2176186"/>
                </a:moveTo>
                <a:cubicBezTo>
                  <a:pt x="1775569" y="2176186"/>
                  <a:pt x="1779429" y="2176985"/>
                  <a:pt x="1783024" y="2178848"/>
                </a:cubicBezTo>
                <a:cubicBezTo>
                  <a:pt x="1786751" y="2180445"/>
                  <a:pt x="1789813" y="2182575"/>
                  <a:pt x="1792342" y="2185238"/>
                </a:cubicBezTo>
                <a:cubicBezTo>
                  <a:pt x="1795004" y="2187766"/>
                  <a:pt x="1797001" y="2190962"/>
                  <a:pt x="1798465" y="2194555"/>
                </a:cubicBezTo>
                <a:cubicBezTo>
                  <a:pt x="1799929" y="2198150"/>
                  <a:pt x="1800728" y="2201878"/>
                  <a:pt x="1800728" y="2206004"/>
                </a:cubicBezTo>
                <a:cubicBezTo>
                  <a:pt x="1800728" y="2210131"/>
                  <a:pt x="1799929" y="2214125"/>
                  <a:pt x="1798465" y="2217718"/>
                </a:cubicBezTo>
                <a:cubicBezTo>
                  <a:pt x="1797001" y="2221312"/>
                  <a:pt x="1794871" y="2224374"/>
                  <a:pt x="1792342" y="2227037"/>
                </a:cubicBezTo>
                <a:cubicBezTo>
                  <a:pt x="1789679" y="2229700"/>
                  <a:pt x="1786619" y="2231830"/>
                  <a:pt x="1783024" y="2233293"/>
                </a:cubicBezTo>
                <a:cubicBezTo>
                  <a:pt x="1779429" y="2234757"/>
                  <a:pt x="1775569" y="2235556"/>
                  <a:pt x="1771309" y="2235556"/>
                </a:cubicBezTo>
                <a:cubicBezTo>
                  <a:pt x="1762390" y="2235556"/>
                  <a:pt x="1755070" y="2232628"/>
                  <a:pt x="1749479" y="2227037"/>
                </a:cubicBezTo>
                <a:cubicBezTo>
                  <a:pt x="1743888" y="2221446"/>
                  <a:pt x="1741094" y="2214390"/>
                  <a:pt x="1741094" y="2205871"/>
                </a:cubicBezTo>
                <a:cubicBezTo>
                  <a:pt x="1741094" y="2197618"/>
                  <a:pt x="1743888" y="2190563"/>
                  <a:pt x="1749479" y="2184838"/>
                </a:cubicBezTo>
                <a:cubicBezTo>
                  <a:pt x="1755070" y="2178981"/>
                  <a:pt x="1762257" y="2176186"/>
                  <a:pt x="1771309" y="2176186"/>
                </a:cubicBezTo>
                <a:close/>
                <a:moveTo>
                  <a:pt x="1553668" y="2176186"/>
                </a:moveTo>
                <a:cubicBezTo>
                  <a:pt x="1557927" y="2176186"/>
                  <a:pt x="1561788" y="2176985"/>
                  <a:pt x="1565382" y="2178848"/>
                </a:cubicBezTo>
                <a:cubicBezTo>
                  <a:pt x="1568977" y="2180445"/>
                  <a:pt x="1572171" y="2182575"/>
                  <a:pt x="1574701" y="2185238"/>
                </a:cubicBezTo>
                <a:cubicBezTo>
                  <a:pt x="1577362" y="2187766"/>
                  <a:pt x="1579359" y="2190962"/>
                  <a:pt x="1580823" y="2194555"/>
                </a:cubicBezTo>
                <a:cubicBezTo>
                  <a:pt x="1582287" y="2198150"/>
                  <a:pt x="1583087" y="2201878"/>
                  <a:pt x="1583087" y="2206004"/>
                </a:cubicBezTo>
                <a:cubicBezTo>
                  <a:pt x="1583087" y="2210131"/>
                  <a:pt x="1582287" y="2214125"/>
                  <a:pt x="1580823" y="2217718"/>
                </a:cubicBezTo>
                <a:cubicBezTo>
                  <a:pt x="1579359" y="2221312"/>
                  <a:pt x="1577229" y="2224374"/>
                  <a:pt x="1574701" y="2227037"/>
                </a:cubicBezTo>
                <a:cubicBezTo>
                  <a:pt x="1572038" y="2229700"/>
                  <a:pt x="1568977" y="2231830"/>
                  <a:pt x="1565382" y="2233293"/>
                </a:cubicBezTo>
                <a:cubicBezTo>
                  <a:pt x="1561788" y="2234757"/>
                  <a:pt x="1557927" y="2235556"/>
                  <a:pt x="1553668" y="2235556"/>
                </a:cubicBezTo>
                <a:cubicBezTo>
                  <a:pt x="1544749" y="2235556"/>
                  <a:pt x="1537427" y="2232628"/>
                  <a:pt x="1531836" y="2227037"/>
                </a:cubicBezTo>
                <a:cubicBezTo>
                  <a:pt x="1526247" y="2221446"/>
                  <a:pt x="1523450" y="2214390"/>
                  <a:pt x="1523450" y="2205871"/>
                </a:cubicBezTo>
                <a:cubicBezTo>
                  <a:pt x="1523450" y="2197618"/>
                  <a:pt x="1526247" y="2190563"/>
                  <a:pt x="1531836" y="2184838"/>
                </a:cubicBezTo>
                <a:cubicBezTo>
                  <a:pt x="1537427" y="2178981"/>
                  <a:pt x="1544615" y="2176186"/>
                  <a:pt x="1553668" y="2176186"/>
                </a:cubicBezTo>
                <a:close/>
                <a:moveTo>
                  <a:pt x="1336023" y="2176186"/>
                </a:moveTo>
                <a:cubicBezTo>
                  <a:pt x="1340283" y="2176186"/>
                  <a:pt x="1344278" y="2176985"/>
                  <a:pt x="1347739" y="2178848"/>
                </a:cubicBezTo>
                <a:cubicBezTo>
                  <a:pt x="1351332" y="2180445"/>
                  <a:pt x="1354527" y="2182575"/>
                  <a:pt x="1357057" y="2185238"/>
                </a:cubicBezTo>
                <a:cubicBezTo>
                  <a:pt x="1359719" y="2187766"/>
                  <a:pt x="1361716" y="2190962"/>
                  <a:pt x="1363179" y="2194555"/>
                </a:cubicBezTo>
                <a:cubicBezTo>
                  <a:pt x="1364644" y="2198150"/>
                  <a:pt x="1365442" y="2201878"/>
                  <a:pt x="1365442" y="2206004"/>
                </a:cubicBezTo>
                <a:cubicBezTo>
                  <a:pt x="1365442" y="2210131"/>
                  <a:pt x="1364644" y="2214125"/>
                  <a:pt x="1363179" y="2217718"/>
                </a:cubicBezTo>
                <a:cubicBezTo>
                  <a:pt x="1361716" y="2221312"/>
                  <a:pt x="1359585" y="2224374"/>
                  <a:pt x="1357057" y="2227037"/>
                </a:cubicBezTo>
                <a:cubicBezTo>
                  <a:pt x="1354393" y="2229700"/>
                  <a:pt x="1351332" y="2231830"/>
                  <a:pt x="1347739" y="2233293"/>
                </a:cubicBezTo>
                <a:cubicBezTo>
                  <a:pt x="1344143" y="2234757"/>
                  <a:pt x="1340283" y="2235556"/>
                  <a:pt x="1336023" y="2235556"/>
                </a:cubicBezTo>
                <a:cubicBezTo>
                  <a:pt x="1327103" y="2235556"/>
                  <a:pt x="1319782" y="2232628"/>
                  <a:pt x="1314191" y="2227037"/>
                </a:cubicBezTo>
                <a:cubicBezTo>
                  <a:pt x="1308600" y="2221446"/>
                  <a:pt x="1305805" y="2214390"/>
                  <a:pt x="1305805" y="2205871"/>
                </a:cubicBezTo>
                <a:cubicBezTo>
                  <a:pt x="1305805" y="2197618"/>
                  <a:pt x="1308600" y="2190563"/>
                  <a:pt x="1314191" y="2184838"/>
                </a:cubicBezTo>
                <a:cubicBezTo>
                  <a:pt x="1319782" y="2178981"/>
                  <a:pt x="1326970" y="2176186"/>
                  <a:pt x="1336023" y="2176186"/>
                </a:cubicBezTo>
                <a:close/>
                <a:moveTo>
                  <a:pt x="1118378" y="2176186"/>
                </a:moveTo>
                <a:cubicBezTo>
                  <a:pt x="1122638" y="2176186"/>
                  <a:pt x="1126634" y="2176985"/>
                  <a:pt x="1130094" y="2178848"/>
                </a:cubicBezTo>
                <a:cubicBezTo>
                  <a:pt x="1133821" y="2180445"/>
                  <a:pt x="1136882" y="2182575"/>
                  <a:pt x="1139412" y="2185238"/>
                </a:cubicBezTo>
                <a:cubicBezTo>
                  <a:pt x="1142073" y="2187766"/>
                  <a:pt x="1144069" y="2190962"/>
                  <a:pt x="1145533" y="2194555"/>
                </a:cubicBezTo>
                <a:cubicBezTo>
                  <a:pt x="1146997" y="2198150"/>
                  <a:pt x="1147796" y="2201878"/>
                  <a:pt x="1147796" y="2206004"/>
                </a:cubicBezTo>
                <a:cubicBezTo>
                  <a:pt x="1147796" y="2210131"/>
                  <a:pt x="1146997" y="2214125"/>
                  <a:pt x="1145533" y="2217718"/>
                </a:cubicBezTo>
                <a:cubicBezTo>
                  <a:pt x="1144069" y="2221312"/>
                  <a:pt x="1141940" y="2224374"/>
                  <a:pt x="1139412" y="2227037"/>
                </a:cubicBezTo>
                <a:cubicBezTo>
                  <a:pt x="1136882" y="2229700"/>
                  <a:pt x="1133688" y="2231830"/>
                  <a:pt x="1130094" y="2233293"/>
                </a:cubicBezTo>
                <a:cubicBezTo>
                  <a:pt x="1126498" y="2234757"/>
                  <a:pt x="1122638" y="2235556"/>
                  <a:pt x="1118378" y="2235556"/>
                </a:cubicBezTo>
                <a:cubicBezTo>
                  <a:pt x="1109459" y="2235556"/>
                  <a:pt x="1102136" y="2232628"/>
                  <a:pt x="1096545" y="2227037"/>
                </a:cubicBezTo>
                <a:cubicBezTo>
                  <a:pt x="1090954" y="2221446"/>
                  <a:pt x="1088160" y="2214390"/>
                  <a:pt x="1088160" y="2205871"/>
                </a:cubicBezTo>
                <a:cubicBezTo>
                  <a:pt x="1088160" y="2197618"/>
                  <a:pt x="1090954" y="2190563"/>
                  <a:pt x="1096545" y="2184838"/>
                </a:cubicBezTo>
                <a:cubicBezTo>
                  <a:pt x="1102136" y="2178981"/>
                  <a:pt x="1109325" y="2176186"/>
                  <a:pt x="1118378" y="2176186"/>
                </a:cubicBezTo>
                <a:close/>
                <a:moveTo>
                  <a:pt x="900866" y="2176186"/>
                </a:moveTo>
                <a:cubicBezTo>
                  <a:pt x="904992" y="2176186"/>
                  <a:pt x="908987" y="2176985"/>
                  <a:pt x="912581" y="2178848"/>
                </a:cubicBezTo>
                <a:cubicBezTo>
                  <a:pt x="916308" y="2180445"/>
                  <a:pt x="919370" y="2182575"/>
                  <a:pt x="921899" y="2185238"/>
                </a:cubicBezTo>
                <a:cubicBezTo>
                  <a:pt x="924561" y="2187766"/>
                  <a:pt x="926558" y="2190962"/>
                  <a:pt x="928021" y="2194555"/>
                </a:cubicBezTo>
                <a:cubicBezTo>
                  <a:pt x="929486" y="2198150"/>
                  <a:pt x="930285" y="2201878"/>
                  <a:pt x="930285" y="2206004"/>
                </a:cubicBezTo>
                <a:cubicBezTo>
                  <a:pt x="930285" y="2210131"/>
                  <a:pt x="929486" y="2214125"/>
                  <a:pt x="928021" y="2217718"/>
                </a:cubicBezTo>
                <a:cubicBezTo>
                  <a:pt x="926558" y="2221312"/>
                  <a:pt x="924428" y="2224374"/>
                  <a:pt x="921899" y="2227037"/>
                </a:cubicBezTo>
                <a:cubicBezTo>
                  <a:pt x="919370" y="2229700"/>
                  <a:pt x="916175" y="2231830"/>
                  <a:pt x="912581" y="2233293"/>
                </a:cubicBezTo>
                <a:cubicBezTo>
                  <a:pt x="908987" y="2234757"/>
                  <a:pt x="905126" y="2235556"/>
                  <a:pt x="900866" y="2235556"/>
                </a:cubicBezTo>
                <a:cubicBezTo>
                  <a:pt x="891947" y="2235556"/>
                  <a:pt x="884625" y="2232628"/>
                  <a:pt x="879035" y="2227037"/>
                </a:cubicBezTo>
                <a:cubicBezTo>
                  <a:pt x="873445" y="2221446"/>
                  <a:pt x="870649" y="2214390"/>
                  <a:pt x="870649" y="2205871"/>
                </a:cubicBezTo>
                <a:cubicBezTo>
                  <a:pt x="870649" y="2197618"/>
                  <a:pt x="873445" y="2190563"/>
                  <a:pt x="879035" y="2184838"/>
                </a:cubicBezTo>
                <a:cubicBezTo>
                  <a:pt x="884625" y="2178981"/>
                  <a:pt x="891814" y="2176186"/>
                  <a:pt x="900866" y="2176186"/>
                </a:cubicBezTo>
                <a:close/>
                <a:moveTo>
                  <a:pt x="683223" y="2176186"/>
                </a:moveTo>
                <a:cubicBezTo>
                  <a:pt x="687483" y="2176186"/>
                  <a:pt x="691344" y="2176985"/>
                  <a:pt x="694938" y="2178848"/>
                </a:cubicBezTo>
                <a:cubicBezTo>
                  <a:pt x="698665" y="2180445"/>
                  <a:pt x="701727" y="2182575"/>
                  <a:pt x="704256" y="2185238"/>
                </a:cubicBezTo>
                <a:cubicBezTo>
                  <a:pt x="706917" y="2187766"/>
                  <a:pt x="708915" y="2190962"/>
                  <a:pt x="710378" y="2194555"/>
                </a:cubicBezTo>
                <a:cubicBezTo>
                  <a:pt x="711843" y="2198150"/>
                  <a:pt x="712642" y="2201878"/>
                  <a:pt x="712642" y="2206004"/>
                </a:cubicBezTo>
                <a:cubicBezTo>
                  <a:pt x="712642" y="2210131"/>
                  <a:pt x="711843" y="2214125"/>
                  <a:pt x="710378" y="2217718"/>
                </a:cubicBezTo>
                <a:cubicBezTo>
                  <a:pt x="708915" y="2221312"/>
                  <a:pt x="706785" y="2224374"/>
                  <a:pt x="704256" y="2227037"/>
                </a:cubicBezTo>
                <a:cubicBezTo>
                  <a:pt x="701727" y="2229700"/>
                  <a:pt x="698532" y="2231830"/>
                  <a:pt x="694938" y="2233293"/>
                </a:cubicBezTo>
                <a:cubicBezTo>
                  <a:pt x="691344" y="2234757"/>
                  <a:pt x="687483" y="2235556"/>
                  <a:pt x="683223" y="2235556"/>
                </a:cubicBezTo>
                <a:cubicBezTo>
                  <a:pt x="674304" y="2235556"/>
                  <a:pt x="666982" y="2232628"/>
                  <a:pt x="661391" y="2227037"/>
                </a:cubicBezTo>
                <a:cubicBezTo>
                  <a:pt x="655800" y="2221446"/>
                  <a:pt x="653005" y="2214390"/>
                  <a:pt x="653005" y="2205871"/>
                </a:cubicBezTo>
                <a:cubicBezTo>
                  <a:pt x="653005" y="2197618"/>
                  <a:pt x="655800" y="2190563"/>
                  <a:pt x="661391" y="2184838"/>
                </a:cubicBezTo>
                <a:cubicBezTo>
                  <a:pt x="666982" y="2178981"/>
                  <a:pt x="674171" y="2176186"/>
                  <a:pt x="683223" y="2176186"/>
                </a:cubicBezTo>
                <a:close/>
                <a:moveTo>
                  <a:pt x="465579" y="2176186"/>
                </a:moveTo>
                <a:cubicBezTo>
                  <a:pt x="469839" y="2176186"/>
                  <a:pt x="473700" y="2176985"/>
                  <a:pt x="477295" y="2178848"/>
                </a:cubicBezTo>
                <a:cubicBezTo>
                  <a:pt x="481022" y="2180445"/>
                  <a:pt x="484083" y="2182575"/>
                  <a:pt x="486612" y="2185238"/>
                </a:cubicBezTo>
                <a:cubicBezTo>
                  <a:pt x="489274" y="2187766"/>
                  <a:pt x="491271" y="2190962"/>
                  <a:pt x="492735" y="2194555"/>
                </a:cubicBezTo>
                <a:cubicBezTo>
                  <a:pt x="494199" y="2198150"/>
                  <a:pt x="494998" y="2201878"/>
                  <a:pt x="494998" y="2206004"/>
                </a:cubicBezTo>
                <a:cubicBezTo>
                  <a:pt x="494998" y="2210131"/>
                  <a:pt x="494199" y="2214125"/>
                  <a:pt x="492735" y="2217718"/>
                </a:cubicBezTo>
                <a:cubicBezTo>
                  <a:pt x="491271" y="2221312"/>
                  <a:pt x="489141" y="2224374"/>
                  <a:pt x="486612" y="2227037"/>
                </a:cubicBezTo>
                <a:cubicBezTo>
                  <a:pt x="483949" y="2229700"/>
                  <a:pt x="480889" y="2231830"/>
                  <a:pt x="477295" y="2233293"/>
                </a:cubicBezTo>
                <a:cubicBezTo>
                  <a:pt x="473700" y="2234757"/>
                  <a:pt x="469839" y="2235556"/>
                  <a:pt x="465579" y="2235556"/>
                </a:cubicBezTo>
                <a:cubicBezTo>
                  <a:pt x="456661" y="2235556"/>
                  <a:pt x="449339" y="2232628"/>
                  <a:pt x="443748" y="2227037"/>
                </a:cubicBezTo>
                <a:cubicBezTo>
                  <a:pt x="438157" y="2221446"/>
                  <a:pt x="435362" y="2214390"/>
                  <a:pt x="435362" y="2205871"/>
                </a:cubicBezTo>
                <a:cubicBezTo>
                  <a:pt x="435362" y="2197618"/>
                  <a:pt x="438157" y="2190563"/>
                  <a:pt x="443748" y="2184838"/>
                </a:cubicBezTo>
                <a:cubicBezTo>
                  <a:pt x="449339" y="2178981"/>
                  <a:pt x="456528" y="2176186"/>
                  <a:pt x="465579" y="2176186"/>
                </a:cubicBezTo>
                <a:close/>
                <a:moveTo>
                  <a:pt x="247936" y="2176186"/>
                </a:moveTo>
                <a:cubicBezTo>
                  <a:pt x="252196" y="2176186"/>
                  <a:pt x="256190" y="2176985"/>
                  <a:pt x="259651" y="2178848"/>
                </a:cubicBezTo>
                <a:cubicBezTo>
                  <a:pt x="263378" y="2180445"/>
                  <a:pt x="266440" y="2182575"/>
                  <a:pt x="268969" y="2185238"/>
                </a:cubicBezTo>
                <a:cubicBezTo>
                  <a:pt x="271631" y="2187766"/>
                  <a:pt x="273628" y="2190962"/>
                  <a:pt x="275092" y="2194555"/>
                </a:cubicBezTo>
                <a:cubicBezTo>
                  <a:pt x="276556" y="2198150"/>
                  <a:pt x="277355" y="2201878"/>
                  <a:pt x="277355" y="2206004"/>
                </a:cubicBezTo>
                <a:cubicBezTo>
                  <a:pt x="277355" y="2210131"/>
                  <a:pt x="276556" y="2214125"/>
                  <a:pt x="275092" y="2217718"/>
                </a:cubicBezTo>
                <a:cubicBezTo>
                  <a:pt x="273628" y="2221312"/>
                  <a:pt x="271498" y="2224374"/>
                  <a:pt x="268969" y="2227037"/>
                </a:cubicBezTo>
                <a:cubicBezTo>
                  <a:pt x="266306" y="2229700"/>
                  <a:pt x="263245" y="2231830"/>
                  <a:pt x="259651" y="2233293"/>
                </a:cubicBezTo>
                <a:cubicBezTo>
                  <a:pt x="256056" y="2234757"/>
                  <a:pt x="252196" y="2235556"/>
                  <a:pt x="247936" y="2235556"/>
                </a:cubicBezTo>
                <a:cubicBezTo>
                  <a:pt x="239018" y="2235556"/>
                  <a:pt x="231696" y="2232628"/>
                  <a:pt x="226105" y="2227037"/>
                </a:cubicBezTo>
                <a:cubicBezTo>
                  <a:pt x="220514" y="2221446"/>
                  <a:pt x="217719" y="2214390"/>
                  <a:pt x="217719" y="2205871"/>
                </a:cubicBezTo>
                <a:cubicBezTo>
                  <a:pt x="217719" y="2197618"/>
                  <a:pt x="220514" y="2190563"/>
                  <a:pt x="226105" y="2184838"/>
                </a:cubicBezTo>
                <a:cubicBezTo>
                  <a:pt x="231696" y="2178981"/>
                  <a:pt x="238884" y="2176186"/>
                  <a:pt x="247936" y="2176186"/>
                </a:cubicBezTo>
                <a:close/>
                <a:moveTo>
                  <a:pt x="30292" y="2176186"/>
                </a:moveTo>
                <a:cubicBezTo>
                  <a:pt x="34552" y="2176186"/>
                  <a:pt x="38546" y="2176985"/>
                  <a:pt x="42008" y="2178848"/>
                </a:cubicBezTo>
                <a:cubicBezTo>
                  <a:pt x="45735" y="2180445"/>
                  <a:pt x="48797" y="2182575"/>
                  <a:pt x="51326" y="2185238"/>
                </a:cubicBezTo>
                <a:cubicBezTo>
                  <a:pt x="53988" y="2187766"/>
                  <a:pt x="55985" y="2190962"/>
                  <a:pt x="57449" y="2194555"/>
                </a:cubicBezTo>
                <a:cubicBezTo>
                  <a:pt x="58913" y="2198150"/>
                  <a:pt x="59712" y="2201878"/>
                  <a:pt x="59712" y="2206004"/>
                </a:cubicBezTo>
                <a:cubicBezTo>
                  <a:pt x="59712" y="2210131"/>
                  <a:pt x="58913" y="2214125"/>
                  <a:pt x="57449" y="2217718"/>
                </a:cubicBezTo>
                <a:cubicBezTo>
                  <a:pt x="55985" y="2221312"/>
                  <a:pt x="53855" y="2224374"/>
                  <a:pt x="51326" y="2227037"/>
                </a:cubicBezTo>
                <a:cubicBezTo>
                  <a:pt x="48663" y="2229700"/>
                  <a:pt x="45602" y="2231830"/>
                  <a:pt x="42008" y="2233293"/>
                </a:cubicBezTo>
                <a:cubicBezTo>
                  <a:pt x="38413" y="2234757"/>
                  <a:pt x="34552" y="2235556"/>
                  <a:pt x="30292" y="2235556"/>
                </a:cubicBezTo>
                <a:cubicBezTo>
                  <a:pt x="21374" y="2235556"/>
                  <a:pt x="14053" y="2232628"/>
                  <a:pt x="8462" y="2227037"/>
                </a:cubicBezTo>
                <a:cubicBezTo>
                  <a:pt x="2871" y="2221446"/>
                  <a:pt x="76" y="2214390"/>
                  <a:pt x="76" y="2205871"/>
                </a:cubicBezTo>
                <a:cubicBezTo>
                  <a:pt x="76" y="2197618"/>
                  <a:pt x="2871" y="2190563"/>
                  <a:pt x="8462" y="2184838"/>
                </a:cubicBezTo>
                <a:cubicBezTo>
                  <a:pt x="14053" y="2178981"/>
                  <a:pt x="21240" y="2176186"/>
                  <a:pt x="30292" y="2176186"/>
                </a:cubicBezTo>
                <a:close/>
                <a:moveTo>
                  <a:pt x="10475977" y="1975188"/>
                </a:moveTo>
                <a:cubicBezTo>
                  <a:pt x="10470119" y="1975188"/>
                  <a:pt x="10467589" y="1977179"/>
                  <a:pt x="10465992" y="1978785"/>
                </a:cubicBezTo>
                <a:cubicBezTo>
                  <a:pt x="10463463" y="1981446"/>
                  <a:pt x="10462399" y="1984237"/>
                  <a:pt x="10462399" y="1988232"/>
                </a:cubicBezTo>
                <a:cubicBezTo>
                  <a:pt x="10462399" y="1992362"/>
                  <a:pt x="10463463" y="1995153"/>
                  <a:pt x="10465992" y="1997689"/>
                </a:cubicBezTo>
                <a:cubicBezTo>
                  <a:pt x="10467589" y="1999281"/>
                  <a:pt x="10470119" y="2001146"/>
                  <a:pt x="10475977" y="2001146"/>
                </a:cubicBezTo>
                <a:cubicBezTo>
                  <a:pt x="10478107" y="2001146"/>
                  <a:pt x="10479838" y="2000877"/>
                  <a:pt x="10481302" y="2000210"/>
                </a:cubicBezTo>
                <a:cubicBezTo>
                  <a:pt x="10482899" y="1999681"/>
                  <a:pt x="10484098" y="1998885"/>
                  <a:pt x="10485029" y="1997817"/>
                </a:cubicBezTo>
                <a:cubicBezTo>
                  <a:pt x="10486094" y="1996753"/>
                  <a:pt x="10487026" y="1995425"/>
                  <a:pt x="10487691" y="1993688"/>
                </a:cubicBezTo>
                <a:cubicBezTo>
                  <a:pt x="10488357" y="1992096"/>
                  <a:pt x="10488623" y="1990232"/>
                  <a:pt x="10488623" y="1988232"/>
                </a:cubicBezTo>
                <a:cubicBezTo>
                  <a:pt x="10488623" y="1986373"/>
                  <a:pt x="10488357" y="1984638"/>
                  <a:pt x="10487691" y="1983046"/>
                </a:cubicBezTo>
                <a:cubicBezTo>
                  <a:pt x="10487026" y="1981308"/>
                  <a:pt x="10486094" y="1979983"/>
                  <a:pt x="10485029" y="1978785"/>
                </a:cubicBezTo>
                <a:cubicBezTo>
                  <a:pt x="10483964" y="1977722"/>
                  <a:pt x="10482633" y="1976783"/>
                  <a:pt x="10481035" y="1976116"/>
                </a:cubicBezTo>
                <a:cubicBezTo>
                  <a:pt x="10479571" y="1975456"/>
                  <a:pt x="10477974" y="1975188"/>
                  <a:pt x="10475977" y="1975188"/>
                </a:cubicBezTo>
                <a:close/>
                <a:moveTo>
                  <a:pt x="10258466" y="1975188"/>
                </a:moveTo>
                <a:cubicBezTo>
                  <a:pt x="10252608" y="1975188"/>
                  <a:pt x="10250078" y="1977179"/>
                  <a:pt x="10248481" y="1978785"/>
                </a:cubicBezTo>
                <a:cubicBezTo>
                  <a:pt x="10245952" y="1981446"/>
                  <a:pt x="10244887" y="1984237"/>
                  <a:pt x="10244887" y="1988237"/>
                </a:cubicBezTo>
                <a:cubicBezTo>
                  <a:pt x="10244887" y="1992362"/>
                  <a:pt x="10245952" y="1995153"/>
                  <a:pt x="10248481" y="1997689"/>
                </a:cubicBezTo>
                <a:cubicBezTo>
                  <a:pt x="10250078" y="1999281"/>
                  <a:pt x="10252608" y="2001146"/>
                  <a:pt x="10258466" y="2001146"/>
                </a:cubicBezTo>
                <a:cubicBezTo>
                  <a:pt x="10260462" y="2001146"/>
                  <a:pt x="10262192" y="2000877"/>
                  <a:pt x="10263790" y="2000210"/>
                </a:cubicBezTo>
                <a:cubicBezTo>
                  <a:pt x="10265388" y="1999681"/>
                  <a:pt x="10266586" y="1998885"/>
                  <a:pt x="10267517" y="1997817"/>
                </a:cubicBezTo>
                <a:cubicBezTo>
                  <a:pt x="10268583" y="1996753"/>
                  <a:pt x="10269515" y="1995425"/>
                  <a:pt x="10270180" y="1993688"/>
                </a:cubicBezTo>
                <a:cubicBezTo>
                  <a:pt x="10270845" y="1992096"/>
                  <a:pt x="10271112" y="1990232"/>
                  <a:pt x="10271112" y="1988237"/>
                </a:cubicBezTo>
                <a:cubicBezTo>
                  <a:pt x="10271112" y="1986373"/>
                  <a:pt x="10270845" y="1984638"/>
                  <a:pt x="10270180" y="1983046"/>
                </a:cubicBezTo>
                <a:cubicBezTo>
                  <a:pt x="10269515" y="1981308"/>
                  <a:pt x="10268583" y="1979983"/>
                  <a:pt x="10267517" y="1978785"/>
                </a:cubicBezTo>
                <a:cubicBezTo>
                  <a:pt x="10266452" y="1977722"/>
                  <a:pt x="10265121" y="1976783"/>
                  <a:pt x="10263524" y="1976116"/>
                </a:cubicBezTo>
                <a:cubicBezTo>
                  <a:pt x="10262060" y="1975456"/>
                  <a:pt x="10260462" y="1975188"/>
                  <a:pt x="10258466" y="1975188"/>
                </a:cubicBezTo>
                <a:close/>
                <a:moveTo>
                  <a:pt x="10040820" y="1975188"/>
                </a:moveTo>
                <a:cubicBezTo>
                  <a:pt x="10034962" y="1975188"/>
                  <a:pt x="10032433" y="1977179"/>
                  <a:pt x="10030835" y="1978785"/>
                </a:cubicBezTo>
                <a:cubicBezTo>
                  <a:pt x="10028306" y="1981446"/>
                  <a:pt x="10027242" y="1984237"/>
                  <a:pt x="10027242" y="1988237"/>
                </a:cubicBezTo>
                <a:cubicBezTo>
                  <a:pt x="10027242" y="1992362"/>
                  <a:pt x="10028306" y="1995153"/>
                  <a:pt x="10030835" y="1997689"/>
                </a:cubicBezTo>
                <a:cubicBezTo>
                  <a:pt x="10032433" y="1999281"/>
                  <a:pt x="10034962" y="2001146"/>
                  <a:pt x="10040820" y="2001146"/>
                </a:cubicBezTo>
                <a:cubicBezTo>
                  <a:pt x="10042817" y="2001146"/>
                  <a:pt x="10044681" y="2000877"/>
                  <a:pt x="10046145" y="2000210"/>
                </a:cubicBezTo>
                <a:cubicBezTo>
                  <a:pt x="10047742" y="1999681"/>
                  <a:pt x="10048941" y="1998886"/>
                  <a:pt x="10049872" y="1997817"/>
                </a:cubicBezTo>
                <a:cubicBezTo>
                  <a:pt x="10050937" y="1996753"/>
                  <a:pt x="10051869" y="1995425"/>
                  <a:pt x="10052534" y="1993688"/>
                </a:cubicBezTo>
                <a:cubicBezTo>
                  <a:pt x="10053333" y="1992096"/>
                  <a:pt x="10053599" y="1990232"/>
                  <a:pt x="10053599" y="1988237"/>
                </a:cubicBezTo>
                <a:cubicBezTo>
                  <a:pt x="10053599" y="1986373"/>
                  <a:pt x="10053200" y="1984638"/>
                  <a:pt x="10052534" y="1983046"/>
                </a:cubicBezTo>
                <a:cubicBezTo>
                  <a:pt x="10051869" y="1981308"/>
                  <a:pt x="10050937" y="1979983"/>
                  <a:pt x="10049872" y="1978785"/>
                </a:cubicBezTo>
                <a:cubicBezTo>
                  <a:pt x="10048807" y="1977722"/>
                  <a:pt x="10047476" y="1976783"/>
                  <a:pt x="10045878" y="1976116"/>
                </a:cubicBezTo>
                <a:cubicBezTo>
                  <a:pt x="10044414" y="1975456"/>
                  <a:pt x="10042817" y="1975188"/>
                  <a:pt x="10040820" y="1975188"/>
                </a:cubicBezTo>
                <a:close/>
                <a:moveTo>
                  <a:pt x="9823176" y="1975188"/>
                </a:moveTo>
                <a:cubicBezTo>
                  <a:pt x="9817318" y="1975188"/>
                  <a:pt x="9814788" y="1977179"/>
                  <a:pt x="9813191" y="1978785"/>
                </a:cubicBezTo>
                <a:cubicBezTo>
                  <a:pt x="9810662" y="1981446"/>
                  <a:pt x="9809597" y="1984237"/>
                  <a:pt x="9809597" y="1988237"/>
                </a:cubicBezTo>
                <a:cubicBezTo>
                  <a:pt x="9809597" y="1992362"/>
                  <a:pt x="9810662" y="1995153"/>
                  <a:pt x="9813191" y="1997689"/>
                </a:cubicBezTo>
                <a:cubicBezTo>
                  <a:pt x="9814788" y="1999281"/>
                  <a:pt x="9817318" y="2001146"/>
                  <a:pt x="9823176" y="2001146"/>
                </a:cubicBezTo>
                <a:cubicBezTo>
                  <a:pt x="9825173" y="2001146"/>
                  <a:pt x="9827036" y="2000877"/>
                  <a:pt x="9828501" y="2000210"/>
                </a:cubicBezTo>
                <a:cubicBezTo>
                  <a:pt x="9830098" y="1999681"/>
                  <a:pt x="9831296" y="1998886"/>
                  <a:pt x="9832227" y="1997817"/>
                </a:cubicBezTo>
                <a:cubicBezTo>
                  <a:pt x="9833293" y="1996753"/>
                  <a:pt x="9834225" y="1995425"/>
                  <a:pt x="9834890" y="1993688"/>
                </a:cubicBezTo>
                <a:cubicBezTo>
                  <a:pt x="9835689" y="1992096"/>
                  <a:pt x="9835955" y="1990232"/>
                  <a:pt x="9835955" y="1988237"/>
                </a:cubicBezTo>
                <a:cubicBezTo>
                  <a:pt x="9835955" y="1986373"/>
                  <a:pt x="9835555" y="1984638"/>
                  <a:pt x="9834890" y="1983046"/>
                </a:cubicBezTo>
                <a:cubicBezTo>
                  <a:pt x="9834225" y="1981308"/>
                  <a:pt x="9833293" y="1979983"/>
                  <a:pt x="9832227" y="1978785"/>
                </a:cubicBezTo>
                <a:cubicBezTo>
                  <a:pt x="9831162" y="1977722"/>
                  <a:pt x="9829831" y="1976783"/>
                  <a:pt x="9828234" y="1976116"/>
                </a:cubicBezTo>
                <a:cubicBezTo>
                  <a:pt x="9826770" y="1975456"/>
                  <a:pt x="9825173" y="1975188"/>
                  <a:pt x="9823176" y="1975188"/>
                </a:cubicBezTo>
                <a:close/>
                <a:moveTo>
                  <a:pt x="9605531" y="1975188"/>
                </a:moveTo>
                <a:cubicBezTo>
                  <a:pt x="9599673" y="1975188"/>
                  <a:pt x="9597143" y="1977179"/>
                  <a:pt x="9595546" y="1978785"/>
                </a:cubicBezTo>
                <a:cubicBezTo>
                  <a:pt x="9593017" y="1981446"/>
                  <a:pt x="9591952" y="1984237"/>
                  <a:pt x="9591952" y="1988237"/>
                </a:cubicBezTo>
                <a:cubicBezTo>
                  <a:pt x="9591952" y="1992362"/>
                  <a:pt x="9593017" y="1995153"/>
                  <a:pt x="9595546" y="1997689"/>
                </a:cubicBezTo>
                <a:cubicBezTo>
                  <a:pt x="9597143" y="1999281"/>
                  <a:pt x="9599673" y="2001146"/>
                  <a:pt x="9605531" y="2001146"/>
                </a:cubicBezTo>
                <a:cubicBezTo>
                  <a:pt x="9607660" y="2001146"/>
                  <a:pt x="9609391" y="2000877"/>
                  <a:pt x="9610855" y="2000210"/>
                </a:cubicBezTo>
                <a:cubicBezTo>
                  <a:pt x="9612319" y="1999681"/>
                  <a:pt x="9613651" y="1998886"/>
                  <a:pt x="9614582" y="1997817"/>
                </a:cubicBezTo>
                <a:cubicBezTo>
                  <a:pt x="9615647" y="1996753"/>
                  <a:pt x="9616579" y="1995425"/>
                  <a:pt x="9617245" y="1993688"/>
                </a:cubicBezTo>
                <a:cubicBezTo>
                  <a:pt x="9618044" y="1992096"/>
                  <a:pt x="9618309" y="1990232"/>
                  <a:pt x="9618309" y="1988237"/>
                </a:cubicBezTo>
                <a:cubicBezTo>
                  <a:pt x="9618309" y="1986373"/>
                  <a:pt x="9617910" y="1984638"/>
                  <a:pt x="9617245" y="1983046"/>
                </a:cubicBezTo>
                <a:cubicBezTo>
                  <a:pt x="9616579" y="1981310"/>
                  <a:pt x="9615647" y="1979983"/>
                  <a:pt x="9614582" y="1978785"/>
                </a:cubicBezTo>
                <a:cubicBezTo>
                  <a:pt x="9613517" y="1977722"/>
                  <a:pt x="9612186" y="1976783"/>
                  <a:pt x="9610589" y="1976116"/>
                </a:cubicBezTo>
                <a:cubicBezTo>
                  <a:pt x="9609124" y="1975456"/>
                  <a:pt x="9607394" y="1975188"/>
                  <a:pt x="9605531" y="1975188"/>
                </a:cubicBezTo>
                <a:close/>
                <a:moveTo>
                  <a:pt x="9387885" y="1975188"/>
                </a:moveTo>
                <a:cubicBezTo>
                  <a:pt x="9382027" y="1975188"/>
                  <a:pt x="9379497" y="1977179"/>
                  <a:pt x="9377900" y="1978785"/>
                </a:cubicBezTo>
                <a:cubicBezTo>
                  <a:pt x="9375371" y="1981446"/>
                  <a:pt x="9374307" y="1984237"/>
                  <a:pt x="9374307" y="1988237"/>
                </a:cubicBezTo>
                <a:cubicBezTo>
                  <a:pt x="9374307" y="1992362"/>
                  <a:pt x="9375371" y="1995153"/>
                  <a:pt x="9377900" y="1997689"/>
                </a:cubicBezTo>
                <a:cubicBezTo>
                  <a:pt x="9379497" y="1999281"/>
                  <a:pt x="9382027" y="2001146"/>
                  <a:pt x="9387885" y="2001146"/>
                </a:cubicBezTo>
                <a:cubicBezTo>
                  <a:pt x="9390015" y="2001146"/>
                  <a:pt x="9391746" y="2000877"/>
                  <a:pt x="9393210" y="2000210"/>
                </a:cubicBezTo>
                <a:cubicBezTo>
                  <a:pt x="9394674" y="1999681"/>
                  <a:pt x="9396005" y="1998886"/>
                  <a:pt x="9396937" y="1997817"/>
                </a:cubicBezTo>
                <a:cubicBezTo>
                  <a:pt x="9398002" y="1996753"/>
                  <a:pt x="9398934" y="1995425"/>
                  <a:pt x="9399599" y="1993688"/>
                </a:cubicBezTo>
                <a:cubicBezTo>
                  <a:pt x="9400398" y="1992096"/>
                  <a:pt x="9400664" y="1990232"/>
                  <a:pt x="9400664" y="1988237"/>
                </a:cubicBezTo>
                <a:cubicBezTo>
                  <a:pt x="9400664" y="1986373"/>
                  <a:pt x="9400265" y="1984638"/>
                  <a:pt x="9399599" y="1983046"/>
                </a:cubicBezTo>
                <a:cubicBezTo>
                  <a:pt x="9398934" y="1981310"/>
                  <a:pt x="9398002" y="1979983"/>
                  <a:pt x="9396937" y="1978785"/>
                </a:cubicBezTo>
                <a:cubicBezTo>
                  <a:pt x="9395872" y="1977722"/>
                  <a:pt x="9394541" y="1976783"/>
                  <a:pt x="9392943" y="1976116"/>
                </a:cubicBezTo>
                <a:cubicBezTo>
                  <a:pt x="9391479" y="1975456"/>
                  <a:pt x="9389749" y="1975188"/>
                  <a:pt x="9387885" y="1975188"/>
                </a:cubicBezTo>
                <a:close/>
                <a:moveTo>
                  <a:pt x="9170374" y="1975188"/>
                </a:moveTo>
                <a:cubicBezTo>
                  <a:pt x="9164649" y="1975188"/>
                  <a:pt x="9161986" y="1977179"/>
                  <a:pt x="9160389" y="1978785"/>
                </a:cubicBezTo>
                <a:cubicBezTo>
                  <a:pt x="9157860" y="1981446"/>
                  <a:pt x="9156795" y="1984237"/>
                  <a:pt x="9156795" y="1988237"/>
                </a:cubicBezTo>
                <a:cubicBezTo>
                  <a:pt x="9156795" y="1992362"/>
                  <a:pt x="9157860" y="1995153"/>
                  <a:pt x="9160389" y="1997689"/>
                </a:cubicBezTo>
                <a:cubicBezTo>
                  <a:pt x="9161986" y="1999281"/>
                  <a:pt x="9164516" y="2001146"/>
                  <a:pt x="9170374" y="2001146"/>
                </a:cubicBezTo>
                <a:cubicBezTo>
                  <a:pt x="9172370" y="2001146"/>
                  <a:pt x="9174100" y="2000877"/>
                  <a:pt x="9175698" y="2000210"/>
                </a:cubicBezTo>
                <a:cubicBezTo>
                  <a:pt x="9177163" y="1999681"/>
                  <a:pt x="9178494" y="1998886"/>
                  <a:pt x="9179425" y="1997817"/>
                </a:cubicBezTo>
                <a:cubicBezTo>
                  <a:pt x="9180491" y="1996753"/>
                  <a:pt x="9181422" y="1995425"/>
                  <a:pt x="9182088" y="1993688"/>
                </a:cubicBezTo>
                <a:cubicBezTo>
                  <a:pt x="9182887" y="1992096"/>
                  <a:pt x="9183152" y="1990232"/>
                  <a:pt x="9183152" y="1988237"/>
                </a:cubicBezTo>
                <a:cubicBezTo>
                  <a:pt x="9183152" y="1986373"/>
                  <a:pt x="9182753" y="1984638"/>
                  <a:pt x="9182088" y="1983046"/>
                </a:cubicBezTo>
                <a:cubicBezTo>
                  <a:pt x="9181422" y="1981310"/>
                  <a:pt x="9180491" y="1979983"/>
                  <a:pt x="9179425" y="1978785"/>
                </a:cubicBezTo>
                <a:cubicBezTo>
                  <a:pt x="9178360" y="1977722"/>
                  <a:pt x="9177029" y="1976783"/>
                  <a:pt x="9175432" y="1976116"/>
                </a:cubicBezTo>
                <a:cubicBezTo>
                  <a:pt x="9173967" y="1975456"/>
                  <a:pt x="9172237" y="1975188"/>
                  <a:pt x="9170374" y="1975188"/>
                </a:cubicBezTo>
                <a:close/>
                <a:moveTo>
                  <a:pt x="8952728" y="1975188"/>
                </a:moveTo>
                <a:cubicBezTo>
                  <a:pt x="8947003" y="1975188"/>
                  <a:pt x="8944340" y="1977179"/>
                  <a:pt x="8942743" y="1978785"/>
                </a:cubicBezTo>
                <a:cubicBezTo>
                  <a:pt x="8940214" y="1981446"/>
                  <a:pt x="8939150" y="1984237"/>
                  <a:pt x="8939150" y="1988237"/>
                </a:cubicBezTo>
                <a:cubicBezTo>
                  <a:pt x="8939150" y="1992362"/>
                  <a:pt x="8940214" y="1995153"/>
                  <a:pt x="8942743" y="1997689"/>
                </a:cubicBezTo>
                <a:cubicBezTo>
                  <a:pt x="8944340" y="1999281"/>
                  <a:pt x="8946870" y="2001146"/>
                  <a:pt x="8952728" y="2001146"/>
                </a:cubicBezTo>
                <a:cubicBezTo>
                  <a:pt x="8954725" y="2001146"/>
                  <a:pt x="8956589" y="2000877"/>
                  <a:pt x="8958053" y="2000210"/>
                </a:cubicBezTo>
                <a:cubicBezTo>
                  <a:pt x="8959517" y="1999681"/>
                  <a:pt x="8960849" y="1998886"/>
                  <a:pt x="8961780" y="1997817"/>
                </a:cubicBezTo>
                <a:cubicBezTo>
                  <a:pt x="8962845" y="1996753"/>
                  <a:pt x="8963777" y="1995425"/>
                  <a:pt x="8964442" y="1993688"/>
                </a:cubicBezTo>
                <a:cubicBezTo>
                  <a:pt x="8965241" y="1992096"/>
                  <a:pt x="8965507" y="1990232"/>
                  <a:pt x="8965507" y="1988237"/>
                </a:cubicBezTo>
                <a:cubicBezTo>
                  <a:pt x="8965507" y="1986373"/>
                  <a:pt x="8965108" y="1984638"/>
                  <a:pt x="8964442" y="1983046"/>
                </a:cubicBezTo>
                <a:cubicBezTo>
                  <a:pt x="8963777" y="1981310"/>
                  <a:pt x="8962845" y="1979983"/>
                  <a:pt x="8961780" y="1978785"/>
                </a:cubicBezTo>
                <a:cubicBezTo>
                  <a:pt x="8960715" y="1977722"/>
                  <a:pt x="8959384" y="1976783"/>
                  <a:pt x="8957786" y="1976116"/>
                </a:cubicBezTo>
                <a:cubicBezTo>
                  <a:pt x="8956322" y="1975456"/>
                  <a:pt x="8954592" y="1975188"/>
                  <a:pt x="8952728" y="1975188"/>
                </a:cubicBezTo>
                <a:close/>
                <a:moveTo>
                  <a:pt x="8735083" y="1975188"/>
                </a:moveTo>
                <a:cubicBezTo>
                  <a:pt x="8729358" y="1975188"/>
                  <a:pt x="8726695" y="1977179"/>
                  <a:pt x="8725098" y="1978785"/>
                </a:cubicBezTo>
                <a:cubicBezTo>
                  <a:pt x="8722569" y="1981446"/>
                  <a:pt x="8721504" y="1984237"/>
                  <a:pt x="8721504" y="1988237"/>
                </a:cubicBezTo>
                <a:cubicBezTo>
                  <a:pt x="8721504" y="1992362"/>
                  <a:pt x="8722569" y="1995153"/>
                  <a:pt x="8725098" y="1997689"/>
                </a:cubicBezTo>
                <a:cubicBezTo>
                  <a:pt x="8726695" y="1999281"/>
                  <a:pt x="8729225" y="2001146"/>
                  <a:pt x="8735083" y="2001146"/>
                </a:cubicBezTo>
                <a:cubicBezTo>
                  <a:pt x="8737079" y="2001146"/>
                  <a:pt x="8738943" y="2000877"/>
                  <a:pt x="8740407" y="2000210"/>
                </a:cubicBezTo>
                <a:cubicBezTo>
                  <a:pt x="8741872" y="1999681"/>
                  <a:pt x="8743203" y="1998886"/>
                  <a:pt x="8744134" y="1997817"/>
                </a:cubicBezTo>
                <a:cubicBezTo>
                  <a:pt x="8745200" y="1996753"/>
                  <a:pt x="8746132" y="1995425"/>
                  <a:pt x="8746797" y="1993688"/>
                </a:cubicBezTo>
                <a:cubicBezTo>
                  <a:pt x="8747596" y="1992096"/>
                  <a:pt x="8747862" y="1990232"/>
                  <a:pt x="8747862" y="1988237"/>
                </a:cubicBezTo>
                <a:cubicBezTo>
                  <a:pt x="8747862" y="1986373"/>
                  <a:pt x="8747462" y="1984638"/>
                  <a:pt x="8746797" y="1983046"/>
                </a:cubicBezTo>
                <a:cubicBezTo>
                  <a:pt x="8746132" y="1981310"/>
                  <a:pt x="8745200" y="1979983"/>
                  <a:pt x="8744134" y="1978785"/>
                </a:cubicBezTo>
                <a:cubicBezTo>
                  <a:pt x="8743069" y="1977722"/>
                  <a:pt x="8741738" y="1976783"/>
                  <a:pt x="8740141" y="1976116"/>
                </a:cubicBezTo>
                <a:cubicBezTo>
                  <a:pt x="8738677" y="1975456"/>
                  <a:pt x="8736946" y="1975188"/>
                  <a:pt x="8735083" y="1975188"/>
                </a:cubicBezTo>
                <a:close/>
                <a:moveTo>
                  <a:pt x="8517438" y="1975188"/>
                </a:moveTo>
                <a:cubicBezTo>
                  <a:pt x="8511713" y="1975188"/>
                  <a:pt x="8509051" y="1977179"/>
                  <a:pt x="8507453" y="1978785"/>
                </a:cubicBezTo>
                <a:cubicBezTo>
                  <a:pt x="8504925" y="1981446"/>
                  <a:pt x="8503860" y="1984237"/>
                  <a:pt x="8503860" y="1988237"/>
                </a:cubicBezTo>
                <a:cubicBezTo>
                  <a:pt x="8503860" y="1992362"/>
                  <a:pt x="8504925" y="1995153"/>
                  <a:pt x="8507453" y="1997689"/>
                </a:cubicBezTo>
                <a:cubicBezTo>
                  <a:pt x="8509051" y="1999281"/>
                  <a:pt x="8511581" y="2001146"/>
                  <a:pt x="8517438" y="2001146"/>
                </a:cubicBezTo>
                <a:cubicBezTo>
                  <a:pt x="8519568" y="2001146"/>
                  <a:pt x="8521299" y="2000877"/>
                  <a:pt x="8522763" y="2000210"/>
                </a:cubicBezTo>
                <a:cubicBezTo>
                  <a:pt x="8524227" y="1999681"/>
                  <a:pt x="8525559" y="1998886"/>
                  <a:pt x="8526490" y="1997817"/>
                </a:cubicBezTo>
                <a:cubicBezTo>
                  <a:pt x="8527555" y="1996753"/>
                  <a:pt x="8528487" y="1995425"/>
                  <a:pt x="8529152" y="1993688"/>
                </a:cubicBezTo>
                <a:cubicBezTo>
                  <a:pt x="8529818" y="1992096"/>
                  <a:pt x="8530084" y="1990232"/>
                  <a:pt x="8530084" y="1988237"/>
                </a:cubicBezTo>
                <a:cubicBezTo>
                  <a:pt x="8530084" y="1986373"/>
                  <a:pt x="8529818" y="1984638"/>
                  <a:pt x="8529152" y="1983046"/>
                </a:cubicBezTo>
                <a:cubicBezTo>
                  <a:pt x="8528487" y="1981310"/>
                  <a:pt x="8527555" y="1979983"/>
                  <a:pt x="8526490" y="1978785"/>
                </a:cubicBezTo>
                <a:cubicBezTo>
                  <a:pt x="8525425" y="1977722"/>
                  <a:pt x="8524094" y="1976783"/>
                  <a:pt x="8522496" y="1976116"/>
                </a:cubicBezTo>
                <a:cubicBezTo>
                  <a:pt x="8521032" y="1975456"/>
                  <a:pt x="8519302" y="1975188"/>
                  <a:pt x="8517438" y="1975188"/>
                </a:cubicBezTo>
                <a:close/>
                <a:moveTo>
                  <a:pt x="8299793" y="1975188"/>
                </a:moveTo>
                <a:cubicBezTo>
                  <a:pt x="8294068" y="1975188"/>
                  <a:pt x="8291406" y="1977179"/>
                  <a:pt x="8289809" y="1978785"/>
                </a:cubicBezTo>
                <a:cubicBezTo>
                  <a:pt x="8287280" y="1981446"/>
                  <a:pt x="8286215" y="1984237"/>
                  <a:pt x="8286215" y="1988237"/>
                </a:cubicBezTo>
                <a:cubicBezTo>
                  <a:pt x="8286215" y="1992362"/>
                  <a:pt x="8287280" y="1995153"/>
                  <a:pt x="8289809" y="1997689"/>
                </a:cubicBezTo>
                <a:cubicBezTo>
                  <a:pt x="8291406" y="1999281"/>
                  <a:pt x="8293935" y="2001146"/>
                  <a:pt x="8299793" y="2001146"/>
                </a:cubicBezTo>
                <a:cubicBezTo>
                  <a:pt x="8301923" y="2001146"/>
                  <a:pt x="8303653" y="2000877"/>
                  <a:pt x="8305118" y="2000210"/>
                </a:cubicBezTo>
                <a:cubicBezTo>
                  <a:pt x="8306582" y="1999681"/>
                  <a:pt x="8307913" y="1998886"/>
                  <a:pt x="8308844" y="1997817"/>
                </a:cubicBezTo>
                <a:cubicBezTo>
                  <a:pt x="8309910" y="1996753"/>
                  <a:pt x="8310842" y="1995425"/>
                  <a:pt x="8311507" y="1993688"/>
                </a:cubicBezTo>
                <a:cubicBezTo>
                  <a:pt x="8312172" y="1992096"/>
                  <a:pt x="8312439" y="1990232"/>
                  <a:pt x="8312439" y="1988237"/>
                </a:cubicBezTo>
                <a:cubicBezTo>
                  <a:pt x="8312439" y="1986373"/>
                  <a:pt x="8312172" y="1984638"/>
                  <a:pt x="8311507" y="1983046"/>
                </a:cubicBezTo>
                <a:cubicBezTo>
                  <a:pt x="8310842" y="1981310"/>
                  <a:pt x="8309910" y="1979983"/>
                  <a:pt x="8308844" y="1978785"/>
                </a:cubicBezTo>
                <a:cubicBezTo>
                  <a:pt x="8307779" y="1977722"/>
                  <a:pt x="8306448" y="1976783"/>
                  <a:pt x="8304851" y="1976116"/>
                </a:cubicBezTo>
                <a:cubicBezTo>
                  <a:pt x="8303387" y="1975456"/>
                  <a:pt x="8301790" y="1975188"/>
                  <a:pt x="8299793" y="1975188"/>
                </a:cubicBezTo>
                <a:close/>
                <a:moveTo>
                  <a:pt x="8082281" y="1975188"/>
                </a:moveTo>
                <a:cubicBezTo>
                  <a:pt x="8076424" y="1975188"/>
                  <a:pt x="8073894" y="1977179"/>
                  <a:pt x="8072297" y="1978785"/>
                </a:cubicBezTo>
                <a:cubicBezTo>
                  <a:pt x="8069768" y="1981446"/>
                  <a:pt x="8068703" y="1984237"/>
                  <a:pt x="8068703" y="1988237"/>
                </a:cubicBezTo>
                <a:cubicBezTo>
                  <a:pt x="8068703" y="1992362"/>
                  <a:pt x="8069768" y="1995153"/>
                  <a:pt x="8072297" y="1997689"/>
                </a:cubicBezTo>
                <a:cubicBezTo>
                  <a:pt x="8073894" y="1999281"/>
                  <a:pt x="8076424" y="2001146"/>
                  <a:pt x="8082281" y="2001146"/>
                </a:cubicBezTo>
                <a:cubicBezTo>
                  <a:pt x="8084277" y="2001146"/>
                  <a:pt x="8086007" y="2000877"/>
                  <a:pt x="8087605" y="2000210"/>
                </a:cubicBezTo>
                <a:cubicBezTo>
                  <a:pt x="8089069" y="1999681"/>
                  <a:pt x="8090401" y="1998886"/>
                  <a:pt x="8091332" y="1997817"/>
                </a:cubicBezTo>
                <a:cubicBezTo>
                  <a:pt x="8092397" y="1996753"/>
                  <a:pt x="8093329" y="1995425"/>
                  <a:pt x="8093994" y="1993688"/>
                </a:cubicBezTo>
                <a:cubicBezTo>
                  <a:pt x="8094660" y="1992096"/>
                  <a:pt x="8094926" y="1990232"/>
                  <a:pt x="8094926" y="1988237"/>
                </a:cubicBezTo>
                <a:cubicBezTo>
                  <a:pt x="8094926" y="1986373"/>
                  <a:pt x="8094660" y="1984638"/>
                  <a:pt x="8093994" y="1983046"/>
                </a:cubicBezTo>
                <a:cubicBezTo>
                  <a:pt x="8093329" y="1981310"/>
                  <a:pt x="8092397" y="1979983"/>
                  <a:pt x="8091332" y="1978785"/>
                </a:cubicBezTo>
                <a:cubicBezTo>
                  <a:pt x="8090267" y="1977722"/>
                  <a:pt x="8088936" y="1976783"/>
                  <a:pt x="8087338" y="1976116"/>
                </a:cubicBezTo>
                <a:cubicBezTo>
                  <a:pt x="8085874" y="1975456"/>
                  <a:pt x="8084277" y="1975188"/>
                  <a:pt x="8082281" y="1975188"/>
                </a:cubicBezTo>
                <a:close/>
                <a:moveTo>
                  <a:pt x="7864636" y="1975188"/>
                </a:moveTo>
                <a:cubicBezTo>
                  <a:pt x="7858779" y="1975188"/>
                  <a:pt x="7856249" y="1977179"/>
                  <a:pt x="7854652" y="1978785"/>
                </a:cubicBezTo>
                <a:cubicBezTo>
                  <a:pt x="7852123" y="1981446"/>
                  <a:pt x="7851058" y="1984237"/>
                  <a:pt x="7851058" y="1988237"/>
                </a:cubicBezTo>
                <a:cubicBezTo>
                  <a:pt x="7851058" y="1992362"/>
                  <a:pt x="7852123" y="1995153"/>
                  <a:pt x="7854652" y="1997689"/>
                </a:cubicBezTo>
                <a:cubicBezTo>
                  <a:pt x="7856249" y="1999281"/>
                  <a:pt x="7858779" y="2001146"/>
                  <a:pt x="7864636" y="2001146"/>
                </a:cubicBezTo>
                <a:cubicBezTo>
                  <a:pt x="7866633" y="2001146"/>
                  <a:pt x="7868363" y="2000877"/>
                  <a:pt x="7869961" y="2000210"/>
                </a:cubicBezTo>
                <a:cubicBezTo>
                  <a:pt x="7871425" y="1999681"/>
                  <a:pt x="7872756" y="1998886"/>
                  <a:pt x="7873687" y="1997817"/>
                </a:cubicBezTo>
                <a:cubicBezTo>
                  <a:pt x="7874753" y="1996753"/>
                  <a:pt x="7875685" y="1995425"/>
                  <a:pt x="7876350" y="1993688"/>
                </a:cubicBezTo>
                <a:cubicBezTo>
                  <a:pt x="7877015" y="1992096"/>
                  <a:pt x="7877282" y="1990232"/>
                  <a:pt x="7877282" y="1988237"/>
                </a:cubicBezTo>
                <a:cubicBezTo>
                  <a:pt x="7877282" y="1986373"/>
                  <a:pt x="7877015" y="1984638"/>
                  <a:pt x="7876350" y="1983046"/>
                </a:cubicBezTo>
                <a:cubicBezTo>
                  <a:pt x="7875685" y="1981310"/>
                  <a:pt x="7874753" y="1979983"/>
                  <a:pt x="7873687" y="1978785"/>
                </a:cubicBezTo>
                <a:cubicBezTo>
                  <a:pt x="7872623" y="1977722"/>
                  <a:pt x="7871291" y="1976783"/>
                  <a:pt x="7869694" y="1976116"/>
                </a:cubicBezTo>
                <a:cubicBezTo>
                  <a:pt x="7868230" y="1975456"/>
                  <a:pt x="7866633" y="1975188"/>
                  <a:pt x="7864636" y="1975188"/>
                </a:cubicBezTo>
                <a:close/>
                <a:moveTo>
                  <a:pt x="7646991" y="1975188"/>
                </a:moveTo>
                <a:cubicBezTo>
                  <a:pt x="7641134" y="1975188"/>
                  <a:pt x="7638604" y="1977179"/>
                  <a:pt x="7637007" y="1978785"/>
                </a:cubicBezTo>
                <a:cubicBezTo>
                  <a:pt x="7634478" y="1981446"/>
                  <a:pt x="7633413" y="1984237"/>
                  <a:pt x="7633413" y="1988237"/>
                </a:cubicBezTo>
                <a:cubicBezTo>
                  <a:pt x="7633413" y="1992362"/>
                  <a:pt x="7634478" y="1995153"/>
                  <a:pt x="7637007" y="1997689"/>
                </a:cubicBezTo>
                <a:cubicBezTo>
                  <a:pt x="7638604" y="1999281"/>
                  <a:pt x="7641134" y="2001146"/>
                  <a:pt x="7646991" y="2001146"/>
                </a:cubicBezTo>
                <a:cubicBezTo>
                  <a:pt x="7648987" y="2001146"/>
                  <a:pt x="7650851" y="2000877"/>
                  <a:pt x="7652315" y="2000210"/>
                </a:cubicBezTo>
                <a:cubicBezTo>
                  <a:pt x="7653780" y="1999681"/>
                  <a:pt x="7655111" y="1998886"/>
                  <a:pt x="7656042" y="1997817"/>
                </a:cubicBezTo>
                <a:cubicBezTo>
                  <a:pt x="7657108" y="1996753"/>
                  <a:pt x="7658039" y="1995425"/>
                  <a:pt x="7658705" y="1993688"/>
                </a:cubicBezTo>
                <a:cubicBezTo>
                  <a:pt x="7659504" y="1992096"/>
                  <a:pt x="7659769" y="1990232"/>
                  <a:pt x="7659769" y="1988237"/>
                </a:cubicBezTo>
                <a:cubicBezTo>
                  <a:pt x="7659769" y="1986373"/>
                  <a:pt x="7659370" y="1984638"/>
                  <a:pt x="7658705" y="1983046"/>
                </a:cubicBezTo>
                <a:cubicBezTo>
                  <a:pt x="7658039" y="1981310"/>
                  <a:pt x="7657108" y="1979983"/>
                  <a:pt x="7656042" y="1978785"/>
                </a:cubicBezTo>
                <a:cubicBezTo>
                  <a:pt x="7654977" y="1977722"/>
                  <a:pt x="7653646" y="1976783"/>
                  <a:pt x="7652049" y="1976116"/>
                </a:cubicBezTo>
                <a:cubicBezTo>
                  <a:pt x="7650584" y="1975456"/>
                  <a:pt x="7648987" y="1975188"/>
                  <a:pt x="7646991" y="1975188"/>
                </a:cubicBezTo>
                <a:close/>
                <a:moveTo>
                  <a:pt x="7429345" y="1975188"/>
                </a:moveTo>
                <a:cubicBezTo>
                  <a:pt x="7423488" y="1975188"/>
                  <a:pt x="7420958" y="1977179"/>
                  <a:pt x="7419361" y="1978785"/>
                </a:cubicBezTo>
                <a:cubicBezTo>
                  <a:pt x="7416832" y="1981446"/>
                  <a:pt x="7415768" y="1984237"/>
                  <a:pt x="7415768" y="1988237"/>
                </a:cubicBezTo>
                <a:cubicBezTo>
                  <a:pt x="7415768" y="1992362"/>
                  <a:pt x="7416832" y="1995153"/>
                  <a:pt x="7419361" y="1997689"/>
                </a:cubicBezTo>
                <a:cubicBezTo>
                  <a:pt x="7420958" y="1999281"/>
                  <a:pt x="7423488" y="2001146"/>
                  <a:pt x="7429345" y="2001146"/>
                </a:cubicBezTo>
                <a:cubicBezTo>
                  <a:pt x="7431342" y="2001146"/>
                  <a:pt x="7433206" y="2000877"/>
                  <a:pt x="7434670" y="2000210"/>
                </a:cubicBezTo>
                <a:cubicBezTo>
                  <a:pt x="7436134" y="1999681"/>
                  <a:pt x="7437466" y="1998886"/>
                  <a:pt x="7438397" y="1997817"/>
                </a:cubicBezTo>
                <a:cubicBezTo>
                  <a:pt x="7439462" y="1996753"/>
                  <a:pt x="7440394" y="1995425"/>
                  <a:pt x="7441059" y="1993688"/>
                </a:cubicBezTo>
                <a:cubicBezTo>
                  <a:pt x="7441858" y="1992096"/>
                  <a:pt x="7442124" y="1990232"/>
                  <a:pt x="7442124" y="1988237"/>
                </a:cubicBezTo>
                <a:cubicBezTo>
                  <a:pt x="7442124" y="1986373"/>
                  <a:pt x="7441725" y="1984638"/>
                  <a:pt x="7441059" y="1983046"/>
                </a:cubicBezTo>
                <a:cubicBezTo>
                  <a:pt x="7440394" y="1981310"/>
                  <a:pt x="7439462" y="1979983"/>
                  <a:pt x="7438397" y="1978785"/>
                </a:cubicBezTo>
                <a:cubicBezTo>
                  <a:pt x="7437332" y="1977722"/>
                  <a:pt x="7436001" y="1976783"/>
                  <a:pt x="7434403" y="1976116"/>
                </a:cubicBezTo>
                <a:cubicBezTo>
                  <a:pt x="7432939" y="1975456"/>
                  <a:pt x="7431342" y="1975188"/>
                  <a:pt x="7429345" y="1975188"/>
                </a:cubicBezTo>
                <a:close/>
                <a:moveTo>
                  <a:pt x="7211701" y="1975188"/>
                </a:moveTo>
                <a:cubicBezTo>
                  <a:pt x="7205844" y="1975188"/>
                  <a:pt x="7203314" y="1977179"/>
                  <a:pt x="7201717" y="1978785"/>
                </a:cubicBezTo>
                <a:cubicBezTo>
                  <a:pt x="7199188" y="1981446"/>
                  <a:pt x="7198123" y="1984237"/>
                  <a:pt x="7198123" y="1988237"/>
                </a:cubicBezTo>
                <a:cubicBezTo>
                  <a:pt x="7198123" y="1992362"/>
                  <a:pt x="7199188" y="1995153"/>
                  <a:pt x="7201717" y="1997689"/>
                </a:cubicBezTo>
                <a:cubicBezTo>
                  <a:pt x="7203314" y="1999281"/>
                  <a:pt x="7205844" y="2001146"/>
                  <a:pt x="7211701" y="2001146"/>
                </a:cubicBezTo>
                <a:cubicBezTo>
                  <a:pt x="7213830" y="2001146"/>
                  <a:pt x="7215561" y="2000877"/>
                  <a:pt x="7217026" y="2000210"/>
                </a:cubicBezTo>
                <a:cubicBezTo>
                  <a:pt x="7218490" y="1999681"/>
                  <a:pt x="7219821" y="1998886"/>
                  <a:pt x="7220752" y="1997817"/>
                </a:cubicBezTo>
                <a:cubicBezTo>
                  <a:pt x="7221818" y="1996753"/>
                  <a:pt x="7222750" y="1995425"/>
                  <a:pt x="7223415" y="1993688"/>
                </a:cubicBezTo>
                <a:cubicBezTo>
                  <a:pt x="7224214" y="1992096"/>
                  <a:pt x="7224480" y="1990232"/>
                  <a:pt x="7224480" y="1988237"/>
                </a:cubicBezTo>
                <a:cubicBezTo>
                  <a:pt x="7224480" y="1986373"/>
                  <a:pt x="7224080" y="1984638"/>
                  <a:pt x="7223415" y="1983046"/>
                </a:cubicBezTo>
                <a:cubicBezTo>
                  <a:pt x="7222750" y="1981310"/>
                  <a:pt x="7221818" y="1979983"/>
                  <a:pt x="7220752" y="1978785"/>
                </a:cubicBezTo>
                <a:cubicBezTo>
                  <a:pt x="7219687" y="1977722"/>
                  <a:pt x="7218356" y="1976783"/>
                  <a:pt x="7216759" y="1976116"/>
                </a:cubicBezTo>
                <a:cubicBezTo>
                  <a:pt x="7215295" y="1975456"/>
                  <a:pt x="7213698" y="1975188"/>
                  <a:pt x="7211701" y="1975188"/>
                </a:cubicBezTo>
                <a:close/>
                <a:moveTo>
                  <a:pt x="6994056" y="1975188"/>
                </a:moveTo>
                <a:cubicBezTo>
                  <a:pt x="6988199" y="1975188"/>
                  <a:pt x="6985669" y="1977179"/>
                  <a:pt x="6984072" y="1978785"/>
                </a:cubicBezTo>
                <a:cubicBezTo>
                  <a:pt x="6981543" y="1981446"/>
                  <a:pt x="6980478" y="1984237"/>
                  <a:pt x="6980478" y="1988237"/>
                </a:cubicBezTo>
                <a:cubicBezTo>
                  <a:pt x="6980478" y="1992362"/>
                  <a:pt x="6981543" y="1995153"/>
                  <a:pt x="6984072" y="1997689"/>
                </a:cubicBezTo>
                <a:cubicBezTo>
                  <a:pt x="6985669" y="1999281"/>
                  <a:pt x="6988199" y="2001146"/>
                  <a:pt x="6994056" y="2001146"/>
                </a:cubicBezTo>
                <a:cubicBezTo>
                  <a:pt x="6996185" y="2001146"/>
                  <a:pt x="6997916" y="2000877"/>
                  <a:pt x="6999380" y="2000210"/>
                </a:cubicBezTo>
                <a:cubicBezTo>
                  <a:pt x="7000844" y="1999681"/>
                  <a:pt x="7002176" y="1998886"/>
                  <a:pt x="7003107" y="1997817"/>
                </a:cubicBezTo>
                <a:cubicBezTo>
                  <a:pt x="7004172" y="1996753"/>
                  <a:pt x="7005104" y="1995425"/>
                  <a:pt x="7005769" y="1993688"/>
                </a:cubicBezTo>
                <a:cubicBezTo>
                  <a:pt x="7006568" y="1992096"/>
                  <a:pt x="7006834" y="1990232"/>
                  <a:pt x="7006834" y="1988237"/>
                </a:cubicBezTo>
                <a:cubicBezTo>
                  <a:pt x="7006834" y="1986373"/>
                  <a:pt x="7006435" y="1984638"/>
                  <a:pt x="7005769" y="1983046"/>
                </a:cubicBezTo>
                <a:cubicBezTo>
                  <a:pt x="7005104" y="1981310"/>
                  <a:pt x="7004172" y="1979983"/>
                  <a:pt x="7003107" y="1978785"/>
                </a:cubicBezTo>
                <a:cubicBezTo>
                  <a:pt x="7002042" y="1977722"/>
                  <a:pt x="7000711" y="1976783"/>
                  <a:pt x="6999113" y="1976116"/>
                </a:cubicBezTo>
                <a:cubicBezTo>
                  <a:pt x="6997649" y="1975456"/>
                  <a:pt x="6996052" y="1975188"/>
                  <a:pt x="6994056" y="1975188"/>
                </a:cubicBezTo>
                <a:close/>
                <a:moveTo>
                  <a:pt x="6776544" y="1975188"/>
                </a:moveTo>
                <a:cubicBezTo>
                  <a:pt x="6770687" y="1975188"/>
                  <a:pt x="6768157" y="1977179"/>
                  <a:pt x="6766560" y="1978785"/>
                </a:cubicBezTo>
                <a:cubicBezTo>
                  <a:pt x="6764031" y="1981446"/>
                  <a:pt x="6762966" y="1984237"/>
                  <a:pt x="6762966" y="1988237"/>
                </a:cubicBezTo>
                <a:cubicBezTo>
                  <a:pt x="6762966" y="1992362"/>
                  <a:pt x="6764031" y="1995153"/>
                  <a:pt x="6766560" y="1997689"/>
                </a:cubicBezTo>
                <a:cubicBezTo>
                  <a:pt x="6768157" y="1999281"/>
                  <a:pt x="6770687" y="2001146"/>
                  <a:pt x="6776544" y="2001146"/>
                </a:cubicBezTo>
                <a:cubicBezTo>
                  <a:pt x="6778541" y="2001146"/>
                  <a:pt x="6780270" y="2000877"/>
                  <a:pt x="6781869" y="2000210"/>
                </a:cubicBezTo>
                <a:cubicBezTo>
                  <a:pt x="6783333" y="1999681"/>
                  <a:pt x="6784664" y="1998886"/>
                  <a:pt x="6785595" y="1997817"/>
                </a:cubicBezTo>
                <a:cubicBezTo>
                  <a:pt x="6786661" y="1996753"/>
                  <a:pt x="6787593" y="1995425"/>
                  <a:pt x="6788258" y="1993688"/>
                </a:cubicBezTo>
                <a:cubicBezTo>
                  <a:pt x="6789057" y="1992096"/>
                  <a:pt x="6789323" y="1990232"/>
                  <a:pt x="6789323" y="1988237"/>
                </a:cubicBezTo>
                <a:cubicBezTo>
                  <a:pt x="6789323" y="1986373"/>
                  <a:pt x="6788923" y="1984638"/>
                  <a:pt x="6788258" y="1983046"/>
                </a:cubicBezTo>
                <a:cubicBezTo>
                  <a:pt x="6787593" y="1981310"/>
                  <a:pt x="6786661" y="1979983"/>
                  <a:pt x="6785595" y="1978785"/>
                </a:cubicBezTo>
                <a:cubicBezTo>
                  <a:pt x="6784530" y="1977722"/>
                  <a:pt x="6783199" y="1976783"/>
                  <a:pt x="6781602" y="1976116"/>
                </a:cubicBezTo>
                <a:cubicBezTo>
                  <a:pt x="6780138" y="1975456"/>
                  <a:pt x="6778541" y="1975188"/>
                  <a:pt x="6776544" y="1975188"/>
                </a:cubicBezTo>
                <a:close/>
                <a:moveTo>
                  <a:pt x="6558899" y="1975188"/>
                </a:moveTo>
                <a:cubicBezTo>
                  <a:pt x="6553042" y="1975188"/>
                  <a:pt x="6550512" y="1977179"/>
                  <a:pt x="6548915" y="1978785"/>
                </a:cubicBezTo>
                <a:cubicBezTo>
                  <a:pt x="6546386" y="1981446"/>
                  <a:pt x="6545321" y="1984237"/>
                  <a:pt x="6545321" y="1988237"/>
                </a:cubicBezTo>
                <a:cubicBezTo>
                  <a:pt x="6545321" y="1992362"/>
                  <a:pt x="6546386" y="1995153"/>
                  <a:pt x="6548915" y="1997689"/>
                </a:cubicBezTo>
                <a:cubicBezTo>
                  <a:pt x="6550512" y="1999281"/>
                  <a:pt x="6553042" y="2001146"/>
                  <a:pt x="6558899" y="2001146"/>
                </a:cubicBezTo>
                <a:cubicBezTo>
                  <a:pt x="6560895" y="2001146"/>
                  <a:pt x="6562759" y="2000877"/>
                  <a:pt x="6564223" y="2000210"/>
                </a:cubicBezTo>
                <a:cubicBezTo>
                  <a:pt x="6565687" y="1999681"/>
                  <a:pt x="6567019" y="1998886"/>
                  <a:pt x="6567950" y="1997817"/>
                </a:cubicBezTo>
                <a:cubicBezTo>
                  <a:pt x="6569015" y="1996753"/>
                  <a:pt x="6569947" y="1995425"/>
                  <a:pt x="6570612" y="1993688"/>
                </a:cubicBezTo>
                <a:cubicBezTo>
                  <a:pt x="6571412" y="1992096"/>
                  <a:pt x="6571677" y="1990232"/>
                  <a:pt x="6571677" y="1988237"/>
                </a:cubicBezTo>
                <a:cubicBezTo>
                  <a:pt x="6571677" y="1986373"/>
                  <a:pt x="6571278" y="1984638"/>
                  <a:pt x="6570612" y="1983046"/>
                </a:cubicBezTo>
                <a:cubicBezTo>
                  <a:pt x="6569947" y="1981310"/>
                  <a:pt x="6569015" y="1979983"/>
                  <a:pt x="6567950" y="1978785"/>
                </a:cubicBezTo>
                <a:cubicBezTo>
                  <a:pt x="6566885" y="1977722"/>
                  <a:pt x="6565554" y="1976783"/>
                  <a:pt x="6563956" y="1976116"/>
                </a:cubicBezTo>
                <a:cubicBezTo>
                  <a:pt x="6562492" y="1975456"/>
                  <a:pt x="6560895" y="1975188"/>
                  <a:pt x="6558899" y="1975188"/>
                </a:cubicBezTo>
                <a:close/>
                <a:moveTo>
                  <a:pt x="6341253" y="1975188"/>
                </a:moveTo>
                <a:cubicBezTo>
                  <a:pt x="6335396" y="1975188"/>
                  <a:pt x="6332867" y="1977179"/>
                  <a:pt x="6331270" y="1978785"/>
                </a:cubicBezTo>
                <a:cubicBezTo>
                  <a:pt x="6328740" y="1981446"/>
                  <a:pt x="6327675" y="1984237"/>
                  <a:pt x="6327675" y="1988237"/>
                </a:cubicBezTo>
                <a:cubicBezTo>
                  <a:pt x="6327675" y="1992362"/>
                  <a:pt x="6328740" y="1995153"/>
                  <a:pt x="6331270" y="1997689"/>
                </a:cubicBezTo>
                <a:cubicBezTo>
                  <a:pt x="6332867" y="1999281"/>
                  <a:pt x="6335396" y="2001146"/>
                  <a:pt x="6341253" y="2001146"/>
                </a:cubicBezTo>
                <a:cubicBezTo>
                  <a:pt x="6343250" y="2001146"/>
                  <a:pt x="6345114" y="2000877"/>
                  <a:pt x="6346578" y="2000210"/>
                </a:cubicBezTo>
                <a:cubicBezTo>
                  <a:pt x="6348042" y="1999681"/>
                  <a:pt x="6349373" y="1998886"/>
                  <a:pt x="6350305" y="1997817"/>
                </a:cubicBezTo>
                <a:cubicBezTo>
                  <a:pt x="6351370" y="1996753"/>
                  <a:pt x="6352302" y="1995425"/>
                  <a:pt x="6352968" y="1993688"/>
                </a:cubicBezTo>
                <a:cubicBezTo>
                  <a:pt x="6353766" y="1992096"/>
                  <a:pt x="6354033" y="1990232"/>
                  <a:pt x="6354033" y="1988237"/>
                </a:cubicBezTo>
                <a:cubicBezTo>
                  <a:pt x="6354033" y="1986373"/>
                  <a:pt x="6353633" y="1984638"/>
                  <a:pt x="6352968" y="1983046"/>
                </a:cubicBezTo>
                <a:cubicBezTo>
                  <a:pt x="6352302" y="1981310"/>
                  <a:pt x="6351370" y="1979983"/>
                  <a:pt x="6350305" y="1978785"/>
                </a:cubicBezTo>
                <a:cubicBezTo>
                  <a:pt x="6349241" y="1977722"/>
                  <a:pt x="6347909" y="1976783"/>
                  <a:pt x="6346312" y="1976116"/>
                </a:cubicBezTo>
                <a:cubicBezTo>
                  <a:pt x="6344848" y="1975456"/>
                  <a:pt x="6343250" y="1975188"/>
                  <a:pt x="6341253" y="1975188"/>
                </a:cubicBezTo>
                <a:close/>
                <a:moveTo>
                  <a:pt x="6123608" y="1975188"/>
                </a:moveTo>
                <a:cubicBezTo>
                  <a:pt x="6117751" y="1975188"/>
                  <a:pt x="6115221" y="1977179"/>
                  <a:pt x="6113624" y="1978785"/>
                </a:cubicBezTo>
                <a:cubicBezTo>
                  <a:pt x="6111095" y="1981446"/>
                  <a:pt x="6110030" y="1984237"/>
                  <a:pt x="6110030" y="1988237"/>
                </a:cubicBezTo>
                <a:cubicBezTo>
                  <a:pt x="6110030" y="1992362"/>
                  <a:pt x="6111095" y="1995153"/>
                  <a:pt x="6113624" y="1997689"/>
                </a:cubicBezTo>
                <a:cubicBezTo>
                  <a:pt x="6115221" y="1999281"/>
                  <a:pt x="6117751" y="2001146"/>
                  <a:pt x="6123608" y="2001146"/>
                </a:cubicBezTo>
                <a:cubicBezTo>
                  <a:pt x="6125737" y="2001146"/>
                  <a:pt x="6127468" y="2000877"/>
                  <a:pt x="6128932" y="2000210"/>
                </a:cubicBezTo>
                <a:cubicBezTo>
                  <a:pt x="6130530" y="1999681"/>
                  <a:pt x="6131728" y="1998886"/>
                  <a:pt x="6132659" y="1997817"/>
                </a:cubicBezTo>
                <a:cubicBezTo>
                  <a:pt x="6133724" y="1996753"/>
                  <a:pt x="6134656" y="1995425"/>
                  <a:pt x="6135322" y="1993688"/>
                </a:cubicBezTo>
                <a:cubicBezTo>
                  <a:pt x="6135987" y="1992096"/>
                  <a:pt x="6136387" y="1990232"/>
                  <a:pt x="6136387" y="1988237"/>
                </a:cubicBezTo>
                <a:cubicBezTo>
                  <a:pt x="6136387" y="1986373"/>
                  <a:pt x="6135987" y="1984638"/>
                  <a:pt x="6135322" y="1983046"/>
                </a:cubicBezTo>
                <a:cubicBezTo>
                  <a:pt x="6134656" y="1981310"/>
                  <a:pt x="6133724" y="1979983"/>
                  <a:pt x="6132659" y="1978785"/>
                </a:cubicBezTo>
                <a:cubicBezTo>
                  <a:pt x="6131594" y="1977722"/>
                  <a:pt x="6130263" y="1976783"/>
                  <a:pt x="6128666" y="1976116"/>
                </a:cubicBezTo>
                <a:cubicBezTo>
                  <a:pt x="6127202" y="1975456"/>
                  <a:pt x="6125604" y="1975188"/>
                  <a:pt x="6123608" y="1975188"/>
                </a:cubicBezTo>
                <a:close/>
                <a:moveTo>
                  <a:pt x="5905963" y="1975188"/>
                </a:moveTo>
                <a:cubicBezTo>
                  <a:pt x="5900106" y="1975188"/>
                  <a:pt x="5897576" y="1977179"/>
                  <a:pt x="5895979" y="1978785"/>
                </a:cubicBezTo>
                <a:cubicBezTo>
                  <a:pt x="5893450" y="1981446"/>
                  <a:pt x="5892385" y="1984237"/>
                  <a:pt x="5892385" y="1988237"/>
                </a:cubicBezTo>
                <a:cubicBezTo>
                  <a:pt x="5892385" y="1992362"/>
                  <a:pt x="5893450" y="1995153"/>
                  <a:pt x="5895979" y="1997689"/>
                </a:cubicBezTo>
                <a:cubicBezTo>
                  <a:pt x="5897576" y="1999281"/>
                  <a:pt x="5900106" y="2001146"/>
                  <a:pt x="5905963" y="2001146"/>
                </a:cubicBezTo>
                <a:cubicBezTo>
                  <a:pt x="5908093" y="2001146"/>
                  <a:pt x="5909823" y="2000877"/>
                  <a:pt x="5911287" y="2000210"/>
                </a:cubicBezTo>
                <a:cubicBezTo>
                  <a:pt x="5912751" y="1999681"/>
                  <a:pt x="5914083" y="1998886"/>
                  <a:pt x="5915014" y="1997817"/>
                </a:cubicBezTo>
                <a:cubicBezTo>
                  <a:pt x="5916079" y="1996753"/>
                  <a:pt x="5917011" y="1995425"/>
                  <a:pt x="5917677" y="1993688"/>
                </a:cubicBezTo>
                <a:cubicBezTo>
                  <a:pt x="5918342" y="1992096"/>
                  <a:pt x="5918742" y="1990232"/>
                  <a:pt x="5918742" y="1988237"/>
                </a:cubicBezTo>
                <a:cubicBezTo>
                  <a:pt x="5918742" y="1986373"/>
                  <a:pt x="5918342" y="1984638"/>
                  <a:pt x="5917677" y="1983046"/>
                </a:cubicBezTo>
                <a:cubicBezTo>
                  <a:pt x="5917011" y="1981310"/>
                  <a:pt x="5916079" y="1979983"/>
                  <a:pt x="5915014" y="1978785"/>
                </a:cubicBezTo>
                <a:cubicBezTo>
                  <a:pt x="5913950" y="1977722"/>
                  <a:pt x="5912618" y="1976783"/>
                  <a:pt x="5911021" y="1976116"/>
                </a:cubicBezTo>
                <a:cubicBezTo>
                  <a:pt x="5909557" y="1975456"/>
                  <a:pt x="5907826" y="1975188"/>
                  <a:pt x="5905963" y="1975188"/>
                </a:cubicBezTo>
                <a:close/>
                <a:moveTo>
                  <a:pt x="5688451" y="1975188"/>
                </a:moveTo>
                <a:cubicBezTo>
                  <a:pt x="5682594" y="1975188"/>
                  <a:pt x="5680064" y="1977179"/>
                  <a:pt x="5678467" y="1978785"/>
                </a:cubicBezTo>
                <a:cubicBezTo>
                  <a:pt x="5675938" y="1981446"/>
                  <a:pt x="5674873" y="1984237"/>
                  <a:pt x="5674873" y="1988237"/>
                </a:cubicBezTo>
                <a:cubicBezTo>
                  <a:pt x="5674873" y="1992362"/>
                  <a:pt x="5675938" y="1995153"/>
                  <a:pt x="5678467" y="1997689"/>
                </a:cubicBezTo>
                <a:cubicBezTo>
                  <a:pt x="5680064" y="1999281"/>
                  <a:pt x="5682594" y="2001146"/>
                  <a:pt x="5688451" y="2001146"/>
                </a:cubicBezTo>
                <a:cubicBezTo>
                  <a:pt x="5690447" y="2001146"/>
                  <a:pt x="5692178" y="2000877"/>
                  <a:pt x="5693775" y="2000210"/>
                </a:cubicBezTo>
                <a:cubicBezTo>
                  <a:pt x="5695239" y="1999681"/>
                  <a:pt x="5696571" y="1998886"/>
                  <a:pt x="5697502" y="1997817"/>
                </a:cubicBezTo>
                <a:cubicBezTo>
                  <a:pt x="5698567" y="1996753"/>
                  <a:pt x="5699499" y="1995425"/>
                  <a:pt x="5700165" y="1993688"/>
                </a:cubicBezTo>
                <a:cubicBezTo>
                  <a:pt x="5700830" y="1992096"/>
                  <a:pt x="5701230" y="1990232"/>
                  <a:pt x="5701230" y="1988237"/>
                </a:cubicBezTo>
                <a:cubicBezTo>
                  <a:pt x="5701230" y="1986373"/>
                  <a:pt x="5700830" y="1984638"/>
                  <a:pt x="5700165" y="1983046"/>
                </a:cubicBezTo>
                <a:cubicBezTo>
                  <a:pt x="5699499" y="1981310"/>
                  <a:pt x="5698567" y="1979983"/>
                  <a:pt x="5697502" y="1978785"/>
                </a:cubicBezTo>
                <a:cubicBezTo>
                  <a:pt x="5696437" y="1977722"/>
                  <a:pt x="5695106" y="1976783"/>
                  <a:pt x="5693509" y="1976116"/>
                </a:cubicBezTo>
                <a:cubicBezTo>
                  <a:pt x="5692045" y="1975456"/>
                  <a:pt x="5690314" y="1975188"/>
                  <a:pt x="5688451" y="1975188"/>
                </a:cubicBezTo>
                <a:close/>
                <a:moveTo>
                  <a:pt x="5470806" y="1975188"/>
                </a:moveTo>
                <a:cubicBezTo>
                  <a:pt x="5464949" y="1975188"/>
                  <a:pt x="5462419" y="1977179"/>
                  <a:pt x="5460822" y="1978785"/>
                </a:cubicBezTo>
                <a:cubicBezTo>
                  <a:pt x="5458293" y="1981446"/>
                  <a:pt x="5457228" y="1984237"/>
                  <a:pt x="5457228" y="1988237"/>
                </a:cubicBezTo>
                <a:cubicBezTo>
                  <a:pt x="5457228" y="1992362"/>
                  <a:pt x="5458293" y="1995153"/>
                  <a:pt x="5460822" y="1997689"/>
                </a:cubicBezTo>
                <a:cubicBezTo>
                  <a:pt x="5462419" y="1999281"/>
                  <a:pt x="5464949" y="2001146"/>
                  <a:pt x="5470806" y="2001146"/>
                </a:cubicBezTo>
                <a:cubicBezTo>
                  <a:pt x="5472802" y="2001146"/>
                  <a:pt x="5474666" y="2000877"/>
                  <a:pt x="5476130" y="2000210"/>
                </a:cubicBezTo>
                <a:cubicBezTo>
                  <a:pt x="5477594" y="1999681"/>
                  <a:pt x="5478926" y="1998886"/>
                  <a:pt x="5479857" y="1997817"/>
                </a:cubicBezTo>
                <a:cubicBezTo>
                  <a:pt x="5480922" y="1996753"/>
                  <a:pt x="5481854" y="1995425"/>
                  <a:pt x="5482520" y="1993688"/>
                </a:cubicBezTo>
                <a:cubicBezTo>
                  <a:pt x="5483319" y="1992096"/>
                  <a:pt x="5483585" y="1990232"/>
                  <a:pt x="5483585" y="1988237"/>
                </a:cubicBezTo>
                <a:cubicBezTo>
                  <a:pt x="5483585" y="1986373"/>
                  <a:pt x="5483185" y="1984638"/>
                  <a:pt x="5482520" y="1983046"/>
                </a:cubicBezTo>
                <a:cubicBezTo>
                  <a:pt x="5481854" y="1981310"/>
                  <a:pt x="5480922" y="1979983"/>
                  <a:pt x="5479857" y="1978785"/>
                </a:cubicBezTo>
                <a:cubicBezTo>
                  <a:pt x="5478793" y="1977722"/>
                  <a:pt x="5477461" y="1976783"/>
                  <a:pt x="5475864" y="1976116"/>
                </a:cubicBezTo>
                <a:cubicBezTo>
                  <a:pt x="5474400" y="1975456"/>
                  <a:pt x="5472669" y="1975188"/>
                  <a:pt x="5470806" y="1975188"/>
                </a:cubicBezTo>
                <a:close/>
                <a:moveTo>
                  <a:pt x="5253160" y="1975188"/>
                </a:moveTo>
                <a:cubicBezTo>
                  <a:pt x="5247303" y="1975188"/>
                  <a:pt x="5244774" y="1977179"/>
                  <a:pt x="5243177" y="1978785"/>
                </a:cubicBezTo>
                <a:cubicBezTo>
                  <a:pt x="5240647" y="1981446"/>
                  <a:pt x="5239583" y="1984237"/>
                  <a:pt x="5239583" y="1988237"/>
                </a:cubicBezTo>
                <a:cubicBezTo>
                  <a:pt x="5239583" y="1992362"/>
                  <a:pt x="5240647" y="1995153"/>
                  <a:pt x="5243177" y="1997689"/>
                </a:cubicBezTo>
                <a:cubicBezTo>
                  <a:pt x="5244774" y="1999281"/>
                  <a:pt x="5247303" y="2001146"/>
                  <a:pt x="5253160" y="2001146"/>
                </a:cubicBezTo>
                <a:cubicBezTo>
                  <a:pt x="5255157" y="2001146"/>
                  <a:pt x="5257021" y="2000877"/>
                  <a:pt x="5258485" y="2000210"/>
                </a:cubicBezTo>
                <a:cubicBezTo>
                  <a:pt x="5259949" y="1999681"/>
                  <a:pt x="5261280" y="1998886"/>
                  <a:pt x="5262212" y="1997817"/>
                </a:cubicBezTo>
                <a:cubicBezTo>
                  <a:pt x="5263277" y="1996753"/>
                  <a:pt x="5264209" y="1995425"/>
                  <a:pt x="5264875" y="1993688"/>
                </a:cubicBezTo>
                <a:cubicBezTo>
                  <a:pt x="5265673" y="1992096"/>
                  <a:pt x="5265939" y="1990232"/>
                  <a:pt x="5265939" y="1988237"/>
                </a:cubicBezTo>
                <a:cubicBezTo>
                  <a:pt x="5265939" y="1986373"/>
                  <a:pt x="5265540" y="1984638"/>
                  <a:pt x="5264875" y="1983046"/>
                </a:cubicBezTo>
                <a:cubicBezTo>
                  <a:pt x="5264209" y="1981310"/>
                  <a:pt x="5263277" y="1979983"/>
                  <a:pt x="5262212" y="1978785"/>
                </a:cubicBezTo>
                <a:cubicBezTo>
                  <a:pt x="5261147" y="1977722"/>
                  <a:pt x="5259816" y="1976783"/>
                  <a:pt x="5258219" y="1976116"/>
                </a:cubicBezTo>
                <a:cubicBezTo>
                  <a:pt x="5256754" y="1975456"/>
                  <a:pt x="5255024" y="1975188"/>
                  <a:pt x="5253160" y="1975188"/>
                </a:cubicBezTo>
                <a:close/>
                <a:moveTo>
                  <a:pt x="5035515" y="1975188"/>
                </a:moveTo>
                <a:cubicBezTo>
                  <a:pt x="5029658" y="1975188"/>
                  <a:pt x="5027129" y="1977179"/>
                  <a:pt x="5025532" y="1978785"/>
                </a:cubicBezTo>
                <a:cubicBezTo>
                  <a:pt x="5023002" y="1981446"/>
                  <a:pt x="5021938" y="1984237"/>
                  <a:pt x="5021938" y="1988237"/>
                </a:cubicBezTo>
                <a:cubicBezTo>
                  <a:pt x="5021938" y="1992362"/>
                  <a:pt x="5023002" y="1995153"/>
                  <a:pt x="5025532" y="1997689"/>
                </a:cubicBezTo>
                <a:cubicBezTo>
                  <a:pt x="5027129" y="1999281"/>
                  <a:pt x="5029658" y="2001146"/>
                  <a:pt x="5035515" y="2001146"/>
                </a:cubicBezTo>
                <a:cubicBezTo>
                  <a:pt x="5037645" y="2001146"/>
                  <a:pt x="5039376" y="2000877"/>
                  <a:pt x="5040840" y="2000210"/>
                </a:cubicBezTo>
                <a:cubicBezTo>
                  <a:pt x="5042304" y="1999681"/>
                  <a:pt x="5043636" y="1998886"/>
                  <a:pt x="5044567" y="1997817"/>
                </a:cubicBezTo>
                <a:cubicBezTo>
                  <a:pt x="5045632" y="1996753"/>
                  <a:pt x="5046564" y="1995425"/>
                  <a:pt x="5047230" y="1993688"/>
                </a:cubicBezTo>
                <a:cubicBezTo>
                  <a:pt x="5048028" y="1992096"/>
                  <a:pt x="5048294" y="1990232"/>
                  <a:pt x="5048294" y="1988237"/>
                </a:cubicBezTo>
                <a:cubicBezTo>
                  <a:pt x="5048294" y="1986373"/>
                  <a:pt x="5047895" y="1984638"/>
                  <a:pt x="5047230" y="1983046"/>
                </a:cubicBezTo>
                <a:cubicBezTo>
                  <a:pt x="5046564" y="1981310"/>
                  <a:pt x="5045632" y="1979983"/>
                  <a:pt x="5044567" y="1978785"/>
                </a:cubicBezTo>
                <a:cubicBezTo>
                  <a:pt x="5043502" y="1977722"/>
                  <a:pt x="5042171" y="1976783"/>
                  <a:pt x="5040574" y="1976116"/>
                </a:cubicBezTo>
                <a:cubicBezTo>
                  <a:pt x="5039110" y="1975456"/>
                  <a:pt x="5037379" y="1975188"/>
                  <a:pt x="5035515" y="1975188"/>
                </a:cubicBezTo>
                <a:close/>
                <a:moveTo>
                  <a:pt x="4817870" y="1975188"/>
                </a:moveTo>
                <a:cubicBezTo>
                  <a:pt x="4812013" y="1975188"/>
                  <a:pt x="4809484" y="1977179"/>
                  <a:pt x="4807887" y="1978785"/>
                </a:cubicBezTo>
                <a:cubicBezTo>
                  <a:pt x="4805357" y="1981446"/>
                  <a:pt x="4804293" y="1984237"/>
                  <a:pt x="4804293" y="1988237"/>
                </a:cubicBezTo>
                <a:cubicBezTo>
                  <a:pt x="4804293" y="1992362"/>
                  <a:pt x="4805357" y="1995153"/>
                  <a:pt x="4807887" y="1997689"/>
                </a:cubicBezTo>
                <a:cubicBezTo>
                  <a:pt x="4809484" y="1999281"/>
                  <a:pt x="4812013" y="2001146"/>
                  <a:pt x="4817870" y="2001146"/>
                </a:cubicBezTo>
                <a:cubicBezTo>
                  <a:pt x="4820000" y="2001146"/>
                  <a:pt x="4821731" y="2000877"/>
                  <a:pt x="4823195" y="2000210"/>
                </a:cubicBezTo>
                <a:cubicBezTo>
                  <a:pt x="4824659" y="1999681"/>
                  <a:pt x="4825857" y="1998886"/>
                  <a:pt x="4826922" y="1997817"/>
                </a:cubicBezTo>
                <a:cubicBezTo>
                  <a:pt x="4827987" y="1996753"/>
                  <a:pt x="4828919" y="1995425"/>
                  <a:pt x="4829585" y="1993688"/>
                </a:cubicBezTo>
                <a:cubicBezTo>
                  <a:pt x="4830383" y="1992096"/>
                  <a:pt x="4830650" y="1990232"/>
                  <a:pt x="4830650" y="1988237"/>
                </a:cubicBezTo>
                <a:cubicBezTo>
                  <a:pt x="4830650" y="1986373"/>
                  <a:pt x="4830250" y="1984638"/>
                  <a:pt x="4829585" y="1983046"/>
                </a:cubicBezTo>
                <a:cubicBezTo>
                  <a:pt x="4828919" y="1981310"/>
                  <a:pt x="4827987" y="1979983"/>
                  <a:pt x="4826922" y="1978785"/>
                </a:cubicBezTo>
                <a:cubicBezTo>
                  <a:pt x="4825857" y="1977722"/>
                  <a:pt x="4824526" y="1976783"/>
                  <a:pt x="4822929" y="1976116"/>
                </a:cubicBezTo>
                <a:cubicBezTo>
                  <a:pt x="4821465" y="1975456"/>
                  <a:pt x="4819734" y="1975188"/>
                  <a:pt x="4817870" y="1975188"/>
                </a:cubicBezTo>
                <a:close/>
                <a:moveTo>
                  <a:pt x="4600226" y="1975188"/>
                </a:moveTo>
                <a:cubicBezTo>
                  <a:pt x="4594369" y="1975188"/>
                  <a:pt x="4591839" y="1977179"/>
                  <a:pt x="4590242" y="1978785"/>
                </a:cubicBezTo>
                <a:cubicBezTo>
                  <a:pt x="4587713" y="1981446"/>
                  <a:pt x="4586648" y="1984237"/>
                  <a:pt x="4586648" y="1988237"/>
                </a:cubicBezTo>
                <a:cubicBezTo>
                  <a:pt x="4586648" y="1992362"/>
                  <a:pt x="4587713" y="1995153"/>
                  <a:pt x="4590242" y="1997689"/>
                </a:cubicBezTo>
                <a:cubicBezTo>
                  <a:pt x="4591839" y="1999281"/>
                  <a:pt x="4594369" y="2001146"/>
                  <a:pt x="4600226" y="2001146"/>
                </a:cubicBezTo>
                <a:cubicBezTo>
                  <a:pt x="4602355" y="2001146"/>
                  <a:pt x="4604086" y="2000877"/>
                  <a:pt x="4605550" y="2000210"/>
                </a:cubicBezTo>
                <a:cubicBezTo>
                  <a:pt x="4607148" y="1999681"/>
                  <a:pt x="4608346" y="1998886"/>
                  <a:pt x="4609277" y="1997817"/>
                </a:cubicBezTo>
                <a:cubicBezTo>
                  <a:pt x="4610342" y="1996753"/>
                  <a:pt x="4611274" y="1995425"/>
                  <a:pt x="4611940" y="1993688"/>
                </a:cubicBezTo>
                <a:cubicBezTo>
                  <a:pt x="4612605" y="1992096"/>
                  <a:pt x="4613005" y="1990232"/>
                  <a:pt x="4613005" y="1988237"/>
                </a:cubicBezTo>
                <a:cubicBezTo>
                  <a:pt x="4613005" y="1986373"/>
                  <a:pt x="4612605" y="1984638"/>
                  <a:pt x="4611940" y="1983046"/>
                </a:cubicBezTo>
                <a:cubicBezTo>
                  <a:pt x="4611274" y="1981310"/>
                  <a:pt x="4610342" y="1979983"/>
                  <a:pt x="4609277" y="1978785"/>
                </a:cubicBezTo>
                <a:cubicBezTo>
                  <a:pt x="4608212" y="1977722"/>
                  <a:pt x="4606881" y="1976783"/>
                  <a:pt x="4605284" y="1976116"/>
                </a:cubicBezTo>
                <a:cubicBezTo>
                  <a:pt x="4603820" y="1975456"/>
                  <a:pt x="4602222" y="1975188"/>
                  <a:pt x="4600226" y="1975188"/>
                </a:cubicBezTo>
                <a:close/>
                <a:moveTo>
                  <a:pt x="4382713" y="1975188"/>
                </a:moveTo>
                <a:cubicBezTo>
                  <a:pt x="4376857" y="1975188"/>
                  <a:pt x="4374327" y="1977179"/>
                  <a:pt x="4372730" y="1978785"/>
                </a:cubicBezTo>
                <a:cubicBezTo>
                  <a:pt x="4370201" y="1981446"/>
                  <a:pt x="4369136" y="1984237"/>
                  <a:pt x="4369136" y="1988237"/>
                </a:cubicBezTo>
                <a:cubicBezTo>
                  <a:pt x="4369136" y="1992362"/>
                  <a:pt x="4370201" y="1995153"/>
                  <a:pt x="4372730" y="1997689"/>
                </a:cubicBezTo>
                <a:cubicBezTo>
                  <a:pt x="4374327" y="1999281"/>
                  <a:pt x="4376857" y="2001146"/>
                  <a:pt x="4382713" y="2001146"/>
                </a:cubicBezTo>
                <a:cubicBezTo>
                  <a:pt x="4384710" y="2001146"/>
                  <a:pt x="4386441" y="2000877"/>
                  <a:pt x="4388038" y="2000210"/>
                </a:cubicBezTo>
                <a:cubicBezTo>
                  <a:pt x="4389502" y="1999681"/>
                  <a:pt x="4390834" y="1998886"/>
                  <a:pt x="4391765" y="1997817"/>
                </a:cubicBezTo>
                <a:cubicBezTo>
                  <a:pt x="4392830" y="1996753"/>
                  <a:pt x="4393762" y="1995425"/>
                  <a:pt x="4394428" y="1993688"/>
                </a:cubicBezTo>
                <a:cubicBezTo>
                  <a:pt x="4395093" y="1992096"/>
                  <a:pt x="4395493" y="1990232"/>
                  <a:pt x="4395493" y="1988237"/>
                </a:cubicBezTo>
                <a:cubicBezTo>
                  <a:pt x="4395493" y="1986373"/>
                  <a:pt x="4395093" y="1984638"/>
                  <a:pt x="4394428" y="1983046"/>
                </a:cubicBezTo>
                <a:cubicBezTo>
                  <a:pt x="4393762" y="1981310"/>
                  <a:pt x="4392830" y="1979983"/>
                  <a:pt x="4391765" y="1978785"/>
                </a:cubicBezTo>
                <a:cubicBezTo>
                  <a:pt x="4390700" y="1977722"/>
                  <a:pt x="4389369" y="1976783"/>
                  <a:pt x="4387772" y="1976116"/>
                </a:cubicBezTo>
                <a:cubicBezTo>
                  <a:pt x="4386308" y="1975456"/>
                  <a:pt x="4384710" y="1975188"/>
                  <a:pt x="4382713" y="1975188"/>
                </a:cubicBezTo>
                <a:close/>
                <a:moveTo>
                  <a:pt x="4165068" y="1975188"/>
                </a:moveTo>
                <a:cubicBezTo>
                  <a:pt x="4159211" y="1975188"/>
                  <a:pt x="4156681" y="1977179"/>
                  <a:pt x="4155084" y="1978785"/>
                </a:cubicBezTo>
                <a:cubicBezTo>
                  <a:pt x="4152555" y="1981446"/>
                  <a:pt x="4151490" y="1984237"/>
                  <a:pt x="4151490" y="1988237"/>
                </a:cubicBezTo>
                <a:cubicBezTo>
                  <a:pt x="4151490" y="1992362"/>
                  <a:pt x="4152555" y="1995153"/>
                  <a:pt x="4155084" y="1997689"/>
                </a:cubicBezTo>
                <a:cubicBezTo>
                  <a:pt x="4156681" y="1999281"/>
                  <a:pt x="4159211" y="2001146"/>
                  <a:pt x="4165068" y="2001146"/>
                </a:cubicBezTo>
                <a:cubicBezTo>
                  <a:pt x="4167064" y="2001146"/>
                  <a:pt x="4168928" y="2000877"/>
                  <a:pt x="4170392" y="2000210"/>
                </a:cubicBezTo>
                <a:cubicBezTo>
                  <a:pt x="4171856" y="1999681"/>
                  <a:pt x="4173188" y="1998886"/>
                  <a:pt x="4174119" y="1997817"/>
                </a:cubicBezTo>
                <a:cubicBezTo>
                  <a:pt x="4175184" y="1996753"/>
                  <a:pt x="4176116" y="1995425"/>
                  <a:pt x="4176782" y="1993688"/>
                </a:cubicBezTo>
                <a:cubicBezTo>
                  <a:pt x="4177447" y="1992096"/>
                  <a:pt x="4177847" y="1990232"/>
                  <a:pt x="4177847" y="1988237"/>
                </a:cubicBezTo>
                <a:cubicBezTo>
                  <a:pt x="4177847" y="1986373"/>
                  <a:pt x="4177447" y="1984638"/>
                  <a:pt x="4176782" y="1983046"/>
                </a:cubicBezTo>
                <a:cubicBezTo>
                  <a:pt x="4176116" y="1981310"/>
                  <a:pt x="4175184" y="1979983"/>
                  <a:pt x="4174119" y="1978785"/>
                </a:cubicBezTo>
                <a:cubicBezTo>
                  <a:pt x="4173054" y="1977722"/>
                  <a:pt x="4171723" y="1976783"/>
                  <a:pt x="4170126" y="1976116"/>
                </a:cubicBezTo>
                <a:cubicBezTo>
                  <a:pt x="4168662" y="1975456"/>
                  <a:pt x="4167064" y="1975188"/>
                  <a:pt x="4165068" y="1975188"/>
                </a:cubicBezTo>
                <a:close/>
                <a:moveTo>
                  <a:pt x="3947535" y="1975188"/>
                </a:moveTo>
                <a:cubicBezTo>
                  <a:pt x="3941678" y="1975188"/>
                  <a:pt x="3939149" y="1977179"/>
                  <a:pt x="3937552" y="1978785"/>
                </a:cubicBezTo>
                <a:cubicBezTo>
                  <a:pt x="3935021" y="1981446"/>
                  <a:pt x="3933958" y="1984237"/>
                  <a:pt x="3933958" y="1988237"/>
                </a:cubicBezTo>
                <a:cubicBezTo>
                  <a:pt x="3933958" y="1992362"/>
                  <a:pt x="3935021" y="1995153"/>
                  <a:pt x="3937552" y="1997689"/>
                </a:cubicBezTo>
                <a:cubicBezTo>
                  <a:pt x="3939149" y="1999281"/>
                  <a:pt x="3941678" y="2001146"/>
                  <a:pt x="3947535" y="2001146"/>
                </a:cubicBezTo>
                <a:cubicBezTo>
                  <a:pt x="3949533" y="2001146"/>
                  <a:pt x="3951395" y="2000877"/>
                  <a:pt x="3952861" y="2000210"/>
                </a:cubicBezTo>
                <a:cubicBezTo>
                  <a:pt x="3954325" y="1999681"/>
                  <a:pt x="3955655" y="1998886"/>
                  <a:pt x="3956588" y="1997817"/>
                </a:cubicBezTo>
                <a:cubicBezTo>
                  <a:pt x="3957653" y="1996753"/>
                  <a:pt x="3958585" y="1995425"/>
                  <a:pt x="3959250" y="1993688"/>
                </a:cubicBezTo>
                <a:cubicBezTo>
                  <a:pt x="3959916" y="1992096"/>
                  <a:pt x="3960316" y="1990232"/>
                  <a:pt x="3960316" y="1988237"/>
                </a:cubicBezTo>
                <a:cubicBezTo>
                  <a:pt x="3960316" y="1986373"/>
                  <a:pt x="3959916" y="1984638"/>
                  <a:pt x="3959250" y="1983046"/>
                </a:cubicBezTo>
                <a:cubicBezTo>
                  <a:pt x="3958585" y="1981310"/>
                  <a:pt x="3957653" y="1979983"/>
                  <a:pt x="3956588" y="1978785"/>
                </a:cubicBezTo>
                <a:cubicBezTo>
                  <a:pt x="3955522" y="1977722"/>
                  <a:pt x="3954192" y="1976783"/>
                  <a:pt x="3952594" y="1976116"/>
                </a:cubicBezTo>
                <a:cubicBezTo>
                  <a:pt x="3951129" y="1975456"/>
                  <a:pt x="3949533" y="1975188"/>
                  <a:pt x="3947535" y="1975188"/>
                </a:cubicBezTo>
                <a:close/>
                <a:moveTo>
                  <a:pt x="3729884" y="1975188"/>
                </a:moveTo>
                <a:cubicBezTo>
                  <a:pt x="3724027" y="1975188"/>
                  <a:pt x="3721498" y="1977179"/>
                  <a:pt x="3719898" y="1978785"/>
                </a:cubicBezTo>
                <a:cubicBezTo>
                  <a:pt x="3717369" y="1981446"/>
                  <a:pt x="3716306" y="1984237"/>
                  <a:pt x="3716306" y="1988237"/>
                </a:cubicBezTo>
                <a:cubicBezTo>
                  <a:pt x="3716306" y="1992362"/>
                  <a:pt x="3717369" y="1995153"/>
                  <a:pt x="3719898" y="1997689"/>
                </a:cubicBezTo>
                <a:cubicBezTo>
                  <a:pt x="3721498" y="1999281"/>
                  <a:pt x="3724027" y="2001146"/>
                  <a:pt x="3729884" y="2001146"/>
                </a:cubicBezTo>
                <a:cubicBezTo>
                  <a:pt x="3732014" y="2001146"/>
                  <a:pt x="3733745" y="2000877"/>
                  <a:pt x="3735209" y="2000210"/>
                </a:cubicBezTo>
                <a:cubicBezTo>
                  <a:pt x="3736673" y="1999681"/>
                  <a:pt x="3738006" y="1998886"/>
                  <a:pt x="3738936" y="1997817"/>
                </a:cubicBezTo>
                <a:cubicBezTo>
                  <a:pt x="3740001" y="1996753"/>
                  <a:pt x="3740934" y="1995425"/>
                  <a:pt x="3741599" y="1993688"/>
                </a:cubicBezTo>
                <a:cubicBezTo>
                  <a:pt x="3742264" y="1992096"/>
                  <a:pt x="3742664" y="1990232"/>
                  <a:pt x="3742664" y="1988237"/>
                </a:cubicBezTo>
                <a:cubicBezTo>
                  <a:pt x="3742664" y="1986373"/>
                  <a:pt x="3742264" y="1984638"/>
                  <a:pt x="3741599" y="1983046"/>
                </a:cubicBezTo>
                <a:cubicBezTo>
                  <a:pt x="3740934" y="1981310"/>
                  <a:pt x="3740001" y="1979983"/>
                  <a:pt x="3738936" y="1978785"/>
                </a:cubicBezTo>
                <a:cubicBezTo>
                  <a:pt x="3737872" y="1977722"/>
                  <a:pt x="3736541" y="1976783"/>
                  <a:pt x="3734944" y="1976116"/>
                </a:cubicBezTo>
                <a:cubicBezTo>
                  <a:pt x="3733479" y="1975456"/>
                  <a:pt x="3731881" y="1975188"/>
                  <a:pt x="3729884" y="1975188"/>
                </a:cubicBezTo>
                <a:close/>
                <a:moveTo>
                  <a:pt x="3512233" y="1975188"/>
                </a:moveTo>
                <a:cubicBezTo>
                  <a:pt x="3506376" y="1975188"/>
                  <a:pt x="3503847" y="1977179"/>
                  <a:pt x="3502248" y="1978785"/>
                </a:cubicBezTo>
                <a:cubicBezTo>
                  <a:pt x="3499718" y="1981446"/>
                  <a:pt x="3498655" y="1984237"/>
                  <a:pt x="3498655" y="1988237"/>
                </a:cubicBezTo>
                <a:cubicBezTo>
                  <a:pt x="3498655" y="1992362"/>
                  <a:pt x="3499718" y="1995153"/>
                  <a:pt x="3502248" y="1997689"/>
                </a:cubicBezTo>
                <a:cubicBezTo>
                  <a:pt x="3503847" y="1999281"/>
                  <a:pt x="3506376" y="2001146"/>
                  <a:pt x="3512233" y="2001146"/>
                </a:cubicBezTo>
                <a:cubicBezTo>
                  <a:pt x="3514363" y="2001146"/>
                  <a:pt x="3516094" y="2000877"/>
                  <a:pt x="3517559" y="2000210"/>
                </a:cubicBezTo>
                <a:cubicBezTo>
                  <a:pt x="3519023" y="1999681"/>
                  <a:pt x="3520355" y="1998886"/>
                  <a:pt x="3521286" y="1997817"/>
                </a:cubicBezTo>
                <a:cubicBezTo>
                  <a:pt x="3522351" y="1996753"/>
                  <a:pt x="3523283" y="1995425"/>
                  <a:pt x="3523949" y="1993688"/>
                </a:cubicBezTo>
                <a:cubicBezTo>
                  <a:pt x="3524614" y="1992096"/>
                  <a:pt x="3525014" y="1990232"/>
                  <a:pt x="3525014" y="1988237"/>
                </a:cubicBezTo>
                <a:cubicBezTo>
                  <a:pt x="3525014" y="1986373"/>
                  <a:pt x="3524614" y="1984638"/>
                  <a:pt x="3523949" y="1983046"/>
                </a:cubicBezTo>
                <a:cubicBezTo>
                  <a:pt x="3523283" y="1981310"/>
                  <a:pt x="3522351" y="1979983"/>
                  <a:pt x="3521286" y="1978785"/>
                </a:cubicBezTo>
                <a:cubicBezTo>
                  <a:pt x="3520221" y="1977722"/>
                  <a:pt x="3518890" y="1976783"/>
                  <a:pt x="3517293" y="1976116"/>
                </a:cubicBezTo>
                <a:cubicBezTo>
                  <a:pt x="3515829" y="1975456"/>
                  <a:pt x="3514230" y="1975188"/>
                  <a:pt x="3512233" y="1975188"/>
                </a:cubicBezTo>
                <a:close/>
                <a:moveTo>
                  <a:pt x="3294716" y="1975188"/>
                </a:moveTo>
                <a:cubicBezTo>
                  <a:pt x="3288859" y="1975188"/>
                  <a:pt x="3286329" y="1977179"/>
                  <a:pt x="3284731" y="1978785"/>
                </a:cubicBezTo>
                <a:cubicBezTo>
                  <a:pt x="3282201" y="1981446"/>
                  <a:pt x="3281137" y="1984237"/>
                  <a:pt x="3281137" y="1988237"/>
                </a:cubicBezTo>
                <a:cubicBezTo>
                  <a:pt x="3281137" y="1992362"/>
                  <a:pt x="3282201" y="1995153"/>
                  <a:pt x="3284731" y="1997689"/>
                </a:cubicBezTo>
                <a:cubicBezTo>
                  <a:pt x="3286329" y="1999281"/>
                  <a:pt x="3288859" y="2001146"/>
                  <a:pt x="3294716" y="2001146"/>
                </a:cubicBezTo>
                <a:cubicBezTo>
                  <a:pt x="3296713" y="2001146"/>
                  <a:pt x="3298443" y="2000877"/>
                  <a:pt x="3300041" y="2000210"/>
                </a:cubicBezTo>
                <a:cubicBezTo>
                  <a:pt x="3301505" y="1999681"/>
                  <a:pt x="3302837" y="1998886"/>
                  <a:pt x="3303768" y="1997817"/>
                </a:cubicBezTo>
                <a:cubicBezTo>
                  <a:pt x="3304833" y="1996753"/>
                  <a:pt x="3305765" y="1995425"/>
                  <a:pt x="3306431" y="1993688"/>
                </a:cubicBezTo>
                <a:cubicBezTo>
                  <a:pt x="3307096" y="1992096"/>
                  <a:pt x="3307495" y="1990232"/>
                  <a:pt x="3307495" y="1988237"/>
                </a:cubicBezTo>
                <a:cubicBezTo>
                  <a:pt x="3307495" y="1986373"/>
                  <a:pt x="3307096" y="1984638"/>
                  <a:pt x="3306431" y="1983046"/>
                </a:cubicBezTo>
                <a:cubicBezTo>
                  <a:pt x="3305765" y="1981310"/>
                  <a:pt x="3304833" y="1979983"/>
                  <a:pt x="3303768" y="1978785"/>
                </a:cubicBezTo>
                <a:cubicBezTo>
                  <a:pt x="3302703" y="1977722"/>
                  <a:pt x="3301372" y="1976783"/>
                  <a:pt x="3299775" y="1976116"/>
                </a:cubicBezTo>
                <a:cubicBezTo>
                  <a:pt x="3298311" y="1975456"/>
                  <a:pt x="3296713" y="1975188"/>
                  <a:pt x="3294716" y="1975188"/>
                </a:cubicBezTo>
                <a:close/>
                <a:moveTo>
                  <a:pt x="3077198" y="1975188"/>
                </a:moveTo>
                <a:cubicBezTo>
                  <a:pt x="3071340" y="1975188"/>
                  <a:pt x="3068811" y="1977179"/>
                  <a:pt x="3067215" y="1978785"/>
                </a:cubicBezTo>
                <a:cubicBezTo>
                  <a:pt x="3064551" y="1981446"/>
                  <a:pt x="3063486" y="1984237"/>
                  <a:pt x="3063486" y="1988237"/>
                </a:cubicBezTo>
                <a:cubicBezTo>
                  <a:pt x="3063486" y="1992362"/>
                  <a:pt x="3064551" y="1995153"/>
                  <a:pt x="3067080" y="1997689"/>
                </a:cubicBezTo>
                <a:cubicBezTo>
                  <a:pt x="3068678" y="1999281"/>
                  <a:pt x="3071207" y="2001146"/>
                  <a:pt x="3077065" y="2001146"/>
                </a:cubicBezTo>
                <a:cubicBezTo>
                  <a:pt x="3079062" y="2001146"/>
                  <a:pt x="3080792" y="2000877"/>
                  <a:pt x="3082523" y="2000210"/>
                </a:cubicBezTo>
                <a:cubicBezTo>
                  <a:pt x="3083988" y="1999681"/>
                  <a:pt x="3085319" y="1998886"/>
                  <a:pt x="3086250" y="1997817"/>
                </a:cubicBezTo>
                <a:cubicBezTo>
                  <a:pt x="3087315" y="1996753"/>
                  <a:pt x="3088247" y="1995425"/>
                  <a:pt x="3088913" y="1993688"/>
                </a:cubicBezTo>
                <a:cubicBezTo>
                  <a:pt x="3089578" y="1992096"/>
                  <a:pt x="3089845" y="1990232"/>
                  <a:pt x="3089845" y="1988237"/>
                </a:cubicBezTo>
                <a:cubicBezTo>
                  <a:pt x="3089845" y="1986373"/>
                  <a:pt x="3089578" y="1984638"/>
                  <a:pt x="3088913" y="1983046"/>
                </a:cubicBezTo>
                <a:cubicBezTo>
                  <a:pt x="3088247" y="1981310"/>
                  <a:pt x="3087315" y="1979983"/>
                  <a:pt x="3086250" y="1978785"/>
                </a:cubicBezTo>
                <a:cubicBezTo>
                  <a:pt x="3085186" y="1977722"/>
                  <a:pt x="3083854" y="1976783"/>
                  <a:pt x="3082257" y="1976116"/>
                </a:cubicBezTo>
                <a:cubicBezTo>
                  <a:pt x="3080792" y="1975456"/>
                  <a:pt x="3079195" y="1975188"/>
                  <a:pt x="3077198" y="1975188"/>
                </a:cubicBezTo>
                <a:close/>
                <a:moveTo>
                  <a:pt x="2859414" y="1975188"/>
                </a:moveTo>
                <a:cubicBezTo>
                  <a:pt x="2853557" y="1975188"/>
                  <a:pt x="2851028" y="1977179"/>
                  <a:pt x="2849430" y="1978785"/>
                </a:cubicBezTo>
                <a:cubicBezTo>
                  <a:pt x="2846898" y="1981446"/>
                  <a:pt x="2845835" y="1984237"/>
                  <a:pt x="2845835" y="1988237"/>
                </a:cubicBezTo>
                <a:cubicBezTo>
                  <a:pt x="2845835" y="1992362"/>
                  <a:pt x="2846898" y="1995153"/>
                  <a:pt x="2849430" y="1997689"/>
                </a:cubicBezTo>
                <a:cubicBezTo>
                  <a:pt x="2851028" y="1999281"/>
                  <a:pt x="2853557" y="2001146"/>
                  <a:pt x="2859414" y="2001146"/>
                </a:cubicBezTo>
                <a:cubicBezTo>
                  <a:pt x="2861411" y="2001146"/>
                  <a:pt x="2863275" y="2000877"/>
                  <a:pt x="2864739" y="2000210"/>
                </a:cubicBezTo>
                <a:cubicBezTo>
                  <a:pt x="2866337" y="1999681"/>
                  <a:pt x="2867536" y="1998886"/>
                  <a:pt x="2868466" y="1997817"/>
                </a:cubicBezTo>
                <a:cubicBezTo>
                  <a:pt x="2869531" y="1996753"/>
                  <a:pt x="2870464" y="1995425"/>
                  <a:pt x="2871129" y="1993688"/>
                </a:cubicBezTo>
                <a:cubicBezTo>
                  <a:pt x="2871661" y="1992096"/>
                  <a:pt x="2872060" y="1990232"/>
                  <a:pt x="2872060" y="1988237"/>
                </a:cubicBezTo>
                <a:cubicBezTo>
                  <a:pt x="2872060" y="1986373"/>
                  <a:pt x="2871794" y="1984638"/>
                  <a:pt x="2871129" y="1983046"/>
                </a:cubicBezTo>
                <a:cubicBezTo>
                  <a:pt x="2870464" y="1981310"/>
                  <a:pt x="2869531" y="1979983"/>
                  <a:pt x="2868466" y="1978785"/>
                </a:cubicBezTo>
                <a:cubicBezTo>
                  <a:pt x="2867402" y="1977722"/>
                  <a:pt x="2866070" y="1976783"/>
                  <a:pt x="2864474" y="1976116"/>
                </a:cubicBezTo>
                <a:cubicBezTo>
                  <a:pt x="2863010" y="1975456"/>
                  <a:pt x="2861411" y="1975188"/>
                  <a:pt x="2859414" y="1975188"/>
                </a:cubicBezTo>
                <a:close/>
                <a:moveTo>
                  <a:pt x="2641763" y="1975188"/>
                </a:moveTo>
                <a:cubicBezTo>
                  <a:pt x="2635906" y="1975188"/>
                  <a:pt x="2633377" y="1977179"/>
                  <a:pt x="2631780" y="1978785"/>
                </a:cubicBezTo>
                <a:cubicBezTo>
                  <a:pt x="2629250" y="1981446"/>
                  <a:pt x="2628186" y="1984237"/>
                  <a:pt x="2628186" y="1988237"/>
                </a:cubicBezTo>
                <a:cubicBezTo>
                  <a:pt x="2628186" y="1992362"/>
                  <a:pt x="2629250" y="1995153"/>
                  <a:pt x="2631780" y="1997689"/>
                </a:cubicBezTo>
                <a:cubicBezTo>
                  <a:pt x="2633377" y="1999281"/>
                  <a:pt x="2635906" y="2001146"/>
                  <a:pt x="2641763" y="2001146"/>
                </a:cubicBezTo>
                <a:cubicBezTo>
                  <a:pt x="2643760" y="2001146"/>
                  <a:pt x="2645625" y="2000877"/>
                  <a:pt x="2647089" y="2000210"/>
                </a:cubicBezTo>
                <a:cubicBezTo>
                  <a:pt x="2648685" y="1999681"/>
                  <a:pt x="2649883" y="1998886"/>
                  <a:pt x="2650816" y="1997817"/>
                </a:cubicBezTo>
                <a:cubicBezTo>
                  <a:pt x="2651881" y="1996753"/>
                  <a:pt x="2652812" y="1995425"/>
                  <a:pt x="2653479" y="1993688"/>
                </a:cubicBezTo>
                <a:cubicBezTo>
                  <a:pt x="2654010" y="1992096"/>
                  <a:pt x="2654409" y="1990232"/>
                  <a:pt x="2654409" y="1988237"/>
                </a:cubicBezTo>
                <a:cubicBezTo>
                  <a:pt x="2654409" y="1986373"/>
                  <a:pt x="2654144" y="1984638"/>
                  <a:pt x="2653479" y="1983046"/>
                </a:cubicBezTo>
                <a:cubicBezTo>
                  <a:pt x="2652812" y="1981310"/>
                  <a:pt x="2651881" y="1979983"/>
                  <a:pt x="2650816" y="1978785"/>
                </a:cubicBezTo>
                <a:cubicBezTo>
                  <a:pt x="2649751" y="1977722"/>
                  <a:pt x="2648419" y="1976783"/>
                  <a:pt x="2646823" y="1976116"/>
                </a:cubicBezTo>
                <a:cubicBezTo>
                  <a:pt x="2645357" y="1975456"/>
                  <a:pt x="2643760" y="1975188"/>
                  <a:pt x="2641763" y="1975188"/>
                </a:cubicBezTo>
                <a:close/>
                <a:moveTo>
                  <a:pt x="2424112" y="1975188"/>
                </a:moveTo>
                <a:cubicBezTo>
                  <a:pt x="2418256" y="1975188"/>
                  <a:pt x="2415726" y="1977179"/>
                  <a:pt x="2414129" y="1978785"/>
                </a:cubicBezTo>
                <a:cubicBezTo>
                  <a:pt x="2411599" y="1981446"/>
                  <a:pt x="2410535" y="1984237"/>
                  <a:pt x="2410535" y="1988237"/>
                </a:cubicBezTo>
                <a:cubicBezTo>
                  <a:pt x="2410535" y="1992362"/>
                  <a:pt x="2411599" y="1995153"/>
                  <a:pt x="2414129" y="1997689"/>
                </a:cubicBezTo>
                <a:cubicBezTo>
                  <a:pt x="2415726" y="1999281"/>
                  <a:pt x="2418256" y="2001146"/>
                  <a:pt x="2424112" y="2001146"/>
                </a:cubicBezTo>
                <a:cubicBezTo>
                  <a:pt x="2426242" y="2001146"/>
                  <a:pt x="2427974" y="2000877"/>
                  <a:pt x="2429438" y="2000210"/>
                </a:cubicBezTo>
                <a:cubicBezTo>
                  <a:pt x="2431036" y="1999681"/>
                  <a:pt x="2432233" y="1998886"/>
                  <a:pt x="2433165" y="1997817"/>
                </a:cubicBezTo>
                <a:cubicBezTo>
                  <a:pt x="2434230" y="1996753"/>
                  <a:pt x="2435161" y="1995425"/>
                  <a:pt x="2435828" y="1993688"/>
                </a:cubicBezTo>
                <a:cubicBezTo>
                  <a:pt x="2436359" y="1992096"/>
                  <a:pt x="2436759" y="1990232"/>
                  <a:pt x="2436759" y="1988237"/>
                </a:cubicBezTo>
                <a:cubicBezTo>
                  <a:pt x="2436759" y="1986373"/>
                  <a:pt x="2436493" y="1984638"/>
                  <a:pt x="2435828" y="1983046"/>
                </a:cubicBezTo>
                <a:cubicBezTo>
                  <a:pt x="2435161" y="1981310"/>
                  <a:pt x="2434230" y="1979983"/>
                  <a:pt x="2433165" y="1978785"/>
                </a:cubicBezTo>
                <a:cubicBezTo>
                  <a:pt x="2432101" y="1977722"/>
                  <a:pt x="2430769" y="1976783"/>
                  <a:pt x="2429172" y="1976116"/>
                </a:cubicBezTo>
                <a:cubicBezTo>
                  <a:pt x="2427708" y="1975456"/>
                  <a:pt x="2426110" y="1975188"/>
                  <a:pt x="2424112" y="1975188"/>
                </a:cubicBezTo>
                <a:close/>
                <a:moveTo>
                  <a:pt x="2206462" y="1975188"/>
                </a:moveTo>
                <a:cubicBezTo>
                  <a:pt x="2200605" y="1975188"/>
                  <a:pt x="2198075" y="1977179"/>
                  <a:pt x="2196478" y="1978785"/>
                </a:cubicBezTo>
                <a:cubicBezTo>
                  <a:pt x="2193948" y="1981446"/>
                  <a:pt x="2192884" y="1984237"/>
                  <a:pt x="2192884" y="1988237"/>
                </a:cubicBezTo>
                <a:cubicBezTo>
                  <a:pt x="2192884" y="1992362"/>
                  <a:pt x="2193948" y="1995153"/>
                  <a:pt x="2196478" y="1997689"/>
                </a:cubicBezTo>
                <a:cubicBezTo>
                  <a:pt x="2198075" y="1999281"/>
                  <a:pt x="2200605" y="2001146"/>
                  <a:pt x="2206462" y="2001146"/>
                </a:cubicBezTo>
                <a:cubicBezTo>
                  <a:pt x="2208591" y="2001146"/>
                  <a:pt x="2210323" y="2000877"/>
                  <a:pt x="2211787" y="2000210"/>
                </a:cubicBezTo>
                <a:cubicBezTo>
                  <a:pt x="2213384" y="1999681"/>
                  <a:pt x="2214582" y="1998886"/>
                  <a:pt x="2215514" y="1997817"/>
                </a:cubicBezTo>
                <a:cubicBezTo>
                  <a:pt x="2216579" y="1996753"/>
                  <a:pt x="2217510" y="1995425"/>
                  <a:pt x="2218177" y="1993688"/>
                </a:cubicBezTo>
                <a:cubicBezTo>
                  <a:pt x="2218709" y="1992096"/>
                  <a:pt x="2219108" y="1990232"/>
                  <a:pt x="2219108" y="1988237"/>
                </a:cubicBezTo>
                <a:cubicBezTo>
                  <a:pt x="2219108" y="1986373"/>
                  <a:pt x="2218842" y="1984638"/>
                  <a:pt x="2218177" y="1983046"/>
                </a:cubicBezTo>
                <a:cubicBezTo>
                  <a:pt x="2217510" y="1981310"/>
                  <a:pt x="2216579" y="1979983"/>
                  <a:pt x="2215514" y="1978785"/>
                </a:cubicBezTo>
                <a:cubicBezTo>
                  <a:pt x="2214448" y="1977722"/>
                  <a:pt x="2213118" y="1976783"/>
                  <a:pt x="2211520" y="1976116"/>
                </a:cubicBezTo>
                <a:cubicBezTo>
                  <a:pt x="2210056" y="1975456"/>
                  <a:pt x="2208459" y="1975188"/>
                  <a:pt x="2206462" y="1975188"/>
                </a:cubicBezTo>
                <a:close/>
                <a:moveTo>
                  <a:pt x="1988944" y="1975188"/>
                </a:moveTo>
                <a:cubicBezTo>
                  <a:pt x="1983086" y="1975188"/>
                  <a:pt x="1980557" y="1977179"/>
                  <a:pt x="1978961" y="1978785"/>
                </a:cubicBezTo>
                <a:cubicBezTo>
                  <a:pt x="1976430" y="1981446"/>
                  <a:pt x="1975366" y="1984237"/>
                  <a:pt x="1975366" y="1988237"/>
                </a:cubicBezTo>
                <a:cubicBezTo>
                  <a:pt x="1975366" y="1992362"/>
                  <a:pt x="1976430" y="1995153"/>
                  <a:pt x="1978961" y="1997689"/>
                </a:cubicBezTo>
                <a:cubicBezTo>
                  <a:pt x="1980557" y="1999281"/>
                  <a:pt x="1983086" y="2001146"/>
                  <a:pt x="1988944" y="2001146"/>
                </a:cubicBezTo>
                <a:cubicBezTo>
                  <a:pt x="1990940" y="2001146"/>
                  <a:pt x="1992672" y="2000877"/>
                  <a:pt x="1994268" y="2000210"/>
                </a:cubicBezTo>
                <a:cubicBezTo>
                  <a:pt x="1995866" y="1999681"/>
                  <a:pt x="1997065" y="1998886"/>
                  <a:pt x="1997996" y="1997817"/>
                </a:cubicBezTo>
                <a:cubicBezTo>
                  <a:pt x="1999060" y="1996753"/>
                  <a:pt x="1999993" y="1995425"/>
                  <a:pt x="2000659" y="1993688"/>
                </a:cubicBezTo>
                <a:cubicBezTo>
                  <a:pt x="2001191" y="1992096"/>
                  <a:pt x="2001589" y="1990232"/>
                  <a:pt x="2001589" y="1988237"/>
                </a:cubicBezTo>
                <a:cubicBezTo>
                  <a:pt x="2001589" y="1986373"/>
                  <a:pt x="2001324" y="1984638"/>
                  <a:pt x="2000659" y="1983046"/>
                </a:cubicBezTo>
                <a:cubicBezTo>
                  <a:pt x="1999993" y="1981310"/>
                  <a:pt x="1999060" y="1979983"/>
                  <a:pt x="1997996" y="1978785"/>
                </a:cubicBezTo>
                <a:cubicBezTo>
                  <a:pt x="1996932" y="1977722"/>
                  <a:pt x="1995600" y="1976783"/>
                  <a:pt x="1994002" y="1976116"/>
                </a:cubicBezTo>
                <a:cubicBezTo>
                  <a:pt x="1992538" y="1975456"/>
                  <a:pt x="1990940" y="1975188"/>
                  <a:pt x="1988944" y="1975188"/>
                </a:cubicBezTo>
                <a:close/>
                <a:moveTo>
                  <a:pt x="1771303" y="1975188"/>
                </a:moveTo>
                <a:cubicBezTo>
                  <a:pt x="1765446" y="1975188"/>
                  <a:pt x="1762917" y="1977179"/>
                  <a:pt x="1761320" y="1978785"/>
                </a:cubicBezTo>
                <a:cubicBezTo>
                  <a:pt x="1758790" y="1981446"/>
                  <a:pt x="1757726" y="1984237"/>
                  <a:pt x="1757726" y="1988237"/>
                </a:cubicBezTo>
                <a:cubicBezTo>
                  <a:pt x="1757726" y="1992362"/>
                  <a:pt x="1758790" y="1995153"/>
                  <a:pt x="1761320" y="1997689"/>
                </a:cubicBezTo>
                <a:cubicBezTo>
                  <a:pt x="1762917" y="1999281"/>
                  <a:pt x="1765446" y="2001146"/>
                  <a:pt x="1771303" y="2001146"/>
                </a:cubicBezTo>
                <a:cubicBezTo>
                  <a:pt x="1773300" y="2001146"/>
                  <a:pt x="1775164" y="2000877"/>
                  <a:pt x="1776628" y="2000210"/>
                </a:cubicBezTo>
                <a:cubicBezTo>
                  <a:pt x="1778092" y="1999681"/>
                  <a:pt x="1779423" y="1998886"/>
                  <a:pt x="1780355" y="1997817"/>
                </a:cubicBezTo>
                <a:cubicBezTo>
                  <a:pt x="1781420" y="1996753"/>
                  <a:pt x="1782351" y="1995425"/>
                  <a:pt x="1783018" y="1993688"/>
                </a:cubicBezTo>
                <a:cubicBezTo>
                  <a:pt x="1783683" y="1992096"/>
                  <a:pt x="1784082" y="1990232"/>
                  <a:pt x="1784082" y="1988237"/>
                </a:cubicBezTo>
                <a:cubicBezTo>
                  <a:pt x="1784082" y="1986373"/>
                  <a:pt x="1783683" y="1984638"/>
                  <a:pt x="1783018" y="1983046"/>
                </a:cubicBezTo>
                <a:cubicBezTo>
                  <a:pt x="1782351" y="1981310"/>
                  <a:pt x="1781420" y="1979983"/>
                  <a:pt x="1780355" y="1978785"/>
                </a:cubicBezTo>
                <a:cubicBezTo>
                  <a:pt x="1779290" y="1977722"/>
                  <a:pt x="1777959" y="1976783"/>
                  <a:pt x="1776362" y="1976116"/>
                </a:cubicBezTo>
                <a:cubicBezTo>
                  <a:pt x="1774897" y="1975456"/>
                  <a:pt x="1773300" y="1975188"/>
                  <a:pt x="1771303" y="1975188"/>
                </a:cubicBezTo>
                <a:close/>
                <a:moveTo>
                  <a:pt x="1553661" y="1975188"/>
                </a:moveTo>
                <a:cubicBezTo>
                  <a:pt x="1547803" y="1975188"/>
                  <a:pt x="1545274" y="1977179"/>
                  <a:pt x="1543677" y="1978785"/>
                </a:cubicBezTo>
                <a:cubicBezTo>
                  <a:pt x="1541147" y="1981446"/>
                  <a:pt x="1540083" y="1984237"/>
                  <a:pt x="1540083" y="1988237"/>
                </a:cubicBezTo>
                <a:cubicBezTo>
                  <a:pt x="1540083" y="1992362"/>
                  <a:pt x="1541147" y="1995153"/>
                  <a:pt x="1543677" y="1997689"/>
                </a:cubicBezTo>
                <a:cubicBezTo>
                  <a:pt x="1545274" y="1999281"/>
                  <a:pt x="1547803" y="2001146"/>
                  <a:pt x="1553661" y="2001146"/>
                </a:cubicBezTo>
                <a:cubicBezTo>
                  <a:pt x="1555658" y="2001146"/>
                  <a:pt x="1557521" y="2000877"/>
                  <a:pt x="1558985" y="2000210"/>
                </a:cubicBezTo>
                <a:cubicBezTo>
                  <a:pt x="1560449" y="1999681"/>
                  <a:pt x="1561781" y="1998886"/>
                  <a:pt x="1562712" y="1997817"/>
                </a:cubicBezTo>
                <a:cubicBezTo>
                  <a:pt x="1563777" y="1996753"/>
                  <a:pt x="1564709" y="1995425"/>
                  <a:pt x="1565375" y="1993688"/>
                </a:cubicBezTo>
                <a:cubicBezTo>
                  <a:pt x="1566040" y="1992096"/>
                  <a:pt x="1566440" y="1990232"/>
                  <a:pt x="1566440" y="1988237"/>
                </a:cubicBezTo>
                <a:cubicBezTo>
                  <a:pt x="1566440" y="1986373"/>
                  <a:pt x="1566040" y="1984638"/>
                  <a:pt x="1565375" y="1983046"/>
                </a:cubicBezTo>
                <a:cubicBezTo>
                  <a:pt x="1564709" y="1981310"/>
                  <a:pt x="1563777" y="1979983"/>
                  <a:pt x="1562712" y="1978785"/>
                </a:cubicBezTo>
                <a:cubicBezTo>
                  <a:pt x="1561647" y="1977722"/>
                  <a:pt x="1560317" y="1976783"/>
                  <a:pt x="1558719" y="1976116"/>
                </a:cubicBezTo>
                <a:cubicBezTo>
                  <a:pt x="1557255" y="1975456"/>
                  <a:pt x="1555658" y="1975188"/>
                  <a:pt x="1553661" y="1975188"/>
                </a:cubicBezTo>
                <a:close/>
                <a:moveTo>
                  <a:pt x="1336016" y="1975188"/>
                </a:moveTo>
                <a:cubicBezTo>
                  <a:pt x="1330158" y="1975188"/>
                  <a:pt x="1327629" y="1977179"/>
                  <a:pt x="1326033" y="1978785"/>
                </a:cubicBezTo>
                <a:cubicBezTo>
                  <a:pt x="1323503" y="1981446"/>
                  <a:pt x="1322438" y="1984237"/>
                  <a:pt x="1322438" y="1988237"/>
                </a:cubicBezTo>
                <a:cubicBezTo>
                  <a:pt x="1322438" y="1992362"/>
                  <a:pt x="1323503" y="1995153"/>
                  <a:pt x="1326033" y="1997689"/>
                </a:cubicBezTo>
                <a:cubicBezTo>
                  <a:pt x="1327629" y="1999281"/>
                  <a:pt x="1330158" y="2001146"/>
                  <a:pt x="1336016" y="2001146"/>
                </a:cubicBezTo>
                <a:cubicBezTo>
                  <a:pt x="1338146" y="2001146"/>
                  <a:pt x="1339876" y="2000877"/>
                  <a:pt x="1341342" y="2000210"/>
                </a:cubicBezTo>
                <a:cubicBezTo>
                  <a:pt x="1342806" y="1999681"/>
                  <a:pt x="1344136" y="1998886"/>
                  <a:pt x="1345069" y="1997817"/>
                </a:cubicBezTo>
                <a:cubicBezTo>
                  <a:pt x="1346133" y="1996753"/>
                  <a:pt x="1347066" y="1995425"/>
                  <a:pt x="1347731" y="1993688"/>
                </a:cubicBezTo>
                <a:cubicBezTo>
                  <a:pt x="1348397" y="1992096"/>
                  <a:pt x="1348797" y="1990232"/>
                  <a:pt x="1348797" y="1988237"/>
                </a:cubicBezTo>
                <a:cubicBezTo>
                  <a:pt x="1348797" y="1986373"/>
                  <a:pt x="1348397" y="1984638"/>
                  <a:pt x="1347731" y="1983046"/>
                </a:cubicBezTo>
                <a:cubicBezTo>
                  <a:pt x="1347066" y="1981310"/>
                  <a:pt x="1346133" y="1979983"/>
                  <a:pt x="1345069" y="1978785"/>
                </a:cubicBezTo>
                <a:cubicBezTo>
                  <a:pt x="1344004" y="1977722"/>
                  <a:pt x="1342673" y="1976783"/>
                  <a:pt x="1341075" y="1976116"/>
                </a:cubicBezTo>
                <a:cubicBezTo>
                  <a:pt x="1339610" y="1975456"/>
                  <a:pt x="1338012" y="1975188"/>
                  <a:pt x="1336016" y="1975188"/>
                </a:cubicBezTo>
                <a:close/>
                <a:moveTo>
                  <a:pt x="1118504" y="1975188"/>
                </a:moveTo>
                <a:cubicBezTo>
                  <a:pt x="1112646" y="1975188"/>
                  <a:pt x="1110117" y="1977179"/>
                  <a:pt x="1108520" y="1978785"/>
                </a:cubicBezTo>
                <a:cubicBezTo>
                  <a:pt x="1105857" y="1981446"/>
                  <a:pt x="1104793" y="1984237"/>
                  <a:pt x="1104793" y="1988237"/>
                </a:cubicBezTo>
                <a:cubicBezTo>
                  <a:pt x="1104793" y="1992362"/>
                  <a:pt x="1105857" y="1995153"/>
                  <a:pt x="1108387" y="1997689"/>
                </a:cubicBezTo>
                <a:cubicBezTo>
                  <a:pt x="1109984" y="1999281"/>
                  <a:pt x="1112514" y="2001146"/>
                  <a:pt x="1118371" y="2001146"/>
                </a:cubicBezTo>
                <a:cubicBezTo>
                  <a:pt x="1120501" y="2001146"/>
                  <a:pt x="1122232" y="2000877"/>
                  <a:pt x="1123829" y="2000210"/>
                </a:cubicBezTo>
                <a:cubicBezTo>
                  <a:pt x="1125293" y="1999681"/>
                  <a:pt x="1126626" y="1998886"/>
                  <a:pt x="1127556" y="1997817"/>
                </a:cubicBezTo>
                <a:cubicBezTo>
                  <a:pt x="1128621" y="1996753"/>
                  <a:pt x="1129554" y="1995425"/>
                  <a:pt x="1130220" y="1993688"/>
                </a:cubicBezTo>
                <a:cubicBezTo>
                  <a:pt x="1130884" y="1992096"/>
                  <a:pt x="1131285" y="1990232"/>
                  <a:pt x="1131285" y="1988237"/>
                </a:cubicBezTo>
                <a:cubicBezTo>
                  <a:pt x="1131285" y="1986373"/>
                  <a:pt x="1130884" y="1984638"/>
                  <a:pt x="1130220" y="1983046"/>
                </a:cubicBezTo>
                <a:cubicBezTo>
                  <a:pt x="1129554" y="1981310"/>
                  <a:pt x="1128621" y="1979983"/>
                  <a:pt x="1127556" y="1978785"/>
                </a:cubicBezTo>
                <a:cubicBezTo>
                  <a:pt x="1126491" y="1977722"/>
                  <a:pt x="1125161" y="1976783"/>
                  <a:pt x="1123562" y="1976116"/>
                </a:cubicBezTo>
                <a:cubicBezTo>
                  <a:pt x="1122099" y="1975456"/>
                  <a:pt x="1120501" y="1975188"/>
                  <a:pt x="1118504" y="1975188"/>
                </a:cubicBezTo>
                <a:close/>
                <a:moveTo>
                  <a:pt x="900993" y="1975188"/>
                </a:moveTo>
                <a:cubicBezTo>
                  <a:pt x="895135" y="1975188"/>
                  <a:pt x="892605" y="1977179"/>
                  <a:pt x="891008" y="1978785"/>
                </a:cubicBezTo>
                <a:cubicBezTo>
                  <a:pt x="888345" y="1981446"/>
                  <a:pt x="887282" y="1984237"/>
                  <a:pt x="887282" y="1988237"/>
                </a:cubicBezTo>
                <a:cubicBezTo>
                  <a:pt x="887282" y="1992362"/>
                  <a:pt x="888345" y="1995153"/>
                  <a:pt x="890876" y="1997689"/>
                </a:cubicBezTo>
                <a:cubicBezTo>
                  <a:pt x="892473" y="1999281"/>
                  <a:pt x="895001" y="2001146"/>
                  <a:pt x="900859" y="2001146"/>
                </a:cubicBezTo>
                <a:cubicBezTo>
                  <a:pt x="902855" y="2001146"/>
                  <a:pt x="904587" y="2000877"/>
                  <a:pt x="906317" y="2000210"/>
                </a:cubicBezTo>
                <a:cubicBezTo>
                  <a:pt x="907781" y="1999681"/>
                  <a:pt x="909113" y="1998886"/>
                  <a:pt x="910045" y="1997817"/>
                </a:cubicBezTo>
                <a:cubicBezTo>
                  <a:pt x="911109" y="1996753"/>
                  <a:pt x="912041" y="1995425"/>
                  <a:pt x="912707" y="1993688"/>
                </a:cubicBezTo>
                <a:cubicBezTo>
                  <a:pt x="913372" y="1992096"/>
                  <a:pt x="913772" y="1990232"/>
                  <a:pt x="913772" y="1988237"/>
                </a:cubicBezTo>
                <a:cubicBezTo>
                  <a:pt x="913772" y="1986373"/>
                  <a:pt x="913372" y="1984638"/>
                  <a:pt x="912707" y="1983046"/>
                </a:cubicBezTo>
                <a:cubicBezTo>
                  <a:pt x="912041" y="1981310"/>
                  <a:pt x="911109" y="1979983"/>
                  <a:pt x="910045" y="1978785"/>
                </a:cubicBezTo>
                <a:cubicBezTo>
                  <a:pt x="908980" y="1977722"/>
                  <a:pt x="907648" y="1976783"/>
                  <a:pt x="906051" y="1976116"/>
                </a:cubicBezTo>
                <a:cubicBezTo>
                  <a:pt x="904587" y="1975456"/>
                  <a:pt x="902989" y="1975188"/>
                  <a:pt x="900993" y="1975188"/>
                </a:cubicBezTo>
                <a:close/>
                <a:moveTo>
                  <a:pt x="683215" y="1975188"/>
                </a:moveTo>
                <a:cubicBezTo>
                  <a:pt x="677358" y="1975188"/>
                  <a:pt x="674829" y="1977179"/>
                  <a:pt x="673232" y="1978785"/>
                </a:cubicBezTo>
                <a:cubicBezTo>
                  <a:pt x="670702" y="1981446"/>
                  <a:pt x="669638" y="1984237"/>
                  <a:pt x="669638" y="1988237"/>
                </a:cubicBezTo>
                <a:cubicBezTo>
                  <a:pt x="669638" y="1992362"/>
                  <a:pt x="670702" y="1995153"/>
                  <a:pt x="673232" y="1997689"/>
                </a:cubicBezTo>
                <a:cubicBezTo>
                  <a:pt x="674829" y="1999281"/>
                  <a:pt x="677358" y="2001146"/>
                  <a:pt x="683215" y="2001146"/>
                </a:cubicBezTo>
                <a:cubicBezTo>
                  <a:pt x="685212" y="2001146"/>
                  <a:pt x="687076" y="2000877"/>
                  <a:pt x="688541" y="2000210"/>
                </a:cubicBezTo>
                <a:cubicBezTo>
                  <a:pt x="690005" y="1999681"/>
                  <a:pt x="691337" y="1998886"/>
                  <a:pt x="692268" y="1997817"/>
                </a:cubicBezTo>
                <a:cubicBezTo>
                  <a:pt x="693332" y="1996753"/>
                  <a:pt x="694265" y="1995425"/>
                  <a:pt x="694931" y="1993688"/>
                </a:cubicBezTo>
                <a:cubicBezTo>
                  <a:pt x="695596" y="1992096"/>
                  <a:pt x="695996" y="1990232"/>
                  <a:pt x="695996" y="1988237"/>
                </a:cubicBezTo>
                <a:cubicBezTo>
                  <a:pt x="695996" y="1986373"/>
                  <a:pt x="695596" y="1984638"/>
                  <a:pt x="694931" y="1983046"/>
                </a:cubicBezTo>
                <a:cubicBezTo>
                  <a:pt x="694265" y="1981310"/>
                  <a:pt x="693332" y="1979983"/>
                  <a:pt x="692268" y="1978785"/>
                </a:cubicBezTo>
                <a:cubicBezTo>
                  <a:pt x="691203" y="1977722"/>
                  <a:pt x="689872" y="1976783"/>
                  <a:pt x="688275" y="1976116"/>
                </a:cubicBezTo>
                <a:cubicBezTo>
                  <a:pt x="686811" y="1975456"/>
                  <a:pt x="685212" y="1975188"/>
                  <a:pt x="683215" y="1975188"/>
                </a:cubicBezTo>
                <a:close/>
                <a:moveTo>
                  <a:pt x="465572" y="1975188"/>
                </a:moveTo>
                <a:cubicBezTo>
                  <a:pt x="459715" y="1975188"/>
                  <a:pt x="457186" y="1977179"/>
                  <a:pt x="455589" y="1978785"/>
                </a:cubicBezTo>
                <a:cubicBezTo>
                  <a:pt x="453059" y="1981446"/>
                  <a:pt x="451995" y="1984237"/>
                  <a:pt x="451995" y="1988237"/>
                </a:cubicBezTo>
                <a:cubicBezTo>
                  <a:pt x="451995" y="1992362"/>
                  <a:pt x="453059" y="1995153"/>
                  <a:pt x="455589" y="1997689"/>
                </a:cubicBezTo>
                <a:cubicBezTo>
                  <a:pt x="457186" y="1999281"/>
                  <a:pt x="459715" y="2001146"/>
                  <a:pt x="465572" y="2001146"/>
                </a:cubicBezTo>
                <a:cubicBezTo>
                  <a:pt x="467569" y="2001146"/>
                  <a:pt x="469433" y="2000877"/>
                  <a:pt x="470897" y="2000210"/>
                </a:cubicBezTo>
                <a:cubicBezTo>
                  <a:pt x="472361" y="1999681"/>
                  <a:pt x="473692" y="1998886"/>
                  <a:pt x="474624" y="1997817"/>
                </a:cubicBezTo>
                <a:cubicBezTo>
                  <a:pt x="475689" y="1996753"/>
                  <a:pt x="476621" y="1995425"/>
                  <a:pt x="477287" y="1993688"/>
                </a:cubicBezTo>
                <a:cubicBezTo>
                  <a:pt x="477952" y="1992096"/>
                  <a:pt x="478352" y="1990232"/>
                  <a:pt x="478352" y="1988237"/>
                </a:cubicBezTo>
                <a:cubicBezTo>
                  <a:pt x="478352" y="1986373"/>
                  <a:pt x="477952" y="1984638"/>
                  <a:pt x="477287" y="1983046"/>
                </a:cubicBezTo>
                <a:cubicBezTo>
                  <a:pt x="476621" y="1981310"/>
                  <a:pt x="475689" y="1979983"/>
                  <a:pt x="474624" y="1978785"/>
                </a:cubicBezTo>
                <a:cubicBezTo>
                  <a:pt x="473559" y="1977722"/>
                  <a:pt x="472228" y="1976783"/>
                  <a:pt x="470631" y="1976116"/>
                </a:cubicBezTo>
                <a:cubicBezTo>
                  <a:pt x="469167" y="1975456"/>
                  <a:pt x="467569" y="1975188"/>
                  <a:pt x="465572" y="1975188"/>
                </a:cubicBezTo>
                <a:close/>
                <a:moveTo>
                  <a:pt x="247928" y="1975188"/>
                </a:moveTo>
                <a:cubicBezTo>
                  <a:pt x="242071" y="1975188"/>
                  <a:pt x="239542" y="1977179"/>
                  <a:pt x="237945" y="1978785"/>
                </a:cubicBezTo>
                <a:cubicBezTo>
                  <a:pt x="235416" y="1981446"/>
                  <a:pt x="234352" y="1984237"/>
                  <a:pt x="234352" y="1988237"/>
                </a:cubicBezTo>
                <a:cubicBezTo>
                  <a:pt x="234352" y="1992362"/>
                  <a:pt x="235416" y="1995153"/>
                  <a:pt x="237945" y="1997689"/>
                </a:cubicBezTo>
                <a:cubicBezTo>
                  <a:pt x="239542" y="1999281"/>
                  <a:pt x="242071" y="2001146"/>
                  <a:pt x="247928" y="2001146"/>
                </a:cubicBezTo>
                <a:cubicBezTo>
                  <a:pt x="250058" y="2001146"/>
                  <a:pt x="251789" y="2000877"/>
                  <a:pt x="253253" y="2000210"/>
                </a:cubicBezTo>
                <a:cubicBezTo>
                  <a:pt x="254717" y="1999681"/>
                  <a:pt x="256048" y="1998886"/>
                  <a:pt x="256980" y="1997817"/>
                </a:cubicBezTo>
                <a:cubicBezTo>
                  <a:pt x="258045" y="1996753"/>
                  <a:pt x="258977" y="1995425"/>
                  <a:pt x="259643" y="1993688"/>
                </a:cubicBezTo>
                <a:cubicBezTo>
                  <a:pt x="260308" y="1992096"/>
                  <a:pt x="260708" y="1990232"/>
                  <a:pt x="260708" y="1988237"/>
                </a:cubicBezTo>
                <a:cubicBezTo>
                  <a:pt x="260708" y="1986373"/>
                  <a:pt x="260308" y="1984638"/>
                  <a:pt x="259643" y="1983046"/>
                </a:cubicBezTo>
                <a:cubicBezTo>
                  <a:pt x="258977" y="1981310"/>
                  <a:pt x="258045" y="1979983"/>
                  <a:pt x="256980" y="1978785"/>
                </a:cubicBezTo>
                <a:cubicBezTo>
                  <a:pt x="255915" y="1977722"/>
                  <a:pt x="254584" y="1976783"/>
                  <a:pt x="252987" y="1976116"/>
                </a:cubicBezTo>
                <a:cubicBezTo>
                  <a:pt x="251522" y="1975456"/>
                  <a:pt x="249925" y="1975188"/>
                  <a:pt x="247928" y="1975188"/>
                </a:cubicBezTo>
                <a:close/>
                <a:moveTo>
                  <a:pt x="30285" y="1975188"/>
                </a:moveTo>
                <a:cubicBezTo>
                  <a:pt x="24428" y="1975188"/>
                  <a:pt x="21899" y="1977179"/>
                  <a:pt x="20302" y="1978785"/>
                </a:cubicBezTo>
                <a:cubicBezTo>
                  <a:pt x="17772" y="1981446"/>
                  <a:pt x="16708" y="1984237"/>
                  <a:pt x="16708" y="1988237"/>
                </a:cubicBezTo>
                <a:cubicBezTo>
                  <a:pt x="16708" y="1992362"/>
                  <a:pt x="17772" y="1995153"/>
                  <a:pt x="20302" y="1997689"/>
                </a:cubicBezTo>
                <a:cubicBezTo>
                  <a:pt x="21899" y="1999281"/>
                  <a:pt x="24428" y="2001146"/>
                  <a:pt x="30285" y="2001146"/>
                </a:cubicBezTo>
                <a:cubicBezTo>
                  <a:pt x="32415" y="2001146"/>
                  <a:pt x="34146" y="2000877"/>
                  <a:pt x="35610" y="2000210"/>
                </a:cubicBezTo>
                <a:cubicBezTo>
                  <a:pt x="37074" y="1999681"/>
                  <a:pt x="38406" y="1998886"/>
                  <a:pt x="39337" y="1997817"/>
                </a:cubicBezTo>
                <a:cubicBezTo>
                  <a:pt x="40402" y="1996753"/>
                  <a:pt x="41334" y="1995425"/>
                  <a:pt x="42000" y="1993688"/>
                </a:cubicBezTo>
                <a:cubicBezTo>
                  <a:pt x="42665" y="1992096"/>
                  <a:pt x="42931" y="1990232"/>
                  <a:pt x="42931" y="1988237"/>
                </a:cubicBezTo>
                <a:cubicBezTo>
                  <a:pt x="42931" y="1986373"/>
                  <a:pt x="42665" y="1984638"/>
                  <a:pt x="42000" y="1983046"/>
                </a:cubicBezTo>
                <a:cubicBezTo>
                  <a:pt x="41334" y="1981310"/>
                  <a:pt x="40402" y="1979983"/>
                  <a:pt x="39337" y="1978785"/>
                </a:cubicBezTo>
                <a:cubicBezTo>
                  <a:pt x="38272" y="1977722"/>
                  <a:pt x="36941" y="1976783"/>
                  <a:pt x="35344" y="1976116"/>
                </a:cubicBezTo>
                <a:cubicBezTo>
                  <a:pt x="33880" y="1975456"/>
                  <a:pt x="32282" y="1975188"/>
                  <a:pt x="30285" y="1975188"/>
                </a:cubicBezTo>
                <a:close/>
                <a:moveTo>
                  <a:pt x="10040820" y="1958553"/>
                </a:moveTo>
                <a:cubicBezTo>
                  <a:pt x="10045080" y="1958553"/>
                  <a:pt x="10048941" y="1959348"/>
                  <a:pt x="10052534" y="1961216"/>
                </a:cubicBezTo>
                <a:cubicBezTo>
                  <a:pt x="10056129" y="1962805"/>
                  <a:pt x="10059323" y="1964941"/>
                  <a:pt x="10061852" y="1967605"/>
                </a:cubicBezTo>
                <a:cubicBezTo>
                  <a:pt x="10064382" y="1970132"/>
                  <a:pt x="10066512" y="1973322"/>
                  <a:pt x="10067976" y="1976921"/>
                </a:cubicBezTo>
                <a:cubicBezTo>
                  <a:pt x="10069440" y="1980510"/>
                  <a:pt x="10070239" y="1984237"/>
                  <a:pt x="10070239" y="1988365"/>
                </a:cubicBezTo>
                <a:cubicBezTo>
                  <a:pt x="10070239" y="1992494"/>
                  <a:pt x="10069440" y="1996490"/>
                  <a:pt x="10067976" y="2000077"/>
                </a:cubicBezTo>
                <a:cubicBezTo>
                  <a:pt x="10066379" y="2003681"/>
                  <a:pt x="10064382" y="2006739"/>
                  <a:pt x="10061852" y="2009402"/>
                </a:cubicBezTo>
                <a:cubicBezTo>
                  <a:pt x="10059190" y="2012064"/>
                  <a:pt x="10056129" y="2014194"/>
                  <a:pt x="10052534" y="2015653"/>
                </a:cubicBezTo>
                <a:cubicBezTo>
                  <a:pt x="10048941" y="2017117"/>
                  <a:pt x="10045080" y="2017922"/>
                  <a:pt x="10040820" y="2017922"/>
                </a:cubicBezTo>
                <a:cubicBezTo>
                  <a:pt x="10031767" y="2017922"/>
                  <a:pt x="10024579" y="2014994"/>
                  <a:pt x="10018988" y="2009402"/>
                </a:cubicBezTo>
                <a:cubicBezTo>
                  <a:pt x="10013397" y="2003806"/>
                  <a:pt x="10010602" y="1996753"/>
                  <a:pt x="10010602" y="1988237"/>
                </a:cubicBezTo>
                <a:cubicBezTo>
                  <a:pt x="10010602" y="1979983"/>
                  <a:pt x="10013397" y="1972925"/>
                  <a:pt x="10018988" y="1967203"/>
                </a:cubicBezTo>
                <a:cubicBezTo>
                  <a:pt x="10024579" y="1961479"/>
                  <a:pt x="10031767" y="1958553"/>
                  <a:pt x="10040820" y="1958553"/>
                </a:cubicBezTo>
                <a:close/>
                <a:moveTo>
                  <a:pt x="9823176" y="1958553"/>
                </a:moveTo>
                <a:cubicBezTo>
                  <a:pt x="9827435" y="1958553"/>
                  <a:pt x="9831296" y="1959348"/>
                  <a:pt x="9834890" y="1961216"/>
                </a:cubicBezTo>
                <a:cubicBezTo>
                  <a:pt x="9838617" y="1962805"/>
                  <a:pt x="9841679" y="1964941"/>
                  <a:pt x="9844208" y="1967605"/>
                </a:cubicBezTo>
                <a:cubicBezTo>
                  <a:pt x="9846737" y="1970132"/>
                  <a:pt x="9848867" y="1973322"/>
                  <a:pt x="9850331" y="1976921"/>
                </a:cubicBezTo>
                <a:cubicBezTo>
                  <a:pt x="9851796" y="1980510"/>
                  <a:pt x="9852595" y="1984237"/>
                  <a:pt x="9852595" y="1988365"/>
                </a:cubicBezTo>
                <a:cubicBezTo>
                  <a:pt x="9852595" y="1992494"/>
                  <a:pt x="9851796" y="1996490"/>
                  <a:pt x="9850331" y="2000077"/>
                </a:cubicBezTo>
                <a:cubicBezTo>
                  <a:pt x="9848734" y="2003681"/>
                  <a:pt x="9846737" y="2006739"/>
                  <a:pt x="9844208" y="2009402"/>
                </a:cubicBezTo>
                <a:cubicBezTo>
                  <a:pt x="9841546" y="2012064"/>
                  <a:pt x="9838484" y="2014194"/>
                  <a:pt x="9834890" y="2015653"/>
                </a:cubicBezTo>
                <a:cubicBezTo>
                  <a:pt x="9831296" y="2017117"/>
                  <a:pt x="9827435" y="2017922"/>
                  <a:pt x="9823176" y="2017922"/>
                </a:cubicBezTo>
                <a:cubicBezTo>
                  <a:pt x="9814123" y="2017922"/>
                  <a:pt x="9806935" y="2014994"/>
                  <a:pt x="9801343" y="2009402"/>
                </a:cubicBezTo>
                <a:cubicBezTo>
                  <a:pt x="9795753" y="2003806"/>
                  <a:pt x="9792957" y="1996753"/>
                  <a:pt x="9792957" y="1988237"/>
                </a:cubicBezTo>
                <a:cubicBezTo>
                  <a:pt x="9792957" y="1979983"/>
                  <a:pt x="9795753" y="1972925"/>
                  <a:pt x="9801343" y="1967203"/>
                </a:cubicBezTo>
                <a:cubicBezTo>
                  <a:pt x="9806935" y="1961479"/>
                  <a:pt x="9814123" y="1958553"/>
                  <a:pt x="9823176" y="1958553"/>
                </a:cubicBezTo>
                <a:close/>
                <a:moveTo>
                  <a:pt x="9605531" y="1958553"/>
                </a:moveTo>
                <a:cubicBezTo>
                  <a:pt x="9609790" y="1958553"/>
                  <a:pt x="9613784" y="1959348"/>
                  <a:pt x="9617245" y="1961216"/>
                </a:cubicBezTo>
                <a:cubicBezTo>
                  <a:pt x="9620839" y="1962805"/>
                  <a:pt x="9624033" y="1964941"/>
                  <a:pt x="9626562" y="1967605"/>
                </a:cubicBezTo>
                <a:cubicBezTo>
                  <a:pt x="9629092" y="1970132"/>
                  <a:pt x="9631222" y="1973322"/>
                  <a:pt x="9632686" y="1976921"/>
                </a:cubicBezTo>
                <a:cubicBezTo>
                  <a:pt x="9634150" y="1980510"/>
                  <a:pt x="9634949" y="1984237"/>
                  <a:pt x="9634949" y="1988365"/>
                </a:cubicBezTo>
                <a:cubicBezTo>
                  <a:pt x="9634949" y="1992494"/>
                  <a:pt x="9634150" y="1996490"/>
                  <a:pt x="9632686" y="2000077"/>
                </a:cubicBezTo>
                <a:cubicBezTo>
                  <a:pt x="9631089" y="2003681"/>
                  <a:pt x="9629092" y="2006739"/>
                  <a:pt x="9626562" y="2009402"/>
                </a:cubicBezTo>
                <a:cubicBezTo>
                  <a:pt x="9623901" y="2012064"/>
                  <a:pt x="9620839" y="2014194"/>
                  <a:pt x="9617245" y="2015653"/>
                </a:cubicBezTo>
                <a:cubicBezTo>
                  <a:pt x="9613651" y="2017117"/>
                  <a:pt x="9609790" y="2017922"/>
                  <a:pt x="9605531" y="2017922"/>
                </a:cubicBezTo>
                <a:cubicBezTo>
                  <a:pt x="9596610" y="2017922"/>
                  <a:pt x="9589289" y="2014994"/>
                  <a:pt x="9583698" y="2009402"/>
                </a:cubicBezTo>
                <a:cubicBezTo>
                  <a:pt x="9578108" y="2003806"/>
                  <a:pt x="9575312" y="1996753"/>
                  <a:pt x="9575312" y="1988237"/>
                </a:cubicBezTo>
                <a:cubicBezTo>
                  <a:pt x="9575312" y="1979983"/>
                  <a:pt x="9578108" y="1972925"/>
                  <a:pt x="9583698" y="1967203"/>
                </a:cubicBezTo>
                <a:cubicBezTo>
                  <a:pt x="9589289" y="1961479"/>
                  <a:pt x="9596478" y="1958553"/>
                  <a:pt x="9605531" y="1958553"/>
                </a:cubicBezTo>
                <a:close/>
                <a:moveTo>
                  <a:pt x="9387885" y="1958553"/>
                </a:moveTo>
                <a:cubicBezTo>
                  <a:pt x="9392145" y="1958553"/>
                  <a:pt x="9396138" y="1959348"/>
                  <a:pt x="9399599" y="1961216"/>
                </a:cubicBezTo>
                <a:cubicBezTo>
                  <a:pt x="9403194" y="1962805"/>
                  <a:pt x="9406388" y="1964941"/>
                  <a:pt x="9408917" y="1967605"/>
                </a:cubicBezTo>
                <a:cubicBezTo>
                  <a:pt x="9411447" y="1970132"/>
                  <a:pt x="9413576" y="1973322"/>
                  <a:pt x="9415041" y="1976921"/>
                </a:cubicBezTo>
                <a:cubicBezTo>
                  <a:pt x="9416505" y="1980510"/>
                  <a:pt x="9417304" y="1984237"/>
                  <a:pt x="9417304" y="1988367"/>
                </a:cubicBezTo>
                <a:cubicBezTo>
                  <a:pt x="9417304" y="1992494"/>
                  <a:pt x="9416505" y="1996490"/>
                  <a:pt x="9415041" y="2000077"/>
                </a:cubicBezTo>
                <a:cubicBezTo>
                  <a:pt x="9413444" y="2003681"/>
                  <a:pt x="9411447" y="2006739"/>
                  <a:pt x="9408917" y="2009402"/>
                </a:cubicBezTo>
                <a:cubicBezTo>
                  <a:pt x="9406255" y="2012064"/>
                  <a:pt x="9403194" y="2014194"/>
                  <a:pt x="9399599" y="2015653"/>
                </a:cubicBezTo>
                <a:cubicBezTo>
                  <a:pt x="9396005" y="2017117"/>
                  <a:pt x="9392145" y="2017922"/>
                  <a:pt x="9387885" y="2017922"/>
                </a:cubicBezTo>
                <a:cubicBezTo>
                  <a:pt x="9378965" y="2017922"/>
                  <a:pt x="9371644" y="2014994"/>
                  <a:pt x="9366053" y="2009402"/>
                </a:cubicBezTo>
                <a:cubicBezTo>
                  <a:pt x="9360462" y="2003806"/>
                  <a:pt x="9357667" y="1996753"/>
                  <a:pt x="9357667" y="1988237"/>
                </a:cubicBezTo>
                <a:cubicBezTo>
                  <a:pt x="9357667" y="1979983"/>
                  <a:pt x="9360462" y="1972925"/>
                  <a:pt x="9366053" y="1967203"/>
                </a:cubicBezTo>
                <a:cubicBezTo>
                  <a:pt x="9371644" y="1961479"/>
                  <a:pt x="9378832" y="1958553"/>
                  <a:pt x="9387885" y="1958553"/>
                </a:cubicBezTo>
                <a:close/>
                <a:moveTo>
                  <a:pt x="9170374" y="1958553"/>
                </a:moveTo>
                <a:cubicBezTo>
                  <a:pt x="9174500" y="1958553"/>
                  <a:pt x="9178494" y="1959348"/>
                  <a:pt x="9182088" y="1961216"/>
                </a:cubicBezTo>
                <a:cubicBezTo>
                  <a:pt x="9185682" y="1962805"/>
                  <a:pt x="9188876" y="1964941"/>
                  <a:pt x="9191405" y="1967605"/>
                </a:cubicBezTo>
                <a:cubicBezTo>
                  <a:pt x="9193935" y="1970132"/>
                  <a:pt x="9196065" y="1973322"/>
                  <a:pt x="9197529" y="1976921"/>
                </a:cubicBezTo>
                <a:cubicBezTo>
                  <a:pt x="9198993" y="1980510"/>
                  <a:pt x="9199792" y="1984237"/>
                  <a:pt x="9199792" y="1988367"/>
                </a:cubicBezTo>
                <a:cubicBezTo>
                  <a:pt x="9199792" y="1992494"/>
                  <a:pt x="9198993" y="1996490"/>
                  <a:pt x="9197529" y="2000077"/>
                </a:cubicBezTo>
                <a:cubicBezTo>
                  <a:pt x="9195932" y="2003681"/>
                  <a:pt x="9193935" y="2006739"/>
                  <a:pt x="9191405" y="2009402"/>
                </a:cubicBezTo>
                <a:cubicBezTo>
                  <a:pt x="9188744" y="2012064"/>
                  <a:pt x="9185682" y="2014194"/>
                  <a:pt x="9182088" y="2015653"/>
                </a:cubicBezTo>
                <a:cubicBezTo>
                  <a:pt x="9178494" y="2017117"/>
                  <a:pt x="9174633" y="2017922"/>
                  <a:pt x="9170374" y="2017922"/>
                </a:cubicBezTo>
                <a:cubicBezTo>
                  <a:pt x="9161453" y="2017922"/>
                  <a:pt x="9154132" y="2014994"/>
                  <a:pt x="9148541" y="2009402"/>
                </a:cubicBezTo>
                <a:cubicBezTo>
                  <a:pt x="9142951" y="2003806"/>
                  <a:pt x="9140155" y="1996753"/>
                  <a:pt x="9140155" y="1988237"/>
                </a:cubicBezTo>
                <a:cubicBezTo>
                  <a:pt x="9140155" y="1979983"/>
                  <a:pt x="9142951" y="1972925"/>
                  <a:pt x="9148541" y="1967203"/>
                </a:cubicBezTo>
                <a:cubicBezTo>
                  <a:pt x="9154132" y="1961479"/>
                  <a:pt x="9161321" y="1958553"/>
                  <a:pt x="9170374" y="1958553"/>
                </a:cubicBezTo>
                <a:close/>
                <a:moveTo>
                  <a:pt x="8952728" y="1958553"/>
                </a:moveTo>
                <a:cubicBezTo>
                  <a:pt x="8956988" y="1958553"/>
                  <a:pt x="8960849" y="1959348"/>
                  <a:pt x="8964442" y="1961216"/>
                </a:cubicBezTo>
                <a:cubicBezTo>
                  <a:pt x="8968037" y="1962805"/>
                  <a:pt x="8971231" y="1964941"/>
                  <a:pt x="8973760" y="1967605"/>
                </a:cubicBezTo>
                <a:cubicBezTo>
                  <a:pt x="8976290" y="1970132"/>
                  <a:pt x="8978419" y="1973322"/>
                  <a:pt x="8979884" y="1976921"/>
                </a:cubicBezTo>
                <a:cubicBezTo>
                  <a:pt x="8981348" y="1980510"/>
                  <a:pt x="8982147" y="1984237"/>
                  <a:pt x="8982147" y="1988367"/>
                </a:cubicBezTo>
                <a:cubicBezTo>
                  <a:pt x="8982147" y="1992494"/>
                  <a:pt x="8981348" y="1996490"/>
                  <a:pt x="8979884" y="2000077"/>
                </a:cubicBezTo>
                <a:cubicBezTo>
                  <a:pt x="8978287" y="2003681"/>
                  <a:pt x="8976290" y="2006739"/>
                  <a:pt x="8973760" y="2009402"/>
                </a:cubicBezTo>
                <a:cubicBezTo>
                  <a:pt x="8971098" y="2012064"/>
                  <a:pt x="8968037" y="2014194"/>
                  <a:pt x="8964442" y="2015653"/>
                </a:cubicBezTo>
                <a:cubicBezTo>
                  <a:pt x="8960849" y="2017117"/>
                  <a:pt x="8956988" y="2017922"/>
                  <a:pt x="8952728" y="2017922"/>
                </a:cubicBezTo>
                <a:cubicBezTo>
                  <a:pt x="8943808" y="2017922"/>
                  <a:pt x="8936487" y="2014994"/>
                  <a:pt x="8930896" y="2009402"/>
                </a:cubicBezTo>
                <a:cubicBezTo>
                  <a:pt x="8925305" y="2003806"/>
                  <a:pt x="8922510" y="1996753"/>
                  <a:pt x="8922510" y="1988237"/>
                </a:cubicBezTo>
                <a:cubicBezTo>
                  <a:pt x="8922510" y="1979983"/>
                  <a:pt x="8925305" y="1972925"/>
                  <a:pt x="8930896" y="1967203"/>
                </a:cubicBezTo>
                <a:cubicBezTo>
                  <a:pt x="8936487" y="1961479"/>
                  <a:pt x="8943675" y="1958553"/>
                  <a:pt x="8952728" y="1958553"/>
                </a:cubicBezTo>
                <a:close/>
                <a:moveTo>
                  <a:pt x="8735083" y="1958553"/>
                </a:moveTo>
                <a:cubicBezTo>
                  <a:pt x="8739342" y="1958553"/>
                  <a:pt x="8743203" y="1959348"/>
                  <a:pt x="8746797" y="1961216"/>
                </a:cubicBezTo>
                <a:cubicBezTo>
                  <a:pt x="8750391" y="1962805"/>
                  <a:pt x="8753586" y="1964941"/>
                  <a:pt x="8756115" y="1967605"/>
                </a:cubicBezTo>
                <a:cubicBezTo>
                  <a:pt x="8758644" y="1970132"/>
                  <a:pt x="8760774" y="1973322"/>
                  <a:pt x="8762238" y="1976921"/>
                </a:cubicBezTo>
                <a:cubicBezTo>
                  <a:pt x="8763702" y="1980510"/>
                  <a:pt x="8764502" y="1984237"/>
                  <a:pt x="8764502" y="1988367"/>
                </a:cubicBezTo>
                <a:cubicBezTo>
                  <a:pt x="8764502" y="1992494"/>
                  <a:pt x="8763702" y="1996490"/>
                  <a:pt x="8762238" y="2000077"/>
                </a:cubicBezTo>
                <a:cubicBezTo>
                  <a:pt x="8760641" y="2003681"/>
                  <a:pt x="8758644" y="2006739"/>
                  <a:pt x="8756115" y="2009402"/>
                </a:cubicBezTo>
                <a:cubicBezTo>
                  <a:pt x="8753453" y="2012064"/>
                  <a:pt x="8750391" y="2014194"/>
                  <a:pt x="8746797" y="2015653"/>
                </a:cubicBezTo>
                <a:cubicBezTo>
                  <a:pt x="8743203" y="2017117"/>
                  <a:pt x="8739342" y="2017922"/>
                  <a:pt x="8735083" y="2017922"/>
                </a:cubicBezTo>
                <a:cubicBezTo>
                  <a:pt x="8726030" y="2017922"/>
                  <a:pt x="8718841" y="2014994"/>
                  <a:pt x="8713250" y="2009402"/>
                </a:cubicBezTo>
                <a:cubicBezTo>
                  <a:pt x="8707660" y="2003806"/>
                  <a:pt x="8704864" y="1996753"/>
                  <a:pt x="8704864" y="1988237"/>
                </a:cubicBezTo>
                <a:cubicBezTo>
                  <a:pt x="8704864" y="1979983"/>
                  <a:pt x="8707660" y="1972925"/>
                  <a:pt x="8713250" y="1967203"/>
                </a:cubicBezTo>
                <a:cubicBezTo>
                  <a:pt x="8718841" y="1961479"/>
                  <a:pt x="8726030" y="1958553"/>
                  <a:pt x="8735083" y="1958553"/>
                </a:cubicBezTo>
                <a:close/>
                <a:moveTo>
                  <a:pt x="8517438" y="1958553"/>
                </a:moveTo>
                <a:cubicBezTo>
                  <a:pt x="8521698" y="1958553"/>
                  <a:pt x="8525559" y="1959348"/>
                  <a:pt x="8529152" y="1961216"/>
                </a:cubicBezTo>
                <a:cubicBezTo>
                  <a:pt x="8532880" y="1962805"/>
                  <a:pt x="8535941" y="1964941"/>
                  <a:pt x="8538470" y="1967605"/>
                </a:cubicBezTo>
                <a:cubicBezTo>
                  <a:pt x="8541000" y="1970132"/>
                  <a:pt x="8543130" y="1973322"/>
                  <a:pt x="8544594" y="1976921"/>
                </a:cubicBezTo>
                <a:cubicBezTo>
                  <a:pt x="8546058" y="1980510"/>
                  <a:pt x="8546857" y="1984237"/>
                  <a:pt x="8546857" y="1988367"/>
                </a:cubicBezTo>
                <a:cubicBezTo>
                  <a:pt x="8546857" y="1992494"/>
                  <a:pt x="8546058" y="1996490"/>
                  <a:pt x="8544594" y="2000077"/>
                </a:cubicBezTo>
                <a:cubicBezTo>
                  <a:pt x="8542997" y="2003681"/>
                  <a:pt x="8541000" y="2006739"/>
                  <a:pt x="8538470" y="2009402"/>
                </a:cubicBezTo>
                <a:cubicBezTo>
                  <a:pt x="8535808" y="2012064"/>
                  <a:pt x="8532747" y="2014194"/>
                  <a:pt x="8529152" y="2015653"/>
                </a:cubicBezTo>
                <a:cubicBezTo>
                  <a:pt x="8525559" y="2017117"/>
                  <a:pt x="8521698" y="2017922"/>
                  <a:pt x="8517438" y="2017922"/>
                </a:cubicBezTo>
                <a:cubicBezTo>
                  <a:pt x="8508385" y="2017922"/>
                  <a:pt x="8501197" y="2014994"/>
                  <a:pt x="8495606" y="2009402"/>
                </a:cubicBezTo>
                <a:cubicBezTo>
                  <a:pt x="8490015" y="2003806"/>
                  <a:pt x="8487220" y="1996753"/>
                  <a:pt x="8487220" y="1988237"/>
                </a:cubicBezTo>
                <a:cubicBezTo>
                  <a:pt x="8487220" y="1979983"/>
                  <a:pt x="8490015" y="1972925"/>
                  <a:pt x="8495606" y="1967203"/>
                </a:cubicBezTo>
                <a:cubicBezTo>
                  <a:pt x="8501197" y="1961479"/>
                  <a:pt x="8508385" y="1958553"/>
                  <a:pt x="8517438" y="1958553"/>
                </a:cubicBezTo>
                <a:close/>
                <a:moveTo>
                  <a:pt x="8299793" y="1958553"/>
                </a:moveTo>
                <a:cubicBezTo>
                  <a:pt x="8304052" y="1958553"/>
                  <a:pt x="8308046" y="1959348"/>
                  <a:pt x="8311507" y="1961216"/>
                </a:cubicBezTo>
                <a:cubicBezTo>
                  <a:pt x="8315235" y="1962805"/>
                  <a:pt x="8318296" y="1964941"/>
                  <a:pt x="8320825" y="1967605"/>
                </a:cubicBezTo>
                <a:cubicBezTo>
                  <a:pt x="8323354" y="1970132"/>
                  <a:pt x="8325484" y="1973322"/>
                  <a:pt x="8326948" y="1976921"/>
                </a:cubicBezTo>
                <a:cubicBezTo>
                  <a:pt x="8328413" y="1980510"/>
                  <a:pt x="8329212" y="1984237"/>
                  <a:pt x="8329212" y="1988367"/>
                </a:cubicBezTo>
                <a:cubicBezTo>
                  <a:pt x="8329212" y="1992494"/>
                  <a:pt x="8328413" y="1996490"/>
                  <a:pt x="8326948" y="2000077"/>
                </a:cubicBezTo>
                <a:cubicBezTo>
                  <a:pt x="8325351" y="2003681"/>
                  <a:pt x="8323354" y="2006739"/>
                  <a:pt x="8320825" y="2009402"/>
                </a:cubicBezTo>
                <a:cubicBezTo>
                  <a:pt x="8318163" y="2012064"/>
                  <a:pt x="8315101" y="2014194"/>
                  <a:pt x="8311507" y="2015653"/>
                </a:cubicBezTo>
                <a:cubicBezTo>
                  <a:pt x="8307913" y="2017117"/>
                  <a:pt x="8304052" y="2017922"/>
                  <a:pt x="8299793" y="2017922"/>
                </a:cubicBezTo>
                <a:cubicBezTo>
                  <a:pt x="8290874" y="2017922"/>
                  <a:pt x="8283553" y="2014994"/>
                  <a:pt x="8277960" y="2009402"/>
                </a:cubicBezTo>
                <a:cubicBezTo>
                  <a:pt x="8272370" y="2003806"/>
                  <a:pt x="8269574" y="1996753"/>
                  <a:pt x="8269574" y="1988237"/>
                </a:cubicBezTo>
                <a:cubicBezTo>
                  <a:pt x="8269574" y="1979983"/>
                  <a:pt x="8272370" y="1972925"/>
                  <a:pt x="8277960" y="1967203"/>
                </a:cubicBezTo>
                <a:cubicBezTo>
                  <a:pt x="8283553" y="1961479"/>
                  <a:pt x="8290741" y="1958553"/>
                  <a:pt x="8299793" y="1958553"/>
                </a:cubicBezTo>
                <a:close/>
                <a:moveTo>
                  <a:pt x="8082281" y="1958553"/>
                </a:moveTo>
                <a:cubicBezTo>
                  <a:pt x="8086407" y="1958553"/>
                  <a:pt x="8090401" y="1959348"/>
                  <a:pt x="8094127" y="1961216"/>
                </a:cubicBezTo>
                <a:cubicBezTo>
                  <a:pt x="8097855" y="1962805"/>
                  <a:pt x="8100916" y="1964941"/>
                  <a:pt x="8103446" y="1967605"/>
                </a:cubicBezTo>
                <a:cubicBezTo>
                  <a:pt x="8105975" y="1970132"/>
                  <a:pt x="8108104" y="1973322"/>
                  <a:pt x="8109569" y="1976921"/>
                </a:cubicBezTo>
                <a:cubicBezTo>
                  <a:pt x="8111033" y="1980510"/>
                  <a:pt x="8111832" y="1984237"/>
                  <a:pt x="8111832" y="1988367"/>
                </a:cubicBezTo>
                <a:cubicBezTo>
                  <a:pt x="8111832" y="1992494"/>
                  <a:pt x="8111033" y="1996490"/>
                  <a:pt x="8109569" y="2000077"/>
                </a:cubicBezTo>
                <a:cubicBezTo>
                  <a:pt x="8107972" y="2003681"/>
                  <a:pt x="8105975" y="2006739"/>
                  <a:pt x="8103446" y="2009402"/>
                </a:cubicBezTo>
                <a:cubicBezTo>
                  <a:pt x="8100783" y="2012064"/>
                  <a:pt x="8097722" y="2014194"/>
                  <a:pt x="8094127" y="2015653"/>
                </a:cubicBezTo>
                <a:cubicBezTo>
                  <a:pt x="8090401" y="2017117"/>
                  <a:pt x="8086540" y="2017922"/>
                  <a:pt x="8082281" y="2017922"/>
                </a:cubicBezTo>
                <a:cubicBezTo>
                  <a:pt x="8073361" y="2017922"/>
                  <a:pt x="8066040" y="2014994"/>
                  <a:pt x="8060448" y="2009402"/>
                </a:cubicBezTo>
                <a:cubicBezTo>
                  <a:pt x="8054857" y="2003806"/>
                  <a:pt x="8052062" y="1996753"/>
                  <a:pt x="8052062" y="1988237"/>
                </a:cubicBezTo>
                <a:cubicBezTo>
                  <a:pt x="8052062" y="1979983"/>
                  <a:pt x="8054857" y="1972925"/>
                  <a:pt x="8060448" y="1967203"/>
                </a:cubicBezTo>
                <a:cubicBezTo>
                  <a:pt x="8066040" y="1961479"/>
                  <a:pt x="8073228" y="1958553"/>
                  <a:pt x="8082281" y="1958553"/>
                </a:cubicBezTo>
                <a:close/>
                <a:moveTo>
                  <a:pt x="7864636" y="1958553"/>
                </a:moveTo>
                <a:cubicBezTo>
                  <a:pt x="7868762" y="1958553"/>
                  <a:pt x="7872756" y="1959348"/>
                  <a:pt x="7876483" y="1961216"/>
                </a:cubicBezTo>
                <a:cubicBezTo>
                  <a:pt x="7880210" y="1962805"/>
                  <a:pt x="7883272" y="1964941"/>
                  <a:pt x="7885802" y="1967605"/>
                </a:cubicBezTo>
                <a:cubicBezTo>
                  <a:pt x="7888331" y="1970132"/>
                  <a:pt x="7890460" y="1973322"/>
                  <a:pt x="7891924" y="1976921"/>
                </a:cubicBezTo>
                <a:cubicBezTo>
                  <a:pt x="7893389" y="1980510"/>
                  <a:pt x="7894188" y="1984237"/>
                  <a:pt x="7894188" y="1988367"/>
                </a:cubicBezTo>
                <a:cubicBezTo>
                  <a:pt x="7894188" y="1992494"/>
                  <a:pt x="7893389" y="1996490"/>
                  <a:pt x="7891924" y="2000077"/>
                </a:cubicBezTo>
                <a:cubicBezTo>
                  <a:pt x="7890327" y="2003681"/>
                  <a:pt x="7888331" y="2006739"/>
                  <a:pt x="7885802" y="2009402"/>
                </a:cubicBezTo>
                <a:cubicBezTo>
                  <a:pt x="7883139" y="2012064"/>
                  <a:pt x="7880078" y="2014194"/>
                  <a:pt x="7876483" y="2015653"/>
                </a:cubicBezTo>
                <a:cubicBezTo>
                  <a:pt x="7872756" y="2017117"/>
                  <a:pt x="7868895" y="2017922"/>
                  <a:pt x="7864636" y="2017922"/>
                </a:cubicBezTo>
                <a:cubicBezTo>
                  <a:pt x="7855717" y="2017922"/>
                  <a:pt x="7848396" y="2014994"/>
                  <a:pt x="7842803" y="2009402"/>
                </a:cubicBezTo>
                <a:cubicBezTo>
                  <a:pt x="7837213" y="2003806"/>
                  <a:pt x="7834417" y="1996753"/>
                  <a:pt x="7834417" y="1988237"/>
                </a:cubicBezTo>
                <a:cubicBezTo>
                  <a:pt x="7834417" y="1979983"/>
                  <a:pt x="7837213" y="1972925"/>
                  <a:pt x="7842803" y="1967203"/>
                </a:cubicBezTo>
                <a:cubicBezTo>
                  <a:pt x="7848396" y="1961479"/>
                  <a:pt x="7855584" y="1958553"/>
                  <a:pt x="7864636" y="1958553"/>
                </a:cubicBezTo>
                <a:close/>
                <a:moveTo>
                  <a:pt x="7646991" y="1958553"/>
                </a:moveTo>
                <a:cubicBezTo>
                  <a:pt x="7651250" y="1958553"/>
                  <a:pt x="7655111" y="1959348"/>
                  <a:pt x="7658705" y="1961216"/>
                </a:cubicBezTo>
                <a:cubicBezTo>
                  <a:pt x="7662432" y="1962805"/>
                  <a:pt x="7665493" y="1964941"/>
                  <a:pt x="7668022" y="1967605"/>
                </a:cubicBezTo>
                <a:cubicBezTo>
                  <a:pt x="7670552" y="1970132"/>
                  <a:pt x="7672682" y="1973322"/>
                  <a:pt x="7674146" y="1976921"/>
                </a:cubicBezTo>
                <a:cubicBezTo>
                  <a:pt x="7675610" y="1980510"/>
                  <a:pt x="7676409" y="1984237"/>
                  <a:pt x="7676409" y="1988367"/>
                </a:cubicBezTo>
                <a:cubicBezTo>
                  <a:pt x="7676409" y="1992494"/>
                  <a:pt x="7675610" y="1996490"/>
                  <a:pt x="7674146" y="2000077"/>
                </a:cubicBezTo>
                <a:cubicBezTo>
                  <a:pt x="7672549" y="2003681"/>
                  <a:pt x="7670552" y="2006739"/>
                  <a:pt x="7668022" y="2009402"/>
                </a:cubicBezTo>
                <a:cubicBezTo>
                  <a:pt x="7665361" y="2012064"/>
                  <a:pt x="7662299" y="2014194"/>
                  <a:pt x="7658705" y="2015653"/>
                </a:cubicBezTo>
                <a:cubicBezTo>
                  <a:pt x="7655111" y="2017117"/>
                  <a:pt x="7651250" y="2017922"/>
                  <a:pt x="7646991" y="2017922"/>
                </a:cubicBezTo>
                <a:cubicBezTo>
                  <a:pt x="7638071" y="2017922"/>
                  <a:pt x="7630750" y="2014994"/>
                  <a:pt x="7625158" y="2009402"/>
                </a:cubicBezTo>
                <a:cubicBezTo>
                  <a:pt x="7619568" y="2003806"/>
                  <a:pt x="7616772" y="1996753"/>
                  <a:pt x="7616772" y="1988237"/>
                </a:cubicBezTo>
                <a:cubicBezTo>
                  <a:pt x="7616772" y="1979983"/>
                  <a:pt x="7619568" y="1972925"/>
                  <a:pt x="7625158" y="1967203"/>
                </a:cubicBezTo>
                <a:cubicBezTo>
                  <a:pt x="7630750" y="1961479"/>
                  <a:pt x="7637939" y="1958553"/>
                  <a:pt x="7646991" y="1958553"/>
                </a:cubicBezTo>
                <a:close/>
                <a:moveTo>
                  <a:pt x="7429345" y="1958553"/>
                </a:moveTo>
                <a:cubicBezTo>
                  <a:pt x="7433605" y="1958553"/>
                  <a:pt x="7437466" y="1959348"/>
                  <a:pt x="7441059" y="1961216"/>
                </a:cubicBezTo>
                <a:cubicBezTo>
                  <a:pt x="7444787" y="1962805"/>
                  <a:pt x="7447848" y="1964941"/>
                  <a:pt x="7450377" y="1967605"/>
                </a:cubicBezTo>
                <a:cubicBezTo>
                  <a:pt x="7452907" y="1970132"/>
                  <a:pt x="7455036" y="1973322"/>
                  <a:pt x="7456501" y="1976921"/>
                </a:cubicBezTo>
                <a:cubicBezTo>
                  <a:pt x="7457965" y="1980510"/>
                  <a:pt x="7458764" y="1984237"/>
                  <a:pt x="7458764" y="1988367"/>
                </a:cubicBezTo>
                <a:cubicBezTo>
                  <a:pt x="7458764" y="1992494"/>
                  <a:pt x="7457965" y="1996490"/>
                  <a:pt x="7456501" y="2000077"/>
                </a:cubicBezTo>
                <a:cubicBezTo>
                  <a:pt x="7454904" y="2003681"/>
                  <a:pt x="7452907" y="2006739"/>
                  <a:pt x="7450377" y="2009402"/>
                </a:cubicBezTo>
                <a:cubicBezTo>
                  <a:pt x="7447715" y="2012064"/>
                  <a:pt x="7444654" y="2014194"/>
                  <a:pt x="7441059" y="2015653"/>
                </a:cubicBezTo>
                <a:cubicBezTo>
                  <a:pt x="7437466" y="2017117"/>
                  <a:pt x="7433605" y="2017922"/>
                  <a:pt x="7429345" y="2017922"/>
                </a:cubicBezTo>
                <a:cubicBezTo>
                  <a:pt x="7420426" y="2017922"/>
                  <a:pt x="7413105" y="2014994"/>
                  <a:pt x="7407513" y="2009402"/>
                </a:cubicBezTo>
                <a:cubicBezTo>
                  <a:pt x="7401922" y="2003806"/>
                  <a:pt x="7399127" y="1996753"/>
                  <a:pt x="7399127" y="1988237"/>
                </a:cubicBezTo>
                <a:cubicBezTo>
                  <a:pt x="7399127" y="1979983"/>
                  <a:pt x="7401922" y="1972925"/>
                  <a:pt x="7407513" y="1967203"/>
                </a:cubicBezTo>
                <a:cubicBezTo>
                  <a:pt x="7413105" y="1961479"/>
                  <a:pt x="7420293" y="1958553"/>
                  <a:pt x="7429345" y="1958553"/>
                </a:cubicBezTo>
                <a:close/>
                <a:moveTo>
                  <a:pt x="7211701" y="1958553"/>
                </a:moveTo>
                <a:cubicBezTo>
                  <a:pt x="7215960" y="1958553"/>
                  <a:pt x="7219954" y="1959348"/>
                  <a:pt x="7223415" y="1961216"/>
                </a:cubicBezTo>
                <a:cubicBezTo>
                  <a:pt x="7227142" y="1962805"/>
                  <a:pt x="7230204" y="1964941"/>
                  <a:pt x="7232733" y="1967605"/>
                </a:cubicBezTo>
                <a:cubicBezTo>
                  <a:pt x="7235262" y="1970132"/>
                  <a:pt x="7237392" y="1973322"/>
                  <a:pt x="7238856" y="1976921"/>
                </a:cubicBezTo>
                <a:cubicBezTo>
                  <a:pt x="7240321" y="1980510"/>
                  <a:pt x="7241120" y="1984237"/>
                  <a:pt x="7241120" y="1988367"/>
                </a:cubicBezTo>
                <a:cubicBezTo>
                  <a:pt x="7241120" y="1992494"/>
                  <a:pt x="7240321" y="1996490"/>
                  <a:pt x="7238856" y="2000077"/>
                </a:cubicBezTo>
                <a:cubicBezTo>
                  <a:pt x="7237259" y="2003681"/>
                  <a:pt x="7235262" y="2006739"/>
                  <a:pt x="7232733" y="2009402"/>
                </a:cubicBezTo>
                <a:cubicBezTo>
                  <a:pt x="7230071" y="2012064"/>
                  <a:pt x="7227009" y="2014194"/>
                  <a:pt x="7223415" y="2015653"/>
                </a:cubicBezTo>
                <a:cubicBezTo>
                  <a:pt x="7219821" y="2017117"/>
                  <a:pt x="7215960" y="2017922"/>
                  <a:pt x="7211701" y="2017922"/>
                </a:cubicBezTo>
                <a:cubicBezTo>
                  <a:pt x="7202782" y="2017922"/>
                  <a:pt x="7195460" y="2014994"/>
                  <a:pt x="7189868" y="2009402"/>
                </a:cubicBezTo>
                <a:cubicBezTo>
                  <a:pt x="7184278" y="2003806"/>
                  <a:pt x="7181482" y="1996753"/>
                  <a:pt x="7181482" y="1988237"/>
                </a:cubicBezTo>
                <a:cubicBezTo>
                  <a:pt x="7181482" y="1979983"/>
                  <a:pt x="7184278" y="1972925"/>
                  <a:pt x="7189868" y="1967203"/>
                </a:cubicBezTo>
                <a:cubicBezTo>
                  <a:pt x="7195460" y="1961479"/>
                  <a:pt x="7202649" y="1958553"/>
                  <a:pt x="7211701" y="1958553"/>
                </a:cubicBezTo>
                <a:close/>
                <a:moveTo>
                  <a:pt x="6994056" y="1958553"/>
                </a:moveTo>
                <a:cubicBezTo>
                  <a:pt x="6998315" y="1958553"/>
                  <a:pt x="7002309" y="1959348"/>
                  <a:pt x="7005769" y="1961216"/>
                </a:cubicBezTo>
                <a:cubicBezTo>
                  <a:pt x="7009497" y="1962805"/>
                  <a:pt x="7012558" y="1964941"/>
                  <a:pt x="7015087" y="1967605"/>
                </a:cubicBezTo>
                <a:cubicBezTo>
                  <a:pt x="7017617" y="1970132"/>
                  <a:pt x="7019747" y="1973322"/>
                  <a:pt x="7021211" y="1976921"/>
                </a:cubicBezTo>
                <a:cubicBezTo>
                  <a:pt x="7022675" y="1980510"/>
                  <a:pt x="7023474" y="1984237"/>
                  <a:pt x="7023474" y="1988367"/>
                </a:cubicBezTo>
                <a:cubicBezTo>
                  <a:pt x="7023474" y="1992494"/>
                  <a:pt x="7022675" y="1996490"/>
                  <a:pt x="7021211" y="2000077"/>
                </a:cubicBezTo>
                <a:cubicBezTo>
                  <a:pt x="7019614" y="2003681"/>
                  <a:pt x="7017617" y="2006739"/>
                  <a:pt x="7015087" y="2009402"/>
                </a:cubicBezTo>
                <a:cubicBezTo>
                  <a:pt x="7012425" y="2012064"/>
                  <a:pt x="7009364" y="2014194"/>
                  <a:pt x="7005769" y="2015653"/>
                </a:cubicBezTo>
                <a:cubicBezTo>
                  <a:pt x="7002176" y="2017117"/>
                  <a:pt x="6998315" y="2017922"/>
                  <a:pt x="6994056" y="2017922"/>
                </a:cubicBezTo>
                <a:cubicBezTo>
                  <a:pt x="6985136" y="2017922"/>
                  <a:pt x="6977815" y="2014994"/>
                  <a:pt x="6972223" y="2009402"/>
                </a:cubicBezTo>
                <a:cubicBezTo>
                  <a:pt x="6966632" y="2003806"/>
                  <a:pt x="6963837" y="1996753"/>
                  <a:pt x="6963837" y="1988237"/>
                </a:cubicBezTo>
                <a:cubicBezTo>
                  <a:pt x="6963837" y="1979983"/>
                  <a:pt x="6966632" y="1972925"/>
                  <a:pt x="6972223" y="1967203"/>
                </a:cubicBezTo>
                <a:cubicBezTo>
                  <a:pt x="6977815" y="1961479"/>
                  <a:pt x="6985003" y="1958553"/>
                  <a:pt x="6994056" y="1958553"/>
                </a:cubicBezTo>
                <a:close/>
                <a:moveTo>
                  <a:pt x="6776544" y="1958553"/>
                </a:moveTo>
                <a:cubicBezTo>
                  <a:pt x="6780670" y="1958553"/>
                  <a:pt x="6784664" y="1959348"/>
                  <a:pt x="6788258" y="1961216"/>
                </a:cubicBezTo>
                <a:cubicBezTo>
                  <a:pt x="6791985" y="1962805"/>
                  <a:pt x="6795047" y="1964941"/>
                  <a:pt x="6797576" y="1967605"/>
                </a:cubicBezTo>
                <a:cubicBezTo>
                  <a:pt x="6800105" y="1970132"/>
                  <a:pt x="6802235" y="1973322"/>
                  <a:pt x="6803699" y="1976921"/>
                </a:cubicBezTo>
                <a:cubicBezTo>
                  <a:pt x="6805164" y="1980510"/>
                  <a:pt x="6805963" y="1984237"/>
                  <a:pt x="6805963" y="1988367"/>
                </a:cubicBezTo>
                <a:cubicBezTo>
                  <a:pt x="6805963" y="1992494"/>
                  <a:pt x="6805164" y="1996490"/>
                  <a:pt x="6803699" y="2000077"/>
                </a:cubicBezTo>
                <a:cubicBezTo>
                  <a:pt x="6802102" y="2003681"/>
                  <a:pt x="6800105" y="2006739"/>
                  <a:pt x="6797576" y="2009402"/>
                </a:cubicBezTo>
                <a:cubicBezTo>
                  <a:pt x="6794914" y="2012064"/>
                  <a:pt x="6791852" y="2014194"/>
                  <a:pt x="6788258" y="2015653"/>
                </a:cubicBezTo>
                <a:cubicBezTo>
                  <a:pt x="6784664" y="2017117"/>
                  <a:pt x="6780803" y="2017922"/>
                  <a:pt x="6776544" y="2017922"/>
                </a:cubicBezTo>
                <a:cubicBezTo>
                  <a:pt x="6767625" y="2017922"/>
                  <a:pt x="6760303" y="2014994"/>
                  <a:pt x="6754711" y="2009402"/>
                </a:cubicBezTo>
                <a:cubicBezTo>
                  <a:pt x="6749121" y="2003806"/>
                  <a:pt x="6746325" y="1996753"/>
                  <a:pt x="6746325" y="1988237"/>
                </a:cubicBezTo>
                <a:cubicBezTo>
                  <a:pt x="6746325" y="1979983"/>
                  <a:pt x="6749121" y="1972925"/>
                  <a:pt x="6754711" y="1967203"/>
                </a:cubicBezTo>
                <a:cubicBezTo>
                  <a:pt x="6760303" y="1961479"/>
                  <a:pt x="6767492" y="1958553"/>
                  <a:pt x="6776544" y="1958553"/>
                </a:cubicBezTo>
                <a:close/>
                <a:moveTo>
                  <a:pt x="6558899" y="1958553"/>
                </a:moveTo>
                <a:cubicBezTo>
                  <a:pt x="6563158" y="1958553"/>
                  <a:pt x="6567019" y="1959348"/>
                  <a:pt x="6570612" y="1961216"/>
                </a:cubicBezTo>
                <a:cubicBezTo>
                  <a:pt x="6574340" y="1962805"/>
                  <a:pt x="6577401" y="1964941"/>
                  <a:pt x="6579930" y="1967605"/>
                </a:cubicBezTo>
                <a:cubicBezTo>
                  <a:pt x="6582460" y="1970132"/>
                  <a:pt x="6584590" y="1973322"/>
                  <a:pt x="6586054" y="1976921"/>
                </a:cubicBezTo>
                <a:cubicBezTo>
                  <a:pt x="6587518" y="1980510"/>
                  <a:pt x="6588317" y="1984237"/>
                  <a:pt x="6588317" y="1988367"/>
                </a:cubicBezTo>
                <a:cubicBezTo>
                  <a:pt x="6588317" y="1992494"/>
                  <a:pt x="6587518" y="1996490"/>
                  <a:pt x="6586054" y="2000077"/>
                </a:cubicBezTo>
                <a:cubicBezTo>
                  <a:pt x="6584457" y="2003681"/>
                  <a:pt x="6582460" y="2006739"/>
                  <a:pt x="6579930" y="2009402"/>
                </a:cubicBezTo>
                <a:cubicBezTo>
                  <a:pt x="6577268" y="2012064"/>
                  <a:pt x="6574207" y="2014194"/>
                  <a:pt x="6570612" y="2015653"/>
                </a:cubicBezTo>
                <a:cubicBezTo>
                  <a:pt x="6567019" y="2017117"/>
                  <a:pt x="6563158" y="2017922"/>
                  <a:pt x="6558899" y="2017922"/>
                </a:cubicBezTo>
                <a:cubicBezTo>
                  <a:pt x="6549979" y="2017922"/>
                  <a:pt x="6542658" y="2014994"/>
                  <a:pt x="6537066" y="2009402"/>
                </a:cubicBezTo>
                <a:cubicBezTo>
                  <a:pt x="6531476" y="2003806"/>
                  <a:pt x="6528680" y="1996753"/>
                  <a:pt x="6528680" y="1988237"/>
                </a:cubicBezTo>
                <a:cubicBezTo>
                  <a:pt x="6528680" y="1979983"/>
                  <a:pt x="6531476" y="1972925"/>
                  <a:pt x="6537066" y="1967203"/>
                </a:cubicBezTo>
                <a:cubicBezTo>
                  <a:pt x="6542658" y="1961479"/>
                  <a:pt x="6549846" y="1958553"/>
                  <a:pt x="6558899" y="1958553"/>
                </a:cubicBezTo>
                <a:close/>
                <a:moveTo>
                  <a:pt x="6341253" y="1958553"/>
                </a:moveTo>
                <a:cubicBezTo>
                  <a:pt x="6345513" y="1958553"/>
                  <a:pt x="6349373" y="1959348"/>
                  <a:pt x="6352968" y="1961216"/>
                </a:cubicBezTo>
                <a:cubicBezTo>
                  <a:pt x="6356695" y="1962805"/>
                  <a:pt x="6359757" y="1964941"/>
                  <a:pt x="6362286" y="1967605"/>
                </a:cubicBezTo>
                <a:cubicBezTo>
                  <a:pt x="6364815" y="1970132"/>
                  <a:pt x="6366945" y="1973322"/>
                  <a:pt x="6368409" y="1976921"/>
                </a:cubicBezTo>
                <a:cubicBezTo>
                  <a:pt x="6369874" y="1980510"/>
                  <a:pt x="6370672" y="1984237"/>
                  <a:pt x="6370672" y="1988367"/>
                </a:cubicBezTo>
                <a:cubicBezTo>
                  <a:pt x="6370672" y="1992494"/>
                  <a:pt x="6369874" y="1996490"/>
                  <a:pt x="6368409" y="2000077"/>
                </a:cubicBezTo>
                <a:cubicBezTo>
                  <a:pt x="6366811" y="2003681"/>
                  <a:pt x="6364815" y="2006739"/>
                  <a:pt x="6362286" y="2009402"/>
                </a:cubicBezTo>
                <a:cubicBezTo>
                  <a:pt x="6359623" y="2012064"/>
                  <a:pt x="6356562" y="2014194"/>
                  <a:pt x="6352968" y="2015653"/>
                </a:cubicBezTo>
                <a:cubicBezTo>
                  <a:pt x="6349373" y="2017117"/>
                  <a:pt x="6345513" y="2017922"/>
                  <a:pt x="6341253" y="2017922"/>
                </a:cubicBezTo>
                <a:cubicBezTo>
                  <a:pt x="6332335" y="2017922"/>
                  <a:pt x="6325013" y="2014994"/>
                  <a:pt x="6319421" y="2009402"/>
                </a:cubicBezTo>
                <a:cubicBezTo>
                  <a:pt x="6313830" y="2003806"/>
                  <a:pt x="6311035" y="1996753"/>
                  <a:pt x="6311035" y="1988237"/>
                </a:cubicBezTo>
                <a:cubicBezTo>
                  <a:pt x="6311035" y="1979983"/>
                  <a:pt x="6313830" y="1972925"/>
                  <a:pt x="6319421" y="1967203"/>
                </a:cubicBezTo>
                <a:cubicBezTo>
                  <a:pt x="6325013" y="1961479"/>
                  <a:pt x="6332201" y="1958553"/>
                  <a:pt x="6341253" y="1958553"/>
                </a:cubicBezTo>
                <a:close/>
                <a:moveTo>
                  <a:pt x="6123608" y="1958553"/>
                </a:moveTo>
                <a:cubicBezTo>
                  <a:pt x="6127867" y="1958553"/>
                  <a:pt x="6131728" y="1959348"/>
                  <a:pt x="6135322" y="1961216"/>
                </a:cubicBezTo>
                <a:cubicBezTo>
                  <a:pt x="6139049" y="1962805"/>
                  <a:pt x="6142111" y="1964941"/>
                  <a:pt x="6144640" y="1967605"/>
                </a:cubicBezTo>
                <a:cubicBezTo>
                  <a:pt x="6147169" y="1970132"/>
                  <a:pt x="6149299" y="1973322"/>
                  <a:pt x="6150763" y="1976921"/>
                </a:cubicBezTo>
                <a:cubicBezTo>
                  <a:pt x="6152228" y="1980510"/>
                  <a:pt x="6153026" y="1984237"/>
                  <a:pt x="6153026" y="1988367"/>
                </a:cubicBezTo>
                <a:cubicBezTo>
                  <a:pt x="6153026" y="1992494"/>
                  <a:pt x="6152228" y="1996490"/>
                  <a:pt x="6150763" y="2000077"/>
                </a:cubicBezTo>
                <a:cubicBezTo>
                  <a:pt x="6149299" y="2003681"/>
                  <a:pt x="6147169" y="2006739"/>
                  <a:pt x="6144640" y="2009402"/>
                </a:cubicBezTo>
                <a:cubicBezTo>
                  <a:pt x="6141977" y="2012064"/>
                  <a:pt x="6138916" y="2014194"/>
                  <a:pt x="6135322" y="2015653"/>
                </a:cubicBezTo>
                <a:cubicBezTo>
                  <a:pt x="6131728" y="2017117"/>
                  <a:pt x="6127867" y="2017922"/>
                  <a:pt x="6123608" y="2017922"/>
                </a:cubicBezTo>
                <a:cubicBezTo>
                  <a:pt x="6114689" y="2017922"/>
                  <a:pt x="6107367" y="2014994"/>
                  <a:pt x="6101775" y="2009402"/>
                </a:cubicBezTo>
                <a:cubicBezTo>
                  <a:pt x="6096184" y="2003806"/>
                  <a:pt x="6093389" y="1996753"/>
                  <a:pt x="6093389" y="1988237"/>
                </a:cubicBezTo>
                <a:cubicBezTo>
                  <a:pt x="6093389" y="1979983"/>
                  <a:pt x="6096184" y="1972925"/>
                  <a:pt x="6101775" y="1967203"/>
                </a:cubicBezTo>
                <a:cubicBezTo>
                  <a:pt x="6107367" y="1961479"/>
                  <a:pt x="6114555" y="1958553"/>
                  <a:pt x="6123608" y="1958553"/>
                </a:cubicBezTo>
                <a:close/>
                <a:moveTo>
                  <a:pt x="5905963" y="1958553"/>
                </a:moveTo>
                <a:cubicBezTo>
                  <a:pt x="5910222" y="1958553"/>
                  <a:pt x="5914216" y="1959348"/>
                  <a:pt x="5917677" y="1961216"/>
                </a:cubicBezTo>
                <a:cubicBezTo>
                  <a:pt x="5921404" y="1962805"/>
                  <a:pt x="5924466" y="1964941"/>
                  <a:pt x="5926995" y="1967605"/>
                </a:cubicBezTo>
                <a:cubicBezTo>
                  <a:pt x="5929524" y="1970132"/>
                  <a:pt x="5931654" y="1973322"/>
                  <a:pt x="5933118" y="1976921"/>
                </a:cubicBezTo>
                <a:cubicBezTo>
                  <a:pt x="5934583" y="1980510"/>
                  <a:pt x="5935381" y="1984237"/>
                  <a:pt x="5935381" y="1988367"/>
                </a:cubicBezTo>
                <a:cubicBezTo>
                  <a:pt x="5935381" y="1992494"/>
                  <a:pt x="5934583" y="1996490"/>
                  <a:pt x="5933118" y="2000077"/>
                </a:cubicBezTo>
                <a:cubicBezTo>
                  <a:pt x="5931654" y="2003681"/>
                  <a:pt x="5929524" y="2006739"/>
                  <a:pt x="5926995" y="2009402"/>
                </a:cubicBezTo>
                <a:cubicBezTo>
                  <a:pt x="5924333" y="2012064"/>
                  <a:pt x="5921271" y="2014194"/>
                  <a:pt x="5917677" y="2015653"/>
                </a:cubicBezTo>
                <a:cubicBezTo>
                  <a:pt x="5914083" y="2017117"/>
                  <a:pt x="5910222" y="2017922"/>
                  <a:pt x="5905963" y="2017922"/>
                </a:cubicBezTo>
                <a:cubicBezTo>
                  <a:pt x="5897044" y="2017922"/>
                  <a:pt x="5889722" y="2014994"/>
                  <a:pt x="5884130" y="2009402"/>
                </a:cubicBezTo>
                <a:cubicBezTo>
                  <a:pt x="5878540" y="2003806"/>
                  <a:pt x="5875744" y="1996753"/>
                  <a:pt x="5875744" y="1988237"/>
                </a:cubicBezTo>
                <a:cubicBezTo>
                  <a:pt x="5875744" y="1979983"/>
                  <a:pt x="5878540" y="1972925"/>
                  <a:pt x="5884130" y="1967203"/>
                </a:cubicBezTo>
                <a:cubicBezTo>
                  <a:pt x="5889722" y="1961479"/>
                  <a:pt x="5896910" y="1958553"/>
                  <a:pt x="5905963" y="1958553"/>
                </a:cubicBezTo>
                <a:close/>
                <a:moveTo>
                  <a:pt x="5688451" y="1958553"/>
                </a:moveTo>
                <a:cubicBezTo>
                  <a:pt x="5692577" y="1958553"/>
                  <a:pt x="5696571" y="1959348"/>
                  <a:pt x="5700165" y="1961216"/>
                </a:cubicBezTo>
                <a:cubicBezTo>
                  <a:pt x="5703892" y="1962805"/>
                  <a:pt x="5706954" y="1964941"/>
                  <a:pt x="5709483" y="1967605"/>
                </a:cubicBezTo>
                <a:cubicBezTo>
                  <a:pt x="5712012" y="1970132"/>
                  <a:pt x="5714142" y="1973322"/>
                  <a:pt x="5715606" y="1976921"/>
                </a:cubicBezTo>
                <a:cubicBezTo>
                  <a:pt x="5717071" y="1980510"/>
                  <a:pt x="5717869" y="1984237"/>
                  <a:pt x="5717869" y="1988367"/>
                </a:cubicBezTo>
                <a:cubicBezTo>
                  <a:pt x="5717869" y="1992494"/>
                  <a:pt x="5717071" y="1996490"/>
                  <a:pt x="5715606" y="2000077"/>
                </a:cubicBezTo>
                <a:cubicBezTo>
                  <a:pt x="5714142" y="2003681"/>
                  <a:pt x="5712012" y="2006739"/>
                  <a:pt x="5709483" y="2009402"/>
                </a:cubicBezTo>
                <a:cubicBezTo>
                  <a:pt x="5706820" y="2012064"/>
                  <a:pt x="5703759" y="2014194"/>
                  <a:pt x="5700165" y="2015653"/>
                </a:cubicBezTo>
                <a:cubicBezTo>
                  <a:pt x="5696571" y="2017117"/>
                  <a:pt x="5692710" y="2017922"/>
                  <a:pt x="5688451" y="2017922"/>
                </a:cubicBezTo>
                <a:cubicBezTo>
                  <a:pt x="5679532" y="2017922"/>
                  <a:pt x="5672210" y="2014994"/>
                  <a:pt x="5666618" y="2009402"/>
                </a:cubicBezTo>
                <a:cubicBezTo>
                  <a:pt x="5661028" y="2003806"/>
                  <a:pt x="5658232" y="1996753"/>
                  <a:pt x="5658232" y="1988237"/>
                </a:cubicBezTo>
                <a:cubicBezTo>
                  <a:pt x="5658232" y="1979983"/>
                  <a:pt x="5661028" y="1972925"/>
                  <a:pt x="5666618" y="1967203"/>
                </a:cubicBezTo>
                <a:cubicBezTo>
                  <a:pt x="5672210" y="1961479"/>
                  <a:pt x="5679398" y="1958553"/>
                  <a:pt x="5688451" y="1958553"/>
                </a:cubicBezTo>
                <a:close/>
                <a:moveTo>
                  <a:pt x="5470806" y="1958553"/>
                </a:moveTo>
                <a:cubicBezTo>
                  <a:pt x="5475065" y="1958553"/>
                  <a:pt x="5478926" y="1959348"/>
                  <a:pt x="5482520" y="1961216"/>
                </a:cubicBezTo>
                <a:cubicBezTo>
                  <a:pt x="5486247" y="1962805"/>
                  <a:pt x="5489309" y="1964941"/>
                  <a:pt x="5491838" y="1967605"/>
                </a:cubicBezTo>
                <a:cubicBezTo>
                  <a:pt x="5494367" y="1970132"/>
                  <a:pt x="5496497" y="1973322"/>
                  <a:pt x="5497961" y="1976921"/>
                </a:cubicBezTo>
                <a:cubicBezTo>
                  <a:pt x="5499426" y="1980510"/>
                  <a:pt x="5500224" y="1984237"/>
                  <a:pt x="5500224" y="1988367"/>
                </a:cubicBezTo>
                <a:cubicBezTo>
                  <a:pt x="5500224" y="1992494"/>
                  <a:pt x="5499426" y="1996490"/>
                  <a:pt x="5497961" y="2000077"/>
                </a:cubicBezTo>
                <a:cubicBezTo>
                  <a:pt x="5496497" y="2003681"/>
                  <a:pt x="5494367" y="2006739"/>
                  <a:pt x="5491838" y="2009402"/>
                </a:cubicBezTo>
                <a:cubicBezTo>
                  <a:pt x="5489176" y="2012064"/>
                  <a:pt x="5486114" y="2014194"/>
                  <a:pt x="5482520" y="2015653"/>
                </a:cubicBezTo>
                <a:cubicBezTo>
                  <a:pt x="5478926" y="2017117"/>
                  <a:pt x="5475065" y="2017922"/>
                  <a:pt x="5470806" y="2017922"/>
                </a:cubicBezTo>
                <a:cubicBezTo>
                  <a:pt x="5461887" y="2017922"/>
                  <a:pt x="5454565" y="2014994"/>
                  <a:pt x="5448973" y="2009402"/>
                </a:cubicBezTo>
                <a:cubicBezTo>
                  <a:pt x="5443383" y="2003806"/>
                  <a:pt x="5440587" y="1996753"/>
                  <a:pt x="5440587" y="1988237"/>
                </a:cubicBezTo>
                <a:cubicBezTo>
                  <a:pt x="5440587" y="1979983"/>
                  <a:pt x="5443383" y="1972925"/>
                  <a:pt x="5448973" y="1967203"/>
                </a:cubicBezTo>
                <a:cubicBezTo>
                  <a:pt x="5454565" y="1961479"/>
                  <a:pt x="5461754" y="1958553"/>
                  <a:pt x="5470806" y="1958553"/>
                </a:cubicBezTo>
                <a:close/>
                <a:moveTo>
                  <a:pt x="5253160" y="1958553"/>
                </a:moveTo>
                <a:cubicBezTo>
                  <a:pt x="5257420" y="1958553"/>
                  <a:pt x="5261280" y="1959348"/>
                  <a:pt x="5264875" y="1961216"/>
                </a:cubicBezTo>
                <a:cubicBezTo>
                  <a:pt x="5268602" y="1962805"/>
                  <a:pt x="5271664" y="1964941"/>
                  <a:pt x="5274192" y="1967605"/>
                </a:cubicBezTo>
                <a:cubicBezTo>
                  <a:pt x="5276722" y="1970132"/>
                  <a:pt x="5278852" y="1973322"/>
                  <a:pt x="5280316" y="1976921"/>
                </a:cubicBezTo>
                <a:cubicBezTo>
                  <a:pt x="5281780" y="1980510"/>
                  <a:pt x="5282579" y="1984237"/>
                  <a:pt x="5282579" y="1988367"/>
                </a:cubicBezTo>
                <a:cubicBezTo>
                  <a:pt x="5282579" y="1992494"/>
                  <a:pt x="5281780" y="1996490"/>
                  <a:pt x="5280316" y="2000077"/>
                </a:cubicBezTo>
                <a:cubicBezTo>
                  <a:pt x="5278852" y="2003681"/>
                  <a:pt x="5276722" y="2006739"/>
                  <a:pt x="5274192" y="2009402"/>
                </a:cubicBezTo>
                <a:cubicBezTo>
                  <a:pt x="5271664" y="2012064"/>
                  <a:pt x="5268469" y="2014194"/>
                  <a:pt x="5264875" y="2015653"/>
                </a:cubicBezTo>
                <a:cubicBezTo>
                  <a:pt x="5261280" y="2017117"/>
                  <a:pt x="5257420" y="2017922"/>
                  <a:pt x="5253160" y="2017922"/>
                </a:cubicBezTo>
                <a:cubicBezTo>
                  <a:pt x="5244241" y="2017922"/>
                  <a:pt x="5236920" y="2014994"/>
                  <a:pt x="5231328" y="2009402"/>
                </a:cubicBezTo>
                <a:cubicBezTo>
                  <a:pt x="5225737" y="2003806"/>
                  <a:pt x="5222942" y="1996753"/>
                  <a:pt x="5222942" y="1988237"/>
                </a:cubicBezTo>
                <a:cubicBezTo>
                  <a:pt x="5222942" y="1979983"/>
                  <a:pt x="5225737" y="1972925"/>
                  <a:pt x="5231328" y="1967203"/>
                </a:cubicBezTo>
                <a:cubicBezTo>
                  <a:pt x="5236920" y="1961479"/>
                  <a:pt x="5244108" y="1958553"/>
                  <a:pt x="5253160" y="1958553"/>
                </a:cubicBezTo>
                <a:close/>
                <a:moveTo>
                  <a:pt x="5035515" y="1958553"/>
                </a:moveTo>
                <a:cubicBezTo>
                  <a:pt x="5039775" y="1958553"/>
                  <a:pt x="5043636" y="1959348"/>
                  <a:pt x="5047230" y="1961216"/>
                </a:cubicBezTo>
                <a:cubicBezTo>
                  <a:pt x="5050957" y="1962805"/>
                  <a:pt x="5054019" y="1964941"/>
                  <a:pt x="5056548" y="1967605"/>
                </a:cubicBezTo>
                <a:cubicBezTo>
                  <a:pt x="5059077" y="1970132"/>
                  <a:pt x="5061207" y="1973322"/>
                  <a:pt x="5062671" y="1976921"/>
                </a:cubicBezTo>
                <a:cubicBezTo>
                  <a:pt x="5064135" y="1980510"/>
                  <a:pt x="5064934" y="1984237"/>
                  <a:pt x="5064934" y="1988367"/>
                </a:cubicBezTo>
                <a:cubicBezTo>
                  <a:pt x="5064934" y="1992494"/>
                  <a:pt x="5064135" y="1996490"/>
                  <a:pt x="5062671" y="2000077"/>
                </a:cubicBezTo>
                <a:cubicBezTo>
                  <a:pt x="5061207" y="2003681"/>
                  <a:pt x="5059077" y="2006739"/>
                  <a:pt x="5056548" y="2009402"/>
                </a:cubicBezTo>
                <a:cubicBezTo>
                  <a:pt x="5053885" y="2012064"/>
                  <a:pt x="5050824" y="2014194"/>
                  <a:pt x="5047230" y="2015653"/>
                </a:cubicBezTo>
                <a:cubicBezTo>
                  <a:pt x="5043636" y="2017117"/>
                  <a:pt x="5039775" y="2017922"/>
                  <a:pt x="5035515" y="2017922"/>
                </a:cubicBezTo>
                <a:cubicBezTo>
                  <a:pt x="5026597" y="2017922"/>
                  <a:pt x="5019275" y="2014994"/>
                  <a:pt x="5013683" y="2009402"/>
                </a:cubicBezTo>
                <a:cubicBezTo>
                  <a:pt x="5008092" y="2003806"/>
                  <a:pt x="5005297" y="1996753"/>
                  <a:pt x="5005297" y="1988237"/>
                </a:cubicBezTo>
                <a:cubicBezTo>
                  <a:pt x="5005297" y="1979983"/>
                  <a:pt x="5008092" y="1972925"/>
                  <a:pt x="5013683" y="1967203"/>
                </a:cubicBezTo>
                <a:cubicBezTo>
                  <a:pt x="5019275" y="1961479"/>
                  <a:pt x="5026463" y="1958553"/>
                  <a:pt x="5035515" y="1958553"/>
                </a:cubicBezTo>
                <a:close/>
                <a:moveTo>
                  <a:pt x="4817870" y="1958553"/>
                </a:moveTo>
                <a:cubicBezTo>
                  <a:pt x="4822130" y="1958553"/>
                  <a:pt x="4826124" y="1959348"/>
                  <a:pt x="4829585" y="1961216"/>
                </a:cubicBezTo>
                <a:cubicBezTo>
                  <a:pt x="4833312" y="1962805"/>
                  <a:pt x="4836374" y="1964941"/>
                  <a:pt x="4838903" y="1967605"/>
                </a:cubicBezTo>
                <a:cubicBezTo>
                  <a:pt x="4841432" y="1970132"/>
                  <a:pt x="4843562" y="1973322"/>
                  <a:pt x="4845026" y="1976921"/>
                </a:cubicBezTo>
                <a:cubicBezTo>
                  <a:pt x="4846491" y="1980510"/>
                  <a:pt x="4847289" y="1984237"/>
                  <a:pt x="4847289" y="1988367"/>
                </a:cubicBezTo>
                <a:cubicBezTo>
                  <a:pt x="4847289" y="1992494"/>
                  <a:pt x="4846491" y="1996490"/>
                  <a:pt x="4845026" y="2000077"/>
                </a:cubicBezTo>
                <a:cubicBezTo>
                  <a:pt x="4843562" y="2003681"/>
                  <a:pt x="4841432" y="2006739"/>
                  <a:pt x="4838903" y="2009402"/>
                </a:cubicBezTo>
                <a:cubicBezTo>
                  <a:pt x="4836240" y="2012064"/>
                  <a:pt x="4833179" y="2014194"/>
                  <a:pt x="4829585" y="2015653"/>
                </a:cubicBezTo>
                <a:cubicBezTo>
                  <a:pt x="4825991" y="2017117"/>
                  <a:pt x="4822130" y="2017922"/>
                  <a:pt x="4817870" y="2017922"/>
                </a:cubicBezTo>
                <a:cubicBezTo>
                  <a:pt x="4808952" y="2017922"/>
                  <a:pt x="4801630" y="2014994"/>
                  <a:pt x="4796038" y="2009402"/>
                </a:cubicBezTo>
                <a:cubicBezTo>
                  <a:pt x="4790447" y="2003806"/>
                  <a:pt x="4787652" y="1996753"/>
                  <a:pt x="4787652" y="1988237"/>
                </a:cubicBezTo>
                <a:cubicBezTo>
                  <a:pt x="4787652" y="1979983"/>
                  <a:pt x="4790447" y="1972925"/>
                  <a:pt x="4796038" y="1967203"/>
                </a:cubicBezTo>
                <a:cubicBezTo>
                  <a:pt x="4801630" y="1961479"/>
                  <a:pt x="4808818" y="1958553"/>
                  <a:pt x="4817870" y="1958553"/>
                </a:cubicBezTo>
                <a:close/>
                <a:moveTo>
                  <a:pt x="4600226" y="1958553"/>
                </a:moveTo>
                <a:cubicBezTo>
                  <a:pt x="4604485" y="1958553"/>
                  <a:pt x="4608479" y="1959348"/>
                  <a:pt x="4612073" y="1961216"/>
                </a:cubicBezTo>
                <a:cubicBezTo>
                  <a:pt x="4615800" y="1962805"/>
                  <a:pt x="4618862" y="1964941"/>
                  <a:pt x="4621391" y="1967605"/>
                </a:cubicBezTo>
                <a:cubicBezTo>
                  <a:pt x="4623920" y="1970132"/>
                  <a:pt x="4626050" y="1973322"/>
                  <a:pt x="4627514" y="1976921"/>
                </a:cubicBezTo>
                <a:cubicBezTo>
                  <a:pt x="4628978" y="1980510"/>
                  <a:pt x="4629777" y="1984237"/>
                  <a:pt x="4629777" y="1988367"/>
                </a:cubicBezTo>
                <a:cubicBezTo>
                  <a:pt x="4629777" y="1992494"/>
                  <a:pt x="4628978" y="1996490"/>
                  <a:pt x="4627514" y="2000077"/>
                </a:cubicBezTo>
                <a:cubicBezTo>
                  <a:pt x="4626050" y="2003681"/>
                  <a:pt x="4623920" y="2006739"/>
                  <a:pt x="4621391" y="2009402"/>
                </a:cubicBezTo>
                <a:cubicBezTo>
                  <a:pt x="4618729" y="2012064"/>
                  <a:pt x="4615667" y="2014194"/>
                  <a:pt x="4612073" y="2015653"/>
                </a:cubicBezTo>
                <a:cubicBezTo>
                  <a:pt x="4608346" y="2017117"/>
                  <a:pt x="4604485" y="2017922"/>
                  <a:pt x="4600226" y="2017922"/>
                </a:cubicBezTo>
                <a:cubicBezTo>
                  <a:pt x="4591173" y="2017922"/>
                  <a:pt x="4583985" y="2014994"/>
                  <a:pt x="4578393" y="2009402"/>
                </a:cubicBezTo>
                <a:cubicBezTo>
                  <a:pt x="4572803" y="2003806"/>
                  <a:pt x="4570007" y="1996753"/>
                  <a:pt x="4570007" y="1988237"/>
                </a:cubicBezTo>
                <a:cubicBezTo>
                  <a:pt x="4570007" y="1979983"/>
                  <a:pt x="4572803" y="1972925"/>
                  <a:pt x="4578393" y="1967203"/>
                </a:cubicBezTo>
                <a:cubicBezTo>
                  <a:pt x="4583985" y="1961479"/>
                  <a:pt x="4591173" y="1958553"/>
                  <a:pt x="4600226" y="1958553"/>
                </a:cubicBezTo>
                <a:close/>
                <a:moveTo>
                  <a:pt x="4382713" y="1958553"/>
                </a:moveTo>
                <a:cubicBezTo>
                  <a:pt x="4386840" y="1958553"/>
                  <a:pt x="4390834" y="1959348"/>
                  <a:pt x="4394428" y="1961216"/>
                </a:cubicBezTo>
                <a:cubicBezTo>
                  <a:pt x="4398155" y="1962805"/>
                  <a:pt x="4401217" y="1964941"/>
                  <a:pt x="4403746" y="1967605"/>
                </a:cubicBezTo>
                <a:cubicBezTo>
                  <a:pt x="4406275" y="1970132"/>
                  <a:pt x="4408405" y="1973322"/>
                  <a:pt x="4409869" y="1976921"/>
                </a:cubicBezTo>
                <a:cubicBezTo>
                  <a:pt x="4411334" y="1980510"/>
                  <a:pt x="4412132" y="1984237"/>
                  <a:pt x="4412132" y="1988367"/>
                </a:cubicBezTo>
                <a:cubicBezTo>
                  <a:pt x="4412132" y="1992494"/>
                  <a:pt x="4411334" y="1996490"/>
                  <a:pt x="4409869" y="2000077"/>
                </a:cubicBezTo>
                <a:cubicBezTo>
                  <a:pt x="4408405" y="2003681"/>
                  <a:pt x="4406275" y="2006739"/>
                  <a:pt x="4403746" y="2009402"/>
                </a:cubicBezTo>
                <a:cubicBezTo>
                  <a:pt x="4401083" y="2012064"/>
                  <a:pt x="4398022" y="2014194"/>
                  <a:pt x="4394428" y="2015653"/>
                </a:cubicBezTo>
                <a:cubicBezTo>
                  <a:pt x="4390834" y="2017117"/>
                  <a:pt x="4386973" y="2017922"/>
                  <a:pt x="4382713" y="2017922"/>
                </a:cubicBezTo>
                <a:cubicBezTo>
                  <a:pt x="4373661" y="2017922"/>
                  <a:pt x="4366473" y="2014994"/>
                  <a:pt x="4360881" y="2009402"/>
                </a:cubicBezTo>
                <a:cubicBezTo>
                  <a:pt x="4355290" y="2003806"/>
                  <a:pt x="4352495" y="1996753"/>
                  <a:pt x="4352495" y="1988237"/>
                </a:cubicBezTo>
                <a:cubicBezTo>
                  <a:pt x="4352495" y="1979983"/>
                  <a:pt x="4355290" y="1972925"/>
                  <a:pt x="4360881" y="1967203"/>
                </a:cubicBezTo>
                <a:cubicBezTo>
                  <a:pt x="4366473" y="1961479"/>
                  <a:pt x="4373661" y="1958553"/>
                  <a:pt x="4382713" y="1958553"/>
                </a:cubicBezTo>
                <a:close/>
                <a:moveTo>
                  <a:pt x="4165068" y="1958553"/>
                </a:moveTo>
                <a:cubicBezTo>
                  <a:pt x="4169327" y="1958553"/>
                  <a:pt x="4173188" y="1959348"/>
                  <a:pt x="4176782" y="1961216"/>
                </a:cubicBezTo>
                <a:cubicBezTo>
                  <a:pt x="4180509" y="1962805"/>
                  <a:pt x="4183571" y="1964941"/>
                  <a:pt x="4186100" y="1967605"/>
                </a:cubicBezTo>
                <a:cubicBezTo>
                  <a:pt x="4188629" y="1970132"/>
                  <a:pt x="4190759" y="1973322"/>
                  <a:pt x="4192223" y="1976921"/>
                </a:cubicBezTo>
                <a:cubicBezTo>
                  <a:pt x="4193688" y="1980510"/>
                  <a:pt x="4194486" y="1984237"/>
                  <a:pt x="4194486" y="1988367"/>
                </a:cubicBezTo>
                <a:cubicBezTo>
                  <a:pt x="4194486" y="1992494"/>
                  <a:pt x="4193688" y="1996490"/>
                  <a:pt x="4192223" y="2000077"/>
                </a:cubicBezTo>
                <a:cubicBezTo>
                  <a:pt x="4190759" y="2003681"/>
                  <a:pt x="4188629" y="2006739"/>
                  <a:pt x="4186100" y="2009402"/>
                </a:cubicBezTo>
                <a:cubicBezTo>
                  <a:pt x="4183438" y="2012064"/>
                  <a:pt x="4180376" y="2014194"/>
                  <a:pt x="4176782" y="2015653"/>
                </a:cubicBezTo>
                <a:cubicBezTo>
                  <a:pt x="4173188" y="2017117"/>
                  <a:pt x="4169327" y="2017922"/>
                  <a:pt x="4165068" y="2017922"/>
                </a:cubicBezTo>
                <a:cubicBezTo>
                  <a:pt x="4156015" y="2017922"/>
                  <a:pt x="4148827" y="2014994"/>
                  <a:pt x="4143235" y="2009402"/>
                </a:cubicBezTo>
                <a:cubicBezTo>
                  <a:pt x="4137645" y="2003806"/>
                  <a:pt x="4134849" y="1996753"/>
                  <a:pt x="4134849" y="1988237"/>
                </a:cubicBezTo>
                <a:cubicBezTo>
                  <a:pt x="4134849" y="1979983"/>
                  <a:pt x="4137645" y="1972925"/>
                  <a:pt x="4143235" y="1967203"/>
                </a:cubicBezTo>
                <a:cubicBezTo>
                  <a:pt x="4148827" y="1961479"/>
                  <a:pt x="4156015" y="1958553"/>
                  <a:pt x="4165068" y="1958553"/>
                </a:cubicBezTo>
                <a:close/>
                <a:moveTo>
                  <a:pt x="3947535" y="1958553"/>
                </a:moveTo>
                <a:cubicBezTo>
                  <a:pt x="3951796" y="1958553"/>
                  <a:pt x="3955655" y="1959348"/>
                  <a:pt x="3959250" y="1961216"/>
                </a:cubicBezTo>
                <a:cubicBezTo>
                  <a:pt x="3962979" y="1962805"/>
                  <a:pt x="3966039" y="1964941"/>
                  <a:pt x="3968568" y="1967605"/>
                </a:cubicBezTo>
                <a:cubicBezTo>
                  <a:pt x="3971099" y="1970132"/>
                  <a:pt x="3973228" y="1973322"/>
                  <a:pt x="3974692" y="1976921"/>
                </a:cubicBezTo>
                <a:cubicBezTo>
                  <a:pt x="3976157" y="1980510"/>
                  <a:pt x="3976956" y="1984237"/>
                  <a:pt x="3976956" y="1988367"/>
                </a:cubicBezTo>
                <a:cubicBezTo>
                  <a:pt x="3976956" y="1992494"/>
                  <a:pt x="3976157" y="1996490"/>
                  <a:pt x="3974692" y="2000077"/>
                </a:cubicBezTo>
                <a:cubicBezTo>
                  <a:pt x="3973228" y="2003681"/>
                  <a:pt x="3971099" y="2006739"/>
                  <a:pt x="3968568" y="2009402"/>
                </a:cubicBezTo>
                <a:cubicBezTo>
                  <a:pt x="3965907" y="2012064"/>
                  <a:pt x="3962845" y="2014194"/>
                  <a:pt x="3959250" y="2015653"/>
                </a:cubicBezTo>
                <a:cubicBezTo>
                  <a:pt x="3955655" y="2017117"/>
                  <a:pt x="3951796" y="2017922"/>
                  <a:pt x="3947535" y="2017922"/>
                </a:cubicBezTo>
                <a:cubicBezTo>
                  <a:pt x="3938482" y="2017922"/>
                  <a:pt x="3931295" y="2014994"/>
                  <a:pt x="3925703" y="2009402"/>
                </a:cubicBezTo>
                <a:cubicBezTo>
                  <a:pt x="3920112" y="2003806"/>
                  <a:pt x="3917316" y="1996753"/>
                  <a:pt x="3917316" y="1988237"/>
                </a:cubicBezTo>
                <a:cubicBezTo>
                  <a:pt x="3917316" y="1979983"/>
                  <a:pt x="3920112" y="1972925"/>
                  <a:pt x="3925703" y="1967203"/>
                </a:cubicBezTo>
                <a:cubicBezTo>
                  <a:pt x="3931295" y="1961479"/>
                  <a:pt x="3938482" y="1958553"/>
                  <a:pt x="3947535" y="1958553"/>
                </a:cubicBezTo>
                <a:close/>
                <a:moveTo>
                  <a:pt x="3729884" y="1958553"/>
                </a:moveTo>
                <a:cubicBezTo>
                  <a:pt x="3734145" y="1958553"/>
                  <a:pt x="3738137" y="1959348"/>
                  <a:pt x="3741599" y="1961216"/>
                </a:cubicBezTo>
                <a:cubicBezTo>
                  <a:pt x="3745194" y="1962805"/>
                  <a:pt x="3748389" y="1964941"/>
                  <a:pt x="3750918" y="1967605"/>
                </a:cubicBezTo>
                <a:cubicBezTo>
                  <a:pt x="3753447" y="1970132"/>
                  <a:pt x="3755577" y="1973322"/>
                  <a:pt x="3757041" y="1976921"/>
                </a:cubicBezTo>
                <a:cubicBezTo>
                  <a:pt x="3758505" y="1980510"/>
                  <a:pt x="3759304" y="1984237"/>
                  <a:pt x="3759304" y="1988367"/>
                </a:cubicBezTo>
                <a:cubicBezTo>
                  <a:pt x="3759304" y="1992494"/>
                  <a:pt x="3758505" y="1996490"/>
                  <a:pt x="3757041" y="2000077"/>
                </a:cubicBezTo>
                <a:cubicBezTo>
                  <a:pt x="3755577" y="2003681"/>
                  <a:pt x="3753447" y="2006739"/>
                  <a:pt x="3750918" y="2009402"/>
                </a:cubicBezTo>
                <a:cubicBezTo>
                  <a:pt x="3748255" y="2012064"/>
                  <a:pt x="3745194" y="2014194"/>
                  <a:pt x="3741599" y="2015653"/>
                </a:cubicBezTo>
                <a:cubicBezTo>
                  <a:pt x="3738006" y="2017117"/>
                  <a:pt x="3734145" y="2017922"/>
                  <a:pt x="3729884" y="2017922"/>
                </a:cubicBezTo>
                <a:cubicBezTo>
                  <a:pt x="3720832" y="2017922"/>
                  <a:pt x="3713644" y="2014994"/>
                  <a:pt x="3708050" y="2009402"/>
                </a:cubicBezTo>
                <a:cubicBezTo>
                  <a:pt x="3702458" y="2003806"/>
                  <a:pt x="3699664" y="1996753"/>
                  <a:pt x="3699664" y="1988237"/>
                </a:cubicBezTo>
                <a:cubicBezTo>
                  <a:pt x="3699664" y="1979983"/>
                  <a:pt x="3702458" y="1972925"/>
                  <a:pt x="3708050" y="1967203"/>
                </a:cubicBezTo>
                <a:cubicBezTo>
                  <a:pt x="3713644" y="1961479"/>
                  <a:pt x="3720832" y="1958553"/>
                  <a:pt x="3729884" y="1958553"/>
                </a:cubicBezTo>
                <a:close/>
                <a:moveTo>
                  <a:pt x="3512233" y="1958553"/>
                </a:moveTo>
                <a:cubicBezTo>
                  <a:pt x="3516494" y="1958553"/>
                  <a:pt x="3520487" y="1959348"/>
                  <a:pt x="3523949" y="1961216"/>
                </a:cubicBezTo>
                <a:cubicBezTo>
                  <a:pt x="3527543" y="1962805"/>
                  <a:pt x="3530738" y="1964941"/>
                  <a:pt x="3533267" y="1967605"/>
                </a:cubicBezTo>
                <a:cubicBezTo>
                  <a:pt x="3535796" y="1970132"/>
                  <a:pt x="3537926" y="1973322"/>
                  <a:pt x="3539390" y="1976921"/>
                </a:cubicBezTo>
                <a:cubicBezTo>
                  <a:pt x="3540854" y="1980510"/>
                  <a:pt x="3541653" y="1984237"/>
                  <a:pt x="3541653" y="1988367"/>
                </a:cubicBezTo>
                <a:cubicBezTo>
                  <a:pt x="3541653" y="1992494"/>
                  <a:pt x="3540854" y="1996490"/>
                  <a:pt x="3539390" y="2000077"/>
                </a:cubicBezTo>
                <a:cubicBezTo>
                  <a:pt x="3537926" y="2003681"/>
                  <a:pt x="3535796" y="2006739"/>
                  <a:pt x="3533267" y="2009402"/>
                </a:cubicBezTo>
                <a:cubicBezTo>
                  <a:pt x="3530604" y="2012064"/>
                  <a:pt x="3527543" y="2014194"/>
                  <a:pt x="3523949" y="2015653"/>
                </a:cubicBezTo>
                <a:cubicBezTo>
                  <a:pt x="3520355" y="2017117"/>
                  <a:pt x="3516494" y="2017922"/>
                  <a:pt x="3512233" y="2017922"/>
                </a:cubicBezTo>
                <a:cubicBezTo>
                  <a:pt x="3503180" y="2017922"/>
                  <a:pt x="3495991" y="2014994"/>
                  <a:pt x="3490400" y="2009402"/>
                </a:cubicBezTo>
                <a:cubicBezTo>
                  <a:pt x="3484809" y="2003806"/>
                  <a:pt x="3482013" y="1996753"/>
                  <a:pt x="3482013" y="1988237"/>
                </a:cubicBezTo>
                <a:cubicBezTo>
                  <a:pt x="3482013" y="1979983"/>
                  <a:pt x="3484809" y="1972925"/>
                  <a:pt x="3490400" y="1967203"/>
                </a:cubicBezTo>
                <a:cubicBezTo>
                  <a:pt x="3495991" y="1961479"/>
                  <a:pt x="3503180" y="1958553"/>
                  <a:pt x="3512233" y="1958553"/>
                </a:cubicBezTo>
                <a:close/>
                <a:moveTo>
                  <a:pt x="3294716" y="1958553"/>
                </a:moveTo>
                <a:cubicBezTo>
                  <a:pt x="3298843" y="1958553"/>
                  <a:pt x="3302837" y="1959348"/>
                  <a:pt x="3306431" y="1961216"/>
                </a:cubicBezTo>
                <a:cubicBezTo>
                  <a:pt x="3310158" y="1962805"/>
                  <a:pt x="3313220" y="1964941"/>
                  <a:pt x="3315749" y="1967605"/>
                </a:cubicBezTo>
                <a:cubicBezTo>
                  <a:pt x="3318278" y="1970132"/>
                  <a:pt x="3320409" y="1973322"/>
                  <a:pt x="3321873" y="1976921"/>
                </a:cubicBezTo>
                <a:cubicBezTo>
                  <a:pt x="3323337" y="1980510"/>
                  <a:pt x="3324135" y="1984237"/>
                  <a:pt x="3324135" y="1988367"/>
                </a:cubicBezTo>
                <a:cubicBezTo>
                  <a:pt x="3324135" y="1992494"/>
                  <a:pt x="3323337" y="1996490"/>
                  <a:pt x="3321873" y="2000077"/>
                </a:cubicBezTo>
                <a:cubicBezTo>
                  <a:pt x="3320409" y="2003681"/>
                  <a:pt x="3318278" y="2006739"/>
                  <a:pt x="3315749" y="2009402"/>
                </a:cubicBezTo>
                <a:cubicBezTo>
                  <a:pt x="3313086" y="2012064"/>
                  <a:pt x="3310025" y="2014194"/>
                  <a:pt x="3306431" y="2015653"/>
                </a:cubicBezTo>
                <a:cubicBezTo>
                  <a:pt x="3302837" y="2017117"/>
                  <a:pt x="3298976" y="2017922"/>
                  <a:pt x="3294716" y="2017922"/>
                </a:cubicBezTo>
                <a:cubicBezTo>
                  <a:pt x="3285663" y="2017922"/>
                  <a:pt x="3278474" y="2014994"/>
                  <a:pt x="3272881" y="2009402"/>
                </a:cubicBezTo>
                <a:cubicBezTo>
                  <a:pt x="3267290" y="2003806"/>
                  <a:pt x="3264495" y="1996753"/>
                  <a:pt x="3264495" y="1988237"/>
                </a:cubicBezTo>
                <a:cubicBezTo>
                  <a:pt x="3264495" y="1979983"/>
                  <a:pt x="3267290" y="1972925"/>
                  <a:pt x="3272881" y="1967203"/>
                </a:cubicBezTo>
                <a:cubicBezTo>
                  <a:pt x="3278474" y="1961479"/>
                  <a:pt x="3285663" y="1958553"/>
                  <a:pt x="3294716" y="1958553"/>
                </a:cubicBezTo>
                <a:close/>
                <a:moveTo>
                  <a:pt x="3077065" y="1958553"/>
                </a:moveTo>
                <a:cubicBezTo>
                  <a:pt x="3081192" y="1958553"/>
                  <a:pt x="3085186" y="1959348"/>
                  <a:pt x="3088780" y="1961216"/>
                </a:cubicBezTo>
                <a:cubicBezTo>
                  <a:pt x="3092374" y="1962805"/>
                  <a:pt x="3095570" y="1964941"/>
                  <a:pt x="3098098" y="1967605"/>
                </a:cubicBezTo>
                <a:cubicBezTo>
                  <a:pt x="3100627" y="1970132"/>
                  <a:pt x="3102757" y="1973322"/>
                  <a:pt x="3104221" y="1976921"/>
                </a:cubicBezTo>
                <a:cubicBezTo>
                  <a:pt x="3105687" y="1980510"/>
                  <a:pt x="3106484" y="1984237"/>
                  <a:pt x="3106484" y="1988367"/>
                </a:cubicBezTo>
                <a:cubicBezTo>
                  <a:pt x="3106484" y="1992494"/>
                  <a:pt x="3105687" y="1996490"/>
                  <a:pt x="3104221" y="2000077"/>
                </a:cubicBezTo>
                <a:cubicBezTo>
                  <a:pt x="3102757" y="2003681"/>
                  <a:pt x="3100627" y="2006739"/>
                  <a:pt x="3098098" y="2009402"/>
                </a:cubicBezTo>
                <a:cubicBezTo>
                  <a:pt x="3095436" y="2012064"/>
                  <a:pt x="3092374" y="2014194"/>
                  <a:pt x="3088780" y="2015653"/>
                </a:cubicBezTo>
                <a:cubicBezTo>
                  <a:pt x="3085186" y="2017117"/>
                  <a:pt x="3081325" y="2017922"/>
                  <a:pt x="3077065" y="2017922"/>
                </a:cubicBezTo>
                <a:cubicBezTo>
                  <a:pt x="3068146" y="2017922"/>
                  <a:pt x="3060823" y="2014994"/>
                  <a:pt x="3055231" y="2009402"/>
                </a:cubicBezTo>
                <a:cubicBezTo>
                  <a:pt x="3049640" y="2003806"/>
                  <a:pt x="3046845" y="1996753"/>
                  <a:pt x="3046845" y="1988237"/>
                </a:cubicBezTo>
                <a:cubicBezTo>
                  <a:pt x="3046845" y="1979983"/>
                  <a:pt x="3049640" y="1972925"/>
                  <a:pt x="3055231" y="1967203"/>
                </a:cubicBezTo>
                <a:cubicBezTo>
                  <a:pt x="3060823" y="1961479"/>
                  <a:pt x="3068013" y="1958553"/>
                  <a:pt x="3077065" y="1958553"/>
                </a:cubicBezTo>
                <a:close/>
                <a:moveTo>
                  <a:pt x="2859414" y="1958553"/>
                </a:moveTo>
                <a:cubicBezTo>
                  <a:pt x="2863675" y="1958553"/>
                  <a:pt x="2867536" y="1959348"/>
                  <a:pt x="2871263" y="1961216"/>
                </a:cubicBezTo>
                <a:cubicBezTo>
                  <a:pt x="2874989" y="1962805"/>
                  <a:pt x="2878051" y="1964941"/>
                  <a:pt x="2880581" y="1967605"/>
                </a:cubicBezTo>
                <a:cubicBezTo>
                  <a:pt x="2883242" y="1970132"/>
                  <a:pt x="2885240" y="1973322"/>
                  <a:pt x="2886704" y="1976921"/>
                </a:cubicBezTo>
                <a:cubicBezTo>
                  <a:pt x="2888168" y="1980510"/>
                  <a:pt x="2888967" y="1984237"/>
                  <a:pt x="2888967" y="1988367"/>
                </a:cubicBezTo>
                <a:cubicBezTo>
                  <a:pt x="2888967" y="1992494"/>
                  <a:pt x="2888168" y="1996490"/>
                  <a:pt x="2886704" y="2000077"/>
                </a:cubicBezTo>
                <a:cubicBezTo>
                  <a:pt x="2885240" y="2003681"/>
                  <a:pt x="2883110" y="2006739"/>
                  <a:pt x="2880581" y="2009402"/>
                </a:cubicBezTo>
                <a:cubicBezTo>
                  <a:pt x="2877919" y="2012064"/>
                  <a:pt x="2874856" y="2014194"/>
                  <a:pt x="2871263" y="2015653"/>
                </a:cubicBezTo>
                <a:cubicBezTo>
                  <a:pt x="2867536" y="2017117"/>
                  <a:pt x="2863675" y="2017922"/>
                  <a:pt x="2859414" y="2017922"/>
                </a:cubicBezTo>
                <a:cubicBezTo>
                  <a:pt x="2850496" y="2017922"/>
                  <a:pt x="2843171" y="2014994"/>
                  <a:pt x="2837581" y="2009402"/>
                </a:cubicBezTo>
                <a:cubicBezTo>
                  <a:pt x="2831990" y="2003806"/>
                  <a:pt x="2829194" y="1996753"/>
                  <a:pt x="2829194" y="1988237"/>
                </a:cubicBezTo>
                <a:cubicBezTo>
                  <a:pt x="2829194" y="1979983"/>
                  <a:pt x="2831990" y="1972925"/>
                  <a:pt x="2837581" y="1967203"/>
                </a:cubicBezTo>
                <a:cubicBezTo>
                  <a:pt x="2843171" y="1961479"/>
                  <a:pt x="2850362" y="1958553"/>
                  <a:pt x="2859414" y="1958553"/>
                </a:cubicBezTo>
                <a:close/>
                <a:moveTo>
                  <a:pt x="2641763" y="1958553"/>
                </a:moveTo>
                <a:cubicBezTo>
                  <a:pt x="2646024" y="1958553"/>
                  <a:pt x="2649883" y="1959348"/>
                  <a:pt x="2653479" y="1961216"/>
                </a:cubicBezTo>
                <a:cubicBezTo>
                  <a:pt x="2657206" y="1962805"/>
                  <a:pt x="2660268" y="1964941"/>
                  <a:pt x="2662797" y="1967605"/>
                </a:cubicBezTo>
                <a:cubicBezTo>
                  <a:pt x="2665459" y="1970132"/>
                  <a:pt x="2667456" y="1973322"/>
                  <a:pt x="2668920" y="1976921"/>
                </a:cubicBezTo>
                <a:cubicBezTo>
                  <a:pt x="2670384" y="1980510"/>
                  <a:pt x="2671183" y="1984237"/>
                  <a:pt x="2671183" y="1988367"/>
                </a:cubicBezTo>
                <a:cubicBezTo>
                  <a:pt x="2671183" y="1992494"/>
                  <a:pt x="2670384" y="1996490"/>
                  <a:pt x="2668920" y="2000077"/>
                </a:cubicBezTo>
                <a:cubicBezTo>
                  <a:pt x="2667456" y="2003681"/>
                  <a:pt x="2665326" y="2006739"/>
                  <a:pt x="2662797" y="2009402"/>
                </a:cubicBezTo>
                <a:cubicBezTo>
                  <a:pt x="2660268" y="2012064"/>
                  <a:pt x="2657072" y="2014194"/>
                  <a:pt x="2653479" y="2015653"/>
                </a:cubicBezTo>
                <a:cubicBezTo>
                  <a:pt x="2649883" y="2017117"/>
                  <a:pt x="2646024" y="2017922"/>
                  <a:pt x="2641763" y="2017922"/>
                </a:cubicBezTo>
                <a:cubicBezTo>
                  <a:pt x="2632844" y="2017922"/>
                  <a:pt x="2625523" y="2014994"/>
                  <a:pt x="2619931" y="2009402"/>
                </a:cubicBezTo>
                <a:cubicBezTo>
                  <a:pt x="2614341" y="2003806"/>
                  <a:pt x="2611544" y="1996753"/>
                  <a:pt x="2611544" y="1988237"/>
                </a:cubicBezTo>
                <a:cubicBezTo>
                  <a:pt x="2611544" y="1979983"/>
                  <a:pt x="2614341" y="1972925"/>
                  <a:pt x="2619931" y="1967203"/>
                </a:cubicBezTo>
                <a:cubicBezTo>
                  <a:pt x="2625523" y="1961479"/>
                  <a:pt x="2632711" y="1958553"/>
                  <a:pt x="2641763" y="1958553"/>
                </a:cubicBezTo>
                <a:close/>
                <a:moveTo>
                  <a:pt x="2424112" y="1958553"/>
                </a:moveTo>
                <a:cubicBezTo>
                  <a:pt x="2428373" y="1958553"/>
                  <a:pt x="2432367" y="1959348"/>
                  <a:pt x="2435828" y="1961216"/>
                </a:cubicBezTo>
                <a:cubicBezTo>
                  <a:pt x="2439555" y="1962805"/>
                  <a:pt x="2442617" y="1964941"/>
                  <a:pt x="2445146" y="1967605"/>
                </a:cubicBezTo>
                <a:cubicBezTo>
                  <a:pt x="2447808" y="1970132"/>
                  <a:pt x="2449805" y="1973322"/>
                  <a:pt x="2451269" y="1976921"/>
                </a:cubicBezTo>
                <a:cubicBezTo>
                  <a:pt x="2452733" y="1980510"/>
                  <a:pt x="2453532" y="1984237"/>
                  <a:pt x="2453532" y="1988367"/>
                </a:cubicBezTo>
                <a:cubicBezTo>
                  <a:pt x="2453532" y="1992494"/>
                  <a:pt x="2452733" y="1996490"/>
                  <a:pt x="2451269" y="2000077"/>
                </a:cubicBezTo>
                <a:cubicBezTo>
                  <a:pt x="2449805" y="2003681"/>
                  <a:pt x="2447675" y="2006739"/>
                  <a:pt x="2445146" y="2009402"/>
                </a:cubicBezTo>
                <a:cubicBezTo>
                  <a:pt x="2442617" y="2012064"/>
                  <a:pt x="2439422" y="2014194"/>
                  <a:pt x="2435828" y="2015653"/>
                </a:cubicBezTo>
                <a:cubicBezTo>
                  <a:pt x="2432233" y="2017117"/>
                  <a:pt x="2428373" y="2017922"/>
                  <a:pt x="2424112" y="2017922"/>
                </a:cubicBezTo>
                <a:cubicBezTo>
                  <a:pt x="2415194" y="2017922"/>
                  <a:pt x="2407872" y="2014994"/>
                  <a:pt x="2402280" y="2009402"/>
                </a:cubicBezTo>
                <a:cubicBezTo>
                  <a:pt x="2396690" y="2003806"/>
                  <a:pt x="2393893" y="1996753"/>
                  <a:pt x="2393893" y="1988237"/>
                </a:cubicBezTo>
                <a:cubicBezTo>
                  <a:pt x="2393893" y="1979983"/>
                  <a:pt x="2396690" y="1972925"/>
                  <a:pt x="2402280" y="1967203"/>
                </a:cubicBezTo>
                <a:cubicBezTo>
                  <a:pt x="2407872" y="1961479"/>
                  <a:pt x="2415060" y="1958553"/>
                  <a:pt x="2424112" y="1958553"/>
                </a:cubicBezTo>
                <a:close/>
                <a:moveTo>
                  <a:pt x="2206462" y="1958553"/>
                </a:moveTo>
                <a:cubicBezTo>
                  <a:pt x="2210721" y="1958553"/>
                  <a:pt x="2214716" y="1959348"/>
                  <a:pt x="2218177" y="1961216"/>
                </a:cubicBezTo>
                <a:cubicBezTo>
                  <a:pt x="2221904" y="1962805"/>
                  <a:pt x="2224965" y="1964941"/>
                  <a:pt x="2227495" y="1967605"/>
                </a:cubicBezTo>
                <a:cubicBezTo>
                  <a:pt x="2230157" y="1970132"/>
                  <a:pt x="2232154" y="1973322"/>
                  <a:pt x="2233618" y="1976921"/>
                </a:cubicBezTo>
                <a:cubicBezTo>
                  <a:pt x="2235082" y="1980510"/>
                  <a:pt x="2235881" y="1984237"/>
                  <a:pt x="2235881" y="1988367"/>
                </a:cubicBezTo>
                <a:cubicBezTo>
                  <a:pt x="2235881" y="1992494"/>
                  <a:pt x="2235082" y="1996490"/>
                  <a:pt x="2233618" y="2000077"/>
                </a:cubicBezTo>
                <a:cubicBezTo>
                  <a:pt x="2232154" y="2003681"/>
                  <a:pt x="2230024" y="2006739"/>
                  <a:pt x="2227495" y="2009402"/>
                </a:cubicBezTo>
                <a:cubicBezTo>
                  <a:pt x="2224965" y="2012064"/>
                  <a:pt x="2221771" y="2014194"/>
                  <a:pt x="2218177" y="2015653"/>
                </a:cubicBezTo>
                <a:cubicBezTo>
                  <a:pt x="2214582" y="2017117"/>
                  <a:pt x="2210721" y="2017922"/>
                  <a:pt x="2206462" y="2017922"/>
                </a:cubicBezTo>
                <a:cubicBezTo>
                  <a:pt x="2197409" y="2017922"/>
                  <a:pt x="2190221" y="2014994"/>
                  <a:pt x="2184630" y="2009402"/>
                </a:cubicBezTo>
                <a:cubicBezTo>
                  <a:pt x="2179039" y="2003806"/>
                  <a:pt x="2176243" y="1996753"/>
                  <a:pt x="2176243" y="1988237"/>
                </a:cubicBezTo>
                <a:cubicBezTo>
                  <a:pt x="2176243" y="1979983"/>
                  <a:pt x="2179039" y="1972925"/>
                  <a:pt x="2184630" y="1967203"/>
                </a:cubicBezTo>
                <a:cubicBezTo>
                  <a:pt x="2190221" y="1961479"/>
                  <a:pt x="2197409" y="1958553"/>
                  <a:pt x="2206462" y="1958553"/>
                </a:cubicBezTo>
                <a:close/>
                <a:moveTo>
                  <a:pt x="1988944" y="1958553"/>
                </a:moveTo>
                <a:cubicBezTo>
                  <a:pt x="1993071" y="1958553"/>
                  <a:pt x="1997065" y="1959348"/>
                  <a:pt x="2000659" y="1961216"/>
                </a:cubicBezTo>
                <a:cubicBezTo>
                  <a:pt x="2004386" y="1962805"/>
                  <a:pt x="2007448" y="1964941"/>
                  <a:pt x="2009977" y="1967605"/>
                </a:cubicBezTo>
                <a:cubicBezTo>
                  <a:pt x="2012639" y="1970132"/>
                  <a:pt x="2014636" y="1973322"/>
                  <a:pt x="2016100" y="1976921"/>
                </a:cubicBezTo>
                <a:cubicBezTo>
                  <a:pt x="2017564" y="1980510"/>
                  <a:pt x="2018363" y="1984237"/>
                  <a:pt x="2018363" y="1988367"/>
                </a:cubicBezTo>
                <a:cubicBezTo>
                  <a:pt x="2018363" y="1992494"/>
                  <a:pt x="2017564" y="1996490"/>
                  <a:pt x="2016100" y="2000077"/>
                </a:cubicBezTo>
                <a:cubicBezTo>
                  <a:pt x="2014636" y="2003681"/>
                  <a:pt x="2012506" y="2006739"/>
                  <a:pt x="2009977" y="2009402"/>
                </a:cubicBezTo>
                <a:cubicBezTo>
                  <a:pt x="2007448" y="2012064"/>
                  <a:pt x="2004253" y="2014194"/>
                  <a:pt x="2000659" y="2015653"/>
                </a:cubicBezTo>
                <a:cubicBezTo>
                  <a:pt x="1997065" y="2017117"/>
                  <a:pt x="1993203" y="2017922"/>
                  <a:pt x="1988944" y="2017922"/>
                </a:cubicBezTo>
                <a:cubicBezTo>
                  <a:pt x="1979892" y="2017922"/>
                  <a:pt x="1972703" y="2014994"/>
                  <a:pt x="1967112" y="2009402"/>
                </a:cubicBezTo>
                <a:cubicBezTo>
                  <a:pt x="1961522" y="2003806"/>
                  <a:pt x="1958726" y="1996753"/>
                  <a:pt x="1958726" y="1988237"/>
                </a:cubicBezTo>
                <a:cubicBezTo>
                  <a:pt x="1958726" y="1979983"/>
                  <a:pt x="1961522" y="1972925"/>
                  <a:pt x="1967112" y="1967203"/>
                </a:cubicBezTo>
                <a:cubicBezTo>
                  <a:pt x="1972703" y="1961479"/>
                  <a:pt x="1979892" y="1958553"/>
                  <a:pt x="1988944" y="1958553"/>
                </a:cubicBezTo>
                <a:close/>
                <a:moveTo>
                  <a:pt x="1771303" y="1958553"/>
                </a:moveTo>
                <a:cubicBezTo>
                  <a:pt x="1775562" y="1958553"/>
                  <a:pt x="1779423" y="1959348"/>
                  <a:pt x="1783018" y="1961216"/>
                </a:cubicBezTo>
                <a:cubicBezTo>
                  <a:pt x="1786745" y="1962805"/>
                  <a:pt x="1789806" y="1964941"/>
                  <a:pt x="1792335" y="1967605"/>
                </a:cubicBezTo>
                <a:cubicBezTo>
                  <a:pt x="1794997" y="1970132"/>
                  <a:pt x="1796995" y="1973322"/>
                  <a:pt x="1798459" y="1976921"/>
                </a:cubicBezTo>
                <a:cubicBezTo>
                  <a:pt x="1799923" y="1980510"/>
                  <a:pt x="1800721" y="1984237"/>
                  <a:pt x="1800721" y="1988367"/>
                </a:cubicBezTo>
                <a:cubicBezTo>
                  <a:pt x="1800721" y="1992494"/>
                  <a:pt x="1799923" y="1996490"/>
                  <a:pt x="1798459" y="2000077"/>
                </a:cubicBezTo>
                <a:cubicBezTo>
                  <a:pt x="1796995" y="2003681"/>
                  <a:pt x="1794865" y="2006739"/>
                  <a:pt x="1792335" y="2009402"/>
                </a:cubicBezTo>
                <a:cubicBezTo>
                  <a:pt x="1789672" y="2012064"/>
                  <a:pt x="1786612" y="2014194"/>
                  <a:pt x="1783018" y="2015653"/>
                </a:cubicBezTo>
                <a:cubicBezTo>
                  <a:pt x="1779423" y="2017117"/>
                  <a:pt x="1775562" y="2017922"/>
                  <a:pt x="1771303" y="2017922"/>
                </a:cubicBezTo>
                <a:cubicBezTo>
                  <a:pt x="1762384" y="2017922"/>
                  <a:pt x="1755063" y="2014994"/>
                  <a:pt x="1749472" y="2009402"/>
                </a:cubicBezTo>
                <a:cubicBezTo>
                  <a:pt x="1743881" y="2003806"/>
                  <a:pt x="1741087" y="1996753"/>
                  <a:pt x="1741087" y="1988237"/>
                </a:cubicBezTo>
                <a:cubicBezTo>
                  <a:pt x="1741087" y="1979983"/>
                  <a:pt x="1743881" y="1972925"/>
                  <a:pt x="1749472" y="1967203"/>
                </a:cubicBezTo>
                <a:cubicBezTo>
                  <a:pt x="1755063" y="1961479"/>
                  <a:pt x="1762251" y="1958553"/>
                  <a:pt x="1771303" y="1958553"/>
                </a:cubicBezTo>
                <a:close/>
                <a:moveTo>
                  <a:pt x="1553661" y="1958553"/>
                </a:moveTo>
                <a:cubicBezTo>
                  <a:pt x="1557920" y="1958553"/>
                  <a:pt x="1561781" y="1959348"/>
                  <a:pt x="1565375" y="1961216"/>
                </a:cubicBezTo>
                <a:cubicBezTo>
                  <a:pt x="1568970" y="1962805"/>
                  <a:pt x="1572165" y="1964941"/>
                  <a:pt x="1574694" y="1967605"/>
                </a:cubicBezTo>
                <a:cubicBezTo>
                  <a:pt x="1577356" y="1970132"/>
                  <a:pt x="1579352" y="1973322"/>
                  <a:pt x="1580816" y="1976921"/>
                </a:cubicBezTo>
                <a:cubicBezTo>
                  <a:pt x="1582280" y="1980510"/>
                  <a:pt x="1583079" y="1984237"/>
                  <a:pt x="1583079" y="1988367"/>
                </a:cubicBezTo>
                <a:cubicBezTo>
                  <a:pt x="1583079" y="1992494"/>
                  <a:pt x="1582280" y="1996490"/>
                  <a:pt x="1580816" y="2000077"/>
                </a:cubicBezTo>
                <a:cubicBezTo>
                  <a:pt x="1579352" y="2003681"/>
                  <a:pt x="1577222" y="2006739"/>
                  <a:pt x="1574694" y="2009402"/>
                </a:cubicBezTo>
                <a:cubicBezTo>
                  <a:pt x="1572031" y="2012064"/>
                  <a:pt x="1568970" y="2014194"/>
                  <a:pt x="1565375" y="2015653"/>
                </a:cubicBezTo>
                <a:cubicBezTo>
                  <a:pt x="1561781" y="2017117"/>
                  <a:pt x="1557920" y="2017922"/>
                  <a:pt x="1553661" y="2017922"/>
                </a:cubicBezTo>
                <a:cubicBezTo>
                  <a:pt x="1544742" y="2017922"/>
                  <a:pt x="1537420" y="2014994"/>
                  <a:pt x="1531829" y="2009402"/>
                </a:cubicBezTo>
                <a:cubicBezTo>
                  <a:pt x="1526240" y="2003806"/>
                  <a:pt x="1523443" y="1996753"/>
                  <a:pt x="1523443" y="1988237"/>
                </a:cubicBezTo>
                <a:cubicBezTo>
                  <a:pt x="1523443" y="1979983"/>
                  <a:pt x="1526240" y="1972925"/>
                  <a:pt x="1531829" y="1967203"/>
                </a:cubicBezTo>
                <a:cubicBezTo>
                  <a:pt x="1537420" y="1961479"/>
                  <a:pt x="1544608" y="1958553"/>
                  <a:pt x="1553661" y="1958553"/>
                </a:cubicBezTo>
                <a:close/>
                <a:moveTo>
                  <a:pt x="1336016" y="1958553"/>
                </a:moveTo>
                <a:cubicBezTo>
                  <a:pt x="1340276" y="1958553"/>
                  <a:pt x="1344271" y="1959348"/>
                  <a:pt x="1347731" y="1961216"/>
                </a:cubicBezTo>
                <a:cubicBezTo>
                  <a:pt x="1351325" y="1962805"/>
                  <a:pt x="1354520" y="1964941"/>
                  <a:pt x="1357050" y="1967605"/>
                </a:cubicBezTo>
                <a:cubicBezTo>
                  <a:pt x="1359712" y="1970132"/>
                  <a:pt x="1361708" y="1973322"/>
                  <a:pt x="1363172" y="1976921"/>
                </a:cubicBezTo>
                <a:cubicBezTo>
                  <a:pt x="1364637" y="1980510"/>
                  <a:pt x="1365435" y="1984237"/>
                  <a:pt x="1365435" y="1988367"/>
                </a:cubicBezTo>
                <a:cubicBezTo>
                  <a:pt x="1365435" y="1992494"/>
                  <a:pt x="1364637" y="1996490"/>
                  <a:pt x="1363172" y="2000077"/>
                </a:cubicBezTo>
                <a:cubicBezTo>
                  <a:pt x="1361708" y="2003681"/>
                  <a:pt x="1359579" y="2006739"/>
                  <a:pt x="1357050" y="2009402"/>
                </a:cubicBezTo>
                <a:cubicBezTo>
                  <a:pt x="1354386" y="2012064"/>
                  <a:pt x="1351325" y="2014194"/>
                  <a:pt x="1347731" y="2015653"/>
                </a:cubicBezTo>
                <a:cubicBezTo>
                  <a:pt x="1344136" y="2017117"/>
                  <a:pt x="1340276" y="2017922"/>
                  <a:pt x="1336016" y="2017922"/>
                </a:cubicBezTo>
                <a:cubicBezTo>
                  <a:pt x="1327096" y="2017922"/>
                  <a:pt x="1319775" y="2014994"/>
                  <a:pt x="1314184" y="2009402"/>
                </a:cubicBezTo>
                <a:cubicBezTo>
                  <a:pt x="1308593" y="2003806"/>
                  <a:pt x="1305798" y="1996753"/>
                  <a:pt x="1305798" y="1988237"/>
                </a:cubicBezTo>
                <a:cubicBezTo>
                  <a:pt x="1305798" y="1979983"/>
                  <a:pt x="1308593" y="1972925"/>
                  <a:pt x="1314184" y="1967203"/>
                </a:cubicBezTo>
                <a:cubicBezTo>
                  <a:pt x="1319775" y="1961479"/>
                  <a:pt x="1326963" y="1958553"/>
                  <a:pt x="1336016" y="1958553"/>
                </a:cubicBezTo>
                <a:close/>
                <a:moveTo>
                  <a:pt x="1118371" y="1958553"/>
                </a:moveTo>
                <a:cubicBezTo>
                  <a:pt x="1122631" y="1958553"/>
                  <a:pt x="1126626" y="1959348"/>
                  <a:pt x="1130087" y="1961216"/>
                </a:cubicBezTo>
                <a:cubicBezTo>
                  <a:pt x="1133814" y="1962805"/>
                  <a:pt x="1136876" y="1964941"/>
                  <a:pt x="1139404" y="1967605"/>
                </a:cubicBezTo>
                <a:cubicBezTo>
                  <a:pt x="1142066" y="1970132"/>
                  <a:pt x="1144062" y="1973322"/>
                  <a:pt x="1145526" y="1976921"/>
                </a:cubicBezTo>
                <a:cubicBezTo>
                  <a:pt x="1146991" y="1980510"/>
                  <a:pt x="1147789" y="1984237"/>
                  <a:pt x="1147789" y="1988367"/>
                </a:cubicBezTo>
                <a:cubicBezTo>
                  <a:pt x="1147789" y="1992494"/>
                  <a:pt x="1146991" y="1996490"/>
                  <a:pt x="1145526" y="2000077"/>
                </a:cubicBezTo>
                <a:cubicBezTo>
                  <a:pt x="1144062" y="2003681"/>
                  <a:pt x="1141933" y="2006739"/>
                  <a:pt x="1139404" y="2009402"/>
                </a:cubicBezTo>
                <a:cubicBezTo>
                  <a:pt x="1136876" y="2012064"/>
                  <a:pt x="1133681" y="2014194"/>
                  <a:pt x="1130087" y="2015653"/>
                </a:cubicBezTo>
                <a:cubicBezTo>
                  <a:pt x="1126491" y="2017117"/>
                  <a:pt x="1122631" y="2017922"/>
                  <a:pt x="1118371" y="2017922"/>
                </a:cubicBezTo>
                <a:cubicBezTo>
                  <a:pt x="1109452" y="2017922"/>
                  <a:pt x="1102129" y="2014994"/>
                  <a:pt x="1096538" y="2009402"/>
                </a:cubicBezTo>
                <a:cubicBezTo>
                  <a:pt x="1090947" y="2003806"/>
                  <a:pt x="1088153" y="1996753"/>
                  <a:pt x="1088153" y="1988237"/>
                </a:cubicBezTo>
                <a:cubicBezTo>
                  <a:pt x="1088153" y="1979983"/>
                  <a:pt x="1090947" y="1972925"/>
                  <a:pt x="1096538" y="1967203"/>
                </a:cubicBezTo>
                <a:cubicBezTo>
                  <a:pt x="1102129" y="1961479"/>
                  <a:pt x="1109318" y="1958553"/>
                  <a:pt x="1118371" y="1958553"/>
                </a:cubicBezTo>
                <a:close/>
                <a:moveTo>
                  <a:pt x="900859" y="1958553"/>
                </a:moveTo>
                <a:cubicBezTo>
                  <a:pt x="904985" y="1958553"/>
                  <a:pt x="908980" y="1959348"/>
                  <a:pt x="912574" y="1961216"/>
                </a:cubicBezTo>
                <a:cubicBezTo>
                  <a:pt x="916301" y="1962805"/>
                  <a:pt x="919363" y="1964941"/>
                  <a:pt x="921892" y="1967605"/>
                </a:cubicBezTo>
                <a:cubicBezTo>
                  <a:pt x="924554" y="1970132"/>
                  <a:pt x="926551" y="1973322"/>
                  <a:pt x="928015" y="1976921"/>
                </a:cubicBezTo>
                <a:cubicBezTo>
                  <a:pt x="929479" y="1980510"/>
                  <a:pt x="930278" y="1984237"/>
                  <a:pt x="930278" y="1988367"/>
                </a:cubicBezTo>
                <a:cubicBezTo>
                  <a:pt x="930278" y="1992494"/>
                  <a:pt x="929479" y="1996490"/>
                  <a:pt x="928015" y="2000077"/>
                </a:cubicBezTo>
                <a:cubicBezTo>
                  <a:pt x="926551" y="2003681"/>
                  <a:pt x="924421" y="2006739"/>
                  <a:pt x="921892" y="2009402"/>
                </a:cubicBezTo>
                <a:cubicBezTo>
                  <a:pt x="919363" y="2012064"/>
                  <a:pt x="916168" y="2014194"/>
                  <a:pt x="912574" y="2015653"/>
                </a:cubicBezTo>
                <a:cubicBezTo>
                  <a:pt x="908980" y="2017117"/>
                  <a:pt x="905119" y="2017922"/>
                  <a:pt x="900859" y="2017922"/>
                </a:cubicBezTo>
                <a:cubicBezTo>
                  <a:pt x="891940" y="2017922"/>
                  <a:pt x="884618" y="2014994"/>
                  <a:pt x="879028" y="2009402"/>
                </a:cubicBezTo>
                <a:cubicBezTo>
                  <a:pt x="873438" y="2003806"/>
                  <a:pt x="870642" y="1996753"/>
                  <a:pt x="870642" y="1988237"/>
                </a:cubicBezTo>
                <a:cubicBezTo>
                  <a:pt x="870642" y="1979983"/>
                  <a:pt x="873438" y="1972925"/>
                  <a:pt x="879028" y="1967203"/>
                </a:cubicBezTo>
                <a:cubicBezTo>
                  <a:pt x="884618" y="1961479"/>
                  <a:pt x="891807" y="1958553"/>
                  <a:pt x="900859" y="1958553"/>
                </a:cubicBezTo>
                <a:close/>
                <a:moveTo>
                  <a:pt x="683215" y="1958553"/>
                </a:moveTo>
                <a:cubicBezTo>
                  <a:pt x="687476" y="1958553"/>
                  <a:pt x="691337" y="1959348"/>
                  <a:pt x="694931" y="1961216"/>
                </a:cubicBezTo>
                <a:cubicBezTo>
                  <a:pt x="698658" y="1962805"/>
                  <a:pt x="701720" y="1964941"/>
                  <a:pt x="704248" y="1967605"/>
                </a:cubicBezTo>
                <a:cubicBezTo>
                  <a:pt x="706910" y="1970132"/>
                  <a:pt x="708908" y="1973322"/>
                  <a:pt x="710371" y="1976921"/>
                </a:cubicBezTo>
                <a:cubicBezTo>
                  <a:pt x="711836" y="1980510"/>
                  <a:pt x="712635" y="1984237"/>
                  <a:pt x="712635" y="1988367"/>
                </a:cubicBezTo>
                <a:cubicBezTo>
                  <a:pt x="712635" y="1992494"/>
                  <a:pt x="711836" y="1996490"/>
                  <a:pt x="710371" y="2000077"/>
                </a:cubicBezTo>
                <a:cubicBezTo>
                  <a:pt x="708908" y="2003681"/>
                  <a:pt x="706778" y="2006739"/>
                  <a:pt x="704248" y="2009402"/>
                </a:cubicBezTo>
                <a:cubicBezTo>
                  <a:pt x="701720" y="2012064"/>
                  <a:pt x="698525" y="2014194"/>
                  <a:pt x="694931" y="2015653"/>
                </a:cubicBezTo>
                <a:cubicBezTo>
                  <a:pt x="691337" y="2017117"/>
                  <a:pt x="687476" y="2017922"/>
                  <a:pt x="683215" y="2017922"/>
                </a:cubicBezTo>
                <a:cubicBezTo>
                  <a:pt x="674297" y="2017922"/>
                  <a:pt x="666975" y="2014994"/>
                  <a:pt x="661384" y="2009402"/>
                </a:cubicBezTo>
                <a:cubicBezTo>
                  <a:pt x="655793" y="2003806"/>
                  <a:pt x="652998" y="1996753"/>
                  <a:pt x="652998" y="1988237"/>
                </a:cubicBezTo>
                <a:cubicBezTo>
                  <a:pt x="652998" y="1979983"/>
                  <a:pt x="655793" y="1972925"/>
                  <a:pt x="661384" y="1967203"/>
                </a:cubicBezTo>
                <a:cubicBezTo>
                  <a:pt x="666975" y="1961479"/>
                  <a:pt x="674164" y="1958553"/>
                  <a:pt x="683215" y="1958553"/>
                </a:cubicBezTo>
                <a:close/>
                <a:moveTo>
                  <a:pt x="465572" y="1958553"/>
                </a:moveTo>
                <a:cubicBezTo>
                  <a:pt x="469832" y="1958553"/>
                  <a:pt x="473692" y="1959348"/>
                  <a:pt x="477287" y="1961216"/>
                </a:cubicBezTo>
                <a:cubicBezTo>
                  <a:pt x="481014" y="1962805"/>
                  <a:pt x="484076" y="1964941"/>
                  <a:pt x="486605" y="1967605"/>
                </a:cubicBezTo>
                <a:cubicBezTo>
                  <a:pt x="489267" y="1970132"/>
                  <a:pt x="491264" y="1973322"/>
                  <a:pt x="492728" y="1976921"/>
                </a:cubicBezTo>
                <a:cubicBezTo>
                  <a:pt x="494192" y="1980510"/>
                  <a:pt x="494991" y="1984237"/>
                  <a:pt x="494991" y="1988367"/>
                </a:cubicBezTo>
                <a:cubicBezTo>
                  <a:pt x="494991" y="1992494"/>
                  <a:pt x="494192" y="1996490"/>
                  <a:pt x="492728" y="2000077"/>
                </a:cubicBezTo>
                <a:cubicBezTo>
                  <a:pt x="491264" y="2003681"/>
                  <a:pt x="489134" y="2006739"/>
                  <a:pt x="486605" y="2009402"/>
                </a:cubicBezTo>
                <a:cubicBezTo>
                  <a:pt x="483942" y="2012064"/>
                  <a:pt x="480881" y="2014194"/>
                  <a:pt x="477287" y="2015653"/>
                </a:cubicBezTo>
                <a:cubicBezTo>
                  <a:pt x="473692" y="2017117"/>
                  <a:pt x="469832" y="2017922"/>
                  <a:pt x="465572" y="2017922"/>
                </a:cubicBezTo>
                <a:cubicBezTo>
                  <a:pt x="456654" y="2017922"/>
                  <a:pt x="449332" y="2014994"/>
                  <a:pt x="443741" y="2009402"/>
                </a:cubicBezTo>
                <a:cubicBezTo>
                  <a:pt x="438150" y="2003806"/>
                  <a:pt x="435355" y="1996753"/>
                  <a:pt x="435355" y="1988237"/>
                </a:cubicBezTo>
                <a:cubicBezTo>
                  <a:pt x="435355" y="1979983"/>
                  <a:pt x="438150" y="1972925"/>
                  <a:pt x="443741" y="1967203"/>
                </a:cubicBezTo>
                <a:cubicBezTo>
                  <a:pt x="449332" y="1961479"/>
                  <a:pt x="456521" y="1958553"/>
                  <a:pt x="465572" y="1958553"/>
                </a:cubicBezTo>
                <a:close/>
                <a:moveTo>
                  <a:pt x="247928" y="1958553"/>
                </a:moveTo>
                <a:cubicBezTo>
                  <a:pt x="252188" y="1958553"/>
                  <a:pt x="256182" y="1959348"/>
                  <a:pt x="259643" y="1961216"/>
                </a:cubicBezTo>
                <a:cubicBezTo>
                  <a:pt x="263370" y="1962805"/>
                  <a:pt x="266432" y="1964941"/>
                  <a:pt x="268962" y="1967605"/>
                </a:cubicBezTo>
                <a:cubicBezTo>
                  <a:pt x="271624" y="1970132"/>
                  <a:pt x="273621" y="1973322"/>
                  <a:pt x="275085" y="1976921"/>
                </a:cubicBezTo>
                <a:cubicBezTo>
                  <a:pt x="276549" y="1980510"/>
                  <a:pt x="277348" y="1984237"/>
                  <a:pt x="277348" y="1988367"/>
                </a:cubicBezTo>
                <a:cubicBezTo>
                  <a:pt x="277348" y="1992494"/>
                  <a:pt x="276549" y="1996490"/>
                  <a:pt x="275085" y="2000077"/>
                </a:cubicBezTo>
                <a:cubicBezTo>
                  <a:pt x="273621" y="2003681"/>
                  <a:pt x="271490" y="2006739"/>
                  <a:pt x="268962" y="2009402"/>
                </a:cubicBezTo>
                <a:cubicBezTo>
                  <a:pt x="266298" y="2012064"/>
                  <a:pt x="263237" y="2014194"/>
                  <a:pt x="259643" y="2015653"/>
                </a:cubicBezTo>
                <a:cubicBezTo>
                  <a:pt x="256048" y="2017117"/>
                  <a:pt x="252188" y="2017922"/>
                  <a:pt x="247928" y="2017922"/>
                </a:cubicBezTo>
                <a:cubicBezTo>
                  <a:pt x="239011" y="2017922"/>
                  <a:pt x="231689" y="2014994"/>
                  <a:pt x="226098" y="2009402"/>
                </a:cubicBezTo>
                <a:cubicBezTo>
                  <a:pt x="220507" y="2003806"/>
                  <a:pt x="217712" y="1996753"/>
                  <a:pt x="217712" y="1988237"/>
                </a:cubicBezTo>
                <a:cubicBezTo>
                  <a:pt x="217712" y="1979983"/>
                  <a:pt x="220507" y="1972925"/>
                  <a:pt x="226098" y="1967203"/>
                </a:cubicBezTo>
                <a:cubicBezTo>
                  <a:pt x="231689" y="1961479"/>
                  <a:pt x="238876" y="1958553"/>
                  <a:pt x="247928" y="1958553"/>
                </a:cubicBezTo>
                <a:close/>
                <a:moveTo>
                  <a:pt x="30285" y="1958553"/>
                </a:moveTo>
                <a:cubicBezTo>
                  <a:pt x="34545" y="1958553"/>
                  <a:pt x="38539" y="1959348"/>
                  <a:pt x="42000" y="1961216"/>
                </a:cubicBezTo>
                <a:cubicBezTo>
                  <a:pt x="45727" y="1962805"/>
                  <a:pt x="48789" y="1964941"/>
                  <a:pt x="51318" y="1967605"/>
                </a:cubicBezTo>
                <a:cubicBezTo>
                  <a:pt x="53980" y="1970132"/>
                  <a:pt x="55977" y="1973322"/>
                  <a:pt x="57441" y="1976921"/>
                </a:cubicBezTo>
                <a:cubicBezTo>
                  <a:pt x="58905" y="1980510"/>
                  <a:pt x="59704" y="1984237"/>
                  <a:pt x="59704" y="1988367"/>
                </a:cubicBezTo>
                <a:cubicBezTo>
                  <a:pt x="59704" y="1992494"/>
                  <a:pt x="58905" y="1996490"/>
                  <a:pt x="57441" y="2000077"/>
                </a:cubicBezTo>
                <a:cubicBezTo>
                  <a:pt x="55977" y="2003681"/>
                  <a:pt x="53847" y="2006739"/>
                  <a:pt x="51318" y="2009402"/>
                </a:cubicBezTo>
                <a:cubicBezTo>
                  <a:pt x="48655" y="2012064"/>
                  <a:pt x="45594" y="2014194"/>
                  <a:pt x="42000" y="2015653"/>
                </a:cubicBezTo>
                <a:cubicBezTo>
                  <a:pt x="38406" y="2017117"/>
                  <a:pt x="34545" y="2017922"/>
                  <a:pt x="30285" y="2017922"/>
                </a:cubicBezTo>
                <a:cubicBezTo>
                  <a:pt x="21367" y="2017922"/>
                  <a:pt x="14045" y="2014994"/>
                  <a:pt x="8455" y="2009402"/>
                </a:cubicBezTo>
                <a:cubicBezTo>
                  <a:pt x="2864" y="2003806"/>
                  <a:pt x="69" y="1996753"/>
                  <a:pt x="69" y="1988237"/>
                </a:cubicBezTo>
                <a:cubicBezTo>
                  <a:pt x="69" y="1979983"/>
                  <a:pt x="2864" y="1972925"/>
                  <a:pt x="8455" y="1967203"/>
                </a:cubicBezTo>
                <a:cubicBezTo>
                  <a:pt x="14045" y="1961479"/>
                  <a:pt x="21233" y="1958553"/>
                  <a:pt x="30285" y="1958553"/>
                </a:cubicBezTo>
                <a:close/>
                <a:moveTo>
                  <a:pt x="10475977" y="1958550"/>
                </a:moveTo>
                <a:cubicBezTo>
                  <a:pt x="10480237" y="1958550"/>
                  <a:pt x="10484230" y="1959348"/>
                  <a:pt x="10487824" y="1961216"/>
                </a:cubicBezTo>
                <a:cubicBezTo>
                  <a:pt x="10491419" y="1962805"/>
                  <a:pt x="10494613" y="1964941"/>
                  <a:pt x="10497143" y="1967605"/>
                </a:cubicBezTo>
                <a:cubicBezTo>
                  <a:pt x="10499672" y="1970132"/>
                  <a:pt x="10501801" y="1973322"/>
                  <a:pt x="10503266" y="1976921"/>
                </a:cubicBezTo>
                <a:cubicBezTo>
                  <a:pt x="10504730" y="1980510"/>
                  <a:pt x="10505529" y="1984237"/>
                  <a:pt x="10505529" y="1988365"/>
                </a:cubicBezTo>
                <a:cubicBezTo>
                  <a:pt x="10505529" y="1992494"/>
                  <a:pt x="10504730" y="1996490"/>
                  <a:pt x="10503266" y="2000077"/>
                </a:cubicBezTo>
                <a:cubicBezTo>
                  <a:pt x="10501669" y="2003681"/>
                  <a:pt x="10499672" y="2006739"/>
                  <a:pt x="10497143" y="2009402"/>
                </a:cubicBezTo>
                <a:cubicBezTo>
                  <a:pt x="10494480" y="2012064"/>
                  <a:pt x="10491419" y="2014194"/>
                  <a:pt x="10487824" y="2015653"/>
                </a:cubicBezTo>
                <a:cubicBezTo>
                  <a:pt x="10484098" y="2017117"/>
                  <a:pt x="10480237" y="2017922"/>
                  <a:pt x="10475977" y="2017922"/>
                </a:cubicBezTo>
                <a:cubicBezTo>
                  <a:pt x="10466924" y="2017922"/>
                  <a:pt x="10459736" y="2014994"/>
                  <a:pt x="10454145" y="2009402"/>
                </a:cubicBezTo>
                <a:cubicBezTo>
                  <a:pt x="10448554" y="2003806"/>
                  <a:pt x="10445759" y="1996753"/>
                  <a:pt x="10445759" y="1988232"/>
                </a:cubicBezTo>
                <a:cubicBezTo>
                  <a:pt x="10445759" y="1979983"/>
                  <a:pt x="10448554" y="1972925"/>
                  <a:pt x="10454145" y="1967203"/>
                </a:cubicBezTo>
                <a:cubicBezTo>
                  <a:pt x="10459603" y="1961479"/>
                  <a:pt x="10466924" y="1958550"/>
                  <a:pt x="10475977" y="1958550"/>
                </a:cubicBezTo>
                <a:close/>
                <a:moveTo>
                  <a:pt x="10258466" y="1958550"/>
                </a:moveTo>
                <a:cubicBezTo>
                  <a:pt x="10262592" y="1958550"/>
                  <a:pt x="10266586" y="1959348"/>
                  <a:pt x="10270313" y="1961216"/>
                </a:cubicBezTo>
                <a:cubicBezTo>
                  <a:pt x="10273907" y="1962805"/>
                  <a:pt x="10277101" y="1964941"/>
                  <a:pt x="10279631" y="1967605"/>
                </a:cubicBezTo>
                <a:cubicBezTo>
                  <a:pt x="10282160" y="1970132"/>
                  <a:pt x="10284290" y="1973322"/>
                  <a:pt x="10285754" y="1976921"/>
                </a:cubicBezTo>
                <a:cubicBezTo>
                  <a:pt x="10287218" y="1980510"/>
                  <a:pt x="10288017" y="1984237"/>
                  <a:pt x="10288017" y="1988365"/>
                </a:cubicBezTo>
                <a:cubicBezTo>
                  <a:pt x="10288017" y="1992494"/>
                  <a:pt x="10287218" y="1996490"/>
                  <a:pt x="10285754" y="2000077"/>
                </a:cubicBezTo>
                <a:cubicBezTo>
                  <a:pt x="10284157" y="2003681"/>
                  <a:pt x="10282160" y="2006739"/>
                  <a:pt x="10279631" y="2009402"/>
                </a:cubicBezTo>
                <a:cubicBezTo>
                  <a:pt x="10276969" y="2012064"/>
                  <a:pt x="10273907" y="2014194"/>
                  <a:pt x="10270313" y="2015653"/>
                </a:cubicBezTo>
                <a:cubicBezTo>
                  <a:pt x="10266586" y="2017117"/>
                  <a:pt x="10262725" y="2017922"/>
                  <a:pt x="10258466" y="2017922"/>
                </a:cubicBezTo>
                <a:cubicBezTo>
                  <a:pt x="10249546" y="2017922"/>
                  <a:pt x="10242224" y="2014994"/>
                  <a:pt x="10236633" y="2009402"/>
                </a:cubicBezTo>
                <a:cubicBezTo>
                  <a:pt x="10231043" y="2003806"/>
                  <a:pt x="10228247" y="1996753"/>
                  <a:pt x="10228247" y="1988237"/>
                </a:cubicBezTo>
                <a:cubicBezTo>
                  <a:pt x="10228247" y="1979983"/>
                  <a:pt x="10231043" y="1972925"/>
                  <a:pt x="10236633" y="1967203"/>
                </a:cubicBezTo>
                <a:cubicBezTo>
                  <a:pt x="10242092" y="1961479"/>
                  <a:pt x="10249413" y="1958550"/>
                  <a:pt x="10258466" y="1958550"/>
                </a:cubicBezTo>
                <a:close/>
                <a:moveTo>
                  <a:pt x="10475977" y="1757670"/>
                </a:moveTo>
                <a:cubicBezTo>
                  <a:pt x="10470119" y="1757670"/>
                  <a:pt x="10467589" y="1759665"/>
                  <a:pt x="10465992" y="1761271"/>
                </a:cubicBezTo>
                <a:cubicBezTo>
                  <a:pt x="10463463" y="1763934"/>
                  <a:pt x="10462399" y="1766725"/>
                  <a:pt x="10462399" y="1770725"/>
                </a:cubicBezTo>
                <a:cubicBezTo>
                  <a:pt x="10462399" y="1774853"/>
                  <a:pt x="10463463" y="1777642"/>
                  <a:pt x="10465992" y="1780175"/>
                </a:cubicBezTo>
                <a:cubicBezTo>
                  <a:pt x="10467589" y="1781764"/>
                  <a:pt x="10470119" y="1783629"/>
                  <a:pt x="10475977" y="1783629"/>
                </a:cubicBezTo>
                <a:cubicBezTo>
                  <a:pt x="10478107" y="1783629"/>
                  <a:pt x="10479838" y="1783231"/>
                  <a:pt x="10481302" y="1782705"/>
                </a:cubicBezTo>
                <a:cubicBezTo>
                  <a:pt x="10482899" y="1782170"/>
                  <a:pt x="10484098" y="1781365"/>
                  <a:pt x="10485029" y="1780304"/>
                </a:cubicBezTo>
                <a:cubicBezTo>
                  <a:pt x="10486094" y="1779105"/>
                  <a:pt x="10487026" y="1777772"/>
                  <a:pt x="10487691" y="1776047"/>
                </a:cubicBezTo>
                <a:cubicBezTo>
                  <a:pt x="10488357" y="1774449"/>
                  <a:pt x="10488623" y="1772585"/>
                  <a:pt x="10488623" y="1770584"/>
                </a:cubicBezTo>
                <a:cubicBezTo>
                  <a:pt x="10488623" y="1768720"/>
                  <a:pt x="10488357" y="1766997"/>
                  <a:pt x="10487691" y="1765399"/>
                </a:cubicBezTo>
                <a:cubicBezTo>
                  <a:pt x="10487026" y="1763793"/>
                  <a:pt x="10486094" y="1762469"/>
                  <a:pt x="10485029" y="1761271"/>
                </a:cubicBezTo>
                <a:cubicBezTo>
                  <a:pt x="10483964" y="1760205"/>
                  <a:pt x="10482633" y="1759407"/>
                  <a:pt x="10481035" y="1758610"/>
                </a:cubicBezTo>
                <a:cubicBezTo>
                  <a:pt x="10479571" y="1757942"/>
                  <a:pt x="10477974" y="1757670"/>
                  <a:pt x="10475977" y="1757670"/>
                </a:cubicBezTo>
                <a:close/>
                <a:moveTo>
                  <a:pt x="10258466" y="1757670"/>
                </a:moveTo>
                <a:cubicBezTo>
                  <a:pt x="10252608" y="1757670"/>
                  <a:pt x="10250078" y="1759665"/>
                  <a:pt x="10248481" y="1761271"/>
                </a:cubicBezTo>
                <a:cubicBezTo>
                  <a:pt x="10245952" y="1763934"/>
                  <a:pt x="10244887" y="1766725"/>
                  <a:pt x="10244887" y="1770725"/>
                </a:cubicBezTo>
                <a:cubicBezTo>
                  <a:pt x="10244887" y="1774853"/>
                  <a:pt x="10245952" y="1777642"/>
                  <a:pt x="10248481" y="1780175"/>
                </a:cubicBezTo>
                <a:cubicBezTo>
                  <a:pt x="10250078" y="1781764"/>
                  <a:pt x="10252608" y="1783629"/>
                  <a:pt x="10258466" y="1783629"/>
                </a:cubicBezTo>
                <a:cubicBezTo>
                  <a:pt x="10260462" y="1783629"/>
                  <a:pt x="10262192" y="1783231"/>
                  <a:pt x="10263790" y="1782705"/>
                </a:cubicBezTo>
                <a:cubicBezTo>
                  <a:pt x="10265388" y="1782170"/>
                  <a:pt x="10266586" y="1781365"/>
                  <a:pt x="10267517" y="1780304"/>
                </a:cubicBezTo>
                <a:cubicBezTo>
                  <a:pt x="10268583" y="1779105"/>
                  <a:pt x="10269515" y="1777772"/>
                  <a:pt x="10270180" y="1776047"/>
                </a:cubicBezTo>
                <a:cubicBezTo>
                  <a:pt x="10270845" y="1774449"/>
                  <a:pt x="10271112" y="1772588"/>
                  <a:pt x="10271112" y="1770584"/>
                </a:cubicBezTo>
                <a:cubicBezTo>
                  <a:pt x="10271112" y="1768720"/>
                  <a:pt x="10270845" y="1766997"/>
                  <a:pt x="10270180" y="1765399"/>
                </a:cubicBezTo>
                <a:cubicBezTo>
                  <a:pt x="10269515" y="1763793"/>
                  <a:pt x="10268583" y="1762469"/>
                  <a:pt x="10267517" y="1761271"/>
                </a:cubicBezTo>
                <a:cubicBezTo>
                  <a:pt x="10266452" y="1760205"/>
                  <a:pt x="10265121" y="1759407"/>
                  <a:pt x="10263524" y="1758610"/>
                </a:cubicBezTo>
                <a:cubicBezTo>
                  <a:pt x="10262060" y="1757942"/>
                  <a:pt x="10260462" y="1757670"/>
                  <a:pt x="10258466" y="1757670"/>
                </a:cubicBezTo>
                <a:close/>
                <a:moveTo>
                  <a:pt x="10040820" y="1757670"/>
                </a:moveTo>
                <a:cubicBezTo>
                  <a:pt x="10034962" y="1757670"/>
                  <a:pt x="10032433" y="1759665"/>
                  <a:pt x="10030835" y="1761271"/>
                </a:cubicBezTo>
                <a:cubicBezTo>
                  <a:pt x="10028306" y="1763934"/>
                  <a:pt x="10027242" y="1766725"/>
                  <a:pt x="10027242" y="1770725"/>
                </a:cubicBezTo>
                <a:cubicBezTo>
                  <a:pt x="10027242" y="1774853"/>
                  <a:pt x="10028306" y="1777642"/>
                  <a:pt x="10030835" y="1780175"/>
                </a:cubicBezTo>
                <a:cubicBezTo>
                  <a:pt x="10032433" y="1781764"/>
                  <a:pt x="10034962" y="1783629"/>
                  <a:pt x="10040820" y="1783629"/>
                </a:cubicBezTo>
                <a:cubicBezTo>
                  <a:pt x="10042817" y="1783629"/>
                  <a:pt x="10044681" y="1783231"/>
                  <a:pt x="10046145" y="1782705"/>
                </a:cubicBezTo>
                <a:cubicBezTo>
                  <a:pt x="10047742" y="1782170"/>
                  <a:pt x="10048941" y="1781365"/>
                  <a:pt x="10049872" y="1780304"/>
                </a:cubicBezTo>
                <a:cubicBezTo>
                  <a:pt x="10050937" y="1779105"/>
                  <a:pt x="10051869" y="1777772"/>
                  <a:pt x="10052534" y="1776047"/>
                </a:cubicBezTo>
                <a:cubicBezTo>
                  <a:pt x="10053333" y="1774449"/>
                  <a:pt x="10053599" y="1772588"/>
                  <a:pt x="10053599" y="1770584"/>
                </a:cubicBezTo>
                <a:cubicBezTo>
                  <a:pt x="10053599" y="1768720"/>
                  <a:pt x="10053200" y="1766997"/>
                  <a:pt x="10052534" y="1765399"/>
                </a:cubicBezTo>
                <a:cubicBezTo>
                  <a:pt x="10051869" y="1763793"/>
                  <a:pt x="10050937" y="1762469"/>
                  <a:pt x="10049872" y="1761271"/>
                </a:cubicBezTo>
                <a:cubicBezTo>
                  <a:pt x="10048807" y="1760205"/>
                  <a:pt x="10047476" y="1759407"/>
                  <a:pt x="10045878" y="1758610"/>
                </a:cubicBezTo>
                <a:cubicBezTo>
                  <a:pt x="10044414" y="1757942"/>
                  <a:pt x="10042817" y="1757670"/>
                  <a:pt x="10040820" y="1757670"/>
                </a:cubicBezTo>
                <a:close/>
                <a:moveTo>
                  <a:pt x="9823176" y="1757670"/>
                </a:moveTo>
                <a:cubicBezTo>
                  <a:pt x="9817318" y="1757670"/>
                  <a:pt x="9814788" y="1759665"/>
                  <a:pt x="9813191" y="1761271"/>
                </a:cubicBezTo>
                <a:cubicBezTo>
                  <a:pt x="9810662" y="1763934"/>
                  <a:pt x="9809597" y="1766725"/>
                  <a:pt x="9809597" y="1770725"/>
                </a:cubicBezTo>
                <a:cubicBezTo>
                  <a:pt x="9809597" y="1774853"/>
                  <a:pt x="9810662" y="1777642"/>
                  <a:pt x="9813191" y="1780175"/>
                </a:cubicBezTo>
                <a:cubicBezTo>
                  <a:pt x="9814788" y="1781764"/>
                  <a:pt x="9817318" y="1783629"/>
                  <a:pt x="9823176" y="1783629"/>
                </a:cubicBezTo>
                <a:cubicBezTo>
                  <a:pt x="9825173" y="1783629"/>
                  <a:pt x="9827036" y="1783231"/>
                  <a:pt x="9828501" y="1782705"/>
                </a:cubicBezTo>
                <a:cubicBezTo>
                  <a:pt x="9830098" y="1782170"/>
                  <a:pt x="9831296" y="1781365"/>
                  <a:pt x="9832227" y="1780304"/>
                </a:cubicBezTo>
                <a:cubicBezTo>
                  <a:pt x="9833293" y="1779105"/>
                  <a:pt x="9834225" y="1777772"/>
                  <a:pt x="9834890" y="1776047"/>
                </a:cubicBezTo>
                <a:cubicBezTo>
                  <a:pt x="9835689" y="1774449"/>
                  <a:pt x="9835955" y="1772588"/>
                  <a:pt x="9835955" y="1770584"/>
                </a:cubicBezTo>
                <a:cubicBezTo>
                  <a:pt x="9835955" y="1768720"/>
                  <a:pt x="9835555" y="1766997"/>
                  <a:pt x="9834890" y="1765399"/>
                </a:cubicBezTo>
                <a:cubicBezTo>
                  <a:pt x="9834225" y="1763793"/>
                  <a:pt x="9833293" y="1762469"/>
                  <a:pt x="9832227" y="1761271"/>
                </a:cubicBezTo>
                <a:cubicBezTo>
                  <a:pt x="9831162" y="1760205"/>
                  <a:pt x="9829831" y="1759407"/>
                  <a:pt x="9828234" y="1758610"/>
                </a:cubicBezTo>
                <a:cubicBezTo>
                  <a:pt x="9826770" y="1757942"/>
                  <a:pt x="9825173" y="1757670"/>
                  <a:pt x="9823176" y="1757670"/>
                </a:cubicBezTo>
                <a:close/>
                <a:moveTo>
                  <a:pt x="9605531" y="1757670"/>
                </a:moveTo>
                <a:cubicBezTo>
                  <a:pt x="9599673" y="1757670"/>
                  <a:pt x="9597143" y="1759665"/>
                  <a:pt x="9595546" y="1761271"/>
                </a:cubicBezTo>
                <a:cubicBezTo>
                  <a:pt x="9593017" y="1763934"/>
                  <a:pt x="9591952" y="1766725"/>
                  <a:pt x="9591952" y="1770725"/>
                </a:cubicBezTo>
                <a:cubicBezTo>
                  <a:pt x="9591952" y="1774853"/>
                  <a:pt x="9593017" y="1777642"/>
                  <a:pt x="9595546" y="1780175"/>
                </a:cubicBezTo>
                <a:cubicBezTo>
                  <a:pt x="9597143" y="1781764"/>
                  <a:pt x="9599673" y="1783629"/>
                  <a:pt x="9605531" y="1783629"/>
                </a:cubicBezTo>
                <a:cubicBezTo>
                  <a:pt x="9607660" y="1783629"/>
                  <a:pt x="9609391" y="1783231"/>
                  <a:pt x="9610855" y="1782708"/>
                </a:cubicBezTo>
                <a:cubicBezTo>
                  <a:pt x="9612319" y="1782170"/>
                  <a:pt x="9613651" y="1781365"/>
                  <a:pt x="9614582" y="1780304"/>
                </a:cubicBezTo>
                <a:cubicBezTo>
                  <a:pt x="9615647" y="1779105"/>
                  <a:pt x="9616579" y="1777772"/>
                  <a:pt x="9617245" y="1776047"/>
                </a:cubicBezTo>
                <a:cubicBezTo>
                  <a:pt x="9618044" y="1774449"/>
                  <a:pt x="9618309" y="1772588"/>
                  <a:pt x="9618309" y="1770584"/>
                </a:cubicBezTo>
                <a:cubicBezTo>
                  <a:pt x="9618309" y="1768720"/>
                  <a:pt x="9617910" y="1766997"/>
                  <a:pt x="9617245" y="1765399"/>
                </a:cubicBezTo>
                <a:cubicBezTo>
                  <a:pt x="9616579" y="1763793"/>
                  <a:pt x="9615647" y="1762469"/>
                  <a:pt x="9614582" y="1761271"/>
                </a:cubicBezTo>
                <a:cubicBezTo>
                  <a:pt x="9613517" y="1760205"/>
                  <a:pt x="9612186" y="1759407"/>
                  <a:pt x="9610589" y="1758610"/>
                </a:cubicBezTo>
                <a:cubicBezTo>
                  <a:pt x="9609124" y="1757942"/>
                  <a:pt x="9607394" y="1757670"/>
                  <a:pt x="9605531" y="1757670"/>
                </a:cubicBezTo>
                <a:close/>
                <a:moveTo>
                  <a:pt x="9387885" y="1757670"/>
                </a:moveTo>
                <a:cubicBezTo>
                  <a:pt x="9382027" y="1757670"/>
                  <a:pt x="9379497" y="1759665"/>
                  <a:pt x="9377900" y="1761271"/>
                </a:cubicBezTo>
                <a:cubicBezTo>
                  <a:pt x="9375371" y="1763934"/>
                  <a:pt x="9374307" y="1766725"/>
                  <a:pt x="9374307" y="1770725"/>
                </a:cubicBezTo>
                <a:cubicBezTo>
                  <a:pt x="9374307" y="1774853"/>
                  <a:pt x="9375371" y="1777642"/>
                  <a:pt x="9377900" y="1780175"/>
                </a:cubicBezTo>
                <a:cubicBezTo>
                  <a:pt x="9379497" y="1781764"/>
                  <a:pt x="9382027" y="1783629"/>
                  <a:pt x="9387885" y="1783629"/>
                </a:cubicBezTo>
                <a:cubicBezTo>
                  <a:pt x="9390015" y="1783629"/>
                  <a:pt x="9391746" y="1783231"/>
                  <a:pt x="9393210" y="1782708"/>
                </a:cubicBezTo>
                <a:cubicBezTo>
                  <a:pt x="9394674" y="1782170"/>
                  <a:pt x="9396005" y="1781365"/>
                  <a:pt x="9396937" y="1780304"/>
                </a:cubicBezTo>
                <a:cubicBezTo>
                  <a:pt x="9398002" y="1779105"/>
                  <a:pt x="9398934" y="1777772"/>
                  <a:pt x="9399599" y="1776047"/>
                </a:cubicBezTo>
                <a:cubicBezTo>
                  <a:pt x="9400398" y="1774449"/>
                  <a:pt x="9400664" y="1772588"/>
                  <a:pt x="9400664" y="1770584"/>
                </a:cubicBezTo>
                <a:cubicBezTo>
                  <a:pt x="9400664" y="1768720"/>
                  <a:pt x="9400265" y="1766997"/>
                  <a:pt x="9399599" y="1765399"/>
                </a:cubicBezTo>
                <a:cubicBezTo>
                  <a:pt x="9398934" y="1763793"/>
                  <a:pt x="9398002" y="1762469"/>
                  <a:pt x="9396937" y="1761271"/>
                </a:cubicBezTo>
                <a:cubicBezTo>
                  <a:pt x="9395872" y="1760205"/>
                  <a:pt x="9394541" y="1759407"/>
                  <a:pt x="9392943" y="1758610"/>
                </a:cubicBezTo>
                <a:cubicBezTo>
                  <a:pt x="9391479" y="1757942"/>
                  <a:pt x="9389749" y="1757670"/>
                  <a:pt x="9387885" y="1757670"/>
                </a:cubicBezTo>
                <a:close/>
                <a:moveTo>
                  <a:pt x="9170374" y="1757670"/>
                </a:moveTo>
                <a:cubicBezTo>
                  <a:pt x="9164649" y="1757670"/>
                  <a:pt x="9161986" y="1759665"/>
                  <a:pt x="9160389" y="1761271"/>
                </a:cubicBezTo>
                <a:cubicBezTo>
                  <a:pt x="9157860" y="1763934"/>
                  <a:pt x="9156795" y="1766725"/>
                  <a:pt x="9156795" y="1770725"/>
                </a:cubicBezTo>
                <a:cubicBezTo>
                  <a:pt x="9156795" y="1774853"/>
                  <a:pt x="9157860" y="1777642"/>
                  <a:pt x="9160389" y="1780175"/>
                </a:cubicBezTo>
                <a:cubicBezTo>
                  <a:pt x="9161986" y="1781764"/>
                  <a:pt x="9164516" y="1783629"/>
                  <a:pt x="9170374" y="1783629"/>
                </a:cubicBezTo>
                <a:cubicBezTo>
                  <a:pt x="9172370" y="1783629"/>
                  <a:pt x="9174100" y="1783231"/>
                  <a:pt x="9175698" y="1782708"/>
                </a:cubicBezTo>
                <a:cubicBezTo>
                  <a:pt x="9177163" y="1782170"/>
                  <a:pt x="9178494" y="1781365"/>
                  <a:pt x="9179425" y="1780304"/>
                </a:cubicBezTo>
                <a:cubicBezTo>
                  <a:pt x="9180491" y="1779105"/>
                  <a:pt x="9181422" y="1777772"/>
                  <a:pt x="9182088" y="1776047"/>
                </a:cubicBezTo>
                <a:cubicBezTo>
                  <a:pt x="9182887" y="1774449"/>
                  <a:pt x="9183152" y="1772588"/>
                  <a:pt x="9183152" y="1770584"/>
                </a:cubicBezTo>
                <a:cubicBezTo>
                  <a:pt x="9183152" y="1768720"/>
                  <a:pt x="9182753" y="1766997"/>
                  <a:pt x="9182088" y="1765399"/>
                </a:cubicBezTo>
                <a:cubicBezTo>
                  <a:pt x="9181422" y="1763793"/>
                  <a:pt x="9180491" y="1762469"/>
                  <a:pt x="9179425" y="1761271"/>
                </a:cubicBezTo>
                <a:cubicBezTo>
                  <a:pt x="9178360" y="1760205"/>
                  <a:pt x="9177029" y="1759407"/>
                  <a:pt x="9175432" y="1758610"/>
                </a:cubicBezTo>
                <a:cubicBezTo>
                  <a:pt x="9173967" y="1757942"/>
                  <a:pt x="9172237" y="1757670"/>
                  <a:pt x="9170374" y="1757670"/>
                </a:cubicBezTo>
                <a:close/>
                <a:moveTo>
                  <a:pt x="8952728" y="1757670"/>
                </a:moveTo>
                <a:cubicBezTo>
                  <a:pt x="8947003" y="1757670"/>
                  <a:pt x="8944340" y="1759665"/>
                  <a:pt x="8942743" y="1761271"/>
                </a:cubicBezTo>
                <a:cubicBezTo>
                  <a:pt x="8940214" y="1763934"/>
                  <a:pt x="8939150" y="1766725"/>
                  <a:pt x="8939150" y="1770725"/>
                </a:cubicBezTo>
                <a:cubicBezTo>
                  <a:pt x="8939150" y="1774853"/>
                  <a:pt x="8940214" y="1777642"/>
                  <a:pt x="8942743" y="1780175"/>
                </a:cubicBezTo>
                <a:cubicBezTo>
                  <a:pt x="8944340" y="1781764"/>
                  <a:pt x="8946870" y="1783629"/>
                  <a:pt x="8952728" y="1783629"/>
                </a:cubicBezTo>
                <a:cubicBezTo>
                  <a:pt x="8954725" y="1783629"/>
                  <a:pt x="8956589" y="1783231"/>
                  <a:pt x="8958053" y="1782708"/>
                </a:cubicBezTo>
                <a:cubicBezTo>
                  <a:pt x="8959517" y="1782170"/>
                  <a:pt x="8960849" y="1781365"/>
                  <a:pt x="8961780" y="1780304"/>
                </a:cubicBezTo>
                <a:cubicBezTo>
                  <a:pt x="8962845" y="1779105"/>
                  <a:pt x="8963777" y="1777772"/>
                  <a:pt x="8964442" y="1776047"/>
                </a:cubicBezTo>
                <a:cubicBezTo>
                  <a:pt x="8965241" y="1774449"/>
                  <a:pt x="8965507" y="1772588"/>
                  <a:pt x="8965507" y="1770584"/>
                </a:cubicBezTo>
                <a:cubicBezTo>
                  <a:pt x="8965507" y="1768720"/>
                  <a:pt x="8965108" y="1766997"/>
                  <a:pt x="8964442" y="1765399"/>
                </a:cubicBezTo>
                <a:cubicBezTo>
                  <a:pt x="8963777" y="1763793"/>
                  <a:pt x="8962845" y="1762469"/>
                  <a:pt x="8961780" y="1761271"/>
                </a:cubicBezTo>
                <a:cubicBezTo>
                  <a:pt x="8960715" y="1760205"/>
                  <a:pt x="8959384" y="1759407"/>
                  <a:pt x="8957786" y="1758610"/>
                </a:cubicBezTo>
                <a:cubicBezTo>
                  <a:pt x="8956322" y="1757942"/>
                  <a:pt x="8954592" y="1757670"/>
                  <a:pt x="8952728" y="1757670"/>
                </a:cubicBezTo>
                <a:close/>
                <a:moveTo>
                  <a:pt x="8735083" y="1757670"/>
                </a:moveTo>
                <a:cubicBezTo>
                  <a:pt x="8729358" y="1757670"/>
                  <a:pt x="8726695" y="1759665"/>
                  <a:pt x="8725098" y="1761271"/>
                </a:cubicBezTo>
                <a:cubicBezTo>
                  <a:pt x="8722569" y="1763934"/>
                  <a:pt x="8721504" y="1766725"/>
                  <a:pt x="8721504" y="1770725"/>
                </a:cubicBezTo>
                <a:cubicBezTo>
                  <a:pt x="8721504" y="1774853"/>
                  <a:pt x="8722569" y="1777642"/>
                  <a:pt x="8725098" y="1780175"/>
                </a:cubicBezTo>
                <a:cubicBezTo>
                  <a:pt x="8726695" y="1781764"/>
                  <a:pt x="8729225" y="1783629"/>
                  <a:pt x="8735083" y="1783629"/>
                </a:cubicBezTo>
                <a:cubicBezTo>
                  <a:pt x="8737079" y="1783629"/>
                  <a:pt x="8738943" y="1783231"/>
                  <a:pt x="8740407" y="1782708"/>
                </a:cubicBezTo>
                <a:cubicBezTo>
                  <a:pt x="8741872" y="1782170"/>
                  <a:pt x="8743203" y="1781365"/>
                  <a:pt x="8744134" y="1780304"/>
                </a:cubicBezTo>
                <a:cubicBezTo>
                  <a:pt x="8745200" y="1779105"/>
                  <a:pt x="8746132" y="1777772"/>
                  <a:pt x="8746797" y="1776047"/>
                </a:cubicBezTo>
                <a:cubicBezTo>
                  <a:pt x="8747596" y="1774449"/>
                  <a:pt x="8747862" y="1772588"/>
                  <a:pt x="8747862" y="1770584"/>
                </a:cubicBezTo>
                <a:cubicBezTo>
                  <a:pt x="8747862" y="1768720"/>
                  <a:pt x="8747462" y="1766997"/>
                  <a:pt x="8746797" y="1765399"/>
                </a:cubicBezTo>
                <a:cubicBezTo>
                  <a:pt x="8746132" y="1763793"/>
                  <a:pt x="8745200" y="1762469"/>
                  <a:pt x="8744134" y="1761271"/>
                </a:cubicBezTo>
                <a:cubicBezTo>
                  <a:pt x="8743069" y="1760205"/>
                  <a:pt x="8741738" y="1759407"/>
                  <a:pt x="8740141" y="1758610"/>
                </a:cubicBezTo>
                <a:cubicBezTo>
                  <a:pt x="8738677" y="1757942"/>
                  <a:pt x="8736946" y="1757670"/>
                  <a:pt x="8735083" y="1757670"/>
                </a:cubicBezTo>
                <a:close/>
                <a:moveTo>
                  <a:pt x="8517438" y="1757670"/>
                </a:moveTo>
                <a:cubicBezTo>
                  <a:pt x="8511713" y="1757670"/>
                  <a:pt x="8509051" y="1759665"/>
                  <a:pt x="8507453" y="1761271"/>
                </a:cubicBezTo>
                <a:cubicBezTo>
                  <a:pt x="8504925" y="1763934"/>
                  <a:pt x="8503860" y="1766725"/>
                  <a:pt x="8503860" y="1770725"/>
                </a:cubicBezTo>
                <a:cubicBezTo>
                  <a:pt x="8503860" y="1774853"/>
                  <a:pt x="8504925" y="1777642"/>
                  <a:pt x="8507453" y="1780175"/>
                </a:cubicBezTo>
                <a:cubicBezTo>
                  <a:pt x="8509051" y="1781764"/>
                  <a:pt x="8511581" y="1783629"/>
                  <a:pt x="8517438" y="1783629"/>
                </a:cubicBezTo>
                <a:cubicBezTo>
                  <a:pt x="8519568" y="1783629"/>
                  <a:pt x="8521299" y="1783231"/>
                  <a:pt x="8522763" y="1782708"/>
                </a:cubicBezTo>
                <a:cubicBezTo>
                  <a:pt x="8524227" y="1782170"/>
                  <a:pt x="8525559" y="1781365"/>
                  <a:pt x="8526490" y="1780304"/>
                </a:cubicBezTo>
                <a:cubicBezTo>
                  <a:pt x="8527555" y="1779105"/>
                  <a:pt x="8528487" y="1777772"/>
                  <a:pt x="8529152" y="1776047"/>
                </a:cubicBezTo>
                <a:cubicBezTo>
                  <a:pt x="8529818" y="1774449"/>
                  <a:pt x="8530084" y="1772588"/>
                  <a:pt x="8530084" y="1770584"/>
                </a:cubicBezTo>
                <a:cubicBezTo>
                  <a:pt x="8530084" y="1768720"/>
                  <a:pt x="8529818" y="1766997"/>
                  <a:pt x="8529152" y="1765399"/>
                </a:cubicBezTo>
                <a:cubicBezTo>
                  <a:pt x="8528487" y="1763793"/>
                  <a:pt x="8527555" y="1762469"/>
                  <a:pt x="8526490" y="1761271"/>
                </a:cubicBezTo>
                <a:cubicBezTo>
                  <a:pt x="8525425" y="1760205"/>
                  <a:pt x="8524094" y="1759407"/>
                  <a:pt x="8522496" y="1758610"/>
                </a:cubicBezTo>
                <a:cubicBezTo>
                  <a:pt x="8521032" y="1757942"/>
                  <a:pt x="8519302" y="1757670"/>
                  <a:pt x="8517438" y="1757670"/>
                </a:cubicBezTo>
                <a:close/>
                <a:moveTo>
                  <a:pt x="8299793" y="1757670"/>
                </a:moveTo>
                <a:cubicBezTo>
                  <a:pt x="8294068" y="1757670"/>
                  <a:pt x="8291406" y="1759665"/>
                  <a:pt x="8289809" y="1761271"/>
                </a:cubicBezTo>
                <a:cubicBezTo>
                  <a:pt x="8287280" y="1763934"/>
                  <a:pt x="8286215" y="1766725"/>
                  <a:pt x="8286215" y="1770725"/>
                </a:cubicBezTo>
                <a:cubicBezTo>
                  <a:pt x="8286215" y="1774853"/>
                  <a:pt x="8287280" y="1777642"/>
                  <a:pt x="8289809" y="1780175"/>
                </a:cubicBezTo>
                <a:cubicBezTo>
                  <a:pt x="8291406" y="1781764"/>
                  <a:pt x="8293935" y="1783629"/>
                  <a:pt x="8299793" y="1783629"/>
                </a:cubicBezTo>
                <a:cubicBezTo>
                  <a:pt x="8301923" y="1783629"/>
                  <a:pt x="8303653" y="1783231"/>
                  <a:pt x="8305118" y="1782708"/>
                </a:cubicBezTo>
                <a:cubicBezTo>
                  <a:pt x="8306582" y="1782170"/>
                  <a:pt x="8307913" y="1781365"/>
                  <a:pt x="8308844" y="1780304"/>
                </a:cubicBezTo>
                <a:cubicBezTo>
                  <a:pt x="8309910" y="1779105"/>
                  <a:pt x="8310842" y="1777772"/>
                  <a:pt x="8311507" y="1776047"/>
                </a:cubicBezTo>
                <a:cubicBezTo>
                  <a:pt x="8312172" y="1774449"/>
                  <a:pt x="8312439" y="1772588"/>
                  <a:pt x="8312439" y="1770584"/>
                </a:cubicBezTo>
                <a:cubicBezTo>
                  <a:pt x="8312439" y="1768720"/>
                  <a:pt x="8312172" y="1766997"/>
                  <a:pt x="8311507" y="1765399"/>
                </a:cubicBezTo>
                <a:cubicBezTo>
                  <a:pt x="8310842" y="1763793"/>
                  <a:pt x="8309910" y="1762469"/>
                  <a:pt x="8308844" y="1761271"/>
                </a:cubicBezTo>
                <a:cubicBezTo>
                  <a:pt x="8307779" y="1760205"/>
                  <a:pt x="8306448" y="1759407"/>
                  <a:pt x="8304851" y="1758610"/>
                </a:cubicBezTo>
                <a:cubicBezTo>
                  <a:pt x="8303387" y="1757942"/>
                  <a:pt x="8301790" y="1757670"/>
                  <a:pt x="8299793" y="1757670"/>
                </a:cubicBezTo>
                <a:close/>
                <a:moveTo>
                  <a:pt x="8082281" y="1757670"/>
                </a:moveTo>
                <a:cubicBezTo>
                  <a:pt x="8076424" y="1757670"/>
                  <a:pt x="8073894" y="1759665"/>
                  <a:pt x="8072297" y="1761271"/>
                </a:cubicBezTo>
                <a:cubicBezTo>
                  <a:pt x="8069768" y="1763934"/>
                  <a:pt x="8068703" y="1766725"/>
                  <a:pt x="8068703" y="1770725"/>
                </a:cubicBezTo>
                <a:cubicBezTo>
                  <a:pt x="8068703" y="1774853"/>
                  <a:pt x="8069768" y="1777642"/>
                  <a:pt x="8072297" y="1780175"/>
                </a:cubicBezTo>
                <a:cubicBezTo>
                  <a:pt x="8073894" y="1781764"/>
                  <a:pt x="8076424" y="1783629"/>
                  <a:pt x="8082281" y="1783629"/>
                </a:cubicBezTo>
                <a:cubicBezTo>
                  <a:pt x="8084277" y="1783629"/>
                  <a:pt x="8086007" y="1783231"/>
                  <a:pt x="8087605" y="1782708"/>
                </a:cubicBezTo>
                <a:cubicBezTo>
                  <a:pt x="8089069" y="1782170"/>
                  <a:pt x="8090401" y="1781365"/>
                  <a:pt x="8091332" y="1780304"/>
                </a:cubicBezTo>
                <a:cubicBezTo>
                  <a:pt x="8092397" y="1779105"/>
                  <a:pt x="8093329" y="1777772"/>
                  <a:pt x="8093994" y="1776047"/>
                </a:cubicBezTo>
                <a:cubicBezTo>
                  <a:pt x="8094660" y="1774449"/>
                  <a:pt x="8094926" y="1772588"/>
                  <a:pt x="8094926" y="1770584"/>
                </a:cubicBezTo>
                <a:cubicBezTo>
                  <a:pt x="8094926" y="1768720"/>
                  <a:pt x="8094660" y="1766997"/>
                  <a:pt x="8093994" y="1765399"/>
                </a:cubicBezTo>
                <a:cubicBezTo>
                  <a:pt x="8093329" y="1763793"/>
                  <a:pt x="8092397" y="1762469"/>
                  <a:pt x="8091332" y="1761271"/>
                </a:cubicBezTo>
                <a:cubicBezTo>
                  <a:pt x="8090267" y="1760205"/>
                  <a:pt x="8088936" y="1759407"/>
                  <a:pt x="8087338" y="1758610"/>
                </a:cubicBezTo>
                <a:cubicBezTo>
                  <a:pt x="8085874" y="1757942"/>
                  <a:pt x="8084277" y="1757670"/>
                  <a:pt x="8082281" y="1757670"/>
                </a:cubicBezTo>
                <a:close/>
                <a:moveTo>
                  <a:pt x="7864636" y="1757670"/>
                </a:moveTo>
                <a:cubicBezTo>
                  <a:pt x="7858779" y="1757670"/>
                  <a:pt x="7856249" y="1759665"/>
                  <a:pt x="7854652" y="1761271"/>
                </a:cubicBezTo>
                <a:cubicBezTo>
                  <a:pt x="7852123" y="1763934"/>
                  <a:pt x="7851058" y="1766725"/>
                  <a:pt x="7851058" y="1770725"/>
                </a:cubicBezTo>
                <a:cubicBezTo>
                  <a:pt x="7851058" y="1774853"/>
                  <a:pt x="7852123" y="1777642"/>
                  <a:pt x="7854652" y="1780175"/>
                </a:cubicBezTo>
                <a:cubicBezTo>
                  <a:pt x="7856249" y="1781764"/>
                  <a:pt x="7858779" y="1783629"/>
                  <a:pt x="7864636" y="1783629"/>
                </a:cubicBezTo>
                <a:cubicBezTo>
                  <a:pt x="7866633" y="1783629"/>
                  <a:pt x="7868363" y="1783231"/>
                  <a:pt x="7869961" y="1782708"/>
                </a:cubicBezTo>
                <a:cubicBezTo>
                  <a:pt x="7871425" y="1782170"/>
                  <a:pt x="7872756" y="1781365"/>
                  <a:pt x="7873687" y="1780304"/>
                </a:cubicBezTo>
                <a:cubicBezTo>
                  <a:pt x="7874753" y="1779105"/>
                  <a:pt x="7875685" y="1777772"/>
                  <a:pt x="7876350" y="1776047"/>
                </a:cubicBezTo>
                <a:cubicBezTo>
                  <a:pt x="7877015" y="1774449"/>
                  <a:pt x="7877282" y="1772588"/>
                  <a:pt x="7877282" y="1770584"/>
                </a:cubicBezTo>
                <a:cubicBezTo>
                  <a:pt x="7877282" y="1768720"/>
                  <a:pt x="7877015" y="1766997"/>
                  <a:pt x="7876350" y="1765399"/>
                </a:cubicBezTo>
                <a:cubicBezTo>
                  <a:pt x="7875685" y="1763793"/>
                  <a:pt x="7874753" y="1762469"/>
                  <a:pt x="7873687" y="1761271"/>
                </a:cubicBezTo>
                <a:cubicBezTo>
                  <a:pt x="7872623" y="1760205"/>
                  <a:pt x="7871291" y="1759407"/>
                  <a:pt x="7869694" y="1758610"/>
                </a:cubicBezTo>
                <a:cubicBezTo>
                  <a:pt x="7868230" y="1757942"/>
                  <a:pt x="7866633" y="1757670"/>
                  <a:pt x="7864636" y="1757670"/>
                </a:cubicBezTo>
                <a:close/>
                <a:moveTo>
                  <a:pt x="7646991" y="1757670"/>
                </a:moveTo>
                <a:cubicBezTo>
                  <a:pt x="7641134" y="1757670"/>
                  <a:pt x="7638604" y="1759665"/>
                  <a:pt x="7637007" y="1761271"/>
                </a:cubicBezTo>
                <a:cubicBezTo>
                  <a:pt x="7634478" y="1763934"/>
                  <a:pt x="7633413" y="1766725"/>
                  <a:pt x="7633413" y="1770725"/>
                </a:cubicBezTo>
                <a:cubicBezTo>
                  <a:pt x="7633413" y="1774853"/>
                  <a:pt x="7634478" y="1777642"/>
                  <a:pt x="7637007" y="1780175"/>
                </a:cubicBezTo>
                <a:cubicBezTo>
                  <a:pt x="7638604" y="1781764"/>
                  <a:pt x="7641134" y="1783629"/>
                  <a:pt x="7646991" y="1783629"/>
                </a:cubicBezTo>
                <a:cubicBezTo>
                  <a:pt x="7648987" y="1783629"/>
                  <a:pt x="7650851" y="1783231"/>
                  <a:pt x="7652315" y="1782708"/>
                </a:cubicBezTo>
                <a:cubicBezTo>
                  <a:pt x="7653780" y="1782170"/>
                  <a:pt x="7655111" y="1781365"/>
                  <a:pt x="7656042" y="1780304"/>
                </a:cubicBezTo>
                <a:cubicBezTo>
                  <a:pt x="7657108" y="1779105"/>
                  <a:pt x="7658039" y="1777772"/>
                  <a:pt x="7658705" y="1776047"/>
                </a:cubicBezTo>
                <a:cubicBezTo>
                  <a:pt x="7659504" y="1774449"/>
                  <a:pt x="7659769" y="1772588"/>
                  <a:pt x="7659769" y="1770584"/>
                </a:cubicBezTo>
                <a:cubicBezTo>
                  <a:pt x="7659769" y="1768720"/>
                  <a:pt x="7659370" y="1766997"/>
                  <a:pt x="7658705" y="1765399"/>
                </a:cubicBezTo>
                <a:cubicBezTo>
                  <a:pt x="7658039" y="1763793"/>
                  <a:pt x="7657108" y="1762469"/>
                  <a:pt x="7656042" y="1761271"/>
                </a:cubicBezTo>
                <a:cubicBezTo>
                  <a:pt x="7654977" y="1760205"/>
                  <a:pt x="7653646" y="1759407"/>
                  <a:pt x="7652049" y="1758610"/>
                </a:cubicBezTo>
                <a:cubicBezTo>
                  <a:pt x="7650584" y="1757942"/>
                  <a:pt x="7648987" y="1757670"/>
                  <a:pt x="7646991" y="1757670"/>
                </a:cubicBezTo>
                <a:close/>
                <a:moveTo>
                  <a:pt x="7429345" y="1757670"/>
                </a:moveTo>
                <a:cubicBezTo>
                  <a:pt x="7423488" y="1757670"/>
                  <a:pt x="7420958" y="1759665"/>
                  <a:pt x="7419361" y="1761271"/>
                </a:cubicBezTo>
                <a:cubicBezTo>
                  <a:pt x="7416832" y="1763934"/>
                  <a:pt x="7415768" y="1766725"/>
                  <a:pt x="7415768" y="1770725"/>
                </a:cubicBezTo>
                <a:cubicBezTo>
                  <a:pt x="7415768" y="1774853"/>
                  <a:pt x="7416832" y="1777642"/>
                  <a:pt x="7419361" y="1780175"/>
                </a:cubicBezTo>
                <a:cubicBezTo>
                  <a:pt x="7420958" y="1781764"/>
                  <a:pt x="7423488" y="1783629"/>
                  <a:pt x="7429345" y="1783629"/>
                </a:cubicBezTo>
                <a:cubicBezTo>
                  <a:pt x="7431342" y="1783629"/>
                  <a:pt x="7433206" y="1783231"/>
                  <a:pt x="7434670" y="1782708"/>
                </a:cubicBezTo>
                <a:cubicBezTo>
                  <a:pt x="7436134" y="1782170"/>
                  <a:pt x="7437466" y="1781365"/>
                  <a:pt x="7438397" y="1780304"/>
                </a:cubicBezTo>
                <a:cubicBezTo>
                  <a:pt x="7439462" y="1779105"/>
                  <a:pt x="7440394" y="1777772"/>
                  <a:pt x="7441059" y="1776047"/>
                </a:cubicBezTo>
                <a:cubicBezTo>
                  <a:pt x="7441858" y="1774449"/>
                  <a:pt x="7442124" y="1772588"/>
                  <a:pt x="7442124" y="1770584"/>
                </a:cubicBezTo>
                <a:cubicBezTo>
                  <a:pt x="7442124" y="1768720"/>
                  <a:pt x="7441725" y="1766997"/>
                  <a:pt x="7441059" y="1765399"/>
                </a:cubicBezTo>
                <a:cubicBezTo>
                  <a:pt x="7440394" y="1763793"/>
                  <a:pt x="7439462" y="1762469"/>
                  <a:pt x="7438397" y="1761271"/>
                </a:cubicBezTo>
                <a:cubicBezTo>
                  <a:pt x="7437332" y="1760205"/>
                  <a:pt x="7436001" y="1759407"/>
                  <a:pt x="7434403" y="1758610"/>
                </a:cubicBezTo>
                <a:cubicBezTo>
                  <a:pt x="7432939" y="1757942"/>
                  <a:pt x="7431342" y="1757670"/>
                  <a:pt x="7429345" y="1757670"/>
                </a:cubicBezTo>
                <a:close/>
                <a:moveTo>
                  <a:pt x="7211701" y="1757670"/>
                </a:moveTo>
                <a:cubicBezTo>
                  <a:pt x="7205844" y="1757670"/>
                  <a:pt x="7203314" y="1759665"/>
                  <a:pt x="7201717" y="1761271"/>
                </a:cubicBezTo>
                <a:cubicBezTo>
                  <a:pt x="7199188" y="1763934"/>
                  <a:pt x="7198123" y="1766725"/>
                  <a:pt x="7198123" y="1770725"/>
                </a:cubicBezTo>
                <a:cubicBezTo>
                  <a:pt x="7198123" y="1774853"/>
                  <a:pt x="7199188" y="1777642"/>
                  <a:pt x="7201717" y="1780175"/>
                </a:cubicBezTo>
                <a:cubicBezTo>
                  <a:pt x="7203314" y="1781764"/>
                  <a:pt x="7205844" y="1783629"/>
                  <a:pt x="7211701" y="1783629"/>
                </a:cubicBezTo>
                <a:cubicBezTo>
                  <a:pt x="7213830" y="1783629"/>
                  <a:pt x="7215561" y="1783231"/>
                  <a:pt x="7217026" y="1782708"/>
                </a:cubicBezTo>
                <a:cubicBezTo>
                  <a:pt x="7218490" y="1782170"/>
                  <a:pt x="7219821" y="1781365"/>
                  <a:pt x="7220752" y="1780304"/>
                </a:cubicBezTo>
                <a:cubicBezTo>
                  <a:pt x="7221818" y="1779105"/>
                  <a:pt x="7222750" y="1777772"/>
                  <a:pt x="7223415" y="1776047"/>
                </a:cubicBezTo>
                <a:cubicBezTo>
                  <a:pt x="7224214" y="1774449"/>
                  <a:pt x="7224480" y="1772588"/>
                  <a:pt x="7224480" y="1770584"/>
                </a:cubicBezTo>
                <a:cubicBezTo>
                  <a:pt x="7224480" y="1768720"/>
                  <a:pt x="7224080" y="1766997"/>
                  <a:pt x="7223415" y="1765399"/>
                </a:cubicBezTo>
                <a:cubicBezTo>
                  <a:pt x="7222750" y="1763793"/>
                  <a:pt x="7221818" y="1762469"/>
                  <a:pt x="7220752" y="1761271"/>
                </a:cubicBezTo>
                <a:cubicBezTo>
                  <a:pt x="7219687" y="1760205"/>
                  <a:pt x="7218356" y="1759407"/>
                  <a:pt x="7216759" y="1758610"/>
                </a:cubicBezTo>
                <a:cubicBezTo>
                  <a:pt x="7215295" y="1757942"/>
                  <a:pt x="7213698" y="1757670"/>
                  <a:pt x="7211701" y="1757670"/>
                </a:cubicBezTo>
                <a:close/>
                <a:moveTo>
                  <a:pt x="6994056" y="1757670"/>
                </a:moveTo>
                <a:cubicBezTo>
                  <a:pt x="6988199" y="1757670"/>
                  <a:pt x="6985669" y="1759665"/>
                  <a:pt x="6984072" y="1761271"/>
                </a:cubicBezTo>
                <a:cubicBezTo>
                  <a:pt x="6981543" y="1763934"/>
                  <a:pt x="6980478" y="1766725"/>
                  <a:pt x="6980478" y="1770725"/>
                </a:cubicBezTo>
                <a:cubicBezTo>
                  <a:pt x="6980478" y="1774853"/>
                  <a:pt x="6981543" y="1777642"/>
                  <a:pt x="6984072" y="1780175"/>
                </a:cubicBezTo>
                <a:cubicBezTo>
                  <a:pt x="6985669" y="1781764"/>
                  <a:pt x="6988199" y="1783629"/>
                  <a:pt x="6994056" y="1783629"/>
                </a:cubicBezTo>
                <a:cubicBezTo>
                  <a:pt x="6996185" y="1783629"/>
                  <a:pt x="6997916" y="1783231"/>
                  <a:pt x="6999380" y="1782708"/>
                </a:cubicBezTo>
                <a:cubicBezTo>
                  <a:pt x="7000844" y="1782170"/>
                  <a:pt x="7002176" y="1781365"/>
                  <a:pt x="7003107" y="1780304"/>
                </a:cubicBezTo>
                <a:cubicBezTo>
                  <a:pt x="7004172" y="1779105"/>
                  <a:pt x="7005104" y="1777772"/>
                  <a:pt x="7005769" y="1776047"/>
                </a:cubicBezTo>
                <a:cubicBezTo>
                  <a:pt x="7006568" y="1774449"/>
                  <a:pt x="7006834" y="1772588"/>
                  <a:pt x="7006834" y="1770584"/>
                </a:cubicBezTo>
                <a:cubicBezTo>
                  <a:pt x="7006834" y="1768720"/>
                  <a:pt x="7006435" y="1766997"/>
                  <a:pt x="7005769" y="1765399"/>
                </a:cubicBezTo>
                <a:cubicBezTo>
                  <a:pt x="7005104" y="1763793"/>
                  <a:pt x="7004172" y="1762469"/>
                  <a:pt x="7003107" y="1761271"/>
                </a:cubicBezTo>
                <a:cubicBezTo>
                  <a:pt x="7002042" y="1760205"/>
                  <a:pt x="7000711" y="1759407"/>
                  <a:pt x="6999113" y="1758610"/>
                </a:cubicBezTo>
                <a:cubicBezTo>
                  <a:pt x="6997649" y="1757942"/>
                  <a:pt x="6996052" y="1757670"/>
                  <a:pt x="6994056" y="1757670"/>
                </a:cubicBezTo>
                <a:close/>
                <a:moveTo>
                  <a:pt x="6776544" y="1757670"/>
                </a:moveTo>
                <a:cubicBezTo>
                  <a:pt x="6770687" y="1757670"/>
                  <a:pt x="6768157" y="1759665"/>
                  <a:pt x="6766560" y="1761271"/>
                </a:cubicBezTo>
                <a:cubicBezTo>
                  <a:pt x="6764031" y="1763934"/>
                  <a:pt x="6762966" y="1766725"/>
                  <a:pt x="6762966" y="1770725"/>
                </a:cubicBezTo>
                <a:cubicBezTo>
                  <a:pt x="6762966" y="1774853"/>
                  <a:pt x="6764031" y="1777642"/>
                  <a:pt x="6766560" y="1780175"/>
                </a:cubicBezTo>
                <a:cubicBezTo>
                  <a:pt x="6768157" y="1781764"/>
                  <a:pt x="6770687" y="1783629"/>
                  <a:pt x="6776544" y="1783629"/>
                </a:cubicBezTo>
                <a:cubicBezTo>
                  <a:pt x="6778541" y="1783629"/>
                  <a:pt x="6780270" y="1783231"/>
                  <a:pt x="6781869" y="1782708"/>
                </a:cubicBezTo>
                <a:cubicBezTo>
                  <a:pt x="6783333" y="1782170"/>
                  <a:pt x="6784664" y="1781365"/>
                  <a:pt x="6785595" y="1780304"/>
                </a:cubicBezTo>
                <a:cubicBezTo>
                  <a:pt x="6786661" y="1779105"/>
                  <a:pt x="6787593" y="1777772"/>
                  <a:pt x="6788258" y="1776047"/>
                </a:cubicBezTo>
                <a:cubicBezTo>
                  <a:pt x="6789057" y="1774449"/>
                  <a:pt x="6789323" y="1772588"/>
                  <a:pt x="6789323" y="1770584"/>
                </a:cubicBezTo>
                <a:cubicBezTo>
                  <a:pt x="6789323" y="1768720"/>
                  <a:pt x="6788923" y="1766997"/>
                  <a:pt x="6788258" y="1765399"/>
                </a:cubicBezTo>
                <a:cubicBezTo>
                  <a:pt x="6787593" y="1763793"/>
                  <a:pt x="6786661" y="1762469"/>
                  <a:pt x="6785595" y="1761271"/>
                </a:cubicBezTo>
                <a:cubicBezTo>
                  <a:pt x="6784530" y="1760205"/>
                  <a:pt x="6783199" y="1759407"/>
                  <a:pt x="6781602" y="1758610"/>
                </a:cubicBezTo>
                <a:cubicBezTo>
                  <a:pt x="6780138" y="1757942"/>
                  <a:pt x="6778541" y="1757670"/>
                  <a:pt x="6776544" y="1757670"/>
                </a:cubicBezTo>
                <a:close/>
                <a:moveTo>
                  <a:pt x="6558899" y="1757670"/>
                </a:moveTo>
                <a:cubicBezTo>
                  <a:pt x="6553042" y="1757670"/>
                  <a:pt x="6550512" y="1759665"/>
                  <a:pt x="6548915" y="1761271"/>
                </a:cubicBezTo>
                <a:cubicBezTo>
                  <a:pt x="6546386" y="1763934"/>
                  <a:pt x="6545321" y="1766725"/>
                  <a:pt x="6545321" y="1770725"/>
                </a:cubicBezTo>
                <a:cubicBezTo>
                  <a:pt x="6545321" y="1774853"/>
                  <a:pt x="6546386" y="1777642"/>
                  <a:pt x="6548915" y="1780175"/>
                </a:cubicBezTo>
                <a:cubicBezTo>
                  <a:pt x="6550512" y="1781764"/>
                  <a:pt x="6553042" y="1783629"/>
                  <a:pt x="6558899" y="1783629"/>
                </a:cubicBezTo>
                <a:cubicBezTo>
                  <a:pt x="6560895" y="1783629"/>
                  <a:pt x="6562759" y="1783231"/>
                  <a:pt x="6564223" y="1782708"/>
                </a:cubicBezTo>
                <a:cubicBezTo>
                  <a:pt x="6565687" y="1782170"/>
                  <a:pt x="6567019" y="1781365"/>
                  <a:pt x="6567950" y="1780304"/>
                </a:cubicBezTo>
                <a:cubicBezTo>
                  <a:pt x="6569015" y="1779105"/>
                  <a:pt x="6569947" y="1777772"/>
                  <a:pt x="6570612" y="1776047"/>
                </a:cubicBezTo>
                <a:cubicBezTo>
                  <a:pt x="6571412" y="1774449"/>
                  <a:pt x="6571677" y="1772588"/>
                  <a:pt x="6571677" y="1770584"/>
                </a:cubicBezTo>
                <a:cubicBezTo>
                  <a:pt x="6571677" y="1768720"/>
                  <a:pt x="6571278" y="1766997"/>
                  <a:pt x="6570612" y="1765399"/>
                </a:cubicBezTo>
                <a:cubicBezTo>
                  <a:pt x="6569947" y="1763793"/>
                  <a:pt x="6569015" y="1762469"/>
                  <a:pt x="6567950" y="1761271"/>
                </a:cubicBezTo>
                <a:cubicBezTo>
                  <a:pt x="6566885" y="1760205"/>
                  <a:pt x="6565554" y="1759407"/>
                  <a:pt x="6563956" y="1758610"/>
                </a:cubicBezTo>
                <a:cubicBezTo>
                  <a:pt x="6562492" y="1757942"/>
                  <a:pt x="6560895" y="1757670"/>
                  <a:pt x="6558899" y="1757670"/>
                </a:cubicBezTo>
                <a:close/>
                <a:moveTo>
                  <a:pt x="6341253" y="1757670"/>
                </a:moveTo>
                <a:cubicBezTo>
                  <a:pt x="6335396" y="1757670"/>
                  <a:pt x="6332867" y="1759665"/>
                  <a:pt x="6331270" y="1761271"/>
                </a:cubicBezTo>
                <a:cubicBezTo>
                  <a:pt x="6328740" y="1763934"/>
                  <a:pt x="6327675" y="1766725"/>
                  <a:pt x="6327675" y="1770725"/>
                </a:cubicBezTo>
                <a:cubicBezTo>
                  <a:pt x="6327675" y="1774853"/>
                  <a:pt x="6328740" y="1777642"/>
                  <a:pt x="6331270" y="1780175"/>
                </a:cubicBezTo>
                <a:cubicBezTo>
                  <a:pt x="6332867" y="1781764"/>
                  <a:pt x="6335396" y="1783629"/>
                  <a:pt x="6341253" y="1783629"/>
                </a:cubicBezTo>
                <a:cubicBezTo>
                  <a:pt x="6343250" y="1783629"/>
                  <a:pt x="6345114" y="1783231"/>
                  <a:pt x="6346578" y="1782708"/>
                </a:cubicBezTo>
                <a:cubicBezTo>
                  <a:pt x="6348042" y="1782170"/>
                  <a:pt x="6349373" y="1781365"/>
                  <a:pt x="6350305" y="1780304"/>
                </a:cubicBezTo>
                <a:cubicBezTo>
                  <a:pt x="6351370" y="1779105"/>
                  <a:pt x="6352302" y="1777772"/>
                  <a:pt x="6352968" y="1776047"/>
                </a:cubicBezTo>
                <a:cubicBezTo>
                  <a:pt x="6353766" y="1774449"/>
                  <a:pt x="6354033" y="1772588"/>
                  <a:pt x="6354033" y="1770584"/>
                </a:cubicBezTo>
                <a:cubicBezTo>
                  <a:pt x="6354033" y="1768720"/>
                  <a:pt x="6353633" y="1766997"/>
                  <a:pt x="6352968" y="1765399"/>
                </a:cubicBezTo>
                <a:cubicBezTo>
                  <a:pt x="6352302" y="1763793"/>
                  <a:pt x="6351370" y="1762469"/>
                  <a:pt x="6350305" y="1761271"/>
                </a:cubicBezTo>
                <a:cubicBezTo>
                  <a:pt x="6349241" y="1760205"/>
                  <a:pt x="6347909" y="1759407"/>
                  <a:pt x="6346312" y="1758610"/>
                </a:cubicBezTo>
                <a:cubicBezTo>
                  <a:pt x="6344848" y="1757942"/>
                  <a:pt x="6343250" y="1757670"/>
                  <a:pt x="6341253" y="1757670"/>
                </a:cubicBezTo>
                <a:close/>
                <a:moveTo>
                  <a:pt x="6123608" y="1757670"/>
                </a:moveTo>
                <a:cubicBezTo>
                  <a:pt x="6117751" y="1757670"/>
                  <a:pt x="6115221" y="1759665"/>
                  <a:pt x="6113624" y="1761271"/>
                </a:cubicBezTo>
                <a:cubicBezTo>
                  <a:pt x="6111095" y="1763934"/>
                  <a:pt x="6110030" y="1766725"/>
                  <a:pt x="6110030" y="1770725"/>
                </a:cubicBezTo>
                <a:cubicBezTo>
                  <a:pt x="6110030" y="1774853"/>
                  <a:pt x="6111095" y="1777642"/>
                  <a:pt x="6113624" y="1780175"/>
                </a:cubicBezTo>
                <a:cubicBezTo>
                  <a:pt x="6115221" y="1781764"/>
                  <a:pt x="6117751" y="1783629"/>
                  <a:pt x="6123608" y="1783629"/>
                </a:cubicBezTo>
                <a:cubicBezTo>
                  <a:pt x="6125737" y="1783629"/>
                  <a:pt x="6127468" y="1783231"/>
                  <a:pt x="6128932" y="1782708"/>
                </a:cubicBezTo>
                <a:cubicBezTo>
                  <a:pt x="6130530" y="1782170"/>
                  <a:pt x="6131728" y="1781365"/>
                  <a:pt x="6132659" y="1780304"/>
                </a:cubicBezTo>
                <a:cubicBezTo>
                  <a:pt x="6133724" y="1779105"/>
                  <a:pt x="6134656" y="1777772"/>
                  <a:pt x="6135322" y="1776047"/>
                </a:cubicBezTo>
                <a:cubicBezTo>
                  <a:pt x="6135987" y="1774449"/>
                  <a:pt x="6136387" y="1772588"/>
                  <a:pt x="6136387" y="1770584"/>
                </a:cubicBezTo>
                <a:cubicBezTo>
                  <a:pt x="6136387" y="1768720"/>
                  <a:pt x="6135987" y="1766997"/>
                  <a:pt x="6135322" y="1765399"/>
                </a:cubicBezTo>
                <a:cubicBezTo>
                  <a:pt x="6134656" y="1763793"/>
                  <a:pt x="6133724" y="1762469"/>
                  <a:pt x="6132659" y="1761271"/>
                </a:cubicBezTo>
                <a:cubicBezTo>
                  <a:pt x="6131594" y="1760205"/>
                  <a:pt x="6130263" y="1759407"/>
                  <a:pt x="6128666" y="1758610"/>
                </a:cubicBezTo>
                <a:cubicBezTo>
                  <a:pt x="6127202" y="1757942"/>
                  <a:pt x="6125604" y="1757670"/>
                  <a:pt x="6123608" y="1757670"/>
                </a:cubicBezTo>
                <a:close/>
                <a:moveTo>
                  <a:pt x="5905963" y="1757670"/>
                </a:moveTo>
                <a:cubicBezTo>
                  <a:pt x="5900106" y="1757670"/>
                  <a:pt x="5897576" y="1759665"/>
                  <a:pt x="5895979" y="1761271"/>
                </a:cubicBezTo>
                <a:cubicBezTo>
                  <a:pt x="5893450" y="1763934"/>
                  <a:pt x="5892385" y="1766725"/>
                  <a:pt x="5892385" y="1770725"/>
                </a:cubicBezTo>
                <a:cubicBezTo>
                  <a:pt x="5892385" y="1774853"/>
                  <a:pt x="5893450" y="1777642"/>
                  <a:pt x="5895979" y="1780175"/>
                </a:cubicBezTo>
                <a:cubicBezTo>
                  <a:pt x="5897576" y="1781764"/>
                  <a:pt x="5900106" y="1783629"/>
                  <a:pt x="5905963" y="1783629"/>
                </a:cubicBezTo>
                <a:cubicBezTo>
                  <a:pt x="5908093" y="1783629"/>
                  <a:pt x="5909823" y="1783231"/>
                  <a:pt x="5911287" y="1782708"/>
                </a:cubicBezTo>
                <a:cubicBezTo>
                  <a:pt x="5912751" y="1782170"/>
                  <a:pt x="5914083" y="1781365"/>
                  <a:pt x="5915014" y="1780304"/>
                </a:cubicBezTo>
                <a:cubicBezTo>
                  <a:pt x="5916079" y="1779105"/>
                  <a:pt x="5917011" y="1777772"/>
                  <a:pt x="5917677" y="1776047"/>
                </a:cubicBezTo>
                <a:cubicBezTo>
                  <a:pt x="5918342" y="1774449"/>
                  <a:pt x="5918742" y="1772588"/>
                  <a:pt x="5918742" y="1770584"/>
                </a:cubicBezTo>
                <a:cubicBezTo>
                  <a:pt x="5918742" y="1768720"/>
                  <a:pt x="5918342" y="1766997"/>
                  <a:pt x="5917677" y="1765399"/>
                </a:cubicBezTo>
                <a:cubicBezTo>
                  <a:pt x="5917011" y="1763793"/>
                  <a:pt x="5916079" y="1762469"/>
                  <a:pt x="5915014" y="1761271"/>
                </a:cubicBezTo>
                <a:cubicBezTo>
                  <a:pt x="5913950" y="1760205"/>
                  <a:pt x="5912618" y="1759407"/>
                  <a:pt x="5911021" y="1758610"/>
                </a:cubicBezTo>
                <a:cubicBezTo>
                  <a:pt x="5909557" y="1757942"/>
                  <a:pt x="5907826" y="1757670"/>
                  <a:pt x="5905963" y="1757670"/>
                </a:cubicBezTo>
                <a:close/>
                <a:moveTo>
                  <a:pt x="5688451" y="1757670"/>
                </a:moveTo>
                <a:cubicBezTo>
                  <a:pt x="5682594" y="1757670"/>
                  <a:pt x="5680064" y="1759665"/>
                  <a:pt x="5678467" y="1761271"/>
                </a:cubicBezTo>
                <a:cubicBezTo>
                  <a:pt x="5675938" y="1763934"/>
                  <a:pt x="5674873" y="1766725"/>
                  <a:pt x="5674873" y="1770725"/>
                </a:cubicBezTo>
                <a:cubicBezTo>
                  <a:pt x="5674873" y="1774853"/>
                  <a:pt x="5675938" y="1777642"/>
                  <a:pt x="5678467" y="1780175"/>
                </a:cubicBezTo>
                <a:cubicBezTo>
                  <a:pt x="5680064" y="1781764"/>
                  <a:pt x="5682594" y="1783629"/>
                  <a:pt x="5688451" y="1783629"/>
                </a:cubicBezTo>
                <a:cubicBezTo>
                  <a:pt x="5690447" y="1783629"/>
                  <a:pt x="5692178" y="1783231"/>
                  <a:pt x="5693775" y="1782708"/>
                </a:cubicBezTo>
                <a:cubicBezTo>
                  <a:pt x="5695239" y="1782170"/>
                  <a:pt x="5696571" y="1781365"/>
                  <a:pt x="5697502" y="1780304"/>
                </a:cubicBezTo>
                <a:cubicBezTo>
                  <a:pt x="5698567" y="1779105"/>
                  <a:pt x="5699499" y="1777772"/>
                  <a:pt x="5700165" y="1776047"/>
                </a:cubicBezTo>
                <a:cubicBezTo>
                  <a:pt x="5700830" y="1774449"/>
                  <a:pt x="5701230" y="1772588"/>
                  <a:pt x="5701230" y="1770584"/>
                </a:cubicBezTo>
                <a:cubicBezTo>
                  <a:pt x="5701230" y="1768720"/>
                  <a:pt x="5700830" y="1766997"/>
                  <a:pt x="5700165" y="1765399"/>
                </a:cubicBezTo>
                <a:cubicBezTo>
                  <a:pt x="5699499" y="1763793"/>
                  <a:pt x="5698567" y="1762469"/>
                  <a:pt x="5697502" y="1761271"/>
                </a:cubicBezTo>
                <a:cubicBezTo>
                  <a:pt x="5696437" y="1760205"/>
                  <a:pt x="5695106" y="1759407"/>
                  <a:pt x="5693509" y="1758610"/>
                </a:cubicBezTo>
                <a:cubicBezTo>
                  <a:pt x="5692045" y="1757942"/>
                  <a:pt x="5690314" y="1757670"/>
                  <a:pt x="5688451" y="1757670"/>
                </a:cubicBezTo>
                <a:close/>
                <a:moveTo>
                  <a:pt x="5470806" y="1757670"/>
                </a:moveTo>
                <a:cubicBezTo>
                  <a:pt x="5464949" y="1757670"/>
                  <a:pt x="5462419" y="1759665"/>
                  <a:pt x="5460822" y="1761271"/>
                </a:cubicBezTo>
                <a:cubicBezTo>
                  <a:pt x="5458293" y="1763934"/>
                  <a:pt x="5457228" y="1766725"/>
                  <a:pt x="5457228" y="1770725"/>
                </a:cubicBezTo>
                <a:cubicBezTo>
                  <a:pt x="5457228" y="1774853"/>
                  <a:pt x="5458293" y="1777642"/>
                  <a:pt x="5460822" y="1780175"/>
                </a:cubicBezTo>
                <a:cubicBezTo>
                  <a:pt x="5462419" y="1781764"/>
                  <a:pt x="5464949" y="1783629"/>
                  <a:pt x="5470806" y="1783629"/>
                </a:cubicBezTo>
                <a:cubicBezTo>
                  <a:pt x="5472802" y="1783629"/>
                  <a:pt x="5474666" y="1783231"/>
                  <a:pt x="5476130" y="1782708"/>
                </a:cubicBezTo>
                <a:cubicBezTo>
                  <a:pt x="5477594" y="1782170"/>
                  <a:pt x="5478926" y="1781365"/>
                  <a:pt x="5479857" y="1780304"/>
                </a:cubicBezTo>
                <a:cubicBezTo>
                  <a:pt x="5480922" y="1779105"/>
                  <a:pt x="5481854" y="1777772"/>
                  <a:pt x="5482520" y="1776047"/>
                </a:cubicBezTo>
                <a:cubicBezTo>
                  <a:pt x="5483319" y="1774449"/>
                  <a:pt x="5483585" y="1772588"/>
                  <a:pt x="5483585" y="1770584"/>
                </a:cubicBezTo>
                <a:cubicBezTo>
                  <a:pt x="5483585" y="1768720"/>
                  <a:pt x="5483185" y="1766997"/>
                  <a:pt x="5482520" y="1765399"/>
                </a:cubicBezTo>
                <a:cubicBezTo>
                  <a:pt x="5481854" y="1763793"/>
                  <a:pt x="5480922" y="1762469"/>
                  <a:pt x="5479857" y="1761271"/>
                </a:cubicBezTo>
                <a:cubicBezTo>
                  <a:pt x="5478793" y="1760205"/>
                  <a:pt x="5477461" y="1759407"/>
                  <a:pt x="5475864" y="1758610"/>
                </a:cubicBezTo>
                <a:cubicBezTo>
                  <a:pt x="5474400" y="1757942"/>
                  <a:pt x="5472669" y="1757670"/>
                  <a:pt x="5470806" y="1757670"/>
                </a:cubicBezTo>
                <a:close/>
                <a:moveTo>
                  <a:pt x="5253160" y="1757670"/>
                </a:moveTo>
                <a:cubicBezTo>
                  <a:pt x="5247303" y="1757670"/>
                  <a:pt x="5244774" y="1759665"/>
                  <a:pt x="5243177" y="1761271"/>
                </a:cubicBezTo>
                <a:cubicBezTo>
                  <a:pt x="5240647" y="1763934"/>
                  <a:pt x="5239583" y="1766725"/>
                  <a:pt x="5239583" y="1770725"/>
                </a:cubicBezTo>
                <a:cubicBezTo>
                  <a:pt x="5239583" y="1774853"/>
                  <a:pt x="5240647" y="1777642"/>
                  <a:pt x="5243177" y="1780175"/>
                </a:cubicBezTo>
                <a:cubicBezTo>
                  <a:pt x="5244774" y="1781764"/>
                  <a:pt x="5247303" y="1783629"/>
                  <a:pt x="5253160" y="1783629"/>
                </a:cubicBezTo>
                <a:cubicBezTo>
                  <a:pt x="5255157" y="1783629"/>
                  <a:pt x="5257021" y="1783231"/>
                  <a:pt x="5258485" y="1782708"/>
                </a:cubicBezTo>
                <a:cubicBezTo>
                  <a:pt x="5259949" y="1782170"/>
                  <a:pt x="5261280" y="1781365"/>
                  <a:pt x="5262212" y="1780304"/>
                </a:cubicBezTo>
                <a:cubicBezTo>
                  <a:pt x="5263277" y="1779105"/>
                  <a:pt x="5264209" y="1777772"/>
                  <a:pt x="5264875" y="1776047"/>
                </a:cubicBezTo>
                <a:cubicBezTo>
                  <a:pt x="5265673" y="1774449"/>
                  <a:pt x="5265939" y="1772588"/>
                  <a:pt x="5265939" y="1770584"/>
                </a:cubicBezTo>
                <a:cubicBezTo>
                  <a:pt x="5265939" y="1768720"/>
                  <a:pt x="5265540" y="1766997"/>
                  <a:pt x="5264875" y="1765399"/>
                </a:cubicBezTo>
                <a:cubicBezTo>
                  <a:pt x="5264209" y="1763793"/>
                  <a:pt x="5263277" y="1762469"/>
                  <a:pt x="5262212" y="1761271"/>
                </a:cubicBezTo>
                <a:cubicBezTo>
                  <a:pt x="5261147" y="1760205"/>
                  <a:pt x="5259816" y="1759407"/>
                  <a:pt x="5258219" y="1758610"/>
                </a:cubicBezTo>
                <a:cubicBezTo>
                  <a:pt x="5256754" y="1757942"/>
                  <a:pt x="5255024" y="1757670"/>
                  <a:pt x="5253160" y="1757670"/>
                </a:cubicBezTo>
                <a:close/>
                <a:moveTo>
                  <a:pt x="5035515" y="1757670"/>
                </a:moveTo>
                <a:cubicBezTo>
                  <a:pt x="5029658" y="1757670"/>
                  <a:pt x="5027129" y="1759665"/>
                  <a:pt x="5025532" y="1761271"/>
                </a:cubicBezTo>
                <a:cubicBezTo>
                  <a:pt x="5023002" y="1763934"/>
                  <a:pt x="5021938" y="1766725"/>
                  <a:pt x="5021938" y="1770725"/>
                </a:cubicBezTo>
                <a:cubicBezTo>
                  <a:pt x="5021938" y="1774853"/>
                  <a:pt x="5023002" y="1777642"/>
                  <a:pt x="5025532" y="1780175"/>
                </a:cubicBezTo>
                <a:cubicBezTo>
                  <a:pt x="5027129" y="1781764"/>
                  <a:pt x="5029658" y="1783629"/>
                  <a:pt x="5035515" y="1783629"/>
                </a:cubicBezTo>
                <a:cubicBezTo>
                  <a:pt x="5037645" y="1783629"/>
                  <a:pt x="5039376" y="1783231"/>
                  <a:pt x="5040840" y="1782708"/>
                </a:cubicBezTo>
                <a:cubicBezTo>
                  <a:pt x="5042304" y="1782170"/>
                  <a:pt x="5043636" y="1781365"/>
                  <a:pt x="5044567" y="1780304"/>
                </a:cubicBezTo>
                <a:cubicBezTo>
                  <a:pt x="5045632" y="1779105"/>
                  <a:pt x="5046564" y="1777772"/>
                  <a:pt x="5047230" y="1776047"/>
                </a:cubicBezTo>
                <a:cubicBezTo>
                  <a:pt x="5048028" y="1774449"/>
                  <a:pt x="5048294" y="1772588"/>
                  <a:pt x="5048294" y="1770584"/>
                </a:cubicBezTo>
                <a:cubicBezTo>
                  <a:pt x="5048294" y="1768720"/>
                  <a:pt x="5047895" y="1766997"/>
                  <a:pt x="5047230" y="1765399"/>
                </a:cubicBezTo>
                <a:cubicBezTo>
                  <a:pt x="5046564" y="1763793"/>
                  <a:pt x="5045632" y="1762469"/>
                  <a:pt x="5044567" y="1761271"/>
                </a:cubicBezTo>
                <a:cubicBezTo>
                  <a:pt x="5043502" y="1760205"/>
                  <a:pt x="5042171" y="1759407"/>
                  <a:pt x="5040574" y="1758610"/>
                </a:cubicBezTo>
                <a:cubicBezTo>
                  <a:pt x="5039110" y="1757942"/>
                  <a:pt x="5037379" y="1757670"/>
                  <a:pt x="5035515" y="1757670"/>
                </a:cubicBezTo>
                <a:close/>
                <a:moveTo>
                  <a:pt x="4817870" y="1757670"/>
                </a:moveTo>
                <a:cubicBezTo>
                  <a:pt x="4812013" y="1757670"/>
                  <a:pt x="4809484" y="1759665"/>
                  <a:pt x="4807887" y="1761271"/>
                </a:cubicBezTo>
                <a:cubicBezTo>
                  <a:pt x="4805357" y="1763934"/>
                  <a:pt x="4804293" y="1766725"/>
                  <a:pt x="4804293" y="1770725"/>
                </a:cubicBezTo>
                <a:cubicBezTo>
                  <a:pt x="4804293" y="1774853"/>
                  <a:pt x="4805357" y="1777642"/>
                  <a:pt x="4807887" y="1780175"/>
                </a:cubicBezTo>
                <a:cubicBezTo>
                  <a:pt x="4809484" y="1781764"/>
                  <a:pt x="4812013" y="1783629"/>
                  <a:pt x="4817870" y="1783629"/>
                </a:cubicBezTo>
                <a:cubicBezTo>
                  <a:pt x="4820000" y="1783629"/>
                  <a:pt x="4821731" y="1783231"/>
                  <a:pt x="4823195" y="1782708"/>
                </a:cubicBezTo>
                <a:cubicBezTo>
                  <a:pt x="4824659" y="1782170"/>
                  <a:pt x="4825857" y="1781365"/>
                  <a:pt x="4826922" y="1780304"/>
                </a:cubicBezTo>
                <a:cubicBezTo>
                  <a:pt x="4827987" y="1779105"/>
                  <a:pt x="4828919" y="1777772"/>
                  <a:pt x="4829585" y="1776047"/>
                </a:cubicBezTo>
                <a:cubicBezTo>
                  <a:pt x="4830383" y="1774449"/>
                  <a:pt x="4830650" y="1772588"/>
                  <a:pt x="4830650" y="1770584"/>
                </a:cubicBezTo>
                <a:cubicBezTo>
                  <a:pt x="4830650" y="1768720"/>
                  <a:pt x="4830250" y="1766997"/>
                  <a:pt x="4829585" y="1765399"/>
                </a:cubicBezTo>
                <a:cubicBezTo>
                  <a:pt x="4828919" y="1763793"/>
                  <a:pt x="4827987" y="1762469"/>
                  <a:pt x="4826922" y="1761271"/>
                </a:cubicBezTo>
                <a:cubicBezTo>
                  <a:pt x="4825857" y="1760205"/>
                  <a:pt x="4824526" y="1759407"/>
                  <a:pt x="4822929" y="1758610"/>
                </a:cubicBezTo>
                <a:cubicBezTo>
                  <a:pt x="4821465" y="1757942"/>
                  <a:pt x="4819734" y="1757670"/>
                  <a:pt x="4817870" y="1757670"/>
                </a:cubicBezTo>
                <a:close/>
                <a:moveTo>
                  <a:pt x="4600226" y="1757670"/>
                </a:moveTo>
                <a:cubicBezTo>
                  <a:pt x="4594369" y="1757670"/>
                  <a:pt x="4591839" y="1759665"/>
                  <a:pt x="4590242" y="1761271"/>
                </a:cubicBezTo>
                <a:cubicBezTo>
                  <a:pt x="4587713" y="1763934"/>
                  <a:pt x="4586648" y="1766725"/>
                  <a:pt x="4586648" y="1770725"/>
                </a:cubicBezTo>
                <a:cubicBezTo>
                  <a:pt x="4586648" y="1774853"/>
                  <a:pt x="4587713" y="1777642"/>
                  <a:pt x="4590242" y="1780175"/>
                </a:cubicBezTo>
                <a:cubicBezTo>
                  <a:pt x="4591839" y="1781764"/>
                  <a:pt x="4594369" y="1783629"/>
                  <a:pt x="4600226" y="1783629"/>
                </a:cubicBezTo>
                <a:cubicBezTo>
                  <a:pt x="4602355" y="1783629"/>
                  <a:pt x="4604086" y="1783231"/>
                  <a:pt x="4605550" y="1782708"/>
                </a:cubicBezTo>
                <a:cubicBezTo>
                  <a:pt x="4607148" y="1782170"/>
                  <a:pt x="4608346" y="1781365"/>
                  <a:pt x="4609277" y="1780304"/>
                </a:cubicBezTo>
                <a:cubicBezTo>
                  <a:pt x="4610342" y="1779105"/>
                  <a:pt x="4611274" y="1777772"/>
                  <a:pt x="4611940" y="1776047"/>
                </a:cubicBezTo>
                <a:cubicBezTo>
                  <a:pt x="4612605" y="1774449"/>
                  <a:pt x="4613005" y="1772588"/>
                  <a:pt x="4613005" y="1770584"/>
                </a:cubicBezTo>
                <a:cubicBezTo>
                  <a:pt x="4613005" y="1768720"/>
                  <a:pt x="4612605" y="1766997"/>
                  <a:pt x="4611940" y="1765399"/>
                </a:cubicBezTo>
                <a:cubicBezTo>
                  <a:pt x="4611274" y="1763793"/>
                  <a:pt x="4610342" y="1762469"/>
                  <a:pt x="4609277" y="1761271"/>
                </a:cubicBezTo>
                <a:cubicBezTo>
                  <a:pt x="4608212" y="1760205"/>
                  <a:pt x="4606881" y="1759407"/>
                  <a:pt x="4605284" y="1758610"/>
                </a:cubicBezTo>
                <a:cubicBezTo>
                  <a:pt x="4603820" y="1757942"/>
                  <a:pt x="4602222" y="1757670"/>
                  <a:pt x="4600226" y="1757670"/>
                </a:cubicBezTo>
                <a:close/>
                <a:moveTo>
                  <a:pt x="4382713" y="1757670"/>
                </a:moveTo>
                <a:cubicBezTo>
                  <a:pt x="4376857" y="1757670"/>
                  <a:pt x="4374327" y="1759665"/>
                  <a:pt x="4372730" y="1761271"/>
                </a:cubicBezTo>
                <a:cubicBezTo>
                  <a:pt x="4370201" y="1763934"/>
                  <a:pt x="4369136" y="1766725"/>
                  <a:pt x="4369136" y="1770725"/>
                </a:cubicBezTo>
                <a:cubicBezTo>
                  <a:pt x="4369136" y="1774853"/>
                  <a:pt x="4370201" y="1777642"/>
                  <a:pt x="4372730" y="1780175"/>
                </a:cubicBezTo>
                <a:cubicBezTo>
                  <a:pt x="4374327" y="1781764"/>
                  <a:pt x="4376857" y="1783629"/>
                  <a:pt x="4382713" y="1783629"/>
                </a:cubicBezTo>
                <a:cubicBezTo>
                  <a:pt x="4384710" y="1783629"/>
                  <a:pt x="4386441" y="1783231"/>
                  <a:pt x="4388038" y="1782708"/>
                </a:cubicBezTo>
                <a:cubicBezTo>
                  <a:pt x="4389502" y="1782170"/>
                  <a:pt x="4390834" y="1781365"/>
                  <a:pt x="4391765" y="1780304"/>
                </a:cubicBezTo>
                <a:cubicBezTo>
                  <a:pt x="4392830" y="1779105"/>
                  <a:pt x="4393762" y="1777772"/>
                  <a:pt x="4394428" y="1776047"/>
                </a:cubicBezTo>
                <a:cubicBezTo>
                  <a:pt x="4395093" y="1774449"/>
                  <a:pt x="4395493" y="1772588"/>
                  <a:pt x="4395493" y="1770584"/>
                </a:cubicBezTo>
                <a:cubicBezTo>
                  <a:pt x="4395493" y="1768720"/>
                  <a:pt x="4395093" y="1766997"/>
                  <a:pt x="4394428" y="1765399"/>
                </a:cubicBezTo>
                <a:cubicBezTo>
                  <a:pt x="4393762" y="1763793"/>
                  <a:pt x="4392830" y="1762469"/>
                  <a:pt x="4391765" y="1761271"/>
                </a:cubicBezTo>
                <a:cubicBezTo>
                  <a:pt x="4390700" y="1760205"/>
                  <a:pt x="4389369" y="1759407"/>
                  <a:pt x="4387772" y="1758610"/>
                </a:cubicBezTo>
                <a:cubicBezTo>
                  <a:pt x="4386308" y="1757942"/>
                  <a:pt x="4384710" y="1757670"/>
                  <a:pt x="4382713" y="1757670"/>
                </a:cubicBezTo>
                <a:close/>
                <a:moveTo>
                  <a:pt x="4165068" y="1757670"/>
                </a:moveTo>
                <a:cubicBezTo>
                  <a:pt x="4159211" y="1757670"/>
                  <a:pt x="4156681" y="1759665"/>
                  <a:pt x="4155084" y="1761271"/>
                </a:cubicBezTo>
                <a:cubicBezTo>
                  <a:pt x="4152555" y="1763934"/>
                  <a:pt x="4151490" y="1766725"/>
                  <a:pt x="4151490" y="1770725"/>
                </a:cubicBezTo>
                <a:cubicBezTo>
                  <a:pt x="4151490" y="1774853"/>
                  <a:pt x="4152555" y="1777642"/>
                  <a:pt x="4155084" y="1780175"/>
                </a:cubicBezTo>
                <a:cubicBezTo>
                  <a:pt x="4156681" y="1781764"/>
                  <a:pt x="4159211" y="1783629"/>
                  <a:pt x="4165068" y="1783629"/>
                </a:cubicBezTo>
                <a:cubicBezTo>
                  <a:pt x="4167064" y="1783629"/>
                  <a:pt x="4168928" y="1783231"/>
                  <a:pt x="4170392" y="1782708"/>
                </a:cubicBezTo>
                <a:cubicBezTo>
                  <a:pt x="4171856" y="1782170"/>
                  <a:pt x="4173188" y="1781365"/>
                  <a:pt x="4174119" y="1780304"/>
                </a:cubicBezTo>
                <a:cubicBezTo>
                  <a:pt x="4175184" y="1779105"/>
                  <a:pt x="4176116" y="1777772"/>
                  <a:pt x="4176782" y="1776047"/>
                </a:cubicBezTo>
                <a:cubicBezTo>
                  <a:pt x="4177447" y="1774449"/>
                  <a:pt x="4177847" y="1772588"/>
                  <a:pt x="4177847" y="1770584"/>
                </a:cubicBezTo>
                <a:cubicBezTo>
                  <a:pt x="4177847" y="1768720"/>
                  <a:pt x="4177447" y="1766997"/>
                  <a:pt x="4176782" y="1765399"/>
                </a:cubicBezTo>
                <a:cubicBezTo>
                  <a:pt x="4176116" y="1763793"/>
                  <a:pt x="4175184" y="1762469"/>
                  <a:pt x="4174119" y="1761271"/>
                </a:cubicBezTo>
                <a:cubicBezTo>
                  <a:pt x="4173054" y="1760205"/>
                  <a:pt x="4171723" y="1759407"/>
                  <a:pt x="4170126" y="1758610"/>
                </a:cubicBezTo>
                <a:cubicBezTo>
                  <a:pt x="4168662" y="1757942"/>
                  <a:pt x="4167064" y="1757670"/>
                  <a:pt x="4165068" y="1757670"/>
                </a:cubicBezTo>
                <a:close/>
                <a:moveTo>
                  <a:pt x="3947524" y="1757670"/>
                </a:moveTo>
                <a:cubicBezTo>
                  <a:pt x="3941666" y="1757670"/>
                  <a:pt x="3939137" y="1759665"/>
                  <a:pt x="3937541" y="1761271"/>
                </a:cubicBezTo>
                <a:cubicBezTo>
                  <a:pt x="3935009" y="1763934"/>
                  <a:pt x="3933946" y="1766725"/>
                  <a:pt x="3933946" y="1770725"/>
                </a:cubicBezTo>
                <a:cubicBezTo>
                  <a:pt x="3933946" y="1774853"/>
                  <a:pt x="3935009" y="1777642"/>
                  <a:pt x="3937541" y="1780175"/>
                </a:cubicBezTo>
                <a:cubicBezTo>
                  <a:pt x="3939137" y="1781764"/>
                  <a:pt x="3941666" y="1783629"/>
                  <a:pt x="3947524" y="1783629"/>
                </a:cubicBezTo>
                <a:cubicBezTo>
                  <a:pt x="3949521" y="1783629"/>
                  <a:pt x="3951384" y="1783231"/>
                  <a:pt x="3952849" y="1782708"/>
                </a:cubicBezTo>
                <a:cubicBezTo>
                  <a:pt x="3954313" y="1782170"/>
                  <a:pt x="3955643" y="1781365"/>
                  <a:pt x="3956576" y="1780304"/>
                </a:cubicBezTo>
                <a:cubicBezTo>
                  <a:pt x="3957641" y="1779105"/>
                  <a:pt x="3958574" y="1777772"/>
                  <a:pt x="3959239" y="1776047"/>
                </a:cubicBezTo>
                <a:cubicBezTo>
                  <a:pt x="3959904" y="1774449"/>
                  <a:pt x="3960304" y="1772588"/>
                  <a:pt x="3960304" y="1770584"/>
                </a:cubicBezTo>
                <a:cubicBezTo>
                  <a:pt x="3960304" y="1768720"/>
                  <a:pt x="3959904" y="1766997"/>
                  <a:pt x="3959239" y="1765399"/>
                </a:cubicBezTo>
                <a:cubicBezTo>
                  <a:pt x="3958574" y="1763793"/>
                  <a:pt x="3957641" y="1762469"/>
                  <a:pt x="3956576" y="1761271"/>
                </a:cubicBezTo>
                <a:cubicBezTo>
                  <a:pt x="3955510" y="1760205"/>
                  <a:pt x="3954180" y="1759407"/>
                  <a:pt x="3952582" y="1758610"/>
                </a:cubicBezTo>
                <a:cubicBezTo>
                  <a:pt x="3951117" y="1757942"/>
                  <a:pt x="3949521" y="1757670"/>
                  <a:pt x="3947524" y="1757670"/>
                </a:cubicBezTo>
                <a:close/>
                <a:moveTo>
                  <a:pt x="3729873" y="1757670"/>
                </a:moveTo>
                <a:cubicBezTo>
                  <a:pt x="3724016" y="1757670"/>
                  <a:pt x="3721487" y="1759665"/>
                  <a:pt x="3719887" y="1761271"/>
                </a:cubicBezTo>
                <a:cubicBezTo>
                  <a:pt x="3717358" y="1763934"/>
                  <a:pt x="3716295" y="1766725"/>
                  <a:pt x="3716295" y="1770725"/>
                </a:cubicBezTo>
                <a:cubicBezTo>
                  <a:pt x="3716295" y="1774853"/>
                  <a:pt x="3717358" y="1777642"/>
                  <a:pt x="3719887" y="1780175"/>
                </a:cubicBezTo>
                <a:cubicBezTo>
                  <a:pt x="3721487" y="1781764"/>
                  <a:pt x="3724016" y="1783629"/>
                  <a:pt x="3729873" y="1783629"/>
                </a:cubicBezTo>
                <a:cubicBezTo>
                  <a:pt x="3732003" y="1783629"/>
                  <a:pt x="3733734" y="1783231"/>
                  <a:pt x="3735198" y="1782708"/>
                </a:cubicBezTo>
                <a:cubicBezTo>
                  <a:pt x="3736662" y="1782170"/>
                  <a:pt x="3737995" y="1781365"/>
                  <a:pt x="3738925" y="1780304"/>
                </a:cubicBezTo>
                <a:cubicBezTo>
                  <a:pt x="3739990" y="1779105"/>
                  <a:pt x="3740923" y="1777772"/>
                  <a:pt x="3741588" y="1776047"/>
                </a:cubicBezTo>
                <a:cubicBezTo>
                  <a:pt x="3742253" y="1774449"/>
                  <a:pt x="3742653" y="1772588"/>
                  <a:pt x="3742653" y="1770584"/>
                </a:cubicBezTo>
                <a:cubicBezTo>
                  <a:pt x="3742653" y="1768720"/>
                  <a:pt x="3742253" y="1766997"/>
                  <a:pt x="3741588" y="1765399"/>
                </a:cubicBezTo>
                <a:cubicBezTo>
                  <a:pt x="3740923" y="1763793"/>
                  <a:pt x="3739990" y="1762469"/>
                  <a:pt x="3738925" y="1761271"/>
                </a:cubicBezTo>
                <a:cubicBezTo>
                  <a:pt x="3737861" y="1760205"/>
                  <a:pt x="3736529" y="1759407"/>
                  <a:pt x="3734933" y="1758610"/>
                </a:cubicBezTo>
                <a:cubicBezTo>
                  <a:pt x="3733467" y="1757942"/>
                  <a:pt x="3731870" y="1757670"/>
                  <a:pt x="3729873" y="1757670"/>
                </a:cubicBezTo>
                <a:close/>
                <a:moveTo>
                  <a:pt x="3512223" y="1757670"/>
                </a:moveTo>
                <a:cubicBezTo>
                  <a:pt x="3506366" y="1757670"/>
                  <a:pt x="3503836" y="1759665"/>
                  <a:pt x="3502238" y="1761271"/>
                </a:cubicBezTo>
                <a:cubicBezTo>
                  <a:pt x="3499708" y="1763934"/>
                  <a:pt x="3498644" y="1766725"/>
                  <a:pt x="3498644" y="1770725"/>
                </a:cubicBezTo>
                <a:cubicBezTo>
                  <a:pt x="3498644" y="1774853"/>
                  <a:pt x="3499708" y="1777642"/>
                  <a:pt x="3502238" y="1780175"/>
                </a:cubicBezTo>
                <a:cubicBezTo>
                  <a:pt x="3503836" y="1781764"/>
                  <a:pt x="3506366" y="1783629"/>
                  <a:pt x="3512223" y="1783629"/>
                </a:cubicBezTo>
                <a:cubicBezTo>
                  <a:pt x="3514352" y="1783629"/>
                  <a:pt x="3516084" y="1783231"/>
                  <a:pt x="3517548" y="1782708"/>
                </a:cubicBezTo>
                <a:cubicBezTo>
                  <a:pt x="3519012" y="1782170"/>
                  <a:pt x="3520344" y="1781365"/>
                  <a:pt x="3521275" y="1780304"/>
                </a:cubicBezTo>
                <a:cubicBezTo>
                  <a:pt x="3522340" y="1779105"/>
                  <a:pt x="3523272" y="1777772"/>
                  <a:pt x="3523938" y="1776047"/>
                </a:cubicBezTo>
                <a:cubicBezTo>
                  <a:pt x="3524603" y="1774449"/>
                  <a:pt x="3525003" y="1772588"/>
                  <a:pt x="3525003" y="1770584"/>
                </a:cubicBezTo>
                <a:cubicBezTo>
                  <a:pt x="3525003" y="1768720"/>
                  <a:pt x="3524603" y="1766997"/>
                  <a:pt x="3523938" y="1765399"/>
                </a:cubicBezTo>
                <a:cubicBezTo>
                  <a:pt x="3523272" y="1763793"/>
                  <a:pt x="3522340" y="1762469"/>
                  <a:pt x="3521275" y="1761271"/>
                </a:cubicBezTo>
                <a:cubicBezTo>
                  <a:pt x="3520210" y="1760205"/>
                  <a:pt x="3518879" y="1759407"/>
                  <a:pt x="3517282" y="1758610"/>
                </a:cubicBezTo>
                <a:cubicBezTo>
                  <a:pt x="3515818" y="1757942"/>
                  <a:pt x="3514220" y="1757670"/>
                  <a:pt x="3512223" y="1757670"/>
                </a:cubicBezTo>
                <a:close/>
                <a:moveTo>
                  <a:pt x="3294706" y="1757670"/>
                </a:moveTo>
                <a:cubicBezTo>
                  <a:pt x="3288849" y="1757670"/>
                  <a:pt x="3286319" y="1759665"/>
                  <a:pt x="3284722" y="1761271"/>
                </a:cubicBezTo>
                <a:cubicBezTo>
                  <a:pt x="3282191" y="1763934"/>
                  <a:pt x="3281128" y="1766725"/>
                  <a:pt x="3281128" y="1770725"/>
                </a:cubicBezTo>
                <a:cubicBezTo>
                  <a:pt x="3281128" y="1774853"/>
                  <a:pt x="3282191" y="1777642"/>
                  <a:pt x="3284722" y="1780175"/>
                </a:cubicBezTo>
                <a:cubicBezTo>
                  <a:pt x="3286319" y="1781764"/>
                  <a:pt x="3288849" y="1783629"/>
                  <a:pt x="3294706" y="1783629"/>
                </a:cubicBezTo>
                <a:cubicBezTo>
                  <a:pt x="3296703" y="1783629"/>
                  <a:pt x="3298433" y="1783231"/>
                  <a:pt x="3300031" y="1782708"/>
                </a:cubicBezTo>
                <a:cubicBezTo>
                  <a:pt x="3301495" y="1782170"/>
                  <a:pt x="3302827" y="1781365"/>
                  <a:pt x="3303758" y="1780304"/>
                </a:cubicBezTo>
                <a:cubicBezTo>
                  <a:pt x="3304823" y="1779105"/>
                  <a:pt x="3305755" y="1777772"/>
                  <a:pt x="3306421" y="1776047"/>
                </a:cubicBezTo>
                <a:cubicBezTo>
                  <a:pt x="3307086" y="1774449"/>
                  <a:pt x="3307485" y="1772588"/>
                  <a:pt x="3307485" y="1770584"/>
                </a:cubicBezTo>
                <a:cubicBezTo>
                  <a:pt x="3307485" y="1768720"/>
                  <a:pt x="3307086" y="1766997"/>
                  <a:pt x="3306421" y="1765399"/>
                </a:cubicBezTo>
                <a:cubicBezTo>
                  <a:pt x="3305755" y="1763793"/>
                  <a:pt x="3304823" y="1762469"/>
                  <a:pt x="3303758" y="1761271"/>
                </a:cubicBezTo>
                <a:cubicBezTo>
                  <a:pt x="3302693" y="1760205"/>
                  <a:pt x="3301362" y="1759407"/>
                  <a:pt x="3299765" y="1758610"/>
                </a:cubicBezTo>
                <a:cubicBezTo>
                  <a:pt x="3298301" y="1757942"/>
                  <a:pt x="3296703" y="1757670"/>
                  <a:pt x="3294706" y="1757670"/>
                </a:cubicBezTo>
                <a:close/>
                <a:moveTo>
                  <a:pt x="3077189" y="1757670"/>
                </a:moveTo>
                <a:cubicBezTo>
                  <a:pt x="3071331" y="1757670"/>
                  <a:pt x="3068802" y="1759665"/>
                  <a:pt x="3067206" y="1761271"/>
                </a:cubicBezTo>
                <a:cubicBezTo>
                  <a:pt x="3064541" y="1763934"/>
                  <a:pt x="3063477" y="1766725"/>
                  <a:pt x="3063477" y="1770725"/>
                </a:cubicBezTo>
                <a:cubicBezTo>
                  <a:pt x="3063477" y="1774853"/>
                  <a:pt x="3064541" y="1777642"/>
                  <a:pt x="3067072" y="1780175"/>
                </a:cubicBezTo>
                <a:cubicBezTo>
                  <a:pt x="3068669" y="1781764"/>
                  <a:pt x="3071198" y="1783629"/>
                  <a:pt x="3077055" y="1783629"/>
                </a:cubicBezTo>
                <a:cubicBezTo>
                  <a:pt x="3079053" y="1783629"/>
                  <a:pt x="3080783" y="1783231"/>
                  <a:pt x="3082514" y="1782708"/>
                </a:cubicBezTo>
                <a:cubicBezTo>
                  <a:pt x="3083979" y="1782170"/>
                  <a:pt x="3085310" y="1781365"/>
                  <a:pt x="3086241" y="1780304"/>
                </a:cubicBezTo>
                <a:cubicBezTo>
                  <a:pt x="3087306" y="1779105"/>
                  <a:pt x="3088238" y="1777772"/>
                  <a:pt x="3088904" y="1776047"/>
                </a:cubicBezTo>
                <a:cubicBezTo>
                  <a:pt x="3089569" y="1774449"/>
                  <a:pt x="3089836" y="1772588"/>
                  <a:pt x="3089836" y="1770584"/>
                </a:cubicBezTo>
                <a:cubicBezTo>
                  <a:pt x="3089836" y="1768720"/>
                  <a:pt x="3089569" y="1766997"/>
                  <a:pt x="3088904" y="1765399"/>
                </a:cubicBezTo>
                <a:cubicBezTo>
                  <a:pt x="3088238" y="1763793"/>
                  <a:pt x="3087306" y="1762469"/>
                  <a:pt x="3086241" y="1761271"/>
                </a:cubicBezTo>
                <a:cubicBezTo>
                  <a:pt x="3085177" y="1760205"/>
                  <a:pt x="3083845" y="1759407"/>
                  <a:pt x="3082248" y="1758610"/>
                </a:cubicBezTo>
                <a:cubicBezTo>
                  <a:pt x="3080783" y="1757942"/>
                  <a:pt x="3079186" y="1757670"/>
                  <a:pt x="3077189" y="1757670"/>
                </a:cubicBezTo>
                <a:close/>
                <a:moveTo>
                  <a:pt x="2859406" y="1757670"/>
                </a:moveTo>
                <a:cubicBezTo>
                  <a:pt x="2853548" y="1757670"/>
                  <a:pt x="2851019" y="1759665"/>
                  <a:pt x="2849421" y="1761271"/>
                </a:cubicBezTo>
                <a:cubicBezTo>
                  <a:pt x="2846890" y="1763934"/>
                  <a:pt x="2845826" y="1766725"/>
                  <a:pt x="2845826" y="1770725"/>
                </a:cubicBezTo>
                <a:cubicBezTo>
                  <a:pt x="2845826" y="1774853"/>
                  <a:pt x="2846890" y="1777642"/>
                  <a:pt x="2849421" y="1780175"/>
                </a:cubicBezTo>
                <a:cubicBezTo>
                  <a:pt x="2851019" y="1781764"/>
                  <a:pt x="2853548" y="1783629"/>
                  <a:pt x="2859406" y="1783629"/>
                </a:cubicBezTo>
                <a:cubicBezTo>
                  <a:pt x="2861402" y="1783629"/>
                  <a:pt x="2863266" y="1783231"/>
                  <a:pt x="2864730" y="1782708"/>
                </a:cubicBezTo>
                <a:cubicBezTo>
                  <a:pt x="2866328" y="1782170"/>
                  <a:pt x="2867527" y="1781365"/>
                  <a:pt x="2868457" y="1780304"/>
                </a:cubicBezTo>
                <a:cubicBezTo>
                  <a:pt x="2869523" y="1779105"/>
                  <a:pt x="2870455" y="1777772"/>
                  <a:pt x="2871120" y="1776047"/>
                </a:cubicBezTo>
                <a:cubicBezTo>
                  <a:pt x="2871653" y="1774449"/>
                  <a:pt x="2872052" y="1772588"/>
                  <a:pt x="2872052" y="1770584"/>
                </a:cubicBezTo>
                <a:cubicBezTo>
                  <a:pt x="2872052" y="1768720"/>
                  <a:pt x="2871785" y="1766997"/>
                  <a:pt x="2871120" y="1765399"/>
                </a:cubicBezTo>
                <a:cubicBezTo>
                  <a:pt x="2870455" y="1763793"/>
                  <a:pt x="2869523" y="1762469"/>
                  <a:pt x="2868457" y="1761271"/>
                </a:cubicBezTo>
                <a:cubicBezTo>
                  <a:pt x="2867394" y="1760205"/>
                  <a:pt x="2866062" y="1759407"/>
                  <a:pt x="2864465" y="1758610"/>
                </a:cubicBezTo>
                <a:cubicBezTo>
                  <a:pt x="2863001" y="1757942"/>
                  <a:pt x="2861402" y="1757670"/>
                  <a:pt x="2859406" y="1757670"/>
                </a:cubicBezTo>
                <a:close/>
                <a:moveTo>
                  <a:pt x="2641755" y="1757670"/>
                </a:moveTo>
                <a:cubicBezTo>
                  <a:pt x="2635898" y="1757670"/>
                  <a:pt x="2633369" y="1759665"/>
                  <a:pt x="2631772" y="1761271"/>
                </a:cubicBezTo>
                <a:cubicBezTo>
                  <a:pt x="2629242" y="1763934"/>
                  <a:pt x="2628178" y="1766725"/>
                  <a:pt x="2628178" y="1770725"/>
                </a:cubicBezTo>
                <a:cubicBezTo>
                  <a:pt x="2628178" y="1774853"/>
                  <a:pt x="2629242" y="1777642"/>
                  <a:pt x="2631772" y="1780175"/>
                </a:cubicBezTo>
                <a:cubicBezTo>
                  <a:pt x="2633369" y="1781764"/>
                  <a:pt x="2635898" y="1783629"/>
                  <a:pt x="2641755" y="1783629"/>
                </a:cubicBezTo>
                <a:cubicBezTo>
                  <a:pt x="2643752" y="1783629"/>
                  <a:pt x="2645617" y="1783231"/>
                  <a:pt x="2647081" y="1782708"/>
                </a:cubicBezTo>
                <a:cubicBezTo>
                  <a:pt x="2648677" y="1782170"/>
                  <a:pt x="2649875" y="1781365"/>
                  <a:pt x="2650808" y="1780304"/>
                </a:cubicBezTo>
                <a:cubicBezTo>
                  <a:pt x="2651873" y="1779105"/>
                  <a:pt x="2652804" y="1777772"/>
                  <a:pt x="2653471" y="1776047"/>
                </a:cubicBezTo>
                <a:cubicBezTo>
                  <a:pt x="2654002" y="1774449"/>
                  <a:pt x="2654401" y="1772588"/>
                  <a:pt x="2654401" y="1770584"/>
                </a:cubicBezTo>
                <a:cubicBezTo>
                  <a:pt x="2654401" y="1768720"/>
                  <a:pt x="2654136" y="1766997"/>
                  <a:pt x="2653471" y="1765399"/>
                </a:cubicBezTo>
                <a:cubicBezTo>
                  <a:pt x="2652804" y="1763793"/>
                  <a:pt x="2651873" y="1762469"/>
                  <a:pt x="2650808" y="1761271"/>
                </a:cubicBezTo>
                <a:cubicBezTo>
                  <a:pt x="2649742" y="1760205"/>
                  <a:pt x="2648411" y="1759407"/>
                  <a:pt x="2646815" y="1758610"/>
                </a:cubicBezTo>
                <a:cubicBezTo>
                  <a:pt x="2645349" y="1757942"/>
                  <a:pt x="2643752" y="1757670"/>
                  <a:pt x="2641755" y="1757670"/>
                </a:cubicBezTo>
                <a:close/>
                <a:moveTo>
                  <a:pt x="2424105" y="1757670"/>
                </a:moveTo>
                <a:cubicBezTo>
                  <a:pt x="2418248" y="1757670"/>
                  <a:pt x="2415719" y="1759665"/>
                  <a:pt x="2414122" y="1761271"/>
                </a:cubicBezTo>
                <a:cubicBezTo>
                  <a:pt x="2411591" y="1763934"/>
                  <a:pt x="2410527" y="1766725"/>
                  <a:pt x="2410527" y="1770725"/>
                </a:cubicBezTo>
                <a:cubicBezTo>
                  <a:pt x="2410527" y="1774853"/>
                  <a:pt x="2411591" y="1777642"/>
                  <a:pt x="2414122" y="1780175"/>
                </a:cubicBezTo>
                <a:cubicBezTo>
                  <a:pt x="2415719" y="1781764"/>
                  <a:pt x="2418248" y="1783629"/>
                  <a:pt x="2424105" y="1783629"/>
                </a:cubicBezTo>
                <a:cubicBezTo>
                  <a:pt x="2426235" y="1783629"/>
                  <a:pt x="2427966" y="1783231"/>
                  <a:pt x="2429430" y="1782708"/>
                </a:cubicBezTo>
                <a:cubicBezTo>
                  <a:pt x="2431028" y="1782170"/>
                  <a:pt x="2432226" y="1781365"/>
                  <a:pt x="2433157" y="1780304"/>
                </a:cubicBezTo>
                <a:cubicBezTo>
                  <a:pt x="2434222" y="1779105"/>
                  <a:pt x="2435154" y="1777772"/>
                  <a:pt x="2435820" y="1776047"/>
                </a:cubicBezTo>
                <a:cubicBezTo>
                  <a:pt x="2436352" y="1774449"/>
                  <a:pt x="2436751" y="1772588"/>
                  <a:pt x="2436751" y="1770584"/>
                </a:cubicBezTo>
                <a:cubicBezTo>
                  <a:pt x="2436751" y="1768720"/>
                  <a:pt x="2436485" y="1766997"/>
                  <a:pt x="2435820" y="1765399"/>
                </a:cubicBezTo>
                <a:cubicBezTo>
                  <a:pt x="2435154" y="1763793"/>
                  <a:pt x="2434222" y="1762469"/>
                  <a:pt x="2433157" y="1761271"/>
                </a:cubicBezTo>
                <a:cubicBezTo>
                  <a:pt x="2432093" y="1760205"/>
                  <a:pt x="2430761" y="1759407"/>
                  <a:pt x="2429164" y="1758610"/>
                </a:cubicBezTo>
                <a:cubicBezTo>
                  <a:pt x="2427700" y="1757942"/>
                  <a:pt x="2426102" y="1757670"/>
                  <a:pt x="2424105" y="1757670"/>
                </a:cubicBezTo>
                <a:close/>
                <a:moveTo>
                  <a:pt x="2206455" y="1757670"/>
                </a:moveTo>
                <a:cubicBezTo>
                  <a:pt x="2200598" y="1757670"/>
                  <a:pt x="2198069" y="1759665"/>
                  <a:pt x="2196471" y="1761271"/>
                </a:cubicBezTo>
                <a:cubicBezTo>
                  <a:pt x="2193942" y="1763934"/>
                  <a:pt x="2192877" y="1766725"/>
                  <a:pt x="2192877" y="1770725"/>
                </a:cubicBezTo>
                <a:cubicBezTo>
                  <a:pt x="2192877" y="1774853"/>
                  <a:pt x="2193942" y="1777642"/>
                  <a:pt x="2196471" y="1780175"/>
                </a:cubicBezTo>
                <a:cubicBezTo>
                  <a:pt x="2198069" y="1781764"/>
                  <a:pt x="2200598" y="1783629"/>
                  <a:pt x="2206455" y="1783629"/>
                </a:cubicBezTo>
                <a:cubicBezTo>
                  <a:pt x="2208584" y="1783629"/>
                  <a:pt x="2210316" y="1783231"/>
                  <a:pt x="2211780" y="1782708"/>
                </a:cubicBezTo>
                <a:cubicBezTo>
                  <a:pt x="2213377" y="1782170"/>
                  <a:pt x="2214575" y="1781365"/>
                  <a:pt x="2215507" y="1780304"/>
                </a:cubicBezTo>
                <a:cubicBezTo>
                  <a:pt x="2216572" y="1779105"/>
                  <a:pt x="2217504" y="1777772"/>
                  <a:pt x="2218170" y="1776047"/>
                </a:cubicBezTo>
                <a:cubicBezTo>
                  <a:pt x="2218702" y="1774449"/>
                  <a:pt x="2219101" y="1772588"/>
                  <a:pt x="2219101" y="1770584"/>
                </a:cubicBezTo>
                <a:cubicBezTo>
                  <a:pt x="2219101" y="1768720"/>
                  <a:pt x="2218835" y="1766997"/>
                  <a:pt x="2218170" y="1765399"/>
                </a:cubicBezTo>
                <a:cubicBezTo>
                  <a:pt x="2217504" y="1763793"/>
                  <a:pt x="2216572" y="1762469"/>
                  <a:pt x="2215507" y="1761271"/>
                </a:cubicBezTo>
                <a:cubicBezTo>
                  <a:pt x="2214442" y="1760205"/>
                  <a:pt x="2213111" y="1759407"/>
                  <a:pt x="2211514" y="1758610"/>
                </a:cubicBezTo>
                <a:cubicBezTo>
                  <a:pt x="2210049" y="1757942"/>
                  <a:pt x="2208452" y="1757670"/>
                  <a:pt x="2206455" y="1757670"/>
                </a:cubicBezTo>
                <a:close/>
                <a:moveTo>
                  <a:pt x="1988937" y="1757670"/>
                </a:moveTo>
                <a:cubicBezTo>
                  <a:pt x="1983080" y="1757670"/>
                  <a:pt x="1980551" y="1759665"/>
                  <a:pt x="1978954" y="1761271"/>
                </a:cubicBezTo>
                <a:cubicBezTo>
                  <a:pt x="1976424" y="1763934"/>
                  <a:pt x="1975360" y="1766725"/>
                  <a:pt x="1975360" y="1770725"/>
                </a:cubicBezTo>
                <a:cubicBezTo>
                  <a:pt x="1975360" y="1774853"/>
                  <a:pt x="1976424" y="1777642"/>
                  <a:pt x="1978954" y="1780175"/>
                </a:cubicBezTo>
                <a:cubicBezTo>
                  <a:pt x="1980551" y="1781764"/>
                  <a:pt x="1983080" y="1783629"/>
                  <a:pt x="1988937" y="1783629"/>
                </a:cubicBezTo>
                <a:cubicBezTo>
                  <a:pt x="1990934" y="1783629"/>
                  <a:pt x="1992666" y="1783231"/>
                  <a:pt x="1994262" y="1782708"/>
                </a:cubicBezTo>
                <a:cubicBezTo>
                  <a:pt x="1995860" y="1782170"/>
                  <a:pt x="1997059" y="1781365"/>
                  <a:pt x="1997990" y="1780304"/>
                </a:cubicBezTo>
                <a:cubicBezTo>
                  <a:pt x="1999054" y="1779105"/>
                  <a:pt x="1999987" y="1777772"/>
                  <a:pt x="2000653" y="1776047"/>
                </a:cubicBezTo>
                <a:cubicBezTo>
                  <a:pt x="2001184" y="1774449"/>
                  <a:pt x="2001583" y="1772588"/>
                  <a:pt x="2001583" y="1770584"/>
                </a:cubicBezTo>
                <a:cubicBezTo>
                  <a:pt x="2001583" y="1768720"/>
                  <a:pt x="2001318" y="1766997"/>
                  <a:pt x="2000653" y="1765399"/>
                </a:cubicBezTo>
                <a:cubicBezTo>
                  <a:pt x="1999987" y="1763793"/>
                  <a:pt x="1999054" y="1762469"/>
                  <a:pt x="1997990" y="1761271"/>
                </a:cubicBezTo>
                <a:cubicBezTo>
                  <a:pt x="1996925" y="1760205"/>
                  <a:pt x="1995593" y="1759407"/>
                  <a:pt x="1993996" y="1758610"/>
                </a:cubicBezTo>
                <a:cubicBezTo>
                  <a:pt x="1992532" y="1757942"/>
                  <a:pt x="1990934" y="1757670"/>
                  <a:pt x="1988937" y="1757670"/>
                </a:cubicBezTo>
                <a:close/>
                <a:moveTo>
                  <a:pt x="1771296" y="1757670"/>
                </a:moveTo>
                <a:cubicBezTo>
                  <a:pt x="1765439" y="1757670"/>
                  <a:pt x="1762910" y="1759665"/>
                  <a:pt x="1761313" y="1761271"/>
                </a:cubicBezTo>
                <a:cubicBezTo>
                  <a:pt x="1758784" y="1763934"/>
                  <a:pt x="1757719" y="1766725"/>
                  <a:pt x="1757719" y="1770725"/>
                </a:cubicBezTo>
                <a:cubicBezTo>
                  <a:pt x="1757719" y="1774853"/>
                  <a:pt x="1758784" y="1777642"/>
                  <a:pt x="1761313" y="1780175"/>
                </a:cubicBezTo>
                <a:cubicBezTo>
                  <a:pt x="1762910" y="1781764"/>
                  <a:pt x="1765439" y="1783629"/>
                  <a:pt x="1771296" y="1783629"/>
                </a:cubicBezTo>
                <a:cubicBezTo>
                  <a:pt x="1773294" y="1783629"/>
                  <a:pt x="1775157" y="1783231"/>
                  <a:pt x="1776621" y="1782708"/>
                </a:cubicBezTo>
                <a:cubicBezTo>
                  <a:pt x="1778085" y="1782170"/>
                  <a:pt x="1779416" y="1781365"/>
                  <a:pt x="1780348" y="1780304"/>
                </a:cubicBezTo>
                <a:cubicBezTo>
                  <a:pt x="1781413" y="1779105"/>
                  <a:pt x="1782345" y="1777772"/>
                  <a:pt x="1783011" y="1776047"/>
                </a:cubicBezTo>
                <a:cubicBezTo>
                  <a:pt x="1783676" y="1774449"/>
                  <a:pt x="1784076" y="1772588"/>
                  <a:pt x="1784076" y="1770584"/>
                </a:cubicBezTo>
                <a:cubicBezTo>
                  <a:pt x="1784076" y="1768720"/>
                  <a:pt x="1783676" y="1766997"/>
                  <a:pt x="1783011" y="1765399"/>
                </a:cubicBezTo>
                <a:cubicBezTo>
                  <a:pt x="1782345" y="1763793"/>
                  <a:pt x="1781413" y="1762469"/>
                  <a:pt x="1780348" y="1761271"/>
                </a:cubicBezTo>
                <a:cubicBezTo>
                  <a:pt x="1779283" y="1760205"/>
                  <a:pt x="1777952" y="1759407"/>
                  <a:pt x="1776355" y="1758610"/>
                </a:cubicBezTo>
                <a:cubicBezTo>
                  <a:pt x="1774890" y="1757942"/>
                  <a:pt x="1773294" y="1757670"/>
                  <a:pt x="1771296" y="1757670"/>
                </a:cubicBezTo>
                <a:close/>
                <a:moveTo>
                  <a:pt x="1553653" y="1757670"/>
                </a:moveTo>
                <a:cubicBezTo>
                  <a:pt x="1547796" y="1757670"/>
                  <a:pt x="1545267" y="1759665"/>
                  <a:pt x="1543670" y="1761271"/>
                </a:cubicBezTo>
                <a:cubicBezTo>
                  <a:pt x="1541140" y="1763934"/>
                  <a:pt x="1540076" y="1766725"/>
                  <a:pt x="1540076" y="1770725"/>
                </a:cubicBezTo>
                <a:cubicBezTo>
                  <a:pt x="1540076" y="1774853"/>
                  <a:pt x="1541140" y="1777642"/>
                  <a:pt x="1543670" y="1780175"/>
                </a:cubicBezTo>
                <a:cubicBezTo>
                  <a:pt x="1545267" y="1781764"/>
                  <a:pt x="1547796" y="1783629"/>
                  <a:pt x="1553653" y="1783629"/>
                </a:cubicBezTo>
                <a:cubicBezTo>
                  <a:pt x="1555650" y="1783629"/>
                  <a:pt x="1557514" y="1783231"/>
                  <a:pt x="1558978" y="1782708"/>
                </a:cubicBezTo>
                <a:cubicBezTo>
                  <a:pt x="1560442" y="1782170"/>
                  <a:pt x="1561774" y="1781365"/>
                  <a:pt x="1562705" y="1780304"/>
                </a:cubicBezTo>
                <a:cubicBezTo>
                  <a:pt x="1563770" y="1779105"/>
                  <a:pt x="1564702" y="1777772"/>
                  <a:pt x="1565368" y="1776047"/>
                </a:cubicBezTo>
                <a:cubicBezTo>
                  <a:pt x="1566033" y="1774449"/>
                  <a:pt x="1566433" y="1772588"/>
                  <a:pt x="1566433" y="1770584"/>
                </a:cubicBezTo>
                <a:cubicBezTo>
                  <a:pt x="1566433" y="1768720"/>
                  <a:pt x="1566033" y="1766997"/>
                  <a:pt x="1565368" y="1765399"/>
                </a:cubicBezTo>
                <a:cubicBezTo>
                  <a:pt x="1564702" y="1763793"/>
                  <a:pt x="1563770" y="1762469"/>
                  <a:pt x="1562705" y="1761271"/>
                </a:cubicBezTo>
                <a:cubicBezTo>
                  <a:pt x="1561640" y="1760205"/>
                  <a:pt x="1560310" y="1759407"/>
                  <a:pt x="1558712" y="1758610"/>
                </a:cubicBezTo>
                <a:cubicBezTo>
                  <a:pt x="1557248" y="1757942"/>
                  <a:pt x="1555650" y="1757670"/>
                  <a:pt x="1553653" y="1757670"/>
                </a:cubicBezTo>
                <a:close/>
                <a:moveTo>
                  <a:pt x="1336008" y="1757670"/>
                </a:moveTo>
                <a:cubicBezTo>
                  <a:pt x="1330151" y="1757670"/>
                  <a:pt x="1327622" y="1759665"/>
                  <a:pt x="1326026" y="1761271"/>
                </a:cubicBezTo>
                <a:cubicBezTo>
                  <a:pt x="1323495" y="1763934"/>
                  <a:pt x="1322431" y="1766725"/>
                  <a:pt x="1322431" y="1770725"/>
                </a:cubicBezTo>
                <a:cubicBezTo>
                  <a:pt x="1322431" y="1774853"/>
                  <a:pt x="1323495" y="1777642"/>
                  <a:pt x="1326026" y="1780175"/>
                </a:cubicBezTo>
                <a:cubicBezTo>
                  <a:pt x="1327622" y="1781764"/>
                  <a:pt x="1330151" y="1783629"/>
                  <a:pt x="1336008" y="1783629"/>
                </a:cubicBezTo>
                <a:cubicBezTo>
                  <a:pt x="1338139" y="1783629"/>
                  <a:pt x="1339869" y="1783231"/>
                  <a:pt x="1341335" y="1782708"/>
                </a:cubicBezTo>
                <a:cubicBezTo>
                  <a:pt x="1342798" y="1782170"/>
                  <a:pt x="1344129" y="1781365"/>
                  <a:pt x="1345061" y="1780304"/>
                </a:cubicBezTo>
                <a:cubicBezTo>
                  <a:pt x="1346126" y="1779105"/>
                  <a:pt x="1347059" y="1777772"/>
                  <a:pt x="1347724" y="1776047"/>
                </a:cubicBezTo>
                <a:cubicBezTo>
                  <a:pt x="1348389" y="1774449"/>
                  <a:pt x="1348790" y="1772588"/>
                  <a:pt x="1348790" y="1770584"/>
                </a:cubicBezTo>
                <a:cubicBezTo>
                  <a:pt x="1348790" y="1768720"/>
                  <a:pt x="1348389" y="1766997"/>
                  <a:pt x="1347724" y="1765399"/>
                </a:cubicBezTo>
                <a:cubicBezTo>
                  <a:pt x="1347059" y="1763793"/>
                  <a:pt x="1346126" y="1762469"/>
                  <a:pt x="1345061" y="1761271"/>
                </a:cubicBezTo>
                <a:cubicBezTo>
                  <a:pt x="1343997" y="1760205"/>
                  <a:pt x="1342666" y="1759407"/>
                  <a:pt x="1341068" y="1758610"/>
                </a:cubicBezTo>
                <a:cubicBezTo>
                  <a:pt x="1339604" y="1757942"/>
                  <a:pt x="1338005" y="1757670"/>
                  <a:pt x="1336008" y="1757670"/>
                </a:cubicBezTo>
                <a:close/>
                <a:moveTo>
                  <a:pt x="1118497" y="1757670"/>
                </a:moveTo>
                <a:cubicBezTo>
                  <a:pt x="1112639" y="1757670"/>
                  <a:pt x="1110110" y="1759665"/>
                  <a:pt x="1108513" y="1761271"/>
                </a:cubicBezTo>
                <a:cubicBezTo>
                  <a:pt x="1105850" y="1763934"/>
                  <a:pt x="1104786" y="1766725"/>
                  <a:pt x="1104786" y="1770725"/>
                </a:cubicBezTo>
                <a:cubicBezTo>
                  <a:pt x="1104786" y="1774853"/>
                  <a:pt x="1105850" y="1777642"/>
                  <a:pt x="1108380" y="1780175"/>
                </a:cubicBezTo>
                <a:cubicBezTo>
                  <a:pt x="1109977" y="1781764"/>
                  <a:pt x="1112506" y="1783629"/>
                  <a:pt x="1118364" y="1783629"/>
                </a:cubicBezTo>
                <a:cubicBezTo>
                  <a:pt x="1120494" y="1783629"/>
                  <a:pt x="1122225" y="1783231"/>
                  <a:pt x="1123822" y="1782708"/>
                </a:cubicBezTo>
                <a:cubicBezTo>
                  <a:pt x="1125286" y="1782170"/>
                  <a:pt x="1126619" y="1781365"/>
                  <a:pt x="1127549" y="1780304"/>
                </a:cubicBezTo>
                <a:cubicBezTo>
                  <a:pt x="1128614" y="1779105"/>
                  <a:pt x="1129546" y="1777772"/>
                  <a:pt x="1130213" y="1776047"/>
                </a:cubicBezTo>
                <a:cubicBezTo>
                  <a:pt x="1130877" y="1774449"/>
                  <a:pt x="1131278" y="1772588"/>
                  <a:pt x="1131278" y="1770584"/>
                </a:cubicBezTo>
                <a:cubicBezTo>
                  <a:pt x="1131278" y="1768720"/>
                  <a:pt x="1130877" y="1766997"/>
                  <a:pt x="1130213" y="1765399"/>
                </a:cubicBezTo>
                <a:cubicBezTo>
                  <a:pt x="1129546" y="1763793"/>
                  <a:pt x="1128614" y="1762469"/>
                  <a:pt x="1127549" y="1761271"/>
                </a:cubicBezTo>
                <a:cubicBezTo>
                  <a:pt x="1126484" y="1760205"/>
                  <a:pt x="1125154" y="1759407"/>
                  <a:pt x="1123555" y="1758610"/>
                </a:cubicBezTo>
                <a:cubicBezTo>
                  <a:pt x="1122093" y="1757942"/>
                  <a:pt x="1120494" y="1757670"/>
                  <a:pt x="1118497" y="1757670"/>
                </a:cubicBezTo>
                <a:close/>
                <a:moveTo>
                  <a:pt x="900986" y="1757670"/>
                </a:moveTo>
                <a:cubicBezTo>
                  <a:pt x="895128" y="1757670"/>
                  <a:pt x="892598" y="1759665"/>
                  <a:pt x="891001" y="1761271"/>
                </a:cubicBezTo>
                <a:cubicBezTo>
                  <a:pt x="888338" y="1763934"/>
                  <a:pt x="887275" y="1766725"/>
                  <a:pt x="887275" y="1770725"/>
                </a:cubicBezTo>
                <a:cubicBezTo>
                  <a:pt x="887275" y="1774853"/>
                  <a:pt x="888338" y="1777642"/>
                  <a:pt x="890869" y="1780175"/>
                </a:cubicBezTo>
                <a:cubicBezTo>
                  <a:pt x="892466" y="1781764"/>
                  <a:pt x="894995" y="1783629"/>
                  <a:pt x="900852" y="1783629"/>
                </a:cubicBezTo>
                <a:cubicBezTo>
                  <a:pt x="902849" y="1783629"/>
                  <a:pt x="904580" y="1783231"/>
                  <a:pt x="906310" y="1782708"/>
                </a:cubicBezTo>
                <a:cubicBezTo>
                  <a:pt x="907774" y="1782170"/>
                  <a:pt x="909106" y="1781365"/>
                  <a:pt x="910038" y="1780304"/>
                </a:cubicBezTo>
                <a:cubicBezTo>
                  <a:pt x="911102" y="1779105"/>
                  <a:pt x="912034" y="1777772"/>
                  <a:pt x="912700" y="1776047"/>
                </a:cubicBezTo>
                <a:cubicBezTo>
                  <a:pt x="913365" y="1774449"/>
                  <a:pt x="913765" y="1772588"/>
                  <a:pt x="913765" y="1770584"/>
                </a:cubicBezTo>
                <a:cubicBezTo>
                  <a:pt x="913765" y="1768720"/>
                  <a:pt x="913365" y="1766997"/>
                  <a:pt x="912700" y="1765399"/>
                </a:cubicBezTo>
                <a:cubicBezTo>
                  <a:pt x="912034" y="1763793"/>
                  <a:pt x="911102" y="1762469"/>
                  <a:pt x="910038" y="1761271"/>
                </a:cubicBezTo>
                <a:cubicBezTo>
                  <a:pt x="908973" y="1760205"/>
                  <a:pt x="907641" y="1759407"/>
                  <a:pt x="906044" y="1758610"/>
                </a:cubicBezTo>
                <a:cubicBezTo>
                  <a:pt x="904580" y="1757942"/>
                  <a:pt x="902982" y="1757670"/>
                  <a:pt x="900986" y="1757670"/>
                </a:cubicBezTo>
                <a:close/>
                <a:moveTo>
                  <a:pt x="683208" y="1757670"/>
                </a:moveTo>
                <a:cubicBezTo>
                  <a:pt x="677351" y="1757670"/>
                  <a:pt x="674822" y="1759665"/>
                  <a:pt x="673225" y="1761271"/>
                </a:cubicBezTo>
                <a:cubicBezTo>
                  <a:pt x="670695" y="1763934"/>
                  <a:pt x="669631" y="1766725"/>
                  <a:pt x="669631" y="1770725"/>
                </a:cubicBezTo>
                <a:cubicBezTo>
                  <a:pt x="669631" y="1774853"/>
                  <a:pt x="670695" y="1777642"/>
                  <a:pt x="673225" y="1780175"/>
                </a:cubicBezTo>
                <a:cubicBezTo>
                  <a:pt x="674822" y="1781764"/>
                  <a:pt x="677351" y="1783629"/>
                  <a:pt x="683208" y="1783629"/>
                </a:cubicBezTo>
                <a:cubicBezTo>
                  <a:pt x="685205" y="1783629"/>
                  <a:pt x="687069" y="1783231"/>
                  <a:pt x="688534" y="1782708"/>
                </a:cubicBezTo>
                <a:cubicBezTo>
                  <a:pt x="689998" y="1782170"/>
                  <a:pt x="691329" y="1781365"/>
                  <a:pt x="692260" y="1780304"/>
                </a:cubicBezTo>
                <a:cubicBezTo>
                  <a:pt x="693325" y="1779105"/>
                  <a:pt x="694257" y="1777772"/>
                  <a:pt x="694924" y="1776047"/>
                </a:cubicBezTo>
                <a:cubicBezTo>
                  <a:pt x="695589" y="1774449"/>
                  <a:pt x="695989" y="1772588"/>
                  <a:pt x="695989" y="1770584"/>
                </a:cubicBezTo>
                <a:cubicBezTo>
                  <a:pt x="695989" y="1768720"/>
                  <a:pt x="695589" y="1766997"/>
                  <a:pt x="694924" y="1765399"/>
                </a:cubicBezTo>
                <a:cubicBezTo>
                  <a:pt x="694257" y="1763793"/>
                  <a:pt x="693325" y="1762469"/>
                  <a:pt x="692260" y="1761271"/>
                </a:cubicBezTo>
                <a:cubicBezTo>
                  <a:pt x="691195" y="1760205"/>
                  <a:pt x="689865" y="1759407"/>
                  <a:pt x="688267" y="1758610"/>
                </a:cubicBezTo>
                <a:cubicBezTo>
                  <a:pt x="686803" y="1757942"/>
                  <a:pt x="685205" y="1757670"/>
                  <a:pt x="683208" y="1757670"/>
                </a:cubicBezTo>
                <a:close/>
                <a:moveTo>
                  <a:pt x="465565" y="1757670"/>
                </a:moveTo>
                <a:cubicBezTo>
                  <a:pt x="459708" y="1757670"/>
                  <a:pt x="457179" y="1759665"/>
                  <a:pt x="455582" y="1761271"/>
                </a:cubicBezTo>
                <a:cubicBezTo>
                  <a:pt x="453051" y="1763934"/>
                  <a:pt x="451988" y="1766725"/>
                  <a:pt x="451988" y="1770725"/>
                </a:cubicBezTo>
                <a:cubicBezTo>
                  <a:pt x="451988" y="1774853"/>
                  <a:pt x="453051" y="1777642"/>
                  <a:pt x="455582" y="1780175"/>
                </a:cubicBezTo>
                <a:cubicBezTo>
                  <a:pt x="457179" y="1781764"/>
                  <a:pt x="459708" y="1783629"/>
                  <a:pt x="465565" y="1783629"/>
                </a:cubicBezTo>
                <a:cubicBezTo>
                  <a:pt x="467562" y="1783629"/>
                  <a:pt x="469426" y="1783231"/>
                  <a:pt x="470890" y="1782708"/>
                </a:cubicBezTo>
                <a:cubicBezTo>
                  <a:pt x="472354" y="1782170"/>
                  <a:pt x="473685" y="1781365"/>
                  <a:pt x="474617" y="1780304"/>
                </a:cubicBezTo>
                <a:cubicBezTo>
                  <a:pt x="475682" y="1779105"/>
                  <a:pt x="476614" y="1777772"/>
                  <a:pt x="477280" y="1776047"/>
                </a:cubicBezTo>
                <a:cubicBezTo>
                  <a:pt x="477945" y="1774449"/>
                  <a:pt x="478345" y="1772588"/>
                  <a:pt x="478345" y="1770584"/>
                </a:cubicBezTo>
                <a:cubicBezTo>
                  <a:pt x="478345" y="1768720"/>
                  <a:pt x="477945" y="1766997"/>
                  <a:pt x="477280" y="1765399"/>
                </a:cubicBezTo>
                <a:cubicBezTo>
                  <a:pt x="476614" y="1763793"/>
                  <a:pt x="475682" y="1762469"/>
                  <a:pt x="474617" y="1761271"/>
                </a:cubicBezTo>
                <a:cubicBezTo>
                  <a:pt x="473552" y="1760205"/>
                  <a:pt x="472221" y="1759407"/>
                  <a:pt x="470624" y="1758610"/>
                </a:cubicBezTo>
                <a:cubicBezTo>
                  <a:pt x="469160" y="1757942"/>
                  <a:pt x="467562" y="1757670"/>
                  <a:pt x="465565" y="1757670"/>
                </a:cubicBezTo>
                <a:close/>
                <a:moveTo>
                  <a:pt x="247921" y="1757670"/>
                </a:moveTo>
                <a:cubicBezTo>
                  <a:pt x="242064" y="1757670"/>
                  <a:pt x="239535" y="1759665"/>
                  <a:pt x="237938" y="1761271"/>
                </a:cubicBezTo>
                <a:cubicBezTo>
                  <a:pt x="235408" y="1763934"/>
                  <a:pt x="234344" y="1766725"/>
                  <a:pt x="234344" y="1770725"/>
                </a:cubicBezTo>
                <a:cubicBezTo>
                  <a:pt x="234344" y="1774853"/>
                  <a:pt x="235408" y="1777642"/>
                  <a:pt x="237938" y="1780175"/>
                </a:cubicBezTo>
                <a:cubicBezTo>
                  <a:pt x="239535" y="1781764"/>
                  <a:pt x="242064" y="1783629"/>
                  <a:pt x="247921" y="1783629"/>
                </a:cubicBezTo>
                <a:cubicBezTo>
                  <a:pt x="250051" y="1783629"/>
                  <a:pt x="251782" y="1783231"/>
                  <a:pt x="253246" y="1782708"/>
                </a:cubicBezTo>
                <a:cubicBezTo>
                  <a:pt x="254710" y="1782170"/>
                  <a:pt x="256041" y="1781365"/>
                  <a:pt x="256973" y="1780304"/>
                </a:cubicBezTo>
                <a:cubicBezTo>
                  <a:pt x="258038" y="1779105"/>
                  <a:pt x="258970" y="1777772"/>
                  <a:pt x="259636" y="1776047"/>
                </a:cubicBezTo>
                <a:cubicBezTo>
                  <a:pt x="260301" y="1774449"/>
                  <a:pt x="260701" y="1772588"/>
                  <a:pt x="260701" y="1770584"/>
                </a:cubicBezTo>
                <a:cubicBezTo>
                  <a:pt x="260701" y="1768720"/>
                  <a:pt x="260301" y="1766997"/>
                  <a:pt x="259636" y="1765399"/>
                </a:cubicBezTo>
                <a:cubicBezTo>
                  <a:pt x="258970" y="1763793"/>
                  <a:pt x="258038" y="1762469"/>
                  <a:pt x="256973" y="1761271"/>
                </a:cubicBezTo>
                <a:cubicBezTo>
                  <a:pt x="255908" y="1760205"/>
                  <a:pt x="254577" y="1759407"/>
                  <a:pt x="252980" y="1758610"/>
                </a:cubicBezTo>
                <a:cubicBezTo>
                  <a:pt x="251515" y="1757942"/>
                  <a:pt x="249918" y="1757670"/>
                  <a:pt x="247921" y="1757670"/>
                </a:cubicBezTo>
                <a:close/>
                <a:moveTo>
                  <a:pt x="30277" y="1757670"/>
                </a:moveTo>
                <a:cubicBezTo>
                  <a:pt x="24420" y="1757670"/>
                  <a:pt x="21891" y="1759665"/>
                  <a:pt x="20294" y="1761271"/>
                </a:cubicBezTo>
                <a:cubicBezTo>
                  <a:pt x="17764" y="1763934"/>
                  <a:pt x="16700" y="1766725"/>
                  <a:pt x="16700" y="1770725"/>
                </a:cubicBezTo>
                <a:cubicBezTo>
                  <a:pt x="16700" y="1774853"/>
                  <a:pt x="17764" y="1777642"/>
                  <a:pt x="20294" y="1780175"/>
                </a:cubicBezTo>
                <a:cubicBezTo>
                  <a:pt x="21891" y="1781764"/>
                  <a:pt x="24420" y="1783629"/>
                  <a:pt x="30277" y="1783629"/>
                </a:cubicBezTo>
                <a:cubicBezTo>
                  <a:pt x="32407" y="1783629"/>
                  <a:pt x="34138" y="1783231"/>
                  <a:pt x="35602" y="1782708"/>
                </a:cubicBezTo>
                <a:cubicBezTo>
                  <a:pt x="37066" y="1782170"/>
                  <a:pt x="38398" y="1781365"/>
                  <a:pt x="39329" y="1780304"/>
                </a:cubicBezTo>
                <a:cubicBezTo>
                  <a:pt x="40395" y="1779105"/>
                  <a:pt x="41326" y="1777772"/>
                  <a:pt x="41993" y="1776047"/>
                </a:cubicBezTo>
                <a:cubicBezTo>
                  <a:pt x="42658" y="1774449"/>
                  <a:pt x="42923" y="1772588"/>
                  <a:pt x="42923" y="1770584"/>
                </a:cubicBezTo>
                <a:cubicBezTo>
                  <a:pt x="42923" y="1768720"/>
                  <a:pt x="42658" y="1766997"/>
                  <a:pt x="41993" y="1765399"/>
                </a:cubicBezTo>
                <a:cubicBezTo>
                  <a:pt x="41326" y="1763793"/>
                  <a:pt x="40395" y="1762469"/>
                  <a:pt x="39329" y="1761271"/>
                </a:cubicBezTo>
                <a:cubicBezTo>
                  <a:pt x="38264" y="1760205"/>
                  <a:pt x="36933" y="1759407"/>
                  <a:pt x="35336" y="1758610"/>
                </a:cubicBezTo>
                <a:cubicBezTo>
                  <a:pt x="33872" y="1757942"/>
                  <a:pt x="32274" y="1757670"/>
                  <a:pt x="30277" y="1757670"/>
                </a:cubicBezTo>
                <a:close/>
                <a:moveTo>
                  <a:pt x="10475977" y="1740905"/>
                </a:moveTo>
                <a:cubicBezTo>
                  <a:pt x="10480237" y="1740905"/>
                  <a:pt x="10484230" y="1741701"/>
                  <a:pt x="10487824" y="1743568"/>
                </a:cubicBezTo>
                <a:cubicBezTo>
                  <a:pt x="10491419" y="1745163"/>
                  <a:pt x="10494613" y="1747294"/>
                  <a:pt x="10497143" y="1749955"/>
                </a:cubicBezTo>
                <a:cubicBezTo>
                  <a:pt x="10499672" y="1752479"/>
                  <a:pt x="10501801" y="1755679"/>
                  <a:pt x="10503266" y="1759266"/>
                </a:cubicBezTo>
                <a:cubicBezTo>
                  <a:pt x="10504730" y="1762869"/>
                  <a:pt x="10505529" y="1766725"/>
                  <a:pt x="10505529" y="1770725"/>
                </a:cubicBezTo>
                <a:cubicBezTo>
                  <a:pt x="10505529" y="1774853"/>
                  <a:pt x="10504730" y="1778840"/>
                  <a:pt x="10503266" y="1782434"/>
                </a:cubicBezTo>
                <a:cubicBezTo>
                  <a:pt x="10501669" y="1786026"/>
                  <a:pt x="10499672" y="1789092"/>
                  <a:pt x="10497143" y="1791754"/>
                </a:cubicBezTo>
                <a:cubicBezTo>
                  <a:pt x="10494480" y="1794418"/>
                  <a:pt x="10491419" y="1796542"/>
                  <a:pt x="10487824" y="1798008"/>
                </a:cubicBezTo>
                <a:cubicBezTo>
                  <a:pt x="10484098" y="1799470"/>
                  <a:pt x="10480237" y="1800269"/>
                  <a:pt x="10475977" y="1800269"/>
                </a:cubicBezTo>
                <a:cubicBezTo>
                  <a:pt x="10466924" y="1800269"/>
                  <a:pt x="10459736" y="1797340"/>
                  <a:pt x="10454145" y="1791754"/>
                </a:cubicBezTo>
                <a:cubicBezTo>
                  <a:pt x="10448554" y="1786162"/>
                  <a:pt x="10445759" y="1779105"/>
                  <a:pt x="10445759" y="1770584"/>
                </a:cubicBezTo>
                <a:cubicBezTo>
                  <a:pt x="10445759" y="1762330"/>
                  <a:pt x="10448554" y="1755281"/>
                  <a:pt x="10454145" y="1749560"/>
                </a:cubicBezTo>
                <a:cubicBezTo>
                  <a:pt x="10459603" y="1743829"/>
                  <a:pt x="10466924" y="1740905"/>
                  <a:pt x="10475977" y="1740905"/>
                </a:cubicBezTo>
                <a:close/>
                <a:moveTo>
                  <a:pt x="10258466" y="1740905"/>
                </a:moveTo>
                <a:cubicBezTo>
                  <a:pt x="10262592" y="1740905"/>
                  <a:pt x="10266586" y="1741701"/>
                  <a:pt x="10270313" y="1743568"/>
                </a:cubicBezTo>
                <a:cubicBezTo>
                  <a:pt x="10273907" y="1745164"/>
                  <a:pt x="10277101" y="1747294"/>
                  <a:pt x="10279631" y="1749955"/>
                </a:cubicBezTo>
                <a:cubicBezTo>
                  <a:pt x="10282160" y="1752479"/>
                  <a:pt x="10284290" y="1755679"/>
                  <a:pt x="10285754" y="1759266"/>
                </a:cubicBezTo>
                <a:cubicBezTo>
                  <a:pt x="10287218" y="1762869"/>
                  <a:pt x="10288017" y="1766725"/>
                  <a:pt x="10288017" y="1770725"/>
                </a:cubicBezTo>
                <a:cubicBezTo>
                  <a:pt x="10288017" y="1774853"/>
                  <a:pt x="10287218" y="1778840"/>
                  <a:pt x="10285754" y="1782434"/>
                </a:cubicBezTo>
                <a:cubicBezTo>
                  <a:pt x="10284157" y="1786026"/>
                  <a:pt x="10282160" y="1789092"/>
                  <a:pt x="10279631" y="1791754"/>
                </a:cubicBezTo>
                <a:cubicBezTo>
                  <a:pt x="10276969" y="1794418"/>
                  <a:pt x="10273907" y="1796542"/>
                  <a:pt x="10270313" y="1798008"/>
                </a:cubicBezTo>
                <a:cubicBezTo>
                  <a:pt x="10266586" y="1799470"/>
                  <a:pt x="10262725" y="1800269"/>
                  <a:pt x="10258466" y="1800269"/>
                </a:cubicBezTo>
                <a:cubicBezTo>
                  <a:pt x="10249546" y="1800269"/>
                  <a:pt x="10242224" y="1797340"/>
                  <a:pt x="10236633" y="1791754"/>
                </a:cubicBezTo>
                <a:cubicBezTo>
                  <a:pt x="10231043" y="1786162"/>
                  <a:pt x="10228247" y="1779105"/>
                  <a:pt x="10228247" y="1770584"/>
                </a:cubicBezTo>
                <a:cubicBezTo>
                  <a:pt x="10228247" y="1762330"/>
                  <a:pt x="10231043" y="1755281"/>
                  <a:pt x="10236633" y="1749560"/>
                </a:cubicBezTo>
                <a:cubicBezTo>
                  <a:pt x="10242092" y="1743829"/>
                  <a:pt x="10249413" y="1740905"/>
                  <a:pt x="10258466" y="1740905"/>
                </a:cubicBezTo>
                <a:close/>
                <a:moveTo>
                  <a:pt x="10040820" y="1740905"/>
                </a:moveTo>
                <a:cubicBezTo>
                  <a:pt x="10045080" y="1740905"/>
                  <a:pt x="10048941" y="1741701"/>
                  <a:pt x="10052534" y="1743568"/>
                </a:cubicBezTo>
                <a:cubicBezTo>
                  <a:pt x="10056129" y="1745164"/>
                  <a:pt x="10059323" y="1747294"/>
                  <a:pt x="10061852" y="1749957"/>
                </a:cubicBezTo>
                <a:cubicBezTo>
                  <a:pt x="10064382" y="1752479"/>
                  <a:pt x="10066512" y="1755679"/>
                  <a:pt x="10067976" y="1759266"/>
                </a:cubicBezTo>
                <a:cubicBezTo>
                  <a:pt x="10069440" y="1762870"/>
                  <a:pt x="10070239" y="1766725"/>
                  <a:pt x="10070239" y="1770725"/>
                </a:cubicBezTo>
                <a:cubicBezTo>
                  <a:pt x="10070239" y="1774853"/>
                  <a:pt x="10069440" y="1778840"/>
                  <a:pt x="10067976" y="1782434"/>
                </a:cubicBezTo>
                <a:cubicBezTo>
                  <a:pt x="10066379" y="1786026"/>
                  <a:pt x="10064382" y="1789092"/>
                  <a:pt x="10061852" y="1791754"/>
                </a:cubicBezTo>
                <a:cubicBezTo>
                  <a:pt x="10059190" y="1794418"/>
                  <a:pt x="10056129" y="1796542"/>
                  <a:pt x="10052534" y="1798008"/>
                </a:cubicBezTo>
                <a:cubicBezTo>
                  <a:pt x="10048941" y="1799470"/>
                  <a:pt x="10045080" y="1800269"/>
                  <a:pt x="10040820" y="1800269"/>
                </a:cubicBezTo>
                <a:cubicBezTo>
                  <a:pt x="10031767" y="1800269"/>
                  <a:pt x="10024579" y="1797340"/>
                  <a:pt x="10018988" y="1791754"/>
                </a:cubicBezTo>
                <a:cubicBezTo>
                  <a:pt x="10013397" y="1786162"/>
                  <a:pt x="10010602" y="1779105"/>
                  <a:pt x="10010602" y="1770584"/>
                </a:cubicBezTo>
                <a:cubicBezTo>
                  <a:pt x="10010602" y="1762330"/>
                  <a:pt x="10013397" y="1755282"/>
                  <a:pt x="10018988" y="1749560"/>
                </a:cubicBezTo>
                <a:cubicBezTo>
                  <a:pt x="10024579" y="1743829"/>
                  <a:pt x="10031767" y="1740905"/>
                  <a:pt x="10040820" y="1740905"/>
                </a:cubicBezTo>
                <a:close/>
                <a:moveTo>
                  <a:pt x="9823176" y="1740905"/>
                </a:moveTo>
                <a:cubicBezTo>
                  <a:pt x="9827435" y="1740905"/>
                  <a:pt x="9831296" y="1741701"/>
                  <a:pt x="9834890" y="1743568"/>
                </a:cubicBezTo>
                <a:cubicBezTo>
                  <a:pt x="9838617" y="1745164"/>
                  <a:pt x="9841679" y="1747294"/>
                  <a:pt x="9844208" y="1749957"/>
                </a:cubicBezTo>
                <a:cubicBezTo>
                  <a:pt x="9846737" y="1752479"/>
                  <a:pt x="9848867" y="1755679"/>
                  <a:pt x="9850331" y="1759266"/>
                </a:cubicBezTo>
                <a:cubicBezTo>
                  <a:pt x="9851796" y="1762870"/>
                  <a:pt x="9852595" y="1766725"/>
                  <a:pt x="9852595" y="1770725"/>
                </a:cubicBezTo>
                <a:cubicBezTo>
                  <a:pt x="9852595" y="1774853"/>
                  <a:pt x="9851796" y="1778840"/>
                  <a:pt x="9850331" y="1782434"/>
                </a:cubicBezTo>
                <a:cubicBezTo>
                  <a:pt x="9848734" y="1786026"/>
                  <a:pt x="9846737" y="1789092"/>
                  <a:pt x="9844208" y="1791754"/>
                </a:cubicBezTo>
                <a:cubicBezTo>
                  <a:pt x="9841546" y="1794418"/>
                  <a:pt x="9838484" y="1796542"/>
                  <a:pt x="9834890" y="1798008"/>
                </a:cubicBezTo>
                <a:cubicBezTo>
                  <a:pt x="9831296" y="1799470"/>
                  <a:pt x="9827435" y="1800269"/>
                  <a:pt x="9823176" y="1800269"/>
                </a:cubicBezTo>
                <a:cubicBezTo>
                  <a:pt x="9814123" y="1800269"/>
                  <a:pt x="9806935" y="1797340"/>
                  <a:pt x="9801343" y="1791754"/>
                </a:cubicBezTo>
                <a:cubicBezTo>
                  <a:pt x="9795753" y="1786162"/>
                  <a:pt x="9792957" y="1779105"/>
                  <a:pt x="9792957" y="1770584"/>
                </a:cubicBezTo>
                <a:cubicBezTo>
                  <a:pt x="9792957" y="1762330"/>
                  <a:pt x="9795753" y="1755282"/>
                  <a:pt x="9801343" y="1749560"/>
                </a:cubicBezTo>
                <a:cubicBezTo>
                  <a:pt x="9806935" y="1743829"/>
                  <a:pt x="9814123" y="1740905"/>
                  <a:pt x="9823176" y="1740905"/>
                </a:cubicBezTo>
                <a:close/>
                <a:moveTo>
                  <a:pt x="9605531" y="1740905"/>
                </a:moveTo>
                <a:cubicBezTo>
                  <a:pt x="9609790" y="1740905"/>
                  <a:pt x="9613784" y="1741701"/>
                  <a:pt x="9617245" y="1743568"/>
                </a:cubicBezTo>
                <a:cubicBezTo>
                  <a:pt x="9620839" y="1745164"/>
                  <a:pt x="9624033" y="1747294"/>
                  <a:pt x="9626562" y="1749957"/>
                </a:cubicBezTo>
                <a:cubicBezTo>
                  <a:pt x="9629092" y="1752479"/>
                  <a:pt x="9631222" y="1755679"/>
                  <a:pt x="9632686" y="1759266"/>
                </a:cubicBezTo>
                <a:cubicBezTo>
                  <a:pt x="9634150" y="1762870"/>
                  <a:pt x="9634949" y="1766725"/>
                  <a:pt x="9634949" y="1770725"/>
                </a:cubicBezTo>
                <a:cubicBezTo>
                  <a:pt x="9634949" y="1774853"/>
                  <a:pt x="9634150" y="1778840"/>
                  <a:pt x="9632686" y="1782434"/>
                </a:cubicBezTo>
                <a:cubicBezTo>
                  <a:pt x="9631089" y="1786026"/>
                  <a:pt x="9629092" y="1789092"/>
                  <a:pt x="9626562" y="1791754"/>
                </a:cubicBezTo>
                <a:cubicBezTo>
                  <a:pt x="9623901" y="1794418"/>
                  <a:pt x="9620839" y="1796542"/>
                  <a:pt x="9617245" y="1798008"/>
                </a:cubicBezTo>
                <a:cubicBezTo>
                  <a:pt x="9613651" y="1799470"/>
                  <a:pt x="9609790" y="1800269"/>
                  <a:pt x="9605531" y="1800269"/>
                </a:cubicBezTo>
                <a:cubicBezTo>
                  <a:pt x="9596610" y="1800269"/>
                  <a:pt x="9589289" y="1797340"/>
                  <a:pt x="9583698" y="1791754"/>
                </a:cubicBezTo>
                <a:cubicBezTo>
                  <a:pt x="9578108" y="1786162"/>
                  <a:pt x="9575312" y="1779105"/>
                  <a:pt x="9575312" y="1770584"/>
                </a:cubicBezTo>
                <a:cubicBezTo>
                  <a:pt x="9575312" y="1762330"/>
                  <a:pt x="9578108" y="1755282"/>
                  <a:pt x="9583698" y="1749560"/>
                </a:cubicBezTo>
                <a:cubicBezTo>
                  <a:pt x="9589289" y="1743829"/>
                  <a:pt x="9596478" y="1740905"/>
                  <a:pt x="9605531" y="1740905"/>
                </a:cubicBezTo>
                <a:close/>
                <a:moveTo>
                  <a:pt x="9387885" y="1740905"/>
                </a:moveTo>
                <a:cubicBezTo>
                  <a:pt x="9392145" y="1740905"/>
                  <a:pt x="9396138" y="1741701"/>
                  <a:pt x="9399599" y="1743568"/>
                </a:cubicBezTo>
                <a:cubicBezTo>
                  <a:pt x="9403194" y="1745164"/>
                  <a:pt x="9406388" y="1747294"/>
                  <a:pt x="9408917" y="1749957"/>
                </a:cubicBezTo>
                <a:cubicBezTo>
                  <a:pt x="9411447" y="1752479"/>
                  <a:pt x="9413576" y="1755679"/>
                  <a:pt x="9415041" y="1759266"/>
                </a:cubicBezTo>
                <a:cubicBezTo>
                  <a:pt x="9416505" y="1762870"/>
                  <a:pt x="9417304" y="1766725"/>
                  <a:pt x="9417304" y="1770725"/>
                </a:cubicBezTo>
                <a:cubicBezTo>
                  <a:pt x="9417304" y="1774853"/>
                  <a:pt x="9416505" y="1778840"/>
                  <a:pt x="9415041" y="1782434"/>
                </a:cubicBezTo>
                <a:cubicBezTo>
                  <a:pt x="9413444" y="1786026"/>
                  <a:pt x="9411447" y="1789092"/>
                  <a:pt x="9408917" y="1791754"/>
                </a:cubicBezTo>
                <a:cubicBezTo>
                  <a:pt x="9406255" y="1794418"/>
                  <a:pt x="9403194" y="1796542"/>
                  <a:pt x="9399599" y="1798008"/>
                </a:cubicBezTo>
                <a:cubicBezTo>
                  <a:pt x="9396005" y="1799470"/>
                  <a:pt x="9392145" y="1800269"/>
                  <a:pt x="9387885" y="1800269"/>
                </a:cubicBezTo>
                <a:cubicBezTo>
                  <a:pt x="9378965" y="1800269"/>
                  <a:pt x="9371644" y="1797340"/>
                  <a:pt x="9366053" y="1791754"/>
                </a:cubicBezTo>
                <a:cubicBezTo>
                  <a:pt x="9360462" y="1786162"/>
                  <a:pt x="9357667" y="1779105"/>
                  <a:pt x="9357667" y="1770584"/>
                </a:cubicBezTo>
                <a:cubicBezTo>
                  <a:pt x="9357667" y="1762330"/>
                  <a:pt x="9360462" y="1755282"/>
                  <a:pt x="9366053" y="1749560"/>
                </a:cubicBezTo>
                <a:cubicBezTo>
                  <a:pt x="9371644" y="1743829"/>
                  <a:pt x="9378832" y="1740905"/>
                  <a:pt x="9387885" y="1740905"/>
                </a:cubicBezTo>
                <a:close/>
                <a:moveTo>
                  <a:pt x="9170374" y="1740905"/>
                </a:moveTo>
                <a:cubicBezTo>
                  <a:pt x="9174500" y="1740905"/>
                  <a:pt x="9178494" y="1741701"/>
                  <a:pt x="9182088" y="1743568"/>
                </a:cubicBezTo>
                <a:cubicBezTo>
                  <a:pt x="9185682" y="1745164"/>
                  <a:pt x="9188876" y="1747294"/>
                  <a:pt x="9191405" y="1749957"/>
                </a:cubicBezTo>
                <a:cubicBezTo>
                  <a:pt x="9193935" y="1752479"/>
                  <a:pt x="9196065" y="1755679"/>
                  <a:pt x="9197529" y="1759266"/>
                </a:cubicBezTo>
                <a:cubicBezTo>
                  <a:pt x="9198993" y="1762870"/>
                  <a:pt x="9199792" y="1766725"/>
                  <a:pt x="9199792" y="1770725"/>
                </a:cubicBezTo>
                <a:cubicBezTo>
                  <a:pt x="9199792" y="1774853"/>
                  <a:pt x="9198993" y="1778840"/>
                  <a:pt x="9197529" y="1782434"/>
                </a:cubicBezTo>
                <a:cubicBezTo>
                  <a:pt x="9195932" y="1786026"/>
                  <a:pt x="9193935" y="1789092"/>
                  <a:pt x="9191405" y="1791754"/>
                </a:cubicBezTo>
                <a:cubicBezTo>
                  <a:pt x="9188744" y="1794418"/>
                  <a:pt x="9185682" y="1796542"/>
                  <a:pt x="9182088" y="1798008"/>
                </a:cubicBezTo>
                <a:cubicBezTo>
                  <a:pt x="9178494" y="1799470"/>
                  <a:pt x="9174633" y="1800269"/>
                  <a:pt x="9170374" y="1800269"/>
                </a:cubicBezTo>
                <a:cubicBezTo>
                  <a:pt x="9161453" y="1800269"/>
                  <a:pt x="9154132" y="1797340"/>
                  <a:pt x="9148541" y="1791754"/>
                </a:cubicBezTo>
                <a:cubicBezTo>
                  <a:pt x="9142951" y="1786162"/>
                  <a:pt x="9140155" y="1779105"/>
                  <a:pt x="9140155" y="1770584"/>
                </a:cubicBezTo>
                <a:cubicBezTo>
                  <a:pt x="9140155" y="1762330"/>
                  <a:pt x="9142951" y="1755282"/>
                  <a:pt x="9148541" y="1749560"/>
                </a:cubicBezTo>
                <a:cubicBezTo>
                  <a:pt x="9154132" y="1743829"/>
                  <a:pt x="9161321" y="1740905"/>
                  <a:pt x="9170374" y="1740905"/>
                </a:cubicBezTo>
                <a:close/>
                <a:moveTo>
                  <a:pt x="8952728" y="1740905"/>
                </a:moveTo>
                <a:cubicBezTo>
                  <a:pt x="8956988" y="1740905"/>
                  <a:pt x="8960849" y="1741701"/>
                  <a:pt x="8964442" y="1743568"/>
                </a:cubicBezTo>
                <a:cubicBezTo>
                  <a:pt x="8968037" y="1745164"/>
                  <a:pt x="8971231" y="1747294"/>
                  <a:pt x="8973760" y="1749957"/>
                </a:cubicBezTo>
                <a:cubicBezTo>
                  <a:pt x="8976290" y="1752479"/>
                  <a:pt x="8978419" y="1755679"/>
                  <a:pt x="8979884" y="1759266"/>
                </a:cubicBezTo>
                <a:cubicBezTo>
                  <a:pt x="8981348" y="1762870"/>
                  <a:pt x="8982147" y="1766725"/>
                  <a:pt x="8982147" y="1770725"/>
                </a:cubicBezTo>
                <a:cubicBezTo>
                  <a:pt x="8982147" y="1774853"/>
                  <a:pt x="8981348" y="1778840"/>
                  <a:pt x="8979884" y="1782434"/>
                </a:cubicBezTo>
                <a:cubicBezTo>
                  <a:pt x="8978287" y="1786026"/>
                  <a:pt x="8976290" y="1789092"/>
                  <a:pt x="8973760" y="1791754"/>
                </a:cubicBezTo>
                <a:cubicBezTo>
                  <a:pt x="8971098" y="1794418"/>
                  <a:pt x="8968037" y="1796542"/>
                  <a:pt x="8964442" y="1798008"/>
                </a:cubicBezTo>
                <a:cubicBezTo>
                  <a:pt x="8960849" y="1799470"/>
                  <a:pt x="8956988" y="1800269"/>
                  <a:pt x="8952728" y="1800269"/>
                </a:cubicBezTo>
                <a:cubicBezTo>
                  <a:pt x="8943808" y="1800269"/>
                  <a:pt x="8936487" y="1797340"/>
                  <a:pt x="8930896" y="1791754"/>
                </a:cubicBezTo>
                <a:cubicBezTo>
                  <a:pt x="8925305" y="1786162"/>
                  <a:pt x="8922510" y="1779105"/>
                  <a:pt x="8922510" y="1770584"/>
                </a:cubicBezTo>
                <a:cubicBezTo>
                  <a:pt x="8922510" y="1762330"/>
                  <a:pt x="8925305" y="1755282"/>
                  <a:pt x="8930896" y="1749560"/>
                </a:cubicBezTo>
                <a:cubicBezTo>
                  <a:pt x="8936487" y="1743829"/>
                  <a:pt x="8943675" y="1740905"/>
                  <a:pt x="8952728" y="1740905"/>
                </a:cubicBezTo>
                <a:close/>
                <a:moveTo>
                  <a:pt x="8735083" y="1740905"/>
                </a:moveTo>
                <a:cubicBezTo>
                  <a:pt x="8739342" y="1740905"/>
                  <a:pt x="8743203" y="1741701"/>
                  <a:pt x="8746797" y="1743568"/>
                </a:cubicBezTo>
                <a:cubicBezTo>
                  <a:pt x="8750391" y="1745164"/>
                  <a:pt x="8753586" y="1747294"/>
                  <a:pt x="8756115" y="1749957"/>
                </a:cubicBezTo>
                <a:cubicBezTo>
                  <a:pt x="8758644" y="1752479"/>
                  <a:pt x="8760774" y="1755679"/>
                  <a:pt x="8762238" y="1759266"/>
                </a:cubicBezTo>
                <a:cubicBezTo>
                  <a:pt x="8763702" y="1762870"/>
                  <a:pt x="8764502" y="1766725"/>
                  <a:pt x="8764502" y="1770725"/>
                </a:cubicBezTo>
                <a:cubicBezTo>
                  <a:pt x="8764502" y="1774853"/>
                  <a:pt x="8763702" y="1778840"/>
                  <a:pt x="8762238" y="1782434"/>
                </a:cubicBezTo>
                <a:cubicBezTo>
                  <a:pt x="8760641" y="1786026"/>
                  <a:pt x="8758644" y="1789092"/>
                  <a:pt x="8756115" y="1791754"/>
                </a:cubicBezTo>
                <a:cubicBezTo>
                  <a:pt x="8753453" y="1794418"/>
                  <a:pt x="8750391" y="1796542"/>
                  <a:pt x="8746797" y="1798008"/>
                </a:cubicBezTo>
                <a:cubicBezTo>
                  <a:pt x="8743203" y="1799470"/>
                  <a:pt x="8739342" y="1800269"/>
                  <a:pt x="8735083" y="1800269"/>
                </a:cubicBezTo>
                <a:cubicBezTo>
                  <a:pt x="8726030" y="1800269"/>
                  <a:pt x="8718841" y="1797340"/>
                  <a:pt x="8713250" y="1791754"/>
                </a:cubicBezTo>
                <a:cubicBezTo>
                  <a:pt x="8707660" y="1786162"/>
                  <a:pt x="8704864" y="1779105"/>
                  <a:pt x="8704864" y="1770584"/>
                </a:cubicBezTo>
                <a:cubicBezTo>
                  <a:pt x="8704864" y="1762330"/>
                  <a:pt x="8707660" y="1755282"/>
                  <a:pt x="8713250" y="1749560"/>
                </a:cubicBezTo>
                <a:cubicBezTo>
                  <a:pt x="8718841" y="1743829"/>
                  <a:pt x="8726030" y="1740905"/>
                  <a:pt x="8735083" y="1740905"/>
                </a:cubicBezTo>
                <a:close/>
                <a:moveTo>
                  <a:pt x="8517438" y="1740905"/>
                </a:moveTo>
                <a:cubicBezTo>
                  <a:pt x="8521698" y="1740905"/>
                  <a:pt x="8525559" y="1741701"/>
                  <a:pt x="8529152" y="1743568"/>
                </a:cubicBezTo>
                <a:cubicBezTo>
                  <a:pt x="8532880" y="1745164"/>
                  <a:pt x="8535941" y="1747294"/>
                  <a:pt x="8538470" y="1749957"/>
                </a:cubicBezTo>
                <a:cubicBezTo>
                  <a:pt x="8541000" y="1752479"/>
                  <a:pt x="8543130" y="1755679"/>
                  <a:pt x="8544594" y="1759266"/>
                </a:cubicBezTo>
                <a:cubicBezTo>
                  <a:pt x="8546058" y="1762870"/>
                  <a:pt x="8546857" y="1766725"/>
                  <a:pt x="8546857" y="1770725"/>
                </a:cubicBezTo>
                <a:cubicBezTo>
                  <a:pt x="8546857" y="1774853"/>
                  <a:pt x="8546058" y="1778840"/>
                  <a:pt x="8544594" y="1782434"/>
                </a:cubicBezTo>
                <a:cubicBezTo>
                  <a:pt x="8542997" y="1786026"/>
                  <a:pt x="8541000" y="1789092"/>
                  <a:pt x="8538470" y="1791754"/>
                </a:cubicBezTo>
                <a:cubicBezTo>
                  <a:pt x="8535808" y="1794418"/>
                  <a:pt x="8532747" y="1796542"/>
                  <a:pt x="8529152" y="1798008"/>
                </a:cubicBezTo>
                <a:cubicBezTo>
                  <a:pt x="8525559" y="1799470"/>
                  <a:pt x="8521698" y="1800269"/>
                  <a:pt x="8517438" y="1800269"/>
                </a:cubicBezTo>
                <a:cubicBezTo>
                  <a:pt x="8508385" y="1800269"/>
                  <a:pt x="8501197" y="1797340"/>
                  <a:pt x="8495606" y="1791754"/>
                </a:cubicBezTo>
                <a:cubicBezTo>
                  <a:pt x="8490015" y="1786162"/>
                  <a:pt x="8487220" y="1779105"/>
                  <a:pt x="8487220" y="1770584"/>
                </a:cubicBezTo>
                <a:cubicBezTo>
                  <a:pt x="8487220" y="1762330"/>
                  <a:pt x="8490015" y="1755282"/>
                  <a:pt x="8495606" y="1749560"/>
                </a:cubicBezTo>
                <a:cubicBezTo>
                  <a:pt x="8501197" y="1743829"/>
                  <a:pt x="8508385" y="1740905"/>
                  <a:pt x="8517438" y="1740905"/>
                </a:cubicBezTo>
                <a:close/>
                <a:moveTo>
                  <a:pt x="8299793" y="1740905"/>
                </a:moveTo>
                <a:cubicBezTo>
                  <a:pt x="8304052" y="1740905"/>
                  <a:pt x="8308046" y="1741701"/>
                  <a:pt x="8311507" y="1743568"/>
                </a:cubicBezTo>
                <a:cubicBezTo>
                  <a:pt x="8315235" y="1745164"/>
                  <a:pt x="8318296" y="1747294"/>
                  <a:pt x="8320825" y="1749957"/>
                </a:cubicBezTo>
                <a:cubicBezTo>
                  <a:pt x="8323354" y="1752479"/>
                  <a:pt x="8325484" y="1755679"/>
                  <a:pt x="8326948" y="1759266"/>
                </a:cubicBezTo>
                <a:cubicBezTo>
                  <a:pt x="8328413" y="1762870"/>
                  <a:pt x="8329212" y="1766725"/>
                  <a:pt x="8329212" y="1770725"/>
                </a:cubicBezTo>
                <a:cubicBezTo>
                  <a:pt x="8329212" y="1774853"/>
                  <a:pt x="8328413" y="1778840"/>
                  <a:pt x="8326948" y="1782434"/>
                </a:cubicBezTo>
                <a:cubicBezTo>
                  <a:pt x="8325351" y="1786026"/>
                  <a:pt x="8323354" y="1789092"/>
                  <a:pt x="8320825" y="1791754"/>
                </a:cubicBezTo>
                <a:cubicBezTo>
                  <a:pt x="8318163" y="1794418"/>
                  <a:pt x="8315101" y="1796542"/>
                  <a:pt x="8311507" y="1798008"/>
                </a:cubicBezTo>
                <a:cubicBezTo>
                  <a:pt x="8307913" y="1799470"/>
                  <a:pt x="8304052" y="1800269"/>
                  <a:pt x="8299793" y="1800269"/>
                </a:cubicBezTo>
                <a:cubicBezTo>
                  <a:pt x="8290874" y="1800269"/>
                  <a:pt x="8283553" y="1797340"/>
                  <a:pt x="8277960" y="1791754"/>
                </a:cubicBezTo>
                <a:cubicBezTo>
                  <a:pt x="8272370" y="1786162"/>
                  <a:pt x="8269574" y="1779105"/>
                  <a:pt x="8269574" y="1770584"/>
                </a:cubicBezTo>
                <a:cubicBezTo>
                  <a:pt x="8269574" y="1762330"/>
                  <a:pt x="8272370" y="1755282"/>
                  <a:pt x="8277960" y="1749560"/>
                </a:cubicBezTo>
                <a:cubicBezTo>
                  <a:pt x="8283553" y="1743829"/>
                  <a:pt x="8290741" y="1740905"/>
                  <a:pt x="8299793" y="1740905"/>
                </a:cubicBezTo>
                <a:close/>
                <a:moveTo>
                  <a:pt x="8082281" y="1740905"/>
                </a:moveTo>
                <a:cubicBezTo>
                  <a:pt x="8086407" y="1740905"/>
                  <a:pt x="8090401" y="1741701"/>
                  <a:pt x="8094127" y="1743568"/>
                </a:cubicBezTo>
                <a:cubicBezTo>
                  <a:pt x="8097855" y="1745164"/>
                  <a:pt x="8100916" y="1747294"/>
                  <a:pt x="8103446" y="1749957"/>
                </a:cubicBezTo>
                <a:cubicBezTo>
                  <a:pt x="8105975" y="1752479"/>
                  <a:pt x="8108104" y="1755679"/>
                  <a:pt x="8109569" y="1759266"/>
                </a:cubicBezTo>
                <a:cubicBezTo>
                  <a:pt x="8111033" y="1762870"/>
                  <a:pt x="8111832" y="1766725"/>
                  <a:pt x="8111832" y="1770725"/>
                </a:cubicBezTo>
                <a:cubicBezTo>
                  <a:pt x="8111832" y="1774853"/>
                  <a:pt x="8111033" y="1778840"/>
                  <a:pt x="8109569" y="1782434"/>
                </a:cubicBezTo>
                <a:cubicBezTo>
                  <a:pt x="8107972" y="1786026"/>
                  <a:pt x="8105975" y="1789092"/>
                  <a:pt x="8103446" y="1791754"/>
                </a:cubicBezTo>
                <a:cubicBezTo>
                  <a:pt x="8100783" y="1794418"/>
                  <a:pt x="8097722" y="1796542"/>
                  <a:pt x="8094127" y="1798008"/>
                </a:cubicBezTo>
                <a:cubicBezTo>
                  <a:pt x="8090401" y="1799470"/>
                  <a:pt x="8086540" y="1800269"/>
                  <a:pt x="8082281" y="1800269"/>
                </a:cubicBezTo>
                <a:cubicBezTo>
                  <a:pt x="8073361" y="1800269"/>
                  <a:pt x="8066040" y="1797340"/>
                  <a:pt x="8060448" y="1791754"/>
                </a:cubicBezTo>
                <a:cubicBezTo>
                  <a:pt x="8054857" y="1786162"/>
                  <a:pt x="8052062" y="1779105"/>
                  <a:pt x="8052062" y="1770584"/>
                </a:cubicBezTo>
                <a:cubicBezTo>
                  <a:pt x="8052062" y="1762330"/>
                  <a:pt x="8054857" y="1755282"/>
                  <a:pt x="8060448" y="1749560"/>
                </a:cubicBezTo>
                <a:cubicBezTo>
                  <a:pt x="8066040" y="1743829"/>
                  <a:pt x="8073228" y="1740905"/>
                  <a:pt x="8082281" y="1740905"/>
                </a:cubicBezTo>
                <a:close/>
                <a:moveTo>
                  <a:pt x="7864636" y="1740905"/>
                </a:moveTo>
                <a:cubicBezTo>
                  <a:pt x="7868762" y="1740905"/>
                  <a:pt x="7872756" y="1741701"/>
                  <a:pt x="7876483" y="1743568"/>
                </a:cubicBezTo>
                <a:cubicBezTo>
                  <a:pt x="7880210" y="1745164"/>
                  <a:pt x="7883272" y="1747294"/>
                  <a:pt x="7885802" y="1749957"/>
                </a:cubicBezTo>
                <a:cubicBezTo>
                  <a:pt x="7888331" y="1752479"/>
                  <a:pt x="7890460" y="1755679"/>
                  <a:pt x="7891924" y="1759266"/>
                </a:cubicBezTo>
                <a:cubicBezTo>
                  <a:pt x="7893389" y="1762870"/>
                  <a:pt x="7894188" y="1766725"/>
                  <a:pt x="7894188" y="1770725"/>
                </a:cubicBezTo>
                <a:cubicBezTo>
                  <a:pt x="7894188" y="1774853"/>
                  <a:pt x="7893389" y="1778840"/>
                  <a:pt x="7891924" y="1782434"/>
                </a:cubicBezTo>
                <a:cubicBezTo>
                  <a:pt x="7890327" y="1786026"/>
                  <a:pt x="7888331" y="1789092"/>
                  <a:pt x="7885802" y="1791754"/>
                </a:cubicBezTo>
                <a:cubicBezTo>
                  <a:pt x="7883139" y="1794418"/>
                  <a:pt x="7880078" y="1796542"/>
                  <a:pt x="7876483" y="1798008"/>
                </a:cubicBezTo>
                <a:cubicBezTo>
                  <a:pt x="7872756" y="1799470"/>
                  <a:pt x="7868895" y="1800269"/>
                  <a:pt x="7864636" y="1800269"/>
                </a:cubicBezTo>
                <a:cubicBezTo>
                  <a:pt x="7855717" y="1800269"/>
                  <a:pt x="7848396" y="1797340"/>
                  <a:pt x="7842803" y="1791754"/>
                </a:cubicBezTo>
                <a:cubicBezTo>
                  <a:pt x="7837213" y="1786162"/>
                  <a:pt x="7834417" y="1779105"/>
                  <a:pt x="7834417" y="1770584"/>
                </a:cubicBezTo>
                <a:cubicBezTo>
                  <a:pt x="7834417" y="1762330"/>
                  <a:pt x="7837213" y="1755282"/>
                  <a:pt x="7842803" y="1749560"/>
                </a:cubicBezTo>
                <a:cubicBezTo>
                  <a:pt x="7848396" y="1743829"/>
                  <a:pt x="7855584" y="1740905"/>
                  <a:pt x="7864636" y="1740905"/>
                </a:cubicBezTo>
                <a:close/>
                <a:moveTo>
                  <a:pt x="7646991" y="1740905"/>
                </a:moveTo>
                <a:cubicBezTo>
                  <a:pt x="7651250" y="1740905"/>
                  <a:pt x="7655111" y="1741701"/>
                  <a:pt x="7658705" y="1743568"/>
                </a:cubicBezTo>
                <a:cubicBezTo>
                  <a:pt x="7662432" y="1745164"/>
                  <a:pt x="7665493" y="1747294"/>
                  <a:pt x="7668022" y="1749957"/>
                </a:cubicBezTo>
                <a:cubicBezTo>
                  <a:pt x="7670552" y="1752479"/>
                  <a:pt x="7672682" y="1755679"/>
                  <a:pt x="7674146" y="1759266"/>
                </a:cubicBezTo>
                <a:cubicBezTo>
                  <a:pt x="7675610" y="1762870"/>
                  <a:pt x="7676409" y="1766725"/>
                  <a:pt x="7676409" y="1770725"/>
                </a:cubicBezTo>
                <a:cubicBezTo>
                  <a:pt x="7676409" y="1774853"/>
                  <a:pt x="7675610" y="1778840"/>
                  <a:pt x="7674146" y="1782434"/>
                </a:cubicBezTo>
                <a:cubicBezTo>
                  <a:pt x="7672549" y="1786026"/>
                  <a:pt x="7670552" y="1789092"/>
                  <a:pt x="7668022" y="1791754"/>
                </a:cubicBezTo>
                <a:cubicBezTo>
                  <a:pt x="7665361" y="1794418"/>
                  <a:pt x="7662299" y="1796542"/>
                  <a:pt x="7658705" y="1798008"/>
                </a:cubicBezTo>
                <a:cubicBezTo>
                  <a:pt x="7655111" y="1799470"/>
                  <a:pt x="7651250" y="1800269"/>
                  <a:pt x="7646991" y="1800269"/>
                </a:cubicBezTo>
                <a:cubicBezTo>
                  <a:pt x="7638071" y="1800269"/>
                  <a:pt x="7630750" y="1797340"/>
                  <a:pt x="7625158" y="1791754"/>
                </a:cubicBezTo>
                <a:cubicBezTo>
                  <a:pt x="7619568" y="1786162"/>
                  <a:pt x="7616772" y="1779105"/>
                  <a:pt x="7616772" y="1770584"/>
                </a:cubicBezTo>
                <a:cubicBezTo>
                  <a:pt x="7616772" y="1762330"/>
                  <a:pt x="7619568" y="1755282"/>
                  <a:pt x="7625158" y="1749560"/>
                </a:cubicBezTo>
                <a:cubicBezTo>
                  <a:pt x="7630750" y="1743829"/>
                  <a:pt x="7637939" y="1740905"/>
                  <a:pt x="7646991" y="1740905"/>
                </a:cubicBezTo>
                <a:close/>
                <a:moveTo>
                  <a:pt x="7429345" y="1740905"/>
                </a:moveTo>
                <a:cubicBezTo>
                  <a:pt x="7433605" y="1740905"/>
                  <a:pt x="7437466" y="1741701"/>
                  <a:pt x="7441059" y="1743568"/>
                </a:cubicBezTo>
                <a:cubicBezTo>
                  <a:pt x="7444787" y="1745164"/>
                  <a:pt x="7447848" y="1747294"/>
                  <a:pt x="7450377" y="1749957"/>
                </a:cubicBezTo>
                <a:cubicBezTo>
                  <a:pt x="7452907" y="1752479"/>
                  <a:pt x="7455036" y="1755679"/>
                  <a:pt x="7456501" y="1759266"/>
                </a:cubicBezTo>
                <a:cubicBezTo>
                  <a:pt x="7457965" y="1762870"/>
                  <a:pt x="7458764" y="1766725"/>
                  <a:pt x="7458764" y="1770725"/>
                </a:cubicBezTo>
                <a:cubicBezTo>
                  <a:pt x="7458764" y="1774853"/>
                  <a:pt x="7457965" y="1778840"/>
                  <a:pt x="7456501" y="1782434"/>
                </a:cubicBezTo>
                <a:cubicBezTo>
                  <a:pt x="7454904" y="1786026"/>
                  <a:pt x="7452907" y="1789092"/>
                  <a:pt x="7450377" y="1791754"/>
                </a:cubicBezTo>
                <a:cubicBezTo>
                  <a:pt x="7447715" y="1794418"/>
                  <a:pt x="7444654" y="1796542"/>
                  <a:pt x="7441059" y="1798008"/>
                </a:cubicBezTo>
                <a:cubicBezTo>
                  <a:pt x="7437466" y="1799470"/>
                  <a:pt x="7433605" y="1800269"/>
                  <a:pt x="7429345" y="1800269"/>
                </a:cubicBezTo>
                <a:cubicBezTo>
                  <a:pt x="7420426" y="1800269"/>
                  <a:pt x="7413105" y="1797340"/>
                  <a:pt x="7407513" y="1791754"/>
                </a:cubicBezTo>
                <a:cubicBezTo>
                  <a:pt x="7401922" y="1786162"/>
                  <a:pt x="7399127" y="1779105"/>
                  <a:pt x="7399127" y="1770584"/>
                </a:cubicBezTo>
                <a:cubicBezTo>
                  <a:pt x="7399127" y="1762330"/>
                  <a:pt x="7401922" y="1755282"/>
                  <a:pt x="7407513" y="1749560"/>
                </a:cubicBezTo>
                <a:cubicBezTo>
                  <a:pt x="7413105" y="1743829"/>
                  <a:pt x="7420293" y="1740905"/>
                  <a:pt x="7429345" y="1740905"/>
                </a:cubicBezTo>
                <a:close/>
                <a:moveTo>
                  <a:pt x="7211701" y="1740905"/>
                </a:moveTo>
                <a:cubicBezTo>
                  <a:pt x="7215960" y="1740905"/>
                  <a:pt x="7219954" y="1741701"/>
                  <a:pt x="7223415" y="1743568"/>
                </a:cubicBezTo>
                <a:cubicBezTo>
                  <a:pt x="7227142" y="1745164"/>
                  <a:pt x="7230204" y="1747294"/>
                  <a:pt x="7232733" y="1749957"/>
                </a:cubicBezTo>
                <a:cubicBezTo>
                  <a:pt x="7235262" y="1752479"/>
                  <a:pt x="7237392" y="1755679"/>
                  <a:pt x="7238856" y="1759266"/>
                </a:cubicBezTo>
                <a:cubicBezTo>
                  <a:pt x="7240321" y="1762870"/>
                  <a:pt x="7241120" y="1766725"/>
                  <a:pt x="7241120" y="1770725"/>
                </a:cubicBezTo>
                <a:cubicBezTo>
                  <a:pt x="7241120" y="1774853"/>
                  <a:pt x="7240321" y="1778840"/>
                  <a:pt x="7238856" y="1782434"/>
                </a:cubicBezTo>
                <a:cubicBezTo>
                  <a:pt x="7237259" y="1786026"/>
                  <a:pt x="7235262" y="1789092"/>
                  <a:pt x="7232733" y="1791754"/>
                </a:cubicBezTo>
                <a:cubicBezTo>
                  <a:pt x="7230071" y="1794418"/>
                  <a:pt x="7227009" y="1796542"/>
                  <a:pt x="7223415" y="1798008"/>
                </a:cubicBezTo>
                <a:cubicBezTo>
                  <a:pt x="7219821" y="1799470"/>
                  <a:pt x="7215960" y="1800269"/>
                  <a:pt x="7211701" y="1800269"/>
                </a:cubicBezTo>
                <a:cubicBezTo>
                  <a:pt x="7202782" y="1800269"/>
                  <a:pt x="7195460" y="1797340"/>
                  <a:pt x="7189868" y="1791754"/>
                </a:cubicBezTo>
                <a:cubicBezTo>
                  <a:pt x="7184278" y="1786162"/>
                  <a:pt x="7181482" y="1779105"/>
                  <a:pt x="7181482" y="1770584"/>
                </a:cubicBezTo>
                <a:cubicBezTo>
                  <a:pt x="7181482" y="1762330"/>
                  <a:pt x="7184278" y="1755282"/>
                  <a:pt x="7189868" y="1749560"/>
                </a:cubicBezTo>
                <a:cubicBezTo>
                  <a:pt x="7195460" y="1743829"/>
                  <a:pt x="7202649" y="1740905"/>
                  <a:pt x="7211701" y="1740905"/>
                </a:cubicBezTo>
                <a:close/>
                <a:moveTo>
                  <a:pt x="6994056" y="1740905"/>
                </a:moveTo>
                <a:cubicBezTo>
                  <a:pt x="6998315" y="1740905"/>
                  <a:pt x="7002309" y="1741701"/>
                  <a:pt x="7005769" y="1743568"/>
                </a:cubicBezTo>
                <a:cubicBezTo>
                  <a:pt x="7009497" y="1745164"/>
                  <a:pt x="7012558" y="1747294"/>
                  <a:pt x="7015087" y="1749957"/>
                </a:cubicBezTo>
                <a:cubicBezTo>
                  <a:pt x="7017617" y="1752479"/>
                  <a:pt x="7019747" y="1755679"/>
                  <a:pt x="7021211" y="1759266"/>
                </a:cubicBezTo>
                <a:cubicBezTo>
                  <a:pt x="7022675" y="1762870"/>
                  <a:pt x="7023474" y="1766725"/>
                  <a:pt x="7023474" y="1770725"/>
                </a:cubicBezTo>
                <a:cubicBezTo>
                  <a:pt x="7023474" y="1774853"/>
                  <a:pt x="7022675" y="1778840"/>
                  <a:pt x="7021211" y="1782434"/>
                </a:cubicBezTo>
                <a:cubicBezTo>
                  <a:pt x="7019614" y="1786026"/>
                  <a:pt x="7017617" y="1789092"/>
                  <a:pt x="7015087" y="1791754"/>
                </a:cubicBezTo>
                <a:cubicBezTo>
                  <a:pt x="7012425" y="1794418"/>
                  <a:pt x="7009364" y="1796542"/>
                  <a:pt x="7005769" y="1798008"/>
                </a:cubicBezTo>
                <a:cubicBezTo>
                  <a:pt x="7002176" y="1799470"/>
                  <a:pt x="6998315" y="1800269"/>
                  <a:pt x="6994056" y="1800269"/>
                </a:cubicBezTo>
                <a:cubicBezTo>
                  <a:pt x="6985136" y="1800269"/>
                  <a:pt x="6977815" y="1797340"/>
                  <a:pt x="6972223" y="1791754"/>
                </a:cubicBezTo>
                <a:cubicBezTo>
                  <a:pt x="6966632" y="1786162"/>
                  <a:pt x="6963837" y="1779105"/>
                  <a:pt x="6963837" y="1770584"/>
                </a:cubicBezTo>
                <a:cubicBezTo>
                  <a:pt x="6963837" y="1762330"/>
                  <a:pt x="6966632" y="1755282"/>
                  <a:pt x="6972223" y="1749560"/>
                </a:cubicBezTo>
                <a:cubicBezTo>
                  <a:pt x="6977815" y="1743829"/>
                  <a:pt x="6985003" y="1740905"/>
                  <a:pt x="6994056" y="1740905"/>
                </a:cubicBezTo>
                <a:close/>
                <a:moveTo>
                  <a:pt x="6776544" y="1740905"/>
                </a:moveTo>
                <a:cubicBezTo>
                  <a:pt x="6780670" y="1740905"/>
                  <a:pt x="6784664" y="1741701"/>
                  <a:pt x="6788258" y="1743568"/>
                </a:cubicBezTo>
                <a:cubicBezTo>
                  <a:pt x="6791985" y="1745164"/>
                  <a:pt x="6795047" y="1747294"/>
                  <a:pt x="6797576" y="1749957"/>
                </a:cubicBezTo>
                <a:cubicBezTo>
                  <a:pt x="6800105" y="1752479"/>
                  <a:pt x="6802235" y="1755679"/>
                  <a:pt x="6803699" y="1759266"/>
                </a:cubicBezTo>
                <a:cubicBezTo>
                  <a:pt x="6805164" y="1762870"/>
                  <a:pt x="6805963" y="1766725"/>
                  <a:pt x="6805963" y="1770725"/>
                </a:cubicBezTo>
                <a:cubicBezTo>
                  <a:pt x="6805963" y="1774853"/>
                  <a:pt x="6805164" y="1778840"/>
                  <a:pt x="6803699" y="1782434"/>
                </a:cubicBezTo>
                <a:cubicBezTo>
                  <a:pt x="6802102" y="1786026"/>
                  <a:pt x="6800105" y="1789092"/>
                  <a:pt x="6797576" y="1791754"/>
                </a:cubicBezTo>
                <a:cubicBezTo>
                  <a:pt x="6794914" y="1794418"/>
                  <a:pt x="6791852" y="1796542"/>
                  <a:pt x="6788258" y="1798008"/>
                </a:cubicBezTo>
                <a:cubicBezTo>
                  <a:pt x="6784664" y="1799470"/>
                  <a:pt x="6780803" y="1800269"/>
                  <a:pt x="6776544" y="1800269"/>
                </a:cubicBezTo>
                <a:cubicBezTo>
                  <a:pt x="6767625" y="1800269"/>
                  <a:pt x="6760303" y="1797340"/>
                  <a:pt x="6754711" y="1791754"/>
                </a:cubicBezTo>
                <a:cubicBezTo>
                  <a:pt x="6749121" y="1786162"/>
                  <a:pt x="6746325" y="1779105"/>
                  <a:pt x="6746325" y="1770584"/>
                </a:cubicBezTo>
                <a:cubicBezTo>
                  <a:pt x="6746325" y="1762330"/>
                  <a:pt x="6749121" y="1755282"/>
                  <a:pt x="6754711" y="1749560"/>
                </a:cubicBezTo>
                <a:cubicBezTo>
                  <a:pt x="6760303" y="1743829"/>
                  <a:pt x="6767492" y="1740905"/>
                  <a:pt x="6776544" y="1740905"/>
                </a:cubicBezTo>
                <a:close/>
                <a:moveTo>
                  <a:pt x="6558899" y="1740905"/>
                </a:moveTo>
                <a:cubicBezTo>
                  <a:pt x="6563158" y="1740905"/>
                  <a:pt x="6567019" y="1741701"/>
                  <a:pt x="6570612" y="1743568"/>
                </a:cubicBezTo>
                <a:cubicBezTo>
                  <a:pt x="6574340" y="1745164"/>
                  <a:pt x="6577401" y="1747294"/>
                  <a:pt x="6579930" y="1749957"/>
                </a:cubicBezTo>
                <a:cubicBezTo>
                  <a:pt x="6582460" y="1752479"/>
                  <a:pt x="6584590" y="1755679"/>
                  <a:pt x="6586054" y="1759266"/>
                </a:cubicBezTo>
                <a:cubicBezTo>
                  <a:pt x="6587518" y="1762870"/>
                  <a:pt x="6588317" y="1766725"/>
                  <a:pt x="6588317" y="1770725"/>
                </a:cubicBezTo>
                <a:cubicBezTo>
                  <a:pt x="6588317" y="1774853"/>
                  <a:pt x="6587518" y="1778840"/>
                  <a:pt x="6586054" y="1782434"/>
                </a:cubicBezTo>
                <a:cubicBezTo>
                  <a:pt x="6584457" y="1786026"/>
                  <a:pt x="6582460" y="1789092"/>
                  <a:pt x="6579930" y="1791754"/>
                </a:cubicBezTo>
                <a:cubicBezTo>
                  <a:pt x="6577268" y="1794418"/>
                  <a:pt x="6574207" y="1796542"/>
                  <a:pt x="6570612" y="1798008"/>
                </a:cubicBezTo>
                <a:cubicBezTo>
                  <a:pt x="6567019" y="1799470"/>
                  <a:pt x="6563158" y="1800269"/>
                  <a:pt x="6558899" y="1800269"/>
                </a:cubicBezTo>
                <a:cubicBezTo>
                  <a:pt x="6549979" y="1800269"/>
                  <a:pt x="6542658" y="1797340"/>
                  <a:pt x="6537066" y="1791754"/>
                </a:cubicBezTo>
                <a:cubicBezTo>
                  <a:pt x="6531476" y="1786162"/>
                  <a:pt x="6528680" y="1779105"/>
                  <a:pt x="6528680" y="1770584"/>
                </a:cubicBezTo>
                <a:cubicBezTo>
                  <a:pt x="6528680" y="1762330"/>
                  <a:pt x="6531476" y="1755282"/>
                  <a:pt x="6537066" y="1749560"/>
                </a:cubicBezTo>
                <a:cubicBezTo>
                  <a:pt x="6542658" y="1743829"/>
                  <a:pt x="6549846" y="1740905"/>
                  <a:pt x="6558899" y="1740905"/>
                </a:cubicBezTo>
                <a:close/>
                <a:moveTo>
                  <a:pt x="6341253" y="1740905"/>
                </a:moveTo>
                <a:cubicBezTo>
                  <a:pt x="6345513" y="1740905"/>
                  <a:pt x="6349373" y="1741701"/>
                  <a:pt x="6352968" y="1743568"/>
                </a:cubicBezTo>
                <a:cubicBezTo>
                  <a:pt x="6356695" y="1745164"/>
                  <a:pt x="6359757" y="1747294"/>
                  <a:pt x="6362286" y="1749957"/>
                </a:cubicBezTo>
                <a:cubicBezTo>
                  <a:pt x="6364815" y="1752479"/>
                  <a:pt x="6366945" y="1755679"/>
                  <a:pt x="6368409" y="1759266"/>
                </a:cubicBezTo>
                <a:cubicBezTo>
                  <a:pt x="6369874" y="1762870"/>
                  <a:pt x="6370672" y="1766725"/>
                  <a:pt x="6370672" y="1770725"/>
                </a:cubicBezTo>
                <a:cubicBezTo>
                  <a:pt x="6370672" y="1774853"/>
                  <a:pt x="6369874" y="1778840"/>
                  <a:pt x="6368409" y="1782434"/>
                </a:cubicBezTo>
                <a:cubicBezTo>
                  <a:pt x="6366811" y="1786026"/>
                  <a:pt x="6364815" y="1789092"/>
                  <a:pt x="6362286" y="1791754"/>
                </a:cubicBezTo>
                <a:cubicBezTo>
                  <a:pt x="6359623" y="1794418"/>
                  <a:pt x="6356562" y="1796542"/>
                  <a:pt x="6352968" y="1798008"/>
                </a:cubicBezTo>
                <a:cubicBezTo>
                  <a:pt x="6349373" y="1799470"/>
                  <a:pt x="6345513" y="1800269"/>
                  <a:pt x="6341253" y="1800269"/>
                </a:cubicBezTo>
                <a:cubicBezTo>
                  <a:pt x="6332335" y="1800269"/>
                  <a:pt x="6325013" y="1797340"/>
                  <a:pt x="6319421" y="1791754"/>
                </a:cubicBezTo>
                <a:cubicBezTo>
                  <a:pt x="6313830" y="1786162"/>
                  <a:pt x="6311035" y="1779105"/>
                  <a:pt x="6311035" y="1770584"/>
                </a:cubicBezTo>
                <a:cubicBezTo>
                  <a:pt x="6311035" y="1762330"/>
                  <a:pt x="6313830" y="1755282"/>
                  <a:pt x="6319421" y="1749560"/>
                </a:cubicBezTo>
                <a:cubicBezTo>
                  <a:pt x="6325013" y="1743829"/>
                  <a:pt x="6332201" y="1740905"/>
                  <a:pt x="6341253" y="1740905"/>
                </a:cubicBezTo>
                <a:close/>
                <a:moveTo>
                  <a:pt x="6123608" y="1740905"/>
                </a:moveTo>
                <a:cubicBezTo>
                  <a:pt x="6127867" y="1740905"/>
                  <a:pt x="6131728" y="1741701"/>
                  <a:pt x="6135322" y="1743568"/>
                </a:cubicBezTo>
                <a:cubicBezTo>
                  <a:pt x="6139049" y="1745164"/>
                  <a:pt x="6142111" y="1747294"/>
                  <a:pt x="6144640" y="1749957"/>
                </a:cubicBezTo>
                <a:cubicBezTo>
                  <a:pt x="6147169" y="1752479"/>
                  <a:pt x="6149299" y="1755679"/>
                  <a:pt x="6150763" y="1759266"/>
                </a:cubicBezTo>
                <a:cubicBezTo>
                  <a:pt x="6152228" y="1762870"/>
                  <a:pt x="6153026" y="1766725"/>
                  <a:pt x="6153026" y="1770725"/>
                </a:cubicBezTo>
                <a:cubicBezTo>
                  <a:pt x="6153026" y="1774853"/>
                  <a:pt x="6152228" y="1778840"/>
                  <a:pt x="6150763" y="1782434"/>
                </a:cubicBezTo>
                <a:cubicBezTo>
                  <a:pt x="6149299" y="1786026"/>
                  <a:pt x="6147169" y="1789092"/>
                  <a:pt x="6144640" y="1791754"/>
                </a:cubicBezTo>
                <a:cubicBezTo>
                  <a:pt x="6141977" y="1794418"/>
                  <a:pt x="6138916" y="1796542"/>
                  <a:pt x="6135322" y="1798008"/>
                </a:cubicBezTo>
                <a:cubicBezTo>
                  <a:pt x="6131728" y="1799470"/>
                  <a:pt x="6127867" y="1800269"/>
                  <a:pt x="6123608" y="1800269"/>
                </a:cubicBezTo>
                <a:cubicBezTo>
                  <a:pt x="6114689" y="1800269"/>
                  <a:pt x="6107367" y="1797340"/>
                  <a:pt x="6101775" y="1791754"/>
                </a:cubicBezTo>
                <a:cubicBezTo>
                  <a:pt x="6096184" y="1786162"/>
                  <a:pt x="6093389" y="1779105"/>
                  <a:pt x="6093389" y="1770584"/>
                </a:cubicBezTo>
                <a:cubicBezTo>
                  <a:pt x="6093389" y="1762330"/>
                  <a:pt x="6096184" y="1755282"/>
                  <a:pt x="6101775" y="1749560"/>
                </a:cubicBezTo>
                <a:cubicBezTo>
                  <a:pt x="6107367" y="1743829"/>
                  <a:pt x="6114555" y="1740905"/>
                  <a:pt x="6123608" y="1740905"/>
                </a:cubicBezTo>
                <a:close/>
                <a:moveTo>
                  <a:pt x="5905963" y="1740905"/>
                </a:moveTo>
                <a:cubicBezTo>
                  <a:pt x="5910222" y="1740905"/>
                  <a:pt x="5914216" y="1741701"/>
                  <a:pt x="5917677" y="1743568"/>
                </a:cubicBezTo>
                <a:cubicBezTo>
                  <a:pt x="5921404" y="1745164"/>
                  <a:pt x="5924466" y="1747294"/>
                  <a:pt x="5926995" y="1749957"/>
                </a:cubicBezTo>
                <a:cubicBezTo>
                  <a:pt x="5929524" y="1752479"/>
                  <a:pt x="5931654" y="1755679"/>
                  <a:pt x="5933118" y="1759266"/>
                </a:cubicBezTo>
                <a:cubicBezTo>
                  <a:pt x="5934583" y="1762870"/>
                  <a:pt x="5935381" y="1766725"/>
                  <a:pt x="5935381" y="1770725"/>
                </a:cubicBezTo>
                <a:cubicBezTo>
                  <a:pt x="5935381" y="1774853"/>
                  <a:pt x="5934583" y="1778840"/>
                  <a:pt x="5933118" y="1782434"/>
                </a:cubicBezTo>
                <a:cubicBezTo>
                  <a:pt x="5931654" y="1786026"/>
                  <a:pt x="5929524" y="1789092"/>
                  <a:pt x="5926995" y="1791754"/>
                </a:cubicBezTo>
                <a:cubicBezTo>
                  <a:pt x="5924333" y="1794418"/>
                  <a:pt x="5921271" y="1796542"/>
                  <a:pt x="5917677" y="1798008"/>
                </a:cubicBezTo>
                <a:cubicBezTo>
                  <a:pt x="5914083" y="1799470"/>
                  <a:pt x="5910222" y="1800269"/>
                  <a:pt x="5905963" y="1800269"/>
                </a:cubicBezTo>
                <a:cubicBezTo>
                  <a:pt x="5897044" y="1800269"/>
                  <a:pt x="5889722" y="1797340"/>
                  <a:pt x="5884130" y="1791754"/>
                </a:cubicBezTo>
                <a:cubicBezTo>
                  <a:pt x="5878540" y="1786162"/>
                  <a:pt x="5875744" y="1779105"/>
                  <a:pt x="5875744" y="1770584"/>
                </a:cubicBezTo>
                <a:cubicBezTo>
                  <a:pt x="5875744" y="1762330"/>
                  <a:pt x="5878540" y="1755282"/>
                  <a:pt x="5884130" y="1749560"/>
                </a:cubicBezTo>
                <a:cubicBezTo>
                  <a:pt x="5889722" y="1743829"/>
                  <a:pt x="5896910" y="1740905"/>
                  <a:pt x="5905963" y="1740905"/>
                </a:cubicBezTo>
                <a:close/>
                <a:moveTo>
                  <a:pt x="5688451" y="1740905"/>
                </a:moveTo>
                <a:cubicBezTo>
                  <a:pt x="5692577" y="1740905"/>
                  <a:pt x="5696571" y="1741701"/>
                  <a:pt x="5700165" y="1743568"/>
                </a:cubicBezTo>
                <a:cubicBezTo>
                  <a:pt x="5703892" y="1745164"/>
                  <a:pt x="5706954" y="1747294"/>
                  <a:pt x="5709483" y="1749957"/>
                </a:cubicBezTo>
                <a:cubicBezTo>
                  <a:pt x="5712012" y="1752479"/>
                  <a:pt x="5714142" y="1755679"/>
                  <a:pt x="5715606" y="1759266"/>
                </a:cubicBezTo>
                <a:cubicBezTo>
                  <a:pt x="5717071" y="1762870"/>
                  <a:pt x="5717869" y="1766725"/>
                  <a:pt x="5717869" y="1770725"/>
                </a:cubicBezTo>
                <a:cubicBezTo>
                  <a:pt x="5717869" y="1774853"/>
                  <a:pt x="5717071" y="1778840"/>
                  <a:pt x="5715606" y="1782434"/>
                </a:cubicBezTo>
                <a:cubicBezTo>
                  <a:pt x="5714142" y="1786026"/>
                  <a:pt x="5712012" y="1789092"/>
                  <a:pt x="5709483" y="1791754"/>
                </a:cubicBezTo>
                <a:cubicBezTo>
                  <a:pt x="5706820" y="1794418"/>
                  <a:pt x="5703759" y="1796542"/>
                  <a:pt x="5700165" y="1798008"/>
                </a:cubicBezTo>
                <a:cubicBezTo>
                  <a:pt x="5696571" y="1799470"/>
                  <a:pt x="5692710" y="1800269"/>
                  <a:pt x="5688451" y="1800269"/>
                </a:cubicBezTo>
                <a:cubicBezTo>
                  <a:pt x="5679532" y="1800269"/>
                  <a:pt x="5672210" y="1797340"/>
                  <a:pt x="5666618" y="1791754"/>
                </a:cubicBezTo>
                <a:cubicBezTo>
                  <a:pt x="5661028" y="1786162"/>
                  <a:pt x="5658232" y="1779105"/>
                  <a:pt x="5658232" y="1770584"/>
                </a:cubicBezTo>
                <a:cubicBezTo>
                  <a:pt x="5658232" y="1762330"/>
                  <a:pt x="5661028" y="1755282"/>
                  <a:pt x="5666618" y="1749560"/>
                </a:cubicBezTo>
                <a:cubicBezTo>
                  <a:pt x="5672210" y="1743829"/>
                  <a:pt x="5679398" y="1740905"/>
                  <a:pt x="5688451" y="1740905"/>
                </a:cubicBezTo>
                <a:close/>
                <a:moveTo>
                  <a:pt x="5470806" y="1740905"/>
                </a:moveTo>
                <a:cubicBezTo>
                  <a:pt x="5475065" y="1740905"/>
                  <a:pt x="5478926" y="1741701"/>
                  <a:pt x="5482520" y="1743568"/>
                </a:cubicBezTo>
                <a:cubicBezTo>
                  <a:pt x="5486247" y="1745164"/>
                  <a:pt x="5489309" y="1747294"/>
                  <a:pt x="5491838" y="1749957"/>
                </a:cubicBezTo>
                <a:cubicBezTo>
                  <a:pt x="5494367" y="1752479"/>
                  <a:pt x="5496497" y="1755679"/>
                  <a:pt x="5497961" y="1759266"/>
                </a:cubicBezTo>
                <a:cubicBezTo>
                  <a:pt x="5499426" y="1762870"/>
                  <a:pt x="5500224" y="1766725"/>
                  <a:pt x="5500224" y="1770725"/>
                </a:cubicBezTo>
                <a:cubicBezTo>
                  <a:pt x="5500224" y="1774853"/>
                  <a:pt x="5499426" y="1778840"/>
                  <a:pt x="5497961" y="1782434"/>
                </a:cubicBezTo>
                <a:cubicBezTo>
                  <a:pt x="5496497" y="1786026"/>
                  <a:pt x="5494367" y="1789092"/>
                  <a:pt x="5491838" y="1791754"/>
                </a:cubicBezTo>
                <a:cubicBezTo>
                  <a:pt x="5489176" y="1794418"/>
                  <a:pt x="5486114" y="1796542"/>
                  <a:pt x="5482520" y="1798008"/>
                </a:cubicBezTo>
                <a:cubicBezTo>
                  <a:pt x="5478926" y="1799470"/>
                  <a:pt x="5475065" y="1800269"/>
                  <a:pt x="5470806" y="1800269"/>
                </a:cubicBezTo>
                <a:cubicBezTo>
                  <a:pt x="5461887" y="1800269"/>
                  <a:pt x="5454565" y="1797340"/>
                  <a:pt x="5448973" y="1791754"/>
                </a:cubicBezTo>
                <a:cubicBezTo>
                  <a:pt x="5443383" y="1786162"/>
                  <a:pt x="5440587" y="1779105"/>
                  <a:pt x="5440587" y="1770584"/>
                </a:cubicBezTo>
                <a:cubicBezTo>
                  <a:pt x="5440587" y="1762330"/>
                  <a:pt x="5443383" y="1755282"/>
                  <a:pt x="5448973" y="1749560"/>
                </a:cubicBezTo>
                <a:cubicBezTo>
                  <a:pt x="5454565" y="1743829"/>
                  <a:pt x="5461754" y="1740905"/>
                  <a:pt x="5470806" y="1740905"/>
                </a:cubicBezTo>
                <a:close/>
                <a:moveTo>
                  <a:pt x="5253160" y="1740905"/>
                </a:moveTo>
                <a:cubicBezTo>
                  <a:pt x="5257420" y="1740905"/>
                  <a:pt x="5261280" y="1741701"/>
                  <a:pt x="5264875" y="1743568"/>
                </a:cubicBezTo>
                <a:cubicBezTo>
                  <a:pt x="5268602" y="1745164"/>
                  <a:pt x="5271664" y="1747294"/>
                  <a:pt x="5274192" y="1749957"/>
                </a:cubicBezTo>
                <a:cubicBezTo>
                  <a:pt x="5276722" y="1752479"/>
                  <a:pt x="5278852" y="1755679"/>
                  <a:pt x="5280316" y="1759266"/>
                </a:cubicBezTo>
                <a:cubicBezTo>
                  <a:pt x="5281780" y="1762870"/>
                  <a:pt x="5282579" y="1766725"/>
                  <a:pt x="5282579" y="1770725"/>
                </a:cubicBezTo>
                <a:cubicBezTo>
                  <a:pt x="5282579" y="1774853"/>
                  <a:pt x="5281780" y="1778840"/>
                  <a:pt x="5280316" y="1782434"/>
                </a:cubicBezTo>
                <a:cubicBezTo>
                  <a:pt x="5278852" y="1786026"/>
                  <a:pt x="5276722" y="1789092"/>
                  <a:pt x="5274192" y="1791754"/>
                </a:cubicBezTo>
                <a:cubicBezTo>
                  <a:pt x="5271664" y="1794418"/>
                  <a:pt x="5268469" y="1796542"/>
                  <a:pt x="5264875" y="1798008"/>
                </a:cubicBezTo>
                <a:cubicBezTo>
                  <a:pt x="5261280" y="1799470"/>
                  <a:pt x="5257420" y="1800269"/>
                  <a:pt x="5253160" y="1800269"/>
                </a:cubicBezTo>
                <a:cubicBezTo>
                  <a:pt x="5244241" y="1800269"/>
                  <a:pt x="5236920" y="1797340"/>
                  <a:pt x="5231328" y="1791754"/>
                </a:cubicBezTo>
                <a:cubicBezTo>
                  <a:pt x="5225737" y="1786162"/>
                  <a:pt x="5222942" y="1779105"/>
                  <a:pt x="5222942" y="1770584"/>
                </a:cubicBezTo>
                <a:cubicBezTo>
                  <a:pt x="5222942" y="1762330"/>
                  <a:pt x="5225737" y="1755282"/>
                  <a:pt x="5231328" y="1749560"/>
                </a:cubicBezTo>
                <a:cubicBezTo>
                  <a:pt x="5236920" y="1743829"/>
                  <a:pt x="5244108" y="1740905"/>
                  <a:pt x="5253160" y="1740905"/>
                </a:cubicBezTo>
                <a:close/>
                <a:moveTo>
                  <a:pt x="5035515" y="1740905"/>
                </a:moveTo>
                <a:cubicBezTo>
                  <a:pt x="5039775" y="1740905"/>
                  <a:pt x="5043636" y="1741701"/>
                  <a:pt x="5047230" y="1743568"/>
                </a:cubicBezTo>
                <a:cubicBezTo>
                  <a:pt x="5050957" y="1745164"/>
                  <a:pt x="5054019" y="1747294"/>
                  <a:pt x="5056548" y="1749957"/>
                </a:cubicBezTo>
                <a:cubicBezTo>
                  <a:pt x="5059077" y="1752479"/>
                  <a:pt x="5061207" y="1755679"/>
                  <a:pt x="5062671" y="1759266"/>
                </a:cubicBezTo>
                <a:cubicBezTo>
                  <a:pt x="5064135" y="1762870"/>
                  <a:pt x="5064934" y="1766725"/>
                  <a:pt x="5064934" y="1770725"/>
                </a:cubicBezTo>
                <a:cubicBezTo>
                  <a:pt x="5064934" y="1774853"/>
                  <a:pt x="5064135" y="1778840"/>
                  <a:pt x="5062671" y="1782434"/>
                </a:cubicBezTo>
                <a:cubicBezTo>
                  <a:pt x="5061207" y="1786026"/>
                  <a:pt x="5059077" y="1789092"/>
                  <a:pt x="5056548" y="1791754"/>
                </a:cubicBezTo>
                <a:cubicBezTo>
                  <a:pt x="5053885" y="1794418"/>
                  <a:pt x="5050824" y="1796542"/>
                  <a:pt x="5047230" y="1798008"/>
                </a:cubicBezTo>
                <a:cubicBezTo>
                  <a:pt x="5043636" y="1799470"/>
                  <a:pt x="5039775" y="1800269"/>
                  <a:pt x="5035515" y="1800269"/>
                </a:cubicBezTo>
                <a:cubicBezTo>
                  <a:pt x="5026597" y="1800269"/>
                  <a:pt x="5019275" y="1797340"/>
                  <a:pt x="5013683" y="1791754"/>
                </a:cubicBezTo>
                <a:cubicBezTo>
                  <a:pt x="5008092" y="1786162"/>
                  <a:pt x="5005297" y="1779105"/>
                  <a:pt x="5005297" y="1770584"/>
                </a:cubicBezTo>
                <a:cubicBezTo>
                  <a:pt x="5005297" y="1762330"/>
                  <a:pt x="5008092" y="1755282"/>
                  <a:pt x="5013683" y="1749560"/>
                </a:cubicBezTo>
                <a:cubicBezTo>
                  <a:pt x="5019275" y="1743829"/>
                  <a:pt x="5026463" y="1740905"/>
                  <a:pt x="5035515" y="1740905"/>
                </a:cubicBezTo>
                <a:close/>
                <a:moveTo>
                  <a:pt x="4817870" y="1740905"/>
                </a:moveTo>
                <a:cubicBezTo>
                  <a:pt x="4822130" y="1740905"/>
                  <a:pt x="4826124" y="1741701"/>
                  <a:pt x="4829585" y="1743568"/>
                </a:cubicBezTo>
                <a:cubicBezTo>
                  <a:pt x="4833312" y="1745164"/>
                  <a:pt x="4836374" y="1747294"/>
                  <a:pt x="4838903" y="1749957"/>
                </a:cubicBezTo>
                <a:cubicBezTo>
                  <a:pt x="4841432" y="1752479"/>
                  <a:pt x="4843562" y="1755679"/>
                  <a:pt x="4845026" y="1759266"/>
                </a:cubicBezTo>
                <a:cubicBezTo>
                  <a:pt x="4846491" y="1762870"/>
                  <a:pt x="4847289" y="1766725"/>
                  <a:pt x="4847289" y="1770725"/>
                </a:cubicBezTo>
                <a:cubicBezTo>
                  <a:pt x="4847289" y="1774853"/>
                  <a:pt x="4846491" y="1778840"/>
                  <a:pt x="4845026" y="1782434"/>
                </a:cubicBezTo>
                <a:cubicBezTo>
                  <a:pt x="4843562" y="1786026"/>
                  <a:pt x="4841432" y="1789092"/>
                  <a:pt x="4838903" y="1791754"/>
                </a:cubicBezTo>
                <a:cubicBezTo>
                  <a:pt x="4836240" y="1794418"/>
                  <a:pt x="4833179" y="1796542"/>
                  <a:pt x="4829585" y="1798008"/>
                </a:cubicBezTo>
                <a:cubicBezTo>
                  <a:pt x="4825991" y="1799470"/>
                  <a:pt x="4822130" y="1800269"/>
                  <a:pt x="4817870" y="1800269"/>
                </a:cubicBezTo>
                <a:cubicBezTo>
                  <a:pt x="4808952" y="1800269"/>
                  <a:pt x="4801630" y="1797340"/>
                  <a:pt x="4796038" y="1791754"/>
                </a:cubicBezTo>
                <a:cubicBezTo>
                  <a:pt x="4790447" y="1786162"/>
                  <a:pt x="4787652" y="1779105"/>
                  <a:pt x="4787652" y="1770584"/>
                </a:cubicBezTo>
                <a:cubicBezTo>
                  <a:pt x="4787652" y="1762330"/>
                  <a:pt x="4790447" y="1755282"/>
                  <a:pt x="4796038" y="1749560"/>
                </a:cubicBezTo>
                <a:cubicBezTo>
                  <a:pt x="4801630" y="1743829"/>
                  <a:pt x="4808818" y="1740905"/>
                  <a:pt x="4817870" y="1740905"/>
                </a:cubicBezTo>
                <a:close/>
                <a:moveTo>
                  <a:pt x="4600226" y="1740905"/>
                </a:moveTo>
                <a:cubicBezTo>
                  <a:pt x="4604485" y="1740905"/>
                  <a:pt x="4608479" y="1741701"/>
                  <a:pt x="4612073" y="1743568"/>
                </a:cubicBezTo>
                <a:cubicBezTo>
                  <a:pt x="4615800" y="1745164"/>
                  <a:pt x="4618862" y="1747294"/>
                  <a:pt x="4621391" y="1749957"/>
                </a:cubicBezTo>
                <a:cubicBezTo>
                  <a:pt x="4623920" y="1752479"/>
                  <a:pt x="4626050" y="1755679"/>
                  <a:pt x="4627514" y="1759266"/>
                </a:cubicBezTo>
                <a:cubicBezTo>
                  <a:pt x="4628978" y="1762870"/>
                  <a:pt x="4629777" y="1766725"/>
                  <a:pt x="4629777" y="1770725"/>
                </a:cubicBezTo>
                <a:cubicBezTo>
                  <a:pt x="4629777" y="1774853"/>
                  <a:pt x="4628978" y="1778840"/>
                  <a:pt x="4627514" y="1782434"/>
                </a:cubicBezTo>
                <a:cubicBezTo>
                  <a:pt x="4626050" y="1786026"/>
                  <a:pt x="4623920" y="1789092"/>
                  <a:pt x="4621391" y="1791754"/>
                </a:cubicBezTo>
                <a:cubicBezTo>
                  <a:pt x="4618729" y="1794418"/>
                  <a:pt x="4615667" y="1796542"/>
                  <a:pt x="4612073" y="1798008"/>
                </a:cubicBezTo>
                <a:cubicBezTo>
                  <a:pt x="4608346" y="1799470"/>
                  <a:pt x="4604485" y="1800269"/>
                  <a:pt x="4600226" y="1800269"/>
                </a:cubicBezTo>
                <a:cubicBezTo>
                  <a:pt x="4591173" y="1800269"/>
                  <a:pt x="4583985" y="1797340"/>
                  <a:pt x="4578393" y="1791754"/>
                </a:cubicBezTo>
                <a:cubicBezTo>
                  <a:pt x="4572803" y="1786162"/>
                  <a:pt x="4570007" y="1779105"/>
                  <a:pt x="4570007" y="1770584"/>
                </a:cubicBezTo>
                <a:cubicBezTo>
                  <a:pt x="4570007" y="1762330"/>
                  <a:pt x="4572803" y="1755282"/>
                  <a:pt x="4578393" y="1749560"/>
                </a:cubicBezTo>
                <a:cubicBezTo>
                  <a:pt x="4583985" y="1743829"/>
                  <a:pt x="4591173" y="1740905"/>
                  <a:pt x="4600226" y="1740905"/>
                </a:cubicBezTo>
                <a:close/>
                <a:moveTo>
                  <a:pt x="4382713" y="1740905"/>
                </a:moveTo>
                <a:cubicBezTo>
                  <a:pt x="4386840" y="1740905"/>
                  <a:pt x="4390834" y="1741701"/>
                  <a:pt x="4394428" y="1743568"/>
                </a:cubicBezTo>
                <a:cubicBezTo>
                  <a:pt x="4398155" y="1745164"/>
                  <a:pt x="4401217" y="1747294"/>
                  <a:pt x="4403746" y="1749957"/>
                </a:cubicBezTo>
                <a:cubicBezTo>
                  <a:pt x="4406275" y="1752479"/>
                  <a:pt x="4408405" y="1755679"/>
                  <a:pt x="4409869" y="1759266"/>
                </a:cubicBezTo>
                <a:cubicBezTo>
                  <a:pt x="4411334" y="1762870"/>
                  <a:pt x="4412132" y="1766725"/>
                  <a:pt x="4412132" y="1770725"/>
                </a:cubicBezTo>
                <a:cubicBezTo>
                  <a:pt x="4412132" y="1774853"/>
                  <a:pt x="4411334" y="1778840"/>
                  <a:pt x="4409869" y="1782434"/>
                </a:cubicBezTo>
                <a:cubicBezTo>
                  <a:pt x="4408405" y="1786026"/>
                  <a:pt x="4406275" y="1789092"/>
                  <a:pt x="4403746" y="1791754"/>
                </a:cubicBezTo>
                <a:cubicBezTo>
                  <a:pt x="4401083" y="1794418"/>
                  <a:pt x="4398022" y="1796542"/>
                  <a:pt x="4394428" y="1798008"/>
                </a:cubicBezTo>
                <a:cubicBezTo>
                  <a:pt x="4390834" y="1799470"/>
                  <a:pt x="4386973" y="1800269"/>
                  <a:pt x="4382713" y="1800269"/>
                </a:cubicBezTo>
                <a:cubicBezTo>
                  <a:pt x="4373661" y="1800269"/>
                  <a:pt x="4366473" y="1797340"/>
                  <a:pt x="4360881" y="1791754"/>
                </a:cubicBezTo>
                <a:cubicBezTo>
                  <a:pt x="4355290" y="1786162"/>
                  <a:pt x="4352495" y="1779105"/>
                  <a:pt x="4352495" y="1770584"/>
                </a:cubicBezTo>
                <a:cubicBezTo>
                  <a:pt x="4352495" y="1762330"/>
                  <a:pt x="4355290" y="1755282"/>
                  <a:pt x="4360881" y="1749560"/>
                </a:cubicBezTo>
                <a:cubicBezTo>
                  <a:pt x="4366473" y="1743829"/>
                  <a:pt x="4373661" y="1740905"/>
                  <a:pt x="4382713" y="1740905"/>
                </a:cubicBezTo>
                <a:close/>
                <a:moveTo>
                  <a:pt x="4165068" y="1740905"/>
                </a:moveTo>
                <a:cubicBezTo>
                  <a:pt x="4169327" y="1740905"/>
                  <a:pt x="4173188" y="1741701"/>
                  <a:pt x="4176782" y="1743568"/>
                </a:cubicBezTo>
                <a:cubicBezTo>
                  <a:pt x="4180509" y="1745164"/>
                  <a:pt x="4183571" y="1747294"/>
                  <a:pt x="4186100" y="1749957"/>
                </a:cubicBezTo>
                <a:cubicBezTo>
                  <a:pt x="4188629" y="1752479"/>
                  <a:pt x="4190759" y="1755679"/>
                  <a:pt x="4192223" y="1759266"/>
                </a:cubicBezTo>
                <a:cubicBezTo>
                  <a:pt x="4193688" y="1762870"/>
                  <a:pt x="4194486" y="1766725"/>
                  <a:pt x="4194486" y="1770725"/>
                </a:cubicBezTo>
                <a:cubicBezTo>
                  <a:pt x="4194486" y="1774853"/>
                  <a:pt x="4193688" y="1778840"/>
                  <a:pt x="4192223" y="1782434"/>
                </a:cubicBezTo>
                <a:cubicBezTo>
                  <a:pt x="4190759" y="1786026"/>
                  <a:pt x="4188629" y="1789092"/>
                  <a:pt x="4186100" y="1791754"/>
                </a:cubicBezTo>
                <a:cubicBezTo>
                  <a:pt x="4183438" y="1794418"/>
                  <a:pt x="4180376" y="1796542"/>
                  <a:pt x="4176782" y="1798008"/>
                </a:cubicBezTo>
                <a:cubicBezTo>
                  <a:pt x="4173188" y="1799470"/>
                  <a:pt x="4169327" y="1800269"/>
                  <a:pt x="4165068" y="1800269"/>
                </a:cubicBezTo>
                <a:cubicBezTo>
                  <a:pt x="4156015" y="1800269"/>
                  <a:pt x="4148827" y="1797340"/>
                  <a:pt x="4143235" y="1791754"/>
                </a:cubicBezTo>
                <a:cubicBezTo>
                  <a:pt x="4137645" y="1786162"/>
                  <a:pt x="4134849" y="1779105"/>
                  <a:pt x="4134849" y="1770584"/>
                </a:cubicBezTo>
                <a:cubicBezTo>
                  <a:pt x="4134849" y="1762330"/>
                  <a:pt x="4137645" y="1755282"/>
                  <a:pt x="4143235" y="1749560"/>
                </a:cubicBezTo>
                <a:cubicBezTo>
                  <a:pt x="4148827" y="1743829"/>
                  <a:pt x="4156015" y="1740905"/>
                  <a:pt x="4165068" y="1740905"/>
                </a:cubicBezTo>
                <a:close/>
                <a:moveTo>
                  <a:pt x="3947524" y="1740905"/>
                </a:moveTo>
                <a:cubicBezTo>
                  <a:pt x="3951784" y="1740905"/>
                  <a:pt x="3955643" y="1741701"/>
                  <a:pt x="3959239" y="1743568"/>
                </a:cubicBezTo>
                <a:cubicBezTo>
                  <a:pt x="3962967" y="1745164"/>
                  <a:pt x="3966028" y="1747294"/>
                  <a:pt x="3968557" y="1749957"/>
                </a:cubicBezTo>
                <a:cubicBezTo>
                  <a:pt x="3971087" y="1752479"/>
                  <a:pt x="3973217" y="1755679"/>
                  <a:pt x="3974681" y="1759266"/>
                </a:cubicBezTo>
                <a:cubicBezTo>
                  <a:pt x="3976145" y="1762870"/>
                  <a:pt x="3976944" y="1766725"/>
                  <a:pt x="3976944" y="1770725"/>
                </a:cubicBezTo>
                <a:cubicBezTo>
                  <a:pt x="3976944" y="1774853"/>
                  <a:pt x="3976145" y="1778840"/>
                  <a:pt x="3974681" y="1782434"/>
                </a:cubicBezTo>
                <a:cubicBezTo>
                  <a:pt x="3973217" y="1786026"/>
                  <a:pt x="3971087" y="1789092"/>
                  <a:pt x="3968557" y="1791754"/>
                </a:cubicBezTo>
                <a:cubicBezTo>
                  <a:pt x="3965895" y="1794418"/>
                  <a:pt x="3962833" y="1796542"/>
                  <a:pt x="3959239" y="1798008"/>
                </a:cubicBezTo>
                <a:cubicBezTo>
                  <a:pt x="3955643" y="1799470"/>
                  <a:pt x="3951784" y="1800269"/>
                  <a:pt x="3947524" y="1800269"/>
                </a:cubicBezTo>
                <a:cubicBezTo>
                  <a:pt x="3938471" y="1800269"/>
                  <a:pt x="3931283" y="1797340"/>
                  <a:pt x="3925691" y="1791754"/>
                </a:cubicBezTo>
                <a:cubicBezTo>
                  <a:pt x="3920100" y="1786162"/>
                  <a:pt x="3917305" y="1779105"/>
                  <a:pt x="3917305" y="1770584"/>
                </a:cubicBezTo>
                <a:cubicBezTo>
                  <a:pt x="3917305" y="1762330"/>
                  <a:pt x="3920100" y="1755282"/>
                  <a:pt x="3925691" y="1749560"/>
                </a:cubicBezTo>
                <a:cubicBezTo>
                  <a:pt x="3931283" y="1743829"/>
                  <a:pt x="3938471" y="1740905"/>
                  <a:pt x="3947524" y="1740905"/>
                </a:cubicBezTo>
                <a:close/>
                <a:moveTo>
                  <a:pt x="3729873" y="1740905"/>
                </a:moveTo>
                <a:cubicBezTo>
                  <a:pt x="3734134" y="1740905"/>
                  <a:pt x="3738126" y="1741701"/>
                  <a:pt x="3741588" y="1743568"/>
                </a:cubicBezTo>
                <a:cubicBezTo>
                  <a:pt x="3745182" y="1745164"/>
                  <a:pt x="3748378" y="1747294"/>
                  <a:pt x="3750907" y="1749957"/>
                </a:cubicBezTo>
                <a:cubicBezTo>
                  <a:pt x="3753436" y="1752479"/>
                  <a:pt x="3755565" y="1755679"/>
                  <a:pt x="3757029" y="1759266"/>
                </a:cubicBezTo>
                <a:cubicBezTo>
                  <a:pt x="3758493" y="1762870"/>
                  <a:pt x="3759292" y="1766725"/>
                  <a:pt x="3759292" y="1770725"/>
                </a:cubicBezTo>
                <a:cubicBezTo>
                  <a:pt x="3759292" y="1774853"/>
                  <a:pt x="3758493" y="1778840"/>
                  <a:pt x="3757029" y="1782434"/>
                </a:cubicBezTo>
                <a:cubicBezTo>
                  <a:pt x="3755565" y="1786026"/>
                  <a:pt x="3753436" y="1789092"/>
                  <a:pt x="3750907" y="1791754"/>
                </a:cubicBezTo>
                <a:cubicBezTo>
                  <a:pt x="3748244" y="1794418"/>
                  <a:pt x="3745182" y="1796542"/>
                  <a:pt x="3741588" y="1798008"/>
                </a:cubicBezTo>
                <a:cubicBezTo>
                  <a:pt x="3737995" y="1799470"/>
                  <a:pt x="3734134" y="1800269"/>
                  <a:pt x="3729873" y="1800269"/>
                </a:cubicBezTo>
                <a:cubicBezTo>
                  <a:pt x="3720821" y="1800269"/>
                  <a:pt x="3713633" y="1797340"/>
                  <a:pt x="3708039" y="1791754"/>
                </a:cubicBezTo>
                <a:cubicBezTo>
                  <a:pt x="3702447" y="1786162"/>
                  <a:pt x="3699653" y="1779105"/>
                  <a:pt x="3699653" y="1770584"/>
                </a:cubicBezTo>
                <a:cubicBezTo>
                  <a:pt x="3699653" y="1762330"/>
                  <a:pt x="3702447" y="1755282"/>
                  <a:pt x="3708039" y="1749560"/>
                </a:cubicBezTo>
                <a:cubicBezTo>
                  <a:pt x="3713633" y="1743829"/>
                  <a:pt x="3720821" y="1740905"/>
                  <a:pt x="3729873" y="1740905"/>
                </a:cubicBezTo>
                <a:close/>
                <a:moveTo>
                  <a:pt x="3512223" y="1740905"/>
                </a:moveTo>
                <a:cubicBezTo>
                  <a:pt x="3516483" y="1740905"/>
                  <a:pt x="3520476" y="1741701"/>
                  <a:pt x="3523938" y="1743568"/>
                </a:cubicBezTo>
                <a:cubicBezTo>
                  <a:pt x="3527532" y="1745164"/>
                  <a:pt x="3530727" y="1747294"/>
                  <a:pt x="3533256" y="1749957"/>
                </a:cubicBezTo>
                <a:cubicBezTo>
                  <a:pt x="3535785" y="1752479"/>
                  <a:pt x="3537916" y="1755679"/>
                  <a:pt x="3539380" y="1759266"/>
                </a:cubicBezTo>
                <a:cubicBezTo>
                  <a:pt x="3540844" y="1762870"/>
                  <a:pt x="3541643" y="1766725"/>
                  <a:pt x="3541643" y="1770725"/>
                </a:cubicBezTo>
                <a:cubicBezTo>
                  <a:pt x="3541643" y="1774853"/>
                  <a:pt x="3540844" y="1778840"/>
                  <a:pt x="3539380" y="1782434"/>
                </a:cubicBezTo>
                <a:cubicBezTo>
                  <a:pt x="3537916" y="1786026"/>
                  <a:pt x="3535785" y="1789092"/>
                  <a:pt x="3533256" y="1791754"/>
                </a:cubicBezTo>
                <a:cubicBezTo>
                  <a:pt x="3530593" y="1794418"/>
                  <a:pt x="3527532" y="1796542"/>
                  <a:pt x="3523938" y="1798008"/>
                </a:cubicBezTo>
                <a:cubicBezTo>
                  <a:pt x="3520344" y="1799470"/>
                  <a:pt x="3516483" y="1800269"/>
                  <a:pt x="3512223" y="1800269"/>
                </a:cubicBezTo>
                <a:cubicBezTo>
                  <a:pt x="3503170" y="1800269"/>
                  <a:pt x="3495981" y="1797340"/>
                  <a:pt x="3490390" y="1791754"/>
                </a:cubicBezTo>
                <a:cubicBezTo>
                  <a:pt x="3484799" y="1786162"/>
                  <a:pt x="3482003" y="1779105"/>
                  <a:pt x="3482003" y="1770584"/>
                </a:cubicBezTo>
                <a:cubicBezTo>
                  <a:pt x="3482003" y="1762330"/>
                  <a:pt x="3484799" y="1755282"/>
                  <a:pt x="3490390" y="1749560"/>
                </a:cubicBezTo>
                <a:cubicBezTo>
                  <a:pt x="3495981" y="1743829"/>
                  <a:pt x="3503170" y="1740905"/>
                  <a:pt x="3512223" y="1740905"/>
                </a:cubicBezTo>
                <a:close/>
                <a:moveTo>
                  <a:pt x="3294706" y="1740905"/>
                </a:moveTo>
                <a:cubicBezTo>
                  <a:pt x="3298833" y="1740905"/>
                  <a:pt x="3302827" y="1741701"/>
                  <a:pt x="3306421" y="1743568"/>
                </a:cubicBezTo>
                <a:cubicBezTo>
                  <a:pt x="3310148" y="1745164"/>
                  <a:pt x="3313210" y="1747294"/>
                  <a:pt x="3315739" y="1749957"/>
                </a:cubicBezTo>
                <a:cubicBezTo>
                  <a:pt x="3318268" y="1752479"/>
                  <a:pt x="3320399" y="1755679"/>
                  <a:pt x="3321863" y="1759266"/>
                </a:cubicBezTo>
                <a:cubicBezTo>
                  <a:pt x="3323327" y="1762870"/>
                  <a:pt x="3324126" y="1766725"/>
                  <a:pt x="3324126" y="1770725"/>
                </a:cubicBezTo>
                <a:cubicBezTo>
                  <a:pt x="3324126" y="1774853"/>
                  <a:pt x="3323327" y="1778840"/>
                  <a:pt x="3321863" y="1782434"/>
                </a:cubicBezTo>
                <a:cubicBezTo>
                  <a:pt x="3320399" y="1786026"/>
                  <a:pt x="3318268" y="1789092"/>
                  <a:pt x="3315739" y="1791754"/>
                </a:cubicBezTo>
                <a:cubicBezTo>
                  <a:pt x="3313076" y="1794418"/>
                  <a:pt x="3310015" y="1796542"/>
                  <a:pt x="3306421" y="1798008"/>
                </a:cubicBezTo>
                <a:cubicBezTo>
                  <a:pt x="3302827" y="1799470"/>
                  <a:pt x="3298966" y="1800269"/>
                  <a:pt x="3294706" y="1800269"/>
                </a:cubicBezTo>
                <a:cubicBezTo>
                  <a:pt x="3285653" y="1800269"/>
                  <a:pt x="3278464" y="1797340"/>
                  <a:pt x="3272872" y="1791754"/>
                </a:cubicBezTo>
                <a:cubicBezTo>
                  <a:pt x="3267281" y="1786162"/>
                  <a:pt x="3264486" y="1779105"/>
                  <a:pt x="3264486" y="1770584"/>
                </a:cubicBezTo>
                <a:cubicBezTo>
                  <a:pt x="3264486" y="1762330"/>
                  <a:pt x="3267281" y="1755282"/>
                  <a:pt x="3272872" y="1749560"/>
                </a:cubicBezTo>
                <a:cubicBezTo>
                  <a:pt x="3278464" y="1743829"/>
                  <a:pt x="3285653" y="1740905"/>
                  <a:pt x="3294706" y="1740905"/>
                </a:cubicBezTo>
                <a:close/>
                <a:moveTo>
                  <a:pt x="3077055" y="1740905"/>
                </a:moveTo>
                <a:cubicBezTo>
                  <a:pt x="3081183" y="1740905"/>
                  <a:pt x="3085177" y="1741701"/>
                  <a:pt x="3088771" y="1743568"/>
                </a:cubicBezTo>
                <a:cubicBezTo>
                  <a:pt x="3092365" y="1745164"/>
                  <a:pt x="3095560" y="1747294"/>
                  <a:pt x="3098089" y="1749957"/>
                </a:cubicBezTo>
                <a:cubicBezTo>
                  <a:pt x="3100618" y="1752479"/>
                  <a:pt x="3102748" y="1755679"/>
                  <a:pt x="3104212" y="1759266"/>
                </a:cubicBezTo>
                <a:cubicBezTo>
                  <a:pt x="3105677" y="1762870"/>
                  <a:pt x="3106475" y="1766725"/>
                  <a:pt x="3106475" y="1770725"/>
                </a:cubicBezTo>
                <a:cubicBezTo>
                  <a:pt x="3106475" y="1774853"/>
                  <a:pt x="3105677" y="1778840"/>
                  <a:pt x="3104212" y="1782434"/>
                </a:cubicBezTo>
                <a:cubicBezTo>
                  <a:pt x="3102748" y="1786026"/>
                  <a:pt x="3100618" y="1789092"/>
                  <a:pt x="3098089" y="1791754"/>
                </a:cubicBezTo>
                <a:cubicBezTo>
                  <a:pt x="3095426" y="1794418"/>
                  <a:pt x="3092365" y="1796542"/>
                  <a:pt x="3088771" y="1798008"/>
                </a:cubicBezTo>
                <a:cubicBezTo>
                  <a:pt x="3085177" y="1799470"/>
                  <a:pt x="3081316" y="1800269"/>
                  <a:pt x="3077055" y="1800269"/>
                </a:cubicBezTo>
                <a:cubicBezTo>
                  <a:pt x="3068136" y="1800269"/>
                  <a:pt x="3060814" y="1797340"/>
                  <a:pt x="3055222" y="1791754"/>
                </a:cubicBezTo>
                <a:cubicBezTo>
                  <a:pt x="3049631" y="1786162"/>
                  <a:pt x="3046836" y="1779105"/>
                  <a:pt x="3046836" y="1770584"/>
                </a:cubicBezTo>
                <a:cubicBezTo>
                  <a:pt x="3046836" y="1762330"/>
                  <a:pt x="3049631" y="1755282"/>
                  <a:pt x="3055222" y="1749560"/>
                </a:cubicBezTo>
                <a:cubicBezTo>
                  <a:pt x="3060814" y="1743829"/>
                  <a:pt x="3068003" y="1740905"/>
                  <a:pt x="3077055" y="1740905"/>
                </a:cubicBezTo>
                <a:close/>
                <a:moveTo>
                  <a:pt x="2859406" y="1740905"/>
                </a:moveTo>
                <a:cubicBezTo>
                  <a:pt x="2863666" y="1740905"/>
                  <a:pt x="2867527" y="1741701"/>
                  <a:pt x="2871254" y="1743568"/>
                </a:cubicBezTo>
                <a:cubicBezTo>
                  <a:pt x="2874981" y="1745164"/>
                  <a:pt x="2878043" y="1747294"/>
                  <a:pt x="2880572" y="1749957"/>
                </a:cubicBezTo>
                <a:cubicBezTo>
                  <a:pt x="2883234" y="1752479"/>
                  <a:pt x="2885231" y="1755679"/>
                  <a:pt x="2886695" y="1759266"/>
                </a:cubicBezTo>
                <a:cubicBezTo>
                  <a:pt x="2888160" y="1762870"/>
                  <a:pt x="2888958" y="1766725"/>
                  <a:pt x="2888958" y="1770725"/>
                </a:cubicBezTo>
                <a:cubicBezTo>
                  <a:pt x="2888958" y="1774853"/>
                  <a:pt x="2888160" y="1778840"/>
                  <a:pt x="2886695" y="1782434"/>
                </a:cubicBezTo>
                <a:cubicBezTo>
                  <a:pt x="2885231" y="1786026"/>
                  <a:pt x="2883101" y="1789092"/>
                  <a:pt x="2880572" y="1791754"/>
                </a:cubicBezTo>
                <a:cubicBezTo>
                  <a:pt x="2877910" y="1794418"/>
                  <a:pt x="2874847" y="1796542"/>
                  <a:pt x="2871254" y="1798008"/>
                </a:cubicBezTo>
                <a:cubicBezTo>
                  <a:pt x="2867527" y="1799470"/>
                  <a:pt x="2863666" y="1800269"/>
                  <a:pt x="2859406" y="1800269"/>
                </a:cubicBezTo>
                <a:cubicBezTo>
                  <a:pt x="2850488" y="1800269"/>
                  <a:pt x="2843163" y="1797340"/>
                  <a:pt x="2837573" y="1791754"/>
                </a:cubicBezTo>
                <a:cubicBezTo>
                  <a:pt x="2831982" y="1786162"/>
                  <a:pt x="2829186" y="1779105"/>
                  <a:pt x="2829186" y="1770584"/>
                </a:cubicBezTo>
                <a:cubicBezTo>
                  <a:pt x="2829186" y="1762330"/>
                  <a:pt x="2831982" y="1755282"/>
                  <a:pt x="2837573" y="1749560"/>
                </a:cubicBezTo>
                <a:cubicBezTo>
                  <a:pt x="2843163" y="1743829"/>
                  <a:pt x="2850354" y="1740905"/>
                  <a:pt x="2859406" y="1740905"/>
                </a:cubicBezTo>
                <a:close/>
                <a:moveTo>
                  <a:pt x="2641755" y="1740905"/>
                </a:moveTo>
                <a:cubicBezTo>
                  <a:pt x="2646016" y="1740905"/>
                  <a:pt x="2649875" y="1741701"/>
                  <a:pt x="2653471" y="1743568"/>
                </a:cubicBezTo>
                <a:cubicBezTo>
                  <a:pt x="2657198" y="1745164"/>
                  <a:pt x="2660260" y="1747294"/>
                  <a:pt x="2662789" y="1749957"/>
                </a:cubicBezTo>
                <a:cubicBezTo>
                  <a:pt x="2665450" y="1752479"/>
                  <a:pt x="2667448" y="1755679"/>
                  <a:pt x="2668912" y="1759266"/>
                </a:cubicBezTo>
                <a:cubicBezTo>
                  <a:pt x="2670376" y="1762870"/>
                  <a:pt x="2671175" y="1766725"/>
                  <a:pt x="2671175" y="1770725"/>
                </a:cubicBezTo>
                <a:cubicBezTo>
                  <a:pt x="2671175" y="1774853"/>
                  <a:pt x="2670376" y="1778840"/>
                  <a:pt x="2668912" y="1782434"/>
                </a:cubicBezTo>
                <a:cubicBezTo>
                  <a:pt x="2667448" y="1786026"/>
                  <a:pt x="2665318" y="1789092"/>
                  <a:pt x="2662789" y="1791754"/>
                </a:cubicBezTo>
                <a:cubicBezTo>
                  <a:pt x="2660260" y="1794418"/>
                  <a:pt x="2657064" y="1796542"/>
                  <a:pt x="2653471" y="1798008"/>
                </a:cubicBezTo>
                <a:cubicBezTo>
                  <a:pt x="2649875" y="1799470"/>
                  <a:pt x="2646016" y="1800269"/>
                  <a:pt x="2641755" y="1800269"/>
                </a:cubicBezTo>
                <a:cubicBezTo>
                  <a:pt x="2632836" y="1800269"/>
                  <a:pt x="2625515" y="1797340"/>
                  <a:pt x="2619923" y="1791754"/>
                </a:cubicBezTo>
                <a:cubicBezTo>
                  <a:pt x="2614333" y="1786162"/>
                  <a:pt x="2611536" y="1779105"/>
                  <a:pt x="2611536" y="1770584"/>
                </a:cubicBezTo>
                <a:cubicBezTo>
                  <a:pt x="2611536" y="1762330"/>
                  <a:pt x="2614333" y="1755282"/>
                  <a:pt x="2619923" y="1749560"/>
                </a:cubicBezTo>
                <a:cubicBezTo>
                  <a:pt x="2625515" y="1743829"/>
                  <a:pt x="2632703" y="1740905"/>
                  <a:pt x="2641755" y="1740905"/>
                </a:cubicBezTo>
                <a:close/>
                <a:moveTo>
                  <a:pt x="2424105" y="1740905"/>
                </a:moveTo>
                <a:cubicBezTo>
                  <a:pt x="2428365" y="1740905"/>
                  <a:pt x="2432359" y="1741701"/>
                  <a:pt x="2435820" y="1743568"/>
                </a:cubicBezTo>
                <a:cubicBezTo>
                  <a:pt x="2439547" y="1745164"/>
                  <a:pt x="2442609" y="1747294"/>
                  <a:pt x="2445138" y="1749957"/>
                </a:cubicBezTo>
                <a:cubicBezTo>
                  <a:pt x="2447801" y="1752479"/>
                  <a:pt x="2449798" y="1755679"/>
                  <a:pt x="2451262" y="1759266"/>
                </a:cubicBezTo>
                <a:cubicBezTo>
                  <a:pt x="2452725" y="1762870"/>
                  <a:pt x="2453524" y="1766725"/>
                  <a:pt x="2453524" y="1770725"/>
                </a:cubicBezTo>
                <a:cubicBezTo>
                  <a:pt x="2453524" y="1774853"/>
                  <a:pt x="2452725" y="1778840"/>
                  <a:pt x="2451262" y="1782434"/>
                </a:cubicBezTo>
                <a:cubicBezTo>
                  <a:pt x="2449798" y="1786026"/>
                  <a:pt x="2447667" y="1789092"/>
                  <a:pt x="2445138" y="1791754"/>
                </a:cubicBezTo>
                <a:cubicBezTo>
                  <a:pt x="2442609" y="1794418"/>
                  <a:pt x="2439414" y="1796542"/>
                  <a:pt x="2435820" y="1798008"/>
                </a:cubicBezTo>
                <a:cubicBezTo>
                  <a:pt x="2432226" y="1799470"/>
                  <a:pt x="2428365" y="1800269"/>
                  <a:pt x="2424105" y="1800269"/>
                </a:cubicBezTo>
                <a:cubicBezTo>
                  <a:pt x="2415187" y="1800269"/>
                  <a:pt x="2407864" y="1797340"/>
                  <a:pt x="2402273" y="1791754"/>
                </a:cubicBezTo>
                <a:cubicBezTo>
                  <a:pt x="2396682" y="1786162"/>
                  <a:pt x="2393886" y="1779105"/>
                  <a:pt x="2393886" y="1770584"/>
                </a:cubicBezTo>
                <a:cubicBezTo>
                  <a:pt x="2393886" y="1762330"/>
                  <a:pt x="2396682" y="1755282"/>
                  <a:pt x="2402273" y="1749560"/>
                </a:cubicBezTo>
                <a:cubicBezTo>
                  <a:pt x="2407864" y="1743829"/>
                  <a:pt x="2415053" y="1740905"/>
                  <a:pt x="2424105" y="1740905"/>
                </a:cubicBezTo>
                <a:close/>
                <a:moveTo>
                  <a:pt x="2206455" y="1740905"/>
                </a:moveTo>
                <a:cubicBezTo>
                  <a:pt x="2210715" y="1740905"/>
                  <a:pt x="2214709" y="1741701"/>
                  <a:pt x="2218170" y="1743568"/>
                </a:cubicBezTo>
                <a:cubicBezTo>
                  <a:pt x="2221897" y="1745164"/>
                  <a:pt x="2224958" y="1747294"/>
                  <a:pt x="2227488" y="1749957"/>
                </a:cubicBezTo>
                <a:cubicBezTo>
                  <a:pt x="2230150" y="1752479"/>
                  <a:pt x="2232147" y="1755679"/>
                  <a:pt x="2233611" y="1759266"/>
                </a:cubicBezTo>
                <a:cubicBezTo>
                  <a:pt x="2235075" y="1762870"/>
                  <a:pt x="2235874" y="1766725"/>
                  <a:pt x="2235874" y="1770725"/>
                </a:cubicBezTo>
                <a:cubicBezTo>
                  <a:pt x="2235874" y="1774853"/>
                  <a:pt x="2235075" y="1778840"/>
                  <a:pt x="2233611" y="1782434"/>
                </a:cubicBezTo>
                <a:cubicBezTo>
                  <a:pt x="2232147" y="1786026"/>
                  <a:pt x="2230017" y="1789092"/>
                  <a:pt x="2227488" y="1791754"/>
                </a:cubicBezTo>
                <a:cubicBezTo>
                  <a:pt x="2224958" y="1794418"/>
                  <a:pt x="2221764" y="1796542"/>
                  <a:pt x="2218170" y="1798008"/>
                </a:cubicBezTo>
                <a:cubicBezTo>
                  <a:pt x="2214575" y="1799470"/>
                  <a:pt x="2210715" y="1800269"/>
                  <a:pt x="2206455" y="1800269"/>
                </a:cubicBezTo>
                <a:cubicBezTo>
                  <a:pt x="2197402" y="1800269"/>
                  <a:pt x="2190214" y="1797340"/>
                  <a:pt x="2184623" y="1791754"/>
                </a:cubicBezTo>
                <a:cubicBezTo>
                  <a:pt x="2179032" y="1786162"/>
                  <a:pt x="2176236" y="1779105"/>
                  <a:pt x="2176236" y="1770584"/>
                </a:cubicBezTo>
                <a:cubicBezTo>
                  <a:pt x="2176236" y="1762330"/>
                  <a:pt x="2179032" y="1755282"/>
                  <a:pt x="2184623" y="1749560"/>
                </a:cubicBezTo>
                <a:cubicBezTo>
                  <a:pt x="2190214" y="1743829"/>
                  <a:pt x="2197402" y="1740905"/>
                  <a:pt x="2206455" y="1740905"/>
                </a:cubicBezTo>
                <a:close/>
                <a:moveTo>
                  <a:pt x="1988937" y="1740905"/>
                </a:moveTo>
                <a:cubicBezTo>
                  <a:pt x="1993064" y="1740905"/>
                  <a:pt x="1997059" y="1741701"/>
                  <a:pt x="2000653" y="1743568"/>
                </a:cubicBezTo>
                <a:cubicBezTo>
                  <a:pt x="2004380" y="1745164"/>
                  <a:pt x="2007442" y="1747294"/>
                  <a:pt x="2009971" y="1749957"/>
                </a:cubicBezTo>
                <a:cubicBezTo>
                  <a:pt x="2012633" y="1752479"/>
                  <a:pt x="2014630" y="1755679"/>
                  <a:pt x="2016094" y="1759266"/>
                </a:cubicBezTo>
                <a:cubicBezTo>
                  <a:pt x="2017558" y="1762870"/>
                  <a:pt x="2018357" y="1766725"/>
                  <a:pt x="2018357" y="1770725"/>
                </a:cubicBezTo>
                <a:cubicBezTo>
                  <a:pt x="2018357" y="1774853"/>
                  <a:pt x="2017558" y="1778840"/>
                  <a:pt x="2016094" y="1782434"/>
                </a:cubicBezTo>
                <a:cubicBezTo>
                  <a:pt x="2014630" y="1786026"/>
                  <a:pt x="2012500" y="1789092"/>
                  <a:pt x="2009971" y="1791754"/>
                </a:cubicBezTo>
                <a:cubicBezTo>
                  <a:pt x="2007442" y="1794418"/>
                  <a:pt x="2004246" y="1796542"/>
                  <a:pt x="2000653" y="1798008"/>
                </a:cubicBezTo>
                <a:cubicBezTo>
                  <a:pt x="1997059" y="1799470"/>
                  <a:pt x="1993197" y="1800269"/>
                  <a:pt x="1988937" y="1800269"/>
                </a:cubicBezTo>
                <a:cubicBezTo>
                  <a:pt x="1979886" y="1800269"/>
                  <a:pt x="1972697" y="1797340"/>
                  <a:pt x="1967106" y="1791754"/>
                </a:cubicBezTo>
                <a:cubicBezTo>
                  <a:pt x="1961516" y="1786162"/>
                  <a:pt x="1958720" y="1779105"/>
                  <a:pt x="1958720" y="1770584"/>
                </a:cubicBezTo>
                <a:cubicBezTo>
                  <a:pt x="1958720" y="1762330"/>
                  <a:pt x="1961516" y="1755282"/>
                  <a:pt x="1967106" y="1749560"/>
                </a:cubicBezTo>
                <a:cubicBezTo>
                  <a:pt x="1972697" y="1743829"/>
                  <a:pt x="1979886" y="1740905"/>
                  <a:pt x="1988937" y="1740905"/>
                </a:cubicBezTo>
                <a:close/>
                <a:moveTo>
                  <a:pt x="1771296" y="1740905"/>
                </a:moveTo>
                <a:cubicBezTo>
                  <a:pt x="1775556" y="1740905"/>
                  <a:pt x="1779416" y="1741701"/>
                  <a:pt x="1783011" y="1743568"/>
                </a:cubicBezTo>
                <a:cubicBezTo>
                  <a:pt x="1786738" y="1745164"/>
                  <a:pt x="1789800" y="1747294"/>
                  <a:pt x="1792329" y="1749957"/>
                </a:cubicBezTo>
                <a:cubicBezTo>
                  <a:pt x="1794991" y="1752479"/>
                  <a:pt x="1796988" y="1755679"/>
                  <a:pt x="1798452" y="1759266"/>
                </a:cubicBezTo>
                <a:cubicBezTo>
                  <a:pt x="1799916" y="1762870"/>
                  <a:pt x="1800715" y="1766725"/>
                  <a:pt x="1800715" y="1770725"/>
                </a:cubicBezTo>
                <a:cubicBezTo>
                  <a:pt x="1800715" y="1774853"/>
                  <a:pt x="1799916" y="1778840"/>
                  <a:pt x="1798452" y="1782434"/>
                </a:cubicBezTo>
                <a:cubicBezTo>
                  <a:pt x="1796988" y="1786026"/>
                  <a:pt x="1794858" y="1789092"/>
                  <a:pt x="1792329" y="1791754"/>
                </a:cubicBezTo>
                <a:cubicBezTo>
                  <a:pt x="1789666" y="1794418"/>
                  <a:pt x="1786605" y="1796542"/>
                  <a:pt x="1783011" y="1798008"/>
                </a:cubicBezTo>
                <a:cubicBezTo>
                  <a:pt x="1779416" y="1799470"/>
                  <a:pt x="1775556" y="1800269"/>
                  <a:pt x="1771296" y="1800269"/>
                </a:cubicBezTo>
                <a:cubicBezTo>
                  <a:pt x="1762377" y="1800269"/>
                  <a:pt x="1755056" y="1797340"/>
                  <a:pt x="1749466" y="1791754"/>
                </a:cubicBezTo>
                <a:cubicBezTo>
                  <a:pt x="1743874" y="1786162"/>
                  <a:pt x="1741080" y="1779105"/>
                  <a:pt x="1741080" y="1770584"/>
                </a:cubicBezTo>
                <a:cubicBezTo>
                  <a:pt x="1741080" y="1762330"/>
                  <a:pt x="1743874" y="1755282"/>
                  <a:pt x="1749466" y="1749560"/>
                </a:cubicBezTo>
                <a:cubicBezTo>
                  <a:pt x="1755056" y="1743829"/>
                  <a:pt x="1762244" y="1740905"/>
                  <a:pt x="1771296" y="1740905"/>
                </a:cubicBezTo>
                <a:close/>
                <a:moveTo>
                  <a:pt x="1553653" y="1740905"/>
                </a:moveTo>
                <a:cubicBezTo>
                  <a:pt x="1557913" y="1740905"/>
                  <a:pt x="1561774" y="1741701"/>
                  <a:pt x="1565368" y="1743568"/>
                </a:cubicBezTo>
                <a:cubicBezTo>
                  <a:pt x="1568963" y="1745164"/>
                  <a:pt x="1572157" y="1747294"/>
                  <a:pt x="1574687" y="1749957"/>
                </a:cubicBezTo>
                <a:cubicBezTo>
                  <a:pt x="1577349" y="1752479"/>
                  <a:pt x="1579346" y="1755679"/>
                  <a:pt x="1580810" y="1759266"/>
                </a:cubicBezTo>
                <a:cubicBezTo>
                  <a:pt x="1582274" y="1762870"/>
                  <a:pt x="1583073" y="1766725"/>
                  <a:pt x="1583073" y="1770725"/>
                </a:cubicBezTo>
                <a:cubicBezTo>
                  <a:pt x="1583073" y="1774853"/>
                  <a:pt x="1582274" y="1778840"/>
                  <a:pt x="1580810" y="1782434"/>
                </a:cubicBezTo>
                <a:cubicBezTo>
                  <a:pt x="1579346" y="1786026"/>
                  <a:pt x="1577215" y="1789092"/>
                  <a:pt x="1574687" y="1791754"/>
                </a:cubicBezTo>
                <a:cubicBezTo>
                  <a:pt x="1572024" y="1794418"/>
                  <a:pt x="1568963" y="1796542"/>
                  <a:pt x="1565368" y="1798008"/>
                </a:cubicBezTo>
                <a:cubicBezTo>
                  <a:pt x="1561774" y="1799470"/>
                  <a:pt x="1557913" y="1800269"/>
                  <a:pt x="1553653" y="1800269"/>
                </a:cubicBezTo>
                <a:cubicBezTo>
                  <a:pt x="1544735" y="1800269"/>
                  <a:pt x="1537413" y="1797340"/>
                  <a:pt x="1531822" y="1791754"/>
                </a:cubicBezTo>
                <a:cubicBezTo>
                  <a:pt x="1526233" y="1786162"/>
                  <a:pt x="1523436" y="1779105"/>
                  <a:pt x="1523436" y="1770584"/>
                </a:cubicBezTo>
                <a:cubicBezTo>
                  <a:pt x="1523436" y="1762330"/>
                  <a:pt x="1526233" y="1755282"/>
                  <a:pt x="1531822" y="1749560"/>
                </a:cubicBezTo>
                <a:cubicBezTo>
                  <a:pt x="1537413" y="1743829"/>
                  <a:pt x="1544601" y="1740905"/>
                  <a:pt x="1553653" y="1740905"/>
                </a:cubicBezTo>
                <a:close/>
                <a:moveTo>
                  <a:pt x="1336008" y="1740905"/>
                </a:moveTo>
                <a:cubicBezTo>
                  <a:pt x="1340269" y="1740905"/>
                  <a:pt x="1344264" y="1741701"/>
                  <a:pt x="1347724" y="1743568"/>
                </a:cubicBezTo>
                <a:cubicBezTo>
                  <a:pt x="1351318" y="1745164"/>
                  <a:pt x="1354512" y="1747294"/>
                  <a:pt x="1357042" y="1749957"/>
                </a:cubicBezTo>
                <a:cubicBezTo>
                  <a:pt x="1359705" y="1752479"/>
                  <a:pt x="1361701" y="1755679"/>
                  <a:pt x="1363165" y="1759266"/>
                </a:cubicBezTo>
                <a:cubicBezTo>
                  <a:pt x="1364630" y="1762870"/>
                  <a:pt x="1365428" y="1766725"/>
                  <a:pt x="1365428" y="1770725"/>
                </a:cubicBezTo>
                <a:cubicBezTo>
                  <a:pt x="1365428" y="1774853"/>
                  <a:pt x="1364630" y="1778840"/>
                  <a:pt x="1363165" y="1782434"/>
                </a:cubicBezTo>
                <a:cubicBezTo>
                  <a:pt x="1361701" y="1786026"/>
                  <a:pt x="1359571" y="1789092"/>
                  <a:pt x="1357042" y="1791754"/>
                </a:cubicBezTo>
                <a:cubicBezTo>
                  <a:pt x="1354378" y="1794418"/>
                  <a:pt x="1351318" y="1796542"/>
                  <a:pt x="1347724" y="1798008"/>
                </a:cubicBezTo>
                <a:cubicBezTo>
                  <a:pt x="1344129" y="1799470"/>
                  <a:pt x="1340269" y="1800269"/>
                  <a:pt x="1336008" y="1800269"/>
                </a:cubicBezTo>
                <a:cubicBezTo>
                  <a:pt x="1327089" y="1800269"/>
                  <a:pt x="1319768" y="1797340"/>
                  <a:pt x="1314177" y="1791754"/>
                </a:cubicBezTo>
                <a:cubicBezTo>
                  <a:pt x="1308586" y="1786162"/>
                  <a:pt x="1305792" y="1779105"/>
                  <a:pt x="1305792" y="1770584"/>
                </a:cubicBezTo>
                <a:cubicBezTo>
                  <a:pt x="1305792" y="1762330"/>
                  <a:pt x="1308586" y="1755282"/>
                  <a:pt x="1314177" y="1749560"/>
                </a:cubicBezTo>
                <a:cubicBezTo>
                  <a:pt x="1319768" y="1743829"/>
                  <a:pt x="1326957" y="1740905"/>
                  <a:pt x="1336008" y="1740905"/>
                </a:cubicBezTo>
                <a:close/>
                <a:moveTo>
                  <a:pt x="1118364" y="1740905"/>
                </a:moveTo>
                <a:cubicBezTo>
                  <a:pt x="1122624" y="1740905"/>
                  <a:pt x="1126619" y="1741701"/>
                  <a:pt x="1130080" y="1743568"/>
                </a:cubicBezTo>
                <a:cubicBezTo>
                  <a:pt x="1133807" y="1745164"/>
                  <a:pt x="1136869" y="1747294"/>
                  <a:pt x="1139397" y="1749957"/>
                </a:cubicBezTo>
                <a:cubicBezTo>
                  <a:pt x="1142059" y="1752479"/>
                  <a:pt x="1144055" y="1755679"/>
                  <a:pt x="1145519" y="1759266"/>
                </a:cubicBezTo>
                <a:cubicBezTo>
                  <a:pt x="1146984" y="1762870"/>
                  <a:pt x="1147782" y="1766725"/>
                  <a:pt x="1147782" y="1770725"/>
                </a:cubicBezTo>
                <a:cubicBezTo>
                  <a:pt x="1147782" y="1774853"/>
                  <a:pt x="1146984" y="1778840"/>
                  <a:pt x="1145519" y="1782434"/>
                </a:cubicBezTo>
                <a:cubicBezTo>
                  <a:pt x="1144055" y="1786026"/>
                  <a:pt x="1141926" y="1789092"/>
                  <a:pt x="1139397" y="1791754"/>
                </a:cubicBezTo>
                <a:cubicBezTo>
                  <a:pt x="1136869" y="1794418"/>
                  <a:pt x="1133674" y="1796542"/>
                  <a:pt x="1130080" y="1798008"/>
                </a:cubicBezTo>
                <a:cubicBezTo>
                  <a:pt x="1126484" y="1799470"/>
                  <a:pt x="1122624" y="1800269"/>
                  <a:pt x="1118364" y="1800269"/>
                </a:cubicBezTo>
                <a:cubicBezTo>
                  <a:pt x="1109445" y="1800269"/>
                  <a:pt x="1102122" y="1797340"/>
                  <a:pt x="1096531" y="1791754"/>
                </a:cubicBezTo>
                <a:cubicBezTo>
                  <a:pt x="1090941" y="1786162"/>
                  <a:pt x="1088146" y="1779105"/>
                  <a:pt x="1088146" y="1770584"/>
                </a:cubicBezTo>
                <a:cubicBezTo>
                  <a:pt x="1088146" y="1762330"/>
                  <a:pt x="1090941" y="1755282"/>
                  <a:pt x="1096531" y="1749560"/>
                </a:cubicBezTo>
                <a:cubicBezTo>
                  <a:pt x="1102122" y="1743829"/>
                  <a:pt x="1109311" y="1740905"/>
                  <a:pt x="1118364" y="1740905"/>
                </a:cubicBezTo>
                <a:close/>
                <a:moveTo>
                  <a:pt x="900852" y="1740905"/>
                </a:moveTo>
                <a:cubicBezTo>
                  <a:pt x="904979" y="1740905"/>
                  <a:pt x="908973" y="1741701"/>
                  <a:pt x="912567" y="1743568"/>
                </a:cubicBezTo>
                <a:cubicBezTo>
                  <a:pt x="916294" y="1745164"/>
                  <a:pt x="919356" y="1747294"/>
                  <a:pt x="921885" y="1749957"/>
                </a:cubicBezTo>
                <a:cubicBezTo>
                  <a:pt x="924547" y="1752479"/>
                  <a:pt x="926544" y="1755679"/>
                  <a:pt x="928008" y="1759266"/>
                </a:cubicBezTo>
                <a:cubicBezTo>
                  <a:pt x="929472" y="1762870"/>
                  <a:pt x="930271" y="1766725"/>
                  <a:pt x="930271" y="1770725"/>
                </a:cubicBezTo>
                <a:cubicBezTo>
                  <a:pt x="930271" y="1774853"/>
                  <a:pt x="929472" y="1778840"/>
                  <a:pt x="928008" y="1782434"/>
                </a:cubicBezTo>
                <a:cubicBezTo>
                  <a:pt x="926544" y="1786026"/>
                  <a:pt x="924414" y="1789092"/>
                  <a:pt x="921885" y="1791754"/>
                </a:cubicBezTo>
                <a:cubicBezTo>
                  <a:pt x="919356" y="1794418"/>
                  <a:pt x="916161" y="1796542"/>
                  <a:pt x="912567" y="1798008"/>
                </a:cubicBezTo>
                <a:cubicBezTo>
                  <a:pt x="908973" y="1799470"/>
                  <a:pt x="905112" y="1800269"/>
                  <a:pt x="900852" y="1800269"/>
                </a:cubicBezTo>
                <a:cubicBezTo>
                  <a:pt x="891933" y="1800269"/>
                  <a:pt x="884611" y="1797340"/>
                  <a:pt x="879021" y="1791754"/>
                </a:cubicBezTo>
                <a:cubicBezTo>
                  <a:pt x="873431" y="1786162"/>
                  <a:pt x="870635" y="1779105"/>
                  <a:pt x="870635" y="1770584"/>
                </a:cubicBezTo>
                <a:cubicBezTo>
                  <a:pt x="870635" y="1762330"/>
                  <a:pt x="873431" y="1755282"/>
                  <a:pt x="879021" y="1749560"/>
                </a:cubicBezTo>
                <a:cubicBezTo>
                  <a:pt x="884611" y="1743829"/>
                  <a:pt x="891800" y="1740905"/>
                  <a:pt x="900852" y="1740905"/>
                </a:cubicBezTo>
                <a:close/>
                <a:moveTo>
                  <a:pt x="683208" y="1740905"/>
                </a:moveTo>
                <a:cubicBezTo>
                  <a:pt x="687468" y="1740905"/>
                  <a:pt x="691329" y="1741701"/>
                  <a:pt x="694924" y="1743568"/>
                </a:cubicBezTo>
                <a:cubicBezTo>
                  <a:pt x="698651" y="1745164"/>
                  <a:pt x="701712" y="1747294"/>
                  <a:pt x="704241" y="1749957"/>
                </a:cubicBezTo>
                <a:cubicBezTo>
                  <a:pt x="706903" y="1752479"/>
                  <a:pt x="708901" y="1755679"/>
                  <a:pt x="710364" y="1759266"/>
                </a:cubicBezTo>
                <a:cubicBezTo>
                  <a:pt x="711829" y="1762870"/>
                  <a:pt x="712628" y="1766725"/>
                  <a:pt x="712628" y="1770725"/>
                </a:cubicBezTo>
                <a:cubicBezTo>
                  <a:pt x="712628" y="1774853"/>
                  <a:pt x="711829" y="1778840"/>
                  <a:pt x="710364" y="1782434"/>
                </a:cubicBezTo>
                <a:cubicBezTo>
                  <a:pt x="708901" y="1786026"/>
                  <a:pt x="706771" y="1789092"/>
                  <a:pt x="704241" y="1791754"/>
                </a:cubicBezTo>
                <a:cubicBezTo>
                  <a:pt x="701712" y="1794418"/>
                  <a:pt x="698518" y="1796542"/>
                  <a:pt x="694924" y="1798008"/>
                </a:cubicBezTo>
                <a:cubicBezTo>
                  <a:pt x="691329" y="1799470"/>
                  <a:pt x="687468" y="1800269"/>
                  <a:pt x="683208" y="1800269"/>
                </a:cubicBezTo>
                <a:cubicBezTo>
                  <a:pt x="674290" y="1800269"/>
                  <a:pt x="666968" y="1797340"/>
                  <a:pt x="661377" y="1791754"/>
                </a:cubicBezTo>
                <a:cubicBezTo>
                  <a:pt x="655786" y="1786162"/>
                  <a:pt x="652991" y="1779105"/>
                  <a:pt x="652991" y="1770584"/>
                </a:cubicBezTo>
                <a:cubicBezTo>
                  <a:pt x="652991" y="1762330"/>
                  <a:pt x="655786" y="1755282"/>
                  <a:pt x="661377" y="1749560"/>
                </a:cubicBezTo>
                <a:cubicBezTo>
                  <a:pt x="666968" y="1743829"/>
                  <a:pt x="674157" y="1740905"/>
                  <a:pt x="683208" y="1740905"/>
                </a:cubicBezTo>
                <a:close/>
                <a:moveTo>
                  <a:pt x="465565" y="1740905"/>
                </a:moveTo>
                <a:cubicBezTo>
                  <a:pt x="469825" y="1740905"/>
                  <a:pt x="473685" y="1741701"/>
                  <a:pt x="477280" y="1743568"/>
                </a:cubicBezTo>
                <a:cubicBezTo>
                  <a:pt x="481007" y="1745164"/>
                  <a:pt x="484069" y="1747294"/>
                  <a:pt x="486598" y="1749957"/>
                </a:cubicBezTo>
                <a:cubicBezTo>
                  <a:pt x="489260" y="1752479"/>
                  <a:pt x="491257" y="1755679"/>
                  <a:pt x="492721" y="1759266"/>
                </a:cubicBezTo>
                <a:cubicBezTo>
                  <a:pt x="494185" y="1762870"/>
                  <a:pt x="494984" y="1766725"/>
                  <a:pt x="494984" y="1770725"/>
                </a:cubicBezTo>
                <a:cubicBezTo>
                  <a:pt x="494984" y="1774853"/>
                  <a:pt x="494185" y="1778840"/>
                  <a:pt x="492721" y="1782434"/>
                </a:cubicBezTo>
                <a:cubicBezTo>
                  <a:pt x="491257" y="1786026"/>
                  <a:pt x="489127" y="1789092"/>
                  <a:pt x="486598" y="1791754"/>
                </a:cubicBezTo>
                <a:cubicBezTo>
                  <a:pt x="483935" y="1794418"/>
                  <a:pt x="480874" y="1796542"/>
                  <a:pt x="477280" y="1798008"/>
                </a:cubicBezTo>
                <a:cubicBezTo>
                  <a:pt x="473685" y="1799470"/>
                  <a:pt x="469825" y="1800269"/>
                  <a:pt x="465565" y="1800269"/>
                </a:cubicBezTo>
                <a:cubicBezTo>
                  <a:pt x="456646" y="1800269"/>
                  <a:pt x="449324" y="1797340"/>
                  <a:pt x="443733" y="1791754"/>
                </a:cubicBezTo>
                <a:cubicBezTo>
                  <a:pt x="438143" y="1786162"/>
                  <a:pt x="435347" y="1779105"/>
                  <a:pt x="435347" y="1770584"/>
                </a:cubicBezTo>
                <a:cubicBezTo>
                  <a:pt x="435347" y="1762330"/>
                  <a:pt x="438143" y="1755282"/>
                  <a:pt x="443733" y="1749560"/>
                </a:cubicBezTo>
                <a:cubicBezTo>
                  <a:pt x="449324" y="1743829"/>
                  <a:pt x="456514" y="1740905"/>
                  <a:pt x="465565" y="1740905"/>
                </a:cubicBezTo>
                <a:close/>
                <a:moveTo>
                  <a:pt x="247921" y="1740905"/>
                </a:moveTo>
                <a:cubicBezTo>
                  <a:pt x="252181" y="1740905"/>
                  <a:pt x="256175" y="1741701"/>
                  <a:pt x="259636" y="1743568"/>
                </a:cubicBezTo>
                <a:cubicBezTo>
                  <a:pt x="263363" y="1745164"/>
                  <a:pt x="266425" y="1747294"/>
                  <a:pt x="268954" y="1749957"/>
                </a:cubicBezTo>
                <a:cubicBezTo>
                  <a:pt x="271616" y="1752479"/>
                  <a:pt x="273613" y="1755679"/>
                  <a:pt x="275077" y="1759266"/>
                </a:cubicBezTo>
                <a:cubicBezTo>
                  <a:pt x="276541" y="1762870"/>
                  <a:pt x="277340" y="1766725"/>
                  <a:pt x="277340" y="1770725"/>
                </a:cubicBezTo>
                <a:cubicBezTo>
                  <a:pt x="277340" y="1774853"/>
                  <a:pt x="276541" y="1778840"/>
                  <a:pt x="275077" y="1782434"/>
                </a:cubicBezTo>
                <a:cubicBezTo>
                  <a:pt x="273613" y="1786026"/>
                  <a:pt x="271483" y="1789092"/>
                  <a:pt x="268954" y="1791754"/>
                </a:cubicBezTo>
                <a:cubicBezTo>
                  <a:pt x="266291" y="1794418"/>
                  <a:pt x="263230" y="1796542"/>
                  <a:pt x="259636" y="1798008"/>
                </a:cubicBezTo>
                <a:cubicBezTo>
                  <a:pt x="256041" y="1799470"/>
                  <a:pt x="252181" y="1800269"/>
                  <a:pt x="247921" y="1800269"/>
                </a:cubicBezTo>
                <a:cubicBezTo>
                  <a:pt x="239003" y="1800269"/>
                  <a:pt x="231681" y="1797340"/>
                  <a:pt x="226090" y="1791754"/>
                </a:cubicBezTo>
                <a:cubicBezTo>
                  <a:pt x="220500" y="1786162"/>
                  <a:pt x="217704" y="1779105"/>
                  <a:pt x="217704" y="1770584"/>
                </a:cubicBezTo>
                <a:cubicBezTo>
                  <a:pt x="217704" y="1762330"/>
                  <a:pt x="220500" y="1755282"/>
                  <a:pt x="226090" y="1749560"/>
                </a:cubicBezTo>
                <a:cubicBezTo>
                  <a:pt x="231681" y="1743829"/>
                  <a:pt x="238869" y="1740905"/>
                  <a:pt x="247921" y="1740905"/>
                </a:cubicBezTo>
                <a:close/>
                <a:moveTo>
                  <a:pt x="30277" y="1740905"/>
                </a:moveTo>
                <a:cubicBezTo>
                  <a:pt x="34537" y="1740905"/>
                  <a:pt x="38531" y="1741701"/>
                  <a:pt x="41993" y="1743568"/>
                </a:cubicBezTo>
                <a:cubicBezTo>
                  <a:pt x="45720" y="1745164"/>
                  <a:pt x="48782" y="1747294"/>
                  <a:pt x="51311" y="1749957"/>
                </a:cubicBezTo>
                <a:cubicBezTo>
                  <a:pt x="53973" y="1752479"/>
                  <a:pt x="55970" y="1755679"/>
                  <a:pt x="57434" y="1759266"/>
                </a:cubicBezTo>
                <a:cubicBezTo>
                  <a:pt x="58898" y="1762870"/>
                  <a:pt x="59697" y="1766725"/>
                  <a:pt x="59697" y="1770725"/>
                </a:cubicBezTo>
                <a:cubicBezTo>
                  <a:pt x="59697" y="1774853"/>
                  <a:pt x="58898" y="1778840"/>
                  <a:pt x="57434" y="1782434"/>
                </a:cubicBezTo>
                <a:cubicBezTo>
                  <a:pt x="55970" y="1786026"/>
                  <a:pt x="53840" y="1789092"/>
                  <a:pt x="51311" y="1791754"/>
                </a:cubicBezTo>
                <a:cubicBezTo>
                  <a:pt x="48648" y="1794418"/>
                  <a:pt x="45587" y="1796542"/>
                  <a:pt x="41993" y="1798008"/>
                </a:cubicBezTo>
                <a:cubicBezTo>
                  <a:pt x="38398" y="1799470"/>
                  <a:pt x="34537" y="1800269"/>
                  <a:pt x="30277" y="1800269"/>
                </a:cubicBezTo>
                <a:cubicBezTo>
                  <a:pt x="21359" y="1800269"/>
                  <a:pt x="14038" y="1797340"/>
                  <a:pt x="8447" y="1791754"/>
                </a:cubicBezTo>
                <a:cubicBezTo>
                  <a:pt x="2856" y="1786162"/>
                  <a:pt x="61" y="1779105"/>
                  <a:pt x="61" y="1770584"/>
                </a:cubicBezTo>
                <a:cubicBezTo>
                  <a:pt x="61" y="1762330"/>
                  <a:pt x="2856" y="1755282"/>
                  <a:pt x="8447" y="1749560"/>
                </a:cubicBezTo>
                <a:cubicBezTo>
                  <a:pt x="14038" y="1743829"/>
                  <a:pt x="21225" y="1740905"/>
                  <a:pt x="30277" y="1740905"/>
                </a:cubicBezTo>
                <a:close/>
                <a:moveTo>
                  <a:pt x="10475977" y="1540033"/>
                </a:moveTo>
                <a:cubicBezTo>
                  <a:pt x="10470119" y="1540033"/>
                  <a:pt x="10467589" y="1542023"/>
                  <a:pt x="10465992" y="1543620"/>
                </a:cubicBezTo>
                <a:cubicBezTo>
                  <a:pt x="10463463" y="1546289"/>
                  <a:pt x="10462399" y="1549082"/>
                  <a:pt x="10462399" y="1553078"/>
                </a:cubicBezTo>
                <a:cubicBezTo>
                  <a:pt x="10462399" y="1557204"/>
                  <a:pt x="10463463" y="1559998"/>
                  <a:pt x="10465992" y="1562528"/>
                </a:cubicBezTo>
                <a:cubicBezTo>
                  <a:pt x="10467589" y="1564126"/>
                  <a:pt x="10470119" y="1565990"/>
                  <a:pt x="10475977" y="1565990"/>
                </a:cubicBezTo>
                <a:cubicBezTo>
                  <a:pt x="10478107" y="1565990"/>
                  <a:pt x="10479838" y="1565717"/>
                  <a:pt x="10481302" y="1564919"/>
                </a:cubicBezTo>
                <a:cubicBezTo>
                  <a:pt x="10482899" y="1564392"/>
                  <a:pt x="10484098" y="1563596"/>
                  <a:pt x="10485029" y="1562528"/>
                </a:cubicBezTo>
                <a:cubicBezTo>
                  <a:pt x="10486094" y="1561462"/>
                  <a:pt x="10487026" y="1560127"/>
                  <a:pt x="10487691" y="1558402"/>
                </a:cubicBezTo>
                <a:cubicBezTo>
                  <a:pt x="10488357" y="1556798"/>
                  <a:pt x="10488623" y="1554942"/>
                  <a:pt x="10488623" y="1552940"/>
                </a:cubicBezTo>
                <a:cubicBezTo>
                  <a:pt x="10488623" y="1551073"/>
                  <a:pt x="10488357" y="1549349"/>
                  <a:pt x="10487691" y="1547746"/>
                </a:cubicBezTo>
                <a:cubicBezTo>
                  <a:pt x="10487026" y="1546150"/>
                  <a:pt x="10486094" y="1544827"/>
                  <a:pt x="10485029" y="1543620"/>
                </a:cubicBezTo>
                <a:cubicBezTo>
                  <a:pt x="10483964" y="1542564"/>
                  <a:pt x="10482633" y="1541623"/>
                  <a:pt x="10481035" y="1540957"/>
                </a:cubicBezTo>
                <a:cubicBezTo>
                  <a:pt x="10479571" y="1540297"/>
                  <a:pt x="10477974" y="1540033"/>
                  <a:pt x="10475977" y="1540033"/>
                </a:cubicBezTo>
                <a:close/>
                <a:moveTo>
                  <a:pt x="10258466" y="1540033"/>
                </a:moveTo>
                <a:cubicBezTo>
                  <a:pt x="10252608" y="1540033"/>
                  <a:pt x="10250078" y="1542023"/>
                  <a:pt x="10248481" y="1543620"/>
                </a:cubicBezTo>
                <a:cubicBezTo>
                  <a:pt x="10245952" y="1546289"/>
                  <a:pt x="10244887" y="1549082"/>
                  <a:pt x="10244887" y="1553078"/>
                </a:cubicBezTo>
                <a:cubicBezTo>
                  <a:pt x="10244887" y="1557204"/>
                  <a:pt x="10245952" y="1559998"/>
                  <a:pt x="10248481" y="1562528"/>
                </a:cubicBezTo>
                <a:cubicBezTo>
                  <a:pt x="10250078" y="1564126"/>
                  <a:pt x="10252608" y="1565990"/>
                  <a:pt x="10258466" y="1565990"/>
                </a:cubicBezTo>
                <a:cubicBezTo>
                  <a:pt x="10260462" y="1565990"/>
                  <a:pt x="10262192" y="1565717"/>
                  <a:pt x="10263790" y="1564919"/>
                </a:cubicBezTo>
                <a:cubicBezTo>
                  <a:pt x="10265388" y="1564392"/>
                  <a:pt x="10266586" y="1563596"/>
                  <a:pt x="10267517" y="1562528"/>
                </a:cubicBezTo>
                <a:cubicBezTo>
                  <a:pt x="10268583" y="1561462"/>
                  <a:pt x="10269515" y="1560127"/>
                  <a:pt x="10270180" y="1558402"/>
                </a:cubicBezTo>
                <a:cubicBezTo>
                  <a:pt x="10270845" y="1556801"/>
                  <a:pt x="10271112" y="1554942"/>
                  <a:pt x="10271112" y="1552940"/>
                </a:cubicBezTo>
                <a:cubicBezTo>
                  <a:pt x="10271112" y="1551073"/>
                  <a:pt x="10270845" y="1549349"/>
                  <a:pt x="10270180" y="1547746"/>
                </a:cubicBezTo>
                <a:cubicBezTo>
                  <a:pt x="10269515" y="1546150"/>
                  <a:pt x="10268583" y="1544827"/>
                  <a:pt x="10267517" y="1543620"/>
                </a:cubicBezTo>
                <a:cubicBezTo>
                  <a:pt x="10266452" y="1542564"/>
                  <a:pt x="10265121" y="1541623"/>
                  <a:pt x="10263524" y="1540957"/>
                </a:cubicBezTo>
                <a:cubicBezTo>
                  <a:pt x="10262060" y="1540297"/>
                  <a:pt x="10260462" y="1540033"/>
                  <a:pt x="10258466" y="1540033"/>
                </a:cubicBezTo>
                <a:close/>
                <a:moveTo>
                  <a:pt x="10040820" y="1540033"/>
                </a:moveTo>
                <a:cubicBezTo>
                  <a:pt x="10034962" y="1540033"/>
                  <a:pt x="10032433" y="1542023"/>
                  <a:pt x="10030835" y="1543620"/>
                </a:cubicBezTo>
                <a:cubicBezTo>
                  <a:pt x="10028306" y="1546289"/>
                  <a:pt x="10027242" y="1549082"/>
                  <a:pt x="10027242" y="1553078"/>
                </a:cubicBezTo>
                <a:cubicBezTo>
                  <a:pt x="10027242" y="1557204"/>
                  <a:pt x="10028306" y="1559998"/>
                  <a:pt x="10030835" y="1562528"/>
                </a:cubicBezTo>
                <a:cubicBezTo>
                  <a:pt x="10032433" y="1564126"/>
                  <a:pt x="10034962" y="1565990"/>
                  <a:pt x="10040820" y="1565990"/>
                </a:cubicBezTo>
                <a:cubicBezTo>
                  <a:pt x="10042817" y="1565990"/>
                  <a:pt x="10044681" y="1565717"/>
                  <a:pt x="10046145" y="1564919"/>
                </a:cubicBezTo>
                <a:cubicBezTo>
                  <a:pt x="10047742" y="1564392"/>
                  <a:pt x="10048941" y="1563596"/>
                  <a:pt x="10049872" y="1562528"/>
                </a:cubicBezTo>
                <a:cubicBezTo>
                  <a:pt x="10050937" y="1561462"/>
                  <a:pt x="10051869" y="1560127"/>
                  <a:pt x="10052534" y="1558402"/>
                </a:cubicBezTo>
                <a:cubicBezTo>
                  <a:pt x="10053333" y="1556801"/>
                  <a:pt x="10053599" y="1554942"/>
                  <a:pt x="10053599" y="1552940"/>
                </a:cubicBezTo>
                <a:cubicBezTo>
                  <a:pt x="10053599" y="1551073"/>
                  <a:pt x="10053200" y="1549349"/>
                  <a:pt x="10052534" y="1547746"/>
                </a:cubicBezTo>
                <a:cubicBezTo>
                  <a:pt x="10051869" y="1546150"/>
                  <a:pt x="10050937" y="1544827"/>
                  <a:pt x="10049872" y="1543620"/>
                </a:cubicBezTo>
                <a:cubicBezTo>
                  <a:pt x="10048807" y="1542564"/>
                  <a:pt x="10047476" y="1541623"/>
                  <a:pt x="10045878" y="1540957"/>
                </a:cubicBezTo>
                <a:cubicBezTo>
                  <a:pt x="10044414" y="1540297"/>
                  <a:pt x="10042817" y="1540033"/>
                  <a:pt x="10040820" y="1540033"/>
                </a:cubicBezTo>
                <a:close/>
                <a:moveTo>
                  <a:pt x="9823176" y="1540033"/>
                </a:moveTo>
                <a:cubicBezTo>
                  <a:pt x="9817318" y="1540033"/>
                  <a:pt x="9814788" y="1542023"/>
                  <a:pt x="9813191" y="1543620"/>
                </a:cubicBezTo>
                <a:cubicBezTo>
                  <a:pt x="9810662" y="1546289"/>
                  <a:pt x="9809597" y="1549082"/>
                  <a:pt x="9809597" y="1553078"/>
                </a:cubicBezTo>
                <a:cubicBezTo>
                  <a:pt x="9809597" y="1557204"/>
                  <a:pt x="9810662" y="1559998"/>
                  <a:pt x="9813191" y="1562528"/>
                </a:cubicBezTo>
                <a:cubicBezTo>
                  <a:pt x="9814788" y="1564126"/>
                  <a:pt x="9817318" y="1565990"/>
                  <a:pt x="9823176" y="1565990"/>
                </a:cubicBezTo>
                <a:cubicBezTo>
                  <a:pt x="9825173" y="1565990"/>
                  <a:pt x="9827036" y="1565717"/>
                  <a:pt x="9828501" y="1564919"/>
                </a:cubicBezTo>
                <a:cubicBezTo>
                  <a:pt x="9830098" y="1564392"/>
                  <a:pt x="9831296" y="1563596"/>
                  <a:pt x="9832227" y="1562528"/>
                </a:cubicBezTo>
                <a:cubicBezTo>
                  <a:pt x="9833293" y="1561462"/>
                  <a:pt x="9834225" y="1560127"/>
                  <a:pt x="9834890" y="1558402"/>
                </a:cubicBezTo>
                <a:cubicBezTo>
                  <a:pt x="9835689" y="1556801"/>
                  <a:pt x="9835955" y="1554942"/>
                  <a:pt x="9835955" y="1552940"/>
                </a:cubicBezTo>
                <a:cubicBezTo>
                  <a:pt x="9835955" y="1551073"/>
                  <a:pt x="9835555" y="1549349"/>
                  <a:pt x="9834890" y="1547746"/>
                </a:cubicBezTo>
                <a:cubicBezTo>
                  <a:pt x="9834225" y="1546150"/>
                  <a:pt x="9833293" y="1544827"/>
                  <a:pt x="9832227" y="1543620"/>
                </a:cubicBezTo>
                <a:cubicBezTo>
                  <a:pt x="9831162" y="1542564"/>
                  <a:pt x="9829831" y="1541623"/>
                  <a:pt x="9828234" y="1540957"/>
                </a:cubicBezTo>
                <a:cubicBezTo>
                  <a:pt x="9826770" y="1540297"/>
                  <a:pt x="9825173" y="1540033"/>
                  <a:pt x="9823176" y="1540033"/>
                </a:cubicBezTo>
                <a:close/>
                <a:moveTo>
                  <a:pt x="9605531" y="1540033"/>
                </a:moveTo>
                <a:cubicBezTo>
                  <a:pt x="9599673" y="1540033"/>
                  <a:pt x="9597143" y="1542023"/>
                  <a:pt x="9595546" y="1543620"/>
                </a:cubicBezTo>
                <a:cubicBezTo>
                  <a:pt x="9593017" y="1546289"/>
                  <a:pt x="9591952" y="1549082"/>
                  <a:pt x="9591952" y="1553078"/>
                </a:cubicBezTo>
                <a:cubicBezTo>
                  <a:pt x="9591952" y="1557204"/>
                  <a:pt x="9593017" y="1559998"/>
                  <a:pt x="9595546" y="1562528"/>
                </a:cubicBezTo>
                <a:cubicBezTo>
                  <a:pt x="9597143" y="1564126"/>
                  <a:pt x="9599673" y="1565990"/>
                  <a:pt x="9605531" y="1565990"/>
                </a:cubicBezTo>
                <a:cubicBezTo>
                  <a:pt x="9607660" y="1565990"/>
                  <a:pt x="9609391" y="1565717"/>
                  <a:pt x="9610855" y="1564919"/>
                </a:cubicBezTo>
                <a:cubicBezTo>
                  <a:pt x="9612319" y="1564392"/>
                  <a:pt x="9613651" y="1563596"/>
                  <a:pt x="9614582" y="1562528"/>
                </a:cubicBezTo>
                <a:cubicBezTo>
                  <a:pt x="9615647" y="1561462"/>
                  <a:pt x="9616579" y="1560127"/>
                  <a:pt x="9617245" y="1558402"/>
                </a:cubicBezTo>
                <a:cubicBezTo>
                  <a:pt x="9618044" y="1556801"/>
                  <a:pt x="9618309" y="1554942"/>
                  <a:pt x="9618309" y="1552940"/>
                </a:cubicBezTo>
                <a:cubicBezTo>
                  <a:pt x="9618309" y="1551073"/>
                  <a:pt x="9617910" y="1549349"/>
                  <a:pt x="9617245" y="1547746"/>
                </a:cubicBezTo>
                <a:cubicBezTo>
                  <a:pt x="9616579" y="1546150"/>
                  <a:pt x="9615647" y="1544827"/>
                  <a:pt x="9614582" y="1543620"/>
                </a:cubicBezTo>
                <a:cubicBezTo>
                  <a:pt x="9613517" y="1542564"/>
                  <a:pt x="9612186" y="1541623"/>
                  <a:pt x="9610589" y="1540957"/>
                </a:cubicBezTo>
                <a:cubicBezTo>
                  <a:pt x="9609124" y="1540297"/>
                  <a:pt x="9607394" y="1540033"/>
                  <a:pt x="9605531" y="1540033"/>
                </a:cubicBezTo>
                <a:close/>
                <a:moveTo>
                  <a:pt x="9387885" y="1540033"/>
                </a:moveTo>
                <a:cubicBezTo>
                  <a:pt x="9382027" y="1540033"/>
                  <a:pt x="9379497" y="1542023"/>
                  <a:pt x="9377900" y="1543620"/>
                </a:cubicBezTo>
                <a:cubicBezTo>
                  <a:pt x="9375371" y="1546289"/>
                  <a:pt x="9374307" y="1549082"/>
                  <a:pt x="9374307" y="1553078"/>
                </a:cubicBezTo>
                <a:cubicBezTo>
                  <a:pt x="9374307" y="1557204"/>
                  <a:pt x="9375371" y="1559998"/>
                  <a:pt x="9377900" y="1562528"/>
                </a:cubicBezTo>
                <a:cubicBezTo>
                  <a:pt x="9379497" y="1564126"/>
                  <a:pt x="9382027" y="1565990"/>
                  <a:pt x="9387885" y="1565990"/>
                </a:cubicBezTo>
                <a:cubicBezTo>
                  <a:pt x="9390015" y="1565990"/>
                  <a:pt x="9391746" y="1565717"/>
                  <a:pt x="9393210" y="1564919"/>
                </a:cubicBezTo>
                <a:cubicBezTo>
                  <a:pt x="9394674" y="1564392"/>
                  <a:pt x="9396005" y="1563596"/>
                  <a:pt x="9396937" y="1562528"/>
                </a:cubicBezTo>
                <a:cubicBezTo>
                  <a:pt x="9398002" y="1561462"/>
                  <a:pt x="9398934" y="1560127"/>
                  <a:pt x="9399599" y="1558402"/>
                </a:cubicBezTo>
                <a:cubicBezTo>
                  <a:pt x="9400398" y="1556801"/>
                  <a:pt x="9400664" y="1554942"/>
                  <a:pt x="9400664" y="1552940"/>
                </a:cubicBezTo>
                <a:cubicBezTo>
                  <a:pt x="9400664" y="1551073"/>
                  <a:pt x="9400265" y="1549349"/>
                  <a:pt x="9399599" y="1547746"/>
                </a:cubicBezTo>
                <a:cubicBezTo>
                  <a:pt x="9398934" y="1546150"/>
                  <a:pt x="9398002" y="1544827"/>
                  <a:pt x="9396937" y="1543620"/>
                </a:cubicBezTo>
                <a:cubicBezTo>
                  <a:pt x="9395872" y="1542564"/>
                  <a:pt x="9394541" y="1541623"/>
                  <a:pt x="9392943" y="1540957"/>
                </a:cubicBezTo>
                <a:cubicBezTo>
                  <a:pt x="9391479" y="1540297"/>
                  <a:pt x="9389749" y="1540033"/>
                  <a:pt x="9387885" y="1540033"/>
                </a:cubicBezTo>
                <a:close/>
                <a:moveTo>
                  <a:pt x="9170374" y="1540033"/>
                </a:moveTo>
                <a:cubicBezTo>
                  <a:pt x="9164649" y="1540033"/>
                  <a:pt x="9161986" y="1542023"/>
                  <a:pt x="9160389" y="1543620"/>
                </a:cubicBezTo>
                <a:cubicBezTo>
                  <a:pt x="9157860" y="1546289"/>
                  <a:pt x="9156795" y="1549082"/>
                  <a:pt x="9156795" y="1553078"/>
                </a:cubicBezTo>
                <a:cubicBezTo>
                  <a:pt x="9156795" y="1557204"/>
                  <a:pt x="9157860" y="1559998"/>
                  <a:pt x="9160389" y="1562528"/>
                </a:cubicBezTo>
                <a:cubicBezTo>
                  <a:pt x="9161986" y="1564126"/>
                  <a:pt x="9164516" y="1565990"/>
                  <a:pt x="9170374" y="1565990"/>
                </a:cubicBezTo>
                <a:cubicBezTo>
                  <a:pt x="9172370" y="1565990"/>
                  <a:pt x="9174100" y="1565717"/>
                  <a:pt x="9175698" y="1564919"/>
                </a:cubicBezTo>
                <a:cubicBezTo>
                  <a:pt x="9177163" y="1564392"/>
                  <a:pt x="9178494" y="1563596"/>
                  <a:pt x="9179425" y="1562528"/>
                </a:cubicBezTo>
                <a:cubicBezTo>
                  <a:pt x="9180491" y="1561462"/>
                  <a:pt x="9181422" y="1560127"/>
                  <a:pt x="9182088" y="1558402"/>
                </a:cubicBezTo>
                <a:cubicBezTo>
                  <a:pt x="9182887" y="1556801"/>
                  <a:pt x="9183152" y="1554942"/>
                  <a:pt x="9183152" y="1552940"/>
                </a:cubicBezTo>
                <a:cubicBezTo>
                  <a:pt x="9183152" y="1551073"/>
                  <a:pt x="9182753" y="1549349"/>
                  <a:pt x="9182088" y="1547746"/>
                </a:cubicBezTo>
                <a:cubicBezTo>
                  <a:pt x="9181422" y="1546150"/>
                  <a:pt x="9180491" y="1544827"/>
                  <a:pt x="9179425" y="1543620"/>
                </a:cubicBezTo>
                <a:cubicBezTo>
                  <a:pt x="9178360" y="1542564"/>
                  <a:pt x="9177029" y="1541623"/>
                  <a:pt x="9175432" y="1540957"/>
                </a:cubicBezTo>
                <a:cubicBezTo>
                  <a:pt x="9173967" y="1540297"/>
                  <a:pt x="9172237" y="1540033"/>
                  <a:pt x="9170374" y="1540033"/>
                </a:cubicBezTo>
                <a:close/>
                <a:moveTo>
                  <a:pt x="8952728" y="1540033"/>
                </a:moveTo>
                <a:cubicBezTo>
                  <a:pt x="8947003" y="1540033"/>
                  <a:pt x="8944340" y="1542023"/>
                  <a:pt x="8942743" y="1543620"/>
                </a:cubicBezTo>
                <a:cubicBezTo>
                  <a:pt x="8940214" y="1546289"/>
                  <a:pt x="8939150" y="1549082"/>
                  <a:pt x="8939150" y="1553078"/>
                </a:cubicBezTo>
                <a:cubicBezTo>
                  <a:pt x="8939150" y="1557204"/>
                  <a:pt x="8940214" y="1559998"/>
                  <a:pt x="8942743" y="1562528"/>
                </a:cubicBezTo>
                <a:cubicBezTo>
                  <a:pt x="8944340" y="1564126"/>
                  <a:pt x="8946870" y="1565990"/>
                  <a:pt x="8952728" y="1565990"/>
                </a:cubicBezTo>
                <a:cubicBezTo>
                  <a:pt x="8954725" y="1565990"/>
                  <a:pt x="8956589" y="1565717"/>
                  <a:pt x="8958053" y="1564919"/>
                </a:cubicBezTo>
                <a:cubicBezTo>
                  <a:pt x="8959517" y="1564392"/>
                  <a:pt x="8960849" y="1563596"/>
                  <a:pt x="8961780" y="1562528"/>
                </a:cubicBezTo>
                <a:cubicBezTo>
                  <a:pt x="8962845" y="1561462"/>
                  <a:pt x="8963777" y="1560127"/>
                  <a:pt x="8964442" y="1558402"/>
                </a:cubicBezTo>
                <a:cubicBezTo>
                  <a:pt x="8965241" y="1556801"/>
                  <a:pt x="8965507" y="1554942"/>
                  <a:pt x="8965507" y="1552940"/>
                </a:cubicBezTo>
                <a:cubicBezTo>
                  <a:pt x="8965507" y="1551073"/>
                  <a:pt x="8965108" y="1549349"/>
                  <a:pt x="8964442" y="1547746"/>
                </a:cubicBezTo>
                <a:cubicBezTo>
                  <a:pt x="8963777" y="1546150"/>
                  <a:pt x="8962845" y="1544827"/>
                  <a:pt x="8961780" y="1543620"/>
                </a:cubicBezTo>
                <a:cubicBezTo>
                  <a:pt x="8960715" y="1542564"/>
                  <a:pt x="8959384" y="1541623"/>
                  <a:pt x="8957786" y="1540957"/>
                </a:cubicBezTo>
                <a:cubicBezTo>
                  <a:pt x="8956322" y="1540297"/>
                  <a:pt x="8954592" y="1540033"/>
                  <a:pt x="8952728" y="1540033"/>
                </a:cubicBezTo>
                <a:close/>
                <a:moveTo>
                  <a:pt x="8735083" y="1540033"/>
                </a:moveTo>
                <a:cubicBezTo>
                  <a:pt x="8729358" y="1540033"/>
                  <a:pt x="8726695" y="1542023"/>
                  <a:pt x="8725098" y="1543620"/>
                </a:cubicBezTo>
                <a:cubicBezTo>
                  <a:pt x="8722569" y="1546289"/>
                  <a:pt x="8721504" y="1549082"/>
                  <a:pt x="8721504" y="1553078"/>
                </a:cubicBezTo>
                <a:cubicBezTo>
                  <a:pt x="8721504" y="1557204"/>
                  <a:pt x="8722569" y="1559998"/>
                  <a:pt x="8725098" y="1562528"/>
                </a:cubicBezTo>
                <a:cubicBezTo>
                  <a:pt x="8726695" y="1564126"/>
                  <a:pt x="8729225" y="1565990"/>
                  <a:pt x="8735083" y="1565990"/>
                </a:cubicBezTo>
                <a:cubicBezTo>
                  <a:pt x="8737079" y="1565990"/>
                  <a:pt x="8738943" y="1565717"/>
                  <a:pt x="8740407" y="1564919"/>
                </a:cubicBezTo>
                <a:cubicBezTo>
                  <a:pt x="8741872" y="1564392"/>
                  <a:pt x="8743203" y="1563596"/>
                  <a:pt x="8744134" y="1562528"/>
                </a:cubicBezTo>
                <a:cubicBezTo>
                  <a:pt x="8745200" y="1561462"/>
                  <a:pt x="8746132" y="1560127"/>
                  <a:pt x="8746797" y="1558402"/>
                </a:cubicBezTo>
                <a:cubicBezTo>
                  <a:pt x="8747596" y="1556801"/>
                  <a:pt x="8747862" y="1554942"/>
                  <a:pt x="8747862" y="1552940"/>
                </a:cubicBezTo>
                <a:cubicBezTo>
                  <a:pt x="8747862" y="1551073"/>
                  <a:pt x="8747462" y="1549349"/>
                  <a:pt x="8746797" y="1547746"/>
                </a:cubicBezTo>
                <a:cubicBezTo>
                  <a:pt x="8746132" y="1546150"/>
                  <a:pt x="8745200" y="1544827"/>
                  <a:pt x="8744134" y="1543620"/>
                </a:cubicBezTo>
                <a:cubicBezTo>
                  <a:pt x="8743069" y="1542564"/>
                  <a:pt x="8741738" y="1541623"/>
                  <a:pt x="8740141" y="1540957"/>
                </a:cubicBezTo>
                <a:cubicBezTo>
                  <a:pt x="8738677" y="1540297"/>
                  <a:pt x="8736946" y="1540033"/>
                  <a:pt x="8735083" y="1540033"/>
                </a:cubicBezTo>
                <a:close/>
                <a:moveTo>
                  <a:pt x="8517438" y="1540033"/>
                </a:moveTo>
                <a:cubicBezTo>
                  <a:pt x="8511713" y="1540033"/>
                  <a:pt x="8509051" y="1542023"/>
                  <a:pt x="8507453" y="1543620"/>
                </a:cubicBezTo>
                <a:cubicBezTo>
                  <a:pt x="8504925" y="1546289"/>
                  <a:pt x="8503860" y="1549082"/>
                  <a:pt x="8503860" y="1553078"/>
                </a:cubicBezTo>
                <a:cubicBezTo>
                  <a:pt x="8503860" y="1557204"/>
                  <a:pt x="8504925" y="1559998"/>
                  <a:pt x="8507453" y="1562528"/>
                </a:cubicBezTo>
                <a:cubicBezTo>
                  <a:pt x="8509051" y="1564126"/>
                  <a:pt x="8511581" y="1565990"/>
                  <a:pt x="8517438" y="1565990"/>
                </a:cubicBezTo>
                <a:cubicBezTo>
                  <a:pt x="8519568" y="1565990"/>
                  <a:pt x="8521299" y="1565717"/>
                  <a:pt x="8522763" y="1564919"/>
                </a:cubicBezTo>
                <a:cubicBezTo>
                  <a:pt x="8524227" y="1564392"/>
                  <a:pt x="8525559" y="1563596"/>
                  <a:pt x="8526490" y="1562528"/>
                </a:cubicBezTo>
                <a:cubicBezTo>
                  <a:pt x="8527555" y="1561462"/>
                  <a:pt x="8528487" y="1560127"/>
                  <a:pt x="8529152" y="1558402"/>
                </a:cubicBezTo>
                <a:cubicBezTo>
                  <a:pt x="8529818" y="1556801"/>
                  <a:pt x="8530084" y="1554942"/>
                  <a:pt x="8530084" y="1552940"/>
                </a:cubicBezTo>
                <a:cubicBezTo>
                  <a:pt x="8530084" y="1551073"/>
                  <a:pt x="8529818" y="1549349"/>
                  <a:pt x="8529152" y="1547746"/>
                </a:cubicBezTo>
                <a:cubicBezTo>
                  <a:pt x="8528487" y="1546150"/>
                  <a:pt x="8527555" y="1544827"/>
                  <a:pt x="8526490" y="1543620"/>
                </a:cubicBezTo>
                <a:cubicBezTo>
                  <a:pt x="8525425" y="1542564"/>
                  <a:pt x="8524094" y="1541623"/>
                  <a:pt x="8522496" y="1540957"/>
                </a:cubicBezTo>
                <a:cubicBezTo>
                  <a:pt x="8521032" y="1540297"/>
                  <a:pt x="8519302" y="1540033"/>
                  <a:pt x="8517438" y="1540033"/>
                </a:cubicBezTo>
                <a:close/>
                <a:moveTo>
                  <a:pt x="8299793" y="1540033"/>
                </a:moveTo>
                <a:cubicBezTo>
                  <a:pt x="8294068" y="1540033"/>
                  <a:pt x="8291406" y="1542023"/>
                  <a:pt x="8289809" y="1543620"/>
                </a:cubicBezTo>
                <a:cubicBezTo>
                  <a:pt x="8287280" y="1546289"/>
                  <a:pt x="8286215" y="1549082"/>
                  <a:pt x="8286215" y="1553078"/>
                </a:cubicBezTo>
                <a:cubicBezTo>
                  <a:pt x="8286215" y="1557204"/>
                  <a:pt x="8287280" y="1559998"/>
                  <a:pt x="8289809" y="1562528"/>
                </a:cubicBezTo>
                <a:cubicBezTo>
                  <a:pt x="8291406" y="1564126"/>
                  <a:pt x="8293935" y="1565990"/>
                  <a:pt x="8299793" y="1565990"/>
                </a:cubicBezTo>
                <a:cubicBezTo>
                  <a:pt x="8301923" y="1565990"/>
                  <a:pt x="8303653" y="1565717"/>
                  <a:pt x="8305118" y="1564919"/>
                </a:cubicBezTo>
                <a:cubicBezTo>
                  <a:pt x="8306582" y="1564392"/>
                  <a:pt x="8307913" y="1563596"/>
                  <a:pt x="8308844" y="1562528"/>
                </a:cubicBezTo>
                <a:cubicBezTo>
                  <a:pt x="8309910" y="1561462"/>
                  <a:pt x="8310842" y="1560127"/>
                  <a:pt x="8311507" y="1558402"/>
                </a:cubicBezTo>
                <a:cubicBezTo>
                  <a:pt x="8312172" y="1556801"/>
                  <a:pt x="8312439" y="1554942"/>
                  <a:pt x="8312439" y="1552940"/>
                </a:cubicBezTo>
                <a:cubicBezTo>
                  <a:pt x="8312439" y="1551073"/>
                  <a:pt x="8312172" y="1549349"/>
                  <a:pt x="8311507" y="1547746"/>
                </a:cubicBezTo>
                <a:cubicBezTo>
                  <a:pt x="8310842" y="1546150"/>
                  <a:pt x="8309910" y="1544827"/>
                  <a:pt x="8308844" y="1543620"/>
                </a:cubicBezTo>
                <a:cubicBezTo>
                  <a:pt x="8307779" y="1542564"/>
                  <a:pt x="8306448" y="1541623"/>
                  <a:pt x="8304851" y="1540957"/>
                </a:cubicBezTo>
                <a:cubicBezTo>
                  <a:pt x="8303387" y="1540297"/>
                  <a:pt x="8301790" y="1540033"/>
                  <a:pt x="8299793" y="1540033"/>
                </a:cubicBezTo>
                <a:close/>
                <a:moveTo>
                  <a:pt x="8082281" y="1540033"/>
                </a:moveTo>
                <a:cubicBezTo>
                  <a:pt x="8076424" y="1540033"/>
                  <a:pt x="8073894" y="1542023"/>
                  <a:pt x="8072297" y="1543620"/>
                </a:cubicBezTo>
                <a:cubicBezTo>
                  <a:pt x="8069768" y="1546289"/>
                  <a:pt x="8068703" y="1549082"/>
                  <a:pt x="8068703" y="1553078"/>
                </a:cubicBezTo>
                <a:cubicBezTo>
                  <a:pt x="8068703" y="1557204"/>
                  <a:pt x="8069768" y="1559998"/>
                  <a:pt x="8072297" y="1562528"/>
                </a:cubicBezTo>
                <a:cubicBezTo>
                  <a:pt x="8073894" y="1564126"/>
                  <a:pt x="8076424" y="1565990"/>
                  <a:pt x="8082281" y="1565990"/>
                </a:cubicBezTo>
                <a:cubicBezTo>
                  <a:pt x="8084277" y="1565990"/>
                  <a:pt x="8086007" y="1565717"/>
                  <a:pt x="8087605" y="1564919"/>
                </a:cubicBezTo>
                <a:cubicBezTo>
                  <a:pt x="8089069" y="1564392"/>
                  <a:pt x="8090401" y="1563596"/>
                  <a:pt x="8091332" y="1562528"/>
                </a:cubicBezTo>
                <a:cubicBezTo>
                  <a:pt x="8092397" y="1561462"/>
                  <a:pt x="8093329" y="1560127"/>
                  <a:pt x="8093994" y="1558402"/>
                </a:cubicBezTo>
                <a:cubicBezTo>
                  <a:pt x="8094660" y="1556801"/>
                  <a:pt x="8094926" y="1554942"/>
                  <a:pt x="8094926" y="1552940"/>
                </a:cubicBezTo>
                <a:cubicBezTo>
                  <a:pt x="8094926" y="1551073"/>
                  <a:pt x="8094660" y="1549349"/>
                  <a:pt x="8093994" y="1547746"/>
                </a:cubicBezTo>
                <a:cubicBezTo>
                  <a:pt x="8093329" y="1546150"/>
                  <a:pt x="8092397" y="1544827"/>
                  <a:pt x="8091332" y="1543620"/>
                </a:cubicBezTo>
                <a:cubicBezTo>
                  <a:pt x="8090267" y="1542564"/>
                  <a:pt x="8088936" y="1541623"/>
                  <a:pt x="8087338" y="1540957"/>
                </a:cubicBezTo>
                <a:cubicBezTo>
                  <a:pt x="8085874" y="1540297"/>
                  <a:pt x="8084277" y="1540033"/>
                  <a:pt x="8082281" y="1540033"/>
                </a:cubicBezTo>
                <a:close/>
                <a:moveTo>
                  <a:pt x="7864636" y="1540033"/>
                </a:moveTo>
                <a:cubicBezTo>
                  <a:pt x="7858779" y="1540033"/>
                  <a:pt x="7856249" y="1542023"/>
                  <a:pt x="7854652" y="1543620"/>
                </a:cubicBezTo>
                <a:cubicBezTo>
                  <a:pt x="7852123" y="1546289"/>
                  <a:pt x="7851058" y="1549082"/>
                  <a:pt x="7851058" y="1553078"/>
                </a:cubicBezTo>
                <a:cubicBezTo>
                  <a:pt x="7851058" y="1557204"/>
                  <a:pt x="7852123" y="1559998"/>
                  <a:pt x="7854652" y="1562528"/>
                </a:cubicBezTo>
                <a:cubicBezTo>
                  <a:pt x="7856249" y="1564126"/>
                  <a:pt x="7858779" y="1565990"/>
                  <a:pt x="7864636" y="1565990"/>
                </a:cubicBezTo>
                <a:cubicBezTo>
                  <a:pt x="7866633" y="1565990"/>
                  <a:pt x="7868363" y="1565717"/>
                  <a:pt x="7869961" y="1564919"/>
                </a:cubicBezTo>
                <a:cubicBezTo>
                  <a:pt x="7871425" y="1564392"/>
                  <a:pt x="7872756" y="1563596"/>
                  <a:pt x="7873687" y="1562528"/>
                </a:cubicBezTo>
                <a:cubicBezTo>
                  <a:pt x="7874753" y="1561462"/>
                  <a:pt x="7875685" y="1560127"/>
                  <a:pt x="7876350" y="1558402"/>
                </a:cubicBezTo>
                <a:cubicBezTo>
                  <a:pt x="7877015" y="1556801"/>
                  <a:pt x="7877282" y="1554942"/>
                  <a:pt x="7877282" y="1552940"/>
                </a:cubicBezTo>
                <a:cubicBezTo>
                  <a:pt x="7877282" y="1551073"/>
                  <a:pt x="7877015" y="1549349"/>
                  <a:pt x="7876350" y="1547746"/>
                </a:cubicBezTo>
                <a:cubicBezTo>
                  <a:pt x="7875685" y="1546150"/>
                  <a:pt x="7874753" y="1544827"/>
                  <a:pt x="7873687" y="1543620"/>
                </a:cubicBezTo>
                <a:cubicBezTo>
                  <a:pt x="7872623" y="1542564"/>
                  <a:pt x="7871291" y="1541623"/>
                  <a:pt x="7869694" y="1540957"/>
                </a:cubicBezTo>
                <a:cubicBezTo>
                  <a:pt x="7868230" y="1540297"/>
                  <a:pt x="7866633" y="1540033"/>
                  <a:pt x="7864636" y="1540033"/>
                </a:cubicBezTo>
                <a:close/>
                <a:moveTo>
                  <a:pt x="7646991" y="1540033"/>
                </a:moveTo>
                <a:cubicBezTo>
                  <a:pt x="7641134" y="1540033"/>
                  <a:pt x="7638604" y="1542023"/>
                  <a:pt x="7637007" y="1543620"/>
                </a:cubicBezTo>
                <a:cubicBezTo>
                  <a:pt x="7634478" y="1546289"/>
                  <a:pt x="7633413" y="1549082"/>
                  <a:pt x="7633413" y="1553078"/>
                </a:cubicBezTo>
                <a:cubicBezTo>
                  <a:pt x="7633413" y="1557204"/>
                  <a:pt x="7634478" y="1559998"/>
                  <a:pt x="7637007" y="1562528"/>
                </a:cubicBezTo>
                <a:cubicBezTo>
                  <a:pt x="7638604" y="1564126"/>
                  <a:pt x="7641134" y="1565990"/>
                  <a:pt x="7646991" y="1565990"/>
                </a:cubicBezTo>
                <a:cubicBezTo>
                  <a:pt x="7648987" y="1565990"/>
                  <a:pt x="7650851" y="1565717"/>
                  <a:pt x="7652315" y="1564919"/>
                </a:cubicBezTo>
                <a:cubicBezTo>
                  <a:pt x="7653780" y="1564392"/>
                  <a:pt x="7655111" y="1563596"/>
                  <a:pt x="7656042" y="1562528"/>
                </a:cubicBezTo>
                <a:cubicBezTo>
                  <a:pt x="7657108" y="1561462"/>
                  <a:pt x="7658039" y="1560127"/>
                  <a:pt x="7658705" y="1558402"/>
                </a:cubicBezTo>
                <a:cubicBezTo>
                  <a:pt x="7659504" y="1556801"/>
                  <a:pt x="7659769" y="1554942"/>
                  <a:pt x="7659769" y="1552940"/>
                </a:cubicBezTo>
                <a:cubicBezTo>
                  <a:pt x="7659769" y="1551073"/>
                  <a:pt x="7659370" y="1549349"/>
                  <a:pt x="7658705" y="1547746"/>
                </a:cubicBezTo>
                <a:cubicBezTo>
                  <a:pt x="7658039" y="1546150"/>
                  <a:pt x="7657108" y="1544827"/>
                  <a:pt x="7656042" y="1543620"/>
                </a:cubicBezTo>
                <a:cubicBezTo>
                  <a:pt x="7654977" y="1542564"/>
                  <a:pt x="7653646" y="1541623"/>
                  <a:pt x="7652049" y="1540957"/>
                </a:cubicBezTo>
                <a:cubicBezTo>
                  <a:pt x="7650584" y="1540297"/>
                  <a:pt x="7648987" y="1540033"/>
                  <a:pt x="7646991" y="1540033"/>
                </a:cubicBezTo>
                <a:close/>
                <a:moveTo>
                  <a:pt x="7429345" y="1540033"/>
                </a:moveTo>
                <a:cubicBezTo>
                  <a:pt x="7423488" y="1540033"/>
                  <a:pt x="7420958" y="1542023"/>
                  <a:pt x="7419361" y="1543620"/>
                </a:cubicBezTo>
                <a:cubicBezTo>
                  <a:pt x="7416832" y="1546289"/>
                  <a:pt x="7415768" y="1549082"/>
                  <a:pt x="7415768" y="1553078"/>
                </a:cubicBezTo>
                <a:cubicBezTo>
                  <a:pt x="7415768" y="1557204"/>
                  <a:pt x="7416832" y="1559998"/>
                  <a:pt x="7419361" y="1562528"/>
                </a:cubicBezTo>
                <a:cubicBezTo>
                  <a:pt x="7420958" y="1564126"/>
                  <a:pt x="7423488" y="1565990"/>
                  <a:pt x="7429345" y="1565990"/>
                </a:cubicBezTo>
                <a:cubicBezTo>
                  <a:pt x="7431342" y="1565990"/>
                  <a:pt x="7433206" y="1565717"/>
                  <a:pt x="7434670" y="1564919"/>
                </a:cubicBezTo>
                <a:cubicBezTo>
                  <a:pt x="7436134" y="1564392"/>
                  <a:pt x="7437466" y="1563596"/>
                  <a:pt x="7438397" y="1562528"/>
                </a:cubicBezTo>
                <a:cubicBezTo>
                  <a:pt x="7439462" y="1561462"/>
                  <a:pt x="7440394" y="1560127"/>
                  <a:pt x="7441059" y="1558402"/>
                </a:cubicBezTo>
                <a:cubicBezTo>
                  <a:pt x="7441858" y="1556801"/>
                  <a:pt x="7442124" y="1554942"/>
                  <a:pt x="7442124" y="1552940"/>
                </a:cubicBezTo>
                <a:cubicBezTo>
                  <a:pt x="7442124" y="1551073"/>
                  <a:pt x="7441725" y="1549349"/>
                  <a:pt x="7441059" y="1547746"/>
                </a:cubicBezTo>
                <a:cubicBezTo>
                  <a:pt x="7440394" y="1546150"/>
                  <a:pt x="7439462" y="1544827"/>
                  <a:pt x="7438397" y="1543620"/>
                </a:cubicBezTo>
                <a:cubicBezTo>
                  <a:pt x="7437332" y="1542564"/>
                  <a:pt x="7436001" y="1541623"/>
                  <a:pt x="7434403" y="1540957"/>
                </a:cubicBezTo>
                <a:cubicBezTo>
                  <a:pt x="7432939" y="1540297"/>
                  <a:pt x="7431342" y="1540033"/>
                  <a:pt x="7429345" y="1540033"/>
                </a:cubicBezTo>
                <a:close/>
                <a:moveTo>
                  <a:pt x="7211701" y="1540033"/>
                </a:moveTo>
                <a:cubicBezTo>
                  <a:pt x="7205844" y="1540033"/>
                  <a:pt x="7203314" y="1542023"/>
                  <a:pt x="7201717" y="1543620"/>
                </a:cubicBezTo>
                <a:cubicBezTo>
                  <a:pt x="7199188" y="1546289"/>
                  <a:pt x="7198123" y="1549082"/>
                  <a:pt x="7198123" y="1553078"/>
                </a:cubicBezTo>
                <a:cubicBezTo>
                  <a:pt x="7198123" y="1557204"/>
                  <a:pt x="7199188" y="1559998"/>
                  <a:pt x="7201717" y="1562528"/>
                </a:cubicBezTo>
                <a:cubicBezTo>
                  <a:pt x="7203314" y="1564126"/>
                  <a:pt x="7205844" y="1565990"/>
                  <a:pt x="7211701" y="1565990"/>
                </a:cubicBezTo>
                <a:cubicBezTo>
                  <a:pt x="7213830" y="1565990"/>
                  <a:pt x="7215561" y="1565717"/>
                  <a:pt x="7217026" y="1564919"/>
                </a:cubicBezTo>
                <a:cubicBezTo>
                  <a:pt x="7218490" y="1564392"/>
                  <a:pt x="7219821" y="1563596"/>
                  <a:pt x="7220752" y="1562528"/>
                </a:cubicBezTo>
                <a:cubicBezTo>
                  <a:pt x="7221818" y="1561462"/>
                  <a:pt x="7222750" y="1560127"/>
                  <a:pt x="7223415" y="1558402"/>
                </a:cubicBezTo>
                <a:cubicBezTo>
                  <a:pt x="7224214" y="1556801"/>
                  <a:pt x="7224480" y="1554942"/>
                  <a:pt x="7224480" y="1552940"/>
                </a:cubicBezTo>
                <a:cubicBezTo>
                  <a:pt x="7224480" y="1551073"/>
                  <a:pt x="7224080" y="1549349"/>
                  <a:pt x="7223415" y="1547746"/>
                </a:cubicBezTo>
                <a:cubicBezTo>
                  <a:pt x="7222750" y="1546150"/>
                  <a:pt x="7221818" y="1544827"/>
                  <a:pt x="7220752" y="1543620"/>
                </a:cubicBezTo>
                <a:cubicBezTo>
                  <a:pt x="7219687" y="1542564"/>
                  <a:pt x="7218356" y="1541623"/>
                  <a:pt x="7216759" y="1540957"/>
                </a:cubicBezTo>
                <a:cubicBezTo>
                  <a:pt x="7215295" y="1540297"/>
                  <a:pt x="7213698" y="1540033"/>
                  <a:pt x="7211701" y="1540033"/>
                </a:cubicBezTo>
                <a:close/>
                <a:moveTo>
                  <a:pt x="6994056" y="1540033"/>
                </a:moveTo>
                <a:cubicBezTo>
                  <a:pt x="6988199" y="1540033"/>
                  <a:pt x="6985669" y="1542023"/>
                  <a:pt x="6984072" y="1543620"/>
                </a:cubicBezTo>
                <a:cubicBezTo>
                  <a:pt x="6981543" y="1546289"/>
                  <a:pt x="6980478" y="1549082"/>
                  <a:pt x="6980478" y="1553078"/>
                </a:cubicBezTo>
                <a:cubicBezTo>
                  <a:pt x="6980478" y="1557204"/>
                  <a:pt x="6981543" y="1559998"/>
                  <a:pt x="6984072" y="1562528"/>
                </a:cubicBezTo>
                <a:cubicBezTo>
                  <a:pt x="6985669" y="1564126"/>
                  <a:pt x="6988199" y="1565990"/>
                  <a:pt x="6994056" y="1565990"/>
                </a:cubicBezTo>
                <a:cubicBezTo>
                  <a:pt x="6996185" y="1565990"/>
                  <a:pt x="6997916" y="1565717"/>
                  <a:pt x="6999380" y="1564919"/>
                </a:cubicBezTo>
                <a:cubicBezTo>
                  <a:pt x="7000844" y="1564392"/>
                  <a:pt x="7002176" y="1563596"/>
                  <a:pt x="7003107" y="1562528"/>
                </a:cubicBezTo>
                <a:cubicBezTo>
                  <a:pt x="7004172" y="1561462"/>
                  <a:pt x="7005104" y="1560127"/>
                  <a:pt x="7005769" y="1558402"/>
                </a:cubicBezTo>
                <a:cubicBezTo>
                  <a:pt x="7006568" y="1556801"/>
                  <a:pt x="7006834" y="1554942"/>
                  <a:pt x="7006834" y="1552940"/>
                </a:cubicBezTo>
                <a:cubicBezTo>
                  <a:pt x="7006834" y="1551073"/>
                  <a:pt x="7006435" y="1549349"/>
                  <a:pt x="7005769" y="1547746"/>
                </a:cubicBezTo>
                <a:cubicBezTo>
                  <a:pt x="7005104" y="1546150"/>
                  <a:pt x="7004172" y="1544827"/>
                  <a:pt x="7003107" y="1543620"/>
                </a:cubicBezTo>
                <a:cubicBezTo>
                  <a:pt x="7002042" y="1542564"/>
                  <a:pt x="7000711" y="1541623"/>
                  <a:pt x="6999113" y="1540957"/>
                </a:cubicBezTo>
                <a:cubicBezTo>
                  <a:pt x="6997649" y="1540297"/>
                  <a:pt x="6996052" y="1540033"/>
                  <a:pt x="6994056" y="1540033"/>
                </a:cubicBezTo>
                <a:close/>
                <a:moveTo>
                  <a:pt x="6776544" y="1540033"/>
                </a:moveTo>
                <a:cubicBezTo>
                  <a:pt x="6770687" y="1540033"/>
                  <a:pt x="6768157" y="1542023"/>
                  <a:pt x="6766560" y="1543620"/>
                </a:cubicBezTo>
                <a:cubicBezTo>
                  <a:pt x="6764031" y="1546289"/>
                  <a:pt x="6762966" y="1549082"/>
                  <a:pt x="6762966" y="1553078"/>
                </a:cubicBezTo>
                <a:cubicBezTo>
                  <a:pt x="6762966" y="1557204"/>
                  <a:pt x="6764031" y="1559998"/>
                  <a:pt x="6766560" y="1562528"/>
                </a:cubicBezTo>
                <a:cubicBezTo>
                  <a:pt x="6768157" y="1564126"/>
                  <a:pt x="6770687" y="1565990"/>
                  <a:pt x="6776544" y="1565990"/>
                </a:cubicBezTo>
                <a:cubicBezTo>
                  <a:pt x="6778541" y="1565990"/>
                  <a:pt x="6780270" y="1565717"/>
                  <a:pt x="6781869" y="1564919"/>
                </a:cubicBezTo>
                <a:cubicBezTo>
                  <a:pt x="6783333" y="1564392"/>
                  <a:pt x="6784664" y="1563596"/>
                  <a:pt x="6785595" y="1562528"/>
                </a:cubicBezTo>
                <a:cubicBezTo>
                  <a:pt x="6786661" y="1561462"/>
                  <a:pt x="6787593" y="1560127"/>
                  <a:pt x="6788258" y="1558402"/>
                </a:cubicBezTo>
                <a:cubicBezTo>
                  <a:pt x="6789057" y="1556801"/>
                  <a:pt x="6789323" y="1554942"/>
                  <a:pt x="6789323" y="1552940"/>
                </a:cubicBezTo>
                <a:cubicBezTo>
                  <a:pt x="6789323" y="1551073"/>
                  <a:pt x="6788923" y="1549349"/>
                  <a:pt x="6788258" y="1547746"/>
                </a:cubicBezTo>
                <a:cubicBezTo>
                  <a:pt x="6787593" y="1546150"/>
                  <a:pt x="6786661" y="1544827"/>
                  <a:pt x="6785595" y="1543620"/>
                </a:cubicBezTo>
                <a:cubicBezTo>
                  <a:pt x="6784530" y="1542564"/>
                  <a:pt x="6783199" y="1541623"/>
                  <a:pt x="6781602" y="1540957"/>
                </a:cubicBezTo>
                <a:cubicBezTo>
                  <a:pt x="6780138" y="1540297"/>
                  <a:pt x="6778541" y="1540033"/>
                  <a:pt x="6776544" y="1540033"/>
                </a:cubicBezTo>
                <a:close/>
                <a:moveTo>
                  <a:pt x="6558899" y="1540033"/>
                </a:moveTo>
                <a:cubicBezTo>
                  <a:pt x="6553042" y="1540033"/>
                  <a:pt x="6550512" y="1542023"/>
                  <a:pt x="6548915" y="1543620"/>
                </a:cubicBezTo>
                <a:cubicBezTo>
                  <a:pt x="6546386" y="1546289"/>
                  <a:pt x="6545321" y="1549082"/>
                  <a:pt x="6545321" y="1553078"/>
                </a:cubicBezTo>
                <a:cubicBezTo>
                  <a:pt x="6545321" y="1557204"/>
                  <a:pt x="6546386" y="1559998"/>
                  <a:pt x="6548915" y="1562528"/>
                </a:cubicBezTo>
                <a:cubicBezTo>
                  <a:pt x="6550512" y="1564126"/>
                  <a:pt x="6553042" y="1565990"/>
                  <a:pt x="6558899" y="1565990"/>
                </a:cubicBezTo>
                <a:cubicBezTo>
                  <a:pt x="6560895" y="1565990"/>
                  <a:pt x="6562759" y="1565717"/>
                  <a:pt x="6564223" y="1564919"/>
                </a:cubicBezTo>
                <a:cubicBezTo>
                  <a:pt x="6565687" y="1564392"/>
                  <a:pt x="6567019" y="1563596"/>
                  <a:pt x="6567950" y="1562528"/>
                </a:cubicBezTo>
                <a:cubicBezTo>
                  <a:pt x="6569015" y="1561462"/>
                  <a:pt x="6569947" y="1560127"/>
                  <a:pt x="6570612" y="1558402"/>
                </a:cubicBezTo>
                <a:cubicBezTo>
                  <a:pt x="6571412" y="1556801"/>
                  <a:pt x="6571677" y="1554942"/>
                  <a:pt x="6571677" y="1552940"/>
                </a:cubicBezTo>
                <a:cubicBezTo>
                  <a:pt x="6571677" y="1551073"/>
                  <a:pt x="6571278" y="1549349"/>
                  <a:pt x="6570612" y="1547746"/>
                </a:cubicBezTo>
                <a:cubicBezTo>
                  <a:pt x="6569947" y="1546150"/>
                  <a:pt x="6569015" y="1544827"/>
                  <a:pt x="6567950" y="1543620"/>
                </a:cubicBezTo>
                <a:cubicBezTo>
                  <a:pt x="6566885" y="1542564"/>
                  <a:pt x="6565554" y="1541623"/>
                  <a:pt x="6563956" y="1540957"/>
                </a:cubicBezTo>
                <a:cubicBezTo>
                  <a:pt x="6562492" y="1540297"/>
                  <a:pt x="6560895" y="1540033"/>
                  <a:pt x="6558899" y="1540033"/>
                </a:cubicBezTo>
                <a:close/>
                <a:moveTo>
                  <a:pt x="6341253" y="1540033"/>
                </a:moveTo>
                <a:cubicBezTo>
                  <a:pt x="6335396" y="1540033"/>
                  <a:pt x="6332867" y="1542023"/>
                  <a:pt x="6331270" y="1543620"/>
                </a:cubicBezTo>
                <a:cubicBezTo>
                  <a:pt x="6328740" y="1546289"/>
                  <a:pt x="6327675" y="1549082"/>
                  <a:pt x="6327675" y="1553078"/>
                </a:cubicBezTo>
                <a:cubicBezTo>
                  <a:pt x="6327675" y="1557204"/>
                  <a:pt x="6328740" y="1559998"/>
                  <a:pt x="6331270" y="1562528"/>
                </a:cubicBezTo>
                <a:cubicBezTo>
                  <a:pt x="6332867" y="1564126"/>
                  <a:pt x="6335396" y="1565990"/>
                  <a:pt x="6341253" y="1565990"/>
                </a:cubicBezTo>
                <a:cubicBezTo>
                  <a:pt x="6343250" y="1565990"/>
                  <a:pt x="6345114" y="1565717"/>
                  <a:pt x="6346578" y="1564919"/>
                </a:cubicBezTo>
                <a:cubicBezTo>
                  <a:pt x="6348042" y="1564392"/>
                  <a:pt x="6349373" y="1563596"/>
                  <a:pt x="6350305" y="1562528"/>
                </a:cubicBezTo>
                <a:cubicBezTo>
                  <a:pt x="6351370" y="1561462"/>
                  <a:pt x="6352302" y="1560127"/>
                  <a:pt x="6352968" y="1558402"/>
                </a:cubicBezTo>
                <a:cubicBezTo>
                  <a:pt x="6353766" y="1556801"/>
                  <a:pt x="6354033" y="1554942"/>
                  <a:pt x="6354033" y="1552940"/>
                </a:cubicBezTo>
                <a:cubicBezTo>
                  <a:pt x="6354033" y="1551073"/>
                  <a:pt x="6353633" y="1549349"/>
                  <a:pt x="6352968" y="1547746"/>
                </a:cubicBezTo>
                <a:cubicBezTo>
                  <a:pt x="6352302" y="1546150"/>
                  <a:pt x="6351370" y="1544827"/>
                  <a:pt x="6350305" y="1543620"/>
                </a:cubicBezTo>
                <a:cubicBezTo>
                  <a:pt x="6349241" y="1542564"/>
                  <a:pt x="6347909" y="1541623"/>
                  <a:pt x="6346312" y="1540957"/>
                </a:cubicBezTo>
                <a:cubicBezTo>
                  <a:pt x="6344848" y="1540297"/>
                  <a:pt x="6343250" y="1540033"/>
                  <a:pt x="6341253" y="1540033"/>
                </a:cubicBezTo>
                <a:close/>
                <a:moveTo>
                  <a:pt x="6123608" y="1540033"/>
                </a:moveTo>
                <a:cubicBezTo>
                  <a:pt x="6117751" y="1540033"/>
                  <a:pt x="6115221" y="1542023"/>
                  <a:pt x="6113624" y="1543620"/>
                </a:cubicBezTo>
                <a:cubicBezTo>
                  <a:pt x="6111095" y="1546289"/>
                  <a:pt x="6110030" y="1549082"/>
                  <a:pt x="6110030" y="1553078"/>
                </a:cubicBezTo>
                <a:cubicBezTo>
                  <a:pt x="6110030" y="1557204"/>
                  <a:pt x="6111095" y="1559998"/>
                  <a:pt x="6113624" y="1562528"/>
                </a:cubicBezTo>
                <a:cubicBezTo>
                  <a:pt x="6115221" y="1564126"/>
                  <a:pt x="6117751" y="1565990"/>
                  <a:pt x="6123608" y="1565990"/>
                </a:cubicBezTo>
                <a:cubicBezTo>
                  <a:pt x="6125737" y="1565990"/>
                  <a:pt x="6127468" y="1565717"/>
                  <a:pt x="6128932" y="1564919"/>
                </a:cubicBezTo>
                <a:cubicBezTo>
                  <a:pt x="6130530" y="1564392"/>
                  <a:pt x="6131728" y="1563596"/>
                  <a:pt x="6132659" y="1562528"/>
                </a:cubicBezTo>
                <a:cubicBezTo>
                  <a:pt x="6133724" y="1561462"/>
                  <a:pt x="6134656" y="1560127"/>
                  <a:pt x="6135322" y="1558402"/>
                </a:cubicBezTo>
                <a:cubicBezTo>
                  <a:pt x="6135987" y="1556801"/>
                  <a:pt x="6136387" y="1554942"/>
                  <a:pt x="6136387" y="1552940"/>
                </a:cubicBezTo>
                <a:cubicBezTo>
                  <a:pt x="6136387" y="1551073"/>
                  <a:pt x="6135987" y="1549349"/>
                  <a:pt x="6135322" y="1547746"/>
                </a:cubicBezTo>
                <a:cubicBezTo>
                  <a:pt x="6134656" y="1546150"/>
                  <a:pt x="6133724" y="1544827"/>
                  <a:pt x="6132659" y="1543620"/>
                </a:cubicBezTo>
                <a:cubicBezTo>
                  <a:pt x="6131594" y="1542564"/>
                  <a:pt x="6130263" y="1541623"/>
                  <a:pt x="6128666" y="1540957"/>
                </a:cubicBezTo>
                <a:cubicBezTo>
                  <a:pt x="6127202" y="1540297"/>
                  <a:pt x="6125604" y="1540033"/>
                  <a:pt x="6123608" y="1540033"/>
                </a:cubicBezTo>
                <a:close/>
                <a:moveTo>
                  <a:pt x="5905963" y="1540033"/>
                </a:moveTo>
                <a:cubicBezTo>
                  <a:pt x="5900106" y="1540033"/>
                  <a:pt x="5897576" y="1542023"/>
                  <a:pt x="5895979" y="1543620"/>
                </a:cubicBezTo>
                <a:cubicBezTo>
                  <a:pt x="5893450" y="1546289"/>
                  <a:pt x="5892385" y="1549082"/>
                  <a:pt x="5892385" y="1553078"/>
                </a:cubicBezTo>
                <a:cubicBezTo>
                  <a:pt x="5892385" y="1557204"/>
                  <a:pt x="5893450" y="1559998"/>
                  <a:pt x="5895979" y="1562528"/>
                </a:cubicBezTo>
                <a:cubicBezTo>
                  <a:pt x="5897576" y="1564126"/>
                  <a:pt x="5900106" y="1565990"/>
                  <a:pt x="5905963" y="1565990"/>
                </a:cubicBezTo>
                <a:cubicBezTo>
                  <a:pt x="5908093" y="1565990"/>
                  <a:pt x="5909823" y="1565717"/>
                  <a:pt x="5911287" y="1564919"/>
                </a:cubicBezTo>
                <a:cubicBezTo>
                  <a:pt x="5912751" y="1564392"/>
                  <a:pt x="5914083" y="1563596"/>
                  <a:pt x="5915014" y="1562528"/>
                </a:cubicBezTo>
                <a:cubicBezTo>
                  <a:pt x="5916079" y="1561462"/>
                  <a:pt x="5917011" y="1560127"/>
                  <a:pt x="5917677" y="1558402"/>
                </a:cubicBezTo>
                <a:cubicBezTo>
                  <a:pt x="5918342" y="1556801"/>
                  <a:pt x="5918742" y="1554942"/>
                  <a:pt x="5918742" y="1552940"/>
                </a:cubicBezTo>
                <a:cubicBezTo>
                  <a:pt x="5918742" y="1551073"/>
                  <a:pt x="5918342" y="1549349"/>
                  <a:pt x="5917677" y="1547746"/>
                </a:cubicBezTo>
                <a:cubicBezTo>
                  <a:pt x="5917011" y="1546150"/>
                  <a:pt x="5916079" y="1544827"/>
                  <a:pt x="5915014" y="1543620"/>
                </a:cubicBezTo>
                <a:cubicBezTo>
                  <a:pt x="5913950" y="1542564"/>
                  <a:pt x="5912618" y="1541623"/>
                  <a:pt x="5911021" y="1540957"/>
                </a:cubicBezTo>
                <a:cubicBezTo>
                  <a:pt x="5909557" y="1540297"/>
                  <a:pt x="5907826" y="1540033"/>
                  <a:pt x="5905963" y="1540033"/>
                </a:cubicBezTo>
                <a:close/>
                <a:moveTo>
                  <a:pt x="5688451" y="1540033"/>
                </a:moveTo>
                <a:cubicBezTo>
                  <a:pt x="5682594" y="1540033"/>
                  <a:pt x="5680064" y="1542023"/>
                  <a:pt x="5678467" y="1543620"/>
                </a:cubicBezTo>
                <a:cubicBezTo>
                  <a:pt x="5675938" y="1546289"/>
                  <a:pt x="5674873" y="1549082"/>
                  <a:pt x="5674873" y="1553078"/>
                </a:cubicBezTo>
                <a:cubicBezTo>
                  <a:pt x="5674873" y="1557204"/>
                  <a:pt x="5675938" y="1559998"/>
                  <a:pt x="5678467" y="1562528"/>
                </a:cubicBezTo>
                <a:cubicBezTo>
                  <a:pt x="5680064" y="1564126"/>
                  <a:pt x="5682594" y="1565990"/>
                  <a:pt x="5688451" y="1565990"/>
                </a:cubicBezTo>
                <a:cubicBezTo>
                  <a:pt x="5690447" y="1565990"/>
                  <a:pt x="5692178" y="1565717"/>
                  <a:pt x="5693775" y="1564919"/>
                </a:cubicBezTo>
                <a:cubicBezTo>
                  <a:pt x="5695239" y="1564392"/>
                  <a:pt x="5696571" y="1563596"/>
                  <a:pt x="5697502" y="1562528"/>
                </a:cubicBezTo>
                <a:cubicBezTo>
                  <a:pt x="5698567" y="1561462"/>
                  <a:pt x="5699499" y="1560127"/>
                  <a:pt x="5700165" y="1558402"/>
                </a:cubicBezTo>
                <a:cubicBezTo>
                  <a:pt x="5700830" y="1556801"/>
                  <a:pt x="5701230" y="1554942"/>
                  <a:pt x="5701230" y="1552940"/>
                </a:cubicBezTo>
                <a:cubicBezTo>
                  <a:pt x="5701230" y="1551073"/>
                  <a:pt x="5700830" y="1549349"/>
                  <a:pt x="5700165" y="1547746"/>
                </a:cubicBezTo>
                <a:cubicBezTo>
                  <a:pt x="5699499" y="1546150"/>
                  <a:pt x="5698567" y="1544827"/>
                  <a:pt x="5697502" y="1543620"/>
                </a:cubicBezTo>
                <a:cubicBezTo>
                  <a:pt x="5696437" y="1542564"/>
                  <a:pt x="5695106" y="1541623"/>
                  <a:pt x="5693509" y="1540957"/>
                </a:cubicBezTo>
                <a:cubicBezTo>
                  <a:pt x="5692045" y="1540297"/>
                  <a:pt x="5690314" y="1540033"/>
                  <a:pt x="5688451" y="1540033"/>
                </a:cubicBezTo>
                <a:close/>
                <a:moveTo>
                  <a:pt x="5470806" y="1540033"/>
                </a:moveTo>
                <a:cubicBezTo>
                  <a:pt x="5464949" y="1540033"/>
                  <a:pt x="5462419" y="1542023"/>
                  <a:pt x="5460822" y="1543620"/>
                </a:cubicBezTo>
                <a:cubicBezTo>
                  <a:pt x="5458293" y="1546289"/>
                  <a:pt x="5457228" y="1549082"/>
                  <a:pt x="5457228" y="1553078"/>
                </a:cubicBezTo>
                <a:cubicBezTo>
                  <a:pt x="5457228" y="1557204"/>
                  <a:pt x="5458293" y="1559998"/>
                  <a:pt x="5460822" y="1562528"/>
                </a:cubicBezTo>
                <a:cubicBezTo>
                  <a:pt x="5462419" y="1564126"/>
                  <a:pt x="5464949" y="1565990"/>
                  <a:pt x="5470806" y="1565990"/>
                </a:cubicBezTo>
                <a:cubicBezTo>
                  <a:pt x="5472802" y="1565990"/>
                  <a:pt x="5474666" y="1565717"/>
                  <a:pt x="5476130" y="1564919"/>
                </a:cubicBezTo>
                <a:cubicBezTo>
                  <a:pt x="5477594" y="1564392"/>
                  <a:pt x="5478926" y="1563596"/>
                  <a:pt x="5479857" y="1562528"/>
                </a:cubicBezTo>
                <a:cubicBezTo>
                  <a:pt x="5480922" y="1561462"/>
                  <a:pt x="5481854" y="1560127"/>
                  <a:pt x="5482520" y="1558402"/>
                </a:cubicBezTo>
                <a:cubicBezTo>
                  <a:pt x="5483319" y="1556801"/>
                  <a:pt x="5483585" y="1554942"/>
                  <a:pt x="5483585" y="1552940"/>
                </a:cubicBezTo>
                <a:cubicBezTo>
                  <a:pt x="5483585" y="1551073"/>
                  <a:pt x="5483185" y="1549349"/>
                  <a:pt x="5482520" y="1547746"/>
                </a:cubicBezTo>
                <a:cubicBezTo>
                  <a:pt x="5481854" y="1546150"/>
                  <a:pt x="5480922" y="1544827"/>
                  <a:pt x="5479857" y="1543620"/>
                </a:cubicBezTo>
                <a:cubicBezTo>
                  <a:pt x="5478793" y="1542564"/>
                  <a:pt x="5477461" y="1541623"/>
                  <a:pt x="5475864" y="1540957"/>
                </a:cubicBezTo>
                <a:cubicBezTo>
                  <a:pt x="5474400" y="1540297"/>
                  <a:pt x="5472669" y="1540033"/>
                  <a:pt x="5470806" y="1540033"/>
                </a:cubicBezTo>
                <a:close/>
                <a:moveTo>
                  <a:pt x="5253160" y="1540033"/>
                </a:moveTo>
                <a:cubicBezTo>
                  <a:pt x="5247303" y="1540033"/>
                  <a:pt x="5244774" y="1542023"/>
                  <a:pt x="5243177" y="1543620"/>
                </a:cubicBezTo>
                <a:cubicBezTo>
                  <a:pt x="5240647" y="1546289"/>
                  <a:pt x="5239583" y="1549082"/>
                  <a:pt x="5239583" y="1553078"/>
                </a:cubicBezTo>
                <a:cubicBezTo>
                  <a:pt x="5239583" y="1557204"/>
                  <a:pt x="5240647" y="1559998"/>
                  <a:pt x="5243177" y="1562528"/>
                </a:cubicBezTo>
                <a:cubicBezTo>
                  <a:pt x="5244774" y="1564126"/>
                  <a:pt x="5247303" y="1565990"/>
                  <a:pt x="5253160" y="1565990"/>
                </a:cubicBezTo>
                <a:cubicBezTo>
                  <a:pt x="5255157" y="1565990"/>
                  <a:pt x="5257021" y="1565717"/>
                  <a:pt x="5258485" y="1564919"/>
                </a:cubicBezTo>
                <a:cubicBezTo>
                  <a:pt x="5259949" y="1564392"/>
                  <a:pt x="5261280" y="1563596"/>
                  <a:pt x="5262212" y="1562528"/>
                </a:cubicBezTo>
                <a:cubicBezTo>
                  <a:pt x="5263277" y="1561462"/>
                  <a:pt x="5264209" y="1560127"/>
                  <a:pt x="5264875" y="1558402"/>
                </a:cubicBezTo>
                <a:cubicBezTo>
                  <a:pt x="5265673" y="1556801"/>
                  <a:pt x="5265939" y="1554942"/>
                  <a:pt x="5265939" y="1552940"/>
                </a:cubicBezTo>
                <a:cubicBezTo>
                  <a:pt x="5265939" y="1551073"/>
                  <a:pt x="5265540" y="1549349"/>
                  <a:pt x="5264875" y="1547746"/>
                </a:cubicBezTo>
                <a:cubicBezTo>
                  <a:pt x="5264209" y="1546150"/>
                  <a:pt x="5263277" y="1544827"/>
                  <a:pt x="5262212" y="1543620"/>
                </a:cubicBezTo>
                <a:cubicBezTo>
                  <a:pt x="5261147" y="1542564"/>
                  <a:pt x="5259816" y="1541623"/>
                  <a:pt x="5258219" y="1540957"/>
                </a:cubicBezTo>
                <a:cubicBezTo>
                  <a:pt x="5256754" y="1540297"/>
                  <a:pt x="5255024" y="1540033"/>
                  <a:pt x="5253160" y="1540033"/>
                </a:cubicBezTo>
                <a:close/>
                <a:moveTo>
                  <a:pt x="5035515" y="1540033"/>
                </a:moveTo>
                <a:cubicBezTo>
                  <a:pt x="5029658" y="1540033"/>
                  <a:pt x="5027129" y="1542023"/>
                  <a:pt x="5025532" y="1543620"/>
                </a:cubicBezTo>
                <a:cubicBezTo>
                  <a:pt x="5023002" y="1546289"/>
                  <a:pt x="5021938" y="1549082"/>
                  <a:pt x="5021938" y="1553078"/>
                </a:cubicBezTo>
                <a:cubicBezTo>
                  <a:pt x="5021938" y="1557204"/>
                  <a:pt x="5023002" y="1559998"/>
                  <a:pt x="5025532" y="1562528"/>
                </a:cubicBezTo>
                <a:cubicBezTo>
                  <a:pt x="5027129" y="1564126"/>
                  <a:pt x="5029658" y="1565990"/>
                  <a:pt x="5035515" y="1565990"/>
                </a:cubicBezTo>
                <a:cubicBezTo>
                  <a:pt x="5037645" y="1565990"/>
                  <a:pt x="5039376" y="1565717"/>
                  <a:pt x="5040840" y="1564919"/>
                </a:cubicBezTo>
                <a:cubicBezTo>
                  <a:pt x="5042304" y="1564392"/>
                  <a:pt x="5043636" y="1563596"/>
                  <a:pt x="5044567" y="1562528"/>
                </a:cubicBezTo>
                <a:cubicBezTo>
                  <a:pt x="5045632" y="1561462"/>
                  <a:pt x="5046564" y="1560127"/>
                  <a:pt x="5047230" y="1558402"/>
                </a:cubicBezTo>
                <a:cubicBezTo>
                  <a:pt x="5048028" y="1556801"/>
                  <a:pt x="5048294" y="1554942"/>
                  <a:pt x="5048294" y="1552940"/>
                </a:cubicBezTo>
                <a:cubicBezTo>
                  <a:pt x="5048294" y="1551073"/>
                  <a:pt x="5047895" y="1549349"/>
                  <a:pt x="5047230" y="1547746"/>
                </a:cubicBezTo>
                <a:cubicBezTo>
                  <a:pt x="5046564" y="1546150"/>
                  <a:pt x="5045632" y="1544827"/>
                  <a:pt x="5044567" y="1543620"/>
                </a:cubicBezTo>
                <a:cubicBezTo>
                  <a:pt x="5043502" y="1542564"/>
                  <a:pt x="5042171" y="1541623"/>
                  <a:pt x="5040574" y="1540957"/>
                </a:cubicBezTo>
                <a:cubicBezTo>
                  <a:pt x="5039110" y="1540297"/>
                  <a:pt x="5037379" y="1540033"/>
                  <a:pt x="5035515" y="1540033"/>
                </a:cubicBezTo>
                <a:close/>
                <a:moveTo>
                  <a:pt x="4817870" y="1540033"/>
                </a:moveTo>
                <a:cubicBezTo>
                  <a:pt x="4812013" y="1540033"/>
                  <a:pt x="4809484" y="1542023"/>
                  <a:pt x="4807887" y="1543620"/>
                </a:cubicBezTo>
                <a:cubicBezTo>
                  <a:pt x="4805357" y="1546289"/>
                  <a:pt x="4804293" y="1549082"/>
                  <a:pt x="4804293" y="1553078"/>
                </a:cubicBezTo>
                <a:cubicBezTo>
                  <a:pt x="4804293" y="1557204"/>
                  <a:pt x="4805357" y="1559998"/>
                  <a:pt x="4807887" y="1562528"/>
                </a:cubicBezTo>
                <a:cubicBezTo>
                  <a:pt x="4809484" y="1564126"/>
                  <a:pt x="4812013" y="1565990"/>
                  <a:pt x="4817870" y="1565990"/>
                </a:cubicBezTo>
                <a:cubicBezTo>
                  <a:pt x="4820000" y="1565990"/>
                  <a:pt x="4821731" y="1565717"/>
                  <a:pt x="4823195" y="1564919"/>
                </a:cubicBezTo>
                <a:cubicBezTo>
                  <a:pt x="4824659" y="1564392"/>
                  <a:pt x="4825857" y="1563596"/>
                  <a:pt x="4826922" y="1562528"/>
                </a:cubicBezTo>
                <a:cubicBezTo>
                  <a:pt x="4827987" y="1561462"/>
                  <a:pt x="4828919" y="1560127"/>
                  <a:pt x="4829585" y="1558402"/>
                </a:cubicBezTo>
                <a:cubicBezTo>
                  <a:pt x="4830383" y="1556801"/>
                  <a:pt x="4830650" y="1554942"/>
                  <a:pt x="4830650" y="1552940"/>
                </a:cubicBezTo>
                <a:cubicBezTo>
                  <a:pt x="4830650" y="1551073"/>
                  <a:pt x="4830250" y="1549349"/>
                  <a:pt x="4829585" y="1547746"/>
                </a:cubicBezTo>
                <a:cubicBezTo>
                  <a:pt x="4828919" y="1546150"/>
                  <a:pt x="4827987" y="1544827"/>
                  <a:pt x="4826922" y="1543620"/>
                </a:cubicBezTo>
                <a:cubicBezTo>
                  <a:pt x="4825857" y="1542564"/>
                  <a:pt x="4824526" y="1541623"/>
                  <a:pt x="4822929" y="1540957"/>
                </a:cubicBezTo>
                <a:cubicBezTo>
                  <a:pt x="4821465" y="1540297"/>
                  <a:pt x="4819734" y="1540033"/>
                  <a:pt x="4817870" y="1540033"/>
                </a:cubicBezTo>
                <a:close/>
                <a:moveTo>
                  <a:pt x="4600226" y="1540033"/>
                </a:moveTo>
                <a:cubicBezTo>
                  <a:pt x="4594369" y="1540033"/>
                  <a:pt x="4591839" y="1542023"/>
                  <a:pt x="4590242" y="1543620"/>
                </a:cubicBezTo>
                <a:cubicBezTo>
                  <a:pt x="4587713" y="1546289"/>
                  <a:pt x="4586648" y="1549082"/>
                  <a:pt x="4586648" y="1553078"/>
                </a:cubicBezTo>
                <a:cubicBezTo>
                  <a:pt x="4586648" y="1557204"/>
                  <a:pt x="4587713" y="1559998"/>
                  <a:pt x="4590242" y="1562528"/>
                </a:cubicBezTo>
                <a:cubicBezTo>
                  <a:pt x="4591839" y="1564126"/>
                  <a:pt x="4594369" y="1565990"/>
                  <a:pt x="4600226" y="1565990"/>
                </a:cubicBezTo>
                <a:cubicBezTo>
                  <a:pt x="4602355" y="1565990"/>
                  <a:pt x="4604086" y="1565717"/>
                  <a:pt x="4605550" y="1564919"/>
                </a:cubicBezTo>
                <a:cubicBezTo>
                  <a:pt x="4607148" y="1564392"/>
                  <a:pt x="4608346" y="1563596"/>
                  <a:pt x="4609277" y="1562528"/>
                </a:cubicBezTo>
                <a:cubicBezTo>
                  <a:pt x="4610342" y="1561462"/>
                  <a:pt x="4611274" y="1560127"/>
                  <a:pt x="4611940" y="1558402"/>
                </a:cubicBezTo>
                <a:cubicBezTo>
                  <a:pt x="4612605" y="1556801"/>
                  <a:pt x="4613005" y="1554942"/>
                  <a:pt x="4613005" y="1552940"/>
                </a:cubicBezTo>
                <a:cubicBezTo>
                  <a:pt x="4613005" y="1551073"/>
                  <a:pt x="4612605" y="1549349"/>
                  <a:pt x="4611940" y="1547746"/>
                </a:cubicBezTo>
                <a:cubicBezTo>
                  <a:pt x="4611274" y="1546150"/>
                  <a:pt x="4610342" y="1544827"/>
                  <a:pt x="4609277" y="1543620"/>
                </a:cubicBezTo>
                <a:cubicBezTo>
                  <a:pt x="4608212" y="1542564"/>
                  <a:pt x="4606881" y="1541623"/>
                  <a:pt x="4605284" y="1540957"/>
                </a:cubicBezTo>
                <a:cubicBezTo>
                  <a:pt x="4603820" y="1540297"/>
                  <a:pt x="4602222" y="1540033"/>
                  <a:pt x="4600226" y="1540033"/>
                </a:cubicBezTo>
                <a:close/>
                <a:moveTo>
                  <a:pt x="4382713" y="1540033"/>
                </a:moveTo>
                <a:cubicBezTo>
                  <a:pt x="4376857" y="1540033"/>
                  <a:pt x="4374327" y="1542023"/>
                  <a:pt x="4372730" y="1543620"/>
                </a:cubicBezTo>
                <a:cubicBezTo>
                  <a:pt x="4370201" y="1546289"/>
                  <a:pt x="4369136" y="1549082"/>
                  <a:pt x="4369136" y="1553078"/>
                </a:cubicBezTo>
                <a:cubicBezTo>
                  <a:pt x="4369136" y="1557204"/>
                  <a:pt x="4370201" y="1559998"/>
                  <a:pt x="4372730" y="1562528"/>
                </a:cubicBezTo>
                <a:cubicBezTo>
                  <a:pt x="4374327" y="1564126"/>
                  <a:pt x="4376857" y="1565990"/>
                  <a:pt x="4382713" y="1565990"/>
                </a:cubicBezTo>
                <a:cubicBezTo>
                  <a:pt x="4384710" y="1565990"/>
                  <a:pt x="4386441" y="1565717"/>
                  <a:pt x="4388038" y="1564919"/>
                </a:cubicBezTo>
                <a:cubicBezTo>
                  <a:pt x="4389502" y="1564392"/>
                  <a:pt x="4390834" y="1563596"/>
                  <a:pt x="4391765" y="1562528"/>
                </a:cubicBezTo>
                <a:cubicBezTo>
                  <a:pt x="4392830" y="1561462"/>
                  <a:pt x="4393762" y="1560127"/>
                  <a:pt x="4394428" y="1558402"/>
                </a:cubicBezTo>
                <a:cubicBezTo>
                  <a:pt x="4395093" y="1556801"/>
                  <a:pt x="4395493" y="1554942"/>
                  <a:pt x="4395493" y="1552940"/>
                </a:cubicBezTo>
                <a:cubicBezTo>
                  <a:pt x="4395493" y="1551073"/>
                  <a:pt x="4395093" y="1549349"/>
                  <a:pt x="4394428" y="1547746"/>
                </a:cubicBezTo>
                <a:cubicBezTo>
                  <a:pt x="4393762" y="1546150"/>
                  <a:pt x="4392830" y="1544827"/>
                  <a:pt x="4391765" y="1543620"/>
                </a:cubicBezTo>
                <a:cubicBezTo>
                  <a:pt x="4390700" y="1542564"/>
                  <a:pt x="4389369" y="1541623"/>
                  <a:pt x="4387772" y="1540957"/>
                </a:cubicBezTo>
                <a:cubicBezTo>
                  <a:pt x="4386308" y="1540297"/>
                  <a:pt x="4384710" y="1540033"/>
                  <a:pt x="4382713" y="1540033"/>
                </a:cubicBezTo>
                <a:close/>
                <a:moveTo>
                  <a:pt x="4165068" y="1540033"/>
                </a:moveTo>
                <a:cubicBezTo>
                  <a:pt x="4159211" y="1540033"/>
                  <a:pt x="4156681" y="1542023"/>
                  <a:pt x="4155084" y="1543620"/>
                </a:cubicBezTo>
                <a:cubicBezTo>
                  <a:pt x="4152555" y="1546289"/>
                  <a:pt x="4151490" y="1549082"/>
                  <a:pt x="4151490" y="1553078"/>
                </a:cubicBezTo>
                <a:cubicBezTo>
                  <a:pt x="4151490" y="1557204"/>
                  <a:pt x="4152555" y="1559998"/>
                  <a:pt x="4155084" y="1562528"/>
                </a:cubicBezTo>
                <a:cubicBezTo>
                  <a:pt x="4156681" y="1564126"/>
                  <a:pt x="4159211" y="1565990"/>
                  <a:pt x="4165068" y="1565990"/>
                </a:cubicBezTo>
                <a:cubicBezTo>
                  <a:pt x="4167064" y="1565990"/>
                  <a:pt x="4168928" y="1565717"/>
                  <a:pt x="4170392" y="1564919"/>
                </a:cubicBezTo>
                <a:cubicBezTo>
                  <a:pt x="4171856" y="1564392"/>
                  <a:pt x="4173188" y="1563596"/>
                  <a:pt x="4174119" y="1562528"/>
                </a:cubicBezTo>
                <a:cubicBezTo>
                  <a:pt x="4175184" y="1561462"/>
                  <a:pt x="4176116" y="1560127"/>
                  <a:pt x="4176782" y="1558402"/>
                </a:cubicBezTo>
                <a:cubicBezTo>
                  <a:pt x="4177447" y="1556801"/>
                  <a:pt x="4177847" y="1554942"/>
                  <a:pt x="4177847" y="1552940"/>
                </a:cubicBezTo>
                <a:cubicBezTo>
                  <a:pt x="4177847" y="1551073"/>
                  <a:pt x="4177447" y="1549349"/>
                  <a:pt x="4176782" y="1547746"/>
                </a:cubicBezTo>
                <a:cubicBezTo>
                  <a:pt x="4176116" y="1546150"/>
                  <a:pt x="4175184" y="1544827"/>
                  <a:pt x="4174119" y="1543620"/>
                </a:cubicBezTo>
                <a:cubicBezTo>
                  <a:pt x="4173054" y="1542564"/>
                  <a:pt x="4171723" y="1541623"/>
                  <a:pt x="4170126" y="1540957"/>
                </a:cubicBezTo>
                <a:cubicBezTo>
                  <a:pt x="4168662" y="1540297"/>
                  <a:pt x="4167064" y="1540033"/>
                  <a:pt x="4165068" y="1540033"/>
                </a:cubicBezTo>
                <a:close/>
                <a:moveTo>
                  <a:pt x="3947512" y="1540033"/>
                </a:moveTo>
                <a:cubicBezTo>
                  <a:pt x="3941654" y="1540033"/>
                  <a:pt x="3939126" y="1542023"/>
                  <a:pt x="3937529" y="1543620"/>
                </a:cubicBezTo>
                <a:cubicBezTo>
                  <a:pt x="3934997" y="1546289"/>
                  <a:pt x="3933934" y="1549082"/>
                  <a:pt x="3933934" y="1553078"/>
                </a:cubicBezTo>
                <a:cubicBezTo>
                  <a:pt x="3933934" y="1557204"/>
                  <a:pt x="3934997" y="1559998"/>
                  <a:pt x="3937529" y="1562528"/>
                </a:cubicBezTo>
                <a:cubicBezTo>
                  <a:pt x="3939126" y="1564126"/>
                  <a:pt x="3941654" y="1565990"/>
                  <a:pt x="3947512" y="1565990"/>
                </a:cubicBezTo>
                <a:cubicBezTo>
                  <a:pt x="3949509" y="1565990"/>
                  <a:pt x="3951372" y="1565717"/>
                  <a:pt x="3952837" y="1564919"/>
                </a:cubicBezTo>
                <a:cubicBezTo>
                  <a:pt x="3954301" y="1564392"/>
                  <a:pt x="3955631" y="1563596"/>
                  <a:pt x="3956564" y="1562528"/>
                </a:cubicBezTo>
                <a:cubicBezTo>
                  <a:pt x="3957629" y="1561462"/>
                  <a:pt x="3958562" y="1560127"/>
                  <a:pt x="3959227" y="1558402"/>
                </a:cubicBezTo>
                <a:cubicBezTo>
                  <a:pt x="3959892" y="1556801"/>
                  <a:pt x="3960292" y="1554942"/>
                  <a:pt x="3960292" y="1552940"/>
                </a:cubicBezTo>
                <a:cubicBezTo>
                  <a:pt x="3960292" y="1551073"/>
                  <a:pt x="3959892" y="1549349"/>
                  <a:pt x="3959227" y="1547746"/>
                </a:cubicBezTo>
                <a:cubicBezTo>
                  <a:pt x="3958562" y="1546150"/>
                  <a:pt x="3957629" y="1544827"/>
                  <a:pt x="3956564" y="1543620"/>
                </a:cubicBezTo>
                <a:cubicBezTo>
                  <a:pt x="3955499" y="1542564"/>
                  <a:pt x="3954168" y="1541623"/>
                  <a:pt x="3952571" y="1540957"/>
                </a:cubicBezTo>
                <a:cubicBezTo>
                  <a:pt x="3951105" y="1540297"/>
                  <a:pt x="3949509" y="1540033"/>
                  <a:pt x="3947512" y="1540033"/>
                </a:cubicBezTo>
                <a:close/>
                <a:moveTo>
                  <a:pt x="3729862" y="1540033"/>
                </a:moveTo>
                <a:cubicBezTo>
                  <a:pt x="3724005" y="1540033"/>
                  <a:pt x="3721476" y="1542023"/>
                  <a:pt x="3719876" y="1543620"/>
                </a:cubicBezTo>
                <a:cubicBezTo>
                  <a:pt x="3717347" y="1546289"/>
                  <a:pt x="3716284" y="1549082"/>
                  <a:pt x="3716284" y="1553078"/>
                </a:cubicBezTo>
                <a:cubicBezTo>
                  <a:pt x="3716284" y="1557204"/>
                  <a:pt x="3717347" y="1559998"/>
                  <a:pt x="3719876" y="1562528"/>
                </a:cubicBezTo>
                <a:cubicBezTo>
                  <a:pt x="3721476" y="1564126"/>
                  <a:pt x="3724005" y="1565990"/>
                  <a:pt x="3729862" y="1565990"/>
                </a:cubicBezTo>
                <a:cubicBezTo>
                  <a:pt x="3731992" y="1565990"/>
                  <a:pt x="3733723" y="1565717"/>
                  <a:pt x="3735187" y="1564919"/>
                </a:cubicBezTo>
                <a:cubicBezTo>
                  <a:pt x="3736651" y="1564392"/>
                  <a:pt x="3737983" y="1563596"/>
                  <a:pt x="3738914" y="1562528"/>
                </a:cubicBezTo>
                <a:cubicBezTo>
                  <a:pt x="3739979" y="1561462"/>
                  <a:pt x="3740911" y="1560127"/>
                  <a:pt x="3741577" y="1558402"/>
                </a:cubicBezTo>
                <a:cubicBezTo>
                  <a:pt x="3742242" y="1556801"/>
                  <a:pt x="3742642" y="1554942"/>
                  <a:pt x="3742642" y="1552940"/>
                </a:cubicBezTo>
                <a:cubicBezTo>
                  <a:pt x="3742642" y="1551073"/>
                  <a:pt x="3742242" y="1549349"/>
                  <a:pt x="3741577" y="1547746"/>
                </a:cubicBezTo>
                <a:cubicBezTo>
                  <a:pt x="3740911" y="1546150"/>
                  <a:pt x="3739979" y="1544827"/>
                  <a:pt x="3738914" y="1543620"/>
                </a:cubicBezTo>
                <a:cubicBezTo>
                  <a:pt x="3737849" y="1542564"/>
                  <a:pt x="3736518" y="1541623"/>
                  <a:pt x="3734922" y="1540957"/>
                </a:cubicBezTo>
                <a:cubicBezTo>
                  <a:pt x="3733456" y="1540297"/>
                  <a:pt x="3731859" y="1540033"/>
                  <a:pt x="3729862" y="1540033"/>
                </a:cubicBezTo>
                <a:close/>
                <a:moveTo>
                  <a:pt x="3512212" y="1540033"/>
                </a:moveTo>
                <a:cubicBezTo>
                  <a:pt x="3506356" y="1540033"/>
                  <a:pt x="3503825" y="1542023"/>
                  <a:pt x="3502227" y="1543620"/>
                </a:cubicBezTo>
                <a:cubicBezTo>
                  <a:pt x="3499698" y="1546289"/>
                  <a:pt x="3498634" y="1549082"/>
                  <a:pt x="3498634" y="1553078"/>
                </a:cubicBezTo>
                <a:cubicBezTo>
                  <a:pt x="3498634" y="1557204"/>
                  <a:pt x="3499698" y="1559998"/>
                  <a:pt x="3502227" y="1562528"/>
                </a:cubicBezTo>
                <a:cubicBezTo>
                  <a:pt x="3503825" y="1564126"/>
                  <a:pt x="3506356" y="1565990"/>
                  <a:pt x="3512212" y="1565990"/>
                </a:cubicBezTo>
                <a:cubicBezTo>
                  <a:pt x="3514342" y="1565990"/>
                  <a:pt x="3516073" y="1565717"/>
                  <a:pt x="3517538" y="1564919"/>
                </a:cubicBezTo>
                <a:cubicBezTo>
                  <a:pt x="3519002" y="1564392"/>
                  <a:pt x="3520334" y="1563596"/>
                  <a:pt x="3521265" y="1562528"/>
                </a:cubicBezTo>
                <a:cubicBezTo>
                  <a:pt x="3522330" y="1561462"/>
                  <a:pt x="3523262" y="1560127"/>
                  <a:pt x="3523928" y="1558402"/>
                </a:cubicBezTo>
                <a:cubicBezTo>
                  <a:pt x="3524593" y="1556801"/>
                  <a:pt x="3524993" y="1554942"/>
                  <a:pt x="3524993" y="1552940"/>
                </a:cubicBezTo>
                <a:cubicBezTo>
                  <a:pt x="3524993" y="1551073"/>
                  <a:pt x="3524593" y="1549349"/>
                  <a:pt x="3523928" y="1547746"/>
                </a:cubicBezTo>
                <a:cubicBezTo>
                  <a:pt x="3523262" y="1546150"/>
                  <a:pt x="3522330" y="1544827"/>
                  <a:pt x="3521265" y="1543620"/>
                </a:cubicBezTo>
                <a:cubicBezTo>
                  <a:pt x="3520200" y="1542564"/>
                  <a:pt x="3518868" y="1541623"/>
                  <a:pt x="3517272" y="1540957"/>
                </a:cubicBezTo>
                <a:cubicBezTo>
                  <a:pt x="3515808" y="1540297"/>
                  <a:pt x="3514210" y="1540033"/>
                  <a:pt x="3512212" y="1540033"/>
                </a:cubicBezTo>
                <a:close/>
                <a:moveTo>
                  <a:pt x="3294696" y="1540033"/>
                </a:moveTo>
                <a:cubicBezTo>
                  <a:pt x="3288839" y="1540033"/>
                  <a:pt x="3286309" y="1542023"/>
                  <a:pt x="3284712" y="1543620"/>
                </a:cubicBezTo>
                <a:cubicBezTo>
                  <a:pt x="3282181" y="1546289"/>
                  <a:pt x="3281118" y="1549082"/>
                  <a:pt x="3281118" y="1553078"/>
                </a:cubicBezTo>
                <a:cubicBezTo>
                  <a:pt x="3281118" y="1557204"/>
                  <a:pt x="3282181" y="1559998"/>
                  <a:pt x="3284712" y="1562528"/>
                </a:cubicBezTo>
                <a:cubicBezTo>
                  <a:pt x="3286309" y="1564126"/>
                  <a:pt x="3288839" y="1565990"/>
                  <a:pt x="3294696" y="1565990"/>
                </a:cubicBezTo>
                <a:cubicBezTo>
                  <a:pt x="3296693" y="1565990"/>
                  <a:pt x="3298423" y="1565717"/>
                  <a:pt x="3300021" y="1564919"/>
                </a:cubicBezTo>
                <a:cubicBezTo>
                  <a:pt x="3301485" y="1564392"/>
                  <a:pt x="3302817" y="1563596"/>
                  <a:pt x="3303748" y="1562528"/>
                </a:cubicBezTo>
                <a:cubicBezTo>
                  <a:pt x="3304813" y="1561462"/>
                  <a:pt x="3305745" y="1560127"/>
                  <a:pt x="3306411" y="1558402"/>
                </a:cubicBezTo>
                <a:cubicBezTo>
                  <a:pt x="3307076" y="1556801"/>
                  <a:pt x="3307475" y="1554942"/>
                  <a:pt x="3307475" y="1552940"/>
                </a:cubicBezTo>
                <a:cubicBezTo>
                  <a:pt x="3307475" y="1551073"/>
                  <a:pt x="3307076" y="1549349"/>
                  <a:pt x="3306411" y="1547746"/>
                </a:cubicBezTo>
                <a:cubicBezTo>
                  <a:pt x="3305745" y="1546150"/>
                  <a:pt x="3304813" y="1544827"/>
                  <a:pt x="3303748" y="1543620"/>
                </a:cubicBezTo>
                <a:cubicBezTo>
                  <a:pt x="3302683" y="1542564"/>
                  <a:pt x="3301352" y="1541623"/>
                  <a:pt x="3299755" y="1540957"/>
                </a:cubicBezTo>
                <a:cubicBezTo>
                  <a:pt x="3298291" y="1540297"/>
                  <a:pt x="3296693" y="1540033"/>
                  <a:pt x="3294696" y="1540033"/>
                </a:cubicBezTo>
                <a:close/>
                <a:moveTo>
                  <a:pt x="3077179" y="1540033"/>
                </a:moveTo>
                <a:cubicBezTo>
                  <a:pt x="3071322" y="1540033"/>
                  <a:pt x="3068793" y="1542023"/>
                  <a:pt x="3067196" y="1543620"/>
                </a:cubicBezTo>
                <a:cubicBezTo>
                  <a:pt x="3064533" y="1546289"/>
                  <a:pt x="3063468" y="1549082"/>
                  <a:pt x="3063468" y="1553078"/>
                </a:cubicBezTo>
                <a:cubicBezTo>
                  <a:pt x="3063468" y="1557204"/>
                  <a:pt x="3064533" y="1559998"/>
                  <a:pt x="3067062" y="1562528"/>
                </a:cubicBezTo>
                <a:cubicBezTo>
                  <a:pt x="3068660" y="1564126"/>
                  <a:pt x="3071189" y="1565990"/>
                  <a:pt x="3077046" y="1565990"/>
                </a:cubicBezTo>
                <a:cubicBezTo>
                  <a:pt x="3079043" y="1565990"/>
                  <a:pt x="3080774" y="1565717"/>
                  <a:pt x="3082504" y="1564919"/>
                </a:cubicBezTo>
                <a:cubicBezTo>
                  <a:pt x="3083970" y="1564392"/>
                  <a:pt x="3085301" y="1563596"/>
                  <a:pt x="3086232" y="1562528"/>
                </a:cubicBezTo>
                <a:cubicBezTo>
                  <a:pt x="3087296" y="1561462"/>
                  <a:pt x="3088229" y="1560127"/>
                  <a:pt x="3088894" y="1558402"/>
                </a:cubicBezTo>
                <a:cubicBezTo>
                  <a:pt x="3089559" y="1556801"/>
                  <a:pt x="3089827" y="1554942"/>
                  <a:pt x="3089827" y="1552940"/>
                </a:cubicBezTo>
                <a:cubicBezTo>
                  <a:pt x="3089827" y="1551073"/>
                  <a:pt x="3089559" y="1549349"/>
                  <a:pt x="3088894" y="1547746"/>
                </a:cubicBezTo>
                <a:cubicBezTo>
                  <a:pt x="3088229" y="1546150"/>
                  <a:pt x="3087296" y="1544827"/>
                  <a:pt x="3086232" y="1543620"/>
                </a:cubicBezTo>
                <a:cubicBezTo>
                  <a:pt x="3085167" y="1542564"/>
                  <a:pt x="3083836" y="1541623"/>
                  <a:pt x="3082239" y="1540957"/>
                </a:cubicBezTo>
                <a:cubicBezTo>
                  <a:pt x="3080774" y="1540297"/>
                  <a:pt x="3079176" y="1540033"/>
                  <a:pt x="3077179" y="1540033"/>
                </a:cubicBezTo>
                <a:close/>
                <a:moveTo>
                  <a:pt x="2859397" y="1540033"/>
                </a:moveTo>
                <a:cubicBezTo>
                  <a:pt x="2853540" y="1540033"/>
                  <a:pt x="2851011" y="1542023"/>
                  <a:pt x="2849413" y="1543620"/>
                </a:cubicBezTo>
                <a:cubicBezTo>
                  <a:pt x="2846881" y="1546289"/>
                  <a:pt x="2845818" y="1549082"/>
                  <a:pt x="2845818" y="1553078"/>
                </a:cubicBezTo>
                <a:cubicBezTo>
                  <a:pt x="2845818" y="1557204"/>
                  <a:pt x="2846881" y="1559998"/>
                  <a:pt x="2849413" y="1562528"/>
                </a:cubicBezTo>
                <a:cubicBezTo>
                  <a:pt x="2851011" y="1564126"/>
                  <a:pt x="2853540" y="1565990"/>
                  <a:pt x="2859397" y="1565990"/>
                </a:cubicBezTo>
                <a:cubicBezTo>
                  <a:pt x="2861394" y="1565990"/>
                  <a:pt x="2863258" y="1565717"/>
                  <a:pt x="2864722" y="1564919"/>
                </a:cubicBezTo>
                <a:cubicBezTo>
                  <a:pt x="2866320" y="1564392"/>
                  <a:pt x="2867518" y="1563596"/>
                  <a:pt x="2868449" y="1562528"/>
                </a:cubicBezTo>
                <a:cubicBezTo>
                  <a:pt x="2869514" y="1561462"/>
                  <a:pt x="2870446" y="1560127"/>
                  <a:pt x="2871112" y="1558402"/>
                </a:cubicBezTo>
                <a:cubicBezTo>
                  <a:pt x="2871644" y="1556801"/>
                  <a:pt x="2872043" y="1554942"/>
                  <a:pt x="2872043" y="1552940"/>
                </a:cubicBezTo>
                <a:cubicBezTo>
                  <a:pt x="2872043" y="1551073"/>
                  <a:pt x="2871777" y="1549349"/>
                  <a:pt x="2871112" y="1547746"/>
                </a:cubicBezTo>
                <a:cubicBezTo>
                  <a:pt x="2870446" y="1546150"/>
                  <a:pt x="2869514" y="1544827"/>
                  <a:pt x="2868449" y="1543620"/>
                </a:cubicBezTo>
                <a:cubicBezTo>
                  <a:pt x="2867385" y="1542564"/>
                  <a:pt x="2866053" y="1541623"/>
                  <a:pt x="2864456" y="1540957"/>
                </a:cubicBezTo>
                <a:cubicBezTo>
                  <a:pt x="2862992" y="1540297"/>
                  <a:pt x="2861394" y="1540033"/>
                  <a:pt x="2859397" y="1540033"/>
                </a:cubicBezTo>
                <a:close/>
                <a:moveTo>
                  <a:pt x="2641747" y="1540033"/>
                </a:moveTo>
                <a:cubicBezTo>
                  <a:pt x="2635890" y="1540033"/>
                  <a:pt x="2633361" y="1542023"/>
                  <a:pt x="2631764" y="1543620"/>
                </a:cubicBezTo>
                <a:cubicBezTo>
                  <a:pt x="2629234" y="1546289"/>
                  <a:pt x="2628170" y="1549082"/>
                  <a:pt x="2628170" y="1553078"/>
                </a:cubicBezTo>
                <a:cubicBezTo>
                  <a:pt x="2628170" y="1557204"/>
                  <a:pt x="2629234" y="1559998"/>
                  <a:pt x="2631764" y="1562528"/>
                </a:cubicBezTo>
                <a:cubicBezTo>
                  <a:pt x="2633361" y="1564126"/>
                  <a:pt x="2635890" y="1565990"/>
                  <a:pt x="2641747" y="1565990"/>
                </a:cubicBezTo>
                <a:cubicBezTo>
                  <a:pt x="2643744" y="1565990"/>
                  <a:pt x="2645609" y="1565717"/>
                  <a:pt x="2647073" y="1564919"/>
                </a:cubicBezTo>
                <a:cubicBezTo>
                  <a:pt x="2648669" y="1564392"/>
                  <a:pt x="2649867" y="1563596"/>
                  <a:pt x="2650800" y="1562528"/>
                </a:cubicBezTo>
                <a:cubicBezTo>
                  <a:pt x="2651865" y="1561462"/>
                  <a:pt x="2652796" y="1560127"/>
                  <a:pt x="2653463" y="1558402"/>
                </a:cubicBezTo>
                <a:cubicBezTo>
                  <a:pt x="2653994" y="1556801"/>
                  <a:pt x="2654393" y="1554942"/>
                  <a:pt x="2654393" y="1552940"/>
                </a:cubicBezTo>
                <a:cubicBezTo>
                  <a:pt x="2654393" y="1551073"/>
                  <a:pt x="2654128" y="1549349"/>
                  <a:pt x="2653463" y="1547746"/>
                </a:cubicBezTo>
                <a:cubicBezTo>
                  <a:pt x="2652796" y="1546150"/>
                  <a:pt x="2651865" y="1544827"/>
                  <a:pt x="2650800" y="1543620"/>
                </a:cubicBezTo>
                <a:cubicBezTo>
                  <a:pt x="2649734" y="1542564"/>
                  <a:pt x="2648403" y="1541623"/>
                  <a:pt x="2646806" y="1540957"/>
                </a:cubicBezTo>
                <a:cubicBezTo>
                  <a:pt x="2645341" y="1540297"/>
                  <a:pt x="2643744" y="1540033"/>
                  <a:pt x="2641747" y="1540033"/>
                </a:cubicBezTo>
                <a:close/>
                <a:moveTo>
                  <a:pt x="2424097" y="1540033"/>
                </a:moveTo>
                <a:cubicBezTo>
                  <a:pt x="2418241" y="1540033"/>
                  <a:pt x="2415712" y="1542023"/>
                  <a:pt x="2414114" y="1543620"/>
                </a:cubicBezTo>
                <a:cubicBezTo>
                  <a:pt x="2411584" y="1546289"/>
                  <a:pt x="2410520" y="1549082"/>
                  <a:pt x="2410520" y="1553078"/>
                </a:cubicBezTo>
                <a:cubicBezTo>
                  <a:pt x="2410520" y="1557204"/>
                  <a:pt x="2411584" y="1559998"/>
                  <a:pt x="2414114" y="1562528"/>
                </a:cubicBezTo>
                <a:cubicBezTo>
                  <a:pt x="2415712" y="1564126"/>
                  <a:pt x="2418241" y="1565990"/>
                  <a:pt x="2424097" y="1565990"/>
                </a:cubicBezTo>
                <a:cubicBezTo>
                  <a:pt x="2426227" y="1565990"/>
                  <a:pt x="2427959" y="1565717"/>
                  <a:pt x="2429423" y="1564919"/>
                </a:cubicBezTo>
                <a:cubicBezTo>
                  <a:pt x="2431021" y="1564392"/>
                  <a:pt x="2432219" y="1563596"/>
                  <a:pt x="2433150" y="1562528"/>
                </a:cubicBezTo>
                <a:cubicBezTo>
                  <a:pt x="2434215" y="1561462"/>
                  <a:pt x="2435147" y="1560127"/>
                  <a:pt x="2435813" y="1558402"/>
                </a:cubicBezTo>
                <a:cubicBezTo>
                  <a:pt x="2436344" y="1556801"/>
                  <a:pt x="2436744" y="1554942"/>
                  <a:pt x="2436744" y="1552940"/>
                </a:cubicBezTo>
                <a:cubicBezTo>
                  <a:pt x="2436744" y="1551073"/>
                  <a:pt x="2436478" y="1549349"/>
                  <a:pt x="2435813" y="1547746"/>
                </a:cubicBezTo>
                <a:cubicBezTo>
                  <a:pt x="2435147" y="1546150"/>
                  <a:pt x="2434215" y="1544827"/>
                  <a:pt x="2433150" y="1543620"/>
                </a:cubicBezTo>
                <a:cubicBezTo>
                  <a:pt x="2432086" y="1542564"/>
                  <a:pt x="2430754" y="1541623"/>
                  <a:pt x="2429157" y="1540957"/>
                </a:cubicBezTo>
                <a:cubicBezTo>
                  <a:pt x="2427693" y="1540297"/>
                  <a:pt x="2426095" y="1540033"/>
                  <a:pt x="2424097" y="1540033"/>
                </a:cubicBezTo>
                <a:close/>
                <a:moveTo>
                  <a:pt x="2206448" y="1540033"/>
                </a:moveTo>
                <a:cubicBezTo>
                  <a:pt x="2200591" y="1540033"/>
                  <a:pt x="2198062" y="1542023"/>
                  <a:pt x="2196464" y="1543620"/>
                </a:cubicBezTo>
                <a:cubicBezTo>
                  <a:pt x="2193935" y="1546289"/>
                  <a:pt x="2192870" y="1549082"/>
                  <a:pt x="2192870" y="1553078"/>
                </a:cubicBezTo>
                <a:cubicBezTo>
                  <a:pt x="2192870" y="1557204"/>
                  <a:pt x="2193935" y="1559998"/>
                  <a:pt x="2196464" y="1562528"/>
                </a:cubicBezTo>
                <a:cubicBezTo>
                  <a:pt x="2198062" y="1564126"/>
                  <a:pt x="2200591" y="1565990"/>
                  <a:pt x="2206448" y="1565990"/>
                </a:cubicBezTo>
                <a:cubicBezTo>
                  <a:pt x="2208578" y="1565990"/>
                  <a:pt x="2210309" y="1565717"/>
                  <a:pt x="2211773" y="1564919"/>
                </a:cubicBezTo>
                <a:cubicBezTo>
                  <a:pt x="2213370" y="1564392"/>
                  <a:pt x="2214568" y="1563596"/>
                  <a:pt x="2215500" y="1562528"/>
                </a:cubicBezTo>
                <a:cubicBezTo>
                  <a:pt x="2216565" y="1561462"/>
                  <a:pt x="2217497" y="1560127"/>
                  <a:pt x="2218163" y="1558402"/>
                </a:cubicBezTo>
                <a:cubicBezTo>
                  <a:pt x="2218695" y="1556801"/>
                  <a:pt x="2219094" y="1554942"/>
                  <a:pt x="2219094" y="1552940"/>
                </a:cubicBezTo>
                <a:cubicBezTo>
                  <a:pt x="2219094" y="1551073"/>
                  <a:pt x="2218828" y="1549349"/>
                  <a:pt x="2218163" y="1547746"/>
                </a:cubicBezTo>
                <a:cubicBezTo>
                  <a:pt x="2217497" y="1546150"/>
                  <a:pt x="2216565" y="1544827"/>
                  <a:pt x="2215500" y="1543620"/>
                </a:cubicBezTo>
                <a:cubicBezTo>
                  <a:pt x="2214435" y="1542564"/>
                  <a:pt x="2213104" y="1541623"/>
                  <a:pt x="2211507" y="1540957"/>
                </a:cubicBezTo>
                <a:cubicBezTo>
                  <a:pt x="2210042" y="1540297"/>
                  <a:pt x="2208445" y="1540033"/>
                  <a:pt x="2206448" y="1540033"/>
                </a:cubicBezTo>
                <a:close/>
                <a:moveTo>
                  <a:pt x="1988931" y="1540033"/>
                </a:moveTo>
                <a:cubicBezTo>
                  <a:pt x="1983074" y="1540033"/>
                  <a:pt x="1980545" y="1542023"/>
                  <a:pt x="1978948" y="1543620"/>
                </a:cubicBezTo>
                <a:cubicBezTo>
                  <a:pt x="1976418" y="1546289"/>
                  <a:pt x="1975354" y="1549082"/>
                  <a:pt x="1975354" y="1553078"/>
                </a:cubicBezTo>
                <a:cubicBezTo>
                  <a:pt x="1975354" y="1557204"/>
                  <a:pt x="1976418" y="1559998"/>
                  <a:pt x="1978948" y="1562528"/>
                </a:cubicBezTo>
                <a:cubicBezTo>
                  <a:pt x="1980545" y="1564126"/>
                  <a:pt x="1983074" y="1565990"/>
                  <a:pt x="1988931" y="1565990"/>
                </a:cubicBezTo>
                <a:cubicBezTo>
                  <a:pt x="1990928" y="1565990"/>
                  <a:pt x="1992659" y="1565717"/>
                  <a:pt x="1994256" y="1564919"/>
                </a:cubicBezTo>
                <a:cubicBezTo>
                  <a:pt x="1995854" y="1564392"/>
                  <a:pt x="1997052" y="1563596"/>
                  <a:pt x="1997984" y="1562528"/>
                </a:cubicBezTo>
                <a:cubicBezTo>
                  <a:pt x="1999048" y="1561462"/>
                  <a:pt x="1999980" y="1560127"/>
                  <a:pt x="2000647" y="1558402"/>
                </a:cubicBezTo>
                <a:cubicBezTo>
                  <a:pt x="2001178" y="1556801"/>
                  <a:pt x="2001577" y="1554942"/>
                  <a:pt x="2001577" y="1552940"/>
                </a:cubicBezTo>
                <a:cubicBezTo>
                  <a:pt x="2001577" y="1551073"/>
                  <a:pt x="2001312" y="1549349"/>
                  <a:pt x="2000647" y="1547746"/>
                </a:cubicBezTo>
                <a:cubicBezTo>
                  <a:pt x="1999980" y="1546150"/>
                  <a:pt x="1999048" y="1544827"/>
                  <a:pt x="1997984" y="1543620"/>
                </a:cubicBezTo>
                <a:cubicBezTo>
                  <a:pt x="1996919" y="1542564"/>
                  <a:pt x="1995587" y="1541623"/>
                  <a:pt x="1993990" y="1540957"/>
                </a:cubicBezTo>
                <a:cubicBezTo>
                  <a:pt x="1992526" y="1540297"/>
                  <a:pt x="1990928" y="1540033"/>
                  <a:pt x="1988931" y="1540033"/>
                </a:cubicBezTo>
                <a:close/>
                <a:moveTo>
                  <a:pt x="1771290" y="1540033"/>
                </a:moveTo>
                <a:cubicBezTo>
                  <a:pt x="1765432" y="1540033"/>
                  <a:pt x="1762904" y="1542023"/>
                  <a:pt x="1761307" y="1543620"/>
                </a:cubicBezTo>
                <a:cubicBezTo>
                  <a:pt x="1758777" y="1546289"/>
                  <a:pt x="1757713" y="1549082"/>
                  <a:pt x="1757713" y="1553078"/>
                </a:cubicBezTo>
                <a:cubicBezTo>
                  <a:pt x="1757713" y="1557204"/>
                  <a:pt x="1758777" y="1559998"/>
                  <a:pt x="1761307" y="1562528"/>
                </a:cubicBezTo>
                <a:cubicBezTo>
                  <a:pt x="1762904" y="1564126"/>
                  <a:pt x="1765432" y="1565990"/>
                  <a:pt x="1771290" y="1565990"/>
                </a:cubicBezTo>
                <a:cubicBezTo>
                  <a:pt x="1773287" y="1565990"/>
                  <a:pt x="1775150" y="1565717"/>
                  <a:pt x="1776614" y="1564919"/>
                </a:cubicBezTo>
                <a:cubicBezTo>
                  <a:pt x="1778079" y="1564392"/>
                  <a:pt x="1779409" y="1563596"/>
                  <a:pt x="1780341" y="1562528"/>
                </a:cubicBezTo>
                <a:cubicBezTo>
                  <a:pt x="1781407" y="1561462"/>
                  <a:pt x="1782338" y="1560127"/>
                  <a:pt x="1783004" y="1558402"/>
                </a:cubicBezTo>
                <a:cubicBezTo>
                  <a:pt x="1783669" y="1556801"/>
                  <a:pt x="1784069" y="1554942"/>
                  <a:pt x="1784069" y="1552940"/>
                </a:cubicBezTo>
                <a:cubicBezTo>
                  <a:pt x="1784069" y="1551073"/>
                  <a:pt x="1783669" y="1549349"/>
                  <a:pt x="1783004" y="1547746"/>
                </a:cubicBezTo>
                <a:cubicBezTo>
                  <a:pt x="1782338" y="1546150"/>
                  <a:pt x="1781407" y="1544827"/>
                  <a:pt x="1780341" y="1543620"/>
                </a:cubicBezTo>
                <a:cubicBezTo>
                  <a:pt x="1779277" y="1542564"/>
                  <a:pt x="1777946" y="1541623"/>
                  <a:pt x="1776349" y="1540957"/>
                </a:cubicBezTo>
                <a:cubicBezTo>
                  <a:pt x="1774884" y="1540297"/>
                  <a:pt x="1773287" y="1540033"/>
                  <a:pt x="1771290" y="1540033"/>
                </a:cubicBezTo>
                <a:close/>
                <a:moveTo>
                  <a:pt x="1553647" y="1540033"/>
                </a:moveTo>
                <a:cubicBezTo>
                  <a:pt x="1547789" y="1540033"/>
                  <a:pt x="1545260" y="1542023"/>
                  <a:pt x="1543663" y="1543620"/>
                </a:cubicBezTo>
                <a:cubicBezTo>
                  <a:pt x="1541133" y="1546289"/>
                  <a:pt x="1540069" y="1549082"/>
                  <a:pt x="1540069" y="1553078"/>
                </a:cubicBezTo>
                <a:cubicBezTo>
                  <a:pt x="1540069" y="1557204"/>
                  <a:pt x="1541133" y="1559998"/>
                  <a:pt x="1543663" y="1562528"/>
                </a:cubicBezTo>
                <a:cubicBezTo>
                  <a:pt x="1545260" y="1564126"/>
                  <a:pt x="1547789" y="1565990"/>
                  <a:pt x="1553647" y="1565990"/>
                </a:cubicBezTo>
                <a:cubicBezTo>
                  <a:pt x="1555643" y="1565990"/>
                  <a:pt x="1557507" y="1565717"/>
                  <a:pt x="1558971" y="1564919"/>
                </a:cubicBezTo>
                <a:cubicBezTo>
                  <a:pt x="1560435" y="1564392"/>
                  <a:pt x="1561767" y="1563596"/>
                  <a:pt x="1562698" y="1562528"/>
                </a:cubicBezTo>
                <a:cubicBezTo>
                  <a:pt x="1563763" y="1561462"/>
                  <a:pt x="1564695" y="1560127"/>
                  <a:pt x="1565361" y="1558402"/>
                </a:cubicBezTo>
                <a:cubicBezTo>
                  <a:pt x="1566026" y="1556801"/>
                  <a:pt x="1566427" y="1554942"/>
                  <a:pt x="1566427" y="1552940"/>
                </a:cubicBezTo>
                <a:cubicBezTo>
                  <a:pt x="1566427" y="1551073"/>
                  <a:pt x="1566026" y="1549349"/>
                  <a:pt x="1565361" y="1547746"/>
                </a:cubicBezTo>
                <a:cubicBezTo>
                  <a:pt x="1564695" y="1546150"/>
                  <a:pt x="1563763" y="1544827"/>
                  <a:pt x="1562698" y="1543620"/>
                </a:cubicBezTo>
                <a:cubicBezTo>
                  <a:pt x="1561633" y="1542564"/>
                  <a:pt x="1560303" y="1541623"/>
                  <a:pt x="1558705" y="1540957"/>
                </a:cubicBezTo>
                <a:cubicBezTo>
                  <a:pt x="1557241" y="1540297"/>
                  <a:pt x="1555643" y="1540033"/>
                  <a:pt x="1553647" y="1540033"/>
                </a:cubicBezTo>
                <a:close/>
                <a:moveTo>
                  <a:pt x="1336001" y="1540033"/>
                </a:moveTo>
                <a:cubicBezTo>
                  <a:pt x="1330145" y="1540033"/>
                  <a:pt x="1327615" y="1542023"/>
                  <a:pt x="1326019" y="1543620"/>
                </a:cubicBezTo>
                <a:cubicBezTo>
                  <a:pt x="1323488" y="1546289"/>
                  <a:pt x="1322424" y="1549082"/>
                  <a:pt x="1322424" y="1553078"/>
                </a:cubicBezTo>
                <a:cubicBezTo>
                  <a:pt x="1322424" y="1557204"/>
                  <a:pt x="1323488" y="1559998"/>
                  <a:pt x="1326019" y="1562528"/>
                </a:cubicBezTo>
                <a:cubicBezTo>
                  <a:pt x="1327615" y="1564126"/>
                  <a:pt x="1330145" y="1565990"/>
                  <a:pt x="1336001" y="1565990"/>
                </a:cubicBezTo>
                <a:cubicBezTo>
                  <a:pt x="1338132" y="1565990"/>
                  <a:pt x="1339863" y="1565717"/>
                  <a:pt x="1341327" y="1564919"/>
                </a:cubicBezTo>
                <a:cubicBezTo>
                  <a:pt x="1342791" y="1564392"/>
                  <a:pt x="1344122" y="1563596"/>
                  <a:pt x="1345055" y="1562528"/>
                </a:cubicBezTo>
                <a:cubicBezTo>
                  <a:pt x="1346119" y="1561462"/>
                  <a:pt x="1347052" y="1560127"/>
                  <a:pt x="1347717" y="1558402"/>
                </a:cubicBezTo>
                <a:cubicBezTo>
                  <a:pt x="1348382" y="1556801"/>
                  <a:pt x="1348783" y="1554942"/>
                  <a:pt x="1348783" y="1552940"/>
                </a:cubicBezTo>
                <a:cubicBezTo>
                  <a:pt x="1348783" y="1551073"/>
                  <a:pt x="1348382" y="1549349"/>
                  <a:pt x="1347717" y="1547746"/>
                </a:cubicBezTo>
                <a:cubicBezTo>
                  <a:pt x="1347052" y="1546150"/>
                  <a:pt x="1346119" y="1544827"/>
                  <a:pt x="1345055" y="1543620"/>
                </a:cubicBezTo>
                <a:cubicBezTo>
                  <a:pt x="1343989" y="1542564"/>
                  <a:pt x="1342659" y="1541623"/>
                  <a:pt x="1341061" y="1540957"/>
                </a:cubicBezTo>
                <a:cubicBezTo>
                  <a:pt x="1339597" y="1540297"/>
                  <a:pt x="1337998" y="1540033"/>
                  <a:pt x="1336001" y="1540033"/>
                </a:cubicBezTo>
                <a:close/>
                <a:moveTo>
                  <a:pt x="1118490" y="1540033"/>
                </a:moveTo>
                <a:cubicBezTo>
                  <a:pt x="1112632" y="1540033"/>
                  <a:pt x="1110103" y="1542023"/>
                  <a:pt x="1108506" y="1543620"/>
                </a:cubicBezTo>
                <a:cubicBezTo>
                  <a:pt x="1105843" y="1546289"/>
                  <a:pt x="1104779" y="1549082"/>
                  <a:pt x="1104779" y="1553078"/>
                </a:cubicBezTo>
                <a:cubicBezTo>
                  <a:pt x="1104779" y="1557204"/>
                  <a:pt x="1105843" y="1559998"/>
                  <a:pt x="1108373" y="1562528"/>
                </a:cubicBezTo>
                <a:cubicBezTo>
                  <a:pt x="1109970" y="1564126"/>
                  <a:pt x="1112500" y="1565990"/>
                  <a:pt x="1118357" y="1565990"/>
                </a:cubicBezTo>
                <a:cubicBezTo>
                  <a:pt x="1120487" y="1565990"/>
                  <a:pt x="1122218" y="1565717"/>
                  <a:pt x="1123815" y="1564919"/>
                </a:cubicBezTo>
                <a:cubicBezTo>
                  <a:pt x="1125279" y="1564392"/>
                  <a:pt x="1126613" y="1563596"/>
                  <a:pt x="1127542" y="1562528"/>
                </a:cubicBezTo>
                <a:cubicBezTo>
                  <a:pt x="1128607" y="1561462"/>
                  <a:pt x="1129539" y="1560127"/>
                  <a:pt x="1130206" y="1558402"/>
                </a:cubicBezTo>
                <a:cubicBezTo>
                  <a:pt x="1130870" y="1556801"/>
                  <a:pt x="1131271" y="1554942"/>
                  <a:pt x="1131271" y="1552940"/>
                </a:cubicBezTo>
                <a:cubicBezTo>
                  <a:pt x="1131271" y="1551073"/>
                  <a:pt x="1130870" y="1549349"/>
                  <a:pt x="1130206" y="1547746"/>
                </a:cubicBezTo>
                <a:cubicBezTo>
                  <a:pt x="1129539" y="1546150"/>
                  <a:pt x="1128607" y="1544827"/>
                  <a:pt x="1127542" y="1543620"/>
                </a:cubicBezTo>
                <a:cubicBezTo>
                  <a:pt x="1126477" y="1542564"/>
                  <a:pt x="1125146" y="1541623"/>
                  <a:pt x="1123548" y="1540957"/>
                </a:cubicBezTo>
                <a:cubicBezTo>
                  <a:pt x="1122086" y="1540297"/>
                  <a:pt x="1120487" y="1540033"/>
                  <a:pt x="1118490" y="1540033"/>
                </a:cubicBezTo>
                <a:close/>
                <a:moveTo>
                  <a:pt x="900979" y="1540033"/>
                </a:moveTo>
                <a:cubicBezTo>
                  <a:pt x="895121" y="1540033"/>
                  <a:pt x="892591" y="1542023"/>
                  <a:pt x="890994" y="1543620"/>
                </a:cubicBezTo>
                <a:cubicBezTo>
                  <a:pt x="888331" y="1546289"/>
                  <a:pt x="887268" y="1549082"/>
                  <a:pt x="887268" y="1553078"/>
                </a:cubicBezTo>
                <a:cubicBezTo>
                  <a:pt x="887268" y="1557204"/>
                  <a:pt x="888331" y="1559998"/>
                  <a:pt x="890862" y="1562528"/>
                </a:cubicBezTo>
                <a:cubicBezTo>
                  <a:pt x="892459" y="1564126"/>
                  <a:pt x="894988" y="1565990"/>
                  <a:pt x="900845" y="1565990"/>
                </a:cubicBezTo>
                <a:cubicBezTo>
                  <a:pt x="902842" y="1565990"/>
                  <a:pt x="904573" y="1565717"/>
                  <a:pt x="906303" y="1564919"/>
                </a:cubicBezTo>
                <a:cubicBezTo>
                  <a:pt x="907767" y="1564392"/>
                  <a:pt x="909099" y="1563596"/>
                  <a:pt x="910031" y="1562528"/>
                </a:cubicBezTo>
                <a:cubicBezTo>
                  <a:pt x="911095" y="1561462"/>
                  <a:pt x="912027" y="1560127"/>
                  <a:pt x="912693" y="1558402"/>
                </a:cubicBezTo>
                <a:cubicBezTo>
                  <a:pt x="913358" y="1556801"/>
                  <a:pt x="913758" y="1554942"/>
                  <a:pt x="913758" y="1552940"/>
                </a:cubicBezTo>
                <a:cubicBezTo>
                  <a:pt x="913758" y="1551073"/>
                  <a:pt x="913358" y="1549349"/>
                  <a:pt x="912693" y="1547746"/>
                </a:cubicBezTo>
                <a:cubicBezTo>
                  <a:pt x="912027" y="1546150"/>
                  <a:pt x="911095" y="1544827"/>
                  <a:pt x="910031" y="1543620"/>
                </a:cubicBezTo>
                <a:cubicBezTo>
                  <a:pt x="908966" y="1542564"/>
                  <a:pt x="907634" y="1541623"/>
                  <a:pt x="906037" y="1540957"/>
                </a:cubicBezTo>
                <a:cubicBezTo>
                  <a:pt x="904573" y="1540297"/>
                  <a:pt x="902975" y="1540033"/>
                  <a:pt x="900979" y="1540033"/>
                </a:cubicBezTo>
                <a:close/>
                <a:moveTo>
                  <a:pt x="683201" y="1540033"/>
                </a:moveTo>
                <a:cubicBezTo>
                  <a:pt x="677344" y="1540033"/>
                  <a:pt x="674815" y="1542023"/>
                  <a:pt x="673218" y="1543620"/>
                </a:cubicBezTo>
                <a:cubicBezTo>
                  <a:pt x="670688" y="1546289"/>
                  <a:pt x="669624" y="1549082"/>
                  <a:pt x="669624" y="1553078"/>
                </a:cubicBezTo>
                <a:cubicBezTo>
                  <a:pt x="669624" y="1557204"/>
                  <a:pt x="670688" y="1559998"/>
                  <a:pt x="673218" y="1562528"/>
                </a:cubicBezTo>
                <a:cubicBezTo>
                  <a:pt x="674815" y="1564126"/>
                  <a:pt x="677344" y="1565990"/>
                  <a:pt x="683201" y="1565990"/>
                </a:cubicBezTo>
                <a:cubicBezTo>
                  <a:pt x="685198" y="1565990"/>
                  <a:pt x="687062" y="1565717"/>
                  <a:pt x="688526" y="1564919"/>
                </a:cubicBezTo>
                <a:cubicBezTo>
                  <a:pt x="689990" y="1564392"/>
                  <a:pt x="691322" y="1563596"/>
                  <a:pt x="692253" y="1562528"/>
                </a:cubicBezTo>
                <a:cubicBezTo>
                  <a:pt x="693318" y="1561462"/>
                  <a:pt x="694250" y="1560127"/>
                  <a:pt x="694916" y="1558402"/>
                </a:cubicBezTo>
                <a:cubicBezTo>
                  <a:pt x="695581" y="1556801"/>
                  <a:pt x="695982" y="1554942"/>
                  <a:pt x="695982" y="1552940"/>
                </a:cubicBezTo>
                <a:cubicBezTo>
                  <a:pt x="695982" y="1551073"/>
                  <a:pt x="695581" y="1549349"/>
                  <a:pt x="694916" y="1547746"/>
                </a:cubicBezTo>
                <a:cubicBezTo>
                  <a:pt x="694250" y="1546150"/>
                  <a:pt x="693318" y="1544827"/>
                  <a:pt x="692253" y="1543620"/>
                </a:cubicBezTo>
                <a:cubicBezTo>
                  <a:pt x="691188" y="1542564"/>
                  <a:pt x="689857" y="1541623"/>
                  <a:pt x="688260" y="1540957"/>
                </a:cubicBezTo>
                <a:cubicBezTo>
                  <a:pt x="686796" y="1540297"/>
                  <a:pt x="685198" y="1540033"/>
                  <a:pt x="683201" y="1540033"/>
                </a:cubicBezTo>
                <a:close/>
                <a:moveTo>
                  <a:pt x="465557" y="1540033"/>
                </a:moveTo>
                <a:cubicBezTo>
                  <a:pt x="459700" y="1540033"/>
                  <a:pt x="457171" y="1542023"/>
                  <a:pt x="455574" y="1543620"/>
                </a:cubicBezTo>
                <a:cubicBezTo>
                  <a:pt x="453044" y="1546289"/>
                  <a:pt x="451980" y="1549082"/>
                  <a:pt x="451980" y="1553078"/>
                </a:cubicBezTo>
                <a:cubicBezTo>
                  <a:pt x="451980" y="1557204"/>
                  <a:pt x="453044" y="1559998"/>
                  <a:pt x="455574" y="1562528"/>
                </a:cubicBezTo>
                <a:cubicBezTo>
                  <a:pt x="457171" y="1564126"/>
                  <a:pt x="459700" y="1565990"/>
                  <a:pt x="465557" y="1565990"/>
                </a:cubicBezTo>
                <a:cubicBezTo>
                  <a:pt x="467555" y="1565990"/>
                  <a:pt x="469418" y="1565717"/>
                  <a:pt x="470882" y="1564919"/>
                </a:cubicBezTo>
                <a:cubicBezTo>
                  <a:pt x="472346" y="1564392"/>
                  <a:pt x="473678" y="1563596"/>
                  <a:pt x="474610" y="1562528"/>
                </a:cubicBezTo>
                <a:cubicBezTo>
                  <a:pt x="475674" y="1561462"/>
                  <a:pt x="476606" y="1560127"/>
                  <a:pt x="477273" y="1558402"/>
                </a:cubicBezTo>
                <a:cubicBezTo>
                  <a:pt x="477938" y="1556801"/>
                  <a:pt x="478338" y="1554942"/>
                  <a:pt x="478338" y="1552940"/>
                </a:cubicBezTo>
                <a:cubicBezTo>
                  <a:pt x="478338" y="1551073"/>
                  <a:pt x="477938" y="1549349"/>
                  <a:pt x="477273" y="1547746"/>
                </a:cubicBezTo>
                <a:cubicBezTo>
                  <a:pt x="476606" y="1546150"/>
                  <a:pt x="475674" y="1544827"/>
                  <a:pt x="474610" y="1543620"/>
                </a:cubicBezTo>
                <a:cubicBezTo>
                  <a:pt x="473545" y="1542564"/>
                  <a:pt x="472213" y="1541623"/>
                  <a:pt x="470617" y="1540957"/>
                </a:cubicBezTo>
                <a:cubicBezTo>
                  <a:pt x="469152" y="1540297"/>
                  <a:pt x="467555" y="1540033"/>
                  <a:pt x="465557" y="1540033"/>
                </a:cubicBezTo>
                <a:close/>
                <a:moveTo>
                  <a:pt x="247913" y="1540033"/>
                </a:moveTo>
                <a:cubicBezTo>
                  <a:pt x="242057" y="1540033"/>
                  <a:pt x="239528" y="1542023"/>
                  <a:pt x="237931" y="1543620"/>
                </a:cubicBezTo>
                <a:cubicBezTo>
                  <a:pt x="235401" y="1546289"/>
                  <a:pt x="234337" y="1549082"/>
                  <a:pt x="234337" y="1553078"/>
                </a:cubicBezTo>
                <a:cubicBezTo>
                  <a:pt x="234337" y="1557204"/>
                  <a:pt x="235401" y="1559998"/>
                  <a:pt x="237931" y="1562528"/>
                </a:cubicBezTo>
                <a:cubicBezTo>
                  <a:pt x="239528" y="1564126"/>
                  <a:pt x="242057" y="1565990"/>
                  <a:pt x="247913" y="1565990"/>
                </a:cubicBezTo>
                <a:cubicBezTo>
                  <a:pt x="250044" y="1565990"/>
                  <a:pt x="251775" y="1565717"/>
                  <a:pt x="253239" y="1564919"/>
                </a:cubicBezTo>
                <a:cubicBezTo>
                  <a:pt x="254702" y="1564392"/>
                  <a:pt x="256033" y="1563596"/>
                  <a:pt x="256965" y="1562528"/>
                </a:cubicBezTo>
                <a:cubicBezTo>
                  <a:pt x="258030" y="1561462"/>
                  <a:pt x="258963" y="1560127"/>
                  <a:pt x="259629" y="1558402"/>
                </a:cubicBezTo>
                <a:cubicBezTo>
                  <a:pt x="260294" y="1556801"/>
                  <a:pt x="260694" y="1554942"/>
                  <a:pt x="260694" y="1552940"/>
                </a:cubicBezTo>
                <a:cubicBezTo>
                  <a:pt x="260694" y="1551073"/>
                  <a:pt x="260294" y="1549349"/>
                  <a:pt x="259629" y="1547746"/>
                </a:cubicBezTo>
                <a:cubicBezTo>
                  <a:pt x="258963" y="1546150"/>
                  <a:pt x="258030" y="1544827"/>
                  <a:pt x="256965" y="1543620"/>
                </a:cubicBezTo>
                <a:cubicBezTo>
                  <a:pt x="255901" y="1542564"/>
                  <a:pt x="254569" y="1541623"/>
                  <a:pt x="252973" y="1540957"/>
                </a:cubicBezTo>
                <a:cubicBezTo>
                  <a:pt x="251508" y="1540297"/>
                  <a:pt x="249911" y="1540033"/>
                  <a:pt x="247913" y="1540033"/>
                </a:cubicBezTo>
                <a:close/>
                <a:moveTo>
                  <a:pt x="30270" y="1540033"/>
                </a:moveTo>
                <a:cubicBezTo>
                  <a:pt x="24413" y="1540033"/>
                  <a:pt x="21884" y="1542023"/>
                  <a:pt x="20287" y="1543620"/>
                </a:cubicBezTo>
                <a:cubicBezTo>
                  <a:pt x="17757" y="1546289"/>
                  <a:pt x="16693" y="1549082"/>
                  <a:pt x="16693" y="1553078"/>
                </a:cubicBezTo>
                <a:cubicBezTo>
                  <a:pt x="16693" y="1557204"/>
                  <a:pt x="17757" y="1559998"/>
                  <a:pt x="20287" y="1562528"/>
                </a:cubicBezTo>
                <a:cubicBezTo>
                  <a:pt x="21884" y="1564126"/>
                  <a:pt x="24413" y="1565990"/>
                  <a:pt x="30270" y="1565990"/>
                </a:cubicBezTo>
                <a:cubicBezTo>
                  <a:pt x="32400" y="1565990"/>
                  <a:pt x="34131" y="1565717"/>
                  <a:pt x="35595" y="1564919"/>
                </a:cubicBezTo>
                <a:cubicBezTo>
                  <a:pt x="37059" y="1564392"/>
                  <a:pt x="38391" y="1563596"/>
                  <a:pt x="39322" y="1562528"/>
                </a:cubicBezTo>
                <a:cubicBezTo>
                  <a:pt x="40387" y="1561462"/>
                  <a:pt x="41319" y="1560127"/>
                  <a:pt x="41985" y="1558402"/>
                </a:cubicBezTo>
                <a:cubicBezTo>
                  <a:pt x="42650" y="1556801"/>
                  <a:pt x="42916" y="1554942"/>
                  <a:pt x="42916" y="1552940"/>
                </a:cubicBezTo>
                <a:cubicBezTo>
                  <a:pt x="42916" y="1551073"/>
                  <a:pt x="42650" y="1549349"/>
                  <a:pt x="41985" y="1547746"/>
                </a:cubicBezTo>
                <a:cubicBezTo>
                  <a:pt x="41319" y="1546150"/>
                  <a:pt x="40387" y="1544827"/>
                  <a:pt x="39322" y="1543620"/>
                </a:cubicBezTo>
                <a:cubicBezTo>
                  <a:pt x="38257" y="1542564"/>
                  <a:pt x="36926" y="1541623"/>
                  <a:pt x="35329" y="1540957"/>
                </a:cubicBezTo>
                <a:cubicBezTo>
                  <a:pt x="33865" y="1540297"/>
                  <a:pt x="32267" y="1540033"/>
                  <a:pt x="30270" y="1540033"/>
                </a:cubicBezTo>
                <a:close/>
                <a:moveTo>
                  <a:pt x="10475977" y="1523391"/>
                </a:moveTo>
                <a:cubicBezTo>
                  <a:pt x="10480237" y="1523391"/>
                  <a:pt x="10484230" y="1524050"/>
                  <a:pt x="10487824" y="1525915"/>
                </a:cubicBezTo>
                <a:cubicBezTo>
                  <a:pt x="10491419" y="1527519"/>
                  <a:pt x="10494613" y="1529643"/>
                  <a:pt x="10497143" y="1532304"/>
                </a:cubicBezTo>
                <a:cubicBezTo>
                  <a:pt x="10499672" y="1534837"/>
                  <a:pt x="10501801" y="1538036"/>
                  <a:pt x="10503266" y="1541623"/>
                </a:cubicBezTo>
                <a:cubicBezTo>
                  <a:pt x="10504730" y="1545222"/>
                  <a:pt x="10505529" y="1549082"/>
                  <a:pt x="10505529" y="1553078"/>
                </a:cubicBezTo>
                <a:cubicBezTo>
                  <a:pt x="10505529" y="1557204"/>
                  <a:pt x="10504730" y="1561192"/>
                  <a:pt x="10503266" y="1564791"/>
                </a:cubicBezTo>
                <a:cubicBezTo>
                  <a:pt x="10501669" y="1568378"/>
                  <a:pt x="10499672" y="1571441"/>
                  <a:pt x="10497143" y="1574105"/>
                </a:cubicBezTo>
                <a:cubicBezTo>
                  <a:pt x="10494480" y="1576765"/>
                  <a:pt x="10491419" y="1578895"/>
                  <a:pt x="10487824" y="1580363"/>
                </a:cubicBezTo>
                <a:cubicBezTo>
                  <a:pt x="10484098" y="1581829"/>
                  <a:pt x="10480237" y="1582625"/>
                  <a:pt x="10475977" y="1582625"/>
                </a:cubicBezTo>
                <a:cubicBezTo>
                  <a:pt x="10466924" y="1582625"/>
                  <a:pt x="10459736" y="1579697"/>
                  <a:pt x="10454145" y="1574105"/>
                </a:cubicBezTo>
                <a:cubicBezTo>
                  <a:pt x="10448554" y="1568520"/>
                  <a:pt x="10445759" y="1561462"/>
                  <a:pt x="10445759" y="1552940"/>
                </a:cubicBezTo>
                <a:cubicBezTo>
                  <a:pt x="10445759" y="1544686"/>
                  <a:pt x="10448554" y="1537628"/>
                  <a:pt x="10454145" y="1531907"/>
                </a:cubicBezTo>
                <a:cubicBezTo>
                  <a:pt x="10459603" y="1526314"/>
                  <a:pt x="10466924" y="1523391"/>
                  <a:pt x="10475977" y="1523391"/>
                </a:cubicBezTo>
                <a:close/>
                <a:moveTo>
                  <a:pt x="10258466" y="1523391"/>
                </a:moveTo>
                <a:cubicBezTo>
                  <a:pt x="10262592" y="1523391"/>
                  <a:pt x="10266586" y="1524050"/>
                  <a:pt x="10270313" y="1525915"/>
                </a:cubicBezTo>
                <a:cubicBezTo>
                  <a:pt x="10273907" y="1527519"/>
                  <a:pt x="10277101" y="1529643"/>
                  <a:pt x="10279631" y="1532304"/>
                </a:cubicBezTo>
                <a:cubicBezTo>
                  <a:pt x="10282160" y="1534837"/>
                  <a:pt x="10284290" y="1538036"/>
                  <a:pt x="10285754" y="1541623"/>
                </a:cubicBezTo>
                <a:cubicBezTo>
                  <a:pt x="10287218" y="1545222"/>
                  <a:pt x="10288017" y="1549082"/>
                  <a:pt x="10288017" y="1553078"/>
                </a:cubicBezTo>
                <a:cubicBezTo>
                  <a:pt x="10288017" y="1557204"/>
                  <a:pt x="10287218" y="1561192"/>
                  <a:pt x="10285754" y="1564791"/>
                </a:cubicBezTo>
                <a:cubicBezTo>
                  <a:pt x="10284157" y="1568378"/>
                  <a:pt x="10282160" y="1571441"/>
                  <a:pt x="10279631" y="1574105"/>
                </a:cubicBezTo>
                <a:cubicBezTo>
                  <a:pt x="10276969" y="1576765"/>
                  <a:pt x="10273907" y="1578895"/>
                  <a:pt x="10270313" y="1580363"/>
                </a:cubicBezTo>
                <a:cubicBezTo>
                  <a:pt x="10266586" y="1581829"/>
                  <a:pt x="10262725" y="1582625"/>
                  <a:pt x="10258466" y="1582625"/>
                </a:cubicBezTo>
                <a:cubicBezTo>
                  <a:pt x="10249546" y="1582625"/>
                  <a:pt x="10242224" y="1579697"/>
                  <a:pt x="10236633" y="1574105"/>
                </a:cubicBezTo>
                <a:cubicBezTo>
                  <a:pt x="10231043" y="1568520"/>
                  <a:pt x="10228247" y="1561462"/>
                  <a:pt x="10228247" y="1552940"/>
                </a:cubicBezTo>
                <a:cubicBezTo>
                  <a:pt x="10228247" y="1544686"/>
                  <a:pt x="10231043" y="1537628"/>
                  <a:pt x="10236633" y="1531907"/>
                </a:cubicBezTo>
                <a:cubicBezTo>
                  <a:pt x="10242092" y="1526314"/>
                  <a:pt x="10249413" y="1523391"/>
                  <a:pt x="10258466" y="1523391"/>
                </a:cubicBezTo>
                <a:close/>
                <a:moveTo>
                  <a:pt x="10040820" y="1523391"/>
                </a:moveTo>
                <a:cubicBezTo>
                  <a:pt x="10045080" y="1523391"/>
                  <a:pt x="10048941" y="1524050"/>
                  <a:pt x="10052534" y="1525915"/>
                </a:cubicBezTo>
                <a:cubicBezTo>
                  <a:pt x="10056129" y="1527519"/>
                  <a:pt x="10059323" y="1529643"/>
                  <a:pt x="10061852" y="1532304"/>
                </a:cubicBezTo>
                <a:cubicBezTo>
                  <a:pt x="10064382" y="1534837"/>
                  <a:pt x="10066512" y="1538036"/>
                  <a:pt x="10067976" y="1541623"/>
                </a:cubicBezTo>
                <a:cubicBezTo>
                  <a:pt x="10069440" y="1545222"/>
                  <a:pt x="10070239" y="1549082"/>
                  <a:pt x="10070239" y="1553078"/>
                </a:cubicBezTo>
                <a:cubicBezTo>
                  <a:pt x="10070239" y="1557204"/>
                  <a:pt x="10069440" y="1561192"/>
                  <a:pt x="10067976" y="1564791"/>
                </a:cubicBezTo>
                <a:cubicBezTo>
                  <a:pt x="10066379" y="1568383"/>
                  <a:pt x="10064382" y="1571441"/>
                  <a:pt x="10061852" y="1574105"/>
                </a:cubicBezTo>
                <a:cubicBezTo>
                  <a:pt x="10059190" y="1576765"/>
                  <a:pt x="10056129" y="1578895"/>
                  <a:pt x="10052534" y="1580363"/>
                </a:cubicBezTo>
                <a:cubicBezTo>
                  <a:pt x="10048941" y="1581829"/>
                  <a:pt x="10045080" y="1582625"/>
                  <a:pt x="10040820" y="1582625"/>
                </a:cubicBezTo>
                <a:cubicBezTo>
                  <a:pt x="10031767" y="1582625"/>
                  <a:pt x="10024579" y="1579697"/>
                  <a:pt x="10018988" y="1574105"/>
                </a:cubicBezTo>
                <a:cubicBezTo>
                  <a:pt x="10013397" y="1568520"/>
                  <a:pt x="10010602" y="1561462"/>
                  <a:pt x="10010602" y="1552940"/>
                </a:cubicBezTo>
                <a:cubicBezTo>
                  <a:pt x="10010602" y="1544686"/>
                  <a:pt x="10013397" y="1537628"/>
                  <a:pt x="10018988" y="1531907"/>
                </a:cubicBezTo>
                <a:cubicBezTo>
                  <a:pt x="10024579" y="1526314"/>
                  <a:pt x="10031767" y="1523391"/>
                  <a:pt x="10040820" y="1523391"/>
                </a:cubicBezTo>
                <a:close/>
                <a:moveTo>
                  <a:pt x="9823176" y="1523391"/>
                </a:moveTo>
                <a:cubicBezTo>
                  <a:pt x="9827435" y="1523391"/>
                  <a:pt x="9831296" y="1524050"/>
                  <a:pt x="9834890" y="1525915"/>
                </a:cubicBezTo>
                <a:cubicBezTo>
                  <a:pt x="9838617" y="1527519"/>
                  <a:pt x="9841679" y="1529643"/>
                  <a:pt x="9844208" y="1532306"/>
                </a:cubicBezTo>
                <a:cubicBezTo>
                  <a:pt x="9846737" y="1534837"/>
                  <a:pt x="9848867" y="1538036"/>
                  <a:pt x="9850331" y="1541623"/>
                </a:cubicBezTo>
                <a:cubicBezTo>
                  <a:pt x="9851796" y="1545222"/>
                  <a:pt x="9852595" y="1549082"/>
                  <a:pt x="9852595" y="1553078"/>
                </a:cubicBezTo>
                <a:cubicBezTo>
                  <a:pt x="9852595" y="1557204"/>
                  <a:pt x="9851796" y="1561192"/>
                  <a:pt x="9850331" y="1564797"/>
                </a:cubicBezTo>
                <a:cubicBezTo>
                  <a:pt x="9848734" y="1568383"/>
                  <a:pt x="9846737" y="1571441"/>
                  <a:pt x="9844208" y="1574105"/>
                </a:cubicBezTo>
                <a:cubicBezTo>
                  <a:pt x="9841546" y="1576765"/>
                  <a:pt x="9838484" y="1578895"/>
                  <a:pt x="9834890" y="1580363"/>
                </a:cubicBezTo>
                <a:cubicBezTo>
                  <a:pt x="9831296" y="1581829"/>
                  <a:pt x="9827435" y="1582625"/>
                  <a:pt x="9823176" y="1582625"/>
                </a:cubicBezTo>
                <a:cubicBezTo>
                  <a:pt x="9814123" y="1582625"/>
                  <a:pt x="9806935" y="1579697"/>
                  <a:pt x="9801343" y="1574105"/>
                </a:cubicBezTo>
                <a:cubicBezTo>
                  <a:pt x="9795753" y="1568520"/>
                  <a:pt x="9792957" y="1561462"/>
                  <a:pt x="9792957" y="1552940"/>
                </a:cubicBezTo>
                <a:cubicBezTo>
                  <a:pt x="9792957" y="1544686"/>
                  <a:pt x="9795753" y="1537628"/>
                  <a:pt x="9801343" y="1531907"/>
                </a:cubicBezTo>
                <a:cubicBezTo>
                  <a:pt x="9806935" y="1526314"/>
                  <a:pt x="9814123" y="1523391"/>
                  <a:pt x="9823176" y="1523391"/>
                </a:cubicBezTo>
                <a:close/>
                <a:moveTo>
                  <a:pt x="9605531" y="1523391"/>
                </a:moveTo>
                <a:cubicBezTo>
                  <a:pt x="9609790" y="1523391"/>
                  <a:pt x="9613784" y="1524050"/>
                  <a:pt x="9617245" y="1525915"/>
                </a:cubicBezTo>
                <a:cubicBezTo>
                  <a:pt x="9620839" y="1527519"/>
                  <a:pt x="9624033" y="1529643"/>
                  <a:pt x="9626562" y="1532306"/>
                </a:cubicBezTo>
                <a:cubicBezTo>
                  <a:pt x="9629092" y="1534837"/>
                  <a:pt x="9631222" y="1538036"/>
                  <a:pt x="9632686" y="1541623"/>
                </a:cubicBezTo>
                <a:cubicBezTo>
                  <a:pt x="9634150" y="1545222"/>
                  <a:pt x="9634949" y="1549082"/>
                  <a:pt x="9634949" y="1553078"/>
                </a:cubicBezTo>
                <a:cubicBezTo>
                  <a:pt x="9634949" y="1557204"/>
                  <a:pt x="9634150" y="1561192"/>
                  <a:pt x="9632686" y="1564797"/>
                </a:cubicBezTo>
                <a:cubicBezTo>
                  <a:pt x="9631089" y="1568383"/>
                  <a:pt x="9629092" y="1571441"/>
                  <a:pt x="9626562" y="1574105"/>
                </a:cubicBezTo>
                <a:cubicBezTo>
                  <a:pt x="9623901" y="1576765"/>
                  <a:pt x="9620839" y="1578895"/>
                  <a:pt x="9617245" y="1580363"/>
                </a:cubicBezTo>
                <a:cubicBezTo>
                  <a:pt x="9613651" y="1581829"/>
                  <a:pt x="9609790" y="1582625"/>
                  <a:pt x="9605531" y="1582625"/>
                </a:cubicBezTo>
                <a:cubicBezTo>
                  <a:pt x="9596610" y="1582625"/>
                  <a:pt x="9589289" y="1579697"/>
                  <a:pt x="9583698" y="1574105"/>
                </a:cubicBezTo>
                <a:cubicBezTo>
                  <a:pt x="9578108" y="1568520"/>
                  <a:pt x="9575312" y="1561462"/>
                  <a:pt x="9575312" y="1552940"/>
                </a:cubicBezTo>
                <a:cubicBezTo>
                  <a:pt x="9575312" y="1544686"/>
                  <a:pt x="9578108" y="1537628"/>
                  <a:pt x="9583698" y="1531907"/>
                </a:cubicBezTo>
                <a:cubicBezTo>
                  <a:pt x="9589289" y="1526314"/>
                  <a:pt x="9596478" y="1523391"/>
                  <a:pt x="9605531" y="1523391"/>
                </a:cubicBezTo>
                <a:close/>
                <a:moveTo>
                  <a:pt x="9387885" y="1523391"/>
                </a:moveTo>
                <a:cubicBezTo>
                  <a:pt x="9392145" y="1523391"/>
                  <a:pt x="9396138" y="1524050"/>
                  <a:pt x="9399599" y="1525915"/>
                </a:cubicBezTo>
                <a:cubicBezTo>
                  <a:pt x="9403194" y="1527519"/>
                  <a:pt x="9406388" y="1529643"/>
                  <a:pt x="9408917" y="1532306"/>
                </a:cubicBezTo>
                <a:cubicBezTo>
                  <a:pt x="9411447" y="1534837"/>
                  <a:pt x="9413576" y="1538036"/>
                  <a:pt x="9415041" y="1541623"/>
                </a:cubicBezTo>
                <a:cubicBezTo>
                  <a:pt x="9416505" y="1545222"/>
                  <a:pt x="9417304" y="1549082"/>
                  <a:pt x="9417304" y="1553078"/>
                </a:cubicBezTo>
                <a:cubicBezTo>
                  <a:pt x="9417304" y="1557204"/>
                  <a:pt x="9416505" y="1561192"/>
                  <a:pt x="9415041" y="1564797"/>
                </a:cubicBezTo>
                <a:cubicBezTo>
                  <a:pt x="9413444" y="1568383"/>
                  <a:pt x="9411447" y="1571441"/>
                  <a:pt x="9408917" y="1574105"/>
                </a:cubicBezTo>
                <a:cubicBezTo>
                  <a:pt x="9406255" y="1576765"/>
                  <a:pt x="9403194" y="1578895"/>
                  <a:pt x="9399599" y="1580363"/>
                </a:cubicBezTo>
                <a:cubicBezTo>
                  <a:pt x="9396005" y="1581829"/>
                  <a:pt x="9392145" y="1582625"/>
                  <a:pt x="9387885" y="1582625"/>
                </a:cubicBezTo>
                <a:cubicBezTo>
                  <a:pt x="9378965" y="1582625"/>
                  <a:pt x="9371644" y="1579697"/>
                  <a:pt x="9366053" y="1574105"/>
                </a:cubicBezTo>
                <a:cubicBezTo>
                  <a:pt x="9360462" y="1568520"/>
                  <a:pt x="9357667" y="1561462"/>
                  <a:pt x="9357667" y="1552940"/>
                </a:cubicBezTo>
                <a:cubicBezTo>
                  <a:pt x="9357667" y="1544686"/>
                  <a:pt x="9360462" y="1537628"/>
                  <a:pt x="9366053" y="1531907"/>
                </a:cubicBezTo>
                <a:cubicBezTo>
                  <a:pt x="9371644" y="1526314"/>
                  <a:pt x="9378832" y="1523391"/>
                  <a:pt x="9387885" y="1523391"/>
                </a:cubicBezTo>
                <a:close/>
                <a:moveTo>
                  <a:pt x="9170374" y="1523391"/>
                </a:moveTo>
                <a:cubicBezTo>
                  <a:pt x="9174500" y="1523391"/>
                  <a:pt x="9178494" y="1524050"/>
                  <a:pt x="9182088" y="1525915"/>
                </a:cubicBezTo>
                <a:cubicBezTo>
                  <a:pt x="9185682" y="1527519"/>
                  <a:pt x="9188876" y="1529643"/>
                  <a:pt x="9191405" y="1532306"/>
                </a:cubicBezTo>
                <a:cubicBezTo>
                  <a:pt x="9193935" y="1534837"/>
                  <a:pt x="9196065" y="1538036"/>
                  <a:pt x="9197529" y="1541623"/>
                </a:cubicBezTo>
                <a:cubicBezTo>
                  <a:pt x="9198993" y="1545222"/>
                  <a:pt x="9199792" y="1549082"/>
                  <a:pt x="9199792" y="1553078"/>
                </a:cubicBezTo>
                <a:cubicBezTo>
                  <a:pt x="9199792" y="1557204"/>
                  <a:pt x="9198993" y="1561192"/>
                  <a:pt x="9197529" y="1564797"/>
                </a:cubicBezTo>
                <a:cubicBezTo>
                  <a:pt x="9195932" y="1568383"/>
                  <a:pt x="9193935" y="1571441"/>
                  <a:pt x="9191405" y="1574105"/>
                </a:cubicBezTo>
                <a:cubicBezTo>
                  <a:pt x="9188744" y="1576765"/>
                  <a:pt x="9185682" y="1578895"/>
                  <a:pt x="9182088" y="1580363"/>
                </a:cubicBezTo>
                <a:cubicBezTo>
                  <a:pt x="9178494" y="1581829"/>
                  <a:pt x="9174633" y="1582625"/>
                  <a:pt x="9170374" y="1582625"/>
                </a:cubicBezTo>
                <a:cubicBezTo>
                  <a:pt x="9161453" y="1582625"/>
                  <a:pt x="9154132" y="1579697"/>
                  <a:pt x="9148541" y="1574105"/>
                </a:cubicBezTo>
                <a:cubicBezTo>
                  <a:pt x="9142951" y="1568520"/>
                  <a:pt x="9140155" y="1561462"/>
                  <a:pt x="9140155" y="1552940"/>
                </a:cubicBezTo>
                <a:cubicBezTo>
                  <a:pt x="9140155" y="1544686"/>
                  <a:pt x="9142951" y="1537628"/>
                  <a:pt x="9148541" y="1531907"/>
                </a:cubicBezTo>
                <a:cubicBezTo>
                  <a:pt x="9154132" y="1526314"/>
                  <a:pt x="9161321" y="1523391"/>
                  <a:pt x="9170374" y="1523391"/>
                </a:cubicBezTo>
                <a:close/>
                <a:moveTo>
                  <a:pt x="8952728" y="1523391"/>
                </a:moveTo>
                <a:cubicBezTo>
                  <a:pt x="8956988" y="1523391"/>
                  <a:pt x="8960849" y="1524050"/>
                  <a:pt x="8964442" y="1525915"/>
                </a:cubicBezTo>
                <a:cubicBezTo>
                  <a:pt x="8968037" y="1527519"/>
                  <a:pt x="8971231" y="1529643"/>
                  <a:pt x="8973760" y="1532306"/>
                </a:cubicBezTo>
                <a:cubicBezTo>
                  <a:pt x="8976290" y="1534837"/>
                  <a:pt x="8978419" y="1538036"/>
                  <a:pt x="8979884" y="1541623"/>
                </a:cubicBezTo>
                <a:cubicBezTo>
                  <a:pt x="8981348" y="1545222"/>
                  <a:pt x="8982147" y="1549082"/>
                  <a:pt x="8982147" y="1553078"/>
                </a:cubicBezTo>
                <a:cubicBezTo>
                  <a:pt x="8982147" y="1557204"/>
                  <a:pt x="8981348" y="1561192"/>
                  <a:pt x="8979884" y="1564797"/>
                </a:cubicBezTo>
                <a:cubicBezTo>
                  <a:pt x="8978287" y="1568383"/>
                  <a:pt x="8976290" y="1571441"/>
                  <a:pt x="8973760" y="1574105"/>
                </a:cubicBezTo>
                <a:cubicBezTo>
                  <a:pt x="8971098" y="1576765"/>
                  <a:pt x="8968037" y="1578895"/>
                  <a:pt x="8964442" y="1580363"/>
                </a:cubicBezTo>
                <a:cubicBezTo>
                  <a:pt x="8960849" y="1581829"/>
                  <a:pt x="8956988" y="1582625"/>
                  <a:pt x="8952728" y="1582625"/>
                </a:cubicBezTo>
                <a:cubicBezTo>
                  <a:pt x="8943808" y="1582625"/>
                  <a:pt x="8936487" y="1579697"/>
                  <a:pt x="8930896" y="1574105"/>
                </a:cubicBezTo>
                <a:cubicBezTo>
                  <a:pt x="8925305" y="1568520"/>
                  <a:pt x="8922510" y="1561462"/>
                  <a:pt x="8922510" y="1552940"/>
                </a:cubicBezTo>
                <a:cubicBezTo>
                  <a:pt x="8922510" y="1544686"/>
                  <a:pt x="8925305" y="1537628"/>
                  <a:pt x="8930896" y="1531907"/>
                </a:cubicBezTo>
                <a:cubicBezTo>
                  <a:pt x="8936487" y="1526314"/>
                  <a:pt x="8943675" y="1523391"/>
                  <a:pt x="8952728" y="1523391"/>
                </a:cubicBezTo>
                <a:close/>
                <a:moveTo>
                  <a:pt x="8735083" y="1523391"/>
                </a:moveTo>
                <a:cubicBezTo>
                  <a:pt x="8739342" y="1523391"/>
                  <a:pt x="8743203" y="1524050"/>
                  <a:pt x="8746797" y="1525915"/>
                </a:cubicBezTo>
                <a:cubicBezTo>
                  <a:pt x="8750391" y="1527519"/>
                  <a:pt x="8753586" y="1529643"/>
                  <a:pt x="8756115" y="1532306"/>
                </a:cubicBezTo>
                <a:cubicBezTo>
                  <a:pt x="8758644" y="1534837"/>
                  <a:pt x="8760774" y="1538036"/>
                  <a:pt x="8762238" y="1541623"/>
                </a:cubicBezTo>
                <a:cubicBezTo>
                  <a:pt x="8763702" y="1545222"/>
                  <a:pt x="8764502" y="1549082"/>
                  <a:pt x="8764502" y="1553078"/>
                </a:cubicBezTo>
                <a:cubicBezTo>
                  <a:pt x="8764502" y="1557204"/>
                  <a:pt x="8763702" y="1561192"/>
                  <a:pt x="8762238" y="1564797"/>
                </a:cubicBezTo>
                <a:cubicBezTo>
                  <a:pt x="8760641" y="1568383"/>
                  <a:pt x="8758644" y="1571441"/>
                  <a:pt x="8756115" y="1574105"/>
                </a:cubicBezTo>
                <a:cubicBezTo>
                  <a:pt x="8753453" y="1576765"/>
                  <a:pt x="8750391" y="1578895"/>
                  <a:pt x="8746797" y="1580363"/>
                </a:cubicBezTo>
                <a:cubicBezTo>
                  <a:pt x="8743203" y="1581829"/>
                  <a:pt x="8739342" y="1582625"/>
                  <a:pt x="8735083" y="1582625"/>
                </a:cubicBezTo>
                <a:cubicBezTo>
                  <a:pt x="8726030" y="1582625"/>
                  <a:pt x="8718841" y="1579697"/>
                  <a:pt x="8713250" y="1574105"/>
                </a:cubicBezTo>
                <a:cubicBezTo>
                  <a:pt x="8707660" y="1568520"/>
                  <a:pt x="8704864" y="1561462"/>
                  <a:pt x="8704864" y="1552940"/>
                </a:cubicBezTo>
                <a:cubicBezTo>
                  <a:pt x="8704864" y="1544686"/>
                  <a:pt x="8707660" y="1537628"/>
                  <a:pt x="8713250" y="1531907"/>
                </a:cubicBezTo>
                <a:cubicBezTo>
                  <a:pt x="8718841" y="1526314"/>
                  <a:pt x="8726030" y="1523391"/>
                  <a:pt x="8735083" y="1523391"/>
                </a:cubicBezTo>
                <a:close/>
                <a:moveTo>
                  <a:pt x="8517438" y="1523391"/>
                </a:moveTo>
                <a:cubicBezTo>
                  <a:pt x="8521698" y="1523391"/>
                  <a:pt x="8525559" y="1524050"/>
                  <a:pt x="8529152" y="1525915"/>
                </a:cubicBezTo>
                <a:cubicBezTo>
                  <a:pt x="8532880" y="1527519"/>
                  <a:pt x="8535941" y="1529643"/>
                  <a:pt x="8538470" y="1532306"/>
                </a:cubicBezTo>
                <a:cubicBezTo>
                  <a:pt x="8541000" y="1534837"/>
                  <a:pt x="8543130" y="1538036"/>
                  <a:pt x="8544594" y="1541623"/>
                </a:cubicBezTo>
                <a:cubicBezTo>
                  <a:pt x="8546058" y="1545222"/>
                  <a:pt x="8546857" y="1549082"/>
                  <a:pt x="8546857" y="1553078"/>
                </a:cubicBezTo>
                <a:cubicBezTo>
                  <a:pt x="8546857" y="1557204"/>
                  <a:pt x="8546058" y="1561192"/>
                  <a:pt x="8544594" y="1564797"/>
                </a:cubicBezTo>
                <a:cubicBezTo>
                  <a:pt x="8542997" y="1568383"/>
                  <a:pt x="8541000" y="1571441"/>
                  <a:pt x="8538470" y="1574105"/>
                </a:cubicBezTo>
                <a:cubicBezTo>
                  <a:pt x="8535808" y="1576765"/>
                  <a:pt x="8532747" y="1578895"/>
                  <a:pt x="8529152" y="1580363"/>
                </a:cubicBezTo>
                <a:cubicBezTo>
                  <a:pt x="8525559" y="1581829"/>
                  <a:pt x="8521698" y="1582625"/>
                  <a:pt x="8517438" y="1582625"/>
                </a:cubicBezTo>
                <a:cubicBezTo>
                  <a:pt x="8508385" y="1582625"/>
                  <a:pt x="8501197" y="1579697"/>
                  <a:pt x="8495606" y="1574105"/>
                </a:cubicBezTo>
                <a:cubicBezTo>
                  <a:pt x="8490015" y="1568520"/>
                  <a:pt x="8487220" y="1561462"/>
                  <a:pt x="8487220" y="1552940"/>
                </a:cubicBezTo>
                <a:cubicBezTo>
                  <a:pt x="8487220" y="1544686"/>
                  <a:pt x="8490015" y="1537628"/>
                  <a:pt x="8495606" y="1531907"/>
                </a:cubicBezTo>
                <a:cubicBezTo>
                  <a:pt x="8501197" y="1526314"/>
                  <a:pt x="8508385" y="1523391"/>
                  <a:pt x="8517438" y="1523391"/>
                </a:cubicBezTo>
                <a:close/>
                <a:moveTo>
                  <a:pt x="8299793" y="1523391"/>
                </a:moveTo>
                <a:cubicBezTo>
                  <a:pt x="8304052" y="1523391"/>
                  <a:pt x="8308046" y="1524050"/>
                  <a:pt x="8311507" y="1525915"/>
                </a:cubicBezTo>
                <a:cubicBezTo>
                  <a:pt x="8315235" y="1527519"/>
                  <a:pt x="8318296" y="1529643"/>
                  <a:pt x="8320825" y="1532306"/>
                </a:cubicBezTo>
                <a:cubicBezTo>
                  <a:pt x="8323354" y="1534837"/>
                  <a:pt x="8325484" y="1538036"/>
                  <a:pt x="8326948" y="1541623"/>
                </a:cubicBezTo>
                <a:cubicBezTo>
                  <a:pt x="8328413" y="1545222"/>
                  <a:pt x="8329212" y="1549082"/>
                  <a:pt x="8329212" y="1553078"/>
                </a:cubicBezTo>
                <a:cubicBezTo>
                  <a:pt x="8329212" y="1557204"/>
                  <a:pt x="8328413" y="1561192"/>
                  <a:pt x="8326948" y="1564797"/>
                </a:cubicBezTo>
                <a:cubicBezTo>
                  <a:pt x="8325351" y="1568383"/>
                  <a:pt x="8323354" y="1571441"/>
                  <a:pt x="8320825" y="1574105"/>
                </a:cubicBezTo>
                <a:cubicBezTo>
                  <a:pt x="8318163" y="1576765"/>
                  <a:pt x="8315101" y="1578895"/>
                  <a:pt x="8311507" y="1580363"/>
                </a:cubicBezTo>
                <a:cubicBezTo>
                  <a:pt x="8307913" y="1581829"/>
                  <a:pt x="8304052" y="1582625"/>
                  <a:pt x="8299793" y="1582625"/>
                </a:cubicBezTo>
                <a:cubicBezTo>
                  <a:pt x="8290874" y="1582625"/>
                  <a:pt x="8283553" y="1579697"/>
                  <a:pt x="8277960" y="1574105"/>
                </a:cubicBezTo>
                <a:cubicBezTo>
                  <a:pt x="8272370" y="1568520"/>
                  <a:pt x="8269574" y="1561462"/>
                  <a:pt x="8269574" y="1552940"/>
                </a:cubicBezTo>
                <a:cubicBezTo>
                  <a:pt x="8269574" y="1544686"/>
                  <a:pt x="8272370" y="1537628"/>
                  <a:pt x="8277960" y="1531907"/>
                </a:cubicBezTo>
                <a:cubicBezTo>
                  <a:pt x="8283553" y="1526314"/>
                  <a:pt x="8290741" y="1523391"/>
                  <a:pt x="8299793" y="1523391"/>
                </a:cubicBezTo>
                <a:close/>
                <a:moveTo>
                  <a:pt x="8082281" y="1523391"/>
                </a:moveTo>
                <a:cubicBezTo>
                  <a:pt x="8086407" y="1523391"/>
                  <a:pt x="8090401" y="1524050"/>
                  <a:pt x="8094127" y="1525915"/>
                </a:cubicBezTo>
                <a:cubicBezTo>
                  <a:pt x="8097855" y="1527519"/>
                  <a:pt x="8100916" y="1529643"/>
                  <a:pt x="8103446" y="1532306"/>
                </a:cubicBezTo>
                <a:cubicBezTo>
                  <a:pt x="8105975" y="1534837"/>
                  <a:pt x="8108104" y="1538036"/>
                  <a:pt x="8109569" y="1541623"/>
                </a:cubicBezTo>
                <a:cubicBezTo>
                  <a:pt x="8111033" y="1545222"/>
                  <a:pt x="8111832" y="1549082"/>
                  <a:pt x="8111832" y="1553078"/>
                </a:cubicBezTo>
                <a:cubicBezTo>
                  <a:pt x="8111832" y="1557204"/>
                  <a:pt x="8111033" y="1561192"/>
                  <a:pt x="8109569" y="1564797"/>
                </a:cubicBezTo>
                <a:cubicBezTo>
                  <a:pt x="8107972" y="1568383"/>
                  <a:pt x="8105975" y="1571441"/>
                  <a:pt x="8103446" y="1574105"/>
                </a:cubicBezTo>
                <a:cubicBezTo>
                  <a:pt x="8100783" y="1576765"/>
                  <a:pt x="8097722" y="1578895"/>
                  <a:pt x="8094127" y="1580363"/>
                </a:cubicBezTo>
                <a:cubicBezTo>
                  <a:pt x="8090401" y="1581829"/>
                  <a:pt x="8086540" y="1582625"/>
                  <a:pt x="8082281" y="1582625"/>
                </a:cubicBezTo>
                <a:cubicBezTo>
                  <a:pt x="8073361" y="1582625"/>
                  <a:pt x="8066040" y="1579697"/>
                  <a:pt x="8060448" y="1574105"/>
                </a:cubicBezTo>
                <a:cubicBezTo>
                  <a:pt x="8054857" y="1568520"/>
                  <a:pt x="8052062" y="1561462"/>
                  <a:pt x="8052062" y="1552940"/>
                </a:cubicBezTo>
                <a:cubicBezTo>
                  <a:pt x="8052062" y="1544686"/>
                  <a:pt x="8054857" y="1537628"/>
                  <a:pt x="8060448" y="1531907"/>
                </a:cubicBezTo>
                <a:cubicBezTo>
                  <a:pt x="8066040" y="1526314"/>
                  <a:pt x="8073228" y="1523391"/>
                  <a:pt x="8082281" y="1523391"/>
                </a:cubicBezTo>
                <a:close/>
                <a:moveTo>
                  <a:pt x="7864636" y="1523391"/>
                </a:moveTo>
                <a:cubicBezTo>
                  <a:pt x="7868762" y="1523391"/>
                  <a:pt x="7872756" y="1524050"/>
                  <a:pt x="7876483" y="1525915"/>
                </a:cubicBezTo>
                <a:cubicBezTo>
                  <a:pt x="7880210" y="1527519"/>
                  <a:pt x="7883272" y="1529643"/>
                  <a:pt x="7885802" y="1532306"/>
                </a:cubicBezTo>
                <a:cubicBezTo>
                  <a:pt x="7888331" y="1534837"/>
                  <a:pt x="7890460" y="1538036"/>
                  <a:pt x="7891924" y="1541623"/>
                </a:cubicBezTo>
                <a:cubicBezTo>
                  <a:pt x="7893389" y="1545222"/>
                  <a:pt x="7894188" y="1549082"/>
                  <a:pt x="7894188" y="1553078"/>
                </a:cubicBezTo>
                <a:cubicBezTo>
                  <a:pt x="7894188" y="1557204"/>
                  <a:pt x="7893389" y="1561192"/>
                  <a:pt x="7891924" y="1564797"/>
                </a:cubicBezTo>
                <a:cubicBezTo>
                  <a:pt x="7890327" y="1568383"/>
                  <a:pt x="7888331" y="1571441"/>
                  <a:pt x="7885802" y="1574105"/>
                </a:cubicBezTo>
                <a:cubicBezTo>
                  <a:pt x="7883139" y="1576765"/>
                  <a:pt x="7880078" y="1578895"/>
                  <a:pt x="7876483" y="1580363"/>
                </a:cubicBezTo>
                <a:cubicBezTo>
                  <a:pt x="7872756" y="1581829"/>
                  <a:pt x="7868895" y="1582625"/>
                  <a:pt x="7864636" y="1582625"/>
                </a:cubicBezTo>
                <a:cubicBezTo>
                  <a:pt x="7855717" y="1582625"/>
                  <a:pt x="7848396" y="1579697"/>
                  <a:pt x="7842803" y="1574105"/>
                </a:cubicBezTo>
                <a:cubicBezTo>
                  <a:pt x="7837213" y="1568520"/>
                  <a:pt x="7834417" y="1561462"/>
                  <a:pt x="7834417" y="1552940"/>
                </a:cubicBezTo>
                <a:cubicBezTo>
                  <a:pt x="7834417" y="1544686"/>
                  <a:pt x="7837213" y="1537628"/>
                  <a:pt x="7842803" y="1531907"/>
                </a:cubicBezTo>
                <a:cubicBezTo>
                  <a:pt x="7848396" y="1526314"/>
                  <a:pt x="7855584" y="1523391"/>
                  <a:pt x="7864636" y="1523391"/>
                </a:cubicBezTo>
                <a:close/>
                <a:moveTo>
                  <a:pt x="7646991" y="1523391"/>
                </a:moveTo>
                <a:cubicBezTo>
                  <a:pt x="7651250" y="1523391"/>
                  <a:pt x="7655111" y="1524050"/>
                  <a:pt x="7658705" y="1525915"/>
                </a:cubicBezTo>
                <a:cubicBezTo>
                  <a:pt x="7662432" y="1527519"/>
                  <a:pt x="7665493" y="1529643"/>
                  <a:pt x="7668022" y="1532306"/>
                </a:cubicBezTo>
                <a:cubicBezTo>
                  <a:pt x="7670552" y="1534837"/>
                  <a:pt x="7672682" y="1538036"/>
                  <a:pt x="7674146" y="1541623"/>
                </a:cubicBezTo>
                <a:cubicBezTo>
                  <a:pt x="7675610" y="1545222"/>
                  <a:pt x="7676409" y="1549082"/>
                  <a:pt x="7676409" y="1553078"/>
                </a:cubicBezTo>
                <a:cubicBezTo>
                  <a:pt x="7676409" y="1557204"/>
                  <a:pt x="7675610" y="1561192"/>
                  <a:pt x="7674146" y="1564797"/>
                </a:cubicBezTo>
                <a:cubicBezTo>
                  <a:pt x="7672549" y="1568383"/>
                  <a:pt x="7670552" y="1571441"/>
                  <a:pt x="7668022" y="1574105"/>
                </a:cubicBezTo>
                <a:cubicBezTo>
                  <a:pt x="7665361" y="1576765"/>
                  <a:pt x="7662299" y="1578895"/>
                  <a:pt x="7658705" y="1580363"/>
                </a:cubicBezTo>
                <a:cubicBezTo>
                  <a:pt x="7655111" y="1581829"/>
                  <a:pt x="7651250" y="1582625"/>
                  <a:pt x="7646991" y="1582625"/>
                </a:cubicBezTo>
                <a:cubicBezTo>
                  <a:pt x="7638071" y="1582625"/>
                  <a:pt x="7630750" y="1579697"/>
                  <a:pt x="7625158" y="1574105"/>
                </a:cubicBezTo>
                <a:cubicBezTo>
                  <a:pt x="7619568" y="1568520"/>
                  <a:pt x="7616772" y="1561462"/>
                  <a:pt x="7616772" y="1552940"/>
                </a:cubicBezTo>
                <a:cubicBezTo>
                  <a:pt x="7616772" y="1544686"/>
                  <a:pt x="7619568" y="1537628"/>
                  <a:pt x="7625158" y="1531907"/>
                </a:cubicBezTo>
                <a:cubicBezTo>
                  <a:pt x="7630750" y="1526314"/>
                  <a:pt x="7637939" y="1523391"/>
                  <a:pt x="7646991" y="1523391"/>
                </a:cubicBezTo>
                <a:close/>
                <a:moveTo>
                  <a:pt x="7429345" y="1523391"/>
                </a:moveTo>
                <a:cubicBezTo>
                  <a:pt x="7433605" y="1523391"/>
                  <a:pt x="7437466" y="1524050"/>
                  <a:pt x="7441059" y="1525915"/>
                </a:cubicBezTo>
                <a:cubicBezTo>
                  <a:pt x="7444787" y="1527519"/>
                  <a:pt x="7447848" y="1529643"/>
                  <a:pt x="7450377" y="1532306"/>
                </a:cubicBezTo>
                <a:cubicBezTo>
                  <a:pt x="7452907" y="1534837"/>
                  <a:pt x="7455036" y="1538036"/>
                  <a:pt x="7456501" y="1541623"/>
                </a:cubicBezTo>
                <a:cubicBezTo>
                  <a:pt x="7457965" y="1545222"/>
                  <a:pt x="7458764" y="1549082"/>
                  <a:pt x="7458764" y="1553078"/>
                </a:cubicBezTo>
                <a:cubicBezTo>
                  <a:pt x="7458764" y="1557204"/>
                  <a:pt x="7457965" y="1561192"/>
                  <a:pt x="7456501" y="1564797"/>
                </a:cubicBezTo>
                <a:cubicBezTo>
                  <a:pt x="7454904" y="1568383"/>
                  <a:pt x="7452907" y="1571441"/>
                  <a:pt x="7450377" y="1574105"/>
                </a:cubicBezTo>
                <a:cubicBezTo>
                  <a:pt x="7447715" y="1576765"/>
                  <a:pt x="7444654" y="1578895"/>
                  <a:pt x="7441059" y="1580363"/>
                </a:cubicBezTo>
                <a:cubicBezTo>
                  <a:pt x="7437466" y="1581829"/>
                  <a:pt x="7433605" y="1582625"/>
                  <a:pt x="7429345" y="1582625"/>
                </a:cubicBezTo>
                <a:cubicBezTo>
                  <a:pt x="7420426" y="1582625"/>
                  <a:pt x="7413105" y="1579697"/>
                  <a:pt x="7407513" y="1574105"/>
                </a:cubicBezTo>
                <a:cubicBezTo>
                  <a:pt x="7401922" y="1568520"/>
                  <a:pt x="7399127" y="1561462"/>
                  <a:pt x="7399127" y="1552940"/>
                </a:cubicBezTo>
                <a:cubicBezTo>
                  <a:pt x="7399127" y="1544686"/>
                  <a:pt x="7401922" y="1537628"/>
                  <a:pt x="7407513" y="1531907"/>
                </a:cubicBezTo>
                <a:cubicBezTo>
                  <a:pt x="7413105" y="1526314"/>
                  <a:pt x="7420293" y="1523391"/>
                  <a:pt x="7429345" y="1523391"/>
                </a:cubicBezTo>
                <a:close/>
                <a:moveTo>
                  <a:pt x="7211701" y="1523391"/>
                </a:moveTo>
                <a:cubicBezTo>
                  <a:pt x="7215960" y="1523391"/>
                  <a:pt x="7219954" y="1524050"/>
                  <a:pt x="7223415" y="1525915"/>
                </a:cubicBezTo>
                <a:cubicBezTo>
                  <a:pt x="7227142" y="1527519"/>
                  <a:pt x="7230204" y="1529643"/>
                  <a:pt x="7232733" y="1532306"/>
                </a:cubicBezTo>
                <a:cubicBezTo>
                  <a:pt x="7235262" y="1534837"/>
                  <a:pt x="7237392" y="1538036"/>
                  <a:pt x="7238856" y="1541623"/>
                </a:cubicBezTo>
                <a:cubicBezTo>
                  <a:pt x="7240321" y="1545222"/>
                  <a:pt x="7241120" y="1549082"/>
                  <a:pt x="7241120" y="1553078"/>
                </a:cubicBezTo>
                <a:cubicBezTo>
                  <a:pt x="7241120" y="1557204"/>
                  <a:pt x="7240321" y="1561192"/>
                  <a:pt x="7238856" y="1564797"/>
                </a:cubicBezTo>
                <a:cubicBezTo>
                  <a:pt x="7237259" y="1568383"/>
                  <a:pt x="7235262" y="1571441"/>
                  <a:pt x="7232733" y="1574105"/>
                </a:cubicBezTo>
                <a:cubicBezTo>
                  <a:pt x="7230071" y="1576765"/>
                  <a:pt x="7227009" y="1578895"/>
                  <a:pt x="7223415" y="1580363"/>
                </a:cubicBezTo>
                <a:cubicBezTo>
                  <a:pt x="7219821" y="1581829"/>
                  <a:pt x="7215960" y="1582625"/>
                  <a:pt x="7211701" y="1582625"/>
                </a:cubicBezTo>
                <a:cubicBezTo>
                  <a:pt x="7202782" y="1582625"/>
                  <a:pt x="7195460" y="1579697"/>
                  <a:pt x="7189868" y="1574105"/>
                </a:cubicBezTo>
                <a:cubicBezTo>
                  <a:pt x="7184278" y="1568520"/>
                  <a:pt x="7181482" y="1561462"/>
                  <a:pt x="7181482" y="1552940"/>
                </a:cubicBezTo>
                <a:cubicBezTo>
                  <a:pt x="7181482" y="1544686"/>
                  <a:pt x="7184278" y="1537628"/>
                  <a:pt x="7189868" y="1531907"/>
                </a:cubicBezTo>
                <a:cubicBezTo>
                  <a:pt x="7195460" y="1526314"/>
                  <a:pt x="7202649" y="1523391"/>
                  <a:pt x="7211701" y="1523391"/>
                </a:cubicBezTo>
                <a:close/>
                <a:moveTo>
                  <a:pt x="6994056" y="1523391"/>
                </a:moveTo>
                <a:cubicBezTo>
                  <a:pt x="6998315" y="1523391"/>
                  <a:pt x="7002309" y="1524050"/>
                  <a:pt x="7005769" y="1525915"/>
                </a:cubicBezTo>
                <a:cubicBezTo>
                  <a:pt x="7009497" y="1527519"/>
                  <a:pt x="7012558" y="1529643"/>
                  <a:pt x="7015087" y="1532306"/>
                </a:cubicBezTo>
                <a:cubicBezTo>
                  <a:pt x="7017617" y="1534837"/>
                  <a:pt x="7019747" y="1538036"/>
                  <a:pt x="7021211" y="1541623"/>
                </a:cubicBezTo>
                <a:cubicBezTo>
                  <a:pt x="7022675" y="1545222"/>
                  <a:pt x="7023474" y="1549082"/>
                  <a:pt x="7023474" y="1553078"/>
                </a:cubicBezTo>
                <a:cubicBezTo>
                  <a:pt x="7023474" y="1557204"/>
                  <a:pt x="7022675" y="1561192"/>
                  <a:pt x="7021211" y="1564797"/>
                </a:cubicBezTo>
                <a:cubicBezTo>
                  <a:pt x="7019614" y="1568383"/>
                  <a:pt x="7017617" y="1571441"/>
                  <a:pt x="7015087" y="1574105"/>
                </a:cubicBezTo>
                <a:cubicBezTo>
                  <a:pt x="7012425" y="1576765"/>
                  <a:pt x="7009364" y="1578895"/>
                  <a:pt x="7005769" y="1580363"/>
                </a:cubicBezTo>
                <a:cubicBezTo>
                  <a:pt x="7002176" y="1581829"/>
                  <a:pt x="6998315" y="1582625"/>
                  <a:pt x="6994056" y="1582625"/>
                </a:cubicBezTo>
                <a:cubicBezTo>
                  <a:pt x="6985136" y="1582625"/>
                  <a:pt x="6977815" y="1579697"/>
                  <a:pt x="6972223" y="1574105"/>
                </a:cubicBezTo>
                <a:cubicBezTo>
                  <a:pt x="6966632" y="1568520"/>
                  <a:pt x="6963837" y="1561462"/>
                  <a:pt x="6963837" y="1552940"/>
                </a:cubicBezTo>
                <a:cubicBezTo>
                  <a:pt x="6963837" y="1544686"/>
                  <a:pt x="6966632" y="1537628"/>
                  <a:pt x="6972223" y="1531907"/>
                </a:cubicBezTo>
                <a:cubicBezTo>
                  <a:pt x="6977815" y="1526314"/>
                  <a:pt x="6985003" y="1523391"/>
                  <a:pt x="6994056" y="1523391"/>
                </a:cubicBezTo>
                <a:close/>
                <a:moveTo>
                  <a:pt x="6776544" y="1523391"/>
                </a:moveTo>
                <a:cubicBezTo>
                  <a:pt x="6780670" y="1523391"/>
                  <a:pt x="6784664" y="1524050"/>
                  <a:pt x="6788258" y="1525915"/>
                </a:cubicBezTo>
                <a:cubicBezTo>
                  <a:pt x="6791985" y="1527519"/>
                  <a:pt x="6795047" y="1529643"/>
                  <a:pt x="6797576" y="1532306"/>
                </a:cubicBezTo>
                <a:cubicBezTo>
                  <a:pt x="6800105" y="1534837"/>
                  <a:pt x="6802235" y="1538036"/>
                  <a:pt x="6803699" y="1541623"/>
                </a:cubicBezTo>
                <a:cubicBezTo>
                  <a:pt x="6805164" y="1545222"/>
                  <a:pt x="6805963" y="1549082"/>
                  <a:pt x="6805963" y="1553078"/>
                </a:cubicBezTo>
                <a:cubicBezTo>
                  <a:pt x="6805963" y="1557204"/>
                  <a:pt x="6805164" y="1561192"/>
                  <a:pt x="6803699" y="1564797"/>
                </a:cubicBezTo>
                <a:cubicBezTo>
                  <a:pt x="6802102" y="1568383"/>
                  <a:pt x="6800105" y="1571441"/>
                  <a:pt x="6797576" y="1574105"/>
                </a:cubicBezTo>
                <a:cubicBezTo>
                  <a:pt x="6794914" y="1576765"/>
                  <a:pt x="6791852" y="1578895"/>
                  <a:pt x="6788258" y="1580363"/>
                </a:cubicBezTo>
                <a:cubicBezTo>
                  <a:pt x="6784664" y="1581829"/>
                  <a:pt x="6780803" y="1582625"/>
                  <a:pt x="6776544" y="1582625"/>
                </a:cubicBezTo>
                <a:cubicBezTo>
                  <a:pt x="6767625" y="1582625"/>
                  <a:pt x="6760303" y="1579697"/>
                  <a:pt x="6754711" y="1574105"/>
                </a:cubicBezTo>
                <a:cubicBezTo>
                  <a:pt x="6749121" y="1568520"/>
                  <a:pt x="6746325" y="1561462"/>
                  <a:pt x="6746325" y="1552940"/>
                </a:cubicBezTo>
                <a:cubicBezTo>
                  <a:pt x="6746325" y="1544686"/>
                  <a:pt x="6749121" y="1537628"/>
                  <a:pt x="6754711" y="1531907"/>
                </a:cubicBezTo>
                <a:cubicBezTo>
                  <a:pt x="6760303" y="1526314"/>
                  <a:pt x="6767492" y="1523391"/>
                  <a:pt x="6776544" y="1523391"/>
                </a:cubicBezTo>
                <a:close/>
                <a:moveTo>
                  <a:pt x="6558899" y="1523391"/>
                </a:moveTo>
                <a:cubicBezTo>
                  <a:pt x="6563158" y="1523391"/>
                  <a:pt x="6567019" y="1524050"/>
                  <a:pt x="6570612" y="1525915"/>
                </a:cubicBezTo>
                <a:cubicBezTo>
                  <a:pt x="6574340" y="1527519"/>
                  <a:pt x="6577401" y="1529643"/>
                  <a:pt x="6579930" y="1532306"/>
                </a:cubicBezTo>
                <a:cubicBezTo>
                  <a:pt x="6582460" y="1534837"/>
                  <a:pt x="6584590" y="1538036"/>
                  <a:pt x="6586054" y="1541623"/>
                </a:cubicBezTo>
                <a:cubicBezTo>
                  <a:pt x="6587518" y="1545222"/>
                  <a:pt x="6588317" y="1549082"/>
                  <a:pt x="6588317" y="1553078"/>
                </a:cubicBezTo>
                <a:cubicBezTo>
                  <a:pt x="6588317" y="1557204"/>
                  <a:pt x="6587518" y="1561192"/>
                  <a:pt x="6586054" y="1564797"/>
                </a:cubicBezTo>
                <a:cubicBezTo>
                  <a:pt x="6584457" y="1568383"/>
                  <a:pt x="6582460" y="1571441"/>
                  <a:pt x="6579930" y="1574105"/>
                </a:cubicBezTo>
                <a:cubicBezTo>
                  <a:pt x="6577268" y="1576765"/>
                  <a:pt x="6574207" y="1578895"/>
                  <a:pt x="6570612" y="1580363"/>
                </a:cubicBezTo>
                <a:cubicBezTo>
                  <a:pt x="6567019" y="1581829"/>
                  <a:pt x="6563158" y="1582625"/>
                  <a:pt x="6558899" y="1582625"/>
                </a:cubicBezTo>
                <a:cubicBezTo>
                  <a:pt x="6549979" y="1582625"/>
                  <a:pt x="6542658" y="1579697"/>
                  <a:pt x="6537066" y="1574105"/>
                </a:cubicBezTo>
                <a:cubicBezTo>
                  <a:pt x="6531476" y="1568520"/>
                  <a:pt x="6528680" y="1561462"/>
                  <a:pt x="6528680" y="1552940"/>
                </a:cubicBezTo>
                <a:cubicBezTo>
                  <a:pt x="6528680" y="1544686"/>
                  <a:pt x="6531476" y="1537628"/>
                  <a:pt x="6537066" y="1531907"/>
                </a:cubicBezTo>
                <a:cubicBezTo>
                  <a:pt x="6542658" y="1526314"/>
                  <a:pt x="6549846" y="1523391"/>
                  <a:pt x="6558899" y="1523391"/>
                </a:cubicBezTo>
                <a:close/>
                <a:moveTo>
                  <a:pt x="6341253" y="1523391"/>
                </a:moveTo>
                <a:cubicBezTo>
                  <a:pt x="6345513" y="1523391"/>
                  <a:pt x="6349373" y="1524050"/>
                  <a:pt x="6352968" y="1525915"/>
                </a:cubicBezTo>
                <a:cubicBezTo>
                  <a:pt x="6356695" y="1527519"/>
                  <a:pt x="6359757" y="1529643"/>
                  <a:pt x="6362286" y="1532306"/>
                </a:cubicBezTo>
                <a:cubicBezTo>
                  <a:pt x="6364815" y="1534837"/>
                  <a:pt x="6366945" y="1538036"/>
                  <a:pt x="6368409" y="1541623"/>
                </a:cubicBezTo>
                <a:cubicBezTo>
                  <a:pt x="6369874" y="1545222"/>
                  <a:pt x="6370672" y="1549082"/>
                  <a:pt x="6370672" y="1553078"/>
                </a:cubicBezTo>
                <a:cubicBezTo>
                  <a:pt x="6370672" y="1557204"/>
                  <a:pt x="6369874" y="1561192"/>
                  <a:pt x="6368409" y="1564797"/>
                </a:cubicBezTo>
                <a:cubicBezTo>
                  <a:pt x="6366811" y="1568383"/>
                  <a:pt x="6364815" y="1571441"/>
                  <a:pt x="6362286" y="1574105"/>
                </a:cubicBezTo>
                <a:cubicBezTo>
                  <a:pt x="6359623" y="1576765"/>
                  <a:pt x="6356562" y="1578895"/>
                  <a:pt x="6352968" y="1580363"/>
                </a:cubicBezTo>
                <a:cubicBezTo>
                  <a:pt x="6349373" y="1581829"/>
                  <a:pt x="6345513" y="1582625"/>
                  <a:pt x="6341253" y="1582625"/>
                </a:cubicBezTo>
                <a:cubicBezTo>
                  <a:pt x="6332335" y="1582625"/>
                  <a:pt x="6325013" y="1579697"/>
                  <a:pt x="6319421" y="1574105"/>
                </a:cubicBezTo>
                <a:cubicBezTo>
                  <a:pt x="6313830" y="1568520"/>
                  <a:pt x="6311035" y="1561462"/>
                  <a:pt x="6311035" y="1552940"/>
                </a:cubicBezTo>
                <a:cubicBezTo>
                  <a:pt x="6311035" y="1544686"/>
                  <a:pt x="6313830" y="1537628"/>
                  <a:pt x="6319421" y="1531907"/>
                </a:cubicBezTo>
                <a:cubicBezTo>
                  <a:pt x="6325013" y="1526314"/>
                  <a:pt x="6332201" y="1523391"/>
                  <a:pt x="6341253" y="1523391"/>
                </a:cubicBezTo>
                <a:close/>
                <a:moveTo>
                  <a:pt x="6123608" y="1523391"/>
                </a:moveTo>
                <a:cubicBezTo>
                  <a:pt x="6127867" y="1523391"/>
                  <a:pt x="6131728" y="1524050"/>
                  <a:pt x="6135322" y="1525915"/>
                </a:cubicBezTo>
                <a:cubicBezTo>
                  <a:pt x="6139049" y="1527519"/>
                  <a:pt x="6142111" y="1529643"/>
                  <a:pt x="6144640" y="1532306"/>
                </a:cubicBezTo>
                <a:cubicBezTo>
                  <a:pt x="6147169" y="1534837"/>
                  <a:pt x="6149299" y="1538036"/>
                  <a:pt x="6150763" y="1541623"/>
                </a:cubicBezTo>
                <a:cubicBezTo>
                  <a:pt x="6152228" y="1545222"/>
                  <a:pt x="6153026" y="1549082"/>
                  <a:pt x="6153026" y="1553078"/>
                </a:cubicBezTo>
                <a:cubicBezTo>
                  <a:pt x="6153026" y="1557204"/>
                  <a:pt x="6152228" y="1561192"/>
                  <a:pt x="6150763" y="1564797"/>
                </a:cubicBezTo>
                <a:cubicBezTo>
                  <a:pt x="6149299" y="1568383"/>
                  <a:pt x="6147169" y="1571441"/>
                  <a:pt x="6144640" y="1574105"/>
                </a:cubicBezTo>
                <a:cubicBezTo>
                  <a:pt x="6141977" y="1576765"/>
                  <a:pt x="6138916" y="1578895"/>
                  <a:pt x="6135322" y="1580363"/>
                </a:cubicBezTo>
                <a:cubicBezTo>
                  <a:pt x="6131728" y="1581829"/>
                  <a:pt x="6127867" y="1582625"/>
                  <a:pt x="6123608" y="1582625"/>
                </a:cubicBezTo>
                <a:cubicBezTo>
                  <a:pt x="6114689" y="1582625"/>
                  <a:pt x="6107367" y="1579697"/>
                  <a:pt x="6101775" y="1574105"/>
                </a:cubicBezTo>
                <a:cubicBezTo>
                  <a:pt x="6096184" y="1568520"/>
                  <a:pt x="6093389" y="1561462"/>
                  <a:pt x="6093389" y="1552940"/>
                </a:cubicBezTo>
                <a:cubicBezTo>
                  <a:pt x="6093389" y="1544686"/>
                  <a:pt x="6096184" y="1537628"/>
                  <a:pt x="6101775" y="1531907"/>
                </a:cubicBezTo>
                <a:cubicBezTo>
                  <a:pt x="6107367" y="1526314"/>
                  <a:pt x="6114555" y="1523391"/>
                  <a:pt x="6123608" y="1523391"/>
                </a:cubicBezTo>
                <a:close/>
                <a:moveTo>
                  <a:pt x="5905963" y="1523391"/>
                </a:moveTo>
                <a:cubicBezTo>
                  <a:pt x="5910222" y="1523391"/>
                  <a:pt x="5914216" y="1524050"/>
                  <a:pt x="5917677" y="1525915"/>
                </a:cubicBezTo>
                <a:cubicBezTo>
                  <a:pt x="5921404" y="1527519"/>
                  <a:pt x="5924466" y="1529643"/>
                  <a:pt x="5926995" y="1532306"/>
                </a:cubicBezTo>
                <a:cubicBezTo>
                  <a:pt x="5929524" y="1534837"/>
                  <a:pt x="5931654" y="1538036"/>
                  <a:pt x="5933118" y="1541623"/>
                </a:cubicBezTo>
                <a:cubicBezTo>
                  <a:pt x="5934583" y="1545222"/>
                  <a:pt x="5935381" y="1549082"/>
                  <a:pt x="5935381" y="1553078"/>
                </a:cubicBezTo>
                <a:cubicBezTo>
                  <a:pt x="5935381" y="1557204"/>
                  <a:pt x="5934583" y="1561192"/>
                  <a:pt x="5933118" y="1564797"/>
                </a:cubicBezTo>
                <a:cubicBezTo>
                  <a:pt x="5931654" y="1568383"/>
                  <a:pt x="5929524" y="1571441"/>
                  <a:pt x="5926995" y="1574105"/>
                </a:cubicBezTo>
                <a:cubicBezTo>
                  <a:pt x="5924333" y="1576765"/>
                  <a:pt x="5921271" y="1578895"/>
                  <a:pt x="5917677" y="1580363"/>
                </a:cubicBezTo>
                <a:cubicBezTo>
                  <a:pt x="5914083" y="1581829"/>
                  <a:pt x="5910222" y="1582625"/>
                  <a:pt x="5905963" y="1582625"/>
                </a:cubicBezTo>
                <a:cubicBezTo>
                  <a:pt x="5897044" y="1582625"/>
                  <a:pt x="5889722" y="1579697"/>
                  <a:pt x="5884130" y="1574105"/>
                </a:cubicBezTo>
                <a:cubicBezTo>
                  <a:pt x="5878540" y="1568520"/>
                  <a:pt x="5875744" y="1561462"/>
                  <a:pt x="5875744" y="1552940"/>
                </a:cubicBezTo>
                <a:cubicBezTo>
                  <a:pt x="5875744" y="1544686"/>
                  <a:pt x="5878540" y="1537628"/>
                  <a:pt x="5884130" y="1531907"/>
                </a:cubicBezTo>
                <a:cubicBezTo>
                  <a:pt x="5889722" y="1526314"/>
                  <a:pt x="5896910" y="1523391"/>
                  <a:pt x="5905963" y="1523391"/>
                </a:cubicBezTo>
                <a:close/>
                <a:moveTo>
                  <a:pt x="5688451" y="1523391"/>
                </a:moveTo>
                <a:cubicBezTo>
                  <a:pt x="5692577" y="1523391"/>
                  <a:pt x="5696571" y="1524050"/>
                  <a:pt x="5700165" y="1525915"/>
                </a:cubicBezTo>
                <a:cubicBezTo>
                  <a:pt x="5703892" y="1527519"/>
                  <a:pt x="5706954" y="1529643"/>
                  <a:pt x="5709483" y="1532306"/>
                </a:cubicBezTo>
                <a:cubicBezTo>
                  <a:pt x="5712012" y="1534837"/>
                  <a:pt x="5714142" y="1538036"/>
                  <a:pt x="5715606" y="1541623"/>
                </a:cubicBezTo>
                <a:cubicBezTo>
                  <a:pt x="5717071" y="1545222"/>
                  <a:pt x="5717869" y="1549082"/>
                  <a:pt x="5717869" y="1553078"/>
                </a:cubicBezTo>
                <a:cubicBezTo>
                  <a:pt x="5717869" y="1557204"/>
                  <a:pt x="5717071" y="1561192"/>
                  <a:pt x="5715606" y="1564797"/>
                </a:cubicBezTo>
                <a:cubicBezTo>
                  <a:pt x="5714142" y="1568383"/>
                  <a:pt x="5712012" y="1571441"/>
                  <a:pt x="5709483" y="1574105"/>
                </a:cubicBezTo>
                <a:cubicBezTo>
                  <a:pt x="5706820" y="1576765"/>
                  <a:pt x="5703759" y="1578895"/>
                  <a:pt x="5700165" y="1580363"/>
                </a:cubicBezTo>
                <a:cubicBezTo>
                  <a:pt x="5696571" y="1581829"/>
                  <a:pt x="5692710" y="1582625"/>
                  <a:pt x="5688451" y="1582625"/>
                </a:cubicBezTo>
                <a:cubicBezTo>
                  <a:pt x="5679532" y="1582625"/>
                  <a:pt x="5672210" y="1579697"/>
                  <a:pt x="5666618" y="1574105"/>
                </a:cubicBezTo>
                <a:cubicBezTo>
                  <a:pt x="5661028" y="1568520"/>
                  <a:pt x="5658232" y="1561462"/>
                  <a:pt x="5658232" y="1552940"/>
                </a:cubicBezTo>
                <a:cubicBezTo>
                  <a:pt x="5658232" y="1544686"/>
                  <a:pt x="5661028" y="1537628"/>
                  <a:pt x="5666618" y="1531907"/>
                </a:cubicBezTo>
                <a:cubicBezTo>
                  <a:pt x="5672210" y="1526314"/>
                  <a:pt x="5679398" y="1523391"/>
                  <a:pt x="5688451" y="1523391"/>
                </a:cubicBezTo>
                <a:close/>
                <a:moveTo>
                  <a:pt x="5470806" y="1523391"/>
                </a:moveTo>
                <a:cubicBezTo>
                  <a:pt x="5475065" y="1523391"/>
                  <a:pt x="5478926" y="1524050"/>
                  <a:pt x="5482520" y="1525915"/>
                </a:cubicBezTo>
                <a:cubicBezTo>
                  <a:pt x="5486247" y="1527519"/>
                  <a:pt x="5489309" y="1529643"/>
                  <a:pt x="5491838" y="1532306"/>
                </a:cubicBezTo>
                <a:cubicBezTo>
                  <a:pt x="5494367" y="1534837"/>
                  <a:pt x="5496497" y="1538036"/>
                  <a:pt x="5497961" y="1541623"/>
                </a:cubicBezTo>
                <a:cubicBezTo>
                  <a:pt x="5499426" y="1545222"/>
                  <a:pt x="5500224" y="1549082"/>
                  <a:pt x="5500224" y="1553078"/>
                </a:cubicBezTo>
                <a:cubicBezTo>
                  <a:pt x="5500224" y="1557204"/>
                  <a:pt x="5499426" y="1561192"/>
                  <a:pt x="5497961" y="1564797"/>
                </a:cubicBezTo>
                <a:cubicBezTo>
                  <a:pt x="5496497" y="1568383"/>
                  <a:pt x="5494367" y="1571441"/>
                  <a:pt x="5491838" y="1574105"/>
                </a:cubicBezTo>
                <a:cubicBezTo>
                  <a:pt x="5489176" y="1576765"/>
                  <a:pt x="5486114" y="1578895"/>
                  <a:pt x="5482520" y="1580363"/>
                </a:cubicBezTo>
                <a:cubicBezTo>
                  <a:pt x="5478926" y="1581829"/>
                  <a:pt x="5475065" y="1582625"/>
                  <a:pt x="5470806" y="1582625"/>
                </a:cubicBezTo>
                <a:cubicBezTo>
                  <a:pt x="5461887" y="1582625"/>
                  <a:pt x="5454565" y="1579697"/>
                  <a:pt x="5448973" y="1574105"/>
                </a:cubicBezTo>
                <a:cubicBezTo>
                  <a:pt x="5443383" y="1568520"/>
                  <a:pt x="5440587" y="1561462"/>
                  <a:pt x="5440587" y="1552940"/>
                </a:cubicBezTo>
                <a:cubicBezTo>
                  <a:pt x="5440587" y="1544686"/>
                  <a:pt x="5443383" y="1537628"/>
                  <a:pt x="5448973" y="1531907"/>
                </a:cubicBezTo>
                <a:cubicBezTo>
                  <a:pt x="5454565" y="1526314"/>
                  <a:pt x="5461754" y="1523391"/>
                  <a:pt x="5470806" y="1523391"/>
                </a:cubicBezTo>
                <a:close/>
                <a:moveTo>
                  <a:pt x="5253160" y="1523391"/>
                </a:moveTo>
                <a:cubicBezTo>
                  <a:pt x="5257420" y="1523391"/>
                  <a:pt x="5261280" y="1524050"/>
                  <a:pt x="5264875" y="1525915"/>
                </a:cubicBezTo>
                <a:cubicBezTo>
                  <a:pt x="5268602" y="1527519"/>
                  <a:pt x="5271664" y="1529643"/>
                  <a:pt x="5274192" y="1532306"/>
                </a:cubicBezTo>
                <a:cubicBezTo>
                  <a:pt x="5276722" y="1534837"/>
                  <a:pt x="5278852" y="1538036"/>
                  <a:pt x="5280316" y="1541623"/>
                </a:cubicBezTo>
                <a:cubicBezTo>
                  <a:pt x="5281780" y="1545222"/>
                  <a:pt x="5282579" y="1549082"/>
                  <a:pt x="5282579" y="1553078"/>
                </a:cubicBezTo>
                <a:cubicBezTo>
                  <a:pt x="5282579" y="1557204"/>
                  <a:pt x="5281780" y="1561192"/>
                  <a:pt x="5280316" y="1564797"/>
                </a:cubicBezTo>
                <a:cubicBezTo>
                  <a:pt x="5278852" y="1568383"/>
                  <a:pt x="5276722" y="1571441"/>
                  <a:pt x="5274192" y="1574105"/>
                </a:cubicBezTo>
                <a:cubicBezTo>
                  <a:pt x="5271664" y="1576765"/>
                  <a:pt x="5268469" y="1578895"/>
                  <a:pt x="5264875" y="1580363"/>
                </a:cubicBezTo>
                <a:cubicBezTo>
                  <a:pt x="5261280" y="1581829"/>
                  <a:pt x="5257420" y="1582625"/>
                  <a:pt x="5253160" y="1582625"/>
                </a:cubicBezTo>
                <a:cubicBezTo>
                  <a:pt x="5244241" y="1582625"/>
                  <a:pt x="5236920" y="1579697"/>
                  <a:pt x="5231328" y="1574105"/>
                </a:cubicBezTo>
                <a:cubicBezTo>
                  <a:pt x="5225737" y="1568520"/>
                  <a:pt x="5222942" y="1561462"/>
                  <a:pt x="5222942" y="1552940"/>
                </a:cubicBezTo>
                <a:cubicBezTo>
                  <a:pt x="5222942" y="1544686"/>
                  <a:pt x="5225737" y="1537628"/>
                  <a:pt x="5231328" y="1531907"/>
                </a:cubicBezTo>
                <a:cubicBezTo>
                  <a:pt x="5236920" y="1526314"/>
                  <a:pt x="5244108" y="1523391"/>
                  <a:pt x="5253160" y="1523391"/>
                </a:cubicBezTo>
                <a:close/>
                <a:moveTo>
                  <a:pt x="5035515" y="1523391"/>
                </a:moveTo>
                <a:cubicBezTo>
                  <a:pt x="5039775" y="1523391"/>
                  <a:pt x="5043636" y="1524050"/>
                  <a:pt x="5047230" y="1525915"/>
                </a:cubicBezTo>
                <a:cubicBezTo>
                  <a:pt x="5050957" y="1527519"/>
                  <a:pt x="5054019" y="1529643"/>
                  <a:pt x="5056548" y="1532306"/>
                </a:cubicBezTo>
                <a:cubicBezTo>
                  <a:pt x="5059077" y="1534837"/>
                  <a:pt x="5061207" y="1538036"/>
                  <a:pt x="5062671" y="1541623"/>
                </a:cubicBezTo>
                <a:cubicBezTo>
                  <a:pt x="5064135" y="1545222"/>
                  <a:pt x="5064934" y="1549082"/>
                  <a:pt x="5064934" y="1553078"/>
                </a:cubicBezTo>
                <a:cubicBezTo>
                  <a:pt x="5064934" y="1557204"/>
                  <a:pt x="5064135" y="1561192"/>
                  <a:pt x="5062671" y="1564797"/>
                </a:cubicBezTo>
                <a:cubicBezTo>
                  <a:pt x="5061207" y="1568383"/>
                  <a:pt x="5059077" y="1571441"/>
                  <a:pt x="5056548" y="1574105"/>
                </a:cubicBezTo>
                <a:cubicBezTo>
                  <a:pt x="5053885" y="1576765"/>
                  <a:pt x="5050824" y="1578895"/>
                  <a:pt x="5047230" y="1580363"/>
                </a:cubicBezTo>
                <a:cubicBezTo>
                  <a:pt x="5043636" y="1581829"/>
                  <a:pt x="5039775" y="1582625"/>
                  <a:pt x="5035515" y="1582625"/>
                </a:cubicBezTo>
                <a:cubicBezTo>
                  <a:pt x="5026597" y="1582625"/>
                  <a:pt x="5019275" y="1579697"/>
                  <a:pt x="5013683" y="1574105"/>
                </a:cubicBezTo>
                <a:cubicBezTo>
                  <a:pt x="5008092" y="1568520"/>
                  <a:pt x="5005297" y="1561462"/>
                  <a:pt x="5005297" y="1552940"/>
                </a:cubicBezTo>
                <a:cubicBezTo>
                  <a:pt x="5005297" y="1544686"/>
                  <a:pt x="5008092" y="1537628"/>
                  <a:pt x="5013683" y="1531907"/>
                </a:cubicBezTo>
                <a:cubicBezTo>
                  <a:pt x="5019275" y="1526314"/>
                  <a:pt x="5026463" y="1523391"/>
                  <a:pt x="5035515" y="1523391"/>
                </a:cubicBezTo>
                <a:close/>
                <a:moveTo>
                  <a:pt x="4817870" y="1523391"/>
                </a:moveTo>
                <a:cubicBezTo>
                  <a:pt x="4822130" y="1523391"/>
                  <a:pt x="4826124" y="1524050"/>
                  <a:pt x="4829585" y="1525915"/>
                </a:cubicBezTo>
                <a:cubicBezTo>
                  <a:pt x="4833312" y="1527519"/>
                  <a:pt x="4836374" y="1529643"/>
                  <a:pt x="4838903" y="1532306"/>
                </a:cubicBezTo>
                <a:cubicBezTo>
                  <a:pt x="4841432" y="1534837"/>
                  <a:pt x="4843562" y="1538036"/>
                  <a:pt x="4845026" y="1541623"/>
                </a:cubicBezTo>
                <a:cubicBezTo>
                  <a:pt x="4846491" y="1545222"/>
                  <a:pt x="4847289" y="1549082"/>
                  <a:pt x="4847289" y="1553078"/>
                </a:cubicBezTo>
                <a:cubicBezTo>
                  <a:pt x="4847289" y="1557204"/>
                  <a:pt x="4846491" y="1561192"/>
                  <a:pt x="4845026" y="1564797"/>
                </a:cubicBezTo>
                <a:cubicBezTo>
                  <a:pt x="4843562" y="1568383"/>
                  <a:pt x="4841432" y="1571441"/>
                  <a:pt x="4838903" y="1574105"/>
                </a:cubicBezTo>
                <a:cubicBezTo>
                  <a:pt x="4836240" y="1576765"/>
                  <a:pt x="4833179" y="1578895"/>
                  <a:pt x="4829585" y="1580363"/>
                </a:cubicBezTo>
                <a:cubicBezTo>
                  <a:pt x="4825991" y="1581829"/>
                  <a:pt x="4822130" y="1582625"/>
                  <a:pt x="4817870" y="1582625"/>
                </a:cubicBezTo>
                <a:cubicBezTo>
                  <a:pt x="4808952" y="1582625"/>
                  <a:pt x="4801630" y="1579697"/>
                  <a:pt x="4796038" y="1574105"/>
                </a:cubicBezTo>
                <a:cubicBezTo>
                  <a:pt x="4790447" y="1568520"/>
                  <a:pt x="4787652" y="1561462"/>
                  <a:pt x="4787652" y="1552940"/>
                </a:cubicBezTo>
                <a:cubicBezTo>
                  <a:pt x="4787652" y="1544686"/>
                  <a:pt x="4790447" y="1537628"/>
                  <a:pt x="4796038" y="1531907"/>
                </a:cubicBezTo>
                <a:cubicBezTo>
                  <a:pt x="4801630" y="1526314"/>
                  <a:pt x="4808818" y="1523391"/>
                  <a:pt x="4817870" y="1523391"/>
                </a:cubicBezTo>
                <a:close/>
                <a:moveTo>
                  <a:pt x="4600226" y="1523391"/>
                </a:moveTo>
                <a:cubicBezTo>
                  <a:pt x="4604485" y="1523391"/>
                  <a:pt x="4608479" y="1524050"/>
                  <a:pt x="4612073" y="1525915"/>
                </a:cubicBezTo>
                <a:cubicBezTo>
                  <a:pt x="4615800" y="1527519"/>
                  <a:pt x="4618862" y="1529643"/>
                  <a:pt x="4621391" y="1532306"/>
                </a:cubicBezTo>
                <a:cubicBezTo>
                  <a:pt x="4623920" y="1534837"/>
                  <a:pt x="4626050" y="1538036"/>
                  <a:pt x="4627514" y="1541623"/>
                </a:cubicBezTo>
                <a:cubicBezTo>
                  <a:pt x="4628978" y="1545222"/>
                  <a:pt x="4629777" y="1549082"/>
                  <a:pt x="4629777" y="1553078"/>
                </a:cubicBezTo>
                <a:cubicBezTo>
                  <a:pt x="4629777" y="1557204"/>
                  <a:pt x="4628978" y="1561192"/>
                  <a:pt x="4627514" y="1564797"/>
                </a:cubicBezTo>
                <a:cubicBezTo>
                  <a:pt x="4626050" y="1568383"/>
                  <a:pt x="4623920" y="1571441"/>
                  <a:pt x="4621391" y="1574105"/>
                </a:cubicBezTo>
                <a:cubicBezTo>
                  <a:pt x="4618729" y="1576765"/>
                  <a:pt x="4615667" y="1578895"/>
                  <a:pt x="4612073" y="1580363"/>
                </a:cubicBezTo>
                <a:cubicBezTo>
                  <a:pt x="4608346" y="1581829"/>
                  <a:pt x="4604485" y="1582625"/>
                  <a:pt x="4600226" y="1582625"/>
                </a:cubicBezTo>
                <a:cubicBezTo>
                  <a:pt x="4591173" y="1582625"/>
                  <a:pt x="4583985" y="1579697"/>
                  <a:pt x="4578393" y="1574105"/>
                </a:cubicBezTo>
                <a:cubicBezTo>
                  <a:pt x="4572803" y="1568520"/>
                  <a:pt x="4570007" y="1561462"/>
                  <a:pt x="4570007" y="1552940"/>
                </a:cubicBezTo>
                <a:cubicBezTo>
                  <a:pt x="4570007" y="1544686"/>
                  <a:pt x="4572803" y="1537628"/>
                  <a:pt x="4578393" y="1531907"/>
                </a:cubicBezTo>
                <a:cubicBezTo>
                  <a:pt x="4583985" y="1526314"/>
                  <a:pt x="4591173" y="1523391"/>
                  <a:pt x="4600226" y="1523391"/>
                </a:cubicBezTo>
                <a:close/>
                <a:moveTo>
                  <a:pt x="4382713" y="1523391"/>
                </a:moveTo>
                <a:cubicBezTo>
                  <a:pt x="4386840" y="1523391"/>
                  <a:pt x="4390834" y="1524050"/>
                  <a:pt x="4394428" y="1525915"/>
                </a:cubicBezTo>
                <a:cubicBezTo>
                  <a:pt x="4398155" y="1527519"/>
                  <a:pt x="4401217" y="1529643"/>
                  <a:pt x="4403746" y="1532306"/>
                </a:cubicBezTo>
                <a:cubicBezTo>
                  <a:pt x="4406275" y="1534837"/>
                  <a:pt x="4408405" y="1538036"/>
                  <a:pt x="4409869" y="1541623"/>
                </a:cubicBezTo>
                <a:cubicBezTo>
                  <a:pt x="4411334" y="1545222"/>
                  <a:pt x="4412132" y="1549082"/>
                  <a:pt x="4412132" y="1553078"/>
                </a:cubicBezTo>
                <a:cubicBezTo>
                  <a:pt x="4412132" y="1557204"/>
                  <a:pt x="4411334" y="1561192"/>
                  <a:pt x="4409869" y="1564797"/>
                </a:cubicBezTo>
                <a:cubicBezTo>
                  <a:pt x="4408405" y="1568383"/>
                  <a:pt x="4406275" y="1571441"/>
                  <a:pt x="4403746" y="1574105"/>
                </a:cubicBezTo>
                <a:cubicBezTo>
                  <a:pt x="4401083" y="1576765"/>
                  <a:pt x="4398022" y="1578895"/>
                  <a:pt x="4394428" y="1580363"/>
                </a:cubicBezTo>
                <a:cubicBezTo>
                  <a:pt x="4390834" y="1581829"/>
                  <a:pt x="4386973" y="1582625"/>
                  <a:pt x="4382713" y="1582625"/>
                </a:cubicBezTo>
                <a:cubicBezTo>
                  <a:pt x="4373661" y="1582625"/>
                  <a:pt x="4366473" y="1579697"/>
                  <a:pt x="4360881" y="1574105"/>
                </a:cubicBezTo>
                <a:cubicBezTo>
                  <a:pt x="4355290" y="1568520"/>
                  <a:pt x="4352495" y="1561462"/>
                  <a:pt x="4352495" y="1552940"/>
                </a:cubicBezTo>
                <a:cubicBezTo>
                  <a:pt x="4352495" y="1544686"/>
                  <a:pt x="4355290" y="1537628"/>
                  <a:pt x="4360881" y="1531907"/>
                </a:cubicBezTo>
                <a:cubicBezTo>
                  <a:pt x="4366473" y="1526314"/>
                  <a:pt x="4373661" y="1523391"/>
                  <a:pt x="4382713" y="1523391"/>
                </a:cubicBezTo>
                <a:close/>
                <a:moveTo>
                  <a:pt x="4165068" y="1523391"/>
                </a:moveTo>
                <a:cubicBezTo>
                  <a:pt x="4169327" y="1523391"/>
                  <a:pt x="4173188" y="1524050"/>
                  <a:pt x="4176782" y="1525915"/>
                </a:cubicBezTo>
                <a:cubicBezTo>
                  <a:pt x="4180509" y="1527519"/>
                  <a:pt x="4183571" y="1529643"/>
                  <a:pt x="4186100" y="1532306"/>
                </a:cubicBezTo>
                <a:cubicBezTo>
                  <a:pt x="4188629" y="1534837"/>
                  <a:pt x="4190759" y="1538036"/>
                  <a:pt x="4192223" y="1541623"/>
                </a:cubicBezTo>
                <a:cubicBezTo>
                  <a:pt x="4193688" y="1545222"/>
                  <a:pt x="4194486" y="1549082"/>
                  <a:pt x="4194486" y="1553078"/>
                </a:cubicBezTo>
                <a:cubicBezTo>
                  <a:pt x="4194486" y="1557204"/>
                  <a:pt x="4193688" y="1561192"/>
                  <a:pt x="4192223" y="1564797"/>
                </a:cubicBezTo>
                <a:cubicBezTo>
                  <a:pt x="4190759" y="1568383"/>
                  <a:pt x="4188629" y="1571441"/>
                  <a:pt x="4186100" y="1574105"/>
                </a:cubicBezTo>
                <a:cubicBezTo>
                  <a:pt x="4183438" y="1576765"/>
                  <a:pt x="4180376" y="1578895"/>
                  <a:pt x="4176782" y="1580363"/>
                </a:cubicBezTo>
                <a:cubicBezTo>
                  <a:pt x="4173188" y="1581829"/>
                  <a:pt x="4169327" y="1582625"/>
                  <a:pt x="4165068" y="1582625"/>
                </a:cubicBezTo>
                <a:cubicBezTo>
                  <a:pt x="4156015" y="1582625"/>
                  <a:pt x="4148827" y="1579697"/>
                  <a:pt x="4143235" y="1574105"/>
                </a:cubicBezTo>
                <a:cubicBezTo>
                  <a:pt x="4137645" y="1568520"/>
                  <a:pt x="4134849" y="1561462"/>
                  <a:pt x="4134849" y="1552940"/>
                </a:cubicBezTo>
                <a:cubicBezTo>
                  <a:pt x="4134849" y="1544686"/>
                  <a:pt x="4137645" y="1537628"/>
                  <a:pt x="4143235" y="1531907"/>
                </a:cubicBezTo>
                <a:cubicBezTo>
                  <a:pt x="4148827" y="1526314"/>
                  <a:pt x="4156015" y="1523391"/>
                  <a:pt x="4165068" y="1523391"/>
                </a:cubicBezTo>
                <a:close/>
                <a:moveTo>
                  <a:pt x="3947512" y="1523391"/>
                </a:moveTo>
                <a:cubicBezTo>
                  <a:pt x="3951772" y="1523391"/>
                  <a:pt x="3955631" y="1524050"/>
                  <a:pt x="3959227" y="1525915"/>
                </a:cubicBezTo>
                <a:cubicBezTo>
                  <a:pt x="3962955" y="1527519"/>
                  <a:pt x="3966016" y="1529643"/>
                  <a:pt x="3968545" y="1532306"/>
                </a:cubicBezTo>
                <a:cubicBezTo>
                  <a:pt x="3971075" y="1534837"/>
                  <a:pt x="3973205" y="1538036"/>
                  <a:pt x="3974669" y="1541623"/>
                </a:cubicBezTo>
                <a:cubicBezTo>
                  <a:pt x="3976133" y="1545222"/>
                  <a:pt x="3976932" y="1549082"/>
                  <a:pt x="3976932" y="1553078"/>
                </a:cubicBezTo>
                <a:cubicBezTo>
                  <a:pt x="3976932" y="1557204"/>
                  <a:pt x="3976133" y="1561192"/>
                  <a:pt x="3974669" y="1564797"/>
                </a:cubicBezTo>
                <a:cubicBezTo>
                  <a:pt x="3973205" y="1568383"/>
                  <a:pt x="3971075" y="1571441"/>
                  <a:pt x="3968545" y="1574105"/>
                </a:cubicBezTo>
                <a:cubicBezTo>
                  <a:pt x="3965883" y="1576765"/>
                  <a:pt x="3962822" y="1578895"/>
                  <a:pt x="3959227" y="1580363"/>
                </a:cubicBezTo>
                <a:cubicBezTo>
                  <a:pt x="3955631" y="1581829"/>
                  <a:pt x="3951772" y="1582625"/>
                  <a:pt x="3947512" y="1582625"/>
                </a:cubicBezTo>
                <a:cubicBezTo>
                  <a:pt x="3938459" y="1582625"/>
                  <a:pt x="3931272" y="1579697"/>
                  <a:pt x="3925679" y="1574105"/>
                </a:cubicBezTo>
                <a:cubicBezTo>
                  <a:pt x="3920088" y="1568520"/>
                  <a:pt x="3917293" y="1561462"/>
                  <a:pt x="3917293" y="1552940"/>
                </a:cubicBezTo>
                <a:cubicBezTo>
                  <a:pt x="3917293" y="1544686"/>
                  <a:pt x="3920088" y="1537628"/>
                  <a:pt x="3925679" y="1531907"/>
                </a:cubicBezTo>
                <a:cubicBezTo>
                  <a:pt x="3931272" y="1526314"/>
                  <a:pt x="3938459" y="1523391"/>
                  <a:pt x="3947512" y="1523391"/>
                </a:cubicBezTo>
                <a:close/>
                <a:moveTo>
                  <a:pt x="3729862" y="1523391"/>
                </a:moveTo>
                <a:cubicBezTo>
                  <a:pt x="3734123" y="1523391"/>
                  <a:pt x="3738115" y="1524050"/>
                  <a:pt x="3741577" y="1525915"/>
                </a:cubicBezTo>
                <a:cubicBezTo>
                  <a:pt x="3745171" y="1527519"/>
                  <a:pt x="3748367" y="1529643"/>
                  <a:pt x="3750896" y="1532306"/>
                </a:cubicBezTo>
                <a:cubicBezTo>
                  <a:pt x="3753425" y="1534837"/>
                  <a:pt x="3755554" y="1538036"/>
                  <a:pt x="3757018" y="1541623"/>
                </a:cubicBezTo>
                <a:cubicBezTo>
                  <a:pt x="3758482" y="1545222"/>
                  <a:pt x="3759281" y="1549082"/>
                  <a:pt x="3759281" y="1553078"/>
                </a:cubicBezTo>
                <a:cubicBezTo>
                  <a:pt x="3759281" y="1557204"/>
                  <a:pt x="3758482" y="1561192"/>
                  <a:pt x="3757018" y="1564797"/>
                </a:cubicBezTo>
                <a:cubicBezTo>
                  <a:pt x="3755554" y="1568383"/>
                  <a:pt x="3753425" y="1571441"/>
                  <a:pt x="3750896" y="1574105"/>
                </a:cubicBezTo>
                <a:cubicBezTo>
                  <a:pt x="3748233" y="1576765"/>
                  <a:pt x="3745171" y="1578895"/>
                  <a:pt x="3741577" y="1580363"/>
                </a:cubicBezTo>
                <a:cubicBezTo>
                  <a:pt x="3737983" y="1581829"/>
                  <a:pt x="3734123" y="1582625"/>
                  <a:pt x="3729862" y="1582625"/>
                </a:cubicBezTo>
                <a:cubicBezTo>
                  <a:pt x="3720810" y="1582625"/>
                  <a:pt x="3713622" y="1579697"/>
                  <a:pt x="3708029" y="1574105"/>
                </a:cubicBezTo>
                <a:cubicBezTo>
                  <a:pt x="3702436" y="1568520"/>
                  <a:pt x="3699643" y="1561462"/>
                  <a:pt x="3699643" y="1552940"/>
                </a:cubicBezTo>
                <a:cubicBezTo>
                  <a:pt x="3699643" y="1544686"/>
                  <a:pt x="3702436" y="1537628"/>
                  <a:pt x="3708029" y="1531907"/>
                </a:cubicBezTo>
                <a:cubicBezTo>
                  <a:pt x="3713622" y="1526314"/>
                  <a:pt x="3720810" y="1523391"/>
                  <a:pt x="3729862" y="1523391"/>
                </a:cubicBezTo>
                <a:close/>
                <a:moveTo>
                  <a:pt x="3512212" y="1523391"/>
                </a:moveTo>
                <a:cubicBezTo>
                  <a:pt x="3516473" y="1523391"/>
                  <a:pt x="3520466" y="1524050"/>
                  <a:pt x="3523928" y="1525915"/>
                </a:cubicBezTo>
                <a:cubicBezTo>
                  <a:pt x="3527521" y="1527519"/>
                  <a:pt x="3530717" y="1529643"/>
                  <a:pt x="3533246" y="1532306"/>
                </a:cubicBezTo>
                <a:cubicBezTo>
                  <a:pt x="3535775" y="1534837"/>
                  <a:pt x="3537905" y="1538036"/>
                  <a:pt x="3539369" y="1541623"/>
                </a:cubicBezTo>
                <a:cubicBezTo>
                  <a:pt x="3540833" y="1545222"/>
                  <a:pt x="3541632" y="1549082"/>
                  <a:pt x="3541632" y="1553078"/>
                </a:cubicBezTo>
                <a:cubicBezTo>
                  <a:pt x="3541632" y="1557204"/>
                  <a:pt x="3540833" y="1561192"/>
                  <a:pt x="3539369" y="1564797"/>
                </a:cubicBezTo>
                <a:cubicBezTo>
                  <a:pt x="3537905" y="1568383"/>
                  <a:pt x="3535775" y="1571441"/>
                  <a:pt x="3533246" y="1574105"/>
                </a:cubicBezTo>
                <a:cubicBezTo>
                  <a:pt x="3530583" y="1576765"/>
                  <a:pt x="3527521" y="1578895"/>
                  <a:pt x="3523928" y="1580363"/>
                </a:cubicBezTo>
                <a:cubicBezTo>
                  <a:pt x="3520334" y="1581829"/>
                  <a:pt x="3516473" y="1582625"/>
                  <a:pt x="3512212" y="1582625"/>
                </a:cubicBezTo>
                <a:cubicBezTo>
                  <a:pt x="3503159" y="1582625"/>
                  <a:pt x="3495970" y="1579697"/>
                  <a:pt x="3490379" y="1574105"/>
                </a:cubicBezTo>
                <a:cubicBezTo>
                  <a:pt x="3484788" y="1568520"/>
                  <a:pt x="3481993" y="1561462"/>
                  <a:pt x="3481993" y="1552940"/>
                </a:cubicBezTo>
                <a:cubicBezTo>
                  <a:pt x="3481993" y="1544686"/>
                  <a:pt x="3484788" y="1537628"/>
                  <a:pt x="3490379" y="1531907"/>
                </a:cubicBezTo>
                <a:cubicBezTo>
                  <a:pt x="3495970" y="1526314"/>
                  <a:pt x="3503159" y="1523391"/>
                  <a:pt x="3512212" y="1523391"/>
                </a:cubicBezTo>
                <a:close/>
                <a:moveTo>
                  <a:pt x="3294696" y="1523391"/>
                </a:moveTo>
                <a:cubicBezTo>
                  <a:pt x="3298823" y="1523391"/>
                  <a:pt x="3302817" y="1524050"/>
                  <a:pt x="3306411" y="1525915"/>
                </a:cubicBezTo>
                <a:cubicBezTo>
                  <a:pt x="3310138" y="1527519"/>
                  <a:pt x="3313200" y="1529643"/>
                  <a:pt x="3315729" y="1532306"/>
                </a:cubicBezTo>
                <a:cubicBezTo>
                  <a:pt x="3318258" y="1534837"/>
                  <a:pt x="3320389" y="1538036"/>
                  <a:pt x="3321853" y="1541623"/>
                </a:cubicBezTo>
                <a:cubicBezTo>
                  <a:pt x="3323317" y="1545222"/>
                  <a:pt x="3324116" y="1549082"/>
                  <a:pt x="3324116" y="1553078"/>
                </a:cubicBezTo>
                <a:cubicBezTo>
                  <a:pt x="3324116" y="1557204"/>
                  <a:pt x="3323317" y="1561192"/>
                  <a:pt x="3321853" y="1564797"/>
                </a:cubicBezTo>
                <a:cubicBezTo>
                  <a:pt x="3320389" y="1568383"/>
                  <a:pt x="3318258" y="1571441"/>
                  <a:pt x="3315729" y="1574105"/>
                </a:cubicBezTo>
                <a:cubicBezTo>
                  <a:pt x="3313066" y="1576765"/>
                  <a:pt x="3310005" y="1578895"/>
                  <a:pt x="3306411" y="1580363"/>
                </a:cubicBezTo>
                <a:cubicBezTo>
                  <a:pt x="3302817" y="1581829"/>
                  <a:pt x="3298956" y="1582625"/>
                  <a:pt x="3294696" y="1582625"/>
                </a:cubicBezTo>
                <a:cubicBezTo>
                  <a:pt x="3285644" y="1582625"/>
                  <a:pt x="3278455" y="1579697"/>
                  <a:pt x="3272863" y="1574105"/>
                </a:cubicBezTo>
                <a:cubicBezTo>
                  <a:pt x="3267271" y="1568520"/>
                  <a:pt x="3264476" y="1561462"/>
                  <a:pt x="3264476" y="1552940"/>
                </a:cubicBezTo>
                <a:cubicBezTo>
                  <a:pt x="3264476" y="1544686"/>
                  <a:pt x="3267271" y="1537628"/>
                  <a:pt x="3272863" y="1531907"/>
                </a:cubicBezTo>
                <a:cubicBezTo>
                  <a:pt x="3278455" y="1526314"/>
                  <a:pt x="3285644" y="1523391"/>
                  <a:pt x="3294696" y="1523391"/>
                </a:cubicBezTo>
                <a:close/>
                <a:moveTo>
                  <a:pt x="3077046" y="1523391"/>
                </a:moveTo>
                <a:cubicBezTo>
                  <a:pt x="3081174" y="1523391"/>
                  <a:pt x="3085167" y="1524050"/>
                  <a:pt x="3088762" y="1525915"/>
                </a:cubicBezTo>
                <a:cubicBezTo>
                  <a:pt x="3092356" y="1527519"/>
                  <a:pt x="3095551" y="1529643"/>
                  <a:pt x="3098080" y="1532306"/>
                </a:cubicBezTo>
                <a:cubicBezTo>
                  <a:pt x="3100609" y="1534837"/>
                  <a:pt x="3102739" y="1538036"/>
                  <a:pt x="3104203" y="1541623"/>
                </a:cubicBezTo>
                <a:cubicBezTo>
                  <a:pt x="3105668" y="1545222"/>
                  <a:pt x="3106466" y="1549082"/>
                  <a:pt x="3106466" y="1553078"/>
                </a:cubicBezTo>
                <a:cubicBezTo>
                  <a:pt x="3106466" y="1557204"/>
                  <a:pt x="3105668" y="1561192"/>
                  <a:pt x="3104203" y="1564797"/>
                </a:cubicBezTo>
                <a:cubicBezTo>
                  <a:pt x="3102739" y="1568383"/>
                  <a:pt x="3100609" y="1571441"/>
                  <a:pt x="3098080" y="1574105"/>
                </a:cubicBezTo>
                <a:cubicBezTo>
                  <a:pt x="3095417" y="1576765"/>
                  <a:pt x="3092356" y="1578895"/>
                  <a:pt x="3088762" y="1580363"/>
                </a:cubicBezTo>
                <a:cubicBezTo>
                  <a:pt x="3085167" y="1581829"/>
                  <a:pt x="3081306" y="1582625"/>
                  <a:pt x="3077046" y="1582625"/>
                </a:cubicBezTo>
                <a:cubicBezTo>
                  <a:pt x="3068127" y="1582625"/>
                  <a:pt x="3060805" y="1579697"/>
                  <a:pt x="3055213" y="1574105"/>
                </a:cubicBezTo>
                <a:cubicBezTo>
                  <a:pt x="3049622" y="1568520"/>
                  <a:pt x="3046827" y="1561462"/>
                  <a:pt x="3046827" y="1552940"/>
                </a:cubicBezTo>
                <a:cubicBezTo>
                  <a:pt x="3046827" y="1544686"/>
                  <a:pt x="3049622" y="1537628"/>
                  <a:pt x="3055213" y="1531907"/>
                </a:cubicBezTo>
                <a:cubicBezTo>
                  <a:pt x="3060805" y="1526314"/>
                  <a:pt x="3067994" y="1523391"/>
                  <a:pt x="3077046" y="1523391"/>
                </a:cubicBezTo>
                <a:close/>
                <a:moveTo>
                  <a:pt x="2859397" y="1523391"/>
                </a:moveTo>
                <a:cubicBezTo>
                  <a:pt x="2863657" y="1523391"/>
                  <a:pt x="2867518" y="1524050"/>
                  <a:pt x="2871245" y="1525915"/>
                </a:cubicBezTo>
                <a:cubicBezTo>
                  <a:pt x="2874972" y="1527519"/>
                  <a:pt x="2878034" y="1529643"/>
                  <a:pt x="2880563" y="1532306"/>
                </a:cubicBezTo>
                <a:cubicBezTo>
                  <a:pt x="2883225" y="1534837"/>
                  <a:pt x="2885222" y="1538036"/>
                  <a:pt x="2886686" y="1541623"/>
                </a:cubicBezTo>
                <a:cubicBezTo>
                  <a:pt x="2888151" y="1545222"/>
                  <a:pt x="2888949" y="1549082"/>
                  <a:pt x="2888949" y="1553078"/>
                </a:cubicBezTo>
                <a:cubicBezTo>
                  <a:pt x="2888949" y="1557204"/>
                  <a:pt x="2888151" y="1561192"/>
                  <a:pt x="2886686" y="1564797"/>
                </a:cubicBezTo>
                <a:cubicBezTo>
                  <a:pt x="2885222" y="1568383"/>
                  <a:pt x="2883092" y="1571441"/>
                  <a:pt x="2880563" y="1574105"/>
                </a:cubicBezTo>
                <a:cubicBezTo>
                  <a:pt x="2877901" y="1576765"/>
                  <a:pt x="2874839" y="1578895"/>
                  <a:pt x="2871245" y="1580363"/>
                </a:cubicBezTo>
                <a:cubicBezTo>
                  <a:pt x="2867518" y="1581829"/>
                  <a:pt x="2863657" y="1582625"/>
                  <a:pt x="2859397" y="1582625"/>
                </a:cubicBezTo>
                <a:cubicBezTo>
                  <a:pt x="2850479" y="1582625"/>
                  <a:pt x="2843155" y="1579697"/>
                  <a:pt x="2837564" y="1574105"/>
                </a:cubicBezTo>
                <a:cubicBezTo>
                  <a:pt x="2831973" y="1568520"/>
                  <a:pt x="2829177" y="1561462"/>
                  <a:pt x="2829177" y="1552940"/>
                </a:cubicBezTo>
                <a:cubicBezTo>
                  <a:pt x="2829177" y="1544686"/>
                  <a:pt x="2831973" y="1537628"/>
                  <a:pt x="2837564" y="1531907"/>
                </a:cubicBezTo>
                <a:cubicBezTo>
                  <a:pt x="2843155" y="1526314"/>
                  <a:pt x="2850345" y="1523391"/>
                  <a:pt x="2859397" y="1523391"/>
                </a:cubicBezTo>
                <a:close/>
                <a:moveTo>
                  <a:pt x="2641747" y="1523391"/>
                </a:moveTo>
                <a:cubicBezTo>
                  <a:pt x="2646007" y="1523391"/>
                  <a:pt x="2649867" y="1524050"/>
                  <a:pt x="2653463" y="1525915"/>
                </a:cubicBezTo>
                <a:cubicBezTo>
                  <a:pt x="2657190" y="1527519"/>
                  <a:pt x="2660251" y="1529643"/>
                  <a:pt x="2662781" y="1532306"/>
                </a:cubicBezTo>
                <a:cubicBezTo>
                  <a:pt x="2665442" y="1534837"/>
                  <a:pt x="2667440" y="1538036"/>
                  <a:pt x="2668904" y="1541623"/>
                </a:cubicBezTo>
                <a:cubicBezTo>
                  <a:pt x="2670368" y="1545222"/>
                  <a:pt x="2671167" y="1549082"/>
                  <a:pt x="2671167" y="1553078"/>
                </a:cubicBezTo>
                <a:cubicBezTo>
                  <a:pt x="2671167" y="1557204"/>
                  <a:pt x="2670368" y="1561192"/>
                  <a:pt x="2668904" y="1564797"/>
                </a:cubicBezTo>
                <a:cubicBezTo>
                  <a:pt x="2667440" y="1568383"/>
                  <a:pt x="2665310" y="1571441"/>
                  <a:pt x="2662781" y="1574105"/>
                </a:cubicBezTo>
                <a:cubicBezTo>
                  <a:pt x="2660251" y="1576765"/>
                  <a:pt x="2657056" y="1578895"/>
                  <a:pt x="2653463" y="1580363"/>
                </a:cubicBezTo>
                <a:cubicBezTo>
                  <a:pt x="2649867" y="1581829"/>
                  <a:pt x="2646007" y="1582625"/>
                  <a:pt x="2641747" y="1582625"/>
                </a:cubicBezTo>
                <a:cubicBezTo>
                  <a:pt x="2632828" y="1582625"/>
                  <a:pt x="2625507" y="1579697"/>
                  <a:pt x="2619915" y="1574105"/>
                </a:cubicBezTo>
                <a:cubicBezTo>
                  <a:pt x="2614325" y="1568520"/>
                  <a:pt x="2611528" y="1561462"/>
                  <a:pt x="2611528" y="1552940"/>
                </a:cubicBezTo>
                <a:cubicBezTo>
                  <a:pt x="2611528" y="1544686"/>
                  <a:pt x="2614325" y="1537628"/>
                  <a:pt x="2619915" y="1531907"/>
                </a:cubicBezTo>
                <a:cubicBezTo>
                  <a:pt x="2625507" y="1526314"/>
                  <a:pt x="2632695" y="1523391"/>
                  <a:pt x="2641747" y="1523391"/>
                </a:cubicBezTo>
                <a:close/>
                <a:moveTo>
                  <a:pt x="2424097" y="1523391"/>
                </a:moveTo>
                <a:cubicBezTo>
                  <a:pt x="2428358" y="1523391"/>
                  <a:pt x="2432352" y="1524050"/>
                  <a:pt x="2435813" y="1525915"/>
                </a:cubicBezTo>
                <a:cubicBezTo>
                  <a:pt x="2439540" y="1527519"/>
                  <a:pt x="2442602" y="1529643"/>
                  <a:pt x="2445131" y="1532306"/>
                </a:cubicBezTo>
                <a:cubicBezTo>
                  <a:pt x="2447793" y="1534837"/>
                  <a:pt x="2449790" y="1538036"/>
                  <a:pt x="2451254" y="1541623"/>
                </a:cubicBezTo>
                <a:cubicBezTo>
                  <a:pt x="2452718" y="1545222"/>
                  <a:pt x="2453517" y="1549082"/>
                  <a:pt x="2453517" y="1553078"/>
                </a:cubicBezTo>
                <a:cubicBezTo>
                  <a:pt x="2453517" y="1557204"/>
                  <a:pt x="2452718" y="1561192"/>
                  <a:pt x="2451254" y="1564797"/>
                </a:cubicBezTo>
                <a:cubicBezTo>
                  <a:pt x="2449790" y="1568383"/>
                  <a:pt x="2447660" y="1571441"/>
                  <a:pt x="2445131" y="1574105"/>
                </a:cubicBezTo>
                <a:cubicBezTo>
                  <a:pt x="2442602" y="1576765"/>
                  <a:pt x="2439407" y="1578895"/>
                  <a:pt x="2435813" y="1580363"/>
                </a:cubicBezTo>
                <a:cubicBezTo>
                  <a:pt x="2432219" y="1581829"/>
                  <a:pt x="2428358" y="1582625"/>
                  <a:pt x="2424097" y="1582625"/>
                </a:cubicBezTo>
                <a:cubicBezTo>
                  <a:pt x="2415179" y="1582625"/>
                  <a:pt x="2407857" y="1579697"/>
                  <a:pt x="2402265" y="1574105"/>
                </a:cubicBezTo>
                <a:cubicBezTo>
                  <a:pt x="2396675" y="1568520"/>
                  <a:pt x="2393878" y="1561462"/>
                  <a:pt x="2393878" y="1552940"/>
                </a:cubicBezTo>
                <a:cubicBezTo>
                  <a:pt x="2393878" y="1544686"/>
                  <a:pt x="2396675" y="1537628"/>
                  <a:pt x="2402265" y="1531907"/>
                </a:cubicBezTo>
                <a:cubicBezTo>
                  <a:pt x="2407857" y="1526314"/>
                  <a:pt x="2415045" y="1523391"/>
                  <a:pt x="2424097" y="1523391"/>
                </a:cubicBezTo>
                <a:close/>
                <a:moveTo>
                  <a:pt x="2206448" y="1523391"/>
                </a:moveTo>
                <a:cubicBezTo>
                  <a:pt x="2210708" y="1523391"/>
                  <a:pt x="2214702" y="1524050"/>
                  <a:pt x="2218163" y="1525915"/>
                </a:cubicBezTo>
                <a:cubicBezTo>
                  <a:pt x="2221890" y="1527519"/>
                  <a:pt x="2224951" y="1529643"/>
                  <a:pt x="2227482" y="1532306"/>
                </a:cubicBezTo>
                <a:cubicBezTo>
                  <a:pt x="2230143" y="1534837"/>
                  <a:pt x="2232140" y="1538036"/>
                  <a:pt x="2233604" y="1541623"/>
                </a:cubicBezTo>
                <a:cubicBezTo>
                  <a:pt x="2235068" y="1545222"/>
                  <a:pt x="2235867" y="1549082"/>
                  <a:pt x="2235867" y="1553078"/>
                </a:cubicBezTo>
                <a:cubicBezTo>
                  <a:pt x="2235867" y="1557204"/>
                  <a:pt x="2235068" y="1561192"/>
                  <a:pt x="2233604" y="1564797"/>
                </a:cubicBezTo>
                <a:cubicBezTo>
                  <a:pt x="2232140" y="1568383"/>
                  <a:pt x="2230010" y="1571441"/>
                  <a:pt x="2227482" y="1574105"/>
                </a:cubicBezTo>
                <a:cubicBezTo>
                  <a:pt x="2224951" y="1576765"/>
                  <a:pt x="2221757" y="1578895"/>
                  <a:pt x="2218163" y="1580363"/>
                </a:cubicBezTo>
                <a:cubicBezTo>
                  <a:pt x="2214568" y="1581829"/>
                  <a:pt x="2210708" y="1582625"/>
                  <a:pt x="2206448" y="1582625"/>
                </a:cubicBezTo>
                <a:cubicBezTo>
                  <a:pt x="2197396" y="1582625"/>
                  <a:pt x="2190207" y="1579697"/>
                  <a:pt x="2184617" y="1574105"/>
                </a:cubicBezTo>
                <a:cubicBezTo>
                  <a:pt x="2179025" y="1568520"/>
                  <a:pt x="2176229" y="1561462"/>
                  <a:pt x="2176229" y="1552940"/>
                </a:cubicBezTo>
                <a:cubicBezTo>
                  <a:pt x="2176229" y="1544686"/>
                  <a:pt x="2179025" y="1537628"/>
                  <a:pt x="2184617" y="1531907"/>
                </a:cubicBezTo>
                <a:cubicBezTo>
                  <a:pt x="2190207" y="1526314"/>
                  <a:pt x="2197396" y="1523391"/>
                  <a:pt x="2206448" y="1523391"/>
                </a:cubicBezTo>
                <a:close/>
                <a:moveTo>
                  <a:pt x="1988931" y="1523391"/>
                </a:moveTo>
                <a:cubicBezTo>
                  <a:pt x="1993058" y="1523391"/>
                  <a:pt x="1997052" y="1524050"/>
                  <a:pt x="2000647" y="1525915"/>
                </a:cubicBezTo>
                <a:cubicBezTo>
                  <a:pt x="2004373" y="1527519"/>
                  <a:pt x="2007435" y="1529643"/>
                  <a:pt x="2009965" y="1532306"/>
                </a:cubicBezTo>
                <a:cubicBezTo>
                  <a:pt x="2012626" y="1534837"/>
                  <a:pt x="2014624" y="1538036"/>
                  <a:pt x="2016088" y="1541623"/>
                </a:cubicBezTo>
                <a:cubicBezTo>
                  <a:pt x="2017552" y="1545222"/>
                  <a:pt x="2018351" y="1549082"/>
                  <a:pt x="2018351" y="1553078"/>
                </a:cubicBezTo>
                <a:cubicBezTo>
                  <a:pt x="2018351" y="1557204"/>
                  <a:pt x="2017552" y="1561192"/>
                  <a:pt x="2016088" y="1564797"/>
                </a:cubicBezTo>
                <a:cubicBezTo>
                  <a:pt x="2014624" y="1568383"/>
                  <a:pt x="2012494" y="1571441"/>
                  <a:pt x="2009965" y="1574105"/>
                </a:cubicBezTo>
                <a:cubicBezTo>
                  <a:pt x="2007435" y="1576765"/>
                  <a:pt x="2004240" y="1578895"/>
                  <a:pt x="2000647" y="1580363"/>
                </a:cubicBezTo>
                <a:cubicBezTo>
                  <a:pt x="1997052" y="1581829"/>
                  <a:pt x="1993191" y="1582625"/>
                  <a:pt x="1988931" y="1582625"/>
                </a:cubicBezTo>
                <a:cubicBezTo>
                  <a:pt x="1979880" y="1582625"/>
                  <a:pt x="1972691" y="1579697"/>
                  <a:pt x="1967100" y="1574105"/>
                </a:cubicBezTo>
                <a:cubicBezTo>
                  <a:pt x="1961510" y="1568520"/>
                  <a:pt x="1958714" y="1561462"/>
                  <a:pt x="1958714" y="1552940"/>
                </a:cubicBezTo>
                <a:cubicBezTo>
                  <a:pt x="1958714" y="1544686"/>
                  <a:pt x="1961510" y="1537628"/>
                  <a:pt x="1967100" y="1531907"/>
                </a:cubicBezTo>
                <a:cubicBezTo>
                  <a:pt x="1972691" y="1526314"/>
                  <a:pt x="1979880" y="1523391"/>
                  <a:pt x="1988931" y="1523391"/>
                </a:cubicBezTo>
                <a:close/>
                <a:moveTo>
                  <a:pt x="1771290" y="1523391"/>
                </a:moveTo>
                <a:cubicBezTo>
                  <a:pt x="1775549" y="1523391"/>
                  <a:pt x="1779409" y="1524050"/>
                  <a:pt x="1783004" y="1525915"/>
                </a:cubicBezTo>
                <a:cubicBezTo>
                  <a:pt x="1786731" y="1527519"/>
                  <a:pt x="1789793" y="1529643"/>
                  <a:pt x="1792322" y="1532306"/>
                </a:cubicBezTo>
                <a:cubicBezTo>
                  <a:pt x="1794984" y="1534837"/>
                  <a:pt x="1796982" y="1538036"/>
                  <a:pt x="1798446" y="1541623"/>
                </a:cubicBezTo>
                <a:cubicBezTo>
                  <a:pt x="1799909" y="1545222"/>
                  <a:pt x="1800708" y="1549082"/>
                  <a:pt x="1800708" y="1553078"/>
                </a:cubicBezTo>
                <a:cubicBezTo>
                  <a:pt x="1800708" y="1557204"/>
                  <a:pt x="1799909" y="1561192"/>
                  <a:pt x="1798446" y="1564797"/>
                </a:cubicBezTo>
                <a:cubicBezTo>
                  <a:pt x="1796982" y="1568383"/>
                  <a:pt x="1794852" y="1571441"/>
                  <a:pt x="1792322" y="1574105"/>
                </a:cubicBezTo>
                <a:cubicBezTo>
                  <a:pt x="1789659" y="1576765"/>
                  <a:pt x="1786599" y="1578895"/>
                  <a:pt x="1783004" y="1580363"/>
                </a:cubicBezTo>
                <a:cubicBezTo>
                  <a:pt x="1779409" y="1581829"/>
                  <a:pt x="1775549" y="1582625"/>
                  <a:pt x="1771290" y="1582625"/>
                </a:cubicBezTo>
                <a:cubicBezTo>
                  <a:pt x="1762370" y="1582625"/>
                  <a:pt x="1755050" y="1579697"/>
                  <a:pt x="1749459" y="1574105"/>
                </a:cubicBezTo>
                <a:cubicBezTo>
                  <a:pt x="1743868" y="1568520"/>
                  <a:pt x="1741074" y="1561462"/>
                  <a:pt x="1741074" y="1552940"/>
                </a:cubicBezTo>
                <a:cubicBezTo>
                  <a:pt x="1741074" y="1544686"/>
                  <a:pt x="1743868" y="1537628"/>
                  <a:pt x="1749459" y="1531907"/>
                </a:cubicBezTo>
                <a:cubicBezTo>
                  <a:pt x="1755050" y="1526314"/>
                  <a:pt x="1762237" y="1523391"/>
                  <a:pt x="1771290" y="1523391"/>
                </a:cubicBezTo>
                <a:close/>
                <a:moveTo>
                  <a:pt x="1553647" y="1523391"/>
                </a:moveTo>
                <a:cubicBezTo>
                  <a:pt x="1557906" y="1523391"/>
                  <a:pt x="1561767" y="1524050"/>
                  <a:pt x="1565361" y="1525915"/>
                </a:cubicBezTo>
                <a:cubicBezTo>
                  <a:pt x="1568956" y="1527519"/>
                  <a:pt x="1572150" y="1529643"/>
                  <a:pt x="1574680" y="1532306"/>
                </a:cubicBezTo>
                <a:cubicBezTo>
                  <a:pt x="1577342" y="1534837"/>
                  <a:pt x="1579339" y="1538036"/>
                  <a:pt x="1580803" y="1541623"/>
                </a:cubicBezTo>
                <a:cubicBezTo>
                  <a:pt x="1582267" y="1545222"/>
                  <a:pt x="1583066" y="1549082"/>
                  <a:pt x="1583066" y="1553078"/>
                </a:cubicBezTo>
                <a:cubicBezTo>
                  <a:pt x="1583066" y="1557204"/>
                  <a:pt x="1582267" y="1561192"/>
                  <a:pt x="1580803" y="1564797"/>
                </a:cubicBezTo>
                <a:cubicBezTo>
                  <a:pt x="1579339" y="1568383"/>
                  <a:pt x="1577209" y="1571441"/>
                  <a:pt x="1574680" y="1574105"/>
                </a:cubicBezTo>
                <a:cubicBezTo>
                  <a:pt x="1572018" y="1576765"/>
                  <a:pt x="1568956" y="1578895"/>
                  <a:pt x="1565361" y="1580363"/>
                </a:cubicBezTo>
                <a:cubicBezTo>
                  <a:pt x="1561767" y="1581829"/>
                  <a:pt x="1557906" y="1582625"/>
                  <a:pt x="1553647" y="1582625"/>
                </a:cubicBezTo>
                <a:cubicBezTo>
                  <a:pt x="1544728" y="1582625"/>
                  <a:pt x="1537406" y="1579697"/>
                  <a:pt x="1531815" y="1574105"/>
                </a:cubicBezTo>
                <a:cubicBezTo>
                  <a:pt x="1526226" y="1568520"/>
                  <a:pt x="1523429" y="1561462"/>
                  <a:pt x="1523429" y="1552940"/>
                </a:cubicBezTo>
                <a:cubicBezTo>
                  <a:pt x="1523429" y="1544686"/>
                  <a:pt x="1526226" y="1537628"/>
                  <a:pt x="1531815" y="1531907"/>
                </a:cubicBezTo>
                <a:cubicBezTo>
                  <a:pt x="1537406" y="1526314"/>
                  <a:pt x="1544594" y="1523391"/>
                  <a:pt x="1553647" y="1523391"/>
                </a:cubicBezTo>
                <a:close/>
                <a:moveTo>
                  <a:pt x="1336001" y="1523391"/>
                </a:moveTo>
                <a:cubicBezTo>
                  <a:pt x="1340262" y="1523391"/>
                  <a:pt x="1344257" y="1524050"/>
                  <a:pt x="1347717" y="1525915"/>
                </a:cubicBezTo>
                <a:cubicBezTo>
                  <a:pt x="1351311" y="1527519"/>
                  <a:pt x="1354505" y="1529643"/>
                  <a:pt x="1357035" y="1532306"/>
                </a:cubicBezTo>
                <a:cubicBezTo>
                  <a:pt x="1359697" y="1534837"/>
                  <a:pt x="1361694" y="1538036"/>
                  <a:pt x="1363158" y="1541623"/>
                </a:cubicBezTo>
                <a:cubicBezTo>
                  <a:pt x="1364623" y="1545222"/>
                  <a:pt x="1365421" y="1549082"/>
                  <a:pt x="1365421" y="1553078"/>
                </a:cubicBezTo>
                <a:cubicBezTo>
                  <a:pt x="1365421" y="1557204"/>
                  <a:pt x="1364623" y="1561192"/>
                  <a:pt x="1363158" y="1564797"/>
                </a:cubicBezTo>
                <a:cubicBezTo>
                  <a:pt x="1361694" y="1568383"/>
                  <a:pt x="1359564" y="1571441"/>
                  <a:pt x="1357035" y="1574105"/>
                </a:cubicBezTo>
                <a:cubicBezTo>
                  <a:pt x="1354372" y="1576765"/>
                  <a:pt x="1351311" y="1578895"/>
                  <a:pt x="1347717" y="1580363"/>
                </a:cubicBezTo>
                <a:cubicBezTo>
                  <a:pt x="1344122" y="1581829"/>
                  <a:pt x="1340262" y="1582625"/>
                  <a:pt x="1336001" y="1582625"/>
                </a:cubicBezTo>
                <a:cubicBezTo>
                  <a:pt x="1327082" y="1582625"/>
                  <a:pt x="1319761" y="1579697"/>
                  <a:pt x="1314170" y="1574105"/>
                </a:cubicBezTo>
                <a:cubicBezTo>
                  <a:pt x="1308579" y="1568520"/>
                  <a:pt x="1305785" y="1561462"/>
                  <a:pt x="1305785" y="1552940"/>
                </a:cubicBezTo>
                <a:cubicBezTo>
                  <a:pt x="1305785" y="1544686"/>
                  <a:pt x="1308579" y="1537628"/>
                  <a:pt x="1314170" y="1531907"/>
                </a:cubicBezTo>
                <a:cubicBezTo>
                  <a:pt x="1319761" y="1526314"/>
                  <a:pt x="1326949" y="1523391"/>
                  <a:pt x="1336001" y="1523391"/>
                </a:cubicBezTo>
                <a:close/>
                <a:moveTo>
                  <a:pt x="1118357" y="1523391"/>
                </a:moveTo>
                <a:cubicBezTo>
                  <a:pt x="1122617" y="1523391"/>
                  <a:pt x="1126613" y="1524050"/>
                  <a:pt x="1130073" y="1525915"/>
                </a:cubicBezTo>
                <a:cubicBezTo>
                  <a:pt x="1133799" y="1527519"/>
                  <a:pt x="1136862" y="1529643"/>
                  <a:pt x="1139390" y="1532306"/>
                </a:cubicBezTo>
                <a:cubicBezTo>
                  <a:pt x="1142052" y="1534837"/>
                  <a:pt x="1144048" y="1538036"/>
                  <a:pt x="1145512" y="1541623"/>
                </a:cubicBezTo>
                <a:cubicBezTo>
                  <a:pt x="1146977" y="1545222"/>
                  <a:pt x="1147775" y="1549082"/>
                  <a:pt x="1147775" y="1553078"/>
                </a:cubicBezTo>
                <a:cubicBezTo>
                  <a:pt x="1147775" y="1557204"/>
                  <a:pt x="1146977" y="1561192"/>
                  <a:pt x="1145512" y="1564797"/>
                </a:cubicBezTo>
                <a:cubicBezTo>
                  <a:pt x="1144048" y="1568383"/>
                  <a:pt x="1141919" y="1571441"/>
                  <a:pt x="1139390" y="1574105"/>
                </a:cubicBezTo>
                <a:cubicBezTo>
                  <a:pt x="1136862" y="1576765"/>
                  <a:pt x="1133666" y="1578895"/>
                  <a:pt x="1130073" y="1580363"/>
                </a:cubicBezTo>
                <a:cubicBezTo>
                  <a:pt x="1126477" y="1581829"/>
                  <a:pt x="1122617" y="1582625"/>
                  <a:pt x="1118357" y="1582625"/>
                </a:cubicBezTo>
                <a:cubicBezTo>
                  <a:pt x="1109438" y="1582625"/>
                  <a:pt x="1102115" y="1579697"/>
                  <a:pt x="1096524" y="1574105"/>
                </a:cubicBezTo>
                <a:cubicBezTo>
                  <a:pt x="1090934" y="1568520"/>
                  <a:pt x="1088139" y="1561462"/>
                  <a:pt x="1088139" y="1552940"/>
                </a:cubicBezTo>
                <a:cubicBezTo>
                  <a:pt x="1088139" y="1544686"/>
                  <a:pt x="1090934" y="1537628"/>
                  <a:pt x="1096524" y="1531907"/>
                </a:cubicBezTo>
                <a:cubicBezTo>
                  <a:pt x="1102115" y="1526314"/>
                  <a:pt x="1109304" y="1523391"/>
                  <a:pt x="1118357" y="1523391"/>
                </a:cubicBezTo>
                <a:close/>
                <a:moveTo>
                  <a:pt x="900845" y="1523391"/>
                </a:moveTo>
                <a:cubicBezTo>
                  <a:pt x="904972" y="1523391"/>
                  <a:pt x="908966" y="1524050"/>
                  <a:pt x="912560" y="1525915"/>
                </a:cubicBezTo>
                <a:cubicBezTo>
                  <a:pt x="916287" y="1527519"/>
                  <a:pt x="919349" y="1529643"/>
                  <a:pt x="921878" y="1532306"/>
                </a:cubicBezTo>
                <a:cubicBezTo>
                  <a:pt x="924540" y="1534837"/>
                  <a:pt x="926537" y="1538036"/>
                  <a:pt x="928001" y="1541623"/>
                </a:cubicBezTo>
                <a:cubicBezTo>
                  <a:pt x="929465" y="1545222"/>
                  <a:pt x="930264" y="1549082"/>
                  <a:pt x="930264" y="1553078"/>
                </a:cubicBezTo>
                <a:cubicBezTo>
                  <a:pt x="930264" y="1557204"/>
                  <a:pt x="929465" y="1561192"/>
                  <a:pt x="928001" y="1564797"/>
                </a:cubicBezTo>
                <a:cubicBezTo>
                  <a:pt x="926537" y="1568383"/>
                  <a:pt x="924407" y="1571441"/>
                  <a:pt x="921878" y="1574105"/>
                </a:cubicBezTo>
                <a:cubicBezTo>
                  <a:pt x="919349" y="1576765"/>
                  <a:pt x="916154" y="1578895"/>
                  <a:pt x="912560" y="1580363"/>
                </a:cubicBezTo>
                <a:cubicBezTo>
                  <a:pt x="908966" y="1581829"/>
                  <a:pt x="905105" y="1582625"/>
                  <a:pt x="900845" y="1582625"/>
                </a:cubicBezTo>
                <a:cubicBezTo>
                  <a:pt x="891926" y="1582625"/>
                  <a:pt x="884604" y="1579697"/>
                  <a:pt x="879014" y="1574105"/>
                </a:cubicBezTo>
                <a:cubicBezTo>
                  <a:pt x="873424" y="1568520"/>
                  <a:pt x="870628" y="1561462"/>
                  <a:pt x="870628" y="1552940"/>
                </a:cubicBezTo>
                <a:cubicBezTo>
                  <a:pt x="870628" y="1544686"/>
                  <a:pt x="873424" y="1537628"/>
                  <a:pt x="879014" y="1531907"/>
                </a:cubicBezTo>
                <a:cubicBezTo>
                  <a:pt x="884604" y="1526314"/>
                  <a:pt x="891793" y="1523391"/>
                  <a:pt x="900845" y="1523391"/>
                </a:cubicBezTo>
                <a:close/>
                <a:moveTo>
                  <a:pt x="683201" y="1523391"/>
                </a:moveTo>
                <a:cubicBezTo>
                  <a:pt x="687461" y="1523391"/>
                  <a:pt x="691322" y="1524050"/>
                  <a:pt x="694916" y="1525915"/>
                </a:cubicBezTo>
                <a:cubicBezTo>
                  <a:pt x="698643" y="1527519"/>
                  <a:pt x="701705" y="1529643"/>
                  <a:pt x="704234" y="1532306"/>
                </a:cubicBezTo>
                <a:cubicBezTo>
                  <a:pt x="706896" y="1534837"/>
                  <a:pt x="708893" y="1538036"/>
                  <a:pt x="710357" y="1541623"/>
                </a:cubicBezTo>
                <a:cubicBezTo>
                  <a:pt x="711821" y="1545222"/>
                  <a:pt x="712620" y="1549082"/>
                  <a:pt x="712620" y="1553078"/>
                </a:cubicBezTo>
                <a:cubicBezTo>
                  <a:pt x="712620" y="1557204"/>
                  <a:pt x="711821" y="1561192"/>
                  <a:pt x="710357" y="1564797"/>
                </a:cubicBezTo>
                <a:cubicBezTo>
                  <a:pt x="708893" y="1568383"/>
                  <a:pt x="706764" y="1571441"/>
                  <a:pt x="704234" y="1574105"/>
                </a:cubicBezTo>
                <a:cubicBezTo>
                  <a:pt x="701705" y="1576765"/>
                  <a:pt x="698510" y="1578895"/>
                  <a:pt x="694916" y="1580363"/>
                </a:cubicBezTo>
                <a:cubicBezTo>
                  <a:pt x="691322" y="1581829"/>
                  <a:pt x="687461" y="1582625"/>
                  <a:pt x="683201" y="1582625"/>
                </a:cubicBezTo>
                <a:cubicBezTo>
                  <a:pt x="674283" y="1582625"/>
                  <a:pt x="666961" y="1579697"/>
                  <a:pt x="661370" y="1574105"/>
                </a:cubicBezTo>
                <a:cubicBezTo>
                  <a:pt x="655779" y="1568520"/>
                  <a:pt x="652984" y="1561462"/>
                  <a:pt x="652984" y="1552940"/>
                </a:cubicBezTo>
                <a:cubicBezTo>
                  <a:pt x="652984" y="1544686"/>
                  <a:pt x="655779" y="1537628"/>
                  <a:pt x="661370" y="1531907"/>
                </a:cubicBezTo>
                <a:cubicBezTo>
                  <a:pt x="666961" y="1526314"/>
                  <a:pt x="674150" y="1523391"/>
                  <a:pt x="683201" y="1523391"/>
                </a:cubicBezTo>
                <a:close/>
                <a:moveTo>
                  <a:pt x="465557" y="1523391"/>
                </a:moveTo>
                <a:cubicBezTo>
                  <a:pt x="469817" y="1523391"/>
                  <a:pt x="473678" y="1524050"/>
                  <a:pt x="477273" y="1525915"/>
                </a:cubicBezTo>
                <a:cubicBezTo>
                  <a:pt x="481000" y="1527519"/>
                  <a:pt x="484061" y="1529643"/>
                  <a:pt x="486590" y="1532306"/>
                </a:cubicBezTo>
                <a:cubicBezTo>
                  <a:pt x="489253" y="1534837"/>
                  <a:pt x="491250" y="1538036"/>
                  <a:pt x="492714" y="1541623"/>
                </a:cubicBezTo>
                <a:cubicBezTo>
                  <a:pt x="494178" y="1545222"/>
                  <a:pt x="494977" y="1549082"/>
                  <a:pt x="494977" y="1553078"/>
                </a:cubicBezTo>
                <a:cubicBezTo>
                  <a:pt x="494977" y="1557204"/>
                  <a:pt x="494178" y="1561192"/>
                  <a:pt x="492714" y="1564797"/>
                </a:cubicBezTo>
                <a:cubicBezTo>
                  <a:pt x="491250" y="1568383"/>
                  <a:pt x="489120" y="1571441"/>
                  <a:pt x="486590" y="1574105"/>
                </a:cubicBezTo>
                <a:cubicBezTo>
                  <a:pt x="483928" y="1576765"/>
                  <a:pt x="480867" y="1578895"/>
                  <a:pt x="477273" y="1580363"/>
                </a:cubicBezTo>
                <a:cubicBezTo>
                  <a:pt x="473678" y="1581829"/>
                  <a:pt x="469817" y="1582625"/>
                  <a:pt x="465557" y="1582625"/>
                </a:cubicBezTo>
                <a:cubicBezTo>
                  <a:pt x="456639" y="1582625"/>
                  <a:pt x="449317" y="1579697"/>
                  <a:pt x="443726" y="1574105"/>
                </a:cubicBezTo>
                <a:cubicBezTo>
                  <a:pt x="438135" y="1568520"/>
                  <a:pt x="435340" y="1561462"/>
                  <a:pt x="435340" y="1552940"/>
                </a:cubicBezTo>
                <a:cubicBezTo>
                  <a:pt x="435340" y="1544686"/>
                  <a:pt x="438135" y="1537628"/>
                  <a:pt x="443726" y="1531907"/>
                </a:cubicBezTo>
                <a:cubicBezTo>
                  <a:pt x="449317" y="1526314"/>
                  <a:pt x="456506" y="1523391"/>
                  <a:pt x="465557" y="1523391"/>
                </a:cubicBezTo>
                <a:close/>
                <a:moveTo>
                  <a:pt x="247913" y="1523391"/>
                </a:moveTo>
                <a:cubicBezTo>
                  <a:pt x="252174" y="1523391"/>
                  <a:pt x="256168" y="1524050"/>
                  <a:pt x="259629" y="1525915"/>
                </a:cubicBezTo>
                <a:cubicBezTo>
                  <a:pt x="263356" y="1527519"/>
                  <a:pt x="266418" y="1529643"/>
                  <a:pt x="268947" y="1532306"/>
                </a:cubicBezTo>
                <a:cubicBezTo>
                  <a:pt x="271609" y="1534837"/>
                  <a:pt x="273606" y="1538036"/>
                  <a:pt x="275070" y="1541623"/>
                </a:cubicBezTo>
                <a:cubicBezTo>
                  <a:pt x="276534" y="1545222"/>
                  <a:pt x="277333" y="1549082"/>
                  <a:pt x="277333" y="1553078"/>
                </a:cubicBezTo>
                <a:cubicBezTo>
                  <a:pt x="277333" y="1557204"/>
                  <a:pt x="276534" y="1561192"/>
                  <a:pt x="275070" y="1564797"/>
                </a:cubicBezTo>
                <a:cubicBezTo>
                  <a:pt x="273606" y="1568383"/>
                  <a:pt x="271476" y="1571441"/>
                  <a:pt x="268947" y="1574105"/>
                </a:cubicBezTo>
                <a:cubicBezTo>
                  <a:pt x="266284" y="1576765"/>
                  <a:pt x="263223" y="1578895"/>
                  <a:pt x="259629" y="1580363"/>
                </a:cubicBezTo>
                <a:cubicBezTo>
                  <a:pt x="256033" y="1581829"/>
                  <a:pt x="252174" y="1582625"/>
                  <a:pt x="247913" y="1582625"/>
                </a:cubicBezTo>
                <a:cubicBezTo>
                  <a:pt x="238996" y="1582625"/>
                  <a:pt x="231674" y="1579697"/>
                  <a:pt x="226083" y="1574105"/>
                </a:cubicBezTo>
                <a:cubicBezTo>
                  <a:pt x="220492" y="1568520"/>
                  <a:pt x="217697" y="1561462"/>
                  <a:pt x="217697" y="1552940"/>
                </a:cubicBezTo>
                <a:cubicBezTo>
                  <a:pt x="217697" y="1544686"/>
                  <a:pt x="220492" y="1537628"/>
                  <a:pt x="226083" y="1531907"/>
                </a:cubicBezTo>
                <a:cubicBezTo>
                  <a:pt x="231674" y="1526314"/>
                  <a:pt x="238862" y="1523391"/>
                  <a:pt x="247913" y="1523391"/>
                </a:cubicBezTo>
                <a:close/>
                <a:moveTo>
                  <a:pt x="30270" y="1523391"/>
                </a:moveTo>
                <a:cubicBezTo>
                  <a:pt x="34530" y="1523391"/>
                  <a:pt x="38524" y="1524050"/>
                  <a:pt x="41985" y="1525915"/>
                </a:cubicBezTo>
                <a:cubicBezTo>
                  <a:pt x="45712" y="1527519"/>
                  <a:pt x="48774" y="1529643"/>
                  <a:pt x="51303" y="1532306"/>
                </a:cubicBezTo>
                <a:cubicBezTo>
                  <a:pt x="53965" y="1534837"/>
                  <a:pt x="55962" y="1538036"/>
                  <a:pt x="57426" y="1541623"/>
                </a:cubicBezTo>
                <a:cubicBezTo>
                  <a:pt x="58890" y="1545222"/>
                  <a:pt x="59689" y="1549082"/>
                  <a:pt x="59689" y="1553078"/>
                </a:cubicBezTo>
                <a:cubicBezTo>
                  <a:pt x="59689" y="1557204"/>
                  <a:pt x="58890" y="1561192"/>
                  <a:pt x="57426" y="1564797"/>
                </a:cubicBezTo>
                <a:cubicBezTo>
                  <a:pt x="55962" y="1568383"/>
                  <a:pt x="53832" y="1571441"/>
                  <a:pt x="51303" y="1574105"/>
                </a:cubicBezTo>
                <a:cubicBezTo>
                  <a:pt x="48640" y="1576765"/>
                  <a:pt x="45579" y="1578895"/>
                  <a:pt x="41985" y="1580363"/>
                </a:cubicBezTo>
                <a:cubicBezTo>
                  <a:pt x="38391" y="1581829"/>
                  <a:pt x="34530" y="1582625"/>
                  <a:pt x="30270" y="1582625"/>
                </a:cubicBezTo>
                <a:cubicBezTo>
                  <a:pt x="21352" y="1582625"/>
                  <a:pt x="14030" y="1579697"/>
                  <a:pt x="8439" y="1574105"/>
                </a:cubicBezTo>
                <a:cubicBezTo>
                  <a:pt x="2848" y="1568520"/>
                  <a:pt x="53" y="1561462"/>
                  <a:pt x="53" y="1552940"/>
                </a:cubicBezTo>
                <a:cubicBezTo>
                  <a:pt x="53" y="1544686"/>
                  <a:pt x="2848" y="1537628"/>
                  <a:pt x="8439" y="1531907"/>
                </a:cubicBezTo>
                <a:cubicBezTo>
                  <a:pt x="14030" y="1526314"/>
                  <a:pt x="21218" y="1523391"/>
                  <a:pt x="30270" y="1523391"/>
                </a:cubicBezTo>
                <a:close/>
                <a:moveTo>
                  <a:pt x="10475977" y="1322386"/>
                </a:moveTo>
                <a:cubicBezTo>
                  <a:pt x="10470119" y="1322386"/>
                  <a:pt x="10467589" y="1324379"/>
                  <a:pt x="10465992" y="1325972"/>
                </a:cubicBezTo>
                <a:cubicBezTo>
                  <a:pt x="10463463" y="1328636"/>
                  <a:pt x="10462399" y="1331441"/>
                  <a:pt x="10462399" y="1335427"/>
                </a:cubicBezTo>
                <a:cubicBezTo>
                  <a:pt x="10462399" y="1339551"/>
                  <a:pt x="10463463" y="1342355"/>
                  <a:pt x="10465992" y="1344879"/>
                </a:cubicBezTo>
                <a:cubicBezTo>
                  <a:pt x="10467589" y="1346478"/>
                  <a:pt x="10470119" y="1348345"/>
                  <a:pt x="10475977" y="1348345"/>
                </a:cubicBezTo>
                <a:cubicBezTo>
                  <a:pt x="10478107" y="1348345"/>
                  <a:pt x="10479838" y="1348076"/>
                  <a:pt x="10481302" y="1347407"/>
                </a:cubicBezTo>
                <a:cubicBezTo>
                  <a:pt x="10482899" y="1346878"/>
                  <a:pt x="10484098" y="1346081"/>
                  <a:pt x="10485029" y="1345018"/>
                </a:cubicBezTo>
                <a:cubicBezTo>
                  <a:pt x="10486094" y="1343820"/>
                  <a:pt x="10487026" y="1342480"/>
                  <a:pt x="10487691" y="1340751"/>
                </a:cubicBezTo>
                <a:cubicBezTo>
                  <a:pt x="10488357" y="1339153"/>
                  <a:pt x="10488623" y="1337291"/>
                  <a:pt x="10488623" y="1335294"/>
                </a:cubicBezTo>
                <a:cubicBezTo>
                  <a:pt x="10488623" y="1333430"/>
                  <a:pt x="10488357" y="1331700"/>
                  <a:pt x="10487691" y="1330101"/>
                </a:cubicBezTo>
                <a:cubicBezTo>
                  <a:pt x="10487026" y="1328507"/>
                  <a:pt x="10486094" y="1327172"/>
                  <a:pt x="10485029" y="1325972"/>
                </a:cubicBezTo>
                <a:cubicBezTo>
                  <a:pt x="10483964" y="1324908"/>
                  <a:pt x="10482633" y="1324111"/>
                  <a:pt x="10481035" y="1323313"/>
                </a:cubicBezTo>
                <a:cubicBezTo>
                  <a:pt x="10479571" y="1322647"/>
                  <a:pt x="10477974" y="1322386"/>
                  <a:pt x="10475977" y="1322386"/>
                </a:cubicBezTo>
                <a:close/>
                <a:moveTo>
                  <a:pt x="10258466" y="1322386"/>
                </a:moveTo>
                <a:cubicBezTo>
                  <a:pt x="10252608" y="1322386"/>
                  <a:pt x="10250078" y="1324379"/>
                  <a:pt x="10248481" y="1325972"/>
                </a:cubicBezTo>
                <a:cubicBezTo>
                  <a:pt x="10245952" y="1328636"/>
                  <a:pt x="10244887" y="1331441"/>
                  <a:pt x="10244887" y="1335427"/>
                </a:cubicBezTo>
                <a:cubicBezTo>
                  <a:pt x="10244887" y="1339551"/>
                  <a:pt x="10245952" y="1342355"/>
                  <a:pt x="10248481" y="1344879"/>
                </a:cubicBezTo>
                <a:cubicBezTo>
                  <a:pt x="10250078" y="1346483"/>
                  <a:pt x="10252608" y="1348345"/>
                  <a:pt x="10258466" y="1348345"/>
                </a:cubicBezTo>
                <a:cubicBezTo>
                  <a:pt x="10260462" y="1348345"/>
                  <a:pt x="10262192" y="1348076"/>
                  <a:pt x="10263790" y="1347407"/>
                </a:cubicBezTo>
                <a:cubicBezTo>
                  <a:pt x="10265388" y="1346878"/>
                  <a:pt x="10266586" y="1346081"/>
                  <a:pt x="10267517" y="1345018"/>
                </a:cubicBezTo>
                <a:cubicBezTo>
                  <a:pt x="10268583" y="1343820"/>
                  <a:pt x="10269515" y="1342480"/>
                  <a:pt x="10270180" y="1340751"/>
                </a:cubicBezTo>
                <a:cubicBezTo>
                  <a:pt x="10270845" y="1339153"/>
                  <a:pt x="10271112" y="1337291"/>
                  <a:pt x="10271112" y="1335294"/>
                </a:cubicBezTo>
                <a:cubicBezTo>
                  <a:pt x="10271112" y="1333430"/>
                  <a:pt x="10270845" y="1331700"/>
                  <a:pt x="10270180" y="1330101"/>
                </a:cubicBezTo>
                <a:cubicBezTo>
                  <a:pt x="10269515" y="1328507"/>
                  <a:pt x="10268583" y="1327172"/>
                  <a:pt x="10267517" y="1325972"/>
                </a:cubicBezTo>
                <a:cubicBezTo>
                  <a:pt x="10266452" y="1324908"/>
                  <a:pt x="10265121" y="1324111"/>
                  <a:pt x="10263524" y="1323313"/>
                </a:cubicBezTo>
                <a:cubicBezTo>
                  <a:pt x="10262060" y="1322647"/>
                  <a:pt x="10260462" y="1322386"/>
                  <a:pt x="10258466" y="1322386"/>
                </a:cubicBezTo>
                <a:close/>
                <a:moveTo>
                  <a:pt x="10040820" y="1322386"/>
                </a:moveTo>
                <a:cubicBezTo>
                  <a:pt x="10034962" y="1322386"/>
                  <a:pt x="10032433" y="1324379"/>
                  <a:pt x="10030835" y="1325972"/>
                </a:cubicBezTo>
                <a:cubicBezTo>
                  <a:pt x="10028306" y="1328636"/>
                  <a:pt x="10027242" y="1331441"/>
                  <a:pt x="10027242" y="1335427"/>
                </a:cubicBezTo>
                <a:cubicBezTo>
                  <a:pt x="10027242" y="1339551"/>
                  <a:pt x="10028306" y="1342355"/>
                  <a:pt x="10030835" y="1344879"/>
                </a:cubicBezTo>
                <a:cubicBezTo>
                  <a:pt x="10032433" y="1346483"/>
                  <a:pt x="10034962" y="1348345"/>
                  <a:pt x="10040820" y="1348345"/>
                </a:cubicBezTo>
                <a:cubicBezTo>
                  <a:pt x="10042817" y="1348345"/>
                  <a:pt x="10044681" y="1348076"/>
                  <a:pt x="10046145" y="1347407"/>
                </a:cubicBezTo>
                <a:cubicBezTo>
                  <a:pt x="10047742" y="1346878"/>
                  <a:pt x="10048941" y="1346081"/>
                  <a:pt x="10049872" y="1345018"/>
                </a:cubicBezTo>
                <a:cubicBezTo>
                  <a:pt x="10050937" y="1343820"/>
                  <a:pt x="10051869" y="1342480"/>
                  <a:pt x="10052534" y="1340751"/>
                </a:cubicBezTo>
                <a:cubicBezTo>
                  <a:pt x="10053333" y="1339153"/>
                  <a:pt x="10053599" y="1337291"/>
                  <a:pt x="10053599" y="1335294"/>
                </a:cubicBezTo>
                <a:cubicBezTo>
                  <a:pt x="10053599" y="1333430"/>
                  <a:pt x="10053200" y="1331700"/>
                  <a:pt x="10052534" y="1330101"/>
                </a:cubicBezTo>
                <a:cubicBezTo>
                  <a:pt x="10051869" y="1328507"/>
                  <a:pt x="10050937" y="1327172"/>
                  <a:pt x="10049872" y="1325972"/>
                </a:cubicBezTo>
                <a:cubicBezTo>
                  <a:pt x="10048807" y="1324911"/>
                  <a:pt x="10047476" y="1324111"/>
                  <a:pt x="10045878" y="1323313"/>
                </a:cubicBezTo>
                <a:cubicBezTo>
                  <a:pt x="10044414" y="1322647"/>
                  <a:pt x="10042817" y="1322386"/>
                  <a:pt x="10040820" y="1322386"/>
                </a:cubicBezTo>
                <a:close/>
                <a:moveTo>
                  <a:pt x="9823176" y="1322386"/>
                </a:moveTo>
                <a:cubicBezTo>
                  <a:pt x="9817318" y="1322386"/>
                  <a:pt x="9814788" y="1324379"/>
                  <a:pt x="9813191" y="1325972"/>
                </a:cubicBezTo>
                <a:cubicBezTo>
                  <a:pt x="9810662" y="1328636"/>
                  <a:pt x="9809597" y="1331441"/>
                  <a:pt x="9809597" y="1335427"/>
                </a:cubicBezTo>
                <a:cubicBezTo>
                  <a:pt x="9809597" y="1339551"/>
                  <a:pt x="9810662" y="1342355"/>
                  <a:pt x="9813191" y="1344879"/>
                </a:cubicBezTo>
                <a:cubicBezTo>
                  <a:pt x="9814788" y="1346483"/>
                  <a:pt x="9817318" y="1348345"/>
                  <a:pt x="9823176" y="1348345"/>
                </a:cubicBezTo>
                <a:cubicBezTo>
                  <a:pt x="9825173" y="1348345"/>
                  <a:pt x="9827036" y="1348076"/>
                  <a:pt x="9828501" y="1347407"/>
                </a:cubicBezTo>
                <a:cubicBezTo>
                  <a:pt x="9830098" y="1346878"/>
                  <a:pt x="9831296" y="1346081"/>
                  <a:pt x="9832227" y="1345018"/>
                </a:cubicBezTo>
                <a:cubicBezTo>
                  <a:pt x="9833293" y="1343820"/>
                  <a:pt x="9834225" y="1342480"/>
                  <a:pt x="9834890" y="1340751"/>
                </a:cubicBezTo>
                <a:cubicBezTo>
                  <a:pt x="9835689" y="1339153"/>
                  <a:pt x="9835955" y="1337291"/>
                  <a:pt x="9835955" y="1335294"/>
                </a:cubicBezTo>
                <a:cubicBezTo>
                  <a:pt x="9835955" y="1333430"/>
                  <a:pt x="9835555" y="1331700"/>
                  <a:pt x="9834890" y="1330101"/>
                </a:cubicBezTo>
                <a:cubicBezTo>
                  <a:pt x="9834225" y="1328507"/>
                  <a:pt x="9833293" y="1327172"/>
                  <a:pt x="9832227" y="1325972"/>
                </a:cubicBezTo>
                <a:cubicBezTo>
                  <a:pt x="9831162" y="1324911"/>
                  <a:pt x="9829831" y="1324111"/>
                  <a:pt x="9828234" y="1323313"/>
                </a:cubicBezTo>
                <a:cubicBezTo>
                  <a:pt x="9826770" y="1322647"/>
                  <a:pt x="9825173" y="1322386"/>
                  <a:pt x="9823176" y="1322386"/>
                </a:cubicBezTo>
                <a:close/>
                <a:moveTo>
                  <a:pt x="9605531" y="1322386"/>
                </a:moveTo>
                <a:cubicBezTo>
                  <a:pt x="9599673" y="1322386"/>
                  <a:pt x="9597143" y="1324379"/>
                  <a:pt x="9595546" y="1325972"/>
                </a:cubicBezTo>
                <a:cubicBezTo>
                  <a:pt x="9593017" y="1328636"/>
                  <a:pt x="9591952" y="1331441"/>
                  <a:pt x="9591952" y="1335427"/>
                </a:cubicBezTo>
                <a:cubicBezTo>
                  <a:pt x="9591952" y="1339551"/>
                  <a:pt x="9593017" y="1342355"/>
                  <a:pt x="9595546" y="1344879"/>
                </a:cubicBezTo>
                <a:cubicBezTo>
                  <a:pt x="9597143" y="1346483"/>
                  <a:pt x="9599673" y="1348345"/>
                  <a:pt x="9605531" y="1348345"/>
                </a:cubicBezTo>
                <a:cubicBezTo>
                  <a:pt x="9607660" y="1348345"/>
                  <a:pt x="9609391" y="1348076"/>
                  <a:pt x="9610855" y="1347407"/>
                </a:cubicBezTo>
                <a:cubicBezTo>
                  <a:pt x="9612319" y="1346878"/>
                  <a:pt x="9613651" y="1346081"/>
                  <a:pt x="9614582" y="1345018"/>
                </a:cubicBezTo>
                <a:cubicBezTo>
                  <a:pt x="9615647" y="1343820"/>
                  <a:pt x="9616579" y="1342480"/>
                  <a:pt x="9617245" y="1340751"/>
                </a:cubicBezTo>
                <a:cubicBezTo>
                  <a:pt x="9618044" y="1339153"/>
                  <a:pt x="9618309" y="1337291"/>
                  <a:pt x="9618309" y="1335294"/>
                </a:cubicBezTo>
                <a:cubicBezTo>
                  <a:pt x="9618309" y="1333430"/>
                  <a:pt x="9617910" y="1331700"/>
                  <a:pt x="9617245" y="1330101"/>
                </a:cubicBezTo>
                <a:cubicBezTo>
                  <a:pt x="9616579" y="1328507"/>
                  <a:pt x="9615647" y="1327172"/>
                  <a:pt x="9614582" y="1325972"/>
                </a:cubicBezTo>
                <a:cubicBezTo>
                  <a:pt x="9613517" y="1324911"/>
                  <a:pt x="9612186" y="1324111"/>
                  <a:pt x="9610589" y="1323313"/>
                </a:cubicBezTo>
                <a:cubicBezTo>
                  <a:pt x="9609124" y="1322647"/>
                  <a:pt x="9607394" y="1322386"/>
                  <a:pt x="9605531" y="1322386"/>
                </a:cubicBezTo>
                <a:close/>
                <a:moveTo>
                  <a:pt x="9387885" y="1322386"/>
                </a:moveTo>
                <a:cubicBezTo>
                  <a:pt x="9382027" y="1322386"/>
                  <a:pt x="9379497" y="1324379"/>
                  <a:pt x="9377900" y="1325972"/>
                </a:cubicBezTo>
                <a:cubicBezTo>
                  <a:pt x="9375371" y="1328636"/>
                  <a:pt x="9374307" y="1331441"/>
                  <a:pt x="9374307" y="1335427"/>
                </a:cubicBezTo>
                <a:cubicBezTo>
                  <a:pt x="9374307" y="1339551"/>
                  <a:pt x="9375371" y="1342355"/>
                  <a:pt x="9377900" y="1344879"/>
                </a:cubicBezTo>
                <a:cubicBezTo>
                  <a:pt x="9379497" y="1346483"/>
                  <a:pt x="9382027" y="1348345"/>
                  <a:pt x="9387885" y="1348345"/>
                </a:cubicBezTo>
                <a:cubicBezTo>
                  <a:pt x="9390015" y="1348345"/>
                  <a:pt x="9391746" y="1348076"/>
                  <a:pt x="9393210" y="1347407"/>
                </a:cubicBezTo>
                <a:cubicBezTo>
                  <a:pt x="9394674" y="1346878"/>
                  <a:pt x="9396005" y="1346081"/>
                  <a:pt x="9396937" y="1345018"/>
                </a:cubicBezTo>
                <a:cubicBezTo>
                  <a:pt x="9398002" y="1343820"/>
                  <a:pt x="9398934" y="1342480"/>
                  <a:pt x="9399599" y="1340751"/>
                </a:cubicBezTo>
                <a:cubicBezTo>
                  <a:pt x="9400398" y="1339153"/>
                  <a:pt x="9400664" y="1337291"/>
                  <a:pt x="9400664" y="1335294"/>
                </a:cubicBezTo>
                <a:cubicBezTo>
                  <a:pt x="9400664" y="1333430"/>
                  <a:pt x="9400265" y="1331700"/>
                  <a:pt x="9399599" y="1330101"/>
                </a:cubicBezTo>
                <a:cubicBezTo>
                  <a:pt x="9398934" y="1328507"/>
                  <a:pt x="9398002" y="1327172"/>
                  <a:pt x="9396937" y="1325972"/>
                </a:cubicBezTo>
                <a:cubicBezTo>
                  <a:pt x="9395872" y="1324911"/>
                  <a:pt x="9394541" y="1324111"/>
                  <a:pt x="9392943" y="1323313"/>
                </a:cubicBezTo>
                <a:cubicBezTo>
                  <a:pt x="9391479" y="1322647"/>
                  <a:pt x="9389749" y="1322386"/>
                  <a:pt x="9387885" y="1322386"/>
                </a:cubicBezTo>
                <a:close/>
                <a:moveTo>
                  <a:pt x="9170374" y="1322386"/>
                </a:moveTo>
                <a:cubicBezTo>
                  <a:pt x="9164649" y="1322386"/>
                  <a:pt x="9161986" y="1324379"/>
                  <a:pt x="9160389" y="1325972"/>
                </a:cubicBezTo>
                <a:cubicBezTo>
                  <a:pt x="9157860" y="1328636"/>
                  <a:pt x="9156795" y="1331441"/>
                  <a:pt x="9156795" y="1335427"/>
                </a:cubicBezTo>
                <a:cubicBezTo>
                  <a:pt x="9156795" y="1339551"/>
                  <a:pt x="9157860" y="1342355"/>
                  <a:pt x="9160389" y="1344879"/>
                </a:cubicBezTo>
                <a:cubicBezTo>
                  <a:pt x="9161986" y="1346483"/>
                  <a:pt x="9164516" y="1348345"/>
                  <a:pt x="9170374" y="1348345"/>
                </a:cubicBezTo>
                <a:cubicBezTo>
                  <a:pt x="9172370" y="1348345"/>
                  <a:pt x="9174100" y="1348076"/>
                  <a:pt x="9175698" y="1347407"/>
                </a:cubicBezTo>
                <a:cubicBezTo>
                  <a:pt x="9177163" y="1346878"/>
                  <a:pt x="9178494" y="1346081"/>
                  <a:pt x="9179425" y="1345018"/>
                </a:cubicBezTo>
                <a:cubicBezTo>
                  <a:pt x="9180491" y="1343820"/>
                  <a:pt x="9181422" y="1342480"/>
                  <a:pt x="9182088" y="1340751"/>
                </a:cubicBezTo>
                <a:cubicBezTo>
                  <a:pt x="9182887" y="1339153"/>
                  <a:pt x="9183152" y="1337291"/>
                  <a:pt x="9183152" y="1335294"/>
                </a:cubicBezTo>
                <a:cubicBezTo>
                  <a:pt x="9183152" y="1333430"/>
                  <a:pt x="9182753" y="1331700"/>
                  <a:pt x="9182088" y="1330101"/>
                </a:cubicBezTo>
                <a:cubicBezTo>
                  <a:pt x="9181422" y="1328507"/>
                  <a:pt x="9180491" y="1327172"/>
                  <a:pt x="9179425" y="1325972"/>
                </a:cubicBezTo>
                <a:cubicBezTo>
                  <a:pt x="9178360" y="1324911"/>
                  <a:pt x="9177029" y="1324111"/>
                  <a:pt x="9175432" y="1323313"/>
                </a:cubicBezTo>
                <a:cubicBezTo>
                  <a:pt x="9173967" y="1322647"/>
                  <a:pt x="9172237" y="1322386"/>
                  <a:pt x="9170374" y="1322386"/>
                </a:cubicBezTo>
                <a:close/>
                <a:moveTo>
                  <a:pt x="8952728" y="1322386"/>
                </a:moveTo>
                <a:cubicBezTo>
                  <a:pt x="8947003" y="1322386"/>
                  <a:pt x="8944340" y="1324379"/>
                  <a:pt x="8942743" y="1325972"/>
                </a:cubicBezTo>
                <a:cubicBezTo>
                  <a:pt x="8940214" y="1328636"/>
                  <a:pt x="8939150" y="1331441"/>
                  <a:pt x="8939150" y="1335427"/>
                </a:cubicBezTo>
                <a:cubicBezTo>
                  <a:pt x="8939150" y="1339551"/>
                  <a:pt x="8940214" y="1342355"/>
                  <a:pt x="8942743" y="1344879"/>
                </a:cubicBezTo>
                <a:cubicBezTo>
                  <a:pt x="8944340" y="1346483"/>
                  <a:pt x="8946870" y="1348345"/>
                  <a:pt x="8952728" y="1348345"/>
                </a:cubicBezTo>
                <a:cubicBezTo>
                  <a:pt x="8954725" y="1348345"/>
                  <a:pt x="8956589" y="1348076"/>
                  <a:pt x="8958053" y="1347407"/>
                </a:cubicBezTo>
                <a:cubicBezTo>
                  <a:pt x="8959517" y="1346878"/>
                  <a:pt x="8960849" y="1346081"/>
                  <a:pt x="8961780" y="1345018"/>
                </a:cubicBezTo>
                <a:cubicBezTo>
                  <a:pt x="8962845" y="1343820"/>
                  <a:pt x="8963777" y="1342480"/>
                  <a:pt x="8964442" y="1340751"/>
                </a:cubicBezTo>
                <a:cubicBezTo>
                  <a:pt x="8965241" y="1339153"/>
                  <a:pt x="8965507" y="1337291"/>
                  <a:pt x="8965507" y="1335294"/>
                </a:cubicBezTo>
                <a:cubicBezTo>
                  <a:pt x="8965507" y="1333430"/>
                  <a:pt x="8965108" y="1331700"/>
                  <a:pt x="8964442" y="1330101"/>
                </a:cubicBezTo>
                <a:cubicBezTo>
                  <a:pt x="8963777" y="1328507"/>
                  <a:pt x="8962845" y="1327172"/>
                  <a:pt x="8961780" y="1325972"/>
                </a:cubicBezTo>
                <a:cubicBezTo>
                  <a:pt x="8960715" y="1324911"/>
                  <a:pt x="8959384" y="1324111"/>
                  <a:pt x="8957786" y="1323313"/>
                </a:cubicBezTo>
                <a:cubicBezTo>
                  <a:pt x="8956322" y="1322647"/>
                  <a:pt x="8954592" y="1322386"/>
                  <a:pt x="8952728" y="1322386"/>
                </a:cubicBezTo>
                <a:close/>
                <a:moveTo>
                  <a:pt x="8735083" y="1322386"/>
                </a:moveTo>
                <a:cubicBezTo>
                  <a:pt x="8729358" y="1322386"/>
                  <a:pt x="8726695" y="1324379"/>
                  <a:pt x="8725098" y="1325972"/>
                </a:cubicBezTo>
                <a:cubicBezTo>
                  <a:pt x="8722569" y="1328636"/>
                  <a:pt x="8721504" y="1331441"/>
                  <a:pt x="8721504" y="1335427"/>
                </a:cubicBezTo>
                <a:cubicBezTo>
                  <a:pt x="8721504" y="1339551"/>
                  <a:pt x="8722569" y="1342355"/>
                  <a:pt x="8725098" y="1344879"/>
                </a:cubicBezTo>
                <a:cubicBezTo>
                  <a:pt x="8726695" y="1346483"/>
                  <a:pt x="8729225" y="1348345"/>
                  <a:pt x="8735083" y="1348345"/>
                </a:cubicBezTo>
                <a:cubicBezTo>
                  <a:pt x="8737079" y="1348345"/>
                  <a:pt x="8738943" y="1348076"/>
                  <a:pt x="8740407" y="1347407"/>
                </a:cubicBezTo>
                <a:cubicBezTo>
                  <a:pt x="8741872" y="1346878"/>
                  <a:pt x="8743203" y="1346081"/>
                  <a:pt x="8744134" y="1345018"/>
                </a:cubicBezTo>
                <a:cubicBezTo>
                  <a:pt x="8745200" y="1343820"/>
                  <a:pt x="8746132" y="1342480"/>
                  <a:pt x="8746797" y="1340751"/>
                </a:cubicBezTo>
                <a:cubicBezTo>
                  <a:pt x="8747596" y="1339153"/>
                  <a:pt x="8747862" y="1337291"/>
                  <a:pt x="8747862" y="1335294"/>
                </a:cubicBezTo>
                <a:cubicBezTo>
                  <a:pt x="8747862" y="1333430"/>
                  <a:pt x="8747462" y="1331700"/>
                  <a:pt x="8746797" y="1330101"/>
                </a:cubicBezTo>
                <a:cubicBezTo>
                  <a:pt x="8746132" y="1328507"/>
                  <a:pt x="8745200" y="1327172"/>
                  <a:pt x="8744134" y="1325972"/>
                </a:cubicBezTo>
                <a:cubicBezTo>
                  <a:pt x="8743069" y="1324911"/>
                  <a:pt x="8741738" y="1324111"/>
                  <a:pt x="8740141" y="1323313"/>
                </a:cubicBezTo>
                <a:cubicBezTo>
                  <a:pt x="8738677" y="1322647"/>
                  <a:pt x="8736946" y="1322386"/>
                  <a:pt x="8735083" y="1322386"/>
                </a:cubicBezTo>
                <a:close/>
                <a:moveTo>
                  <a:pt x="8517438" y="1322386"/>
                </a:moveTo>
                <a:cubicBezTo>
                  <a:pt x="8511713" y="1322386"/>
                  <a:pt x="8509051" y="1324379"/>
                  <a:pt x="8507453" y="1325972"/>
                </a:cubicBezTo>
                <a:cubicBezTo>
                  <a:pt x="8504925" y="1328636"/>
                  <a:pt x="8503860" y="1331441"/>
                  <a:pt x="8503860" y="1335427"/>
                </a:cubicBezTo>
                <a:cubicBezTo>
                  <a:pt x="8503860" y="1339551"/>
                  <a:pt x="8504925" y="1342355"/>
                  <a:pt x="8507453" y="1344879"/>
                </a:cubicBezTo>
                <a:cubicBezTo>
                  <a:pt x="8509051" y="1346483"/>
                  <a:pt x="8511581" y="1348345"/>
                  <a:pt x="8517438" y="1348345"/>
                </a:cubicBezTo>
                <a:cubicBezTo>
                  <a:pt x="8519568" y="1348345"/>
                  <a:pt x="8521299" y="1348076"/>
                  <a:pt x="8522763" y="1347407"/>
                </a:cubicBezTo>
                <a:cubicBezTo>
                  <a:pt x="8524227" y="1346878"/>
                  <a:pt x="8525559" y="1346081"/>
                  <a:pt x="8526490" y="1345018"/>
                </a:cubicBezTo>
                <a:cubicBezTo>
                  <a:pt x="8527555" y="1343820"/>
                  <a:pt x="8528487" y="1342480"/>
                  <a:pt x="8529152" y="1340751"/>
                </a:cubicBezTo>
                <a:cubicBezTo>
                  <a:pt x="8529818" y="1339153"/>
                  <a:pt x="8530084" y="1337291"/>
                  <a:pt x="8530084" y="1335294"/>
                </a:cubicBezTo>
                <a:cubicBezTo>
                  <a:pt x="8530084" y="1333430"/>
                  <a:pt x="8529818" y="1331700"/>
                  <a:pt x="8529152" y="1330101"/>
                </a:cubicBezTo>
                <a:cubicBezTo>
                  <a:pt x="8528487" y="1328507"/>
                  <a:pt x="8527555" y="1327172"/>
                  <a:pt x="8526490" y="1325972"/>
                </a:cubicBezTo>
                <a:cubicBezTo>
                  <a:pt x="8525425" y="1324911"/>
                  <a:pt x="8524094" y="1324111"/>
                  <a:pt x="8522496" y="1323313"/>
                </a:cubicBezTo>
                <a:cubicBezTo>
                  <a:pt x="8521032" y="1322647"/>
                  <a:pt x="8519302" y="1322386"/>
                  <a:pt x="8517438" y="1322386"/>
                </a:cubicBezTo>
                <a:close/>
                <a:moveTo>
                  <a:pt x="8299793" y="1322386"/>
                </a:moveTo>
                <a:cubicBezTo>
                  <a:pt x="8294068" y="1322386"/>
                  <a:pt x="8291406" y="1324379"/>
                  <a:pt x="8289809" y="1325972"/>
                </a:cubicBezTo>
                <a:cubicBezTo>
                  <a:pt x="8287280" y="1328636"/>
                  <a:pt x="8286215" y="1331441"/>
                  <a:pt x="8286215" y="1335427"/>
                </a:cubicBezTo>
                <a:cubicBezTo>
                  <a:pt x="8286215" y="1339551"/>
                  <a:pt x="8287280" y="1342355"/>
                  <a:pt x="8289809" y="1344879"/>
                </a:cubicBezTo>
                <a:cubicBezTo>
                  <a:pt x="8291406" y="1346483"/>
                  <a:pt x="8293935" y="1348345"/>
                  <a:pt x="8299793" y="1348345"/>
                </a:cubicBezTo>
                <a:cubicBezTo>
                  <a:pt x="8301923" y="1348345"/>
                  <a:pt x="8303653" y="1348076"/>
                  <a:pt x="8305118" y="1347407"/>
                </a:cubicBezTo>
                <a:cubicBezTo>
                  <a:pt x="8306582" y="1346878"/>
                  <a:pt x="8307913" y="1346081"/>
                  <a:pt x="8308844" y="1345018"/>
                </a:cubicBezTo>
                <a:cubicBezTo>
                  <a:pt x="8309910" y="1343820"/>
                  <a:pt x="8310842" y="1342480"/>
                  <a:pt x="8311507" y="1340751"/>
                </a:cubicBezTo>
                <a:cubicBezTo>
                  <a:pt x="8312172" y="1339153"/>
                  <a:pt x="8312439" y="1337291"/>
                  <a:pt x="8312439" y="1335294"/>
                </a:cubicBezTo>
                <a:cubicBezTo>
                  <a:pt x="8312439" y="1333430"/>
                  <a:pt x="8312172" y="1331700"/>
                  <a:pt x="8311507" y="1330101"/>
                </a:cubicBezTo>
                <a:cubicBezTo>
                  <a:pt x="8310842" y="1328507"/>
                  <a:pt x="8309910" y="1327172"/>
                  <a:pt x="8308844" y="1325972"/>
                </a:cubicBezTo>
                <a:cubicBezTo>
                  <a:pt x="8307779" y="1324911"/>
                  <a:pt x="8306448" y="1324111"/>
                  <a:pt x="8304851" y="1323313"/>
                </a:cubicBezTo>
                <a:cubicBezTo>
                  <a:pt x="8303387" y="1322647"/>
                  <a:pt x="8301790" y="1322386"/>
                  <a:pt x="8299793" y="1322386"/>
                </a:cubicBezTo>
                <a:close/>
                <a:moveTo>
                  <a:pt x="8082281" y="1322386"/>
                </a:moveTo>
                <a:cubicBezTo>
                  <a:pt x="8076424" y="1322386"/>
                  <a:pt x="8073894" y="1324379"/>
                  <a:pt x="8072297" y="1325972"/>
                </a:cubicBezTo>
                <a:cubicBezTo>
                  <a:pt x="8069768" y="1328636"/>
                  <a:pt x="8068703" y="1331441"/>
                  <a:pt x="8068703" y="1335427"/>
                </a:cubicBezTo>
                <a:cubicBezTo>
                  <a:pt x="8068703" y="1339551"/>
                  <a:pt x="8069768" y="1342355"/>
                  <a:pt x="8072297" y="1344879"/>
                </a:cubicBezTo>
                <a:cubicBezTo>
                  <a:pt x="8073894" y="1346483"/>
                  <a:pt x="8076424" y="1348345"/>
                  <a:pt x="8082281" y="1348345"/>
                </a:cubicBezTo>
                <a:cubicBezTo>
                  <a:pt x="8084277" y="1348345"/>
                  <a:pt x="8086007" y="1348076"/>
                  <a:pt x="8087605" y="1347407"/>
                </a:cubicBezTo>
                <a:cubicBezTo>
                  <a:pt x="8089069" y="1346878"/>
                  <a:pt x="8090401" y="1346081"/>
                  <a:pt x="8091332" y="1345018"/>
                </a:cubicBezTo>
                <a:cubicBezTo>
                  <a:pt x="8092397" y="1343820"/>
                  <a:pt x="8093329" y="1342480"/>
                  <a:pt x="8093994" y="1340751"/>
                </a:cubicBezTo>
                <a:cubicBezTo>
                  <a:pt x="8094660" y="1339153"/>
                  <a:pt x="8094926" y="1337291"/>
                  <a:pt x="8094926" y="1335294"/>
                </a:cubicBezTo>
                <a:cubicBezTo>
                  <a:pt x="8094926" y="1333430"/>
                  <a:pt x="8094660" y="1331700"/>
                  <a:pt x="8093994" y="1330101"/>
                </a:cubicBezTo>
                <a:cubicBezTo>
                  <a:pt x="8093329" y="1328507"/>
                  <a:pt x="8092397" y="1327172"/>
                  <a:pt x="8091332" y="1325972"/>
                </a:cubicBezTo>
                <a:cubicBezTo>
                  <a:pt x="8090267" y="1324911"/>
                  <a:pt x="8088936" y="1324111"/>
                  <a:pt x="8087338" y="1323313"/>
                </a:cubicBezTo>
                <a:cubicBezTo>
                  <a:pt x="8085874" y="1322647"/>
                  <a:pt x="8084277" y="1322386"/>
                  <a:pt x="8082281" y="1322386"/>
                </a:cubicBezTo>
                <a:close/>
                <a:moveTo>
                  <a:pt x="7864636" y="1322386"/>
                </a:moveTo>
                <a:cubicBezTo>
                  <a:pt x="7858779" y="1322386"/>
                  <a:pt x="7856249" y="1324379"/>
                  <a:pt x="7854652" y="1325972"/>
                </a:cubicBezTo>
                <a:cubicBezTo>
                  <a:pt x="7852123" y="1328636"/>
                  <a:pt x="7851058" y="1331441"/>
                  <a:pt x="7851058" y="1335427"/>
                </a:cubicBezTo>
                <a:cubicBezTo>
                  <a:pt x="7851058" y="1339551"/>
                  <a:pt x="7852123" y="1342355"/>
                  <a:pt x="7854652" y="1344879"/>
                </a:cubicBezTo>
                <a:cubicBezTo>
                  <a:pt x="7856249" y="1346483"/>
                  <a:pt x="7858779" y="1348345"/>
                  <a:pt x="7864636" y="1348345"/>
                </a:cubicBezTo>
                <a:cubicBezTo>
                  <a:pt x="7866633" y="1348345"/>
                  <a:pt x="7868363" y="1348076"/>
                  <a:pt x="7869961" y="1347407"/>
                </a:cubicBezTo>
                <a:cubicBezTo>
                  <a:pt x="7871425" y="1346878"/>
                  <a:pt x="7872756" y="1346081"/>
                  <a:pt x="7873687" y="1345018"/>
                </a:cubicBezTo>
                <a:cubicBezTo>
                  <a:pt x="7874753" y="1343820"/>
                  <a:pt x="7875685" y="1342480"/>
                  <a:pt x="7876350" y="1340751"/>
                </a:cubicBezTo>
                <a:cubicBezTo>
                  <a:pt x="7877015" y="1339153"/>
                  <a:pt x="7877282" y="1337291"/>
                  <a:pt x="7877282" y="1335294"/>
                </a:cubicBezTo>
                <a:cubicBezTo>
                  <a:pt x="7877282" y="1333430"/>
                  <a:pt x="7877015" y="1331700"/>
                  <a:pt x="7876350" y="1330101"/>
                </a:cubicBezTo>
                <a:cubicBezTo>
                  <a:pt x="7875685" y="1328507"/>
                  <a:pt x="7874753" y="1327172"/>
                  <a:pt x="7873687" y="1325972"/>
                </a:cubicBezTo>
                <a:cubicBezTo>
                  <a:pt x="7872623" y="1324911"/>
                  <a:pt x="7871291" y="1324111"/>
                  <a:pt x="7869694" y="1323313"/>
                </a:cubicBezTo>
                <a:cubicBezTo>
                  <a:pt x="7868230" y="1322647"/>
                  <a:pt x="7866633" y="1322386"/>
                  <a:pt x="7864636" y="1322386"/>
                </a:cubicBezTo>
                <a:close/>
                <a:moveTo>
                  <a:pt x="7646991" y="1322386"/>
                </a:moveTo>
                <a:cubicBezTo>
                  <a:pt x="7641134" y="1322386"/>
                  <a:pt x="7638604" y="1324379"/>
                  <a:pt x="7637007" y="1325972"/>
                </a:cubicBezTo>
                <a:cubicBezTo>
                  <a:pt x="7634478" y="1328636"/>
                  <a:pt x="7633413" y="1331441"/>
                  <a:pt x="7633413" y="1335427"/>
                </a:cubicBezTo>
                <a:cubicBezTo>
                  <a:pt x="7633413" y="1339551"/>
                  <a:pt x="7634478" y="1342355"/>
                  <a:pt x="7637007" y="1344879"/>
                </a:cubicBezTo>
                <a:cubicBezTo>
                  <a:pt x="7638604" y="1346483"/>
                  <a:pt x="7641134" y="1348345"/>
                  <a:pt x="7646991" y="1348345"/>
                </a:cubicBezTo>
                <a:cubicBezTo>
                  <a:pt x="7648987" y="1348345"/>
                  <a:pt x="7650851" y="1348076"/>
                  <a:pt x="7652315" y="1347407"/>
                </a:cubicBezTo>
                <a:cubicBezTo>
                  <a:pt x="7653780" y="1346878"/>
                  <a:pt x="7655111" y="1346081"/>
                  <a:pt x="7656042" y="1345018"/>
                </a:cubicBezTo>
                <a:cubicBezTo>
                  <a:pt x="7657108" y="1343820"/>
                  <a:pt x="7658039" y="1342480"/>
                  <a:pt x="7658705" y="1340751"/>
                </a:cubicBezTo>
                <a:cubicBezTo>
                  <a:pt x="7659504" y="1339153"/>
                  <a:pt x="7659769" y="1337291"/>
                  <a:pt x="7659769" y="1335294"/>
                </a:cubicBezTo>
                <a:cubicBezTo>
                  <a:pt x="7659769" y="1333430"/>
                  <a:pt x="7659370" y="1331700"/>
                  <a:pt x="7658705" y="1330101"/>
                </a:cubicBezTo>
                <a:cubicBezTo>
                  <a:pt x="7658039" y="1328507"/>
                  <a:pt x="7657108" y="1327172"/>
                  <a:pt x="7656042" y="1325972"/>
                </a:cubicBezTo>
                <a:cubicBezTo>
                  <a:pt x="7654977" y="1324911"/>
                  <a:pt x="7653646" y="1324111"/>
                  <a:pt x="7652049" y="1323313"/>
                </a:cubicBezTo>
                <a:cubicBezTo>
                  <a:pt x="7650584" y="1322647"/>
                  <a:pt x="7648987" y="1322386"/>
                  <a:pt x="7646991" y="1322386"/>
                </a:cubicBezTo>
                <a:close/>
                <a:moveTo>
                  <a:pt x="7429345" y="1322386"/>
                </a:moveTo>
                <a:cubicBezTo>
                  <a:pt x="7423488" y="1322386"/>
                  <a:pt x="7420958" y="1324379"/>
                  <a:pt x="7419361" y="1325972"/>
                </a:cubicBezTo>
                <a:cubicBezTo>
                  <a:pt x="7416832" y="1328636"/>
                  <a:pt x="7415768" y="1331441"/>
                  <a:pt x="7415768" y="1335427"/>
                </a:cubicBezTo>
                <a:cubicBezTo>
                  <a:pt x="7415768" y="1339551"/>
                  <a:pt x="7416832" y="1342355"/>
                  <a:pt x="7419361" y="1344879"/>
                </a:cubicBezTo>
                <a:cubicBezTo>
                  <a:pt x="7420958" y="1346483"/>
                  <a:pt x="7423488" y="1348345"/>
                  <a:pt x="7429345" y="1348345"/>
                </a:cubicBezTo>
                <a:cubicBezTo>
                  <a:pt x="7431342" y="1348345"/>
                  <a:pt x="7433206" y="1348076"/>
                  <a:pt x="7434670" y="1347407"/>
                </a:cubicBezTo>
                <a:cubicBezTo>
                  <a:pt x="7436134" y="1346878"/>
                  <a:pt x="7437466" y="1346081"/>
                  <a:pt x="7438397" y="1345018"/>
                </a:cubicBezTo>
                <a:cubicBezTo>
                  <a:pt x="7439462" y="1343820"/>
                  <a:pt x="7440394" y="1342480"/>
                  <a:pt x="7441059" y="1340751"/>
                </a:cubicBezTo>
                <a:cubicBezTo>
                  <a:pt x="7441858" y="1339153"/>
                  <a:pt x="7442124" y="1337291"/>
                  <a:pt x="7442124" y="1335294"/>
                </a:cubicBezTo>
                <a:cubicBezTo>
                  <a:pt x="7442124" y="1333430"/>
                  <a:pt x="7441725" y="1331700"/>
                  <a:pt x="7441059" y="1330101"/>
                </a:cubicBezTo>
                <a:cubicBezTo>
                  <a:pt x="7440394" y="1328507"/>
                  <a:pt x="7439462" y="1327172"/>
                  <a:pt x="7438397" y="1325972"/>
                </a:cubicBezTo>
                <a:cubicBezTo>
                  <a:pt x="7437332" y="1324911"/>
                  <a:pt x="7436001" y="1324111"/>
                  <a:pt x="7434403" y="1323313"/>
                </a:cubicBezTo>
                <a:cubicBezTo>
                  <a:pt x="7432939" y="1322647"/>
                  <a:pt x="7431342" y="1322386"/>
                  <a:pt x="7429345" y="1322386"/>
                </a:cubicBezTo>
                <a:close/>
                <a:moveTo>
                  <a:pt x="7211701" y="1322386"/>
                </a:moveTo>
                <a:cubicBezTo>
                  <a:pt x="7205844" y="1322386"/>
                  <a:pt x="7203314" y="1324379"/>
                  <a:pt x="7201717" y="1325972"/>
                </a:cubicBezTo>
                <a:cubicBezTo>
                  <a:pt x="7199188" y="1328636"/>
                  <a:pt x="7198123" y="1331441"/>
                  <a:pt x="7198123" y="1335427"/>
                </a:cubicBezTo>
                <a:cubicBezTo>
                  <a:pt x="7198123" y="1339551"/>
                  <a:pt x="7199188" y="1342355"/>
                  <a:pt x="7201717" y="1344879"/>
                </a:cubicBezTo>
                <a:cubicBezTo>
                  <a:pt x="7203314" y="1346483"/>
                  <a:pt x="7205844" y="1348345"/>
                  <a:pt x="7211701" y="1348345"/>
                </a:cubicBezTo>
                <a:cubicBezTo>
                  <a:pt x="7213830" y="1348345"/>
                  <a:pt x="7215561" y="1348076"/>
                  <a:pt x="7217026" y="1347407"/>
                </a:cubicBezTo>
                <a:cubicBezTo>
                  <a:pt x="7218490" y="1346878"/>
                  <a:pt x="7219821" y="1346081"/>
                  <a:pt x="7220752" y="1345018"/>
                </a:cubicBezTo>
                <a:cubicBezTo>
                  <a:pt x="7221818" y="1343820"/>
                  <a:pt x="7222750" y="1342480"/>
                  <a:pt x="7223415" y="1340751"/>
                </a:cubicBezTo>
                <a:cubicBezTo>
                  <a:pt x="7224214" y="1339153"/>
                  <a:pt x="7224480" y="1337291"/>
                  <a:pt x="7224480" y="1335294"/>
                </a:cubicBezTo>
                <a:cubicBezTo>
                  <a:pt x="7224480" y="1333430"/>
                  <a:pt x="7224080" y="1331700"/>
                  <a:pt x="7223415" y="1330101"/>
                </a:cubicBezTo>
                <a:cubicBezTo>
                  <a:pt x="7222750" y="1328507"/>
                  <a:pt x="7221818" y="1327172"/>
                  <a:pt x="7220752" y="1325972"/>
                </a:cubicBezTo>
                <a:cubicBezTo>
                  <a:pt x="7219687" y="1324911"/>
                  <a:pt x="7218356" y="1324111"/>
                  <a:pt x="7216759" y="1323313"/>
                </a:cubicBezTo>
                <a:cubicBezTo>
                  <a:pt x="7215295" y="1322647"/>
                  <a:pt x="7213698" y="1322386"/>
                  <a:pt x="7211701" y="1322386"/>
                </a:cubicBezTo>
                <a:close/>
                <a:moveTo>
                  <a:pt x="6994056" y="1322386"/>
                </a:moveTo>
                <a:cubicBezTo>
                  <a:pt x="6988199" y="1322386"/>
                  <a:pt x="6985669" y="1324379"/>
                  <a:pt x="6984072" y="1325972"/>
                </a:cubicBezTo>
                <a:cubicBezTo>
                  <a:pt x="6981543" y="1328636"/>
                  <a:pt x="6980478" y="1331441"/>
                  <a:pt x="6980478" y="1335427"/>
                </a:cubicBezTo>
                <a:cubicBezTo>
                  <a:pt x="6980478" y="1339551"/>
                  <a:pt x="6981543" y="1342355"/>
                  <a:pt x="6984072" y="1344879"/>
                </a:cubicBezTo>
                <a:cubicBezTo>
                  <a:pt x="6985669" y="1346483"/>
                  <a:pt x="6988199" y="1348345"/>
                  <a:pt x="6994056" y="1348345"/>
                </a:cubicBezTo>
                <a:cubicBezTo>
                  <a:pt x="6996185" y="1348345"/>
                  <a:pt x="6997916" y="1348076"/>
                  <a:pt x="6999380" y="1347407"/>
                </a:cubicBezTo>
                <a:cubicBezTo>
                  <a:pt x="7000844" y="1346878"/>
                  <a:pt x="7002176" y="1346081"/>
                  <a:pt x="7003107" y="1345018"/>
                </a:cubicBezTo>
                <a:cubicBezTo>
                  <a:pt x="7004172" y="1343820"/>
                  <a:pt x="7005104" y="1342480"/>
                  <a:pt x="7005769" y="1340751"/>
                </a:cubicBezTo>
                <a:cubicBezTo>
                  <a:pt x="7006568" y="1339153"/>
                  <a:pt x="7006834" y="1337291"/>
                  <a:pt x="7006834" y="1335294"/>
                </a:cubicBezTo>
                <a:cubicBezTo>
                  <a:pt x="7006834" y="1333430"/>
                  <a:pt x="7006435" y="1331700"/>
                  <a:pt x="7005769" y="1330101"/>
                </a:cubicBezTo>
                <a:cubicBezTo>
                  <a:pt x="7005104" y="1328507"/>
                  <a:pt x="7004172" y="1327172"/>
                  <a:pt x="7003107" y="1325972"/>
                </a:cubicBezTo>
                <a:cubicBezTo>
                  <a:pt x="7002042" y="1324911"/>
                  <a:pt x="7000711" y="1324111"/>
                  <a:pt x="6999113" y="1323313"/>
                </a:cubicBezTo>
                <a:cubicBezTo>
                  <a:pt x="6997649" y="1322647"/>
                  <a:pt x="6996052" y="1322386"/>
                  <a:pt x="6994056" y="1322386"/>
                </a:cubicBezTo>
                <a:close/>
                <a:moveTo>
                  <a:pt x="6776544" y="1322386"/>
                </a:moveTo>
                <a:cubicBezTo>
                  <a:pt x="6770687" y="1322386"/>
                  <a:pt x="6768157" y="1324379"/>
                  <a:pt x="6766560" y="1325972"/>
                </a:cubicBezTo>
                <a:cubicBezTo>
                  <a:pt x="6764031" y="1328636"/>
                  <a:pt x="6762966" y="1331441"/>
                  <a:pt x="6762966" y="1335427"/>
                </a:cubicBezTo>
                <a:cubicBezTo>
                  <a:pt x="6762966" y="1339551"/>
                  <a:pt x="6764031" y="1342355"/>
                  <a:pt x="6766560" y="1344879"/>
                </a:cubicBezTo>
                <a:cubicBezTo>
                  <a:pt x="6768157" y="1346483"/>
                  <a:pt x="6770687" y="1348345"/>
                  <a:pt x="6776544" y="1348345"/>
                </a:cubicBezTo>
                <a:cubicBezTo>
                  <a:pt x="6778541" y="1348345"/>
                  <a:pt x="6780270" y="1348076"/>
                  <a:pt x="6781869" y="1347407"/>
                </a:cubicBezTo>
                <a:cubicBezTo>
                  <a:pt x="6783333" y="1346878"/>
                  <a:pt x="6784664" y="1346081"/>
                  <a:pt x="6785595" y="1345018"/>
                </a:cubicBezTo>
                <a:cubicBezTo>
                  <a:pt x="6786661" y="1343820"/>
                  <a:pt x="6787593" y="1342480"/>
                  <a:pt x="6788258" y="1340751"/>
                </a:cubicBezTo>
                <a:cubicBezTo>
                  <a:pt x="6789057" y="1339153"/>
                  <a:pt x="6789323" y="1337291"/>
                  <a:pt x="6789323" y="1335294"/>
                </a:cubicBezTo>
                <a:cubicBezTo>
                  <a:pt x="6789323" y="1333430"/>
                  <a:pt x="6788923" y="1331700"/>
                  <a:pt x="6788258" y="1330101"/>
                </a:cubicBezTo>
                <a:cubicBezTo>
                  <a:pt x="6787593" y="1328507"/>
                  <a:pt x="6786661" y="1327172"/>
                  <a:pt x="6785595" y="1325972"/>
                </a:cubicBezTo>
                <a:cubicBezTo>
                  <a:pt x="6784530" y="1324911"/>
                  <a:pt x="6783199" y="1324111"/>
                  <a:pt x="6781602" y="1323313"/>
                </a:cubicBezTo>
                <a:cubicBezTo>
                  <a:pt x="6780138" y="1322647"/>
                  <a:pt x="6778541" y="1322386"/>
                  <a:pt x="6776544" y="1322386"/>
                </a:cubicBezTo>
                <a:close/>
                <a:moveTo>
                  <a:pt x="6558899" y="1322386"/>
                </a:moveTo>
                <a:cubicBezTo>
                  <a:pt x="6553042" y="1322386"/>
                  <a:pt x="6550512" y="1324379"/>
                  <a:pt x="6548915" y="1325972"/>
                </a:cubicBezTo>
                <a:cubicBezTo>
                  <a:pt x="6546386" y="1328636"/>
                  <a:pt x="6545321" y="1331441"/>
                  <a:pt x="6545321" y="1335427"/>
                </a:cubicBezTo>
                <a:cubicBezTo>
                  <a:pt x="6545321" y="1339551"/>
                  <a:pt x="6546386" y="1342355"/>
                  <a:pt x="6548915" y="1344879"/>
                </a:cubicBezTo>
                <a:cubicBezTo>
                  <a:pt x="6550512" y="1346483"/>
                  <a:pt x="6553042" y="1348345"/>
                  <a:pt x="6558899" y="1348345"/>
                </a:cubicBezTo>
                <a:cubicBezTo>
                  <a:pt x="6560895" y="1348345"/>
                  <a:pt x="6562759" y="1348076"/>
                  <a:pt x="6564223" y="1347407"/>
                </a:cubicBezTo>
                <a:cubicBezTo>
                  <a:pt x="6565687" y="1346878"/>
                  <a:pt x="6567019" y="1346081"/>
                  <a:pt x="6567950" y="1345018"/>
                </a:cubicBezTo>
                <a:cubicBezTo>
                  <a:pt x="6569015" y="1343820"/>
                  <a:pt x="6569947" y="1342480"/>
                  <a:pt x="6570612" y="1340751"/>
                </a:cubicBezTo>
                <a:cubicBezTo>
                  <a:pt x="6571412" y="1339153"/>
                  <a:pt x="6571677" y="1337291"/>
                  <a:pt x="6571677" y="1335294"/>
                </a:cubicBezTo>
                <a:cubicBezTo>
                  <a:pt x="6571677" y="1333430"/>
                  <a:pt x="6571278" y="1331700"/>
                  <a:pt x="6570612" y="1330101"/>
                </a:cubicBezTo>
                <a:cubicBezTo>
                  <a:pt x="6569947" y="1328507"/>
                  <a:pt x="6569015" y="1327172"/>
                  <a:pt x="6567950" y="1325972"/>
                </a:cubicBezTo>
                <a:cubicBezTo>
                  <a:pt x="6566885" y="1324911"/>
                  <a:pt x="6565554" y="1324111"/>
                  <a:pt x="6563956" y="1323313"/>
                </a:cubicBezTo>
                <a:cubicBezTo>
                  <a:pt x="6562492" y="1322647"/>
                  <a:pt x="6560895" y="1322386"/>
                  <a:pt x="6558899" y="1322386"/>
                </a:cubicBezTo>
                <a:close/>
                <a:moveTo>
                  <a:pt x="6341253" y="1322386"/>
                </a:moveTo>
                <a:cubicBezTo>
                  <a:pt x="6335396" y="1322386"/>
                  <a:pt x="6332867" y="1324379"/>
                  <a:pt x="6331270" y="1325972"/>
                </a:cubicBezTo>
                <a:cubicBezTo>
                  <a:pt x="6328740" y="1328636"/>
                  <a:pt x="6327675" y="1331441"/>
                  <a:pt x="6327675" y="1335427"/>
                </a:cubicBezTo>
                <a:cubicBezTo>
                  <a:pt x="6327675" y="1339551"/>
                  <a:pt x="6328740" y="1342355"/>
                  <a:pt x="6331270" y="1344879"/>
                </a:cubicBezTo>
                <a:cubicBezTo>
                  <a:pt x="6332867" y="1346483"/>
                  <a:pt x="6335396" y="1348345"/>
                  <a:pt x="6341253" y="1348345"/>
                </a:cubicBezTo>
                <a:cubicBezTo>
                  <a:pt x="6343250" y="1348345"/>
                  <a:pt x="6345114" y="1348076"/>
                  <a:pt x="6346578" y="1347407"/>
                </a:cubicBezTo>
                <a:cubicBezTo>
                  <a:pt x="6348042" y="1346878"/>
                  <a:pt x="6349373" y="1346081"/>
                  <a:pt x="6350305" y="1345018"/>
                </a:cubicBezTo>
                <a:cubicBezTo>
                  <a:pt x="6351370" y="1343820"/>
                  <a:pt x="6352302" y="1342480"/>
                  <a:pt x="6352968" y="1340751"/>
                </a:cubicBezTo>
                <a:cubicBezTo>
                  <a:pt x="6353766" y="1339153"/>
                  <a:pt x="6354033" y="1337291"/>
                  <a:pt x="6354033" y="1335294"/>
                </a:cubicBezTo>
                <a:cubicBezTo>
                  <a:pt x="6354033" y="1333430"/>
                  <a:pt x="6353633" y="1331700"/>
                  <a:pt x="6352968" y="1330101"/>
                </a:cubicBezTo>
                <a:cubicBezTo>
                  <a:pt x="6352302" y="1328507"/>
                  <a:pt x="6351370" y="1327172"/>
                  <a:pt x="6350305" y="1325972"/>
                </a:cubicBezTo>
                <a:cubicBezTo>
                  <a:pt x="6349241" y="1324911"/>
                  <a:pt x="6347909" y="1324111"/>
                  <a:pt x="6346312" y="1323313"/>
                </a:cubicBezTo>
                <a:cubicBezTo>
                  <a:pt x="6344848" y="1322647"/>
                  <a:pt x="6343250" y="1322386"/>
                  <a:pt x="6341253" y="1322386"/>
                </a:cubicBezTo>
                <a:close/>
                <a:moveTo>
                  <a:pt x="6123608" y="1322386"/>
                </a:moveTo>
                <a:cubicBezTo>
                  <a:pt x="6117751" y="1322386"/>
                  <a:pt x="6115221" y="1324379"/>
                  <a:pt x="6113624" y="1325972"/>
                </a:cubicBezTo>
                <a:cubicBezTo>
                  <a:pt x="6111095" y="1328636"/>
                  <a:pt x="6110030" y="1331441"/>
                  <a:pt x="6110030" y="1335427"/>
                </a:cubicBezTo>
                <a:cubicBezTo>
                  <a:pt x="6110030" y="1339551"/>
                  <a:pt x="6111095" y="1342355"/>
                  <a:pt x="6113624" y="1344879"/>
                </a:cubicBezTo>
                <a:cubicBezTo>
                  <a:pt x="6115221" y="1346483"/>
                  <a:pt x="6117751" y="1348345"/>
                  <a:pt x="6123608" y="1348345"/>
                </a:cubicBezTo>
                <a:cubicBezTo>
                  <a:pt x="6125737" y="1348345"/>
                  <a:pt x="6127468" y="1348076"/>
                  <a:pt x="6128932" y="1347407"/>
                </a:cubicBezTo>
                <a:cubicBezTo>
                  <a:pt x="6130530" y="1346878"/>
                  <a:pt x="6131728" y="1346081"/>
                  <a:pt x="6132659" y="1345018"/>
                </a:cubicBezTo>
                <a:cubicBezTo>
                  <a:pt x="6133724" y="1343820"/>
                  <a:pt x="6134656" y="1342480"/>
                  <a:pt x="6135322" y="1340751"/>
                </a:cubicBezTo>
                <a:cubicBezTo>
                  <a:pt x="6135987" y="1339153"/>
                  <a:pt x="6136387" y="1337291"/>
                  <a:pt x="6136387" y="1335294"/>
                </a:cubicBezTo>
                <a:cubicBezTo>
                  <a:pt x="6136387" y="1333430"/>
                  <a:pt x="6135987" y="1331700"/>
                  <a:pt x="6135322" y="1330101"/>
                </a:cubicBezTo>
                <a:cubicBezTo>
                  <a:pt x="6134656" y="1328507"/>
                  <a:pt x="6133724" y="1327172"/>
                  <a:pt x="6132659" y="1325972"/>
                </a:cubicBezTo>
                <a:cubicBezTo>
                  <a:pt x="6131594" y="1324911"/>
                  <a:pt x="6130263" y="1324111"/>
                  <a:pt x="6128666" y="1323313"/>
                </a:cubicBezTo>
                <a:cubicBezTo>
                  <a:pt x="6127202" y="1322647"/>
                  <a:pt x="6125604" y="1322386"/>
                  <a:pt x="6123608" y="1322386"/>
                </a:cubicBezTo>
                <a:close/>
                <a:moveTo>
                  <a:pt x="5905963" y="1322386"/>
                </a:moveTo>
                <a:cubicBezTo>
                  <a:pt x="5900106" y="1322386"/>
                  <a:pt x="5897576" y="1324379"/>
                  <a:pt x="5895979" y="1325972"/>
                </a:cubicBezTo>
                <a:cubicBezTo>
                  <a:pt x="5893450" y="1328636"/>
                  <a:pt x="5892385" y="1331441"/>
                  <a:pt x="5892385" y="1335427"/>
                </a:cubicBezTo>
                <a:cubicBezTo>
                  <a:pt x="5892385" y="1339551"/>
                  <a:pt x="5893450" y="1342355"/>
                  <a:pt x="5895979" y="1344879"/>
                </a:cubicBezTo>
                <a:cubicBezTo>
                  <a:pt x="5897576" y="1346483"/>
                  <a:pt x="5900106" y="1348345"/>
                  <a:pt x="5905963" y="1348345"/>
                </a:cubicBezTo>
                <a:cubicBezTo>
                  <a:pt x="5908093" y="1348345"/>
                  <a:pt x="5909823" y="1348076"/>
                  <a:pt x="5911287" y="1347407"/>
                </a:cubicBezTo>
                <a:cubicBezTo>
                  <a:pt x="5912751" y="1346878"/>
                  <a:pt x="5914083" y="1346081"/>
                  <a:pt x="5915014" y="1345018"/>
                </a:cubicBezTo>
                <a:cubicBezTo>
                  <a:pt x="5916079" y="1343820"/>
                  <a:pt x="5917011" y="1342480"/>
                  <a:pt x="5917677" y="1340751"/>
                </a:cubicBezTo>
                <a:cubicBezTo>
                  <a:pt x="5918342" y="1339153"/>
                  <a:pt x="5918742" y="1337291"/>
                  <a:pt x="5918742" y="1335294"/>
                </a:cubicBezTo>
                <a:cubicBezTo>
                  <a:pt x="5918742" y="1333430"/>
                  <a:pt x="5918342" y="1331700"/>
                  <a:pt x="5917677" y="1330101"/>
                </a:cubicBezTo>
                <a:cubicBezTo>
                  <a:pt x="5917011" y="1328507"/>
                  <a:pt x="5916079" y="1327172"/>
                  <a:pt x="5915014" y="1325972"/>
                </a:cubicBezTo>
                <a:cubicBezTo>
                  <a:pt x="5913950" y="1324911"/>
                  <a:pt x="5912618" y="1324111"/>
                  <a:pt x="5911021" y="1323313"/>
                </a:cubicBezTo>
                <a:cubicBezTo>
                  <a:pt x="5909557" y="1322647"/>
                  <a:pt x="5907826" y="1322386"/>
                  <a:pt x="5905963" y="1322386"/>
                </a:cubicBezTo>
                <a:close/>
                <a:moveTo>
                  <a:pt x="5688451" y="1322386"/>
                </a:moveTo>
                <a:cubicBezTo>
                  <a:pt x="5682594" y="1322386"/>
                  <a:pt x="5680064" y="1324379"/>
                  <a:pt x="5678467" y="1325972"/>
                </a:cubicBezTo>
                <a:cubicBezTo>
                  <a:pt x="5675938" y="1328636"/>
                  <a:pt x="5674873" y="1331441"/>
                  <a:pt x="5674873" y="1335427"/>
                </a:cubicBezTo>
                <a:cubicBezTo>
                  <a:pt x="5674873" y="1339551"/>
                  <a:pt x="5675938" y="1342355"/>
                  <a:pt x="5678467" y="1344879"/>
                </a:cubicBezTo>
                <a:cubicBezTo>
                  <a:pt x="5680064" y="1346483"/>
                  <a:pt x="5682594" y="1348345"/>
                  <a:pt x="5688451" y="1348345"/>
                </a:cubicBezTo>
                <a:cubicBezTo>
                  <a:pt x="5690447" y="1348345"/>
                  <a:pt x="5692178" y="1348076"/>
                  <a:pt x="5693775" y="1347407"/>
                </a:cubicBezTo>
                <a:cubicBezTo>
                  <a:pt x="5695239" y="1346878"/>
                  <a:pt x="5696571" y="1346081"/>
                  <a:pt x="5697502" y="1345018"/>
                </a:cubicBezTo>
                <a:cubicBezTo>
                  <a:pt x="5698567" y="1343820"/>
                  <a:pt x="5699499" y="1342480"/>
                  <a:pt x="5700165" y="1340751"/>
                </a:cubicBezTo>
                <a:cubicBezTo>
                  <a:pt x="5700830" y="1339153"/>
                  <a:pt x="5701230" y="1337291"/>
                  <a:pt x="5701230" y="1335294"/>
                </a:cubicBezTo>
                <a:cubicBezTo>
                  <a:pt x="5701230" y="1333430"/>
                  <a:pt x="5700830" y="1331700"/>
                  <a:pt x="5700165" y="1330101"/>
                </a:cubicBezTo>
                <a:cubicBezTo>
                  <a:pt x="5699499" y="1328507"/>
                  <a:pt x="5698567" y="1327172"/>
                  <a:pt x="5697502" y="1325972"/>
                </a:cubicBezTo>
                <a:cubicBezTo>
                  <a:pt x="5696437" y="1324911"/>
                  <a:pt x="5695106" y="1324111"/>
                  <a:pt x="5693509" y="1323313"/>
                </a:cubicBezTo>
                <a:cubicBezTo>
                  <a:pt x="5692045" y="1322647"/>
                  <a:pt x="5690314" y="1322386"/>
                  <a:pt x="5688451" y="1322386"/>
                </a:cubicBezTo>
                <a:close/>
                <a:moveTo>
                  <a:pt x="5470806" y="1322386"/>
                </a:moveTo>
                <a:cubicBezTo>
                  <a:pt x="5464949" y="1322386"/>
                  <a:pt x="5462419" y="1324379"/>
                  <a:pt x="5460822" y="1325972"/>
                </a:cubicBezTo>
                <a:cubicBezTo>
                  <a:pt x="5458293" y="1328636"/>
                  <a:pt x="5457228" y="1331441"/>
                  <a:pt x="5457228" y="1335427"/>
                </a:cubicBezTo>
                <a:cubicBezTo>
                  <a:pt x="5457228" y="1339551"/>
                  <a:pt x="5458293" y="1342355"/>
                  <a:pt x="5460822" y="1344879"/>
                </a:cubicBezTo>
                <a:cubicBezTo>
                  <a:pt x="5462419" y="1346483"/>
                  <a:pt x="5464949" y="1348345"/>
                  <a:pt x="5470806" y="1348345"/>
                </a:cubicBezTo>
                <a:cubicBezTo>
                  <a:pt x="5472802" y="1348345"/>
                  <a:pt x="5474666" y="1348076"/>
                  <a:pt x="5476130" y="1347407"/>
                </a:cubicBezTo>
                <a:cubicBezTo>
                  <a:pt x="5477594" y="1346878"/>
                  <a:pt x="5478926" y="1346081"/>
                  <a:pt x="5479857" y="1345018"/>
                </a:cubicBezTo>
                <a:cubicBezTo>
                  <a:pt x="5480922" y="1343820"/>
                  <a:pt x="5481854" y="1342480"/>
                  <a:pt x="5482520" y="1340751"/>
                </a:cubicBezTo>
                <a:cubicBezTo>
                  <a:pt x="5483319" y="1339153"/>
                  <a:pt x="5483585" y="1337291"/>
                  <a:pt x="5483585" y="1335294"/>
                </a:cubicBezTo>
                <a:cubicBezTo>
                  <a:pt x="5483585" y="1333430"/>
                  <a:pt x="5483185" y="1331700"/>
                  <a:pt x="5482520" y="1330101"/>
                </a:cubicBezTo>
                <a:cubicBezTo>
                  <a:pt x="5481854" y="1328507"/>
                  <a:pt x="5480922" y="1327172"/>
                  <a:pt x="5479857" y="1325972"/>
                </a:cubicBezTo>
                <a:cubicBezTo>
                  <a:pt x="5478793" y="1324911"/>
                  <a:pt x="5477461" y="1324111"/>
                  <a:pt x="5475864" y="1323313"/>
                </a:cubicBezTo>
                <a:cubicBezTo>
                  <a:pt x="5474400" y="1322647"/>
                  <a:pt x="5472669" y="1322386"/>
                  <a:pt x="5470806" y="1322386"/>
                </a:cubicBezTo>
                <a:close/>
                <a:moveTo>
                  <a:pt x="5253160" y="1322386"/>
                </a:moveTo>
                <a:cubicBezTo>
                  <a:pt x="5247303" y="1322386"/>
                  <a:pt x="5244774" y="1324379"/>
                  <a:pt x="5243177" y="1325972"/>
                </a:cubicBezTo>
                <a:cubicBezTo>
                  <a:pt x="5240647" y="1328636"/>
                  <a:pt x="5239583" y="1331441"/>
                  <a:pt x="5239583" y="1335427"/>
                </a:cubicBezTo>
                <a:cubicBezTo>
                  <a:pt x="5239583" y="1339551"/>
                  <a:pt x="5240647" y="1342355"/>
                  <a:pt x="5243177" y="1344879"/>
                </a:cubicBezTo>
                <a:cubicBezTo>
                  <a:pt x="5244774" y="1346483"/>
                  <a:pt x="5247303" y="1348345"/>
                  <a:pt x="5253160" y="1348345"/>
                </a:cubicBezTo>
                <a:cubicBezTo>
                  <a:pt x="5255157" y="1348345"/>
                  <a:pt x="5257021" y="1348076"/>
                  <a:pt x="5258485" y="1347407"/>
                </a:cubicBezTo>
                <a:cubicBezTo>
                  <a:pt x="5259949" y="1346878"/>
                  <a:pt x="5261280" y="1346081"/>
                  <a:pt x="5262212" y="1345018"/>
                </a:cubicBezTo>
                <a:cubicBezTo>
                  <a:pt x="5263277" y="1343820"/>
                  <a:pt x="5264209" y="1342480"/>
                  <a:pt x="5264875" y="1340751"/>
                </a:cubicBezTo>
                <a:cubicBezTo>
                  <a:pt x="5265673" y="1339153"/>
                  <a:pt x="5265939" y="1337291"/>
                  <a:pt x="5265939" y="1335294"/>
                </a:cubicBezTo>
                <a:cubicBezTo>
                  <a:pt x="5265939" y="1333430"/>
                  <a:pt x="5265540" y="1331700"/>
                  <a:pt x="5264875" y="1330101"/>
                </a:cubicBezTo>
                <a:cubicBezTo>
                  <a:pt x="5264209" y="1328507"/>
                  <a:pt x="5263277" y="1327172"/>
                  <a:pt x="5262212" y="1325972"/>
                </a:cubicBezTo>
                <a:cubicBezTo>
                  <a:pt x="5261147" y="1324911"/>
                  <a:pt x="5259816" y="1324111"/>
                  <a:pt x="5258219" y="1323313"/>
                </a:cubicBezTo>
                <a:cubicBezTo>
                  <a:pt x="5256754" y="1322647"/>
                  <a:pt x="5255024" y="1322386"/>
                  <a:pt x="5253160" y="1322386"/>
                </a:cubicBezTo>
                <a:close/>
                <a:moveTo>
                  <a:pt x="5035515" y="1322386"/>
                </a:moveTo>
                <a:cubicBezTo>
                  <a:pt x="5029658" y="1322386"/>
                  <a:pt x="5027129" y="1324379"/>
                  <a:pt x="5025532" y="1325972"/>
                </a:cubicBezTo>
                <a:cubicBezTo>
                  <a:pt x="5023002" y="1328636"/>
                  <a:pt x="5021938" y="1331441"/>
                  <a:pt x="5021938" y="1335427"/>
                </a:cubicBezTo>
                <a:cubicBezTo>
                  <a:pt x="5021938" y="1339551"/>
                  <a:pt x="5023002" y="1342355"/>
                  <a:pt x="5025532" y="1344879"/>
                </a:cubicBezTo>
                <a:cubicBezTo>
                  <a:pt x="5027129" y="1346483"/>
                  <a:pt x="5029658" y="1348345"/>
                  <a:pt x="5035515" y="1348345"/>
                </a:cubicBezTo>
                <a:cubicBezTo>
                  <a:pt x="5037645" y="1348345"/>
                  <a:pt x="5039376" y="1348076"/>
                  <a:pt x="5040840" y="1347407"/>
                </a:cubicBezTo>
                <a:cubicBezTo>
                  <a:pt x="5042304" y="1346878"/>
                  <a:pt x="5043636" y="1346081"/>
                  <a:pt x="5044567" y="1345018"/>
                </a:cubicBezTo>
                <a:cubicBezTo>
                  <a:pt x="5045632" y="1343820"/>
                  <a:pt x="5046564" y="1342480"/>
                  <a:pt x="5047230" y="1340751"/>
                </a:cubicBezTo>
                <a:cubicBezTo>
                  <a:pt x="5048028" y="1339153"/>
                  <a:pt x="5048294" y="1337291"/>
                  <a:pt x="5048294" y="1335294"/>
                </a:cubicBezTo>
                <a:cubicBezTo>
                  <a:pt x="5048294" y="1333430"/>
                  <a:pt x="5047895" y="1331700"/>
                  <a:pt x="5047230" y="1330101"/>
                </a:cubicBezTo>
                <a:cubicBezTo>
                  <a:pt x="5046564" y="1328507"/>
                  <a:pt x="5045632" y="1327172"/>
                  <a:pt x="5044567" y="1325972"/>
                </a:cubicBezTo>
                <a:cubicBezTo>
                  <a:pt x="5043502" y="1324911"/>
                  <a:pt x="5042171" y="1324111"/>
                  <a:pt x="5040574" y="1323313"/>
                </a:cubicBezTo>
                <a:cubicBezTo>
                  <a:pt x="5039110" y="1322647"/>
                  <a:pt x="5037379" y="1322386"/>
                  <a:pt x="5035515" y="1322386"/>
                </a:cubicBezTo>
                <a:close/>
                <a:moveTo>
                  <a:pt x="4817870" y="1322386"/>
                </a:moveTo>
                <a:cubicBezTo>
                  <a:pt x="4812013" y="1322386"/>
                  <a:pt x="4809484" y="1324379"/>
                  <a:pt x="4807887" y="1325972"/>
                </a:cubicBezTo>
                <a:cubicBezTo>
                  <a:pt x="4805357" y="1328636"/>
                  <a:pt x="4804293" y="1331441"/>
                  <a:pt x="4804293" y="1335427"/>
                </a:cubicBezTo>
                <a:cubicBezTo>
                  <a:pt x="4804293" y="1339551"/>
                  <a:pt x="4805357" y="1342355"/>
                  <a:pt x="4807887" y="1344879"/>
                </a:cubicBezTo>
                <a:cubicBezTo>
                  <a:pt x="4809484" y="1346483"/>
                  <a:pt x="4812013" y="1348345"/>
                  <a:pt x="4817870" y="1348345"/>
                </a:cubicBezTo>
                <a:cubicBezTo>
                  <a:pt x="4820000" y="1348345"/>
                  <a:pt x="4821731" y="1348076"/>
                  <a:pt x="4823195" y="1347407"/>
                </a:cubicBezTo>
                <a:cubicBezTo>
                  <a:pt x="4824659" y="1346878"/>
                  <a:pt x="4825857" y="1346081"/>
                  <a:pt x="4826922" y="1345018"/>
                </a:cubicBezTo>
                <a:cubicBezTo>
                  <a:pt x="4827987" y="1343820"/>
                  <a:pt x="4828919" y="1342480"/>
                  <a:pt x="4829585" y="1340751"/>
                </a:cubicBezTo>
                <a:cubicBezTo>
                  <a:pt x="4830383" y="1339153"/>
                  <a:pt x="4830650" y="1337291"/>
                  <a:pt x="4830650" y="1335294"/>
                </a:cubicBezTo>
                <a:cubicBezTo>
                  <a:pt x="4830650" y="1333430"/>
                  <a:pt x="4830250" y="1331700"/>
                  <a:pt x="4829585" y="1330101"/>
                </a:cubicBezTo>
                <a:cubicBezTo>
                  <a:pt x="4828919" y="1328507"/>
                  <a:pt x="4827987" y="1327172"/>
                  <a:pt x="4826922" y="1325972"/>
                </a:cubicBezTo>
                <a:cubicBezTo>
                  <a:pt x="4825857" y="1324911"/>
                  <a:pt x="4824526" y="1324111"/>
                  <a:pt x="4822929" y="1323313"/>
                </a:cubicBezTo>
                <a:cubicBezTo>
                  <a:pt x="4821465" y="1322647"/>
                  <a:pt x="4819734" y="1322386"/>
                  <a:pt x="4817870" y="1322386"/>
                </a:cubicBezTo>
                <a:close/>
                <a:moveTo>
                  <a:pt x="4600226" y="1322386"/>
                </a:moveTo>
                <a:cubicBezTo>
                  <a:pt x="4594369" y="1322386"/>
                  <a:pt x="4591839" y="1324379"/>
                  <a:pt x="4590242" y="1325972"/>
                </a:cubicBezTo>
                <a:cubicBezTo>
                  <a:pt x="4587713" y="1328636"/>
                  <a:pt x="4586648" y="1331441"/>
                  <a:pt x="4586648" y="1335427"/>
                </a:cubicBezTo>
                <a:cubicBezTo>
                  <a:pt x="4586648" y="1339551"/>
                  <a:pt x="4587713" y="1342355"/>
                  <a:pt x="4590242" y="1344879"/>
                </a:cubicBezTo>
                <a:cubicBezTo>
                  <a:pt x="4591839" y="1346483"/>
                  <a:pt x="4594369" y="1348345"/>
                  <a:pt x="4600226" y="1348345"/>
                </a:cubicBezTo>
                <a:cubicBezTo>
                  <a:pt x="4602355" y="1348345"/>
                  <a:pt x="4604086" y="1348076"/>
                  <a:pt x="4605550" y="1347407"/>
                </a:cubicBezTo>
                <a:cubicBezTo>
                  <a:pt x="4607148" y="1346878"/>
                  <a:pt x="4608346" y="1346081"/>
                  <a:pt x="4609277" y="1345018"/>
                </a:cubicBezTo>
                <a:cubicBezTo>
                  <a:pt x="4610342" y="1343820"/>
                  <a:pt x="4611274" y="1342480"/>
                  <a:pt x="4611940" y="1340751"/>
                </a:cubicBezTo>
                <a:cubicBezTo>
                  <a:pt x="4612605" y="1339153"/>
                  <a:pt x="4613005" y="1337291"/>
                  <a:pt x="4613005" y="1335294"/>
                </a:cubicBezTo>
                <a:cubicBezTo>
                  <a:pt x="4613005" y="1333430"/>
                  <a:pt x="4612605" y="1331700"/>
                  <a:pt x="4611940" y="1330101"/>
                </a:cubicBezTo>
                <a:cubicBezTo>
                  <a:pt x="4611274" y="1328507"/>
                  <a:pt x="4610342" y="1327172"/>
                  <a:pt x="4609277" y="1325972"/>
                </a:cubicBezTo>
                <a:cubicBezTo>
                  <a:pt x="4608212" y="1324911"/>
                  <a:pt x="4606881" y="1324111"/>
                  <a:pt x="4605284" y="1323313"/>
                </a:cubicBezTo>
                <a:cubicBezTo>
                  <a:pt x="4603820" y="1322647"/>
                  <a:pt x="4602222" y="1322386"/>
                  <a:pt x="4600226" y="1322386"/>
                </a:cubicBezTo>
                <a:close/>
                <a:moveTo>
                  <a:pt x="4382713" y="1322386"/>
                </a:moveTo>
                <a:cubicBezTo>
                  <a:pt x="4376857" y="1322386"/>
                  <a:pt x="4374327" y="1324379"/>
                  <a:pt x="4372730" y="1325972"/>
                </a:cubicBezTo>
                <a:cubicBezTo>
                  <a:pt x="4370201" y="1328636"/>
                  <a:pt x="4369136" y="1331441"/>
                  <a:pt x="4369136" y="1335427"/>
                </a:cubicBezTo>
                <a:cubicBezTo>
                  <a:pt x="4369136" y="1339551"/>
                  <a:pt x="4370201" y="1342355"/>
                  <a:pt x="4372730" y="1344879"/>
                </a:cubicBezTo>
                <a:cubicBezTo>
                  <a:pt x="4374327" y="1346483"/>
                  <a:pt x="4376857" y="1348345"/>
                  <a:pt x="4382713" y="1348345"/>
                </a:cubicBezTo>
                <a:cubicBezTo>
                  <a:pt x="4384710" y="1348345"/>
                  <a:pt x="4386441" y="1348076"/>
                  <a:pt x="4388038" y="1347407"/>
                </a:cubicBezTo>
                <a:cubicBezTo>
                  <a:pt x="4389502" y="1346878"/>
                  <a:pt x="4390834" y="1346081"/>
                  <a:pt x="4391765" y="1345018"/>
                </a:cubicBezTo>
                <a:cubicBezTo>
                  <a:pt x="4392830" y="1343820"/>
                  <a:pt x="4393762" y="1342480"/>
                  <a:pt x="4394428" y="1340751"/>
                </a:cubicBezTo>
                <a:cubicBezTo>
                  <a:pt x="4395093" y="1339153"/>
                  <a:pt x="4395493" y="1337291"/>
                  <a:pt x="4395493" y="1335294"/>
                </a:cubicBezTo>
                <a:cubicBezTo>
                  <a:pt x="4395493" y="1333430"/>
                  <a:pt x="4395093" y="1331700"/>
                  <a:pt x="4394428" y="1330101"/>
                </a:cubicBezTo>
                <a:cubicBezTo>
                  <a:pt x="4393762" y="1328507"/>
                  <a:pt x="4392830" y="1327172"/>
                  <a:pt x="4391765" y="1325972"/>
                </a:cubicBezTo>
                <a:cubicBezTo>
                  <a:pt x="4390700" y="1324911"/>
                  <a:pt x="4389369" y="1324111"/>
                  <a:pt x="4387772" y="1323313"/>
                </a:cubicBezTo>
                <a:cubicBezTo>
                  <a:pt x="4386308" y="1322647"/>
                  <a:pt x="4384710" y="1322386"/>
                  <a:pt x="4382713" y="1322386"/>
                </a:cubicBezTo>
                <a:close/>
                <a:moveTo>
                  <a:pt x="4165068" y="1322386"/>
                </a:moveTo>
                <a:cubicBezTo>
                  <a:pt x="4159211" y="1322386"/>
                  <a:pt x="4156681" y="1324379"/>
                  <a:pt x="4155084" y="1325972"/>
                </a:cubicBezTo>
                <a:cubicBezTo>
                  <a:pt x="4152555" y="1328636"/>
                  <a:pt x="4151490" y="1331441"/>
                  <a:pt x="4151490" y="1335427"/>
                </a:cubicBezTo>
                <a:cubicBezTo>
                  <a:pt x="4151490" y="1339551"/>
                  <a:pt x="4152555" y="1342355"/>
                  <a:pt x="4155084" y="1344879"/>
                </a:cubicBezTo>
                <a:cubicBezTo>
                  <a:pt x="4156681" y="1346483"/>
                  <a:pt x="4159211" y="1348345"/>
                  <a:pt x="4165068" y="1348345"/>
                </a:cubicBezTo>
                <a:cubicBezTo>
                  <a:pt x="4167064" y="1348345"/>
                  <a:pt x="4168928" y="1348076"/>
                  <a:pt x="4170392" y="1347407"/>
                </a:cubicBezTo>
                <a:cubicBezTo>
                  <a:pt x="4171856" y="1346878"/>
                  <a:pt x="4173188" y="1346081"/>
                  <a:pt x="4174119" y="1345018"/>
                </a:cubicBezTo>
                <a:cubicBezTo>
                  <a:pt x="4175184" y="1343820"/>
                  <a:pt x="4176116" y="1342480"/>
                  <a:pt x="4176782" y="1340751"/>
                </a:cubicBezTo>
                <a:cubicBezTo>
                  <a:pt x="4177447" y="1339153"/>
                  <a:pt x="4177847" y="1337291"/>
                  <a:pt x="4177847" y="1335294"/>
                </a:cubicBezTo>
                <a:cubicBezTo>
                  <a:pt x="4177847" y="1333430"/>
                  <a:pt x="4177447" y="1331700"/>
                  <a:pt x="4176782" y="1330101"/>
                </a:cubicBezTo>
                <a:cubicBezTo>
                  <a:pt x="4176116" y="1328507"/>
                  <a:pt x="4175184" y="1327172"/>
                  <a:pt x="4174119" y="1325972"/>
                </a:cubicBezTo>
                <a:cubicBezTo>
                  <a:pt x="4173054" y="1324911"/>
                  <a:pt x="4171723" y="1324111"/>
                  <a:pt x="4170126" y="1323313"/>
                </a:cubicBezTo>
                <a:cubicBezTo>
                  <a:pt x="4168662" y="1322647"/>
                  <a:pt x="4167064" y="1322386"/>
                  <a:pt x="4165068" y="1322386"/>
                </a:cubicBezTo>
                <a:close/>
                <a:moveTo>
                  <a:pt x="3947501" y="1322386"/>
                </a:moveTo>
                <a:cubicBezTo>
                  <a:pt x="3941643" y="1322386"/>
                  <a:pt x="3939114" y="1324379"/>
                  <a:pt x="3937517" y="1325972"/>
                </a:cubicBezTo>
                <a:cubicBezTo>
                  <a:pt x="3934986" y="1328636"/>
                  <a:pt x="3933923" y="1331441"/>
                  <a:pt x="3933923" y="1335427"/>
                </a:cubicBezTo>
                <a:cubicBezTo>
                  <a:pt x="3933923" y="1339551"/>
                  <a:pt x="3934986" y="1342355"/>
                  <a:pt x="3937517" y="1344879"/>
                </a:cubicBezTo>
                <a:cubicBezTo>
                  <a:pt x="3939114" y="1346483"/>
                  <a:pt x="3941643" y="1348345"/>
                  <a:pt x="3947501" y="1348345"/>
                </a:cubicBezTo>
                <a:cubicBezTo>
                  <a:pt x="3949498" y="1348345"/>
                  <a:pt x="3951360" y="1348076"/>
                  <a:pt x="3952826" y="1347407"/>
                </a:cubicBezTo>
                <a:cubicBezTo>
                  <a:pt x="3954290" y="1346878"/>
                  <a:pt x="3955620" y="1346081"/>
                  <a:pt x="3956553" y="1345018"/>
                </a:cubicBezTo>
                <a:cubicBezTo>
                  <a:pt x="3957618" y="1343820"/>
                  <a:pt x="3958550" y="1342480"/>
                  <a:pt x="3959216" y="1340751"/>
                </a:cubicBezTo>
                <a:cubicBezTo>
                  <a:pt x="3959881" y="1339153"/>
                  <a:pt x="3960280" y="1337291"/>
                  <a:pt x="3960280" y="1335294"/>
                </a:cubicBezTo>
                <a:cubicBezTo>
                  <a:pt x="3960280" y="1333430"/>
                  <a:pt x="3959881" y="1331700"/>
                  <a:pt x="3959216" y="1330101"/>
                </a:cubicBezTo>
                <a:cubicBezTo>
                  <a:pt x="3958550" y="1328507"/>
                  <a:pt x="3957618" y="1327172"/>
                  <a:pt x="3956553" y="1325972"/>
                </a:cubicBezTo>
                <a:cubicBezTo>
                  <a:pt x="3955487" y="1324911"/>
                  <a:pt x="3954156" y="1324111"/>
                  <a:pt x="3952559" y="1323313"/>
                </a:cubicBezTo>
                <a:cubicBezTo>
                  <a:pt x="3951094" y="1322647"/>
                  <a:pt x="3949498" y="1322386"/>
                  <a:pt x="3947501" y="1322386"/>
                </a:cubicBezTo>
                <a:close/>
                <a:moveTo>
                  <a:pt x="3729851" y="1322386"/>
                </a:moveTo>
                <a:cubicBezTo>
                  <a:pt x="3723994" y="1322386"/>
                  <a:pt x="3721465" y="1324379"/>
                  <a:pt x="3719865" y="1325972"/>
                </a:cubicBezTo>
                <a:cubicBezTo>
                  <a:pt x="3717336" y="1328636"/>
                  <a:pt x="3716273" y="1331441"/>
                  <a:pt x="3716273" y="1335427"/>
                </a:cubicBezTo>
                <a:cubicBezTo>
                  <a:pt x="3716273" y="1339551"/>
                  <a:pt x="3717336" y="1342355"/>
                  <a:pt x="3719865" y="1344879"/>
                </a:cubicBezTo>
                <a:cubicBezTo>
                  <a:pt x="3721465" y="1346483"/>
                  <a:pt x="3723994" y="1348345"/>
                  <a:pt x="3729851" y="1348345"/>
                </a:cubicBezTo>
                <a:cubicBezTo>
                  <a:pt x="3731981" y="1348345"/>
                  <a:pt x="3733712" y="1348076"/>
                  <a:pt x="3735176" y="1347407"/>
                </a:cubicBezTo>
                <a:cubicBezTo>
                  <a:pt x="3736640" y="1346878"/>
                  <a:pt x="3737972" y="1346081"/>
                  <a:pt x="3738903" y="1345018"/>
                </a:cubicBezTo>
                <a:cubicBezTo>
                  <a:pt x="3739968" y="1343820"/>
                  <a:pt x="3740900" y="1342480"/>
                  <a:pt x="3741566" y="1340751"/>
                </a:cubicBezTo>
                <a:cubicBezTo>
                  <a:pt x="3742231" y="1339153"/>
                  <a:pt x="3742630" y="1337291"/>
                  <a:pt x="3742630" y="1335294"/>
                </a:cubicBezTo>
                <a:cubicBezTo>
                  <a:pt x="3742630" y="1333430"/>
                  <a:pt x="3742231" y="1331700"/>
                  <a:pt x="3741566" y="1330101"/>
                </a:cubicBezTo>
                <a:cubicBezTo>
                  <a:pt x="3740900" y="1328507"/>
                  <a:pt x="3739968" y="1327172"/>
                  <a:pt x="3738903" y="1325972"/>
                </a:cubicBezTo>
                <a:cubicBezTo>
                  <a:pt x="3737838" y="1324911"/>
                  <a:pt x="3736507" y="1324111"/>
                  <a:pt x="3734910" y="1323313"/>
                </a:cubicBezTo>
                <a:cubicBezTo>
                  <a:pt x="3733445" y="1322647"/>
                  <a:pt x="3731848" y="1322386"/>
                  <a:pt x="3729851" y="1322386"/>
                </a:cubicBezTo>
                <a:close/>
                <a:moveTo>
                  <a:pt x="3512202" y="1322386"/>
                </a:moveTo>
                <a:cubicBezTo>
                  <a:pt x="3506345" y="1322386"/>
                  <a:pt x="3503815" y="1324379"/>
                  <a:pt x="3502217" y="1325972"/>
                </a:cubicBezTo>
                <a:cubicBezTo>
                  <a:pt x="3499687" y="1328636"/>
                  <a:pt x="3498624" y="1331441"/>
                  <a:pt x="3498624" y="1335427"/>
                </a:cubicBezTo>
                <a:cubicBezTo>
                  <a:pt x="3498624" y="1339551"/>
                  <a:pt x="3499687" y="1342355"/>
                  <a:pt x="3502217" y="1344879"/>
                </a:cubicBezTo>
                <a:cubicBezTo>
                  <a:pt x="3503815" y="1346483"/>
                  <a:pt x="3506345" y="1348345"/>
                  <a:pt x="3512202" y="1348345"/>
                </a:cubicBezTo>
                <a:cubicBezTo>
                  <a:pt x="3514332" y="1348345"/>
                  <a:pt x="3516063" y="1348076"/>
                  <a:pt x="3517527" y="1347407"/>
                </a:cubicBezTo>
                <a:cubicBezTo>
                  <a:pt x="3518991" y="1346878"/>
                  <a:pt x="3520323" y="1346081"/>
                  <a:pt x="3521254" y="1345018"/>
                </a:cubicBezTo>
                <a:cubicBezTo>
                  <a:pt x="3522319" y="1343820"/>
                  <a:pt x="3523251" y="1342480"/>
                  <a:pt x="3523917" y="1340751"/>
                </a:cubicBezTo>
                <a:cubicBezTo>
                  <a:pt x="3524582" y="1339153"/>
                  <a:pt x="3524982" y="1337291"/>
                  <a:pt x="3524982" y="1335294"/>
                </a:cubicBezTo>
                <a:cubicBezTo>
                  <a:pt x="3524982" y="1333430"/>
                  <a:pt x="3524582" y="1331700"/>
                  <a:pt x="3523917" y="1330101"/>
                </a:cubicBezTo>
                <a:cubicBezTo>
                  <a:pt x="3523251" y="1328507"/>
                  <a:pt x="3522319" y="1327172"/>
                  <a:pt x="3521254" y="1325972"/>
                </a:cubicBezTo>
                <a:cubicBezTo>
                  <a:pt x="3520189" y="1324911"/>
                  <a:pt x="3518858" y="1324111"/>
                  <a:pt x="3517261" y="1323313"/>
                </a:cubicBezTo>
                <a:cubicBezTo>
                  <a:pt x="3515797" y="1322647"/>
                  <a:pt x="3514199" y="1322386"/>
                  <a:pt x="3512202" y="1322386"/>
                </a:cubicBezTo>
                <a:close/>
                <a:moveTo>
                  <a:pt x="3294686" y="1322386"/>
                </a:moveTo>
                <a:cubicBezTo>
                  <a:pt x="3288829" y="1322386"/>
                  <a:pt x="3286299" y="1324379"/>
                  <a:pt x="3284702" y="1325972"/>
                </a:cubicBezTo>
                <a:cubicBezTo>
                  <a:pt x="3282171" y="1328636"/>
                  <a:pt x="3281108" y="1331441"/>
                  <a:pt x="3281108" y="1335427"/>
                </a:cubicBezTo>
                <a:cubicBezTo>
                  <a:pt x="3281108" y="1339551"/>
                  <a:pt x="3282171" y="1342355"/>
                  <a:pt x="3284702" y="1344879"/>
                </a:cubicBezTo>
                <a:cubicBezTo>
                  <a:pt x="3286299" y="1346483"/>
                  <a:pt x="3288829" y="1348345"/>
                  <a:pt x="3294686" y="1348345"/>
                </a:cubicBezTo>
                <a:cubicBezTo>
                  <a:pt x="3296683" y="1348345"/>
                  <a:pt x="3298413" y="1348076"/>
                  <a:pt x="3300011" y="1347407"/>
                </a:cubicBezTo>
                <a:cubicBezTo>
                  <a:pt x="3301475" y="1346878"/>
                  <a:pt x="3302807" y="1346081"/>
                  <a:pt x="3303738" y="1345018"/>
                </a:cubicBezTo>
                <a:cubicBezTo>
                  <a:pt x="3304804" y="1343820"/>
                  <a:pt x="3305735" y="1342480"/>
                  <a:pt x="3306401" y="1340751"/>
                </a:cubicBezTo>
                <a:cubicBezTo>
                  <a:pt x="3307066" y="1339153"/>
                  <a:pt x="3307465" y="1337291"/>
                  <a:pt x="3307465" y="1335294"/>
                </a:cubicBezTo>
                <a:cubicBezTo>
                  <a:pt x="3307465" y="1333430"/>
                  <a:pt x="3307066" y="1331700"/>
                  <a:pt x="3306401" y="1330101"/>
                </a:cubicBezTo>
                <a:cubicBezTo>
                  <a:pt x="3305735" y="1328507"/>
                  <a:pt x="3304804" y="1327172"/>
                  <a:pt x="3303738" y="1325972"/>
                </a:cubicBezTo>
                <a:cubicBezTo>
                  <a:pt x="3302673" y="1324911"/>
                  <a:pt x="3301342" y="1324111"/>
                  <a:pt x="3299745" y="1323313"/>
                </a:cubicBezTo>
                <a:cubicBezTo>
                  <a:pt x="3298281" y="1322647"/>
                  <a:pt x="3296683" y="1322386"/>
                  <a:pt x="3294686" y="1322386"/>
                </a:cubicBezTo>
                <a:close/>
                <a:moveTo>
                  <a:pt x="3077170" y="1322386"/>
                </a:moveTo>
                <a:cubicBezTo>
                  <a:pt x="3071313" y="1322386"/>
                  <a:pt x="3068783" y="1324379"/>
                  <a:pt x="3067187" y="1325972"/>
                </a:cubicBezTo>
                <a:cubicBezTo>
                  <a:pt x="3064523" y="1328636"/>
                  <a:pt x="3063459" y="1331441"/>
                  <a:pt x="3063459" y="1335427"/>
                </a:cubicBezTo>
                <a:cubicBezTo>
                  <a:pt x="3063459" y="1339551"/>
                  <a:pt x="3064523" y="1342355"/>
                  <a:pt x="3067054" y="1344879"/>
                </a:cubicBezTo>
                <a:cubicBezTo>
                  <a:pt x="3068650" y="1346483"/>
                  <a:pt x="3071180" y="1348345"/>
                  <a:pt x="3077037" y="1348345"/>
                </a:cubicBezTo>
                <a:cubicBezTo>
                  <a:pt x="3079034" y="1348345"/>
                  <a:pt x="3080764" y="1348076"/>
                  <a:pt x="3082495" y="1347407"/>
                </a:cubicBezTo>
                <a:cubicBezTo>
                  <a:pt x="3083960" y="1346878"/>
                  <a:pt x="3085291" y="1346081"/>
                  <a:pt x="3086223" y="1345018"/>
                </a:cubicBezTo>
                <a:cubicBezTo>
                  <a:pt x="3087287" y="1343820"/>
                  <a:pt x="3088219" y="1342480"/>
                  <a:pt x="3088885" y="1340751"/>
                </a:cubicBezTo>
                <a:cubicBezTo>
                  <a:pt x="3089550" y="1339153"/>
                  <a:pt x="3089817" y="1337291"/>
                  <a:pt x="3089817" y="1335294"/>
                </a:cubicBezTo>
                <a:cubicBezTo>
                  <a:pt x="3089817" y="1333430"/>
                  <a:pt x="3089550" y="1331700"/>
                  <a:pt x="3088885" y="1330101"/>
                </a:cubicBezTo>
                <a:cubicBezTo>
                  <a:pt x="3088219" y="1328507"/>
                  <a:pt x="3087287" y="1327172"/>
                  <a:pt x="3086223" y="1325972"/>
                </a:cubicBezTo>
                <a:cubicBezTo>
                  <a:pt x="3085158" y="1324911"/>
                  <a:pt x="3083826" y="1324111"/>
                  <a:pt x="3082230" y="1323313"/>
                </a:cubicBezTo>
                <a:cubicBezTo>
                  <a:pt x="3080764" y="1322647"/>
                  <a:pt x="3079167" y="1322386"/>
                  <a:pt x="3077170" y="1322386"/>
                </a:cubicBezTo>
                <a:close/>
                <a:moveTo>
                  <a:pt x="2859388" y="1322386"/>
                </a:moveTo>
                <a:cubicBezTo>
                  <a:pt x="2853531" y="1322386"/>
                  <a:pt x="2851002" y="1324379"/>
                  <a:pt x="2849405" y="1325972"/>
                </a:cubicBezTo>
                <a:cubicBezTo>
                  <a:pt x="2846873" y="1328636"/>
                  <a:pt x="2845810" y="1331441"/>
                  <a:pt x="2845810" y="1335427"/>
                </a:cubicBezTo>
                <a:cubicBezTo>
                  <a:pt x="2845810" y="1339551"/>
                  <a:pt x="2846873" y="1342355"/>
                  <a:pt x="2849405" y="1344879"/>
                </a:cubicBezTo>
                <a:cubicBezTo>
                  <a:pt x="2851002" y="1346483"/>
                  <a:pt x="2853531" y="1348345"/>
                  <a:pt x="2859388" y="1348345"/>
                </a:cubicBezTo>
                <a:cubicBezTo>
                  <a:pt x="2861385" y="1348345"/>
                  <a:pt x="2863249" y="1348076"/>
                  <a:pt x="2864713" y="1347407"/>
                </a:cubicBezTo>
                <a:cubicBezTo>
                  <a:pt x="2866311" y="1346878"/>
                  <a:pt x="2867510" y="1346081"/>
                  <a:pt x="2868440" y="1345018"/>
                </a:cubicBezTo>
                <a:cubicBezTo>
                  <a:pt x="2869505" y="1343820"/>
                  <a:pt x="2870437" y="1342480"/>
                  <a:pt x="2871103" y="1340751"/>
                </a:cubicBezTo>
                <a:cubicBezTo>
                  <a:pt x="2871635" y="1339153"/>
                  <a:pt x="2872034" y="1337291"/>
                  <a:pt x="2872034" y="1335294"/>
                </a:cubicBezTo>
                <a:cubicBezTo>
                  <a:pt x="2872034" y="1333430"/>
                  <a:pt x="2871768" y="1331700"/>
                  <a:pt x="2871103" y="1330101"/>
                </a:cubicBezTo>
                <a:cubicBezTo>
                  <a:pt x="2870437" y="1328507"/>
                  <a:pt x="2869505" y="1327172"/>
                  <a:pt x="2868440" y="1325972"/>
                </a:cubicBezTo>
                <a:cubicBezTo>
                  <a:pt x="2867376" y="1324911"/>
                  <a:pt x="2866044" y="1324111"/>
                  <a:pt x="2864448" y="1323313"/>
                </a:cubicBezTo>
                <a:cubicBezTo>
                  <a:pt x="2862984" y="1322647"/>
                  <a:pt x="2861385" y="1322386"/>
                  <a:pt x="2859388" y="1322386"/>
                </a:cubicBezTo>
                <a:close/>
                <a:moveTo>
                  <a:pt x="2641739" y="1322386"/>
                </a:moveTo>
                <a:cubicBezTo>
                  <a:pt x="2635882" y="1322386"/>
                  <a:pt x="2633353" y="1324379"/>
                  <a:pt x="2631756" y="1325972"/>
                </a:cubicBezTo>
                <a:cubicBezTo>
                  <a:pt x="2629226" y="1328636"/>
                  <a:pt x="2628162" y="1331441"/>
                  <a:pt x="2628162" y="1335427"/>
                </a:cubicBezTo>
                <a:cubicBezTo>
                  <a:pt x="2628162" y="1339551"/>
                  <a:pt x="2629226" y="1342355"/>
                  <a:pt x="2631756" y="1344879"/>
                </a:cubicBezTo>
                <a:cubicBezTo>
                  <a:pt x="2633353" y="1346483"/>
                  <a:pt x="2635882" y="1348345"/>
                  <a:pt x="2641739" y="1348345"/>
                </a:cubicBezTo>
                <a:cubicBezTo>
                  <a:pt x="2643736" y="1348345"/>
                  <a:pt x="2645601" y="1348076"/>
                  <a:pt x="2647065" y="1347407"/>
                </a:cubicBezTo>
                <a:cubicBezTo>
                  <a:pt x="2648661" y="1346878"/>
                  <a:pt x="2649859" y="1346081"/>
                  <a:pt x="2650791" y="1345018"/>
                </a:cubicBezTo>
                <a:cubicBezTo>
                  <a:pt x="2651857" y="1343820"/>
                  <a:pt x="2652788" y="1342480"/>
                  <a:pt x="2653455" y="1340751"/>
                </a:cubicBezTo>
                <a:cubicBezTo>
                  <a:pt x="2653986" y="1339153"/>
                  <a:pt x="2654385" y="1337291"/>
                  <a:pt x="2654385" y="1335294"/>
                </a:cubicBezTo>
                <a:cubicBezTo>
                  <a:pt x="2654385" y="1333430"/>
                  <a:pt x="2654120" y="1331700"/>
                  <a:pt x="2653455" y="1330101"/>
                </a:cubicBezTo>
                <a:cubicBezTo>
                  <a:pt x="2652788" y="1328507"/>
                  <a:pt x="2651857" y="1327172"/>
                  <a:pt x="2650791" y="1325972"/>
                </a:cubicBezTo>
                <a:cubicBezTo>
                  <a:pt x="2649726" y="1324911"/>
                  <a:pt x="2648395" y="1324111"/>
                  <a:pt x="2646798" y="1323313"/>
                </a:cubicBezTo>
                <a:cubicBezTo>
                  <a:pt x="2645333" y="1322647"/>
                  <a:pt x="2643736" y="1322386"/>
                  <a:pt x="2641739" y="1322386"/>
                </a:cubicBezTo>
                <a:close/>
                <a:moveTo>
                  <a:pt x="2424090" y="1322386"/>
                </a:moveTo>
                <a:cubicBezTo>
                  <a:pt x="2418233" y="1322386"/>
                  <a:pt x="2415704" y="1324379"/>
                  <a:pt x="2414107" y="1325972"/>
                </a:cubicBezTo>
                <a:cubicBezTo>
                  <a:pt x="2411576" y="1328636"/>
                  <a:pt x="2410513" y="1331441"/>
                  <a:pt x="2410513" y="1335427"/>
                </a:cubicBezTo>
                <a:cubicBezTo>
                  <a:pt x="2410513" y="1339551"/>
                  <a:pt x="2411576" y="1342355"/>
                  <a:pt x="2414107" y="1344879"/>
                </a:cubicBezTo>
                <a:cubicBezTo>
                  <a:pt x="2415704" y="1346483"/>
                  <a:pt x="2418233" y="1348345"/>
                  <a:pt x="2424090" y="1348345"/>
                </a:cubicBezTo>
                <a:cubicBezTo>
                  <a:pt x="2426220" y="1348345"/>
                  <a:pt x="2427951" y="1348076"/>
                  <a:pt x="2429415" y="1347407"/>
                </a:cubicBezTo>
                <a:cubicBezTo>
                  <a:pt x="2431013" y="1346878"/>
                  <a:pt x="2432211" y="1346081"/>
                  <a:pt x="2433142" y="1345018"/>
                </a:cubicBezTo>
                <a:cubicBezTo>
                  <a:pt x="2434207" y="1343820"/>
                  <a:pt x="2435139" y="1342480"/>
                  <a:pt x="2435805" y="1340751"/>
                </a:cubicBezTo>
                <a:cubicBezTo>
                  <a:pt x="2436337" y="1339153"/>
                  <a:pt x="2436736" y="1337291"/>
                  <a:pt x="2436736" y="1335294"/>
                </a:cubicBezTo>
                <a:cubicBezTo>
                  <a:pt x="2436736" y="1333430"/>
                  <a:pt x="2436470" y="1331700"/>
                  <a:pt x="2435805" y="1330101"/>
                </a:cubicBezTo>
                <a:cubicBezTo>
                  <a:pt x="2435139" y="1328507"/>
                  <a:pt x="2434207" y="1327172"/>
                  <a:pt x="2433142" y="1325972"/>
                </a:cubicBezTo>
                <a:cubicBezTo>
                  <a:pt x="2432078" y="1324911"/>
                  <a:pt x="2430747" y="1324111"/>
                  <a:pt x="2429149" y="1323313"/>
                </a:cubicBezTo>
                <a:cubicBezTo>
                  <a:pt x="2427685" y="1322647"/>
                  <a:pt x="2426087" y="1322386"/>
                  <a:pt x="2424090" y="1322386"/>
                </a:cubicBezTo>
                <a:close/>
                <a:moveTo>
                  <a:pt x="2206441" y="1322386"/>
                </a:moveTo>
                <a:cubicBezTo>
                  <a:pt x="2200584" y="1322386"/>
                  <a:pt x="2198055" y="1324379"/>
                  <a:pt x="2196458" y="1325972"/>
                </a:cubicBezTo>
                <a:cubicBezTo>
                  <a:pt x="2193928" y="1328636"/>
                  <a:pt x="2192863" y="1331441"/>
                  <a:pt x="2192863" y="1335427"/>
                </a:cubicBezTo>
                <a:cubicBezTo>
                  <a:pt x="2192863" y="1339551"/>
                  <a:pt x="2193928" y="1342355"/>
                  <a:pt x="2196458" y="1344879"/>
                </a:cubicBezTo>
                <a:cubicBezTo>
                  <a:pt x="2198055" y="1346483"/>
                  <a:pt x="2200584" y="1348345"/>
                  <a:pt x="2206441" y="1348345"/>
                </a:cubicBezTo>
                <a:cubicBezTo>
                  <a:pt x="2208571" y="1348345"/>
                  <a:pt x="2210302" y="1348076"/>
                  <a:pt x="2211766" y="1347407"/>
                </a:cubicBezTo>
                <a:cubicBezTo>
                  <a:pt x="2213363" y="1346878"/>
                  <a:pt x="2214561" y="1346081"/>
                  <a:pt x="2215493" y="1345018"/>
                </a:cubicBezTo>
                <a:cubicBezTo>
                  <a:pt x="2216558" y="1343820"/>
                  <a:pt x="2217490" y="1342480"/>
                  <a:pt x="2218156" y="1340751"/>
                </a:cubicBezTo>
                <a:cubicBezTo>
                  <a:pt x="2218688" y="1339153"/>
                  <a:pt x="2219087" y="1337291"/>
                  <a:pt x="2219087" y="1335294"/>
                </a:cubicBezTo>
                <a:cubicBezTo>
                  <a:pt x="2219087" y="1333430"/>
                  <a:pt x="2218821" y="1331700"/>
                  <a:pt x="2218156" y="1330101"/>
                </a:cubicBezTo>
                <a:cubicBezTo>
                  <a:pt x="2217490" y="1328507"/>
                  <a:pt x="2216558" y="1327172"/>
                  <a:pt x="2215493" y="1325972"/>
                </a:cubicBezTo>
                <a:cubicBezTo>
                  <a:pt x="2214428" y="1324911"/>
                  <a:pt x="2213097" y="1324111"/>
                  <a:pt x="2211500" y="1323313"/>
                </a:cubicBezTo>
                <a:cubicBezTo>
                  <a:pt x="2210035" y="1322647"/>
                  <a:pt x="2208438" y="1322386"/>
                  <a:pt x="2206441" y="1322386"/>
                </a:cubicBezTo>
                <a:close/>
                <a:moveTo>
                  <a:pt x="1988925" y="1322386"/>
                </a:moveTo>
                <a:cubicBezTo>
                  <a:pt x="1983068" y="1322386"/>
                  <a:pt x="1980539" y="1324379"/>
                  <a:pt x="1978942" y="1325972"/>
                </a:cubicBezTo>
                <a:cubicBezTo>
                  <a:pt x="1976412" y="1328636"/>
                  <a:pt x="1975348" y="1331441"/>
                  <a:pt x="1975348" y="1335427"/>
                </a:cubicBezTo>
                <a:cubicBezTo>
                  <a:pt x="1975348" y="1339551"/>
                  <a:pt x="1976412" y="1342355"/>
                  <a:pt x="1978942" y="1344879"/>
                </a:cubicBezTo>
                <a:cubicBezTo>
                  <a:pt x="1980539" y="1346483"/>
                  <a:pt x="1983068" y="1348345"/>
                  <a:pt x="1988925" y="1348345"/>
                </a:cubicBezTo>
                <a:cubicBezTo>
                  <a:pt x="1990922" y="1348345"/>
                  <a:pt x="1992653" y="1348076"/>
                  <a:pt x="1994250" y="1347407"/>
                </a:cubicBezTo>
                <a:cubicBezTo>
                  <a:pt x="1995848" y="1346878"/>
                  <a:pt x="1997046" y="1346081"/>
                  <a:pt x="1997977" y="1345018"/>
                </a:cubicBezTo>
                <a:cubicBezTo>
                  <a:pt x="1999042" y="1343820"/>
                  <a:pt x="1999974" y="1342480"/>
                  <a:pt x="2000640" y="1340751"/>
                </a:cubicBezTo>
                <a:cubicBezTo>
                  <a:pt x="2001172" y="1339153"/>
                  <a:pt x="2001571" y="1337291"/>
                  <a:pt x="2001571" y="1335294"/>
                </a:cubicBezTo>
                <a:cubicBezTo>
                  <a:pt x="2001571" y="1333430"/>
                  <a:pt x="2001305" y="1331700"/>
                  <a:pt x="2000640" y="1330101"/>
                </a:cubicBezTo>
                <a:cubicBezTo>
                  <a:pt x="1999974" y="1328507"/>
                  <a:pt x="1999042" y="1327172"/>
                  <a:pt x="1997977" y="1325972"/>
                </a:cubicBezTo>
                <a:cubicBezTo>
                  <a:pt x="1996913" y="1324911"/>
                  <a:pt x="1995581" y="1324111"/>
                  <a:pt x="1993984" y="1323313"/>
                </a:cubicBezTo>
                <a:cubicBezTo>
                  <a:pt x="1992520" y="1322647"/>
                  <a:pt x="1990922" y="1322386"/>
                  <a:pt x="1988925" y="1322386"/>
                </a:cubicBezTo>
                <a:close/>
                <a:moveTo>
                  <a:pt x="1771283" y="1322386"/>
                </a:moveTo>
                <a:cubicBezTo>
                  <a:pt x="1765426" y="1322386"/>
                  <a:pt x="1762897" y="1324379"/>
                  <a:pt x="1761300" y="1325972"/>
                </a:cubicBezTo>
                <a:cubicBezTo>
                  <a:pt x="1758770" y="1328636"/>
                  <a:pt x="1757706" y="1331441"/>
                  <a:pt x="1757706" y="1335427"/>
                </a:cubicBezTo>
                <a:cubicBezTo>
                  <a:pt x="1757706" y="1339551"/>
                  <a:pt x="1758770" y="1342355"/>
                  <a:pt x="1761300" y="1344879"/>
                </a:cubicBezTo>
                <a:cubicBezTo>
                  <a:pt x="1762897" y="1346483"/>
                  <a:pt x="1765426" y="1348345"/>
                  <a:pt x="1771283" y="1348345"/>
                </a:cubicBezTo>
                <a:cubicBezTo>
                  <a:pt x="1773280" y="1348345"/>
                  <a:pt x="1775144" y="1348076"/>
                  <a:pt x="1776608" y="1347407"/>
                </a:cubicBezTo>
                <a:cubicBezTo>
                  <a:pt x="1778072" y="1346878"/>
                  <a:pt x="1779403" y="1346081"/>
                  <a:pt x="1780335" y="1345018"/>
                </a:cubicBezTo>
                <a:cubicBezTo>
                  <a:pt x="1781400" y="1343820"/>
                  <a:pt x="1782331" y="1342480"/>
                  <a:pt x="1782998" y="1340751"/>
                </a:cubicBezTo>
                <a:cubicBezTo>
                  <a:pt x="1783663" y="1339153"/>
                  <a:pt x="1784063" y="1337291"/>
                  <a:pt x="1784063" y="1335294"/>
                </a:cubicBezTo>
                <a:cubicBezTo>
                  <a:pt x="1784063" y="1333430"/>
                  <a:pt x="1783663" y="1331700"/>
                  <a:pt x="1782998" y="1330101"/>
                </a:cubicBezTo>
                <a:cubicBezTo>
                  <a:pt x="1782331" y="1328507"/>
                  <a:pt x="1781400" y="1327172"/>
                  <a:pt x="1780335" y="1325972"/>
                </a:cubicBezTo>
                <a:cubicBezTo>
                  <a:pt x="1779270" y="1324911"/>
                  <a:pt x="1777939" y="1324111"/>
                  <a:pt x="1776342" y="1323313"/>
                </a:cubicBezTo>
                <a:cubicBezTo>
                  <a:pt x="1774877" y="1322647"/>
                  <a:pt x="1773280" y="1322386"/>
                  <a:pt x="1771283" y="1322386"/>
                </a:cubicBezTo>
                <a:close/>
                <a:moveTo>
                  <a:pt x="1553640" y="1322386"/>
                </a:moveTo>
                <a:cubicBezTo>
                  <a:pt x="1547782" y="1322386"/>
                  <a:pt x="1545253" y="1324379"/>
                  <a:pt x="1543656" y="1325972"/>
                </a:cubicBezTo>
                <a:cubicBezTo>
                  <a:pt x="1541126" y="1328636"/>
                  <a:pt x="1540062" y="1331441"/>
                  <a:pt x="1540062" y="1335427"/>
                </a:cubicBezTo>
                <a:cubicBezTo>
                  <a:pt x="1540062" y="1339551"/>
                  <a:pt x="1541126" y="1342355"/>
                  <a:pt x="1543656" y="1344879"/>
                </a:cubicBezTo>
                <a:cubicBezTo>
                  <a:pt x="1545253" y="1346483"/>
                  <a:pt x="1547782" y="1348345"/>
                  <a:pt x="1553640" y="1348345"/>
                </a:cubicBezTo>
                <a:cubicBezTo>
                  <a:pt x="1555637" y="1348345"/>
                  <a:pt x="1557501" y="1348076"/>
                  <a:pt x="1558965" y="1347407"/>
                </a:cubicBezTo>
                <a:cubicBezTo>
                  <a:pt x="1560429" y="1346878"/>
                  <a:pt x="1561760" y="1346081"/>
                  <a:pt x="1562692" y="1345018"/>
                </a:cubicBezTo>
                <a:cubicBezTo>
                  <a:pt x="1563756" y="1343820"/>
                  <a:pt x="1564688" y="1342480"/>
                  <a:pt x="1565355" y="1340751"/>
                </a:cubicBezTo>
                <a:cubicBezTo>
                  <a:pt x="1566020" y="1339153"/>
                  <a:pt x="1566420" y="1337291"/>
                  <a:pt x="1566420" y="1335294"/>
                </a:cubicBezTo>
                <a:cubicBezTo>
                  <a:pt x="1566420" y="1333430"/>
                  <a:pt x="1566020" y="1331700"/>
                  <a:pt x="1565355" y="1330101"/>
                </a:cubicBezTo>
                <a:cubicBezTo>
                  <a:pt x="1564688" y="1328507"/>
                  <a:pt x="1563756" y="1327172"/>
                  <a:pt x="1562692" y="1325972"/>
                </a:cubicBezTo>
                <a:cubicBezTo>
                  <a:pt x="1561626" y="1324911"/>
                  <a:pt x="1560296" y="1324111"/>
                  <a:pt x="1558698" y="1323313"/>
                </a:cubicBezTo>
                <a:cubicBezTo>
                  <a:pt x="1557234" y="1322647"/>
                  <a:pt x="1555637" y="1322386"/>
                  <a:pt x="1553640" y="1322386"/>
                </a:cubicBezTo>
                <a:close/>
                <a:moveTo>
                  <a:pt x="1335995" y="1322386"/>
                </a:moveTo>
                <a:cubicBezTo>
                  <a:pt x="1330137" y="1322386"/>
                  <a:pt x="1327608" y="1324379"/>
                  <a:pt x="1326012" y="1325972"/>
                </a:cubicBezTo>
                <a:cubicBezTo>
                  <a:pt x="1323481" y="1328636"/>
                  <a:pt x="1322417" y="1331441"/>
                  <a:pt x="1322417" y="1335427"/>
                </a:cubicBezTo>
                <a:cubicBezTo>
                  <a:pt x="1322417" y="1339551"/>
                  <a:pt x="1323481" y="1342355"/>
                  <a:pt x="1326012" y="1344879"/>
                </a:cubicBezTo>
                <a:cubicBezTo>
                  <a:pt x="1327608" y="1346483"/>
                  <a:pt x="1330137" y="1348345"/>
                  <a:pt x="1335995" y="1348345"/>
                </a:cubicBezTo>
                <a:cubicBezTo>
                  <a:pt x="1338125" y="1348345"/>
                  <a:pt x="1339855" y="1348076"/>
                  <a:pt x="1341320" y="1347407"/>
                </a:cubicBezTo>
                <a:cubicBezTo>
                  <a:pt x="1342784" y="1346878"/>
                  <a:pt x="1344115" y="1346081"/>
                  <a:pt x="1345047" y="1345018"/>
                </a:cubicBezTo>
                <a:cubicBezTo>
                  <a:pt x="1346112" y="1343820"/>
                  <a:pt x="1347044" y="1342480"/>
                  <a:pt x="1347710" y="1340751"/>
                </a:cubicBezTo>
                <a:cubicBezTo>
                  <a:pt x="1348375" y="1339153"/>
                  <a:pt x="1348776" y="1337291"/>
                  <a:pt x="1348776" y="1335294"/>
                </a:cubicBezTo>
                <a:cubicBezTo>
                  <a:pt x="1348776" y="1333430"/>
                  <a:pt x="1348375" y="1331700"/>
                  <a:pt x="1347710" y="1330101"/>
                </a:cubicBezTo>
                <a:cubicBezTo>
                  <a:pt x="1347044" y="1328507"/>
                  <a:pt x="1346112" y="1327172"/>
                  <a:pt x="1345047" y="1325972"/>
                </a:cubicBezTo>
                <a:cubicBezTo>
                  <a:pt x="1343982" y="1324911"/>
                  <a:pt x="1342652" y="1324111"/>
                  <a:pt x="1341054" y="1323313"/>
                </a:cubicBezTo>
                <a:cubicBezTo>
                  <a:pt x="1339589" y="1322647"/>
                  <a:pt x="1337992" y="1322386"/>
                  <a:pt x="1335995" y="1322386"/>
                </a:cubicBezTo>
                <a:close/>
                <a:moveTo>
                  <a:pt x="1118483" y="1322386"/>
                </a:moveTo>
                <a:cubicBezTo>
                  <a:pt x="1112625" y="1322386"/>
                  <a:pt x="1110096" y="1324379"/>
                  <a:pt x="1108499" y="1325972"/>
                </a:cubicBezTo>
                <a:cubicBezTo>
                  <a:pt x="1105836" y="1328636"/>
                  <a:pt x="1104772" y="1331441"/>
                  <a:pt x="1104772" y="1335427"/>
                </a:cubicBezTo>
                <a:cubicBezTo>
                  <a:pt x="1104772" y="1339551"/>
                  <a:pt x="1105836" y="1342355"/>
                  <a:pt x="1108366" y="1344879"/>
                </a:cubicBezTo>
                <a:cubicBezTo>
                  <a:pt x="1109963" y="1346483"/>
                  <a:pt x="1112493" y="1348345"/>
                  <a:pt x="1118350" y="1348345"/>
                </a:cubicBezTo>
                <a:cubicBezTo>
                  <a:pt x="1120480" y="1348345"/>
                  <a:pt x="1122211" y="1348076"/>
                  <a:pt x="1123808" y="1347407"/>
                </a:cubicBezTo>
                <a:cubicBezTo>
                  <a:pt x="1125272" y="1346878"/>
                  <a:pt x="1126605" y="1346081"/>
                  <a:pt x="1127535" y="1345018"/>
                </a:cubicBezTo>
                <a:cubicBezTo>
                  <a:pt x="1128600" y="1343820"/>
                  <a:pt x="1129532" y="1342480"/>
                  <a:pt x="1130199" y="1340751"/>
                </a:cubicBezTo>
                <a:cubicBezTo>
                  <a:pt x="1130863" y="1339153"/>
                  <a:pt x="1131264" y="1337291"/>
                  <a:pt x="1131264" y="1335294"/>
                </a:cubicBezTo>
                <a:cubicBezTo>
                  <a:pt x="1131264" y="1333430"/>
                  <a:pt x="1130863" y="1331700"/>
                  <a:pt x="1130199" y="1330101"/>
                </a:cubicBezTo>
                <a:cubicBezTo>
                  <a:pt x="1129532" y="1328507"/>
                  <a:pt x="1128600" y="1327172"/>
                  <a:pt x="1127535" y="1325972"/>
                </a:cubicBezTo>
                <a:cubicBezTo>
                  <a:pt x="1126470" y="1324911"/>
                  <a:pt x="1125139" y="1324111"/>
                  <a:pt x="1123541" y="1323313"/>
                </a:cubicBezTo>
                <a:cubicBezTo>
                  <a:pt x="1122078" y="1322647"/>
                  <a:pt x="1120480" y="1322386"/>
                  <a:pt x="1118483" y="1322386"/>
                </a:cubicBezTo>
                <a:close/>
                <a:moveTo>
                  <a:pt x="900972" y="1322386"/>
                </a:moveTo>
                <a:cubicBezTo>
                  <a:pt x="895114" y="1322386"/>
                  <a:pt x="892584" y="1324379"/>
                  <a:pt x="890987" y="1325972"/>
                </a:cubicBezTo>
                <a:cubicBezTo>
                  <a:pt x="888325" y="1328636"/>
                  <a:pt x="887261" y="1331441"/>
                  <a:pt x="887261" y="1335427"/>
                </a:cubicBezTo>
                <a:cubicBezTo>
                  <a:pt x="887261" y="1339551"/>
                  <a:pt x="888325" y="1342355"/>
                  <a:pt x="890855" y="1344879"/>
                </a:cubicBezTo>
                <a:cubicBezTo>
                  <a:pt x="892452" y="1346483"/>
                  <a:pt x="894981" y="1348345"/>
                  <a:pt x="900838" y="1348345"/>
                </a:cubicBezTo>
                <a:cubicBezTo>
                  <a:pt x="902835" y="1348345"/>
                  <a:pt x="904566" y="1348076"/>
                  <a:pt x="906296" y="1347407"/>
                </a:cubicBezTo>
                <a:cubicBezTo>
                  <a:pt x="907760" y="1346878"/>
                  <a:pt x="909092" y="1346081"/>
                  <a:pt x="910024" y="1345018"/>
                </a:cubicBezTo>
                <a:cubicBezTo>
                  <a:pt x="911088" y="1343820"/>
                  <a:pt x="912020" y="1342480"/>
                  <a:pt x="912686" y="1340751"/>
                </a:cubicBezTo>
                <a:cubicBezTo>
                  <a:pt x="913351" y="1339153"/>
                  <a:pt x="913751" y="1337291"/>
                  <a:pt x="913751" y="1335294"/>
                </a:cubicBezTo>
                <a:cubicBezTo>
                  <a:pt x="913751" y="1333430"/>
                  <a:pt x="913351" y="1331700"/>
                  <a:pt x="912686" y="1330101"/>
                </a:cubicBezTo>
                <a:cubicBezTo>
                  <a:pt x="912020" y="1328507"/>
                  <a:pt x="911088" y="1327172"/>
                  <a:pt x="910024" y="1325972"/>
                </a:cubicBezTo>
                <a:cubicBezTo>
                  <a:pt x="908959" y="1324911"/>
                  <a:pt x="907627" y="1324111"/>
                  <a:pt x="906030" y="1323313"/>
                </a:cubicBezTo>
                <a:cubicBezTo>
                  <a:pt x="904566" y="1322647"/>
                  <a:pt x="902968" y="1322386"/>
                  <a:pt x="900972" y="1322386"/>
                </a:cubicBezTo>
                <a:close/>
                <a:moveTo>
                  <a:pt x="683194" y="1322386"/>
                </a:moveTo>
                <a:cubicBezTo>
                  <a:pt x="677337" y="1322386"/>
                  <a:pt x="674808" y="1324379"/>
                  <a:pt x="673211" y="1325972"/>
                </a:cubicBezTo>
                <a:cubicBezTo>
                  <a:pt x="670681" y="1328636"/>
                  <a:pt x="669617" y="1331441"/>
                  <a:pt x="669617" y="1335427"/>
                </a:cubicBezTo>
                <a:cubicBezTo>
                  <a:pt x="669617" y="1339551"/>
                  <a:pt x="670681" y="1342355"/>
                  <a:pt x="673211" y="1344879"/>
                </a:cubicBezTo>
                <a:cubicBezTo>
                  <a:pt x="674808" y="1346483"/>
                  <a:pt x="677337" y="1348345"/>
                  <a:pt x="683194" y="1348345"/>
                </a:cubicBezTo>
                <a:cubicBezTo>
                  <a:pt x="685191" y="1348345"/>
                  <a:pt x="687055" y="1348076"/>
                  <a:pt x="688519" y="1347407"/>
                </a:cubicBezTo>
                <a:cubicBezTo>
                  <a:pt x="689983" y="1346878"/>
                  <a:pt x="691315" y="1346081"/>
                  <a:pt x="692246" y="1345018"/>
                </a:cubicBezTo>
                <a:cubicBezTo>
                  <a:pt x="693311" y="1343820"/>
                  <a:pt x="694243" y="1342480"/>
                  <a:pt x="694909" y="1340751"/>
                </a:cubicBezTo>
                <a:cubicBezTo>
                  <a:pt x="695574" y="1339153"/>
                  <a:pt x="695974" y="1337291"/>
                  <a:pt x="695974" y="1335294"/>
                </a:cubicBezTo>
                <a:cubicBezTo>
                  <a:pt x="695974" y="1333430"/>
                  <a:pt x="695574" y="1331700"/>
                  <a:pt x="694909" y="1330101"/>
                </a:cubicBezTo>
                <a:cubicBezTo>
                  <a:pt x="694243" y="1328507"/>
                  <a:pt x="693311" y="1327172"/>
                  <a:pt x="692246" y="1325972"/>
                </a:cubicBezTo>
                <a:cubicBezTo>
                  <a:pt x="691181" y="1324911"/>
                  <a:pt x="689850" y="1324111"/>
                  <a:pt x="688253" y="1323313"/>
                </a:cubicBezTo>
                <a:cubicBezTo>
                  <a:pt x="686789" y="1322647"/>
                  <a:pt x="685191" y="1322386"/>
                  <a:pt x="683194" y="1322386"/>
                </a:cubicBezTo>
                <a:close/>
                <a:moveTo>
                  <a:pt x="465550" y="1322386"/>
                </a:moveTo>
                <a:cubicBezTo>
                  <a:pt x="459693" y="1322386"/>
                  <a:pt x="457164" y="1324379"/>
                  <a:pt x="455567" y="1325972"/>
                </a:cubicBezTo>
                <a:cubicBezTo>
                  <a:pt x="453037" y="1328636"/>
                  <a:pt x="451973" y="1331441"/>
                  <a:pt x="451973" y="1335427"/>
                </a:cubicBezTo>
                <a:cubicBezTo>
                  <a:pt x="451973" y="1339551"/>
                  <a:pt x="453037" y="1342355"/>
                  <a:pt x="455567" y="1344879"/>
                </a:cubicBezTo>
                <a:cubicBezTo>
                  <a:pt x="457164" y="1346483"/>
                  <a:pt x="459693" y="1348345"/>
                  <a:pt x="465550" y="1348345"/>
                </a:cubicBezTo>
                <a:cubicBezTo>
                  <a:pt x="467547" y="1348345"/>
                  <a:pt x="469411" y="1348076"/>
                  <a:pt x="470875" y="1347407"/>
                </a:cubicBezTo>
                <a:cubicBezTo>
                  <a:pt x="472339" y="1346878"/>
                  <a:pt x="473670" y="1346081"/>
                  <a:pt x="474602" y="1345018"/>
                </a:cubicBezTo>
                <a:cubicBezTo>
                  <a:pt x="475667" y="1343820"/>
                  <a:pt x="476599" y="1342480"/>
                  <a:pt x="477266" y="1340751"/>
                </a:cubicBezTo>
                <a:cubicBezTo>
                  <a:pt x="477931" y="1339153"/>
                  <a:pt x="478330" y="1337291"/>
                  <a:pt x="478330" y="1335294"/>
                </a:cubicBezTo>
                <a:cubicBezTo>
                  <a:pt x="478330" y="1333430"/>
                  <a:pt x="477931" y="1331700"/>
                  <a:pt x="477266" y="1330101"/>
                </a:cubicBezTo>
                <a:cubicBezTo>
                  <a:pt x="476599" y="1328507"/>
                  <a:pt x="475667" y="1327172"/>
                  <a:pt x="474602" y="1325972"/>
                </a:cubicBezTo>
                <a:cubicBezTo>
                  <a:pt x="473537" y="1324911"/>
                  <a:pt x="472206" y="1324111"/>
                  <a:pt x="470609" y="1323313"/>
                </a:cubicBezTo>
                <a:cubicBezTo>
                  <a:pt x="469145" y="1322647"/>
                  <a:pt x="467547" y="1322386"/>
                  <a:pt x="465550" y="1322386"/>
                </a:cubicBezTo>
                <a:close/>
                <a:moveTo>
                  <a:pt x="247906" y="1322386"/>
                </a:moveTo>
                <a:cubicBezTo>
                  <a:pt x="242049" y="1322386"/>
                  <a:pt x="239520" y="1324379"/>
                  <a:pt x="237923" y="1325972"/>
                </a:cubicBezTo>
                <a:cubicBezTo>
                  <a:pt x="235393" y="1328636"/>
                  <a:pt x="234329" y="1331441"/>
                  <a:pt x="234329" y="1335427"/>
                </a:cubicBezTo>
                <a:cubicBezTo>
                  <a:pt x="234329" y="1339551"/>
                  <a:pt x="235393" y="1342355"/>
                  <a:pt x="237923" y="1344879"/>
                </a:cubicBezTo>
                <a:cubicBezTo>
                  <a:pt x="239520" y="1346483"/>
                  <a:pt x="242049" y="1348345"/>
                  <a:pt x="247906" y="1348345"/>
                </a:cubicBezTo>
                <a:cubicBezTo>
                  <a:pt x="250036" y="1348345"/>
                  <a:pt x="251767" y="1348076"/>
                  <a:pt x="253231" y="1347407"/>
                </a:cubicBezTo>
                <a:cubicBezTo>
                  <a:pt x="254695" y="1346878"/>
                  <a:pt x="256026" y="1346081"/>
                  <a:pt x="256958" y="1345018"/>
                </a:cubicBezTo>
                <a:cubicBezTo>
                  <a:pt x="258023" y="1343820"/>
                  <a:pt x="258955" y="1342480"/>
                  <a:pt x="259621" y="1340751"/>
                </a:cubicBezTo>
                <a:cubicBezTo>
                  <a:pt x="260286" y="1339153"/>
                  <a:pt x="260686" y="1337291"/>
                  <a:pt x="260686" y="1335294"/>
                </a:cubicBezTo>
                <a:cubicBezTo>
                  <a:pt x="260686" y="1333430"/>
                  <a:pt x="260286" y="1331700"/>
                  <a:pt x="259621" y="1330101"/>
                </a:cubicBezTo>
                <a:cubicBezTo>
                  <a:pt x="258955" y="1328507"/>
                  <a:pt x="258023" y="1327172"/>
                  <a:pt x="256958" y="1325972"/>
                </a:cubicBezTo>
                <a:cubicBezTo>
                  <a:pt x="255893" y="1324911"/>
                  <a:pt x="254562" y="1324111"/>
                  <a:pt x="252965" y="1323313"/>
                </a:cubicBezTo>
                <a:cubicBezTo>
                  <a:pt x="251500" y="1322647"/>
                  <a:pt x="249903" y="1322386"/>
                  <a:pt x="247906" y="1322386"/>
                </a:cubicBezTo>
                <a:close/>
                <a:moveTo>
                  <a:pt x="30262" y="1322386"/>
                </a:moveTo>
                <a:cubicBezTo>
                  <a:pt x="24405" y="1322386"/>
                  <a:pt x="21876" y="1324379"/>
                  <a:pt x="20279" y="1325972"/>
                </a:cubicBezTo>
                <a:cubicBezTo>
                  <a:pt x="17749" y="1328636"/>
                  <a:pt x="16685" y="1331441"/>
                  <a:pt x="16685" y="1335427"/>
                </a:cubicBezTo>
                <a:cubicBezTo>
                  <a:pt x="16685" y="1339551"/>
                  <a:pt x="17749" y="1342355"/>
                  <a:pt x="20279" y="1344879"/>
                </a:cubicBezTo>
                <a:cubicBezTo>
                  <a:pt x="21876" y="1346483"/>
                  <a:pt x="24405" y="1348345"/>
                  <a:pt x="30262" y="1348345"/>
                </a:cubicBezTo>
                <a:cubicBezTo>
                  <a:pt x="32392" y="1348345"/>
                  <a:pt x="34123" y="1348076"/>
                  <a:pt x="35587" y="1347407"/>
                </a:cubicBezTo>
                <a:cubicBezTo>
                  <a:pt x="37051" y="1346878"/>
                  <a:pt x="38383" y="1346081"/>
                  <a:pt x="39314" y="1345018"/>
                </a:cubicBezTo>
                <a:cubicBezTo>
                  <a:pt x="40379" y="1343820"/>
                  <a:pt x="41311" y="1342480"/>
                  <a:pt x="41977" y="1340751"/>
                </a:cubicBezTo>
                <a:cubicBezTo>
                  <a:pt x="42642" y="1339153"/>
                  <a:pt x="42908" y="1337291"/>
                  <a:pt x="42908" y="1335294"/>
                </a:cubicBezTo>
                <a:cubicBezTo>
                  <a:pt x="42908" y="1333430"/>
                  <a:pt x="42642" y="1331700"/>
                  <a:pt x="41977" y="1330101"/>
                </a:cubicBezTo>
                <a:cubicBezTo>
                  <a:pt x="41311" y="1328507"/>
                  <a:pt x="40379" y="1327172"/>
                  <a:pt x="39314" y="1325972"/>
                </a:cubicBezTo>
                <a:cubicBezTo>
                  <a:pt x="38249" y="1324911"/>
                  <a:pt x="36918" y="1324111"/>
                  <a:pt x="35321" y="1323313"/>
                </a:cubicBezTo>
                <a:cubicBezTo>
                  <a:pt x="33857" y="1322647"/>
                  <a:pt x="32259" y="1322386"/>
                  <a:pt x="30262" y="1322386"/>
                </a:cubicBezTo>
                <a:close/>
                <a:moveTo>
                  <a:pt x="10475977" y="1305741"/>
                </a:moveTo>
                <a:cubicBezTo>
                  <a:pt x="10480237" y="1305741"/>
                  <a:pt x="10484230" y="1306545"/>
                  <a:pt x="10487824" y="1308407"/>
                </a:cubicBezTo>
                <a:cubicBezTo>
                  <a:pt x="10491419" y="1310007"/>
                  <a:pt x="10494613" y="1312130"/>
                  <a:pt x="10497143" y="1314801"/>
                </a:cubicBezTo>
                <a:cubicBezTo>
                  <a:pt x="10499672" y="1317323"/>
                  <a:pt x="10501801" y="1320522"/>
                  <a:pt x="10503266" y="1324111"/>
                </a:cubicBezTo>
                <a:cubicBezTo>
                  <a:pt x="10504730" y="1327712"/>
                  <a:pt x="10505529" y="1331566"/>
                  <a:pt x="10505529" y="1335564"/>
                </a:cubicBezTo>
                <a:cubicBezTo>
                  <a:pt x="10505529" y="1339692"/>
                  <a:pt x="10504730" y="1343678"/>
                  <a:pt x="10503266" y="1347279"/>
                </a:cubicBezTo>
                <a:cubicBezTo>
                  <a:pt x="10501669" y="1350867"/>
                  <a:pt x="10499672" y="1353929"/>
                  <a:pt x="10497143" y="1356599"/>
                </a:cubicBezTo>
                <a:cubicBezTo>
                  <a:pt x="10494480" y="1359261"/>
                  <a:pt x="10491419" y="1361385"/>
                  <a:pt x="10487824" y="1362849"/>
                </a:cubicBezTo>
                <a:cubicBezTo>
                  <a:pt x="10484098" y="1364313"/>
                  <a:pt x="10480237" y="1365113"/>
                  <a:pt x="10475977" y="1365113"/>
                </a:cubicBezTo>
                <a:cubicBezTo>
                  <a:pt x="10466924" y="1365113"/>
                  <a:pt x="10459736" y="1362185"/>
                  <a:pt x="10454145" y="1356599"/>
                </a:cubicBezTo>
                <a:cubicBezTo>
                  <a:pt x="10448554" y="1351008"/>
                  <a:pt x="10445759" y="1343948"/>
                  <a:pt x="10445759" y="1335427"/>
                </a:cubicBezTo>
                <a:cubicBezTo>
                  <a:pt x="10445759" y="1327172"/>
                  <a:pt x="10448554" y="1320123"/>
                  <a:pt x="10454145" y="1314393"/>
                </a:cubicBezTo>
                <a:cubicBezTo>
                  <a:pt x="10459603" y="1308672"/>
                  <a:pt x="10466924" y="1305741"/>
                  <a:pt x="10475977" y="1305741"/>
                </a:cubicBezTo>
                <a:close/>
                <a:moveTo>
                  <a:pt x="10258466" y="1305741"/>
                </a:moveTo>
                <a:cubicBezTo>
                  <a:pt x="10262592" y="1305741"/>
                  <a:pt x="10266586" y="1306545"/>
                  <a:pt x="10270313" y="1308407"/>
                </a:cubicBezTo>
                <a:cubicBezTo>
                  <a:pt x="10273907" y="1310007"/>
                  <a:pt x="10277101" y="1312130"/>
                  <a:pt x="10279631" y="1314801"/>
                </a:cubicBezTo>
                <a:cubicBezTo>
                  <a:pt x="10282160" y="1317323"/>
                  <a:pt x="10284290" y="1320522"/>
                  <a:pt x="10285754" y="1324111"/>
                </a:cubicBezTo>
                <a:cubicBezTo>
                  <a:pt x="10287218" y="1327712"/>
                  <a:pt x="10288017" y="1331566"/>
                  <a:pt x="10288017" y="1335564"/>
                </a:cubicBezTo>
                <a:cubicBezTo>
                  <a:pt x="10288017" y="1339692"/>
                  <a:pt x="10287218" y="1343678"/>
                  <a:pt x="10285754" y="1347279"/>
                </a:cubicBezTo>
                <a:cubicBezTo>
                  <a:pt x="10284157" y="1350867"/>
                  <a:pt x="10282160" y="1353929"/>
                  <a:pt x="10279631" y="1356599"/>
                </a:cubicBezTo>
                <a:cubicBezTo>
                  <a:pt x="10276969" y="1359261"/>
                  <a:pt x="10273907" y="1361385"/>
                  <a:pt x="10270313" y="1362849"/>
                </a:cubicBezTo>
                <a:cubicBezTo>
                  <a:pt x="10266586" y="1364313"/>
                  <a:pt x="10262725" y="1365113"/>
                  <a:pt x="10258466" y="1365113"/>
                </a:cubicBezTo>
                <a:cubicBezTo>
                  <a:pt x="10249546" y="1365113"/>
                  <a:pt x="10242224" y="1362185"/>
                  <a:pt x="10236633" y="1356599"/>
                </a:cubicBezTo>
                <a:cubicBezTo>
                  <a:pt x="10231043" y="1351008"/>
                  <a:pt x="10228247" y="1343948"/>
                  <a:pt x="10228247" y="1335427"/>
                </a:cubicBezTo>
                <a:cubicBezTo>
                  <a:pt x="10228247" y="1327172"/>
                  <a:pt x="10231043" y="1320123"/>
                  <a:pt x="10236633" y="1314393"/>
                </a:cubicBezTo>
                <a:cubicBezTo>
                  <a:pt x="10242092" y="1308672"/>
                  <a:pt x="10249413" y="1305741"/>
                  <a:pt x="10258466" y="1305741"/>
                </a:cubicBezTo>
                <a:close/>
                <a:moveTo>
                  <a:pt x="10040820" y="1305741"/>
                </a:moveTo>
                <a:cubicBezTo>
                  <a:pt x="10045080" y="1305741"/>
                  <a:pt x="10048941" y="1306548"/>
                  <a:pt x="10052534" y="1308407"/>
                </a:cubicBezTo>
                <a:cubicBezTo>
                  <a:pt x="10056129" y="1310007"/>
                  <a:pt x="10059323" y="1312130"/>
                  <a:pt x="10061852" y="1314801"/>
                </a:cubicBezTo>
                <a:cubicBezTo>
                  <a:pt x="10064382" y="1317323"/>
                  <a:pt x="10066512" y="1320522"/>
                  <a:pt x="10067976" y="1324111"/>
                </a:cubicBezTo>
                <a:cubicBezTo>
                  <a:pt x="10069440" y="1327712"/>
                  <a:pt x="10070239" y="1331566"/>
                  <a:pt x="10070239" y="1335564"/>
                </a:cubicBezTo>
                <a:cubicBezTo>
                  <a:pt x="10070239" y="1339692"/>
                  <a:pt x="10069440" y="1343678"/>
                  <a:pt x="10067976" y="1347279"/>
                </a:cubicBezTo>
                <a:cubicBezTo>
                  <a:pt x="10066379" y="1350867"/>
                  <a:pt x="10064382" y="1353929"/>
                  <a:pt x="10061852" y="1356599"/>
                </a:cubicBezTo>
                <a:cubicBezTo>
                  <a:pt x="10059190" y="1359261"/>
                  <a:pt x="10056129" y="1361385"/>
                  <a:pt x="10052534" y="1362849"/>
                </a:cubicBezTo>
                <a:cubicBezTo>
                  <a:pt x="10048941" y="1364313"/>
                  <a:pt x="10045080" y="1365113"/>
                  <a:pt x="10040820" y="1365113"/>
                </a:cubicBezTo>
                <a:cubicBezTo>
                  <a:pt x="10031767" y="1365113"/>
                  <a:pt x="10024579" y="1362185"/>
                  <a:pt x="10018988" y="1356599"/>
                </a:cubicBezTo>
                <a:cubicBezTo>
                  <a:pt x="10013397" y="1351008"/>
                  <a:pt x="10010602" y="1343948"/>
                  <a:pt x="10010602" y="1335427"/>
                </a:cubicBezTo>
                <a:cubicBezTo>
                  <a:pt x="10010602" y="1327172"/>
                  <a:pt x="10013397" y="1320123"/>
                  <a:pt x="10018988" y="1314393"/>
                </a:cubicBezTo>
                <a:cubicBezTo>
                  <a:pt x="10024579" y="1308672"/>
                  <a:pt x="10031767" y="1305741"/>
                  <a:pt x="10040820" y="1305741"/>
                </a:cubicBezTo>
                <a:close/>
                <a:moveTo>
                  <a:pt x="9823176" y="1305741"/>
                </a:moveTo>
                <a:cubicBezTo>
                  <a:pt x="9827435" y="1305741"/>
                  <a:pt x="9831296" y="1306548"/>
                  <a:pt x="9834890" y="1308407"/>
                </a:cubicBezTo>
                <a:cubicBezTo>
                  <a:pt x="9838617" y="1310007"/>
                  <a:pt x="9841679" y="1312130"/>
                  <a:pt x="9844208" y="1314801"/>
                </a:cubicBezTo>
                <a:cubicBezTo>
                  <a:pt x="9846737" y="1317323"/>
                  <a:pt x="9848867" y="1320522"/>
                  <a:pt x="9850331" y="1324111"/>
                </a:cubicBezTo>
                <a:cubicBezTo>
                  <a:pt x="9851796" y="1327712"/>
                  <a:pt x="9852595" y="1331566"/>
                  <a:pt x="9852595" y="1335564"/>
                </a:cubicBezTo>
                <a:cubicBezTo>
                  <a:pt x="9852595" y="1339692"/>
                  <a:pt x="9851796" y="1343678"/>
                  <a:pt x="9850331" y="1347279"/>
                </a:cubicBezTo>
                <a:cubicBezTo>
                  <a:pt x="9848734" y="1350867"/>
                  <a:pt x="9846737" y="1353929"/>
                  <a:pt x="9844208" y="1356599"/>
                </a:cubicBezTo>
                <a:cubicBezTo>
                  <a:pt x="9841546" y="1359262"/>
                  <a:pt x="9838484" y="1361385"/>
                  <a:pt x="9834890" y="1362851"/>
                </a:cubicBezTo>
                <a:cubicBezTo>
                  <a:pt x="9831296" y="1364313"/>
                  <a:pt x="9827435" y="1365113"/>
                  <a:pt x="9823176" y="1365113"/>
                </a:cubicBezTo>
                <a:cubicBezTo>
                  <a:pt x="9814123" y="1365113"/>
                  <a:pt x="9806935" y="1362185"/>
                  <a:pt x="9801343" y="1356599"/>
                </a:cubicBezTo>
                <a:cubicBezTo>
                  <a:pt x="9795753" y="1351008"/>
                  <a:pt x="9792957" y="1343948"/>
                  <a:pt x="9792957" y="1335427"/>
                </a:cubicBezTo>
                <a:cubicBezTo>
                  <a:pt x="9792957" y="1327172"/>
                  <a:pt x="9795753" y="1320123"/>
                  <a:pt x="9801343" y="1314393"/>
                </a:cubicBezTo>
                <a:cubicBezTo>
                  <a:pt x="9806935" y="1308672"/>
                  <a:pt x="9814123" y="1305741"/>
                  <a:pt x="9823176" y="1305741"/>
                </a:cubicBezTo>
                <a:close/>
                <a:moveTo>
                  <a:pt x="9605531" y="1305741"/>
                </a:moveTo>
                <a:cubicBezTo>
                  <a:pt x="9609790" y="1305741"/>
                  <a:pt x="9613784" y="1306548"/>
                  <a:pt x="9617245" y="1308407"/>
                </a:cubicBezTo>
                <a:cubicBezTo>
                  <a:pt x="9620839" y="1310007"/>
                  <a:pt x="9624033" y="1312130"/>
                  <a:pt x="9626562" y="1314801"/>
                </a:cubicBezTo>
                <a:cubicBezTo>
                  <a:pt x="9629092" y="1317323"/>
                  <a:pt x="9631222" y="1320522"/>
                  <a:pt x="9632686" y="1324111"/>
                </a:cubicBezTo>
                <a:cubicBezTo>
                  <a:pt x="9634150" y="1327712"/>
                  <a:pt x="9634949" y="1331566"/>
                  <a:pt x="9634949" y="1335564"/>
                </a:cubicBezTo>
                <a:cubicBezTo>
                  <a:pt x="9634949" y="1339692"/>
                  <a:pt x="9634150" y="1343678"/>
                  <a:pt x="9632686" y="1347279"/>
                </a:cubicBezTo>
                <a:cubicBezTo>
                  <a:pt x="9631089" y="1350867"/>
                  <a:pt x="9629092" y="1353929"/>
                  <a:pt x="9626562" y="1356599"/>
                </a:cubicBezTo>
                <a:cubicBezTo>
                  <a:pt x="9623901" y="1359262"/>
                  <a:pt x="9620839" y="1361385"/>
                  <a:pt x="9617245" y="1362851"/>
                </a:cubicBezTo>
                <a:cubicBezTo>
                  <a:pt x="9613651" y="1364313"/>
                  <a:pt x="9609790" y="1365113"/>
                  <a:pt x="9605531" y="1365113"/>
                </a:cubicBezTo>
                <a:cubicBezTo>
                  <a:pt x="9596610" y="1365113"/>
                  <a:pt x="9589289" y="1362185"/>
                  <a:pt x="9583698" y="1356599"/>
                </a:cubicBezTo>
                <a:cubicBezTo>
                  <a:pt x="9578108" y="1351008"/>
                  <a:pt x="9575312" y="1343948"/>
                  <a:pt x="9575312" y="1335427"/>
                </a:cubicBezTo>
                <a:cubicBezTo>
                  <a:pt x="9575312" y="1327172"/>
                  <a:pt x="9578108" y="1320123"/>
                  <a:pt x="9583698" y="1314393"/>
                </a:cubicBezTo>
                <a:cubicBezTo>
                  <a:pt x="9589289" y="1308672"/>
                  <a:pt x="9596478" y="1305741"/>
                  <a:pt x="9605531" y="1305741"/>
                </a:cubicBezTo>
                <a:close/>
                <a:moveTo>
                  <a:pt x="9387885" y="1305741"/>
                </a:moveTo>
                <a:cubicBezTo>
                  <a:pt x="9392145" y="1305741"/>
                  <a:pt x="9396138" y="1306548"/>
                  <a:pt x="9399599" y="1308407"/>
                </a:cubicBezTo>
                <a:cubicBezTo>
                  <a:pt x="9403194" y="1310007"/>
                  <a:pt x="9406388" y="1312130"/>
                  <a:pt x="9408917" y="1314801"/>
                </a:cubicBezTo>
                <a:cubicBezTo>
                  <a:pt x="9411447" y="1317323"/>
                  <a:pt x="9413576" y="1320522"/>
                  <a:pt x="9415041" y="1324111"/>
                </a:cubicBezTo>
                <a:cubicBezTo>
                  <a:pt x="9416505" y="1327712"/>
                  <a:pt x="9417304" y="1331566"/>
                  <a:pt x="9417304" y="1335564"/>
                </a:cubicBezTo>
                <a:cubicBezTo>
                  <a:pt x="9417304" y="1339692"/>
                  <a:pt x="9416505" y="1343678"/>
                  <a:pt x="9415041" y="1347279"/>
                </a:cubicBezTo>
                <a:cubicBezTo>
                  <a:pt x="9413444" y="1350867"/>
                  <a:pt x="9411447" y="1353929"/>
                  <a:pt x="9408917" y="1356599"/>
                </a:cubicBezTo>
                <a:cubicBezTo>
                  <a:pt x="9406255" y="1359262"/>
                  <a:pt x="9403194" y="1361385"/>
                  <a:pt x="9399599" y="1362851"/>
                </a:cubicBezTo>
                <a:cubicBezTo>
                  <a:pt x="9396005" y="1364313"/>
                  <a:pt x="9392145" y="1365113"/>
                  <a:pt x="9387885" y="1365113"/>
                </a:cubicBezTo>
                <a:cubicBezTo>
                  <a:pt x="9378965" y="1365113"/>
                  <a:pt x="9371644" y="1362185"/>
                  <a:pt x="9366053" y="1356599"/>
                </a:cubicBezTo>
                <a:cubicBezTo>
                  <a:pt x="9360462" y="1351008"/>
                  <a:pt x="9357667" y="1343948"/>
                  <a:pt x="9357667" y="1335427"/>
                </a:cubicBezTo>
                <a:cubicBezTo>
                  <a:pt x="9357667" y="1327172"/>
                  <a:pt x="9360462" y="1320123"/>
                  <a:pt x="9366053" y="1314393"/>
                </a:cubicBezTo>
                <a:cubicBezTo>
                  <a:pt x="9371644" y="1308672"/>
                  <a:pt x="9378832" y="1305741"/>
                  <a:pt x="9387885" y="1305741"/>
                </a:cubicBezTo>
                <a:close/>
                <a:moveTo>
                  <a:pt x="9170374" y="1305741"/>
                </a:moveTo>
                <a:cubicBezTo>
                  <a:pt x="9174500" y="1305741"/>
                  <a:pt x="9178494" y="1306548"/>
                  <a:pt x="9182088" y="1308407"/>
                </a:cubicBezTo>
                <a:cubicBezTo>
                  <a:pt x="9185682" y="1310007"/>
                  <a:pt x="9188876" y="1312130"/>
                  <a:pt x="9191405" y="1314801"/>
                </a:cubicBezTo>
                <a:cubicBezTo>
                  <a:pt x="9193935" y="1317323"/>
                  <a:pt x="9196065" y="1320522"/>
                  <a:pt x="9197529" y="1324111"/>
                </a:cubicBezTo>
                <a:cubicBezTo>
                  <a:pt x="9198993" y="1327712"/>
                  <a:pt x="9199792" y="1331566"/>
                  <a:pt x="9199792" y="1335564"/>
                </a:cubicBezTo>
                <a:cubicBezTo>
                  <a:pt x="9199792" y="1339692"/>
                  <a:pt x="9198993" y="1343678"/>
                  <a:pt x="9197529" y="1347279"/>
                </a:cubicBezTo>
                <a:cubicBezTo>
                  <a:pt x="9195932" y="1350867"/>
                  <a:pt x="9193935" y="1353929"/>
                  <a:pt x="9191405" y="1356599"/>
                </a:cubicBezTo>
                <a:cubicBezTo>
                  <a:pt x="9188744" y="1359262"/>
                  <a:pt x="9185682" y="1361385"/>
                  <a:pt x="9182088" y="1362851"/>
                </a:cubicBezTo>
                <a:cubicBezTo>
                  <a:pt x="9178494" y="1364313"/>
                  <a:pt x="9174633" y="1365113"/>
                  <a:pt x="9170374" y="1365113"/>
                </a:cubicBezTo>
                <a:cubicBezTo>
                  <a:pt x="9161453" y="1365113"/>
                  <a:pt x="9154132" y="1362185"/>
                  <a:pt x="9148541" y="1356599"/>
                </a:cubicBezTo>
                <a:cubicBezTo>
                  <a:pt x="9142951" y="1351008"/>
                  <a:pt x="9140155" y="1343948"/>
                  <a:pt x="9140155" y="1335427"/>
                </a:cubicBezTo>
                <a:cubicBezTo>
                  <a:pt x="9140155" y="1327172"/>
                  <a:pt x="9142951" y="1320123"/>
                  <a:pt x="9148541" y="1314393"/>
                </a:cubicBezTo>
                <a:cubicBezTo>
                  <a:pt x="9154132" y="1308672"/>
                  <a:pt x="9161321" y="1305741"/>
                  <a:pt x="9170374" y="1305741"/>
                </a:cubicBezTo>
                <a:close/>
                <a:moveTo>
                  <a:pt x="8952728" y="1305741"/>
                </a:moveTo>
                <a:cubicBezTo>
                  <a:pt x="8956988" y="1305741"/>
                  <a:pt x="8960849" y="1306548"/>
                  <a:pt x="8964442" y="1308407"/>
                </a:cubicBezTo>
                <a:cubicBezTo>
                  <a:pt x="8968037" y="1310007"/>
                  <a:pt x="8971231" y="1312130"/>
                  <a:pt x="8973760" y="1314801"/>
                </a:cubicBezTo>
                <a:cubicBezTo>
                  <a:pt x="8976290" y="1317323"/>
                  <a:pt x="8978419" y="1320522"/>
                  <a:pt x="8979884" y="1324111"/>
                </a:cubicBezTo>
                <a:cubicBezTo>
                  <a:pt x="8981348" y="1327712"/>
                  <a:pt x="8982147" y="1331566"/>
                  <a:pt x="8982147" y="1335564"/>
                </a:cubicBezTo>
                <a:cubicBezTo>
                  <a:pt x="8982147" y="1339692"/>
                  <a:pt x="8981348" y="1343678"/>
                  <a:pt x="8979884" y="1347279"/>
                </a:cubicBezTo>
                <a:cubicBezTo>
                  <a:pt x="8978287" y="1350867"/>
                  <a:pt x="8976290" y="1353929"/>
                  <a:pt x="8973760" y="1356599"/>
                </a:cubicBezTo>
                <a:cubicBezTo>
                  <a:pt x="8971098" y="1359262"/>
                  <a:pt x="8968037" y="1361385"/>
                  <a:pt x="8964442" y="1362851"/>
                </a:cubicBezTo>
                <a:cubicBezTo>
                  <a:pt x="8960849" y="1364313"/>
                  <a:pt x="8956988" y="1365113"/>
                  <a:pt x="8952728" y="1365113"/>
                </a:cubicBezTo>
                <a:cubicBezTo>
                  <a:pt x="8943808" y="1365113"/>
                  <a:pt x="8936487" y="1362185"/>
                  <a:pt x="8930896" y="1356599"/>
                </a:cubicBezTo>
                <a:cubicBezTo>
                  <a:pt x="8925305" y="1351008"/>
                  <a:pt x="8922510" y="1343948"/>
                  <a:pt x="8922510" y="1335427"/>
                </a:cubicBezTo>
                <a:cubicBezTo>
                  <a:pt x="8922510" y="1327172"/>
                  <a:pt x="8925305" y="1320123"/>
                  <a:pt x="8930896" y="1314393"/>
                </a:cubicBezTo>
                <a:cubicBezTo>
                  <a:pt x="8936487" y="1308672"/>
                  <a:pt x="8943675" y="1305741"/>
                  <a:pt x="8952728" y="1305741"/>
                </a:cubicBezTo>
                <a:close/>
                <a:moveTo>
                  <a:pt x="8735083" y="1305741"/>
                </a:moveTo>
                <a:cubicBezTo>
                  <a:pt x="8739342" y="1305741"/>
                  <a:pt x="8743203" y="1306548"/>
                  <a:pt x="8746797" y="1308407"/>
                </a:cubicBezTo>
                <a:cubicBezTo>
                  <a:pt x="8750391" y="1310007"/>
                  <a:pt x="8753586" y="1312130"/>
                  <a:pt x="8756115" y="1314801"/>
                </a:cubicBezTo>
                <a:cubicBezTo>
                  <a:pt x="8758644" y="1317323"/>
                  <a:pt x="8760774" y="1320522"/>
                  <a:pt x="8762238" y="1324111"/>
                </a:cubicBezTo>
                <a:cubicBezTo>
                  <a:pt x="8763702" y="1327712"/>
                  <a:pt x="8764502" y="1331566"/>
                  <a:pt x="8764502" y="1335564"/>
                </a:cubicBezTo>
                <a:cubicBezTo>
                  <a:pt x="8764502" y="1339692"/>
                  <a:pt x="8763702" y="1343678"/>
                  <a:pt x="8762238" y="1347279"/>
                </a:cubicBezTo>
                <a:cubicBezTo>
                  <a:pt x="8760641" y="1350867"/>
                  <a:pt x="8758644" y="1353929"/>
                  <a:pt x="8756115" y="1356599"/>
                </a:cubicBezTo>
                <a:cubicBezTo>
                  <a:pt x="8753453" y="1359262"/>
                  <a:pt x="8750391" y="1361385"/>
                  <a:pt x="8746797" y="1362851"/>
                </a:cubicBezTo>
                <a:cubicBezTo>
                  <a:pt x="8743203" y="1364313"/>
                  <a:pt x="8739342" y="1365113"/>
                  <a:pt x="8735083" y="1365113"/>
                </a:cubicBezTo>
                <a:cubicBezTo>
                  <a:pt x="8726030" y="1365113"/>
                  <a:pt x="8718841" y="1362185"/>
                  <a:pt x="8713250" y="1356599"/>
                </a:cubicBezTo>
                <a:cubicBezTo>
                  <a:pt x="8707660" y="1351008"/>
                  <a:pt x="8704864" y="1343948"/>
                  <a:pt x="8704864" y="1335427"/>
                </a:cubicBezTo>
                <a:cubicBezTo>
                  <a:pt x="8704864" y="1327172"/>
                  <a:pt x="8707660" y="1320123"/>
                  <a:pt x="8713250" y="1314393"/>
                </a:cubicBezTo>
                <a:cubicBezTo>
                  <a:pt x="8718841" y="1308672"/>
                  <a:pt x="8726030" y="1305741"/>
                  <a:pt x="8735083" y="1305741"/>
                </a:cubicBezTo>
                <a:close/>
                <a:moveTo>
                  <a:pt x="8517438" y="1305741"/>
                </a:moveTo>
                <a:cubicBezTo>
                  <a:pt x="8521698" y="1305741"/>
                  <a:pt x="8525559" y="1306548"/>
                  <a:pt x="8529152" y="1308407"/>
                </a:cubicBezTo>
                <a:cubicBezTo>
                  <a:pt x="8532880" y="1310007"/>
                  <a:pt x="8535941" y="1312130"/>
                  <a:pt x="8538470" y="1314801"/>
                </a:cubicBezTo>
                <a:cubicBezTo>
                  <a:pt x="8541000" y="1317323"/>
                  <a:pt x="8543130" y="1320522"/>
                  <a:pt x="8544594" y="1324111"/>
                </a:cubicBezTo>
                <a:cubicBezTo>
                  <a:pt x="8546058" y="1327712"/>
                  <a:pt x="8546857" y="1331566"/>
                  <a:pt x="8546857" y="1335564"/>
                </a:cubicBezTo>
                <a:cubicBezTo>
                  <a:pt x="8546857" y="1339692"/>
                  <a:pt x="8546058" y="1343678"/>
                  <a:pt x="8544594" y="1347279"/>
                </a:cubicBezTo>
                <a:cubicBezTo>
                  <a:pt x="8542997" y="1350867"/>
                  <a:pt x="8541000" y="1353929"/>
                  <a:pt x="8538470" y="1356599"/>
                </a:cubicBezTo>
                <a:cubicBezTo>
                  <a:pt x="8535808" y="1359262"/>
                  <a:pt x="8532747" y="1361385"/>
                  <a:pt x="8529152" y="1362851"/>
                </a:cubicBezTo>
                <a:cubicBezTo>
                  <a:pt x="8525559" y="1364313"/>
                  <a:pt x="8521698" y="1365113"/>
                  <a:pt x="8517438" y="1365113"/>
                </a:cubicBezTo>
                <a:cubicBezTo>
                  <a:pt x="8508385" y="1365113"/>
                  <a:pt x="8501197" y="1362185"/>
                  <a:pt x="8495606" y="1356599"/>
                </a:cubicBezTo>
                <a:cubicBezTo>
                  <a:pt x="8490015" y="1351008"/>
                  <a:pt x="8487220" y="1343948"/>
                  <a:pt x="8487220" y="1335427"/>
                </a:cubicBezTo>
                <a:cubicBezTo>
                  <a:pt x="8487220" y="1327172"/>
                  <a:pt x="8490015" y="1320123"/>
                  <a:pt x="8495606" y="1314393"/>
                </a:cubicBezTo>
                <a:cubicBezTo>
                  <a:pt x="8501197" y="1308672"/>
                  <a:pt x="8508385" y="1305741"/>
                  <a:pt x="8517438" y="1305741"/>
                </a:cubicBezTo>
                <a:close/>
                <a:moveTo>
                  <a:pt x="8299793" y="1305741"/>
                </a:moveTo>
                <a:cubicBezTo>
                  <a:pt x="8304052" y="1305741"/>
                  <a:pt x="8308046" y="1306548"/>
                  <a:pt x="8311507" y="1308407"/>
                </a:cubicBezTo>
                <a:cubicBezTo>
                  <a:pt x="8315235" y="1310007"/>
                  <a:pt x="8318296" y="1312130"/>
                  <a:pt x="8320825" y="1314801"/>
                </a:cubicBezTo>
                <a:cubicBezTo>
                  <a:pt x="8323354" y="1317323"/>
                  <a:pt x="8325484" y="1320522"/>
                  <a:pt x="8326948" y="1324111"/>
                </a:cubicBezTo>
                <a:cubicBezTo>
                  <a:pt x="8328413" y="1327712"/>
                  <a:pt x="8329212" y="1331566"/>
                  <a:pt x="8329212" y="1335564"/>
                </a:cubicBezTo>
                <a:cubicBezTo>
                  <a:pt x="8329212" y="1339692"/>
                  <a:pt x="8328413" y="1343678"/>
                  <a:pt x="8326948" y="1347279"/>
                </a:cubicBezTo>
                <a:cubicBezTo>
                  <a:pt x="8325351" y="1350867"/>
                  <a:pt x="8323354" y="1353929"/>
                  <a:pt x="8320825" y="1356599"/>
                </a:cubicBezTo>
                <a:cubicBezTo>
                  <a:pt x="8318163" y="1359262"/>
                  <a:pt x="8315101" y="1361385"/>
                  <a:pt x="8311507" y="1362851"/>
                </a:cubicBezTo>
                <a:cubicBezTo>
                  <a:pt x="8307913" y="1364313"/>
                  <a:pt x="8304052" y="1365113"/>
                  <a:pt x="8299793" y="1365113"/>
                </a:cubicBezTo>
                <a:cubicBezTo>
                  <a:pt x="8290874" y="1365113"/>
                  <a:pt x="8283553" y="1362185"/>
                  <a:pt x="8277960" y="1356599"/>
                </a:cubicBezTo>
                <a:cubicBezTo>
                  <a:pt x="8272370" y="1351008"/>
                  <a:pt x="8269574" y="1343948"/>
                  <a:pt x="8269574" y="1335427"/>
                </a:cubicBezTo>
                <a:cubicBezTo>
                  <a:pt x="8269574" y="1327172"/>
                  <a:pt x="8272370" y="1320123"/>
                  <a:pt x="8277960" y="1314393"/>
                </a:cubicBezTo>
                <a:cubicBezTo>
                  <a:pt x="8283553" y="1308672"/>
                  <a:pt x="8290741" y="1305741"/>
                  <a:pt x="8299793" y="1305741"/>
                </a:cubicBezTo>
                <a:close/>
                <a:moveTo>
                  <a:pt x="8082281" y="1305741"/>
                </a:moveTo>
                <a:cubicBezTo>
                  <a:pt x="8086407" y="1305741"/>
                  <a:pt x="8090401" y="1306548"/>
                  <a:pt x="8094127" y="1308407"/>
                </a:cubicBezTo>
                <a:cubicBezTo>
                  <a:pt x="8097855" y="1310007"/>
                  <a:pt x="8100916" y="1312130"/>
                  <a:pt x="8103446" y="1314801"/>
                </a:cubicBezTo>
                <a:cubicBezTo>
                  <a:pt x="8105975" y="1317323"/>
                  <a:pt x="8108104" y="1320522"/>
                  <a:pt x="8109569" y="1324111"/>
                </a:cubicBezTo>
                <a:cubicBezTo>
                  <a:pt x="8111033" y="1327712"/>
                  <a:pt x="8111832" y="1331566"/>
                  <a:pt x="8111832" y="1335564"/>
                </a:cubicBezTo>
                <a:cubicBezTo>
                  <a:pt x="8111832" y="1339692"/>
                  <a:pt x="8111033" y="1343678"/>
                  <a:pt x="8109569" y="1347279"/>
                </a:cubicBezTo>
                <a:cubicBezTo>
                  <a:pt x="8107972" y="1350867"/>
                  <a:pt x="8105975" y="1353929"/>
                  <a:pt x="8103446" y="1356599"/>
                </a:cubicBezTo>
                <a:cubicBezTo>
                  <a:pt x="8100783" y="1359262"/>
                  <a:pt x="8097722" y="1361385"/>
                  <a:pt x="8094127" y="1362851"/>
                </a:cubicBezTo>
                <a:cubicBezTo>
                  <a:pt x="8090401" y="1364313"/>
                  <a:pt x="8086540" y="1365113"/>
                  <a:pt x="8082281" y="1365113"/>
                </a:cubicBezTo>
                <a:cubicBezTo>
                  <a:pt x="8073361" y="1365113"/>
                  <a:pt x="8066040" y="1362185"/>
                  <a:pt x="8060448" y="1356599"/>
                </a:cubicBezTo>
                <a:cubicBezTo>
                  <a:pt x="8054857" y="1351008"/>
                  <a:pt x="8052062" y="1343948"/>
                  <a:pt x="8052062" y="1335427"/>
                </a:cubicBezTo>
                <a:cubicBezTo>
                  <a:pt x="8052062" y="1327172"/>
                  <a:pt x="8054857" y="1320123"/>
                  <a:pt x="8060448" y="1314393"/>
                </a:cubicBezTo>
                <a:cubicBezTo>
                  <a:pt x="8066040" y="1308672"/>
                  <a:pt x="8073228" y="1305741"/>
                  <a:pt x="8082281" y="1305741"/>
                </a:cubicBezTo>
                <a:close/>
                <a:moveTo>
                  <a:pt x="7864636" y="1305741"/>
                </a:moveTo>
                <a:cubicBezTo>
                  <a:pt x="7868762" y="1305741"/>
                  <a:pt x="7872756" y="1306548"/>
                  <a:pt x="7876483" y="1308407"/>
                </a:cubicBezTo>
                <a:cubicBezTo>
                  <a:pt x="7880210" y="1310007"/>
                  <a:pt x="7883272" y="1312130"/>
                  <a:pt x="7885802" y="1314801"/>
                </a:cubicBezTo>
                <a:cubicBezTo>
                  <a:pt x="7888331" y="1317323"/>
                  <a:pt x="7890460" y="1320522"/>
                  <a:pt x="7891924" y="1324111"/>
                </a:cubicBezTo>
                <a:cubicBezTo>
                  <a:pt x="7893389" y="1327712"/>
                  <a:pt x="7894188" y="1331566"/>
                  <a:pt x="7894188" y="1335564"/>
                </a:cubicBezTo>
                <a:cubicBezTo>
                  <a:pt x="7894188" y="1339692"/>
                  <a:pt x="7893389" y="1343678"/>
                  <a:pt x="7891924" y="1347279"/>
                </a:cubicBezTo>
                <a:cubicBezTo>
                  <a:pt x="7890327" y="1350867"/>
                  <a:pt x="7888331" y="1353929"/>
                  <a:pt x="7885802" y="1356599"/>
                </a:cubicBezTo>
                <a:cubicBezTo>
                  <a:pt x="7883139" y="1359262"/>
                  <a:pt x="7880078" y="1361385"/>
                  <a:pt x="7876483" y="1362851"/>
                </a:cubicBezTo>
                <a:cubicBezTo>
                  <a:pt x="7872756" y="1364313"/>
                  <a:pt x="7868895" y="1365113"/>
                  <a:pt x="7864636" y="1365113"/>
                </a:cubicBezTo>
                <a:cubicBezTo>
                  <a:pt x="7855717" y="1365113"/>
                  <a:pt x="7848396" y="1362185"/>
                  <a:pt x="7842803" y="1356599"/>
                </a:cubicBezTo>
                <a:cubicBezTo>
                  <a:pt x="7837213" y="1351008"/>
                  <a:pt x="7834417" y="1343948"/>
                  <a:pt x="7834417" y="1335427"/>
                </a:cubicBezTo>
                <a:cubicBezTo>
                  <a:pt x="7834417" y="1327172"/>
                  <a:pt x="7837213" y="1320123"/>
                  <a:pt x="7842803" y="1314393"/>
                </a:cubicBezTo>
                <a:cubicBezTo>
                  <a:pt x="7848396" y="1308672"/>
                  <a:pt x="7855584" y="1305741"/>
                  <a:pt x="7864636" y="1305741"/>
                </a:cubicBezTo>
                <a:close/>
                <a:moveTo>
                  <a:pt x="7646991" y="1305741"/>
                </a:moveTo>
                <a:cubicBezTo>
                  <a:pt x="7651250" y="1305741"/>
                  <a:pt x="7655111" y="1306548"/>
                  <a:pt x="7658705" y="1308407"/>
                </a:cubicBezTo>
                <a:cubicBezTo>
                  <a:pt x="7662432" y="1310007"/>
                  <a:pt x="7665493" y="1312130"/>
                  <a:pt x="7668022" y="1314801"/>
                </a:cubicBezTo>
                <a:cubicBezTo>
                  <a:pt x="7670552" y="1317323"/>
                  <a:pt x="7672682" y="1320522"/>
                  <a:pt x="7674146" y="1324111"/>
                </a:cubicBezTo>
                <a:cubicBezTo>
                  <a:pt x="7675610" y="1327712"/>
                  <a:pt x="7676409" y="1331566"/>
                  <a:pt x="7676409" y="1335564"/>
                </a:cubicBezTo>
                <a:cubicBezTo>
                  <a:pt x="7676409" y="1339692"/>
                  <a:pt x="7675610" y="1343678"/>
                  <a:pt x="7674146" y="1347279"/>
                </a:cubicBezTo>
                <a:cubicBezTo>
                  <a:pt x="7672549" y="1350867"/>
                  <a:pt x="7670552" y="1353929"/>
                  <a:pt x="7668022" y="1356599"/>
                </a:cubicBezTo>
                <a:cubicBezTo>
                  <a:pt x="7665361" y="1359262"/>
                  <a:pt x="7662299" y="1361385"/>
                  <a:pt x="7658705" y="1362851"/>
                </a:cubicBezTo>
                <a:cubicBezTo>
                  <a:pt x="7655111" y="1364313"/>
                  <a:pt x="7651250" y="1365113"/>
                  <a:pt x="7646991" y="1365113"/>
                </a:cubicBezTo>
                <a:cubicBezTo>
                  <a:pt x="7638071" y="1365113"/>
                  <a:pt x="7630750" y="1362185"/>
                  <a:pt x="7625158" y="1356599"/>
                </a:cubicBezTo>
                <a:cubicBezTo>
                  <a:pt x="7619568" y="1351008"/>
                  <a:pt x="7616772" y="1343948"/>
                  <a:pt x="7616772" y="1335427"/>
                </a:cubicBezTo>
                <a:cubicBezTo>
                  <a:pt x="7616772" y="1327172"/>
                  <a:pt x="7619568" y="1320123"/>
                  <a:pt x="7625158" y="1314393"/>
                </a:cubicBezTo>
                <a:cubicBezTo>
                  <a:pt x="7630750" y="1308672"/>
                  <a:pt x="7637939" y="1305741"/>
                  <a:pt x="7646991" y="1305741"/>
                </a:cubicBezTo>
                <a:close/>
                <a:moveTo>
                  <a:pt x="7429345" y="1305741"/>
                </a:moveTo>
                <a:cubicBezTo>
                  <a:pt x="7433605" y="1305741"/>
                  <a:pt x="7437466" y="1306548"/>
                  <a:pt x="7441059" y="1308407"/>
                </a:cubicBezTo>
                <a:cubicBezTo>
                  <a:pt x="7444787" y="1310007"/>
                  <a:pt x="7447848" y="1312130"/>
                  <a:pt x="7450377" y="1314801"/>
                </a:cubicBezTo>
                <a:cubicBezTo>
                  <a:pt x="7452907" y="1317323"/>
                  <a:pt x="7455036" y="1320522"/>
                  <a:pt x="7456501" y="1324111"/>
                </a:cubicBezTo>
                <a:cubicBezTo>
                  <a:pt x="7457965" y="1327712"/>
                  <a:pt x="7458764" y="1331566"/>
                  <a:pt x="7458764" y="1335564"/>
                </a:cubicBezTo>
                <a:cubicBezTo>
                  <a:pt x="7458764" y="1339692"/>
                  <a:pt x="7457965" y="1343678"/>
                  <a:pt x="7456501" y="1347279"/>
                </a:cubicBezTo>
                <a:cubicBezTo>
                  <a:pt x="7454904" y="1350867"/>
                  <a:pt x="7452907" y="1353929"/>
                  <a:pt x="7450377" y="1356599"/>
                </a:cubicBezTo>
                <a:cubicBezTo>
                  <a:pt x="7447715" y="1359262"/>
                  <a:pt x="7444654" y="1361385"/>
                  <a:pt x="7441059" y="1362851"/>
                </a:cubicBezTo>
                <a:cubicBezTo>
                  <a:pt x="7437466" y="1364313"/>
                  <a:pt x="7433605" y="1365113"/>
                  <a:pt x="7429345" y="1365113"/>
                </a:cubicBezTo>
                <a:cubicBezTo>
                  <a:pt x="7420426" y="1365113"/>
                  <a:pt x="7413105" y="1362185"/>
                  <a:pt x="7407513" y="1356599"/>
                </a:cubicBezTo>
                <a:cubicBezTo>
                  <a:pt x="7401922" y="1351008"/>
                  <a:pt x="7399127" y="1343948"/>
                  <a:pt x="7399127" y="1335427"/>
                </a:cubicBezTo>
                <a:cubicBezTo>
                  <a:pt x="7399127" y="1327172"/>
                  <a:pt x="7401922" y="1320123"/>
                  <a:pt x="7407513" y="1314393"/>
                </a:cubicBezTo>
                <a:cubicBezTo>
                  <a:pt x="7413105" y="1308672"/>
                  <a:pt x="7420293" y="1305741"/>
                  <a:pt x="7429345" y="1305741"/>
                </a:cubicBezTo>
                <a:close/>
                <a:moveTo>
                  <a:pt x="7211701" y="1305741"/>
                </a:moveTo>
                <a:cubicBezTo>
                  <a:pt x="7215960" y="1305741"/>
                  <a:pt x="7219954" y="1306548"/>
                  <a:pt x="7223415" y="1308407"/>
                </a:cubicBezTo>
                <a:cubicBezTo>
                  <a:pt x="7227142" y="1310007"/>
                  <a:pt x="7230204" y="1312130"/>
                  <a:pt x="7232733" y="1314801"/>
                </a:cubicBezTo>
                <a:cubicBezTo>
                  <a:pt x="7235262" y="1317323"/>
                  <a:pt x="7237392" y="1320522"/>
                  <a:pt x="7238856" y="1324111"/>
                </a:cubicBezTo>
                <a:cubicBezTo>
                  <a:pt x="7240321" y="1327712"/>
                  <a:pt x="7241120" y="1331566"/>
                  <a:pt x="7241120" y="1335564"/>
                </a:cubicBezTo>
                <a:cubicBezTo>
                  <a:pt x="7241120" y="1339692"/>
                  <a:pt x="7240321" y="1343678"/>
                  <a:pt x="7238856" y="1347279"/>
                </a:cubicBezTo>
                <a:cubicBezTo>
                  <a:pt x="7237259" y="1350867"/>
                  <a:pt x="7235262" y="1353929"/>
                  <a:pt x="7232733" y="1356599"/>
                </a:cubicBezTo>
                <a:cubicBezTo>
                  <a:pt x="7230071" y="1359262"/>
                  <a:pt x="7227009" y="1361385"/>
                  <a:pt x="7223415" y="1362851"/>
                </a:cubicBezTo>
                <a:cubicBezTo>
                  <a:pt x="7219821" y="1364313"/>
                  <a:pt x="7215960" y="1365113"/>
                  <a:pt x="7211701" y="1365113"/>
                </a:cubicBezTo>
                <a:cubicBezTo>
                  <a:pt x="7202782" y="1365113"/>
                  <a:pt x="7195460" y="1362185"/>
                  <a:pt x="7189868" y="1356599"/>
                </a:cubicBezTo>
                <a:cubicBezTo>
                  <a:pt x="7184278" y="1351008"/>
                  <a:pt x="7181482" y="1343948"/>
                  <a:pt x="7181482" y="1335427"/>
                </a:cubicBezTo>
                <a:cubicBezTo>
                  <a:pt x="7181482" y="1327172"/>
                  <a:pt x="7184278" y="1320123"/>
                  <a:pt x="7189868" y="1314393"/>
                </a:cubicBezTo>
                <a:cubicBezTo>
                  <a:pt x="7195460" y="1308672"/>
                  <a:pt x="7202649" y="1305741"/>
                  <a:pt x="7211701" y="1305741"/>
                </a:cubicBezTo>
                <a:close/>
                <a:moveTo>
                  <a:pt x="6994056" y="1305741"/>
                </a:moveTo>
                <a:cubicBezTo>
                  <a:pt x="6998315" y="1305741"/>
                  <a:pt x="7002309" y="1306548"/>
                  <a:pt x="7005769" y="1308407"/>
                </a:cubicBezTo>
                <a:cubicBezTo>
                  <a:pt x="7009497" y="1310007"/>
                  <a:pt x="7012558" y="1312130"/>
                  <a:pt x="7015087" y="1314801"/>
                </a:cubicBezTo>
                <a:cubicBezTo>
                  <a:pt x="7017617" y="1317323"/>
                  <a:pt x="7019747" y="1320522"/>
                  <a:pt x="7021211" y="1324111"/>
                </a:cubicBezTo>
                <a:cubicBezTo>
                  <a:pt x="7022675" y="1327712"/>
                  <a:pt x="7023474" y="1331566"/>
                  <a:pt x="7023474" y="1335564"/>
                </a:cubicBezTo>
                <a:cubicBezTo>
                  <a:pt x="7023474" y="1339692"/>
                  <a:pt x="7022675" y="1343678"/>
                  <a:pt x="7021211" y="1347279"/>
                </a:cubicBezTo>
                <a:cubicBezTo>
                  <a:pt x="7019614" y="1350867"/>
                  <a:pt x="7017617" y="1353929"/>
                  <a:pt x="7015087" y="1356599"/>
                </a:cubicBezTo>
                <a:cubicBezTo>
                  <a:pt x="7012425" y="1359262"/>
                  <a:pt x="7009364" y="1361385"/>
                  <a:pt x="7005769" y="1362851"/>
                </a:cubicBezTo>
                <a:cubicBezTo>
                  <a:pt x="7002176" y="1364313"/>
                  <a:pt x="6998315" y="1365113"/>
                  <a:pt x="6994056" y="1365113"/>
                </a:cubicBezTo>
                <a:cubicBezTo>
                  <a:pt x="6985136" y="1365113"/>
                  <a:pt x="6977815" y="1362185"/>
                  <a:pt x="6972223" y="1356599"/>
                </a:cubicBezTo>
                <a:cubicBezTo>
                  <a:pt x="6966632" y="1351008"/>
                  <a:pt x="6963837" y="1343948"/>
                  <a:pt x="6963837" y="1335427"/>
                </a:cubicBezTo>
                <a:cubicBezTo>
                  <a:pt x="6963837" y="1327172"/>
                  <a:pt x="6966632" y="1320123"/>
                  <a:pt x="6972223" y="1314393"/>
                </a:cubicBezTo>
                <a:cubicBezTo>
                  <a:pt x="6977815" y="1308672"/>
                  <a:pt x="6985003" y="1305741"/>
                  <a:pt x="6994056" y="1305741"/>
                </a:cubicBezTo>
                <a:close/>
                <a:moveTo>
                  <a:pt x="6776544" y="1305741"/>
                </a:moveTo>
                <a:cubicBezTo>
                  <a:pt x="6780670" y="1305741"/>
                  <a:pt x="6784664" y="1306548"/>
                  <a:pt x="6788258" y="1308407"/>
                </a:cubicBezTo>
                <a:cubicBezTo>
                  <a:pt x="6791985" y="1310007"/>
                  <a:pt x="6795047" y="1312130"/>
                  <a:pt x="6797576" y="1314801"/>
                </a:cubicBezTo>
                <a:cubicBezTo>
                  <a:pt x="6800105" y="1317323"/>
                  <a:pt x="6802235" y="1320522"/>
                  <a:pt x="6803699" y="1324111"/>
                </a:cubicBezTo>
                <a:cubicBezTo>
                  <a:pt x="6805164" y="1327712"/>
                  <a:pt x="6805963" y="1331566"/>
                  <a:pt x="6805963" y="1335564"/>
                </a:cubicBezTo>
                <a:cubicBezTo>
                  <a:pt x="6805963" y="1339692"/>
                  <a:pt x="6805164" y="1343678"/>
                  <a:pt x="6803699" y="1347279"/>
                </a:cubicBezTo>
                <a:cubicBezTo>
                  <a:pt x="6802102" y="1350867"/>
                  <a:pt x="6800105" y="1353929"/>
                  <a:pt x="6797576" y="1356599"/>
                </a:cubicBezTo>
                <a:cubicBezTo>
                  <a:pt x="6794914" y="1359262"/>
                  <a:pt x="6791852" y="1361385"/>
                  <a:pt x="6788258" y="1362851"/>
                </a:cubicBezTo>
                <a:cubicBezTo>
                  <a:pt x="6784664" y="1364313"/>
                  <a:pt x="6780803" y="1365113"/>
                  <a:pt x="6776544" y="1365113"/>
                </a:cubicBezTo>
                <a:cubicBezTo>
                  <a:pt x="6767625" y="1365113"/>
                  <a:pt x="6760303" y="1362185"/>
                  <a:pt x="6754711" y="1356599"/>
                </a:cubicBezTo>
                <a:cubicBezTo>
                  <a:pt x="6749121" y="1351008"/>
                  <a:pt x="6746325" y="1343948"/>
                  <a:pt x="6746325" y="1335427"/>
                </a:cubicBezTo>
                <a:cubicBezTo>
                  <a:pt x="6746325" y="1327172"/>
                  <a:pt x="6749121" y="1320123"/>
                  <a:pt x="6754711" y="1314393"/>
                </a:cubicBezTo>
                <a:cubicBezTo>
                  <a:pt x="6760303" y="1308672"/>
                  <a:pt x="6767492" y="1305741"/>
                  <a:pt x="6776544" y="1305741"/>
                </a:cubicBezTo>
                <a:close/>
                <a:moveTo>
                  <a:pt x="6558899" y="1305741"/>
                </a:moveTo>
                <a:cubicBezTo>
                  <a:pt x="6563158" y="1305741"/>
                  <a:pt x="6567019" y="1306548"/>
                  <a:pt x="6570612" y="1308407"/>
                </a:cubicBezTo>
                <a:cubicBezTo>
                  <a:pt x="6574340" y="1310007"/>
                  <a:pt x="6577401" y="1312130"/>
                  <a:pt x="6579930" y="1314801"/>
                </a:cubicBezTo>
                <a:cubicBezTo>
                  <a:pt x="6582460" y="1317323"/>
                  <a:pt x="6584590" y="1320522"/>
                  <a:pt x="6586054" y="1324111"/>
                </a:cubicBezTo>
                <a:cubicBezTo>
                  <a:pt x="6587518" y="1327712"/>
                  <a:pt x="6588317" y="1331566"/>
                  <a:pt x="6588317" y="1335564"/>
                </a:cubicBezTo>
                <a:cubicBezTo>
                  <a:pt x="6588317" y="1339692"/>
                  <a:pt x="6587518" y="1343678"/>
                  <a:pt x="6586054" y="1347279"/>
                </a:cubicBezTo>
                <a:cubicBezTo>
                  <a:pt x="6584457" y="1350867"/>
                  <a:pt x="6582460" y="1353929"/>
                  <a:pt x="6579930" y="1356599"/>
                </a:cubicBezTo>
                <a:cubicBezTo>
                  <a:pt x="6577268" y="1359262"/>
                  <a:pt x="6574207" y="1361385"/>
                  <a:pt x="6570612" y="1362851"/>
                </a:cubicBezTo>
                <a:cubicBezTo>
                  <a:pt x="6567019" y="1364313"/>
                  <a:pt x="6563158" y="1365113"/>
                  <a:pt x="6558899" y="1365113"/>
                </a:cubicBezTo>
                <a:cubicBezTo>
                  <a:pt x="6549979" y="1365113"/>
                  <a:pt x="6542658" y="1362185"/>
                  <a:pt x="6537066" y="1356599"/>
                </a:cubicBezTo>
                <a:cubicBezTo>
                  <a:pt x="6531476" y="1351008"/>
                  <a:pt x="6528680" y="1343948"/>
                  <a:pt x="6528680" y="1335427"/>
                </a:cubicBezTo>
                <a:cubicBezTo>
                  <a:pt x="6528680" y="1327172"/>
                  <a:pt x="6531476" y="1320123"/>
                  <a:pt x="6537066" y="1314393"/>
                </a:cubicBezTo>
                <a:cubicBezTo>
                  <a:pt x="6542658" y="1308672"/>
                  <a:pt x="6549846" y="1305741"/>
                  <a:pt x="6558899" y="1305741"/>
                </a:cubicBezTo>
                <a:close/>
                <a:moveTo>
                  <a:pt x="6341253" y="1305741"/>
                </a:moveTo>
                <a:cubicBezTo>
                  <a:pt x="6345513" y="1305741"/>
                  <a:pt x="6349373" y="1306548"/>
                  <a:pt x="6352968" y="1308407"/>
                </a:cubicBezTo>
                <a:cubicBezTo>
                  <a:pt x="6356695" y="1310007"/>
                  <a:pt x="6359757" y="1312130"/>
                  <a:pt x="6362286" y="1314801"/>
                </a:cubicBezTo>
                <a:cubicBezTo>
                  <a:pt x="6364815" y="1317323"/>
                  <a:pt x="6366945" y="1320522"/>
                  <a:pt x="6368409" y="1324111"/>
                </a:cubicBezTo>
                <a:cubicBezTo>
                  <a:pt x="6369874" y="1327712"/>
                  <a:pt x="6370672" y="1331566"/>
                  <a:pt x="6370672" y="1335564"/>
                </a:cubicBezTo>
                <a:cubicBezTo>
                  <a:pt x="6370672" y="1339692"/>
                  <a:pt x="6369874" y="1343678"/>
                  <a:pt x="6368409" y="1347279"/>
                </a:cubicBezTo>
                <a:cubicBezTo>
                  <a:pt x="6366811" y="1350867"/>
                  <a:pt x="6364815" y="1353929"/>
                  <a:pt x="6362286" y="1356599"/>
                </a:cubicBezTo>
                <a:cubicBezTo>
                  <a:pt x="6359623" y="1359262"/>
                  <a:pt x="6356562" y="1361385"/>
                  <a:pt x="6352968" y="1362851"/>
                </a:cubicBezTo>
                <a:cubicBezTo>
                  <a:pt x="6349373" y="1364313"/>
                  <a:pt x="6345513" y="1365113"/>
                  <a:pt x="6341253" y="1365113"/>
                </a:cubicBezTo>
                <a:cubicBezTo>
                  <a:pt x="6332335" y="1365113"/>
                  <a:pt x="6325013" y="1362185"/>
                  <a:pt x="6319421" y="1356599"/>
                </a:cubicBezTo>
                <a:cubicBezTo>
                  <a:pt x="6313830" y="1351008"/>
                  <a:pt x="6311035" y="1343948"/>
                  <a:pt x="6311035" y="1335427"/>
                </a:cubicBezTo>
                <a:cubicBezTo>
                  <a:pt x="6311035" y="1327172"/>
                  <a:pt x="6313830" y="1320123"/>
                  <a:pt x="6319421" y="1314393"/>
                </a:cubicBezTo>
                <a:cubicBezTo>
                  <a:pt x="6325013" y="1308672"/>
                  <a:pt x="6332201" y="1305741"/>
                  <a:pt x="6341253" y="1305741"/>
                </a:cubicBezTo>
                <a:close/>
                <a:moveTo>
                  <a:pt x="6123608" y="1305741"/>
                </a:moveTo>
                <a:cubicBezTo>
                  <a:pt x="6127867" y="1305741"/>
                  <a:pt x="6131728" y="1306548"/>
                  <a:pt x="6135322" y="1308407"/>
                </a:cubicBezTo>
                <a:cubicBezTo>
                  <a:pt x="6139049" y="1310007"/>
                  <a:pt x="6142111" y="1312130"/>
                  <a:pt x="6144640" y="1314801"/>
                </a:cubicBezTo>
                <a:cubicBezTo>
                  <a:pt x="6147169" y="1317323"/>
                  <a:pt x="6149299" y="1320522"/>
                  <a:pt x="6150763" y="1324111"/>
                </a:cubicBezTo>
                <a:cubicBezTo>
                  <a:pt x="6152228" y="1327712"/>
                  <a:pt x="6153026" y="1331566"/>
                  <a:pt x="6153026" y="1335564"/>
                </a:cubicBezTo>
                <a:cubicBezTo>
                  <a:pt x="6153026" y="1339692"/>
                  <a:pt x="6152228" y="1343678"/>
                  <a:pt x="6150763" y="1347279"/>
                </a:cubicBezTo>
                <a:cubicBezTo>
                  <a:pt x="6149299" y="1350867"/>
                  <a:pt x="6147169" y="1353929"/>
                  <a:pt x="6144640" y="1356599"/>
                </a:cubicBezTo>
                <a:cubicBezTo>
                  <a:pt x="6141977" y="1359262"/>
                  <a:pt x="6138916" y="1361385"/>
                  <a:pt x="6135322" y="1362851"/>
                </a:cubicBezTo>
                <a:cubicBezTo>
                  <a:pt x="6131728" y="1364313"/>
                  <a:pt x="6127867" y="1365113"/>
                  <a:pt x="6123608" y="1365113"/>
                </a:cubicBezTo>
                <a:cubicBezTo>
                  <a:pt x="6114689" y="1365113"/>
                  <a:pt x="6107367" y="1362185"/>
                  <a:pt x="6101775" y="1356599"/>
                </a:cubicBezTo>
                <a:cubicBezTo>
                  <a:pt x="6096184" y="1351008"/>
                  <a:pt x="6093389" y="1343948"/>
                  <a:pt x="6093389" y="1335427"/>
                </a:cubicBezTo>
                <a:cubicBezTo>
                  <a:pt x="6093389" y="1327172"/>
                  <a:pt x="6096184" y="1320123"/>
                  <a:pt x="6101775" y="1314393"/>
                </a:cubicBezTo>
                <a:cubicBezTo>
                  <a:pt x="6107367" y="1308672"/>
                  <a:pt x="6114555" y="1305741"/>
                  <a:pt x="6123608" y="1305741"/>
                </a:cubicBezTo>
                <a:close/>
                <a:moveTo>
                  <a:pt x="5905963" y="1305741"/>
                </a:moveTo>
                <a:cubicBezTo>
                  <a:pt x="5910222" y="1305741"/>
                  <a:pt x="5914216" y="1306548"/>
                  <a:pt x="5917677" y="1308407"/>
                </a:cubicBezTo>
                <a:cubicBezTo>
                  <a:pt x="5921404" y="1310007"/>
                  <a:pt x="5924466" y="1312130"/>
                  <a:pt x="5926995" y="1314801"/>
                </a:cubicBezTo>
                <a:cubicBezTo>
                  <a:pt x="5929524" y="1317323"/>
                  <a:pt x="5931654" y="1320522"/>
                  <a:pt x="5933118" y="1324111"/>
                </a:cubicBezTo>
                <a:cubicBezTo>
                  <a:pt x="5934583" y="1327712"/>
                  <a:pt x="5935381" y="1331566"/>
                  <a:pt x="5935381" y="1335564"/>
                </a:cubicBezTo>
                <a:cubicBezTo>
                  <a:pt x="5935381" y="1339692"/>
                  <a:pt x="5934583" y="1343678"/>
                  <a:pt x="5933118" y="1347279"/>
                </a:cubicBezTo>
                <a:cubicBezTo>
                  <a:pt x="5931654" y="1350867"/>
                  <a:pt x="5929524" y="1353929"/>
                  <a:pt x="5926995" y="1356599"/>
                </a:cubicBezTo>
                <a:cubicBezTo>
                  <a:pt x="5924333" y="1359262"/>
                  <a:pt x="5921271" y="1361385"/>
                  <a:pt x="5917677" y="1362851"/>
                </a:cubicBezTo>
                <a:cubicBezTo>
                  <a:pt x="5914083" y="1364313"/>
                  <a:pt x="5910222" y="1365113"/>
                  <a:pt x="5905963" y="1365113"/>
                </a:cubicBezTo>
                <a:cubicBezTo>
                  <a:pt x="5897044" y="1365113"/>
                  <a:pt x="5889722" y="1362185"/>
                  <a:pt x="5884130" y="1356599"/>
                </a:cubicBezTo>
                <a:cubicBezTo>
                  <a:pt x="5878540" y="1351008"/>
                  <a:pt x="5875744" y="1343948"/>
                  <a:pt x="5875744" y="1335427"/>
                </a:cubicBezTo>
                <a:cubicBezTo>
                  <a:pt x="5875744" y="1327172"/>
                  <a:pt x="5878540" y="1320123"/>
                  <a:pt x="5884130" y="1314393"/>
                </a:cubicBezTo>
                <a:cubicBezTo>
                  <a:pt x="5889722" y="1308672"/>
                  <a:pt x="5896910" y="1305741"/>
                  <a:pt x="5905963" y="1305741"/>
                </a:cubicBezTo>
                <a:close/>
                <a:moveTo>
                  <a:pt x="5688451" y="1305741"/>
                </a:moveTo>
                <a:cubicBezTo>
                  <a:pt x="5692577" y="1305741"/>
                  <a:pt x="5696571" y="1306548"/>
                  <a:pt x="5700165" y="1308407"/>
                </a:cubicBezTo>
                <a:cubicBezTo>
                  <a:pt x="5703892" y="1310007"/>
                  <a:pt x="5706954" y="1312130"/>
                  <a:pt x="5709483" y="1314801"/>
                </a:cubicBezTo>
                <a:cubicBezTo>
                  <a:pt x="5712012" y="1317323"/>
                  <a:pt x="5714142" y="1320522"/>
                  <a:pt x="5715606" y="1324111"/>
                </a:cubicBezTo>
                <a:cubicBezTo>
                  <a:pt x="5717071" y="1327712"/>
                  <a:pt x="5717869" y="1331566"/>
                  <a:pt x="5717869" y="1335564"/>
                </a:cubicBezTo>
                <a:cubicBezTo>
                  <a:pt x="5717869" y="1339692"/>
                  <a:pt x="5717071" y="1343678"/>
                  <a:pt x="5715606" y="1347279"/>
                </a:cubicBezTo>
                <a:cubicBezTo>
                  <a:pt x="5714142" y="1350867"/>
                  <a:pt x="5712012" y="1353929"/>
                  <a:pt x="5709483" y="1356599"/>
                </a:cubicBezTo>
                <a:cubicBezTo>
                  <a:pt x="5706820" y="1359262"/>
                  <a:pt x="5703759" y="1361385"/>
                  <a:pt x="5700165" y="1362851"/>
                </a:cubicBezTo>
                <a:cubicBezTo>
                  <a:pt x="5696571" y="1364313"/>
                  <a:pt x="5692710" y="1365113"/>
                  <a:pt x="5688451" y="1365113"/>
                </a:cubicBezTo>
                <a:cubicBezTo>
                  <a:pt x="5679532" y="1365113"/>
                  <a:pt x="5672210" y="1362185"/>
                  <a:pt x="5666618" y="1356599"/>
                </a:cubicBezTo>
                <a:cubicBezTo>
                  <a:pt x="5661028" y="1351008"/>
                  <a:pt x="5658232" y="1343948"/>
                  <a:pt x="5658232" y="1335427"/>
                </a:cubicBezTo>
                <a:cubicBezTo>
                  <a:pt x="5658232" y="1327172"/>
                  <a:pt x="5661028" y="1320123"/>
                  <a:pt x="5666618" y="1314393"/>
                </a:cubicBezTo>
                <a:cubicBezTo>
                  <a:pt x="5672210" y="1308672"/>
                  <a:pt x="5679398" y="1305741"/>
                  <a:pt x="5688451" y="1305741"/>
                </a:cubicBezTo>
                <a:close/>
                <a:moveTo>
                  <a:pt x="5470806" y="1305741"/>
                </a:moveTo>
                <a:cubicBezTo>
                  <a:pt x="5475065" y="1305741"/>
                  <a:pt x="5478926" y="1306548"/>
                  <a:pt x="5482520" y="1308407"/>
                </a:cubicBezTo>
                <a:cubicBezTo>
                  <a:pt x="5486247" y="1310007"/>
                  <a:pt x="5489309" y="1312130"/>
                  <a:pt x="5491838" y="1314801"/>
                </a:cubicBezTo>
                <a:cubicBezTo>
                  <a:pt x="5494367" y="1317323"/>
                  <a:pt x="5496497" y="1320522"/>
                  <a:pt x="5497961" y="1324111"/>
                </a:cubicBezTo>
                <a:cubicBezTo>
                  <a:pt x="5499426" y="1327712"/>
                  <a:pt x="5500224" y="1331566"/>
                  <a:pt x="5500224" y="1335564"/>
                </a:cubicBezTo>
                <a:cubicBezTo>
                  <a:pt x="5500224" y="1339692"/>
                  <a:pt x="5499426" y="1343678"/>
                  <a:pt x="5497961" y="1347279"/>
                </a:cubicBezTo>
                <a:cubicBezTo>
                  <a:pt x="5496497" y="1350867"/>
                  <a:pt x="5494367" y="1353929"/>
                  <a:pt x="5491838" y="1356599"/>
                </a:cubicBezTo>
                <a:cubicBezTo>
                  <a:pt x="5489176" y="1359262"/>
                  <a:pt x="5486114" y="1361385"/>
                  <a:pt x="5482520" y="1362851"/>
                </a:cubicBezTo>
                <a:cubicBezTo>
                  <a:pt x="5478926" y="1364313"/>
                  <a:pt x="5475065" y="1365113"/>
                  <a:pt x="5470806" y="1365113"/>
                </a:cubicBezTo>
                <a:cubicBezTo>
                  <a:pt x="5461887" y="1365113"/>
                  <a:pt x="5454565" y="1362185"/>
                  <a:pt x="5448973" y="1356599"/>
                </a:cubicBezTo>
                <a:cubicBezTo>
                  <a:pt x="5443383" y="1351008"/>
                  <a:pt x="5440587" y="1343948"/>
                  <a:pt x="5440587" y="1335427"/>
                </a:cubicBezTo>
                <a:cubicBezTo>
                  <a:pt x="5440587" y="1327172"/>
                  <a:pt x="5443383" y="1320123"/>
                  <a:pt x="5448973" y="1314393"/>
                </a:cubicBezTo>
                <a:cubicBezTo>
                  <a:pt x="5454565" y="1308672"/>
                  <a:pt x="5461754" y="1305741"/>
                  <a:pt x="5470806" y="1305741"/>
                </a:cubicBezTo>
                <a:close/>
                <a:moveTo>
                  <a:pt x="5253160" y="1305741"/>
                </a:moveTo>
                <a:cubicBezTo>
                  <a:pt x="5257420" y="1305741"/>
                  <a:pt x="5261280" y="1306548"/>
                  <a:pt x="5264875" y="1308407"/>
                </a:cubicBezTo>
                <a:cubicBezTo>
                  <a:pt x="5268602" y="1310007"/>
                  <a:pt x="5271664" y="1312130"/>
                  <a:pt x="5274192" y="1314801"/>
                </a:cubicBezTo>
                <a:cubicBezTo>
                  <a:pt x="5276722" y="1317323"/>
                  <a:pt x="5278852" y="1320522"/>
                  <a:pt x="5280316" y="1324111"/>
                </a:cubicBezTo>
                <a:cubicBezTo>
                  <a:pt x="5281780" y="1327712"/>
                  <a:pt x="5282579" y="1331566"/>
                  <a:pt x="5282579" y="1335564"/>
                </a:cubicBezTo>
                <a:cubicBezTo>
                  <a:pt x="5282579" y="1339692"/>
                  <a:pt x="5281780" y="1343678"/>
                  <a:pt x="5280316" y="1347279"/>
                </a:cubicBezTo>
                <a:cubicBezTo>
                  <a:pt x="5278852" y="1350867"/>
                  <a:pt x="5276722" y="1353929"/>
                  <a:pt x="5274192" y="1356599"/>
                </a:cubicBezTo>
                <a:cubicBezTo>
                  <a:pt x="5271664" y="1359262"/>
                  <a:pt x="5268469" y="1361385"/>
                  <a:pt x="5264875" y="1362851"/>
                </a:cubicBezTo>
                <a:cubicBezTo>
                  <a:pt x="5261280" y="1364313"/>
                  <a:pt x="5257420" y="1365113"/>
                  <a:pt x="5253160" y="1365113"/>
                </a:cubicBezTo>
                <a:cubicBezTo>
                  <a:pt x="5244241" y="1365113"/>
                  <a:pt x="5236920" y="1362185"/>
                  <a:pt x="5231328" y="1356599"/>
                </a:cubicBezTo>
                <a:cubicBezTo>
                  <a:pt x="5225737" y="1351008"/>
                  <a:pt x="5222942" y="1343948"/>
                  <a:pt x="5222942" y="1335427"/>
                </a:cubicBezTo>
                <a:cubicBezTo>
                  <a:pt x="5222942" y="1327172"/>
                  <a:pt x="5225737" y="1320123"/>
                  <a:pt x="5231328" y="1314393"/>
                </a:cubicBezTo>
                <a:cubicBezTo>
                  <a:pt x="5236920" y="1308672"/>
                  <a:pt x="5244108" y="1305741"/>
                  <a:pt x="5253160" y="1305741"/>
                </a:cubicBezTo>
                <a:close/>
                <a:moveTo>
                  <a:pt x="5035515" y="1305741"/>
                </a:moveTo>
                <a:cubicBezTo>
                  <a:pt x="5039775" y="1305741"/>
                  <a:pt x="5043636" y="1306548"/>
                  <a:pt x="5047230" y="1308407"/>
                </a:cubicBezTo>
                <a:cubicBezTo>
                  <a:pt x="5050957" y="1310007"/>
                  <a:pt x="5054019" y="1312130"/>
                  <a:pt x="5056548" y="1314801"/>
                </a:cubicBezTo>
                <a:cubicBezTo>
                  <a:pt x="5059077" y="1317323"/>
                  <a:pt x="5061207" y="1320522"/>
                  <a:pt x="5062671" y="1324111"/>
                </a:cubicBezTo>
                <a:cubicBezTo>
                  <a:pt x="5064135" y="1327712"/>
                  <a:pt x="5064934" y="1331566"/>
                  <a:pt x="5064934" y="1335564"/>
                </a:cubicBezTo>
                <a:cubicBezTo>
                  <a:pt x="5064934" y="1339692"/>
                  <a:pt x="5064135" y="1343678"/>
                  <a:pt x="5062671" y="1347279"/>
                </a:cubicBezTo>
                <a:cubicBezTo>
                  <a:pt x="5061207" y="1350867"/>
                  <a:pt x="5059077" y="1353929"/>
                  <a:pt x="5056548" y="1356599"/>
                </a:cubicBezTo>
                <a:cubicBezTo>
                  <a:pt x="5053885" y="1359262"/>
                  <a:pt x="5050824" y="1361385"/>
                  <a:pt x="5047230" y="1362851"/>
                </a:cubicBezTo>
                <a:cubicBezTo>
                  <a:pt x="5043636" y="1364313"/>
                  <a:pt x="5039775" y="1365113"/>
                  <a:pt x="5035515" y="1365113"/>
                </a:cubicBezTo>
                <a:cubicBezTo>
                  <a:pt x="5026597" y="1365113"/>
                  <a:pt x="5019275" y="1362185"/>
                  <a:pt x="5013683" y="1356599"/>
                </a:cubicBezTo>
                <a:cubicBezTo>
                  <a:pt x="5008092" y="1351008"/>
                  <a:pt x="5005297" y="1343948"/>
                  <a:pt x="5005297" y="1335427"/>
                </a:cubicBezTo>
                <a:cubicBezTo>
                  <a:pt x="5005297" y="1327172"/>
                  <a:pt x="5008092" y="1320123"/>
                  <a:pt x="5013683" y="1314393"/>
                </a:cubicBezTo>
                <a:cubicBezTo>
                  <a:pt x="5019275" y="1308672"/>
                  <a:pt x="5026463" y="1305741"/>
                  <a:pt x="5035515" y="1305741"/>
                </a:cubicBezTo>
                <a:close/>
                <a:moveTo>
                  <a:pt x="4817870" y="1305741"/>
                </a:moveTo>
                <a:cubicBezTo>
                  <a:pt x="4822130" y="1305741"/>
                  <a:pt x="4826124" y="1306548"/>
                  <a:pt x="4829585" y="1308407"/>
                </a:cubicBezTo>
                <a:cubicBezTo>
                  <a:pt x="4833312" y="1310007"/>
                  <a:pt x="4836374" y="1312130"/>
                  <a:pt x="4838903" y="1314801"/>
                </a:cubicBezTo>
                <a:cubicBezTo>
                  <a:pt x="4841432" y="1317323"/>
                  <a:pt x="4843562" y="1320522"/>
                  <a:pt x="4845026" y="1324111"/>
                </a:cubicBezTo>
                <a:cubicBezTo>
                  <a:pt x="4846491" y="1327712"/>
                  <a:pt x="4847289" y="1331566"/>
                  <a:pt x="4847289" y="1335564"/>
                </a:cubicBezTo>
                <a:cubicBezTo>
                  <a:pt x="4847289" y="1339692"/>
                  <a:pt x="4846491" y="1343678"/>
                  <a:pt x="4845026" y="1347279"/>
                </a:cubicBezTo>
                <a:cubicBezTo>
                  <a:pt x="4843562" y="1350867"/>
                  <a:pt x="4841432" y="1353929"/>
                  <a:pt x="4838903" y="1356599"/>
                </a:cubicBezTo>
                <a:cubicBezTo>
                  <a:pt x="4836240" y="1359262"/>
                  <a:pt x="4833179" y="1361385"/>
                  <a:pt x="4829585" y="1362851"/>
                </a:cubicBezTo>
                <a:cubicBezTo>
                  <a:pt x="4825991" y="1364313"/>
                  <a:pt x="4822130" y="1365113"/>
                  <a:pt x="4817870" y="1365113"/>
                </a:cubicBezTo>
                <a:cubicBezTo>
                  <a:pt x="4808952" y="1365113"/>
                  <a:pt x="4801630" y="1362185"/>
                  <a:pt x="4796038" y="1356599"/>
                </a:cubicBezTo>
                <a:cubicBezTo>
                  <a:pt x="4790447" y="1351008"/>
                  <a:pt x="4787652" y="1343948"/>
                  <a:pt x="4787652" y="1335427"/>
                </a:cubicBezTo>
                <a:cubicBezTo>
                  <a:pt x="4787652" y="1327172"/>
                  <a:pt x="4790447" y="1320123"/>
                  <a:pt x="4796038" y="1314393"/>
                </a:cubicBezTo>
                <a:cubicBezTo>
                  <a:pt x="4801630" y="1308672"/>
                  <a:pt x="4808818" y="1305741"/>
                  <a:pt x="4817870" y="1305741"/>
                </a:cubicBezTo>
                <a:close/>
                <a:moveTo>
                  <a:pt x="4600226" y="1305741"/>
                </a:moveTo>
                <a:cubicBezTo>
                  <a:pt x="4604485" y="1305741"/>
                  <a:pt x="4608479" y="1306548"/>
                  <a:pt x="4612073" y="1308407"/>
                </a:cubicBezTo>
                <a:cubicBezTo>
                  <a:pt x="4615800" y="1310007"/>
                  <a:pt x="4618862" y="1312130"/>
                  <a:pt x="4621391" y="1314801"/>
                </a:cubicBezTo>
                <a:cubicBezTo>
                  <a:pt x="4623920" y="1317323"/>
                  <a:pt x="4626050" y="1320522"/>
                  <a:pt x="4627514" y="1324111"/>
                </a:cubicBezTo>
                <a:cubicBezTo>
                  <a:pt x="4628978" y="1327712"/>
                  <a:pt x="4629777" y="1331566"/>
                  <a:pt x="4629777" y="1335564"/>
                </a:cubicBezTo>
                <a:cubicBezTo>
                  <a:pt x="4629777" y="1339692"/>
                  <a:pt x="4628978" y="1343678"/>
                  <a:pt x="4627514" y="1347279"/>
                </a:cubicBezTo>
                <a:cubicBezTo>
                  <a:pt x="4626050" y="1350867"/>
                  <a:pt x="4623920" y="1353929"/>
                  <a:pt x="4621391" y="1356599"/>
                </a:cubicBezTo>
                <a:cubicBezTo>
                  <a:pt x="4618729" y="1359262"/>
                  <a:pt x="4615667" y="1361385"/>
                  <a:pt x="4612073" y="1362851"/>
                </a:cubicBezTo>
                <a:cubicBezTo>
                  <a:pt x="4608346" y="1364313"/>
                  <a:pt x="4604485" y="1365113"/>
                  <a:pt x="4600226" y="1365113"/>
                </a:cubicBezTo>
                <a:cubicBezTo>
                  <a:pt x="4591173" y="1365113"/>
                  <a:pt x="4583985" y="1362185"/>
                  <a:pt x="4578393" y="1356599"/>
                </a:cubicBezTo>
                <a:cubicBezTo>
                  <a:pt x="4572803" y="1351008"/>
                  <a:pt x="4570007" y="1343948"/>
                  <a:pt x="4570007" y="1335427"/>
                </a:cubicBezTo>
                <a:cubicBezTo>
                  <a:pt x="4570007" y="1327172"/>
                  <a:pt x="4572803" y="1320123"/>
                  <a:pt x="4578393" y="1314393"/>
                </a:cubicBezTo>
                <a:cubicBezTo>
                  <a:pt x="4583985" y="1308672"/>
                  <a:pt x="4591173" y="1305741"/>
                  <a:pt x="4600226" y="1305741"/>
                </a:cubicBezTo>
                <a:close/>
                <a:moveTo>
                  <a:pt x="4382713" y="1305741"/>
                </a:moveTo>
                <a:cubicBezTo>
                  <a:pt x="4386840" y="1305741"/>
                  <a:pt x="4390834" y="1306548"/>
                  <a:pt x="4394428" y="1308407"/>
                </a:cubicBezTo>
                <a:cubicBezTo>
                  <a:pt x="4398155" y="1310007"/>
                  <a:pt x="4401217" y="1312130"/>
                  <a:pt x="4403746" y="1314801"/>
                </a:cubicBezTo>
                <a:cubicBezTo>
                  <a:pt x="4406275" y="1317323"/>
                  <a:pt x="4408405" y="1320522"/>
                  <a:pt x="4409869" y="1324111"/>
                </a:cubicBezTo>
                <a:cubicBezTo>
                  <a:pt x="4411334" y="1327712"/>
                  <a:pt x="4412132" y="1331566"/>
                  <a:pt x="4412132" y="1335564"/>
                </a:cubicBezTo>
                <a:cubicBezTo>
                  <a:pt x="4412132" y="1339692"/>
                  <a:pt x="4411334" y="1343678"/>
                  <a:pt x="4409869" y="1347279"/>
                </a:cubicBezTo>
                <a:cubicBezTo>
                  <a:pt x="4408405" y="1350867"/>
                  <a:pt x="4406275" y="1353929"/>
                  <a:pt x="4403746" y="1356599"/>
                </a:cubicBezTo>
                <a:cubicBezTo>
                  <a:pt x="4401083" y="1359262"/>
                  <a:pt x="4398022" y="1361385"/>
                  <a:pt x="4394428" y="1362851"/>
                </a:cubicBezTo>
                <a:cubicBezTo>
                  <a:pt x="4390834" y="1364313"/>
                  <a:pt x="4386973" y="1365113"/>
                  <a:pt x="4382713" y="1365113"/>
                </a:cubicBezTo>
                <a:cubicBezTo>
                  <a:pt x="4373661" y="1365113"/>
                  <a:pt x="4366473" y="1362185"/>
                  <a:pt x="4360881" y="1356599"/>
                </a:cubicBezTo>
                <a:cubicBezTo>
                  <a:pt x="4355290" y="1351008"/>
                  <a:pt x="4352495" y="1343948"/>
                  <a:pt x="4352495" y="1335427"/>
                </a:cubicBezTo>
                <a:cubicBezTo>
                  <a:pt x="4352495" y="1327172"/>
                  <a:pt x="4355290" y="1320123"/>
                  <a:pt x="4360881" y="1314393"/>
                </a:cubicBezTo>
                <a:cubicBezTo>
                  <a:pt x="4366473" y="1308672"/>
                  <a:pt x="4373661" y="1305741"/>
                  <a:pt x="4382713" y="1305741"/>
                </a:cubicBezTo>
                <a:close/>
                <a:moveTo>
                  <a:pt x="4165068" y="1305741"/>
                </a:moveTo>
                <a:cubicBezTo>
                  <a:pt x="4169327" y="1305741"/>
                  <a:pt x="4173188" y="1306548"/>
                  <a:pt x="4176782" y="1308407"/>
                </a:cubicBezTo>
                <a:cubicBezTo>
                  <a:pt x="4180509" y="1310007"/>
                  <a:pt x="4183571" y="1312130"/>
                  <a:pt x="4186100" y="1314801"/>
                </a:cubicBezTo>
                <a:cubicBezTo>
                  <a:pt x="4188629" y="1317323"/>
                  <a:pt x="4190759" y="1320522"/>
                  <a:pt x="4192223" y="1324111"/>
                </a:cubicBezTo>
                <a:cubicBezTo>
                  <a:pt x="4193688" y="1327712"/>
                  <a:pt x="4194486" y="1331566"/>
                  <a:pt x="4194486" y="1335564"/>
                </a:cubicBezTo>
                <a:cubicBezTo>
                  <a:pt x="4194486" y="1339692"/>
                  <a:pt x="4193688" y="1343678"/>
                  <a:pt x="4192223" y="1347279"/>
                </a:cubicBezTo>
                <a:cubicBezTo>
                  <a:pt x="4190759" y="1350867"/>
                  <a:pt x="4188629" y="1353929"/>
                  <a:pt x="4186100" y="1356599"/>
                </a:cubicBezTo>
                <a:cubicBezTo>
                  <a:pt x="4183438" y="1359262"/>
                  <a:pt x="4180376" y="1361385"/>
                  <a:pt x="4176782" y="1362851"/>
                </a:cubicBezTo>
                <a:cubicBezTo>
                  <a:pt x="4173188" y="1364313"/>
                  <a:pt x="4169327" y="1365113"/>
                  <a:pt x="4165068" y="1365113"/>
                </a:cubicBezTo>
                <a:cubicBezTo>
                  <a:pt x="4156015" y="1365113"/>
                  <a:pt x="4148827" y="1362185"/>
                  <a:pt x="4143235" y="1356599"/>
                </a:cubicBezTo>
                <a:cubicBezTo>
                  <a:pt x="4137645" y="1351008"/>
                  <a:pt x="4134849" y="1343948"/>
                  <a:pt x="4134849" y="1335427"/>
                </a:cubicBezTo>
                <a:cubicBezTo>
                  <a:pt x="4134849" y="1327172"/>
                  <a:pt x="4137645" y="1320123"/>
                  <a:pt x="4143235" y="1314393"/>
                </a:cubicBezTo>
                <a:cubicBezTo>
                  <a:pt x="4148827" y="1308672"/>
                  <a:pt x="4156015" y="1305741"/>
                  <a:pt x="4165068" y="1305741"/>
                </a:cubicBezTo>
                <a:close/>
                <a:moveTo>
                  <a:pt x="3947501" y="1305741"/>
                </a:moveTo>
                <a:cubicBezTo>
                  <a:pt x="3951761" y="1305741"/>
                  <a:pt x="3955620" y="1306548"/>
                  <a:pt x="3959216" y="1308407"/>
                </a:cubicBezTo>
                <a:cubicBezTo>
                  <a:pt x="3962943" y="1310007"/>
                  <a:pt x="3966004" y="1312130"/>
                  <a:pt x="3968533" y="1314801"/>
                </a:cubicBezTo>
                <a:cubicBezTo>
                  <a:pt x="3971063" y="1317323"/>
                  <a:pt x="3973193" y="1320522"/>
                  <a:pt x="3974657" y="1324111"/>
                </a:cubicBezTo>
                <a:cubicBezTo>
                  <a:pt x="3976122" y="1327712"/>
                  <a:pt x="3976921" y="1331566"/>
                  <a:pt x="3976921" y="1335564"/>
                </a:cubicBezTo>
                <a:cubicBezTo>
                  <a:pt x="3976921" y="1339692"/>
                  <a:pt x="3976122" y="1343678"/>
                  <a:pt x="3974657" y="1347279"/>
                </a:cubicBezTo>
                <a:cubicBezTo>
                  <a:pt x="3973193" y="1350867"/>
                  <a:pt x="3971063" y="1353929"/>
                  <a:pt x="3968533" y="1356599"/>
                </a:cubicBezTo>
                <a:cubicBezTo>
                  <a:pt x="3965871" y="1359262"/>
                  <a:pt x="3962810" y="1361385"/>
                  <a:pt x="3959216" y="1362851"/>
                </a:cubicBezTo>
                <a:cubicBezTo>
                  <a:pt x="3955620" y="1364313"/>
                  <a:pt x="3951761" y="1365113"/>
                  <a:pt x="3947501" y="1365113"/>
                </a:cubicBezTo>
                <a:cubicBezTo>
                  <a:pt x="3938448" y="1365113"/>
                  <a:pt x="3931260" y="1362185"/>
                  <a:pt x="3925668" y="1356599"/>
                </a:cubicBezTo>
                <a:cubicBezTo>
                  <a:pt x="3920077" y="1351008"/>
                  <a:pt x="3917281" y="1343948"/>
                  <a:pt x="3917281" y="1335427"/>
                </a:cubicBezTo>
                <a:cubicBezTo>
                  <a:pt x="3917281" y="1327172"/>
                  <a:pt x="3920077" y="1320123"/>
                  <a:pt x="3925668" y="1314393"/>
                </a:cubicBezTo>
                <a:cubicBezTo>
                  <a:pt x="3931260" y="1308672"/>
                  <a:pt x="3938448" y="1305741"/>
                  <a:pt x="3947501" y="1305741"/>
                </a:cubicBezTo>
                <a:close/>
                <a:moveTo>
                  <a:pt x="3729851" y="1305741"/>
                </a:moveTo>
                <a:cubicBezTo>
                  <a:pt x="3734111" y="1305741"/>
                  <a:pt x="3738104" y="1306548"/>
                  <a:pt x="3741566" y="1308407"/>
                </a:cubicBezTo>
                <a:cubicBezTo>
                  <a:pt x="3745160" y="1310007"/>
                  <a:pt x="3748355" y="1312130"/>
                  <a:pt x="3750884" y="1314801"/>
                </a:cubicBezTo>
                <a:cubicBezTo>
                  <a:pt x="3753414" y="1317323"/>
                  <a:pt x="3755543" y="1320522"/>
                  <a:pt x="3757007" y="1324111"/>
                </a:cubicBezTo>
                <a:cubicBezTo>
                  <a:pt x="3758471" y="1327712"/>
                  <a:pt x="3759270" y="1331566"/>
                  <a:pt x="3759270" y="1335564"/>
                </a:cubicBezTo>
                <a:cubicBezTo>
                  <a:pt x="3759270" y="1339692"/>
                  <a:pt x="3758471" y="1343678"/>
                  <a:pt x="3757007" y="1347279"/>
                </a:cubicBezTo>
                <a:cubicBezTo>
                  <a:pt x="3755543" y="1350867"/>
                  <a:pt x="3753414" y="1353929"/>
                  <a:pt x="3750884" y="1356599"/>
                </a:cubicBezTo>
                <a:cubicBezTo>
                  <a:pt x="3748221" y="1359262"/>
                  <a:pt x="3745160" y="1361385"/>
                  <a:pt x="3741566" y="1362851"/>
                </a:cubicBezTo>
                <a:cubicBezTo>
                  <a:pt x="3737972" y="1364313"/>
                  <a:pt x="3734111" y="1365113"/>
                  <a:pt x="3729851" y="1365113"/>
                </a:cubicBezTo>
                <a:cubicBezTo>
                  <a:pt x="3720798" y="1365113"/>
                  <a:pt x="3713611" y="1362185"/>
                  <a:pt x="3708018" y="1356599"/>
                </a:cubicBezTo>
                <a:cubicBezTo>
                  <a:pt x="3702425" y="1351008"/>
                  <a:pt x="3699632" y="1343948"/>
                  <a:pt x="3699632" y="1335427"/>
                </a:cubicBezTo>
                <a:cubicBezTo>
                  <a:pt x="3699632" y="1327172"/>
                  <a:pt x="3702425" y="1320123"/>
                  <a:pt x="3708018" y="1314393"/>
                </a:cubicBezTo>
                <a:cubicBezTo>
                  <a:pt x="3713611" y="1308672"/>
                  <a:pt x="3720798" y="1305741"/>
                  <a:pt x="3729851" y="1305741"/>
                </a:cubicBezTo>
                <a:close/>
                <a:moveTo>
                  <a:pt x="3512202" y="1305741"/>
                </a:moveTo>
                <a:cubicBezTo>
                  <a:pt x="3516462" y="1305741"/>
                  <a:pt x="3520455" y="1306548"/>
                  <a:pt x="3523917" y="1308407"/>
                </a:cubicBezTo>
                <a:cubicBezTo>
                  <a:pt x="3527511" y="1310007"/>
                  <a:pt x="3530706" y="1312130"/>
                  <a:pt x="3533235" y="1314801"/>
                </a:cubicBezTo>
                <a:cubicBezTo>
                  <a:pt x="3535764" y="1317323"/>
                  <a:pt x="3537895" y="1320522"/>
                  <a:pt x="3539359" y="1324111"/>
                </a:cubicBezTo>
                <a:cubicBezTo>
                  <a:pt x="3540823" y="1327712"/>
                  <a:pt x="3541622" y="1331566"/>
                  <a:pt x="3541622" y="1335564"/>
                </a:cubicBezTo>
                <a:cubicBezTo>
                  <a:pt x="3541622" y="1339692"/>
                  <a:pt x="3540823" y="1343678"/>
                  <a:pt x="3539359" y="1347279"/>
                </a:cubicBezTo>
                <a:cubicBezTo>
                  <a:pt x="3537895" y="1350867"/>
                  <a:pt x="3535764" y="1353929"/>
                  <a:pt x="3533235" y="1356599"/>
                </a:cubicBezTo>
                <a:cubicBezTo>
                  <a:pt x="3530572" y="1359262"/>
                  <a:pt x="3527511" y="1361385"/>
                  <a:pt x="3523917" y="1362851"/>
                </a:cubicBezTo>
                <a:cubicBezTo>
                  <a:pt x="3520323" y="1364313"/>
                  <a:pt x="3516462" y="1365113"/>
                  <a:pt x="3512202" y="1365113"/>
                </a:cubicBezTo>
                <a:cubicBezTo>
                  <a:pt x="3503149" y="1365113"/>
                  <a:pt x="3495960" y="1362185"/>
                  <a:pt x="3490369" y="1356599"/>
                </a:cubicBezTo>
                <a:cubicBezTo>
                  <a:pt x="3484778" y="1351008"/>
                  <a:pt x="3481982" y="1343948"/>
                  <a:pt x="3481982" y="1335427"/>
                </a:cubicBezTo>
                <a:cubicBezTo>
                  <a:pt x="3481982" y="1327172"/>
                  <a:pt x="3484778" y="1320123"/>
                  <a:pt x="3490369" y="1314393"/>
                </a:cubicBezTo>
                <a:cubicBezTo>
                  <a:pt x="3495960" y="1308672"/>
                  <a:pt x="3503149" y="1305741"/>
                  <a:pt x="3512202" y="1305741"/>
                </a:cubicBezTo>
                <a:close/>
                <a:moveTo>
                  <a:pt x="3294686" y="1305741"/>
                </a:moveTo>
                <a:cubicBezTo>
                  <a:pt x="3298813" y="1305741"/>
                  <a:pt x="3302807" y="1306548"/>
                  <a:pt x="3306401" y="1308407"/>
                </a:cubicBezTo>
                <a:cubicBezTo>
                  <a:pt x="3310128" y="1310007"/>
                  <a:pt x="3313190" y="1312130"/>
                  <a:pt x="3315719" y="1314801"/>
                </a:cubicBezTo>
                <a:cubicBezTo>
                  <a:pt x="3318249" y="1317323"/>
                  <a:pt x="3320379" y="1320522"/>
                  <a:pt x="3321843" y="1324111"/>
                </a:cubicBezTo>
                <a:cubicBezTo>
                  <a:pt x="3323307" y="1327712"/>
                  <a:pt x="3324106" y="1331566"/>
                  <a:pt x="3324106" y="1335564"/>
                </a:cubicBezTo>
                <a:cubicBezTo>
                  <a:pt x="3324106" y="1339692"/>
                  <a:pt x="3323307" y="1343678"/>
                  <a:pt x="3321843" y="1347279"/>
                </a:cubicBezTo>
                <a:cubicBezTo>
                  <a:pt x="3320379" y="1350867"/>
                  <a:pt x="3318249" y="1353929"/>
                  <a:pt x="3315719" y="1356599"/>
                </a:cubicBezTo>
                <a:cubicBezTo>
                  <a:pt x="3313056" y="1359262"/>
                  <a:pt x="3309995" y="1361385"/>
                  <a:pt x="3306401" y="1362851"/>
                </a:cubicBezTo>
                <a:cubicBezTo>
                  <a:pt x="3302807" y="1364313"/>
                  <a:pt x="3298946" y="1365113"/>
                  <a:pt x="3294686" y="1365113"/>
                </a:cubicBezTo>
                <a:cubicBezTo>
                  <a:pt x="3285634" y="1365113"/>
                  <a:pt x="3278445" y="1362185"/>
                  <a:pt x="3272853" y="1356599"/>
                </a:cubicBezTo>
                <a:cubicBezTo>
                  <a:pt x="3267262" y="1351008"/>
                  <a:pt x="3264467" y="1343948"/>
                  <a:pt x="3264467" y="1335427"/>
                </a:cubicBezTo>
                <a:cubicBezTo>
                  <a:pt x="3264467" y="1327172"/>
                  <a:pt x="3267262" y="1320123"/>
                  <a:pt x="3272853" y="1314393"/>
                </a:cubicBezTo>
                <a:cubicBezTo>
                  <a:pt x="3278445" y="1308672"/>
                  <a:pt x="3285634" y="1305741"/>
                  <a:pt x="3294686" y="1305741"/>
                </a:cubicBezTo>
                <a:close/>
                <a:moveTo>
                  <a:pt x="3077037" y="1305741"/>
                </a:moveTo>
                <a:cubicBezTo>
                  <a:pt x="3081164" y="1305741"/>
                  <a:pt x="3085158" y="1306548"/>
                  <a:pt x="3088752" y="1308407"/>
                </a:cubicBezTo>
                <a:cubicBezTo>
                  <a:pt x="3092346" y="1310007"/>
                  <a:pt x="3095542" y="1312130"/>
                  <a:pt x="3098070" y="1314801"/>
                </a:cubicBezTo>
                <a:cubicBezTo>
                  <a:pt x="3100599" y="1317323"/>
                  <a:pt x="3102730" y="1320522"/>
                  <a:pt x="3104194" y="1324111"/>
                </a:cubicBezTo>
                <a:cubicBezTo>
                  <a:pt x="3105659" y="1327712"/>
                  <a:pt x="3106457" y="1331566"/>
                  <a:pt x="3106457" y="1335564"/>
                </a:cubicBezTo>
                <a:cubicBezTo>
                  <a:pt x="3106457" y="1339692"/>
                  <a:pt x="3105659" y="1343678"/>
                  <a:pt x="3104194" y="1347279"/>
                </a:cubicBezTo>
                <a:cubicBezTo>
                  <a:pt x="3102730" y="1350867"/>
                  <a:pt x="3100599" y="1353929"/>
                  <a:pt x="3098070" y="1356599"/>
                </a:cubicBezTo>
                <a:cubicBezTo>
                  <a:pt x="3095408" y="1359262"/>
                  <a:pt x="3092346" y="1361385"/>
                  <a:pt x="3088752" y="1362851"/>
                </a:cubicBezTo>
                <a:cubicBezTo>
                  <a:pt x="3085158" y="1364313"/>
                  <a:pt x="3081297" y="1365113"/>
                  <a:pt x="3077037" y="1365113"/>
                </a:cubicBezTo>
                <a:cubicBezTo>
                  <a:pt x="3068118" y="1365113"/>
                  <a:pt x="3060796" y="1362185"/>
                  <a:pt x="3055204" y="1356599"/>
                </a:cubicBezTo>
                <a:cubicBezTo>
                  <a:pt x="3049613" y="1351008"/>
                  <a:pt x="3046818" y="1343948"/>
                  <a:pt x="3046818" y="1335427"/>
                </a:cubicBezTo>
                <a:cubicBezTo>
                  <a:pt x="3046818" y="1327172"/>
                  <a:pt x="3049613" y="1320123"/>
                  <a:pt x="3055204" y="1314393"/>
                </a:cubicBezTo>
                <a:cubicBezTo>
                  <a:pt x="3060796" y="1308672"/>
                  <a:pt x="3067985" y="1305741"/>
                  <a:pt x="3077037" y="1305741"/>
                </a:cubicBezTo>
                <a:close/>
                <a:moveTo>
                  <a:pt x="2859388" y="1305741"/>
                </a:moveTo>
                <a:cubicBezTo>
                  <a:pt x="2863649" y="1305741"/>
                  <a:pt x="2867510" y="1306548"/>
                  <a:pt x="2871236" y="1308407"/>
                </a:cubicBezTo>
                <a:cubicBezTo>
                  <a:pt x="2874963" y="1310007"/>
                  <a:pt x="2878025" y="1312130"/>
                  <a:pt x="2880554" y="1314801"/>
                </a:cubicBezTo>
                <a:cubicBezTo>
                  <a:pt x="2883216" y="1317323"/>
                  <a:pt x="2885214" y="1320522"/>
                  <a:pt x="2886678" y="1324111"/>
                </a:cubicBezTo>
                <a:cubicBezTo>
                  <a:pt x="2888142" y="1327712"/>
                  <a:pt x="2888941" y="1331566"/>
                  <a:pt x="2888941" y="1335564"/>
                </a:cubicBezTo>
                <a:cubicBezTo>
                  <a:pt x="2888941" y="1339692"/>
                  <a:pt x="2888142" y="1343678"/>
                  <a:pt x="2886678" y="1347279"/>
                </a:cubicBezTo>
                <a:cubicBezTo>
                  <a:pt x="2885214" y="1350867"/>
                  <a:pt x="2883084" y="1353929"/>
                  <a:pt x="2880554" y="1356599"/>
                </a:cubicBezTo>
                <a:cubicBezTo>
                  <a:pt x="2877893" y="1359262"/>
                  <a:pt x="2874830" y="1361385"/>
                  <a:pt x="2871236" y="1362851"/>
                </a:cubicBezTo>
                <a:cubicBezTo>
                  <a:pt x="2867510" y="1364313"/>
                  <a:pt x="2863649" y="1365113"/>
                  <a:pt x="2859388" y="1365113"/>
                </a:cubicBezTo>
                <a:cubicBezTo>
                  <a:pt x="2850470" y="1365113"/>
                  <a:pt x="2843146" y="1362185"/>
                  <a:pt x="2837556" y="1356599"/>
                </a:cubicBezTo>
                <a:cubicBezTo>
                  <a:pt x="2831965" y="1351008"/>
                  <a:pt x="2829169" y="1343948"/>
                  <a:pt x="2829169" y="1335427"/>
                </a:cubicBezTo>
                <a:cubicBezTo>
                  <a:pt x="2829169" y="1327172"/>
                  <a:pt x="2831965" y="1320123"/>
                  <a:pt x="2837556" y="1314393"/>
                </a:cubicBezTo>
                <a:cubicBezTo>
                  <a:pt x="2843146" y="1308672"/>
                  <a:pt x="2850336" y="1305741"/>
                  <a:pt x="2859388" y="1305741"/>
                </a:cubicBezTo>
                <a:close/>
                <a:moveTo>
                  <a:pt x="2641739" y="1305741"/>
                </a:moveTo>
                <a:cubicBezTo>
                  <a:pt x="2645999" y="1305741"/>
                  <a:pt x="2649859" y="1306548"/>
                  <a:pt x="2653455" y="1308407"/>
                </a:cubicBezTo>
                <a:cubicBezTo>
                  <a:pt x="2657181" y="1310007"/>
                  <a:pt x="2660243" y="1312130"/>
                  <a:pt x="2662773" y="1314801"/>
                </a:cubicBezTo>
                <a:cubicBezTo>
                  <a:pt x="2665434" y="1317323"/>
                  <a:pt x="2667432" y="1320522"/>
                  <a:pt x="2668896" y="1324111"/>
                </a:cubicBezTo>
                <a:cubicBezTo>
                  <a:pt x="2670360" y="1327712"/>
                  <a:pt x="2671159" y="1331566"/>
                  <a:pt x="2671159" y="1335564"/>
                </a:cubicBezTo>
                <a:cubicBezTo>
                  <a:pt x="2671159" y="1339692"/>
                  <a:pt x="2670360" y="1343678"/>
                  <a:pt x="2668896" y="1347279"/>
                </a:cubicBezTo>
                <a:cubicBezTo>
                  <a:pt x="2667432" y="1350867"/>
                  <a:pt x="2665302" y="1353929"/>
                  <a:pt x="2662773" y="1356599"/>
                </a:cubicBezTo>
                <a:cubicBezTo>
                  <a:pt x="2660243" y="1359262"/>
                  <a:pt x="2657048" y="1361385"/>
                  <a:pt x="2653455" y="1362851"/>
                </a:cubicBezTo>
                <a:cubicBezTo>
                  <a:pt x="2649859" y="1364313"/>
                  <a:pt x="2645999" y="1365113"/>
                  <a:pt x="2641739" y="1365113"/>
                </a:cubicBezTo>
                <a:cubicBezTo>
                  <a:pt x="2632820" y="1365113"/>
                  <a:pt x="2625499" y="1362185"/>
                  <a:pt x="2619906" y="1356599"/>
                </a:cubicBezTo>
                <a:cubicBezTo>
                  <a:pt x="2614317" y="1351008"/>
                  <a:pt x="2611520" y="1343948"/>
                  <a:pt x="2611520" y="1335427"/>
                </a:cubicBezTo>
                <a:cubicBezTo>
                  <a:pt x="2611520" y="1327172"/>
                  <a:pt x="2614317" y="1320123"/>
                  <a:pt x="2619906" y="1314393"/>
                </a:cubicBezTo>
                <a:cubicBezTo>
                  <a:pt x="2625499" y="1308672"/>
                  <a:pt x="2632687" y="1305741"/>
                  <a:pt x="2641739" y="1305741"/>
                </a:cubicBezTo>
                <a:close/>
                <a:moveTo>
                  <a:pt x="2424090" y="1305741"/>
                </a:moveTo>
                <a:cubicBezTo>
                  <a:pt x="2428350" y="1305741"/>
                  <a:pt x="2432345" y="1306548"/>
                  <a:pt x="2435805" y="1308407"/>
                </a:cubicBezTo>
                <a:cubicBezTo>
                  <a:pt x="2439532" y="1310007"/>
                  <a:pt x="2442594" y="1312130"/>
                  <a:pt x="2445123" y="1314801"/>
                </a:cubicBezTo>
                <a:cubicBezTo>
                  <a:pt x="2447786" y="1317323"/>
                  <a:pt x="2449783" y="1320522"/>
                  <a:pt x="2451247" y="1324111"/>
                </a:cubicBezTo>
                <a:cubicBezTo>
                  <a:pt x="2452711" y="1327712"/>
                  <a:pt x="2453510" y="1331566"/>
                  <a:pt x="2453510" y="1335564"/>
                </a:cubicBezTo>
                <a:cubicBezTo>
                  <a:pt x="2453510" y="1339692"/>
                  <a:pt x="2452711" y="1343678"/>
                  <a:pt x="2451247" y="1347279"/>
                </a:cubicBezTo>
                <a:cubicBezTo>
                  <a:pt x="2449783" y="1350867"/>
                  <a:pt x="2447652" y="1353929"/>
                  <a:pt x="2445123" y="1356599"/>
                </a:cubicBezTo>
                <a:cubicBezTo>
                  <a:pt x="2442594" y="1359262"/>
                  <a:pt x="2439400" y="1361385"/>
                  <a:pt x="2435805" y="1362851"/>
                </a:cubicBezTo>
                <a:cubicBezTo>
                  <a:pt x="2432211" y="1364313"/>
                  <a:pt x="2428350" y="1365113"/>
                  <a:pt x="2424090" y="1365113"/>
                </a:cubicBezTo>
                <a:cubicBezTo>
                  <a:pt x="2415172" y="1365113"/>
                  <a:pt x="2407850" y="1362185"/>
                  <a:pt x="2402258" y="1356599"/>
                </a:cubicBezTo>
                <a:cubicBezTo>
                  <a:pt x="2396667" y="1351008"/>
                  <a:pt x="2393871" y="1343948"/>
                  <a:pt x="2393871" y="1335427"/>
                </a:cubicBezTo>
                <a:cubicBezTo>
                  <a:pt x="2393871" y="1327172"/>
                  <a:pt x="2396667" y="1320123"/>
                  <a:pt x="2402258" y="1314393"/>
                </a:cubicBezTo>
                <a:cubicBezTo>
                  <a:pt x="2407850" y="1308672"/>
                  <a:pt x="2415038" y="1305741"/>
                  <a:pt x="2424090" y="1305741"/>
                </a:cubicBezTo>
                <a:close/>
                <a:moveTo>
                  <a:pt x="2206441" y="1305741"/>
                </a:moveTo>
                <a:cubicBezTo>
                  <a:pt x="2210701" y="1305741"/>
                  <a:pt x="2214695" y="1306548"/>
                  <a:pt x="2218156" y="1308407"/>
                </a:cubicBezTo>
                <a:cubicBezTo>
                  <a:pt x="2221883" y="1310007"/>
                  <a:pt x="2224944" y="1312130"/>
                  <a:pt x="2227475" y="1314801"/>
                </a:cubicBezTo>
                <a:cubicBezTo>
                  <a:pt x="2230137" y="1317323"/>
                  <a:pt x="2232133" y="1320522"/>
                  <a:pt x="2233597" y="1324111"/>
                </a:cubicBezTo>
                <a:cubicBezTo>
                  <a:pt x="2235061" y="1327712"/>
                  <a:pt x="2235860" y="1331566"/>
                  <a:pt x="2235860" y="1335564"/>
                </a:cubicBezTo>
                <a:cubicBezTo>
                  <a:pt x="2235860" y="1339692"/>
                  <a:pt x="2235061" y="1343678"/>
                  <a:pt x="2233597" y="1347279"/>
                </a:cubicBezTo>
                <a:cubicBezTo>
                  <a:pt x="2232133" y="1350867"/>
                  <a:pt x="2230003" y="1353929"/>
                  <a:pt x="2227475" y="1356599"/>
                </a:cubicBezTo>
                <a:cubicBezTo>
                  <a:pt x="2224944" y="1359262"/>
                  <a:pt x="2221750" y="1361385"/>
                  <a:pt x="2218156" y="1362851"/>
                </a:cubicBezTo>
                <a:cubicBezTo>
                  <a:pt x="2214561" y="1364313"/>
                  <a:pt x="2210701" y="1365113"/>
                  <a:pt x="2206441" y="1365113"/>
                </a:cubicBezTo>
                <a:cubicBezTo>
                  <a:pt x="2197389" y="1365113"/>
                  <a:pt x="2190200" y="1362185"/>
                  <a:pt x="2184610" y="1356599"/>
                </a:cubicBezTo>
                <a:cubicBezTo>
                  <a:pt x="2179018" y="1351008"/>
                  <a:pt x="2176222" y="1343948"/>
                  <a:pt x="2176222" y="1335427"/>
                </a:cubicBezTo>
                <a:cubicBezTo>
                  <a:pt x="2176222" y="1327172"/>
                  <a:pt x="2179018" y="1320123"/>
                  <a:pt x="2184610" y="1314393"/>
                </a:cubicBezTo>
                <a:cubicBezTo>
                  <a:pt x="2190200" y="1308672"/>
                  <a:pt x="2197389" y="1305741"/>
                  <a:pt x="2206441" y="1305741"/>
                </a:cubicBezTo>
                <a:close/>
                <a:moveTo>
                  <a:pt x="1988925" y="1305741"/>
                </a:moveTo>
                <a:cubicBezTo>
                  <a:pt x="1993052" y="1305741"/>
                  <a:pt x="1997046" y="1306548"/>
                  <a:pt x="2000640" y="1308407"/>
                </a:cubicBezTo>
                <a:cubicBezTo>
                  <a:pt x="2004367" y="1310007"/>
                  <a:pt x="2007429" y="1312130"/>
                  <a:pt x="2009958" y="1314801"/>
                </a:cubicBezTo>
                <a:cubicBezTo>
                  <a:pt x="2012620" y="1317323"/>
                  <a:pt x="2014618" y="1320522"/>
                  <a:pt x="2016082" y="1324111"/>
                </a:cubicBezTo>
                <a:cubicBezTo>
                  <a:pt x="2017546" y="1327712"/>
                  <a:pt x="2018345" y="1331566"/>
                  <a:pt x="2018345" y="1335564"/>
                </a:cubicBezTo>
                <a:cubicBezTo>
                  <a:pt x="2018345" y="1339692"/>
                  <a:pt x="2017546" y="1343678"/>
                  <a:pt x="2016082" y="1347279"/>
                </a:cubicBezTo>
                <a:cubicBezTo>
                  <a:pt x="2014618" y="1350867"/>
                  <a:pt x="2012487" y="1353929"/>
                  <a:pt x="2009958" y="1356599"/>
                </a:cubicBezTo>
                <a:cubicBezTo>
                  <a:pt x="2007429" y="1359262"/>
                  <a:pt x="2004234" y="1361385"/>
                  <a:pt x="2000640" y="1362851"/>
                </a:cubicBezTo>
                <a:cubicBezTo>
                  <a:pt x="1997046" y="1364313"/>
                  <a:pt x="1993185" y="1365113"/>
                  <a:pt x="1988925" y="1365113"/>
                </a:cubicBezTo>
                <a:cubicBezTo>
                  <a:pt x="1979874" y="1365113"/>
                  <a:pt x="1972685" y="1362185"/>
                  <a:pt x="1967094" y="1356599"/>
                </a:cubicBezTo>
                <a:cubicBezTo>
                  <a:pt x="1961503" y="1351008"/>
                  <a:pt x="1958707" y="1343948"/>
                  <a:pt x="1958707" y="1335427"/>
                </a:cubicBezTo>
                <a:cubicBezTo>
                  <a:pt x="1958707" y="1327172"/>
                  <a:pt x="1961503" y="1320123"/>
                  <a:pt x="1967094" y="1314393"/>
                </a:cubicBezTo>
                <a:cubicBezTo>
                  <a:pt x="1972685" y="1308672"/>
                  <a:pt x="1979874" y="1305741"/>
                  <a:pt x="1988925" y="1305741"/>
                </a:cubicBezTo>
                <a:close/>
                <a:moveTo>
                  <a:pt x="1771283" y="1305741"/>
                </a:moveTo>
                <a:cubicBezTo>
                  <a:pt x="1775543" y="1305741"/>
                  <a:pt x="1779403" y="1306548"/>
                  <a:pt x="1782998" y="1308407"/>
                </a:cubicBezTo>
                <a:cubicBezTo>
                  <a:pt x="1786725" y="1310007"/>
                  <a:pt x="1789787" y="1312130"/>
                  <a:pt x="1792315" y="1314801"/>
                </a:cubicBezTo>
                <a:cubicBezTo>
                  <a:pt x="1794978" y="1317323"/>
                  <a:pt x="1796975" y="1320522"/>
                  <a:pt x="1798439" y="1324111"/>
                </a:cubicBezTo>
                <a:cubicBezTo>
                  <a:pt x="1799903" y="1327712"/>
                  <a:pt x="1800702" y="1331566"/>
                  <a:pt x="1800702" y="1335564"/>
                </a:cubicBezTo>
                <a:cubicBezTo>
                  <a:pt x="1800702" y="1339692"/>
                  <a:pt x="1799903" y="1343678"/>
                  <a:pt x="1798439" y="1347279"/>
                </a:cubicBezTo>
                <a:cubicBezTo>
                  <a:pt x="1796975" y="1350867"/>
                  <a:pt x="1794845" y="1353929"/>
                  <a:pt x="1792315" y="1356599"/>
                </a:cubicBezTo>
                <a:cubicBezTo>
                  <a:pt x="1789653" y="1359262"/>
                  <a:pt x="1786592" y="1361385"/>
                  <a:pt x="1782998" y="1362851"/>
                </a:cubicBezTo>
                <a:cubicBezTo>
                  <a:pt x="1779403" y="1364313"/>
                  <a:pt x="1775543" y="1365113"/>
                  <a:pt x="1771283" y="1365113"/>
                </a:cubicBezTo>
                <a:cubicBezTo>
                  <a:pt x="1762364" y="1365113"/>
                  <a:pt x="1755043" y="1362185"/>
                  <a:pt x="1749452" y="1356599"/>
                </a:cubicBezTo>
                <a:cubicBezTo>
                  <a:pt x="1743861" y="1351008"/>
                  <a:pt x="1741067" y="1343948"/>
                  <a:pt x="1741067" y="1335427"/>
                </a:cubicBezTo>
                <a:cubicBezTo>
                  <a:pt x="1741067" y="1327172"/>
                  <a:pt x="1743861" y="1320123"/>
                  <a:pt x="1749452" y="1314393"/>
                </a:cubicBezTo>
                <a:cubicBezTo>
                  <a:pt x="1755043" y="1308672"/>
                  <a:pt x="1762231" y="1305741"/>
                  <a:pt x="1771283" y="1305741"/>
                </a:cubicBezTo>
                <a:close/>
                <a:moveTo>
                  <a:pt x="1553640" y="1305741"/>
                </a:moveTo>
                <a:cubicBezTo>
                  <a:pt x="1557899" y="1305741"/>
                  <a:pt x="1561760" y="1306548"/>
                  <a:pt x="1565355" y="1308407"/>
                </a:cubicBezTo>
                <a:cubicBezTo>
                  <a:pt x="1568949" y="1310007"/>
                  <a:pt x="1572144" y="1312130"/>
                  <a:pt x="1574673" y="1314801"/>
                </a:cubicBezTo>
                <a:cubicBezTo>
                  <a:pt x="1577335" y="1317323"/>
                  <a:pt x="1579332" y="1320522"/>
                  <a:pt x="1580796" y="1324111"/>
                </a:cubicBezTo>
                <a:cubicBezTo>
                  <a:pt x="1582260" y="1327712"/>
                  <a:pt x="1583059" y="1331566"/>
                  <a:pt x="1583059" y="1335564"/>
                </a:cubicBezTo>
                <a:cubicBezTo>
                  <a:pt x="1583059" y="1339692"/>
                  <a:pt x="1582260" y="1343678"/>
                  <a:pt x="1580796" y="1347279"/>
                </a:cubicBezTo>
                <a:cubicBezTo>
                  <a:pt x="1579332" y="1350867"/>
                  <a:pt x="1577202" y="1353929"/>
                  <a:pt x="1574673" y="1356599"/>
                </a:cubicBezTo>
                <a:cubicBezTo>
                  <a:pt x="1572011" y="1359262"/>
                  <a:pt x="1568949" y="1361385"/>
                  <a:pt x="1565355" y="1362851"/>
                </a:cubicBezTo>
                <a:cubicBezTo>
                  <a:pt x="1561760" y="1364313"/>
                  <a:pt x="1557899" y="1365113"/>
                  <a:pt x="1553640" y="1365113"/>
                </a:cubicBezTo>
                <a:cubicBezTo>
                  <a:pt x="1544721" y="1365113"/>
                  <a:pt x="1537399" y="1362185"/>
                  <a:pt x="1531808" y="1356599"/>
                </a:cubicBezTo>
                <a:cubicBezTo>
                  <a:pt x="1526219" y="1351008"/>
                  <a:pt x="1523422" y="1343948"/>
                  <a:pt x="1523422" y="1335427"/>
                </a:cubicBezTo>
                <a:cubicBezTo>
                  <a:pt x="1523422" y="1327172"/>
                  <a:pt x="1526219" y="1320123"/>
                  <a:pt x="1531808" y="1314393"/>
                </a:cubicBezTo>
                <a:cubicBezTo>
                  <a:pt x="1537399" y="1308672"/>
                  <a:pt x="1544587" y="1305741"/>
                  <a:pt x="1553640" y="1305741"/>
                </a:cubicBezTo>
                <a:close/>
                <a:moveTo>
                  <a:pt x="1335995" y="1305741"/>
                </a:moveTo>
                <a:cubicBezTo>
                  <a:pt x="1340255" y="1305741"/>
                  <a:pt x="1344250" y="1306548"/>
                  <a:pt x="1347710" y="1308407"/>
                </a:cubicBezTo>
                <a:cubicBezTo>
                  <a:pt x="1351304" y="1310007"/>
                  <a:pt x="1354498" y="1312130"/>
                  <a:pt x="1357028" y="1314801"/>
                </a:cubicBezTo>
                <a:cubicBezTo>
                  <a:pt x="1359690" y="1317323"/>
                  <a:pt x="1361687" y="1320522"/>
                  <a:pt x="1363151" y="1324111"/>
                </a:cubicBezTo>
                <a:cubicBezTo>
                  <a:pt x="1364616" y="1327712"/>
                  <a:pt x="1365415" y="1331566"/>
                  <a:pt x="1365415" y="1335564"/>
                </a:cubicBezTo>
                <a:cubicBezTo>
                  <a:pt x="1365415" y="1339692"/>
                  <a:pt x="1364616" y="1343678"/>
                  <a:pt x="1363151" y="1347279"/>
                </a:cubicBezTo>
                <a:cubicBezTo>
                  <a:pt x="1361687" y="1350867"/>
                  <a:pt x="1359557" y="1353929"/>
                  <a:pt x="1357028" y="1356599"/>
                </a:cubicBezTo>
                <a:cubicBezTo>
                  <a:pt x="1354365" y="1359262"/>
                  <a:pt x="1351304" y="1361385"/>
                  <a:pt x="1347710" y="1362851"/>
                </a:cubicBezTo>
                <a:cubicBezTo>
                  <a:pt x="1344115" y="1364313"/>
                  <a:pt x="1340255" y="1365113"/>
                  <a:pt x="1335995" y="1365113"/>
                </a:cubicBezTo>
                <a:cubicBezTo>
                  <a:pt x="1327075" y="1365113"/>
                  <a:pt x="1319754" y="1362185"/>
                  <a:pt x="1314163" y="1356599"/>
                </a:cubicBezTo>
                <a:cubicBezTo>
                  <a:pt x="1308572" y="1351008"/>
                  <a:pt x="1305778" y="1343948"/>
                  <a:pt x="1305778" y="1335427"/>
                </a:cubicBezTo>
                <a:cubicBezTo>
                  <a:pt x="1305778" y="1327172"/>
                  <a:pt x="1308572" y="1320123"/>
                  <a:pt x="1314163" y="1314393"/>
                </a:cubicBezTo>
                <a:cubicBezTo>
                  <a:pt x="1319754" y="1308672"/>
                  <a:pt x="1326942" y="1305741"/>
                  <a:pt x="1335995" y="1305741"/>
                </a:cubicBezTo>
                <a:close/>
                <a:moveTo>
                  <a:pt x="1118350" y="1305741"/>
                </a:moveTo>
                <a:cubicBezTo>
                  <a:pt x="1122609" y="1305741"/>
                  <a:pt x="1126605" y="1306548"/>
                  <a:pt x="1130066" y="1308407"/>
                </a:cubicBezTo>
                <a:cubicBezTo>
                  <a:pt x="1133792" y="1310007"/>
                  <a:pt x="1136854" y="1312130"/>
                  <a:pt x="1139384" y="1314801"/>
                </a:cubicBezTo>
                <a:cubicBezTo>
                  <a:pt x="1142045" y="1317323"/>
                  <a:pt x="1144041" y="1320522"/>
                  <a:pt x="1145505" y="1324111"/>
                </a:cubicBezTo>
                <a:cubicBezTo>
                  <a:pt x="1146970" y="1327712"/>
                  <a:pt x="1147769" y="1331566"/>
                  <a:pt x="1147769" y="1335564"/>
                </a:cubicBezTo>
                <a:cubicBezTo>
                  <a:pt x="1147769" y="1339692"/>
                  <a:pt x="1146970" y="1343678"/>
                  <a:pt x="1145505" y="1347279"/>
                </a:cubicBezTo>
                <a:cubicBezTo>
                  <a:pt x="1144041" y="1350867"/>
                  <a:pt x="1141912" y="1353929"/>
                  <a:pt x="1139384" y="1356599"/>
                </a:cubicBezTo>
                <a:cubicBezTo>
                  <a:pt x="1136854" y="1359262"/>
                  <a:pt x="1133659" y="1361385"/>
                  <a:pt x="1130066" y="1362851"/>
                </a:cubicBezTo>
                <a:cubicBezTo>
                  <a:pt x="1126470" y="1364313"/>
                  <a:pt x="1122609" y="1365113"/>
                  <a:pt x="1118350" y="1365113"/>
                </a:cubicBezTo>
                <a:cubicBezTo>
                  <a:pt x="1109431" y="1365113"/>
                  <a:pt x="1102108" y="1362185"/>
                  <a:pt x="1096517" y="1356599"/>
                </a:cubicBezTo>
                <a:cubicBezTo>
                  <a:pt x="1090927" y="1351008"/>
                  <a:pt x="1088132" y="1343948"/>
                  <a:pt x="1088132" y="1335427"/>
                </a:cubicBezTo>
                <a:cubicBezTo>
                  <a:pt x="1088132" y="1327172"/>
                  <a:pt x="1090927" y="1320123"/>
                  <a:pt x="1096517" y="1314393"/>
                </a:cubicBezTo>
                <a:cubicBezTo>
                  <a:pt x="1102108" y="1308672"/>
                  <a:pt x="1109297" y="1305741"/>
                  <a:pt x="1118350" y="1305741"/>
                </a:cubicBezTo>
                <a:close/>
                <a:moveTo>
                  <a:pt x="900838" y="1305741"/>
                </a:moveTo>
                <a:cubicBezTo>
                  <a:pt x="904965" y="1305741"/>
                  <a:pt x="908959" y="1306548"/>
                  <a:pt x="912553" y="1308407"/>
                </a:cubicBezTo>
                <a:cubicBezTo>
                  <a:pt x="916280" y="1310007"/>
                  <a:pt x="919342" y="1312130"/>
                  <a:pt x="921871" y="1314801"/>
                </a:cubicBezTo>
                <a:cubicBezTo>
                  <a:pt x="924533" y="1317323"/>
                  <a:pt x="926530" y="1320522"/>
                  <a:pt x="927994" y="1324111"/>
                </a:cubicBezTo>
                <a:cubicBezTo>
                  <a:pt x="929458" y="1327712"/>
                  <a:pt x="930257" y="1331566"/>
                  <a:pt x="930257" y="1335564"/>
                </a:cubicBezTo>
                <a:cubicBezTo>
                  <a:pt x="930257" y="1339692"/>
                  <a:pt x="929458" y="1343678"/>
                  <a:pt x="927994" y="1347279"/>
                </a:cubicBezTo>
                <a:cubicBezTo>
                  <a:pt x="926530" y="1350867"/>
                  <a:pt x="924400" y="1353929"/>
                  <a:pt x="921871" y="1356599"/>
                </a:cubicBezTo>
                <a:cubicBezTo>
                  <a:pt x="919342" y="1359262"/>
                  <a:pt x="916147" y="1361385"/>
                  <a:pt x="912553" y="1362851"/>
                </a:cubicBezTo>
                <a:cubicBezTo>
                  <a:pt x="908959" y="1364313"/>
                  <a:pt x="905098" y="1365113"/>
                  <a:pt x="900838" y="1365113"/>
                </a:cubicBezTo>
                <a:cubicBezTo>
                  <a:pt x="891919" y="1365113"/>
                  <a:pt x="884597" y="1362185"/>
                  <a:pt x="879007" y="1356599"/>
                </a:cubicBezTo>
                <a:cubicBezTo>
                  <a:pt x="873417" y="1351008"/>
                  <a:pt x="870621" y="1343948"/>
                  <a:pt x="870621" y="1335427"/>
                </a:cubicBezTo>
                <a:cubicBezTo>
                  <a:pt x="870621" y="1327172"/>
                  <a:pt x="873417" y="1320123"/>
                  <a:pt x="879007" y="1314393"/>
                </a:cubicBezTo>
                <a:cubicBezTo>
                  <a:pt x="884597" y="1308672"/>
                  <a:pt x="891786" y="1305741"/>
                  <a:pt x="900838" y="1305741"/>
                </a:cubicBezTo>
                <a:close/>
                <a:moveTo>
                  <a:pt x="683194" y="1305741"/>
                </a:moveTo>
                <a:cubicBezTo>
                  <a:pt x="687454" y="1305741"/>
                  <a:pt x="691315" y="1306548"/>
                  <a:pt x="694909" y="1308407"/>
                </a:cubicBezTo>
                <a:cubicBezTo>
                  <a:pt x="698636" y="1310007"/>
                  <a:pt x="701698" y="1312130"/>
                  <a:pt x="704227" y="1314801"/>
                </a:cubicBezTo>
                <a:cubicBezTo>
                  <a:pt x="706889" y="1317323"/>
                  <a:pt x="708886" y="1320522"/>
                  <a:pt x="710350" y="1324111"/>
                </a:cubicBezTo>
                <a:cubicBezTo>
                  <a:pt x="711814" y="1327712"/>
                  <a:pt x="712613" y="1331566"/>
                  <a:pt x="712613" y="1335564"/>
                </a:cubicBezTo>
                <a:cubicBezTo>
                  <a:pt x="712613" y="1339692"/>
                  <a:pt x="711814" y="1343678"/>
                  <a:pt x="710350" y="1347279"/>
                </a:cubicBezTo>
                <a:cubicBezTo>
                  <a:pt x="708886" y="1350867"/>
                  <a:pt x="706756" y="1353929"/>
                  <a:pt x="704227" y="1356599"/>
                </a:cubicBezTo>
                <a:cubicBezTo>
                  <a:pt x="701698" y="1359262"/>
                  <a:pt x="698503" y="1361385"/>
                  <a:pt x="694909" y="1362851"/>
                </a:cubicBezTo>
                <a:cubicBezTo>
                  <a:pt x="691315" y="1364313"/>
                  <a:pt x="687454" y="1365113"/>
                  <a:pt x="683194" y="1365113"/>
                </a:cubicBezTo>
                <a:cubicBezTo>
                  <a:pt x="674276" y="1365113"/>
                  <a:pt x="666954" y="1362185"/>
                  <a:pt x="661363" y="1356599"/>
                </a:cubicBezTo>
                <a:cubicBezTo>
                  <a:pt x="655772" y="1351008"/>
                  <a:pt x="652977" y="1343948"/>
                  <a:pt x="652977" y="1335427"/>
                </a:cubicBezTo>
                <a:cubicBezTo>
                  <a:pt x="652977" y="1327172"/>
                  <a:pt x="655772" y="1320123"/>
                  <a:pt x="661363" y="1314393"/>
                </a:cubicBezTo>
                <a:cubicBezTo>
                  <a:pt x="666954" y="1308672"/>
                  <a:pt x="674143" y="1305741"/>
                  <a:pt x="683194" y="1305741"/>
                </a:cubicBezTo>
                <a:close/>
                <a:moveTo>
                  <a:pt x="465550" y="1305741"/>
                </a:moveTo>
                <a:cubicBezTo>
                  <a:pt x="469810" y="1305741"/>
                  <a:pt x="473670" y="1306548"/>
                  <a:pt x="477266" y="1308407"/>
                </a:cubicBezTo>
                <a:cubicBezTo>
                  <a:pt x="480993" y="1310007"/>
                  <a:pt x="484054" y="1312130"/>
                  <a:pt x="486583" y="1314801"/>
                </a:cubicBezTo>
                <a:cubicBezTo>
                  <a:pt x="489245" y="1317323"/>
                  <a:pt x="491242" y="1320522"/>
                  <a:pt x="492707" y="1324111"/>
                </a:cubicBezTo>
                <a:cubicBezTo>
                  <a:pt x="494170" y="1327712"/>
                  <a:pt x="494969" y="1331566"/>
                  <a:pt x="494969" y="1335564"/>
                </a:cubicBezTo>
                <a:cubicBezTo>
                  <a:pt x="494969" y="1339692"/>
                  <a:pt x="494170" y="1343678"/>
                  <a:pt x="492707" y="1347279"/>
                </a:cubicBezTo>
                <a:cubicBezTo>
                  <a:pt x="491242" y="1350867"/>
                  <a:pt x="489113" y="1353929"/>
                  <a:pt x="486583" y="1356599"/>
                </a:cubicBezTo>
                <a:cubicBezTo>
                  <a:pt x="483920" y="1359262"/>
                  <a:pt x="480859" y="1361385"/>
                  <a:pt x="477266" y="1362851"/>
                </a:cubicBezTo>
                <a:cubicBezTo>
                  <a:pt x="473670" y="1364313"/>
                  <a:pt x="469810" y="1365113"/>
                  <a:pt x="465550" y="1365113"/>
                </a:cubicBezTo>
                <a:cubicBezTo>
                  <a:pt x="456632" y="1365113"/>
                  <a:pt x="449310" y="1362185"/>
                  <a:pt x="443719" y="1356599"/>
                </a:cubicBezTo>
                <a:cubicBezTo>
                  <a:pt x="438128" y="1351008"/>
                  <a:pt x="435333" y="1343948"/>
                  <a:pt x="435333" y="1335427"/>
                </a:cubicBezTo>
                <a:cubicBezTo>
                  <a:pt x="435333" y="1327172"/>
                  <a:pt x="438128" y="1320123"/>
                  <a:pt x="443719" y="1314393"/>
                </a:cubicBezTo>
                <a:cubicBezTo>
                  <a:pt x="449310" y="1308672"/>
                  <a:pt x="456499" y="1305741"/>
                  <a:pt x="465550" y="1305741"/>
                </a:cubicBezTo>
                <a:close/>
                <a:moveTo>
                  <a:pt x="247906" y="1305741"/>
                </a:moveTo>
                <a:cubicBezTo>
                  <a:pt x="252166" y="1305741"/>
                  <a:pt x="256160" y="1306548"/>
                  <a:pt x="259621" y="1308407"/>
                </a:cubicBezTo>
                <a:cubicBezTo>
                  <a:pt x="263348" y="1310007"/>
                  <a:pt x="266410" y="1312130"/>
                  <a:pt x="268939" y="1314801"/>
                </a:cubicBezTo>
                <a:cubicBezTo>
                  <a:pt x="271601" y="1317323"/>
                  <a:pt x="273599" y="1320522"/>
                  <a:pt x="275063" y="1324111"/>
                </a:cubicBezTo>
                <a:cubicBezTo>
                  <a:pt x="276527" y="1327712"/>
                  <a:pt x="277326" y="1331566"/>
                  <a:pt x="277326" y="1335564"/>
                </a:cubicBezTo>
                <a:cubicBezTo>
                  <a:pt x="277326" y="1339692"/>
                  <a:pt x="276527" y="1343678"/>
                  <a:pt x="275063" y="1347279"/>
                </a:cubicBezTo>
                <a:cubicBezTo>
                  <a:pt x="273599" y="1350867"/>
                  <a:pt x="271468" y="1353929"/>
                  <a:pt x="268939" y="1356599"/>
                </a:cubicBezTo>
                <a:cubicBezTo>
                  <a:pt x="266276" y="1359262"/>
                  <a:pt x="263215" y="1361385"/>
                  <a:pt x="259621" y="1362851"/>
                </a:cubicBezTo>
                <a:cubicBezTo>
                  <a:pt x="256026" y="1364313"/>
                  <a:pt x="252166" y="1365113"/>
                  <a:pt x="247906" y="1365113"/>
                </a:cubicBezTo>
                <a:cubicBezTo>
                  <a:pt x="238988" y="1365113"/>
                  <a:pt x="231666" y="1362185"/>
                  <a:pt x="226075" y="1356599"/>
                </a:cubicBezTo>
                <a:cubicBezTo>
                  <a:pt x="220485" y="1351008"/>
                  <a:pt x="217689" y="1343948"/>
                  <a:pt x="217689" y="1335427"/>
                </a:cubicBezTo>
                <a:cubicBezTo>
                  <a:pt x="217689" y="1327172"/>
                  <a:pt x="220485" y="1320123"/>
                  <a:pt x="226075" y="1314393"/>
                </a:cubicBezTo>
                <a:cubicBezTo>
                  <a:pt x="231666" y="1308672"/>
                  <a:pt x="238854" y="1305741"/>
                  <a:pt x="247906" y="1305741"/>
                </a:cubicBezTo>
                <a:close/>
                <a:moveTo>
                  <a:pt x="30262" y="1305741"/>
                </a:moveTo>
                <a:cubicBezTo>
                  <a:pt x="34522" y="1305741"/>
                  <a:pt x="38516" y="1306548"/>
                  <a:pt x="41977" y="1308407"/>
                </a:cubicBezTo>
                <a:cubicBezTo>
                  <a:pt x="45704" y="1310007"/>
                  <a:pt x="48767" y="1312130"/>
                  <a:pt x="51296" y="1314801"/>
                </a:cubicBezTo>
                <a:cubicBezTo>
                  <a:pt x="53958" y="1317323"/>
                  <a:pt x="55955" y="1320522"/>
                  <a:pt x="57419" y="1324111"/>
                </a:cubicBezTo>
                <a:cubicBezTo>
                  <a:pt x="58883" y="1327712"/>
                  <a:pt x="59682" y="1331566"/>
                  <a:pt x="59682" y="1335564"/>
                </a:cubicBezTo>
                <a:cubicBezTo>
                  <a:pt x="59682" y="1339692"/>
                  <a:pt x="58883" y="1343678"/>
                  <a:pt x="57419" y="1347279"/>
                </a:cubicBezTo>
                <a:cubicBezTo>
                  <a:pt x="55955" y="1350867"/>
                  <a:pt x="53825" y="1353929"/>
                  <a:pt x="51296" y="1356599"/>
                </a:cubicBezTo>
                <a:cubicBezTo>
                  <a:pt x="48633" y="1359262"/>
                  <a:pt x="45572" y="1361385"/>
                  <a:pt x="41977" y="1362851"/>
                </a:cubicBezTo>
                <a:cubicBezTo>
                  <a:pt x="38383" y="1364313"/>
                  <a:pt x="34522" y="1365113"/>
                  <a:pt x="30262" y="1365113"/>
                </a:cubicBezTo>
                <a:cubicBezTo>
                  <a:pt x="21344" y="1365113"/>
                  <a:pt x="14022" y="1362185"/>
                  <a:pt x="8432" y="1356599"/>
                </a:cubicBezTo>
                <a:cubicBezTo>
                  <a:pt x="2841" y="1351008"/>
                  <a:pt x="46" y="1343948"/>
                  <a:pt x="46" y="1335427"/>
                </a:cubicBezTo>
                <a:cubicBezTo>
                  <a:pt x="46" y="1327172"/>
                  <a:pt x="2841" y="1320123"/>
                  <a:pt x="8432" y="1314393"/>
                </a:cubicBezTo>
                <a:cubicBezTo>
                  <a:pt x="14022" y="1308672"/>
                  <a:pt x="21210" y="1305741"/>
                  <a:pt x="30262" y="1305741"/>
                </a:cubicBezTo>
                <a:close/>
                <a:moveTo>
                  <a:pt x="10475977" y="1104736"/>
                </a:moveTo>
                <a:cubicBezTo>
                  <a:pt x="10470119" y="1104736"/>
                  <a:pt x="10467589" y="1106736"/>
                  <a:pt x="10465992" y="1108331"/>
                </a:cubicBezTo>
                <a:cubicBezTo>
                  <a:pt x="10463463" y="1110990"/>
                  <a:pt x="10462399" y="1113794"/>
                  <a:pt x="10462399" y="1117780"/>
                </a:cubicBezTo>
                <a:cubicBezTo>
                  <a:pt x="10462399" y="1121908"/>
                  <a:pt x="10463463" y="1124708"/>
                  <a:pt x="10465992" y="1127230"/>
                </a:cubicBezTo>
                <a:cubicBezTo>
                  <a:pt x="10467589" y="1128836"/>
                  <a:pt x="10470119" y="1130693"/>
                  <a:pt x="10475977" y="1130693"/>
                </a:cubicBezTo>
                <a:cubicBezTo>
                  <a:pt x="10478107" y="1130693"/>
                  <a:pt x="10479838" y="1130434"/>
                  <a:pt x="10481302" y="1129635"/>
                </a:cubicBezTo>
                <a:cubicBezTo>
                  <a:pt x="10482899" y="1129096"/>
                  <a:pt x="10484098" y="1128297"/>
                  <a:pt x="10485029" y="1127230"/>
                </a:cubicBezTo>
                <a:cubicBezTo>
                  <a:pt x="10486094" y="1126167"/>
                  <a:pt x="10487026" y="1124843"/>
                  <a:pt x="10487691" y="1123107"/>
                </a:cubicBezTo>
                <a:cubicBezTo>
                  <a:pt x="10488357" y="1121509"/>
                  <a:pt x="10488623" y="1119644"/>
                  <a:pt x="10488623" y="1117655"/>
                </a:cubicBezTo>
                <a:cubicBezTo>
                  <a:pt x="10488623" y="1115789"/>
                  <a:pt x="10488357" y="1114055"/>
                  <a:pt x="10487691" y="1112457"/>
                </a:cubicBezTo>
                <a:cubicBezTo>
                  <a:pt x="10487026" y="1110864"/>
                  <a:pt x="10486094" y="1109530"/>
                  <a:pt x="10485029" y="1108331"/>
                </a:cubicBezTo>
                <a:cubicBezTo>
                  <a:pt x="10483964" y="1107266"/>
                  <a:pt x="10482633" y="1106337"/>
                  <a:pt x="10481035" y="1105670"/>
                </a:cubicBezTo>
                <a:cubicBezTo>
                  <a:pt x="10479571" y="1105002"/>
                  <a:pt x="10477974" y="1104736"/>
                  <a:pt x="10475977" y="1104736"/>
                </a:cubicBezTo>
                <a:close/>
                <a:moveTo>
                  <a:pt x="10258466" y="1104736"/>
                </a:moveTo>
                <a:cubicBezTo>
                  <a:pt x="10252608" y="1104736"/>
                  <a:pt x="10250078" y="1106736"/>
                  <a:pt x="10248481" y="1108331"/>
                </a:cubicBezTo>
                <a:cubicBezTo>
                  <a:pt x="10245952" y="1110994"/>
                  <a:pt x="10244887" y="1113794"/>
                  <a:pt x="10244887" y="1117780"/>
                </a:cubicBezTo>
                <a:cubicBezTo>
                  <a:pt x="10244887" y="1121908"/>
                  <a:pt x="10245952" y="1124708"/>
                  <a:pt x="10248481" y="1127230"/>
                </a:cubicBezTo>
                <a:cubicBezTo>
                  <a:pt x="10250078" y="1128836"/>
                  <a:pt x="10252608" y="1130693"/>
                  <a:pt x="10258466" y="1130693"/>
                </a:cubicBezTo>
                <a:cubicBezTo>
                  <a:pt x="10260462" y="1130693"/>
                  <a:pt x="10262192" y="1130434"/>
                  <a:pt x="10263790" y="1129635"/>
                </a:cubicBezTo>
                <a:cubicBezTo>
                  <a:pt x="10265388" y="1129096"/>
                  <a:pt x="10266586" y="1128297"/>
                  <a:pt x="10267517" y="1127230"/>
                </a:cubicBezTo>
                <a:cubicBezTo>
                  <a:pt x="10268583" y="1126167"/>
                  <a:pt x="10269515" y="1124843"/>
                  <a:pt x="10270180" y="1123107"/>
                </a:cubicBezTo>
                <a:cubicBezTo>
                  <a:pt x="10270845" y="1121509"/>
                  <a:pt x="10271112" y="1119644"/>
                  <a:pt x="10271112" y="1117655"/>
                </a:cubicBezTo>
                <a:cubicBezTo>
                  <a:pt x="10271112" y="1115789"/>
                  <a:pt x="10270845" y="1114055"/>
                  <a:pt x="10270180" y="1112457"/>
                </a:cubicBezTo>
                <a:cubicBezTo>
                  <a:pt x="10269515" y="1110864"/>
                  <a:pt x="10268583" y="1109530"/>
                  <a:pt x="10267517" y="1108331"/>
                </a:cubicBezTo>
                <a:cubicBezTo>
                  <a:pt x="10266452" y="1107266"/>
                  <a:pt x="10265121" y="1106337"/>
                  <a:pt x="10263524" y="1105670"/>
                </a:cubicBezTo>
                <a:cubicBezTo>
                  <a:pt x="10262060" y="1105002"/>
                  <a:pt x="10260462" y="1104736"/>
                  <a:pt x="10258466" y="1104736"/>
                </a:cubicBezTo>
                <a:close/>
                <a:moveTo>
                  <a:pt x="10040820" y="1104736"/>
                </a:moveTo>
                <a:cubicBezTo>
                  <a:pt x="10034962" y="1104736"/>
                  <a:pt x="10032433" y="1106736"/>
                  <a:pt x="10030835" y="1108331"/>
                </a:cubicBezTo>
                <a:cubicBezTo>
                  <a:pt x="10028306" y="1110994"/>
                  <a:pt x="10027242" y="1113794"/>
                  <a:pt x="10027242" y="1117780"/>
                </a:cubicBezTo>
                <a:cubicBezTo>
                  <a:pt x="10027242" y="1121908"/>
                  <a:pt x="10028306" y="1124708"/>
                  <a:pt x="10030835" y="1127230"/>
                </a:cubicBezTo>
                <a:cubicBezTo>
                  <a:pt x="10032433" y="1128836"/>
                  <a:pt x="10034962" y="1130693"/>
                  <a:pt x="10040820" y="1130693"/>
                </a:cubicBezTo>
                <a:cubicBezTo>
                  <a:pt x="10042817" y="1130693"/>
                  <a:pt x="10044681" y="1130434"/>
                  <a:pt x="10046145" y="1129635"/>
                </a:cubicBezTo>
                <a:cubicBezTo>
                  <a:pt x="10047742" y="1129096"/>
                  <a:pt x="10048941" y="1128297"/>
                  <a:pt x="10049872" y="1127230"/>
                </a:cubicBezTo>
                <a:cubicBezTo>
                  <a:pt x="10050937" y="1126167"/>
                  <a:pt x="10051869" y="1124843"/>
                  <a:pt x="10052534" y="1123107"/>
                </a:cubicBezTo>
                <a:cubicBezTo>
                  <a:pt x="10053333" y="1121509"/>
                  <a:pt x="10053599" y="1119644"/>
                  <a:pt x="10053599" y="1117655"/>
                </a:cubicBezTo>
                <a:cubicBezTo>
                  <a:pt x="10053599" y="1115791"/>
                  <a:pt x="10053200" y="1114055"/>
                  <a:pt x="10052534" y="1112457"/>
                </a:cubicBezTo>
                <a:cubicBezTo>
                  <a:pt x="10051869" y="1110864"/>
                  <a:pt x="10050937" y="1109530"/>
                  <a:pt x="10049872" y="1108331"/>
                </a:cubicBezTo>
                <a:cubicBezTo>
                  <a:pt x="10048807" y="1107266"/>
                  <a:pt x="10047476" y="1106337"/>
                  <a:pt x="10045878" y="1105670"/>
                </a:cubicBezTo>
                <a:cubicBezTo>
                  <a:pt x="10044414" y="1105002"/>
                  <a:pt x="10042817" y="1104736"/>
                  <a:pt x="10040820" y="1104736"/>
                </a:cubicBezTo>
                <a:close/>
                <a:moveTo>
                  <a:pt x="9823176" y="1104736"/>
                </a:moveTo>
                <a:cubicBezTo>
                  <a:pt x="9817318" y="1104736"/>
                  <a:pt x="9814788" y="1106736"/>
                  <a:pt x="9813191" y="1108331"/>
                </a:cubicBezTo>
                <a:cubicBezTo>
                  <a:pt x="9810662" y="1110994"/>
                  <a:pt x="9809597" y="1113794"/>
                  <a:pt x="9809597" y="1117780"/>
                </a:cubicBezTo>
                <a:cubicBezTo>
                  <a:pt x="9809597" y="1121908"/>
                  <a:pt x="9810662" y="1124708"/>
                  <a:pt x="9813191" y="1127230"/>
                </a:cubicBezTo>
                <a:cubicBezTo>
                  <a:pt x="9814788" y="1128836"/>
                  <a:pt x="9817318" y="1130693"/>
                  <a:pt x="9823176" y="1130693"/>
                </a:cubicBezTo>
                <a:cubicBezTo>
                  <a:pt x="9825173" y="1130693"/>
                  <a:pt x="9827036" y="1130434"/>
                  <a:pt x="9828501" y="1129635"/>
                </a:cubicBezTo>
                <a:cubicBezTo>
                  <a:pt x="9830098" y="1129096"/>
                  <a:pt x="9831296" y="1128297"/>
                  <a:pt x="9832227" y="1127230"/>
                </a:cubicBezTo>
                <a:cubicBezTo>
                  <a:pt x="9833293" y="1126167"/>
                  <a:pt x="9834225" y="1124843"/>
                  <a:pt x="9834890" y="1123107"/>
                </a:cubicBezTo>
                <a:cubicBezTo>
                  <a:pt x="9835689" y="1121509"/>
                  <a:pt x="9835955" y="1119644"/>
                  <a:pt x="9835955" y="1117655"/>
                </a:cubicBezTo>
                <a:cubicBezTo>
                  <a:pt x="9835955" y="1115791"/>
                  <a:pt x="9835555" y="1114055"/>
                  <a:pt x="9834890" y="1112457"/>
                </a:cubicBezTo>
                <a:cubicBezTo>
                  <a:pt x="9834225" y="1110864"/>
                  <a:pt x="9833293" y="1109530"/>
                  <a:pt x="9832227" y="1108331"/>
                </a:cubicBezTo>
                <a:cubicBezTo>
                  <a:pt x="9831162" y="1107266"/>
                  <a:pt x="9829831" y="1106339"/>
                  <a:pt x="9828234" y="1105670"/>
                </a:cubicBezTo>
                <a:cubicBezTo>
                  <a:pt x="9826770" y="1105002"/>
                  <a:pt x="9825173" y="1104736"/>
                  <a:pt x="9823176" y="1104736"/>
                </a:cubicBezTo>
                <a:close/>
                <a:moveTo>
                  <a:pt x="9605531" y="1104736"/>
                </a:moveTo>
                <a:cubicBezTo>
                  <a:pt x="9599673" y="1104736"/>
                  <a:pt x="9597143" y="1106736"/>
                  <a:pt x="9595546" y="1108331"/>
                </a:cubicBezTo>
                <a:cubicBezTo>
                  <a:pt x="9593017" y="1110994"/>
                  <a:pt x="9591952" y="1113794"/>
                  <a:pt x="9591952" y="1117780"/>
                </a:cubicBezTo>
                <a:cubicBezTo>
                  <a:pt x="9591952" y="1121908"/>
                  <a:pt x="9593017" y="1124708"/>
                  <a:pt x="9595546" y="1127230"/>
                </a:cubicBezTo>
                <a:cubicBezTo>
                  <a:pt x="9597143" y="1128836"/>
                  <a:pt x="9599673" y="1130693"/>
                  <a:pt x="9605531" y="1130693"/>
                </a:cubicBezTo>
                <a:cubicBezTo>
                  <a:pt x="9607660" y="1130693"/>
                  <a:pt x="9609391" y="1130434"/>
                  <a:pt x="9610855" y="1129635"/>
                </a:cubicBezTo>
                <a:cubicBezTo>
                  <a:pt x="9612319" y="1129096"/>
                  <a:pt x="9613651" y="1128297"/>
                  <a:pt x="9614582" y="1127230"/>
                </a:cubicBezTo>
                <a:cubicBezTo>
                  <a:pt x="9615647" y="1126167"/>
                  <a:pt x="9616579" y="1124843"/>
                  <a:pt x="9617245" y="1123107"/>
                </a:cubicBezTo>
                <a:cubicBezTo>
                  <a:pt x="9618044" y="1121509"/>
                  <a:pt x="9618309" y="1119644"/>
                  <a:pt x="9618309" y="1117655"/>
                </a:cubicBezTo>
                <a:cubicBezTo>
                  <a:pt x="9618309" y="1115791"/>
                  <a:pt x="9617910" y="1114055"/>
                  <a:pt x="9617245" y="1112457"/>
                </a:cubicBezTo>
                <a:cubicBezTo>
                  <a:pt x="9616579" y="1110864"/>
                  <a:pt x="9615647" y="1109530"/>
                  <a:pt x="9614582" y="1108331"/>
                </a:cubicBezTo>
                <a:cubicBezTo>
                  <a:pt x="9613517" y="1107266"/>
                  <a:pt x="9612186" y="1106339"/>
                  <a:pt x="9610589" y="1105670"/>
                </a:cubicBezTo>
                <a:cubicBezTo>
                  <a:pt x="9609124" y="1105002"/>
                  <a:pt x="9607394" y="1104736"/>
                  <a:pt x="9605531" y="1104736"/>
                </a:cubicBezTo>
                <a:close/>
                <a:moveTo>
                  <a:pt x="9387885" y="1104736"/>
                </a:moveTo>
                <a:cubicBezTo>
                  <a:pt x="9382027" y="1104736"/>
                  <a:pt x="9379497" y="1106737"/>
                  <a:pt x="9377900" y="1108331"/>
                </a:cubicBezTo>
                <a:cubicBezTo>
                  <a:pt x="9375371" y="1110994"/>
                  <a:pt x="9374307" y="1113794"/>
                  <a:pt x="9374307" y="1117780"/>
                </a:cubicBezTo>
                <a:cubicBezTo>
                  <a:pt x="9374307" y="1121908"/>
                  <a:pt x="9375371" y="1124708"/>
                  <a:pt x="9377900" y="1127230"/>
                </a:cubicBezTo>
                <a:cubicBezTo>
                  <a:pt x="9379497" y="1128836"/>
                  <a:pt x="9382027" y="1130693"/>
                  <a:pt x="9387885" y="1130693"/>
                </a:cubicBezTo>
                <a:cubicBezTo>
                  <a:pt x="9390015" y="1130693"/>
                  <a:pt x="9391746" y="1130434"/>
                  <a:pt x="9393210" y="1129635"/>
                </a:cubicBezTo>
                <a:cubicBezTo>
                  <a:pt x="9394674" y="1129096"/>
                  <a:pt x="9396005" y="1128297"/>
                  <a:pt x="9396937" y="1127230"/>
                </a:cubicBezTo>
                <a:cubicBezTo>
                  <a:pt x="9398002" y="1126167"/>
                  <a:pt x="9398934" y="1124843"/>
                  <a:pt x="9399599" y="1123107"/>
                </a:cubicBezTo>
                <a:cubicBezTo>
                  <a:pt x="9400398" y="1121509"/>
                  <a:pt x="9400664" y="1119644"/>
                  <a:pt x="9400664" y="1117655"/>
                </a:cubicBezTo>
                <a:cubicBezTo>
                  <a:pt x="9400664" y="1115791"/>
                  <a:pt x="9400265" y="1114055"/>
                  <a:pt x="9399599" y="1112457"/>
                </a:cubicBezTo>
                <a:cubicBezTo>
                  <a:pt x="9398934" y="1110864"/>
                  <a:pt x="9398002" y="1109530"/>
                  <a:pt x="9396937" y="1108331"/>
                </a:cubicBezTo>
                <a:cubicBezTo>
                  <a:pt x="9395872" y="1107266"/>
                  <a:pt x="9394541" y="1106339"/>
                  <a:pt x="9392943" y="1105670"/>
                </a:cubicBezTo>
                <a:cubicBezTo>
                  <a:pt x="9391479" y="1105002"/>
                  <a:pt x="9389749" y="1104736"/>
                  <a:pt x="9387885" y="1104736"/>
                </a:cubicBezTo>
                <a:close/>
                <a:moveTo>
                  <a:pt x="9170374" y="1104736"/>
                </a:moveTo>
                <a:cubicBezTo>
                  <a:pt x="9164649" y="1104736"/>
                  <a:pt x="9161986" y="1106737"/>
                  <a:pt x="9160389" y="1108331"/>
                </a:cubicBezTo>
                <a:cubicBezTo>
                  <a:pt x="9157860" y="1110994"/>
                  <a:pt x="9156795" y="1113794"/>
                  <a:pt x="9156795" y="1117780"/>
                </a:cubicBezTo>
                <a:cubicBezTo>
                  <a:pt x="9156795" y="1121908"/>
                  <a:pt x="9157860" y="1124708"/>
                  <a:pt x="9160389" y="1127230"/>
                </a:cubicBezTo>
                <a:cubicBezTo>
                  <a:pt x="9161986" y="1128836"/>
                  <a:pt x="9164516" y="1130693"/>
                  <a:pt x="9170374" y="1130693"/>
                </a:cubicBezTo>
                <a:cubicBezTo>
                  <a:pt x="9172370" y="1130693"/>
                  <a:pt x="9174100" y="1130434"/>
                  <a:pt x="9175698" y="1129635"/>
                </a:cubicBezTo>
                <a:cubicBezTo>
                  <a:pt x="9177163" y="1129096"/>
                  <a:pt x="9178494" y="1128297"/>
                  <a:pt x="9179425" y="1127230"/>
                </a:cubicBezTo>
                <a:cubicBezTo>
                  <a:pt x="9180491" y="1126167"/>
                  <a:pt x="9181422" y="1124843"/>
                  <a:pt x="9182088" y="1123107"/>
                </a:cubicBezTo>
                <a:cubicBezTo>
                  <a:pt x="9182887" y="1121509"/>
                  <a:pt x="9183152" y="1119645"/>
                  <a:pt x="9183152" y="1117655"/>
                </a:cubicBezTo>
                <a:cubicBezTo>
                  <a:pt x="9183152" y="1115791"/>
                  <a:pt x="9182753" y="1114055"/>
                  <a:pt x="9182088" y="1112457"/>
                </a:cubicBezTo>
                <a:cubicBezTo>
                  <a:pt x="9181422" y="1110864"/>
                  <a:pt x="9180491" y="1109530"/>
                  <a:pt x="9179425" y="1108331"/>
                </a:cubicBezTo>
                <a:cubicBezTo>
                  <a:pt x="9178360" y="1107266"/>
                  <a:pt x="9177029" y="1106339"/>
                  <a:pt x="9175432" y="1105670"/>
                </a:cubicBezTo>
                <a:cubicBezTo>
                  <a:pt x="9173967" y="1105002"/>
                  <a:pt x="9172237" y="1104736"/>
                  <a:pt x="9170374" y="1104736"/>
                </a:cubicBezTo>
                <a:close/>
                <a:moveTo>
                  <a:pt x="8952728" y="1104736"/>
                </a:moveTo>
                <a:cubicBezTo>
                  <a:pt x="8947003" y="1104736"/>
                  <a:pt x="8944340" y="1106737"/>
                  <a:pt x="8942743" y="1108331"/>
                </a:cubicBezTo>
                <a:cubicBezTo>
                  <a:pt x="8940214" y="1110994"/>
                  <a:pt x="8939150" y="1113794"/>
                  <a:pt x="8939150" y="1117780"/>
                </a:cubicBezTo>
                <a:cubicBezTo>
                  <a:pt x="8939150" y="1121908"/>
                  <a:pt x="8940214" y="1124708"/>
                  <a:pt x="8942743" y="1127230"/>
                </a:cubicBezTo>
                <a:cubicBezTo>
                  <a:pt x="8944340" y="1128836"/>
                  <a:pt x="8946870" y="1130693"/>
                  <a:pt x="8952728" y="1130693"/>
                </a:cubicBezTo>
                <a:cubicBezTo>
                  <a:pt x="8954725" y="1130693"/>
                  <a:pt x="8956589" y="1130434"/>
                  <a:pt x="8958053" y="1129635"/>
                </a:cubicBezTo>
                <a:cubicBezTo>
                  <a:pt x="8959517" y="1129096"/>
                  <a:pt x="8960849" y="1128297"/>
                  <a:pt x="8961780" y="1127230"/>
                </a:cubicBezTo>
                <a:cubicBezTo>
                  <a:pt x="8962845" y="1126167"/>
                  <a:pt x="8963777" y="1124843"/>
                  <a:pt x="8964442" y="1123107"/>
                </a:cubicBezTo>
                <a:cubicBezTo>
                  <a:pt x="8965241" y="1121509"/>
                  <a:pt x="8965507" y="1119645"/>
                  <a:pt x="8965507" y="1117655"/>
                </a:cubicBezTo>
                <a:cubicBezTo>
                  <a:pt x="8965507" y="1115791"/>
                  <a:pt x="8965108" y="1114055"/>
                  <a:pt x="8964442" y="1112457"/>
                </a:cubicBezTo>
                <a:cubicBezTo>
                  <a:pt x="8963777" y="1110864"/>
                  <a:pt x="8962845" y="1109530"/>
                  <a:pt x="8961780" y="1108331"/>
                </a:cubicBezTo>
                <a:cubicBezTo>
                  <a:pt x="8960715" y="1107266"/>
                  <a:pt x="8959384" y="1106339"/>
                  <a:pt x="8957786" y="1105670"/>
                </a:cubicBezTo>
                <a:cubicBezTo>
                  <a:pt x="8956322" y="1105002"/>
                  <a:pt x="8954592" y="1104736"/>
                  <a:pt x="8952728" y="1104736"/>
                </a:cubicBezTo>
                <a:close/>
                <a:moveTo>
                  <a:pt x="8735083" y="1104736"/>
                </a:moveTo>
                <a:cubicBezTo>
                  <a:pt x="8729358" y="1104736"/>
                  <a:pt x="8726695" y="1106737"/>
                  <a:pt x="8725098" y="1108331"/>
                </a:cubicBezTo>
                <a:cubicBezTo>
                  <a:pt x="8722569" y="1110994"/>
                  <a:pt x="8721504" y="1113794"/>
                  <a:pt x="8721504" y="1117780"/>
                </a:cubicBezTo>
                <a:cubicBezTo>
                  <a:pt x="8721504" y="1121908"/>
                  <a:pt x="8722569" y="1124708"/>
                  <a:pt x="8725098" y="1127230"/>
                </a:cubicBezTo>
                <a:cubicBezTo>
                  <a:pt x="8726695" y="1128836"/>
                  <a:pt x="8729225" y="1130693"/>
                  <a:pt x="8735083" y="1130693"/>
                </a:cubicBezTo>
                <a:cubicBezTo>
                  <a:pt x="8737079" y="1130693"/>
                  <a:pt x="8738943" y="1130434"/>
                  <a:pt x="8740407" y="1129635"/>
                </a:cubicBezTo>
                <a:cubicBezTo>
                  <a:pt x="8741872" y="1129096"/>
                  <a:pt x="8743203" y="1128297"/>
                  <a:pt x="8744134" y="1127230"/>
                </a:cubicBezTo>
                <a:cubicBezTo>
                  <a:pt x="8745200" y="1126167"/>
                  <a:pt x="8746132" y="1124843"/>
                  <a:pt x="8746797" y="1123107"/>
                </a:cubicBezTo>
                <a:cubicBezTo>
                  <a:pt x="8747596" y="1121509"/>
                  <a:pt x="8747862" y="1119645"/>
                  <a:pt x="8747862" y="1117655"/>
                </a:cubicBezTo>
                <a:cubicBezTo>
                  <a:pt x="8747862" y="1115791"/>
                  <a:pt x="8747462" y="1114055"/>
                  <a:pt x="8746797" y="1112457"/>
                </a:cubicBezTo>
                <a:cubicBezTo>
                  <a:pt x="8746132" y="1110864"/>
                  <a:pt x="8745200" y="1109530"/>
                  <a:pt x="8744134" y="1108331"/>
                </a:cubicBezTo>
                <a:cubicBezTo>
                  <a:pt x="8743069" y="1107266"/>
                  <a:pt x="8741738" y="1106339"/>
                  <a:pt x="8740141" y="1105670"/>
                </a:cubicBezTo>
                <a:cubicBezTo>
                  <a:pt x="8738677" y="1105002"/>
                  <a:pt x="8736946" y="1104736"/>
                  <a:pt x="8735083" y="1104736"/>
                </a:cubicBezTo>
                <a:close/>
                <a:moveTo>
                  <a:pt x="8517438" y="1104736"/>
                </a:moveTo>
                <a:cubicBezTo>
                  <a:pt x="8511713" y="1104736"/>
                  <a:pt x="8509051" y="1106737"/>
                  <a:pt x="8507453" y="1108331"/>
                </a:cubicBezTo>
                <a:cubicBezTo>
                  <a:pt x="8504925" y="1110994"/>
                  <a:pt x="8503860" y="1113794"/>
                  <a:pt x="8503860" y="1117780"/>
                </a:cubicBezTo>
                <a:cubicBezTo>
                  <a:pt x="8503860" y="1121908"/>
                  <a:pt x="8504925" y="1124708"/>
                  <a:pt x="8507453" y="1127230"/>
                </a:cubicBezTo>
                <a:cubicBezTo>
                  <a:pt x="8509051" y="1128836"/>
                  <a:pt x="8511581" y="1130693"/>
                  <a:pt x="8517438" y="1130693"/>
                </a:cubicBezTo>
                <a:cubicBezTo>
                  <a:pt x="8519568" y="1130693"/>
                  <a:pt x="8521299" y="1130434"/>
                  <a:pt x="8522763" y="1129635"/>
                </a:cubicBezTo>
                <a:cubicBezTo>
                  <a:pt x="8524227" y="1129096"/>
                  <a:pt x="8525559" y="1128297"/>
                  <a:pt x="8526490" y="1127230"/>
                </a:cubicBezTo>
                <a:cubicBezTo>
                  <a:pt x="8527555" y="1126167"/>
                  <a:pt x="8528487" y="1124843"/>
                  <a:pt x="8529152" y="1123107"/>
                </a:cubicBezTo>
                <a:cubicBezTo>
                  <a:pt x="8529818" y="1121509"/>
                  <a:pt x="8530084" y="1119645"/>
                  <a:pt x="8530084" y="1117655"/>
                </a:cubicBezTo>
                <a:cubicBezTo>
                  <a:pt x="8530084" y="1115791"/>
                  <a:pt x="8529818" y="1114055"/>
                  <a:pt x="8529152" y="1112457"/>
                </a:cubicBezTo>
                <a:cubicBezTo>
                  <a:pt x="8528487" y="1110864"/>
                  <a:pt x="8527555" y="1109530"/>
                  <a:pt x="8526490" y="1108331"/>
                </a:cubicBezTo>
                <a:cubicBezTo>
                  <a:pt x="8525425" y="1107266"/>
                  <a:pt x="8524094" y="1106339"/>
                  <a:pt x="8522496" y="1105670"/>
                </a:cubicBezTo>
                <a:cubicBezTo>
                  <a:pt x="8521032" y="1105002"/>
                  <a:pt x="8519302" y="1104736"/>
                  <a:pt x="8517438" y="1104736"/>
                </a:cubicBezTo>
                <a:close/>
                <a:moveTo>
                  <a:pt x="8299793" y="1104736"/>
                </a:moveTo>
                <a:cubicBezTo>
                  <a:pt x="8294068" y="1104736"/>
                  <a:pt x="8291406" y="1106737"/>
                  <a:pt x="8289809" y="1108331"/>
                </a:cubicBezTo>
                <a:cubicBezTo>
                  <a:pt x="8287280" y="1110994"/>
                  <a:pt x="8286215" y="1113794"/>
                  <a:pt x="8286215" y="1117780"/>
                </a:cubicBezTo>
                <a:cubicBezTo>
                  <a:pt x="8286215" y="1121908"/>
                  <a:pt x="8287280" y="1124708"/>
                  <a:pt x="8289809" y="1127230"/>
                </a:cubicBezTo>
                <a:cubicBezTo>
                  <a:pt x="8291406" y="1128836"/>
                  <a:pt x="8293935" y="1130693"/>
                  <a:pt x="8299793" y="1130693"/>
                </a:cubicBezTo>
                <a:cubicBezTo>
                  <a:pt x="8301923" y="1130693"/>
                  <a:pt x="8303653" y="1130434"/>
                  <a:pt x="8305118" y="1129635"/>
                </a:cubicBezTo>
                <a:cubicBezTo>
                  <a:pt x="8306582" y="1129096"/>
                  <a:pt x="8307913" y="1128297"/>
                  <a:pt x="8308844" y="1127230"/>
                </a:cubicBezTo>
                <a:cubicBezTo>
                  <a:pt x="8309910" y="1126167"/>
                  <a:pt x="8310842" y="1124843"/>
                  <a:pt x="8311507" y="1123107"/>
                </a:cubicBezTo>
                <a:cubicBezTo>
                  <a:pt x="8312172" y="1121509"/>
                  <a:pt x="8312439" y="1119645"/>
                  <a:pt x="8312439" y="1117655"/>
                </a:cubicBezTo>
                <a:cubicBezTo>
                  <a:pt x="8312439" y="1115791"/>
                  <a:pt x="8312172" y="1114055"/>
                  <a:pt x="8311507" y="1112457"/>
                </a:cubicBezTo>
                <a:cubicBezTo>
                  <a:pt x="8310842" y="1110864"/>
                  <a:pt x="8309910" y="1109530"/>
                  <a:pt x="8308844" y="1108331"/>
                </a:cubicBezTo>
                <a:cubicBezTo>
                  <a:pt x="8307779" y="1107266"/>
                  <a:pt x="8306448" y="1106339"/>
                  <a:pt x="8304851" y="1105670"/>
                </a:cubicBezTo>
                <a:cubicBezTo>
                  <a:pt x="8303387" y="1105002"/>
                  <a:pt x="8301790" y="1104736"/>
                  <a:pt x="8299793" y="1104736"/>
                </a:cubicBezTo>
                <a:close/>
                <a:moveTo>
                  <a:pt x="8082281" y="1104736"/>
                </a:moveTo>
                <a:cubicBezTo>
                  <a:pt x="8076424" y="1104736"/>
                  <a:pt x="8073894" y="1106737"/>
                  <a:pt x="8072297" y="1108331"/>
                </a:cubicBezTo>
                <a:cubicBezTo>
                  <a:pt x="8069768" y="1110994"/>
                  <a:pt x="8068703" y="1113794"/>
                  <a:pt x="8068703" y="1117780"/>
                </a:cubicBezTo>
                <a:cubicBezTo>
                  <a:pt x="8068703" y="1121908"/>
                  <a:pt x="8069768" y="1124708"/>
                  <a:pt x="8072297" y="1127230"/>
                </a:cubicBezTo>
                <a:cubicBezTo>
                  <a:pt x="8073894" y="1128836"/>
                  <a:pt x="8076424" y="1130693"/>
                  <a:pt x="8082281" y="1130693"/>
                </a:cubicBezTo>
                <a:cubicBezTo>
                  <a:pt x="8084277" y="1130693"/>
                  <a:pt x="8086007" y="1130434"/>
                  <a:pt x="8087605" y="1129635"/>
                </a:cubicBezTo>
                <a:cubicBezTo>
                  <a:pt x="8089069" y="1129096"/>
                  <a:pt x="8090401" y="1128297"/>
                  <a:pt x="8091332" y="1127230"/>
                </a:cubicBezTo>
                <a:cubicBezTo>
                  <a:pt x="8092397" y="1126167"/>
                  <a:pt x="8093329" y="1124843"/>
                  <a:pt x="8093994" y="1123107"/>
                </a:cubicBezTo>
                <a:cubicBezTo>
                  <a:pt x="8094660" y="1121509"/>
                  <a:pt x="8094926" y="1119645"/>
                  <a:pt x="8094926" y="1117655"/>
                </a:cubicBezTo>
                <a:cubicBezTo>
                  <a:pt x="8094926" y="1115791"/>
                  <a:pt x="8094660" y="1114055"/>
                  <a:pt x="8093994" y="1112457"/>
                </a:cubicBezTo>
                <a:cubicBezTo>
                  <a:pt x="8093329" y="1110864"/>
                  <a:pt x="8092397" y="1109530"/>
                  <a:pt x="8091332" y="1108331"/>
                </a:cubicBezTo>
                <a:cubicBezTo>
                  <a:pt x="8090267" y="1107266"/>
                  <a:pt x="8088936" y="1106339"/>
                  <a:pt x="8087338" y="1105670"/>
                </a:cubicBezTo>
                <a:cubicBezTo>
                  <a:pt x="8085874" y="1105002"/>
                  <a:pt x="8084277" y="1104736"/>
                  <a:pt x="8082281" y="1104736"/>
                </a:cubicBezTo>
                <a:close/>
                <a:moveTo>
                  <a:pt x="7864636" y="1104736"/>
                </a:moveTo>
                <a:cubicBezTo>
                  <a:pt x="7858779" y="1104736"/>
                  <a:pt x="7856249" y="1106737"/>
                  <a:pt x="7854652" y="1108331"/>
                </a:cubicBezTo>
                <a:cubicBezTo>
                  <a:pt x="7852123" y="1110994"/>
                  <a:pt x="7851058" y="1113794"/>
                  <a:pt x="7851058" y="1117780"/>
                </a:cubicBezTo>
                <a:cubicBezTo>
                  <a:pt x="7851058" y="1121908"/>
                  <a:pt x="7852123" y="1124708"/>
                  <a:pt x="7854652" y="1127230"/>
                </a:cubicBezTo>
                <a:cubicBezTo>
                  <a:pt x="7856249" y="1128836"/>
                  <a:pt x="7858779" y="1130693"/>
                  <a:pt x="7864636" y="1130693"/>
                </a:cubicBezTo>
                <a:cubicBezTo>
                  <a:pt x="7866633" y="1130693"/>
                  <a:pt x="7868363" y="1130434"/>
                  <a:pt x="7869961" y="1129635"/>
                </a:cubicBezTo>
                <a:cubicBezTo>
                  <a:pt x="7871425" y="1129096"/>
                  <a:pt x="7872756" y="1128297"/>
                  <a:pt x="7873687" y="1127230"/>
                </a:cubicBezTo>
                <a:cubicBezTo>
                  <a:pt x="7874753" y="1126167"/>
                  <a:pt x="7875685" y="1124843"/>
                  <a:pt x="7876350" y="1123107"/>
                </a:cubicBezTo>
                <a:cubicBezTo>
                  <a:pt x="7877015" y="1121509"/>
                  <a:pt x="7877282" y="1119645"/>
                  <a:pt x="7877282" y="1117655"/>
                </a:cubicBezTo>
                <a:cubicBezTo>
                  <a:pt x="7877282" y="1115791"/>
                  <a:pt x="7877015" y="1114055"/>
                  <a:pt x="7876350" y="1112457"/>
                </a:cubicBezTo>
                <a:cubicBezTo>
                  <a:pt x="7875685" y="1110864"/>
                  <a:pt x="7874753" y="1109530"/>
                  <a:pt x="7873687" y="1108331"/>
                </a:cubicBezTo>
                <a:cubicBezTo>
                  <a:pt x="7872623" y="1107266"/>
                  <a:pt x="7871291" y="1106339"/>
                  <a:pt x="7869694" y="1105670"/>
                </a:cubicBezTo>
                <a:cubicBezTo>
                  <a:pt x="7868230" y="1105002"/>
                  <a:pt x="7866633" y="1104736"/>
                  <a:pt x="7864636" y="1104736"/>
                </a:cubicBezTo>
                <a:close/>
                <a:moveTo>
                  <a:pt x="7646991" y="1104736"/>
                </a:moveTo>
                <a:cubicBezTo>
                  <a:pt x="7641134" y="1104736"/>
                  <a:pt x="7638604" y="1106737"/>
                  <a:pt x="7637007" y="1108331"/>
                </a:cubicBezTo>
                <a:cubicBezTo>
                  <a:pt x="7634478" y="1110994"/>
                  <a:pt x="7633413" y="1113794"/>
                  <a:pt x="7633413" y="1117780"/>
                </a:cubicBezTo>
                <a:cubicBezTo>
                  <a:pt x="7633413" y="1121908"/>
                  <a:pt x="7634478" y="1124708"/>
                  <a:pt x="7637007" y="1127230"/>
                </a:cubicBezTo>
                <a:cubicBezTo>
                  <a:pt x="7638604" y="1128836"/>
                  <a:pt x="7641134" y="1130693"/>
                  <a:pt x="7646991" y="1130693"/>
                </a:cubicBezTo>
                <a:cubicBezTo>
                  <a:pt x="7648987" y="1130693"/>
                  <a:pt x="7650851" y="1130434"/>
                  <a:pt x="7652315" y="1129635"/>
                </a:cubicBezTo>
                <a:cubicBezTo>
                  <a:pt x="7653780" y="1129096"/>
                  <a:pt x="7655111" y="1128297"/>
                  <a:pt x="7656042" y="1127230"/>
                </a:cubicBezTo>
                <a:cubicBezTo>
                  <a:pt x="7657108" y="1126167"/>
                  <a:pt x="7658039" y="1124843"/>
                  <a:pt x="7658705" y="1123107"/>
                </a:cubicBezTo>
                <a:cubicBezTo>
                  <a:pt x="7659504" y="1121509"/>
                  <a:pt x="7659769" y="1119645"/>
                  <a:pt x="7659769" y="1117655"/>
                </a:cubicBezTo>
                <a:cubicBezTo>
                  <a:pt x="7659769" y="1115791"/>
                  <a:pt x="7659370" y="1114055"/>
                  <a:pt x="7658705" y="1112457"/>
                </a:cubicBezTo>
                <a:cubicBezTo>
                  <a:pt x="7658039" y="1110864"/>
                  <a:pt x="7657108" y="1109530"/>
                  <a:pt x="7656042" y="1108331"/>
                </a:cubicBezTo>
                <a:cubicBezTo>
                  <a:pt x="7654977" y="1107266"/>
                  <a:pt x="7653646" y="1106339"/>
                  <a:pt x="7652049" y="1105670"/>
                </a:cubicBezTo>
                <a:cubicBezTo>
                  <a:pt x="7650584" y="1105002"/>
                  <a:pt x="7648987" y="1104736"/>
                  <a:pt x="7646991" y="1104736"/>
                </a:cubicBezTo>
                <a:close/>
                <a:moveTo>
                  <a:pt x="7429345" y="1104736"/>
                </a:moveTo>
                <a:cubicBezTo>
                  <a:pt x="7423488" y="1104736"/>
                  <a:pt x="7420958" y="1106737"/>
                  <a:pt x="7419361" y="1108331"/>
                </a:cubicBezTo>
                <a:cubicBezTo>
                  <a:pt x="7416832" y="1110994"/>
                  <a:pt x="7415768" y="1113794"/>
                  <a:pt x="7415768" y="1117780"/>
                </a:cubicBezTo>
                <a:cubicBezTo>
                  <a:pt x="7415768" y="1121908"/>
                  <a:pt x="7416832" y="1124708"/>
                  <a:pt x="7419361" y="1127230"/>
                </a:cubicBezTo>
                <a:cubicBezTo>
                  <a:pt x="7420958" y="1128836"/>
                  <a:pt x="7423488" y="1130693"/>
                  <a:pt x="7429345" y="1130693"/>
                </a:cubicBezTo>
                <a:cubicBezTo>
                  <a:pt x="7431342" y="1130693"/>
                  <a:pt x="7433206" y="1130434"/>
                  <a:pt x="7434670" y="1129635"/>
                </a:cubicBezTo>
                <a:cubicBezTo>
                  <a:pt x="7436134" y="1129096"/>
                  <a:pt x="7437466" y="1128297"/>
                  <a:pt x="7438397" y="1127230"/>
                </a:cubicBezTo>
                <a:cubicBezTo>
                  <a:pt x="7439462" y="1126167"/>
                  <a:pt x="7440394" y="1124843"/>
                  <a:pt x="7441059" y="1123107"/>
                </a:cubicBezTo>
                <a:cubicBezTo>
                  <a:pt x="7441858" y="1121509"/>
                  <a:pt x="7442124" y="1119645"/>
                  <a:pt x="7442124" y="1117655"/>
                </a:cubicBezTo>
                <a:cubicBezTo>
                  <a:pt x="7442124" y="1115791"/>
                  <a:pt x="7441725" y="1114055"/>
                  <a:pt x="7441059" y="1112457"/>
                </a:cubicBezTo>
                <a:cubicBezTo>
                  <a:pt x="7440394" y="1110864"/>
                  <a:pt x="7439462" y="1109530"/>
                  <a:pt x="7438397" y="1108331"/>
                </a:cubicBezTo>
                <a:cubicBezTo>
                  <a:pt x="7437332" y="1107266"/>
                  <a:pt x="7436001" y="1106339"/>
                  <a:pt x="7434403" y="1105670"/>
                </a:cubicBezTo>
                <a:cubicBezTo>
                  <a:pt x="7432939" y="1105002"/>
                  <a:pt x="7431342" y="1104736"/>
                  <a:pt x="7429345" y="1104736"/>
                </a:cubicBezTo>
                <a:close/>
                <a:moveTo>
                  <a:pt x="7211701" y="1104736"/>
                </a:moveTo>
                <a:cubicBezTo>
                  <a:pt x="7205844" y="1104736"/>
                  <a:pt x="7203314" y="1106737"/>
                  <a:pt x="7201717" y="1108331"/>
                </a:cubicBezTo>
                <a:cubicBezTo>
                  <a:pt x="7199188" y="1110994"/>
                  <a:pt x="7198123" y="1113794"/>
                  <a:pt x="7198123" y="1117780"/>
                </a:cubicBezTo>
                <a:cubicBezTo>
                  <a:pt x="7198123" y="1121908"/>
                  <a:pt x="7199188" y="1124708"/>
                  <a:pt x="7201717" y="1127230"/>
                </a:cubicBezTo>
                <a:cubicBezTo>
                  <a:pt x="7203314" y="1128836"/>
                  <a:pt x="7205844" y="1130693"/>
                  <a:pt x="7211701" y="1130693"/>
                </a:cubicBezTo>
                <a:cubicBezTo>
                  <a:pt x="7213830" y="1130693"/>
                  <a:pt x="7215561" y="1130434"/>
                  <a:pt x="7217026" y="1129635"/>
                </a:cubicBezTo>
                <a:cubicBezTo>
                  <a:pt x="7218490" y="1129096"/>
                  <a:pt x="7219821" y="1128297"/>
                  <a:pt x="7220752" y="1127230"/>
                </a:cubicBezTo>
                <a:cubicBezTo>
                  <a:pt x="7221818" y="1126167"/>
                  <a:pt x="7222750" y="1124843"/>
                  <a:pt x="7223415" y="1123107"/>
                </a:cubicBezTo>
                <a:cubicBezTo>
                  <a:pt x="7224214" y="1121509"/>
                  <a:pt x="7224480" y="1119645"/>
                  <a:pt x="7224480" y="1117655"/>
                </a:cubicBezTo>
                <a:cubicBezTo>
                  <a:pt x="7224480" y="1115791"/>
                  <a:pt x="7224080" y="1114055"/>
                  <a:pt x="7223415" y="1112457"/>
                </a:cubicBezTo>
                <a:cubicBezTo>
                  <a:pt x="7222750" y="1110864"/>
                  <a:pt x="7221818" y="1109530"/>
                  <a:pt x="7220752" y="1108331"/>
                </a:cubicBezTo>
                <a:cubicBezTo>
                  <a:pt x="7219687" y="1107266"/>
                  <a:pt x="7218356" y="1106339"/>
                  <a:pt x="7216759" y="1105670"/>
                </a:cubicBezTo>
                <a:cubicBezTo>
                  <a:pt x="7215295" y="1105002"/>
                  <a:pt x="7213698" y="1104736"/>
                  <a:pt x="7211701" y="1104736"/>
                </a:cubicBezTo>
                <a:close/>
                <a:moveTo>
                  <a:pt x="6994056" y="1104736"/>
                </a:moveTo>
                <a:cubicBezTo>
                  <a:pt x="6988199" y="1104736"/>
                  <a:pt x="6985669" y="1106737"/>
                  <a:pt x="6984072" y="1108331"/>
                </a:cubicBezTo>
                <a:cubicBezTo>
                  <a:pt x="6981543" y="1110994"/>
                  <a:pt x="6980478" y="1113794"/>
                  <a:pt x="6980478" y="1117780"/>
                </a:cubicBezTo>
                <a:cubicBezTo>
                  <a:pt x="6980478" y="1121908"/>
                  <a:pt x="6981543" y="1124708"/>
                  <a:pt x="6984072" y="1127230"/>
                </a:cubicBezTo>
                <a:cubicBezTo>
                  <a:pt x="6985669" y="1128836"/>
                  <a:pt x="6988199" y="1130693"/>
                  <a:pt x="6994056" y="1130693"/>
                </a:cubicBezTo>
                <a:cubicBezTo>
                  <a:pt x="6996185" y="1130693"/>
                  <a:pt x="6997916" y="1130434"/>
                  <a:pt x="6999380" y="1129635"/>
                </a:cubicBezTo>
                <a:cubicBezTo>
                  <a:pt x="7000844" y="1129096"/>
                  <a:pt x="7002176" y="1128297"/>
                  <a:pt x="7003107" y="1127230"/>
                </a:cubicBezTo>
                <a:cubicBezTo>
                  <a:pt x="7004172" y="1126167"/>
                  <a:pt x="7005104" y="1124843"/>
                  <a:pt x="7005769" y="1123107"/>
                </a:cubicBezTo>
                <a:cubicBezTo>
                  <a:pt x="7006568" y="1121509"/>
                  <a:pt x="7006834" y="1119645"/>
                  <a:pt x="7006834" y="1117655"/>
                </a:cubicBezTo>
                <a:cubicBezTo>
                  <a:pt x="7006834" y="1115791"/>
                  <a:pt x="7006435" y="1114055"/>
                  <a:pt x="7005769" y="1112457"/>
                </a:cubicBezTo>
                <a:cubicBezTo>
                  <a:pt x="7005104" y="1110864"/>
                  <a:pt x="7004172" y="1109530"/>
                  <a:pt x="7003107" y="1108331"/>
                </a:cubicBezTo>
                <a:cubicBezTo>
                  <a:pt x="7002042" y="1107266"/>
                  <a:pt x="7000711" y="1106339"/>
                  <a:pt x="6999113" y="1105670"/>
                </a:cubicBezTo>
                <a:cubicBezTo>
                  <a:pt x="6997649" y="1105002"/>
                  <a:pt x="6996052" y="1104736"/>
                  <a:pt x="6994056" y="1104736"/>
                </a:cubicBezTo>
                <a:close/>
                <a:moveTo>
                  <a:pt x="6776544" y="1104736"/>
                </a:moveTo>
                <a:cubicBezTo>
                  <a:pt x="6770687" y="1104736"/>
                  <a:pt x="6768157" y="1106737"/>
                  <a:pt x="6766560" y="1108331"/>
                </a:cubicBezTo>
                <a:cubicBezTo>
                  <a:pt x="6764031" y="1110994"/>
                  <a:pt x="6762966" y="1113794"/>
                  <a:pt x="6762966" y="1117780"/>
                </a:cubicBezTo>
                <a:cubicBezTo>
                  <a:pt x="6762966" y="1121908"/>
                  <a:pt x="6764031" y="1124708"/>
                  <a:pt x="6766560" y="1127230"/>
                </a:cubicBezTo>
                <a:cubicBezTo>
                  <a:pt x="6768157" y="1128836"/>
                  <a:pt x="6770687" y="1130693"/>
                  <a:pt x="6776544" y="1130693"/>
                </a:cubicBezTo>
                <a:cubicBezTo>
                  <a:pt x="6778541" y="1130693"/>
                  <a:pt x="6780270" y="1130434"/>
                  <a:pt x="6781869" y="1129635"/>
                </a:cubicBezTo>
                <a:cubicBezTo>
                  <a:pt x="6783333" y="1129096"/>
                  <a:pt x="6784664" y="1128297"/>
                  <a:pt x="6785595" y="1127230"/>
                </a:cubicBezTo>
                <a:cubicBezTo>
                  <a:pt x="6786661" y="1126167"/>
                  <a:pt x="6787593" y="1124843"/>
                  <a:pt x="6788258" y="1123107"/>
                </a:cubicBezTo>
                <a:cubicBezTo>
                  <a:pt x="6789057" y="1121509"/>
                  <a:pt x="6789323" y="1119645"/>
                  <a:pt x="6789323" y="1117655"/>
                </a:cubicBezTo>
                <a:cubicBezTo>
                  <a:pt x="6789323" y="1115791"/>
                  <a:pt x="6788923" y="1114055"/>
                  <a:pt x="6788258" y="1112457"/>
                </a:cubicBezTo>
                <a:cubicBezTo>
                  <a:pt x="6787593" y="1110864"/>
                  <a:pt x="6786661" y="1109530"/>
                  <a:pt x="6785595" y="1108331"/>
                </a:cubicBezTo>
                <a:cubicBezTo>
                  <a:pt x="6784530" y="1107266"/>
                  <a:pt x="6783199" y="1106339"/>
                  <a:pt x="6781602" y="1105670"/>
                </a:cubicBezTo>
                <a:cubicBezTo>
                  <a:pt x="6780138" y="1105002"/>
                  <a:pt x="6778541" y="1104736"/>
                  <a:pt x="6776544" y="1104736"/>
                </a:cubicBezTo>
                <a:close/>
                <a:moveTo>
                  <a:pt x="6558899" y="1104736"/>
                </a:moveTo>
                <a:cubicBezTo>
                  <a:pt x="6553042" y="1104736"/>
                  <a:pt x="6550512" y="1106737"/>
                  <a:pt x="6548915" y="1108331"/>
                </a:cubicBezTo>
                <a:cubicBezTo>
                  <a:pt x="6546386" y="1110994"/>
                  <a:pt x="6545321" y="1113794"/>
                  <a:pt x="6545321" y="1117780"/>
                </a:cubicBezTo>
                <a:cubicBezTo>
                  <a:pt x="6545321" y="1121908"/>
                  <a:pt x="6546386" y="1124708"/>
                  <a:pt x="6548915" y="1127230"/>
                </a:cubicBezTo>
                <a:cubicBezTo>
                  <a:pt x="6550512" y="1128836"/>
                  <a:pt x="6553042" y="1130693"/>
                  <a:pt x="6558899" y="1130693"/>
                </a:cubicBezTo>
                <a:cubicBezTo>
                  <a:pt x="6560895" y="1130693"/>
                  <a:pt x="6562759" y="1130434"/>
                  <a:pt x="6564223" y="1129635"/>
                </a:cubicBezTo>
                <a:cubicBezTo>
                  <a:pt x="6565687" y="1129096"/>
                  <a:pt x="6567019" y="1128297"/>
                  <a:pt x="6567950" y="1127230"/>
                </a:cubicBezTo>
                <a:cubicBezTo>
                  <a:pt x="6569015" y="1126167"/>
                  <a:pt x="6569947" y="1124843"/>
                  <a:pt x="6570612" y="1123107"/>
                </a:cubicBezTo>
                <a:cubicBezTo>
                  <a:pt x="6571412" y="1121509"/>
                  <a:pt x="6571677" y="1119645"/>
                  <a:pt x="6571677" y="1117655"/>
                </a:cubicBezTo>
                <a:cubicBezTo>
                  <a:pt x="6571677" y="1115791"/>
                  <a:pt x="6571278" y="1114055"/>
                  <a:pt x="6570612" y="1112457"/>
                </a:cubicBezTo>
                <a:cubicBezTo>
                  <a:pt x="6569947" y="1110864"/>
                  <a:pt x="6569015" y="1109530"/>
                  <a:pt x="6567950" y="1108331"/>
                </a:cubicBezTo>
                <a:cubicBezTo>
                  <a:pt x="6566885" y="1107266"/>
                  <a:pt x="6565554" y="1106339"/>
                  <a:pt x="6563956" y="1105670"/>
                </a:cubicBezTo>
                <a:cubicBezTo>
                  <a:pt x="6562492" y="1105002"/>
                  <a:pt x="6560895" y="1104736"/>
                  <a:pt x="6558899" y="1104736"/>
                </a:cubicBezTo>
                <a:close/>
                <a:moveTo>
                  <a:pt x="6341253" y="1104736"/>
                </a:moveTo>
                <a:cubicBezTo>
                  <a:pt x="6335396" y="1104736"/>
                  <a:pt x="6332867" y="1106737"/>
                  <a:pt x="6331270" y="1108331"/>
                </a:cubicBezTo>
                <a:cubicBezTo>
                  <a:pt x="6328740" y="1110994"/>
                  <a:pt x="6327675" y="1113794"/>
                  <a:pt x="6327675" y="1117780"/>
                </a:cubicBezTo>
                <a:cubicBezTo>
                  <a:pt x="6327675" y="1121908"/>
                  <a:pt x="6328740" y="1124708"/>
                  <a:pt x="6331270" y="1127230"/>
                </a:cubicBezTo>
                <a:cubicBezTo>
                  <a:pt x="6332867" y="1128836"/>
                  <a:pt x="6335396" y="1130693"/>
                  <a:pt x="6341253" y="1130693"/>
                </a:cubicBezTo>
                <a:cubicBezTo>
                  <a:pt x="6343250" y="1130693"/>
                  <a:pt x="6345114" y="1130434"/>
                  <a:pt x="6346578" y="1129635"/>
                </a:cubicBezTo>
                <a:cubicBezTo>
                  <a:pt x="6348042" y="1129096"/>
                  <a:pt x="6349373" y="1128297"/>
                  <a:pt x="6350305" y="1127230"/>
                </a:cubicBezTo>
                <a:cubicBezTo>
                  <a:pt x="6351370" y="1126167"/>
                  <a:pt x="6352302" y="1124843"/>
                  <a:pt x="6352968" y="1123107"/>
                </a:cubicBezTo>
                <a:cubicBezTo>
                  <a:pt x="6353766" y="1121509"/>
                  <a:pt x="6354033" y="1119645"/>
                  <a:pt x="6354033" y="1117655"/>
                </a:cubicBezTo>
                <a:cubicBezTo>
                  <a:pt x="6354033" y="1115791"/>
                  <a:pt x="6353633" y="1114055"/>
                  <a:pt x="6352968" y="1112457"/>
                </a:cubicBezTo>
                <a:cubicBezTo>
                  <a:pt x="6352302" y="1110864"/>
                  <a:pt x="6351370" y="1109530"/>
                  <a:pt x="6350305" y="1108331"/>
                </a:cubicBezTo>
                <a:cubicBezTo>
                  <a:pt x="6349241" y="1107266"/>
                  <a:pt x="6347909" y="1106339"/>
                  <a:pt x="6346312" y="1105670"/>
                </a:cubicBezTo>
                <a:cubicBezTo>
                  <a:pt x="6344848" y="1105002"/>
                  <a:pt x="6343250" y="1104736"/>
                  <a:pt x="6341253" y="1104736"/>
                </a:cubicBezTo>
                <a:close/>
                <a:moveTo>
                  <a:pt x="6123608" y="1104736"/>
                </a:moveTo>
                <a:cubicBezTo>
                  <a:pt x="6117751" y="1104736"/>
                  <a:pt x="6115221" y="1106737"/>
                  <a:pt x="6113624" y="1108331"/>
                </a:cubicBezTo>
                <a:cubicBezTo>
                  <a:pt x="6111095" y="1110994"/>
                  <a:pt x="6110030" y="1113794"/>
                  <a:pt x="6110030" y="1117780"/>
                </a:cubicBezTo>
                <a:cubicBezTo>
                  <a:pt x="6110030" y="1121908"/>
                  <a:pt x="6111095" y="1124708"/>
                  <a:pt x="6113624" y="1127230"/>
                </a:cubicBezTo>
                <a:cubicBezTo>
                  <a:pt x="6115221" y="1128836"/>
                  <a:pt x="6117751" y="1130693"/>
                  <a:pt x="6123608" y="1130693"/>
                </a:cubicBezTo>
                <a:cubicBezTo>
                  <a:pt x="6125737" y="1130693"/>
                  <a:pt x="6127468" y="1130434"/>
                  <a:pt x="6128932" y="1129635"/>
                </a:cubicBezTo>
                <a:cubicBezTo>
                  <a:pt x="6130530" y="1129096"/>
                  <a:pt x="6131728" y="1128297"/>
                  <a:pt x="6132659" y="1127230"/>
                </a:cubicBezTo>
                <a:cubicBezTo>
                  <a:pt x="6133724" y="1126167"/>
                  <a:pt x="6134656" y="1124843"/>
                  <a:pt x="6135322" y="1123107"/>
                </a:cubicBezTo>
                <a:cubicBezTo>
                  <a:pt x="6135987" y="1121509"/>
                  <a:pt x="6136387" y="1119645"/>
                  <a:pt x="6136387" y="1117655"/>
                </a:cubicBezTo>
                <a:cubicBezTo>
                  <a:pt x="6136387" y="1115791"/>
                  <a:pt x="6135987" y="1114055"/>
                  <a:pt x="6135322" y="1112457"/>
                </a:cubicBezTo>
                <a:cubicBezTo>
                  <a:pt x="6134656" y="1110864"/>
                  <a:pt x="6133724" y="1109530"/>
                  <a:pt x="6132659" y="1108331"/>
                </a:cubicBezTo>
                <a:cubicBezTo>
                  <a:pt x="6131594" y="1107266"/>
                  <a:pt x="6130263" y="1106339"/>
                  <a:pt x="6128666" y="1105670"/>
                </a:cubicBezTo>
                <a:cubicBezTo>
                  <a:pt x="6127202" y="1105002"/>
                  <a:pt x="6125604" y="1104736"/>
                  <a:pt x="6123608" y="1104736"/>
                </a:cubicBezTo>
                <a:close/>
                <a:moveTo>
                  <a:pt x="5905963" y="1104736"/>
                </a:moveTo>
                <a:cubicBezTo>
                  <a:pt x="5900106" y="1104736"/>
                  <a:pt x="5897576" y="1106737"/>
                  <a:pt x="5895979" y="1108331"/>
                </a:cubicBezTo>
                <a:cubicBezTo>
                  <a:pt x="5893450" y="1110994"/>
                  <a:pt x="5892385" y="1113794"/>
                  <a:pt x="5892385" y="1117780"/>
                </a:cubicBezTo>
                <a:cubicBezTo>
                  <a:pt x="5892385" y="1121908"/>
                  <a:pt x="5893450" y="1124708"/>
                  <a:pt x="5895979" y="1127230"/>
                </a:cubicBezTo>
                <a:cubicBezTo>
                  <a:pt x="5897576" y="1128836"/>
                  <a:pt x="5900106" y="1130693"/>
                  <a:pt x="5905963" y="1130693"/>
                </a:cubicBezTo>
                <a:cubicBezTo>
                  <a:pt x="5908093" y="1130693"/>
                  <a:pt x="5909823" y="1130434"/>
                  <a:pt x="5911287" y="1129635"/>
                </a:cubicBezTo>
                <a:cubicBezTo>
                  <a:pt x="5912751" y="1129096"/>
                  <a:pt x="5914083" y="1128297"/>
                  <a:pt x="5915014" y="1127230"/>
                </a:cubicBezTo>
                <a:cubicBezTo>
                  <a:pt x="5916079" y="1126167"/>
                  <a:pt x="5917011" y="1124843"/>
                  <a:pt x="5917677" y="1123107"/>
                </a:cubicBezTo>
                <a:cubicBezTo>
                  <a:pt x="5918342" y="1121509"/>
                  <a:pt x="5918742" y="1119645"/>
                  <a:pt x="5918742" y="1117655"/>
                </a:cubicBezTo>
                <a:cubicBezTo>
                  <a:pt x="5918742" y="1115791"/>
                  <a:pt x="5918342" y="1114055"/>
                  <a:pt x="5917677" y="1112457"/>
                </a:cubicBezTo>
                <a:cubicBezTo>
                  <a:pt x="5917011" y="1110864"/>
                  <a:pt x="5916079" y="1109530"/>
                  <a:pt x="5915014" y="1108331"/>
                </a:cubicBezTo>
                <a:cubicBezTo>
                  <a:pt x="5913950" y="1107266"/>
                  <a:pt x="5912618" y="1106339"/>
                  <a:pt x="5911021" y="1105670"/>
                </a:cubicBezTo>
                <a:cubicBezTo>
                  <a:pt x="5909557" y="1105002"/>
                  <a:pt x="5907826" y="1104736"/>
                  <a:pt x="5905963" y="1104736"/>
                </a:cubicBezTo>
                <a:close/>
                <a:moveTo>
                  <a:pt x="5688451" y="1104736"/>
                </a:moveTo>
                <a:cubicBezTo>
                  <a:pt x="5682594" y="1104736"/>
                  <a:pt x="5680064" y="1106737"/>
                  <a:pt x="5678467" y="1108331"/>
                </a:cubicBezTo>
                <a:cubicBezTo>
                  <a:pt x="5675938" y="1110994"/>
                  <a:pt x="5674873" y="1113794"/>
                  <a:pt x="5674873" y="1117780"/>
                </a:cubicBezTo>
                <a:cubicBezTo>
                  <a:pt x="5674873" y="1121908"/>
                  <a:pt x="5675938" y="1124708"/>
                  <a:pt x="5678467" y="1127230"/>
                </a:cubicBezTo>
                <a:cubicBezTo>
                  <a:pt x="5680064" y="1128836"/>
                  <a:pt x="5682594" y="1130693"/>
                  <a:pt x="5688451" y="1130693"/>
                </a:cubicBezTo>
                <a:cubicBezTo>
                  <a:pt x="5690447" y="1130693"/>
                  <a:pt x="5692178" y="1130434"/>
                  <a:pt x="5693775" y="1129635"/>
                </a:cubicBezTo>
                <a:cubicBezTo>
                  <a:pt x="5695239" y="1129096"/>
                  <a:pt x="5696571" y="1128297"/>
                  <a:pt x="5697502" y="1127230"/>
                </a:cubicBezTo>
                <a:cubicBezTo>
                  <a:pt x="5698567" y="1126167"/>
                  <a:pt x="5699499" y="1124843"/>
                  <a:pt x="5700165" y="1123107"/>
                </a:cubicBezTo>
                <a:cubicBezTo>
                  <a:pt x="5700830" y="1121509"/>
                  <a:pt x="5701230" y="1119645"/>
                  <a:pt x="5701230" y="1117655"/>
                </a:cubicBezTo>
                <a:cubicBezTo>
                  <a:pt x="5701230" y="1115791"/>
                  <a:pt x="5700830" y="1114055"/>
                  <a:pt x="5700165" y="1112457"/>
                </a:cubicBezTo>
                <a:cubicBezTo>
                  <a:pt x="5699499" y="1110864"/>
                  <a:pt x="5698567" y="1109530"/>
                  <a:pt x="5697502" y="1108331"/>
                </a:cubicBezTo>
                <a:cubicBezTo>
                  <a:pt x="5696437" y="1107266"/>
                  <a:pt x="5695106" y="1106339"/>
                  <a:pt x="5693509" y="1105670"/>
                </a:cubicBezTo>
                <a:cubicBezTo>
                  <a:pt x="5692045" y="1105002"/>
                  <a:pt x="5690314" y="1104736"/>
                  <a:pt x="5688451" y="1104736"/>
                </a:cubicBezTo>
                <a:close/>
                <a:moveTo>
                  <a:pt x="5470806" y="1104736"/>
                </a:moveTo>
                <a:cubicBezTo>
                  <a:pt x="5464949" y="1104736"/>
                  <a:pt x="5462419" y="1106737"/>
                  <a:pt x="5460822" y="1108331"/>
                </a:cubicBezTo>
                <a:cubicBezTo>
                  <a:pt x="5458293" y="1110994"/>
                  <a:pt x="5457228" y="1113794"/>
                  <a:pt x="5457228" y="1117780"/>
                </a:cubicBezTo>
                <a:cubicBezTo>
                  <a:pt x="5457228" y="1121908"/>
                  <a:pt x="5458293" y="1124708"/>
                  <a:pt x="5460822" y="1127230"/>
                </a:cubicBezTo>
                <a:cubicBezTo>
                  <a:pt x="5462419" y="1128836"/>
                  <a:pt x="5464949" y="1130693"/>
                  <a:pt x="5470806" y="1130693"/>
                </a:cubicBezTo>
                <a:cubicBezTo>
                  <a:pt x="5472802" y="1130693"/>
                  <a:pt x="5474666" y="1130434"/>
                  <a:pt x="5476130" y="1129635"/>
                </a:cubicBezTo>
                <a:cubicBezTo>
                  <a:pt x="5477594" y="1129096"/>
                  <a:pt x="5478926" y="1128297"/>
                  <a:pt x="5479857" y="1127230"/>
                </a:cubicBezTo>
                <a:cubicBezTo>
                  <a:pt x="5480922" y="1126167"/>
                  <a:pt x="5481854" y="1124843"/>
                  <a:pt x="5482520" y="1123107"/>
                </a:cubicBezTo>
                <a:cubicBezTo>
                  <a:pt x="5483319" y="1121509"/>
                  <a:pt x="5483585" y="1119645"/>
                  <a:pt x="5483585" y="1117655"/>
                </a:cubicBezTo>
                <a:cubicBezTo>
                  <a:pt x="5483585" y="1115791"/>
                  <a:pt x="5483185" y="1114055"/>
                  <a:pt x="5482520" y="1112457"/>
                </a:cubicBezTo>
                <a:cubicBezTo>
                  <a:pt x="5481854" y="1110864"/>
                  <a:pt x="5480922" y="1109530"/>
                  <a:pt x="5479857" y="1108331"/>
                </a:cubicBezTo>
                <a:cubicBezTo>
                  <a:pt x="5478793" y="1107266"/>
                  <a:pt x="5477461" y="1106339"/>
                  <a:pt x="5475864" y="1105670"/>
                </a:cubicBezTo>
                <a:cubicBezTo>
                  <a:pt x="5474400" y="1105002"/>
                  <a:pt x="5472669" y="1104736"/>
                  <a:pt x="5470806" y="1104736"/>
                </a:cubicBezTo>
                <a:close/>
                <a:moveTo>
                  <a:pt x="5253160" y="1104736"/>
                </a:moveTo>
                <a:cubicBezTo>
                  <a:pt x="5247303" y="1104736"/>
                  <a:pt x="5244774" y="1106737"/>
                  <a:pt x="5243177" y="1108331"/>
                </a:cubicBezTo>
                <a:cubicBezTo>
                  <a:pt x="5240647" y="1110994"/>
                  <a:pt x="5239583" y="1113794"/>
                  <a:pt x="5239583" y="1117780"/>
                </a:cubicBezTo>
                <a:cubicBezTo>
                  <a:pt x="5239583" y="1121908"/>
                  <a:pt x="5240647" y="1124708"/>
                  <a:pt x="5243177" y="1127230"/>
                </a:cubicBezTo>
                <a:cubicBezTo>
                  <a:pt x="5244774" y="1128836"/>
                  <a:pt x="5247303" y="1130693"/>
                  <a:pt x="5253160" y="1130693"/>
                </a:cubicBezTo>
                <a:cubicBezTo>
                  <a:pt x="5255157" y="1130693"/>
                  <a:pt x="5257021" y="1130434"/>
                  <a:pt x="5258485" y="1129635"/>
                </a:cubicBezTo>
                <a:cubicBezTo>
                  <a:pt x="5259949" y="1129096"/>
                  <a:pt x="5261280" y="1128297"/>
                  <a:pt x="5262212" y="1127230"/>
                </a:cubicBezTo>
                <a:cubicBezTo>
                  <a:pt x="5263277" y="1126167"/>
                  <a:pt x="5264209" y="1124843"/>
                  <a:pt x="5264875" y="1123107"/>
                </a:cubicBezTo>
                <a:cubicBezTo>
                  <a:pt x="5265673" y="1121509"/>
                  <a:pt x="5265939" y="1119645"/>
                  <a:pt x="5265939" y="1117655"/>
                </a:cubicBezTo>
                <a:cubicBezTo>
                  <a:pt x="5265939" y="1115791"/>
                  <a:pt x="5265540" y="1114055"/>
                  <a:pt x="5264875" y="1112457"/>
                </a:cubicBezTo>
                <a:cubicBezTo>
                  <a:pt x="5264209" y="1110864"/>
                  <a:pt x="5263277" y="1109530"/>
                  <a:pt x="5262212" y="1108331"/>
                </a:cubicBezTo>
                <a:cubicBezTo>
                  <a:pt x="5261147" y="1107266"/>
                  <a:pt x="5259816" y="1106339"/>
                  <a:pt x="5258219" y="1105670"/>
                </a:cubicBezTo>
                <a:cubicBezTo>
                  <a:pt x="5256754" y="1105002"/>
                  <a:pt x="5255024" y="1104736"/>
                  <a:pt x="5253160" y="1104736"/>
                </a:cubicBezTo>
                <a:close/>
                <a:moveTo>
                  <a:pt x="5035515" y="1104736"/>
                </a:moveTo>
                <a:cubicBezTo>
                  <a:pt x="5029658" y="1104736"/>
                  <a:pt x="5027129" y="1106737"/>
                  <a:pt x="5025532" y="1108331"/>
                </a:cubicBezTo>
                <a:cubicBezTo>
                  <a:pt x="5023002" y="1110994"/>
                  <a:pt x="5021938" y="1113794"/>
                  <a:pt x="5021938" y="1117780"/>
                </a:cubicBezTo>
                <a:cubicBezTo>
                  <a:pt x="5021938" y="1121908"/>
                  <a:pt x="5023002" y="1124708"/>
                  <a:pt x="5025532" y="1127230"/>
                </a:cubicBezTo>
                <a:cubicBezTo>
                  <a:pt x="5027129" y="1128836"/>
                  <a:pt x="5029658" y="1130693"/>
                  <a:pt x="5035515" y="1130693"/>
                </a:cubicBezTo>
                <a:cubicBezTo>
                  <a:pt x="5037645" y="1130693"/>
                  <a:pt x="5039376" y="1130434"/>
                  <a:pt x="5040840" y="1129635"/>
                </a:cubicBezTo>
                <a:cubicBezTo>
                  <a:pt x="5042304" y="1129096"/>
                  <a:pt x="5043636" y="1128297"/>
                  <a:pt x="5044567" y="1127230"/>
                </a:cubicBezTo>
                <a:cubicBezTo>
                  <a:pt x="5045632" y="1126167"/>
                  <a:pt x="5046564" y="1124843"/>
                  <a:pt x="5047230" y="1123107"/>
                </a:cubicBezTo>
                <a:cubicBezTo>
                  <a:pt x="5048028" y="1121509"/>
                  <a:pt x="5048294" y="1119645"/>
                  <a:pt x="5048294" y="1117655"/>
                </a:cubicBezTo>
                <a:cubicBezTo>
                  <a:pt x="5048294" y="1115791"/>
                  <a:pt x="5047895" y="1114055"/>
                  <a:pt x="5047230" y="1112457"/>
                </a:cubicBezTo>
                <a:cubicBezTo>
                  <a:pt x="5046564" y="1110864"/>
                  <a:pt x="5045632" y="1109530"/>
                  <a:pt x="5044567" y="1108331"/>
                </a:cubicBezTo>
                <a:cubicBezTo>
                  <a:pt x="5043502" y="1107266"/>
                  <a:pt x="5042171" y="1106339"/>
                  <a:pt x="5040574" y="1105670"/>
                </a:cubicBezTo>
                <a:cubicBezTo>
                  <a:pt x="5039110" y="1105002"/>
                  <a:pt x="5037379" y="1104736"/>
                  <a:pt x="5035515" y="1104736"/>
                </a:cubicBezTo>
                <a:close/>
                <a:moveTo>
                  <a:pt x="4817870" y="1104736"/>
                </a:moveTo>
                <a:cubicBezTo>
                  <a:pt x="4812013" y="1104736"/>
                  <a:pt x="4809484" y="1106737"/>
                  <a:pt x="4807887" y="1108331"/>
                </a:cubicBezTo>
                <a:cubicBezTo>
                  <a:pt x="4805357" y="1110994"/>
                  <a:pt x="4804293" y="1113794"/>
                  <a:pt x="4804293" y="1117780"/>
                </a:cubicBezTo>
                <a:cubicBezTo>
                  <a:pt x="4804293" y="1121908"/>
                  <a:pt x="4805357" y="1124708"/>
                  <a:pt x="4807887" y="1127230"/>
                </a:cubicBezTo>
                <a:cubicBezTo>
                  <a:pt x="4809484" y="1128836"/>
                  <a:pt x="4812013" y="1130693"/>
                  <a:pt x="4817870" y="1130693"/>
                </a:cubicBezTo>
                <a:cubicBezTo>
                  <a:pt x="4820000" y="1130693"/>
                  <a:pt x="4821731" y="1130434"/>
                  <a:pt x="4823195" y="1129635"/>
                </a:cubicBezTo>
                <a:cubicBezTo>
                  <a:pt x="4824659" y="1129096"/>
                  <a:pt x="4825857" y="1128297"/>
                  <a:pt x="4826922" y="1127230"/>
                </a:cubicBezTo>
                <a:cubicBezTo>
                  <a:pt x="4827987" y="1126167"/>
                  <a:pt x="4828919" y="1124843"/>
                  <a:pt x="4829585" y="1123107"/>
                </a:cubicBezTo>
                <a:cubicBezTo>
                  <a:pt x="4830383" y="1121509"/>
                  <a:pt x="4830650" y="1119645"/>
                  <a:pt x="4830650" y="1117655"/>
                </a:cubicBezTo>
                <a:cubicBezTo>
                  <a:pt x="4830650" y="1115791"/>
                  <a:pt x="4830250" y="1114055"/>
                  <a:pt x="4829585" y="1112457"/>
                </a:cubicBezTo>
                <a:cubicBezTo>
                  <a:pt x="4828919" y="1110864"/>
                  <a:pt x="4827987" y="1109530"/>
                  <a:pt x="4826922" y="1108331"/>
                </a:cubicBezTo>
                <a:cubicBezTo>
                  <a:pt x="4825857" y="1107266"/>
                  <a:pt x="4824526" y="1106339"/>
                  <a:pt x="4822929" y="1105670"/>
                </a:cubicBezTo>
                <a:cubicBezTo>
                  <a:pt x="4821465" y="1105002"/>
                  <a:pt x="4819734" y="1104736"/>
                  <a:pt x="4817870" y="1104736"/>
                </a:cubicBezTo>
                <a:close/>
                <a:moveTo>
                  <a:pt x="4600226" y="1104736"/>
                </a:moveTo>
                <a:cubicBezTo>
                  <a:pt x="4594369" y="1104736"/>
                  <a:pt x="4591839" y="1106737"/>
                  <a:pt x="4590242" y="1108331"/>
                </a:cubicBezTo>
                <a:cubicBezTo>
                  <a:pt x="4587713" y="1110994"/>
                  <a:pt x="4586648" y="1113794"/>
                  <a:pt x="4586648" y="1117780"/>
                </a:cubicBezTo>
                <a:cubicBezTo>
                  <a:pt x="4586648" y="1121908"/>
                  <a:pt x="4587713" y="1124708"/>
                  <a:pt x="4590242" y="1127230"/>
                </a:cubicBezTo>
                <a:cubicBezTo>
                  <a:pt x="4591839" y="1128836"/>
                  <a:pt x="4594369" y="1130693"/>
                  <a:pt x="4600226" y="1130693"/>
                </a:cubicBezTo>
                <a:cubicBezTo>
                  <a:pt x="4602355" y="1130693"/>
                  <a:pt x="4604086" y="1130434"/>
                  <a:pt x="4605550" y="1129635"/>
                </a:cubicBezTo>
                <a:cubicBezTo>
                  <a:pt x="4607148" y="1129096"/>
                  <a:pt x="4608346" y="1128297"/>
                  <a:pt x="4609277" y="1127230"/>
                </a:cubicBezTo>
                <a:cubicBezTo>
                  <a:pt x="4610342" y="1126167"/>
                  <a:pt x="4611274" y="1124843"/>
                  <a:pt x="4611940" y="1123107"/>
                </a:cubicBezTo>
                <a:cubicBezTo>
                  <a:pt x="4612605" y="1121509"/>
                  <a:pt x="4613005" y="1119645"/>
                  <a:pt x="4613005" y="1117655"/>
                </a:cubicBezTo>
                <a:cubicBezTo>
                  <a:pt x="4613005" y="1115791"/>
                  <a:pt x="4612605" y="1114055"/>
                  <a:pt x="4611940" y="1112457"/>
                </a:cubicBezTo>
                <a:cubicBezTo>
                  <a:pt x="4611274" y="1110864"/>
                  <a:pt x="4610342" y="1109530"/>
                  <a:pt x="4609277" y="1108331"/>
                </a:cubicBezTo>
                <a:cubicBezTo>
                  <a:pt x="4608212" y="1107266"/>
                  <a:pt x="4606881" y="1106339"/>
                  <a:pt x="4605284" y="1105670"/>
                </a:cubicBezTo>
                <a:cubicBezTo>
                  <a:pt x="4603820" y="1105002"/>
                  <a:pt x="4602222" y="1104736"/>
                  <a:pt x="4600226" y="1104736"/>
                </a:cubicBezTo>
                <a:close/>
                <a:moveTo>
                  <a:pt x="4382713" y="1104736"/>
                </a:moveTo>
                <a:cubicBezTo>
                  <a:pt x="4376857" y="1104736"/>
                  <a:pt x="4374327" y="1106737"/>
                  <a:pt x="4372730" y="1108331"/>
                </a:cubicBezTo>
                <a:cubicBezTo>
                  <a:pt x="4370201" y="1110994"/>
                  <a:pt x="4369136" y="1113794"/>
                  <a:pt x="4369136" y="1117780"/>
                </a:cubicBezTo>
                <a:cubicBezTo>
                  <a:pt x="4369136" y="1121908"/>
                  <a:pt x="4370201" y="1124708"/>
                  <a:pt x="4372730" y="1127230"/>
                </a:cubicBezTo>
                <a:cubicBezTo>
                  <a:pt x="4374327" y="1128836"/>
                  <a:pt x="4376857" y="1130693"/>
                  <a:pt x="4382713" y="1130693"/>
                </a:cubicBezTo>
                <a:cubicBezTo>
                  <a:pt x="4384710" y="1130693"/>
                  <a:pt x="4386441" y="1130434"/>
                  <a:pt x="4388038" y="1129635"/>
                </a:cubicBezTo>
                <a:cubicBezTo>
                  <a:pt x="4389502" y="1129096"/>
                  <a:pt x="4390834" y="1128297"/>
                  <a:pt x="4391765" y="1127230"/>
                </a:cubicBezTo>
                <a:cubicBezTo>
                  <a:pt x="4392830" y="1126167"/>
                  <a:pt x="4393762" y="1124843"/>
                  <a:pt x="4394428" y="1123107"/>
                </a:cubicBezTo>
                <a:cubicBezTo>
                  <a:pt x="4395093" y="1121509"/>
                  <a:pt x="4395493" y="1119645"/>
                  <a:pt x="4395493" y="1117655"/>
                </a:cubicBezTo>
                <a:cubicBezTo>
                  <a:pt x="4395493" y="1115791"/>
                  <a:pt x="4395093" y="1114055"/>
                  <a:pt x="4394428" y="1112457"/>
                </a:cubicBezTo>
                <a:cubicBezTo>
                  <a:pt x="4393762" y="1110864"/>
                  <a:pt x="4392830" y="1109530"/>
                  <a:pt x="4391765" y="1108331"/>
                </a:cubicBezTo>
                <a:cubicBezTo>
                  <a:pt x="4390700" y="1107266"/>
                  <a:pt x="4389369" y="1106339"/>
                  <a:pt x="4387772" y="1105670"/>
                </a:cubicBezTo>
                <a:cubicBezTo>
                  <a:pt x="4386308" y="1105002"/>
                  <a:pt x="4384710" y="1104736"/>
                  <a:pt x="4382713" y="1104736"/>
                </a:cubicBezTo>
                <a:close/>
                <a:moveTo>
                  <a:pt x="4165068" y="1104736"/>
                </a:moveTo>
                <a:cubicBezTo>
                  <a:pt x="4159211" y="1104736"/>
                  <a:pt x="4156681" y="1106737"/>
                  <a:pt x="4155084" y="1108331"/>
                </a:cubicBezTo>
                <a:cubicBezTo>
                  <a:pt x="4152555" y="1110994"/>
                  <a:pt x="4151490" y="1113794"/>
                  <a:pt x="4151490" y="1117780"/>
                </a:cubicBezTo>
                <a:cubicBezTo>
                  <a:pt x="4151490" y="1121908"/>
                  <a:pt x="4152555" y="1124708"/>
                  <a:pt x="4155084" y="1127230"/>
                </a:cubicBezTo>
                <a:cubicBezTo>
                  <a:pt x="4156681" y="1128836"/>
                  <a:pt x="4159211" y="1130693"/>
                  <a:pt x="4165068" y="1130693"/>
                </a:cubicBezTo>
                <a:cubicBezTo>
                  <a:pt x="4167064" y="1130693"/>
                  <a:pt x="4168928" y="1130434"/>
                  <a:pt x="4170392" y="1129635"/>
                </a:cubicBezTo>
                <a:cubicBezTo>
                  <a:pt x="4171856" y="1129096"/>
                  <a:pt x="4173188" y="1128297"/>
                  <a:pt x="4174119" y="1127230"/>
                </a:cubicBezTo>
                <a:cubicBezTo>
                  <a:pt x="4175184" y="1126167"/>
                  <a:pt x="4176116" y="1124843"/>
                  <a:pt x="4176782" y="1123107"/>
                </a:cubicBezTo>
                <a:cubicBezTo>
                  <a:pt x="4177447" y="1121509"/>
                  <a:pt x="4177847" y="1119645"/>
                  <a:pt x="4177847" y="1117655"/>
                </a:cubicBezTo>
                <a:cubicBezTo>
                  <a:pt x="4177847" y="1115791"/>
                  <a:pt x="4177447" y="1114055"/>
                  <a:pt x="4176782" y="1112457"/>
                </a:cubicBezTo>
                <a:cubicBezTo>
                  <a:pt x="4176116" y="1110864"/>
                  <a:pt x="4175184" y="1109530"/>
                  <a:pt x="4174119" y="1108331"/>
                </a:cubicBezTo>
                <a:cubicBezTo>
                  <a:pt x="4173054" y="1107266"/>
                  <a:pt x="4171723" y="1106339"/>
                  <a:pt x="4170126" y="1105670"/>
                </a:cubicBezTo>
                <a:cubicBezTo>
                  <a:pt x="4168662" y="1105002"/>
                  <a:pt x="4167064" y="1104736"/>
                  <a:pt x="4165068" y="1104736"/>
                </a:cubicBezTo>
                <a:close/>
                <a:moveTo>
                  <a:pt x="3947489" y="1104736"/>
                </a:moveTo>
                <a:cubicBezTo>
                  <a:pt x="3941631" y="1104736"/>
                  <a:pt x="3939103" y="1106737"/>
                  <a:pt x="3937506" y="1108331"/>
                </a:cubicBezTo>
                <a:cubicBezTo>
                  <a:pt x="3934974" y="1110994"/>
                  <a:pt x="3933911" y="1113794"/>
                  <a:pt x="3933911" y="1117780"/>
                </a:cubicBezTo>
                <a:cubicBezTo>
                  <a:pt x="3933911" y="1121908"/>
                  <a:pt x="3934974" y="1124708"/>
                  <a:pt x="3937506" y="1127230"/>
                </a:cubicBezTo>
                <a:cubicBezTo>
                  <a:pt x="3939103" y="1128836"/>
                  <a:pt x="3941631" y="1130693"/>
                  <a:pt x="3947489" y="1130693"/>
                </a:cubicBezTo>
                <a:cubicBezTo>
                  <a:pt x="3949486" y="1130693"/>
                  <a:pt x="3951349" y="1130434"/>
                  <a:pt x="3952814" y="1129635"/>
                </a:cubicBezTo>
                <a:cubicBezTo>
                  <a:pt x="3954278" y="1129096"/>
                  <a:pt x="3955608" y="1128297"/>
                  <a:pt x="3956541" y="1127230"/>
                </a:cubicBezTo>
                <a:cubicBezTo>
                  <a:pt x="3957606" y="1126167"/>
                  <a:pt x="3958538" y="1124843"/>
                  <a:pt x="3959204" y="1123107"/>
                </a:cubicBezTo>
                <a:cubicBezTo>
                  <a:pt x="3959869" y="1121509"/>
                  <a:pt x="3960268" y="1119645"/>
                  <a:pt x="3960268" y="1117655"/>
                </a:cubicBezTo>
                <a:cubicBezTo>
                  <a:pt x="3960268" y="1115791"/>
                  <a:pt x="3959869" y="1114055"/>
                  <a:pt x="3959204" y="1112457"/>
                </a:cubicBezTo>
                <a:cubicBezTo>
                  <a:pt x="3958538" y="1110864"/>
                  <a:pt x="3957606" y="1109530"/>
                  <a:pt x="3956541" y="1108331"/>
                </a:cubicBezTo>
                <a:cubicBezTo>
                  <a:pt x="3955476" y="1107266"/>
                  <a:pt x="3954144" y="1106339"/>
                  <a:pt x="3952548" y="1105670"/>
                </a:cubicBezTo>
                <a:cubicBezTo>
                  <a:pt x="3951082" y="1105002"/>
                  <a:pt x="3949486" y="1104736"/>
                  <a:pt x="3947489" y="1104736"/>
                </a:cubicBezTo>
                <a:close/>
                <a:moveTo>
                  <a:pt x="3729840" y="1104736"/>
                </a:moveTo>
                <a:cubicBezTo>
                  <a:pt x="3723983" y="1104736"/>
                  <a:pt x="3721454" y="1106737"/>
                  <a:pt x="3719854" y="1108331"/>
                </a:cubicBezTo>
                <a:cubicBezTo>
                  <a:pt x="3717325" y="1110994"/>
                  <a:pt x="3716261" y="1113794"/>
                  <a:pt x="3716261" y="1117780"/>
                </a:cubicBezTo>
                <a:cubicBezTo>
                  <a:pt x="3716261" y="1121908"/>
                  <a:pt x="3717325" y="1124708"/>
                  <a:pt x="3719854" y="1127230"/>
                </a:cubicBezTo>
                <a:cubicBezTo>
                  <a:pt x="3721454" y="1128836"/>
                  <a:pt x="3723983" y="1130693"/>
                  <a:pt x="3729840" y="1130693"/>
                </a:cubicBezTo>
                <a:cubicBezTo>
                  <a:pt x="3731969" y="1130693"/>
                  <a:pt x="3733701" y="1130434"/>
                  <a:pt x="3735165" y="1129635"/>
                </a:cubicBezTo>
                <a:cubicBezTo>
                  <a:pt x="3736629" y="1129096"/>
                  <a:pt x="3737961" y="1128297"/>
                  <a:pt x="3738892" y="1127230"/>
                </a:cubicBezTo>
                <a:cubicBezTo>
                  <a:pt x="3739957" y="1126167"/>
                  <a:pt x="3740889" y="1124843"/>
                  <a:pt x="3741555" y="1123107"/>
                </a:cubicBezTo>
                <a:cubicBezTo>
                  <a:pt x="3742220" y="1121509"/>
                  <a:pt x="3742619" y="1119645"/>
                  <a:pt x="3742619" y="1117655"/>
                </a:cubicBezTo>
                <a:cubicBezTo>
                  <a:pt x="3742619" y="1115791"/>
                  <a:pt x="3742220" y="1114055"/>
                  <a:pt x="3741555" y="1112457"/>
                </a:cubicBezTo>
                <a:cubicBezTo>
                  <a:pt x="3740889" y="1110864"/>
                  <a:pt x="3739957" y="1109530"/>
                  <a:pt x="3738892" y="1108331"/>
                </a:cubicBezTo>
                <a:cubicBezTo>
                  <a:pt x="3737827" y="1107266"/>
                  <a:pt x="3736496" y="1106339"/>
                  <a:pt x="3734899" y="1105670"/>
                </a:cubicBezTo>
                <a:cubicBezTo>
                  <a:pt x="3733434" y="1105002"/>
                  <a:pt x="3731837" y="1104736"/>
                  <a:pt x="3729840" y="1104736"/>
                </a:cubicBezTo>
                <a:close/>
                <a:moveTo>
                  <a:pt x="3512191" y="1104736"/>
                </a:moveTo>
                <a:cubicBezTo>
                  <a:pt x="3506335" y="1104736"/>
                  <a:pt x="3503805" y="1106737"/>
                  <a:pt x="3502207" y="1108331"/>
                </a:cubicBezTo>
                <a:cubicBezTo>
                  <a:pt x="3499677" y="1110994"/>
                  <a:pt x="3498613" y="1113794"/>
                  <a:pt x="3498613" y="1117780"/>
                </a:cubicBezTo>
                <a:cubicBezTo>
                  <a:pt x="3498613" y="1121908"/>
                  <a:pt x="3499677" y="1124708"/>
                  <a:pt x="3502207" y="1127230"/>
                </a:cubicBezTo>
                <a:cubicBezTo>
                  <a:pt x="3503805" y="1128836"/>
                  <a:pt x="3506335" y="1130693"/>
                  <a:pt x="3512191" y="1130693"/>
                </a:cubicBezTo>
                <a:cubicBezTo>
                  <a:pt x="3514321" y="1130693"/>
                  <a:pt x="3516053" y="1130434"/>
                  <a:pt x="3517517" y="1129635"/>
                </a:cubicBezTo>
                <a:cubicBezTo>
                  <a:pt x="3518981" y="1129096"/>
                  <a:pt x="3520313" y="1128297"/>
                  <a:pt x="3521244" y="1127230"/>
                </a:cubicBezTo>
                <a:cubicBezTo>
                  <a:pt x="3522309" y="1126167"/>
                  <a:pt x="3523241" y="1124843"/>
                  <a:pt x="3523907" y="1123107"/>
                </a:cubicBezTo>
                <a:cubicBezTo>
                  <a:pt x="3524572" y="1121509"/>
                  <a:pt x="3524972" y="1119645"/>
                  <a:pt x="3524972" y="1117655"/>
                </a:cubicBezTo>
                <a:cubicBezTo>
                  <a:pt x="3524972" y="1115791"/>
                  <a:pt x="3524572" y="1114055"/>
                  <a:pt x="3523907" y="1112457"/>
                </a:cubicBezTo>
                <a:cubicBezTo>
                  <a:pt x="3523241" y="1110864"/>
                  <a:pt x="3522309" y="1109530"/>
                  <a:pt x="3521244" y="1108331"/>
                </a:cubicBezTo>
                <a:cubicBezTo>
                  <a:pt x="3520179" y="1107266"/>
                  <a:pt x="3518847" y="1106339"/>
                  <a:pt x="3517251" y="1105670"/>
                </a:cubicBezTo>
                <a:cubicBezTo>
                  <a:pt x="3515787" y="1105002"/>
                  <a:pt x="3514189" y="1104736"/>
                  <a:pt x="3512191" y="1104736"/>
                </a:cubicBezTo>
                <a:close/>
                <a:moveTo>
                  <a:pt x="3294676" y="1104736"/>
                </a:moveTo>
                <a:cubicBezTo>
                  <a:pt x="3288819" y="1104736"/>
                  <a:pt x="3286290" y="1106737"/>
                  <a:pt x="3284692" y="1108331"/>
                </a:cubicBezTo>
                <a:cubicBezTo>
                  <a:pt x="3282161" y="1110994"/>
                  <a:pt x="3281098" y="1113794"/>
                  <a:pt x="3281098" y="1117780"/>
                </a:cubicBezTo>
                <a:cubicBezTo>
                  <a:pt x="3281098" y="1121908"/>
                  <a:pt x="3282161" y="1124708"/>
                  <a:pt x="3284692" y="1127230"/>
                </a:cubicBezTo>
                <a:cubicBezTo>
                  <a:pt x="3286290" y="1128836"/>
                  <a:pt x="3288819" y="1130693"/>
                  <a:pt x="3294676" y="1130693"/>
                </a:cubicBezTo>
                <a:cubicBezTo>
                  <a:pt x="3296673" y="1130693"/>
                  <a:pt x="3298404" y="1130434"/>
                  <a:pt x="3300002" y="1129635"/>
                </a:cubicBezTo>
                <a:cubicBezTo>
                  <a:pt x="3301466" y="1129096"/>
                  <a:pt x="3302797" y="1128297"/>
                  <a:pt x="3303728" y="1127230"/>
                </a:cubicBezTo>
                <a:cubicBezTo>
                  <a:pt x="3304794" y="1126167"/>
                  <a:pt x="3305725" y="1124843"/>
                  <a:pt x="3306392" y="1123107"/>
                </a:cubicBezTo>
                <a:cubicBezTo>
                  <a:pt x="3307057" y="1121509"/>
                  <a:pt x="3307455" y="1119645"/>
                  <a:pt x="3307455" y="1117655"/>
                </a:cubicBezTo>
                <a:cubicBezTo>
                  <a:pt x="3307455" y="1115791"/>
                  <a:pt x="3307057" y="1114055"/>
                  <a:pt x="3306392" y="1112457"/>
                </a:cubicBezTo>
                <a:cubicBezTo>
                  <a:pt x="3305725" y="1110864"/>
                  <a:pt x="3304794" y="1109530"/>
                  <a:pt x="3303728" y="1108331"/>
                </a:cubicBezTo>
                <a:cubicBezTo>
                  <a:pt x="3302663" y="1107266"/>
                  <a:pt x="3301332" y="1106339"/>
                  <a:pt x="3299735" y="1105670"/>
                </a:cubicBezTo>
                <a:cubicBezTo>
                  <a:pt x="3298271" y="1105002"/>
                  <a:pt x="3296673" y="1104736"/>
                  <a:pt x="3294676" y="1104736"/>
                </a:cubicBezTo>
                <a:close/>
                <a:moveTo>
                  <a:pt x="3077161" y="1104736"/>
                </a:moveTo>
                <a:cubicBezTo>
                  <a:pt x="3071304" y="1104736"/>
                  <a:pt x="3068774" y="1106737"/>
                  <a:pt x="3067178" y="1108331"/>
                </a:cubicBezTo>
                <a:cubicBezTo>
                  <a:pt x="3064515" y="1110994"/>
                  <a:pt x="3063450" y="1113794"/>
                  <a:pt x="3063450" y="1117780"/>
                </a:cubicBezTo>
                <a:cubicBezTo>
                  <a:pt x="3063450" y="1121908"/>
                  <a:pt x="3064515" y="1124708"/>
                  <a:pt x="3067044" y="1127230"/>
                </a:cubicBezTo>
                <a:cubicBezTo>
                  <a:pt x="3068641" y="1128836"/>
                  <a:pt x="3071171" y="1130693"/>
                  <a:pt x="3077027" y="1130693"/>
                </a:cubicBezTo>
                <a:cubicBezTo>
                  <a:pt x="3079025" y="1130693"/>
                  <a:pt x="3080755" y="1130434"/>
                  <a:pt x="3082486" y="1129635"/>
                </a:cubicBezTo>
                <a:cubicBezTo>
                  <a:pt x="3083951" y="1129096"/>
                  <a:pt x="3085282" y="1128297"/>
                  <a:pt x="3086213" y="1127230"/>
                </a:cubicBezTo>
                <a:cubicBezTo>
                  <a:pt x="3087278" y="1126167"/>
                  <a:pt x="3088210" y="1124843"/>
                  <a:pt x="3088876" y="1123107"/>
                </a:cubicBezTo>
                <a:cubicBezTo>
                  <a:pt x="3089541" y="1121509"/>
                  <a:pt x="3089808" y="1119645"/>
                  <a:pt x="3089808" y="1117655"/>
                </a:cubicBezTo>
                <a:cubicBezTo>
                  <a:pt x="3089808" y="1115791"/>
                  <a:pt x="3089541" y="1114055"/>
                  <a:pt x="3088876" y="1112457"/>
                </a:cubicBezTo>
                <a:cubicBezTo>
                  <a:pt x="3088210" y="1110864"/>
                  <a:pt x="3087278" y="1109530"/>
                  <a:pt x="3086213" y="1108331"/>
                </a:cubicBezTo>
                <a:cubicBezTo>
                  <a:pt x="3085149" y="1107266"/>
                  <a:pt x="3083817" y="1106339"/>
                  <a:pt x="3082220" y="1105670"/>
                </a:cubicBezTo>
                <a:cubicBezTo>
                  <a:pt x="3080755" y="1105002"/>
                  <a:pt x="3079158" y="1104736"/>
                  <a:pt x="3077161" y="1104736"/>
                </a:cubicBezTo>
                <a:close/>
                <a:moveTo>
                  <a:pt x="2859379" y="1104736"/>
                </a:moveTo>
                <a:cubicBezTo>
                  <a:pt x="2853522" y="1104736"/>
                  <a:pt x="2850993" y="1106737"/>
                  <a:pt x="2849396" y="1108331"/>
                </a:cubicBezTo>
                <a:cubicBezTo>
                  <a:pt x="2846864" y="1110994"/>
                  <a:pt x="2845801" y="1113794"/>
                  <a:pt x="2845801" y="1117780"/>
                </a:cubicBezTo>
                <a:cubicBezTo>
                  <a:pt x="2845801" y="1121908"/>
                  <a:pt x="2846864" y="1124708"/>
                  <a:pt x="2849396" y="1127230"/>
                </a:cubicBezTo>
                <a:cubicBezTo>
                  <a:pt x="2850993" y="1128836"/>
                  <a:pt x="2853522" y="1130693"/>
                  <a:pt x="2859379" y="1130693"/>
                </a:cubicBezTo>
                <a:cubicBezTo>
                  <a:pt x="2861376" y="1130693"/>
                  <a:pt x="2863240" y="1130434"/>
                  <a:pt x="2864704" y="1129635"/>
                </a:cubicBezTo>
                <a:cubicBezTo>
                  <a:pt x="2866302" y="1129096"/>
                  <a:pt x="2867501" y="1128297"/>
                  <a:pt x="2868431" y="1127230"/>
                </a:cubicBezTo>
                <a:cubicBezTo>
                  <a:pt x="2869496" y="1126167"/>
                  <a:pt x="2870429" y="1124843"/>
                  <a:pt x="2871094" y="1123107"/>
                </a:cubicBezTo>
                <a:cubicBezTo>
                  <a:pt x="2871627" y="1121509"/>
                  <a:pt x="2872026" y="1119645"/>
                  <a:pt x="2872026" y="1117655"/>
                </a:cubicBezTo>
                <a:cubicBezTo>
                  <a:pt x="2872026" y="1115791"/>
                  <a:pt x="2871759" y="1114055"/>
                  <a:pt x="2871094" y="1112457"/>
                </a:cubicBezTo>
                <a:cubicBezTo>
                  <a:pt x="2870429" y="1110864"/>
                  <a:pt x="2869496" y="1109530"/>
                  <a:pt x="2868431" y="1108331"/>
                </a:cubicBezTo>
                <a:cubicBezTo>
                  <a:pt x="2867367" y="1107266"/>
                  <a:pt x="2866036" y="1106339"/>
                  <a:pt x="2864439" y="1105670"/>
                </a:cubicBezTo>
                <a:cubicBezTo>
                  <a:pt x="2862975" y="1105002"/>
                  <a:pt x="2861376" y="1104736"/>
                  <a:pt x="2859379" y="1104736"/>
                </a:cubicBezTo>
                <a:close/>
                <a:moveTo>
                  <a:pt x="2641731" y="1104736"/>
                </a:moveTo>
                <a:cubicBezTo>
                  <a:pt x="2635874" y="1104736"/>
                  <a:pt x="2633345" y="1106737"/>
                  <a:pt x="2631748" y="1108331"/>
                </a:cubicBezTo>
                <a:cubicBezTo>
                  <a:pt x="2629218" y="1110994"/>
                  <a:pt x="2628154" y="1113794"/>
                  <a:pt x="2628154" y="1117780"/>
                </a:cubicBezTo>
                <a:cubicBezTo>
                  <a:pt x="2628154" y="1121908"/>
                  <a:pt x="2629218" y="1124708"/>
                  <a:pt x="2631748" y="1127230"/>
                </a:cubicBezTo>
                <a:cubicBezTo>
                  <a:pt x="2633345" y="1128836"/>
                  <a:pt x="2635874" y="1130693"/>
                  <a:pt x="2641731" y="1130693"/>
                </a:cubicBezTo>
                <a:cubicBezTo>
                  <a:pt x="2643728" y="1130693"/>
                  <a:pt x="2645592" y="1130434"/>
                  <a:pt x="2647056" y="1129635"/>
                </a:cubicBezTo>
                <a:cubicBezTo>
                  <a:pt x="2648653" y="1129096"/>
                  <a:pt x="2649851" y="1128297"/>
                  <a:pt x="2650783" y="1127230"/>
                </a:cubicBezTo>
                <a:cubicBezTo>
                  <a:pt x="2651849" y="1126167"/>
                  <a:pt x="2652780" y="1124843"/>
                  <a:pt x="2653446" y="1123107"/>
                </a:cubicBezTo>
                <a:cubicBezTo>
                  <a:pt x="2653978" y="1121509"/>
                  <a:pt x="2654377" y="1119645"/>
                  <a:pt x="2654377" y="1117655"/>
                </a:cubicBezTo>
                <a:cubicBezTo>
                  <a:pt x="2654377" y="1115791"/>
                  <a:pt x="2654111" y="1114055"/>
                  <a:pt x="2653446" y="1112457"/>
                </a:cubicBezTo>
                <a:cubicBezTo>
                  <a:pt x="2652780" y="1110864"/>
                  <a:pt x="2651849" y="1109530"/>
                  <a:pt x="2650783" y="1108331"/>
                </a:cubicBezTo>
                <a:cubicBezTo>
                  <a:pt x="2649718" y="1107266"/>
                  <a:pt x="2648387" y="1106339"/>
                  <a:pt x="2646790" y="1105670"/>
                </a:cubicBezTo>
                <a:cubicBezTo>
                  <a:pt x="2645325" y="1105002"/>
                  <a:pt x="2643728" y="1104736"/>
                  <a:pt x="2641731" y="1104736"/>
                </a:cubicBezTo>
                <a:close/>
                <a:moveTo>
                  <a:pt x="2424082" y="1104736"/>
                </a:moveTo>
                <a:cubicBezTo>
                  <a:pt x="2418226" y="1104736"/>
                  <a:pt x="2415697" y="1106737"/>
                  <a:pt x="2414099" y="1108331"/>
                </a:cubicBezTo>
                <a:cubicBezTo>
                  <a:pt x="2411569" y="1110994"/>
                  <a:pt x="2410505" y="1113794"/>
                  <a:pt x="2410505" y="1117780"/>
                </a:cubicBezTo>
                <a:cubicBezTo>
                  <a:pt x="2410505" y="1121908"/>
                  <a:pt x="2411569" y="1124708"/>
                  <a:pt x="2414099" y="1127230"/>
                </a:cubicBezTo>
                <a:cubicBezTo>
                  <a:pt x="2415697" y="1128836"/>
                  <a:pt x="2418226" y="1130693"/>
                  <a:pt x="2424082" y="1130693"/>
                </a:cubicBezTo>
                <a:cubicBezTo>
                  <a:pt x="2426213" y="1130693"/>
                  <a:pt x="2427944" y="1130434"/>
                  <a:pt x="2429408" y="1129635"/>
                </a:cubicBezTo>
                <a:cubicBezTo>
                  <a:pt x="2431006" y="1129096"/>
                  <a:pt x="2432204" y="1128297"/>
                  <a:pt x="2433135" y="1127230"/>
                </a:cubicBezTo>
                <a:cubicBezTo>
                  <a:pt x="2434200" y="1126167"/>
                  <a:pt x="2435132" y="1124843"/>
                  <a:pt x="2435798" y="1123107"/>
                </a:cubicBezTo>
                <a:cubicBezTo>
                  <a:pt x="2436330" y="1121509"/>
                  <a:pt x="2436729" y="1119645"/>
                  <a:pt x="2436729" y="1117655"/>
                </a:cubicBezTo>
                <a:cubicBezTo>
                  <a:pt x="2436729" y="1115791"/>
                  <a:pt x="2436463" y="1114055"/>
                  <a:pt x="2435798" y="1112457"/>
                </a:cubicBezTo>
                <a:cubicBezTo>
                  <a:pt x="2435132" y="1110864"/>
                  <a:pt x="2434200" y="1109530"/>
                  <a:pt x="2433135" y="1108331"/>
                </a:cubicBezTo>
                <a:cubicBezTo>
                  <a:pt x="2432071" y="1107266"/>
                  <a:pt x="2430739" y="1106339"/>
                  <a:pt x="2429142" y="1105670"/>
                </a:cubicBezTo>
                <a:cubicBezTo>
                  <a:pt x="2427678" y="1105002"/>
                  <a:pt x="2426080" y="1104736"/>
                  <a:pt x="2424082" y="1104736"/>
                </a:cubicBezTo>
                <a:close/>
                <a:moveTo>
                  <a:pt x="2206434" y="1104736"/>
                </a:moveTo>
                <a:cubicBezTo>
                  <a:pt x="2200577" y="1104736"/>
                  <a:pt x="2198048" y="1106737"/>
                  <a:pt x="2196451" y="1108331"/>
                </a:cubicBezTo>
                <a:cubicBezTo>
                  <a:pt x="2193921" y="1110994"/>
                  <a:pt x="2192857" y="1113794"/>
                  <a:pt x="2192857" y="1117780"/>
                </a:cubicBezTo>
                <a:cubicBezTo>
                  <a:pt x="2192857" y="1121908"/>
                  <a:pt x="2193921" y="1124708"/>
                  <a:pt x="2196451" y="1127230"/>
                </a:cubicBezTo>
                <a:cubicBezTo>
                  <a:pt x="2198048" y="1128836"/>
                  <a:pt x="2200577" y="1130693"/>
                  <a:pt x="2206434" y="1130693"/>
                </a:cubicBezTo>
                <a:cubicBezTo>
                  <a:pt x="2208564" y="1130693"/>
                  <a:pt x="2210295" y="1130434"/>
                  <a:pt x="2211759" y="1129635"/>
                </a:cubicBezTo>
                <a:cubicBezTo>
                  <a:pt x="2213357" y="1129096"/>
                  <a:pt x="2214555" y="1128297"/>
                  <a:pt x="2215486" y="1127230"/>
                </a:cubicBezTo>
                <a:cubicBezTo>
                  <a:pt x="2216551" y="1126167"/>
                  <a:pt x="2217483" y="1124843"/>
                  <a:pt x="2218149" y="1123107"/>
                </a:cubicBezTo>
                <a:cubicBezTo>
                  <a:pt x="2218682" y="1121509"/>
                  <a:pt x="2219080" y="1119645"/>
                  <a:pt x="2219080" y="1117655"/>
                </a:cubicBezTo>
                <a:cubicBezTo>
                  <a:pt x="2219080" y="1115791"/>
                  <a:pt x="2218814" y="1114055"/>
                  <a:pt x="2218149" y="1112457"/>
                </a:cubicBezTo>
                <a:cubicBezTo>
                  <a:pt x="2217483" y="1110864"/>
                  <a:pt x="2216551" y="1109530"/>
                  <a:pt x="2215486" y="1108331"/>
                </a:cubicBezTo>
                <a:cubicBezTo>
                  <a:pt x="2214421" y="1107266"/>
                  <a:pt x="2213091" y="1106339"/>
                  <a:pt x="2211493" y="1105670"/>
                </a:cubicBezTo>
                <a:cubicBezTo>
                  <a:pt x="2210029" y="1105002"/>
                  <a:pt x="2208431" y="1104736"/>
                  <a:pt x="2206434" y="1104736"/>
                </a:cubicBezTo>
                <a:close/>
                <a:moveTo>
                  <a:pt x="1988919" y="1104736"/>
                </a:moveTo>
                <a:cubicBezTo>
                  <a:pt x="1983062" y="1104736"/>
                  <a:pt x="1980533" y="1106737"/>
                  <a:pt x="1978936" y="1108331"/>
                </a:cubicBezTo>
                <a:cubicBezTo>
                  <a:pt x="1976405" y="1110994"/>
                  <a:pt x="1975342" y="1113794"/>
                  <a:pt x="1975342" y="1117780"/>
                </a:cubicBezTo>
                <a:cubicBezTo>
                  <a:pt x="1975342" y="1121908"/>
                  <a:pt x="1976405" y="1124708"/>
                  <a:pt x="1978936" y="1127230"/>
                </a:cubicBezTo>
                <a:cubicBezTo>
                  <a:pt x="1980533" y="1128836"/>
                  <a:pt x="1983062" y="1130693"/>
                  <a:pt x="1988919" y="1130693"/>
                </a:cubicBezTo>
                <a:cubicBezTo>
                  <a:pt x="1990916" y="1130693"/>
                  <a:pt x="1992647" y="1130434"/>
                  <a:pt x="1994244" y="1129635"/>
                </a:cubicBezTo>
                <a:cubicBezTo>
                  <a:pt x="1995842" y="1129096"/>
                  <a:pt x="1997040" y="1128297"/>
                  <a:pt x="1997971" y="1127230"/>
                </a:cubicBezTo>
                <a:cubicBezTo>
                  <a:pt x="1999036" y="1126167"/>
                  <a:pt x="1999968" y="1124843"/>
                  <a:pt x="2000634" y="1123107"/>
                </a:cubicBezTo>
                <a:cubicBezTo>
                  <a:pt x="2001166" y="1121509"/>
                  <a:pt x="2001565" y="1119645"/>
                  <a:pt x="2001565" y="1117655"/>
                </a:cubicBezTo>
                <a:cubicBezTo>
                  <a:pt x="2001565" y="1115791"/>
                  <a:pt x="2001299" y="1114055"/>
                  <a:pt x="2000634" y="1112457"/>
                </a:cubicBezTo>
                <a:cubicBezTo>
                  <a:pt x="1999968" y="1110864"/>
                  <a:pt x="1999036" y="1109530"/>
                  <a:pt x="1997971" y="1108331"/>
                </a:cubicBezTo>
                <a:cubicBezTo>
                  <a:pt x="1996907" y="1107266"/>
                  <a:pt x="1995575" y="1106339"/>
                  <a:pt x="1993978" y="1105670"/>
                </a:cubicBezTo>
                <a:cubicBezTo>
                  <a:pt x="1992514" y="1105002"/>
                  <a:pt x="1990916" y="1104736"/>
                  <a:pt x="1988919" y="1104736"/>
                </a:cubicBezTo>
                <a:close/>
                <a:moveTo>
                  <a:pt x="1771276" y="1104736"/>
                </a:moveTo>
                <a:cubicBezTo>
                  <a:pt x="1765419" y="1104736"/>
                  <a:pt x="1762890" y="1106737"/>
                  <a:pt x="1761293" y="1108331"/>
                </a:cubicBezTo>
                <a:cubicBezTo>
                  <a:pt x="1758764" y="1110994"/>
                  <a:pt x="1757699" y="1113794"/>
                  <a:pt x="1757699" y="1117780"/>
                </a:cubicBezTo>
                <a:cubicBezTo>
                  <a:pt x="1757699" y="1121908"/>
                  <a:pt x="1758764" y="1124708"/>
                  <a:pt x="1761293" y="1127230"/>
                </a:cubicBezTo>
                <a:cubicBezTo>
                  <a:pt x="1762890" y="1128836"/>
                  <a:pt x="1765419" y="1130693"/>
                  <a:pt x="1771276" y="1130693"/>
                </a:cubicBezTo>
                <a:cubicBezTo>
                  <a:pt x="1773274" y="1130693"/>
                  <a:pt x="1775137" y="1130434"/>
                  <a:pt x="1776601" y="1129635"/>
                </a:cubicBezTo>
                <a:cubicBezTo>
                  <a:pt x="1778065" y="1129096"/>
                  <a:pt x="1779396" y="1128297"/>
                  <a:pt x="1780328" y="1127230"/>
                </a:cubicBezTo>
                <a:cubicBezTo>
                  <a:pt x="1781393" y="1126167"/>
                  <a:pt x="1782325" y="1124843"/>
                  <a:pt x="1782991" y="1123107"/>
                </a:cubicBezTo>
                <a:cubicBezTo>
                  <a:pt x="1783656" y="1121509"/>
                  <a:pt x="1784056" y="1119645"/>
                  <a:pt x="1784056" y="1117655"/>
                </a:cubicBezTo>
                <a:cubicBezTo>
                  <a:pt x="1784056" y="1115791"/>
                  <a:pt x="1783656" y="1114055"/>
                  <a:pt x="1782991" y="1112457"/>
                </a:cubicBezTo>
                <a:cubicBezTo>
                  <a:pt x="1782325" y="1110864"/>
                  <a:pt x="1781393" y="1109530"/>
                  <a:pt x="1780328" y="1108331"/>
                </a:cubicBezTo>
                <a:cubicBezTo>
                  <a:pt x="1779263" y="1107266"/>
                  <a:pt x="1777932" y="1106339"/>
                  <a:pt x="1776335" y="1105670"/>
                </a:cubicBezTo>
                <a:cubicBezTo>
                  <a:pt x="1774870" y="1105002"/>
                  <a:pt x="1773274" y="1104736"/>
                  <a:pt x="1771276" y="1104736"/>
                </a:cubicBezTo>
                <a:close/>
                <a:moveTo>
                  <a:pt x="1553633" y="1104736"/>
                </a:moveTo>
                <a:cubicBezTo>
                  <a:pt x="1547775" y="1104736"/>
                  <a:pt x="1545247" y="1106737"/>
                  <a:pt x="1543649" y="1108331"/>
                </a:cubicBezTo>
                <a:cubicBezTo>
                  <a:pt x="1541120" y="1110994"/>
                  <a:pt x="1540055" y="1113794"/>
                  <a:pt x="1540055" y="1117780"/>
                </a:cubicBezTo>
                <a:cubicBezTo>
                  <a:pt x="1540055" y="1121908"/>
                  <a:pt x="1541120" y="1124708"/>
                  <a:pt x="1543649" y="1127230"/>
                </a:cubicBezTo>
                <a:cubicBezTo>
                  <a:pt x="1545247" y="1128836"/>
                  <a:pt x="1547775" y="1130693"/>
                  <a:pt x="1553633" y="1130693"/>
                </a:cubicBezTo>
                <a:cubicBezTo>
                  <a:pt x="1555630" y="1130693"/>
                  <a:pt x="1557493" y="1130434"/>
                  <a:pt x="1558958" y="1129635"/>
                </a:cubicBezTo>
                <a:cubicBezTo>
                  <a:pt x="1560422" y="1129096"/>
                  <a:pt x="1561754" y="1128297"/>
                  <a:pt x="1562685" y="1127230"/>
                </a:cubicBezTo>
                <a:cubicBezTo>
                  <a:pt x="1563749" y="1126167"/>
                  <a:pt x="1564682" y="1124843"/>
                  <a:pt x="1565347" y="1123107"/>
                </a:cubicBezTo>
                <a:cubicBezTo>
                  <a:pt x="1566012" y="1121509"/>
                  <a:pt x="1566413" y="1119645"/>
                  <a:pt x="1566413" y="1117655"/>
                </a:cubicBezTo>
                <a:cubicBezTo>
                  <a:pt x="1566413" y="1115791"/>
                  <a:pt x="1566012" y="1114055"/>
                  <a:pt x="1565347" y="1112457"/>
                </a:cubicBezTo>
                <a:cubicBezTo>
                  <a:pt x="1564682" y="1110864"/>
                  <a:pt x="1563749" y="1109530"/>
                  <a:pt x="1562685" y="1108331"/>
                </a:cubicBezTo>
                <a:cubicBezTo>
                  <a:pt x="1561620" y="1107266"/>
                  <a:pt x="1560289" y="1106339"/>
                  <a:pt x="1558691" y="1105670"/>
                </a:cubicBezTo>
                <a:cubicBezTo>
                  <a:pt x="1557227" y="1105002"/>
                  <a:pt x="1555630" y="1104736"/>
                  <a:pt x="1553633" y="1104736"/>
                </a:cubicBezTo>
                <a:close/>
                <a:moveTo>
                  <a:pt x="1335988" y="1104736"/>
                </a:moveTo>
                <a:cubicBezTo>
                  <a:pt x="1330130" y="1104736"/>
                  <a:pt x="1327601" y="1106737"/>
                  <a:pt x="1326005" y="1108331"/>
                </a:cubicBezTo>
                <a:cubicBezTo>
                  <a:pt x="1323474" y="1110994"/>
                  <a:pt x="1322410" y="1113794"/>
                  <a:pt x="1322410" y="1117780"/>
                </a:cubicBezTo>
                <a:cubicBezTo>
                  <a:pt x="1322410" y="1121908"/>
                  <a:pt x="1323474" y="1124708"/>
                  <a:pt x="1326005" y="1127230"/>
                </a:cubicBezTo>
                <a:cubicBezTo>
                  <a:pt x="1327601" y="1128836"/>
                  <a:pt x="1330130" y="1130693"/>
                  <a:pt x="1335988" y="1130693"/>
                </a:cubicBezTo>
                <a:cubicBezTo>
                  <a:pt x="1338118" y="1130693"/>
                  <a:pt x="1339848" y="1130434"/>
                  <a:pt x="1341314" y="1129635"/>
                </a:cubicBezTo>
                <a:cubicBezTo>
                  <a:pt x="1342777" y="1129096"/>
                  <a:pt x="1344108" y="1128297"/>
                  <a:pt x="1345040" y="1127230"/>
                </a:cubicBezTo>
                <a:cubicBezTo>
                  <a:pt x="1346105" y="1126167"/>
                  <a:pt x="1347037" y="1124843"/>
                  <a:pt x="1347703" y="1123107"/>
                </a:cubicBezTo>
                <a:cubicBezTo>
                  <a:pt x="1348368" y="1121509"/>
                  <a:pt x="1348769" y="1119645"/>
                  <a:pt x="1348769" y="1117655"/>
                </a:cubicBezTo>
                <a:cubicBezTo>
                  <a:pt x="1348769" y="1115791"/>
                  <a:pt x="1348368" y="1114055"/>
                  <a:pt x="1347703" y="1112457"/>
                </a:cubicBezTo>
                <a:cubicBezTo>
                  <a:pt x="1347037" y="1110864"/>
                  <a:pt x="1346105" y="1109530"/>
                  <a:pt x="1345040" y="1108331"/>
                </a:cubicBezTo>
                <a:cubicBezTo>
                  <a:pt x="1343975" y="1107266"/>
                  <a:pt x="1342644" y="1106339"/>
                  <a:pt x="1341047" y="1105670"/>
                </a:cubicBezTo>
                <a:cubicBezTo>
                  <a:pt x="1339582" y="1105002"/>
                  <a:pt x="1337984" y="1104736"/>
                  <a:pt x="1335988" y="1104736"/>
                </a:cubicBezTo>
                <a:close/>
                <a:moveTo>
                  <a:pt x="1118476" y="1104736"/>
                </a:moveTo>
                <a:cubicBezTo>
                  <a:pt x="1112619" y="1104736"/>
                  <a:pt x="1110089" y="1106737"/>
                  <a:pt x="1108492" y="1108331"/>
                </a:cubicBezTo>
                <a:cubicBezTo>
                  <a:pt x="1105829" y="1110994"/>
                  <a:pt x="1104765" y="1113794"/>
                  <a:pt x="1104765" y="1117780"/>
                </a:cubicBezTo>
                <a:cubicBezTo>
                  <a:pt x="1104765" y="1121908"/>
                  <a:pt x="1105829" y="1124708"/>
                  <a:pt x="1108359" y="1127230"/>
                </a:cubicBezTo>
                <a:cubicBezTo>
                  <a:pt x="1109956" y="1128836"/>
                  <a:pt x="1112486" y="1130693"/>
                  <a:pt x="1118343" y="1130693"/>
                </a:cubicBezTo>
                <a:cubicBezTo>
                  <a:pt x="1120473" y="1130693"/>
                  <a:pt x="1122204" y="1130434"/>
                  <a:pt x="1123801" y="1129635"/>
                </a:cubicBezTo>
                <a:cubicBezTo>
                  <a:pt x="1125265" y="1129096"/>
                  <a:pt x="1126598" y="1128297"/>
                  <a:pt x="1127528" y="1127230"/>
                </a:cubicBezTo>
                <a:cubicBezTo>
                  <a:pt x="1128593" y="1126167"/>
                  <a:pt x="1129525" y="1124843"/>
                  <a:pt x="1130192" y="1123107"/>
                </a:cubicBezTo>
                <a:cubicBezTo>
                  <a:pt x="1130856" y="1121509"/>
                  <a:pt x="1131257" y="1119645"/>
                  <a:pt x="1131257" y="1117655"/>
                </a:cubicBezTo>
                <a:cubicBezTo>
                  <a:pt x="1131257" y="1115791"/>
                  <a:pt x="1130856" y="1114055"/>
                  <a:pt x="1130192" y="1112457"/>
                </a:cubicBezTo>
                <a:cubicBezTo>
                  <a:pt x="1129525" y="1110864"/>
                  <a:pt x="1128593" y="1109530"/>
                  <a:pt x="1127528" y="1108331"/>
                </a:cubicBezTo>
                <a:cubicBezTo>
                  <a:pt x="1126463" y="1107266"/>
                  <a:pt x="1125132" y="1106339"/>
                  <a:pt x="1123534" y="1105670"/>
                </a:cubicBezTo>
                <a:cubicBezTo>
                  <a:pt x="1122071" y="1105002"/>
                  <a:pt x="1120473" y="1104736"/>
                  <a:pt x="1118476" y="1104736"/>
                </a:cubicBezTo>
                <a:close/>
                <a:moveTo>
                  <a:pt x="900965" y="1104736"/>
                </a:moveTo>
                <a:cubicBezTo>
                  <a:pt x="895107" y="1104736"/>
                  <a:pt x="892578" y="1106737"/>
                  <a:pt x="890980" y="1108331"/>
                </a:cubicBezTo>
                <a:cubicBezTo>
                  <a:pt x="888318" y="1110994"/>
                  <a:pt x="887254" y="1113794"/>
                  <a:pt x="887254" y="1117780"/>
                </a:cubicBezTo>
                <a:cubicBezTo>
                  <a:pt x="887254" y="1121908"/>
                  <a:pt x="888318" y="1124708"/>
                  <a:pt x="890848" y="1127230"/>
                </a:cubicBezTo>
                <a:cubicBezTo>
                  <a:pt x="892445" y="1128836"/>
                  <a:pt x="894974" y="1130693"/>
                  <a:pt x="900831" y="1130693"/>
                </a:cubicBezTo>
                <a:cubicBezTo>
                  <a:pt x="902828" y="1130693"/>
                  <a:pt x="904559" y="1130434"/>
                  <a:pt x="906289" y="1129635"/>
                </a:cubicBezTo>
                <a:cubicBezTo>
                  <a:pt x="907753" y="1129096"/>
                  <a:pt x="909085" y="1128297"/>
                  <a:pt x="910017" y="1127230"/>
                </a:cubicBezTo>
                <a:cubicBezTo>
                  <a:pt x="911081" y="1126167"/>
                  <a:pt x="912013" y="1124843"/>
                  <a:pt x="912679" y="1123107"/>
                </a:cubicBezTo>
                <a:cubicBezTo>
                  <a:pt x="913344" y="1121509"/>
                  <a:pt x="913744" y="1119645"/>
                  <a:pt x="913744" y="1117655"/>
                </a:cubicBezTo>
                <a:cubicBezTo>
                  <a:pt x="913744" y="1115791"/>
                  <a:pt x="913344" y="1114055"/>
                  <a:pt x="912679" y="1112457"/>
                </a:cubicBezTo>
                <a:cubicBezTo>
                  <a:pt x="912013" y="1110864"/>
                  <a:pt x="911081" y="1109530"/>
                  <a:pt x="910017" y="1108331"/>
                </a:cubicBezTo>
                <a:cubicBezTo>
                  <a:pt x="908952" y="1107266"/>
                  <a:pt x="907620" y="1106339"/>
                  <a:pt x="906023" y="1105670"/>
                </a:cubicBezTo>
                <a:cubicBezTo>
                  <a:pt x="904559" y="1105002"/>
                  <a:pt x="902961" y="1104736"/>
                  <a:pt x="900965" y="1104736"/>
                </a:cubicBezTo>
                <a:close/>
                <a:moveTo>
                  <a:pt x="683187" y="1104736"/>
                </a:moveTo>
                <a:cubicBezTo>
                  <a:pt x="677330" y="1104736"/>
                  <a:pt x="674801" y="1106737"/>
                  <a:pt x="673204" y="1108331"/>
                </a:cubicBezTo>
                <a:cubicBezTo>
                  <a:pt x="670674" y="1110994"/>
                  <a:pt x="669610" y="1113794"/>
                  <a:pt x="669610" y="1117780"/>
                </a:cubicBezTo>
                <a:cubicBezTo>
                  <a:pt x="669610" y="1121908"/>
                  <a:pt x="670674" y="1124708"/>
                  <a:pt x="673204" y="1127230"/>
                </a:cubicBezTo>
                <a:cubicBezTo>
                  <a:pt x="674801" y="1128836"/>
                  <a:pt x="677330" y="1130693"/>
                  <a:pt x="683187" y="1130693"/>
                </a:cubicBezTo>
                <a:cubicBezTo>
                  <a:pt x="685184" y="1130693"/>
                  <a:pt x="687048" y="1130434"/>
                  <a:pt x="688512" y="1129635"/>
                </a:cubicBezTo>
                <a:cubicBezTo>
                  <a:pt x="689976" y="1129096"/>
                  <a:pt x="691308" y="1128297"/>
                  <a:pt x="692239" y="1127230"/>
                </a:cubicBezTo>
                <a:cubicBezTo>
                  <a:pt x="693304" y="1126167"/>
                  <a:pt x="694236" y="1124843"/>
                  <a:pt x="694902" y="1123107"/>
                </a:cubicBezTo>
                <a:cubicBezTo>
                  <a:pt x="695567" y="1121509"/>
                  <a:pt x="695967" y="1119645"/>
                  <a:pt x="695967" y="1117655"/>
                </a:cubicBezTo>
                <a:cubicBezTo>
                  <a:pt x="695967" y="1115791"/>
                  <a:pt x="695567" y="1114055"/>
                  <a:pt x="694902" y="1112457"/>
                </a:cubicBezTo>
                <a:cubicBezTo>
                  <a:pt x="694236" y="1110864"/>
                  <a:pt x="693304" y="1109530"/>
                  <a:pt x="692239" y="1108331"/>
                </a:cubicBezTo>
                <a:cubicBezTo>
                  <a:pt x="691174" y="1107266"/>
                  <a:pt x="689843" y="1106339"/>
                  <a:pt x="688246" y="1105670"/>
                </a:cubicBezTo>
                <a:cubicBezTo>
                  <a:pt x="686782" y="1105002"/>
                  <a:pt x="685184" y="1104736"/>
                  <a:pt x="683187" y="1104736"/>
                </a:cubicBezTo>
                <a:close/>
                <a:moveTo>
                  <a:pt x="465543" y="1104736"/>
                </a:moveTo>
                <a:cubicBezTo>
                  <a:pt x="459686" y="1104736"/>
                  <a:pt x="457157" y="1106737"/>
                  <a:pt x="455560" y="1108331"/>
                </a:cubicBezTo>
                <a:cubicBezTo>
                  <a:pt x="453030" y="1110994"/>
                  <a:pt x="451966" y="1113794"/>
                  <a:pt x="451966" y="1117780"/>
                </a:cubicBezTo>
                <a:cubicBezTo>
                  <a:pt x="451966" y="1121908"/>
                  <a:pt x="453030" y="1124708"/>
                  <a:pt x="455560" y="1127230"/>
                </a:cubicBezTo>
                <a:cubicBezTo>
                  <a:pt x="457157" y="1128836"/>
                  <a:pt x="459686" y="1130693"/>
                  <a:pt x="465543" y="1130693"/>
                </a:cubicBezTo>
                <a:cubicBezTo>
                  <a:pt x="467540" y="1130693"/>
                  <a:pt x="469404" y="1130434"/>
                  <a:pt x="470868" y="1129635"/>
                </a:cubicBezTo>
                <a:cubicBezTo>
                  <a:pt x="472332" y="1129096"/>
                  <a:pt x="473663" y="1128297"/>
                  <a:pt x="474595" y="1127230"/>
                </a:cubicBezTo>
                <a:cubicBezTo>
                  <a:pt x="475660" y="1126167"/>
                  <a:pt x="476592" y="1124843"/>
                  <a:pt x="477258" y="1123107"/>
                </a:cubicBezTo>
                <a:cubicBezTo>
                  <a:pt x="477923" y="1121509"/>
                  <a:pt x="478323" y="1119645"/>
                  <a:pt x="478323" y="1117655"/>
                </a:cubicBezTo>
                <a:cubicBezTo>
                  <a:pt x="478323" y="1115791"/>
                  <a:pt x="477923" y="1114055"/>
                  <a:pt x="477258" y="1112457"/>
                </a:cubicBezTo>
                <a:cubicBezTo>
                  <a:pt x="476592" y="1110864"/>
                  <a:pt x="475660" y="1109530"/>
                  <a:pt x="474595" y="1108331"/>
                </a:cubicBezTo>
                <a:cubicBezTo>
                  <a:pt x="473530" y="1107266"/>
                  <a:pt x="472199" y="1106339"/>
                  <a:pt x="470602" y="1105670"/>
                </a:cubicBezTo>
                <a:cubicBezTo>
                  <a:pt x="469138" y="1105002"/>
                  <a:pt x="467540" y="1104736"/>
                  <a:pt x="465543" y="1104736"/>
                </a:cubicBezTo>
                <a:close/>
                <a:moveTo>
                  <a:pt x="247899" y="1104736"/>
                </a:moveTo>
                <a:cubicBezTo>
                  <a:pt x="242042" y="1104736"/>
                  <a:pt x="239513" y="1106737"/>
                  <a:pt x="237916" y="1108331"/>
                </a:cubicBezTo>
                <a:cubicBezTo>
                  <a:pt x="235386" y="1110994"/>
                  <a:pt x="234322" y="1113794"/>
                  <a:pt x="234322" y="1117780"/>
                </a:cubicBezTo>
                <a:cubicBezTo>
                  <a:pt x="234322" y="1121908"/>
                  <a:pt x="235386" y="1124708"/>
                  <a:pt x="237916" y="1127230"/>
                </a:cubicBezTo>
                <a:cubicBezTo>
                  <a:pt x="239513" y="1128836"/>
                  <a:pt x="242042" y="1130693"/>
                  <a:pt x="247899" y="1130693"/>
                </a:cubicBezTo>
                <a:cubicBezTo>
                  <a:pt x="250029" y="1130693"/>
                  <a:pt x="251760" y="1130434"/>
                  <a:pt x="253224" y="1129635"/>
                </a:cubicBezTo>
                <a:cubicBezTo>
                  <a:pt x="254688" y="1129096"/>
                  <a:pt x="256019" y="1128297"/>
                  <a:pt x="256951" y="1127230"/>
                </a:cubicBezTo>
                <a:cubicBezTo>
                  <a:pt x="258016" y="1126167"/>
                  <a:pt x="258948" y="1124843"/>
                  <a:pt x="259614" y="1123107"/>
                </a:cubicBezTo>
                <a:cubicBezTo>
                  <a:pt x="260279" y="1121509"/>
                  <a:pt x="260679" y="1119645"/>
                  <a:pt x="260679" y="1117655"/>
                </a:cubicBezTo>
                <a:cubicBezTo>
                  <a:pt x="260679" y="1115791"/>
                  <a:pt x="260279" y="1114055"/>
                  <a:pt x="259614" y="1112457"/>
                </a:cubicBezTo>
                <a:cubicBezTo>
                  <a:pt x="258948" y="1110864"/>
                  <a:pt x="258016" y="1109530"/>
                  <a:pt x="256951" y="1108331"/>
                </a:cubicBezTo>
                <a:cubicBezTo>
                  <a:pt x="255886" y="1107266"/>
                  <a:pt x="254555" y="1106339"/>
                  <a:pt x="252958" y="1105670"/>
                </a:cubicBezTo>
                <a:cubicBezTo>
                  <a:pt x="251493" y="1105002"/>
                  <a:pt x="249896" y="1104736"/>
                  <a:pt x="247899" y="1104736"/>
                </a:cubicBezTo>
                <a:close/>
                <a:moveTo>
                  <a:pt x="30255" y="1104736"/>
                </a:moveTo>
                <a:cubicBezTo>
                  <a:pt x="24398" y="1104736"/>
                  <a:pt x="21869" y="1106737"/>
                  <a:pt x="20271" y="1108331"/>
                </a:cubicBezTo>
                <a:cubicBezTo>
                  <a:pt x="17742" y="1110994"/>
                  <a:pt x="16678" y="1113794"/>
                  <a:pt x="16678" y="1117780"/>
                </a:cubicBezTo>
                <a:cubicBezTo>
                  <a:pt x="16678" y="1121908"/>
                  <a:pt x="17742" y="1124708"/>
                  <a:pt x="20271" y="1127230"/>
                </a:cubicBezTo>
                <a:cubicBezTo>
                  <a:pt x="21869" y="1128836"/>
                  <a:pt x="24398" y="1130693"/>
                  <a:pt x="30255" y="1130693"/>
                </a:cubicBezTo>
                <a:cubicBezTo>
                  <a:pt x="32385" y="1130693"/>
                  <a:pt x="34116" y="1130434"/>
                  <a:pt x="35580" y="1129635"/>
                </a:cubicBezTo>
                <a:cubicBezTo>
                  <a:pt x="37044" y="1129096"/>
                  <a:pt x="38376" y="1128297"/>
                  <a:pt x="39307" y="1127230"/>
                </a:cubicBezTo>
                <a:cubicBezTo>
                  <a:pt x="40372" y="1126167"/>
                  <a:pt x="41304" y="1124843"/>
                  <a:pt x="41970" y="1123107"/>
                </a:cubicBezTo>
                <a:cubicBezTo>
                  <a:pt x="42635" y="1121509"/>
                  <a:pt x="42901" y="1119645"/>
                  <a:pt x="42901" y="1117655"/>
                </a:cubicBezTo>
                <a:cubicBezTo>
                  <a:pt x="42901" y="1115791"/>
                  <a:pt x="42635" y="1114055"/>
                  <a:pt x="41970" y="1112457"/>
                </a:cubicBezTo>
                <a:cubicBezTo>
                  <a:pt x="41304" y="1110864"/>
                  <a:pt x="40372" y="1109530"/>
                  <a:pt x="39307" y="1108331"/>
                </a:cubicBezTo>
                <a:cubicBezTo>
                  <a:pt x="38242" y="1107266"/>
                  <a:pt x="36911" y="1106339"/>
                  <a:pt x="35314" y="1105670"/>
                </a:cubicBezTo>
                <a:cubicBezTo>
                  <a:pt x="33850" y="1105002"/>
                  <a:pt x="32252" y="1104736"/>
                  <a:pt x="30255" y="1104736"/>
                </a:cubicBezTo>
                <a:close/>
                <a:moveTo>
                  <a:pt x="10475977" y="1088096"/>
                </a:moveTo>
                <a:cubicBezTo>
                  <a:pt x="10480237" y="1088096"/>
                  <a:pt x="10484230" y="1088894"/>
                  <a:pt x="10487824" y="1090626"/>
                </a:cubicBezTo>
                <a:cubicBezTo>
                  <a:pt x="10491419" y="1092224"/>
                  <a:pt x="10494613" y="1094357"/>
                  <a:pt x="10497143" y="1097017"/>
                </a:cubicBezTo>
                <a:cubicBezTo>
                  <a:pt x="10499672" y="1099551"/>
                  <a:pt x="10501801" y="1102738"/>
                  <a:pt x="10503266" y="1106337"/>
                </a:cubicBezTo>
                <a:cubicBezTo>
                  <a:pt x="10504730" y="1109929"/>
                  <a:pt x="10505529" y="1113794"/>
                  <a:pt x="10505529" y="1117780"/>
                </a:cubicBezTo>
                <a:cubicBezTo>
                  <a:pt x="10505529" y="1121908"/>
                  <a:pt x="10504730" y="1125907"/>
                  <a:pt x="10503266" y="1129494"/>
                </a:cubicBezTo>
                <a:cubicBezTo>
                  <a:pt x="10501669" y="1133094"/>
                  <a:pt x="10499672" y="1136155"/>
                  <a:pt x="10497143" y="1138815"/>
                </a:cubicBezTo>
                <a:cubicBezTo>
                  <a:pt x="10494480" y="1141478"/>
                  <a:pt x="10491419" y="1143611"/>
                  <a:pt x="10487824" y="1145076"/>
                </a:cubicBezTo>
                <a:cubicBezTo>
                  <a:pt x="10484098" y="1146541"/>
                  <a:pt x="10480237" y="1147340"/>
                  <a:pt x="10475977" y="1147340"/>
                </a:cubicBezTo>
                <a:cubicBezTo>
                  <a:pt x="10466924" y="1147340"/>
                  <a:pt x="10459736" y="1144408"/>
                  <a:pt x="10454145" y="1138815"/>
                </a:cubicBezTo>
                <a:cubicBezTo>
                  <a:pt x="10448554" y="1133094"/>
                  <a:pt x="10445759" y="1126167"/>
                  <a:pt x="10445759" y="1117655"/>
                </a:cubicBezTo>
                <a:cubicBezTo>
                  <a:pt x="10445759" y="1109400"/>
                  <a:pt x="10448554" y="1102338"/>
                  <a:pt x="10454145" y="1096621"/>
                </a:cubicBezTo>
                <a:cubicBezTo>
                  <a:pt x="10459603" y="1091023"/>
                  <a:pt x="10466924" y="1088096"/>
                  <a:pt x="10475977" y="1088096"/>
                </a:cubicBezTo>
                <a:close/>
                <a:moveTo>
                  <a:pt x="10258466" y="1088096"/>
                </a:moveTo>
                <a:cubicBezTo>
                  <a:pt x="10262592" y="1088096"/>
                  <a:pt x="10266586" y="1088894"/>
                  <a:pt x="10270313" y="1090626"/>
                </a:cubicBezTo>
                <a:cubicBezTo>
                  <a:pt x="10273907" y="1092224"/>
                  <a:pt x="10277101" y="1094357"/>
                  <a:pt x="10279631" y="1097017"/>
                </a:cubicBezTo>
                <a:cubicBezTo>
                  <a:pt x="10282160" y="1099551"/>
                  <a:pt x="10284290" y="1102738"/>
                  <a:pt x="10285754" y="1106337"/>
                </a:cubicBezTo>
                <a:cubicBezTo>
                  <a:pt x="10287218" y="1109929"/>
                  <a:pt x="10288017" y="1113794"/>
                  <a:pt x="10288017" y="1117780"/>
                </a:cubicBezTo>
                <a:cubicBezTo>
                  <a:pt x="10288017" y="1121908"/>
                  <a:pt x="10287218" y="1125907"/>
                  <a:pt x="10285754" y="1129494"/>
                </a:cubicBezTo>
                <a:cubicBezTo>
                  <a:pt x="10284157" y="1133094"/>
                  <a:pt x="10282160" y="1136155"/>
                  <a:pt x="10279631" y="1138815"/>
                </a:cubicBezTo>
                <a:cubicBezTo>
                  <a:pt x="10276969" y="1141478"/>
                  <a:pt x="10273907" y="1143611"/>
                  <a:pt x="10270313" y="1145076"/>
                </a:cubicBezTo>
                <a:cubicBezTo>
                  <a:pt x="10266586" y="1146541"/>
                  <a:pt x="10262725" y="1147340"/>
                  <a:pt x="10258466" y="1147340"/>
                </a:cubicBezTo>
                <a:cubicBezTo>
                  <a:pt x="10249546" y="1147340"/>
                  <a:pt x="10242224" y="1144408"/>
                  <a:pt x="10236633" y="1138815"/>
                </a:cubicBezTo>
                <a:cubicBezTo>
                  <a:pt x="10231043" y="1133094"/>
                  <a:pt x="10228247" y="1126167"/>
                  <a:pt x="10228247" y="1117655"/>
                </a:cubicBezTo>
                <a:cubicBezTo>
                  <a:pt x="10228247" y="1109400"/>
                  <a:pt x="10231043" y="1102338"/>
                  <a:pt x="10236633" y="1096621"/>
                </a:cubicBezTo>
                <a:cubicBezTo>
                  <a:pt x="10242092" y="1091023"/>
                  <a:pt x="10249413" y="1088096"/>
                  <a:pt x="10258466" y="1088096"/>
                </a:cubicBezTo>
                <a:close/>
                <a:moveTo>
                  <a:pt x="10040820" y="1088096"/>
                </a:moveTo>
                <a:cubicBezTo>
                  <a:pt x="10045080" y="1088096"/>
                  <a:pt x="10048941" y="1088894"/>
                  <a:pt x="10052534" y="1090626"/>
                </a:cubicBezTo>
                <a:cubicBezTo>
                  <a:pt x="10056129" y="1092224"/>
                  <a:pt x="10059323" y="1094358"/>
                  <a:pt x="10061852" y="1097017"/>
                </a:cubicBezTo>
                <a:cubicBezTo>
                  <a:pt x="10064382" y="1099551"/>
                  <a:pt x="10066512" y="1102738"/>
                  <a:pt x="10067976" y="1106337"/>
                </a:cubicBezTo>
                <a:cubicBezTo>
                  <a:pt x="10069440" y="1109929"/>
                  <a:pt x="10070239" y="1113794"/>
                  <a:pt x="10070239" y="1117780"/>
                </a:cubicBezTo>
                <a:cubicBezTo>
                  <a:pt x="10070239" y="1121908"/>
                  <a:pt x="10069440" y="1125907"/>
                  <a:pt x="10067976" y="1129494"/>
                </a:cubicBezTo>
                <a:cubicBezTo>
                  <a:pt x="10066379" y="1133094"/>
                  <a:pt x="10064382" y="1136155"/>
                  <a:pt x="10061852" y="1138815"/>
                </a:cubicBezTo>
                <a:cubicBezTo>
                  <a:pt x="10059190" y="1141478"/>
                  <a:pt x="10056129" y="1143611"/>
                  <a:pt x="10052534" y="1145076"/>
                </a:cubicBezTo>
                <a:cubicBezTo>
                  <a:pt x="10048941" y="1146541"/>
                  <a:pt x="10045080" y="1147340"/>
                  <a:pt x="10040820" y="1147340"/>
                </a:cubicBezTo>
                <a:cubicBezTo>
                  <a:pt x="10031767" y="1147340"/>
                  <a:pt x="10024579" y="1144408"/>
                  <a:pt x="10018988" y="1138815"/>
                </a:cubicBezTo>
                <a:cubicBezTo>
                  <a:pt x="10013397" y="1133094"/>
                  <a:pt x="10010602" y="1126167"/>
                  <a:pt x="10010602" y="1117655"/>
                </a:cubicBezTo>
                <a:cubicBezTo>
                  <a:pt x="10010602" y="1109400"/>
                  <a:pt x="10013397" y="1102338"/>
                  <a:pt x="10018988" y="1096621"/>
                </a:cubicBezTo>
                <a:cubicBezTo>
                  <a:pt x="10024579" y="1091023"/>
                  <a:pt x="10031767" y="1088096"/>
                  <a:pt x="10040820" y="1088096"/>
                </a:cubicBezTo>
                <a:close/>
                <a:moveTo>
                  <a:pt x="9823176" y="1088096"/>
                </a:moveTo>
                <a:cubicBezTo>
                  <a:pt x="9827435" y="1088096"/>
                  <a:pt x="9831296" y="1088894"/>
                  <a:pt x="9834890" y="1090626"/>
                </a:cubicBezTo>
                <a:cubicBezTo>
                  <a:pt x="9838617" y="1092224"/>
                  <a:pt x="9841679" y="1094358"/>
                  <a:pt x="9844208" y="1097017"/>
                </a:cubicBezTo>
                <a:cubicBezTo>
                  <a:pt x="9846737" y="1099551"/>
                  <a:pt x="9848867" y="1102738"/>
                  <a:pt x="9850331" y="1106339"/>
                </a:cubicBezTo>
                <a:cubicBezTo>
                  <a:pt x="9851796" y="1109929"/>
                  <a:pt x="9852595" y="1113794"/>
                  <a:pt x="9852595" y="1117780"/>
                </a:cubicBezTo>
                <a:cubicBezTo>
                  <a:pt x="9852595" y="1121908"/>
                  <a:pt x="9851796" y="1125907"/>
                  <a:pt x="9850331" y="1129494"/>
                </a:cubicBezTo>
                <a:cubicBezTo>
                  <a:pt x="9848734" y="1133094"/>
                  <a:pt x="9846737" y="1136155"/>
                  <a:pt x="9844208" y="1138815"/>
                </a:cubicBezTo>
                <a:cubicBezTo>
                  <a:pt x="9841546" y="1141478"/>
                  <a:pt x="9838484" y="1143611"/>
                  <a:pt x="9834890" y="1145076"/>
                </a:cubicBezTo>
                <a:cubicBezTo>
                  <a:pt x="9831296" y="1146541"/>
                  <a:pt x="9827435" y="1147340"/>
                  <a:pt x="9823176" y="1147340"/>
                </a:cubicBezTo>
                <a:cubicBezTo>
                  <a:pt x="9814123" y="1147340"/>
                  <a:pt x="9806935" y="1144408"/>
                  <a:pt x="9801343" y="1138815"/>
                </a:cubicBezTo>
                <a:cubicBezTo>
                  <a:pt x="9795753" y="1133094"/>
                  <a:pt x="9792957" y="1126167"/>
                  <a:pt x="9792957" y="1117655"/>
                </a:cubicBezTo>
                <a:cubicBezTo>
                  <a:pt x="9792957" y="1109400"/>
                  <a:pt x="9795753" y="1102338"/>
                  <a:pt x="9801343" y="1096621"/>
                </a:cubicBezTo>
                <a:cubicBezTo>
                  <a:pt x="9806935" y="1091023"/>
                  <a:pt x="9814123" y="1088096"/>
                  <a:pt x="9823176" y="1088096"/>
                </a:cubicBezTo>
                <a:close/>
                <a:moveTo>
                  <a:pt x="9605531" y="1088096"/>
                </a:moveTo>
                <a:cubicBezTo>
                  <a:pt x="9609790" y="1088096"/>
                  <a:pt x="9613784" y="1088894"/>
                  <a:pt x="9617245" y="1090626"/>
                </a:cubicBezTo>
                <a:cubicBezTo>
                  <a:pt x="9620839" y="1092224"/>
                  <a:pt x="9624033" y="1094358"/>
                  <a:pt x="9626562" y="1097017"/>
                </a:cubicBezTo>
                <a:cubicBezTo>
                  <a:pt x="9629092" y="1099551"/>
                  <a:pt x="9631222" y="1102738"/>
                  <a:pt x="9632686" y="1106339"/>
                </a:cubicBezTo>
                <a:cubicBezTo>
                  <a:pt x="9634150" y="1109929"/>
                  <a:pt x="9634949" y="1113794"/>
                  <a:pt x="9634949" y="1117780"/>
                </a:cubicBezTo>
                <a:cubicBezTo>
                  <a:pt x="9634949" y="1121908"/>
                  <a:pt x="9634150" y="1125907"/>
                  <a:pt x="9632686" y="1129494"/>
                </a:cubicBezTo>
                <a:cubicBezTo>
                  <a:pt x="9631089" y="1133094"/>
                  <a:pt x="9629092" y="1136155"/>
                  <a:pt x="9626562" y="1138815"/>
                </a:cubicBezTo>
                <a:cubicBezTo>
                  <a:pt x="9623901" y="1141478"/>
                  <a:pt x="9620839" y="1143611"/>
                  <a:pt x="9617245" y="1145076"/>
                </a:cubicBezTo>
                <a:cubicBezTo>
                  <a:pt x="9613651" y="1146541"/>
                  <a:pt x="9609790" y="1147340"/>
                  <a:pt x="9605531" y="1147340"/>
                </a:cubicBezTo>
                <a:cubicBezTo>
                  <a:pt x="9596610" y="1147340"/>
                  <a:pt x="9589289" y="1144408"/>
                  <a:pt x="9583698" y="1138815"/>
                </a:cubicBezTo>
                <a:cubicBezTo>
                  <a:pt x="9578108" y="1133094"/>
                  <a:pt x="9575312" y="1126167"/>
                  <a:pt x="9575312" y="1117655"/>
                </a:cubicBezTo>
                <a:cubicBezTo>
                  <a:pt x="9575312" y="1109400"/>
                  <a:pt x="9578108" y="1102338"/>
                  <a:pt x="9583698" y="1096621"/>
                </a:cubicBezTo>
                <a:cubicBezTo>
                  <a:pt x="9589289" y="1091023"/>
                  <a:pt x="9596478" y="1088096"/>
                  <a:pt x="9605531" y="1088096"/>
                </a:cubicBezTo>
                <a:close/>
                <a:moveTo>
                  <a:pt x="9387885" y="1088096"/>
                </a:moveTo>
                <a:cubicBezTo>
                  <a:pt x="9392145" y="1088096"/>
                  <a:pt x="9396138" y="1088894"/>
                  <a:pt x="9399599" y="1090626"/>
                </a:cubicBezTo>
                <a:cubicBezTo>
                  <a:pt x="9403194" y="1092224"/>
                  <a:pt x="9406388" y="1094358"/>
                  <a:pt x="9408917" y="1097017"/>
                </a:cubicBezTo>
                <a:cubicBezTo>
                  <a:pt x="9411447" y="1099551"/>
                  <a:pt x="9413576" y="1102738"/>
                  <a:pt x="9415041" y="1106339"/>
                </a:cubicBezTo>
                <a:cubicBezTo>
                  <a:pt x="9416505" y="1109929"/>
                  <a:pt x="9417304" y="1113794"/>
                  <a:pt x="9417304" y="1117780"/>
                </a:cubicBezTo>
                <a:cubicBezTo>
                  <a:pt x="9417304" y="1121908"/>
                  <a:pt x="9416505" y="1125907"/>
                  <a:pt x="9415041" y="1129494"/>
                </a:cubicBezTo>
                <a:cubicBezTo>
                  <a:pt x="9413444" y="1133094"/>
                  <a:pt x="9411447" y="1136155"/>
                  <a:pt x="9408917" y="1138815"/>
                </a:cubicBezTo>
                <a:cubicBezTo>
                  <a:pt x="9406255" y="1141478"/>
                  <a:pt x="9403194" y="1143611"/>
                  <a:pt x="9399599" y="1145076"/>
                </a:cubicBezTo>
                <a:cubicBezTo>
                  <a:pt x="9396005" y="1146541"/>
                  <a:pt x="9392145" y="1147340"/>
                  <a:pt x="9387885" y="1147340"/>
                </a:cubicBezTo>
                <a:cubicBezTo>
                  <a:pt x="9378965" y="1147340"/>
                  <a:pt x="9371644" y="1144408"/>
                  <a:pt x="9366053" y="1138815"/>
                </a:cubicBezTo>
                <a:cubicBezTo>
                  <a:pt x="9360462" y="1133094"/>
                  <a:pt x="9357667" y="1126167"/>
                  <a:pt x="9357667" y="1117655"/>
                </a:cubicBezTo>
                <a:cubicBezTo>
                  <a:pt x="9357667" y="1109400"/>
                  <a:pt x="9360462" y="1102338"/>
                  <a:pt x="9366053" y="1096621"/>
                </a:cubicBezTo>
                <a:cubicBezTo>
                  <a:pt x="9371644" y="1091023"/>
                  <a:pt x="9378832" y="1088096"/>
                  <a:pt x="9387885" y="1088096"/>
                </a:cubicBezTo>
                <a:close/>
                <a:moveTo>
                  <a:pt x="9170374" y="1088096"/>
                </a:moveTo>
                <a:cubicBezTo>
                  <a:pt x="9174500" y="1088096"/>
                  <a:pt x="9178494" y="1088894"/>
                  <a:pt x="9182088" y="1090626"/>
                </a:cubicBezTo>
                <a:cubicBezTo>
                  <a:pt x="9185682" y="1092224"/>
                  <a:pt x="9188876" y="1094358"/>
                  <a:pt x="9191405" y="1097017"/>
                </a:cubicBezTo>
                <a:cubicBezTo>
                  <a:pt x="9193935" y="1099551"/>
                  <a:pt x="9196065" y="1102738"/>
                  <a:pt x="9197529" y="1106339"/>
                </a:cubicBezTo>
                <a:cubicBezTo>
                  <a:pt x="9198993" y="1109929"/>
                  <a:pt x="9199792" y="1113794"/>
                  <a:pt x="9199792" y="1117780"/>
                </a:cubicBezTo>
                <a:cubicBezTo>
                  <a:pt x="9199792" y="1121908"/>
                  <a:pt x="9198993" y="1125907"/>
                  <a:pt x="9197529" y="1129494"/>
                </a:cubicBezTo>
                <a:cubicBezTo>
                  <a:pt x="9195932" y="1133094"/>
                  <a:pt x="9193935" y="1136155"/>
                  <a:pt x="9191405" y="1138815"/>
                </a:cubicBezTo>
                <a:cubicBezTo>
                  <a:pt x="9188744" y="1141478"/>
                  <a:pt x="9185682" y="1143611"/>
                  <a:pt x="9182088" y="1145076"/>
                </a:cubicBezTo>
                <a:cubicBezTo>
                  <a:pt x="9178494" y="1146541"/>
                  <a:pt x="9174633" y="1147340"/>
                  <a:pt x="9170374" y="1147340"/>
                </a:cubicBezTo>
                <a:cubicBezTo>
                  <a:pt x="9161453" y="1147340"/>
                  <a:pt x="9154132" y="1144408"/>
                  <a:pt x="9148541" y="1138815"/>
                </a:cubicBezTo>
                <a:cubicBezTo>
                  <a:pt x="9142951" y="1133094"/>
                  <a:pt x="9140155" y="1126167"/>
                  <a:pt x="9140155" y="1117655"/>
                </a:cubicBezTo>
                <a:cubicBezTo>
                  <a:pt x="9140155" y="1109400"/>
                  <a:pt x="9142951" y="1102338"/>
                  <a:pt x="9148541" y="1096621"/>
                </a:cubicBezTo>
                <a:cubicBezTo>
                  <a:pt x="9154132" y="1091023"/>
                  <a:pt x="9161321" y="1088096"/>
                  <a:pt x="9170374" y="1088096"/>
                </a:cubicBezTo>
                <a:close/>
                <a:moveTo>
                  <a:pt x="8952728" y="1088096"/>
                </a:moveTo>
                <a:cubicBezTo>
                  <a:pt x="8956988" y="1088096"/>
                  <a:pt x="8960849" y="1088894"/>
                  <a:pt x="8964442" y="1090626"/>
                </a:cubicBezTo>
                <a:cubicBezTo>
                  <a:pt x="8968037" y="1092224"/>
                  <a:pt x="8971231" y="1094358"/>
                  <a:pt x="8973760" y="1097017"/>
                </a:cubicBezTo>
                <a:cubicBezTo>
                  <a:pt x="8976290" y="1099551"/>
                  <a:pt x="8978419" y="1102738"/>
                  <a:pt x="8979884" y="1106339"/>
                </a:cubicBezTo>
                <a:cubicBezTo>
                  <a:pt x="8981348" y="1109929"/>
                  <a:pt x="8982147" y="1113794"/>
                  <a:pt x="8982147" y="1117780"/>
                </a:cubicBezTo>
                <a:cubicBezTo>
                  <a:pt x="8982147" y="1121908"/>
                  <a:pt x="8981348" y="1125907"/>
                  <a:pt x="8979884" y="1129494"/>
                </a:cubicBezTo>
                <a:cubicBezTo>
                  <a:pt x="8978287" y="1133094"/>
                  <a:pt x="8976290" y="1136155"/>
                  <a:pt x="8973760" y="1138815"/>
                </a:cubicBezTo>
                <a:cubicBezTo>
                  <a:pt x="8971098" y="1141478"/>
                  <a:pt x="8968037" y="1143611"/>
                  <a:pt x="8964442" y="1145076"/>
                </a:cubicBezTo>
                <a:cubicBezTo>
                  <a:pt x="8960849" y="1146541"/>
                  <a:pt x="8956988" y="1147340"/>
                  <a:pt x="8952728" y="1147340"/>
                </a:cubicBezTo>
                <a:cubicBezTo>
                  <a:pt x="8943808" y="1147340"/>
                  <a:pt x="8936487" y="1144408"/>
                  <a:pt x="8930896" y="1138815"/>
                </a:cubicBezTo>
                <a:cubicBezTo>
                  <a:pt x="8925305" y="1133094"/>
                  <a:pt x="8922510" y="1126167"/>
                  <a:pt x="8922510" y="1117655"/>
                </a:cubicBezTo>
                <a:cubicBezTo>
                  <a:pt x="8922510" y="1109400"/>
                  <a:pt x="8925305" y="1102338"/>
                  <a:pt x="8930896" y="1096621"/>
                </a:cubicBezTo>
                <a:cubicBezTo>
                  <a:pt x="8936487" y="1091023"/>
                  <a:pt x="8943675" y="1088096"/>
                  <a:pt x="8952728" y="1088096"/>
                </a:cubicBezTo>
                <a:close/>
                <a:moveTo>
                  <a:pt x="8735083" y="1088096"/>
                </a:moveTo>
                <a:cubicBezTo>
                  <a:pt x="8739342" y="1088096"/>
                  <a:pt x="8743203" y="1088894"/>
                  <a:pt x="8746797" y="1090626"/>
                </a:cubicBezTo>
                <a:cubicBezTo>
                  <a:pt x="8750391" y="1092224"/>
                  <a:pt x="8753586" y="1094358"/>
                  <a:pt x="8756115" y="1097017"/>
                </a:cubicBezTo>
                <a:cubicBezTo>
                  <a:pt x="8758644" y="1099551"/>
                  <a:pt x="8760774" y="1102738"/>
                  <a:pt x="8762238" y="1106339"/>
                </a:cubicBezTo>
                <a:cubicBezTo>
                  <a:pt x="8763702" y="1109929"/>
                  <a:pt x="8764502" y="1113794"/>
                  <a:pt x="8764502" y="1117780"/>
                </a:cubicBezTo>
                <a:cubicBezTo>
                  <a:pt x="8764502" y="1121908"/>
                  <a:pt x="8763702" y="1125907"/>
                  <a:pt x="8762238" y="1129494"/>
                </a:cubicBezTo>
                <a:cubicBezTo>
                  <a:pt x="8760641" y="1133094"/>
                  <a:pt x="8758644" y="1136155"/>
                  <a:pt x="8756115" y="1138815"/>
                </a:cubicBezTo>
                <a:cubicBezTo>
                  <a:pt x="8753453" y="1141478"/>
                  <a:pt x="8750391" y="1143611"/>
                  <a:pt x="8746797" y="1145076"/>
                </a:cubicBezTo>
                <a:cubicBezTo>
                  <a:pt x="8743203" y="1146541"/>
                  <a:pt x="8739342" y="1147340"/>
                  <a:pt x="8735083" y="1147340"/>
                </a:cubicBezTo>
                <a:cubicBezTo>
                  <a:pt x="8726030" y="1147340"/>
                  <a:pt x="8718841" y="1144408"/>
                  <a:pt x="8713250" y="1138815"/>
                </a:cubicBezTo>
                <a:cubicBezTo>
                  <a:pt x="8707660" y="1133094"/>
                  <a:pt x="8704864" y="1126167"/>
                  <a:pt x="8704864" y="1117655"/>
                </a:cubicBezTo>
                <a:cubicBezTo>
                  <a:pt x="8704864" y="1109400"/>
                  <a:pt x="8707660" y="1102338"/>
                  <a:pt x="8713250" y="1096621"/>
                </a:cubicBezTo>
                <a:cubicBezTo>
                  <a:pt x="8718841" y="1091023"/>
                  <a:pt x="8726030" y="1088096"/>
                  <a:pt x="8735083" y="1088096"/>
                </a:cubicBezTo>
                <a:close/>
                <a:moveTo>
                  <a:pt x="8517438" y="1088096"/>
                </a:moveTo>
                <a:cubicBezTo>
                  <a:pt x="8521698" y="1088096"/>
                  <a:pt x="8525559" y="1088894"/>
                  <a:pt x="8529152" y="1090626"/>
                </a:cubicBezTo>
                <a:cubicBezTo>
                  <a:pt x="8532880" y="1092224"/>
                  <a:pt x="8535941" y="1094358"/>
                  <a:pt x="8538470" y="1097017"/>
                </a:cubicBezTo>
                <a:cubicBezTo>
                  <a:pt x="8541000" y="1099551"/>
                  <a:pt x="8543130" y="1102738"/>
                  <a:pt x="8544594" y="1106339"/>
                </a:cubicBezTo>
                <a:cubicBezTo>
                  <a:pt x="8546058" y="1109929"/>
                  <a:pt x="8546857" y="1113794"/>
                  <a:pt x="8546857" y="1117780"/>
                </a:cubicBezTo>
                <a:cubicBezTo>
                  <a:pt x="8546857" y="1121908"/>
                  <a:pt x="8546058" y="1125907"/>
                  <a:pt x="8544594" y="1129494"/>
                </a:cubicBezTo>
                <a:cubicBezTo>
                  <a:pt x="8542997" y="1133094"/>
                  <a:pt x="8541000" y="1136155"/>
                  <a:pt x="8538470" y="1138815"/>
                </a:cubicBezTo>
                <a:cubicBezTo>
                  <a:pt x="8535808" y="1141478"/>
                  <a:pt x="8532747" y="1143611"/>
                  <a:pt x="8529152" y="1145076"/>
                </a:cubicBezTo>
                <a:cubicBezTo>
                  <a:pt x="8525559" y="1146541"/>
                  <a:pt x="8521698" y="1147340"/>
                  <a:pt x="8517438" y="1147340"/>
                </a:cubicBezTo>
                <a:cubicBezTo>
                  <a:pt x="8508385" y="1147340"/>
                  <a:pt x="8501197" y="1144408"/>
                  <a:pt x="8495606" y="1138815"/>
                </a:cubicBezTo>
                <a:cubicBezTo>
                  <a:pt x="8490015" y="1133094"/>
                  <a:pt x="8487220" y="1126167"/>
                  <a:pt x="8487220" y="1117655"/>
                </a:cubicBezTo>
                <a:cubicBezTo>
                  <a:pt x="8487220" y="1109400"/>
                  <a:pt x="8490015" y="1102338"/>
                  <a:pt x="8495606" y="1096621"/>
                </a:cubicBezTo>
                <a:cubicBezTo>
                  <a:pt x="8501197" y="1091023"/>
                  <a:pt x="8508385" y="1088096"/>
                  <a:pt x="8517438" y="1088096"/>
                </a:cubicBezTo>
                <a:close/>
                <a:moveTo>
                  <a:pt x="8299793" y="1088096"/>
                </a:moveTo>
                <a:cubicBezTo>
                  <a:pt x="8304052" y="1088096"/>
                  <a:pt x="8308046" y="1088894"/>
                  <a:pt x="8311507" y="1090626"/>
                </a:cubicBezTo>
                <a:cubicBezTo>
                  <a:pt x="8315235" y="1092224"/>
                  <a:pt x="8318296" y="1094358"/>
                  <a:pt x="8320825" y="1097017"/>
                </a:cubicBezTo>
                <a:cubicBezTo>
                  <a:pt x="8323354" y="1099551"/>
                  <a:pt x="8325484" y="1102738"/>
                  <a:pt x="8326948" y="1106339"/>
                </a:cubicBezTo>
                <a:cubicBezTo>
                  <a:pt x="8328413" y="1109929"/>
                  <a:pt x="8329212" y="1113794"/>
                  <a:pt x="8329212" y="1117780"/>
                </a:cubicBezTo>
                <a:cubicBezTo>
                  <a:pt x="8329212" y="1121908"/>
                  <a:pt x="8328413" y="1125907"/>
                  <a:pt x="8326948" y="1129494"/>
                </a:cubicBezTo>
                <a:cubicBezTo>
                  <a:pt x="8325351" y="1133094"/>
                  <a:pt x="8323354" y="1136155"/>
                  <a:pt x="8320825" y="1138815"/>
                </a:cubicBezTo>
                <a:cubicBezTo>
                  <a:pt x="8318163" y="1141478"/>
                  <a:pt x="8315101" y="1143611"/>
                  <a:pt x="8311507" y="1145076"/>
                </a:cubicBezTo>
                <a:cubicBezTo>
                  <a:pt x="8307913" y="1146541"/>
                  <a:pt x="8304052" y="1147340"/>
                  <a:pt x="8299793" y="1147340"/>
                </a:cubicBezTo>
                <a:cubicBezTo>
                  <a:pt x="8290874" y="1147340"/>
                  <a:pt x="8283553" y="1144408"/>
                  <a:pt x="8277960" y="1138815"/>
                </a:cubicBezTo>
                <a:cubicBezTo>
                  <a:pt x="8272370" y="1133094"/>
                  <a:pt x="8269574" y="1126167"/>
                  <a:pt x="8269574" y="1117655"/>
                </a:cubicBezTo>
                <a:cubicBezTo>
                  <a:pt x="8269574" y="1109400"/>
                  <a:pt x="8272370" y="1102338"/>
                  <a:pt x="8277960" y="1096621"/>
                </a:cubicBezTo>
                <a:cubicBezTo>
                  <a:pt x="8283553" y="1091023"/>
                  <a:pt x="8290741" y="1088096"/>
                  <a:pt x="8299793" y="1088096"/>
                </a:cubicBezTo>
                <a:close/>
                <a:moveTo>
                  <a:pt x="8082281" y="1088096"/>
                </a:moveTo>
                <a:cubicBezTo>
                  <a:pt x="8086407" y="1088096"/>
                  <a:pt x="8090401" y="1088894"/>
                  <a:pt x="8094127" y="1090626"/>
                </a:cubicBezTo>
                <a:cubicBezTo>
                  <a:pt x="8097855" y="1092224"/>
                  <a:pt x="8100916" y="1094358"/>
                  <a:pt x="8103446" y="1097017"/>
                </a:cubicBezTo>
                <a:cubicBezTo>
                  <a:pt x="8105975" y="1099551"/>
                  <a:pt x="8108104" y="1102738"/>
                  <a:pt x="8109569" y="1106339"/>
                </a:cubicBezTo>
                <a:cubicBezTo>
                  <a:pt x="8111033" y="1109929"/>
                  <a:pt x="8111832" y="1113794"/>
                  <a:pt x="8111832" y="1117780"/>
                </a:cubicBezTo>
                <a:cubicBezTo>
                  <a:pt x="8111832" y="1121908"/>
                  <a:pt x="8111033" y="1125907"/>
                  <a:pt x="8109569" y="1129494"/>
                </a:cubicBezTo>
                <a:cubicBezTo>
                  <a:pt x="8107972" y="1133094"/>
                  <a:pt x="8105975" y="1136155"/>
                  <a:pt x="8103446" y="1138815"/>
                </a:cubicBezTo>
                <a:cubicBezTo>
                  <a:pt x="8100783" y="1141478"/>
                  <a:pt x="8097722" y="1143611"/>
                  <a:pt x="8094127" y="1145076"/>
                </a:cubicBezTo>
                <a:cubicBezTo>
                  <a:pt x="8090401" y="1146541"/>
                  <a:pt x="8086540" y="1147340"/>
                  <a:pt x="8082281" y="1147340"/>
                </a:cubicBezTo>
                <a:cubicBezTo>
                  <a:pt x="8073361" y="1147340"/>
                  <a:pt x="8066040" y="1144408"/>
                  <a:pt x="8060448" y="1138815"/>
                </a:cubicBezTo>
                <a:cubicBezTo>
                  <a:pt x="8054857" y="1133094"/>
                  <a:pt x="8052062" y="1126167"/>
                  <a:pt x="8052062" y="1117655"/>
                </a:cubicBezTo>
                <a:cubicBezTo>
                  <a:pt x="8052062" y="1109400"/>
                  <a:pt x="8054857" y="1102338"/>
                  <a:pt x="8060448" y="1096621"/>
                </a:cubicBezTo>
                <a:cubicBezTo>
                  <a:pt x="8066040" y="1091023"/>
                  <a:pt x="8073228" y="1088096"/>
                  <a:pt x="8082281" y="1088096"/>
                </a:cubicBezTo>
                <a:close/>
                <a:moveTo>
                  <a:pt x="7864636" y="1088096"/>
                </a:moveTo>
                <a:cubicBezTo>
                  <a:pt x="7868762" y="1088096"/>
                  <a:pt x="7872756" y="1088894"/>
                  <a:pt x="7876483" y="1090626"/>
                </a:cubicBezTo>
                <a:cubicBezTo>
                  <a:pt x="7880210" y="1092224"/>
                  <a:pt x="7883272" y="1094358"/>
                  <a:pt x="7885802" y="1097017"/>
                </a:cubicBezTo>
                <a:cubicBezTo>
                  <a:pt x="7888331" y="1099551"/>
                  <a:pt x="7890460" y="1102738"/>
                  <a:pt x="7891924" y="1106339"/>
                </a:cubicBezTo>
                <a:cubicBezTo>
                  <a:pt x="7893389" y="1109929"/>
                  <a:pt x="7894188" y="1113794"/>
                  <a:pt x="7894188" y="1117780"/>
                </a:cubicBezTo>
                <a:cubicBezTo>
                  <a:pt x="7894188" y="1121908"/>
                  <a:pt x="7893389" y="1125907"/>
                  <a:pt x="7891924" y="1129494"/>
                </a:cubicBezTo>
                <a:cubicBezTo>
                  <a:pt x="7890327" y="1133094"/>
                  <a:pt x="7888331" y="1136155"/>
                  <a:pt x="7885802" y="1138815"/>
                </a:cubicBezTo>
                <a:cubicBezTo>
                  <a:pt x="7883139" y="1141478"/>
                  <a:pt x="7880078" y="1143611"/>
                  <a:pt x="7876483" y="1145076"/>
                </a:cubicBezTo>
                <a:cubicBezTo>
                  <a:pt x="7872756" y="1146541"/>
                  <a:pt x="7868895" y="1147340"/>
                  <a:pt x="7864636" y="1147340"/>
                </a:cubicBezTo>
                <a:cubicBezTo>
                  <a:pt x="7855717" y="1147340"/>
                  <a:pt x="7848396" y="1144408"/>
                  <a:pt x="7842803" y="1138815"/>
                </a:cubicBezTo>
                <a:cubicBezTo>
                  <a:pt x="7837213" y="1133094"/>
                  <a:pt x="7834417" y="1126167"/>
                  <a:pt x="7834417" y="1117655"/>
                </a:cubicBezTo>
                <a:cubicBezTo>
                  <a:pt x="7834417" y="1109400"/>
                  <a:pt x="7837213" y="1102338"/>
                  <a:pt x="7842803" y="1096621"/>
                </a:cubicBezTo>
                <a:cubicBezTo>
                  <a:pt x="7848396" y="1091023"/>
                  <a:pt x="7855584" y="1088096"/>
                  <a:pt x="7864636" y="1088096"/>
                </a:cubicBezTo>
                <a:close/>
                <a:moveTo>
                  <a:pt x="7646991" y="1088096"/>
                </a:moveTo>
                <a:cubicBezTo>
                  <a:pt x="7651250" y="1088096"/>
                  <a:pt x="7655111" y="1088894"/>
                  <a:pt x="7658705" y="1090626"/>
                </a:cubicBezTo>
                <a:cubicBezTo>
                  <a:pt x="7662432" y="1092224"/>
                  <a:pt x="7665493" y="1094358"/>
                  <a:pt x="7668022" y="1097017"/>
                </a:cubicBezTo>
                <a:cubicBezTo>
                  <a:pt x="7670552" y="1099551"/>
                  <a:pt x="7672682" y="1102738"/>
                  <a:pt x="7674146" y="1106339"/>
                </a:cubicBezTo>
                <a:cubicBezTo>
                  <a:pt x="7675610" y="1109929"/>
                  <a:pt x="7676409" y="1113794"/>
                  <a:pt x="7676409" y="1117780"/>
                </a:cubicBezTo>
                <a:cubicBezTo>
                  <a:pt x="7676409" y="1121908"/>
                  <a:pt x="7675610" y="1125907"/>
                  <a:pt x="7674146" y="1129494"/>
                </a:cubicBezTo>
                <a:cubicBezTo>
                  <a:pt x="7672549" y="1133094"/>
                  <a:pt x="7670552" y="1136155"/>
                  <a:pt x="7668022" y="1138815"/>
                </a:cubicBezTo>
                <a:cubicBezTo>
                  <a:pt x="7665361" y="1141478"/>
                  <a:pt x="7662299" y="1143611"/>
                  <a:pt x="7658705" y="1145076"/>
                </a:cubicBezTo>
                <a:cubicBezTo>
                  <a:pt x="7655111" y="1146541"/>
                  <a:pt x="7651250" y="1147340"/>
                  <a:pt x="7646991" y="1147340"/>
                </a:cubicBezTo>
                <a:cubicBezTo>
                  <a:pt x="7638071" y="1147340"/>
                  <a:pt x="7630750" y="1144408"/>
                  <a:pt x="7625158" y="1138815"/>
                </a:cubicBezTo>
                <a:cubicBezTo>
                  <a:pt x="7619568" y="1133094"/>
                  <a:pt x="7616772" y="1126167"/>
                  <a:pt x="7616772" y="1117655"/>
                </a:cubicBezTo>
                <a:cubicBezTo>
                  <a:pt x="7616772" y="1109400"/>
                  <a:pt x="7619568" y="1102338"/>
                  <a:pt x="7625158" y="1096621"/>
                </a:cubicBezTo>
                <a:cubicBezTo>
                  <a:pt x="7630750" y="1091023"/>
                  <a:pt x="7637939" y="1088096"/>
                  <a:pt x="7646991" y="1088096"/>
                </a:cubicBezTo>
                <a:close/>
                <a:moveTo>
                  <a:pt x="7429345" y="1088096"/>
                </a:moveTo>
                <a:cubicBezTo>
                  <a:pt x="7433605" y="1088096"/>
                  <a:pt x="7437466" y="1088894"/>
                  <a:pt x="7441059" y="1090626"/>
                </a:cubicBezTo>
                <a:cubicBezTo>
                  <a:pt x="7444787" y="1092224"/>
                  <a:pt x="7447848" y="1094358"/>
                  <a:pt x="7450377" y="1097017"/>
                </a:cubicBezTo>
                <a:cubicBezTo>
                  <a:pt x="7452907" y="1099551"/>
                  <a:pt x="7455036" y="1102738"/>
                  <a:pt x="7456501" y="1106339"/>
                </a:cubicBezTo>
                <a:cubicBezTo>
                  <a:pt x="7457965" y="1109929"/>
                  <a:pt x="7458764" y="1113794"/>
                  <a:pt x="7458764" y="1117780"/>
                </a:cubicBezTo>
                <a:cubicBezTo>
                  <a:pt x="7458764" y="1121908"/>
                  <a:pt x="7457965" y="1125907"/>
                  <a:pt x="7456501" y="1129494"/>
                </a:cubicBezTo>
                <a:cubicBezTo>
                  <a:pt x="7454904" y="1133094"/>
                  <a:pt x="7452907" y="1136155"/>
                  <a:pt x="7450377" y="1138815"/>
                </a:cubicBezTo>
                <a:cubicBezTo>
                  <a:pt x="7447715" y="1141478"/>
                  <a:pt x="7444654" y="1143611"/>
                  <a:pt x="7441059" y="1145076"/>
                </a:cubicBezTo>
                <a:cubicBezTo>
                  <a:pt x="7437466" y="1146541"/>
                  <a:pt x="7433605" y="1147340"/>
                  <a:pt x="7429345" y="1147340"/>
                </a:cubicBezTo>
                <a:cubicBezTo>
                  <a:pt x="7420426" y="1147340"/>
                  <a:pt x="7413105" y="1144408"/>
                  <a:pt x="7407513" y="1138815"/>
                </a:cubicBezTo>
                <a:cubicBezTo>
                  <a:pt x="7401922" y="1133094"/>
                  <a:pt x="7399127" y="1126167"/>
                  <a:pt x="7399127" y="1117655"/>
                </a:cubicBezTo>
                <a:cubicBezTo>
                  <a:pt x="7399127" y="1109400"/>
                  <a:pt x="7401922" y="1102338"/>
                  <a:pt x="7407513" y="1096621"/>
                </a:cubicBezTo>
                <a:cubicBezTo>
                  <a:pt x="7413105" y="1091023"/>
                  <a:pt x="7420293" y="1088096"/>
                  <a:pt x="7429345" y="1088096"/>
                </a:cubicBezTo>
                <a:close/>
                <a:moveTo>
                  <a:pt x="7211701" y="1088096"/>
                </a:moveTo>
                <a:cubicBezTo>
                  <a:pt x="7215960" y="1088096"/>
                  <a:pt x="7219954" y="1088894"/>
                  <a:pt x="7223415" y="1090626"/>
                </a:cubicBezTo>
                <a:cubicBezTo>
                  <a:pt x="7227142" y="1092224"/>
                  <a:pt x="7230204" y="1094358"/>
                  <a:pt x="7232733" y="1097017"/>
                </a:cubicBezTo>
                <a:cubicBezTo>
                  <a:pt x="7235262" y="1099551"/>
                  <a:pt x="7237392" y="1102738"/>
                  <a:pt x="7238856" y="1106339"/>
                </a:cubicBezTo>
                <a:cubicBezTo>
                  <a:pt x="7240321" y="1109929"/>
                  <a:pt x="7241120" y="1113794"/>
                  <a:pt x="7241120" y="1117780"/>
                </a:cubicBezTo>
                <a:cubicBezTo>
                  <a:pt x="7241120" y="1121908"/>
                  <a:pt x="7240321" y="1125907"/>
                  <a:pt x="7238856" y="1129494"/>
                </a:cubicBezTo>
                <a:cubicBezTo>
                  <a:pt x="7237259" y="1133094"/>
                  <a:pt x="7235262" y="1136155"/>
                  <a:pt x="7232733" y="1138815"/>
                </a:cubicBezTo>
                <a:cubicBezTo>
                  <a:pt x="7230071" y="1141478"/>
                  <a:pt x="7227009" y="1143611"/>
                  <a:pt x="7223415" y="1145076"/>
                </a:cubicBezTo>
                <a:cubicBezTo>
                  <a:pt x="7219821" y="1146541"/>
                  <a:pt x="7215960" y="1147340"/>
                  <a:pt x="7211701" y="1147340"/>
                </a:cubicBezTo>
                <a:cubicBezTo>
                  <a:pt x="7202782" y="1147340"/>
                  <a:pt x="7195460" y="1144408"/>
                  <a:pt x="7189868" y="1138815"/>
                </a:cubicBezTo>
                <a:cubicBezTo>
                  <a:pt x="7184278" y="1133094"/>
                  <a:pt x="7181482" y="1126167"/>
                  <a:pt x="7181482" y="1117655"/>
                </a:cubicBezTo>
                <a:cubicBezTo>
                  <a:pt x="7181482" y="1109400"/>
                  <a:pt x="7184278" y="1102338"/>
                  <a:pt x="7189868" y="1096621"/>
                </a:cubicBezTo>
                <a:cubicBezTo>
                  <a:pt x="7195460" y="1091023"/>
                  <a:pt x="7202649" y="1088096"/>
                  <a:pt x="7211701" y="1088096"/>
                </a:cubicBezTo>
                <a:close/>
                <a:moveTo>
                  <a:pt x="6994056" y="1088096"/>
                </a:moveTo>
                <a:cubicBezTo>
                  <a:pt x="6998315" y="1088096"/>
                  <a:pt x="7002309" y="1088894"/>
                  <a:pt x="7005769" y="1090626"/>
                </a:cubicBezTo>
                <a:cubicBezTo>
                  <a:pt x="7009497" y="1092224"/>
                  <a:pt x="7012558" y="1094358"/>
                  <a:pt x="7015087" y="1097017"/>
                </a:cubicBezTo>
                <a:cubicBezTo>
                  <a:pt x="7017617" y="1099551"/>
                  <a:pt x="7019747" y="1102738"/>
                  <a:pt x="7021211" y="1106339"/>
                </a:cubicBezTo>
                <a:cubicBezTo>
                  <a:pt x="7022675" y="1109929"/>
                  <a:pt x="7023474" y="1113794"/>
                  <a:pt x="7023474" y="1117780"/>
                </a:cubicBezTo>
                <a:cubicBezTo>
                  <a:pt x="7023474" y="1121908"/>
                  <a:pt x="7022675" y="1125907"/>
                  <a:pt x="7021211" y="1129494"/>
                </a:cubicBezTo>
                <a:cubicBezTo>
                  <a:pt x="7019614" y="1133094"/>
                  <a:pt x="7017617" y="1136155"/>
                  <a:pt x="7015087" y="1138815"/>
                </a:cubicBezTo>
                <a:cubicBezTo>
                  <a:pt x="7012425" y="1141478"/>
                  <a:pt x="7009364" y="1143611"/>
                  <a:pt x="7005769" y="1145076"/>
                </a:cubicBezTo>
                <a:cubicBezTo>
                  <a:pt x="7002176" y="1146541"/>
                  <a:pt x="6998315" y="1147340"/>
                  <a:pt x="6994056" y="1147340"/>
                </a:cubicBezTo>
                <a:cubicBezTo>
                  <a:pt x="6985136" y="1147340"/>
                  <a:pt x="6977815" y="1144408"/>
                  <a:pt x="6972223" y="1138815"/>
                </a:cubicBezTo>
                <a:cubicBezTo>
                  <a:pt x="6966632" y="1133094"/>
                  <a:pt x="6963837" y="1126167"/>
                  <a:pt x="6963837" y="1117655"/>
                </a:cubicBezTo>
                <a:cubicBezTo>
                  <a:pt x="6963837" y="1109400"/>
                  <a:pt x="6966632" y="1102338"/>
                  <a:pt x="6972223" y="1096621"/>
                </a:cubicBezTo>
                <a:cubicBezTo>
                  <a:pt x="6977815" y="1091023"/>
                  <a:pt x="6985003" y="1088096"/>
                  <a:pt x="6994056" y="1088096"/>
                </a:cubicBezTo>
                <a:close/>
                <a:moveTo>
                  <a:pt x="6776544" y="1088096"/>
                </a:moveTo>
                <a:cubicBezTo>
                  <a:pt x="6780670" y="1088096"/>
                  <a:pt x="6784664" y="1088894"/>
                  <a:pt x="6788258" y="1090626"/>
                </a:cubicBezTo>
                <a:cubicBezTo>
                  <a:pt x="6791985" y="1092224"/>
                  <a:pt x="6795047" y="1094358"/>
                  <a:pt x="6797576" y="1097017"/>
                </a:cubicBezTo>
                <a:cubicBezTo>
                  <a:pt x="6800105" y="1099551"/>
                  <a:pt x="6802235" y="1102738"/>
                  <a:pt x="6803699" y="1106339"/>
                </a:cubicBezTo>
                <a:cubicBezTo>
                  <a:pt x="6805164" y="1109929"/>
                  <a:pt x="6805963" y="1113794"/>
                  <a:pt x="6805963" y="1117780"/>
                </a:cubicBezTo>
                <a:cubicBezTo>
                  <a:pt x="6805963" y="1121908"/>
                  <a:pt x="6805164" y="1125907"/>
                  <a:pt x="6803699" y="1129494"/>
                </a:cubicBezTo>
                <a:cubicBezTo>
                  <a:pt x="6802102" y="1133094"/>
                  <a:pt x="6800105" y="1136155"/>
                  <a:pt x="6797576" y="1138815"/>
                </a:cubicBezTo>
                <a:cubicBezTo>
                  <a:pt x="6794914" y="1141478"/>
                  <a:pt x="6791852" y="1143611"/>
                  <a:pt x="6788258" y="1145076"/>
                </a:cubicBezTo>
                <a:cubicBezTo>
                  <a:pt x="6784664" y="1146541"/>
                  <a:pt x="6780803" y="1147340"/>
                  <a:pt x="6776544" y="1147340"/>
                </a:cubicBezTo>
                <a:cubicBezTo>
                  <a:pt x="6767625" y="1147340"/>
                  <a:pt x="6760303" y="1144408"/>
                  <a:pt x="6754711" y="1138815"/>
                </a:cubicBezTo>
                <a:cubicBezTo>
                  <a:pt x="6749121" y="1133094"/>
                  <a:pt x="6746325" y="1126167"/>
                  <a:pt x="6746325" y="1117655"/>
                </a:cubicBezTo>
                <a:cubicBezTo>
                  <a:pt x="6746325" y="1109400"/>
                  <a:pt x="6749121" y="1102338"/>
                  <a:pt x="6754711" y="1096621"/>
                </a:cubicBezTo>
                <a:cubicBezTo>
                  <a:pt x="6760303" y="1091023"/>
                  <a:pt x="6767492" y="1088096"/>
                  <a:pt x="6776544" y="1088096"/>
                </a:cubicBezTo>
                <a:close/>
                <a:moveTo>
                  <a:pt x="6558899" y="1088096"/>
                </a:moveTo>
                <a:cubicBezTo>
                  <a:pt x="6563158" y="1088096"/>
                  <a:pt x="6567019" y="1088894"/>
                  <a:pt x="6570612" y="1090626"/>
                </a:cubicBezTo>
                <a:cubicBezTo>
                  <a:pt x="6574340" y="1092224"/>
                  <a:pt x="6577401" y="1094358"/>
                  <a:pt x="6579930" y="1097017"/>
                </a:cubicBezTo>
                <a:cubicBezTo>
                  <a:pt x="6582460" y="1099551"/>
                  <a:pt x="6584590" y="1102738"/>
                  <a:pt x="6586054" y="1106339"/>
                </a:cubicBezTo>
                <a:cubicBezTo>
                  <a:pt x="6587518" y="1109929"/>
                  <a:pt x="6588317" y="1113794"/>
                  <a:pt x="6588317" y="1117780"/>
                </a:cubicBezTo>
                <a:cubicBezTo>
                  <a:pt x="6588317" y="1121908"/>
                  <a:pt x="6587518" y="1125907"/>
                  <a:pt x="6586054" y="1129494"/>
                </a:cubicBezTo>
                <a:cubicBezTo>
                  <a:pt x="6584457" y="1133094"/>
                  <a:pt x="6582460" y="1136155"/>
                  <a:pt x="6579930" y="1138815"/>
                </a:cubicBezTo>
                <a:cubicBezTo>
                  <a:pt x="6577268" y="1141478"/>
                  <a:pt x="6574207" y="1143611"/>
                  <a:pt x="6570612" y="1145076"/>
                </a:cubicBezTo>
                <a:cubicBezTo>
                  <a:pt x="6567019" y="1146541"/>
                  <a:pt x="6563158" y="1147340"/>
                  <a:pt x="6558899" y="1147340"/>
                </a:cubicBezTo>
                <a:cubicBezTo>
                  <a:pt x="6549979" y="1147340"/>
                  <a:pt x="6542658" y="1144408"/>
                  <a:pt x="6537066" y="1138815"/>
                </a:cubicBezTo>
                <a:cubicBezTo>
                  <a:pt x="6531476" y="1133094"/>
                  <a:pt x="6528680" y="1126167"/>
                  <a:pt x="6528680" y="1117655"/>
                </a:cubicBezTo>
                <a:cubicBezTo>
                  <a:pt x="6528680" y="1109400"/>
                  <a:pt x="6531476" y="1102338"/>
                  <a:pt x="6537066" y="1096621"/>
                </a:cubicBezTo>
                <a:cubicBezTo>
                  <a:pt x="6542658" y="1091023"/>
                  <a:pt x="6549846" y="1088096"/>
                  <a:pt x="6558899" y="1088096"/>
                </a:cubicBezTo>
                <a:close/>
                <a:moveTo>
                  <a:pt x="6341253" y="1088096"/>
                </a:moveTo>
                <a:cubicBezTo>
                  <a:pt x="6345513" y="1088096"/>
                  <a:pt x="6349373" y="1088894"/>
                  <a:pt x="6352968" y="1090626"/>
                </a:cubicBezTo>
                <a:cubicBezTo>
                  <a:pt x="6356695" y="1092224"/>
                  <a:pt x="6359757" y="1094358"/>
                  <a:pt x="6362286" y="1097017"/>
                </a:cubicBezTo>
                <a:cubicBezTo>
                  <a:pt x="6364815" y="1099551"/>
                  <a:pt x="6366945" y="1102738"/>
                  <a:pt x="6368409" y="1106339"/>
                </a:cubicBezTo>
                <a:cubicBezTo>
                  <a:pt x="6369874" y="1109929"/>
                  <a:pt x="6370672" y="1113794"/>
                  <a:pt x="6370672" y="1117780"/>
                </a:cubicBezTo>
                <a:cubicBezTo>
                  <a:pt x="6370672" y="1121908"/>
                  <a:pt x="6369874" y="1125907"/>
                  <a:pt x="6368409" y="1129494"/>
                </a:cubicBezTo>
                <a:cubicBezTo>
                  <a:pt x="6366811" y="1133094"/>
                  <a:pt x="6364815" y="1136155"/>
                  <a:pt x="6362286" y="1138815"/>
                </a:cubicBezTo>
                <a:cubicBezTo>
                  <a:pt x="6359623" y="1141478"/>
                  <a:pt x="6356562" y="1143611"/>
                  <a:pt x="6352968" y="1145076"/>
                </a:cubicBezTo>
                <a:cubicBezTo>
                  <a:pt x="6349373" y="1146541"/>
                  <a:pt x="6345513" y="1147340"/>
                  <a:pt x="6341253" y="1147340"/>
                </a:cubicBezTo>
                <a:cubicBezTo>
                  <a:pt x="6332335" y="1147340"/>
                  <a:pt x="6325013" y="1144408"/>
                  <a:pt x="6319421" y="1138815"/>
                </a:cubicBezTo>
                <a:cubicBezTo>
                  <a:pt x="6313830" y="1133094"/>
                  <a:pt x="6311035" y="1126167"/>
                  <a:pt x="6311035" y="1117655"/>
                </a:cubicBezTo>
                <a:cubicBezTo>
                  <a:pt x="6311035" y="1109400"/>
                  <a:pt x="6313830" y="1102338"/>
                  <a:pt x="6319421" y="1096621"/>
                </a:cubicBezTo>
                <a:cubicBezTo>
                  <a:pt x="6325013" y="1091023"/>
                  <a:pt x="6332201" y="1088096"/>
                  <a:pt x="6341253" y="1088096"/>
                </a:cubicBezTo>
                <a:close/>
                <a:moveTo>
                  <a:pt x="6123608" y="1088096"/>
                </a:moveTo>
                <a:cubicBezTo>
                  <a:pt x="6127867" y="1088096"/>
                  <a:pt x="6131728" y="1088894"/>
                  <a:pt x="6135322" y="1090626"/>
                </a:cubicBezTo>
                <a:cubicBezTo>
                  <a:pt x="6139049" y="1092224"/>
                  <a:pt x="6142111" y="1094358"/>
                  <a:pt x="6144640" y="1097017"/>
                </a:cubicBezTo>
                <a:cubicBezTo>
                  <a:pt x="6147169" y="1099551"/>
                  <a:pt x="6149299" y="1102738"/>
                  <a:pt x="6150763" y="1106339"/>
                </a:cubicBezTo>
                <a:cubicBezTo>
                  <a:pt x="6152228" y="1109929"/>
                  <a:pt x="6153026" y="1113794"/>
                  <a:pt x="6153026" y="1117780"/>
                </a:cubicBezTo>
                <a:cubicBezTo>
                  <a:pt x="6153026" y="1121908"/>
                  <a:pt x="6152228" y="1125907"/>
                  <a:pt x="6150763" y="1129494"/>
                </a:cubicBezTo>
                <a:cubicBezTo>
                  <a:pt x="6149299" y="1133094"/>
                  <a:pt x="6147169" y="1136155"/>
                  <a:pt x="6144640" y="1138815"/>
                </a:cubicBezTo>
                <a:cubicBezTo>
                  <a:pt x="6141977" y="1141478"/>
                  <a:pt x="6138916" y="1143611"/>
                  <a:pt x="6135322" y="1145076"/>
                </a:cubicBezTo>
                <a:cubicBezTo>
                  <a:pt x="6131728" y="1146541"/>
                  <a:pt x="6127867" y="1147340"/>
                  <a:pt x="6123608" y="1147340"/>
                </a:cubicBezTo>
                <a:cubicBezTo>
                  <a:pt x="6114689" y="1147340"/>
                  <a:pt x="6107367" y="1144408"/>
                  <a:pt x="6101775" y="1138815"/>
                </a:cubicBezTo>
                <a:cubicBezTo>
                  <a:pt x="6096184" y="1133094"/>
                  <a:pt x="6093389" y="1126167"/>
                  <a:pt x="6093389" y="1117655"/>
                </a:cubicBezTo>
                <a:cubicBezTo>
                  <a:pt x="6093389" y="1109400"/>
                  <a:pt x="6096184" y="1102338"/>
                  <a:pt x="6101775" y="1096621"/>
                </a:cubicBezTo>
                <a:cubicBezTo>
                  <a:pt x="6107367" y="1091023"/>
                  <a:pt x="6114555" y="1088096"/>
                  <a:pt x="6123608" y="1088096"/>
                </a:cubicBezTo>
                <a:close/>
                <a:moveTo>
                  <a:pt x="5905963" y="1088096"/>
                </a:moveTo>
                <a:cubicBezTo>
                  <a:pt x="5910222" y="1088096"/>
                  <a:pt x="5914216" y="1088894"/>
                  <a:pt x="5917677" y="1090626"/>
                </a:cubicBezTo>
                <a:cubicBezTo>
                  <a:pt x="5921404" y="1092224"/>
                  <a:pt x="5924466" y="1094358"/>
                  <a:pt x="5926995" y="1097017"/>
                </a:cubicBezTo>
                <a:cubicBezTo>
                  <a:pt x="5929524" y="1099551"/>
                  <a:pt x="5931654" y="1102738"/>
                  <a:pt x="5933118" y="1106339"/>
                </a:cubicBezTo>
                <a:cubicBezTo>
                  <a:pt x="5934583" y="1109929"/>
                  <a:pt x="5935381" y="1113794"/>
                  <a:pt x="5935381" y="1117780"/>
                </a:cubicBezTo>
                <a:cubicBezTo>
                  <a:pt x="5935381" y="1121908"/>
                  <a:pt x="5934583" y="1125907"/>
                  <a:pt x="5933118" y="1129494"/>
                </a:cubicBezTo>
                <a:cubicBezTo>
                  <a:pt x="5931654" y="1133094"/>
                  <a:pt x="5929524" y="1136155"/>
                  <a:pt x="5926995" y="1138815"/>
                </a:cubicBezTo>
                <a:cubicBezTo>
                  <a:pt x="5924333" y="1141478"/>
                  <a:pt x="5921271" y="1143611"/>
                  <a:pt x="5917677" y="1145076"/>
                </a:cubicBezTo>
                <a:cubicBezTo>
                  <a:pt x="5914083" y="1146541"/>
                  <a:pt x="5910222" y="1147340"/>
                  <a:pt x="5905963" y="1147340"/>
                </a:cubicBezTo>
                <a:cubicBezTo>
                  <a:pt x="5897044" y="1147340"/>
                  <a:pt x="5889722" y="1144408"/>
                  <a:pt x="5884130" y="1138815"/>
                </a:cubicBezTo>
                <a:cubicBezTo>
                  <a:pt x="5878540" y="1133094"/>
                  <a:pt x="5875744" y="1126167"/>
                  <a:pt x="5875744" y="1117655"/>
                </a:cubicBezTo>
                <a:cubicBezTo>
                  <a:pt x="5875744" y="1109400"/>
                  <a:pt x="5878540" y="1102338"/>
                  <a:pt x="5884130" y="1096621"/>
                </a:cubicBezTo>
                <a:cubicBezTo>
                  <a:pt x="5889722" y="1091023"/>
                  <a:pt x="5896910" y="1088096"/>
                  <a:pt x="5905963" y="1088096"/>
                </a:cubicBezTo>
                <a:close/>
                <a:moveTo>
                  <a:pt x="5688451" y="1088096"/>
                </a:moveTo>
                <a:cubicBezTo>
                  <a:pt x="5692577" y="1088096"/>
                  <a:pt x="5696571" y="1088894"/>
                  <a:pt x="5700165" y="1090626"/>
                </a:cubicBezTo>
                <a:cubicBezTo>
                  <a:pt x="5703892" y="1092224"/>
                  <a:pt x="5706954" y="1094358"/>
                  <a:pt x="5709483" y="1097017"/>
                </a:cubicBezTo>
                <a:cubicBezTo>
                  <a:pt x="5712012" y="1099551"/>
                  <a:pt x="5714142" y="1102738"/>
                  <a:pt x="5715606" y="1106339"/>
                </a:cubicBezTo>
                <a:cubicBezTo>
                  <a:pt x="5717071" y="1109929"/>
                  <a:pt x="5717869" y="1113794"/>
                  <a:pt x="5717869" y="1117780"/>
                </a:cubicBezTo>
                <a:cubicBezTo>
                  <a:pt x="5717869" y="1121908"/>
                  <a:pt x="5717071" y="1125907"/>
                  <a:pt x="5715606" y="1129494"/>
                </a:cubicBezTo>
                <a:cubicBezTo>
                  <a:pt x="5714142" y="1133094"/>
                  <a:pt x="5712012" y="1136155"/>
                  <a:pt x="5709483" y="1138815"/>
                </a:cubicBezTo>
                <a:cubicBezTo>
                  <a:pt x="5706820" y="1141478"/>
                  <a:pt x="5703759" y="1143611"/>
                  <a:pt x="5700165" y="1145076"/>
                </a:cubicBezTo>
                <a:cubicBezTo>
                  <a:pt x="5696571" y="1146541"/>
                  <a:pt x="5692710" y="1147340"/>
                  <a:pt x="5688451" y="1147340"/>
                </a:cubicBezTo>
                <a:cubicBezTo>
                  <a:pt x="5679532" y="1147340"/>
                  <a:pt x="5672210" y="1144408"/>
                  <a:pt x="5666618" y="1138815"/>
                </a:cubicBezTo>
                <a:cubicBezTo>
                  <a:pt x="5661028" y="1133094"/>
                  <a:pt x="5658232" y="1126167"/>
                  <a:pt x="5658232" y="1117655"/>
                </a:cubicBezTo>
                <a:cubicBezTo>
                  <a:pt x="5658232" y="1109400"/>
                  <a:pt x="5661028" y="1102338"/>
                  <a:pt x="5666618" y="1096621"/>
                </a:cubicBezTo>
                <a:cubicBezTo>
                  <a:pt x="5672210" y="1091023"/>
                  <a:pt x="5679398" y="1088096"/>
                  <a:pt x="5688451" y="1088096"/>
                </a:cubicBezTo>
                <a:close/>
                <a:moveTo>
                  <a:pt x="5470806" y="1088096"/>
                </a:moveTo>
                <a:cubicBezTo>
                  <a:pt x="5475065" y="1088096"/>
                  <a:pt x="5478926" y="1088894"/>
                  <a:pt x="5482520" y="1090626"/>
                </a:cubicBezTo>
                <a:cubicBezTo>
                  <a:pt x="5486247" y="1092224"/>
                  <a:pt x="5489309" y="1094358"/>
                  <a:pt x="5491838" y="1097017"/>
                </a:cubicBezTo>
                <a:cubicBezTo>
                  <a:pt x="5494367" y="1099551"/>
                  <a:pt x="5496497" y="1102738"/>
                  <a:pt x="5497961" y="1106339"/>
                </a:cubicBezTo>
                <a:cubicBezTo>
                  <a:pt x="5499426" y="1109929"/>
                  <a:pt x="5500224" y="1113794"/>
                  <a:pt x="5500224" y="1117780"/>
                </a:cubicBezTo>
                <a:cubicBezTo>
                  <a:pt x="5500224" y="1121908"/>
                  <a:pt x="5499426" y="1125907"/>
                  <a:pt x="5497961" y="1129494"/>
                </a:cubicBezTo>
                <a:cubicBezTo>
                  <a:pt x="5496497" y="1133094"/>
                  <a:pt x="5494367" y="1136155"/>
                  <a:pt x="5491838" y="1138815"/>
                </a:cubicBezTo>
                <a:cubicBezTo>
                  <a:pt x="5489176" y="1141478"/>
                  <a:pt x="5486114" y="1143611"/>
                  <a:pt x="5482520" y="1145076"/>
                </a:cubicBezTo>
                <a:cubicBezTo>
                  <a:pt x="5478926" y="1146541"/>
                  <a:pt x="5475065" y="1147340"/>
                  <a:pt x="5470806" y="1147340"/>
                </a:cubicBezTo>
                <a:cubicBezTo>
                  <a:pt x="5461887" y="1147340"/>
                  <a:pt x="5454565" y="1144408"/>
                  <a:pt x="5448973" y="1138815"/>
                </a:cubicBezTo>
                <a:cubicBezTo>
                  <a:pt x="5443383" y="1133094"/>
                  <a:pt x="5440587" y="1126167"/>
                  <a:pt x="5440587" y="1117655"/>
                </a:cubicBezTo>
                <a:cubicBezTo>
                  <a:pt x="5440587" y="1109400"/>
                  <a:pt x="5443383" y="1102338"/>
                  <a:pt x="5448973" y="1096621"/>
                </a:cubicBezTo>
                <a:cubicBezTo>
                  <a:pt x="5454565" y="1091023"/>
                  <a:pt x="5461754" y="1088096"/>
                  <a:pt x="5470806" y="1088096"/>
                </a:cubicBezTo>
                <a:close/>
                <a:moveTo>
                  <a:pt x="5253160" y="1088096"/>
                </a:moveTo>
                <a:cubicBezTo>
                  <a:pt x="5257420" y="1088096"/>
                  <a:pt x="5261280" y="1088894"/>
                  <a:pt x="5264875" y="1090626"/>
                </a:cubicBezTo>
                <a:cubicBezTo>
                  <a:pt x="5268602" y="1092224"/>
                  <a:pt x="5271664" y="1094358"/>
                  <a:pt x="5274192" y="1097017"/>
                </a:cubicBezTo>
                <a:cubicBezTo>
                  <a:pt x="5276722" y="1099551"/>
                  <a:pt x="5278852" y="1102738"/>
                  <a:pt x="5280316" y="1106339"/>
                </a:cubicBezTo>
                <a:cubicBezTo>
                  <a:pt x="5281780" y="1109929"/>
                  <a:pt x="5282579" y="1113794"/>
                  <a:pt x="5282579" y="1117780"/>
                </a:cubicBezTo>
                <a:cubicBezTo>
                  <a:pt x="5282579" y="1121908"/>
                  <a:pt x="5281780" y="1125907"/>
                  <a:pt x="5280316" y="1129494"/>
                </a:cubicBezTo>
                <a:cubicBezTo>
                  <a:pt x="5278852" y="1133094"/>
                  <a:pt x="5276722" y="1136155"/>
                  <a:pt x="5274192" y="1138815"/>
                </a:cubicBezTo>
                <a:cubicBezTo>
                  <a:pt x="5271664" y="1141478"/>
                  <a:pt x="5268469" y="1143611"/>
                  <a:pt x="5264875" y="1145076"/>
                </a:cubicBezTo>
                <a:cubicBezTo>
                  <a:pt x="5261280" y="1146541"/>
                  <a:pt x="5257420" y="1147340"/>
                  <a:pt x="5253160" y="1147340"/>
                </a:cubicBezTo>
                <a:cubicBezTo>
                  <a:pt x="5244241" y="1147340"/>
                  <a:pt x="5236920" y="1144408"/>
                  <a:pt x="5231328" y="1138815"/>
                </a:cubicBezTo>
                <a:cubicBezTo>
                  <a:pt x="5225737" y="1133094"/>
                  <a:pt x="5222942" y="1126167"/>
                  <a:pt x="5222942" y="1117655"/>
                </a:cubicBezTo>
                <a:cubicBezTo>
                  <a:pt x="5222942" y="1109400"/>
                  <a:pt x="5225737" y="1102338"/>
                  <a:pt x="5231328" y="1096621"/>
                </a:cubicBezTo>
                <a:cubicBezTo>
                  <a:pt x="5236920" y="1091023"/>
                  <a:pt x="5244108" y="1088096"/>
                  <a:pt x="5253160" y="1088096"/>
                </a:cubicBezTo>
                <a:close/>
                <a:moveTo>
                  <a:pt x="5035515" y="1088096"/>
                </a:moveTo>
                <a:cubicBezTo>
                  <a:pt x="5039775" y="1088096"/>
                  <a:pt x="5043636" y="1088894"/>
                  <a:pt x="5047230" y="1090626"/>
                </a:cubicBezTo>
                <a:cubicBezTo>
                  <a:pt x="5050957" y="1092224"/>
                  <a:pt x="5054019" y="1094358"/>
                  <a:pt x="5056548" y="1097017"/>
                </a:cubicBezTo>
                <a:cubicBezTo>
                  <a:pt x="5059077" y="1099551"/>
                  <a:pt x="5061207" y="1102738"/>
                  <a:pt x="5062671" y="1106339"/>
                </a:cubicBezTo>
                <a:cubicBezTo>
                  <a:pt x="5064135" y="1109929"/>
                  <a:pt x="5064934" y="1113794"/>
                  <a:pt x="5064934" y="1117780"/>
                </a:cubicBezTo>
                <a:cubicBezTo>
                  <a:pt x="5064934" y="1121908"/>
                  <a:pt x="5064135" y="1125907"/>
                  <a:pt x="5062671" y="1129494"/>
                </a:cubicBezTo>
                <a:cubicBezTo>
                  <a:pt x="5061207" y="1133094"/>
                  <a:pt x="5059077" y="1136155"/>
                  <a:pt x="5056548" y="1138815"/>
                </a:cubicBezTo>
                <a:cubicBezTo>
                  <a:pt x="5053885" y="1141478"/>
                  <a:pt x="5050824" y="1143611"/>
                  <a:pt x="5047230" y="1145076"/>
                </a:cubicBezTo>
                <a:cubicBezTo>
                  <a:pt x="5043636" y="1146541"/>
                  <a:pt x="5039775" y="1147340"/>
                  <a:pt x="5035515" y="1147340"/>
                </a:cubicBezTo>
                <a:cubicBezTo>
                  <a:pt x="5026597" y="1147340"/>
                  <a:pt x="5019275" y="1144408"/>
                  <a:pt x="5013683" y="1138815"/>
                </a:cubicBezTo>
                <a:cubicBezTo>
                  <a:pt x="5008092" y="1133094"/>
                  <a:pt x="5005297" y="1126167"/>
                  <a:pt x="5005297" y="1117655"/>
                </a:cubicBezTo>
                <a:cubicBezTo>
                  <a:pt x="5005297" y="1109400"/>
                  <a:pt x="5008092" y="1102338"/>
                  <a:pt x="5013683" y="1096621"/>
                </a:cubicBezTo>
                <a:cubicBezTo>
                  <a:pt x="5019275" y="1091023"/>
                  <a:pt x="5026463" y="1088096"/>
                  <a:pt x="5035515" y="1088096"/>
                </a:cubicBezTo>
                <a:close/>
                <a:moveTo>
                  <a:pt x="4817870" y="1088096"/>
                </a:moveTo>
                <a:cubicBezTo>
                  <a:pt x="4822130" y="1088096"/>
                  <a:pt x="4826124" y="1088894"/>
                  <a:pt x="4829585" y="1090626"/>
                </a:cubicBezTo>
                <a:cubicBezTo>
                  <a:pt x="4833312" y="1092224"/>
                  <a:pt x="4836374" y="1094358"/>
                  <a:pt x="4838903" y="1097017"/>
                </a:cubicBezTo>
                <a:cubicBezTo>
                  <a:pt x="4841432" y="1099551"/>
                  <a:pt x="4843562" y="1102738"/>
                  <a:pt x="4845026" y="1106339"/>
                </a:cubicBezTo>
                <a:cubicBezTo>
                  <a:pt x="4846491" y="1109929"/>
                  <a:pt x="4847289" y="1113794"/>
                  <a:pt x="4847289" y="1117780"/>
                </a:cubicBezTo>
                <a:cubicBezTo>
                  <a:pt x="4847289" y="1121908"/>
                  <a:pt x="4846491" y="1125907"/>
                  <a:pt x="4845026" y="1129494"/>
                </a:cubicBezTo>
                <a:cubicBezTo>
                  <a:pt x="4843562" y="1133094"/>
                  <a:pt x="4841432" y="1136155"/>
                  <a:pt x="4838903" y="1138815"/>
                </a:cubicBezTo>
                <a:cubicBezTo>
                  <a:pt x="4836240" y="1141478"/>
                  <a:pt x="4833179" y="1143611"/>
                  <a:pt x="4829585" y="1145076"/>
                </a:cubicBezTo>
                <a:cubicBezTo>
                  <a:pt x="4825991" y="1146541"/>
                  <a:pt x="4822130" y="1147340"/>
                  <a:pt x="4817870" y="1147340"/>
                </a:cubicBezTo>
                <a:cubicBezTo>
                  <a:pt x="4808952" y="1147340"/>
                  <a:pt x="4801630" y="1144408"/>
                  <a:pt x="4796038" y="1138815"/>
                </a:cubicBezTo>
                <a:cubicBezTo>
                  <a:pt x="4790447" y="1133094"/>
                  <a:pt x="4787652" y="1126167"/>
                  <a:pt x="4787652" y="1117655"/>
                </a:cubicBezTo>
                <a:cubicBezTo>
                  <a:pt x="4787652" y="1109400"/>
                  <a:pt x="4790447" y="1102338"/>
                  <a:pt x="4796038" y="1096621"/>
                </a:cubicBezTo>
                <a:cubicBezTo>
                  <a:pt x="4801630" y="1091023"/>
                  <a:pt x="4808818" y="1088096"/>
                  <a:pt x="4817870" y="1088096"/>
                </a:cubicBezTo>
                <a:close/>
                <a:moveTo>
                  <a:pt x="4600226" y="1088096"/>
                </a:moveTo>
                <a:cubicBezTo>
                  <a:pt x="4604485" y="1088096"/>
                  <a:pt x="4608479" y="1088894"/>
                  <a:pt x="4612073" y="1090626"/>
                </a:cubicBezTo>
                <a:cubicBezTo>
                  <a:pt x="4615800" y="1092224"/>
                  <a:pt x="4618862" y="1094358"/>
                  <a:pt x="4621391" y="1097017"/>
                </a:cubicBezTo>
                <a:cubicBezTo>
                  <a:pt x="4623920" y="1099551"/>
                  <a:pt x="4626050" y="1102738"/>
                  <a:pt x="4627514" y="1106339"/>
                </a:cubicBezTo>
                <a:cubicBezTo>
                  <a:pt x="4628978" y="1109929"/>
                  <a:pt x="4629777" y="1113794"/>
                  <a:pt x="4629777" y="1117780"/>
                </a:cubicBezTo>
                <a:cubicBezTo>
                  <a:pt x="4629777" y="1121908"/>
                  <a:pt x="4628978" y="1125907"/>
                  <a:pt x="4627514" y="1129494"/>
                </a:cubicBezTo>
                <a:cubicBezTo>
                  <a:pt x="4626050" y="1133094"/>
                  <a:pt x="4623920" y="1136155"/>
                  <a:pt x="4621391" y="1138815"/>
                </a:cubicBezTo>
                <a:cubicBezTo>
                  <a:pt x="4618729" y="1141478"/>
                  <a:pt x="4615667" y="1143611"/>
                  <a:pt x="4612073" y="1145076"/>
                </a:cubicBezTo>
                <a:cubicBezTo>
                  <a:pt x="4608346" y="1146541"/>
                  <a:pt x="4604485" y="1147340"/>
                  <a:pt x="4600226" y="1147340"/>
                </a:cubicBezTo>
                <a:cubicBezTo>
                  <a:pt x="4591173" y="1147340"/>
                  <a:pt x="4583985" y="1144408"/>
                  <a:pt x="4578393" y="1138815"/>
                </a:cubicBezTo>
                <a:cubicBezTo>
                  <a:pt x="4572803" y="1133094"/>
                  <a:pt x="4570007" y="1126167"/>
                  <a:pt x="4570007" y="1117655"/>
                </a:cubicBezTo>
                <a:cubicBezTo>
                  <a:pt x="4570007" y="1109400"/>
                  <a:pt x="4572803" y="1102338"/>
                  <a:pt x="4578393" y="1096621"/>
                </a:cubicBezTo>
                <a:cubicBezTo>
                  <a:pt x="4583985" y="1091023"/>
                  <a:pt x="4591173" y="1088096"/>
                  <a:pt x="4600226" y="1088096"/>
                </a:cubicBezTo>
                <a:close/>
                <a:moveTo>
                  <a:pt x="4382713" y="1088096"/>
                </a:moveTo>
                <a:cubicBezTo>
                  <a:pt x="4386840" y="1088096"/>
                  <a:pt x="4390834" y="1088894"/>
                  <a:pt x="4394428" y="1090626"/>
                </a:cubicBezTo>
                <a:cubicBezTo>
                  <a:pt x="4398155" y="1092224"/>
                  <a:pt x="4401217" y="1094358"/>
                  <a:pt x="4403746" y="1097017"/>
                </a:cubicBezTo>
                <a:cubicBezTo>
                  <a:pt x="4406275" y="1099551"/>
                  <a:pt x="4408405" y="1102738"/>
                  <a:pt x="4409869" y="1106339"/>
                </a:cubicBezTo>
                <a:cubicBezTo>
                  <a:pt x="4411334" y="1109929"/>
                  <a:pt x="4412132" y="1113794"/>
                  <a:pt x="4412132" y="1117780"/>
                </a:cubicBezTo>
                <a:cubicBezTo>
                  <a:pt x="4412132" y="1121908"/>
                  <a:pt x="4411334" y="1125907"/>
                  <a:pt x="4409869" y="1129494"/>
                </a:cubicBezTo>
                <a:cubicBezTo>
                  <a:pt x="4408405" y="1133094"/>
                  <a:pt x="4406275" y="1136155"/>
                  <a:pt x="4403746" y="1138815"/>
                </a:cubicBezTo>
                <a:cubicBezTo>
                  <a:pt x="4401083" y="1141478"/>
                  <a:pt x="4398022" y="1143611"/>
                  <a:pt x="4394428" y="1145076"/>
                </a:cubicBezTo>
                <a:cubicBezTo>
                  <a:pt x="4390834" y="1146541"/>
                  <a:pt x="4386973" y="1147340"/>
                  <a:pt x="4382713" y="1147340"/>
                </a:cubicBezTo>
                <a:cubicBezTo>
                  <a:pt x="4373661" y="1147340"/>
                  <a:pt x="4366473" y="1144408"/>
                  <a:pt x="4360881" y="1138815"/>
                </a:cubicBezTo>
                <a:cubicBezTo>
                  <a:pt x="4355290" y="1133094"/>
                  <a:pt x="4352495" y="1126167"/>
                  <a:pt x="4352495" y="1117655"/>
                </a:cubicBezTo>
                <a:cubicBezTo>
                  <a:pt x="4352495" y="1109400"/>
                  <a:pt x="4355290" y="1102338"/>
                  <a:pt x="4360881" y="1096621"/>
                </a:cubicBezTo>
                <a:cubicBezTo>
                  <a:pt x="4366473" y="1091023"/>
                  <a:pt x="4373661" y="1088096"/>
                  <a:pt x="4382713" y="1088096"/>
                </a:cubicBezTo>
                <a:close/>
                <a:moveTo>
                  <a:pt x="4165068" y="1088096"/>
                </a:moveTo>
                <a:cubicBezTo>
                  <a:pt x="4169327" y="1088096"/>
                  <a:pt x="4173188" y="1088894"/>
                  <a:pt x="4176782" y="1090626"/>
                </a:cubicBezTo>
                <a:cubicBezTo>
                  <a:pt x="4180509" y="1092224"/>
                  <a:pt x="4183571" y="1094358"/>
                  <a:pt x="4186100" y="1097017"/>
                </a:cubicBezTo>
                <a:cubicBezTo>
                  <a:pt x="4188629" y="1099551"/>
                  <a:pt x="4190759" y="1102738"/>
                  <a:pt x="4192223" y="1106339"/>
                </a:cubicBezTo>
                <a:cubicBezTo>
                  <a:pt x="4193688" y="1109929"/>
                  <a:pt x="4194486" y="1113794"/>
                  <a:pt x="4194486" y="1117780"/>
                </a:cubicBezTo>
                <a:cubicBezTo>
                  <a:pt x="4194486" y="1121908"/>
                  <a:pt x="4193688" y="1125907"/>
                  <a:pt x="4192223" y="1129494"/>
                </a:cubicBezTo>
                <a:cubicBezTo>
                  <a:pt x="4190759" y="1133094"/>
                  <a:pt x="4188629" y="1136155"/>
                  <a:pt x="4186100" y="1138815"/>
                </a:cubicBezTo>
                <a:cubicBezTo>
                  <a:pt x="4183438" y="1141478"/>
                  <a:pt x="4180376" y="1143611"/>
                  <a:pt x="4176782" y="1145076"/>
                </a:cubicBezTo>
                <a:cubicBezTo>
                  <a:pt x="4173188" y="1146541"/>
                  <a:pt x="4169327" y="1147340"/>
                  <a:pt x="4165068" y="1147340"/>
                </a:cubicBezTo>
                <a:cubicBezTo>
                  <a:pt x="4156015" y="1147340"/>
                  <a:pt x="4148827" y="1144408"/>
                  <a:pt x="4143235" y="1138815"/>
                </a:cubicBezTo>
                <a:cubicBezTo>
                  <a:pt x="4137645" y="1133094"/>
                  <a:pt x="4134849" y="1126167"/>
                  <a:pt x="4134849" y="1117655"/>
                </a:cubicBezTo>
                <a:cubicBezTo>
                  <a:pt x="4134849" y="1109400"/>
                  <a:pt x="4137645" y="1102338"/>
                  <a:pt x="4143235" y="1096621"/>
                </a:cubicBezTo>
                <a:cubicBezTo>
                  <a:pt x="4148827" y="1091023"/>
                  <a:pt x="4156015" y="1088096"/>
                  <a:pt x="4165068" y="1088096"/>
                </a:cubicBezTo>
                <a:close/>
                <a:moveTo>
                  <a:pt x="3947489" y="1088096"/>
                </a:moveTo>
                <a:cubicBezTo>
                  <a:pt x="3951749" y="1088096"/>
                  <a:pt x="3955608" y="1088894"/>
                  <a:pt x="3959204" y="1090626"/>
                </a:cubicBezTo>
                <a:cubicBezTo>
                  <a:pt x="3962931" y="1092224"/>
                  <a:pt x="3965992" y="1094358"/>
                  <a:pt x="3968521" y="1097017"/>
                </a:cubicBezTo>
                <a:cubicBezTo>
                  <a:pt x="3971052" y="1099551"/>
                  <a:pt x="3973181" y="1102738"/>
                  <a:pt x="3974645" y="1106339"/>
                </a:cubicBezTo>
                <a:cubicBezTo>
                  <a:pt x="3976110" y="1109929"/>
                  <a:pt x="3976909" y="1113794"/>
                  <a:pt x="3976909" y="1117780"/>
                </a:cubicBezTo>
                <a:cubicBezTo>
                  <a:pt x="3976909" y="1121908"/>
                  <a:pt x="3976110" y="1125907"/>
                  <a:pt x="3974645" y="1129494"/>
                </a:cubicBezTo>
                <a:cubicBezTo>
                  <a:pt x="3973181" y="1133094"/>
                  <a:pt x="3971052" y="1136155"/>
                  <a:pt x="3968521" y="1138815"/>
                </a:cubicBezTo>
                <a:cubicBezTo>
                  <a:pt x="3965859" y="1141478"/>
                  <a:pt x="3962798" y="1143611"/>
                  <a:pt x="3959204" y="1145076"/>
                </a:cubicBezTo>
                <a:cubicBezTo>
                  <a:pt x="3955608" y="1146541"/>
                  <a:pt x="3951749" y="1147340"/>
                  <a:pt x="3947489" y="1147340"/>
                </a:cubicBezTo>
                <a:cubicBezTo>
                  <a:pt x="3938436" y="1147340"/>
                  <a:pt x="3931249" y="1144408"/>
                  <a:pt x="3925656" y="1138815"/>
                </a:cubicBezTo>
                <a:cubicBezTo>
                  <a:pt x="3920065" y="1133094"/>
                  <a:pt x="3917270" y="1126167"/>
                  <a:pt x="3917270" y="1117655"/>
                </a:cubicBezTo>
                <a:cubicBezTo>
                  <a:pt x="3917270" y="1109400"/>
                  <a:pt x="3920065" y="1102338"/>
                  <a:pt x="3925656" y="1096621"/>
                </a:cubicBezTo>
                <a:cubicBezTo>
                  <a:pt x="3931249" y="1091023"/>
                  <a:pt x="3938436" y="1088096"/>
                  <a:pt x="3947489" y="1088096"/>
                </a:cubicBezTo>
                <a:close/>
                <a:moveTo>
                  <a:pt x="3729840" y="1088096"/>
                </a:moveTo>
                <a:cubicBezTo>
                  <a:pt x="3734100" y="1088096"/>
                  <a:pt x="3738093" y="1088894"/>
                  <a:pt x="3741555" y="1090626"/>
                </a:cubicBezTo>
                <a:cubicBezTo>
                  <a:pt x="3745149" y="1092224"/>
                  <a:pt x="3748344" y="1094358"/>
                  <a:pt x="3750873" y="1097017"/>
                </a:cubicBezTo>
                <a:cubicBezTo>
                  <a:pt x="3753402" y="1099551"/>
                  <a:pt x="3755532" y="1102738"/>
                  <a:pt x="3756996" y="1106339"/>
                </a:cubicBezTo>
                <a:cubicBezTo>
                  <a:pt x="3758460" y="1109929"/>
                  <a:pt x="3759259" y="1113794"/>
                  <a:pt x="3759259" y="1117780"/>
                </a:cubicBezTo>
                <a:cubicBezTo>
                  <a:pt x="3759259" y="1121908"/>
                  <a:pt x="3758460" y="1125907"/>
                  <a:pt x="3756996" y="1129494"/>
                </a:cubicBezTo>
                <a:cubicBezTo>
                  <a:pt x="3755532" y="1133094"/>
                  <a:pt x="3753402" y="1136155"/>
                  <a:pt x="3750873" y="1138815"/>
                </a:cubicBezTo>
                <a:cubicBezTo>
                  <a:pt x="3748210" y="1141478"/>
                  <a:pt x="3745149" y="1143611"/>
                  <a:pt x="3741555" y="1145076"/>
                </a:cubicBezTo>
                <a:cubicBezTo>
                  <a:pt x="3737961" y="1146541"/>
                  <a:pt x="3734100" y="1147340"/>
                  <a:pt x="3729840" y="1147340"/>
                </a:cubicBezTo>
                <a:cubicBezTo>
                  <a:pt x="3720787" y="1147340"/>
                  <a:pt x="3713600" y="1144408"/>
                  <a:pt x="3708007" y="1138815"/>
                </a:cubicBezTo>
                <a:cubicBezTo>
                  <a:pt x="3702415" y="1133094"/>
                  <a:pt x="3699621" y="1126167"/>
                  <a:pt x="3699621" y="1117655"/>
                </a:cubicBezTo>
                <a:cubicBezTo>
                  <a:pt x="3699621" y="1109400"/>
                  <a:pt x="3702415" y="1102338"/>
                  <a:pt x="3708007" y="1096621"/>
                </a:cubicBezTo>
                <a:cubicBezTo>
                  <a:pt x="3713600" y="1091023"/>
                  <a:pt x="3720787" y="1088096"/>
                  <a:pt x="3729840" y="1088096"/>
                </a:cubicBezTo>
                <a:close/>
                <a:moveTo>
                  <a:pt x="3512191" y="1088096"/>
                </a:moveTo>
                <a:cubicBezTo>
                  <a:pt x="3516452" y="1088096"/>
                  <a:pt x="3520445" y="1088894"/>
                  <a:pt x="3523907" y="1090626"/>
                </a:cubicBezTo>
                <a:cubicBezTo>
                  <a:pt x="3527500" y="1092224"/>
                  <a:pt x="3530696" y="1094358"/>
                  <a:pt x="3533225" y="1097017"/>
                </a:cubicBezTo>
                <a:cubicBezTo>
                  <a:pt x="3535754" y="1099551"/>
                  <a:pt x="3537884" y="1102738"/>
                  <a:pt x="3539348" y="1106339"/>
                </a:cubicBezTo>
                <a:cubicBezTo>
                  <a:pt x="3540812" y="1109929"/>
                  <a:pt x="3541611" y="1113794"/>
                  <a:pt x="3541611" y="1117780"/>
                </a:cubicBezTo>
                <a:cubicBezTo>
                  <a:pt x="3541611" y="1121908"/>
                  <a:pt x="3540812" y="1125907"/>
                  <a:pt x="3539348" y="1129494"/>
                </a:cubicBezTo>
                <a:cubicBezTo>
                  <a:pt x="3537884" y="1133094"/>
                  <a:pt x="3535754" y="1136155"/>
                  <a:pt x="3533225" y="1138815"/>
                </a:cubicBezTo>
                <a:cubicBezTo>
                  <a:pt x="3530562" y="1141478"/>
                  <a:pt x="3527500" y="1143611"/>
                  <a:pt x="3523907" y="1145076"/>
                </a:cubicBezTo>
                <a:cubicBezTo>
                  <a:pt x="3520313" y="1146541"/>
                  <a:pt x="3516452" y="1147340"/>
                  <a:pt x="3512191" y="1147340"/>
                </a:cubicBezTo>
                <a:cubicBezTo>
                  <a:pt x="3503139" y="1147340"/>
                  <a:pt x="3495950" y="1144408"/>
                  <a:pt x="3490359" y="1138815"/>
                </a:cubicBezTo>
                <a:cubicBezTo>
                  <a:pt x="3484768" y="1133094"/>
                  <a:pt x="3481972" y="1126167"/>
                  <a:pt x="3481972" y="1117655"/>
                </a:cubicBezTo>
                <a:cubicBezTo>
                  <a:pt x="3481972" y="1109400"/>
                  <a:pt x="3484768" y="1102338"/>
                  <a:pt x="3490359" y="1096621"/>
                </a:cubicBezTo>
                <a:cubicBezTo>
                  <a:pt x="3495950" y="1091023"/>
                  <a:pt x="3503139" y="1088096"/>
                  <a:pt x="3512191" y="1088096"/>
                </a:cubicBezTo>
                <a:close/>
                <a:moveTo>
                  <a:pt x="3294676" y="1088096"/>
                </a:moveTo>
                <a:cubicBezTo>
                  <a:pt x="3298803" y="1088096"/>
                  <a:pt x="3302797" y="1088894"/>
                  <a:pt x="3306392" y="1090626"/>
                </a:cubicBezTo>
                <a:cubicBezTo>
                  <a:pt x="3310119" y="1092224"/>
                  <a:pt x="3313180" y="1094358"/>
                  <a:pt x="3315710" y="1097017"/>
                </a:cubicBezTo>
                <a:cubicBezTo>
                  <a:pt x="3318239" y="1099551"/>
                  <a:pt x="3320369" y="1102738"/>
                  <a:pt x="3321833" y="1106339"/>
                </a:cubicBezTo>
                <a:cubicBezTo>
                  <a:pt x="3323297" y="1109929"/>
                  <a:pt x="3324096" y="1113794"/>
                  <a:pt x="3324096" y="1117780"/>
                </a:cubicBezTo>
                <a:cubicBezTo>
                  <a:pt x="3324096" y="1121908"/>
                  <a:pt x="3323297" y="1125907"/>
                  <a:pt x="3321833" y="1129494"/>
                </a:cubicBezTo>
                <a:cubicBezTo>
                  <a:pt x="3320369" y="1133094"/>
                  <a:pt x="3318239" y="1136155"/>
                  <a:pt x="3315710" y="1138815"/>
                </a:cubicBezTo>
                <a:cubicBezTo>
                  <a:pt x="3313046" y="1141478"/>
                  <a:pt x="3309985" y="1143611"/>
                  <a:pt x="3306392" y="1145076"/>
                </a:cubicBezTo>
                <a:cubicBezTo>
                  <a:pt x="3302797" y="1146541"/>
                  <a:pt x="3298936" y="1147340"/>
                  <a:pt x="3294676" y="1147340"/>
                </a:cubicBezTo>
                <a:cubicBezTo>
                  <a:pt x="3285624" y="1147340"/>
                  <a:pt x="3278435" y="1144408"/>
                  <a:pt x="3272843" y="1138815"/>
                </a:cubicBezTo>
                <a:cubicBezTo>
                  <a:pt x="3267252" y="1133094"/>
                  <a:pt x="3264457" y="1126167"/>
                  <a:pt x="3264457" y="1117655"/>
                </a:cubicBezTo>
                <a:cubicBezTo>
                  <a:pt x="3264457" y="1109400"/>
                  <a:pt x="3267252" y="1102338"/>
                  <a:pt x="3272843" y="1096621"/>
                </a:cubicBezTo>
                <a:cubicBezTo>
                  <a:pt x="3278435" y="1091023"/>
                  <a:pt x="3285624" y="1088096"/>
                  <a:pt x="3294676" y="1088096"/>
                </a:cubicBezTo>
                <a:close/>
                <a:moveTo>
                  <a:pt x="3077027" y="1088096"/>
                </a:moveTo>
                <a:cubicBezTo>
                  <a:pt x="3081155" y="1088096"/>
                  <a:pt x="3085149" y="1088894"/>
                  <a:pt x="3088743" y="1090626"/>
                </a:cubicBezTo>
                <a:cubicBezTo>
                  <a:pt x="3092337" y="1092224"/>
                  <a:pt x="3095533" y="1094358"/>
                  <a:pt x="3098061" y="1097017"/>
                </a:cubicBezTo>
                <a:cubicBezTo>
                  <a:pt x="3100590" y="1099551"/>
                  <a:pt x="3102720" y="1102738"/>
                  <a:pt x="3104184" y="1106339"/>
                </a:cubicBezTo>
                <a:cubicBezTo>
                  <a:pt x="3105649" y="1109929"/>
                  <a:pt x="3106447" y="1113794"/>
                  <a:pt x="3106447" y="1117780"/>
                </a:cubicBezTo>
                <a:cubicBezTo>
                  <a:pt x="3106447" y="1121908"/>
                  <a:pt x="3105649" y="1125907"/>
                  <a:pt x="3104184" y="1129494"/>
                </a:cubicBezTo>
                <a:cubicBezTo>
                  <a:pt x="3102720" y="1133094"/>
                  <a:pt x="3100590" y="1136155"/>
                  <a:pt x="3098061" y="1138815"/>
                </a:cubicBezTo>
                <a:cubicBezTo>
                  <a:pt x="3095399" y="1141478"/>
                  <a:pt x="3092337" y="1143611"/>
                  <a:pt x="3088743" y="1145076"/>
                </a:cubicBezTo>
                <a:cubicBezTo>
                  <a:pt x="3085149" y="1146541"/>
                  <a:pt x="3081288" y="1147340"/>
                  <a:pt x="3077027" y="1147340"/>
                </a:cubicBezTo>
                <a:cubicBezTo>
                  <a:pt x="3068109" y="1147340"/>
                  <a:pt x="3060787" y="1144408"/>
                  <a:pt x="3055195" y="1138815"/>
                </a:cubicBezTo>
                <a:cubicBezTo>
                  <a:pt x="3049604" y="1133094"/>
                  <a:pt x="3046809" y="1126167"/>
                  <a:pt x="3046809" y="1117655"/>
                </a:cubicBezTo>
                <a:cubicBezTo>
                  <a:pt x="3046809" y="1109400"/>
                  <a:pt x="3049604" y="1102338"/>
                  <a:pt x="3055195" y="1096621"/>
                </a:cubicBezTo>
                <a:cubicBezTo>
                  <a:pt x="3060787" y="1091023"/>
                  <a:pt x="3067976" y="1088096"/>
                  <a:pt x="3077027" y="1088096"/>
                </a:cubicBezTo>
                <a:close/>
                <a:moveTo>
                  <a:pt x="2859379" y="1088096"/>
                </a:moveTo>
                <a:cubicBezTo>
                  <a:pt x="2863640" y="1088096"/>
                  <a:pt x="2867501" y="1088894"/>
                  <a:pt x="2871228" y="1090626"/>
                </a:cubicBezTo>
                <a:cubicBezTo>
                  <a:pt x="2874955" y="1092224"/>
                  <a:pt x="2878017" y="1094358"/>
                  <a:pt x="2880546" y="1097017"/>
                </a:cubicBezTo>
                <a:cubicBezTo>
                  <a:pt x="2883208" y="1099551"/>
                  <a:pt x="2885205" y="1102738"/>
                  <a:pt x="2886669" y="1106339"/>
                </a:cubicBezTo>
                <a:cubicBezTo>
                  <a:pt x="2888134" y="1109929"/>
                  <a:pt x="2888932" y="1113794"/>
                  <a:pt x="2888932" y="1117780"/>
                </a:cubicBezTo>
                <a:cubicBezTo>
                  <a:pt x="2888932" y="1121908"/>
                  <a:pt x="2888134" y="1125907"/>
                  <a:pt x="2886669" y="1129494"/>
                </a:cubicBezTo>
                <a:cubicBezTo>
                  <a:pt x="2885205" y="1133094"/>
                  <a:pt x="2883075" y="1136155"/>
                  <a:pt x="2880546" y="1138815"/>
                </a:cubicBezTo>
                <a:cubicBezTo>
                  <a:pt x="2877884" y="1141478"/>
                  <a:pt x="2874821" y="1143611"/>
                  <a:pt x="2871228" y="1145076"/>
                </a:cubicBezTo>
                <a:cubicBezTo>
                  <a:pt x="2867501" y="1146541"/>
                  <a:pt x="2863640" y="1147340"/>
                  <a:pt x="2859379" y="1147340"/>
                </a:cubicBezTo>
                <a:cubicBezTo>
                  <a:pt x="2850462" y="1147340"/>
                  <a:pt x="2843138" y="1144408"/>
                  <a:pt x="2837548" y="1138815"/>
                </a:cubicBezTo>
                <a:cubicBezTo>
                  <a:pt x="2831957" y="1133094"/>
                  <a:pt x="2829161" y="1126167"/>
                  <a:pt x="2829161" y="1117655"/>
                </a:cubicBezTo>
                <a:cubicBezTo>
                  <a:pt x="2829161" y="1109400"/>
                  <a:pt x="2831957" y="1102338"/>
                  <a:pt x="2837548" y="1096621"/>
                </a:cubicBezTo>
                <a:cubicBezTo>
                  <a:pt x="2843138" y="1091023"/>
                  <a:pt x="2850328" y="1088096"/>
                  <a:pt x="2859379" y="1088096"/>
                </a:cubicBezTo>
                <a:close/>
                <a:moveTo>
                  <a:pt x="2641731" y="1088096"/>
                </a:moveTo>
                <a:cubicBezTo>
                  <a:pt x="2645991" y="1088096"/>
                  <a:pt x="2649851" y="1088894"/>
                  <a:pt x="2653446" y="1090626"/>
                </a:cubicBezTo>
                <a:cubicBezTo>
                  <a:pt x="2657173" y="1092224"/>
                  <a:pt x="2660235" y="1094358"/>
                  <a:pt x="2662764" y="1097017"/>
                </a:cubicBezTo>
                <a:cubicBezTo>
                  <a:pt x="2665426" y="1099551"/>
                  <a:pt x="2667424" y="1102738"/>
                  <a:pt x="2668888" y="1106339"/>
                </a:cubicBezTo>
                <a:cubicBezTo>
                  <a:pt x="2670352" y="1109929"/>
                  <a:pt x="2671151" y="1113794"/>
                  <a:pt x="2671151" y="1117780"/>
                </a:cubicBezTo>
                <a:cubicBezTo>
                  <a:pt x="2671151" y="1121908"/>
                  <a:pt x="2670352" y="1125907"/>
                  <a:pt x="2668888" y="1129494"/>
                </a:cubicBezTo>
                <a:cubicBezTo>
                  <a:pt x="2667424" y="1133094"/>
                  <a:pt x="2665294" y="1136155"/>
                  <a:pt x="2662764" y="1138815"/>
                </a:cubicBezTo>
                <a:cubicBezTo>
                  <a:pt x="2660235" y="1141478"/>
                  <a:pt x="2657040" y="1143611"/>
                  <a:pt x="2653446" y="1145076"/>
                </a:cubicBezTo>
                <a:cubicBezTo>
                  <a:pt x="2649851" y="1146541"/>
                  <a:pt x="2645991" y="1147340"/>
                  <a:pt x="2641731" y="1147340"/>
                </a:cubicBezTo>
                <a:cubicBezTo>
                  <a:pt x="2632812" y="1147340"/>
                  <a:pt x="2625491" y="1144408"/>
                  <a:pt x="2619899" y="1138815"/>
                </a:cubicBezTo>
                <a:cubicBezTo>
                  <a:pt x="2614309" y="1133094"/>
                  <a:pt x="2611513" y="1126167"/>
                  <a:pt x="2611513" y="1117655"/>
                </a:cubicBezTo>
                <a:cubicBezTo>
                  <a:pt x="2611513" y="1109400"/>
                  <a:pt x="2614309" y="1102338"/>
                  <a:pt x="2619899" y="1096621"/>
                </a:cubicBezTo>
                <a:cubicBezTo>
                  <a:pt x="2625491" y="1091023"/>
                  <a:pt x="2632679" y="1088096"/>
                  <a:pt x="2641731" y="1088096"/>
                </a:cubicBezTo>
                <a:close/>
                <a:moveTo>
                  <a:pt x="2424082" y="1088096"/>
                </a:moveTo>
                <a:cubicBezTo>
                  <a:pt x="2428343" y="1088096"/>
                  <a:pt x="2432337" y="1088894"/>
                  <a:pt x="2435798" y="1090626"/>
                </a:cubicBezTo>
                <a:cubicBezTo>
                  <a:pt x="2439525" y="1092224"/>
                  <a:pt x="2442587" y="1094358"/>
                  <a:pt x="2445116" y="1097017"/>
                </a:cubicBezTo>
                <a:cubicBezTo>
                  <a:pt x="2447778" y="1099551"/>
                  <a:pt x="2449775" y="1102738"/>
                  <a:pt x="2451239" y="1106339"/>
                </a:cubicBezTo>
                <a:cubicBezTo>
                  <a:pt x="2452703" y="1109929"/>
                  <a:pt x="2453502" y="1113794"/>
                  <a:pt x="2453502" y="1117780"/>
                </a:cubicBezTo>
                <a:cubicBezTo>
                  <a:pt x="2453502" y="1121908"/>
                  <a:pt x="2452703" y="1125907"/>
                  <a:pt x="2451239" y="1129494"/>
                </a:cubicBezTo>
                <a:cubicBezTo>
                  <a:pt x="2449775" y="1133094"/>
                  <a:pt x="2447645" y="1136155"/>
                  <a:pt x="2445116" y="1138815"/>
                </a:cubicBezTo>
                <a:cubicBezTo>
                  <a:pt x="2442587" y="1141478"/>
                  <a:pt x="2439392" y="1143611"/>
                  <a:pt x="2435798" y="1145076"/>
                </a:cubicBezTo>
                <a:cubicBezTo>
                  <a:pt x="2432204" y="1146541"/>
                  <a:pt x="2428343" y="1147340"/>
                  <a:pt x="2424082" y="1147340"/>
                </a:cubicBezTo>
                <a:cubicBezTo>
                  <a:pt x="2415164" y="1147340"/>
                  <a:pt x="2407842" y="1144408"/>
                  <a:pt x="2402251" y="1138815"/>
                </a:cubicBezTo>
                <a:cubicBezTo>
                  <a:pt x="2396660" y="1133094"/>
                  <a:pt x="2393864" y="1126167"/>
                  <a:pt x="2393864" y="1117655"/>
                </a:cubicBezTo>
                <a:cubicBezTo>
                  <a:pt x="2393864" y="1109400"/>
                  <a:pt x="2396660" y="1102338"/>
                  <a:pt x="2402251" y="1096621"/>
                </a:cubicBezTo>
                <a:cubicBezTo>
                  <a:pt x="2407842" y="1091023"/>
                  <a:pt x="2415030" y="1088096"/>
                  <a:pt x="2424082" y="1088096"/>
                </a:cubicBezTo>
                <a:close/>
                <a:moveTo>
                  <a:pt x="2206434" y="1088096"/>
                </a:moveTo>
                <a:cubicBezTo>
                  <a:pt x="2210694" y="1088096"/>
                  <a:pt x="2214689" y="1088894"/>
                  <a:pt x="2218149" y="1090626"/>
                </a:cubicBezTo>
                <a:cubicBezTo>
                  <a:pt x="2221876" y="1092224"/>
                  <a:pt x="2224938" y="1094358"/>
                  <a:pt x="2227468" y="1097017"/>
                </a:cubicBezTo>
                <a:cubicBezTo>
                  <a:pt x="2230130" y="1099551"/>
                  <a:pt x="2232127" y="1102738"/>
                  <a:pt x="2233591" y="1106339"/>
                </a:cubicBezTo>
                <a:cubicBezTo>
                  <a:pt x="2235055" y="1109929"/>
                  <a:pt x="2235854" y="1113794"/>
                  <a:pt x="2235854" y="1117780"/>
                </a:cubicBezTo>
                <a:cubicBezTo>
                  <a:pt x="2235854" y="1121908"/>
                  <a:pt x="2235055" y="1125907"/>
                  <a:pt x="2233591" y="1129494"/>
                </a:cubicBezTo>
                <a:cubicBezTo>
                  <a:pt x="2232127" y="1133094"/>
                  <a:pt x="2229996" y="1136155"/>
                  <a:pt x="2227468" y="1138815"/>
                </a:cubicBezTo>
                <a:cubicBezTo>
                  <a:pt x="2224938" y="1141478"/>
                  <a:pt x="2221744" y="1143611"/>
                  <a:pt x="2218149" y="1145076"/>
                </a:cubicBezTo>
                <a:cubicBezTo>
                  <a:pt x="2214555" y="1146541"/>
                  <a:pt x="2210694" y="1147340"/>
                  <a:pt x="2206434" y="1147340"/>
                </a:cubicBezTo>
                <a:cubicBezTo>
                  <a:pt x="2197382" y="1147340"/>
                  <a:pt x="2190194" y="1144408"/>
                  <a:pt x="2184603" y="1138815"/>
                </a:cubicBezTo>
                <a:cubicBezTo>
                  <a:pt x="2179011" y="1133094"/>
                  <a:pt x="2176216" y="1126167"/>
                  <a:pt x="2176216" y="1117655"/>
                </a:cubicBezTo>
                <a:cubicBezTo>
                  <a:pt x="2176216" y="1109400"/>
                  <a:pt x="2179011" y="1102338"/>
                  <a:pt x="2184603" y="1096621"/>
                </a:cubicBezTo>
                <a:cubicBezTo>
                  <a:pt x="2190194" y="1091023"/>
                  <a:pt x="2197382" y="1088096"/>
                  <a:pt x="2206434" y="1088096"/>
                </a:cubicBezTo>
                <a:close/>
                <a:moveTo>
                  <a:pt x="1988919" y="1088096"/>
                </a:moveTo>
                <a:cubicBezTo>
                  <a:pt x="1993046" y="1088096"/>
                  <a:pt x="1997040" y="1088894"/>
                  <a:pt x="2000634" y="1090626"/>
                </a:cubicBezTo>
                <a:cubicBezTo>
                  <a:pt x="2004361" y="1092224"/>
                  <a:pt x="2007423" y="1094358"/>
                  <a:pt x="2009952" y="1097017"/>
                </a:cubicBezTo>
                <a:cubicBezTo>
                  <a:pt x="2012614" y="1099551"/>
                  <a:pt x="2014611" y="1102738"/>
                  <a:pt x="2016075" y="1106339"/>
                </a:cubicBezTo>
                <a:cubicBezTo>
                  <a:pt x="2017539" y="1109929"/>
                  <a:pt x="2018338" y="1113794"/>
                  <a:pt x="2018338" y="1117780"/>
                </a:cubicBezTo>
                <a:cubicBezTo>
                  <a:pt x="2018338" y="1121908"/>
                  <a:pt x="2017539" y="1125907"/>
                  <a:pt x="2016075" y="1129494"/>
                </a:cubicBezTo>
                <a:cubicBezTo>
                  <a:pt x="2014611" y="1133094"/>
                  <a:pt x="2012481" y="1136155"/>
                  <a:pt x="2009952" y="1138815"/>
                </a:cubicBezTo>
                <a:cubicBezTo>
                  <a:pt x="2007423" y="1141478"/>
                  <a:pt x="2004228" y="1143611"/>
                  <a:pt x="2000634" y="1145076"/>
                </a:cubicBezTo>
                <a:cubicBezTo>
                  <a:pt x="1997040" y="1146541"/>
                  <a:pt x="1993179" y="1147340"/>
                  <a:pt x="1988919" y="1147340"/>
                </a:cubicBezTo>
                <a:cubicBezTo>
                  <a:pt x="1979868" y="1147340"/>
                  <a:pt x="1972679" y="1144408"/>
                  <a:pt x="1967088" y="1138815"/>
                </a:cubicBezTo>
                <a:cubicBezTo>
                  <a:pt x="1961497" y="1133094"/>
                  <a:pt x="1958701" y="1126167"/>
                  <a:pt x="1958701" y="1117655"/>
                </a:cubicBezTo>
                <a:cubicBezTo>
                  <a:pt x="1958701" y="1109400"/>
                  <a:pt x="1961497" y="1102338"/>
                  <a:pt x="1967088" y="1096621"/>
                </a:cubicBezTo>
                <a:cubicBezTo>
                  <a:pt x="1972679" y="1091023"/>
                  <a:pt x="1979868" y="1088096"/>
                  <a:pt x="1988919" y="1088096"/>
                </a:cubicBezTo>
                <a:close/>
                <a:moveTo>
                  <a:pt x="1771276" y="1088096"/>
                </a:moveTo>
                <a:cubicBezTo>
                  <a:pt x="1775536" y="1088096"/>
                  <a:pt x="1779396" y="1088894"/>
                  <a:pt x="1782991" y="1090626"/>
                </a:cubicBezTo>
                <a:cubicBezTo>
                  <a:pt x="1786718" y="1092224"/>
                  <a:pt x="1789780" y="1094358"/>
                  <a:pt x="1792309" y="1097017"/>
                </a:cubicBezTo>
                <a:cubicBezTo>
                  <a:pt x="1794971" y="1099551"/>
                  <a:pt x="1796969" y="1102738"/>
                  <a:pt x="1798432" y="1106339"/>
                </a:cubicBezTo>
                <a:cubicBezTo>
                  <a:pt x="1799896" y="1109929"/>
                  <a:pt x="1800695" y="1113794"/>
                  <a:pt x="1800695" y="1117780"/>
                </a:cubicBezTo>
                <a:cubicBezTo>
                  <a:pt x="1800695" y="1121908"/>
                  <a:pt x="1799896" y="1125907"/>
                  <a:pt x="1798432" y="1129494"/>
                </a:cubicBezTo>
                <a:cubicBezTo>
                  <a:pt x="1796969" y="1133094"/>
                  <a:pt x="1794838" y="1136155"/>
                  <a:pt x="1792309" y="1138815"/>
                </a:cubicBezTo>
                <a:cubicBezTo>
                  <a:pt x="1789646" y="1141478"/>
                  <a:pt x="1786586" y="1143611"/>
                  <a:pt x="1782991" y="1145076"/>
                </a:cubicBezTo>
                <a:cubicBezTo>
                  <a:pt x="1779396" y="1146541"/>
                  <a:pt x="1775536" y="1147340"/>
                  <a:pt x="1771276" y="1147340"/>
                </a:cubicBezTo>
                <a:cubicBezTo>
                  <a:pt x="1762357" y="1147340"/>
                  <a:pt x="1755036" y="1144408"/>
                  <a:pt x="1749446" y="1138815"/>
                </a:cubicBezTo>
                <a:cubicBezTo>
                  <a:pt x="1743854" y="1133094"/>
                  <a:pt x="1741060" y="1126167"/>
                  <a:pt x="1741060" y="1117655"/>
                </a:cubicBezTo>
                <a:cubicBezTo>
                  <a:pt x="1741060" y="1109400"/>
                  <a:pt x="1743854" y="1102338"/>
                  <a:pt x="1749446" y="1096621"/>
                </a:cubicBezTo>
                <a:cubicBezTo>
                  <a:pt x="1755036" y="1091023"/>
                  <a:pt x="1762224" y="1088096"/>
                  <a:pt x="1771276" y="1088096"/>
                </a:cubicBezTo>
                <a:close/>
                <a:moveTo>
                  <a:pt x="1553633" y="1088096"/>
                </a:moveTo>
                <a:cubicBezTo>
                  <a:pt x="1557892" y="1088096"/>
                  <a:pt x="1561754" y="1088894"/>
                  <a:pt x="1565347" y="1090626"/>
                </a:cubicBezTo>
                <a:cubicBezTo>
                  <a:pt x="1568942" y="1092224"/>
                  <a:pt x="1572137" y="1094358"/>
                  <a:pt x="1574666" y="1097017"/>
                </a:cubicBezTo>
                <a:cubicBezTo>
                  <a:pt x="1577328" y="1099551"/>
                  <a:pt x="1579325" y="1102738"/>
                  <a:pt x="1580789" y="1106339"/>
                </a:cubicBezTo>
                <a:cubicBezTo>
                  <a:pt x="1582253" y="1109929"/>
                  <a:pt x="1583052" y="1113794"/>
                  <a:pt x="1583052" y="1117780"/>
                </a:cubicBezTo>
                <a:cubicBezTo>
                  <a:pt x="1583052" y="1121908"/>
                  <a:pt x="1582253" y="1125907"/>
                  <a:pt x="1580789" y="1129494"/>
                </a:cubicBezTo>
                <a:cubicBezTo>
                  <a:pt x="1579325" y="1133094"/>
                  <a:pt x="1577195" y="1136155"/>
                  <a:pt x="1574666" y="1138815"/>
                </a:cubicBezTo>
                <a:cubicBezTo>
                  <a:pt x="1572003" y="1141478"/>
                  <a:pt x="1568942" y="1143611"/>
                  <a:pt x="1565347" y="1145076"/>
                </a:cubicBezTo>
                <a:cubicBezTo>
                  <a:pt x="1561754" y="1146541"/>
                  <a:pt x="1557892" y="1147340"/>
                  <a:pt x="1553633" y="1147340"/>
                </a:cubicBezTo>
                <a:cubicBezTo>
                  <a:pt x="1544714" y="1147340"/>
                  <a:pt x="1537392" y="1144408"/>
                  <a:pt x="1531801" y="1138815"/>
                </a:cubicBezTo>
                <a:cubicBezTo>
                  <a:pt x="1526212" y="1133094"/>
                  <a:pt x="1523415" y="1126167"/>
                  <a:pt x="1523415" y="1117655"/>
                </a:cubicBezTo>
                <a:cubicBezTo>
                  <a:pt x="1523415" y="1109400"/>
                  <a:pt x="1526212" y="1102338"/>
                  <a:pt x="1531801" y="1096621"/>
                </a:cubicBezTo>
                <a:cubicBezTo>
                  <a:pt x="1537392" y="1091023"/>
                  <a:pt x="1544580" y="1088096"/>
                  <a:pt x="1553633" y="1088096"/>
                </a:cubicBezTo>
                <a:close/>
                <a:moveTo>
                  <a:pt x="1335988" y="1088096"/>
                </a:moveTo>
                <a:cubicBezTo>
                  <a:pt x="1340248" y="1088096"/>
                  <a:pt x="1344243" y="1088894"/>
                  <a:pt x="1347703" y="1090626"/>
                </a:cubicBezTo>
                <a:cubicBezTo>
                  <a:pt x="1351297" y="1092224"/>
                  <a:pt x="1354491" y="1094358"/>
                  <a:pt x="1357022" y="1097017"/>
                </a:cubicBezTo>
                <a:cubicBezTo>
                  <a:pt x="1359683" y="1099551"/>
                  <a:pt x="1361680" y="1102738"/>
                  <a:pt x="1363144" y="1106339"/>
                </a:cubicBezTo>
                <a:cubicBezTo>
                  <a:pt x="1364609" y="1109929"/>
                  <a:pt x="1365408" y="1113794"/>
                  <a:pt x="1365408" y="1117780"/>
                </a:cubicBezTo>
                <a:cubicBezTo>
                  <a:pt x="1365408" y="1121908"/>
                  <a:pt x="1364609" y="1125907"/>
                  <a:pt x="1363144" y="1129494"/>
                </a:cubicBezTo>
                <a:cubicBezTo>
                  <a:pt x="1361680" y="1133094"/>
                  <a:pt x="1359550" y="1136155"/>
                  <a:pt x="1357022" y="1138815"/>
                </a:cubicBezTo>
                <a:cubicBezTo>
                  <a:pt x="1354358" y="1141478"/>
                  <a:pt x="1351297" y="1143611"/>
                  <a:pt x="1347703" y="1145076"/>
                </a:cubicBezTo>
                <a:cubicBezTo>
                  <a:pt x="1344108" y="1146541"/>
                  <a:pt x="1340248" y="1147340"/>
                  <a:pt x="1335988" y="1147340"/>
                </a:cubicBezTo>
                <a:cubicBezTo>
                  <a:pt x="1327068" y="1147340"/>
                  <a:pt x="1319747" y="1144408"/>
                  <a:pt x="1314156" y="1138815"/>
                </a:cubicBezTo>
                <a:cubicBezTo>
                  <a:pt x="1308565" y="1133094"/>
                  <a:pt x="1305771" y="1126167"/>
                  <a:pt x="1305771" y="1117655"/>
                </a:cubicBezTo>
                <a:cubicBezTo>
                  <a:pt x="1305771" y="1109400"/>
                  <a:pt x="1308565" y="1102338"/>
                  <a:pt x="1314156" y="1096621"/>
                </a:cubicBezTo>
                <a:cubicBezTo>
                  <a:pt x="1319747" y="1091023"/>
                  <a:pt x="1326936" y="1088096"/>
                  <a:pt x="1335988" y="1088096"/>
                </a:cubicBezTo>
                <a:close/>
                <a:moveTo>
                  <a:pt x="1118343" y="1088096"/>
                </a:moveTo>
                <a:cubicBezTo>
                  <a:pt x="1122602" y="1088096"/>
                  <a:pt x="1126598" y="1088894"/>
                  <a:pt x="1130059" y="1090626"/>
                </a:cubicBezTo>
                <a:cubicBezTo>
                  <a:pt x="1133785" y="1092224"/>
                  <a:pt x="1136847" y="1094358"/>
                  <a:pt x="1139377" y="1097017"/>
                </a:cubicBezTo>
                <a:cubicBezTo>
                  <a:pt x="1142038" y="1099551"/>
                  <a:pt x="1144035" y="1102738"/>
                  <a:pt x="1145499" y="1106339"/>
                </a:cubicBezTo>
                <a:cubicBezTo>
                  <a:pt x="1146963" y="1109929"/>
                  <a:pt x="1147762" y="1113794"/>
                  <a:pt x="1147762" y="1117780"/>
                </a:cubicBezTo>
                <a:cubicBezTo>
                  <a:pt x="1147762" y="1121908"/>
                  <a:pt x="1146963" y="1125907"/>
                  <a:pt x="1145499" y="1129494"/>
                </a:cubicBezTo>
                <a:cubicBezTo>
                  <a:pt x="1144035" y="1133094"/>
                  <a:pt x="1141905" y="1136155"/>
                  <a:pt x="1139377" y="1138815"/>
                </a:cubicBezTo>
                <a:cubicBezTo>
                  <a:pt x="1136847" y="1141478"/>
                  <a:pt x="1133652" y="1143611"/>
                  <a:pt x="1130059" y="1145076"/>
                </a:cubicBezTo>
                <a:cubicBezTo>
                  <a:pt x="1126463" y="1146541"/>
                  <a:pt x="1122602" y="1147340"/>
                  <a:pt x="1118343" y="1147340"/>
                </a:cubicBezTo>
                <a:cubicBezTo>
                  <a:pt x="1109424" y="1147340"/>
                  <a:pt x="1102102" y="1144408"/>
                  <a:pt x="1096511" y="1138815"/>
                </a:cubicBezTo>
                <a:cubicBezTo>
                  <a:pt x="1090920" y="1133094"/>
                  <a:pt x="1088125" y="1126167"/>
                  <a:pt x="1088125" y="1117655"/>
                </a:cubicBezTo>
                <a:cubicBezTo>
                  <a:pt x="1088125" y="1109400"/>
                  <a:pt x="1090920" y="1102338"/>
                  <a:pt x="1096511" y="1096621"/>
                </a:cubicBezTo>
                <a:cubicBezTo>
                  <a:pt x="1102102" y="1091023"/>
                  <a:pt x="1109290" y="1088096"/>
                  <a:pt x="1118343" y="1088096"/>
                </a:cubicBezTo>
                <a:close/>
                <a:moveTo>
                  <a:pt x="900831" y="1088096"/>
                </a:moveTo>
                <a:cubicBezTo>
                  <a:pt x="904958" y="1088096"/>
                  <a:pt x="908952" y="1088894"/>
                  <a:pt x="912546" y="1090626"/>
                </a:cubicBezTo>
                <a:cubicBezTo>
                  <a:pt x="916273" y="1092224"/>
                  <a:pt x="919335" y="1094358"/>
                  <a:pt x="921864" y="1097017"/>
                </a:cubicBezTo>
                <a:cubicBezTo>
                  <a:pt x="924526" y="1099551"/>
                  <a:pt x="926523" y="1102738"/>
                  <a:pt x="927987" y="1106339"/>
                </a:cubicBezTo>
                <a:cubicBezTo>
                  <a:pt x="929451" y="1109929"/>
                  <a:pt x="930250" y="1113794"/>
                  <a:pt x="930250" y="1117780"/>
                </a:cubicBezTo>
                <a:cubicBezTo>
                  <a:pt x="930250" y="1121908"/>
                  <a:pt x="929451" y="1125907"/>
                  <a:pt x="927987" y="1129494"/>
                </a:cubicBezTo>
                <a:cubicBezTo>
                  <a:pt x="926523" y="1133094"/>
                  <a:pt x="924393" y="1136155"/>
                  <a:pt x="921864" y="1138815"/>
                </a:cubicBezTo>
                <a:cubicBezTo>
                  <a:pt x="919335" y="1141478"/>
                  <a:pt x="916140" y="1143611"/>
                  <a:pt x="912546" y="1145076"/>
                </a:cubicBezTo>
                <a:cubicBezTo>
                  <a:pt x="908952" y="1146541"/>
                  <a:pt x="905091" y="1147340"/>
                  <a:pt x="900831" y="1147340"/>
                </a:cubicBezTo>
                <a:cubicBezTo>
                  <a:pt x="891913" y="1147340"/>
                  <a:pt x="884590" y="1144408"/>
                  <a:pt x="879000" y="1138815"/>
                </a:cubicBezTo>
                <a:cubicBezTo>
                  <a:pt x="873410" y="1133094"/>
                  <a:pt x="870614" y="1126167"/>
                  <a:pt x="870614" y="1117655"/>
                </a:cubicBezTo>
                <a:cubicBezTo>
                  <a:pt x="870614" y="1109400"/>
                  <a:pt x="873410" y="1102338"/>
                  <a:pt x="879000" y="1096621"/>
                </a:cubicBezTo>
                <a:cubicBezTo>
                  <a:pt x="884590" y="1091023"/>
                  <a:pt x="891779" y="1088096"/>
                  <a:pt x="900831" y="1088096"/>
                </a:cubicBezTo>
                <a:close/>
                <a:moveTo>
                  <a:pt x="683187" y="1088096"/>
                </a:moveTo>
                <a:cubicBezTo>
                  <a:pt x="687447" y="1088096"/>
                  <a:pt x="691308" y="1088894"/>
                  <a:pt x="694902" y="1090626"/>
                </a:cubicBezTo>
                <a:cubicBezTo>
                  <a:pt x="698629" y="1092224"/>
                  <a:pt x="701691" y="1094358"/>
                  <a:pt x="704220" y="1097017"/>
                </a:cubicBezTo>
                <a:cubicBezTo>
                  <a:pt x="706882" y="1099551"/>
                  <a:pt x="708879" y="1102738"/>
                  <a:pt x="710343" y="1106339"/>
                </a:cubicBezTo>
                <a:cubicBezTo>
                  <a:pt x="711807" y="1109929"/>
                  <a:pt x="712606" y="1113794"/>
                  <a:pt x="712606" y="1117780"/>
                </a:cubicBezTo>
                <a:cubicBezTo>
                  <a:pt x="712606" y="1121908"/>
                  <a:pt x="711807" y="1125907"/>
                  <a:pt x="710343" y="1129494"/>
                </a:cubicBezTo>
                <a:cubicBezTo>
                  <a:pt x="708879" y="1133094"/>
                  <a:pt x="706749" y="1136155"/>
                  <a:pt x="704220" y="1138815"/>
                </a:cubicBezTo>
                <a:cubicBezTo>
                  <a:pt x="701691" y="1141478"/>
                  <a:pt x="698496" y="1143611"/>
                  <a:pt x="694902" y="1145076"/>
                </a:cubicBezTo>
                <a:cubicBezTo>
                  <a:pt x="691308" y="1146541"/>
                  <a:pt x="687447" y="1147340"/>
                  <a:pt x="683187" y="1147340"/>
                </a:cubicBezTo>
                <a:cubicBezTo>
                  <a:pt x="674269" y="1147340"/>
                  <a:pt x="666947" y="1144408"/>
                  <a:pt x="661355" y="1138815"/>
                </a:cubicBezTo>
                <a:cubicBezTo>
                  <a:pt x="655764" y="1133094"/>
                  <a:pt x="652969" y="1126167"/>
                  <a:pt x="652969" y="1117655"/>
                </a:cubicBezTo>
                <a:cubicBezTo>
                  <a:pt x="652969" y="1109400"/>
                  <a:pt x="655764" y="1102338"/>
                  <a:pt x="661355" y="1096621"/>
                </a:cubicBezTo>
                <a:cubicBezTo>
                  <a:pt x="666947" y="1091023"/>
                  <a:pt x="674136" y="1088096"/>
                  <a:pt x="683187" y="1088096"/>
                </a:cubicBezTo>
                <a:close/>
                <a:moveTo>
                  <a:pt x="465543" y="1088096"/>
                </a:moveTo>
                <a:cubicBezTo>
                  <a:pt x="469803" y="1088096"/>
                  <a:pt x="473663" y="1088894"/>
                  <a:pt x="477258" y="1090626"/>
                </a:cubicBezTo>
                <a:cubicBezTo>
                  <a:pt x="480985" y="1092224"/>
                  <a:pt x="484047" y="1094358"/>
                  <a:pt x="486576" y="1097017"/>
                </a:cubicBezTo>
                <a:cubicBezTo>
                  <a:pt x="489238" y="1099551"/>
                  <a:pt x="491235" y="1102738"/>
                  <a:pt x="492699" y="1106339"/>
                </a:cubicBezTo>
                <a:cubicBezTo>
                  <a:pt x="494163" y="1109929"/>
                  <a:pt x="494962" y="1113794"/>
                  <a:pt x="494962" y="1117780"/>
                </a:cubicBezTo>
                <a:cubicBezTo>
                  <a:pt x="494962" y="1121908"/>
                  <a:pt x="494163" y="1125907"/>
                  <a:pt x="492699" y="1129494"/>
                </a:cubicBezTo>
                <a:cubicBezTo>
                  <a:pt x="491235" y="1133094"/>
                  <a:pt x="489105" y="1136155"/>
                  <a:pt x="486576" y="1138815"/>
                </a:cubicBezTo>
                <a:cubicBezTo>
                  <a:pt x="483913" y="1141478"/>
                  <a:pt x="480852" y="1143611"/>
                  <a:pt x="477258" y="1145076"/>
                </a:cubicBezTo>
                <a:cubicBezTo>
                  <a:pt x="473663" y="1146541"/>
                  <a:pt x="469803" y="1147340"/>
                  <a:pt x="465543" y="1147340"/>
                </a:cubicBezTo>
                <a:cubicBezTo>
                  <a:pt x="456625" y="1147340"/>
                  <a:pt x="449303" y="1144408"/>
                  <a:pt x="443712" y="1138815"/>
                </a:cubicBezTo>
                <a:cubicBezTo>
                  <a:pt x="438121" y="1133094"/>
                  <a:pt x="435326" y="1126167"/>
                  <a:pt x="435326" y="1117655"/>
                </a:cubicBezTo>
                <a:cubicBezTo>
                  <a:pt x="435326" y="1109400"/>
                  <a:pt x="438121" y="1102338"/>
                  <a:pt x="443712" y="1096621"/>
                </a:cubicBezTo>
                <a:cubicBezTo>
                  <a:pt x="449303" y="1091023"/>
                  <a:pt x="456492" y="1088096"/>
                  <a:pt x="465543" y="1088096"/>
                </a:cubicBezTo>
                <a:close/>
                <a:moveTo>
                  <a:pt x="247899" y="1088096"/>
                </a:moveTo>
                <a:cubicBezTo>
                  <a:pt x="252159" y="1088096"/>
                  <a:pt x="256153" y="1088894"/>
                  <a:pt x="259614" y="1090626"/>
                </a:cubicBezTo>
                <a:cubicBezTo>
                  <a:pt x="263341" y="1092224"/>
                  <a:pt x="266403" y="1094358"/>
                  <a:pt x="268932" y="1097017"/>
                </a:cubicBezTo>
                <a:cubicBezTo>
                  <a:pt x="271594" y="1099551"/>
                  <a:pt x="273591" y="1102738"/>
                  <a:pt x="275055" y="1106339"/>
                </a:cubicBezTo>
                <a:cubicBezTo>
                  <a:pt x="276519" y="1109929"/>
                  <a:pt x="277318" y="1113794"/>
                  <a:pt x="277318" y="1117780"/>
                </a:cubicBezTo>
                <a:cubicBezTo>
                  <a:pt x="277318" y="1121908"/>
                  <a:pt x="276519" y="1125907"/>
                  <a:pt x="275055" y="1129494"/>
                </a:cubicBezTo>
                <a:cubicBezTo>
                  <a:pt x="273591" y="1133094"/>
                  <a:pt x="271461" y="1136155"/>
                  <a:pt x="268932" y="1138815"/>
                </a:cubicBezTo>
                <a:cubicBezTo>
                  <a:pt x="266269" y="1141478"/>
                  <a:pt x="263208" y="1143611"/>
                  <a:pt x="259614" y="1145076"/>
                </a:cubicBezTo>
                <a:cubicBezTo>
                  <a:pt x="256019" y="1146541"/>
                  <a:pt x="252159" y="1147340"/>
                  <a:pt x="247899" y="1147340"/>
                </a:cubicBezTo>
                <a:cubicBezTo>
                  <a:pt x="238981" y="1147340"/>
                  <a:pt x="231659" y="1144408"/>
                  <a:pt x="226068" y="1138815"/>
                </a:cubicBezTo>
                <a:cubicBezTo>
                  <a:pt x="220477" y="1133094"/>
                  <a:pt x="217682" y="1126167"/>
                  <a:pt x="217682" y="1117655"/>
                </a:cubicBezTo>
                <a:cubicBezTo>
                  <a:pt x="217682" y="1109400"/>
                  <a:pt x="220477" y="1102338"/>
                  <a:pt x="226068" y="1096621"/>
                </a:cubicBezTo>
                <a:cubicBezTo>
                  <a:pt x="231659" y="1091023"/>
                  <a:pt x="238847" y="1088096"/>
                  <a:pt x="247899" y="1088096"/>
                </a:cubicBezTo>
                <a:close/>
                <a:moveTo>
                  <a:pt x="30255" y="1088096"/>
                </a:moveTo>
                <a:cubicBezTo>
                  <a:pt x="34515" y="1088096"/>
                  <a:pt x="38509" y="1088894"/>
                  <a:pt x="41970" y="1090626"/>
                </a:cubicBezTo>
                <a:cubicBezTo>
                  <a:pt x="45697" y="1092224"/>
                  <a:pt x="48759" y="1094358"/>
                  <a:pt x="51288" y="1097017"/>
                </a:cubicBezTo>
                <a:cubicBezTo>
                  <a:pt x="53950" y="1099551"/>
                  <a:pt x="55947" y="1102738"/>
                  <a:pt x="57411" y="1106339"/>
                </a:cubicBezTo>
                <a:cubicBezTo>
                  <a:pt x="58875" y="1109929"/>
                  <a:pt x="59674" y="1113794"/>
                  <a:pt x="59674" y="1117780"/>
                </a:cubicBezTo>
                <a:cubicBezTo>
                  <a:pt x="59674" y="1121908"/>
                  <a:pt x="58875" y="1125907"/>
                  <a:pt x="57411" y="1129494"/>
                </a:cubicBezTo>
                <a:cubicBezTo>
                  <a:pt x="55947" y="1133094"/>
                  <a:pt x="53817" y="1136155"/>
                  <a:pt x="51288" y="1138815"/>
                </a:cubicBezTo>
                <a:cubicBezTo>
                  <a:pt x="48625" y="1141478"/>
                  <a:pt x="45564" y="1143611"/>
                  <a:pt x="41970" y="1145076"/>
                </a:cubicBezTo>
                <a:cubicBezTo>
                  <a:pt x="38376" y="1146541"/>
                  <a:pt x="34515" y="1147340"/>
                  <a:pt x="30255" y="1147340"/>
                </a:cubicBezTo>
                <a:cubicBezTo>
                  <a:pt x="21337" y="1147340"/>
                  <a:pt x="14015" y="1144408"/>
                  <a:pt x="8424" y="1138815"/>
                </a:cubicBezTo>
                <a:cubicBezTo>
                  <a:pt x="2833" y="1133094"/>
                  <a:pt x="38" y="1126167"/>
                  <a:pt x="38" y="1117655"/>
                </a:cubicBezTo>
                <a:cubicBezTo>
                  <a:pt x="38" y="1109400"/>
                  <a:pt x="2833" y="1102338"/>
                  <a:pt x="8424" y="1096621"/>
                </a:cubicBezTo>
                <a:cubicBezTo>
                  <a:pt x="14015" y="1091023"/>
                  <a:pt x="21203" y="1088096"/>
                  <a:pt x="30255" y="1088096"/>
                </a:cubicBezTo>
                <a:close/>
                <a:moveTo>
                  <a:pt x="30247" y="887113"/>
                </a:moveTo>
                <a:cubicBezTo>
                  <a:pt x="24390" y="887113"/>
                  <a:pt x="21861" y="889109"/>
                  <a:pt x="20264" y="890707"/>
                </a:cubicBezTo>
                <a:cubicBezTo>
                  <a:pt x="17734" y="893369"/>
                  <a:pt x="16670" y="896164"/>
                  <a:pt x="16670" y="900158"/>
                </a:cubicBezTo>
                <a:cubicBezTo>
                  <a:pt x="16670" y="904285"/>
                  <a:pt x="17734" y="907080"/>
                  <a:pt x="20264" y="909609"/>
                </a:cubicBezTo>
                <a:cubicBezTo>
                  <a:pt x="21861" y="911207"/>
                  <a:pt x="24390" y="913070"/>
                  <a:pt x="30247" y="913070"/>
                </a:cubicBezTo>
                <a:cubicBezTo>
                  <a:pt x="32377" y="913070"/>
                  <a:pt x="34108" y="912804"/>
                  <a:pt x="35572" y="912005"/>
                </a:cubicBezTo>
                <a:cubicBezTo>
                  <a:pt x="37036" y="911473"/>
                  <a:pt x="38368" y="910674"/>
                  <a:pt x="39299" y="909609"/>
                </a:cubicBezTo>
                <a:cubicBezTo>
                  <a:pt x="40364" y="908544"/>
                  <a:pt x="41296" y="907080"/>
                  <a:pt x="41962" y="905483"/>
                </a:cubicBezTo>
                <a:cubicBezTo>
                  <a:pt x="42627" y="903885"/>
                  <a:pt x="42893" y="902021"/>
                  <a:pt x="42893" y="900025"/>
                </a:cubicBezTo>
                <a:cubicBezTo>
                  <a:pt x="42893" y="898161"/>
                  <a:pt x="42627" y="896431"/>
                  <a:pt x="41962" y="894833"/>
                </a:cubicBezTo>
                <a:cubicBezTo>
                  <a:pt x="41296" y="893236"/>
                  <a:pt x="40364" y="891905"/>
                  <a:pt x="39299" y="890707"/>
                </a:cubicBezTo>
                <a:cubicBezTo>
                  <a:pt x="38234" y="889642"/>
                  <a:pt x="36903" y="888710"/>
                  <a:pt x="35306" y="888044"/>
                </a:cubicBezTo>
                <a:cubicBezTo>
                  <a:pt x="33842" y="887512"/>
                  <a:pt x="32244" y="887113"/>
                  <a:pt x="30247" y="887113"/>
                </a:cubicBezTo>
                <a:close/>
                <a:moveTo>
                  <a:pt x="247891" y="887113"/>
                </a:moveTo>
                <a:cubicBezTo>
                  <a:pt x="242034" y="887113"/>
                  <a:pt x="239505" y="889109"/>
                  <a:pt x="237908" y="890707"/>
                </a:cubicBezTo>
                <a:cubicBezTo>
                  <a:pt x="235378" y="893369"/>
                  <a:pt x="234315" y="896164"/>
                  <a:pt x="234315" y="900158"/>
                </a:cubicBezTo>
                <a:cubicBezTo>
                  <a:pt x="234315" y="904285"/>
                  <a:pt x="235378" y="907080"/>
                  <a:pt x="237908" y="909609"/>
                </a:cubicBezTo>
                <a:cubicBezTo>
                  <a:pt x="239505" y="911207"/>
                  <a:pt x="242034" y="913070"/>
                  <a:pt x="247891" y="913070"/>
                </a:cubicBezTo>
                <a:cubicBezTo>
                  <a:pt x="250021" y="913070"/>
                  <a:pt x="251753" y="912804"/>
                  <a:pt x="253216" y="912005"/>
                </a:cubicBezTo>
                <a:cubicBezTo>
                  <a:pt x="254680" y="911473"/>
                  <a:pt x="256011" y="910674"/>
                  <a:pt x="256943" y="909609"/>
                </a:cubicBezTo>
                <a:cubicBezTo>
                  <a:pt x="258008" y="908544"/>
                  <a:pt x="258940" y="907080"/>
                  <a:pt x="259607" y="905483"/>
                </a:cubicBezTo>
                <a:cubicBezTo>
                  <a:pt x="260272" y="903885"/>
                  <a:pt x="260672" y="902021"/>
                  <a:pt x="260672" y="900025"/>
                </a:cubicBezTo>
                <a:cubicBezTo>
                  <a:pt x="260672" y="898161"/>
                  <a:pt x="260272" y="896431"/>
                  <a:pt x="259607" y="894833"/>
                </a:cubicBezTo>
                <a:cubicBezTo>
                  <a:pt x="258940" y="893236"/>
                  <a:pt x="258008" y="891905"/>
                  <a:pt x="256943" y="890707"/>
                </a:cubicBezTo>
                <a:cubicBezTo>
                  <a:pt x="255878" y="889642"/>
                  <a:pt x="254547" y="888710"/>
                  <a:pt x="252950" y="888044"/>
                </a:cubicBezTo>
                <a:cubicBezTo>
                  <a:pt x="251485" y="887512"/>
                  <a:pt x="249888" y="887113"/>
                  <a:pt x="247891" y="887113"/>
                </a:cubicBezTo>
                <a:close/>
                <a:moveTo>
                  <a:pt x="683180" y="887113"/>
                </a:moveTo>
                <a:cubicBezTo>
                  <a:pt x="677323" y="887113"/>
                  <a:pt x="674794" y="889109"/>
                  <a:pt x="673197" y="890707"/>
                </a:cubicBezTo>
                <a:cubicBezTo>
                  <a:pt x="670667" y="893369"/>
                  <a:pt x="669603" y="896164"/>
                  <a:pt x="669603" y="900158"/>
                </a:cubicBezTo>
                <a:cubicBezTo>
                  <a:pt x="669603" y="904285"/>
                  <a:pt x="670667" y="907080"/>
                  <a:pt x="673197" y="909609"/>
                </a:cubicBezTo>
                <a:cubicBezTo>
                  <a:pt x="674794" y="911207"/>
                  <a:pt x="677323" y="913070"/>
                  <a:pt x="683180" y="913070"/>
                </a:cubicBezTo>
                <a:cubicBezTo>
                  <a:pt x="685177" y="913070"/>
                  <a:pt x="687041" y="912804"/>
                  <a:pt x="688505" y="912005"/>
                </a:cubicBezTo>
                <a:cubicBezTo>
                  <a:pt x="689969" y="911473"/>
                  <a:pt x="691301" y="910674"/>
                  <a:pt x="692232" y="909609"/>
                </a:cubicBezTo>
                <a:cubicBezTo>
                  <a:pt x="693297" y="908544"/>
                  <a:pt x="694229" y="907080"/>
                  <a:pt x="694895" y="905483"/>
                </a:cubicBezTo>
                <a:cubicBezTo>
                  <a:pt x="695560" y="903885"/>
                  <a:pt x="695960" y="902021"/>
                  <a:pt x="695960" y="900025"/>
                </a:cubicBezTo>
                <a:cubicBezTo>
                  <a:pt x="695960" y="898161"/>
                  <a:pt x="695560" y="896431"/>
                  <a:pt x="694895" y="894833"/>
                </a:cubicBezTo>
                <a:cubicBezTo>
                  <a:pt x="694229" y="893236"/>
                  <a:pt x="693297" y="891905"/>
                  <a:pt x="692232" y="890707"/>
                </a:cubicBezTo>
                <a:cubicBezTo>
                  <a:pt x="691167" y="889642"/>
                  <a:pt x="689836" y="888710"/>
                  <a:pt x="688239" y="888044"/>
                </a:cubicBezTo>
                <a:cubicBezTo>
                  <a:pt x="686775" y="887512"/>
                  <a:pt x="685177" y="887113"/>
                  <a:pt x="683180" y="887113"/>
                </a:cubicBezTo>
                <a:close/>
                <a:moveTo>
                  <a:pt x="465536" y="887113"/>
                </a:moveTo>
                <a:cubicBezTo>
                  <a:pt x="459678" y="887113"/>
                  <a:pt x="457150" y="889109"/>
                  <a:pt x="455552" y="890707"/>
                </a:cubicBezTo>
                <a:cubicBezTo>
                  <a:pt x="453022" y="893369"/>
                  <a:pt x="451959" y="896164"/>
                  <a:pt x="451959" y="900158"/>
                </a:cubicBezTo>
                <a:cubicBezTo>
                  <a:pt x="451959" y="904285"/>
                  <a:pt x="453022" y="907080"/>
                  <a:pt x="455552" y="909609"/>
                </a:cubicBezTo>
                <a:cubicBezTo>
                  <a:pt x="457150" y="911207"/>
                  <a:pt x="459678" y="913070"/>
                  <a:pt x="465536" y="913070"/>
                </a:cubicBezTo>
                <a:cubicBezTo>
                  <a:pt x="467533" y="913070"/>
                  <a:pt x="469397" y="912804"/>
                  <a:pt x="470861" y="912005"/>
                </a:cubicBezTo>
                <a:cubicBezTo>
                  <a:pt x="472325" y="911473"/>
                  <a:pt x="473656" y="910674"/>
                  <a:pt x="474588" y="909609"/>
                </a:cubicBezTo>
                <a:cubicBezTo>
                  <a:pt x="475653" y="908544"/>
                  <a:pt x="476585" y="907080"/>
                  <a:pt x="477251" y="905483"/>
                </a:cubicBezTo>
                <a:cubicBezTo>
                  <a:pt x="477916" y="903885"/>
                  <a:pt x="478316" y="902021"/>
                  <a:pt x="478316" y="900025"/>
                </a:cubicBezTo>
                <a:cubicBezTo>
                  <a:pt x="478316" y="898161"/>
                  <a:pt x="477916" y="896431"/>
                  <a:pt x="477251" y="894833"/>
                </a:cubicBezTo>
                <a:cubicBezTo>
                  <a:pt x="476585" y="893236"/>
                  <a:pt x="475653" y="891905"/>
                  <a:pt x="474588" y="890707"/>
                </a:cubicBezTo>
                <a:cubicBezTo>
                  <a:pt x="473523" y="889642"/>
                  <a:pt x="472192" y="888710"/>
                  <a:pt x="470595" y="888044"/>
                </a:cubicBezTo>
                <a:cubicBezTo>
                  <a:pt x="469131" y="887512"/>
                  <a:pt x="467533" y="887113"/>
                  <a:pt x="465536" y="887113"/>
                </a:cubicBezTo>
                <a:close/>
                <a:moveTo>
                  <a:pt x="900958" y="887113"/>
                </a:moveTo>
                <a:cubicBezTo>
                  <a:pt x="895100" y="887113"/>
                  <a:pt x="892571" y="889108"/>
                  <a:pt x="890973" y="890707"/>
                </a:cubicBezTo>
                <a:cubicBezTo>
                  <a:pt x="888311" y="893369"/>
                  <a:pt x="887247" y="896164"/>
                  <a:pt x="887247" y="900158"/>
                </a:cubicBezTo>
                <a:cubicBezTo>
                  <a:pt x="887247" y="904285"/>
                  <a:pt x="888311" y="907080"/>
                  <a:pt x="890841" y="909609"/>
                </a:cubicBezTo>
                <a:cubicBezTo>
                  <a:pt x="892438" y="911207"/>
                  <a:pt x="894967" y="913070"/>
                  <a:pt x="900824" y="913070"/>
                </a:cubicBezTo>
                <a:cubicBezTo>
                  <a:pt x="902821" y="913070"/>
                  <a:pt x="904552" y="912804"/>
                  <a:pt x="906282" y="912005"/>
                </a:cubicBezTo>
                <a:cubicBezTo>
                  <a:pt x="907746" y="911473"/>
                  <a:pt x="909078" y="910674"/>
                  <a:pt x="910010" y="909609"/>
                </a:cubicBezTo>
                <a:cubicBezTo>
                  <a:pt x="911074" y="908544"/>
                  <a:pt x="912006" y="907080"/>
                  <a:pt x="912672" y="905483"/>
                </a:cubicBezTo>
                <a:cubicBezTo>
                  <a:pt x="913337" y="903885"/>
                  <a:pt x="913737" y="902021"/>
                  <a:pt x="913737" y="900025"/>
                </a:cubicBezTo>
                <a:cubicBezTo>
                  <a:pt x="913737" y="898161"/>
                  <a:pt x="913337" y="896431"/>
                  <a:pt x="912672" y="894833"/>
                </a:cubicBezTo>
                <a:cubicBezTo>
                  <a:pt x="912006" y="893236"/>
                  <a:pt x="911074" y="891905"/>
                  <a:pt x="910010" y="890707"/>
                </a:cubicBezTo>
                <a:cubicBezTo>
                  <a:pt x="908945" y="889642"/>
                  <a:pt x="907613" y="888710"/>
                  <a:pt x="906016" y="888044"/>
                </a:cubicBezTo>
                <a:cubicBezTo>
                  <a:pt x="904552" y="887512"/>
                  <a:pt x="902954" y="887113"/>
                  <a:pt x="900958" y="887113"/>
                </a:cubicBezTo>
                <a:close/>
                <a:moveTo>
                  <a:pt x="1335981" y="887112"/>
                </a:moveTo>
                <a:cubicBezTo>
                  <a:pt x="1330123" y="887112"/>
                  <a:pt x="1327594" y="889108"/>
                  <a:pt x="1325998" y="890706"/>
                </a:cubicBezTo>
                <a:cubicBezTo>
                  <a:pt x="1323467" y="893369"/>
                  <a:pt x="1322403" y="896164"/>
                  <a:pt x="1322403" y="900158"/>
                </a:cubicBezTo>
                <a:cubicBezTo>
                  <a:pt x="1322403" y="904285"/>
                  <a:pt x="1323467" y="907080"/>
                  <a:pt x="1325998" y="909609"/>
                </a:cubicBezTo>
                <a:cubicBezTo>
                  <a:pt x="1327594" y="911207"/>
                  <a:pt x="1330123" y="913070"/>
                  <a:pt x="1335981" y="913070"/>
                </a:cubicBezTo>
                <a:cubicBezTo>
                  <a:pt x="1338111" y="913070"/>
                  <a:pt x="1339841" y="912804"/>
                  <a:pt x="1341307" y="912005"/>
                </a:cubicBezTo>
                <a:cubicBezTo>
                  <a:pt x="1342770" y="911473"/>
                  <a:pt x="1344101" y="910674"/>
                  <a:pt x="1345033" y="909609"/>
                </a:cubicBezTo>
                <a:cubicBezTo>
                  <a:pt x="1346098" y="908544"/>
                  <a:pt x="1347031" y="907080"/>
                  <a:pt x="1347696" y="905483"/>
                </a:cubicBezTo>
                <a:cubicBezTo>
                  <a:pt x="1348361" y="903885"/>
                  <a:pt x="1348762" y="902021"/>
                  <a:pt x="1348762" y="900025"/>
                </a:cubicBezTo>
                <a:cubicBezTo>
                  <a:pt x="1348762" y="898160"/>
                  <a:pt x="1348361" y="896430"/>
                  <a:pt x="1347696" y="894833"/>
                </a:cubicBezTo>
                <a:cubicBezTo>
                  <a:pt x="1347031" y="893235"/>
                  <a:pt x="1346098" y="891904"/>
                  <a:pt x="1345033" y="890706"/>
                </a:cubicBezTo>
                <a:cubicBezTo>
                  <a:pt x="1343968" y="889641"/>
                  <a:pt x="1342637" y="888709"/>
                  <a:pt x="1341040" y="888043"/>
                </a:cubicBezTo>
                <a:cubicBezTo>
                  <a:pt x="1339575" y="887511"/>
                  <a:pt x="1337977" y="887112"/>
                  <a:pt x="1335981" y="887112"/>
                </a:cubicBezTo>
                <a:close/>
                <a:moveTo>
                  <a:pt x="1118469" y="887112"/>
                </a:moveTo>
                <a:cubicBezTo>
                  <a:pt x="1112612" y="887112"/>
                  <a:pt x="1110082" y="889108"/>
                  <a:pt x="1108485" y="890706"/>
                </a:cubicBezTo>
                <a:cubicBezTo>
                  <a:pt x="1105822" y="893369"/>
                  <a:pt x="1104758" y="896164"/>
                  <a:pt x="1104758" y="900158"/>
                </a:cubicBezTo>
                <a:cubicBezTo>
                  <a:pt x="1104758" y="904285"/>
                  <a:pt x="1105822" y="907080"/>
                  <a:pt x="1108352" y="909609"/>
                </a:cubicBezTo>
                <a:cubicBezTo>
                  <a:pt x="1109949" y="911207"/>
                  <a:pt x="1112479" y="913070"/>
                  <a:pt x="1118336" y="913070"/>
                </a:cubicBezTo>
                <a:cubicBezTo>
                  <a:pt x="1120465" y="913070"/>
                  <a:pt x="1122197" y="912804"/>
                  <a:pt x="1123794" y="912005"/>
                </a:cubicBezTo>
                <a:cubicBezTo>
                  <a:pt x="1125258" y="911473"/>
                  <a:pt x="1126591" y="910674"/>
                  <a:pt x="1127521" y="909609"/>
                </a:cubicBezTo>
                <a:cubicBezTo>
                  <a:pt x="1128586" y="908544"/>
                  <a:pt x="1129518" y="907080"/>
                  <a:pt x="1130184" y="905483"/>
                </a:cubicBezTo>
                <a:cubicBezTo>
                  <a:pt x="1130849" y="903885"/>
                  <a:pt x="1131250" y="902021"/>
                  <a:pt x="1131250" y="900025"/>
                </a:cubicBezTo>
                <a:cubicBezTo>
                  <a:pt x="1131250" y="898161"/>
                  <a:pt x="1130849" y="896431"/>
                  <a:pt x="1130184" y="894833"/>
                </a:cubicBezTo>
                <a:cubicBezTo>
                  <a:pt x="1129518" y="893235"/>
                  <a:pt x="1128586" y="891904"/>
                  <a:pt x="1127521" y="890706"/>
                </a:cubicBezTo>
                <a:cubicBezTo>
                  <a:pt x="1126456" y="889641"/>
                  <a:pt x="1125125" y="888710"/>
                  <a:pt x="1123527" y="888043"/>
                </a:cubicBezTo>
                <a:cubicBezTo>
                  <a:pt x="1122064" y="887511"/>
                  <a:pt x="1120465" y="887112"/>
                  <a:pt x="1118469" y="887112"/>
                </a:cubicBezTo>
                <a:close/>
                <a:moveTo>
                  <a:pt x="1771270" y="887112"/>
                </a:moveTo>
                <a:cubicBezTo>
                  <a:pt x="1765413" y="887112"/>
                  <a:pt x="1762883" y="889108"/>
                  <a:pt x="1761287" y="890706"/>
                </a:cubicBezTo>
                <a:cubicBezTo>
                  <a:pt x="1758757" y="893368"/>
                  <a:pt x="1757692" y="896163"/>
                  <a:pt x="1757692" y="900157"/>
                </a:cubicBezTo>
                <a:cubicBezTo>
                  <a:pt x="1757692" y="904284"/>
                  <a:pt x="1758757" y="907080"/>
                  <a:pt x="1761287" y="909608"/>
                </a:cubicBezTo>
                <a:cubicBezTo>
                  <a:pt x="1762883" y="911207"/>
                  <a:pt x="1765413" y="913070"/>
                  <a:pt x="1771270" y="913070"/>
                </a:cubicBezTo>
                <a:cubicBezTo>
                  <a:pt x="1773267" y="913070"/>
                  <a:pt x="1775131" y="912804"/>
                  <a:pt x="1776594" y="912005"/>
                </a:cubicBezTo>
                <a:cubicBezTo>
                  <a:pt x="1778059" y="911473"/>
                  <a:pt x="1779390" y="910674"/>
                  <a:pt x="1780322" y="909608"/>
                </a:cubicBezTo>
                <a:cubicBezTo>
                  <a:pt x="1781387" y="908543"/>
                  <a:pt x="1782318" y="907080"/>
                  <a:pt x="1782985" y="905482"/>
                </a:cubicBezTo>
                <a:cubicBezTo>
                  <a:pt x="1783649" y="903884"/>
                  <a:pt x="1784050" y="902020"/>
                  <a:pt x="1784050" y="900024"/>
                </a:cubicBezTo>
                <a:cubicBezTo>
                  <a:pt x="1784050" y="898160"/>
                  <a:pt x="1783649" y="896430"/>
                  <a:pt x="1782985" y="894832"/>
                </a:cubicBezTo>
                <a:cubicBezTo>
                  <a:pt x="1782318" y="893235"/>
                  <a:pt x="1781387" y="891904"/>
                  <a:pt x="1780322" y="890706"/>
                </a:cubicBezTo>
                <a:cubicBezTo>
                  <a:pt x="1779257" y="889641"/>
                  <a:pt x="1777926" y="888709"/>
                  <a:pt x="1776329" y="888043"/>
                </a:cubicBezTo>
                <a:cubicBezTo>
                  <a:pt x="1774864" y="887511"/>
                  <a:pt x="1773267" y="887112"/>
                  <a:pt x="1771270" y="887112"/>
                </a:cubicBezTo>
                <a:close/>
                <a:moveTo>
                  <a:pt x="1553626" y="887112"/>
                </a:moveTo>
                <a:cubicBezTo>
                  <a:pt x="1547768" y="887112"/>
                  <a:pt x="1545239" y="889108"/>
                  <a:pt x="1543642" y="890706"/>
                </a:cubicBezTo>
                <a:cubicBezTo>
                  <a:pt x="1541113" y="893368"/>
                  <a:pt x="1540048" y="896163"/>
                  <a:pt x="1540048" y="900158"/>
                </a:cubicBezTo>
                <a:cubicBezTo>
                  <a:pt x="1540048" y="904285"/>
                  <a:pt x="1541113" y="907080"/>
                  <a:pt x="1543642" y="909609"/>
                </a:cubicBezTo>
                <a:cubicBezTo>
                  <a:pt x="1545239" y="911207"/>
                  <a:pt x="1547768" y="913070"/>
                  <a:pt x="1553626" y="913070"/>
                </a:cubicBezTo>
                <a:cubicBezTo>
                  <a:pt x="1555623" y="913070"/>
                  <a:pt x="1557486" y="912804"/>
                  <a:pt x="1558950" y="912005"/>
                </a:cubicBezTo>
                <a:cubicBezTo>
                  <a:pt x="1560415" y="911473"/>
                  <a:pt x="1561747" y="910674"/>
                  <a:pt x="1562678" y="909609"/>
                </a:cubicBezTo>
                <a:cubicBezTo>
                  <a:pt x="1563742" y="908544"/>
                  <a:pt x="1564675" y="907080"/>
                  <a:pt x="1565340" y="905482"/>
                </a:cubicBezTo>
                <a:cubicBezTo>
                  <a:pt x="1566005" y="903885"/>
                  <a:pt x="1566406" y="902021"/>
                  <a:pt x="1566406" y="900024"/>
                </a:cubicBezTo>
                <a:cubicBezTo>
                  <a:pt x="1566406" y="898160"/>
                  <a:pt x="1566005" y="896430"/>
                  <a:pt x="1565340" y="894832"/>
                </a:cubicBezTo>
                <a:cubicBezTo>
                  <a:pt x="1564675" y="893235"/>
                  <a:pt x="1563742" y="891904"/>
                  <a:pt x="1562678" y="890706"/>
                </a:cubicBezTo>
                <a:cubicBezTo>
                  <a:pt x="1561612" y="889641"/>
                  <a:pt x="1560282" y="888709"/>
                  <a:pt x="1558684" y="888043"/>
                </a:cubicBezTo>
                <a:cubicBezTo>
                  <a:pt x="1557220" y="887511"/>
                  <a:pt x="1555623" y="887112"/>
                  <a:pt x="1553626" y="887112"/>
                </a:cubicBezTo>
                <a:close/>
                <a:moveTo>
                  <a:pt x="1988913" y="887112"/>
                </a:moveTo>
                <a:cubicBezTo>
                  <a:pt x="1983055" y="887112"/>
                  <a:pt x="1980526" y="889108"/>
                  <a:pt x="1978930" y="890706"/>
                </a:cubicBezTo>
                <a:cubicBezTo>
                  <a:pt x="1976399" y="893368"/>
                  <a:pt x="1975335" y="896163"/>
                  <a:pt x="1975335" y="900157"/>
                </a:cubicBezTo>
                <a:cubicBezTo>
                  <a:pt x="1975335" y="904284"/>
                  <a:pt x="1976399" y="907079"/>
                  <a:pt x="1978930" y="909608"/>
                </a:cubicBezTo>
                <a:cubicBezTo>
                  <a:pt x="1980526" y="911206"/>
                  <a:pt x="1983055" y="913070"/>
                  <a:pt x="1988913" y="913070"/>
                </a:cubicBezTo>
                <a:cubicBezTo>
                  <a:pt x="1990909" y="913070"/>
                  <a:pt x="1992641" y="912803"/>
                  <a:pt x="1994237" y="912004"/>
                </a:cubicBezTo>
                <a:cubicBezTo>
                  <a:pt x="1995835" y="911473"/>
                  <a:pt x="1997034" y="910673"/>
                  <a:pt x="1997965" y="909608"/>
                </a:cubicBezTo>
                <a:cubicBezTo>
                  <a:pt x="1999029" y="908543"/>
                  <a:pt x="1999962" y="907079"/>
                  <a:pt x="2000628" y="905482"/>
                </a:cubicBezTo>
                <a:cubicBezTo>
                  <a:pt x="2001160" y="903884"/>
                  <a:pt x="2001558" y="902020"/>
                  <a:pt x="2001558" y="900024"/>
                </a:cubicBezTo>
                <a:cubicBezTo>
                  <a:pt x="2001558" y="898160"/>
                  <a:pt x="2001293" y="896430"/>
                  <a:pt x="2000628" y="894832"/>
                </a:cubicBezTo>
                <a:cubicBezTo>
                  <a:pt x="1999962" y="893235"/>
                  <a:pt x="1999029" y="891904"/>
                  <a:pt x="1997965" y="890706"/>
                </a:cubicBezTo>
                <a:cubicBezTo>
                  <a:pt x="1996901" y="889641"/>
                  <a:pt x="1995569" y="888709"/>
                  <a:pt x="1993971" y="888043"/>
                </a:cubicBezTo>
                <a:cubicBezTo>
                  <a:pt x="1992507" y="887511"/>
                  <a:pt x="1990909" y="887112"/>
                  <a:pt x="1988913" y="887112"/>
                </a:cubicBezTo>
                <a:close/>
                <a:moveTo>
                  <a:pt x="2424075" y="887112"/>
                </a:moveTo>
                <a:cubicBezTo>
                  <a:pt x="2418218" y="887112"/>
                  <a:pt x="2415689" y="889108"/>
                  <a:pt x="2414092" y="890706"/>
                </a:cubicBezTo>
                <a:cubicBezTo>
                  <a:pt x="2411562" y="893368"/>
                  <a:pt x="2410498" y="896163"/>
                  <a:pt x="2410498" y="900157"/>
                </a:cubicBezTo>
                <a:cubicBezTo>
                  <a:pt x="2410498" y="904284"/>
                  <a:pt x="2411562" y="907079"/>
                  <a:pt x="2414092" y="909608"/>
                </a:cubicBezTo>
                <a:cubicBezTo>
                  <a:pt x="2415689" y="911206"/>
                  <a:pt x="2418218" y="913069"/>
                  <a:pt x="2424075" y="913069"/>
                </a:cubicBezTo>
                <a:cubicBezTo>
                  <a:pt x="2426205" y="913069"/>
                  <a:pt x="2427936" y="912803"/>
                  <a:pt x="2429400" y="912004"/>
                </a:cubicBezTo>
                <a:cubicBezTo>
                  <a:pt x="2430998" y="911472"/>
                  <a:pt x="2432196" y="910673"/>
                  <a:pt x="2433127" y="909608"/>
                </a:cubicBezTo>
                <a:cubicBezTo>
                  <a:pt x="2434192" y="908543"/>
                  <a:pt x="2435124" y="907079"/>
                  <a:pt x="2435790" y="905482"/>
                </a:cubicBezTo>
                <a:cubicBezTo>
                  <a:pt x="2436322" y="903884"/>
                  <a:pt x="2436722" y="902020"/>
                  <a:pt x="2436722" y="900024"/>
                </a:cubicBezTo>
                <a:cubicBezTo>
                  <a:pt x="2436722" y="898160"/>
                  <a:pt x="2436455" y="896430"/>
                  <a:pt x="2435790" y="894832"/>
                </a:cubicBezTo>
                <a:cubicBezTo>
                  <a:pt x="2435124" y="893235"/>
                  <a:pt x="2434192" y="891904"/>
                  <a:pt x="2433127" y="890706"/>
                </a:cubicBezTo>
                <a:cubicBezTo>
                  <a:pt x="2432064" y="889641"/>
                  <a:pt x="2430732" y="888709"/>
                  <a:pt x="2429134" y="888043"/>
                </a:cubicBezTo>
                <a:cubicBezTo>
                  <a:pt x="2427670" y="887511"/>
                  <a:pt x="2426072" y="887112"/>
                  <a:pt x="2424075" y="887112"/>
                </a:cubicBezTo>
                <a:close/>
                <a:moveTo>
                  <a:pt x="2206428" y="887112"/>
                </a:moveTo>
                <a:cubicBezTo>
                  <a:pt x="2200570" y="887112"/>
                  <a:pt x="2198041" y="889108"/>
                  <a:pt x="2196444" y="890706"/>
                </a:cubicBezTo>
                <a:cubicBezTo>
                  <a:pt x="2193914" y="893368"/>
                  <a:pt x="2192850" y="896163"/>
                  <a:pt x="2192850" y="900157"/>
                </a:cubicBezTo>
                <a:cubicBezTo>
                  <a:pt x="2192850" y="904284"/>
                  <a:pt x="2193914" y="907079"/>
                  <a:pt x="2196444" y="909608"/>
                </a:cubicBezTo>
                <a:cubicBezTo>
                  <a:pt x="2198041" y="911206"/>
                  <a:pt x="2200570" y="913069"/>
                  <a:pt x="2206428" y="913069"/>
                </a:cubicBezTo>
                <a:cubicBezTo>
                  <a:pt x="2208557" y="913069"/>
                  <a:pt x="2210289" y="912803"/>
                  <a:pt x="2211752" y="912004"/>
                </a:cubicBezTo>
                <a:cubicBezTo>
                  <a:pt x="2213350" y="911472"/>
                  <a:pt x="2214548" y="910673"/>
                  <a:pt x="2215479" y="909608"/>
                </a:cubicBezTo>
                <a:cubicBezTo>
                  <a:pt x="2216545" y="908543"/>
                  <a:pt x="2217476" y="907079"/>
                  <a:pt x="2218143" y="905482"/>
                </a:cubicBezTo>
                <a:cubicBezTo>
                  <a:pt x="2218675" y="903884"/>
                  <a:pt x="2219074" y="902020"/>
                  <a:pt x="2219074" y="900024"/>
                </a:cubicBezTo>
                <a:cubicBezTo>
                  <a:pt x="2219074" y="898160"/>
                  <a:pt x="2218808" y="896430"/>
                  <a:pt x="2218143" y="894832"/>
                </a:cubicBezTo>
                <a:cubicBezTo>
                  <a:pt x="2217476" y="893235"/>
                  <a:pt x="2216545" y="891904"/>
                  <a:pt x="2215479" y="890706"/>
                </a:cubicBezTo>
                <a:cubicBezTo>
                  <a:pt x="2214414" y="889641"/>
                  <a:pt x="2213084" y="888709"/>
                  <a:pt x="2211486" y="888043"/>
                </a:cubicBezTo>
                <a:cubicBezTo>
                  <a:pt x="2210022" y="887511"/>
                  <a:pt x="2208424" y="887112"/>
                  <a:pt x="2206428" y="887112"/>
                </a:cubicBezTo>
                <a:close/>
                <a:moveTo>
                  <a:pt x="3077151" y="887112"/>
                </a:moveTo>
                <a:cubicBezTo>
                  <a:pt x="3071294" y="887112"/>
                  <a:pt x="3068765" y="889108"/>
                  <a:pt x="3067169" y="890706"/>
                </a:cubicBezTo>
                <a:cubicBezTo>
                  <a:pt x="3064505" y="893368"/>
                  <a:pt x="3063440" y="896163"/>
                  <a:pt x="3063440" y="900157"/>
                </a:cubicBezTo>
                <a:cubicBezTo>
                  <a:pt x="3063440" y="904284"/>
                  <a:pt x="3064505" y="907079"/>
                  <a:pt x="3067035" y="909608"/>
                </a:cubicBezTo>
                <a:cubicBezTo>
                  <a:pt x="3068632" y="911206"/>
                  <a:pt x="3071162" y="913069"/>
                  <a:pt x="3077018" y="913069"/>
                </a:cubicBezTo>
                <a:cubicBezTo>
                  <a:pt x="3079016" y="913069"/>
                  <a:pt x="3080746" y="912803"/>
                  <a:pt x="3082476" y="912004"/>
                </a:cubicBezTo>
                <a:cubicBezTo>
                  <a:pt x="3083942" y="911472"/>
                  <a:pt x="3085273" y="910673"/>
                  <a:pt x="3086204" y="909608"/>
                </a:cubicBezTo>
                <a:cubicBezTo>
                  <a:pt x="3087268" y="908543"/>
                  <a:pt x="3088201" y="907079"/>
                  <a:pt x="3088866" y="905482"/>
                </a:cubicBezTo>
                <a:cubicBezTo>
                  <a:pt x="3089531" y="903884"/>
                  <a:pt x="3089799" y="902020"/>
                  <a:pt x="3089799" y="900024"/>
                </a:cubicBezTo>
                <a:cubicBezTo>
                  <a:pt x="3089799" y="898160"/>
                  <a:pt x="3089531" y="896430"/>
                  <a:pt x="3088866" y="894832"/>
                </a:cubicBezTo>
                <a:cubicBezTo>
                  <a:pt x="3088201" y="893235"/>
                  <a:pt x="3087268" y="891904"/>
                  <a:pt x="3086204" y="890706"/>
                </a:cubicBezTo>
                <a:cubicBezTo>
                  <a:pt x="3085139" y="889641"/>
                  <a:pt x="3083808" y="888709"/>
                  <a:pt x="3082211" y="888043"/>
                </a:cubicBezTo>
                <a:cubicBezTo>
                  <a:pt x="3080746" y="887511"/>
                  <a:pt x="3079148" y="887112"/>
                  <a:pt x="3077151" y="887112"/>
                </a:cubicBezTo>
                <a:close/>
                <a:moveTo>
                  <a:pt x="2859371" y="887112"/>
                </a:moveTo>
                <a:cubicBezTo>
                  <a:pt x="2853514" y="887112"/>
                  <a:pt x="2850985" y="889108"/>
                  <a:pt x="2849388" y="890706"/>
                </a:cubicBezTo>
                <a:cubicBezTo>
                  <a:pt x="2846856" y="893368"/>
                  <a:pt x="2845793" y="896163"/>
                  <a:pt x="2845793" y="900157"/>
                </a:cubicBezTo>
                <a:cubicBezTo>
                  <a:pt x="2845793" y="904284"/>
                  <a:pt x="2846856" y="907079"/>
                  <a:pt x="2849388" y="909608"/>
                </a:cubicBezTo>
                <a:cubicBezTo>
                  <a:pt x="2850985" y="911206"/>
                  <a:pt x="2853514" y="913069"/>
                  <a:pt x="2859371" y="913069"/>
                </a:cubicBezTo>
                <a:cubicBezTo>
                  <a:pt x="2861368" y="913069"/>
                  <a:pt x="2863232" y="912803"/>
                  <a:pt x="2864696" y="912004"/>
                </a:cubicBezTo>
                <a:cubicBezTo>
                  <a:pt x="2866294" y="911472"/>
                  <a:pt x="2867492" y="910673"/>
                  <a:pt x="2868423" y="909608"/>
                </a:cubicBezTo>
                <a:cubicBezTo>
                  <a:pt x="2869488" y="908543"/>
                  <a:pt x="2870420" y="907079"/>
                  <a:pt x="2871086" y="905482"/>
                </a:cubicBezTo>
                <a:cubicBezTo>
                  <a:pt x="2871618" y="903884"/>
                  <a:pt x="2872017" y="902020"/>
                  <a:pt x="2872017" y="900024"/>
                </a:cubicBezTo>
                <a:cubicBezTo>
                  <a:pt x="2872017" y="898160"/>
                  <a:pt x="2871751" y="896430"/>
                  <a:pt x="2871086" y="894832"/>
                </a:cubicBezTo>
                <a:cubicBezTo>
                  <a:pt x="2870420" y="893235"/>
                  <a:pt x="2869488" y="891904"/>
                  <a:pt x="2868423" y="890706"/>
                </a:cubicBezTo>
                <a:cubicBezTo>
                  <a:pt x="2867359" y="889641"/>
                  <a:pt x="2866027" y="888709"/>
                  <a:pt x="2864430" y="888043"/>
                </a:cubicBezTo>
                <a:cubicBezTo>
                  <a:pt x="2862966" y="887511"/>
                  <a:pt x="2861368" y="887112"/>
                  <a:pt x="2859371" y="887112"/>
                </a:cubicBezTo>
                <a:close/>
                <a:moveTo>
                  <a:pt x="2641723" y="887112"/>
                </a:moveTo>
                <a:cubicBezTo>
                  <a:pt x="2635866" y="887112"/>
                  <a:pt x="2633337" y="889108"/>
                  <a:pt x="2631740" y="890706"/>
                </a:cubicBezTo>
                <a:cubicBezTo>
                  <a:pt x="2629210" y="893368"/>
                  <a:pt x="2628146" y="896163"/>
                  <a:pt x="2628146" y="900157"/>
                </a:cubicBezTo>
                <a:cubicBezTo>
                  <a:pt x="2628146" y="904284"/>
                  <a:pt x="2629210" y="907079"/>
                  <a:pt x="2631740" y="909608"/>
                </a:cubicBezTo>
                <a:cubicBezTo>
                  <a:pt x="2633337" y="911206"/>
                  <a:pt x="2635866" y="913069"/>
                  <a:pt x="2641723" y="913069"/>
                </a:cubicBezTo>
                <a:cubicBezTo>
                  <a:pt x="2643720" y="913069"/>
                  <a:pt x="2645584" y="912803"/>
                  <a:pt x="2647048" y="912004"/>
                </a:cubicBezTo>
                <a:cubicBezTo>
                  <a:pt x="2648645" y="911472"/>
                  <a:pt x="2649843" y="910673"/>
                  <a:pt x="2650775" y="909608"/>
                </a:cubicBezTo>
                <a:cubicBezTo>
                  <a:pt x="2651840" y="908543"/>
                  <a:pt x="2652772" y="907079"/>
                  <a:pt x="2653438" y="905482"/>
                </a:cubicBezTo>
                <a:cubicBezTo>
                  <a:pt x="2653970" y="903884"/>
                  <a:pt x="2654369" y="902020"/>
                  <a:pt x="2654369" y="900024"/>
                </a:cubicBezTo>
                <a:cubicBezTo>
                  <a:pt x="2654369" y="898160"/>
                  <a:pt x="2654103" y="896430"/>
                  <a:pt x="2653438" y="894832"/>
                </a:cubicBezTo>
                <a:cubicBezTo>
                  <a:pt x="2652772" y="893235"/>
                  <a:pt x="2651840" y="891904"/>
                  <a:pt x="2650775" y="890706"/>
                </a:cubicBezTo>
                <a:cubicBezTo>
                  <a:pt x="2649710" y="889641"/>
                  <a:pt x="2648379" y="888709"/>
                  <a:pt x="2646782" y="888043"/>
                </a:cubicBezTo>
                <a:cubicBezTo>
                  <a:pt x="2645317" y="887511"/>
                  <a:pt x="2643720" y="887112"/>
                  <a:pt x="2641723" y="887112"/>
                </a:cubicBezTo>
                <a:close/>
                <a:moveTo>
                  <a:pt x="3512181" y="887111"/>
                </a:moveTo>
                <a:cubicBezTo>
                  <a:pt x="3506324" y="887111"/>
                  <a:pt x="3503794" y="889107"/>
                  <a:pt x="3502196" y="890706"/>
                </a:cubicBezTo>
                <a:cubicBezTo>
                  <a:pt x="3499667" y="893368"/>
                  <a:pt x="3498603" y="896163"/>
                  <a:pt x="3498603" y="900157"/>
                </a:cubicBezTo>
                <a:cubicBezTo>
                  <a:pt x="3498603" y="904284"/>
                  <a:pt x="3499667" y="907079"/>
                  <a:pt x="3502196" y="909608"/>
                </a:cubicBezTo>
                <a:cubicBezTo>
                  <a:pt x="3503794" y="911206"/>
                  <a:pt x="3506324" y="913069"/>
                  <a:pt x="3512181" y="913069"/>
                </a:cubicBezTo>
                <a:cubicBezTo>
                  <a:pt x="3514311" y="913069"/>
                  <a:pt x="3516042" y="912803"/>
                  <a:pt x="3517506" y="912004"/>
                </a:cubicBezTo>
                <a:cubicBezTo>
                  <a:pt x="3518970" y="911472"/>
                  <a:pt x="3520302" y="910673"/>
                  <a:pt x="3521233" y="909608"/>
                </a:cubicBezTo>
                <a:cubicBezTo>
                  <a:pt x="3522298" y="908543"/>
                  <a:pt x="3523230" y="907079"/>
                  <a:pt x="3523896" y="905482"/>
                </a:cubicBezTo>
                <a:cubicBezTo>
                  <a:pt x="3524561" y="903884"/>
                  <a:pt x="3524961" y="902020"/>
                  <a:pt x="3524961" y="900024"/>
                </a:cubicBezTo>
                <a:cubicBezTo>
                  <a:pt x="3524961" y="898159"/>
                  <a:pt x="3524561" y="896429"/>
                  <a:pt x="3523896" y="894832"/>
                </a:cubicBezTo>
                <a:cubicBezTo>
                  <a:pt x="3523230" y="893234"/>
                  <a:pt x="3522298" y="891903"/>
                  <a:pt x="3521233" y="890706"/>
                </a:cubicBezTo>
                <a:cubicBezTo>
                  <a:pt x="3520168" y="889640"/>
                  <a:pt x="3518837" y="888708"/>
                  <a:pt x="3517240" y="888042"/>
                </a:cubicBezTo>
                <a:cubicBezTo>
                  <a:pt x="3515776" y="887510"/>
                  <a:pt x="3514178" y="887111"/>
                  <a:pt x="3512181" y="887111"/>
                </a:cubicBezTo>
                <a:close/>
                <a:moveTo>
                  <a:pt x="3294666" y="887111"/>
                </a:moveTo>
                <a:cubicBezTo>
                  <a:pt x="3288809" y="887111"/>
                  <a:pt x="3286280" y="889108"/>
                  <a:pt x="3284682" y="890706"/>
                </a:cubicBezTo>
                <a:cubicBezTo>
                  <a:pt x="3282152" y="893368"/>
                  <a:pt x="3281088" y="896163"/>
                  <a:pt x="3281088" y="900157"/>
                </a:cubicBezTo>
                <a:cubicBezTo>
                  <a:pt x="3281088" y="904284"/>
                  <a:pt x="3282152" y="907079"/>
                  <a:pt x="3284682" y="909608"/>
                </a:cubicBezTo>
                <a:cubicBezTo>
                  <a:pt x="3286280" y="911206"/>
                  <a:pt x="3288809" y="913069"/>
                  <a:pt x="3294666" y="913069"/>
                </a:cubicBezTo>
                <a:cubicBezTo>
                  <a:pt x="3296663" y="913069"/>
                  <a:pt x="3298394" y="912803"/>
                  <a:pt x="3299992" y="912004"/>
                </a:cubicBezTo>
                <a:cubicBezTo>
                  <a:pt x="3301456" y="911472"/>
                  <a:pt x="3302787" y="910673"/>
                  <a:pt x="3303719" y="909608"/>
                </a:cubicBezTo>
                <a:cubicBezTo>
                  <a:pt x="3304784" y="908543"/>
                  <a:pt x="3305715" y="907079"/>
                  <a:pt x="3306382" y="905482"/>
                </a:cubicBezTo>
                <a:cubicBezTo>
                  <a:pt x="3307047" y="903884"/>
                  <a:pt x="3307445" y="902020"/>
                  <a:pt x="3307445" y="900024"/>
                </a:cubicBezTo>
                <a:cubicBezTo>
                  <a:pt x="3307445" y="898160"/>
                  <a:pt x="3307047" y="896430"/>
                  <a:pt x="3306382" y="894832"/>
                </a:cubicBezTo>
                <a:cubicBezTo>
                  <a:pt x="3305715" y="893235"/>
                  <a:pt x="3304784" y="891903"/>
                  <a:pt x="3303719" y="890706"/>
                </a:cubicBezTo>
                <a:cubicBezTo>
                  <a:pt x="3302653" y="889641"/>
                  <a:pt x="3301322" y="888708"/>
                  <a:pt x="3299725" y="888043"/>
                </a:cubicBezTo>
                <a:cubicBezTo>
                  <a:pt x="3298262" y="887511"/>
                  <a:pt x="3296663" y="887111"/>
                  <a:pt x="3294666" y="887111"/>
                </a:cubicBezTo>
                <a:close/>
                <a:moveTo>
                  <a:pt x="3729829" y="887111"/>
                </a:moveTo>
                <a:cubicBezTo>
                  <a:pt x="3723971" y="887111"/>
                  <a:pt x="3721442" y="889107"/>
                  <a:pt x="3719844" y="890705"/>
                </a:cubicBezTo>
                <a:cubicBezTo>
                  <a:pt x="3717314" y="893367"/>
                  <a:pt x="3716250" y="896163"/>
                  <a:pt x="3716250" y="900157"/>
                </a:cubicBezTo>
                <a:cubicBezTo>
                  <a:pt x="3716250" y="904284"/>
                  <a:pt x="3717314" y="907079"/>
                  <a:pt x="3719844" y="909608"/>
                </a:cubicBezTo>
                <a:cubicBezTo>
                  <a:pt x="3721442" y="911206"/>
                  <a:pt x="3723971" y="913069"/>
                  <a:pt x="3729829" y="913069"/>
                </a:cubicBezTo>
                <a:cubicBezTo>
                  <a:pt x="3731958" y="913069"/>
                  <a:pt x="3733690" y="912803"/>
                  <a:pt x="3735154" y="912004"/>
                </a:cubicBezTo>
                <a:cubicBezTo>
                  <a:pt x="3736617" y="911472"/>
                  <a:pt x="3737950" y="910673"/>
                  <a:pt x="3738880" y="909608"/>
                </a:cubicBezTo>
                <a:cubicBezTo>
                  <a:pt x="3739946" y="908542"/>
                  <a:pt x="3740878" y="907079"/>
                  <a:pt x="3741544" y="905482"/>
                </a:cubicBezTo>
                <a:cubicBezTo>
                  <a:pt x="3742209" y="903884"/>
                  <a:pt x="3742608" y="902020"/>
                  <a:pt x="3742608" y="900024"/>
                </a:cubicBezTo>
                <a:cubicBezTo>
                  <a:pt x="3742608" y="898159"/>
                  <a:pt x="3742209" y="896429"/>
                  <a:pt x="3741544" y="894831"/>
                </a:cubicBezTo>
                <a:cubicBezTo>
                  <a:pt x="3740878" y="893234"/>
                  <a:pt x="3739946" y="891903"/>
                  <a:pt x="3738880" y="890705"/>
                </a:cubicBezTo>
                <a:cubicBezTo>
                  <a:pt x="3737816" y="889640"/>
                  <a:pt x="3736485" y="888708"/>
                  <a:pt x="3734888" y="888042"/>
                </a:cubicBezTo>
                <a:cubicBezTo>
                  <a:pt x="3733423" y="887510"/>
                  <a:pt x="3731825" y="887111"/>
                  <a:pt x="3729829" y="887111"/>
                </a:cubicBezTo>
                <a:close/>
                <a:moveTo>
                  <a:pt x="4165068" y="887111"/>
                </a:moveTo>
                <a:cubicBezTo>
                  <a:pt x="4159211" y="887111"/>
                  <a:pt x="4156681" y="889107"/>
                  <a:pt x="4155084" y="890705"/>
                </a:cubicBezTo>
                <a:cubicBezTo>
                  <a:pt x="4152555" y="893367"/>
                  <a:pt x="4151490" y="896162"/>
                  <a:pt x="4151490" y="900156"/>
                </a:cubicBezTo>
                <a:cubicBezTo>
                  <a:pt x="4151490" y="904283"/>
                  <a:pt x="4152555" y="907078"/>
                  <a:pt x="4155084" y="909607"/>
                </a:cubicBezTo>
                <a:cubicBezTo>
                  <a:pt x="4156681" y="911206"/>
                  <a:pt x="4159211" y="913068"/>
                  <a:pt x="4165068" y="913068"/>
                </a:cubicBezTo>
                <a:cubicBezTo>
                  <a:pt x="4167064" y="913068"/>
                  <a:pt x="4168928" y="912802"/>
                  <a:pt x="4170392" y="912003"/>
                </a:cubicBezTo>
                <a:cubicBezTo>
                  <a:pt x="4171856" y="911472"/>
                  <a:pt x="4173188" y="910673"/>
                  <a:pt x="4174119" y="909607"/>
                </a:cubicBezTo>
                <a:cubicBezTo>
                  <a:pt x="4175184" y="908542"/>
                  <a:pt x="4176116" y="907078"/>
                  <a:pt x="4176782" y="905481"/>
                </a:cubicBezTo>
                <a:cubicBezTo>
                  <a:pt x="4177447" y="903883"/>
                  <a:pt x="4177847" y="902019"/>
                  <a:pt x="4177847" y="900023"/>
                </a:cubicBezTo>
                <a:cubicBezTo>
                  <a:pt x="4177847" y="898159"/>
                  <a:pt x="4177447" y="896429"/>
                  <a:pt x="4176782" y="894831"/>
                </a:cubicBezTo>
                <a:cubicBezTo>
                  <a:pt x="4176116" y="893234"/>
                  <a:pt x="4175184" y="891903"/>
                  <a:pt x="4174119" y="890705"/>
                </a:cubicBezTo>
                <a:cubicBezTo>
                  <a:pt x="4173054" y="889640"/>
                  <a:pt x="4171723" y="888708"/>
                  <a:pt x="4170126" y="888042"/>
                </a:cubicBezTo>
                <a:cubicBezTo>
                  <a:pt x="4168662" y="887510"/>
                  <a:pt x="4167064" y="887111"/>
                  <a:pt x="4165068" y="887111"/>
                </a:cubicBezTo>
                <a:close/>
                <a:moveTo>
                  <a:pt x="3947477" y="887111"/>
                </a:moveTo>
                <a:cubicBezTo>
                  <a:pt x="3941619" y="887111"/>
                  <a:pt x="3939091" y="889107"/>
                  <a:pt x="3937494" y="890705"/>
                </a:cubicBezTo>
                <a:cubicBezTo>
                  <a:pt x="3934963" y="893367"/>
                  <a:pt x="3933899" y="896162"/>
                  <a:pt x="3933899" y="900156"/>
                </a:cubicBezTo>
                <a:cubicBezTo>
                  <a:pt x="3933899" y="904283"/>
                  <a:pt x="3934963" y="907079"/>
                  <a:pt x="3937494" y="909608"/>
                </a:cubicBezTo>
                <a:cubicBezTo>
                  <a:pt x="3939091" y="911206"/>
                  <a:pt x="3941619" y="913069"/>
                  <a:pt x="3947477" y="913069"/>
                </a:cubicBezTo>
                <a:cubicBezTo>
                  <a:pt x="3949474" y="913069"/>
                  <a:pt x="3951337" y="912803"/>
                  <a:pt x="3952802" y="912004"/>
                </a:cubicBezTo>
                <a:cubicBezTo>
                  <a:pt x="3954267" y="911472"/>
                  <a:pt x="3955597" y="910673"/>
                  <a:pt x="3956529" y="909608"/>
                </a:cubicBezTo>
                <a:cubicBezTo>
                  <a:pt x="3957594" y="908542"/>
                  <a:pt x="3958526" y="907079"/>
                  <a:pt x="3959192" y="905482"/>
                </a:cubicBezTo>
                <a:cubicBezTo>
                  <a:pt x="3959857" y="903884"/>
                  <a:pt x="3960257" y="902019"/>
                  <a:pt x="3960257" y="900023"/>
                </a:cubicBezTo>
                <a:cubicBezTo>
                  <a:pt x="3960257" y="898159"/>
                  <a:pt x="3959857" y="896429"/>
                  <a:pt x="3959192" y="894831"/>
                </a:cubicBezTo>
                <a:cubicBezTo>
                  <a:pt x="3958526" y="893234"/>
                  <a:pt x="3957594" y="891903"/>
                  <a:pt x="3956529" y="890705"/>
                </a:cubicBezTo>
                <a:cubicBezTo>
                  <a:pt x="3955464" y="889640"/>
                  <a:pt x="3954133" y="888708"/>
                  <a:pt x="3952536" y="888042"/>
                </a:cubicBezTo>
                <a:cubicBezTo>
                  <a:pt x="3951071" y="887510"/>
                  <a:pt x="3949474" y="887111"/>
                  <a:pt x="3947477" y="887111"/>
                </a:cubicBezTo>
                <a:close/>
                <a:moveTo>
                  <a:pt x="4600226" y="887111"/>
                </a:moveTo>
                <a:cubicBezTo>
                  <a:pt x="4594369" y="887111"/>
                  <a:pt x="4591839" y="889107"/>
                  <a:pt x="4590242" y="890705"/>
                </a:cubicBezTo>
                <a:cubicBezTo>
                  <a:pt x="4587713" y="893367"/>
                  <a:pt x="4586648" y="896162"/>
                  <a:pt x="4586648" y="900156"/>
                </a:cubicBezTo>
                <a:cubicBezTo>
                  <a:pt x="4586648" y="904283"/>
                  <a:pt x="4587713" y="907078"/>
                  <a:pt x="4590242" y="909607"/>
                </a:cubicBezTo>
                <a:cubicBezTo>
                  <a:pt x="4591839" y="911205"/>
                  <a:pt x="4594369" y="913068"/>
                  <a:pt x="4600226" y="913068"/>
                </a:cubicBezTo>
                <a:cubicBezTo>
                  <a:pt x="4602355" y="913068"/>
                  <a:pt x="4604086" y="912802"/>
                  <a:pt x="4605550" y="912003"/>
                </a:cubicBezTo>
                <a:cubicBezTo>
                  <a:pt x="4607148" y="911471"/>
                  <a:pt x="4608346" y="910672"/>
                  <a:pt x="4609277" y="909607"/>
                </a:cubicBezTo>
                <a:cubicBezTo>
                  <a:pt x="4610342" y="908542"/>
                  <a:pt x="4611274" y="907078"/>
                  <a:pt x="4611940" y="905481"/>
                </a:cubicBezTo>
                <a:cubicBezTo>
                  <a:pt x="4612605" y="903883"/>
                  <a:pt x="4613005" y="902019"/>
                  <a:pt x="4613005" y="900023"/>
                </a:cubicBezTo>
                <a:cubicBezTo>
                  <a:pt x="4613005" y="898159"/>
                  <a:pt x="4612605" y="896429"/>
                  <a:pt x="4611940" y="894831"/>
                </a:cubicBezTo>
                <a:cubicBezTo>
                  <a:pt x="4611274" y="893234"/>
                  <a:pt x="4610342" y="891903"/>
                  <a:pt x="4609277" y="890705"/>
                </a:cubicBezTo>
                <a:cubicBezTo>
                  <a:pt x="4608212" y="889640"/>
                  <a:pt x="4606881" y="888708"/>
                  <a:pt x="4605284" y="888042"/>
                </a:cubicBezTo>
                <a:cubicBezTo>
                  <a:pt x="4603820" y="887510"/>
                  <a:pt x="4602222" y="887111"/>
                  <a:pt x="4600226" y="887111"/>
                </a:cubicBezTo>
                <a:close/>
                <a:moveTo>
                  <a:pt x="4382713" y="887111"/>
                </a:moveTo>
                <a:cubicBezTo>
                  <a:pt x="4376857" y="887111"/>
                  <a:pt x="4374327" y="889107"/>
                  <a:pt x="4372730" y="890705"/>
                </a:cubicBezTo>
                <a:cubicBezTo>
                  <a:pt x="4370201" y="893367"/>
                  <a:pt x="4369136" y="896162"/>
                  <a:pt x="4369136" y="900156"/>
                </a:cubicBezTo>
                <a:cubicBezTo>
                  <a:pt x="4369136" y="904283"/>
                  <a:pt x="4370201" y="907078"/>
                  <a:pt x="4372730" y="909607"/>
                </a:cubicBezTo>
                <a:cubicBezTo>
                  <a:pt x="4374327" y="911205"/>
                  <a:pt x="4376857" y="913068"/>
                  <a:pt x="4382713" y="913068"/>
                </a:cubicBezTo>
                <a:cubicBezTo>
                  <a:pt x="4384710" y="913068"/>
                  <a:pt x="4386441" y="912802"/>
                  <a:pt x="4388038" y="912003"/>
                </a:cubicBezTo>
                <a:cubicBezTo>
                  <a:pt x="4389502" y="911471"/>
                  <a:pt x="4390834" y="910672"/>
                  <a:pt x="4391765" y="909607"/>
                </a:cubicBezTo>
                <a:cubicBezTo>
                  <a:pt x="4392830" y="908542"/>
                  <a:pt x="4393762" y="907078"/>
                  <a:pt x="4394428" y="905481"/>
                </a:cubicBezTo>
                <a:cubicBezTo>
                  <a:pt x="4395093" y="903883"/>
                  <a:pt x="4395493" y="902019"/>
                  <a:pt x="4395493" y="900023"/>
                </a:cubicBezTo>
                <a:cubicBezTo>
                  <a:pt x="4395493" y="898159"/>
                  <a:pt x="4395093" y="896429"/>
                  <a:pt x="4394428" y="894831"/>
                </a:cubicBezTo>
                <a:cubicBezTo>
                  <a:pt x="4393762" y="893234"/>
                  <a:pt x="4392830" y="891903"/>
                  <a:pt x="4391765" y="890705"/>
                </a:cubicBezTo>
                <a:cubicBezTo>
                  <a:pt x="4390700" y="889640"/>
                  <a:pt x="4389369" y="888708"/>
                  <a:pt x="4387772" y="888042"/>
                </a:cubicBezTo>
                <a:cubicBezTo>
                  <a:pt x="4386308" y="887510"/>
                  <a:pt x="4384710" y="887111"/>
                  <a:pt x="4382713" y="887111"/>
                </a:cubicBezTo>
                <a:close/>
                <a:moveTo>
                  <a:pt x="5035515" y="887111"/>
                </a:moveTo>
                <a:cubicBezTo>
                  <a:pt x="5029658" y="887111"/>
                  <a:pt x="5027129" y="889107"/>
                  <a:pt x="5025532" y="890705"/>
                </a:cubicBezTo>
                <a:cubicBezTo>
                  <a:pt x="5023002" y="893367"/>
                  <a:pt x="5021938" y="896162"/>
                  <a:pt x="5021938" y="900156"/>
                </a:cubicBezTo>
                <a:cubicBezTo>
                  <a:pt x="5021938" y="904283"/>
                  <a:pt x="5023002" y="907078"/>
                  <a:pt x="5025532" y="909607"/>
                </a:cubicBezTo>
                <a:cubicBezTo>
                  <a:pt x="5027129" y="911205"/>
                  <a:pt x="5029658" y="913068"/>
                  <a:pt x="5035515" y="913068"/>
                </a:cubicBezTo>
                <a:cubicBezTo>
                  <a:pt x="5037645" y="913068"/>
                  <a:pt x="5039376" y="912802"/>
                  <a:pt x="5040840" y="912003"/>
                </a:cubicBezTo>
                <a:cubicBezTo>
                  <a:pt x="5042304" y="911471"/>
                  <a:pt x="5043636" y="910672"/>
                  <a:pt x="5044567" y="909607"/>
                </a:cubicBezTo>
                <a:cubicBezTo>
                  <a:pt x="5045632" y="908542"/>
                  <a:pt x="5046564" y="907078"/>
                  <a:pt x="5047230" y="905481"/>
                </a:cubicBezTo>
                <a:cubicBezTo>
                  <a:pt x="5048028" y="903883"/>
                  <a:pt x="5048294" y="902019"/>
                  <a:pt x="5048294" y="900023"/>
                </a:cubicBezTo>
                <a:cubicBezTo>
                  <a:pt x="5048294" y="898159"/>
                  <a:pt x="5047895" y="896429"/>
                  <a:pt x="5047230" y="894831"/>
                </a:cubicBezTo>
                <a:cubicBezTo>
                  <a:pt x="5046564" y="893234"/>
                  <a:pt x="5045632" y="891903"/>
                  <a:pt x="5044567" y="890705"/>
                </a:cubicBezTo>
                <a:cubicBezTo>
                  <a:pt x="5043502" y="889640"/>
                  <a:pt x="5042171" y="888708"/>
                  <a:pt x="5040574" y="888042"/>
                </a:cubicBezTo>
                <a:cubicBezTo>
                  <a:pt x="5039110" y="887510"/>
                  <a:pt x="5037379" y="887111"/>
                  <a:pt x="5035515" y="887111"/>
                </a:cubicBezTo>
                <a:close/>
                <a:moveTo>
                  <a:pt x="4817870" y="887111"/>
                </a:moveTo>
                <a:cubicBezTo>
                  <a:pt x="4812013" y="887111"/>
                  <a:pt x="4809484" y="889107"/>
                  <a:pt x="4807887" y="890705"/>
                </a:cubicBezTo>
                <a:cubicBezTo>
                  <a:pt x="4805357" y="893367"/>
                  <a:pt x="4804293" y="896162"/>
                  <a:pt x="4804293" y="900156"/>
                </a:cubicBezTo>
                <a:cubicBezTo>
                  <a:pt x="4804293" y="904283"/>
                  <a:pt x="4805357" y="907078"/>
                  <a:pt x="4807887" y="909607"/>
                </a:cubicBezTo>
                <a:cubicBezTo>
                  <a:pt x="4809484" y="911205"/>
                  <a:pt x="4812013" y="913068"/>
                  <a:pt x="4817870" y="913068"/>
                </a:cubicBezTo>
                <a:cubicBezTo>
                  <a:pt x="4820000" y="913068"/>
                  <a:pt x="4821731" y="912802"/>
                  <a:pt x="4823195" y="912003"/>
                </a:cubicBezTo>
                <a:cubicBezTo>
                  <a:pt x="4824659" y="911471"/>
                  <a:pt x="4825857" y="910672"/>
                  <a:pt x="4826922" y="909607"/>
                </a:cubicBezTo>
                <a:cubicBezTo>
                  <a:pt x="4827987" y="908542"/>
                  <a:pt x="4828919" y="907078"/>
                  <a:pt x="4829585" y="905481"/>
                </a:cubicBezTo>
                <a:cubicBezTo>
                  <a:pt x="4830383" y="903883"/>
                  <a:pt x="4830650" y="902019"/>
                  <a:pt x="4830650" y="900023"/>
                </a:cubicBezTo>
                <a:cubicBezTo>
                  <a:pt x="4830650" y="898159"/>
                  <a:pt x="4830250" y="896429"/>
                  <a:pt x="4829585" y="894831"/>
                </a:cubicBezTo>
                <a:cubicBezTo>
                  <a:pt x="4828919" y="893234"/>
                  <a:pt x="4827987" y="891903"/>
                  <a:pt x="4826922" y="890705"/>
                </a:cubicBezTo>
                <a:cubicBezTo>
                  <a:pt x="4825857" y="889640"/>
                  <a:pt x="4824526" y="888708"/>
                  <a:pt x="4822929" y="888042"/>
                </a:cubicBezTo>
                <a:cubicBezTo>
                  <a:pt x="4821465" y="887510"/>
                  <a:pt x="4819734" y="887111"/>
                  <a:pt x="4817870" y="887111"/>
                </a:cubicBezTo>
                <a:close/>
                <a:moveTo>
                  <a:pt x="5253160" y="887111"/>
                </a:moveTo>
                <a:cubicBezTo>
                  <a:pt x="5247303" y="887111"/>
                  <a:pt x="5244774" y="889107"/>
                  <a:pt x="5243177" y="890705"/>
                </a:cubicBezTo>
                <a:cubicBezTo>
                  <a:pt x="5240647" y="893367"/>
                  <a:pt x="5239583" y="896162"/>
                  <a:pt x="5239583" y="900156"/>
                </a:cubicBezTo>
                <a:cubicBezTo>
                  <a:pt x="5239583" y="904283"/>
                  <a:pt x="5240647" y="907078"/>
                  <a:pt x="5243177" y="909607"/>
                </a:cubicBezTo>
                <a:cubicBezTo>
                  <a:pt x="5244774" y="911205"/>
                  <a:pt x="5247303" y="913068"/>
                  <a:pt x="5253160" y="913068"/>
                </a:cubicBezTo>
                <a:cubicBezTo>
                  <a:pt x="5255157" y="913068"/>
                  <a:pt x="5257021" y="912802"/>
                  <a:pt x="5258485" y="912003"/>
                </a:cubicBezTo>
                <a:cubicBezTo>
                  <a:pt x="5259949" y="911471"/>
                  <a:pt x="5261280" y="910672"/>
                  <a:pt x="5262212" y="909607"/>
                </a:cubicBezTo>
                <a:cubicBezTo>
                  <a:pt x="5263277" y="908542"/>
                  <a:pt x="5264209" y="907078"/>
                  <a:pt x="5264875" y="905481"/>
                </a:cubicBezTo>
                <a:cubicBezTo>
                  <a:pt x="5265673" y="903883"/>
                  <a:pt x="5265939" y="902019"/>
                  <a:pt x="5265939" y="900023"/>
                </a:cubicBezTo>
                <a:cubicBezTo>
                  <a:pt x="5265939" y="898159"/>
                  <a:pt x="5265540" y="896429"/>
                  <a:pt x="5264875" y="894831"/>
                </a:cubicBezTo>
                <a:cubicBezTo>
                  <a:pt x="5264209" y="893234"/>
                  <a:pt x="5263277" y="891903"/>
                  <a:pt x="5262212" y="890705"/>
                </a:cubicBezTo>
                <a:cubicBezTo>
                  <a:pt x="5261147" y="889640"/>
                  <a:pt x="5259816" y="888708"/>
                  <a:pt x="5258219" y="888042"/>
                </a:cubicBezTo>
                <a:cubicBezTo>
                  <a:pt x="5256754" y="887510"/>
                  <a:pt x="5255024" y="887111"/>
                  <a:pt x="5253160" y="887111"/>
                </a:cubicBezTo>
                <a:close/>
                <a:moveTo>
                  <a:pt x="5688451" y="887110"/>
                </a:moveTo>
                <a:cubicBezTo>
                  <a:pt x="5682594" y="887110"/>
                  <a:pt x="5680064" y="889106"/>
                  <a:pt x="5678467" y="890705"/>
                </a:cubicBezTo>
                <a:cubicBezTo>
                  <a:pt x="5675938" y="893367"/>
                  <a:pt x="5674873" y="896162"/>
                  <a:pt x="5674873" y="900156"/>
                </a:cubicBezTo>
                <a:cubicBezTo>
                  <a:pt x="5674873" y="904283"/>
                  <a:pt x="5675938" y="907078"/>
                  <a:pt x="5678467" y="909607"/>
                </a:cubicBezTo>
                <a:cubicBezTo>
                  <a:pt x="5680064" y="911205"/>
                  <a:pt x="5682594" y="913068"/>
                  <a:pt x="5688451" y="913068"/>
                </a:cubicBezTo>
                <a:cubicBezTo>
                  <a:pt x="5690447" y="913068"/>
                  <a:pt x="5692178" y="912802"/>
                  <a:pt x="5693775" y="912003"/>
                </a:cubicBezTo>
                <a:cubicBezTo>
                  <a:pt x="5695239" y="911471"/>
                  <a:pt x="5696571" y="910672"/>
                  <a:pt x="5697502" y="909607"/>
                </a:cubicBezTo>
                <a:cubicBezTo>
                  <a:pt x="5698567" y="908542"/>
                  <a:pt x="5699499" y="907078"/>
                  <a:pt x="5700165" y="905481"/>
                </a:cubicBezTo>
                <a:cubicBezTo>
                  <a:pt x="5700830" y="903883"/>
                  <a:pt x="5701230" y="902019"/>
                  <a:pt x="5701230" y="900023"/>
                </a:cubicBezTo>
                <a:cubicBezTo>
                  <a:pt x="5701230" y="898159"/>
                  <a:pt x="5700830" y="896429"/>
                  <a:pt x="5700165" y="894831"/>
                </a:cubicBezTo>
                <a:cubicBezTo>
                  <a:pt x="5699499" y="893234"/>
                  <a:pt x="5698567" y="891902"/>
                  <a:pt x="5697502" y="890705"/>
                </a:cubicBezTo>
                <a:cubicBezTo>
                  <a:pt x="5696437" y="889639"/>
                  <a:pt x="5695106" y="888707"/>
                  <a:pt x="5693509" y="888041"/>
                </a:cubicBezTo>
                <a:cubicBezTo>
                  <a:pt x="5692045" y="887510"/>
                  <a:pt x="5690314" y="887110"/>
                  <a:pt x="5688451" y="887110"/>
                </a:cubicBezTo>
                <a:close/>
                <a:moveTo>
                  <a:pt x="5470806" y="887110"/>
                </a:moveTo>
                <a:cubicBezTo>
                  <a:pt x="5464949" y="887110"/>
                  <a:pt x="5462419" y="889106"/>
                  <a:pt x="5460822" y="890705"/>
                </a:cubicBezTo>
                <a:cubicBezTo>
                  <a:pt x="5458293" y="893367"/>
                  <a:pt x="5457228" y="896162"/>
                  <a:pt x="5457228" y="900156"/>
                </a:cubicBezTo>
                <a:cubicBezTo>
                  <a:pt x="5457228" y="904283"/>
                  <a:pt x="5458293" y="907078"/>
                  <a:pt x="5460822" y="909607"/>
                </a:cubicBezTo>
                <a:cubicBezTo>
                  <a:pt x="5462419" y="911205"/>
                  <a:pt x="5464949" y="913068"/>
                  <a:pt x="5470806" y="913068"/>
                </a:cubicBezTo>
                <a:cubicBezTo>
                  <a:pt x="5472802" y="913068"/>
                  <a:pt x="5474666" y="912802"/>
                  <a:pt x="5476130" y="912003"/>
                </a:cubicBezTo>
                <a:cubicBezTo>
                  <a:pt x="5477594" y="911471"/>
                  <a:pt x="5478926" y="910672"/>
                  <a:pt x="5479857" y="909607"/>
                </a:cubicBezTo>
                <a:cubicBezTo>
                  <a:pt x="5480922" y="908542"/>
                  <a:pt x="5481854" y="907078"/>
                  <a:pt x="5482520" y="905481"/>
                </a:cubicBezTo>
                <a:cubicBezTo>
                  <a:pt x="5483319" y="903883"/>
                  <a:pt x="5483585" y="902019"/>
                  <a:pt x="5483585" y="900023"/>
                </a:cubicBezTo>
                <a:cubicBezTo>
                  <a:pt x="5483585" y="898159"/>
                  <a:pt x="5483185" y="896429"/>
                  <a:pt x="5482520" y="894831"/>
                </a:cubicBezTo>
                <a:cubicBezTo>
                  <a:pt x="5481854" y="893234"/>
                  <a:pt x="5480922" y="891902"/>
                  <a:pt x="5479857" y="890705"/>
                </a:cubicBezTo>
                <a:cubicBezTo>
                  <a:pt x="5478793" y="889640"/>
                  <a:pt x="5477461" y="888707"/>
                  <a:pt x="5475864" y="888042"/>
                </a:cubicBezTo>
                <a:cubicBezTo>
                  <a:pt x="5474400" y="887510"/>
                  <a:pt x="5472669" y="887110"/>
                  <a:pt x="5470806" y="887110"/>
                </a:cubicBezTo>
                <a:close/>
                <a:moveTo>
                  <a:pt x="6123608" y="887110"/>
                </a:moveTo>
                <a:cubicBezTo>
                  <a:pt x="6117751" y="887110"/>
                  <a:pt x="6115221" y="889106"/>
                  <a:pt x="6113624" y="890704"/>
                </a:cubicBezTo>
                <a:cubicBezTo>
                  <a:pt x="6111095" y="893366"/>
                  <a:pt x="6110030" y="896161"/>
                  <a:pt x="6110030" y="900156"/>
                </a:cubicBezTo>
                <a:cubicBezTo>
                  <a:pt x="6110030" y="904282"/>
                  <a:pt x="6111095" y="907078"/>
                  <a:pt x="6113624" y="909606"/>
                </a:cubicBezTo>
                <a:cubicBezTo>
                  <a:pt x="6115221" y="911205"/>
                  <a:pt x="6117751" y="913068"/>
                  <a:pt x="6123608" y="913068"/>
                </a:cubicBezTo>
                <a:cubicBezTo>
                  <a:pt x="6125737" y="913068"/>
                  <a:pt x="6127468" y="912802"/>
                  <a:pt x="6128932" y="912003"/>
                </a:cubicBezTo>
                <a:cubicBezTo>
                  <a:pt x="6130530" y="911471"/>
                  <a:pt x="6131728" y="910672"/>
                  <a:pt x="6132659" y="909606"/>
                </a:cubicBezTo>
                <a:cubicBezTo>
                  <a:pt x="6133724" y="908542"/>
                  <a:pt x="6134656" y="907078"/>
                  <a:pt x="6135322" y="905480"/>
                </a:cubicBezTo>
                <a:cubicBezTo>
                  <a:pt x="6135987" y="903883"/>
                  <a:pt x="6136387" y="902018"/>
                  <a:pt x="6136387" y="900023"/>
                </a:cubicBezTo>
                <a:cubicBezTo>
                  <a:pt x="6136387" y="898158"/>
                  <a:pt x="6135987" y="896428"/>
                  <a:pt x="6135322" y="894830"/>
                </a:cubicBezTo>
                <a:cubicBezTo>
                  <a:pt x="6134656" y="893233"/>
                  <a:pt x="6133724" y="891902"/>
                  <a:pt x="6132659" y="890704"/>
                </a:cubicBezTo>
                <a:cubicBezTo>
                  <a:pt x="6131594" y="889639"/>
                  <a:pt x="6130263" y="888707"/>
                  <a:pt x="6128666" y="888041"/>
                </a:cubicBezTo>
                <a:cubicBezTo>
                  <a:pt x="6127202" y="887509"/>
                  <a:pt x="6125604" y="887110"/>
                  <a:pt x="6123608" y="887110"/>
                </a:cubicBezTo>
                <a:close/>
                <a:moveTo>
                  <a:pt x="5905963" y="887110"/>
                </a:moveTo>
                <a:cubicBezTo>
                  <a:pt x="5900106" y="887110"/>
                  <a:pt x="5897576" y="889106"/>
                  <a:pt x="5895979" y="890704"/>
                </a:cubicBezTo>
                <a:cubicBezTo>
                  <a:pt x="5893450" y="893366"/>
                  <a:pt x="5892385" y="896161"/>
                  <a:pt x="5892385" y="900156"/>
                </a:cubicBezTo>
                <a:cubicBezTo>
                  <a:pt x="5892385" y="904283"/>
                  <a:pt x="5893450" y="907078"/>
                  <a:pt x="5895979" y="909607"/>
                </a:cubicBezTo>
                <a:cubicBezTo>
                  <a:pt x="5897576" y="911205"/>
                  <a:pt x="5900106" y="913068"/>
                  <a:pt x="5905963" y="913068"/>
                </a:cubicBezTo>
                <a:cubicBezTo>
                  <a:pt x="5908093" y="913068"/>
                  <a:pt x="5909823" y="912802"/>
                  <a:pt x="5911287" y="912003"/>
                </a:cubicBezTo>
                <a:cubicBezTo>
                  <a:pt x="5912751" y="911471"/>
                  <a:pt x="5914083" y="910672"/>
                  <a:pt x="5915014" y="909607"/>
                </a:cubicBezTo>
                <a:cubicBezTo>
                  <a:pt x="5916079" y="908542"/>
                  <a:pt x="5917011" y="907078"/>
                  <a:pt x="5917677" y="905481"/>
                </a:cubicBezTo>
                <a:cubicBezTo>
                  <a:pt x="5918342" y="903883"/>
                  <a:pt x="5918742" y="902019"/>
                  <a:pt x="5918742" y="900023"/>
                </a:cubicBezTo>
                <a:cubicBezTo>
                  <a:pt x="5918742" y="898158"/>
                  <a:pt x="5918342" y="896428"/>
                  <a:pt x="5917677" y="894830"/>
                </a:cubicBezTo>
                <a:cubicBezTo>
                  <a:pt x="5917011" y="893233"/>
                  <a:pt x="5916079" y="891902"/>
                  <a:pt x="5915014" y="890704"/>
                </a:cubicBezTo>
                <a:cubicBezTo>
                  <a:pt x="5913950" y="889639"/>
                  <a:pt x="5912618" y="888707"/>
                  <a:pt x="5911021" y="888041"/>
                </a:cubicBezTo>
                <a:cubicBezTo>
                  <a:pt x="5909557" y="887509"/>
                  <a:pt x="5907826" y="887110"/>
                  <a:pt x="5905963" y="887110"/>
                </a:cubicBezTo>
                <a:close/>
                <a:moveTo>
                  <a:pt x="6341253" y="887110"/>
                </a:moveTo>
                <a:cubicBezTo>
                  <a:pt x="6335396" y="887110"/>
                  <a:pt x="6332867" y="889106"/>
                  <a:pt x="6331270" y="890704"/>
                </a:cubicBezTo>
                <a:cubicBezTo>
                  <a:pt x="6328740" y="893366"/>
                  <a:pt x="6327675" y="896161"/>
                  <a:pt x="6327675" y="900155"/>
                </a:cubicBezTo>
                <a:cubicBezTo>
                  <a:pt x="6327675" y="904282"/>
                  <a:pt x="6328740" y="907077"/>
                  <a:pt x="6331270" y="909606"/>
                </a:cubicBezTo>
                <a:cubicBezTo>
                  <a:pt x="6332867" y="911205"/>
                  <a:pt x="6335396" y="913067"/>
                  <a:pt x="6341253" y="913067"/>
                </a:cubicBezTo>
                <a:cubicBezTo>
                  <a:pt x="6343250" y="913067"/>
                  <a:pt x="6345114" y="912801"/>
                  <a:pt x="6346578" y="912003"/>
                </a:cubicBezTo>
                <a:cubicBezTo>
                  <a:pt x="6348042" y="911471"/>
                  <a:pt x="6349373" y="910672"/>
                  <a:pt x="6350305" y="909606"/>
                </a:cubicBezTo>
                <a:cubicBezTo>
                  <a:pt x="6351370" y="908542"/>
                  <a:pt x="6352302" y="907077"/>
                  <a:pt x="6352968" y="905480"/>
                </a:cubicBezTo>
                <a:cubicBezTo>
                  <a:pt x="6353766" y="903883"/>
                  <a:pt x="6354033" y="902018"/>
                  <a:pt x="6354033" y="900022"/>
                </a:cubicBezTo>
                <a:cubicBezTo>
                  <a:pt x="6354033" y="898158"/>
                  <a:pt x="6353633" y="896428"/>
                  <a:pt x="6352968" y="894830"/>
                </a:cubicBezTo>
                <a:cubicBezTo>
                  <a:pt x="6352302" y="893233"/>
                  <a:pt x="6351370" y="891902"/>
                  <a:pt x="6350305" y="890704"/>
                </a:cubicBezTo>
                <a:cubicBezTo>
                  <a:pt x="6349241" y="889639"/>
                  <a:pt x="6347909" y="888707"/>
                  <a:pt x="6346312" y="888041"/>
                </a:cubicBezTo>
                <a:cubicBezTo>
                  <a:pt x="6344848" y="887509"/>
                  <a:pt x="6343250" y="887110"/>
                  <a:pt x="6341253" y="887110"/>
                </a:cubicBezTo>
                <a:close/>
                <a:moveTo>
                  <a:pt x="6558899" y="887110"/>
                </a:moveTo>
                <a:cubicBezTo>
                  <a:pt x="6553042" y="887110"/>
                  <a:pt x="6550512" y="889106"/>
                  <a:pt x="6548915" y="890704"/>
                </a:cubicBezTo>
                <a:cubicBezTo>
                  <a:pt x="6546386" y="893366"/>
                  <a:pt x="6545321" y="896161"/>
                  <a:pt x="6545321" y="900155"/>
                </a:cubicBezTo>
                <a:cubicBezTo>
                  <a:pt x="6545321" y="904282"/>
                  <a:pt x="6546386" y="907077"/>
                  <a:pt x="6548915" y="909606"/>
                </a:cubicBezTo>
                <a:cubicBezTo>
                  <a:pt x="6550512" y="911204"/>
                  <a:pt x="6553042" y="913067"/>
                  <a:pt x="6558899" y="913067"/>
                </a:cubicBezTo>
                <a:cubicBezTo>
                  <a:pt x="6560895" y="913067"/>
                  <a:pt x="6562759" y="912801"/>
                  <a:pt x="6564223" y="912003"/>
                </a:cubicBezTo>
                <a:cubicBezTo>
                  <a:pt x="6565687" y="911470"/>
                  <a:pt x="6567019" y="910671"/>
                  <a:pt x="6567950" y="909606"/>
                </a:cubicBezTo>
                <a:cubicBezTo>
                  <a:pt x="6569015" y="908541"/>
                  <a:pt x="6569947" y="907077"/>
                  <a:pt x="6570612" y="905480"/>
                </a:cubicBezTo>
                <a:cubicBezTo>
                  <a:pt x="6571412" y="903882"/>
                  <a:pt x="6571677" y="902018"/>
                  <a:pt x="6571677" y="900022"/>
                </a:cubicBezTo>
                <a:cubicBezTo>
                  <a:pt x="6571677" y="898158"/>
                  <a:pt x="6571278" y="896428"/>
                  <a:pt x="6570612" y="894830"/>
                </a:cubicBezTo>
                <a:cubicBezTo>
                  <a:pt x="6569947" y="893233"/>
                  <a:pt x="6569015" y="891902"/>
                  <a:pt x="6567950" y="890704"/>
                </a:cubicBezTo>
                <a:cubicBezTo>
                  <a:pt x="6566885" y="889639"/>
                  <a:pt x="6565554" y="888707"/>
                  <a:pt x="6563956" y="888041"/>
                </a:cubicBezTo>
                <a:cubicBezTo>
                  <a:pt x="6562492" y="887509"/>
                  <a:pt x="6560895" y="887110"/>
                  <a:pt x="6558899" y="887110"/>
                </a:cubicBezTo>
                <a:close/>
                <a:moveTo>
                  <a:pt x="6776544" y="887110"/>
                </a:moveTo>
                <a:cubicBezTo>
                  <a:pt x="6770687" y="887110"/>
                  <a:pt x="6768157" y="889106"/>
                  <a:pt x="6766560" y="890704"/>
                </a:cubicBezTo>
                <a:cubicBezTo>
                  <a:pt x="6764031" y="893366"/>
                  <a:pt x="6762966" y="896161"/>
                  <a:pt x="6762966" y="900155"/>
                </a:cubicBezTo>
                <a:cubicBezTo>
                  <a:pt x="6762966" y="904282"/>
                  <a:pt x="6764031" y="907077"/>
                  <a:pt x="6766560" y="909606"/>
                </a:cubicBezTo>
                <a:cubicBezTo>
                  <a:pt x="6768157" y="911204"/>
                  <a:pt x="6770687" y="913067"/>
                  <a:pt x="6776544" y="913067"/>
                </a:cubicBezTo>
                <a:cubicBezTo>
                  <a:pt x="6778541" y="913067"/>
                  <a:pt x="6780270" y="912801"/>
                  <a:pt x="6781869" y="912003"/>
                </a:cubicBezTo>
                <a:cubicBezTo>
                  <a:pt x="6783333" y="911470"/>
                  <a:pt x="6784664" y="910671"/>
                  <a:pt x="6785595" y="909606"/>
                </a:cubicBezTo>
                <a:cubicBezTo>
                  <a:pt x="6786661" y="908541"/>
                  <a:pt x="6787593" y="907077"/>
                  <a:pt x="6788258" y="905480"/>
                </a:cubicBezTo>
                <a:cubicBezTo>
                  <a:pt x="6789057" y="903882"/>
                  <a:pt x="6789323" y="902018"/>
                  <a:pt x="6789323" y="900022"/>
                </a:cubicBezTo>
                <a:cubicBezTo>
                  <a:pt x="6789323" y="898158"/>
                  <a:pt x="6788923" y="896428"/>
                  <a:pt x="6788258" y="894830"/>
                </a:cubicBezTo>
                <a:cubicBezTo>
                  <a:pt x="6787593" y="893233"/>
                  <a:pt x="6786661" y="891902"/>
                  <a:pt x="6785595" y="890704"/>
                </a:cubicBezTo>
                <a:cubicBezTo>
                  <a:pt x="6784530" y="889639"/>
                  <a:pt x="6783199" y="888707"/>
                  <a:pt x="6781602" y="888041"/>
                </a:cubicBezTo>
                <a:cubicBezTo>
                  <a:pt x="6780138" y="887509"/>
                  <a:pt x="6778541" y="887110"/>
                  <a:pt x="6776544" y="887110"/>
                </a:cubicBezTo>
                <a:close/>
                <a:moveTo>
                  <a:pt x="7211701" y="887110"/>
                </a:moveTo>
                <a:cubicBezTo>
                  <a:pt x="7205844" y="887110"/>
                  <a:pt x="7203314" y="889106"/>
                  <a:pt x="7201717" y="890704"/>
                </a:cubicBezTo>
                <a:cubicBezTo>
                  <a:pt x="7199188" y="893366"/>
                  <a:pt x="7198123" y="896161"/>
                  <a:pt x="7198123" y="900155"/>
                </a:cubicBezTo>
                <a:cubicBezTo>
                  <a:pt x="7198123" y="904282"/>
                  <a:pt x="7199188" y="907077"/>
                  <a:pt x="7201717" y="909606"/>
                </a:cubicBezTo>
                <a:cubicBezTo>
                  <a:pt x="7203314" y="911204"/>
                  <a:pt x="7205844" y="913067"/>
                  <a:pt x="7211701" y="913067"/>
                </a:cubicBezTo>
                <a:cubicBezTo>
                  <a:pt x="7213830" y="913067"/>
                  <a:pt x="7215561" y="912801"/>
                  <a:pt x="7217026" y="912002"/>
                </a:cubicBezTo>
                <a:cubicBezTo>
                  <a:pt x="7218490" y="911470"/>
                  <a:pt x="7219821" y="910671"/>
                  <a:pt x="7220752" y="909606"/>
                </a:cubicBezTo>
                <a:cubicBezTo>
                  <a:pt x="7221818" y="908541"/>
                  <a:pt x="7222750" y="907077"/>
                  <a:pt x="7223415" y="905480"/>
                </a:cubicBezTo>
                <a:cubicBezTo>
                  <a:pt x="7224214" y="903882"/>
                  <a:pt x="7224480" y="902018"/>
                  <a:pt x="7224480" y="900022"/>
                </a:cubicBezTo>
                <a:cubicBezTo>
                  <a:pt x="7224480" y="898158"/>
                  <a:pt x="7224080" y="896428"/>
                  <a:pt x="7223415" y="894830"/>
                </a:cubicBezTo>
                <a:cubicBezTo>
                  <a:pt x="7222750" y="893233"/>
                  <a:pt x="7221818" y="891902"/>
                  <a:pt x="7220752" y="890704"/>
                </a:cubicBezTo>
                <a:cubicBezTo>
                  <a:pt x="7219687" y="889639"/>
                  <a:pt x="7218356" y="888707"/>
                  <a:pt x="7216759" y="888041"/>
                </a:cubicBezTo>
                <a:cubicBezTo>
                  <a:pt x="7215295" y="887509"/>
                  <a:pt x="7213698" y="887110"/>
                  <a:pt x="7211701" y="887110"/>
                </a:cubicBezTo>
                <a:close/>
                <a:moveTo>
                  <a:pt x="6994056" y="887110"/>
                </a:moveTo>
                <a:cubicBezTo>
                  <a:pt x="6988199" y="887110"/>
                  <a:pt x="6985669" y="889106"/>
                  <a:pt x="6984072" y="890704"/>
                </a:cubicBezTo>
                <a:cubicBezTo>
                  <a:pt x="6981543" y="893366"/>
                  <a:pt x="6980478" y="896161"/>
                  <a:pt x="6980478" y="900155"/>
                </a:cubicBezTo>
                <a:cubicBezTo>
                  <a:pt x="6980478" y="904282"/>
                  <a:pt x="6981543" y="907077"/>
                  <a:pt x="6984072" y="909606"/>
                </a:cubicBezTo>
                <a:cubicBezTo>
                  <a:pt x="6985669" y="911204"/>
                  <a:pt x="6988199" y="913067"/>
                  <a:pt x="6994056" y="913067"/>
                </a:cubicBezTo>
                <a:cubicBezTo>
                  <a:pt x="6996185" y="913067"/>
                  <a:pt x="6997916" y="912801"/>
                  <a:pt x="6999380" y="912002"/>
                </a:cubicBezTo>
                <a:cubicBezTo>
                  <a:pt x="7000844" y="911470"/>
                  <a:pt x="7002176" y="910671"/>
                  <a:pt x="7003107" y="909606"/>
                </a:cubicBezTo>
                <a:cubicBezTo>
                  <a:pt x="7004172" y="908541"/>
                  <a:pt x="7005104" y="907077"/>
                  <a:pt x="7005769" y="905480"/>
                </a:cubicBezTo>
                <a:cubicBezTo>
                  <a:pt x="7006568" y="903882"/>
                  <a:pt x="7006834" y="902018"/>
                  <a:pt x="7006834" y="900022"/>
                </a:cubicBezTo>
                <a:cubicBezTo>
                  <a:pt x="7006834" y="898158"/>
                  <a:pt x="7006435" y="896428"/>
                  <a:pt x="7005769" y="894830"/>
                </a:cubicBezTo>
                <a:cubicBezTo>
                  <a:pt x="7005104" y="893233"/>
                  <a:pt x="7004172" y="891902"/>
                  <a:pt x="7003107" y="890704"/>
                </a:cubicBezTo>
                <a:cubicBezTo>
                  <a:pt x="7002042" y="889639"/>
                  <a:pt x="7000711" y="888707"/>
                  <a:pt x="6999113" y="888041"/>
                </a:cubicBezTo>
                <a:cubicBezTo>
                  <a:pt x="6997649" y="887509"/>
                  <a:pt x="6996052" y="887110"/>
                  <a:pt x="6994056" y="887110"/>
                </a:cubicBezTo>
                <a:close/>
                <a:moveTo>
                  <a:pt x="7429345" y="887110"/>
                </a:moveTo>
                <a:cubicBezTo>
                  <a:pt x="7423488" y="887110"/>
                  <a:pt x="7420958" y="889106"/>
                  <a:pt x="7419361" y="890704"/>
                </a:cubicBezTo>
                <a:cubicBezTo>
                  <a:pt x="7416832" y="893366"/>
                  <a:pt x="7415768" y="896161"/>
                  <a:pt x="7415768" y="900155"/>
                </a:cubicBezTo>
                <a:cubicBezTo>
                  <a:pt x="7415768" y="904282"/>
                  <a:pt x="7416832" y="907077"/>
                  <a:pt x="7419361" y="909606"/>
                </a:cubicBezTo>
                <a:cubicBezTo>
                  <a:pt x="7420958" y="911204"/>
                  <a:pt x="7423488" y="913067"/>
                  <a:pt x="7429345" y="913067"/>
                </a:cubicBezTo>
                <a:cubicBezTo>
                  <a:pt x="7431342" y="913067"/>
                  <a:pt x="7433206" y="912801"/>
                  <a:pt x="7434670" y="912002"/>
                </a:cubicBezTo>
                <a:cubicBezTo>
                  <a:pt x="7436134" y="911470"/>
                  <a:pt x="7437466" y="910671"/>
                  <a:pt x="7438397" y="909606"/>
                </a:cubicBezTo>
                <a:cubicBezTo>
                  <a:pt x="7439462" y="908541"/>
                  <a:pt x="7440394" y="907077"/>
                  <a:pt x="7441059" y="905480"/>
                </a:cubicBezTo>
                <a:cubicBezTo>
                  <a:pt x="7441858" y="903882"/>
                  <a:pt x="7442124" y="902018"/>
                  <a:pt x="7442124" y="900022"/>
                </a:cubicBezTo>
                <a:cubicBezTo>
                  <a:pt x="7442124" y="898158"/>
                  <a:pt x="7441725" y="896428"/>
                  <a:pt x="7441059" y="894830"/>
                </a:cubicBezTo>
                <a:cubicBezTo>
                  <a:pt x="7440394" y="893233"/>
                  <a:pt x="7439462" y="891902"/>
                  <a:pt x="7438397" y="890704"/>
                </a:cubicBezTo>
                <a:cubicBezTo>
                  <a:pt x="7437332" y="889639"/>
                  <a:pt x="7436001" y="888707"/>
                  <a:pt x="7434403" y="888041"/>
                </a:cubicBezTo>
                <a:cubicBezTo>
                  <a:pt x="7432939" y="887509"/>
                  <a:pt x="7431342" y="887110"/>
                  <a:pt x="7429345" y="887110"/>
                </a:cubicBezTo>
                <a:close/>
                <a:moveTo>
                  <a:pt x="7864636" y="887109"/>
                </a:moveTo>
                <a:cubicBezTo>
                  <a:pt x="7858779" y="887109"/>
                  <a:pt x="7856249" y="889105"/>
                  <a:pt x="7854652" y="890703"/>
                </a:cubicBezTo>
                <a:cubicBezTo>
                  <a:pt x="7852123" y="893365"/>
                  <a:pt x="7851058" y="896161"/>
                  <a:pt x="7851058" y="900155"/>
                </a:cubicBezTo>
                <a:cubicBezTo>
                  <a:pt x="7851058" y="904282"/>
                  <a:pt x="7852123" y="907077"/>
                  <a:pt x="7854652" y="909606"/>
                </a:cubicBezTo>
                <a:cubicBezTo>
                  <a:pt x="7856249" y="911204"/>
                  <a:pt x="7858779" y="913067"/>
                  <a:pt x="7864636" y="913067"/>
                </a:cubicBezTo>
                <a:cubicBezTo>
                  <a:pt x="7866633" y="913067"/>
                  <a:pt x="7868363" y="912801"/>
                  <a:pt x="7869961" y="912002"/>
                </a:cubicBezTo>
                <a:cubicBezTo>
                  <a:pt x="7871425" y="911470"/>
                  <a:pt x="7872756" y="910671"/>
                  <a:pt x="7873687" y="909606"/>
                </a:cubicBezTo>
                <a:cubicBezTo>
                  <a:pt x="7874753" y="908541"/>
                  <a:pt x="7875685" y="907077"/>
                  <a:pt x="7876350" y="905480"/>
                </a:cubicBezTo>
                <a:cubicBezTo>
                  <a:pt x="7877015" y="903882"/>
                  <a:pt x="7877282" y="902018"/>
                  <a:pt x="7877282" y="900022"/>
                </a:cubicBezTo>
                <a:cubicBezTo>
                  <a:pt x="7877282" y="898158"/>
                  <a:pt x="7877015" y="896427"/>
                  <a:pt x="7876350" y="894830"/>
                </a:cubicBezTo>
                <a:cubicBezTo>
                  <a:pt x="7875685" y="893232"/>
                  <a:pt x="7874753" y="891901"/>
                  <a:pt x="7873687" y="890703"/>
                </a:cubicBezTo>
                <a:cubicBezTo>
                  <a:pt x="7872623" y="889638"/>
                  <a:pt x="7871291" y="888706"/>
                  <a:pt x="7869694" y="888040"/>
                </a:cubicBezTo>
                <a:cubicBezTo>
                  <a:pt x="7868230" y="887508"/>
                  <a:pt x="7866633" y="887109"/>
                  <a:pt x="7864636" y="887109"/>
                </a:cubicBezTo>
                <a:close/>
                <a:moveTo>
                  <a:pt x="7646991" y="887109"/>
                </a:moveTo>
                <a:cubicBezTo>
                  <a:pt x="7641134" y="887109"/>
                  <a:pt x="7638604" y="889105"/>
                  <a:pt x="7637007" y="890704"/>
                </a:cubicBezTo>
                <a:cubicBezTo>
                  <a:pt x="7634478" y="893366"/>
                  <a:pt x="7633413" y="896161"/>
                  <a:pt x="7633413" y="900155"/>
                </a:cubicBezTo>
                <a:cubicBezTo>
                  <a:pt x="7633413" y="904282"/>
                  <a:pt x="7634478" y="907077"/>
                  <a:pt x="7637007" y="909606"/>
                </a:cubicBezTo>
                <a:cubicBezTo>
                  <a:pt x="7638604" y="911204"/>
                  <a:pt x="7641134" y="913067"/>
                  <a:pt x="7646991" y="913067"/>
                </a:cubicBezTo>
                <a:cubicBezTo>
                  <a:pt x="7648987" y="913067"/>
                  <a:pt x="7650851" y="912801"/>
                  <a:pt x="7652315" y="912002"/>
                </a:cubicBezTo>
                <a:cubicBezTo>
                  <a:pt x="7653780" y="911470"/>
                  <a:pt x="7655111" y="910671"/>
                  <a:pt x="7656042" y="909606"/>
                </a:cubicBezTo>
                <a:cubicBezTo>
                  <a:pt x="7657108" y="908541"/>
                  <a:pt x="7658039" y="907077"/>
                  <a:pt x="7658705" y="905480"/>
                </a:cubicBezTo>
                <a:cubicBezTo>
                  <a:pt x="7659504" y="903882"/>
                  <a:pt x="7659769" y="902018"/>
                  <a:pt x="7659769" y="900022"/>
                </a:cubicBezTo>
                <a:cubicBezTo>
                  <a:pt x="7659769" y="898158"/>
                  <a:pt x="7659370" y="896428"/>
                  <a:pt x="7658705" y="894830"/>
                </a:cubicBezTo>
                <a:cubicBezTo>
                  <a:pt x="7658039" y="893233"/>
                  <a:pt x="7657108" y="891902"/>
                  <a:pt x="7656042" y="890704"/>
                </a:cubicBezTo>
                <a:cubicBezTo>
                  <a:pt x="7654977" y="889639"/>
                  <a:pt x="7653646" y="888707"/>
                  <a:pt x="7652049" y="888041"/>
                </a:cubicBezTo>
                <a:cubicBezTo>
                  <a:pt x="7650584" y="887509"/>
                  <a:pt x="7648987" y="887109"/>
                  <a:pt x="7646991" y="887109"/>
                </a:cubicBezTo>
                <a:close/>
                <a:moveTo>
                  <a:pt x="8082281" y="887109"/>
                </a:moveTo>
                <a:cubicBezTo>
                  <a:pt x="8076424" y="887109"/>
                  <a:pt x="8073894" y="889105"/>
                  <a:pt x="8072297" y="890703"/>
                </a:cubicBezTo>
                <a:cubicBezTo>
                  <a:pt x="8069768" y="893365"/>
                  <a:pt x="8068703" y="896160"/>
                  <a:pt x="8068703" y="900155"/>
                </a:cubicBezTo>
                <a:cubicBezTo>
                  <a:pt x="8068703" y="904282"/>
                  <a:pt x="8069768" y="907077"/>
                  <a:pt x="8072297" y="909606"/>
                </a:cubicBezTo>
                <a:cubicBezTo>
                  <a:pt x="8073894" y="911204"/>
                  <a:pt x="8076424" y="913067"/>
                  <a:pt x="8082281" y="913067"/>
                </a:cubicBezTo>
                <a:cubicBezTo>
                  <a:pt x="8084277" y="913067"/>
                  <a:pt x="8086007" y="912801"/>
                  <a:pt x="8087605" y="912002"/>
                </a:cubicBezTo>
                <a:cubicBezTo>
                  <a:pt x="8089069" y="911470"/>
                  <a:pt x="8090401" y="910671"/>
                  <a:pt x="8091332" y="909606"/>
                </a:cubicBezTo>
                <a:cubicBezTo>
                  <a:pt x="8092397" y="908541"/>
                  <a:pt x="8093329" y="907077"/>
                  <a:pt x="8093994" y="905480"/>
                </a:cubicBezTo>
                <a:cubicBezTo>
                  <a:pt x="8094660" y="903882"/>
                  <a:pt x="8094926" y="902017"/>
                  <a:pt x="8094926" y="900022"/>
                </a:cubicBezTo>
                <a:cubicBezTo>
                  <a:pt x="8094926" y="898157"/>
                  <a:pt x="8094660" y="896427"/>
                  <a:pt x="8093994" y="894829"/>
                </a:cubicBezTo>
                <a:cubicBezTo>
                  <a:pt x="8093329" y="893232"/>
                  <a:pt x="8092397" y="891901"/>
                  <a:pt x="8091332" y="890703"/>
                </a:cubicBezTo>
                <a:cubicBezTo>
                  <a:pt x="8090267" y="889638"/>
                  <a:pt x="8088936" y="888706"/>
                  <a:pt x="8087338" y="888040"/>
                </a:cubicBezTo>
                <a:cubicBezTo>
                  <a:pt x="8085874" y="887508"/>
                  <a:pt x="8084277" y="887109"/>
                  <a:pt x="8082281" y="887109"/>
                </a:cubicBezTo>
                <a:close/>
                <a:moveTo>
                  <a:pt x="8517438" y="887109"/>
                </a:moveTo>
                <a:cubicBezTo>
                  <a:pt x="8511713" y="887109"/>
                  <a:pt x="8509051" y="889105"/>
                  <a:pt x="8507453" y="890703"/>
                </a:cubicBezTo>
                <a:cubicBezTo>
                  <a:pt x="8504925" y="893365"/>
                  <a:pt x="8503860" y="896160"/>
                  <a:pt x="8503860" y="900154"/>
                </a:cubicBezTo>
                <a:cubicBezTo>
                  <a:pt x="8503860" y="904281"/>
                  <a:pt x="8504925" y="907076"/>
                  <a:pt x="8507453" y="909605"/>
                </a:cubicBezTo>
                <a:cubicBezTo>
                  <a:pt x="8509051" y="911204"/>
                  <a:pt x="8511581" y="913067"/>
                  <a:pt x="8517438" y="913067"/>
                </a:cubicBezTo>
                <a:cubicBezTo>
                  <a:pt x="8519568" y="913067"/>
                  <a:pt x="8521299" y="912800"/>
                  <a:pt x="8522763" y="912002"/>
                </a:cubicBezTo>
                <a:cubicBezTo>
                  <a:pt x="8524227" y="911470"/>
                  <a:pt x="8525559" y="910670"/>
                  <a:pt x="8526490" y="909605"/>
                </a:cubicBezTo>
                <a:cubicBezTo>
                  <a:pt x="8527555" y="908540"/>
                  <a:pt x="8528487" y="907076"/>
                  <a:pt x="8529152" y="905479"/>
                </a:cubicBezTo>
                <a:cubicBezTo>
                  <a:pt x="8529818" y="903881"/>
                  <a:pt x="8530084" y="902017"/>
                  <a:pt x="8530084" y="900021"/>
                </a:cubicBezTo>
                <a:cubicBezTo>
                  <a:pt x="8530084" y="898157"/>
                  <a:pt x="8529818" y="896427"/>
                  <a:pt x="8529152" y="894829"/>
                </a:cubicBezTo>
                <a:cubicBezTo>
                  <a:pt x="8528487" y="893232"/>
                  <a:pt x="8527555" y="891901"/>
                  <a:pt x="8526490" y="890703"/>
                </a:cubicBezTo>
                <a:cubicBezTo>
                  <a:pt x="8525425" y="889638"/>
                  <a:pt x="8524094" y="888706"/>
                  <a:pt x="8522496" y="888040"/>
                </a:cubicBezTo>
                <a:cubicBezTo>
                  <a:pt x="8521032" y="887508"/>
                  <a:pt x="8519302" y="887109"/>
                  <a:pt x="8517438" y="887109"/>
                </a:cubicBezTo>
                <a:close/>
                <a:moveTo>
                  <a:pt x="8299793" y="887109"/>
                </a:moveTo>
                <a:cubicBezTo>
                  <a:pt x="8294068" y="887109"/>
                  <a:pt x="8291406" y="889105"/>
                  <a:pt x="8289809" y="890703"/>
                </a:cubicBezTo>
                <a:cubicBezTo>
                  <a:pt x="8287280" y="893365"/>
                  <a:pt x="8286215" y="896160"/>
                  <a:pt x="8286215" y="900155"/>
                </a:cubicBezTo>
                <a:cubicBezTo>
                  <a:pt x="8286215" y="904282"/>
                  <a:pt x="8287280" y="907077"/>
                  <a:pt x="8289809" y="909606"/>
                </a:cubicBezTo>
                <a:cubicBezTo>
                  <a:pt x="8291406" y="911204"/>
                  <a:pt x="8293935" y="913067"/>
                  <a:pt x="8299793" y="913067"/>
                </a:cubicBezTo>
                <a:cubicBezTo>
                  <a:pt x="8301923" y="913067"/>
                  <a:pt x="8303653" y="912801"/>
                  <a:pt x="8305118" y="912002"/>
                </a:cubicBezTo>
                <a:cubicBezTo>
                  <a:pt x="8306582" y="911470"/>
                  <a:pt x="8307913" y="910671"/>
                  <a:pt x="8308844" y="909606"/>
                </a:cubicBezTo>
                <a:cubicBezTo>
                  <a:pt x="8309910" y="908541"/>
                  <a:pt x="8310842" y="907077"/>
                  <a:pt x="8311507" y="905479"/>
                </a:cubicBezTo>
                <a:cubicBezTo>
                  <a:pt x="8312172" y="903882"/>
                  <a:pt x="8312439" y="902017"/>
                  <a:pt x="8312439" y="900022"/>
                </a:cubicBezTo>
                <a:cubicBezTo>
                  <a:pt x="8312439" y="898157"/>
                  <a:pt x="8312172" y="896427"/>
                  <a:pt x="8311507" y="894829"/>
                </a:cubicBezTo>
                <a:cubicBezTo>
                  <a:pt x="8310842" y="893232"/>
                  <a:pt x="8309910" y="891901"/>
                  <a:pt x="8308844" y="890703"/>
                </a:cubicBezTo>
                <a:cubicBezTo>
                  <a:pt x="8307779" y="889638"/>
                  <a:pt x="8306448" y="888706"/>
                  <a:pt x="8304851" y="888040"/>
                </a:cubicBezTo>
                <a:cubicBezTo>
                  <a:pt x="8303387" y="887508"/>
                  <a:pt x="8301790" y="887109"/>
                  <a:pt x="8299793" y="887109"/>
                </a:cubicBezTo>
                <a:close/>
                <a:moveTo>
                  <a:pt x="8735083" y="887109"/>
                </a:moveTo>
                <a:cubicBezTo>
                  <a:pt x="8729358" y="887109"/>
                  <a:pt x="8726695" y="889105"/>
                  <a:pt x="8725098" y="890703"/>
                </a:cubicBezTo>
                <a:cubicBezTo>
                  <a:pt x="8722569" y="893365"/>
                  <a:pt x="8721504" y="896160"/>
                  <a:pt x="8721504" y="900154"/>
                </a:cubicBezTo>
                <a:cubicBezTo>
                  <a:pt x="8721504" y="904281"/>
                  <a:pt x="8722569" y="907076"/>
                  <a:pt x="8725098" y="909605"/>
                </a:cubicBezTo>
                <a:cubicBezTo>
                  <a:pt x="8726695" y="911204"/>
                  <a:pt x="8729225" y="913067"/>
                  <a:pt x="8735083" y="913067"/>
                </a:cubicBezTo>
                <a:cubicBezTo>
                  <a:pt x="8737079" y="913067"/>
                  <a:pt x="8738943" y="912800"/>
                  <a:pt x="8740407" y="912002"/>
                </a:cubicBezTo>
                <a:cubicBezTo>
                  <a:pt x="8741872" y="911470"/>
                  <a:pt x="8743203" y="910670"/>
                  <a:pt x="8744134" y="909605"/>
                </a:cubicBezTo>
                <a:cubicBezTo>
                  <a:pt x="8745200" y="908540"/>
                  <a:pt x="8746132" y="907076"/>
                  <a:pt x="8746797" y="905479"/>
                </a:cubicBezTo>
                <a:cubicBezTo>
                  <a:pt x="8747596" y="903881"/>
                  <a:pt x="8747862" y="902017"/>
                  <a:pt x="8747862" y="900021"/>
                </a:cubicBezTo>
                <a:cubicBezTo>
                  <a:pt x="8747862" y="898157"/>
                  <a:pt x="8747462" y="896427"/>
                  <a:pt x="8746797" y="894829"/>
                </a:cubicBezTo>
                <a:cubicBezTo>
                  <a:pt x="8746132" y="893232"/>
                  <a:pt x="8745200" y="891901"/>
                  <a:pt x="8744134" y="890703"/>
                </a:cubicBezTo>
                <a:cubicBezTo>
                  <a:pt x="8743069" y="889638"/>
                  <a:pt x="8741738" y="888706"/>
                  <a:pt x="8740141" y="888040"/>
                </a:cubicBezTo>
                <a:cubicBezTo>
                  <a:pt x="8738677" y="887508"/>
                  <a:pt x="8736946" y="887109"/>
                  <a:pt x="8735083" y="887109"/>
                </a:cubicBezTo>
                <a:close/>
                <a:moveTo>
                  <a:pt x="9170374" y="887109"/>
                </a:moveTo>
                <a:cubicBezTo>
                  <a:pt x="9164649" y="887109"/>
                  <a:pt x="9161986" y="889105"/>
                  <a:pt x="9160389" y="890703"/>
                </a:cubicBezTo>
                <a:cubicBezTo>
                  <a:pt x="9157860" y="893365"/>
                  <a:pt x="9156795" y="896160"/>
                  <a:pt x="9156795" y="900154"/>
                </a:cubicBezTo>
                <a:cubicBezTo>
                  <a:pt x="9156795" y="904281"/>
                  <a:pt x="9157860" y="907076"/>
                  <a:pt x="9160389" y="909605"/>
                </a:cubicBezTo>
                <a:cubicBezTo>
                  <a:pt x="9161986" y="911203"/>
                  <a:pt x="9164516" y="913066"/>
                  <a:pt x="9170374" y="913066"/>
                </a:cubicBezTo>
                <a:cubicBezTo>
                  <a:pt x="9172370" y="913066"/>
                  <a:pt x="9174100" y="912800"/>
                  <a:pt x="9175698" y="912001"/>
                </a:cubicBezTo>
                <a:cubicBezTo>
                  <a:pt x="9177163" y="911469"/>
                  <a:pt x="9178494" y="910670"/>
                  <a:pt x="9179425" y="909605"/>
                </a:cubicBezTo>
                <a:cubicBezTo>
                  <a:pt x="9180491" y="908540"/>
                  <a:pt x="9181422" y="907076"/>
                  <a:pt x="9182088" y="905479"/>
                </a:cubicBezTo>
                <a:cubicBezTo>
                  <a:pt x="9182887" y="903881"/>
                  <a:pt x="9183152" y="902017"/>
                  <a:pt x="9183152" y="900021"/>
                </a:cubicBezTo>
                <a:cubicBezTo>
                  <a:pt x="9183152" y="898157"/>
                  <a:pt x="9182753" y="896427"/>
                  <a:pt x="9182088" y="894829"/>
                </a:cubicBezTo>
                <a:cubicBezTo>
                  <a:pt x="9181422" y="893232"/>
                  <a:pt x="9180491" y="891901"/>
                  <a:pt x="9179425" y="890703"/>
                </a:cubicBezTo>
                <a:cubicBezTo>
                  <a:pt x="9178360" y="889638"/>
                  <a:pt x="9177029" y="888706"/>
                  <a:pt x="9175432" y="888040"/>
                </a:cubicBezTo>
                <a:cubicBezTo>
                  <a:pt x="9173967" y="887508"/>
                  <a:pt x="9172237" y="887109"/>
                  <a:pt x="9170374" y="887109"/>
                </a:cubicBezTo>
                <a:close/>
                <a:moveTo>
                  <a:pt x="8952728" y="887109"/>
                </a:moveTo>
                <a:cubicBezTo>
                  <a:pt x="8947003" y="887109"/>
                  <a:pt x="8944340" y="889105"/>
                  <a:pt x="8942743" y="890703"/>
                </a:cubicBezTo>
                <a:cubicBezTo>
                  <a:pt x="8940214" y="893365"/>
                  <a:pt x="8939150" y="896160"/>
                  <a:pt x="8939150" y="900154"/>
                </a:cubicBezTo>
                <a:cubicBezTo>
                  <a:pt x="8939150" y="904281"/>
                  <a:pt x="8940214" y="907076"/>
                  <a:pt x="8942743" y="909605"/>
                </a:cubicBezTo>
                <a:cubicBezTo>
                  <a:pt x="8944340" y="911203"/>
                  <a:pt x="8946870" y="913066"/>
                  <a:pt x="8952728" y="913066"/>
                </a:cubicBezTo>
                <a:cubicBezTo>
                  <a:pt x="8954725" y="913066"/>
                  <a:pt x="8956589" y="912800"/>
                  <a:pt x="8958053" y="912001"/>
                </a:cubicBezTo>
                <a:cubicBezTo>
                  <a:pt x="8959517" y="911469"/>
                  <a:pt x="8960849" y="910670"/>
                  <a:pt x="8961780" y="909605"/>
                </a:cubicBezTo>
                <a:cubicBezTo>
                  <a:pt x="8962845" y="908540"/>
                  <a:pt x="8963777" y="907076"/>
                  <a:pt x="8964442" y="905479"/>
                </a:cubicBezTo>
                <a:cubicBezTo>
                  <a:pt x="8965241" y="903881"/>
                  <a:pt x="8965507" y="902017"/>
                  <a:pt x="8965507" y="900021"/>
                </a:cubicBezTo>
                <a:cubicBezTo>
                  <a:pt x="8965507" y="898157"/>
                  <a:pt x="8965108" y="896427"/>
                  <a:pt x="8964442" y="894829"/>
                </a:cubicBezTo>
                <a:cubicBezTo>
                  <a:pt x="8963777" y="893232"/>
                  <a:pt x="8962845" y="891901"/>
                  <a:pt x="8961780" y="890703"/>
                </a:cubicBezTo>
                <a:cubicBezTo>
                  <a:pt x="8960715" y="889638"/>
                  <a:pt x="8959384" y="888706"/>
                  <a:pt x="8957786" y="888040"/>
                </a:cubicBezTo>
                <a:cubicBezTo>
                  <a:pt x="8956322" y="887508"/>
                  <a:pt x="8954592" y="887109"/>
                  <a:pt x="8952728" y="887109"/>
                </a:cubicBezTo>
                <a:close/>
                <a:moveTo>
                  <a:pt x="9387885" y="887109"/>
                </a:moveTo>
                <a:cubicBezTo>
                  <a:pt x="9382027" y="887109"/>
                  <a:pt x="9379497" y="889105"/>
                  <a:pt x="9377900" y="890703"/>
                </a:cubicBezTo>
                <a:cubicBezTo>
                  <a:pt x="9375371" y="893365"/>
                  <a:pt x="9374307" y="896160"/>
                  <a:pt x="9374307" y="900154"/>
                </a:cubicBezTo>
                <a:cubicBezTo>
                  <a:pt x="9374307" y="904281"/>
                  <a:pt x="9375371" y="907076"/>
                  <a:pt x="9377900" y="909605"/>
                </a:cubicBezTo>
                <a:cubicBezTo>
                  <a:pt x="9379497" y="911203"/>
                  <a:pt x="9382027" y="913066"/>
                  <a:pt x="9387885" y="913066"/>
                </a:cubicBezTo>
                <a:cubicBezTo>
                  <a:pt x="9390015" y="913066"/>
                  <a:pt x="9391746" y="912800"/>
                  <a:pt x="9393210" y="912001"/>
                </a:cubicBezTo>
                <a:cubicBezTo>
                  <a:pt x="9394674" y="911469"/>
                  <a:pt x="9396005" y="910670"/>
                  <a:pt x="9396937" y="909605"/>
                </a:cubicBezTo>
                <a:cubicBezTo>
                  <a:pt x="9398002" y="908540"/>
                  <a:pt x="9398934" y="907076"/>
                  <a:pt x="9399599" y="905479"/>
                </a:cubicBezTo>
                <a:cubicBezTo>
                  <a:pt x="9400398" y="903881"/>
                  <a:pt x="9400664" y="902017"/>
                  <a:pt x="9400664" y="900021"/>
                </a:cubicBezTo>
                <a:cubicBezTo>
                  <a:pt x="9400664" y="898157"/>
                  <a:pt x="9400265" y="896427"/>
                  <a:pt x="9399599" y="894829"/>
                </a:cubicBezTo>
                <a:cubicBezTo>
                  <a:pt x="9398934" y="893232"/>
                  <a:pt x="9398002" y="891901"/>
                  <a:pt x="9396937" y="890703"/>
                </a:cubicBezTo>
                <a:cubicBezTo>
                  <a:pt x="9395872" y="889638"/>
                  <a:pt x="9394541" y="888706"/>
                  <a:pt x="9392943" y="888040"/>
                </a:cubicBezTo>
                <a:cubicBezTo>
                  <a:pt x="9391479" y="887508"/>
                  <a:pt x="9389749" y="887109"/>
                  <a:pt x="9387885" y="887109"/>
                </a:cubicBezTo>
                <a:close/>
                <a:moveTo>
                  <a:pt x="10040820" y="887109"/>
                </a:moveTo>
                <a:cubicBezTo>
                  <a:pt x="10034962" y="887109"/>
                  <a:pt x="10032433" y="889104"/>
                  <a:pt x="10030835" y="890703"/>
                </a:cubicBezTo>
                <a:cubicBezTo>
                  <a:pt x="10028306" y="893364"/>
                  <a:pt x="10027242" y="896160"/>
                  <a:pt x="10027242" y="900154"/>
                </a:cubicBezTo>
                <a:cubicBezTo>
                  <a:pt x="10027242" y="904281"/>
                  <a:pt x="10028306" y="907076"/>
                  <a:pt x="10030835" y="909605"/>
                </a:cubicBezTo>
                <a:cubicBezTo>
                  <a:pt x="10032433" y="911203"/>
                  <a:pt x="10034962" y="913066"/>
                  <a:pt x="10040820" y="913066"/>
                </a:cubicBezTo>
                <a:cubicBezTo>
                  <a:pt x="10042817" y="913066"/>
                  <a:pt x="10044681" y="912800"/>
                  <a:pt x="10046145" y="912001"/>
                </a:cubicBezTo>
                <a:cubicBezTo>
                  <a:pt x="10047742" y="911469"/>
                  <a:pt x="10048941" y="910670"/>
                  <a:pt x="10049872" y="909605"/>
                </a:cubicBezTo>
                <a:cubicBezTo>
                  <a:pt x="10050937" y="908540"/>
                  <a:pt x="10051869" y="907076"/>
                  <a:pt x="10052534" y="905479"/>
                </a:cubicBezTo>
                <a:cubicBezTo>
                  <a:pt x="10053333" y="903881"/>
                  <a:pt x="10053599" y="902017"/>
                  <a:pt x="10053599" y="900021"/>
                </a:cubicBezTo>
                <a:cubicBezTo>
                  <a:pt x="10053599" y="898157"/>
                  <a:pt x="10053200" y="896426"/>
                  <a:pt x="10052534" y="894829"/>
                </a:cubicBezTo>
                <a:cubicBezTo>
                  <a:pt x="10051869" y="893231"/>
                  <a:pt x="10050937" y="891900"/>
                  <a:pt x="10049872" y="890703"/>
                </a:cubicBezTo>
                <a:cubicBezTo>
                  <a:pt x="10048807" y="889637"/>
                  <a:pt x="10047476" y="888705"/>
                  <a:pt x="10045878" y="888039"/>
                </a:cubicBezTo>
                <a:cubicBezTo>
                  <a:pt x="10044414" y="887507"/>
                  <a:pt x="10042817" y="887109"/>
                  <a:pt x="10040820" y="887109"/>
                </a:cubicBezTo>
                <a:close/>
                <a:moveTo>
                  <a:pt x="9823176" y="887109"/>
                </a:moveTo>
                <a:cubicBezTo>
                  <a:pt x="9817318" y="887109"/>
                  <a:pt x="9814788" y="889105"/>
                  <a:pt x="9813191" y="890703"/>
                </a:cubicBezTo>
                <a:cubicBezTo>
                  <a:pt x="9810662" y="893364"/>
                  <a:pt x="9809597" y="896160"/>
                  <a:pt x="9809597" y="900154"/>
                </a:cubicBezTo>
                <a:cubicBezTo>
                  <a:pt x="9809597" y="904281"/>
                  <a:pt x="9810662" y="907076"/>
                  <a:pt x="9813191" y="909605"/>
                </a:cubicBezTo>
                <a:cubicBezTo>
                  <a:pt x="9814788" y="911203"/>
                  <a:pt x="9817318" y="913066"/>
                  <a:pt x="9823176" y="913066"/>
                </a:cubicBezTo>
                <a:cubicBezTo>
                  <a:pt x="9825173" y="913066"/>
                  <a:pt x="9827036" y="912800"/>
                  <a:pt x="9828501" y="912001"/>
                </a:cubicBezTo>
                <a:cubicBezTo>
                  <a:pt x="9830098" y="911469"/>
                  <a:pt x="9831296" y="910670"/>
                  <a:pt x="9832227" y="909605"/>
                </a:cubicBezTo>
                <a:cubicBezTo>
                  <a:pt x="9833293" y="908540"/>
                  <a:pt x="9834225" y="907076"/>
                  <a:pt x="9834890" y="905479"/>
                </a:cubicBezTo>
                <a:cubicBezTo>
                  <a:pt x="9835689" y="903881"/>
                  <a:pt x="9835955" y="902017"/>
                  <a:pt x="9835955" y="900021"/>
                </a:cubicBezTo>
                <a:cubicBezTo>
                  <a:pt x="9835955" y="898157"/>
                  <a:pt x="9835555" y="896427"/>
                  <a:pt x="9834890" y="894829"/>
                </a:cubicBezTo>
                <a:cubicBezTo>
                  <a:pt x="9834225" y="893232"/>
                  <a:pt x="9833293" y="891901"/>
                  <a:pt x="9832227" y="890703"/>
                </a:cubicBezTo>
                <a:cubicBezTo>
                  <a:pt x="9831162" y="889638"/>
                  <a:pt x="9829831" y="888706"/>
                  <a:pt x="9828234" y="888040"/>
                </a:cubicBezTo>
                <a:cubicBezTo>
                  <a:pt x="9826770" y="887508"/>
                  <a:pt x="9825173" y="887109"/>
                  <a:pt x="9823176" y="887109"/>
                </a:cubicBezTo>
                <a:close/>
                <a:moveTo>
                  <a:pt x="9605531" y="887109"/>
                </a:moveTo>
                <a:cubicBezTo>
                  <a:pt x="9599673" y="887109"/>
                  <a:pt x="9597143" y="889105"/>
                  <a:pt x="9595546" y="890703"/>
                </a:cubicBezTo>
                <a:cubicBezTo>
                  <a:pt x="9593017" y="893365"/>
                  <a:pt x="9591952" y="896160"/>
                  <a:pt x="9591952" y="900154"/>
                </a:cubicBezTo>
                <a:cubicBezTo>
                  <a:pt x="9591952" y="904281"/>
                  <a:pt x="9593017" y="907076"/>
                  <a:pt x="9595546" y="909605"/>
                </a:cubicBezTo>
                <a:cubicBezTo>
                  <a:pt x="9597143" y="911203"/>
                  <a:pt x="9599673" y="913066"/>
                  <a:pt x="9605531" y="913066"/>
                </a:cubicBezTo>
                <a:cubicBezTo>
                  <a:pt x="9607660" y="913066"/>
                  <a:pt x="9609391" y="912800"/>
                  <a:pt x="9610855" y="912001"/>
                </a:cubicBezTo>
                <a:cubicBezTo>
                  <a:pt x="9612319" y="911469"/>
                  <a:pt x="9613651" y="910670"/>
                  <a:pt x="9614582" y="909605"/>
                </a:cubicBezTo>
                <a:cubicBezTo>
                  <a:pt x="9615647" y="908540"/>
                  <a:pt x="9616579" y="907076"/>
                  <a:pt x="9617245" y="905479"/>
                </a:cubicBezTo>
                <a:cubicBezTo>
                  <a:pt x="9618044" y="903881"/>
                  <a:pt x="9618309" y="902017"/>
                  <a:pt x="9618309" y="900021"/>
                </a:cubicBezTo>
                <a:cubicBezTo>
                  <a:pt x="9618309" y="898157"/>
                  <a:pt x="9617910" y="896427"/>
                  <a:pt x="9617245" y="894829"/>
                </a:cubicBezTo>
                <a:cubicBezTo>
                  <a:pt x="9616579" y="893232"/>
                  <a:pt x="9615647" y="891901"/>
                  <a:pt x="9614582" y="890703"/>
                </a:cubicBezTo>
                <a:cubicBezTo>
                  <a:pt x="9613517" y="889638"/>
                  <a:pt x="9612186" y="888706"/>
                  <a:pt x="9610589" y="888040"/>
                </a:cubicBezTo>
                <a:cubicBezTo>
                  <a:pt x="9609124" y="887508"/>
                  <a:pt x="9607394" y="887109"/>
                  <a:pt x="9605531" y="887109"/>
                </a:cubicBezTo>
                <a:close/>
                <a:moveTo>
                  <a:pt x="10258466" y="887108"/>
                </a:moveTo>
                <a:cubicBezTo>
                  <a:pt x="10252608" y="887108"/>
                  <a:pt x="10250078" y="889104"/>
                  <a:pt x="10248481" y="890703"/>
                </a:cubicBezTo>
                <a:cubicBezTo>
                  <a:pt x="10245952" y="893364"/>
                  <a:pt x="10244887" y="896159"/>
                  <a:pt x="10244887" y="900154"/>
                </a:cubicBezTo>
                <a:cubicBezTo>
                  <a:pt x="10244887" y="904281"/>
                  <a:pt x="10245952" y="907076"/>
                  <a:pt x="10248481" y="909605"/>
                </a:cubicBezTo>
                <a:cubicBezTo>
                  <a:pt x="10250078" y="911203"/>
                  <a:pt x="10252608" y="913066"/>
                  <a:pt x="10258466" y="913066"/>
                </a:cubicBezTo>
                <a:cubicBezTo>
                  <a:pt x="10260462" y="913066"/>
                  <a:pt x="10262192" y="912800"/>
                  <a:pt x="10263790" y="912001"/>
                </a:cubicBezTo>
                <a:cubicBezTo>
                  <a:pt x="10265388" y="911469"/>
                  <a:pt x="10266586" y="910670"/>
                  <a:pt x="10267517" y="909605"/>
                </a:cubicBezTo>
                <a:cubicBezTo>
                  <a:pt x="10268583" y="908540"/>
                  <a:pt x="10269515" y="907076"/>
                  <a:pt x="10270180" y="905479"/>
                </a:cubicBezTo>
                <a:cubicBezTo>
                  <a:pt x="10270845" y="903881"/>
                  <a:pt x="10271112" y="902017"/>
                  <a:pt x="10271112" y="900021"/>
                </a:cubicBezTo>
                <a:cubicBezTo>
                  <a:pt x="10271112" y="898156"/>
                  <a:pt x="10270845" y="896426"/>
                  <a:pt x="10270180" y="894828"/>
                </a:cubicBezTo>
                <a:cubicBezTo>
                  <a:pt x="10269515" y="893231"/>
                  <a:pt x="10268583" y="891900"/>
                  <a:pt x="10267517" y="890703"/>
                </a:cubicBezTo>
                <a:cubicBezTo>
                  <a:pt x="10266452" y="889637"/>
                  <a:pt x="10265121" y="888705"/>
                  <a:pt x="10263524" y="888039"/>
                </a:cubicBezTo>
                <a:cubicBezTo>
                  <a:pt x="10262060" y="887507"/>
                  <a:pt x="10260462" y="887108"/>
                  <a:pt x="10258466" y="887108"/>
                </a:cubicBezTo>
                <a:close/>
                <a:moveTo>
                  <a:pt x="10475977" y="887108"/>
                </a:moveTo>
                <a:cubicBezTo>
                  <a:pt x="10470119" y="887108"/>
                  <a:pt x="10467589" y="889104"/>
                  <a:pt x="10465992" y="890702"/>
                </a:cubicBezTo>
                <a:cubicBezTo>
                  <a:pt x="10463463" y="893364"/>
                  <a:pt x="10462399" y="896159"/>
                  <a:pt x="10462399" y="900153"/>
                </a:cubicBezTo>
                <a:cubicBezTo>
                  <a:pt x="10462399" y="904280"/>
                  <a:pt x="10463463" y="907076"/>
                  <a:pt x="10465992" y="909605"/>
                </a:cubicBezTo>
                <a:cubicBezTo>
                  <a:pt x="10467589" y="911203"/>
                  <a:pt x="10470119" y="913066"/>
                  <a:pt x="10475977" y="913066"/>
                </a:cubicBezTo>
                <a:cubicBezTo>
                  <a:pt x="10478107" y="913066"/>
                  <a:pt x="10479838" y="912800"/>
                  <a:pt x="10481302" y="912001"/>
                </a:cubicBezTo>
                <a:cubicBezTo>
                  <a:pt x="10482899" y="911469"/>
                  <a:pt x="10484098" y="910670"/>
                  <a:pt x="10485029" y="909605"/>
                </a:cubicBezTo>
                <a:cubicBezTo>
                  <a:pt x="10486094" y="908539"/>
                  <a:pt x="10487026" y="907076"/>
                  <a:pt x="10487691" y="905478"/>
                </a:cubicBezTo>
                <a:cubicBezTo>
                  <a:pt x="10488357" y="903881"/>
                  <a:pt x="10488623" y="902016"/>
                  <a:pt x="10488623" y="900020"/>
                </a:cubicBezTo>
                <a:cubicBezTo>
                  <a:pt x="10488623" y="898156"/>
                  <a:pt x="10488357" y="896426"/>
                  <a:pt x="10487691" y="894828"/>
                </a:cubicBezTo>
                <a:cubicBezTo>
                  <a:pt x="10487026" y="893231"/>
                  <a:pt x="10486094" y="891900"/>
                  <a:pt x="10485029" y="890702"/>
                </a:cubicBezTo>
                <a:cubicBezTo>
                  <a:pt x="10483964" y="889637"/>
                  <a:pt x="10482633" y="888705"/>
                  <a:pt x="10481035" y="888039"/>
                </a:cubicBezTo>
                <a:cubicBezTo>
                  <a:pt x="10479571" y="887507"/>
                  <a:pt x="10477974" y="887108"/>
                  <a:pt x="10475977" y="887108"/>
                </a:cubicBezTo>
                <a:close/>
                <a:moveTo>
                  <a:pt x="30247" y="870473"/>
                </a:moveTo>
                <a:cubicBezTo>
                  <a:pt x="34507" y="870473"/>
                  <a:pt x="38501" y="871272"/>
                  <a:pt x="41962" y="873002"/>
                </a:cubicBezTo>
                <a:cubicBezTo>
                  <a:pt x="45689" y="874600"/>
                  <a:pt x="48751" y="876729"/>
                  <a:pt x="51281" y="879392"/>
                </a:cubicBezTo>
                <a:cubicBezTo>
                  <a:pt x="53943" y="881921"/>
                  <a:pt x="55940" y="885116"/>
                  <a:pt x="57404" y="888710"/>
                </a:cubicBezTo>
                <a:cubicBezTo>
                  <a:pt x="58868" y="892304"/>
                  <a:pt x="59667" y="896164"/>
                  <a:pt x="59667" y="900158"/>
                </a:cubicBezTo>
                <a:cubicBezTo>
                  <a:pt x="59667" y="904285"/>
                  <a:pt x="58868" y="908278"/>
                  <a:pt x="57404" y="911872"/>
                </a:cubicBezTo>
                <a:cubicBezTo>
                  <a:pt x="55940" y="915600"/>
                  <a:pt x="53810" y="918661"/>
                  <a:pt x="51281" y="921324"/>
                </a:cubicBezTo>
                <a:cubicBezTo>
                  <a:pt x="48617" y="923987"/>
                  <a:pt x="45557" y="926117"/>
                  <a:pt x="41962" y="927581"/>
                </a:cubicBezTo>
                <a:cubicBezTo>
                  <a:pt x="38368" y="929045"/>
                  <a:pt x="34507" y="929844"/>
                  <a:pt x="30247" y="929844"/>
                </a:cubicBezTo>
                <a:cubicBezTo>
                  <a:pt x="21329" y="929844"/>
                  <a:pt x="14007" y="926915"/>
                  <a:pt x="8417" y="921324"/>
                </a:cubicBezTo>
                <a:cubicBezTo>
                  <a:pt x="2825" y="915733"/>
                  <a:pt x="30" y="908677"/>
                  <a:pt x="30" y="900158"/>
                </a:cubicBezTo>
                <a:cubicBezTo>
                  <a:pt x="30" y="891905"/>
                  <a:pt x="2825" y="884850"/>
                  <a:pt x="8417" y="879126"/>
                </a:cubicBezTo>
                <a:cubicBezTo>
                  <a:pt x="14007" y="873402"/>
                  <a:pt x="21195" y="870473"/>
                  <a:pt x="30247" y="870473"/>
                </a:cubicBezTo>
                <a:close/>
                <a:moveTo>
                  <a:pt x="247891" y="870473"/>
                </a:moveTo>
                <a:cubicBezTo>
                  <a:pt x="252152" y="870473"/>
                  <a:pt x="256146" y="871272"/>
                  <a:pt x="259607" y="873001"/>
                </a:cubicBezTo>
                <a:cubicBezTo>
                  <a:pt x="263334" y="874599"/>
                  <a:pt x="266396" y="876729"/>
                  <a:pt x="268925" y="879392"/>
                </a:cubicBezTo>
                <a:cubicBezTo>
                  <a:pt x="271587" y="881921"/>
                  <a:pt x="273584" y="885116"/>
                  <a:pt x="275048" y="888710"/>
                </a:cubicBezTo>
                <a:cubicBezTo>
                  <a:pt x="276512" y="892304"/>
                  <a:pt x="277311" y="896164"/>
                  <a:pt x="277311" y="900158"/>
                </a:cubicBezTo>
                <a:cubicBezTo>
                  <a:pt x="277311" y="904285"/>
                  <a:pt x="276512" y="908278"/>
                  <a:pt x="275048" y="911872"/>
                </a:cubicBezTo>
                <a:cubicBezTo>
                  <a:pt x="273584" y="915600"/>
                  <a:pt x="271454" y="918661"/>
                  <a:pt x="268925" y="921323"/>
                </a:cubicBezTo>
                <a:cubicBezTo>
                  <a:pt x="266262" y="923986"/>
                  <a:pt x="263201" y="926117"/>
                  <a:pt x="259607" y="927581"/>
                </a:cubicBezTo>
                <a:cubicBezTo>
                  <a:pt x="256011" y="929045"/>
                  <a:pt x="252152" y="929844"/>
                  <a:pt x="247891" y="929844"/>
                </a:cubicBezTo>
                <a:cubicBezTo>
                  <a:pt x="238973" y="929844"/>
                  <a:pt x="231651" y="926915"/>
                  <a:pt x="226060" y="921323"/>
                </a:cubicBezTo>
                <a:cubicBezTo>
                  <a:pt x="220469" y="915733"/>
                  <a:pt x="217674" y="908677"/>
                  <a:pt x="217674" y="900158"/>
                </a:cubicBezTo>
                <a:cubicBezTo>
                  <a:pt x="217674" y="891905"/>
                  <a:pt x="220469" y="884850"/>
                  <a:pt x="226060" y="879126"/>
                </a:cubicBezTo>
                <a:cubicBezTo>
                  <a:pt x="231651" y="873402"/>
                  <a:pt x="238839" y="870473"/>
                  <a:pt x="247891" y="870473"/>
                </a:cubicBezTo>
                <a:close/>
                <a:moveTo>
                  <a:pt x="683180" y="870472"/>
                </a:moveTo>
                <a:cubicBezTo>
                  <a:pt x="687440" y="870472"/>
                  <a:pt x="691301" y="871271"/>
                  <a:pt x="694895" y="873001"/>
                </a:cubicBezTo>
                <a:cubicBezTo>
                  <a:pt x="698622" y="874599"/>
                  <a:pt x="701684" y="876728"/>
                  <a:pt x="704213" y="879392"/>
                </a:cubicBezTo>
                <a:cubicBezTo>
                  <a:pt x="706875" y="881921"/>
                  <a:pt x="708872" y="885116"/>
                  <a:pt x="710336" y="888710"/>
                </a:cubicBezTo>
                <a:cubicBezTo>
                  <a:pt x="711800" y="892304"/>
                  <a:pt x="712599" y="896164"/>
                  <a:pt x="712599" y="900158"/>
                </a:cubicBezTo>
                <a:cubicBezTo>
                  <a:pt x="712599" y="904285"/>
                  <a:pt x="711800" y="908278"/>
                  <a:pt x="710336" y="911872"/>
                </a:cubicBezTo>
                <a:cubicBezTo>
                  <a:pt x="708872" y="915599"/>
                  <a:pt x="706742" y="918661"/>
                  <a:pt x="704213" y="921323"/>
                </a:cubicBezTo>
                <a:cubicBezTo>
                  <a:pt x="701684" y="923986"/>
                  <a:pt x="698489" y="926116"/>
                  <a:pt x="694895" y="927580"/>
                </a:cubicBezTo>
                <a:cubicBezTo>
                  <a:pt x="691301" y="929045"/>
                  <a:pt x="687440" y="929843"/>
                  <a:pt x="683180" y="929843"/>
                </a:cubicBezTo>
                <a:cubicBezTo>
                  <a:pt x="674262" y="929843"/>
                  <a:pt x="666940" y="926914"/>
                  <a:pt x="661348" y="921323"/>
                </a:cubicBezTo>
                <a:cubicBezTo>
                  <a:pt x="655757" y="915733"/>
                  <a:pt x="652962" y="908677"/>
                  <a:pt x="652962" y="900158"/>
                </a:cubicBezTo>
                <a:cubicBezTo>
                  <a:pt x="652962" y="891905"/>
                  <a:pt x="655757" y="884850"/>
                  <a:pt x="661348" y="879126"/>
                </a:cubicBezTo>
                <a:cubicBezTo>
                  <a:pt x="666940" y="873401"/>
                  <a:pt x="674129" y="870472"/>
                  <a:pt x="683180" y="870472"/>
                </a:cubicBezTo>
                <a:close/>
                <a:moveTo>
                  <a:pt x="465536" y="870472"/>
                </a:moveTo>
                <a:cubicBezTo>
                  <a:pt x="469796" y="870472"/>
                  <a:pt x="473656" y="871271"/>
                  <a:pt x="477251" y="873001"/>
                </a:cubicBezTo>
                <a:cubicBezTo>
                  <a:pt x="480978" y="874599"/>
                  <a:pt x="484040" y="876729"/>
                  <a:pt x="486569" y="879392"/>
                </a:cubicBezTo>
                <a:cubicBezTo>
                  <a:pt x="489231" y="881921"/>
                  <a:pt x="491228" y="885116"/>
                  <a:pt x="492692" y="888710"/>
                </a:cubicBezTo>
                <a:cubicBezTo>
                  <a:pt x="494156" y="892304"/>
                  <a:pt x="494955" y="896164"/>
                  <a:pt x="494955" y="900158"/>
                </a:cubicBezTo>
                <a:cubicBezTo>
                  <a:pt x="494955" y="904285"/>
                  <a:pt x="494156" y="908278"/>
                  <a:pt x="492692" y="911872"/>
                </a:cubicBezTo>
                <a:cubicBezTo>
                  <a:pt x="491228" y="915599"/>
                  <a:pt x="489098" y="918661"/>
                  <a:pt x="486569" y="921323"/>
                </a:cubicBezTo>
                <a:cubicBezTo>
                  <a:pt x="483906" y="923986"/>
                  <a:pt x="480845" y="926116"/>
                  <a:pt x="477251" y="927580"/>
                </a:cubicBezTo>
                <a:cubicBezTo>
                  <a:pt x="473656" y="929045"/>
                  <a:pt x="469796" y="929843"/>
                  <a:pt x="465536" y="929843"/>
                </a:cubicBezTo>
                <a:cubicBezTo>
                  <a:pt x="456617" y="929843"/>
                  <a:pt x="449295" y="926914"/>
                  <a:pt x="443704" y="921323"/>
                </a:cubicBezTo>
                <a:cubicBezTo>
                  <a:pt x="438113" y="915733"/>
                  <a:pt x="435318" y="908677"/>
                  <a:pt x="435318" y="900158"/>
                </a:cubicBezTo>
                <a:cubicBezTo>
                  <a:pt x="435318" y="891905"/>
                  <a:pt x="438113" y="884850"/>
                  <a:pt x="443704" y="879126"/>
                </a:cubicBezTo>
                <a:cubicBezTo>
                  <a:pt x="449295" y="873402"/>
                  <a:pt x="456485" y="870472"/>
                  <a:pt x="465536" y="870472"/>
                </a:cubicBezTo>
                <a:close/>
                <a:moveTo>
                  <a:pt x="900824" y="870472"/>
                </a:moveTo>
                <a:cubicBezTo>
                  <a:pt x="904951" y="870472"/>
                  <a:pt x="908945" y="871271"/>
                  <a:pt x="912539" y="873001"/>
                </a:cubicBezTo>
                <a:cubicBezTo>
                  <a:pt x="916266" y="874599"/>
                  <a:pt x="919328" y="876728"/>
                  <a:pt x="921857" y="879391"/>
                </a:cubicBezTo>
                <a:cubicBezTo>
                  <a:pt x="924519" y="881920"/>
                  <a:pt x="926516" y="885115"/>
                  <a:pt x="927980" y="888710"/>
                </a:cubicBezTo>
                <a:cubicBezTo>
                  <a:pt x="929444" y="892304"/>
                  <a:pt x="930243" y="896164"/>
                  <a:pt x="930243" y="900158"/>
                </a:cubicBezTo>
                <a:cubicBezTo>
                  <a:pt x="930243" y="904285"/>
                  <a:pt x="929444" y="908278"/>
                  <a:pt x="927980" y="911872"/>
                </a:cubicBezTo>
                <a:cubicBezTo>
                  <a:pt x="926516" y="915599"/>
                  <a:pt x="924386" y="918661"/>
                  <a:pt x="921857" y="921323"/>
                </a:cubicBezTo>
                <a:cubicBezTo>
                  <a:pt x="919328" y="923986"/>
                  <a:pt x="916133" y="926116"/>
                  <a:pt x="912539" y="927580"/>
                </a:cubicBezTo>
                <a:cubicBezTo>
                  <a:pt x="908945" y="929044"/>
                  <a:pt x="905084" y="929843"/>
                  <a:pt x="900824" y="929843"/>
                </a:cubicBezTo>
                <a:cubicBezTo>
                  <a:pt x="891906" y="929843"/>
                  <a:pt x="884584" y="926914"/>
                  <a:pt x="878993" y="921323"/>
                </a:cubicBezTo>
                <a:cubicBezTo>
                  <a:pt x="873403" y="915733"/>
                  <a:pt x="870607" y="908677"/>
                  <a:pt x="870607" y="900158"/>
                </a:cubicBezTo>
                <a:cubicBezTo>
                  <a:pt x="870607" y="891905"/>
                  <a:pt x="873403" y="884849"/>
                  <a:pt x="878993" y="879125"/>
                </a:cubicBezTo>
                <a:cubicBezTo>
                  <a:pt x="884584" y="873401"/>
                  <a:pt x="891773" y="870472"/>
                  <a:pt x="900824" y="870472"/>
                </a:cubicBezTo>
                <a:close/>
                <a:moveTo>
                  <a:pt x="1118336" y="870472"/>
                </a:moveTo>
                <a:cubicBezTo>
                  <a:pt x="1122596" y="870472"/>
                  <a:pt x="1126591" y="871271"/>
                  <a:pt x="1130052" y="873001"/>
                </a:cubicBezTo>
                <a:cubicBezTo>
                  <a:pt x="1133778" y="874599"/>
                  <a:pt x="1136840" y="876728"/>
                  <a:pt x="1139370" y="879391"/>
                </a:cubicBezTo>
                <a:cubicBezTo>
                  <a:pt x="1142031" y="881920"/>
                  <a:pt x="1144028" y="885115"/>
                  <a:pt x="1145492" y="888710"/>
                </a:cubicBezTo>
                <a:cubicBezTo>
                  <a:pt x="1146956" y="892304"/>
                  <a:pt x="1147755" y="896164"/>
                  <a:pt x="1147755" y="900158"/>
                </a:cubicBezTo>
                <a:cubicBezTo>
                  <a:pt x="1147755" y="904285"/>
                  <a:pt x="1146956" y="908278"/>
                  <a:pt x="1145492" y="911872"/>
                </a:cubicBezTo>
                <a:cubicBezTo>
                  <a:pt x="1144028" y="915599"/>
                  <a:pt x="1141898" y="918661"/>
                  <a:pt x="1139370" y="921323"/>
                </a:cubicBezTo>
                <a:cubicBezTo>
                  <a:pt x="1136840" y="923986"/>
                  <a:pt x="1133645" y="926116"/>
                  <a:pt x="1130052" y="927580"/>
                </a:cubicBezTo>
                <a:cubicBezTo>
                  <a:pt x="1126456" y="929044"/>
                  <a:pt x="1122596" y="929843"/>
                  <a:pt x="1118336" y="929843"/>
                </a:cubicBezTo>
                <a:cubicBezTo>
                  <a:pt x="1109417" y="929843"/>
                  <a:pt x="1102095" y="926914"/>
                  <a:pt x="1096504" y="921323"/>
                </a:cubicBezTo>
                <a:cubicBezTo>
                  <a:pt x="1090913" y="915733"/>
                  <a:pt x="1088118" y="908677"/>
                  <a:pt x="1088118" y="900158"/>
                </a:cubicBezTo>
                <a:cubicBezTo>
                  <a:pt x="1088118" y="891904"/>
                  <a:pt x="1090913" y="884849"/>
                  <a:pt x="1096504" y="879125"/>
                </a:cubicBezTo>
                <a:cubicBezTo>
                  <a:pt x="1102095" y="873401"/>
                  <a:pt x="1109283" y="870472"/>
                  <a:pt x="1118336" y="870472"/>
                </a:cubicBezTo>
                <a:close/>
                <a:moveTo>
                  <a:pt x="1335981" y="870472"/>
                </a:moveTo>
                <a:cubicBezTo>
                  <a:pt x="1340241" y="870472"/>
                  <a:pt x="1344236" y="871271"/>
                  <a:pt x="1347696" y="873001"/>
                </a:cubicBezTo>
                <a:cubicBezTo>
                  <a:pt x="1351290" y="874599"/>
                  <a:pt x="1354484" y="876728"/>
                  <a:pt x="1357014" y="879391"/>
                </a:cubicBezTo>
                <a:cubicBezTo>
                  <a:pt x="1359676" y="881920"/>
                  <a:pt x="1361673" y="885115"/>
                  <a:pt x="1363137" y="888709"/>
                </a:cubicBezTo>
                <a:cubicBezTo>
                  <a:pt x="1364601" y="892303"/>
                  <a:pt x="1365400" y="896164"/>
                  <a:pt x="1365400" y="900158"/>
                </a:cubicBezTo>
                <a:cubicBezTo>
                  <a:pt x="1365400" y="904285"/>
                  <a:pt x="1364601" y="908278"/>
                  <a:pt x="1363137" y="911872"/>
                </a:cubicBezTo>
                <a:cubicBezTo>
                  <a:pt x="1361673" y="915599"/>
                  <a:pt x="1359543" y="918661"/>
                  <a:pt x="1357014" y="921323"/>
                </a:cubicBezTo>
                <a:cubicBezTo>
                  <a:pt x="1354351" y="923986"/>
                  <a:pt x="1351290" y="926116"/>
                  <a:pt x="1347696" y="927580"/>
                </a:cubicBezTo>
                <a:cubicBezTo>
                  <a:pt x="1344101" y="929044"/>
                  <a:pt x="1340241" y="929843"/>
                  <a:pt x="1335981" y="929843"/>
                </a:cubicBezTo>
                <a:cubicBezTo>
                  <a:pt x="1327062" y="929843"/>
                  <a:pt x="1319740" y="926914"/>
                  <a:pt x="1314149" y="921323"/>
                </a:cubicBezTo>
                <a:cubicBezTo>
                  <a:pt x="1308558" y="915733"/>
                  <a:pt x="1305764" y="908677"/>
                  <a:pt x="1305764" y="900158"/>
                </a:cubicBezTo>
                <a:cubicBezTo>
                  <a:pt x="1305764" y="891904"/>
                  <a:pt x="1308558" y="884849"/>
                  <a:pt x="1314149" y="879125"/>
                </a:cubicBezTo>
                <a:cubicBezTo>
                  <a:pt x="1319740" y="873401"/>
                  <a:pt x="1326929" y="870472"/>
                  <a:pt x="1335981" y="870472"/>
                </a:cubicBezTo>
                <a:close/>
                <a:moveTo>
                  <a:pt x="1553626" y="870472"/>
                </a:moveTo>
                <a:cubicBezTo>
                  <a:pt x="1557885" y="870472"/>
                  <a:pt x="1561747" y="871271"/>
                  <a:pt x="1565340" y="873001"/>
                </a:cubicBezTo>
                <a:cubicBezTo>
                  <a:pt x="1568935" y="874599"/>
                  <a:pt x="1572130" y="876728"/>
                  <a:pt x="1574659" y="879391"/>
                </a:cubicBezTo>
                <a:cubicBezTo>
                  <a:pt x="1577321" y="881920"/>
                  <a:pt x="1579318" y="885115"/>
                  <a:pt x="1580782" y="888709"/>
                </a:cubicBezTo>
                <a:cubicBezTo>
                  <a:pt x="1582246" y="892303"/>
                  <a:pt x="1583045" y="896163"/>
                  <a:pt x="1583045" y="900158"/>
                </a:cubicBezTo>
                <a:cubicBezTo>
                  <a:pt x="1583045" y="904285"/>
                  <a:pt x="1582246" y="908278"/>
                  <a:pt x="1580782" y="911872"/>
                </a:cubicBezTo>
                <a:cubicBezTo>
                  <a:pt x="1579318" y="915599"/>
                  <a:pt x="1577188" y="918661"/>
                  <a:pt x="1574659" y="921323"/>
                </a:cubicBezTo>
                <a:cubicBezTo>
                  <a:pt x="1571997" y="923986"/>
                  <a:pt x="1568935" y="926116"/>
                  <a:pt x="1565340" y="927580"/>
                </a:cubicBezTo>
                <a:cubicBezTo>
                  <a:pt x="1561747" y="929044"/>
                  <a:pt x="1557885" y="929843"/>
                  <a:pt x="1553626" y="929843"/>
                </a:cubicBezTo>
                <a:cubicBezTo>
                  <a:pt x="1544707" y="929843"/>
                  <a:pt x="1537385" y="926914"/>
                  <a:pt x="1531794" y="921323"/>
                </a:cubicBezTo>
                <a:cubicBezTo>
                  <a:pt x="1526204" y="915733"/>
                  <a:pt x="1523408" y="908677"/>
                  <a:pt x="1523408" y="900158"/>
                </a:cubicBezTo>
                <a:cubicBezTo>
                  <a:pt x="1523408" y="891904"/>
                  <a:pt x="1526204" y="884849"/>
                  <a:pt x="1531794" y="879125"/>
                </a:cubicBezTo>
                <a:cubicBezTo>
                  <a:pt x="1537385" y="873401"/>
                  <a:pt x="1544573" y="870472"/>
                  <a:pt x="1553626" y="870472"/>
                </a:cubicBezTo>
                <a:close/>
                <a:moveTo>
                  <a:pt x="1771270" y="870472"/>
                </a:moveTo>
                <a:cubicBezTo>
                  <a:pt x="1775530" y="870472"/>
                  <a:pt x="1779390" y="871271"/>
                  <a:pt x="1782985" y="873001"/>
                </a:cubicBezTo>
                <a:cubicBezTo>
                  <a:pt x="1786712" y="874599"/>
                  <a:pt x="1789774" y="876728"/>
                  <a:pt x="1792302" y="879391"/>
                </a:cubicBezTo>
                <a:cubicBezTo>
                  <a:pt x="1794964" y="881920"/>
                  <a:pt x="1796962" y="885115"/>
                  <a:pt x="1798426" y="888709"/>
                </a:cubicBezTo>
                <a:cubicBezTo>
                  <a:pt x="1799890" y="892303"/>
                  <a:pt x="1800689" y="896163"/>
                  <a:pt x="1800689" y="900157"/>
                </a:cubicBezTo>
                <a:cubicBezTo>
                  <a:pt x="1800689" y="904284"/>
                  <a:pt x="1799890" y="908278"/>
                  <a:pt x="1798426" y="911872"/>
                </a:cubicBezTo>
                <a:cubicBezTo>
                  <a:pt x="1796962" y="915599"/>
                  <a:pt x="1794832" y="918661"/>
                  <a:pt x="1792302" y="921323"/>
                </a:cubicBezTo>
                <a:cubicBezTo>
                  <a:pt x="1789640" y="923986"/>
                  <a:pt x="1786579" y="926116"/>
                  <a:pt x="1782985" y="927580"/>
                </a:cubicBezTo>
                <a:cubicBezTo>
                  <a:pt x="1779390" y="929044"/>
                  <a:pt x="1775530" y="929843"/>
                  <a:pt x="1771270" y="929843"/>
                </a:cubicBezTo>
                <a:cubicBezTo>
                  <a:pt x="1762350" y="929843"/>
                  <a:pt x="1755029" y="926914"/>
                  <a:pt x="1749439" y="921323"/>
                </a:cubicBezTo>
                <a:cubicBezTo>
                  <a:pt x="1743848" y="915733"/>
                  <a:pt x="1741053" y="908677"/>
                  <a:pt x="1741053" y="900157"/>
                </a:cubicBezTo>
                <a:cubicBezTo>
                  <a:pt x="1741053" y="891904"/>
                  <a:pt x="1743848" y="884849"/>
                  <a:pt x="1749439" y="879125"/>
                </a:cubicBezTo>
                <a:cubicBezTo>
                  <a:pt x="1755029" y="873401"/>
                  <a:pt x="1762218" y="870472"/>
                  <a:pt x="1771270" y="870472"/>
                </a:cubicBezTo>
                <a:close/>
                <a:moveTo>
                  <a:pt x="1988913" y="870472"/>
                </a:moveTo>
                <a:cubicBezTo>
                  <a:pt x="1993040" y="870472"/>
                  <a:pt x="1997034" y="871271"/>
                  <a:pt x="2000628" y="873001"/>
                </a:cubicBezTo>
                <a:cubicBezTo>
                  <a:pt x="2004355" y="874599"/>
                  <a:pt x="2007417" y="876728"/>
                  <a:pt x="2009946" y="879391"/>
                </a:cubicBezTo>
                <a:cubicBezTo>
                  <a:pt x="2012608" y="881920"/>
                  <a:pt x="2014605" y="885115"/>
                  <a:pt x="2016069" y="888709"/>
                </a:cubicBezTo>
                <a:cubicBezTo>
                  <a:pt x="2017533" y="892303"/>
                  <a:pt x="2018332" y="896163"/>
                  <a:pt x="2018332" y="900157"/>
                </a:cubicBezTo>
                <a:cubicBezTo>
                  <a:pt x="2018332" y="904284"/>
                  <a:pt x="2017533" y="908277"/>
                  <a:pt x="2016069" y="911871"/>
                </a:cubicBezTo>
                <a:cubicBezTo>
                  <a:pt x="2014605" y="915599"/>
                  <a:pt x="2012475" y="918660"/>
                  <a:pt x="2009946" y="921323"/>
                </a:cubicBezTo>
                <a:cubicBezTo>
                  <a:pt x="2007417" y="923986"/>
                  <a:pt x="2004222" y="926116"/>
                  <a:pt x="2000628" y="927580"/>
                </a:cubicBezTo>
                <a:cubicBezTo>
                  <a:pt x="1997034" y="929044"/>
                  <a:pt x="1993172" y="929843"/>
                  <a:pt x="1988913" y="929843"/>
                </a:cubicBezTo>
                <a:cubicBezTo>
                  <a:pt x="1979861" y="929843"/>
                  <a:pt x="1972672" y="926914"/>
                  <a:pt x="1967081" y="921323"/>
                </a:cubicBezTo>
                <a:cubicBezTo>
                  <a:pt x="1961491" y="915733"/>
                  <a:pt x="1958695" y="908676"/>
                  <a:pt x="1958695" y="900157"/>
                </a:cubicBezTo>
                <a:cubicBezTo>
                  <a:pt x="1958695" y="891904"/>
                  <a:pt x="1961491" y="884849"/>
                  <a:pt x="1967081" y="879125"/>
                </a:cubicBezTo>
                <a:cubicBezTo>
                  <a:pt x="1972672" y="873401"/>
                  <a:pt x="1979861" y="870472"/>
                  <a:pt x="1988913" y="870472"/>
                </a:cubicBezTo>
                <a:close/>
                <a:moveTo>
                  <a:pt x="2206428" y="870472"/>
                </a:moveTo>
                <a:cubicBezTo>
                  <a:pt x="2210687" y="870472"/>
                  <a:pt x="2214682" y="871271"/>
                  <a:pt x="2218143" y="873001"/>
                </a:cubicBezTo>
                <a:cubicBezTo>
                  <a:pt x="2221869" y="874599"/>
                  <a:pt x="2224931" y="876728"/>
                  <a:pt x="2227461" y="879391"/>
                </a:cubicBezTo>
                <a:cubicBezTo>
                  <a:pt x="2230123" y="881920"/>
                  <a:pt x="2232120" y="885115"/>
                  <a:pt x="2233584" y="888709"/>
                </a:cubicBezTo>
                <a:cubicBezTo>
                  <a:pt x="2235048" y="892303"/>
                  <a:pt x="2235847" y="896163"/>
                  <a:pt x="2235847" y="900157"/>
                </a:cubicBezTo>
                <a:cubicBezTo>
                  <a:pt x="2235847" y="904284"/>
                  <a:pt x="2235048" y="908277"/>
                  <a:pt x="2233584" y="911871"/>
                </a:cubicBezTo>
                <a:cubicBezTo>
                  <a:pt x="2232120" y="915599"/>
                  <a:pt x="2229990" y="918660"/>
                  <a:pt x="2227461" y="921322"/>
                </a:cubicBezTo>
                <a:cubicBezTo>
                  <a:pt x="2224931" y="923986"/>
                  <a:pt x="2221737" y="926116"/>
                  <a:pt x="2218143" y="927580"/>
                </a:cubicBezTo>
                <a:cubicBezTo>
                  <a:pt x="2214548" y="929044"/>
                  <a:pt x="2210687" y="929843"/>
                  <a:pt x="2206428" y="929843"/>
                </a:cubicBezTo>
                <a:cubicBezTo>
                  <a:pt x="2197375" y="929843"/>
                  <a:pt x="2190187" y="926914"/>
                  <a:pt x="2184596" y="921322"/>
                </a:cubicBezTo>
                <a:cubicBezTo>
                  <a:pt x="2179005" y="915733"/>
                  <a:pt x="2176209" y="908676"/>
                  <a:pt x="2176209" y="900157"/>
                </a:cubicBezTo>
                <a:cubicBezTo>
                  <a:pt x="2176209" y="891904"/>
                  <a:pt x="2179005" y="884849"/>
                  <a:pt x="2184596" y="879125"/>
                </a:cubicBezTo>
                <a:cubicBezTo>
                  <a:pt x="2190187" y="873401"/>
                  <a:pt x="2197375" y="870472"/>
                  <a:pt x="2206428" y="870472"/>
                </a:cubicBezTo>
                <a:close/>
                <a:moveTo>
                  <a:pt x="2859371" y="870471"/>
                </a:moveTo>
                <a:cubicBezTo>
                  <a:pt x="2863631" y="870471"/>
                  <a:pt x="2867492" y="871270"/>
                  <a:pt x="2871219" y="873000"/>
                </a:cubicBezTo>
                <a:cubicBezTo>
                  <a:pt x="2874946" y="874598"/>
                  <a:pt x="2878008" y="876727"/>
                  <a:pt x="2880537" y="879391"/>
                </a:cubicBezTo>
                <a:cubicBezTo>
                  <a:pt x="2883199" y="881920"/>
                  <a:pt x="2885196" y="885115"/>
                  <a:pt x="2886660" y="888709"/>
                </a:cubicBezTo>
                <a:cubicBezTo>
                  <a:pt x="2888125" y="892303"/>
                  <a:pt x="2888923" y="896163"/>
                  <a:pt x="2888923" y="900157"/>
                </a:cubicBezTo>
                <a:cubicBezTo>
                  <a:pt x="2888923" y="904284"/>
                  <a:pt x="2888125" y="908277"/>
                  <a:pt x="2886660" y="911871"/>
                </a:cubicBezTo>
                <a:cubicBezTo>
                  <a:pt x="2885196" y="915598"/>
                  <a:pt x="2883066" y="918660"/>
                  <a:pt x="2880537" y="921322"/>
                </a:cubicBezTo>
                <a:cubicBezTo>
                  <a:pt x="2877875" y="923985"/>
                  <a:pt x="2874813" y="926115"/>
                  <a:pt x="2871219" y="927579"/>
                </a:cubicBezTo>
                <a:cubicBezTo>
                  <a:pt x="2867492" y="929044"/>
                  <a:pt x="2863631" y="929842"/>
                  <a:pt x="2859371" y="929842"/>
                </a:cubicBezTo>
                <a:cubicBezTo>
                  <a:pt x="2850453" y="929842"/>
                  <a:pt x="2843129" y="926914"/>
                  <a:pt x="2837539" y="921322"/>
                </a:cubicBezTo>
                <a:cubicBezTo>
                  <a:pt x="2831948" y="915732"/>
                  <a:pt x="2829152" y="908676"/>
                  <a:pt x="2829152" y="900157"/>
                </a:cubicBezTo>
                <a:cubicBezTo>
                  <a:pt x="2829152" y="891904"/>
                  <a:pt x="2831948" y="884849"/>
                  <a:pt x="2837539" y="879125"/>
                </a:cubicBezTo>
                <a:cubicBezTo>
                  <a:pt x="2843129" y="873400"/>
                  <a:pt x="2850319" y="870471"/>
                  <a:pt x="2859371" y="870471"/>
                </a:cubicBezTo>
                <a:close/>
                <a:moveTo>
                  <a:pt x="2641723" y="870471"/>
                </a:moveTo>
                <a:cubicBezTo>
                  <a:pt x="2645983" y="870471"/>
                  <a:pt x="2649843" y="871270"/>
                  <a:pt x="2653438" y="873000"/>
                </a:cubicBezTo>
                <a:cubicBezTo>
                  <a:pt x="2657165" y="874599"/>
                  <a:pt x="2660227" y="876728"/>
                  <a:pt x="2662756" y="879391"/>
                </a:cubicBezTo>
                <a:cubicBezTo>
                  <a:pt x="2665418" y="881920"/>
                  <a:pt x="2667416" y="885115"/>
                  <a:pt x="2668880" y="888709"/>
                </a:cubicBezTo>
                <a:cubicBezTo>
                  <a:pt x="2670344" y="892303"/>
                  <a:pt x="2671143" y="896163"/>
                  <a:pt x="2671143" y="900157"/>
                </a:cubicBezTo>
                <a:cubicBezTo>
                  <a:pt x="2671143" y="904284"/>
                  <a:pt x="2670344" y="908277"/>
                  <a:pt x="2668880" y="911871"/>
                </a:cubicBezTo>
                <a:cubicBezTo>
                  <a:pt x="2667416" y="915598"/>
                  <a:pt x="2665285" y="918660"/>
                  <a:pt x="2662756" y="921322"/>
                </a:cubicBezTo>
                <a:cubicBezTo>
                  <a:pt x="2660227" y="923985"/>
                  <a:pt x="2657032" y="926116"/>
                  <a:pt x="2653438" y="927579"/>
                </a:cubicBezTo>
                <a:cubicBezTo>
                  <a:pt x="2649843" y="929044"/>
                  <a:pt x="2645983" y="929842"/>
                  <a:pt x="2641723" y="929842"/>
                </a:cubicBezTo>
                <a:cubicBezTo>
                  <a:pt x="2632804" y="929842"/>
                  <a:pt x="2625483" y="926914"/>
                  <a:pt x="2619891" y="921322"/>
                </a:cubicBezTo>
                <a:cubicBezTo>
                  <a:pt x="2614301" y="915732"/>
                  <a:pt x="2611505" y="908676"/>
                  <a:pt x="2611505" y="900157"/>
                </a:cubicBezTo>
                <a:cubicBezTo>
                  <a:pt x="2611505" y="891904"/>
                  <a:pt x="2614301" y="884849"/>
                  <a:pt x="2619891" y="879125"/>
                </a:cubicBezTo>
                <a:cubicBezTo>
                  <a:pt x="2625483" y="873401"/>
                  <a:pt x="2632671" y="870471"/>
                  <a:pt x="2641723" y="870471"/>
                </a:cubicBezTo>
                <a:close/>
                <a:moveTo>
                  <a:pt x="2424075" y="870471"/>
                </a:moveTo>
                <a:cubicBezTo>
                  <a:pt x="2428335" y="870471"/>
                  <a:pt x="2432330" y="871271"/>
                  <a:pt x="2435790" y="873001"/>
                </a:cubicBezTo>
                <a:cubicBezTo>
                  <a:pt x="2439517" y="874599"/>
                  <a:pt x="2442579" y="876728"/>
                  <a:pt x="2445108" y="879391"/>
                </a:cubicBezTo>
                <a:cubicBezTo>
                  <a:pt x="2447771" y="881920"/>
                  <a:pt x="2449768" y="885115"/>
                  <a:pt x="2451232" y="888709"/>
                </a:cubicBezTo>
                <a:cubicBezTo>
                  <a:pt x="2452696" y="892303"/>
                  <a:pt x="2453495" y="896163"/>
                  <a:pt x="2453495" y="900157"/>
                </a:cubicBezTo>
                <a:cubicBezTo>
                  <a:pt x="2453495" y="904284"/>
                  <a:pt x="2452696" y="908277"/>
                  <a:pt x="2451232" y="911871"/>
                </a:cubicBezTo>
                <a:cubicBezTo>
                  <a:pt x="2449768" y="915599"/>
                  <a:pt x="2447638" y="918660"/>
                  <a:pt x="2445108" y="921322"/>
                </a:cubicBezTo>
                <a:cubicBezTo>
                  <a:pt x="2442579" y="923986"/>
                  <a:pt x="2439385" y="926116"/>
                  <a:pt x="2435790" y="927580"/>
                </a:cubicBezTo>
                <a:cubicBezTo>
                  <a:pt x="2432196" y="929044"/>
                  <a:pt x="2428335" y="929843"/>
                  <a:pt x="2424075" y="929843"/>
                </a:cubicBezTo>
                <a:cubicBezTo>
                  <a:pt x="2415157" y="929843"/>
                  <a:pt x="2407835" y="926914"/>
                  <a:pt x="2402244" y="921322"/>
                </a:cubicBezTo>
                <a:cubicBezTo>
                  <a:pt x="2396653" y="915732"/>
                  <a:pt x="2393857" y="908676"/>
                  <a:pt x="2393857" y="900157"/>
                </a:cubicBezTo>
                <a:cubicBezTo>
                  <a:pt x="2393857" y="891904"/>
                  <a:pt x="2396653" y="884849"/>
                  <a:pt x="2402244" y="879125"/>
                </a:cubicBezTo>
                <a:cubicBezTo>
                  <a:pt x="2407835" y="873401"/>
                  <a:pt x="2415023" y="870471"/>
                  <a:pt x="2424075" y="870471"/>
                </a:cubicBezTo>
                <a:close/>
                <a:moveTo>
                  <a:pt x="3512181" y="870471"/>
                </a:moveTo>
                <a:cubicBezTo>
                  <a:pt x="3516441" y="870471"/>
                  <a:pt x="3520434" y="871270"/>
                  <a:pt x="3523896" y="873000"/>
                </a:cubicBezTo>
                <a:cubicBezTo>
                  <a:pt x="3527490" y="874598"/>
                  <a:pt x="3530685" y="876727"/>
                  <a:pt x="3533214" y="879390"/>
                </a:cubicBezTo>
                <a:cubicBezTo>
                  <a:pt x="3535743" y="881919"/>
                  <a:pt x="3537873" y="885114"/>
                  <a:pt x="3539337" y="888708"/>
                </a:cubicBezTo>
                <a:cubicBezTo>
                  <a:pt x="3540801" y="892302"/>
                  <a:pt x="3541600" y="896163"/>
                  <a:pt x="3541600" y="900157"/>
                </a:cubicBezTo>
                <a:cubicBezTo>
                  <a:pt x="3541600" y="904284"/>
                  <a:pt x="3540801" y="908277"/>
                  <a:pt x="3539337" y="911871"/>
                </a:cubicBezTo>
                <a:cubicBezTo>
                  <a:pt x="3537873" y="915598"/>
                  <a:pt x="3535743" y="918660"/>
                  <a:pt x="3533214" y="921322"/>
                </a:cubicBezTo>
                <a:cubicBezTo>
                  <a:pt x="3530551" y="923985"/>
                  <a:pt x="3527490" y="926115"/>
                  <a:pt x="3523896" y="927579"/>
                </a:cubicBezTo>
                <a:cubicBezTo>
                  <a:pt x="3520302" y="929043"/>
                  <a:pt x="3516441" y="929842"/>
                  <a:pt x="3512181" y="929842"/>
                </a:cubicBezTo>
                <a:cubicBezTo>
                  <a:pt x="3503128" y="929842"/>
                  <a:pt x="3495939" y="926913"/>
                  <a:pt x="3490348" y="921322"/>
                </a:cubicBezTo>
                <a:cubicBezTo>
                  <a:pt x="3484758" y="915732"/>
                  <a:pt x="3481962" y="908676"/>
                  <a:pt x="3481962" y="900157"/>
                </a:cubicBezTo>
                <a:cubicBezTo>
                  <a:pt x="3481962" y="891903"/>
                  <a:pt x="3484758" y="884848"/>
                  <a:pt x="3490348" y="879124"/>
                </a:cubicBezTo>
                <a:cubicBezTo>
                  <a:pt x="3495939" y="873400"/>
                  <a:pt x="3503128" y="870471"/>
                  <a:pt x="3512181" y="870471"/>
                </a:cubicBezTo>
                <a:close/>
                <a:moveTo>
                  <a:pt x="3294666" y="870471"/>
                </a:moveTo>
                <a:cubicBezTo>
                  <a:pt x="3298793" y="870471"/>
                  <a:pt x="3302787" y="871270"/>
                  <a:pt x="3306382" y="873000"/>
                </a:cubicBezTo>
                <a:cubicBezTo>
                  <a:pt x="3310109" y="874598"/>
                  <a:pt x="3313171" y="876727"/>
                  <a:pt x="3315700" y="879391"/>
                </a:cubicBezTo>
                <a:cubicBezTo>
                  <a:pt x="3318229" y="881919"/>
                  <a:pt x="3320359" y="885115"/>
                  <a:pt x="3321823" y="888708"/>
                </a:cubicBezTo>
                <a:cubicBezTo>
                  <a:pt x="3323287" y="892303"/>
                  <a:pt x="3324086" y="896163"/>
                  <a:pt x="3324086" y="900157"/>
                </a:cubicBezTo>
                <a:cubicBezTo>
                  <a:pt x="3324086" y="904284"/>
                  <a:pt x="3323287" y="908277"/>
                  <a:pt x="3321823" y="911871"/>
                </a:cubicBezTo>
                <a:cubicBezTo>
                  <a:pt x="3320359" y="915598"/>
                  <a:pt x="3318229" y="918660"/>
                  <a:pt x="3315700" y="921322"/>
                </a:cubicBezTo>
                <a:cubicBezTo>
                  <a:pt x="3313037" y="923985"/>
                  <a:pt x="3309975" y="926115"/>
                  <a:pt x="3306382" y="927579"/>
                </a:cubicBezTo>
                <a:cubicBezTo>
                  <a:pt x="3302787" y="929043"/>
                  <a:pt x="3298926" y="929842"/>
                  <a:pt x="3294666" y="929842"/>
                </a:cubicBezTo>
                <a:cubicBezTo>
                  <a:pt x="3285614" y="929842"/>
                  <a:pt x="3278425" y="926913"/>
                  <a:pt x="3272834" y="921322"/>
                </a:cubicBezTo>
                <a:cubicBezTo>
                  <a:pt x="3267242" y="915732"/>
                  <a:pt x="3264447" y="908676"/>
                  <a:pt x="3264447" y="900157"/>
                </a:cubicBezTo>
                <a:cubicBezTo>
                  <a:pt x="3264447" y="891903"/>
                  <a:pt x="3267242" y="884848"/>
                  <a:pt x="3272834" y="879124"/>
                </a:cubicBezTo>
                <a:cubicBezTo>
                  <a:pt x="3278425" y="873400"/>
                  <a:pt x="3285614" y="870471"/>
                  <a:pt x="3294666" y="870471"/>
                </a:cubicBezTo>
                <a:close/>
                <a:moveTo>
                  <a:pt x="3077018" y="870471"/>
                </a:moveTo>
                <a:cubicBezTo>
                  <a:pt x="3081146" y="870471"/>
                  <a:pt x="3085139" y="871270"/>
                  <a:pt x="3088734" y="873000"/>
                </a:cubicBezTo>
                <a:cubicBezTo>
                  <a:pt x="3092328" y="874598"/>
                  <a:pt x="3095523" y="876727"/>
                  <a:pt x="3098052" y="879391"/>
                </a:cubicBezTo>
                <a:cubicBezTo>
                  <a:pt x="3100581" y="881919"/>
                  <a:pt x="3102711" y="885115"/>
                  <a:pt x="3104175" y="888709"/>
                </a:cubicBezTo>
                <a:cubicBezTo>
                  <a:pt x="3105640" y="892303"/>
                  <a:pt x="3106438" y="896163"/>
                  <a:pt x="3106438" y="900157"/>
                </a:cubicBezTo>
                <a:cubicBezTo>
                  <a:pt x="3106438" y="904284"/>
                  <a:pt x="3105640" y="908277"/>
                  <a:pt x="3104175" y="911871"/>
                </a:cubicBezTo>
                <a:cubicBezTo>
                  <a:pt x="3102711" y="915598"/>
                  <a:pt x="3100581" y="918660"/>
                  <a:pt x="3098052" y="921322"/>
                </a:cubicBezTo>
                <a:cubicBezTo>
                  <a:pt x="3095389" y="923985"/>
                  <a:pt x="3092328" y="926115"/>
                  <a:pt x="3088734" y="927579"/>
                </a:cubicBezTo>
                <a:cubicBezTo>
                  <a:pt x="3085139" y="929043"/>
                  <a:pt x="3081279" y="929842"/>
                  <a:pt x="3077018" y="929842"/>
                </a:cubicBezTo>
                <a:cubicBezTo>
                  <a:pt x="3068100" y="929842"/>
                  <a:pt x="3060778" y="926913"/>
                  <a:pt x="3055186" y="921322"/>
                </a:cubicBezTo>
                <a:cubicBezTo>
                  <a:pt x="3049595" y="915732"/>
                  <a:pt x="3046800" y="908676"/>
                  <a:pt x="3046800" y="900157"/>
                </a:cubicBezTo>
                <a:cubicBezTo>
                  <a:pt x="3046800" y="891904"/>
                  <a:pt x="3049595" y="884849"/>
                  <a:pt x="3055186" y="879124"/>
                </a:cubicBezTo>
                <a:cubicBezTo>
                  <a:pt x="3060778" y="873400"/>
                  <a:pt x="3067966" y="870471"/>
                  <a:pt x="3077018" y="870471"/>
                </a:cubicBezTo>
                <a:close/>
                <a:moveTo>
                  <a:pt x="3729829" y="870471"/>
                </a:moveTo>
                <a:cubicBezTo>
                  <a:pt x="3734089" y="870471"/>
                  <a:pt x="3738081" y="871270"/>
                  <a:pt x="3741544" y="873000"/>
                </a:cubicBezTo>
                <a:cubicBezTo>
                  <a:pt x="3745138" y="874598"/>
                  <a:pt x="3748333" y="876727"/>
                  <a:pt x="3750862" y="879390"/>
                </a:cubicBezTo>
                <a:cubicBezTo>
                  <a:pt x="3753391" y="881919"/>
                  <a:pt x="3755521" y="885114"/>
                  <a:pt x="3756985" y="888708"/>
                </a:cubicBezTo>
                <a:cubicBezTo>
                  <a:pt x="3758449" y="892302"/>
                  <a:pt x="3759248" y="896163"/>
                  <a:pt x="3759248" y="900157"/>
                </a:cubicBezTo>
                <a:cubicBezTo>
                  <a:pt x="3759248" y="904284"/>
                  <a:pt x="3758449" y="908277"/>
                  <a:pt x="3756985" y="911871"/>
                </a:cubicBezTo>
                <a:cubicBezTo>
                  <a:pt x="3755521" y="915598"/>
                  <a:pt x="3753391" y="918660"/>
                  <a:pt x="3750862" y="921322"/>
                </a:cubicBezTo>
                <a:cubicBezTo>
                  <a:pt x="3748199" y="923985"/>
                  <a:pt x="3745138" y="926115"/>
                  <a:pt x="3741544" y="927579"/>
                </a:cubicBezTo>
                <a:cubicBezTo>
                  <a:pt x="3737950" y="929043"/>
                  <a:pt x="3734089" y="929842"/>
                  <a:pt x="3729829" y="929842"/>
                </a:cubicBezTo>
                <a:cubicBezTo>
                  <a:pt x="3720776" y="929842"/>
                  <a:pt x="3713588" y="926913"/>
                  <a:pt x="3707997" y="921322"/>
                </a:cubicBezTo>
                <a:cubicBezTo>
                  <a:pt x="3702404" y="915732"/>
                  <a:pt x="3699610" y="908676"/>
                  <a:pt x="3699610" y="900157"/>
                </a:cubicBezTo>
                <a:cubicBezTo>
                  <a:pt x="3699610" y="891903"/>
                  <a:pt x="3702404" y="884848"/>
                  <a:pt x="3707997" y="879124"/>
                </a:cubicBezTo>
                <a:cubicBezTo>
                  <a:pt x="3713588" y="873400"/>
                  <a:pt x="3720776" y="870471"/>
                  <a:pt x="3729829" y="870471"/>
                </a:cubicBezTo>
                <a:close/>
                <a:moveTo>
                  <a:pt x="4165068" y="870471"/>
                </a:moveTo>
                <a:cubicBezTo>
                  <a:pt x="4169327" y="870471"/>
                  <a:pt x="4173188" y="871270"/>
                  <a:pt x="4176782" y="873000"/>
                </a:cubicBezTo>
                <a:cubicBezTo>
                  <a:pt x="4180509" y="874598"/>
                  <a:pt x="4183571" y="876727"/>
                  <a:pt x="4186100" y="879390"/>
                </a:cubicBezTo>
                <a:cubicBezTo>
                  <a:pt x="4188629" y="881919"/>
                  <a:pt x="4190759" y="885114"/>
                  <a:pt x="4192223" y="888708"/>
                </a:cubicBezTo>
                <a:cubicBezTo>
                  <a:pt x="4193688" y="892302"/>
                  <a:pt x="4194486" y="896162"/>
                  <a:pt x="4194486" y="900156"/>
                </a:cubicBezTo>
                <a:cubicBezTo>
                  <a:pt x="4194486" y="904283"/>
                  <a:pt x="4193688" y="908276"/>
                  <a:pt x="4192223" y="911870"/>
                </a:cubicBezTo>
                <a:cubicBezTo>
                  <a:pt x="4190759" y="915598"/>
                  <a:pt x="4188629" y="918660"/>
                  <a:pt x="4186100" y="921322"/>
                </a:cubicBezTo>
                <a:cubicBezTo>
                  <a:pt x="4183438" y="923985"/>
                  <a:pt x="4180376" y="926115"/>
                  <a:pt x="4176782" y="927579"/>
                </a:cubicBezTo>
                <a:cubicBezTo>
                  <a:pt x="4173188" y="929043"/>
                  <a:pt x="4169327" y="929842"/>
                  <a:pt x="4165068" y="929842"/>
                </a:cubicBezTo>
                <a:cubicBezTo>
                  <a:pt x="4156015" y="929842"/>
                  <a:pt x="4148827" y="926913"/>
                  <a:pt x="4143235" y="921322"/>
                </a:cubicBezTo>
                <a:cubicBezTo>
                  <a:pt x="4137645" y="915732"/>
                  <a:pt x="4134849" y="908676"/>
                  <a:pt x="4134849" y="900156"/>
                </a:cubicBezTo>
                <a:cubicBezTo>
                  <a:pt x="4134849" y="891903"/>
                  <a:pt x="4137645" y="884848"/>
                  <a:pt x="4143235" y="879124"/>
                </a:cubicBezTo>
                <a:cubicBezTo>
                  <a:pt x="4148827" y="873400"/>
                  <a:pt x="4156015" y="870471"/>
                  <a:pt x="4165068" y="870471"/>
                </a:cubicBezTo>
                <a:close/>
                <a:moveTo>
                  <a:pt x="3947477" y="870471"/>
                </a:moveTo>
                <a:cubicBezTo>
                  <a:pt x="3951737" y="870471"/>
                  <a:pt x="3955597" y="871270"/>
                  <a:pt x="3959192" y="873000"/>
                </a:cubicBezTo>
                <a:cubicBezTo>
                  <a:pt x="3962920" y="874598"/>
                  <a:pt x="3965980" y="876727"/>
                  <a:pt x="3968509" y="879390"/>
                </a:cubicBezTo>
                <a:cubicBezTo>
                  <a:pt x="3971040" y="881919"/>
                  <a:pt x="3973169" y="885114"/>
                  <a:pt x="3974633" y="888708"/>
                </a:cubicBezTo>
                <a:cubicBezTo>
                  <a:pt x="3976098" y="892302"/>
                  <a:pt x="3976897" y="896162"/>
                  <a:pt x="3976897" y="900156"/>
                </a:cubicBezTo>
                <a:cubicBezTo>
                  <a:pt x="3976897" y="904283"/>
                  <a:pt x="3976098" y="908276"/>
                  <a:pt x="3974633" y="911871"/>
                </a:cubicBezTo>
                <a:cubicBezTo>
                  <a:pt x="3973169" y="915598"/>
                  <a:pt x="3971040" y="918660"/>
                  <a:pt x="3968509" y="921322"/>
                </a:cubicBezTo>
                <a:cubicBezTo>
                  <a:pt x="3965848" y="923985"/>
                  <a:pt x="3962786" y="926115"/>
                  <a:pt x="3959192" y="927579"/>
                </a:cubicBezTo>
                <a:cubicBezTo>
                  <a:pt x="3955597" y="929043"/>
                  <a:pt x="3951737" y="929842"/>
                  <a:pt x="3947477" y="929842"/>
                </a:cubicBezTo>
                <a:cubicBezTo>
                  <a:pt x="3938425" y="929842"/>
                  <a:pt x="3931237" y="926913"/>
                  <a:pt x="3925645" y="921322"/>
                </a:cubicBezTo>
                <a:cubicBezTo>
                  <a:pt x="3920054" y="915732"/>
                  <a:pt x="3917258" y="908676"/>
                  <a:pt x="3917258" y="900156"/>
                </a:cubicBezTo>
                <a:cubicBezTo>
                  <a:pt x="3917258" y="891903"/>
                  <a:pt x="3920054" y="884848"/>
                  <a:pt x="3925645" y="879124"/>
                </a:cubicBezTo>
                <a:cubicBezTo>
                  <a:pt x="3931237" y="873400"/>
                  <a:pt x="3938425" y="870471"/>
                  <a:pt x="3947477" y="870471"/>
                </a:cubicBezTo>
                <a:close/>
                <a:moveTo>
                  <a:pt x="4600226" y="870471"/>
                </a:moveTo>
                <a:cubicBezTo>
                  <a:pt x="4604485" y="870471"/>
                  <a:pt x="4608479" y="871270"/>
                  <a:pt x="4612073" y="872999"/>
                </a:cubicBezTo>
                <a:cubicBezTo>
                  <a:pt x="4615800" y="874598"/>
                  <a:pt x="4618862" y="876727"/>
                  <a:pt x="4621391" y="879390"/>
                </a:cubicBezTo>
                <a:cubicBezTo>
                  <a:pt x="4623920" y="881919"/>
                  <a:pt x="4626050" y="885114"/>
                  <a:pt x="4627514" y="888708"/>
                </a:cubicBezTo>
                <a:cubicBezTo>
                  <a:pt x="4628978" y="892302"/>
                  <a:pt x="4629777" y="896162"/>
                  <a:pt x="4629777" y="900156"/>
                </a:cubicBezTo>
                <a:cubicBezTo>
                  <a:pt x="4629777" y="904283"/>
                  <a:pt x="4628978" y="908276"/>
                  <a:pt x="4627514" y="911870"/>
                </a:cubicBezTo>
                <a:cubicBezTo>
                  <a:pt x="4626050" y="915597"/>
                  <a:pt x="4623920" y="918659"/>
                  <a:pt x="4621391" y="921321"/>
                </a:cubicBezTo>
                <a:cubicBezTo>
                  <a:pt x="4618729" y="923984"/>
                  <a:pt x="4615667" y="926115"/>
                  <a:pt x="4612073" y="927579"/>
                </a:cubicBezTo>
                <a:cubicBezTo>
                  <a:pt x="4608346" y="929043"/>
                  <a:pt x="4604485" y="929842"/>
                  <a:pt x="4600226" y="929842"/>
                </a:cubicBezTo>
                <a:cubicBezTo>
                  <a:pt x="4591173" y="929842"/>
                  <a:pt x="4583985" y="926913"/>
                  <a:pt x="4578393" y="921321"/>
                </a:cubicBezTo>
                <a:cubicBezTo>
                  <a:pt x="4572803" y="915731"/>
                  <a:pt x="4570007" y="908675"/>
                  <a:pt x="4570007" y="900156"/>
                </a:cubicBezTo>
                <a:cubicBezTo>
                  <a:pt x="4570007" y="891903"/>
                  <a:pt x="4572803" y="884848"/>
                  <a:pt x="4578393" y="879124"/>
                </a:cubicBezTo>
                <a:cubicBezTo>
                  <a:pt x="4583985" y="873400"/>
                  <a:pt x="4591173" y="870471"/>
                  <a:pt x="4600226" y="870471"/>
                </a:cubicBezTo>
                <a:close/>
                <a:moveTo>
                  <a:pt x="4382713" y="870471"/>
                </a:moveTo>
                <a:cubicBezTo>
                  <a:pt x="4386840" y="870471"/>
                  <a:pt x="4390834" y="871270"/>
                  <a:pt x="4394428" y="873000"/>
                </a:cubicBezTo>
                <a:cubicBezTo>
                  <a:pt x="4398155" y="874598"/>
                  <a:pt x="4401217" y="876727"/>
                  <a:pt x="4403746" y="879390"/>
                </a:cubicBezTo>
                <a:cubicBezTo>
                  <a:pt x="4406275" y="881919"/>
                  <a:pt x="4408405" y="885114"/>
                  <a:pt x="4409869" y="888708"/>
                </a:cubicBezTo>
                <a:cubicBezTo>
                  <a:pt x="4411334" y="892302"/>
                  <a:pt x="4412132" y="896162"/>
                  <a:pt x="4412132" y="900156"/>
                </a:cubicBezTo>
                <a:cubicBezTo>
                  <a:pt x="4412132" y="904283"/>
                  <a:pt x="4411334" y="908276"/>
                  <a:pt x="4409869" y="911870"/>
                </a:cubicBezTo>
                <a:cubicBezTo>
                  <a:pt x="4408405" y="915598"/>
                  <a:pt x="4406275" y="918660"/>
                  <a:pt x="4403746" y="921322"/>
                </a:cubicBezTo>
                <a:cubicBezTo>
                  <a:pt x="4401083" y="923985"/>
                  <a:pt x="4398022" y="926115"/>
                  <a:pt x="4394428" y="927579"/>
                </a:cubicBezTo>
                <a:cubicBezTo>
                  <a:pt x="4390834" y="929043"/>
                  <a:pt x="4386973" y="929842"/>
                  <a:pt x="4382713" y="929842"/>
                </a:cubicBezTo>
                <a:cubicBezTo>
                  <a:pt x="4373661" y="929842"/>
                  <a:pt x="4366473" y="926913"/>
                  <a:pt x="4360881" y="921322"/>
                </a:cubicBezTo>
                <a:cubicBezTo>
                  <a:pt x="4355290" y="915732"/>
                  <a:pt x="4352495" y="908675"/>
                  <a:pt x="4352495" y="900156"/>
                </a:cubicBezTo>
                <a:cubicBezTo>
                  <a:pt x="4352495" y="891903"/>
                  <a:pt x="4355290" y="884848"/>
                  <a:pt x="4360881" y="879124"/>
                </a:cubicBezTo>
                <a:cubicBezTo>
                  <a:pt x="4366473" y="873400"/>
                  <a:pt x="4373661" y="870471"/>
                  <a:pt x="4382713" y="870471"/>
                </a:cubicBezTo>
                <a:close/>
                <a:moveTo>
                  <a:pt x="4817870" y="870470"/>
                </a:moveTo>
                <a:cubicBezTo>
                  <a:pt x="4822130" y="870470"/>
                  <a:pt x="4826124" y="871269"/>
                  <a:pt x="4829585" y="872999"/>
                </a:cubicBezTo>
                <a:cubicBezTo>
                  <a:pt x="4833312" y="874597"/>
                  <a:pt x="4836374" y="876727"/>
                  <a:pt x="4838903" y="879390"/>
                </a:cubicBezTo>
                <a:cubicBezTo>
                  <a:pt x="4841432" y="881919"/>
                  <a:pt x="4843562" y="885114"/>
                  <a:pt x="4845026" y="888708"/>
                </a:cubicBezTo>
                <a:cubicBezTo>
                  <a:pt x="4846491" y="892302"/>
                  <a:pt x="4847289" y="896162"/>
                  <a:pt x="4847289" y="900156"/>
                </a:cubicBezTo>
                <a:cubicBezTo>
                  <a:pt x="4847289" y="904283"/>
                  <a:pt x="4846491" y="908276"/>
                  <a:pt x="4845026" y="911870"/>
                </a:cubicBezTo>
                <a:cubicBezTo>
                  <a:pt x="4843562" y="915597"/>
                  <a:pt x="4841432" y="918659"/>
                  <a:pt x="4838903" y="921321"/>
                </a:cubicBezTo>
                <a:cubicBezTo>
                  <a:pt x="4836240" y="923984"/>
                  <a:pt x="4833179" y="926115"/>
                  <a:pt x="4829585" y="927579"/>
                </a:cubicBezTo>
                <a:cubicBezTo>
                  <a:pt x="4825991" y="929043"/>
                  <a:pt x="4822130" y="929842"/>
                  <a:pt x="4817870" y="929842"/>
                </a:cubicBezTo>
                <a:cubicBezTo>
                  <a:pt x="4808952" y="929842"/>
                  <a:pt x="4801630" y="926913"/>
                  <a:pt x="4796038" y="921321"/>
                </a:cubicBezTo>
                <a:cubicBezTo>
                  <a:pt x="4790447" y="915731"/>
                  <a:pt x="4787652" y="908675"/>
                  <a:pt x="4787652" y="900156"/>
                </a:cubicBezTo>
                <a:cubicBezTo>
                  <a:pt x="4787652" y="891903"/>
                  <a:pt x="4790447" y="884848"/>
                  <a:pt x="4796038" y="879124"/>
                </a:cubicBezTo>
                <a:cubicBezTo>
                  <a:pt x="4801630" y="873399"/>
                  <a:pt x="4808818" y="870470"/>
                  <a:pt x="4817870" y="870470"/>
                </a:cubicBezTo>
                <a:close/>
                <a:moveTo>
                  <a:pt x="5035515" y="870470"/>
                </a:moveTo>
                <a:cubicBezTo>
                  <a:pt x="5039775" y="870470"/>
                  <a:pt x="5043636" y="871269"/>
                  <a:pt x="5047230" y="872999"/>
                </a:cubicBezTo>
                <a:cubicBezTo>
                  <a:pt x="5050957" y="874597"/>
                  <a:pt x="5054019" y="876727"/>
                  <a:pt x="5056548" y="879390"/>
                </a:cubicBezTo>
                <a:cubicBezTo>
                  <a:pt x="5059077" y="881919"/>
                  <a:pt x="5061207" y="885114"/>
                  <a:pt x="5062671" y="888708"/>
                </a:cubicBezTo>
                <a:cubicBezTo>
                  <a:pt x="5064135" y="892302"/>
                  <a:pt x="5064934" y="896162"/>
                  <a:pt x="5064934" y="900156"/>
                </a:cubicBezTo>
                <a:cubicBezTo>
                  <a:pt x="5064934" y="904283"/>
                  <a:pt x="5064135" y="908276"/>
                  <a:pt x="5062671" y="911870"/>
                </a:cubicBezTo>
                <a:cubicBezTo>
                  <a:pt x="5061207" y="915597"/>
                  <a:pt x="5059077" y="918659"/>
                  <a:pt x="5056548" y="921321"/>
                </a:cubicBezTo>
                <a:cubicBezTo>
                  <a:pt x="5053885" y="923984"/>
                  <a:pt x="5050824" y="926114"/>
                  <a:pt x="5047230" y="927578"/>
                </a:cubicBezTo>
                <a:cubicBezTo>
                  <a:pt x="5043636" y="929042"/>
                  <a:pt x="5039775" y="929842"/>
                  <a:pt x="5035515" y="929842"/>
                </a:cubicBezTo>
                <a:cubicBezTo>
                  <a:pt x="5026597" y="929842"/>
                  <a:pt x="5019275" y="926912"/>
                  <a:pt x="5013683" y="921321"/>
                </a:cubicBezTo>
                <a:cubicBezTo>
                  <a:pt x="5008092" y="915731"/>
                  <a:pt x="5005297" y="908675"/>
                  <a:pt x="5005297" y="900156"/>
                </a:cubicBezTo>
                <a:cubicBezTo>
                  <a:pt x="5005297" y="891903"/>
                  <a:pt x="5008092" y="884848"/>
                  <a:pt x="5013683" y="879124"/>
                </a:cubicBezTo>
                <a:cubicBezTo>
                  <a:pt x="5019275" y="873399"/>
                  <a:pt x="5026463" y="870470"/>
                  <a:pt x="5035515" y="870470"/>
                </a:cubicBezTo>
                <a:close/>
                <a:moveTo>
                  <a:pt x="5253160" y="870470"/>
                </a:moveTo>
                <a:cubicBezTo>
                  <a:pt x="5257420" y="870470"/>
                  <a:pt x="5261280" y="871269"/>
                  <a:pt x="5264875" y="872999"/>
                </a:cubicBezTo>
                <a:cubicBezTo>
                  <a:pt x="5268602" y="874597"/>
                  <a:pt x="5271664" y="876726"/>
                  <a:pt x="5274192" y="879390"/>
                </a:cubicBezTo>
                <a:cubicBezTo>
                  <a:pt x="5276722" y="881918"/>
                  <a:pt x="5278852" y="885114"/>
                  <a:pt x="5280316" y="888708"/>
                </a:cubicBezTo>
                <a:cubicBezTo>
                  <a:pt x="5281780" y="892302"/>
                  <a:pt x="5282579" y="896162"/>
                  <a:pt x="5282579" y="900156"/>
                </a:cubicBezTo>
                <a:cubicBezTo>
                  <a:pt x="5282579" y="904283"/>
                  <a:pt x="5281780" y="908276"/>
                  <a:pt x="5280316" y="911870"/>
                </a:cubicBezTo>
                <a:cubicBezTo>
                  <a:pt x="5278852" y="915597"/>
                  <a:pt x="5276722" y="918659"/>
                  <a:pt x="5274192" y="921321"/>
                </a:cubicBezTo>
                <a:cubicBezTo>
                  <a:pt x="5271664" y="923984"/>
                  <a:pt x="5268469" y="926114"/>
                  <a:pt x="5264875" y="927578"/>
                </a:cubicBezTo>
                <a:cubicBezTo>
                  <a:pt x="5261280" y="929042"/>
                  <a:pt x="5257420" y="929841"/>
                  <a:pt x="5253160" y="929841"/>
                </a:cubicBezTo>
                <a:cubicBezTo>
                  <a:pt x="5244241" y="929841"/>
                  <a:pt x="5236920" y="926912"/>
                  <a:pt x="5231328" y="921321"/>
                </a:cubicBezTo>
                <a:cubicBezTo>
                  <a:pt x="5225737" y="915731"/>
                  <a:pt x="5222942" y="908675"/>
                  <a:pt x="5222942" y="900156"/>
                </a:cubicBezTo>
                <a:cubicBezTo>
                  <a:pt x="5222942" y="891903"/>
                  <a:pt x="5225737" y="884848"/>
                  <a:pt x="5231328" y="879123"/>
                </a:cubicBezTo>
                <a:cubicBezTo>
                  <a:pt x="5236920" y="873399"/>
                  <a:pt x="5244108" y="870470"/>
                  <a:pt x="5253160" y="870470"/>
                </a:cubicBezTo>
                <a:close/>
                <a:moveTo>
                  <a:pt x="5688451" y="870470"/>
                </a:moveTo>
                <a:cubicBezTo>
                  <a:pt x="5692577" y="870470"/>
                  <a:pt x="5696571" y="871269"/>
                  <a:pt x="5700165" y="872999"/>
                </a:cubicBezTo>
                <a:cubicBezTo>
                  <a:pt x="5703892" y="874597"/>
                  <a:pt x="5706954" y="876726"/>
                  <a:pt x="5709483" y="879389"/>
                </a:cubicBezTo>
                <a:cubicBezTo>
                  <a:pt x="5712012" y="881918"/>
                  <a:pt x="5714142" y="885113"/>
                  <a:pt x="5715606" y="888707"/>
                </a:cubicBezTo>
                <a:cubicBezTo>
                  <a:pt x="5717071" y="892301"/>
                  <a:pt x="5717869" y="896162"/>
                  <a:pt x="5717869" y="900156"/>
                </a:cubicBezTo>
                <a:cubicBezTo>
                  <a:pt x="5717869" y="904283"/>
                  <a:pt x="5717071" y="908276"/>
                  <a:pt x="5715606" y="911870"/>
                </a:cubicBezTo>
                <a:cubicBezTo>
                  <a:pt x="5714142" y="915597"/>
                  <a:pt x="5712012" y="918659"/>
                  <a:pt x="5709483" y="921321"/>
                </a:cubicBezTo>
                <a:cubicBezTo>
                  <a:pt x="5706820" y="923984"/>
                  <a:pt x="5703759" y="926114"/>
                  <a:pt x="5700165" y="927578"/>
                </a:cubicBezTo>
                <a:cubicBezTo>
                  <a:pt x="5696571" y="929042"/>
                  <a:pt x="5692710" y="929841"/>
                  <a:pt x="5688451" y="929841"/>
                </a:cubicBezTo>
                <a:cubicBezTo>
                  <a:pt x="5679532" y="929841"/>
                  <a:pt x="5672210" y="926912"/>
                  <a:pt x="5666618" y="921321"/>
                </a:cubicBezTo>
                <a:cubicBezTo>
                  <a:pt x="5661028" y="915731"/>
                  <a:pt x="5658232" y="908675"/>
                  <a:pt x="5658232" y="900156"/>
                </a:cubicBezTo>
                <a:cubicBezTo>
                  <a:pt x="5658232" y="891902"/>
                  <a:pt x="5661028" y="884847"/>
                  <a:pt x="5666618" y="879123"/>
                </a:cubicBezTo>
                <a:cubicBezTo>
                  <a:pt x="5672210" y="873399"/>
                  <a:pt x="5679398" y="870470"/>
                  <a:pt x="5688451" y="870470"/>
                </a:cubicBezTo>
                <a:close/>
                <a:moveTo>
                  <a:pt x="5470806" y="870470"/>
                </a:moveTo>
                <a:cubicBezTo>
                  <a:pt x="5475065" y="870470"/>
                  <a:pt x="5478926" y="871269"/>
                  <a:pt x="5482520" y="872999"/>
                </a:cubicBezTo>
                <a:cubicBezTo>
                  <a:pt x="5486247" y="874597"/>
                  <a:pt x="5489309" y="876726"/>
                  <a:pt x="5491838" y="879389"/>
                </a:cubicBezTo>
                <a:cubicBezTo>
                  <a:pt x="5494367" y="881918"/>
                  <a:pt x="5496497" y="885113"/>
                  <a:pt x="5497961" y="888707"/>
                </a:cubicBezTo>
                <a:cubicBezTo>
                  <a:pt x="5499426" y="892301"/>
                  <a:pt x="5500224" y="896162"/>
                  <a:pt x="5500224" y="900156"/>
                </a:cubicBezTo>
                <a:cubicBezTo>
                  <a:pt x="5500224" y="904283"/>
                  <a:pt x="5499426" y="908276"/>
                  <a:pt x="5497961" y="911870"/>
                </a:cubicBezTo>
                <a:cubicBezTo>
                  <a:pt x="5496497" y="915597"/>
                  <a:pt x="5494367" y="918659"/>
                  <a:pt x="5491838" y="921321"/>
                </a:cubicBezTo>
                <a:cubicBezTo>
                  <a:pt x="5489176" y="923984"/>
                  <a:pt x="5486114" y="926114"/>
                  <a:pt x="5482520" y="927578"/>
                </a:cubicBezTo>
                <a:cubicBezTo>
                  <a:pt x="5478926" y="929042"/>
                  <a:pt x="5475065" y="929841"/>
                  <a:pt x="5470806" y="929841"/>
                </a:cubicBezTo>
                <a:cubicBezTo>
                  <a:pt x="5461887" y="929841"/>
                  <a:pt x="5454565" y="926912"/>
                  <a:pt x="5448973" y="921321"/>
                </a:cubicBezTo>
                <a:cubicBezTo>
                  <a:pt x="5443383" y="915731"/>
                  <a:pt x="5440587" y="908675"/>
                  <a:pt x="5440587" y="900156"/>
                </a:cubicBezTo>
                <a:cubicBezTo>
                  <a:pt x="5440587" y="891902"/>
                  <a:pt x="5443383" y="884847"/>
                  <a:pt x="5448973" y="879123"/>
                </a:cubicBezTo>
                <a:cubicBezTo>
                  <a:pt x="5454565" y="873399"/>
                  <a:pt x="5461754" y="870470"/>
                  <a:pt x="5470806" y="870470"/>
                </a:cubicBezTo>
                <a:close/>
                <a:moveTo>
                  <a:pt x="6123608" y="870470"/>
                </a:moveTo>
                <a:cubicBezTo>
                  <a:pt x="6127867" y="870470"/>
                  <a:pt x="6131728" y="871269"/>
                  <a:pt x="6135322" y="872999"/>
                </a:cubicBezTo>
                <a:cubicBezTo>
                  <a:pt x="6139049" y="874597"/>
                  <a:pt x="6142111" y="876726"/>
                  <a:pt x="6144640" y="879389"/>
                </a:cubicBezTo>
                <a:cubicBezTo>
                  <a:pt x="6147169" y="881918"/>
                  <a:pt x="6149299" y="885113"/>
                  <a:pt x="6150763" y="888707"/>
                </a:cubicBezTo>
                <a:cubicBezTo>
                  <a:pt x="6152228" y="892301"/>
                  <a:pt x="6153026" y="896161"/>
                  <a:pt x="6153026" y="900156"/>
                </a:cubicBezTo>
                <a:cubicBezTo>
                  <a:pt x="6153026" y="904282"/>
                  <a:pt x="6152228" y="908275"/>
                  <a:pt x="6150763" y="911870"/>
                </a:cubicBezTo>
                <a:cubicBezTo>
                  <a:pt x="6149299" y="915597"/>
                  <a:pt x="6147169" y="918659"/>
                  <a:pt x="6144640" y="921321"/>
                </a:cubicBezTo>
                <a:cubicBezTo>
                  <a:pt x="6141977" y="923984"/>
                  <a:pt x="6138916" y="926114"/>
                  <a:pt x="6135322" y="927578"/>
                </a:cubicBezTo>
                <a:cubicBezTo>
                  <a:pt x="6131728" y="929042"/>
                  <a:pt x="6127867" y="929841"/>
                  <a:pt x="6123608" y="929841"/>
                </a:cubicBezTo>
                <a:cubicBezTo>
                  <a:pt x="6114689" y="929841"/>
                  <a:pt x="6107367" y="926912"/>
                  <a:pt x="6101775" y="921321"/>
                </a:cubicBezTo>
                <a:cubicBezTo>
                  <a:pt x="6096184" y="915731"/>
                  <a:pt x="6093389" y="908675"/>
                  <a:pt x="6093389" y="900156"/>
                </a:cubicBezTo>
                <a:cubicBezTo>
                  <a:pt x="6093389" y="891902"/>
                  <a:pt x="6096184" y="884847"/>
                  <a:pt x="6101775" y="879123"/>
                </a:cubicBezTo>
                <a:cubicBezTo>
                  <a:pt x="6107367" y="873399"/>
                  <a:pt x="6114555" y="870470"/>
                  <a:pt x="6123608" y="870470"/>
                </a:cubicBezTo>
                <a:close/>
                <a:moveTo>
                  <a:pt x="5905963" y="870470"/>
                </a:moveTo>
                <a:cubicBezTo>
                  <a:pt x="5910222" y="870470"/>
                  <a:pt x="5914216" y="871269"/>
                  <a:pt x="5917677" y="872999"/>
                </a:cubicBezTo>
                <a:cubicBezTo>
                  <a:pt x="5921404" y="874597"/>
                  <a:pt x="5924466" y="876726"/>
                  <a:pt x="5926995" y="879389"/>
                </a:cubicBezTo>
                <a:cubicBezTo>
                  <a:pt x="5929524" y="881918"/>
                  <a:pt x="5931654" y="885113"/>
                  <a:pt x="5933118" y="888707"/>
                </a:cubicBezTo>
                <a:cubicBezTo>
                  <a:pt x="5934583" y="892301"/>
                  <a:pt x="5935381" y="896161"/>
                  <a:pt x="5935381" y="900156"/>
                </a:cubicBezTo>
                <a:cubicBezTo>
                  <a:pt x="5935381" y="904283"/>
                  <a:pt x="5934583" y="908276"/>
                  <a:pt x="5933118" y="911870"/>
                </a:cubicBezTo>
                <a:cubicBezTo>
                  <a:pt x="5931654" y="915597"/>
                  <a:pt x="5929524" y="918659"/>
                  <a:pt x="5926995" y="921321"/>
                </a:cubicBezTo>
                <a:cubicBezTo>
                  <a:pt x="5924333" y="923984"/>
                  <a:pt x="5921271" y="926114"/>
                  <a:pt x="5917677" y="927578"/>
                </a:cubicBezTo>
                <a:cubicBezTo>
                  <a:pt x="5914083" y="929042"/>
                  <a:pt x="5910222" y="929841"/>
                  <a:pt x="5905963" y="929841"/>
                </a:cubicBezTo>
                <a:cubicBezTo>
                  <a:pt x="5897044" y="929841"/>
                  <a:pt x="5889722" y="926912"/>
                  <a:pt x="5884130" y="921321"/>
                </a:cubicBezTo>
                <a:cubicBezTo>
                  <a:pt x="5878540" y="915731"/>
                  <a:pt x="5875744" y="908675"/>
                  <a:pt x="5875744" y="900156"/>
                </a:cubicBezTo>
                <a:cubicBezTo>
                  <a:pt x="5875744" y="891902"/>
                  <a:pt x="5878540" y="884847"/>
                  <a:pt x="5884130" y="879123"/>
                </a:cubicBezTo>
                <a:cubicBezTo>
                  <a:pt x="5889722" y="873399"/>
                  <a:pt x="5896910" y="870470"/>
                  <a:pt x="5905963" y="870470"/>
                </a:cubicBezTo>
                <a:close/>
                <a:moveTo>
                  <a:pt x="6341253" y="870470"/>
                </a:moveTo>
                <a:cubicBezTo>
                  <a:pt x="6345513" y="870470"/>
                  <a:pt x="6349373" y="871269"/>
                  <a:pt x="6352968" y="872999"/>
                </a:cubicBezTo>
                <a:cubicBezTo>
                  <a:pt x="6356695" y="874597"/>
                  <a:pt x="6359757" y="876726"/>
                  <a:pt x="6362286" y="879389"/>
                </a:cubicBezTo>
                <a:cubicBezTo>
                  <a:pt x="6364815" y="881918"/>
                  <a:pt x="6366945" y="885113"/>
                  <a:pt x="6368409" y="888707"/>
                </a:cubicBezTo>
                <a:cubicBezTo>
                  <a:pt x="6369874" y="892301"/>
                  <a:pt x="6370672" y="896161"/>
                  <a:pt x="6370672" y="900155"/>
                </a:cubicBezTo>
                <a:cubicBezTo>
                  <a:pt x="6370672" y="904282"/>
                  <a:pt x="6369874" y="908275"/>
                  <a:pt x="6368409" y="911870"/>
                </a:cubicBezTo>
                <a:cubicBezTo>
                  <a:pt x="6366811" y="915597"/>
                  <a:pt x="6364815" y="918659"/>
                  <a:pt x="6362286" y="921321"/>
                </a:cubicBezTo>
                <a:cubicBezTo>
                  <a:pt x="6359623" y="923984"/>
                  <a:pt x="6356562" y="926114"/>
                  <a:pt x="6352968" y="927578"/>
                </a:cubicBezTo>
                <a:cubicBezTo>
                  <a:pt x="6349373" y="929042"/>
                  <a:pt x="6345513" y="929841"/>
                  <a:pt x="6341253" y="929841"/>
                </a:cubicBezTo>
                <a:cubicBezTo>
                  <a:pt x="6332335" y="929841"/>
                  <a:pt x="6325013" y="926912"/>
                  <a:pt x="6319421" y="921321"/>
                </a:cubicBezTo>
                <a:cubicBezTo>
                  <a:pt x="6313830" y="915731"/>
                  <a:pt x="6311035" y="908675"/>
                  <a:pt x="6311035" y="900155"/>
                </a:cubicBezTo>
                <a:cubicBezTo>
                  <a:pt x="6311035" y="891902"/>
                  <a:pt x="6313830" y="884847"/>
                  <a:pt x="6319421" y="879123"/>
                </a:cubicBezTo>
                <a:cubicBezTo>
                  <a:pt x="6325013" y="873399"/>
                  <a:pt x="6332201" y="870470"/>
                  <a:pt x="6341253" y="870470"/>
                </a:cubicBezTo>
                <a:close/>
                <a:moveTo>
                  <a:pt x="6776544" y="870470"/>
                </a:moveTo>
                <a:cubicBezTo>
                  <a:pt x="6780670" y="870470"/>
                  <a:pt x="6784664" y="871269"/>
                  <a:pt x="6788258" y="872998"/>
                </a:cubicBezTo>
                <a:cubicBezTo>
                  <a:pt x="6791985" y="874596"/>
                  <a:pt x="6795047" y="876726"/>
                  <a:pt x="6797576" y="879389"/>
                </a:cubicBezTo>
                <a:cubicBezTo>
                  <a:pt x="6800105" y="881918"/>
                  <a:pt x="6802235" y="885113"/>
                  <a:pt x="6803699" y="888707"/>
                </a:cubicBezTo>
                <a:cubicBezTo>
                  <a:pt x="6805164" y="892301"/>
                  <a:pt x="6805963" y="896161"/>
                  <a:pt x="6805963" y="900155"/>
                </a:cubicBezTo>
                <a:cubicBezTo>
                  <a:pt x="6805963" y="904282"/>
                  <a:pt x="6805164" y="908275"/>
                  <a:pt x="6803699" y="911869"/>
                </a:cubicBezTo>
                <a:cubicBezTo>
                  <a:pt x="6802102" y="915597"/>
                  <a:pt x="6800105" y="918658"/>
                  <a:pt x="6797576" y="921321"/>
                </a:cubicBezTo>
                <a:cubicBezTo>
                  <a:pt x="6794914" y="923983"/>
                  <a:pt x="6791852" y="926114"/>
                  <a:pt x="6788258" y="927578"/>
                </a:cubicBezTo>
                <a:cubicBezTo>
                  <a:pt x="6784664" y="929042"/>
                  <a:pt x="6780803" y="929841"/>
                  <a:pt x="6776544" y="929841"/>
                </a:cubicBezTo>
                <a:cubicBezTo>
                  <a:pt x="6767625" y="929841"/>
                  <a:pt x="6760303" y="926912"/>
                  <a:pt x="6754711" y="921321"/>
                </a:cubicBezTo>
                <a:cubicBezTo>
                  <a:pt x="6749121" y="915730"/>
                  <a:pt x="6746325" y="908674"/>
                  <a:pt x="6746325" y="900155"/>
                </a:cubicBezTo>
                <a:cubicBezTo>
                  <a:pt x="6746325" y="891902"/>
                  <a:pt x="6749121" y="884847"/>
                  <a:pt x="6754711" y="879123"/>
                </a:cubicBezTo>
                <a:cubicBezTo>
                  <a:pt x="6760303" y="873399"/>
                  <a:pt x="6767492" y="870470"/>
                  <a:pt x="6776544" y="870470"/>
                </a:cubicBezTo>
                <a:close/>
                <a:moveTo>
                  <a:pt x="6558899" y="870470"/>
                </a:moveTo>
                <a:cubicBezTo>
                  <a:pt x="6563158" y="870470"/>
                  <a:pt x="6567019" y="871269"/>
                  <a:pt x="6570612" y="872999"/>
                </a:cubicBezTo>
                <a:cubicBezTo>
                  <a:pt x="6574340" y="874597"/>
                  <a:pt x="6577401" y="876726"/>
                  <a:pt x="6579930" y="879389"/>
                </a:cubicBezTo>
                <a:cubicBezTo>
                  <a:pt x="6582460" y="881918"/>
                  <a:pt x="6584590" y="885113"/>
                  <a:pt x="6586054" y="888707"/>
                </a:cubicBezTo>
                <a:cubicBezTo>
                  <a:pt x="6587518" y="892301"/>
                  <a:pt x="6588317" y="896161"/>
                  <a:pt x="6588317" y="900155"/>
                </a:cubicBezTo>
                <a:cubicBezTo>
                  <a:pt x="6588317" y="904282"/>
                  <a:pt x="6587518" y="908275"/>
                  <a:pt x="6586054" y="911869"/>
                </a:cubicBezTo>
                <a:cubicBezTo>
                  <a:pt x="6584457" y="915597"/>
                  <a:pt x="6582460" y="918658"/>
                  <a:pt x="6579930" y="921321"/>
                </a:cubicBezTo>
                <a:cubicBezTo>
                  <a:pt x="6577268" y="923983"/>
                  <a:pt x="6574207" y="926114"/>
                  <a:pt x="6570612" y="927578"/>
                </a:cubicBezTo>
                <a:cubicBezTo>
                  <a:pt x="6567019" y="929042"/>
                  <a:pt x="6563158" y="929841"/>
                  <a:pt x="6558899" y="929841"/>
                </a:cubicBezTo>
                <a:cubicBezTo>
                  <a:pt x="6549979" y="929841"/>
                  <a:pt x="6542658" y="926912"/>
                  <a:pt x="6537066" y="921321"/>
                </a:cubicBezTo>
                <a:cubicBezTo>
                  <a:pt x="6531476" y="915731"/>
                  <a:pt x="6528680" y="908675"/>
                  <a:pt x="6528680" y="900155"/>
                </a:cubicBezTo>
                <a:cubicBezTo>
                  <a:pt x="6528680" y="891902"/>
                  <a:pt x="6531476" y="884847"/>
                  <a:pt x="6537066" y="879123"/>
                </a:cubicBezTo>
                <a:cubicBezTo>
                  <a:pt x="6542658" y="873399"/>
                  <a:pt x="6549846" y="870470"/>
                  <a:pt x="6558899" y="870470"/>
                </a:cubicBezTo>
                <a:close/>
                <a:moveTo>
                  <a:pt x="7211701" y="870469"/>
                </a:moveTo>
                <a:cubicBezTo>
                  <a:pt x="7215960" y="870469"/>
                  <a:pt x="7219954" y="871268"/>
                  <a:pt x="7223415" y="872998"/>
                </a:cubicBezTo>
                <a:cubicBezTo>
                  <a:pt x="7227142" y="874596"/>
                  <a:pt x="7230204" y="876726"/>
                  <a:pt x="7232733" y="879389"/>
                </a:cubicBezTo>
                <a:cubicBezTo>
                  <a:pt x="7235262" y="881918"/>
                  <a:pt x="7237392" y="885113"/>
                  <a:pt x="7238856" y="888707"/>
                </a:cubicBezTo>
                <a:cubicBezTo>
                  <a:pt x="7240321" y="892301"/>
                  <a:pt x="7241120" y="896161"/>
                  <a:pt x="7241120" y="900155"/>
                </a:cubicBezTo>
                <a:cubicBezTo>
                  <a:pt x="7241120" y="904282"/>
                  <a:pt x="7240321" y="908275"/>
                  <a:pt x="7238856" y="911869"/>
                </a:cubicBezTo>
                <a:cubicBezTo>
                  <a:pt x="7237259" y="915596"/>
                  <a:pt x="7235262" y="918658"/>
                  <a:pt x="7232733" y="921320"/>
                </a:cubicBezTo>
                <a:cubicBezTo>
                  <a:pt x="7230071" y="923983"/>
                  <a:pt x="7227009" y="926114"/>
                  <a:pt x="7223415" y="927577"/>
                </a:cubicBezTo>
                <a:cubicBezTo>
                  <a:pt x="7219821" y="929041"/>
                  <a:pt x="7215960" y="929840"/>
                  <a:pt x="7211701" y="929840"/>
                </a:cubicBezTo>
                <a:cubicBezTo>
                  <a:pt x="7202782" y="929840"/>
                  <a:pt x="7195460" y="926912"/>
                  <a:pt x="7189868" y="921320"/>
                </a:cubicBezTo>
                <a:cubicBezTo>
                  <a:pt x="7184278" y="915730"/>
                  <a:pt x="7181482" y="908674"/>
                  <a:pt x="7181482" y="900155"/>
                </a:cubicBezTo>
                <a:cubicBezTo>
                  <a:pt x="7181482" y="891902"/>
                  <a:pt x="7184278" y="884847"/>
                  <a:pt x="7189868" y="879122"/>
                </a:cubicBezTo>
                <a:cubicBezTo>
                  <a:pt x="7195460" y="873398"/>
                  <a:pt x="7202649" y="870469"/>
                  <a:pt x="7211701" y="870469"/>
                </a:cubicBezTo>
                <a:close/>
                <a:moveTo>
                  <a:pt x="6994056" y="870469"/>
                </a:moveTo>
                <a:cubicBezTo>
                  <a:pt x="6998315" y="870469"/>
                  <a:pt x="7002309" y="871268"/>
                  <a:pt x="7005769" y="872998"/>
                </a:cubicBezTo>
                <a:cubicBezTo>
                  <a:pt x="7009497" y="874596"/>
                  <a:pt x="7012558" y="876726"/>
                  <a:pt x="7015087" y="879389"/>
                </a:cubicBezTo>
                <a:cubicBezTo>
                  <a:pt x="7017617" y="881918"/>
                  <a:pt x="7019747" y="885113"/>
                  <a:pt x="7021211" y="888707"/>
                </a:cubicBezTo>
                <a:cubicBezTo>
                  <a:pt x="7022675" y="892301"/>
                  <a:pt x="7023474" y="896161"/>
                  <a:pt x="7023474" y="900155"/>
                </a:cubicBezTo>
                <a:cubicBezTo>
                  <a:pt x="7023474" y="904282"/>
                  <a:pt x="7022675" y="908275"/>
                  <a:pt x="7021211" y="911869"/>
                </a:cubicBezTo>
                <a:cubicBezTo>
                  <a:pt x="7019614" y="915596"/>
                  <a:pt x="7017617" y="918658"/>
                  <a:pt x="7015087" y="921320"/>
                </a:cubicBezTo>
                <a:cubicBezTo>
                  <a:pt x="7012425" y="923983"/>
                  <a:pt x="7009364" y="926114"/>
                  <a:pt x="7005769" y="927577"/>
                </a:cubicBezTo>
                <a:cubicBezTo>
                  <a:pt x="7002176" y="929042"/>
                  <a:pt x="6998315" y="929841"/>
                  <a:pt x="6994056" y="929841"/>
                </a:cubicBezTo>
                <a:cubicBezTo>
                  <a:pt x="6985136" y="929841"/>
                  <a:pt x="6977815" y="926912"/>
                  <a:pt x="6972223" y="921320"/>
                </a:cubicBezTo>
                <a:cubicBezTo>
                  <a:pt x="6966632" y="915730"/>
                  <a:pt x="6963837" y="908674"/>
                  <a:pt x="6963837" y="900155"/>
                </a:cubicBezTo>
                <a:cubicBezTo>
                  <a:pt x="6963837" y="891902"/>
                  <a:pt x="6966632" y="884847"/>
                  <a:pt x="6972223" y="879122"/>
                </a:cubicBezTo>
                <a:cubicBezTo>
                  <a:pt x="6977815" y="873398"/>
                  <a:pt x="6985003" y="870469"/>
                  <a:pt x="6994056" y="870469"/>
                </a:cubicBezTo>
                <a:close/>
                <a:moveTo>
                  <a:pt x="7429345" y="870469"/>
                </a:moveTo>
                <a:cubicBezTo>
                  <a:pt x="7433605" y="870469"/>
                  <a:pt x="7437466" y="871268"/>
                  <a:pt x="7441059" y="872998"/>
                </a:cubicBezTo>
                <a:cubicBezTo>
                  <a:pt x="7444787" y="874596"/>
                  <a:pt x="7447848" y="876725"/>
                  <a:pt x="7450377" y="879388"/>
                </a:cubicBezTo>
                <a:cubicBezTo>
                  <a:pt x="7452907" y="881917"/>
                  <a:pt x="7455036" y="885112"/>
                  <a:pt x="7456501" y="888707"/>
                </a:cubicBezTo>
                <a:cubicBezTo>
                  <a:pt x="7457965" y="892301"/>
                  <a:pt x="7458764" y="896161"/>
                  <a:pt x="7458764" y="900155"/>
                </a:cubicBezTo>
                <a:cubicBezTo>
                  <a:pt x="7458764" y="904282"/>
                  <a:pt x="7457965" y="908275"/>
                  <a:pt x="7456501" y="911869"/>
                </a:cubicBezTo>
                <a:cubicBezTo>
                  <a:pt x="7454904" y="915596"/>
                  <a:pt x="7452907" y="918658"/>
                  <a:pt x="7450377" y="921320"/>
                </a:cubicBezTo>
                <a:cubicBezTo>
                  <a:pt x="7447715" y="923983"/>
                  <a:pt x="7444654" y="926113"/>
                  <a:pt x="7441059" y="927577"/>
                </a:cubicBezTo>
                <a:cubicBezTo>
                  <a:pt x="7437466" y="929041"/>
                  <a:pt x="7433605" y="929840"/>
                  <a:pt x="7429345" y="929840"/>
                </a:cubicBezTo>
                <a:cubicBezTo>
                  <a:pt x="7420426" y="929840"/>
                  <a:pt x="7413105" y="926911"/>
                  <a:pt x="7407513" y="921320"/>
                </a:cubicBezTo>
                <a:cubicBezTo>
                  <a:pt x="7401922" y="915730"/>
                  <a:pt x="7399127" y="908674"/>
                  <a:pt x="7399127" y="900155"/>
                </a:cubicBezTo>
                <a:cubicBezTo>
                  <a:pt x="7399127" y="891902"/>
                  <a:pt x="7401922" y="884846"/>
                  <a:pt x="7407513" y="879122"/>
                </a:cubicBezTo>
                <a:cubicBezTo>
                  <a:pt x="7413105" y="873398"/>
                  <a:pt x="7420293" y="870469"/>
                  <a:pt x="7429345" y="870469"/>
                </a:cubicBezTo>
                <a:close/>
                <a:moveTo>
                  <a:pt x="7646991" y="870469"/>
                </a:moveTo>
                <a:cubicBezTo>
                  <a:pt x="7651250" y="870469"/>
                  <a:pt x="7655111" y="871268"/>
                  <a:pt x="7658705" y="872998"/>
                </a:cubicBezTo>
                <a:cubicBezTo>
                  <a:pt x="7662432" y="874596"/>
                  <a:pt x="7665493" y="876725"/>
                  <a:pt x="7668022" y="879388"/>
                </a:cubicBezTo>
                <a:cubicBezTo>
                  <a:pt x="7670552" y="881917"/>
                  <a:pt x="7672682" y="885112"/>
                  <a:pt x="7674146" y="888707"/>
                </a:cubicBezTo>
                <a:cubicBezTo>
                  <a:pt x="7675610" y="892300"/>
                  <a:pt x="7676409" y="896161"/>
                  <a:pt x="7676409" y="900155"/>
                </a:cubicBezTo>
                <a:cubicBezTo>
                  <a:pt x="7676409" y="904282"/>
                  <a:pt x="7675610" y="908275"/>
                  <a:pt x="7674146" y="911869"/>
                </a:cubicBezTo>
                <a:cubicBezTo>
                  <a:pt x="7672549" y="915596"/>
                  <a:pt x="7670552" y="918658"/>
                  <a:pt x="7668022" y="921320"/>
                </a:cubicBezTo>
                <a:cubicBezTo>
                  <a:pt x="7665361" y="923983"/>
                  <a:pt x="7662299" y="926113"/>
                  <a:pt x="7658705" y="927577"/>
                </a:cubicBezTo>
                <a:cubicBezTo>
                  <a:pt x="7655111" y="929041"/>
                  <a:pt x="7651250" y="929840"/>
                  <a:pt x="7646991" y="929840"/>
                </a:cubicBezTo>
                <a:cubicBezTo>
                  <a:pt x="7638071" y="929840"/>
                  <a:pt x="7630750" y="926911"/>
                  <a:pt x="7625158" y="921320"/>
                </a:cubicBezTo>
                <a:cubicBezTo>
                  <a:pt x="7619568" y="915730"/>
                  <a:pt x="7616772" y="908674"/>
                  <a:pt x="7616772" y="900155"/>
                </a:cubicBezTo>
                <a:cubicBezTo>
                  <a:pt x="7616772" y="891902"/>
                  <a:pt x="7619568" y="884846"/>
                  <a:pt x="7625158" y="879122"/>
                </a:cubicBezTo>
                <a:cubicBezTo>
                  <a:pt x="7630750" y="873398"/>
                  <a:pt x="7637939" y="870469"/>
                  <a:pt x="7646991" y="870469"/>
                </a:cubicBezTo>
                <a:close/>
                <a:moveTo>
                  <a:pt x="8082281" y="870469"/>
                </a:moveTo>
                <a:cubicBezTo>
                  <a:pt x="8086407" y="870469"/>
                  <a:pt x="8090401" y="871268"/>
                  <a:pt x="8094127" y="872998"/>
                </a:cubicBezTo>
                <a:cubicBezTo>
                  <a:pt x="8097855" y="874596"/>
                  <a:pt x="8100916" y="876725"/>
                  <a:pt x="8103446" y="879388"/>
                </a:cubicBezTo>
                <a:cubicBezTo>
                  <a:pt x="8105975" y="881917"/>
                  <a:pt x="8108104" y="885112"/>
                  <a:pt x="8109569" y="888706"/>
                </a:cubicBezTo>
                <a:cubicBezTo>
                  <a:pt x="8111033" y="892300"/>
                  <a:pt x="8111832" y="896160"/>
                  <a:pt x="8111832" y="900155"/>
                </a:cubicBezTo>
                <a:cubicBezTo>
                  <a:pt x="8111832" y="904282"/>
                  <a:pt x="8111033" y="908275"/>
                  <a:pt x="8109569" y="911869"/>
                </a:cubicBezTo>
                <a:cubicBezTo>
                  <a:pt x="8107972" y="915596"/>
                  <a:pt x="8105975" y="918658"/>
                  <a:pt x="8103446" y="921320"/>
                </a:cubicBezTo>
                <a:cubicBezTo>
                  <a:pt x="8100783" y="923983"/>
                  <a:pt x="8097722" y="926113"/>
                  <a:pt x="8094127" y="927577"/>
                </a:cubicBezTo>
                <a:cubicBezTo>
                  <a:pt x="8090401" y="929041"/>
                  <a:pt x="8086540" y="929840"/>
                  <a:pt x="8082281" y="929840"/>
                </a:cubicBezTo>
                <a:cubicBezTo>
                  <a:pt x="8073361" y="929840"/>
                  <a:pt x="8066040" y="926911"/>
                  <a:pt x="8060448" y="921320"/>
                </a:cubicBezTo>
                <a:cubicBezTo>
                  <a:pt x="8054857" y="915730"/>
                  <a:pt x="8052062" y="908674"/>
                  <a:pt x="8052062" y="900155"/>
                </a:cubicBezTo>
                <a:cubicBezTo>
                  <a:pt x="8052062" y="891901"/>
                  <a:pt x="8054857" y="884846"/>
                  <a:pt x="8060448" y="879122"/>
                </a:cubicBezTo>
                <a:cubicBezTo>
                  <a:pt x="8066040" y="873398"/>
                  <a:pt x="8073228" y="870469"/>
                  <a:pt x="8082281" y="870469"/>
                </a:cubicBezTo>
                <a:close/>
                <a:moveTo>
                  <a:pt x="7864636" y="870469"/>
                </a:moveTo>
                <a:cubicBezTo>
                  <a:pt x="7868762" y="870469"/>
                  <a:pt x="7872756" y="871268"/>
                  <a:pt x="7876483" y="872998"/>
                </a:cubicBezTo>
                <a:cubicBezTo>
                  <a:pt x="7880210" y="874596"/>
                  <a:pt x="7883272" y="876725"/>
                  <a:pt x="7885802" y="879388"/>
                </a:cubicBezTo>
                <a:cubicBezTo>
                  <a:pt x="7888331" y="881917"/>
                  <a:pt x="7890460" y="885112"/>
                  <a:pt x="7891924" y="888706"/>
                </a:cubicBezTo>
                <a:cubicBezTo>
                  <a:pt x="7893389" y="892300"/>
                  <a:pt x="7894188" y="896161"/>
                  <a:pt x="7894188" y="900155"/>
                </a:cubicBezTo>
                <a:cubicBezTo>
                  <a:pt x="7894188" y="904282"/>
                  <a:pt x="7893389" y="908275"/>
                  <a:pt x="7891924" y="911869"/>
                </a:cubicBezTo>
                <a:cubicBezTo>
                  <a:pt x="7890327" y="915596"/>
                  <a:pt x="7888331" y="918658"/>
                  <a:pt x="7885802" y="921320"/>
                </a:cubicBezTo>
                <a:cubicBezTo>
                  <a:pt x="7883139" y="923983"/>
                  <a:pt x="7880078" y="926113"/>
                  <a:pt x="7876483" y="927577"/>
                </a:cubicBezTo>
                <a:cubicBezTo>
                  <a:pt x="7872756" y="929041"/>
                  <a:pt x="7868895" y="929840"/>
                  <a:pt x="7864636" y="929840"/>
                </a:cubicBezTo>
                <a:cubicBezTo>
                  <a:pt x="7855717" y="929840"/>
                  <a:pt x="7848396" y="926911"/>
                  <a:pt x="7842803" y="921320"/>
                </a:cubicBezTo>
                <a:cubicBezTo>
                  <a:pt x="7837213" y="915730"/>
                  <a:pt x="7834417" y="908674"/>
                  <a:pt x="7834417" y="900155"/>
                </a:cubicBezTo>
                <a:cubicBezTo>
                  <a:pt x="7834417" y="891901"/>
                  <a:pt x="7837213" y="884846"/>
                  <a:pt x="7842803" y="879122"/>
                </a:cubicBezTo>
                <a:cubicBezTo>
                  <a:pt x="7848396" y="873398"/>
                  <a:pt x="7855584" y="870469"/>
                  <a:pt x="7864636" y="870469"/>
                </a:cubicBezTo>
                <a:close/>
                <a:moveTo>
                  <a:pt x="8299793" y="870469"/>
                </a:moveTo>
                <a:cubicBezTo>
                  <a:pt x="8304052" y="870469"/>
                  <a:pt x="8308046" y="871268"/>
                  <a:pt x="8311507" y="872998"/>
                </a:cubicBezTo>
                <a:cubicBezTo>
                  <a:pt x="8315235" y="874596"/>
                  <a:pt x="8318296" y="876725"/>
                  <a:pt x="8320825" y="879388"/>
                </a:cubicBezTo>
                <a:cubicBezTo>
                  <a:pt x="8323354" y="881917"/>
                  <a:pt x="8325484" y="885112"/>
                  <a:pt x="8326948" y="888706"/>
                </a:cubicBezTo>
                <a:cubicBezTo>
                  <a:pt x="8328413" y="892300"/>
                  <a:pt x="8329212" y="896160"/>
                  <a:pt x="8329212" y="900155"/>
                </a:cubicBezTo>
                <a:cubicBezTo>
                  <a:pt x="8329212" y="904282"/>
                  <a:pt x="8328413" y="908274"/>
                  <a:pt x="8326948" y="911869"/>
                </a:cubicBezTo>
                <a:cubicBezTo>
                  <a:pt x="8325351" y="915596"/>
                  <a:pt x="8323354" y="918658"/>
                  <a:pt x="8320825" y="921320"/>
                </a:cubicBezTo>
                <a:cubicBezTo>
                  <a:pt x="8318163" y="923983"/>
                  <a:pt x="8315101" y="926113"/>
                  <a:pt x="8311507" y="927577"/>
                </a:cubicBezTo>
                <a:cubicBezTo>
                  <a:pt x="8307913" y="929041"/>
                  <a:pt x="8304052" y="929840"/>
                  <a:pt x="8299793" y="929840"/>
                </a:cubicBezTo>
                <a:cubicBezTo>
                  <a:pt x="8290874" y="929840"/>
                  <a:pt x="8283553" y="926911"/>
                  <a:pt x="8277960" y="921320"/>
                </a:cubicBezTo>
                <a:cubicBezTo>
                  <a:pt x="8272370" y="915730"/>
                  <a:pt x="8269574" y="908674"/>
                  <a:pt x="8269574" y="900155"/>
                </a:cubicBezTo>
                <a:cubicBezTo>
                  <a:pt x="8269574" y="891901"/>
                  <a:pt x="8272370" y="884846"/>
                  <a:pt x="8277960" y="879122"/>
                </a:cubicBezTo>
                <a:cubicBezTo>
                  <a:pt x="8283553" y="873398"/>
                  <a:pt x="8290741" y="870469"/>
                  <a:pt x="8299793" y="870469"/>
                </a:cubicBezTo>
                <a:close/>
                <a:moveTo>
                  <a:pt x="8517438" y="870469"/>
                </a:moveTo>
                <a:cubicBezTo>
                  <a:pt x="8521698" y="870469"/>
                  <a:pt x="8525559" y="871268"/>
                  <a:pt x="8529152" y="872998"/>
                </a:cubicBezTo>
                <a:cubicBezTo>
                  <a:pt x="8532880" y="874596"/>
                  <a:pt x="8535941" y="876725"/>
                  <a:pt x="8538470" y="879388"/>
                </a:cubicBezTo>
                <a:cubicBezTo>
                  <a:pt x="8541000" y="881917"/>
                  <a:pt x="8543130" y="885112"/>
                  <a:pt x="8544594" y="888706"/>
                </a:cubicBezTo>
                <a:cubicBezTo>
                  <a:pt x="8546058" y="892300"/>
                  <a:pt x="8546857" y="896160"/>
                  <a:pt x="8546857" y="900154"/>
                </a:cubicBezTo>
                <a:cubicBezTo>
                  <a:pt x="8546857" y="904281"/>
                  <a:pt x="8546058" y="908274"/>
                  <a:pt x="8544594" y="911868"/>
                </a:cubicBezTo>
                <a:cubicBezTo>
                  <a:pt x="8542997" y="915596"/>
                  <a:pt x="8541000" y="918657"/>
                  <a:pt x="8538470" y="921320"/>
                </a:cubicBezTo>
                <a:cubicBezTo>
                  <a:pt x="8535808" y="923983"/>
                  <a:pt x="8532747" y="926113"/>
                  <a:pt x="8529152" y="927577"/>
                </a:cubicBezTo>
                <a:cubicBezTo>
                  <a:pt x="8525559" y="929041"/>
                  <a:pt x="8521698" y="929840"/>
                  <a:pt x="8517438" y="929840"/>
                </a:cubicBezTo>
                <a:cubicBezTo>
                  <a:pt x="8508385" y="929840"/>
                  <a:pt x="8501197" y="926911"/>
                  <a:pt x="8495606" y="921320"/>
                </a:cubicBezTo>
                <a:cubicBezTo>
                  <a:pt x="8490015" y="915730"/>
                  <a:pt x="8487220" y="908674"/>
                  <a:pt x="8487220" y="900154"/>
                </a:cubicBezTo>
                <a:cubicBezTo>
                  <a:pt x="8487220" y="891901"/>
                  <a:pt x="8490015" y="884846"/>
                  <a:pt x="8495606" y="879122"/>
                </a:cubicBezTo>
                <a:cubicBezTo>
                  <a:pt x="8501197" y="873398"/>
                  <a:pt x="8508385" y="870469"/>
                  <a:pt x="8517438" y="870469"/>
                </a:cubicBezTo>
                <a:close/>
                <a:moveTo>
                  <a:pt x="8735083" y="870469"/>
                </a:moveTo>
                <a:cubicBezTo>
                  <a:pt x="8739342" y="870469"/>
                  <a:pt x="8743203" y="871268"/>
                  <a:pt x="8746797" y="872998"/>
                </a:cubicBezTo>
                <a:cubicBezTo>
                  <a:pt x="8750391" y="874596"/>
                  <a:pt x="8753586" y="876725"/>
                  <a:pt x="8756115" y="879388"/>
                </a:cubicBezTo>
                <a:cubicBezTo>
                  <a:pt x="8758644" y="881917"/>
                  <a:pt x="8760774" y="885112"/>
                  <a:pt x="8762238" y="888706"/>
                </a:cubicBezTo>
                <a:cubicBezTo>
                  <a:pt x="8763702" y="892300"/>
                  <a:pt x="8764502" y="896160"/>
                  <a:pt x="8764502" y="900154"/>
                </a:cubicBezTo>
                <a:cubicBezTo>
                  <a:pt x="8764502" y="904281"/>
                  <a:pt x="8763702" y="908274"/>
                  <a:pt x="8762238" y="911868"/>
                </a:cubicBezTo>
                <a:cubicBezTo>
                  <a:pt x="8760641" y="915596"/>
                  <a:pt x="8758644" y="918657"/>
                  <a:pt x="8756115" y="921320"/>
                </a:cubicBezTo>
                <a:cubicBezTo>
                  <a:pt x="8753453" y="923983"/>
                  <a:pt x="8750391" y="926113"/>
                  <a:pt x="8746797" y="927577"/>
                </a:cubicBezTo>
                <a:cubicBezTo>
                  <a:pt x="8743203" y="929041"/>
                  <a:pt x="8739342" y="929840"/>
                  <a:pt x="8735083" y="929840"/>
                </a:cubicBezTo>
                <a:cubicBezTo>
                  <a:pt x="8726030" y="929840"/>
                  <a:pt x="8718841" y="926911"/>
                  <a:pt x="8713250" y="921320"/>
                </a:cubicBezTo>
                <a:cubicBezTo>
                  <a:pt x="8707660" y="915730"/>
                  <a:pt x="8704864" y="908674"/>
                  <a:pt x="8704864" y="900154"/>
                </a:cubicBezTo>
                <a:cubicBezTo>
                  <a:pt x="8704864" y="891901"/>
                  <a:pt x="8707660" y="884846"/>
                  <a:pt x="8713250" y="879122"/>
                </a:cubicBezTo>
                <a:cubicBezTo>
                  <a:pt x="8718841" y="873398"/>
                  <a:pt x="8726030" y="870469"/>
                  <a:pt x="8735083" y="870469"/>
                </a:cubicBezTo>
                <a:close/>
                <a:moveTo>
                  <a:pt x="8952728" y="870469"/>
                </a:moveTo>
                <a:cubicBezTo>
                  <a:pt x="8956988" y="870469"/>
                  <a:pt x="8960849" y="871268"/>
                  <a:pt x="8964442" y="872998"/>
                </a:cubicBezTo>
                <a:cubicBezTo>
                  <a:pt x="8968037" y="874596"/>
                  <a:pt x="8971231" y="876725"/>
                  <a:pt x="8973760" y="879388"/>
                </a:cubicBezTo>
                <a:cubicBezTo>
                  <a:pt x="8976290" y="881917"/>
                  <a:pt x="8978419" y="885112"/>
                  <a:pt x="8979884" y="888706"/>
                </a:cubicBezTo>
                <a:cubicBezTo>
                  <a:pt x="8981348" y="892300"/>
                  <a:pt x="8982147" y="896160"/>
                  <a:pt x="8982147" y="900154"/>
                </a:cubicBezTo>
                <a:cubicBezTo>
                  <a:pt x="8982147" y="904281"/>
                  <a:pt x="8981348" y="908274"/>
                  <a:pt x="8979884" y="911868"/>
                </a:cubicBezTo>
                <a:cubicBezTo>
                  <a:pt x="8978287" y="915596"/>
                  <a:pt x="8976290" y="918657"/>
                  <a:pt x="8973760" y="921320"/>
                </a:cubicBezTo>
                <a:cubicBezTo>
                  <a:pt x="8971098" y="923983"/>
                  <a:pt x="8968037" y="926113"/>
                  <a:pt x="8964442" y="927577"/>
                </a:cubicBezTo>
                <a:cubicBezTo>
                  <a:pt x="8960849" y="929041"/>
                  <a:pt x="8956988" y="929840"/>
                  <a:pt x="8952728" y="929840"/>
                </a:cubicBezTo>
                <a:cubicBezTo>
                  <a:pt x="8943808" y="929840"/>
                  <a:pt x="8936487" y="926911"/>
                  <a:pt x="8930896" y="921320"/>
                </a:cubicBezTo>
                <a:cubicBezTo>
                  <a:pt x="8925305" y="915729"/>
                  <a:pt x="8922510" y="908673"/>
                  <a:pt x="8922510" y="900154"/>
                </a:cubicBezTo>
                <a:cubicBezTo>
                  <a:pt x="8922510" y="891901"/>
                  <a:pt x="8925305" y="884846"/>
                  <a:pt x="8930896" y="879122"/>
                </a:cubicBezTo>
                <a:cubicBezTo>
                  <a:pt x="8936487" y="873398"/>
                  <a:pt x="8943675" y="870469"/>
                  <a:pt x="8952728" y="870469"/>
                </a:cubicBezTo>
                <a:close/>
                <a:moveTo>
                  <a:pt x="9387885" y="870468"/>
                </a:moveTo>
                <a:cubicBezTo>
                  <a:pt x="9392145" y="870468"/>
                  <a:pt x="9396138" y="871267"/>
                  <a:pt x="9399599" y="872997"/>
                </a:cubicBezTo>
                <a:cubicBezTo>
                  <a:pt x="9403194" y="874595"/>
                  <a:pt x="9406388" y="876725"/>
                  <a:pt x="9408917" y="879388"/>
                </a:cubicBezTo>
                <a:cubicBezTo>
                  <a:pt x="9411447" y="881917"/>
                  <a:pt x="9413576" y="885112"/>
                  <a:pt x="9415041" y="888706"/>
                </a:cubicBezTo>
                <a:cubicBezTo>
                  <a:pt x="9416505" y="892300"/>
                  <a:pt x="9417304" y="896160"/>
                  <a:pt x="9417304" y="900154"/>
                </a:cubicBezTo>
                <a:cubicBezTo>
                  <a:pt x="9417304" y="904281"/>
                  <a:pt x="9416505" y="908274"/>
                  <a:pt x="9415041" y="911868"/>
                </a:cubicBezTo>
                <a:cubicBezTo>
                  <a:pt x="9413444" y="915595"/>
                  <a:pt x="9411447" y="918657"/>
                  <a:pt x="9408917" y="921319"/>
                </a:cubicBezTo>
                <a:cubicBezTo>
                  <a:pt x="9406255" y="923982"/>
                  <a:pt x="9403194" y="926113"/>
                  <a:pt x="9399599" y="927577"/>
                </a:cubicBezTo>
                <a:cubicBezTo>
                  <a:pt x="9396005" y="929041"/>
                  <a:pt x="9392145" y="929839"/>
                  <a:pt x="9387885" y="929839"/>
                </a:cubicBezTo>
                <a:cubicBezTo>
                  <a:pt x="9378965" y="929839"/>
                  <a:pt x="9371644" y="926911"/>
                  <a:pt x="9366053" y="921319"/>
                </a:cubicBezTo>
                <a:cubicBezTo>
                  <a:pt x="9360462" y="915729"/>
                  <a:pt x="9357667" y="908673"/>
                  <a:pt x="9357667" y="900154"/>
                </a:cubicBezTo>
                <a:cubicBezTo>
                  <a:pt x="9357667" y="891901"/>
                  <a:pt x="9360462" y="884846"/>
                  <a:pt x="9366053" y="879122"/>
                </a:cubicBezTo>
                <a:cubicBezTo>
                  <a:pt x="9371644" y="873397"/>
                  <a:pt x="9378832" y="870468"/>
                  <a:pt x="9387885" y="870468"/>
                </a:cubicBezTo>
                <a:close/>
                <a:moveTo>
                  <a:pt x="9170374" y="870468"/>
                </a:moveTo>
                <a:cubicBezTo>
                  <a:pt x="9174500" y="870468"/>
                  <a:pt x="9178494" y="871267"/>
                  <a:pt x="9182088" y="872998"/>
                </a:cubicBezTo>
                <a:cubicBezTo>
                  <a:pt x="9185682" y="874596"/>
                  <a:pt x="9188876" y="876725"/>
                  <a:pt x="9191405" y="879388"/>
                </a:cubicBezTo>
                <a:cubicBezTo>
                  <a:pt x="9193935" y="881917"/>
                  <a:pt x="9196065" y="885112"/>
                  <a:pt x="9197529" y="888706"/>
                </a:cubicBezTo>
                <a:cubicBezTo>
                  <a:pt x="9198993" y="892300"/>
                  <a:pt x="9199792" y="896160"/>
                  <a:pt x="9199792" y="900154"/>
                </a:cubicBezTo>
                <a:cubicBezTo>
                  <a:pt x="9199792" y="904281"/>
                  <a:pt x="9198993" y="908274"/>
                  <a:pt x="9197529" y="911868"/>
                </a:cubicBezTo>
                <a:cubicBezTo>
                  <a:pt x="9195932" y="915595"/>
                  <a:pt x="9193935" y="918657"/>
                  <a:pt x="9191405" y="921320"/>
                </a:cubicBezTo>
                <a:cubicBezTo>
                  <a:pt x="9188744" y="923982"/>
                  <a:pt x="9185682" y="926113"/>
                  <a:pt x="9182088" y="927577"/>
                </a:cubicBezTo>
                <a:cubicBezTo>
                  <a:pt x="9178494" y="929041"/>
                  <a:pt x="9174633" y="929839"/>
                  <a:pt x="9170374" y="929839"/>
                </a:cubicBezTo>
                <a:cubicBezTo>
                  <a:pt x="9161453" y="929839"/>
                  <a:pt x="9154132" y="926911"/>
                  <a:pt x="9148541" y="921320"/>
                </a:cubicBezTo>
                <a:cubicBezTo>
                  <a:pt x="9142951" y="915729"/>
                  <a:pt x="9140155" y="908673"/>
                  <a:pt x="9140155" y="900154"/>
                </a:cubicBezTo>
                <a:cubicBezTo>
                  <a:pt x="9140155" y="891901"/>
                  <a:pt x="9142951" y="884846"/>
                  <a:pt x="9148541" y="879122"/>
                </a:cubicBezTo>
                <a:cubicBezTo>
                  <a:pt x="9154132" y="873398"/>
                  <a:pt x="9161321" y="870468"/>
                  <a:pt x="9170374" y="870468"/>
                </a:cubicBezTo>
                <a:close/>
                <a:moveTo>
                  <a:pt x="9605531" y="870468"/>
                </a:moveTo>
                <a:cubicBezTo>
                  <a:pt x="9609790" y="870468"/>
                  <a:pt x="9613784" y="871267"/>
                  <a:pt x="9617245" y="872997"/>
                </a:cubicBezTo>
                <a:cubicBezTo>
                  <a:pt x="9620839" y="874595"/>
                  <a:pt x="9624033" y="876724"/>
                  <a:pt x="9626562" y="879387"/>
                </a:cubicBezTo>
                <a:cubicBezTo>
                  <a:pt x="9629092" y="881917"/>
                  <a:pt x="9631222" y="885112"/>
                  <a:pt x="9632686" y="888706"/>
                </a:cubicBezTo>
                <a:cubicBezTo>
                  <a:pt x="9634150" y="892300"/>
                  <a:pt x="9634949" y="896160"/>
                  <a:pt x="9634949" y="900154"/>
                </a:cubicBezTo>
                <a:cubicBezTo>
                  <a:pt x="9634949" y="904281"/>
                  <a:pt x="9634150" y="908274"/>
                  <a:pt x="9632686" y="911868"/>
                </a:cubicBezTo>
                <a:cubicBezTo>
                  <a:pt x="9631089" y="915595"/>
                  <a:pt x="9629092" y="918657"/>
                  <a:pt x="9626562" y="921319"/>
                </a:cubicBezTo>
                <a:cubicBezTo>
                  <a:pt x="9623901" y="923982"/>
                  <a:pt x="9620839" y="926112"/>
                  <a:pt x="9617245" y="927576"/>
                </a:cubicBezTo>
                <a:cubicBezTo>
                  <a:pt x="9613651" y="929040"/>
                  <a:pt x="9609790" y="929839"/>
                  <a:pt x="9605531" y="929839"/>
                </a:cubicBezTo>
                <a:cubicBezTo>
                  <a:pt x="9596610" y="929839"/>
                  <a:pt x="9589289" y="926911"/>
                  <a:pt x="9583698" y="921319"/>
                </a:cubicBezTo>
                <a:cubicBezTo>
                  <a:pt x="9578108" y="915729"/>
                  <a:pt x="9575312" y="908673"/>
                  <a:pt x="9575312" y="900154"/>
                </a:cubicBezTo>
                <a:cubicBezTo>
                  <a:pt x="9575312" y="891901"/>
                  <a:pt x="9578108" y="884846"/>
                  <a:pt x="9583698" y="879121"/>
                </a:cubicBezTo>
                <a:cubicBezTo>
                  <a:pt x="9589289" y="873397"/>
                  <a:pt x="9596478" y="870468"/>
                  <a:pt x="9605531" y="870468"/>
                </a:cubicBezTo>
                <a:close/>
                <a:moveTo>
                  <a:pt x="10040820" y="870468"/>
                </a:moveTo>
                <a:cubicBezTo>
                  <a:pt x="10045080" y="870468"/>
                  <a:pt x="10048941" y="871267"/>
                  <a:pt x="10052534" y="872997"/>
                </a:cubicBezTo>
                <a:cubicBezTo>
                  <a:pt x="10056129" y="874595"/>
                  <a:pt x="10059323" y="876724"/>
                  <a:pt x="10061852" y="879387"/>
                </a:cubicBezTo>
                <a:cubicBezTo>
                  <a:pt x="10064382" y="881916"/>
                  <a:pt x="10066512" y="885111"/>
                  <a:pt x="10067976" y="888705"/>
                </a:cubicBezTo>
                <a:cubicBezTo>
                  <a:pt x="10069440" y="892299"/>
                  <a:pt x="10070239" y="896160"/>
                  <a:pt x="10070239" y="900154"/>
                </a:cubicBezTo>
                <a:cubicBezTo>
                  <a:pt x="10070239" y="904281"/>
                  <a:pt x="10069440" y="908274"/>
                  <a:pt x="10067976" y="911868"/>
                </a:cubicBezTo>
                <a:cubicBezTo>
                  <a:pt x="10066379" y="915595"/>
                  <a:pt x="10064382" y="918657"/>
                  <a:pt x="10061852" y="921319"/>
                </a:cubicBezTo>
                <a:cubicBezTo>
                  <a:pt x="10059190" y="923982"/>
                  <a:pt x="10056129" y="926112"/>
                  <a:pt x="10052534" y="927576"/>
                </a:cubicBezTo>
                <a:cubicBezTo>
                  <a:pt x="10048941" y="929040"/>
                  <a:pt x="10045080" y="929839"/>
                  <a:pt x="10040820" y="929839"/>
                </a:cubicBezTo>
                <a:cubicBezTo>
                  <a:pt x="10031767" y="929839"/>
                  <a:pt x="10024579" y="926910"/>
                  <a:pt x="10018988" y="921319"/>
                </a:cubicBezTo>
                <a:cubicBezTo>
                  <a:pt x="10013397" y="915729"/>
                  <a:pt x="10010602" y="908673"/>
                  <a:pt x="10010602" y="900154"/>
                </a:cubicBezTo>
                <a:cubicBezTo>
                  <a:pt x="10010602" y="891900"/>
                  <a:pt x="10013397" y="884845"/>
                  <a:pt x="10018988" y="879121"/>
                </a:cubicBezTo>
                <a:cubicBezTo>
                  <a:pt x="10024579" y="873397"/>
                  <a:pt x="10031767" y="870468"/>
                  <a:pt x="10040820" y="870468"/>
                </a:cubicBezTo>
                <a:close/>
                <a:moveTo>
                  <a:pt x="9823176" y="870468"/>
                </a:moveTo>
                <a:cubicBezTo>
                  <a:pt x="9827435" y="870468"/>
                  <a:pt x="9831296" y="871267"/>
                  <a:pt x="9834890" y="872997"/>
                </a:cubicBezTo>
                <a:cubicBezTo>
                  <a:pt x="9838617" y="874595"/>
                  <a:pt x="9841679" y="876724"/>
                  <a:pt x="9844208" y="879387"/>
                </a:cubicBezTo>
                <a:cubicBezTo>
                  <a:pt x="9846737" y="881916"/>
                  <a:pt x="9848867" y="885112"/>
                  <a:pt x="9850331" y="888706"/>
                </a:cubicBezTo>
                <a:cubicBezTo>
                  <a:pt x="9851796" y="892300"/>
                  <a:pt x="9852595" y="896160"/>
                  <a:pt x="9852595" y="900154"/>
                </a:cubicBezTo>
                <a:cubicBezTo>
                  <a:pt x="9852595" y="904281"/>
                  <a:pt x="9851796" y="908274"/>
                  <a:pt x="9850331" y="911868"/>
                </a:cubicBezTo>
                <a:cubicBezTo>
                  <a:pt x="9848734" y="915595"/>
                  <a:pt x="9846737" y="918657"/>
                  <a:pt x="9844208" y="921319"/>
                </a:cubicBezTo>
                <a:cubicBezTo>
                  <a:pt x="9841546" y="923982"/>
                  <a:pt x="9838484" y="926112"/>
                  <a:pt x="9834890" y="927576"/>
                </a:cubicBezTo>
                <a:cubicBezTo>
                  <a:pt x="9831296" y="929040"/>
                  <a:pt x="9827435" y="929839"/>
                  <a:pt x="9823176" y="929839"/>
                </a:cubicBezTo>
                <a:cubicBezTo>
                  <a:pt x="9814123" y="929839"/>
                  <a:pt x="9806935" y="926910"/>
                  <a:pt x="9801343" y="921319"/>
                </a:cubicBezTo>
                <a:cubicBezTo>
                  <a:pt x="9795753" y="915729"/>
                  <a:pt x="9792957" y="908673"/>
                  <a:pt x="9792957" y="900154"/>
                </a:cubicBezTo>
                <a:cubicBezTo>
                  <a:pt x="9792957" y="891901"/>
                  <a:pt x="9795753" y="884846"/>
                  <a:pt x="9801343" y="879121"/>
                </a:cubicBezTo>
                <a:cubicBezTo>
                  <a:pt x="9806935" y="873397"/>
                  <a:pt x="9814123" y="870468"/>
                  <a:pt x="9823176" y="870468"/>
                </a:cubicBezTo>
                <a:close/>
                <a:moveTo>
                  <a:pt x="10475977" y="870468"/>
                </a:moveTo>
                <a:cubicBezTo>
                  <a:pt x="10480237" y="870468"/>
                  <a:pt x="10484230" y="871267"/>
                  <a:pt x="10487824" y="872997"/>
                </a:cubicBezTo>
                <a:cubicBezTo>
                  <a:pt x="10491419" y="874595"/>
                  <a:pt x="10494613" y="876724"/>
                  <a:pt x="10497143" y="879387"/>
                </a:cubicBezTo>
                <a:cubicBezTo>
                  <a:pt x="10499672" y="881916"/>
                  <a:pt x="10501801" y="885111"/>
                  <a:pt x="10503266" y="888705"/>
                </a:cubicBezTo>
                <a:cubicBezTo>
                  <a:pt x="10504730" y="892299"/>
                  <a:pt x="10505529" y="896159"/>
                  <a:pt x="10505529" y="900153"/>
                </a:cubicBezTo>
                <a:cubicBezTo>
                  <a:pt x="10505529" y="904280"/>
                  <a:pt x="10504730" y="908273"/>
                  <a:pt x="10503266" y="911868"/>
                </a:cubicBezTo>
                <a:cubicBezTo>
                  <a:pt x="10501669" y="915595"/>
                  <a:pt x="10499672" y="918657"/>
                  <a:pt x="10497143" y="921319"/>
                </a:cubicBezTo>
                <a:cubicBezTo>
                  <a:pt x="10494480" y="923982"/>
                  <a:pt x="10491419" y="926112"/>
                  <a:pt x="10487824" y="927576"/>
                </a:cubicBezTo>
                <a:cubicBezTo>
                  <a:pt x="10484098" y="929040"/>
                  <a:pt x="10480237" y="929839"/>
                  <a:pt x="10475977" y="929839"/>
                </a:cubicBezTo>
                <a:cubicBezTo>
                  <a:pt x="10466924" y="929839"/>
                  <a:pt x="10459736" y="926910"/>
                  <a:pt x="10454145" y="921319"/>
                </a:cubicBezTo>
                <a:cubicBezTo>
                  <a:pt x="10448554" y="915729"/>
                  <a:pt x="10445759" y="908673"/>
                  <a:pt x="10445759" y="900153"/>
                </a:cubicBezTo>
                <a:cubicBezTo>
                  <a:pt x="10445759" y="891900"/>
                  <a:pt x="10448554" y="884845"/>
                  <a:pt x="10454145" y="879121"/>
                </a:cubicBezTo>
                <a:cubicBezTo>
                  <a:pt x="10459603" y="873397"/>
                  <a:pt x="10466924" y="870468"/>
                  <a:pt x="10475977" y="870468"/>
                </a:cubicBezTo>
                <a:close/>
                <a:moveTo>
                  <a:pt x="10258466" y="870468"/>
                </a:moveTo>
                <a:cubicBezTo>
                  <a:pt x="10262592" y="870468"/>
                  <a:pt x="10266586" y="871267"/>
                  <a:pt x="10270313" y="872997"/>
                </a:cubicBezTo>
                <a:cubicBezTo>
                  <a:pt x="10273907" y="874595"/>
                  <a:pt x="10277101" y="876724"/>
                  <a:pt x="10279631" y="879387"/>
                </a:cubicBezTo>
                <a:cubicBezTo>
                  <a:pt x="10282160" y="881916"/>
                  <a:pt x="10284290" y="885111"/>
                  <a:pt x="10285754" y="888705"/>
                </a:cubicBezTo>
                <a:cubicBezTo>
                  <a:pt x="10287218" y="892299"/>
                  <a:pt x="10288017" y="896159"/>
                  <a:pt x="10288017" y="900154"/>
                </a:cubicBezTo>
                <a:cubicBezTo>
                  <a:pt x="10288017" y="904281"/>
                  <a:pt x="10287218" y="908274"/>
                  <a:pt x="10285754" y="911868"/>
                </a:cubicBezTo>
                <a:cubicBezTo>
                  <a:pt x="10284157" y="915595"/>
                  <a:pt x="10282160" y="918657"/>
                  <a:pt x="10279631" y="921319"/>
                </a:cubicBezTo>
                <a:cubicBezTo>
                  <a:pt x="10276969" y="923982"/>
                  <a:pt x="10273907" y="926112"/>
                  <a:pt x="10270313" y="927576"/>
                </a:cubicBezTo>
                <a:cubicBezTo>
                  <a:pt x="10266586" y="929040"/>
                  <a:pt x="10262725" y="929839"/>
                  <a:pt x="10258466" y="929839"/>
                </a:cubicBezTo>
                <a:cubicBezTo>
                  <a:pt x="10249546" y="929839"/>
                  <a:pt x="10242224" y="926910"/>
                  <a:pt x="10236633" y="921319"/>
                </a:cubicBezTo>
                <a:cubicBezTo>
                  <a:pt x="10231043" y="915729"/>
                  <a:pt x="10228247" y="908673"/>
                  <a:pt x="10228247" y="900154"/>
                </a:cubicBezTo>
                <a:cubicBezTo>
                  <a:pt x="10228247" y="891900"/>
                  <a:pt x="10231043" y="884845"/>
                  <a:pt x="10236633" y="879121"/>
                </a:cubicBezTo>
                <a:cubicBezTo>
                  <a:pt x="10242092" y="873397"/>
                  <a:pt x="10249413" y="870468"/>
                  <a:pt x="10258466" y="870468"/>
                </a:cubicBezTo>
                <a:close/>
                <a:moveTo>
                  <a:pt x="30240" y="669329"/>
                </a:moveTo>
                <a:cubicBezTo>
                  <a:pt x="24383" y="669329"/>
                  <a:pt x="21854" y="671326"/>
                  <a:pt x="20256" y="672923"/>
                </a:cubicBezTo>
                <a:cubicBezTo>
                  <a:pt x="17727" y="675586"/>
                  <a:pt x="16662" y="678381"/>
                  <a:pt x="16662" y="682375"/>
                </a:cubicBezTo>
                <a:cubicBezTo>
                  <a:pt x="16662" y="686635"/>
                  <a:pt x="17727" y="689431"/>
                  <a:pt x="20256" y="691959"/>
                </a:cubicBezTo>
                <a:cubicBezTo>
                  <a:pt x="21854" y="693558"/>
                  <a:pt x="24383" y="695421"/>
                  <a:pt x="30240" y="695421"/>
                </a:cubicBezTo>
                <a:cubicBezTo>
                  <a:pt x="32370" y="695421"/>
                  <a:pt x="34101" y="695154"/>
                  <a:pt x="35565" y="694488"/>
                </a:cubicBezTo>
                <a:cubicBezTo>
                  <a:pt x="37029" y="693957"/>
                  <a:pt x="38361" y="693158"/>
                  <a:pt x="39292" y="692093"/>
                </a:cubicBezTo>
                <a:cubicBezTo>
                  <a:pt x="40357" y="691028"/>
                  <a:pt x="41289" y="689696"/>
                  <a:pt x="41955" y="687966"/>
                </a:cubicBezTo>
                <a:cubicBezTo>
                  <a:pt x="42620" y="686368"/>
                  <a:pt x="42886" y="684505"/>
                  <a:pt x="42886" y="682508"/>
                </a:cubicBezTo>
                <a:cubicBezTo>
                  <a:pt x="42886" y="680644"/>
                  <a:pt x="42620" y="678914"/>
                  <a:pt x="41955" y="677316"/>
                </a:cubicBezTo>
                <a:cubicBezTo>
                  <a:pt x="41289" y="675586"/>
                  <a:pt x="40357" y="674255"/>
                  <a:pt x="39292" y="673057"/>
                </a:cubicBezTo>
                <a:cubicBezTo>
                  <a:pt x="38227" y="671992"/>
                  <a:pt x="36896" y="671060"/>
                  <a:pt x="35299" y="670394"/>
                </a:cubicBezTo>
                <a:cubicBezTo>
                  <a:pt x="33835" y="669729"/>
                  <a:pt x="32237" y="669329"/>
                  <a:pt x="30240" y="669329"/>
                </a:cubicBezTo>
                <a:close/>
                <a:moveTo>
                  <a:pt x="465528" y="669329"/>
                </a:moveTo>
                <a:cubicBezTo>
                  <a:pt x="459671" y="669329"/>
                  <a:pt x="457142" y="671326"/>
                  <a:pt x="455545" y="672923"/>
                </a:cubicBezTo>
                <a:cubicBezTo>
                  <a:pt x="453015" y="675586"/>
                  <a:pt x="451951" y="678381"/>
                  <a:pt x="451951" y="682375"/>
                </a:cubicBezTo>
                <a:cubicBezTo>
                  <a:pt x="451951" y="686635"/>
                  <a:pt x="453015" y="689430"/>
                  <a:pt x="455545" y="691959"/>
                </a:cubicBezTo>
                <a:cubicBezTo>
                  <a:pt x="457142" y="693557"/>
                  <a:pt x="459671" y="695420"/>
                  <a:pt x="465528" y="695420"/>
                </a:cubicBezTo>
                <a:cubicBezTo>
                  <a:pt x="467525" y="695420"/>
                  <a:pt x="469389" y="695154"/>
                  <a:pt x="470853" y="694488"/>
                </a:cubicBezTo>
                <a:cubicBezTo>
                  <a:pt x="472317" y="693956"/>
                  <a:pt x="473649" y="693157"/>
                  <a:pt x="474580" y="692092"/>
                </a:cubicBezTo>
                <a:cubicBezTo>
                  <a:pt x="475645" y="691027"/>
                  <a:pt x="476577" y="689696"/>
                  <a:pt x="477244" y="687966"/>
                </a:cubicBezTo>
                <a:cubicBezTo>
                  <a:pt x="477909" y="686368"/>
                  <a:pt x="478308" y="684505"/>
                  <a:pt x="478308" y="682508"/>
                </a:cubicBezTo>
                <a:cubicBezTo>
                  <a:pt x="478308" y="680644"/>
                  <a:pt x="477909" y="678914"/>
                  <a:pt x="477244" y="677316"/>
                </a:cubicBezTo>
                <a:cubicBezTo>
                  <a:pt x="476577" y="675586"/>
                  <a:pt x="475645" y="674255"/>
                  <a:pt x="474580" y="673057"/>
                </a:cubicBezTo>
                <a:cubicBezTo>
                  <a:pt x="473516" y="671992"/>
                  <a:pt x="472184" y="671060"/>
                  <a:pt x="470588" y="670394"/>
                </a:cubicBezTo>
                <a:cubicBezTo>
                  <a:pt x="469123" y="669729"/>
                  <a:pt x="467525" y="669329"/>
                  <a:pt x="465528" y="669329"/>
                </a:cubicBezTo>
                <a:close/>
                <a:moveTo>
                  <a:pt x="247884" y="669329"/>
                </a:moveTo>
                <a:cubicBezTo>
                  <a:pt x="242027" y="669329"/>
                  <a:pt x="239498" y="671326"/>
                  <a:pt x="237901" y="672923"/>
                </a:cubicBezTo>
                <a:cubicBezTo>
                  <a:pt x="235371" y="675586"/>
                  <a:pt x="234307" y="678381"/>
                  <a:pt x="234307" y="682375"/>
                </a:cubicBezTo>
                <a:cubicBezTo>
                  <a:pt x="234307" y="686635"/>
                  <a:pt x="235371" y="689430"/>
                  <a:pt x="237901" y="691959"/>
                </a:cubicBezTo>
                <a:cubicBezTo>
                  <a:pt x="239498" y="693557"/>
                  <a:pt x="242027" y="695420"/>
                  <a:pt x="247884" y="695420"/>
                </a:cubicBezTo>
                <a:cubicBezTo>
                  <a:pt x="250014" y="695420"/>
                  <a:pt x="251745" y="695154"/>
                  <a:pt x="253209" y="694488"/>
                </a:cubicBezTo>
                <a:cubicBezTo>
                  <a:pt x="254673" y="693956"/>
                  <a:pt x="256004" y="693158"/>
                  <a:pt x="256936" y="692092"/>
                </a:cubicBezTo>
                <a:cubicBezTo>
                  <a:pt x="258001" y="691027"/>
                  <a:pt x="258933" y="689696"/>
                  <a:pt x="259599" y="687966"/>
                </a:cubicBezTo>
                <a:cubicBezTo>
                  <a:pt x="260264" y="686368"/>
                  <a:pt x="260664" y="684505"/>
                  <a:pt x="260664" y="682508"/>
                </a:cubicBezTo>
                <a:cubicBezTo>
                  <a:pt x="260664" y="680644"/>
                  <a:pt x="260264" y="678914"/>
                  <a:pt x="259599" y="677316"/>
                </a:cubicBezTo>
                <a:cubicBezTo>
                  <a:pt x="258933" y="675586"/>
                  <a:pt x="258001" y="674255"/>
                  <a:pt x="256936" y="673057"/>
                </a:cubicBezTo>
                <a:cubicBezTo>
                  <a:pt x="255871" y="671992"/>
                  <a:pt x="254540" y="671060"/>
                  <a:pt x="252943" y="670394"/>
                </a:cubicBezTo>
                <a:cubicBezTo>
                  <a:pt x="251478" y="669729"/>
                  <a:pt x="249881" y="669329"/>
                  <a:pt x="247884" y="669329"/>
                </a:cubicBezTo>
                <a:close/>
                <a:moveTo>
                  <a:pt x="683173" y="669329"/>
                </a:moveTo>
                <a:cubicBezTo>
                  <a:pt x="677316" y="669329"/>
                  <a:pt x="674786" y="671326"/>
                  <a:pt x="673189" y="672923"/>
                </a:cubicBezTo>
                <a:cubicBezTo>
                  <a:pt x="670659" y="675586"/>
                  <a:pt x="669596" y="678381"/>
                  <a:pt x="669596" y="682375"/>
                </a:cubicBezTo>
                <a:cubicBezTo>
                  <a:pt x="669596" y="686635"/>
                  <a:pt x="670659" y="689430"/>
                  <a:pt x="673189" y="691959"/>
                </a:cubicBezTo>
                <a:cubicBezTo>
                  <a:pt x="674786" y="693557"/>
                  <a:pt x="677316" y="695420"/>
                  <a:pt x="683173" y="695420"/>
                </a:cubicBezTo>
                <a:cubicBezTo>
                  <a:pt x="685170" y="695420"/>
                  <a:pt x="687034" y="695154"/>
                  <a:pt x="688498" y="694488"/>
                </a:cubicBezTo>
                <a:cubicBezTo>
                  <a:pt x="689962" y="693956"/>
                  <a:pt x="691294" y="693157"/>
                  <a:pt x="692225" y="692092"/>
                </a:cubicBezTo>
                <a:cubicBezTo>
                  <a:pt x="693290" y="691027"/>
                  <a:pt x="694222" y="689696"/>
                  <a:pt x="694888" y="687966"/>
                </a:cubicBezTo>
                <a:cubicBezTo>
                  <a:pt x="695553" y="686368"/>
                  <a:pt x="695953" y="684505"/>
                  <a:pt x="695953" y="682508"/>
                </a:cubicBezTo>
                <a:cubicBezTo>
                  <a:pt x="695953" y="680644"/>
                  <a:pt x="695553" y="678914"/>
                  <a:pt x="694888" y="677316"/>
                </a:cubicBezTo>
                <a:cubicBezTo>
                  <a:pt x="694222" y="675586"/>
                  <a:pt x="693290" y="674255"/>
                  <a:pt x="692225" y="673057"/>
                </a:cubicBezTo>
                <a:cubicBezTo>
                  <a:pt x="691160" y="671992"/>
                  <a:pt x="689829" y="671060"/>
                  <a:pt x="688232" y="670394"/>
                </a:cubicBezTo>
                <a:cubicBezTo>
                  <a:pt x="686768" y="669729"/>
                  <a:pt x="685170" y="669329"/>
                  <a:pt x="683173" y="669329"/>
                </a:cubicBezTo>
                <a:close/>
                <a:moveTo>
                  <a:pt x="1118462" y="669329"/>
                </a:moveTo>
                <a:cubicBezTo>
                  <a:pt x="1112605" y="669329"/>
                  <a:pt x="1110075" y="671326"/>
                  <a:pt x="1108478" y="672923"/>
                </a:cubicBezTo>
                <a:cubicBezTo>
                  <a:pt x="1105816" y="675586"/>
                  <a:pt x="1104751" y="678381"/>
                  <a:pt x="1104751" y="682375"/>
                </a:cubicBezTo>
                <a:cubicBezTo>
                  <a:pt x="1104751" y="686635"/>
                  <a:pt x="1105816" y="689430"/>
                  <a:pt x="1108346" y="691959"/>
                </a:cubicBezTo>
                <a:cubicBezTo>
                  <a:pt x="1109943" y="693557"/>
                  <a:pt x="1112472" y="695420"/>
                  <a:pt x="1118329" y="695420"/>
                </a:cubicBezTo>
                <a:cubicBezTo>
                  <a:pt x="1120459" y="695420"/>
                  <a:pt x="1122190" y="695154"/>
                  <a:pt x="1123787" y="694488"/>
                </a:cubicBezTo>
                <a:cubicBezTo>
                  <a:pt x="1125251" y="693956"/>
                  <a:pt x="1126583" y="693157"/>
                  <a:pt x="1127514" y="692092"/>
                </a:cubicBezTo>
                <a:cubicBezTo>
                  <a:pt x="1128579" y="691027"/>
                  <a:pt x="1129511" y="689696"/>
                  <a:pt x="1130177" y="687966"/>
                </a:cubicBezTo>
                <a:cubicBezTo>
                  <a:pt x="1130842" y="686368"/>
                  <a:pt x="1131242" y="684505"/>
                  <a:pt x="1131242" y="682508"/>
                </a:cubicBezTo>
                <a:cubicBezTo>
                  <a:pt x="1131242" y="680644"/>
                  <a:pt x="1130842" y="678914"/>
                  <a:pt x="1130177" y="677316"/>
                </a:cubicBezTo>
                <a:cubicBezTo>
                  <a:pt x="1129511" y="675586"/>
                  <a:pt x="1128579" y="674255"/>
                  <a:pt x="1127514" y="673057"/>
                </a:cubicBezTo>
                <a:cubicBezTo>
                  <a:pt x="1126449" y="671992"/>
                  <a:pt x="1125118" y="671060"/>
                  <a:pt x="1123521" y="670394"/>
                </a:cubicBezTo>
                <a:cubicBezTo>
                  <a:pt x="1122057" y="669729"/>
                  <a:pt x="1120459" y="669329"/>
                  <a:pt x="1118462" y="669329"/>
                </a:cubicBezTo>
                <a:close/>
                <a:moveTo>
                  <a:pt x="900951" y="669329"/>
                </a:moveTo>
                <a:cubicBezTo>
                  <a:pt x="895093" y="669329"/>
                  <a:pt x="892564" y="671326"/>
                  <a:pt x="890967" y="672923"/>
                </a:cubicBezTo>
                <a:cubicBezTo>
                  <a:pt x="888304" y="675586"/>
                  <a:pt x="887240" y="678381"/>
                  <a:pt x="887240" y="682375"/>
                </a:cubicBezTo>
                <a:cubicBezTo>
                  <a:pt x="887240" y="686635"/>
                  <a:pt x="888304" y="689430"/>
                  <a:pt x="890834" y="691959"/>
                </a:cubicBezTo>
                <a:cubicBezTo>
                  <a:pt x="892431" y="693557"/>
                  <a:pt x="894960" y="695420"/>
                  <a:pt x="900817" y="695420"/>
                </a:cubicBezTo>
                <a:cubicBezTo>
                  <a:pt x="902814" y="695420"/>
                  <a:pt x="904545" y="695154"/>
                  <a:pt x="906275" y="694488"/>
                </a:cubicBezTo>
                <a:cubicBezTo>
                  <a:pt x="907739" y="693956"/>
                  <a:pt x="909071" y="693157"/>
                  <a:pt x="910003" y="692092"/>
                </a:cubicBezTo>
                <a:cubicBezTo>
                  <a:pt x="911067" y="691027"/>
                  <a:pt x="911999" y="689696"/>
                  <a:pt x="912665" y="687966"/>
                </a:cubicBezTo>
                <a:cubicBezTo>
                  <a:pt x="913330" y="686368"/>
                  <a:pt x="913730" y="684505"/>
                  <a:pt x="913730" y="682508"/>
                </a:cubicBezTo>
                <a:cubicBezTo>
                  <a:pt x="913730" y="680644"/>
                  <a:pt x="913330" y="678914"/>
                  <a:pt x="912665" y="677316"/>
                </a:cubicBezTo>
                <a:cubicBezTo>
                  <a:pt x="911999" y="675586"/>
                  <a:pt x="911067" y="674255"/>
                  <a:pt x="910003" y="673057"/>
                </a:cubicBezTo>
                <a:cubicBezTo>
                  <a:pt x="908938" y="671992"/>
                  <a:pt x="907606" y="671060"/>
                  <a:pt x="906009" y="670394"/>
                </a:cubicBezTo>
                <a:cubicBezTo>
                  <a:pt x="904545" y="669729"/>
                  <a:pt x="902947" y="669329"/>
                  <a:pt x="900951" y="669329"/>
                </a:cubicBezTo>
                <a:close/>
                <a:moveTo>
                  <a:pt x="1335974" y="669328"/>
                </a:moveTo>
                <a:cubicBezTo>
                  <a:pt x="1330116" y="669328"/>
                  <a:pt x="1327588" y="671326"/>
                  <a:pt x="1325991" y="672923"/>
                </a:cubicBezTo>
                <a:cubicBezTo>
                  <a:pt x="1323460" y="675586"/>
                  <a:pt x="1322397" y="678381"/>
                  <a:pt x="1322397" y="682375"/>
                </a:cubicBezTo>
                <a:cubicBezTo>
                  <a:pt x="1322397" y="686635"/>
                  <a:pt x="1323460" y="689430"/>
                  <a:pt x="1325991" y="691959"/>
                </a:cubicBezTo>
                <a:cubicBezTo>
                  <a:pt x="1327588" y="693557"/>
                  <a:pt x="1330116" y="695420"/>
                  <a:pt x="1335974" y="695420"/>
                </a:cubicBezTo>
                <a:cubicBezTo>
                  <a:pt x="1338104" y="695420"/>
                  <a:pt x="1339835" y="695154"/>
                  <a:pt x="1341299" y="694488"/>
                </a:cubicBezTo>
                <a:cubicBezTo>
                  <a:pt x="1342763" y="693956"/>
                  <a:pt x="1344094" y="693157"/>
                  <a:pt x="1345026" y="692092"/>
                </a:cubicBezTo>
                <a:cubicBezTo>
                  <a:pt x="1346091" y="691027"/>
                  <a:pt x="1347023" y="689696"/>
                  <a:pt x="1347689" y="687966"/>
                </a:cubicBezTo>
                <a:cubicBezTo>
                  <a:pt x="1348354" y="686368"/>
                  <a:pt x="1348754" y="684505"/>
                  <a:pt x="1348754" y="682508"/>
                </a:cubicBezTo>
                <a:cubicBezTo>
                  <a:pt x="1348754" y="680644"/>
                  <a:pt x="1348354" y="678914"/>
                  <a:pt x="1347689" y="677316"/>
                </a:cubicBezTo>
                <a:cubicBezTo>
                  <a:pt x="1347023" y="675586"/>
                  <a:pt x="1346091" y="674255"/>
                  <a:pt x="1345026" y="673057"/>
                </a:cubicBezTo>
                <a:cubicBezTo>
                  <a:pt x="1343961" y="671991"/>
                  <a:pt x="1342631" y="671059"/>
                  <a:pt x="1341033" y="670394"/>
                </a:cubicBezTo>
                <a:cubicBezTo>
                  <a:pt x="1339568" y="669728"/>
                  <a:pt x="1337971" y="669328"/>
                  <a:pt x="1335974" y="669328"/>
                </a:cubicBezTo>
                <a:close/>
                <a:moveTo>
                  <a:pt x="1553619" y="669328"/>
                </a:moveTo>
                <a:cubicBezTo>
                  <a:pt x="1547761" y="669328"/>
                  <a:pt x="1545232" y="671325"/>
                  <a:pt x="1543636" y="672922"/>
                </a:cubicBezTo>
                <a:cubicBezTo>
                  <a:pt x="1541106" y="675586"/>
                  <a:pt x="1540041" y="678381"/>
                  <a:pt x="1540041" y="682375"/>
                </a:cubicBezTo>
                <a:cubicBezTo>
                  <a:pt x="1540041" y="686635"/>
                  <a:pt x="1541106" y="689430"/>
                  <a:pt x="1543636" y="691959"/>
                </a:cubicBezTo>
                <a:cubicBezTo>
                  <a:pt x="1545232" y="693557"/>
                  <a:pt x="1547761" y="695420"/>
                  <a:pt x="1553619" y="695420"/>
                </a:cubicBezTo>
                <a:cubicBezTo>
                  <a:pt x="1555616" y="695420"/>
                  <a:pt x="1557480" y="695154"/>
                  <a:pt x="1558944" y="694488"/>
                </a:cubicBezTo>
                <a:cubicBezTo>
                  <a:pt x="1560408" y="693956"/>
                  <a:pt x="1561739" y="693157"/>
                  <a:pt x="1562671" y="692092"/>
                </a:cubicBezTo>
                <a:cubicBezTo>
                  <a:pt x="1563736" y="691027"/>
                  <a:pt x="1564668" y="689696"/>
                  <a:pt x="1565334" y="687966"/>
                </a:cubicBezTo>
                <a:cubicBezTo>
                  <a:pt x="1565999" y="686368"/>
                  <a:pt x="1566399" y="684505"/>
                  <a:pt x="1566399" y="682508"/>
                </a:cubicBezTo>
                <a:cubicBezTo>
                  <a:pt x="1566399" y="680644"/>
                  <a:pt x="1565999" y="678914"/>
                  <a:pt x="1565334" y="677316"/>
                </a:cubicBezTo>
                <a:cubicBezTo>
                  <a:pt x="1564668" y="675586"/>
                  <a:pt x="1563736" y="674254"/>
                  <a:pt x="1562671" y="673056"/>
                </a:cubicBezTo>
                <a:cubicBezTo>
                  <a:pt x="1561605" y="671991"/>
                  <a:pt x="1560275" y="671059"/>
                  <a:pt x="1558677" y="670393"/>
                </a:cubicBezTo>
                <a:cubicBezTo>
                  <a:pt x="1557213" y="669728"/>
                  <a:pt x="1555616" y="669328"/>
                  <a:pt x="1553619" y="669328"/>
                </a:cubicBezTo>
                <a:close/>
                <a:moveTo>
                  <a:pt x="1771263" y="669328"/>
                </a:moveTo>
                <a:cubicBezTo>
                  <a:pt x="1765406" y="669328"/>
                  <a:pt x="1762877" y="671325"/>
                  <a:pt x="1761280" y="672922"/>
                </a:cubicBezTo>
                <a:cubicBezTo>
                  <a:pt x="1758750" y="675585"/>
                  <a:pt x="1757686" y="678380"/>
                  <a:pt x="1757686" y="682375"/>
                </a:cubicBezTo>
                <a:cubicBezTo>
                  <a:pt x="1757686" y="686635"/>
                  <a:pt x="1758750" y="689430"/>
                  <a:pt x="1761280" y="691959"/>
                </a:cubicBezTo>
                <a:cubicBezTo>
                  <a:pt x="1762877" y="693557"/>
                  <a:pt x="1765406" y="695420"/>
                  <a:pt x="1771263" y="695420"/>
                </a:cubicBezTo>
                <a:cubicBezTo>
                  <a:pt x="1773260" y="695420"/>
                  <a:pt x="1775124" y="695154"/>
                  <a:pt x="1776588" y="694488"/>
                </a:cubicBezTo>
                <a:cubicBezTo>
                  <a:pt x="1778052" y="693956"/>
                  <a:pt x="1779383" y="693157"/>
                  <a:pt x="1780315" y="692092"/>
                </a:cubicBezTo>
                <a:cubicBezTo>
                  <a:pt x="1781380" y="691027"/>
                  <a:pt x="1782312" y="689696"/>
                  <a:pt x="1782978" y="687966"/>
                </a:cubicBezTo>
                <a:cubicBezTo>
                  <a:pt x="1783643" y="686368"/>
                  <a:pt x="1784043" y="684505"/>
                  <a:pt x="1784043" y="682508"/>
                </a:cubicBezTo>
                <a:cubicBezTo>
                  <a:pt x="1784043" y="680643"/>
                  <a:pt x="1783643" y="678914"/>
                  <a:pt x="1782978" y="677315"/>
                </a:cubicBezTo>
                <a:cubicBezTo>
                  <a:pt x="1782312" y="675585"/>
                  <a:pt x="1781380" y="674254"/>
                  <a:pt x="1780315" y="673056"/>
                </a:cubicBezTo>
                <a:cubicBezTo>
                  <a:pt x="1779250" y="671991"/>
                  <a:pt x="1777919" y="671059"/>
                  <a:pt x="1776322" y="670393"/>
                </a:cubicBezTo>
                <a:cubicBezTo>
                  <a:pt x="1774857" y="669728"/>
                  <a:pt x="1773260" y="669328"/>
                  <a:pt x="1771263" y="669328"/>
                </a:cubicBezTo>
                <a:close/>
                <a:moveTo>
                  <a:pt x="1988906" y="669328"/>
                </a:moveTo>
                <a:cubicBezTo>
                  <a:pt x="1983049" y="669328"/>
                  <a:pt x="1980520" y="671325"/>
                  <a:pt x="1978923" y="672922"/>
                </a:cubicBezTo>
                <a:cubicBezTo>
                  <a:pt x="1976393" y="675585"/>
                  <a:pt x="1975329" y="678380"/>
                  <a:pt x="1975329" y="682374"/>
                </a:cubicBezTo>
                <a:cubicBezTo>
                  <a:pt x="1975329" y="686635"/>
                  <a:pt x="1976393" y="689430"/>
                  <a:pt x="1978923" y="691959"/>
                </a:cubicBezTo>
                <a:cubicBezTo>
                  <a:pt x="1980520" y="693557"/>
                  <a:pt x="1983049" y="695420"/>
                  <a:pt x="1988906" y="695420"/>
                </a:cubicBezTo>
                <a:cubicBezTo>
                  <a:pt x="1990903" y="695420"/>
                  <a:pt x="1992635" y="695153"/>
                  <a:pt x="1994231" y="694488"/>
                </a:cubicBezTo>
                <a:cubicBezTo>
                  <a:pt x="1995829" y="693956"/>
                  <a:pt x="1997028" y="693157"/>
                  <a:pt x="1997959" y="692092"/>
                </a:cubicBezTo>
                <a:cubicBezTo>
                  <a:pt x="1999023" y="691027"/>
                  <a:pt x="1999955" y="689695"/>
                  <a:pt x="2000622" y="687966"/>
                </a:cubicBezTo>
                <a:cubicBezTo>
                  <a:pt x="2001153" y="686368"/>
                  <a:pt x="2001552" y="684504"/>
                  <a:pt x="2001552" y="682507"/>
                </a:cubicBezTo>
                <a:cubicBezTo>
                  <a:pt x="2001552" y="680643"/>
                  <a:pt x="2001287" y="678913"/>
                  <a:pt x="2000622" y="677315"/>
                </a:cubicBezTo>
                <a:cubicBezTo>
                  <a:pt x="1999955" y="675585"/>
                  <a:pt x="1999023" y="674254"/>
                  <a:pt x="1997959" y="673056"/>
                </a:cubicBezTo>
                <a:cubicBezTo>
                  <a:pt x="1996894" y="671991"/>
                  <a:pt x="1995562" y="671059"/>
                  <a:pt x="1993965" y="670393"/>
                </a:cubicBezTo>
                <a:cubicBezTo>
                  <a:pt x="1992501" y="669728"/>
                  <a:pt x="1990903" y="669328"/>
                  <a:pt x="1988906" y="669328"/>
                </a:cubicBezTo>
                <a:close/>
                <a:moveTo>
                  <a:pt x="2206421" y="669328"/>
                </a:moveTo>
                <a:cubicBezTo>
                  <a:pt x="2200564" y="669328"/>
                  <a:pt x="2198034" y="671325"/>
                  <a:pt x="2196437" y="672922"/>
                </a:cubicBezTo>
                <a:cubicBezTo>
                  <a:pt x="2193907" y="675585"/>
                  <a:pt x="2192843" y="678380"/>
                  <a:pt x="2192843" y="682374"/>
                </a:cubicBezTo>
                <a:cubicBezTo>
                  <a:pt x="2192843" y="686635"/>
                  <a:pt x="2193907" y="689430"/>
                  <a:pt x="2196437" y="691958"/>
                </a:cubicBezTo>
                <a:cubicBezTo>
                  <a:pt x="2198034" y="693556"/>
                  <a:pt x="2200564" y="695420"/>
                  <a:pt x="2206421" y="695420"/>
                </a:cubicBezTo>
                <a:cubicBezTo>
                  <a:pt x="2208550" y="695420"/>
                  <a:pt x="2210282" y="695153"/>
                  <a:pt x="2211746" y="694487"/>
                </a:cubicBezTo>
                <a:cubicBezTo>
                  <a:pt x="2213343" y="693956"/>
                  <a:pt x="2214541" y="693157"/>
                  <a:pt x="2215473" y="692092"/>
                </a:cubicBezTo>
                <a:cubicBezTo>
                  <a:pt x="2216538" y="691027"/>
                  <a:pt x="2217469" y="689695"/>
                  <a:pt x="2218136" y="687966"/>
                </a:cubicBezTo>
                <a:cubicBezTo>
                  <a:pt x="2218668" y="686367"/>
                  <a:pt x="2219067" y="684504"/>
                  <a:pt x="2219067" y="682507"/>
                </a:cubicBezTo>
                <a:cubicBezTo>
                  <a:pt x="2219067" y="680643"/>
                  <a:pt x="2218801" y="678913"/>
                  <a:pt x="2218136" y="677315"/>
                </a:cubicBezTo>
                <a:cubicBezTo>
                  <a:pt x="2217469" y="675585"/>
                  <a:pt x="2216538" y="674254"/>
                  <a:pt x="2215473" y="673056"/>
                </a:cubicBezTo>
                <a:cubicBezTo>
                  <a:pt x="2214408" y="671991"/>
                  <a:pt x="2213077" y="671059"/>
                  <a:pt x="2211480" y="670393"/>
                </a:cubicBezTo>
                <a:cubicBezTo>
                  <a:pt x="2210015" y="669728"/>
                  <a:pt x="2208418" y="669328"/>
                  <a:pt x="2206421" y="669328"/>
                </a:cubicBezTo>
                <a:close/>
                <a:moveTo>
                  <a:pt x="2424067" y="669328"/>
                </a:moveTo>
                <a:cubicBezTo>
                  <a:pt x="2418211" y="669328"/>
                  <a:pt x="2415682" y="671325"/>
                  <a:pt x="2414084" y="672922"/>
                </a:cubicBezTo>
                <a:cubicBezTo>
                  <a:pt x="2411554" y="675585"/>
                  <a:pt x="2410490" y="678380"/>
                  <a:pt x="2410490" y="682374"/>
                </a:cubicBezTo>
                <a:cubicBezTo>
                  <a:pt x="2410490" y="686634"/>
                  <a:pt x="2411554" y="689429"/>
                  <a:pt x="2414084" y="691958"/>
                </a:cubicBezTo>
                <a:cubicBezTo>
                  <a:pt x="2415682" y="693556"/>
                  <a:pt x="2418211" y="695419"/>
                  <a:pt x="2424067" y="695419"/>
                </a:cubicBezTo>
                <a:cubicBezTo>
                  <a:pt x="2426198" y="695419"/>
                  <a:pt x="2427929" y="695153"/>
                  <a:pt x="2429393" y="694487"/>
                </a:cubicBezTo>
                <a:cubicBezTo>
                  <a:pt x="2430991" y="693956"/>
                  <a:pt x="2432189" y="693156"/>
                  <a:pt x="2433120" y="692092"/>
                </a:cubicBezTo>
                <a:cubicBezTo>
                  <a:pt x="2434185" y="691026"/>
                  <a:pt x="2435117" y="689695"/>
                  <a:pt x="2435783" y="687965"/>
                </a:cubicBezTo>
                <a:cubicBezTo>
                  <a:pt x="2436315" y="686367"/>
                  <a:pt x="2436714" y="684504"/>
                  <a:pt x="2436714" y="682507"/>
                </a:cubicBezTo>
                <a:cubicBezTo>
                  <a:pt x="2436714" y="680643"/>
                  <a:pt x="2436448" y="678913"/>
                  <a:pt x="2435783" y="677315"/>
                </a:cubicBezTo>
                <a:cubicBezTo>
                  <a:pt x="2435117" y="675585"/>
                  <a:pt x="2434185" y="674254"/>
                  <a:pt x="2433120" y="673056"/>
                </a:cubicBezTo>
                <a:cubicBezTo>
                  <a:pt x="2432056" y="671991"/>
                  <a:pt x="2430724" y="671059"/>
                  <a:pt x="2429127" y="670393"/>
                </a:cubicBezTo>
                <a:cubicBezTo>
                  <a:pt x="2427663" y="669728"/>
                  <a:pt x="2426065" y="669328"/>
                  <a:pt x="2424067" y="669328"/>
                </a:cubicBezTo>
                <a:close/>
                <a:moveTo>
                  <a:pt x="2641715" y="669328"/>
                </a:moveTo>
                <a:cubicBezTo>
                  <a:pt x="2635858" y="669328"/>
                  <a:pt x="2633329" y="671325"/>
                  <a:pt x="2631732" y="672922"/>
                </a:cubicBezTo>
                <a:cubicBezTo>
                  <a:pt x="2629201" y="675585"/>
                  <a:pt x="2628138" y="678380"/>
                  <a:pt x="2628138" y="682374"/>
                </a:cubicBezTo>
                <a:cubicBezTo>
                  <a:pt x="2628138" y="686634"/>
                  <a:pt x="2629201" y="689429"/>
                  <a:pt x="2631732" y="691958"/>
                </a:cubicBezTo>
                <a:cubicBezTo>
                  <a:pt x="2633329" y="693556"/>
                  <a:pt x="2635858" y="695419"/>
                  <a:pt x="2641715" y="695419"/>
                </a:cubicBezTo>
                <a:cubicBezTo>
                  <a:pt x="2643712" y="695419"/>
                  <a:pt x="2645576" y="695153"/>
                  <a:pt x="2647040" y="694487"/>
                </a:cubicBezTo>
                <a:cubicBezTo>
                  <a:pt x="2648637" y="693955"/>
                  <a:pt x="2649835" y="693156"/>
                  <a:pt x="2650767" y="692091"/>
                </a:cubicBezTo>
                <a:cubicBezTo>
                  <a:pt x="2651832" y="691026"/>
                  <a:pt x="2652764" y="689695"/>
                  <a:pt x="2653430" y="687965"/>
                </a:cubicBezTo>
                <a:cubicBezTo>
                  <a:pt x="2653962" y="686367"/>
                  <a:pt x="2654361" y="684504"/>
                  <a:pt x="2654361" y="682507"/>
                </a:cubicBezTo>
                <a:cubicBezTo>
                  <a:pt x="2654361" y="680643"/>
                  <a:pt x="2654095" y="678913"/>
                  <a:pt x="2653430" y="677315"/>
                </a:cubicBezTo>
                <a:cubicBezTo>
                  <a:pt x="2652764" y="675585"/>
                  <a:pt x="2651832" y="674254"/>
                  <a:pt x="2650767" y="673056"/>
                </a:cubicBezTo>
                <a:cubicBezTo>
                  <a:pt x="2649702" y="671991"/>
                  <a:pt x="2648371" y="671059"/>
                  <a:pt x="2646774" y="670393"/>
                </a:cubicBezTo>
                <a:cubicBezTo>
                  <a:pt x="2645309" y="669728"/>
                  <a:pt x="2643712" y="669328"/>
                  <a:pt x="2641715" y="669328"/>
                </a:cubicBezTo>
                <a:close/>
                <a:moveTo>
                  <a:pt x="2859362" y="669328"/>
                </a:moveTo>
                <a:cubicBezTo>
                  <a:pt x="2853505" y="669328"/>
                  <a:pt x="2850976" y="671325"/>
                  <a:pt x="2849379" y="672922"/>
                </a:cubicBezTo>
                <a:cubicBezTo>
                  <a:pt x="2846848" y="675585"/>
                  <a:pt x="2845784" y="678380"/>
                  <a:pt x="2845784" y="682374"/>
                </a:cubicBezTo>
                <a:cubicBezTo>
                  <a:pt x="2845784" y="686634"/>
                  <a:pt x="2846848" y="689429"/>
                  <a:pt x="2849379" y="691958"/>
                </a:cubicBezTo>
                <a:cubicBezTo>
                  <a:pt x="2850976" y="693556"/>
                  <a:pt x="2853505" y="695419"/>
                  <a:pt x="2859362" y="695419"/>
                </a:cubicBezTo>
                <a:cubicBezTo>
                  <a:pt x="2861359" y="695419"/>
                  <a:pt x="2863223" y="695153"/>
                  <a:pt x="2864687" y="694487"/>
                </a:cubicBezTo>
                <a:cubicBezTo>
                  <a:pt x="2866285" y="693955"/>
                  <a:pt x="2867483" y="693156"/>
                  <a:pt x="2868414" y="692091"/>
                </a:cubicBezTo>
                <a:cubicBezTo>
                  <a:pt x="2869479" y="691026"/>
                  <a:pt x="2870411" y="689695"/>
                  <a:pt x="2871077" y="687965"/>
                </a:cubicBezTo>
                <a:cubicBezTo>
                  <a:pt x="2871609" y="686367"/>
                  <a:pt x="2872008" y="684504"/>
                  <a:pt x="2872008" y="682507"/>
                </a:cubicBezTo>
                <a:cubicBezTo>
                  <a:pt x="2872008" y="680643"/>
                  <a:pt x="2871742" y="678913"/>
                  <a:pt x="2871077" y="677315"/>
                </a:cubicBezTo>
                <a:cubicBezTo>
                  <a:pt x="2870411" y="675585"/>
                  <a:pt x="2869479" y="674254"/>
                  <a:pt x="2868414" y="673056"/>
                </a:cubicBezTo>
                <a:cubicBezTo>
                  <a:pt x="2867350" y="671991"/>
                  <a:pt x="2866018" y="671059"/>
                  <a:pt x="2864422" y="670393"/>
                </a:cubicBezTo>
                <a:cubicBezTo>
                  <a:pt x="2862958" y="669728"/>
                  <a:pt x="2861359" y="669328"/>
                  <a:pt x="2859362" y="669328"/>
                </a:cubicBezTo>
                <a:close/>
                <a:moveTo>
                  <a:pt x="3294656" y="669328"/>
                </a:moveTo>
                <a:cubicBezTo>
                  <a:pt x="3288799" y="669328"/>
                  <a:pt x="3286270" y="671325"/>
                  <a:pt x="3284673" y="672922"/>
                </a:cubicBezTo>
                <a:cubicBezTo>
                  <a:pt x="3282142" y="675585"/>
                  <a:pt x="3281079" y="678380"/>
                  <a:pt x="3281079" y="682374"/>
                </a:cubicBezTo>
                <a:cubicBezTo>
                  <a:pt x="3281079" y="686634"/>
                  <a:pt x="3282142" y="689429"/>
                  <a:pt x="3284673" y="691958"/>
                </a:cubicBezTo>
                <a:cubicBezTo>
                  <a:pt x="3286270" y="693556"/>
                  <a:pt x="3288799" y="695419"/>
                  <a:pt x="3294656" y="695419"/>
                </a:cubicBezTo>
                <a:cubicBezTo>
                  <a:pt x="3296653" y="695419"/>
                  <a:pt x="3298384" y="695153"/>
                  <a:pt x="3299982" y="694487"/>
                </a:cubicBezTo>
                <a:cubicBezTo>
                  <a:pt x="3301446" y="693955"/>
                  <a:pt x="3302778" y="693156"/>
                  <a:pt x="3303709" y="692091"/>
                </a:cubicBezTo>
                <a:cubicBezTo>
                  <a:pt x="3304774" y="691026"/>
                  <a:pt x="3305705" y="689695"/>
                  <a:pt x="3306372" y="687965"/>
                </a:cubicBezTo>
                <a:cubicBezTo>
                  <a:pt x="3307037" y="686367"/>
                  <a:pt x="3307436" y="684504"/>
                  <a:pt x="3307436" y="682507"/>
                </a:cubicBezTo>
                <a:cubicBezTo>
                  <a:pt x="3307436" y="680643"/>
                  <a:pt x="3307037" y="678913"/>
                  <a:pt x="3306372" y="677315"/>
                </a:cubicBezTo>
                <a:cubicBezTo>
                  <a:pt x="3305705" y="675585"/>
                  <a:pt x="3304774" y="674254"/>
                  <a:pt x="3303709" y="673056"/>
                </a:cubicBezTo>
                <a:cubicBezTo>
                  <a:pt x="3302644" y="671990"/>
                  <a:pt x="3301312" y="671058"/>
                  <a:pt x="3299716" y="670393"/>
                </a:cubicBezTo>
                <a:cubicBezTo>
                  <a:pt x="3298252" y="669728"/>
                  <a:pt x="3296653" y="669328"/>
                  <a:pt x="3294656" y="669328"/>
                </a:cubicBezTo>
                <a:close/>
                <a:moveTo>
                  <a:pt x="3077142" y="669328"/>
                </a:moveTo>
                <a:cubicBezTo>
                  <a:pt x="3071285" y="669328"/>
                  <a:pt x="3068756" y="671325"/>
                  <a:pt x="3067159" y="672922"/>
                </a:cubicBezTo>
                <a:cubicBezTo>
                  <a:pt x="3064496" y="675585"/>
                  <a:pt x="3063431" y="678380"/>
                  <a:pt x="3063431" y="682374"/>
                </a:cubicBezTo>
                <a:cubicBezTo>
                  <a:pt x="3063431" y="686634"/>
                  <a:pt x="3064496" y="689429"/>
                  <a:pt x="3067026" y="691958"/>
                </a:cubicBezTo>
                <a:cubicBezTo>
                  <a:pt x="3068623" y="693556"/>
                  <a:pt x="3071152" y="695419"/>
                  <a:pt x="3077009" y="695419"/>
                </a:cubicBezTo>
                <a:cubicBezTo>
                  <a:pt x="3079006" y="695419"/>
                  <a:pt x="3080736" y="695153"/>
                  <a:pt x="3082467" y="694487"/>
                </a:cubicBezTo>
                <a:cubicBezTo>
                  <a:pt x="3083932" y="693955"/>
                  <a:pt x="3085264" y="693156"/>
                  <a:pt x="3086195" y="692091"/>
                </a:cubicBezTo>
                <a:cubicBezTo>
                  <a:pt x="3087259" y="691026"/>
                  <a:pt x="3088192" y="689695"/>
                  <a:pt x="3088857" y="687965"/>
                </a:cubicBezTo>
                <a:cubicBezTo>
                  <a:pt x="3089522" y="686367"/>
                  <a:pt x="3089789" y="684504"/>
                  <a:pt x="3089789" y="682507"/>
                </a:cubicBezTo>
                <a:cubicBezTo>
                  <a:pt x="3089789" y="680643"/>
                  <a:pt x="3089522" y="678913"/>
                  <a:pt x="3088857" y="677315"/>
                </a:cubicBezTo>
                <a:cubicBezTo>
                  <a:pt x="3088192" y="675585"/>
                  <a:pt x="3087259" y="674254"/>
                  <a:pt x="3086195" y="673056"/>
                </a:cubicBezTo>
                <a:cubicBezTo>
                  <a:pt x="3085130" y="671991"/>
                  <a:pt x="3083798" y="671059"/>
                  <a:pt x="3082202" y="670393"/>
                </a:cubicBezTo>
                <a:cubicBezTo>
                  <a:pt x="3080736" y="669728"/>
                  <a:pt x="3079139" y="669328"/>
                  <a:pt x="3077142" y="669328"/>
                </a:cubicBezTo>
                <a:close/>
                <a:moveTo>
                  <a:pt x="3512170" y="669327"/>
                </a:moveTo>
                <a:cubicBezTo>
                  <a:pt x="3506314" y="669327"/>
                  <a:pt x="3503784" y="671325"/>
                  <a:pt x="3502186" y="672922"/>
                </a:cubicBezTo>
                <a:cubicBezTo>
                  <a:pt x="3499656" y="675585"/>
                  <a:pt x="3498593" y="678380"/>
                  <a:pt x="3498593" y="682374"/>
                </a:cubicBezTo>
                <a:cubicBezTo>
                  <a:pt x="3498593" y="686634"/>
                  <a:pt x="3499656" y="689429"/>
                  <a:pt x="3502186" y="691958"/>
                </a:cubicBezTo>
                <a:cubicBezTo>
                  <a:pt x="3503784" y="693556"/>
                  <a:pt x="3506314" y="695419"/>
                  <a:pt x="3512170" y="695419"/>
                </a:cubicBezTo>
                <a:cubicBezTo>
                  <a:pt x="3514300" y="695419"/>
                  <a:pt x="3516032" y="695153"/>
                  <a:pt x="3517496" y="694487"/>
                </a:cubicBezTo>
                <a:cubicBezTo>
                  <a:pt x="3518960" y="693955"/>
                  <a:pt x="3520291" y="693156"/>
                  <a:pt x="3521223" y="692091"/>
                </a:cubicBezTo>
                <a:cubicBezTo>
                  <a:pt x="3522288" y="691026"/>
                  <a:pt x="3523219" y="689695"/>
                  <a:pt x="3523886" y="687965"/>
                </a:cubicBezTo>
                <a:cubicBezTo>
                  <a:pt x="3524551" y="686367"/>
                  <a:pt x="3524951" y="684504"/>
                  <a:pt x="3524951" y="682507"/>
                </a:cubicBezTo>
                <a:cubicBezTo>
                  <a:pt x="3524951" y="680643"/>
                  <a:pt x="3524551" y="678913"/>
                  <a:pt x="3523886" y="677315"/>
                </a:cubicBezTo>
                <a:cubicBezTo>
                  <a:pt x="3523219" y="675585"/>
                  <a:pt x="3522288" y="674253"/>
                  <a:pt x="3521223" y="673055"/>
                </a:cubicBezTo>
                <a:cubicBezTo>
                  <a:pt x="3520157" y="671990"/>
                  <a:pt x="3518826" y="671058"/>
                  <a:pt x="3517230" y="670393"/>
                </a:cubicBezTo>
                <a:cubicBezTo>
                  <a:pt x="3515766" y="669727"/>
                  <a:pt x="3514168" y="669327"/>
                  <a:pt x="3512170" y="669327"/>
                </a:cubicBezTo>
                <a:close/>
                <a:moveTo>
                  <a:pt x="3947465" y="669327"/>
                </a:moveTo>
                <a:cubicBezTo>
                  <a:pt x="3941608" y="669327"/>
                  <a:pt x="3939079" y="671324"/>
                  <a:pt x="3937482" y="672921"/>
                </a:cubicBezTo>
                <a:cubicBezTo>
                  <a:pt x="3934951" y="675584"/>
                  <a:pt x="3933888" y="678379"/>
                  <a:pt x="3933888" y="682374"/>
                </a:cubicBezTo>
                <a:cubicBezTo>
                  <a:pt x="3933888" y="686634"/>
                  <a:pt x="3934951" y="689429"/>
                  <a:pt x="3937482" y="691958"/>
                </a:cubicBezTo>
                <a:cubicBezTo>
                  <a:pt x="3939079" y="693556"/>
                  <a:pt x="3941608" y="695419"/>
                  <a:pt x="3947465" y="695419"/>
                </a:cubicBezTo>
                <a:cubicBezTo>
                  <a:pt x="3949462" y="695419"/>
                  <a:pt x="3951326" y="695153"/>
                  <a:pt x="3952790" y="694487"/>
                </a:cubicBezTo>
                <a:cubicBezTo>
                  <a:pt x="3954255" y="693955"/>
                  <a:pt x="3955585" y="693156"/>
                  <a:pt x="3956517" y="692091"/>
                </a:cubicBezTo>
                <a:cubicBezTo>
                  <a:pt x="3957582" y="691026"/>
                  <a:pt x="3958515" y="689695"/>
                  <a:pt x="3959180" y="687965"/>
                </a:cubicBezTo>
                <a:cubicBezTo>
                  <a:pt x="3959845" y="686367"/>
                  <a:pt x="3960245" y="684504"/>
                  <a:pt x="3960245" y="682506"/>
                </a:cubicBezTo>
                <a:cubicBezTo>
                  <a:pt x="3960245" y="680642"/>
                  <a:pt x="3959845" y="678913"/>
                  <a:pt x="3959180" y="677314"/>
                </a:cubicBezTo>
                <a:cubicBezTo>
                  <a:pt x="3958515" y="675584"/>
                  <a:pt x="3957582" y="674253"/>
                  <a:pt x="3956517" y="673055"/>
                </a:cubicBezTo>
                <a:cubicBezTo>
                  <a:pt x="3955453" y="671990"/>
                  <a:pt x="3954121" y="671058"/>
                  <a:pt x="3952524" y="670392"/>
                </a:cubicBezTo>
                <a:cubicBezTo>
                  <a:pt x="3951059" y="669727"/>
                  <a:pt x="3949462" y="669327"/>
                  <a:pt x="3947465" y="669327"/>
                </a:cubicBezTo>
                <a:close/>
                <a:moveTo>
                  <a:pt x="3729817" y="669327"/>
                </a:moveTo>
                <a:cubicBezTo>
                  <a:pt x="3723960" y="669327"/>
                  <a:pt x="3721431" y="671324"/>
                  <a:pt x="3719833" y="672921"/>
                </a:cubicBezTo>
                <a:cubicBezTo>
                  <a:pt x="3717303" y="675584"/>
                  <a:pt x="3716239" y="678379"/>
                  <a:pt x="3716239" y="682374"/>
                </a:cubicBezTo>
                <a:cubicBezTo>
                  <a:pt x="3716239" y="686634"/>
                  <a:pt x="3717303" y="689429"/>
                  <a:pt x="3719833" y="691958"/>
                </a:cubicBezTo>
                <a:cubicBezTo>
                  <a:pt x="3721431" y="693556"/>
                  <a:pt x="3723960" y="695419"/>
                  <a:pt x="3729817" y="695419"/>
                </a:cubicBezTo>
                <a:cubicBezTo>
                  <a:pt x="3731947" y="695419"/>
                  <a:pt x="3733678" y="695153"/>
                  <a:pt x="3735142" y="694487"/>
                </a:cubicBezTo>
                <a:cubicBezTo>
                  <a:pt x="3736606" y="693955"/>
                  <a:pt x="3737939" y="693156"/>
                  <a:pt x="3738869" y="692091"/>
                </a:cubicBezTo>
                <a:cubicBezTo>
                  <a:pt x="3739934" y="691026"/>
                  <a:pt x="3740867" y="689695"/>
                  <a:pt x="3741532" y="687965"/>
                </a:cubicBezTo>
                <a:cubicBezTo>
                  <a:pt x="3742197" y="686367"/>
                  <a:pt x="3742597" y="684504"/>
                  <a:pt x="3742597" y="682507"/>
                </a:cubicBezTo>
                <a:cubicBezTo>
                  <a:pt x="3742597" y="680642"/>
                  <a:pt x="3742197" y="678913"/>
                  <a:pt x="3741532" y="677314"/>
                </a:cubicBezTo>
                <a:cubicBezTo>
                  <a:pt x="3740867" y="675584"/>
                  <a:pt x="3739934" y="674253"/>
                  <a:pt x="3738869" y="673055"/>
                </a:cubicBezTo>
                <a:cubicBezTo>
                  <a:pt x="3737805" y="671990"/>
                  <a:pt x="3736474" y="671058"/>
                  <a:pt x="3734877" y="670392"/>
                </a:cubicBezTo>
                <a:cubicBezTo>
                  <a:pt x="3733412" y="669727"/>
                  <a:pt x="3731814" y="669327"/>
                  <a:pt x="3729817" y="669327"/>
                </a:cubicBezTo>
                <a:close/>
                <a:moveTo>
                  <a:pt x="4165068" y="669327"/>
                </a:moveTo>
                <a:cubicBezTo>
                  <a:pt x="4159211" y="669327"/>
                  <a:pt x="4156681" y="671324"/>
                  <a:pt x="4155084" y="672921"/>
                </a:cubicBezTo>
                <a:cubicBezTo>
                  <a:pt x="4152555" y="675584"/>
                  <a:pt x="4151490" y="678379"/>
                  <a:pt x="4151490" y="682374"/>
                </a:cubicBezTo>
                <a:cubicBezTo>
                  <a:pt x="4151490" y="686634"/>
                  <a:pt x="4152555" y="689429"/>
                  <a:pt x="4155084" y="691958"/>
                </a:cubicBezTo>
                <a:cubicBezTo>
                  <a:pt x="4156681" y="693556"/>
                  <a:pt x="4159211" y="695419"/>
                  <a:pt x="4165068" y="695419"/>
                </a:cubicBezTo>
                <a:cubicBezTo>
                  <a:pt x="4167064" y="695419"/>
                  <a:pt x="4168928" y="695153"/>
                  <a:pt x="4170392" y="694487"/>
                </a:cubicBezTo>
                <a:cubicBezTo>
                  <a:pt x="4171856" y="693955"/>
                  <a:pt x="4173188" y="693156"/>
                  <a:pt x="4174119" y="692091"/>
                </a:cubicBezTo>
                <a:cubicBezTo>
                  <a:pt x="4175184" y="691026"/>
                  <a:pt x="4176116" y="689694"/>
                  <a:pt x="4176782" y="687965"/>
                </a:cubicBezTo>
                <a:cubicBezTo>
                  <a:pt x="4177447" y="686367"/>
                  <a:pt x="4177847" y="684503"/>
                  <a:pt x="4177847" y="682506"/>
                </a:cubicBezTo>
                <a:cubicBezTo>
                  <a:pt x="4177847" y="680642"/>
                  <a:pt x="4177447" y="678913"/>
                  <a:pt x="4176782" y="677314"/>
                </a:cubicBezTo>
                <a:cubicBezTo>
                  <a:pt x="4176116" y="675584"/>
                  <a:pt x="4175184" y="674253"/>
                  <a:pt x="4174119" y="673055"/>
                </a:cubicBezTo>
                <a:cubicBezTo>
                  <a:pt x="4173054" y="671990"/>
                  <a:pt x="4171723" y="671058"/>
                  <a:pt x="4170126" y="670392"/>
                </a:cubicBezTo>
                <a:cubicBezTo>
                  <a:pt x="4168662" y="669727"/>
                  <a:pt x="4167064" y="669327"/>
                  <a:pt x="4165068" y="669327"/>
                </a:cubicBezTo>
                <a:close/>
                <a:moveTo>
                  <a:pt x="4600226" y="669327"/>
                </a:moveTo>
                <a:cubicBezTo>
                  <a:pt x="4594369" y="669327"/>
                  <a:pt x="4591839" y="671324"/>
                  <a:pt x="4590242" y="672921"/>
                </a:cubicBezTo>
                <a:cubicBezTo>
                  <a:pt x="4587713" y="675584"/>
                  <a:pt x="4586648" y="678379"/>
                  <a:pt x="4586648" y="682373"/>
                </a:cubicBezTo>
                <a:cubicBezTo>
                  <a:pt x="4586648" y="686633"/>
                  <a:pt x="4587713" y="689428"/>
                  <a:pt x="4590242" y="691957"/>
                </a:cubicBezTo>
                <a:cubicBezTo>
                  <a:pt x="4591839" y="693555"/>
                  <a:pt x="4594369" y="695418"/>
                  <a:pt x="4600226" y="695418"/>
                </a:cubicBezTo>
                <a:cubicBezTo>
                  <a:pt x="4602355" y="695418"/>
                  <a:pt x="4604086" y="695152"/>
                  <a:pt x="4605550" y="694486"/>
                </a:cubicBezTo>
                <a:cubicBezTo>
                  <a:pt x="4607148" y="693954"/>
                  <a:pt x="4608346" y="693155"/>
                  <a:pt x="4609277" y="692091"/>
                </a:cubicBezTo>
                <a:cubicBezTo>
                  <a:pt x="4610342" y="691025"/>
                  <a:pt x="4611274" y="689694"/>
                  <a:pt x="4611940" y="687964"/>
                </a:cubicBezTo>
                <a:cubicBezTo>
                  <a:pt x="4612605" y="686366"/>
                  <a:pt x="4613005" y="684503"/>
                  <a:pt x="4613005" y="682506"/>
                </a:cubicBezTo>
                <a:cubicBezTo>
                  <a:pt x="4613005" y="680642"/>
                  <a:pt x="4612605" y="678912"/>
                  <a:pt x="4611940" y="677314"/>
                </a:cubicBezTo>
                <a:cubicBezTo>
                  <a:pt x="4611274" y="675584"/>
                  <a:pt x="4610342" y="674253"/>
                  <a:pt x="4609277" y="673055"/>
                </a:cubicBezTo>
                <a:cubicBezTo>
                  <a:pt x="4608212" y="671990"/>
                  <a:pt x="4606881" y="671058"/>
                  <a:pt x="4605284" y="670392"/>
                </a:cubicBezTo>
                <a:cubicBezTo>
                  <a:pt x="4603820" y="669727"/>
                  <a:pt x="4602222" y="669327"/>
                  <a:pt x="4600226" y="669327"/>
                </a:cubicBezTo>
                <a:close/>
                <a:moveTo>
                  <a:pt x="4382713" y="669327"/>
                </a:moveTo>
                <a:cubicBezTo>
                  <a:pt x="4376857" y="669327"/>
                  <a:pt x="4374327" y="671324"/>
                  <a:pt x="4372730" y="672921"/>
                </a:cubicBezTo>
                <a:cubicBezTo>
                  <a:pt x="4370201" y="675584"/>
                  <a:pt x="4369136" y="678379"/>
                  <a:pt x="4369136" y="682373"/>
                </a:cubicBezTo>
                <a:cubicBezTo>
                  <a:pt x="4369136" y="686634"/>
                  <a:pt x="4370201" y="689428"/>
                  <a:pt x="4372730" y="691957"/>
                </a:cubicBezTo>
                <a:cubicBezTo>
                  <a:pt x="4374327" y="693556"/>
                  <a:pt x="4376857" y="695419"/>
                  <a:pt x="4382713" y="695419"/>
                </a:cubicBezTo>
                <a:cubicBezTo>
                  <a:pt x="4384710" y="695419"/>
                  <a:pt x="4386441" y="695152"/>
                  <a:pt x="4388038" y="694486"/>
                </a:cubicBezTo>
                <a:cubicBezTo>
                  <a:pt x="4389502" y="693955"/>
                  <a:pt x="4390834" y="693156"/>
                  <a:pt x="4391765" y="692091"/>
                </a:cubicBezTo>
                <a:cubicBezTo>
                  <a:pt x="4392830" y="691025"/>
                  <a:pt x="4393762" y="689694"/>
                  <a:pt x="4394428" y="687964"/>
                </a:cubicBezTo>
                <a:cubicBezTo>
                  <a:pt x="4395093" y="686366"/>
                  <a:pt x="4395493" y="684503"/>
                  <a:pt x="4395493" y="682506"/>
                </a:cubicBezTo>
                <a:cubicBezTo>
                  <a:pt x="4395493" y="680642"/>
                  <a:pt x="4395093" y="678912"/>
                  <a:pt x="4394428" y="677314"/>
                </a:cubicBezTo>
                <a:cubicBezTo>
                  <a:pt x="4393762" y="675584"/>
                  <a:pt x="4392830" y="674253"/>
                  <a:pt x="4391765" y="673055"/>
                </a:cubicBezTo>
                <a:cubicBezTo>
                  <a:pt x="4390700" y="671990"/>
                  <a:pt x="4389369" y="671058"/>
                  <a:pt x="4387772" y="670392"/>
                </a:cubicBezTo>
                <a:cubicBezTo>
                  <a:pt x="4386308" y="669727"/>
                  <a:pt x="4384710" y="669327"/>
                  <a:pt x="4382713" y="669327"/>
                </a:cubicBezTo>
                <a:close/>
                <a:moveTo>
                  <a:pt x="4817870" y="669327"/>
                </a:moveTo>
                <a:cubicBezTo>
                  <a:pt x="4812013" y="669327"/>
                  <a:pt x="4809484" y="671324"/>
                  <a:pt x="4807887" y="672921"/>
                </a:cubicBezTo>
                <a:cubicBezTo>
                  <a:pt x="4805357" y="675584"/>
                  <a:pt x="4804293" y="678379"/>
                  <a:pt x="4804293" y="682373"/>
                </a:cubicBezTo>
                <a:cubicBezTo>
                  <a:pt x="4804293" y="686633"/>
                  <a:pt x="4805357" y="689428"/>
                  <a:pt x="4807887" y="691957"/>
                </a:cubicBezTo>
                <a:cubicBezTo>
                  <a:pt x="4809484" y="693555"/>
                  <a:pt x="4812013" y="695418"/>
                  <a:pt x="4817870" y="695418"/>
                </a:cubicBezTo>
                <a:cubicBezTo>
                  <a:pt x="4820000" y="695418"/>
                  <a:pt x="4821731" y="695152"/>
                  <a:pt x="4823195" y="694486"/>
                </a:cubicBezTo>
                <a:cubicBezTo>
                  <a:pt x="4824659" y="693954"/>
                  <a:pt x="4825857" y="693155"/>
                  <a:pt x="4826922" y="692090"/>
                </a:cubicBezTo>
                <a:cubicBezTo>
                  <a:pt x="4827987" y="691025"/>
                  <a:pt x="4828919" y="689694"/>
                  <a:pt x="4829585" y="687964"/>
                </a:cubicBezTo>
                <a:cubicBezTo>
                  <a:pt x="4830383" y="686366"/>
                  <a:pt x="4830650" y="684503"/>
                  <a:pt x="4830650" y="682506"/>
                </a:cubicBezTo>
                <a:cubicBezTo>
                  <a:pt x="4830650" y="680642"/>
                  <a:pt x="4830250" y="678912"/>
                  <a:pt x="4829585" y="677314"/>
                </a:cubicBezTo>
                <a:cubicBezTo>
                  <a:pt x="4828919" y="675584"/>
                  <a:pt x="4827987" y="674253"/>
                  <a:pt x="4826922" y="673055"/>
                </a:cubicBezTo>
                <a:cubicBezTo>
                  <a:pt x="4825857" y="671990"/>
                  <a:pt x="4824526" y="671058"/>
                  <a:pt x="4822929" y="670392"/>
                </a:cubicBezTo>
                <a:cubicBezTo>
                  <a:pt x="4821465" y="669727"/>
                  <a:pt x="4819734" y="669327"/>
                  <a:pt x="4817870" y="669327"/>
                </a:cubicBezTo>
                <a:close/>
                <a:moveTo>
                  <a:pt x="5253160" y="669327"/>
                </a:moveTo>
                <a:cubicBezTo>
                  <a:pt x="5247303" y="669327"/>
                  <a:pt x="5244774" y="671324"/>
                  <a:pt x="5243177" y="672921"/>
                </a:cubicBezTo>
                <a:cubicBezTo>
                  <a:pt x="5240647" y="675584"/>
                  <a:pt x="5239583" y="678379"/>
                  <a:pt x="5239583" y="682373"/>
                </a:cubicBezTo>
                <a:cubicBezTo>
                  <a:pt x="5239583" y="686633"/>
                  <a:pt x="5240647" y="689428"/>
                  <a:pt x="5243177" y="691957"/>
                </a:cubicBezTo>
                <a:cubicBezTo>
                  <a:pt x="5244774" y="693555"/>
                  <a:pt x="5247303" y="695418"/>
                  <a:pt x="5253160" y="695418"/>
                </a:cubicBezTo>
                <a:cubicBezTo>
                  <a:pt x="5255157" y="695418"/>
                  <a:pt x="5257021" y="695152"/>
                  <a:pt x="5258485" y="694486"/>
                </a:cubicBezTo>
                <a:cubicBezTo>
                  <a:pt x="5259949" y="693954"/>
                  <a:pt x="5261280" y="693155"/>
                  <a:pt x="5262212" y="692090"/>
                </a:cubicBezTo>
                <a:cubicBezTo>
                  <a:pt x="5263277" y="691025"/>
                  <a:pt x="5264209" y="689694"/>
                  <a:pt x="5264875" y="687964"/>
                </a:cubicBezTo>
                <a:cubicBezTo>
                  <a:pt x="5265673" y="686366"/>
                  <a:pt x="5265939" y="684503"/>
                  <a:pt x="5265939" y="682506"/>
                </a:cubicBezTo>
                <a:cubicBezTo>
                  <a:pt x="5265939" y="680642"/>
                  <a:pt x="5265540" y="678912"/>
                  <a:pt x="5264875" y="677314"/>
                </a:cubicBezTo>
                <a:cubicBezTo>
                  <a:pt x="5264209" y="675584"/>
                  <a:pt x="5263277" y="674253"/>
                  <a:pt x="5262212" y="673055"/>
                </a:cubicBezTo>
                <a:cubicBezTo>
                  <a:pt x="5261147" y="671990"/>
                  <a:pt x="5259816" y="671058"/>
                  <a:pt x="5258219" y="670392"/>
                </a:cubicBezTo>
                <a:cubicBezTo>
                  <a:pt x="5256754" y="669727"/>
                  <a:pt x="5255024" y="669327"/>
                  <a:pt x="5253160" y="669327"/>
                </a:cubicBezTo>
                <a:close/>
                <a:moveTo>
                  <a:pt x="5035515" y="669327"/>
                </a:moveTo>
                <a:cubicBezTo>
                  <a:pt x="5029658" y="669327"/>
                  <a:pt x="5027129" y="671324"/>
                  <a:pt x="5025532" y="672921"/>
                </a:cubicBezTo>
                <a:cubicBezTo>
                  <a:pt x="5023002" y="675584"/>
                  <a:pt x="5021938" y="678379"/>
                  <a:pt x="5021938" y="682373"/>
                </a:cubicBezTo>
                <a:cubicBezTo>
                  <a:pt x="5021938" y="686633"/>
                  <a:pt x="5023002" y="689428"/>
                  <a:pt x="5025532" y="691957"/>
                </a:cubicBezTo>
                <a:cubicBezTo>
                  <a:pt x="5027129" y="693555"/>
                  <a:pt x="5029658" y="695418"/>
                  <a:pt x="5035515" y="695418"/>
                </a:cubicBezTo>
                <a:cubicBezTo>
                  <a:pt x="5037645" y="695418"/>
                  <a:pt x="5039376" y="695152"/>
                  <a:pt x="5040840" y="694486"/>
                </a:cubicBezTo>
                <a:cubicBezTo>
                  <a:pt x="5042304" y="693954"/>
                  <a:pt x="5043636" y="693155"/>
                  <a:pt x="5044567" y="692090"/>
                </a:cubicBezTo>
                <a:cubicBezTo>
                  <a:pt x="5045632" y="691025"/>
                  <a:pt x="5046564" y="689694"/>
                  <a:pt x="5047230" y="687964"/>
                </a:cubicBezTo>
                <a:cubicBezTo>
                  <a:pt x="5048028" y="686366"/>
                  <a:pt x="5048294" y="684503"/>
                  <a:pt x="5048294" y="682506"/>
                </a:cubicBezTo>
                <a:cubicBezTo>
                  <a:pt x="5048294" y="680642"/>
                  <a:pt x="5047895" y="678912"/>
                  <a:pt x="5047230" y="677314"/>
                </a:cubicBezTo>
                <a:cubicBezTo>
                  <a:pt x="5046564" y="675584"/>
                  <a:pt x="5045632" y="674253"/>
                  <a:pt x="5044567" y="673055"/>
                </a:cubicBezTo>
                <a:cubicBezTo>
                  <a:pt x="5043502" y="671990"/>
                  <a:pt x="5042171" y="671058"/>
                  <a:pt x="5040574" y="670392"/>
                </a:cubicBezTo>
                <a:cubicBezTo>
                  <a:pt x="5039110" y="669727"/>
                  <a:pt x="5037379" y="669327"/>
                  <a:pt x="5035515" y="669327"/>
                </a:cubicBezTo>
                <a:close/>
                <a:moveTo>
                  <a:pt x="5470806" y="669327"/>
                </a:moveTo>
                <a:cubicBezTo>
                  <a:pt x="5464949" y="669327"/>
                  <a:pt x="5462419" y="671324"/>
                  <a:pt x="5460822" y="672921"/>
                </a:cubicBezTo>
                <a:cubicBezTo>
                  <a:pt x="5458293" y="675584"/>
                  <a:pt x="5457228" y="678379"/>
                  <a:pt x="5457228" y="682373"/>
                </a:cubicBezTo>
                <a:cubicBezTo>
                  <a:pt x="5457228" y="686633"/>
                  <a:pt x="5458293" y="689428"/>
                  <a:pt x="5460822" y="691957"/>
                </a:cubicBezTo>
                <a:cubicBezTo>
                  <a:pt x="5462419" y="693555"/>
                  <a:pt x="5464949" y="695418"/>
                  <a:pt x="5470806" y="695418"/>
                </a:cubicBezTo>
                <a:cubicBezTo>
                  <a:pt x="5472802" y="695418"/>
                  <a:pt x="5474666" y="695152"/>
                  <a:pt x="5476130" y="694486"/>
                </a:cubicBezTo>
                <a:cubicBezTo>
                  <a:pt x="5477594" y="693954"/>
                  <a:pt x="5478926" y="693155"/>
                  <a:pt x="5479857" y="692090"/>
                </a:cubicBezTo>
                <a:cubicBezTo>
                  <a:pt x="5480922" y="691025"/>
                  <a:pt x="5481854" y="689694"/>
                  <a:pt x="5482520" y="687964"/>
                </a:cubicBezTo>
                <a:cubicBezTo>
                  <a:pt x="5483319" y="686366"/>
                  <a:pt x="5483585" y="684503"/>
                  <a:pt x="5483585" y="682506"/>
                </a:cubicBezTo>
                <a:cubicBezTo>
                  <a:pt x="5483585" y="680642"/>
                  <a:pt x="5483185" y="678912"/>
                  <a:pt x="5482520" y="677314"/>
                </a:cubicBezTo>
                <a:cubicBezTo>
                  <a:pt x="5481854" y="675584"/>
                  <a:pt x="5480922" y="674253"/>
                  <a:pt x="5479857" y="673055"/>
                </a:cubicBezTo>
                <a:cubicBezTo>
                  <a:pt x="5478793" y="671990"/>
                  <a:pt x="5477461" y="671058"/>
                  <a:pt x="5475864" y="670392"/>
                </a:cubicBezTo>
                <a:cubicBezTo>
                  <a:pt x="5474400" y="669727"/>
                  <a:pt x="5472669" y="669327"/>
                  <a:pt x="5470806" y="669327"/>
                </a:cubicBezTo>
                <a:close/>
                <a:moveTo>
                  <a:pt x="6123608" y="669326"/>
                </a:moveTo>
                <a:cubicBezTo>
                  <a:pt x="6117751" y="669326"/>
                  <a:pt x="6115221" y="671323"/>
                  <a:pt x="6113624" y="672920"/>
                </a:cubicBezTo>
                <a:cubicBezTo>
                  <a:pt x="6111095" y="675583"/>
                  <a:pt x="6110030" y="678379"/>
                  <a:pt x="6110030" y="682372"/>
                </a:cubicBezTo>
                <a:cubicBezTo>
                  <a:pt x="6110030" y="686633"/>
                  <a:pt x="6111095" y="689428"/>
                  <a:pt x="6113624" y="691957"/>
                </a:cubicBezTo>
                <a:cubicBezTo>
                  <a:pt x="6115221" y="693555"/>
                  <a:pt x="6117751" y="695418"/>
                  <a:pt x="6123608" y="695418"/>
                </a:cubicBezTo>
                <a:cubicBezTo>
                  <a:pt x="6125737" y="695418"/>
                  <a:pt x="6127468" y="695152"/>
                  <a:pt x="6128932" y="694486"/>
                </a:cubicBezTo>
                <a:cubicBezTo>
                  <a:pt x="6130530" y="693954"/>
                  <a:pt x="6131728" y="693155"/>
                  <a:pt x="6132659" y="692090"/>
                </a:cubicBezTo>
                <a:cubicBezTo>
                  <a:pt x="6133724" y="691025"/>
                  <a:pt x="6134656" y="689694"/>
                  <a:pt x="6135322" y="687964"/>
                </a:cubicBezTo>
                <a:cubicBezTo>
                  <a:pt x="6135987" y="686365"/>
                  <a:pt x="6136387" y="684503"/>
                  <a:pt x="6136387" y="682506"/>
                </a:cubicBezTo>
                <a:cubicBezTo>
                  <a:pt x="6136387" y="680642"/>
                  <a:pt x="6135987" y="678912"/>
                  <a:pt x="6135322" y="677313"/>
                </a:cubicBezTo>
                <a:cubicBezTo>
                  <a:pt x="6134656" y="675583"/>
                  <a:pt x="6133724" y="674252"/>
                  <a:pt x="6132659" y="673054"/>
                </a:cubicBezTo>
                <a:cubicBezTo>
                  <a:pt x="6131594" y="671989"/>
                  <a:pt x="6130263" y="671057"/>
                  <a:pt x="6128666" y="670391"/>
                </a:cubicBezTo>
                <a:cubicBezTo>
                  <a:pt x="6127202" y="669726"/>
                  <a:pt x="6125604" y="669326"/>
                  <a:pt x="6123608" y="669326"/>
                </a:cubicBezTo>
                <a:close/>
                <a:moveTo>
                  <a:pt x="5905963" y="669326"/>
                </a:moveTo>
                <a:cubicBezTo>
                  <a:pt x="5900106" y="669326"/>
                  <a:pt x="5897576" y="671324"/>
                  <a:pt x="5895979" y="672920"/>
                </a:cubicBezTo>
                <a:cubicBezTo>
                  <a:pt x="5893450" y="675584"/>
                  <a:pt x="5892385" y="678379"/>
                  <a:pt x="5892385" y="682373"/>
                </a:cubicBezTo>
                <a:cubicBezTo>
                  <a:pt x="5892385" y="686633"/>
                  <a:pt x="5893450" y="689428"/>
                  <a:pt x="5895979" y="691957"/>
                </a:cubicBezTo>
                <a:cubicBezTo>
                  <a:pt x="5897576" y="693555"/>
                  <a:pt x="5900106" y="695418"/>
                  <a:pt x="5905963" y="695418"/>
                </a:cubicBezTo>
                <a:cubicBezTo>
                  <a:pt x="5908093" y="695418"/>
                  <a:pt x="5909823" y="695152"/>
                  <a:pt x="5911287" y="694486"/>
                </a:cubicBezTo>
                <a:cubicBezTo>
                  <a:pt x="5912751" y="693954"/>
                  <a:pt x="5914083" y="693155"/>
                  <a:pt x="5915014" y="692090"/>
                </a:cubicBezTo>
                <a:cubicBezTo>
                  <a:pt x="5916079" y="691025"/>
                  <a:pt x="5917011" y="689694"/>
                  <a:pt x="5917677" y="687964"/>
                </a:cubicBezTo>
                <a:cubicBezTo>
                  <a:pt x="5918342" y="686366"/>
                  <a:pt x="5918742" y="684503"/>
                  <a:pt x="5918742" y="682506"/>
                </a:cubicBezTo>
                <a:cubicBezTo>
                  <a:pt x="5918742" y="680642"/>
                  <a:pt x="5918342" y="678912"/>
                  <a:pt x="5917677" y="677313"/>
                </a:cubicBezTo>
                <a:cubicBezTo>
                  <a:pt x="5917011" y="675584"/>
                  <a:pt x="5916079" y="674252"/>
                  <a:pt x="5915014" y="673054"/>
                </a:cubicBezTo>
                <a:cubicBezTo>
                  <a:pt x="5913950" y="671989"/>
                  <a:pt x="5912618" y="671057"/>
                  <a:pt x="5911021" y="670391"/>
                </a:cubicBezTo>
                <a:cubicBezTo>
                  <a:pt x="5909557" y="669726"/>
                  <a:pt x="5907826" y="669326"/>
                  <a:pt x="5905963" y="669326"/>
                </a:cubicBezTo>
                <a:close/>
                <a:moveTo>
                  <a:pt x="5688451" y="669326"/>
                </a:moveTo>
                <a:cubicBezTo>
                  <a:pt x="5682594" y="669326"/>
                  <a:pt x="5680064" y="671324"/>
                  <a:pt x="5678467" y="672920"/>
                </a:cubicBezTo>
                <a:cubicBezTo>
                  <a:pt x="5675938" y="675584"/>
                  <a:pt x="5674873" y="678379"/>
                  <a:pt x="5674873" y="682373"/>
                </a:cubicBezTo>
                <a:cubicBezTo>
                  <a:pt x="5674873" y="686633"/>
                  <a:pt x="5675938" y="689428"/>
                  <a:pt x="5678467" y="691957"/>
                </a:cubicBezTo>
                <a:cubicBezTo>
                  <a:pt x="5680064" y="693555"/>
                  <a:pt x="5682594" y="695418"/>
                  <a:pt x="5688451" y="695418"/>
                </a:cubicBezTo>
                <a:cubicBezTo>
                  <a:pt x="5690447" y="695418"/>
                  <a:pt x="5692178" y="695152"/>
                  <a:pt x="5693775" y="694486"/>
                </a:cubicBezTo>
                <a:cubicBezTo>
                  <a:pt x="5695239" y="693954"/>
                  <a:pt x="5696571" y="693155"/>
                  <a:pt x="5697502" y="692090"/>
                </a:cubicBezTo>
                <a:cubicBezTo>
                  <a:pt x="5698567" y="691025"/>
                  <a:pt x="5699499" y="689694"/>
                  <a:pt x="5700165" y="687964"/>
                </a:cubicBezTo>
                <a:cubicBezTo>
                  <a:pt x="5700830" y="686366"/>
                  <a:pt x="5701230" y="684503"/>
                  <a:pt x="5701230" y="682506"/>
                </a:cubicBezTo>
                <a:cubicBezTo>
                  <a:pt x="5701230" y="680642"/>
                  <a:pt x="5700830" y="678912"/>
                  <a:pt x="5700165" y="677314"/>
                </a:cubicBezTo>
                <a:cubicBezTo>
                  <a:pt x="5699499" y="675584"/>
                  <a:pt x="5698567" y="674253"/>
                  <a:pt x="5697502" y="673055"/>
                </a:cubicBezTo>
                <a:cubicBezTo>
                  <a:pt x="5696437" y="671990"/>
                  <a:pt x="5695106" y="671057"/>
                  <a:pt x="5693509" y="670392"/>
                </a:cubicBezTo>
                <a:cubicBezTo>
                  <a:pt x="5692045" y="669727"/>
                  <a:pt x="5690314" y="669326"/>
                  <a:pt x="5688451" y="669326"/>
                </a:cubicBezTo>
                <a:close/>
                <a:moveTo>
                  <a:pt x="6341253" y="669326"/>
                </a:moveTo>
                <a:cubicBezTo>
                  <a:pt x="6335396" y="669326"/>
                  <a:pt x="6332867" y="671323"/>
                  <a:pt x="6331270" y="672920"/>
                </a:cubicBezTo>
                <a:cubicBezTo>
                  <a:pt x="6328740" y="675583"/>
                  <a:pt x="6327675" y="678378"/>
                  <a:pt x="6327675" y="682372"/>
                </a:cubicBezTo>
                <a:cubicBezTo>
                  <a:pt x="6327675" y="686633"/>
                  <a:pt x="6328740" y="689428"/>
                  <a:pt x="6331270" y="691957"/>
                </a:cubicBezTo>
                <a:cubicBezTo>
                  <a:pt x="6332867" y="693555"/>
                  <a:pt x="6335396" y="695418"/>
                  <a:pt x="6341253" y="695418"/>
                </a:cubicBezTo>
                <a:cubicBezTo>
                  <a:pt x="6343250" y="695418"/>
                  <a:pt x="6345114" y="695152"/>
                  <a:pt x="6346578" y="694486"/>
                </a:cubicBezTo>
                <a:cubicBezTo>
                  <a:pt x="6348042" y="693954"/>
                  <a:pt x="6349373" y="693155"/>
                  <a:pt x="6350305" y="692090"/>
                </a:cubicBezTo>
                <a:cubicBezTo>
                  <a:pt x="6351370" y="691025"/>
                  <a:pt x="6352302" y="689693"/>
                  <a:pt x="6352968" y="687963"/>
                </a:cubicBezTo>
                <a:cubicBezTo>
                  <a:pt x="6353766" y="686365"/>
                  <a:pt x="6354033" y="684502"/>
                  <a:pt x="6354033" y="682505"/>
                </a:cubicBezTo>
                <a:cubicBezTo>
                  <a:pt x="6354033" y="680641"/>
                  <a:pt x="6353633" y="678911"/>
                  <a:pt x="6352968" y="677313"/>
                </a:cubicBezTo>
                <a:cubicBezTo>
                  <a:pt x="6352302" y="675583"/>
                  <a:pt x="6351370" y="674252"/>
                  <a:pt x="6350305" y="673054"/>
                </a:cubicBezTo>
                <a:cubicBezTo>
                  <a:pt x="6349241" y="671989"/>
                  <a:pt x="6347909" y="671057"/>
                  <a:pt x="6346312" y="670391"/>
                </a:cubicBezTo>
                <a:cubicBezTo>
                  <a:pt x="6344848" y="669726"/>
                  <a:pt x="6343250" y="669326"/>
                  <a:pt x="6341253" y="669326"/>
                </a:cubicBezTo>
                <a:close/>
                <a:moveTo>
                  <a:pt x="6776544" y="669326"/>
                </a:moveTo>
                <a:cubicBezTo>
                  <a:pt x="6770687" y="669326"/>
                  <a:pt x="6768157" y="671323"/>
                  <a:pt x="6766560" y="672920"/>
                </a:cubicBezTo>
                <a:cubicBezTo>
                  <a:pt x="6764031" y="675583"/>
                  <a:pt x="6762966" y="678378"/>
                  <a:pt x="6762966" y="682372"/>
                </a:cubicBezTo>
                <a:cubicBezTo>
                  <a:pt x="6762966" y="686632"/>
                  <a:pt x="6764031" y="689427"/>
                  <a:pt x="6766560" y="691956"/>
                </a:cubicBezTo>
                <a:cubicBezTo>
                  <a:pt x="6768157" y="693554"/>
                  <a:pt x="6770687" y="695417"/>
                  <a:pt x="6776544" y="695417"/>
                </a:cubicBezTo>
                <a:cubicBezTo>
                  <a:pt x="6778541" y="695417"/>
                  <a:pt x="6780270" y="695151"/>
                  <a:pt x="6781869" y="694485"/>
                </a:cubicBezTo>
                <a:cubicBezTo>
                  <a:pt x="6783333" y="693953"/>
                  <a:pt x="6784664" y="693154"/>
                  <a:pt x="6785595" y="692090"/>
                </a:cubicBezTo>
                <a:cubicBezTo>
                  <a:pt x="6786661" y="691024"/>
                  <a:pt x="6787593" y="689693"/>
                  <a:pt x="6788258" y="687963"/>
                </a:cubicBezTo>
                <a:cubicBezTo>
                  <a:pt x="6789057" y="686365"/>
                  <a:pt x="6789323" y="684502"/>
                  <a:pt x="6789323" y="682505"/>
                </a:cubicBezTo>
                <a:cubicBezTo>
                  <a:pt x="6789323" y="680641"/>
                  <a:pt x="6788923" y="678911"/>
                  <a:pt x="6788258" y="677313"/>
                </a:cubicBezTo>
                <a:cubicBezTo>
                  <a:pt x="6787593" y="675583"/>
                  <a:pt x="6786661" y="674252"/>
                  <a:pt x="6785595" y="673054"/>
                </a:cubicBezTo>
                <a:cubicBezTo>
                  <a:pt x="6784530" y="671989"/>
                  <a:pt x="6783199" y="671057"/>
                  <a:pt x="6781602" y="670391"/>
                </a:cubicBezTo>
                <a:cubicBezTo>
                  <a:pt x="6780138" y="669726"/>
                  <a:pt x="6778541" y="669326"/>
                  <a:pt x="6776544" y="669326"/>
                </a:cubicBezTo>
                <a:close/>
                <a:moveTo>
                  <a:pt x="6558899" y="669326"/>
                </a:moveTo>
                <a:cubicBezTo>
                  <a:pt x="6553042" y="669326"/>
                  <a:pt x="6550512" y="671323"/>
                  <a:pt x="6548915" y="672920"/>
                </a:cubicBezTo>
                <a:cubicBezTo>
                  <a:pt x="6546386" y="675583"/>
                  <a:pt x="6545321" y="678378"/>
                  <a:pt x="6545321" y="682372"/>
                </a:cubicBezTo>
                <a:cubicBezTo>
                  <a:pt x="6545321" y="686632"/>
                  <a:pt x="6546386" y="689427"/>
                  <a:pt x="6548915" y="691956"/>
                </a:cubicBezTo>
                <a:cubicBezTo>
                  <a:pt x="6550512" y="693555"/>
                  <a:pt x="6553042" y="695418"/>
                  <a:pt x="6558899" y="695418"/>
                </a:cubicBezTo>
                <a:cubicBezTo>
                  <a:pt x="6560895" y="695418"/>
                  <a:pt x="6562759" y="695151"/>
                  <a:pt x="6564223" y="694486"/>
                </a:cubicBezTo>
                <a:cubicBezTo>
                  <a:pt x="6565687" y="693953"/>
                  <a:pt x="6567019" y="693155"/>
                  <a:pt x="6567950" y="692090"/>
                </a:cubicBezTo>
                <a:cubicBezTo>
                  <a:pt x="6569015" y="691025"/>
                  <a:pt x="6569947" y="689693"/>
                  <a:pt x="6570612" y="687963"/>
                </a:cubicBezTo>
                <a:cubicBezTo>
                  <a:pt x="6571412" y="686365"/>
                  <a:pt x="6571677" y="684502"/>
                  <a:pt x="6571677" y="682505"/>
                </a:cubicBezTo>
                <a:cubicBezTo>
                  <a:pt x="6571677" y="680641"/>
                  <a:pt x="6571278" y="678911"/>
                  <a:pt x="6570612" y="677313"/>
                </a:cubicBezTo>
                <a:cubicBezTo>
                  <a:pt x="6569947" y="675583"/>
                  <a:pt x="6569015" y="674252"/>
                  <a:pt x="6567950" y="673054"/>
                </a:cubicBezTo>
                <a:cubicBezTo>
                  <a:pt x="6566885" y="671989"/>
                  <a:pt x="6565554" y="671057"/>
                  <a:pt x="6563956" y="670391"/>
                </a:cubicBezTo>
                <a:cubicBezTo>
                  <a:pt x="6562492" y="669726"/>
                  <a:pt x="6560895" y="669326"/>
                  <a:pt x="6558899" y="669326"/>
                </a:cubicBezTo>
                <a:close/>
                <a:moveTo>
                  <a:pt x="6994056" y="669326"/>
                </a:moveTo>
                <a:cubicBezTo>
                  <a:pt x="6988199" y="669326"/>
                  <a:pt x="6985669" y="671323"/>
                  <a:pt x="6984072" y="672920"/>
                </a:cubicBezTo>
                <a:cubicBezTo>
                  <a:pt x="6981543" y="675583"/>
                  <a:pt x="6980478" y="678378"/>
                  <a:pt x="6980478" y="682372"/>
                </a:cubicBezTo>
                <a:cubicBezTo>
                  <a:pt x="6980478" y="686632"/>
                  <a:pt x="6981543" y="689427"/>
                  <a:pt x="6984072" y="691956"/>
                </a:cubicBezTo>
                <a:cubicBezTo>
                  <a:pt x="6985669" y="693554"/>
                  <a:pt x="6988199" y="695417"/>
                  <a:pt x="6994056" y="695417"/>
                </a:cubicBezTo>
                <a:cubicBezTo>
                  <a:pt x="6996185" y="695417"/>
                  <a:pt x="6997916" y="695151"/>
                  <a:pt x="6999380" y="694485"/>
                </a:cubicBezTo>
                <a:cubicBezTo>
                  <a:pt x="7000844" y="693953"/>
                  <a:pt x="7002176" y="693154"/>
                  <a:pt x="7003107" y="692089"/>
                </a:cubicBezTo>
                <a:cubicBezTo>
                  <a:pt x="7004172" y="691024"/>
                  <a:pt x="7005104" y="689693"/>
                  <a:pt x="7005769" y="687963"/>
                </a:cubicBezTo>
                <a:cubicBezTo>
                  <a:pt x="7006568" y="686365"/>
                  <a:pt x="7006834" y="684502"/>
                  <a:pt x="7006834" y="682505"/>
                </a:cubicBezTo>
                <a:cubicBezTo>
                  <a:pt x="7006834" y="680641"/>
                  <a:pt x="7006435" y="678911"/>
                  <a:pt x="7005769" y="677313"/>
                </a:cubicBezTo>
                <a:cubicBezTo>
                  <a:pt x="7005104" y="675583"/>
                  <a:pt x="7004172" y="674252"/>
                  <a:pt x="7003107" y="673054"/>
                </a:cubicBezTo>
                <a:cubicBezTo>
                  <a:pt x="7002042" y="671989"/>
                  <a:pt x="7000711" y="671057"/>
                  <a:pt x="6999113" y="670391"/>
                </a:cubicBezTo>
                <a:cubicBezTo>
                  <a:pt x="6997649" y="669726"/>
                  <a:pt x="6996052" y="669326"/>
                  <a:pt x="6994056" y="669326"/>
                </a:cubicBezTo>
                <a:close/>
                <a:moveTo>
                  <a:pt x="7429345" y="669326"/>
                </a:moveTo>
                <a:cubicBezTo>
                  <a:pt x="7423488" y="669326"/>
                  <a:pt x="7420958" y="671323"/>
                  <a:pt x="7419361" y="672920"/>
                </a:cubicBezTo>
                <a:cubicBezTo>
                  <a:pt x="7416832" y="675583"/>
                  <a:pt x="7415768" y="678378"/>
                  <a:pt x="7415768" y="682372"/>
                </a:cubicBezTo>
                <a:cubicBezTo>
                  <a:pt x="7415768" y="686632"/>
                  <a:pt x="7416832" y="689427"/>
                  <a:pt x="7419361" y="691956"/>
                </a:cubicBezTo>
                <a:cubicBezTo>
                  <a:pt x="7420958" y="693554"/>
                  <a:pt x="7423488" y="695417"/>
                  <a:pt x="7429345" y="695417"/>
                </a:cubicBezTo>
                <a:cubicBezTo>
                  <a:pt x="7431342" y="695417"/>
                  <a:pt x="7433206" y="695151"/>
                  <a:pt x="7434670" y="694485"/>
                </a:cubicBezTo>
                <a:cubicBezTo>
                  <a:pt x="7436134" y="693953"/>
                  <a:pt x="7437466" y="693154"/>
                  <a:pt x="7438397" y="692089"/>
                </a:cubicBezTo>
                <a:cubicBezTo>
                  <a:pt x="7439462" y="691024"/>
                  <a:pt x="7440394" y="689693"/>
                  <a:pt x="7441059" y="687963"/>
                </a:cubicBezTo>
                <a:cubicBezTo>
                  <a:pt x="7441858" y="686365"/>
                  <a:pt x="7442124" y="684502"/>
                  <a:pt x="7442124" y="682505"/>
                </a:cubicBezTo>
                <a:cubicBezTo>
                  <a:pt x="7442124" y="680641"/>
                  <a:pt x="7441725" y="678911"/>
                  <a:pt x="7441059" y="677313"/>
                </a:cubicBezTo>
                <a:cubicBezTo>
                  <a:pt x="7440394" y="675583"/>
                  <a:pt x="7439462" y="674252"/>
                  <a:pt x="7438397" y="673054"/>
                </a:cubicBezTo>
                <a:cubicBezTo>
                  <a:pt x="7437332" y="671989"/>
                  <a:pt x="7436001" y="671057"/>
                  <a:pt x="7434403" y="670391"/>
                </a:cubicBezTo>
                <a:cubicBezTo>
                  <a:pt x="7432939" y="669726"/>
                  <a:pt x="7431342" y="669326"/>
                  <a:pt x="7429345" y="669326"/>
                </a:cubicBezTo>
                <a:close/>
                <a:moveTo>
                  <a:pt x="7211701" y="669326"/>
                </a:moveTo>
                <a:cubicBezTo>
                  <a:pt x="7205844" y="669326"/>
                  <a:pt x="7203314" y="671323"/>
                  <a:pt x="7201717" y="672920"/>
                </a:cubicBezTo>
                <a:cubicBezTo>
                  <a:pt x="7199188" y="675583"/>
                  <a:pt x="7198123" y="678378"/>
                  <a:pt x="7198123" y="682372"/>
                </a:cubicBezTo>
                <a:cubicBezTo>
                  <a:pt x="7198123" y="686632"/>
                  <a:pt x="7199188" y="689427"/>
                  <a:pt x="7201717" y="691956"/>
                </a:cubicBezTo>
                <a:cubicBezTo>
                  <a:pt x="7203314" y="693554"/>
                  <a:pt x="7205844" y="695417"/>
                  <a:pt x="7211701" y="695417"/>
                </a:cubicBezTo>
                <a:cubicBezTo>
                  <a:pt x="7213830" y="695417"/>
                  <a:pt x="7215561" y="695151"/>
                  <a:pt x="7217026" y="694485"/>
                </a:cubicBezTo>
                <a:cubicBezTo>
                  <a:pt x="7218490" y="693953"/>
                  <a:pt x="7219821" y="693154"/>
                  <a:pt x="7220752" y="692089"/>
                </a:cubicBezTo>
                <a:cubicBezTo>
                  <a:pt x="7221818" y="691024"/>
                  <a:pt x="7222750" y="689693"/>
                  <a:pt x="7223415" y="687963"/>
                </a:cubicBezTo>
                <a:cubicBezTo>
                  <a:pt x="7224214" y="686365"/>
                  <a:pt x="7224480" y="684502"/>
                  <a:pt x="7224480" y="682505"/>
                </a:cubicBezTo>
                <a:cubicBezTo>
                  <a:pt x="7224480" y="680641"/>
                  <a:pt x="7224080" y="678911"/>
                  <a:pt x="7223415" y="677313"/>
                </a:cubicBezTo>
                <a:cubicBezTo>
                  <a:pt x="7222750" y="675583"/>
                  <a:pt x="7221818" y="674252"/>
                  <a:pt x="7220752" y="673054"/>
                </a:cubicBezTo>
                <a:cubicBezTo>
                  <a:pt x="7219687" y="671989"/>
                  <a:pt x="7218356" y="671057"/>
                  <a:pt x="7216759" y="670391"/>
                </a:cubicBezTo>
                <a:cubicBezTo>
                  <a:pt x="7215295" y="669726"/>
                  <a:pt x="7213698" y="669326"/>
                  <a:pt x="7211701" y="669326"/>
                </a:cubicBezTo>
                <a:close/>
                <a:moveTo>
                  <a:pt x="7864636" y="669325"/>
                </a:moveTo>
                <a:cubicBezTo>
                  <a:pt x="7858779" y="669325"/>
                  <a:pt x="7856249" y="671323"/>
                  <a:pt x="7854652" y="672919"/>
                </a:cubicBezTo>
                <a:cubicBezTo>
                  <a:pt x="7852123" y="675583"/>
                  <a:pt x="7851058" y="678378"/>
                  <a:pt x="7851058" y="682372"/>
                </a:cubicBezTo>
                <a:cubicBezTo>
                  <a:pt x="7851058" y="686632"/>
                  <a:pt x="7852123" y="689427"/>
                  <a:pt x="7854652" y="691956"/>
                </a:cubicBezTo>
                <a:cubicBezTo>
                  <a:pt x="7856249" y="693554"/>
                  <a:pt x="7858779" y="695417"/>
                  <a:pt x="7864636" y="695417"/>
                </a:cubicBezTo>
                <a:cubicBezTo>
                  <a:pt x="7866633" y="695417"/>
                  <a:pt x="7868363" y="695151"/>
                  <a:pt x="7869961" y="694485"/>
                </a:cubicBezTo>
                <a:cubicBezTo>
                  <a:pt x="7871425" y="693953"/>
                  <a:pt x="7872756" y="693154"/>
                  <a:pt x="7873687" y="692089"/>
                </a:cubicBezTo>
                <a:cubicBezTo>
                  <a:pt x="7874753" y="691024"/>
                  <a:pt x="7875685" y="689693"/>
                  <a:pt x="7876350" y="687963"/>
                </a:cubicBezTo>
                <a:cubicBezTo>
                  <a:pt x="7877015" y="686365"/>
                  <a:pt x="7877282" y="684502"/>
                  <a:pt x="7877282" y="682505"/>
                </a:cubicBezTo>
                <a:cubicBezTo>
                  <a:pt x="7877282" y="680641"/>
                  <a:pt x="7877015" y="678911"/>
                  <a:pt x="7876350" y="677313"/>
                </a:cubicBezTo>
                <a:cubicBezTo>
                  <a:pt x="7875685" y="675583"/>
                  <a:pt x="7874753" y="674252"/>
                  <a:pt x="7873687" y="673054"/>
                </a:cubicBezTo>
                <a:cubicBezTo>
                  <a:pt x="7872623" y="671988"/>
                  <a:pt x="7871291" y="671056"/>
                  <a:pt x="7869694" y="670390"/>
                </a:cubicBezTo>
                <a:cubicBezTo>
                  <a:pt x="7868230" y="669726"/>
                  <a:pt x="7866633" y="669325"/>
                  <a:pt x="7864636" y="669325"/>
                </a:cubicBezTo>
                <a:close/>
                <a:moveTo>
                  <a:pt x="7646991" y="669325"/>
                </a:moveTo>
                <a:cubicBezTo>
                  <a:pt x="7641134" y="669325"/>
                  <a:pt x="7638604" y="671323"/>
                  <a:pt x="7637007" y="672920"/>
                </a:cubicBezTo>
                <a:cubicBezTo>
                  <a:pt x="7634478" y="675583"/>
                  <a:pt x="7633413" y="678378"/>
                  <a:pt x="7633413" y="682372"/>
                </a:cubicBezTo>
                <a:cubicBezTo>
                  <a:pt x="7633413" y="686632"/>
                  <a:pt x="7634478" y="689427"/>
                  <a:pt x="7637007" y="691956"/>
                </a:cubicBezTo>
                <a:cubicBezTo>
                  <a:pt x="7638604" y="693554"/>
                  <a:pt x="7641134" y="695417"/>
                  <a:pt x="7646991" y="695417"/>
                </a:cubicBezTo>
                <a:cubicBezTo>
                  <a:pt x="7648987" y="695417"/>
                  <a:pt x="7650851" y="695151"/>
                  <a:pt x="7652315" y="694485"/>
                </a:cubicBezTo>
                <a:cubicBezTo>
                  <a:pt x="7653780" y="693953"/>
                  <a:pt x="7655111" y="693154"/>
                  <a:pt x="7656042" y="692089"/>
                </a:cubicBezTo>
                <a:cubicBezTo>
                  <a:pt x="7657108" y="691024"/>
                  <a:pt x="7658039" y="689693"/>
                  <a:pt x="7658705" y="687963"/>
                </a:cubicBezTo>
                <a:cubicBezTo>
                  <a:pt x="7659504" y="686365"/>
                  <a:pt x="7659769" y="684502"/>
                  <a:pt x="7659769" y="682505"/>
                </a:cubicBezTo>
                <a:cubicBezTo>
                  <a:pt x="7659769" y="680641"/>
                  <a:pt x="7659370" y="678911"/>
                  <a:pt x="7658705" y="677313"/>
                </a:cubicBezTo>
                <a:cubicBezTo>
                  <a:pt x="7658039" y="675583"/>
                  <a:pt x="7657108" y="674252"/>
                  <a:pt x="7656042" y="673054"/>
                </a:cubicBezTo>
                <a:cubicBezTo>
                  <a:pt x="7654977" y="671989"/>
                  <a:pt x="7653646" y="671057"/>
                  <a:pt x="7652049" y="670391"/>
                </a:cubicBezTo>
                <a:cubicBezTo>
                  <a:pt x="7650584" y="669726"/>
                  <a:pt x="7648987" y="669325"/>
                  <a:pt x="7646991" y="669325"/>
                </a:cubicBezTo>
                <a:close/>
                <a:moveTo>
                  <a:pt x="8082281" y="669325"/>
                </a:moveTo>
                <a:cubicBezTo>
                  <a:pt x="8076424" y="669325"/>
                  <a:pt x="8073894" y="671323"/>
                  <a:pt x="8072297" y="672919"/>
                </a:cubicBezTo>
                <a:cubicBezTo>
                  <a:pt x="8069768" y="675582"/>
                  <a:pt x="8068703" y="678378"/>
                  <a:pt x="8068703" y="682372"/>
                </a:cubicBezTo>
                <a:cubicBezTo>
                  <a:pt x="8068703" y="686632"/>
                  <a:pt x="8069768" y="689427"/>
                  <a:pt x="8072297" y="691956"/>
                </a:cubicBezTo>
                <a:cubicBezTo>
                  <a:pt x="8073894" y="693554"/>
                  <a:pt x="8076424" y="695417"/>
                  <a:pt x="8082281" y="695417"/>
                </a:cubicBezTo>
                <a:cubicBezTo>
                  <a:pt x="8084277" y="695417"/>
                  <a:pt x="8086007" y="695151"/>
                  <a:pt x="8087605" y="694485"/>
                </a:cubicBezTo>
                <a:cubicBezTo>
                  <a:pt x="8089069" y="693953"/>
                  <a:pt x="8090401" y="693154"/>
                  <a:pt x="8091332" y="692089"/>
                </a:cubicBezTo>
                <a:cubicBezTo>
                  <a:pt x="8092397" y="691024"/>
                  <a:pt x="8093329" y="689693"/>
                  <a:pt x="8093994" y="687963"/>
                </a:cubicBezTo>
                <a:cubicBezTo>
                  <a:pt x="8094660" y="686365"/>
                  <a:pt x="8094926" y="684502"/>
                  <a:pt x="8094926" y="682505"/>
                </a:cubicBezTo>
                <a:cubicBezTo>
                  <a:pt x="8094926" y="680641"/>
                  <a:pt x="8094660" y="678911"/>
                  <a:pt x="8093994" y="677312"/>
                </a:cubicBezTo>
                <a:cubicBezTo>
                  <a:pt x="8093329" y="675582"/>
                  <a:pt x="8092397" y="674251"/>
                  <a:pt x="8091332" y="673053"/>
                </a:cubicBezTo>
                <a:cubicBezTo>
                  <a:pt x="8090267" y="671988"/>
                  <a:pt x="8088936" y="671056"/>
                  <a:pt x="8087338" y="670390"/>
                </a:cubicBezTo>
                <a:cubicBezTo>
                  <a:pt x="8085874" y="669725"/>
                  <a:pt x="8084277" y="669325"/>
                  <a:pt x="8082281" y="669325"/>
                </a:cubicBezTo>
                <a:close/>
                <a:moveTo>
                  <a:pt x="8299793" y="669325"/>
                </a:moveTo>
                <a:cubicBezTo>
                  <a:pt x="8294068" y="669325"/>
                  <a:pt x="8291406" y="671322"/>
                  <a:pt x="8289809" y="672919"/>
                </a:cubicBezTo>
                <a:cubicBezTo>
                  <a:pt x="8287280" y="675582"/>
                  <a:pt x="8286215" y="678377"/>
                  <a:pt x="8286215" y="682372"/>
                </a:cubicBezTo>
                <a:cubicBezTo>
                  <a:pt x="8286215" y="686632"/>
                  <a:pt x="8287280" y="689427"/>
                  <a:pt x="8289809" y="691956"/>
                </a:cubicBezTo>
                <a:cubicBezTo>
                  <a:pt x="8291406" y="693554"/>
                  <a:pt x="8293935" y="695417"/>
                  <a:pt x="8299793" y="695417"/>
                </a:cubicBezTo>
                <a:cubicBezTo>
                  <a:pt x="8301923" y="695417"/>
                  <a:pt x="8303653" y="695151"/>
                  <a:pt x="8305118" y="694485"/>
                </a:cubicBezTo>
                <a:cubicBezTo>
                  <a:pt x="8306582" y="693953"/>
                  <a:pt x="8307913" y="693154"/>
                  <a:pt x="8308844" y="692089"/>
                </a:cubicBezTo>
                <a:cubicBezTo>
                  <a:pt x="8309910" y="691024"/>
                  <a:pt x="8310842" y="689693"/>
                  <a:pt x="8311507" y="687963"/>
                </a:cubicBezTo>
                <a:cubicBezTo>
                  <a:pt x="8312172" y="686365"/>
                  <a:pt x="8312439" y="684502"/>
                  <a:pt x="8312439" y="682504"/>
                </a:cubicBezTo>
                <a:cubicBezTo>
                  <a:pt x="8312439" y="680640"/>
                  <a:pt x="8312172" y="678911"/>
                  <a:pt x="8311507" y="677312"/>
                </a:cubicBezTo>
                <a:cubicBezTo>
                  <a:pt x="8310842" y="675582"/>
                  <a:pt x="8309910" y="674251"/>
                  <a:pt x="8308844" y="673053"/>
                </a:cubicBezTo>
                <a:cubicBezTo>
                  <a:pt x="8307779" y="671988"/>
                  <a:pt x="8306448" y="671056"/>
                  <a:pt x="8304851" y="670390"/>
                </a:cubicBezTo>
                <a:cubicBezTo>
                  <a:pt x="8303387" y="669725"/>
                  <a:pt x="8301790" y="669325"/>
                  <a:pt x="8299793" y="669325"/>
                </a:cubicBezTo>
                <a:close/>
                <a:moveTo>
                  <a:pt x="8517438" y="669325"/>
                </a:moveTo>
                <a:cubicBezTo>
                  <a:pt x="8511713" y="669325"/>
                  <a:pt x="8509051" y="671322"/>
                  <a:pt x="8507453" y="672919"/>
                </a:cubicBezTo>
                <a:cubicBezTo>
                  <a:pt x="8504925" y="675582"/>
                  <a:pt x="8503860" y="678377"/>
                  <a:pt x="8503860" y="682372"/>
                </a:cubicBezTo>
                <a:cubicBezTo>
                  <a:pt x="8503860" y="686631"/>
                  <a:pt x="8504925" y="689427"/>
                  <a:pt x="8507453" y="691956"/>
                </a:cubicBezTo>
                <a:cubicBezTo>
                  <a:pt x="8509051" y="693554"/>
                  <a:pt x="8511581" y="695417"/>
                  <a:pt x="8517438" y="695417"/>
                </a:cubicBezTo>
                <a:cubicBezTo>
                  <a:pt x="8519568" y="695417"/>
                  <a:pt x="8521299" y="695151"/>
                  <a:pt x="8522763" y="694485"/>
                </a:cubicBezTo>
                <a:cubicBezTo>
                  <a:pt x="8524227" y="693953"/>
                  <a:pt x="8525559" y="693154"/>
                  <a:pt x="8526490" y="692089"/>
                </a:cubicBezTo>
                <a:cubicBezTo>
                  <a:pt x="8527555" y="691024"/>
                  <a:pt x="8528487" y="689693"/>
                  <a:pt x="8529152" y="687963"/>
                </a:cubicBezTo>
                <a:cubicBezTo>
                  <a:pt x="8529818" y="686364"/>
                  <a:pt x="8530084" y="684501"/>
                  <a:pt x="8530084" y="682504"/>
                </a:cubicBezTo>
                <a:cubicBezTo>
                  <a:pt x="8530084" y="680640"/>
                  <a:pt x="8529818" y="678910"/>
                  <a:pt x="8529152" y="677312"/>
                </a:cubicBezTo>
                <a:cubicBezTo>
                  <a:pt x="8528487" y="675582"/>
                  <a:pt x="8527555" y="674251"/>
                  <a:pt x="8526490" y="673053"/>
                </a:cubicBezTo>
                <a:cubicBezTo>
                  <a:pt x="8525425" y="671988"/>
                  <a:pt x="8524094" y="671056"/>
                  <a:pt x="8522496" y="670390"/>
                </a:cubicBezTo>
                <a:cubicBezTo>
                  <a:pt x="8521032" y="669725"/>
                  <a:pt x="8519302" y="669325"/>
                  <a:pt x="8517438" y="669325"/>
                </a:cubicBezTo>
                <a:close/>
                <a:moveTo>
                  <a:pt x="8735083" y="669325"/>
                </a:moveTo>
                <a:cubicBezTo>
                  <a:pt x="8729358" y="669325"/>
                  <a:pt x="8726695" y="671322"/>
                  <a:pt x="8725098" y="672919"/>
                </a:cubicBezTo>
                <a:cubicBezTo>
                  <a:pt x="8722569" y="675582"/>
                  <a:pt x="8721504" y="678377"/>
                  <a:pt x="8721504" y="682371"/>
                </a:cubicBezTo>
                <a:cubicBezTo>
                  <a:pt x="8721504" y="686631"/>
                  <a:pt x="8722569" y="689426"/>
                  <a:pt x="8725098" y="691955"/>
                </a:cubicBezTo>
                <a:cubicBezTo>
                  <a:pt x="8726695" y="693553"/>
                  <a:pt x="8729225" y="695416"/>
                  <a:pt x="8735083" y="695416"/>
                </a:cubicBezTo>
                <a:cubicBezTo>
                  <a:pt x="8737079" y="695416"/>
                  <a:pt x="8738943" y="695151"/>
                  <a:pt x="8740407" y="694484"/>
                </a:cubicBezTo>
                <a:cubicBezTo>
                  <a:pt x="8741872" y="693953"/>
                  <a:pt x="8743203" y="693153"/>
                  <a:pt x="8744134" y="692089"/>
                </a:cubicBezTo>
                <a:cubicBezTo>
                  <a:pt x="8745200" y="691024"/>
                  <a:pt x="8746132" y="689692"/>
                  <a:pt x="8746797" y="687962"/>
                </a:cubicBezTo>
                <a:cubicBezTo>
                  <a:pt x="8747596" y="686364"/>
                  <a:pt x="8747862" y="684501"/>
                  <a:pt x="8747862" y="682504"/>
                </a:cubicBezTo>
                <a:cubicBezTo>
                  <a:pt x="8747862" y="680640"/>
                  <a:pt x="8747462" y="678910"/>
                  <a:pt x="8746797" y="677312"/>
                </a:cubicBezTo>
                <a:cubicBezTo>
                  <a:pt x="8746132" y="675582"/>
                  <a:pt x="8745200" y="674251"/>
                  <a:pt x="8744134" y="673053"/>
                </a:cubicBezTo>
                <a:cubicBezTo>
                  <a:pt x="8743069" y="671988"/>
                  <a:pt x="8741738" y="671056"/>
                  <a:pt x="8740141" y="670390"/>
                </a:cubicBezTo>
                <a:cubicBezTo>
                  <a:pt x="8738677" y="669725"/>
                  <a:pt x="8736946" y="669325"/>
                  <a:pt x="8735083" y="669325"/>
                </a:cubicBezTo>
                <a:close/>
                <a:moveTo>
                  <a:pt x="8952728" y="669325"/>
                </a:moveTo>
                <a:cubicBezTo>
                  <a:pt x="8947003" y="669325"/>
                  <a:pt x="8944340" y="671322"/>
                  <a:pt x="8942743" y="672919"/>
                </a:cubicBezTo>
                <a:cubicBezTo>
                  <a:pt x="8940214" y="675582"/>
                  <a:pt x="8939150" y="678377"/>
                  <a:pt x="8939150" y="682371"/>
                </a:cubicBezTo>
                <a:cubicBezTo>
                  <a:pt x="8939150" y="686631"/>
                  <a:pt x="8940214" y="689426"/>
                  <a:pt x="8942743" y="691955"/>
                </a:cubicBezTo>
                <a:cubicBezTo>
                  <a:pt x="8944340" y="693553"/>
                  <a:pt x="8946870" y="695416"/>
                  <a:pt x="8952728" y="695416"/>
                </a:cubicBezTo>
                <a:cubicBezTo>
                  <a:pt x="8954725" y="695416"/>
                  <a:pt x="8956589" y="695150"/>
                  <a:pt x="8958053" y="694484"/>
                </a:cubicBezTo>
                <a:cubicBezTo>
                  <a:pt x="8959517" y="693952"/>
                  <a:pt x="8960849" y="693153"/>
                  <a:pt x="8961780" y="692089"/>
                </a:cubicBezTo>
                <a:cubicBezTo>
                  <a:pt x="8962845" y="691023"/>
                  <a:pt x="8963777" y="689692"/>
                  <a:pt x="8964442" y="687962"/>
                </a:cubicBezTo>
                <a:cubicBezTo>
                  <a:pt x="8965241" y="686364"/>
                  <a:pt x="8965507" y="684501"/>
                  <a:pt x="8965507" y="682504"/>
                </a:cubicBezTo>
                <a:cubicBezTo>
                  <a:pt x="8965507" y="680640"/>
                  <a:pt x="8965108" y="678910"/>
                  <a:pt x="8964442" y="677312"/>
                </a:cubicBezTo>
                <a:cubicBezTo>
                  <a:pt x="8963777" y="675582"/>
                  <a:pt x="8962845" y="674251"/>
                  <a:pt x="8961780" y="673053"/>
                </a:cubicBezTo>
                <a:cubicBezTo>
                  <a:pt x="8960715" y="671988"/>
                  <a:pt x="8959384" y="671056"/>
                  <a:pt x="8957786" y="670390"/>
                </a:cubicBezTo>
                <a:cubicBezTo>
                  <a:pt x="8956322" y="669725"/>
                  <a:pt x="8954592" y="669325"/>
                  <a:pt x="8952728" y="669325"/>
                </a:cubicBezTo>
                <a:close/>
                <a:moveTo>
                  <a:pt x="9170374" y="669325"/>
                </a:moveTo>
                <a:cubicBezTo>
                  <a:pt x="9164649" y="669325"/>
                  <a:pt x="9161986" y="671322"/>
                  <a:pt x="9160389" y="672919"/>
                </a:cubicBezTo>
                <a:cubicBezTo>
                  <a:pt x="9157860" y="675582"/>
                  <a:pt x="9156795" y="678377"/>
                  <a:pt x="9156795" y="682371"/>
                </a:cubicBezTo>
                <a:cubicBezTo>
                  <a:pt x="9156795" y="686631"/>
                  <a:pt x="9157860" y="689426"/>
                  <a:pt x="9160389" y="691955"/>
                </a:cubicBezTo>
                <a:cubicBezTo>
                  <a:pt x="9161986" y="693553"/>
                  <a:pt x="9164516" y="695416"/>
                  <a:pt x="9170374" y="695416"/>
                </a:cubicBezTo>
                <a:cubicBezTo>
                  <a:pt x="9172370" y="695416"/>
                  <a:pt x="9174100" y="695150"/>
                  <a:pt x="9175698" y="694484"/>
                </a:cubicBezTo>
                <a:cubicBezTo>
                  <a:pt x="9177163" y="693952"/>
                  <a:pt x="9178494" y="693153"/>
                  <a:pt x="9179425" y="692088"/>
                </a:cubicBezTo>
                <a:cubicBezTo>
                  <a:pt x="9180491" y="691023"/>
                  <a:pt x="9181422" y="689692"/>
                  <a:pt x="9182088" y="687962"/>
                </a:cubicBezTo>
                <a:cubicBezTo>
                  <a:pt x="9182887" y="686364"/>
                  <a:pt x="9183152" y="684501"/>
                  <a:pt x="9183152" y="682504"/>
                </a:cubicBezTo>
                <a:cubicBezTo>
                  <a:pt x="9183152" y="680640"/>
                  <a:pt x="9182753" y="678910"/>
                  <a:pt x="9182088" y="677312"/>
                </a:cubicBezTo>
                <a:cubicBezTo>
                  <a:pt x="9181422" y="675582"/>
                  <a:pt x="9180491" y="674251"/>
                  <a:pt x="9179425" y="673053"/>
                </a:cubicBezTo>
                <a:cubicBezTo>
                  <a:pt x="9178360" y="671988"/>
                  <a:pt x="9177029" y="671056"/>
                  <a:pt x="9175432" y="670390"/>
                </a:cubicBezTo>
                <a:cubicBezTo>
                  <a:pt x="9173967" y="669725"/>
                  <a:pt x="9172237" y="669325"/>
                  <a:pt x="9170374" y="669325"/>
                </a:cubicBezTo>
                <a:close/>
                <a:moveTo>
                  <a:pt x="9387885" y="669325"/>
                </a:moveTo>
                <a:cubicBezTo>
                  <a:pt x="9382027" y="669325"/>
                  <a:pt x="9379497" y="671322"/>
                  <a:pt x="9377900" y="672919"/>
                </a:cubicBezTo>
                <a:cubicBezTo>
                  <a:pt x="9375371" y="675582"/>
                  <a:pt x="9374307" y="678377"/>
                  <a:pt x="9374307" y="682371"/>
                </a:cubicBezTo>
                <a:cubicBezTo>
                  <a:pt x="9374307" y="686631"/>
                  <a:pt x="9375371" y="689426"/>
                  <a:pt x="9377900" y="691955"/>
                </a:cubicBezTo>
                <a:cubicBezTo>
                  <a:pt x="9379497" y="693553"/>
                  <a:pt x="9382027" y="695416"/>
                  <a:pt x="9387885" y="695416"/>
                </a:cubicBezTo>
                <a:cubicBezTo>
                  <a:pt x="9390015" y="695416"/>
                  <a:pt x="9391746" y="695150"/>
                  <a:pt x="9393210" y="694484"/>
                </a:cubicBezTo>
                <a:cubicBezTo>
                  <a:pt x="9394674" y="693952"/>
                  <a:pt x="9396005" y="693153"/>
                  <a:pt x="9396937" y="692088"/>
                </a:cubicBezTo>
                <a:cubicBezTo>
                  <a:pt x="9398002" y="691023"/>
                  <a:pt x="9398934" y="689692"/>
                  <a:pt x="9399599" y="687962"/>
                </a:cubicBezTo>
                <a:cubicBezTo>
                  <a:pt x="9400398" y="686364"/>
                  <a:pt x="9400664" y="684501"/>
                  <a:pt x="9400664" y="682504"/>
                </a:cubicBezTo>
                <a:cubicBezTo>
                  <a:pt x="9400664" y="680640"/>
                  <a:pt x="9400265" y="678910"/>
                  <a:pt x="9399599" y="677312"/>
                </a:cubicBezTo>
                <a:cubicBezTo>
                  <a:pt x="9398934" y="675582"/>
                  <a:pt x="9398002" y="674251"/>
                  <a:pt x="9396937" y="673053"/>
                </a:cubicBezTo>
                <a:cubicBezTo>
                  <a:pt x="9395872" y="671988"/>
                  <a:pt x="9394541" y="671056"/>
                  <a:pt x="9392943" y="670390"/>
                </a:cubicBezTo>
                <a:cubicBezTo>
                  <a:pt x="9391479" y="669725"/>
                  <a:pt x="9389749" y="669325"/>
                  <a:pt x="9387885" y="669325"/>
                </a:cubicBezTo>
                <a:close/>
                <a:moveTo>
                  <a:pt x="9605531" y="669325"/>
                </a:moveTo>
                <a:cubicBezTo>
                  <a:pt x="9599673" y="669325"/>
                  <a:pt x="9597143" y="671322"/>
                  <a:pt x="9595546" y="672919"/>
                </a:cubicBezTo>
                <a:cubicBezTo>
                  <a:pt x="9593017" y="675582"/>
                  <a:pt x="9591952" y="678377"/>
                  <a:pt x="9591952" y="682371"/>
                </a:cubicBezTo>
                <a:cubicBezTo>
                  <a:pt x="9591952" y="686631"/>
                  <a:pt x="9593017" y="689426"/>
                  <a:pt x="9595546" y="691955"/>
                </a:cubicBezTo>
                <a:cubicBezTo>
                  <a:pt x="9597143" y="693553"/>
                  <a:pt x="9599673" y="695416"/>
                  <a:pt x="9605531" y="695416"/>
                </a:cubicBezTo>
                <a:cubicBezTo>
                  <a:pt x="9607660" y="695416"/>
                  <a:pt x="9609391" y="695150"/>
                  <a:pt x="9610855" y="694484"/>
                </a:cubicBezTo>
                <a:cubicBezTo>
                  <a:pt x="9612319" y="693952"/>
                  <a:pt x="9613651" y="693153"/>
                  <a:pt x="9614582" y="692088"/>
                </a:cubicBezTo>
                <a:cubicBezTo>
                  <a:pt x="9615647" y="691023"/>
                  <a:pt x="9616579" y="689692"/>
                  <a:pt x="9617245" y="687962"/>
                </a:cubicBezTo>
                <a:cubicBezTo>
                  <a:pt x="9618044" y="686364"/>
                  <a:pt x="9618309" y="684501"/>
                  <a:pt x="9618309" y="682504"/>
                </a:cubicBezTo>
                <a:cubicBezTo>
                  <a:pt x="9618309" y="680640"/>
                  <a:pt x="9617910" y="678910"/>
                  <a:pt x="9617245" y="677312"/>
                </a:cubicBezTo>
                <a:cubicBezTo>
                  <a:pt x="9616579" y="675582"/>
                  <a:pt x="9615647" y="674251"/>
                  <a:pt x="9614582" y="673053"/>
                </a:cubicBezTo>
                <a:cubicBezTo>
                  <a:pt x="9613517" y="671988"/>
                  <a:pt x="9612186" y="671056"/>
                  <a:pt x="9610589" y="670390"/>
                </a:cubicBezTo>
                <a:cubicBezTo>
                  <a:pt x="9609124" y="669725"/>
                  <a:pt x="9607394" y="669325"/>
                  <a:pt x="9605531" y="669325"/>
                </a:cubicBezTo>
                <a:close/>
                <a:moveTo>
                  <a:pt x="9823176" y="669324"/>
                </a:moveTo>
                <a:cubicBezTo>
                  <a:pt x="9817318" y="669324"/>
                  <a:pt x="9814788" y="671322"/>
                  <a:pt x="9813191" y="672919"/>
                </a:cubicBezTo>
                <a:cubicBezTo>
                  <a:pt x="9810662" y="675582"/>
                  <a:pt x="9809597" y="678377"/>
                  <a:pt x="9809597" y="682371"/>
                </a:cubicBezTo>
                <a:cubicBezTo>
                  <a:pt x="9809597" y="686631"/>
                  <a:pt x="9810662" y="689426"/>
                  <a:pt x="9813191" y="691955"/>
                </a:cubicBezTo>
                <a:cubicBezTo>
                  <a:pt x="9814788" y="693553"/>
                  <a:pt x="9817318" y="695416"/>
                  <a:pt x="9823176" y="695416"/>
                </a:cubicBezTo>
                <a:cubicBezTo>
                  <a:pt x="9825173" y="695416"/>
                  <a:pt x="9827036" y="695150"/>
                  <a:pt x="9828501" y="694484"/>
                </a:cubicBezTo>
                <a:cubicBezTo>
                  <a:pt x="9830098" y="693952"/>
                  <a:pt x="9831296" y="693153"/>
                  <a:pt x="9832227" y="692088"/>
                </a:cubicBezTo>
                <a:cubicBezTo>
                  <a:pt x="9833293" y="691023"/>
                  <a:pt x="9834225" y="689692"/>
                  <a:pt x="9834890" y="687962"/>
                </a:cubicBezTo>
                <a:cubicBezTo>
                  <a:pt x="9835689" y="686364"/>
                  <a:pt x="9835955" y="684501"/>
                  <a:pt x="9835955" y="682504"/>
                </a:cubicBezTo>
                <a:cubicBezTo>
                  <a:pt x="9835955" y="680640"/>
                  <a:pt x="9835555" y="678910"/>
                  <a:pt x="9834890" y="677312"/>
                </a:cubicBezTo>
                <a:cubicBezTo>
                  <a:pt x="9834225" y="675582"/>
                  <a:pt x="9833293" y="674251"/>
                  <a:pt x="9832227" y="673053"/>
                </a:cubicBezTo>
                <a:cubicBezTo>
                  <a:pt x="9831162" y="671988"/>
                  <a:pt x="9829831" y="671055"/>
                  <a:pt x="9828234" y="670390"/>
                </a:cubicBezTo>
                <a:cubicBezTo>
                  <a:pt x="9826770" y="669725"/>
                  <a:pt x="9825173" y="669324"/>
                  <a:pt x="9823176" y="669324"/>
                </a:cubicBezTo>
                <a:close/>
                <a:moveTo>
                  <a:pt x="10040820" y="669324"/>
                </a:moveTo>
                <a:cubicBezTo>
                  <a:pt x="10034962" y="669324"/>
                  <a:pt x="10032433" y="671322"/>
                  <a:pt x="10030835" y="672918"/>
                </a:cubicBezTo>
                <a:cubicBezTo>
                  <a:pt x="10028306" y="675582"/>
                  <a:pt x="10027242" y="678377"/>
                  <a:pt x="10027242" y="682371"/>
                </a:cubicBezTo>
                <a:cubicBezTo>
                  <a:pt x="10027242" y="686631"/>
                  <a:pt x="10028306" y="689426"/>
                  <a:pt x="10030835" y="691955"/>
                </a:cubicBezTo>
                <a:cubicBezTo>
                  <a:pt x="10032433" y="693553"/>
                  <a:pt x="10034962" y="695416"/>
                  <a:pt x="10040820" y="695416"/>
                </a:cubicBezTo>
                <a:cubicBezTo>
                  <a:pt x="10042817" y="695416"/>
                  <a:pt x="10044681" y="695150"/>
                  <a:pt x="10046145" y="694484"/>
                </a:cubicBezTo>
                <a:cubicBezTo>
                  <a:pt x="10047742" y="693952"/>
                  <a:pt x="10048941" y="693153"/>
                  <a:pt x="10049872" y="692088"/>
                </a:cubicBezTo>
                <a:cubicBezTo>
                  <a:pt x="10050937" y="691023"/>
                  <a:pt x="10051869" y="689692"/>
                  <a:pt x="10052534" y="687962"/>
                </a:cubicBezTo>
                <a:cubicBezTo>
                  <a:pt x="10053333" y="686364"/>
                  <a:pt x="10053599" y="684501"/>
                  <a:pt x="10053599" y="682504"/>
                </a:cubicBezTo>
                <a:cubicBezTo>
                  <a:pt x="10053599" y="680640"/>
                  <a:pt x="10053200" y="678910"/>
                  <a:pt x="10052534" y="677311"/>
                </a:cubicBezTo>
                <a:cubicBezTo>
                  <a:pt x="10051869" y="675582"/>
                  <a:pt x="10050937" y="674251"/>
                  <a:pt x="10049872" y="673053"/>
                </a:cubicBezTo>
                <a:cubicBezTo>
                  <a:pt x="10048807" y="671987"/>
                  <a:pt x="10047476" y="671055"/>
                  <a:pt x="10045878" y="670389"/>
                </a:cubicBezTo>
                <a:cubicBezTo>
                  <a:pt x="10044414" y="669724"/>
                  <a:pt x="10042817" y="669324"/>
                  <a:pt x="10040820" y="669324"/>
                </a:cubicBezTo>
                <a:close/>
                <a:moveTo>
                  <a:pt x="10258466" y="669324"/>
                </a:moveTo>
                <a:cubicBezTo>
                  <a:pt x="10252608" y="669324"/>
                  <a:pt x="10250078" y="671321"/>
                  <a:pt x="10248481" y="672918"/>
                </a:cubicBezTo>
                <a:cubicBezTo>
                  <a:pt x="10245952" y="675581"/>
                  <a:pt x="10244887" y="678377"/>
                  <a:pt x="10244887" y="682371"/>
                </a:cubicBezTo>
                <a:cubicBezTo>
                  <a:pt x="10244887" y="686631"/>
                  <a:pt x="10245952" y="689426"/>
                  <a:pt x="10248481" y="691955"/>
                </a:cubicBezTo>
                <a:cubicBezTo>
                  <a:pt x="10250078" y="693553"/>
                  <a:pt x="10252608" y="695416"/>
                  <a:pt x="10258466" y="695416"/>
                </a:cubicBezTo>
                <a:cubicBezTo>
                  <a:pt x="10260462" y="695416"/>
                  <a:pt x="10262192" y="695150"/>
                  <a:pt x="10263790" y="694484"/>
                </a:cubicBezTo>
                <a:cubicBezTo>
                  <a:pt x="10265388" y="693952"/>
                  <a:pt x="10266586" y="693153"/>
                  <a:pt x="10267517" y="692088"/>
                </a:cubicBezTo>
                <a:cubicBezTo>
                  <a:pt x="10268583" y="691023"/>
                  <a:pt x="10269515" y="689692"/>
                  <a:pt x="10270180" y="687962"/>
                </a:cubicBezTo>
                <a:cubicBezTo>
                  <a:pt x="10270845" y="686364"/>
                  <a:pt x="10271112" y="684501"/>
                  <a:pt x="10271112" y="682504"/>
                </a:cubicBezTo>
                <a:cubicBezTo>
                  <a:pt x="10271112" y="680639"/>
                  <a:pt x="10270845" y="678910"/>
                  <a:pt x="10270180" y="677311"/>
                </a:cubicBezTo>
                <a:cubicBezTo>
                  <a:pt x="10269515" y="675581"/>
                  <a:pt x="10268583" y="674251"/>
                  <a:pt x="10267517" y="673053"/>
                </a:cubicBezTo>
                <a:cubicBezTo>
                  <a:pt x="10266452" y="671987"/>
                  <a:pt x="10265121" y="671055"/>
                  <a:pt x="10263524" y="670389"/>
                </a:cubicBezTo>
                <a:cubicBezTo>
                  <a:pt x="10262060" y="669724"/>
                  <a:pt x="10260462" y="669324"/>
                  <a:pt x="10258466" y="669324"/>
                </a:cubicBezTo>
                <a:close/>
                <a:moveTo>
                  <a:pt x="10475977" y="669324"/>
                </a:moveTo>
                <a:cubicBezTo>
                  <a:pt x="10470119" y="669324"/>
                  <a:pt x="10467589" y="671321"/>
                  <a:pt x="10465992" y="672918"/>
                </a:cubicBezTo>
                <a:cubicBezTo>
                  <a:pt x="10463463" y="675581"/>
                  <a:pt x="10462399" y="678376"/>
                  <a:pt x="10462399" y="682371"/>
                </a:cubicBezTo>
                <a:cubicBezTo>
                  <a:pt x="10462399" y="686631"/>
                  <a:pt x="10463463" y="689426"/>
                  <a:pt x="10465992" y="691955"/>
                </a:cubicBezTo>
                <a:cubicBezTo>
                  <a:pt x="10467589" y="693553"/>
                  <a:pt x="10470119" y="695416"/>
                  <a:pt x="10475977" y="695416"/>
                </a:cubicBezTo>
                <a:cubicBezTo>
                  <a:pt x="10478107" y="695416"/>
                  <a:pt x="10479838" y="695150"/>
                  <a:pt x="10481302" y="694484"/>
                </a:cubicBezTo>
                <a:cubicBezTo>
                  <a:pt x="10482899" y="693952"/>
                  <a:pt x="10484098" y="693153"/>
                  <a:pt x="10485029" y="692088"/>
                </a:cubicBezTo>
                <a:cubicBezTo>
                  <a:pt x="10486094" y="691023"/>
                  <a:pt x="10487026" y="689692"/>
                  <a:pt x="10487691" y="687962"/>
                </a:cubicBezTo>
                <a:cubicBezTo>
                  <a:pt x="10488357" y="686364"/>
                  <a:pt x="10488623" y="684500"/>
                  <a:pt x="10488623" y="682503"/>
                </a:cubicBezTo>
                <a:cubicBezTo>
                  <a:pt x="10488623" y="680639"/>
                  <a:pt x="10488357" y="678910"/>
                  <a:pt x="10487691" y="677311"/>
                </a:cubicBezTo>
                <a:cubicBezTo>
                  <a:pt x="10487026" y="675581"/>
                  <a:pt x="10486094" y="674250"/>
                  <a:pt x="10485029" y="673052"/>
                </a:cubicBezTo>
                <a:cubicBezTo>
                  <a:pt x="10483964" y="671987"/>
                  <a:pt x="10482633" y="671055"/>
                  <a:pt x="10481035" y="670389"/>
                </a:cubicBezTo>
                <a:cubicBezTo>
                  <a:pt x="10479571" y="669724"/>
                  <a:pt x="10477974" y="669324"/>
                  <a:pt x="10475977" y="669324"/>
                </a:cubicBezTo>
                <a:close/>
                <a:moveTo>
                  <a:pt x="30240" y="652823"/>
                </a:moveTo>
                <a:cubicBezTo>
                  <a:pt x="34500" y="652823"/>
                  <a:pt x="38494" y="653622"/>
                  <a:pt x="41955" y="655352"/>
                </a:cubicBezTo>
                <a:cubicBezTo>
                  <a:pt x="45682" y="656950"/>
                  <a:pt x="48744" y="659079"/>
                  <a:pt x="51273" y="661742"/>
                </a:cubicBezTo>
                <a:cubicBezTo>
                  <a:pt x="53935" y="664404"/>
                  <a:pt x="55932" y="667599"/>
                  <a:pt x="57396" y="671193"/>
                </a:cubicBezTo>
                <a:cubicBezTo>
                  <a:pt x="58860" y="674787"/>
                  <a:pt x="59659" y="678647"/>
                  <a:pt x="59659" y="682641"/>
                </a:cubicBezTo>
                <a:cubicBezTo>
                  <a:pt x="59659" y="686768"/>
                  <a:pt x="58860" y="690762"/>
                  <a:pt x="57396" y="694356"/>
                </a:cubicBezTo>
                <a:cubicBezTo>
                  <a:pt x="55932" y="697950"/>
                  <a:pt x="53802" y="701012"/>
                  <a:pt x="51273" y="703674"/>
                </a:cubicBezTo>
                <a:cubicBezTo>
                  <a:pt x="48610" y="706337"/>
                  <a:pt x="45549" y="708467"/>
                  <a:pt x="41955" y="709931"/>
                </a:cubicBezTo>
                <a:cubicBezTo>
                  <a:pt x="38361" y="711395"/>
                  <a:pt x="34500" y="712194"/>
                  <a:pt x="30240" y="712194"/>
                </a:cubicBezTo>
                <a:cubicBezTo>
                  <a:pt x="21322" y="712194"/>
                  <a:pt x="14000" y="709265"/>
                  <a:pt x="8409" y="703674"/>
                </a:cubicBezTo>
                <a:cubicBezTo>
                  <a:pt x="2818" y="698083"/>
                  <a:pt x="23" y="691028"/>
                  <a:pt x="23" y="682508"/>
                </a:cubicBezTo>
                <a:cubicBezTo>
                  <a:pt x="23" y="674255"/>
                  <a:pt x="2818" y="667199"/>
                  <a:pt x="8409" y="661475"/>
                </a:cubicBezTo>
                <a:cubicBezTo>
                  <a:pt x="14000" y="655751"/>
                  <a:pt x="21188" y="652823"/>
                  <a:pt x="30240" y="652823"/>
                </a:cubicBezTo>
                <a:close/>
                <a:moveTo>
                  <a:pt x="465528" y="652823"/>
                </a:moveTo>
                <a:cubicBezTo>
                  <a:pt x="469788" y="652823"/>
                  <a:pt x="473649" y="653622"/>
                  <a:pt x="477244" y="655352"/>
                </a:cubicBezTo>
                <a:cubicBezTo>
                  <a:pt x="480971" y="656950"/>
                  <a:pt x="484032" y="659079"/>
                  <a:pt x="486561" y="661742"/>
                </a:cubicBezTo>
                <a:cubicBezTo>
                  <a:pt x="489224" y="664404"/>
                  <a:pt x="491221" y="667599"/>
                  <a:pt x="492685" y="671193"/>
                </a:cubicBezTo>
                <a:cubicBezTo>
                  <a:pt x="494149" y="674787"/>
                  <a:pt x="494948" y="678647"/>
                  <a:pt x="494948" y="682641"/>
                </a:cubicBezTo>
                <a:cubicBezTo>
                  <a:pt x="494948" y="686768"/>
                  <a:pt x="494149" y="690761"/>
                  <a:pt x="492685" y="694355"/>
                </a:cubicBezTo>
                <a:cubicBezTo>
                  <a:pt x="491221" y="697950"/>
                  <a:pt x="489091" y="701011"/>
                  <a:pt x="486561" y="703673"/>
                </a:cubicBezTo>
                <a:cubicBezTo>
                  <a:pt x="483898" y="706337"/>
                  <a:pt x="480838" y="708467"/>
                  <a:pt x="477244" y="709931"/>
                </a:cubicBezTo>
                <a:cubicBezTo>
                  <a:pt x="473649" y="711395"/>
                  <a:pt x="469788" y="712194"/>
                  <a:pt x="465528" y="712194"/>
                </a:cubicBezTo>
                <a:cubicBezTo>
                  <a:pt x="456610" y="712194"/>
                  <a:pt x="449288" y="709265"/>
                  <a:pt x="443697" y="703673"/>
                </a:cubicBezTo>
                <a:cubicBezTo>
                  <a:pt x="438106" y="698082"/>
                  <a:pt x="435311" y="691027"/>
                  <a:pt x="435311" y="682508"/>
                </a:cubicBezTo>
                <a:cubicBezTo>
                  <a:pt x="435311" y="674255"/>
                  <a:pt x="438106" y="667199"/>
                  <a:pt x="443697" y="661475"/>
                </a:cubicBezTo>
                <a:cubicBezTo>
                  <a:pt x="449288" y="655751"/>
                  <a:pt x="456477" y="652823"/>
                  <a:pt x="465528" y="652823"/>
                </a:cubicBezTo>
                <a:close/>
                <a:moveTo>
                  <a:pt x="247884" y="652823"/>
                </a:moveTo>
                <a:cubicBezTo>
                  <a:pt x="252144" y="652823"/>
                  <a:pt x="256138" y="653622"/>
                  <a:pt x="259599" y="655352"/>
                </a:cubicBezTo>
                <a:cubicBezTo>
                  <a:pt x="263326" y="656950"/>
                  <a:pt x="266388" y="659079"/>
                  <a:pt x="268917" y="661742"/>
                </a:cubicBezTo>
                <a:cubicBezTo>
                  <a:pt x="271579" y="664404"/>
                  <a:pt x="273576" y="667599"/>
                  <a:pt x="275040" y="671193"/>
                </a:cubicBezTo>
                <a:cubicBezTo>
                  <a:pt x="276504" y="674787"/>
                  <a:pt x="277303" y="678647"/>
                  <a:pt x="277303" y="682641"/>
                </a:cubicBezTo>
                <a:cubicBezTo>
                  <a:pt x="277303" y="686768"/>
                  <a:pt x="276504" y="690761"/>
                  <a:pt x="275040" y="694355"/>
                </a:cubicBezTo>
                <a:cubicBezTo>
                  <a:pt x="273576" y="697950"/>
                  <a:pt x="271446" y="701012"/>
                  <a:pt x="268917" y="703673"/>
                </a:cubicBezTo>
                <a:cubicBezTo>
                  <a:pt x="266254" y="706337"/>
                  <a:pt x="263193" y="708467"/>
                  <a:pt x="259599" y="709931"/>
                </a:cubicBezTo>
                <a:cubicBezTo>
                  <a:pt x="256004" y="711395"/>
                  <a:pt x="252144" y="712194"/>
                  <a:pt x="247884" y="712194"/>
                </a:cubicBezTo>
                <a:cubicBezTo>
                  <a:pt x="238966" y="712194"/>
                  <a:pt x="231644" y="709265"/>
                  <a:pt x="226053" y="703673"/>
                </a:cubicBezTo>
                <a:cubicBezTo>
                  <a:pt x="220462" y="698083"/>
                  <a:pt x="217667" y="691027"/>
                  <a:pt x="217667" y="682508"/>
                </a:cubicBezTo>
                <a:cubicBezTo>
                  <a:pt x="217667" y="674255"/>
                  <a:pt x="220462" y="667199"/>
                  <a:pt x="226053" y="661475"/>
                </a:cubicBezTo>
                <a:cubicBezTo>
                  <a:pt x="231644" y="655751"/>
                  <a:pt x="238832" y="652823"/>
                  <a:pt x="247884" y="652823"/>
                </a:cubicBezTo>
                <a:close/>
                <a:moveTo>
                  <a:pt x="683173" y="652823"/>
                </a:moveTo>
                <a:cubicBezTo>
                  <a:pt x="687433" y="652823"/>
                  <a:pt x="691294" y="653621"/>
                  <a:pt x="694888" y="655351"/>
                </a:cubicBezTo>
                <a:cubicBezTo>
                  <a:pt x="698615" y="656950"/>
                  <a:pt x="701677" y="659079"/>
                  <a:pt x="704206" y="661742"/>
                </a:cubicBezTo>
                <a:cubicBezTo>
                  <a:pt x="706868" y="664404"/>
                  <a:pt x="708865" y="667599"/>
                  <a:pt x="710329" y="671193"/>
                </a:cubicBezTo>
                <a:cubicBezTo>
                  <a:pt x="711793" y="674787"/>
                  <a:pt x="712592" y="678647"/>
                  <a:pt x="712592" y="682641"/>
                </a:cubicBezTo>
                <a:cubicBezTo>
                  <a:pt x="712592" y="686768"/>
                  <a:pt x="711793" y="690761"/>
                  <a:pt x="710329" y="694355"/>
                </a:cubicBezTo>
                <a:cubicBezTo>
                  <a:pt x="708865" y="697949"/>
                  <a:pt x="706735" y="701011"/>
                  <a:pt x="704206" y="703673"/>
                </a:cubicBezTo>
                <a:cubicBezTo>
                  <a:pt x="701677" y="706336"/>
                  <a:pt x="698482" y="708467"/>
                  <a:pt x="694888" y="709931"/>
                </a:cubicBezTo>
                <a:cubicBezTo>
                  <a:pt x="691294" y="711395"/>
                  <a:pt x="687433" y="712194"/>
                  <a:pt x="683173" y="712194"/>
                </a:cubicBezTo>
                <a:cubicBezTo>
                  <a:pt x="674255" y="712194"/>
                  <a:pt x="666932" y="709265"/>
                  <a:pt x="661341" y="703673"/>
                </a:cubicBezTo>
                <a:cubicBezTo>
                  <a:pt x="655750" y="698082"/>
                  <a:pt x="652955" y="691027"/>
                  <a:pt x="652955" y="682508"/>
                </a:cubicBezTo>
                <a:cubicBezTo>
                  <a:pt x="652955" y="674255"/>
                  <a:pt x="655750" y="667199"/>
                  <a:pt x="661341" y="661475"/>
                </a:cubicBezTo>
                <a:cubicBezTo>
                  <a:pt x="666932" y="655751"/>
                  <a:pt x="674121" y="652823"/>
                  <a:pt x="683173" y="652823"/>
                </a:cubicBezTo>
                <a:close/>
                <a:moveTo>
                  <a:pt x="900817" y="652822"/>
                </a:moveTo>
                <a:cubicBezTo>
                  <a:pt x="904944" y="652822"/>
                  <a:pt x="908938" y="653621"/>
                  <a:pt x="912532" y="655351"/>
                </a:cubicBezTo>
                <a:cubicBezTo>
                  <a:pt x="916259" y="656949"/>
                  <a:pt x="919321" y="659079"/>
                  <a:pt x="921850" y="661742"/>
                </a:cubicBezTo>
                <a:cubicBezTo>
                  <a:pt x="924512" y="664404"/>
                  <a:pt x="926509" y="667599"/>
                  <a:pt x="927973" y="671193"/>
                </a:cubicBezTo>
                <a:cubicBezTo>
                  <a:pt x="929438" y="674787"/>
                  <a:pt x="930236" y="678647"/>
                  <a:pt x="930236" y="682641"/>
                </a:cubicBezTo>
                <a:cubicBezTo>
                  <a:pt x="930236" y="686768"/>
                  <a:pt x="929438" y="690761"/>
                  <a:pt x="927973" y="694355"/>
                </a:cubicBezTo>
                <a:cubicBezTo>
                  <a:pt x="926509" y="697949"/>
                  <a:pt x="924379" y="701011"/>
                  <a:pt x="921850" y="703673"/>
                </a:cubicBezTo>
                <a:cubicBezTo>
                  <a:pt x="919321" y="706336"/>
                  <a:pt x="916126" y="708467"/>
                  <a:pt x="912532" y="709930"/>
                </a:cubicBezTo>
                <a:cubicBezTo>
                  <a:pt x="908938" y="711395"/>
                  <a:pt x="905077" y="712193"/>
                  <a:pt x="900817" y="712193"/>
                </a:cubicBezTo>
                <a:cubicBezTo>
                  <a:pt x="891899" y="712193"/>
                  <a:pt x="884577" y="709264"/>
                  <a:pt x="878986" y="703673"/>
                </a:cubicBezTo>
                <a:cubicBezTo>
                  <a:pt x="873396" y="698082"/>
                  <a:pt x="870600" y="691027"/>
                  <a:pt x="870600" y="682508"/>
                </a:cubicBezTo>
                <a:cubicBezTo>
                  <a:pt x="870600" y="674255"/>
                  <a:pt x="873396" y="667199"/>
                  <a:pt x="878986" y="661475"/>
                </a:cubicBezTo>
                <a:cubicBezTo>
                  <a:pt x="884577" y="655750"/>
                  <a:pt x="891766" y="652822"/>
                  <a:pt x="900817" y="652822"/>
                </a:cubicBezTo>
                <a:close/>
                <a:moveTo>
                  <a:pt x="1118329" y="652822"/>
                </a:moveTo>
                <a:cubicBezTo>
                  <a:pt x="1122589" y="652822"/>
                  <a:pt x="1126583" y="653621"/>
                  <a:pt x="1130045" y="655351"/>
                </a:cubicBezTo>
                <a:cubicBezTo>
                  <a:pt x="1133771" y="656949"/>
                  <a:pt x="1136833" y="659078"/>
                  <a:pt x="1139363" y="661742"/>
                </a:cubicBezTo>
                <a:cubicBezTo>
                  <a:pt x="1142024" y="664403"/>
                  <a:pt x="1144021" y="667599"/>
                  <a:pt x="1145485" y="671193"/>
                </a:cubicBezTo>
                <a:cubicBezTo>
                  <a:pt x="1146949" y="674787"/>
                  <a:pt x="1147748" y="678647"/>
                  <a:pt x="1147748" y="682641"/>
                </a:cubicBezTo>
                <a:cubicBezTo>
                  <a:pt x="1147748" y="686768"/>
                  <a:pt x="1146949" y="690761"/>
                  <a:pt x="1145485" y="694355"/>
                </a:cubicBezTo>
                <a:cubicBezTo>
                  <a:pt x="1144021" y="697949"/>
                  <a:pt x="1141891" y="701011"/>
                  <a:pt x="1139363" y="703673"/>
                </a:cubicBezTo>
                <a:cubicBezTo>
                  <a:pt x="1136833" y="706336"/>
                  <a:pt x="1133638" y="708466"/>
                  <a:pt x="1130045" y="709930"/>
                </a:cubicBezTo>
                <a:cubicBezTo>
                  <a:pt x="1126449" y="711394"/>
                  <a:pt x="1122589" y="712193"/>
                  <a:pt x="1118329" y="712193"/>
                </a:cubicBezTo>
                <a:cubicBezTo>
                  <a:pt x="1109410" y="712193"/>
                  <a:pt x="1102088" y="709264"/>
                  <a:pt x="1096497" y="703673"/>
                </a:cubicBezTo>
                <a:cubicBezTo>
                  <a:pt x="1090906" y="698082"/>
                  <a:pt x="1088111" y="691027"/>
                  <a:pt x="1088111" y="682508"/>
                </a:cubicBezTo>
                <a:cubicBezTo>
                  <a:pt x="1088111" y="674255"/>
                  <a:pt x="1090906" y="667199"/>
                  <a:pt x="1096497" y="661474"/>
                </a:cubicBezTo>
                <a:cubicBezTo>
                  <a:pt x="1102088" y="655750"/>
                  <a:pt x="1109276" y="652822"/>
                  <a:pt x="1118329" y="652822"/>
                </a:cubicBezTo>
                <a:close/>
                <a:moveTo>
                  <a:pt x="1553619" y="652822"/>
                </a:moveTo>
                <a:cubicBezTo>
                  <a:pt x="1557878" y="652822"/>
                  <a:pt x="1561739" y="653754"/>
                  <a:pt x="1565334" y="655351"/>
                </a:cubicBezTo>
                <a:cubicBezTo>
                  <a:pt x="1568928" y="656949"/>
                  <a:pt x="1572123" y="659078"/>
                  <a:pt x="1574652" y="661741"/>
                </a:cubicBezTo>
                <a:cubicBezTo>
                  <a:pt x="1577314" y="664403"/>
                  <a:pt x="1579311" y="667598"/>
                  <a:pt x="1580775" y="671193"/>
                </a:cubicBezTo>
                <a:cubicBezTo>
                  <a:pt x="1582239" y="674786"/>
                  <a:pt x="1583038" y="678647"/>
                  <a:pt x="1583038" y="682641"/>
                </a:cubicBezTo>
                <a:cubicBezTo>
                  <a:pt x="1583038" y="686768"/>
                  <a:pt x="1582239" y="690761"/>
                  <a:pt x="1580775" y="694355"/>
                </a:cubicBezTo>
                <a:cubicBezTo>
                  <a:pt x="1579311" y="697949"/>
                  <a:pt x="1577181" y="701011"/>
                  <a:pt x="1574652" y="703673"/>
                </a:cubicBezTo>
                <a:cubicBezTo>
                  <a:pt x="1571990" y="706336"/>
                  <a:pt x="1568928" y="708466"/>
                  <a:pt x="1565334" y="709930"/>
                </a:cubicBezTo>
                <a:cubicBezTo>
                  <a:pt x="1561739" y="711394"/>
                  <a:pt x="1557878" y="712193"/>
                  <a:pt x="1553619" y="712193"/>
                </a:cubicBezTo>
                <a:cubicBezTo>
                  <a:pt x="1544700" y="712193"/>
                  <a:pt x="1537378" y="709264"/>
                  <a:pt x="1531787" y="703673"/>
                </a:cubicBezTo>
                <a:cubicBezTo>
                  <a:pt x="1526197" y="698082"/>
                  <a:pt x="1523401" y="691027"/>
                  <a:pt x="1523401" y="682508"/>
                </a:cubicBezTo>
                <a:cubicBezTo>
                  <a:pt x="1523401" y="674254"/>
                  <a:pt x="1526197" y="667198"/>
                  <a:pt x="1531787" y="661474"/>
                </a:cubicBezTo>
                <a:cubicBezTo>
                  <a:pt x="1537378" y="655750"/>
                  <a:pt x="1544566" y="652822"/>
                  <a:pt x="1553619" y="652822"/>
                </a:cubicBezTo>
                <a:close/>
                <a:moveTo>
                  <a:pt x="1335974" y="652822"/>
                </a:moveTo>
                <a:cubicBezTo>
                  <a:pt x="1340234" y="652822"/>
                  <a:pt x="1344094" y="653754"/>
                  <a:pt x="1347689" y="655351"/>
                </a:cubicBezTo>
                <a:cubicBezTo>
                  <a:pt x="1351283" y="656949"/>
                  <a:pt x="1354477" y="659078"/>
                  <a:pt x="1357008" y="661741"/>
                </a:cubicBezTo>
                <a:cubicBezTo>
                  <a:pt x="1359669" y="664403"/>
                  <a:pt x="1361666" y="667598"/>
                  <a:pt x="1363130" y="671193"/>
                </a:cubicBezTo>
                <a:cubicBezTo>
                  <a:pt x="1364595" y="674787"/>
                  <a:pt x="1365393" y="678647"/>
                  <a:pt x="1365393" y="682641"/>
                </a:cubicBezTo>
                <a:cubicBezTo>
                  <a:pt x="1365393" y="686768"/>
                  <a:pt x="1364595" y="690761"/>
                  <a:pt x="1363130" y="694355"/>
                </a:cubicBezTo>
                <a:cubicBezTo>
                  <a:pt x="1361666" y="697949"/>
                  <a:pt x="1359536" y="701011"/>
                  <a:pt x="1357008" y="703673"/>
                </a:cubicBezTo>
                <a:cubicBezTo>
                  <a:pt x="1354344" y="706336"/>
                  <a:pt x="1351283" y="708466"/>
                  <a:pt x="1347689" y="709930"/>
                </a:cubicBezTo>
                <a:cubicBezTo>
                  <a:pt x="1344094" y="711394"/>
                  <a:pt x="1340234" y="712193"/>
                  <a:pt x="1335974" y="712193"/>
                </a:cubicBezTo>
                <a:cubicBezTo>
                  <a:pt x="1327055" y="712193"/>
                  <a:pt x="1319733" y="709264"/>
                  <a:pt x="1314142" y="703673"/>
                </a:cubicBezTo>
                <a:cubicBezTo>
                  <a:pt x="1308551" y="698082"/>
                  <a:pt x="1305757" y="691027"/>
                  <a:pt x="1305757" y="682508"/>
                </a:cubicBezTo>
                <a:cubicBezTo>
                  <a:pt x="1305757" y="674255"/>
                  <a:pt x="1308551" y="667198"/>
                  <a:pt x="1314142" y="661474"/>
                </a:cubicBezTo>
                <a:cubicBezTo>
                  <a:pt x="1319733" y="655750"/>
                  <a:pt x="1326922" y="652822"/>
                  <a:pt x="1335974" y="652822"/>
                </a:cubicBezTo>
                <a:close/>
                <a:moveTo>
                  <a:pt x="1771263" y="652822"/>
                </a:moveTo>
                <a:cubicBezTo>
                  <a:pt x="1775523" y="652822"/>
                  <a:pt x="1779383" y="653621"/>
                  <a:pt x="1782978" y="655351"/>
                </a:cubicBezTo>
                <a:cubicBezTo>
                  <a:pt x="1786705" y="656949"/>
                  <a:pt x="1789767" y="659078"/>
                  <a:pt x="1792296" y="661741"/>
                </a:cubicBezTo>
                <a:cubicBezTo>
                  <a:pt x="1794958" y="664403"/>
                  <a:pt x="1796955" y="667598"/>
                  <a:pt x="1798419" y="671192"/>
                </a:cubicBezTo>
                <a:cubicBezTo>
                  <a:pt x="1799883" y="674786"/>
                  <a:pt x="1800682" y="678647"/>
                  <a:pt x="1800682" y="682641"/>
                </a:cubicBezTo>
                <a:cubicBezTo>
                  <a:pt x="1800682" y="686768"/>
                  <a:pt x="1799883" y="690761"/>
                  <a:pt x="1798419" y="694355"/>
                </a:cubicBezTo>
                <a:cubicBezTo>
                  <a:pt x="1796955" y="697949"/>
                  <a:pt x="1794825" y="701011"/>
                  <a:pt x="1792296" y="703673"/>
                </a:cubicBezTo>
                <a:cubicBezTo>
                  <a:pt x="1789633" y="706336"/>
                  <a:pt x="1786572" y="708466"/>
                  <a:pt x="1782978" y="709930"/>
                </a:cubicBezTo>
                <a:cubicBezTo>
                  <a:pt x="1779383" y="711394"/>
                  <a:pt x="1775523" y="712193"/>
                  <a:pt x="1771263" y="712193"/>
                </a:cubicBezTo>
                <a:cubicBezTo>
                  <a:pt x="1762344" y="712193"/>
                  <a:pt x="1755023" y="709264"/>
                  <a:pt x="1749432" y="703673"/>
                </a:cubicBezTo>
                <a:cubicBezTo>
                  <a:pt x="1743841" y="698082"/>
                  <a:pt x="1741046" y="691027"/>
                  <a:pt x="1741046" y="682508"/>
                </a:cubicBezTo>
                <a:cubicBezTo>
                  <a:pt x="1741046" y="674254"/>
                  <a:pt x="1743841" y="667198"/>
                  <a:pt x="1749432" y="661474"/>
                </a:cubicBezTo>
                <a:cubicBezTo>
                  <a:pt x="1755023" y="655750"/>
                  <a:pt x="1762211" y="652822"/>
                  <a:pt x="1771263" y="652822"/>
                </a:cubicBezTo>
                <a:close/>
                <a:moveTo>
                  <a:pt x="1988906" y="652822"/>
                </a:moveTo>
                <a:cubicBezTo>
                  <a:pt x="1993033" y="652822"/>
                  <a:pt x="1997028" y="653621"/>
                  <a:pt x="2000622" y="655351"/>
                </a:cubicBezTo>
                <a:cubicBezTo>
                  <a:pt x="2004349" y="656949"/>
                  <a:pt x="2007411" y="659078"/>
                  <a:pt x="2009940" y="661741"/>
                </a:cubicBezTo>
                <a:cubicBezTo>
                  <a:pt x="2012602" y="664403"/>
                  <a:pt x="2014599" y="667598"/>
                  <a:pt x="2016063" y="671192"/>
                </a:cubicBezTo>
                <a:cubicBezTo>
                  <a:pt x="2017527" y="674786"/>
                  <a:pt x="2018326" y="678646"/>
                  <a:pt x="2018326" y="682641"/>
                </a:cubicBezTo>
                <a:cubicBezTo>
                  <a:pt x="2018326" y="686767"/>
                  <a:pt x="2017527" y="690761"/>
                  <a:pt x="2016063" y="694355"/>
                </a:cubicBezTo>
                <a:cubicBezTo>
                  <a:pt x="2014599" y="697949"/>
                  <a:pt x="2012469" y="701011"/>
                  <a:pt x="2009940" y="703673"/>
                </a:cubicBezTo>
                <a:cubicBezTo>
                  <a:pt x="2007411" y="706336"/>
                  <a:pt x="2004215" y="708466"/>
                  <a:pt x="2000622" y="709930"/>
                </a:cubicBezTo>
                <a:cubicBezTo>
                  <a:pt x="1997028" y="711394"/>
                  <a:pt x="1993166" y="712193"/>
                  <a:pt x="1988906" y="712193"/>
                </a:cubicBezTo>
                <a:cubicBezTo>
                  <a:pt x="1979855" y="712193"/>
                  <a:pt x="1972666" y="709264"/>
                  <a:pt x="1967075" y="703673"/>
                </a:cubicBezTo>
                <a:cubicBezTo>
                  <a:pt x="1961485" y="698082"/>
                  <a:pt x="1958689" y="691027"/>
                  <a:pt x="1958689" y="682507"/>
                </a:cubicBezTo>
                <a:cubicBezTo>
                  <a:pt x="1958689" y="674254"/>
                  <a:pt x="1961485" y="667198"/>
                  <a:pt x="1967075" y="661474"/>
                </a:cubicBezTo>
                <a:cubicBezTo>
                  <a:pt x="1972666" y="655750"/>
                  <a:pt x="1979855" y="652822"/>
                  <a:pt x="1988906" y="652822"/>
                </a:cubicBezTo>
                <a:close/>
                <a:moveTo>
                  <a:pt x="2424067" y="652822"/>
                </a:moveTo>
                <a:cubicBezTo>
                  <a:pt x="2428328" y="652822"/>
                  <a:pt x="2432322" y="653621"/>
                  <a:pt x="2435783" y="655351"/>
                </a:cubicBezTo>
                <a:cubicBezTo>
                  <a:pt x="2439510" y="656949"/>
                  <a:pt x="2442572" y="659078"/>
                  <a:pt x="2445101" y="661741"/>
                </a:cubicBezTo>
                <a:cubicBezTo>
                  <a:pt x="2447763" y="664403"/>
                  <a:pt x="2449760" y="667598"/>
                  <a:pt x="2451224" y="671192"/>
                </a:cubicBezTo>
                <a:cubicBezTo>
                  <a:pt x="2452688" y="674786"/>
                  <a:pt x="2453487" y="678646"/>
                  <a:pt x="2453487" y="682640"/>
                </a:cubicBezTo>
                <a:cubicBezTo>
                  <a:pt x="2453487" y="686767"/>
                  <a:pt x="2452688" y="690760"/>
                  <a:pt x="2451224" y="694355"/>
                </a:cubicBezTo>
                <a:cubicBezTo>
                  <a:pt x="2449760" y="697949"/>
                  <a:pt x="2447630" y="701010"/>
                  <a:pt x="2445101" y="703673"/>
                </a:cubicBezTo>
                <a:cubicBezTo>
                  <a:pt x="2442572" y="706336"/>
                  <a:pt x="2439377" y="708466"/>
                  <a:pt x="2435783" y="709930"/>
                </a:cubicBezTo>
                <a:cubicBezTo>
                  <a:pt x="2432189" y="711394"/>
                  <a:pt x="2428328" y="712193"/>
                  <a:pt x="2424067" y="712193"/>
                </a:cubicBezTo>
                <a:cubicBezTo>
                  <a:pt x="2415150" y="712193"/>
                  <a:pt x="2407827" y="709264"/>
                  <a:pt x="2402236" y="703673"/>
                </a:cubicBezTo>
                <a:cubicBezTo>
                  <a:pt x="2396646" y="698082"/>
                  <a:pt x="2393849" y="691026"/>
                  <a:pt x="2393849" y="682507"/>
                </a:cubicBezTo>
                <a:cubicBezTo>
                  <a:pt x="2393849" y="674254"/>
                  <a:pt x="2396646" y="667198"/>
                  <a:pt x="2402236" y="661474"/>
                </a:cubicBezTo>
                <a:cubicBezTo>
                  <a:pt x="2407827" y="655750"/>
                  <a:pt x="2415016" y="652822"/>
                  <a:pt x="2424067" y="652822"/>
                </a:cubicBezTo>
                <a:close/>
                <a:moveTo>
                  <a:pt x="2206421" y="652822"/>
                </a:moveTo>
                <a:cubicBezTo>
                  <a:pt x="2210681" y="652822"/>
                  <a:pt x="2214675" y="653621"/>
                  <a:pt x="2218136" y="655351"/>
                </a:cubicBezTo>
                <a:cubicBezTo>
                  <a:pt x="2221863" y="656949"/>
                  <a:pt x="2224924" y="659078"/>
                  <a:pt x="2227454" y="661741"/>
                </a:cubicBezTo>
                <a:cubicBezTo>
                  <a:pt x="2230116" y="664403"/>
                  <a:pt x="2232113" y="667598"/>
                  <a:pt x="2233577" y="671192"/>
                </a:cubicBezTo>
                <a:cubicBezTo>
                  <a:pt x="2235041" y="674786"/>
                  <a:pt x="2235840" y="678646"/>
                  <a:pt x="2235840" y="682640"/>
                </a:cubicBezTo>
                <a:cubicBezTo>
                  <a:pt x="2235840" y="686767"/>
                  <a:pt x="2235041" y="690760"/>
                  <a:pt x="2233577" y="694355"/>
                </a:cubicBezTo>
                <a:cubicBezTo>
                  <a:pt x="2232113" y="697949"/>
                  <a:pt x="2229983" y="701011"/>
                  <a:pt x="2227454" y="703673"/>
                </a:cubicBezTo>
                <a:cubicBezTo>
                  <a:pt x="2224924" y="706336"/>
                  <a:pt x="2221730" y="708466"/>
                  <a:pt x="2218136" y="709930"/>
                </a:cubicBezTo>
                <a:cubicBezTo>
                  <a:pt x="2214541" y="711394"/>
                  <a:pt x="2210681" y="712193"/>
                  <a:pt x="2206421" y="712193"/>
                </a:cubicBezTo>
                <a:cubicBezTo>
                  <a:pt x="2197368" y="712193"/>
                  <a:pt x="2190180" y="709264"/>
                  <a:pt x="2184589" y="703673"/>
                </a:cubicBezTo>
                <a:cubicBezTo>
                  <a:pt x="2178998" y="698082"/>
                  <a:pt x="2176203" y="691027"/>
                  <a:pt x="2176203" y="682507"/>
                </a:cubicBezTo>
                <a:cubicBezTo>
                  <a:pt x="2176203" y="674254"/>
                  <a:pt x="2178998" y="667198"/>
                  <a:pt x="2184589" y="661474"/>
                </a:cubicBezTo>
                <a:cubicBezTo>
                  <a:pt x="2190180" y="655750"/>
                  <a:pt x="2197368" y="652822"/>
                  <a:pt x="2206421" y="652822"/>
                </a:cubicBezTo>
                <a:close/>
                <a:moveTo>
                  <a:pt x="2641715" y="652822"/>
                </a:moveTo>
                <a:cubicBezTo>
                  <a:pt x="2645975" y="652822"/>
                  <a:pt x="2649835" y="653621"/>
                  <a:pt x="2653430" y="655350"/>
                </a:cubicBezTo>
                <a:cubicBezTo>
                  <a:pt x="2657157" y="656949"/>
                  <a:pt x="2660219" y="659078"/>
                  <a:pt x="2662748" y="661741"/>
                </a:cubicBezTo>
                <a:cubicBezTo>
                  <a:pt x="2665410" y="664403"/>
                  <a:pt x="2667408" y="667598"/>
                  <a:pt x="2668872" y="671192"/>
                </a:cubicBezTo>
                <a:cubicBezTo>
                  <a:pt x="2670336" y="674786"/>
                  <a:pt x="2671135" y="678646"/>
                  <a:pt x="2671135" y="682640"/>
                </a:cubicBezTo>
                <a:cubicBezTo>
                  <a:pt x="2671135" y="686767"/>
                  <a:pt x="2670336" y="690760"/>
                  <a:pt x="2668872" y="694354"/>
                </a:cubicBezTo>
                <a:cubicBezTo>
                  <a:pt x="2667408" y="697949"/>
                  <a:pt x="2665277" y="701010"/>
                  <a:pt x="2662748" y="703673"/>
                </a:cubicBezTo>
                <a:cubicBezTo>
                  <a:pt x="2660219" y="706336"/>
                  <a:pt x="2657024" y="708466"/>
                  <a:pt x="2653430" y="709930"/>
                </a:cubicBezTo>
                <a:cubicBezTo>
                  <a:pt x="2649835" y="711394"/>
                  <a:pt x="2645975" y="712193"/>
                  <a:pt x="2641715" y="712193"/>
                </a:cubicBezTo>
                <a:cubicBezTo>
                  <a:pt x="2632796" y="712193"/>
                  <a:pt x="2625475" y="709264"/>
                  <a:pt x="2619883" y="703673"/>
                </a:cubicBezTo>
                <a:cubicBezTo>
                  <a:pt x="2614292" y="698082"/>
                  <a:pt x="2611497" y="691026"/>
                  <a:pt x="2611497" y="682507"/>
                </a:cubicBezTo>
                <a:cubicBezTo>
                  <a:pt x="2611497" y="674254"/>
                  <a:pt x="2614292" y="667198"/>
                  <a:pt x="2619883" y="661474"/>
                </a:cubicBezTo>
                <a:cubicBezTo>
                  <a:pt x="2625475" y="655750"/>
                  <a:pt x="2632663" y="652822"/>
                  <a:pt x="2641715" y="652822"/>
                </a:cubicBezTo>
                <a:close/>
                <a:moveTo>
                  <a:pt x="2859362" y="652821"/>
                </a:moveTo>
                <a:cubicBezTo>
                  <a:pt x="2863623" y="652821"/>
                  <a:pt x="2867483" y="653621"/>
                  <a:pt x="2871210" y="655350"/>
                </a:cubicBezTo>
                <a:cubicBezTo>
                  <a:pt x="2874937" y="656948"/>
                  <a:pt x="2877999" y="659078"/>
                  <a:pt x="2880528" y="661741"/>
                </a:cubicBezTo>
                <a:cubicBezTo>
                  <a:pt x="2883190" y="664403"/>
                  <a:pt x="2885188" y="667598"/>
                  <a:pt x="2886652" y="671192"/>
                </a:cubicBezTo>
                <a:cubicBezTo>
                  <a:pt x="2888116" y="674786"/>
                  <a:pt x="2888915" y="678646"/>
                  <a:pt x="2888915" y="682640"/>
                </a:cubicBezTo>
                <a:cubicBezTo>
                  <a:pt x="2888915" y="686767"/>
                  <a:pt x="2888116" y="690760"/>
                  <a:pt x="2886652" y="694354"/>
                </a:cubicBezTo>
                <a:cubicBezTo>
                  <a:pt x="2885188" y="697948"/>
                  <a:pt x="2883057" y="701010"/>
                  <a:pt x="2880528" y="703672"/>
                </a:cubicBezTo>
                <a:cubicBezTo>
                  <a:pt x="2877867" y="706335"/>
                  <a:pt x="2874804" y="708466"/>
                  <a:pt x="2871210" y="709929"/>
                </a:cubicBezTo>
                <a:cubicBezTo>
                  <a:pt x="2867483" y="711394"/>
                  <a:pt x="2863623" y="712193"/>
                  <a:pt x="2859362" y="712193"/>
                </a:cubicBezTo>
                <a:cubicBezTo>
                  <a:pt x="2850444" y="712193"/>
                  <a:pt x="2843121" y="709264"/>
                  <a:pt x="2837531" y="703672"/>
                </a:cubicBezTo>
                <a:cubicBezTo>
                  <a:pt x="2831940" y="698081"/>
                  <a:pt x="2829144" y="691026"/>
                  <a:pt x="2829144" y="682507"/>
                </a:cubicBezTo>
                <a:cubicBezTo>
                  <a:pt x="2829144" y="674254"/>
                  <a:pt x="2831940" y="667198"/>
                  <a:pt x="2837531" y="661474"/>
                </a:cubicBezTo>
                <a:cubicBezTo>
                  <a:pt x="2843121" y="655750"/>
                  <a:pt x="2850310" y="652821"/>
                  <a:pt x="2859362" y="652821"/>
                </a:cubicBezTo>
                <a:close/>
                <a:moveTo>
                  <a:pt x="3294656" y="652821"/>
                </a:moveTo>
                <a:cubicBezTo>
                  <a:pt x="3298783" y="652821"/>
                  <a:pt x="3302778" y="653620"/>
                  <a:pt x="3306372" y="655350"/>
                </a:cubicBezTo>
                <a:cubicBezTo>
                  <a:pt x="3310099" y="656948"/>
                  <a:pt x="3313161" y="659077"/>
                  <a:pt x="3315690" y="661741"/>
                </a:cubicBezTo>
                <a:cubicBezTo>
                  <a:pt x="3318219" y="664402"/>
                  <a:pt x="3320349" y="667598"/>
                  <a:pt x="3321813" y="671192"/>
                </a:cubicBezTo>
                <a:cubicBezTo>
                  <a:pt x="3323277" y="674786"/>
                  <a:pt x="3324076" y="678646"/>
                  <a:pt x="3324076" y="682640"/>
                </a:cubicBezTo>
                <a:cubicBezTo>
                  <a:pt x="3324076" y="686767"/>
                  <a:pt x="3323277" y="690760"/>
                  <a:pt x="3321813" y="694354"/>
                </a:cubicBezTo>
                <a:cubicBezTo>
                  <a:pt x="3320349" y="697948"/>
                  <a:pt x="3318219" y="701010"/>
                  <a:pt x="3315690" y="703672"/>
                </a:cubicBezTo>
                <a:cubicBezTo>
                  <a:pt x="3313027" y="706335"/>
                  <a:pt x="3309965" y="708465"/>
                  <a:pt x="3306372" y="709929"/>
                </a:cubicBezTo>
                <a:cubicBezTo>
                  <a:pt x="3302778" y="711393"/>
                  <a:pt x="3298917" y="712192"/>
                  <a:pt x="3294656" y="712192"/>
                </a:cubicBezTo>
                <a:cubicBezTo>
                  <a:pt x="3285604" y="712192"/>
                  <a:pt x="3278415" y="709263"/>
                  <a:pt x="3272824" y="703672"/>
                </a:cubicBezTo>
                <a:cubicBezTo>
                  <a:pt x="3267233" y="698081"/>
                  <a:pt x="3264438" y="691026"/>
                  <a:pt x="3264438" y="682507"/>
                </a:cubicBezTo>
                <a:cubicBezTo>
                  <a:pt x="3264438" y="674254"/>
                  <a:pt x="3267233" y="667198"/>
                  <a:pt x="3272824" y="661473"/>
                </a:cubicBezTo>
                <a:cubicBezTo>
                  <a:pt x="3278415" y="655749"/>
                  <a:pt x="3285604" y="652821"/>
                  <a:pt x="3294656" y="652821"/>
                </a:cubicBezTo>
                <a:close/>
                <a:moveTo>
                  <a:pt x="3077009" y="652821"/>
                </a:moveTo>
                <a:cubicBezTo>
                  <a:pt x="3081136" y="652821"/>
                  <a:pt x="3085130" y="653753"/>
                  <a:pt x="3088724" y="655350"/>
                </a:cubicBezTo>
                <a:cubicBezTo>
                  <a:pt x="3092319" y="656948"/>
                  <a:pt x="3095514" y="659078"/>
                  <a:pt x="3098042" y="661741"/>
                </a:cubicBezTo>
                <a:cubicBezTo>
                  <a:pt x="3100571" y="664402"/>
                  <a:pt x="3102702" y="667598"/>
                  <a:pt x="3104166" y="671192"/>
                </a:cubicBezTo>
                <a:cubicBezTo>
                  <a:pt x="3105631" y="674786"/>
                  <a:pt x="3106429" y="678646"/>
                  <a:pt x="3106429" y="682640"/>
                </a:cubicBezTo>
                <a:cubicBezTo>
                  <a:pt x="3106429" y="686767"/>
                  <a:pt x="3105631" y="690760"/>
                  <a:pt x="3104166" y="694354"/>
                </a:cubicBezTo>
                <a:cubicBezTo>
                  <a:pt x="3102702" y="697948"/>
                  <a:pt x="3100571" y="701010"/>
                  <a:pt x="3098042" y="703672"/>
                </a:cubicBezTo>
                <a:cubicBezTo>
                  <a:pt x="3095380" y="706335"/>
                  <a:pt x="3092319" y="708465"/>
                  <a:pt x="3088724" y="709929"/>
                </a:cubicBezTo>
                <a:cubicBezTo>
                  <a:pt x="3085130" y="711393"/>
                  <a:pt x="3081269" y="712192"/>
                  <a:pt x="3077009" y="712192"/>
                </a:cubicBezTo>
                <a:cubicBezTo>
                  <a:pt x="3068091" y="712192"/>
                  <a:pt x="3060769" y="709263"/>
                  <a:pt x="3055177" y="703672"/>
                </a:cubicBezTo>
                <a:cubicBezTo>
                  <a:pt x="3049586" y="698081"/>
                  <a:pt x="3046791" y="691026"/>
                  <a:pt x="3046791" y="682507"/>
                </a:cubicBezTo>
                <a:cubicBezTo>
                  <a:pt x="3046791" y="674254"/>
                  <a:pt x="3049586" y="667198"/>
                  <a:pt x="3055177" y="661474"/>
                </a:cubicBezTo>
                <a:cubicBezTo>
                  <a:pt x="3060769" y="655749"/>
                  <a:pt x="3067957" y="652821"/>
                  <a:pt x="3077009" y="652821"/>
                </a:cubicBezTo>
                <a:close/>
                <a:moveTo>
                  <a:pt x="3512170" y="652821"/>
                </a:moveTo>
                <a:cubicBezTo>
                  <a:pt x="3516431" y="652821"/>
                  <a:pt x="3520291" y="653753"/>
                  <a:pt x="3523886" y="655350"/>
                </a:cubicBezTo>
                <a:cubicBezTo>
                  <a:pt x="3527479" y="656948"/>
                  <a:pt x="3530675" y="659077"/>
                  <a:pt x="3533204" y="661740"/>
                </a:cubicBezTo>
                <a:cubicBezTo>
                  <a:pt x="3535733" y="664402"/>
                  <a:pt x="3537863" y="667597"/>
                  <a:pt x="3539327" y="671192"/>
                </a:cubicBezTo>
                <a:cubicBezTo>
                  <a:pt x="3540791" y="674786"/>
                  <a:pt x="3541590" y="678646"/>
                  <a:pt x="3541590" y="682640"/>
                </a:cubicBezTo>
                <a:cubicBezTo>
                  <a:pt x="3541590" y="686767"/>
                  <a:pt x="3540791" y="690760"/>
                  <a:pt x="3539327" y="694354"/>
                </a:cubicBezTo>
                <a:cubicBezTo>
                  <a:pt x="3537863" y="697948"/>
                  <a:pt x="3535733" y="701010"/>
                  <a:pt x="3533204" y="703672"/>
                </a:cubicBezTo>
                <a:cubicBezTo>
                  <a:pt x="3530541" y="706335"/>
                  <a:pt x="3527479" y="708465"/>
                  <a:pt x="3523886" y="709929"/>
                </a:cubicBezTo>
                <a:cubicBezTo>
                  <a:pt x="3520291" y="711393"/>
                  <a:pt x="3516431" y="712192"/>
                  <a:pt x="3512170" y="712192"/>
                </a:cubicBezTo>
                <a:cubicBezTo>
                  <a:pt x="3503118" y="712192"/>
                  <a:pt x="3495929" y="709263"/>
                  <a:pt x="3490338" y="703672"/>
                </a:cubicBezTo>
                <a:cubicBezTo>
                  <a:pt x="3484747" y="698081"/>
                  <a:pt x="3481952" y="691026"/>
                  <a:pt x="3481952" y="682507"/>
                </a:cubicBezTo>
                <a:cubicBezTo>
                  <a:pt x="3481952" y="674253"/>
                  <a:pt x="3484747" y="667197"/>
                  <a:pt x="3490338" y="661473"/>
                </a:cubicBezTo>
                <a:cubicBezTo>
                  <a:pt x="3495929" y="655749"/>
                  <a:pt x="3503118" y="652821"/>
                  <a:pt x="3512170" y="652821"/>
                </a:cubicBezTo>
                <a:close/>
                <a:moveTo>
                  <a:pt x="3947465" y="652821"/>
                </a:moveTo>
                <a:cubicBezTo>
                  <a:pt x="3951725" y="652821"/>
                  <a:pt x="3955585" y="653620"/>
                  <a:pt x="3959180" y="655350"/>
                </a:cubicBezTo>
                <a:cubicBezTo>
                  <a:pt x="3962908" y="656948"/>
                  <a:pt x="3965969" y="659077"/>
                  <a:pt x="3968498" y="661740"/>
                </a:cubicBezTo>
                <a:cubicBezTo>
                  <a:pt x="3971028" y="664402"/>
                  <a:pt x="3973158" y="667597"/>
                  <a:pt x="3974622" y="671191"/>
                </a:cubicBezTo>
                <a:cubicBezTo>
                  <a:pt x="3976086" y="674785"/>
                  <a:pt x="3976885" y="678645"/>
                  <a:pt x="3976885" y="682640"/>
                </a:cubicBezTo>
                <a:cubicBezTo>
                  <a:pt x="3976885" y="686767"/>
                  <a:pt x="3976086" y="690760"/>
                  <a:pt x="3974622" y="694354"/>
                </a:cubicBezTo>
                <a:cubicBezTo>
                  <a:pt x="3973158" y="697948"/>
                  <a:pt x="3971028" y="701010"/>
                  <a:pt x="3968498" y="703672"/>
                </a:cubicBezTo>
                <a:cubicBezTo>
                  <a:pt x="3965836" y="706335"/>
                  <a:pt x="3962775" y="708465"/>
                  <a:pt x="3959180" y="709929"/>
                </a:cubicBezTo>
                <a:cubicBezTo>
                  <a:pt x="3955585" y="711393"/>
                  <a:pt x="3951725" y="712192"/>
                  <a:pt x="3947465" y="712192"/>
                </a:cubicBezTo>
                <a:cubicBezTo>
                  <a:pt x="3938413" y="712192"/>
                  <a:pt x="3931225" y="709263"/>
                  <a:pt x="3925633" y="703672"/>
                </a:cubicBezTo>
                <a:cubicBezTo>
                  <a:pt x="3920042" y="698081"/>
                  <a:pt x="3917247" y="691026"/>
                  <a:pt x="3917247" y="682506"/>
                </a:cubicBezTo>
                <a:cubicBezTo>
                  <a:pt x="3917247" y="674253"/>
                  <a:pt x="3920042" y="667197"/>
                  <a:pt x="3925633" y="661473"/>
                </a:cubicBezTo>
                <a:cubicBezTo>
                  <a:pt x="3931225" y="655749"/>
                  <a:pt x="3938413" y="652821"/>
                  <a:pt x="3947465" y="652821"/>
                </a:cubicBezTo>
                <a:close/>
                <a:moveTo>
                  <a:pt x="3729817" y="652821"/>
                </a:moveTo>
                <a:cubicBezTo>
                  <a:pt x="3734078" y="652821"/>
                  <a:pt x="3737939" y="653753"/>
                  <a:pt x="3741532" y="655350"/>
                </a:cubicBezTo>
                <a:cubicBezTo>
                  <a:pt x="3745127" y="656948"/>
                  <a:pt x="3748322" y="659077"/>
                  <a:pt x="3750851" y="661740"/>
                </a:cubicBezTo>
                <a:cubicBezTo>
                  <a:pt x="3753380" y="664402"/>
                  <a:pt x="3755510" y="667597"/>
                  <a:pt x="3756974" y="671191"/>
                </a:cubicBezTo>
                <a:cubicBezTo>
                  <a:pt x="3758438" y="674785"/>
                  <a:pt x="3759237" y="678646"/>
                  <a:pt x="3759237" y="682640"/>
                </a:cubicBezTo>
                <a:cubicBezTo>
                  <a:pt x="3759237" y="686767"/>
                  <a:pt x="3758438" y="690760"/>
                  <a:pt x="3756974" y="694354"/>
                </a:cubicBezTo>
                <a:cubicBezTo>
                  <a:pt x="3755510" y="697948"/>
                  <a:pt x="3753380" y="701010"/>
                  <a:pt x="3750851" y="703672"/>
                </a:cubicBezTo>
                <a:cubicBezTo>
                  <a:pt x="3748188" y="706335"/>
                  <a:pt x="3745127" y="708465"/>
                  <a:pt x="3741532" y="709929"/>
                </a:cubicBezTo>
                <a:cubicBezTo>
                  <a:pt x="3737939" y="711393"/>
                  <a:pt x="3734078" y="712192"/>
                  <a:pt x="3729817" y="712192"/>
                </a:cubicBezTo>
                <a:cubicBezTo>
                  <a:pt x="3720765" y="712192"/>
                  <a:pt x="3713577" y="709263"/>
                  <a:pt x="3707986" y="703672"/>
                </a:cubicBezTo>
                <a:cubicBezTo>
                  <a:pt x="3702393" y="698081"/>
                  <a:pt x="3699599" y="691026"/>
                  <a:pt x="3699599" y="682507"/>
                </a:cubicBezTo>
                <a:cubicBezTo>
                  <a:pt x="3699599" y="674253"/>
                  <a:pt x="3702393" y="667197"/>
                  <a:pt x="3707986" y="661473"/>
                </a:cubicBezTo>
                <a:cubicBezTo>
                  <a:pt x="3713577" y="655749"/>
                  <a:pt x="3720765" y="652821"/>
                  <a:pt x="3729817" y="652821"/>
                </a:cubicBezTo>
                <a:close/>
                <a:moveTo>
                  <a:pt x="4165068" y="652821"/>
                </a:moveTo>
                <a:cubicBezTo>
                  <a:pt x="4169327" y="652821"/>
                  <a:pt x="4173188" y="653620"/>
                  <a:pt x="4176782" y="655350"/>
                </a:cubicBezTo>
                <a:cubicBezTo>
                  <a:pt x="4180509" y="656948"/>
                  <a:pt x="4183571" y="659077"/>
                  <a:pt x="4186100" y="661740"/>
                </a:cubicBezTo>
                <a:cubicBezTo>
                  <a:pt x="4188629" y="664402"/>
                  <a:pt x="4190759" y="667597"/>
                  <a:pt x="4192223" y="671191"/>
                </a:cubicBezTo>
                <a:cubicBezTo>
                  <a:pt x="4193688" y="674785"/>
                  <a:pt x="4194486" y="678645"/>
                  <a:pt x="4194486" y="682639"/>
                </a:cubicBezTo>
                <a:cubicBezTo>
                  <a:pt x="4194486" y="686766"/>
                  <a:pt x="4193688" y="690759"/>
                  <a:pt x="4192223" y="694354"/>
                </a:cubicBezTo>
                <a:cubicBezTo>
                  <a:pt x="4190759" y="697948"/>
                  <a:pt x="4188629" y="701010"/>
                  <a:pt x="4186100" y="703672"/>
                </a:cubicBezTo>
                <a:cubicBezTo>
                  <a:pt x="4183438" y="706335"/>
                  <a:pt x="4180376" y="708465"/>
                  <a:pt x="4176782" y="709929"/>
                </a:cubicBezTo>
                <a:cubicBezTo>
                  <a:pt x="4173188" y="711393"/>
                  <a:pt x="4169327" y="712192"/>
                  <a:pt x="4165068" y="712192"/>
                </a:cubicBezTo>
                <a:cubicBezTo>
                  <a:pt x="4156015" y="712192"/>
                  <a:pt x="4148827" y="709263"/>
                  <a:pt x="4143235" y="703672"/>
                </a:cubicBezTo>
                <a:cubicBezTo>
                  <a:pt x="4137645" y="698081"/>
                  <a:pt x="4134849" y="691026"/>
                  <a:pt x="4134849" y="682506"/>
                </a:cubicBezTo>
                <a:cubicBezTo>
                  <a:pt x="4134849" y="674253"/>
                  <a:pt x="4137645" y="667197"/>
                  <a:pt x="4143235" y="661473"/>
                </a:cubicBezTo>
                <a:cubicBezTo>
                  <a:pt x="4148827" y="655749"/>
                  <a:pt x="4156015" y="652821"/>
                  <a:pt x="4165068" y="652821"/>
                </a:cubicBezTo>
                <a:close/>
                <a:moveTo>
                  <a:pt x="4600226" y="652821"/>
                </a:moveTo>
                <a:cubicBezTo>
                  <a:pt x="4604485" y="652821"/>
                  <a:pt x="4608479" y="653620"/>
                  <a:pt x="4612073" y="655350"/>
                </a:cubicBezTo>
                <a:cubicBezTo>
                  <a:pt x="4615800" y="656948"/>
                  <a:pt x="4618862" y="659077"/>
                  <a:pt x="4621391" y="661740"/>
                </a:cubicBezTo>
                <a:cubicBezTo>
                  <a:pt x="4623920" y="664402"/>
                  <a:pt x="4626050" y="667597"/>
                  <a:pt x="4627514" y="671191"/>
                </a:cubicBezTo>
                <a:cubicBezTo>
                  <a:pt x="4628978" y="674785"/>
                  <a:pt x="4629777" y="678645"/>
                  <a:pt x="4629777" y="682639"/>
                </a:cubicBezTo>
                <a:cubicBezTo>
                  <a:pt x="4629777" y="686766"/>
                  <a:pt x="4628978" y="690759"/>
                  <a:pt x="4627514" y="694354"/>
                </a:cubicBezTo>
                <a:cubicBezTo>
                  <a:pt x="4626050" y="697948"/>
                  <a:pt x="4623920" y="701009"/>
                  <a:pt x="4621391" y="703672"/>
                </a:cubicBezTo>
                <a:cubicBezTo>
                  <a:pt x="4618729" y="706335"/>
                  <a:pt x="4615667" y="708465"/>
                  <a:pt x="4612073" y="709929"/>
                </a:cubicBezTo>
                <a:cubicBezTo>
                  <a:pt x="4608346" y="711393"/>
                  <a:pt x="4604485" y="712192"/>
                  <a:pt x="4600226" y="712192"/>
                </a:cubicBezTo>
                <a:cubicBezTo>
                  <a:pt x="4591173" y="712192"/>
                  <a:pt x="4583985" y="709263"/>
                  <a:pt x="4578393" y="703672"/>
                </a:cubicBezTo>
                <a:cubicBezTo>
                  <a:pt x="4572803" y="698081"/>
                  <a:pt x="4570007" y="691025"/>
                  <a:pt x="4570007" y="682506"/>
                </a:cubicBezTo>
                <a:cubicBezTo>
                  <a:pt x="4570007" y="674253"/>
                  <a:pt x="4572803" y="667197"/>
                  <a:pt x="4578393" y="661473"/>
                </a:cubicBezTo>
                <a:cubicBezTo>
                  <a:pt x="4583985" y="655749"/>
                  <a:pt x="4591173" y="652821"/>
                  <a:pt x="4600226" y="652821"/>
                </a:cubicBezTo>
                <a:close/>
                <a:moveTo>
                  <a:pt x="4382713" y="652821"/>
                </a:moveTo>
                <a:cubicBezTo>
                  <a:pt x="4386840" y="652821"/>
                  <a:pt x="4390834" y="653620"/>
                  <a:pt x="4394428" y="655350"/>
                </a:cubicBezTo>
                <a:cubicBezTo>
                  <a:pt x="4398155" y="656948"/>
                  <a:pt x="4401217" y="659077"/>
                  <a:pt x="4403746" y="661740"/>
                </a:cubicBezTo>
                <a:cubicBezTo>
                  <a:pt x="4406275" y="664402"/>
                  <a:pt x="4408405" y="667597"/>
                  <a:pt x="4409869" y="671191"/>
                </a:cubicBezTo>
                <a:cubicBezTo>
                  <a:pt x="4411334" y="674785"/>
                  <a:pt x="4412132" y="678645"/>
                  <a:pt x="4412132" y="682639"/>
                </a:cubicBezTo>
                <a:cubicBezTo>
                  <a:pt x="4412132" y="686766"/>
                  <a:pt x="4411334" y="690759"/>
                  <a:pt x="4409869" y="694354"/>
                </a:cubicBezTo>
                <a:cubicBezTo>
                  <a:pt x="4408405" y="697948"/>
                  <a:pt x="4406275" y="701010"/>
                  <a:pt x="4403746" y="703672"/>
                </a:cubicBezTo>
                <a:cubicBezTo>
                  <a:pt x="4401083" y="706335"/>
                  <a:pt x="4398022" y="708465"/>
                  <a:pt x="4394428" y="709929"/>
                </a:cubicBezTo>
                <a:cubicBezTo>
                  <a:pt x="4390834" y="711393"/>
                  <a:pt x="4386973" y="712192"/>
                  <a:pt x="4382713" y="712192"/>
                </a:cubicBezTo>
                <a:cubicBezTo>
                  <a:pt x="4373661" y="712192"/>
                  <a:pt x="4366473" y="709263"/>
                  <a:pt x="4360881" y="703672"/>
                </a:cubicBezTo>
                <a:cubicBezTo>
                  <a:pt x="4355290" y="698081"/>
                  <a:pt x="4352495" y="691025"/>
                  <a:pt x="4352495" y="682506"/>
                </a:cubicBezTo>
                <a:cubicBezTo>
                  <a:pt x="4352495" y="674253"/>
                  <a:pt x="4355290" y="667197"/>
                  <a:pt x="4360881" y="661473"/>
                </a:cubicBezTo>
                <a:cubicBezTo>
                  <a:pt x="4366473" y="655749"/>
                  <a:pt x="4373661" y="652821"/>
                  <a:pt x="4382713" y="652821"/>
                </a:cubicBezTo>
                <a:close/>
                <a:moveTo>
                  <a:pt x="4817870" y="652821"/>
                </a:moveTo>
                <a:cubicBezTo>
                  <a:pt x="4822130" y="652821"/>
                  <a:pt x="4825857" y="653753"/>
                  <a:pt x="4829585" y="655350"/>
                </a:cubicBezTo>
                <a:cubicBezTo>
                  <a:pt x="4833312" y="656948"/>
                  <a:pt x="4836374" y="659077"/>
                  <a:pt x="4838903" y="661740"/>
                </a:cubicBezTo>
                <a:cubicBezTo>
                  <a:pt x="4841432" y="664402"/>
                  <a:pt x="4843562" y="667597"/>
                  <a:pt x="4845026" y="671191"/>
                </a:cubicBezTo>
                <a:cubicBezTo>
                  <a:pt x="4846491" y="674785"/>
                  <a:pt x="4847289" y="678645"/>
                  <a:pt x="4847289" y="682639"/>
                </a:cubicBezTo>
                <a:cubicBezTo>
                  <a:pt x="4847289" y="686766"/>
                  <a:pt x="4846491" y="690759"/>
                  <a:pt x="4845026" y="694353"/>
                </a:cubicBezTo>
                <a:cubicBezTo>
                  <a:pt x="4843562" y="697948"/>
                  <a:pt x="4841432" y="701009"/>
                  <a:pt x="4838903" y="703671"/>
                </a:cubicBezTo>
                <a:cubicBezTo>
                  <a:pt x="4836240" y="706335"/>
                  <a:pt x="4833179" y="708465"/>
                  <a:pt x="4829585" y="709929"/>
                </a:cubicBezTo>
                <a:cubicBezTo>
                  <a:pt x="4825991" y="711393"/>
                  <a:pt x="4822130" y="712192"/>
                  <a:pt x="4817870" y="712192"/>
                </a:cubicBezTo>
                <a:cubicBezTo>
                  <a:pt x="4808952" y="712192"/>
                  <a:pt x="4801630" y="709263"/>
                  <a:pt x="4796038" y="703671"/>
                </a:cubicBezTo>
                <a:cubicBezTo>
                  <a:pt x="4790447" y="698081"/>
                  <a:pt x="4787652" y="691025"/>
                  <a:pt x="4787652" y="682506"/>
                </a:cubicBezTo>
                <a:cubicBezTo>
                  <a:pt x="4787652" y="674253"/>
                  <a:pt x="4790447" y="667197"/>
                  <a:pt x="4796038" y="661473"/>
                </a:cubicBezTo>
                <a:cubicBezTo>
                  <a:pt x="4801630" y="655749"/>
                  <a:pt x="4808818" y="652821"/>
                  <a:pt x="4817870" y="652821"/>
                </a:cubicBezTo>
                <a:close/>
                <a:moveTo>
                  <a:pt x="5253160" y="652820"/>
                </a:moveTo>
                <a:cubicBezTo>
                  <a:pt x="5257420" y="652820"/>
                  <a:pt x="5261147" y="653752"/>
                  <a:pt x="5264875" y="655349"/>
                </a:cubicBezTo>
                <a:cubicBezTo>
                  <a:pt x="5268602" y="656947"/>
                  <a:pt x="5271664" y="659077"/>
                  <a:pt x="5274192" y="661740"/>
                </a:cubicBezTo>
                <a:cubicBezTo>
                  <a:pt x="5276722" y="664401"/>
                  <a:pt x="5278852" y="667597"/>
                  <a:pt x="5280316" y="671191"/>
                </a:cubicBezTo>
                <a:cubicBezTo>
                  <a:pt x="5281780" y="674785"/>
                  <a:pt x="5282579" y="678645"/>
                  <a:pt x="5282579" y="682639"/>
                </a:cubicBezTo>
                <a:cubicBezTo>
                  <a:pt x="5282579" y="686766"/>
                  <a:pt x="5281780" y="690759"/>
                  <a:pt x="5280316" y="694353"/>
                </a:cubicBezTo>
                <a:cubicBezTo>
                  <a:pt x="5278852" y="697947"/>
                  <a:pt x="5276722" y="701009"/>
                  <a:pt x="5274192" y="703671"/>
                </a:cubicBezTo>
                <a:cubicBezTo>
                  <a:pt x="5271664" y="706334"/>
                  <a:pt x="5268469" y="708464"/>
                  <a:pt x="5264875" y="709928"/>
                </a:cubicBezTo>
                <a:cubicBezTo>
                  <a:pt x="5261280" y="711393"/>
                  <a:pt x="5257420" y="712191"/>
                  <a:pt x="5253160" y="712191"/>
                </a:cubicBezTo>
                <a:cubicBezTo>
                  <a:pt x="5244241" y="712191"/>
                  <a:pt x="5236920" y="709263"/>
                  <a:pt x="5231328" y="703671"/>
                </a:cubicBezTo>
                <a:cubicBezTo>
                  <a:pt x="5225737" y="698080"/>
                  <a:pt x="5222942" y="691025"/>
                  <a:pt x="5222942" y="682506"/>
                </a:cubicBezTo>
                <a:cubicBezTo>
                  <a:pt x="5222942" y="674253"/>
                  <a:pt x="5225737" y="667197"/>
                  <a:pt x="5231328" y="661473"/>
                </a:cubicBezTo>
                <a:cubicBezTo>
                  <a:pt x="5236920" y="655748"/>
                  <a:pt x="5244108" y="652820"/>
                  <a:pt x="5253160" y="652820"/>
                </a:cubicBezTo>
                <a:close/>
                <a:moveTo>
                  <a:pt x="5035515" y="652820"/>
                </a:moveTo>
                <a:cubicBezTo>
                  <a:pt x="5039775" y="652820"/>
                  <a:pt x="5043502" y="653753"/>
                  <a:pt x="5047230" y="655349"/>
                </a:cubicBezTo>
                <a:cubicBezTo>
                  <a:pt x="5050957" y="656948"/>
                  <a:pt x="5054019" y="659077"/>
                  <a:pt x="5056548" y="661740"/>
                </a:cubicBezTo>
                <a:cubicBezTo>
                  <a:pt x="5059077" y="664402"/>
                  <a:pt x="5061207" y="667597"/>
                  <a:pt x="5062671" y="671191"/>
                </a:cubicBezTo>
                <a:cubicBezTo>
                  <a:pt x="5064135" y="674785"/>
                  <a:pt x="5064934" y="678645"/>
                  <a:pt x="5064934" y="682639"/>
                </a:cubicBezTo>
                <a:cubicBezTo>
                  <a:pt x="5064934" y="686766"/>
                  <a:pt x="5064135" y="690759"/>
                  <a:pt x="5062671" y="694353"/>
                </a:cubicBezTo>
                <a:cubicBezTo>
                  <a:pt x="5061207" y="697947"/>
                  <a:pt x="5059077" y="701009"/>
                  <a:pt x="5056548" y="703671"/>
                </a:cubicBezTo>
                <a:cubicBezTo>
                  <a:pt x="5053885" y="706334"/>
                  <a:pt x="5050824" y="708465"/>
                  <a:pt x="5047230" y="709928"/>
                </a:cubicBezTo>
                <a:cubicBezTo>
                  <a:pt x="5043636" y="711393"/>
                  <a:pt x="5039775" y="712192"/>
                  <a:pt x="5035515" y="712192"/>
                </a:cubicBezTo>
                <a:cubicBezTo>
                  <a:pt x="5026597" y="712192"/>
                  <a:pt x="5019275" y="709263"/>
                  <a:pt x="5013683" y="703671"/>
                </a:cubicBezTo>
                <a:cubicBezTo>
                  <a:pt x="5008092" y="698080"/>
                  <a:pt x="5005297" y="691025"/>
                  <a:pt x="5005297" y="682506"/>
                </a:cubicBezTo>
                <a:cubicBezTo>
                  <a:pt x="5005297" y="674253"/>
                  <a:pt x="5008092" y="667197"/>
                  <a:pt x="5013683" y="661473"/>
                </a:cubicBezTo>
                <a:cubicBezTo>
                  <a:pt x="5019275" y="655748"/>
                  <a:pt x="5026463" y="652820"/>
                  <a:pt x="5035515" y="652820"/>
                </a:cubicBezTo>
                <a:close/>
                <a:moveTo>
                  <a:pt x="5470806" y="652820"/>
                </a:moveTo>
                <a:cubicBezTo>
                  <a:pt x="5475065" y="652820"/>
                  <a:pt x="5478793" y="653752"/>
                  <a:pt x="5482520" y="655349"/>
                </a:cubicBezTo>
                <a:cubicBezTo>
                  <a:pt x="5486247" y="656947"/>
                  <a:pt x="5489309" y="659077"/>
                  <a:pt x="5491838" y="661740"/>
                </a:cubicBezTo>
                <a:cubicBezTo>
                  <a:pt x="5494367" y="664401"/>
                  <a:pt x="5496497" y="667596"/>
                  <a:pt x="5497961" y="671191"/>
                </a:cubicBezTo>
                <a:cubicBezTo>
                  <a:pt x="5499426" y="674785"/>
                  <a:pt x="5500224" y="678645"/>
                  <a:pt x="5500224" y="682639"/>
                </a:cubicBezTo>
                <a:cubicBezTo>
                  <a:pt x="5500224" y="686766"/>
                  <a:pt x="5499426" y="690759"/>
                  <a:pt x="5497961" y="694353"/>
                </a:cubicBezTo>
                <a:cubicBezTo>
                  <a:pt x="5496497" y="697947"/>
                  <a:pt x="5494367" y="701009"/>
                  <a:pt x="5491838" y="703671"/>
                </a:cubicBezTo>
                <a:cubicBezTo>
                  <a:pt x="5489176" y="706334"/>
                  <a:pt x="5486114" y="708464"/>
                  <a:pt x="5482520" y="709928"/>
                </a:cubicBezTo>
                <a:cubicBezTo>
                  <a:pt x="5478926" y="711392"/>
                  <a:pt x="5475065" y="712191"/>
                  <a:pt x="5470806" y="712191"/>
                </a:cubicBezTo>
                <a:cubicBezTo>
                  <a:pt x="5461887" y="712191"/>
                  <a:pt x="5454565" y="709262"/>
                  <a:pt x="5448973" y="703671"/>
                </a:cubicBezTo>
                <a:cubicBezTo>
                  <a:pt x="5443383" y="698080"/>
                  <a:pt x="5440587" y="691025"/>
                  <a:pt x="5440587" y="682506"/>
                </a:cubicBezTo>
                <a:cubicBezTo>
                  <a:pt x="5440587" y="674253"/>
                  <a:pt x="5443383" y="667197"/>
                  <a:pt x="5448973" y="661472"/>
                </a:cubicBezTo>
                <a:cubicBezTo>
                  <a:pt x="5454565" y="655748"/>
                  <a:pt x="5461754" y="652820"/>
                  <a:pt x="5470806" y="652820"/>
                </a:cubicBezTo>
                <a:close/>
                <a:moveTo>
                  <a:pt x="6123608" y="652820"/>
                </a:moveTo>
                <a:cubicBezTo>
                  <a:pt x="6127867" y="652820"/>
                  <a:pt x="6131594" y="653752"/>
                  <a:pt x="6135322" y="655349"/>
                </a:cubicBezTo>
                <a:cubicBezTo>
                  <a:pt x="6139049" y="656947"/>
                  <a:pt x="6142111" y="659076"/>
                  <a:pt x="6144640" y="661739"/>
                </a:cubicBezTo>
                <a:cubicBezTo>
                  <a:pt x="6147169" y="664401"/>
                  <a:pt x="6149299" y="667596"/>
                  <a:pt x="6150763" y="671190"/>
                </a:cubicBezTo>
                <a:cubicBezTo>
                  <a:pt x="6152228" y="674784"/>
                  <a:pt x="6153026" y="678644"/>
                  <a:pt x="6153026" y="682639"/>
                </a:cubicBezTo>
                <a:cubicBezTo>
                  <a:pt x="6153026" y="686766"/>
                  <a:pt x="6152228" y="690759"/>
                  <a:pt x="6150763" y="694353"/>
                </a:cubicBezTo>
                <a:cubicBezTo>
                  <a:pt x="6149299" y="697947"/>
                  <a:pt x="6147169" y="701009"/>
                  <a:pt x="6144640" y="703671"/>
                </a:cubicBezTo>
                <a:cubicBezTo>
                  <a:pt x="6141977" y="706334"/>
                  <a:pt x="6138916" y="708464"/>
                  <a:pt x="6135322" y="709928"/>
                </a:cubicBezTo>
                <a:cubicBezTo>
                  <a:pt x="6131728" y="711392"/>
                  <a:pt x="6127867" y="712191"/>
                  <a:pt x="6123608" y="712191"/>
                </a:cubicBezTo>
                <a:cubicBezTo>
                  <a:pt x="6114689" y="712191"/>
                  <a:pt x="6107367" y="709262"/>
                  <a:pt x="6101775" y="703671"/>
                </a:cubicBezTo>
                <a:cubicBezTo>
                  <a:pt x="6096184" y="698080"/>
                  <a:pt x="6093389" y="691025"/>
                  <a:pt x="6093389" y="682506"/>
                </a:cubicBezTo>
                <a:cubicBezTo>
                  <a:pt x="6093389" y="674252"/>
                  <a:pt x="6096184" y="667196"/>
                  <a:pt x="6101775" y="661472"/>
                </a:cubicBezTo>
                <a:cubicBezTo>
                  <a:pt x="6107367" y="655748"/>
                  <a:pt x="6114555" y="652820"/>
                  <a:pt x="6123608" y="652820"/>
                </a:cubicBezTo>
                <a:close/>
                <a:moveTo>
                  <a:pt x="5905963" y="652820"/>
                </a:moveTo>
                <a:cubicBezTo>
                  <a:pt x="5910222" y="652820"/>
                  <a:pt x="5913950" y="653752"/>
                  <a:pt x="5917677" y="655349"/>
                </a:cubicBezTo>
                <a:cubicBezTo>
                  <a:pt x="5921404" y="656947"/>
                  <a:pt x="5924466" y="659076"/>
                  <a:pt x="5926995" y="661739"/>
                </a:cubicBezTo>
                <a:cubicBezTo>
                  <a:pt x="5929524" y="664401"/>
                  <a:pt x="5931654" y="667596"/>
                  <a:pt x="5933118" y="671190"/>
                </a:cubicBezTo>
                <a:cubicBezTo>
                  <a:pt x="5934583" y="674784"/>
                  <a:pt x="5935381" y="678645"/>
                  <a:pt x="5935381" y="682639"/>
                </a:cubicBezTo>
                <a:cubicBezTo>
                  <a:pt x="5935381" y="686766"/>
                  <a:pt x="5934583" y="690759"/>
                  <a:pt x="5933118" y="694353"/>
                </a:cubicBezTo>
                <a:cubicBezTo>
                  <a:pt x="5931654" y="697947"/>
                  <a:pt x="5929524" y="701009"/>
                  <a:pt x="5926995" y="703671"/>
                </a:cubicBezTo>
                <a:cubicBezTo>
                  <a:pt x="5924333" y="706334"/>
                  <a:pt x="5921271" y="708464"/>
                  <a:pt x="5917677" y="709928"/>
                </a:cubicBezTo>
                <a:cubicBezTo>
                  <a:pt x="5914083" y="711392"/>
                  <a:pt x="5910222" y="712191"/>
                  <a:pt x="5905963" y="712191"/>
                </a:cubicBezTo>
                <a:cubicBezTo>
                  <a:pt x="5897044" y="712191"/>
                  <a:pt x="5889722" y="709262"/>
                  <a:pt x="5884130" y="703671"/>
                </a:cubicBezTo>
                <a:cubicBezTo>
                  <a:pt x="5878540" y="698080"/>
                  <a:pt x="5875744" y="691025"/>
                  <a:pt x="5875744" y="682506"/>
                </a:cubicBezTo>
                <a:cubicBezTo>
                  <a:pt x="5875744" y="674252"/>
                  <a:pt x="5878540" y="667196"/>
                  <a:pt x="5884130" y="661472"/>
                </a:cubicBezTo>
                <a:cubicBezTo>
                  <a:pt x="5889722" y="655748"/>
                  <a:pt x="5896910" y="652820"/>
                  <a:pt x="5905963" y="652820"/>
                </a:cubicBezTo>
                <a:close/>
                <a:moveTo>
                  <a:pt x="5688451" y="652820"/>
                </a:moveTo>
                <a:cubicBezTo>
                  <a:pt x="5692577" y="652820"/>
                  <a:pt x="5696437" y="653752"/>
                  <a:pt x="5700165" y="655349"/>
                </a:cubicBezTo>
                <a:cubicBezTo>
                  <a:pt x="5703892" y="656947"/>
                  <a:pt x="5706954" y="659076"/>
                  <a:pt x="5709483" y="661739"/>
                </a:cubicBezTo>
                <a:cubicBezTo>
                  <a:pt x="5712012" y="664401"/>
                  <a:pt x="5714142" y="667596"/>
                  <a:pt x="5715606" y="671190"/>
                </a:cubicBezTo>
                <a:cubicBezTo>
                  <a:pt x="5717071" y="674784"/>
                  <a:pt x="5717869" y="678645"/>
                  <a:pt x="5717869" y="682639"/>
                </a:cubicBezTo>
                <a:cubicBezTo>
                  <a:pt x="5717869" y="686766"/>
                  <a:pt x="5717071" y="690759"/>
                  <a:pt x="5715606" y="694353"/>
                </a:cubicBezTo>
                <a:cubicBezTo>
                  <a:pt x="5714142" y="697947"/>
                  <a:pt x="5712012" y="701009"/>
                  <a:pt x="5709483" y="703671"/>
                </a:cubicBezTo>
                <a:cubicBezTo>
                  <a:pt x="5706820" y="706334"/>
                  <a:pt x="5703759" y="708464"/>
                  <a:pt x="5700165" y="709928"/>
                </a:cubicBezTo>
                <a:cubicBezTo>
                  <a:pt x="5696571" y="711392"/>
                  <a:pt x="5692710" y="712191"/>
                  <a:pt x="5688451" y="712191"/>
                </a:cubicBezTo>
                <a:cubicBezTo>
                  <a:pt x="5679532" y="712191"/>
                  <a:pt x="5672210" y="709262"/>
                  <a:pt x="5666618" y="703671"/>
                </a:cubicBezTo>
                <a:cubicBezTo>
                  <a:pt x="5661028" y="698080"/>
                  <a:pt x="5658232" y="691025"/>
                  <a:pt x="5658232" y="682506"/>
                </a:cubicBezTo>
                <a:cubicBezTo>
                  <a:pt x="5658232" y="674253"/>
                  <a:pt x="5661028" y="667197"/>
                  <a:pt x="5666618" y="661472"/>
                </a:cubicBezTo>
                <a:cubicBezTo>
                  <a:pt x="5672210" y="655748"/>
                  <a:pt x="5679398" y="652820"/>
                  <a:pt x="5688451" y="652820"/>
                </a:cubicBezTo>
                <a:close/>
                <a:moveTo>
                  <a:pt x="6341253" y="652820"/>
                </a:moveTo>
                <a:cubicBezTo>
                  <a:pt x="6345513" y="652820"/>
                  <a:pt x="6349373" y="653619"/>
                  <a:pt x="6352968" y="655349"/>
                </a:cubicBezTo>
                <a:cubicBezTo>
                  <a:pt x="6356695" y="656947"/>
                  <a:pt x="6359757" y="659076"/>
                  <a:pt x="6362286" y="661739"/>
                </a:cubicBezTo>
                <a:cubicBezTo>
                  <a:pt x="6364815" y="664401"/>
                  <a:pt x="6366945" y="667596"/>
                  <a:pt x="6368409" y="671190"/>
                </a:cubicBezTo>
                <a:cubicBezTo>
                  <a:pt x="6369874" y="674784"/>
                  <a:pt x="6370672" y="678644"/>
                  <a:pt x="6370672" y="682639"/>
                </a:cubicBezTo>
                <a:cubicBezTo>
                  <a:pt x="6370672" y="686765"/>
                  <a:pt x="6369874" y="690759"/>
                  <a:pt x="6368409" y="694353"/>
                </a:cubicBezTo>
                <a:cubicBezTo>
                  <a:pt x="6366811" y="697947"/>
                  <a:pt x="6364815" y="701009"/>
                  <a:pt x="6362286" y="703671"/>
                </a:cubicBezTo>
                <a:cubicBezTo>
                  <a:pt x="6359623" y="706334"/>
                  <a:pt x="6356562" y="708464"/>
                  <a:pt x="6352968" y="709928"/>
                </a:cubicBezTo>
                <a:cubicBezTo>
                  <a:pt x="6349373" y="711392"/>
                  <a:pt x="6345513" y="712191"/>
                  <a:pt x="6341253" y="712191"/>
                </a:cubicBezTo>
                <a:cubicBezTo>
                  <a:pt x="6332335" y="712191"/>
                  <a:pt x="6325013" y="709262"/>
                  <a:pt x="6319421" y="703671"/>
                </a:cubicBezTo>
                <a:cubicBezTo>
                  <a:pt x="6313830" y="698080"/>
                  <a:pt x="6311035" y="691025"/>
                  <a:pt x="6311035" y="682505"/>
                </a:cubicBezTo>
                <a:cubicBezTo>
                  <a:pt x="6311035" y="674252"/>
                  <a:pt x="6313830" y="667196"/>
                  <a:pt x="6319421" y="661472"/>
                </a:cubicBezTo>
                <a:cubicBezTo>
                  <a:pt x="6325013" y="655748"/>
                  <a:pt x="6332201" y="652820"/>
                  <a:pt x="6341253" y="652820"/>
                </a:cubicBezTo>
                <a:close/>
                <a:moveTo>
                  <a:pt x="6776544" y="652820"/>
                </a:moveTo>
                <a:cubicBezTo>
                  <a:pt x="6780670" y="652820"/>
                  <a:pt x="6784664" y="653619"/>
                  <a:pt x="6788258" y="655349"/>
                </a:cubicBezTo>
                <a:cubicBezTo>
                  <a:pt x="6791985" y="656947"/>
                  <a:pt x="6795047" y="659076"/>
                  <a:pt x="6797576" y="661739"/>
                </a:cubicBezTo>
                <a:cubicBezTo>
                  <a:pt x="6800105" y="664401"/>
                  <a:pt x="6802235" y="667596"/>
                  <a:pt x="6803699" y="671190"/>
                </a:cubicBezTo>
                <a:cubicBezTo>
                  <a:pt x="6805164" y="674784"/>
                  <a:pt x="6805963" y="678644"/>
                  <a:pt x="6805963" y="682638"/>
                </a:cubicBezTo>
                <a:cubicBezTo>
                  <a:pt x="6805963" y="686765"/>
                  <a:pt x="6805164" y="690758"/>
                  <a:pt x="6803699" y="694352"/>
                </a:cubicBezTo>
                <a:cubicBezTo>
                  <a:pt x="6802102" y="697947"/>
                  <a:pt x="6800105" y="701009"/>
                  <a:pt x="6797576" y="703671"/>
                </a:cubicBezTo>
                <a:cubicBezTo>
                  <a:pt x="6794914" y="706334"/>
                  <a:pt x="6791852" y="708464"/>
                  <a:pt x="6788258" y="709928"/>
                </a:cubicBezTo>
                <a:cubicBezTo>
                  <a:pt x="6784664" y="711392"/>
                  <a:pt x="6780803" y="712191"/>
                  <a:pt x="6776544" y="712191"/>
                </a:cubicBezTo>
                <a:cubicBezTo>
                  <a:pt x="6767625" y="712191"/>
                  <a:pt x="6760303" y="709262"/>
                  <a:pt x="6754711" y="703671"/>
                </a:cubicBezTo>
                <a:cubicBezTo>
                  <a:pt x="6749121" y="698080"/>
                  <a:pt x="6746325" y="691024"/>
                  <a:pt x="6746325" y="682505"/>
                </a:cubicBezTo>
                <a:cubicBezTo>
                  <a:pt x="6746325" y="674252"/>
                  <a:pt x="6749121" y="667196"/>
                  <a:pt x="6754711" y="661472"/>
                </a:cubicBezTo>
                <a:cubicBezTo>
                  <a:pt x="6760303" y="655748"/>
                  <a:pt x="6767492" y="652820"/>
                  <a:pt x="6776544" y="652820"/>
                </a:cubicBezTo>
                <a:close/>
                <a:moveTo>
                  <a:pt x="6558899" y="652820"/>
                </a:moveTo>
                <a:cubicBezTo>
                  <a:pt x="6563158" y="652820"/>
                  <a:pt x="6567019" y="653619"/>
                  <a:pt x="6570612" y="655349"/>
                </a:cubicBezTo>
                <a:cubicBezTo>
                  <a:pt x="6574340" y="656947"/>
                  <a:pt x="6577401" y="659076"/>
                  <a:pt x="6579930" y="661739"/>
                </a:cubicBezTo>
                <a:cubicBezTo>
                  <a:pt x="6582460" y="664401"/>
                  <a:pt x="6584590" y="667596"/>
                  <a:pt x="6586054" y="671190"/>
                </a:cubicBezTo>
                <a:cubicBezTo>
                  <a:pt x="6587518" y="674784"/>
                  <a:pt x="6588317" y="678644"/>
                  <a:pt x="6588317" y="682638"/>
                </a:cubicBezTo>
                <a:cubicBezTo>
                  <a:pt x="6588317" y="686765"/>
                  <a:pt x="6587518" y="690758"/>
                  <a:pt x="6586054" y="694353"/>
                </a:cubicBezTo>
                <a:cubicBezTo>
                  <a:pt x="6584457" y="697947"/>
                  <a:pt x="6582460" y="701009"/>
                  <a:pt x="6579930" y="703671"/>
                </a:cubicBezTo>
                <a:cubicBezTo>
                  <a:pt x="6577268" y="706334"/>
                  <a:pt x="6574207" y="708464"/>
                  <a:pt x="6570612" y="709928"/>
                </a:cubicBezTo>
                <a:cubicBezTo>
                  <a:pt x="6567019" y="711392"/>
                  <a:pt x="6563158" y="712191"/>
                  <a:pt x="6558899" y="712191"/>
                </a:cubicBezTo>
                <a:cubicBezTo>
                  <a:pt x="6549979" y="712191"/>
                  <a:pt x="6542658" y="709262"/>
                  <a:pt x="6537066" y="703671"/>
                </a:cubicBezTo>
                <a:cubicBezTo>
                  <a:pt x="6531476" y="698080"/>
                  <a:pt x="6528680" y="691025"/>
                  <a:pt x="6528680" y="682505"/>
                </a:cubicBezTo>
                <a:cubicBezTo>
                  <a:pt x="6528680" y="674252"/>
                  <a:pt x="6531476" y="667196"/>
                  <a:pt x="6537066" y="661472"/>
                </a:cubicBezTo>
                <a:cubicBezTo>
                  <a:pt x="6542658" y="655748"/>
                  <a:pt x="6549846" y="652820"/>
                  <a:pt x="6558899" y="652820"/>
                </a:cubicBezTo>
                <a:close/>
                <a:moveTo>
                  <a:pt x="7211701" y="652820"/>
                </a:moveTo>
                <a:cubicBezTo>
                  <a:pt x="7215960" y="652820"/>
                  <a:pt x="7219954" y="653619"/>
                  <a:pt x="7223415" y="655348"/>
                </a:cubicBezTo>
                <a:cubicBezTo>
                  <a:pt x="7227142" y="656947"/>
                  <a:pt x="7230204" y="659076"/>
                  <a:pt x="7232733" y="661739"/>
                </a:cubicBezTo>
                <a:cubicBezTo>
                  <a:pt x="7235262" y="664400"/>
                  <a:pt x="7237392" y="667596"/>
                  <a:pt x="7238856" y="671190"/>
                </a:cubicBezTo>
                <a:cubicBezTo>
                  <a:pt x="7240321" y="674784"/>
                  <a:pt x="7241120" y="678644"/>
                  <a:pt x="7241120" y="682638"/>
                </a:cubicBezTo>
                <a:cubicBezTo>
                  <a:pt x="7241120" y="686765"/>
                  <a:pt x="7240321" y="690758"/>
                  <a:pt x="7238856" y="694352"/>
                </a:cubicBezTo>
                <a:cubicBezTo>
                  <a:pt x="7237259" y="697946"/>
                  <a:pt x="7235262" y="701008"/>
                  <a:pt x="7232733" y="703670"/>
                </a:cubicBezTo>
                <a:cubicBezTo>
                  <a:pt x="7230071" y="706333"/>
                  <a:pt x="7227009" y="708464"/>
                  <a:pt x="7223415" y="709928"/>
                </a:cubicBezTo>
                <a:cubicBezTo>
                  <a:pt x="7219821" y="711392"/>
                  <a:pt x="7215960" y="712191"/>
                  <a:pt x="7211701" y="712191"/>
                </a:cubicBezTo>
                <a:cubicBezTo>
                  <a:pt x="7202782" y="712191"/>
                  <a:pt x="7195460" y="709262"/>
                  <a:pt x="7189868" y="703670"/>
                </a:cubicBezTo>
                <a:cubicBezTo>
                  <a:pt x="7184278" y="698079"/>
                  <a:pt x="7181482" y="691024"/>
                  <a:pt x="7181482" y="682505"/>
                </a:cubicBezTo>
                <a:cubicBezTo>
                  <a:pt x="7181482" y="674252"/>
                  <a:pt x="7184278" y="667196"/>
                  <a:pt x="7189868" y="661472"/>
                </a:cubicBezTo>
                <a:cubicBezTo>
                  <a:pt x="7195460" y="655747"/>
                  <a:pt x="7202649" y="652820"/>
                  <a:pt x="7211701" y="652820"/>
                </a:cubicBezTo>
                <a:close/>
                <a:moveTo>
                  <a:pt x="6994056" y="652820"/>
                </a:moveTo>
                <a:cubicBezTo>
                  <a:pt x="6998315" y="652820"/>
                  <a:pt x="7002309" y="653619"/>
                  <a:pt x="7005769" y="655349"/>
                </a:cubicBezTo>
                <a:cubicBezTo>
                  <a:pt x="7009497" y="656947"/>
                  <a:pt x="7012558" y="659076"/>
                  <a:pt x="7015087" y="661739"/>
                </a:cubicBezTo>
                <a:cubicBezTo>
                  <a:pt x="7017617" y="664401"/>
                  <a:pt x="7019747" y="667596"/>
                  <a:pt x="7021211" y="671190"/>
                </a:cubicBezTo>
                <a:cubicBezTo>
                  <a:pt x="7022675" y="674784"/>
                  <a:pt x="7023474" y="678644"/>
                  <a:pt x="7023474" y="682638"/>
                </a:cubicBezTo>
                <a:cubicBezTo>
                  <a:pt x="7023474" y="686765"/>
                  <a:pt x="7022675" y="690758"/>
                  <a:pt x="7021211" y="694352"/>
                </a:cubicBezTo>
                <a:cubicBezTo>
                  <a:pt x="7019614" y="697946"/>
                  <a:pt x="7017617" y="701008"/>
                  <a:pt x="7015087" y="703670"/>
                </a:cubicBezTo>
                <a:cubicBezTo>
                  <a:pt x="7012425" y="706333"/>
                  <a:pt x="7009364" y="708464"/>
                  <a:pt x="7005769" y="709928"/>
                </a:cubicBezTo>
                <a:cubicBezTo>
                  <a:pt x="7002176" y="711392"/>
                  <a:pt x="6998315" y="712191"/>
                  <a:pt x="6994056" y="712191"/>
                </a:cubicBezTo>
                <a:cubicBezTo>
                  <a:pt x="6985136" y="712191"/>
                  <a:pt x="6977815" y="709262"/>
                  <a:pt x="6972223" y="703670"/>
                </a:cubicBezTo>
                <a:cubicBezTo>
                  <a:pt x="6966632" y="698079"/>
                  <a:pt x="6963837" y="691024"/>
                  <a:pt x="6963837" y="682505"/>
                </a:cubicBezTo>
                <a:cubicBezTo>
                  <a:pt x="6963837" y="674252"/>
                  <a:pt x="6966632" y="667196"/>
                  <a:pt x="6972223" y="661472"/>
                </a:cubicBezTo>
                <a:cubicBezTo>
                  <a:pt x="6977815" y="655748"/>
                  <a:pt x="6985003" y="652820"/>
                  <a:pt x="6994056" y="652820"/>
                </a:cubicBezTo>
                <a:close/>
                <a:moveTo>
                  <a:pt x="7429345" y="652819"/>
                </a:moveTo>
                <a:cubicBezTo>
                  <a:pt x="7433605" y="652819"/>
                  <a:pt x="7437466" y="653618"/>
                  <a:pt x="7441059" y="655348"/>
                </a:cubicBezTo>
                <a:cubicBezTo>
                  <a:pt x="7444787" y="656946"/>
                  <a:pt x="7447848" y="659076"/>
                  <a:pt x="7450377" y="661739"/>
                </a:cubicBezTo>
                <a:cubicBezTo>
                  <a:pt x="7452907" y="664400"/>
                  <a:pt x="7455036" y="667596"/>
                  <a:pt x="7456501" y="671190"/>
                </a:cubicBezTo>
                <a:cubicBezTo>
                  <a:pt x="7457965" y="674784"/>
                  <a:pt x="7458764" y="678644"/>
                  <a:pt x="7458764" y="682638"/>
                </a:cubicBezTo>
                <a:cubicBezTo>
                  <a:pt x="7458764" y="686765"/>
                  <a:pt x="7457965" y="690758"/>
                  <a:pt x="7456501" y="694352"/>
                </a:cubicBezTo>
                <a:cubicBezTo>
                  <a:pt x="7454904" y="697946"/>
                  <a:pt x="7452907" y="701008"/>
                  <a:pt x="7450377" y="703670"/>
                </a:cubicBezTo>
                <a:cubicBezTo>
                  <a:pt x="7447715" y="706333"/>
                  <a:pt x="7444654" y="708463"/>
                  <a:pt x="7441059" y="709927"/>
                </a:cubicBezTo>
                <a:cubicBezTo>
                  <a:pt x="7437466" y="711391"/>
                  <a:pt x="7433605" y="712191"/>
                  <a:pt x="7429345" y="712191"/>
                </a:cubicBezTo>
                <a:cubicBezTo>
                  <a:pt x="7420426" y="712191"/>
                  <a:pt x="7413105" y="709262"/>
                  <a:pt x="7407513" y="703670"/>
                </a:cubicBezTo>
                <a:cubicBezTo>
                  <a:pt x="7401922" y="698079"/>
                  <a:pt x="7399127" y="691024"/>
                  <a:pt x="7399127" y="682505"/>
                </a:cubicBezTo>
                <a:cubicBezTo>
                  <a:pt x="7399127" y="674252"/>
                  <a:pt x="7401922" y="667196"/>
                  <a:pt x="7407513" y="661472"/>
                </a:cubicBezTo>
                <a:cubicBezTo>
                  <a:pt x="7413105" y="655747"/>
                  <a:pt x="7420293" y="652819"/>
                  <a:pt x="7429345" y="652819"/>
                </a:cubicBezTo>
                <a:close/>
                <a:moveTo>
                  <a:pt x="7864636" y="652819"/>
                </a:moveTo>
                <a:cubicBezTo>
                  <a:pt x="7868762" y="652819"/>
                  <a:pt x="7872756" y="653618"/>
                  <a:pt x="7876483" y="655348"/>
                </a:cubicBezTo>
                <a:cubicBezTo>
                  <a:pt x="7880210" y="656946"/>
                  <a:pt x="7883272" y="659075"/>
                  <a:pt x="7885802" y="661738"/>
                </a:cubicBezTo>
                <a:cubicBezTo>
                  <a:pt x="7888331" y="664400"/>
                  <a:pt x="7890460" y="667595"/>
                  <a:pt x="7891924" y="671189"/>
                </a:cubicBezTo>
                <a:cubicBezTo>
                  <a:pt x="7893389" y="674783"/>
                  <a:pt x="7894188" y="678644"/>
                  <a:pt x="7894188" y="682638"/>
                </a:cubicBezTo>
                <a:cubicBezTo>
                  <a:pt x="7894188" y="686765"/>
                  <a:pt x="7893389" y="690758"/>
                  <a:pt x="7891924" y="694352"/>
                </a:cubicBezTo>
                <a:cubicBezTo>
                  <a:pt x="7890327" y="697946"/>
                  <a:pt x="7888331" y="701008"/>
                  <a:pt x="7885802" y="703670"/>
                </a:cubicBezTo>
                <a:cubicBezTo>
                  <a:pt x="7883139" y="706333"/>
                  <a:pt x="7880078" y="708463"/>
                  <a:pt x="7876483" y="709927"/>
                </a:cubicBezTo>
                <a:cubicBezTo>
                  <a:pt x="7872756" y="711391"/>
                  <a:pt x="7868895" y="712190"/>
                  <a:pt x="7864636" y="712190"/>
                </a:cubicBezTo>
                <a:cubicBezTo>
                  <a:pt x="7855717" y="712190"/>
                  <a:pt x="7848396" y="709261"/>
                  <a:pt x="7842803" y="703670"/>
                </a:cubicBezTo>
                <a:cubicBezTo>
                  <a:pt x="7837213" y="698079"/>
                  <a:pt x="7834417" y="691024"/>
                  <a:pt x="7834417" y="682505"/>
                </a:cubicBezTo>
                <a:cubicBezTo>
                  <a:pt x="7834417" y="674252"/>
                  <a:pt x="7837213" y="667195"/>
                  <a:pt x="7842803" y="661471"/>
                </a:cubicBezTo>
                <a:cubicBezTo>
                  <a:pt x="7848396" y="655747"/>
                  <a:pt x="7855584" y="652819"/>
                  <a:pt x="7864636" y="652819"/>
                </a:cubicBezTo>
                <a:close/>
                <a:moveTo>
                  <a:pt x="7646991" y="652819"/>
                </a:moveTo>
                <a:cubicBezTo>
                  <a:pt x="7651250" y="652819"/>
                  <a:pt x="7655111" y="653618"/>
                  <a:pt x="7658705" y="655348"/>
                </a:cubicBezTo>
                <a:cubicBezTo>
                  <a:pt x="7662432" y="656946"/>
                  <a:pt x="7665493" y="659075"/>
                  <a:pt x="7668022" y="661739"/>
                </a:cubicBezTo>
                <a:cubicBezTo>
                  <a:pt x="7670552" y="664400"/>
                  <a:pt x="7672682" y="667596"/>
                  <a:pt x="7674146" y="671190"/>
                </a:cubicBezTo>
                <a:cubicBezTo>
                  <a:pt x="7675610" y="674783"/>
                  <a:pt x="7676409" y="678644"/>
                  <a:pt x="7676409" y="682638"/>
                </a:cubicBezTo>
                <a:cubicBezTo>
                  <a:pt x="7676409" y="686765"/>
                  <a:pt x="7675610" y="690758"/>
                  <a:pt x="7674146" y="694352"/>
                </a:cubicBezTo>
                <a:cubicBezTo>
                  <a:pt x="7672549" y="697946"/>
                  <a:pt x="7670552" y="701008"/>
                  <a:pt x="7668022" y="703670"/>
                </a:cubicBezTo>
                <a:cubicBezTo>
                  <a:pt x="7665361" y="706333"/>
                  <a:pt x="7662299" y="708463"/>
                  <a:pt x="7658705" y="709927"/>
                </a:cubicBezTo>
                <a:cubicBezTo>
                  <a:pt x="7655111" y="711391"/>
                  <a:pt x="7651250" y="712190"/>
                  <a:pt x="7646991" y="712190"/>
                </a:cubicBezTo>
                <a:cubicBezTo>
                  <a:pt x="7638071" y="712190"/>
                  <a:pt x="7630750" y="709261"/>
                  <a:pt x="7625158" y="703670"/>
                </a:cubicBezTo>
                <a:cubicBezTo>
                  <a:pt x="7619568" y="698079"/>
                  <a:pt x="7616772" y="691024"/>
                  <a:pt x="7616772" y="682505"/>
                </a:cubicBezTo>
                <a:cubicBezTo>
                  <a:pt x="7616772" y="674252"/>
                  <a:pt x="7619568" y="667195"/>
                  <a:pt x="7625158" y="661471"/>
                </a:cubicBezTo>
                <a:cubicBezTo>
                  <a:pt x="7630750" y="655747"/>
                  <a:pt x="7637939" y="652819"/>
                  <a:pt x="7646991" y="652819"/>
                </a:cubicBezTo>
                <a:close/>
                <a:moveTo>
                  <a:pt x="8082281" y="652819"/>
                </a:moveTo>
                <a:cubicBezTo>
                  <a:pt x="8086407" y="652819"/>
                  <a:pt x="8090401" y="653618"/>
                  <a:pt x="8094127" y="655348"/>
                </a:cubicBezTo>
                <a:cubicBezTo>
                  <a:pt x="8097855" y="656946"/>
                  <a:pt x="8100916" y="659075"/>
                  <a:pt x="8103446" y="661738"/>
                </a:cubicBezTo>
                <a:cubicBezTo>
                  <a:pt x="8105975" y="664400"/>
                  <a:pt x="8108104" y="667595"/>
                  <a:pt x="8109569" y="671189"/>
                </a:cubicBezTo>
                <a:cubicBezTo>
                  <a:pt x="8111033" y="674783"/>
                  <a:pt x="8111832" y="678644"/>
                  <a:pt x="8111832" y="682638"/>
                </a:cubicBezTo>
                <a:cubicBezTo>
                  <a:pt x="8111832" y="686765"/>
                  <a:pt x="8111033" y="690758"/>
                  <a:pt x="8109569" y="694352"/>
                </a:cubicBezTo>
                <a:cubicBezTo>
                  <a:pt x="8107972" y="697946"/>
                  <a:pt x="8105975" y="701008"/>
                  <a:pt x="8103446" y="703670"/>
                </a:cubicBezTo>
                <a:cubicBezTo>
                  <a:pt x="8100783" y="706333"/>
                  <a:pt x="8097722" y="708463"/>
                  <a:pt x="8094127" y="709927"/>
                </a:cubicBezTo>
                <a:cubicBezTo>
                  <a:pt x="8090401" y="711391"/>
                  <a:pt x="8086540" y="712190"/>
                  <a:pt x="8082281" y="712190"/>
                </a:cubicBezTo>
                <a:cubicBezTo>
                  <a:pt x="8073361" y="712190"/>
                  <a:pt x="8066040" y="709261"/>
                  <a:pt x="8060448" y="703670"/>
                </a:cubicBezTo>
                <a:cubicBezTo>
                  <a:pt x="8054857" y="698079"/>
                  <a:pt x="8052062" y="691024"/>
                  <a:pt x="8052062" y="682505"/>
                </a:cubicBezTo>
                <a:cubicBezTo>
                  <a:pt x="8052062" y="674251"/>
                  <a:pt x="8054857" y="667195"/>
                  <a:pt x="8060448" y="661471"/>
                </a:cubicBezTo>
                <a:cubicBezTo>
                  <a:pt x="8066040" y="655747"/>
                  <a:pt x="8073228" y="652819"/>
                  <a:pt x="8082281" y="652819"/>
                </a:cubicBezTo>
                <a:close/>
                <a:moveTo>
                  <a:pt x="8517438" y="652819"/>
                </a:moveTo>
                <a:cubicBezTo>
                  <a:pt x="8521698" y="652819"/>
                  <a:pt x="8525559" y="653618"/>
                  <a:pt x="8529152" y="655348"/>
                </a:cubicBezTo>
                <a:cubicBezTo>
                  <a:pt x="8532880" y="656946"/>
                  <a:pt x="8535941" y="659075"/>
                  <a:pt x="8538470" y="661738"/>
                </a:cubicBezTo>
                <a:cubicBezTo>
                  <a:pt x="8541000" y="664400"/>
                  <a:pt x="8543130" y="667595"/>
                  <a:pt x="8544594" y="671189"/>
                </a:cubicBezTo>
                <a:cubicBezTo>
                  <a:pt x="8546058" y="674783"/>
                  <a:pt x="8546857" y="678643"/>
                  <a:pt x="8546857" y="682637"/>
                </a:cubicBezTo>
                <a:cubicBezTo>
                  <a:pt x="8546857" y="686764"/>
                  <a:pt x="8546058" y="690758"/>
                  <a:pt x="8544594" y="694352"/>
                </a:cubicBezTo>
                <a:cubicBezTo>
                  <a:pt x="8542997" y="697946"/>
                  <a:pt x="8541000" y="701008"/>
                  <a:pt x="8538470" y="703670"/>
                </a:cubicBezTo>
                <a:cubicBezTo>
                  <a:pt x="8535808" y="706333"/>
                  <a:pt x="8532747" y="708463"/>
                  <a:pt x="8529152" y="709927"/>
                </a:cubicBezTo>
                <a:cubicBezTo>
                  <a:pt x="8525559" y="711391"/>
                  <a:pt x="8521698" y="712190"/>
                  <a:pt x="8517438" y="712190"/>
                </a:cubicBezTo>
                <a:cubicBezTo>
                  <a:pt x="8508385" y="712190"/>
                  <a:pt x="8501197" y="709261"/>
                  <a:pt x="8495606" y="703670"/>
                </a:cubicBezTo>
                <a:cubicBezTo>
                  <a:pt x="8490015" y="698079"/>
                  <a:pt x="8487220" y="691024"/>
                  <a:pt x="8487220" y="682504"/>
                </a:cubicBezTo>
                <a:cubicBezTo>
                  <a:pt x="8487220" y="674251"/>
                  <a:pt x="8490015" y="667195"/>
                  <a:pt x="8495606" y="661471"/>
                </a:cubicBezTo>
                <a:cubicBezTo>
                  <a:pt x="8501197" y="655747"/>
                  <a:pt x="8508385" y="652819"/>
                  <a:pt x="8517438" y="652819"/>
                </a:cubicBezTo>
                <a:close/>
                <a:moveTo>
                  <a:pt x="8299793" y="652819"/>
                </a:moveTo>
                <a:cubicBezTo>
                  <a:pt x="8304052" y="652819"/>
                  <a:pt x="8308046" y="653618"/>
                  <a:pt x="8311507" y="655348"/>
                </a:cubicBezTo>
                <a:cubicBezTo>
                  <a:pt x="8315235" y="656946"/>
                  <a:pt x="8318296" y="659075"/>
                  <a:pt x="8320825" y="661738"/>
                </a:cubicBezTo>
                <a:cubicBezTo>
                  <a:pt x="8323354" y="664400"/>
                  <a:pt x="8325484" y="667595"/>
                  <a:pt x="8326948" y="671189"/>
                </a:cubicBezTo>
                <a:cubicBezTo>
                  <a:pt x="8328413" y="674783"/>
                  <a:pt x="8329212" y="678643"/>
                  <a:pt x="8329212" y="682638"/>
                </a:cubicBezTo>
                <a:cubicBezTo>
                  <a:pt x="8329212" y="686765"/>
                  <a:pt x="8328413" y="690758"/>
                  <a:pt x="8326948" y="694352"/>
                </a:cubicBezTo>
                <a:cubicBezTo>
                  <a:pt x="8325351" y="697946"/>
                  <a:pt x="8323354" y="701008"/>
                  <a:pt x="8320825" y="703670"/>
                </a:cubicBezTo>
                <a:cubicBezTo>
                  <a:pt x="8318163" y="706333"/>
                  <a:pt x="8315101" y="708463"/>
                  <a:pt x="8311507" y="709927"/>
                </a:cubicBezTo>
                <a:cubicBezTo>
                  <a:pt x="8307913" y="711391"/>
                  <a:pt x="8304052" y="712190"/>
                  <a:pt x="8299793" y="712190"/>
                </a:cubicBezTo>
                <a:cubicBezTo>
                  <a:pt x="8290874" y="712190"/>
                  <a:pt x="8283553" y="709261"/>
                  <a:pt x="8277960" y="703670"/>
                </a:cubicBezTo>
                <a:cubicBezTo>
                  <a:pt x="8272370" y="698079"/>
                  <a:pt x="8269574" y="691024"/>
                  <a:pt x="8269574" y="682504"/>
                </a:cubicBezTo>
                <a:cubicBezTo>
                  <a:pt x="8269574" y="674251"/>
                  <a:pt x="8272370" y="667195"/>
                  <a:pt x="8277960" y="661471"/>
                </a:cubicBezTo>
                <a:cubicBezTo>
                  <a:pt x="8283553" y="655747"/>
                  <a:pt x="8290741" y="652819"/>
                  <a:pt x="8299793" y="652819"/>
                </a:cubicBezTo>
                <a:close/>
                <a:moveTo>
                  <a:pt x="8735083" y="652819"/>
                </a:moveTo>
                <a:cubicBezTo>
                  <a:pt x="8739342" y="652819"/>
                  <a:pt x="8743203" y="653618"/>
                  <a:pt x="8746797" y="655348"/>
                </a:cubicBezTo>
                <a:cubicBezTo>
                  <a:pt x="8750391" y="656946"/>
                  <a:pt x="8753586" y="659075"/>
                  <a:pt x="8756115" y="661738"/>
                </a:cubicBezTo>
                <a:cubicBezTo>
                  <a:pt x="8758644" y="664400"/>
                  <a:pt x="8760774" y="667595"/>
                  <a:pt x="8762238" y="671189"/>
                </a:cubicBezTo>
                <a:cubicBezTo>
                  <a:pt x="8763702" y="674783"/>
                  <a:pt x="8764502" y="678643"/>
                  <a:pt x="8764502" y="682637"/>
                </a:cubicBezTo>
                <a:cubicBezTo>
                  <a:pt x="8764502" y="686764"/>
                  <a:pt x="8763702" y="690757"/>
                  <a:pt x="8762238" y="694352"/>
                </a:cubicBezTo>
                <a:cubicBezTo>
                  <a:pt x="8760641" y="697946"/>
                  <a:pt x="8758644" y="701008"/>
                  <a:pt x="8756115" y="703670"/>
                </a:cubicBezTo>
                <a:cubicBezTo>
                  <a:pt x="8753453" y="706333"/>
                  <a:pt x="8750391" y="708463"/>
                  <a:pt x="8746797" y="709927"/>
                </a:cubicBezTo>
                <a:cubicBezTo>
                  <a:pt x="8743203" y="711391"/>
                  <a:pt x="8739342" y="712190"/>
                  <a:pt x="8735083" y="712190"/>
                </a:cubicBezTo>
                <a:cubicBezTo>
                  <a:pt x="8726030" y="712190"/>
                  <a:pt x="8718841" y="709261"/>
                  <a:pt x="8713250" y="703670"/>
                </a:cubicBezTo>
                <a:cubicBezTo>
                  <a:pt x="8707660" y="698079"/>
                  <a:pt x="8704864" y="691024"/>
                  <a:pt x="8704864" y="682504"/>
                </a:cubicBezTo>
                <a:cubicBezTo>
                  <a:pt x="8704864" y="674251"/>
                  <a:pt x="8707660" y="667195"/>
                  <a:pt x="8713250" y="661471"/>
                </a:cubicBezTo>
                <a:cubicBezTo>
                  <a:pt x="8718841" y="655747"/>
                  <a:pt x="8726030" y="652819"/>
                  <a:pt x="8735083" y="652819"/>
                </a:cubicBezTo>
                <a:close/>
                <a:moveTo>
                  <a:pt x="9170374" y="652819"/>
                </a:moveTo>
                <a:cubicBezTo>
                  <a:pt x="9174500" y="652819"/>
                  <a:pt x="9178494" y="653618"/>
                  <a:pt x="9182088" y="655348"/>
                </a:cubicBezTo>
                <a:cubicBezTo>
                  <a:pt x="9185682" y="656945"/>
                  <a:pt x="9188876" y="659075"/>
                  <a:pt x="9191405" y="661738"/>
                </a:cubicBezTo>
                <a:cubicBezTo>
                  <a:pt x="9193935" y="664400"/>
                  <a:pt x="9196065" y="667595"/>
                  <a:pt x="9197529" y="671189"/>
                </a:cubicBezTo>
                <a:cubicBezTo>
                  <a:pt x="9198993" y="674783"/>
                  <a:pt x="9199792" y="678643"/>
                  <a:pt x="9199792" y="682637"/>
                </a:cubicBezTo>
                <a:cubicBezTo>
                  <a:pt x="9199792" y="686764"/>
                  <a:pt x="9198993" y="690757"/>
                  <a:pt x="9197529" y="694351"/>
                </a:cubicBezTo>
                <a:cubicBezTo>
                  <a:pt x="9195932" y="697945"/>
                  <a:pt x="9193935" y="701007"/>
                  <a:pt x="9191405" y="703669"/>
                </a:cubicBezTo>
                <a:cubicBezTo>
                  <a:pt x="9188744" y="706333"/>
                  <a:pt x="9185682" y="708463"/>
                  <a:pt x="9182088" y="709927"/>
                </a:cubicBezTo>
                <a:cubicBezTo>
                  <a:pt x="9178494" y="711391"/>
                  <a:pt x="9174633" y="712190"/>
                  <a:pt x="9170374" y="712190"/>
                </a:cubicBezTo>
                <a:cubicBezTo>
                  <a:pt x="9161453" y="712190"/>
                  <a:pt x="9154132" y="709261"/>
                  <a:pt x="9148541" y="703669"/>
                </a:cubicBezTo>
                <a:cubicBezTo>
                  <a:pt x="9142951" y="698078"/>
                  <a:pt x="9140155" y="691023"/>
                  <a:pt x="9140155" y="682504"/>
                </a:cubicBezTo>
                <a:cubicBezTo>
                  <a:pt x="9140155" y="674251"/>
                  <a:pt x="9142951" y="667195"/>
                  <a:pt x="9148541" y="661471"/>
                </a:cubicBezTo>
                <a:cubicBezTo>
                  <a:pt x="9154132" y="655747"/>
                  <a:pt x="9161321" y="652819"/>
                  <a:pt x="9170374" y="652819"/>
                </a:cubicBezTo>
                <a:close/>
                <a:moveTo>
                  <a:pt x="8952728" y="652819"/>
                </a:moveTo>
                <a:cubicBezTo>
                  <a:pt x="8956988" y="652819"/>
                  <a:pt x="8960849" y="653618"/>
                  <a:pt x="8964442" y="655348"/>
                </a:cubicBezTo>
                <a:cubicBezTo>
                  <a:pt x="8968037" y="656946"/>
                  <a:pt x="8971231" y="659075"/>
                  <a:pt x="8973760" y="661738"/>
                </a:cubicBezTo>
                <a:cubicBezTo>
                  <a:pt x="8976290" y="664400"/>
                  <a:pt x="8978419" y="667595"/>
                  <a:pt x="8979884" y="671189"/>
                </a:cubicBezTo>
                <a:cubicBezTo>
                  <a:pt x="8981348" y="674783"/>
                  <a:pt x="8982147" y="678643"/>
                  <a:pt x="8982147" y="682637"/>
                </a:cubicBezTo>
                <a:cubicBezTo>
                  <a:pt x="8982147" y="686764"/>
                  <a:pt x="8981348" y="690757"/>
                  <a:pt x="8979884" y="694352"/>
                </a:cubicBezTo>
                <a:cubicBezTo>
                  <a:pt x="8978287" y="697946"/>
                  <a:pt x="8976290" y="701007"/>
                  <a:pt x="8973760" y="703670"/>
                </a:cubicBezTo>
                <a:cubicBezTo>
                  <a:pt x="8971098" y="706333"/>
                  <a:pt x="8968037" y="708463"/>
                  <a:pt x="8964442" y="709927"/>
                </a:cubicBezTo>
                <a:cubicBezTo>
                  <a:pt x="8960849" y="711391"/>
                  <a:pt x="8956988" y="712190"/>
                  <a:pt x="8952728" y="712190"/>
                </a:cubicBezTo>
                <a:cubicBezTo>
                  <a:pt x="8943808" y="712190"/>
                  <a:pt x="8936487" y="709261"/>
                  <a:pt x="8930896" y="703670"/>
                </a:cubicBezTo>
                <a:cubicBezTo>
                  <a:pt x="8925305" y="698079"/>
                  <a:pt x="8922510" y="691023"/>
                  <a:pt x="8922510" y="682504"/>
                </a:cubicBezTo>
                <a:cubicBezTo>
                  <a:pt x="8922510" y="674251"/>
                  <a:pt x="8925305" y="667195"/>
                  <a:pt x="8930896" y="661471"/>
                </a:cubicBezTo>
                <a:cubicBezTo>
                  <a:pt x="8936487" y="655747"/>
                  <a:pt x="8943675" y="652819"/>
                  <a:pt x="8952728" y="652819"/>
                </a:cubicBezTo>
                <a:close/>
                <a:moveTo>
                  <a:pt x="9387885" y="652818"/>
                </a:moveTo>
                <a:cubicBezTo>
                  <a:pt x="9392145" y="652818"/>
                  <a:pt x="9396138" y="653618"/>
                  <a:pt x="9399599" y="655347"/>
                </a:cubicBezTo>
                <a:cubicBezTo>
                  <a:pt x="9403194" y="656945"/>
                  <a:pt x="9406388" y="659075"/>
                  <a:pt x="9408917" y="661738"/>
                </a:cubicBezTo>
                <a:cubicBezTo>
                  <a:pt x="9411447" y="664400"/>
                  <a:pt x="9413576" y="667595"/>
                  <a:pt x="9415041" y="671189"/>
                </a:cubicBezTo>
                <a:cubicBezTo>
                  <a:pt x="9416505" y="674783"/>
                  <a:pt x="9417304" y="678643"/>
                  <a:pt x="9417304" y="682637"/>
                </a:cubicBezTo>
                <a:cubicBezTo>
                  <a:pt x="9417304" y="686764"/>
                  <a:pt x="9416505" y="690757"/>
                  <a:pt x="9415041" y="694351"/>
                </a:cubicBezTo>
                <a:cubicBezTo>
                  <a:pt x="9413444" y="697945"/>
                  <a:pt x="9411447" y="701007"/>
                  <a:pt x="9408917" y="703669"/>
                </a:cubicBezTo>
                <a:cubicBezTo>
                  <a:pt x="9406255" y="706332"/>
                  <a:pt x="9403194" y="708463"/>
                  <a:pt x="9399599" y="709927"/>
                </a:cubicBezTo>
                <a:cubicBezTo>
                  <a:pt x="9396005" y="711391"/>
                  <a:pt x="9392145" y="712190"/>
                  <a:pt x="9387885" y="712190"/>
                </a:cubicBezTo>
                <a:cubicBezTo>
                  <a:pt x="9378965" y="712190"/>
                  <a:pt x="9371644" y="709261"/>
                  <a:pt x="9366053" y="703669"/>
                </a:cubicBezTo>
                <a:cubicBezTo>
                  <a:pt x="9360462" y="698078"/>
                  <a:pt x="9357667" y="691023"/>
                  <a:pt x="9357667" y="682504"/>
                </a:cubicBezTo>
                <a:cubicBezTo>
                  <a:pt x="9357667" y="674251"/>
                  <a:pt x="9360462" y="667195"/>
                  <a:pt x="9366053" y="661471"/>
                </a:cubicBezTo>
                <a:cubicBezTo>
                  <a:pt x="9371644" y="655747"/>
                  <a:pt x="9378832" y="652818"/>
                  <a:pt x="9387885" y="652818"/>
                </a:cubicBezTo>
                <a:close/>
                <a:moveTo>
                  <a:pt x="9605531" y="652818"/>
                </a:moveTo>
                <a:cubicBezTo>
                  <a:pt x="9609790" y="652818"/>
                  <a:pt x="9613784" y="653617"/>
                  <a:pt x="9617245" y="655347"/>
                </a:cubicBezTo>
                <a:cubicBezTo>
                  <a:pt x="9620839" y="656945"/>
                  <a:pt x="9624033" y="659075"/>
                  <a:pt x="9626562" y="661738"/>
                </a:cubicBezTo>
                <a:cubicBezTo>
                  <a:pt x="9629092" y="664399"/>
                  <a:pt x="9631222" y="667595"/>
                  <a:pt x="9632686" y="671189"/>
                </a:cubicBezTo>
                <a:cubicBezTo>
                  <a:pt x="9634150" y="674783"/>
                  <a:pt x="9634949" y="678643"/>
                  <a:pt x="9634949" y="682637"/>
                </a:cubicBezTo>
                <a:cubicBezTo>
                  <a:pt x="9634949" y="686764"/>
                  <a:pt x="9634150" y="690757"/>
                  <a:pt x="9632686" y="694351"/>
                </a:cubicBezTo>
                <a:cubicBezTo>
                  <a:pt x="9631089" y="697945"/>
                  <a:pt x="9629092" y="701007"/>
                  <a:pt x="9626562" y="703669"/>
                </a:cubicBezTo>
                <a:cubicBezTo>
                  <a:pt x="9623901" y="706332"/>
                  <a:pt x="9620839" y="708462"/>
                  <a:pt x="9617245" y="709926"/>
                </a:cubicBezTo>
                <a:cubicBezTo>
                  <a:pt x="9613651" y="711390"/>
                  <a:pt x="9609790" y="712190"/>
                  <a:pt x="9605531" y="712190"/>
                </a:cubicBezTo>
                <a:cubicBezTo>
                  <a:pt x="9596610" y="712190"/>
                  <a:pt x="9589289" y="709261"/>
                  <a:pt x="9583698" y="703669"/>
                </a:cubicBezTo>
                <a:cubicBezTo>
                  <a:pt x="9578108" y="698078"/>
                  <a:pt x="9575312" y="691023"/>
                  <a:pt x="9575312" y="682504"/>
                </a:cubicBezTo>
                <a:cubicBezTo>
                  <a:pt x="9575312" y="674251"/>
                  <a:pt x="9578108" y="667195"/>
                  <a:pt x="9583698" y="661470"/>
                </a:cubicBezTo>
                <a:cubicBezTo>
                  <a:pt x="9589289" y="655746"/>
                  <a:pt x="9596478" y="652818"/>
                  <a:pt x="9605531" y="652818"/>
                </a:cubicBezTo>
                <a:close/>
                <a:moveTo>
                  <a:pt x="10040820" y="652818"/>
                </a:moveTo>
                <a:cubicBezTo>
                  <a:pt x="10045080" y="652818"/>
                  <a:pt x="10048941" y="653617"/>
                  <a:pt x="10052534" y="655347"/>
                </a:cubicBezTo>
                <a:cubicBezTo>
                  <a:pt x="10056129" y="656945"/>
                  <a:pt x="10059323" y="659074"/>
                  <a:pt x="10061852" y="661737"/>
                </a:cubicBezTo>
                <a:cubicBezTo>
                  <a:pt x="10064382" y="664399"/>
                  <a:pt x="10066512" y="667594"/>
                  <a:pt x="10067976" y="671189"/>
                </a:cubicBezTo>
                <a:cubicBezTo>
                  <a:pt x="10069440" y="674783"/>
                  <a:pt x="10070239" y="678643"/>
                  <a:pt x="10070239" y="682637"/>
                </a:cubicBezTo>
                <a:cubicBezTo>
                  <a:pt x="10070239" y="686764"/>
                  <a:pt x="10069440" y="690757"/>
                  <a:pt x="10067976" y="694351"/>
                </a:cubicBezTo>
                <a:cubicBezTo>
                  <a:pt x="10066379" y="697945"/>
                  <a:pt x="10064382" y="701007"/>
                  <a:pt x="10061852" y="703669"/>
                </a:cubicBezTo>
                <a:cubicBezTo>
                  <a:pt x="10059190" y="706332"/>
                  <a:pt x="10056129" y="708462"/>
                  <a:pt x="10052534" y="709926"/>
                </a:cubicBezTo>
                <a:cubicBezTo>
                  <a:pt x="10048941" y="711390"/>
                  <a:pt x="10045080" y="712189"/>
                  <a:pt x="10040820" y="712189"/>
                </a:cubicBezTo>
                <a:cubicBezTo>
                  <a:pt x="10031767" y="712189"/>
                  <a:pt x="10024579" y="709260"/>
                  <a:pt x="10018988" y="703669"/>
                </a:cubicBezTo>
                <a:cubicBezTo>
                  <a:pt x="10013397" y="698078"/>
                  <a:pt x="10010602" y="691023"/>
                  <a:pt x="10010602" y="682504"/>
                </a:cubicBezTo>
                <a:cubicBezTo>
                  <a:pt x="10010602" y="674251"/>
                  <a:pt x="10013397" y="667194"/>
                  <a:pt x="10018988" y="661470"/>
                </a:cubicBezTo>
                <a:cubicBezTo>
                  <a:pt x="10024579" y="655746"/>
                  <a:pt x="10031767" y="652818"/>
                  <a:pt x="10040820" y="652818"/>
                </a:cubicBezTo>
                <a:close/>
                <a:moveTo>
                  <a:pt x="9823176" y="652818"/>
                </a:moveTo>
                <a:cubicBezTo>
                  <a:pt x="9827435" y="652818"/>
                  <a:pt x="9831296" y="653617"/>
                  <a:pt x="9834890" y="655347"/>
                </a:cubicBezTo>
                <a:cubicBezTo>
                  <a:pt x="9838617" y="656945"/>
                  <a:pt x="9841679" y="659074"/>
                  <a:pt x="9844208" y="661737"/>
                </a:cubicBezTo>
                <a:cubicBezTo>
                  <a:pt x="9846737" y="664399"/>
                  <a:pt x="9848867" y="667594"/>
                  <a:pt x="9850331" y="671189"/>
                </a:cubicBezTo>
                <a:cubicBezTo>
                  <a:pt x="9851796" y="674783"/>
                  <a:pt x="9852595" y="678643"/>
                  <a:pt x="9852595" y="682637"/>
                </a:cubicBezTo>
                <a:cubicBezTo>
                  <a:pt x="9852595" y="686764"/>
                  <a:pt x="9851796" y="690757"/>
                  <a:pt x="9850331" y="694351"/>
                </a:cubicBezTo>
                <a:cubicBezTo>
                  <a:pt x="9848734" y="697945"/>
                  <a:pt x="9846737" y="701007"/>
                  <a:pt x="9844208" y="703669"/>
                </a:cubicBezTo>
                <a:cubicBezTo>
                  <a:pt x="9841546" y="706332"/>
                  <a:pt x="9838484" y="708462"/>
                  <a:pt x="9834890" y="709926"/>
                </a:cubicBezTo>
                <a:cubicBezTo>
                  <a:pt x="9831296" y="711390"/>
                  <a:pt x="9827435" y="712189"/>
                  <a:pt x="9823176" y="712189"/>
                </a:cubicBezTo>
                <a:cubicBezTo>
                  <a:pt x="9814123" y="712189"/>
                  <a:pt x="9806935" y="709260"/>
                  <a:pt x="9801343" y="703669"/>
                </a:cubicBezTo>
                <a:cubicBezTo>
                  <a:pt x="9795753" y="698078"/>
                  <a:pt x="9792957" y="691023"/>
                  <a:pt x="9792957" y="682504"/>
                </a:cubicBezTo>
                <a:cubicBezTo>
                  <a:pt x="9792957" y="674251"/>
                  <a:pt x="9795753" y="667194"/>
                  <a:pt x="9801343" y="661470"/>
                </a:cubicBezTo>
                <a:cubicBezTo>
                  <a:pt x="9806935" y="655746"/>
                  <a:pt x="9814123" y="652818"/>
                  <a:pt x="9823176" y="652818"/>
                </a:cubicBezTo>
                <a:close/>
                <a:moveTo>
                  <a:pt x="10258466" y="652818"/>
                </a:moveTo>
                <a:cubicBezTo>
                  <a:pt x="10262592" y="652818"/>
                  <a:pt x="10266586" y="653617"/>
                  <a:pt x="10270313" y="655347"/>
                </a:cubicBezTo>
                <a:cubicBezTo>
                  <a:pt x="10273907" y="656945"/>
                  <a:pt x="10277101" y="659074"/>
                  <a:pt x="10279631" y="661737"/>
                </a:cubicBezTo>
                <a:cubicBezTo>
                  <a:pt x="10282160" y="664399"/>
                  <a:pt x="10284290" y="667594"/>
                  <a:pt x="10285754" y="671188"/>
                </a:cubicBezTo>
                <a:cubicBezTo>
                  <a:pt x="10287218" y="674782"/>
                  <a:pt x="10288017" y="678643"/>
                  <a:pt x="10288017" y="682637"/>
                </a:cubicBezTo>
                <a:cubicBezTo>
                  <a:pt x="10288017" y="686764"/>
                  <a:pt x="10287218" y="690757"/>
                  <a:pt x="10285754" y="694351"/>
                </a:cubicBezTo>
                <a:cubicBezTo>
                  <a:pt x="10284157" y="697945"/>
                  <a:pt x="10282160" y="701007"/>
                  <a:pt x="10279631" y="703669"/>
                </a:cubicBezTo>
                <a:cubicBezTo>
                  <a:pt x="10276969" y="706332"/>
                  <a:pt x="10273907" y="708462"/>
                  <a:pt x="10270313" y="709926"/>
                </a:cubicBezTo>
                <a:cubicBezTo>
                  <a:pt x="10266586" y="711390"/>
                  <a:pt x="10262725" y="712189"/>
                  <a:pt x="10258466" y="712189"/>
                </a:cubicBezTo>
                <a:cubicBezTo>
                  <a:pt x="10249546" y="712189"/>
                  <a:pt x="10242224" y="709260"/>
                  <a:pt x="10236633" y="703669"/>
                </a:cubicBezTo>
                <a:cubicBezTo>
                  <a:pt x="10231043" y="698078"/>
                  <a:pt x="10228247" y="691023"/>
                  <a:pt x="10228247" y="682504"/>
                </a:cubicBezTo>
                <a:cubicBezTo>
                  <a:pt x="10228247" y="674251"/>
                  <a:pt x="10231043" y="667194"/>
                  <a:pt x="10236633" y="661470"/>
                </a:cubicBezTo>
                <a:cubicBezTo>
                  <a:pt x="10242092" y="655746"/>
                  <a:pt x="10249413" y="652818"/>
                  <a:pt x="10258466" y="652818"/>
                </a:cubicBezTo>
                <a:close/>
                <a:moveTo>
                  <a:pt x="10475977" y="652818"/>
                </a:moveTo>
                <a:cubicBezTo>
                  <a:pt x="10480237" y="652818"/>
                  <a:pt x="10484230" y="653617"/>
                  <a:pt x="10487824" y="655347"/>
                </a:cubicBezTo>
                <a:cubicBezTo>
                  <a:pt x="10491419" y="656945"/>
                  <a:pt x="10494613" y="659074"/>
                  <a:pt x="10497143" y="661737"/>
                </a:cubicBezTo>
                <a:cubicBezTo>
                  <a:pt x="10499672" y="664399"/>
                  <a:pt x="10501801" y="667594"/>
                  <a:pt x="10503266" y="671188"/>
                </a:cubicBezTo>
                <a:cubicBezTo>
                  <a:pt x="10504730" y="674782"/>
                  <a:pt x="10505529" y="678642"/>
                  <a:pt x="10505529" y="682636"/>
                </a:cubicBezTo>
                <a:cubicBezTo>
                  <a:pt x="10505529" y="686763"/>
                  <a:pt x="10504730" y="690757"/>
                  <a:pt x="10503266" y="694351"/>
                </a:cubicBezTo>
                <a:cubicBezTo>
                  <a:pt x="10501669" y="697945"/>
                  <a:pt x="10499672" y="701007"/>
                  <a:pt x="10497143" y="703669"/>
                </a:cubicBezTo>
                <a:cubicBezTo>
                  <a:pt x="10494480" y="706332"/>
                  <a:pt x="10491419" y="708462"/>
                  <a:pt x="10487824" y="709926"/>
                </a:cubicBezTo>
                <a:cubicBezTo>
                  <a:pt x="10484098" y="711390"/>
                  <a:pt x="10480237" y="712189"/>
                  <a:pt x="10475977" y="712189"/>
                </a:cubicBezTo>
                <a:cubicBezTo>
                  <a:pt x="10466924" y="712189"/>
                  <a:pt x="10459736" y="709260"/>
                  <a:pt x="10454145" y="703669"/>
                </a:cubicBezTo>
                <a:cubicBezTo>
                  <a:pt x="10448554" y="698078"/>
                  <a:pt x="10445759" y="691023"/>
                  <a:pt x="10445759" y="682503"/>
                </a:cubicBezTo>
                <a:cubicBezTo>
                  <a:pt x="10445759" y="674250"/>
                  <a:pt x="10448554" y="667194"/>
                  <a:pt x="10454145" y="661470"/>
                </a:cubicBezTo>
                <a:cubicBezTo>
                  <a:pt x="10459603" y="655746"/>
                  <a:pt x="10466924" y="652818"/>
                  <a:pt x="10475977" y="652818"/>
                </a:cubicBezTo>
                <a:close/>
                <a:moveTo>
                  <a:pt x="30232" y="451946"/>
                </a:moveTo>
                <a:cubicBezTo>
                  <a:pt x="24375" y="451946"/>
                  <a:pt x="21846" y="453942"/>
                  <a:pt x="20249" y="455540"/>
                </a:cubicBezTo>
                <a:cubicBezTo>
                  <a:pt x="17719" y="458202"/>
                  <a:pt x="16655" y="460997"/>
                  <a:pt x="16655" y="464991"/>
                </a:cubicBezTo>
                <a:cubicBezTo>
                  <a:pt x="16655" y="469118"/>
                  <a:pt x="17719" y="471914"/>
                  <a:pt x="20249" y="474443"/>
                </a:cubicBezTo>
                <a:cubicBezTo>
                  <a:pt x="21846" y="476041"/>
                  <a:pt x="24375" y="477904"/>
                  <a:pt x="30232" y="477904"/>
                </a:cubicBezTo>
                <a:cubicBezTo>
                  <a:pt x="32362" y="477904"/>
                  <a:pt x="34093" y="477504"/>
                  <a:pt x="35557" y="476972"/>
                </a:cubicBezTo>
                <a:cubicBezTo>
                  <a:pt x="37021" y="476440"/>
                  <a:pt x="38353" y="475641"/>
                  <a:pt x="39284" y="474576"/>
                </a:cubicBezTo>
                <a:cubicBezTo>
                  <a:pt x="40349" y="473511"/>
                  <a:pt x="41281" y="472180"/>
                  <a:pt x="41947" y="470449"/>
                </a:cubicBezTo>
                <a:cubicBezTo>
                  <a:pt x="42612" y="468851"/>
                  <a:pt x="42878" y="466988"/>
                  <a:pt x="42878" y="464991"/>
                </a:cubicBezTo>
                <a:cubicBezTo>
                  <a:pt x="42878" y="463127"/>
                  <a:pt x="42612" y="461397"/>
                  <a:pt x="41947" y="459799"/>
                </a:cubicBezTo>
                <a:cubicBezTo>
                  <a:pt x="41281" y="458069"/>
                  <a:pt x="40349" y="456738"/>
                  <a:pt x="39284" y="455540"/>
                </a:cubicBezTo>
                <a:cubicBezTo>
                  <a:pt x="38219" y="454475"/>
                  <a:pt x="36888" y="453543"/>
                  <a:pt x="35291" y="452877"/>
                </a:cubicBezTo>
                <a:cubicBezTo>
                  <a:pt x="33827" y="452345"/>
                  <a:pt x="32229" y="451946"/>
                  <a:pt x="30232" y="451946"/>
                </a:cubicBezTo>
                <a:close/>
                <a:moveTo>
                  <a:pt x="247877" y="451946"/>
                </a:moveTo>
                <a:cubicBezTo>
                  <a:pt x="242019" y="451946"/>
                  <a:pt x="239491" y="453942"/>
                  <a:pt x="237893" y="455540"/>
                </a:cubicBezTo>
                <a:cubicBezTo>
                  <a:pt x="235363" y="458202"/>
                  <a:pt x="234300" y="460997"/>
                  <a:pt x="234300" y="464991"/>
                </a:cubicBezTo>
                <a:cubicBezTo>
                  <a:pt x="234300" y="469118"/>
                  <a:pt x="235363" y="471913"/>
                  <a:pt x="237893" y="474443"/>
                </a:cubicBezTo>
                <a:cubicBezTo>
                  <a:pt x="239491" y="476041"/>
                  <a:pt x="242019" y="477904"/>
                  <a:pt x="247877" y="477904"/>
                </a:cubicBezTo>
                <a:cubicBezTo>
                  <a:pt x="250007" y="477904"/>
                  <a:pt x="251738" y="477504"/>
                  <a:pt x="253202" y="476972"/>
                </a:cubicBezTo>
                <a:cubicBezTo>
                  <a:pt x="254666" y="476439"/>
                  <a:pt x="255997" y="475640"/>
                  <a:pt x="256929" y="474576"/>
                </a:cubicBezTo>
                <a:cubicBezTo>
                  <a:pt x="257994" y="473511"/>
                  <a:pt x="258926" y="472179"/>
                  <a:pt x="259592" y="470449"/>
                </a:cubicBezTo>
                <a:cubicBezTo>
                  <a:pt x="260257" y="468851"/>
                  <a:pt x="260657" y="466988"/>
                  <a:pt x="260657" y="464991"/>
                </a:cubicBezTo>
                <a:cubicBezTo>
                  <a:pt x="260657" y="463127"/>
                  <a:pt x="260257" y="461397"/>
                  <a:pt x="259592" y="459799"/>
                </a:cubicBezTo>
                <a:cubicBezTo>
                  <a:pt x="258926" y="458069"/>
                  <a:pt x="257994" y="456738"/>
                  <a:pt x="256929" y="455540"/>
                </a:cubicBezTo>
                <a:cubicBezTo>
                  <a:pt x="255864" y="454475"/>
                  <a:pt x="254533" y="453543"/>
                  <a:pt x="252936" y="452877"/>
                </a:cubicBezTo>
                <a:cubicBezTo>
                  <a:pt x="251471" y="452345"/>
                  <a:pt x="249874" y="451946"/>
                  <a:pt x="247877" y="451946"/>
                </a:cubicBezTo>
                <a:close/>
                <a:moveTo>
                  <a:pt x="465521" y="451946"/>
                </a:moveTo>
                <a:cubicBezTo>
                  <a:pt x="459664" y="451946"/>
                  <a:pt x="457135" y="453942"/>
                  <a:pt x="455538" y="455540"/>
                </a:cubicBezTo>
                <a:cubicBezTo>
                  <a:pt x="453008" y="458202"/>
                  <a:pt x="451944" y="460997"/>
                  <a:pt x="451944" y="464991"/>
                </a:cubicBezTo>
                <a:cubicBezTo>
                  <a:pt x="451944" y="469118"/>
                  <a:pt x="453008" y="471913"/>
                  <a:pt x="455538" y="474442"/>
                </a:cubicBezTo>
                <a:cubicBezTo>
                  <a:pt x="457135" y="476040"/>
                  <a:pt x="459664" y="477903"/>
                  <a:pt x="465521" y="477903"/>
                </a:cubicBezTo>
                <a:cubicBezTo>
                  <a:pt x="467518" y="477903"/>
                  <a:pt x="469382" y="477504"/>
                  <a:pt x="470846" y="476971"/>
                </a:cubicBezTo>
                <a:cubicBezTo>
                  <a:pt x="472310" y="476439"/>
                  <a:pt x="473641" y="475640"/>
                  <a:pt x="474573" y="474575"/>
                </a:cubicBezTo>
                <a:cubicBezTo>
                  <a:pt x="475638" y="473510"/>
                  <a:pt x="476570" y="472179"/>
                  <a:pt x="477236" y="470449"/>
                </a:cubicBezTo>
                <a:cubicBezTo>
                  <a:pt x="477901" y="468851"/>
                  <a:pt x="478301" y="466988"/>
                  <a:pt x="478301" y="464991"/>
                </a:cubicBezTo>
                <a:cubicBezTo>
                  <a:pt x="478301" y="463127"/>
                  <a:pt x="477901" y="461397"/>
                  <a:pt x="477236" y="459799"/>
                </a:cubicBezTo>
                <a:cubicBezTo>
                  <a:pt x="476570" y="458069"/>
                  <a:pt x="475638" y="456738"/>
                  <a:pt x="474573" y="455540"/>
                </a:cubicBezTo>
                <a:cubicBezTo>
                  <a:pt x="473508" y="454475"/>
                  <a:pt x="472177" y="453543"/>
                  <a:pt x="470580" y="452877"/>
                </a:cubicBezTo>
                <a:cubicBezTo>
                  <a:pt x="469116" y="452345"/>
                  <a:pt x="467518" y="451946"/>
                  <a:pt x="465521" y="451946"/>
                </a:cubicBezTo>
                <a:close/>
                <a:moveTo>
                  <a:pt x="683166" y="451946"/>
                </a:moveTo>
                <a:cubicBezTo>
                  <a:pt x="677308" y="451946"/>
                  <a:pt x="674779" y="453942"/>
                  <a:pt x="673182" y="455540"/>
                </a:cubicBezTo>
                <a:cubicBezTo>
                  <a:pt x="670652" y="458202"/>
                  <a:pt x="669588" y="460997"/>
                  <a:pt x="669588" y="464991"/>
                </a:cubicBezTo>
                <a:cubicBezTo>
                  <a:pt x="669588" y="469118"/>
                  <a:pt x="670652" y="471913"/>
                  <a:pt x="673182" y="474442"/>
                </a:cubicBezTo>
                <a:cubicBezTo>
                  <a:pt x="674779" y="476040"/>
                  <a:pt x="677308" y="477903"/>
                  <a:pt x="683166" y="477903"/>
                </a:cubicBezTo>
                <a:cubicBezTo>
                  <a:pt x="685162" y="477903"/>
                  <a:pt x="687027" y="477504"/>
                  <a:pt x="688491" y="476971"/>
                </a:cubicBezTo>
                <a:cubicBezTo>
                  <a:pt x="689955" y="476439"/>
                  <a:pt x="691287" y="475640"/>
                  <a:pt x="692218" y="474575"/>
                </a:cubicBezTo>
                <a:cubicBezTo>
                  <a:pt x="693283" y="473510"/>
                  <a:pt x="694215" y="472179"/>
                  <a:pt x="694881" y="470449"/>
                </a:cubicBezTo>
                <a:cubicBezTo>
                  <a:pt x="695546" y="468851"/>
                  <a:pt x="695946" y="466988"/>
                  <a:pt x="695946" y="464991"/>
                </a:cubicBezTo>
                <a:cubicBezTo>
                  <a:pt x="695946" y="463127"/>
                  <a:pt x="695546" y="461397"/>
                  <a:pt x="694881" y="459799"/>
                </a:cubicBezTo>
                <a:cubicBezTo>
                  <a:pt x="694215" y="458069"/>
                  <a:pt x="693283" y="456738"/>
                  <a:pt x="692218" y="455540"/>
                </a:cubicBezTo>
                <a:cubicBezTo>
                  <a:pt x="691153" y="454475"/>
                  <a:pt x="689822" y="453543"/>
                  <a:pt x="688225" y="452877"/>
                </a:cubicBezTo>
                <a:cubicBezTo>
                  <a:pt x="686761" y="452345"/>
                  <a:pt x="685162" y="451946"/>
                  <a:pt x="683166" y="451946"/>
                </a:cubicBezTo>
                <a:close/>
                <a:moveTo>
                  <a:pt x="1118455" y="451946"/>
                </a:moveTo>
                <a:cubicBezTo>
                  <a:pt x="1112598" y="451946"/>
                  <a:pt x="1110068" y="453942"/>
                  <a:pt x="1108471" y="455540"/>
                </a:cubicBezTo>
                <a:cubicBezTo>
                  <a:pt x="1105809" y="458202"/>
                  <a:pt x="1104744" y="460997"/>
                  <a:pt x="1104744" y="464991"/>
                </a:cubicBezTo>
                <a:cubicBezTo>
                  <a:pt x="1104744" y="469118"/>
                  <a:pt x="1105809" y="471913"/>
                  <a:pt x="1108338" y="474442"/>
                </a:cubicBezTo>
                <a:cubicBezTo>
                  <a:pt x="1109936" y="476040"/>
                  <a:pt x="1112465" y="477903"/>
                  <a:pt x="1118322" y="477903"/>
                </a:cubicBezTo>
                <a:cubicBezTo>
                  <a:pt x="1120452" y="477903"/>
                  <a:pt x="1122183" y="477504"/>
                  <a:pt x="1123780" y="476971"/>
                </a:cubicBezTo>
                <a:cubicBezTo>
                  <a:pt x="1125244" y="476439"/>
                  <a:pt x="1126576" y="475640"/>
                  <a:pt x="1127507" y="474575"/>
                </a:cubicBezTo>
                <a:cubicBezTo>
                  <a:pt x="1128572" y="473510"/>
                  <a:pt x="1129504" y="472179"/>
                  <a:pt x="1130170" y="470449"/>
                </a:cubicBezTo>
                <a:cubicBezTo>
                  <a:pt x="1130835" y="468851"/>
                  <a:pt x="1131235" y="466988"/>
                  <a:pt x="1131235" y="464991"/>
                </a:cubicBezTo>
                <a:cubicBezTo>
                  <a:pt x="1131235" y="463127"/>
                  <a:pt x="1130835" y="461397"/>
                  <a:pt x="1130170" y="459799"/>
                </a:cubicBezTo>
                <a:cubicBezTo>
                  <a:pt x="1129504" y="458069"/>
                  <a:pt x="1128572" y="456738"/>
                  <a:pt x="1127507" y="455540"/>
                </a:cubicBezTo>
                <a:cubicBezTo>
                  <a:pt x="1126442" y="454475"/>
                  <a:pt x="1125111" y="453543"/>
                  <a:pt x="1123514" y="452877"/>
                </a:cubicBezTo>
                <a:cubicBezTo>
                  <a:pt x="1122050" y="452345"/>
                  <a:pt x="1120452" y="451946"/>
                  <a:pt x="1118455" y="451946"/>
                </a:cubicBezTo>
                <a:close/>
                <a:moveTo>
                  <a:pt x="900944" y="451946"/>
                </a:moveTo>
                <a:cubicBezTo>
                  <a:pt x="895086" y="451946"/>
                  <a:pt x="892557" y="453942"/>
                  <a:pt x="890960" y="455540"/>
                </a:cubicBezTo>
                <a:cubicBezTo>
                  <a:pt x="888297" y="458202"/>
                  <a:pt x="887233" y="460997"/>
                  <a:pt x="887233" y="464991"/>
                </a:cubicBezTo>
                <a:cubicBezTo>
                  <a:pt x="887233" y="469118"/>
                  <a:pt x="888297" y="471913"/>
                  <a:pt x="890827" y="474442"/>
                </a:cubicBezTo>
                <a:cubicBezTo>
                  <a:pt x="892424" y="476040"/>
                  <a:pt x="894953" y="477903"/>
                  <a:pt x="900810" y="477903"/>
                </a:cubicBezTo>
                <a:cubicBezTo>
                  <a:pt x="902807" y="477903"/>
                  <a:pt x="904538" y="477504"/>
                  <a:pt x="906268" y="476971"/>
                </a:cubicBezTo>
                <a:cubicBezTo>
                  <a:pt x="907732" y="476439"/>
                  <a:pt x="909064" y="475640"/>
                  <a:pt x="909996" y="474575"/>
                </a:cubicBezTo>
                <a:cubicBezTo>
                  <a:pt x="911060" y="473510"/>
                  <a:pt x="911992" y="472179"/>
                  <a:pt x="912658" y="470449"/>
                </a:cubicBezTo>
                <a:cubicBezTo>
                  <a:pt x="913323" y="468851"/>
                  <a:pt x="913723" y="466988"/>
                  <a:pt x="913723" y="464991"/>
                </a:cubicBezTo>
                <a:cubicBezTo>
                  <a:pt x="913723" y="463127"/>
                  <a:pt x="913323" y="461397"/>
                  <a:pt x="912658" y="459799"/>
                </a:cubicBezTo>
                <a:cubicBezTo>
                  <a:pt x="911992" y="458069"/>
                  <a:pt x="911060" y="456738"/>
                  <a:pt x="909996" y="455540"/>
                </a:cubicBezTo>
                <a:cubicBezTo>
                  <a:pt x="908931" y="454475"/>
                  <a:pt x="907599" y="453543"/>
                  <a:pt x="906002" y="452877"/>
                </a:cubicBezTo>
                <a:cubicBezTo>
                  <a:pt x="904538" y="452345"/>
                  <a:pt x="902940" y="451946"/>
                  <a:pt x="900944" y="451946"/>
                </a:cubicBezTo>
                <a:close/>
                <a:moveTo>
                  <a:pt x="1771256" y="451945"/>
                </a:moveTo>
                <a:cubicBezTo>
                  <a:pt x="1765399" y="451945"/>
                  <a:pt x="1762870" y="453941"/>
                  <a:pt x="1761273" y="455539"/>
                </a:cubicBezTo>
                <a:cubicBezTo>
                  <a:pt x="1758744" y="458201"/>
                  <a:pt x="1757679" y="460996"/>
                  <a:pt x="1757679" y="464991"/>
                </a:cubicBezTo>
                <a:cubicBezTo>
                  <a:pt x="1757679" y="469118"/>
                  <a:pt x="1758744" y="471913"/>
                  <a:pt x="1761273" y="474442"/>
                </a:cubicBezTo>
                <a:cubicBezTo>
                  <a:pt x="1762870" y="476040"/>
                  <a:pt x="1765399" y="477903"/>
                  <a:pt x="1771256" y="477903"/>
                </a:cubicBezTo>
                <a:cubicBezTo>
                  <a:pt x="1773254" y="477903"/>
                  <a:pt x="1775117" y="477504"/>
                  <a:pt x="1776581" y="476971"/>
                </a:cubicBezTo>
                <a:cubicBezTo>
                  <a:pt x="1778046" y="476439"/>
                  <a:pt x="1779377" y="475640"/>
                  <a:pt x="1780309" y="474575"/>
                </a:cubicBezTo>
                <a:cubicBezTo>
                  <a:pt x="1781374" y="473510"/>
                  <a:pt x="1782305" y="472179"/>
                  <a:pt x="1782971" y="470449"/>
                </a:cubicBezTo>
                <a:cubicBezTo>
                  <a:pt x="1783636" y="468851"/>
                  <a:pt x="1784037" y="466988"/>
                  <a:pt x="1784037" y="464991"/>
                </a:cubicBezTo>
                <a:cubicBezTo>
                  <a:pt x="1784037" y="463127"/>
                  <a:pt x="1783636" y="461396"/>
                  <a:pt x="1782971" y="459799"/>
                </a:cubicBezTo>
                <a:cubicBezTo>
                  <a:pt x="1782305" y="458068"/>
                  <a:pt x="1781374" y="456737"/>
                  <a:pt x="1780309" y="455539"/>
                </a:cubicBezTo>
                <a:cubicBezTo>
                  <a:pt x="1779243" y="454474"/>
                  <a:pt x="1777913" y="453542"/>
                  <a:pt x="1776315" y="452876"/>
                </a:cubicBezTo>
                <a:cubicBezTo>
                  <a:pt x="1774850" y="452344"/>
                  <a:pt x="1773254" y="451945"/>
                  <a:pt x="1771256" y="451945"/>
                </a:cubicBezTo>
                <a:close/>
                <a:moveTo>
                  <a:pt x="1553612" y="451945"/>
                </a:moveTo>
                <a:cubicBezTo>
                  <a:pt x="1547755" y="451945"/>
                  <a:pt x="1545226" y="453941"/>
                  <a:pt x="1543628" y="455539"/>
                </a:cubicBezTo>
                <a:cubicBezTo>
                  <a:pt x="1541099" y="458202"/>
                  <a:pt x="1540034" y="460997"/>
                  <a:pt x="1540034" y="464991"/>
                </a:cubicBezTo>
                <a:cubicBezTo>
                  <a:pt x="1540034" y="469118"/>
                  <a:pt x="1541099" y="471913"/>
                  <a:pt x="1543628" y="474442"/>
                </a:cubicBezTo>
                <a:cubicBezTo>
                  <a:pt x="1545226" y="476040"/>
                  <a:pt x="1547755" y="477903"/>
                  <a:pt x="1553612" y="477903"/>
                </a:cubicBezTo>
                <a:cubicBezTo>
                  <a:pt x="1555609" y="477903"/>
                  <a:pt x="1557473" y="477504"/>
                  <a:pt x="1558937" y="476971"/>
                </a:cubicBezTo>
                <a:cubicBezTo>
                  <a:pt x="1560401" y="476439"/>
                  <a:pt x="1561733" y="475640"/>
                  <a:pt x="1562664" y="474575"/>
                </a:cubicBezTo>
                <a:cubicBezTo>
                  <a:pt x="1563729" y="473510"/>
                  <a:pt x="1564661" y="472179"/>
                  <a:pt x="1565327" y="470449"/>
                </a:cubicBezTo>
                <a:cubicBezTo>
                  <a:pt x="1565992" y="468851"/>
                  <a:pt x="1566392" y="466988"/>
                  <a:pt x="1566392" y="464991"/>
                </a:cubicBezTo>
                <a:cubicBezTo>
                  <a:pt x="1566392" y="463127"/>
                  <a:pt x="1565992" y="461397"/>
                  <a:pt x="1565327" y="459799"/>
                </a:cubicBezTo>
                <a:cubicBezTo>
                  <a:pt x="1564661" y="458069"/>
                  <a:pt x="1563729" y="456738"/>
                  <a:pt x="1562664" y="455539"/>
                </a:cubicBezTo>
                <a:cubicBezTo>
                  <a:pt x="1561599" y="454475"/>
                  <a:pt x="1560268" y="453543"/>
                  <a:pt x="1558671" y="452876"/>
                </a:cubicBezTo>
                <a:cubicBezTo>
                  <a:pt x="1557207" y="452345"/>
                  <a:pt x="1555609" y="451945"/>
                  <a:pt x="1553612" y="451945"/>
                </a:cubicBezTo>
                <a:close/>
                <a:moveTo>
                  <a:pt x="1335967" y="451945"/>
                </a:moveTo>
                <a:cubicBezTo>
                  <a:pt x="1330109" y="451945"/>
                  <a:pt x="1327580" y="453942"/>
                  <a:pt x="1325984" y="455540"/>
                </a:cubicBezTo>
                <a:cubicBezTo>
                  <a:pt x="1323454" y="458202"/>
                  <a:pt x="1322389" y="460997"/>
                  <a:pt x="1322389" y="464991"/>
                </a:cubicBezTo>
                <a:cubicBezTo>
                  <a:pt x="1322389" y="469118"/>
                  <a:pt x="1323454" y="471913"/>
                  <a:pt x="1325984" y="474442"/>
                </a:cubicBezTo>
                <a:cubicBezTo>
                  <a:pt x="1327580" y="476040"/>
                  <a:pt x="1330109" y="477903"/>
                  <a:pt x="1335967" y="477903"/>
                </a:cubicBezTo>
                <a:cubicBezTo>
                  <a:pt x="1338097" y="477903"/>
                  <a:pt x="1339827" y="477504"/>
                  <a:pt x="1341292" y="476971"/>
                </a:cubicBezTo>
                <a:cubicBezTo>
                  <a:pt x="1342756" y="476439"/>
                  <a:pt x="1344087" y="475640"/>
                  <a:pt x="1345019" y="474575"/>
                </a:cubicBezTo>
                <a:cubicBezTo>
                  <a:pt x="1346084" y="473510"/>
                  <a:pt x="1347016" y="472179"/>
                  <a:pt x="1347682" y="470449"/>
                </a:cubicBezTo>
                <a:cubicBezTo>
                  <a:pt x="1348347" y="468851"/>
                  <a:pt x="1348747" y="466988"/>
                  <a:pt x="1348747" y="464991"/>
                </a:cubicBezTo>
                <a:cubicBezTo>
                  <a:pt x="1348747" y="463127"/>
                  <a:pt x="1348347" y="461397"/>
                  <a:pt x="1347682" y="459799"/>
                </a:cubicBezTo>
                <a:cubicBezTo>
                  <a:pt x="1347016" y="458069"/>
                  <a:pt x="1346084" y="456738"/>
                  <a:pt x="1345019" y="455540"/>
                </a:cubicBezTo>
                <a:cubicBezTo>
                  <a:pt x="1343954" y="454475"/>
                  <a:pt x="1342623" y="453543"/>
                  <a:pt x="1341026" y="452877"/>
                </a:cubicBezTo>
                <a:cubicBezTo>
                  <a:pt x="1339561" y="452345"/>
                  <a:pt x="1337964" y="451945"/>
                  <a:pt x="1335967" y="451945"/>
                </a:cubicBezTo>
                <a:close/>
                <a:moveTo>
                  <a:pt x="2206414" y="451945"/>
                </a:moveTo>
                <a:cubicBezTo>
                  <a:pt x="2200557" y="451945"/>
                  <a:pt x="2198028" y="453941"/>
                  <a:pt x="2196430" y="455539"/>
                </a:cubicBezTo>
                <a:cubicBezTo>
                  <a:pt x="2193901" y="458201"/>
                  <a:pt x="2192836" y="460996"/>
                  <a:pt x="2192836" y="464990"/>
                </a:cubicBezTo>
                <a:cubicBezTo>
                  <a:pt x="2192836" y="469117"/>
                  <a:pt x="2193901" y="471912"/>
                  <a:pt x="2196430" y="474442"/>
                </a:cubicBezTo>
                <a:cubicBezTo>
                  <a:pt x="2198028" y="476040"/>
                  <a:pt x="2200557" y="477903"/>
                  <a:pt x="2206414" y="477903"/>
                </a:cubicBezTo>
                <a:cubicBezTo>
                  <a:pt x="2208544" y="477903"/>
                  <a:pt x="2210275" y="477504"/>
                  <a:pt x="2211739" y="476971"/>
                </a:cubicBezTo>
                <a:cubicBezTo>
                  <a:pt x="2213336" y="476439"/>
                  <a:pt x="2214534" y="475639"/>
                  <a:pt x="2215466" y="474575"/>
                </a:cubicBezTo>
                <a:cubicBezTo>
                  <a:pt x="2216531" y="473510"/>
                  <a:pt x="2217463" y="472178"/>
                  <a:pt x="2218129" y="470448"/>
                </a:cubicBezTo>
                <a:cubicBezTo>
                  <a:pt x="2218661" y="468850"/>
                  <a:pt x="2219060" y="466987"/>
                  <a:pt x="2219060" y="464990"/>
                </a:cubicBezTo>
                <a:cubicBezTo>
                  <a:pt x="2219060" y="463126"/>
                  <a:pt x="2218794" y="461396"/>
                  <a:pt x="2218129" y="459798"/>
                </a:cubicBezTo>
                <a:cubicBezTo>
                  <a:pt x="2217463" y="458068"/>
                  <a:pt x="2216531" y="456737"/>
                  <a:pt x="2215466" y="455539"/>
                </a:cubicBezTo>
                <a:cubicBezTo>
                  <a:pt x="2214401" y="454474"/>
                  <a:pt x="2213070" y="453542"/>
                  <a:pt x="2211473" y="452876"/>
                </a:cubicBezTo>
                <a:cubicBezTo>
                  <a:pt x="2210008" y="452344"/>
                  <a:pt x="2208411" y="451945"/>
                  <a:pt x="2206414" y="451945"/>
                </a:cubicBezTo>
                <a:close/>
                <a:moveTo>
                  <a:pt x="1988900" y="451945"/>
                </a:moveTo>
                <a:cubicBezTo>
                  <a:pt x="1983043" y="451945"/>
                  <a:pt x="1980514" y="453941"/>
                  <a:pt x="1978917" y="455539"/>
                </a:cubicBezTo>
                <a:cubicBezTo>
                  <a:pt x="1976387" y="458201"/>
                  <a:pt x="1975323" y="460996"/>
                  <a:pt x="1975323" y="464990"/>
                </a:cubicBezTo>
                <a:cubicBezTo>
                  <a:pt x="1975323" y="469117"/>
                  <a:pt x="1976387" y="471913"/>
                  <a:pt x="1978917" y="474442"/>
                </a:cubicBezTo>
                <a:cubicBezTo>
                  <a:pt x="1980514" y="476040"/>
                  <a:pt x="1983043" y="477903"/>
                  <a:pt x="1988900" y="477903"/>
                </a:cubicBezTo>
                <a:cubicBezTo>
                  <a:pt x="1990897" y="477903"/>
                  <a:pt x="1992628" y="477504"/>
                  <a:pt x="1994225" y="476971"/>
                </a:cubicBezTo>
                <a:cubicBezTo>
                  <a:pt x="1995823" y="476439"/>
                  <a:pt x="1997021" y="475640"/>
                  <a:pt x="1997953" y="474575"/>
                </a:cubicBezTo>
                <a:cubicBezTo>
                  <a:pt x="1999017" y="473510"/>
                  <a:pt x="1999949" y="472179"/>
                  <a:pt x="2000616" y="470449"/>
                </a:cubicBezTo>
                <a:cubicBezTo>
                  <a:pt x="2001147" y="468850"/>
                  <a:pt x="2001546" y="466987"/>
                  <a:pt x="2001546" y="464990"/>
                </a:cubicBezTo>
                <a:cubicBezTo>
                  <a:pt x="2001546" y="463126"/>
                  <a:pt x="2001281" y="461396"/>
                  <a:pt x="2000616" y="459798"/>
                </a:cubicBezTo>
                <a:cubicBezTo>
                  <a:pt x="1999949" y="458068"/>
                  <a:pt x="1999017" y="456737"/>
                  <a:pt x="1997953" y="455539"/>
                </a:cubicBezTo>
                <a:cubicBezTo>
                  <a:pt x="1996888" y="454474"/>
                  <a:pt x="1995556" y="453542"/>
                  <a:pt x="1993959" y="452876"/>
                </a:cubicBezTo>
                <a:cubicBezTo>
                  <a:pt x="1992495" y="452344"/>
                  <a:pt x="1990897" y="451945"/>
                  <a:pt x="1988900" y="451945"/>
                </a:cubicBezTo>
                <a:close/>
                <a:moveTo>
                  <a:pt x="2641707" y="451945"/>
                </a:moveTo>
                <a:cubicBezTo>
                  <a:pt x="2635850" y="451945"/>
                  <a:pt x="2633320" y="453941"/>
                  <a:pt x="2631724" y="455539"/>
                </a:cubicBezTo>
                <a:cubicBezTo>
                  <a:pt x="2629193" y="458201"/>
                  <a:pt x="2628130" y="460996"/>
                  <a:pt x="2628130" y="464990"/>
                </a:cubicBezTo>
                <a:cubicBezTo>
                  <a:pt x="2628130" y="469117"/>
                  <a:pt x="2629193" y="471912"/>
                  <a:pt x="2631724" y="474441"/>
                </a:cubicBezTo>
                <a:cubicBezTo>
                  <a:pt x="2633320" y="476039"/>
                  <a:pt x="2635850" y="477902"/>
                  <a:pt x="2641707" y="477902"/>
                </a:cubicBezTo>
                <a:cubicBezTo>
                  <a:pt x="2643704" y="477902"/>
                  <a:pt x="2645568" y="477503"/>
                  <a:pt x="2647032" y="476970"/>
                </a:cubicBezTo>
                <a:cubicBezTo>
                  <a:pt x="2648629" y="476438"/>
                  <a:pt x="2649827" y="475639"/>
                  <a:pt x="2650759" y="474574"/>
                </a:cubicBezTo>
                <a:cubicBezTo>
                  <a:pt x="2651824" y="473509"/>
                  <a:pt x="2652756" y="472178"/>
                  <a:pt x="2653422" y="470448"/>
                </a:cubicBezTo>
                <a:cubicBezTo>
                  <a:pt x="2653954" y="468850"/>
                  <a:pt x="2654353" y="466987"/>
                  <a:pt x="2654353" y="464990"/>
                </a:cubicBezTo>
                <a:cubicBezTo>
                  <a:pt x="2654353" y="463126"/>
                  <a:pt x="2654087" y="461396"/>
                  <a:pt x="2653422" y="459798"/>
                </a:cubicBezTo>
                <a:cubicBezTo>
                  <a:pt x="2652756" y="458068"/>
                  <a:pt x="2651824" y="456737"/>
                  <a:pt x="2650759" y="455539"/>
                </a:cubicBezTo>
                <a:cubicBezTo>
                  <a:pt x="2649694" y="454474"/>
                  <a:pt x="2648363" y="453542"/>
                  <a:pt x="2646766" y="452876"/>
                </a:cubicBezTo>
                <a:cubicBezTo>
                  <a:pt x="2645301" y="452344"/>
                  <a:pt x="2643704" y="451945"/>
                  <a:pt x="2641707" y="451945"/>
                </a:cubicBezTo>
                <a:close/>
                <a:moveTo>
                  <a:pt x="2424060" y="451945"/>
                </a:moveTo>
                <a:cubicBezTo>
                  <a:pt x="2418203" y="451945"/>
                  <a:pt x="2415674" y="453941"/>
                  <a:pt x="2414077" y="455539"/>
                </a:cubicBezTo>
                <a:cubicBezTo>
                  <a:pt x="2411547" y="458201"/>
                  <a:pt x="2410483" y="460996"/>
                  <a:pt x="2410483" y="464990"/>
                </a:cubicBezTo>
                <a:cubicBezTo>
                  <a:pt x="2410483" y="469117"/>
                  <a:pt x="2411547" y="471912"/>
                  <a:pt x="2414077" y="474441"/>
                </a:cubicBezTo>
                <a:cubicBezTo>
                  <a:pt x="2415674" y="476039"/>
                  <a:pt x="2418203" y="477902"/>
                  <a:pt x="2424060" y="477902"/>
                </a:cubicBezTo>
                <a:cubicBezTo>
                  <a:pt x="2426190" y="477902"/>
                  <a:pt x="2427922" y="477503"/>
                  <a:pt x="2429386" y="476970"/>
                </a:cubicBezTo>
                <a:cubicBezTo>
                  <a:pt x="2430984" y="476438"/>
                  <a:pt x="2432181" y="475639"/>
                  <a:pt x="2433112" y="474574"/>
                </a:cubicBezTo>
                <a:cubicBezTo>
                  <a:pt x="2434178" y="473509"/>
                  <a:pt x="2435109" y="472178"/>
                  <a:pt x="2435776" y="470448"/>
                </a:cubicBezTo>
                <a:cubicBezTo>
                  <a:pt x="2436307" y="468850"/>
                  <a:pt x="2436707" y="466987"/>
                  <a:pt x="2436707" y="464990"/>
                </a:cubicBezTo>
                <a:cubicBezTo>
                  <a:pt x="2436707" y="463126"/>
                  <a:pt x="2436441" y="461396"/>
                  <a:pt x="2435776" y="459798"/>
                </a:cubicBezTo>
                <a:cubicBezTo>
                  <a:pt x="2435109" y="458068"/>
                  <a:pt x="2434178" y="456737"/>
                  <a:pt x="2433112" y="455539"/>
                </a:cubicBezTo>
                <a:cubicBezTo>
                  <a:pt x="2432049" y="454474"/>
                  <a:pt x="2430717" y="453542"/>
                  <a:pt x="2429119" y="452876"/>
                </a:cubicBezTo>
                <a:cubicBezTo>
                  <a:pt x="2427655" y="452344"/>
                  <a:pt x="2426057" y="451945"/>
                  <a:pt x="2424060" y="451945"/>
                </a:cubicBezTo>
                <a:close/>
                <a:moveTo>
                  <a:pt x="3077133" y="451945"/>
                </a:moveTo>
                <a:cubicBezTo>
                  <a:pt x="3071276" y="451945"/>
                  <a:pt x="3068747" y="453941"/>
                  <a:pt x="3067150" y="455539"/>
                </a:cubicBezTo>
                <a:cubicBezTo>
                  <a:pt x="3064487" y="458201"/>
                  <a:pt x="3063422" y="460996"/>
                  <a:pt x="3063422" y="464990"/>
                </a:cubicBezTo>
                <a:cubicBezTo>
                  <a:pt x="3063422" y="469117"/>
                  <a:pt x="3064487" y="471912"/>
                  <a:pt x="3067017" y="474441"/>
                </a:cubicBezTo>
                <a:cubicBezTo>
                  <a:pt x="3068614" y="476039"/>
                  <a:pt x="3071143" y="477902"/>
                  <a:pt x="3077000" y="477902"/>
                </a:cubicBezTo>
                <a:cubicBezTo>
                  <a:pt x="3078997" y="477902"/>
                  <a:pt x="3080727" y="477503"/>
                  <a:pt x="3082458" y="476970"/>
                </a:cubicBezTo>
                <a:cubicBezTo>
                  <a:pt x="3083923" y="476438"/>
                  <a:pt x="3085254" y="475639"/>
                  <a:pt x="3086185" y="474574"/>
                </a:cubicBezTo>
                <a:cubicBezTo>
                  <a:pt x="3087250" y="473509"/>
                  <a:pt x="3088182" y="472178"/>
                  <a:pt x="3088848" y="470448"/>
                </a:cubicBezTo>
                <a:cubicBezTo>
                  <a:pt x="3089513" y="468850"/>
                  <a:pt x="3089780" y="466987"/>
                  <a:pt x="3089780" y="464990"/>
                </a:cubicBezTo>
                <a:cubicBezTo>
                  <a:pt x="3089780" y="463126"/>
                  <a:pt x="3089513" y="461396"/>
                  <a:pt x="3088848" y="459798"/>
                </a:cubicBezTo>
                <a:cubicBezTo>
                  <a:pt x="3088182" y="458068"/>
                  <a:pt x="3087250" y="456737"/>
                  <a:pt x="3086185" y="455539"/>
                </a:cubicBezTo>
                <a:cubicBezTo>
                  <a:pt x="3085121" y="454474"/>
                  <a:pt x="3083789" y="453542"/>
                  <a:pt x="3082192" y="452876"/>
                </a:cubicBezTo>
                <a:cubicBezTo>
                  <a:pt x="3080727" y="452344"/>
                  <a:pt x="3079130" y="451945"/>
                  <a:pt x="3077133" y="451945"/>
                </a:cubicBezTo>
                <a:close/>
                <a:moveTo>
                  <a:pt x="2859353" y="451945"/>
                </a:moveTo>
                <a:cubicBezTo>
                  <a:pt x="2853496" y="451945"/>
                  <a:pt x="2850967" y="453941"/>
                  <a:pt x="2849370" y="455539"/>
                </a:cubicBezTo>
                <a:cubicBezTo>
                  <a:pt x="2846839" y="458201"/>
                  <a:pt x="2845776" y="460996"/>
                  <a:pt x="2845776" y="464990"/>
                </a:cubicBezTo>
                <a:cubicBezTo>
                  <a:pt x="2845776" y="469117"/>
                  <a:pt x="2846839" y="471912"/>
                  <a:pt x="2849370" y="474441"/>
                </a:cubicBezTo>
                <a:cubicBezTo>
                  <a:pt x="2850967" y="476039"/>
                  <a:pt x="2853496" y="477902"/>
                  <a:pt x="2859353" y="477902"/>
                </a:cubicBezTo>
                <a:cubicBezTo>
                  <a:pt x="2861350" y="477902"/>
                  <a:pt x="2863214" y="477503"/>
                  <a:pt x="2864678" y="476970"/>
                </a:cubicBezTo>
                <a:cubicBezTo>
                  <a:pt x="2866276" y="476438"/>
                  <a:pt x="2867475" y="475639"/>
                  <a:pt x="2868405" y="474574"/>
                </a:cubicBezTo>
                <a:cubicBezTo>
                  <a:pt x="2869470" y="473509"/>
                  <a:pt x="2870403" y="472178"/>
                  <a:pt x="2871068" y="470448"/>
                </a:cubicBezTo>
                <a:cubicBezTo>
                  <a:pt x="2871601" y="468850"/>
                  <a:pt x="2871999" y="466987"/>
                  <a:pt x="2871999" y="464990"/>
                </a:cubicBezTo>
                <a:cubicBezTo>
                  <a:pt x="2871999" y="463126"/>
                  <a:pt x="2871733" y="461396"/>
                  <a:pt x="2871068" y="459798"/>
                </a:cubicBezTo>
                <a:cubicBezTo>
                  <a:pt x="2870403" y="458068"/>
                  <a:pt x="2869470" y="456737"/>
                  <a:pt x="2868405" y="455539"/>
                </a:cubicBezTo>
                <a:cubicBezTo>
                  <a:pt x="2867341" y="454474"/>
                  <a:pt x="2866010" y="453542"/>
                  <a:pt x="2864413" y="452876"/>
                </a:cubicBezTo>
                <a:cubicBezTo>
                  <a:pt x="2862949" y="452344"/>
                  <a:pt x="2861350" y="451945"/>
                  <a:pt x="2859353" y="451945"/>
                </a:cubicBezTo>
                <a:close/>
                <a:moveTo>
                  <a:pt x="3294646" y="451945"/>
                </a:moveTo>
                <a:cubicBezTo>
                  <a:pt x="3288789" y="451945"/>
                  <a:pt x="3286260" y="453941"/>
                  <a:pt x="3284663" y="455539"/>
                </a:cubicBezTo>
                <a:cubicBezTo>
                  <a:pt x="3282132" y="458201"/>
                  <a:pt x="3281069" y="460996"/>
                  <a:pt x="3281069" y="464990"/>
                </a:cubicBezTo>
                <a:cubicBezTo>
                  <a:pt x="3281069" y="469117"/>
                  <a:pt x="3282132" y="471912"/>
                  <a:pt x="3284663" y="474441"/>
                </a:cubicBezTo>
                <a:cubicBezTo>
                  <a:pt x="3286260" y="476039"/>
                  <a:pt x="3288789" y="477902"/>
                  <a:pt x="3294646" y="477902"/>
                </a:cubicBezTo>
                <a:cubicBezTo>
                  <a:pt x="3296643" y="477902"/>
                  <a:pt x="3298374" y="477503"/>
                  <a:pt x="3299972" y="476970"/>
                </a:cubicBezTo>
                <a:cubicBezTo>
                  <a:pt x="3301436" y="476438"/>
                  <a:pt x="3302768" y="475639"/>
                  <a:pt x="3303699" y="474574"/>
                </a:cubicBezTo>
                <a:cubicBezTo>
                  <a:pt x="3304764" y="473509"/>
                  <a:pt x="3305696" y="472178"/>
                  <a:pt x="3306362" y="470448"/>
                </a:cubicBezTo>
                <a:cubicBezTo>
                  <a:pt x="3307027" y="468850"/>
                  <a:pt x="3307426" y="466987"/>
                  <a:pt x="3307426" y="464990"/>
                </a:cubicBezTo>
                <a:cubicBezTo>
                  <a:pt x="3307426" y="463126"/>
                  <a:pt x="3307027" y="461396"/>
                  <a:pt x="3306362" y="459798"/>
                </a:cubicBezTo>
                <a:cubicBezTo>
                  <a:pt x="3305696" y="458068"/>
                  <a:pt x="3304764" y="456737"/>
                  <a:pt x="3303699" y="455539"/>
                </a:cubicBezTo>
                <a:cubicBezTo>
                  <a:pt x="3302634" y="454474"/>
                  <a:pt x="3301302" y="453542"/>
                  <a:pt x="3299706" y="452876"/>
                </a:cubicBezTo>
                <a:cubicBezTo>
                  <a:pt x="3298242" y="452344"/>
                  <a:pt x="3296643" y="451945"/>
                  <a:pt x="3294646" y="451945"/>
                </a:cubicBezTo>
                <a:close/>
                <a:moveTo>
                  <a:pt x="3512160" y="451945"/>
                </a:moveTo>
                <a:cubicBezTo>
                  <a:pt x="3506303" y="451945"/>
                  <a:pt x="3503774" y="453941"/>
                  <a:pt x="3502176" y="455539"/>
                </a:cubicBezTo>
                <a:cubicBezTo>
                  <a:pt x="3499646" y="458201"/>
                  <a:pt x="3498582" y="460996"/>
                  <a:pt x="3498582" y="464990"/>
                </a:cubicBezTo>
                <a:cubicBezTo>
                  <a:pt x="3498582" y="469117"/>
                  <a:pt x="3499646" y="471912"/>
                  <a:pt x="3502176" y="474441"/>
                </a:cubicBezTo>
                <a:cubicBezTo>
                  <a:pt x="3503774" y="476039"/>
                  <a:pt x="3506303" y="477902"/>
                  <a:pt x="3512160" y="477902"/>
                </a:cubicBezTo>
                <a:cubicBezTo>
                  <a:pt x="3514290" y="477902"/>
                  <a:pt x="3516021" y="477503"/>
                  <a:pt x="3517485" y="476970"/>
                </a:cubicBezTo>
                <a:cubicBezTo>
                  <a:pt x="3518949" y="476438"/>
                  <a:pt x="3520281" y="475639"/>
                  <a:pt x="3521212" y="474574"/>
                </a:cubicBezTo>
                <a:cubicBezTo>
                  <a:pt x="3522277" y="473509"/>
                  <a:pt x="3523209" y="472178"/>
                  <a:pt x="3523875" y="470448"/>
                </a:cubicBezTo>
                <a:cubicBezTo>
                  <a:pt x="3524540" y="468850"/>
                  <a:pt x="3524940" y="466987"/>
                  <a:pt x="3524940" y="464990"/>
                </a:cubicBezTo>
                <a:cubicBezTo>
                  <a:pt x="3524940" y="463126"/>
                  <a:pt x="3524540" y="461396"/>
                  <a:pt x="3523875" y="459798"/>
                </a:cubicBezTo>
                <a:cubicBezTo>
                  <a:pt x="3523209" y="458068"/>
                  <a:pt x="3522277" y="456737"/>
                  <a:pt x="3521212" y="455539"/>
                </a:cubicBezTo>
                <a:cubicBezTo>
                  <a:pt x="3520147" y="454474"/>
                  <a:pt x="3518816" y="453542"/>
                  <a:pt x="3517219" y="452875"/>
                </a:cubicBezTo>
                <a:cubicBezTo>
                  <a:pt x="3515755" y="452344"/>
                  <a:pt x="3514157" y="451945"/>
                  <a:pt x="3512160" y="451945"/>
                </a:cubicBezTo>
                <a:close/>
                <a:moveTo>
                  <a:pt x="3729806" y="451944"/>
                </a:moveTo>
                <a:cubicBezTo>
                  <a:pt x="3723949" y="451944"/>
                  <a:pt x="3721420" y="453940"/>
                  <a:pt x="3719822" y="455538"/>
                </a:cubicBezTo>
                <a:cubicBezTo>
                  <a:pt x="3717293" y="458201"/>
                  <a:pt x="3716228" y="460996"/>
                  <a:pt x="3716228" y="464990"/>
                </a:cubicBezTo>
                <a:cubicBezTo>
                  <a:pt x="3716228" y="469117"/>
                  <a:pt x="3717293" y="471912"/>
                  <a:pt x="3719822" y="474441"/>
                </a:cubicBezTo>
                <a:cubicBezTo>
                  <a:pt x="3721420" y="476039"/>
                  <a:pt x="3723949" y="477902"/>
                  <a:pt x="3729806" y="477902"/>
                </a:cubicBezTo>
                <a:cubicBezTo>
                  <a:pt x="3731936" y="477902"/>
                  <a:pt x="3733667" y="477503"/>
                  <a:pt x="3735131" y="476970"/>
                </a:cubicBezTo>
                <a:cubicBezTo>
                  <a:pt x="3736595" y="476438"/>
                  <a:pt x="3737928" y="475639"/>
                  <a:pt x="3738858" y="474574"/>
                </a:cubicBezTo>
                <a:cubicBezTo>
                  <a:pt x="3739923" y="473509"/>
                  <a:pt x="3740856" y="472178"/>
                  <a:pt x="3741521" y="470448"/>
                </a:cubicBezTo>
                <a:cubicBezTo>
                  <a:pt x="3742186" y="468850"/>
                  <a:pt x="3742586" y="466987"/>
                  <a:pt x="3742586" y="464990"/>
                </a:cubicBezTo>
                <a:cubicBezTo>
                  <a:pt x="3742586" y="463126"/>
                  <a:pt x="3742186" y="461396"/>
                  <a:pt x="3741521" y="459798"/>
                </a:cubicBezTo>
                <a:cubicBezTo>
                  <a:pt x="3740856" y="458068"/>
                  <a:pt x="3739923" y="456737"/>
                  <a:pt x="3738858" y="455538"/>
                </a:cubicBezTo>
                <a:cubicBezTo>
                  <a:pt x="3737794" y="454473"/>
                  <a:pt x="3736462" y="453541"/>
                  <a:pt x="3734866" y="452875"/>
                </a:cubicBezTo>
                <a:cubicBezTo>
                  <a:pt x="3733400" y="452343"/>
                  <a:pt x="3731803" y="451944"/>
                  <a:pt x="3729806" y="451944"/>
                </a:cubicBezTo>
                <a:close/>
                <a:moveTo>
                  <a:pt x="3947454" y="451944"/>
                </a:moveTo>
                <a:cubicBezTo>
                  <a:pt x="3941596" y="451944"/>
                  <a:pt x="3939067" y="453940"/>
                  <a:pt x="3937471" y="455538"/>
                </a:cubicBezTo>
                <a:cubicBezTo>
                  <a:pt x="3934940" y="458200"/>
                  <a:pt x="3933876" y="460995"/>
                  <a:pt x="3933876" y="464990"/>
                </a:cubicBezTo>
                <a:cubicBezTo>
                  <a:pt x="3933876" y="469116"/>
                  <a:pt x="3934940" y="471912"/>
                  <a:pt x="3937471" y="474441"/>
                </a:cubicBezTo>
                <a:cubicBezTo>
                  <a:pt x="3939067" y="476039"/>
                  <a:pt x="3941596" y="477902"/>
                  <a:pt x="3947454" y="477902"/>
                </a:cubicBezTo>
                <a:cubicBezTo>
                  <a:pt x="3949450" y="477902"/>
                  <a:pt x="3951314" y="477503"/>
                  <a:pt x="3952779" y="476970"/>
                </a:cubicBezTo>
                <a:cubicBezTo>
                  <a:pt x="3954243" y="476438"/>
                  <a:pt x="3955574" y="475639"/>
                  <a:pt x="3956505" y="474574"/>
                </a:cubicBezTo>
                <a:cubicBezTo>
                  <a:pt x="3957571" y="473509"/>
                  <a:pt x="3958503" y="472178"/>
                  <a:pt x="3959169" y="470448"/>
                </a:cubicBezTo>
                <a:cubicBezTo>
                  <a:pt x="3959834" y="468850"/>
                  <a:pt x="3960233" y="466986"/>
                  <a:pt x="3960233" y="464990"/>
                </a:cubicBezTo>
                <a:cubicBezTo>
                  <a:pt x="3960233" y="463126"/>
                  <a:pt x="3959834" y="461395"/>
                  <a:pt x="3959169" y="459797"/>
                </a:cubicBezTo>
                <a:cubicBezTo>
                  <a:pt x="3958503" y="458067"/>
                  <a:pt x="3957571" y="456736"/>
                  <a:pt x="3956505" y="455538"/>
                </a:cubicBezTo>
                <a:cubicBezTo>
                  <a:pt x="3955441" y="454473"/>
                  <a:pt x="3954110" y="453541"/>
                  <a:pt x="3952513" y="452875"/>
                </a:cubicBezTo>
                <a:cubicBezTo>
                  <a:pt x="3951047" y="452343"/>
                  <a:pt x="3949450" y="451944"/>
                  <a:pt x="3947454" y="451944"/>
                </a:cubicBezTo>
                <a:close/>
                <a:moveTo>
                  <a:pt x="4165068" y="451944"/>
                </a:moveTo>
                <a:cubicBezTo>
                  <a:pt x="4159211" y="451944"/>
                  <a:pt x="4156681" y="453940"/>
                  <a:pt x="4155084" y="455538"/>
                </a:cubicBezTo>
                <a:cubicBezTo>
                  <a:pt x="4152555" y="458200"/>
                  <a:pt x="4151490" y="460995"/>
                  <a:pt x="4151490" y="464989"/>
                </a:cubicBezTo>
                <a:cubicBezTo>
                  <a:pt x="4151490" y="469116"/>
                  <a:pt x="4152555" y="471912"/>
                  <a:pt x="4155084" y="474441"/>
                </a:cubicBezTo>
                <a:cubicBezTo>
                  <a:pt x="4156681" y="476039"/>
                  <a:pt x="4159211" y="477902"/>
                  <a:pt x="4165068" y="477902"/>
                </a:cubicBezTo>
                <a:cubicBezTo>
                  <a:pt x="4167064" y="477902"/>
                  <a:pt x="4168928" y="477503"/>
                  <a:pt x="4170392" y="476970"/>
                </a:cubicBezTo>
                <a:cubicBezTo>
                  <a:pt x="4171856" y="476438"/>
                  <a:pt x="4173188" y="475639"/>
                  <a:pt x="4174119" y="474574"/>
                </a:cubicBezTo>
                <a:cubicBezTo>
                  <a:pt x="4175184" y="473509"/>
                  <a:pt x="4176116" y="472178"/>
                  <a:pt x="4176782" y="470448"/>
                </a:cubicBezTo>
                <a:cubicBezTo>
                  <a:pt x="4177447" y="468849"/>
                  <a:pt x="4177847" y="466986"/>
                  <a:pt x="4177847" y="464989"/>
                </a:cubicBezTo>
                <a:cubicBezTo>
                  <a:pt x="4177847" y="463125"/>
                  <a:pt x="4177447" y="461395"/>
                  <a:pt x="4176782" y="459797"/>
                </a:cubicBezTo>
                <a:cubicBezTo>
                  <a:pt x="4176116" y="458067"/>
                  <a:pt x="4175184" y="456736"/>
                  <a:pt x="4174119" y="455538"/>
                </a:cubicBezTo>
                <a:cubicBezTo>
                  <a:pt x="4173054" y="454473"/>
                  <a:pt x="4171723" y="453541"/>
                  <a:pt x="4170126" y="452875"/>
                </a:cubicBezTo>
                <a:cubicBezTo>
                  <a:pt x="4168662" y="452343"/>
                  <a:pt x="4167064" y="451944"/>
                  <a:pt x="4165068" y="451944"/>
                </a:cubicBezTo>
                <a:close/>
                <a:moveTo>
                  <a:pt x="4382713" y="451944"/>
                </a:moveTo>
                <a:cubicBezTo>
                  <a:pt x="4376857" y="451944"/>
                  <a:pt x="4374327" y="453940"/>
                  <a:pt x="4372730" y="455538"/>
                </a:cubicBezTo>
                <a:cubicBezTo>
                  <a:pt x="4370201" y="458200"/>
                  <a:pt x="4369136" y="460995"/>
                  <a:pt x="4369136" y="464989"/>
                </a:cubicBezTo>
                <a:cubicBezTo>
                  <a:pt x="4369136" y="469116"/>
                  <a:pt x="4370201" y="471911"/>
                  <a:pt x="4372730" y="474441"/>
                </a:cubicBezTo>
                <a:cubicBezTo>
                  <a:pt x="4374327" y="476038"/>
                  <a:pt x="4376857" y="477902"/>
                  <a:pt x="4382713" y="477902"/>
                </a:cubicBezTo>
                <a:cubicBezTo>
                  <a:pt x="4384710" y="477902"/>
                  <a:pt x="4386441" y="477502"/>
                  <a:pt x="4388038" y="476970"/>
                </a:cubicBezTo>
                <a:cubicBezTo>
                  <a:pt x="4389502" y="476437"/>
                  <a:pt x="4390834" y="475638"/>
                  <a:pt x="4391765" y="474573"/>
                </a:cubicBezTo>
                <a:cubicBezTo>
                  <a:pt x="4392830" y="473509"/>
                  <a:pt x="4393762" y="472177"/>
                  <a:pt x="4394428" y="470447"/>
                </a:cubicBezTo>
                <a:cubicBezTo>
                  <a:pt x="4395093" y="468849"/>
                  <a:pt x="4395493" y="466986"/>
                  <a:pt x="4395493" y="464989"/>
                </a:cubicBezTo>
                <a:cubicBezTo>
                  <a:pt x="4395493" y="463125"/>
                  <a:pt x="4395093" y="461395"/>
                  <a:pt x="4394428" y="459797"/>
                </a:cubicBezTo>
                <a:cubicBezTo>
                  <a:pt x="4393762" y="458067"/>
                  <a:pt x="4392830" y="456736"/>
                  <a:pt x="4391765" y="455538"/>
                </a:cubicBezTo>
                <a:cubicBezTo>
                  <a:pt x="4390700" y="454473"/>
                  <a:pt x="4389369" y="453541"/>
                  <a:pt x="4387772" y="452875"/>
                </a:cubicBezTo>
                <a:cubicBezTo>
                  <a:pt x="4386308" y="452343"/>
                  <a:pt x="4384710" y="451944"/>
                  <a:pt x="4382713" y="451944"/>
                </a:cubicBezTo>
                <a:close/>
                <a:moveTo>
                  <a:pt x="4600226" y="451944"/>
                </a:moveTo>
                <a:cubicBezTo>
                  <a:pt x="4594369" y="451944"/>
                  <a:pt x="4591839" y="453940"/>
                  <a:pt x="4590242" y="455538"/>
                </a:cubicBezTo>
                <a:cubicBezTo>
                  <a:pt x="4587713" y="458200"/>
                  <a:pt x="4586648" y="460995"/>
                  <a:pt x="4586648" y="464989"/>
                </a:cubicBezTo>
                <a:cubicBezTo>
                  <a:pt x="4586648" y="469116"/>
                  <a:pt x="4587713" y="471911"/>
                  <a:pt x="4590242" y="474440"/>
                </a:cubicBezTo>
                <a:cubicBezTo>
                  <a:pt x="4591839" y="476038"/>
                  <a:pt x="4594369" y="477901"/>
                  <a:pt x="4600226" y="477901"/>
                </a:cubicBezTo>
                <a:cubicBezTo>
                  <a:pt x="4602355" y="477901"/>
                  <a:pt x="4604086" y="477502"/>
                  <a:pt x="4605550" y="476969"/>
                </a:cubicBezTo>
                <a:cubicBezTo>
                  <a:pt x="4607148" y="476437"/>
                  <a:pt x="4608346" y="475638"/>
                  <a:pt x="4609277" y="474573"/>
                </a:cubicBezTo>
                <a:cubicBezTo>
                  <a:pt x="4610342" y="473508"/>
                  <a:pt x="4611274" y="472177"/>
                  <a:pt x="4611940" y="470447"/>
                </a:cubicBezTo>
                <a:cubicBezTo>
                  <a:pt x="4612605" y="468849"/>
                  <a:pt x="4613005" y="466986"/>
                  <a:pt x="4613005" y="464989"/>
                </a:cubicBezTo>
                <a:cubicBezTo>
                  <a:pt x="4613005" y="463125"/>
                  <a:pt x="4612605" y="461395"/>
                  <a:pt x="4611940" y="459797"/>
                </a:cubicBezTo>
                <a:cubicBezTo>
                  <a:pt x="4611274" y="458067"/>
                  <a:pt x="4610342" y="456736"/>
                  <a:pt x="4609277" y="455538"/>
                </a:cubicBezTo>
                <a:cubicBezTo>
                  <a:pt x="4608212" y="454473"/>
                  <a:pt x="4606881" y="453541"/>
                  <a:pt x="4605284" y="452875"/>
                </a:cubicBezTo>
                <a:cubicBezTo>
                  <a:pt x="4603820" y="452343"/>
                  <a:pt x="4602222" y="451944"/>
                  <a:pt x="4600226" y="451944"/>
                </a:cubicBezTo>
                <a:close/>
                <a:moveTo>
                  <a:pt x="4817870" y="451944"/>
                </a:moveTo>
                <a:cubicBezTo>
                  <a:pt x="4812013" y="451944"/>
                  <a:pt x="4809484" y="453940"/>
                  <a:pt x="4807887" y="455538"/>
                </a:cubicBezTo>
                <a:cubicBezTo>
                  <a:pt x="4805357" y="458200"/>
                  <a:pt x="4804293" y="460995"/>
                  <a:pt x="4804293" y="464989"/>
                </a:cubicBezTo>
                <a:cubicBezTo>
                  <a:pt x="4804293" y="469116"/>
                  <a:pt x="4805357" y="471911"/>
                  <a:pt x="4807887" y="474440"/>
                </a:cubicBezTo>
                <a:cubicBezTo>
                  <a:pt x="4809484" y="476038"/>
                  <a:pt x="4812013" y="477901"/>
                  <a:pt x="4817870" y="477901"/>
                </a:cubicBezTo>
                <a:cubicBezTo>
                  <a:pt x="4820000" y="477901"/>
                  <a:pt x="4821731" y="477502"/>
                  <a:pt x="4823195" y="476969"/>
                </a:cubicBezTo>
                <a:cubicBezTo>
                  <a:pt x="4824659" y="476437"/>
                  <a:pt x="4825857" y="475638"/>
                  <a:pt x="4826922" y="474573"/>
                </a:cubicBezTo>
                <a:cubicBezTo>
                  <a:pt x="4827987" y="473508"/>
                  <a:pt x="4828919" y="472177"/>
                  <a:pt x="4829585" y="470447"/>
                </a:cubicBezTo>
                <a:cubicBezTo>
                  <a:pt x="4830383" y="468849"/>
                  <a:pt x="4830650" y="466986"/>
                  <a:pt x="4830650" y="464989"/>
                </a:cubicBezTo>
                <a:cubicBezTo>
                  <a:pt x="4830650" y="463125"/>
                  <a:pt x="4830250" y="461395"/>
                  <a:pt x="4829585" y="459797"/>
                </a:cubicBezTo>
                <a:cubicBezTo>
                  <a:pt x="4828919" y="458067"/>
                  <a:pt x="4827987" y="456736"/>
                  <a:pt x="4826922" y="455538"/>
                </a:cubicBezTo>
                <a:cubicBezTo>
                  <a:pt x="4825857" y="454473"/>
                  <a:pt x="4824526" y="453541"/>
                  <a:pt x="4822929" y="452875"/>
                </a:cubicBezTo>
                <a:cubicBezTo>
                  <a:pt x="4821465" y="452343"/>
                  <a:pt x="4819734" y="451944"/>
                  <a:pt x="4817870" y="451944"/>
                </a:cubicBezTo>
                <a:close/>
                <a:moveTo>
                  <a:pt x="5035515" y="451944"/>
                </a:moveTo>
                <a:cubicBezTo>
                  <a:pt x="5029658" y="451944"/>
                  <a:pt x="5027129" y="453940"/>
                  <a:pt x="5025532" y="455538"/>
                </a:cubicBezTo>
                <a:cubicBezTo>
                  <a:pt x="5023002" y="458200"/>
                  <a:pt x="5021938" y="460995"/>
                  <a:pt x="5021938" y="464989"/>
                </a:cubicBezTo>
                <a:cubicBezTo>
                  <a:pt x="5021938" y="469116"/>
                  <a:pt x="5023002" y="471911"/>
                  <a:pt x="5025532" y="474440"/>
                </a:cubicBezTo>
                <a:cubicBezTo>
                  <a:pt x="5027129" y="476038"/>
                  <a:pt x="5029658" y="477901"/>
                  <a:pt x="5035515" y="477901"/>
                </a:cubicBezTo>
                <a:cubicBezTo>
                  <a:pt x="5037645" y="477901"/>
                  <a:pt x="5039376" y="477502"/>
                  <a:pt x="5040840" y="476969"/>
                </a:cubicBezTo>
                <a:cubicBezTo>
                  <a:pt x="5042304" y="476437"/>
                  <a:pt x="5043636" y="475638"/>
                  <a:pt x="5044567" y="474573"/>
                </a:cubicBezTo>
                <a:cubicBezTo>
                  <a:pt x="5045632" y="473508"/>
                  <a:pt x="5046564" y="472177"/>
                  <a:pt x="5047230" y="470447"/>
                </a:cubicBezTo>
                <a:cubicBezTo>
                  <a:pt x="5048028" y="468849"/>
                  <a:pt x="5048294" y="466986"/>
                  <a:pt x="5048294" y="464989"/>
                </a:cubicBezTo>
                <a:cubicBezTo>
                  <a:pt x="5048294" y="463125"/>
                  <a:pt x="5047895" y="461395"/>
                  <a:pt x="5047230" y="459797"/>
                </a:cubicBezTo>
                <a:cubicBezTo>
                  <a:pt x="5046564" y="458067"/>
                  <a:pt x="5045632" y="456736"/>
                  <a:pt x="5044567" y="455538"/>
                </a:cubicBezTo>
                <a:cubicBezTo>
                  <a:pt x="5043502" y="454473"/>
                  <a:pt x="5042171" y="453541"/>
                  <a:pt x="5040574" y="452875"/>
                </a:cubicBezTo>
                <a:cubicBezTo>
                  <a:pt x="5039110" y="452343"/>
                  <a:pt x="5037379" y="451944"/>
                  <a:pt x="5035515" y="451944"/>
                </a:cubicBezTo>
                <a:close/>
                <a:moveTo>
                  <a:pt x="5253160" y="451944"/>
                </a:moveTo>
                <a:cubicBezTo>
                  <a:pt x="5247303" y="451944"/>
                  <a:pt x="5244774" y="453940"/>
                  <a:pt x="5243177" y="455538"/>
                </a:cubicBezTo>
                <a:cubicBezTo>
                  <a:pt x="5240647" y="458200"/>
                  <a:pt x="5239583" y="460995"/>
                  <a:pt x="5239583" y="464989"/>
                </a:cubicBezTo>
                <a:cubicBezTo>
                  <a:pt x="5239583" y="469116"/>
                  <a:pt x="5240647" y="471911"/>
                  <a:pt x="5243177" y="474440"/>
                </a:cubicBezTo>
                <a:cubicBezTo>
                  <a:pt x="5244774" y="476038"/>
                  <a:pt x="5247303" y="477901"/>
                  <a:pt x="5253160" y="477901"/>
                </a:cubicBezTo>
                <a:cubicBezTo>
                  <a:pt x="5255157" y="477901"/>
                  <a:pt x="5257021" y="477502"/>
                  <a:pt x="5258485" y="476969"/>
                </a:cubicBezTo>
                <a:cubicBezTo>
                  <a:pt x="5259949" y="476437"/>
                  <a:pt x="5261280" y="475638"/>
                  <a:pt x="5262212" y="474573"/>
                </a:cubicBezTo>
                <a:cubicBezTo>
                  <a:pt x="5263277" y="473508"/>
                  <a:pt x="5264209" y="472177"/>
                  <a:pt x="5264875" y="470447"/>
                </a:cubicBezTo>
                <a:cubicBezTo>
                  <a:pt x="5265673" y="468849"/>
                  <a:pt x="5265939" y="466986"/>
                  <a:pt x="5265939" y="464989"/>
                </a:cubicBezTo>
                <a:cubicBezTo>
                  <a:pt x="5265939" y="463125"/>
                  <a:pt x="5265540" y="461395"/>
                  <a:pt x="5264875" y="459797"/>
                </a:cubicBezTo>
                <a:cubicBezTo>
                  <a:pt x="5264209" y="458067"/>
                  <a:pt x="5263277" y="456736"/>
                  <a:pt x="5262212" y="455538"/>
                </a:cubicBezTo>
                <a:cubicBezTo>
                  <a:pt x="5261147" y="454473"/>
                  <a:pt x="5259816" y="453541"/>
                  <a:pt x="5258219" y="452875"/>
                </a:cubicBezTo>
                <a:cubicBezTo>
                  <a:pt x="5256754" y="452343"/>
                  <a:pt x="5255024" y="451944"/>
                  <a:pt x="5253160" y="451944"/>
                </a:cubicBezTo>
                <a:close/>
                <a:moveTo>
                  <a:pt x="5470806" y="451944"/>
                </a:moveTo>
                <a:cubicBezTo>
                  <a:pt x="5464949" y="451944"/>
                  <a:pt x="5462419" y="453940"/>
                  <a:pt x="5460822" y="455538"/>
                </a:cubicBezTo>
                <a:cubicBezTo>
                  <a:pt x="5458293" y="458200"/>
                  <a:pt x="5457228" y="460995"/>
                  <a:pt x="5457228" y="464989"/>
                </a:cubicBezTo>
                <a:cubicBezTo>
                  <a:pt x="5457228" y="469116"/>
                  <a:pt x="5458293" y="471911"/>
                  <a:pt x="5460822" y="474440"/>
                </a:cubicBezTo>
                <a:cubicBezTo>
                  <a:pt x="5462419" y="476038"/>
                  <a:pt x="5464949" y="477901"/>
                  <a:pt x="5470806" y="477901"/>
                </a:cubicBezTo>
                <a:cubicBezTo>
                  <a:pt x="5472802" y="477901"/>
                  <a:pt x="5474666" y="477502"/>
                  <a:pt x="5476130" y="476969"/>
                </a:cubicBezTo>
                <a:cubicBezTo>
                  <a:pt x="5477594" y="476437"/>
                  <a:pt x="5478926" y="475638"/>
                  <a:pt x="5479857" y="474573"/>
                </a:cubicBezTo>
                <a:cubicBezTo>
                  <a:pt x="5480922" y="473508"/>
                  <a:pt x="5481854" y="472177"/>
                  <a:pt x="5482520" y="470447"/>
                </a:cubicBezTo>
                <a:cubicBezTo>
                  <a:pt x="5483319" y="468849"/>
                  <a:pt x="5483585" y="466986"/>
                  <a:pt x="5483585" y="464989"/>
                </a:cubicBezTo>
                <a:cubicBezTo>
                  <a:pt x="5483585" y="463125"/>
                  <a:pt x="5483185" y="461395"/>
                  <a:pt x="5482520" y="459797"/>
                </a:cubicBezTo>
                <a:cubicBezTo>
                  <a:pt x="5481854" y="458067"/>
                  <a:pt x="5480922" y="456736"/>
                  <a:pt x="5479857" y="455538"/>
                </a:cubicBezTo>
                <a:cubicBezTo>
                  <a:pt x="5478793" y="454473"/>
                  <a:pt x="5477461" y="453541"/>
                  <a:pt x="5475864" y="452875"/>
                </a:cubicBezTo>
                <a:cubicBezTo>
                  <a:pt x="5474400" y="452343"/>
                  <a:pt x="5472669" y="451944"/>
                  <a:pt x="5470806" y="451944"/>
                </a:cubicBezTo>
                <a:close/>
                <a:moveTo>
                  <a:pt x="5688451" y="451943"/>
                </a:moveTo>
                <a:cubicBezTo>
                  <a:pt x="5682594" y="451943"/>
                  <a:pt x="5680064" y="453939"/>
                  <a:pt x="5678467" y="455538"/>
                </a:cubicBezTo>
                <a:cubicBezTo>
                  <a:pt x="5675938" y="458200"/>
                  <a:pt x="5674873" y="460995"/>
                  <a:pt x="5674873" y="464989"/>
                </a:cubicBezTo>
                <a:cubicBezTo>
                  <a:pt x="5674873" y="469116"/>
                  <a:pt x="5675938" y="471911"/>
                  <a:pt x="5678467" y="474440"/>
                </a:cubicBezTo>
                <a:cubicBezTo>
                  <a:pt x="5680064" y="476038"/>
                  <a:pt x="5682594" y="477901"/>
                  <a:pt x="5688451" y="477901"/>
                </a:cubicBezTo>
                <a:cubicBezTo>
                  <a:pt x="5690447" y="477901"/>
                  <a:pt x="5692178" y="477502"/>
                  <a:pt x="5693775" y="476969"/>
                </a:cubicBezTo>
                <a:cubicBezTo>
                  <a:pt x="5695239" y="476437"/>
                  <a:pt x="5696571" y="475638"/>
                  <a:pt x="5697502" y="474573"/>
                </a:cubicBezTo>
                <a:cubicBezTo>
                  <a:pt x="5698567" y="473508"/>
                  <a:pt x="5699499" y="472177"/>
                  <a:pt x="5700165" y="470447"/>
                </a:cubicBezTo>
                <a:cubicBezTo>
                  <a:pt x="5700830" y="468849"/>
                  <a:pt x="5701230" y="466986"/>
                  <a:pt x="5701230" y="464989"/>
                </a:cubicBezTo>
                <a:cubicBezTo>
                  <a:pt x="5701230" y="463125"/>
                  <a:pt x="5700830" y="461395"/>
                  <a:pt x="5700165" y="459797"/>
                </a:cubicBezTo>
                <a:cubicBezTo>
                  <a:pt x="5699499" y="458067"/>
                  <a:pt x="5698567" y="456736"/>
                  <a:pt x="5697502" y="455538"/>
                </a:cubicBezTo>
                <a:cubicBezTo>
                  <a:pt x="5696437" y="454473"/>
                  <a:pt x="5695106" y="453540"/>
                  <a:pt x="5693509" y="452874"/>
                </a:cubicBezTo>
                <a:cubicBezTo>
                  <a:pt x="5692045" y="452342"/>
                  <a:pt x="5690314" y="451943"/>
                  <a:pt x="5688451" y="451943"/>
                </a:cubicBezTo>
                <a:close/>
                <a:moveTo>
                  <a:pt x="5905963" y="451943"/>
                </a:moveTo>
                <a:cubicBezTo>
                  <a:pt x="5900106" y="451943"/>
                  <a:pt x="5897576" y="453939"/>
                  <a:pt x="5895979" y="455537"/>
                </a:cubicBezTo>
                <a:cubicBezTo>
                  <a:pt x="5893450" y="458199"/>
                  <a:pt x="5892385" y="460994"/>
                  <a:pt x="5892385" y="464989"/>
                </a:cubicBezTo>
                <a:cubicBezTo>
                  <a:pt x="5892385" y="469116"/>
                  <a:pt x="5893450" y="471911"/>
                  <a:pt x="5895979" y="474440"/>
                </a:cubicBezTo>
                <a:cubicBezTo>
                  <a:pt x="5897576" y="476038"/>
                  <a:pt x="5900106" y="477901"/>
                  <a:pt x="5905963" y="477901"/>
                </a:cubicBezTo>
                <a:cubicBezTo>
                  <a:pt x="5908093" y="477901"/>
                  <a:pt x="5909823" y="477502"/>
                  <a:pt x="5911287" y="476969"/>
                </a:cubicBezTo>
                <a:cubicBezTo>
                  <a:pt x="5912751" y="476437"/>
                  <a:pt x="5914083" y="475638"/>
                  <a:pt x="5915014" y="474573"/>
                </a:cubicBezTo>
                <a:cubicBezTo>
                  <a:pt x="5916079" y="473508"/>
                  <a:pt x="5917011" y="472177"/>
                  <a:pt x="5917677" y="470447"/>
                </a:cubicBezTo>
                <a:cubicBezTo>
                  <a:pt x="5918342" y="468849"/>
                  <a:pt x="5918742" y="466986"/>
                  <a:pt x="5918742" y="464989"/>
                </a:cubicBezTo>
                <a:cubicBezTo>
                  <a:pt x="5918742" y="463125"/>
                  <a:pt x="5918342" y="461394"/>
                  <a:pt x="5917677" y="459796"/>
                </a:cubicBezTo>
                <a:cubicBezTo>
                  <a:pt x="5917011" y="458066"/>
                  <a:pt x="5916079" y="456736"/>
                  <a:pt x="5915014" y="455537"/>
                </a:cubicBezTo>
                <a:cubicBezTo>
                  <a:pt x="5913950" y="454472"/>
                  <a:pt x="5912618" y="453540"/>
                  <a:pt x="5911021" y="452874"/>
                </a:cubicBezTo>
                <a:cubicBezTo>
                  <a:pt x="5909557" y="452342"/>
                  <a:pt x="5907826" y="451943"/>
                  <a:pt x="5905963" y="451943"/>
                </a:cubicBezTo>
                <a:close/>
                <a:moveTo>
                  <a:pt x="6123608" y="451943"/>
                </a:moveTo>
                <a:cubicBezTo>
                  <a:pt x="6117751" y="451943"/>
                  <a:pt x="6115221" y="453939"/>
                  <a:pt x="6113624" y="455537"/>
                </a:cubicBezTo>
                <a:cubicBezTo>
                  <a:pt x="6111095" y="458199"/>
                  <a:pt x="6110030" y="460994"/>
                  <a:pt x="6110030" y="464988"/>
                </a:cubicBezTo>
                <a:cubicBezTo>
                  <a:pt x="6110030" y="469116"/>
                  <a:pt x="6111095" y="471911"/>
                  <a:pt x="6113624" y="474440"/>
                </a:cubicBezTo>
                <a:cubicBezTo>
                  <a:pt x="6115221" y="476038"/>
                  <a:pt x="6117751" y="477901"/>
                  <a:pt x="6123608" y="477901"/>
                </a:cubicBezTo>
                <a:cubicBezTo>
                  <a:pt x="6125737" y="477901"/>
                  <a:pt x="6127468" y="477502"/>
                  <a:pt x="6128932" y="476969"/>
                </a:cubicBezTo>
                <a:cubicBezTo>
                  <a:pt x="6130530" y="476437"/>
                  <a:pt x="6131728" y="475638"/>
                  <a:pt x="6132659" y="474573"/>
                </a:cubicBezTo>
                <a:cubicBezTo>
                  <a:pt x="6133724" y="473508"/>
                  <a:pt x="6134656" y="472177"/>
                  <a:pt x="6135322" y="470447"/>
                </a:cubicBezTo>
                <a:cubicBezTo>
                  <a:pt x="6135987" y="468849"/>
                  <a:pt x="6136387" y="466986"/>
                  <a:pt x="6136387" y="464988"/>
                </a:cubicBezTo>
                <a:cubicBezTo>
                  <a:pt x="6136387" y="463125"/>
                  <a:pt x="6135987" y="461394"/>
                  <a:pt x="6135322" y="459796"/>
                </a:cubicBezTo>
                <a:cubicBezTo>
                  <a:pt x="6134656" y="458066"/>
                  <a:pt x="6133724" y="456735"/>
                  <a:pt x="6132659" y="455537"/>
                </a:cubicBezTo>
                <a:cubicBezTo>
                  <a:pt x="6131594" y="454472"/>
                  <a:pt x="6130263" y="453540"/>
                  <a:pt x="6128666" y="452874"/>
                </a:cubicBezTo>
                <a:cubicBezTo>
                  <a:pt x="6127202" y="452342"/>
                  <a:pt x="6125604" y="451943"/>
                  <a:pt x="6123608" y="451943"/>
                </a:cubicBezTo>
                <a:close/>
                <a:moveTo>
                  <a:pt x="6341253" y="451943"/>
                </a:moveTo>
                <a:cubicBezTo>
                  <a:pt x="6335396" y="451943"/>
                  <a:pt x="6332867" y="453939"/>
                  <a:pt x="6331270" y="455537"/>
                </a:cubicBezTo>
                <a:cubicBezTo>
                  <a:pt x="6328740" y="458199"/>
                  <a:pt x="6327675" y="460994"/>
                  <a:pt x="6327675" y="464988"/>
                </a:cubicBezTo>
                <a:cubicBezTo>
                  <a:pt x="6327675" y="469115"/>
                  <a:pt x="6328740" y="471911"/>
                  <a:pt x="6331270" y="474440"/>
                </a:cubicBezTo>
                <a:cubicBezTo>
                  <a:pt x="6332867" y="476038"/>
                  <a:pt x="6335396" y="477901"/>
                  <a:pt x="6341253" y="477901"/>
                </a:cubicBezTo>
                <a:cubicBezTo>
                  <a:pt x="6343250" y="477901"/>
                  <a:pt x="6345114" y="477501"/>
                  <a:pt x="6346578" y="476969"/>
                </a:cubicBezTo>
                <a:cubicBezTo>
                  <a:pt x="6348042" y="476437"/>
                  <a:pt x="6349373" y="475638"/>
                  <a:pt x="6350305" y="474573"/>
                </a:cubicBezTo>
                <a:cubicBezTo>
                  <a:pt x="6351370" y="473508"/>
                  <a:pt x="6352302" y="472177"/>
                  <a:pt x="6352968" y="470447"/>
                </a:cubicBezTo>
                <a:cubicBezTo>
                  <a:pt x="6353766" y="468848"/>
                  <a:pt x="6354033" y="466985"/>
                  <a:pt x="6354033" y="464988"/>
                </a:cubicBezTo>
                <a:cubicBezTo>
                  <a:pt x="6354033" y="463124"/>
                  <a:pt x="6353633" y="461394"/>
                  <a:pt x="6352968" y="459796"/>
                </a:cubicBezTo>
                <a:cubicBezTo>
                  <a:pt x="6352302" y="458066"/>
                  <a:pt x="6351370" y="456735"/>
                  <a:pt x="6350305" y="455537"/>
                </a:cubicBezTo>
                <a:cubicBezTo>
                  <a:pt x="6349241" y="454472"/>
                  <a:pt x="6347909" y="453540"/>
                  <a:pt x="6346312" y="452874"/>
                </a:cubicBezTo>
                <a:cubicBezTo>
                  <a:pt x="6344848" y="452342"/>
                  <a:pt x="6343250" y="451943"/>
                  <a:pt x="6341253" y="451943"/>
                </a:cubicBezTo>
                <a:close/>
                <a:moveTo>
                  <a:pt x="6558899" y="451943"/>
                </a:moveTo>
                <a:cubicBezTo>
                  <a:pt x="6553042" y="451943"/>
                  <a:pt x="6550512" y="453939"/>
                  <a:pt x="6548915" y="455537"/>
                </a:cubicBezTo>
                <a:cubicBezTo>
                  <a:pt x="6546386" y="458199"/>
                  <a:pt x="6545321" y="460994"/>
                  <a:pt x="6545321" y="464988"/>
                </a:cubicBezTo>
                <a:cubicBezTo>
                  <a:pt x="6545321" y="469115"/>
                  <a:pt x="6546386" y="471910"/>
                  <a:pt x="6548915" y="474440"/>
                </a:cubicBezTo>
                <a:cubicBezTo>
                  <a:pt x="6550512" y="476037"/>
                  <a:pt x="6553042" y="477901"/>
                  <a:pt x="6558899" y="477901"/>
                </a:cubicBezTo>
                <a:cubicBezTo>
                  <a:pt x="6560895" y="477901"/>
                  <a:pt x="6562759" y="477501"/>
                  <a:pt x="6564223" y="476968"/>
                </a:cubicBezTo>
                <a:cubicBezTo>
                  <a:pt x="6565687" y="476436"/>
                  <a:pt x="6567019" y="475637"/>
                  <a:pt x="6567950" y="474572"/>
                </a:cubicBezTo>
                <a:cubicBezTo>
                  <a:pt x="6569015" y="473507"/>
                  <a:pt x="6569947" y="472176"/>
                  <a:pt x="6570612" y="470446"/>
                </a:cubicBezTo>
                <a:cubicBezTo>
                  <a:pt x="6571412" y="468848"/>
                  <a:pt x="6571677" y="466985"/>
                  <a:pt x="6571677" y="464988"/>
                </a:cubicBezTo>
                <a:cubicBezTo>
                  <a:pt x="6571677" y="463124"/>
                  <a:pt x="6571278" y="461394"/>
                  <a:pt x="6570612" y="459796"/>
                </a:cubicBezTo>
                <a:cubicBezTo>
                  <a:pt x="6569947" y="458066"/>
                  <a:pt x="6569015" y="456735"/>
                  <a:pt x="6567950" y="455537"/>
                </a:cubicBezTo>
                <a:cubicBezTo>
                  <a:pt x="6566885" y="454472"/>
                  <a:pt x="6565554" y="453540"/>
                  <a:pt x="6563956" y="452874"/>
                </a:cubicBezTo>
                <a:cubicBezTo>
                  <a:pt x="6562492" y="452342"/>
                  <a:pt x="6560895" y="451943"/>
                  <a:pt x="6558899" y="451943"/>
                </a:cubicBezTo>
                <a:close/>
                <a:moveTo>
                  <a:pt x="6776544" y="451943"/>
                </a:moveTo>
                <a:cubicBezTo>
                  <a:pt x="6770687" y="451943"/>
                  <a:pt x="6768157" y="453939"/>
                  <a:pt x="6766560" y="455537"/>
                </a:cubicBezTo>
                <a:cubicBezTo>
                  <a:pt x="6764031" y="458199"/>
                  <a:pt x="6762966" y="460994"/>
                  <a:pt x="6762966" y="464988"/>
                </a:cubicBezTo>
                <a:cubicBezTo>
                  <a:pt x="6762966" y="469115"/>
                  <a:pt x="6764031" y="471910"/>
                  <a:pt x="6766560" y="474439"/>
                </a:cubicBezTo>
                <a:cubicBezTo>
                  <a:pt x="6768157" y="476037"/>
                  <a:pt x="6770687" y="477900"/>
                  <a:pt x="6776544" y="477900"/>
                </a:cubicBezTo>
                <a:cubicBezTo>
                  <a:pt x="6778541" y="477900"/>
                  <a:pt x="6780270" y="477501"/>
                  <a:pt x="6781869" y="476968"/>
                </a:cubicBezTo>
                <a:cubicBezTo>
                  <a:pt x="6783333" y="476436"/>
                  <a:pt x="6784664" y="475637"/>
                  <a:pt x="6785595" y="474572"/>
                </a:cubicBezTo>
                <a:cubicBezTo>
                  <a:pt x="6786661" y="473507"/>
                  <a:pt x="6787593" y="472176"/>
                  <a:pt x="6788258" y="470446"/>
                </a:cubicBezTo>
                <a:cubicBezTo>
                  <a:pt x="6789057" y="468848"/>
                  <a:pt x="6789323" y="466985"/>
                  <a:pt x="6789323" y="464988"/>
                </a:cubicBezTo>
                <a:cubicBezTo>
                  <a:pt x="6789323" y="463124"/>
                  <a:pt x="6788923" y="461394"/>
                  <a:pt x="6788258" y="459796"/>
                </a:cubicBezTo>
                <a:cubicBezTo>
                  <a:pt x="6787593" y="458066"/>
                  <a:pt x="6786661" y="456735"/>
                  <a:pt x="6785595" y="455537"/>
                </a:cubicBezTo>
                <a:cubicBezTo>
                  <a:pt x="6784530" y="454472"/>
                  <a:pt x="6783199" y="453540"/>
                  <a:pt x="6781602" y="452874"/>
                </a:cubicBezTo>
                <a:cubicBezTo>
                  <a:pt x="6780138" y="452342"/>
                  <a:pt x="6778541" y="451943"/>
                  <a:pt x="6776544" y="451943"/>
                </a:cubicBezTo>
                <a:close/>
                <a:moveTo>
                  <a:pt x="6994056" y="451943"/>
                </a:moveTo>
                <a:cubicBezTo>
                  <a:pt x="6988199" y="451943"/>
                  <a:pt x="6985669" y="453939"/>
                  <a:pt x="6984072" y="455537"/>
                </a:cubicBezTo>
                <a:cubicBezTo>
                  <a:pt x="6981543" y="458199"/>
                  <a:pt x="6980478" y="460994"/>
                  <a:pt x="6980478" y="464988"/>
                </a:cubicBezTo>
                <a:cubicBezTo>
                  <a:pt x="6980478" y="469115"/>
                  <a:pt x="6981543" y="471910"/>
                  <a:pt x="6984072" y="474439"/>
                </a:cubicBezTo>
                <a:cubicBezTo>
                  <a:pt x="6985669" y="476037"/>
                  <a:pt x="6988199" y="477900"/>
                  <a:pt x="6994056" y="477900"/>
                </a:cubicBezTo>
                <a:cubicBezTo>
                  <a:pt x="6996185" y="477900"/>
                  <a:pt x="6997916" y="477501"/>
                  <a:pt x="6999380" y="476968"/>
                </a:cubicBezTo>
                <a:cubicBezTo>
                  <a:pt x="7000844" y="476436"/>
                  <a:pt x="7002176" y="475637"/>
                  <a:pt x="7003107" y="474572"/>
                </a:cubicBezTo>
                <a:cubicBezTo>
                  <a:pt x="7004172" y="473507"/>
                  <a:pt x="7005104" y="472176"/>
                  <a:pt x="7005769" y="470446"/>
                </a:cubicBezTo>
                <a:cubicBezTo>
                  <a:pt x="7006568" y="468848"/>
                  <a:pt x="7006834" y="466985"/>
                  <a:pt x="7006834" y="464988"/>
                </a:cubicBezTo>
                <a:cubicBezTo>
                  <a:pt x="7006834" y="463124"/>
                  <a:pt x="7006435" y="461394"/>
                  <a:pt x="7005769" y="459796"/>
                </a:cubicBezTo>
                <a:cubicBezTo>
                  <a:pt x="7005104" y="458066"/>
                  <a:pt x="7004172" y="456735"/>
                  <a:pt x="7003107" y="455537"/>
                </a:cubicBezTo>
                <a:cubicBezTo>
                  <a:pt x="7002042" y="454472"/>
                  <a:pt x="7000711" y="453540"/>
                  <a:pt x="6999113" y="452874"/>
                </a:cubicBezTo>
                <a:cubicBezTo>
                  <a:pt x="6997649" y="452342"/>
                  <a:pt x="6996052" y="451943"/>
                  <a:pt x="6994056" y="451943"/>
                </a:cubicBezTo>
                <a:close/>
                <a:moveTo>
                  <a:pt x="7211701" y="451943"/>
                </a:moveTo>
                <a:cubicBezTo>
                  <a:pt x="7205844" y="451943"/>
                  <a:pt x="7203314" y="453939"/>
                  <a:pt x="7201717" y="455537"/>
                </a:cubicBezTo>
                <a:cubicBezTo>
                  <a:pt x="7199188" y="458199"/>
                  <a:pt x="7198123" y="460994"/>
                  <a:pt x="7198123" y="464988"/>
                </a:cubicBezTo>
                <a:cubicBezTo>
                  <a:pt x="7198123" y="469115"/>
                  <a:pt x="7199188" y="471910"/>
                  <a:pt x="7201717" y="474439"/>
                </a:cubicBezTo>
                <a:cubicBezTo>
                  <a:pt x="7203314" y="476037"/>
                  <a:pt x="7205844" y="477900"/>
                  <a:pt x="7211701" y="477900"/>
                </a:cubicBezTo>
                <a:cubicBezTo>
                  <a:pt x="7213830" y="477900"/>
                  <a:pt x="7215561" y="477501"/>
                  <a:pt x="7217026" y="476968"/>
                </a:cubicBezTo>
                <a:cubicBezTo>
                  <a:pt x="7218490" y="476436"/>
                  <a:pt x="7219821" y="475637"/>
                  <a:pt x="7220752" y="474572"/>
                </a:cubicBezTo>
                <a:cubicBezTo>
                  <a:pt x="7221818" y="473507"/>
                  <a:pt x="7222750" y="472176"/>
                  <a:pt x="7223415" y="470446"/>
                </a:cubicBezTo>
                <a:cubicBezTo>
                  <a:pt x="7224214" y="468848"/>
                  <a:pt x="7224480" y="466985"/>
                  <a:pt x="7224480" y="464988"/>
                </a:cubicBezTo>
                <a:cubicBezTo>
                  <a:pt x="7224480" y="463124"/>
                  <a:pt x="7224080" y="461394"/>
                  <a:pt x="7223415" y="459796"/>
                </a:cubicBezTo>
                <a:cubicBezTo>
                  <a:pt x="7222750" y="458066"/>
                  <a:pt x="7221818" y="456735"/>
                  <a:pt x="7220752" y="455537"/>
                </a:cubicBezTo>
                <a:cubicBezTo>
                  <a:pt x="7219687" y="454472"/>
                  <a:pt x="7218356" y="453540"/>
                  <a:pt x="7216759" y="452874"/>
                </a:cubicBezTo>
                <a:cubicBezTo>
                  <a:pt x="7215295" y="452342"/>
                  <a:pt x="7213698" y="451943"/>
                  <a:pt x="7211701" y="451943"/>
                </a:cubicBezTo>
                <a:close/>
                <a:moveTo>
                  <a:pt x="7429345" y="451943"/>
                </a:moveTo>
                <a:cubicBezTo>
                  <a:pt x="7423488" y="451943"/>
                  <a:pt x="7420958" y="453939"/>
                  <a:pt x="7419361" y="455537"/>
                </a:cubicBezTo>
                <a:cubicBezTo>
                  <a:pt x="7416832" y="458199"/>
                  <a:pt x="7415768" y="460994"/>
                  <a:pt x="7415768" y="464988"/>
                </a:cubicBezTo>
                <a:cubicBezTo>
                  <a:pt x="7415768" y="469115"/>
                  <a:pt x="7416832" y="471910"/>
                  <a:pt x="7419361" y="474439"/>
                </a:cubicBezTo>
                <a:cubicBezTo>
                  <a:pt x="7420958" y="476037"/>
                  <a:pt x="7423488" y="477900"/>
                  <a:pt x="7429345" y="477900"/>
                </a:cubicBezTo>
                <a:cubicBezTo>
                  <a:pt x="7431342" y="477900"/>
                  <a:pt x="7433206" y="477501"/>
                  <a:pt x="7434670" y="476968"/>
                </a:cubicBezTo>
                <a:cubicBezTo>
                  <a:pt x="7436134" y="476436"/>
                  <a:pt x="7437466" y="475637"/>
                  <a:pt x="7438397" y="474572"/>
                </a:cubicBezTo>
                <a:cubicBezTo>
                  <a:pt x="7439462" y="473507"/>
                  <a:pt x="7440394" y="472176"/>
                  <a:pt x="7441059" y="470446"/>
                </a:cubicBezTo>
                <a:cubicBezTo>
                  <a:pt x="7441858" y="468848"/>
                  <a:pt x="7442124" y="466985"/>
                  <a:pt x="7442124" y="464988"/>
                </a:cubicBezTo>
                <a:cubicBezTo>
                  <a:pt x="7442124" y="463124"/>
                  <a:pt x="7441725" y="461394"/>
                  <a:pt x="7441059" y="459796"/>
                </a:cubicBezTo>
                <a:cubicBezTo>
                  <a:pt x="7440394" y="458066"/>
                  <a:pt x="7439462" y="456735"/>
                  <a:pt x="7438397" y="455537"/>
                </a:cubicBezTo>
                <a:cubicBezTo>
                  <a:pt x="7437332" y="454472"/>
                  <a:pt x="7436001" y="453540"/>
                  <a:pt x="7434403" y="452874"/>
                </a:cubicBezTo>
                <a:cubicBezTo>
                  <a:pt x="7432939" y="452342"/>
                  <a:pt x="7431342" y="451943"/>
                  <a:pt x="7429345" y="451943"/>
                </a:cubicBezTo>
                <a:close/>
                <a:moveTo>
                  <a:pt x="7646991" y="451942"/>
                </a:moveTo>
                <a:cubicBezTo>
                  <a:pt x="7641134" y="451942"/>
                  <a:pt x="7638604" y="453938"/>
                  <a:pt x="7637007" y="455537"/>
                </a:cubicBezTo>
                <a:cubicBezTo>
                  <a:pt x="7634478" y="458199"/>
                  <a:pt x="7633413" y="460994"/>
                  <a:pt x="7633413" y="464988"/>
                </a:cubicBezTo>
                <a:cubicBezTo>
                  <a:pt x="7633413" y="469115"/>
                  <a:pt x="7634478" y="471910"/>
                  <a:pt x="7637007" y="474439"/>
                </a:cubicBezTo>
                <a:cubicBezTo>
                  <a:pt x="7638604" y="476037"/>
                  <a:pt x="7641134" y="477900"/>
                  <a:pt x="7646991" y="477900"/>
                </a:cubicBezTo>
                <a:cubicBezTo>
                  <a:pt x="7648987" y="477900"/>
                  <a:pt x="7650851" y="477501"/>
                  <a:pt x="7652315" y="476968"/>
                </a:cubicBezTo>
                <a:cubicBezTo>
                  <a:pt x="7653780" y="476436"/>
                  <a:pt x="7655111" y="475637"/>
                  <a:pt x="7656042" y="474572"/>
                </a:cubicBezTo>
                <a:cubicBezTo>
                  <a:pt x="7657108" y="473507"/>
                  <a:pt x="7658039" y="472176"/>
                  <a:pt x="7658705" y="470446"/>
                </a:cubicBezTo>
                <a:cubicBezTo>
                  <a:pt x="7659504" y="468848"/>
                  <a:pt x="7659769" y="466985"/>
                  <a:pt x="7659769" y="464988"/>
                </a:cubicBezTo>
                <a:cubicBezTo>
                  <a:pt x="7659769" y="463124"/>
                  <a:pt x="7659370" y="461394"/>
                  <a:pt x="7658705" y="459796"/>
                </a:cubicBezTo>
                <a:cubicBezTo>
                  <a:pt x="7658039" y="458066"/>
                  <a:pt x="7657108" y="456735"/>
                  <a:pt x="7656042" y="455537"/>
                </a:cubicBezTo>
                <a:cubicBezTo>
                  <a:pt x="7654977" y="454472"/>
                  <a:pt x="7653646" y="453540"/>
                  <a:pt x="7652049" y="452873"/>
                </a:cubicBezTo>
                <a:cubicBezTo>
                  <a:pt x="7650584" y="452342"/>
                  <a:pt x="7648987" y="451942"/>
                  <a:pt x="7646991" y="451942"/>
                </a:cubicBezTo>
                <a:close/>
                <a:moveTo>
                  <a:pt x="7864636" y="451942"/>
                </a:moveTo>
                <a:cubicBezTo>
                  <a:pt x="7858779" y="451942"/>
                  <a:pt x="7856249" y="453938"/>
                  <a:pt x="7854652" y="455536"/>
                </a:cubicBezTo>
                <a:cubicBezTo>
                  <a:pt x="7852123" y="458198"/>
                  <a:pt x="7851058" y="460993"/>
                  <a:pt x="7851058" y="464988"/>
                </a:cubicBezTo>
                <a:cubicBezTo>
                  <a:pt x="7851058" y="469115"/>
                  <a:pt x="7852123" y="471910"/>
                  <a:pt x="7854652" y="474439"/>
                </a:cubicBezTo>
                <a:cubicBezTo>
                  <a:pt x="7856249" y="476037"/>
                  <a:pt x="7858779" y="477900"/>
                  <a:pt x="7864636" y="477900"/>
                </a:cubicBezTo>
                <a:cubicBezTo>
                  <a:pt x="7866633" y="477900"/>
                  <a:pt x="7868363" y="477501"/>
                  <a:pt x="7869961" y="476968"/>
                </a:cubicBezTo>
                <a:cubicBezTo>
                  <a:pt x="7871425" y="476436"/>
                  <a:pt x="7872756" y="475637"/>
                  <a:pt x="7873687" y="474572"/>
                </a:cubicBezTo>
                <a:cubicBezTo>
                  <a:pt x="7874753" y="473507"/>
                  <a:pt x="7875685" y="472176"/>
                  <a:pt x="7876350" y="470446"/>
                </a:cubicBezTo>
                <a:cubicBezTo>
                  <a:pt x="7877015" y="468848"/>
                  <a:pt x="7877282" y="466985"/>
                  <a:pt x="7877282" y="464988"/>
                </a:cubicBezTo>
                <a:cubicBezTo>
                  <a:pt x="7877282" y="463124"/>
                  <a:pt x="7877015" y="461394"/>
                  <a:pt x="7876350" y="459796"/>
                </a:cubicBezTo>
                <a:cubicBezTo>
                  <a:pt x="7875685" y="458066"/>
                  <a:pt x="7874753" y="456735"/>
                  <a:pt x="7873687" y="455536"/>
                </a:cubicBezTo>
                <a:cubicBezTo>
                  <a:pt x="7872623" y="454471"/>
                  <a:pt x="7871291" y="453539"/>
                  <a:pt x="7869694" y="452873"/>
                </a:cubicBezTo>
                <a:cubicBezTo>
                  <a:pt x="7868230" y="452341"/>
                  <a:pt x="7866633" y="451942"/>
                  <a:pt x="7864636" y="451942"/>
                </a:cubicBezTo>
                <a:close/>
                <a:moveTo>
                  <a:pt x="8082281" y="451942"/>
                </a:moveTo>
                <a:cubicBezTo>
                  <a:pt x="8076424" y="451942"/>
                  <a:pt x="8073894" y="453938"/>
                  <a:pt x="8072297" y="455536"/>
                </a:cubicBezTo>
                <a:cubicBezTo>
                  <a:pt x="8069768" y="458198"/>
                  <a:pt x="8068703" y="460993"/>
                  <a:pt x="8068703" y="464988"/>
                </a:cubicBezTo>
                <a:cubicBezTo>
                  <a:pt x="8068703" y="469115"/>
                  <a:pt x="8069768" y="471910"/>
                  <a:pt x="8072297" y="474439"/>
                </a:cubicBezTo>
                <a:cubicBezTo>
                  <a:pt x="8073894" y="476037"/>
                  <a:pt x="8076424" y="477900"/>
                  <a:pt x="8082281" y="477900"/>
                </a:cubicBezTo>
                <a:cubicBezTo>
                  <a:pt x="8084277" y="477900"/>
                  <a:pt x="8086007" y="477501"/>
                  <a:pt x="8087605" y="476968"/>
                </a:cubicBezTo>
                <a:cubicBezTo>
                  <a:pt x="8089069" y="476436"/>
                  <a:pt x="8090401" y="475637"/>
                  <a:pt x="8091332" y="474572"/>
                </a:cubicBezTo>
                <a:cubicBezTo>
                  <a:pt x="8092397" y="473507"/>
                  <a:pt x="8093329" y="472176"/>
                  <a:pt x="8093994" y="470446"/>
                </a:cubicBezTo>
                <a:cubicBezTo>
                  <a:pt x="8094660" y="468848"/>
                  <a:pt x="8094926" y="466985"/>
                  <a:pt x="8094926" y="464988"/>
                </a:cubicBezTo>
                <a:cubicBezTo>
                  <a:pt x="8094926" y="463124"/>
                  <a:pt x="8094660" y="461393"/>
                  <a:pt x="8093994" y="459795"/>
                </a:cubicBezTo>
                <a:cubicBezTo>
                  <a:pt x="8093329" y="458065"/>
                  <a:pt x="8092397" y="456734"/>
                  <a:pt x="8091332" y="455536"/>
                </a:cubicBezTo>
                <a:cubicBezTo>
                  <a:pt x="8090267" y="454471"/>
                  <a:pt x="8088936" y="453539"/>
                  <a:pt x="8087338" y="452873"/>
                </a:cubicBezTo>
                <a:cubicBezTo>
                  <a:pt x="8085874" y="452341"/>
                  <a:pt x="8084277" y="451942"/>
                  <a:pt x="8082281" y="451942"/>
                </a:cubicBezTo>
                <a:close/>
                <a:moveTo>
                  <a:pt x="8299793" y="451942"/>
                </a:moveTo>
                <a:cubicBezTo>
                  <a:pt x="8294068" y="451942"/>
                  <a:pt x="8291406" y="453938"/>
                  <a:pt x="8289809" y="455536"/>
                </a:cubicBezTo>
                <a:cubicBezTo>
                  <a:pt x="8287280" y="458198"/>
                  <a:pt x="8286215" y="460993"/>
                  <a:pt x="8286215" y="464987"/>
                </a:cubicBezTo>
                <a:cubicBezTo>
                  <a:pt x="8286215" y="469114"/>
                  <a:pt x="8287280" y="471910"/>
                  <a:pt x="8289809" y="474439"/>
                </a:cubicBezTo>
                <a:cubicBezTo>
                  <a:pt x="8291406" y="476037"/>
                  <a:pt x="8293935" y="477900"/>
                  <a:pt x="8299793" y="477900"/>
                </a:cubicBezTo>
                <a:cubicBezTo>
                  <a:pt x="8301923" y="477900"/>
                  <a:pt x="8303653" y="477501"/>
                  <a:pt x="8305118" y="476968"/>
                </a:cubicBezTo>
                <a:cubicBezTo>
                  <a:pt x="8306582" y="476436"/>
                  <a:pt x="8307913" y="475637"/>
                  <a:pt x="8308844" y="474572"/>
                </a:cubicBezTo>
                <a:cubicBezTo>
                  <a:pt x="8309910" y="473507"/>
                  <a:pt x="8310842" y="472176"/>
                  <a:pt x="8311507" y="470446"/>
                </a:cubicBezTo>
                <a:cubicBezTo>
                  <a:pt x="8312172" y="468847"/>
                  <a:pt x="8312439" y="466984"/>
                  <a:pt x="8312439" y="464987"/>
                </a:cubicBezTo>
                <a:cubicBezTo>
                  <a:pt x="8312439" y="463123"/>
                  <a:pt x="8312172" y="461393"/>
                  <a:pt x="8311507" y="459795"/>
                </a:cubicBezTo>
                <a:cubicBezTo>
                  <a:pt x="8310842" y="458065"/>
                  <a:pt x="8309910" y="456734"/>
                  <a:pt x="8308844" y="455536"/>
                </a:cubicBezTo>
                <a:cubicBezTo>
                  <a:pt x="8307779" y="454471"/>
                  <a:pt x="8306448" y="453539"/>
                  <a:pt x="8304851" y="452873"/>
                </a:cubicBezTo>
                <a:cubicBezTo>
                  <a:pt x="8303387" y="452341"/>
                  <a:pt x="8301790" y="451942"/>
                  <a:pt x="8299793" y="451942"/>
                </a:cubicBezTo>
                <a:close/>
                <a:moveTo>
                  <a:pt x="8517438" y="451942"/>
                </a:moveTo>
                <a:cubicBezTo>
                  <a:pt x="8511713" y="451942"/>
                  <a:pt x="8509051" y="453938"/>
                  <a:pt x="8507453" y="455536"/>
                </a:cubicBezTo>
                <a:cubicBezTo>
                  <a:pt x="8504925" y="458198"/>
                  <a:pt x="8503860" y="460993"/>
                  <a:pt x="8503860" y="464987"/>
                </a:cubicBezTo>
                <a:cubicBezTo>
                  <a:pt x="8503860" y="469114"/>
                  <a:pt x="8504925" y="471909"/>
                  <a:pt x="8507453" y="474439"/>
                </a:cubicBezTo>
                <a:cubicBezTo>
                  <a:pt x="8509051" y="476037"/>
                  <a:pt x="8511581" y="477900"/>
                  <a:pt x="8517438" y="477900"/>
                </a:cubicBezTo>
                <a:cubicBezTo>
                  <a:pt x="8519568" y="477900"/>
                  <a:pt x="8521299" y="477500"/>
                  <a:pt x="8522763" y="476967"/>
                </a:cubicBezTo>
                <a:cubicBezTo>
                  <a:pt x="8524227" y="476435"/>
                  <a:pt x="8525559" y="475636"/>
                  <a:pt x="8526490" y="474572"/>
                </a:cubicBezTo>
                <a:cubicBezTo>
                  <a:pt x="8527555" y="473506"/>
                  <a:pt x="8528487" y="472175"/>
                  <a:pt x="8529152" y="470445"/>
                </a:cubicBezTo>
                <a:cubicBezTo>
                  <a:pt x="8529818" y="468847"/>
                  <a:pt x="8530084" y="466984"/>
                  <a:pt x="8530084" y="464987"/>
                </a:cubicBezTo>
                <a:cubicBezTo>
                  <a:pt x="8530084" y="463123"/>
                  <a:pt x="8529818" y="461393"/>
                  <a:pt x="8529152" y="459795"/>
                </a:cubicBezTo>
                <a:cubicBezTo>
                  <a:pt x="8528487" y="458065"/>
                  <a:pt x="8527555" y="456734"/>
                  <a:pt x="8526490" y="455536"/>
                </a:cubicBezTo>
                <a:cubicBezTo>
                  <a:pt x="8525425" y="454471"/>
                  <a:pt x="8524094" y="453539"/>
                  <a:pt x="8522496" y="452873"/>
                </a:cubicBezTo>
                <a:cubicBezTo>
                  <a:pt x="8521032" y="452341"/>
                  <a:pt x="8519302" y="451942"/>
                  <a:pt x="8517438" y="451942"/>
                </a:cubicBezTo>
                <a:close/>
                <a:moveTo>
                  <a:pt x="8735083" y="451942"/>
                </a:moveTo>
                <a:cubicBezTo>
                  <a:pt x="8729358" y="451942"/>
                  <a:pt x="8726695" y="453938"/>
                  <a:pt x="8725098" y="455536"/>
                </a:cubicBezTo>
                <a:cubicBezTo>
                  <a:pt x="8722569" y="458198"/>
                  <a:pt x="8721504" y="460993"/>
                  <a:pt x="8721504" y="464987"/>
                </a:cubicBezTo>
                <a:cubicBezTo>
                  <a:pt x="8721504" y="469114"/>
                  <a:pt x="8722569" y="471909"/>
                  <a:pt x="8725098" y="474438"/>
                </a:cubicBezTo>
                <a:cubicBezTo>
                  <a:pt x="8726695" y="476036"/>
                  <a:pt x="8729225" y="477899"/>
                  <a:pt x="8735083" y="477899"/>
                </a:cubicBezTo>
                <a:cubicBezTo>
                  <a:pt x="8737079" y="477899"/>
                  <a:pt x="8738943" y="477500"/>
                  <a:pt x="8740407" y="476967"/>
                </a:cubicBezTo>
                <a:cubicBezTo>
                  <a:pt x="8741872" y="476435"/>
                  <a:pt x="8743203" y="475636"/>
                  <a:pt x="8744134" y="474571"/>
                </a:cubicBezTo>
                <a:cubicBezTo>
                  <a:pt x="8745200" y="473506"/>
                  <a:pt x="8746132" y="472175"/>
                  <a:pt x="8746797" y="470445"/>
                </a:cubicBezTo>
                <a:cubicBezTo>
                  <a:pt x="8747596" y="468847"/>
                  <a:pt x="8747862" y="466984"/>
                  <a:pt x="8747862" y="464987"/>
                </a:cubicBezTo>
                <a:cubicBezTo>
                  <a:pt x="8747862" y="463123"/>
                  <a:pt x="8747462" y="461393"/>
                  <a:pt x="8746797" y="459795"/>
                </a:cubicBezTo>
                <a:cubicBezTo>
                  <a:pt x="8746132" y="458065"/>
                  <a:pt x="8745200" y="456734"/>
                  <a:pt x="8744134" y="455536"/>
                </a:cubicBezTo>
                <a:cubicBezTo>
                  <a:pt x="8743069" y="454471"/>
                  <a:pt x="8741738" y="453539"/>
                  <a:pt x="8740141" y="452873"/>
                </a:cubicBezTo>
                <a:cubicBezTo>
                  <a:pt x="8738677" y="452341"/>
                  <a:pt x="8736946" y="451942"/>
                  <a:pt x="8735083" y="451942"/>
                </a:cubicBezTo>
                <a:close/>
                <a:moveTo>
                  <a:pt x="9170374" y="451942"/>
                </a:moveTo>
                <a:cubicBezTo>
                  <a:pt x="9164649" y="451942"/>
                  <a:pt x="9161986" y="453938"/>
                  <a:pt x="9160389" y="455536"/>
                </a:cubicBezTo>
                <a:cubicBezTo>
                  <a:pt x="9157860" y="458198"/>
                  <a:pt x="9156795" y="460993"/>
                  <a:pt x="9156795" y="464987"/>
                </a:cubicBezTo>
                <a:cubicBezTo>
                  <a:pt x="9156795" y="469114"/>
                  <a:pt x="9157860" y="471909"/>
                  <a:pt x="9160389" y="474438"/>
                </a:cubicBezTo>
                <a:cubicBezTo>
                  <a:pt x="9161986" y="476036"/>
                  <a:pt x="9164516" y="477899"/>
                  <a:pt x="9170374" y="477899"/>
                </a:cubicBezTo>
                <a:cubicBezTo>
                  <a:pt x="9172370" y="477899"/>
                  <a:pt x="9174100" y="477500"/>
                  <a:pt x="9175698" y="476967"/>
                </a:cubicBezTo>
                <a:cubicBezTo>
                  <a:pt x="9177163" y="476435"/>
                  <a:pt x="9178494" y="475636"/>
                  <a:pt x="9179425" y="474571"/>
                </a:cubicBezTo>
                <a:cubicBezTo>
                  <a:pt x="9180491" y="473506"/>
                  <a:pt x="9181422" y="472175"/>
                  <a:pt x="9182088" y="470445"/>
                </a:cubicBezTo>
                <a:cubicBezTo>
                  <a:pt x="9182887" y="468847"/>
                  <a:pt x="9183152" y="466984"/>
                  <a:pt x="9183152" y="464987"/>
                </a:cubicBezTo>
                <a:cubicBezTo>
                  <a:pt x="9183152" y="463123"/>
                  <a:pt x="9182753" y="461393"/>
                  <a:pt x="9182088" y="459795"/>
                </a:cubicBezTo>
                <a:cubicBezTo>
                  <a:pt x="9181422" y="458065"/>
                  <a:pt x="9180491" y="456734"/>
                  <a:pt x="9179425" y="455536"/>
                </a:cubicBezTo>
                <a:cubicBezTo>
                  <a:pt x="9178360" y="454471"/>
                  <a:pt x="9177029" y="453539"/>
                  <a:pt x="9175432" y="452873"/>
                </a:cubicBezTo>
                <a:cubicBezTo>
                  <a:pt x="9173967" y="452341"/>
                  <a:pt x="9172237" y="451942"/>
                  <a:pt x="9170374" y="451942"/>
                </a:cubicBezTo>
                <a:close/>
                <a:moveTo>
                  <a:pt x="8952728" y="451942"/>
                </a:moveTo>
                <a:cubicBezTo>
                  <a:pt x="8947003" y="451942"/>
                  <a:pt x="8944340" y="453938"/>
                  <a:pt x="8942743" y="455536"/>
                </a:cubicBezTo>
                <a:cubicBezTo>
                  <a:pt x="8940214" y="458198"/>
                  <a:pt x="8939150" y="460993"/>
                  <a:pt x="8939150" y="464987"/>
                </a:cubicBezTo>
                <a:cubicBezTo>
                  <a:pt x="8939150" y="469114"/>
                  <a:pt x="8940214" y="471909"/>
                  <a:pt x="8942743" y="474438"/>
                </a:cubicBezTo>
                <a:cubicBezTo>
                  <a:pt x="8944340" y="476036"/>
                  <a:pt x="8946870" y="477899"/>
                  <a:pt x="8952728" y="477899"/>
                </a:cubicBezTo>
                <a:cubicBezTo>
                  <a:pt x="8954725" y="477899"/>
                  <a:pt x="8956589" y="477500"/>
                  <a:pt x="8958053" y="476967"/>
                </a:cubicBezTo>
                <a:cubicBezTo>
                  <a:pt x="8959517" y="476435"/>
                  <a:pt x="8960849" y="475636"/>
                  <a:pt x="8961780" y="474571"/>
                </a:cubicBezTo>
                <a:cubicBezTo>
                  <a:pt x="8962845" y="473506"/>
                  <a:pt x="8963777" y="472175"/>
                  <a:pt x="8964442" y="470445"/>
                </a:cubicBezTo>
                <a:cubicBezTo>
                  <a:pt x="8965241" y="468847"/>
                  <a:pt x="8965507" y="466984"/>
                  <a:pt x="8965507" y="464987"/>
                </a:cubicBezTo>
                <a:cubicBezTo>
                  <a:pt x="8965507" y="463123"/>
                  <a:pt x="8965108" y="461393"/>
                  <a:pt x="8964442" y="459795"/>
                </a:cubicBezTo>
                <a:cubicBezTo>
                  <a:pt x="8963777" y="458065"/>
                  <a:pt x="8962845" y="456734"/>
                  <a:pt x="8961780" y="455536"/>
                </a:cubicBezTo>
                <a:cubicBezTo>
                  <a:pt x="8960715" y="454471"/>
                  <a:pt x="8959384" y="453539"/>
                  <a:pt x="8957786" y="452873"/>
                </a:cubicBezTo>
                <a:cubicBezTo>
                  <a:pt x="8956322" y="452341"/>
                  <a:pt x="8954592" y="451942"/>
                  <a:pt x="8952728" y="451942"/>
                </a:cubicBezTo>
                <a:close/>
                <a:moveTo>
                  <a:pt x="9605531" y="451942"/>
                </a:moveTo>
                <a:cubicBezTo>
                  <a:pt x="9599673" y="451942"/>
                  <a:pt x="9597143" y="453938"/>
                  <a:pt x="9595546" y="455536"/>
                </a:cubicBezTo>
                <a:cubicBezTo>
                  <a:pt x="9593017" y="458198"/>
                  <a:pt x="9591952" y="460993"/>
                  <a:pt x="9591952" y="464987"/>
                </a:cubicBezTo>
                <a:cubicBezTo>
                  <a:pt x="9591952" y="469114"/>
                  <a:pt x="9593017" y="471909"/>
                  <a:pt x="9595546" y="474438"/>
                </a:cubicBezTo>
                <a:cubicBezTo>
                  <a:pt x="9597143" y="476036"/>
                  <a:pt x="9599673" y="477899"/>
                  <a:pt x="9605531" y="477899"/>
                </a:cubicBezTo>
                <a:cubicBezTo>
                  <a:pt x="9607660" y="477899"/>
                  <a:pt x="9609391" y="477500"/>
                  <a:pt x="9610855" y="476967"/>
                </a:cubicBezTo>
                <a:cubicBezTo>
                  <a:pt x="9612319" y="476435"/>
                  <a:pt x="9613651" y="475636"/>
                  <a:pt x="9614582" y="474571"/>
                </a:cubicBezTo>
                <a:cubicBezTo>
                  <a:pt x="9615647" y="473506"/>
                  <a:pt x="9616579" y="472175"/>
                  <a:pt x="9617245" y="470445"/>
                </a:cubicBezTo>
                <a:cubicBezTo>
                  <a:pt x="9618044" y="468847"/>
                  <a:pt x="9618309" y="466984"/>
                  <a:pt x="9618309" y="464987"/>
                </a:cubicBezTo>
                <a:cubicBezTo>
                  <a:pt x="9618309" y="463123"/>
                  <a:pt x="9617910" y="461393"/>
                  <a:pt x="9617245" y="459795"/>
                </a:cubicBezTo>
                <a:cubicBezTo>
                  <a:pt x="9616579" y="458065"/>
                  <a:pt x="9615647" y="456734"/>
                  <a:pt x="9614582" y="455536"/>
                </a:cubicBezTo>
                <a:cubicBezTo>
                  <a:pt x="9613517" y="454471"/>
                  <a:pt x="9612186" y="453539"/>
                  <a:pt x="9610589" y="452873"/>
                </a:cubicBezTo>
                <a:cubicBezTo>
                  <a:pt x="9609124" y="452341"/>
                  <a:pt x="9607394" y="451942"/>
                  <a:pt x="9605531" y="451942"/>
                </a:cubicBezTo>
                <a:close/>
                <a:moveTo>
                  <a:pt x="9387885" y="451942"/>
                </a:moveTo>
                <a:cubicBezTo>
                  <a:pt x="9382027" y="451942"/>
                  <a:pt x="9379497" y="453938"/>
                  <a:pt x="9377900" y="455536"/>
                </a:cubicBezTo>
                <a:cubicBezTo>
                  <a:pt x="9375371" y="458198"/>
                  <a:pt x="9374307" y="460993"/>
                  <a:pt x="9374307" y="464987"/>
                </a:cubicBezTo>
                <a:cubicBezTo>
                  <a:pt x="9374307" y="469114"/>
                  <a:pt x="9375371" y="471909"/>
                  <a:pt x="9377900" y="474438"/>
                </a:cubicBezTo>
                <a:cubicBezTo>
                  <a:pt x="9379497" y="476036"/>
                  <a:pt x="9382027" y="477899"/>
                  <a:pt x="9387885" y="477899"/>
                </a:cubicBezTo>
                <a:cubicBezTo>
                  <a:pt x="9390015" y="477899"/>
                  <a:pt x="9391746" y="477500"/>
                  <a:pt x="9393210" y="476967"/>
                </a:cubicBezTo>
                <a:cubicBezTo>
                  <a:pt x="9394674" y="476435"/>
                  <a:pt x="9396005" y="475636"/>
                  <a:pt x="9396937" y="474571"/>
                </a:cubicBezTo>
                <a:cubicBezTo>
                  <a:pt x="9398002" y="473506"/>
                  <a:pt x="9398934" y="472175"/>
                  <a:pt x="9399599" y="470445"/>
                </a:cubicBezTo>
                <a:cubicBezTo>
                  <a:pt x="9400398" y="468847"/>
                  <a:pt x="9400664" y="466984"/>
                  <a:pt x="9400664" y="464987"/>
                </a:cubicBezTo>
                <a:cubicBezTo>
                  <a:pt x="9400664" y="463123"/>
                  <a:pt x="9400265" y="461393"/>
                  <a:pt x="9399599" y="459795"/>
                </a:cubicBezTo>
                <a:cubicBezTo>
                  <a:pt x="9398934" y="458065"/>
                  <a:pt x="9398002" y="456734"/>
                  <a:pt x="9396937" y="455536"/>
                </a:cubicBezTo>
                <a:cubicBezTo>
                  <a:pt x="9395872" y="454471"/>
                  <a:pt x="9394541" y="453539"/>
                  <a:pt x="9392943" y="452873"/>
                </a:cubicBezTo>
                <a:cubicBezTo>
                  <a:pt x="9391479" y="452341"/>
                  <a:pt x="9389749" y="451942"/>
                  <a:pt x="9387885" y="451942"/>
                </a:cubicBezTo>
                <a:close/>
                <a:moveTo>
                  <a:pt x="10040820" y="451941"/>
                </a:moveTo>
                <a:cubicBezTo>
                  <a:pt x="10034962" y="451941"/>
                  <a:pt x="10032433" y="453937"/>
                  <a:pt x="10030835" y="455535"/>
                </a:cubicBezTo>
                <a:cubicBezTo>
                  <a:pt x="10028306" y="458198"/>
                  <a:pt x="10027242" y="460993"/>
                  <a:pt x="10027242" y="464987"/>
                </a:cubicBezTo>
                <a:cubicBezTo>
                  <a:pt x="10027242" y="469114"/>
                  <a:pt x="10028306" y="471909"/>
                  <a:pt x="10030835" y="474438"/>
                </a:cubicBezTo>
                <a:cubicBezTo>
                  <a:pt x="10032433" y="476036"/>
                  <a:pt x="10034962" y="477899"/>
                  <a:pt x="10040820" y="477899"/>
                </a:cubicBezTo>
                <a:cubicBezTo>
                  <a:pt x="10042817" y="477899"/>
                  <a:pt x="10044681" y="477500"/>
                  <a:pt x="10046145" y="476967"/>
                </a:cubicBezTo>
                <a:cubicBezTo>
                  <a:pt x="10047742" y="476435"/>
                  <a:pt x="10048941" y="475636"/>
                  <a:pt x="10049872" y="474571"/>
                </a:cubicBezTo>
                <a:cubicBezTo>
                  <a:pt x="10050937" y="473506"/>
                  <a:pt x="10051869" y="472175"/>
                  <a:pt x="10052534" y="470445"/>
                </a:cubicBezTo>
                <a:cubicBezTo>
                  <a:pt x="10053333" y="468847"/>
                  <a:pt x="10053599" y="466984"/>
                  <a:pt x="10053599" y="464987"/>
                </a:cubicBezTo>
                <a:cubicBezTo>
                  <a:pt x="10053599" y="463123"/>
                  <a:pt x="10053200" y="461392"/>
                  <a:pt x="10052534" y="459795"/>
                </a:cubicBezTo>
                <a:cubicBezTo>
                  <a:pt x="10051869" y="458065"/>
                  <a:pt x="10050937" y="456734"/>
                  <a:pt x="10049872" y="455535"/>
                </a:cubicBezTo>
                <a:cubicBezTo>
                  <a:pt x="10048807" y="454470"/>
                  <a:pt x="10047476" y="453538"/>
                  <a:pt x="10045878" y="452872"/>
                </a:cubicBezTo>
                <a:cubicBezTo>
                  <a:pt x="10044414" y="452340"/>
                  <a:pt x="10042817" y="451941"/>
                  <a:pt x="10040820" y="451941"/>
                </a:cubicBezTo>
                <a:close/>
                <a:moveTo>
                  <a:pt x="9823176" y="451941"/>
                </a:moveTo>
                <a:cubicBezTo>
                  <a:pt x="9817318" y="451941"/>
                  <a:pt x="9814788" y="453937"/>
                  <a:pt x="9813191" y="455535"/>
                </a:cubicBezTo>
                <a:cubicBezTo>
                  <a:pt x="9810662" y="458198"/>
                  <a:pt x="9809597" y="460993"/>
                  <a:pt x="9809597" y="464987"/>
                </a:cubicBezTo>
                <a:cubicBezTo>
                  <a:pt x="9809597" y="469114"/>
                  <a:pt x="9810662" y="471909"/>
                  <a:pt x="9813191" y="474438"/>
                </a:cubicBezTo>
                <a:cubicBezTo>
                  <a:pt x="9814788" y="476036"/>
                  <a:pt x="9817318" y="477899"/>
                  <a:pt x="9823176" y="477899"/>
                </a:cubicBezTo>
                <a:cubicBezTo>
                  <a:pt x="9825173" y="477899"/>
                  <a:pt x="9827036" y="477500"/>
                  <a:pt x="9828501" y="476967"/>
                </a:cubicBezTo>
                <a:cubicBezTo>
                  <a:pt x="9830098" y="476435"/>
                  <a:pt x="9831296" y="475636"/>
                  <a:pt x="9832227" y="474571"/>
                </a:cubicBezTo>
                <a:cubicBezTo>
                  <a:pt x="9833293" y="473506"/>
                  <a:pt x="9834225" y="472175"/>
                  <a:pt x="9834890" y="470445"/>
                </a:cubicBezTo>
                <a:cubicBezTo>
                  <a:pt x="9835689" y="468847"/>
                  <a:pt x="9835955" y="466984"/>
                  <a:pt x="9835955" y="464987"/>
                </a:cubicBezTo>
                <a:cubicBezTo>
                  <a:pt x="9835955" y="463123"/>
                  <a:pt x="9835555" y="461393"/>
                  <a:pt x="9834890" y="459795"/>
                </a:cubicBezTo>
                <a:cubicBezTo>
                  <a:pt x="9834225" y="458065"/>
                  <a:pt x="9833293" y="456734"/>
                  <a:pt x="9832227" y="455535"/>
                </a:cubicBezTo>
                <a:cubicBezTo>
                  <a:pt x="9831162" y="454471"/>
                  <a:pt x="9829831" y="453539"/>
                  <a:pt x="9828234" y="452872"/>
                </a:cubicBezTo>
                <a:cubicBezTo>
                  <a:pt x="9826770" y="452341"/>
                  <a:pt x="9825173" y="451941"/>
                  <a:pt x="9823176" y="451941"/>
                </a:cubicBezTo>
                <a:close/>
                <a:moveTo>
                  <a:pt x="10475977" y="451941"/>
                </a:moveTo>
                <a:cubicBezTo>
                  <a:pt x="10470119" y="451941"/>
                  <a:pt x="10467589" y="453937"/>
                  <a:pt x="10465992" y="455535"/>
                </a:cubicBezTo>
                <a:cubicBezTo>
                  <a:pt x="10463463" y="458197"/>
                  <a:pt x="10462399" y="460992"/>
                  <a:pt x="10462399" y="464986"/>
                </a:cubicBezTo>
                <a:cubicBezTo>
                  <a:pt x="10462399" y="469113"/>
                  <a:pt x="10463463" y="471908"/>
                  <a:pt x="10465992" y="474438"/>
                </a:cubicBezTo>
                <a:cubicBezTo>
                  <a:pt x="10467589" y="476036"/>
                  <a:pt x="10470119" y="477899"/>
                  <a:pt x="10475977" y="477899"/>
                </a:cubicBezTo>
                <a:cubicBezTo>
                  <a:pt x="10478107" y="477899"/>
                  <a:pt x="10479838" y="477500"/>
                  <a:pt x="10481302" y="476967"/>
                </a:cubicBezTo>
                <a:cubicBezTo>
                  <a:pt x="10482899" y="476435"/>
                  <a:pt x="10484098" y="475635"/>
                  <a:pt x="10485029" y="474571"/>
                </a:cubicBezTo>
                <a:cubicBezTo>
                  <a:pt x="10486094" y="473506"/>
                  <a:pt x="10487026" y="472174"/>
                  <a:pt x="10487691" y="470444"/>
                </a:cubicBezTo>
                <a:cubicBezTo>
                  <a:pt x="10488357" y="468846"/>
                  <a:pt x="10488623" y="466983"/>
                  <a:pt x="10488623" y="464986"/>
                </a:cubicBezTo>
                <a:cubicBezTo>
                  <a:pt x="10488623" y="463122"/>
                  <a:pt x="10488357" y="461392"/>
                  <a:pt x="10487691" y="459794"/>
                </a:cubicBezTo>
                <a:cubicBezTo>
                  <a:pt x="10487026" y="458064"/>
                  <a:pt x="10486094" y="456733"/>
                  <a:pt x="10485029" y="455535"/>
                </a:cubicBezTo>
                <a:cubicBezTo>
                  <a:pt x="10483964" y="454470"/>
                  <a:pt x="10482633" y="453538"/>
                  <a:pt x="10481035" y="452872"/>
                </a:cubicBezTo>
                <a:cubicBezTo>
                  <a:pt x="10479571" y="452340"/>
                  <a:pt x="10477974" y="451941"/>
                  <a:pt x="10475977" y="451941"/>
                </a:cubicBezTo>
                <a:close/>
                <a:moveTo>
                  <a:pt x="10258466" y="451941"/>
                </a:moveTo>
                <a:cubicBezTo>
                  <a:pt x="10252608" y="451941"/>
                  <a:pt x="10250078" y="453937"/>
                  <a:pt x="10248481" y="455535"/>
                </a:cubicBezTo>
                <a:cubicBezTo>
                  <a:pt x="10245952" y="458197"/>
                  <a:pt x="10244887" y="460992"/>
                  <a:pt x="10244887" y="464986"/>
                </a:cubicBezTo>
                <a:cubicBezTo>
                  <a:pt x="10244887" y="469113"/>
                  <a:pt x="10245952" y="471909"/>
                  <a:pt x="10248481" y="474438"/>
                </a:cubicBezTo>
                <a:cubicBezTo>
                  <a:pt x="10250078" y="476036"/>
                  <a:pt x="10252608" y="477899"/>
                  <a:pt x="10258466" y="477899"/>
                </a:cubicBezTo>
                <a:cubicBezTo>
                  <a:pt x="10260462" y="477899"/>
                  <a:pt x="10262192" y="477500"/>
                  <a:pt x="10263790" y="476967"/>
                </a:cubicBezTo>
                <a:cubicBezTo>
                  <a:pt x="10265388" y="476435"/>
                  <a:pt x="10266586" y="475636"/>
                  <a:pt x="10267517" y="474571"/>
                </a:cubicBezTo>
                <a:cubicBezTo>
                  <a:pt x="10268583" y="473506"/>
                  <a:pt x="10269515" y="472175"/>
                  <a:pt x="10270180" y="470445"/>
                </a:cubicBezTo>
                <a:cubicBezTo>
                  <a:pt x="10270845" y="468846"/>
                  <a:pt x="10271112" y="466983"/>
                  <a:pt x="10271112" y="464986"/>
                </a:cubicBezTo>
                <a:cubicBezTo>
                  <a:pt x="10271112" y="463122"/>
                  <a:pt x="10270845" y="461392"/>
                  <a:pt x="10270180" y="459794"/>
                </a:cubicBezTo>
                <a:cubicBezTo>
                  <a:pt x="10269515" y="458064"/>
                  <a:pt x="10268583" y="456733"/>
                  <a:pt x="10267517" y="455535"/>
                </a:cubicBezTo>
                <a:cubicBezTo>
                  <a:pt x="10266452" y="454470"/>
                  <a:pt x="10265121" y="453538"/>
                  <a:pt x="10263524" y="452872"/>
                </a:cubicBezTo>
                <a:cubicBezTo>
                  <a:pt x="10262060" y="452340"/>
                  <a:pt x="10260462" y="451941"/>
                  <a:pt x="10258466" y="451941"/>
                </a:cubicBezTo>
                <a:close/>
                <a:moveTo>
                  <a:pt x="30232" y="435306"/>
                </a:moveTo>
                <a:cubicBezTo>
                  <a:pt x="34492" y="435306"/>
                  <a:pt x="38486" y="435972"/>
                  <a:pt x="41947" y="437968"/>
                </a:cubicBezTo>
                <a:cubicBezTo>
                  <a:pt x="45674" y="439566"/>
                  <a:pt x="48736" y="441696"/>
                  <a:pt x="51266" y="444358"/>
                </a:cubicBezTo>
                <a:cubicBezTo>
                  <a:pt x="53928" y="446887"/>
                  <a:pt x="55925" y="450082"/>
                  <a:pt x="57389" y="453676"/>
                </a:cubicBezTo>
                <a:cubicBezTo>
                  <a:pt x="58853" y="457270"/>
                  <a:pt x="59652" y="461131"/>
                  <a:pt x="59652" y="465124"/>
                </a:cubicBezTo>
                <a:cubicBezTo>
                  <a:pt x="59652" y="469251"/>
                  <a:pt x="58853" y="473245"/>
                  <a:pt x="57389" y="476839"/>
                </a:cubicBezTo>
                <a:cubicBezTo>
                  <a:pt x="55925" y="480433"/>
                  <a:pt x="53795" y="483495"/>
                  <a:pt x="51266" y="486157"/>
                </a:cubicBezTo>
                <a:cubicBezTo>
                  <a:pt x="48602" y="488820"/>
                  <a:pt x="45542" y="490950"/>
                  <a:pt x="41947" y="492414"/>
                </a:cubicBezTo>
                <a:cubicBezTo>
                  <a:pt x="38353" y="493878"/>
                  <a:pt x="34492" y="494677"/>
                  <a:pt x="30232" y="494677"/>
                </a:cubicBezTo>
                <a:cubicBezTo>
                  <a:pt x="21314" y="494677"/>
                  <a:pt x="13992" y="491748"/>
                  <a:pt x="8401" y="486157"/>
                </a:cubicBezTo>
                <a:cubicBezTo>
                  <a:pt x="2810" y="480567"/>
                  <a:pt x="15" y="473511"/>
                  <a:pt x="15" y="464991"/>
                </a:cubicBezTo>
                <a:cubicBezTo>
                  <a:pt x="15" y="456738"/>
                  <a:pt x="2810" y="449683"/>
                  <a:pt x="8401" y="443959"/>
                </a:cubicBezTo>
                <a:cubicBezTo>
                  <a:pt x="13992" y="438235"/>
                  <a:pt x="21180" y="435306"/>
                  <a:pt x="30232" y="435306"/>
                </a:cubicBezTo>
                <a:close/>
                <a:moveTo>
                  <a:pt x="247877" y="435306"/>
                </a:moveTo>
                <a:cubicBezTo>
                  <a:pt x="252137" y="435306"/>
                  <a:pt x="256131" y="435972"/>
                  <a:pt x="259592" y="437968"/>
                </a:cubicBezTo>
                <a:cubicBezTo>
                  <a:pt x="263319" y="439566"/>
                  <a:pt x="266381" y="441696"/>
                  <a:pt x="268910" y="444358"/>
                </a:cubicBezTo>
                <a:cubicBezTo>
                  <a:pt x="271572" y="446887"/>
                  <a:pt x="273569" y="450082"/>
                  <a:pt x="275033" y="453676"/>
                </a:cubicBezTo>
                <a:cubicBezTo>
                  <a:pt x="276497" y="457270"/>
                  <a:pt x="277296" y="461131"/>
                  <a:pt x="277296" y="465124"/>
                </a:cubicBezTo>
                <a:cubicBezTo>
                  <a:pt x="277296" y="469251"/>
                  <a:pt x="276497" y="473244"/>
                  <a:pt x="275033" y="476838"/>
                </a:cubicBezTo>
                <a:cubicBezTo>
                  <a:pt x="273569" y="480433"/>
                  <a:pt x="271439" y="483495"/>
                  <a:pt x="268910" y="486157"/>
                </a:cubicBezTo>
                <a:cubicBezTo>
                  <a:pt x="266247" y="488820"/>
                  <a:pt x="263186" y="490950"/>
                  <a:pt x="259592" y="492414"/>
                </a:cubicBezTo>
                <a:cubicBezTo>
                  <a:pt x="255997" y="493878"/>
                  <a:pt x="252137" y="494677"/>
                  <a:pt x="247877" y="494677"/>
                </a:cubicBezTo>
                <a:cubicBezTo>
                  <a:pt x="238959" y="494677"/>
                  <a:pt x="231636" y="491748"/>
                  <a:pt x="226045" y="486157"/>
                </a:cubicBezTo>
                <a:cubicBezTo>
                  <a:pt x="220454" y="480567"/>
                  <a:pt x="217659" y="473511"/>
                  <a:pt x="217659" y="464991"/>
                </a:cubicBezTo>
                <a:cubicBezTo>
                  <a:pt x="217659" y="456738"/>
                  <a:pt x="220454" y="449683"/>
                  <a:pt x="226045" y="443959"/>
                </a:cubicBezTo>
                <a:cubicBezTo>
                  <a:pt x="231636" y="438235"/>
                  <a:pt x="238824" y="435306"/>
                  <a:pt x="247877" y="435306"/>
                </a:cubicBezTo>
                <a:close/>
                <a:moveTo>
                  <a:pt x="465521" y="435306"/>
                </a:moveTo>
                <a:cubicBezTo>
                  <a:pt x="469781" y="435306"/>
                  <a:pt x="473641" y="435972"/>
                  <a:pt x="477236" y="437968"/>
                </a:cubicBezTo>
                <a:cubicBezTo>
                  <a:pt x="480963" y="439566"/>
                  <a:pt x="484025" y="441696"/>
                  <a:pt x="486554" y="444358"/>
                </a:cubicBezTo>
                <a:cubicBezTo>
                  <a:pt x="489216" y="446887"/>
                  <a:pt x="491214" y="450082"/>
                  <a:pt x="492678" y="453676"/>
                </a:cubicBezTo>
                <a:cubicBezTo>
                  <a:pt x="494142" y="457270"/>
                  <a:pt x="494941" y="461131"/>
                  <a:pt x="494941" y="465124"/>
                </a:cubicBezTo>
                <a:cubicBezTo>
                  <a:pt x="494941" y="469251"/>
                  <a:pt x="494142" y="473244"/>
                  <a:pt x="492678" y="476838"/>
                </a:cubicBezTo>
                <a:cubicBezTo>
                  <a:pt x="491214" y="480432"/>
                  <a:pt x="489084" y="483495"/>
                  <a:pt x="486554" y="486157"/>
                </a:cubicBezTo>
                <a:cubicBezTo>
                  <a:pt x="483891" y="488819"/>
                  <a:pt x="480830" y="490950"/>
                  <a:pt x="477236" y="492414"/>
                </a:cubicBezTo>
                <a:cubicBezTo>
                  <a:pt x="473641" y="493878"/>
                  <a:pt x="469781" y="494677"/>
                  <a:pt x="465521" y="494677"/>
                </a:cubicBezTo>
                <a:cubicBezTo>
                  <a:pt x="456603" y="494677"/>
                  <a:pt x="449281" y="491748"/>
                  <a:pt x="443690" y="486157"/>
                </a:cubicBezTo>
                <a:cubicBezTo>
                  <a:pt x="438099" y="480567"/>
                  <a:pt x="435304" y="473510"/>
                  <a:pt x="435304" y="464991"/>
                </a:cubicBezTo>
                <a:cubicBezTo>
                  <a:pt x="435304" y="456738"/>
                  <a:pt x="438099" y="449683"/>
                  <a:pt x="443690" y="443959"/>
                </a:cubicBezTo>
                <a:cubicBezTo>
                  <a:pt x="449281" y="438235"/>
                  <a:pt x="456470" y="435306"/>
                  <a:pt x="465521" y="435306"/>
                </a:cubicBezTo>
                <a:close/>
                <a:moveTo>
                  <a:pt x="683166" y="435306"/>
                </a:moveTo>
                <a:cubicBezTo>
                  <a:pt x="687426" y="435306"/>
                  <a:pt x="691287" y="435972"/>
                  <a:pt x="694881" y="437968"/>
                </a:cubicBezTo>
                <a:cubicBezTo>
                  <a:pt x="698608" y="439566"/>
                  <a:pt x="701670" y="441696"/>
                  <a:pt x="704199" y="444358"/>
                </a:cubicBezTo>
                <a:cubicBezTo>
                  <a:pt x="706861" y="446887"/>
                  <a:pt x="708858" y="450082"/>
                  <a:pt x="710322" y="453676"/>
                </a:cubicBezTo>
                <a:cubicBezTo>
                  <a:pt x="711786" y="457270"/>
                  <a:pt x="712585" y="461131"/>
                  <a:pt x="712585" y="465124"/>
                </a:cubicBezTo>
                <a:cubicBezTo>
                  <a:pt x="712585" y="469251"/>
                  <a:pt x="711786" y="473244"/>
                  <a:pt x="710322" y="476838"/>
                </a:cubicBezTo>
                <a:cubicBezTo>
                  <a:pt x="708858" y="480432"/>
                  <a:pt x="706728" y="483494"/>
                  <a:pt x="704199" y="486157"/>
                </a:cubicBezTo>
                <a:cubicBezTo>
                  <a:pt x="701670" y="488819"/>
                  <a:pt x="698475" y="490950"/>
                  <a:pt x="694881" y="492414"/>
                </a:cubicBezTo>
                <a:cubicBezTo>
                  <a:pt x="691287" y="493878"/>
                  <a:pt x="687426" y="494677"/>
                  <a:pt x="683166" y="494677"/>
                </a:cubicBezTo>
                <a:cubicBezTo>
                  <a:pt x="674247" y="494677"/>
                  <a:pt x="666925" y="491747"/>
                  <a:pt x="661334" y="486157"/>
                </a:cubicBezTo>
                <a:cubicBezTo>
                  <a:pt x="655743" y="480566"/>
                  <a:pt x="652948" y="473510"/>
                  <a:pt x="652948" y="464991"/>
                </a:cubicBezTo>
                <a:cubicBezTo>
                  <a:pt x="652948" y="456738"/>
                  <a:pt x="655743" y="449683"/>
                  <a:pt x="661334" y="443959"/>
                </a:cubicBezTo>
                <a:cubicBezTo>
                  <a:pt x="666925" y="438235"/>
                  <a:pt x="674114" y="435306"/>
                  <a:pt x="683166" y="435306"/>
                </a:cubicBezTo>
                <a:close/>
                <a:moveTo>
                  <a:pt x="900810" y="435305"/>
                </a:moveTo>
                <a:cubicBezTo>
                  <a:pt x="904937" y="435305"/>
                  <a:pt x="908931" y="435971"/>
                  <a:pt x="912525" y="437967"/>
                </a:cubicBezTo>
                <a:cubicBezTo>
                  <a:pt x="916252" y="439566"/>
                  <a:pt x="919314" y="441696"/>
                  <a:pt x="921843" y="444358"/>
                </a:cubicBezTo>
                <a:cubicBezTo>
                  <a:pt x="924505" y="446887"/>
                  <a:pt x="926502" y="450082"/>
                  <a:pt x="927966" y="453676"/>
                </a:cubicBezTo>
                <a:cubicBezTo>
                  <a:pt x="929431" y="457270"/>
                  <a:pt x="930229" y="461131"/>
                  <a:pt x="930229" y="465124"/>
                </a:cubicBezTo>
                <a:cubicBezTo>
                  <a:pt x="930229" y="469251"/>
                  <a:pt x="929431" y="473244"/>
                  <a:pt x="927966" y="476838"/>
                </a:cubicBezTo>
                <a:cubicBezTo>
                  <a:pt x="926502" y="480432"/>
                  <a:pt x="924372" y="483494"/>
                  <a:pt x="921843" y="486156"/>
                </a:cubicBezTo>
                <a:cubicBezTo>
                  <a:pt x="919314" y="488819"/>
                  <a:pt x="916119" y="490949"/>
                  <a:pt x="912525" y="492413"/>
                </a:cubicBezTo>
                <a:cubicBezTo>
                  <a:pt x="908931" y="493878"/>
                  <a:pt x="905070" y="494677"/>
                  <a:pt x="900810" y="494677"/>
                </a:cubicBezTo>
                <a:cubicBezTo>
                  <a:pt x="891892" y="494677"/>
                  <a:pt x="884570" y="491747"/>
                  <a:pt x="878979" y="486156"/>
                </a:cubicBezTo>
                <a:cubicBezTo>
                  <a:pt x="873389" y="480566"/>
                  <a:pt x="870593" y="473510"/>
                  <a:pt x="870593" y="464991"/>
                </a:cubicBezTo>
                <a:cubicBezTo>
                  <a:pt x="870593" y="456738"/>
                  <a:pt x="873389" y="449683"/>
                  <a:pt x="878979" y="443959"/>
                </a:cubicBezTo>
                <a:cubicBezTo>
                  <a:pt x="884570" y="438235"/>
                  <a:pt x="891759" y="435305"/>
                  <a:pt x="900810" y="435305"/>
                </a:cubicBezTo>
                <a:close/>
                <a:moveTo>
                  <a:pt x="1118322" y="435305"/>
                </a:moveTo>
                <a:cubicBezTo>
                  <a:pt x="1122582" y="435305"/>
                  <a:pt x="1126576" y="435971"/>
                  <a:pt x="1130037" y="437967"/>
                </a:cubicBezTo>
                <a:cubicBezTo>
                  <a:pt x="1133764" y="439565"/>
                  <a:pt x="1136826" y="441695"/>
                  <a:pt x="1139356" y="444358"/>
                </a:cubicBezTo>
                <a:cubicBezTo>
                  <a:pt x="1142017" y="446887"/>
                  <a:pt x="1144014" y="450082"/>
                  <a:pt x="1145478" y="453676"/>
                </a:cubicBezTo>
                <a:cubicBezTo>
                  <a:pt x="1146943" y="457270"/>
                  <a:pt x="1147741" y="461131"/>
                  <a:pt x="1147741" y="465124"/>
                </a:cubicBezTo>
                <a:cubicBezTo>
                  <a:pt x="1147741" y="469251"/>
                  <a:pt x="1146943" y="473244"/>
                  <a:pt x="1145478" y="476838"/>
                </a:cubicBezTo>
                <a:cubicBezTo>
                  <a:pt x="1144014" y="480432"/>
                  <a:pt x="1141884" y="483494"/>
                  <a:pt x="1139356" y="486156"/>
                </a:cubicBezTo>
                <a:cubicBezTo>
                  <a:pt x="1136826" y="488819"/>
                  <a:pt x="1133631" y="490949"/>
                  <a:pt x="1130037" y="492413"/>
                </a:cubicBezTo>
                <a:cubicBezTo>
                  <a:pt x="1126442" y="493877"/>
                  <a:pt x="1122582" y="494676"/>
                  <a:pt x="1118322" y="494676"/>
                </a:cubicBezTo>
                <a:cubicBezTo>
                  <a:pt x="1109403" y="494676"/>
                  <a:pt x="1102081" y="491747"/>
                  <a:pt x="1096490" y="486156"/>
                </a:cubicBezTo>
                <a:cubicBezTo>
                  <a:pt x="1090899" y="480566"/>
                  <a:pt x="1088104" y="473510"/>
                  <a:pt x="1088104" y="464991"/>
                </a:cubicBezTo>
                <a:cubicBezTo>
                  <a:pt x="1088104" y="456738"/>
                  <a:pt x="1090899" y="449683"/>
                  <a:pt x="1096490" y="443959"/>
                </a:cubicBezTo>
                <a:cubicBezTo>
                  <a:pt x="1102081" y="438234"/>
                  <a:pt x="1109270" y="435305"/>
                  <a:pt x="1118322" y="435305"/>
                </a:cubicBezTo>
                <a:close/>
                <a:moveTo>
                  <a:pt x="1335967" y="435305"/>
                </a:moveTo>
                <a:cubicBezTo>
                  <a:pt x="1340227" y="435305"/>
                  <a:pt x="1344087" y="436370"/>
                  <a:pt x="1347682" y="437967"/>
                </a:cubicBezTo>
                <a:cubicBezTo>
                  <a:pt x="1351276" y="439565"/>
                  <a:pt x="1354471" y="441695"/>
                  <a:pt x="1357001" y="444357"/>
                </a:cubicBezTo>
                <a:cubicBezTo>
                  <a:pt x="1359662" y="446886"/>
                  <a:pt x="1361659" y="450082"/>
                  <a:pt x="1363123" y="453676"/>
                </a:cubicBezTo>
                <a:cubicBezTo>
                  <a:pt x="1364588" y="457270"/>
                  <a:pt x="1365386" y="461131"/>
                  <a:pt x="1365386" y="465124"/>
                </a:cubicBezTo>
                <a:cubicBezTo>
                  <a:pt x="1365386" y="469251"/>
                  <a:pt x="1364588" y="473244"/>
                  <a:pt x="1363123" y="476838"/>
                </a:cubicBezTo>
                <a:cubicBezTo>
                  <a:pt x="1361659" y="480432"/>
                  <a:pt x="1359529" y="483494"/>
                  <a:pt x="1357001" y="486156"/>
                </a:cubicBezTo>
                <a:cubicBezTo>
                  <a:pt x="1354337" y="488819"/>
                  <a:pt x="1351276" y="490949"/>
                  <a:pt x="1347682" y="492413"/>
                </a:cubicBezTo>
                <a:cubicBezTo>
                  <a:pt x="1344087" y="493877"/>
                  <a:pt x="1340227" y="494676"/>
                  <a:pt x="1335967" y="494676"/>
                </a:cubicBezTo>
                <a:cubicBezTo>
                  <a:pt x="1327047" y="494676"/>
                  <a:pt x="1319726" y="491747"/>
                  <a:pt x="1314136" y="486156"/>
                </a:cubicBezTo>
                <a:cubicBezTo>
                  <a:pt x="1308544" y="480566"/>
                  <a:pt x="1305749" y="473510"/>
                  <a:pt x="1305749" y="464991"/>
                </a:cubicBezTo>
                <a:cubicBezTo>
                  <a:pt x="1305749" y="456738"/>
                  <a:pt x="1308544" y="449682"/>
                  <a:pt x="1314136" y="443958"/>
                </a:cubicBezTo>
                <a:cubicBezTo>
                  <a:pt x="1319726" y="438234"/>
                  <a:pt x="1326914" y="435305"/>
                  <a:pt x="1335967" y="435305"/>
                </a:cubicBezTo>
                <a:close/>
                <a:moveTo>
                  <a:pt x="1553612" y="435305"/>
                </a:moveTo>
                <a:cubicBezTo>
                  <a:pt x="1557872" y="435305"/>
                  <a:pt x="1561733" y="436370"/>
                  <a:pt x="1565327" y="437967"/>
                </a:cubicBezTo>
                <a:cubicBezTo>
                  <a:pt x="1568921" y="439565"/>
                  <a:pt x="1572116" y="441695"/>
                  <a:pt x="1574645" y="444357"/>
                </a:cubicBezTo>
                <a:cubicBezTo>
                  <a:pt x="1577307" y="446886"/>
                  <a:pt x="1579304" y="450081"/>
                  <a:pt x="1580768" y="453676"/>
                </a:cubicBezTo>
                <a:cubicBezTo>
                  <a:pt x="1582232" y="457269"/>
                  <a:pt x="1583031" y="461131"/>
                  <a:pt x="1583031" y="465124"/>
                </a:cubicBezTo>
                <a:cubicBezTo>
                  <a:pt x="1583031" y="469251"/>
                  <a:pt x="1582232" y="473244"/>
                  <a:pt x="1580768" y="476838"/>
                </a:cubicBezTo>
                <a:cubicBezTo>
                  <a:pt x="1579304" y="480432"/>
                  <a:pt x="1577174" y="483494"/>
                  <a:pt x="1574645" y="486156"/>
                </a:cubicBezTo>
                <a:cubicBezTo>
                  <a:pt x="1571983" y="488819"/>
                  <a:pt x="1568921" y="490949"/>
                  <a:pt x="1565327" y="492413"/>
                </a:cubicBezTo>
                <a:cubicBezTo>
                  <a:pt x="1561733" y="493877"/>
                  <a:pt x="1557872" y="494676"/>
                  <a:pt x="1553612" y="494676"/>
                </a:cubicBezTo>
                <a:cubicBezTo>
                  <a:pt x="1544693" y="494676"/>
                  <a:pt x="1537371" y="491747"/>
                  <a:pt x="1531780" y="486156"/>
                </a:cubicBezTo>
                <a:cubicBezTo>
                  <a:pt x="1526190" y="480566"/>
                  <a:pt x="1523394" y="473510"/>
                  <a:pt x="1523394" y="464991"/>
                </a:cubicBezTo>
                <a:cubicBezTo>
                  <a:pt x="1523394" y="456738"/>
                  <a:pt x="1526190" y="449682"/>
                  <a:pt x="1531780" y="443958"/>
                </a:cubicBezTo>
                <a:cubicBezTo>
                  <a:pt x="1537371" y="438234"/>
                  <a:pt x="1544559" y="435305"/>
                  <a:pt x="1553612" y="435305"/>
                </a:cubicBezTo>
                <a:close/>
                <a:moveTo>
                  <a:pt x="1771256" y="435305"/>
                </a:moveTo>
                <a:cubicBezTo>
                  <a:pt x="1775516" y="435305"/>
                  <a:pt x="1779377" y="435971"/>
                  <a:pt x="1782971" y="437967"/>
                </a:cubicBezTo>
                <a:cubicBezTo>
                  <a:pt x="1786699" y="439565"/>
                  <a:pt x="1789761" y="441695"/>
                  <a:pt x="1792289" y="444357"/>
                </a:cubicBezTo>
                <a:cubicBezTo>
                  <a:pt x="1794951" y="446886"/>
                  <a:pt x="1796949" y="450081"/>
                  <a:pt x="1798413" y="453675"/>
                </a:cubicBezTo>
                <a:cubicBezTo>
                  <a:pt x="1799877" y="457269"/>
                  <a:pt x="1800676" y="461130"/>
                  <a:pt x="1800676" y="465123"/>
                </a:cubicBezTo>
                <a:cubicBezTo>
                  <a:pt x="1800676" y="469251"/>
                  <a:pt x="1799877" y="473244"/>
                  <a:pt x="1798413" y="476838"/>
                </a:cubicBezTo>
                <a:cubicBezTo>
                  <a:pt x="1796949" y="480432"/>
                  <a:pt x="1794819" y="483494"/>
                  <a:pt x="1792289" y="486156"/>
                </a:cubicBezTo>
                <a:cubicBezTo>
                  <a:pt x="1789627" y="488819"/>
                  <a:pt x="1786566" y="490949"/>
                  <a:pt x="1782971" y="492413"/>
                </a:cubicBezTo>
                <a:cubicBezTo>
                  <a:pt x="1779377" y="493877"/>
                  <a:pt x="1775516" y="494676"/>
                  <a:pt x="1771256" y="494676"/>
                </a:cubicBezTo>
                <a:cubicBezTo>
                  <a:pt x="1762337" y="494676"/>
                  <a:pt x="1755016" y="491747"/>
                  <a:pt x="1749425" y="486156"/>
                </a:cubicBezTo>
                <a:cubicBezTo>
                  <a:pt x="1743834" y="480566"/>
                  <a:pt x="1741040" y="473510"/>
                  <a:pt x="1741040" y="464991"/>
                </a:cubicBezTo>
                <a:cubicBezTo>
                  <a:pt x="1741040" y="456737"/>
                  <a:pt x="1743834" y="449682"/>
                  <a:pt x="1749425" y="443958"/>
                </a:cubicBezTo>
                <a:cubicBezTo>
                  <a:pt x="1755016" y="438234"/>
                  <a:pt x="1762204" y="435305"/>
                  <a:pt x="1771256" y="435305"/>
                </a:cubicBezTo>
                <a:close/>
                <a:moveTo>
                  <a:pt x="1988900" y="435305"/>
                </a:moveTo>
                <a:cubicBezTo>
                  <a:pt x="1993027" y="435305"/>
                  <a:pt x="1997021" y="435971"/>
                  <a:pt x="2000616" y="437967"/>
                </a:cubicBezTo>
                <a:cubicBezTo>
                  <a:pt x="2004342" y="439565"/>
                  <a:pt x="2007404" y="441695"/>
                  <a:pt x="2009934" y="444357"/>
                </a:cubicBezTo>
                <a:cubicBezTo>
                  <a:pt x="2012595" y="446886"/>
                  <a:pt x="2014593" y="450081"/>
                  <a:pt x="2016057" y="453675"/>
                </a:cubicBezTo>
                <a:cubicBezTo>
                  <a:pt x="2017521" y="457269"/>
                  <a:pt x="2018320" y="461130"/>
                  <a:pt x="2018320" y="465123"/>
                </a:cubicBezTo>
                <a:cubicBezTo>
                  <a:pt x="2018320" y="469250"/>
                  <a:pt x="2017521" y="473244"/>
                  <a:pt x="2016057" y="476838"/>
                </a:cubicBezTo>
                <a:cubicBezTo>
                  <a:pt x="2014593" y="480432"/>
                  <a:pt x="2012463" y="483494"/>
                  <a:pt x="2009934" y="486156"/>
                </a:cubicBezTo>
                <a:cubicBezTo>
                  <a:pt x="2007404" y="488819"/>
                  <a:pt x="2004209" y="490949"/>
                  <a:pt x="2000616" y="492413"/>
                </a:cubicBezTo>
                <a:cubicBezTo>
                  <a:pt x="1997021" y="493877"/>
                  <a:pt x="1993160" y="494676"/>
                  <a:pt x="1988900" y="494676"/>
                </a:cubicBezTo>
                <a:cubicBezTo>
                  <a:pt x="1979849" y="494676"/>
                  <a:pt x="1972660" y="491747"/>
                  <a:pt x="1967069" y="486156"/>
                </a:cubicBezTo>
                <a:cubicBezTo>
                  <a:pt x="1961478" y="480566"/>
                  <a:pt x="1958683" y="473510"/>
                  <a:pt x="1958683" y="464990"/>
                </a:cubicBezTo>
                <a:cubicBezTo>
                  <a:pt x="1958683" y="456737"/>
                  <a:pt x="1961478" y="449682"/>
                  <a:pt x="1967069" y="443958"/>
                </a:cubicBezTo>
                <a:cubicBezTo>
                  <a:pt x="1972660" y="438234"/>
                  <a:pt x="1979849" y="435305"/>
                  <a:pt x="1988900" y="435305"/>
                </a:cubicBezTo>
                <a:close/>
                <a:moveTo>
                  <a:pt x="2206414" y="435305"/>
                </a:moveTo>
                <a:cubicBezTo>
                  <a:pt x="2210674" y="435305"/>
                  <a:pt x="2214668" y="435971"/>
                  <a:pt x="2218129" y="437967"/>
                </a:cubicBezTo>
                <a:cubicBezTo>
                  <a:pt x="2221856" y="439565"/>
                  <a:pt x="2224917" y="441695"/>
                  <a:pt x="2227447" y="444357"/>
                </a:cubicBezTo>
                <a:cubicBezTo>
                  <a:pt x="2230109" y="446886"/>
                  <a:pt x="2232106" y="450081"/>
                  <a:pt x="2233570" y="453675"/>
                </a:cubicBezTo>
                <a:cubicBezTo>
                  <a:pt x="2235034" y="457269"/>
                  <a:pt x="2235833" y="461130"/>
                  <a:pt x="2235833" y="465123"/>
                </a:cubicBezTo>
                <a:cubicBezTo>
                  <a:pt x="2235833" y="469250"/>
                  <a:pt x="2235034" y="473243"/>
                  <a:pt x="2233570" y="476838"/>
                </a:cubicBezTo>
                <a:cubicBezTo>
                  <a:pt x="2232106" y="480432"/>
                  <a:pt x="2229976" y="483494"/>
                  <a:pt x="2227447" y="486156"/>
                </a:cubicBezTo>
                <a:cubicBezTo>
                  <a:pt x="2224917" y="488819"/>
                  <a:pt x="2221723" y="490949"/>
                  <a:pt x="2218129" y="492413"/>
                </a:cubicBezTo>
                <a:cubicBezTo>
                  <a:pt x="2214534" y="493877"/>
                  <a:pt x="2210674" y="494676"/>
                  <a:pt x="2206414" y="494676"/>
                </a:cubicBezTo>
                <a:cubicBezTo>
                  <a:pt x="2197361" y="494676"/>
                  <a:pt x="2190173" y="491747"/>
                  <a:pt x="2184583" y="486156"/>
                </a:cubicBezTo>
                <a:cubicBezTo>
                  <a:pt x="2178991" y="480566"/>
                  <a:pt x="2176196" y="473510"/>
                  <a:pt x="2176196" y="464990"/>
                </a:cubicBezTo>
                <a:cubicBezTo>
                  <a:pt x="2176196" y="456737"/>
                  <a:pt x="2178991" y="449682"/>
                  <a:pt x="2184583" y="443958"/>
                </a:cubicBezTo>
                <a:cubicBezTo>
                  <a:pt x="2190173" y="438234"/>
                  <a:pt x="2197361" y="435305"/>
                  <a:pt x="2206414" y="435305"/>
                </a:cubicBezTo>
                <a:close/>
                <a:moveTo>
                  <a:pt x="2424060" y="435305"/>
                </a:moveTo>
                <a:cubicBezTo>
                  <a:pt x="2428320" y="435305"/>
                  <a:pt x="2432315" y="435971"/>
                  <a:pt x="2435776" y="437967"/>
                </a:cubicBezTo>
                <a:cubicBezTo>
                  <a:pt x="2439503" y="439565"/>
                  <a:pt x="2442564" y="441695"/>
                  <a:pt x="2445094" y="444357"/>
                </a:cubicBezTo>
                <a:cubicBezTo>
                  <a:pt x="2447756" y="446886"/>
                  <a:pt x="2449753" y="450081"/>
                  <a:pt x="2451217" y="453675"/>
                </a:cubicBezTo>
                <a:cubicBezTo>
                  <a:pt x="2452681" y="457269"/>
                  <a:pt x="2453480" y="461130"/>
                  <a:pt x="2453480" y="465123"/>
                </a:cubicBezTo>
                <a:cubicBezTo>
                  <a:pt x="2453480" y="469250"/>
                  <a:pt x="2452681" y="473243"/>
                  <a:pt x="2451217" y="476837"/>
                </a:cubicBezTo>
                <a:cubicBezTo>
                  <a:pt x="2449753" y="480432"/>
                  <a:pt x="2447623" y="483494"/>
                  <a:pt x="2445094" y="486156"/>
                </a:cubicBezTo>
                <a:cubicBezTo>
                  <a:pt x="2442564" y="488819"/>
                  <a:pt x="2439370" y="490949"/>
                  <a:pt x="2435776" y="492413"/>
                </a:cubicBezTo>
                <a:cubicBezTo>
                  <a:pt x="2432181" y="493877"/>
                  <a:pt x="2428320" y="494676"/>
                  <a:pt x="2424060" y="494676"/>
                </a:cubicBezTo>
                <a:cubicBezTo>
                  <a:pt x="2415142" y="494676"/>
                  <a:pt x="2407820" y="491747"/>
                  <a:pt x="2402229" y="486156"/>
                </a:cubicBezTo>
                <a:cubicBezTo>
                  <a:pt x="2396638" y="480566"/>
                  <a:pt x="2393842" y="473509"/>
                  <a:pt x="2393842" y="464990"/>
                </a:cubicBezTo>
                <a:cubicBezTo>
                  <a:pt x="2393842" y="456737"/>
                  <a:pt x="2396638" y="449682"/>
                  <a:pt x="2402229" y="443958"/>
                </a:cubicBezTo>
                <a:cubicBezTo>
                  <a:pt x="2407820" y="438234"/>
                  <a:pt x="2415008" y="435305"/>
                  <a:pt x="2424060" y="435305"/>
                </a:cubicBezTo>
                <a:close/>
                <a:moveTo>
                  <a:pt x="2641707" y="435305"/>
                </a:moveTo>
                <a:cubicBezTo>
                  <a:pt x="2645967" y="435305"/>
                  <a:pt x="2649827" y="435971"/>
                  <a:pt x="2653422" y="437967"/>
                </a:cubicBezTo>
                <a:cubicBezTo>
                  <a:pt x="2657149" y="439565"/>
                  <a:pt x="2660211" y="441695"/>
                  <a:pt x="2662740" y="444357"/>
                </a:cubicBezTo>
                <a:cubicBezTo>
                  <a:pt x="2665402" y="446886"/>
                  <a:pt x="2667400" y="450081"/>
                  <a:pt x="2668864" y="453675"/>
                </a:cubicBezTo>
                <a:cubicBezTo>
                  <a:pt x="2670328" y="457269"/>
                  <a:pt x="2671127" y="461130"/>
                  <a:pt x="2671127" y="465123"/>
                </a:cubicBezTo>
                <a:cubicBezTo>
                  <a:pt x="2671127" y="469250"/>
                  <a:pt x="2670328" y="473243"/>
                  <a:pt x="2668864" y="476837"/>
                </a:cubicBezTo>
                <a:cubicBezTo>
                  <a:pt x="2667400" y="480431"/>
                  <a:pt x="2665269" y="483493"/>
                  <a:pt x="2662740" y="486156"/>
                </a:cubicBezTo>
                <a:cubicBezTo>
                  <a:pt x="2660211" y="488818"/>
                  <a:pt x="2657016" y="490949"/>
                  <a:pt x="2653422" y="492413"/>
                </a:cubicBezTo>
                <a:cubicBezTo>
                  <a:pt x="2649827" y="493877"/>
                  <a:pt x="2645967" y="494676"/>
                  <a:pt x="2641707" y="494676"/>
                </a:cubicBezTo>
                <a:cubicBezTo>
                  <a:pt x="2632788" y="494676"/>
                  <a:pt x="2625466" y="491747"/>
                  <a:pt x="2619875" y="486156"/>
                </a:cubicBezTo>
                <a:cubicBezTo>
                  <a:pt x="2614284" y="480565"/>
                  <a:pt x="2611489" y="473509"/>
                  <a:pt x="2611489" y="464990"/>
                </a:cubicBezTo>
                <a:cubicBezTo>
                  <a:pt x="2611489" y="456737"/>
                  <a:pt x="2614284" y="449682"/>
                  <a:pt x="2619875" y="443958"/>
                </a:cubicBezTo>
                <a:cubicBezTo>
                  <a:pt x="2625466" y="438234"/>
                  <a:pt x="2632655" y="435305"/>
                  <a:pt x="2641707" y="435305"/>
                </a:cubicBezTo>
                <a:close/>
                <a:moveTo>
                  <a:pt x="2859353" y="435304"/>
                </a:moveTo>
                <a:cubicBezTo>
                  <a:pt x="2863614" y="435304"/>
                  <a:pt x="2867475" y="435971"/>
                  <a:pt x="2871202" y="437966"/>
                </a:cubicBezTo>
                <a:cubicBezTo>
                  <a:pt x="2874929" y="439565"/>
                  <a:pt x="2877991" y="441695"/>
                  <a:pt x="2880520" y="444357"/>
                </a:cubicBezTo>
                <a:cubicBezTo>
                  <a:pt x="2883182" y="446886"/>
                  <a:pt x="2885179" y="450081"/>
                  <a:pt x="2886643" y="453675"/>
                </a:cubicBezTo>
                <a:cubicBezTo>
                  <a:pt x="2888108" y="457269"/>
                  <a:pt x="2888906" y="461130"/>
                  <a:pt x="2888906" y="465123"/>
                </a:cubicBezTo>
                <a:cubicBezTo>
                  <a:pt x="2888906" y="469250"/>
                  <a:pt x="2888108" y="473243"/>
                  <a:pt x="2886643" y="476837"/>
                </a:cubicBezTo>
                <a:cubicBezTo>
                  <a:pt x="2885179" y="480431"/>
                  <a:pt x="2883049" y="483493"/>
                  <a:pt x="2880520" y="486156"/>
                </a:cubicBezTo>
                <a:cubicBezTo>
                  <a:pt x="2877858" y="488818"/>
                  <a:pt x="2874795" y="490949"/>
                  <a:pt x="2871202" y="492413"/>
                </a:cubicBezTo>
                <a:cubicBezTo>
                  <a:pt x="2867475" y="493877"/>
                  <a:pt x="2863614" y="494676"/>
                  <a:pt x="2859353" y="494676"/>
                </a:cubicBezTo>
                <a:cubicBezTo>
                  <a:pt x="2850436" y="494676"/>
                  <a:pt x="2843113" y="491747"/>
                  <a:pt x="2837522" y="486156"/>
                </a:cubicBezTo>
                <a:cubicBezTo>
                  <a:pt x="2831932" y="480565"/>
                  <a:pt x="2829135" y="473509"/>
                  <a:pt x="2829135" y="464990"/>
                </a:cubicBezTo>
                <a:cubicBezTo>
                  <a:pt x="2829135" y="456737"/>
                  <a:pt x="2831932" y="449682"/>
                  <a:pt x="2837522" y="443958"/>
                </a:cubicBezTo>
                <a:cubicBezTo>
                  <a:pt x="2843113" y="438234"/>
                  <a:pt x="2850302" y="435304"/>
                  <a:pt x="2859353" y="435304"/>
                </a:cubicBezTo>
                <a:close/>
                <a:moveTo>
                  <a:pt x="3077000" y="435304"/>
                </a:moveTo>
                <a:cubicBezTo>
                  <a:pt x="3081127" y="435304"/>
                  <a:pt x="3085121" y="436369"/>
                  <a:pt x="3088715" y="437966"/>
                </a:cubicBezTo>
                <a:cubicBezTo>
                  <a:pt x="3092309" y="439565"/>
                  <a:pt x="3095505" y="441695"/>
                  <a:pt x="3098033" y="444357"/>
                </a:cubicBezTo>
                <a:cubicBezTo>
                  <a:pt x="3100562" y="446886"/>
                  <a:pt x="3102692" y="450081"/>
                  <a:pt x="3104156" y="453675"/>
                </a:cubicBezTo>
                <a:cubicBezTo>
                  <a:pt x="3105622" y="457269"/>
                  <a:pt x="3106419" y="461130"/>
                  <a:pt x="3106419" y="465123"/>
                </a:cubicBezTo>
                <a:cubicBezTo>
                  <a:pt x="3106419" y="469250"/>
                  <a:pt x="3105622" y="473243"/>
                  <a:pt x="3104156" y="476837"/>
                </a:cubicBezTo>
                <a:cubicBezTo>
                  <a:pt x="3102692" y="480431"/>
                  <a:pt x="3100562" y="483493"/>
                  <a:pt x="3098033" y="486155"/>
                </a:cubicBezTo>
                <a:cubicBezTo>
                  <a:pt x="3095371" y="488818"/>
                  <a:pt x="3092309" y="490948"/>
                  <a:pt x="3088715" y="492412"/>
                </a:cubicBezTo>
                <a:cubicBezTo>
                  <a:pt x="3085121" y="493877"/>
                  <a:pt x="3081260" y="494676"/>
                  <a:pt x="3077000" y="494676"/>
                </a:cubicBezTo>
                <a:cubicBezTo>
                  <a:pt x="3068082" y="494676"/>
                  <a:pt x="3060759" y="491746"/>
                  <a:pt x="3055168" y="486155"/>
                </a:cubicBezTo>
                <a:cubicBezTo>
                  <a:pt x="3049577" y="480565"/>
                  <a:pt x="3046782" y="473509"/>
                  <a:pt x="3046782" y="464990"/>
                </a:cubicBezTo>
                <a:cubicBezTo>
                  <a:pt x="3046782" y="456737"/>
                  <a:pt x="3049577" y="449682"/>
                  <a:pt x="3055168" y="443958"/>
                </a:cubicBezTo>
                <a:cubicBezTo>
                  <a:pt x="3060759" y="438233"/>
                  <a:pt x="3067948" y="435304"/>
                  <a:pt x="3077000" y="435304"/>
                </a:cubicBezTo>
                <a:close/>
                <a:moveTo>
                  <a:pt x="3294646" y="435304"/>
                </a:moveTo>
                <a:cubicBezTo>
                  <a:pt x="3298773" y="435304"/>
                  <a:pt x="3302768" y="435970"/>
                  <a:pt x="3306362" y="437966"/>
                </a:cubicBezTo>
                <a:cubicBezTo>
                  <a:pt x="3310089" y="439564"/>
                  <a:pt x="3313151" y="441694"/>
                  <a:pt x="3315680" y="444356"/>
                </a:cubicBezTo>
                <a:cubicBezTo>
                  <a:pt x="3318209" y="446886"/>
                  <a:pt x="3320339" y="450081"/>
                  <a:pt x="3321803" y="453675"/>
                </a:cubicBezTo>
                <a:cubicBezTo>
                  <a:pt x="3323267" y="457269"/>
                  <a:pt x="3324066" y="461130"/>
                  <a:pt x="3324066" y="465123"/>
                </a:cubicBezTo>
                <a:cubicBezTo>
                  <a:pt x="3324066" y="469250"/>
                  <a:pt x="3323267" y="473243"/>
                  <a:pt x="3321803" y="476837"/>
                </a:cubicBezTo>
                <a:cubicBezTo>
                  <a:pt x="3320339" y="480431"/>
                  <a:pt x="3318209" y="483493"/>
                  <a:pt x="3315680" y="486155"/>
                </a:cubicBezTo>
                <a:cubicBezTo>
                  <a:pt x="3313017" y="488818"/>
                  <a:pt x="3309955" y="490948"/>
                  <a:pt x="3306362" y="492412"/>
                </a:cubicBezTo>
                <a:cubicBezTo>
                  <a:pt x="3302768" y="493876"/>
                  <a:pt x="3298907" y="494675"/>
                  <a:pt x="3294646" y="494675"/>
                </a:cubicBezTo>
                <a:cubicBezTo>
                  <a:pt x="3285594" y="494675"/>
                  <a:pt x="3278406" y="491746"/>
                  <a:pt x="3272814" y="486155"/>
                </a:cubicBezTo>
                <a:cubicBezTo>
                  <a:pt x="3267223" y="480565"/>
                  <a:pt x="3264428" y="473509"/>
                  <a:pt x="3264428" y="464990"/>
                </a:cubicBezTo>
                <a:cubicBezTo>
                  <a:pt x="3264428" y="456737"/>
                  <a:pt x="3267223" y="449682"/>
                  <a:pt x="3272814" y="443957"/>
                </a:cubicBezTo>
                <a:cubicBezTo>
                  <a:pt x="3278406" y="438233"/>
                  <a:pt x="3285594" y="435304"/>
                  <a:pt x="3294646" y="435304"/>
                </a:cubicBezTo>
                <a:close/>
                <a:moveTo>
                  <a:pt x="3512160" y="435304"/>
                </a:moveTo>
                <a:cubicBezTo>
                  <a:pt x="3516420" y="435304"/>
                  <a:pt x="3520281" y="436369"/>
                  <a:pt x="3523875" y="437966"/>
                </a:cubicBezTo>
                <a:cubicBezTo>
                  <a:pt x="3527469" y="439564"/>
                  <a:pt x="3530664" y="441694"/>
                  <a:pt x="3533193" y="444356"/>
                </a:cubicBezTo>
                <a:cubicBezTo>
                  <a:pt x="3535722" y="446885"/>
                  <a:pt x="3537852" y="450080"/>
                  <a:pt x="3539316" y="453675"/>
                </a:cubicBezTo>
                <a:cubicBezTo>
                  <a:pt x="3540780" y="457269"/>
                  <a:pt x="3541579" y="461130"/>
                  <a:pt x="3541579" y="465123"/>
                </a:cubicBezTo>
                <a:cubicBezTo>
                  <a:pt x="3541579" y="469250"/>
                  <a:pt x="3540780" y="473243"/>
                  <a:pt x="3539316" y="476837"/>
                </a:cubicBezTo>
                <a:cubicBezTo>
                  <a:pt x="3537852" y="480431"/>
                  <a:pt x="3535722" y="483493"/>
                  <a:pt x="3533193" y="486155"/>
                </a:cubicBezTo>
                <a:cubicBezTo>
                  <a:pt x="3530530" y="488818"/>
                  <a:pt x="3527469" y="490948"/>
                  <a:pt x="3523875" y="492412"/>
                </a:cubicBezTo>
                <a:cubicBezTo>
                  <a:pt x="3520281" y="493876"/>
                  <a:pt x="3516420" y="494675"/>
                  <a:pt x="3512160" y="494675"/>
                </a:cubicBezTo>
                <a:cubicBezTo>
                  <a:pt x="3503108" y="494675"/>
                  <a:pt x="3495919" y="491746"/>
                  <a:pt x="3490328" y="486155"/>
                </a:cubicBezTo>
                <a:cubicBezTo>
                  <a:pt x="3484737" y="480565"/>
                  <a:pt x="3481941" y="473509"/>
                  <a:pt x="3481941" y="464990"/>
                </a:cubicBezTo>
                <a:cubicBezTo>
                  <a:pt x="3481941" y="456737"/>
                  <a:pt x="3484737" y="449682"/>
                  <a:pt x="3490328" y="443957"/>
                </a:cubicBezTo>
                <a:cubicBezTo>
                  <a:pt x="3495919" y="438233"/>
                  <a:pt x="3503108" y="435304"/>
                  <a:pt x="3512160" y="435304"/>
                </a:cubicBezTo>
                <a:close/>
                <a:moveTo>
                  <a:pt x="3729806" y="435304"/>
                </a:moveTo>
                <a:cubicBezTo>
                  <a:pt x="3734067" y="435304"/>
                  <a:pt x="3737928" y="436369"/>
                  <a:pt x="3741521" y="437966"/>
                </a:cubicBezTo>
                <a:cubicBezTo>
                  <a:pt x="3745115" y="439564"/>
                  <a:pt x="3748311" y="441694"/>
                  <a:pt x="3750840" y="444356"/>
                </a:cubicBezTo>
                <a:cubicBezTo>
                  <a:pt x="3753369" y="446885"/>
                  <a:pt x="3755498" y="450080"/>
                  <a:pt x="3756962" y="453674"/>
                </a:cubicBezTo>
                <a:cubicBezTo>
                  <a:pt x="3758426" y="457269"/>
                  <a:pt x="3759225" y="461130"/>
                  <a:pt x="3759225" y="465123"/>
                </a:cubicBezTo>
                <a:cubicBezTo>
                  <a:pt x="3759225" y="469250"/>
                  <a:pt x="3758426" y="473243"/>
                  <a:pt x="3756962" y="476837"/>
                </a:cubicBezTo>
                <a:cubicBezTo>
                  <a:pt x="3755498" y="480431"/>
                  <a:pt x="3753369" y="483493"/>
                  <a:pt x="3750840" y="486155"/>
                </a:cubicBezTo>
                <a:cubicBezTo>
                  <a:pt x="3748177" y="488818"/>
                  <a:pt x="3745115" y="490948"/>
                  <a:pt x="3741521" y="492412"/>
                </a:cubicBezTo>
                <a:cubicBezTo>
                  <a:pt x="3737928" y="493876"/>
                  <a:pt x="3734067" y="494675"/>
                  <a:pt x="3729806" y="494675"/>
                </a:cubicBezTo>
                <a:cubicBezTo>
                  <a:pt x="3720754" y="494675"/>
                  <a:pt x="3713566" y="491746"/>
                  <a:pt x="3707975" y="486155"/>
                </a:cubicBezTo>
                <a:cubicBezTo>
                  <a:pt x="3702383" y="480565"/>
                  <a:pt x="3699589" y="473509"/>
                  <a:pt x="3699589" y="464990"/>
                </a:cubicBezTo>
                <a:cubicBezTo>
                  <a:pt x="3699589" y="456737"/>
                  <a:pt x="3702383" y="449681"/>
                  <a:pt x="3707975" y="443957"/>
                </a:cubicBezTo>
                <a:cubicBezTo>
                  <a:pt x="3713566" y="438233"/>
                  <a:pt x="3720754" y="435304"/>
                  <a:pt x="3729806" y="435304"/>
                </a:cubicBezTo>
                <a:close/>
                <a:moveTo>
                  <a:pt x="3947454" y="435304"/>
                </a:moveTo>
                <a:cubicBezTo>
                  <a:pt x="3951713" y="435304"/>
                  <a:pt x="3955574" y="435970"/>
                  <a:pt x="3959169" y="437966"/>
                </a:cubicBezTo>
                <a:cubicBezTo>
                  <a:pt x="3962896" y="439564"/>
                  <a:pt x="3965957" y="441694"/>
                  <a:pt x="3968486" y="444356"/>
                </a:cubicBezTo>
                <a:cubicBezTo>
                  <a:pt x="3971016" y="446885"/>
                  <a:pt x="3973146" y="450080"/>
                  <a:pt x="3974610" y="453674"/>
                </a:cubicBezTo>
                <a:cubicBezTo>
                  <a:pt x="3976074" y="457268"/>
                  <a:pt x="3976873" y="461129"/>
                  <a:pt x="3976873" y="465123"/>
                </a:cubicBezTo>
                <a:cubicBezTo>
                  <a:pt x="3976873" y="469249"/>
                  <a:pt x="3976074" y="473243"/>
                  <a:pt x="3974610" y="476837"/>
                </a:cubicBezTo>
                <a:cubicBezTo>
                  <a:pt x="3973146" y="480431"/>
                  <a:pt x="3971016" y="483493"/>
                  <a:pt x="3968486" y="486155"/>
                </a:cubicBezTo>
                <a:cubicBezTo>
                  <a:pt x="3965824" y="488818"/>
                  <a:pt x="3962763" y="490948"/>
                  <a:pt x="3959169" y="492412"/>
                </a:cubicBezTo>
                <a:cubicBezTo>
                  <a:pt x="3955574" y="493876"/>
                  <a:pt x="3951713" y="494675"/>
                  <a:pt x="3947454" y="494675"/>
                </a:cubicBezTo>
                <a:cubicBezTo>
                  <a:pt x="3938402" y="494675"/>
                  <a:pt x="3931213" y="491746"/>
                  <a:pt x="3925622" y="486155"/>
                </a:cubicBezTo>
                <a:cubicBezTo>
                  <a:pt x="3920031" y="480565"/>
                  <a:pt x="3917235" y="473509"/>
                  <a:pt x="3917235" y="464990"/>
                </a:cubicBezTo>
                <a:cubicBezTo>
                  <a:pt x="3917235" y="456736"/>
                  <a:pt x="3920031" y="449681"/>
                  <a:pt x="3925622" y="443957"/>
                </a:cubicBezTo>
                <a:cubicBezTo>
                  <a:pt x="3931213" y="438233"/>
                  <a:pt x="3938402" y="435304"/>
                  <a:pt x="3947454" y="435304"/>
                </a:cubicBezTo>
                <a:close/>
                <a:moveTo>
                  <a:pt x="4165068" y="435304"/>
                </a:moveTo>
                <a:cubicBezTo>
                  <a:pt x="4169327" y="435304"/>
                  <a:pt x="4173188" y="435970"/>
                  <a:pt x="4176782" y="437966"/>
                </a:cubicBezTo>
                <a:cubicBezTo>
                  <a:pt x="4180509" y="439564"/>
                  <a:pt x="4183571" y="441694"/>
                  <a:pt x="4186100" y="444356"/>
                </a:cubicBezTo>
                <a:cubicBezTo>
                  <a:pt x="4188629" y="446885"/>
                  <a:pt x="4190759" y="450080"/>
                  <a:pt x="4192223" y="453674"/>
                </a:cubicBezTo>
                <a:cubicBezTo>
                  <a:pt x="4193688" y="457268"/>
                  <a:pt x="4194486" y="461129"/>
                  <a:pt x="4194486" y="465122"/>
                </a:cubicBezTo>
                <a:cubicBezTo>
                  <a:pt x="4194486" y="469249"/>
                  <a:pt x="4193688" y="473242"/>
                  <a:pt x="4192223" y="476837"/>
                </a:cubicBezTo>
                <a:cubicBezTo>
                  <a:pt x="4190759" y="480431"/>
                  <a:pt x="4188629" y="483493"/>
                  <a:pt x="4186100" y="486155"/>
                </a:cubicBezTo>
                <a:cubicBezTo>
                  <a:pt x="4183438" y="488818"/>
                  <a:pt x="4180376" y="490948"/>
                  <a:pt x="4176782" y="492412"/>
                </a:cubicBezTo>
                <a:cubicBezTo>
                  <a:pt x="4173188" y="493876"/>
                  <a:pt x="4169327" y="494675"/>
                  <a:pt x="4165068" y="494675"/>
                </a:cubicBezTo>
                <a:cubicBezTo>
                  <a:pt x="4156015" y="494675"/>
                  <a:pt x="4148827" y="491746"/>
                  <a:pt x="4143235" y="486155"/>
                </a:cubicBezTo>
                <a:cubicBezTo>
                  <a:pt x="4137645" y="480565"/>
                  <a:pt x="4134849" y="473509"/>
                  <a:pt x="4134849" y="464989"/>
                </a:cubicBezTo>
                <a:cubicBezTo>
                  <a:pt x="4134849" y="456736"/>
                  <a:pt x="4137645" y="449681"/>
                  <a:pt x="4143235" y="443957"/>
                </a:cubicBezTo>
                <a:cubicBezTo>
                  <a:pt x="4148827" y="438233"/>
                  <a:pt x="4156015" y="435304"/>
                  <a:pt x="4165068" y="435304"/>
                </a:cubicBezTo>
                <a:close/>
                <a:moveTo>
                  <a:pt x="4382713" y="435304"/>
                </a:moveTo>
                <a:cubicBezTo>
                  <a:pt x="4386840" y="435304"/>
                  <a:pt x="4390834" y="435970"/>
                  <a:pt x="4394428" y="437966"/>
                </a:cubicBezTo>
                <a:cubicBezTo>
                  <a:pt x="4398155" y="439564"/>
                  <a:pt x="4401217" y="441694"/>
                  <a:pt x="4403746" y="444356"/>
                </a:cubicBezTo>
                <a:cubicBezTo>
                  <a:pt x="4406275" y="446885"/>
                  <a:pt x="4408405" y="450080"/>
                  <a:pt x="4409869" y="453674"/>
                </a:cubicBezTo>
                <a:cubicBezTo>
                  <a:pt x="4411334" y="457268"/>
                  <a:pt x="4412132" y="461129"/>
                  <a:pt x="4412132" y="465122"/>
                </a:cubicBezTo>
                <a:cubicBezTo>
                  <a:pt x="4412132" y="469249"/>
                  <a:pt x="4411334" y="473242"/>
                  <a:pt x="4409869" y="476836"/>
                </a:cubicBezTo>
                <a:cubicBezTo>
                  <a:pt x="4408405" y="480431"/>
                  <a:pt x="4406275" y="483493"/>
                  <a:pt x="4403746" y="486155"/>
                </a:cubicBezTo>
                <a:cubicBezTo>
                  <a:pt x="4401083" y="488818"/>
                  <a:pt x="4398022" y="490948"/>
                  <a:pt x="4394428" y="492412"/>
                </a:cubicBezTo>
                <a:cubicBezTo>
                  <a:pt x="4390834" y="493876"/>
                  <a:pt x="4386973" y="494675"/>
                  <a:pt x="4382713" y="494675"/>
                </a:cubicBezTo>
                <a:cubicBezTo>
                  <a:pt x="4373661" y="494675"/>
                  <a:pt x="4366473" y="491746"/>
                  <a:pt x="4360881" y="486155"/>
                </a:cubicBezTo>
                <a:cubicBezTo>
                  <a:pt x="4355290" y="480565"/>
                  <a:pt x="4352495" y="473509"/>
                  <a:pt x="4352495" y="464989"/>
                </a:cubicBezTo>
                <a:cubicBezTo>
                  <a:pt x="4352495" y="456736"/>
                  <a:pt x="4355290" y="449681"/>
                  <a:pt x="4360881" y="443957"/>
                </a:cubicBezTo>
                <a:cubicBezTo>
                  <a:pt x="4366473" y="438233"/>
                  <a:pt x="4373661" y="435304"/>
                  <a:pt x="4382713" y="435304"/>
                </a:cubicBezTo>
                <a:close/>
                <a:moveTo>
                  <a:pt x="4600226" y="435304"/>
                </a:moveTo>
                <a:cubicBezTo>
                  <a:pt x="4604485" y="435304"/>
                  <a:pt x="4608479" y="435970"/>
                  <a:pt x="4612073" y="437966"/>
                </a:cubicBezTo>
                <a:cubicBezTo>
                  <a:pt x="4615800" y="439564"/>
                  <a:pt x="4618862" y="441694"/>
                  <a:pt x="4621391" y="444356"/>
                </a:cubicBezTo>
                <a:cubicBezTo>
                  <a:pt x="4623920" y="446885"/>
                  <a:pt x="4626050" y="450080"/>
                  <a:pt x="4627514" y="453674"/>
                </a:cubicBezTo>
                <a:cubicBezTo>
                  <a:pt x="4628978" y="457268"/>
                  <a:pt x="4629777" y="461129"/>
                  <a:pt x="4629777" y="465122"/>
                </a:cubicBezTo>
                <a:cubicBezTo>
                  <a:pt x="4629777" y="469249"/>
                  <a:pt x="4628978" y="473242"/>
                  <a:pt x="4627514" y="476836"/>
                </a:cubicBezTo>
                <a:cubicBezTo>
                  <a:pt x="4626050" y="480430"/>
                  <a:pt x="4623920" y="483492"/>
                  <a:pt x="4621391" y="486155"/>
                </a:cubicBezTo>
                <a:cubicBezTo>
                  <a:pt x="4618729" y="488818"/>
                  <a:pt x="4615667" y="490948"/>
                  <a:pt x="4612073" y="492412"/>
                </a:cubicBezTo>
                <a:cubicBezTo>
                  <a:pt x="4608346" y="493876"/>
                  <a:pt x="4604485" y="494675"/>
                  <a:pt x="4600226" y="494675"/>
                </a:cubicBezTo>
                <a:cubicBezTo>
                  <a:pt x="4591173" y="494675"/>
                  <a:pt x="4583985" y="491746"/>
                  <a:pt x="4578393" y="486155"/>
                </a:cubicBezTo>
                <a:cubicBezTo>
                  <a:pt x="4572803" y="480564"/>
                  <a:pt x="4570007" y="473508"/>
                  <a:pt x="4570007" y="464989"/>
                </a:cubicBezTo>
                <a:cubicBezTo>
                  <a:pt x="4570007" y="456736"/>
                  <a:pt x="4572803" y="449681"/>
                  <a:pt x="4578393" y="443957"/>
                </a:cubicBezTo>
                <a:cubicBezTo>
                  <a:pt x="4583985" y="438233"/>
                  <a:pt x="4591173" y="435304"/>
                  <a:pt x="4600226" y="435304"/>
                </a:cubicBezTo>
                <a:close/>
                <a:moveTo>
                  <a:pt x="4817870" y="435303"/>
                </a:moveTo>
                <a:cubicBezTo>
                  <a:pt x="4822130" y="435303"/>
                  <a:pt x="4825857" y="436369"/>
                  <a:pt x="4829585" y="437966"/>
                </a:cubicBezTo>
                <a:cubicBezTo>
                  <a:pt x="4833312" y="439564"/>
                  <a:pt x="4836374" y="441694"/>
                  <a:pt x="4838903" y="444356"/>
                </a:cubicBezTo>
                <a:cubicBezTo>
                  <a:pt x="4841432" y="446885"/>
                  <a:pt x="4843562" y="450080"/>
                  <a:pt x="4845026" y="453674"/>
                </a:cubicBezTo>
                <a:cubicBezTo>
                  <a:pt x="4846491" y="457268"/>
                  <a:pt x="4847289" y="461129"/>
                  <a:pt x="4847289" y="465122"/>
                </a:cubicBezTo>
                <a:cubicBezTo>
                  <a:pt x="4847289" y="469249"/>
                  <a:pt x="4846491" y="473242"/>
                  <a:pt x="4845026" y="476836"/>
                </a:cubicBezTo>
                <a:cubicBezTo>
                  <a:pt x="4843562" y="480430"/>
                  <a:pt x="4841432" y="483492"/>
                  <a:pt x="4838903" y="486155"/>
                </a:cubicBezTo>
                <a:cubicBezTo>
                  <a:pt x="4836240" y="488817"/>
                  <a:pt x="4833179" y="490948"/>
                  <a:pt x="4829585" y="492412"/>
                </a:cubicBezTo>
                <a:cubicBezTo>
                  <a:pt x="4825991" y="493876"/>
                  <a:pt x="4822130" y="494675"/>
                  <a:pt x="4817870" y="494675"/>
                </a:cubicBezTo>
                <a:cubicBezTo>
                  <a:pt x="4808952" y="494675"/>
                  <a:pt x="4801630" y="491746"/>
                  <a:pt x="4796038" y="486155"/>
                </a:cubicBezTo>
                <a:cubicBezTo>
                  <a:pt x="4790447" y="480564"/>
                  <a:pt x="4787652" y="473508"/>
                  <a:pt x="4787652" y="464989"/>
                </a:cubicBezTo>
                <a:cubicBezTo>
                  <a:pt x="4787652" y="456736"/>
                  <a:pt x="4790447" y="449681"/>
                  <a:pt x="4796038" y="443957"/>
                </a:cubicBezTo>
                <a:cubicBezTo>
                  <a:pt x="4801630" y="438233"/>
                  <a:pt x="4808818" y="435303"/>
                  <a:pt x="4817870" y="435303"/>
                </a:cubicBezTo>
                <a:close/>
                <a:moveTo>
                  <a:pt x="5035515" y="435303"/>
                </a:moveTo>
                <a:cubicBezTo>
                  <a:pt x="5039775" y="435303"/>
                  <a:pt x="5043502" y="436369"/>
                  <a:pt x="5047230" y="437965"/>
                </a:cubicBezTo>
                <a:cubicBezTo>
                  <a:pt x="5050957" y="439564"/>
                  <a:pt x="5054019" y="441694"/>
                  <a:pt x="5056548" y="444356"/>
                </a:cubicBezTo>
                <a:cubicBezTo>
                  <a:pt x="5059077" y="446885"/>
                  <a:pt x="5061207" y="450080"/>
                  <a:pt x="5062671" y="453674"/>
                </a:cubicBezTo>
                <a:cubicBezTo>
                  <a:pt x="5064135" y="457268"/>
                  <a:pt x="5064934" y="461129"/>
                  <a:pt x="5064934" y="465122"/>
                </a:cubicBezTo>
                <a:cubicBezTo>
                  <a:pt x="5064934" y="469249"/>
                  <a:pt x="5064135" y="473242"/>
                  <a:pt x="5062671" y="476836"/>
                </a:cubicBezTo>
                <a:cubicBezTo>
                  <a:pt x="5061207" y="480430"/>
                  <a:pt x="5059077" y="483492"/>
                  <a:pt x="5056548" y="486154"/>
                </a:cubicBezTo>
                <a:cubicBezTo>
                  <a:pt x="5053885" y="488817"/>
                  <a:pt x="5050824" y="490947"/>
                  <a:pt x="5047230" y="492411"/>
                </a:cubicBezTo>
                <a:cubicBezTo>
                  <a:pt x="5043636" y="493876"/>
                  <a:pt x="5039775" y="494674"/>
                  <a:pt x="5035515" y="494674"/>
                </a:cubicBezTo>
                <a:cubicBezTo>
                  <a:pt x="5026597" y="494674"/>
                  <a:pt x="5019275" y="491745"/>
                  <a:pt x="5013683" y="486154"/>
                </a:cubicBezTo>
                <a:cubicBezTo>
                  <a:pt x="5008092" y="480564"/>
                  <a:pt x="5005297" y="473508"/>
                  <a:pt x="5005297" y="464989"/>
                </a:cubicBezTo>
                <a:cubicBezTo>
                  <a:pt x="5005297" y="456736"/>
                  <a:pt x="5008092" y="449681"/>
                  <a:pt x="5013683" y="443957"/>
                </a:cubicBezTo>
                <a:cubicBezTo>
                  <a:pt x="5019275" y="438232"/>
                  <a:pt x="5026463" y="435303"/>
                  <a:pt x="5035515" y="435303"/>
                </a:cubicBezTo>
                <a:close/>
                <a:moveTo>
                  <a:pt x="5470806" y="435303"/>
                </a:moveTo>
                <a:cubicBezTo>
                  <a:pt x="5475065" y="435303"/>
                  <a:pt x="5478793" y="436368"/>
                  <a:pt x="5482520" y="437965"/>
                </a:cubicBezTo>
                <a:cubicBezTo>
                  <a:pt x="5486247" y="439563"/>
                  <a:pt x="5489309" y="441693"/>
                  <a:pt x="5491838" y="444355"/>
                </a:cubicBezTo>
                <a:cubicBezTo>
                  <a:pt x="5494367" y="446884"/>
                  <a:pt x="5496497" y="450080"/>
                  <a:pt x="5497961" y="453674"/>
                </a:cubicBezTo>
                <a:cubicBezTo>
                  <a:pt x="5499426" y="457268"/>
                  <a:pt x="5500224" y="461129"/>
                  <a:pt x="5500224" y="465122"/>
                </a:cubicBezTo>
                <a:cubicBezTo>
                  <a:pt x="5500224" y="469249"/>
                  <a:pt x="5499426" y="473242"/>
                  <a:pt x="5497961" y="476836"/>
                </a:cubicBezTo>
                <a:cubicBezTo>
                  <a:pt x="5496497" y="480430"/>
                  <a:pt x="5494367" y="483492"/>
                  <a:pt x="5491838" y="486154"/>
                </a:cubicBezTo>
                <a:cubicBezTo>
                  <a:pt x="5489176" y="488817"/>
                  <a:pt x="5486114" y="490947"/>
                  <a:pt x="5482520" y="492411"/>
                </a:cubicBezTo>
                <a:cubicBezTo>
                  <a:pt x="5478926" y="493875"/>
                  <a:pt x="5475065" y="494674"/>
                  <a:pt x="5470806" y="494674"/>
                </a:cubicBezTo>
                <a:cubicBezTo>
                  <a:pt x="5461887" y="494674"/>
                  <a:pt x="5454565" y="491745"/>
                  <a:pt x="5448973" y="486154"/>
                </a:cubicBezTo>
                <a:cubicBezTo>
                  <a:pt x="5443383" y="480564"/>
                  <a:pt x="5440587" y="473508"/>
                  <a:pt x="5440587" y="464989"/>
                </a:cubicBezTo>
                <a:cubicBezTo>
                  <a:pt x="5440587" y="456736"/>
                  <a:pt x="5443383" y="449681"/>
                  <a:pt x="5448973" y="443956"/>
                </a:cubicBezTo>
                <a:cubicBezTo>
                  <a:pt x="5454565" y="438232"/>
                  <a:pt x="5461754" y="435303"/>
                  <a:pt x="5470806" y="435303"/>
                </a:cubicBezTo>
                <a:close/>
                <a:moveTo>
                  <a:pt x="5253160" y="435303"/>
                </a:moveTo>
                <a:cubicBezTo>
                  <a:pt x="5257420" y="435303"/>
                  <a:pt x="5261147" y="436368"/>
                  <a:pt x="5264875" y="437965"/>
                </a:cubicBezTo>
                <a:cubicBezTo>
                  <a:pt x="5268602" y="439563"/>
                  <a:pt x="5271664" y="441693"/>
                  <a:pt x="5274192" y="444355"/>
                </a:cubicBezTo>
                <a:cubicBezTo>
                  <a:pt x="5276722" y="446885"/>
                  <a:pt x="5278852" y="450080"/>
                  <a:pt x="5280316" y="453674"/>
                </a:cubicBezTo>
                <a:cubicBezTo>
                  <a:pt x="5281780" y="457268"/>
                  <a:pt x="5282579" y="461129"/>
                  <a:pt x="5282579" y="465122"/>
                </a:cubicBezTo>
                <a:cubicBezTo>
                  <a:pt x="5282579" y="469249"/>
                  <a:pt x="5281780" y="473242"/>
                  <a:pt x="5280316" y="476836"/>
                </a:cubicBezTo>
                <a:cubicBezTo>
                  <a:pt x="5278852" y="480430"/>
                  <a:pt x="5276722" y="483492"/>
                  <a:pt x="5274192" y="486154"/>
                </a:cubicBezTo>
                <a:cubicBezTo>
                  <a:pt x="5271664" y="488817"/>
                  <a:pt x="5268469" y="490947"/>
                  <a:pt x="5264875" y="492411"/>
                </a:cubicBezTo>
                <a:cubicBezTo>
                  <a:pt x="5261280" y="493875"/>
                  <a:pt x="5257420" y="494674"/>
                  <a:pt x="5253160" y="494674"/>
                </a:cubicBezTo>
                <a:cubicBezTo>
                  <a:pt x="5244241" y="494674"/>
                  <a:pt x="5236920" y="491745"/>
                  <a:pt x="5231328" y="486154"/>
                </a:cubicBezTo>
                <a:cubicBezTo>
                  <a:pt x="5225737" y="480564"/>
                  <a:pt x="5222942" y="473508"/>
                  <a:pt x="5222942" y="464989"/>
                </a:cubicBezTo>
                <a:cubicBezTo>
                  <a:pt x="5222942" y="456736"/>
                  <a:pt x="5225737" y="449681"/>
                  <a:pt x="5231328" y="443956"/>
                </a:cubicBezTo>
                <a:cubicBezTo>
                  <a:pt x="5236920" y="438232"/>
                  <a:pt x="5244108" y="435303"/>
                  <a:pt x="5253160" y="435303"/>
                </a:cubicBezTo>
                <a:close/>
                <a:moveTo>
                  <a:pt x="5905963" y="435303"/>
                </a:moveTo>
                <a:cubicBezTo>
                  <a:pt x="5910222" y="435303"/>
                  <a:pt x="5913950" y="436368"/>
                  <a:pt x="5917677" y="437965"/>
                </a:cubicBezTo>
                <a:cubicBezTo>
                  <a:pt x="5921404" y="439563"/>
                  <a:pt x="5924466" y="441693"/>
                  <a:pt x="5926995" y="444355"/>
                </a:cubicBezTo>
                <a:cubicBezTo>
                  <a:pt x="5929524" y="446884"/>
                  <a:pt x="5931654" y="450079"/>
                  <a:pt x="5933118" y="453673"/>
                </a:cubicBezTo>
                <a:cubicBezTo>
                  <a:pt x="5934583" y="457267"/>
                  <a:pt x="5935381" y="461129"/>
                  <a:pt x="5935381" y="465122"/>
                </a:cubicBezTo>
                <a:cubicBezTo>
                  <a:pt x="5935381" y="469249"/>
                  <a:pt x="5934583" y="473242"/>
                  <a:pt x="5933118" y="476836"/>
                </a:cubicBezTo>
                <a:cubicBezTo>
                  <a:pt x="5931654" y="480430"/>
                  <a:pt x="5929524" y="483492"/>
                  <a:pt x="5926995" y="486154"/>
                </a:cubicBezTo>
                <a:cubicBezTo>
                  <a:pt x="5924333" y="488817"/>
                  <a:pt x="5921271" y="490947"/>
                  <a:pt x="5917677" y="492411"/>
                </a:cubicBezTo>
                <a:cubicBezTo>
                  <a:pt x="5914083" y="493875"/>
                  <a:pt x="5910222" y="494674"/>
                  <a:pt x="5905963" y="494674"/>
                </a:cubicBezTo>
                <a:cubicBezTo>
                  <a:pt x="5897044" y="494674"/>
                  <a:pt x="5889722" y="491745"/>
                  <a:pt x="5884130" y="486154"/>
                </a:cubicBezTo>
                <a:cubicBezTo>
                  <a:pt x="5878540" y="480564"/>
                  <a:pt x="5875744" y="473508"/>
                  <a:pt x="5875744" y="464989"/>
                </a:cubicBezTo>
                <a:cubicBezTo>
                  <a:pt x="5875744" y="456736"/>
                  <a:pt x="5878540" y="449680"/>
                  <a:pt x="5884130" y="443956"/>
                </a:cubicBezTo>
                <a:cubicBezTo>
                  <a:pt x="5889722" y="438232"/>
                  <a:pt x="5896910" y="435303"/>
                  <a:pt x="5905963" y="435303"/>
                </a:cubicBezTo>
                <a:close/>
                <a:moveTo>
                  <a:pt x="5688451" y="435303"/>
                </a:moveTo>
                <a:cubicBezTo>
                  <a:pt x="5692577" y="435303"/>
                  <a:pt x="5696437" y="436368"/>
                  <a:pt x="5700165" y="437965"/>
                </a:cubicBezTo>
                <a:cubicBezTo>
                  <a:pt x="5703892" y="439563"/>
                  <a:pt x="5706954" y="441693"/>
                  <a:pt x="5709483" y="444355"/>
                </a:cubicBezTo>
                <a:cubicBezTo>
                  <a:pt x="5712012" y="446884"/>
                  <a:pt x="5714142" y="450079"/>
                  <a:pt x="5715606" y="453673"/>
                </a:cubicBezTo>
                <a:cubicBezTo>
                  <a:pt x="5717071" y="457268"/>
                  <a:pt x="5717869" y="461129"/>
                  <a:pt x="5717869" y="465122"/>
                </a:cubicBezTo>
                <a:cubicBezTo>
                  <a:pt x="5717869" y="469249"/>
                  <a:pt x="5717071" y="473242"/>
                  <a:pt x="5715606" y="476836"/>
                </a:cubicBezTo>
                <a:cubicBezTo>
                  <a:pt x="5714142" y="480430"/>
                  <a:pt x="5712012" y="483492"/>
                  <a:pt x="5709483" y="486154"/>
                </a:cubicBezTo>
                <a:cubicBezTo>
                  <a:pt x="5706820" y="488817"/>
                  <a:pt x="5703759" y="490947"/>
                  <a:pt x="5700165" y="492411"/>
                </a:cubicBezTo>
                <a:cubicBezTo>
                  <a:pt x="5696571" y="493875"/>
                  <a:pt x="5692710" y="494674"/>
                  <a:pt x="5688451" y="494674"/>
                </a:cubicBezTo>
                <a:cubicBezTo>
                  <a:pt x="5679532" y="494674"/>
                  <a:pt x="5672210" y="491745"/>
                  <a:pt x="5666618" y="486154"/>
                </a:cubicBezTo>
                <a:cubicBezTo>
                  <a:pt x="5661028" y="480564"/>
                  <a:pt x="5658232" y="473508"/>
                  <a:pt x="5658232" y="464989"/>
                </a:cubicBezTo>
                <a:cubicBezTo>
                  <a:pt x="5658232" y="456736"/>
                  <a:pt x="5661028" y="449680"/>
                  <a:pt x="5666618" y="443956"/>
                </a:cubicBezTo>
                <a:cubicBezTo>
                  <a:pt x="5672210" y="438232"/>
                  <a:pt x="5679398" y="435303"/>
                  <a:pt x="5688451" y="435303"/>
                </a:cubicBezTo>
                <a:close/>
                <a:moveTo>
                  <a:pt x="6123608" y="435303"/>
                </a:moveTo>
                <a:cubicBezTo>
                  <a:pt x="6127867" y="435303"/>
                  <a:pt x="6131594" y="436368"/>
                  <a:pt x="6135322" y="437965"/>
                </a:cubicBezTo>
                <a:cubicBezTo>
                  <a:pt x="6139049" y="439563"/>
                  <a:pt x="6142111" y="441693"/>
                  <a:pt x="6144640" y="444355"/>
                </a:cubicBezTo>
                <a:cubicBezTo>
                  <a:pt x="6147169" y="446884"/>
                  <a:pt x="6149299" y="450079"/>
                  <a:pt x="6150763" y="453673"/>
                </a:cubicBezTo>
                <a:cubicBezTo>
                  <a:pt x="6152228" y="457267"/>
                  <a:pt x="6153026" y="461128"/>
                  <a:pt x="6153026" y="465121"/>
                </a:cubicBezTo>
                <a:cubicBezTo>
                  <a:pt x="6153026" y="469249"/>
                  <a:pt x="6152228" y="473242"/>
                  <a:pt x="6150763" y="476836"/>
                </a:cubicBezTo>
                <a:cubicBezTo>
                  <a:pt x="6149299" y="480430"/>
                  <a:pt x="6147169" y="483492"/>
                  <a:pt x="6144640" y="486154"/>
                </a:cubicBezTo>
                <a:cubicBezTo>
                  <a:pt x="6141977" y="488817"/>
                  <a:pt x="6138916" y="490947"/>
                  <a:pt x="6135322" y="492411"/>
                </a:cubicBezTo>
                <a:cubicBezTo>
                  <a:pt x="6131728" y="493875"/>
                  <a:pt x="6127867" y="494674"/>
                  <a:pt x="6123608" y="494674"/>
                </a:cubicBezTo>
                <a:cubicBezTo>
                  <a:pt x="6114689" y="494674"/>
                  <a:pt x="6107367" y="491745"/>
                  <a:pt x="6101775" y="486154"/>
                </a:cubicBezTo>
                <a:cubicBezTo>
                  <a:pt x="6096184" y="480564"/>
                  <a:pt x="6093389" y="473508"/>
                  <a:pt x="6093389" y="464988"/>
                </a:cubicBezTo>
                <a:cubicBezTo>
                  <a:pt x="6093389" y="456735"/>
                  <a:pt x="6096184" y="449680"/>
                  <a:pt x="6101775" y="443956"/>
                </a:cubicBezTo>
                <a:cubicBezTo>
                  <a:pt x="6107367" y="438232"/>
                  <a:pt x="6114555" y="435303"/>
                  <a:pt x="6123608" y="435303"/>
                </a:cubicBezTo>
                <a:close/>
                <a:moveTo>
                  <a:pt x="6558899" y="435303"/>
                </a:moveTo>
                <a:cubicBezTo>
                  <a:pt x="6563158" y="435303"/>
                  <a:pt x="6567019" y="435969"/>
                  <a:pt x="6570612" y="437965"/>
                </a:cubicBezTo>
                <a:cubicBezTo>
                  <a:pt x="6574340" y="439563"/>
                  <a:pt x="6577401" y="441693"/>
                  <a:pt x="6579930" y="444355"/>
                </a:cubicBezTo>
                <a:cubicBezTo>
                  <a:pt x="6582460" y="446884"/>
                  <a:pt x="6584590" y="450079"/>
                  <a:pt x="6586054" y="453673"/>
                </a:cubicBezTo>
                <a:cubicBezTo>
                  <a:pt x="6587518" y="457267"/>
                  <a:pt x="6588317" y="461128"/>
                  <a:pt x="6588317" y="465121"/>
                </a:cubicBezTo>
                <a:cubicBezTo>
                  <a:pt x="6588317" y="469248"/>
                  <a:pt x="6587518" y="473241"/>
                  <a:pt x="6586054" y="476835"/>
                </a:cubicBezTo>
                <a:cubicBezTo>
                  <a:pt x="6584457" y="480429"/>
                  <a:pt x="6582460" y="483492"/>
                  <a:pt x="6579930" y="486154"/>
                </a:cubicBezTo>
                <a:cubicBezTo>
                  <a:pt x="6577268" y="488817"/>
                  <a:pt x="6574207" y="490947"/>
                  <a:pt x="6570612" y="492411"/>
                </a:cubicBezTo>
                <a:cubicBezTo>
                  <a:pt x="6567019" y="493875"/>
                  <a:pt x="6563158" y="494674"/>
                  <a:pt x="6558899" y="494674"/>
                </a:cubicBezTo>
                <a:cubicBezTo>
                  <a:pt x="6549979" y="494674"/>
                  <a:pt x="6542658" y="491745"/>
                  <a:pt x="6537066" y="486154"/>
                </a:cubicBezTo>
                <a:cubicBezTo>
                  <a:pt x="6531476" y="480564"/>
                  <a:pt x="6528680" y="473507"/>
                  <a:pt x="6528680" y="464988"/>
                </a:cubicBezTo>
                <a:cubicBezTo>
                  <a:pt x="6528680" y="456735"/>
                  <a:pt x="6531476" y="449680"/>
                  <a:pt x="6537066" y="443956"/>
                </a:cubicBezTo>
                <a:cubicBezTo>
                  <a:pt x="6542658" y="438232"/>
                  <a:pt x="6549846" y="435303"/>
                  <a:pt x="6558899" y="435303"/>
                </a:cubicBezTo>
                <a:close/>
                <a:moveTo>
                  <a:pt x="6341253" y="435303"/>
                </a:moveTo>
                <a:cubicBezTo>
                  <a:pt x="6345513" y="435303"/>
                  <a:pt x="6349373" y="435969"/>
                  <a:pt x="6352968" y="437965"/>
                </a:cubicBezTo>
                <a:cubicBezTo>
                  <a:pt x="6356695" y="439563"/>
                  <a:pt x="6359757" y="441693"/>
                  <a:pt x="6362286" y="444355"/>
                </a:cubicBezTo>
                <a:cubicBezTo>
                  <a:pt x="6364815" y="446884"/>
                  <a:pt x="6366945" y="450079"/>
                  <a:pt x="6368409" y="453673"/>
                </a:cubicBezTo>
                <a:cubicBezTo>
                  <a:pt x="6369874" y="457267"/>
                  <a:pt x="6370672" y="461128"/>
                  <a:pt x="6370672" y="465121"/>
                </a:cubicBezTo>
                <a:cubicBezTo>
                  <a:pt x="6370672" y="469248"/>
                  <a:pt x="6369874" y="473242"/>
                  <a:pt x="6368409" y="476836"/>
                </a:cubicBezTo>
                <a:cubicBezTo>
                  <a:pt x="6366811" y="480430"/>
                  <a:pt x="6364815" y="483492"/>
                  <a:pt x="6362286" y="486154"/>
                </a:cubicBezTo>
                <a:cubicBezTo>
                  <a:pt x="6359623" y="488817"/>
                  <a:pt x="6356562" y="490947"/>
                  <a:pt x="6352968" y="492411"/>
                </a:cubicBezTo>
                <a:cubicBezTo>
                  <a:pt x="6349373" y="493875"/>
                  <a:pt x="6345513" y="494674"/>
                  <a:pt x="6341253" y="494674"/>
                </a:cubicBezTo>
                <a:cubicBezTo>
                  <a:pt x="6332335" y="494674"/>
                  <a:pt x="6325013" y="491745"/>
                  <a:pt x="6319421" y="486154"/>
                </a:cubicBezTo>
                <a:cubicBezTo>
                  <a:pt x="6313830" y="480564"/>
                  <a:pt x="6311035" y="473508"/>
                  <a:pt x="6311035" y="464988"/>
                </a:cubicBezTo>
                <a:cubicBezTo>
                  <a:pt x="6311035" y="456735"/>
                  <a:pt x="6313830" y="449680"/>
                  <a:pt x="6319421" y="443956"/>
                </a:cubicBezTo>
                <a:cubicBezTo>
                  <a:pt x="6325013" y="438232"/>
                  <a:pt x="6332201" y="435303"/>
                  <a:pt x="6341253" y="435303"/>
                </a:cubicBezTo>
                <a:close/>
                <a:moveTo>
                  <a:pt x="6776544" y="435303"/>
                </a:moveTo>
                <a:cubicBezTo>
                  <a:pt x="6780670" y="435303"/>
                  <a:pt x="6784664" y="435969"/>
                  <a:pt x="6788258" y="437965"/>
                </a:cubicBezTo>
                <a:cubicBezTo>
                  <a:pt x="6791985" y="439563"/>
                  <a:pt x="6795047" y="441693"/>
                  <a:pt x="6797576" y="444355"/>
                </a:cubicBezTo>
                <a:cubicBezTo>
                  <a:pt x="6800105" y="446884"/>
                  <a:pt x="6802235" y="450079"/>
                  <a:pt x="6803699" y="453673"/>
                </a:cubicBezTo>
                <a:cubicBezTo>
                  <a:pt x="6805164" y="457267"/>
                  <a:pt x="6805963" y="461128"/>
                  <a:pt x="6805963" y="465121"/>
                </a:cubicBezTo>
                <a:cubicBezTo>
                  <a:pt x="6805963" y="469248"/>
                  <a:pt x="6805164" y="473241"/>
                  <a:pt x="6803699" y="476835"/>
                </a:cubicBezTo>
                <a:cubicBezTo>
                  <a:pt x="6802102" y="480429"/>
                  <a:pt x="6800105" y="483492"/>
                  <a:pt x="6797576" y="486154"/>
                </a:cubicBezTo>
                <a:cubicBezTo>
                  <a:pt x="6794914" y="488816"/>
                  <a:pt x="6791852" y="490947"/>
                  <a:pt x="6788258" y="492411"/>
                </a:cubicBezTo>
                <a:cubicBezTo>
                  <a:pt x="6784664" y="493875"/>
                  <a:pt x="6780803" y="494674"/>
                  <a:pt x="6776544" y="494674"/>
                </a:cubicBezTo>
                <a:cubicBezTo>
                  <a:pt x="6767625" y="494674"/>
                  <a:pt x="6760303" y="491745"/>
                  <a:pt x="6754711" y="486154"/>
                </a:cubicBezTo>
                <a:cubicBezTo>
                  <a:pt x="6749121" y="480563"/>
                  <a:pt x="6746325" y="473507"/>
                  <a:pt x="6746325" y="464988"/>
                </a:cubicBezTo>
                <a:cubicBezTo>
                  <a:pt x="6746325" y="456735"/>
                  <a:pt x="6749121" y="449680"/>
                  <a:pt x="6754711" y="443956"/>
                </a:cubicBezTo>
                <a:cubicBezTo>
                  <a:pt x="6760303" y="438232"/>
                  <a:pt x="6767492" y="435303"/>
                  <a:pt x="6776544" y="435303"/>
                </a:cubicBezTo>
                <a:close/>
                <a:moveTo>
                  <a:pt x="6994056" y="435303"/>
                </a:moveTo>
                <a:cubicBezTo>
                  <a:pt x="6998315" y="435303"/>
                  <a:pt x="7002309" y="435968"/>
                  <a:pt x="7005769" y="437965"/>
                </a:cubicBezTo>
                <a:cubicBezTo>
                  <a:pt x="7009497" y="439563"/>
                  <a:pt x="7012558" y="441693"/>
                  <a:pt x="7015087" y="444355"/>
                </a:cubicBezTo>
                <a:cubicBezTo>
                  <a:pt x="7017617" y="446884"/>
                  <a:pt x="7019747" y="450079"/>
                  <a:pt x="7021211" y="453673"/>
                </a:cubicBezTo>
                <a:cubicBezTo>
                  <a:pt x="7022675" y="457267"/>
                  <a:pt x="7023474" y="461128"/>
                  <a:pt x="7023474" y="465121"/>
                </a:cubicBezTo>
                <a:cubicBezTo>
                  <a:pt x="7023474" y="469248"/>
                  <a:pt x="7022675" y="473241"/>
                  <a:pt x="7021211" y="476835"/>
                </a:cubicBezTo>
                <a:cubicBezTo>
                  <a:pt x="7019614" y="480429"/>
                  <a:pt x="7017617" y="483491"/>
                  <a:pt x="7015087" y="486154"/>
                </a:cubicBezTo>
                <a:cubicBezTo>
                  <a:pt x="7012425" y="488816"/>
                  <a:pt x="7009364" y="490946"/>
                  <a:pt x="7005769" y="492410"/>
                </a:cubicBezTo>
                <a:cubicBezTo>
                  <a:pt x="7002176" y="493875"/>
                  <a:pt x="6998315" y="494674"/>
                  <a:pt x="6994056" y="494674"/>
                </a:cubicBezTo>
                <a:cubicBezTo>
                  <a:pt x="6985136" y="494674"/>
                  <a:pt x="6977815" y="491744"/>
                  <a:pt x="6972223" y="486154"/>
                </a:cubicBezTo>
                <a:cubicBezTo>
                  <a:pt x="6966632" y="480563"/>
                  <a:pt x="6963837" y="473507"/>
                  <a:pt x="6963837" y="464988"/>
                </a:cubicBezTo>
                <a:cubicBezTo>
                  <a:pt x="6963837" y="456735"/>
                  <a:pt x="6966632" y="449680"/>
                  <a:pt x="6972223" y="443956"/>
                </a:cubicBezTo>
                <a:cubicBezTo>
                  <a:pt x="6977815" y="438231"/>
                  <a:pt x="6985003" y="435303"/>
                  <a:pt x="6994056" y="435303"/>
                </a:cubicBezTo>
                <a:close/>
                <a:moveTo>
                  <a:pt x="7211701" y="435302"/>
                </a:moveTo>
                <a:cubicBezTo>
                  <a:pt x="7215960" y="435302"/>
                  <a:pt x="7219954" y="435968"/>
                  <a:pt x="7223415" y="437964"/>
                </a:cubicBezTo>
                <a:cubicBezTo>
                  <a:pt x="7227142" y="439562"/>
                  <a:pt x="7230204" y="441692"/>
                  <a:pt x="7232733" y="444355"/>
                </a:cubicBezTo>
                <a:cubicBezTo>
                  <a:pt x="7235262" y="446884"/>
                  <a:pt x="7237392" y="450079"/>
                  <a:pt x="7238856" y="453673"/>
                </a:cubicBezTo>
                <a:cubicBezTo>
                  <a:pt x="7240321" y="457267"/>
                  <a:pt x="7241120" y="461128"/>
                  <a:pt x="7241120" y="465121"/>
                </a:cubicBezTo>
                <a:cubicBezTo>
                  <a:pt x="7241120" y="469248"/>
                  <a:pt x="7240321" y="473241"/>
                  <a:pt x="7238856" y="476835"/>
                </a:cubicBezTo>
                <a:cubicBezTo>
                  <a:pt x="7237259" y="480429"/>
                  <a:pt x="7235262" y="483491"/>
                  <a:pt x="7232733" y="486153"/>
                </a:cubicBezTo>
                <a:cubicBezTo>
                  <a:pt x="7230071" y="488816"/>
                  <a:pt x="7227009" y="490946"/>
                  <a:pt x="7223415" y="492410"/>
                </a:cubicBezTo>
                <a:cubicBezTo>
                  <a:pt x="7219821" y="493874"/>
                  <a:pt x="7215960" y="494673"/>
                  <a:pt x="7211701" y="494673"/>
                </a:cubicBezTo>
                <a:cubicBezTo>
                  <a:pt x="7202782" y="494673"/>
                  <a:pt x="7195460" y="491744"/>
                  <a:pt x="7189868" y="486153"/>
                </a:cubicBezTo>
                <a:cubicBezTo>
                  <a:pt x="7184278" y="480563"/>
                  <a:pt x="7181482" y="473507"/>
                  <a:pt x="7181482" y="464988"/>
                </a:cubicBezTo>
                <a:cubicBezTo>
                  <a:pt x="7181482" y="456735"/>
                  <a:pt x="7184278" y="449680"/>
                  <a:pt x="7189868" y="443955"/>
                </a:cubicBezTo>
                <a:cubicBezTo>
                  <a:pt x="7195460" y="438231"/>
                  <a:pt x="7202649" y="435302"/>
                  <a:pt x="7211701" y="435302"/>
                </a:cubicBezTo>
                <a:close/>
                <a:moveTo>
                  <a:pt x="7429345" y="435302"/>
                </a:moveTo>
                <a:cubicBezTo>
                  <a:pt x="7433605" y="435302"/>
                  <a:pt x="7437466" y="435968"/>
                  <a:pt x="7441059" y="437964"/>
                </a:cubicBezTo>
                <a:cubicBezTo>
                  <a:pt x="7444787" y="439562"/>
                  <a:pt x="7447848" y="441692"/>
                  <a:pt x="7450377" y="444354"/>
                </a:cubicBezTo>
                <a:cubicBezTo>
                  <a:pt x="7452907" y="446884"/>
                  <a:pt x="7455036" y="450079"/>
                  <a:pt x="7456501" y="453673"/>
                </a:cubicBezTo>
                <a:cubicBezTo>
                  <a:pt x="7457965" y="457267"/>
                  <a:pt x="7458764" y="461128"/>
                  <a:pt x="7458764" y="465121"/>
                </a:cubicBezTo>
                <a:cubicBezTo>
                  <a:pt x="7458764" y="469248"/>
                  <a:pt x="7457965" y="473241"/>
                  <a:pt x="7456501" y="476835"/>
                </a:cubicBezTo>
                <a:cubicBezTo>
                  <a:pt x="7454904" y="480429"/>
                  <a:pt x="7452907" y="483491"/>
                  <a:pt x="7450377" y="486153"/>
                </a:cubicBezTo>
                <a:cubicBezTo>
                  <a:pt x="7447715" y="488816"/>
                  <a:pt x="7444654" y="490946"/>
                  <a:pt x="7441059" y="492410"/>
                </a:cubicBezTo>
                <a:cubicBezTo>
                  <a:pt x="7437466" y="493874"/>
                  <a:pt x="7433605" y="494673"/>
                  <a:pt x="7429345" y="494673"/>
                </a:cubicBezTo>
                <a:cubicBezTo>
                  <a:pt x="7420426" y="494673"/>
                  <a:pt x="7413105" y="491744"/>
                  <a:pt x="7407513" y="486153"/>
                </a:cubicBezTo>
                <a:cubicBezTo>
                  <a:pt x="7401922" y="480563"/>
                  <a:pt x="7399127" y="473507"/>
                  <a:pt x="7399127" y="464988"/>
                </a:cubicBezTo>
                <a:cubicBezTo>
                  <a:pt x="7399127" y="456735"/>
                  <a:pt x="7401922" y="449680"/>
                  <a:pt x="7407513" y="443955"/>
                </a:cubicBezTo>
                <a:cubicBezTo>
                  <a:pt x="7413105" y="438231"/>
                  <a:pt x="7420293" y="435302"/>
                  <a:pt x="7429345" y="435302"/>
                </a:cubicBezTo>
                <a:close/>
                <a:moveTo>
                  <a:pt x="7646991" y="435302"/>
                </a:moveTo>
                <a:cubicBezTo>
                  <a:pt x="7651250" y="435302"/>
                  <a:pt x="7655111" y="435968"/>
                  <a:pt x="7658705" y="437964"/>
                </a:cubicBezTo>
                <a:cubicBezTo>
                  <a:pt x="7662432" y="439562"/>
                  <a:pt x="7665493" y="441692"/>
                  <a:pt x="7668022" y="444354"/>
                </a:cubicBezTo>
                <a:cubicBezTo>
                  <a:pt x="7670552" y="446883"/>
                  <a:pt x="7672682" y="450078"/>
                  <a:pt x="7674146" y="453672"/>
                </a:cubicBezTo>
                <a:cubicBezTo>
                  <a:pt x="7675610" y="457267"/>
                  <a:pt x="7676409" y="461128"/>
                  <a:pt x="7676409" y="465121"/>
                </a:cubicBezTo>
                <a:cubicBezTo>
                  <a:pt x="7676409" y="469248"/>
                  <a:pt x="7675610" y="473241"/>
                  <a:pt x="7674146" y="476835"/>
                </a:cubicBezTo>
                <a:cubicBezTo>
                  <a:pt x="7672549" y="480429"/>
                  <a:pt x="7670552" y="483491"/>
                  <a:pt x="7668022" y="486153"/>
                </a:cubicBezTo>
                <a:cubicBezTo>
                  <a:pt x="7665361" y="488816"/>
                  <a:pt x="7662299" y="490946"/>
                  <a:pt x="7658705" y="492410"/>
                </a:cubicBezTo>
                <a:cubicBezTo>
                  <a:pt x="7655111" y="493874"/>
                  <a:pt x="7651250" y="494673"/>
                  <a:pt x="7646991" y="494673"/>
                </a:cubicBezTo>
                <a:cubicBezTo>
                  <a:pt x="7638071" y="494673"/>
                  <a:pt x="7630750" y="491744"/>
                  <a:pt x="7625158" y="486153"/>
                </a:cubicBezTo>
                <a:cubicBezTo>
                  <a:pt x="7619568" y="480563"/>
                  <a:pt x="7616772" y="473507"/>
                  <a:pt x="7616772" y="464988"/>
                </a:cubicBezTo>
                <a:cubicBezTo>
                  <a:pt x="7616772" y="456735"/>
                  <a:pt x="7619568" y="449679"/>
                  <a:pt x="7625158" y="443955"/>
                </a:cubicBezTo>
                <a:cubicBezTo>
                  <a:pt x="7630750" y="438231"/>
                  <a:pt x="7637939" y="435302"/>
                  <a:pt x="7646991" y="435302"/>
                </a:cubicBezTo>
                <a:close/>
                <a:moveTo>
                  <a:pt x="7864636" y="435302"/>
                </a:moveTo>
                <a:cubicBezTo>
                  <a:pt x="7868762" y="435302"/>
                  <a:pt x="7872756" y="435968"/>
                  <a:pt x="7876483" y="437964"/>
                </a:cubicBezTo>
                <a:cubicBezTo>
                  <a:pt x="7880210" y="439562"/>
                  <a:pt x="7883272" y="441692"/>
                  <a:pt x="7885802" y="444354"/>
                </a:cubicBezTo>
                <a:cubicBezTo>
                  <a:pt x="7888331" y="446883"/>
                  <a:pt x="7890460" y="450078"/>
                  <a:pt x="7891924" y="453672"/>
                </a:cubicBezTo>
                <a:cubicBezTo>
                  <a:pt x="7893389" y="457266"/>
                  <a:pt x="7894188" y="461128"/>
                  <a:pt x="7894188" y="465121"/>
                </a:cubicBezTo>
                <a:cubicBezTo>
                  <a:pt x="7894188" y="469248"/>
                  <a:pt x="7893389" y="473241"/>
                  <a:pt x="7891924" y="476835"/>
                </a:cubicBezTo>
                <a:cubicBezTo>
                  <a:pt x="7890327" y="480429"/>
                  <a:pt x="7888331" y="483491"/>
                  <a:pt x="7885802" y="486153"/>
                </a:cubicBezTo>
                <a:cubicBezTo>
                  <a:pt x="7883139" y="488816"/>
                  <a:pt x="7880078" y="490946"/>
                  <a:pt x="7876483" y="492410"/>
                </a:cubicBezTo>
                <a:cubicBezTo>
                  <a:pt x="7872756" y="493874"/>
                  <a:pt x="7868895" y="494673"/>
                  <a:pt x="7864636" y="494673"/>
                </a:cubicBezTo>
                <a:cubicBezTo>
                  <a:pt x="7855717" y="494673"/>
                  <a:pt x="7848396" y="491744"/>
                  <a:pt x="7842803" y="486153"/>
                </a:cubicBezTo>
                <a:cubicBezTo>
                  <a:pt x="7837213" y="480563"/>
                  <a:pt x="7834417" y="473507"/>
                  <a:pt x="7834417" y="464988"/>
                </a:cubicBezTo>
                <a:cubicBezTo>
                  <a:pt x="7834417" y="456735"/>
                  <a:pt x="7837213" y="449679"/>
                  <a:pt x="7842803" y="443955"/>
                </a:cubicBezTo>
                <a:cubicBezTo>
                  <a:pt x="7848396" y="438231"/>
                  <a:pt x="7855584" y="435302"/>
                  <a:pt x="7864636" y="435302"/>
                </a:cubicBezTo>
                <a:close/>
                <a:moveTo>
                  <a:pt x="8082281" y="435302"/>
                </a:moveTo>
                <a:cubicBezTo>
                  <a:pt x="8086407" y="435302"/>
                  <a:pt x="8090401" y="435968"/>
                  <a:pt x="8094127" y="437964"/>
                </a:cubicBezTo>
                <a:cubicBezTo>
                  <a:pt x="8097855" y="439562"/>
                  <a:pt x="8100916" y="441692"/>
                  <a:pt x="8103446" y="444354"/>
                </a:cubicBezTo>
                <a:cubicBezTo>
                  <a:pt x="8105975" y="446883"/>
                  <a:pt x="8108104" y="450078"/>
                  <a:pt x="8109569" y="453672"/>
                </a:cubicBezTo>
                <a:cubicBezTo>
                  <a:pt x="8111033" y="457266"/>
                  <a:pt x="8111832" y="461127"/>
                  <a:pt x="8111832" y="465120"/>
                </a:cubicBezTo>
                <a:cubicBezTo>
                  <a:pt x="8111832" y="469248"/>
                  <a:pt x="8111033" y="473241"/>
                  <a:pt x="8109569" y="476835"/>
                </a:cubicBezTo>
                <a:cubicBezTo>
                  <a:pt x="8107972" y="480429"/>
                  <a:pt x="8105975" y="483491"/>
                  <a:pt x="8103446" y="486153"/>
                </a:cubicBezTo>
                <a:cubicBezTo>
                  <a:pt x="8100783" y="488816"/>
                  <a:pt x="8097722" y="490946"/>
                  <a:pt x="8094127" y="492410"/>
                </a:cubicBezTo>
                <a:cubicBezTo>
                  <a:pt x="8090401" y="493874"/>
                  <a:pt x="8086540" y="494673"/>
                  <a:pt x="8082281" y="494673"/>
                </a:cubicBezTo>
                <a:cubicBezTo>
                  <a:pt x="8073361" y="494673"/>
                  <a:pt x="8066040" y="491744"/>
                  <a:pt x="8060448" y="486153"/>
                </a:cubicBezTo>
                <a:cubicBezTo>
                  <a:pt x="8054857" y="480563"/>
                  <a:pt x="8052062" y="473507"/>
                  <a:pt x="8052062" y="464988"/>
                </a:cubicBezTo>
                <a:cubicBezTo>
                  <a:pt x="8052062" y="456734"/>
                  <a:pt x="8054857" y="449679"/>
                  <a:pt x="8060448" y="443955"/>
                </a:cubicBezTo>
                <a:cubicBezTo>
                  <a:pt x="8066040" y="438231"/>
                  <a:pt x="8073228" y="435302"/>
                  <a:pt x="8082281" y="435302"/>
                </a:cubicBezTo>
                <a:close/>
                <a:moveTo>
                  <a:pt x="8299793" y="435302"/>
                </a:moveTo>
                <a:cubicBezTo>
                  <a:pt x="8304052" y="435302"/>
                  <a:pt x="8308046" y="435968"/>
                  <a:pt x="8311507" y="437964"/>
                </a:cubicBezTo>
                <a:cubicBezTo>
                  <a:pt x="8315235" y="439562"/>
                  <a:pt x="8318296" y="441692"/>
                  <a:pt x="8320825" y="444354"/>
                </a:cubicBezTo>
                <a:cubicBezTo>
                  <a:pt x="8323354" y="446883"/>
                  <a:pt x="8325484" y="450078"/>
                  <a:pt x="8326948" y="453672"/>
                </a:cubicBezTo>
                <a:cubicBezTo>
                  <a:pt x="8328413" y="457266"/>
                  <a:pt x="8329212" y="461127"/>
                  <a:pt x="8329212" y="465120"/>
                </a:cubicBezTo>
                <a:cubicBezTo>
                  <a:pt x="8329212" y="469247"/>
                  <a:pt x="8328413" y="473241"/>
                  <a:pt x="8326948" y="476835"/>
                </a:cubicBezTo>
                <a:cubicBezTo>
                  <a:pt x="8325351" y="480429"/>
                  <a:pt x="8323354" y="483491"/>
                  <a:pt x="8320825" y="486153"/>
                </a:cubicBezTo>
                <a:cubicBezTo>
                  <a:pt x="8318163" y="488816"/>
                  <a:pt x="8315101" y="490946"/>
                  <a:pt x="8311507" y="492410"/>
                </a:cubicBezTo>
                <a:cubicBezTo>
                  <a:pt x="8307913" y="493874"/>
                  <a:pt x="8304052" y="494673"/>
                  <a:pt x="8299793" y="494673"/>
                </a:cubicBezTo>
                <a:cubicBezTo>
                  <a:pt x="8290874" y="494673"/>
                  <a:pt x="8283553" y="491744"/>
                  <a:pt x="8277960" y="486153"/>
                </a:cubicBezTo>
                <a:cubicBezTo>
                  <a:pt x="8272370" y="480563"/>
                  <a:pt x="8269574" y="473507"/>
                  <a:pt x="8269574" y="464987"/>
                </a:cubicBezTo>
                <a:cubicBezTo>
                  <a:pt x="8269574" y="456734"/>
                  <a:pt x="8272370" y="449679"/>
                  <a:pt x="8277960" y="443955"/>
                </a:cubicBezTo>
                <a:cubicBezTo>
                  <a:pt x="8283553" y="438231"/>
                  <a:pt x="8290741" y="435302"/>
                  <a:pt x="8299793" y="435302"/>
                </a:cubicBezTo>
                <a:close/>
                <a:moveTo>
                  <a:pt x="8517438" y="435302"/>
                </a:moveTo>
                <a:cubicBezTo>
                  <a:pt x="8521698" y="435302"/>
                  <a:pt x="8525559" y="435968"/>
                  <a:pt x="8529152" y="437964"/>
                </a:cubicBezTo>
                <a:cubicBezTo>
                  <a:pt x="8532880" y="439562"/>
                  <a:pt x="8535941" y="441692"/>
                  <a:pt x="8538470" y="444354"/>
                </a:cubicBezTo>
                <a:cubicBezTo>
                  <a:pt x="8541000" y="446883"/>
                  <a:pt x="8543130" y="450078"/>
                  <a:pt x="8544594" y="453672"/>
                </a:cubicBezTo>
                <a:cubicBezTo>
                  <a:pt x="8546058" y="457266"/>
                  <a:pt x="8546857" y="461127"/>
                  <a:pt x="8546857" y="465120"/>
                </a:cubicBezTo>
                <a:cubicBezTo>
                  <a:pt x="8546857" y="469247"/>
                  <a:pt x="8546058" y="473240"/>
                  <a:pt x="8544594" y="476835"/>
                </a:cubicBezTo>
                <a:cubicBezTo>
                  <a:pt x="8542997" y="480429"/>
                  <a:pt x="8541000" y="483491"/>
                  <a:pt x="8538470" y="486153"/>
                </a:cubicBezTo>
                <a:cubicBezTo>
                  <a:pt x="8535808" y="488816"/>
                  <a:pt x="8532747" y="490946"/>
                  <a:pt x="8529152" y="492410"/>
                </a:cubicBezTo>
                <a:cubicBezTo>
                  <a:pt x="8525559" y="493874"/>
                  <a:pt x="8521698" y="494673"/>
                  <a:pt x="8517438" y="494673"/>
                </a:cubicBezTo>
                <a:cubicBezTo>
                  <a:pt x="8508385" y="494673"/>
                  <a:pt x="8501197" y="491744"/>
                  <a:pt x="8495606" y="486153"/>
                </a:cubicBezTo>
                <a:cubicBezTo>
                  <a:pt x="8490015" y="480563"/>
                  <a:pt x="8487220" y="473506"/>
                  <a:pt x="8487220" y="464987"/>
                </a:cubicBezTo>
                <a:cubicBezTo>
                  <a:pt x="8487220" y="456734"/>
                  <a:pt x="8490015" y="449679"/>
                  <a:pt x="8495606" y="443955"/>
                </a:cubicBezTo>
                <a:cubicBezTo>
                  <a:pt x="8501197" y="438231"/>
                  <a:pt x="8508385" y="435302"/>
                  <a:pt x="8517438" y="435302"/>
                </a:cubicBezTo>
                <a:close/>
                <a:moveTo>
                  <a:pt x="8735083" y="435302"/>
                </a:moveTo>
                <a:cubicBezTo>
                  <a:pt x="8739342" y="435302"/>
                  <a:pt x="8743203" y="435968"/>
                  <a:pt x="8746797" y="437964"/>
                </a:cubicBezTo>
                <a:cubicBezTo>
                  <a:pt x="8750391" y="439562"/>
                  <a:pt x="8753586" y="441692"/>
                  <a:pt x="8756115" y="444354"/>
                </a:cubicBezTo>
                <a:cubicBezTo>
                  <a:pt x="8758644" y="446883"/>
                  <a:pt x="8760774" y="450078"/>
                  <a:pt x="8762238" y="453672"/>
                </a:cubicBezTo>
                <a:cubicBezTo>
                  <a:pt x="8763702" y="457266"/>
                  <a:pt x="8764502" y="461127"/>
                  <a:pt x="8764502" y="465120"/>
                </a:cubicBezTo>
                <a:cubicBezTo>
                  <a:pt x="8764502" y="469247"/>
                  <a:pt x="8763702" y="473240"/>
                  <a:pt x="8762238" y="476834"/>
                </a:cubicBezTo>
                <a:cubicBezTo>
                  <a:pt x="8760641" y="480428"/>
                  <a:pt x="8758644" y="483491"/>
                  <a:pt x="8756115" y="486153"/>
                </a:cubicBezTo>
                <a:cubicBezTo>
                  <a:pt x="8753453" y="488815"/>
                  <a:pt x="8750391" y="490946"/>
                  <a:pt x="8746797" y="492410"/>
                </a:cubicBezTo>
                <a:cubicBezTo>
                  <a:pt x="8743203" y="493874"/>
                  <a:pt x="8739342" y="494673"/>
                  <a:pt x="8735083" y="494673"/>
                </a:cubicBezTo>
                <a:cubicBezTo>
                  <a:pt x="8726030" y="494673"/>
                  <a:pt x="8718841" y="491744"/>
                  <a:pt x="8713250" y="486153"/>
                </a:cubicBezTo>
                <a:cubicBezTo>
                  <a:pt x="8707660" y="480563"/>
                  <a:pt x="8704864" y="473506"/>
                  <a:pt x="8704864" y="464987"/>
                </a:cubicBezTo>
                <a:cubicBezTo>
                  <a:pt x="8704864" y="456734"/>
                  <a:pt x="8707660" y="449679"/>
                  <a:pt x="8713250" y="443955"/>
                </a:cubicBezTo>
                <a:cubicBezTo>
                  <a:pt x="8718841" y="438231"/>
                  <a:pt x="8726030" y="435302"/>
                  <a:pt x="8735083" y="435302"/>
                </a:cubicBezTo>
                <a:close/>
                <a:moveTo>
                  <a:pt x="8952728" y="435302"/>
                </a:moveTo>
                <a:cubicBezTo>
                  <a:pt x="8956988" y="435302"/>
                  <a:pt x="8960849" y="435968"/>
                  <a:pt x="8964442" y="437964"/>
                </a:cubicBezTo>
                <a:cubicBezTo>
                  <a:pt x="8968037" y="439562"/>
                  <a:pt x="8971231" y="441692"/>
                  <a:pt x="8973760" y="444354"/>
                </a:cubicBezTo>
                <a:cubicBezTo>
                  <a:pt x="8976290" y="446883"/>
                  <a:pt x="8978419" y="450078"/>
                  <a:pt x="8979884" y="453672"/>
                </a:cubicBezTo>
                <a:cubicBezTo>
                  <a:pt x="8981348" y="457266"/>
                  <a:pt x="8982147" y="461127"/>
                  <a:pt x="8982147" y="465120"/>
                </a:cubicBezTo>
                <a:cubicBezTo>
                  <a:pt x="8982147" y="469247"/>
                  <a:pt x="8981348" y="473240"/>
                  <a:pt x="8979884" y="476834"/>
                </a:cubicBezTo>
                <a:cubicBezTo>
                  <a:pt x="8978287" y="480428"/>
                  <a:pt x="8976290" y="483490"/>
                  <a:pt x="8973760" y="486153"/>
                </a:cubicBezTo>
                <a:cubicBezTo>
                  <a:pt x="8971098" y="488815"/>
                  <a:pt x="8968037" y="490946"/>
                  <a:pt x="8964442" y="492410"/>
                </a:cubicBezTo>
                <a:cubicBezTo>
                  <a:pt x="8960849" y="493874"/>
                  <a:pt x="8956988" y="494673"/>
                  <a:pt x="8952728" y="494673"/>
                </a:cubicBezTo>
                <a:cubicBezTo>
                  <a:pt x="8943808" y="494673"/>
                  <a:pt x="8936487" y="491744"/>
                  <a:pt x="8930896" y="486153"/>
                </a:cubicBezTo>
                <a:cubicBezTo>
                  <a:pt x="8925305" y="480562"/>
                  <a:pt x="8922510" y="473506"/>
                  <a:pt x="8922510" y="464987"/>
                </a:cubicBezTo>
                <a:cubicBezTo>
                  <a:pt x="8922510" y="456734"/>
                  <a:pt x="8925305" y="449679"/>
                  <a:pt x="8930896" y="443955"/>
                </a:cubicBezTo>
                <a:cubicBezTo>
                  <a:pt x="8936487" y="438231"/>
                  <a:pt x="8943675" y="435302"/>
                  <a:pt x="8952728" y="435302"/>
                </a:cubicBezTo>
                <a:close/>
                <a:moveTo>
                  <a:pt x="9170374" y="435301"/>
                </a:moveTo>
                <a:cubicBezTo>
                  <a:pt x="9174500" y="435301"/>
                  <a:pt x="9178494" y="435968"/>
                  <a:pt x="9182088" y="437963"/>
                </a:cubicBezTo>
                <a:cubicBezTo>
                  <a:pt x="9185682" y="439562"/>
                  <a:pt x="9188876" y="441692"/>
                  <a:pt x="9191405" y="444354"/>
                </a:cubicBezTo>
                <a:cubicBezTo>
                  <a:pt x="9193935" y="446883"/>
                  <a:pt x="9196065" y="450078"/>
                  <a:pt x="9197529" y="453672"/>
                </a:cubicBezTo>
                <a:cubicBezTo>
                  <a:pt x="9198993" y="457266"/>
                  <a:pt x="9199792" y="461127"/>
                  <a:pt x="9199792" y="465120"/>
                </a:cubicBezTo>
                <a:cubicBezTo>
                  <a:pt x="9199792" y="469247"/>
                  <a:pt x="9198993" y="473240"/>
                  <a:pt x="9197529" y="476834"/>
                </a:cubicBezTo>
                <a:cubicBezTo>
                  <a:pt x="9195932" y="480428"/>
                  <a:pt x="9193935" y="483490"/>
                  <a:pt x="9191405" y="486152"/>
                </a:cubicBezTo>
                <a:cubicBezTo>
                  <a:pt x="9188744" y="488815"/>
                  <a:pt x="9185682" y="490945"/>
                  <a:pt x="9182088" y="492409"/>
                </a:cubicBezTo>
                <a:cubicBezTo>
                  <a:pt x="9178494" y="493874"/>
                  <a:pt x="9174633" y="494673"/>
                  <a:pt x="9170374" y="494673"/>
                </a:cubicBezTo>
                <a:cubicBezTo>
                  <a:pt x="9161453" y="494673"/>
                  <a:pt x="9154132" y="491743"/>
                  <a:pt x="9148541" y="486152"/>
                </a:cubicBezTo>
                <a:cubicBezTo>
                  <a:pt x="9142951" y="480562"/>
                  <a:pt x="9140155" y="473506"/>
                  <a:pt x="9140155" y="464987"/>
                </a:cubicBezTo>
                <a:cubicBezTo>
                  <a:pt x="9140155" y="456734"/>
                  <a:pt x="9142951" y="449679"/>
                  <a:pt x="9148541" y="443955"/>
                </a:cubicBezTo>
                <a:cubicBezTo>
                  <a:pt x="9154132" y="438231"/>
                  <a:pt x="9161321" y="435301"/>
                  <a:pt x="9170374" y="435301"/>
                </a:cubicBezTo>
                <a:close/>
                <a:moveTo>
                  <a:pt x="9387885" y="435301"/>
                </a:moveTo>
                <a:cubicBezTo>
                  <a:pt x="9392145" y="435301"/>
                  <a:pt x="9396138" y="435967"/>
                  <a:pt x="9399599" y="437963"/>
                </a:cubicBezTo>
                <a:cubicBezTo>
                  <a:pt x="9403194" y="439561"/>
                  <a:pt x="9406388" y="441692"/>
                  <a:pt x="9408917" y="444354"/>
                </a:cubicBezTo>
                <a:cubicBezTo>
                  <a:pt x="9411447" y="446883"/>
                  <a:pt x="9413576" y="450078"/>
                  <a:pt x="9415041" y="453672"/>
                </a:cubicBezTo>
                <a:cubicBezTo>
                  <a:pt x="9416505" y="457266"/>
                  <a:pt x="9417304" y="461127"/>
                  <a:pt x="9417304" y="465120"/>
                </a:cubicBezTo>
                <a:cubicBezTo>
                  <a:pt x="9417304" y="469247"/>
                  <a:pt x="9416505" y="473240"/>
                  <a:pt x="9415041" y="476834"/>
                </a:cubicBezTo>
                <a:cubicBezTo>
                  <a:pt x="9413444" y="480428"/>
                  <a:pt x="9411447" y="483490"/>
                  <a:pt x="9408917" y="486152"/>
                </a:cubicBezTo>
                <a:cubicBezTo>
                  <a:pt x="9406255" y="488815"/>
                  <a:pt x="9403194" y="490945"/>
                  <a:pt x="9399599" y="492409"/>
                </a:cubicBezTo>
                <a:cubicBezTo>
                  <a:pt x="9396005" y="493874"/>
                  <a:pt x="9392145" y="494672"/>
                  <a:pt x="9387885" y="494672"/>
                </a:cubicBezTo>
                <a:cubicBezTo>
                  <a:pt x="9378965" y="494672"/>
                  <a:pt x="9371644" y="491743"/>
                  <a:pt x="9366053" y="486152"/>
                </a:cubicBezTo>
                <a:cubicBezTo>
                  <a:pt x="9360462" y="480562"/>
                  <a:pt x="9357667" y="473506"/>
                  <a:pt x="9357667" y="464987"/>
                </a:cubicBezTo>
                <a:cubicBezTo>
                  <a:pt x="9357667" y="456734"/>
                  <a:pt x="9360462" y="449679"/>
                  <a:pt x="9366053" y="443954"/>
                </a:cubicBezTo>
                <a:cubicBezTo>
                  <a:pt x="9371644" y="438230"/>
                  <a:pt x="9378832" y="435301"/>
                  <a:pt x="9387885" y="435301"/>
                </a:cubicBezTo>
                <a:close/>
                <a:moveTo>
                  <a:pt x="9605531" y="435301"/>
                </a:moveTo>
                <a:cubicBezTo>
                  <a:pt x="9609790" y="435301"/>
                  <a:pt x="9613784" y="435967"/>
                  <a:pt x="9617245" y="437963"/>
                </a:cubicBezTo>
                <a:cubicBezTo>
                  <a:pt x="9620839" y="439561"/>
                  <a:pt x="9624033" y="441691"/>
                  <a:pt x="9626562" y="444353"/>
                </a:cubicBezTo>
                <a:cubicBezTo>
                  <a:pt x="9629092" y="446883"/>
                  <a:pt x="9631222" y="450078"/>
                  <a:pt x="9632686" y="453672"/>
                </a:cubicBezTo>
                <a:cubicBezTo>
                  <a:pt x="9634150" y="457266"/>
                  <a:pt x="9634949" y="461127"/>
                  <a:pt x="9634949" y="465120"/>
                </a:cubicBezTo>
                <a:cubicBezTo>
                  <a:pt x="9634949" y="469247"/>
                  <a:pt x="9634150" y="473240"/>
                  <a:pt x="9632686" y="476834"/>
                </a:cubicBezTo>
                <a:cubicBezTo>
                  <a:pt x="9631089" y="480428"/>
                  <a:pt x="9629092" y="483490"/>
                  <a:pt x="9626562" y="486152"/>
                </a:cubicBezTo>
                <a:cubicBezTo>
                  <a:pt x="9623901" y="488815"/>
                  <a:pt x="9620839" y="490945"/>
                  <a:pt x="9617245" y="492409"/>
                </a:cubicBezTo>
                <a:cubicBezTo>
                  <a:pt x="9613651" y="493873"/>
                  <a:pt x="9609790" y="494672"/>
                  <a:pt x="9605531" y="494672"/>
                </a:cubicBezTo>
                <a:cubicBezTo>
                  <a:pt x="9596610" y="494672"/>
                  <a:pt x="9589289" y="491743"/>
                  <a:pt x="9583698" y="486152"/>
                </a:cubicBezTo>
                <a:cubicBezTo>
                  <a:pt x="9578108" y="480562"/>
                  <a:pt x="9575312" y="473506"/>
                  <a:pt x="9575312" y="464987"/>
                </a:cubicBezTo>
                <a:cubicBezTo>
                  <a:pt x="9575312" y="456734"/>
                  <a:pt x="9578108" y="449679"/>
                  <a:pt x="9583698" y="443954"/>
                </a:cubicBezTo>
                <a:cubicBezTo>
                  <a:pt x="9589289" y="438230"/>
                  <a:pt x="9596478" y="435301"/>
                  <a:pt x="9605531" y="435301"/>
                </a:cubicBezTo>
                <a:close/>
                <a:moveTo>
                  <a:pt x="9823176" y="435301"/>
                </a:moveTo>
                <a:cubicBezTo>
                  <a:pt x="9827435" y="435301"/>
                  <a:pt x="9831296" y="435967"/>
                  <a:pt x="9834890" y="437963"/>
                </a:cubicBezTo>
                <a:cubicBezTo>
                  <a:pt x="9838617" y="439561"/>
                  <a:pt x="9841679" y="441691"/>
                  <a:pt x="9844208" y="444353"/>
                </a:cubicBezTo>
                <a:cubicBezTo>
                  <a:pt x="9846737" y="446882"/>
                  <a:pt x="9848867" y="450077"/>
                  <a:pt x="9850331" y="453672"/>
                </a:cubicBezTo>
                <a:cubicBezTo>
                  <a:pt x="9851796" y="457266"/>
                  <a:pt x="9852595" y="461127"/>
                  <a:pt x="9852595" y="465120"/>
                </a:cubicBezTo>
                <a:cubicBezTo>
                  <a:pt x="9852595" y="469247"/>
                  <a:pt x="9851796" y="473240"/>
                  <a:pt x="9850331" y="476834"/>
                </a:cubicBezTo>
                <a:cubicBezTo>
                  <a:pt x="9848734" y="480428"/>
                  <a:pt x="9846737" y="483490"/>
                  <a:pt x="9844208" y="486152"/>
                </a:cubicBezTo>
                <a:cubicBezTo>
                  <a:pt x="9841546" y="488815"/>
                  <a:pt x="9838484" y="490945"/>
                  <a:pt x="9834890" y="492409"/>
                </a:cubicBezTo>
                <a:cubicBezTo>
                  <a:pt x="9831296" y="493873"/>
                  <a:pt x="9827435" y="494672"/>
                  <a:pt x="9823176" y="494672"/>
                </a:cubicBezTo>
                <a:cubicBezTo>
                  <a:pt x="9814123" y="494672"/>
                  <a:pt x="9806935" y="491743"/>
                  <a:pt x="9801343" y="486152"/>
                </a:cubicBezTo>
                <a:cubicBezTo>
                  <a:pt x="9795753" y="480562"/>
                  <a:pt x="9792957" y="473506"/>
                  <a:pt x="9792957" y="464987"/>
                </a:cubicBezTo>
                <a:cubicBezTo>
                  <a:pt x="9792957" y="456734"/>
                  <a:pt x="9795753" y="449678"/>
                  <a:pt x="9801343" y="443954"/>
                </a:cubicBezTo>
                <a:cubicBezTo>
                  <a:pt x="9806935" y="438230"/>
                  <a:pt x="9814123" y="435301"/>
                  <a:pt x="9823176" y="435301"/>
                </a:cubicBezTo>
                <a:close/>
                <a:moveTo>
                  <a:pt x="10040820" y="435301"/>
                </a:moveTo>
                <a:cubicBezTo>
                  <a:pt x="10045080" y="435301"/>
                  <a:pt x="10048941" y="435967"/>
                  <a:pt x="10052534" y="437963"/>
                </a:cubicBezTo>
                <a:cubicBezTo>
                  <a:pt x="10056129" y="439561"/>
                  <a:pt x="10059323" y="441691"/>
                  <a:pt x="10061852" y="444353"/>
                </a:cubicBezTo>
                <a:cubicBezTo>
                  <a:pt x="10064382" y="446882"/>
                  <a:pt x="10066512" y="450077"/>
                  <a:pt x="10067976" y="453671"/>
                </a:cubicBezTo>
                <a:cubicBezTo>
                  <a:pt x="10069440" y="457265"/>
                  <a:pt x="10070239" y="461126"/>
                  <a:pt x="10070239" y="465120"/>
                </a:cubicBezTo>
                <a:cubicBezTo>
                  <a:pt x="10070239" y="469247"/>
                  <a:pt x="10069440" y="473240"/>
                  <a:pt x="10067976" y="476834"/>
                </a:cubicBezTo>
                <a:cubicBezTo>
                  <a:pt x="10066379" y="480428"/>
                  <a:pt x="10064382" y="483490"/>
                  <a:pt x="10061852" y="486152"/>
                </a:cubicBezTo>
                <a:cubicBezTo>
                  <a:pt x="10059190" y="488815"/>
                  <a:pt x="10056129" y="490945"/>
                  <a:pt x="10052534" y="492409"/>
                </a:cubicBezTo>
                <a:cubicBezTo>
                  <a:pt x="10048941" y="493873"/>
                  <a:pt x="10045080" y="494672"/>
                  <a:pt x="10040820" y="494672"/>
                </a:cubicBezTo>
                <a:cubicBezTo>
                  <a:pt x="10031767" y="494672"/>
                  <a:pt x="10024579" y="491743"/>
                  <a:pt x="10018988" y="486152"/>
                </a:cubicBezTo>
                <a:cubicBezTo>
                  <a:pt x="10013397" y="480562"/>
                  <a:pt x="10010602" y="473506"/>
                  <a:pt x="10010602" y="464987"/>
                </a:cubicBezTo>
                <a:cubicBezTo>
                  <a:pt x="10010602" y="456734"/>
                  <a:pt x="10013397" y="449678"/>
                  <a:pt x="10018988" y="443954"/>
                </a:cubicBezTo>
                <a:cubicBezTo>
                  <a:pt x="10024579" y="438230"/>
                  <a:pt x="10031767" y="435301"/>
                  <a:pt x="10040820" y="435301"/>
                </a:cubicBezTo>
                <a:close/>
                <a:moveTo>
                  <a:pt x="10258466" y="435301"/>
                </a:moveTo>
                <a:cubicBezTo>
                  <a:pt x="10262592" y="435301"/>
                  <a:pt x="10266586" y="435967"/>
                  <a:pt x="10270313" y="437963"/>
                </a:cubicBezTo>
                <a:cubicBezTo>
                  <a:pt x="10273907" y="439561"/>
                  <a:pt x="10277101" y="441691"/>
                  <a:pt x="10279631" y="444353"/>
                </a:cubicBezTo>
                <a:cubicBezTo>
                  <a:pt x="10282160" y="446882"/>
                  <a:pt x="10284290" y="450077"/>
                  <a:pt x="10285754" y="453671"/>
                </a:cubicBezTo>
                <a:cubicBezTo>
                  <a:pt x="10287218" y="457265"/>
                  <a:pt x="10288017" y="461126"/>
                  <a:pt x="10288017" y="465119"/>
                </a:cubicBezTo>
                <a:cubicBezTo>
                  <a:pt x="10288017" y="469246"/>
                  <a:pt x="10287218" y="473240"/>
                  <a:pt x="10285754" y="476834"/>
                </a:cubicBezTo>
                <a:cubicBezTo>
                  <a:pt x="10284157" y="480428"/>
                  <a:pt x="10282160" y="483490"/>
                  <a:pt x="10279631" y="486152"/>
                </a:cubicBezTo>
                <a:cubicBezTo>
                  <a:pt x="10276969" y="488815"/>
                  <a:pt x="10273907" y="490945"/>
                  <a:pt x="10270313" y="492409"/>
                </a:cubicBezTo>
                <a:cubicBezTo>
                  <a:pt x="10266586" y="493873"/>
                  <a:pt x="10262725" y="494672"/>
                  <a:pt x="10258466" y="494672"/>
                </a:cubicBezTo>
                <a:cubicBezTo>
                  <a:pt x="10249546" y="494672"/>
                  <a:pt x="10242224" y="491743"/>
                  <a:pt x="10236633" y="486152"/>
                </a:cubicBezTo>
                <a:cubicBezTo>
                  <a:pt x="10231043" y="480562"/>
                  <a:pt x="10228247" y="473506"/>
                  <a:pt x="10228247" y="464986"/>
                </a:cubicBezTo>
                <a:cubicBezTo>
                  <a:pt x="10228247" y="456733"/>
                  <a:pt x="10231043" y="449678"/>
                  <a:pt x="10236633" y="443954"/>
                </a:cubicBezTo>
                <a:cubicBezTo>
                  <a:pt x="10242092" y="438230"/>
                  <a:pt x="10249413" y="435301"/>
                  <a:pt x="10258466" y="435301"/>
                </a:cubicBezTo>
                <a:close/>
                <a:moveTo>
                  <a:pt x="10475977" y="435301"/>
                </a:moveTo>
                <a:cubicBezTo>
                  <a:pt x="10480237" y="435301"/>
                  <a:pt x="10484230" y="435967"/>
                  <a:pt x="10487824" y="437963"/>
                </a:cubicBezTo>
                <a:cubicBezTo>
                  <a:pt x="10491419" y="439561"/>
                  <a:pt x="10494613" y="441691"/>
                  <a:pt x="10497143" y="444353"/>
                </a:cubicBezTo>
                <a:cubicBezTo>
                  <a:pt x="10499672" y="446882"/>
                  <a:pt x="10501801" y="450077"/>
                  <a:pt x="10503266" y="453671"/>
                </a:cubicBezTo>
                <a:cubicBezTo>
                  <a:pt x="10504730" y="457265"/>
                  <a:pt x="10505529" y="461126"/>
                  <a:pt x="10505529" y="465119"/>
                </a:cubicBezTo>
                <a:cubicBezTo>
                  <a:pt x="10505529" y="469246"/>
                  <a:pt x="10504730" y="473239"/>
                  <a:pt x="10503266" y="476834"/>
                </a:cubicBezTo>
                <a:cubicBezTo>
                  <a:pt x="10501669" y="480428"/>
                  <a:pt x="10499672" y="483490"/>
                  <a:pt x="10497143" y="486152"/>
                </a:cubicBezTo>
                <a:cubicBezTo>
                  <a:pt x="10494480" y="488815"/>
                  <a:pt x="10491419" y="490945"/>
                  <a:pt x="10487824" y="492409"/>
                </a:cubicBezTo>
                <a:cubicBezTo>
                  <a:pt x="10484098" y="493873"/>
                  <a:pt x="10480237" y="494672"/>
                  <a:pt x="10475977" y="494672"/>
                </a:cubicBezTo>
                <a:cubicBezTo>
                  <a:pt x="10466924" y="494672"/>
                  <a:pt x="10459736" y="491743"/>
                  <a:pt x="10454145" y="486152"/>
                </a:cubicBezTo>
                <a:cubicBezTo>
                  <a:pt x="10448554" y="480562"/>
                  <a:pt x="10445759" y="473506"/>
                  <a:pt x="10445759" y="464986"/>
                </a:cubicBezTo>
                <a:cubicBezTo>
                  <a:pt x="10445759" y="456733"/>
                  <a:pt x="10448554" y="449678"/>
                  <a:pt x="10454145" y="443954"/>
                </a:cubicBezTo>
                <a:cubicBezTo>
                  <a:pt x="10459603" y="438230"/>
                  <a:pt x="10466924" y="435301"/>
                  <a:pt x="10475977" y="435301"/>
                </a:cubicBezTo>
                <a:close/>
                <a:moveTo>
                  <a:pt x="30225" y="234162"/>
                </a:moveTo>
                <a:cubicBezTo>
                  <a:pt x="24368" y="234162"/>
                  <a:pt x="21838" y="236159"/>
                  <a:pt x="20241" y="237757"/>
                </a:cubicBezTo>
                <a:cubicBezTo>
                  <a:pt x="17712" y="240419"/>
                  <a:pt x="16647" y="243214"/>
                  <a:pt x="16647" y="247208"/>
                </a:cubicBezTo>
                <a:cubicBezTo>
                  <a:pt x="16647" y="251334"/>
                  <a:pt x="17712" y="254263"/>
                  <a:pt x="20241" y="256792"/>
                </a:cubicBezTo>
                <a:cubicBezTo>
                  <a:pt x="21838" y="258390"/>
                  <a:pt x="24368" y="260253"/>
                  <a:pt x="30225" y="260253"/>
                </a:cubicBezTo>
                <a:cubicBezTo>
                  <a:pt x="32355" y="260253"/>
                  <a:pt x="34086" y="259988"/>
                  <a:pt x="35550" y="259321"/>
                </a:cubicBezTo>
                <a:cubicBezTo>
                  <a:pt x="37014" y="258789"/>
                  <a:pt x="38346" y="257990"/>
                  <a:pt x="39277" y="256925"/>
                </a:cubicBezTo>
                <a:cubicBezTo>
                  <a:pt x="40342" y="255727"/>
                  <a:pt x="41274" y="254396"/>
                  <a:pt x="41940" y="252666"/>
                </a:cubicBezTo>
                <a:cubicBezTo>
                  <a:pt x="42605" y="251068"/>
                  <a:pt x="42871" y="249205"/>
                  <a:pt x="42871" y="247208"/>
                </a:cubicBezTo>
                <a:cubicBezTo>
                  <a:pt x="42871" y="245344"/>
                  <a:pt x="42605" y="243614"/>
                  <a:pt x="41940" y="242016"/>
                </a:cubicBezTo>
                <a:cubicBezTo>
                  <a:pt x="41274" y="240419"/>
                  <a:pt x="40342" y="239088"/>
                  <a:pt x="39277" y="237890"/>
                </a:cubicBezTo>
                <a:cubicBezTo>
                  <a:pt x="38212" y="236825"/>
                  <a:pt x="36881" y="235893"/>
                  <a:pt x="35284" y="235227"/>
                </a:cubicBezTo>
                <a:cubicBezTo>
                  <a:pt x="33820" y="234562"/>
                  <a:pt x="32222" y="234162"/>
                  <a:pt x="30225" y="234162"/>
                </a:cubicBezTo>
                <a:close/>
                <a:moveTo>
                  <a:pt x="247869" y="234162"/>
                </a:moveTo>
                <a:cubicBezTo>
                  <a:pt x="242012" y="234162"/>
                  <a:pt x="239483" y="236159"/>
                  <a:pt x="237886" y="237757"/>
                </a:cubicBezTo>
                <a:cubicBezTo>
                  <a:pt x="235356" y="240419"/>
                  <a:pt x="234292" y="243214"/>
                  <a:pt x="234292" y="247208"/>
                </a:cubicBezTo>
                <a:cubicBezTo>
                  <a:pt x="234292" y="251334"/>
                  <a:pt x="235356" y="254263"/>
                  <a:pt x="237886" y="256792"/>
                </a:cubicBezTo>
                <a:cubicBezTo>
                  <a:pt x="239483" y="258390"/>
                  <a:pt x="242012" y="260253"/>
                  <a:pt x="247869" y="260253"/>
                </a:cubicBezTo>
                <a:cubicBezTo>
                  <a:pt x="249999" y="260253"/>
                  <a:pt x="251730" y="259987"/>
                  <a:pt x="253194" y="259321"/>
                </a:cubicBezTo>
                <a:cubicBezTo>
                  <a:pt x="254658" y="258789"/>
                  <a:pt x="255989" y="257990"/>
                  <a:pt x="256921" y="256925"/>
                </a:cubicBezTo>
                <a:cubicBezTo>
                  <a:pt x="257986" y="255727"/>
                  <a:pt x="258918" y="254396"/>
                  <a:pt x="259584" y="252666"/>
                </a:cubicBezTo>
                <a:cubicBezTo>
                  <a:pt x="260249" y="251068"/>
                  <a:pt x="260649" y="249205"/>
                  <a:pt x="260649" y="247208"/>
                </a:cubicBezTo>
                <a:cubicBezTo>
                  <a:pt x="260649" y="245344"/>
                  <a:pt x="260249" y="243614"/>
                  <a:pt x="259584" y="242016"/>
                </a:cubicBezTo>
                <a:cubicBezTo>
                  <a:pt x="258918" y="240419"/>
                  <a:pt x="257986" y="239088"/>
                  <a:pt x="256921" y="237890"/>
                </a:cubicBezTo>
                <a:cubicBezTo>
                  <a:pt x="255856" y="236825"/>
                  <a:pt x="254525" y="235893"/>
                  <a:pt x="252928" y="235227"/>
                </a:cubicBezTo>
                <a:cubicBezTo>
                  <a:pt x="251463" y="234562"/>
                  <a:pt x="249866" y="234162"/>
                  <a:pt x="247869" y="234162"/>
                </a:cubicBezTo>
                <a:close/>
                <a:moveTo>
                  <a:pt x="465514" y="234162"/>
                </a:moveTo>
                <a:cubicBezTo>
                  <a:pt x="459657" y="234162"/>
                  <a:pt x="457128" y="236159"/>
                  <a:pt x="455531" y="237757"/>
                </a:cubicBezTo>
                <a:cubicBezTo>
                  <a:pt x="453001" y="240419"/>
                  <a:pt x="451937" y="243214"/>
                  <a:pt x="451937" y="247208"/>
                </a:cubicBezTo>
                <a:cubicBezTo>
                  <a:pt x="451937" y="251334"/>
                  <a:pt x="453001" y="254263"/>
                  <a:pt x="455531" y="256792"/>
                </a:cubicBezTo>
                <a:cubicBezTo>
                  <a:pt x="457128" y="258390"/>
                  <a:pt x="459657" y="260253"/>
                  <a:pt x="465514" y="260253"/>
                </a:cubicBezTo>
                <a:cubicBezTo>
                  <a:pt x="467511" y="260253"/>
                  <a:pt x="469375" y="259987"/>
                  <a:pt x="470839" y="259321"/>
                </a:cubicBezTo>
                <a:cubicBezTo>
                  <a:pt x="472303" y="258789"/>
                  <a:pt x="473634" y="257990"/>
                  <a:pt x="474566" y="256925"/>
                </a:cubicBezTo>
                <a:cubicBezTo>
                  <a:pt x="475631" y="255727"/>
                  <a:pt x="476563" y="254396"/>
                  <a:pt x="477229" y="252666"/>
                </a:cubicBezTo>
                <a:cubicBezTo>
                  <a:pt x="477894" y="251068"/>
                  <a:pt x="478294" y="249205"/>
                  <a:pt x="478294" y="247208"/>
                </a:cubicBezTo>
                <a:cubicBezTo>
                  <a:pt x="478294" y="245344"/>
                  <a:pt x="477894" y="243614"/>
                  <a:pt x="477229" y="242016"/>
                </a:cubicBezTo>
                <a:cubicBezTo>
                  <a:pt x="476563" y="240419"/>
                  <a:pt x="475631" y="239088"/>
                  <a:pt x="474566" y="237890"/>
                </a:cubicBezTo>
                <a:cubicBezTo>
                  <a:pt x="473501" y="236825"/>
                  <a:pt x="472170" y="235893"/>
                  <a:pt x="470573" y="235227"/>
                </a:cubicBezTo>
                <a:cubicBezTo>
                  <a:pt x="469109" y="234562"/>
                  <a:pt x="467511" y="234162"/>
                  <a:pt x="465514" y="234162"/>
                </a:cubicBezTo>
                <a:close/>
                <a:moveTo>
                  <a:pt x="683158" y="234162"/>
                </a:moveTo>
                <a:cubicBezTo>
                  <a:pt x="677301" y="234162"/>
                  <a:pt x="674772" y="236159"/>
                  <a:pt x="673175" y="237757"/>
                </a:cubicBezTo>
                <a:cubicBezTo>
                  <a:pt x="670645" y="240419"/>
                  <a:pt x="669581" y="243214"/>
                  <a:pt x="669581" y="247208"/>
                </a:cubicBezTo>
                <a:cubicBezTo>
                  <a:pt x="669581" y="251334"/>
                  <a:pt x="670645" y="254263"/>
                  <a:pt x="673175" y="256792"/>
                </a:cubicBezTo>
                <a:cubicBezTo>
                  <a:pt x="674772" y="258390"/>
                  <a:pt x="677301" y="260253"/>
                  <a:pt x="683158" y="260253"/>
                </a:cubicBezTo>
                <a:cubicBezTo>
                  <a:pt x="685155" y="260253"/>
                  <a:pt x="687019" y="259987"/>
                  <a:pt x="688484" y="259321"/>
                </a:cubicBezTo>
                <a:cubicBezTo>
                  <a:pt x="689948" y="258789"/>
                  <a:pt x="691280" y="257990"/>
                  <a:pt x="692211" y="256925"/>
                </a:cubicBezTo>
                <a:cubicBezTo>
                  <a:pt x="693275" y="255727"/>
                  <a:pt x="694208" y="254396"/>
                  <a:pt x="694874" y="252666"/>
                </a:cubicBezTo>
                <a:cubicBezTo>
                  <a:pt x="695539" y="251068"/>
                  <a:pt x="695939" y="249205"/>
                  <a:pt x="695939" y="247208"/>
                </a:cubicBezTo>
                <a:cubicBezTo>
                  <a:pt x="695939" y="245344"/>
                  <a:pt x="695539" y="243614"/>
                  <a:pt x="694874" y="242016"/>
                </a:cubicBezTo>
                <a:cubicBezTo>
                  <a:pt x="694208" y="240419"/>
                  <a:pt x="693275" y="239088"/>
                  <a:pt x="692211" y="237890"/>
                </a:cubicBezTo>
                <a:cubicBezTo>
                  <a:pt x="691146" y="236825"/>
                  <a:pt x="689815" y="235893"/>
                  <a:pt x="688218" y="235227"/>
                </a:cubicBezTo>
                <a:cubicBezTo>
                  <a:pt x="686754" y="234562"/>
                  <a:pt x="685155" y="234162"/>
                  <a:pt x="683158" y="234162"/>
                </a:cubicBezTo>
                <a:close/>
                <a:moveTo>
                  <a:pt x="900937" y="234162"/>
                </a:moveTo>
                <a:cubicBezTo>
                  <a:pt x="895079" y="234162"/>
                  <a:pt x="892550" y="236159"/>
                  <a:pt x="890953" y="237757"/>
                </a:cubicBezTo>
                <a:cubicBezTo>
                  <a:pt x="888290" y="240419"/>
                  <a:pt x="887226" y="243214"/>
                  <a:pt x="887226" y="247208"/>
                </a:cubicBezTo>
                <a:cubicBezTo>
                  <a:pt x="887226" y="251334"/>
                  <a:pt x="888290" y="254263"/>
                  <a:pt x="890820" y="256792"/>
                </a:cubicBezTo>
                <a:cubicBezTo>
                  <a:pt x="892417" y="258390"/>
                  <a:pt x="894946" y="260253"/>
                  <a:pt x="900803" y="260253"/>
                </a:cubicBezTo>
                <a:cubicBezTo>
                  <a:pt x="902800" y="260253"/>
                  <a:pt x="904531" y="259987"/>
                  <a:pt x="906261" y="259321"/>
                </a:cubicBezTo>
                <a:cubicBezTo>
                  <a:pt x="907725" y="258789"/>
                  <a:pt x="909057" y="257990"/>
                  <a:pt x="909989" y="256925"/>
                </a:cubicBezTo>
                <a:cubicBezTo>
                  <a:pt x="911053" y="255727"/>
                  <a:pt x="911985" y="254396"/>
                  <a:pt x="912651" y="252666"/>
                </a:cubicBezTo>
                <a:cubicBezTo>
                  <a:pt x="913316" y="251068"/>
                  <a:pt x="913716" y="249205"/>
                  <a:pt x="913716" y="247208"/>
                </a:cubicBezTo>
                <a:cubicBezTo>
                  <a:pt x="913716" y="245344"/>
                  <a:pt x="913316" y="243614"/>
                  <a:pt x="912651" y="242016"/>
                </a:cubicBezTo>
                <a:cubicBezTo>
                  <a:pt x="911985" y="240419"/>
                  <a:pt x="911053" y="239088"/>
                  <a:pt x="909989" y="237890"/>
                </a:cubicBezTo>
                <a:cubicBezTo>
                  <a:pt x="908924" y="236825"/>
                  <a:pt x="907592" y="235893"/>
                  <a:pt x="905995" y="235227"/>
                </a:cubicBezTo>
                <a:cubicBezTo>
                  <a:pt x="904531" y="234562"/>
                  <a:pt x="902933" y="234162"/>
                  <a:pt x="900937" y="234162"/>
                </a:cubicBezTo>
                <a:close/>
                <a:moveTo>
                  <a:pt x="1118448" y="234162"/>
                </a:moveTo>
                <a:cubicBezTo>
                  <a:pt x="1112591" y="234162"/>
                  <a:pt x="1110062" y="236159"/>
                  <a:pt x="1108464" y="237757"/>
                </a:cubicBezTo>
                <a:cubicBezTo>
                  <a:pt x="1105802" y="240419"/>
                  <a:pt x="1104737" y="243214"/>
                  <a:pt x="1104737" y="247208"/>
                </a:cubicBezTo>
                <a:cubicBezTo>
                  <a:pt x="1104737" y="251334"/>
                  <a:pt x="1105802" y="254263"/>
                  <a:pt x="1108332" y="256792"/>
                </a:cubicBezTo>
                <a:cubicBezTo>
                  <a:pt x="1109929" y="258390"/>
                  <a:pt x="1112458" y="260253"/>
                  <a:pt x="1118315" y="260253"/>
                </a:cubicBezTo>
                <a:cubicBezTo>
                  <a:pt x="1120445" y="260253"/>
                  <a:pt x="1122176" y="259987"/>
                  <a:pt x="1123773" y="259321"/>
                </a:cubicBezTo>
                <a:cubicBezTo>
                  <a:pt x="1125237" y="258789"/>
                  <a:pt x="1126569" y="257990"/>
                  <a:pt x="1127500" y="256925"/>
                </a:cubicBezTo>
                <a:cubicBezTo>
                  <a:pt x="1128565" y="255727"/>
                  <a:pt x="1129497" y="254396"/>
                  <a:pt x="1130163" y="252666"/>
                </a:cubicBezTo>
                <a:cubicBezTo>
                  <a:pt x="1130828" y="251068"/>
                  <a:pt x="1131228" y="249205"/>
                  <a:pt x="1131228" y="247208"/>
                </a:cubicBezTo>
                <a:cubicBezTo>
                  <a:pt x="1131228" y="245344"/>
                  <a:pt x="1130828" y="243614"/>
                  <a:pt x="1130163" y="242016"/>
                </a:cubicBezTo>
                <a:cubicBezTo>
                  <a:pt x="1129497" y="240419"/>
                  <a:pt x="1128565" y="239088"/>
                  <a:pt x="1127500" y="237890"/>
                </a:cubicBezTo>
                <a:cubicBezTo>
                  <a:pt x="1126435" y="236825"/>
                  <a:pt x="1125104" y="235893"/>
                  <a:pt x="1123507" y="235227"/>
                </a:cubicBezTo>
                <a:cubicBezTo>
                  <a:pt x="1122043" y="234562"/>
                  <a:pt x="1120445" y="234162"/>
                  <a:pt x="1118448" y="234162"/>
                </a:cubicBezTo>
                <a:close/>
                <a:moveTo>
                  <a:pt x="1335960" y="234161"/>
                </a:moveTo>
                <a:cubicBezTo>
                  <a:pt x="1330102" y="234161"/>
                  <a:pt x="1327573" y="236158"/>
                  <a:pt x="1325977" y="237756"/>
                </a:cubicBezTo>
                <a:cubicBezTo>
                  <a:pt x="1323446" y="240419"/>
                  <a:pt x="1322382" y="243214"/>
                  <a:pt x="1322382" y="247208"/>
                </a:cubicBezTo>
                <a:cubicBezTo>
                  <a:pt x="1322382" y="251334"/>
                  <a:pt x="1323446" y="254263"/>
                  <a:pt x="1325977" y="256792"/>
                </a:cubicBezTo>
                <a:cubicBezTo>
                  <a:pt x="1327573" y="258390"/>
                  <a:pt x="1330102" y="260253"/>
                  <a:pt x="1335960" y="260253"/>
                </a:cubicBezTo>
                <a:cubicBezTo>
                  <a:pt x="1338090" y="260253"/>
                  <a:pt x="1339820" y="259987"/>
                  <a:pt x="1341285" y="259321"/>
                </a:cubicBezTo>
                <a:cubicBezTo>
                  <a:pt x="1342749" y="258789"/>
                  <a:pt x="1344080" y="257990"/>
                  <a:pt x="1345012" y="256925"/>
                </a:cubicBezTo>
                <a:cubicBezTo>
                  <a:pt x="1346077" y="255727"/>
                  <a:pt x="1347009" y="254396"/>
                  <a:pt x="1347675" y="252666"/>
                </a:cubicBezTo>
                <a:cubicBezTo>
                  <a:pt x="1348340" y="251068"/>
                  <a:pt x="1348740" y="249205"/>
                  <a:pt x="1348740" y="247208"/>
                </a:cubicBezTo>
                <a:cubicBezTo>
                  <a:pt x="1348740" y="245344"/>
                  <a:pt x="1348340" y="243614"/>
                  <a:pt x="1347675" y="242016"/>
                </a:cubicBezTo>
                <a:cubicBezTo>
                  <a:pt x="1347009" y="240419"/>
                  <a:pt x="1346077" y="239088"/>
                  <a:pt x="1345012" y="237889"/>
                </a:cubicBezTo>
                <a:cubicBezTo>
                  <a:pt x="1343947" y="236824"/>
                  <a:pt x="1342616" y="235892"/>
                  <a:pt x="1341019" y="235226"/>
                </a:cubicBezTo>
                <a:cubicBezTo>
                  <a:pt x="1339554" y="234561"/>
                  <a:pt x="1337956" y="234161"/>
                  <a:pt x="1335960" y="234161"/>
                </a:cubicBezTo>
                <a:close/>
                <a:moveTo>
                  <a:pt x="1553605" y="234161"/>
                </a:moveTo>
                <a:cubicBezTo>
                  <a:pt x="1547748" y="234161"/>
                  <a:pt x="1545219" y="236158"/>
                  <a:pt x="1543621" y="237756"/>
                </a:cubicBezTo>
                <a:cubicBezTo>
                  <a:pt x="1541092" y="240418"/>
                  <a:pt x="1540027" y="243213"/>
                  <a:pt x="1540027" y="247208"/>
                </a:cubicBezTo>
                <a:cubicBezTo>
                  <a:pt x="1540027" y="251334"/>
                  <a:pt x="1541092" y="254263"/>
                  <a:pt x="1543621" y="256792"/>
                </a:cubicBezTo>
                <a:cubicBezTo>
                  <a:pt x="1545219" y="258390"/>
                  <a:pt x="1547748" y="260253"/>
                  <a:pt x="1553605" y="260253"/>
                </a:cubicBezTo>
                <a:cubicBezTo>
                  <a:pt x="1555602" y="260253"/>
                  <a:pt x="1557466" y="259987"/>
                  <a:pt x="1558930" y="259321"/>
                </a:cubicBezTo>
                <a:cubicBezTo>
                  <a:pt x="1560394" y="258789"/>
                  <a:pt x="1561726" y="257990"/>
                  <a:pt x="1562657" y="256925"/>
                </a:cubicBezTo>
                <a:cubicBezTo>
                  <a:pt x="1563722" y="255727"/>
                  <a:pt x="1564654" y="254396"/>
                  <a:pt x="1565320" y="252666"/>
                </a:cubicBezTo>
                <a:cubicBezTo>
                  <a:pt x="1565985" y="251068"/>
                  <a:pt x="1566385" y="249205"/>
                  <a:pt x="1566385" y="247208"/>
                </a:cubicBezTo>
                <a:cubicBezTo>
                  <a:pt x="1566385" y="245343"/>
                  <a:pt x="1565985" y="243614"/>
                  <a:pt x="1565320" y="242015"/>
                </a:cubicBezTo>
                <a:cubicBezTo>
                  <a:pt x="1564654" y="240418"/>
                  <a:pt x="1563722" y="239087"/>
                  <a:pt x="1562657" y="237889"/>
                </a:cubicBezTo>
                <a:cubicBezTo>
                  <a:pt x="1561592" y="236824"/>
                  <a:pt x="1560261" y="235892"/>
                  <a:pt x="1558664" y="235226"/>
                </a:cubicBezTo>
                <a:cubicBezTo>
                  <a:pt x="1557200" y="234561"/>
                  <a:pt x="1555602" y="234161"/>
                  <a:pt x="1553605" y="234161"/>
                </a:cubicBezTo>
                <a:close/>
                <a:moveTo>
                  <a:pt x="1771250" y="234161"/>
                </a:moveTo>
                <a:cubicBezTo>
                  <a:pt x="1765393" y="234161"/>
                  <a:pt x="1762863" y="236158"/>
                  <a:pt x="1761267" y="237756"/>
                </a:cubicBezTo>
                <a:cubicBezTo>
                  <a:pt x="1758737" y="240418"/>
                  <a:pt x="1757672" y="243213"/>
                  <a:pt x="1757672" y="247207"/>
                </a:cubicBezTo>
                <a:cubicBezTo>
                  <a:pt x="1757672" y="251334"/>
                  <a:pt x="1758737" y="254263"/>
                  <a:pt x="1761267" y="256792"/>
                </a:cubicBezTo>
                <a:cubicBezTo>
                  <a:pt x="1762863" y="258390"/>
                  <a:pt x="1765393" y="260253"/>
                  <a:pt x="1771250" y="260253"/>
                </a:cubicBezTo>
                <a:cubicBezTo>
                  <a:pt x="1773247" y="260253"/>
                  <a:pt x="1775111" y="259987"/>
                  <a:pt x="1776575" y="259321"/>
                </a:cubicBezTo>
                <a:cubicBezTo>
                  <a:pt x="1778039" y="258789"/>
                  <a:pt x="1779370" y="257990"/>
                  <a:pt x="1780302" y="256925"/>
                </a:cubicBezTo>
                <a:cubicBezTo>
                  <a:pt x="1781367" y="255727"/>
                  <a:pt x="1782299" y="254396"/>
                  <a:pt x="1782965" y="252666"/>
                </a:cubicBezTo>
                <a:cubicBezTo>
                  <a:pt x="1783630" y="251067"/>
                  <a:pt x="1784030" y="249204"/>
                  <a:pt x="1784030" y="247207"/>
                </a:cubicBezTo>
                <a:cubicBezTo>
                  <a:pt x="1784030" y="245343"/>
                  <a:pt x="1783630" y="243613"/>
                  <a:pt x="1782965" y="242015"/>
                </a:cubicBezTo>
                <a:cubicBezTo>
                  <a:pt x="1782299" y="240418"/>
                  <a:pt x="1781367" y="239087"/>
                  <a:pt x="1780302" y="237889"/>
                </a:cubicBezTo>
                <a:cubicBezTo>
                  <a:pt x="1779237" y="236824"/>
                  <a:pt x="1777906" y="235892"/>
                  <a:pt x="1776309" y="235226"/>
                </a:cubicBezTo>
                <a:cubicBezTo>
                  <a:pt x="1774844" y="234561"/>
                  <a:pt x="1773247" y="234161"/>
                  <a:pt x="1771250" y="234161"/>
                </a:cubicBezTo>
                <a:close/>
                <a:moveTo>
                  <a:pt x="1988894" y="234161"/>
                </a:moveTo>
                <a:cubicBezTo>
                  <a:pt x="1983037" y="234161"/>
                  <a:pt x="1980508" y="236158"/>
                  <a:pt x="1978911" y="237756"/>
                </a:cubicBezTo>
                <a:cubicBezTo>
                  <a:pt x="1976381" y="240418"/>
                  <a:pt x="1975317" y="243213"/>
                  <a:pt x="1975317" y="247207"/>
                </a:cubicBezTo>
                <a:cubicBezTo>
                  <a:pt x="1975317" y="251333"/>
                  <a:pt x="1976381" y="254262"/>
                  <a:pt x="1978911" y="256792"/>
                </a:cubicBezTo>
                <a:cubicBezTo>
                  <a:pt x="1980508" y="258389"/>
                  <a:pt x="1983037" y="260253"/>
                  <a:pt x="1988894" y="260253"/>
                </a:cubicBezTo>
                <a:cubicBezTo>
                  <a:pt x="1990891" y="260253"/>
                  <a:pt x="1992622" y="259987"/>
                  <a:pt x="1994219" y="259321"/>
                </a:cubicBezTo>
                <a:cubicBezTo>
                  <a:pt x="1995817" y="258789"/>
                  <a:pt x="1997015" y="257989"/>
                  <a:pt x="1997946" y="256925"/>
                </a:cubicBezTo>
                <a:cubicBezTo>
                  <a:pt x="1999011" y="255726"/>
                  <a:pt x="1999943" y="254395"/>
                  <a:pt x="2000609" y="252665"/>
                </a:cubicBezTo>
                <a:cubicBezTo>
                  <a:pt x="2001141" y="251067"/>
                  <a:pt x="2001540" y="249204"/>
                  <a:pt x="2001540" y="247207"/>
                </a:cubicBezTo>
                <a:cubicBezTo>
                  <a:pt x="2001540" y="245343"/>
                  <a:pt x="2001274" y="243613"/>
                  <a:pt x="2000609" y="242015"/>
                </a:cubicBezTo>
                <a:cubicBezTo>
                  <a:pt x="1999943" y="240418"/>
                  <a:pt x="1999011" y="239087"/>
                  <a:pt x="1997946" y="237889"/>
                </a:cubicBezTo>
                <a:cubicBezTo>
                  <a:pt x="1996882" y="236824"/>
                  <a:pt x="1995550" y="235892"/>
                  <a:pt x="1993953" y="235226"/>
                </a:cubicBezTo>
                <a:cubicBezTo>
                  <a:pt x="1992489" y="234561"/>
                  <a:pt x="1990891" y="234161"/>
                  <a:pt x="1988894" y="234161"/>
                </a:cubicBezTo>
                <a:close/>
                <a:moveTo>
                  <a:pt x="2206407" y="234161"/>
                </a:moveTo>
                <a:cubicBezTo>
                  <a:pt x="2200550" y="234161"/>
                  <a:pt x="2198021" y="236158"/>
                  <a:pt x="2196423" y="237756"/>
                </a:cubicBezTo>
                <a:cubicBezTo>
                  <a:pt x="2193894" y="240418"/>
                  <a:pt x="2192829" y="243213"/>
                  <a:pt x="2192829" y="247207"/>
                </a:cubicBezTo>
                <a:cubicBezTo>
                  <a:pt x="2192829" y="251333"/>
                  <a:pt x="2193894" y="254262"/>
                  <a:pt x="2196423" y="256791"/>
                </a:cubicBezTo>
                <a:cubicBezTo>
                  <a:pt x="2198021" y="258389"/>
                  <a:pt x="2200550" y="260252"/>
                  <a:pt x="2206407" y="260252"/>
                </a:cubicBezTo>
                <a:cubicBezTo>
                  <a:pt x="2208537" y="260252"/>
                  <a:pt x="2210268" y="259987"/>
                  <a:pt x="2211732" y="259320"/>
                </a:cubicBezTo>
                <a:cubicBezTo>
                  <a:pt x="2213329" y="258788"/>
                  <a:pt x="2214527" y="257989"/>
                  <a:pt x="2215459" y="256924"/>
                </a:cubicBezTo>
                <a:cubicBezTo>
                  <a:pt x="2216524" y="255726"/>
                  <a:pt x="2217456" y="254395"/>
                  <a:pt x="2218122" y="252665"/>
                </a:cubicBezTo>
                <a:cubicBezTo>
                  <a:pt x="2218654" y="251067"/>
                  <a:pt x="2219053" y="249204"/>
                  <a:pt x="2219053" y="247207"/>
                </a:cubicBezTo>
                <a:cubicBezTo>
                  <a:pt x="2219053" y="245343"/>
                  <a:pt x="2218787" y="243613"/>
                  <a:pt x="2218122" y="242015"/>
                </a:cubicBezTo>
                <a:cubicBezTo>
                  <a:pt x="2217456" y="240418"/>
                  <a:pt x="2216524" y="239087"/>
                  <a:pt x="2215459" y="237889"/>
                </a:cubicBezTo>
                <a:cubicBezTo>
                  <a:pt x="2214394" y="236824"/>
                  <a:pt x="2213063" y="235892"/>
                  <a:pt x="2211466" y="235226"/>
                </a:cubicBezTo>
                <a:cubicBezTo>
                  <a:pt x="2210001" y="234561"/>
                  <a:pt x="2208404" y="234161"/>
                  <a:pt x="2206407" y="234161"/>
                </a:cubicBezTo>
                <a:close/>
                <a:moveTo>
                  <a:pt x="2424053" y="234161"/>
                </a:moveTo>
                <a:cubicBezTo>
                  <a:pt x="2418196" y="234161"/>
                  <a:pt x="2415667" y="236158"/>
                  <a:pt x="2414070" y="237756"/>
                </a:cubicBezTo>
                <a:cubicBezTo>
                  <a:pt x="2411539" y="240418"/>
                  <a:pt x="2410475" y="243213"/>
                  <a:pt x="2410475" y="247207"/>
                </a:cubicBezTo>
                <a:cubicBezTo>
                  <a:pt x="2410475" y="251333"/>
                  <a:pt x="2411539" y="254262"/>
                  <a:pt x="2414070" y="256791"/>
                </a:cubicBezTo>
                <a:cubicBezTo>
                  <a:pt x="2415667" y="258389"/>
                  <a:pt x="2418196" y="260252"/>
                  <a:pt x="2424053" y="260252"/>
                </a:cubicBezTo>
                <a:cubicBezTo>
                  <a:pt x="2426183" y="260252"/>
                  <a:pt x="2427914" y="259986"/>
                  <a:pt x="2429378" y="259320"/>
                </a:cubicBezTo>
                <a:cubicBezTo>
                  <a:pt x="2430976" y="258788"/>
                  <a:pt x="2432174" y="257989"/>
                  <a:pt x="2433105" y="256924"/>
                </a:cubicBezTo>
                <a:cubicBezTo>
                  <a:pt x="2434170" y="255726"/>
                  <a:pt x="2435102" y="254395"/>
                  <a:pt x="2435768" y="252665"/>
                </a:cubicBezTo>
                <a:cubicBezTo>
                  <a:pt x="2436300" y="251067"/>
                  <a:pt x="2436699" y="249204"/>
                  <a:pt x="2436699" y="247207"/>
                </a:cubicBezTo>
                <a:cubicBezTo>
                  <a:pt x="2436699" y="245343"/>
                  <a:pt x="2436433" y="243613"/>
                  <a:pt x="2435768" y="242015"/>
                </a:cubicBezTo>
                <a:cubicBezTo>
                  <a:pt x="2435102" y="240418"/>
                  <a:pt x="2434170" y="239087"/>
                  <a:pt x="2433105" y="237889"/>
                </a:cubicBezTo>
                <a:cubicBezTo>
                  <a:pt x="2432041" y="236824"/>
                  <a:pt x="2430709" y="235892"/>
                  <a:pt x="2429112" y="235226"/>
                </a:cubicBezTo>
                <a:cubicBezTo>
                  <a:pt x="2427648" y="234561"/>
                  <a:pt x="2426050" y="234161"/>
                  <a:pt x="2424053" y="234161"/>
                </a:cubicBezTo>
                <a:close/>
                <a:moveTo>
                  <a:pt x="2641699" y="234161"/>
                </a:moveTo>
                <a:cubicBezTo>
                  <a:pt x="2635841" y="234161"/>
                  <a:pt x="2633312" y="236158"/>
                  <a:pt x="2631716" y="237756"/>
                </a:cubicBezTo>
                <a:cubicBezTo>
                  <a:pt x="2629185" y="240418"/>
                  <a:pt x="2628121" y="243213"/>
                  <a:pt x="2628121" y="247207"/>
                </a:cubicBezTo>
                <a:cubicBezTo>
                  <a:pt x="2628121" y="251333"/>
                  <a:pt x="2629185" y="254262"/>
                  <a:pt x="2631716" y="256791"/>
                </a:cubicBezTo>
                <a:cubicBezTo>
                  <a:pt x="2633312" y="258389"/>
                  <a:pt x="2635841" y="260252"/>
                  <a:pt x="2641699" y="260252"/>
                </a:cubicBezTo>
                <a:cubicBezTo>
                  <a:pt x="2643695" y="260252"/>
                  <a:pt x="2645560" y="259986"/>
                  <a:pt x="2647024" y="259320"/>
                </a:cubicBezTo>
                <a:cubicBezTo>
                  <a:pt x="2648621" y="258788"/>
                  <a:pt x="2649819" y="257989"/>
                  <a:pt x="2650751" y="256924"/>
                </a:cubicBezTo>
                <a:cubicBezTo>
                  <a:pt x="2651816" y="255726"/>
                  <a:pt x="2652748" y="254395"/>
                  <a:pt x="2653414" y="252665"/>
                </a:cubicBezTo>
                <a:cubicBezTo>
                  <a:pt x="2653946" y="251067"/>
                  <a:pt x="2654345" y="249204"/>
                  <a:pt x="2654345" y="247207"/>
                </a:cubicBezTo>
                <a:cubicBezTo>
                  <a:pt x="2654345" y="245343"/>
                  <a:pt x="2654079" y="243613"/>
                  <a:pt x="2653414" y="242015"/>
                </a:cubicBezTo>
                <a:cubicBezTo>
                  <a:pt x="2652748" y="240418"/>
                  <a:pt x="2651816" y="239087"/>
                  <a:pt x="2650751" y="237889"/>
                </a:cubicBezTo>
                <a:cubicBezTo>
                  <a:pt x="2649686" y="236824"/>
                  <a:pt x="2648355" y="235892"/>
                  <a:pt x="2646758" y="235226"/>
                </a:cubicBezTo>
                <a:cubicBezTo>
                  <a:pt x="2645293" y="234561"/>
                  <a:pt x="2643695" y="234161"/>
                  <a:pt x="2641699" y="234161"/>
                </a:cubicBezTo>
                <a:close/>
                <a:moveTo>
                  <a:pt x="2859345" y="234161"/>
                </a:moveTo>
                <a:cubicBezTo>
                  <a:pt x="2853488" y="234161"/>
                  <a:pt x="2850958" y="236158"/>
                  <a:pt x="2849362" y="237756"/>
                </a:cubicBezTo>
                <a:cubicBezTo>
                  <a:pt x="2846831" y="240418"/>
                  <a:pt x="2845768" y="243213"/>
                  <a:pt x="2845768" y="247207"/>
                </a:cubicBezTo>
                <a:cubicBezTo>
                  <a:pt x="2845768" y="251333"/>
                  <a:pt x="2846831" y="254262"/>
                  <a:pt x="2849362" y="256791"/>
                </a:cubicBezTo>
                <a:cubicBezTo>
                  <a:pt x="2850958" y="258389"/>
                  <a:pt x="2853488" y="260252"/>
                  <a:pt x="2859345" y="260252"/>
                </a:cubicBezTo>
                <a:cubicBezTo>
                  <a:pt x="2861342" y="260252"/>
                  <a:pt x="2863206" y="259986"/>
                  <a:pt x="2864670" y="259320"/>
                </a:cubicBezTo>
                <a:cubicBezTo>
                  <a:pt x="2866268" y="258788"/>
                  <a:pt x="2867466" y="257989"/>
                  <a:pt x="2868397" y="256924"/>
                </a:cubicBezTo>
                <a:cubicBezTo>
                  <a:pt x="2869462" y="255726"/>
                  <a:pt x="2870394" y="254395"/>
                  <a:pt x="2871060" y="252665"/>
                </a:cubicBezTo>
                <a:cubicBezTo>
                  <a:pt x="2871592" y="251067"/>
                  <a:pt x="2871991" y="249204"/>
                  <a:pt x="2871991" y="247207"/>
                </a:cubicBezTo>
                <a:cubicBezTo>
                  <a:pt x="2871991" y="245343"/>
                  <a:pt x="2871725" y="243613"/>
                  <a:pt x="2871060" y="242015"/>
                </a:cubicBezTo>
                <a:cubicBezTo>
                  <a:pt x="2870394" y="240418"/>
                  <a:pt x="2869462" y="239087"/>
                  <a:pt x="2868397" y="237889"/>
                </a:cubicBezTo>
                <a:cubicBezTo>
                  <a:pt x="2867333" y="236824"/>
                  <a:pt x="2866001" y="235892"/>
                  <a:pt x="2864404" y="235226"/>
                </a:cubicBezTo>
                <a:cubicBezTo>
                  <a:pt x="2862940" y="234561"/>
                  <a:pt x="2861342" y="234161"/>
                  <a:pt x="2859345" y="234161"/>
                </a:cubicBezTo>
                <a:close/>
                <a:moveTo>
                  <a:pt x="3077124" y="234161"/>
                </a:moveTo>
                <a:cubicBezTo>
                  <a:pt x="3071266" y="234161"/>
                  <a:pt x="3068737" y="236158"/>
                  <a:pt x="3067141" y="237756"/>
                </a:cubicBezTo>
                <a:cubicBezTo>
                  <a:pt x="3064478" y="240418"/>
                  <a:pt x="3063412" y="243213"/>
                  <a:pt x="3063412" y="247207"/>
                </a:cubicBezTo>
                <a:cubicBezTo>
                  <a:pt x="3063412" y="251333"/>
                  <a:pt x="3064478" y="254262"/>
                  <a:pt x="3067007" y="256791"/>
                </a:cubicBezTo>
                <a:cubicBezTo>
                  <a:pt x="3068605" y="258389"/>
                  <a:pt x="3071134" y="260252"/>
                  <a:pt x="3076990" y="260252"/>
                </a:cubicBezTo>
                <a:cubicBezTo>
                  <a:pt x="3078988" y="260252"/>
                  <a:pt x="3080718" y="259986"/>
                  <a:pt x="3082448" y="259320"/>
                </a:cubicBezTo>
                <a:cubicBezTo>
                  <a:pt x="3083914" y="258788"/>
                  <a:pt x="3085245" y="257989"/>
                  <a:pt x="3086176" y="256924"/>
                </a:cubicBezTo>
                <a:cubicBezTo>
                  <a:pt x="3087241" y="255726"/>
                  <a:pt x="3088173" y="254395"/>
                  <a:pt x="3088839" y="252665"/>
                </a:cubicBezTo>
                <a:cubicBezTo>
                  <a:pt x="3089504" y="251067"/>
                  <a:pt x="3089771" y="249204"/>
                  <a:pt x="3089771" y="247207"/>
                </a:cubicBezTo>
                <a:cubicBezTo>
                  <a:pt x="3089771" y="245343"/>
                  <a:pt x="3089504" y="243613"/>
                  <a:pt x="3088839" y="242015"/>
                </a:cubicBezTo>
                <a:cubicBezTo>
                  <a:pt x="3088173" y="240418"/>
                  <a:pt x="3087241" y="239087"/>
                  <a:pt x="3086176" y="237889"/>
                </a:cubicBezTo>
                <a:cubicBezTo>
                  <a:pt x="3085112" y="236824"/>
                  <a:pt x="3083780" y="235892"/>
                  <a:pt x="3082183" y="235226"/>
                </a:cubicBezTo>
                <a:cubicBezTo>
                  <a:pt x="3080718" y="234561"/>
                  <a:pt x="3079120" y="234161"/>
                  <a:pt x="3077124" y="234161"/>
                </a:cubicBezTo>
                <a:close/>
                <a:moveTo>
                  <a:pt x="3512149" y="234160"/>
                </a:moveTo>
                <a:cubicBezTo>
                  <a:pt x="3506292" y="234160"/>
                  <a:pt x="3503763" y="236157"/>
                  <a:pt x="3502165" y="237755"/>
                </a:cubicBezTo>
                <a:cubicBezTo>
                  <a:pt x="3499636" y="240417"/>
                  <a:pt x="3498572" y="243212"/>
                  <a:pt x="3498572" y="247207"/>
                </a:cubicBezTo>
                <a:cubicBezTo>
                  <a:pt x="3498572" y="251333"/>
                  <a:pt x="3499636" y="254262"/>
                  <a:pt x="3502165" y="256791"/>
                </a:cubicBezTo>
                <a:cubicBezTo>
                  <a:pt x="3503763" y="258389"/>
                  <a:pt x="3506292" y="260252"/>
                  <a:pt x="3512149" y="260252"/>
                </a:cubicBezTo>
                <a:cubicBezTo>
                  <a:pt x="3514279" y="260252"/>
                  <a:pt x="3516011" y="259986"/>
                  <a:pt x="3517475" y="259320"/>
                </a:cubicBezTo>
                <a:cubicBezTo>
                  <a:pt x="3518939" y="258788"/>
                  <a:pt x="3520270" y="257989"/>
                  <a:pt x="3521201" y="256924"/>
                </a:cubicBezTo>
                <a:cubicBezTo>
                  <a:pt x="3522267" y="255726"/>
                  <a:pt x="3523198" y="254395"/>
                  <a:pt x="3523865" y="252665"/>
                </a:cubicBezTo>
                <a:cubicBezTo>
                  <a:pt x="3524530" y="251067"/>
                  <a:pt x="3524930" y="249204"/>
                  <a:pt x="3524930" y="247207"/>
                </a:cubicBezTo>
                <a:cubicBezTo>
                  <a:pt x="3524930" y="245342"/>
                  <a:pt x="3524530" y="243613"/>
                  <a:pt x="3523865" y="242014"/>
                </a:cubicBezTo>
                <a:cubicBezTo>
                  <a:pt x="3523198" y="240417"/>
                  <a:pt x="3522267" y="239086"/>
                  <a:pt x="3521201" y="237888"/>
                </a:cubicBezTo>
                <a:cubicBezTo>
                  <a:pt x="3520136" y="236823"/>
                  <a:pt x="3518805" y="235891"/>
                  <a:pt x="3517208" y="235225"/>
                </a:cubicBezTo>
                <a:cubicBezTo>
                  <a:pt x="3515744" y="234560"/>
                  <a:pt x="3514146" y="234160"/>
                  <a:pt x="3512149" y="234160"/>
                </a:cubicBezTo>
                <a:close/>
                <a:moveTo>
                  <a:pt x="3294636" y="234160"/>
                </a:moveTo>
                <a:cubicBezTo>
                  <a:pt x="3288779" y="234160"/>
                  <a:pt x="3286250" y="236157"/>
                  <a:pt x="3284653" y="237755"/>
                </a:cubicBezTo>
                <a:cubicBezTo>
                  <a:pt x="3282123" y="240418"/>
                  <a:pt x="3281059" y="243213"/>
                  <a:pt x="3281059" y="247207"/>
                </a:cubicBezTo>
                <a:cubicBezTo>
                  <a:pt x="3281059" y="251333"/>
                  <a:pt x="3282123" y="254262"/>
                  <a:pt x="3284653" y="256791"/>
                </a:cubicBezTo>
                <a:cubicBezTo>
                  <a:pt x="3286250" y="258389"/>
                  <a:pt x="3288779" y="260252"/>
                  <a:pt x="3294636" y="260252"/>
                </a:cubicBezTo>
                <a:cubicBezTo>
                  <a:pt x="3296633" y="260252"/>
                  <a:pt x="3298364" y="259986"/>
                  <a:pt x="3299962" y="259320"/>
                </a:cubicBezTo>
                <a:cubicBezTo>
                  <a:pt x="3301426" y="258788"/>
                  <a:pt x="3302758" y="257989"/>
                  <a:pt x="3303689" y="256924"/>
                </a:cubicBezTo>
                <a:cubicBezTo>
                  <a:pt x="3304754" y="255726"/>
                  <a:pt x="3305686" y="254395"/>
                  <a:pt x="3306352" y="252665"/>
                </a:cubicBezTo>
                <a:cubicBezTo>
                  <a:pt x="3307017" y="251067"/>
                  <a:pt x="3307416" y="249204"/>
                  <a:pt x="3307416" y="247207"/>
                </a:cubicBezTo>
                <a:cubicBezTo>
                  <a:pt x="3307416" y="245343"/>
                  <a:pt x="3307017" y="243613"/>
                  <a:pt x="3306352" y="242015"/>
                </a:cubicBezTo>
                <a:cubicBezTo>
                  <a:pt x="3305686" y="240418"/>
                  <a:pt x="3304754" y="239087"/>
                  <a:pt x="3303689" y="237888"/>
                </a:cubicBezTo>
                <a:cubicBezTo>
                  <a:pt x="3302624" y="236823"/>
                  <a:pt x="3301292" y="235891"/>
                  <a:pt x="3299696" y="235225"/>
                </a:cubicBezTo>
                <a:cubicBezTo>
                  <a:pt x="3298232" y="234560"/>
                  <a:pt x="3296633" y="234160"/>
                  <a:pt x="3294636" y="234160"/>
                </a:cubicBezTo>
                <a:close/>
                <a:moveTo>
                  <a:pt x="3947442" y="234160"/>
                </a:moveTo>
                <a:cubicBezTo>
                  <a:pt x="3941585" y="234160"/>
                  <a:pt x="3939056" y="236157"/>
                  <a:pt x="3937459" y="237755"/>
                </a:cubicBezTo>
                <a:cubicBezTo>
                  <a:pt x="3934928" y="240417"/>
                  <a:pt x="3933865" y="243212"/>
                  <a:pt x="3933865" y="247206"/>
                </a:cubicBezTo>
                <a:cubicBezTo>
                  <a:pt x="3933865" y="251332"/>
                  <a:pt x="3934928" y="254261"/>
                  <a:pt x="3937459" y="256791"/>
                </a:cubicBezTo>
                <a:cubicBezTo>
                  <a:pt x="3939056" y="258389"/>
                  <a:pt x="3941585" y="260252"/>
                  <a:pt x="3947442" y="260252"/>
                </a:cubicBezTo>
                <a:cubicBezTo>
                  <a:pt x="3949439" y="260252"/>
                  <a:pt x="3951303" y="259986"/>
                  <a:pt x="3952767" y="259320"/>
                </a:cubicBezTo>
                <a:cubicBezTo>
                  <a:pt x="3954231" y="258788"/>
                  <a:pt x="3955562" y="257988"/>
                  <a:pt x="3956494" y="256924"/>
                </a:cubicBezTo>
                <a:cubicBezTo>
                  <a:pt x="3957559" y="255725"/>
                  <a:pt x="3958491" y="254394"/>
                  <a:pt x="3959157" y="252664"/>
                </a:cubicBezTo>
                <a:cubicBezTo>
                  <a:pt x="3959822" y="251066"/>
                  <a:pt x="3960221" y="249203"/>
                  <a:pt x="3960221" y="247206"/>
                </a:cubicBezTo>
                <a:cubicBezTo>
                  <a:pt x="3960221" y="245342"/>
                  <a:pt x="3959822" y="243612"/>
                  <a:pt x="3959157" y="242014"/>
                </a:cubicBezTo>
                <a:cubicBezTo>
                  <a:pt x="3958491" y="240417"/>
                  <a:pt x="3957559" y="239086"/>
                  <a:pt x="3956494" y="237888"/>
                </a:cubicBezTo>
                <a:cubicBezTo>
                  <a:pt x="3955429" y="236823"/>
                  <a:pt x="3954098" y="235891"/>
                  <a:pt x="3952501" y="235225"/>
                </a:cubicBezTo>
                <a:cubicBezTo>
                  <a:pt x="3951036" y="234560"/>
                  <a:pt x="3949439" y="234160"/>
                  <a:pt x="3947442" y="234160"/>
                </a:cubicBezTo>
                <a:close/>
                <a:moveTo>
                  <a:pt x="3729795" y="234160"/>
                </a:moveTo>
                <a:cubicBezTo>
                  <a:pt x="3723938" y="234160"/>
                  <a:pt x="3721409" y="236157"/>
                  <a:pt x="3719811" y="237755"/>
                </a:cubicBezTo>
                <a:cubicBezTo>
                  <a:pt x="3717282" y="240417"/>
                  <a:pt x="3716217" y="243212"/>
                  <a:pt x="3716217" y="247206"/>
                </a:cubicBezTo>
                <a:cubicBezTo>
                  <a:pt x="3716217" y="251333"/>
                  <a:pt x="3717282" y="254262"/>
                  <a:pt x="3719811" y="256791"/>
                </a:cubicBezTo>
                <a:cubicBezTo>
                  <a:pt x="3721409" y="258389"/>
                  <a:pt x="3723938" y="260252"/>
                  <a:pt x="3729795" y="260252"/>
                </a:cubicBezTo>
                <a:cubicBezTo>
                  <a:pt x="3731925" y="260252"/>
                  <a:pt x="3733656" y="259986"/>
                  <a:pt x="3735120" y="259320"/>
                </a:cubicBezTo>
                <a:cubicBezTo>
                  <a:pt x="3736584" y="258788"/>
                  <a:pt x="3737916" y="257989"/>
                  <a:pt x="3738847" y="256924"/>
                </a:cubicBezTo>
                <a:cubicBezTo>
                  <a:pt x="3739912" y="255726"/>
                  <a:pt x="3740844" y="254395"/>
                  <a:pt x="3741510" y="252665"/>
                </a:cubicBezTo>
                <a:cubicBezTo>
                  <a:pt x="3742175" y="251066"/>
                  <a:pt x="3742575" y="249203"/>
                  <a:pt x="3742575" y="247206"/>
                </a:cubicBezTo>
                <a:cubicBezTo>
                  <a:pt x="3742575" y="245342"/>
                  <a:pt x="3742175" y="243612"/>
                  <a:pt x="3741510" y="242014"/>
                </a:cubicBezTo>
                <a:cubicBezTo>
                  <a:pt x="3740844" y="240417"/>
                  <a:pt x="3739912" y="239086"/>
                  <a:pt x="3738847" y="237888"/>
                </a:cubicBezTo>
                <a:cubicBezTo>
                  <a:pt x="3737782" y="236823"/>
                  <a:pt x="3736451" y="235891"/>
                  <a:pt x="3734855" y="235225"/>
                </a:cubicBezTo>
                <a:cubicBezTo>
                  <a:pt x="3733389" y="234560"/>
                  <a:pt x="3731792" y="234160"/>
                  <a:pt x="3729795" y="234160"/>
                </a:cubicBezTo>
                <a:close/>
                <a:moveTo>
                  <a:pt x="4165068" y="234160"/>
                </a:moveTo>
                <a:cubicBezTo>
                  <a:pt x="4159211" y="234160"/>
                  <a:pt x="4156681" y="236157"/>
                  <a:pt x="4155084" y="237755"/>
                </a:cubicBezTo>
                <a:cubicBezTo>
                  <a:pt x="4152555" y="240417"/>
                  <a:pt x="4151490" y="243212"/>
                  <a:pt x="4151490" y="247206"/>
                </a:cubicBezTo>
                <a:cubicBezTo>
                  <a:pt x="4151490" y="251332"/>
                  <a:pt x="4152555" y="254261"/>
                  <a:pt x="4155084" y="256790"/>
                </a:cubicBezTo>
                <a:cubicBezTo>
                  <a:pt x="4156681" y="258388"/>
                  <a:pt x="4159211" y="260251"/>
                  <a:pt x="4165068" y="260251"/>
                </a:cubicBezTo>
                <a:cubicBezTo>
                  <a:pt x="4167064" y="260251"/>
                  <a:pt x="4168928" y="259986"/>
                  <a:pt x="4170392" y="259319"/>
                </a:cubicBezTo>
                <a:cubicBezTo>
                  <a:pt x="4171856" y="258787"/>
                  <a:pt x="4173188" y="257988"/>
                  <a:pt x="4174119" y="256923"/>
                </a:cubicBezTo>
                <a:cubicBezTo>
                  <a:pt x="4175184" y="255725"/>
                  <a:pt x="4176116" y="254394"/>
                  <a:pt x="4176782" y="252664"/>
                </a:cubicBezTo>
                <a:cubicBezTo>
                  <a:pt x="4177447" y="251066"/>
                  <a:pt x="4177847" y="249203"/>
                  <a:pt x="4177847" y="247206"/>
                </a:cubicBezTo>
                <a:cubicBezTo>
                  <a:pt x="4177847" y="245342"/>
                  <a:pt x="4177447" y="243612"/>
                  <a:pt x="4176782" y="242014"/>
                </a:cubicBezTo>
                <a:cubicBezTo>
                  <a:pt x="4176116" y="240417"/>
                  <a:pt x="4175184" y="239086"/>
                  <a:pt x="4174119" y="237888"/>
                </a:cubicBezTo>
                <a:cubicBezTo>
                  <a:pt x="4173054" y="236823"/>
                  <a:pt x="4171723" y="235891"/>
                  <a:pt x="4170126" y="235225"/>
                </a:cubicBezTo>
                <a:cubicBezTo>
                  <a:pt x="4168662" y="234560"/>
                  <a:pt x="4167064" y="234160"/>
                  <a:pt x="4165068" y="234160"/>
                </a:cubicBezTo>
                <a:close/>
                <a:moveTo>
                  <a:pt x="4382713" y="234160"/>
                </a:moveTo>
                <a:cubicBezTo>
                  <a:pt x="4376857" y="234160"/>
                  <a:pt x="4374327" y="236157"/>
                  <a:pt x="4372730" y="237755"/>
                </a:cubicBezTo>
                <a:cubicBezTo>
                  <a:pt x="4370201" y="240417"/>
                  <a:pt x="4369136" y="243212"/>
                  <a:pt x="4369136" y="247206"/>
                </a:cubicBezTo>
                <a:cubicBezTo>
                  <a:pt x="4369136" y="251332"/>
                  <a:pt x="4370201" y="254261"/>
                  <a:pt x="4372730" y="256790"/>
                </a:cubicBezTo>
                <a:cubicBezTo>
                  <a:pt x="4374327" y="258388"/>
                  <a:pt x="4376857" y="260251"/>
                  <a:pt x="4382713" y="260251"/>
                </a:cubicBezTo>
                <a:cubicBezTo>
                  <a:pt x="4384710" y="260251"/>
                  <a:pt x="4386441" y="259985"/>
                  <a:pt x="4388038" y="259319"/>
                </a:cubicBezTo>
                <a:cubicBezTo>
                  <a:pt x="4389502" y="258787"/>
                  <a:pt x="4390834" y="257988"/>
                  <a:pt x="4391765" y="256923"/>
                </a:cubicBezTo>
                <a:cubicBezTo>
                  <a:pt x="4392830" y="255725"/>
                  <a:pt x="4393762" y="254394"/>
                  <a:pt x="4394428" y="252664"/>
                </a:cubicBezTo>
                <a:cubicBezTo>
                  <a:pt x="4395093" y="251066"/>
                  <a:pt x="4395493" y="249203"/>
                  <a:pt x="4395493" y="247206"/>
                </a:cubicBezTo>
                <a:cubicBezTo>
                  <a:pt x="4395493" y="245342"/>
                  <a:pt x="4395093" y="243612"/>
                  <a:pt x="4394428" y="242014"/>
                </a:cubicBezTo>
                <a:cubicBezTo>
                  <a:pt x="4393762" y="240417"/>
                  <a:pt x="4392830" y="239086"/>
                  <a:pt x="4391765" y="237888"/>
                </a:cubicBezTo>
                <a:cubicBezTo>
                  <a:pt x="4390700" y="236823"/>
                  <a:pt x="4389369" y="235891"/>
                  <a:pt x="4387772" y="235225"/>
                </a:cubicBezTo>
                <a:cubicBezTo>
                  <a:pt x="4386308" y="234560"/>
                  <a:pt x="4384710" y="234160"/>
                  <a:pt x="4382713" y="234160"/>
                </a:cubicBezTo>
                <a:close/>
                <a:moveTo>
                  <a:pt x="4600226" y="234160"/>
                </a:moveTo>
                <a:cubicBezTo>
                  <a:pt x="4594369" y="234160"/>
                  <a:pt x="4591839" y="236157"/>
                  <a:pt x="4590242" y="237755"/>
                </a:cubicBezTo>
                <a:cubicBezTo>
                  <a:pt x="4587713" y="240417"/>
                  <a:pt x="4586648" y="243212"/>
                  <a:pt x="4586648" y="247206"/>
                </a:cubicBezTo>
                <a:cubicBezTo>
                  <a:pt x="4586648" y="251332"/>
                  <a:pt x="4587713" y="254261"/>
                  <a:pt x="4590242" y="256790"/>
                </a:cubicBezTo>
                <a:cubicBezTo>
                  <a:pt x="4591839" y="258388"/>
                  <a:pt x="4594369" y="260251"/>
                  <a:pt x="4600226" y="260251"/>
                </a:cubicBezTo>
                <a:cubicBezTo>
                  <a:pt x="4602355" y="260251"/>
                  <a:pt x="4604086" y="259985"/>
                  <a:pt x="4605550" y="259319"/>
                </a:cubicBezTo>
                <a:cubicBezTo>
                  <a:pt x="4607148" y="258787"/>
                  <a:pt x="4608346" y="257988"/>
                  <a:pt x="4609277" y="256923"/>
                </a:cubicBezTo>
                <a:cubicBezTo>
                  <a:pt x="4610342" y="255725"/>
                  <a:pt x="4611274" y="254394"/>
                  <a:pt x="4611940" y="252664"/>
                </a:cubicBezTo>
                <a:cubicBezTo>
                  <a:pt x="4612605" y="251066"/>
                  <a:pt x="4613005" y="249203"/>
                  <a:pt x="4613005" y="247206"/>
                </a:cubicBezTo>
                <a:cubicBezTo>
                  <a:pt x="4613005" y="245342"/>
                  <a:pt x="4612605" y="243612"/>
                  <a:pt x="4611940" y="242014"/>
                </a:cubicBezTo>
                <a:cubicBezTo>
                  <a:pt x="4611274" y="240417"/>
                  <a:pt x="4610342" y="239086"/>
                  <a:pt x="4609277" y="237888"/>
                </a:cubicBezTo>
                <a:cubicBezTo>
                  <a:pt x="4608212" y="236823"/>
                  <a:pt x="4606881" y="235891"/>
                  <a:pt x="4605284" y="235225"/>
                </a:cubicBezTo>
                <a:cubicBezTo>
                  <a:pt x="4603820" y="234560"/>
                  <a:pt x="4602222" y="234160"/>
                  <a:pt x="4600226" y="234160"/>
                </a:cubicBezTo>
                <a:close/>
                <a:moveTo>
                  <a:pt x="4817870" y="234160"/>
                </a:moveTo>
                <a:cubicBezTo>
                  <a:pt x="4812013" y="234160"/>
                  <a:pt x="4809484" y="236157"/>
                  <a:pt x="4807887" y="237755"/>
                </a:cubicBezTo>
                <a:cubicBezTo>
                  <a:pt x="4805357" y="240417"/>
                  <a:pt x="4804293" y="243212"/>
                  <a:pt x="4804293" y="247206"/>
                </a:cubicBezTo>
                <a:cubicBezTo>
                  <a:pt x="4804293" y="251332"/>
                  <a:pt x="4805357" y="254261"/>
                  <a:pt x="4807887" y="256790"/>
                </a:cubicBezTo>
                <a:cubicBezTo>
                  <a:pt x="4809484" y="258388"/>
                  <a:pt x="4812013" y="260251"/>
                  <a:pt x="4817870" y="260251"/>
                </a:cubicBezTo>
                <a:cubicBezTo>
                  <a:pt x="4820000" y="260251"/>
                  <a:pt x="4821731" y="259985"/>
                  <a:pt x="4823195" y="259319"/>
                </a:cubicBezTo>
                <a:cubicBezTo>
                  <a:pt x="4824659" y="258787"/>
                  <a:pt x="4825857" y="257988"/>
                  <a:pt x="4826922" y="256923"/>
                </a:cubicBezTo>
                <a:cubicBezTo>
                  <a:pt x="4827987" y="255725"/>
                  <a:pt x="4828919" y="254394"/>
                  <a:pt x="4829585" y="252664"/>
                </a:cubicBezTo>
                <a:cubicBezTo>
                  <a:pt x="4830383" y="251066"/>
                  <a:pt x="4830650" y="249203"/>
                  <a:pt x="4830650" y="247206"/>
                </a:cubicBezTo>
                <a:cubicBezTo>
                  <a:pt x="4830650" y="245342"/>
                  <a:pt x="4830250" y="243612"/>
                  <a:pt x="4829585" y="242014"/>
                </a:cubicBezTo>
                <a:cubicBezTo>
                  <a:pt x="4828919" y="240417"/>
                  <a:pt x="4827987" y="239086"/>
                  <a:pt x="4826922" y="237888"/>
                </a:cubicBezTo>
                <a:cubicBezTo>
                  <a:pt x="4825857" y="236823"/>
                  <a:pt x="4824526" y="235891"/>
                  <a:pt x="4822929" y="235225"/>
                </a:cubicBezTo>
                <a:cubicBezTo>
                  <a:pt x="4821465" y="234560"/>
                  <a:pt x="4819734" y="234160"/>
                  <a:pt x="4817870" y="234160"/>
                </a:cubicBezTo>
                <a:close/>
                <a:moveTo>
                  <a:pt x="5035515" y="234160"/>
                </a:moveTo>
                <a:cubicBezTo>
                  <a:pt x="5029658" y="234160"/>
                  <a:pt x="5027129" y="236157"/>
                  <a:pt x="5025532" y="237755"/>
                </a:cubicBezTo>
                <a:cubicBezTo>
                  <a:pt x="5023002" y="240417"/>
                  <a:pt x="5021938" y="243212"/>
                  <a:pt x="5021938" y="247206"/>
                </a:cubicBezTo>
                <a:cubicBezTo>
                  <a:pt x="5021938" y="251332"/>
                  <a:pt x="5023002" y="254261"/>
                  <a:pt x="5025532" y="256790"/>
                </a:cubicBezTo>
                <a:cubicBezTo>
                  <a:pt x="5027129" y="258388"/>
                  <a:pt x="5029658" y="260251"/>
                  <a:pt x="5035515" y="260251"/>
                </a:cubicBezTo>
                <a:cubicBezTo>
                  <a:pt x="5037645" y="260251"/>
                  <a:pt x="5039376" y="259985"/>
                  <a:pt x="5040840" y="259319"/>
                </a:cubicBezTo>
                <a:cubicBezTo>
                  <a:pt x="5042304" y="258787"/>
                  <a:pt x="5043636" y="257988"/>
                  <a:pt x="5044567" y="256923"/>
                </a:cubicBezTo>
                <a:cubicBezTo>
                  <a:pt x="5045632" y="255725"/>
                  <a:pt x="5046564" y="254394"/>
                  <a:pt x="5047230" y="252664"/>
                </a:cubicBezTo>
                <a:cubicBezTo>
                  <a:pt x="5048028" y="251066"/>
                  <a:pt x="5048294" y="249203"/>
                  <a:pt x="5048294" y="247206"/>
                </a:cubicBezTo>
                <a:cubicBezTo>
                  <a:pt x="5048294" y="245342"/>
                  <a:pt x="5047895" y="243612"/>
                  <a:pt x="5047230" y="242014"/>
                </a:cubicBezTo>
                <a:cubicBezTo>
                  <a:pt x="5046564" y="240417"/>
                  <a:pt x="5045632" y="239086"/>
                  <a:pt x="5044567" y="237888"/>
                </a:cubicBezTo>
                <a:cubicBezTo>
                  <a:pt x="5043502" y="236823"/>
                  <a:pt x="5042171" y="235891"/>
                  <a:pt x="5040574" y="235225"/>
                </a:cubicBezTo>
                <a:cubicBezTo>
                  <a:pt x="5039110" y="234560"/>
                  <a:pt x="5037379" y="234160"/>
                  <a:pt x="5035515" y="234160"/>
                </a:cubicBezTo>
                <a:close/>
                <a:moveTo>
                  <a:pt x="5253160" y="234160"/>
                </a:moveTo>
                <a:cubicBezTo>
                  <a:pt x="5247303" y="234160"/>
                  <a:pt x="5244774" y="236157"/>
                  <a:pt x="5243177" y="237755"/>
                </a:cubicBezTo>
                <a:cubicBezTo>
                  <a:pt x="5240647" y="240417"/>
                  <a:pt x="5239583" y="243212"/>
                  <a:pt x="5239583" y="247206"/>
                </a:cubicBezTo>
                <a:cubicBezTo>
                  <a:pt x="5239583" y="251332"/>
                  <a:pt x="5240647" y="254261"/>
                  <a:pt x="5243177" y="256790"/>
                </a:cubicBezTo>
                <a:cubicBezTo>
                  <a:pt x="5244774" y="258388"/>
                  <a:pt x="5247303" y="260251"/>
                  <a:pt x="5253160" y="260251"/>
                </a:cubicBezTo>
                <a:cubicBezTo>
                  <a:pt x="5255157" y="260251"/>
                  <a:pt x="5257021" y="259985"/>
                  <a:pt x="5258485" y="259319"/>
                </a:cubicBezTo>
                <a:cubicBezTo>
                  <a:pt x="5259949" y="258787"/>
                  <a:pt x="5261280" y="257988"/>
                  <a:pt x="5262212" y="256923"/>
                </a:cubicBezTo>
                <a:cubicBezTo>
                  <a:pt x="5263277" y="255725"/>
                  <a:pt x="5264209" y="254394"/>
                  <a:pt x="5264875" y="252664"/>
                </a:cubicBezTo>
                <a:cubicBezTo>
                  <a:pt x="5265673" y="251066"/>
                  <a:pt x="5265939" y="249203"/>
                  <a:pt x="5265939" y="247206"/>
                </a:cubicBezTo>
                <a:cubicBezTo>
                  <a:pt x="5265939" y="245342"/>
                  <a:pt x="5265540" y="243612"/>
                  <a:pt x="5264875" y="242014"/>
                </a:cubicBezTo>
                <a:cubicBezTo>
                  <a:pt x="5264209" y="240417"/>
                  <a:pt x="5263277" y="239086"/>
                  <a:pt x="5262212" y="237887"/>
                </a:cubicBezTo>
                <a:cubicBezTo>
                  <a:pt x="5261147" y="236823"/>
                  <a:pt x="5259816" y="235891"/>
                  <a:pt x="5258219" y="235225"/>
                </a:cubicBezTo>
                <a:cubicBezTo>
                  <a:pt x="5256754" y="234560"/>
                  <a:pt x="5255024" y="234160"/>
                  <a:pt x="5253160" y="234160"/>
                </a:cubicBezTo>
                <a:close/>
                <a:moveTo>
                  <a:pt x="5470806" y="234159"/>
                </a:moveTo>
                <a:cubicBezTo>
                  <a:pt x="5464949" y="234159"/>
                  <a:pt x="5462419" y="236156"/>
                  <a:pt x="5460822" y="237754"/>
                </a:cubicBezTo>
                <a:cubicBezTo>
                  <a:pt x="5458293" y="240416"/>
                  <a:pt x="5457228" y="243211"/>
                  <a:pt x="5457228" y="247206"/>
                </a:cubicBezTo>
                <a:cubicBezTo>
                  <a:pt x="5457228" y="251332"/>
                  <a:pt x="5458293" y="254261"/>
                  <a:pt x="5460822" y="256790"/>
                </a:cubicBezTo>
                <a:cubicBezTo>
                  <a:pt x="5462419" y="258388"/>
                  <a:pt x="5464949" y="260251"/>
                  <a:pt x="5470806" y="260251"/>
                </a:cubicBezTo>
                <a:cubicBezTo>
                  <a:pt x="5472802" y="260251"/>
                  <a:pt x="5474666" y="259985"/>
                  <a:pt x="5476130" y="259319"/>
                </a:cubicBezTo>
                <a:cubicBezTo>
                  <a:pt x="5477594" y="258787"/>
                  <a:pt x="5478926" y="257988"/>
                  <a:pt x="5479857" y="256923"/>
                </a:cubicBezTo>
                <a:cubicBezTo>
                  <a:pt x="5480922" y="255725"/>
                  <a:pt x="5481854" y="254394"/>
                  <a:pt x="5482520" y="252664"/>
                </a:cubicBezTo>
                <a:cubicBezTo>
                  <a:pt x="5483319" y="251066"/>
                  <a:pt x="5483585" y="249203"/>
                  <a:pt x="5483585" y="247206"/>
                </a:cubicBezTo>
                <a:cubicBezTo>
                  <a:pt x="5483585" y="245341"/>
                  <a:pt x="5483185" y="243612"/>
                  <a:pt x="5482520" y="242013"/>
                </a:cubicBezTo>
                <a:cubicBezTo>
                  <a:pt x="5481854" y="240416"/>
                  <a:pt x="5480922" y="239086"/>
                  <a:pt x="5479857" y="237887"/>
                </a:cubicBezTo>
                <a:cubicBezTo>
                  <a:pt x="5478793" y="236822"/>
                  <a:pt x="5477461" y="235890"/>
                  <a:pt x="5475864" y="235224"/>
                </a:cubicBezTo>
                <a:cubicBezTo>
                  <a:pt x="5474400" y="234559"/>
                  <a:pt x="5472669" y="234159"/>
                  <a:pt x="5470806" y="234159"/>
                </a:cubicBezTo>
                <a:close/>
                <a:moveTo>
                  <a:pt x="5688451" y="234159"/>
                </a:moveTo>
                <a:cubicBezTo>
                  <a:pt x="5682594" y="234159"/>
                  <a:pt x="5680064" y="236156"/>
                  <a:pt x="5678467" y="237754"/>
                </a:cubicBezTo>
                <a:cubicBezTo>
                  <a:pt x="5675938" y="240416"/>
                  <a:pt x="5674873" y="243211"/>
                  <a:pt x="5674873" y="247205"/>
                </a:cubicBezTo>
                <a:cubicBezTo>
                  <a:pt x="5674873" y="251332"/>
                  <a:pt x="5675938" y="254261"/>
                  <a:pt x="5678467" y="256790"/>
                </a:cubicBezTo>
                <a:cubicBezTo>
                  <a:pt x="5680064" y="258388"/>
                  <a:pt x="5682594" y="260251"/>
                  <a:pt x="5688451" y="260251"/>
                </a:cubicBezTo>
                <a:cubicBezTo>
                  <a:pt x="5690447" y="260251"/>
                  <a:pt x="5692178" y="259985"/>
                  <a:pt x="5693775" y="259319"/>
                </a:cubicBezTo>
                <a:cubicBezTo>
                  <a:pt x="5695239" y="258787"/>
                  <a:pt x="5696571" y="257988"/>
                  <a:pt x="5697502" y="256923"/>
                </a:cubicBezTo>
                <a:cubicBezTo>
                  <a:pt x="5698567" y="255725"/>
                  <a:pt x="5699499" y="254394"/>
                  <a:pt x="5700165" y="252664"/>
                </a:cubicBezTo>
                <a:cubicBezTo>
                  <a:pt x="5700830" y="251065"/>
                  <a:pt x="5701230" y="249202"/>
                  <a:pt x="5701230" y="247205"/>
                </a:cubicBezTo>
                <a:cubicBezTo>
                  <a:pt x="5701230" y="245341"/>
                  <a:pt x="5700830" y="243611"/>
                  <a:pt x="5700165" y="242013"/>
                </a:cubicBezTo>
                <a:cubicBezTo>
                  <a:pt x="5699499" y="240416"/>
                  <a:pt x="5698567" y="239085"/>
                  <a:pt x="5697502" y="237887"/>
                </a:cubicBezTo>
                <a:cubicBezTo>
                  <a:pt x="5696437" y="236822"/>
                  <a:pt x="5695106" y="235890"/>
                  <a:pt x="5693509" y="235224"/>
                </a:cubicBezTo>
                <a:cubicBezTo>
                  <a:pt x="5692045" y="234559"/>
                  <a:pt x="5690314" y="234159"/>
                  <a:pt x="5688451" y="234159"/>
                </a:cubicBezTo>
                <a:close/>
                <a:moveTo>
                  <a:pt x="5905963" y="234159"/>
                </a:moveTo>
                <a:cubicBezTo>
                  <a:pt x="5900106" y="234159"/>
                  <a:pt x="5897576" y="236156"/>
                  <a:pt x="5895979" y="237754"/>
                </a:cubicBezTo>
                <a:cubicBezTo>
                  <a:pt x="5893450" y="240416"/>
                  <a:pt x="5892385" y="243211"/>
                  <a:pt x="5892385" y="247205"/>
                </a:cubicBezTo>
                <a:cubicBezTo>
                  <a:pt x="5892385" y="251331"/>
                  <a:pt x="5893450" y="254260"/>
                  <a:pt x="5895979" y="256790"/>
                </a:cubicBezTo>
                <a:cubicBezTo>
                  <a:pt x="5897576" y="258388"/>
                  <a:pt x="5900106" y="260251"/>
                  <a:pt x="5905963" y="260251"/>
                </a:cubicBezTo>
                <a:cubicBezTo>
                  <a:pt x="5908093" y="260251"/>
                  <a:pt x="5909823" y="259985"/>
                  <a:pt x="5911287" y="259319"/>
                </a:cubicBezTo>
                <a:cubicBezTo>
                  <a:pt x="5912751" y="258787"/>
                  <a:pt x="5914083" y="257987"/>
                  <a:pt x="5915014" y="256923"/>
                </a:cubicBezTo>
                <a:cubicBezTo>
                  <a:pt x="5916079" y="255724"/>
                  <a:pt x="5917011" y="254393"/>
                  <a:pt x="5917677" y="252663"/>
                </a:cubicBezTo>
                <a:cubicBezTo>
                  <a:pt x="5918342" y="251065"/>
                  <a:pt x="5918742" y="249202"/>
                  <a:pt x="5918742" y="247205"/>
                </a:cubicBezTo>
                <a:cubicBezTo>
                  <a:pt x="5918742" y="245341"/>
                  <a:pt x="5918342" y="243611"/>
                  <a:pt x="5917677" y="242013"/>
                </a:cubicBezTo>
                <a:cubicBezTo>
                  <a:pt x="5917011" y="240416"/>
                  <a:pt x="5916079" y="239085"/>
                  <a:pt x="5915014" y="237887"/>
                </a:cubicBezTo>
                <a:cubicBezTo>
                  <a:pt x="5913950" y="236822"/>
                  <a:pt x="5912618" y="235890"/>
                  <a:pt x="5911021" y="235224"/>
                </a:cubicBezTo>
                <a:cubicBezTo>
                  <a:pt x="5909557" y="234559"/>
                  <a:pt x="5907826" y="234159"/>
                  <a:pt x="5905963" y="234159"/>
                </a:cubicBezTo>
                <a:close/>
                <a:moveTo>
                  <a:pt x="6123608" y="234159"/>
                </a:moveTo>
                <a:cubicBezTo>
                  <a:pt x="6117751" y="234159"/>
                  <a:pt x="6115221" y="236156"/>
                  <a:pt x="6113624" y="237754"/>
                </a:cubicBezTo>
                <a:cubicBezTo>
                  <a:pt x="6111095" y="240416"/>
                  <a:pt x="6110030" y="243211"/>
                  <a:pt x="6110030" y="247205"/>
                </a:cubicBezTo>
                <a:cubicBezTo>
                  <a:pt x="6110030" y="251331"/>
                  <a:pt x="6111095" y="254260"/>
                  <a:pt x="6113624" y="256789"/>
                </a:cubicBezTo>
                <a:cubicBezTo>
                  <a:pt x="6115221" y="258387"/>
                  <a:pt x="6117751" y="260250"/>
                  <a:pt x="6123608" y="260250"/>
                </a:cubicBezTo>
                <a:cubicBezTo>
                  <a:pt x="6125737" y="260250"/>
                  <a:pt x="6127468" y="259985"/>
                  <a:pt x="6128932" y="259318"/>
                </a:cubicBezTo>
                <a:cubicBezTo>
                  <a:pt x="6130530" y="258786"/>
                  <a:pt x="6131728" y="257987"/>
                  <a:pt x="6132659" y="256922"/>
                </a:cubicBezTo>
                <a:cubicBezTo>
                  <a:pt x="6133724" y="255724"/>
                  <a:pt x="6134656" y="254393"/>
                  <a:pt x="6135322" y="252663"/>
                </a:cubicBezTo>
                <a:cubicBezTo>
                  <a:pt x="6135987" y="251065"/>
                  <a:pt x="6136387" y="249202"/>
                  <a:pt x="6136387" y="247205"/>
                </a:cubicBezTo>
                <a:cubicBezTo>
                  <a:pt x="6136387" y="245341"/>
                  <a:pt x="6135987" y="243611"/>
                  <a:pt x="6135322" y="242013"/>
                </a:cubicBezTo>
                <a:cubicBezTo>
                  <a:pt x="6134656" y="240416"/>
                  <a:pt x="6133724" y="239085"/>
                  <a:pt x="6132659" y="237887"/>
                </a:cubicBezTo>
                <a:cubicBezTo>
                  <a:pt x="6131594" y="236822"/>
                  <a:pt x="6130263" y="235890"/>
                  <a:pt x="6128666" y="235224"/>
                </a:cubicBezTo>
                <a:cubicBezTo>
                  <a:pt x="6127202" y="234559"/>
                  <a:pt x="6125604" y="234159"/>
                  <a:pt x="6123608" y="234159"/>
                </a:cubicBezTo>
                <a:close/>
                <a:moveTo>
                  <a:pt x="6341253" y="234159"/>
                </a:moveTo>
                <a:cubicBezTo>
                  <a:pt x="6335396" y="234159"/>
                  <a:pt x="6332867" y="236156"/>
                  <a:pt x="6331270" y="237754"/>
                </a:cubicBezTo>
                <a:cubicBezTo>
                  <a:pt x="6328740" y="240416"/>
                  <a:pt x="6327675" y="243211"/>
                  <a:pt x="6327675" y="247205"/>
                </a:cubicBezTo>
                <a:cubicBezTo>
                  <a:pt x="6327675" y="251331"/>
                  <a:pt x="6328740" y="254260"/>
                  <a:pt x="6331270" y="256789"/>
                </a:cubicBezTo>
                <a:cubicBezTo>
                  <a:pt x="6332867" y="258387"/>
                  <a:pt x="6335396" y="260250"/>
                  <a:pt x="6341253" y="260250"/>
                </a:cubicBezTo>
                <a:cubicBezTo>
                  <a:pt x="6343250" y="260250"/>
                  <a:pt x="6345114" y="259984"/>
                  <a:pt x="6346578" y="259318"/>
                </a:cubicBezTo>
                <a:cubicBezTo>
                  <a:pt x="6348042" y="258786"/>
                  <a:pt x="6349373" y="257987"/>
                  <a:pt x="6350305" y="256922"/>
                </a:cubicBezTo>
                <a:cubicBezTo>
                  <a:pt x="6351370" y="255724"/>
                  <a:pt x="6352302" y="254393"/>
                  <a:pt x="6352968" y="252663"/>
                </a:cubicBezTo>
                <a:cubicBezTo>
                  <a:pt x="6353766" y="251065"/>
                  <a:pt x="6354033" y="249202"/>
                  <a:pt x="6354033" y="247205"/>
                </a:cubicBezTo>
                <a:cubicBezTo>
                  <a:pt x="6354033" y="245341"/>
                  <a:pt x="6353633" y="243611"/>
                  <a:pt x="6352968" y="242013"/>
                </a:cubicBezTo>
                <a:cubicBezTo>
                  <a:pt x="6352302" y="240416"/>
                  <a:pt x="6351370" y="239085"/>
                  <a:pt x="6350305" y="237887"/>
                </a:cubicBezTo>
                <a:cubicBezTo>
                  <a:pt x="6349241" y="236822"/>
                  <a:pt x="6347909" y="235890"/>
                  <a:pt x="6346312" y="235224"/>
                </a:cubicBezTo>
                <a:cubicBezTo>
                  <a:pt x="6344848" y="234559"/>
                  <a:pt x="6343250" y="234159"/>
                  <a:pt x="6341253" y="234159"/>
                </a:cubicBezTo>
                <a:close/>
                <a:moveTo>
                  <a:pt x="6558899" y="234159"/>
                </a:moveTo>
                <a:cubicBezTo>
                  <a:pt x="6553042" y="234159"/>
                  <a:pt x="6550512" y="236156"/>
                  <a:pt x="6548915" y="237754"/>
                </a:cubicBezTo>
                <a:cubicBezTo>
                  <a:pt x="6546386" y="240416"/>
                  <a:pt x="6545321" y="243211"/>
                  <a:pt x="6545321" y="247205"/>
                </a:cubicBezTo>
                <a:cubicBezTo>
                  <a:pt x="6545321" y="251331"/>
                  <a:pt x="6546386" y="254260"/>
                  <a:pt x="6548915" y="256789"/>
                </a:cubicBezTo>
                <a:cubicBezTo>
                  <a:pt x="6550512" y="258387"/>
                  <a:pt x="6553042" y="260250"/>
                  <a:pt x="6558899" y="260250"/>
                </a:cubicBezTo>
                <a:cubicBezTo>
                  <a:pt x="6560895" y="260250"/>
                  <a:pt x="6562759" y="259984"/>
                  <a:pt x="6564223" y="259318"/>
                </a:cubicBezTo>
                <a:cubicBezTo>
                  <a:pt x="6565687" y="258786"/>
                  <a:pt x="6567019" y="257987"/>
                  <a:pt x="6567950" y="256922"/>
                </a:cubicBezTo>
                <a:cubicBezTo>
                  <a:pt x="6569015" y="255724"/>
                  <a:pt x="6569947" y="254393"/>
                  <a:pt x="6570612" y="252663"/>
                </a:cubicBezTo>
                <a:cubicBezTo>
                  <a:pt x="6571412" y="251065"/>
                  <a:pt x="6571677" y="249202"/>
                  <a:pt x="6571677" y="247205"/>
                </a:cubicBezTo>
                <a:cubicBezTo>
                  <a:pt x="6571677" y="245341"/>
                  <a:pt x="6571278" y="243611"/>
                  <a:pt x="6570612" y="242013"/>
                </a:cubicBezTo>
                <a:cubicBezTo>
                  <a:pt x="6569947" y="240416"/>
                  <a:pt x="6569015" y="239085"/>
                  <a:pt x="6567950" y="237887"/>
                </a:cubicBezTo>
                <a:cubicBezTo>
                  <a:pt x="6566885" y="236822"/>
                  <a:pt x="6565554" y="235890"/>
                  <a:pt x="6563956" y="235224"/>
                </a:cubicBezTo>
                <a:cubicBezTo>
                  <a:pt x="6562492" y="234559"/>
                  <a:pt x="6560895" y="234159"/>
                  <a:pt x="6558899" y="234159"/>
                </a:cubicBezTo>
                <a:close/>
                <a:moveTo>
                  <a:pt x="6776544" y="234159"/>
                </a:moveTo>
                <a:cubicBezTo>
                  <a:pt x="6770687" y="234159"/>
                  <a:pt x="6768157" y="236156"/>
                  <a:pt x="6766560" y="237754"/>
                </a:cubicBezTo>
                <a:cubicBezTo>
                  <a:pt x="6764031" y="240416"/>
                  <a:pt x="6762966" y="243211"/>
                  <a:pt x="6762966" y="247205"/>
                </a:cubicBezTo>
                <a:cubicBezTo>
                  <a:pt x="6762966" y="251331"/>
                  <a:pt x="6764031" y="254260"/>
                  <a:pt x="6766560" y="256789"/>
                </a:cubicBezTo>
                <a:cubicBezTo>
                  <a:pt x="6768157" y="258387"/>
                  <a:pt x="6770687" y="260250"/>
                  <a:pt x="6776544" y="260250"/>
                </a:cubicBezTo>
                <a:cubicBezTo>
                  <a:pt x="6778541" y="260250"/>
                  <a:pt x="6780270" y="259984"/>
                  <a:pt x="6781869" y="259318"/>
                </a:cubicBezTo>
                <a:cubicBezTo>
                  <a:pt x="6783333" y="258786"/>
                  <a:pt x="6784664" y="257987"/>
                  <a:pt x="6785595" y="256922"/>
                </a:cubicBezTo>
                <a:cubicBezTo>
                  <a:pt x="6786661" y="255724"/>
                  <a:pt x="6787593" y="254393"/>
                  <a:pt x="6788258" y="252663"/>
                </a:cubicBezTo>
                <a:cubicBezTo>
                  <a:pt x="6789057" y="251065"/>
                  <a:pt x="6789323" y="249202"/>
                  <a:pt x="6789323" y="247205"/>
                </a:cubicBezTo>
                <a:cubicBezTo>
                  <a:pt x="6789323" y="245341"/>
                  <a:pt x="6788923" y="243611"/>
                  <a:pt x="6788258" y="242013"/>
                </a:cubicBezTo>
                <a:cubicBezTo>
                  <a:pt x="6787593" y="240416"/>
                  <a:pt x="6786661" y="239085"/>
                  <a:pt x="6785595" y="237887"/>
                </a:cubicBezTo>
                <a:cubicBezTo>
                  <a:pt x="6784530" y="236822"/>
                  <a:pt x="6783199" y="235890"/>
                  <a:pt x="6781602" y="235224"/>
                </a:cubicBezTo>
                <a:cubicBezTo>
                  <a:pt x="6780138" y="234559"/>
                  <a:pt x="6778541" y="234159"/>
                  <a:pt x="6776544" y="234159"/>
                </a:cubicBezTo>
                <a:close/>
                <a:moveTo>
                  <a:pt x="6994056" y="234159"/>
                </a:moveTo>
                <a:cubicBezTo>
                  <a:pt x="6988199" y="234159"/>
                  <a:pt x="6985669" y="236156"/>
                  <a:pt x="6984072" y="237754"/>
                </a:cubicBezTo>
                <a:cubicBezTo>
                  <a:pt x="6981543" y="240416"/>
                  <a:pt x="6980478" y="243211"/>
                  <a:pt x="6980478" y="247205"/>
                </a:cubicBezTo>
                <a:cubicBezTo>
                  <a:pt x="6980478" y="251331"/>
                  <a:pt x="6981543" y="254260"/>
                  <a:pt x="6984072" y="256789"/>
                </a:cubicBezTo>
                <a:cubicBezTo>
                  <a:pt x="6985669" y="258387"/>
                  <a:pt x="6988199" y="260250"/>
                  <a:pt x="6994056" y="260250"/>
                </a:cubicBezTo>
                <a:cubicBezTo>
                  <a:pt x="6996185" y="260250"/>
                  <a:pt x="6997916" y="259984"/>
                  <a:pt x="6999380" y="259318"/>
                </a:cubicBezTo>
                <a:cubicBezTo>
                  <a:pt x="7000844" y="258786"/>
                  <a:pt x="7002176" y="257987"/>
                  <a:pt x="7003107" y="256922"/>
                </a:cubicBezTo>
                <a:cubicBezTo>
                  <a:pt x="7004172" y="255724"/>
                  <a:pt x="7005104" y="254393"/>
                  <a:pt x="7005769" y="252663"/>
                </a:cubicBezTo>
                <a:cubicBezTo>
                  <a:pt x="7006568" y="251065"/>
                  <a:pt x="7006834" y="249202"/>
                  <a:pt x="7006834" y="247205"/>
                </a:cubicBezTo>
                <a:cubicBezTo>
                  <a:pt x="7006834" y="245341"/>
                  <a:pt x="7006435" y="243611"/>
                  <a:pt x="7005769" y="242013"/>
                </a:cubicBezTo>
                <a:cubicBezTo>
                  <a:pt x="7005104" y="240416"/>
                  <a:pt x="7004172" y="239085"/>
                  <a:pt x="7003107" y="237887"/>
                </a:cubicBezTo>
                <a:cubicBezTo>
                  <a:pt x="7002042" y="236822"/>
                  <a:pt x="7000711" y="235890"/>
                  <a:pt x="6999113" y="235224"/>
                </a:cubicBezTo>
                <a:cubicBezTo>
                  <a:pt x="6997649" y="234559"/>
                  <a:pt x="6996052" y="234159"/>
                  <a:pt x="6994056" y="234159"/>
                </a:cubicBezTo>
                <a:close/>
                <a:moveTo>
                  <a:pt x="7211701" y="234159"/>
                </a:moveTo>
                <a:cubicBezTo>
                  <a:pt x="7205844" y="234159"/>
                  <a:pt x="7203314" y="236156"/>
                  <a:pt x="7201717" y="237754"/>
                </a:cubicBezTo>
                <a:cubicBezTo>
                  <a:pt x="7199188" y="240416"/>
                  <a:pt x="7198123" y="243211"/>
                  <a:pt x="7198123" y="247205"/>
                </a:cubicBezTo>
                <a:cubicBezTo>
                  <a:pt x="7198123" y="251331"/>
                  <a:pt x="7199188" y="254260"/>
                  <a:pt x="7201717" y="256789"/>
                </a:cubicBezTo>
                <a:cubicBezTo>
                  <a:pt x="7203314" y="258387"/>
                  <a:pt x="7205844" y="260250"/>
                  <a:pt x="7211701" y="260250"/>
                </a:cubicBezTo>
                <a:cubicBezTo>
                  <a:pt x="7213830" y="260250"/>
                  <a:pt x="7215561" y="259984"/>
                  <a:pt x="7217026" y="259318"/>
                </a:cubicBezTo>
                <a:cubicBezTo>
                  <a:pt x="7218490" y="258786"/>
                  <a:pt x="7219821" y="257987"/>
                  <a:pt x="7220752" y="256922"/>
                </a:cubicBezTo>
                <a:cubicBezTo>
                  <a:pt x="7221818" y="255724"/>
                  <a:pt x="7222750" y="254393"/>
                  <a:pt x="7223415" y="252663"/>
                </a:cubicBezTo>
                <a:cubicBezTo>
                  <a:pt x="7224214" y="251065"/>
                  <a:pt x="7224480" y="249202"/>
                  <a:pt x="7224480" y="247205"/>
                </a:cubicBezTo>
                <a:cubicBezTo>
                  <a:pt x="7224480" y="245341"/>
                  <a:pt x="7224080" y="243611"/>
                  <a:pt x="7223415" y="242013"/>
                </a:cubicBezTo>
                <a:cubicBezTo>
                  <a:pt x="7222750" y="240416"/>
                  <a:pt x="7221818" y="239085"/>
                  <a:pt x="7220752" y="237887"/>
                </a:cubicBezTo>
                <a:cubicBezTo>
                  <a:pt x="7219687" y="236822"/>
                  <a:pt x="7218356" y="235890"/>
                  <a:pt x="7216759" y="235224"/>
                </a:cubicBezTo>
                <a:cubicBezTo>
                  <a:pt x="7215295" y="234559"/>
                  <a:pt x="7213698" y="234159"/>
                  <a:pt x="7211701" y="234159"/>
                </a:cubicBezTo>
                <a:close/>
                <a:moveTo>
                  <a:pt x="7429345" y="234158"/>
                </a:moveTo>
                <a:cubicBezTo>
                  <a:pt x="7423488" y="234158"/>
                  <a:pt x="7420958" y="236155"/>
                  <a:pt x="7419361" y="237753"/>
                </a:cubicBezTo>
                <a:cubicBezTo>
                  <a:pt x="7416832" y="240416"/>
                  <a:pt x="7415768" y="243211"/>
                  <a:pt x="7415768" y="247205"/>
                </a:cubicBezTo>
                <a:cubicBezTo>
                  <a:pt x="7415768" y="251331"/>
                  <a:pt x="7416832" y="254260"/>
                  <a:pt x="7419361" y="256789"/>
                </a:cubicBezTo>
                <a:cubicBezTo>
                  <a:pt x="7420958" y="258387"/>
                  <a:pt x="7423488" y="260250"/>
                  <a:pt x="7429345" y="260250"/>
                </a:cubicBezTo>
                <a:cubicBezTo>
                  <a:pt x="7431342" y="260250"/>
                  <a:pt x="7433206" y="259984"/>
                  <a:pt x="7434670" y="259318"/>
                </a:cubicBezTo>
                <a:cubicBezTo>
                  <a:pt x="7436134" y="258786"/>
                  <a:pt x="7437466" y="257987"/>
                  <a:pt x="7438397" y="256922"/>
                </a:cubicBezTo>
                <a:cubicBezTo>
                  <a:pt x="7439462" y="255724"/>
                  <a:pt x="7440394" y="254393"/>
                  <a:pt x="7441059" y="252663"/>
                </a:cubicBezTo>
                <a:cubicBezTo>
                  <a:pt x="7441858" y="251065"/>
                  <a:pt x="7442124" y="249202"/>
                  <a:pt x="7442124" y="247205"/>
                </a:cubicBezTo>
                <a:cubicBezTo>
                  <a:pt x="7442124" y="245341"/>
                  <a:pt x="7441725" y="243611"/>
                  <a:pt x="7441059" y="242013"/>
                </a:cubicBezTo>
                <a:cubicBezTo>
                  <a:pt x="7440394" y="240416"/>
                  <a:pt x="7439462" y="239085"/>
                  <a:pt x="7438397" y="237886"/>
                </a:cubicBezTo>
                <a:cubicBezTo>
                  <a:pt x="7437332" y="236821"/>
                  <a:pt x="7436001" y="235889"/>
                  <a:pt x="7434403" y="235223"/>
                </a:cubicBezTo>
                <a:cubicBezTo>
                  <a:pt x="7432939" y="234558"/>
                  <a:pt x="7431342" y="234158"/>
                  <a:pt x="7429345" y="234158"/>
                </a:cubicBezTo>
                <a:close/>
                <a:moveTo>
                  <a:pt x="7646991" y="234158"/>
                </a:moveTo>
                <a:cubicBezTo>
                  <a:pt x="7641134" y="234158"/>
                  <a:pt x="7638604" y="236155"/>
                  <a:pt x="7637007" y="237753"/>
                </a:cubicBezTo>
                <a:cubicBezTo>
                  <a:pt x="7634478" y="240415"/>
                  <a:pt x="7633413" y="243210"/>
                  <a:pt x="7633413" y="247205"/>
                </a:cubicBezTo>
                <a:cubicBezTo>
                  <a:pt x="7633413" y="251331"/>
                  <a:pt x="7634478" y="254260"/>
                  <a:pt x="7637007" y="256789"/>
                </a:cubicBezTo>
                <a:cubicBezTo>
                  <a:pt x="7638604" y="258387"/>
                  <a:pt x="7641134" y="260250"/>
                  <a:pt x="7646991" y="260250"/>
                </a:cubicBezTo>
                <a:cubicBezTo>
                  <a:pt x="7648987" y="260250"/>
                  <a:pt x="7650851" y="259984"/>
                  <a:pt x="7652315" y="259318"/>
                </a:cubicBezTo>
                <a:cubicBezTo>
                  <a:pt x="7653780" y="258786"/>
                  <a:pt x="7655111" y="257987"/>
                  <a:pt x="7656042" y="256922"/>
                </a:cubicBezTo>
                <a:cubicBezTo>
                  <a:pt x="7657108" y="255724"/>
                  <a:pt x="7658039" y="254393"/>
                  <a:pt x="7658705" y="252663"/>
                </a:cubicBezTo>
                <a:cubicBezTo>
                  <a:pt x="7659504" y="251065"/>
                  <a:pt x="7659769" y="249201"/>
                  <a:pt x="7659769" y="247205"/>
                </a:cubicBezTo>
                <a:cubicBezTo>
                  <a:pt x="7659769" y="245340"/>
                  <a:pt x="7659370" y="243611"/>
                  <a:pt x="7658705" y="242012"/>
                </a:cubicBezTo>
                <a:cubicBezTo>
                  <a:pt x="7658039" y="240415"/>
                  <a:pt x="7657108" y="239084"/>
                  <a:pt x="7656042" y="237886"/>
                </a:cubicBezTo>
                <a:cubicBezTo>
                  <a:pt x="7654977" y="236821"/>
                  <a:pt x="7653646" y="235889"/>
                  <a:pt x="7652049" y="235223"/>
                </a:cubicBezTo>
                <a:cubicBezTo>
                  <a:pt x="7650584" y="234558"/>
                  <a:pt x="7648987" y="234158"/>
                  <a:pt x="7646991" y="234158"/>
                </a:cubicBezTo>
                <a:close/>
                <a:moveTo>
                  <a:pt x="7864636" y="234158"/>
                </a:moveTo>
                <a:cubicBezTo>
                  <a:pt x="7858779" y="234158"/>
                  <a:pt x="7856249" y="236155"/>
                  <a:pt x="7854652" y="237753"/>
                </a:cubicBezTo>
                <a:cubicBezTo>
                  <a:pt x="7852123" y="240415"/>
                  <a:pt x="7851058" y="243210"/>
                  <a:pt x="7851058" y="247204"/>
                </a:cubicBezTo>
                <a:cubicBezTo>
                  <a:pt x="7851058" y="251331"/>
                  <a:pt x="7852123" y="254260"/>
                  <a:pt x="7854652" y="256789"/>
                </a:cubicBezTo>
                <a:cubicBezTo>
                  <a:pt x="7856249" y="258387"/>
                  <a:pt x="7858779" y="260250"/>
                  <a:pt x="7864636" y="260250"/>
                </a:cubicBezTo>
                <a:cubicBezTo>
                  <a:pt x="7866633" y="260250"/>
                  <a:pt x="7868363" y="259984"/>
                  <a:pt x="7869961" y="259318"/>
                </a:cubicBezTo>
                <a:cubicBezTo>
                  <a:pt x="7871425" y="258786"/>
                  <a:pt x="7872756" y="257986"/>
                  <a:pt x="7873687" y="256922"/>
                </a:cubicBezTo>
                <a:cubicBezTo>
                  <a:pt x="7874753" y="255724"/>
                  <a:pt x="7875685" y="254393"/>
                  <a:pt x="7876350" y="252662"/>
                </a:cubicBezTo>
                <a:cubicBezTo>
                  <a:pt x="7877015" y="251064"/>
                  <a:pt x="7877282" y="249201"/>
                  <a:pt x="7877282" y="247204"/>
                </a:cubicBezTo>
                <a:cubicBezTo>
                  <a:pt x="7877282" y="245340"/>
                  <a:pt x="7877015" y="243610"/>
                  <a:pt x="7876350" y="242012"/>
                </a:cubicBezTo>
                <a:cubicBezTo>
                  <a:pt x="7875685" y="240415"/>
                  <a:pt x="7874753" y="239084"/>
                  <a:pt x="7873687" y="237886"/>
                </a:cubicBezTo>
                <a:cubicBezTo>
                  <a:pt x="7872623" y="236821"/>
                  <a:pt x="7871291" y="235889"/>
                  <a:pt x="7869694" y="235223"/>
                </a:cubicBezTo>
                <a:cubicBezTo>
                  <a:pt x="7868230" y="234558"/>
                  <a:pt x="7866633" y="234158"/>
                  <a:pt x="7864636" y="234158"/>
                </a:cubicBezTo>
                <a:close/>
                <a:moveTo>
                  <a:pt x="8082281" y="234158"/>
                </a:moveTo>
                <a:cubicBezTo>
                  <a:pt x="8076424" y="234158"/>
                  <a:pt x="8073894" y="236155"/>
                  <a:pt x="8072297" y="237753"/>
                </a:cubicBezTo>
                <a:cubicBezTo>
                  <a:pt x="8069768" y="240415"/>
                  <a:pt x="8068703" y="243210"/>
                  <a:pt x="8068703" y="247204"/>
                </a:cubicBezTo>
                <a:cubicBezTo>
                  <a:pt x="8068703" y="251330"/>
                  <a:pt x="8069768" y="254259"/>
                  <a:pt x="8072297" y="256788"/>
                </a:cubicBezTo>
                <a:cubicBezTo>
                  <a:pt x="8073894" y="258386"/>
                  <a:pt x="8076424" y="260249"/>
                  <a:pt x="8082281" y="260249"/>
                </a:cubicBezTo>
                <a:cubicBezTo>
                  <a:pt x="8084277" y="260249"/>
                  <a:pt x="8086007" y="259984"/>
                  <a:pt x="8087605" y="259317"/>
                </a:cubicBezTo>
                <a:cubicBezTo>
                  <a:pt x="8089069" y="258785"/>
                  <a:pt x="8090401" y="257986"/>
                  <a:pt x="8091332" y="256921"/>
                </a:cubicBezTo>
                <a:cubicBezTo>
                  <a:pt x="8092397" y="255723"/>
                  <a:pt x="8093329" y="254392"/>
                  <a:pt x="8093994" y="252662"/>
                </a:cubicBezTo>
                <a:cubicBezTo>
                  <a:pt x="8094660" y="251064"/>
                  <a:pt x="8094926" y="249201"/>
                  <a:pt x="8094926" y="247204"/>
                </a:cubicBezTo>
                <a:cubicBezTo>
                  <a:pt x="8094926" y="245340"/>
                  <a:pt x="8094660" y="243610"/>
                  <a:pt x="8093994" y="242012"/>
                </a:cubicBezTo>
                <a:cubicBezTo>
                  <a:pt x="8093329" y="240415"/>
                  <a:pt x="8092397" y="239084"/>
                  <a:pt x="8091332" y="237886"/>
                </a:cubicBezTo>
                <a:cubicBezTo>
                  <a:pt x="8090267" y="236821"/>
                  <a:pt x="8088936" y="235889"/>
                  <a:pt x="8087338" y="235223"/>
                </a:cubicBezTo>
                <a:cubicBezTo>
                  <a:pt x="8085874" y="234558"/>
                  <a:pt x="8084277" y="234158"/>
                  <a:pt x="8082281" y="234158"/>
                </a:cubicBezTo>
                <a:close/>
                <a:moveTo>
                  <a:pt x="8299793" y="234158"/>
                </a:moveTo>
                <a:cubicBezTo>
                  <a:pt x="8294068" y="234158"/>
                  <a:pt x="8291406" y="236155"/>
                  <a:pt x="8289809" y="237753"/>
                </a:cubicBezTo>
                <a:cubicBezTo>
                  <a:pt x="8287280" y="240415"/>
                  <a:pt x="8286215" y="243210"/>
                  <a:pt x="8286215" y="247204"/>
                </a:cubicBezTo>
                <a:cubicBezTo>
                  <a:pt x="8286215" y="251330"/>
                  <a:pt x="8287280" y="254259"/>
                  <a:pt x="8289809" y="256788"/>
                </a:cubicBezTo>
                <a:cubicBezTo>
                  <a:pt x="8291406" y="258386"/>
                  <a:pt x="8293935" y="260249"/>
                  <a:pt x="8299793" y="260249"/>
                </a:cubicBezTo>
                <a:cubicBezTo>
                  <a:pt x="8301923" y="260249"/>
                  <a:pt x="8303653" y="259983"/>
                  <a:pt x="8305118" y="259317"/>
                </a:cubicBezTo>
                <a:cubicBezTo>
                  <a:pt x="8306582" y="258785"/>
                  <a:pt x="8307913" y="257986"/>
                  <a:pt x="8308844" y="256921"/>
                </a:cubicBezTo>
                <a:cubicBezTo>
                  <a:pt x="8309910" y="255723"/>
                  <a:pt x="8310842" y="254392"/>
                  <a:pt x="8311507" y="252662"/>
                </a:cubicBezTo>
                <a:cubicBezTo>
                  <a:pt x="8312172" y="251064"/>
                  <a:pt x="8312439" y="249201"/>
                  <a:pt x="8312439" y="247204"/>
                </a:cubicBezTo>
                <a:cubicBezTo>
                  <a:pt x="8312439" y="245340"/>
                  <a:pt x="8312172" y="243610"/>
                  <a:pt x="8311507" y="242012"/>
                </a:cubicBezTo>
                <a:cubicBezTo>
                  <a:pt x="8310842" y="240415"/>
                  <a:pt x="8309910" y="239084"/>
                  <a:pt x="8308844" y="237886"/>
                </a:cubicBezTo>
                <a:cubicBezTo>
                  <a:pt x="8307779" y="236821"/>
                  <a:pt x="8306448" y="235889"/>
                  <a:pt x="8304851" y="235223"/>
                </a:cubicBezTo>
                <a:cubicBezTo>
                  <a:pt x="8303387" y="234558"/>
                  <a:pt x="8301790" y="234158"/>
                  <a:pt x="8299793" y="234158"/>
                </a:cubicBezTo>
                <a:close/>
                <a:moveTo>
                  <a:pt x="8517438" y="234158"/>
                </a:moveTo>
                <a:cubicBezTo>
                  <a:pt x="8511713" y="234158"/>
                  <a:pt x="8509051" y="236155"/>
                  <a:pt x="8507453" y="237753"/>
                </a:cubicBezTo>
                <a:cubicBezTo>
                  <a:pt x="8504925" y="240415"/>
                  <a:pt x="8503860" y="243210"/>
                  <a:pt x="8503860" y="247204"/>
                </a:cubicBezTo>
                <a:cubicBezTo>
                  <a:pt x="8503860" y="251330"/>
                  <a:pt x="8504925" y="254259"/>
                  <a:pt x="8507453" y="256788"/>
                </a:cubicBezTo>
                <a:cubicBezTo>
                  <a:pt x="8509051" y="258386"/>
                  <a:pt x="8511581" y="260249"/>
                  <a:pt x="8517438" y="260249"/>
                </a:cubicBezTo>
                <a:cubicBezTo>
                  <a:pt x="8519568" y="260249"/>
                  <a:pt x="8521299" y="259983"/>
                  <a:pt x="8522763" y="259317"/>
                </a:cubicBezTo>
                <a:cubicBezTo>
                  <a:pt x="8524227" y="258785"/>
                  <a:pt x="8525559" y="257986"/>
                  <a:pt x="8526490" y="256921"/>
                </a:cubicBezTo>
                <a:cubicBezTo>
                  <a:pt x="8527555" y="255723"/>
                  <a:pt x="8528487" y="254392"/>
                  <a:pt x="8529152" y="252662"/>
                </a:cubicBezTo>
                <a:cubicBezTo>
                  <a:pt x="8529818" y="251064"/>
                  <a:pt x="8530084" y="249201"/>
                  <a:pt x="8530084" y="247204"/>
                </a:cubicBezTo>
                <a:cubicBezTo>
                  <a:pt x="8530084" y="245340"/>
                  <a:pt x="8529818" y="243610"/>
                  <a:pt x="8529152" y="242012"/>
                </a:cubicBezTo>
                <a:cubicBezTo>
                  <a:pt x="8528487" y="240415"/>
                  <a:pt x="8527555" y="239084"/>
                  <a:pt x="8526490" y="237886"/>
                </a:cubicBezTo>
                <a:cubicBezTo>
                  <a:pt x="8525425" y="236821"/>
                  <a:pt x="8524094" y="235889"/>
                  <a:pt x="8522496" y="235223"/>
                </a:cubicBezTo>
                <a:cubicBezTo>
                  <a:pt x="8521032" y="234558"/>
                  <a:pt x="8519302" y="234158"/>
                  <a:pt x="8517438" y="234158"/>
                </a:cubicBezTo>
                <a:close/>
                <a:moveTo>
                  <a:pt x="8735083" y="234158"/>
                </a:moveTo>
                <a:cubicBezTo>
                  <a:pt x="8729358" y="234158"/>
                  <a:pt x="8726695" y="236155"/>
                  <a:pt x="8725098" y="237753"/>
                </a:cubicBezTo>
                <a:cubicBezTo>
                  <a:pt x="8722569" y="240415"/>
                  <a:pt x="8721504" y="243210"/>
                  <a:pt x="8721504" y="247204"/>
                </a:cubicBezTo>
                <a:cubicBezTo>
                  <a:pt x="8721504" y="251330"/>
                  <a:pt x="8722569" y="254259"/>
                  <a:pt x="8725098" y="256788"/>
                </a:cubicBezTo>
                <a:cubicBezTo>
                  <a:pt x="8726695" y="258386"/>
                  <a:pt x="8729225" y="260249"/>
                  <a:pt x="8735083" y="260249"/>
                </a:cubicBezTo>
                <a:cubicBezTo>
                  <a:pt x="8737079" y="260249"/>
                  <a:pt x="8738943" y="259983"/>
                  <a:pt x="8740407" y="259317"/>
                </a:cubicBezTo>
                <a:cubicBezTo>
                  <a:pt x="8741872" y="258785"/>
                  <a:pt x="8743203" y="257986"/>
                  <a:pt x="8744134" y="256921"/>
                </a:cubicBezTo>
                <a:cubicBezTo>
                  <a:pt x="8745200" y="255723"/>
                  <a:pt x="8746132" y="254392"/>
                  <a:pt x="8746797" y="252662"/>
                </a:cubicBezTo>
                <a:cubicBezTo>
                  <a:pt x="8747596" y="251064"/>
                  <a:pt x="8747862" y="249201"/>
                  <a:pt x="8747862" y="247204"/>
                </a:cubicBezTo>
                <a:cubicBezTo>
                  <a:pt x="8747862" y="245340"/>
                  <a:pt x="8747462" y="243610"/>
                  <a:pt x="8746797" y="242012"/>
                </a:cubicBezTo>
                <a:cubicBezTo>
                  <a:pt x="8746132" y="240415"/>
                  <a:pt x="8745200" y="239084"/>
                  <a:pt x="8744134" y="237886"/>
                </a:cubicBezTo>
                <a:cubicBezTo>
                  <a:pt x="8743069" y="236821"/>
                  <a:pt x="8741738" y="235889"/>
                  <a:pt x="8740141" y="235223"/>
                </a:cubicBezTo>
                <a:cubicBezTo>
                  <a:pt x="8738677" y="234558"/>
                  <a:pt x="8736946" y="234158"/>
                  <a:pt x="8735083" y="234158"/>
                </a:cubicBezTo>
                <a:close/>
                <a:moveTo>
                  <a:pt x="8952728" y="234158"/>
                </a:moveTo>
                <a:cubicBezTo>
                  <a:pt x="8947003" y="234158"/>
                  <a:pt x="8944340" y="236155"/>
                  <a:pt x="8942743" y="237753"/>
                </a:cubicBezTo>
                <a:cubicBezTo>
                  <a:pt x="8940214" y="240415"/>
                  <a:pt x="8939150" y="243210"/>
                  <a:pt x="8939150" y="247204"/>
                </a:cubicBezTo>
                <a:cubicBezTo>
                  <a:pt x="8939150" y="251330"/>
                  <a:pt x="8940214" y="254259"/>
                  <a:pt x="8942743" y="256788"/>
                </a:cubicBezTo>
                <a:cubicBezTo>
                  <a:pt x="8944340" y="258386"/>
                  <a:pt x="8946870" y="260249"/>
                  <a:pt x="8952728" y="260249"/>
                </a:cubicBezTo>
                <a:cubicBezTo>
                  <a:pt x="8954725" y="260249"/>
                  <a:pt x="8956589" y="259983"/>
                  <a:pt x="8958053" y="259317"/>
                </a:cubicBezTo>
                <a:cubicBezTo>
                  <a:pt x="8959517" y="258785"/>
                  <a:pt x="8960849" y="257986"/>
                  <a:pt x="8961780" y="256921"/>
                </a:cubicBezTo>
                <a:cubicBezTo>
                  <a:pt x="8962845" y="255723"/>
                  <a:pt x="8963777" y="254392"/>
                  <a:pt x="8964442" y="252662"/>
                </a:cubicBezTo>
                <a:cubicBezTo>
                  <a:pt x="8965241" y="251064"/>
                  <a:pt x="8965507" y="249201"/>
                  <a:pt x="8965507" y="247204"/>
                </a:cubicBezTo>
                <a:cubicBezTo>
                  <a:pt x="8965507" y="245340"/>
                  <a:pt x="8965108" y="243610"/>
                  <a:pt x="8964442" y="242012"/>
                </a:cubicBezTo>
                <a:cubicBezTo>
                  <a:pt x="8963777" y="240415"/>
                  <a:pt x="8962845" y="239084"/>
                  <a:pt x="8961780" y="237886"/>
                </a:cubicBezTo>
                <a:cubicBezTo>
                  <a:pt x="8960715" y="236821"/>
                  <a:pt x="8959384" y="235889"/>
                  <a:pt x="8957786" y="235223"/>
                </a:cubicBezTo>
                <a:cubicBezTo>
                  <a:pt x="8956322" y="234558"/>
                  <a:pt x="8954592" y="234158"/>
                  <a:pt x="8952728" y="234158"/>
                </a:cubicBezTo>
                <a:close/>
                <a:moveTo>
                  <a:pt x="9170374" y="234158"/>
                </a:moveTo>
                <a:cubicBezTo>
                  <a:pt x="9164649" y="234158"/>
                  <a:pt x="9161986" y="236155"/>
                  <a:pt x="9160389" y="237753"/>
                </a:cubicBezTo>
                <a:cubicBezTo>
                  <a:pt x="9157860" y="240415"/>
                  <a:pt x="9156795" y="243210"/>
                  <a:pt x="9156795" y="247204"/>
                </a:cubicBezTo>
                <a:cubicBezTo>
                  <a:pt x="9156795" y="251330"/>
                  <a:pt x="9157860" y="254259"/>
                  <a:pt x="9160389" y="256788"/>
                </a:cubicBezTo>
                <a:cubicBezTo>
                  <a:pt x="9161986" y="258386"/>
                  <a:pt x="9164516" y="260249"/>
                  <a:pt x="9170374" y="260249"/>
                </a:cubicBezTo>
                <a:cubicBezTo>
                  <a:pt x="9172370" y="260249"/>
                  <a:pt x="9174100" y="259983"/>
                  <a:pt x="9175698" y="259317"/>
                </a:cubicBezTo>
                <a:cubicBezTo>
                  <a:pt x="9177163" y="258785"/>
                  <a:pt x="9178494" y="257986"/>
                  <a:pt x="9179425" y="256921"/>
                </a:cubicBezTo>
                <a:cubicBezTo>
                  <a:pt x="9180491" y="255723"/>
                  <a:pt x="9181422" y="254392"/>
                  <a:pt x="9182088" y="252662"/>
                </a:cubicBezTo>
                <a:cubicBezTo>
                  <a:pt x="9182887" y="251064"/>
                  <a:pt x="9183152" y="249201"/>
                  <a:pt x="9183152" y="247204"/>
                </a:cubicBezTo>
                <a:cubicBezTo>
                  <a:pt x="9183152" y="245340"/>
                  <a:pt x="9182753" y="243610"/>
                  <a:pt x="9182088" y="242012"/>
                </a:cubicBezTo>
                <a:cubicBezTo>
                  <a:pt x="9181422" y="240415"/>
                  <a:pt x="9180491" y="239084"/>
                  <a:pt x="9179425" y="237886"/>
                </a:cubicBezTo>
                <a:cubicBezTo>
                  <a:pt x="9178360" y="236821"/>
                  <a:pt x="9177029" y="235889"/>
                  <a:pt x="9175432" y="235223"/>
                </a:cubicBezTo>
                <a:cubicBezTo>
                  <a:pt x="9173967" y="234558"/>
                  <a:pt x="9172237" y="234158"/>
                  <a:pt x="9170374" y="234158"/>
                </a:cubicBezTo>
                <a:close/>
                <a:moveTo>
                  <a:pt x="9387885" y="234157"/>
                </a:moveTo>
                <a:cubicBezTo>
                  <a:pt x="9382027" y="234157"/>
                  <a:pt x="9379497" y="236154"/>
                  <a:pt x="9377900" y="237752"/>
                </a:cubicBezTo>
                <a:cubicBezTo>
                  <a:pt x="9375371" y="240415"/>
                  <a:pt x="9374307" y="243210"/>
                  <a:pt x="9374307" y="247204"/>
                </a:cubicBezTo>
                <a:cubicBezTo>
                  <a:pt x="9374307" y="251330"/>
                  <a:pt x="9375371" y="254259"/>
                  <a:pt x="9377900" y="256788"/>
                </a:cubicBezTo>
                <a:cubicBezTo>
                  <a:pt x="9379497" y="258386"/>
                  <a:pt x="9382027" y="260249"/>
                  <a:pt x="9387885" y="260249"/>
                </a:cubicBezTo>
                <a:cubicBezTo>
                  <a:pt x="9390015" y="260249"/>
                  <a:pt x="9391746" y="259983"/>
                  <a:pt x="9393210" y="259317"/>
                </a:cubicBezTo>
                <a:cubicBezTo>
                  <a:pt x="9394674" y="258785"/>
                  <a:pt x="9396005" y="257986"/>
                  <a:pt x="9396937" y="256921"/>
                </a:cubicBezTo>
                <a:cubicBezTo>
                  <a:pt x="9398002" y="255723"/>
                  <a:pt x="9398934" y="254392"/>
                  <a:pt x="9399599" y="252662"/>
                </a:cubicBezTo>
                <a:cubicBezTo>
                  <a:pt x="9400398" y="251064"/>
                  <a:pt x="9400664" y="249201"/>
                  <a:pt x="9400664" y="247204"/>
                </a:cubicBezTo>
                <a:cubicBezTo>
                  <a:pt x="9400664" y="245340"/>
                  <a:pt x="9400265" y="243610"/>
                  <a:pt x="9399599" y="242012"/>
                </a:cubicBezTo>
                <a:cubicBezTo>
                  <a:pt x="9398934" y="240415"/>
                  <a:pt x="9398002" y="239084"/>
                  <a:pt x="9396937" y="237885"/>
                </a:cubicBezTo>
                <a:cubicBezTo>
                  <a:pt x="9395872" y="236820"/>
                  <a:pt x="9394541" y="235888"/>
                  <a:pt x="9392943" y="235222"/>
                </a:cubicBezTo>
                <a:cubicBezTo>
                  <a:pt x="9391479" y="234557"/>
                  <a:pt x="9389749" y="234157"/>
                  <a:pt x="9387885" y="234157"/>
                </a:cubicBezTo>
                <a:close/>
                <a:moveTo>
                  <a:pt x="9605531" y="234157"/>
                </a:moveTo>
                <a:cubicBezTo>
                  <a:pt x="9599673" y="234157"/>
                  <a:pt x="9597143" y="236154"/>
                  <a:pt x="9595546" y="237752"/>
                </a:cubicBezTo>
                <a:cubicBezTo>
                  <a:pt x="9593017" y="240414"/>
                  <a:pt x="9591952" y="243209"/>
                  <a:pt x="9591952" y="247204"/>
                </a:cubicBezTo>
                <a:cubicBezTo>
                  <a:pt x="9591952" y="251330"/>
                  <a:pt x="9593017" y="254259"/>
                  <a:pt x="9595546" y="256788"/>
                </a:cubicBezTo>
                <a:cubicBezTo>
                  <a:pt x="9597143" y="258386"/>
                  <a:pt x="9599673" y="260249"/>
                  <a:pt x="9605531" y="260249"/>
                </a:cubicBezTo>
                <a:cubicBezTo>
                  <a:pt x="9607660" y="260249"/>
                  <a:pt x="9609391" y="259983"/>
                  <a:pt x="9610855" y="259317"/>
                </a:cubicBezTo>
                <a:cubicBezTo>
                  <a:pt x="9612319" y="258785"/>
                  <a:pt x="9613651" y="257986"/>
                  <a:pt x="9614582" y="256921"/>
                </a:cubicBezTo>
                <a:cubicBezTo>
                  <a:pt x="9615647" y="255723"/>
                  <a:pt x="9616579" y="254392"/>
                  <a:pt x="9617245" y="252662"/>
                </a:cubicBezTo>
                <a:cubicBezTo>
                  <a:pt x="9618044" y="251064"/>
                  <a:pt x="9618309" y="249201"/>
                  <a:pt x="9618309" y="247204"/>
                </a:cubicBezTo>
                <a:cubicBezTo>
                  <a:pt x="9618309" y="245339"/>
                  <a:pt x="9617910" y="243610"/>
                  <a:pt x="9617245" y="242011"/>
                </a:cubicBezTo>
                <a:cubicBezTo>
                  <a:pt x="9616579" y="240414"/>
                  <a:pt x="9615647" y="239083"/>
                  <a:pt x="9614582" y="237885"/>
                </a:cubicBezTo>
                <a:cubicBezTo>
                  <a:pt x="9613517" y="236820"/>
                  <a:pt x="9612186" y="235888"/>
                  <a:pt x="9610589" y="235222"/>
                </a:cubicBezTo>
                <a:cubicBezTo>
                  <a:pt x="9609124" y="234557"/>
                  <a:pt x="9607394" y="234157"/>
                  <a:pt x="9605531" y="234157"/>
                </a:cubicBezTo>
                <a:close/>
                <a:moveTo>
                  <a:pt x="9823176" y="234157"/>
                </a:moveTo>
                <a:cubicBezTo>
                  <a:pt x="9817318" y="234157"/>
                  <a:pt x="9814788" y="236154"/>
                  <a:pt x="9813191" y="237752"/>
                </a:cubicBezTo>
                <a:cubicBezTo>
                  <a:pt x="9810662" y="240414"/>
                  <a:pt x="9809597" y="243209"/>
                  <a:pt x="9809597" y="247203"/>
                </a:cubicBezTo>
                <a:cubicBezTo>
                  <a:pt x="9809597" y="251330"/>
                  <a:pt x="9810662" y="254259"/>
                  <a:pt x="9813191" y="256788"/>
                </a:cubicBezTo>
                <a:cubicBezTo>
                  <a:pt x="9814788" y="258386"/>
                  <a:pt x="9817318" y="260249"/>
                  <a:pt x="9823176" y="260249"/>
                </a:cubicBezTo>
                <a:cubicBezTo>
                  <a:pt x="9825173" y="260249"/>
                  <a:pt x="9827036" y="259983"/>
                  <a:pt x="9828501" y="259317"/>
                </a:cubicBezTo>
                <a:cubicBezTo>
                  <a:pt x="9830098" y="258785"/>
                  <a:pt x="9831296" y="257986"/>
                  <a:pt x="9832227" y="256921"/>
                </a:cubicBezTo>
                <a:cubicBezTo>
                  <a:pt x="9833293" y="255723"/>
                  <a:pt x="9834225" y="254392"/>
                  <a:pt x="9834890" y="252662"/>
                </a:cubicBezTo>
                <a:cubicBezTo>
                  <a:pt x="9835689" y="251063"/>
                  <a:pt x="9835955" y="249200"/>
                  <a:pt x="9835955" y="247203"/>
                </a:cubicBezTo>
                <a:cubicBezTo>
                  <a:pt x="9835955" y="245339"/>
                  <a:pt x="9835555" y="243609"/>
                  <a:pt x="9834890" y="242011"/>
                </a:cubicBezTo>
                <a:cubicBezTo>
                  <a:pt x="9834225" y="240414"/>
                  <a:pt x="9833293" y="239083"/>
                  <a:pt x="9832227" y="237885"/>
                </a:cubicBezTo>
                <a:cubicBezTo>
                  <a:pt x="9831162" y="236820"/>
                  <a:pt x="9829831" y="235888"/>
                  <a:pt x="9828234" y="235222"/>
                </a:cubicBezTo>
                <a:cubicBezTo>
                  <a:pt x="9826770" y="234557"/>
                  <a:pt x="9825173" y="234157"/>
                  <a:pt x="9823176" y="234157"/>
                </a:cubicBezTo>
                <a:close/>
                <a:moveTo>
                  <a:pt x="10040820" y="234157"/>
                </a:moveTo>
                <a:cubicBezTo>
                  <a:pt x="10034962" y="234157"/>
                  <a:pt x="10032433" y="236154"/>
                  <a:pt x="10030835" y="237752"/>
                </a:cubicBezTo>
                <a:cubicBezTo>
                  <a:pt x="10028306" y="240414"/>
                  <a:pt x="10027242" y="243209"/>
                  <a:pt x="10027242" y="247203"/>
                </a:cubicBezTo>
                <a:cubicBezTo>
                  <a:pt x="10027242" y="251329"/>
                  <a:pt x="10028306" y="254258"/>
                  <a:pt x="10030835" y="256788"/>
                </a:cubicBezTo>
                <a:cubicBezTo>
                  <a:pt x="10032433" y="258385"/>
                  <a:pt x="10034962" y="260249"/>
                  <a:pt x="10040820" y="260249"/>
                </a:cubicBezTo>
                <a:cubicBezTo>
                  <a:pt x="10042817" y="260249"/>
                  <a:pt x="10044681" y="259983"/>
                  <a:pt x="10046145" y="259317"/>
                </a:cubicBezTo>
                <a:cubicBezTo>
                  <a:pt x="10047742" y="258785"/>
                  <a:pt x="10048941" y="257985"/>
                  <a:pt x="10049872" y="256921"/>
                </a:cubicBezTo>
                <a:cubicBezTo>
                  <a:pt x="10050937" y="255722"/>
                  <a:pt x="10051869" y="254391"/>
                  <a:pt x="10052534" y="252661"/>
                </a:cubicBezTo>
                <a:cubicBezTo>
                  <a:pt x="10053333" y="251063"/>
                  <a:pt x="10053599" y="249200"/>
                  <a:pt x="10053599" y="247203"/>
                </a:cubicBezTo>
                <a:cubicBezTo>
                  <a:pt x="10053599" y="245339"/>
                  <a:pt x="10053200" y="243609"/>
                  <a:pt x="10052534" y="242011"/>
                </a:cubicBezTo>
                <a:cubicBezTo>
                  <a:pt x="10051869" y="240414"/>
                  <a:pt x="10050937" y="239083"/>
                  <a:pt x="10049872" y="237885"/>
                </a:cubicBezTo>
                <a:cubicBezTo>
                  <a:pt x="10048807" y="236820"/>
                  <a:pt x="10047476" y="235888"/>
                  <a:pt x="10045878" y="235222"/>
                </a:cubicBezTo>
                <a:cubicBezTo>
                  <a:pt x="10044414" y="234557"/>
                  <a:pt x="10042817" y="234157"/>
                  <a:pt x="10040820" y="234157"/>
                </a:cubicBezTo>
                <a:close/>
                <a:moveTo>
                  <a:pt x="10258466" y="234157"/>
                </a:moveTo>
                <a:cubicBezTo>
                  <a:pt x="10252608" y="234157"/>
                  <a:pt x="10250078" y="236154"/>
                  <a:pt x="10248481" y="237752"/>
                </a:cubicBezTo>
                <a:cubicBezTo>
                  <a:pt x="10245952" y="240414"/>
                  <a:pt x="10244887" y="243209"/>
                  <a:pt x="10244887" y="247203"/>
                </a:cubicBezTo>
                <a:cubicBezTo>
                  <a:pt x="10244887" y="251329"/>
                  <a:pt x="10245952" y="254258"/>
                  <a:pt x="10248481" y="256787"/>
                </a:cubicBezTo>
                <a:cubicBezTo>
                  <a:pt x="10250078" y="258385"/>
                  <a:pt x="10252608" y="260248"/>
                  <a:pt x="10258466" y="260248"/>
                </a:cubicBezTo>
                <a:cubicBezTo>
                  <a:pt x="10260462" y="260248"/>
                  <a:pt x="10262192" y="259983"/>
                  <a:pt x="10263790" y="259316"/>
                </a:cubicBezTo>
                <a:cubicBezTo>
                  <a:pt x="10265388" y="258784"/>
                  <a:pt x="10266586" y="257985"/>
                  <a:pt x="10267517" y="256920"/>
                </a:cubicBezTo>
                <a:cubicBezTo>
                  <a:pt x="10268583" y="255722"/>
                  <a:pt x="10269515" y="254391"/>
                  <a:pt x="10270180" y="252661"/>
                </a:cubicBezTo>
                <a:cubicBezTo>
                  <a:pt x="10270845" y="251063"/>
                  <a:pt x="10271112" y="249200"/>
                  <a:pt x="10271112" y="247203"/>
                </a:cubicBezTo>
                <a:cubicBezTo>
                  <a:pt x="10271112" y="245339"/>
                  <a:pt x="10270845" y="243609"/>
                  <a:pt x="10270180" y="242011"/>
                </a:cubicBezTo>
                <a:cubicBezTo>
                  <a:pt x="10269515" y="240414"/>
                  <a:pt x="10268583" y="239083"/>
                  <a:pt x="10267517" y="237885"/>
                </a:cubicBezTo>
                <a:cubicBezTo>
                  <a:pt x="10266452" y="236820"/>
                  <a:pt x="10265121" y="235888"/>
                  <a:pt x="10263524" y="235222"/>
                </a:cubicBezTo>
                <a:cubicBezTo>
                  <a:pt x="10262060" y="234557"/>
                  <a:pt x="10260462" y="234157"/>
                  <a:pt x="10258466" y="234157"/>
                </a:cubicBezTo>
                <a:close/>
                <a:moveTo>
                  <a:pt x="10475977" y="234157"/>
                </a:moveTo>
                <a:cubicBezTo>
                  <a:pt x="10470119" y="234157"/>
                  <a:pt x="10467589" y="236154"/>
                  <a:pt x="10465992" y="237752"/>
                </a:cubicBezTo>
                <a:cubicBezTo>
                  <a:pt x="10463463" y="240414"/>
                  <a:pt x="10462399" y="243209"/>
                  <a:pt x="10462399" y="247203"/>
                </a:cubicBezTo>
                <a:cubicBezTo>
                  <a:pt x="10462399" y="251329"/>
                  <a:pt x="10463463" y="254258"/>
                  <a:pt x="10465992" y="256787"/>
                </a:cubicBezTo>
                <a:cubicBezTo>
                  <a:pt x="10467589" y="258385"/>
                  <a:pt x="10470119" y="260248"/>
                  <a:pt x="10475977" y="260248"/>
                </a:cubicBezTo>
                <a:cubicBezTo>
                  <a:pt x="10478107" y="260248"/>
                  <a:pt x="10479838" y="259982"/>
                  <a:pt x="10481302" y="259316"/>
                </a:cubicBezTo>
                <a:cubicBezTo>
                  <a:pt x="10482899" y="258784"/>
                  <a:pt x="10484098" y="257985"/>
                  <a:pt x="10485029" y="256920"/>
                </a:cubicBezTo>
                <a:cubicBezTo>
                  <a:pt x="10486094" y="255722"/>
                  <a:pt x="10487026" y="254391"/>
                  <a:pt x="10487691" y="252661"/>
                </a:cubicBezTo>
                <a:cubicBezTo>
                  <a:pt x="10488357" y="251063"/>
                  <a:pt x="10488623" y="249200"/>
                  <a:pt x="10488623" y="247203"/>
                </a:cubicBezTo>
                <a:cubicBezTo>
                  <a:pt x="10488623" y="245339"/>
                  <a:pt x="10488357" y="243609"/>
                  <a:pt x="10487691" y="242011"/>
                </a:cubicBezTo>
                <a:cubicBezTo>
                  <a:pt x="10487026" y="240414"/>
                  <a:pt x="10486094" y="239083"/>
                  <a:pt x="10485029" y="237885"/>
                </a:cubicBezTo>
                <a:cubicBezTo>
                  <a:pt x="10483964" y="236820"/>
                  <a:pt x="10482633" y="235888"/>
                  <a:pt x="10481035" y="235222"/>
                </a:cubicBezTo>
                <a:cubicBezTo>
                  <a:pt x="10479571" y="234557"/>
                  <a:pt x="10477974" y="234157"/>
                  <a:pt x="10475977" y="234157"/>
                </a:cubicBezTo>
                <a:close/>
                <a:moveTo>
                  <a:pt x="30225" y="217656"/>
                </a:moveTo>
                <a:cubicBezTo>
                  <a:pt x="34485" y="217656"/>
                  <a:pt x="38479" y="218455"/>
                  <a:pt x="41940" y="220185"/>
                </a:cubicBezTo>
                <a:cubicBezTo>
                  <a:pt x="45667" y="221783"/>
                  <a:pt x="48729" y="223912"/>
                  <a:pt x="51258" y="226575"/>
                </a:cubicBezTo>
                <a:cubicBezTo>
                  <a:pt x="53920" y="229104"/>
                  <a:pt x="55917" y="232299"/>
                  <a:pt x="57381" y="235893"/>
                </a:cubicBezTo>
                <a:cubicBezTo>
                  <a:pt x="58845" y="239487"/>
                  <a:pt x="59644" y="243347"/>
                  <a:pt x="59644" y="247341"/>
                </a:cubicBezTo>
                <a:cubicBezTo>
                  <a:pt x="59644" y="251468"/>
                  <a:pt x="58845" y="255461"/>
                  <a:pt x="57381" y="259055"/>
                </a:cubicBezTo>
                <a:cubicBezTo>
                  <a:pt x="55917" y="262783"/>
                  <a:pt x="53787" y="265845"/>
                  <a:pt x="51258" y="268507"/>
                </a:cubicBezTo>
                <a:cubicBezTo>
                  <a:pt x="48595" y="271170"/>
                  <a:pt x="45534" y="273300"/>
                  <a:pt x="41940" y="274764"/>
                </a:cubicBezTo>
                <a:cubicBezTo>
                  <a:pt x="38346" y="276228"/>
                  <a:pt x="34485" y="277027"/>
                  <a:pt x="30225" y="277027"/>
                </a:cubicBezTo>
                <a:cubicBezTo>
                  <a:pt x="21307" y="277027"/>
                  <a:pt x="13984" y="274098"/>
                  <a:pt x="8393" y="268507"/>
                </a:cubicBezTo>
                <a:cubicBezTo>
                  <a:pt x="2802" y="262917"/>
                  <a:pt x="7" y="255860"/>
                  <a:pt x="7" y="247341"/>
                </a:cubicBezTo>
                <a:cubicBezTo>
                  <a:pt x="7" y="239088"/>
                  <a:pt x="2802" y="232033"/>
                  <a:pt x="8393" y="226309"/>
                </a:cubicBezTo>
                <a:cubicBezTo>
                  <a:pt x="13984" y="220451"/>
                  <a:pt x="21173" y="217656"/>
                  <a:pt x="30225" y="217656"/>
                </a:cubicBezTo>
                <a:close/>
                <a:moveTo>
                  <a:pt x="247869" y="217656"/>
                </a:moveTo>
                <a:cubicBezTo>
                  <a:pt x="252129" y="217656"/>
                  <a:pt x="256123" y="218455"/>
                  <a:pt x="259584" y="220185"/>
                </a:cubicBezTo>
                <a:cubicBezTo>
                  <a:pt x="263312" y="221783"/>
                  <a:pt x="266374" y="223912"/>
                  <a:pt x="268903" y="226575"/>
                </a:cubicBezTo>
                <a:cubicBezTo>
                  <a:pt x="271565" y="229104"/>
                  <a:pt x="273562" y="232299"/>
                  <a:pt x="275026" y="235893"/>
                </a:cubicBezTo>
                <a:cubicBezTo>
                  <a:pt x="276490" y="239487"/>
                  <a:pt x="277289" y="243347"/>
                  <a:pt x="277289" y="247341"/>
                </a:cubicBezTo>
                <a:cubicBezTo>
                  <a:pt x="277289" y="251468"/>
                  <a:pt x="276490" y="255461"/>
                  <a:pt x="275026" y="259055"/>
                </a:cubicBezTo>
                <a:cubicBezTo>
                  <a:pt x="273562" y="262782"/>
                  <a:pt x="271432" y="265845"/>
                  <a:pt x="268903" y="268507"/>
                </a:cubicBezTo>
                <a:cubicBezTo>
                  <a:pt x="266240" y="271170"/>
                  <a:pt x="263178" y="273300"/>
                  <a:pt x="259584" y="274764"/>
                </a:cubicBezTo>
                <a:cubicBezTo>
                  <a:pt x="255989" y="276228"/>
                  <a:pt x="252129" y="277027"/>
                  <a:pt x="247869" y="277027"/>
                </a:cubicBezTo>
                <a:cubicBezTo>
                  <a:pt x="238951" y="277027"/>
                  <a:pt x="231629" y="274098"/>
                  <a:pt x="226038" y="268507"/>
                </a:cubicBezTo>
                <a:cubicBezTo>
                  <a:pt x="220447" y="262916"/>
                  <a:pt x="217652" y="255860"/>
                  <a:pt x="217652" y="247341"/>
                </a:cubicBezTo>
                <a:cubicBezTo>
                  <a:pt x="217652" y="239088"/>
                  <a:pt x="220447" y="232033"/>
                  <a:pt x="226038" y="226309"/>
                </a:cubicBezTo>
                <a:cubicBezTo>
                  <a:pt x="231629" y="220451"/>
                  <a:pt x="238817" y="217656"/>
                  <a:pt x="247869" y="217656"/>
                </a:cubicBezTo>
                <a:close/>
                <a:moveTo>
                  <a:pt x="465514" y="217655"/>
                </a:moveTo>
                <a:cubicBezTo>
                  <a:pt x="469774" y="217655"/>
                  <a:pt x="473634" y="218454"/>
                  <a:pt x="477229" y="220185"/>
                </a:cubicBezTo>
                <a:cubicBezTo>
                  <a:pt x="480956" y="221783"/>
                  <a:pt x="484018" y="223912"/>
                  <a:pt x="486547" y="226575"/>
                </a:cubicBezTo>
                <a:cubicBezTo>
                  <a:pt x="489209" y="229104"/>
                  <a:pt x="491206" y="232299"/>
                  <a:pt x="492670" y="235893"/>
                </a:cubicBezTo>
                <a:cubicBezTo>
                  <a:pt x="494134" y="239487"/>
                  <a:pt x="494933" y="243347"/>
                  <a:pt x="494933" y="247341"/>
                </a:cubicBezTo>
                <a:cubicBezTo>
                  <a:pt x="494933" y="251468"/>
                  <a:pt x="494134" y="255461"/>
                  <a:pt x="492670" y="259055"/>
                </a:cubicBezTo>
                <a:cubicBezTo>
                  <a:pt x="491206" y="262782"/>
                  <a:pt x="489076" y="265844"/>
                  <a:pt x="486547" y="268506"/>
                </a:cubicBezTo>
                <a:cubicBezTo>
                  <a:pt x="483884" y="271170"/>
                  <a:pt x="480823" y="273300"/>
                  <a:pt x="477229" y="274764"/>
                </a:cubicBezTo>
                <a:cubicBezTo>
                  <a:pt x="473634" y="276228"/>
                  <a:pt x="469774" y="277027"/>
                  <a:pt x="465514" y="277027"/>
                </a:cubicBezTo>
                <a:cubicBezTo>
                  <a:pt x="456596" y="277027"/>
                  <a:pt x="449273" y="274098"/>
                  <a:pt x="443683" y="268506"/>
                </a:cubicBezTo>
                <a:cubicBezTo>
                  <a:pt x="438092" y="262916"/>
                  <a:pt x="435296" y="255860"/>
                  <a:pt x="435296" y="247341"/>
                </a:cubicBezTo>
                <a:cubicBezTo>
                  <a:pt x="435296" y="239088"/>
                  <a:pt x="438092" y="232033"/>
                  <a:pt x="443683" y="226309"/>
                </a:cubicBezTo>
                <a:cubicBezTo>
                  <a:pt x="449273" y="220450"/>
                  <a:pt x="456463" y="217655"/>
                  <a:pt x="465514" y="217655"/>
                </a:cubicBezTo>
                <a:close/>
                <a:moveTo>
                  <a:pt x="900803" y="217655"/>
                </a:moveTo>
                <a:cubicBezTo>
                  <a:pt x="904930" y="217655"/>
                  <a:pt x="908924" y="218454"/>
                  <a:pt x="912518" y="220184"/>
                </a:cubicBezTo>
                <a:cubicBezTo>
                  <a:pt x="916245" y="221782"/>
                  <a:pt x="919307" y="223911"/>
                  <a:pt x="921836" y="226574"/>
                </a:cubicBezTo>
                <a:cubicBezTo>
                  <a:pt x="924498" y="229104"/>
                  <a:pt x="926495" y="232299"/>
                  <a:pt x="927959" y="235893"/>
                </a:cubicBezTo>
                <a:cubicBezTo>
                  <a:pt x="929424" y="239487"/>
                  <a:pt x="930222" y="243347"/>
                  <a:pt x="930222" y="247341"/>
                </a:cubicBezTo>
                <a:cubicBezTo>
                  <a:pt x="930222" y="251468"/>
                  <a:pt x="929424" y="255461"/>
                  <a:pt x="927959" y="259055"/>
                </a:cubicBezTo>
                <a:cubicBezTo>
                  <a:pt x="926495" y="262782"/>
                  <a:pt x="924365" y="265844"/>
                  <a:pt x="921836" y="268506"/>
                </a:cubicBezTo>
                <a:cubicBezTo>
                  <a:pt x="919307" y="271169"/>
                  <a:pt x="916112" y="273299"/>
                  <a:pt x="912518" y="274763"/>
                </a:cubicBezTo>
                <a:cubicBezTo>
                  <a:pt x="908924" y="276227"/>
                  <a:pt x="905063" y="277026"/>
                  <a:pt x="900803" y="277026"/>
                </a:cubicBezTo>
                <a:cubicBezTo>
                  <a:pt x="891885" y="277026"/>
                  <a:pt x="884563" y="274097"/>
                  <a:pt x="878972" y="268506"/>
                </a:cubicBezTo>
                <a:cubicBezTo>
                  <a:pt x="873382" y="262916"/>
                  <a:pt x="870586" y="255860"/>
                  <a:pt x="870586" y="247341"/>
                </a:cubicBezTo>
                <a:cubicBezTo>
                  <a:pt x="870586" y="239088"/>
                  <a:pt x="873382" y="232033"/>
                  <a:pt x="878972" y="226308"/>
                </a:cubicBezTo>
                <a:cubicBezTo>
                  <a:pt x="884563" y="220450"/>
                  <a:pt x="891752" y="217655"/>
                  <a:pt x="900803" y="217655"/>
                </a:cubicBezTo>
                <a:close/>
                <a:moveTo>
                  <a:pt x="683158" y="217655"/>
                </a:moveTo>
                <a:cubicBezTo>
                  <a:pt x="687419" y="217655"/>
                  <a:pt x="691280" y="218454"/>
                  <a:pt x="694874" y="220184"/>
                </a:cubicBezTo>
                <a:cubicBezTo>
                  <a:pt x="698601" y="221782"/>
                  <a:pt x="701663" y="223911"/>
                  <a:pt x="704192" y="226575"/>
                </a:cubicBezTo>
                <a:cubicBezTo>
                  <a:pt x="706854" y="229104"/>
                  <a:pt x="708851" y="232299"/>
                  <a:pt x="710315" y="235893"/>
                </a:cubicBezTo>
                <a:cubicBezTo>
                  <a:pt x="711779" y="239487"/>
                  <a:pt x="712578" y="243347"/>
                  <a:pt x="712578" y="247341"/>
                </a:cubicBezTo>
                <a:cubicBezTo>
                  <a:pt x="712578" y="251468"/>
                  <a:pt x="711779" y="255461"/>
                  <a:pt x="710315" y="259055"/>
                </a:cubicBezTo>
                <a:cubicBezTo>
                  <a:pt x="708851" y="262782"/>
                  <a:pt x="706721" y="265844"/>
                  <a:pt x="704192" y="268506"/>
                </a:cubicBezTo>
                <a:cubicBezTo>
                  <a:pt x="701663" y="271169"/>
                  <a:pt x="698468" y="273299"/>
                  <a:pt x="694874" y="274763"/>
                </a:cubicBezTo>
                <a:cubicBezTo>
                  <a:pt x="691280" y="276228"/>
                  <a:pt x="687419" y="277026"/>
                  <a:pt x="683158" y="277026"/>
                </a:cubicBezTo>
                <a:cubicBezTo>
                  <a:pt x="674240" y="277026"/>
                  <a:pt x="666918" y="274097"/>
                  <a:pt x="661327" y="268506"/>
                </a:cubicBezTo>
                <a:cubicBezTo>
                  <a:pt x="655736" y="262916"/>
                  <a:pt x="652941" y="255860"/>
                  <a:pt x="652941" y="247341"/>
                </a:cubicBezTo>
                <a:cubicBezTo>
                  <a:pt x="652941" y="239088"/>
                  <a:pt x="655736" y="232033"/>
                  <a:pt x="661327" y="226309"/>
                </a:cubicBezTo>
                <a:cubicBezTo>
                  <a:pt x="666918" y="220450"/>
                  <a:pt x="674107" y="217655"/>
                  <a:pt x="683158" y="217655"/>
                </a:cubicBezTo>
                <a:close/>
                <a:moveTo>
                  <a:pt x="1335960" y="217655"/>
                </a:moveTo>
                <a:cubicBezTo>
                  <a:pt x="1340219" y="217655"/>
                  <a:pt x="1344214" y="218454"/>
                  <a:pt x="1347675" y="220184"/>
                </a:cubicBezTo>
                <a:cubicBezTo>
                  <a:pt x="1351269" y="221782"/>
                  <a:pt x="1354463" y="223911"/>
                  <a:pt x="1356993" y="226574"/>
                </a:cubicBezTo>
                <a:cubicBezTo>
                  <a:pt x="1359655" y="229103"/>
                  <a:pt x="1361652" y="232298"/>
                  <a:pt x="1363116" y="235892"/>
                </a:cubicBezTo>
                <a:cubicBezTo>
                  <a:pt x="1364581" y="239486"/>
                  <a:pt x="1365379" y="243347"/>
                  <a:pt x="1365379" y="247341"/>
                </a:cubicBezTo>
                <a:cubicBezTo>
                  <a:pt x="1365379" y="251468"/>
                  <a:pt x="1364581" y="255328"/>
                  <a:pt x="1363116" y="259055"/>
                </a:cubicBezTo>
                <a:cubicBezTo>
                  <a:pt x="1361652" y="262782"/>
                  <a:pt x="1359522" y="265844"/>
                  <a:pt x="1356993" y="268506"/>
                </a:cubicBezTo>
                <a:cubicBezTo>
                  <a:pt x="1354330" y="271169"/>
                  <a:pt x="1351269" y="273299"/>
                  <a:pt x="1347675" y="274763"/>
                </a:cubicBezTo>
                <a:cubicBezTo>
                  <a:pt x="1344080" y="276227"/>
                  <a:pt x="1340219" y="277026"/>
                  <a:pt x="1335960" y="277026"/>
                </a:cubicBezTo>
                <a:cubicBezTo>
                  <a:pt x="1327041" y="277026"/>
                  <a:pt x="1319719" y="274097"/>
                  <a:pt x="1314128" y="268506"/>
                </a:cubicBezTo>
                <a:cubicBezTo>
                  <a:pt x="1308537" y="262916"/>
                  <a:pt x="1305742" y="255860"/>
                  <a:pt x="1305742" y="247341"/>
                </a:cubicBezTo>
                <a:cubicBezTo>
                  <a:pt x="1305742" y="239088"/>
                  <a:pt x="1308537" y="232032"/>
                  <a:pt x="1314128" y="226308"/>
                </a:cubicBezTo>
                <a:cubicBezTo>
                  <a:pt x="1319719" y="220450"/>
                  <a:pt x="1326908" y="217655"/>
                  <a:pt x="1335960" y="217655"/>
                </a:cubicBezTo>
                <a:close/>
                <a:moveTo>
                  <a:pt x="1118315" y="217655"/>
                </a:moveTo>
                <a:cubicBezTo>
                  <a:pt x="1122575" y="217655"/>
                  <a:pt x="1126569" y="218454"/>
                  <a:pt x="1130030" y="220184"/>
                </a:cubicBezTo>
                <a:cubicBezTo>
                  <a:pt x="1133757" y="221782"/>
                  <a:pt x="1136819" y="223911"/>
                  <a:pt x="1139349" y="226574"/>
                </a:cubicBezTo>
                <a:cubicBezTo>
                  <a:pt x="1142010" y="229103"/>
                  <a:pt x="1144007" y="232299"/>
                  <a:pt x="1145471" y="235893"/>
                </a:cubicBezTo>
                <a:cubicBezTo>
                  <a:pt x="1146936" y="239487"/>
                  <a:pt x="1147734" y="243347"/>
                  <a:pt x="1147734" y="247341"/>
                </a:cubicBezTo>
                <a:cubicBezTo>
                  <a:pt x="1147734" y="251468"/>
                  <a:pt x="1146936" y="255461"/>
                  <a:pt x="1145471" y="259055"/>
                </a:cubicBezTo>
                <a:cubicBezTo>
                  <a:pt x="1144007" y="262782"/>
                  <a:pt x="1141877" y="265844"/>
                  <a:pt x="1139349" y="268506"/>
                </a:cubicBezTo>
                <a:cubicBezTo>
                  <a:pt x="1136819" y="271169"/>
                  <a:pt x="1133624" y="273299"/>
                  <a:pt x="1130030" y="274763"/>
                </a:cubicBezTo>
                <a:cubicBezTo>
                  <a:pt x="1126435" y="276227"/>
                  <a:pt x="1122575" y="277026"/>
                  <a:pt x="1118315" y="277026"/>
                </a:cubicBezTo>
                <a:cubicBezTo>
                  <a:pt x="1109397" y="277026"/>
                  <a:pt x="1102074" y="274097"/>
                  <a:pt x="1096483" y="268506"/>
                </a:cubicBezTo>
                <a:cubicBezTo>
                  <a:pt x="1090892" y="262916"/>
                  <a:pt x="1088097" y="255860"/>
                  <a:pt x="1088097" y="247341"/>
                </a:cubicBezTo>
                <a:cubicBezTo>
                  <a:pt x="1088097" y="239088"/>
                  <a:pt x="1090892" y="232032"/>
                  <a:pt x="1096483" y="226308"/>
                </a:cubicBezTo>
                <a:cubicBezTo>
                  <a:pt x="1102074" y="220450"/>
                  <a:pt x="1109263" y="217655"/>
                  <a:pt x="1118315" y="217655"/>
                </a:cubicBezTo>
                <a:close/>
                <a:moveTo>
                  <a:pt x="1771250" y="217655"/>
                </a:moveTo>
                <a:cubicBezTo>
                  <a:pt x="1775510" y="217655"/>
                  <a:pt x="1779370" y="218454"/>
                  <a:pt x="1782965" y="220184"/>
                </a:cubicBezTo>
                <a:cubicBezTo>
                  <a:pt x="1786692" y="221782"/>
                  <a:pt x="1789754" y="223911"/>
                  <a:pt x="1792283" y="226574"/>
                </a:cubicBezTo>
                <a:cubicBezTo>
                  <a:pt x="1794945" y="229103"/>
                  <a:pt x="1796942" y="232298"/>
                  <a:pt x="1798406" y="235892"/>
                </a:cubicBezTo>
                <a:cubicBezTo>
                  <a:pt x="1799870" y="239486"/>
                  <a:pt x="1800669" y="243346"/>
                  <a:pt x="1800669" y="247340"/>
                </a:cubicBezTo>
                <a:cubicBezTo>
                  <a:pt x="1800669" y="251467"/>
                  <a:pt x="1799870" y="255328"/>
                  <a:pt x="1798406" y="259055"/>
                </a:cubicBezTo>
                <a:cubicBezTo>
                  <a:pt x="1796942" y="262782"/>
                  <a:pt x="1794812" y="265844"/>
                  <a:pt x="1792283" y="268506"/>
                </a:cubicBezTo>
                <a:cubicBezTo>
                  <a:pt x="1789620" y="271169"/>
                  <a:pt x="1786559" y="273299"/>
                  <a:pt x="1782965" y="274763"/>
                </a:cubicBezTo>
                <a:cubicBezTo>
                  <a:pt x="1779370" y="276227"/>
                  <a:pt x="1775510" y="277026"/>
                  <a:pt x="1771250" y="277026"/>
                </a:cubicBezTo>
                <a:cubicBezTo>
                  <a:pt x="1762331" y="277026"/>
                  <a:pt x="1755009" y="274097"/>
                  <a:pt x="1749418" y="268506"/>
                </a:cubicBezTo>
                <a:cubicBezTo>
                  <a:pt x="1743827" y="262916"/>
                  <a:pt x="1741033" y="255860"/>
                  <a:pt x="1741033" y="247340"/>
                </a:cubicBezTo>
                <a:cubicBezTo>
                  <a:pt x="1741033" y="239087"/>
                  <a:pt x="1743827" y="232032"/>
                  <a:pt x="1749418" y="226308"/>
                </a:cubicBezTo>
                <a:cubicBezTo>
                  <a:pt x="1755009" y="220450"/>
                  <a:pt x="1762198" y="217655"/>
                  <a:pt x="1771250" y="217655"/>
                </a:cubicBezTo>
                <a:close/>
                <a:moveTo>
                  <a:pt x="1553605" y="217655"/>
                </a:moveTo>
                <a:cubicBezTo>
                  <a:pt x="1557865" y="217655"/>
                  <a:pt x="1561726" y="218454"/>
                  <a:pt x="1565320" y="220184"/>
                </a:cubicBezTo>
                <a:cubicBezTo>
                  <a:pt x="1568914" y="221782"/>
                  <a:pt x="1572109" y="223911"/>
                  <a:pt x="1574638" y="226574"/>
                </a:cubicBezTo>
                <a:cubicBezTo>
                  <a:pt x="1577300" y="229103"/>
                  <a:pt x="1579297" y="232298"/>
                  <a:pt x="1580761" y="235892"/>
                </a:cubicBezTo>
                <a:cubicBezTo>
                  <a:pt x="1582225" y="239486"/>
                  <a:pt x="1583024" y="243346"/>
                  <a:pt x="1583024" y="247341"/>
                </a:cubicBezTo>
                <a:cubicBezTo>
                  <a:pt x="1583024" y="251468"/>
                  <a:pt x="1582225" y="255328"/>
                  <a:pt x="1580761" y="259055"/>
                </a:cubicBezTo>
                <a:cubicBezTo>
                  <a:pt x="1579297" y="262782"/>
                  <a:pt x="1577167" y="265844"/>
                  <a:pt x="1574638" y="268506"/>
                </a:cubicBezTo>
                <a:cubicBezTo>
                  <a:pt x="1571976" y="271169"/>
                  <a:pt x="1568914" y="273299"/>
                  <a:pt x="1565320" y="274763"/>
                </a:cubicBezTo>
                <a:cubicBezTo>
                  <a:pt x="1561726" y="276227"/>
                  <a:pt x="1557865" y="277026"/>
                  <a:pt x="1553605" y="277026"/>
                </a:cubicBezTo>
                <a:cubicBezTo>
                  <a:pt x="1544686" y="277026"/>
                  <a:pt x="1537364" y="274097"/>
                  <a:pt x="1531773" y="268506"/>
                </a:cubicBezTo>
                <a:cubicBezTo>
                  <a:pt x="1526183" y="262916"/>
                  <a:pt x="1523387" y="255860"/>
                  <a:pt x="1523387" y="247341"/>
                </a:cubicBezTo>
                <a:cubicBezTo>
                  <a:pt x="1523387" y="239087"/>
                  <a:pt x="1526183" y="232032"/>
                  <a:pt x="1531773" y="226308"/>
                </a:cubicBezTo>
                <a:cubicBezTo>
                  <a:pt x="1537364" y="220450"/>
                  <a:pt x="1544552" y="217655"/>
                  <a:pt x="1553605" y="217655"/>
                </a:cubicBezTo>
                <a:close/>
                <a:moveTo>
                  <a:pt x="2206407" y="217655"/>
                </a:moveTo>
                <a:cubicBezTo>
                  <a:pt x="2210667" y="217655"/>
                  <a:pt x="2214661" y="218454"/>
                  <a:pt x="2218122" y="220184"/>
                </a:cubicBezTo>
                <a:cubicBezTo>
                  <a:pt x="2221849" y="221782"/>
                  <a:pt x="2224910" y="223911"/>
                  <a:pt x="2227441" y="226574"/>
                </a:cubicBezTo>
                <a:cubicBezTo>
                  <a:pt x="2230102" y="229103"/>
                  <a:pt x="2232099" y="232298"/>
                  <a:pt x="2233563" y="235892"/>
                </a:cubicBezTo>
                <a:cubicBezTo>
                  <a:pt x="2235027" y="239486"/>
                  <a:pt x="2235826" y="243346"/>
                  <a:pt x="2235826" y="247340"/>
                </a:cubicBezTo>
                <a:cubicBezTo>
                  <a:pt x="2235826" y="251467"/>
                  <a:pt x="2235027" y="255327"/>
                  <a:pt x="2233563" y="259054"/>
                </a:cubicBezTo>
                <a:cubicBezTo>
                  <a:pt x="2232099" y="262781"/>
                  <a:pt x="2229969" y="265844"/>
                  <a:pt x="2227441" y="268506"/>
                </a:cubicBezTo>
                <a:cubicBezTo>
                  <a:pt x="2224910" y="271169"/>
                  <a:pt x="2221716" y="273299"/>
                  <a:pt x="2218122" y="274763"/>
                </a:cubicBezTo>
                <a:cubicBezTo>
                  <a:pt x="2214527" y="276227"/>
                  <a:pt x="2210667" y="277026"/>
                  <a:pt x="2206407" y="277026"/>
                </a:cubicBezTo>
                <a:cubicBezTo>
                  <a:pt x="2197355" y="277026"/>
                  <a:pt x="2190166" y="274097"/>
                  <a:pt x="2184576" y="268506"/>
                </a:cubicBezTo>
                <a:cubicBezTo>
                  <a:pt x="2178984" y="262915"/>
                  <a:pt x="2176189" y="255859"/>
                  <a:pt x="2176189" y="247340"/>
                </a:cubicBezTo>
                <a:cubicBezTo>
                  <a:pt x="2176189" y="239087"/>
                  <a:pt x="2178984" y="232032"/>
                  <a:pt x="2184576" y="226308"/>
                </a:cubicBezTo>
                <a:cubicBezTo>
                  <a:pt x="2190166" y="220450"/>
                  <a:pt x="2197355" y="217655"/>
                  <a:pt x="2206407" y="217655"/>
                </a:cubicBezTo>
                <a:close/>
                <a:moveTo>
                  <a:pt x="1988894" y="217655"/>
                </a:moveTo>
                <a:cubicBezTo>
                  <a:pt x="1993021" y="217655"/>
                  <a:pt x="1997015" y="218454"/>
                  <a:pt x="2000609" y="220184"/>
                </a:cubicBezTo>
                <a:cubicBezTo>
                  <a:pt x="2004336" y="221782"/>
                  <a:pt x="2007398" y="223911"/>
                  <a:pt x="2009927" y="226574"/>
                </a:cubicBezTo>
                <a:cubicBezTo>
                  <a:pt x="2012589" y="229103"/>
                  <a:pt x="2014587" y="232298"/>
                  <a:pt x="2016051" y="235892"/>
                </a:cubicBezTo>
                <a:cubicBezTo>
                  <a:pt x="2017515" y="239486"/>
                  <a:pt x="2018314" y="243346"/>
                  <a:pt x="2018314" y="247340"/>
                </a:cubicBezTo>
                <a:cubicBezTo>
                  <a:pt x="2018314" y="251467"/>
                  <a:pt x="2017515" y="255327"/>
                  <a:pt x="2016051" y="259055"/>
                </a:cubicBezTo>
                <a:cubicBezTo>
                  <a:pt x="2014587" y="262782"/>
                  <a:pt x="2012456" y="265844"/>
                  <a:pt x="2009927" y="268506"/>
                </a:cubicBezTo>
                <a:cubicBezTo>
                  <a:pt x="2007398" y="271169"/>
                  <a:pt x="2004203" y="273299"/>
                  <a:pt x="2000609" y="274763"/>
                </a:cubicBezTo>
                <a:cubicBezTo>
                  <a:pt x="1997015" y="276227"/>
                  <a:pt x="1993154" y="277026"/>
                  <a:pt x="1988894" y="277026"/>
                </a:cubicBezTo>
                <a:cubicBezTo>
                  <a:pt x="1979843" y="277026"/>
                  <a:pt x="1972654" y="274097"/>
                  <a:pt x="1967063" y="268506"/>
                </a:cubicBezTo>
                <a:cubicBezTo>
                  <a:pt x="1961472" y="262916"/>
                  <a:pt x="1958676" y="255860"/>
                  <a:pt x="1958676" y="247340"/>
                </a:cubicBezTo>
                <a:cubicBezTo>
                  <a:pt x="1958676" y="239087"/>
                  <a:pt x="1961472" y="232032"/>
                  <a:pt x="1967063" y="226308"/>
                </a:cubicBezTo>
                <a:cubicBezTo>
                  <a:pt x="1972654" y="220450"/>
                  <a:pt x="1979843" y="217655"/>
                  <a:pt x="1988894" y="217655"/>
                </a:cubicBezTo>
                <a:close/>
                <a:moveTo>
                  <a:pt x="2641699" y="217654"/>
                </a:moveTo>
                <a:cubicBezTo>
                  <a:pt x="2645959" y="217654"/>
                  <a:pt x="2649819" y="218453"/>
                  <a:pt x="2653414" y="220184"/>
                </a:cubicBezTo>
                <a:cubicBezTo>
                  <a:pt x="2657141" y="221781"/>
                  <a:pt x="2660203" y="223911"/>
                  <a:pt x="2662732" y="226574"/>
                </a:cubicBezTo>
                <a:cubicBezTo>
                  <a:pt x="2665394" y="229103"/>
                  <a:pt x="2667392" y="232298"/>
                  <a:pt x="2668855" y="235892"/>
                </a:cubicBezTo>
                <a:cubicBezTo>
                  <a:pt x="2670319" y="239486"/>
                  <a:pt x="2671118" y="243346"/>
                  <a:pt x="2671118" y="247340"/>
                </a:cubicBezTo>
                <a:cubicBezTo>
                  <a:pt x="2671118" y="251467"/>
                  <a:pt x="2670319" y="255327"/>
                  <a:pt x="2668855" y="259054"/>
                </a:cubicBezTo>
                <a:cubicBezTo>
                  <a:pt x="2667392" y="262781"/>
                  <a:pt x="2665261" y="265843"/>
                  <a:pt x="2662732" y="268505"/>
                </a:cubicBezTo>
                <a:cubicBezTo>
                  <a:pt x="2660203" y="271168"/>
                  <a:pt x="2657008" y="273298"/>
                  <a:pt x="2653414" y="274762"/>
                </a:cubicBezTo>
                <a:cubicBezTo>
                  <a:pt x="2649819" y="276227"/>
                  <a:pt x="2645959" y="277025"/>
                  <a:pt x="2641699" y="277025"/>
                </a:cubicBezTo>
                <a:cubicBezTo>
                  <a:pt x="2632780" y="277025"/>
                  <a:pt x="2625458" y="274096"/>
                  <a:pt x="2619867" y="268505"/>
                </a:cubicBezTo>
                <a:cubicBezTo>
                  <a:pt x="2614276" y="262915"/>
                  <a:pt x="2611481" y="255859"/>
                  <a:pt x="2611481" y="247340"/>
                </a:cubicBezTo>
                <a:cubicBezTo>
                  <a:pt x="2611481" y="239087"/>
                  <a:pt x="2614276" y="232032"/>
                  <a:pt x="2619867" y="226308"/>
                </a:cubicBezTo>
                <a:cubicBezTo>
                  <a:pt x="2625458" y="220449"/>
                  <a:pt x="2632647" y="217654"/>
                  <a:pt x="2641699" y="217654"/>
                </a:cubicBezTo>
                <a:close/>
                <a:moveTo>
                  <a:pt x="2424053" y="217654"/>
                </a:moveTo>
                <a:cubicBezTo>
                  <a:pt x="2428313" y="217654"/>
                  <a:pt x="2432307" y="218453"/>
                  <a:pt x="2435768" y="220184"/>
                </a:cubicBezTo>
                <a:cubicBezTo>
                  <a:pt x="2439495" y="221782"/>
                  <a:pt x="2442557" y="223911"/>
                  <a:pt x="2445086" y="226574"/>
                </a:cubicBezTo>
                <a:cubicBezTo>
                  <a:pt x="2447749" y="229103"/>
                  <a:pt x="2449745" y="232298"/>
                  <a:pt x="2451209" y="235892"/>
                </a:cubicBezTo>
                <a:cubicBezTo>
                  <a:pt x="2452673" y="239486"/>
                  <a:pt x="2453472" y="243346"/>
                  <a:pt x="2453472" y="247340"/>
                </a:cubicBezTo>
                <a:cubicBezTo>
                  <a:pt x="2453472" y="251467"/>
                  <a:pt x="2452673" y="255327"/>
                  <a:pt x="2451209" y="259054"/>
                </a:cubicBezTo>
                <a:cubicBezTo>
                  <a:pt x="2449745" y="262781"/>
                  <a:pt x="2447615" y="265843"/>
                  <a:pt x="2445086" y="268506"/>
                </a:cubicBezTo>
                <a:cubicBezTo>
                  <a:pt x="2442557" y="271168"/>
                  <a:pt x="2439362" y="273299"/>
                  <a:pt x="2435768" y="274763"/>
                </a:cubicBezTo>
                <a:cubicBezTo>
                  <a:pt x="2432174" y="276227"/>
                  <a:pt x="2428313" y="277026"/>
                  <a:pt x="2424053" y="277026"/>
                </a:cubicBezTo>
                <a:cubicBezTo>
                  <a:pt x="2415135" y="277026"/>
                  <a:pt x="2407812" y="274097"/>
                  <a:pt x="2402221" y="268506"/>
                </a:cubicBezTo>
                <a:cubicBezTo>
                  <a:pt x="2396631" y="262915"/>
                  <a:pt x="2393835" y="255859"/>
                  <a:pt x="2393835" y="247340"/>
                </a:cubicBezTo>
                <a:cubicBezTo>
                  <a:pt x="2393835" y="239087"/>
                  <a:pt x="2396631" y="232032"/>
                  <a:pt x="2402221" y="226308"/>
                </a:cubicBezTo>
                <a:cubicBezTo>
                  <a:pt x="2407812" y="220450"/>
                  <a:pt x="2415001" y="217654"/>
                  <a:pt x="2424053" y="217654"/>
                </a:cubicBezTo>
                <a:close/>
                <a:moveTo>
                  <a:pt x="2859345" y="217654"/>
                </a:moveTo>
                <a:cubicBezTo>
                  <a:pt x="2863605" y="217654"/>
                  <a:pt x="2867466" y="218453"/>
                  <a:pt x="2871193" y="220183"/>
                </a:cubicBezTo>
                <a:cubicBezTo>
                  <a:pt x="2874920" y="221781"/>
                  <a:pt x="2877982" y="223910"/>
                  <a:pt x="2880511" y="226573"/>
                </a:cubicBezTo>
                <a:cubicBezTo>
                  <a:pt x="2883173" y="229103"/>
                  <a:pt x="2885170" y="232298"/>
                  <a:pt x="2886634" y="235892"/>
                </a:cubicBezTo>
                <a:cubicBezTo>
                  <a:pt x="2888099" y="239486"/>
                  <a:pt x="2888897" y="243346"/>
                  <a:pt x="2888897" y="247340"/>
                </a:cubicBezTo>
                <a:cubicBezTo>
                  <a:pt x="2888897" y="251467"/>
                  <a:pt x="2888099" y="255327"/>
                  <a:pt x="2886634" y="259054"/>
                </a:cubicBezTo>
                <a:cubicBezTo>
                  <a:pt x="2885170" y="262781"/>
                  <a:pt x="2883040" y="265843"/>
                  <a:pt x="2880511" y="268505"/>
                </a:cubicBezTo>
                <a:cubicBezTo>
                  <a:pt x="2877849" y="271168"/>
                  <a:pt x="2874787" y="273298"/>
                  <a:pt x="2871193" y="274762"/>
                </a:cubicBezTo>
                <a:cubicBezTo>
                  <a:pt x="2867466" y="276226"/>
                  <a:pt x="2863605" y="277025"/>
                  <a:pt x="2859345" y="277025"/>
                </a:cubicBezTo>
                <a:cubicBezTo>
                  <a:pt x="2850427" y="277025"/>
                  <a:pt x="2843104" y="274096"/>
                  <a:pt x="2837513" y="268505"/>
                </a:cubicBezTo>
                <a:cubicBezTo>
                  <a:pt x="2831923" y="262915"/>
                  <a:pt x="2829127" y="255859"/>
                  <a:pt x="2829127" y="247340"/>
                </a:cubicBezTo>
                <a:cubicBezTo>
                  <a:pt x="2829127" y="239087"/>
                  <a:pt x="2831923" y="232032"/>
                  <a:pt x="2837513" y="226307"/>
                </a:cubicBezTo>
                <a:cubicBezTo>
                  <a:pt x="2843104" y="220449"/>
                  <a:pt x="2850293" y="217654"/>
                  <a:pt x="2859345" y="217654"/>
                </a:cubicBezTo>
                <a:close/>
                <a:moveTo>
                  <a:pt x="3076990" y="217654"/>
                </a:moveTo>
                <a:cubicBezTo>
                  <a:pt x="3081118" y="217654"/>
                  <a:pt x="3085112" y="218453"/>
                  <a:pt x="3088706" y="220183"/>
                </a:cubicBezTo>
                <a:cubicBezTo>
                  <a:pt x="3092300" y="221781"/>
                  <a:pt x="3095495" y="223910"/>
                  <a:pt x="3098024" y="226573"/>
                </a:cubicBezTo>
                <a:cubicBezTo>
                  <a:pt x="3100553" y="229102"/>
                  <a:pt x="3102683" y="232298"/>
                  <a:pt x="3104147" y="235892"/>
                </a:cubicBezTo>
                <a:cubicBezTo>
                  <a:pt x="3105612" y="239486"/>
                  <a:pt x="3106410" y="243346"/>
                  <a:pt x="3106410" y="247340"/>
                </a:cubicBezTo>
                <a:cubicBezTo>
                  <a:pt x="3106410" y="251467"/>
                  <a:pt x="3105612" y="255327"/>
                  <a:pt x="3104147" y="259054"/>
                </a:cubicBezTo>
                <a:cubicBezTo>
                  <a:pt x="3102683" y="262781"/>
                  <a:pt x="3100553" y="265843"/>
                  <a:pt x="3098024" y="268505"/>
                </a:cubicBezTo>
                <a:cubicBezTo>
                  <a:pt x="3095361" y="271168"/>
                  <a:pt x="3092300" y="273298"/>
                  <a:pt x="3088706" y="274762"/>
                </a:cubicBezTo>
                <a:cubicBezTo>
                  <a:pt x="3085112" y="276226"/>
                  <a:pt x="3081251" y="277025"/>
                  <a:pt x="3076990" y="277025"/>
                </a:cubicBezTo>
                <a:cubicBezTo>
                  <a:pt x="3068072" y="277025"/>
                  <a:pt x="3060750" y="274096"/>
                  <a:pt x="3055159" y="268505"/>
                </a:cubicBezTo>
                <a:cubicBezTo>
                  <a:pt x="3049568" y="262915"/>
                  <a:pt x="3046773" y="255859"/>
                  <a:pt x="3046773" y="247340"/>
                </a:cubicBezTo>
                <a:cubicBezTo>
                  <a:pt x="3046773" y="239087"/>
                  <a:pt x="3049568" y="232031"/>
                  <a:pt x="3055159" y="226307"/>
                </a:cubicBezTo>
                <a:cubicBezTo>
                  <a:pt x="3060750" y="220449"/>
                  <a:pt x="3067938" y="217654"/>
                  <a:pt x="3076990" y="217654"/>
                </a:cubicBezTo>
                <a:close/>
                <a:moveTo>
                  <a:pt x="3294636" y="217654"/>
                </a:moveTo>
                <a:cubicBezTo>
                  <a:pt x="3298763" y="217654"/>
                  <a:pt x="3302758" y="218453"/>
                  <a:pt x="3306352" y="220183"/>
                </a:cubicBezTo>
                <a:cubicBezTo>
                  <a:pt x="3310079" y="221781"/>
                  <a:pt x="3313141" y="223910"/>
                  <a:pt x="3315670" y="226573"/>
                </a:cubicBezTo>
                <a:cubicBezTo>
                  <a:pt x="3318199" y="229102"/>
                  <a:pt x="3320329" y="232297"/>
                  <a:pt x="3321793" y="235891"/>
                </a:cubicBezTo>
                <a:cubicBezTo>
                  <a:pt x="3323257" y="239485"/>
                  <a:pt x="3324056" y="243346"/>
                  <a:pt x="3324056" y="247340"/>
                </a:cubicBezTo>
                <a:cubicBezTo>
                  <a:pt x="3324056" y="251467"/>
                  <a:pt x="3323257" y="255327"/>
                  <a:pt x="3321793" y="259054"/>
                </a:cubicBezTo>
                <a:cubicBezTo>
                  <a:pt x="3320329" y="262781"/>
                  <a:pt x="3318199" y="265843"/>
                  <a:pt x="3315670" y="268505"/>
                </a:cubicBezTo>
                <a:cubicBezTo>
                  <a:pt x="3313007" y="271168"/>
                  <a:pt x="3309945" y="273298"/>
                  <a:pt x="3306352" y="274762"/>
                </a:cubicBezTo>
                <a:cubicBezTo>
                  <a:pt x="3302758" y="276226"/>
                  <a:pt x="3298897" y="277025"/>
                  <a:pt x="3294636" y="277025"/>
                </a:cubicBezTo>
                <a:cubicBezTo>
                  <a:pt x="3285584" y="277025"/>
                  <a:pt x="3278396" y="274096"/>
                  <a:pt x="3272805" y="268505"/>
                </a:cubicBezTo>
                <a:cubicBezTo>
                  <a:pt x="3267214" y="262915"/>
                  <a:pt x="3264419" y="255859"/>
                  <a:pt x="3264419" y="247340"/>
                </a:cubicBezTo>
                <a:cubicBezTo>
                  <a:pt x="3264419" y="239087"/>
                  <a:pt x="3267214" y="232031"/>
                  <a:pt x="3272805" y="226307"/>
                </a:cubicBezTo>
                <a:cubicBezTo>
                  <a:pt x="3278396" y="220449"/>
                  <a:pt x="3285584" y="217654"/>
                  <a:pt x="3294636" y="217654"/>
                </a:cubicBezTo>
                <a:close/>
                <a:moveTo>
                  <a:pt x="3512149" y="217654"/>
                </a:moveTo>
                <a:cubicBezTo>
                  <a:pt x="3516409" y="217654"/>
                  <a:pt x="3520403" y="218453"/>
                  <a:pt x="3523865" y="220183"/>
                </a:cubicBezTo>
                <a:cubicBezTo>
                  <a:pt x="3527458" y="221781"/>
                  <a:pt x="3530653" y="223910"/>
                  <a:pt x="3533183" y="226573"/>
                </a:cubicBezTo>
                <a:cubicBezTo>
                  <a:pt x="3535712" y="229102"/>
                  <a:pt x="3537842" y="232297"/>
                  <a:pt x="3539306" y="235891"/>
                </a:cubicBezTo>
                <a:cubicBezTo>
                  <a:pt x="3540770" y="239485"/>
                  <a:pt x="3541569" y="243345"/>
                  <a:pt x="3541569" y="247340"/>
                </a:cubicBezTo>
                <a:cubicBezTo>
                  <a:pt x="3541569" y="251467"/>
                  <a:pt x="3540770" y="255327"/>
                  <a:pt x="3539306" y="259054"/>
                </a:cubicBezTo>
                <a:cubicBezTo>
                  <a:pt x="3537842" y="262781"/>
                  <a:pt x="3535712" y="265843"/>
                  <a:pt x="3533183" y="268505"/>
                </a:cubicBezTo>
                <a:cubicBezTo>
                  <a:pt x="3530519" y="271168"/>
                  <a:pt x="3527458" y="273298"/>
                  <a:pt x="3523865" y="274762"/>
                </a:cubicBezTo>
                <a:cubicBezTo>
                  <a:pt x="3520270" y="276226"/>
                  <a:pt x="3516409" y="277025"/>
                  <a:pt x="3512149" y="277025"/>
                </a:cubicBezTo>
                <a:cubicBezTo>
                  <a:pt x="3503097" y="277025"/>
                  <a:pt x="3495908" y="274096"/>
                  <a:pt x="3490318" y="268505"/>
                </a:cubicBezTo>
                <a:cubicBezTo>
                  <a:pt x="3484727" y="262915"/>
                  <a:pt x="3481931" y="255859"/>
                  <a:pt x="3481931" y="247340"/>
                </a:cubicBezTo>
                <a:cubicBezTo>
                  <a:pt x="3481931" y="239086"/>
                  <a:pt x="3484727" y="232031"/>
                  <a:pt x="3490318" y="226307"/>
                </a:cubicBezTo>
                <a:cubicBezTo>
                  <a:pt x="3495908" y="220449"/>
                  <a:pt x="3503097" y="217654"/>
                  <a:pt x="3512149" y="217654"/>
                </a:cubicBezTo>
                <a:close/>
                <a:moveTo>
                  <a:pt x="3729795" y="217654"/>
                </a:moveTo>
                <a:cubicBezTo>
                  <a:pt x="3734056" y="217654"/>
                  <a:pt x="3738048" y="218453"/>
                  <a:pt x="3741510" y="220183"/>
                </a:cubicBezTo>
                <a:cubicBezTo>
                  <a:pt x="3745104" y="221781"/>
                  <a:pt x="3748300" y="223910"/>
                  <a:pt x="3750829" y="226573"/>
                </a:cubicBezTo>
                <a:cubicBezTo>
                  <a:pt x="3753358" y="229102"/>
                  <a:pt x="3755487" y="232297"/>
                  <a:pt x="3756951" y="235891"/>
                </a:cubicBezTo>
                <a:cubicBezTo>
                  <a:pt x="3758415" y="239485"/>
                  <a:pt x="3759214" y="243345"/>
                  <a:pt x="3759214" y="247339"/>
                </a:cubicBezTo>
                <a:cubicBezTo>
                  <a:pt x="3759214" y="251467"/>
                  <a:pt x="3758415" y="255327"/>
                  <a:pt x="3756951" y="259054"/>
                </a:cubicBezTo>
                <a:cubicBezTo>
                  <a:pt x="3755487" y="262781"/>
                  <a:pt x="3753358" y="265843"/>
                  <a:pt x="3750829" y="268505"/>
                </a:cubicBezTo>
                <a:cubicBezTo>
                  <a:pt x="3748166" y="271168"/>
                  <a:pt x="3745104" y="273298"/>
                  <a:pt x="3741510" y="274762"/>
                </a:cubicBezTo>
                <a:cubicBezTo>
                  <a:pt x="3737916" y="276226"/>
                  <a:pt x="3734056" y="277025"/>
                  <a:pt x="3729795" y="277025"/>
                </a:cubicBezTo>
                <a:cubicBezTo>
                  <a:pt x="3720743" y="277025"/>
                  <a:pt x="3713555" y="274096"/>
                  <a:pt x="3707964" y="268505"/>
                </a:cubicBezTo>
                <a:cubicBezTo>
                  <a:pt x="3702372" y="262915"/>
                  <a:pt x="3699578" y="255859"/>
                  <a:pt x="3699578" y="247339"/>
                </a:cubicBezTo>
                <a:cubicBezTo>
                  <a:pt x="3699578" y="239086"/>
                  <a:pt x="3702372" y="232031"/>
                  <a:pt x="3707964" y="226307"/>
                </a:cubicBezTo>
                <a:cubicBezTo>
                  <a:pt x="3713555" y="220449"/>
                  <a:pt x="3720743" y="217654"/>
                  <a:pt x="3729795" y="217654"/>
                </a:cubicBezTo>
                <a:close/>
                <a:moveTo>
                  <a:pt x="3947442" y="217654"/>
                </a:moveTo>
                <a:cubicBezTo>
                  <a:pt x="3951702" y="217654"/>
                  <a:pt x="3955562" y="218453"/>
                  <a:pt x="3959157" y="220183"/>
                </a:cubicBezTo>
                <a:cubicBezTo>
                  <a:pt x="3962884" y="221781"/>
                  <a:pt x="3965945" y="223910"/>
                  <a:pt x="3968474" y="226573"/>
                </a:cubicBezTo>
                <a:cubicBezTo>
                  <a:pt x="3971004" y="229102"/>
                  <a:pt x="3973134" y="232297"/>
                  <a:pt x="3974598" y="235891"/>
                </a:cubicBezTo>
                <a:cubicBezTo>
                  <a:pt x="3976063" y="239485"/>
                  <a:pt x="3976862" y="243345"/>
                  <a:pt x="3976862" y="247339"/>
                </a:cubicBezTo>
                <a:cubicBezTo>
                  <a:pt x="3976862" y="251466"/>
                  <a:pt x="3976063" y="255326"/>
                  <a:pt x="3974598" y="259054"/>
                </a:cubicBezTo>
                <a:cubicBezTo>
                  <a:pt x="3973134" y="262781"/>
                  <a:pt x="3971004" y="265843"/>
                  <a:pt x="3968474" y="268505"/>
                </a:cubicBezTo>
                <a:cubicBezTo>
                  <a:pt x="3965812" y="271168"/>
                  <a:pt x="3962751" y="273298"/>
                  <a:pt x="3959157" y="274762"/>
                </a:cubicBezTo>
                <a:cubicBezTo>
                  <a:pt x="3955562" y="276226"/>
                  <a:pt x="3951702" y="277025"/>
                  <a:pt x="3947442" y="277025"/>
                </a:cubicBezTo>
                <a:cubicBezTo>
                  <a:pt x="3938390" y="277025"/>
                  <a:pt x="3931202" y="274096"/>
                  <a:pt x="3925610" y="268505"/>
                </a:cubicBezTo>
                <a:cubicBezTo>
                  <a:pt x="3920019" y="262915"/>
                  <a:pt x="3917224" y="255859"/>
                  <a:pt x="3917224" y="247339"/>
                </a:cubicBezTo>
                <a:cubicBezTo>
                  <a:pt x="3917224" y="239086"/>
                  <a:pt x="3920019" y="232031"/>
                  <a:pt x="3925610" y="226307"/>
                </a:cubicBezTo>
                <a:cubicBezTo>
                  <a:pt x="3931202" y="220449"/>
                  <a:pt x="3938390" y="217654"/>
                  <a:pt x="3947442" y="217654"/>
                </a:cubicBezTo>
                <a:close/>
                <a:moveTo>
                  <a:pt x="4165068" y="217654"/>
                </a:moveTo>
                <a:cubicBezTo>
                  <a:pt x="4169327" y="217654"/>
                  <a:pt x="4173188" y="218453"/>
                  <a:pt x="4176782" y="220183"/>
                </a:cubicBezTo>
                <a:cubicBezTo>
                  <a:pt x="4180509" y="221781"/>
                  <a:pt x="4183571" y="223910"/>
                  <a:pt x="4186100" y="226573"/>
                </a:cubicBezTo>
                <a:cubicBezTo>
                  <a:pt x="4188629" y="229102"/>
                  <a:pt x="4190759" y="232297"/>
                  <a:pt x="4192223" y="235891"/>
                </a:cubicBezTo>
                <a:cubicBezTo>
                  <a:pt x="4193688" y="239485"/>
                  <a:pt x="4194486" y="243345"/>
                  <a:pt x="4194486" y="247339"/>
                </a:cubicBezTo>
                <a:cubicBezTo>
                  <a:pt x="4194486" y="251466"/>
                  <a:pt x="4193688" y="255326"/>
                  <a:pt x="4192223" y="259053"/>
                </a:cubicBezTo>
                <a:cubicBezTo>
                  <a:pt x="4190759" y="262781"/>
                  <a:pt x="4188629" y="265843"/>
                  <a:pt x="4186100" y="268505"/>
                </a:cubicBezTo>
                <a:cubicBezTo>
                  <a:pt x="4183438" y="271168"/>
                  <a:pt x="4180376" y="273298"/>
                  <a:pt x="4176782" y="274762"/>
                </a:cubicBezTo>
                <a:cubicBezTo>
                  <a:pt x="4173188" y="276226"/>
                  <a:pt x="4169327" y="277025"/>
                  <a:pt x="4165068" y="277025"/>
                </a:cubicBezTo>
                <a:cubicBezTo>
                  <a:pt x="4156015" y="277025"/>
                  <a:pt x="4148827" y="274096"/>
                  <a:pt x="4143235" y="268505"/>
                </a:cubicBezTo>
                <a:cubicBezTo>
                  <a:pt x="4137645" y="262915"/>
                  <a:pt x="4134849" y="255858"/>
                  <a:pt x="4134849" y="247339"/>
                </a:cubicBezTo>
                <a:cubicBezTo>
                  <a:pt x="4134849" y="239086"/>
                  <a:pt x="4137645" y="232031"/>
                  <a:pt x="4143235" y="226307"/>
                </a:cubicBezTo>
                <a:cubicBezTo>
                  <a:pt x="4148827" y="220449"/>
                  <a:pt x="4156015" y="217654"/>
                  <a:pt x="4165068" y="217654"/>
                </a:cubicBezTo>
                <a:close/>
                <a:moveTo>
                  <a:pt x="4382713" y="217654"/>
                </a:moveTo>
                <a:cubicBezTo>
                  <a:pt x="4386840" y="217654"/>
                  <a:pt x="4390834" y="218453"/>
                  <a:pt x="4394428" y="220183"/>
                </a:cubicBezTo>
                <a:cubicBezTo>
                  <a:pt x="4398155" y="221781"/>
                  <a:pt x="4401217" y="223910"/>
                  <a:pt x="4403746" y="226573"/>
                </a:cubicBezTo>
                <a:cubicBezTo>
                  <a:pt x="4406275" y="229102"/>
                  <a:pt x="4408405" y="232297"/>
                  <a:pt x="4409869" y="235891"/>
                </a:cubicBezTo>
                <a:cubicBezTo>
                  <a:pt x="4411334" y="239485"/>
                  <a:pt x="4412132" y="243345"/>
                  <a:pt x="4412132" y="247339"/>
                </a:cubicBezTo>
                <a:cubicBezTo>
                  <a:pt x="4412132" y="251466"/>
                  <a:pt x="4411334" y="255326"/>
                  <a:pt x="4409869" y="259053"/>
                </a:cubicBezTo>
                <a:cubicBezTo>
                  <a:pt x="4408405" y="262780"/>
                  <a:pt x="4406275" y="265843"/>
                  <a:pt x="4403746" y="268505"/>
                </a:cubicBezTo>
                <a:cubicBezTo>
                  <a:pt x="4401083" y="271167"/>
                  <a:pt x="4398022" y="273298"/>
                  <a:pt x="4394428" y="274762"/>
                </a:cubicBezTo>
                <a:cubicBezTo>
                  <a:pt x="4390834" y="276226"/>
                  <a:pt x="4386973" y="277025"/>
                  <a:pt x="4382713" y="277025"/>
                </a:cubicBezTo>
                <a:cubicBezTo>
                  <a:pt x="4373661" y="277025"/>
                  <a:pt x="4366473" y="274096"/>
                  <a:pt x="4360881" y="268505"/>
                </a:cubicBezTo>
                <a:cubicBezTo>
                  <a:pt x="4355290" y="262914"/>
                  <a:pt x="4352495" y="255858"/>
                  <a:pt x="4352495" y="247339"/>
                </a:cubicBezTo>
                <a:cubicBezTo>
                  <a:pt x="4352495" y="239086"/>
                  <a:pt x="4355290" y="232031"/>
                  <a:pt x="4360881" y="226307"/>
                </a:cubicBezTo>
                <a:cubicBezTo>
                  <a:pt x="4366473" y="220449"/>
                  <a:pt x="4373661" y="217654"/>
                  <a:pt x="4382713" y="217654"/>
                </a:cubicBezTo>
                <a:close/>
                <a:moveTo>
                  <a:pt x="4600226" y="217653"/>
                </a:moveTo>
                <a:cubicBezTo>
                  <a:pt x="4604485" y="217653"/>
                  <a:pt x="4608479" y="218452"/>
                  <a:pt x="4612073" y="220183"/>
                </a:cubicBezTo>
                <a:cubicBezTo>
                  <a:pt x="4615800" y="221781"/>
                  <a:pt x="4618862" y="223910"/>
                  <a:pt x="4621391" y="226573"/>
                </a:cubicBezTo>
                <a:cubicBezTo>
                  <a:pt x="4623920" y="229102"/>
                  <a:pt x="4626050" y="232297"/>
                  <a:pt x="4627514" y="235891"/>
                </a:cubicBezTo>
                <a:cubicBezTo>
                  <a:pt x="4628978" y="239485"/>
                  <a:pt x="4629777" y="243345"/>
                  <a:pt x="4629777" y="247339"/>
                </a:cubicBezTo>
                <a:cubicBezTo>
                  <a:pt x="4629777" y="251466"/>
                  <a:pt x="4628978" y="255326"/>
                  <a:pt x="4627514" y="259053"/>
                </a:cubicBezTo>
                <a:cubicBezTo>
                  <a:pt x="4626050" y="262780"/>
                  <a:pt x="4623920" y="265842"/>
                  <a:pt x="4621391" y="268504"/>
                </a:cubicBezTo>
                <a:cubicBezTo>
                  <a:pt x="4618729" y="271167"/>
                  <a:pt x="4615667" y="273298"/>
                  <a:pt x="4612073" y="274762"/>
                </a:cubicBezTo>
                <a:cubicBezTo>
                  <a:pt x="4608346" y="276226"/>
                  <a:pt x="4604485" y="277025"/>
                  <a:pt x="4600226" y="277025"/>
                </a:cubicBezTo>
                <a:cubicBezTo>
                  <a:pt x="4591173" y="277025"/>
                  <a:pt x="4583985" y="274096"/>
                  <a:pt x="4578393" y="268504"/>
                </a:cubicBezTo>
                <a:cubicBezTo>
                  <a:pt x="4572803" y="262914"/>
                  <a:pt x="4570007" y="255858"/>
                  <a:pt x="4570007" y="247339"/>
                </a:cubicBezTo>
                <a:cubicBezTo>
                  <a:pt x="4570007" y="239086"/>
                  <a:pt x="4572803" y="232031"/>
                  <a:pt x="4578393" y="226307"/>
                </a:cubicBezTo>
                <a:cubicBezTo>
                  <a:pt x="4583985" y="220448"/>
                  <a:pt x="4591173" y="217653"/>
                  <a:pt x="4600226" y="217653"/>
                </a:cubicBezTo>
                <a:close/>
                <a:moveTo>
                  <a:pt x="4817870" y="217653"/>
                </a:moveTo>
                <a:cubicBezTo>
                  <a:pt x="4822130" y="217653"/>
                  <a:pt x="4826124" y="218452"/>
                  <a:pt x="4829585" y="220182"/>
                </a:cubicBezTo>
                <a:cubicBezTo>
                  <a:pt x="4833312" y="221780"/>
                  <a:pt x="4836374" y="223909"/>
                  <a:pt x="4838903" y="226573"/>
                </a:cubicBezTo>
                <a:cubicBezTo>
                  <a:pt x="4841432" y="229102"/>
                  <a:pt x="4843562" y="232297"/>
                  <a:pt x="4845026" y="235891"/>
                </a:cubicBezTo>
                <a:cubicBezTo>
                  <a:pt x="4846491" y="239485"/>
                  <a:pt x="4847289" y="243345"/>
                  <a:pt x="4847289" y="247339"/>
                </a:cubicBezTo>
                <a:cubicBezTo>
                  <a:pt x="4847289" y="251466"/>
                  <a:pt x="4846491" y="255326"/>
                  <a:pt x="4845026" y="259053"/>
                </a:cubicBezTo>
                <a:cubicBezTo>
                  <a:pt x="4843562" y="262780"/>
                  <a:pt x="4841432" y="265842"/>
                  <a:pt x="4838903" y="268504"/>
                </a:cubicBezTo>
                <a:cubicBezTo>
                  <a:pt x="4836240" y="271167"/>
                  <a:pt x="4833179" y="273297"/>
                  <a:pt x="4829585" y="274761"/>
                </a:cubicBezTo>
                <a:cubicBezTo>
                  <a:pt x="4825991" y="276225"/>
                  <a:pt x="4822130" y="277024"/>
                  <a:pt x="4817870" y="277024"/>
                </a:cubicBezTo>
                <a:cubicBezTo>
                  <a:pt x="4808952" y="277024"/>
                  <a:pt x="4801630" y="274095"/>
                  <a:pt x="4796038" y="268504"/>
                </a:cubicBezTo>
                <a:cubicBezTo>
                  <a:pt x="4790447" y="262914"/>
                  <a:pt x="4787652" y="255858"/>
                  <a:pt x="4787652" y="247339"/>
                </a:cubicBezTo>
                <a:cubicBezTo>
                  <a:pt x="4787652" y="239086"/>
                  <a:pt x="4790447" y="232031"/>
                  <a:pt x="4796038" y="226307"/>
                </a:cubicBezTo>
                <a:cubicBezTo>
                  <a:pt x="4801630" y="220448"/>
                  <a:pt x="4808818" y="217653"/>
                  <a:pt x="4817870" y="217653"/>
                </a:cubicBezTo>
                <a:close/>
                <a:moveTo>
                  <a:pt x="5035515" y="217653"/>
                </a:moveTo>
                <a:cubicBezTo>
                  <a:pt x="5039775" y="217653"/>
                  <a:pt x="5043636" y="218452"/>
                  <a:pt x="5047230" y="220182"/>
                </a:cubicBezTo>
                <a:cubicBezTo>
                  <a:pt x="5050957" y="221780"/>
                  <a:pt x="5054019" y="223909"/>
                  <a:pt x="5056548" y="226572"/>
                </a:cubicBezTo>
                <a:cubicBezTo>
                  <a:pt x="5059077" y="229102"/>
                  <a:pt x="5061207" y="232297"/>
                  <a:pt x="5062671" y="235891"/>
                </a:cubicBezTo>
                <a:cubicBezTo>
                  <a:pt x="5064135" y="239485"/>
                  <a:pt x="5064934" y="243345"/>
                  <a:pt x="5064934" y="247339"/>
                </a:cubicBezTo>
                <a:cubicBezTo>
                  <a:pt x="5064934" y="251466"/>
                  <a:pt x="5064135" y="255459"/>
                  <a:pt x="5062671" y="259053"/>
                </a:cubicBezTo>
                <a:cubicBezTo>
                  <a:pt x="5061207" y="262780"/>
                  <a:pt x="5059077" y="265842"/>
                  <a:pt x="5056548" y="268504"/>
                </a:cubicBezTo>
                <a:cubicBezTo>
                  <a:pt x="5053885" y="271167"/>
                  <a:pt x="5050824" y="273297"/>
                  <a:pt x="5047230" y="274761"/>
                </a:cubicBezTo>
                <a:cubicBezTo>
                  <a:pt x="5043636" y="276225"/>
                  <a:pt x="5039775" y="277024"/>
                  <a:pt x="5035515" y="277024"/>
                </a:cubicBezTo>
                <a:cubicBezTo>
                  <a:pt x="5026597" y="277024"/>
                  <a:pt x="5019275" y="274095"/>
                  <a:pt x="5013683" y="268504"/>
                </a:cubicBezTo>
                <a:cubicBezTo>
                  <a:pt x="5008092" y="262914"/>
                  <a:pt x="5005297" y="255858"/>
                  <a:pt x="5005297" y="247339"/>
                </a:cubicBezTo>
                <a:cubicBezTo>
                  <a:pt x="5005297" y="239086"/>
                  <a:pt x="5008092" y="232030"/>
                  <a:pt x="5013683" y="226306"/>
                </a:cubicBezTo>
                <a:cubicBezTo>
                  <a:pt x="5019275" y="220448"/>
                  <a:pt x="5026463" y="217653"/>
                  <a:pt x="5035515" y="217653"/>
                </a:cubicBezTo>
                <a:close/>
                <a:moveTo>
                  <a:pt x="5253160" y="217653"/>
                </a:moveTo>
                <a:cubicBezTo>
                  <a:pt x="5257420" y="217653"/>
                  <a:pt x="5261280" y="218452"/>
                  <a:pt x="5264875" y="220182"/>
                </a:cubicBezTo>
                <a:cubicBezTo>
                  <a:pt x="5268602" y="221780"/>
                  <a:pt x="5271664" y="223909"/>
                  <a:pt x="5274192" y="226572"/>
                </a:cubicBezTo>
                <a:cubicBezTo>
                  <a:pt x="5276722" y="229101"/>
                  <a:pt x="5278852" y="232297"/>
                  <a:pt x="5280316" y="235891"/>
                </a:cubicBezTo>
                <a:cubicBezTo>
                  <a:pt x="5281780" y="239485"/>
                  <a:pt x="5282579" y="243345"/>
                  <a:pt x="5282579" y="247339"/>
                </a:cubicBezTo>
                <a:cubicBezTo>
                  <a:pt x="5282579" y="251466"/>
                  <a:pt x="5281780" y="255459"/>
                  <a:pt x="5280316" y="259053"/>
                </a:cubicBezTo>
                <a:cubicBezTo>
                  <a:pt x="5278852" y="262780"/>
                  <a:pt x="5276722" y="265842"/>
                  <a:pt x="5274192" y="268504"/>
                </a:cubicBezTo>
                <a:cubicBezTo>
                  <a:pt x="5271664" y="271167"/>
                  <a:pt x="5268469" y="273297"/>
                  <a:pt x="5264875" y="274761"/>
                </a:cubicBezTo>
                <a:cubicBezTo>
                  <a:pt x="5261280" y="276225"/>
                  <a:pt x="5257420" y="277024"/>
                  <a:pt x="5253160" y="277024"/>
                </a:cubicBezTo>
                <a:cubicBezTo>
                  <a:pt x="5244241" y="277024"/>
                  <a:pt x="5236920" y="274095"/>
                  <a:pt x="5231328" y="268504"/>
                </a:cubicBezTo>
                <a:cubicBezTo>
                  <a:pt x="5225737" y="262914"/>
                  <a:pt x="5222942" y="255858"/>
                  <a:pt x="5222942" y="247339"/>
                </a:cubicBezTo>
                <a:cubicBezTo>
                  <a:pt x="5222942" y="239086"/>
                  <a:pt x="5225737" y="232030"/>
                  <a:pt x="5231328" y="226306"/>
                </a:cubicBezTo>
                <a:cubicBezTo>
                  <a:pt x="5236920" y="220448"/>
                  <a:pt x="5244108" y="217653"/>
                  <a:pt x="5253160" y="217653"/>
                </a:cubicBezTo>
                <a:close/>
                <a:moveTo>
                  <a:pt x="5470806" y="217653"/>
                </a:moveTo>
                <a:cubicBezTo>
                  <a:pt x="5475065" y="217653"/>
                  <a:pt x="5478926" y="218452"/>
                  <a:pt x="5482520" y="220182"/>
                </a:cubicBezTo>
                <a:cubicBezTo>
                  <a:pt x="5486247" y="221780"/>
                  <a:pt x="5489309" y="223909"/>
                  <a:pt x="5491838" y="226572"/>
                </a:cubicBezTo>
                <a:cubicBezTo>
                  <a:pt x="5494367" y="229101"/>
                  <a:pt x="5496497" y="232296"/>
                  <a:pt x="5497961" y="235890"/>
                </a:cubicBezTo>
                <a:cubicBezTo>
                  <a:pt x="5499426" y="239484"/>
                  <a:pt x="5500224" y="243344"/>
                  <a:pt x="5500224" y="247339"/>
                </a:cubicBezTo>
                <a:cubicBezTo>
                  <a:pt x="5500224" y="251466"/>
                  <a:pt x="5499426" y="255459"/>
                  <a:pt x="5497961" y="259053"/>
                </a:cubicBezTo>
                <a:cubicBezTo>
                  <a:pt x="5496497" y="262780"/>
                  <a:pt x="5494367" y="265842"/>
                  <a:pt x="5491838" y="268504"/>
                </a:cubicBezTo>
                <a:cubicBezTo>
                  <a:pt x="5489176" y="271167"/>
                  <a:pt x="5486114" y="273297"/>
                  <a:pt x="5482520" y="274761"/>
                </a:cubicBezTo>
                <a:cubicBezTo>
                  <a:pt x="5478926" y="276225"/>
                  <a:pt x="5475065" y="277024"/>
                  <a:pt x="5470806" y="277024"/>
                </a:cubicBezTo>
                <a:cubicBezTo>
                  <a:pt x="5461887" y="277024"/>
                  <a:pt x="5454565" y="274095"/>
                  <a:pt x="5448973" y="268504"/>
                </a:cubicBezTo>
                <a:cubicBezTo>
                  <a:pt x="5443383" y="262914"/>
                  <a:pt x="5440587" y="255858"/>
                  <a:pt x="5440587" y="247339"/>
                </a:cubicBezTo>
                <a:cubicBezTo>
                  <a:pt x="5440587" y="239086"/>
                  <a:pt x="5443383" y="232030"/>
                  <a:pt x="5448973" y="226306"/>
                </a:cubicBezTo>
                <a:cubicBezTo>
                  <a:pt x="5454565" y="220448"/>
                  <a:pt x="5461754" y="217653"/>
                  <a:pt x="5470806" y="217653"/>
                </a:cubicBezTo>
                <a:close/>
                <a:moveTo>
                  <a:pt x="5688451" y="217653"/>
                </a:moveTo>
                <a:cubicBezTo>
                  <a:pt x="5692577" y="217653"/>
                  <a:pt x="5696571" y="218452"/>
                  <a:pt x="5700165" y="220182"/>
                </a:cubicBezTo>
                <a:cubicBezTo>
                  <a:pt x="5703892" y="221780"/>
                  <a:pt x="5706954" y="223909"/>
                  <a:pt x="5709483" y="226572"/>
                </a:cubicBezTo>
                <a:cubicBezTo>
                  <a:pt x="5712012" y="229101"/>
                  <a:pt x="5714142" y="232296"/>
                  <a:pt x="5715606" y="235890"/>
                </a:cubicBezTo>
                <a:cubicBezTo>
                  <a:pt x="5717071" y="239484"/>
                  <a:pt x="5717869" y="243344"/>
                  <a:pt x="5717869" y="247338"/>
                </a:cubicBezTo>
                <a:cubicBezTo>
                  <a:pt x="5717869" y="251466"/>
                  <a:pt x="5717071" y="255459"/>
                  <a:pt x="5715606" y="259053"/>
                </a:cubicBezTo>
                <a:cubicBezTo>
                  <a:pt x="5714142" y="262780"/>
                  <a:pt x="5712012" y="265842"/>
                  <a:pt x="5709483" y="268504"/>
                </a:cubicBezTo>
                <a:cubicBezTo>
                  <a:pt x="5706820" y="271167"/>
                  <a:pt x="5703759" y="273297"/>
                  <a:pt x="5700165" y="274761"/>
                </a:cubicBezTo>
                <a:cubicBezTo>
                  <a:pt x="5696571" y="276225"/>
                  <a:pt x="5692710" y="277024"/>
                  <a:pt x="5688451" y="277024"/>
                </a:cubicBezTo>
                <a:cubicBezTo>
                  <a:pt x="5679532" y="277024"/>
                  <a:pt x="5672210" y="274095"/>
                  <a:pt x="5666618" y="268504"/>
                </a:cubicBezTo>
                <a:cubicBezTo>
                  <a:pt x="5661028" y="262914"/>
                  <a:pt x="5658232" y="255858"/>
                  <a:pt x="5658232" y="247338"/>
                </a:cubicBezTo>
                <a:cubicBezTo>
                  <a:pt x="5658232" y="239085"/>
                  <a:pt x="5661028" y="232030"/>
                  <a:pt x="5666618" y="226306"/>
                </a:cubicBezTo>
                <a:cubicBezTo>
                  <a:pt x="5672210" y="220448"/>
                  <a:pt x="5679398" y="217653"/>
                  <a:pt x="5688451" y="217653"/>
                </a:cubicBezTo>
                <a:close/>
                <a:moveTo>
                  <a:pt x="5905963" y="217653"/>
                </a:moveTo>
                <a:cubicBezTo>
                  <a:pt x="5910222" y="217653"/>
                  <a:pt x="5914216" y="218452"/>
                  <a:pt x="5917677" y="220182"/>
                </a:cubicBezTo>
                <a:cubicBezTo>
                  <a:pt x="5921404" y="221780"/>
                  <a:pt x="5924466" y="223909"/>
                  <a:pt x="5926995" y="226572"/>
                </a:cubicBezTo>
                <a:cubicBezTo>
                  <a:pt x="5929524" y="229101"/>
                  <a:pt x="5931654" y="232296"/>
                  <a:pt x="5933118" y="235890"/>
                </a:cubicBezTo>
                <a:cubicBezTo>
                  <a:pt x="5934583" y="239484"/>
                  <a:pt x="5935381" y="243344"/>
                  <a:pt x="5935381" y="247338"/>
                </a:cubicBezTo>
                <a:cubicBezTo>
                  <a:pt x="5935381" y="251465"/>
                  <a:pt x="5934583" y="255459"/>
                  <a:pt x="5933118" y="259053"/>
                </a:cubicBezTo>
                <a:cubicBezTo>
                  <a:pt x="5931654" y="262780"/>
                  <a:pt x="5929524" y="265842"/>
                  <a:pt x="5926995" y="268504"/>
                </a:cubicBezTo>
                <a:cubicBezTo>
                  <a:pt x="5924333" y="271167"/>
                  <a:pt x="5921271" y="273297"/>
                  <a:pt x="5917677" y="274761"/>
                </a:cubicBezTo>
                <a:cubicBezTo>
                  <a:pt x="5914083" y="276225"/>
                  <a:pt x="5910222" y="277024"/>
                  <a:pt x="5905963" y="277024"/>
                </a:cubicBezTo>
                <a:cubicBezTo>
                  <a:pt x="5897044" y="277024"/>
                  <a:pt x="5889722" y="274095"/>
                  <a:pt x="5884130" y="268504"/>
                </a:cubicBezTo>
                <a:cubicBezTo>
                  <a:pt x="5878540" y="262914"/>
                  <a:pt x="5875744" y="255858"/>
                  <a:pt x="5875744" y="247338"/>
                </a:cubicBezTo>
                <a:cubicBezTo>
                  <a:pt x="5875744" y="239085"/>
                  <a:pt x="5878540" y="232030"/>
                  <a:pt x="5884130" y="226306"/>
                </a:cubicBezTo>
                <a:cubicBezTo>
                  <a:pt x="5889722" y="220448"/>
                  <a:pt x="5896910" y="217653"/>
                  <a:pt x="5905963" y="217653"/>
                </a:cubicBezTo>
                <a:close/>
                <a:moveTo>
                  <a:pt x="6123608" y="217653"/>
                </a:moveTo>
                <a:cubicBezTo>
                  <a:pt x="6127867" y="217653"/>
                  <a:pt x="6131728" y="218452"/>
                  <a:pt x="6135322" y="220182"/>
                </a:cubicBezTo>
                <a:cubicBezTo>
                  <a:pt x="6139049" y="221780"/>
                  <a:pt x="6142111" y="223909"/>
                  <a:pt x="6144640" y="226572"/>
                </a:cubicBezTo>
                <a:cubicBezTo>
                  <a:pt x="6147169" y="229101"/>
                  <a:pt x="6149299" y="232296"/>
                  <a:pt x="6150763" y="235890"/>
                </a:cubicBezTo>
                <a:cubicBezTo>
                  <a:pt x="6152228" y="239484"/>
                  <a:pt x="6153026" y="243344"/>
                  <a:pt x="6153026" y="247338"/>
                </a:cubicBezTo>
                <a:cubicBezTo>
                  <a:pt x="6153026" y="251465"/>
                  <a:pt x="6152228" y="255458"/>
                  <a:pt x="6150763" y="259052"/>
                </a:cubicBezTo>
                <a:cubicBezTo>
                  <a:pt x="6149299" y="262780"/>
                  <a:pt x="6147169" y="265842"/>
                  <a:pt x="6144640" y="268504"/>
                </a:cubicBezTo>
                <a:cubicBezTo>
                  <a:pt x="6141977" y="271167"/>
                  <a:pt x="6138916" y="273297"/>
                  <a:pt x="6135322" y="274761"/>
                </a:cubicBezTo>
                <a:cubicBezTo>
                  <a:pt x="6131728" y="276225"/>
                  <a:pt x="6127867" y="277024"/>
                  <a:pt x="6123608" y="277024"/>
                </a:cubicBezTo>
                <a:cubicBezTo>
                  <a:pt x="6114689" y="277024"/>
                  <a:pt x="6107367" y="274095"/>
                  <a:pt x="6101775" y="268504"/>
                </a:cubicBezTo>
                <a:cubicBezTo>
                  <a:pt x="6096184" y="262914"/>
                  <a:pt x="6093389" y="255857"/>
                  <a:pt x="6093389" y="247338"/>
                </a:cubicBezTo>
                <a:cubicBezTo>
                  <a:pt x="6093389" y="239085"/>
                  <a:pt x="6096184" y="232030"/>
                  <a:pt x="6101775" y="226306"/>
                </a:cubicBezTo>
                <a:cubicBezTo>
                  <a:pt x="6107367" y="220448"/>
                  <a:pt x="6114555" y="217653"/>
                  <a:pt x="6123608" y="217653"/>
                </a:cubicBezTo>
                <a:close/>
                <a:moveTo>
                  <a:pt x="6341253" y="217653"/>
                </a:moveTo>
                <a:cubicBezTo>
                  <a:pt x="6345513" y="217653"/>
                  <a:pt x="6349373" y="218452"/>
                  <a:pt x="6352968" y="220182"/>
                </a:cubicBezTo>
                <a:cubicBezTo>
                  <a:pt x="6356695" y="221780"/>
                  <a:pt x="6359757" y="223909"/>
                  <a:pt x="6362286" y="226572"/>
                </a:cubicBezTo>
                <a:cubicBezTo>
                  <a:pt x="6364815" y="229101"/>
                  <a:pt x="6366945" y="232296"/>
                  <a:pt x="6368409" y="235890"/>
                </a:cubicBezTo>
                <a:cubicBezTo>
                  <a:pt x="6369874" y="239484"/>
                  <a:pt x="6370672" y="243344"/>
                  <a:pt x="6370672" y="247338"/>
                </a:cubicBezTo>
                <a:cubicBezTo>
                  <a:pt x="6370672" y="251465"/>
                  <a:pt x="6369874" y="255458"/>
                  <a:pt x="6368409" y="259052"/>
                </a:cubicBezTo>
                <a:cubicBezTo>
                  <a:pt x="6366811" y="262779"/>
                  <a:pt x="6364815" y="265842"/>
                  <a:pt x="6362286" y="268504"/>
                </a:cubicBezTo>
                <a:cubicBezTo>
                  <a:pt x="6359623" y="271167"/>
                  <a:pt x="6356562" y="273297"/>
                  <a:pt x="6352968" y="274761"/>
                </a:cubicBezTo>
                <a:cubicBezTo>
                  <a:pt x="6349373" y="276225"/>
                  <a:pt x="6345513" y="277024"/>
                  <a:pt x="6341253" y="277024"/>
                </a:cubicBezTo>
                <a:cubicBezTo>
                  <a:pt x="6332335" y="277024"/>
                  <a:pt x="6325013" y="274095"/>
                  <a:pt x="6319421" y="268504"/>
                </a:cubicBezTo>
                <a:cubicBezTo>
                  <a:pt x="6313830" y="262913"/>
                  <a:pt x="6311035" y="255857"/>
                  <a:pt x="6311035" y="247338"/>
                </a:cubicBezTo>
                <a:cubicBezTo>
                  <a:pt x="6311035" y="239085"/>
                  <a:pt x="6313830" y="232030"/>
                  <a:pt x="6319421" y="226306"/>
                </a:cubicBezTo>
                <a:cubicBezTo>
                  <a:pt x="6325013" y="220448"/>
                  <a:pt x="6332201" y="217653"/>
                  <a:pt x="6341253" y="217653"/>
                </a:cubicBezTo>
                <a:close/>
                <a:moveTo>
                  <a:pt x="6558899" y="217652"/>
                </a:moveTo>
                <a:cubicBezTo>
                  <a:pt x="6563158" y="217652"/>
                  <a:pt x="6567019" y="218451"/>
                  <a:pt x="6570612" y="220182"/>
                </a:cubicBezTo>
                <a:cubicBezTo>
                  <a:pt x="6574340" y="221780"/>
                  <a:pt x="6577401" y="223909"/>
                  <a:pt x="6579930" y="226572"/>
                </a:cubicBezTo>
                <a:cubicBezTo>
                  <a:pt x="6582460" y="229101"/>
                  <a:pt x="6584590" y="232296"/>
                  <a:pt x="6586054" y="235890"/>
                </a:cubicBezTo>
                <a:cubicBezTo>
                  <a:pt x="6587518" y="239484"/>
                  <a:pt x="6588317" y="243344"/>
                  <a:pt x="6588317" y="247338"/>
                </a:cubicBezTo>
                <a:cubicBezTo>
                  <a:pt x="6588317" y="251465"/>
                  <a:pt x="6587518" y="255458"/>
                  <a:pt x="6586054" y="259052"/>
                </a:cubicBezTo>
                <a:cubicBezTo>
                  <a:pt x="6584457" y="262779"/>
                  <a:pt x="6582460" y="265841"/>
                  <a:pt x="6579930" y="268503"/>
                </a:cubicBezTo>
                <a:cubicBezTo>
                  <a:pt x="6577268" y="271166"/>
                  <a:pt x="6574207" y="273297"/>
                  <a:pt x="6570612" y="274761"/>
                </a:cubicBezTo>
                <a:cubicBezTo>
                  <a:pt x="6567019" y="276225"/>
                  <a:pt x="6563158" y="277024"/>
                  <a:pt x="6558899" y="277024"/>
                </a:cubicBezTo>
                <a:cubicBezTo>
                  <a:pt x="6549979" y="277024"/>
                  <a:pt x="6542658" y="274095"/>
                  <a:pt x="6537066" y="268503"/>
                </a:cubicBezTo>
                <a:cubicBezTo>
                  <a:pt x="6531476" y="262913"/>
                  <a:pt x="6528680" y="255857"/>
                  <a:pt x="6528680" y="247338"/>
                </a:cubicBezTo>
                <a:cubicBezTo>
                  <a:pt x="6528680" y="239085"/>
                  <a:pt x="6531476" y="232030"/>
                  <a:pt x="6537066" y="226306"/>
                </a:cubicBezTo>
                <a:cubicBezTo>
                  <a:pt x="6542658" y="220447"/>
                  <a:pt x="6549846" y="217652"/>
                  <a:pt x="6558899" y="217652"/>
                </a:cubicBezTo>
                <a:close/>
                <a:moveTo>
                  <a:pt x="6776544" y="217652"/>
                </a:moveTo>
                <a:cubicBezTo>
                  <a:pt x="6780670" y="217652"/>
                  <a:pt x="6784664" y="218451"/>
                  <a:pt x="6788258" y="220181"/>
                </a:cubicBezTo>
                <a:cubicBezTo>
                  <a:pt x="6791985" y="221779"/>
                  <a:pt x="6795047" y="223908"/>
                  <a:pt x="6797576" y="226572"/>
                </a:cubicBezTo>
                <a:cubicBezTo>
                  <a:pt x="6800105" y="229101"/>
                  <a:pt x="6802235" y="232296"/>
                  <a:pt x="6803699" y="235890"/>
                </a:cubicBezTo>
                <a:cubicBezTo>
                  <a:pt x="6805164" y="239484"/>
                  <a:pt x="6805963" y="243344"/>
                  <a:pt x="6805963" y="247338"/>
                </a:cubicBezTo>
                <a:cubicBezTo>
                  <a:pt x="6805963" y="251465"/>
                  <a:pt x="6805164" y="255458"/>
                  <a:pt x="6803699" y="259052"/>
                </a:cubicBezTo>
                <a:cubicBezTo>
                  <a:pt x="6802102" y="262779"/>
                  <a:pt x="6800105" y="265841"/>
                  <a:pt x="6797576" y="268503"/>
                </a:cubicBezTo>
                <a:cubicBezTo>
                  <a:pt x="6794914" y="271166"/>
                  <a:pt x="6791852" y="273296"/>
                  <a:pt x="6788258" y="274760"/>
                </a:cubicBezTo>
                <a:cubicBezTo>
                  <a:pt x="6784664" y="276225"/>
                  <a:pt x="6780803" y="277023"/>
                  <a:pt x="6776544" y="277023"/>
                </a:cubicBezTo>
                <a:cubicBezTo>
                  <a:pt x="6767625" y="277023"/>
                  <a:pt x="6760303" y="274094"/>
                  <a:pt x="6754711" y="268503"/>
                </a:cubicBezTo>
                <a:cubicBezTo>
                  <a:pt x="6749121" y="262913"/>
                  <a:pt x="6746325" y="255857"/>
                  <a:pt x="6746325" y="247338"/>
                </a:cubicBezTo>
                <a:cubicBezTo>
                  <a:pt x="6746325" y="239085"/>
                  <a:pt x="6749121" y="232030"/>
                  <a:pt x="6754711" y="226306"/>
                </a:cubicBezTo>
                <a:cubicBezTo>
                  <a:pt x="6760303" y="220447"/>
                  <a:pt x="6767492" y="217652"/>
                  <a:pt x="6776544" y="217652"/>
                </a:cubicBezTo>
                <a:close/>
                <a:moveTo>
                  <a:pt x="6994056" y="217652"/>
                </a:moveTo>
                <a:cubicBezTo>
                  <a:pt x="6998315" y="217652"/>
                  <a:pt x="7002309" y="218451"/>
                  <a:pt x="7005769" y="220181"/>
                </a:cubicBezTo>
                <a:cubicBezTo>
                  <a:pt x="7009497" y="221779"/>
                  <a:pt x="7012558" y="223908"/>
                  <a:pt x="7015087" y="226571"/>
                </a:cubicBezTo>
                <a:cubicBezTo>
                  <a:pt x="7017617" y="229101"/>
                  <a:pt x="7019747" y="232296"/>
                  <a:pt x="7021211" y="235890"/>
                </a:cubicBezTo>
                <a:cubicBezTo>
                  <a:pt x="7022675" y="239484"/>
                  <a:pt x="7023474" y="243344"/>
                  <a:pt x="7023474" y="247338"/>
                </a:cubicBezTo>
                <a:cubicBezTo>
                  <a:pt x="7023474" y="251465"/>
                  <a:pt x="7022675" y="255458"/>
                  <a:pt x="7021211" y="259052"/>
                </a:cubicBezTo>
                <a:cubicBezTo>
                  <a:pt x="7019614" y="262779"/>
                  <a:pt x="7017617" y="265841"/>
                  <a:pt x="7015087" y="268503"/>
                </a:cubicBezTo>
                <a:cubicBezTo>
                  <a:pt x="7012425" y="271166"/>
                  <a:pt x="7009364" y="273296"/>
                  <a:pt x="7005769" y="274760"/>
                </a:cubicBezTo>
                <a:cubicBezTo>
                  <a:pt x="7002176" y="276224"/>
                  <a:pt x="6998315" y="277023"/>
                  <a:pt x="6994056" y="277023"/>
                </a:cubicBezTo>
                <a:cubicBezTo>
                  <a:pt x="6985136" y="277023"/>
                  <a:pt x="6977815" y="274094"/>
                  <a:pt x="6972223" y="268503"/>
                </a:cubicBezTo>
                <a:cubicBezTo>
                  <a:pt x="6966632" y="262913"/>
                  <a:pt x="6963837" y="255857"/>
                  <a:pt x="6963837" y="247338"/>
                </a:cubicBezTo>
                <a:cubicBezTo>
                  <a:pt x="6963837" y="239085"/>
                  <a:pt x="6966632" y="232030"/>
                  <a:pt x="6972223" y="226305"/>
                </a:cubicBezTo>
                <a:cubicBezTo>
                  <a:pt x="6977815" y="220447"/>
                  <a:pt x="6985003" y="217652"/>
                  <a:pt x="6994056" y="217652"/>
                </a:cubicBezTo>
                <a:close/>
                <a:moveTo>
                  <a:pt x="7211701" y="217652"/>
                </a:moveTo>
                <a:cubicBezTo>
                  <a:pt x="7215960" y="217652"/>
                  <a:pt x="7219954" y="218451"/>
                  <a:pt x="7223415" y="220181"/>
                </a:cubicBezTo>
                <a:cubicBezTo>
                  <a:pt x="7227142" y="221779"/>
                  <a:pt x="7230204" y="223908"/>
                  <a:pt x="7232733" y="226571"/>
                </a:cubicBezTo>
                <a:cubicBezTo>
                  <a:pt x="7235262" y="229100"/>
                  <a:pt x="7237392" y="232296"/>
                  <a:pt x="7238856" y="235890"/>
                </a:cubicBezTo>
                <a:cubicBezTo>
                  <a:pt x="7240321" y="239484"/>
                  <a:pt x="7241120" y="243344"/>
                  <a:pt x="7241120" y="247338"/>
                </a:cubicBezTo>
                <a:cubicBezTo>
                  <a:pt x="7241120" y="251465"/>
                  <a:pt x="7240321" y="255458"/>
                  <a:pt x="7238856" y="259052"/>
                </a:cubicBezTo>
                <a:cubicBezTo>
                  <a:pt x="7237259" y="262779"/>
                  <a:pt x="7235262" y="265841"/>
                  <a:pt x="7232733" y="268503"/>
                </a:cubicBezTo>
                <a:cubicBezTo>
                  <a:pt x="7230071" y="271166"/>
                  <a:pt x="7227009" y="273296"/>
                  <a:pt x="7223415" y="274760"/>
                </a:cubicBezTo>
                <a:cubicBezTo>
                  <a:pt x="7219821" y="276224"/>
                  <a:pt x="7215960" y="277023"/>
                  <a:pt x="7211701" y="277023"/>
                </a:cubicBezTo>
                <a:cubicBezTo>
                  <a:pt x="7202782" y="277023"/>
                  <a:pt x="7195460" y="274094"/>
                  <a:pt x="7189868" y="268503"/>
                </a:cubicBezTo>
                <a:cubicBezTo>
                  <a:pt x="7184278" y="262913"/>
                  <a:pt x="7181482" y="255857"/>
                  <a:pt x="7181482" y="247338"/>
                </a:cubicBezTo>
                <a:cubicBezTo>
                  <a:pt x="7181482" y="239085"/>
                  <a:pt x="7184278" y="232029"/>
                  <a:pt x="7189868" y="226305"/>
                </a:cubicBezTo>
                <a:cubicBezTo>
                  <a:pt x="7195460" y="220447"/>
                  <a:pt x="7202649" y="217652"/>
                  <a:pt x="7211701" y="217652"/>
                </a:cubicBezTo>
                <a:close/>
                <a:moveTo>
                  <a:pt x="7429345" y="217652"/>
                </a:moveTo>
                <a:cubicBezTo>
                  <a:pt x="7433605" y="217652"/>
                  <a:pt x="7437466" y="218451"/>
                  <a:pt x="7441059" y="220181"/>
                </a:cubicBezTo>
                <a:cubicBezTo>
                  <a:pt x="7444787" y="221779"/>
                  <a:pt x="7447848" y="223908"/>
                  <a:pt x="7450377" y="226571"/>
                </a:cubicBezTo>
                <a:cubicBezTo>
                  <a:pt x="7452907" y="229100"/>
                  <a:pt x="7455036" y="232295"/>
                  <a:pt x="7456501" y="235889"/>
                </a:cubicBezTo>
                <a:cubicBezTo>
                  <a:pt x="7457965" y="239483"/>
                  <a:pt x="7458764" y="243344"/>
                  <a:pt x="7458764" y="247338"/>
                </a:cubicBezTo>
                <a:cubicBezTo>
                  <a:pt x="7458764" y="251465"/>
                  <a:pt x="7457965" y="255458"/>
                  <a:pt x="7456501" y="259052"/>
                </a:cubicBezTo>
                <a:cubicBezTo>
                  <a:pt x="7454904" y="262779"/>
                  <a:pt x="7452907" y="265841"/>
                  <a:pt x="7450377" y="268503"/>
                </a:cubicBezTo>
                <a:cubicBezTo>
                  <a:pt x="7447715" y="271166"/>
                  <a:pt x="7444654" y="273296"/>
                  <a:pt x="7441059" y="274760"/>
                </a:cubicBezTo>
                <a:cubicBezTo>
                  <a:pt x="7437466" y="276224"/>
                  <a:pt x="7433605" y="277023"/>
                  <a:pt x="7429345" y="277023"/>
                </a:cubicBezTo>
                <a:cubicBezTo>
                  <a:pt x="7420426" y="277023"/>
                  <a:pt x="7413105" y="274094"/>
                  <a:pt x="7407513" y="268503"/>
                </a:cubicBezTo>
                <a:cubicBezTo>
                  <a:pt x="7401922" y="262913"/>
                  <a:pt x="7399127" y="255857"/>
                  <a:pt x="7399127" y="247338"/>
                </a:cubicBezTo>
                <a:cubicBezTo>
                  <a:pt x="7399127" y="239085"/>
                  <a:pt x="7401922" y="232029"/>
                  <a:pt x="7407513" y="226305"/>
                </a:cubicBezTo>
                <a:cubicBezTo>
                  <a:pt x="7413105" y="220447"/>
                  <a:pt x="7420293" y="217652"/>
                  <a:pt x="7429345" y="217652"/>
                </a:cubicBezTo>
                <a:close/>
                <a:moveTo>
                  <a:pt x="7646991" y="217652"/>
                </a:moveTo>
                <a:cubicBezTo>
                  <a:pt x="7651250" y="217652"/>
                  <a:pt x="7655111" y="218451"/>
                  <a:pt x="7658705" y="220181"/>
                </a:cubicBezTo>
                <a:cubicBezTo>
                  <a:pt x="7662432" y="221779"/>
                  <a:pt x="7665493" y="223908"/>
                  <a:pt x="7668022" y="226571"/>
                </a:cubicBezTo>
                <a:cubicBezTo>
                  <a:pt x="7670552" y="229100"/>
                  <a:pt x="7672682" y="232295"/>
                  <a:pt x="7674146" y="235889"/>
                </a:cubicBezTo>
                <a:cubicBezTo>
                  <a:pt x="7675610" y="239483"/>
                  <a:pt x="7676409" y="243343"/>
                  <a:pt x="7676409" y="247338"/>
                </a:cubicBezTo>
                <a:cubicBezTo>
                  <a:pt x="7676409" y="251465"/>
                  <a:pt x="7675610" y="255458"/>
                  <a:pt x="7674146" y="259052"/>
                </a:cubicBezTo>
                <a:cubicBezTo>
                  <a:pt x="7672549" y="262779"/>
                  <a:pt x="7670552" y="265841"/>
                  <a:pt x="7668022" y="268503"/>
                </a:cubicBezTo>
                <a:cubicBezTo>
                  <a:pt x="7665361" y="271166"/>
                  <a:pt x="7662299" y="273296"/>
                  <a:pt x="7658705" y="274760"/>
                </a:cubicBezTo>
                <a:cubicBezTo>
                  <a:pt x="7655111" y="276224"/>
                  <a:pt x="7651250" y="277023"/>
                  <a:pt x="7646991" y="277023"/>
                </a:cubicBezTo>
                <a:cubicBezTo>
                  <a:pt x="7638071" y="277023"/>
                  <a:pt x="7630750" y="274094"/>
                  <a:pt x="7625158" y="268503"/>
                </a:cubicBezTo>
                <a:cubicBezTo>
                  <a:pt x="7619568" y="262913"/>
                  <a:pt x="7616772" y="255857"/>
                  <a:pt x="7616772" y="247338"/>
                </a:cubicBezTo>
                <a:cubicBezTo>
                  <a:pt x="7616772" y="239084"/>
                  <a:pt x="7619568" y="232029"/>
                  <a:pt x="7625158" y="226305"/>
                </a:cubicBezTo>
                <a:cubicBezTo>
                  <a:pt x="7630750" y="220447"/>
                  <a:pt x="7637939" y="217652"/>
                  <a:pt x="7646991" y="217652"/>
                </a:cubicBezTo>
                <a:close/>
                <a:moveTo>
                  <a:pt x="7864636" y="217652"/>
                </a:moveTo>
                <a:cubicBezTo>
                  <a:pt x="7868762" y="217652"/>
                  <a:pt x="7872756" y="218451"/>
                  <a:pt x="7876483" y="220181"/>
                </a:cubicBezTo>
                <a:cubicBezTo>
                  <a:pt x="7880210" y="221779"/>
                  <a:pt x="7883272" y="223908"/>
                  <a:pt x="7885802" y="226571"/>
                </a:cubicBezTo>
                <a:cubicBezTo>
                  <a:pt x="7888331" y="229100"/>
                  <a:pt x="7890460" y="232295"/>
                  <a:pt x="7891924" y="235889"/>
                </a:cubicBezTo>
                <a:cubicBezTo>
                  <a:pt x="7893389" y="239483"/>
                  <a:pt x="7894188" y="243343"/>
                  <a:pt x="7894188" y="247337"/>
                </a:cubicBezTo>
                <a:cubicBezTo>
                  <a:pt x="7894188" y="251464"/>
                  <a:pt x="7893389" y="255458"/>
                  <a:pt x="7891924" y="259052"/>
                </a:cubicBezTo>
                <a:cubicBezTo>
                  <a:pt x="7890327" y="262779"/>
                  <a:pt x="7888331" y="265841"/>
                  <a:pt x="7885802" y="268503"/>
                </a:cubicBezTo>
                <a:cubicBezTo>
                  <a:pt x="7883139" y="271166"/>
                  <a:pt x="7880078" y="273296"/>
                  <a:pt x="7876483" y="274760"/>
                </a:cubicBezTo>
                <a:cubicBezTo>
                  <a:pt x="7872756" y="276224"/>
                  <a:pt x="7868895" y="277023"/>
                  <a:pt x="7864636" y="277023"/>
                </a:cubicBezTo>
                <a:cubicBezTo>
                  <a:pt x="7855717" y="277023"/>
                  <a:pt x="7848396" y="274094"/>
                  <a:pt x="7842803" y="268503"/>
                </a:cubicBezTo>
                <a:cubicBezTo>
                  <a:pt x="7837213" y="262913"/>
                  <a:pt x="7834417" y="255857"/>
                  <a:pt x="7834417" y="247337"/>
                </a:cubicBezTo>
                <a:cubicBezTo>
                  <a:pt x="7834417" y="239084"/>
                  <a:pt x="7837213" y="232029"/>
                  <a:pt x="7842803" y="226305"/>
                </a:cubicBezTo>
                <a:cubicBezTo>
                  <a:pt x="7848396" y="220447"/>
                  <a:pt x="7855584" y="217652"/>
                  <a:pt x="7864636" y="217652"/>
                </a:cubicBezTo>
                <a:close/>
                <a:moveTo>
                  <a:pt x="8082281" y="217652"/>
                </a:moveTo>
                <a:cubicBezTo>
                  <a:pt x="8086407" y="217652"/>
                  <a:pt x="8090401" y="218451"/>
                  <a:pt x="8094127" y="220181"/>
                </a:cubicBezTo>
                <a:cubicBezTo>
                  <a:pt x="8097855" y="221779"/>
                  <a:pt x="8100916" y="223908"/>
                  <a:pt x="8103446" y="226571"/>
                </a:cubicBezTo>
                <a:cubicBezTo>
                  <a:pt x="8105975" y="229100"/>
                  <a:pt x="8108104" y="232295"/>
                  <a:pt x="8109569" y="235889"/>
                </a:cubicBezTo>
                <a:cubicBezTo>
                  <a:pt x="8111033" y="239483"/>
                  <a:pt x="8111832" y="243343"/>
                  <a:pt x="8111832" y="247337"/>
                </a:cubicBezTo>
                <a:cubicBezTo>
                  <a:pt x="8111832" y="251464"/>
                  <a:pt x="8111033" y="255457"/>
                  <a:pt x="8109569" y="259051"/>
                </a:cubicBezTo>
                <a:cubicBezTo>
                  <a:pt x="8107972" y="262779"/>
                  <a:pt x="8105975" y="265841"/>
                  <a:pt x="8103446" y="268503"/>
                </a:cubicBezTo>
                <a:cubicBezTo>
                  <a:pt x="8100783" y="271166"/>
                  <a:pt x="8097722" y="273296"/>
                  <a:pt x="8094127" y="274760"/>
                </a:cubicBezTo>
                <a:cubicBezTo>
                  <a:pt x="8090401" y="276224"/>
                  <a:pt x="8086540" y="277023"/>
                  <a:pt x="8082281" y="277023"/>
                </a:cubicBezTo>
                <a:cubicBezTo>
                  <a:pt x="8073361" y="277023"/>
                  <a:pt x="8066040" y="274094"/>
                  <a:pt x="8060448" y="268503"/>
                </a:cubicBezTo>
                <a:cubicBezTo>
                  <a:pt x="8054857" y="262913"/>
                  <a:pt x="8052062" y="255856"/>
                  <a:pt x="8052062" y="247337"/>
                </a:cubicBezTo>
                <a:cubicBezTo>
                  <a:pt x="8052062" y="239084"/>
                  <a:pt x="8054857" y="232029"/>
                  <a:pt x="8060448" y="226305"/>
                </a:cubicBezTo>
                <a:cubicBezTo>
                  <a:pt x="8066040" y="220447"/>
                  <a:pt x="8073228" y="217652"/>
                  <a:pt x="8082281" y="217652"/>
                </a:cubicBezTo>
                <a:close/>
                <a:moveTo>
                  <a:pt x="8299793" y="217652"/>
                </a:moveTo>
                <a:cubicBezTo>
                  <a:pt x="8304052" y="217652"/>
                  <a:pt x="8308046" y="218451"/>
                  <a:pt x="8311507" y="220181"/>
                </a:cubicBezTo>
                <a:cubicBezTo>
                  <a:pt x="8315235" y="221779"/>
                  <a:pt x="8318296" y="223908"/>
                  <a:pt x="8320825" y="226571"/>
                </a:cubicBezTo>
                <a:cubicBezTo>
                  <a:pt x="8323354" y="229100"/>
                  <a:pt x="8325484" y="232295"/>
                  <a:pt x="8326948" y="235889"/>
                </a:cubicBezTo>
                <a:cubicBezTo>
                  <a:pt x="8328413" y="239483"/>
                  <a:pt x="8329212" y="243343"/>
                  <a:pt x="8329212" y="247337"/>
                </a:cubicBezTo>
                <a:cubicBezTo>
                  <a:pt x="8329212" y="251464"/>
                  <a:pt x="8328413" y="255457"/>
                  <a:pt x="8326948" y="259051"/>
                </a:cubicBezTo>
                <a:cubicBezTo>
                  <a:pt x="8325351" y="262778"/>
                  <a:pt x="8323354" y="265841"/>
                  <a:pt x="8320825" y="268503"/>
                </a:cubicBezTo>
                <a:cubicBezTo>
                  <a:pt x="8318163" y="271166"/>
                  <a:pt x="8315101" y="273296"/>
                  <a:pt x="8311507" y="274760"/>
                </a:cubicBezTo>
                <a:cubicBezTo>
                  <a:pt x="8307913" y="276224"/>
                  <a:pt x="8304052" y="277023"/>
                  <a:pt x="8299793" y="277023"/>
                </a:cubicBezTo>
                <a:cubicBezTo>
                  <a:pt x="8290874" y="277023"/>
                  <a:pt x="8283553" y="274094"/>
                  <a:pt x="8277960" y="268503"/>
                </a:cubicBezTo>
                <a:cubicBezTo>
                  <a:pt x="8272370" y="262912"/>
                  <a:pt x="8269574" y="255856"/>
                  <a:pt x="8269574" y="247337"/>
                </a:cubicBezTo>
                <a:cubicBezTo>
                  <a:pt x="8269574" y="239084"/>
                  <a:pt x="8272370" y="232029"/>
                  <a:pt x="8277960" y="226305"/>
                </a:cubicBezTo>
                <a:cubicBezTo>
                  <a:pt x="8283553" y="220447"/>
                  <a:pt x="8290741" y="217652"/>
                  <a:pt x="8299793" y="217652"/>
                </a:cubicBezTo>
                <a:close/>
                <a:moveTo>
                  <a:pt x="8517438" y="217651"/>
                </a:moveTo>
                <a:cubicBezTo>
                  <a:pt x="8521698" y="217651"/>
                  <a:pt x="8525559" y="218450"/>
                  <a:pt x="8529152" y="220181"/>
                </a:cubicBezTo>
                <a:cubicBezTo>
                  <a:pt x="8532880" y="221779"/>
                  <a:pt x="8535941" y="223908"/>
                  <a:pt x="8538470" y="226571"/>
                </a:cubicBezTo>
                <a:cubicBezTo>
                  <a:pt x="8541000" y="229100"/>
                  <a:pt x="8543130" y="232295"/>
                  <a:pt x="8544594" y="235889"/>
                </a:cubicBezTo>
                <a:cubicBezTo>
                  <a:pt x="8546058" y="239483"/>
                  <a:pt x="8546857" y="243343"/>
                  <a:pt x="8546857" y="247337"/>
                </a:cubicBezTo>
                <a:cubicBezTo>
                  <a:pt x="8546857" y="251464"/>
                  <a:pt x="8546058" y="255457"/>
                  <a:pt x="8544594" y="259051"/>
                </a:cubicBezTo>
                <a:cubicBezTo>
                  <a:pt x="8542997" y="262778"/>
                  <a:pt x="8541000" y="265840"/>
                  <a:pt x="8538470" y="268502"/>
                </a:cubicBezTo>
                <a:cubicBezTo>
                  <a:pt x="8535808" y="271165"/>
                  <a:pt x="8532747" y="273296"/>
                  <a:pt x="8529152" y="274760"/>
                </a:cubicBezTo>
                <a:cubicBezTo>
                  <a:pt x="8525559" y="276224"/>
                  <a:pt x="8521698" y="277023"/>
                  <a:pt x="8517438" y="277023"/>
                </a:cubicBezTo>
                <a:cubicBezTo>
                  <a:pt x="8508385" y="277023"/>
                  <a:pt x="8501197" y="274094"/>
                  <a:pt x="8495606" y="268502"/>
                </a:cubicBezTo>
                <a:cubicBezTo>
                  <a:pt x="8490015" y="262912"/>
                  <a:pt x="8487220" y="255856"/>
                  <a:pt x="8487220" y="247337"/>
                </a:cubicBezTo>
                <a:cubicBezTo>
                  <a:pt x="8487220" y="239084"/>
                  <a:pt x="8490015" y="232029"/>
                  <a:pt x="8495606" y="226305"/>
                </a:cubicBezTo>
                <a:cubicBezTo>
                  <a:pt x="8501197" y="220447"/>
                  <a:pt x="8508385" y="217651"/>
                  <a:pt x="8517438" y="217651"/>
                </a:cubicBezTo>
                <a:close/>
                <a:moveTo>
                  <a:pt x="8952728" y="217651"/>
                </a:moveTo>
                <a:cubicBezTo>
                  <a:pt x="8956988" y="217651"/>
                  <a:pt x="8960849" y="218450"/>
                  <a:pt x="8964442" y="220180"/>
                </a:cubicBezTo>
                <a:cubicBezTo>
                  <a:pt x="8968037" y="221778"/>
                  <a:pt x="8971231" y="223907"/>
                  <a:pt x="8973760" y="226570"/>
                </a:cubicBezTo>
                <a:cubicBezTo>
                  <a:pt x="8976290" y="229100"/>
                  <a:pt x="8978419" y="232295"/>
                  <a:pt x="8979884" y="235889"/>
                </a:cubicBezTo>
                <a:cubicBezTo>
                  <a:pt x="8981348" y="239483"/>
                  <a:pt x="8982147" y="243343"/>
                  <a:pt x="8982147" y="247337"/>
                </a:cubicBezTo>
                <a:cubicBezTo>
                  <a:pt x="8982147" y="251464"/>
                  <a:pt x="8981348" y="255457"/>
                  <a:pt x="8979884" y="259051"/>
                </a:cubicBezTo>
                <a:cubicBezTo>
                  <a:pt x="8978287" y="262778"/>
                  <a:pt x="8976290" y="265840"/>
                  <a:pt x="8973760" y="268502"/>
                </a:cubicBezTo>
                <a:cubicBezTo>
                  <a:pt x="8971098" y="271165"/>
                  <a:pt x="8968037" y="273295"/>
                  <a:pt x="8964442" y="274759"/>
                </a:cubicBezTo>
                <a:cubicBezTo>
                  <a:pt x="8960849" y="276223"/>
                  <a:pt x="8956988" y="277022"/>
                  <a:pt x="8952728" y="277022"/>
                </a:cubicBezTo>
                <a:cubicBezTo>
                  <a:pt x="8943808" y="277022"/>
                  <a:pt x="8936487" y="274093"/>
                  <a:pt x="8930896" y="268502"/>
                </a:cubicBezTo>
                <a:cubicBezTo>
                  <a:pt x="8925305" y="262912"/>
                  <a:pt x="8922510" y="255856"/>
                  <a:pt x="8922510" y="247337"/>
                </a:cubicBezTo>
                <a:cubicBezTo>
                  <a:pt x="8922510" y="239084"/>
                  <a:pt x="8925305" y="232029"/>
                  <a:pt x="8930896" y="226304"/>
                </a:cubicBezTo>
                <a:cubicBezTo>
                  <a:pt x="8936487" y="220446"/>
                  <a:pt x="8943675" y="217651"/>
                  <a:pt x="8952728" y="217651"/>
                </a:cubicBezTo>
                <a:close/>
                <a:moveTo>
                  <a:pt x="8735083" y="217651"/>
                </a:moveTo>
                <a:cubicBezTo>
                  <a:pt x="8739342" y="217651"/>
                  <a:pt x="8743203" y="218450"/>
                  <a:pt x="8746797" y="220180"/>
                </a:cubicBezTo>
                <a:cubicBezTo>
                  <a:pt x="8750391" y="221778"/>
                  <a:pt x="8753586" y="223907"/>
                  <a:pt x="8756115" y="226571"/>
                </a:cubicBezTo>
                <a:cubicBezTo>
                  <a:pt x="8758644" y="229100"/>
                  <a:pt x="8760774" y="232295"/>
                  <a:pt x="8762238" y="235889"/>
                </a:cubicBezTo>
                <a:cubicBezTo>
                  <a:pt x="8763702" y="239483"/>
                  <a:pt x="8764502" y="243343"/>
                  <a:pt x="8764502" y="247337"/>
                </a:cubicBezTo>
                <a:cubicBezTo>
                  <a:pt x="8764502" y="251464"/>
                  <a:pt x="8763702" y="255457"/>
                  <a:pt x="8762238" y="259051"/>
                </a:cubicBezTo>
                <a:cubicBezTo>
                  <a:pt x="8760641" y="262778"/>
                  <a:pt x="8758644" y="265840"/>
                  <a:pt x="8756115" y="268502"/>
                </a:cubicBezTo>
                <a:cubicBezTo>
                  <a:pt x="8753453" y="271165"/>
                  <a:pt x="8750391" y="273295"/>
                  <a:pt x="8746797" y="274759"/>
                </a:cubicBezTo>
                <a:cubicBezTo>
                  <a:pt x="8743203" y="276224"/>
                  <a:pt x="8739342" y="277022"/>
                  <a:pt x="8735083" y="277022"/>
                </a:cubicBezTo>
                <a:cubicBezTo>
                  <a:pt x="8726030" y="277022"/>
                  <a:pt x="8718841" y="274093"/>
                  <a:pt x="8713250" y="268502"/>
                </a:cubicBezTo>
                <a:cubicBezTo>
                  <a:pt x="8707660" y="262912"/>
                  <a:pt x="8704864" y="255856"/>
                  <a:pt x="8704864" y="247337"/>
                </a:cubicBezTo>
                <a:cubicBezTo>
                  <a:pt x="8704864" y="239084"/>
                  <a:pt x="8707660" y="232029"/>
                  <a:pt x="8713250" y="226305"/>
                </a:cubicBezTo>
                <a:cubicBezTo>
                  <a:pt x="8718841" y="220446"/>
                  <a:pt x="8726030" y="217651"/>
                  <a:pt x="8735083" y="217651"/>
                </a:cubicBezTo>
                <a:close/>
                <a:moveTo>
                  <a:pt x="9387885" y="217651"/>
                </a:moveTo>
                <a:cubicBezTo>
                  <a:pt x="9392145" y="217651"/>
                  <a:pt x="9396138" y="218450"/>
                  <a:pt x="9399599" y="220180"/>
                </a:cubicBezTo>
                <a:cubicBezTo>
                  <a:pt x="9403194" y="221778"/>
                  <a:pt x="9406388" y="223907"/>
                  <a:pt x="9408917" y="226570"/>
                </a:cubicBezTo>
                <a:cubicBezTo>
                  <a:pt x="9411447" y="229099"/>
                  <a:pt x="9413576" y="232294"/>
                  <a:pt x="9415041" y="235888"/>
                </a:cubicBezTo>
                <a:cubicBezTo>
                  <a:pt x="9416505" y="239482"/>
                  <a:pt x="9417304" y="243343"/>
                  <a:pt x="9417304" y="247337"/>
                </a:cubicBezTo>
                <a:cubicBezTo>
                  <a:pt x="9417304" y="251464"/>
                  <a:pt x="9416505" y="255457"/>
                  <a:pt x="9415041" y="259051"/>
                </a:cubicBezTo>
                <a:cubicBezTo>
                  <a:pt x="9413444" y="262778"/>
                  <a:pt x="9411447" y="265840"/>
                  <a:pt x="9408917" y="268502"/>
                </a:cubicBezTo>
                <a:cubicBezTo>
                  <a:pt x="9406255" y="271165"/>
                  <a:pt x="9403194" y="273295"/>
                  <a:pt x="9399599" y="274759"/>
                </a:cubicBezTo>
                <a:cubicBezTo>
                  <a:pt x="9396005" y="276223"/>
                  <a:pt x="9392145" y="277022"/>
                  <a:pt x="9387885" y="277022"/>
                </a:cubicBezTo>
                <a:cubicBezTo>
                  <a:pt x="9378965" y="277022"/>
                  <a:pt x="9371644" y="274093"/>
                  <a:pt x="9366053" y="268502"/>
                </a:cubicBezTo>
                <a:cubicBezTo>
                  <a:pt x="9360462" y="262912"/>
                  <a:pt x="9357667" y="255856"/>
                  <a:pt x="9357667" y="247337"/>
                </a:cubicBezTo>
                <a:cubicBezTo>
                  <a:pt x="9357667" y="239084"/>
                  <a:pt x="9360462" y="232028"/>
                  <a:pt x="9366053" y="226304"/>
                </a:cubicBezTo>
                <a:cubicBezTo>
                  <a:pt x="9371644" y="220446"/>
                  <a:pt x="9378832" y="217651"/>
                  <a:pt x="9387885" y="217651"/>
                </a:cubicBezTo>
                <a:close/>
                <a:moveTo>
                  <a:pt x="9170374" y="217651"/>
                </a:moveTo>
                <a:cubicBezTo>
                  <a:pt x="9174500" y="217651"/>
                  <a:pt x="9178494" y="218450"/>
                  <a:pt x="9182088" y="220180"/>
                </a:cubicBezTo>
                <a:cubicBezTo>
                  <a:pt x="9185682" y="221778"/>
                  <a:pt x="9188876" y="223907"/>
                  <a:pt x="9191405" y="226570"/>
                </a:cubicBezTo>
                <a:cubicBezTo>
                  <a:pt x="9193935" y="229099"/>
                  <a:pt x="9196065" y="232295"/>
                  <a:pt x="9197529" y="235889"/>
                </a:cubicBezTo>
                <a:cubicBezTo>
                  <a:pt x="9198993" y="239483"/>
                  <a:pt x="9199792" y="243343"/>
                  <a:pt x="9199792" y="247337"/>
                </a:cubicBezTo>
                <a:cubicBezTo>
                  <a:pt x="9199792" y="251464"/>
                  <a:pt x="9198993" y="255457"/>
                  <a:pt x="9197529" y="259051"/>
                </a:cubicBezTo>
                <a:cubicBezTo>
                  <a:pt x="9195932" y="262778"/>
                  <a:pt x="9193935" y="265840"/>
                  <a:pt x="9191405" y="268502"/>
                </a:cubicBezTo>
                <a:cubicBezTo>
                  <a:pt x="9188744" y="271165"/>
                  <a:pt x="9185682" y="273295"/>
                  <a:pt x="9182088" y="274759"/>
                </a:cubicBezTo>
                <a:cubicBezTo>
                  <a:pt x="9178494" y="276223"/>
                  <a:pt x="9174633" y="277022"/>
                  <a:pt x="9170374" y="277022"/>
                </a:cubicBezTo>
                <a:cubicBezTo>
                  <a:pt x="9161453" y="277022"/>
                  <a:pt x="9154132" y="274093"/>
                  <a:pt x="9148541" y="268502"/>
                </a:cubicBezTo>
                <a:cubicBezTo>
                  <a:pt x="9142951" y="262912"/>
                  <a:pt x="9140155" y="255856"/>
                  <a:pt x="9140155" y="247337"/>
                </a:cubicBezTo>
                <a:cubicBezTo>
                  <a:pt x="9140155" y="239084"/>
                  <a:pt x="9142951" y="232028"/>
                  <a:pt x="9148541" y="226304"/>
                </a:cubicBezTo>
                <a:cubicBezTo>
                  <a:pt x="9154132" y="220446"/>
                  <a:pt x="9161321" y="217651"/>
                  <a:pt x="9170374" y="217651"/>
                </a:cubicBezTo>
                <a:close/>
                <a:moveTo>
                  <a:pt x="9605531" y="217651"/>
                </a:moveTo>
                <a:cubicBezTo>
                  <a:pt x="9609790" y="217651"/>
                  <a:pt x="9613784" y="218450"/>
                  <a:pt x="9617245" y="220180"/>
                </a:cubicBezTo>
                <a:cubicBezTo>
                  <a:pt x="9620839" y="221778"/>
                  <a:pt x="9624033" y="223907"/>
                  <a:pt x="9626562" y="226570"/>
                </a:cubicBezTo>
                <a:cubicBezTo>
                  <a:pt x="9629092" y="229099"/>
                  <a:pt x="9631222" y="232294"/>
                  <a:pt x="9632686" y="235888"/>
                </a:cubicBezTo>
                <a:cubicBezTo>
                  <a:pt x="9634150" y="239482"/>
                  <a:pt x="9634949" y="243342"/>
                  <a:pt x="9634949" y="247337"/>
                </a:cubicBezTo>
                <a:cubicBezTo>
                  <a:pt x="9634949" y="251464"/>
                  <a:pt x="9634150" y="255457"/>
                  <a:pt x="9632686" y="259051"/>
                </a:cubicBezTo>
                <a:cubicBezTo>
                  <a:pt x="9631089" y="262778"/>
                  <a:pt x="9629092" y="265840"/>
                  <a:pt x="9626562" y="268502"/>
                </a:cubicBezTo>
                <a:cubicBezTo>
                  <a:pt x="9623901" y="271165"/>
                  <a:pt x="9620839" y="273295"/>
                  <a:pt x="9617245" y="274759"/>
                </a:cubicBezTo>
                <a:cubicBezTo>
                  <a:pt x="9613651" y="276223"/>
                  <a:pt x="9609790" y="277022"/>
                  <a:pt x="9605531" y="277022"/>
                </a:cubicBezTo>
                <a:cubicBezTo>
                  <a:pt x="9596610" y="277022"/>
                  <a:pt x="9589289" y="274093"/>
                  <a:pt x="9583698" y="268502"/>
                </a:cubicBezTo>
                <a:cubicBezTo>
                  <a:pt x="9578108" y="262912"/>
                  <a:pt x="9575312" y="255856"/>
                  <a:pt x="9575312" y="247337"/>
                </a:cubicBezTo>
                <a:cubicBezTo>
                  <a:pt x="9575312" y="239083"/>
                  <a:pt x="9578108" y="232028"/>
                  <a:pt x="9583698" y="226304"/>
                </a:cubicBezTo>
                <a:cubicBezTo>
                  <a:pt x="9589289" y="220446"/>
                  <a:pt x="9596478" y="217651"/>
                  <a:pt x="9605531" y="217651"/>
                </a:cubicBezTo>
                <a:close/>
                <a:moveTo>
                  <a:pt x="9823176" y="217651"/>
                </a:moveTo>
                <a:cubicBezTo>
                  <a:pt x="9827435" y="217651"/>
                  <a:pt x="9831296" y="218450"/>
                  <a:pt x="9834890" y="220180"/>
                </a:cubicBezTo>
                <a:cubicBezTo>
                  <a:pt x="9838617" y="221778"/>
                  <a:pt x="9841679" y="223907"/>
                  <a:pt x="9844208" y="226570"/>
                </a:cubicBezTo>
                <a:cubicBezTo>
                  <a:pt x="9846737" y="229099"/>
                  <a:pt x="9848867" y="232294"/>
                  <a:pt x="9850331" y="235888"/>
                </a:cubicBezTo>
                <a:cubicBezTo>
                  <a:pt x="9851796" y="239482"/>
                  <a:pt x="9852595" y="243342"/>
                  <a:pt x="9852595" y="247336"/>
                </a:cubicBezTo>
                <a:cubicBezTo>
                  <a:pt x="9852595" y="251464"/>
                  <a:pt x="9851796" y="255457"/>
                  <a:pt x="9850331" y="259051"/>
                </a:cubicBezTo>
                <a:cubicBezTo>
                  <a:pt x="9848734" y="262778"/>
                  <a:pt x="9846737" y="265840"/>
                  <a:pt x="9844208" y="268502"/>
                </a:cubicBezTo>
                <a:cubicBezTo>
                  <a:pt x="9841546" y="271165"/>
                  <a:pt x="9838484" y="273295"/>
                  <a:pt x="9834890" y="274759"/>
                </a:cubicBezTo>
                <a:cubicBezTo>
                  <a:pt x="9831296" y="276223"/>
                  <a:pt x="9827435" y="277022"/>
                  <a:pt x="9823176" y="277022"/>
                </a:cubicBezTo>
                <a:cubicBezTo>
                  <a:pt x="9814123" y="277022"/>
                  <a:pt x="9806935" y="274093"/>
                  <a:pt x="9801343" y="268502"/>
                </a:cubicBezTo>
                <a:cubicBezTo>
                  <a:pt x="9795753" y="262912"/>
                  <a:pt x="9792957" y="255856"/>
                  <a:pt x="9792957" y="247336"/>
                </a:cubicBezTo>
                <a:cubicBezTo>
                  <a:pt x="9792957" y="239083"/>
                  <a:pt x="9795753" y="232028"/>
                  <a:pt x="9801343" y="226304"/>
                </a:cubicBezTo>
                <a:cubicBezTo>
                  <a:pt x="9806935" y="220446"/>
                  <a:pt x="9814123" y="217651"/>
                  <a:pt x="9823176" y="217651"/>
                </a:cubicBezTo>
                <a:close/>
                <a:moveTo>
                  <a:pt x="10040820" y="217651"/>
                </a:moveTo>
                <a:cubicBezTo>
                  <a:pt x="10045080" y="217651"/>
                  <a:pt x="10048941" y="218450"/>
                  <a:pt x="10052534" y="220180"/>
                </a:cubicBezTo>
                <a:cubicBezTo>
                  <a:pt x="10056129" y="221778"/>
                  <a:pt x="10059323" y="223907"/>
                  <a:pt x="10061852" y="226570"/>
                </a:cubicBezTo>
                <a:cubicBezTo>
                  <a:pt x="10064382" y="229099"/>
                  <a:pt x="10066512" y="232294"/>
                  <a:pt x="10067976" y="235888"/>
                </a:cubicBezTo>
                <a:cubicBezTo>
                  <a:pt x="10069440" y="239482"/>
                  <a:pt x="10070239" y="243342"/>
                  <a:pt x="10070239" y="247336"/>
                </a:cubicBezTo>
                <a:cubicBezTo>
                  <a:pt x="10070239" y="251463"/>
                  <a:pt x="10069440" y="255457"/>
                  <a:pt x="10067976" y="259051"/>
                </a:cubicBezTo>
                <a:cubicBezTo>
                  <a:pt x="10066379" y="262778"/>
                  <a:pt x="10064382" y="265840"/>
                  <a:pt x="10061852" y="268502"/>
                </a:cubicBezTo>
                <a:cubicBezTo>
                  <a:pt x="10059190" y="271165"/>
                  <a:pt x="10056129" y="273295"/>
                  <a:pt x="10052534" y="274759"/>
                </a:cubicBezTo>
                <a:cubicBezTo>
                  <a:pt x="10048941" y="276223"/>
                  <a:pt x="10045080" y="277022"/>
                  <a:pt x="10040820" y="277022"/>
                </a:cubicBezTo>
                <a:cubicBezTo>
                  <a:pt x="10031767" y="277022"/>
                  <a:pt x="10024579" y="274093"/>
                  <a:pt x="10018988" y="268502"/>
                </a:cubicBezTo>
                <a:cubicBezTo>
                  <a:pt x="10013397" y="262912"/>
                  <a:pt x="10010602" y="255856"/>
                  <a:pt x="10010602" y="247336"/>
                </a:cubicBezTo>
                <a:cubicBezTo>
                  <a:pt x="10010602" y="239083"/>
                  <a:pt x="10013397" y="232028"/>
                  <a:pt x="10018988" y="226304"/>
                </a:cubicBezTo>
                <a:cubicBezTo>
                  <a:pt x="10024579" y="220446"/>
                  <a:pt x="10031767" y="217651"/>
                  <a:pt x="10040820" y="217651"/>
                </a:cubicBezTo>
                <a:close/>
                <a:moveTo>
                  <a:pt x="10258466" y="217651"/>
                </a:moveTo>
                <a:cubicBezTo>
                  <a:pt x="10262592" y="217651"/>
                  <a:pt x="10266586" y="218450"/>
                  <a:pt x="10270313" y="220180"/>
                </a:cubicBezTo>
                <a:cubicBezTo>
                  <a:pt x="10273907" y="221778"/>
                  <a:pt x="10277101" y="223907"/>
                  <a:pt x="10279631" y="226570"/>
                </a:cubicBezTo>
                <a:cubicBezTo>
                  <a:pt x="10282160" y="229099"/>
                  <a:pt x="10284290" y="232294"/>
                  <a:pt x="10285754" y="235888"/>
                </a:cubicBezTo>
                <a:cubicBezTo>
                  <a:pt x="10287218" y="239482"/>
                  <a:pt x="10288017" y="243342"/>
                  <a:pt x="10288017" y="247336"/>
                </a:cubicBezTo>
                <a:cubicBezTo>
                  <a:pt x="10288017" y="251463"/>
                  <a:pt x="10287218" y="255456"/>
                  <a:pt x="10285754" y="259050"/>
                </a:cubicBezTo>
                <a:cubicBezTo>
                  <a:pt x="10284157" y="262778"/>
                  <a:pt x="10282160" y="265840"/>
                  <a:pt x="10279631" y="268502"/>
                </a:cubicBezTo>
                <a:cubicBezTo>
                  <a:pt x="10276969" y="271165"/>
                  <a:pt x="10273907" y="273295"/>
                  <a:pt x="10270313" y="274759"/>
                </a:cubicBezTo>
                <a:cubicBezTo>
                  <a:pt x="10266586" y="276223"/>
                  <a:pt x="10262725" y="277022"/>
                  <a:pt x="10258466" y="277022"/>
                </a:cubicBezTo>
                <a:cubicBezTo>
                  <a:pt x="10249546" y="277022"/>
                  <a:pt x="10242224" y="274093"/>
                  <a:pt x="10236633" y="268502"/>
                </a:cubicBezTo>
                <a:cubicBezTo>
                  <a:pt x="10231043" y="262911"/>
                  <a:pt x="10228247" y="255855"/>
                  <a:pt x="10228247" y="247336"/>
                </a:cubicBezTo>
                <a:cubicBezTo>
                  <a:pt x="10228247" y="239083"/>
                  <a:pt x="10231043" y="232028"/>
                  <a:pt x="10236633" y="226304"/>
                </a:cubicBezTo>
                <a:cubicBezTo>
                  <a:pt x="10242092" y="220446"/>
                  <a:pt x="10249413" y="217651"/>
                  <a:pt x="10258466" y="217651"/>
                </a:cubicBezTo>
                <a:close/>
                <a:moveTo>
                  <a:pt x="10475977" y="217651"/>
                </a:moveTo>
                <a:cubicBezTo>
                  <a:pt x="10480237" y="217651"/>
                  <a:pt x="10484230" y="218450"/>
                  <a:pt x="10487824" y="220180"/>
                </a:cubicBezTo>
                <a:cubicBezTo>
                  <a:pt x="10491419" y="221778"/>
                  <a:pt x="10494613" y="223907"/>
                  <a:pt x="10497143" y="226570"/>
                </a:cubicBezTo>
                <a:cubicBezTo>
                  <a:pt x="10499672" y="229099"/>
                  <a:pt x="10501801" y="232294"/>
                  <a:pt x="10503266" y="235888"/>
                </a:cubicBezTo>
                <a:cubicBezTo>
                  <a:pt x="10504730" y="239482"/>
                  <a:pt x="10505529" y="243342"/>
                  <a:pt x="10505529" y="247336"/>
                </a:cubicBezTo>
                <a:cubicBezTo>
                  <a:pt x="10505529" y="251463"/>
                  <a:pt x="10504730" y="255456"/>
                  <a:pt x="10503266" y="259050"/>
                </a:cubicBezTo>
                <a:cubicBezTo>
                  <a:pt x="10501669" y="262777"/>
                  <a:pt x="10499672" y="265839"/>
                  <a:pt x="10497143" y="268502"/>
                </a:cubicBezTo>
                <a:cubicBezTo>
                  <a:pt x="10494480" y="271164"/>
                  <a:pt x="10491419" y="273295"/>
                  <a:pt x="10487824" y="274759"/>
                </a:cubicBezTo>
                <a:cubicBezTo>
                  <a:pt x="10484098" y="276223"/>
                  <a:pt x="10480237" y="277022"/>
                  <a:pt x="10475977" y="277022"/>
                </a:cubicBezTo>
                <a:cubicBezTo>
                  <a:pt x="10466924" y="277022"/>
                  <a:pt x="10459736" y="274093"/>
                  <a:pt x="10454145" y="268502"/>
                </a:cubicBezTo>
                <a:cubicBezTo>
                  <a:pt x="10448554" y="262911"/>
                  <a:pt x="10445759" y="255855"/>
                  <a:pt x="10445759" y="247336"/>
                </a:cubicBezTo>
                <a:cubicBezTo>
                  <a:pt x="10445759" y="239083"/>
                  <a:pt x="10448554" y="232028"/>
                  <a:pt x="10454145" y="226304"/>
                </a:cubicBezTo>
                <a:cubicBezTo>
                  <a:pt x="10459603" y="220446"/>
                  <a:pt x="10466924" y="217651"/>
                  <a:pt x="10475977" y="217651"/>
                </a:cubicBezTo>
                <a:close/>
                <a:moveTo>
                  <a:pt x="30217" y="16646"/>
                </a:moveTo>
                <a:cubicBezTo>
                  <a:pt x="24360" y="16646"/>
                  <a:pt x="21831" y="18642"/>
                  <a:pt x="20234" y="20240"/>
                </a:cubicBezTo>
                <a:cubicBezTo>
                  <a:pt x="17704" y="22902"/>
                  <a:pt x="16640" y="25697"/>
                  <a:pt x="16640" y="29691"/>
                </a:cubicBezTo>
                <a:cubicBezTo>
                  <a:pt x="16640" y="33818"/>
                  <a:pt x="17704" y="36613"/>
                  <a:pt x="20234" y="39142"/>
                </a:cubicBezTo>
                <a:cubicBezTo>
                  <a:pt x="21831" y="40740"/>
                  <a:pt x="24360" y="42603"/>
                  <a:pt x="30217" y="42603"/>
                </a:cubicBezTo>
                <a:cubicBezTo>
                  <a:pt x="32347" y="42603"/>
                  <a:pt x="34078" y="42337"/>
                  <a:pt x="35542" y="41671"/>
                </a:cubicBezTo>
                <a:cubicBezTo>
                  <a:pt x="37006" y="41139"/>
                  <a:pt x="38338" y="40340"/>
                  <a:pt x="39269" y="39275"/>
                </a:cubicBezTo>
                <a:cubicBezTo>
                  <a:pt x="40334" y="38210"/>
                  <a:pt x="41266" y="36879"/>
                  <a:pt x="41932" y="35149"/>
                </a:cubicBezTo>
                <a:cubicBezTo>
                  <a:pt x="42597" y="33551"/>
                  <a:pt x="42863" y="31688"/>
                  <a:pt x="42863" y="29691"/>
                </a:cubicBezTo>
                <a:cubicBezTo>
                  <a:pt x="42863" y="27827"/>
                  <a:pt x="42597" y="26097"/>
                  <a:pt x="41932" y="24499"/>
                </a:cubicBezTo>
                <a:cubicBezTo>
                  <a:pt x="41266" y="22769"/>
                  <a:pt x="40334" y="21438"/>
                  <a:pt x="39269" y="20240"/>
                </a:cubicBezTo>
                <a:cubicBezTo>
                  <a:pt x="38204" y="19175"/>
                  <a:pt x="36873" y="18243"/>
                  <a:pt x="35276" y="17577"/>
                </a:cubicBezTo>
                <a:cubicBezTo>
                  <a:pt x="33812" y="16912"/>
                  <a:pt x="32214" y="16646"/>
                  <a:pt x="30217" y="16646"/>
                </a:cubicBezTo>
                <a:close/>
                <a:moveTo>
                  <a:pt x="247862" y="16646"/>
                </a:moveTo>
                <a:cubicBezTo>
                  <a:pt x="242005" y="16646"/>
                  <a:pt x="239476" y="18642"/>
                  <a:pt x="237879" y="20240"/>
                </a:cubicBezTo>
                <a:cubicBezTo>
                  <a:pt x="235349" y="22902"/>
                  <a:pt x="234285" y="25697"/>
                  <a:pt x="234285" y="29691"/>
                </a:cubicBezTo>
                <a:cubicBezTo>
                  <a:pt x="234285" y="33818"/>
                  <a:pt x="235349" y="36613"/>
                  <a:pt x="237879" y="39142"/>
                </a:cubicBezTo>
                <a:cubicBezTo>
                  <a:pt x="239476" y="40740"/>
                  <a:pt x="242005" y="42603"/>
                  <a:pt x="247862" y="42603"/>
                </a:cubicBezTo>
                <a:cubicBezTo>
                  <a:pt x="249992" y="42603"/>
                  <a:pt x="251723" y="42337"/>
                  <a:pt x="253187" y="41671"/>
                </a:cubicBezTo>
                <a:cubicBezTo>
                  <a:pt x="254651" y="41139"/>
                  <a:pt x="255982" y="40340"/>
                  <a:pt x="256914" y="39275"/>
                </a:cubicBezTo>
                <a:cubicBezTo>
                  <a:pt x="257979" y="38210"/>
                  <a:pt x="258911" y="36879"/>
                  <a:pt x="259577" y="35149"/>
                </a:cubicBezTo>
                <a:cubicBezTo>
                  <a:pt x="260242" y="33551"/>
                  <a:pt x="260642" y="31688"/>
                  <a:pt x="260642" y="29691"/>
                </a:cubicBezTo>
                <a:cubicBezTo>
                  <a:pt x="260642" y="27827"/>
                  <a:pt x="260242" y="26097"/>
                  <a:pt x="259577" y="24499"/>
                </a:cubicBezTo>
                <a:cubicBezTo>
                  <a:pt x="258911" y="22769"/>
                  <a:pt x="257979" y="21438"/>
                  <a:pt x="256914" y="20240"/>
                </a:cubicBezTo>
                <a:cubicBezTo>
                  <a:pt x="255849" y="19175"/>
                  <a:pt x="254518" y="18243"/>
                  <a:pt x="252921" y="17577"/>
                </a:cubicBezTo>
                <a:cubicBezTo>
                  <a:pt x="251456" y="16912"/>
                  <a:pt x="249859" y="16646"/>
                  <a:pt x="247862" y="16646"/>
                </a:cubicBezTo>
                <a:close/>
                <a:moveTo>
                  <a:pt x="465507" y="16646"/>
                </a:moveTo>
                <a:cubicBezTo>
                  <a:pt x="459649" y="16646"/>
                  <a:pt x="457120" y="18642"/>
                  <a:pt x="455523" y="20240"/>
                </a:cubicBezTo>
                <a:cubicBezTo>
                  <a:pt x="452993" y="22902"/>
                  <a:pt x="451929" y="25697"/>
                  <a:pt x="451929" y="29691"/>
                </a:cubicBezTo>
                <a:cubicBezTo>
                  <a:pt x="451929" y="33818"/>
                  <a:pt x="452993" y="36613"/>
                  <a:pt x="455523" y="39142"/>
                </a:cubicBezTo>
                <a:cubicBezTo>
                  <a:pt x="457120" y="40740"/>
                  <a:pt x="459649" y="42603"/>
                  <a:pt x="465507" y="42603"/>
                </a:cubicBezTo>
                <a:cubicBezTo>
                  <a:pt x="467504" y="42603"/>
                  <a:pt x="469368" y="42337"/>
                  <a:pt x="470832" y="41671"/>
                </a:cubicBezTo>
                <a:cubicBezTo>
                  <a:pt x="472296" y="41139"/>
                  <a:pt x="473627" y="40340"/>
                  <a:pt x="474559" y="39275"/>
                </a:cubicBezTo>
                <a:cubicBezTo>
                  <a:pt x="475624" y="38210"/>
                  <a:pt x="476556" y="36879"/>
                  <a:pt x="477222" y="35149"/>
                </a:cubicBezTo>
                <a:cubicBezTo>
                  <a:pt x="477887" y="33551"/>
                  <a:pt x="478287" y="31688"/>
                  <a:pt x="478287" y="29691"/>
                </a:cubicBezTo>
                <a:cubicBezTo>
                  <a:pt x="478287" y="27827"/>
                  <a:pt x="477887" y="26097"/>
                  <a:pt x="477222" y="24499"/>
                </a:cubicBezTo>
                <a:cubicBezTo>
                  <a:pt x="476556" y="22769"/>
                  <a:pt x="475624" y="21438"/>
                  <a:pt x="474559" y="20240"/>
                </a:cubicBezTo>
                <a:cubicBezTo>
                  <a:pt x="473494" y="19175"/>
                  <a:pt x="472163" y="18243"/>
                  <a:pt x="470566" y="17577"/>
                </a:cubicBezTo>
                <a:cubicBezTo>
                  <a:pt x="469102" y="16912"/>
                  <a:pt x="467504" y="16646"/>
                  <a:pt x="465507" y="16646"/>
                </a:cubicBezTo>
                <a:close/>
                <a:moveTo>
                  <a:pt x="683151" y="16645"/>
                </a:moveTo>
                <a:cubicBezTo>
                  <a:pt x="677294" y="16645"/>
                  <a:pt x="674765" y="18641"/>
                  <a:pt x="673168" y="20239"/>
                </a:cubicBezTo>
                <a:cubicBezTo>
                  <a:pt x="670638" y="22902"/>
                  <a:pt x="669574" y="25697"/>
                  <a:pt x="669574" y="29691"/>
                </a:cubicBezTo>
                <a:cubicBezTo>
                  <a:pt x="669574" y="33818"/>
                  <a:pt x="670638" y="36613"/>
                  <a:pt x="673168" y="39142"/>
                </a:cubicBezTo>
                <a:cubicBezTo>
                  <a:pt x="674765" y="40740"/>
                  <a:pt x="677294" y="42603"/>
                  <a:pt x="683151" y="42603"/>
                </a:cubicBezTo>
                <a:cubicBezTo>
                  <a:pt x="685148" y="42603"/>
                  <a:pt x="687012" y="42337"/>
                  <a:pt x="688476" y="41671"/>
                </a:cubicBezTo>
                <a:cubicBezTo>
                  <a:pt x="689940" y="41139"/>
                  <a:pt x="691272" y="40340"/>
                  <a:pt x="692203" y="39275"/>
                </a:cubicBezTo>
                <a:cubicBezTo>
                  <a:pt x="693268" y="38210"/>
                  <a:pt x="694200" y="36879"/>
                  <a:pt x="694867" y="35149"/>
                </a:cubicBezTo>
                <a:cubicBezTo>
                  <a:pt x="695531" y="33551"/>
                  <a:pt x="695932" y="31688"/>
                  <a:pt x="695932" y="29691"/>
                </a:cubicBezTo>
                <a:cubicBezTo>
                  <a:pt x="695932" y="27827"/>
                  <a:pt x="695531" y="26097"/>
                  <a:pt x="694867" y="24499"/>
                </a:cubicBezTo>
                <a:cubicBezTo>
                  <a:pt x="694200" y="22769"/>
                  <a:pt x="693268" y="21438"/>
                  <a:pt x="692203" y="20239"/>
                </a:cubicBezTo>
                <a:cubicBezTo>
                  <a:pt x="691138" y="19175"/>
                  <a:pt x="689807" y="18242"/>
                  <a:pt x="688210" y="17576"/>
                </a:cubicBezTo>
                <a:cubicBezTo>
                  <a:pt x="686746" y="16911"/>
                  <a:pt x="685148" y="16645"/>
                  <a:pt x="683151" y="16645"/>
                </a:cubicBezTo>
                <a:close/>
                <a:moveTo>
                  <a:pt x="900930" y="16645"/>
                </a:moveTo>
                <a:cubicBezTo>
                  <a:pt x="895072" y="16645"/>
                  <a:pt x="892543" y="18641"/>
                  <a:pt x="890946" y="20239"/>
                </a:cubicBezTo>
                <a:cubicBezTo>
                  <a:pt x="888283" y="22901"/>
                  <a:pt x="887219" y="25696"/>
                  <a:pt x="887219" y="29691"/>
                </a:cubicBezTo>
                <a:cubicBezTo>
                  <a:pt x="887219" y="33818"/>
                  <a:pt x="888283" y="36613"/>
                  <a:pt x="890813" y="39142"/>
                </a:cubicBezTo>
                <a:cubicBezTo>
                  <a:pt x="892410" y="40740"/>
                  <a:pt x="894939" y="42603"/>
                  <a:pt x="900796" y="42603"/>
                </a:cubicBezTo>
                <a:cubicBezTo>
                  <a:pt x="902793" y="42603"/>
                  <a:pt x="904524" y="42337"/>
                  <a:pt x="906254" y="41671"/>
                </a:cubicBezTo>
                <a:cubicBezTo>
                  <a:pt x="907718" y="41139"/>
                  <a:pt x="909050" y="40340"/>
                  <a:pt x="909982" y="39275"/>
                </a:cubicBezTo>
                <a:cubicBezTo>
                  <a:pt x="911046" y="38210"/>
                  <a:pt x="911978" y="36879"/>
                  <a:pt x="912644" y="35149"/>
                </a:cubicBezTo>
                <a:cubicBezTo>
                  <a:pt x="913309" y="33551"/>
                  <a:pt x="913709" y="31688"/>
                  <a:pt x="913709" y="29691"/>
                </a:cubicBezTo>
                <a:cubicBezTo>
                  <a:pt x="913709" y="27827"/>
                  <a:pt x="913309" y="26096"/>
                  <a:pt x="912644" y="24498"/>
                </a:cubicBezTo>
                <a:cubicBezTo>
                  <a:pt x="911978" y="22768"/>
                  <a:pt x="911046" y="21437"/>
                  <a:pt x="909982" y="20239"/>
                </a:cubicBezTo>
                <a:cubicBezTo>
                  <a:pt x="908917" y="19174"/>
                  <a:pt x="907585" y="18242"/>
                  <a:pt x="905988" y="17576"/>
                </a:cubicBezTo>
                <a:cubicBezTo>
                  <a:pt x="904524" y="16911"/>
                  <a:pt x="902926" y="16645"/>
                  <a:pt x="900930" y="16645"/>
                </a:cubicBezTo>
                <a:close/>
                <a:moveTo>
                  <a:pt x="1118441" y="16645"/>
                </a:moveTo>
                <a:cubicBezTo>
                  <a:pt x="1112584" y="16645"/>
                  <a:pt x="1110055" y="18641"/>
                  <a:pt x="1108458" y="20239"/>
                </a:cubicBezTo>
                <a:cubicBezTo>
                  <a:pt x="1105795" y="22901"/>
                  <a:pt x="1104730" y="25696"/>
                  <a:pt x="1104730" y="29690"/>
                </a:cubicBezTo>
                <a:cubicBezTo>
                  <a:pt x="1104730" y="33818"/>
                  <a:pt x="1105795" y="36613"/>
                  <a:pt x="1108325" y="39142"/>
                </a:cubicBezTo>
                <a:cubicBezTo>
                  <a:pt x="1109922" y="40740"/>
                  <a:pt x="1112451" y="42603"/>
                  <a:pt x="1118308" y="42603"/>
                </a:cubicBezTo>
                <a:cubicBezTo>
                  <a:pt x="1120438" y="42603"/>
                  <a:pt x="1122169" y="42337"/>
                  <a:pt x="1123766" y="41671"/>
                </a:cubicBezTo>
                <a:cubicBezTo>
                  <a:pt x="1125230" y="41139"/>
                  <a:pt x="1126562" y="40340"/>
                  <a:pt x="1127493" y="39275"/>
                </a:cubicBezTo>
                <a:cubicBezTo>
                  <a:pt x="1128558" y="38210"/>
                  <a:pt x="1129490" y="36879"/>
                  <a:pt x="1130156" y="35149"/>
                </a:cubicBezTo>
                <a:cubicBezTo>
                  <a:pt x="1130821" y="33550"/>
                  <a:pt x="1131221" y="31687"/>
                  <a:pt x="1131221" y="29690"/>
                </a:cubicBezTo>
                <a:cubicBezTo>
                  <a:pt x="1131221" y="27826"/>
                  <a:pt x="1130821" y="26096"/>
                  <a:pt x="1130156" y="24498"/>
                </a:cubicBezTo>
                <a:cubicBezTo>
                  <a:pt x="1129490" y="22768"/>
                  <a:pt x="1128558" y="21437"/>
                  <a:pt x="1127493" y="20239"/>
                </a:cubicBezTo>
                <a:cubicBezTo>
                  <a:pt x="1126428" y="19174"/>
                  <a:pt x="1125097" y="18242"/>
                  <a:pt x="1123500" y="17576"/>
                </a:cubicBezTo>
                <a:cubicBezTo>
                  <a:pt x="1122036" y="16911"/>
                  <a:pt x="1120438" y="16645"/>
                  <a:pt x="1118441" y="16645"/>
                </a:cubicBezTo>
                <a:close/>
                <a:moveTo>
                  <a:pt x="1335953" y="16645"/>
                </a:moveTo>
                <a:cubicBezTo>
                  <a:pt x="1330095" y="16645"/>
                  <a:pt x="1327566" y="18641"/>
                  <a:pt x="1325970" y="20239"/>
                </a:cubicBezTo>
                <a:cubicBezTo>
                  <a:pt x="1323439" y="22901"/>
                  <a:pt x="1322375" y="25696"/>
                  <a:pt x="1322375" y="29690"/>
                </a:cubicBezTo>
                <a:cubicBezTo>
                  <a:pt x="1322375" y="33817"/>
                  <a:pt x="1323439" y="36612"/>
                  <a:pt x="1325970" y="39142"/>
                </a:cubicBezTo>
                <a:cubicBezTo>
                  <a:pt x="1327566" y="40740"/>
                  <a:pt x="1330095" y="42603"/>
                  <a:pt x="1335953" y="42603"/>
                </a:cubicBezTo>
                <a:cubicBezTo>
                  <a:pt x="1338083" y="42603"/>
                  <a:pt x="1339814" y="42337"/>
                  <a:pt x="1341278" y="41671"/>
                </a:cubicBezTo>
                <a:cubicBezTo>
                  <a:pt x="1342742" y="41139"/>
                  <a:pt x="1344073" y="40339"/>
                  <a:pt x="1345005" y="39274"/>
                </a:cubicBezTo>
                <a:cubicBezTo>
                  <a:pt x="1346070" y="38210"/>
                  <a:pt x="1347002" y="36878"/>
                  <a:pt x="1347668" y="35148"/>
                </a:cubicBezTo>
                <a:cubicBezTo>
                  <a:pt x="1348333" y="33550"/>
                  <a:pt x="1348733" y="31687"/>
                  <a:pt x="1348733" y="29690"/>
                </a:cubicBezTo>
                <a:cubicBezTo>
                  <a:pt x="1348733" y="27826"/>
                  <a:pt x="1348333" y="26096"/>
                  <a:pt x="1347668" y="24498"/>
                </a:cubicBezTo>
                <a:cubicBezTo>
                  <a:pt x="1347002" y="22768"/>
                  <a:pt x="1346070" y="21437"/>
                  <a:pt x="1345005" y="20239"/>
                </a:cubicBezTo>
                <a:cubicBezTo>
                  <a:pt x="1343940" y="19174"/>
                  <a:pt x="1342609" y="18242"/>
                  <a:pt x="1341012" y="17576"/>
                </a:cubicBezTo>
                <a:cubicBezTo>
                  <a:pt x="1339547" y="16911"/>
                  <a:pt x="1337949" y="16645"/>
                  <a:pt x="1335953" y="16645"/>
                </a:cubicBezTo>
                <a:close/>
                <a:moveTo>
                  <a:pt x="1553598" y="16645"/>
                </a:moveTo>
                <a:cubicBezTo>
                  <a:pt x="1547740" y="16645"/>
                  <a:pt x="1545212" y="18641"/>
                  <a:pt x="1543614" y="20239"/>
                </a:cubicBezTo>
                <a:cubicBezTo>
                  <a:pt x="1541084" y="22901"/>
                  <a:pt x="1540020" y="25696"/>
                  <a:pt x="1540020" y="29690"/>
                </a:cubicBezTo>
                <a:cubicBezTo>
                  <a:pt x="1540020" y="33817"/>
                  <a:pt x="1541084" y="36612"/>
                  <a:pt x="1543614" y="39141"/>
                </a:cubicBezTo>
                <a:cubicBezTo>
                  <a:pt x="1545212" y="40739"/>
                  <a:pt x="1547740" y="42602"/>
                  <a:pt x="1553598" y="42602"/>
                </a:cubicBezTo>
                <a:cubicBezTo>
                  <a:pt x="1555595" y="42602"/>
                  <a:pt x="1557459" y="42336"/>
                  <a:pt x="1558923" y="41670"/>
                </a:cubicBezTo>
                <a:cubicBezTo>
                  <a:pt x="1560387" y="41138"/>
                  <a:pt x="1561719" y="40339"/>
                  <a:pt x="1562650" y="39274"/>
                </a:cubicBezTo>
                <a:cubicBezTo>
                  <a:pt x="1563715" y="38209"/>
                  <a:pt x="1564647" y="36878"/>
                  <a:pt x="1565313" y="35148"/>
                </a:cubicBezTo>
                <a:cubicBezTo>
                  <a:pt x="1565978" y="33550"/>
                  <a:pt x="1566378" y="31687"/>
                  <a:pt x="1566378" y="29690"/>
                </a:cubicBezTo>
                <a:cubicBezTo>
                  <a:pt x="1566378" y="27826"/>
                  <a:pt x="1565978" y="26096"/>
                  <a:pt x="1565313" y="24498"/>
                </a:cubicBezTo>
                <a:cubicBezTo>
                  <a:pt x="1564647" y="22768"/>
                  <a:pt x="1563715" y="21437"/>
                  <a:pt x="1562650" y="20239"/>
                </a:cubicBezTo>
                <a:cubicBezTo>
                  <a:pt x="1561585" y="19174"/>
                  <a:pt x="1560254" y="18242"/>
                  <a:pt x="1558657" y="17576"/>
                </a:cubicBezTo>
                <a:cubicBezTo>
                  <a:pt x="1557193" y="16911"/>
                  <a:pt x="1555595" y="16645"/>
                  <a:pt x="1553598" y="16645"/>
                </a:cubicBezTo>
                <a:close/>
                <a:moveTo>
                  <a:pt x="1771243" y="16645"/>
                </a:moveTo>
                <a:cubicBezTo>
                  <a:pt x="1765386" y="16645"/>
                  <a:pt x="1762857" y="18641"/>
                  <a:pt x="1761260" y="20239"/>
                </a:cubicBezTo>
                <a:cubicBezTo>
                  <a:pt x="1758730" y="22901"/>
                  <a:pt x="1757666" y="25696"/>
                  <a:pt x="1757666" y="29690"/>
                </a:cubicBezTo>
                <a:cubicBezTo>
                  <a:pt x="1757666" y="33817"/>
                  <a:pt x="1758730" y="36612"/>
                  <a:pt x="1761260" y="39141"/>
                </a:cubicBezTo>
                <a:cubicBezTo>
                  <a:pt x="1762857" y="40739"/>
                  <a:pt x="1765386" y="42602"/>
                  <a:pt x="1771243" y="42602"/>
                </a:cubicBezTo>
                <a:cubicBezTo>
                  <a:pt x="1773240" y="42602"/>
                  <a:pt x="1775104" y="42336"/>
                  <a:pt x="1776568" y="41670"/>
                </a:cubicBezTo>
                <a:cubicBezTo>
                  <a:pt x="1778032" y="41138"/>
                  <a:pt x="1779363" y="40339"/>
                  <a:pt x="1780295" y="39274"/>
                </a:cubicBezTo>
                <a:cubicBezTo>
                  <a:pt x="1781360" y="38209"/>
                  <a:pt x="1782292" y="36878"/>
                  <a:pt x="1782958" y="35148"/>
                </a:cubicBezTo>
                <a:cubicBezTo>
                  <a:pt x="1783623" y="33550"/>
                  <a:pt x="1784023" y="31687"/>
                  <a:pt x="1784023" y="29690"/>
                </a:cubicBezTo>
                <a:cubicBezTo>
                  <a:pt x="1784023" y="27826"/>
                  <a:pt x="1783623" y="26096"/>
                  <a:pt x="1782958" y="24498"/>
                </a:cubicBezTo>
                <a:cubicBezTo>
                  <a:pt x="1782292" y="22768"/>
                  <a:pt x="1781360" y="21437"/>
                  <a:pt x="1780295" y="20239"/>
                </a:cubicBezTo>
                <a:cubicBezTo>
                  <a:pt x="1779230" y="19174"/>
                  <a:pt x="1777899" y="18242"/>
                  <a:pt x="1776302" y="17576"/>
                </a:cubicBezTo>
                <a:cubicBezTo>
                  <a:pt x="1774837" y="16911"/>
                  <a:pt x="1773240" y="16645"/>
                  <a:pt x="1771243" y="16645"/>
                </a:cubicBezTo>
                <a:close/>
                <a:moveTo>
                  <a:pt x="1988888" y="16645"/>
                </a:moveTo>
                <a:cubicBezTo>
                  <a:pt x="1983031" y="16645"/>
                  <a:pt x="1980501" y="18641"/>
                  <a:pt x="1978905" y="20239"/>
                </a:cubicBezTo>
                <a:cubicBezTo>
                  <a:pt x="1976374" y="22901"/>
                  <a:pt x="1975311" y="25696"/>
                  <a:pt x="1975311" y="29690"/>
                </a:cubicBezTo>
                <a:cubicBezTo>
                  <a:pt x="1975311" y="33817"/>
                  <a:pt x="1976374" y="36612"/>
                  <a:pt x="1978905" y="39141"/>
                </a:cubicBezTo>
                <a:cubicBezTo>
                  <a:pt x="1980501" y="40739"/>
                  <a:pt x="1983031" y="42602"/>
                  <a:pt x="1988888" y="42602"/>
                </a:cubicBezTo>
                <a:cubicBezTo>
                  <a:pt x="1990885" y="42602"/>
                  <a:pt x="1992616" y="42336"/>
                  <a:pt x="1994213" y="41670"/>
                </a:cubicBezTo>
                <a:cubicBezTo>
                  <a:pt x="1995811" y="41138"/>
                  <a:pt x="1997009" y="40339"/>
                  <a:pt x="1997940" y="39274"/>
                </a:cubicBezTo>
                <a:cubicBezTo>
                  <a:pt x="1999005" y="38209"/>
                  <a:pt x="1999937" y="36878"/>
                  <a:pt x="2000603" y="35148"/>
                </a:cubicBezTo>
                <a:cubicBezTo>
                  <a:pt x="2001135" y="33550"/>
                  <a:pt x="2001534" y="31687"/>
                  <a:pt x="2001534" y="29690"/>
                </a:cubicBezTo>
                <a:cubicBezTo>
                  <a:pt x="2001534" y="27826"/>
                  <a:pt x="2001268" y="26096"/>
                  <a:pt x="2000603" y="24498"/>
                </a:cubicBezTo>
                <a:cubicBezTo>
                  <a:pt x="1999937" y="22768"/>
                  <a:pt x="1999005" y="21437"/>
                  <a:pt x="1997940" y="20239"/>
                </a:cubicBezTo>
                <a:cubicBezTo>
                  <a:pt x="1996876" y="19174"/>
                  <a:pt x="1995544" y="18242"/>
                  <a:pt x="1993947" y="17576"/>
                </a:cubicBezTo>
                <a:cubicBezTo>
                  <a:pt x="1992483" y="16911"/>
                  <a:pt x="1990885" y="16645"/>
                  <a:pt x="1988888" y="16645"/>
                </a:cubicBezTo>
                <a:close/>
                <a:moveTo>
                  <a:pt x="2206400" y="16645"/>
                </a:moveTo>
                <a:cubicBezTo>
                  <a:pt x="2200543" y="16645"/>
                  <a:pt x="2198014" y="18641"/>
                  <a:pt x="2196417" y="20239"/>
                </a:cubicBezTo>
                <a:cubicBezTo>
                  <a:pt x="2193887" y="22901"/>
                  <a:pt x="2192822" y="25696"/>
                  <a:pt x="2192822" y="29690"/>
                </a:cubicBezTo>
                <a:cubicBezTo>
                  <a:pt x="2192822" y="33817"/>
                  <a:pt x="2193887" y="36612"/>
                  <a:pt x="2196417" y="39141"/>
                </a:cubicBezTo>
                <a:cubicBezTo>
                  <a:pt x="2198014" y="40739"/>
                  <a:pt x="2200543" y="42602"/>
                  <a:pt x="2206400" y="42602"/>
                </a:cubicBezTo>
                <a:cubicBezTo>
                  <a:pt x="2208530" y="42602"/>
                  <a:pt x="2210261" y="42336"/>
                  <a:pt x="2211725" y="41670"/>
                </a:cubicBezTo>
                <a:cubicBezTo>
                  <a:pt x="2213323" y="41138"/>
                  <a:pt x="2214520" y="40339"/>
                  <a:pt x="2215452" y="39274"/>
                </a:cubicBezTo>
                <a:cubicBezTo>
                  <a:pt x="2216517" y="38209"/>
                  <a:pt x="2217449" y="36878"/>
                  <a:pt x="2218115" y="35148"/>
                </a:cubicBezTo>
                <a:cubicBezTo>
                  <a:pt x="2218647" y="33550"/>
                  <a:pt x="2219046" y="31687"/>
                  <a:pt x="2219046" y="29690"/>
                </a:cubicBezTo>
                <a:cubicBezTo>
                  <a:pt x="2219046" y="27826"/>
                  <a:pt x="2218780" y="26096"/>
                  <a:pt x="2218115" y="24498"/>
                </a:cubicBezTo>
                <a:cubicBezTo>
                  <a:pt x="2217449" y="22768"/>
                  <a:pt x="2216517" y="21437"/>
                  <a:pt x="2215452" y="20239"/>
                </a:cubicBezTo>
                <a:cubicBezTo>
                  <a:pt x="2214387" y="19174"/>
                  <a:pt x="2213056" y="18242"/>
                  <a:pt x="2211459" y="17576"/>
                </a:cubicBezTo>
                <a:cubicBezTo>
                  <a:pt x="2209994" y="16911"/>
                  <a:pt x="2208397" y="16645"/>
                  <a:pt x="2206400" y="16645"/>
                </a:cubicBezTo>
                <a:close/>
                <a:moveTo>
                  <a:pt x="2424045" y="16645"/>
                </a:moveTo>
                <a:cubicBezTo>
                  <a:pt x="2418189" y="16645"/>
                  <a:pt x="2415659" y="18641"/>
                  <a:pt x="2414062" y="20239"/>
                </a:cubicBezTo>
                <a:cubicBezTo>
                  <a:pt x="2411532" y="22901"/>
                  <a:pt x="2410468" y="25696"/>
                  <a:pt x="2410468" y="29690"/>
                </a:cubicBezTo>
                <a:cubicBezTo>
                  <a:pt x="2410468" y="33817"/>
                  <a:pt x="2411532" y="36612"/>
                  <a:pt x="2414062" y="39141"/>
                </a:cubicBezTo>
                <a:cubicBezTo>
                  <a:pt x="2415659" y="40739"/>
                  <a:pt x="2418189" y="42602"/>
                  <a:pt x="2424045" y="42602"/>
                </a:cubicBezTo>
                <a:cubicBezTo>
                  <a:pt x="2426175" y="42602"/>
                  <a:pt x="2427907" y="42336"/>
                  <a:pt x="2429371" y="41670"/>
                </a:cubicBezTo>
                <a:cubicBezTo>
                  <a:pt x="2430969" y="41138"/>
                  <a:pt x="2432166" y="40339"/>
                  <a:pt x="2433098" y="39274"/>
                </a:cubicBezTo>
                <a:cubicBezTo>
                  <a:pt x="2434163" y="38209"/>
                  <a:pt x="2435094" y="36878"/>
                  <a:pt x="2435761" y="35148"/>
                </a:cubicBezTo>
                <a:cubicBezTo>
                  <a:pt x="2436292" y="33550"/>
                  <a:pt x="2436692" y="31687"/>
                  <a:pt x="2436692" y="29690"/>
                </a:cubicBezTo>
                <a:cubicBezTo>
                  <a:pt x="2436692" y="27826"/>
                  <a:pt x="2436426" y="26096"/>
                  <a:pt x="2435761" y="24498"/>
                </a:cubicBezTo>
                <a:cubicBezTo>
                  <a:pt x="2435094" y="22768"/>
                  <a:pt x="2434163" y="21437"/>
                  <a:pt x="2433098" y="20239"/>
                </a:cubicBezTo>
                <a:cubicBezTo>
                  <a:pt x="2432034" y="19174"/>
                  <a:pt x="2430702" y="18242"/>
                  <a:pt x="2429105" y="17576"/>
                </a:cubicBezTo>
                <a:cubicBezTo>
                  <a:pt x="2427641" y="16911"/>
                  <a:pt x="2426043" y="16645"/>
                  <a:pt x="2424045" y="16645"/>
                </a:cubicBezTo>
                <a:close/>
                <a:moveTo>
                  <a:pt x="2641691" y="16644"/>
                </a:moveTo>
                <a:cubicBezTo>
                  <a:pt x="2635833" y="16644"/>
                  <a:pt x="2633304" y="18640"/>
                  <a:pt x="2631708" y="20238"/>
                </a:cubicBezTo>
                <a:cubicBezTo>
                  <a:pt x="2629177" y="22901"/>
                  <a:pt x="2628113" y="25696"/>
                  <a:pt x="2628113" y="29690"/>
                </a:cubicBezTo>
                <a:cubicBezTo>
                  <a:pt x="2628113" y="33817"/>
                  <a:pt x="2629177" y="36612"/>
                  <a:pt x="2631708" y="39141"/>
                </a:cubicBezTo>
                <a:cubicBezTo>
                  <a:pt x="2633304" y="40739"/>
                  <a:pt x="2635833" y="42602"/>
                  <a:pt x="2641691" y="42602"/>
                </a:cubicBezTo>
                <a:cubicBezTo>
                  <a:pt x="2643687" y="42602"/>
                  <a:pt x="2645552" y="42336"/>
                  <a:pt x="2647016" y="41670"/>
                </a:cubicBezTo>
                <a:cubicBezTo>
                  <a:pt x="2648613" y="41138"/>
                  <a:pt x="2649811" y="40339"/>
                  <a:pt x="2650743" y="39274"/>
                </a:cubicBezTo>
                <a:cubicBezTo>
                  <a:pt x="2651808" y="38209"/>
                  <a:pt x="2652740" y="36878"/>
                  <a:pt x="2653406" y="35148"/>
                </a:cubicBezTo>
                <a:cubicBezTo>
                  <a:pt x="2653938" y="33550"/>
                  <a:pt x="2654337" y="31687"/>
                  <a:pt x="2654337" y="29690"/>
                </a:cubicBezTo>
                <a:cubicBezTo>
                  <a:pt x="2654337" y="27826"/>
                  <a:pt x="2654071" y="26096"/>
                  <a:pt x="2653406" y="24498"/>
                </a:cubicBezTo>
                <a:cubicBezTo>
                  <a:pt x="2652740" y="22768"/>
                  <a:pt x="2651808" y="21437"/>
                  <a:pt x="2650743" y="20238"/>
                </a:cubicBezTo>
                <a:cubicBezTo>
                  <a:pt x="2649678" y="19174"/>
                  <a:pt x="2648347" y="18241"/>
                  <a:pt x="2646750" y="17575"/>
                </a:cubicBezTo>
                <a:cubicBezTo>
                  <a:pt x="2645285" y="16910"/>
                  <a:pt x="2643687" y="16644"/>
                  <a:pt x="2641691" y="16644"/>
                </a:cubicBezTo>
                <a:close/>
                <a:moveTo>
                  <a:pt x="2859336" y="16644"/>
                </a:moveTo>
                <a:cubicBezTo>
                  <a:pt x="2853479" y="16644"/>
                  <a:pt x="2850950" y="18640"/>
                  <a:pt x="2849353" y="20238"/>
                </a:cubicBezTo>
                <a:cubicBezTo>
                  <a:pt x="2846823" y="22900"/>
                  <a:pt x="2845759" y="25695"/>
                  <a:pt x="2845759" y="29690"/>
                </a:cubicBezTo>
                <a:cubicBezTo>
                  <a:pt x="2845759" y="33817"/>
                  <a:pt x="2846823" y="36612"/>
                  <a:pt x="2849353" y="39141"/>
                </a:cubicBezTo>
                <a:cubicBezTo>
                  <a:pt x="2850950" y="40739"/>
                  <a:pt x="2853479" y="42602"/>
                  <a:pt x="2859336" y="42602"/>
                </a:cubicBezTo>
                <a:cubicBezTo>
                  <a:pt x="2861333" y="42602"/>
                  <a:pt x="2863197" y="42336"/>
                  <a:pt x="2864661" y="41670"/>
                </a:cubicBezTo>
                <a:cubicBezTo>
                  <a:pt x="2866259" y="41138"/>
                  <a:pt x="2867457" y="40339"/>
                  <a:pt x="2868388" y="39274"/>
                </a:cubicBezTo>
                <a:cubicBezTo>
                  <a:pt x="2869453" y="38209"/>
                  <a:pt x="2870385" y="36878"/>
                  <a:pt x="2871051" y="35148"/>
                </a:cubicBezTo>
                <a:cubicBezTo>
                  <a:pt x="2871583" y="33550"/>
                  <a:pt x="2871982" y="31687"/>
                  <a:pt x="2871982" y="29690"/>
                </a:cubicBezTo>
                <a:cubicBezTo>
                  <a:pt x="2871982" y="27826"/>
                  <a:pt x="2871716" y="26095"/>
                  <a:pt x="2871051" y="24497"/>
                </a:cubicBezTo>
                <a:cubicBezTo>
                  <a:pt x="2870385" y="22767"/>
                  <a:pt x="2869453" y="21436"/>
                  <a:pt x="2868388" y="20238"/>
                </a:cubicBezTo>
                <a:cubicBezTo>
                  <a:pt x="2867324" y="19173"/>
                  <a:pt x="2865992" y="18241"/>
                  <a:pt x="2864395" y="17575"/>
                </a:cubicBezTo>
                <a:cubicBezTo>
                  <a:pt x="2862931" y="16910"/>
                  <a:pt x="2861333" y="16644"/>
                  <a:pt x="2859336" y="16644"/>
                </a:cubicBezTo>
                <a:close/>
                <a:moveTo>
                  <a:pt x="3077114" y="16644"/>
                </a:moveTo>
                <a:cubicBezTo>
                  <a:pt x="3071257" y="16644"/>
                  <a:pt x="3068728" y="18640"/>
                  <a:pt x="3067131" y="20238"/>
                </a:cubicBezTo>
                <a:cubicBezTo>
                  <a:pt x="3064468" y="22900"/>
                  <a:pt x="3063404" y="25695"/>
                  <a:pt x="3063404" y="29689"/>
                </a:cubicBezTo>
                <a:cubicBezTo>
                  <a:pt x="3063404" y="33817"/>
                  <a:pt x="3064468" y="36612"/>
                  <a:pt x="3066998" y="39141"/>
                </a:cubicBezTo>
                <a:cubicBezTo>
                  <a:pt x="3068595" y="40739"/>
                  <a:pt x="3071124" y="42602"/>
                  <a:pt x="3076981" y="42602"/>
                </a:cubicBezTo>
                <a:cubicBezTo>
                  <a:pt x="3078978" y="42602"/>
                  <a:pt x="3080708" y="42336"/>
                  <a:pt x="3082439" y="41670"/>
                </a:cubicBezTo>
                <a:cubicBezTo>
                  <a:pt x="3083904" y="41138"/>
                  <a:pt x="3085236" y="40339"/>
                  <a:pt x="3086167" y="39274"/>
                </a:cubicBezTo>
                <a:cubicBezTo>
                  <a:pt x="3087231" y="38209"/>
                  <a:pt x="3088164" y="36878"/>
                  <a:pt x="3088829" y="35148"/>
                </a:cubicBezTo>
                <a:cubicBezTo>
                  <a:pt x="3089494" y="33549"/>
                  <a:pt x="3089762" y="31686"/>
                  <a:pt x="3089762" y="29689"/>
                </a:cubicBezTo>
                <a:cubicBezTo>
                  <a:pt x="3089762" y="27825"/>
                  <a:pt x="3089494" y="26095"/>
                  <a:pt x="3088829" y="24497"/>
                </a:cubicBezTo>
                <a:cubicBezTo>
                  <a:pt x="3088164" y="22767"/>
                  <a:pt x="3087231" y="21436"/>
                  <a:pt x="3086167" y="20238"/>
                </a:cubicBezTo>
                <a:cubicBezTo>
                  <a:pt x="3085102" y="19173"/>
                  <a:pt x="3083770" y="18241"/>
                  <a:pt x="3082174" y="17575"/>
                </a:cubicBezTo>
                <a:cubicBezTo>
                  <a:pt x="3080708" y="16910"/>
                  <a:pt x="3079111" y="16644"/>
                  <a:pt x="3077114" y="16644"/>
                </a:cubicBezTo>
                <a:close/>
                <a:moveTo>
                  <a:pt x="3294626" y="16644"/>
                </a:moveTo>
                <a:cubicBezTo>
                  <a:pt x="3288769" y="16644"/>
                  <a:pt x="3286240" y="18640"/>
                  <a:pt x="3284643" y="20238"/>
                </a:cubicBezTo>
                <a:cubicBezTo>
                  <a:pt x="3282113" y="22900"/>
                  <a:pt x="3281049" y="25695"/>
                  <a:pt x="3281049" y="29689"/>
                </a:cubicBezTo>
                <a:cubicBezTo>
                  <a:pt x="3281049" y="33816"/>
                  <a:pt x="3282113" y="36611"/>
                  <a:pt x="3284643" y="39141"/>
                </a:cubicBezTo>
                <a:cubicBezTo>
                  <a:pt x="3286240" y="40739"/>
                  <a:pt x="3288769" y="42602"/>
                  <a:pt x="3294626" y="42602"/>
                </a:cubicBezTo>
                <a:cubicBezTo>
                  <a:pt x="3296623" y="42602"/>
                  <a:pt x="3298354" y="42336"/>
                  <a:pt x="3299952" y="41670"/>
                </a:cubicBezTo>
                <a:cubicBezTo>
                  <a:pt x="3301416" y="41138"/>
                  <a:pt x="3302748" y="40338"/>
                  <a:pt x="3303679" y="39273"/>
                </a:cubicBezTo>
                <a:cubicBezTo>
                  <a:pt x="3304744" y="38209"/>
                  <a:pt x="3305676" y="36877"/>
                  <a:pt x="3306342" y="35147"/>
                </a:cubicBezTo>
                <a:cubicBezTo>
                  <a:pt x="3307007" y="33549"/>
                  <a:pt x="3307406" y="31686"/>
                  <a:pt x="3307406" y="29689"/>
                </a:cubicBezTo>
                <a:cubicBezTo>
                  <a:pt x="3307406" y="27825"/>
                  <a:pt x="3307007" y="26095"/>
                  <a:pt x="3306342" y="24497"/>
                </a:cubicBezTo>
                <a:cubicBezTo>
                  <a:pt x="3305676" y="22767"/>
                  <a:pt x="3304744" y="21436"/>
                  <a:pt x="3303679" y="20238"/>
                </a:cubicBezTo>
                <a:cubicBezTo>
                  <a:pt x="3302614" y="19173"/>
                  <a:pt x="3301283" y="18241"/>
                  <a:pt x="3299686" y="17575"/>
                </a:cubicBezTo>
                <a:cubicBezTo>
                  <a:pt x="3298222" y="16910"/>
                  <a:pt x="3296623" y="16644"/>
                  <a:pt x="3294626" y="16644"/>
                </a:cubicBezTo>
                <a:close/>
                <a:moveTo>
                  <a:pt x="3512138" y="16644"/>
                </a:moveTo>
                <a:cubicBezTo>
                  <a:pt x="3506282" y="16644"/>
                  <a:pt x="3503753" y="18640"/>
                  <a:pt x="3502155" y="20238"/>
                </a:cubicBezTo>
                <a:cubicBezTo>
                  <a:pt x="3499625" y="22900"/>
                  <a:pt x="3498561" y="25695"/>
                  <a:pt x="3498561" y="29689"/>
                </a:cubicBezTo>
                <a:cubicBezTo>
                  <a:pt x="3498561" y="33816"/>
                  <a:pt x="3499625" y="36611"/>
                  <a:pt x="3502155" y="39140"/>
                </a:cubicBezTo>
                <a:cubicBezTo>
                  <a:pt x="3503753" y="40738"/>
                  <a:pt x="3506282" y="42601"/>
                  <a:pt x="3512138" y="42601"/>
                </a:cubicBezTo>
                <a:cubicBezTo>
                  <a:pt x="3514269" y="42601"/>
                  <a:pt x="3516000" y="42335"/>
                  <a:pt x="3517464" y="41669"/>
                </a:cubicBezTo>
                <a:cubicBezTo>
                  <a:pt x="3518928" y="41137"/>
                  <a:pt x="3520260" y="40338"/>
                  <a:pt x="3521191" y="39273"/>
                </a:cubicBezTo>
                <a:cubicBezTo>
                  <a:pt x="3522256" y="38208"/>
                  <a:pt x="3523188" y="36877"/>
                  <a:pt x="3523854" y="35147"/>
                </a:cubicBezTo>
                <a:cubicBezTo>
                  <a:pt x="3524519" y="33549"/>
                  <a:pt x="3524919" y="31686"/>
                  <a:pt x="3524919" y="29689"/>
                </a:cubicBezTo>
                <a:cubicBezTo>
                  <a:pt x="3524919" y="27825"/>
                  <a:pt x="3524519" y="26095"/>
                  <a:pt x="3523854" y="24497"/>
                </a:cubicBezTo>
                <a:cubicBezTo>
                  <a:pt x="3523188" y="22767"/>
                  <a:pt x="3522256" y="21436"/>
                  <a:pt x="3521191" y="20238"/>
                </a:cubicBezTo>
                <a:cubicBezTo>
                  <a:pt x="3520126" y="19173"/>
                  <a:pt x="3518795" y="18241"/>
                  <a:pt x="3517198" y="17575"/>
                </a:cubicBezTo>
                <a:cubicBezTo>
                  <a:pt x="3515734" y="16910"/>
                  <a:pt x="3514136" y="16644"/>
                  <a:pt x="3512138" y="16644"/>
                </a:cubicBezTo>
                <a:close/>
                <a:moveTo>
                  <a:pt x="3729784" y="16644"/>
                </a:moveTo>
                <a:cubicBezTo>
                  <a:pt x="3723927" y="16644"/>
                  <a:pt x="3721398" y="18640"/>
                  <a:pt x="3719801" y="20238"/>
                </a:cubicBezTo>
                <a:cubicBezTo>
                  <a:pt x="3717271" y="22900"/>
                  <a:pt x="3716207" y="25695"/>
                  <a:pt x="3716207" y="29689"/>
                </a:cubicBezTo>
                <a:cubicBezTo>
                  <a:pt x="3716207" y="33816"/>
                  <a:pt x="3717271" y="36611"/>
                  <a:pt x="3719801" y="39140"/>
                </a:cubicBezTo>
                <a:cubicBezTo>
                  <a:pt x="3721398" y="40738"/>
                  <a:pt x="3723927" y="42601"/>
                  <a:pt x="3729784" y="42601"/>
                </a:cubicBezTo>
                <a:cubicBezTo>
                  <a:pt x="3731914" y="42601"/>
                  <a:pt x="3733645" y="42335"/>
                  <a:pt x="3735109" y="41669"/>
                </a:cubicBezTo>
                <a:cubicBezTo>
                  <a:pt x="3736573" y="41137"/>
                  <a:pt x="3737905" y="40338"/>
                  <a:pt x="3738836" y="39273"/>
                </a:cubicBezTo>
                <a:cubicBezTo>
                  <a:pt x="3739901" y="38208"/>
                  <a:pt x="3740833" y="36877"/>
                  <a:pt x="3741499" y="35147"/>
                </a:cubicBezTo>
                <a:cubicBezTo>
                  <a:pt x="3742164" y="33549"/>
                  <a:pt x="3742563" y="31686"/>
                  <a:pt x="3742563" y="29689"/>
                </a:cubicBezTo>
                <a:cubicBezTo>
                  <a:pt x="3742563" y="27825"/>
                  <a:pt x="3742164" y="26095"/>
                  <a:pt x="3741499" y="24497"/>
                </a:cubicBezTo>
                <a:cubicBezTo>
                  <a:pt x="3740833" y="22767"/>
                  <a:pt x="3739901" y="21436"/>
                  <a:pt x="3738836" y="20238"/>
                </a:cubicBezTo>
                <a:cubicBezTo>
                  <a:pt x="3737771" y="19173"/>
                  <a:pt x="3736440" y="18241"/>
                  <a:pt x="3734843" y="17575"/>
                </a:cubicBezTo>
                <a:cubicBezTo>
                  <a:pt x="3733378" y="16910"/>
                  <a:pt x="3731781" y="16644"/>
                  <a:pt x="3729784" y="16644"/>
                </a:cubicBezTo>
                <a:close/>
                <a:moveTo>
                  <a:pt x="3947430" y="16644"/>
                </a:moveTo>
                <a:cubicBezTo>
                  <a:pt x="3941573" y="16644"/>
                  <a:pt x="3939044" y="18640"/>
                  <a:pt x="3937447" y="20238"/>
                </a:cubicBezTo>
                <a:cubicBezTo>
                  <a:pt x="3934917" y="22900"/>
                  <a:pt x="3933853" y="25695"/>
                  <a:pt x="3933853" y="29689"/>
                </a:cubicBezTo>
                <a:cubicBezTo>
                  <a:pt x="3933853" y="33816"/>
                  <a:pt x="3934917" y="36611"/>
                  <a:pt x="3937447" y="39140"/>
                </a:cubicBezTo>
                <a:cubicBezTo>
                  <a:pt x="3939044" y="40738"/>
                  <a:pt x="3941573" y="42601"/>
                  <a:pt x="3947430" y="42601"/>
                </a:cubicBezTo>
                <a:cubicBezTo>
                  <a:pt x="3949427" y="42601"/>
                  <a:pt x="3951291" y="42335"/>
                  <a:pt x="3952755" y="41669"/>
                </a:cubicBezTo>
                <a:cubicBezTo>
                  <a:pt x="3954220" y="41137"/>
                  <a:pt x="3955550" y="40338"/>
                  <a:pt x="3956482" y="39273"/>
                </a:cubicBezTo>
                <a:cubicBezTo>
                  <a:pt x="3957547" y="38208"/>
                  <a:pt x="3958479" y="36877"/>
                  <a:pt x="3959145" y="35147"/>
                </a:cubicBezTo>
                <a:cubicBezTo>
                  <a:pt x="3959810" y="33549"/>
                  <a:pt x="3960209" y="31686"/>
                  <a:pt x="3960209" y="29689"/>
                </a:cubicBezTo>
                <a:cubicBezTo>
                  <a:pt x="3960209" y="27825"/>
                  <a:pt x="3959810" y="26095"/>
                  <a:pt x="3959145" y="24497"/>
                </a:cubicBezTo>
                <a:cubicBezTo>
                  <a:pt x="3958479" y="22767"/>
                  <a:pt x="3957547" y="21436"/>
                  <a:pt x="3956482" y="20238"/>
                </a:cubicBezTo>
                <a:cubicBezTo>
                  <a:pt x="3955417" y="19173"/>
                  <a:pt x="3954086" y="18241"/>
                  <a:pt x="3952489" y="17575"/>
                </a:cubicBezTo>
                <a:cubicBezTo>
                  <a:pt x="3951024" y="16910"/>
                  <a:pt x="3949427" y="16644"/>
                  <a:pt x="3947430" y="16644"/>
                </a:cubicBezTo>
                <a:close/>
                <a:moveTo>
                  <a:pt x="4165068" y="16644"/>
                </a:moveTo>
                <a:cubicBezTo>
                  <a:pt x="4159211" y="16644"/>
                  <a:pt x="4156681" y="18640"/>
                  <a:pt x="4155084" y="20238"/>
                </a:cubicBezTo>
                <a:cubicBezTo>
                  <a:pt x="4152555" y="22900"/>
                  <a:pt x="4151490" y="25695"/>
                  <a:pt x="4151490" y="29689"/>
                </a:cubicBezTo>
                <a:cubicBezTo>
                  <a:pt x="4151490" y="33816"/>
                  <a:pt x="4152555" y="36611"/>
                  <a:pt x="4155084" y="39140"/>
                </a:cubicBezTo>
                <a:cubicBezTo>
                  <a:pt x="4156681" y="40738"/>
                  <a:pt x="4159211" y="42601"/>
                  <a:pt x="4165068" y="42601"/>
                </a:cubicBezTo>
                <a:cubicBezTo>
                  <a:pt x="4167064" y="42601"/>
                  <a:pt x="4168928" y="42335"/>
                  <a:pt x="4170392" y="41669"/>
                </a:cubicBezTo>
                <a:cubicBezTo>
                  <a:pt x="4171856" y="41137"/>
                  <a:pt x="4173188" y="40338"/>
                  <a:pt x="4174119" y="39273"/>
                </a:cubicBezTo>
                <a:cubicBezTo>
                  <a:pt x="4175184" y="38208"/>
                  <a:pt x="4176116" y="36877"/>
                  <a:pt x="4176782" y="35147"/>
                </a:cubicBezTo>
                <a:cubicBezTo>
                  <a:pt x="4177447" y="33549"/>
                  <a:pt x="4177847" y="31686"/>
                  <a:pt x="4177847" y="29689"/>
                </a:cubicBezTo>
                <a:cubicBezTo>
                  <a:pt x="4177847" y="27825"/>
                  <a:pt x="4177447" y="26095"/>
                  <a:pt x="4176782" y="24497"/>
                </a:cubicBezTo>
                <a:cubicBezTo>
                  <a:pt x="4176116" y="22767"/>
                  <a:pt x="4175184" y="21436"/>
                  <a:pt x="4174119" y="20238"/>
                </a:cubicBezTo>
                <a:cubicBezTo>
                  <a:pt x="4173054" y="19173"/>
                  <a:pt x="4171723" y="18241"/>
                  <a:pt x="4170126" y="17575"/>
                </a:cubicBezTo>
                <a:cubicBezTo>
                  <a:pt x="4168662" y="16910"/>
                  <a:pt x="4167064" y="16644"/>
                  <a:pt x="4165068" y="16644"/>
                </a:cubicBezTo>
                <a:close/>
                <a:moveTo>
                  <a:pt x="4382713" y="16644"/>
                </a:moveTo>
                <a:cubicBezTo>
                  <a:pt x="4376857" y="16644"/>
                  <a:pt x="4374327" y="18640"/>
                  <a:pt x="4372730" y="20238"/>
                </a:cubicBezTo>
                <a:cubicBezTo>
                  <a:pt x="4370201" y="22900"/>
                  <a:pt x="4369136" y="25695"/>
                  <a:pt x="4369136" y="29689"/>
                </a:cubicBezTo>
                <a:cubicBezTo>
                  <a:pt x="4369136" y="33816"/>
                  <a:pt x="4370201" y="36611"/>
                  <a:pt x="4372730" y="39140"/>
                </a:cubicBezTo>
                <a:cubicBezTo>
                  <a:pt x="4374327" y="40738"/>
                  <a:pt x="4376857" y="42601"/>
                  <a:pt x="4382713" y="42601"/>
                </a:cubicBezTo>
                <a:cubicBezTo>
                  <a:pt x="4384710" y="42601"/>
                  <a:pt x="4386441" y="42335"/>
                  <a:pt x="4388038" y="41669"/>
                </a:cubicBezTo>
                <a:cubicBezTo>
                  <a:pt x="4389502" y="41137"/>
                  <a:pt x="4390834" y="40338"/>
                  <a:pt x="4391765" y="39273"/>
                </a:cubicBezTo>
                <a:cubicBezTo>
                  <a:pt x="4392830" y="38208"/>
                  <a:pt x="4393762" y="36877"/>
                  <a:pt x="4394428" y="35147"/>
                </a:cubicBezTo>
                <a:cubicBezTo>
                  <a:pt x="4395093" y="33549"/>
                  <a:pt x="4395493" y="31686"/>
                  <a:pt x="4395493" y="29689"/>
                </a:cubicBezTo>
                <a:cubicBezTo>
                  <a:pt x="4395493" y="27825"/>
                  <a:pt x="4395093" y="26095"/>
                  <a:pt x="4394428" y="24497"/>
                </a:cubicBezTo>
                <a:cubicBezTo>
                  <a:pt x="4393762" y="22767"/>
                  <a:pt x="4392830" y="21436"/>
                  <a:pt x="4391765" y="20238"/>
                </a:cubicBezTo>
                <a:cubicBezTo>
                  <a:pt x="4390700" y="19173"/>
                  <a:pt x="4389369" y="18241"/>
                  <a:pt x="4387772" y="17575"/>
                </a:cubicBezTo>
                <a:cubicBezTo>
                  <a:pt x="4386308" y="16910"/>
                  <a:pt x="4384710" y="16644"/>
                  <a:pt x="4382713" y="16644"/>
                </a:cubicBezTo>
                <a:close/>
                <a:moveTo>
                  <a:pt x="4600226" y="16643"/>
                </a:moveTo>
                <a:cubicBezTo>
                  <a:pt x="4594369" y="16643"/>
                  <a:pt x="4591839" y="18639"/>
                  <a:pt x="4590242" y="20237"/>
                </a:cubicBezTo>
                <a:cubicBezTo>
                  <a:pt x="4587713" y="22900"/>
                  <a:pt x="4586648" y="25695"/>
                  <a:pt x="4586648" y="29689"/>
                </a:cubicBezTo>
                <a:cubicBezTo>
                  <a:pt x="4586648" y="33816"/>
                  <a:pt x="4587713" y="36611"/>
                  <a:pt x="4590242" y="39140"/>
                </a:cubicBezTo>
                <a:cubicBezTo>
                  <a:pt x="4591839" y="40738"/>
                  <a:pt x="4594369" y="42601"/>
                  <a:pt x="4600226" y="42601"/>
                </a:cubicBezTo>
                <a:cubicBezTo>
                  <a:pt x="4602355" y="42601"/>
                  <a:pt x="4604086" y="42335"/>
                  <a:pt x="4605550" y="41669"/>
                </a:cubicBezTo>
                <a:cubicBezTo>
                  <a:pt x="4607148" y="41137"/>
                  <a:pt x="4608346" y="40338"/>
                  <a:pt x="4609277" y="39273"/>
                </a:cubicBezTo>
                <a:cubicBezTo>
                  <a:pt x="4610342" y="38208"/>
                  <a:pt x="4611274" y="36877"/>
                  <a:pt x="4611940" y="35147"/>
                </a:cubicBezTo>
                <a:cubicBezTo>
                  <a:pt x="4612605" y="33549"/>
                  <a:pt x="4613005" y="31686"/>
                  <a:pt x="4613005" y="29689"/>
                </a:cubicBezTo>
                <a:cubicBezTo>
                  <a:pt x="4613005" y="27825"/>
                  <a:pt x="4612605" y="26095"/>
                  <a:pt x="4611940" y="24497"/>
                </a:cubicBezTo>
                <a:cubicBezTo>
                  <a:pt x="4611274" y="22767"/>
                  <a:pt x="4610342" y="21436"/>
                  <a:pt x="4609277" y="20237"/>
                </a:cubicBezTo>
                <a:cubicBezTo>
                  <a:pt x="4608212" y="19173"/>
                  <a:pt x="4606881" y="18240"/>
                  <a:pt x="4605284" y="17574"/>
                </a:cubicBezTo>
                <a:cubicBezTo>
                  <a:pt x="4603820" y="16909"/>
                  <a:pt x="4602222" y="16643"/>
                  <a:pt x="4600226" y="16643"/>
                </a:cubicBezTo>
                <a:close/>
                <a:moveTo>
                  <a:pt x="4817870" y="16643"/>
                </a:moveTo>
                <a:cubicBezTo>
                  <a:pt x="4812013" y="16643"/>
                  <a:pt x="4809484" y="18639"/>
                  <a:pt x="4807887" y="20237"/>
                </a:cubicBezTo>
                <a:cubicBezTo>
                  <a:pt x="4805357" y="22899"/>
                  <a:pt x="4804293" y="25694"/>
                  <a:pt x="4804293" y="29689"/>
                </a:cubicBezTo>
                <a:cubicBezTo>
                  <a:pt x="4804293" y="33816"/>
                  <a:pt x="4805357" y="36611"/>
                  <a:pt x="4807887" y="39140"/>
                </a:cubicBezTo>
                <a:cubicBezTo>
                  <a:pt x="4809484" y="40738"/>
                  <a:pt x="4812013" y="42601"/>
                  <a:pt x="4817870" y="42601"/>
                </a:cubicBezTo>
                <a:cubicBezTo>
                  <a:pt x="4820000" y="42601"/>
                  <a:pt x="4821731" y="42335"/>
                  <a:pt x="4823195" y="41669"/>
                </a:cubicBezTo>
                <a:cubicBezTo>
                  <a:pt x="4824659" y="41137"/>
                  <a:pt x="4825857" y="40338"/>
                  <a:pt x="4826922" y="39273"/>
                </a:cubicBezTo>
                <a:cubicBezTo>
                  <a:pt x="4827987" y="38208"/>
                  <a:pt x="4828919" y="36877"/>
                  <a:pt x="4829585" y="35147"/>
                </a:cubicBezTo>
                <a:cubicBezTo>
                  <a:pt x="4830383" y="33549"/>
                  <a:pt x="4830650" y="31686"/>
                  <a:pt x="4830650" y="29689"/>
                </a:cubicBezTo>
                <a:cubicBezTo>
                  <a:pt x="4830650" y="27825"/>
                  <a:pt x="4830250" y="26094"/>
                  <a:pt x="4829585" y="24496"/>
                </a:cubicBezTo>
                <a:cubicBezTo>
                  <a:pt x="4828919" y="22766"/>
                  <a:pt x="4827987" y="21435"/>
                  <a:pt x="4826922" y="20237"/>
                </a:cubicBezTo>
                <a:cubicBezTo>
                  <a:pt x="4825857" y="19172"/>
                  <a:pt x="4824526" y="18240"/>
                  <a:pt x="4822929" y="17574"/>
                </a:cubicBezTo>
                <a:cubicBezTo>
                  <a:pt x="4821465" y="16909"/>
                  <a:pt x="4819734" y="16643"/>
                  <a:pt x="4817870" y="16643"/>
                </a:cubicBezTo>
                <a:close/>
                <a:moveTo>
                  <a:pt x="5035515" y="16643"/>
                </a:moveTo>
                <a:cubicBezTo>
                  <a:pt x="5029658" y="16643"/>
                  <a:pt x="5027129" y="18639"/>
                  <a:pt x="5025532" y="20237"/>
                </a:cubicBezTo>
                <a:cubicBezTo>
                  <a:pt x="5023002" y="22899"/>
                  <a:pt x="5021938" y="25694"/>
                  <a:pt x="5021938" y="29688"/>
                </a:cubicBezTo>
                <a:cubicBezTo>
                  <a:pt x="5021938" y="33816"/>
                  <a:pt x="5023002" y="36611"/>
                  <a:pt x="5025532" y="39140"/>
                </a:cubicBezTo>
                <a:cubicBezTo>
                  <a:pt x="5027129" y="40738"/>
                  <a:pt x="5029658" y="42601"/>
                  <a:pt x="5035515" y="42601"/>
                </a:cubicBezTo>
                <a:cubicBezTo>
                  <a:pt x="5037645" y="42601"/>
                  <a:pt x="5039376" y="42335"/>
                  <a:pt x="5040840" y="41669"/>
                </a:cubicBezTo>
                <a:cubicBezTo>
                  <a:pt x="5042304" y="41137"/>
                  <a:pt x="5043636" y="40338"/>
                  <a:pt x="5044567" y="39273"/>
                </a:cubicBezTo>
                <a:cubicBezTo>
                  <a:pt x="5045632" y="38208"/>
                  <a:pt x="5046564" y="36877"/>
                  <a:pt x="5047230" y="35147"/>
                </a:cubicBezTo>
                <a:cubicBezTo>
                  <a:pt x="5048028" y="33548"/>
                  <a:pt x="5048294" y="31685"/>
                  <a:pt x="5048294" y="29688"/>
                </a:cubicBezTo>
                <a:cubicBezTo>
                  <a:pt x="5048294" y="27824"/>
                  <a:pt x="5047895" y="26094"/>
                  <a:pt x="5047230" y="24496"/>
                </a:cubicBezTo>
                <a:cubicBezTo>
                  <a:pt x="5046564" y="22766"/>
                  <a:pt x="5045632" y="21435"/>
                  <a:pt x="5044567" y="20237"/>
                </a:cubicBezTo>
                <a:cubicBezTo>
                  <a:pt x="5043502" y="19172"/>
                  <a:pt x="5042171" y="18240"/>
                  <a:pt x="5040574" y="17574"/>
                </a:cubicBezTo>
                <a:cubicBezTo>
                  <a:pt x="5039110" y="16909"/>
                  <a:pt x="5037379" y="16643"/>
                  <a:pt x="5035515" y="16643"/>
                </a:cubicBezTo>
                <a:close/>
                <a:moveTo>
                  <a:pt x="5253160" y="16643"/>
                </a:moveTo>
                <a:cubicBezTo>
                  <a:pt x="5247303" y="16643"/>
                  <a:pt x="5244774" y="18639"/>
                  <a:pt x="5243177" y="20237"/>
                </a:cubicBezTo>
                <a:cubicBezTo>
                  <a:pt x="5240647" y="22899"/>
                  <a:pt x="5239583" y="25694"/>
                  <a:pt x="5239583" y="29688"/>
                </a:cubicBezTo>
                <a:cubicBezTo>
                  <a:pt x="5239583" y="33815"/>
                  <a:pt x="5240647" y="36610"/>
                  <a:pt x="5243177" y="39140"/>
                </a:cubicBezTo>
                <a:cubicBezTo>
                  <a:pt x="5244774" y="40738"/>
                  <a:pt x="5247303" y="42601"/>
                  <a:pt x="5253160" y="42601"/>
                </a:cubicBezTo>
                <a:cubicBezTo>
                  <a:pt x="5255157" y="42601"/>
                  <a:pt x="5257021" y="42335"/>
                  <a:pt x="5258485" y="41669"/>
                </a:cubicBezTo>
                <a:cubicBezTo>
                  <a:pt x="5259949" y="41137"/>
                  <a:pt x="5261280" y="40337"/>
                  <a:pt x="5262212" y="39272"/>
                </a:cubicBezTo>
                <a:cubicBezTo>
                  <a:pt x="5263277" y="38208"/>
                  <a:pt x="5264209" y="36876"/>
                  <a:pt x="5264875" y="35146"/>
                </a:cubicBezTo>
                <a:cubicBezTo>
                  <a:pt x="5265673" y="33548"/>
                  <a:pt x="5265939" y="31685"/>
                  <a:pt x="5265939" y="29688"/>
                </a:cubicBezTo>
                <a:cubicBezTo>
                  <a:pt x="5265939" y="27824"/>
                  <a:pt x="5265540" y="26094"/>
                  <a:pt x="5264875" y="24496"/>
                </a:cubicBezTo>
                <a:cubicBezTo>
                  <a:pt x="5264209" y="22766"/>
                  <a:pt x="5263277" y="21435"/>
                  <a:pt x="5262212" y="20237"/>
                </a:cubicBezTo>
                <a:cubicBezTo>
                  <a:pt x="5261147" y="19172"/>
                  <a:pt x="5259816" y="18240"/>
                  <a:pt x="5258219" y="17574"/>
                </a:cubicBezTo>
                <a:cubicBezTo>
                  <a:pt x="5256754" y="16909"/>
                  <a:pt x="5255024" y="16643"/>
                  <a:pt x="5253160" y="16643"/>
                </a:cubicBezTo>
                <a:close/>
                <a:moveTo>
                  <a:pt x="5470806" y="16643"/>
                </a:moveTo>
                <a:cubicBezTo>
                  <a:pt x="5464949" y="16643"/>
                  <a:pt x="5462419" y="18639"/>
                  <a:pt x="5460822" y="20237"/>
                </a:cubicBezTo>
                <a:cubicBezTo>
                  <a:pt x="5458293" y="22899"/>
                  <a:pt x="5457228" y="25694"/>
                  <a:pt x="5457228" y="29688"/>
                </a:cubicBezTo>
                <a:cubicBezTo>
                  <a:pt x="5457228" y="33815"/>
                  <a:pt x="5458293" y="36610"/>
                  <a:pt x="5460822" y="39139"/>
                </a:cubicBezTo>
                <a:cubicBezTo>
                  <a:pt x="5462419" y="40737"/>
                  <a:pt x="5464949" y="42600"/>
                  <a:pt x="5470806" y="42600"/>
                </a:cubicBezTo>
                <a:cubicBezTo>
                  <a:pt x="5472802" y="42600"/>
                  <a:pt x="5474666" y="42334"/>
                  <a:pt x="5476130" y="41668"/>
                </a:cubicBezTo>
                <a:cubicBezTo>
                  <a:pt x="5477594" y="41136"/>
                  <a:pt x="5478926" y="40337"/>
                  <a:pt x="5479857" y="39272"/>
                </a:cubicBezTo>
                <a:cubicBezTo>
                  <a:pt x="5480922" y="38207"/>
                  <a:pt x="5481854" y="36876"/>
                  <a:pt x="5482520" y="35146"/>
                </a:cubicBezTo>
                <a:cubicBezTo>
                  <a:pt x="5483319" y="33548"/>
                  <a:pt x="5483585" y="31685"/>
                  <a:pt x="5483585" y="29688"/>
                </a:cubicBezTo>
                <a:cubicBezTo>
                  <a:pt x="5483585" y="27824"/>
                  <a:pt x="5483185" y="26094"/>
                  <a:pt x="5482520" y="24496"/>
                </a:cubicBezTo>
                <a:cubicBezTo>
                  <a:pt x="5481854" y="22766"/>
                  <a:pt x="5480922" y="21435"/>
                  <a:pt x="5479857" y="20237"/>
                </a:cubicBezTo>
                <a:cubicBezTo>
                  <a:pt x="5478793" y="19172"/>
                  <a:pt x="5477461" y="18240"/>
                  <a:pt x="5475864" y="17574"/>
                </a:cubicBezTo>
                <a:cubicBezTo>
                  <a:pt x="5474400" y="16909"/>
                  <a:pt x="5472669" y="16643"/>
                  <a:pt x="5470806" y="16643"/>
                </a:cubicBezTo>
                <a:close/>
                <a:moveTo>
                  <a:pt x="5688451" y="16643"/>
                </a:moveTo>
                <a:cubicBezTo>
                  <a:pt x="5682594" y="16643"/>
                  <a:pt x="5680064" y="18639"/>
                  <a:pt x="5678467" y="20237"/>
                </a:cubicBezTo>
                <a:cubicBezTo>
                  <a:pt x="5675938" y="22899"/>
                  <a:pt x="5674873" y="25694"/>
                  <a:pt x="5674873" y="29688"/>
                </a:cubicBezTo>
                <a:cubicBezTo>
                  <a:pt x="5674873" y="33815"/>
                  <a:pt x="5675938" y="36610"/>
                  <a:pt x="5678467" y="39139"/>
                </a:cubicBezTo>
                <a:cubicBezTo>
                  <a:pt x="5680064" y="40737"/>
                  <a:pt x="5682594" y="42600"/>
                  <a:pt x="5688451" y="42600"/>
                </a:cubicBezTo>
                <a:cubicBezTo>
                  <a:pt x="5690447" y="42600"/>
                  <a:pt x="5692178" y="42334"/>
                  <a:pt x="5693775" y="41668"/>
                </a:cubicBezTo>
                <a:cubicBezTo>
                  <a:pt x="5695239" y="41136"/>
                  <a:pt x="5696571" y="40337"/>
                  <a:pt x="5697502" y="39272"/>
                </a:cubicBezTo>
                <a:cubicBezTo>
                  <a:pt x="5698567" y="38207"/>
                  <a:pt x="5699499" y="36876"/>
                  <a:pt x="5700165" y="35146"/>
                </a:cubicBezTo>
                <a:cubicBezTo>
                  <a:pt x="5700830" y="33548"/>
                  <a:pt x="5701230" y="31685"/>
                  <a:pt x="5701230" y="29688"/>
                </a:cubicBezTo>
                <a:cubicBezTo>
                  <a:pt x="5701230" y="27824"/>
                  <a:pt x="5700830" y="26094"/>
                  <a:pt x="5700165" y="24496"/>
                </a:cubicBezTo>
                <a:cubicBezTo>
                  <a:pt x="5699499" y="22766"/>
                  <a:pt x="5698567" y="21435"/>
                  <a:pt x="5697502" y="20237"/>
                </a:cubicBezTo>
                <a:cubicBezTo>
                  <a:pt x="5696437" y="19172"/>
                  <a:pt x="5695106" y="18240"/>
                  <a:pt x="5693509" y="17574"/>
                </a:cubicBezTo>
                <a:cubicBezTo>
                  <a:pt x="5692045" y="16909"/>
                  <a:pt x="5690314" y="16643"/>
                  <a:pt x="5688451" y="16643"/>
                </a:cubicBezTo>
                <a:close/>
                <a:moveTo>
                  <a:pt x="5905963" y="16643"/>
                </a:moveTo>
                <a:cubicBezTo>
                  <a:pt x="5900106" y="16643"/>
                  <a:pt x="5897576" y="18639"/>
                  <a:pt x="5895979" y="20237"/>
                </a:cubicBezTo>
                <a:cubicBezTo>
                  <a:pt x="5893450" y="22899"/>
                  <a:pt x="5892385" y="25694"/>
                  <a:pt x="5892385" y="29688"/>
                </a:cubicBezTo>
                <a:cubicBezTo>
                  <a:pt x="5892385" y="33815"/>
                  <a:pt x="5893450" y="36610"/>
                  <a:pt x="5895979" y="39139"/>
                </a:cubicBezTo>
                <a:cubicBezTo>
                  <a:pt x="5897576" y="40737"/>
                  <a:pt x="5900106" y="42600"/>
                  <a:pt x="5905963" y="42600"/>
                </a:cubicBezTo>
                <a:cubicBezTo>
                  <a:pt x="5908093" y="42600"/>
                  <a:pt x="5909823" y="42334"/>
                  <a:pt x="5911287" y="41668"/>
                </a:cubicBezTo>
                <a:cubicBezTo>
                  <a:pt x="5912751" y="41136"/>
                  <a:pt x="5914083" y="40337"/>
                  <a:pt x="5915014" y="39272"/>
                </a:cubicBezTo>
                <a:cubicBezTo>
                  <a:pt x="5916079" y="38207"/>
                  <a:pt x="5917011" y="36876"/>
                  <a:pt x="5917677" y="35146"/>
                </a:cubicBezTo>
                <a:cubicBezTo>
                  <a:pt x="5918342" y="33548"/>
                  <a:pt x="5918742" y="31685"/>
                  <a:pt x="5918742" y="29688"/>
                </a:cubicBezTo>
                <a:cubicBezTo>
                  <a:pt x="5918742" y="27824"/>
                  <a:pt x="5918342" y="26094"/>
                  <a:pt x="5917677" y="24496"/>
                </a:cubicBezTo>
                <a:cubicBezTo>
                  <a:pt x="5917011" y="22766"/>
                  <a:pt x="5916079" y="21435"/>
                  <a:pt x="5915014" y="20237"/>
                </a:cubicBezTo>
                <a:cubicBezTo>
                  <a:pt x="5913950" y="19172"/>
                  <a:pt x="5912618" y="18240"/>
                  <a:pt x="5911021" y="17574"/>
                </a:cubicBezTo>
                <a:cubicBezTo>
                  <a:pt x="5909557" y="16909"/>
                  <a:pt x="5907826" y="16643"/>
                  <a:pt x="5905963" y="16643"/>
                </a:cubicBezTo>
                <a:close/>
                <a:moveTo>
                  <a:pt x="6123608" y="16643"/>
                </a:moveTo>
                <a:cubicBezTo>
                  <a:pt x="6117751" y="16643"/>
                  <a:pt x="6115221" y="18639"/>
                  <a:pt x="6113624" y="20237"/>
                </a:cubicBezTo>
                <a:cubicBezTo>
                  <a:pt x="6111095" y="22899"/>
                  <a:pt x="6110030" y="25694"/>
                  <a:pt x="6110030" y="29688"/>
                </a:cubicBezTo>
                <a:cubicBezTo>
                  <a:pt x="6110030" y="33815"/>
                  <a:pt x="6111095" y="36610"/>
                  <a:pt x="6113624" y="39139"/>
                </a:cubicBezTo>
                <a:cubicBezTo>
                  <a:pt x="6115221" y="40737"/>
                  <a:pt x="6117751" y="42600"/>
                  <a:pt x="6123608" y="42600"/>
                </a:cubicBezTo>
                <a:cubicBezTo>
                  <a:pt x="6125737" y="42600"/>
                  <a:pt x="6127468" y="42334"/>
                  <a:pt x="6128932" y="41668"/>
                </a:cubicBezTo>
                <a:cubicBezTo>
                  <a:pt x="6130530" y="41136"/>
                  <a:pt x="6131728" y="40337"/>
                  <a:pt x="6132659" y="39272"/>
                </a:cubicBezTo>
                <a:cubicBezTo>
                  <a:pt x="6133724" y="38207"/>
                  <a:pt x="6134656" y="36876"/>
                  <a:pt x="6135322" y="35146"/>
                </a:cubicBezTo>
                <a:cubicBezTo>
                  <a:pt x="6135987" y="33548"/>
                  <a:pt x="6136387" y="31685"/>
                  <a:pt x="6136387" y="29688"/>
                </a:cubicBezTo>
                <a:cubicBezTo>
                  <a:pt x="6136387" y="27824"/>
                  <a:pt x="6135987" y="26094"/>
                  <a:pt x="6135322" y="24496"/>
                </a:cubicBezTo>
                <a:cubicBezTo>
                  <a:pt x="6134656" y="22766"/>
                  <a:pt x="6133724" y="21435"/>
                  <a:pt x="6132659" y="20237"/>
                </a:cubicBezTo>
                <a:cubicBezTo>
                  <a:pt x="6131594" y="19172"/>
                  <a:pt x="6130263" y="18240"/>
                  <a:pt x="6128666" y="17574"/>
                </a:cubicBezTo>
                <a:cubicBezTo>
                  <a:pt x="6127202" y="16909"/>
                  <a:pt x="6125604" y="16643"/>
                  <a:pt x="6123608" y="16643"/>
                </a:cubicBezTo>
                <a:close/>
                <a:moveTo>
                  <a:pt x="6341253" y="16643"/>
                </a:moveTo>
                <a:cubicBezTo>
                  <a:pt x="6335396" y="16643"/>
                  <a:pt x="6332867" y="18639"/>
                  <a:pt x="6331270" y="20237"/>
                </a:cubicBezTo>
                <a:cubicBezTo>
                  <a:pt x="6328740" y="22899"/>
                  <a:pt x="6327675" y="25694"/>
                  <a:pt x="6327675" y="29688"/>
                </a:cubicBezTo>
                <a:cubicBezTo>
                  <a:pt x="6327675" y="33815"/>
                  <a:pt x="6328740" y="36610"/>
                  <a:pt x="6331270" y="39139"/>
                </a:cubicBezTo>
                <a:cubicBezTo>
                  <a:pt x="6332867" y="40737"/>
                  <a:pt x="6335396" y="42600"/>
                  <a:pt x="6341253" y="42600"/>
                </a:cubicBezTo>
                <a:cubicBezTo>
                  <a:pt x="6343250" y="42600"/>
                  <a:pt x="6345114" y="42334"/>
                  <a:pt x="6346578" y="41668"/>
                </a:cubicBezTo>
                <a:cubicBezTo>
                  <a:pt x="6348042" y="41136"/>
                  <a:pt x="6349373" y="40337"/>
                  <a:pt x="6350305" y="39272"/>
                </a:cubicBezTo>
                <a:cubicBezTo>
                  <a:pt x="6351370" y="38207"/>
                  <a:pt x="6352302" y="36876"/>
                  <a:pt x="6352968" y="35146"/>
                </a:cubicBezTo>
                <a:cubicBezTo>
                  <a:pt x="6353766" y="33548"/>
                  <a:pt x="6354033" y="31685"/>
                  <a:pt x="6354033" y="29688"/>
                </a:cubicBezTo>
                <a:cubicBezTo>
                  <a:pt x="6354033" y="27824"/>
                  <a:pt x="6353633" y="26094"/>
                  <a:pt x="6352968" y="24496"/>
                </a:cubicBezTo>
                <a:cubicBezTo>
                  <a:pt x="6352302" y="22766"/>
                  <a:pt x="6351370" y="21435"/>
                  <a:pt x="6350305" y="20237"/>
                </a:cubicBezTo>
                <a:cubicBezTo>
                  <a:pt x="6349241" y="19172"/>
                  <a:pt x="6347909" y="18240"/>
                  <a:pt x="6346312" y="17574"/>
                </a:cubicBezTo>
                <a:cubicBezTo>
                  <a:pt x="6344848" y="16909"/>
                  <a:pt x="6343250" y="16643"/>
                  <a:pt x="6341253" y="16643"/>
                </a:cubicBezTo>
                <a:close/>
                <a:moveTo>
                  <a:pt x="6558899" y="16642"/>
                </a:moveTo>
                <a:cubicBezTo>
                  <a:pt x="6553042" y="16642"/>
                  <a:pt x="6550512" y="18638"/>
                  <a:pt x="6548915" y="20236"/>
                </a:cubicBezTo>
                <a:cubicBezTo>
                  <a:pt x="6546386" y="22899"/>
                  <a:pt x="6545321" y="25694"/>
                  <a:pt x="6545321" y="29688"/>
                </a:cubicBezTo>
                <a:cubicBezTo>
                  <a:pt x="6545321" y="33815"/>
                  <a:pt x="6546386" y="36610"/>
                  <a:pt x="6548915" y="39139"/>
                </a:cubicBezTo>
                <a:cubicBezTo>
                  <a:pt x="6550512" y="40737"/>
                  <a:pt x="6553042" y="42600"/>
                  <a:pt x="6558899" y="42600"/>
                </a:cubicBezTo>
                <a:cubicBezTo>
                  <a:pt x="6560895" y="42600"/>
                  <a:pt x="6562759" y="42334"/>
                  <a:pt x="6564223" y="41668"/>
                </a:cubicBezTo>
                <a:cubicBezTo>
                  <a:pt x="6565687" y="41136"/>
                  <a:pt x="6567019" y="40337"/>
                  <a:pt x="6567950" y="39272"/>
                </a:cubicBezTo>
                <a:cubicBezTo>
                  <a:pt x="6569015" y="38207"/>
                  <a:pt x="6569947" y="36876"/>
                  <a:pt x="6570612" y="35146"/>
                </a:cubicBezTo>
                <a:cubicBezTo>
                  <a:pt x="6571412" y="33548"/>
                  <a:pt x="6571677" y="31685"/>
                  <a:pt x="6571677" y="29688"/>
                </a:cubicBezTo>
                <a:cubicBezTo>
                  <a:pt x="6571677" y="27824"/>
                  <a:pt x="6571278" y="26094"/>
                  <a:pt x="6570612" y="24496"/>
                </a:cubicBezTo>
                <a:cubicBezTo>
                  <a:pt x="6569947" y="22766"/>
                  <a:pt x="6569015" y="21435"/>
                  <a:pt x="6567950" y="20236"/>
                </a:cubicBezTo>
                <a:cubicBezTo>
                  <a:pt x="6566885" y="19172"/>
                  <a:pt x="6565554" y="18239"/>
                  <a:pt x="6563956" y="17573"/>
                </a:cubicBezTo>
                <a:cubicBezTo>
                  <a:pt x="6562492" y="16908"/>
                  <a:pt x="6560895" y="16642"/>
                  <a:pt x="6558899" y="16642"/>
                </a:cubicBezTo>
                <a:close/>
                <a:moveTo>
                  <a:pt x="6776544" y="16642"/>
                </a:moveTo>
                <a:cubicBezTo>
                  <a:pt x="6770687" y="16642"/>
                  <a:pt x="6768157" y="18638"/>
                  <a:pt x="6766560" y="20236"/>
                </a:cubicBezTo>
                <a:cubicBezTo>
                  <a:pt x="6764031" y="22898"/>
                  <a:pt x="6762966" y="25693"/>
                  <a:pt x="6762966" y="29688"/>
                </a:cubicBezTo>
                <a:cubicBezTo>
                  <a:pt x="6762966" y="33815"/>
                  <a:pt x="6764031" y="36610"/>
                  <a:pt x="6766560" y="39139"/>
                </a:cubicBezTo>
                <a:cubicBezTo>
                  <a:pt x="6768157" y="40737"/>
                  <a:pt x="6770687" y="42600"/>
                  <a:pt x="6776544" y="42600"/>
                </a:cubicBezTo>
                <a:cubicBezTo>
                  <a:pt x="6778541" y="42600"/>
                  <a:pt x="6780270" y="42334"/>
                  <a:pt x="6781869" y="41668"/>
                </a:cubicBezTo>
                <a:cubicBezTo>
                  <a:pt x="6783333" y="41136"/>
                  <a:pt x="6784664" y="40337"/>
                  <a:pt x="6785595" y="39272"/>
                </a:cubicBezTo>
                <a:cubicBezTo>
                  <a:pt x="6786661" y="38207"/>
                  <a:pt x="6787593" y="36876"/>
                  <a:pt x="6788258" y="35146"/>
                </a:cubicBezTo>
                <a:cubicBezTo>
                  <a:pt x="6789057" y="33548"/>
                  <a:pt x="6789323" y="31685"/>
                  <a:pt x="6789323" y="29688"/>
                </a:cubicBezTo>
                <a:cubicBezTo>
                  <a:pt x="6789323" y="27824"/>
                  <a:pt x="6788923" y="26093"/>
                  <a:pt x="6788258" y="24495"/>
                </a:cubicBezTo>
                <a:cubicBezTo>
                  <a:pt x="6787593" y="22765"/>
                  <a:pt x="6786661" y="21434"/>
                  <a:pt x="6785595" y="20236"/>
                </a:cubicBezTo>
                <a:cubicBezTo>
                  <a:pt x="6784530" y="19171"/>
                  <a:pt x="6783199" y="18239"/>
                  <a:pt x="6781602" y="17573"/>
                </a:cubicBezTo>
                <a:cubicBezTo>
                  <a:pt x="6780138" y="16908"/>
                  <a:pt x="6778541" y="16642"/>
                  <a:pt x="6776544" y="16642"/>
                </a:cubicBezTo>
                <a:close/>
                <a:moveTo>
                  <a:pt x="6994056" y="16642"/>
                </a:moveTo>
                <a:cubicBezTo>
                  <a:pt x="6988199" y="16642"/>
                  <a:pt x="6985669" y="18638"/>
                  <a:pt x="6984072" y="20236"/>
                </a:cubicBezTo>
                <a:cubicBezTo>
                  <a:pt x="6981543" y="22898"/>
                  <a:pt x="6980478" y="25693"/>
                  <a:pt x="6980478" y="29687"/>
                </a:cubicBezTo>
                <a:cubicBezTo>
                  <a:pt x="6980478" y="33815"/>
                  <a:pt x="6981543" y="36610"/>
                  <a:pt x="6984072" y="39139"/>
                </a:cubicBezTo>
                <a:cubicBezTo>
                  <a:pt x="6985669" y="40737"/>
                  <a:pt x="6988199" y="42600"/>
                  <a:pt x="6994056" y="42600"/>
                </a:cubicBezTo>
                <a:cubicBezTo>
                  <a:pt x="6996185" y="42600"/>
                  <a:pt x="6997916" y="42334"/>
                  <a:pt x="6999380" y="41668"/>
                </a:cubicBezTo>
                <a:cubicBezTo>
                  <a:pt x="7000844" y="41136"/>
                  <a:pt x="7002176" y="40337"/>
                  <a:pt x="7003107" y="39272"/>
                </a:cubicBezTo>
                <a:cubicBezTo>
                  <a:pt x="7004172" y="38207"/>
                  <a:pt x="7005104" y="36876"/>
                  <a:pt x="7005769" y="35146"/>
                </a:cubicBezTo>
                <a:cubicBezTo>
                  <a:pt x="7006568" y="33547"/>
                  <a:pt x="7006834" y="31684"/>
                  <a:pt x="7006834" y="29687"/>
                </a:cubicBezTo>
                <a:cubicBezTo>
                  <a:pt x="7006834" y="27823"/>
                  <a:pt x="7006435" y="26093"/>
                  <a:pt x="7005769" y="24495"/>
                </a:cubicBezTo>
                <a:cubicBezTo>
                  <a:pt x="7005104" y="22765"/>
                  <a:pt x="7004172" y="21434"/>
                  <a:pt x="7003107" y="20236"/>
                </a:cubicBezTo>
                <a:cubicBezTo>
                  <a:pt x="7002042" y="19171"/>
                  <a:pt x="7000711" y="18239"/>
                  <a:pt x="6999113" y="17573"/>
                </a:cubicBezTo>
                <a:cubicBezTo>
                  <a:pt x="6997649" y="16908"/>
                  <a:pt x="6996052" y="16642"/>
                  <a:pt x="6994056" y="16642"/>
                </a:cubicBezTo>
                <a:close/>
                <a:moveTo>
                  <a:pt x="7211701" y="16642"/>
                </a:moveTo>
                <a:cubicBezTo>
                  <a:pt x="7205844" y="16642"/>
                  <a:pt x="7203314" y="18638"/>
                  <a:pt x="7201717" y="20236"/>
                </a:cubicBezTo>
                <a:cubicBezTo>
                  <a:pt x="7199188" y="22898"/>
                  <a:pt x="7198123" y="25693"/>
                  <a:pt x="7198123" y="29687"/>
                </a:cubicBezTo>
                <a:cubicBezTo>
                  <a:pt x="7198123" y="33814"/>
                  <a:pt x="7199188" y="36609"/>
                  <a:pt x="7201717" y="39139"/>
                </a:cubicBezTo>
                <a:cubicBezTo>
                  <a:pt x="7203314" y="40737"/>
                  <a:pt x="7205844" y="42600"/>
                  <a:pt x="7211701" y="42600"/>
                </a:cubicBezTo>
                <a:cubicBezTo>
                  <a:pt x="7213830" y="42600"/>
                  <a:pt x="7215561" y="42334"/>
                  <a:pt x="7217026" y="41668"/>
                </a:cubicBezTo>
                <a:cubicBezTo>
                  <a:pt x="7218490" y="41136"/>
                  <a:pt x="7219821" y="40336"/>
                  <a:pt x="7220752" y="39271"/>
                </a:cubicBezTo>
                <a:cubicBezTo>
                  <a:pt x="7221818" y="38207"/>
                  <a:pt x="7222750" y="36875"/>
                  <a:pt x="7223415" y="35145"/>
                </a:cubicBezTo>
                <a:cubicBezTo>
                  <a:pt x="7224214" y="33547"/>
                  <a:pt x="7224480" y="31684"/>
                  <a:pt x="7224480" y="29687"/>
                </a:cubicBezTo>
                <a:cubicBezTo>
                  <a:pt x="7224480" y="27823"/>
                  <a:pt x="7224080" y="26093"/>
                  <a:pt x="7223415" y="24495"/>
                </a:cubicBezTo>
                <a:cubicBezTo>
                  <a:pt x="7222750" y="22765"/>
                  <a:pt x="7221818" y="21434"/>
                  <a:pt x="7220752" y="20236"/>
                </a:cubicBezTo>
                <a:cubicBezTo>
                  <a:pt x="7219687" y="19171"/>
                  <a:pt x="7218356" y="18239"/>
                  <a:pt x="7216759" y="17573"/>
                </a:cubicBezTo>
                <a:cubicBezTo>
                  <a:pt x="7215295" y="16908"/>
                  <a:pt x="7213698" y="16642"/>
                  <a:pt x="7211701" y="16642"/>
                </a:cubicBezTo>
                <a:close/>
                <a:moveTo>
                  <a:pt x="7429345" y="16642"/>
                </a:moveTo>
                <a:cubicBezTo>
                  <a:pt x="7423488" y="16642"/>
                  <a:pt x="7420958" y="18638"/>
                  <a:pt x="7419361" y="20236"/>
                </a:cubicBezTo>
                <a:cubicBezTo>
                  <a:pt x="7416832" y="22898"/>
                  <a:pt x="7415768" y="25693"/>
                  <a:pt x="7415768" y="29687"/>
                </a:cubicBezTo>
                <a:cubicBezTo>
                  <a:pt x="7415768" y="33814"/>
                  <a:pt x="7416832" y="36609"/>
                  <a:pt x="7419361" y="39138"/>
                </a:cubicBezTo>
                <a:cubicBezTo>
                  <a:pt x="7420958" y="40736"/>
                  <a:pt x="7423488" y="42599"/>
                  <a:pt x="7429345" y="42599"/>
                </a:cubicBezTo>
                <a:cubicBezTo>
                  <a:pt x="7431342" y="42599"/>
                  <a:pt x="7433206" y="42333"/>
                  <a:pt x="7434670" y="41667"/>
                </a:cubicBezTo>
                <a:cubicBezTo>
                  <a:pt x="7436134" y="41135"/>
                  <a:pt x="7437466" y="40336"/>
                  <a:pt x="7438397" y="39271"/>
                </a:cubicBezTo>
                <a:cubicBezTo>
                  <a:pt x="7439462" y="38206"/>
                  <a:pt x="7440394" y="36875"/>
                  <a:pt x="7441059" y="35145"/>
                </a:cubicBezTo>
                <a:cubicBezTo>
                  <a:pt x="7441858" y="33547"/>
                  <a:pt x="7442124" y="31684"/>
                  <a:pt x="7442124" y="29687"/>
                </a:cubicBezTo>
                <a:cubicBezTo>
                  <a:pt x="7442124" y="27823"/>
                  <a:pt x="7441725" y="26093"/>
                  <a:pt x="7441059" y="24495"/>
                </a:cubicBezTo>
                <a:cubicBezTo>
                  <a:pt x="7440394" y="22765"/>
                  <a:pt x="7439462" y="21434"/>
                  <a:pt x="7438397" y="20236"/>
                </a:cubicBezTo>
                <a:cubicBezTo>
                  <a:pt x="7437332" y="19171"/>
                  <a:pt x="7436001" y="18239"/>
                  <a:pt x="7434403" y="17573"/>
                </a:cubicBezTo>
                <a:cubicBezTo>
                  <a:pt x="7432939" y="16908"/>
                  <a:pt x="7431342" y="16642"/>
                  <a:pt x="7429345" y="16642"/>
                </a:cubicBezTo>
                <a:close/>
                <a:moveTo>
                  <a:pt x="7646991" y="16642"/>
                </a:moveTo>
                <a:cubicBezTo>
                  <a:pt x="7641134" y="16642"/>
                  <a:pt x="7638604" y="18638"/>
                  <a:pt x="7637007" y="20236"/>
                </a:cubicBezTo>
                <a:cubicBezTo>
                  <a:pt x="7634478" y="22898"/>
                  <a:pt x="7633413" y="25693"/>
                  <a:pt x="7633413" y="29687"/>
                </a:cubicBezTo>
                <a:cubicBezTo>
                  <a:pt x="7633413" y="33814"/>
                  <a:pt x="7634478" y="36609"/>
                  <a:pt x="7637007" y="39138"/>
                </a:cubicBezTo>
                <a:cubicBezTo>
                  <a:pt x="7638604" y="40736"/>
                  <a:pt x="7641134" y="42599"/>
                  <a:pt x="7646991" y="42599"/>
                </a:cubicBezTo>
                <a:cubicBezTo>
                  <a:pt x="7648987" y="42599"/>
                  <a:pt x="7650851" y="42333"/>
                  <a:pt x="7652315" y="41667"/>
                </a:cubicBezTo>
                <a:cubicBezTo>
                  <a:pt x="7653780" y="41135"/>
                  <a:pt x="7655111" y="40336"/>
                  <a:pt x="7656042" y="39271"/>
                </a:cubicBezTo>
                <a:cubicBezTo>
                  <a:pt x="7657108" y="38206"/>
                  <a:pt x="7658039" y="36875"/>
                  <a:pt x="7658705" y="35145"/>
                </a:cubicBezTo>
                <a:cubicBezTo>
                  <a:pt x="7659504" y="33547"/>
                  <a:pt x="7659769" y="31684"/>
                  <a:pt x="7659769" y="29687"/>
                </a:cubicBezTo>
                <a:cubicBezTo>
                  <a:pt x="7659769" y="27823"/>
                  <a:pt x="7659370" y="26093"/>
                  <a:pt x="7658705" y="24495"/>
                </a:cubicBezTo>
                <a:cubicBezTo>
                  <a:pt x="7658039" y="22765"/>
                  <a:pt x="7657108" y="21434"/>
                  <a:pt x="7656042" y="20236"/>
                </a:cubicBezTo>
                <a:cubicBezTo>
                  <a:pt x="7654977" y="19171"/>
                  <a:pt x="7653646" y="18239"/>
                  <a:pt x="7652049" y="17573"/>
                </a:cubicBezTo>
                <a:cubicBezTo>
                  <a:pt x="7650584" y="16908"/>
                  <a:pt x="7648987" y="16642"/>
                  <a:pt x="7646991" y="16642"/>
                </a:cubicBezTo>
                <a:close/>
                <a:moveTo>
                  <a:pt x="7864636" y="16642"/>
                </a:moveTo>
                <a:cubicBezTo>
                  <a:pt x="7858779" y="16642"/>
                  <a:pt x="7856249" y="18638"/>
                  <a:pt x="7854652" y="20236"/>
                </a:cubicBezTo>
                <a:cubicBezTo>
                  <a:pt x="7852123" y="22898"/>
                  <a:pt x="7851058" y="25693"/>
                  <a:pt x="7851058" y="29687"/>
                </a:cubicBezTo>
                <a:cubicBezTo>
                  <a:pt x="7851058" y="33814"/>
                  <a:pt x="7852123" y="36609"/>
                  <a:pt x="7854652" y="39138"/>
                </a:cubicBezTo>
                <a:cubicBezTo>
                  <a:pt x="7856249" y="40736"/>
                  <a:pt x="7858779" y="42599"/>
                  <a:pt x="7864636" y="42599"/>
                </a:cubicBezTo>
                <a:cubicBezTo>
                  <a:pt x="7866633" y="42599"/>
                  <a:pt x="7868363" y="42333"/>
                  <a:pt x="7869961" y="41667"/>
                </a:cubicBezTo>
                <a:cubicBezTo>
                  <a:pt x="7871425" y="41135"/>
                  <a:pt x="7872756" y="40336"/>
                  <a:pt x="7873687" y="39271"/>
                </a:cubicBezTo>
                <a:cubicBezTo>
                  <a:pt x="7874753" y="38206"/>
                  <a:pt x="7875685" y="36875"/>
                  <a:pt x="7876350" y="35145"/>
                </a:cubicBezTo>
                <a:cubicBezTo>
                  <a:pt x="7877015" y="33547"/>
                  <a:pt x="7877282" y="31684"/>
                  <a:pt x="7877282" y="29687"/>
                </a:cubicBezTo>
                <a:cubicBezTo>
                  <a:pt x="7877282" y="27823"/>
                  <a:pt x="7877015" y="26093"/>
                  <a:pt x="7876350" y="24495"/>
                </a:cubicBezTo>
                <a:cubicBezTo>
                  <a:pt x="7875685" y="22765"/>
                  <a:pt x="7874753" y="21434"/>
                  <a:pt x="7873687" y="20236"/>
                </a:cubicBezTo>
                <a:cubicBezTo>
                  <a:pt x="7872623" y="19171"/>
                  <a:pt x="7871291" y="18239"/>
                  <a:pt x="7869694" y="17573"/>
                </a:cubicBezTo>
                <a:cubicBezTo>
                  <a:pt x="7868230" y="16908"/>
                  <a:pt x="7866633" y="16642"/>
                  <a:pt x="7864636" y="16642"/>
                </a:cubicBezTo>
                <a:close/>
                <a:moveTo>
                  <a:pt x="8082281" y="16642"/>
                </a:moveTo>
                <a:cubicBezTo>
                  <a:pt x="8076424" y="16642"/>
                  <a:pt x="8073894" y="18638"/>
                  <a:pt x="8072297" y="20236"/>
                </a:cubicBezTo>
                <a:cubicBezTo>
                  <a:pt x="8069768" y="22898"/>
                  <a:pt x="8068703" y="25693"/>
                  <a:pt x="8068703" y="29687"/>
                </a:cubicBezTo>
                <a:cubicBezTo>
                  <a:pt x="8068703" y="33814"/>
                  <a:pt x="8069768" y="36609"/>
                  <a:pt x="8072297" y="39138"/>
                </a:cubicBezTo>
                <a:cubicBezTo>
                  <a:pt x="8073894" y="40736"/>
                  <a:pt x="8076424" y="42599"/>
                  <a:pt x="8082281" y="42599"/>
                </a:cubicBezTo>
                <a:cubicBezTo>
                  <a:pt x="8084277" y="42599"/>
                  <a:pt x="8086007" y="42333"/>
                  <a:pt x="8087605" y="41667"/>
                </a:cubicBezTo>
                <a:cubicBezTo>
                  <a:pt x="8089069" y="41135"/>
                  <a:pt x="8090401" y="40336"/>
                  <a:pt x="8091332" y="39271"/>
                </a:cubicBezTo>
                <a:cubicBezTo>
                  <a:pt x="8092397" y="38206"/>
                  <a:pt x="8093329" y="36875"/>
                  <a:pt x="8093994" y="35145"/>
                </a:cubicBezTo>
                <a:cubicBezTo>
                  <a:pt x="8094660" y="33547"/>
                  <a:pt x="8094926" y="31684"/>
                  <a:pt x="8094926" y="29687"/>
                </a:cubicBezTo>
                <a:cubicBezTo>
                  <a:pt x="8094926" y="27823"/>
                  <a:pt x="8094660" y="26093"/>
                  <a:pt x="8093994" y="24495"/>
                </a:cubicBezTo>
                <a:cubicBezTo>
                  <a:pt x="8093329" y="22765"/>
                  <a:pt x="8092397" y="21434"/>
                  <a:pt x="8091332" y="20236"/>
                </a:cubicBezTo>
                <a:cubicBezTo>
                  <a:pt x="8090267" y="19171"/>
                  <a:pt x="8088936" y="18239"/>
                  <a:pt x="8087338" y="17573"/>
                </a:cubicBezTo>
                <a:cubicBezTo>
                  <a:pt x="8085874" y="16908"/>
                  <a:pt x="8084277" y="16642"/>
                  <a:pt x="8082281" y="16642"/>
                </a:cubicBezTo>
                <a:close/>
                <a:moveTo>
                  <a:pt x="8299793" y="16642"/>
                </a:moveTo>
                <a:cubicBezTo>
                  <a:pt x="8294068" y="16642"/>
                  <a:pt x="8291406" y="18638"/>
                  <a:pt x="8289809" y="20236"/>
                </a:cubicBezTo>
                <a:cubicBezTo>
                  <a:pt x="8287280" y="22898"/>
                  <a:pt x="8286215" y="25693"/>
                  <a:pt x="8286215" y="29687"/>
                </a:cubicBezTo>
                <a:cubicBezTo>
                  <a:pt x="8286215" y="33814"/>
                  <a:pt x="8287280" y="36609"/>
                  <a:pt x="8289809" y="39138"/>
                </a:cubicBezTo>
                <a:cubicBezTo>
                  <a:pt x="8291406" y="40736"/>
                  <a:pt x="8293935" y="42599"/>
                  <a:pt x="8299793" y="42599"/>
                </a:cubicBezTo>
                <a:cubicBezTo>
                  <a:pt x="8301923" y="42599"/>
                  <a:pt x="8303653" y="42333"/>
                  <a:pt x="8305118" y="41667"/>
                </a:cubicBezTo>
                <a:cubicBezTo>
                  <a:pt x="8306582" y="41135"/>
                  <a:pt x="8307913" y="40336"/>
                  <a:pt x="8308844" y="39271"/>
                </a:cubicBezTo>
                <a:cubicBezTo>
                  <a:pt x="8309910" y="38206"/>
                  <a:pt x="8310842" y="36875"/>
                  <a:pt x="8311507" y="35145"/>
                </a:cubicBezTo>
                <a:cubicBezTo>
                  <a:pt x="8312172" y="33547"/>
                  <a:pt x="8312439" y="31684"/>
                  <a:pt x="8312439" y="29687"/>
                </a:cubicBezTo>
                <a:cubicBezTo>
                  <a:pt x="8312439" y="27823"/>
                  <a:pt x="8312172" y="26093"/>
                  <a:pt x="8311507" y="24495"/>
                </a:cubicBezTo>
                <a:cubicBezTo>
                  <a:pt x="8310842" y="22765"/>
                  <a:pt x="8309910" y="21434"/>
                  <a:pt x="8308844" y="20236"/>
                </a:cubicBezTo>
                <a:cubicBezTo>
                  <a:pt x="8307779" y="19171"/>
                  <a:pt x="8306448" y="18239"/>
                  <a:pt x="8304851" y="17573"/>
                </a:cubicBezTo>
                <a:cubicBezTo>
                  <a:pt x="8303387" y="16908"/>
                  <a:pt x="8301790" y="16642"/>
                  <a:pt x="8299793" y="16642"/>
                </a:cubicBezTo>
                <a:close/>
                <a:moveTo>
                  <a:pt x="8517438" y="16641"/>
                </a:moveTo>
                <a:cubicBezTo>
                  <a:pt x="8511713" y="16641"/>
                  <a:pt x="8509051" y="18637"/>
                  <a:pt x="8507453" y="20235"/>
                </a:cubicBezTo>
                <a:cubicBezTo>
                  <a:pt x="8504925" y="22898"/>
                  <a:pt x="8503860" y="25693"/>
                  <a:pt x="8503860" y="29687"/>
                </a:cubicBezTo>
                <a:cubicBezTo>
                  <a:pt x="8503860" y="33814"/>
                  <a:pt x="8504925" y="36609"/>
                  <a:pt x="8507453" y="39138"/>
                </a:cubicBezTo>
                <a:cubicBezTo>
                  <a:pt x="8509051" y="40736"/>
                  <a:pt x="8511581" y="42599"/>
                  <a:pt x="8517438" y="42599"/>
                </a:cubicBezTo>
                <a:cubicBezTo>
                  <a:pt x="8519568" y="42599"/>
                  <a:pt x="8521299" y="42333"/>
                  <a:pt x="8522763" y="41667"/>
                </a:cubicBezTo>
                <a:cubicBezTo>
                  <a:pt x="8524227" y="41135"/>
                  <a:pt x="8525559" y="40336"/>
                  <a:pt x="8526490" y="39271"/>
                </a:cubicBezTo>
                <a:cubicBezTo>
                  <a:pt x="8527555" y="38206"/>
                  <a:pt x="8528487" y="36875"/>
                  <a:pt x="8529152" y="35145"/>
                </a:cubicBezTo>
                <a:cubicBezTo>
                  <a:pt x="8529818" y="33547"/>
                  <a:pt x="8530084" y="31684"/>
                  <a:pt x="8530084" y="29687"/>
                </a:cubicBezTo>
                <a:cubicBezTo>
                  <a:pt x="8530084" y="27823"/>
                  <a:pt x="8529818" y="26093"/>
                  <a:pt x="8529152" y="24495"/>
                </a:cubicBezTo>
                <a:cubicBezTo>
                  <a:pt x="8528487" y="22765"/>
                  <a:pt x="8527555" y="21434"/>
                  <a:pt x="8526490" y="20235"/>
                </a:cubicBezTo>
                <a:cubicBezTo>
                  <a:pt x="8525425" y="19171"/>
                  <a:pt x="8524094" y="18238"/>
                  <a:pt x="8522496" y="17572"/>
                </a:cubicBezTo>
                <a:cubicBezTo>
                  <a:pt x="8521032" y="16907"/>
                  <a:pt x="8519302" y="16641"/>
                  <a:pt x="8517438" y="16641"/>
                </a:cubicBezTo>
                <a:close/>
                <a:moveTo>
                  <a:pt x="8735083" y="16641"/>
                </a:moveTo>
                <a:cubicBezTo>
                  <a:pt x="8729358" y="16641"/>
                  <a:pt x="8726695" y="18637"/>
                  <a:pt x="8725098" y="20235"/>
                </a:cubicBezTo>
                <a:cubicBezTo>
                  <a:pt x="8722569" y="22897"/>
                  <a:pt x="8721504" y="25692"/>
                  <a:pt x="8721504" y="29687"/>
                </a:cubicBezTo>
                <a:cubicBezTo>
                  <a:pt x="8721504" y="33814"/>
                  <a:pt x="8722569" y="36609"/>
                  <a:pt x="8725098" y="39138"/>
                </a:cubicBezTo>
                <a:cubicBezTo>
                  <a:pt x="8726695" y="40736"/>
                  <a:pt x="8729225" y="42599"/>
                  <a:pt x="8735083" y="42599"/>
                </a:cubicBezTo>
                <a:cubicBezTo>
                  <a:pt x="8737079" y="42599"/>
                  <a:pt x="8738943" y="42333"/>
                  <a:pt x="8740407" y="41667"/>
                </a:cubicBezTo>
                <a:cubicBezTo>
                  <a:pt x="8741872" y="41135"/>
                  <a:pt x="8743203" y="40336"/>
                  <a:pt x="8744134" y="39271"/>
                </a:cubicBezTo>
                <a:cubicBezTo>
                  <a:pt x="8745200" y="38206"/>
                  <a:pt x="8746132" y="36875"/>
                  <a:pt x="8746797" y="35145"/>
                </a:cubicBezTo>
                <a:cubicBezTo>
                  <a:pt x="8747596" y="33547"/>
                  <a:pt x="8747862" y="31684"/>
                  <a:pt x="8747862" y="29687"/>
                </a:cubicBezTo>
                <a:cubicBezTo>
                  <a:pt x="8747862" y="27823"/>
                  <a:pt x="8747462" y="26092"/>
                  <a:pt x="8746797" y="24494"/>
                </a:cubicBezTo>
                <a:cubicBezTo>
                  <a:pt x="8746132" y="22764"/>
                  <a:pt x="8745200" y="21433"/>
                  <a:pt x="8744134" y="20235"/>
                </a:cubicBezTo>
                <a:cubicBezTo>
                  <a:pt x="8743069" y="19170"/>
                  <a:pt x="8741738" y="18238"/>
                  <a:pt x="8740141" y="17572"/>
                </a:cubicBezTo>
                <a:cubicBezTo>
                  <a:pt x="8738677" y="16907"/>
                  <a:pt x="8736946" y="16641"/>
                  <a:pt x="8735083" y="16641"/>
                </a:cubicBezTo>
                <a:close/>
                <a:moveTo>
                  <a:pt x="8952728" y="16641"/>
                </a:moveTo>
                <a:cubicBezTo>
                  <a:pt x="8947003" y="16641"/>
                  <a:pt x="8944340" y="18637"/>
                  <a:pt x="8942743" y="20235"/>
                </a:cubicBezTo>
                <a:cubicBezTo>
                  <a:pt x="8940214" y="22897"/>
                  <a:pt x="8939150" y="25692"/>
                  <a:pt x="8939150" y="29686"/>
                </a:cubicBezTo>
                <a:cubicBezTo>
                  <a:pt x="8939150" y="33814"/>
                  <a:pt x="8940214" y="36609"/>
                  <a:pt x="8942743" y="39138"/>
                </a:cubicBezTo>
                <a:cubicBezTo>
                  <a:pt x="8944340" y="40736"/>
                  <a:pt x="8946870" y="42599"/>
                  <a:pt x="8952728" y="42599"/>
                </a:cubicBezTo>
                <a:cubicBezTo>
                  <a:pt x="8954725" y="42599"/>
                  <a:pt x="8956589" y="42333"/>
                  <a:pt x="8958053" y="41667"/>
                </a:cubicBezTo>
                <a:cubicBezTo>
                  <a:pt x="8959517" y="41135"/>
                  <a:pt x="8960849" y="40336"/>
                  <a:pt x="8961780" y="39271"/>
                </a:cubicBezTo>
                <a:cubicBezTo>
                  <a:pt x="8962845" y="38206"/>
                  <a:pt x="8963777" y="36875"/>
                  <a:pt x="8964442" y="35145"/>
                </a:cubicBezTo>
                <a:cubicBezTo>
                  <a:pt x="8965241" y="33546"/>
                  <a:pt x="8965507" y="31683"/>
                  <a:pt x="8965507" y="29686"/>
                </a:cubicBezTo>
                <a:cubicBezTo>
                  <a:pt x="8965507" y="27822"/>
                  <a:pt x="8965108" y="26092"/>
                  <a:pt x="8964442" y="24494"/>
                </a:cubicBezTo>
                <a:cubicBezTo>
                  <a:pt x="8963777" y="22764"/>
                  <a:pt x="8962845" y="21433"/>
                  <a:pt x="8961780" y="20235"/>
                </a:cubicBezTo>
                <a:cubicBezTo>
                  <a:pt x="8960715" y="19170"/>
                  <a:pt x="8959384" y="18238"/>
                  <a:pt x="8957786" y="17572"/>
                </a:cubicBezTo>
                <a:cubicBezTo>
                  <a:pt x="8956322" y="16907"/>
                  <a:pt x="8954592" y="16641"/>
                  <a:pt x="8952728" y="16641"/>
                </a:cubicBezTo>
                <a:close/>
                <a:moveTo>
                  <a:pt x="9170374" y="16641"/>
                </a:moveTo>
                <a:cubicBezTo>
                  <a:pt x="9164649" y="16641"/>
                  <a:pt x="9161986" y="18637"/>
                  <a:pt x="9160389" y="20235"/>
                </a:cubicBezTo>
                <a:cubicBezTo>
                  <a:pt x="9157860" y="22897"/>
                  <a:pt x="9156795" y="25692"/>
                  <a:pt x="9156795" y="29686"/>
                </a:cubicBezTo>
                <a:cubicBezTo>
                  <a:pt x="9156795" y="33813"/>
                  <a:pt x="9157860" y="36608"/>
                  <a:pt x="9160389" y="39138"/>
                </a:cubicBezTo>
                <a:cubicBezTo>
                  <a:pt x="9161986" y="40736"/>
                  <a:pt x="9164516" y="42599"/>
                  <a:pt x="9170374" y="42599"/>
                </a:cubicBezTo>
                <a:cubicBezTo>
                  <a:pt x="9172370" y="42599"/>
                  <a:pt x="9174100" y="42333"/>
                  <a:pt x="9175698" y="41667"/>
                </a:cubicBezTo>
                <a:cubicBezTo>
                  <a:pt x="9177163" y="41135"/>
                  <a:pt x="9178494" y="40335"/>
                  <a:pt x="9179425" y="39270"/>
                </a:cubicBezTo>
                <a:cubicBezTo>
                  <a:pt x="9180491" y="38206"/>
                  <a:pt x="9181422" y="36874"/>
                  <a:pt x="9182088" y="35144"/>
                </a:cubicBezTo>
                <a:cubicBezTo>
                  <a:pt x="9182887" y="33546"/>
                  <a:pt x="9183152" y="31683"/>
                  <a:pt x="9183152" y="29686"/>
                </a:cubicBezTo>
                <a:cubicBezTo>
                  <a:pt x="9183152" y="27822"/>
                  <a:pt x="9182753" y="26092"/>
                  <a:pt x="9182088" y="24494"/>
                </a:cubicBezTo>
                <a:cubicBezTo>
                  <a:pt x="9181422" y="22764"/>
                  <a:pt x="9180491" y="21433"/>
                  <a:pt x="9179425" y="20235"/>
                </a:cubicBezTo>
                <a:cubicBezTo>
                  <a:pt x="9178360" y="19170"/>
                  <a:pt x="9177029" y="18238"/>
                  <a:pt x="9175432" y="17572"/>
                </a:cubicBezTo>
                <a:cubicBezTo>
                  <a:pt x="9173967" y="16907"/>
                  <a:pt x="9172237" y="16641"/>
                  <a:pt x="9170374" y="16641"/>
                </a:cubicBezTo>
                <a:close/>
                <a:moveTo>
                  <a:pt x="9387885" y="16641"/>
                </a:moveTo>
                <a:cubicBezTo>
                  <a:pt x="9382027" y="16641"/>
                  <a:pt x="9379497" y="18637"/>
                  <a:pt x="9377900" y="20235"/>
                </a:cubicBezTo>
                <a:cubicBezTo>
                  <a:pt x="9375371" y="22897"/>
                  <a:pt x="9374307" y="25692"/>
                  <a:pt x="9374307" y="29686"/>
                </a:cubicBezTo>
                <a:cubicBezTo>
                  <a:pt x="9374307" y="33813"/>
                  <a:pt x="9375371" y="36608"/>
                  <a:pt x="9377900" y="39137"/>
                </a:cubicBezTo>
                <a:cubicBezTo>
                  <a:pt x="9379497" y="40735"/>
                  <a:pt x="9382027" y="42598"/>
                  <a:pt x="9387885" y="42598"/>
                </a:cubicBezTo>
                <a:cubicBezTo>
                  <a:pt x="9390015" y="42598"/>
                  <a:pt x="9391746" y="42332"/>
                  <a:pt x="9393210" y="41666"/>
                </a:cubicBezTo>
                <a:cubicBezTo>
                  <a:pt x="9394674" y="41134"/>
                  <a:pt x="9396005" y="40335"/>
                  <a:pt x="9396937" y="39270"/>
                </a:cubicBezTo>
                <a:cubicBezTo>
                  <a:pt x="9398002" y="38205"/>
                  <a:pt x="9398934" y="36874"/>
                  <a:pt x="9399599" y="35144"/>
                </a:cubicBezTo>
                <a:cubicBezTo>
                  <a:pt x="9400398" y="33546"/>
                  <a:pt x="9400664" y="31683"/>
                  <a:pt x="9400664" y="29686"/>
                </a:cubicBezTo>
                <a:cubicBezTo>
                  <a:pt x="9400664" y="27822"/>
                  <a:pt x="9400265" y="26092"/>
                  <a:pt x="9399599" y="24494"/>
                </a:cubicBezTo>
                <a:cubicBezTo>
                  <a:pt x="9398934" y="22764"/>
                  <a:pt x="9398002" y="21433"/>
                  <a:pt x="9396937" y="20235"/>
                </a:cubicBezTo>
                <a:cubicBezTo>
                  <a:pt x="9395872" y="19170"/>
                  <a:pt x="9394541" y="18238"/>
                  <a:pt x="9392943" y="17572"/>
                </a:cubicBezTo>
                <a:cubicBezTo>
                  <a:pt x="9391479" y="16907"/>
                  <a:pt x="9389749" y="16641"/>
                  <a:pt x="9387885" y="16641"/>
                </a:cubicBezTo>
                <a:close/>
                <a:moveTo>
                  <a:pt x="9605531" y="16641"/>
                </a:moveTo>
                <a:cubicBezTo>
                  <a:pt x="9599673" y="16641"/>
                  <a:pt x="9597143" y="18637"/>
                  <a:pt x="9595546" y="20235"/>
                </a:cubicBezTo>
                <a:cubicBezTo>
                  <a:pt x="9593017" y="22897"/>
                  <a:pt x="9591952" y="25692"/>
                  <a:pt x="9591952" y="29686"/>
                </a:cubicBezTo>
                <a:cubicBezTo>
                  <a:pt x="9591952" y="33813"/>
                  <a:pt x="9593017" y="36608"/>
                  <a:pt x="9595546" y="39137"/>
                </a:cubicBezTo>
                <a:cubicBezTo>
                  <a:pt x="9597143" y="40735"/>
                  <a:pt x="9599673" y="42598"/>
                  <a:pt x="9605531" y="42598"/>
                </a:cubicBezTo>
                <a:cubicBezTo>
                  <a:pt x="9607660" y="42598"/>
                  <a:pt x="9609391" y="42332"/>
                  <a:pt x="9610855" y="41666"/>
                </a:cubicBezTo>
                <a:cubicBezTo>
                  <a:pt x="9612319" y="41134"/>
                  <a:pt x="9613651" y="40335"/>
                  <a:pt x="9614582" y="39270"/>
                </a:cubicBezTo>
                <a:cubicBezTo>
                  <a:pt x="9615647" y="38205"/>
                  <a:pt x="9616579" y="36874"/>
                  <a:pt x="9617245" y="35144"/>
                </a:cubicBezTo>
                <a:cubicBezTo>
                  <a:pt x="9618044" y="33546"/>
                  <a:pt x="9618309" y="31683"/>
                  <a:pt x="9618309" y="29686"/>
                </a:cubicBezTo>
                <a:cubicBezTo>
                  <a:pt x="9618309" y="27822"/>
                  <a:pt x="9617910" y="26092"/>
                  <a:pt x="9617245" y="24494"/>
                </a:cubicBezTo>
                <a:cubicBezTo>
                  <a:pt x="9616579" y="22764"/>
                  <a:pt x="9615647" y="21433"/>
                  <a:pt x="9614582" y="20235"/>
                </a:cubicBezTo>
                <a:cubicBezTo>
                  <a:pt x="9613517" y="19170"/>
                  <a:pt x="9612186" y="18238"/>
                  <a:pt x="9610589" y="17572"/>
                </a:cubicBezTo>
                <a:cubicBezTo>
                  <a:pt x="9609124" y="16907"/>
                  <a:pt x="9607394" y="16641"/>
                  <a:pt x="9605531" y="16641"/>
                </a:cubicBezTo>
                <a:close/>
                <a:moveTo>
                  <a:pt x="9823176" y="16641"/>
                </a:moveTo>
                <a:cubicBezTo>
                  <a:pt x="9817318" y="16641"/>
                  <a:pt x="9814788" y="18637"/>
                  <a:pt x="9813191" y="20235"/>
                </a:cubicBezTo>
                <a:cubicBezTo>
                  <a:pt x="9810662" y="22897"/>
                  <a:pt x="9809597" y="25692"/>
                  <a:pt x="9809597" y="29686"/>
                </a:cubicBezTo>
                <a:cubicBezTo>
                  <a:pt x="9809597" y="33813"/>
                  <a:pt x="9810662" y="36608"/>
                  <a:pt x="9813191" y="39137"/>
                </a:cubicBezTo>
                <a:cubicBezTo>
                  <a:pt x="9814788" y="40735"/>
                  <a:pt x="9817318" y="42598"/>
                  <a:pt x="9823176" y="42598"/>
                </a:cubicBezTo>
                <a:cubicBezTo>
                  <a:pt x="9825173" y="42598"/>
                  <a:pt x="9827036" y="42332"/>
                  <a:pt x="9828501" y="41666"/>
                </a:cubicBezTo>
                <a:cubicBezTo>
                  <a:pt x="9830098" y="41134"/>
                  <a:pt x="9831296" y="40335"/>
                  <a:pt x="9832227" y="39270"/>
                </a:cubicBezTo>
                <a:cubicBezTo>
                  <a:pt x="9833293" y="38205"/>
                  <a:pt x="9834225" y="36874"/>
                  <a:pt x="9834890" y="35144"/>
                </a:cubicBezTo>
                <a:cubicBezTo>
                  <a:pt x="9835689" y="33546"/>
                  <a:pt x="9835955" y="31683"/>
                  <a:pt x="9835955" y="29686"/>
                </a:cubicBezTo>
                <a:cubicBezTo>
                  <a:pt x="9835955" y="27822"/>
                  <a:pt x="9835555" y="26092"/>
                  <a:pt x="9834890" y="24494"/>
                </a:cubicBezTo>
                <a:cubicBezTo>
                  <a:pt x="9834225" y="22764"/>
                  <a:pt x="9833293" y="21433"/>
                  <a:pt x="9832227" y="20235"/>
                </a:cubicBezTo>
                <a:cubicBezTo>
                  <a:pt x="9831162" y="19170"/>
                  <a:pt x="9829831" y="18238"/>
                  <a:pt x="9828234" y="17572"/>
                </a:cubicBezTo>
                <a:cubicBezTo>
                  <a:pt x="9826770" y="16907"/>
                  <a:pt x="9825173" y="16641"/>
                  <a:pt x="9823176" y="16641"/>
                </a:cubicBezTo>
                <a:close/>
                <a:moveTo>
                  <a:pt x="10040820" y="16641"/>
                </a:moveTo>
                <a:cubicBezTo>
                  <a:pt x="10034962" y="16641"/>
                  <a:pt x="10032433" y="18637"/>
                  <a:pt x="10030835" y="20235"/>
                </a:cubicBezTo>
                <a:cubicBezTo>
                  <a:pt x="10028306" y="22897"/>
                  <a:pt x="10027242" y="25692"/>
                  <a:pt x="10027242" y="29686"/>
                </a:cubicBezTo>
                <a:cubicBezTo>
                  <a:pt x="10027242" y="33813"/>
                  <a:pt x="10028306" y="36608"/>
                  <a:pt x="10030835" y="39137"/>
                </a:cubicBezTo>
                <a:cubicBezTo>
                  <a:pt x="10032433" y="40735"/>
                  <a:pt x="10034962" y="42598"/>
                  <a:pt x="10040820" y="42598"/>
                </a:cubicBezTo>
                <a:cubicBezTo>
                  <a:pt x="10042817" y="42598"/>
                  <a:pt x="10044681" y="42332"/>
                  <a:pt x="10046145" y="41666"/>
                </a:cubicBezTo>
                <a:cubicBezTo>
                  <a:pt x="10047742" y="41134"/>
                  <a:pt x="10048941" y="40335"/>
                  <a:pt x="10049872" y="39270"/>
                </a:cubicBezTo>
                <a:cubicBezTo>
                  <a:pt x="10050937" y="38205"/>
                  <a:pt x="10051869" y="36874"/>
                  <a:pt x="10052534" y="35144"/>
                </a:cubicBezTo>
                <a:cubicBezTo>
                  <a:pt x="10053333" y="33546"/>
                  <a:pt x="10053599" y="31683"/>
                  <a:pt x="10053599" y="29686"/>
                </a:cubicBezTo>
                <a:cubicBezTo>
                  <a:pt x="10053599" y="27822"/>
                  <a:pt x="10053200" y="26092"/>
                  <a:pt x="10052534" y="24494"/>
                </a:cubicBezTo>
                <a:cubicBezTo>
                  <a:pt x="10051869" y="22764"/>
                  <a:pt x="10050937" y="21433"/>
                  <a:pt x="10049872" y="20235"/>
                </a:cubicBezTo>
                <a:cubicBezTo>
                  <a:pt x="10048807" y="19170"/>
                  <a:pt x="10047476" y="18238"/>
                  <a:pt x="10045878" y="17572"/>
                </a:cubicBezTo>
                <a:cubicBezTo>
                  <a:pt x="10044414" y="16907"/>
                  <a:pt x="10042817" y="16641"/>
                  <a:pt x="10040820" y="16641"/>
                </a:cubicBezTo>
                <a:close/>
                <a:moveTo>
                  <a:pt x="10258466" y="16641"/>
                </a:moveTo>
                <a:cubicBezTo>
                  <a:pt x="10252608" y="16641"/>
                  <a:pt x="10250078" y="18637"/>
                  <a:pt x="10248481" y="20235"/>
                </a:cubicBezTo>
                <a:cubicBezTo>
                  <a:pt x="10245952" y="22897"/>
                  <a:pt x="10244887" y="25692"/>
                  <a:pt x="10244887" y="29686"/>
                </a:cubicBezTo>
                <a:cubicBezTo>
                  <a:pt x="10244887" y="33813"/>
                  <a:pt x="10245952" y="36608"/>
                  <a:pt x="10248481" y="39137"/>
                </a:cubicBezTo>
                <a:cubicBezTo>
                  <a:pt x="10250078" y="40735"/>
                  <a:pt x="10252608" y="42598"/>
                  <a:pt x="10258466" y="42598"/>
                </a:cubicBezTo>
                <a:cubicBezTo>
                  <a:pt x="10260462" y="42598"/>
                  <a:pt x="10262192" y="42332"/>
                  <a:pt x="10263790" y="41666"/>
                </a:cubicBezTo>
                <a:cubicBezTo>
                  <a:pt x="10265388" y="41134"/>
                  <a:pt x="10266586" y="40335"/>
                  <a:pt x="10267517" y="39270"/>
                </a:cubicBezTo>
                <a:cubicBezTo>
                  <a:pt x="10268583" y="38205"/>
                  <a:pt x="10269515" y="36874"/>
                  <a:pt x="10270180" y="35144"/>
                </a:cubicBezTo>
                <a:cubicBezTo>
                  <a:pt x="10270845" y="33546"/>
                  <a:pt x="10271112" y="31683"/>
                  <a:pt x="10271112" y="29686"/>
                </a:cubicBezTo>
                <a:cubicBezTo>
                  <a:pt x="10271112" y="27822"/>
                  <a:pt x="10270845" y="26092"/>
                  <a:pt x="10270180" y="24494"/>
                </a:cubicBezTo>
                <a:cubicBezTo>
                  <a:pt x="10269515" y="22764"/>
                  <a:pt x="10268583" y="21433"/>
                  <a:pt x="10267517" y="20235"/>
                </a:cubicBezTo>
                <a:cubicBezTo>
                  <a:pt x="10266452" y="19170"/>
                  <a:pt x="10265121" y="18238"/>
                  <a:pt x="10263524" y="17572"/>
                </a:cubicBezTo>
                <a:cubicBezTo>
                  <a:pt x="10262060" y="16907"/>
                  <a:pt x="10260462" y="16641"/>
                  <a:pt x="10258466" y="16641"/>
                </a:cubicBezTo>
                <a:close/>
                <a:moveTo>
                  <a:pt x="10475977" y="16640"/>
                </a:moveTo>
                <a:cubicBezTo>
                  <a:pt x="10470119" y="16640"/>
                  <a:pt x="10467589" y="18636"/>
                  <a:pt x="10465992" y="20234"/>
                </a:cubicBezTo>
                <a:cubicBezTo>
                  <a:pt x="10463463" y="22897"/>
                  <a:pt x="10462399" y="25692"/>
                  <a:pt x="10462399" y="29686"/>
                </a:cubicBezTo>
                <a:cubicBezTo>
                  <a:pt x="10462399" y="33813"/>
                  <a:pt x="10463463" y="36608"/>
                  <a:pt x="10465992" y="39137"/>
                </a:cubicBezTo>
                <a:cubicBezTo>
                  <a:pt x="10467589" y="40735"/>
                  <a:pt x="10470119" y="42598"/>
                  <a:pt x="10475977" y="42598"/>
                </a:cubicBezTo>
                <a:cubicBezTo>
                  <a:pt x="10478107" y="42598"/>
                  <a:pt x="10479838" y="42332"/>
                  <a:pt x="10481302" y="41666"/>
                </a:cubicBezTo>
                <a:cubicBezTo>
                  <a:pt x="10482899" y="41134"/>
                  <a:pt x="10484098" y="40335"/>
                  <a:pt x="10485029" y="39270"/>
                </a:cubicBezTo>
                <a:cubicBezTo>
                  <a:pt x="10486094" y="38205"/>
                  <a:pt x="10487026" y="36874"/>
                  <a:pt x="10487691" y="35144"/>
                </a:cubicBezTo>
                <a:cubicBezTo>
                  <a:pt x="10488357" y="33546"/>
                  <a:pt x="10488623" y="31683"/>
                  <a:pt x="10488623" y="29686"/>
                </a:cubicBezTo>
                <a:cubicBezTo>
                  <a:pt x="10488623" y="27822"/>
                  <a:pt x="10488357" y="26092"/>
                  <a:pt x="10487691" y="24494"/>
                </a:cubicBezTo>
                <a:cubicBezTo>
                  <a:pt x="10487026" y="22764"/>
                  <a:pt x="10486094" y="21433"/>
                  <a:pt x="10485029" y="20234"/>
                </a:cubicBezTo>
                <a:cubicBezTo>
                  <a:pt x="10483964" y="19170"/>
                  <a:pt x="10482633" y="18237"/>
                  <a:pt x="10481035" y="17571"/>
                </a:cubicBezTo>
                <a:cubicBezTo>
                  <a:pt x="10479571" y="16906"/>
                  <a:pt x="10477974" y="16640"/>
                  <a:pt x="10475977" y="16640"/>
                </a:cubicBezTo>
                <a:close/>
                <a:moveTo>
                  <a:pt x="30217" y="5"/>
                </a:moveTo>
                <a:cubicBezTo>
                  <a:pt x="34477" y="5"/>
                  <a:pt x="38471" y="804"/>
                  <a:pt x="41932" y="2535"/>
                </a:cubicBezTo>
                <a:cubicBezTo>
                  <a:pt x="45659" y="4132"/>
                  <a:pt x="48721" y="6262"/>
                  <a:pt x="51251" y="8925"/>
                </a:cubicBezTo>
                <a:cubicBezTo>
                  <a:pt x="53913" y="11454"/>
                  <a:pt x="55910" y="14649"/>
                  <a:pt x="57374" y="18243"/>
                </a:cubicBezTo>
                <a:cubicBezTo>
                  <a:pt x="58838" y="21837"/>
                  <a:pt x="59637" y="25697"/>
                  <a:pt x="59637" y="29691"/>
                </a:cubicBezTo>
                <a:cubicBezTo>
                  <a:pt x="59637" y="33818"/>
                  <a:pt x="58838" y="37811"/>
                  <a:pt x="57374" y="41405"/>
                </a:cubicBezTo>
                <a:cubicBezTo>
                  <a:pt x="55910" y="45132"/>
                  <a:pt x="53780" y="48194"/>
                  <a:pt x="51251" y="50856"/>
                </a:cubicBezTo>
                <a:cubicBezTo>
                  <a:pt x="48587" y="53519"/>
                  <a:pt x="45527" y="55649"/>
                  <a:pt x="41932" y="57114"/>
                </a:cubicBezTo>
                <a:cubicBezTo>
                  <a:pt x="38338" y="58578"/>
                  <a:pt x="34477" y="59377"/>
                  <a:pt x="30217" y="59377"/>
                </a:cubicBezTo>
                <a:cubicBezTo>
                  <a:pt x="21299" y="59377"/>
                  <a:pt x="13977" y="56447"/>
                  <a:pt x="8386" y="50856"/>
                </a:cubicBezTo>
                <a:cubicBezTo>
                  <a:pt x="2795" y="45266"/>
                  <a:pt x="0" y="38210"/>
                  <a:pt x="0" y="29691"/>
                </a:cubicBezTo>
                <a:cubicBezTo>
                  <a:pt x="0" y="21438"/>
                  <a:pt x="2795" y="14383"/>
                  <a:pt x="8386" y="8659"/>
                </a:cubicBezTo>
                <a:cubicBezTo>
                  <a:pt x="13977" y="2800"/>
                  <a:pt x="21165" y="5"/>
                  <a:pt x="30217" y="5"/>
                </a:cubicBezTo>
                <a:close/>
                <a:moveTo>
                  <a:pt x="247862" y="5"/>
                </a:moveTo>
                <a:cubicBezTo>
                  <a:pt x="252122" y="5"/>
                  <a:pt x="256116" y="804"/>
                  <a:pt x="259577" y="2534"/>
                </a:cubicBezTo>
                <a:cubicBezTo>
                  <a:pt x="263304" y="4132"/>
                  <a:pt x="266366" y="6261"/>
                  <a:pt x="268895" y="8924"/>
                </a:cubicBezTo>
                <a:cubicBezTo>
                  <a:pt x="271557" y="11454"/>
                  <a:pt x="273554" y="14649"/>
                  <a:pt x="275018" y="18243"/>
                </a:cubicBezTo>
                <a:cubicBezTo>
                  <a:pt x="276482" y="21837"/>
                  <a:pt x="277281" y="25697"/>
                  <a:pt x="277281" y="29691"/>
                </a:cubicBezTo>
                <a:cubicBezTo>
                  <a:pt x="277281" y="33818"/>
                  <a:pt x="276482" y="37811"/>
                  <a:pt x="275018" y="41405"/>
                </a:cubicBezTo>
                <a:cubicBezTo>
                  <a:pt x="273554" y="45132"/>
                  <a:pt x="271424" y="48194"/>
                  <a:pt x="268895" y="50856"/>
                </a:cubicBezTo>
                <a:cubicBezTo>
                  <a:pt x="266232" y="53519"/>
                  <a:pt x="263171" y="55649"/>
                  <a:pt x="259577" y="57113"/>
                </a:cubicBezTo>
                <a:cubicBezTo>
                  <a:pt x="255982" y="58577"/>
                  <a:pt x="252122" y="59376"/>
                  <a:pt x="247862" y="59376"/>
                </a:cubicBezTo>
                <a:cubicBezTo>
                  <a:pt x="238944" y="59376"/>
                  <a:pt x="231622" y="56447"/>
                  <a:pt x="226030" y="50856"/>
                </a:cubicBezTo>
                <a:cubicBezTo>
                  <a:pt x="220439" y="45266"/>
                  <a:pt x="217644" y="38210"/>
                  <a:pt x="217644" y="29691"/>
                </a:cubicBezTo>
                <a:cubicBezTo>
                  <a:pt x="217644" y="21438"/>
                  <a:pt x="220439" y="14383"/>
                  <a:pt x="226030" y="8658"/>
                </a:cubicBezTo>
                <a:cubicBezTo>
                  <a:pt x="231622" y="2800"/>
                  <a:pt x="238810" y="5"/>
                  <a:pt x="247862" y="5"/>
                </a:cubicBezTo>
                <a:close/>
                <a:moveTo>
                  <a:pt x="465507" y="5"/>
                </a:moveTo>
                <a:cubicBezTo>
                  <a:pt x="469767" y="5"/>
                  <a:pt x="473627" y="804"/>
                  <a:pt x="477222" y="2534"/>
                </a:cubicBezTo>
                <a:cubicBezTo>
                  <a:pt x="480949" y="4132"/>
                  <a:pt x="484011" y="6261"/>
                  <a:pt x="486540" y="8924"/>
                </a:cubicBezTo>
                <a:cubicBezTo>
                  <a:pt x="489202" y="11453"/>
                  <a:pt x="491199" y="14649"/>
                  <a:pt x="492663" y="18243"/>
                </a:cubicBezTo>
                <a:cubicBezTo>
                  <a:pt x="494127" y="21837"/>
                  <a:pt x="494926" y="25697"/>
                  <a:pt x="494926" y="29691"/>
                </a:cubicBezTo>
                <a:cubicBezTo>
                  <a:pt x="494926" y="33818"/>
                  <a:pt x="494127" y="37811"/>
                  <a:pt x="492663" y="41405"/>
                </a:cubicBezTo>
                <a:cubicBezTo>
                  <a:pt x="491199" y="45132"/>
                  <a:pt x="489069" y="48194"/>
                  <a:pt x="486540" y="50856"/>
                </a:cubicBezTo>
                <a:cubicBezTo>
                  <a:pt x="483877" y="53519"/>
                  <a:pt x="480816" y="55649"/>
                  <a:pt x="477222" y="57113"/>
                </a:cubicBezTo>
                <a:cubicBezTo>
                  <a:pt x="473627" y="58577"/>
                  <a:pt x="469767" y="59376"/>
                  <a:pt x="465507" y="59376"/>
                </a:cubicBezTo>
                <a:cubicBezTo>
                  <a:pt x="456588" y="59376"/>
                  <a:pt x="449266" y="56447"/>
                  <a:pt x="443675" y="50856"/>
                </a:cubicBezTo>
                <a:cubicBezTo>
                  <a:pt x="438084" y="45266"/>
                  <a:pt x="435289" y="38210"/>
                  <a:pt x="435289" y="29691"/>
                </a:cubicBezTo>
                <a:cubicBezTo>
                  <a:pt x="435289" y="21438"/>
                  <a:pt x="438084" y="14382"/>
                  <a:pt x="443675" y="8658"/>
                </a:cubicBezTo>
                <a:cubicBezTo>
                  <a:pt x="449266" y="2800"/>
                  <a:pt x="456455" y="5"/>
                  <a:pt x="465507" y="5"/>
                </a:cubicBezTo>
                <a:close/>
                <a:moveTo>
                  <a:pt x="683151" y="5"/>
                </a:moveTo>
                <a:cubicBezTo>
                  <a:pt x="687411" y="5"/>
                  <a:pt x="691272" y="804"/>
                  <a:pt x="694867" y="2534"/>
                </a:cubicBezTo>
                <a:cubicBezTo>
                  <a:pt x="698594" y="4132"/>
                  <a:pt x="701656" y="6261"/>
                  <a:pt x="704185" y="8924"/>
                </a:cubicBezTo>
                <a:cubicBezTo>
                  <a:pt x="706847" y="11453"/>
                  <a:pt x="708844" y="14648"/>
                  <a:pt x="710308" y="18242"/>
                </a:cubicBezTo>
                <a:cubicBezTo>
                  <a:pt x="711772" y="21837"/>
                  <a:pt x="712571" y="25697"/>
                  <a:pt x="712571" y="29691"/>
                </a:cubicBezTo>
                <a:cubicBezTo>
                  <a:pt x="712571" y="33818"/>
                  <a:pt x="711772" y="37811"/>
                  <a:pt x="710308" y="41405"/>
                </a:cubicBezTo>
                <a:cubicBezTo>
                  <a:pt x="708844" y="45132"/>
                  <a:pt x="706714" y="48194"/>
                  <a:pt x="704185" y="50856"/>
                </a:cubicBezTo>
                <a:cubicBezTo>
                  <a:pt x="701656" y="53519"/>
                  <a:pt x="698461" y="55649"/>
                  <a:pt x="694867" y="57113"/>
                </a:cubicBezTo>
                <a:cubicBezTo>
                  <a:pt x="691272" y="58577"/>
                  <a:pt x="687411" y="59376"/>
                  <a:pt x="683151" y="59376"/>
                </a:cubicBezTo>
                <a:cubicBezTo>
                  <a:pt x="674233" y="59376"/>
                  <a:pt x="666911" y="56447"/>
                  <a:pt x="661320" y="50856"/>
                </a:cubicBezTo>
                <a:cubicBezTo>
                  <a:pt x="655729" y="45266"/>
                  <a:pt x="652934" y="38210"/>
                  <a:pt x="652934" y="29691"/>
                </a:cubicBezTo>
                <a:cubicBezTo>
                  <a:pt x="652934" y="21438"/>
                  <a:pt x="655729" y="14382"/>
                  <a:pt x="661320" y="8658"/>
                </a:cubicBezTo>
                <a:cubicBezTo>
                  <a:pt x="666911" y="2800"/>
                  <a:pt x="674100" y="5"/>
                  <a:pt x="683151" y="5"/>
                </a:cubicBezTo>
                <a:close/>
                <a:moveTo>
                  <a:pt x="900796" y="5"/>
                </a:moveTo>
                <a:cubicBezTo>
                  <a:pt x="904923" y="5"/>
                  <a:pt x="908917" y="804"/>
                  <a:pt x="912511" y="2534"/>
                </a:cubicBezTo>
                <a:cubicBezTo>
                  <a:pt x="916238" y="4132"/>
                  <a:pt x="919300" y="6261"/>
                  <a:pt x="921829" y="8924"/>
                </a:cubicBezTo>
                <a:cubicBezTo>
                  <a:pt x="924491" y="11453"/>
                  <a:pt x="926488" y="14648"/>
                  <a:pt x="927952" y="18242"/>
                </a:cubicBezTo>
                <a:cubicBezTo>
                  <a:pt x="929417" y="21836"/>
                  <a:pt x="930216" y="25696"/>
                  <a:pt x="930216" y="29691"/>
                </a:cubicBezTo>
                <a:cubicBezTo>
                  <a:pt x="930216" y="33818"/>
                  <a:pt x="929417" y="37811"/>
                  <a:pt x="927952" y="41405"/>
                </a:cubicBezTo>
                <a:cubicBezTo>
                  <a:pt x="926488" y="45132"/>
                  <a:pt x="924358" y="48194"/>
                  <a:pt x="921829" y="50856"/>
                </a:cubicBezTo>
                <a:cubicBezTo>
                  <a:pt x="919300" y="53519"/>
                  <a:pt x="916105" y="55649"/>
                  <a:pt x="912511" y="57113"/>
                </a:cubicBezTo>
                <a:cubicBezTo>
                  <a:pt x="908917" y="58577"/>
                  <a:pt x="905056" y="59376"/>
                  <a:pt x="900796" y="59376"/>
                </a:cubicBezTo>
                <a:cubicBezTo>
                  <a:pt x="891878" y="59376"/>
                  <a:pt x="884556" y="56447"/>
                  <a:pt x="878965" y="50856"/>
                </a:cubicBezTo>
                <a:cubicBezTo>
                  <a:pt x="873375" y="45266"/>
                  <a:pt x="870579" y="38210"/>
                  <a:pt x="870579" y="29691"/>
                </a:cubicBezTo>
                <a:cubicBezTo>
                  <a:pt x="870579" y="21437"/>
                  <a:pt x="873375" y="14382"/>
                  <a:pt x="878965" y="8658"/>
                </a:cubicBezTo>
                <a:cubicBezTo>
                  <a:pt x="884556" y="2800"/>
                  <a:pt x="891745" y="5"/>
                  <a:pt x="900796" y="5"/>
                </a:cubicBezTo>
                <a:close/>
                <a:moveTo>
                  <a:pt x="1118308" y="5"/>
                </a:moveTo>
                <a:cubicBezTo>
                  <a:pt x="1122568" y="5"/>
                  <a:pt x="1126562" y="804"/>
                  <a:pt x="1130023" y="2534"/>
                </a:cubicBezTo>
                <a:cubicBezTo>
                  <a:pt x="1133750" y="4132"/>
                  <a:pt x="1136812" y="6261"/>
                  <a:pt x="1139342" y="8924"/>
                </a:cubicBezTo>
                <a:cubicBezTo>
                  <a:pt x="1142003" y="11453"/>
                  <a:pt x="1144000" y="14648"/>
                  <a:pt x="1145464" y="18242"/>
                </a:cubicBezTo>
                <a:cubicBezTo>
                  <a:pt x="1146929" y="21836"/>
                  <a:pt x="1147727" y="25696"/>
                  <a:pt x="1147727" y="29690"/>
                </a:cubicBezTo>
                <a:cubicBezTo>
                  <a:pt x="1147727" y="33818"/>
                  <a:pt x="1146929" y="37811"/>
                  <a:pt x="1145464" y="41405"/>
                </a:cubicBezTo>
                <a:cubicBezTo>
                  <a:pt x="1144000" y="45132"/>
                  <a:pt x="1141870" y="48194"/>
                  <a:pt x="1139342" y="50856"/>
                </a:cubicBezTo>
                <a:cubicBezTo>
                  <a:pt x="1136812" y="53519"/>
                  <a:pt x="1133617" y="55649"/>
                  <a:pt x="1130023" y="57113"/>
                </a:cubicBezTo>
                <a:cubicBezTo>
                  <a:pt x="1126428" y="58577"/>
                  <a:pt x="1122568" y="59376"/>
                  <a:pt x="1118308" y="59376"/>
                </a:cubicBezTo>
                <a:cubicBezTo>
                  <a:pt x="1109390" y="59376"/>
                  <a:pt x="1102067" y="56447"/>
                  <a:pt x="1096476" y="50856"/>
                </a:cubicBezTo>
                <a:cubicBezTo>
                  <a:pt x="1090885" y="45266"/>
                  <a:pt x="1088090" y="38210"/>
                  <a:pt x="1088090" y="29690"/>
                </a:cubicBezTo>
                <a:cubicBezTo>
                  <a:pt x="1088090" y="21437"/>
                  <a:pt x="1090885" y="14382"/>
                  <a:pt x="1096476" y="8658"/>
                </a:cubicBezTo>
                <a:cubicBezTo>
                  <a:pt x="1102067" y="2800"/>
                  <a:pt x="1109256" y="5"/>
                  <a:pt x="1118308" y="5"/>
                </a:cubicBezTo>
                <a:close/>
                <a:moveTo>
                  <a:pt x="1335953" y="5"/>
                </a:moveTo>
                <a:cubicBezTo>
                  <a:pt x="1340213" y="5"/>
                  <a:pt x="1344073" y="937"/>
                  <a:pt x="1347668" y="2534"/>
                </a:cubicBezTo>
                <a:cubicBezTo>
                  <a:pt x="1351262" y="4132"/>
                  <a:pt x="1354456" y="6261"/>
                  <a:pt x="1356986" y="8924"/>
                </a:cubicBezTo>
                <a:cubicBezTo>
                  <a:pt x="1359648" y="11453"/>
                  <a:pt x="1361645" y="14648"/>
                  <a:pt x="1363109" y="18242"/>
                </a:cubicBezTo>
                <a:cubicBezTo>
                  <a:pt x="1364573" y="21836"/>
                  <a:pt x="1365372" y="25696"/>
                  <a:pt x="1365372" y="29690"/>
                </a:cubicBezTo>
                <a:cubicBezTo>
                  <a:pt x="1365372" y="33817"/>
                  <a:pt x="1364573" y="37811"/>
                  <a:pt x="1363109" y="41405"/>
                </a:cubicBezTo>
                <a:cubicBezTo>
                  <a:pt x="1361645" y="45132"/>
                  <a:pt x="1359515" y="48194"/>
                  <a:pt x="1356986" y="50856"/>
                </a:cubicBezTo>
                <a:cubicBezTo>
                  <a:pt x="1354323" y="53519"/>
                  <a:pt x="1351262" y="55649"/>
                  <a:pt x="1347668" y="57113"/>
                </a:cubicBezTo>
                <a:cubicBezTo>
                  <a:pt x="1344073" y="58577"/>
                  <a:pt x="1340213" y="59376"/>
                  <a:pt x="1335953" y="59376"/>
                </a:cubicBezTo>
                <a:cubicBezTo>
                  <a:pt x="1327034" y="59376"/>
                  <a:pt x="1319712" y="56447"/>
                  <a:pt x="1314121" y="50856"/>
                </a:cubicBezTo>
                <a:cubicBezTo>
                  <a:pt x="1308530" y="45266"/>
                  <a:pt x="1305735" y="38210"/>
                  <a:pt x="1305735" y="29690"/>
                </a:cubicBezTo>
                <a:cubicBezTo>
                  <a:pt x="1305735" y="21437"/>
                  <a:pt x="1308530" y="14382"/>
                  <a:pt x="1314121" y="8658"/>
                </a:cubicBezTo>
                <a:cubicBezTo>
                  <a:pt x="1319712" y="2800"/>
                  <a:pt x="1326901" y="5"/>
                  <a:pt x="1335953" y="5"/>
                </a:cubicBezTo>
                <a:close/>
                <a:moveTo>
                  <a:pt x="1553598" y="5"/>
                </a:moveTo>
                <a:cubicBezTo>
                  <a:pt x="1557858" y="5"/>
                  <a:pt x="1561719" y="937"/>
                  <a:pt x="1565313" y="2534"/>
                </a:cubicBezTo>
                <a:cubicBezTo>
                  <a:pt x="1568907" y="4132"/>
                  <a:pt x="1572102" y="6261"/>
                  <a:pt x="1574631" y="8924"/>
                </a:cubicBezTo>
                <a:cubicBezTo>
                  <a:pt x="1577293" y="11453"/>
                  <a:pt x="1579290" y="14648"/>
                  <a:pt x="1580754" y="18242"/>
                </a:cubicBezTo>
                <a:cubicBezTo>
                  <a:pt x="1582218" y="21836"/>
                  <a:pt x="1583017" y="25696"/>
                  <a:pt x="1583017" y="29690"/>
                </a:cubicBezTo>
                <a:cubicBezTo>
                  <a:pt x="1583017" y="33817"/>
                  <a:pt x="1582218" y="37810"/>
                  <a:pt x="1580754" y="41404"/>
                </a:cubicBezTo>
                <a:cubicBezTo>
                  <a:pt x="1579290" y="45132"/>
                  <a:pt x="1577160" y="48194"/>
                  <a:pt x="1574631" y="50856"/>
                </a:cubicBezTo>
                <a:cubicBezTo>
                  <a:pt x="1571969" y="53519"/>
                  <a:pt x="1568907" y="55649"/>
                  <a:pt x="1565313" y="57113"/>
                </a:cubicBezTo>
                <a:cubicBezTo>
                  <a:pt x="1561719" y="58577"/>
                  <a:pt x="1557858" y="59376"/>
                  <a:pt x="1553598" y="59376"/>
                </a:cubicBezTo>
                <a:cubicBezTo>
                  <a:pt x="1544679" y="59376"/>
                  <a:pt x="1537357" y="56447"/>
                  <a:pt x="1531766" y="50856"/>
                </a:cubicBezTo>
                <a:cubicBezTo>
                  <a:pt x="1526176" y="45265"/>
                  <a:pt x="1523380" y="38209"/>
                  <a:pt x="1523380" y="29690"/>
                </a:cubicBezTo>
                <a:cubicBezTo>
                  <a:pt x="1523380" y="21437"/>
                  <a:pt x="1526176" y="14382"/>
                  <a:pt x="1531766" y="8658"/>
                </a:cubicBezTo>
                <a:cubicBezTo>
                  <a:pt x="1537357" y="2800"/>
                  <a:pt x="1544545" y="5"/>
                  <a:pt x="1553598" y="5"/>
                </a:cubicBezTo>
                <a:close/>
                <a:moveTo>
                  <a:pt x="1771243" y="5"/>
                </a:moveTo>
                <a:cubicBezTo>
                  <a:pt x="1775503" y="5"/>
                  <a:pt x="1779363" y="804"/>
                  <a:pt x="1782958" y="2534"/>
                </a:cubicBezTo>
                <a:cubicBezTo>
                  <a:pt x="1786685" y="4132"/>
                  <a:pt x="1789747" y="6261"/>
                  <a:pt x="1792276" y="8924"/>
                </a:cubicBezTo>
                <a:cubicBezTo>
                  <a:pt x="1794938" y="11453"/>
                  <a:pt x="1796936" y="14648"/>
                  <a:pt x="1798400" y="18242"/>
                </a:cubicBezTo>
                <a:cubicBezTo>
                  <a:pt x="1799864" y="21836"/>
                  <a:pt x="1800663" y="25696"/>
                  <a:pt x="1800663" y="29690"/>
                </a:cubicBezTo>
                <a:cubicBezTo>
                  <a:pt x="1800663" y="33817"/>
                  <a:pt x="1799864" y="37810"/>
                  <a:pt x="1798400" y="41404"/>
                </a:cubicBezTo>
                <a:cubicBezTo>
                  <a:pt x="1796936" y="45131"/>
                  <a:pt x="1794806" y="48193"/>
                  <a:pt x="1792276" y="50856"/>
                </a:cubicBezTo>
                <a:cubicBezTo>
                  <a:pt x="1789613" y="53519"/>
                  <a:pt x="1786553" y="55649"/>
                  <a:pt x="1782958" y="57113"/>
                </a:cubicBezTo>
                <a:cubicBezTo>
                  <a:pt x="1779363" y="58577"/>
                  <a:pt x="1775503" y="59376"/>
                  <a:pt x="1771243" y="59376"/>
                </a:cubicBezTo>
                <a:cubicBezTo>
                  <a:pt x="1762324" y="59376"/>
                  <a:pt x="1755003" y="56447"/>
                  <a:pt x="1749412" y="50856"/>
                </a:cubicBezTo>
                <a:cubicBezTo>
                  <a:pt x="1743821" y="45265"/>
                  <a:pt x="1741026" y="38209"/>
                  <a:pt x="1741026" y="29690"/>
                </a:cubicBezTo>
                <a:cubicBezTo>
                  <a:pt x="1741026" y="21437"/>
                  <a:pt x="1743821" y="14382"/>
                  <a:pt x="1749412" y="8658"/>
                </a:cubicBezTo>
                <a:cubicBezTo>
                  <a:pt x="1755003" y="2800"/>
                  <a:pt x="1762191" y="5"/>
                  <a:pt x="1771243" y="5"/>
                </a:cubicBezTo>
                <a:close/>
                <a:moveTo>
                  <a:pt x="1988888" y="4"/>
                </a:moveTo>
                <a:cubicBezTo>
                  <a:pt x="1993015" y="4"/>
                  <a:pt x="1997009" y="803"/>
                  <a:pt x="2000603" y="2534"/>
                </a:cubicBezTo>
                <a:cubicBezTo>
                  <a:pt x="2004330" y="4131"/>
                  <a:pt x="2007392" y="6261"/>
                  <a:pt x="2009921" y="8924"/>
                </a:cubicBezTo>
                <a:cubicBezTo>
                  <a:pt x="2012583" y="11453"/>
                  <a:pt x="2014580" y="14648"/>
                  <a:pt x="2016044" y="18242"/>
                </a:cubicBezTo>
                <a:cubicBezTo>
                  <a:pt x="2017508" y="21836"/>
                  <a:pt x="2018307" y="25696"/>
                  <a:pt x="2018307" y="29690"/>
                </a:cubicBezTo>
                <a:cubicBezTo>
                  <a:pt x="2018307" y="33817"/>
                  <a:pt x="2017508" y="37810"/>
                  <a:pt x="2016044" y="41404"/>
                </a:cubicBezTo>
                <a:cubicBezTo>
                  <a:pt x="2014580" y="45131"/>
                  <a:pt x="2012450" y="48193"/>
                  <a:pt x="2009921" y="50855"/>
                </a:cubicBezTo>
                <a:cubicBezTo>
                  <a:pt x="2007392" y="53518"/>
                  <a:pt x="2004197" y="55648"/>
                  <a:pt x="2000603" y="57113"/>
                </a:cubicBezTo>
                <a:cubicBezTo>
                  <a:pt x="1997009" y="58577"/>
                  <a:pt x="1993148" y="59376"/>
                  <a:pt x="1988888" y="59376"/>
                </a:cubicBezTo>
                <a:cubicBezTo>
                  <a:pt x="1979836" y="59376"/>
                  <a:pt x="1972647" y="56446"/>
                  <a:pt x="1967056" y="50855"/>
                </a:cubicBezTo>
                <a:cubicBezTo>
                  <a:pt x="1961466" y="45265"/>
                  <a:pt x="1958670" y="38209"/>
                  <a:pt x="1958670" y="29690"/>
                </a:cubicBezTo>
                <a:cubicBezTo>
                  <a:pt x="1958670" y="21437"/>
                  <a:pt x="1961466" y="14382"/>
                  <a:pt x="1967056" y="8658"/>
                </a:cubicBezTo>
                <a:cubicBezTo>
                  <a:pt x="1972647" y="2799"/>
                  <a:pt x="1979836" y="4"/>
                  <a:pt x="1988888" y="4"/>
                </a:cubicBezTo>
                <a:close/>
                <a:moveTo>
                  <a:pt x="2206400" y="4"/>
                </a:moveTo>
                <a:cubicBezTo>
                  <a:pt x="2210660" y="4"/>
                  <a:pt x="2214654" y="803"/>
                  <a:pt x="2218115" y="2533"/>
                </a:cubicBezTo>
                <a:cubicBezTo>
                  <a:pt x="2221842" y="4131"/>
                  <a:pt x="2224903" y="6260"/>
                  <a:pt x="2227434" y="8923"/>
                </a:cubicBezTo>
                <a:cubicBezTo>
                  <a:pt x="2230096" y="11453"/>
                  <a:pt x="2232093" y="14648"/>
                  <a:pt x="2233556" y="18242"/>
                </a:cubicBezTo>
                <a:cubicBezTo>
                  <a:pt x="2235020" y="21836"/>
                  <a:pt x="2235819" y="25696"/>
                  <a:pt x="2235819" y="29690"/>
                </a:cubicBezTo>
                <a:cubicBezTo>
                  <a:pt x="2235819" y="33817"/>
                  <a:pt x="2235020" y="37810"/>
                  <a:pt x="2233556" y="41404"/>
                </a:cubicBezTo>
                <a:cubicBezTo>
                  <a:pt x="2232093" y="45131"/>
                  <a:pt x="2229962" y="48193"/>
                  <a:pt x="2227434" y="50855"/>
                </a:cubicBezTo>
                <a:cubicBezTo>
                  <a:pt x="2224903" y="53518"/>
                  <a:pt x="2221709" y="55648"/>
                  <a:pt x="2218115" y="57112"/>
                </a:cubicBezTo>
                <a:cubicBezTo>
                  <a:pt x="2214520" y="58576"/>
                  <a:pt x="2210660" y="59375"/>
                  <a:pt x="2206400" y="59375"/>
                </a:cubicBezTo>
                <a:cubicBezTo>
                  <a:pt x="2197348" y="59375"/>
                  <a:pt x="2190159" y="56446"/>
                  <a:pt x="2184569" y="50855"/>
                </a:cubicBezTo>
                <a:cubicBezTo>
                  <a:pt x="2178977" y="45265"/>
                  <a:pt x="2176183" y="38209"/>
                  <a:pt x="2176183" y="29690"/>
                </a:cubicBezTo>
                <a:cubicBezTo>
                  <a:pt x="2176183" y="21437"/>
                  <a:pt x="2178977" y="14382"/>
                  <a:pt x="2184569" y="8657"/>
                </a:cubicBezTo>
                <a:cubicBezTo>
                  <a:pt x="2190159" y="2799"/>
                  <a:pt x="2197348" y="4"/>
                  <a:pt x="2206400" y="4"/>
                </a:cubicBezTo>
                <a:close/>
                <a:moveTo>
                  <a:pt x="2424045" y="4"/>
                </a:moveTo>
                <a:cubicBezTo>
                  <a:pt x="2428306" y="4"/>
                  <a:pt x="2432300" y="803"/>
                  <a:pt x="2435761" y="2533"/>
                </a:cubicBezTo>
                <a:cubicBezTo>
                  <a:pt x="2439488" y="4131"/>
                  <a:pt x="2442550" y="6260"/>
                  <a:pt x="2445079" y="8923"/>
                </a:cubicBezTo>
                <a:cubicBezTo>
                  <a:pt x="2447741" y="11452"/>
                  <a:pt x="2449738" y="14648"/>
                  <a:pt x="2451202" y="18242"/>
                </a:cubicBezTo>
                <a:cubicBezTo>
                  <a:pt x="2452666" y="21836"/>
                  <a:pt x="2453465" y="25696"/>
                  <a:pt x="2453465" y="29690"/>
                </a:cubicBezTo>
                <a:cubicBezTo>
                  <a:pt x="2453465" y="33817"/>
                  <a:pt x="2452666" y="37810"/>
                  <a:pt x="2451202" y="41404"/>
                </a:cubicBezTo>
                <a:cubicBezTo>
                  <a:pt x="2449738" y="45131"/>
                  <a:pt x="2447608" y="48193"/>
                  <a:pt x="2445079" y="50855"/>
                </a:cubicBezTo>
                <a:cubicBezTo>
                  <a:pt x="2442550" y="53518"/>
                  <a:pt x="2439355" y="55648"/>
                  <a:pt x="2435761" y="57112"/>
                </a:cubicBezTo>
                <a:cubicBezTo>
                  <a:pt x="2432166" y="58576"/>
                  <a:pt x="2428306" y="59375"/>
                  <a:pt x="2424045" y="59375"/>
                </a:cubicBezTo>
                <a:cubicBezTo>
                  <a:pt x="2415127" y="59375"/>
                  <a:pt x="2407805" y="56446"/>
                  <a:pt x="2402214" y="50855"/>
                </a:cubicBezTo>
                <a:cubicBezTo>
                  <a:pt x="2396624" y="45265"/>
                  <a:pt x="2393828" y="38209"/>
                  <a:pt x="2393828" y="29690"/>
                </a:cubicBezTo>
                <a:cubicBezTo>
                  <a:pt x="2393828" y="21437"/>
                  <a:pt x="2396624" y="14381"/>
                  <a:pt x="2402214" y="8657"/>
                </a:cubicBezTo>
                <a:cubicBezTo>
                  <a:pt x="2407805" y="2799"/>
                  <a:pt x="2414993" y="4"/>
                  <a:pt x="2424045" y="4"/>
                </a:cubicBezTo>
                <a:close/>
                <a:moveTo>
                  <a:pt x="2641691" y="4"/>
                </a:moveTo>
                <a:cubicBezTo>
                  <a:pt x="2645951" y="4"/>
                  <a:pt x="2649811" y="803"/>
                  <a:pt x="2653406" y="2533"/>
                </a:cubicBezTo>
                <a:cubicBezTo>
                  <a:pt x="2657133" y="4131"/>
                  <a:pt x="2660195" y="6260"/>
                  <a:pt x="2662724" y="8923"/>
                </a:cubicBezTo>
                <a:cubicBezTo>
                  <a:pt x="2665386" y="11452"/>
                  <a:pt x="2667383" y="14647"/>
                  <a:pt x="2668847" y="18241"/>
                </a:cubicBezTo>
                <a:cubicBezTo>
                  <a:pt x="2670311" y="21836"/>
                  <a:pt x="2671110" y="25696"/>
                  <a:pt x="2671110" y="29690"/>
                </a:cubicBezTo>
                <a:cubicBezTo>
                  <a:pt x="2671110" y="33817"/>
                  <a:pt x="2670311" y="37810"/>
                  <a:pt x="2668847" y="41404"/>
                </a:cubicBezTo>
                <a:cubicBezTo>
                  <a:pt x="2667383" y="45131"/>
                  <a:pt x="2665253" y="48193"/>
                  <a:pt x="2662724" y="50855"/>
                </a:cubicBezTo>
                <a:cubicBezTo>
                  <a:pt x="2660195" y="53518"/>
                  <a:pt x="2657000" y="55648"/>
                  <a:pt x="2653406" y="57112"/>
                </a:cubicBezTo>
                <a:cubicBezTo>
                  <a:pt x="2649811" y="58576"/>
                  <a:pt x="2645951" y="59375"/>
                  <a:pt x="2641691" y="59375"/>
                </a:cubicBezTo>
                <a:cubicBezTo>
                  <a:pt x="2632771" y="59375"/>
                  <a:pt x="2625450" y="56446"/>
                  <a:pt x="2619859" y="50855"/>
                </a:cubicBezTo>
                <a:cubicBezTo>
                  <a:pt x="2614268" y="45265"/>
                  <a:pt x="2611473" y="38209"/>
                  <a:pt x="2611473" y="29690"/>
                </a:cubicBezTo>
                <a:cubicBezTo>
                  <a:pt x="2611473" y="21437"/>
                  <a:pt x="2614268" y="14381"/>
                  <a:pt x="2619859" y="8657"/>
                </a:cubicBezTo>
                <a:cubicBezTo>
                  <a:pt x="2625450" y="2799"/>
                  <a:pt x="2632639" y="4"/>
                  <a:pt x="2641691" y="4"/>
                </a:cubicBezTo>
                <a:close/>
                <a:moveTo>
                  <a:pt x="2859336" y="4"/>
                </a:moveTo>
                <a:cubicBezTo>
                  <a:pt x="2863596" y="4"/>
                  <a:pt x="2867457" y="803"/>
                  <a:pt x="2871184" y="2533"/>
                </a:cubicBezTo>
                <a:cubicBezTo>
                  <a:pt x="2874911" y="4131"/>
                  <a:pt x="2877973" y="6260"/>
                  <a:pt x="2880502" y="8923"/>
                </a:cubicBezTo>
                <a:cubicBezTo>
                  <a:pt x="2883164" y="11452"/>
                  <a:pt x="2885162" y="14647"/>
                  <a:pt x="2886626" y="18241"/>
                </a:cubicBezTo>
                <a:cubicBezTo>
                  <a:pt x="2888090" y="21835"/>
                  <a:pt x="2888889" y="25695"/>
                  <a:pt x="2888889" y="29690"/>
                </a:cubicBezTo>
                <a:cubicBezTo>
                  <a:pt x="2888889" y="33817"/>
                  <a:pt x="2888090" y="37810"/>
                  <a:pt x="2886626" y="41404"/>
                </a:cubicBezTo>
                <a:cubicBezTo>
                  <a:pt x="2885162" y="45131"/>
                  <a:pt x="2883031" y="48193"/>
                  <a:pt x="2880502" y="50855"/>
                </a:cubicBezTo>
                <a:cubicBezTo>
                  <a:pt x="2877841" y="53518"/>
                  <a:pt x="2874778" y="55648"/>
                  <a:pt x="2871184" y="57112"/>
                </a:cubicBezTo>
                <a:cubicBezTo>
                  <a:pt x="2867457" y="58576"/>
                  <a:pt x="2863596" y="59375"/>
                  <a:pt x="2859336" y="59375"/>
                </a:cubicBezTo>
                <a:cubicBezTo>
                  <a:pt x="2850418" y="59375"/>
                  <a:pt x="2843096" y="56446"/>
                  <a:pt x="2837505" y="50855"/>
                </a:cubicBezTo>
                <a:cubicBezTo>
                  <a:pt x="2831914" y="45265"/>
                  <a:pt x="2829119" y="38209"/>
                  <a:pt x="2829119" y="29690"/>
                </a:cubicBezTo>
                <a:cubicBezTo>
                  <a:pt x="2829119" y="21436"/>
                  <a:pt x="2831914" y="14381"/>
                  <a:pt x="2837505" y="8657"/>
                </a:cubicBezTo>
                <a:cubicBezTo>
                  <a:pt x="2843096" y="2799"/>
                  <a:pt x="2850285" y="4"/>
                  <a:pt x="2859336" y="4"/>
                </a:cubicBezTo>
                <a:close/>
                <a:moveTo>
                  <a:pt x="3076981" y="4"/>
                </a:moveTo>
                <a:cubicBezTo>
                  <a:pt x="3081109" y="4"/>
                  <a:pt x="3085102" y="936"/>
                  <a:pt x="3088696" y="2533"/>
                </a:cubicBezTo>
                <a:cubicBezTo>
                  <a:pt x="3092291" y="4131"/>
                  <a:pt x="3095486" y="6260"/>
                  <a:pt x="3098014" y="8923"/>
                </a:cubicBezTo>
                <a:cubicBezTo>
                  <a:pt x="3100544" y="11452"/>
                  <a:pt x="3102674" y="14647"/>
                  <a:pt x="3104138" y="18241"/>
                </a:cubicBezTo>
                <a:cubicBezTo>
                  <a:pt x="3105603" y="21835"/>
                  <a:pt x="3106401" y="25695"/>
                  <a:pt x="3106401" y="29689"/>
                </a:cubicBezTo>
                <a:cubicBezTo>
                  <a:pt x="3106401" y="33817"/>
                  <a:pt x="3105603" y="37810"/>
                  <a:pt x="3104138" y="41404"/>
                </a:cubicBezTo>
                <a:cubicBezTo>
                  <a:pt x="3102674" y="45131"/>
                  <a:pt x="3100544" y="48193"/>
                  <a:pt x="3098014" y="50855"/>
                </a:cubicBezTo>
                <a:cubicBezTo>
                  <a:pt x="3095352" y="53518"/>
                  <a:pt x="3092291" y="55648"/>
                  <a:pt x="3088696" y="57112"/>
                </a:cubicBezTo>
                <a:cubicBezTo>
                  <a:pt x="3085102" y="58576"/>
                  <a:pt x="3081241" y="59375"/>
                  <a:pt x="3076981" y="59375"/>
                </a:cubicBezTo>
                <a:cubicBezTo>
                  <a:pt x="3068063" y="59375"/>
                  <a:pt x="3060741" y="56446"/>
                  <a:pt x="3055150" y="50855"/>
                </a:cubicBezTo>
                <a:cubicBezTo>
                  <a:pt x="3049559" y="45265"/>
                  <a:pt x="3046763" y="38209"/>
                  <a:pt x="3046763" y="29689"/>
                </a:cubicBezTo>
                <a:cubicBezTo>
                  <a:pt x="3046763" y="21436"/>
                  <a:pt x="3049559" y="14381"/>
                  <a:pt x="3055150" y="8657"/>
                </a:cubicBezTo>
                <a:cubicBezTo>
                  <a:pt x="3060741" y="2799"/>
                  <a:pt x="3067929" y="4"/>
                  <a:pt x="3076981" y="4"/>
                </a:cubicBezTo>
                <a:close/>
                <a:moveTo>
                  <a:pt x="3294626" y="4"/>
                </a:moveTo>
                <a:cubicBezTo>
                  <a:pt x="3298753" y="4"/>
                  <a:pt x="3302748" y="803"/>
                  <a:pt x="3306342" y="2533"/>
                </a:cubicBezTo>
                <a:cubicBezTo>
                  <a:pt x="3310069" y="4131"/>
                  <a:pt x="3313131" y="6260"/>
                  <a:pt x="3315660" y="8923"/>
                </a:cubicBezTo>
                <a:cubicBezTo>
                  <a:pt x="3318189" y="11452"/>
                  <a:pt x="3320319" y="14647"/>
                  <a:pt x="3321783" y="18241"/>
                </a:cubicBezTo>
                <a:cubicBezTo>
                  <a:pt x="3323247" y="21835"/>
                  <a:pt x="3324046" y="25695"/>
                  <a:pt x="3324046" y="29689"/>
                </a:cubicBezTo>
                <a:cubicBezTo>
                  <a:pt x="3324046" y="33816"/>
                  <a:pt x="3323247" y="37810"/>
                  <a:pt x="3321783" y="41404"/>
                </a:cubicBezTo>
                <a:cubicBezTo>
                  <a:pt x="3320319" y="45131"/>
                  <a:pt x="3318189" y="48193"/>
                  <a:pt x="3315660" y="50855"/>
                </a:cubicBezTo>
                <a:cubicBezTo>
                  <a:pt x="3312997" y="53518"/>
                  <a:pt x="3309936" y="55648"/>
                  <a:pt x="3306342" y="57112"/>
                </a:cubicBezTo>
                <a:cubicBezTo>
                  <a:pt x="3302748" y="58576"/>
                  <a:pt x="3298887" y="59375"/>
                  <a:pt x="3294626" y="59375"/>
                </a:cubicBezTo>
                <a:cubicBezTo>
                  <a:pt x="3285575" y="59375"/>
                  <a:pt x="3278386" y="56446"/>
                  <a:pt x="3272795" y="50855"/>
                </a:cubicBezTo>
                <a:cubicBezTo>
                  <a:pt x="3267204" y="45265"/>
                  <a:pt x="3264409" y="38209"/>
                  <a:pt x="3264409" y="29689"/>
                </a:cubicBezTo>
                <a:cubicBezTo>
                  <a:pt x="3264409" y="21436"/>
                  <a:pt x="3267204" y="14381"/>
                  <a:pt x="3272795" y="8657"/>
                </a:cubicBezTo>
                <a:cubicBezTo>
                  <a:pt x="3278386" y="2799"/>
                  <a:pt x="3285575" y="4"/>
                  <a:pt x="3294626" y="4"/>
                </a:cubicBezTo>
                <a:close/>
                <a:moveTo>
                  <a:pt x="3512138" y="4"/>
                </a:moveTo>
                <a:cubicBezTo>
                  <a:pt x="3516399" y="4"/>
                  <a:pt x="3520260" y="936"/>
                  <a:pt x="3523854" y="2533"/>
                </a:cubicBezTo>
                <a:cubicBezTo>
                  <a:pt x="3527448" y="4131"/>
                  <a:pt x="3530643" y="6260"/>
                  <a:pt x="3533172" y="8923"/>
                </a:cubicBezTo>
                <a:cubicBezTo>
                  <a:pt x="3535701" y="11452"/>
                  <a:pt x="3537831" y="14647"/>
                  <a:pt x="3539295" y="18241"/>
                </a:cubicBezTo>
                <a:cubicBezTo>
                  <a:pt x="3540759" y="21835"/>
                  <a:pt x="3541558" y="25695"/>
                  <a:pt x="3541558" y="29689"/>
                </a:cubicBezTo>
                <a:cubicBezTo>
                  <a:pt x="3541558" y="33816"/>
                  <a:pt x="3540759" y="37809"/>
                  <a:pt x="3539295" y="41403"/>
                </a:cubicBezTo>
                <a:cubicBezTo>
                  <a:pt x="3537831" y="45131"/>
                  <a:pt x="3535701" y="48193"/>
                  <a:pt x="3533172" y="50855"/>
                </a:cubicBezTo>
                <a:cubicBezTo>
                  <a:pt x="3530509" y="53518"/>
                  <a:pt x="3527448" y="55648"/>
                  <a:pt x="3523854" y="57112"/>
                </a:cubicBezTo>
                <a:cubicBezTo>
                  <a:pt x="3520260" y="58576"/>
                  <a:pt x="3516399" y="59375"/>
                  <a:pt x="3512138" y="59375"/>
                </a:cubicBezTo>
                <a:cubicBezTo>
                  <a:pt x="3503087" y="59375"/>
                  <a:pt x="3495898" y="56446"/>
                  <a:pt x="3490307" y="50855"/>
                </a:cubicBezTo>
                <a:cubicBezTo>
                  <a:pt x="3484716" y="45264"/>
                  <a:pt x="3481921" y="38208"/>
                  <a:pt x="3481921" y="29689"/>
                </a:cubicBezTo>
                <a:cubicBezTo>
                  <a:pt x="3481921" y="21436"/>
                  <a:pt x="3484716" y="14381"/>
                  <a:pt x="3490307" y="8657"/>
                </a:cubicBezTo>
                <a:cubicBezTo>
                  <a:pt x="3495898" y="2799"/>
                  <a:pt x="3503087" y="4"/>
                  <a:pt x="3512138" y="4"/>
                </a:cubicBezTo>
                <a:close/>
                <a:moveTo>
                  <a:pt x="3729784" y="4"/>
                </a:moveTo>
                <a:cubicBezTo>
                  <a:pt x="3734044" y="4"/>
                  <a:pt x="3737905" y="936"/>
                  <a:pt x="3741499" y="2533"/>
                </a:cubicBezTo>
                <a:cubicBezTo>
                  <a:pt x="3745093" y="4131"/>
                  <a:pt x="3748288" y="6260"/>
                  <a:pt x="3750817" y="8923"/>
                </a:cubicBezTo>
                <a:cubicBezTo>
                  <a:pt x="3753347" y="11452"/>
                  <a:pt x="3755476" y="14647"/>
                  <a:pt x="3756940" y="18241"/>
                </a:cubicBezTo>
                <a:cubicBezTo>
                  <a:pt x="3758404" y="21835"/>
                  <a:pt x="3759203" y="25695"/>
                  <a:pt x="3759203" y="29689"/>
                </a:cubicBezTo>
                <a:cubicBezTo>
                  <a:pt x="3759203" y="33816"/>
                  <a:pt x="3758404" y="37809"/>
                  <a:pt x="3756940" y="41403"/>
                </a:cubicBezTo>
                <a:cubicBezTo>
                  <a:pt x="3755476" y="45130"/>
                  <a:pt x="3753347" y="48192"/>
                  <a:pt x="3750817" y="50855"/>
                </a:cubicBezTo>
                <a:cubicBezTo>
                  <a:pt x="3748154" y="53518"/>
                  <a:pt x="3745093" y="55648"/>
                  <a:pt x="3741499" y="57112"/>
                </a:cubicBezTo>
                <a:cubicBezTo>
                  <a:pt x="3737905" y="58576"/>
                  <a:pt x="3734044" y="59375"/>
                  <a:pt x="3729784" y="59375"/>
                </a:cubicBezTo>
                <a:cubicBezTo>
                  <a:pt x="3720732" y="59375"/>
                  <a:pt x="3713544" y="56446"/>
                  <a:pt x="3707953" y="50855"/>
                </a:cubicBezTo>
                <a:cubicBezTo>
                  <a:pt x="3702361" y="45264"/>
                  <a:pt x="3699566" y="38208"/>
                  <a:pt x="3699566" y="29689"/>
                </a:cubicBezTo>
                <a:cubicBezTo>
                  <a:pt x="3699566" y="21436"/>
                  <a:pt x="3702361" y="14381"/>
                  <a:pt x="3707953" y="8657"/>
                </a:cubicBezTo>
                <a:cubicBezTo>
                  <a:pt x="3713544" y="2799"/>
                  <a:pt x="3720732" y="4"/>
                  <a:pt x="3729784" y="4"/>
                </a:cubicBezTo>
                <a:close/>
                <a:moveTo>
                  <a:pt x="3947430" y="3"/>
                </a:moveTo>
                <a:cubicBezTo>
                  <a:pt x="3951690" y="3"/>
                  <a:pt x="3955550" y="802"/>
                  <a:pt x="3959145" y="2533"/>
                </a:cubicBezTo>
                <a:cubicBezTo>
                  <a:pt x="3962873" y="4130"/>
                  <a:pt x="3965933" y="6260"/>
                  <a:pt x="3968462" y="8923"/>
                </a:cubicBezTo>
                <a:cubicBezTo>
                  <a:pt x="3970993" y="11452"/>
                  <a:pt x="3973122" y="14647"/>
                  <a:pt x="3974586" y="18241"/>
                </a:cubicBezTo>
                <a:cubicBezTo>
                  <a:pt x="3976051" y="21835"/>
                  <a:pt x="3976850" y="25695"/>
                  <a:pt x="3976850" y="29689"/>
                </a:cubicBezTo>
                <a:cubicBezTo>
                  <a:pt x="3976850" y="33816"/>
                  <a:pt x="3976051" y="37809"/>
                  <a:pt x="3974586" y="41403"/>
                </a:cubicBezTo>
                <a:cubicBezTo>
                  <a:pt x="3973122" y="45130"/>
                  <a:pt x="3970993" y="48192"/>
                  <a:pt x="3968462" y="50854"/>
                </a:cubicBezTo>
                <a:cubicBezTo>
                  <a:pt x="3965800" y="53517"/>
                  <a:pt x="3962739" y="55647"/>
                  <a:pt x="3959145" y="57112"/>
                </a:cubicBezTo>
                <a:cubicBezTo>
                  <a:pt x="3955550" y="58576"/>
                  <a:pt x="3951690" y="59375"/>
                  <a:pt x="3947430" y="59375"/>
                </a:cubicBezTo>
                <a:cubicBezTo>
                  <a:pt x="3938378" y="59375"/>
                  <a:pt x="3931190" y="56445"/>
                  <a:pt x="3925599" y="50854"/>
                </a:cubicBezTo>
                <a:cubicBezTo>
                  <a:pt x="3920008" y="45264"/>
                  <a:pt x="3917212" y="38208"/>
                  <a:pt x="3917212" y="29689"/>
                </a:cubicBezTo>
                <a:cubicBezTo>
                  <a:pt x="3917212" y="21436"/>
                  <a:pt x="3920008" y="14381"/>
                  <a:pt x="3925599" y="8657"/>
                </a:cubicBezTo>
                <a:cubicBezTo>
                  <a:pt x="3931190" y="2798"/>
                  <a:pt x="3938378" y="3"/>
                  <a:pt x="3947430" y="3"/>
                </a:cubicBezTo>
                <a:close/>
                <a:moveTo>
                  <a:pt x="4165068" y="3"/>
                </a:moveTo>
                <a:cubicBezTo>
                  <a:pt x="4169327" y="3"/>
                  <a:pt x="4173188" y="802"/>
                  <a:pt x="4176782" y="2532"/>
                </a:cubicBezTo>
                <a:cubicBezTo>
                  <a:pt x="4180509" y="4130"/>
                  <a:pt x="4183571" y="6259"/>
                  <a:pt x="4186100" y="8922"/>
                </a:cubicBezTo>
                <a:cubicBezTo>
                  <a:pt x="4188629" y="11452"/>
                  <a:pt x="4190759" y="14647"/>
                  <a:pt x="4192223" y="18241"/>
                </a:cubicBezTo>
                <a:cubicBezTo>
                  <a:pt x="4193688" y="21835"/>
                  <a:pt x="4194486" y="25695"/>
                  <a:pt x="4194486" y="29689"/>
                </a:cubicBezTo>
                <a:cubicBezTo>
                  <a:pt x="4194486" y="33816"/>
                  <a:pt x="4193688" y="37809"/>
                  <a:pt x="4192223" y="41403"/>
                </a:cubicBezTo>
                <a:cubicBezTo>
                  <a:pt x="4190759" y="45130"/>
                  <a:pt x="4188629" y="48192"/>
                  <a:pt x="4186100" y="50854"/>
                </a:cubicBezTo>
                <a:cubicBezTo>
                  <a:pt x="4183438" y="53517"/>
                  <a:pt x="4180376" y="55647"/>
                  <a:pt x="4176782" y="57111"/>
                </a:cubicBezTo>
                <a:cubicBezTo>
                  <a:pt x="4173188" y="58575"/>
                  <a:pt x="4169327" y="59374"/>
                  <a:pt x="4165068" y="59374"/>
                </a:cubicBezTo>
                <a:cubicBezTo>
                  <a:pt x="4156015" y="59374"/>
                  <a:pt x="4148827" y="56445"/>
                  <a:pt x="4143235" y="50854"/>
                </a:cubicBezTo>
                <a:cubicBezTo>
                  <a:pt x="4137645" y="45264"/>
                  <a:pt x="4134849" y="38208"/>
                  <a:pt x="4134849" y="29689"/>
                </a:cubicBezTo>
                <a:cubicBezTo>
                  <a:pt x="4134849" y="21436"/>
                  <a:pt x="4137645" y="14381"/>
                  <a:pt x="4143235" y="8656"/>
                </a:cubicBezTo>
                <a:cubicBezTo>
                  <a:pt x="4148827" y="2798"/>
                  <a:pt x="4156015" y="3"/>
                  <a:pt x="4165068" y="3"/>
                </a:cubicBezTo>
                <a:close/>
                <a:moveTo>
                  <a:pt x="4382713" y="3"/>
                </a:moveTo>
                <a:cubicBezTo>
                  <a:pt x="4386840" y="3"/>
                  <a:pt x="4390834" y="802"/>
                  <a:pt x="4394428" y="2532"/>
                </a:cubicBezTo>
                <a:cubicBezTo>
                  <a:pt x="4398155" y="4130"/>
                  <a:pt x="4401217" y="6259"/>
                  <a:pt x="4403746" y="8922"/>
                </a:cubicBezTo>
                <a:cubicBezTo>
                  <a:pt x="4406275" y="11451"/>
                  <a:pt x="4408405" y="14647"/>
                  <a:pt x="4409869" y="18241"/>
                </a:cubicBezTo>
                <a:cubicBezTo>
                  <a:pt x="4411334" y="21835"/>
                  <a:pt x="4412132" y="25695"/>
                  <a:pt x="4412132" y="29689"/>
                </a:cubicBezTo>
                <a:cubicBezTo>
                  <a:pt x="4412132" y="33816"/>
                  <a:pt x="4411334" y="37809"/>
                  <a:pt x="4409869" y="41403"/>
                </a:cubicBezTo>
                <a:cubicBezTo>
                  <a:pt x="4408405" y="45130"/>
                  <a:pt x="4406275" y="48192"/>
                  <a:pt x="4403746" y="50854"/>
                </a:cubicBezTo>
                <a:cubicBezTo>
                  <a:pt x="4401083" y="53517"/>
                  <a:pt x="4398022" y="55647"/>
                  <a:pt x="4394428" y="57111"/>
                </a:cubicBezTo>
                <a:cubicBezTo>
                  <a:pt x="4390834" y="58575"/>
                  <a:pt x="4386973" y="59374"/>
                  <a:pt x="4382713" y="59374"/>
                </a:cubicBezTo>
                <a:cubicBezTo>
                  <a:pt x="4373661" y="59374"/>
                  <a:pt x="4366473" y="56445"/>
                  <a:pt x="4360881" y="50854"/>
                </a:cubicBezTo>
                <a:cubicBezTo>
                  <a:pt x="4355290" y="45264"/>
                  <a:pt x="4352495" y="38208"/>
                  <a:pt x="4352495" y="29689"/>
                </a:cubicBezTo>
                <a:cubicBezTo>
                  <a:pt x="4352495" y="21436"/>
                  <a:pt x="4355290" y="14380"/>
                  <a:pt x="4360881" y="8656"/>
                </a:cubicBezTo>
                <a:cubicBezTo>
                  <a:pt x="4366473" y="2798"/>
                  <a:pt x="4373661" y="3"/>
                  <a:pt x="4382713" y="3"/>
                </a:cubicBezTo>
                <a:close/>
                <a:moveTo>
                  <a:pt x="4600226" y="3"/>
                </a:moveTo>
                <a:cubicBezTo>
                  <a:pt x="4604485" y="3"/>
                  <a:pt x="4608479" y="802"/>
                  <a:pt x="4612073" y="2532"/>
                </a:cubicBezTo>
                <a:cubicBezTo>
                  <a:pt x="4615800" y="4130"/>
                  <a:pt x="4618862" y="6259"/>
                  <a:pt x="4621391" y="8922"/>
                </a:cubicBezTo>
                <a:cubicBezTo>
                  <a:pt x="4623920" y="11451"/>
                  <a:pt x="4626050" y="14646"/>
                  <a:pt x="4627514" y="18240"/>
                </a:cubicBezTo>
                <a:cubicBezTo>
                  <a:pt x="4628978" y="21835"/>
                  <a:pt x="4629777" y="25695"/>
                  <a:pt x="4629777" y="29689"/>
                </a:cubicBezTo>
                <a:cubicBezTo>
                  <a:pt x="4629777" y="33816"/>
                  <a:pt x="4628978" y="37809"/>
                  <a:pt x="4627514" y="41403"/>
                </a:cubicBezTo>
                <a:cubicBezTo>
                  <a:pt x="4626050" y="45130"/>
                  <a:pt x="4623920" y="48192"/>
                  <a:pt x="4621391" y="50854"/>
                </a:cubicBezTo>
                <a:cubicBezTo>
                  <a:pt x="4618729" y="53517"/>
                  <a:pt x="4615667" y="55647"/>
                  <a:pt x="4612073" y="57111"/>
                </a:cubicBezTo>
                <a:cubicBezTo>
                  <a:pt x="4608346" y="58575"/>
                  <a:pt x="4604485" y="59374"/>
                  <a:pt x="4600226" y="59374"/>
                </a:cubicBezTo>
                <a:cubicBezTo>
                  <a:pt x="4591173" y="59374"/>
                  <a:pt x="4583985" y="56445"/>
                  <a:pt x="4578393" y="50854"/>
                </a:cubicBezTo>
                <a:cubicBezTo>
                  <a:pt x="4572803" y="45264"/>
                  <a:pt x="4570007" y="38208"/>
                  <a:pt x="4570007" y="29689"/>
                </a:cubicBezTo>
                <a:cubicBezTo>
                  <a:pt x="4570007" y="21436"/>
                  <a:pt x="4572803" y="14380"/>
                  <a:pt x="4578393" y="8656"/>
                </a:cubicBezTo>
                <a:cubicBezTo>
                  <a:pt x="4583985" y="2798"/>
                  <a:pt x="4591173" y="3"/>
                  <a:pt x="4600226" y="3"/>
                </a:cubicBezTo>
                <a:close/>
                <a:moveTo>
                  <a:pt x="4817870" y="3"/>
                </a:moveTo>
                <a:cubicBezTo>
                  <a:pt x="4822130" y="3"/>
                  <a:pt x="4825857" y="935"/>
                  <a:pt x="4829585" y="2532"/>
                </a:cubicBezTo>
                <a:cubicBezTo>
                  <a:pt x="4833312" y="4130"/>
                  <a:pt x="4836374" y="6259"/>
                  <a:pt x="4838903" y="8922"/>
                </a:cubicBezTo>
                <a:cubicBezTo>
                  <a:pt x="4841432" y="11451"/>
                  <a:pt x="4843562" y="14646"/>
                  <a:pt x="4845026" y="18240"/>
                </a:cubicBezTo>
                <a:cubicBezTo>
                  <a:pt x="4846491" y="21834"/>
                  <a:pt x="4847289" y="25694"/>
                  <a:pt x="4847289" y="29689"/>
                </a:cubicBezTo>
                <a:cubicBezTo>
                  <a:pt x="4847289" y="33816"/>
                  <a:pt x="4846491" y="37809"/>
                  <a:pt x="4845026" y="41403"/>
                </a:cubicBezTo>
                <a:cubicBezTo>
                  <a:pt x="4843562" y="45130"/>
                  <a:pt x="4841432" y="48192"/>
                  <a:pt x="4838903" y="50854"/>
                </a:cubicBezTo>
                <a:cubicBezTo>
                  <a:pt x="4836240" y="53517"/>
                  <a:pt x="4833179" y="55647"/>
                  <a:pt x="4829585" y="57111"/>
                </a:cubicBezTo>
                <a:cubicBezTo>
                  <a:pt x="4825991" y="58575"/>
                  <a:pt x="4822130" y="59374"/>
                  <a:pt x="4817870" y="59374"/>
                </a:cubicBezTo>
                <a:cubicBezTo>
                  <a:pt x="4808952" y="59374"/>
                  <a:pt x="4801630" y="56445"/>
                  <a:pt x="4796038" y="50854"/>
                </a:cubicBezTo>
                <a:cubicBezTo>
                  <a:pt x="4790447" y="45264"/>
                  <a:pt x="4787652" y="38208"/>
                  <a:pt x="4787652" y="29689"/>
                </a:cubicBezTo>
                <a:cubicBezTo>
                  <a:pt x="4787652" y="21435"/>
                  <a:pt x="4790447" y="14380"/>
                  <a:pt x="4796038" y="8656"/>
                </a:cubicBezTo>
                <a:cubicBezTo>
                  <a:pt x="4801630" y="2798"/>
                  <a:pt x="4808818" y="3"/>
                  <a:pt x="4817870" y="3"/>
                </a:cubicBezTo>
                <a:close/>
                <a:moveTo>
                  <a:pt x="5035515" y="3"/>
                </a:moveTo>
                <a:cubicBezTo>
                  <a:pt x="5039775" y="3"/>
                  <a:pt x="5043502" y="935"/>
                  <a:pt x="5047230" y="2532"/>
                </a:cubicBezTo>
                <a:cubicBezTo>
                  <a:pt x="5050957" y="4130"/>
                  <a:pt x="5054019" y="6259"/>
                  <a:pt x="5056548" y="8922"/>
                </a:cubicBezTo>
                <a:cubicBezTo>
                  <a:pt x="5059077" y="11451"/>
                  <a:pt x="5061207" y="14646"/>
                  <a:pt x="5062671" y="18240"/>
                </a:cubicBezTo>
                <a:cubicBezTo>
                  <a:pt x="5064135" y="21834"/>
                  <a:pt x="5064934" y="25694"/>
                  <a:pt x="5064934" y="29688"/>
                </a:cubicBezTo>
                <a:cubicBezTo>
                  <a:pt x="5064934" y="33816"/>
                  <a:pt x="5064135" y="37809"/>
                  <a:pt x="5062671" y="41403"/>
                </a:cubicBezTo>
                <a:cubicBezTo>
                  <a:pt x="5061207" y="45130"/>
                  <a:pt x="5059077" y="48192"/>
                  <a:pt x="5056548" y="50854"/>
                </a:cubicBezTo>
                <a:cubicBezTo>
                  <a:pt x="5053885" y="53517"/>
                  <a:pt x="5050824" y="55647"/>
                  <a:pt x="5047230" y="57111"/>
                </a:cubicBezTo>
                <a:cubicBezTo>
                  <a:pt x="5043636" y="58575"/>
                  <a:pt x="5039775" y="59374"/>
                  <a:pt x="5035515" y="59374"/>
                </a:cubicBezTo>
                <a:cubicBezTo>
                  <a:pt x="5026597" y="59374"/>
                  <a:pt x="5019275" y="56445"/>
                  <a:pt x="5013683" y="50854"/>
                </a:cubicBezTo>
                <a:cubicBezTo>
                  <a:pt x="5008092" y="45264"/>
                  <a:pt x="5005297" y="38208"/>
                  <a:pt x="5005297" y="29688"/>
                </a:cubicBezTo>
                <a:cubicBezTo>
                  <a:pt x="5005297" y="21435"/>
                  <a:pt x="5008092" y="14380"/>
                  <a:pt x="5013683" y="8656"/>
                </a:cubicBezTo>
                <a:cubicBezTo>
                  <a:pt x="5019275" y="2798"/>
                  <a:pt x="5026463" y="3"/>
                  <a:pt x="5035515" y="3"/>
                </a:cubicBezTo>
                <a:close/>
                <a:moveTo>
                  <a:pt x="5253160" y="3"/>
                </a:moveTo>
                <a:cubicBezTo>
                  <a:pt x="5257420" y="3"/>
                  <a:pt x="5261147" y="935"/>
                  <a:pt x="5264875" y="2532"/>
                </a:cubicBezTo>
                <a:cubicBezTo>
                  <a:pt x="5268602" y="4130"/>
                  <a:pt x="5271664" y="6259"/>
                  <a:pt x="5274192" y="8922"/>
                </a:cubicBezTo>
                <a:cubicBezTo>
                  <a:pt x="5276722" y="11451"/>
                  <a:pt x="5278852" y="14646"/>
                  <a:pt x="5280316" y="18240"/>
                </a:cubicBezTo>
                <a:cubicBezTo>
                  <a:pt x="5281780" y="21834"/>
                  <a:pt x="5282579" y="25694"/>
                  <a:pt x="5282579" y="29688"/>
                </a:cubicBezTo>
                <a:cubicBezTo>
                  <a:pt x="5282579" y="33815"/>
                  <a:pt x="5281780" y="37809"/>
                  <a:pt x="5280316" y="41403"/>
                </a:cubicBezTo>
                <a:cubicBezTo>
                  <a:pt x="5278852" y="45130"/>
                  <a:pt x="5276722" y="48192"/>
                  <a:pt x="5274192" y="50854"/>
                </a:cubicBezTo>
                <a:cubicBezTo>
                  <a:pt x="5271664" y="53517"/>
                  <a:pt x="5268469" y="55647"/>
                  <a:pt x="5264875" y="57111"/>
                </a:cubicBezTo>
                <a:cubicBezTo>
                  <a:pt x="5261280" y="58575"/>
                  <a:pt x="5257420" y="59374"/>
                  <a:pt x="5253160" y="59374"/>
                </a:cubicBezTo>
                <a:cubicBezTo>
                  <a:pt x="5244241" y="59374"/>
                  <a:pt x="5236920" y="56445"/>
                  <a:pt x="5231328" y="50854"/>
                </a:cubicBezTo>
                <a:cubicBezTo>
                  <a:pt x="5225737" y="45264"/>
                  <a:pt x="5222942" y="38208"/>
                  <a:pt x="5222942" y="29688"/>
                </a:cubicBezTo>
                <a:cubicBezTo>
                  <a:pt x="5222942" y="21435"/>
                  <a:pt x="5225737" y="14380"/>
                  <a:pt x="5231328" y="8656"/>
                </a:cubicBezTo>
                <a:cubicBezTo>
                  <a:pt x="5236920" y="2798"/>
                  <a:pt x="5244108" y="3"/>
                  <a:pt x="5253160" y="3"/>
                </a:cubicBezTo>
                <a:close/>
                <a:moveTo>
                  <a:pt x="5470806" y="3"/>
                </a:moveTo>
                <a:cubicBezTo>
                  <a:pt x="5475065" y="3"/>
                  <a:pt x="5478793" y="935"/>
                  <a:pt x="5482520" y="2532"/>
                </a:cubicBezTo>
                <a:cubicBezTo>
                  <a:pt x="5486247" y="4130"/>
                  <a:pt x="5489309" y="6259"/>
                  <a:pt x="5491838" y="8922"/>
                </a:cubicBezTo>
                <a:cubicBezTo>
                  <a:pt x="5494367" y="11451"/>
                  <a:pt x="5496497" y="14646"/>
                  <a:pt x="5497961" y="18240"/>
                </a:cubicBezTo>
                <a:cubicBezTo>
                  <a:pt x="5499426" y="21834"/>
                  <a:pt x="5500224" y="25694"/>
                  <a:pt x="5500224" y="29688"/>
                </a:cubicBezTo>
                <a:cubicBezTo>
                  <a:pt x="5500224" y="33815"/>
                  <a:pt x="5499426" y="37808"/>
                  <a:pt x="5497961" y="41402"/>
                </a:cubicBezTo>
                <a:cubicBezTo>
                  <a:pt x="5496497" y="45130"/>
                  <a:pt x="5494367" y="48192"/>
                  <a:pt x="5491838" y="50854"/>
                </a:cubicBezTo>
                <a:cubicBezTo>
                  <a:pt x="5489176" y="53517"/>
                  <a:pt x="5486114" y="55647"/>
                  <a:pt x="5482520" y="57111"/>
                </a:cubicBezTo>
                <a:cubicBezTo>
                  <a:pt x="5478926" y="58575"/>
                  <a:pt x="5475065" y="59374"/>
                  <a:pt x="5470806" y="59374"/>
                </a:cubicBezTo>
                <a:cubicBezTo>
                  <a:pt x="5461887" y="59374"/>
                  <a:pt x="5454565" y="56445"/>
                  <a:pt x="5448973" y="50854"/>
                </a:cubicBezTo>
                <a:cubicBezTo>
                  <a:pt x="5443383" y="45263"/>
                  <a:pt x="5440587" y="38207"/>
                  <a:pt x="5440587" y="29688"/>
                </a:cubicBezTo>
                <a:cubicBezTo>
                  <a:pt x="5440587" y="21435"/>
                  <a:pt x="5443383" y="14380"/>
                  <a:pt x="5448973" y="8656"/>
                </a:cubicBezTo>
                <a:cubicBezTo>
                  <a:pt x="5454565" y="2798"/>
                  <a:pt x="5461754" y="3"/>
                  <a:pt x="5470806" y="3"/>
                </a:cubicBezTo>
                <a:close/>
                <a:moveTo>
                  <a:pt x="5688451" y="3"/>
                </a:moveTo>
                <a:cubicBezTo>
                  <a:pt x="5692577" y="3"/>
                  <a:pt x="5696437" y="935"/>
                  <a:pt x="5700165" y="2532"/>
                </a:cubicBezTo>
                <a:cubicBezTo>
                  <a:pt x="5703892" y="4130"/>
                  <a:pt x="5706954" y="6259"/>
                  <a:pt x="5709483" y="8922"/>
                </a:cubicBezTo>
                <a:cubicBezTo>
                  <a:pt x="5712012" y="11451"/>
                  <a:pt x="5714142" y="14646"/>
                  <a:pt x="5715606" y="18240"/>
                </a:cubicBezTo>
                <a:cubicBezTo>
                  <a:pt x="5717071" y="21834"/>
                  <a:pt x="5717869" y="25694"/>
                  <a:pt x="5717869" y="29688"/>
                </a:cubicBezTo>
                <a:cubicBezTo>
                  <a:pt x="5717869" y="33815"/>
                  <a:pt x="5717071" y="37808"/>
                  <a:pt x="5715606" y="41402"/>
                </a:cubicBezTo>
                <a:cubicBezTo>
                  <a:pt x="5714142" y="45129"/>
                  <a:pt x="5712012" y="48191"/>
                  <a:pt x="5709483" y="50854"/>
                </a:cubicBezTo>
                <a:cubicBezTo>
                  <a:pt x="5706820" y="53517"/>
                  <a:pt x="5703759" y="55647"/>
                  <a:pt x="5700165" y="57111"/>
                </a:cubicBezTo>
                <a:cubicBezTo>
                  <a:pt x="5696571" y="58575"/>
                  <a:pt x="5692710" y="59374"/>
                  <a:pt x="5688451" y="59374"/>
                </a:cubicBezTo>
                <a:cubicBezTo>
                  <a:pt x="5679532" y="59374"/>
                  <a:pt x="5672210" y="56445"/>
                  <a:pt x="5666618" y="50854"/>
                </a:cubicBezTo>
                <a:cubicBezTo>
                  <a:pt x="5661028" y="45263"/>
                  <a:pt x="5658232" y="38207"/>
                  <a:pt x="5658232" y="29688"/>
                </a:cubicBezTo>
                <a:cubicBezTo>
                  <a:pt x="5658232" y="21435"/>
                  <a:pt x="5661028" y="14380"/>
                  <a:pt x="5666618" y="8656"/>
                </a:cubicBezTo>
                <a:cubicBezTo>
                  <a:pt x="5672210" y="2798"/>
                  <a:pt x="5679398" y="3"/>
                  <a:pt x="5688451" y="3"/>
                </a:cubicBezTo>
                <a:close/>
                <a:moveTo>
                  <a:pt x="5905963" y="2"/>
                </a:moveTo>
                <a:cubicBezTo>
                  <a:pt x="5910222" y="2"/>
                  <a:pt x="5913950" y="934"/>
                  <a:pt x="5917677" y="2532"/>
                </a:cubicBezTo>
                <a:cubicBezTo>
                  <a:pt x="5921404" y="4129"/>
                  <a:pt x="5924466" y="6259"/>
                  <a:pt x="5926995" y="8922"/>
                </a:cubicBezTo>
                <a:cubicBezTo>
                  <a:pt x="5929524" y="11451"/>
                  <a:pt x="5931654" y="14646"/>
                  <a:pt x="5933118" y="18240"/>
                </a:cubicBezTo>
                <a:cubicBezTo>
                  <a:pt x="5934583" y="21834"/>
                  <a:pt x="5935381" y="25694"/>
                  <a:pt x="5935381" y="29688"/>
                </a:cubicBezTo>
                <a:cubicBezTo>
                  <a:pt x="5935381" y="33815"/>
                  <a:pt x="5934583" y="37808"/>
                  <a:pt x="5933118" y="41402"/>
                </a:cubicBezTo>
                <a:cubicBezTo>
                  <a:pt x="5931654" y="45129"/>
                  <a:pt x="5929524" y="48191"/>
                  <a:pt x="5926995" y="50853"/>
                </a:cubicBezTo>
                <a:cubicBezTo>
                  <a:pt x="5924333" y="53516"/>
                  <a:pt x="5921271" y="55646"/>
                  <a:pt x="5917677" y="57111"/>
                </a:cubicBezTo>
                <a:cubicBezTo>
                  <a:pt x="5914083" y="58575"/>
                  <a:pt x="5910222" y="59374"/>
                  <a:pt x="5905963" y="59374"/>
                </a:cubicBezTo>
                <a:cubicBezTo>
                  <a:pt x="5897044" y="59374"/>
                  <a:pt x="5889722" y="56444"/>
                  <a:pt x="5884130" y="50853"/>
                </a:cubicBezTo>
                <a:cubicBezTo>
                  <a:pt x="5878540" y="45263"/>
                  <a:pt x="5875744" y="38207"/>
                  <a:pt x="5875744" y="29688"/>
                </a:cubicBezTo>
                <a:cubicBezTo>
                  <a:pt x="5875744" y="21435"/>
                  <a:pt x="5878540" y="14380"/>
                  <a:pt x="5884130" y="8656"/>
                </a:cubicBezTo>
                <a:cubicBezTo>
                  <a:pt x="5889722" y="2797"/>
                  <a:pt x="5896910" y="2"/>
                  <a:pt x="5905963" y="2"/>
                </a:cubicBezTo>
                <a:close/>
                <a:moveTo>
                  <a:pt x="6123608" y="2"/>
                </a:moveTo>
                <a:cubicBezTo>
                  <a:pt x="6127867" y="2"/>
                  <a:pt x="6131594" y="934"/>
                  <a:pt x="6135322" y="2531"/>
                </a:cubicBezTo>
                <a:cubicBezTo>
                  <a:pt x="6139049" y="4129"/>
                  <a:pt x="6142111" y="6258"/>
                  <a:pt x="6144640" y="8921"/>
                </a:cubicBezTo>
                <a:cubicBezTo>
                  <a:pt x="6147169" y="11451"/>
                  <a:pt x="6149299" y="14646"/>
                  <a:pt x="6150763" y="18240"/>
                </a:cubicBezTo>
                <a:cubicBezTo>
                  <a:pt x="6152228" y="21834"/>
                  <a:pt x="6153026" y="25694"/>
                  <a:pt x="6153026" y="29688"/>
                </a:cubicBezTo>
                <a:cubicBezTo>
                  <a:pt x="6153026" y="33815"/>
                  <a:pt x="6152228" y="37808"/>
                  <a:pt x="6150763" y="41402"/>
                </a:cubicBezTo>
                <a:cubicBezTo>
                  <a:pt x="6149299" y="45129"/>
                  <a:pt x="6147169" y="48191"/>
                  <a:pt x="6144640" y="50853"/>
                </a:cubicBezTo>
                <a:cubicBezTo>
                  <a:pt x="6141977" y="53516"/>
                  <a:pt x="6138916" y="55646"/>
                  <a:pt x="6135322" y="57110"/>
                </a:cubicBezTo>
                <a:cubicBezTo>
                  <a:pt x="6131728" y="58574"/>
                  <a:pt x="6127867" y="59373"/>
                  <a:pt x="6123608" y="59373"/>
                </a:cubicBezTo>
                <a:cubicBezTo>
                  <a:pt x="6114689" y="59373"/>
                  <a:pt x="6107367" y="56444"/>
                  <a:pt x="6101775" y="50853"/>
                </a:cubicBezTo>
                <a:cubicBezTo>
                  <a:pt x="6096184" y="45263"/>
                  <a:pt x="6093389" y="38207"/>
                  <a:pt x="6093389" y="29688"/>
                </a:cubicBezTo>
                <a:cubicBezTo>
                  <a:pt x="6093389" y="21435"/>
                  <a:pt x="6096184" y="14380"/>
                  <a:pt x="6101775" y="8655"/>
                </a:cubicBezTo>
                <a:cubicBezTo>
                  <a:pt x="6107367" y="2797"/>
                  <a:pt x="6114555" y="2"/>
                  <a:pt x="6123608" y="2"/>
                </a:cubicBezTo>
                <a:close/>
                <a:moveTo>
                  <a:pt x="6341253" y="2"/>
                </a:moveTo>
                <a:cubicBezTo>
                  <a:pt x="6345513" y="2"/>
                  <a:pt x="6349373" y="801"/>
                  <a:pt x="6352968" y="2531"/>
                </a:cubicBezTo>
                <a:cubicBezTo>
                  <a:pt x="6356695" y="4129"/>
                  <a:pt x="6359757" y="6258"/>
                  <a:pt x="6362286" y="8921"/>
                </a:cubicBezTo>
                <a:cubicBezTo>
                  <a:pt x="6364815" y="11450"/>
                  <a:pt x="6366945" y="14646"/>
                  <a:pt x="6368409" y="18240"/>
                </a:cubicBezTo>
                <a:cubicBezTo>
                  <a:pt x="6369874" y="21834"/>
                  <a:pt x="6370672" y="25694"/>
                  <a:pt x="6370672" y="29688"/>
                </a:cubicBezTo>
                <a:cubicBezTo>
                  <a:pt x="6370672" y="33815"/>
                  <a:pt x="6369874" y="37808"/>
                  <a:pt x="6368409" y="41402"/>
                </a:cubicBezTo>
                <a:cubicBezTo>
                  <a:pt x="6366811" y="45129"/>
                  <a:pt x="6364815" y="48191"/>
                  <a:pt x="6362286" y="50853"/>
                </a:cubicBezTo>
                <a:cubicBezTo>
                  <a:pt x="6359623" y="53516"/>
                  <a:pt x="6356562" y="55646"/>
                  <a:pt x="6352968" y="57110"/>
                </a:cubicBezTo>
                <a:cubicBezTo>
                  <a:pt x="6349373" y="58574"/>
                  <a:pt x="6345513" y="59373"/>
                  <a:pt x="6341253" y="59373"/>
                </a:cubicBezTo>
                <a:cubicBezTo>
                  <a:pt x="6332335" y="59373"/>
                  <a:pt x="6325013" y="56444"/>
                  <a:pt x="6319421" y="50853"/>
                </a:cubicBezTo>
                <a:cubicBezTo>
                  <a:pt x="6313830" y="45263"/>
                  <a:pt x="6311035" y="38207"/>
                  <a:pt x="6311035" y="29688"/>
                </a:cubicBezTo>
                <a:cubicBezTo>
                  <a:pt x="6311035" y="21435"/>
                  <a:pt x="6313830" y="14379"/>
                  <a:pt x="6319421" y="8655"/>
                </a:cubicBezTo>
                <a:cubicBezTo>
                  <a:pt x="6325013" y="2797"/>
                  <a:pt x="6332201" y="2"/>
                  <a:pt x="6341253" y="2"/>
                </a:cubicBezTo>
                <a:close/>
                <a:moveTo>
                  <a:pt x="6558899" y="2"/>
                </a:moveTo>
                <a:cubicBezTo>
                  <a:pt x="6563158" y="2"/>
                  <a:pt x="6567019" y="801"/>
                  <a:pt x="6570612" y="2531"/>
                </a:cubicBezTo>
                <a:cubicBezTo>
                  <a:pt x="6574340" y="4129"/>
                  <a:pt x="6577401" y="6258"/>
                  <a:pt x="6579930" y="8921"/>
                </a:cubicBezTo>
                <a:cubicBezTo>
                  <a:pt x="6582460" y="11450"/>
                  <a:pt x="6584590" y="14645"/>
                  <a:pt x="6586054" y="18239"/>
                </a:cubicBezTo>
                <a:cubicBezTo>
                  <a:pt x="6587518" y="21834"/>
                  <a:pt x="6588317" y="25694"/>
                  <a:pt x="6588317" y="29688"/>
                </a:cubicBezTo>
                <a:cubicBezTo>
                  <a:pt x="6588317" y="33815"/>
                  <a:pt x="6587518" y="37808"/>
                  <a:pt x="6586054" y="41402"/>
                </a:cubicBezTo>
                <a:cubicBezTo>
                  <a:pt x="6584457" y="45129"/>
                  <a:pt x="6582460" y="48191"/>
                  <a:pt x="6579930" y="50853"/>
                </a:cubicBezTo>
                <a:cubicBezTo>
                  <a:pt x="6577268" y="53516"/>
                  <a:pt x="6574207" y="55646"/>
                  <a:pt x="6570612" y="57110"/>
                </a:cubicBezTo>
                <a:cubicBezTo>
                  <a:pt x="6567019" y="58574"/>
                  <a:pt x="6563158" y="59373"/>
                  <a:pt x="6558899" y="59373"/>
                </a:cubicBezTo>
                <a:cubicBezTo>
                  <a:pt x="6549979" y="59373"/>
                  <a:pt x="6542658" y="56444"/>
                  <a:pt x="6537066" y="50853"/>
                </a:cubicBezTo>
                <a:cubicBezTo>
                  <a:pt x="6531476" y="45263"/>
                  <a:pt x="6528680" y="38207"/>
                  <a:pt x="6528680" y="29688"/>
                </a:cubicBezTo>
                <a:cubicBezTo>
                  <a:pt x="6528680" y="21435"/>
                  <a:pt x="6531476" y="14379"/>
                  <a:pt x="6537066" y="8655"/>
                </a:cubicBezTo>
                <a:cubicBezTo>
                  <a:pt x="6542658" y="2797"/>
                  <a:pt x="6549846" y="2"/>
                  <a:pt x="6558899" y="2"/>
                </a:cubicBezTo>
                <a:close/>
                <a:moveTo>
                  <a:pt x="6776544" y="2"/>
                </a:moveTo>
                <a:cubicBezTo>
                  <a:pt x="6780670" y="2"/>
                  <a:pt x="6784664" y="801"/>
                  <a:pt x="6788258" y="2531"/>
                </a:cubicBezTo>
                <a:cubicBezTo>
                  <a:pt x="6791985" y="4129"/>
                  <a:pt x="6795047" y="6258"/>
                  <a:pt x="6797576" y="8921"/>
                </a:cubicBezTo>
                <a:cubicBezTo>
                  <a:pt x="6800105" y="11450"/>
                  <a:pt x="6802235" y="14645"/>
                  <a:pt x="6803699" y="18239"/>
                </a:cubicBezTo>
                <a:cubicBezTo>
                  <a:pt x="6805164" y="21833"/>
                  <a:pt x="6805963" y="25693"/>
                  <a:pt x="6805963" y="29688"/>
                </a:cubicBezTo>
                <a:cubicBezTo>
                  <a:pt x="6805963" y="33815"/>
                  <a:pt x="6805164" y="37808"/>
                  <a:pt x="6803699" y="41402"/>
                </a:cubicBezTo>
                <a:cubicBezTo>
                  <a:pt x="6802102" y="45129"/>
                  <a:pt x="6800105" y="48191"/>
                  <a:pt x="6797576" y="50853"/>
                </a:cubicBezTo>
                <a:cubicBezTo>
                  <a:pt x="6794914" y="53516"/>
                  <a:pt x="6791852" y="55646"/>
                  <a:pt x="6788258" y="57110"/>
                </a:cubicBezTo>
                <a:cubicBezTo>
                  <a:pt x="6784664" y="58574"/>
                  <a:pt x="6780803" y="59373"/>
                  <a:pt x="6776544" y="59373"/>
                </a:cubicBezTo>
                <a:cubicBezTo>
                  <a:pt x="6767625" y="59373"/>
                  <a:pt x="6760303" y="56444"/>
                  <a:pt x="6754711" y="50853"/>
                </a:cubicBezTo>
                <a:cubicBezTo>
                  <a:pt x="6749121" y="45263"/>
                  <a:pt x="6746325" y="38207"/>
                  <a:pt x="6746325" y="29688"/>
                </a:cubicBezTo>
                <a:cubicBezTo>
                  <a:pt x="6746325" y="21434"/>
                  <a:pt x="6749121" y="14379"/>
                  <a:pt x="6754711" y="8655"/>
                </a:cubicBezTo>
                <a:cubicBezTo>
                  <a:pt x="6760303" y="2797"/>
                  <a:pt x="6767492" y="2"/>
                  <a:pt x="6776544" y="2"/>
                </a:cubicBezTo>
                <a:close/>
                <a:moveTo>
                  <a:pt x="6994056" y="2"/>
                </a:moveTo>
                <a:cubicBezTo>
                  <a:pt x="6998315" y="2"/>
                  <a:pt x="7002309" y="801"/>
                  <a:pt x="7005769" y="2531"/>
                </a:cubicBezTo>
                <a:cubicBezTo>
                  <a:pt x="7009497" y="4129"/>
                  <a:pt x="7012558" y="6258"/>
                  <a:pt x="7015087" y="8921"/>
                </a:cubicBezTo>
                <a:cubicBezTo>
                  <a:pt x="7017617" y="11450"/>
                  <a:pt x="7019747" y="14645"/>
                  <a:pt x="7021211" y="18239"/>
                </a:cubicBezTo>
                <a:cubicBezTo>
                  <a:pt x="7022675" y="21833"/>
                  <a:pt x="7023474" y="25693"/>
                  <a:pt x="7023474" y="29687"/>
                </a:cubicBezTo>
                <a:cubicBezTo>
                  <a:pt x="7023474" y="33815"/>
                  <a:pt x="7022675" y="37808"/>
                  <a:pt x="7021211" y="41402"/>
                </a:cubicBezTo>
                <a:cubicBezTo>
                  <a:pt x="7019614" y="45129"/>
                  <a:pt x="7017617" y="48191"/>
                  <a:pt x="7015087" y="50853"/>
                </a:cubicBezTo>
                <a:cubicBezTo>
                  <a:pt x="7012425" y="53516"/>
                  <a:pt x="7009364" y="55646"/>
                  <a:pt x="7005769" y="57110"/>
                </a:cubicBezTo>
                <a:cubicBezTo>
                  <a:pt x="7002176" y="58574"/>
                  <a:pt x="6998315" y="59373"/>
                  <a:pt x="6994056" y="59373"/>
                </a:cubicBezTo>
                <a:cubicBezTo>
                  <a:pt x="6985136" y="59373"/>
                  <a:pt x="6977815" y="56444"/>
                  <a:pt x="6972223" y="50853"/>
                </a:cubicBezTo>
                <a:cubicBezTo>
                  <a:pt x="6966632" y="45263"/>
                  <a:pt x="6963837" y="38207"/>
                  <a:pt x="6963837" y="29687"/>
                </a:cubicBezTo>
                <a:cubicBezTo>
                  <a:pt x="6963837" y="21434"/>
                  <a:pt x="6966632" y="14379"/>
                  <a:pt x="6972223" y="8655"/>
                </a:cubicBezTo>
                <a:cubicBezTo>
                  <a:pt x="6977815" y="2797"/>
                  <a:pt x="6985003" y="2"/>
                  <a:pt x="6994056" y="2"/>
                </a:cubicBezTo>
                <a:close/>
                <a:moveTo>
                  <a:pt x="7211701" y="2"/>
                </a:moveTo>
                <a:cubicBezTo>
                  <a:pt x="7215960" y="2"/>
                  <a:pt x="7219954" y="801"/>
                  <a:pt x="7223415" y="2531"/>
                </a:cubicBezTo>
                <a:cubicBezTo>
                  <a:pt x="7227142" y="4129"/>
                  <a:pt x="7230204" y="6258"/>
                  <a:pt x="7232733" y="8921"/>
                </a:cubicBezTo>
                <a:cubicBezTo>
                  <a:pt x="7235262" y="11450"/>
                  <a:pt x="7237392" y="14645"/>
                  <a:pt x="7238856" y="18239"/>
                </a:cubicBezTo>
                <a:cubicBezTo>
                  <a:pt x="7240321" y="21833"/>
                  <a:pt x="7241120" y="25693"/>
                  <a:pt x="7241120" y="29687"/>
                </a:cubicBezTo>
                <a:cubicBezTo>
                  <a:pt x="7241120" y="33814"/>
                  <a:pt x="7240321" y="37808"/>
                  <a:pt x="7238856" y="41402"/>
                </a:cubicBezTo>
                <a:cubicBezTo>
                  <a:pt x="7237259" y="45129"/>
                  <a:pt x="7235262" y="48191"/>
                  <a:pt x="7232733" y="50853"/>
                </a:cubicBezTo>
                <a:cubicBezTo>
                  <a:pt x="7230071" y="53516"/>
                  <a:pt x="7227009" y="55646"/>
                  <a:pt x="7223415" y="57110"/>
                </a:cubicBezTo>
                <a:cubicBezTo>
                  <a:pt x="7219821" y="58574"/>
                  <a:pt x="7215960" y="59373"/>
                  <a:pt x="7211701" y="59373"/>
                </a:cubicBezTo>
                <a:cubicBezTo>
                  <a:pt x="7202782" y="59373"/>
                  <a:pt x="7195460" y="56444"/>
                  <a:pt x="7189868" y="50853"/>
                </a:cubicBezTo>
                <a:cubicBezTo>
                  <a:pt x="7184278" y="45263"/>
                  <a:pt x="7181482" y="38207"/>
                  <a:pt x="7181482" y="29687"/>
                </a:cubicBezTo>
                <a:cubicBezTo>
                  <a:pt x="7181482" y="21434"/>
                  <a:pt x="7184278" y="14379"/>
                  <a:pt x="7189868" y="8655"/>
                </a:cubicBezTo>
                <a:cubicBezTo>
                  <a:pt x="7195460" y="2797"/>
                  <a:pt x="7202649" y="2"/>
                  <a:pt x="7211701" y="2"/>
                </a:cubicBezTo>
                <a:close/>
                <a:moveTo>
                  <a:pt x="7429345" y="2"/>
                </a:moveTo>
                <a:cubicBezTo>
                  <a:pt x="7433605" y="2"/>
                  <a:pt x="7437466" y="801"/>
                  <a:pt x="7441059" y="2531"/>
                </a:cubicBezTo>
                <a:cubicBezTo>
                  <a:pt x="7444787" y="4129"/>
                  <a:pt x="7447848" y="6258"/>
                  <a:pt x="7450377" y="8921"/>
                </a:cubicBezTo>
                <a:cubicBezTo>
                  <a:pt x="7452907" y="11450"/>
                  <a:pt x="7455036" y="14645"/>
                  <a:pt x="7456501" y="18239"/>
                </a:cubicBezTo>
                <a:cubicBezTo>
                  <a:pt x="7457965" y="21833"/>
                  <a:pt x="7458764" y="25693"/>
                  <a:pt x="7458764" y="29687"/>
                </a:cubicBezTo>
                <a:cubicBezTo>
                  <a:pt x="7458764" y="33814"/>
                  <a:pt x="7457965" y="37807"/>
                  <a:pt x="7456501" y="41401"/>
                </a:cubicBezTo>
                <a:cubicBezTo>
                  <a:pt x="7454904" y="45129"/>
                  <a:pt x="7452907" y="48191"/>
                  <a:pt x="7450377" y="50853"/>
                </a:cubicBezTo>
                <a:cubicBezTo>
                  <a:pt x="7447715" y="53516"/>
                  <a:pt x="7444654" y="55646"/>
                  <a:pt x="7441059" y="57110"/>
                </a:cubicBezTo>
                <a:cubicBezTo>
                  <a:pt x="7437466" y="58574"/>
                  <a:pt x="7433605" y="59373"/>
                  <a:pt x="7429345" y="59373"/>
                </a:cubicBezTo>
                <a:cubicBezTo>
                  <a:pt x="7420426" y="59373"/>
                  <a:pt x="7413105" y="56444"/>
                  <a:pt x="7407513" y="50853"/>
                </a:cubicBezTo>
                <a:cubicBezTo>
                  <a:pt x="7401922" y="45262"/>
                  <a:pt x="7399127" y="38206"/>
                  <a:pt x="7399127" y="29687"/>
                </a:cubicBezTo>
                <a:cubicBezTo>
                  <a:pt x="7399127" y="21434"/>
                  <a:pt x="7401922" y="14379"/>
                  <a:pt x="7407513" y="8655"/>
                </a:cubicBezTo>
                <a:cubicBezTo>
                  <a:pt x="7413105" y="2797"/>
                  <a:pt x="7420293" y="2"/>
                  <a:pt x="7429345" y="2"/>
                </a:cubicBezTo>
                <a:close/>
                <a:moveTo>
                  <a:pt x="7646991" y="2"/>
                </a:moveTo>
                <a:cubicBezTo>
                  <a:pt x="7651250" y="2"/>
                  <a:pt x="7655111" y="801"/>
                  <a:pt x="7658705" y="2531"/>
                </a:cubicBezTo>
                <a:cubicBezTo>
                  <a:pt x="7662432" y="4129"/>
                  <a:pt x="7665493" y="6258"/>
                  <a:pt x="7668022" y="8921"/>
                </a:cubicBezTo>
                <a:cubicBezTo>
                  <a:pt x="7670552" y="11450"/>
                  <a:pt x="7672682" y="14645"/>
                  <a:pt x="7674146" y="18239"/>
                </a:cubicBezTo>
                <a:cubicBezTo>
                  <a:pt x="7675610" y="21833"/>
                  <a:pt x="7676409" y="25693"/>
                  <a:pt x="7676409" y="29687"/>
                </a:cubicBezTo>
                <a:cubicBezTo>
                  <a:pt x="7676409" y="33814"/>
                  <a:pt x="7675610" y="37807"/>
                  <a:pt x="7674146" y="41401"/>
                </a:cubicBezTo>
                <a:cubicBezTo>
                  <a:pt x="7672549" y="45128"/>
                  <a:pt x="7670552" y="48190"/>
                  <a:pt x="7668022" y="50853"/>
                </a:cubicBezTo>
                <a:cubicBezTo>
                  <a:pt x="7665361" y="53516"/>
                  <a:pt x="7662299" y="55646"/>
                  <a:pt x="7658705" y="57110"/>
                </a:cubicBezTo>
                <a:cubicBezTo>
                  <a:pt x="7655111" y="58574"/>
                  <a:pt x="7651250" y="59373"/>
                  <a:pt x="7646991" y="59373"/>
                </a:cubicBezTo>
                <a:cubicBezTo>
                  <a:pt x="7638071" y="59373"/>
                  <a:pt x="7630750" y="56444"/>
                  <a:pt x="7625158" y="50853"/>
                </a:cubicBezTo>
                <a:cubicBezTo>
                  <a:pt x="7619568" y="45262"/>
                  <a:pt x="7616772" y="38206"/>
                  <a:pt x="7616772" y="29687"/>
                </a:cubicBezTo>
                <a:cubicBezTo>
                  <a:pt x="7616772" y="21434"/>
                  <a:pt x="7619568" y="14379"/>
                  <a:pt x="7625158" y="8655"/>
                </a:cubicBezTo>
                <a:cubicBezTo>
                  <a:pt x="7630750" y="2797"/>
                  <a:pt x="7637939" y="2"/>
                  <a:pt x="7646991" y="2"/>
                </a:cubicBezTo>
                <a:close/>
                <a:moveTo>
                  <a:pt x="7864636" y="1"/>
                </a:moveTo>
                <a:cubicBezTo>
                  <a:pt x="7868762" y="1"/>
                  <a:pt x="7872756" y="800"/>
                  <a:pt x="7876483" y="2531"/>
                </a:cubicBezTo>
                <a:cubicBezTo>
                  <a:pt x="7880210" y="4128"/>
                  <a:pt x="7883272" y="6258"/>
                  <a:pt x="7885802" y="8921"/>
                </a:cubicBezTo>
                <a:cubicBezTo>
                  <a:pt x="7888331" y="11450"/>
                  <a:pt x="7890460" y="14645"/>
                  <a:pt x="7891924" y="18239"/>
                </a:cubicBezTo>
                <a:cubicBezTo>
                  <a:pt x="7893389" y="21833"/>
                  <a:pt x="7894188" y="25693"/>
                  <a:pt x="7894188" y="29687"/>
                </a:cubicBezTo>
                <a:cubicBezTo>
                  <a:pt x="7894188" y="33814"/>
                  <a:pt x="7893389" y="37807"/>
                  <a:pt x="7891924" y="41401"/>
                </a:cubicBezTo>
                <a:cubicBezTo>
                  <a:pt x="7890327" y="45128"/>
                  <a:pt x="7888331" y="48190"/>
                  <a:pt x="7885802" y="50852"/>
                </a:cubicBezTo>
                <a:cubicBezTo>
                  <a:pt x="7883139" y="53515"/>
                  <a:pt x="7880078" y="55645"/>
                  <a:pt x="7876483" y="57110"/>
                </a:cubicBezTo>
                <a:cubicBezTo>
                  <a:pt x="7872756" y="58574"/>
                  <a:pt x="7868895" y="59373"/>
                  <a:pt x="7864636" y="59373"/>
                </a:cubicBezTo>
                <a:cubicBezTo>
                  <a:pt x="7855717" y="59373"/>
                  <a:pt x="7848396" y="56443"/>
                  <a:pt x="7842803" y="50852"/>
                </a:cubicBezTo>
                <a:cubicBezTo>
                  <a:pt x="7837213" y="45262"/>
                  <a:pt x="7834417" y="38206"/>
                  <a:pt x="7834417" y="29687"/>
                </a:cubicBezTo>
                <a:cubicBezTo>
                  <a:pt x="7834417" y="21434"/>
                  <a:pt x="7837213" y="14379"/>
                  <a:pt x="7842803" y="8655"/>
                </a:cubicBezTo>
                <a:cubicBezTo>
                  <a:pt x="7848396" y="2796"/>
                  <a:pt x="7855584" y="1"/>
                  <a:pt x="7864636" y="1"/>
                </a:cubicBezTo>
                <a:close/>
                <a:moveTo>
                  <a:pt x="8082281" y="1"/>
                </a:moveTo>
                <a:cubicBezTo>
                  <a:pt x="8086407" y="1"/>
                  <a:pt x="8090401" y="800"/>
                  <a:pt x="8094127" y="2530"/>
                </a:cubicBezTo>
                <a:cubicBezTo>
                  <a:pt x="8097855" y="4128"/>
                  <a:pt x="8100916" y="6257"/>
                  <a:pt x="8103446" y="8920"/>
                </a:cubicBezTo>
                <a:cubicBezTo>
                  <a:pt x="8105975" y="11450"/>
                  <a:pt x="8108104" y="14645"/>
                  <a:pt x="8109569" y="18239"/>
                </a:cubicBezTo>
                <a:cubicBezTo>
                  <a:pt x="8111033" y="21833"/>
                  <a:pt x="8111832" y="25693"/>
                  <a:pt x="8111832" y="29687"/>
                </a:cubicBezTo>
                <a:cubicBezTo>
                  <a:pt x="8111832" y="33814"/>
                  <a:pt x="8111033" y="37807"/>
                  <a:pt x="8109569" y="41401"/>
                </a:cubicBezTo>
                <a:cubicBezTo>
                  <a:pt x="8107972" y="45128"/>
                  <a:pt x="8105975" y="48190"/>
                  <a:pt x="8103446" y="50852"/>
                </a:cubicBezTo>
                <a:cubicBezTo>
                  <a:pt x="8100783" y="53515"/>
                  <a:pt x="8097722" y="55645"/>
                  <a:pt x="8094127" y="57109"/>
                </a:cubicBezTo>
                <a:cubicBezTo>
                  <a:pt x="8090401" y="58573"/>
                  <a:pt x="8086540" y="59372"/>
                  <a:pt x="8082281" y="59372"/>
                </a:cubicBezTo>
                <a:cubicBezTo>
                  <a:pt x="8073361" y="59372"/>
                  <a:pt x="8066040" y="56443"/>
                  <a:pt x="8060448" y="50852"/>
                </a:cubicBezTo>
                <a:cubicBezTo>
                  <a:pt x="8054857" y="45262"/>
                  <a:pt x="8052062" y="38206"/>
                  <a:pt x="8052062" y="29687"/>
                </a:cubicBezTo>
                <a:cubicBezTo>
                  <a:pt x="8052062" y="21434"/>
                  <a:pt x="8054857" y="14379"/>
                  <a:pt x="8060448" y="8654"/>
                </a:cubicBezTo>
                <a:cubicBezTo>
                  <a:pt x="8066040" y="2796"/>
                  <a:pt x="8073228" y="1"/>
                  <a:pt x="8082281" y="1"/>
                </a:cubicBezTo>
                <a:close/>
                <a:moveTo>
                  <a:pt x="8299793" y="1"/>
                </a:moveTo>
                <a:cubicBezTo>
                  <a:pt x="8304052" y="1"/>
                  <a:pt x="8308046" y="800"/>
                  <a:pt x="8311507" y="2530"/>
                </a:cubicBezTo>
                <a:cubicBezTo>
                  <a:pt x="8315235" y="4128"/>
                  <a:pt x="8318296" y="6257"/>
                  <a:pt x="8320825" y="8920"/>
                </a:cubicBezTo>
                <a:cubicBezTo>
                  <a:pt x="8323354" y="11449"/>
                  <a:pt x="8325484" y="14645"/>
                  <a:pt x="8326948" y="18239"/>
                </a:cubicBezTo>
                <a:cubicBezTo>
                  <a:pt x="8328413" y="21833"/>
                  <a:pt x="8329212" y="25693"/>
                  <a:pt x="8329212" y="29687"/>
                </a:cubicBezTo>
                <a:cubicBezTo>
                  <a:pt x="8329212" y="33814"/>
                  <a:pt x="8328413" y="37807"/>
                  <a:pt x="8326948" y="41401"/>
                </a:cubicBezTo>
                <a:cubicBezTo>
                  <a:pt x="8325351" y="45128"/>
                  <a:pt x="8323354" y="48190"/>
                  <a:pt x="8320825" y="50852"/>
                </a:cubicBezTo>
                <a:cubicBezTo>
                  <a:pt x="8318163" y="53515"/>
                  <a:pt x="8315101" y="55645"/>
                  <a:pt x="8311507" y="57109"/>
                </a:cubicBezTo>
                <a:cubicBezTo>
                  <a:pt x="8307913" y="58573"/>
                  <a:pt x="8304052" y="59372"/>
                  <a:pt x="8299793" y="59372"/>
                </a:cubicBezTo>
                <a:cubicBezTo>
                  <a:pt x="8290874" y="59372"/>
                  <a:pt x="8283553" y="56443"/>
                  <a:pt x="8277960" y="50852"/>
                </a:cubicBezTo>
                <a:cubicBezTo>
                  <a:pt x="8272370" y="45262"/>
                  <a:pt x="8269574" y="38206"/>
                  <a:pt x="8269574" y="29687"/>
                </a:cubicBezTo>
                <a:cubicBezTo>
                  <a:pt x="8269574" y="21434"/>
                  <a:pt x="8272370" y="14378"/>
                  <a:pt x="8277960" y="8654"/>
                </a:cubicBezTo>
                <a:cubicBezTo>
                  <a:pt x="8283553" y="2796"/>
                  <a:pt x="8290741" y="1"/>
                  <a:pt x="8299793" y="1"/>
                </a:cubicBezTo>
                <a:close/>
                <a:moveTo>
                  <a:pt x="8517438" y="1"/>
                </a:moveTo>
                <a:cubicBezTo>
                  <a:pt x="8521698" y="1"/>
                  <a:pt x="8525559" y="800"/>
                  <a:pt x="8529152" y="2530"/>
                </a:cubicBezTo>
                <a:cubicBezTo>
                  <a:pt x="8532880" y="4128"/>
                  <a:pt x="8535941" y="6257"/>
                  <a:pt x="8538470" y="8920"/>
                </a:cubicBezTo>
                <a:cubicBezTo>
                  <a:pt x="8541000" y="11449"/>
                  <a:pt x="8543130" y="14644"/>
                  <a:pt x="8544594" y="18238"/>
                </a:cubicBezTo>
                <a:cubicBezTo>
                  <a:pt x="8546058" y="21833"/>
                  <a:pt x="8546857" y="25693"/>
                  <a:pt x="8546857" y="29687"/>
                </a:cubicBezTo>
                <a:cubicBezTo>
                  <a:pt x="8546857" y="33814"/>
                  <a:pt x="8546058" y="37807"/>
                  <a:pt x="8544594" y="41401"/>
                </a:cubicBezTo>
                <a:cubicBezTo>
                  <a:pt x="8542997" y="45128"/>
                  <a:pt x="8541000" y="48190"/>
                  <a:pt x="8538470" y="50852"/>
                </a:cubicBezTo>
                <a:cubicBezTo>
                  <a:pt x="8535808" y="53515"/>
                  <a:pt x="8532747" y="55645"/>
                  <a:pt x="8529152" y="57109"/>
                </a:cubicBezTo>
                <a:cubicBezTo>
                  <a:pt x="8525559" y="58573"/>
                  <a:pt x="8521698" y="59372"/>
                  <a:pt x="8517438" y="59372"/>
                </a:cubicBezTo>
                <a:cubicBezTo>
                  <a:pt x="8508385" y="59372"/>
                  <a:pt x="8501197" y="56443"/>
                  <a:pt x="8495606" y="50852"/>
                </a:cubicBezTo>
                <a:cubicBezTo>
                  <a:pt x="8490015" y="45262"/>
                  <a:pt x="8487220" y="38206"/>
                  <a:pt x="8487220" y="29687"/>
                </a:cubicBezTo>
                <a:cubicBezTo>
                  <a:pt x="8487220" y="21434"/>
                  <a:pt x="8490015" y="14378"/>
                  <a:pt x="8495606" y="8654"/>
                </a:cubicBezTo>
                <a:cubicBezTo>
                  <a:pt x="8501197" y="2796"/>
                  <a:pt x="8508385" y="1"/>
                  <a:pt x="8517438" y="1"/>
                </a:cubicBezTo>
                <a:close/>
                <a:moveTo>
                  <a:pt x="8735083" y="1"/>
                </a:moveTo>
                <a:cubicBezTo>
                  <a:pt x="8739342" y="1"/>
                  <a:pt x="8743203" y="800"/>
                  <a:pt x="8746797" y="2530"/>
                </a:cubicBezTo>
                <a:cubicBezTo>
                  <a:pt x="8750391" y="4128"/>
                  <a:pt x="8753586" y="6257"/>
                  <a:pt x="8756115" y="8920"/>
                </a:cubicBezTo>
                <a:cubicBezTo>
                  <a:pt x="8758644" y="11449"/>
                  <a:pt x="8760774" y="14644"/>
                  <a:pt x="8762238" y="18238"/>
                </a:cubicBezTo>
                <a:cubicBezTo>
                  <a:pt x="8763702" y="21832"/>
                  <a:pt x="8764502" y="25692"/>
                  <a:pt x="8764502" y="29687"/>
                </a:cubicBezTo>
                <a:cubicBezTo>
                  <a:pt x="8764502" y="33814"/>
                  <a:pt x="8763702" y="37807"/>
                  <a:pt x="8762238" y="41401"/>
                </a:cubicBezTo>
                <a:cubicBezTo>
                  <a:pt x="8760641" y="45128"/>
                  <a:pt x="8758644" y="48190"/>
                  <a:pt x="8756115" y="50852"/>
                </a:cubicBezTo>
                <a:cubicBezTo>
                  <a:pt x="8753453" y="53515"/>
                  <a:pt x="8750391" y="55645"/>
                  <a:pt x="8746797" y="57109"/>
                </a:cubicBezTo>
                <a:cubicBezTo>
                  <a:pt x="8743203" y="58573"/>
                  <a:pt x="8739342" y="59372"/>
                  <a:pt x="8735083" y="59372"/>
                </a:cubicBezTo>
                <a:cubicBezTo>
                  <a:pt x="8726030" y="59372"/>
                  <a:pt x="8718841" y="56443"/>
                  <a:pt x="8713250" y="50852"/>
                </a:cubicBezTo>
                <a:cubicBezTo>
                  <a:pt x="8707660" y="45262"/>
                  <a:pt x="8704864" y="38206"/>
                  <a:pt x="8704864" y="29687"/>
                </a:cubicBezTo>
                <a:cubicBezTo>
                  <a:pt x="8704864" y="21433"/>
                  <a:pt x="8707660" y="14378"/>
                  <a:pt x="8713250" y="8654"/>
                </a:cubicBezTo>
                <a:cubicBezTo>
                  <a:pt x="8718841" y="2796"/>
                  <a:pt x="8726030" y="1"/>
                  <a:pt x="8735083" y="1"/>
                </a:cubicBezTo>
                <a:close/>
                <a:moveTo>
                  <a:pt x="8952728" y="1"/>
                </a:moveTo>
                <a:cubicBezTo>
                  <a:pt x="8956988" y="1"/>
                  <a:pt x="8960849" y="800"/>
                  <a:pt x="8964442" y="2530"/>
                </a:cubicBezTo>
                <a:cubicBezTo>
                  <a:pt x="8968037" y="4128"/>
                  <a:pt x="8971231" y="6257"/>
                  <a:pt x="8973760" y="8920"/>
                </a:cubicBezTo>
                <a:cubicBezTo>
                  <a:pt x="8976290" y="11449"/>
                  <a:pt x="8978419" y="14644"/>
                  <a:pt x="8979884" y="18238"/>
                </a:cubicBezTo>
                <a:cubicBezTo>
                  <a:pt x="8981348" y="21832"/>
                  <a:pt x="8982147" y="25692"/>
                  <a:pt x="8982147" y="29686"/>
                </a:cubicBezTo>
                <a:cubicBezTo>
                  <a:pt x="8982147" y="33814"/>
                  <a:pt x="8981348" y="37807"/>
                  <a:pt x="8979884" y="41401"/>
                </a:cubicBezTo>
                <a:cubicBezTo>
                  <a:pt x="8978287" y="45128"/>
                  <a:pt x="8976290" y="48190"/>
                  <a:pt x="8973760" y="50852"/>
                </a:cubicBezTo>
                <a:cubicBezTo>
                  <a:pt x="8971098" y="53515"/>
                  <a:pt x="8968037" y="55645"/>
                  <a:pt x="8964442" y="57109"/>
                </a:cubicBezTo>
                <a:cubicBezTo>
                  <a:pt x="8960849" y="58573"/>
                  <a:pt x="8956988" y="59372"/>
                  <a:pt x="8952728" y="59372"/>
                </a:cubicBezTo>
                <a:cubicBezTo>
                  <a:pt x="8943808" y="59372"/>
                  <a:pt x="8936487" y="56443"/>
                  <a:pt x="8930896" y="50852"/>
                </a:cubicBezTo>
                <a:cubicBezTo>
                  <a:pt x="8925305" y="45262"/>
                  <a:pt x="8922510" y="38206"/>
                  <a:pt x="8922510" y="29686"/>
                </a:cubicBezTo>
                <a:cubicBezTo>
                  <a:pt x="8922510" y="21433"/>
                  <a:pt x="8925305" y="14378"/>
                  <a:pt x="8930896" y="8654"/>
                </a:cubicBezTo>
                <a:cubicBezTo>
                  <a:pt x="8936487" y="2796"/>
                  <a:pt x="8943675" y="1"/>
                  <a:pt x="8952728" y="1"/>
                </a:cubicBezTo>
                <a:close/>
                <a:moveTo>
                  <a:pt x="9170374" y="1"/>
                </a:moveTo>
                <a:cubicBezTo>
                  <a:pt x="9174500" y="1"/>
                  <a:pt x="9178494" y="800"/>
                  <a:pt x="9182088" y="2530"/>
                </a:cubicBezTo>
                <a:cubicBezTo>
                  <a:pt x="9185682" y="4128"/>
                  <a:pt x="9188876" y="6257"/>
                  <a:pt x="9191405" y="8920"/>
                </a:cubicBezTo>
                <a:cubicBezTo>
                  <a:pt x="9193935" y="11449"/>
                  <a:pt x="9196065" y="14644"/>
                  <a:pt x="9197529" y="18238"/>
                </a:cubicBezTo>
                <a:cubicBezTo>
                  <a:pt x="9198993" y="21832"/>
                  <a:pt x="9199792" y="25692"/>
                  <a:pt x="9199792" y="29686"/>
                </a:cubicBezTo>
                <a:cubicBezTo>
                  <a:pt x="9199792" y="33813"/>
                  <a:pt x="9198993" y="37807"/>
                  <a:pt x="9197529" y="41401"/>
                </a:cubicBezTo>
                <a:cubicBezTo>
                  <a:pt x="9195932" y="45128"/>
                  <a:pt x="9193935" y="48190"/>
                  <a:pt x="9191405" y="50852"/>
                </a:cubicBezTo>
                <a:cubicBezTo>
                  <a:pt x="9188744" y="53515"/>
                  <a:pt x="9185682" y="55645"/>
                  <a:pt x="9182088" y="57109"/>
                </a:cubicBezTo>
                <a:cubicBezTo>
                  <a:pt x="9178494" y="58573"/>
                  <a:pt x="9174633" y="59372"/>
                  <a:pt x="9170374" y="59372"/>
                </a:cubicBezTo>
                <a:cubicBezTo>
                  <a:pt x="9161453" y="59372"/>
                  <a:pt x="9154132" y="56443"/>
                  <a:pt x="9148541" y="50852"/>
                </a:cubicBezTo>
                <a:cubicBezTo>
                  <a:pt x="9142951" y="45262"/>
                  <a:pt x="9140155" y="38206"/>
                  <a:pt x="9140155" y="29686"/>
                </a:cubicBezTo>
                <a:cubicBezTo>
                  <a:pt x="9140155" y="21433"/>
                  <a:pt x="9142951" y="14378"/>
                  <a:pt x="9148541" y="8654"/>
                </a:cubicBezTo>
                <a:cubicBezTo>
                  <a:pt x="9154132" y="2796"/>
                  <a:pt x="9161321" y="1"/>
                  <a:pt x="9170374" y="1"/>
                </a:cubicBezTo>
                <a:close/>
                <a:moveTo>
                  <a:pt x="9387885" y="1"/>
                </a:moveTo>
                <a:cubicBezTo>
                  <a:pt x="9392145" y="1"/>
                  <a:pt x="9396138" y="800"/>
                  <a:pt x="9399599" y="2530"/>
                </a:cubicBezTo>
                <a:cubicBezTo>
                  <a:pt x="9403194" y="4128"/>
                  <a:pt x="9406388" y="6257"/>
                  <a:pt x="9408917" y="8920"/>
                </a:cubicBezTo>
                <a:cubicBezTo>
                  <a:pt x="9411447" y="11449"/>
                  <a:pt x="9413576" y="14644"/>
                  <a:pt x="9415041" y="18238"/>
                </a:cubicBezTo>
                <a:cubicBezTo>
                  <a:pt x="9416505" y="21832"/>
                  <a:pt x="9417304" y="25692"/>
                  <a:pt x="9417304" y="29686"/>
                </a:cubicBezTo>
                <a:cubicBezTo>
                  <a:pt x="9417304" y="33813"/>
                  <a:pt x="9416505" y="37806"/>
                  <a:pt x="9415041" y="41400"/>
                </a:cubicBezTo>
                <a:cubicBezTo>
                  <a:pt x="9413444" y="45128"/>
                  <a:pt x="9411447" y="48190"/>
                  <a:pt x="9408917" y="50852"/>
                </a:cubicBezTo>
                <a:cubicBezTo>
                  <a:pt x="9406255" y="53515"/>
                  <a:pt x="9403194" y="55645"/>
                  <a:pt x="9399599" y="57109"/>
                </a:cubicBezTo>
                <a:cubicBezTo>
                  <a:pt x="9396005" y="58573"/>
                  <a:pt x="9392145" y="59372"/>
                  <a:pt x="9387885" y="59372"/>
                </a:cubicBezTo>
                <a:cubicBezTo>
                  <a:pt x="9378965" y="59372"/>
                  <a:pt x="9371644" y="56443"/>
                  <a:pt x="9366053" y="50852"/>
                </a:cubicBezTo>
                <a:cubicBezTo>
                  <a:pt x="9360462" y="45261"/>
                  <a:pt x="9357667" y="38205"/>
                  <a:pt x="9357667" y="29686"/>
                </a:cubicBezTo>
                <a:cubicBezTo>
                  <a:pt x="9357667" y="21433"/>
                  <a:pt x="9360462" y="14378"/>
                  <a:pt x="9366053" y="8654"/>
                </a:cubicBezTo>
                <a:cubicBezTo>
                  <a:pt x="9371644" y="2796"/>
                  <a:pt x="9378832" y="1"/>
                  <a:pt x="9387885" y="1"/>
                </a:cubicBezTo>
                <a:close/>
                <a:moveTo>
                  <a:pt x="9605531" y="1"/>
                </a:moveTo>
                <a:cubicBezTo>
                  <a:pt x="9609790" y="1"/>
                  <a:pt x="9613784" y="800"/>
                  <a:pt x="9617245" y="2530"/>
                </a:cubicBezTo>
                <a:cubicBezTo>
                  <a:pt x="9620839" y="4128"/>
                  <a:pt x="9624033" y="6257"/>
                  <a:pt x="9626562" y="8920"/>
                </a:cubicBezTo>
                <a:cubicBezTo>
                  <a:pt x="9629092" y="11449"/>
                  <a:pt x="9631222" y="14644"/>
                  <a:pt x="9632686" y="18238"/>
                </a:cubicBezTo>
                <a:cubicBezTo>
                  <a:pt x="9634150" y="21832"/>
                  <a:pt x="9634949" y="25692"/>
                  <a:pt x="9634949" y="29686"/>
                </a:cubicBezTo>
                <a:cubicBezTo>
                  <a:pt x="9634949" y="33813"/>
                  <a:pt x="9634150" y="37806"/>
                  <a:pt x="9632686" y="41400"/>
                </a:cubicBezTo>
                <a:cubicBezTo>
                  <a:pt x="9631089" y="45127"/>
                  <a:pt x="9629092" y="48189"/>
                  <a:pt x="9626562" y="50852"/>
                </a:cubicBezTo>
                <a:cubicBezTo>
                  <a:pt x="9623901" y="53515"/>
                  <a:pt x="9620839" y="55645"/>
                  <a:pt x="9617245" y="57109"/>
                </a:cubicBezTo>
                <a:cubicBezTo>
                  <a:pt x="9613651" y="58573"/>
                  <a:pt x="9609790" y="59372"/>
                  <a:pt x="9605531" y="59372"/>
                </a:cubicBezTo>
                <a:cubicBezTo>
                  <a:pt x="9596610" y="59372"/>
                  <a:pt x="9589289" y="56443"/>
                  <a:pt x="9583698" y="50852"/>
                </a:cubicBezTo>
                <a:cubicBezTo>
                  <a:pt x="9578108" y="45261"/>
                  <a:pt x="9575312" y="38205"/>
                  <a:pt x="9575312" y="29686"/>
                </a:cubicBezTo>
                <a:cubicBezTo>
                  <a:pt x="9575312" y="21433"/>
                  <a:pt x="9578108" y="14378"/>
                  <a:pt x="9583698" y="8654"/>
                </a:cubicBezTo>
                <a:cubicBezTo>
                  <a:pt x="9589289" y="2796"/>
                  <a:pt x="9596478" y="1"/>
                  <a:pt x="9605531" y="1"/>
                </a:cubicBezTo>
                <a:close/>
                <a:moveTo>
                  <a:pt x="9823176" y="0"/>
                </a:moveTo>
                <a:cubicBezTo>
                  <a:pt x="9827435" y="0"/>
                  <a:pt x="9831296" y="799"/>
                  <a:pt x="9834890" y="2530"/>
                </a:cubicBezTo>
                <a:cubicBezTo>
                  <a:pt x="9838617" y="4127"/>
                  <a:pt x="9841679" y="6257"/>
                  <a:pt x="9844208" y="8920"/>
                </a:cubicBezTo>
                <a:cubicBezTo>
                  <a:pt x="9846737" y="11449"/>
                  <a:pt x="9848867" y="14644"/>
                  <a:pt x="9850331" y="18238"/>
                </a:cubicBezTo>
                <a:cubicBezTo>
                  <a:pt x="9851796" y="21832"/>
                  <a:pt x="9852595" y="25692"/>
                  <a:pt x="9852595" y="29686"/>
                </a:cubicBezTo>
                <a:cubicBezTo>
                  <a:pt x="9852595" y="33813"/>
                  <a:pt x="9851796" y="37806"/>
                  <a:pt x="9850331" y="41400"/>
                </a:cubicBezTo>
                <a:cubicBezTo>
                  <a:pt x="9848734" y="45127"/>
                  <a:pt x="9846737" y="48189"/>
                  <a:pt x="9844208" y="50851"/>
                </a:cubicBezTo>
                <a:cubicBezTo>
                  <a:pt x="9841546" y="53514"/>
                  <a:pt x="9838484" y="55644"/>
                  <a:pt x="9834890" y="57109"/>
                </a:cubicBezTo>
                <a:cubicBezTo>
                  <a:pt x="9831296" y="58573"/>
                  <a:pt x="9827435" y="59372"/>
                  <a:pt x="9823176" y="59372"/>
                </a:cubicBezTo>
                <a:cubicBezTo>
                  <a:pt x="9814123" y="59372"/>
                  <a:pt x="9806935" y="56442"/>
                  <a:pt x="9801343" y="50851"/>
                </a:cubicBezTo>
                <a:cubicBezTo>
                  <a:pt x="9795753" y="45261"/>
                  <a:pt x="9792957" y="38205"/>
                  <a:pt x="9792957" y="29686"/>
                </a:cubicBezTo>
                <a:cubicBezTo>
                  <a:pt x="9792957" y="21433"/>
                  <a:pt x="9795753" y="14378"/>
                  <a:pt x="9801343" y="8654"/>
                </a:cubicBezTo>
                <a:cubicBezTo>
                  <a:pt x="9806935" y="2795"/>
                  <a:pt x="9814123" y="0"/>
                  <a:pt x="9823176" y="0"/>
                </a:cubicBezTo>
                <a:close/>
                <a:moveTo>
                  <a:pt x="10040820" y="0"/>
                </a:moveTo>
                <a:cubicBezTo>
                  <a:pt x="10045080" y="0"/>
                  <a:pt x="10048941" y="799"/>
                  <a:pt x="10052534" y="2529"/>
                </a:cubicBezTo>
                <a:cubicBezTo>
                  <a:pt x="10056129" y="4127"/>
                  <a:pt x="10059323" y="6256"/>
                  <a:pt x="10061852" y="8919"/>
                </a:cubicBezTo>
                <a:cubicBezTo>
                  <a:pt x="10064382" y="11449"/>
                  <a:pt x="10066512" y="14644"/>
                  <a:pt x="10067976" y="18238"/>
                </a:cubicBezTo>
                <a:cubicBezTo>
                  <a:pt x="10069440" y="21832"/>
                  <a:pt x="10070239" y="25692"/>
                  <a:pt x="10070239" y="29686"/>
                </a:cubicBezTo>
                <a:cubicBezTo>
                  <a:pt x="10070239" y="33813"/>
                  <a:pt x="10069440" y="37806"/>
                  <a:pt x="10067976" y="41400"/>
                </a:cubicBezTo>
                <a:cubicBezTo>
                  <a:pt x="10066379" y="45127"/>
                  <a:pt x="10064382" y="48189"/>
                  <a:pt x="10061852" y="50851"/>
                </a:cubicBezTo>
                <a:cubicBezTo>
                  <a:pt x="10059190" y="53514"/>
                  <a:pt x="10056129" y="55644"/>
                  <a:pt x="10052534" y="57108"/>
                </a:cubicBezTo>
                <a:cubicBezTo>
                  <a:pt x="10048941" y="58572"/>
                  <a:pt x="10045080" y="59371"/>
                  <a:pt x="10040820" y="59371"/>
                </a:cubicBezTo>
                <a:cubicBezTo>
                  <a:pt x="10031767" y="59371"/>
                  <a:pt x="10024579" y="56442"/>
                  <a:pt x="10018988" y="50851"/>
                </a:cubicBezTo>
                <a:cubicBezTo>
                  <a:pt x="10013397" y="45261"/>
                  <a:pt x="10010602" y="38205"/>
                  <a:pt x="10010602" y="29686"/>
                </a:cubicBezTo>
                <a:cubicBezTo>
                  <a:pt x="10010602" y="21433"/>
                  <a:pt x="10013397" y="14378"/>
                  <a:pt x="10018988" y="8653"/>
                </a:cubicBezTo>
                <a:cubicBezTo>
                  <a:pt x="10024579" y="2795"/>
                  <a:pt x="10031767" y="0"/>
                  <a:pt x="10040820" y="0"/>
                </a:cubicBezTo>
                <a:close/>
                <a:moveTo>
                  <a:pt x="10258466" y="0"/>
                </a:moveTo>
                <a:cubicBezTo>
                  <a:pt x="10262592" y="0"/>
                  <a:pt x="10266586" y="799"/>
                  <a:pt x="10270313" y="2529"/>
                </a:cubicBezTo>
                <a:cubicBezTo>
                  <a:pt x="10273907" y="4127"/>
                  <a:pt x="10277101" y="6256"/>
                  <a:pt x="10279631" y="8919"/>
                </a:cubicBezTo>
                <a:cubicBezTo>
                  <a:pt x="10282160" y="11448"/>
                  <a:pt x="10284290" y="14644"/>
                  <a:pt x="10285754" y="18238"/>
                </a:cubicBezTo>
                <a:cubicBezTo>
                  <a:pt x="10287218" y="21832"/>
                  <a:pt x="10288017" y="25692"/>
                  <a:pt x="10288017" y="29686"/>
                </a:cubicBezTo>
                <a:cubicBezTo>
                  <a:pt x="10288017" y="33813"/>
                  <a:pt x="10287218" y="37806"/>
                  <a:pt x="10285754" y="41400"/>
                </a:cubicBezTo>
                <a:cubicBezTo>
                  <a:pt x="10284157" y="45127"/>
                  <a:pt x="10282160" y="48189"/>
                  <a:pt x="10279631" y="50851"/>
                </a:cubicBezTo>
                <a:cubicBezTo>
                  <a:pt x="10276969" y="53514"/>
                  <a:pt x="10273907" y="55644"/>
                  <a:pt x="10270313" y="57108"/>
                </a:cubicBezTo>
                <a:cubicBezTo>
                  <a:pt x="10266586" y="58572"/>
                  <a:pt x="10262725" y="59371"/>
                  <a:pt x="10258466" y="59371"/>
                </a:cubicBezTo>
                <a:cubicBezTo>
                  <a:pt x="10249546" y="59371"/>
                  <a:pt x="10242224" y="56442"/>
                  <a:pt x="10236633" y="50851"/>
                </a:cubicBezTo>
                <a:cubicBezTo>
                  <a:pt x="10231043" y="45261"/>
                  <a:pt x="10228247" y="38205"/>
                  <a:pt x="10228247" y="29686"/>
                </a:cubicBezTo>
                <a:cubicBezTo>
                  <a:pt x="10228247" y="21433"/>
                  <a:pt x="10231043" y="14377"/>
                  <a:pt x="10236633" y="8653"/>
                </a:cubicBezTo>
                <a:cubicBezTo>
                  <a:pt x="10242092" y="2795"/>
                  <a:pt x="10249413" y="0"/>
                  <a:pt x="10258466" y="0"/>
                </a:cubicBezTo>
                <a:close/>
                <a:moveTo>
                  <a:pt x="10475977" y="0"/>
                </a:moveTo>
                <a:cubicBezTo>
                  <a:pt x="10480237" y="0"/>
                  <a:pt x="10484230" y="799"/>
                  <a:pt x="10487824" y="2529"/>
                </a:cubicBezTo>
                <a:cubicBezTo>
                  <a:pt x="10491419" y="4127"/>
                  <a:pt x="10494613" y="6256"/>
                  <a:pt x="10497143" y="8919"/>
                </a:cubicBezTo>
                <a:cubicBezTo>
                  <a:pt x="10499672" y="11448"/>
                  <a:pt x="10501801" y="14643"/>
                  <a:pt x="10503266" y="18237"/>
                </a:cubicBezTo>
                <a:cubicBezTo>
                  <a:pt x="10504730" y="21832"/>
                  <a:pt x="10505529" y="25692"/>
                  <a:pt x="10505529" y="29686"/>
                </a:cubicBezTo>
                <a:cubicBezTo>
                  <a:pt x="10505529" y="33813"/>
                  <a:pt x="10504730" y="37806"/>
                  <a:pt x="10503266" y="41400"/>
                </a:cubicBezTo>
                <a:cubicBezTo>
                  <a:pt x="10501669" y="45127"/>
                  <a:pt x="10499672" y="48189"/>
                  <a:pt x="10497143" y="50851"/>
                </a:cubicBezTo>
                <a:cubicBezTo>
                  <a:pt x="10494480" y="53514"/>
                  <a:pt x="10491419" y="55644"/>
                  <a:pt x="10487824" y="57108"/>
                </a:cubicBezTo>
                <a:cubicBezTo>
                  <a:pt x="10484098" y="58572"/>
                  <a:pt x="10480237" y="59371"/>
                  <a:pt x="10475977" y="59371"/>
                </a:cubicBezTo>
                <a:cubicBezTo>
                  <a:pt x="10466924" y="59371"/>
                  <a:pt x="10459736" y="56442"/>
                  <a:pt x="10454145" y="50851"/>
                </a:cubicBezTo>
                <a:cubicBezTo>
                  <a:pt x="10448554" y="45261"/>
                  <a:pt x="10445759" y="38205"/>
                  <a:pt x="10445759" y="29686"/>
                </a:cubicBezTo>
                <a:cubicBezTo>
                  <a:pt x="10445759" y="21433"/>
                  <a:pt x="10448554" y="14377"/>
                  <a:pt x="10454145" y="8653"/>
                </a:cubicBezTo>
                <a:cubicBezTo>
                  <a:pt x="10459603" y="2795"/>
                  <a:pt x="10466924" y="0"/>
                  <a:pt x="10475977" y="0"/>
                </a:cubicBezTo>
                <a:close/>
              </a:path>
            </a:pathLst>
          </a:custGeom>
          <a:solidFill>
            <a:schemeClr val="bg1">
              <a:alpha val="15000"/>
            </a:schemeClr>
          </a:solidFill>
          <a:ln w="1330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A08598C7-D0CD-4849-A23A-1CA5164C3AEF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630237" y="2041303"/>
            <a:ext cx="6192837" cy="58759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3800" b="1" i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2DA9FD3E-D0AF-624E-B73F-B554B6B6CDAE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630237" y="2808523"/>
            <a:ext cx="6192837" cy="558770"/>
          </a:xfrm>
          <a:prstGeom prst="rect">
            <a:avLst/>
          </a:prstGeom>
        </p:spPr>
        <p:txBody>
          <a:bodyPr/>
          <a:lstStyle>
            <a:lvl1pPr>
              <a:defRPr sz="1600" b="0" i="0" cap="all" baseline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FB191D79-7063-C045-8F81-898198544EA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8192046" y="4475311"/>
            <a:ext cx="1943186" cy="30623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r">
              <a:defRPr lang="en-GB" sz="19900" b="1" i="0" smtClean="0">
                <a:solidFill>
                  <a:schemeClr val="bg1"/>
                </a:solidFill>
                <a:effectLst/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0799298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6D8F49C-35BA-4B78-B4D5-074DCFF3CD9F}"/>
              </a:ext>
            </a:extLst>
          </p:cNvPr>
          <p:cNvSpPr/>
          <p:nvPr userDrawn="1"/>
        </p:nvSpPr>
        <p:spPr>
          <a:xfrm>
            <a:off x="97201" y="54440"/>
            <a:ext cx="10505529" cy="7458372"/>
          </a:xfrm>
          <a:custGeom>
            <a:avLst/>
            <a:gdLst>
              <a:gd name="connsiteX0" fmla="*/ 10475977 w 10505529"/>
              <a:gd name="connsiteY0" fmla="*/ 7415641 h 7458372"/>
              <a:gd name="connsiteX1" fmla="*/ 10465992 w 10505529"/>
              <a:gd name="connsiteY1" fmla="*/ 7419236 h 7458372"/>
              <a:gd name="connsiteX2" fmla="*/ 10462399 w 10505529"/>
              <a:gd name="connsiteY2" fmla="*/ 7428687 h 7458372"/>
              <a:gd name="connsiteX3" fmla="*/ 10465992 w 10505529"/>
              <a:gd name="connsiteY3" fmla="*/ 7438138 h 7458372"/>
              <a:gd name="connsiteX4" fmla="*/ 10475977 w 10505529"/>
              <a:gd name="connsiteY4" fmla="*/ 7441732 h 7458372"/>
              <a:gd name="connsiteX5" fmla="*/ 10481302 w 10505529"/>
              <a:gd name="connsiteY5" fmla="*/ 7440535 h 7458372"/>
              <a:gd name="connsiteX6" fmla="*/ 10485029 w 10505529"/>
              <a:gd name="connsiteY6" fmla="*/ 7438138 h 7458372"/>
              <a:gd name="connsiteX7" fmla="*/ 10487691 w 10505529"/>
              <a:gd name="connsiteY7" fmla="*/ 7434011 h 7458372"/>
              <a:gd name="connsiteX8" fmla="*/ 10488623 w 10505529"/>
              <a:gd name="connsiteY8" fmla="*/ 7428554 h 7458372"/>
              <a:gd name="connsiteX9" fmla="*/ 10487691 w 10505529"/>
              <a:gd name="connsiteY9" fmla="*/ 7423362 h 7458372"/>
              <a:gd name="connsiteX10" fmla="*/ 10485029 w 10505529"/>
              <a:gd name="connsiteY10" fmla="*/ 7419236 h 7458372"/>
              <a:gd name="connsiteX11" fmla="*/ 10481035 w 10505529"/>
              <a:gd name="connsiteY11" fmla="*/ 7416573 h 7458372"/>
              <a:gd name="connsiteX12" fmla="*/ 10475977 w 10505529"/>
              <a:gd name="connsiteY12" fmla="*/ 7415641 h 7458372"/>
              <a:gd name="connsiteX13" fmla="*/ 10258466 w 10505529"/>
              <a:gd name="connsiteY13" fmla="*/ 7415641 h 7458372"/>
              <a:gd name="connsiteX14" fmla="*/ 10248481 w 10505529"/>
              <a:gd name="connsiteY14" fmla="*/ 7419236 h 7458372"/>
              <a:gd name="connsiteX15" fmla="*/ 10244887 w 10505529"/>
              <a:gd name="connsiteY15" fmla="*/ 7428687 h 7458372"/>
              <a:gd name="connsiteX16" fmla="*/ 10248481 w 10505529"/>
              <a:gd name="connsiteY16" fmla="*/ 7438138 h 7458372"/>
              <a:gd name="connsiteX17" fmla="*/ 10258466 w 10505529"/>
              <a:gd name="connsiteY17" fmla="*/ 7441732 h 7458372"/>
              <a:gd name="connsiteX18" fmla="*/ 10263790 w 10505529"/>
              <a:gd name="connsiteY18" fmla="*/ 7440535 h 7458372"/>
              <a:gd name="connsiteX19" fmla="*/ 10267517 w 10505529"/>
              <a:gd name="connsiteY19" fmla="*/ 7438138 h 7458372"/>
              <a:gd name="connsiteX20" fmla="*/ 10270180 w 10505529"/>
              <a:gd name="connsiteY20" fmla="*/ 7434011 h 7458372"/>
              <a:gd name="connsiteX21" fmla="*/ 10271112 w 10505529"/>
              <a:gd name="connsiteY21" fmla="*/ 7428554 h 7458372"/>
              <a:gd name="connsiteX22" fmla="*/ 10270180 w 10505529"/>
              <a:gd name="connsiteY22" fmla="*/ 7423362 h 7458372"/>
              <a:gd name="connsiteX23" fmla="*/ 10267517 w 10505529"/>
              <a:gd name="connsiteY23" fmla="*/ 7419236 h 7458372"/>
              <a:gd name="connsiteX24" fmla="*/ 10263524 w 10505529"/>
              <a:gd name="connsiteY24" fmla="*/ 7416573 h 7458372"/>
              <a:gd name="connsiteX25" fmla="*/ 10258466 w 10505529"/>
              <a:gd name="connsiteY25" fmla="*/ 7415641 h 7458372"/>
              <a:gd name="connsiteX26" fmla="*/ 10040820 w 10505529"/>
              <a:gd name="connsiteY26" fmla="*/ 7415641 h 7458372"/>
              <a:gd name="connsiteX27" fmla="*/ 10030835 w 10505529"/>
              <a:gd name="connsiteY27" fmla="*/ 7419236 h 7458372"/>
              <a:gd name="connsiteX28" fmla="*/ 10027242 w 10505529"/>
              <a:gd name="connsiteY28" fmla="*/ 7428687 h 7458372"/>
              <a:gd name="connsiteX29" fmla="*/ 10030835 w 10505529"/>
              <a:gd name="connsiteY29" fmla="*/ 7438138 h 7458372"/>
              <a:gd name="connsiteX30" fmla="*/ 10040820 w 10505529"/>
              <a:gd name="connsiteY30" fmla="*/ 7441732 h 7458372"/>
              <a:gd name="connsiteX31" fmla="*/ 10046145 w 10505529"/>
              <a:gd name="connsiteY31" fmla="*/ 7440535 h 7458372"/>
              <a:gd name="connsiteX32" fmla="*/ 10049872 w 10505529"/>
              <a:gd name="connsiteY32" fmla="*/ 7438138 h 7458372"/>
              <a:gd name="connsiteX33" fmla="*/ 10052534 w 10505529"/>
              <a:gd name="connsiteY33" fmla="*/ 7434011 h 7458372"/>
              <a:gd name="connsiteX34" fmla="*/ 10053599 w 10505529"/>
              <a:gd name="connsiteY34" fmla="*/ 7428554 h 7458372"/>
              <a:gd name="connsiteX35" fmla="*/ 10052534 w 10505529"/>
              <a:gd name="connsiteY35" fmla="*/ 7423362 h 7458372"/>
              <a:gd name="connsiteX36" fmla="*/ 10049872 w 10505529"/>
              <a:gd name="connsiteY36" fmla="*/ 7419236 h 7458372"/>
              <a:gd name="connsiteX37" fmla="*/ 10045878 w 10505529"/>
              <a:gd name="connsiteY37" fmla="*/ 7416573 h 7458372"/>
              <a:gd name="connsiteX38" fmla="*/ 10040820 w 10505529"/>
              <a:gd name="connsiteY38" fmla="*/ 7415641 h 7458372"/>
              <a:gd name="connsiteX39" fmla="*/ 9823176 w 10505529"/>
              <a:gd name="connsiteY39" fmla="*/ 7415641 h 7458372"/>
              <a:gd name="connsiteX40" fmla="*/ 9813191 w 10505529"/>
              <a:gd name="connsiteY40" fmla="*/ 7419236 h 7458372"/>
              <a:gd name="connsiteX41" fmla="*/ 9809597 w 10505529"/>
              <a:gd name="connsiteY41" fmla="*/ 7428687 h 7458372"/>
              <a:gd name="connsiteX42" fmla="*/ 9813191 w 10505529"/>
              <a:gd name="connsiteY42" fmla="*/ 7438138 h 7458372"/>
              <a:gd name="connsiteX43" fmla="*/ 9823176 w 10505529"/>
              <a:gd name="connsiteY43" fmla="*/ 7441732 h 7458372"/>
              <a:gd name="connsiteX44" fmla="*/ 9828501 w 10505529"/>
              <a:gd name="connsiteY44" fmla="*/ 7440535 h 7458372"/>
              <a:gd name="connsiteX45" fmla="*/ 9832227 w 10505529"/>
              <a:gd name="connsiteY45" fmla="*/ 7438138 h 7458372"/>
              <a:gd name="connsiteX46" fmla="*/ 9834890 w 10505529"/>
              <a:gd name="connsiteY46" fmla="*/ 7434011 h 7458372"/>
              <a:gd name="connsiteX47" fmla="*/ 9835955 w 10505529"/>
              <a:gd name="connsiteY47" fmla="*/ 7428554 h 7458372"/>
              <a:gd name="connsiteX48" fmla="*/ 9834890 w 10505529"/>
              <a:gd name="connsiteY48" fmla="*/ 7423362 h 7458372"/>
              <a:gd name="connsiteX49" fmla="*/ 9832227 w 10505529"/>
              <a:gd name="connsiteY49" fmla="*/ 7419236 h 7458372"/>
              <a:gd name="connsiteX50" fmla="*/ 9828234 w 10505529"/>
              <a:gd name="connsiteY50" fmla="*/ 7416573 h 7458372"/>
              <a:gd name="connsiteX51" fmla="*/ 9823176 w 10505529"/>
              <a:gd name="connsiteY51" fmla="*/ 7415641 h 7458372"/>
              <a:gd name="connsiteX52" fmla="*/ 9605531 w 10505529"/>
              <a:gd name="connsiteY52" fmla="*/ 7415641 h 7458372"/>
              <a:gd name="connsiteX53" fmla="*/ 9595546 w 10505529"/>
              <a:gd name="connsiteY53" fmla="*/ 7419236 h 7458372"/>
              <a:gd name="connsiteX54" fmla="*/ 9591952 w 10505529"/>
              <a:gd name="connsiteY54" fmla="*/ 7428687 h 7458372"/>
              <a:gd name="connsiteX55" fmla="*/ 9595546 w 10505529"/>
              <a:gd name="connsiteY55" fmla="*/ 7438138 h 7458372"/>
              <a:gd name="connsiteX56" fmla="*/ 9605531 w 10505529"/>
              <a:gd name="connsiteY56" fmla="*/ 7441732 h 7458372"/>
              <a:gd name="connsiteX57" fmla="*/ 9610855 w 10505529"/>
              <a:gd name="connsiteY57" fmla="*/ 7440535 h 7458372"/>
              <a:gd name="connsiteX58" fmla="*/ 9614582 w 10505529"/>
              <a:gd name="connsiteY58" fmla="*/ 7438138 h 7458372"/>
              <a:gd name="connsiteX59" fmla="*/ 9617245 w 10505529"/>
              <a:gd name="connsiteY59" fmla="*/ 7434011 h 7458372"/>
              <a:gd name="connsiteX60" fmla="*/ 9618309 w 10505529"/>
              <a:gd name="connsiteY60" fmla="*/ 7428554 h 7458372"/>
              <a:gd name="connsiteX61" fmla="*/ 9617245 w 10505529"/>
              <a:gd name="connsiteY61" fmla="*/ 7423362 h 7458372"/>
              <a:gd name="connsiteX62" fmla="*/ 9614582 w 10505529"/>
              <a:gd name="connsiteY62" fmla="*/ 7419236 h 7458372"/>
              <a:gd name="connsiteX63" fmla="*/ 9610589 w 10505529"/>
              <a:gd name="connsiteY63" fmla="*/ 7416573 h 7458372"/>
              <a:gd name="connsiteX64" fmla="*/ 9605531 w 10505529"/>
              <a:gd name="connsiteY64" fmla="*/ 7415641 h 7458372"/>
              <a:gd name="connsiteX65" fmla="*/ 9387885 w 10505529"/>
              <a:gd name="connsiteY65" fmla="*/ 7415641 h 7458372"/>
              <a:gd name="connsiteX66" fmla="*/ 9377900 w 10505529"/>
              <a:gd name="connsiteY66" fmla="*/ 7419236 h 7458372"/>
              <a:gd name="connsiteX67" fmla="*/ 9374307 w 10505529"/>
              <a:gd name="connsiteY67" fmla="*/ 7428687 h 7458372"/>
              <a:gd name="connsiteX68" fmla="*/ 9377900 w 10505529"/>
              <a:gd name="connsiteY68" fmla="*/ 7438138 h 7458372"/>
              <a:gd name="connsiteX69" fmla="*/ 9387885 w 10505529"/>
              <a:gd name="connsiteY69" fmla="*/ 7441732 h 7458372"/>
              <a:gd name="connsiteX70" fmla="*/ 9393210 w 10505529"/>
              <a:gd name="connsiteY70" fmla="*/ 7440535 h 7458372"/>
              <a:gd name="connsiteX71" fmla="*/ 9396937 w 10505529"/>
              <a:gd name="connsiteY71" fmla="*/ 7438138 h 7458372"/>
              <a:gd name="connsiteX72" fmla="*/ 9399599 w 10505529"/>
              <a:gd name="connsiteY72" fmla="*/ 7434011 h 7458372"/>
              <a:gd name="connsiteX73" fmla="*/ 9400664 w 10505529"/>
              <a:gd name="connsiteY73" fmla="*/ 7428554 h 7458372"/>
              <a:gd name="connsiteX74" fmla="*/ 9399599 w 10505529"/>
              <a:gd name="connsiteY74" fmla="*/ 7423362 h 7458372"/>
              <a:gd name="connsiteX75" fmla="*/ 9396937 w 10505529"/>
              <a:gd name="connsiteY75" fmla="*/ 7419236 h 7458372"/>
              <a:gd name="connsiteX76" fmla="*/ 9392943 w 10505529"/>
              <a:gd name="connsiteY76" fmla="*/ 7416573 h 7458372"/>
              <a:gd name="connsiteX77" fmla="*/ 9387885 w 10505529"/>
              <a:gd name="connsiteY77" fmla="*/ 7415641 h 7458372"/>
              <a:gd name="connsiteX78" fmla="*/ 9170374 w 10505529"/>
              <a:gd name="connsiteY78" fmla="*/ 7415641 h 7458372"/>
              <a:gd name="connsiteX79" fmla="*/ 9160389 w 10505529"/>
              <a:gd name="connsiteY79" fmla="*/ 7419236 h 7458372"/>
              <a:gd name="connsiteX80" fmla="*/ 9156795 w 10505529"/>
              <a:gd name="connsiteY80" fmla="*/ 7428687 h 7458372"/>
              <a:gd name="connsiteX81" fmla="*/ 9160389 w 10505529"/>
              <a:gd name="connsiteY81" fmla="*/ 7438138 h 7458372"/>
              <a:gd name="connsiteX82" fmla="*/ 9170374 w 10505529"/>
              <a:gd name="connsiteY82" fmla="*/ 7441732 h 7458372"/>
              <a:gd name="connsiteX83" fmla="*/ 9175698 w 10505529"/>
              <a:gd name="connsiteY83" fmla="*/ 7440535 h 7458372"/>
              <a:gd name="connsiteX84" fmla="*/ 9179425 w 10505529"/>
              <a:gd name="connsiteY84" fmla="*/ 7438138 h 7458372"/>
              <a:gd name="connsiteX85" fmla="*/ 9182088 w 10505529"/>
              <a:gd name="connsiteY85" fmla="*/ 7434011 h 7458372"/>
              <a:gd name="connsiteX86" fmla="*/ 9183152 w 10505529"/>
              <a:gd name="connsiteY86" fmla="*/ 7428554 h 7458372"/>
              <a:gd name="connsiteX87" fmla="*/ 9182088 w 10505529"/>
              <a:gd name="connsiteY87" fmla="*/ 7423362 h 7458372"/>
              <a:gd name="connsiteX88" fmla="*/ 9179425 w 10505529"/>
              <a:gd name="connsiteY88" fmla="*/ 7419236 h 7458372"/>
              <a:gd name="connsiteX89" fmla="*/ 9175432 w 10505529"/>
              <a:gd name="connsiteY89" fmla="*/ 7416573 h 7458372"/>
              <a:gd name="connsiteX90" fmla="*/ 9170374 w 10505529"/>
              <a:gd name="connsiteY90" fmla="*/ 7415641 h 7458372"/>
              <a:gd name="connsiteX91" fmla="*/ 8952728 w 10505529"/>
              <a:gd name="connsiteY91" fmla="*/ 7415641 h 7458372"/>
              <a:gd name="connsiteX92" fmla="*/ 8942743 w 10505529"/>
              <a:gd name="connsiteY92" fmla="*/ 7419236 h 7458372"/>
              <a:gd name="connsiteX93" fmla="*/ 8939150 w 10505529"/>
              <a:gd name="connsiteY93" fmla="*/ 7428687 h 7458372"/>
              <a:gd name="connsiteX94" fmla="*/ 8942743 w 10505529"/>
              <a:gd name="connsiteY94" fmla="*/ 7438138 h 7458372"/>
              <a:gd name="connsiteX95" fmla="*/ 8952728 w 10505529"/>
              <a:gd name="connsiteY95" fmla="*/ 7441732 h 7458372"/>
              <a:gd name="connsiteX96" fmla="*/ 8958053 w 10505529"/>
              <a:gd name="connsiteY96" fmla="*/ 7440535 h 7458372"/>
              <a:gd name="connsiteX97" fmla="*/ 8961780 w 10505529"/>
              <a:gd name="connsiteY97" fmla="*/ 7438138 h 7458372"/>
              <a:gd name="connsiteX98" fmla="*/ 8964442 w 10505529"/>
              <a:gd name="connsiteY98" fmla="*/ 7434011 h 7458372"/>
              <a:gd name="connsiteX99" fmla="*/ 8965507 w 10505529"/>
              <a:gd name="connsiteY99" fmla="*/ 7428554 h 7458372"/>
              <a:gd name="connsiteX100" fmla="*/ 8964442 w 10505529"/>
              <a:gd name="connsiteY100" fmla="*/ 7423362 h 7458372"/>
              <a:gd name="connsiteX101" fmla="*/ 8961780 w 10505529"/>
              <a:gd name="connsiteY101" fmla="*/ 7419236 h 7458372"/>
              <a:gd name="connsiteX102" fmla="*/ 8957786 w 10505529"/>
              <a:gd name="connsiteY102" fmla="*/ 7416573 h 7458372"/>
              <a:gd name="connsiteX103" fmla="*/ 8952728 w 10505529"/>
              <a:gd name="connsiteY103" fmla="*/ 7415641 h 7458372"/>
              <a:gd name="connsiteX104" fmla="*/ 8735083 w 10505529"/>
              <a:gd name="connsiteY104" fmla="*/ 7415641 h 7458372"/>
              <a:gd name="connsiteX105" fmla="*/ 8725098 w 10505529"/>
              <a:gd name="connsiteY105" fmla="*/ 7419236 h 7458372"/>
              <a:gd name="connsiteX106" fmla="*/ 8721504 w 10505529"/>
              <a:gd name="connsiteY106" fmla="*/ 7428687 h 7458372"/>
              <a:gd name="connsiteX107" fmla="*/ 8725098 w 10505529"/>
              <a:gd name="connsiteY107" fmla="*/ 7438138 h 7458372"/>
              <a:gd name="connsiteX108" fmla="*/ 8735083 w 10505529"/>
              <a:gd name="connsiteY108" fmla="*/ 7441732 h 7458372"/>
              <a:gd name="connsiteX109" fmla="*/ 8740407 w 10505529"/>
              <a:gd name="connsiteY109" fmla="*/ 7440535 h 7458372"/>
              <a:gd name="connsiteX110" fmla="*/ 8744134 w 10505529"/>
              <a:gd name="connsiteY110" fmla="*/ 7438138 h 7458372"/>
              <a:gd name="connsiteX111" fmla="*/ 8746797 w 10505529"/>
              <a:gd name="connsiteY111" fmla="*/ 7434011 h 7458372"/>
              <a:gd name="connsiteX112" fmla="*/ 8747862 w 10505529"/>
              <a:gd name="connsiteY112" fmla="*/ 7428554 h 7458372"/>
              <a:gd name="connsiteX113" fmla="*/ 8746797 w 10505529"/>
              <a:gd name="connsiteY113" fmla="*/ 7423362 h 7458372"/>
              <a:gd name="connsiteX114" fmla="*/ 8744134 w 10505529"/>
              <a:gd name="connsiteY114" fmla="*/ 7419236 h 7458372"/>
              <a:gd name="connsiteX115" fmla="*/ 8740141 w 10505529"/>
              <a:gd name="connsiteY115" fmla="*/ 7416573 h 7458372"/>
              <a:gd name="connsiteX116" fmla="*/ 8735083 w 10505529"/>
              <a:gd name="connsiteY116" fmla="*/ 7415641 h 7458372"/>
              <a:gd name="connsiteX117" fmla="*/ 8517438 w 10505529"/>
              <a:gd name="connsiteY117" fmla="*/ 7415641 h 7458372"/>
              <a:gd name="connsiteX118" fmla="*/ 8507453 w 10505529"/>
              <a:gd name="connsiteY118" fmla="*/ 7419236 h 7458372"/>
              <a:gd name="connsiteX119" fmla="*/ 8503860 w 10505529"/>
              <a:gd name="connsiteY119" fmla="*/ 7428687 h 7458372"/>
              <a:gd name="connsiteX120" fmla="*/ 8507453 w 10505529"/>
              <a:gd name="connsiteY120" fmla="*/ 7438138 h 7458372"/>
              <a:gd name="connsiteX121" fmla="*/ 8517438 w 10505529"/>
              <a:gd name="connsiteY121" fmla="*/ 7441732 h 7458372"/>
              <a:gd name="connsiteX122" fmla="*/ 8522763 w 10505529"/>
              <a:gd name="connsiteY122" fmla="*/ 7440535 h 7458372"/>
              <a:gd name="connsiteX123" fmla="*/ 8526490 w 10505529"/>
              <a:gd name="connsiteY123" fmla="*/ 7438138 h 7458372"/>
              <a:gd name="connsiteX124" fmla="*/ 8529152 w 10505529"/>
              <a:gd name="connsiteY124" fmla="*/ 7434011 h 7458372"/>
              <a:gd name="connsiteX125" fmla="*/ 8530084 w 10505529"/>
              <a:gd name="connsiteY125" fmla="*/ 7428554 h 7458372"/>
              <a:gd name="connsiteX126" fmla="*/ 8529152 w 10505529"/>
              <a:gd name="connsiteY126" fmla="*/ 7423362 h 7458372"/>
              <a:gd name="connsiteX127" fmla="*/ 8526490 w 10505529"/>
              <a:gd name="connsiteY127" fmla="*/ 7419236 h 7458372"/>
              <a:gd name="connsiteX128" fmla="*/ 8522496 w 10505529"/>
              <a:gd name="connsiteY128" fmla="*/ 7416573 h 7458372"/>
              <a:gd name="connsiteX129" fmla="*/ 8517438 w 10505529"/>
              <a:gd name="connsiteY129" fmla="*/ 7415641 h 7458372"/>
              <a:gd name="connsiteX130" fmla="*/ 8299793 w 10505529"/>
              <a:gd name="connsiteY130" fmla="*/ 7415641 h 7458372"/>
              <a:gd name="connsiteX131" fmla="*/ 8289809 w 10505529"/>
              <a:gd name="connsiteY131" fmla="*/ 7419236 h 7458372"/>
              <a:gd name="connsiteX132" fmla="*/ 8286215 w 10505529"/>
              <a:gd name="connsiteY132" fmla="*/ 7428687 h 7458372"/>
              <a:gd name="connsiteX133" fmla="*/ 8289809 w 10505529"/>
              <a:gd name="connsiteY133" fmla="*/ 7438138 h 7458372"/>
              <a:gd name="connsiteX134" fmla="*/ 8299793 w 10505529"/>
              <a:gd name="connsiteY134" fmla="*/ 7441732 h 7458372"/>
              <a:gd name="connsiteX135" fmla="*/ 8305118 w 10505529"/>
              <a:gd name="connsiteY135" fmla="*/ 7440535 h 7458372"/>
              <a:gd name="connsiteX136" fmla="*/ 8308844 w 10505529"/>
              <a:gd name="connsiteY136" fmla="*/ 7438138 h 7458372"/>
              <a:gd name="connsiteX137" fmla="*/ 8311507 w 10505529"/>
              <a:gd name="connsiteY137" fmla="*/ 7434011 h 7458372"/>
              <a:gd name="connsiteX138" fmla="*/ 8312439 w 10505529"/>
              <a:gd name="connsiteY138" fmla="*/ 7428554 h 7458372"/>
              <a:gd name="connsiteX139" fmla="*/ 8311507 w 10505529"/>
              <a:gd name="connsiteY139" fmla="*/ 7423362 h 7458372"/>
              <a:gd name="connsiteX140" fmla="*/ 8308844 w 10505529"/>
              <a:gd name="connsiteY140" fmla="*/ 7419236 h 7458372"/>
              <a:gd name="connsiteX141" fmla="*/ 8304851 w 10505529"/>
              <a:gd name="connsiteY141" fmla="*/ 7416573 h 7458372"/>
              <a:gd name="connsiteX142" fmla="*/ 8299793 w 10505529"/>
              <a:gd name="connsiteY142" fmla="*/ 7415641 h 7458372"/>
              <a:gd name="connsiteX143" fmla="*/ 8082281 w 10505529"/>
              <a:gd name="connsiteY143" fmla="*/ 7415641 h 7458372"/>
              <a:gd name="connsiteX144" fmla="*/ 8072297 w 10505529"/>
              <a:gd name="connsiteY144" fmla="*/ 7419236 h 7458372"/>
              <a:gd name="connsiteX145" fmla="*/ 8068703 w 10505529"/>
              <a:gd name="connsiteY145" fmla="*/ 7428687 h 7458372"/>
              <a:gd name="connsiteX146" fmla="*/ 8072297 w 10505529"/>
              <a:gd name="connsiteY146" fmla="*/ 7438138 h 7458372"/>
              <a:gd name="connsiteX147" fmla="*/ 8082281 w 10505529"/>
              <a:gd name="connsiteY147" fmla="*/ 7441732 h 7458372"/>
              <a:gd name="connsiteX148" fmla="*/ 8087605 w 10505529"/>
              <a:gd name="connsiteY148" fmla="*/ 7440535 h 7458372"/>
              <a:gd name="connsiteX149" fmla="*/ 8091332 w 10505529"/>
              <a:gd name="connsiteY149" fmla="*/ 7438138 h 7458372"/>
              <a:gd name="connsiteX150" fmla="*/ 8093994 w 10505529"/>
              <a:gd name="connsiteY150" fmla="*/ 7434011 h 7458372"/>
              <a:gd name="connsiteX151" fmla="*/ 8094926 w 10505529"/>
              <a:gd name="connsiteY151" fmla="*/ 7428554 h 7458372"/>
              <a:gd name="connsiteX152" fmla="*/ 8093994 w 10505529"/>
              <a:gd name="connsiteY152" fmla="*/ 7423362 h 7458372"/>
              <a:gd name="connsiteX153" fmla="*/ 8091332 w 10505529"/>
              <a:gd name="connsiteY153" fmla="*/ 7419236 h 7458372"/>
              <a:gd name="connsiteX154" fmla="*/ 8087338 w 10505529"/>
              <a:gd name="connsiteY154" fmla="*/ 7416573 h 7458372"/>
              <a:gd name="connsiteX155" fmla="*/ 8082281 w 10505529"/>
              <a:gd name="connsiteY155" fmla="*/ 7415641 h 7458372"/>
              <a:gd name="connsiteX156" fmla="*/ 7864636 w 10505529"/>
              <a:gd name="connsiteY156" fmla="*/ 7415641 h 7458372"/>
              <a:gd name="connsiteX157" fmla="*/ 7854652 w 10505529"/>
              <a:gd name="connsiteY157" fmla="*/ 7419236 h 7458372"/>
              <a:gd name="connsiteX158" fmla="*/ 7851058 w 10505529"/>
              <a:gd name="connsiteY158" fmla="*/ 7428687 h 7458372"/>
              <a:gd name="connsiteX159" fmla="*/ 7854652 w 10505529"/>
              <a:gd name="connsiteY159" fmla="*/ 7438138 h 7458372"/>
              <a:gd name="connsiteX160" fmla="*/ 7864636 w 10505529"/>
              <a:gd name="connsiteY160" fmla="*/ 7441732 h 7458372"/>
              <a:gd name="connsiteX161" fmla="*/ 7869961 w 10505529"/>
              <a:gd name="connsiteY161" fmla="*/ 7440535 h 7458372"/>
              <a:gd name="connsiteX162" fmla="*/ 7873687 w 10505529"/>
              <a:gd name="connsiteY162" fmla="*/ 7438138 h 7458372"/>
              <a:gd name="connsiteX163" fmla="*/ 7876350 w 10505529"/>
              <a:gd name="connsiteY163" fmla="*/ 7434011 h 7458372"/>
              <a:gd name="connsiteX164" fmla="*/ 7877282 w 10505529"/>
              <a:gd name="connsiteY164" fmla="*/ 7428554 h 7458372"/>
              <a:gd name="connsiteX165" fmla="*/ 7876350 w 10505529"/>
              <a:gd name="connsiteY165" fmla="*/ 7423362 h 7458372"/>
              <a:gd name="connsiteX166" fmla="*/ 7873687 w 10505529"/>
              <a:gd name="connsiteY166" fmla="*/ 7419236 h 7458372"/>
              <a:gd name="connsiteX167" fmla="*/ 7869694 w 10505529"/>
              <a:gd name="connsiteY167" fmla="*/ 7416573 h 7458372"/>
              <a:gd name="connsiteX168" fmla="*/ 7864636 w 10505529"/>
              <a:gd name="connsiteY168" fmla="*/ 7415641 h 7458372"/>
              <a:gd name="connsiteX169" fmla="*/ 7646991 w 10505529"/>
              <a:gd name="connsiteY169" fmla="*/ 7415641 h 7458372"/>
              <a:gd name="connsiteX170" fmla="*/ 7637007 w 10505529"/>
              <a:gd name="connsiteY170" fmla="*/ 7419236 h 7458372"/>
              <a:gd name="connsiteX171" fmla="*/ 7633413 w 10505529"/>
              <a:gd name="connsiteY171" fmla="*/ 7428687 h 7458372"/>
              <a:gd name="connsiteX172" fmla="*/ 7637007 w 10505529"/>
              <a:gd name="connsiteY172" fmla="*/ 7438138 h 7458372"/>
              <a:gd name="connsiteX173" fmla="*/ 7646991 w 10505529"/>
              <a:gd name="connsiteY173" fmla="*/ 7441732 h 7458372"/>
              <a:gd name="connsiteX174" fmla="*/ 7652315 w 10505529"/>
              <a:gd name="connsiteY174" fmla="*/ 7440535 h 7458372"/>
              <a:gd name="connsiteX175" fmla="*/ 7656042 w 10505529"/>
              <a:gd name="connsiteY175" fmla="*/ 7438138 h 7458372"/>
              <a:gd name="connsiteX176" fmla="*/ 7658705 w 10505529"/>
              <a:gd name="connsiteY176" fmla="*/ 7434011 h 7458372"/>
              <a:gd name="connsiteX177" fmla="*/ 7659769 w 10505529"/>
              <a:gd name="connsiteY177" fmla="*/ 7428554 h 7458372"/>
              <a:gd name="connsiteX178" fmla="*/ 7658705 w 10505529"/>
              <a:gd name="connsiteY178" fmla="*/ 7423362 h 7458372"/>
              <a:gd name="connsiteX179" fmla="*/ 7656042 w 10505529"/>
              <a:gd name="connsiteY179" fmla="*/ 7419236 h 7458372"/>
              <a:gd name="connsiteX180" fmla="*/ 7652049 w 10505529"/>
              <a:gd name="connsiteY180" fmla="*/ 7416573 h 7458372"/>
              <a:gd name="connsiteX181" fmla="*/ 7646991 w 10505529"/>
              <a:gd name="connsiteY181" fmla="*/ 7415641 h 7458372"/>
              <a:gd name="connsiteX182" fmla="*/ 7429345 w 10505529"/>
              <a:gd name="connsiteY182" fmla="*/ 7415641 h 7458372"/>
              <a:gd name="connsiteX183" fmla="*/ 7419361 w 10505529"/>
              <a:gd name="connsiteY183" fmla="*/ 7419236 h 7458372"/>
              <a:gd name="connsiteX184" fmla="*/ 7415768 w 10505529"/>
              <a:gd name="connsiteY184" fmla="*/ 7428687 h 7458372"/>
              <a:gd name="connsiteX185" fmla="*/ 7419361 w 10505529"/>
              <a:gd name="connsiteY185" fmla="*/ 7438138 h 7458372"/>
              <a:gd name="connsiteX186" fmla="*/ 7429345 w 10505529"/>
              <a:gd name="connsiteY186" fmla="*/ 7441732 h 7458372"/>
              <a:gd name="connsiteX187" fmla="*/ 7434670 w 10505529"/>
              <a:gd name="connsiteY187" fmla="*/ 7440535 h 7458372"/>
              <a:gd name="connsiteX188" fmla="*/ 7438397 w 10505529"/>
              <a:gd name="connsiteY188" fmla="*/ 7438138 h 7458372"/>
              <a:gd name="connsiteX189" fmla="*/ 7441059 w 10505529"/>
              <a:gd name="connsiteY189" fmla="*/ 7434011 h 7458372"/>
              <a:gd name="connsiteX190" fmla="*/ 7442124 w 10505529"/>
              <a:gd name="connsiteY190" fmla="*/ 7428554 h 7458372"/>
              <a:gd name="connsiteX191" fmla="*/ 7441059 w 10505529"/>
              <a:gd name="connsiteY191" fmla="*/ 7423362 h 7458372"/>
              <a:gd name="connsiteX192" fmla="*/ 7438397 w 10505529"/>
              <a:gd name="connsiteY192" fmla="*/ 7419236 h 7458372"/>
              <a:gd name="connsiteX193" fmla="*/ 7434403 w 10505529"/>
              <a:gd name="connsiteY193" fmla="*/ 7416573 h 7458372"/>
              <a:gd name="connsiteX194" fmla="*/ 7429345 w 10505529"/>
              <a:gd name="connsiteY194" fmla="*/ 7415641 h 7458372"/>
              <a:gd name="connsiteX195" fmla="*/ 7211701 w 10505529"/>
              <a:gd name="connsiteY195" fmla="*/ 7415641 h 7458372"/>
              <a:gd name="connsiteX196" fmla="*/ 7201717 w 10505529"/>
              <a:gd name="connsiteY196" fmla="*/ 7419236 h 7458372"/>
              <a:gd name="connsiteX197" fmla="*/ 7198123 w 10505529"/>
              <a:gd name="connsiteY197" fmla="*/ 7428687 h 7458372"/>
              <a:gd name="connsiteX198" fmla="*/ 7201717 w 10505529"/>
              <a:gd name="connsiteY198" fmla="*/ 7438138 h 7458372"/>
              <a:gd name="connsiteX199" fmla="*/ 7211701 w 10505529"/>
              <a:gd name="connsiteY199" fmla="*/ 7441732 h 7458372"/>
              <a:gd name="connsiteX200" fmla="*/ 7217026 w 10505529"/>
              <a:gd name="connsiteY200" fmla="*/ 7440535 h 7458372"/>
              <a:gd name="connsiteX201" fmla="*/ 7220752 w 10505529"/>
              <a:gd name="connsiteY201" fmla="*/ 7438138 h 7458372"/>
              <a:gd name="connsiteX202" fmla="*/ 7223415 w 10505529"/>
              <a:gd name="connsiteY202" fmla="*/ 7434011 h 7458372"/>
              <a:gd name="connsiteX203" fmla="*/ 7224480 w 10505529"/>
              <a:gd name="connsiteY203" fmla="*/ 7428554 h 7458372"/>
              <a:gd name="connsiteX204" fmla="*/ 7223415 w 10505529"/>
              <a:gd name="connsiteY204" fmla="*/ 7423362 h 7458372"/>
              <a:gd name="connsiteX205" fmla="*/ 7220752 w 10505529"/>
              <a:gd name="connsiteY205" fmla="*/ 7419236 h 7458372"/>
              <a:gd name="connsiteX206" fmla="*/ 7216759 w 10505529"/>
              <a:gd name="connsiteY206" fmla="*/ 7416573 h 7458372"/>
              <a:gd name="connsiteX207" fmla="*/ 7211701 w 10505529"/>
              <a:gd name="connsiteY207" fmla="*/ 7415641 h 7458372"/>
              <a:gd name="connsiteX208" fmla="*/ 6994056 w 10505529"/>
              <a:gd name="connsiteY208" fmla="*/ 7415641 h 7458372"/>
              <a:gd name="connsiteX209" fmla="*/ 6984072 w 10505529"/>
              <a:gd name="connsiteY209" fmla="*/ 7419236 h 7458372"/>
              <a:gd name="connsiteX210" fmla="*/ 6980478 w 10505529"/>
              <a:gd name="connsiteY210" fmla="*/ 7428687 h 7458372"/>
              <a:gd name="connsiteX211" fmla="*/ 6984072 w 10505529"/>
              <a:gd name="connsiteY211" fmla="*/ 7438138 h 7458372"/>
              <a:gd name="connsiteX212" fmla="*/ 6994056 w 10505529"/>
              <a:gd name="connsiteY212" fmla="*/ 7441732 h 7458372"/>
              <a:gd name="connsiteX213" fmla="*/ 6999380 w 10505529"/>
              <a:gd name="connsiteY213" fmla="*/ 7440535 h 7458372"/>
              <a:gd name="connsiteX214" fmla="*/ 7003107 w 10505529"/>
              <a:gd name="connsiteY214" fmla="*/ 7438138 h 7458372"/>
              <a:gd name="connsiteX215" fmla="*/ 7005769 w 10505529"/>
              <a:gd name="connsiteY215" fmla="*/ 7434011 h 7458372"/>
              <a:gd name="connsiteX216" fmla="*/ 7006834 w 10505529"/>
              <a:gd name="connsiteY216" fmla="*/ 7428554 h 7458372"/>
              <a:gd name="connsiteX217" fmla="*/ 7005769 w 10505529"/>
              <a:gd name="connsiteY217" fmla="*/ 7423362 h 7458372"/>
              <a:gd name="connsiteX218" fmla="*/ 7003107 w 10505529"/>
              <a:gd name="connsiteY218" fmla="*/ 7419236 h 7458372"/>
              <a:gd name="connsiteX219" fmla="*/ 6999113 w 10505529"/>
              <a:gd name="connsiteY219" fmla="*/ 7416573 h 7458372"/>
              <a:gd name="connsiteX220" fmla="*/ 6994056 w 10505529"/>
              <a:gd name="connsiteY220" fmla="*/ 7415641 h 7458372"/>
              <a:gd name="connsiteX221" fmla="*/ 6776544 w 10505529"/>
              <a:gd name="connsiteY221" fmla="*/ 7415641 h 7458372"/>
              <a:gd name="connsiteX222" fmla="*/ 6766560 w 10505529"/>
              <a:gd name="connsiteY222" fmla="*/ 7419236 h 7458372"/>
              <a:gd name="connsiteX223" fmla="*/ 6762966 w 10505529"/>
              <a:gd name="connsiteY223" fmla="*/ 7428687 h 7458372"/>
              <a:gd name="connsiteX224" fmla="*/ 6766560 w 10505529"/>
              <a:gd name="connsiteY224" fmla="*/ 7438138 h 7458372"/>
              <a:gd name="connsiteX225" fmla="*/ 6776544 w 10505529"/>
              <a:gd name="connsiteY225" fmla="*/ 7441732 h 7458372"/>
              <a:gd name="connsiteX226" fmla="*/ 6781869 w 10505529"/>
              <a:gd name="connsiteY226" fmla="*/ 7440535 h 7458372"/>
              <a:gd name="connsiteX227" fmla="*/ 6785595 w 10505529"/>
              <a:gd name="connsiteY227" fmla="*/ 7438138 h 7458372"/>
              <a:gd name="connsiteX228" fmla="*/ 6788258 w 10505529"/>
              <a:gd name="connsiteY228" fmla="*/ 7434011 h 7458372"/>
              <a:gd name="connsiteX229" fmla="*/ 6789323 w 10505529"/>
              <a:gd name="connsiteY229" fmla="*/ 7428554 h 7458372"/>
              <a:gd name="connsiteX230" fmla="*/ 6788258 w 10505529"/>
              <a:gd name="connsiteY230" fmla="*/ 7423362 h 7458372"/>
              <a:gd name="connsiteX231" fmla="*/ 6785595 w 10505529"/>
              <a:gd name="connsiteY231" fmla="*/ 7419236 h 7458372"/>
              <a:gd name="connsiteX232" fmla="*/ 6781602 w 10505529"/>
              <a:gd name="connsiteY232" fmla="*/ 7416573 h 7458372"/>
              <a:gd name="connsiteX233" fmla="*/ 6776544 w 10505529"/>
              <a:gd name="connsiteY233" fmla="*/ 7415641 h 7458372"/>
              <a:gd name="connsiteX234" fmla="*/ 6558899 w 10505529"/>
              <a:gd name="connsiteY234" fmla="*/ 7415641 h 7458372"/>
              <a:gd name="connsiteX235" fmla="*/ 6548915 w 10505529"/>
              <a:gd name="connsiteY235" fmla="*/ 7419236 h 7458372"/>
              <a:gd name="connsiteX236" fmla="*/ 6545321 w 10505529"/>
              <a:gd name="connsiteY236" fmla="*/ 7428687 h 7458372"/>
              <a:gd name="connsiteX237" fmla="*/ 6548915 w 10505529"/>
              <a:gd name="connsiteY237" fmla="*/ 7438138 h 7458372"/>
              <a:gd name="connsiteX238" fmla="*/ 6558899 w 10505529"/>
              <a:gd name="connsiteY238" fmla="*/ 7441732 h 7458372"/>
              <a:gd name="connsiteX239" fmla="*/ 6564223 w 10505529"/>
              <a:gd name="connsiteY239" fmla="*/ 7440535 h 7458372"/>
              <a:gd name="connsiteX240" fmla="*/ 6567950 w 10505529"/>
              <a:gd name="connsiteY240" fmla="*/ 7438138 h 7458372"/>
              <a:gd name="connsiteX241" fmla="*/ 6570612 w 10505529"/>
              <a:gd name="connsiteY241" fmla="*/ 7434011 h 7458372"/>
              <a:gd name="connsiteX242" fmla="*/ 6571677 w 10505529"/>
              <a:gd name="connsiteY242" fmla="*/ 7428554 h 7458372"/>
              <a:gd name="connsiteX243" fmla="*/ 6570612 w 10505529"/>
              <a:gd name="connsiteY243" fmla="*/ 7423362 h 7458372"/>
              <a:gd name="connsiteX244" fmla="*/ 6567950 w 10505529"/>
              <a:gd name="connsiteY244" fmla="*/ 7419236 h 7458372"/>
              <a:gd name="connsiteX245" fmla="*/ 6563956 w 10505529"/>
              <a:gd name="connsiteY245" fmla="*/ 7416573 h 7458372"/>
              <a:gd name="connsiteX246" fmla="*/ 6558899 w 10505529"/>
              <a:gd name="connsiteY246" fmla="*/ 7415641 h 7458372"/>
              <a:gd name="connsiteX247" fmla="*/ 6341253 w 10505529"/>
              <a:gd name="connsiteY247" fmla="*/ 7415641 h 7458372"/>
              <a:gd name="connsiteX248" fmla="*/ 6331270 w 10505529"/>
              <a:gd name="connsiteY248" fmla="*/ 7419236 h 7458372"/>
              <a:gd name="connsiteX249" fmla="*/ 6327675 w 10505529"/>
              <a:gd name="connsiteY249" fmla="*/ 7428687 h 7458372"/>
              <a:gd name="connsiteX250" fmla="*/ 6331270 w 10505529"/>
              <a:gd name="connsiteY250" fmla="*/ 7438138 h 7458372"/>
              <a:gd name="connsiteX251" fmla="*/ 6341253 w 10505529"/>
              <a:gd name="connsiteY251" fmla="*/ 7441732 h 7458372"/>
              <a:gd name="connsiteX252" fmla="*/ 6346578 w 10505529"/>
              <a:gd name="connsiteY252" fmla="*/ 7440535 h 7458372"/>
              <a:gd name="connsiteX253" fmla="*/ 6350305 w 10505529"/>
              <a:gd name="connsiteY253" fmla="*/ 7438138 h 7458372"/>
              <a:gd name="connsiteX254" fmla="*/ 6352968 w 10505529"/>
              <a:gd name="connsiteY254" fmla="*/ 7434011 h 7458372"/>
              <a:gd name="connsiteX255" fmla="*/ 6354033 w 10505529"/>
              <a:gd name="connsiteY255" fmla="*/ 7428554 h 7458372"/>
              <a:gd name="connsiteX256" fmla="*/ 6352968 w 10505529"/>
              <a:gd name="connsiteY256" fmla="*/ 7423362 h 7458372"/>
              <a:gd name="connsiteX257" fmla="*/ 6350305 w 10505529"/>
              <a:gd name="connsiteY257" fmla="*/ 7419236 h 7458372"/>
              <a:gd name="connsiteX258" fmla="*/ 6346312 w 10505529"/>
              <a:gd name="connsiteY258" fmla="*/ 7416573 h 7458372"/>
              <a:gd name="connsiteX259" fmla="*/ 6341253 w 10505529"/>
              <a:gd name="connsiteY259" fmla="*/ 7415641 h 7458372"/>
              <a:gd name="connsiteX260" fmla="*/ 6123608 w 10505529"/>
              <a:gd name="connsiteY260" fmla="*/ 7415641 h 7458372"/>
              <a:gd name="connsiteX261" fmla="*/ 6113624 w 10505529"/>
              <a:gd name="connsiteY261" fmla="*/ 7419236 h 7458372"/>
              <a:gd name="connsiteX262" fmla="*/ 6110030 w 10505529"/>
              <a:gd name="connsiteY262" fmla="*/ 7428687 h 7458372"/>
              <a:gd name="connsiteX263" fmla="*/ 6113624 w 10505529"/>
              <a:gd name="connsiteY263" fmla="*/ 7438138 h 7458372"/>
              <a:gd name="connsiteX264" fmla="*/ 6123608 w 10505529"/>
              <a:gd name="connsiteY264" fmla="*/ 7441732 h 7458372"/>
              <a:gd name="connsiteX265" fmla="*/ 6128932 w 10505529"/>
              <a:gd name="connsiteY265" fmla="*/ 7440535 h 7458372"/>
              <a:gd name="connsiteX266" fmla="*/ 6132659 w 10505529"/>
              <a:gd name="connsiteY266" fmla="*/ 7438138 h 7458372"/>
              <a:gd name="connsiteX267" fmla="*/ 6135322 w 10505529"/>
              <a:gd name="connsiteY267" fmla="*/ 7434011 h 7458372"/>
              <a:gd name="connsiteX268" fmla="*/ 6136387 w 10505529"/>
              <a:gd name="connsiteY268" fmla="*/ 7428554 h 7458372"/>
              <a:gd name="connsiteX269" fmla="*/ 6135322 w 10505529"/>
              <a:gd name="connsiteY269" fmla="*/ 7423362 h 7458372"/>
              <a:gd name="connsiteX270" fmla="*/ 6132659 w 10505529"/>
              <a:gd name="connsiteY270" fmla="*/ 7419236 h 7458372"/>
              <a:gd name="connsiteX271" fmla="*/ 6128666 w 10505529"/>
              <a:gd name="connsiteY271" fmla="*/ 7416573 h 7458372"/>
              <a:gd name="connsiteX272" fmla="*/ 6123608 w 10505529"/>
              <a:gd name="connsiteY272" fmla="*/ 7415641 h 7458372"/>
              <a:gd name="connsiteX273" fmla="*/ 5905963 w 10505529"/>
              <a:gd name="connsiteY273" fmla="*/ 7415641 h 7458372"/>
              <a:gd name="connsiteX274" fmla="*/ 5895979 w 10505529"/>
              <a:gd name="connsiteY274" fmla="*/ 7419236 h 7458372"/>
              <a:gd name="connsiteX275" fmla="*/ 5892385 w 10505529"/>
              <a:gd name="connsiteY275" fmla="*/ 7428687 h 7458372"/>
              <a:gd name="connsiteX276" fmla="*/ 5895979 w 10505529"/>
              <a:gd name="connsiteY276" fmla="*/ 7438138 h 7458372"/>
              <a:gd name="connsiteX277" fmla="*/ 5905963 w 10505529"/>
              <a:gd name="connsiteY277" fmla="*/ 7441732 h 7458372"/>
              <a:gd name="connsiteX278" fmla="*/ 5911287 w 10505529"/>
              <a:gd name="connsiteY278" fmla="*/ 7440535 h 7458372"/>
              <a:gd name="connsiteX279" fmla="*/ 5915014 w 10505529"/>
              <a:gd name="connsiteY279" fmla="*/ 7438138 h 7458372"/>
              <a:gd name="connsiteX280" fmla="*/ 5917677 w 10505529"/>
              <a:gd name="connsiteY280" fmla="*/ 7434011 h 7458372"/>
              <a:gd name="connsiteX281" fmla="*/ 5918742 w 10505529"/>
              <a:gd name="connsiteY281" fmla="*/ 7428554 h 7458372"/>
              <a:gd name="connsiteX282" fmla="*/ 5917677 w 10505529"/>
              <a:gd name="connsiteY282" fmla="*/ 7423362 h 7458372"/>
              <a:gd name="connsiteX283" fmla="*/ 5915014 w 10505529"/>
              <a:gd name="connsiteY283" fmla="*/ 7419236 h 7458372"/>
              <a:gd name="connsiteX284" fmla="*/ 5911021 w 10505529"/>
              <a:gd name="connsiteY284" fmla="*/ 7416573 h 7458372"/>
              <a:gd name="connsiteX285" fmla="*/ 5905963 w 10505529"/>
              <a:gd name="connsiteY285" fmla="*/ 7415641 h 7458372"/>
              <a:gd name="connsiteX286" fmla="*/ 5688451 w 10505529"/>
              <a:gd name="connsiteY286" fmla="*/ 7415641 h 7458372"/>
              <a:gd name="connsiteX287" fmla="*/ 5678467 w 10505529"/>
              <a:gd name="connsiteY287" fmla="*/ 7419236 h 7458372"/>
              <a:gd name="connsiteX288" fmla="*/ 5674873 w 10505529"/>
              <a:gd name="connsiteY288" fmla="*/ 7428687 h 7458372"/>
              <a:gd name="connsiteX289" fmla="*/ 5678467 w 10505529"/>
              <a:gd name="connsiteY289" fmla="*/ 7438138 h 7458372"/>
              <a:gd name="connsiteX290" fmla="*/ 5688451 w 10505529"/>
              <a:gd name="connsiteY290" fmla="*/ 7441732 h 7458372"/>
              <a:gd name="connsiteX291" fmla="*/ 5693775 w 10505529"/>
              <a:gd name="connsiteY291" fmla="*/ 7440535 h 7458372"/>
              <a:gd name="connsiteX292" fmla="*/ 5697502 w 10505529"/>
              <a:gd name="connsiteY292" fmla="*/ 7438138 h 7458372"/>
              <a:gd name="connsiteX293" fmla="*/ 5700165 w 10505529"/>
              <a:gd name="connsiteY293" fmla="*/ 7434011 h 7458372"/>
              <a:gd name="connsiteX294" fmla="*/ 5701230 w 10505529"/>
              <a:gd name="connsiteY294" fmla="*/ 7428554 h 7458372"/>
              <a:gd name="connsiteX295" fmla="*/ 5700165 w 10505529"/>
              <a:gd name="connsiteY295" fmla="*/ 7423362 h 7458372"/>
              <a:gd name="connsiteX296" fmla="*/ 5697502 w 10505529"/>
              <a:gd name="connsiteY296" fmla="*/ 7419236 h 7458372"/>
              <a:gd name="connsiteX297" fmla="*/ 5693509 w 10505529"/>
              <a:gd name="connsiteY297" fmla="*/ 7416573 h 7458372"/>
              <a:gd name="connsiteX298" fmla="*/ 5688451 w 10505529"/>
              <a:gd name="connsiteY298" fmla="*/ 7415641 h 7458372"/>
              <a:gd name="connsiteX299" fmla="*/ 5470806 w 10505529"/>
              <a:gd name="connsiteY299" fmla="*/ 7415641 h 7458372"/>
              <a:gd name="connsiteX300" fmla="*/ 5460822 w 10505529"/>
              <a:gd name="connsiteY300" fmla="*/ 7419236 h 7458372"/>
              <a:gd name="connsiteX301" fmla="*/ 5457228 w 10505529"/>
              <a:gd name="connsiteY301" fmla="*/ 7428687 h 7458372"/>
              <a:gd name="connsiteX302" fmla="*/ 5460822 w 10505529"/>
              <a:gd name="connsiteY302" fmla="*/ 7438138 h 7458372"/>
              <a:gd name="connsiteX303" fmla="*/ 5470806 w 10505529"/>
              <a:gd name="connsiteY303" fmla="*/ 7441732 h 7458372"/>
              <a:gd name="connsiteX304" fmla="*/ 5476130 w 10505529"/>
              <a:gd name="connsiteY304" fmla="*/ 7440535 h 7458372"/>
              <a:gd name="connsiteX305" fmla="*/ 5479857 w 10505529"/>
              <a:gd name="connsiteY305" fmla="*/ 7438138 h 7458372"/>
              <a:gd name="connsiteX306" fmla="*/ 5482520 w 10505529"/>
              <a:gd name="connsiteY306" fmla="*/ 7434011 h 7458372"/>
              <a:gd name="connsiteX307" fmla="*/ 5483585 w 10505529"/>
              <a:gd name="connsiteY307" fmla="*/ 7428554 h 7458372"/>
              <a:gd name="connsiteX308" fmla="*/ 5482520 w 10505529"/>
              <a:gd name="connsiteY308" fmla="*/ 7423362 h 7458372"/>
              <a:gd name="connsiteX309" fmla="*/ 5479857 w 10505529"/>
              <a:gd name="connsiteY309" fmla="*/ 7419236 h 7458372"/>
              <a:gd name="connsiteX310" fmla="*/ 5475864 w 10505529"/>
              <a:gd name="connsiteY310" fmla="*/ 7416573 h 7458372"/>
              <a:gd name="connsiteX311" fmla="*/ 5470806 w 10505529"/>
              <a:gd name="connsiteY311" fmla="*/ 7415641 h 7458372"/>
              <a:gd name="connsiteX312" fmla="*/ 5253160 w 10505529"/>
              <a:gd name="connsiteY312" fmla="*/ 7415641 h 7458372"/>
              <a:gd name="connsiteX313" fmla="*/ 5243177 w 10505529"/>
              <a:gd name="connsiteY313" fmla="*/ 7419236 h 7458372"/>
              <a:gd name="connsiteX314" fmla="*/ 5239583 w 10505529"/>
              <a:gd name="connsiteY314" fmla="*/ 7428687 h 7458372"/>
              <a:gd name="connsiteX315" fmla="*/ 5243177 w 10505529"/>
              <a:gd name="connsiteY315" fmla="*/ 7438138 h 7458372"/>
              <a:gd name="connsiteX316" fmla="*/ 5253160 w 10505529"/>
              <a:gd name="connsiteY316" fmla="*/ 7441732 h 7458372"/>
              <a:gd name="connsiteX317" fmla="*/ 5258485 w 10505529"/>
              <a:gd name="connsiteY317" fmla="*/ 7440535 h 7458372"/>
              <a:gd name="connsiteX318" fmla="*/ 5262212 w 10505529"/>
              <a:gd name="connsiteY318" fmla="*/ 7438138 h 7458372"/>
              <a:gd name="connsiteX319" fmla="*/ 5264875 w 10505529"/>
              <a:gd name="connsiteY319" fmla="*/ 7434011 h 7458372"/>
              <a:gd name="connsiteX320" fmla="*/ 5265939 w 10505529"/>
              <a:gd name="connsiteY320" fmla="*/ 7428554 h 7458372"/>
              <a:gd name="connsiteX321" fmla="*/ 5264875 w 10505529"/>
              <a:gd name="connsiteY321" fmla="*/ 7423362 h 7458372"/>
              <a:gd name="connsiteX322" fmla="*/ 5262212 w 10505529"/>
              <a:gd name="connsiteY322" fmla="*/ 7419236 h 7458372"/>
              <a:gd name="connsiteX323" fmla="*/ 5258219 w 10505529"/>
              <a:gd name="connsiteY323" fmla="*/ 7416573 h 7458372"/>
              <a:gd name="connsiteX324" fmla="*/ 5253160 w 10505529"/>
              <a:gd name="connsiteY324" fmla="*/ 7415641 h 7458372"/>
              <a:gd name="connsiteX325" fmla="*/ 5035515 w 10505529"/>
              <a:gd name="connsiteY325" fmla="*/ 7415641 h 7458372"/>
              <a:gd name="connsiteX326" fmla="*/ 5025532 w 10505529"/>
              <a:gd name="connsiteY326" fmla="*/ 7419236 h 7458372"/>
              <a:gd name="connsiteX327" fmla="*/ 5021938 w 10505529"/>
              <a:gd name="connsiteY327" fmla="*/ 7428687 h 7458372"/>
              <a:gd name="connsiteX328" fmla="*/ 5025532 w 10505529"/>
              <a:gd name="connsiteY328" fmla="*/ 7438138 h 7458372"/>
              <a:gd name="connsiteX329" fmla="*/ 5035515 w 10505529"/>
              <a:gd name="connsiteY329" fmla="*/ 7441732 h 7458372"/>
              <a:gd name="connsiteX330" fmla="*/ 5040840 w 10505529"/>
              <a:gd name="connsiteY330" fmla="*/ 7440535 h 7458372"/>
              <a:gd name="connsiteX331" fmla="*/ 5044567 w 10505529"/>
              <a:gd name="connsiteY331" fmla="*/ 7438138 h 7458372"/>
              <a:gd name="connsiteX332" fmla="*/ 5047230 w 10505529"/>
              <a:gd name="connsiteY332" fmla="*/ 7434011 h 7458372"/>
              <a:gd name="connsiteX333" fmla="*/ 5048294 w 10505529"/>
              <a:gd name="connsiteY333" fmla="*/ 7428554 h 7458372"/>
              <a:gd name="connsiteX334" fmla="*/ 5047230 w 10505529"/>
              <a:gd name="connsiteY334" fmla="*/ 7423362 h 7458372"/>
              <a:gd name="connsiteX335" fmla="*/ 5044567 w 10505529"/>
              <a:gd name="connsiteY335" fmla="*/ 7419236 h 7458372"/>
              <a:gd name="connsiteX336" fmla="*/ 5040574 w 10505529"/>
              <a:gd name="connsiteY336" fmla="*/ 7416573 h 7458372"/>
              <a:gd name="connsiteX337" fmla="*/ 5035515 w 10505529"/>
              <a:gd name="connsiteY337" fmla="*/ 7415641 h 7458372"/>
              <a:gd name="connsiteX338" fmla="*/ 4817870 w 10505529"/>
              <a:gd name="connsiteY338" fmla="*/ 7415641 h 7458372"/>
              <a:gd name="connsiteX339" fmla="*/ 4807887 w 10505529"/>
              <a:gd name="connsiteY339" fmla="*/ 7419236 h 7458372"/>
              <a:gd name="connsiteX340" fmla="*/ 4804293 w 10505529"/>
              <a:gd name="connsiteY340" fmla="*/ 7428687 h 7458372"/>
              <a:gd name="connsiteX341" fmla="*/ 4807887 w 10505529"/>
              <a:gd name="connsiteY341" fmla="*/ 7438138 h 7458372"/>
              <a:gd name="connsiteX342" fmla="*/ 4817870 w 10505529"/>
              <a:gd name="connsiteY342" fmla="*/ 7441732 h 7458372"/>
              <a:gd name="connsiteX343" fmla="*/ 4823195 w 10505529"/>
              <a:gd name="connsiteY343" fmla="*/ 7440535 h 7458372"/>
              <a:gd name="connsiteX344" fmla="*/ 4826922 w 10505529"/>
              <a:gd name="connsiteY344" fmla="*/ 7438138 h 7458372"/>
              <a:gd name="connsiteX345" fmla="*/ 4829585 w 10505529"/>
              <a:gd name="connsiteY345" fmla="*/ 7434011 h 7458372"/>
              <a:gd name="connsiteX346" fmla="*/ 4830650 w 10505529"/>
              <a:gd name="connsiteY346" fmla="*/ 7428554 h 7458372"/>
              <a:gd name="connsiteX347" fmla="*/ 4829585 w 10505529"/>
              <a:gd name="connsiteY347" fmla="*/ 7423362 h 7458372"/>
              <a:gd name="connsiteX348" fmla="*/ 4826922 w 10505529"/>
              <a:gd name="connsiteY348" fmla="*/ 7419236 h 7458372"/>
              <a:gd name="connsiteX349" fmla="*/ 4822929 w 10505529"/>
              <a:gd name="connsiteY349" fmla="*/ 7416573 h 7458372"/>
              <a:gd name="connsiteX350" fmla="*/ 4817870 w 10505529"/>
              <a:gd name="connsiteY350" fmla="*/ 7415641 h 7458372"/>
              <a:gd name="connsiteX351" fmla="*/ 4600226 w 10505529"/>
              <a:gd name="connsiteY351" fmla="*/ 7415641 h 7458372"/>
              <a:gd name="connsiteX352" fmla="*/ 4590242 w 10505529"/>
              <a:gd name="connsiteY352" fmla="*/ 7419236 h 7458372"/>
              <a:gd name="connsiteX353" fmla="*/ 4586648 w 10505529"/>
              <a:gd name="connsiteY353" fmla="*/ 7428687 h 7458372"/>
              <a:gd name="connsiteX354" fmla="*/ 4590242 w 10505529"/>
              <a:gd name="connsiteY354" fmla="*/ 7438138 h 7458372"/>
              <a:gd name="connsiteX355" fmla="*/ 4600226 w 10505529"/>
              <a:gd name="connsiteY355" fmla="*/ 7441732 h 7458372"/>
              <a:gd name="connsiteX356" fmla="*/ 4605550 w 10505529"/>
              <a:gd name="connsiteY356" fmla="*/ 7440535 h 7458372"/>
              <a:gd name="connsiteX357" fmla="*/ 4609277 w 10505529"/>
              <a:gd name="connsiteY357" fmla="*/ 7438138 h 7458372"/>
              <a:gd name="connsiteX358" fmla="*/ 4611940 w 10505529"/>
              <a:gd name="connsiteY358" fmla="*/ 7434011 h 7458372"/>
              <a:gd name="connsiteX359" fmla="*/ 4613005 w 10505529"/>
              <a:gd name="connsiteY359" fmla="*/ 7428554 h 7458372"/>
              <a:gd name="connsiteX360" fmla="*/ 4611940 w 10505529"/>
              <a:gd name="connsiteY360" fmla="*/ 7423362 h 7458372"/>
              <a:gd name="connsiteX361" fmla="*/ 4609277 w 10505529"/>
              <a:gd name="connsiteY361" fmla="*/ 7419236 h 7458372"/>
              <a:gd name="connsiteX362" fmla="*/ 4605284 w 10505529"/>
              <a:gd name="connsiteY362" fmla="*/ 7416573 h 7458372"/>
              <a:gd name="connsiteX363" fmla="*/ 4600226 w 10505529"/>
              <a:gd name="connsiteY363" fmla="*/ 7415641 h 7458372"/>
              <a:gd name="connsiteX364" fmla="*/ 4382713 w 10505529"/>
              <a:gd name="connsiteY364" fmla="*/ 7415641 h 7458372"/>
              <a:gd name="connsiteX365" fmla="*/ 4372730 w 10505529"/>
              <a:gd name="connsiteY365" fmla="*/ 7419236 h 7458372"/>
              <a:gd name="connsiteX366" fmla="*/ 4369136 w 10505529"/>
              <a:gd name="connsiteY366" fmla="*/ 7428687 h 7458372"/>
              <a:gd name="connsiteX367" fmla="*/ 4372730 w 10505529"/>
              <a:gd name="connsiteY367" fmla="*/ 7438138 h 7458372"/>
              <a:gd name="connsiteX368" fmla="*/ 4382713 w 10505529"/>
              <a:gd name="connsiteY368" fmla="*/ 7441732 h 7458372"/>
              <a:gd name="connsiteX369" fmla="*/ 4388038 w 10505529"/>
              <a:gd name="connsiteY369" fmla="*/ 7440535 h 7458372"/>
              <a:gd name="connsiteX370" fmla="*/ 4391765 w 10505529"/>
              <a:gd name="connsiteY370" fmla="*/ 7438138 h 7458372"/>
              <a:gd name="connsiteX371" fmla="*/ 4394428 w 10505529"/>
              <a:gd name="connsiteY371" fmla="*/ 7434011 h 7458372"/>
              <a:gd name="connsiteX372" fmla="*/ 4395493 w 10505529"/>
              <a:gd name="connsiteY372" fmla="*/ 7428554 h 7458372"/>
              <a:gd name="connsiteX373" fmla="*/ 4394428 w 10505529"/>
              <a:gd name="connsiteY373" fmla="*/ 7423362 h 7458372"/>
              <a:gd name="connsiteX374" fmla="*/ 4391765 w 10505529"/>
              <a:gd name="connsiteY374" fmla="*/ 7419236 h 7458372"/>
              <a:gd name="connsiteX375" fmla="*/ 4387772 w 10505529"/>
              <a:gd name="connsiteY375" fmla="*/ 7416573 h 7458372"/>
              <a:gd name="connsiteX376" fmla="*/ 4382713 w 10505529"/>
              <a:gd name="connsiteY376" fmla="*/ 7415641 h 7458372"/>
              <a:gd name="connsiteX377" fmla="*/ 4165068 w 10505529"/>
              <a:gd name="connsiteY377" fmla="*/ 7415641 h 7458372"/>
              <a:gd name="connsiteX378" fmla="*/ 4155084 w 10505529"/>
              <a:gd name="connsiteY378" fmla="*/ 7419236 h 7458372"/>
              <a:gd name="connsiteX379" fmla="*/ 4151490 w 10505529"/>
              <a:gd name="connsiteY379" fmla="*/ 7428687 h 7458372"/>
              <a:gd name="connsiteX380" fmla="*/ 4155084 w 10505529"/>
              <a:gd name="connsiteY380" fmla="*/ 7438138 h 7458372"/>
              <a:gd name="connsiteX381" fmla="*/ 4165068 w 10505529"/>
              <a:gd name="connsiteY381" fmla="*/ 7441732 h 7458372"/>
              <a:gd name="connsiteX382" fmla="*/ 4170392 w 10505529"/>
              <a:gd name="connsiteY382" fmla="*/ 7440535 h 7458372"/>
              <a:gd name="connsiteX383" fmla="*/ 4174119 w 10505529"/>
              <a:gd name="connsiteY383" fmla="*/ 7438138 h 7458372"/>
              <a:gd name="connsiteX384" fmla="*/ 4176782 w 10505529"/>
              <a:gd name="connsiteY384" fmla="*/ 7434011 h 7458372"/>
              <a:gd name="connsiteX385" fmla="*/ 4177847 w 10505529"/>
              <a:gd name="connsiteY385" fmla="*/ 7428554 h 7458372"/>
              <a:gd name="connsiteX386" fmla="*/ 4176782 w 10505529"/>
              <a:gd name="connsiteY386" fmla="*/ 7423362 h 7458372"/>
              <a:gd name="connsiteX387" fmla="*/ 4174119 w 10505529"/>
              <a:gd name="connsiteY387" fmla="*/ 7419236 h 7458372"/>
              <a:gd name="connsiteX388" fmla="*/ 4170126 w 10505529"/>
              <a:gd name="connsiteY388" fmla="*/ 7416573 h 7458372"/>
              <a:gd name="connsiteX389" fmla="*/ 4165068 w 10505529"/>
              <a:gd name="connsiteY389" fmla="*/ 7415641 h 7458372"/>
              <a:gd name="connsiteX390" fmla="*/ 3947819 w 10505529"/>
              <a:gd name="connsiteY390" fmla="*/ 7415641 h 7458372"/>
              <a:gd name="connsiteX391" fmla="*/ 3937835 w 10505529"/>
              <a:gd name="connsiteY391" fmla="*/ 7419236 h 7458372"/>
              <a:gd name="connsiteX392" fmla="*/ 3934241 w 10505529"/>
              <a:gd name="connsiteY392" fmla="*/ 7428687 h 7458372"/>
              <a:gd name="connsiteX393" fmla="*/ 3937835 w 10505529"/>
              <a:gd name="connsiteY393" fmla="*/ 7438138 h 7458372"/>
              <a:gd name="connsiteX394" fmla="*/ 3947819 w 10505529"/>
              <a:gd name="connsiteY394" fmla="*/ 7441732 h 7458372"/>
              <a:gd name="connsiteX395" fmla="*/ 3953150 w 10505529"/>
              <a:gd name="connsiteY395" fmla="*/ 7440535 h 7458372"/>
              <a:gd name="connsiteX396" fmla="*/ 3956876 w 10505529"/>
              <a:gd name="connsiteY396" fmla="*/ 7438138 h 7458372"/>
              <a:gd name="connsiteX397" fmla="*/ 3959539 w 10505529"/>
              <a:gd name="connsiteY397" fmla="*/ 7434011 h 7458372"/>
              <a:gd name="connsiteX398" fmla="*/ 3960603 w 10505529"/>
              <a:gd name="connsiteY398" fmla="*/ 7428554 h 7458372"/>
              <a:gd name="connsiteX399" fmla="*/ 3959539 w 10505529"/>
              <a:gd name="connsiteY399" fmla="*/ 7423362 h 7458372"/>
              <a:gd name="connsiteX400" fmla="*/ 3956876 w 10505529"/>
              <a:gd name="connsiteY400" fmla="*/ 7419236 h 7458372"/>
              <a:gd name="connsiteX401" fmla="*/ 3952883 w 10505529"/>
              <a:gd name="connsiteY401" fmla="*/ 7416573 h 7458372"/>
              <a:gd name="connsiteX402" fmla="*/ 3947819 w 10505529"/>
              <a:gd name="connsiteY402" fmla="*/ 7415641 h 7458372"/>
              <a:gd name="connsiteX403" fmla="*/ 3730157 w 10505529"/>
              <a:gd name="connsiteY403" fmla="*/ 7415641 h 7458372"/>
              <a:gd name="connsiteX404" fmla="*/ 3720169 w 10505529"/>
              <a:gd name="connsiteY404" fmla="*/ 7419236 h 7458372"/>
              <a:gd name="connsiteX405" fmla="*/ 3716577 w 10505529"/>
              <a:gd name="connsiteY405" fmla="*/ 7428687 h 7458372"/>
              <a:gd name="connsiteX406" fmla="*/ 3720169 w 10505529"/>
              <a:gd name="connsiteY406" fmla="*/ 7438138 h 7458372"/>
              <a:gd name="connsiteX407" fmla="*/ 3730157 w 10505529"/>
              <a:gd name="connsiteY407" fmla="*/ 7441732 h 7458372"/>
              <a:gd name="connsiteX408" fmla="*/ 3735484 w 10505529"/>
              <a:gd name="connsiteY408" fmla="*/ 7440535 h 7458372"/>
              <a:gd name="connsiteX409" fmla="*/ 3739210 w 10505529"/>
              <a:gd name="connsiteY409" fmla="*/ 7438138 h 7458372"/>
              <a:gd name="connsiteX410" fmla="*/ 3741874 w 10505529"/>
              <a:gd name="connsiteY410" fmla="*/ 7434011 h 7458372"/>
              <a:gd name="connsiteX411" fmla="*/ 3742937 w 10505529"/>
              <a:gd name="connsiteY411" fmla="*/ 7428554 h 7458372"/>
              <a:gd name="connsiteX412" fmla="*/ 3741874 w 10505529"/>
              <a:gd name="connsiteY412" fmla="*/ 7423362 h 7458372"/>
              <a:gd name="connsiteX413" fmla="*/ 3739210 w 10505529"/>
              <a:gd name="connsiteY413" fmla="*/ 7419236 h 7458372"/>
              <a:gd name="connsiteX414" fmla="*/ 3735217 w 10505529"/>
              <a:gd name="connsiteY414" fmla="*/ 7416573 h 7458372"/>
              <a:gd name="connsiteX415" fmla="*/ 3730157 w 10505529"/>
              <a:gd name="connsiteY415" fmla="*/ 7415641 h 7458372"/>
              <a:gd name="connsiteX416" fmla="*/ 3512490 w 10505529"/>
              <a:gd name="connsiteY416" fmla="*/ 7415641 h 7458372"/>
              <a:gd name="connsiteX417" fmla="*/ 3502502 w 10505529"/>
              <a:gd name="connsiteY417" fmla="*/ 7419236 h 7458372"/>
              <a:gd name="connsiteX418" fmla="*/ 3498909 w 10505529"/>
              <a:gd name="connsiteY418" fmla="*/ 7428687 h 7458372"/>
              <a:gd name="connsiteX419" fmla="*/ 3502502 w 10505529"/>
              <a:gd name="connsiteY419" fmla="*/ 7438138 h 7458372"/>
              <a:gd name="connsiteX420" fmla="*/ 3512490 w 10505529"/>
              <a:gd name="connsiteY420" fmla="*/ 7441732 h 7458372"/>
              <a:gd name="connsiteX421" fmla="*/ 3517817 w 10505529"/>
              <a:gd name="connsiteY421" fmla="*/ 7440535 h 7458372"/>
              <a:gd name="connsiteX422" fmla="*/ 3521545 w 10505529"/>
              <a:gd name="connsiteY422" fmla="*/ 7438138 h 7458372"/>
              <a:gd name="connsiteX423" fmla="*/ 3524207 w 10505529"/>
              <a:gd name="connsiteY423" fmla="*/ 7434011 h 7458372"/>
              <a:gd name="connsiteX424" fmla="*/ 3525272 w 10505529"/>
              <a:gd name="connsiteY424" fmla="*/ 7428554 h 7458372"/>
              <a:gd name="connsiteX425" fmla="*/ 3524207 w 10505529"/>
              <a:gd name="connsiteY425" fmla="*/ 7423362 h 7458372"/>
              <a:gd name="connsiteX426" fmla="*/ 3521545 w 10505529"/>
              <a:gd name="connsiteY426" fmla="*/ 7419236 h 7458372"/>
              <a:gd name="connsiteX427" fmla="*/ 3517552 w 10505529"/>
              <a:gd name="connsiteY427" fmla="*/ 7416573 h 7458372"/>
              <a:gd name="connsiteX428" fmla="*/ 3512490 w 10505529"/>
              <a:gd name="connsiteY428" fmla="*/ 7415641 h 7458372"/>
              <a:gd name="connsiteX429" fmla="*/ 3294959 w 10505529"/>
              <a:gd name="connsiteY429" fmla="*/ 7415641 h 7458372"/>
              <a:gd name="connsiteX430" fmla="*/ 3284972 w 10505529"/>
              <a:gd name="connsiteY430" fmla="*/ 7419236 h 7458372"/>
              <a:gd name="connsiteX431" fmla="*/ 3281378 w 10505529"/>
              <a:gd name="connsiteY431" fmla="*/ 7428687 h 7458372"/>
              <a:gd name="connsiteX432" fmla="*/ 3284972 w 10505529"/>
              <a:gd name="connsiteY432" fmla="*/ 7438138 h 7458372"/>
              <a:gd name="connsiteX433" fmla="*/ 3294959 w 10505529"/>
              <a:gd name="connsiteY433" fmla="*/ 7441732 h 7458372"/>
              <a:gd name="connsiteX434" fmla="*/ 3300283 w 10505529"/>
              <a:gd name="connsiteY434" fmla="*/ 7440535 h 7458372"/>
              <a:gd name="connsiteX435" fmla="*/ 3304011 w 10505529"/>
              <a:gd name="connsiteY435" fmla="*/ 7438138 h 7458372"/>
              <a:gd name="connsiteX436" fmla="*/ 3306674 w 10505529"/>
              <a:gd name="connsiteY436" fmla="*/ 7434011 h 7458372"/>
              <a:gd name="connsiteX437" fmla="*/ 3307739 w 10505529"/>
              <a:gd name="connsiteY437" fmla="*/ 7428554 h 7458372"/>
              <a:gd name="connsiteX438" fmla="*/ 3306674 w 10505529"/>
              <a:gd name="connsiteY438" fmla="*/ 7423362 h 7458372"/>
              <a:gd name="connsiteX439" fmla="*/ 3304011 w 10505529"/>
              <a:gd name="connsiteY439" fmla="*/ 7419236 h 7458372"/>
              <a:gd name="connsiteX440" fmla="*/ 3300018 w 10505529"/>
              <a:gd name="connsiteY440" fmla="*/ 7416573 h 7458372"/>
              <a:gd name="connsiteX441" fmla="*/ 3294959 w 10505529"/>
              <a:gd name="connsiteY441" fmla="*/ 7415641 h 7458372"/>
              <a:gd name="connsiteX442" fmla="*/ 3077427 w 10505529"/>
              <a:gd name="connsiteY442" fmla="*/ 7415641 h 7458372"/>
              <a:gd name="connsiteX443" fmla="*/ 3067441 w 10505529"/>
              <a:gd name="connsiteY443" fmla="*/ 7419236 h 7458372"/>
              <a:gd name="connsiteX444" fmla="*/ 3063711 w 10505529"/>
              <a:gd name="connsiteY444" fmla="*/ 7428687 h 7458372"/>
              <a:gd name="connsiteX445" fmla="*/ 3067306 w 10505529"/>
              <a:gd name="connsiteY445" fmla="*/ 7438138 h 7458372"/>
              <a:gd name="connsiteX446" fmla="*/ 3077293 w 10505529"/>
              <a:gd name="connsiteY446" fmla="*/ 7441732 h 7458372"/>
              <a:gd name="connsiteX447" fmla="*/ 3082752 w 10505529"/>
              <a:gd name="connsiteY447" fmla="*/ 7440535 h 7458372"/>
              <a:gd name="connsiteX448" fmla="*/ 3086479 w 10505529"/>
              <a:gd name="connsiteY448" fmla="*/ 7438138 h 7458372"/>
              <a:gd name="connsiteX449" fmla="*/ 3089142 w 10505529"/>
              <a:gd name="connsiteY449" fmla="*/ 7434011 h 7458372"/>
              <a:gd name="connsiteX450" fmla="*/ 3090073 w 10505529"/>
              <a:gd name="connsiteY450" fmla="*/ 7428554 h 7458372"/>
              <a:gd name="connsiteX451" fmla="*/ 3089142 w 10505529"/>
              <a:gd name="connsiteY451" fmla="*/ 7423362 h 7458372"/>
              <a:gd name="connsiteX452" fmla="*/ 3086479 w 10505529"/>
              <a:gd name="connsiteY452" fmla="*/ 7419236 h 7458372"/>
              <a:gd name="connsiteX453" fmla="*/ 3082484 w 10505529"/>
              <a:gd name="connsiteY453" fmla="*/ 7416573 h 7458372"/>
              <a:gd name="connsiteX454" fmla="*/ 3077427 w 10505529"/>
              <a:gd name="connsiteY454" fmla="*/ 7415641 h 7458372"/>
              <a:gd name="connsiteX455" fmla="*/ 2859628 w 10505529"/>
              <a:gd name="connsiteY455" fmla="*/ 7415641 h 7458372"/>
              <a:gd name="connsiteX456" fmla="*/ 2849644 w 10505529"/>
              <a:gd name="connsiteY456" fmla="*/ 7419236 h 7458372"/>
              <a:gd name="connsiteX457" fmla="*/ 2846043 w 10505529"/>
              <a:gd name="connsiteY457" fmla="*/ 7428687 h 7458372"/>
              <a:gd name="connsiteX458" fmla="*/ 2849644 w 10505529"/>
              <a:gd name="connsiteY458" fmla="*/ 7438138 h 7458372"/>
              <a:gd name="connsiteX459" fmla="*/ 2859628 w 10505529"/>
              <a:gd name="connsiteY459" fmla="*/ 7441732 h 7458372"/>
              <a:gd name="connsiteX460" fmla="*/ 2864953 w 10505529"/>
              <a:gd name="connsiteY460" fmla="*/ 7440535 h 7458372"/>
              <a:gd name="connsiteX461" fmla="*/ 2868679 w 10505529"/>
              <a:gd name="connsiteY461" fmla="*/ 7438138 h 7458372"/>
              <a:gd name="connsiteX462" fmla="*/ 2871343 w 10505529"/>
              <a:gd name="connsiteY462" fmla="*/ 7434011 h 7458372"/>
              <a:gd name="connsiteX463" fmla="*/ 2872274 w 10505529"/>
              <a:gd name="connsiteY463" fmla="*/ 7428554 h 7458372"/>
              <a:gd name="connsiteX464" fmla="*/ 2871343 w 10505529"/>
              <a:gd name="connsiteY464" fmla="*/ 7423362 h 7458372"/>
              <a:gd name="connsiteX465" fmla="*/ 2868679 w 10505529"/>
              <a:gd name="connsiteY465" fmla="*/ 7419236 h 7458372"/>
              <a:gd name="connsiteX466" fmla="*/ 2864687 w 10505529"/>
              <a:gd name="connsiteY466" fmla="*/ 7416573 h 7458372"/>
              <a:gd name="connsiteX467" fmla="*/ 2859628 w 10505529"/>
              <a:gd name="connsiteY467" fmla="*/ 7415641 h 7458372"/>
              <a:gd name="connsiteX468" fmla="*/ 2641962 w 10505529"/>
              <a:gd name="connsiteY468" fmla="*/ 7415641 h 7458372"/>
              <a:gd name="connsiteX469" fmla="*/ 2631978 w 10505529"/>
              <a:gd name="connsiteY469" fmla="*/ 7419236 h 7458372"/>
              <a:gd name="connsiteX470" fmla="*/ 2628383 w 10505529"/>
              <a:gd name="connsiteY470" fmla="*/ 7428687 h 7458372"/>
              <a:gd name="connsiteX471" fmla="*/ 2631978 w 10505529"/>
              <a:gd name="connsiteY471" fmla="*/ 7438138 h 7458372"/>
              <a:gd name="connsiteX472" fmla="*/ 2641962 w 10505529"/>
              <a:gd name="connsiteY472" fmla="*/ 7441732 h 7458372"/>
              <a:gd name="connsiteX473" fmla="*/ 2647287 w 10505529"/>
              <a:gd name="connsiteY473" fmla="*/ 7440535 h 7458372"/>
              <a:gd name="connsiteX474" fmla="*/ 2651014 w 10505529"/>
              <a:gd name="connsiteY474" fmla="*/ 7438138 h 7458372"/>
              <a:gd name="connsiteX475" fmla="*/ 2653677 w 10505529"/>
              <a:gd name="connsiteY475" fmla="*/ 7434011 h 7458372"/>
              <a:gd name="connsiteX476" fmla="*/ 2654608 w 10505529"/>
              <a:gd name="connsiteY476" fmla="*/ 7428554 h 7458372"/>
              <a:gd name="connsiteX477" fmla="*/ 2653677 w 10505529"/>
              <a:gd name="connsiteY477" fmla="*/ 7423362 h 7458372"/>
              <a:gd name="connsiteX478" fmla="*/ 2651014 w 10505529"/>
              <a:gd name="connsiteY478" fmla="*/ 7419236 h 7458372"/>
              <a:gd name="connsiteX479" fmla="*/ 2647020 w 10505529"/>
              <a:gd name="connsiteY479" fmla="*/ 7416573 h 7458372"/>
              <a:gd name="connsiteX480" fmla="*/ 2641962 w 10505529"/>
              <a:gd name="connsiteY480" fmla="*/ 7415641 h 7458372"/>
              <a:gd name="connsiteX481" fmla="*/ 2424294 w 10505529"/>
              <a:gd name="connsiteY481" fmla="*/ 7415641 h 7458372"/>
              <a:gd name="connsiteX482" fmla="*/ 2414312 w 10505529"/>
              <a:gd name="connsiteY482" fmla="*/ 7419236 h 7458372"/>
              <a:gd name="connsiteX483" fmla="*/ 2410717 w 10505529"/>
              <a:gd name="connsiteY483" fmla="*/ 7428687 h 7458372"/>
              <a:gd name="connsiteX484" fmla="*/ 2414312 w 10505529"/>
              <a:gd name="connsiteY484" fmla="*/ 7438138 h 7458372"/>
              <a:gd name="connsiteX485" fmla="*/ 2424294 w 10505529"/>
              <a:gd name="connsiteY485" fmla="*/ 7441732 h 7458372"/>
              <a:gd name="connsiteX486" fmla="*/ 2429620 w 10505529"/>
              <a:gd name="connsiteY486" fmla="*/ 7440535 h 7458372"/>
              <a:gd name="connsiteX487" fmla="*/ 2433348 w 10505529"/>
              <a:gd name="connsiteY487" fmla="*/ 7438138 h 7458372"/>
              <a:gd name="connsiteX488" fmla="*/ 2436011 w 10505529"/>
              <a:gd name="connsiteY488" fmla="*/ 7434011 h 7458372"/>
              <a:gd name="connsiteX489" fmla="*/ 2436942 w 10505529"/>
              <a:gd name="connsiteY489" fmla="*/ 7428554 h 7458372"/>
              <a:gd name="connsiteX490" fmla="*/ 2436011 w 10505529"/>
              <a:gd name="connsiteY490" fmla="*/ 7423362 h 7458372"/>
              <a:gd name="connsiteX491" fmla="*/ 2433348 w 10505529"/>
              <a:gd name="connsiteY491" fmla="*/ 7419236 h 7458372"/>
              <a:gd name="connsiteX492" fmla="*/ 2429355 w 10505529"/>
              <a:gd name="connsiteY492" fmla="*/ 7416573 h 7458372"/>
              <a:gd name="connsiteX493" fmla="*/ 2424294 w 10505529"/>
              <a:gd name="connsiteY493" fmla="*/ 7415641 h 7458372"/>
              <a:gd name="connsiteX494" fmla="*/ 2206629 w 10505529"/>
              <a:gd name="connsiteY494" fmla="*/ 7415641 h 7458372"/>
              <a:gd name="connsiteX495" fmla="*/ 2196646 w 10505529"/>
              <a:gd name="connsiteY495" fmla="*/ 7419236 h 7458372"/>
              <a:gd name="connsiteX496" fmla="*/ 2193052 w 10505529"/>
              <a:gd name="connsiteY496" fmla="*/ 7428687 h 7458372"/>
              <a:gd name="connsiteX497" fmla="*/ 2196646 w 10505529"/>
              <a:gd name="connsiteY497" fmla="*/ 7438138 h 7458372"/>
              <a:gd name="connsiteX498" fmla="*/ 2206629 w 10505529"/>
              <a:gd name="connsiteY498" fmla="*/ 7441732 h 7458372"/>
              <a:gd name="connsiteX499" fmla="*/ 2211955 w 10505529"/>
              <a:gd name="connsiteY499" fmla="*/ 7440535 h 7458372"/>
              <a:gd name="connsiteX500" fmla="*/ 2215681 w 10505529"/>
              <a:gd name="connsiteY500" fmla="*/ 7438138 h 7458372"/>
              <a:gd name="connsiteX501" fmla="*/ 2218344 w 10505529"/>
              <a:gd name="connsiteY501" fmla="*/ 7434011 h 7458372"/>
              <a:gd name="connsiteX502" fmla="*/ 2219275 w 10505529"/>
              <a:gd name="connsiteY502" fmla="*/ 7428554 h 7458372"/>
              <a:gd name="connsiteX503" fmla="*/ 2218344 w 10505529"/>
              <a:gd name="connsiteY503" fmla="*/ 7423362 h 7458372"/>
              <a:gd name="connsiteX504" fmla="*/ 2215681 w 10505529"/>
              <a:gd name="connsiteY504" fmla="*/ 7419236 h 7458372"/>
              <a:gd name="connsiteX505" fmla="*/ 2211687 w 10505529"/>
              <a:gd name="connsiteY505" fmla="*/ 7416573 h 7458372"/>
              <a:gd name="connsiteX506" fmla="*/ 2206629 w 10505529"/>
              <a:gd name="connsiteY506" fmla="*/ 7415641 h 7458372"/>
              <a:gd name="connsiteX507" fmla="*/ 1989097 w 10505529"/>
              <a:gd name="connsiteY507" fmla="*/ 7415641 h 7458372"/>
              <a:gd name="connsiteX508" fmla="*/ 1979114 w 10505529"/>
              <a:gd name="connsiteY508" fmla="*/ 7419236 h 7458372"/>
              <a:gd name="connsiteX509" fmla="*/ 1975520 w 10505529"/>
              <a:gd name="connsiteY509" fmla="*/ 7428687 h 7458372"/>
              <a:gd name="connsiteX510" fmla="*/ 1979114 w 10505529"/>
              <a:gd name="connsiteY510" fmla="*/ 7438138 h 7458372"/>
              <a:gd name="connsiteX511" fmla="*/ 1989097 w 10505529"/>
              <a:gd name="connsiteY511" fmla="*/ 7441732 h 7458372"/>
              <a:gd name="connsiteX512" fmla="*/ 1994422 w 10505529"/>
              <a:gd name="connsiteY512" fmla="*/ 7440535 h 7458372"/>
              <a:gd name="connsiteX513" fmla="*/ 1998149 w 10505529"/>
              <a:gd name="connsiteY513" fmla="*/ 7438138 h 7458372"/>
              <a:gd name="connsiteX514" fmla="*/ 2000811 w 10505529"/>
              <a:gd name="connsiteY514" fmla="*/ 7434011 h 7458372"/>
              <a:gd name="connsiteX515" fmla="*/ 2001741 w 10505529"/>
              <a:gd name="connsiteY515" fmla="*/ 7428554 h 7458372"/>
              <a:gd name="connsiteX516" fmla="*/ 2000811 w 10505529"/>
              <a:gd name="connsiteY516" fmla="*/ 7423362 h 7458372"/>
              <a:gd name="connsiteX517" fmla="*/ 1998149 w 10505529"/>
              <a:gd name="connsiteY517" fmla="*/ 7419236 h 7458372"/>
              <a:gd name="connsiteX518" fmla="*/ 1994156 w 10505529"/>
              <a:gd name="connsiteY518" fmla="*/ 7416573 h 7458372"/>
              <a:gd name="connsiteX519" fmla="*/ 1989097 w 10505529"/>
              <a:gd name="connsiteY519" fmla="*/ 7415641 h 7458372"/>
              <a:gd name="connsiteX520" fmla="*/ 1771467 w 10505529"/>
              <a:gd name="connsiteY520" fmla="*/ 7415641 h 7458372"/>
              <a:gd name="connsiteX521" fmla="*/ 1761486 w 10505529"/>
              <a:gd name="connsiteY521" fmla="*/ 7419236 h 7458372"/>
              <a:gd name="connsiteX522" fmla="*/ 1757891 w 10505529"/>
              <a:gd name="connsiteY522" fmla="*/ 7428687 h 7458372"/>
              <a:gd name="connsiteX523" fmla="*/ 1761486 w 10505529"/>
              <a:gd name="connsiteY523" fmla="*/ 7438138 h 7458372"/>
              <a:gd name="connsiteX524" fmla="*/ 1771467 w 10505529"/>
              <a:gd name="connsiteY524" fmla="*/ 7441732 h 7458372"/>
              <a:gd name="connsiteX525" fmla="*/ 1776790 w 10505529"/>
              <a:gd name="connsiteY525" fmla="*/ 7440535 h 7458372"/>
              <a:gd name="connsiteX526" fmla="*/ 1780517 w 10505529"/>
              <a:gd name="connsiteY526" fmla="*/ 7438138 h 7458372"/>
              <a:gd name="connsiteX527" fmla="*/ 1783180 w 10505529"/>
              <a:gd name="connsiteY527" fmla="*/ 7434011 h 7458372"/>
              <a:gd name="connsiteX528" fmla="*/ 1784245 w 10505529"/>
              <a:gd name="connsiteY528" fmla="*/ 7428554 h 7458372"/>
              <a:gd name="connsiteX529" fmla="*/ 1783180 w 10505529"/>
              <a:gd name="connsiteY529" fmla="*/ 7423362 h 7458372"/>
              <a:gd name="connsiteX530" fmla="*/ 1780517 w 10505529"/>
              <a:gd name="connsiteY530" fmla="*/ 7419236 h 7458372"/>
              <a:gd name="connsiteX531" fmla="*/ 1776525 w 10505529"/>
              <a:gd name="connsiteY531" fmla="*/ 7416573 h 7458372"/>
              <a:gd name="connsiteX532" fmla="*/ 1771467 w 10505529"/>
              <a:gd name="connsiteY532" fmla="*/ 7415641 h 7458372"/>
              <a:gd name="connsiteX533" fmla="*/ 1553833 w 10505529"/>
              <a:gd name="connsiteY533" fmla="*/ 7415641 h 7458372"/>
              <a:gd name="connsiteX534" fmla="*/ 1543850 w 10505529"/>
              <a:gd name="connsiteY534" fmla="*/ 7419236 h 7458372"/>
              <a:gd name="connsiteX535" fmla="*/ 1540255 w 10505529"/>
              <a:gd name="connsiteY535" fmla="*/ 7428687 h 7458372"/>
              <a:gd name="connsiteX536" fmla="*/ 1543850 w 10505529"/>
              <a:gd name="connsiteY536" fmla="*/ 7438138 h 7458372"/>
              <a:gd name="connsiteX537" fmla="*/ 1553833 w 10505529"/>
              <a:gd name="connsiteY537" fmla="*/ 7441732 h 7458372"/>
              <a:gd name="connsiteX538" fmla="*/ 1559157 w 10505529"/>
              <a:gd name="connsiteY538" fmla="*/ 7440535 h 7458372"/>
              <a:gd name="connsiteX539" fmla="*/ 1562884 w 10505529"/>
              <a:gd name="connsiteY539" fmla="*/ 7438138 h 7458372"/>
              <a:gd name="connsiteX540" fmla="*/ 1565547 w 10505529"/>
              <a:gd name="connsiteY540" fmla="*/ 7434011 h 7458372"/>
              <a:gd name="connsiteX541" fmla="*/ 1566612 w 10505529"/>
              <a:gd name="connsiteY541" fmla="*/ 7428554 h 7458372"/>
              <a:gd name="connsiteX542" fmla="*/ 1565547 w 10505529"/>
              <a:gd name="connsiteY542" fmla="*/ 7423362 h 7458372"/>
              <a:gd name="connsiteX543" fmla="*/ 1562884 w 10505529"/>
              <a:gd name="connsiteY543" fmla="*/ 7419236 h 7458372"/>
              <a:gd name="connsiteX544" fmla="*/ 1558891 w 10505529"/>
              <a:gd name="connsiteY544" fmla="*/ 7416573 h 7458372"/>
              <a:gd name="connsiteX545" fmla="*/ 1553833 w 10505529"/>
              <a:gd name="connsiteY545" fmla="*/ 7415641 h 7458372"/>
              <a:gd name="connsiteX546" fmla="*/ 1336190 w 10505529"/>
              <a:gd name="connsiteY546" fmla="*/ 7415641 h 7458372"/>
              <a:gd name="connsiteX547" fmla="*/ 1326204 w 10505529"/>
              <a:gd name="connsiteY547" fmla="*/ 7419236 h 7458372"/>
              <a:gd name="connsiteX548" fmla="*/ 1322610 w 10505529"/>
              <a:gd name="connsiteY548" fmla="*/ 7428687 h 7458372"/>
              <a:gd name="connsiteX549" fmla="*/ 1326204 w 10505529"/>
              <a:gd name="connsiteY549" fmla="*/ 7438138 h 7458372"/>
              <a:gd name="connsiteX550" fmla="*/ 1336190 w 10505529"/>
              <a:gd name="connsiteY550" fmla="*/ 7441732 h 7458372"/>
              <a:gd name="connsiteX551" fmla="*/ 1341515 w 10505529"/>
              <a:gd name="connsiteY551" fmla="*/ 7440535 h 7458372"/>
              <a:gd name="connsiteX552" fmla="*/ 1345242 w 10505529"/>
              <a:gd name="connsiteY552" fmla="*/ 7438138 h 7458372"/>
              <a:gd name="connsiteX553" fmla="*/ 1347905 w 10505529"/>
              <a:gd name="connsiteY553" fmla="*/ 7434011 h 7458372"/>
              <a:gd name="connsiteX554" fmla="*/ 1348971 w 10505529"/>
              <a:gd name="connsiteY554" fmla="*/ 7428554 h 7458372"/>
              <a:gd name="connsiteX555" fmla="*/ 1347905 w 10505529"/>
              <a:gd name="connsiteY555" fmla="*/ 7423362 h 7458372"/>
              <a:gd name="connsiteX556" fmla="*/ 1345242 w 10505529"/>
              <a:gd name="connsiteY556" fmla="*/ 7419236 h 7458372"/>
              <a:gd name="connsiteX557" fmla="*/ 1341250 w 10505529"/>
              <a:gd name="connsiteY557" fmla="*/ 7416573 h 7458372"/>
              <a:gd name="connsiteX558" fmla="*/ 1336190 w 10505529"/>
              <a:gd name="connsiteY558" fmla="*/ 7415641 h 7458372"/>
              <a:gd name="connsiteX559" fmla="*/ 1118675 w 10505529"/>
              <a:gd name="connsiteY559" fmla="*/ 7415641 h 7458372"/>
              <a:gd name="connsiteX560" fmla="*/ 1108691 w 10505529"/>
              <a:gd name="connsiteY560" fmla="*/ 7419236 h 7458372"/>
              <a:gd name="connsiteX561" fmla="*/ 1104964 w 10505529"/>
              <a:gd name="connsiteY561" fmla="*/ 7428687 h 7458372"/>
              <a:gd name="connsiteX562" fmla="*/ 1108557 w 10505529"/>
              <a:gd name="connsiteY562" fmla="*/ 7438138 h 7458372"/>
              <a:gd name="connsiteX563" fmla="*/ 1118543 w 10505529"/>
              <a:gd name="connsiteY563" fmla="*/ 7441732 h 7458372"/>
              <a:gd name="connsiteX564" fmla="*/ 1124001 w 10505529"/>
              <a:gd name="connsiteY564" fmla="*/ 7440535 h 7458372"/>
              <a:gd name="connsiteX565" fmla="*/ 1127732 w 10505529"/>
              <a:gd name="connsiteY565" fmla="*/ 7438138 h 7458372"/>
              <a:gd name="connsiteX566" fmla="*/ 1130395 w 10505529"/>
              <a:gd name="connsiteY566" fmla="*/ 7434011 h 7458372"/>
              <a:gd name="connsiteX567" fmla="*/ 1131460 w 10505529"/>
              <a:gd name="connsiteY567" fmla="*/ 7428554 h 7458372"/>
              <a:gd name="connsiteX568" fmla="*/ 1130395 w 10505529"/>
              <a:gd name="connsiteY568" fmla="*/ 7423362 h 7458372"/>
              <a:gd name="connsiteX569" fmla="*/ 1127732 w 10505529"/>
              <a:gd name="connsiteY569" fmla="*/ 7419236 h 7458372"/>
              <a:gd name="connsiteX570" fmla="*/ 1123734 w 10505529"/>
              <a:gd name="connsiteY570" fmla="*/ 7416573 h 7458372"/>
              <a:gd name="connsiteX571" fmla="*/ 1118675 w 10505529"/>
              <a:gd name="connsiteY571" fmla="*/ 7415641 h 7458372"/>
              <a:gd name="connsiteX572" fmla="*/ 901164 w 10505529"/>
              <a:gd name="connsiteY572" fmla="*/ 7415641 h 7458372"/>
              <a:gd name="connsiteX573" fmla="*/ 891180 w 10505529"/>
              <a:gd name="connsiteY573" fmla="*/ 7419236 h 7458372"/>
              <a:gd name="connsiteX574" fmla="*/ 887452 w 10505529"/>
              <a:gd name="connsiteY574" fmla="*/ 7428687 h 7458372"/>
              <a:gd name="connsiteX575" fmla="*/ 891047 w 10505529"/>
              <a:gd name="connsiteY575" fmla="*/ 7438138 h 7458372"/>
              <a:gd name="connsiteX576" fmla="*/ 901029 w 10505529"/>
              <a:gd name="connsiteY576" fmla="*/ 7441732 h 7458372"/>
              <a:gd name="connsiteX577" fmla="*/ 906488 w 10505529"/>
              <a:gd name="connsiteY577" fmla="*/ 7440535 h 7458372"/>
              <a:gd name="connsiteX578" fmla="*/ 910216 w 10505529"/>
              <a:gd name="connsiteY578" fmla="*/ 7438138 h 7458372"/>
              <a:gd name="connsiteX579" fmla="*/ 912878 w 10505529"/>
              <a:gd name="connsiteY579" fmla="*/ 7434011 h 7458372"/>
              <a:gd name="connsiteX580" fmla="*/ 913943 w 10505529"/>
              <a:gd name="connsiteY580" fmla="*/ 7428554 h 7458372"/>
              <a:gd name="connsiteX581" fmla="*/ 912878 w 10505529"/>
              <a:gd name="connsiteY581" fmla="*/ 7423362 h 7458372"/>
              <a:gd name="connsiteX582" fmla="*/ 910216 w 10505529"/>
              <a:gd name="connsiteY582" fmla="*/ 7419236 h 7458372"/>
              <a:gd name="connsiteX583" fmla="*/ 906222 w 10505529"/>
              <a:gd name="connsiteY583" fmla="*/ 7416573 h 7458372"/>
              <a:gd name="connsiteX584" fmla="*/ 901164 w 10505529"/>
              <a:gd name="connsiteY584" fmla="*/ 7415641 h 7458372"/>
              <a:gd name="connsiteX585" fmla="*/ 683390 w 10505529"/>
              <a:gd name="connsiteY585" fmla="*/ 7415641 h 7458372"/>
              <a:gd name="connsiteX586" fmla="*/ 673407 w 10505529"/>
              <a:gd name="connsiteY586" fmla="*/ 7419236 h 7458372"/>
              <a:gd name="connsiteX587" fmla="*/ 669814 w 10505529"/>
              <a:gd name="connsiteY587" fmla="*/ 7428687 h 7458372"/>
              <a:gd name="connsiteX588" fmla="*/ 673407 w 10505529"/>
              <a:gd name="connsiteY588" fmla="*/ 7438138 h 7458372"/>
              <a:gd name="connsiteX589" fmla="*/ 683390 w 10505529"/>
              <a:gd name="connsiteY589" fmla="*/ 7441732 h 7458372"/>
              <a:gd name="connsiteX590" fmla="*/ 688716 w 10505529"/>
              <a:gd name="connsiteY590" fmla="*/ 7440535 h 7458372"/>
              <a:gd name="connsiteX591" fmla="*/ 692443 w 10505529"/>
              <a:gd name="connsiteY591" fmla="*/ 7438138 h 7458372"/>
              <a:gd name="connsiteX592" fmla="*/ 695106 w 10505529"/>
              <a:gd name="connsiteY592" fmla="*/ 7434011 h 7458372"/>
              <a:gd name="connsiteX593" fmla="*/ 696171 w 10505529"/>
              <a:gd name="connsiteY593" fmla="*/ 7428554 h 7458372"/>
              <a:gd name="connsiteX594" fmla="*/ 695106 w 10505529"/>
              <a:gd name="connsiteY594" fmla="*/ 7423362 h 7458372"/>
              <a:gd name="connsiteX595" fmla="*/ 692443 w 10505529"/>
              <a:gd name="connsiteY595" fmla="*/ 7419236 h 7458372"/>
              <a:gd name="connsiteX596" fmla="*/ 688450 w 10505529"/>
              <a:gd name="connsiteY596" fmla="*/ 7416573 h 7458372"/>
              <a:gd name="connsiteX597" fmla="*/ 683390 w 10505529"/>
              <a:gd name="connsiteY597" fmla="*/ 7415641 h 7458372"/>
              <a:gd name="connsiteX598" fmla="*/ 465751 w 10505529"/>
              <a:gd name="connsiteY598" fmla="*/ 7415641 h 7458372"/>
              <a:gd name="connsiteX599" fmla="*/ 455767 w 10505529"/>
              <a:gd name="connsiteY599" fmla="*/ 7419236 h 7458372"/>
              <a:gd name="connsiteX600" fmla="*/ 452173 w 10505529"/>
              <a:gd name="connsiteY600" fmla="*/ 7428687 h 7458372"/>
              <a:gd name="connsiteX601" fmla="*/ 455767 w 10505529"/>
              <a:gd name="connsiteY601" fmla="*/ 7438138 h 7458372"/>
              <a:gd name="connsiteX602" fmla="*/ 465751 w 10505529"/>
              <a:gd name="connsiteY602" fmla="*/ 7441732 h 7458372"/>
              <a:gd name="connsiteX603" fmla="*/ 471076 w 10505529"/>
              <a:gd name="connsiteY603" fmla="*/ 7440535 h 7458372"/>
              <a:gd name="connsiteX604" fmla="*/ 474803 w 10505529"/>
              <a:gd name="connsiteY604" fmla="*/ 7438138 h 7458372"/>
              <a:gd name="connsiteX605" fmla="*/ 477466 w 10505529"/>
              <a:gd name="connsiteY605" fmla="*/ 7434011 h 7458372"/>
              <a:gd name="connsiteX606" fmla="*/ 478531 w 10505529"/>
              <a:gd name="connsiteY606" fmla="*/ 7428554 h 7458372"/>
              <a:gd name="connsiteX607" fmla="*/ 477466 w 10505529"/>
              <a:gd name="connsiteY607" fmla="*/ 7423362 h 7458372"/>
              <a:gd name="connsiteX608" fmla="*/ 474803 w 10505529"/>
              <a:gd name="connsiteY608" fmla="*/ 7419236 h 7458372"/>
              <a:gd name="connsiteX609" fmla="*/ 470810 w 10505529"/>
              <a:gd name="connsiteY609" fmla="*/ 7416573 h 7458372"/>
              <a:gd name="connsiteX610" fmla="*/ 465751 w 10505529"/>
              <a:gd name="connsiteY610" fmla="*/ 7415641 h 7458372"/>
              <a:gd name="connsiteX611" fmla="*/ 248110 w 10505529"/>
              <a:gd name="connsiteY611" fmla="*/ 7415641 h 7458372"/>
              <a:gd name="connsiteX612" fmla="*/ 238128 w 10505529"/>
              <a:gd name="connsiteY612" fmla="*/ 7419236 h 7458372"/>
              <a:gd name="connsiteX613" fmla="*/ 234534 w 10505529"/>
              <a:gd name="connsiteY613" fmla="*/ 7428687 h 7458372"/>
              <a:gd name="connsiteX614" fmla="*/ 238128 w 10505529"/>
              <a:gd name="connsiteY614" fmla="*/ 7438138 h 7458372"/>
              <a:gd name="connsiteX615" fmla="*/ 248110 w 10505529"/>
              <a:gd name="connsiteY615" fmla="*/ 7441732 h 7458372"/>
              <a:gd name="connsiteX616" fmla="*/ 253434 w 10505529"/>
              <a:gd name="connsiteY616" fmla="*/ 7440535 h 7458372"/>
              <a:gd name="connsiteX617" fmla="*/ 257161 w 10505529"/>
              <a:gd name="connsiteY617" fmla="*/ 7438138 h 7458372"/>
              <a:gd name="connsiteX618" fmla="*/ 259824 w 10505529"/>
              <a:gd name="connsiteY618" fmla="*/ 7434011 h 7458372"/>
              <a:gd name="connsiteX619" fmla="*/ 260889 w 10505529"/>
              <a:gd name="connsiteY619" fmla="*/ 7428554 h 7458372"/>
              <a:gd name="connsiteX620" fmla="*/ 259824 w 10505529"/>
              <a:gd name="connsiteY620" fmla="*/ 7423362 h 7458372"/>
              <a:gd name="connsiteX621" fmla="*/ 257161 w 10505529"/>
              <a:gd name="connsiteY621" fmla="*/ 7419236 h 7458372"/>
              <a:gd name="connsiteX622" fmla="*/ 253168 w 10505529"/>
              <a:gd name="connsiteY622" fmla="*/ 7416573 h 7458372"/>
              <a:gd name="connsiteX623" fmla="*/ 248110 w 10505529"/>
              <a:gd name="connsiteY623" fmla="*/ 7415641 h 7458372"/>
              <a:gd name="connsiteX624" fmla="*/ 30469 w 10505529"/>
              <a:gd name="connsiteY624" fmla="*/ 7415641 h 7458372"/>
              <a:gd name="connsiteX625" fmla="*/ 20486 w 10505529"/>
              <a:gd name="connsiteY625" fmla="*/ 7419236 h 7458372"/>
              <a:gd name="connsiteX626" fmla="*/ 16893 w 10505529"/>
              <a:gd name="connsiteY626" fmla="*/ 7428687 h 7458372"/>
              <a:gd name="connsiteX627" fmla="*/ 20486 w 10505529"/>
              <a:gd name="connsiteY627" fmla="*/ 7438138 h 7458372"/>
              <a:gd name="connsiteX628" fmla="*/ 30469 w 10505529"/>
              <a:gd name="connsiteY628" fmla="*/ 7441732 h 7458372"/>
              <a:gd name="connsiteX629" fmla="*/ 35794 w 10505529"/>
              <a:gd name="connsiteY629" fmla="*/ 7440535 h 7458372"/>
              <a:gd name="connsiteX630" fmla="*/ 39521 w 10505529"/>
              <a:gd name="connsiteY630" fmla="*/ 7438138 h 7458372"/>
              <a:gd name="connsiteX631" fmla="*/ 42184 w 10505529"/>
              <a:gd name="connsiteY631" fmla="*/ 7434011 h 7458372"/>
              <a:gd name="connsiteX632" fmla="*/ 43115 w 10505529"/>
              <a:gd name="connsiteY632" fmla="*/ 7428554 h 7458372"/>
              <a:gd name="connsiteX633" fmla="*/ 42184 w 10505529"/>
              <a:gd name="connsiteY633" fmla="*/ 7423362 h 7458372"/>
              <a:gd name="connsiteX634" fmla="*/ 39521 w 10505529"/>
              <a:gd name="connsiteY634" fmla="*/ 7419236 h 7458372"/>
              <a:gd name="connsiteX635" fmla="*/ 35528 w 10505529"/>
              <a:gd name="connsiteY635" fmla="*/ 7416573 h 7458372"/>
              <a:gd name="connsiteX636" fmla="*/ 30469 w 10505529"/>
              <a:gd name="connsiteY636" fmla="*/ 7415641 h 7458372"/>
              <a:gd name="connsiteX637" fmla="*/ 10475977 w 10505529"/>
              <a:gd name="connsiteY637" fmla="*/ 7399134 h 7458372"/>
              <a:gd name="connsiteX638" fmla="*/ 10487824 w 10505529"/>
              <a:gd name="connsiteY638" fmla="*/ 7401530 h 7458372"/>
              <a:gd name="connsiteX639" fmla="*/ 10497143 w 10505529"/>
              <a:gd name="connsiteY639" fmla="*/ 7407787 h 7458372"/>
              <a:gd name="connsiteX640" fmla="*/ 10503266 w 10505529"/>
              <a:gd name="connsiteY640" fmla="*/ 7417239 h 7458372"/>
              <a:gd name="connsiteX641" fmla="*/ 10505529 w 10505529"/>
              <a:gd name="connsiteY641" fmla="*/ 7428687 h 7458372"/>
              <a:gd name="connsiteX642" fmla="*/ 10503266 w 10505529"/>
              <a:gd name="connsiteY642" fmla="*/ 7440402 h 7458372"/>
              <a:gd name="connsiteX643" fmla="*/ 10497143 w 10505529"/>
              <a:gd name="connsiteY643" fmla="*/ 7449852 h 7458372"/>
              <a:gd name="connsiteX644" fmla="*/ 10487824 w 10505529"/>
              <a:gd name="connsiteY644" fmla="*/ 7456109 h 7458372"/>
              <a:gd name="connsiteX645" fmla="*/ 10475977 w 10505529"/>
              <a:gd name="connsiteY645" fmla="*/ 7458372 h 7458372"/>
              <a:gd name="connsiteX646" fmla="*/ 10454145 w 10505529"/>
              <a:gd name="connsiteY646" fmla="*/ 7449852 h 7458372"/>
              <a:gd name="connsiteX647" fmla="*/ 10445759 w 10505529"/>
              <a:gd name="connsiteY647" fmla="*/ 7428687 h 7458372"/>
              <a:gd name="connsiteX648" fmla="*/ 10454145 w 10505529"/>
              <a:gd name="connsiteY648" fmla="*/ 7407654 h 7458372"/>
              <a:gd name="connsiteX649" fmla="*/ 10475977 w 10505529"/>
              <a:gd name="connsiteY649" fmla="*/ 7399134 h 7458372"/>
              <a:gd name="connsiteX650" fmla="*/ 10258466 w 10505529"/>
              <a:gd name="connsiteY650" fmla="*/ 7399134 h 7458372"/>
              <a:gd name="connsiteX651" fmla="*/ 10270313 w 10505529"/>
              <a:gd name="connsiteY651" fmla="*/ 7401530 h 7458372"/>
              <a:gd name="connsiteX652" fmla="*/ 10279631 w 10505529"/>
              <a:gd name="connsiteY652" fmla="*/ 7407787 h 7458372"/>
              <a:gd name="connsiteX653" fmla="*/ 10285754 w 10505529"/>
              <a:gd name="connsiteY653" fmla="*/ 7417239 h 7458372"/>
              <a:gd name="connsiteX654" fmla="*/ 10288017 w 10505529"/>
              <a:gd name="connsiteY654" fmla="*/ 7428687 h 7458372"/>
              <a:gd name="connsiteX655" fmla="*/ 10285754 w 10505529"/>
              <a:gd name="connsiteY655" fmla="*/ 7440402 h 7458372"/>
              <a:gd name="connsiteX656" fmla="*/ 10279631 w 10505529"/>
              <a:gd name="connsiteY656" fmla="*/ 7449852 h 7458372"/>
              <a:gd name="connsiteX657" fmla="*/ 10270313 w 10505529"/>
              <a:gd name="connsiteY657" fmla="*/ 7456109 h 7458372"/>
              <a:gd name="connsiteX658" fmla="*/ 10258466 w 10505529"/>
              <a:gd name="connsiteY658" fmla="*/ 7458372 h 7458372"/>
              <a:gd name="connsiteX659" fmla="*/ 10236633 w 10505529"/>
              <a:gd name="connsiteY659" fmla="*/ 7449852 h 7458372"/>
              <a:gd name="connsiteX660" fmla="*/ 10228247 w 10505529"/>
              <a:gd name="connsiteY660" fmla="*/ 7428687 h 7458372"/>
              <a:gd name="connsiteX661" fmla="*/ 10236633 w 10505529"/>
              <a:gd name="connsiteY661" fmla="*/ 7407654 h 7458372"/>
              <a:gd name="connsiteX662" fmla="*/ 10258466 w 10505529"/>
              <a:gd name="connsiteY662" fmla="*/ 7399134 h 7458372"/>
              <a:gd name="connsiteX663" fmla="*/ 10040820 w 10505529"/>
              <a:gd name="connsiteY663" fmla="*/ 7399134 h 7458372"/>
              <a:gd name="connsiteX664" fmla="*/ 10052534 w 10505529"/>
              <a:gd name="connsiteY664" fmla="*/ 7401530 h 7458372"/>
              <a:gd name="connsiteX665" fmla="*/ 10061852 w 10505529"/>
              <a:gd name="connsiteY665" fmla="*/ 7407787 h 7458372"/>
              <a:gd name="connsiteX666" fmla="*/ 10067976 w 10505529"/>
              <a:gd name="connsiteY666" fmla="*/ 7417239 h 7458372"/>
              <a:gd name="connsiteX667" fmla="*/ 10070239 w 10505529"/>
              <a:gd name="connsiteY667" fmla="*/ 7428687 h 7458372"/>
              <a:gd name="connsiteX668" fmla="*/ 10067976 w 10505529"/>
              <a:gd name="connsiteY668" fmla="*/ 7440402 h 7458372"/>
              <a:gd name="connsiteX669" fmla="*/ 10061852 w 10505529"/>
              <a:gd name="connsiteY669" fmla="*/ 7449852 h 7458372"/>
              <a:gd name="connsiteX670" fmla="*/ 10052534 w 10505529"/>
              <a:gd name="connsiteY670" fmla="*/ 7456109 h 7458372"/>
              <a:gd name="connsiteX671" fmla="*/ 10040820 w 10505529"/>
              <a:gd name="connsiteY671" fmla="*/ 7458372 h 7458372"/>
              <a:gd name="connsiteX672" fmla="*/ 10018988 w 10505529"/>
              <a:gd name="connsiteY672" fmla="*/ 7449852 h 7458372"/>
              <a:gd name="connsiteX673" fmla="*/ 10010602 w 10505529"/>
              <a:gd name="connsiteY673" fmla="*/ 7428687 h 7458372"/>
              <a:gd name="connsiteX674" fmla="*/ 10018988 w 10505529"/>
              <a:gd name="connsiteY674" fmla="*/ 7407654 h 7458372"/>
              <a:gd name="connsiteX675" fmla="*/ 10040820 w 10505529"/>
              <a:gd name="connsiteY675" fmla="*/ 7399134 h 7458372"/>
              <a:gd name="connsiteX676" fmla="*/ 9823176 w 10505529"/>
              <a:gd name="connsiteY676" fmla="*/ 7399134 h 7458372"/>
              <a:gd name="connsiteX677" fmla="*/ 9834890 w 10505529"/>
              <a:gd name="connsiteY677" fmla="*/ 7401530 h 7458372"/>
              <a:gd name="connsiteX678" fmla="*/ 9844208 w 10505529"/>
              <a:gd name="connsiteY678" fmla="*/ 7407787 h 7458372"/>
              <a:gd name="connsiteX679" fmla="*/ 9850331 w 10505529"/>
              <a:gd name="connsiteY679" fmla="*/ 7417239 h 7458372"/>
              <a:gd name="connsiteX680" fmla="*/ 9852595 w 10505529"/>
              <a:gd name="connsiteY680" fmla="*/ 7428687 h 7458372"/>
              <a:gd name="connsiteX681" fmla="*/ 9850331 w 10505529"/>
              <a:gd name="connsiteY681" fmla="*/ 7440402 h 7458372"/>
              <a:gd name="connsiteX682" fmla="*/ 9844208 w 10505529"/>
              <a:gd name="connsiteY682" fmla="*/ 7449852 h 7458372"/>
              <a:gd name="connsiteX683" fmla="*/ 9834890 w 10505529"/>
              <a:gd name="connsiteY683" fmla="*/ 7456109 h 7458372"/>
              <a:gd name="connsiteX684" fmla="*/ 9823176 w 10505529"/>
              <a:gd name="connsiteY684" fmla="*/ 7458372 h 7458372"/>
              <a:gd name="connsiteX685" fmla="*/ 9801343 w 10505529"/>
              <a:gd name="connsiteY685" fmla="*/ 7449852 h 7458372"/>
              <a:gd name="connsiteX686" fmla="*/ 9792957 w 10505529"/>
              <a:gd name="connsiteY686" fmla="*/ 7428687 h 7458372"/>
              <a:gd name="connsiteX687" fmla="*/ 9801343 w 10505529"/>
              <a:gd name="connsiteY687" fmla="*/ 7407654 h 7458372"/>
              <a:gd name="connsiteX688" fmla="*/ 9823176 w 10505529"/>
              <a:gd name="connsiteY688" fmla="*/ 7399134 h 7458372"/>
              <a:gd name="connsiteX689" fmla="*/ 9605531 w 10505529"/>
              <a:gd name="connsiteY689" fmla="*/ 7399134 h 7458372"/>
              <a:gd name="connsiteX690" fmla="*/ 9617245 w 10505529"/>
              <a:gd name="connsiteY690" fmla="*/ 7401530 h 7458372"/>
              <a:gd name="connsiteX691" fmla="*/ 9626562 w 10505529"/>
              <a:gd name="connsiteY691" fmla="*/ 7407787 h 7458372"/>
              <a:gd name="connsiteX692" fmla="*/ 9632686 w 10505529"/>
              <a:gd name="connsiteY692" fmla="*/ 7417239 h 7458372"/>
              <a:gd name="connsiteX693" fmla="*/ 9634949 w 10505529"/>
              <a:gd name="connsiteY693" fmla="*/ 7428687 h 7458372"/>
              <a:gd name="connsiteX694" fmla="*/ 9632686 w 10505529"/>
              <a:gd name="connsiteY694" fmla="*/ 7440402 h 7458372"/>
              <a:gd name="connsiteX695" fmla="*/ 9626562 w 10505529"/>
              <a:gd name="connsiteY695" fmla="*/ 7449852 h 7458372"/>
              <a:gd name="connsiteX696" fmla="*/ 9617245 w 10505529"/>
              <a:gd name="connsiteY696" fmla="*/ 7456109 h 7458372"/>
              <a:gd name="connsiteX697" fmla="*/ 9605531 w 10505529"/>
              <a:gd name="connsiteY697" fmla="*/ 7458372 h 7458372"/>
              <a:gd name="connsiteX698" fmla="*/ 9583698 w 10505529"/>
              <a:gd name="connsiteY698" fmla="*/ 7449852 h 7458372"/>
              <a:gd name="connsiteX699" fmla="*/ 9575312 w 10505529"/>
              <a:gd name="connsiteY699" fmla="*/ 7428687 h 7458372"/>
              <a:gd name="connsiteX700" fmla="*/ 9583698 w 10505529"/>
              <a:gd name="connsiteY700" fmla="*/ 7407654 h 7458372"/>
              <a:gd name="connsiteX701" fmla="*/ 9605531 w 10505529"/>
              <a:gd name="connsiteY701" fmla="*/ 7399134 h 7458372"/>
              <a:gd name="connsiteX702" fmla="*/ 9387885 w 10505529"/>
              <a:gd name="connsiteY702" fmla="*/ 7399134 h 7458372"/>
              <a:gd name="connsiteX703" fmla="*/ 9399599 w 10505529"/>
              <a:gd name="connsiteY703" fmla="*/ 7401530 h 7458372"/>
              <a:gd name="connsiteX704" fmla="*/ 9408917 w 10505529"/>
              <a:gd name="connsiteY704" fmla="*/ 7407787 h 7458372"/>
              <a:gd name="connsiteX705" fmla="*/ 9415041 w 10505529"/>
              <a:gd name="connsiteY705" fmla="*/ 7417239 h 7458372"/>
              <a:gd name="connsiteX706" fmla="*/ 9417304 w 10505529"/>
              <a:gd name="connsiteY706" fmla="*/ 7428687 h 7458372"/>
              <a:gd name="connsiteX707" fmla="*/ 9415041 w 10505529"/>
              <a:gd name="connsiteY707" fmla="*/ 7440402 h 7458372"/>
              <a:gd name="connsiteX708" fmla="*/ 9408917 w 10505529"/>
              <a:gd name="connsiteY708" fmla="*/ 7449852 h 7458372"/>
              <a:gd name="connsiteX709" fmla="*/ 9399599 w 10505529"/>
              <a:gd name="connsiteY709" fmla="*/ 7456109 h 7458372"/>
              <a:gd name="connsiteX710" fmla="*/ 9387885 w 10505529"/>
              <a:gd name="connsiteY710" fmla="*/ 7458372 h 7458372"/>
              <a:gd name="connsiteX711" fmla="*/ 9366053 w 10505529"/>
              <a:gd name="connsiteY711" fmla="*/ 7449852 h 7458372"/>
              <a:gd name="connsiteX712" fmla="*/ 9357667 w 10505529"/>
              <a:gd name="connsiteY712" fmla="*/ 7428687 h 7458372"/>
              <a:gd name="connsiteX713" fmla="*/ 9366053 w 10505529"/>
              <a:gd name="connsiteY713" fmla="*/ 7407654 h 7458372"/>
              <a:gd name="connsiteX714" fmla="*/ 9387885 w 10505529"/>
              <a:gd name="connsiteY714" fmla="*/ 7399134 h 7458372"/>
              <a:gd name="connsiteX715" fmla="*/ 9170374 w 10505529"/>
              <a:gd name="connsiteY715" fmla="*/ 7399134 h 7458372"/>
              <a:gd name="connsiteX716" fmla="*/ 9182088 w 10505529"/>
              <a:gd name="connsiteY716" fmla="*/ 7401530 h 7458372"/>
              <a:gd name="connsiteX717" fmla="*/ 9191405 w 10505529"/>
              <a:gd name="connsiteY717" fmla="*/ 7407787 h 7458372"/>
              <a:gd name="connsiteX718" fmla="*/ 9197529 w 10505529"/>
              <a:gd name="connsiteY718" fmla="*/ 7417239 h 7458372"/>
              <a:gd name="connsiteX719" fmla="*/ 9199792 w 10505529"/>
              <a:gd name="connsiteY719" fmla="*/ 7428687 h 7458372"/>
              <a:gd name="connsiteX720" fmla="*/ 9197529 w 10505529"/>
              <a:gd name="connsiteY720" fmla="*/ 7440402 h 7458372"/>
              <a:gd name="connsiteX721" fmla="*/ 9191405 w 10505529"/>
              <a:gd name="connsiteY721" fmla="*/ 7449852 h 7458372"/>
              <a:gd name="connsiteX722" fmla="*/ 9182088 w 10505529"/>
              <a:gd name="connsiteY722" fmla="*/ 7456109 h 7458372"/>
              <a:gd name="connsiteX723" fmla="*/ 9170374 w 10505529"/>
              <a:gd name="connsiteY723" fmla="*/ 7458372 h 7458372"/>
              <a:gd name="connsiteX724" fmla="*/ 9148541 w 10505529"/>
              <a:gd name="connsiteY724" fmla="*/ 7449852 h 7458372"/>
              <a:gd name="connsiteX725" fmla="*/ 9140155 w 10505529"/>
              <a:gd name="connsiteY725" fmla="*/ 7428687 h 7458372"/>
              <a:gd name="connsiteX726" fmla="*/ 9148541 w 10505529"/>
              <a:gd name="connsiteY726" fmla="*/ 7407654 h 7458372"/>
              <a:gd name="connsiteX727" fmla="*/ 9170374 w 10505529"/>
              <a:gd name="connsiteY727" fmla="*/ 7399134 h 7458372"/>
              <a:gd name="connsiteX728" fmla="*/ 8952728 w 10505529"/>
              <a:gd name="connsiteY728" fmla="*/ 7399134 h 7458372"/>
              <a:gd name="connsiteX729" fmla="*/ 8964442 w 10505529"/>
              <a:gd name="connsiteY729" fmla="*/ 7401530 h 7458372"/>
              <a:gd name="connsiteX730" fmla="*/ 8973760 w 10505529"/>
              <a:gd name="connsiteY730" fmla="*/ 7407787 h 7458372"/>
              <a:gd name="connsiteX731" fmla="*/ 8979884 w 10505529"/>
              <a:gd name="connsiteY731" fmla="*/ 7417239 h 7458372"/>
              <a:gd name="connsiteX732" fmla="*/ 8982147 w 10505529"/>
              <a:gd name="connsiteY732" fmla="*/ 7428687 h 7458372"/>
              <a:gd name="connsiteX733" fmla="*/ 8979884 w 10505529"/>
              <a:gd name="connsiteY733" fmla="*/ 7440402 h 7458372"/>
              <a:gd name="connsiteX734" fmla="*/ 8973760 w 10505529"/>
              <a:gd name="connsiteY734" fmla="*/ 7449852 h 7458372"/>
              <a:gd name="connsiteX735" fmla="*/ 8964442 w 10505529"/>
              <a:gd name="connsiteY735" fmla="*/ 7456109 h 7458372"/>
              <a:gd name="connsiteX736" fmla="*/ 8952728 w 10505529"/>
              <a:gd name="connsiteY736" fmla="*/ 7458372 h 7458372"/>
              <a:gd name="connsiteX737" fmla="*/ 8930896 w 10505529"/>
              <a:gd name="connsiteY737" fmla="*/ 7449852 h 7458372"/>
              <a:gd name="connsiteX738" fmla="*/ 8922510 w 10505529"/>
              <a:gd name="connsiteY738" fmla="*/ 7428687 h 7458372"/>
              <a:gd name="connsiteX739" fmla="*/ 8930896 w 10505529"/>
              <a:gd name="connsiteY739" fmla="*/ 7407654 h 7458372"/>
              <a:gd name="connsiteX740" fmla="*/ 8952728 w 10505529"/>
              <a:gd name="connsiteY740" fmla="*/ 7399134 h 7458372"/>
              <a:gd name="connsiteX741" fmla="*/ 8735083 w 10505529"/>
              <a:gd name="connsiteY741" fmla="*/ 7399134 h 7458372"/>
              <a:gd name="connsiteX742" fmla="*/ 8746797 w 10505529"/>
              <a:gd name="connsiteY742" fmla="*/ 7401530 h 7458372"/>
              <a:gd name="connsiteX743" fmla="*/ 8756115 w 10505529"/>
              <a:gd name="connsiteY743" fmla="*/ 7407787 h 7458372"/>
              <a:gd name="connsiteX744" fmla="*/ 8762238 w 10505529"/>
              <a:gd name="connsiteY744" fmla="*/ 7417239 h 7458372"/>
              <a:gd name="connsiteX745" fmla="*/ 8764502 w 10505529"/>
              <a:gd name="connsiteY745" fmla="*/ 7428687 h 7458372"/>
              <a:gd name="connsiteX746" fmla="*/ 8762238 w 10505529"/>
              <a:gd name="connsiteY746" fmla="*/ 7440402 h 7458372"/>
              <a:gd name="connsiteX747" fmla="*/ 8756115 w 10505529"/>
              <a:gd name="connsiteY747" fmla="*/ 7449852 h 7458372"/>
              <a:gd name="connsiteX748" fmla="*/ 8746797 w 10505529"/>
              <a:gd name="connsiteY748" fmla="*/ 7456109 h 7458372"/>
              <a:gd name="connsiteX749" fmla="*/ 8735083 w 10505529"/>
              <a:gd name="connsiteY749" fmla="*/ 7458372 h 7458372"/>
              <a:gd name="connsiteX750" fmla="*/ 8713250 w 10505529"/>
              <a:gd name="connsiteY750" fmla="*/ 7449852 h 7458372"/>
              <a:gd name="connsiteX751" fmla="*/ 8704864 w 10505529"/>
              <a:gd name="connsiteY751" fmla="*/ 7428687 h 7458372"/>
              <a:gd name="connsiteX752" fmla="*/ 8713250 w 10505529"/>
              <a:gd name="connsiteY752" fmla="*/ 7407654 h 7458372"/>
              <a:gd name="connsiteX753" fmla="*/ 8735083 w 10505529"/>
              <a:gd name="connsiteY753" fmla="*/ 7399134 h 7458372"/>
              <a:gd name="connsiteX754" fmla="*/ 8517438 w 10505529"/>
              <a:gd name="connsiteY754" fmla="*/ 7399134 h 7458372"/>
              <a:gd name="connsiteX755" fmla="*/ 8529152 w 10505529"/>
              <a:gd name="connsiteY755" fmla="*/ 7401530 h 7458372"/>
              <a:gd name="connsiteX756" fmla="*/ 8538470 w 10505529"/>
              <a:gd name="connsiteY756" fmla="*/ 7407787 h 7458372"/>
              <a:gd name="connsiteX757" fmla="*/ 8544594 w 10505529"/>
              <a:gd name="connsiteY757" fmla="*/ 7417239 h 7458372"/>
              <a:gd name="connsiteX758" fmla="*/ 8546857 w 10505529"/>
              <a:gd name="connsiteY758" fmla="*/ 7428687 h 7458372"/>
              <a:gd name="connsiteX759" fmla="*/ 8544594 w 10505529"/>
              <a:gd name="connsiteY759" fmla="*/ 7440402 h 7458372"/>
              <a:gd name="connsiteX760" fmla="*/ 8538470 w 10505529"/>
              <a:gd name="connsiteY760" fmla="*/ 7449852 h 7458372"/>
              <a:gd name="connsiteX761" fmla="*/ 8529152 w 10505529"/>
              <a:gd name="connsiteY761" fmla="*/ 7456109 h 7458372"/>
              <a:gd name="connsiteX762" fmla="*/ 8517438 w 10505529"/>
              <a:gd name="connsiteY762" fmla="*/ 7458372 h 7458372"/>
              <a:gd name="connsiteX763" fmla="*/ 8495606 w 10505529"/>
              <a:gd name="connsiteY763" fmla="*/ 7449852 h 7458372"/>
              <a:gd name="connsiteX764" fmla="*/ 8487220 w 10505529"/>
              <a:gd name="connsiteY764" fmla="*/ 7428687 h 7458372"/>
              <a:gd name="connsiteX765" fmla="*/ 8495606 w 10505529"/>
              <a:gd name="connsiteY765" fmla="*/ 7407654 h 7458372"/>
              <a:gd name="connsiteX766" fmla="*/ 8517438 w 10505529"/>
              <a:gd name="connsiteY766" fmla="*/ 7399134 h 7458372"/>
              <a:gd name="connsiteX767" fmla="*/ 8299793 w 10505529"/>
              <a:gd name="connsiteY767" fmla="*/ 7399134 h 7458372"/>
              <a:gd name="connsiteX768" fmla="*/ 8311507 w 10505529"/>
              <a:gd name="connsiteY768" fmla="*/ 7401530 h 7458372"/>
              <a:gd name="connsiteX769" fmla="*/ 8320825 w 10505529"/>
              <a:gd name="connsiteY769" fmla="*/ 7407787 h 7458372"/>
              <a:gd name="connsiteX770" fmla="*/ 8326948 w 10505529"/>
              <a:gd name="connsiteY770" fmla="*/ 7417239 h 7458372"/>
              <a:gd name="connsiteX771" fmla="*/ 8329212 w 10505529"/>
              <a:gd name="connsiteY771" fmla="*/ 7428687 h 7458372"/>
              <a:gd name="connsiteX772" fmla="*/ 8326948 w 10505529"/>
              <a:gd name="connsiteY772" fmla="*/ 7440402 h 7458372"/>
              <a:gd name="connsiteX773" fmla="*/ 8320825 w 10505529"/>
              <a:gd name="connsiteY773" fmla="*/ 7449852 h 7458372"/>
              <a:gd name="connsiteX774" fmla="*/ 8311507 w 10505529"/>
              <a:gd name="connsiteY774" fmla="*/ 7456109 h 7458372"/>
              <a:gd name="connsiteX775" fmla="*/ 8299793 w 10505529"/>
              <a:gd name="connsiteY775" fmla="*/ 7458372 h 7458372"/>
              <a:gd name="connsiteX776" fmla="*/ 8277960 w 10505529"/>
              <a:gd name="connsiteY776" fmla="*/ 7449852 h 7458372"/>
              <a:gd name="connsiteX777" fmla="*/ 8269574 w 10505529"/>
              <a:gd name="connsiteY777" fmla="*/ 7428687 h 7458372"/>
              <a:gd name="connsiteX778" fmla="*/ 8277960 w 10505529"/>
              <a:gd name="connsiteY778" fmla="*/ 7407654 h 7458372"/>
              <a:gd name="connsiteX779" fmla="*/ 8299793 w 10505529"/>
              <a:gd name="connsiteY779" fmla="*/ 7399134 h 7458372"/>
              <a:gd name="connsiteX780" fmla="*/ 8082281 w 10505529"/>
              <a:gd name="connsiteY780" fmla="*/ 7399134 h 7458372"/>
              <a:gd name="connsiteX781" fmla="*/ 8094127 w 10505529"/>
              <a:gd name="connsiteY781" fmla="*/ 7401530 h 7458372"/>
              <a:gd name="connsiteX782" fmla="*/ 8103446 w 10505529"/>
              <a:gd name="connsiteY782" fmla="*/ 7407787 h 7458372"/>
              <a:gd name="connsiteX783" fmla="*/ 8109569 w 10505529"/>
              <a:gd name="connsiteY783" fmla="*/ 7417239 h 7458372"/>
              <a:gd name="connsiteX784" fmla="*/ 8111832 w 10505529"/>
              <a:gd name="connsiteY784" fmla="*/ 7428687 h 7458372"/>
              <a:gd name="connsiteX785" fmla="*/ 8109569 w 10505529"/>
              <a:gd name="connsiteY785" fmla="*/ 7440402 h 7458372"/>
              <a:gd name="connsiteX786" fmla="*/ 8103446 w 10505529"/>
              <a:gd name="connsiteY786" fmla="*/ 7449852 h 7458372"/>
              <a:gd name="connsiteX787" fmla="*/ 8094127 w 10505529"/>
              <a:gd name="connsiteY787" fmla="*/ 7456109 h 7458372"/>
              <a:gd name="connsiteX788" fmla="*/ 8082281 w 10505529"/>
              <a:gd name="connsiteY788" fmla="*/ 7458372 h 7458372"/>
              <a:gd name="connsiteX789" fmla="*/ 8060448 w 10505529"/>
              <a:gd name="connsiteY789" fmla="*/ 7449852 h 7458372"/>
              <a:gd name="connsiteX790" fmla="*/ 8052062 w 10505529"/>
              <a:gd name="connsiteY790" fmla="*/ 7428687 h 7458372"/>
              <a:gd name="connsiteX791" fmla="*/ 8060448 w 10505529"/>
              <a:gd name="connsiteY791" fmla="*/ 7407654 h 7458372"/>
              <a:gd name="connsiteX792" fmla="*/ 8082281 w 10505529"/>
              <a:gd name="connsiteY792" fmla="*/ 7399134 h 7458372"/>
              <a:gd name="connsiteX793" fmla="*/ 7864636 w 10505529"/>
              <a:gd name="connsiteY793" fmla="*/ 7399134 h 7458372"/>
              <a:gd name="connsiteX794" fmla="*/ 7876483 w 10505529"/>
              <a:gd name="connsiteY794" fmla="*/ 7401530 h 7458372"/>
              <a:gd name="connsiteX795" fmla="*/ 7885802 w 10505529"/>
              <a:gd name="connsiteY795" fmla="*/ 7407787 h 7458372"/>
              <a:gd name="connsiteX796" fmla="*/ 7891924 w 10505529"/>
              <a:gd name="connsiteY796" fmla="*/ 7417239 h 7458372"/>
              <a:gd name="connsiteX797" fmla="*/ 7894188 w 10505529"/>
              <a:gd name="connsiteY797" fmla="*/ 7428687 h 7458372"/>
              <a:gd name="connsiteX798" fmla="*/ 7891924 w 10505529"/>
              <a:gd name="connsiteY798" fmla="*/ 7440402 h 7458372"/>
              <a:gd name="connsiteX799" fmla="*/ 7885802 w 10505529"/>
              <a:gd name="connsiteY799" fmla="*/ 7449852 h 7458372"/>
              <a:gd name="connsiteX800" fmla="*/ 7876483 w 10505529"/>
              <a:gd name="connsiteY800" fmla="*/ 7456109 h 7458372"/>
              <a:gd name="connsiteX801" fmla="*/ 7864636 w 10505529"/>
              <a:gd name="connsiteY801" fmla="*/ 7458372 h 7458372"/>
              <a:gd name="connsiteX802" fmla="*/ 7842803 w 10505529"/>
              <a:gd name="connsiteY802" fmla="*/ 7449852 h 7458372"/>
              <a:gd name="connsiteX803" fmla="*/ 7834417 w 10505529"/>
              <a:gd name="connsiteY803" fmla="*/ 7428687 h 7458372"/>
              <a:gd name="connsiteX804" fmla="*/ 7842803 w 10505529"/>
              <a:gd name="connsiteY804" fmla="*/ 7407654 h 7458372"/>
              <a:gd name="connsiteX805" fmla="*/ 7864636 w 10505529"/>
              <a:gd name="connsiteY805" fmla="*/ 7399134 h 7458372"/>
              <a:gd name="connsiteX806" fmla="*/ 7646991 w 10505529"/>
              <a:gd name="connsiteY806" fmla="*/ 7399134 h 7458372"/>
              <a:gd name="connsiteX807" fmla="*/ 7658705 w 10505529"/>
              <a:gd name="connsiteY807" fmla="*/ 7401530 h 7458372"/>
              <a:gd name="connsiteX808" fmla="*/ 7668022 w 10505529"/>
              <a:gd name="connsiteY808" fmla="*/ 7407787 h 7458372"/>
              <a:gd name="connsiteX809" fmla="*/ 7674146 w 10505529"/>
              <a:gd name="connsiteY809" fmla="*/ 7417239 h 7458372"/>
              <a:gd name="connsiteX810" fmla="*/ 7676409 w 10505529"/>
              <a:gd name="connsiteY810" fmla="*/ 7428687 h 7458372"/>
              <a:gd name="connsiteX811" fmla="*/ 7674146 w 10505529"/>
              <a:gd name="connsiteY811" fmla="*/ 7440402 h 7458372"/>
              <a:gd name="connsiteX812" fmla="*/ 7668022 w 10505529"/>
              <a:gd name="connsiteY812" fmla="*/ 7449852 h 7458372"/>
              <a:gd name="connsiteX813" fmla="*/ 7658705 w 10505529"/>
              <a:gd name="connsiteY813" fmla="*/ 7456109 h 7458372"/>
              <a:gd name="connsiteX814" fmla="*/ 7646991 w 10505529"/>
              <a:gd name="connsiteY814" fmla="*/ 7458372 h 7458372"/>
              <a:gd name="connsiteX815" fmla="*/ 7625158 w 10505529"/>
              <a:gd name="connsiteY815" fmla="*/ 7449852 h 7458372"/>
              <a:gd name="connsiteX816" fmla="*/ 7616772 w 10505529"/>
              <a:gd name="connsiteY816" fmla="*/ 7428687 h 7458372"/>
              <a:gd name="connsiteX817" fmla="*/ 7625158 w 10505529"/>
              <a:gd name="connsiteY817" fmla="*/ 7407654 h 7458372"/>
              <a:gd name="connsiteX818" fmla="*/ 7646991 w 10505529"/>
              <a:gd name="connsiteY818" fmla="*/ 7399134 h 7458372"/>
              <a:gd name="connsiteX819" fmla="*/ 7429345 w 10505529"/>
              <a:gd name="connsiteY819" fmla="*/ 7399134 h 7458372"/>
              <a:gd name="connsiteX820" fmla="*/ 7441059 w 10505529"/>
              <a:gd name="connsiteY820" fmla="*/ 7401530 h 7458372"/>
              <a:gd name="connsiteX821" fmla="*/ 7450377 w 10505529"/>
              <a:gd name="connsiteY821" fmla="*/ 7407787 h 7458372"/>
              <a:gd name="connsiteX822" fmla="*/ 7456501 w 10505529"/>
              <a:gd name="connsiteY822" fmla="*/ 7417239 h 7458372"/>
              <a:gd name="connsiteX823" fmla="*/ 7458764 w 10505529"/>
              <a:gd name="connsiteY823" fmla="*/ 7428687 h 7458372"/>
              <a:gd name="connsiteX824" fmla="*/ 7456501 w 10505529"/>
              <a:gd name="connsiteY824" fmla="*/ 7440402 h 7458372"/>
              <a:gd name="connsiteX825" fmla="*/ 7450377 w 10505529"/>
              <a:gd name="connsiteY825" fmla="*/ 7449852 h 7458372"/>
              <a:gd name="connsiteX826" fmla="*/ 7441059 w 10505529"/>
              <a:gd name="connsiteY826" fmla="*/ 7456109 h 7458372"/>
              <a:gd name="connsiteX827" fmla="*/ 7429345 w 10505529"/>
              <a:gd name="connsiteY827" fmla="*/ 7458372 h 7458372"/>
              <a:gd name="connsiteX828" fmla="*/ 7407513 w 10505529"/>
              <a:gd name="connsiteY828" fmla="*/ 7449852 h 7458372"/>
              <a:gd name="connsiteX829" fmla="*/ 7399127 w 10505529"/>
              <a:gd name="connsiteY829" fmla="*/ 7428687 h 7458372"/>
              <a:gd name="connsiteX830" fmla="*/ 7407513 w 10505529"/>
              <a:gd name="connsiteY830" fmla="*/ 7407654 h 7458372"/>
              <a:gd name="connsiteX831" fmla="*/ 7429345 w 10505529"/>
              <a:gd name="connsiteY831" fmla="*/ 7399134 h 7458372"/>
              <a:gd name="connsiteX832" fmla="*/ 7211701 w 10505529"/>
              <a:gd name="connsiteY832" fmla="*/ 7399134 h 7458372"/>
              <a:gd name="connsiteX833" fmla="*/ 7223415 w 10505529"/>
              <a:gd name="connsiteY833" fmla="*/ 7401530 h 7458372"/>
              <a:gd name="connsiteX834" fmla="*/ 7232733 w 10505529"/>
              <a:gd name="connsiteY834" fmla="*/ 7407787 h 7458372"/>
              <a:gd name="connsiteX835" fmla="*/ 7238856 w 10505529"/>
              <a:gd name="connsiteY835" fmla="*/ 7417239 h 7458372"/>
              <a:gd name="connsiteX836" fmla="*/ 7241120 w 10505529"/>
              <a:gd name="connsiteY836" fmla="*/ 7428687 h 7458372"/>
              <a:gd name="connsiteX837" fmla="*/ 7238856 w 10505529"/>
              <a:gd name="connsiteY837" fmla="*/ 7440402 h 7458372"/>
              <a:gd name="connsiteX838" fmla="*/ 7232733 w 10505529"/>
              <a:gd name="connsiteY838" fmla="*/ 7449852 h 7458372"/>
              <a:gd name="connsiteX839" fmla="*/ 7223415 w 10505529"/>
              <a:gd name="connsiteY839" fmla="*/ 7456109 h 7458372"/>
              <a:gd name="connsiteX840" fmla="*/ 7211701 w 10505529"/>
              <a:gd name="connsiteY840" fmla="*/ 7458372 h 7458372"/>
              <a:gd name="connsiteX841" fmla="*/ 7189868 w 10505529"/>
              <a:gd name="connsiteY841" fmla="*/ 7449852 h 7458372"/>
              <a:gd name="connsiteX842" fmla="*/ 7181482 w 10505529"/>
              <a:gd name="connsiteY842" fmla="*/ 7428687 h 7458372"/>
              <a:gd name="connsiteX843" fmla="*/ 7189868 w 10505529"/>
              <a:gd name="connsiteY843" fmla="*/ 7407654 h 7458372"/>
              <a:gd name="connsiteX844" fmla="*/ 7211701 w 10505529"/>
              <a:gd name="connsiteY844" fmla="*/ 7399134 h 7458372"/>
              <a:gd name="connsiteX845" fmla="*/ 6994056 w 10505529"/>
              <a:gd name="connsiteY845" fmla="*/ 7399134 h 7458372"/>
              <a:gd name="connsiteX846" fmla="*/ 7005769 w 10505529"/>
              <a:gd name="connsiteY846" fmla="*/ 7401530 h 7458372"/>
              <a:gd name="connsiteX847" fmla="*/ 7015087 w 10505529"/>
              <a:gd name="connsiteY847" fmla="*/ 7407787 h 7458372"/>
              <a:gd name="connsiteX848" fmla="*/ 7021211 w 10505529"/>
              <a:gd name="connsiteY848" fmla="*/ 7417239 h 7458372"/>
              <a:gd name="connsiteX849" fmla="*/ 7023474 w 10505529"/>
              <a:gd name="connsiteY849" fmla="*/ 7428687 h 7458372"/>
              <a:gd name="connsiteX850" fmla="*/ 7021211 w 10505529"/>
              <a:gd name="connsiteY850" fmla="*/ 7440402 h 7458372"/>
              <a:gd name="connsiteX851" fmla="*/ 7015087 w 10505529"/>
              <a:gd name="connsiteY851" fmla="*/ 7449852 h 7458372"/>
              <a:gd name="connsiteX852" fmla="*/ 7005769 w 10505529"/>
              <a:gd name="connsiteY852" fmla="*/ 7456109 h 7458372"/>
              <a:gd name="connsiteX853" fmla="*/ 6994056 w 10505529"/>
              <a:gd name="connsiteY853" fmla="*/ 7458372 h 7458372"/>
              <a:gd name="connsiteX854" fmla="*/ 6972223 w 10505529"/>
              <a:gd name="connsiteY854" fmla="*/ 7449852 h 7458372"/>
              <a:gd name="connsiteX855" fmla="*/ 6963837 w 10505529"/>
              <a:gd name="connsiteY855" fmla="*/ 7428687 h 7458372"/>
              <a:gd name="connsiteX856" fmla="*/ 6972223 w 10505529"/>
              <a:gd name="connsiteY856" fmla="*/ 7407654 h 7458372"/>
              <a:gd name="connsiteX857" fmla="*/ 6994056 w 10505529"/>
              <a:gd name="connsiteY857" fmla="*/ 7399134 h 7458372"/>
              <a:gd name="connsiteX858" fmla="*/ 6776544 w 10505529"/>
              <a:gd name="connsiteY858" fmla="*/ 7399134 h 7458372"/>
              <a:gd name="connsiteX859" fmla="*/ 6788258 w 10505529"/>
              <a:gd name="connsiteY859" fmla="*/ 7401530 h 7458372"/>
              <a:gd name="connsiteX860" fmla="*/ 6797576 w 10505529"/>
              <a:gd name="connsiteY860" fmla="*/ 7407787 h 7458372"/>
              <a:gd name="connsiteX861" fmla="*/ 6803699 w 10505529"/>
              <a:gd name="connsiteY861" fmla="*/ 7417239 h 7458372"/>
              <a:gd name="connsiteX862" fmla="*/ 6805963 w 10505529"/>
              <a:gd name="connsiteY862" fmla="*/ 7428687 h 7458372"/>
              <a:gd name="connsiteX863" fmla="*/ 6803699 w 10505529"/>
              <a:gd name="connsiteY863" fmla="*/ 7440402 h 7458372"/>
              <a:gd name="connsiteX864" fmla="*/ 6797576 w 10505529"/>
              <a:gd name="connsiteY864" fmla="*/ 7449852 h 7458372"/>
              <a:gd name="connsiteX865" fmla="*/ 6788258 w 10505529"/>
              <a:gd name="connsiteY865" fmla="*/ 7456109 h 7458372"/>
              <a:gd name="connsiteX866" fmla="*/ 6776544 w 10505529"/>
              <a:gd name="connsiteY866" fmla="*/ 7458372 h 7458372"/>
              <a:gd name="connsiteX867" fmla="*/ 6754711 w 10505529"/>
              <a:gd name="connsiteY867" fmla="*/ 7449852 h 7458372"/>
              <a:gd name="connsiteX868" fmla="*/ 6746325 w 10505529"/>
              <a:gd name="connsiteY868" fmla="*/ 7428687 h 7458372"/>
              <a:gd name="connsiteX869" fmla="*/ 6754711 w 10505529"/>
              <a:gd name="connsiteY869" fmla="*/ 7407654 h 7458372"/>
              <a:gd name="connsiteX870" fmla="*/ 6776544 w 10505529"/>
              <a:gd name="connsiteY870" fmla="*/ 7399134 h 7458372"/>
              <a:gd name="connsiteX871" fmla="*/ 6558899 w 10505529"/>
              <a:gd name="connsiteY871" fmla="*/ 7399134 h 7458372"/>
              <a:gd name="connsiteX872" fmla="*/ 6570612 w 10505529"/>
              <a:gd name="connsiteY872" fmla="*/ 7401530 h 7458372"/>
              <a:gd name="connsiteX873" fmla="*/ 6579930 w 10505529"/>
              <a:gd name="connsiteY873" fmla="*/ 7407787 h 7458372"/>
              <a:gd name="connsiteX874" fmla="*/ 6586054 w 10505529"/>
              <a:gd name="connsiteY874" fmla="*/ 7417239 h 7458372"/>
              <a:gd name="connsiteX875" fmla="*/ 6588317 w 10505529"/>
              <a:gd name="connsiteY875" fmla="*/ 7428687 h 7458372"/>
              <a:gd name="connsiteX876" fmla="*/ 6586054 w 10505529"/>
              <a:gd name="connsiteY876" fmla="*/ 7440402 h 7458372"/>
              <a:gd name="connsiteX877" fmla="*/ 6579930 w 10505529"/>
              <a:gd name="connsiteY877" fmla="*/ 7449852 h 7458372"/>
              <a:gd name="connsiteX878" fmla="*/ 6570612 w 10505529"/>
              <a:gd name="connsiteY878" fmla="*/ 7456109 h 7458372"/>
              <a:gd name="connsiteX879" fmla="*/ 6558899 w 10505529"/>
              <a:gd name="connsiteY879" fmla="*/ 7458372 h 7458372"/>
              <a:gd name="connsiteX880" fmla="*/ 6537066 w 10505529"/>
              <a:gd name="connsiteY880" fmla="*/ 7449852 h 7458372"/>
              <a:gd name="connsiteX881" fmla="*/ 6528680 w 10505529"/>
              <a:gd name="connsiteY881" fmla="*/ 7428687 h 7458372"/>
              <a:gd name="connsiteX882" fmla="*/ 6537066 w 10505529"/>
              <a:gd name="connsiteY882" fmla="*/ 7407654 h 7458372"/>
              <a:gd name="connsiteX883" fmla="*/ 6558899 w 10505529"/>
              <a:gd name="connsiteY883" fmla="*/ 7399134 h 7458372"/>
              <a:gd name="connsiteX884" fmla="*/ 6341253 w 10505529"/>
              <a:gd name="connsiteY884" fmla="*/ 7399134 h 7458372"/>
              <a:gd name="connsiteX885" fmla="*/ 6352968 w 10505529"/>
              <a:gd name="connsiteY885" fmla="*/ 7401530 h 7458372"/>
              <a:gd name="connsiteX886" fmla="*/ 6362286 w 10505529"/>
              <a:gd name="connsiteY886" fmla="*/ 7407787 h 7458372"/>
              <a:gd name="connsiteX887" fmla="*/ 6368409 w 10505529"/>
              <a:gd name="connsiteY887" fmla="*/ 7417239 h 7458372"/>
              <a:gd name="connsiteX888" fmla="*/ 6370672 w 10505529"/>
              <a:gd name="connsiteY888" fmla="*/ 7428687 h 7458372"/>
              <a:gd name="connsiteX889" fmla="*/ 6368409 w 10505529"/>
              <a:gd name="connsiteY889" fmla="*/ 7440402 h 7458372"/>
              <a:gd name="connsiteX890" fmla="*/ 6362286 w 10505529"/>
              <a:gd name="connsiteY890" fmla="*/ 7449852 h 7458372"/>
              <a:gd name="connsiteX891" fmla="*/ 6352968 w 10505529"/>
              <a:gd name="connsiteY891" fmla="*/ 7456109 h 7458372"/>
              <a:gd name="connsiteX892" fmla="*/ 6341253 w 10505529"/>
              <a:gd name="connsiteY892" fmla="*/ 7458372 h 7458372"/>
              <a:gd name="connsiteX893" fmla="*/ 6319421 w 10505529"/>
              <a:gd name="connsiteY893" fmla="*/ 7449852 h 7458372"/>
              <a:gd name="connsiteX894" fmla="*/ 6311035 w 10505529"/>
              <a:gd name="connsiteY894" fmla="*/ 7428687 h 7458372"/>
              <a:gd name="connsiteX895" fmla="*/ 6319421 w 10505529"/>
              <a:gd name="connsiteY895" fmla="*/ 7407654 h 7458372"/>
              <a:gd name="connsiteX896" fmla="*/ 6341253 w 10505529"/>
              <a:gd name="connsiteY896" fmla="*/ 7399134 h 7458372"/>
              <a:gd name="connsiteX897" fmla="*/ 6123608 w 10505529"/>
              <a:gd name="connsiteY897" fmla="*/ 7399134 h 7458372"/>
              <a:gd name="connsiteX898" fmla="*/ 6135322 w 10505529"/>
              <a:gd name="connsiteY898" fmla="*/ 7401530 h 7458372"/>
              <a:gd name="connsiteX899" fmla="*/ 6144640 w 10505529"/>
              <a:gd name="connsiteY899" fmla="*/ 7407787 h 7458372"/>
              <a:gd name="connsiteX900" fmla="*/ 6150763 w 10505529"/>
              <a:gd name="connsiteY900" fmla="*/ 7417239 h 7458372"/>
              <a:gd name="connsiteX901" fmla="*/ 6153026 w 10505529"/>
              <a:gd name="connsiteY901" fmla="*/ 7428687 h 7458372"/>
              <a:gd name="connsiteX902" fmla="*/ 6150763 w 10505529"/>
              <a:gd name="connsiteY902" fmla="*/ 7440402 h 7458372"/>
              <a:gd name="connsiteX903" fmla="*/ 6144640 w 10505529"/>
              <a:gd name="connsiteY903" fmla="*/ 7449852 h 7458372"/>
              <a:gd name="connsiteX904" fmla="*/ 6135322 w 10505529"/>
              <a:gd name="connsiteY904" fmla="*/ 7456109 h 7458372"/>
              <a:gd name="connsiteX905" fmla="*/ 6123608 w 10505529"/>
              <a:gd name="connsiteY905" fmla="*/ 7458372 h 7458372"/>
              <a:gd name="connsiteX906" fmla="*/ 6101775 w 10505529"/>
              <a:gd name="connsiteY906" fmla="*/ 7449852 h 7458372"/>
              <a:gd name="connsiteX907" fmla="*/ 6093389 w 10505529"/>
              <a:gd name="connsiteY907" fmla="*/ 7428687 h 7458372"/>
              <a:gd name="connsiteX908" fmla="*/ 6101775 w 10505529"/>
              <a:gd name="connsiteY908" fmla="*/ 7407654 h 7458372"/>
              <a:gd name="connsiteX909" fmla="*/ 6123608 w 10505529"/>
              <a:gd name="connsiteY909" fmla="*/ 7399134 h 7458372"/>
              <a:gd name="connsiteX910" fmla="*/ 5905963 w 10505529"/>
              <a:gd name="connsiteY910" fmla="*/ 7399134 h 7458372"/>
              <a:gd name="connsiteX911" fmla="*/ 5917677 w 10505529"/>
              <a:gd name="connsiteY911" fmla="*/ 7401530 h 7458372"/>
              <a:gd name="connsiteX912" fmla="*/ 5926995 w 10505529"/>
              <a:gd name="connsiteY912" fmla="*/ 7407787 h 7458372"/>
              <a:gd name="connsiteX913" fmla="*/ 5933118 w 10505529"/>
              <a:gd name="connsiteY913" fmla="*/ 7417239 h 7458372"/>
              <a:gd name="connsiteX914" fmla="*/ 5935381 w 10505529"/>
              <a:gd name="connsiteY914" fmla="*/ 7428687 h 7458372"/>
              <a:gd name="connsiteX915" fmla="*/ 5933118 w 10505529"/>
              <a:gd name="connsiteY915" fmla="*/ 7440402 h 7458372"/>
              <a:gd name="connsiteX916" fmla="*/ 5926995 w 10505529"/>
              <a:gd name="connsiteY916" fmla="*/ 7449852 h 7458372"/>
              <a:gd name="connsiteX917" fmla="*/ 5917677 w 10505529"/>
              <a:gd name="connsiteY917" fmla="*/ 7456109 h 7458372"/>
              <a:gd name="connsiteX918" fmla="*/ 5905963 w 10505529"/>
              <a:gd name="connsiteY918" fmla="*/ 7458372 h 7458372"/>
              <a:gd name="connsiteX919" fmla="*/ 5884130 w 10505529"/>
              <a:gd name="connsiteY919" fmla="*/ 7449852 h 7458372"/>
              <a:gd name="connsiteX920" fmla="*/ 5875744 w 10505529"/>
              <a:gd name="connsiteY920" fmla="*/ 7428687 h 7458372"/>
              <a:gd name="connsiteX921" fmla="*/ 5884130 w 10505529"/>
              <a:gd name="connsiteY921" fmla="*/ 7407654 h 7458372"/>
              <a:gd name="connsiteX922" fmla="*/ 5905963 w 10505529"/>
              <a:gd name="connsiteY922" fmla="*/ 7399134 h 7458372"/>
              <a:gd name="connsiteX923" fmla="*/ 5688451 w 10505529"/>
              <a:gd name="connsiteY923" fmla="*/ 7399134 h 7458372"/>
              <a:gd name="connsiteX924" fmla="*/ 5700165 w 10505529"/>
              <a:gd name="connsiteY924" fmla="*/ 7401530 h 7458372"/>
              <a:gd name="connsiteX925" fmla="*/ 5709483 w 10505529"/>
              <a:gd name="connsiteY925" fmla="*/ 7407787 h 7458372"/>
              <a:gd name="connsiteX926" fmla="*/ 5715606 w 10505529"/>
              <a:gd name="connsiteY926" fmla="*/ 7417239 h 7458372"/>
              <a:gd name="connsiteX927" fmla="*/ 5717869 w 10505529"/>
              <a:gd name="connsiteY927" fmla="*/ 7428687 h 7458372"/>
              <a:gd name="connsiteX928" fmla="*/ 5715606 w 10505529"/>
              <a:gd name="connsiteY928" fmla="*/ 7440402 h 7458372"/>
              <a:gd name="connsiteX929" fmla="*/ 5709483 w 10505529"/>
              <a:gd name="connsiteY929" fmla="*/ 7449852 h 7458372"/>
              <a:gd name="connsiteX930" fmla="*/ 5700165 w 10505529"/>
              <a:gd name="connsiteY930" fmla="*/ 7456109 h 7458372"/>
              <a:gd name="connsiteX931" fmla="*/ 5688451 w 10505529"/>
              <a:gd name="connsiteY931" fmla="*/ 7458372 h 7458372"/>
              <a:gd name="connsiteX932" fmla="*/ 5666618 w 10505529"/>
              <a:gd name="connsiteY932" fmla="*/ 7449852 h 7458372"/>
              <a:gd name="connsiteX933" fmla="*/ 5658232 w 10505529"/>
              <a:gd name="connsiteY933" fmla="*/ 7428687 h 7458372"/>
              <a:gd name="connsiteX934" fmla="*/ 5666618 w 10505529"/>
              <a:gd name="connsiteY934" fmla="*/ 7407654 h 7458372"/>
              <a:gd name="connsiteX935" fmla="*/ 5688451 w 10505529"/>
              <a:gd name="connsiteY935" fmla="*/ 7399134 h 7458372"/>
              <a:gd name="connsiteX936" fmla="*/ 5470806 w 10505529"/>
              <a:gd name="connsiteY936" fmla="*/ 7399134 h 7458372"/>
              <a:gd name="connsiteX937" fmla="*/ 5482520 w 10505529"/>
              <a:gd name="connsiteY937" fmla="*/ 7401530 h 7458372"/>
              <a:gd name="connsiteX938" fmla="*/ 5491838 w 10505529"/>
              <a:gd name="connsiteY938" fmla="*/ 7407787 h 7458372"/>
              <a:gd name="connsiteX939" fmla="*/ 5497961 w 10505529"/>
              <a:gd name="connsiteY939" fmla="*/ 7417239 h 7458372"/>
              <a:gd name="connsiteX940" fmla="*/ 5500224 w 10505529"/>
              <a:gd name="connsiteY940" fmla="*/ 7428687 h 7458372"/>
              <a:gd name="connsiteX941" fmla="*/ 5497961 w 10505529"/>
              <a:gd name="connsiteY941" fmla="*/ 7440402 h 7458372"/>
              <a:gd name="connsiteX942" fmla="*/ 5491838 w 10505529"/>
              <a:gd name="connsiteY942" fmla="*/ 7449852 h 7458372"/>
              <a:gd name="connsiteX943" fmla="*/ 5482520 w 10505529"/>
              <a:gd name="connsiteY943" fmla="*/ 7456109 h 7458372"/>
              <a:gd name="connsiteX944" fmla="*/ 5470806 w 10505529"/>
              <a:gd name="connsiteY944" fmla="*/ 7458372 h 7458372"/>
              <a:gd name="connsiteX945" fmla="*/ 5448973 w 10505529"/>
              <a:gd name="connsiteY945" fmla="*/ 7449852 h 7458372"/>
              <a:gd name="connsiteX946" fmla="*/ 5440587 w 10505529"/>
              <a:gd name="connsiteY946" fmla="*/ 7428687 h 7458372"/>
              <a:gd name="connsiteX947" fmla="*/ 5448973 w 10505529"/>
              <a:gd name="connsiteY947" fmla="*/ 7407654 h 7458372"/>
              <a:gd name="connsiteX948" fmla="*/ 5470806 w 10505529"/>
              <a:gd name="connsiteY948" fmla="*/ 7399134 h 7458372"/>
              <a:gd name="connsiteX949" fmla="*/ 5253160 w 10505529"/>
              <a:gd name="connsiteY949" fmla="*/ 7399134 h 7458372"/>
              <a:gd name="connsiteX950" fmla="*/ 5264875 w 10505529"/>
              <a:gd name="connsiteY950" fmla="*/ 7401530 h 7458372"/>
              <a:gd name="connsiteX951" fmla="*/ 5274192 w 10505529"/>
              <a:gd name="connsiteY951" fmla="*/ 7407787 h 7458372"/>
              <a:gd name="connsiteX952" fmla="*/ 5280316 w 10505529"/>
              <a:gd name="connsiteY952" fmla="*/ 7417239 h 7458372"/>
              <a:gd name="connsiteX953" fmla="*/ 5282579 w 10505529"/>
              <a:gd name="connsiteY953" fmla="*/ 7428687 h 7458372"/>
              <a:gd name="connsiteX954" fmla="*/ 5280316 w 10505529"/>
              <a:gd name="connsiteY954" fmla="*/ 7440402 h 7458372"/>
              <a:gd name="connsiteX955" fmla="*/ 5274192 w 10505529"/>
              <a:gd name="connsiteY955" fmla="*/ 7449852 h 7458372"/>
              <a:gd name="connsiteX956" fmla="*/ 5264875 w 10505529"/>
              <a:gd name="connsiteY956" fmla="*/ 7456109 h 7458372"/>
              <a:gd name="connsiteX957" fmla="*/ 5253160 w 10505529"/>
              <a:gd name="connsiteY957" fmla="*/ 7458372 h 7458372"/>
              <a:gd name="connsiteX958" fmla="*/ 5231328 w 10505529"/>
              <a:gd name="connsiteY958" fmla="*/ 7449852 h 7458372"/>
              <a:gd name="connsiteX959" fmla="*/ 5222942 w 10505529"/>
              <a:gd name="connsiteY959" fmla="*/ 7428687 h 7458372"/>
              <a:gd name="connsiteX960" fmla="*/ 5231328 w 10505529"/>
              <a:gd name="connsiteY960" fmla="*/ 7407654 h 7458372"/>
              <a:gd name="connsiteX961" fmla="*/ 5253160 w 10505529"/>
              <a:gd name="connsiteY961" fmla="*/ 7399134 h 7458372"/>
              <a:gd name="connsiteX962" fmla="*/ 5035515 w 10505529"/>
              <a:gd name="connsiteY962" fmla="*/ 7399134 h 7458372"/>
              <a:gd name="connsiteX963" fmla="*/ 5047230 w 10505529"/>
              <a:gd name="connsiteY963" fmla="*/ 7401530 h 7458372"/>
              <a:gd name="connsiteX964" fmla="*/ 5056548 w 10505529"/>
              <a:gd name="connsiteY964" fmla="*/ 7407787 h 7458372"/>
              <a:gd name="connsiteX965" fmla="*/ 5062671 w 10505529"/>
              <a:gd name="connsiteY965" fmla="*/ 7417239 h 7458372"/>
              <a:gd name="connsiteX966" fmla="*/ 5064934 w 10505529"/>
              <a:gd name="connsiteY966" fmla="*/ 7428687 h 7458372"/>
              <a:gd name="connsiteX967" fmla="*/ 5062671 w 10505529"/>
              <a:gd name="connsiteY967" fmla="*/ 7440402 h 7458372"/>
              <a:gd name="connsiteX968" fmla="*/ 5056548 w 10505529"/>
              <a:gd name="connsiteY968" fmla="*/ 7449852 h 7458372"/>
              <a:gd name="connsiteX969" fmla="*/ 5047230 w 10505529"/>
              <a:gd name="connsiteY969" fmla="*/ 7456109 h 7458372"/>
              <a:gd name="connsiteX970" fmla="*/ 5035515 w 10505529"/>
              <a:gd name="connsiteY970" fmla="*/ 7458372 h 7458372"/>
              <a:gd name="connsiteX971" fmla="*/ 5013683 w 10505529"/>
              <a:gd name="connsiteY971" fmla="*/ 7449852 h 7458372"/>
              <a:gd name="connsiteX972" fmla="*/ 5005297 w 10505529"/>
              <a:gd name="connsiteY972" fmla="*/ 7428687 h 7458372"/>
              <a:gd name="connsiteX973" fmla="*/ 5013683 w 10505529"/>
              <a:gd name="connsiteY973" fmla="*/ 7407654 h 7458372"/>
              <a:gd name="connsiteX974" fmla="*/ 5035515 w 10505529"/>
              <a:gd name="connsiteY974" fmla="*/ 7399134 h 7458372"/>
              <a:gd name="connsiteX975" fmla="*/ 4817870 w 10505529"/>
              <a:gd name="connsiteY975" fmla="*/ 7399134 h 7458372"/>
              <a:gd name="connsiteX976" fmla="*/ 4829585 w 10505529"/>
              <a:gd name="connsiteY976" fmla="*/ 7401530 h 7458372"/>
              <a:gd name="connsiteX977" fmla="*/ 4838903 w 10505529"/>
              <a:gd name="connsiteY977" fmla="*/ 7407787 h 7458372"/>
              <a:gd name="connsiteX978" fmla="*/ 4845026 w 10505529"/>
              <a:gd name="connsiteY978" fmla="*/ 7417239 h 7458372"/>
              <a:gd name="connsiteX979" fmla="*/ 4847289 w 10505529"/>
              <a:gd name="connsiteY979" fmla="*/ 7428687 h 7458372"/>
              <a:gd name="connsiteX980" fmla="*/ 4845026 w 10505529"/>
              <a:gd name="connsiteY980" fmla="*/ 7440402 h 7458372"/>
              <a:gd name="connsiteX981" fmla="*/ 4838903 w 10505529"/>
              <a:gd name="connsiteY981" fmla="*/ 7449852 h 7458372"/>
              <a:gd name="connsiteX982" fmla="*/ 4829585 w 10505529"/>
              <a:gd name="connsiteY982" fmla="*/ 7456109 h 7458372"/>
              <a:gd name="connsiteX983" fmla="*/ 4817870 w 10505529"/>
              <a:gd name="connsiteY983" fmla="*/ 7458372 h 7458372"/>
              <a:gd name="connsiteX984" fmla="*/ 4796038 w 10505529"/>
              <a:gd name="connsiteY984" fmla="*/ 7449852 h 7458372"/>
              <a:gd name="connsiteX985" fmla="*/ 4787652 w 10505529"/>
              <a:gd name="connsiteY985" fmla="*/ 7428687 h 7458372"/>
              <a:gd name="connsiteX986" fmla="*/ 4796038 w 10505529"/>
              <a:gd name="connsiteY986" fmla="*/ 7407654 h 7458372"/>
              <a:gd name="connsiteX987" fmla="*/ 4817870 w 10505529"/>
              <a:gd name="connsiteY987" fmla="*/ 7399134 h 7458372"/>
              <a:gd name="connsiteX988" fmla="*/ 4600226 w 10505529"/>
              <a:gd name="connsiteY988" fmla="*/ 7399134 h 7458372"/>
              <a:gd name="connsiteX989" fmla="*/ 4612073 w 10505529"/>
              <a:gd name="connsiteY989" fmla="*/ 7401530 h 7458372"/>
              <a:gd name="connsiteX990" fmla="*/ 4621391 w 10505529"/>
              <a:gd name="connsiteY990" fmla="*/ 7407787 h 7458372"/>
              <a:gd name="connsiteX991" fmla="*/ 4627514 w 10505529"/>
              <a:gd name="connsiteY991" fmla="*/ 7417239 h 7458372"/>
              <a:gd name="connsiteX992" fmla="*/ 4629777 w 10505529"/>
              <a:gd name="connsiteY992" fmla="*/ 7428687 h 7458372"/>
              <a:gd name="connsiteX993" fmla="*/ 4627514 w 10505529"/>
              <a:gd name="connsiteY993" fmla="*/ 7440402 h 7458372"/>
              <a:gd name="connsiteX994" fmla="*/ 4621391 w 10505529"/>
              <a:gd name="connsiteY994" fmla="*/ 7449852 h 7458372"/>
              <a:gd name="connsiteX995" fmla="*/ 4612073 w 10505529"/>
              <a:gd name="connsiteY995" fmla="*/ 7456109 h 7458372"/>
              <a:gd name="connsiteX996" fmla="*/ 4600226 w 10505529"/>
              <a:gd name="connsiteY996" fmla="*/ 7458372 h 7458372"/>
              <a:gd name="connsiteX997" fmla="*/ 4578393 w 10505529"/>
              <a:gd name="connsiteY997" fmla="*/ 7449852 h 7458372"/>
              <a:gd name="connsiteX998" fmla="*/ 4570007 w 10505529"/>
              <a:gd name="connsiteY998" fmla="*/ 7428687 h 7458372"/>
              <a:gd name="connsiteX999" fmla="*/ 4578393 w 10505529"/>
              <a:gd name="connsiteY999" fmla="*/ 7407654 h 7458372"/>
              <a:gd name="connsiteX1000" fmla="*/ 4600226 w 10505529"/>
              <a:gd name="connsiteY1000" fmla="*/ 7399134 h 7458372"/>
              <a:gd name="connsiteX1001" fmla="*/ 4382713 w 10505529"/>
              <a:gd name="connsiteY1001" fmla="*/ 7399134 h 7458372"/>
              <a:gd name="connsiteX1002" fmla="*/ 4394428 w 10505529"/>
              <a:gd name="connsiteY1002" fmla="*/ 7401530 h 7458372"/>
              <a:gd name="connsiteX1003" fmla="*/ 4403746 w 10505529"/>
              <a:gd name="connsiteY1003" fmla="*/ 7407787 h 7458372"/>
              <a:gd name="connsiteX1004" fmla="*/ 4409869 w 10505529"/>
              <a:gd name="connsiteY1004" fmla="*/ 7417239 h 7458372"/>
              <a:gd name="connsiteX1005" fmla="*/ 4412132 w 10505529"/>
              <a:gd name="connsiteY1005" fmla="*/ 7428687 h 7458372"/>
              <a:gd name="connsiteX1006" fmla="*/ 4409869 w 10505529"/>
              <a:gd name="connsiteY1006" fmla="*/ 7440402 h 7458372"/>
              <a:gd name="connsiteX1007" fmla="*/ 4403746 w 10505529"/>
              <a:gd name="connsiteY1007" fmla="*/ 7449852 h 7458372"/>
              <a:gd name="connsiteX1008" fmla="*/ 4394428 w 10505529"/>
              <a:gd name="connsiteY1008" fmla="*/ 7456109 h 7458372"/>
              <a:gd name="connsiteX1009" fmla="*/ 4382713 w 10505529"/>
              <a:gd name="connsiteY1009" fmla="*/ 7458372 h 7458372"/>
              <a:gd name="connsiteX1010" fmla="*/ 4360881 w 10505529"/>
              <a:gd name="connsiteY1010" fmla="*/ 7449852 h 7458372"/>
              <a:gd name="connsiteX1011" fmla="*/ 4352495 w 10505529"/>
              <a:gd name="connsiteY1011" fmla="*/ 7428687 h 7458372"/>
              <a:gd name="connsiteX1012" fmla="*/ 4360881 w 10505529"/>
              <a:gd name="connsiteY1012" fmla="*/ 7407654 h 7458372"/>
              <a:gd name="connsiteX1013" fmla="*/ 4382713 w 10505529"/>
              <a:gd name="connsiteY1013" fmla="*/ 7399134 h 7458372"/>
              <a:gd name="connsiteX1014" fmla="*/ 4165068 w 10505529"/>
              <a:gd name="connsiteY1014" fmla="*/ 7399134 h 7458372"/>
              <a:gd name="connsiteX1015" fmla="*/ 4176782 w 10505529"/>
              <a:gd name="connsiteY1015" fmla="*/ 7401530 h 7458372"/>
              <a:gd name="connsiteX1016" fmla="*/ 4186100 w 10505529"/>
              <a:gd name="connsiteY1016" fmla="*/ 7407787 h 7458372"/>
              <a:gd name="connsiteX1017" fmla="*/ 4192223 w 10505529"/>
              <a:gd name="connsiteY1017" fmla="*/ 7417239 h 7458372"/>
              <a:gd name="connsiteX1018" fmla="*/ 4194486 w 10505529"/>
              <a:gd name="connsiteY1018" fmla="*/ 7428687 h 7458372"/>
              <a:gd name="connsiteX1019" fmla="*/ 4192223 w 10505529"/>
              <a:gd name="connsiteY1019" fmla="*/ 7440402 h 7458372"/>
              <a:gd name="connsiteX1020" fmla="*/ 4186100 w 10505529"/>
              <a:gd name="connsiteY1020" fmla="*/ 7449852 h 7458372"/>
              <a:gd name="connsiteX1021" fmla="*/ 4176782 w 10505529"/>
              <a:gd name="connsiteY1021" fmla="*/ 7456109 h 7458372"/>
              <a:gd name="connsiteX1022" fmla="*/ 4165068 w 10505529"/>
              <a:gd name="connsiteY1022" fmla="*/ 7458372 h 7458372"/>
              <a:gd name="connsiteX1023" fmla="*/ 4143235 w 10505529"/>
              <a:gd name="connsiteY1023" fmla="*/ 7449852 h 7458372"/>
              <a:gd name="connsiteX1024" fmla="*/ 4134849 w 10505529"/>
              <a:gd name="connsiteY1024" fmla="*/ 7428687 h 7458372"/>
              <a:gd name="connsiteX1025" fmla="*/ 4143235 w 10505529"/>
              <a:gd name="connsiteY1025" fmla="*/ 7407654 h 7458372"/>
              <a:gd name="connsiteX1026" fmla="*/ 4165068 w 10505529"/>
              <a:gd name="connsiteY1026" fmla="*/ 7399134 h 7458372"/>
              <a:gd name="connsiteX1027" fmla="*/ 3947819 w 10505529"/>
              <a:gd name="connsiteY1027" fmla="*/ 7399134 h 7458372"/>
              <a:gd name="connsiteX1028" fmla="*/ 3959539 w 10505529"/>
              <a:gd name="connsiteY1028" fmla="*/ 7401530 h 7458372"/>
              <a:gd name="connsiteX1029" fmla="*/ 3968857 w 10505529"/>
              <a:gd name="connsiteY1029" fmla="*/ 7407787 h 7458372"/>
              <a:gd name="connsiteX1030" fmla="*/ 3974981 w 10505529"/>
              <a:gd name="connsiteY1030" fmla="*/ 7417239 h 7458372"/>
              <a:gd name="connsiteX1031" fmla="*/ 3977244 w 10505529"/>
              <a:gd name="connsiteY1031" fmla="*/ 7428687 h 7458372"/>
              <a:gd name="connsiteX1032" fmla="*/ 3974981 w 10505529"/>
              <a:gd name="connsiteY1032" fmla="*/ 7440402 h 7458372"/>
              <a:gd name="connsiteX1033" fmla="*/ 3968857 w 10505529"/>
              <a:gd name="connsiteY1033" fmla="*/ 7449852 h 7458372"/>
              <a:gd name="connsiteX1034" fmla="*/ 3959539 w 10505529"/>
              <a:gd name="connsiteY1034" fmla="*/ 7456109 h 7458372"/>
              <a:gd name="connsiteX1035" fmla="*/ 3947819 w 10505529"/>
              <a:gd name="connsiteY1035" fmla="*/ 7458372 h 7458372"/>
              <a:gd name="connsiteX1036" fmla="*/ 3925988 w 10505529"/>
              <a:gd name="connsiteY1036" fmla="*/ 7449852 h 7458372"/>
              <a:gd name="connsiteX1037" fmla="*/ 3917601 w 10505529"/>
              <a:gd name="connsiteY1037" fmla="*/ 7428687 h 7458372"/>
              <a:gd name="connsiteX1038" fmla="*/ 3925988 w 10505529"/>
              <a:gd name="connsiteY1038" fmla="*/ 7407654 h 7458372"/>
              <a:gd name="connsiteX1039" fmla="*/ 3947819 w 10505529"/>
              <a:gd name="connsiteY1039" fmla="*/ 7399134 h 7458372"/>
              <a:gd name="connsiteX1040" fmla="*/ 3730157 w 10505529"/>
              <a:gd name="connsiteY1040" fmla="*/ 7399134 h 7458372"/>
              <a:gd name="connsiteX1041" fmla="*/ 3741874 w 10505529"/>
              <a:gd name="connsiteY1041" fmla="*/ 7401530 h 7458372"/>
              <a:gd name="connsiteX1042" fmla="*/ 3751192 w 10505529"/>
              <a:gd name="connsiteY1042" fmla="*/ 7407787 h 7458372"/>
              <a:gd name="connsiteX1043" fmla="*/ 3757314 w 10505529"/>
              <a:gd name="connsiteY1043" fmla="*/ 7417239 h 7458372"/>
              <a:gd name="connsiteX1044" fmla="*/ 3759578 w 10505529"/>
              <a:gd name="connsiteY1044" fmla="*/ 7428687 h 7458372"/>
              <a:gd name="connsiteX1045" fmla="*/ 3757314 w 10505529"/>
              <a:gd name="connsiteY1045" fmla="*/ 7440402 h 7458372"/>
              <a:gd name="connsiteX1046" fmla="*/ 3751192 w 10505529"/>
              <a:gd name="connsiteY1046" fmla="*/ 7449852 h 7458372"/>
              <a:gd name="connsiteX1047" fmla="*/ 3741874 w 10505529"/>
              <a:gd name="connsiteY1047" fmla="*/ 7456109 h 7458372"/>
              <a:gd name="connsiteX1048" fmla="*/ 3730157 w 10505529"/>
              <a:gd name="connsiteY1048" fmla="*/ 7458372 h 7458372"/>
              <a:gd name="connsiteX1049" fmla="*/ 3708314 w 10505529"/>
              <a:gd name="connsiteY1049" fmla="*/ 7449852 h 7458372"/>
              <a:gd name="connsiteX1050" fmla="*/ 3699927 w 10505529"/>
              <a:gd name="connsiteY1050" fmla="*/ 7428687 h 7458372"/>
              <a:gd name="connsiteX1051" fmla="*/ 3708314 w 10505529"/>
              <a:gd name="connsiteY1051" fmla="*/ 7407654 h 7458372"/>
              <a:gd name="connsiteX1052" fmla="*/ 3730157 w 10505529"/>
              <a:gd name="connsiteY1052" fmla="*/ 7399134 h 7458372"/>
              <a:gd name="connsiteX1053" fmla="*/ 3512490 w 10505529"/>
              <a:gd name="connsiteY1053" fmla="*/ 7399134 h 7458372"/>
              <a:gd name="connsiteX1054" fmla="*/ 3524207 w 10505529"/>
              <a:gd name="connsiteY1054" fmla="*/ 7401530 h 7458372"/>
              <a:gd name="connsiteX1055" fmla="*/ 3533526 w 10505529"/>
              <a:gd name="connsiteY1055" fmla="*/ 7407787 h 7458372"/>
              <a:gd name="connsiteX1056" fmla="*/ 3539648 w 10505529"/>
              <a:gd name="connsiteY1056" fmla="*/ 7417239 h 7458372"/>
              <a:gd name="connsiteX1057" fmla="*/ 3541912 w 10505529"/>
              <a:gd name="connsiteY1057" fmla="*/ 7428687 h 7458372"/>
              <a:gd name="connsiteX1058" fmla="*/ 3539648 w 10505529"/>
              <a:gd name="connsiteY1058" fmla="*/ 7440402 h 7458372"/>
              <a:gd name="connsiteX1059" fmla="*/ 3533526 w 10505529"/>
              <a:gd name="connsiteY1059" fmla="*/ 7449852 h 7458372"/>
              <a:gd name="connsiteX1060" fmla="*/ 3524207 w 10505529"/>
              <a:gd name="connsiteY1060" fmla="*/ 7456109 h 7458372"/>
              <a:gd name="connsiteX1061" fmla="*/ 3512490 w 10505529"/>
              <a:gd name="connsiteY1061" fmla="*/ 7458372 h 7458372"/>
              <a:gd name="connsiteX1062" fmla="*/ 3490654 w 10505529"/>
              <a:gd name="connsiteY1062" fmla="*/ 7449852 h 7458372"/>
              <a:gd name="connsiteX1063" fmla="*/ 3482266 w 10505529"/>
              <a:gd name="connsiteY1063" fmla="*/ 7428687 h 7458372"/>
              <a:gd name="connsiteX1064" fmla="*/ 3490654 w 10505529"/>
              <a:gd name="connsiteY1064" fmla="*/ 7407654 h 7458372"/>
              <a:gd name="connsiteX1065" fmla="*/ 3512490 w 10505529"/>
              <a:gd name="connsiteY1065" fmla="*/ 7399134 h 7458372"/>
              <a:gd name="connsiteX1066" fmla="*/ 3294959 w 10505529"/>
              <a:gd name="connsiteY1066" fmla="*/ 7399134 h 7458372"/>
              <a:gd name="connsiteX1067" fmla="*/ 3306674 w 10505529"/>
              <a:gd name="connsiteY1067" fmla="*/ 7401530 h 7458372"/>
              <a:gd name="connsiteX1068" fmla="*/ 3315992 w 10505529"/>
              <a:gd name="connsiteY1068" fmla="*/ 7407787 h 7458372"/>
              <a:gd name="connsiteX1069" fmla="*/ 3322116 w 10505529"/>
              <a:gd name="connsiteY1069" fmla="*/ 7417239 h 7458372"/>
              <a:gd name="connsiteX1070" fmla="*/ 3324377 w 10505529"/>
              <a:gd name="connsiteY1070" fmla="*/ 7428687 h 7458372"/>
              <a:gd name="connsiteX1071" fmla="*/ 3322116 w 10505529"/>
              <a:gd name="connsiteY1071" fmla="*/ 7440402 h 7458372"/>
              <a:gd name="connsiteX1072" fmla="*/ 3315992 w 10505529"/>
              <a:gd name="connsiteY1072" fmla="*/ 7449852 h 7458372"/>
              <a:gd name="connsiteX1073" fmla="*/ 3306674 w 10505529"/>
              <a:gd name="connsiteY1073" fmla="*/ 7456109 h 7458372"/>
              <a:gd name="connsiteX1074" fmla="*/ 3294959 w 10505529"/>
              <a:gd name="connsiteY1074" fmla="*/ 7458372 h 7458372"/>
              <a:gd name="connsiteX1075" fmla="*/ 3273121 w 10505529"/>
              <a:gd name="connsiteY1075" fmla="*/ 7449852 h 7458372"/>
              <a:gd name="connsiteX1076" fmla="*/ 3264731 w 10505529"/>
              <a:gd name="connsiteY1076" fmla="*/ 7428687 h 7458372"/>
              <a:gd name="connsiteX1077" fmla="*/ 3273121 w 10505529"/>
              <a:gd name="connsiteY1077" fmla="*/ 7407654 h 7458372"/>
              <a:gd name="connsiteX1078" fmla="*/ 3294959 w 10505529"/>
              <a:gd name="connsiteY1078" fmla="*/ 7399134 h 7458372"/>
              <a:gd name="connsiteX1079" fmla="*/ 3077293 w 10505529"/>
              <a:gd name="connsiteY1079" fmla="*/ 7399134 h 7458372"/>
              <a:gd name="connsiteX1080" fmla="*/ 3089008 w 10505529"/>
              <a:gd name="connsiteY1080" fmla="*/ 7401530 h 7458372"/>
              <a:gd name="connsiteX1081" fmla="*/ 3098326 w 10505529"/>
              <a:gd name="connsiteY1081" fmla="*/ 7407787 h 7458372"/>
              <a:gd name="connsiteX1082" fmla="*/ 3104449 w 10505529"/>
              <a:gd name="connsiteY1082" fmla="*/ 7417239 h 7458372"/>
              <a:gd name="connsiteX1083" fmla="*/ 3106713 w 10505529"/>
              <a:gd name="connsiteY1083" fmla="*/ 7428687 h 7458372"/>
              <a:gd name="connsiteX1084" fmla="*/ 3104449 w 10505529"/>
              <a:gd name="connsiteY1084" fmla="*/ 7440402 h 7458372"/>
              <a:gd name="connsiteX1085" fmla="*/ 3098326 w 10505529"/>
              <a:gd name="connsiteY1085" fmla="*/ 7449852 h 7458372"/>
              <a:gd name="connsiteX1086" fmla="*/ 3089008 w 10505529"/>
              <a:gd name="connsiteY1086" fmla="*/ 7456109 h 7458372"/>
              <a:gd name="connsiteX1087" fmla="*/ 3077293 w 10505529"/>
              <a:gd name="connsiteY1087" fmla="*/ 7458372 h 7458372"/>
              <a:gd name="connsiteX1088" fmla="*/ 3055452 w 10505529"/>
              <a:gd name="connsiteY1088" fmla="*/ 7449852 h 7458372"/>
              <a:gd name="connsiteX1089" fmla="*/ 3047067 w 10505529"/>
              <a:gd name="connsiteY1089" fmla="*/ 7428687 h 7458372"/>
              <a:gd name="connsiteX1090" fmla="*/ 3055452 w 10505529"/>
              <a:gd name="connsiteY1090" fmla="*/ 7407654 h 7458372"/>
              <a:gd name="connsiteX1091" fmla="*/ 3077293 w 10505529"/>
              <a:gd name="connsiteY1091" fmla="*/ 7399134 h 7458372"/>
              <a:gd name="connsiteX1092" fmla="*/ 2859628 w 10505529"/>
              <a:gd name="connsiteY1092" fmla="*/ 7399134 h 7458372"/>
              <a:gd name="connsiteX1093" fmla="*/ 2871477 w 10505529"/>
              <a:gd name="connsiteY1093" fmla="*/ 7401530 h 7458372"/>
              <a:gd name="connsiteX1094" fmla="*/ 2880793 w 10505529"/>
              <a:gd name="connsiteY1094" fmla="*/ 7407787 h 7458372"/>
              <a:gd name="connsiteX1095" fmla="*/ 2886917 w 10505529"/>
              <a:gd name="connsiteY1095" fmla="*/ 7417239 h 7458372"/>
              <a:gd name="connsiteX1096" fmla="*/ 2889179 w 10505529"/>
              <a:gd name="connsiteY1096" fmla="*/ 7428687 h 7458372"/>
              <a:gd name="connsiteX1097" fmla="*/ 2886917 w 10505529"/>
              <a:gd name="connsiteY1097" fmla="*/ 7440402 h 7458372"/>
              <a:gd name="connsiteX1098" fmla="*/ 2880793 w 10505529"/>
              <a:gd name="connsiteY1098" fmla="*/ 7449852 h 7458372"/>
              <a:gd name="connsiteX1099" fmla="*/ 2871477 w 10505529"/>
              <a:gd name="connsiteY1099" fmla="*/ 7456109 h 7458372"/>
              <a:gd name="connsiteX1100" fmla="*/ 2859628 w 10505529"/>
              <a:gd name="connsiteY1100" fmla="*/ 7458372 h 7458372"/>
              <a:gd name="connsiteX1101" fmla="*/ 2837788 w 10505529"/>
              <a:gd name="connsiteY1101" fmla="*/ 7449852 h 7458372"/>
              <a:gd name="connsiteX1102" fmla="*/ 2829398 w 10505529"/>
              <a:gd name="connsiteY1102" fmla="*/ 7428687 h 7458372"/>
              <a:gd name="connsiteX1103" fmla="*/ 2837788 w 10505529"/>
              <a:gd name="connsiteY1103" fmla="*/ 7407654 h 7458372"/>
              <a:gd name="connsiteX1104" fmla="*/ 2859628 w 10505529"/>
              <a:gd name="connsiteY1104" fmla="*/ 7399134 h 7458372"/>
              <a:gd name="connsiteX1105" fmla="*/ 2641962 w 10505529"/>
              <a:gd name="connsiteY1105" fmla="*/ 7399134 h 7458372"/>
              <a:gd name="connsiteX1106" fmla="*/ 2653677 w 10505529"/>
              <a:gd name="connsiteY1106" fmla="*/ 7401530 h 7458372"/>
              <a:gd name="connsiteX1107" fmla="*/ 2662995 w 10505529"/>
              <a:gd name="connsiteY1107" fmla="*/ 7407787 h 7458372"/>
              <a:gd name="connsiteX1108" fmla="*/ 2669117 w 10505529"/>
              <a:gd name="connsiteY1108" fmla="*/ 7417239 h 7458372"/>
              <a:gd name="connsiteX1109" fmla="*/ 2671381 w 10505529"/>
              <a:gd name="connsiteY1109" fmla="*/ 7428687 h 7458372"/>
              <a:gd name="connsiteX1110" fmla="*/ 2669117 w 10505529"/>
              <a:gd name="connsiteY1110" fmla="*/ 7440402 h 7458372"/>
              <a:gd name="connsiteX1111" fmla="*/ 2662995 w 10505529"/>
              <a:gd name="connsiteY1111" fmla="*/ 7449852 h 7458372"/>
              <a:gd name="connsiteX1112" fmla="*/ 2653677 w 10505529"/>
              <a:gd name="connsiteY1112" fmla="*/ 7456109 h 7458372"/>
              <a:gd name="connsiteX1113" fmla="*/ 2641962 w 10505529"/>
              <a:gd name="connsiteY1113" fmla="*/ 7458372 h 7458372"/>
              <a:gd name="connsiteX1114" fmla="*/ 2620127 w 10505529"/>
              <a:gd name="connsiteY1114" fmla="*/ 7449852 h 7458372"/>
              <a:gd name="connsiteX1115" fmla="*/ 2611735 w 10505529"/>
              <a:gd name="connsiteY1115" fmla="*/ 7428687 h 7458372"/>
              <a:gd name="connsiteX1116" fmla="*/ 2620127 w 10505529"/>
              <a:gd name="connsiteY1116" fmla="*/ 7407654 h 7458372"/>
              <a:gd name="connsiteX1117" fmla="*/ 2641962 w 10505529"/>
              <a:gd name="connsiteY1117" fmla="*/ 7399134 h 7458372"/>
              <a:gd name="connsiteX1118" fmla="*/ 2424294 w 10505529"/>
              <a:gd name="connsiteY1118" fmla="*/ 7399134 h 7458372"/>
              <a:gd name="connsiteX1119" fmla="*/ 2436011 w 10505529"/>
              <a:gd name="connsiteY1119" fmla="*/ 7401530 h 7458372"/>
              <a:gd name="connsiteX1120" fmla="*/ 2445329 w 10505529"/>
              <a:gd name="connsiteY1120" fmla="*/ 7407787 h 7458372"/>
              <a:gd name="connsiteX1121" fmla="*/ 2451451 w 10505529"/>
              <a:gd name="connsiteY1121" fmla="*/ 7417239 h 7458372"/>
              <a:gd name="connsiteX1122" fmla="*/ 2453715 w 10505529"/>
              <a:gd name="connsiteY1122" fmla="*/ 7428687 h 7458372"/>
              <a:gd name="connsiteX1123" fmla="*/ 2451451 w 10505529"/>
              <a:gd name="connsiteY1123" fmla="*/ 7440402 h 7458372"/>
              <a:gd name="connsiteX1124" fmla="*/ 2445329 w 10505529"/>
              <a:gd name="connsiteY1124" fmla="*/ 7449852 h 7458372"/>
              <a:gd name="connsiteX1125" fmla="*/ 2436011 w 10505529"/>
              <a:gd name="connsiteY1125" fmla="*/ 7456109 h 7458372"/>
              <a:gd name="connsiteX1126" fmla="*/ 2424294 w 10505529"/>
              <a:gd name="connsiteY1126" fmla="*/ 7458372 h 7458372"/>
              <a:gd name="connsiteX1127" fmla="*/ 2402462 w 10505529"/>
              <a:gd name="connsiteY1127" fmla="*/ 7449852 h 7458372"/>
              <a:gd name="connsiteX1128" fmla="*/ 2394072 w 10505529"/>
              <a:gd name="connsiteY1128" fmla="*/ 7428687 h 7458372"/>
              <a:gd name="connsiteX1129" fmla="*/ 2402462 w 10505529"/>
              <a:gd name="connsiteY1129" fmla="*/ 7407654 h 7458372"/>
              <a:gd name="connsiteX1130" fmla="*/ 2424294 w 10505529"/>
              <a:gd name="connsiteY1130" fmla="*/ 7399134 h 7458372"/>
              <a:gd name="connsiteX1131" fmla="*/ 2206629 w 10505529"/>
              <a:gd name="connsiteY1131" fmla="*/ 7399134 h 7458372"/>
              <a:gd name="connsiteX1132" fmla="*/ 2218344 w 10505529"/>
              <a:gd name="connsiteY1132" fmla="*/ 7401530 h 7458372"/>
              <a:gd name="connsiteX1133" fmla="*/ 2227663 w 10505529"/>
              <a:gd name="connsiteY1133" fmla="*/ 7407787 h 7458372"/>
              <a:gd name="connsiteX1134" fmla="*/ 2233786 w 10505529"/>
              <a:gd name="connsiteY1134" fmla="*/ 7417239 h 7458372"/>
              <a:gd name="connsiteX1135" fmla="*/ 2236050 w 10505529"/>
              <a:gd name="connsiteY1135" fmla="*/ 7428687 h 7458372"/>
              <a:gd name="connsiteX1136" fmla="*/ 2233786 w 10505529"/>
              <a:gd name="connsiteY1136" fmla="*/ 7440402 h 7458372"/>
              <a:gd name="connsiteX1137" fmla="*/ 2227663 w 10505529"/>
              <a:gd name="connsiteY1137" fmla="*/ 7449852 h 7458372"/>
              <a:gd name="connsiteX1138" fmla="*/ 2218344 w 10505529"/>
              <a:gd name="connsiteY1138" fmla="*/ 7456109 h 7458372"/>
              <a:gd name="connsiteX1139" fmla="*/ 2206629 w 10505529"/>
              <a:gd name="connsiteY1139" fmla="*/ 7458372 h 7458372"/>
              <a:gd name="connsiteX1140" fmla="*/ 2184796 w 10505529"/>
              <a:gd name="connsiteY1140" fmla="*/ 7449852 h 7458372"/>
              <a:gd name="connsiteX1141" fmla="*/ 2176408 w 10505529"/>
              <a:gd name="connsiteY1141" fmla="*/ 7428687 h 7458372"/>
              <a:gd name="connsiteX1142" fmla="*/ 2184796 w 10505529"/>
              <a:gd name="connsiteY1142" fmla="*/ 7407654 h 7458372"/>
              <a:gd name="connsiteX1143" fmla="*/ 2206629 w 10505529"/>
              <a:gd name="connsiteY1143" fmla="*/ 7399134 h 7458372"/>
              <a:gd name="connsiteX1144" fmla="*/ 1989097 w 10505529"/>
              <a:gd name="connsiteY1144" fmla="*/ 7399134 h 7458372"/>
              <a:gd name="connsiteX1145" fmla="*/ 2000811 w 10505529"/>
              <a:gd name="connsiteY1145" fmla="*/ 7401530 h 7458372"/>
              <a:gd name="connsiteX1146" fmla="*/ 2010130 w 10505529"/>
              <a:gd name="connsiteY1146" fmla="*/ 7407787 h 7458372"/>
              <a:gd name="connsiteX1147" fmla="*/ 2016252 w 10505529"/>
              <a:gd name="connsiteY1147" fmla="*/ 7417239 h 7458372"/>
              <a:gd name="connsiteX1148" fmla="*/ 2018515 w 10505529"/>
              <a:gd name="connsiteY1148" fmla="*/ 7428687 h 7458372"/>
              <a:gd name="connsiteX1149" fmla="*/ 2016252 w 10505529"/>
              <a:gd name="connsiteY1149" fmla="*/ 7440402 h 7458372"/>
              <a:gd name="connsiteX1150" fmla="*/ 2010130 w 10505529"/>
              <a:gd name="connsiteY1150" fmla="*/ 7449852 h 7458372"/>
              <a:gd name="connsiteX1151" fmla="*/ 2000811 w 10505529"/>
              <a:gd name="connsiteY1151" fmla="*/ 7456109 h 7458372"/>
              <a:gd name="connsiteX1152" fmla="*/ 1989097 w 10505529"/>
              <a:gd name="connsiteY1152" fmla="*/ 7458372 h 7458372"/>
              <a:gd name="connsiteX1153" fmla="*/ 1967266 w 10505529"/>
              <a:gd name="connsiteY1153" fmla="*/ 7449852 h 7458372"/>
              <a:gd name="connsiteX1154" fmla="*/ 1958880 w 10505529"/>
              <a:gd name="connsiteY1154" fmla="*/ 7428687 h 7458372"/>
              <a:gd name="connsiteX1155" fmla="*/ 1967266 w 10505529"/>
              <a:gd name="connsiteY1155" fmla="*/ 7407654 h 7458372"/>
              <a:gd name="connsiteX1156" fmla="*/ 1989097 w 10505529"/>
              <a:gd name="connsiteY1156" fmla="*/ 7399134 h 7458372"/>
              <a:gd name="connsiteX1157" fmla="*/ 1771467 w 10505529"/>
              <a:gd name="connsiteY1157" fmla="*/ 7399134 h 7458372"/>
              <a:gd name="connsiteX1158" fmla="*/ 1783180 w 10505529"/>
              <a:gd name="connsiteY1158" fmla="*/ 7401530 h 7458372"/>
              <a:gd name="connsiteX1159" fmla="*/ 1792498 w 10505529"/>
              <a:gd name="connsiteY1159" fmla="*/ 7407787 h 7458372"/>
              <a:gd name="connsiteX1160" fmla="*/ 1798621 w 10505529"/>
              <a:gd name="connsiteY1160" fmla="*/ 7417239 h 7458372"/>
              <a:gd name="connsiteX1161" fmla="*/ 1800883 w 10505529"/>
              <a:gd name="connsiteY1161" fmla="*/ 7428687 h 7458372"/>
              <a:gd name="connsiteX1162" fmla="*/ 1798621 w 10505529"/>
              <a:gd name="connsiteY1162" fmla="*/ 7440402 h 7458372"/>
              <a:gd name="connsiteX1163" fmla="*/ 1792498 w 10505529"/>
              <a:gd name="connsiteY1163" fmla="*/ 7449852 h 7458372"/>
              <a:gd name="connsiteX1164" fmla="*/ 1783180 w 10505529"/>
              <a:gd name="connsiteY1164" fmla="*/ 7456109 h 7458372"/>
              <a:gd name="connsiteX1165" fmla="*/ 1771467 w 10505529"/>
              <a:gd name="connsiteY1165" fmla="*/ 7458372 h 7458372"/>
              <a:gd name="connsiteX1166" fmla="*/ 1749638 w 10505529"/>
              <a:gd name="connsiteY1166" fmla="*/ 7449852 h 7458372"/>
              <a:gd name="connsiteX1167" fmla="*/ 1741255 w 10505529"/>
              <a:gd name="connsiteY1167" fmla="*/ 7428687 h 7458372"/>
              <a:gd name="connsiteX1168" fmla="*/ 1749638 w 10505529"/>
              <a:gd name="connsiteY1168" fmla="*/ 7407654 h 7458372"/>
              <a:gd name="connsiteX1169" fmla="*/ 1771467 w 10505529"/>
              <a:gd name="connsiteY1169" fmla="*/ 7399134 h 7458372"/>
              <a:gd name="connsiteX1170" fmla="*/ 1553833 w 10505529"/>
              <a:gd name="connsiteY1170" fmla="*/ 7399134 h 7458372"/>
              <a:gd name="connsiteX1171" fmla="*/ 1565547 w 10505529"/>
              <a:gd name="connsiteY1171" fmla="*/ 7401530 h 7458372"/>
              <a:gd name="connsiteX1172" fmla="*/ 1574865 w 10505529"/>
              <a:gd name="connsiteY1172" fmla="*/ 7407787 h 7458372"/>
              <a:gd name="connsiteX1173" fmla="*/ 1580988 w 10505529"/>
              <a:gd name="connsiteY1173" fmla="*/ 7417239 h 7458372"/>
              <a:gd name="connsiteX1174" fmla="*/ 1583251 w 10505529"/>
              <a:gd name="connsiteY1174" fmla="*/ 7428687 h 7458372"/>
              <a:gd name="connsiteX1175" fmla="*/ 1580988 w 10505529"/>
              <a:gd name="connsiteY1175" fmla="*/ 7440402 h 7458372"/>
              <a:gd name="connsiteX1176" fmla="*/ 1574865 w 10505529"/>
              <a:gd name="connsiteY1176" fmla="*/ 7449852 h 7458372"/>
              <a:gd name="connsiteX1177" fmla="*/ 1565547 w 10505529"/>
              <a:gd name="connsiteY1177" fmla="*/ 7456109 h 7458372"/>
              <a:gd name="connsiteX1178" fmla="*/ 1553833 w 10505529"/>
              <a:gd name="connsiteY1178" fmla="*/ 7458372 h 7458372"/>
              <a:gd name="connsiteX1179" fmla="*/ 1532003 w 10505529"/>
              <a:gd name="connsiteY1179" fmla="*/ 7449852 h 7458372"/>
              <a:gd name="connsiteX1180" fmla="*/ 1523618 w 10505529"/>
              <a:gd name="connsiteY1180" fmla="*/ 7428687 h 7458372"/>
              <a:gd name="connsiteX1181" fmla="*/ 1532003 w 10505529"/>
              <a:gd name="connsiteY1181" fmla="*/ 7407654 h 7458372"/>
              <a:gd name="connsiteX1182" fmla="*/ 1553833 w 10505529"/>
              <a:gd name="connsiteY1182" fmla="*/ 7399134 h 7458372"/>
              <a:gd name="connsiteX1183" fmla="*/ 1336190 w 10505529"/>
              <a:gd name="connsiteY1183" fmla="*/ 7399134 h 7458372"/>
              <a:gd name="connsiteX1184" fmla="*/ 1347905 w 10505529"/>
              <a:gd name="connsiteY1184" fmla="*/ 7401530 h 7458372"/>
              <a:gd name="connsiteX1185" fmla="*/ 1357222 w 10505529"/>
              <a:gd name="connsiteY1185" fmla="*/ 7407787 h 7458372"/>
              <a:gd name="connsiteX1186" fmla="*/ 1363345 w 10505529"/>
              <a:gd name="connsiteY1186" fmla="*/ 7417239 h 7458372"/>
              <a:gd name="connsiteX1187" fmla="*/ 1365608 w 10505529"/>
              <a:gd name="connsiteY1187" fmla="*/ 7428687 h 7458372"/>
              <a:gd name="connsiteX1188" fmla="*/ 1363345 w 10505529"/>
              <a:gd name="connsiteY1188" fmla="*/ 7440402 h 7458372"/>
              <a:gd name="connsiteX1189" fmla="*/ 1357222 w 10505529"/>
              <a:gd name="connsiteY1189" fmla="*/ 7449852 h 7458372"/>
              <a:gd name="connsiteX1190" fmla="*/ 1347905 w 10505529"/>
              <a:gd name="connsiteY1190" fmla="*/ 7456109 h 7458372"/>
              <a:gd name="connsiteX1191" fmla="*/ 1336190 w 10505529"/>
              <a:gd name="connsiteY1191" fmla="*/ 7458372 h 7458372"/>
              <a:gd name="connsiteX1192" fmla="*/ 1314356 w 10505529"/>
              <a:gd name="connsiteY1192" fmla="*/ 7449852 h 7458372"/>
              <a:gd name="connsiteX1193" fmla="*/ 1305970 w 10505529"/>
              <a:gd name="connsiteY1193" fmla="*/ 7428687 h 7458372"/>
              <a:gd name="connsiteX1194" fmla="*/ 1314356 w 10505529"/>
              <a:gd name="connsiteY1194" fmla="*/ 7407654 h 7458372"/>
              <a:gd name="connsiteX1195" fmla="*/ 1336190 w 10505529"/>
              <a:gd name="connsiteY1195" fmla="*/ 7399134 h 7458372"/>
              <a:gd name="connsiteX1196" fmla="*/ 1118543 w 10505529"/>
              <a:gd name="connsiteY1196" fmla="*/ 7399134 h 7458372"/>
              <a:gd name="connsiteX1197" fmla="*/ 1130262 w 10505529"/>
              <a:gd name="connsiteY1197" fmla="*/ 7401530 h 7458372"/>
              <a:gd name="connsiteX1198" fmla="*/ 1139575 w 10505529"/>
              <a:gd name="connsiteY1198" fmla="*/ 7407787 h 7458372"/>
              <a:gd name="connsiteX1199" fmla="*/ 1145695 w 10505529"/>
              <a:gd name="connsiteY1199" fmla="*/ 7417239 h 7458372"/>
              <a:gd name="connsiteX1200" fmla="*/ 1147959 w 10505529"/>
              <a:gd name="connsiteY1200" fmla="*/ 7428687 h 7458372"/>
              <a:gd name="connsiteX1201" fmla="*/ 1145695 w 10505529"/>
              <a:gd name="connsiteY1201" fmla="*/ 7440402 h 7458372"/>
              <a:gd name="connsiteX1202" fmla="*/ 1139575 w 10505529"/>
              <a:gd name="connsiteY1202" fmla="*/ 7449852 h 7458372"/>
              <a:gd name="connsiteX1203" fmla="*/ 1130262 w 10505529"/>
              <a:gd name="connsiteY1203" fmla="*/ 7456109 h 7458372"/>
              <a:gd name="connsiteX1204" fmla="*/ 1118543 w 10505529"/>
              <a:gd name="connsiteY1204" fmla="*/ 7458372 h 7458372"/>
              <a:gd name="connsiteX1205" fmla="*/ 1096707 w 10505529"/>
              <a:gd name="connsiteY1205" fmla="*/ 7449852 h 7458372"/>
              <a:gd name="connsiteX1206" fmla="*/ 1088323 w 10505529"/>
              <a:gd name="connsiteY1206" fmla="*/ 7428687 h 7458372"/>
              <a:gd name="connsiteX1207" fmla="*/ 1096707 w 10505529"/>
              <a:gd name="connsiteY1207" fmla="*/ 7407654 h 7458372"/>
              <a:gd name="connsiteX1208" fmla="*/ 1118543 w 10505529"/>
              <a:gd name="connsiteY1208" fmla="*/ 7399134 h 7458372"/>
              <a:gd name="connsiteX1209" fmla="*/ 901029 w 10505529"/>
              <a:gd name="connsiteY1209" fmla="*/ 7399134 h 7458372"/>
              <a:gd name="connsiteX1210" fmla="*/ 912745 w 10505529"/>
              <a:gd name="connsiteY1210" fmla="*/ 7401530 h 7458372"/>
              <a:gd name="connsiteX1211" fmla="*/ 922063 w 10505529"/>
              <a:gd name="connsiteY1211" fmla="*/ 7407787 h 7458372"/>
              <a:gd name="connsiteX1212" fmla="*/ 928186 w 10505529"/>
              <a:gd name="connsiteY1212" fmla="*/ 7417239 h 7458372"/>
              <a:gd name="connsiteX1213" fmla="*/ 930448 w 10505529"/>
              <a:gd name="connsiteY1213" fmla="*/ 7428687 h 7458372"/>
              <a:gd name="connsiteX1214" fmla="*/ 928186 w 10505529"/>
              <a:gd name="connsiteY1214" fmla="*/ 7440402 h 7458372"/>
              <a:gd name="connsiteX1215" fmla="*/ 922063 w 10505529"/>
              <a:gd name="connsiteY1215" fmla="*/ 7449852 h 7458372"/>
              <a:gd name="connsiteX1216" fmla="*/ 912745 w 10505529"/>
              <a:gd name="connsiteY1216" fmla="*/ 7456109 h 7458372"/>
              <a:gd name="connsiteX1217" fmla="*/ 901029 w 10505529"/>
              <a:gd name="connsiteY1217" fmla="*/ 7458372 h 7458372"/>
              <a:gd name="connsiteX1218" fmla="*/ 879200 w 10505529"/>
              <a:gd name="connsiteY1218" fmla="*/ 7449852 h 7458372"/>
              <a:gd name="connsiteX1219" fmla="*/ 870814 w 10505529"/>
              <a:gd name="connsiteY1219" fmla="*/ 7428687 h 7458372"/>
              <a:gd name="connsiteX1220" fmla="*/ 879200 w 10505529"/>
              <a:gd name="connsiteY1220" fmla="*/ 7407654 h 7458372"/>
              <a:gd name="connsiteX1221" fmla="*/ 901029 w 10505529"/>
              <a:gd name="connsiteY1221" fmla="*/ 7399134 h 7458372"/>
              <a:gd name="connsiteX1222" fmla="*/ 683390 w 10505529"/>
              <a:gd name="connsiteY1222" fmla="*/ 7399134 h 7458372"/>
              <a:gd name="connsiteX1223" fmla="*/ 695106 w 10505529"/>
              <a:gd name="connsiteY1223" fmla="*/ 7401530 h 7458372"/>
              <a:gd name="connsiteX1224" fmla="*/ 704423 w 10505529"/>
              <a:gd name="connsiteY1224" fmla="*/ 7407787 h 7458372"/>
              <a:gd name="connsiteX1225" fmla="*/ 710546 w 10505529"/>
              <a:gd name="connsiteY1225" fmla="*/ 7417239 h 7458372"/>
              <a:gd name="connsiteX1226" fmla="*/ 712808 w 10505529"/>
              <a:gd name="connsiteY1226" fmla="*/ 7428687 h 7458372"/>
              <a:gd name="connsiteX1227" fmla="*/ 710546 w 10505529"/>
              <a:gd name="connsiteY1227" fmla="*/ 7440402 h 7458372"/>
              <a:gd name="connsiteX1228" fmla="*/ 704423 w 10505529"/>
              <a:gd name="connsiteY1228" fmla="*/ 7449852 h 7458372"/>
              <a:gd name="connsiteX1229" fmla="*/ 695106 w 10505529"/>
              <a:gd name="connsiteY1229" fmla="*/ 7456109 h 7458372"/>
              <a:gd name="connsiteX1230" fmla="*/ 683390 w 10505529"/>
              <a:gd name="connsiteY1230" fmla="*/ 7458372 h 7458372"/>
              <a:gd name="connsiteX1231" fmla="*/ 661560 w 10505529"/>
              <a:gd name="connsiteY1231" fmla="*/ 7449852 h 7458372"/>
              <a:gd name="connsiteX1232" fmla="*/ 653174 w 10505529"/>
              <a:gd name="connsiteY1232" fmla="*/ 7428687 h 7458372"/>
              <a:gd name="connsiteX1233" fmla="*/ 661560 w 10505529"/>
              <a:gd name="connsiteY1233" fmla="*/ 7407654 h 7458372"/>
              <a:gd name="connsiteX1234" fmla="*/ 683390 w 10505529"/>
              <a:gd name="connsiteY1234" fmla="*/ 7399134 h 7458372"/>
              <a:gd name="connsiteX1235" fmla="*/ 465751 w 10505529"/>
              <a:gd name="connsiteY1235" fmla="*/ 7399134 h 7458372"/>
              <a:gd name="connsiteX1236" fmla="*/ 477466 w 10505529"/>
              <a:gd name="connsiteY1236" fmla="*/ 7401530 h 7458372"/>
              <a:gd name="connsiteX1237" fmla="*/ 486783 w 10505529"/>
              <a:gd name="connsiteY1237" fmla="*/ 7407787 h 7458372"/>
              <a:gd name="connsiteX1238" fmla="*/ 492906 w 10505529"/>
              <a:gd name="connsiteY1238" fmla="*/ 7417239 h 7458372"/>
              <a:gd name="connsiteX1239" fmla="*/ 495169 w 10505529"/>
              <a:gd name="connsiteY1239" fmla="*/ 7428687 h 7458372"/>
              <a:gd name="connsiteX1240" fmla="*/ 492906 w 10505529"/>
              <a:gd name="connsiteY1240" fmla="*/ 7440402 h 7458372"/>
              <a:gd name="connsiteX1241" fmla="*/ 486783 w 10505529"/>
              <a:gd name="connsiteY1241" fmla="*/ 7449852 h 7458372"/>
              <a:gd name="connsiteX1242" fmla="*/ 477466 w 10505529"/>
              <a:gd name="connsiteY1242" fmla="*/ 7456109 h 7458372"/>
              <a:gd name="connsiteX1243" fmla="*/ 465751 w 10505529"/>
              <a:gd name="connsiteY1243" fmla="*/ 7458372 h 7458372"/>
              <a:gd name="connsiteX1244" fmla="*/ 443920 w 10505529"/>
              <a:gd name="connsiteY1244" fmla="*/ 7449852 h 7458372"/>
              <a:gd name="connsiteX1245" fmla="*/ 435534 w 10505529"/>
              <a:gd name="connsiteY1245" fmla="*/ 7428687 h 7458372"/>
              <a:gd name="connsiteX1246" fmla="*/ 443920 w 10505529"/>
              <a:gd name="connsiteY1246" fmla="*/ 7407654 h 7458372"/>
              <a:gd name="connsiteX1247" fmla="*/ 465751 w 10505529"/>
              <a:gd name="connsiteY1247" fmla="*/ 7399134 h 7458372"/>
              <a:gd name="connsiteX1248" fmla="*/ 248110 w 10505529"/>
              <a:gd name="connsiteY1248" fmla="*/ 7399134 h 7458372"/>
              <a:gd name="connsiteX1249" fmla="*/ 259824 w 10505529"/>
              <a:gd name="connsiteY1249" fmla="*/ 7401530 h 7458372"/>
              <a:gd name="connsiteX1250" fmla="*/ 269142 w 10505529"/>
              <a:gd name="connsiteY1250" fmla="*/ 7407787 h 7458372"/>
              <a:gd name="connsiteX1251" fmla="*/ 275265 w 10505529"/>
              <a:gd name="connsiteY1251" fmla="*/ 7417239 h 7458372"/>
              <a:gd name="connsiteX1252" fmla="*/ 277528 w 10505529"/>
              <a:gd name="connsiteY1252" fmla="*/ 7428687 h 7458372"/>
              <a:gd name="connsiteX1253" fmla="*/ 275265 w 10505529"/>
              <a:gd name="connsiteY1253" fmla="*/ 7440402 h 7458372"/>
              <a:gd name="connsiteX1254" fmla="*/ 269142 w 10505529"/>
              <a:gd name="connsiteY1254" fmla="*/ 7449852 h 7458372"/>
              <a:gd name="connsiteX1255" fmla="*/ 259824 w 10505529"/>
              <a:gd name="connsiteY1255" fmla="*/ 7456109 h 7458372"/>
              <a:gd name="connsiteX1256" fmla="*/ 248110 w 10505529"/>
              <a:gd name="connsiteY1256" fmla="*/ 7458372 h 7458372"/>
              <a:gd name="connsiteX1257" fmla="*/ 226281 w 10505529"/>
              <a:gd name="connsiteY1257" fmla="*/ 7449852 h 7458372"/>
              <a:gd name="connsiteX1258" fmla="*/ 217896 w 10505529"/>
              <a:gd name="connsiteY1258" fmla="*/ 7428687 h 7458372"/>
              <a:gd name="connsiteX1259" fmla="*/ 226281 w 10505529"/>
              <a:gd name="connsiteY1259" fmla="*/ 7407654 h 7458372"/>
              <a:gd name="connsiteX1260" fmla="*/ 248110 w 10505529"/>
              <a:gd name="connsiteY1260" fmla="*/ 7399134 h 7458372"/>
              <a:gd name="connsiteX1261" fmla="*/ 30469 w 10505529"/>
              <a:gd name="connsiteY1261" fmla="*/ 7399134 h 7458372"/>
              <a:gd name="connsiteX1262" fmla="*/ 42184 w 10505529"/>
              <a:gd name="connsiteY1262" fmla="*/ 7401530 h 7458372"/>
              <a:gd name="connsiteX1263" fmla="*/ 51502 w 10505529"/>
              <a:gd name="connsiteY1263" fmla="*/ 7407787 h 7458372"/>
              <a:gd name="connsiteX1264" fmla="*/ 57626 w 10505529"/>
              <a:gd name="connsiteY1264" fmla="*/ 7417239 h 7458372"/>
              <a:gd name="connsiteX1265" fmla="*/ 59888 w 10505529"/>
              <a:gd name="connsiteY1265" fmla="*/ 7428687 h 7458372"/>
              <a:gd name="connsiteX1266" fmla="*/ 57626 w 10505529"/>
              <a:gd name="connsiteY1266" fmla="*/ 7440402 h 7458372"/>
              <a:gd name="connsiteX1267" fmla="*/ 51502 w 10505529"/>
              <a:gd name="connsiteY1267" fmla="*/ 7449852 h 7458372"/>
              <a:gd name="connsiteX1268" fmla="*/ 42184 w 10505529"/>
              <a:gd name="connsiteY1268" fmla="*/ 7456109 h 7458372"/>
              <a:gd name="connsiteX1269" fmla="*/ 30469 w 10505529"/>
              <a:gd name="connsiteY1269" fmla="*/ 7458372 h 7458372"/>
              <a:gd name="connsiteX1270" fmla="*/ 8643 w 10505529"/>
              <a:gd name="connsiteY1270" fmla="*/ 7449852 h 7458372"/>
              <a:gd name="connsiteX1271" fmla="*/ 256 w 10505529"/>
              <a:gd name="connsiteY1271" fmla="*/ 7428687 h 7458372"/>
              <a:gd name="connsiteX1272" fmla="*/ 8643 w 10505529"/>
              <a:gd name="connsiteY1272" fmla="*/ 7407654 h 7458372"/>
              <a:gd name="connsiteX1273" fmla="*/ 30469 w 10505529"/>
              <a:gd name="connsiteY1273" fmla="*/ 7399134 h 7458372"/>
              <a:gd name="connsiteX1274" fmla="*/ 10475977 w 10505529"/>
              <a:gd name="connsiteY1274" fmla="*/ 7198129 h 7458372"/>
              <a:gd name="connsiteX1275" fmla="*/ 10465992 w 10505529"/>
              <a:gd name="connsiteY1275" fmla="*/ 7201723 h 7458372"/>
              <a:gd name="connsiteX1276" fmla="*/ 10462399 w 10505529"/>
              <a:gd name="connsiteY1276" fmla="*/ 7211174 h 7458372"/>
              <a:gd name="connsiteX1277" fmla="*/ 10465992 w 10505529"/>
              <a:gd name="connsiteY1277" fmla="*/ 7220625 h 7458372"/>
              <a:gd name="connsiteX1278" fmla="*/ 10475977 w 10505529"/>
              <a:gd name="connsiteY1278" fmla="*/ 7224087 h 7458372"/>
              <a:gd name="connsiteX1279" fmla="*/ 10481302 w 10505529"/>
              <a:gd name="connsiteY1279" fmla="*/ 7223155 h 7458372"/>
              <a:gd name="connsiteX1280" fmla="*/ 10485029 w 10505529"/>
              <a:gd name="connsiteY1280" fmla="*/ 7220758 h 7458372"/>
              <a:gd name="connsiteX1281" fmla="*/ 10487691 w 10505529"/>
              <a:gd name="connsiteY1281" fmla="*/ 7216499 h 7458372"/>
              <a:gd name="connsiteX1282" fmla="*/ 10488623 w 10505529"/>
              <a:gd name="connsiteY1282" fmla="*/ 7211040 h 7458372"/>
              <a:gd name="connsiteX1283" fmla="*/ 10487691 w 10505529"/>
              <a:gd name="connsiteY1283" fmla="*/ 7205850 h 7458372"/>
              <a:gd name="connsiteX1284" fmla="*/ 10485029 w 10505529"/>
              <a:gd name="connsiteY1284" fmla="*/ 7201723 h 7458372"/>
              <a:gd name="connsiteX1285" fmla="*/ 10481035 w 10505529"/>
              <a:gd name="connsiteY1285" fmla="*/ 7199060 h 7458372"/>
              <a:gd name="connsiteX1286" fmla="*/ 10475977 w 10505529"/>
              <a:gd name="connsiteY1286" fmla="*/ 7198129 h 7458372"/>
              <a:gd name="connsiteX1287" fmla="*/ 10258466 w 10505529"/>
              <a:gd name="connsiteY1287" fmla="*/ 7198129 h 7458372"/>
              <a:gd name="connsiteX1288" fmla="*/ 10248481 w 10505529"/>
              <a:gd name="connsiteY1288" fmla="*/ 7201723 h 7458372"/>
              <a:gd name="connsiteX1289" fmla="*/ 10244887 w 10505529"/>
              <a:gd name="connsiteY1289" fmla="*/ 7211174 h 7458372"/>
              <a:gd name="connsiteX1290" fmla="*/ 10248481 w 10505529"/>
              <a:gd name="connsiteY1290" fmla="*/ 7220625 h 7458372"/>
              <a:gd name="connsiteX1291" fmla="*/ 10258466 w 10505529"/>
              <a:gd name="connsiteY1291" fmla="*/ 7224087 h 7458372"/>
              <a:gd name="connsiteX1292" fmla="*/ 10263790 w 10505529"/>
              <a:gd name="connsiteY1292" fmla="*/ 7223155 h 7458372"/>
              <a:gd name="connsiteX1293" fmla="*/ 10267517 w 10505529"/>
              <a:gd name="connsiteY1293" fmla="*/ 7220758 h 7458372"/>
              <a:gd name="connsiteX1294" fmla="*/ 10270180 w 10505529"/>
              <a:gd name="connsiteY1294" fmla="*/ 7216499 h 7458372"/>
              <a:gd name="connsiteX1295" fmla="*/ 10271112 w 10505529"/>
              <a:gd name="connsiteY1295" fmla="*/ 7211040 h 7458372"/>
              <a:gd name="connsiteX1296" fmla="*/ 10270180 w 10505529"/>
              <a:gd name="connsiteY1296" fmla="*/ 7205850 h 7458372"/>
              <a:gd name="connsiteX1297" fmla="*/ 10267517 w 10505529"/>
              <a:gd name="connsiteY1297" fmla="*/ 7201723 h 7458372"/>
              <a:gd name="connsiteX1298" fmla="*/ 10263524 w 10505529"/>
              <a:gd name="connsiteY1298" fmla="*/ 7199060 h 7458372"/>
              <a:gd name="connsiteX1299" fmla="*/ 10258466 w 10505529"/>
              <a:gd name="connsiteY1299" fmla="*/ 7198129 h 7458372"/>
              <a:gd name="connsiteX1300" fmla="*/ 10040820 w 10505529"/>
              <a:gd name="connsiteY1300" fmla="*/ 7198129 h 7458372"/>
              <a:gd name="connsiteX1301" fmla="*/ 10030835 w 10505529"/>
              <a:gd name="connsiteY1301" fmla="*/ 7201723 h 7458372"/>
              <a:gd name="connsiteX1302" fmla="*/ 10027242 w 10505529"/>
              <a:gd name="connsiteY1302" fmla="*/ 7211174 h 7458372"/>
              <a:gd name="connsiteX1303" fmla="*/ 10030835 w 10505529"/>
              <a:gd name="connsiteY1303" fmla="*/ 7220625 h 7458372"/>
              <a:gd name="connsiteX1304" fmla="*/ 10040820 w 10505529"/>
              <a:gd name="connsiteY1304" fmla="*/ 7224087 h 7458372"/>
              <a:gd name="connsiteX1305" fmla="*/ 10046145 w 10505529"/>
              <a:gd name="connsiteY1305" fmla="*/ 7223155 h 7458372"/>
              <a:gd name="connsiteX1306" fmla="*/ 10049872 w 10505529"/>
              <a:gd name="connsiteY1306" fmla="*/ 7220758 h 7458372"/>
              <a:gd name="connsiteX1307" fmla="*/ 10052534 w 10505529"/>
              <a:gd name="connsiteY1307" fmla="*/ 7216499 h 7458372"/>
              <a:gd name="connsiteX1308" fmla="*/ 10053599 w 10505529"/>
              <a:gd name="connsiteY1308" fmla="*/ 7211040 h 7458372"/>
              <a:gd name="connsiteX1309" fmla="*/ 10052534 w 10505529"/>
              <a:gd name="connsiteY1309" fmla="*/ 7205850 h 7458372"/>
              <a:gd name="connsiteX1310" fmla="*/ 10049872 w 10505529"/>
              <a:gd name="connsiteY1310" fmla="*/ 7201723 h 7458372"/>
              <a:gd name="connsiteX1311" fmla="*/ 10045878 w 10505529"/>
              <a:gd name="connsiteY1311" fmla="*/ 7199060 h 7458372"/>
              <a:gd name="connsiteX1312" fmla="*/ 10040820 w 10505529"/>
              <a:gd name="connsiteY1312" fmla="*/ 7198129 h 7458372"/>
              <a:gd name="connsiteX1313" fmla="*/ 9823176 w 10505529"/>
              <a:gd name="connsiteY1313" fmla="*/ 7198129 h 7458372"/>
              <a:gd name="connsiteX1314" fmla="*/ 9813191 w 10505529"/>
              <a:gd name="connsiteY1314" fmla="*/ 7201723 h 7458372"/>
              <a:gd name="connsiteX1315" fmla="*/ 9809597 w 10505529"/>
              <a:gd name="connsiteY1315" fmla="*/ 7211174 h 7458372"/>
              <a:gd name="connsiteX1316" fmla="*/ 9813191 w 10505529"/>
              <a:gd name="connsiteY1316" fmla="*/ 7220625 h 7458372"/>
              <a:gd name="connsiteX1317" fmla="*/ 9823176 w 10505529"/>
              <a:gd name="connsiteY1317" fmla="*/ 7224087 h 7458372"/>
              <a:gd name="connsiteX1318" fmla="*/ 9828501 w 10505529"/>
              <a:gd name="connsiteY1318" fmla="*/ 7223155 h 7458372"/>
              <a:gd name="connsiteX1319" fmla="*/ 9832227 w 10505529"/>
              <a:gd name="connsiteY1319" fmla="*/ 7220758 h 7458372"/>
              <a:gd name="connsiteX1320" fmla="*/ 9834890 w 10505529"/>
              <a:gd name="connsiteY1320" fmla="*/ 7216499 h 7458372"/>
              <a:gd name="connsiteX1321" fmla="*/ 9835955 w 10505529"/>
              <a:gd name="connsiteY1321" fmla="*/ 7211040 h 7458372"/>
              <a:gd name="connsiteX1322" fmla="*/ 9834890 w 10505529"/>
              <a:gd name="connsiteY1322" fmla="*/ 7205850 h 7458372"/>
              <a:gd name="connsiteX1323" fmla="*/ 9832227 w 10505529"/>
              <a:gd name="connsiteY1323" fmla="*/ 7201723 h 7458372"/>
              <a:gd name="connsiteX1324" fmla="*/ 9828234 w 10505529"/>
              <a:gd name="connsiteY1324" fmla="*/ 7199060 h 7458372"/>
              <a:gd name="connsiteX1325" fmla="*/ 9823176 w 10505529"/>
              <a:gd name="connsiteY1325" fmla="*/ 7198129 h 7458372"/>
              <a:gd name="connsiteX1326" fmla="*/ 9605531 w 10505529"/>
              <a:gd name="connsiteY1326" fmla="*/ 7198129 h 7458372"/>
              <a:gd name="connsiteX1327" fmla="*/ 9595546 w 10505529"/>
              <a:gd name="connsiteY1327" fmla="*/ 7201723 h 7458372"/>
              <a:gd name="connsiteX1328" fmla="*/ 9591952 w 10505529"/>
              <a:gd name="connsiteY1328" fmla="*/ 7211174 h 7458372"/>
              <a:gd name="connsiteX1329" fmla="*/ 9595546 w 10505529"/>
              <a:gd name="connsiteY1329" fmla="*/ 7220625 h 7458372"/>
              <a:gd name="connsiteX1330" fmla="*/ 9605531 w 10505529"/>
              <a:gd name="connsiteY1330" fmla="*/ 7224087 h 7458372"/>
              <a:gd name="connsiteX1331" fmla="*/ 9610855 w 10505529"/>
              <a:gd name="connsiteY1331" fmla="*/ 7223155 h 7458372"/>
              <a:gd name="connsiteX1332" fmla="*/ 9614582 w 10505529"/>
              <a:gd name="connsiteY1332" fmla="*/ 7220758 h 7458372"/>
              <a:gd name="connsiteX1333" fmla="*/ 9617245 w 10505529"/>
              <a:gd name="connsiteY1333" fmla="*/ 7216499 h 7458372"/>
              <a:gd name="connsiteX1334" fmla="*/ 9618309 w 10505529"/>
              <a:gd name="connsiteY1334" fmla="*/ 7211040 h 7458372"/>
              <a:gd name="connsiteX1335" fmla="*/ 9617245 w 10505529"/>
              <a:gd name="connsiteY1335" fmla="*/ 7205850 h 7458372"/>
              <a:gd name="connsiteX1336" fmla="*/ 9614582 w 10505529"/>
              <a:gd name="connsiteY1336" fmla="*/ 7201723 h 7458372"/>
              <a:gd name="connsiteX1337" fmla="*/ 9610589 w 10505529"/>
              <a:gd name="connsiteY1337" fmla="*/ 7199060 h 7458372"/>
              <a:gd name="connsiteX1338" fmla="*/ 9605531 w 10505529"/>
              <a:gd name="connsiteY1338" fmla="*/ 7198129 h 7458372"/>
              <a:gd name="connsiteX1339" fmla="*/ 9387885 w 10505529"/>
              <a:gd name="connsiteY1339" fmla="*/ 7198129 h 7458372"/>
              <a:gd name="connsiteX1340" fmla="*/ 9377900 w 10505529"/>
              <a:gd name="connsiteY1340" fmla="*/ 7201723 h 7458372"/>
              <a:gd name="connsiteX1341" fmla="*/ 9374307 w 10505529"/>
              <a:gd name="connsiteY1341" fmla="*/ 7211174 h 7458372"/>
              <a:gd name="connsiteX1342" fmla="*/ 9377900 w 10505529"/>
              <a:gd name="connsiteY1342" fmla="*/ 7220625 h 7458372"/>
              <a:gd name="connsiteX1343" fmla="*/ 9387885 w 10505529"/>
              <a:gd name="connsiteY1343" fmla="*/ 7224087 h 7458372"/>
              <a:gd name="connsiteX1344" fmla="*/ 9393210 w 10505529"/>
              <a:gd name="connsiteY1344" fmla="*/ 7223155 h 7458372"/>
              <a:gd name="connsiteX1345" fmla="*/ 9396937 w 10505529"/>
              <a:gd name="connsiteY1345" fmla="*/ 7220758 h 7458372"/>
              <a:gd name="connsiteX1346" fmla="*/ 9399599 w 10505529"/>
              <a:gd name="connsiteY1346" fmla="*/ 7216499 h 7458372"/>
              <a:gd name="connsiteX1347" fmla="*/ 9400664 w 10505529"/>
              <a:gd name="connsiteY1347" fmla="*/ 7211040 h 7458372"/>
              <a:gd name="connsiteX1348" fmla="*/ 9399599 w 10505529"/>
              <a:gd name="connsiteY1348" fmla="*/ 7205850 h 7458372"/>
              <a:gd name="connsiteX1349" fmla="*/ 9396937 w 10505529"/>
              <a:gd name="connsiteY1349" fmla="*/ 7201723 h 7458372"/>
              <a:gd name="connsiteX1350" fmla="*/ 9392943 w 10505529"/>
              <a:gd name="connsiteY1350" fmla="*/ 7199060 h 7458372"/>
              <a:gd name="connsiteX1351" fmla="*/ 9387885 w 10505529"/>
              <a:gd name="connsiteY1351" fmla="*/ 7198129 h 7458372"/>
              <a:gd name="connsiteX1352" fmla="*/ 9170374 w 10505529"/>
              <a:gd name="connsiteY1352" fmla="*/ 7198129 h 7458372"/>
              <a:gd name="connsiteX1353" fmla="*/ 9160389 w 10505529"/>
              <a:gd name="connsiteY1353" fmla="*/ 7201723 h 7458372"/>
              <a:gd name="connsiteX1354" fmla="*/ 9156795 w 10505529"/>
              <a:gd name="connsiteY1354" fmla="*/ 7211174 h 7458372"/>
              <a:gd name="connsiteX1355" fmla="*/ 9160389 w 10505529"/>
              <a:gd name="connsiteY1355" fmla="*/ 7220625 h 7458372"/>
              <a:gd name="connsiteX1356" fmla="*/ 9170374 w 10505529"/>
              <a:gd name="connsiteY1356" fmla="*/ 7224087 h 7458372"/>
              <a:gd name="connsiteX1357" fmla="*/ 9175698 w 10505529"/>
              <a:gd name="connsiteY1357" fmla="*/ 7223155 h 7458372"/>
              <a:gd name="connsiteX1358" fmla="*/ 9179425 w 10505529"/>
              <a:gd name="connsiteY1358" fmla="*/ 7220758 h 7458372"/>
              <a:gd name="connsiteX1359" fmla="*/ 9182088 w 10505529"/>
              <a:gd name="connsiteY1359" fmla="*/ 7216499 h 7458372"/>
              <a:gd name="connsiteX1360" fmla="*/ 9183152 w 10505529"/>
              <a:gd name="connsiteY1360" fmla="*/ 7211040 h 7458372"/>
              <a:gd name="connsiteX1361" fmla="*/ 9182088 w 10505529"/>
              <a:gd name="connsiteY1361" fmla="*/ 7205850 h 7458372"/>
              <a:gd name="connsiteX1362" fmla="*/ 9179425 w 10505529"/>
              <a:gd name="connsiteY1362" fmla="*/ 7201723 h 7458372"/>
              <a:gd name="connsiteX1363" fmla="*/ 9175432 w 10505529"/>
              <a:gd name="connsiteY1363" fmla="*/ 7199060 h 7458372"/>
              <a:gd name="connsiteX1364" fmla="*/ 9170374 w 10505529"/>
              <a:gd name="connsiteY1364" fmla="*/ 7198129 h 7458372"/>
              <a:gd name="connsiteX1365" fmla="*/ 8952728 w 10505529"/>
              <a:gd name="connsiteY1365" fmla="*/ 7198129 h 7458372"/>
              <a:gd name="connsiteX1366" fmla="*/ 8942743 w 10505529"/>
              <a:gd name="connsiteY1366" fmla="*/ 7201723 h 7458372"/>
              <a:gd name="connsiteX1367" fmla="*/ 8939150 w 10505529"/>
              <a:gd name="connsiteY1367" fmla="*/ 7211174 h 7458372"/>
              <a:gd name="connsiteX1368" fmla="*/ 8942743 w 10505529"/>
              <a:gd name="connsiteY1368" fmla="*/ 7220625 h 7458372"/>
              <a:gd name="connsiteX1369" fmla="*/ 8952728 w 10505529"/>
              <a:gd name="connsiteY1369" fmla="*/ 7224087 h 7458372"/>
              <a:gd name="connsiteX1370" fmla="*/ 8958053 w 10505529"/>
              <a:gd name="connsiteY1370" fmla="*/ 7223155 h 7458372"/>
              <a:gd name="connsiteX1371" fmla="*/ 8961780 w 10505529"/>
              <a:gd name="connsiteY1371" fmla="*/ 7220758 h 7458372"/>
              <a:gd name="connsiteX1372" fmla="*/ 8964442 w 10505529"/>
              <a:gd name="connsiteY1372" fmla="*/ 7216499 h 7458372"/>
              <a:gd name="connsiteX1373" fmla="*/ 8965507 w 10505529"/>
              <a:gd name="connsiteY1373" fmla="*/ 7211040 h 7458372"/>
              <a:gd name="connsiteX1374" fmla="*/ 8964442 w 10505529"/>
              <a:gd name="connsiteY1374" fmla="*/ 7205850 h 7458372"/>
              <a:gd name="connsiteX1375" fmla="*/ 8961780 w 10505529"/>
              <a:gd name="connsiteY1375" fmla="*/ 7201723 h 7458372"/>
              <a:gd name="connsiteX1376" fmla="*/ 8957786 w 10505529"/>
              <a:gd name="connsiteY1376" fmla="*/ 7199060 h 7458372"/>
              <a:gd name="connsiteX1377" fmla="*/ 8952728 w 10505529"/>
              <a:gd name="connsiteY1377" fmla="*/ 7198129 h 7458372"/>
              <a:gd name="connsiteX1378" fmla="*/ 8735083 w 10505529"/>
              <a:gd name="connsiteY1378" fmla="*/ 7198129 h 7458372"/>
              <a:gd name="connsiteX1379" fmla="*/ 8725098 w 10505529"/>
              <a:gd name="connsiteY1379" fmla="*/ 7201723 h 7458372"/>
              <a:gd name="connsiteX1380" fmla="*/ 8721504 w 10505529"/>
              <a:gd name="connsiteY1380" fmla="*/ 7211174 h 7458372"/>
              <a:gd name="connsiteX1381" fmla="*/ 8725098 w 10505529"/>
              <a:gd name="connsiteY1381" fmla="*/ 7220625 h 7458372"/>
              <a:gd name="connsiteX1382" fmla="*/ 8735083 w 10505529"/>
              <a:gd name="connsiteY1382" fmla="*/ 7224087 h 7458372"/>
              <a:gd name="connsiteX1383" fmla="*/ 8740407 w 10505529"/>
              <a:gd name="connsiteY1383" fmla="*/ 7223155 h 7458372"/>
              <a:gd name="connsiteX1384" fmla="*/ 8744134 w 10505529"/>
              <a:gd name="connsiteY1384" fmla="*/ 7220758 h 7458372"/>
              <a:gd name="connsiteX1385" fmla="*/ 8746797 w 10505529"/>
              <a:gd name="connsiteY1385" fmla="*/ 7216499 h 7458372"/>
              <a:gd name="connsiteX1386" fmla="*/ 8747862 w 10505529"/>
              <a:gd name="connsiteY1386" fmla="*/ 7211040 h 7458372"/>
              <a:gd name="connsiteX1387" fmla="*/ 8746797 w 10505529"/>
              <a:gd name="connsiteY1387" fmla="*/ 7205850 h 7458372"/>
              <a:gd name="connsiteX1388" fmla="*/ 8744134 w 10505529"/>
              <a:gd name="connsiteY1388" fmla="*/ 7201723 h 7458372"/>
              <a:gd name="connsiteX1389" fmla="*/ 8740141 w 10505529"/>
              <a:gd name="connsiteY1389" fmla="*/ 7199060 h 7458372"/>
              <a:gd name="connsiteX1390" fmla="*/ 8735083 w 10505529"/>
              <a:gd name="connsiteY1390" fmla="*/ 7198129 h 7458372"/>
              <a:gd name="connsiteX1391" fmla="*/ 8517438 w 10505529"/>
              <a:gd name="connsiteY1391" fmla="*/ 7198129 h 7458372"/>
              <a:gd name="connsiteX1392" fmla="*/ 8507453 w 10505529"/>
              <a:gd name="connsiteY1392" fmla="*/ 7201723 h 7458372"/>
              <a:gd name="connsiteX1393" fmla="*/ 8503860 w 10505529"/>
              <a:gd name="connsiteY1393" fmla="*/ 7211174 h 7458372"/>
              <a:gd name="connsiteX1394" fmla="*/ 8507453 w 10505529"/>
              <a:gd name="connsiteY1394" fmla="*/ 7220625 h 7458372"/>
              <a:gd name="connsiteX1395" fmla="*/ 8517438 w 10505529"/>
              <a:gd name="connsiteY1395" fmla="*/ 7224087 h 7458372"/>
              <a:gd name="connsiteX1396" fmla="*/ 8522763 w 10505529"/>
              <a:gd name="connsiteY1396" fmla="*/ 7223155 h 7458372"/>
              <a:gd name="connsiteX1397" fmla="*/ 8526490 w 10505529"/>
              <a:gd name="connsiteY1397" fmla="*/ 7220758 h 7458372"/>
              <a:gd name="connsiteX1398" fmla="*/ 8529152 w 10505529"/>
              <a:gd name="connsiteY1398" fmla="*/ 7216499 h 7458372"/>
              <a:gd name="connsiteX1399" fmla="*/ 8530084 w 10505529"/>
              <a:gd name="connsiteY1399" fmla="*/ 7211040 h 7458372"/>
              <a:gd name="connsiteX1400" fmla="*/ 8529152 w 10505529"/>
              <a:gd name="connsiteY1400" fmla="*/ 7205850 h 7458372"/>
              <a:gd name="connsiteX1401" fmla="*/ 8526490 w 10505529"/>
              <a:gd name="connsiteY1401" fmla="*/ 7201723 h 7458372"/>
              <a:gd name="connsiteX1402" fmla="*/ 8522496 w 10505529"/>
              <a:gd name="connsiteY1402" fmla="*/ 7199060 h 7458372"/>
              <a:gd name="connsiteX1403" fmla="*/ 8517438 w 10505529"/>
              <a:gd name="connsiteY1403" fmla="*/ 7198129 h 7458372"/>
              <a:gd name="connsiteX1404" fmla="*/ 8299793 w 10505529"/>
              <a:gd name="connsiteY1404" fmla="*/ 7198129 h 7458372"/>
              <a:gd name="connsiteX1405" fmla="*/ 8289809 w 10505529"/>
              <a:gd name="connsiteY1405" fmla="*/ 7201723 h 7458372"/>
              <a:gd name="connsiteX1406" fmla="*/ 8286215 w 10505529"/>
              <a:gd name="connsiteY1406" fmla="*/ 7211174 h 7458372"/>
              <a:gd name="connsiteX1407" fmla="*/ 8289809 w 10505529"/>
              <a:gd name="connsiteY1407" fmla="*/ 7220625 h 7458372"/>
              <a:gd name="connsiteX1408" fmla="*/ 8299793 w 10505529"/>
              <a:gd name="connsiteY1408" fmla="*/ 7224087 h 7458372"/>
              <a:gd name="connsiteX1409" fmla="*/ 8305118 w 10505529"/>
              <a:gd name="connsiteY1409" fmla="*/ 7223155 h 7458372"/>
              <a:gd name="connsiteX1410" fmla="*/ 8308844 w 10505529"/>
              <a:gd name="connsiteY1410" fmla="*/ 7220758 h 7458372"/>
              <a:gd name="connsiteX1411" fmla="*/ 8311507 w 10505529"/>
              <a:gd name="connsiteY1411" fmla="*/ 7216499 h 7458372"/>
              <a:gd name="connsiteX1412" fmla="*/ 8312439 w 10505529"/>
              <a:gd name="connsiteY1412" fmla="*/ 7211040 h 7458372"/>
              <a:gd name="connsiteX1413" fmla="*/ 8311507 w 10505529"/>
              <a:gd name="connsiteY1413" fmla="*/ 7205850 h 7458372"/>
              <a:gd name="connsiteX1414" fmla="*/ 8308844 w 10505529"/>
              <a:gd name="connsiteY1414" fmla="*/ 7201723 h 7458372"/>
              <a:gd name="connsiteX1415" fmla="*/ 8304851 w 10505529"/>
              <a:gd name="connsiteY1415" fmla="*/ 7199060 h 7458372"/>
              <a:gd name="connsiteX1416" fmla="*/ 8299793 w 10505529"/>
              <a:gd name="connsiteY1416" fmla="*/ 7198129 h 7458372"/>
              <a:gd name="connsiteX1417" fmla="*/ 8082281 w 10505529"/>
              <a:gd name="connsiteY1417" fmla="*/ 7198129 h 7458372"/>
              <a:gd name="connsiteX1418" fmla="*/ 8072297 w 10505529"/>
              <a:gd name="connsiteY1418" fmla="*/ 7201723 h 7458372"/>
              <a:gd name="connsiteX1419" fmla="*/ 8068703 w 10505529"/>
              <a:gd name="connsiteY1419" fmla="*/ 7211174 h 7458372"/>
              <a:gd name="connsiteX1420" fmla="*/ 8072297 w 10505529"/>
              <a:gd name="connsiteY1420" fmla="*/ 7220625 h 7458372"/>
              <a:gd name="connsiteX1421" fmla="*/ 8082281 w 10505529"/>
              <a:gd name="connsiteY1421" fmla="*/ 7224087 h 7458372"/>
              <a:gd name="connsiteX1422" fmla="*/ 8087605 w 10505529"/>
              <a:gd name="connsiteY1422" fmla="*/ 7223155 h 7458372"/>
              <a:gd name="connsiteX1423" fmla="*/ 8091332 w 10505529"/>
              <a:gd name="connsiteY1423" fmla="*/ 7220758 h 7458372"/>
              <a:gd name="connsiteX1424" fmla="*/ 8093994 w 10505529"/>
              <a:gd name="connsiteY1424" fmla="*/ 7216499 h 7458372"/>
              <a:gd name="connsiteX1425" fmla="*/ 8094926 w 10505529"/>
              <a:gd name="connsiteY1425" fmla="*/ 7211040 h 7458372"/>
              <a:gd name="connsiteX1426" fmla="*/ 8093994 w 10505529"/>
              <a:gd name="connsiteY1426" fmla="*/ 7205850 h 7458372"/>
              <a:gd name="connsiteX1427" fmla="*/ 8091332 w 10505529"/>
              <a:gd name="connsiteY1427" fmla="*/ 7201723 h 7458372"/>
              <a:gd name="connsiteX1428" fmla="*/ 8087338 w 10505529"/>
              <a:gd name="connsiteY1428" fmla="*/ 7199060 h 7458372"/>
              <a:gd name="connsiteX1429" fmla="*/ 8082281 w 10505529"/>
              <a:gd name="connsiteY1429" fmla="*/ 7198129 h 7458372"/>
              <a:gd name="connsiteX1430" fmla="*/ 7864636 w 10505529"/>
              <a:gd name="connsiteY1430" fmla="*/ 7198129 h 7458372"/>
              <a:gd name="connsiteX1431" fmla="*/ 7854652 w 10505529"/>
              <a:gd name="connsiteY1431" fmla="*/ 7201723 h 7458372"/>
              <a:gd name="connsiteX1432" fmla="*/ 7851058 w 10505529"/>
              <a:gd name="connsiteY1432" fmla="*/ 7211174 h 7458372"/>
              <a:gd name="connsiteX1433" fmla="*/ 7854652 w 10505529"/>
              <a:gd name="connsiteY1433" fmla="*/ 7220625 h 7458372"/>
              <a:gd name="connsiteX1434" fmla="*/ 7864636 w 10505529"/>
              <a:gd name="connsiteY1434" fmla="*/ 7224087 h 7458372"/>
              <a:gd name="connsiteX1435" fmla="*/ 7869961 w 10505529"/>
              <a:gd name="connsiteY1435" fmla="*/ 7223155 h 7458372"/>
              <a:gd name="connsiteX1436" fmla="*/ 7873687 w 10505529"/>
              <a:gd name="connsiteY1436" fmla="*/ 7220758 h 7458372"/>
              <a:gd name="connsiteX1437" fmla="*/ 7876350 w 10505529"/>
              <a:gd name="connsiteY1437" fmla="*/ 7216499 h 7458372"/>
              <a:gd name="connsiteX1438" fmla="*/ 7877282 w 10505529"/>
              <a:gd name="connsiteY1438" fmla="*/ 7211040 h 7458372"/>
              <a:gd name="connsiteX1439" fmla="*/ 7876350 w 10505529"/>
              <a:gd name="connsiteY1439" fmla="*/ 7205850 h 7458372"/>
              <a:gd name="connsiteX1440" fmla="*/ 7873687 w 10505529"/>
              <a:gd name="connsiteY1440" fmla="*/ 7201723 h 7458372"/>
              <a:gd name="connsiteX1441" fmla="*/ 7869694 w 10505529"/>
              <a:gd name="connsiteY1441" fmla="*/ 7199060 h 7458372"/>
              <a:gd name="connsiteX1442" fmla="*/ 7864636 w 10505529"/>
              <a:gd name="connsiteY1442" fmla="*/ 7198129 h 7458372"/>
              <a:gd name="connsiteX1443" fmla="*/ 7646991 w 10505529"/>
              <a:gd name="connsiteY1443" fmla="*/ 7198129 h 7458372"/>
              <a:gd name="connsiteX1444" fmla="*/ 7637007 w 10505529"/>
              <a:gd name="connsiteY1444" fmla="*/ 7201723 h 7458372"/>
              <a:gd name="connsiteX1445" fmla="*/ 7633413 w 10505529"/>
              <a:gd name="connsiteY1445" fmla="*/ 7211174 h 7458372"/>
              <a:gd name="connsiteX1446" fmla="*/ 7637007 w 10505529"/>
              <a:gd name="connsiteY1446" fmla="*/ 7220625 h 7458372"/>
              <a:gd name="connsiteX1447" fmla="*/ 7646991 w 10505529"/>
              <a:gd name="connsiteY1447" fmla="*/ 7224087 h 7458372"/>
              <a:gd name="connsiteX1448" fmla="*/ 7652315 w 10505529"/>
              <a:gd name="connsiteY1448" fmla="*/ 7223155 h 7458372"/>
              <a:gd name="connsiteX1449" fmla="*/ 7656042 w 10505529"/>
              <a:gd name="connsiteY1449" fmla="*/ 7220758 h 7458372"/>
              <a:gd name="connsiteX1450" fmla="*/ 7658705 w 10505529"/>
              <a:gd name="connsiteY1450" fmla="*/ 7216499 h 7458372"/>
              <a:gd name="connsiteX1451" fmla="*/ 7659769 w 10505529"/>
              <a:gd name="connsiteY1451" fmla="*/ 7211040 h 7458372"/>
              <a:gd name="connsiteX1452" fmla="*/ 7658705 w 10505529"/>
              <a:gd name="connsiteY1452" fmla="*/ 7205850 h 7458372"/>
              <a:gd name="connsiteX1453" fmla="*/ 7656042 w 10505529"/>
              <a:gd name="connsiteY1453" fmla="*/ 7201723 h 7458372"/>
              <a:gd name="connsiteX1454" fmla="*/ 7652049 w 10505529"/>
              <a:gd name="connsiteY1454" fmla="*/ 7199060 h 7458372"/>
              <a:gd name="connsiteX1455" fmla="*/ 7646991 w 10505529"/>
              <a:gd name="connsiteY1455" fmla="*/ 7198129 h 7458372"/>
              <a:gd name="connsiteX1456" fmla="*/ 7429345 w 10505529"/>
              <a:gd name="connsiteY1456" fmla="*/ 7198129 h 7458372"/>
              <a:gd name="connsiteX1457" fmla="*/ 7419361 w 10505529"/>
              <a:gd name="connsiteY1457" fmla="*/ 7201723 h 7458372"/>
              <a:gd name="connsiteX1458" fmla="*/ 7415768 w 10505529"/>
              <a:gd name="connsiteY1458" fmla="*/ 7211174 h 7458372"/>
              <a:gd name="connsiteX1459" fmla="*/ 7419361 w 10505529"/>
              <a:gd name="connsiteY1459" fmla="*/ 7220625 h 7458372"/>
              <a:gd name="connsiteX1460" fmla="*/ 7429345 w 10505529"/>
              <a:gd name="connsiteY1460" fmla="*/ 7224087 h 7458372"/>
              <a:gd name="connsiteX1461" fmla="*/ 7434670 w 10505529"/>
              <a:gd name="connsiteY1461" fmla="*/ 7223155 h 7458372"/>
              <a:gd name="connsiteX1462" fmla="*/ 7438397 w 10505529"/>
              <a:gd name="connsiteY1462" fmla="*/ 7220758 h 7458372"/>
              <a:gd name="connsiteX1463" fmla="*/ 7441059 w 10505529"/>
              <a:gd name="connsiteY1463" fmla="*/ 7216499 h 7458372"/>
              <a:gd name="connsiteX1464" fmla="*/ 7442124 w 10505529"/>
              <a:gd name="connsiteY1464" fmla="*/ 7211040 h 7458372"/>
              <a:gd name="connsiteX1465" fmla="*/ 7441059 w 10505529"/>
              <a:gd name="connsiteY1465" fmla="*/ 7205850 h 7458372"/>
              <a:gd name="connsiteX1466" fmla="*/ 7438397 w 10505529"/>
              <a:gd name="connsiteY1466" fmla="*/ 7201723 h 7458372"/>
              <a:gd name="connsiteX1467" fmla="*/ 7434403 w 10505529"/>
              <a:gd name="connsiteY1467" fmla="*/ 7199060 h 7458372"/>
              <a:gd name="connsiteX1468" fmla="*/ 7429345 w 10505529"/>
              <a:gd name="connsiteY1468" fmla="*/ 7198129 h 7458372"/>
              <a:gd name="connsiteX1469" fmla="*/ 7211701 w 10505529"/>
              <a:gd name="connsiteY1469" fmla="*/ 7198129 h 7458372"/>
              <a:gd name="connsiteX1470" fmla="*/ 7201717 w 10505529"/>
              <a:gd name="connsiteY1470" fmla="*/ 7201723 h 7458372"/>
              <a:gd name="connsiteX1471" fmla="*/ 7198123 w 10505529"/>
              <a:gd name="connsiteY1471" fmla="*/ 7211174 h 7458372"/>
              <a:gd name="connsiteX1472" fmla="*/ 7201717 w 10505529"/>
              <a:gd name="connsiteY1472" fmla="*/ 7220625 h 7458372"/>
              <a:gd name="connsiteX1473" fmla="*/ 7211701 w 10505529"/>
              <a:gd name="connsiteY1473" fmla="*/ 7224087 h 7458372"/>
              <a:gd name="connsiteX1474" fmla="*/ 7217026 w 10505529"/>
              <a:gd name="connsiteY1474" fmla="*/ 7223155 h 7458372"/>
              <a:gd name="connsiteX1475" fmla="*/ 7220752 w 10505529"/>
              <a:gd name="connsiteY1475" fmla="*/ 7220758 h 7458372"/>
              <a:gd name="connsiteX1476" fmla="*/ 7223415 w 10505529"/>
              <a:gd name="connsiteY1476" fmla="*/ 7216499 h 7458372"/>
              <a:gd name="connsiteX1477" fmla="*/ 7224480 w 10505529"/>
              <a:gd name="connsiteY1477" fmla="*/ 7211040 h 7458372"/>
              <a:gd name="connsiteX1478" fmla="*/ 7223415 w 10505529"/>
              <a:gd name="connsiteY1478" fmla="*/ 7205850 h 7458372"/>
              <a:gd name="connsiteX1479" fmla="*/ 7220752 w 10505529"/>
              <a:gd name="connsiteY1479" fmla="*/ 7201723 h 7458372"/>
              <a:gd name="connsiteX1480" fmla="*/ 7216759 w 10505529"/>
              <a:gd name="connsiteY1480" fmla="*/ 7199060 h 7458372"/>
              <a:gd name="connsiteX1481" fmla="*/ 7211701 w 10505529"/>
              <a:gd name="connsiteY1481" fmla="*/ 7198129 h 7458372"/>
              <a:gd name="connsiteX1482" fmla="*/ 6994056 w 10505529"/>
              <a:gd name="connsiteY1482" fmla="*/ 7198129 h 7458372"/>
              <a:gd name="connsiteX1483" fmla="*/ 6984072 w 10505529"/>
              <a:gd name="connsiteY1483" fmla="*/ 7201723 h 7458372"/>
              <a:gd name="connsiteX1484" fmla="*/ 6980478 w 10505529"/>
              <a:gd name="connsiteY1484" fmla="*/ 7211174 h 7458372"/>
              <a:gd name="connsiteX1485" fmla="*/ 6984072 w 10505529"/>
              <a:gd name="connsiteY1485" fmla="*/ 7220625 h 7458372"/>
              <a:gd name="connsiteX1486" fmla="*/ 6994056 w 10505529"/>
              <a:gd name="connsiteY1486" fmla="*/ 7224087 h 7458372"/>
              <a:gd name="connsiteX1487" fmla="*/ 6999380 w 10505529"/>
              <a:gd name="connsiteY1487" fmla="*/ 7223155 h 7458372"/>
              <a:gd name="connsiteX1488" fmla="*/ 7003107 w 10505529"/>
              <a:gd name="connsiteY1488" fmla="*/ 7220758 h 7458372"/>
              <a:gd name="connsiteX1489" fmla="*/ 7005769 w 10505529"/>
              <a:gd name="connsiteY1489" fmla="*/ 7216499 h 7458372"/>
              <a:gd name="connsiteX1490" fmla="*/ 7006834 w 10505529"/>
              <a:gd name="connsiteY1490" fmla="*/ 7211040 h 7458372"/>
              <a:gd name="connsiteX1491" fmla="*/ 7005769 w 10505529"/>
              <a:gd name="connsiteY1491" fmla="*/ 7205850 h 7458372"/>
              <a:gd name="connsiteX1492" fmla="*/ 7003107 w 10505529"/>
              <a:gd name="connsiteY1492" fmla="*/ 7201723 h 7458372"/>
              <a:gd name="connsiteX1493" fmla="*/ 6999113 w 10505529"/>
              <a:gd name="connsiteY1493" fmla="*/ 7199060 h 7458372"/>
              <a:gd name="connsiteX1494" fmla="*/ 6994056 w 10505529"/>
              <a:gd name="connsiteY1494" fmla="*/ 7198129 h 7458372"/>
              <a:gd name="connsiteX1495" fmla="*/ 6776544 w 10505529"/>
              <a:gd name="connsiteY1495" fmla="*/ 7198129 h 7458372"/>
              <a:gd name="connsiteX1496" fmla="*/ 6766560 w 10505529"/>
              <a:gd name="connsiteY1496" fmla="*/ 7201723 h 7458372"/>
              <a:gd name="connsiteX1497" fmla="*/ 6762966 w 10505529"/>
              <a:gd name="connsiteY1497" fmla="*/ 7211174 h 7458372"/>
              <a:gd name="connsiteX1498" fmla="*/ 6766560 w 10505529"/>
              <a:gd name="connsiteY1498" fmla="*/ 7220625 h 7458372"/>
              <a:gd name="connsiteX1499" fmla="*/ 6776544 w 10505529"/>
              <a:gd name="connsiteY1499" fmla="*/ 7224087 h 7458372"/>
              <a:gd name="connsiteX1500" fmla="*/ 6781869 w 10505529"/>
              <a:gd name="connsiteY1500" fmla="*/ 7223155 h 7458372"/>
              <a:gd name="connsiteX1501" fmla="*/ 6785595 w 10505529"/>
              <a:gd name="connsiteY1501" fmla="*/ 7220758 h 7458372"/>
              <a:gd name="connsiteX1502" fmla="*/ 6788258 w 10505529"/>
              <a:gd name="connsiteY1502" fmla="*/ 7216499 h 7458372"/>
              <a:gd name="connsiteX1503" fmla="*/ 6789323 w 10505529"/>
              <a:gd name="connsiteY1503" fmla="*/ 7211040 h 7458372"/>
              <a:gd name="connsiteX1504" fmla="*/ 6788258 w 10505529"/>
              <a:gd name="connsiteY1504" fmla="*/ 7205850 h 7458372"/>
              <a:gd name="connsiteX1505" fmla="*/ 6785595 w 10505529"/>
              <a:gd name="connsiteY1505" fmla="*/ 7201723 h 7458372"/>
              <a:gd name="connsiteX1506" fmla="*/ 6781602 w 10505529"/>
              <a:gd name="connsiteY1506" fmla="*/ 7199060 h 7458372"/>
              <a:gd name="connsiteX1507" fmla="*/ 6776544 w 10505529"/>
              <a:gd name="connsiteY1507" fmla="*/ 7198129 h 7458372"/>
              <a:gd name="connsiteX1508" fmla="*/ 6558899 w 10505529"/>
              <a:gd name="connsiteY1508" fmla="*/ 7198129 h 7458372"/>
              <a:gd name="connsiteX1509" fmla="*/ 6548915 w 10505529"/>
              <a:gd name="connsiteY1509" fmla="*/ 7201723 h 7458372"/>
              <a:gd name="connsiteX1510" fmla="*/ 6545321 w 10505529"/>
              <a:gd name="connsiteY1510" fmla="*/ 7211174 h 7458372"/>
              <a:gd name="connsiteX1511" fmla="*/ 6548915 w 10505529"/>
              <a:gd name="connsiteY1511" fmla="*/ 7220625 h 7458372"/>
              <a:gd name="connsiteX1512" fmla="*/ 6558899 w 10505529"/>
              <a:gd name="connsiteY1512" fmla="*/ 7224087 h 7458372"/>
              <a:gd name="connsiteX1513" fmla="*/ 6564223 w 10505529"/>
              <a:gd name="connsiteY1513" fmla="*/ 7223155 h 7458372"/>
              <a:gd name="connsiteX1514" fmla="*/ 6567950 w 10505529"/>
              <a:gd name="connsiteY1514" fmla="*/ 7220758 h 7458372"/>
              <a:gd name="connsiteX1515" fmla="*/ 6570612 w 10505529"/>
              <a:gd name="connsiteY1515" fmla="*/ 7216499 h 7458372"/>
              <a:gd name="connsiteX1516" fmla="*/ 6571677 w 10505529"/>
              <a:gd name="connsiteY1516" fmla="*/ 7211040 h 7458372"/>
              <a:gd name="connsiteX1517" fmla="*/ 6570612 w 10505529"/>
              <a:gd name="connsiteY1517" fmla="*/ 7205850 h 7458372"/>
              <a:gd name="connsiteX1518" fmla="*/ 6567950 w 10505529"/>
              <a:gd name="connsiteY1518" fmla="*/ 7201723 h 7458372"/>
              <a:gd name="connsiteX1519" fmla="*/ 6563956 w 10505529"/>
              <a:gd name="connsiteY1519" fmla="*/ 7199060 h 7458372"/>
              <a:gd name="connsiteX1520" fmla="*/ 6558899 w 10505529"/>
              <a:gd name="connsiteY1520" fmla="*/ 7198129 h 7458372"/>
              <a:gd name="connsiteX1521" fmla="*/ 6341253 w 10505529"/>
              <a:gd name="connsiteY1521" fmla="*/ 7198129 h 7458372"/>
              <a:gd name="connsiteX1522" fmla="*/ 6331270 w 10505529"/>
              <a:gd name="connsiteY1522" fmla="*/ 7201723 h 7458372"/>
              <a:gd name="connsiteX1523" fmla="*/ 6327675 w 10505529"/>
              <a:gd name="connsiteY1523" fmla="*/ 7211174 h 7458372"/>
              <a:gd name="connsiteX1524" fmla="*/ 6331270 w 10505529"/>
              <a:gd name="connsiteY1524" fmla="*/ 7220625 h 7458372"/>
              <a:gd name="connsiteX1525" fmla="*/ 6341253 w 10505529"/>
              <a:gd name="connsiteY1525" fmla="*/ 7224087 h 7458372"/>
              <a:gd name="connsiteX1526" fmla="*/ 6346578 w 10505529"/>
              <a:gd name="connsiteY1526" fmla="*/ 7223155 h 7458372"/>
              <a:gd name="connsiteX1527" fmla="*/ 6350305 w 10505529"/>
              <a:gd name="connsiteY1527" fmla="*/ 7220758 h 7458372"/>
              <a:gd name="connsiteX1528" fmla="*/ 6352968 w 10505529"/>
              <a:gd name="connsiteY1528" fmla="*/ 7216499 h 7458372"/>
              <a:gd name="connsiteX1529" fmla="*/ 6354033 w 10505529"/>
              <a:gd name="connsiteY1529" fmla="*/ 7211040 h 7458372"/>
              <a:gd name="connsiteX1530" fmla="*/ 6352968 w 10505529"/>
              <a:gd name="connsiteY1530" fmla="*/ 7205850 h 7458372"/>
              <a:gd name="connsiteX1531" fmla="*/ 6350305 w 10505529"/>
              <a:gd name="connsiteY1531" fmla="*/ 7201723 h 7458372"/>
              <a:gd name="connsiteX1532" fmla="*/ 6346312 w 10505529"/>
              <a:gd name="connsiteY1532" fmla="*/ 7199060 h 7458372"/>
              <a:gd name="connsiteX1533" fmla="*/ 6341253 w 10505529"/>
              <a:gd name="connsiteY1533" fmla="*/ 7198129 h 7458372"/>
              <a:gd name="connsiteX1534" fmla="*/ 6123608 w 10505529"/>
              <a:gd name="connsiteY1534" fmla="*/ 7198129 h 7458372"/>
              <a:gd name="connsiteX1535" fmla="*/ 6113624 w 10505529"/>
              <a:gd name="connsiteY1535" fmla="*/ 7201723 h 7458372"/>
              <a:gd name="connsiteX1536" fmla="*/ 6110030 w 10505529"/>
              <a:gd name="connsiteY1536" fmla="*/ 7211174 h 7458372"/>
              <a:gd name="connsiteX1537" fmla="*/ 6113624 w 10505529"/>
              <a:gd name="connsiteY1537" fmla="*/ 7220625 h 7458372"/>
              <a:gd name="connsiteX1538" fmla="*/ 6123608 w 10505529"/>
              <a:gd name="connsiteY1538" fmla="*/ 7224087 h 7458372"/>
              <a:gd name="connsiteX1539" fmla="*/ 6128932 w 10505529"/>
              <a:gd name="connsiteY1539" fmla="*/ 7223155 h 7458372"/>
              <a:gd name="connsiteX1540" fmla="*/ 6132659 w 10505529"/>
              <a:gd name="connsiteY1540" fmla="*/ 7220758 h 7458372"/>
              <a:gd name="connsiteX1541" fmla="*/ 6135322 w 10505529"/>
              <a:gd name="connsiteY1541" fmla="*/ 7216499 h 7458372"/>
              <a:gd name="connsiteX1542" fmla="*/ 6136387 w 10505529"/>
              <a:gd name="connsiteY1542" fmla="*/ 7211040 h 7458372"/>
              <a:gd name="connsiteX1543" fmla="*/ 6135322 w 10505529"/>
              <a:gd name="connsiteY1543" fmla="*/ 7205850 h 7458372"/>
              <a:gd name="connsiteX1544" fmla="*/ 6132659 w 10505529"/>
              <a:gd name="connsiteY1544" fmla="*/ 7201723 h 7458372"/>
              <a:gd name="connsiteX1545" fmla="*/ 6128666 w 10505529"/>
              <a:gd name="connsiteY1545" fmla="*/ 7199060 h 7458372"/>
              <a:gd name="connsiteX1546" fmla="*/ 6123608 w 10505529"/>
              <a:gd name="connsiteY1546" fmla="*/ 7198129 h 7458372"/>
              <a:gd name="connsiteX1547" fmla="*/ 5905963 w 10505529"/>
              <a:gd name="connsiteY1547" fmla="*/ 7198129 h 7458372"/>
              <a:gd name="connsiteX1548" fmla="*/ 5895979 w 10505529"/>
              <a:gd name="connsiteY1548" fmla="*/ 7201723 h 7458372"/>
              <a:gd name="connsiteX1549" fmla="*/ 5892385 w 10505529"/>
              <a:gd name="connsiteY1549" fmla="*/ 7211174 h 7458372"/>
              <a:gd name="connsiteX1550" fmla="*/ 5895979 w 10505529"/>
              <a:gd name="connsiteY1550" fmla="*/ 7220625 h 7458372"/>
              <a:gd name="connsiteX1551" fmla="*/ 5905963 w 10505529"/>
              <a:gd name="connsiteY1551" fmla="*/ 7224087 h 7458372"/>
              <a:gd name="connsiteX1552" fmla="*/ 5911287 w 10505529"/>
              <a:gd name="connsiteY1552" fmla="*/ 7223155 h 7458372"/>
              <a:gd name="connsiteX1553" fmla="*/ 5915014 w 10505529"/>
              <a:gd name="connsiteY1553" fmla="*/ 7220758 h 7458372"/>
              <a:gd name="connsiteX1554" fmla="*/ 5917677 w 10505529"/>
              <a:gd name="connsiteY1554" fmla="*/ 7216499 h 7458372"/>
              <a:gd name="connsiteX1555" fmla="*/ 5918742 w 10505529"/>
              <a:gd name="connsiteY1555" fmla="*/ 7211040 h 7458372"/>
              <a:gd name="connsiteX1556" fmla="*/ 5917677 w 10505529"/>
              <a:gd name="connsiteY1556" fmla="*/ 7205850 h 7458372"/>
              <a:gd name="connsiteX1557" fmla="*/ 5915014 w 10505529"/>
              <a:gd name="connsiteY1557" fmla="*/ 7201723 h 7458372"/>
              <a:gd name="connsiteX1558" fmla="*/ 5911021 w 10505529"/>
              <a:gd name="connsiteY1558" fmla="*/ 7199060 h 7458372"/>
              <a:gd name="connsiteX1559" fmla="*/ 5905963 w 10505529"/>
              <a:gd name="connsiteY1559" fmla="*/ 7198129 h 7458372"/>
              <a:gd name="connsiteX1560" fmla="*/ 5688451 w 10505529"/>
              <a:gd name="connsiteY1560" fmla="*/ 7198129 h 7458372"/>
              <a:gd name="connsiteX1561" fmla="*/ 5678467 w 10505529"/>
              <a:gd name="connsiteY1561" fmla="*/ 7201723 h 7458372"/>
              <a:gd name="connsiteX1562" fmla="*/ 5674873 w 10505529"/>
              <a:gd name="connsiteY1562" fmla="*/ 7211174 h 7458372"/>
              <a:gd name="connsiteX1563" fmla="*/ 5678467 w 10505529"/>
              <a:gd name="connsiteY1563" fmla="*/ 7220625 h 7458372"/>
              <a:gd name="connsiteX1564" fmla="*/ 5688451 w 10505529"/>
              <a:gd name="connsiteY1564" fmla="*/ 7224087 h 7458372"/>
              <a:gd name="connsiteX1565" fmla="*/ 5693775 w 10505529"/>
              <a:gd name="connsiteY1565" fmla="*/ 7223155 h 7458372"/>
              <a:gd name="connsiteX1566" fmla="*/ 5697502 w 10505529"/>
              <a:gd name="connsiteY1566" fmla="*/ 7220758 h 7458372"/>
              <a:gd name="connsiteX1567" fmla="*/ 5700165 w 10505529"/>
              <a:gd name="connsiteY1567" fmla="*/ 7216499 h 7458372"/>
              <a:gd name="connsiteX1568" fmla="*/ 5701230 w 10505529"/>
              <a:gd name="connsiteY1568" fmla="*/ 7211040 h 7458372"/>
              <a:gd name="connsiteX1569" fmla="*/ 5700165 w 10505529"/>
              <a:gd name="connsiteY1569" fmla="*/ 7205850 h 7458372"/>
              <a:gd name="connsiteX1570" fmla="*/ 5697502 w 10505529"/>
              <a:gd name="connsiteY1570" fmla="*/ 7201723 h 7458372"/>
              <a:gd name="connsiteX1571" fmla="*/ 5693509 w 10505529"/>
              <a:gd name="connsiteY1571" fmla="*/ 7199060 h 7458372"/>
              <a:gd name="connsiteX1572" fmla="*/ 5688451 w 10505529"/>
              <a:gd name="connsiteY1572" fmla="*/ 7198129 h 7458372"/>
              <a:gd name="connsiteX1573" fmla="*/ 5470806 w 10505529"/>
              <a:gd name="connsiteY1573" fmla="*/ 7198129 h 7458372"/>
              <a:gd name="connsiteX1574" fmla="*/ 5460822 w 10505529"/>
              <a:gd name="connsiteY1574" fmla="*/ 7201723 h 7458372"/>
              <a:gd name="connsiteX1575" fmla="*/ 5457228 w 10505529"/>
              <a:gd name="connsiteY1575" fmla="*/ 7211174 h 7458372"/>
              <a:gd name="connsiteX1576" fmla="*/ 5460822 w 10505529"/>
              <a:gd name="connsiteY1576" fmla="*/ 7220625 h 7458372"/>
              <a:gd name="connsiteX1577" fmla="*/ 5470806 w 10505529"/>
              <a:gd name="connsiteY1577" fmla="*/ 7224087 h 7458372"/>
              <a:gd name="connsiteX1578" fmla="*/ 5476130 w 10505529"/>
              <a:gd name="connsiteY1578" fmla="*/ 7223155 h 7458372"/>
              <a:gd name="connsiteX1579" fmla="*/ 5479857 w 10505529"/>
              <a:gd name="connsiteY1579" fmla="*/ 7220758 h 7458372"/>
              <a:gd name="connsiteX1580" fmla="*/ 5482520 w 10505529"/>
              <a:gd name="connsiteY1580" fmla="*/ 7216499 h 7458372"/>
              <a:gd name="connsiteX1581" fmla="*/ 5483585 w 10505529"/>
              <a:gd name="connsiteY1581" fmla="*/ 7211040 h 7458372"/>
              <a:gd name="connsiteX1582" fmla="*/ 5482520 w 10505529"/>
              <a:gd name="connsiteY1582" fmla="*/ 7205850 h 7458372"/>
              <a:gd name="connsiteX1583" fmla="*/ 5479857 w 10505529"/>
              <a:gd name="connsiteY1583" fmla="*/ 7201723 h 7458372"/>
              <a:gd name="connsiteX1584" fmla="*/ 5475864 w 10505529"/>
              <a:gd name="connsiteY1584" fmla="*/ 7199060 h 7458372"/>
              <a:gd name="connsiteX1585" fmla="*/ 5470806 w 10505529"/>
              <a:gd name="connsiteY1585" fmla="*/ 7198129 h 7458372"/>
              <a:gd name="connsiteX1586" fmla="*/ 5253160 w 10505529"/>
              <a:gd name="connsiteY1586" fmla="*/ 7198129 h 7458372"/>
              <a:gd name="connsiteX1587" fmla="*/ 5243177 w 10505529"/>
              <a:gd name="connsiteY1587" fmla="*/ 7201723 h 7458372"/>
              <a:gd name="connsiteX1588" fmla="*/ 5239583 w 10505529"/>
              <a:gd name="connsiteY1588" fmla="*/ 7211174 h 7458372"/>
              <a:gd name="connsiteX1589" fmla="*/ 5243177 w 10505529"/>
              <a:gd name="connsiteY1589" fmla="*/ 7220625 h 7458372"/>
              <a:gd name="connsiteX1590" fmla="*/ 5253160 w 10505529"/>
              <a:gd name="connsiteY1590" fmla="*/ 7224087 h 7458372"/>
              <a:gd name="connsiteX1591" fmla="*/ 5258485 w 10505529"/>
              <a:gd name="connsiteY1591" fmla="*/ 7223155 h 7458372"/>
              <a:gd name="connsiteX1592" fmla="*/ 5262212 w 10505529"/>
              <a:gd name="connsiteY1592" fmla="*/ 7220758 h 7458372"/>
              <a:gd name="connsiteX1593" fmla="*/ 5264875 w 10505529"/>
              <a:gd name="connsiteY1593" fmla="*/ 7216499 h 7458372"/>
              <a:gd name="connsiteX1594" fmla="*/ 5265939 w 10505529"/>
              <a:gd name="connsiteY1594" fmla="*/ 7211040 h 7458372"/>
              <a:gd name="connsiteX1595" fmla="*/ 5264875 w 10505529"/>
              <a:gd name="connsiteY1595" fmla="*/ 7205850 h 7458372"/>
              <a:gd name="connsiteX1596" fmla="*/ 5262212 w 10505529"/>
              <a:gd name="connsiteY1596" fmla="*/ 7201723 h 7458372"/>
              <a:gd name="connsiteX1597" fmla="*/ 5258219 w 10505529"/>
              <a:gd name="connsiteY1597" fmla="*/ 7199060 h 7458372"/>
              <a:gd name="connsiteX1598" fmla="*/ 5253160 w 10505529"/>
              <a:gd name="connsiteY1598" fmla="*/ 7198129 h 7458372"/>
              <a:gd name="connsiteX1599" fmla="*/ 5035515 w 10505529"/>
              <a:gd name="connsiteY1599" fmla="*/ 7198129 h 7458372"/>
              <a:gd name="connsiteX1600" fmla="*/ 5025532 w 10505529"/>
              <a:gd name="connsiteY1600" fmla="*/ 7201723 h 7458372"/>
              <a:gd name="connsiteX1601" fmla="*/ 5021938 w 10505529"/>
              <a:gd name="connsiteY1601" fmla="*/ 7211174 h 7458372"/>
              <a:gd name="connsiteX1602" fmla="*/ 5025532 w 10505529"/>
              <a:gd name="connsiteY1602" fmla="*/ 7220625 h 7458372"/>
              <a:gd name="connsiteX1603" fmla="*/ 5035515 w 10505529"/>
              <a:gd name="connsiteY1603" fmla="*/ 7224087 h 7458372"/>
              <a:gd name="connsiteX1604" fmla="*/ 5040840 w 10505529"/>
              <a:gd name="connsiteY1604" fmla="*/ 7223155 h 7458372"/>
              <a:gd name="connsiteX1605" fmla="*/ 5044567 w 10505529"/>
              <a:gd name="connsiteY1605" fmla="*/ 7220758 h 7458372"/>
              <a:gd name="connsiteX1606" fmla="*/ 5047230 w 10505529"/>
              <a:gd name="connsiteY1606" fmla="*/ 7216499 h 7458372"/>
              <a:gd name="connsiteX1607" fmla="*/ 5048294 w 10505529"/>
              <a:gd name="connsiteY1607" fmla="*/ 7211040 h 7458372"/>
              <a:gd name="connsiteX1608" fmla="*/ 5047230 w 10505529"/>
              <a:gd name="connsiteY1608" fmla="*/ 7205850 h 7458372"/>
              <a:gd name="connsiteX1609" fmla="*/ 5044567 w 10505529"/>
              <a:gd name="connsiteY1609" fmla="*/ 7201723 h 7458372"/>
              <a:gd name="connsiteX1610" fmla="*/ 5040574 w 10505529"/>
              <a:gd name="connsiteY1610" fmla="*/ 7199060 h 7458372"/>
              <a:gd name="connsiteX1611" fmla="*/ 5035515 w 10505529"/>
              <a:gd name="connsiteY1611" fmla="*/ 7198129 h 7458372"/>
              <a:gd name="connsiteX1612" fmla="*/ 4817870 w 10505529"/>
              <a:gd name="connsiteY1612" fmla="*/ 7198129 h 7458372"/>
              <a:gd name="connsiteX1613" fmla="*/ 4807887 w 10505529"/>
              <a:gd name="connsiteY1613" fmla="*/ 7201723 h 7458372"/>
              <a:gd name="connsiteX1614" fmla="*/ 4804293 w 10505529"/>
              <a:gd name="connsiteY1614" fmla="*/ 7211174 h 7458372"/>
              <a:gd name="connsiteX1615" fmla="*/ 4807887 w 10505529"/>
              <a:gd name="connsiteY1615" fmla="*/ 7220625 h 7458372"/>
              <a:gd name="connsiteX1616" fmla="*/ 4817870 w 10505529"/>
              <a:gd name="connsiteY1616" fmla="*/ 7224087 h 7458372"/>
              <a:gd name="connsiteX1617" fmla="*/ 4823195 w 10505529"/>
              <a:gd name="connsiteY1617" fmla="*/ 7223155 h 7458372"/>
              <a:gd name="connsiteX1618" fmla="*/ 4826922 w 10505529"/>
              <a:gd name="connsiteY1618" fmla="*/ 7220758 h 7458372"/>
              <a:gd name="connsiteX1619" fmla="*/ 4829585 w 10505529"/>
              <a:gd name="connsiteY1619" fmla="*/ 7216499 h 7458372"/>
              <a:gd name="connsiteX1620" fmla="*/ 4830650 w 10505529"/>
              <a:gd name="connsiteY1620" fmla="*/ 7211040 h 7458372"/>
              <a:gd name="connsiteX1621" fmla="*/ 4829585 w 10505529"/>
              <a:gd name="connsiteY1621" fmla="*/ 7205850 h 7458372"/>
              <a:gd name="connsiteX1622" fmla="*/ 4826922 w 10505529"/>
              <a:gd name="connsiteY1622" fmla="*/ 7201723 h 7458372"/>
              <a:gd name="connsiteX1623" fmla="*/ 4822929 w 10505529"/>
              <a:gd name="connsiteY1623" fmla="*/ 7199060 h 7458372"/>
              <a:gd name="connsiteX1624" fmla="*/ 4817870 w 10505529"/>
              <a:gd name="connsiteY1624" fmla="*/ 7198129 h 7458372"/>
              <a:gd name="connsiteX1625" fmla="*/ 4600226 w 10505529"/>
              <a:gd name="connsiteY1625" fmla="*/ 7198129 h 7458372"/>
              <a:gd name="connsiteX1626" fmla="*/ 4590242 w 10505529"/>
              <a:gd name="connsiteY1626" fmla="*/ 7201723 h 7458372"/>
              <a:gd name="connsiteX1627" fmla="*/ 4586648 w 10505529"/>
              <a:gd name="connsiteY1627" fmla="*/ 7211174 h 7458372"/>
              <a:gd name="connsiteX1628" fmla="*/ 4590242 w 10505529"/>
              <a:gd name="connsiteY1628" fmla="*/ 7220625 h 7458372"/>
              <a:gd name="connsiteX1629" fmla="*/ 4600226 w 10505529"/>
              <a:gd name="connsiteY1629" fmla="*/ 7224087 h 7458372"/>
              <a:gd name="connsiteX1630" fmla="*/ 4605550 w 10505529"/>
              <a:gd name="connsiteY1630" fmla="*/ 7223155 h 7458372"/>
              <a:gd name="connsiteX1631" fmla="*/ 4609277 w 10505529"/>
              <a:gd name="connsiteY1631" fmla="*/ 7220758 h 7458372"/>
              <a:gd name="connsiteX1632" fmla="*/ 4611940 w 10505529"/>
              <a:gd name="connsiteY1632" fmla="*/ 7216499 h 7458372"/>
              <a:gd name="connsiteX1633" fmla="*/ 4613005 w 10505529"/>
              <a:gd name="connsiteY1633" fmla="*/ 7211040 h 7458372"/>
              <a:gd name="connsiteX1634" fmla="*/ 4611940 w 10505529"/>
              <a:gd name="connsiteY1634" fmla="*/ 7205850 h 7458372"/>
              <a:gd name="connsiteX1635" fmla="*/ 4609277 w 10505529"/>
              <a:gd name="connsiteY1635" fmla="*/ 7201723 h 7458372"/>
              <a:gd name="connsiteX1636" fmla="*/ 4605284 w 10505529"/>
              <a:gd name="connsiteY1636" fmla="*/ 7199060 h 7458372"/>
              <a:gd name="connsiteX1637" fmla="*/ 4600226 w 10505529"/>
              <a:gd name="connsiteY1637" fmla="*/ 7198129 h 7458372"/>
              <a:gd name="connsiteX1638" fmla="*/ 4382713 w 10505529"/>
              <a:gd name="connsiteY1638" fmla="*/ 7198129 h 7458372"/>
              <a:gd name="connsiteX1639" fmla="*/ 4372730 w 10505529"/>
              <a:gd name="connsiteY1639" fmla="*/ 7201723 h 7458372"/>
              <a:gd name="connsiteX1640" fmla="*/ 4369136 w 10505529"/>
              <a:gd name="connsiteY1640" fmla="*/ 7211174 h 7458372"/>
              <a:gd name="connsiteX1641" fmla="*/ 4372730 w 10505529"/>
              <a:gd name="connsiteY1641" fmla="*/ 7220625 h 7458372"/>
              <a:gd name="connsiteX1642" fmla="*/ 4382713 w 10505529"/>
              <a:gd name="connsiteY1642" fmla="*/ 7224087 h 7458372"/>
              <a:gd name="connsiteX1643" fmla="*/ 4388038 w 10505529"/>
              <a:gd name="connsiteY1643" fmla="*/ 7223155 h 7458372"/>
              <a:gd name="connsiteX1644" fmla="*/ 4391765 w 10505529"/>
              <a:gd name="connsiteY1644" fmla="*/ 7220758 h 7458372"/>
              <a:gd name="connsiteX1645" fmla="*/ 4394428 w 10505529"/>
              <a:gd name="connsiteY1645" fmla="*/ 7216499 h 7458372"/>
              <a:gd name="connsiteX1646" fmla="*/ 4395493 w 10505529"/>
              <a:gd name="connsiteY1646" fmla="*/ 7211040 h 7458372"/>
              <a:gd name="connsiteX1647" fmla="*/ 4394428 w 10505529"/>
              <a:gd name="connsiteY1647" fmla="*/ 7205850 h 7458372"/>
              <a:gd name="connsiteX1648" fmla="*/ 4391765 w 10505529"/>
              <a:gd name="connsiteY1648" fmla="*/ 7201723 h 7458372"/>
              <a:gd name="connsiteX1649" fmla="*/ 4387772 w 10505529"/>
              <a:gd name="connsiteY1649" fmla="*/ 7199060 h 7458372"/>
              <a:gd name="connsiteX1650" fmla="*/ 4382713 w 10505529"/>
              <a:gd name="connsiteY1650" fmla="*/ 7198129 h 7458372"/>
              <a:gd name="connsiteX1651" fmla="*/ 4165068 w 10505529"/>
              <a:gd name="connsiteY1651" fmla="*/ 7198129 h 7458372"/>
              <a:gd name="connsiteX1652" fmla="*/ 4155084 w 10505529"/>
              <a:gd name="connsiteY1652" fmla="*/ 7201723 h 7458372"/>
              <a:gd name="connsiteX1653" fmla="*/ 4151490 w 10505529"/>
              <a:gd name="connsiteY1653" fmla="*/ 7211174 h 7458372"/>
              <a:gd name="connsiteX1654" fmla="*/ 4155084 w 10505529"/>
              <a:gd name="connsiteY1654" fmla="*/ 7220625 h 7458372"/>
              <a:gd name="connsiteX1655" fmla="*/ 4165068 w 10505529"/>
              <a:gd name="connsiteY1655" fmla="*/ 7224087 h 7458372"/>
              <a:gd name="connsiteX1656" fmla="*/ 4170392 w 10505529"/>
              <a:gd name="connsiteY1656" fmla="*/ 7223155 h 7458372"/>
              <a:gd name="connsiteX1657" fmla="*/ 4174119 w 10505529"/>
              <a:gd name="connsiteY1657" fmla="*/ 7220758 h 7458372"/>
              <a:gd name="connsiteX1658" fmla="*/ 4176782 w 10505529"/>
              <a:gd name="connsiteY1658" fmla="*/ 7216499 h 7458372"/>
              <a:gd name="connsiteX1659" fmla="*/ 4177847 w 10505529"/>
              <a:gd name="connsiteY1659" fmla="*/ 7211040 h 7458372"/>
              <a:gd name="connsiteX1660" fmla="*/ 4176782 w 10505529"/>
              <a:gd name="connsiteY1660" fmla="*/ 7205850 h 7458372"/>
              <a:gd name="connsiteX1661" fmla="*/ 4174119 w 10505529"/>
              <a:gd name="connsiteY1661" fmla="*/ 7201723 h 7458372"/>
              <a:gd name="connsiteX1662" fmla="*/ 4170126 w 10505529"/>
              <a:gd name="connsiteY1662" fmla="*/ 7199060 h 7458372"/>
              <a:gd name="connsiteX1663" fmla="*/ 4165068 w 10505529"/>
              <a:gd name="connsiteY1663" fmla="*/ 7198129 h 7458372"/>
              <a:gd name="connsiteX1664" fmla="*/ 3947814 w 10505529"/>
              <a:gd name="connsiteY1664" fmla="*/ 7198129 h 7458372"/>
              <a:gd name="connsiteX1665" fmla="*/ 3937830 w 10505529"/>
              <a:gd name="connsiteY1665" fmla="*/ 7201723 h 7458372"/>
              <a:gd name="connsiteX1666" fmla="*/ 3934236 w 10505529"/>
              <a:gd name="connsiteY1666" fmla="*/ 7211174 h 7458372"/>
              <a:gd name="connsiteX1667" fmla="*/ 3937830 w 10505529"/>
              <a:gd name="connsiteY1667" fmla="*/ 7220625 h 7458372"/>
              <a:gd name="connsiteX1668" fmla="*/ 3947814 w 10505529"/>
              <a:gd name="connsiteY1668" fmla="*/ 7224087 h 7458372"/>
              <a:gd name="connsiteX1669" fmla="*/ 3953143 w 10505529"/>
              <a:gd name="connsiteY1669" fmla="*/ 7223155 h 7458372"/>
              <a:gd name="connsiteX1670" fmla="*/ 3956870 w 10505529"/>
              <a:gd name="connsiteY1670" fmla="*/ 7220758 h 7458372"/>
              <a:gd name="connsiteX1671" fmla="*/ 3959533 w 10505529"/>
              <a:gd name="connsiteY1671" fmla="*/ 7216499 h 7458372"/>
              <a:gd name="connsiteX1672" fmla="*/ 3960598 w 10505529"/>
              <a:gd name="connsiteY1672" fmla="*/ 7211040 h 7458372"/>
              <a:gd name="connsiteX1673" fmla="*/ 3959533 w 10505529"/>
              <a:gd name="connsiteY1673" fmla="*/ 7205850 h 7458372"/>
              <a:gd name="connsiteX1674" fmla="*/ 3956870 w 10505529"/>
              <a:gd name="connsiteY1674" fmla="*/ 7201723 h 7458372"/>
              <a:gd name="connsiteX1675" fmla="*/ 3952876 w 10505529"/>
              <a:gd name="connsiteY1675" fmla="*/ 7199060 h 7458372"/>
              <a:gd name="connsiteX1676" fmla="*/ 3947814 w 10505529"/>
              <a:gd name="connsiteY1676" fmla="*/ 7198129 h 7458372"/>
              <a:gd name="connsiteX1677" fmla="*/ 3730152 w 10505529"/>
              <a:gd name="connsiteY1677" fmla="*/ 7198129 h 7458372"/>
              <a:gd name="connsiteX1678" fmla="*/ 3720164 w 10505529"/>
              <a:gd name="connsiteY1678" fmla="*/ 7201723 h 7458372"/>
              <a:gd name="connsiteX1679" fmla="*/ 3716572 w 10505529"/>
              <a:gd name="connsiteY1679" fmla="*/ 7211174 h 7458372"/>
              <a:gd name="connsiteX1680" fmla="*/ 3720164 w 10505529"/>
              <a:gd name="connsiteY1680" fmla="*/ 7220625 h 7458372"/>
              <a:gd name="connsiteX1681" fmla="*/ 3730152 w 10505529"/>
              <a:gd name="connsiteY1681" fmla="*/ 7224087 h 7458372"/>
              <a:gd name="connsiteX1682" fmla="*/ 3735477 w 10505529"/>
              <a:gd name="connsiteY1682" fmla="*/ 7223155 h 7458372"/>
              <a:gd name="connsiteX1683" fmla="*/ 3739204 w 10505529"/>
              <a:gd name="connsiteY1683" fmla="*/ 7220758 h 7458372"/>
              <a:gd name="connsiteX1684" fmla="*/ 3741867 w 10505529"/>
              <a:gd name="connsiteY1684" fmla="*/ 7216499 h 7458372"/>
              <a:gd name="connsiteX1685" fmla="*/ 3742932 w 10505529"/>
              <a:gd name="connsiteY1685" fmla="*/ 7211040 h 7458372"/>
              <a:gd name="connsiteX1686" fmla="*/ 3741867 w 10505529"/>
              <a:gd name="connsiteY1686" fmla="*/ 7205850 h 7458372"/>
              <a:gd name="connsiteX1687" fmla="*/ 3739204 w 10505529"/>
              <a:gd name="connsiteY1687" fmla="*/ 7201723 h 7458372"/>
              <a:gd name="connsiteX1688" fmla="*/ 3735211 w 10505529"/>
              <a:gd name="connsiteY1688" fmla="*/ 7199060 h 7458372"/>
              <a:gd name="connsiteX1689" fmla="*/ 3730152 w 10505529"/>
              <a:gd name="connsiteY1689" fmla="*/ 7198129 h 7458372"/>
              <a:gd name="connsiteX1690" fmla="*/ 3512486 w 10505529"/>
              <a:gd name="connsiteY1690" fmla="*/ 7198129 h 7458372"/>
              <a:gd name="connsiteX1691" fmla="*/ 3502495 w 10505529"/>
              <a:gd name="connsiteY1691" fmla="*/ 7201723 h 7458372"/>
              <a:gd name="connsiteX1692" fmla="*/ 3498902 w 10505529"/>
              <a:gd name="connsiteY1692" fmla="*/ 7211174 h 7458372"/>
              <a:gd name="connsiteX1693" fmla="*/ 3502495 w 10505529"/>
              <a:gd name="connsiteY1693" fmla="*/ 7220625 h 7458372"/>
              <a:gd name="connsiteX1694" fmla="*/ 3512486 w 10505529"/>
              <a:gd name="connsiteY1694" fmla="*/ 7224087 h 7458372"/>
              <a:gd name="connsiteX1695" fmla="*/ 3517811 w 10505529"/>
              <a:gd name="connsiteY1695" fmla="*/ 7223155 h 7458372"/>
              <a:gd name="connsiteX1696" fmla="*/ 3521539 w 10505529"/>
              <a:gd name="connsiteY1696" fmla="*/ 7220758 h 7458372"/>
              <a:gd name="connsiteX1697" fmla="*/ 3524202 w 10505529"/>
              <a:gd name="connsiteY1697" fmla="*/ 7216499 h 7458372"/>
              <a:gd name="connsiteX1698" fmla="*/ 3525267 w 10505529"/>
              <a:gd name="connsiteY1698" fmla="*/ 7211040 h 7458372"/>
              <a:gd name="connsiteX1699" fmla="*/ 3524202 w 10505529"/>
              <a:gd name="connsiteY1699" fmla="*/ 7205850 h 7458372"/>
              <a:gd name="connsiteX1700" fmla="*/ 3521539 w 10505529"/>
              <a:gd name="connsiteY1700" fmla="*/ 7201723 h 7458372"/>
              <a:gd name="connsiteX1701" fmla="*/ 3517546 w 10505529"/>
              <a:gd name="connsiteY1701" fmla="*/ 7199060 h 7458372"/>
              <a:gd name="connsiteX1702" fmla="*/ 3512486 w 10505529"/>
              <a:gd name="connsiteY1702" fmla="*/ 7198129 h 7458372"/>
              <a:gd name="connsiteX1703" fmla="*/ 3294953 w 10505529"/>
              <a:gd name="connsiteY1703" fmla="*/ 7198129 h 7458372"/>
              <a:gd name="connsiteX1704" fmla="*/ 3284966 w 10505529"/>
              <a:gd name="connsiteY1704" fmla="*/ 7201723 h 7458372"/>
              <a:gd name="connsiteX1705" fmla="*/ 3281372 w 10505529"/>
              <a:gd name="connsiteY1705" fmla="*/ 7211174 h 7458372"/>
              <a:gd name="connsiteX1706" fmla="*/ 3284966 w 10505529"/>
              <a:gd name="connsiteY1706" fmla="*/ 7220625 h 7458372"/>
              <a:gd name="connsiteX1707" fmla="*/ 3294953 w 10505529"/>
              <a:gd name="connsiteY1707" fmla="*/ 7224087 h 7458372"/>
              <a:gd name="connsiteX1708" fmla="*/ 3300279 w 10505529"/>
              <a:gd name="connsiteY1708" fmla="*/ 7223155 h 7458372"/>
              <a:gd name="connsiteX1709" fmla="*/ 3304006 w 10505529"/>
              <a:gd name="connsiteY1709" fmla="*/ 7220758 h 7458372"/>
              <a:gd name="connsiteX1710" fmla="*/ 3306669 w 10505529"/>
              <a:gd name="connsiteY1710" fmla="*/ 7216499 h 7458372"/>
              <a:gd name="connsiteX1711" fmla="*/ 3307733 w 10505529"/>
              <a:gd name="connsiteY1711" fmla="*/ 7211040 h 7458372"/>
              <a:gd name="connsiteX1712" fmla="*/ 3306669 w 10505529"/>
              <a:gd name="connsiteY1712" fmla="*/ 7205850 h 7458372"/>
              <a:gd name="connsiteX1713" fmla="*/ 3304006 w 10505529"/>
              <a:gd name="connsiteY1713" fmla="*/ 7201723 h 7458372"/>
              <a:gd name="connsiteX1714" fmla="*/ 3300013 w 10505529"/>
              <a:gd name="connsiteY1714" fmla="*/ 7199060 h 7458372"/>
              <a:gd name="connsiteX1715" fmla="*/ 3294953 w 10505529"/>
              <a:gd name="connsiteY1715" fmla="*/ 7198129 h 7458372"/>
              <a:gd name="connsiteX1716" fmla="*/ 3077421 w 10505529"/>
              <a:gd name="connsiteY1716" fmla="*/ 7198129 h 7458372"/>
              <a:gd name="connsiteX1717" fmla="*/ 3067437 w 10505529"/>
              <a:gd name="connsiteY1717" fmla="*/ 7201723 h 7458372"/>
              <a:gd name="connsiteX1718" fmla="*/ 3063706 w 10505529"/>
              <a:gd name="connsiteY1718" fmla="*/ 7211174 h 7458372"/>
              <a:gd name="connsiteX1719" fmla="*/ 3067303 w 10505529"/>
              <a:gd name="connsiteY1719" fmla="*/ 7220625 h 7458372"/>
              <a:gd name="connsiteX1720" fmla="*/ 3077288 w 10505529"/>
              <a:gd name="connsiteY1720" fmla="*/ 7224087 h 7458372"/>
              <a:gd name="connsiteX1721" fmla="*/ 3082746 w 10505529"/>
              <a:gd name="connsiteY1721" fmla="*/ 7223155 h 7458372"/>
              <a:gd name="connsiteX1722" fmla="*/ 3086474 w 10505529"/>
              <a:gd name="connsiteY1722" fmla="*/ 7220758 h 7458372"/>
              <a:gd name="connsiteX1723" fmla="*/ 3089136 w 10505529"/>
              <a:gd name="connsiteY1723" fmla="*/ 7216499 h 7458372"/>
              <a:gd name="connsiteX1724" fmla="*/ 3090069 w 10505529"/>
              <a:gd name="connsiteY1724" fmla="*/ 7211040 h 7458372"/>
              <a:gd name="connsiteX1725" fmla="*/ 3089136 w 10505529"/>
              <a:gd name="connsiteY1725" fmla="*/ 7205850 h 7458372"/>
              <a:gd name="connsiteX1726" fmla="*/ 3086474 w 10505529"/>
              <a:gd name="connsiteY1726" fmla="*/ 7201723 h 7458372"/>
              <a:gd name="connsiteX1727" fmla="*/ 3082481 w 10505529"/>
              <a:gd name="connsiteY1727" fmla="*/ 7199060 h 7458372"/>
              <a:gd name="connsiteX1728" fmla="*/ 3077421 w 10505529"/>
              <a:gd name="connsiteY1728" fmla="*/ 7198129 h 7458372"/>
              <a:gd name="connsiteX1729" fmla="*/ 2859623 w 10505529"/>
              <a:gd name="connsiteY1729" fmla="*/ 7198129 h 7458372"/>
              <a:gd name="connsiteX1730" fmla="*/ 2849637 w 10505529"/>
              <a:gd name="connsiteY1730" fmla="*/ 7201723 h 7458372"/>
              <a:gd name="connsiteX1731" fmla="*/ 2846036 w 10505529"/>
              <a:gd name="connsiteY1731" fmla="*/ 7211174 h 7458372"/>
              <a:gd name="connsiteX1732" fmla="*/ 2849637 w 10505529"/>
              <a:gd name="connsiteY1732" fmla="*/ 7220625 h 7458372"/>
              <a:gd name="connsiteX1733" fmla="*/ 2859623 w 10505529"/>
              <a:gd name="connsiteY1733" fmla="*/ 7224087 h 7458372"/>
              <a:gd name="connsiteX1734" fmla="*/ 2864948 w 10505529"/>
              <a:gd name="connsiteY1734" fmla="*/ 7223155 h 7458372"/>
              <a:gd name="connsiteX1735" fmla="*/ 2868675 w 10505529"/>
              <a:gd name="connsiteY1735" fmla="*/ 7220758 h 7458372"/>
              <a:gd name="connsiteX1736" fmla="*/ 2871338 w 10505529"/>
              <a:gd name="connsiteY1736" fmla="*/ 7216499 h 7458372"/>
              <a:gd name="connsiteX1737" fmla="*/ 2872269 w 10505529"/>
              <a:gd name="connsiteY1737" fmla="*/ 7211040 h 7458372"/>
              <a:gd name="connsiteX1738" fmla="*/ 2871338 w 10505529"/>
              <a:gd name="connsiteY1738" fmla="*/ 7205850 h 7458372"/>
              <a:gd name="connsiteX1739" fmla="*/ 2868675 w 10505529"/>
              <a:gd name="connsiteY1739" fmla="*/ 7201723 h 7458372"/>
              <a:gd name="connsiteX1740" fmla="*/ 2864682 w 10505529"/>
              <a:gd name="connsiteY1740" fmla="*/ 7199060 h 7458372"/>
              <a:gd name="connsiteX1741" fmla="*/ 2859623 w 10505529"/>
              <a:gd name="connsiteY1741" fmla="*/ 7198129 h 7458372"/>
              <a:gd name="connsiteX1742" fmla="*/ 2641957 w 10505529"/>
              <a:gd name="connsiteY1742" fmla="*/ 7198129 h 7458372"/>
              <a:gd name="connsiteX1743" fmla="*/ 2631974 w 10505529"/>
              <a:gd name="connsiteY1743" fmla="*/ 7201723 h 7458372"/>
              <a:gd name="connsiteX1744" fmla="*/ 2628379 w 10505529"/>
              <a:gd name="connsiteY1744" fmla="*/ 7211174 h 7458372"/>
              <a:gd name="connsiteX1745" fmla="*/ 2631974 w 10505529"/>
              <a:gd name="connsiteY1745" fmla="*/ 7220625 h 7458372"/>
              <a:gd name="connsiteX1746" fmla="*/ 2641957 w 10505529"/>
              <a:gd name="connsiteY1746" fmla="*/ 7224087 h 7458372"/>
              <a:gd name="connsiteX1747" fmla="*/ 2647282 w 10505529"/>
              <a:gd name="connsiteY1747" fmla="*/ 7223155 h 7458372"/>
              <a:gd name="connsiteX1748" fmla="*/ 2651009 w 10505529"/>
              <a:gd name="connsiteY1748" fmla="*/ 7220758 h 7458372"/>
              <a:gd name="connsiteX1749" fmla="*/ 2653672 w 10505529"/>
              <a:gd name="connsiteY1749" fmla="*/ 7216499 h 7458372"/>
              <a:gd name="connsiteX1750" fmla="*/ 2654603 w 10505529"/>
              <a:gd name="connsiteY1750" fmla="*/ 7211040 h 7458372"/>
              <a:gd name="connsiteX1751" fmla="*/ 2653672 w 10505529"/>
              <a:gd name="connsiteY1751" fmla="*/ 7205850 h 7458372"/>
              <a:gd name="connsiteX1752" fmla="*/ 2651009 w 10505529"/>
              <a:gd name="connsiteY1752" fmla="*/ 7201723 h 7458372"/>
              <a:gd name="connsiteX1753" fmla="*/ 2647016 w 10505529"/>
              <a:gd name="connsiteY1753" fmla="*/ 7199060 h 7458372"/>
              <a:gd name="connsiteX1754" fmla="*/ 2641957 w 10505529"/>
              <a:gd name="connsiteY1754" fmla="*/ 7198129 h 7458372"/>
              <a:gd name="connsiteX1755" fmla="*/ 2424291 w 10505529"/>
              <a:gd name="connsiteY1755" fmla="*/ 7198129 h 7458372"/>
              <a:gd name="connsiteX1756" fmla="*/ 2414308 w 10505529"/>
              <a:gd name="connsiteY1756" fmla="*/ 7201723 h 7458372"/>
              <a:gd name="connsiteX1757" fmla="*/ 2410714 w 10505529"/>
              <a:gd name="connsiteY1757" fmla="*/ 7211174 h 7458372"/>
              <a:gd name="connsiteX1758" fmla="*/ 2414308 w 10505529"/>
              <a:gd name="connsiteY1758" fmla="*/ 7220625 h 7458372"/>
              <a:gd name="connsiteX1759" fmla="*/ 2424291 w 10505529"/>
              <a:gd name="connsiteY1759" fmla="*/ 7224087 h 7458372"/>
              <a:gd name="connsiteX1760" fmla="*/ 2429616 w 10505529"/>
              <a:gd name="connsiteY1760" fmla="*/ 7223155 h 7458372"/>
              <a:gd name="connsiteX1761" fmla="*/ 2433343 w 10505529"/>
              <a:gd name="connsiteY1761" fmla="*/ 7220758 h 7458372"/>
              <a:gd name="connsiteX1762" fmla="*/ 2436006 w 10505529"/>
              <a:gd name="connsiteY1762" fmla="*/ 7216499 h 7458372"/>
              <a:gd name="connsiteX1763" fmla="*/ 2436937 w 10505529"/>
              <a:gd name="connsiteY1763" fmla="*/ 7211040 h 7458372"/>
              <a:gd name="connsiteX1764" fmla="*/ 2436006 w 10505529"/>
              <a:gd name="connsiteY1764" fmla="*/ 7205850 h 7458372"/>
              <a:gd name="connsiteX1765" fmla="*/ 2433343 w 10505529"/>
              <a:gd name="connsiteY1765" fmla="*/ 7201723 h 7458372"/>
              <a:gd name="connsiteX1766" fmla="*/ 2429350 w 10505529"/>
              <a:gd name="connsiteY1766" fmla="*/ 7199060 h 7458372"/>
              <a:gd name="connsiteX1767" fmla="*/ 2424291 w 10505529"/>
              <a:gd name="connsiteY1767" fmla="*/ 7198129 h 7458372"/>
              <a:gd name="connsiteX1768" fmla="*/ 2206625 w 10505529"/>
              <a:gd name="connsiteY1768" fmla="*/ 7198129 h 7458372"/>
              <a:gd name="connsiteX1769" fmla="*/ 2196642 w 10505529"/>
              <a:gd name="connsiteY1769" fmla="*/ 7201723 h 7458372"/>
              <a:gd name="connsiteX1770" fmla="*/ 2193048 w 10505529"/>
              <a:gd name="connsiteY1770" fmla="*/ 7211174 h 7458372"/>
              <a:gd name="connsiteX1771" fmla="*/ 2196642 w 10505529"/>
              <a:gd name="connsiteY1771" fmla="*/ 7220625 h 7458372"/>
              <a:gd name="connsiteX1772" fmla="*/ 2206625 w 10505529"/>
              <a:gd name="connsiteY1772" fmla="*/ 7224087 h 7458372"/>
              <a:gd name="connsiteX1773" fmla="*/ 2211950 w 10505529"/>
              <a:gd name="connsiteY1773" fmla="*/ 7223155 h 7458372"/>
              <a:gd name="connsiteX1774" fmla="*/ 2215677 w 10505529"/>
              <a:gd name="connsiteY1774" fmla="*/ 7220758 h 7458372"/>
              <a:gd name="connsiteX1775" fmla="*/ 2218340 w 10505529"/>
              <a:gd name="connsiteY1775" fmla="*/ 7216499 h 7458372"/>
              <a:gd name="connsiteX1776" fmla="*/ 2219272 w 10505529"/>
              <a:gd name="connsiteY1776" fmla="*/ 7211040 h 7458372"/>
              <a:gd name="connsiteX1777" fmla="*/ 2218340 w 10505529"/>
              <a:gd name="connsiteY1777" fmla="*/ 7205850 h 7458372"/>
              <a:gd name="connsiteX1778" fmla="*/ 2215677 w 10505529"/>
              <a:gd name="connsiteY1778" fmla="*/ 7201723 h 7458372"/>
              <a:gd name="connsiteX1779" fmla="*/ 2211684 w 10505529"/>
              <a:gd name="connsiteY1779" fmla="*/ 7199060 h 7458372"/>
              <a:gd name="connsiteX1780" fmla="*/ 2206625 w 10505529"/>
              <a:gd name="connsiteY1780" fmla="*/ 7198129 h 7458372"/>
              <a:gd name="connsiteX1781" fmla="*/ 1989092 w 10505529"/>
              <a:gd name="connsiteY1781" fmla="*/ 7198129 h 7458372"/>
              <a:gd name="connsiteX1782" fmla="*/ 1979109 w 10505529"/>
              <a:gd name="connsiteY1782" fmla="*/ 7201723 h 7458372"/>
              <a:gd name="connsiteX1783" fmla="*/ 1975515 w 10505529"/>
              <a:gd name="connsiteY1783" fmla="*/ 7211174 h 7458372"/>
              <a:gd name="connsiteX1784" fmla="*/ 1979109 w 10505529"/>
              <a:gd name="connsiteY1784" fmla="*/ 7220625 h 7458372"/>
              <a:gd name="connsiteX1785" fmla="*/ 1989092 w 10505529"/>
              <a:gd name="connsiteY1785" fmla="*/ 7224087 h 7458372"/>
              <a:gd name="connsiteX1786" fmla="*/ 1994417 w 10505529"/>
              <a:gd name="connsiteY1786" fmla="*/ 7223155 h 7458372"/>
              <a:gd name="connsiteX1787" fmla="*/ 1998145 w 10505529"/>
              <a:gd name="connsiteY1787" fmla="*/ 7220758 h 7458372"/>
              <a:gd name="connsiteX1788" fmla="*/ 2000808 w 10505529"/>
              <a:gd name="connsiteY1788" fmla="*/ 7216499 h 7458372"/>
              <a:gd name="connsiteX1789" fmla="*/ 2001738 w 10505529"/>
              <a:gd name="connsiteY1789" fmla="*/ 7211040 h 7458372"/>
              <a:gd name="connsiteX1790" fmla="*/ 2000808 w 10505529"/>
              <a:gd name="connsiteY1790" fmla="*/ 7205850 h 7458372"/>
              <a:gd name="connsiteX1791" fmla="*/ 1998145 w 10505529"/>
              <a:gd name="connsiteY1791" fmla="*/ 7201723 h 7458372"/>
              <a:gd name="connsiteX1792" fmla="*/ 1994151 w 10505529"/>
              <a:gd name="connsiteY1792" fmla="*/ 7199060 h 7458372"/>
              <a:gd name="connsiteX1793" fmla="*/ 1989092 w 10505529"/>
              <a:gd name="connsiteY1793" fmla="*/ 7198129 h 7458372"/>
              <a:gd name="connsiteX1794" fmla="*/ 1771462 w 10505529"/>
              <a:gd name="connsiteY1794" fmla="*/ 7198129 h 7458372"/>
              <a:gd name="connsiteX1795" fmla="*/ 1761480 w 10505529"/>
              <a:gd name="connsiteY1795" fmla="*/ 7201723 h 7458372"/>
              <a:gd name="connsiteX1796" fmla="*/ 1757887 w 10505529"/>
              <a:gd name="connsiteY1796" fmla="*/ 7211174 h 7458372"/>
              <a:gd name="connsiteX1797" fmla="*/ 1761480 w 10505529"/>
              <a:gd name="connsiteY1797" fmla="*/ 7220625 h 7458372"/>
              <a:gd name="connsiteX1798" fmla="*/ 1771462 w 10505529"/>
              <a:gd name="connsiteY1798" fmla="*/ 7224087 h 7458372"/>
              <a:gd name="connsiteX1799" fmla="*/ 1776787 w 10505529"/>
              <a:gd name="connsiteY1799" fmla="*/ 7223155 h 7458372"/>
              <a:gd name="connsiteX1800" fmla="*/ 1780512 w 10505529"/>
              <a:gd name="connsiteY1800" fmla="*/ 7220758 h 7458372"/>
              <a:gd name="connsiteX1801" fmla="*/ 1783175 w 10505529"/>
              <a:gd name="connsiteY1801" fmla="*/ 7216499 h 7458372"/>
              <a:gd name="connsiteX1802" fmla="*/ 1784240 w 10505529"/>
              <a:gd name="connsiteY1802" fmla="*/ 7211040 h 7458372"/>
              <a:gd name="connsiteX1803" fmla="*/ 1783175 w 10505529"/>
              <a:gd name="connsiteY1803" fmla="*/ 7205850 h 7458372"/>
              <a:gd name="connsiteX1804" fmla="*/ 1780512 w 10505529"/>
              <a:gd name="connsiteY1804" fmla="*/ 7201723 h 7458372"/>
              <a:gd name="connsiteX1805" fmla="*/ 1776521 w 10505529"/>
              <a:gd name="connsiteY1805" fmla="*/ 7199060 h 7458372"/>
              <a:gd name="connsiteX1806" fmla="*/ 1771462 w 10505529"/>
              <a:gd name="connsiteY1806" fmla="*/ 7198129 h 7458372"/>
              <a:gd name="connsiteX1807" fmla="*/ 1553827 w 10505529"/>
              <a:gd name="connsiteY1807" fmla="*/ 7198129 h 7458372"/>
              <a:gd name="connsiteX1808" fmla="*/ 1543845 w 10505529"/>
              <a:gd name="connsiteY1808" fmla="*/ 7201723 h 7458372"/>
              <a:gd name="connsiteX1809" fmla="*/ 1540250 w 10505529"/>
              <a:gd name="connsiteY1809" fmla="*/ 7211174 h 7458372"/>
              <a:gd name="connsiteX1810" fmla="*/ 1543845 w 10505529"/>
              <a:gd name="connsiteY1810" fmla="*/ 7220625 h 7458372"/>
              <a:gd name="connsiteX1811" fmla="*/ 1553827 w 10505529"/>
              <a:gd name="connsiteY1811" fmla="*/ 7224087 h 7458372"/>
              <a:gd name="connsiteX1812" fmla="*/ 1559152 w 10505529"/>
              <a:gd name="connsiteY1812" fmla="*/ 7223155 h 7458372"/>
              <a:gd name="connsiteX1813" fmla="*/ 1562879 w 10505529"/>
              <a:gd name="connsiteY1813" fmla="*/ 7220758 h 7458372"/>
              <a:gd name="connsiteX1814" fmla="*/ 1565542 w 10505529"/>
              <a:gd name="connsiteY1814" fmla="*/ 7216499 h 7458372"/>
              <a:gd name="connsiteX1815" fmla="*/ 1566607 w 10505529"/>
              <a:gd name="connsiteY1815" fmla="*/ 7211040 h 7458372"/>
              <a:gd name="connsiteX1816" fmla="*/ 1565542 w 10505529"/>
              <a:gd name="connsiteY1816" fmla="*/ 7205850 h 7458372"/>
              <a:gd name="connsiteX1817" fmla="*/ 1562879 w 10505529"/>
              <a:gd name="connsiteY1817" fmla="*/ 7201723 h 7458372"/>
              <a:gd name="connsiteX1818" fmla="*/ 1558886 w 10505529"/>
              <a:gd name="connsiteY1818" fmla="*/ 7199060 h 7458372"/>
              <a:gd name="connsiteX1819" fmla="*/ 1553827 w 10505529"/>
              <a:gd name="connsiteY1819" fmla="*/ 7198129 h 7458372"/>
              <a:gd name="connsiteX1820" fmla="*/ 1336184 w 10505529"/>
              <a:gd name="connsiteY1820" fmla="*/ 7198129 h 7458372"/>
              <a:gd name="connsiteX1821" fmla="*/ 1326200 w 10505529"/>
              <a:gd name="connsiteY1821" fmla="*/ 7201723 h 7458372"/>
              <a:gd name="connsiteX1822" fmla="*/ 1322606 w 10505529"/>
              <a:gd name="connsiteY1822" fmla="*/ 7211174 h 7458372"/>
              <a:gd name="connsiteX1823" fmla="*/ 1326200 w 10505529"/>
              <a:gd name="connsiteY1823" fmla="*/ 7220625 h 7458372"/>
              <a:gd name="connsiteX1824" fmla="*/ 1336184 w 10505529"/>
              <a:gd name="connsiteY1824" fmla="*/ 7224087 h 7458372"/>
              <a:gd name="connsiteX1825" fmla="*/ 1341511 w 10505529"/>
              <a:gd name="connsiteY1825" fmla="*/ 7223155 h 7458372"/>
              <a:gd name="connsiteX1826" fmla="*/ 1345238 w 10505529"/>
              <a:gd name="connsiteY1826" fmla="*/ 7220758 h 7458372"/>
              <a:gd name="connsiteX1827" fmla="*/ 1347900 w 10505529"/>
              <a:gd name="connsiteY1827" fmla="*/ 7216499 h 7458372"/>
              <a:gd name="connsiteX1828" fmla="*/ 1348966 w 10505529"/>
              <a:gd name="connsiteY1828" fmla="*/ 7211040 h 7458372"/>
              <a:gd name="connsiteX1829" fmla="*/ 1347900 w 10505529"/>
              <a:gd name="connsiteY1829" fmla="*/ 7205850 h 7458372"/>
              <a:gd name="connsiteX1830" fmla="*/ 1345238 w 10505529"/>
              <a:gd name="connsiteY1830" fmla="*/ 7201723 h 7458372"/>
              <a:gd name="connsiteX1831" fmla="*/ 1341243 w 10505529"/>
              <a:gd name="connsiteY1831" fmla="*/ 7199060 h 7458372"/>
              <a:gd name="connsiteX1832" fmla="*/ 1336184 w 10505529"/>
              <a:gd name="connsiteY1832" fmla="*/ 7198129 h 7458372"/>
              <a:gd name="connsiteX1833" fmla="*/ 1118672 w 10505529"/>
              <a:gd name="connsiteY1833" fmla="*/ 7198129 h 7458372"/>
              <a:gd name="connsiteX1834" fmla="*/ 1108686 w 10505529"/>
              <a:gd name="connsiteY1834" fmla="*/ 7201723 h 7458372"/>
              <a:gd name="connsiteX1835" fmla="*/ 1104959 w 10505529"/>
              <a:gd name="connsiteY1835" fmla="*/ 7211174 h 7458372"/>
              <a:gd name="connsiteX1836" fmla="*/ 1108553 w 10505529"/>
              <a:gd name="connsiteY1836" fmla="*/ 7220625 h 7458372"/>
              <a:gd name="connsiteX1837" fmla="*/ 1118539 w 10505529"/>
              <a:gd name="connsiteY1837" fmla="*/ 7224087 h 7458372"/>
              <a:gd name="connsiteX1838" fmla="*/ 1123995 w 10505529"/>
              <a:gd name="connsiteY1838" fmla="*/ 7223155 h 7458372"/>
              <a:gd name="connsiteX1839" fmla="*/ 1127727 w 10505529"/>
              <a:gd name="connsiteY1839" fmla="*/ 7220758 h 7458372"/>
              <a:gd name="connsiteX1840" fmla="*/ 1130391 w 10505529"/>
              <a:gd name="connsiteY1840" fmla="*/ 7216499 h 7458372"/>
              <a:gd name="connsiteX1841" fmla="*/ 1131456 w 10505529"/>
              <a:gd name="connsiteY1841" fmla="*/ 7211040 h 7458372"/>
              <a:gd name="connsiteX1842" fmla="*/ 1130391 w 10505529"/>
              <a:gd name="connsiteY1842" fmla="*/ 7205850 h 7458372"/>
              <a:gd name="connsiteX1843" fmla="*/ 1127727 w 10505529"/>
              <a:gd name="connsiteY1843" fmla="*/ 7201723 h 7458372"/>
              <a:gd name="connsiteX1844" fmla="*/ 1123731 w 10505529"/>
              <a:gd name="connsiteY1844" fmla="*/ 7199060 h 7458372"/>
              <a:gd name="connsiteX1845" fmla="*/ 1118672 w 10505529"/>
              <a:gd name="connsiteY1845" fmla="*/ 7198129 h 7458372"/>
              <a:gd name="connsiteX1846" fmla="*/ 901159 w 10505529"/>
              <a:gd name="connsiteY1846" fmla="*/ 7198129 h 7458372"/>
              <a:gd name="connsiteX1847" fmla="*/ 891175 w 10505529"/>
              <a:gd name="connsiteY1847" fmla="*/ 7201723 h 7458372"/>
              <a:gd name="connsiteX1848" fmla="*/ 887448 w 10505529"/>
              <a:gd name="connsiteY1848" fmla="*/ 7211174 h 7458372"/>
              <a:gd name="connsiteX1849" fmla="*/ 891042 w 10505529"/>
              <a:gd name="connsiteY1849" fmla="*/ 7220625 h 7458372"/>
              <a:gd name="connsiteX1850" fmla="*/ 901025 w 10505529"/>
              <a:gd name="connsiteY1850" fmla="*/ 7224087 h 7458372"/>
              <a:gd name="connsiteX1851" fmla="*/ 906484 w 10505529"/>
              <a:gd name="connsiteY1851" fmla="*/ 7223155 h 7458372"/>
              <a:gd name="connsiteX1852" fmla="*/ 910212 w 10505529"/>
              <a:gd name="connsiteY1852" fmla="*/ 7220758 h 7458372"/>
              <a:gd name="connsiteX1853" fmla="*/ 912874 w 10505529"/>
              <a:gd name="connsiteY1853" fmla="*/ 7216499 h 7458372"/>
              <a:gd name="connsiteX1854" fmla="*/ 913939 w 10505529"/>
              <a:gd name="connsiteY1854" fmla="*/ 7211040 h 7458372"/>
              <a:gd name="connsiteX1855" fmla="*/ 912874 w 10505529"/>
              <a:gd name="connsiteY1855" fmla="*/ 7205850 h 7458372"/>
              <a:gd name="connsiteX1856" fmla="*/ 910212 w 10505529"/>
              <a:gd name="connsiteY1856" fmla="*/ 7201723 h 7458372"/>
              <a:gd name="connsiteX1857" fmla="*/ 906217 w 10505529"/>
              <a:gd name="connsiteY1857" fmla="*/ 7199060 h 7458372"/>
              <a:gd name="connsiteX1858" fmla="*/ 901159 w 10505529"/>
              <a:gd name="connsiteY1858" fmla="*/ 7198129 h 7458372"/>
              <a:gd name="connsiteX1859" fmla="*/ 683387 w 10505529"/>
              <a:gd name="connsiteY1859" fmla="*/ 7198129 h 7458372"/>
              <a:gd name="connsiteX1860" fmla="*/ 673403 w 10505529"/>
              <a:gd name="connsiteY1860" fmla="*/ 7201723 h 7458372"/>
              <a:gd name="connsiteX1861" fmla="*/ 669810 w 10505529"/>
              <a:gd name="connsiteY1861" fmla="*/ 7211174 h 7458372"/>
              <a:gd name="connsiteX1862" fmla="*/ 673403 w 10505529"/>
              <a:gd name="connsiteY1862" fmla="*/ 7220625 h 7458372"/>
              <a:gd name="connsiteX1863" fmla="*/ 683387 w 10505529"/>
              <a:gd name="connsiteY1863" fmla="*/ 7224087 h 7458372"/>
              <a:gd name="connsiteX1864" fmla="*/ 688712 w 10505529"/>
              <a:gd name="connsiteY1864" fmla="*/ 7223155 h 7458372"/>
              <a:gd name="connsiteX1865" fmla="*/ 692439 w 10505529"/>
              <a:gd name="connsiteY1865" fmla="*/ 7220758 h 7458372"/>
              <a:gd name="connsiteX1866" fmla="*/ 695102 w 10505529"/>
              <a:gd name="connsiteY1866" fmla="*/ 7216499 h 7458372"/>
              <a:gd name="connsiteX1867" fmla="*/ 696167 w 10505529"/>
              <a:gd name="connsiteY1867" fmla="*/ 7211040 h 7458372"/>
              <a:gd name="connsiteX1868" fmla="*/ 695102 w 10505529"/>
              <a:gd name="connsiteY1868" fmla="*/ 7205850 h 7458372"/>
              <a:gd name="connsiteX1869" fmla="*/ 692439 w 10505529"/>
              <a:gd name="connsiteY1869" fmla="*/ 7201723 h 7458372"/>
              <a:gd name="connsiteX1870" fmla="*/ 688446 w 10505529"/>
              <a:gd name="connsiteY1870" fmla="*/ 7199060 h 7458372"/>
              <a:gd name="connsiteX1871" fmla="*/ 683387 w 10505529"/>
              <a:gd name="connsiteY1871" fmla="*/ 7198129 h 7458372"/>
              <a:gd name="connsiteX1872" fmla="*/ 465746 w 10505529"/>
              <a:gd name="connsiteY1872" fmla="*/ 7198129 h 7458372"/>
              <a:gd name="connsiteX1873" fmla="*/ 455763 w 10505529"/>
              <a:gd name="connsiteY1873" fmla="*/ 7201723 h 7458372"/>
              <a:gd name="connsiteX1874" fmla="*/ 452169 w 10505529"/>
              <a:gd name="connsiteY1874" fmla="*/ 7211174 h 7458372"/>
              <a:gd name="connsiteX1875" fmla="*/ 455763 w 10505529"/>
              <a:gd name="connsiteY1875" fmla="*/ 7220625 h 7458372"/>
              <a:gd name="connsiteX1876" fmla="*/ 465746 w 10505529"/>
              <a:gd name="connsiteY1876" fmla="*/ 7224087 h 7458372"/>
              <a:gd name="connsiteX1877" fmla="*/ 471072 w 10505529"/>
              <a:gd name="connsiteY1877" fmla="*/ 7223155 h 7458372"/>
              <a:gd name="connsiteX1878" fmla="*/ 474799 w 10505529"/>
              <a:gd name="connsiteY1878" fmla="*/ 7220758 h 7458372"/>
              <a:gd name="connsiteX1879" fmla="*/ 477462 w 10505529"/>
              <a:gd name="connsiteY1879" fmla="*/ 7216499 h 7458372"/>
              <a:gd name="connsiteX1880" fmla="*/ 478527 w 10505529"/>
              <a:gd name="connsiteY1880" fmla="*/ 7211040 h 7458372"/>
              <a:gd name="connsiteX1881" fmla="*/ 477462 w 10505529"/>
              <a:gd name="connsiteY1881" fmla="*/ 7205850 h 7458372"/>
              <a:gd name="connsiteX1882" fmla="*/ 474799 w 10505529"/>
              <a:gd name="connsiteY1882" fmla="*/ 7201723 h 7458372"/>
              <a:gd name="connsiteX1883" fmla="*/ 470806 w 10505529"/>
              <a:gd name="connsiteY1883" fmla="*/ 7199060 h 7458372"/>
              <a:gd name="connsiteX1884" fmla="*/ 465746 w 10505529"/>
              <a:gd name="connsiteY1884" fmla="*/ 7198129 h 7458372"/>
              <a:gd name="connsiteX1885" fmla="*/ 248106 w 10505529"/>
              <a:gd name="connsiteY1885" fmla="*/ 7198129 h 7458372"/>
              <a:gd name="connsiteX1886" fmla="*/ 238124 w 10505529"/>
              <a:gd name="connsiteY1886" fmla="*/ 7201723 h 7458372"/>
              <a:gd name="connsiteX1887" fmla="*/ 234530 w 10505529"/>
              <a:gd name="connsiteY1887" fmla="*/ 7211174 h 7458372"/>
              <a:gd name="connsiteX1888" fmla="*/ 238124 w 10505529"/>
              <a:gd name="connsiteY1888" fmla="*/ 7220625 h 7458372"/>
              <a:gd name="connsiteX1889" fmla="*/ 248106 w 10505529"/>
              <a:gd name="connsiteY1889" fmla="*/ 7224087 h 7458372"/>
              <a:gd name="connsiteX1890" fmla="*/ 253430 w 10505529"/>
              <a:gd name="connsiteY1890" fmla="*/ 7223155 h 7458372"/>
              <a:gd name="connsiteX1891" fmla="*/ 257157 w 10505529"/>
              <a:gd name="connsiteY1891" fmla="*/ 7220758 h 7458372"/>
              <a:gd name="connsiteX1892" fmla="*/ 259820 w 10505529"/>
              <a:gd name="connsiteY1892" fmla="*/ 7216499 h 7458372"/>
              <a:gd name="connsiteX1893" fmla="*/ 260885 w 10505529"/>
              <a:gd name="connsiteY1893" fmla="*/ 7211040 h 7458372"/>
              <a:gd name="connsiteX1894" fmla="*/ 259820 w 10505529"/>
              <a:gd name="connsiteY1894" fmla="*/ 7205850 h 7458372"/>
              <a:gd name="connsiteX1895" fmla="*/ 257157 w 10505529"/>
              <a:gd name="connsiteY1895" fmla="*/ 7201723 h 7458372"/>
              <a:gd name="connsiteX1896" fmla="*/ 253164 w 10505529"/>
              <a:gd name="connsiteY1896" fmla="*/ 7199060 h 7458372"/>
              <a:gd name="connsiteX1897" fmla="*/ 248106 w 10505529"/>
              <a:gd name="connsiteY1897" fmla="*/ 7198129 h 7458372"/>
              <a:gd name="connsiteX1898" fmla="*/ 30465 w 10505529"/>
              <a:gd name="connsiteY1898" fmla="*/ 7198129 h 7458372"/>
              <a:gd name="connsiteX1899" fmla="*/ 20482 w 10505529"/>
              <a:gd name="connsiteY1899" fmla="*/ 7201723 h 7458372"/>
              <a:gd name="connsiteX1900" fmla="*/ 16889 w 10505529"/>
              <a:gd name="connsiteY1900" fmla="*/ 7211174 h 7458372"/>
              <a:gd name="connsiteX1901" fmla="*/ 20482 w 10505529"/>
              <a:gd name="connsiteY1901" fmla="*/ 7220625 h 7458372"/>
              <a:gd name="connsiteX1902" fmla="*/ 30465 w 10505529"/>
              <a:gd name="connsiteY1902" fmla="*/ 7224087 h 7458372"/>
              <a:gd name="connsiteX1903" fmla="*/ 35790 w 10505529"/>
              <a:gd name="connsiteY1903" fmla="*/ 7223155 h 7458372"/>
              <a:gd name="connsiteX1904" fmla="*/ 39517 w 10505529"/>
              <a:gd name="connsiteY1904" fmla="*/ 7220758 h 7458372"/>
              <a:gd name="connsiteX1905" fmla="*/ 42180 w 10505529"/>
              <a:gd name="connsiteY1905" fmla="*/ 7216499 h 7458372"/>
              <a:gd name="connsiteX1906" fmla="*/ 43111 w 10505529"/>
              <a:gd name="connsiteY1906" fmla="*/ 7211040 h 7458372"/>
              <a:gd name="connsiteX1907" fmla="*/ 42180 w 10505529"/>
              <a:gd name="connsiteY1907" fmla="*/ 7205850 h 7458372"/>
              <a:gd name="connsiteX1908" fmla="*/ 39517 w 10505529"/>
              <a:gd name="connsiteY1908" fmla="*/ 7201723 h 7458372"/>
              <a:gd name="connsiteX1909" fmla="*/ 35524 w 10505529"/>
              <a:gd name="connsiteY1909" fmla="*/ 7199060 h 7458372"/>
              <a:gd name="connsiteX1910" fmla="*/ 30465 w 10505529"/>
              <a:gd name="connsiteY1910" fmla="*/ 7198129 h 7458372"/>
              <a:gd name="connsiteX1911" fmla="*/ 10475977 w 10505529"/>
              <a:gd name="connsiteY1911" fmla="*/ 7181489 h 7458372"/>
              <a:gd name="connsiteX1912" fmla="*/ 10487824 w 10505529"/>
              <a:gd name="connsiteY1912" fmla="*/ 7183752 h 7458372"/>
              <a:gd name="connsiteX1913" fmla="*/ 10497143 w 10505529"/>
              <a:gd name="connsiteY1913" fmla="*/ 7190141 h 7458372"/>
              <a:gd name="connsiteX1914" fmla="*/ 10503266 w 10505529"/>
              <a:gd name="connsiteY1914" fmla="*/ 7199459 h 7458372"/>
              <a:gd name="connsiteX1915" fmla="*/ 10505529 w 10505529"/>
              <a:gd name="connsiteY1915" fmla="*/ 7210908 h 7458372"/>
              <a:gd name="connsiteX1916" fmla="*/ 10503266 w 10505529"/>
              <a:gd name="connsiteY1916" fmla="*/ 7222622 h 7458372"/>
              <a:gd name="connsiteX1917" fmla="*/ 10497143 w 10505529"/>
              <a:gd name="connsiteY1917" fmla="*/ 7232074 h 7458372"/>
              <a:gd name="connsiteX1918" fmla="*/ 10487824 w 10505529"/>
              <a:gd name="connsiteY1918" fmla="*/ 7238331 h 7458372"/>
              <a:gd name="connsiteX1919" fmla="*/ 10475977 w 10505529"/>
              <a:gd name="connsiteY1919" fmla="*/ 7240594 h 7458372"/>
              <a:gd name="connsiteX1920" fmla="*/ 10454145 w 10505529"/>
              <a:gd name="connsiteY1920" fmla="*/ 7232207 h 7458372"/>
              <a:gd name="connsiteX1921" fmla="*/ 10445759 w 10505529"/>
              <a:gd name="connsiteY1921" fmla="*/ 7211040 h 7458372"/>
              <a:gd name="connsiteX1922" fmla="*/ 10454145 w 10505529"/>
              <a:gd name="connsiteY1922" fmla="*/ 7190009 h 7458372"/>
              <a:gd name="connsiteX1923" fmla="*/ 10475977 w 10505529"/>
              <a:gd name="connsiteY1923" fmla="*/ 7181489 h 7458372"/>
              <a:gd name="connsiteX1924" fmla="*/ 10258466 w 10505529"/>
              <a:gd name="connsiteY1924" fmla="*/ 7181489 h 7458372"/>
              <a:gd name="connsiteX1925" fmla="*/ 10270313 w 10505529"/>
              <a:gd name="connsiteY1925" fmla="*/ 7183752 h 7458372"/>
              <a:gd name="connsiteX1926" fmla="*/ 10279631 w 10505529"/>
              <a:gd name="connsiteY1926" fmla="*/ 7190141 h 7458372"/>
              <a:gd name="connsiteX1927" fmla="*/ 10285754 w 10505529"/>
              <a:gd name="connsiteY1927" fmla="*/ 7199459 h 7458372"/>
              <a:gd name="connsiteX1928" fmla="*/ 10288017 w 10505529"/>
              <a:gd name="connsiteY1928" fmla="*/ 7210908 h 7458372"/>
              <a:gd name="connsiteX1929" fmla="*/ 10285754 w 10505529"/>
              <a:gd name="connsiteY1929" fmla="*/ 7222622 h 7458372"/>
              <a:gd name="connsiteX1930" fmla="*/ 10279631 w 10505529"/>
              <a:gd name="connsiteY1930" fmla="*/ 7232074 h 7458372"/>
              <a:gd name="connsiteX1931" fmla="*/ 10270313 w 10505529"/>
              <a:gd name="connsiteY1931" fmla="*/ 7238331 h 7458372"/>
              <a:gd name="connsiteX1932" fmla="*/ 10258466 w 10505529"/>
              <a:gd name="connsiteY1932" fmla="*/ 7240594 h 7458372"/>
              <a:gd name="connsiteX1933" fmla="*/ 10236633 w 10505529"/>
              <a:gd name="connsiteY1933" fmla="*/ 7232207 h 7458372"/>
              <a:gd name="connsiteX1934" fmla="*/ 10228247 w 10505529"/>
              <a:gd name="connsiteY1934" fmla="*/ 7211040 h 7458372"/>
              <a:gd name="connsiteX1935" fmla="*/ 10236633 w 10505529"/>
              <a:gd name="connsiteY1935" fmla="*/ 7190009 h 7458372"/>
              <a:gd name="connsiteX1936" fmla="*/ 10258466 w 10505529"/>
              <a:gd name="connsiteY1936" fmla="*/ 7181489 h 7458372"/>
              <a:gd name="connsiteX1937" fmla="*/ 10040820 w 10505529"/>
              <a:gd name="connsiteY1937" fmla="*/ 7181489 h 7458372"/>
              <a:gd name="connsiteX1938" fmla="*/ 10052534 w 10505529"/>
              <a:gd name="connsiteY1938" fmla="*/ 7183752 h 7458372"/>
              <a:gd name="connsiteX1939" fmla="*/ 10061852 w 10505529"/>
              <a:gd name="connsiteY1939" fmla="*/ 7190141 h 7458372"/>
              <a:gd name="connsiteX1940" fmla="*/ 10067976 w 10505529"/>
              <a:gd name="connsiteY1940" fmla="*/ 7199459 h 7458372"/>
              <a:gd name="connsiteX1941" fmla="*/ 10070239 w 10505529"/>
              <a:gd name="connsiteY1941" fmla="*/ 7210908 h 7458372"/>
              <a:gd name="connsiteX1942" fmla="*/ 10067976 w 10505529"/>
              <a:gd name="connsiteY1942" fmla="*/ 7222622 h 7458372"/>
              <a:gd name="connsiteX1943" fmla="*/ 10061852 w 10505529"/>
              <a:gd name="connsiteY1943" fmla="*/ 7232074 h 7458372"/>
              <a:gd name="connsiteX1944" fmla="*/ 10052534 w 10505529"/>
              <a:gd name="connsiteY1944" fmla="*/ 7238331 h 7458372"/>
              <a:gd name="connsiteX1945" fmla="*/ 10040820 w 10505529"/>
              <a:gd name="connsiteY1945" fmla="*/ 7240594 h 7458372"/>
              <a:gd name="connsiteX1946" fmla="*/ 10018988 w 10505529"/>
              <a:gd name="connsiteY1946" fmla="*/ 7232207 h 7458372"/>
              <a:gd name="connsiteX1947" fmla="*/ 10010602 w 10505529"/>
              <a:gd name="connsiteY1947" fmla="*/ 7211040 h 7458372"/>
              <a:gd name="connsiteX1948" fmla="*/ 10018988 w 10505529"/>
              <a:gd name="connsiteY1948" fmla="*/ 7190009 h 7458372"/>
              <a:gd name="connsiteX1949" fmla="*/ 10040820 w 10505529"/>
              <a:gd name="connsiteY1949" fmla="*/ 7181489 h 7458372"/>
              <a:gd name="connsiteX1950" fmla="*/ 9823176 w 10505529"/>
              <a:gd name="connsiteY1950" fmla="*/ 7181489 h 7458372"/>
              <a:gd name="connsiteX1951" fmla="*/ 9834890 w 10505529"/>
              <a:gd name="connsiteY1951" fmla="*/ 7183752 h 7458372"/>
              <a:gd name="connsiteX1952" fmla="*/ 9844208 w 10505529"/>
              <a:gd name="connsiteY1952" fmla="*/ 7190141 h 7458372"/>
              <a:gd name="connsiteX1953" fmla="*/ 9850331 w 10505529"/>
              <a:gd name="connsiteY1953" fmla="*/ 7199459 h 7458372"/>
              <a:gd name="connsiteX1954" fmla="*/ 9852595 w 10505529"/>
              <a:gd name="connsiteY1954" fmla="*/ 7210908 h 7458372"/>
              <a:gd name="connsiteX1955" fmla="*/ 9850331 w 10505529"/>
              <a:gd name="connsiteY1955" fmla="*/ 7222622 h 7458372"/>
              <a:gd name="connsiteX1956" fmla="*/ 9844208 w 10505529"/>
              <a:gd name="connsiteY1956" fmla="*/ 7232074 h 7458372"/>
              <a:gd name="connsiteX1957" fmla="*/ 9834890 w 10505529"/>
              <a:gd name="connsiteY1957" fmla="*/ 7238331 h 7458372"/>
              <a:gd name="connsiteX1958" fmla="*/ 9823176 w 10505529"/>
              <a:gd name="connsiteY1958" fmla="*/ 7240594 h 7458372"/>
              <a:gd name="connsiteX1959" fmla="*/ 9801343 w 10505529"/>
              <a:gd name="connsiteY1959" fmla="*/ 7232207 h 7458372"/>
              <a:gd name="connsiteX1960" fmla="*/ 9792957 w 10505529"/>
              <a:gd name="connsiteY1960" fmla="*/ 7211040 h 7458372"/>
              <a:gd name="connsiteX1961" fmla="*/ 9801343 w 10505529"/>
              <a:gd name="connsiteY1961" fmla="*/ 7190009 h 7458372"/>
              <a:gd name="connsiteX1962" fmla="*/ 9823176 w 10505529"/>
              <a:gd name="connsiteY1962" fmla="*/ 7181489 h 7458372"/>
              <a:gd name="connsiteX1963" fmla="*/ 9605531 w 10505529"/>
              <a:gd name="connsiteY1963" fmla="*/ 7181489 h 7458372"/>
              <a:gd name="connsiteX1964" fmla="*/ 9617245 w 10505529"/>
              <a:gd name="connsiteY1964" fmla="*/ 7183752 h 7458372"/>
              <a:gd name="connsiteX1965" fmla="*/ 9626562 w 10505529"/>
              <a:gd name="connsiteY1965" fmla="*/ 7190141 h 7458372"/>
              <a:gd name="connsiteX1966" fmla="*/ 9632686 w 10505529"/>
              <a:gd name="connsiteY1966" fmla="*/ 7199459 h 7458372"/>
              <a:gd name="connsiteX1967" fmla="*/ 9634949 w 10505529"/>
              <a:gd name="connsiteY1967" fmla="*/ 7210908 h 7458372"/>
              <a:gd name="connsiteX1968" fmla="*/ 9632686 w 10505529"/>
              <a:gd name="connsiteY1968" fmla="*/ 7222622 h 7458372"/>
              <a:gd name="connsiteX1969" fmla="*/ 9626562 w 10505529"/>
              <a:gd name="connsiteY1969" fmla="*/ 7232074 h 7458372"/>
              <a:gd name="connsiteX1970" fmla="*/ 9617245 w 10505529"/>
              <a:gd name="connsiteY1970" fmla="*/ 7238331 h 7458372"/>
              <a:gd name="connsiteX1971" fmla="*/ 9605531 w 10505529"/>
              <a:gd name="connsiteY1971" fmla="*/ 7240594 h 7458372"/>
              <a:gd name="connsiteX1972" fmla="*/ 9583698 w 10505529"/>
              <a:gd name="connsiteY1972" fmla="*/ 7232207 h 7458372"/>
              <a:gd name="connsiteX1973" fmla="*/ 9575312 w 10505529"/>
              <a:gd name="connsiteY1973" fmla="*/ 7211040 h 7458372"/>
              <a:gd name="connsiteX1974" fmla="*/ 9583698 w 10505529"/>
              <a:gd name="connsiteY1974" fmla="*/ 7190009 h 7458372"/>
              <a:gd name="connsiteX1975" fmla="*/ 9605531 w 10505529"/>
              <a:gd name="connsiteY1975" fmla="*/ 7181489 h 7458372"/>
              <a:gd name="connsiteX1976" fmla="*/ 9387885 w 10505529"/>
              <a:gd name="connsiteY1976" fmla="*/ 7181489 h 7458372"/>
              <a:gd name="connsiteX1977" fmla="*/ 9399599 w 10505529"/>
              <a:gd name="connsiteY1977" fmla="*/ 7183752 h 7458372"/>
              <a:gd name="connsiteX1978" fmla="*/ 9408917 w 10505529"/>
              <a:gd name="connsiteY1978" fmla="*/ 7190141 h 7458372"/>
              <a:gd name="connsiteX1979" fmla="*/ 9415041 w 10505529"/>
              <a:gd name="connsiteY1979" fmla="*/ 7199459 h 7458372"/>
              <a:gd name="connsiteX1980" fmla="*/ 9417304 w 10505529"/>
              <a:gd name="connsiteY1980" fmla="*/ 7210908 h 7458372"/>
              <a:gd name="connsiteX1981" fmla="*/ 9415041 w 10505529"/>
              <a:gd name="connsiteY1981" fmla="*/ 7222622 h 7458372"/>
              <a:gd name="connsiteX1982" fmla="*/ 9408917 w 10505529"/>
              <a:gd name="connsiteY1982" fmla="*/ 7232074 h 7458372"/>
              <a:gd name="connsiteX1983" fmla="*/ 9399599 w 10505529"/>
              <a:gd name="connsiteY1983" fmla="*/ 7238331 h 7458372"/>
              <a:gd name="connsiteX1984" fmla="*/ 9387885 w 10505529"/>
              <a:gd name="connsiteY1984" fmla="*/ 7240594 h 7458372"/>
              <a:gd name="connsiteX1985" fmla="*/ 9366053 w 10505529"/>
              <a:gd name="connsiteY1985" fmla="*/ 7232207 h 7458372"/>
              <a:gd name="connsiteX1986" fmla="*/ 9357667 w 10505529"/>
              <a:gd name="connsiteY1986" fmla="*/ 7211040 h 7458372"/>
              <a:gd name="connsiteX1987" fmla="*/ 9366053 w 10505529"/>
              <a:gd name="connsiteY1987" fmla="*/ 7190009 h 7458372"/>
              <a:gd name="connsiteX1988" fmla="*/ 9387885 w 10505529"/>
              <a:gd name="connsiteY1988" fmla="*/ 7181489 h 7458372"/>
              <a:gd name="connsiteX1989" fmla="*/ 9170374 w 10505529"/>
              <a:gd name="connsiteY1989" fmla="*/ 7181489 h 7458372"/>
              <a:gd name="connsiteX1990" fmla="*/ 9182088 w 10505529"/>
              <a:gd name="connsiteY1990" fmla="*/ 7183752 h 7458372"/>
              <a:gd name="connsiteX1991" fmla="*/ 9191405 w 10505529"/>
              <a:gd name="connsiteY1991" fmla="*/ 7190141 h 7458372"/>
              <a:gd name="connsiteX1992" fmla="*/ 9197529 w 10505529"/>
              <a:gd name="connsiteY1992" fmla="*/ 7199459 h 7458372"/>
              <a:gd name="connsiteX1993" fmla="*/ 9199792 w 10505529"/>
              <a:gd name="connsiteY1993" fmla="*/ 7210908 h 7458372"/>
              <a:gd name="connsiteX1994" fmla="*/ 9197529 w 10505529"/>
              <a:gd name="connsiteY1994" fmla="*/ 7222622 h 7458372"/>
              <a:gd name="connsiteX1995" fmla="*/ 9191405 w 10505529"/>
              <a:gd name="connsiteY1995" fmla="*/ 7232074 h 7458372"/>
              <a:gd name="connsiteX1996" fmla="*/ 9182088 w 10505529"/>
              <a:gd name="connsiteY1996" fmla="*/ 7238331 h 7458372"/>
              <a:gd name="connsiteX1997" fmla="*/ 9170374 w 10505529"/>
              <a:gd name="connsiteY1997" fmla="*/ 7240594 h 7458372"/>
              <a:gd name="connsiteX1998" fmla="*/ 9148541 w 10505529"/>
              <a:gd name="connsiteY1998" fmla="*/ 7232207 h 7458372"/>
              <a:gd name="connsiteX1999" fmla="*/ 9140155 w 10505529"/>
              <a:gd name="connsiteY1999" fmla="*/ 7211040 h 7458372"/>
              <a:gd name="connsiteX2000" fmla="*/ 9148541 w 10505529"/>
              <a:gd name="connsiteY2000" fmla="*/ 7190009 h 7458372"/>
              <a:gd name="connsiteX2001" fmla="*/ 9170374 w 10505529"/>
              <a:gd name="connsiteY2001" fmla="*/ 7181489 h 7458372"/>
              <a:gd name="connsiteX2002" fmla="*/ 8952728 w 10505529"/>
              <a:gd name="connsiteY2002" fmla="*/ 7181489 h 7458372"/>
              <a:gd name="connsiteX2003" fmla="*/ 8964442 w 10505529"/>
              <a:gd name="connsiteY2003" fmla="*/ 7183752 h 7458372"/>
              <a:gd name="connsiteX2004" fmla="*/ 8973760 w 10505529"/>
              <a:gd name="connsiteY2004" fmla="*/ 7190141 h 7458372"/>
              <a:gd name="connsiteX2005" fmla="*/ 8979884 w 10505529"/>
              <a:gd name="connsiteY2005" fmla="*/ 7199459 h 7458372"/>
              <a:gd name="connsiteX2006" fmla="*/ 8982147 w 10505529"/>
              <a:gd name="connsiteY2006" fmla="*/ 7210908 h 7458372"/>
              <a:gd name="connsiteX2007" fmla="*/ 8979884 w 10505529"/>
              <a:gd name="connsiteY2007" fmla="*/ 7222622 h 7458372"/>
              <a:gd name="connsiteX2008" fmla="*/ 8973760 w 10505529"/>
              <a:gd name="connsiteY2008" fmla="*/ 7232074 h 7458372"/>
              <a:gd name="connsiteX2009" fmla="*/ 8964442 w 10505529"/>
              <a:gd name="connsiteY2009" fmla="*/ 7238331 h 7458372"/>
              <a:gd name="connsiteX2010" fmla="*/ 8952728 w 10505529"/>
              <a:gd name="connsiteY2010" fmla="*/ 7240594 h 7458372"/>
              <a:gd name="connsiteX2011" fmla="*/ 8930896 w 10505529"/>
              <a:gd name="connsiteY2011" fmla="*/ 7232207 h 7458372"/>
              <a:gd name="connsiteX2012" fmla="*/ 8922510 w 10505529"/>
              <a:gd name="connsiteY2012" fmla="*/ 7211040 h 7458372"/>
              <a:gd name="connsiteX2013" fmla="*/ 8930896 w 10505529"/>
              <a:gd name="connsiteY2013" fmla="*/ 7190009 h 7458372"/>
              <a:gd name="connsiteX2014" fmla="*/ 8952728 w 10505529"/>
              <a:gd name="connsiteY2014" fmla="*/ 7181489 h 7458372"/>
              <a:gd name="connsiteX2015" fmla="*/ 8735083 w 10505529"/>
              <a:gd name="connsiteY2015" fmla="*/ 7181489 h 7458372"/>
              <a:gd name="connsiteX2016" fmla="*/ 8746797 w 10505529"/>
              <a:gd name="connsiteY2016" fmla="*/ 7183752 h 7458372"/>
              <a:gd name="connsiteX2017" fmla="*/ 8756115 w 10505529"/>
              <a:gd name="connsiteY2017" fmla="*/ 7190141 h 7458372"/>
              <a:gd name="connsiteX2018" fmla="*/ 8762238 w 10505529"/>
              <a:gd name="connsiteY2018" fmla="*/ 7199459 h 7458372"/>
              <a:gd name="connsiteX2019" fmla="*/ 8764502 w 10505529"/>
              <a:gd name="connsiteY2019" fmla="*/ 7210908 h 7458372"/>
              <a:gd name="connsiteX2020" fmla="*/ 8762238 w 10505529"/>
              <a:gd name="connsiteY2020" fmla="*/ 7222622 h 7458372"/>
              <a:gd name="connsiteX2021" fmla="*/ 8756115 w 10505529"/>
              <a:gd name="connsiteY2021" fmla="*/ 7232074 h 7458372"/>
              <a:gd name="connsiteX2022" fmla="*/ 8746797 w 10505529"/>
              <a:gd name="connsiteY2022" fmla="*/ 7238331 h 7458372"/>
              <a:gd name="connsiteX2023" fmla="*/ 8735083 w 10505529"/>
              <a:gd name="connsiteY2023" fmla="*/ 7240594 h 7458372"/>
              <a:gd name="connsiteX2024" fmla="*/ 8713250 w 10505529"/>
              <a:gd name="connsiteY2024" fmla="*/ 7232207 h 7458372"/>
              <a:gd name="connsiteX2025" fmla="*/ 8704864 w 10505529"/>
              <a:gd name="connsiteY2025" fmla="*/ 7211040 h 7458372"/>
              <a:gd name="connsiteX2026" fmla="*/ 8713250 w 10505529"/>
              <a:gd name="connsiteY2026" fmla="*/ 7190009 h 7458372"/>
              <a:gd name="connsiteX2027" fmla="*/ 8735083 w 10505529"/>
              <a:gd name="connsiteY2027" fmla="*/ 7181489 h 7458372"/>
              <a:gd name="connsiteX2028" fmla="*/ 8517438 w 10505529"/>
              <a:gd name="connsiteY2028" fmla="*/ 7181489 h 7458372"/>
              <a:gd name="connsiteX2029" fmla="*/ 8529152 w 10505529"/>
              <a:gd name="connsiteY2029" fmla="*/ 7183752 h 7458372"/>
              <a:gd name="connsiteX2030" fmla="*/ 8538470 w 10505529"/>
              <a:gd name="connsiteY2030" fmla="*/ 7190141 h 7458372"/>
              <a:gd name="connsiteX2031" fmla="*/ 8544594 w 10505529"/>
              <a:gd name="connsiteY2031" fmla="*/ 7199459 h 7458372"/>
              <a:gd name="connsiteX2032" fmla="*/ 8546857 w 10505529"/>
              <a:gd name="connsiteY2032" fmla="*/ 7210908 h 7458372"/>
              <a:gd name="connsiteX2033" fmla="*/ 8544594 w 10505529"/>
              <a:gd name="connsiteY2033" fmla="*/ 7222622 h 7458372"/>
              <a:gd name="connsiteX2034" fmla="*/ 8538470 w 10505529"/>
              <a:gd name="connsiteY2034" fmla="*/ 7232074 h 7458372"/>
              <a:gd name="connsiteX2035" fmla="*/ 8529152 w 10505529"/>
              <a:gd name="connsiteY2035" fmla="*/ 7238331 h 7458372"/>
              <a:gd name="connsiteX2036" fmla="*/ 8517438 w 10505529"/>
              <a:gd name="connsiteY2036" fmla="*/ 7240594 h 7458372"/>
              <a:gd name="connsiteX2037" fmla="*/ 8495606 w 10505529"/>
              <a:gd name="connsiteY2037" fmla="*/ 7232207 h 7458372"/>
              <a:gd name="connsiteX2038" fmla="*/ 8487220 w 10505529"/>
              <a:gd name="connsiteY2038" fmla="*/ 7211040 h 7458372"/>
              <a:gd name="connsiteX2039" fmla="*/ 8495606 w 10505529"/>
              <a:gd name="connsiteY2039" fmla="*/ 7190009 h 7458372"/>
              <a:gd name="connsiteX2040" fmla="*/ 8517438 w 10505529"/>
              <a:gd name="connsiteY2040" fmla="*/ 7181489 h 7458372"/>
              <a:gd name="connsiteX2041" fmla="*/ 8299793 w 10505529"/>
              <a:gd name="connsiteY2041" fmla="*/ 7181489 h 7458372"/>
              <a:gd name="connsiteX2042" fmla="*/ 8311507 w 10505529"/>
              <a:gd name="connsiteY2042" fmla="*/ 7183752 h 7458372"/>
              <a:gd name="connsiteX2043" fmla="*/ 8320825 w 10505529"/>
              <a:gd name="connsiteY2043" fmla="*/ 7190141 h 7458372"/>
              <a:gd name="connsiteX2044" fmla="*/ 8326948 w 10505529"/>
              <a:gd name="connsiteY2044" fmla="*/ 7199459 h 7458372"/>
              <a:gd name="connsiteX2045" fmla="*/ 8329212 w 10505529"/>
              <a:gd name="connsiteY2045" fmla="*/ 7210908 h 7458372"/>
              <a:gd name="connsiteX2046" fmla="*/ 8326948 w 10505529"/>
              <a:gd name="connsiteY2046" fmla="*/ 7222622 h 7458372"/>
              <a:gd name="connsiteX2047" fmla="*/ 8320825 w 10505529"/>
              <a:gd name="connsiteY2047" fmla="*/ 7232074 h 7458372"/>
              <a:gd name="connsiteX2048" fmla="*/ 8311507 w 10505529"/>
              <a:gd name="connsiteY2048" fmla="*/ 7238331 h 7458372"/>
              <a:gd name="connsiteX2049" fmla="*/ 8299793 w 10505529"/>
              <a:gd name="connsiteY2049" fmla="*/ 7240594 h 7458372"/>
              <a:gd name="connsiteX2050" fmla="*/ 8277960 w 10505529"/>
              <a:gd name="connsiteY2050" fmla="*/ 7232207 h 7458372"/>
              <a:gd name="connsiteX2051" fmla="*/ 8269574 w 10505529"/>
              <a:gd name="connsiteY2051" fmla="*/ 7211040 h 7458372"/>
              <a:gd name="connsiteX2052" fmla="*/ 8277960 w 10505529"/>
              <a:gd name="connsiteY2052" fmla="*/ 7190009 h 7458372"/>
              <a:gd name="connsiteX2053" fmla="*/ 8299793 w 10505529"/>
              <a:gd name="connsiteY2053" fmla="*/ 7181489 h 7458372"/>
              <a:gd name="connsiteX2054" fmla="*/ 8082281 w 10505529"/>
              <a:gd name="connsiteY2054" fmla="*/ 7181489 h 7458372"/>
              <a:gd name="connsiteX2055" fmla="*/ 8094127 w 10505529"/>
              <a:gd name="connsiteY2055" fmla="*/ 7183752 h 7458372"/>
              <a:gd name="connsiteX2056" fmla="*/ 8103446 w 10505529"/>
              <a:gd name="connsiteY2056" fmla="*/ 7190141 h 7458372"/>
              <a:gd name="connsiteX2057" fmla="*/ 8109569 w 10505529"/>
              <a:gd name="connsiteY2057" fmla="*/ 7199459 h 7458372"/>
              <a:gd name="connsiteX2058" fmla="*/ 8111832 w 10505529"/>
              <a:gd name="connsiteY2058" fmla="*/ 7210908 h 7458372"/>
              <a:gd name="connsiteX2059" fmla="*/ 8109569 w 10505529"/>
              <a:gd name="connsiteY2059" fmla="*/ 7222622 h 7458372"/>
              <a:gd name="connsiteX2060" fmla="*/ 8103446 w 10505529"/>
              <a:gd name="connsiteY2060" fmla="*/ 7232074 h 7458372"/>
              <a:gd name="connsiteX2061" fmla="*/ 8094127 w 10505529"/>
              <a:gd name="connsiteY2061" fmla="*/ 7238331 h 7458372"/>
              <a:gd name="connsiteX2062" fmla="*/ 8082281 w 10505529"/>
              <a:gd name="connsiteY2062" fmla="*/ 7240594 h 7458372"/>
              <a:gd name="connsiteX2063" fmla="*/ 8060448 w 10505529"/>
              <a:gd name="connsiteY2063" fmla="*/ 7232207 h 7458372"/>
              <a:gd name="connsiteX2064" fmla="*/ 8052062 w 10505529"/>
              <a:gd name="connsiteY2064" fmla="*/ 7211040 h 7458372"/>
              <a:gd name="connsiteX2065" fmla="*/ 8060448 w 10505529"/>
              <a:gd name="connsiteY2065" fmla="*/ 7190009 h 7458372"/>
              <a:gd name="connsiteX2066" fmla="*/ 8082281 w 10505529"/>
              <a:gd name="connsiteY2066" fmla="*/ 7181489 h 7458372"/>
              <a:gd name="connsiteX2067" fmla="*/ 7864636 w 10505529"/>
              <a:gd name="connsiteY2067" fmla="*/ 7181489 h 7458372"/>
              <a:gd name="connsiteX2068" fmla="*/ 7876483 w 10505529"/>
              <a:gd name="connsiteY2068" fmla="*/ 7183752 h 7458372"/>
              <a:gd name="connsiteX2069" fmla="*/ 7885802 w 10505529"/>
              <a:gd name="connsiteY2069" fmla="*/ 7190141 h 7458372"/>
              <a:gd name="connsiteX2070" fmla="*/ 7891924 w 10505529"/>
              <a:gd name="connsiteY2070" fmla="*/ 7199459 h 7458372"/>
              <a:gd name="connsiteX2071" fmla="*/ 7894188 w 10505529"/>
              <a:gd name="connsiteY2071" fmla="*/ 7210908 h 7458372"/>
              <a:gd name="connsiteX2072" fmla="*/ 7891924 w 10505529"/>
              <a:gd name="connsiteY2072" fmla="*/ 7222622 h 7458372"/>
              <a:gd name="connsiteX2073" fmla="*/ 7885802 w 10505529"/>
              <a:gd name="connsiteY2073" fmla="*/ 7232074 h 7458372"/>
              <a:gd name="connsiteX2074" fmla="*/ 7876483 w 10505529"/>
              <a:gd name="connsiteY2074" fmla="*/ 7238331 h 7458372"/>
              <a:gd name="connsiteX2075" fmla="*/ 7864636 w 10505529"/>
              <a:gd name="connsiteY2075" fmla="*/ 7240594 h 7458372"/>
              <a:gd name="connsiteX2076" fmla="*/ 7842803 w 10505529"/>
              <a:gd name="connsiteY2076" fmla="*/ 7232207 h 7458372"/>
              <a:gd name="connsiteX2077" fmla="*/ 7834417 w 10505529"/>
              <a:gd name="connsiteY2077" fmla="*/ 7211040 h 7458372"/>
              <a:gd name="connsiteX2078" fmla="*/ 7842803 w 10505529"/>
              <a:gd name="connsiteY2078" fmla="*/ 7190009 h 7458372"/>
              <a:gd name="connsiteX2079" fmla="*/ 7864636 w 10505529"/>
              <a:gd name="connsiteY2079" fmla="*/ 7181489 h 7458372"/>
              <a:gd name="connsiteX2080" fmla="*/ 7646991 w 10505529"/>
              <a:gd name="connsiteY2080" fmla="*/ 7181489 h 7458372"/>
              <a:gd name="connsiteX2081" fmla="*/ 7658705 w 10505529"/>
              <a:gd name="connsiteY2081" fmla="*/ 7183752 h 7458372"/>
              <a:gd name="connsiteX2082" fmla="*/ 7668022 w 10505529"/>
              <a:gd name="connsiteY2082" fmla="*/ 7190141 h 7458372"/>
              <a:gd name="connsiteX2083" fmla="*/ 7674146 w 10505529"/>
              <a:gd name="connsiteY2083" fmla="*/ 7199459 h 7458372"/>
              <a:gd name="connsiteX2084" fmla="*/ 7676409 w 10505529"/>
              <a:gd name="connsiteY2084" fmla="*/ 7210908 h 7458372"/>
              <a:gd name="connsiteX2085" fmla="*/ 7674146 w 10505529"/>
              <a:gd name="connsiteY2085" fmla="*/ 7222622 h 7458372"/>
              <a:gd name="connsiteX2086" fmla="*/ 7668022 w 10505529"/>
              <a:gd name="connsiteY2086" fmla="*/ 7232074 h 7458372"/>
              <a:gd name="connsiteX2087" fmla="*/ 7658705 w 10505529"/>
              <a:gd name="connsiteY2087" fmla="*/ 7238331 h 7458372"/>
              <a:gd name="connsiteX2088" fmla="*/ 7646991 w 10505529"/>
              <a:gd name="connsiteY2088" fmla="*/ 7240594 h 7458372"/>
              <a:gd name="connsiteX2089" fmla="*/ 7625158 w 10505529"/>
              <a:gd name="connsiteY2089" fmla="*/ 7232207 h 7458372"/>
              <a:gd name="connsiteX2090" fmla="*/ 7616772 w 10505529"/>
              <a:gd name="connsiteY2090" fmla="*/ 7211040 h 7458372"/>
              <a:gd name="connsiteX2091" fmla="*/ 7625158 w 10505529"/>
              <a:gd name="connsiteY2091" fmla="*/ 7190009 h 7458372"/>
              <a:gd name="connsiteX2092" fmla="*/ 7646991 w 10505529"/>
              <a:gd name="connsiteY2092" fmla="*/ 7181489 h 7458372"/>
              <a:gd name="connsiteX2093" fmla="*/ 7429345 w 10505529"/>
              <a:gd name="connsiteY2093" fmla="*/ 7181489 h 7458372"/>
              <a:gd name="connsiteX2094" fmla="*/ 7441059 w 10505529"/>
              <a:gd name="connsiteY2094" fmla="*/ 7183752 h 7458372"/>
              <a:gd name="connsiteX2095" fmla="*/ 7450377 w 10505529"/>
              <a:gd name="connsiteY2095" fmla="*/ 7190141 h 7458372"/>
              <a:gd name="connsiteX2096" fmla="*/ 7456501 w 10505529"/>
              <a:gd name="connsiteY2096" fmla="*/ 7199459 h 7458372"/>
              <a:gd name="connsiteX2097" fmla="*/ 7458764 w 10505529"/>
              <a:gd name="connsiteY2097" fmla="*/ 7210908 h 7458372"/>
              <a:gd name="connsiteX2098" fmla="*/ 7456501 w 10505529"/>
              <a:gd name="connsiteY2098" fmla="*/ 7222622 h 7458372"/>
              <a:gd name="connsiteX2099" fmla="*/ 7450377 w 10505529"/>
              <a:gd name="connsiteY2099" fmla="*/ 7232074 h 7458372"/>
              <a:gd name="connsiteX2100" fmla="*/ 7441059 w 10505529"/>
              <a:gd name="connsiteY2100" fmla="*/ 7238331 h 7458372"/>
              <a:gd name="connsiteX2101" fmla="*/ 7429345 w 10505529"/>
              <a:gd name="connsiteY2101" fmla="*/ 7240594 h 7458372"/>
              <a:gd name="connsiteX2102" fmla="*/ 7407513 w 10505529"/>
              <a:gd name="connsiteY2102" fmla="*/ 7232207 h 7458372"/>
              <a:gd name="connsiteX2103" fmla="*/ 7399127 w 10505529"/>
              <a:gd name="connsiteY2103" fmla="*/ 7211040 h 7458372"/>
              <a:gd name="connsiteX2104" fmla="*/ 7407513 w 10505529"/>
              <a:gd name="connsiteY2104" fmla="*/ 7190009 h 7458372"/>
              <a:gd name="connsiteX2105" fmla="*/ 7429345 w 10505529"/>
              <a:gd name="connsiteY2105" fmla="*/ 7181489 h 7458372"/>
              <a:gd name="connsiteX2106" fmla="*/ 7211701 w 10505529"/>
              <a:gd name="connsiteY2106" fmla="*/ 7181489 h 7458372"/>
              <a:gd name="connsiteX2107" fmla="*/ 7223415 w 10505529"/>
              <a:gd name="connsiteY2107" fmla="*/ 7183752 h 7458372"/>
              <a:gd name="connsiteX2108" fmla="*/ 7232733 w 10505529"/>
              <a:gd name="connsiteY2108" fmla="*/ 7190141 h 7458372"/>
              <a:gd name="connsiteX2109" fmla="*/ 7238856 w 10505529"/>
              <a:gd name="connsiteY2109" fmla="*/ 7199459 h 7458372"/>
              <a:gd name="connsiteX2110" fmla="*/ 7241120 w 10505529"/>
              <a:gd name="connsiteY2110" fmla="*/ 7210908 h 7458372"/>
              <a:gd name="connsiteX2111" fmla="*/ 7238856 w 10505529"/>
              <a:gd name="connsiteY2111" fmla="*/ 7222622 h 7458372"/>
              <a:gd name="connsiteX2112" fmla="*/ 7232733 w 10505529"/>
              <a:gd name="connsiteY2112" fmla="*/ 7232074 h 7458372"/>
              <a:gd name="connsiteX2113" fmla="*/ 7223415 w 10505529"/>
              <a:gd name="connsiteY2113" fmla="*/ 7238331 h 7458372"/>
              <a:gd name="connsiteX2114" fmla="*/ 7211701 w 10505529"/>
              <a:gd name="connsiteY2114" fmla="*/ 7240594 h 7458372"/>
              <a:gd name="connsiteX2115" fmla="*/ 7189868 w 10505529"/>
              <a:gd name="connsiteY2115" fmla="*/ 7232207 h 7458372"/>
              <a:gd name="connsiteX2116" fmla="*/ 7181482 w 10505529"/>
              <a:gd name="connsiteY2116" fmla="*/ 7211040 h 7458372"/>
              <a:gd name="connsiteX2117" fmla="*/ 7189868 w 10505529"/>
              <a:gd name="connsiteY2117" fmla="*/ 7190009 h 7458372"/>
              <a:gd name="connsiteX2118" fmla="*/ 7211701 w 10505529"/>
              <a:gd name="connsiteY2118" fmla="*/ 7181489 h 7458372"/>
              <a:gd name="connsiteX2119" fmla="*/ 6994056 w 10505529"/>
              <a:gd name="connsiteY2119" fmla="*/ 7181489 h 7458372"/>
              <a:gd name="connsiteX2120" fmla="*/ 7005769 w 10505529"/>
              <a:gd name="connsiteY2120" fmla="*/ 7183752 h 7458372"/>
              <a:gd name="connsiteX2121" fmla="*/ 7015087 w 10505529"/>
              <a:gd name="connsiteY2121" fmla="*/ 7190141 h 7458372"/>
              <a:gd name="connsiteX2122" fmla="*/ 7021211 w 10505529"/>
              <a:gd name="connsiteY2122" fmla="*/ 7199459 h 7458372"/>
              <a:gd name="connsiteX2123" fmla="*/ 7023474 w 10505529"/>
              <a:gd name="connsiteY2123" fmla="*/ 7210908 h 7458372"/>
              <a:gd name="connsiteX2124" fmla="*/ 7021211 w 10505529"/>
              <a:gd name="connsiteY2124" fmla="*/ 7222622 h 7458372"/>
              <a:gd name="connsiteX2125" fmla="*/ 7015087 w 10505529"/>
              <a:gd name="connsiteY2125" fmla="*/ 7232074 h 7458372"/>
              <a:gd name="connsiteX2126" fmla="*/ 7005769 w 10505529"/>
              <a:gd name="connsiteY2126" fmla="*/ 7238331 h 7458372"/>
              <a:gd name="connsiteX2127" fmla="*/ 6994056 w 10505529"/>
              <a:gd name="connsiteY2127" fmla="*/ 7240594 h 7458372"/>
              <a:gd name="connsiteX2128" fmla="*/ 6972223 w 10505529"/>
              <a:gd name="connsiteY2128" fmla="*/ 7232207 h 7458372"/>
              <a:gd name="connsiteX2129" fmla="*/ 6963837 w 10505529"/>
              <a:gd name="connsiteY2129" fmla="*/ 7211040 h 7458372"/>
              <a:gd name="connsiteX2130" fmla="*/ 6972223 w 10505529"/>
              <a:gd name="connsiteY2130" fmla="*/ 7190009 h 7458372"/>
              <a:gd name="connsiteX2131" fmla="*/ 6994056 w 10505529"/>
              <a:gd name="connsiteY2131" fmla="*/ 7181489 h 7458372"/>
              <a:gd name="connsiteX2132" fmla="*/ 6776544 w 10505529"/>
              <a:gd name="connsiteY2132" fmla="*/ 7181489 h 7458372"/>
              <a:gd name="connsiteX2133" fmla="*/ 6788258 w 10505529"/>
              <a:gd name="connsiteY2133" fmla="*/ 7183752 h 7458372"/>
              <a:gd name="connsiteX2134" fmla="*/ 6797576 w 10505529"/>
              <a:gd name="connsiteY2134" fmla="*/ 7190141 h 7458372"/>
              <a:gd name="connsiteX2135" fmla="*/ 6803699 w 10505529"/>
              <a:gd name="connsiteY2135" fmla="*/ 7199459 h 7458372"/>
              <a:gd name="connsiteX2136" fmla="*/ 6805963 w 10505529"/>
              <a:gd name="connsiteY2136" fmla="*/ 7210908 h 7458372"/>
              <a:gd name="connsiteX2137" fmla="*/ 6803699 w 10505529"/>
              <a:gd name="connsiteY2137" fmla="*/ 7222622 h 7458372"/>
              <a:gd name="connsiteX2138" fmla="*/ 6797576 w 10505529"/>
              <a:gd name="connsiteY2138" fmla="*/ 7232074 h 7458372"/>
              <a:gd name="connsiteX2139" fmla="*/ 6788258 w 10505529"/>
              <a:gd name="connsiteY2139" fmla="*/ 7238331 h 7458372"/>
              <a:gd name="connsiteX2140" fmla="*/ 6776544 w 10505529"/>
              <a:gd name="connsiteY2140" fmla="*/ 7240594 h 7458372"/>
              <a:gd name="connsiteX2141" fmla="*/ 6754711 w 10505529"/>
              <a:gd name="connsiteY2141" fmla="*/ 7232207 h 7458372"/>
              <a:gd name="connsiteX2142" fmla="*/ 6746325 w 10505529"/>
              <a:gd name="connsiteY2142" fmla="*/ 7211040 h 7458372"/>
              <a:gd name="connsiteX2143" fmla="*/ 6754711 w 10505529"/>
              <a:gd name="connsiteY2143" fmla="*/ 7190009 h 7458372"/>
              <a:gd name="connsiteX2144" fmla="*/ 6776544 w 10505529"/>
              <a:gd name="connsiteY2144" fmla="*/ 7181489 h 7458372"/>
              <a:gd name="connsiteX2145" fmla="*/ 6558899 w 10505529"/>
              <a:gd name="connsiteY2145" fmla="*/ 7181489 h 7458372"/>
              <a:gd name="connsiteX2146" fmla="*/ 6570612 w 10505529"/>
              <a:gd name="connsiteY2146" fmla="*/ 7183752 h 7458372"/>
              <a:gd name="connsiteX2147" fmla="*/ 6579930 w 10505529"/>
              <a:gd name="connsiteY2147" fmla="*/ 7190141 h 7458372"/>
              <a:gd name="connsiteX2148" fmla="*/ 6586054 w 10505529"/>
              <a:gd name="connsiteY2148" fmla="*/ 7199459 h 7458372"/>
              <a:gd name="connsiteX2149" fmla="*/ 6588317 w 10505529"/>
              <a:gd name="connsiteY2149" fmla="*/ 7210908 h 7458372"/>
              <a:gd name="connsiteX2150" fmla="*/ 6586054 w 10505529"/>
              <a:gd name="connsiteY2150" fmla="*/ 7222622 h 7458372"/>
              <a:gd name="connsiteX2151" fmla="*/ 6579930 w 10505529"/>
              <a:gd name="connsiteY2151" fmla="*/ 7232074 h 7458372"/>
              <a:gd name="connsiteX2152" fmla="*/ 6570612 w 10505529"/>
              <a:gd name="connsiteY2152" fmla="*/ 7238331 h 7458372"/>
              <a:gd name="connsiteX2153" fmla="*/ 6558899 w 10505529"/>
              <a:gd name="connsiteY2153" fmla="*/ 7240594 h 7458372"/>
              <a:gd name="connsiteX2154" fmla="*/ 6537066 w 10505529"/>
              <a:gd name="connsiteY2154" fmla="*/ 7232207 h 7458372"/>
              <a:gd name="connsiteX2155" fmla="*/ 6528680 w 10505529"/>
              <a:gd name="connsiteY2155" fmla="*/ 7211040 h 7458372"/>
              <a:gd name="connsiteX2156" fmla="*/ 6537066 w 10505529"/>
              <a:gd name="connsiteY2156" fmla="*/ 7190009 h 7458372"/>
              <a:gd name="connsiteX2157" fmla="*/ 6558899 w 10505529"/>
              <a:gd name="connsiteY2157" fmla="*/ 7181489 h 7458372"/>
              <a:gd name="connsiteX2158" fmla="*/ 6341253 w 10505529"/>
              <a:gd name="connsiteY2158" fmla="*/ 7181489 h 7458372"/>
              <a:gd name="connsiteX2159" fmla="*/ 6352968 w 10505529"/>
              <a:gd name="connsiteY2159" fmla="*/ 7183752 h 7458372"/>
              <a:gd name="connsiteX2160" fmla="*/ 6362286 w 10505529"/>
              <a:gd name="connsiteY2160" fmla="*/ 7190141 h 7458372"/>
              <a:gd name="connsiteX2161" fmla="*/ 6368409 w 10505529"/>
              <a:gd name="connsiteY2161" fmla="*/ 7199459 h 7458372"/>
              <a:gd name="connsiteX2162" fmla="*/ 6370672 w 10505529"/>
              <a:gd name="connsiteY2162" fmla="*/ 7210908 h 7458372"/>
              <a:gd name="connsiteX2163" fmla="*/ 6368409 w 10505529"/>
              <a:gd name="connsiteY2163" fmla="*/ 7222622 h 7458372"/>
              <a:gd name="connsiteX2164" fmla="*/ 6362286 w 10505529"/>
              <a:gd name="connsiteY2164" fmla="*/ 7232074 h 7458372"/>
              <a:gd name="connsiteX2165" fmla="*/ 6352968 w 10505529"/>
              <a:gd name="connsiteY2165" fmla="*/ 7238331 h 7458372"/>
              <a:gd name="connsiteX2166" fmla="*/ 6341253 w 10505529"/>
              <a:gd name="connsiteY2166" fmla="*/ 7240594 h 7458372"/>
              <a:gd name="connsiteX2167" fmla="*/ 6319421 w 10505529"/>
              <a:gd name="connsiteY2167" fmla="*/ 7232207 h 7458372"/>
              <a:gd name="connsiteX2168" fmla="*/ 6311035 w 10505529"/>
              <a:gd name="connsiteY2168" fmla="*/ 7211040 h 7458372"/>
              <a:gd name="connsiteX2169" fmla="*/ 6319421 w 10505529"/>
              <a:gd name="connsiteY2169" fmla="*/ 7190009 h 7458372"/>
              <a:gd name="connsiteX2170" fmla="*/ 6341253 w 10505529"/>
              <a:gd name="connsiteY2170" fmla="*/ 7181489 h 7458372"/>
              <a:gd name="connsiteX2171" fmla="*/ 6123608 w 10505529"/>
              <a:gd name="connsiteY2171" fmla="*/ 7181489 h 7458372"/>
              <a:gd name="connsiteX2172" fmla="*/ 6135322 w 10505529"/>
              <a:gd name="connsiteY2172" fmla="*/ 7183752 h 7458372"/>
              <a:gd name="connsiteX2173" fmla="*/ 6144640 w 10505529"/>
              <a:gd name="connsiteY2173" fmla="*/ 7190141 h 7458372"/>
              <a:gd name="connsiteX2174" fmla="*/ 6150763 w 10505529"/>
              <a:gd name="connsiteY2174" fmla="*/ 7199459 h 7458372"/>
              <a:gd name="connsiteX2175" fmla="*/ 6153026 w 10505529"/>
              <a:gd name="connsiteY2175" fmla="*/ 7210908 h 7458372"/>
              <a:gd name="connsiteX2176" fmla="*/ 6150763 w 10505529"/>
              <a:gd name="connsiteY2176" fmla="*/ 7222622 h 7458372"/>
              <a:gd name="connsiteX2177" fmla="*/ 6144640 w 10505529"/>
              <a:gd name="connsiteY2177" fmla="*/ 7232074 h 7458372"/>
              <a:gd name="connsiteX2178" fmla="*/ 6135322 w 10505529"/>
              <a:gd name="connsiteY2178" fmla="*/ 7238331 h 7458372"/>
              <a:gd name="connsiteX2179" fmla="*/ 6123608 w 10505529"/>
              <a:gd name="connsiteY2179" fmla="*/ 7240594 h 7458372"/>
              <a:gd name="connsiteX2180" fmla="*/ 6101775 w 10505529"/>
              <a:gd name="connsiteY2180" fmla="*/ 7232207 h 7458372"/>
              <a:gd name="connsiteX2181" fmla="*/ 6093389 w 10505529"/>
              <a:gd name="connsiteY2181" fmla="*/ 7211040 h 7458372"/>
              <a:gd name="connsiteX2182" fmla="*/ 6101775 w 10505529"/>
              <a:gd name="connsiteY2182" fmla="*/ 7190009 h 7458372"/>
              <a:gd name="connsiteX2183" fmla="*/ 6123608 w 10505529"/>
              <a:gd name="connsiteY2183" fmla="*/ 7181489 h 7458372"/>
              <a:gd name="connsiteX2184" fmla="*/ 5905963 w 10505529"/>
              <a:gd name="connsiteY2184" fmla="*/ 7181489 h 7458372"/>
              <a:gd name="connsiteX2185" fmla="*/ 5917677 w 10505529"/>
              <a:gd name="connsiteY2185" fmla="*/ 7183752 h 7458372"/>
              <a:gd name="connsiteX2186" fmla="*/ 5926995 w 10505529"/>
              <a:gd name="connsiteY2186" fmla="*/ 7190141 h 7458372"/>
              <a:gd name="connsiteX2187" fmla="*/ 5933118 w 10505529"/>
              <a:gd name="connsiteY2187" fmla="*/ 7199459 h 7458372"/>
              <a:gd name="connsiteX2188" fmla="*/ 5935381 w 10505529"/>
              <a:gd name="connsiteY2188" fmla="*/ 7210908 h 7458372"/>
              <a:gd name="connsiteX2189" fmla="*/ 5933118 w 10505529"/>
              <a:gd name="connsiteY2189" fmla="*/ 7222622 h 7458372"/>
              <a:gd name="connsiteX2190" fmla="*/ 5926995 w 10505529"/>
              <a:gd name="connsiteY2190" fmla="*/ 7232074 h 7458372"/>
              <a:gd name="connsiteX2191" fmla="*/ 5917677 w 10505529"/>
              <a:gd name="connsiteY2191" fmla="*/ 7238331 h 7458372"/>
              <a:gd name="connsiteX2192" fmla="*/ 5905963 w 10505529"/>
              <a:gd name="connsiteY2192" fmla="*/ 7240594 h 7458372"/>
              <a:gd name="connsiteX2193" fmla="*/ 5884130 w 10505529"/>
              <a:gd name="connsiteY2193" fmla="*/ 7232207 h 7458372"/>
              <a:gd name="connsiteX2194" fmla="*/ 5875744 w 10505529"/>
              <a:gd name="connsiteY2194" fmla="*/ 7211040 h 7458372"/>
              <a:gd name="connsiteX2195" fmla="*/ 5884130 w 10505529"/>
              <a:gd name="connsiteY2195" fmla="*/ 7190009 h 7458372"/>
              <a:gd name="connsiteX2196" fmla="*/ 5905963 w 10505529"/>
              <a:gd name="connsiteY2196" fmla="*/ 7181489 h 7458372"/>
              <a:gd name="connsiteX2197" fmla="*/ 5688451 w 10505529"/>
              <a:gd name="connsiteY2197" fmla="*/ 7181489 h 7458372"/>
              <a:gd name="connsiteX2198" fmla="*/ 5700165 w 10505529"/>
              <a:gd name="connsiteY2198" fmla="*/ 7183752 h 7458372"/>
              <a:gd name="connsiteX2199" fmla="*/ 5709483 w 10505529"/>
              <a:gd name="connsiteY2199" fmla="*/ 7190141 h 7458372"/>
              <a:gd name="connsiteX2200" fmla="*/ 5715606 w 10505529"/>
              <a:gd name="connsiteY2200" fmla="*/ 7199459 h 7458372"/>
              <a:gd name="connsiteX2201" fmla="*/ 5717869 w 10505529"/>
              <a:gd name="connsiteY2201" fmla="*/ 7210908 h 7458372"/>
              <a:gd name="connsiteX2202" fmla="*/ 5715606 w 10505529"/>
              <a:gd name="connsiteY2202" fmla="*/ 7222622 h 7458372"/>
              <a:gd name="connsiteX2203" fmla="*/ 5709483 w 10505529"/>
              <a:gd name="connsiteY2203" fmla="*/ 7232074 h 7458372"/>
              <a:gd name="connsiteX2204" fmla="*/ 5700165 w 10505529"/>
              <a:gd name="connsiteY2204" fmla="*/ 7238331 h 7458372"/>
              <a:gd name="connsiteX2205" fmla="*/ 5688451 w 10505529"/>
              <a:gd name="connsiteY2205" fmla="*/ 7240594 h 7458372"/>
              <a:gd name="connsiteX2206" fmla="*/ 5666618 w 10505529"/>
              <a:gd name="connsiteY2206" fmla="*/ 7232207 h 7458372"/>
              <a:gd name="connsiteX2207" fmla="*/ 5658232 w 10505529"/>
              <a:gd name="connsiteY2207" fmla="*/ 7211040 h 7458372"/>
              <a:gd name="connsiteX2208" fmla="*/ 5666618 w 10505529"/>
              <a:gd name="connsiteY2208" fmla="*/ 7190009 h 7458372"/>
              <a:gd name="connsiteX2209" fmla="*/ 5688451 w 10505529"/>
              <a:gd name="connsiteY2209" fmla="*/ 7181489 h 7458372"/>
              <a:gd name="connsiteX2210" fmla="*/ 5470806 w 10505529"/>
              <a:gd name="connsiteY2210" fmla="*/ 7181489 h 7458372"/>
              <a:gd name="connsiteX2211" fmla="*/ 5482520 w 10505529"/>
              <a:gd name="connsiteY2211" fmla="*/ 7183752 h 7458372"/>
              <a:gd name="connsiteX2212" fmla="*/ 5491838 w 10505529"/>
              <a:gd name="connsiteY2212" fmla="*/ 7190141 h 7458372"/>
              <a:gd name="connsiteX2213" fmla="*/ 5497961 w 10505529"/>
              <a:gd name="connsiteY2213" fmla="*/ 7199459 h 7458372"/>
              <a:gd name="connsiteX2214" fmla="*/ 5500224 w 10505529"/>
              <a:gd name="connsiteY2214" fmla="*/ 7210908 h 7458372"/>
              <a:gd name="connsiteX2215" fmla="*/ 5497961 w 10505529"/>
              <a:gd name="connsiteY2215" fmla="*/ 7222622 h 7458372"/>
              <a:gd name="connsiteX2216" fmla="*/ 5491838 w 10505529"/>
              <a:gd name="connsiteY2216" fmla="*/ 7232074 h 7458372"/>
              <a:gd name="connsiteX2217" fmla="*/ 5482520 w 10505529"/>
              <a:gd name="connsiteY2217" fmla="*/ 7238331 h 7458372"/>
              <a:gd name="connsiteX2218" fmla="*/ 5470806 w 10505529"/>
              <a:gd name="connsiteY2218" fmla="*/ 7240594 h 7458372"/>
              <a:gd name="connsiteX2219" fmla="*/ 5448973 w 10505529"/>
              <a:gd name="connsiteY2219" fmla="*/ 7232207 h 7458372"/>
              <a:gd name="connsiteX2220" fmla="*/ 5440587 w 10505529"/>
              <a:gd name="connsiteY2220" fmla="*/ 7211040 h 7458372"/>
              <a:gd name="connsiteX2221" fmla="*/ 5448973 w 10505529"/>
              <a:gd name="connsiteY2221" fmla="*/ 7190009 h 7458372"/>
              <a:gd name="connsiteX2222" fmla="*/ 5470806 w 10505529"/>
              <a:gd name="connsiteY2222" fmla="*/ 7181489 h 7458372"/>
              <a:gd name="connsiteX2223" fmla="*/ 5253160 w 10505529"/>
              <a:gd name="connsiteY2223" fmla="*/ 7181489 h 7458372"/>
              <a:gd name="connsiteX2224" fmla="*/ 5264875 w 10505529"/>
              <a:gd name="connsiteY2224" fmla="*/ 7183752 h 7458372"/>
              <a:gd name="connsiteX2225" fmla="*/ 5274192 w 10505529"/>
              <a:gd name="connsiteY2225" fmla="*/ 7190141 h 7458372"/>
              <a:gd name="connsiteX2226" fmla="*/ 5280316 w 10505529"/>
              <a:gd name="connsiteY2226" fmla="*/ 7199459 h 7458372"/>
              <a:gd name="connsiteX2227" fmla="*/ 5282579 w 10505529"/>
              <a:gd name="connsiteY2227" fmla="*/ 7210908 h 7458372"/>
              <a:gd name="connsiteX2228" fmla="*/ 5280316 w 10505529"/>
              <a:gd name="connsiteY2228" fmla="*/ 7222622 h 7458372"/>
              <a:gd name="connsiteX2229" fmla="*/ 5274192 w 10505529"/>
              <a:gd name="connsiteY2229" fmla="*/ 7232074 h 7458372"/>
              <a:gd name="connsiteX2230" fmla="*/ 5264875 w 10505529"/>
              <a:gd name="connsiteY2230" fmla="*/ 7238331 h 7458372"/>
              <a:gd name="connsiteX2231" fmla="*/ 5253160 w 10505529"/>
              <a:gd name="connsiteY2231" fmla="*/ 7240594 h 7458372"/>
              <a:gd name="connsiteX2232" fmla="*/ 5231328 w 10505529"/>
              <a:gd name="connsiteY2232" fmla="*/ 7232207 h 7458372"/>
              <a:gd name="connsiteX2233" fmla="*/ 5222942 w 10505529"/>
              <a:gd name="connsiteY2233" fmla="*/ 7211040 h 7458372"/>
              <a:gd name="connsiteX2234" fmla="*/ 5231328 w 10505529"/>
              <a:gd name="connsiteY2234" fmla="*/ 7190009 h 7458372"/>
              <a:gd name="connsiteX2235" fmla="*/ 5253160 w 10505529"/>
              <a:gd name="connsiteY2235" fmla="*/ 7181489 h 7458372"/>
              <a:gd name="connsiteX2236" fmla="*/ 5035515 w 10505529"/>
              <a:gd name="connsiteY2236" fmla="*/ 7181489 h 7458372"/>
              <a:gd name="connsiteX2237" fmla="*/ 5047230 w 10505529"/>
              <a:gd name="connsiteY2237" fmla="*/ 7183752 h 7458372"/>
              <a:gd name="connsiteX2238" fmla="*/ 5056548 w 10505529"/>
              <a:gd name="connsiteY2238" fmla="*/ 7190141 h 7458372"/>
              <a:gd name="connsiteX2239" fmla="*/ 5062671 w 10505529"/>
              <a:gd name="connsiteY2239" fmla="*/ 7199459 h 7458372"/>
              <a:gd name="connsiteX2240" fmla="*/ 5064934 w 10505529"/>
              <a:gd name="connsiteY2240" fmla="*/ 7210908 h 7458372"/>
              <a:gd name="connsiteX2241" fmla="*/ 5062671 w 10505529"/>
              <a:gd name="connsiteY2241" fmla="*/ 7222622 h 7458372"/>
              <a:gd name="connsiteX2242" fmla="*/ 5056548 w 10505529"/>
              <a:gd name="connsiteY2242" fmla="*/ 7232074 h 7458372"/>
              <a:gd name="connsiteX2243" fmla="*/ 5047230 w 10505529"/>
              <a:gd name="connsiteY2243" fmla="*/ 7238331 h 7458372"/>
              <a:gd name="connsiteX2244" fmla="*/ 5035515 w 10505529"/>
              <a:gd name="connsiteY2244" fmla="*/ 7240594 h 7458372"/>
              <a:gd name="connsiteX2245" fmla="*/ 5013683 w 10505529"/>
              <a:gd name="connsiteY2245" fmla="*/ 7232207 h 7458372"/>
              <a:gd name="connsiteX2246" fmla="*/ 5005297 w 10505529"/>
              <a:gd name="connsiteY2246" fmla="*/ 7211040 h 7458372"/>
              <a:gd name="connsiteX2247" fmla="*/ 5013683 w 10505529"/>
              <a:gd name="connsiteY2247" fmla="*/ 7190009 h 7458372"/>
              <a:gd name="connsiteX2248" fmla="*/ 5035515 w 10505529"/>
              <a:gd name="connsiteY2248" fmla="*/ 7181489 h 7458372"/>
              <a:gd name="connsiteX2249" fmla="*/ 4817870 w 10505529"/>
              <a:gd name="connsiteY2249" fmla="*/ 7181489 h 7458372"/>
              <a:gd name="connsiteX2250" fmla="*/ 4829585 w 10505529"/>
              <a:gd name="connsiteY2250" fmla="*/ 7183752 h 7458372"/>
              <a:gd name="connsiteX2251" fmla="*/ 4838903 w 10505529"/>
              <a:gd name="connsiteY2251" fmla="*/ 7190141 h 7458372"/>
              <a:gd name="connsiteX2252" fmla="*/ 4845026 w 10505529"/>
              <a:gd name="connsiteY2252" fmla="*/ 7199459 h 7458372"/>
              <a:gd name="connsiteX2253" fmla="*/ 4847289 w 10505529"/>
              <a:gd name="connsiteY2253" fmla="*/ 7210908 h 7458372"/>
              <a:gd name="connsiteX2254" fmla="*/ 4845026 w 10505529"/>
              <a:gd name="connsiteY2254" fmla="*/ 7222622 h 7458372"/>
              <a:gd name="connsiteX2255" fmla="*/ 4838903 w 10505529"/>
              <a:gd name="connsiteY2255" fmla="*/ 7232074 h 7458372"/>
              <a:gd name="connsiteX2256" fmla="*/ 4829585 w 10505529"/>
              <a:gd name="connsiteY2256" fmla="*/ 7238331 h 7458372"/>
              <a:gd name="connsiteX2257" fmla="*/ 4817870 w 10505529"/>
              <a:gd name="connsiteY2257" fmla="*/ 7240594 h 7458372"/>
              <a:gd name="connsiteX2258" fmla="*/ 4796038 w 10505529"/>
              <a:gd name="connsiteY2258" fmla="*/ 7232207 h 7458372"/>
              <a:gd name="connsiteX2259" fmla="*/ 4787652 w 10505529"/>
              <a:gd name="connsiteY2259" fmla="*/ 7211040 h 7458372"/>
              <a:gd name="connsiteX2260" fmla="*/ 4796038 w 10505529"/>
              <a:gd name="connsiteY2260" fmla="*/ 7190009 h 7458372"/>
              <a:gd name="connsiteX2261" fmla="*/ 4817870 w 10505529"/>
              <a:gd name="connsiteY2261" fmla="*/ 7181489 h 7458372"/>
              <a:gd name="connsiteX2262" fmla="*/ 4600226 w 10505529"/>
              <a:gd name="connsiteY2262" fmla="*/ 7181489 h 7458372"/>
              <a:gd name="connsiteX2263" fmla="*/ 4612073 w 10505529"/>
              <a:gd name="connsiteY2263" fmla="*/ 7183752 h 7458372"/>
              <a:gd name="connsiteX2264" fmla="*/ 4621391 w 10505529"/>
              <a:gd name="connsiteY2264" fmla="*/ 7190141 h 7458372"/>
              <a:gd name="connsiteX2265" fmla="*/ 4627514 w 10505529"/>
              <a:gd name="connsiteY2265" fmla="*/ 7199459 h 7458372"/>
              <a:gd name="connsiteX2266" fmla="*/ 4629777 w 10505529"/>
              <a:gd name="connsiteY2266" fmla="*/ 7210908 h 7458372"/>
              <a:gd name="connsiteX2267" fmla="*/ 4627514 w 10505529"/>
              <a:gd name="connsiteY2267" fmla="*/ 7222622 h 7458372"/>
              <a:gd name="connsiteX2268" fmla="*/ 4621391 w 10505529"/>
              <a:gd name="connsiteY2268" fmla="*/ 7232074 h 7458372"/>
              <a:gd name="connsiteX2269" fmla="*/ 4612073 w 10505529"/>
              <a:gd name="connsiteY2269" fmla="*/ 7238331 h 7458372"/>
              <a:gd name="connsiteX2270" fmla="*/ 4600226 w 10505529"/>
              <a:gd name="connsiteY2270" fmla="*/ 7240594 h 7458372"/>
              <a:gd name="connsiteX2271" fmla="*/ 4578393 w 10505529"/>
              <a:gd name="connsiteY2271" fmla="*/ 7232207 h 7458372"/>
              <a:gd name="connsiteX2272" fmla="*/ 4570007 w 10505529"/>
              <a:gd name="connsiteY2272" fmla="*/ 7211040 h 7458372"/>
              <a:gd name="connsiteX2273" fmla="*/ 4578393 w 10505529"/>
              <a:gd name="connsiteY2273" fmla="*/ 7190009 h 7458372"/>
              <a:gd name="connsiteX2274" fmla="*/ 4600226 w 10505529"/>
              <a:gd name="connsiteY2274" fmla="*/ 7181489 h 7458372"/>
              <a:gd name="connsiteX2275" fmla="*/ 4382713 w 10505529"/>
              <a:gd name="connsiteY2275" fmla="*/ 7181489 h 7458372"/>
              <a:gd name="connsiteX2276" fmla="*/ 4394428 w 10505529"/>
              <a:gd name="connsiteY2276" fmla="*/ 7183752 h 7458372"/>
              <a:gd name="connsiteX2277" fmla="*/ 4403746 w 10505529"/>
              <a:gd name="connsiteY2277" fmla="*/ 7190141 h 7458372"/>
              <a:gd name="connsiteX2278" fmla="*/ 4409869 w 10505529"/>
              <a:gd name="connsiteY2278" fmla="*/ 7199459 h 7458372"/>
              <a:gd name="connsiteX2279" fmla="*/ 4412132 w 10505529"/>
              <a:gd name="connsiteY2279" fmla="*/ 7210908 h 7458372"/>
              <a:gd name="connsiteX2280" fmla="*/ 4409869 w 10505529"/>
              <a:gd name="connsiteY2280" fmla="*/ 7222622 h 7458372"/>
              <a:gd name="connsiteX2281" fmla="*/ 4403746 w 10505529"/>
              <a:gd name="connsiteY2281" fmla="*/ 7232074 h 7458372"/>
              <a:gd name="connsiteX2282" fmla="*/ 4394428 w 10505529"/>
              <a:gd name="connsiteY2282" fmla="*/ 7238331 h 7458372"/>
              <a:gd name="connsiteX2283" fmla="*/ 4382713 w 10505529"/>
              <a:gd name="connsiteY2283" fmla="*/ 7240594 h 7458372"/>
              <a:gd name="connsiteX2284" fmla="*/ 4360881 w 10505529"/>
              <a:gd name="connsiteY2284" fmla="*/ 7232207 h 7458372"/>
              <a:gd name="connsiteX2285" fmla="*/ 4352495 w 10505529"/>
              <a:gd name="connsiteY2285" fmla="*/ 7211040 h 7458372"/>
              <a:gd name="connsiteX2286" fmla="*/ 4360881 w 10505529"/>
              <a:gd name="connsiteY2286" fmla="*/ 7190009 h 7458372"/>
              <a:gd name="connsiteX2287" fmla="*/ 4382713 w 10505529"/>
              <a:gd name="connsiteY2287" fmla="*/ 7181489 h 7458372"/>
              <a:gd name="connsiteX2288" fmla="*/ 4165068 w 10505529"/>
              <a:gd name="connsiteY2288" fmla="*/ 7181489 h 7458372"/>
              <a:gd name="connsiteX2289" fmla="*/ 4176782 w 10505529"/>
              <a:gd name="connsiteY2289" fmla="*/ 7183752 h 7458372"/>
              <a:gd name="connsiteX2290" fmla="*/ 4186100 w 10505529"/>
              <a:gd name="connsiteY2290" fmla="*/ 7190141 h 7458372"/>
              <a:gd name="connsiteX2291" fmla="*/ 4192223 w 10505529"/>
              <a:gd name="connsiteY2291" fmla="*/ 7199459 h 7458372"/>
              <a:gd name="connsiteX2292" fmla="*/ 4194486 w 10505529"/>
              <a:gd name="connsiteY2292" fmla="*/ 7210908 h 7458372"/>
              <a:gd name="connsiteX2293" fmla="*/ 4192223 w 10505529"/>
              <a:gd name="connsiteY2293" fmla="*/ 7222622 h 7458372"/>
              <a:gd name="connsiteX2294" fmla="*/ 4186100 w 10505529"/>
              <a:gd name="connsiteY2294" fmla="*/ 7232074 h 7458372"/>
              <a:gd name="connsiteX2295" fmla="*/ 4176782 w 10505529"/>
              <a:gd name="connsiteY2295" fmla="*/ 7238331 h 7458372"/>
              <a:gd name="connsiteX2296" fmla="*/ 4165068 w 10505529"/>
              <a:gd name="connsiteY2296" fmla="*/ 7240594 h 7458372"/>
              <a:gd name="connsiteX2297" fmla="*/ 4143235 w 10505529"/>
              <a:gd name="connsiteY2297" fmla="*/ 7232207 h 7458372"/>
              <a:gd name="connsiteX2298" fmla="*/ 4134849 w 10505529"/>
              <a:gd name="connsiteY2298" fmla="*/ 7211040 h 7458372"/>
              <a:gd name="connsiteX2299" fmla="*/ 4143235 w 10505529"/>
              <a:gd name="connsiteY2299" fmla="*/ 7190009 h 7458372"/>
              <a:gd name="connsiteX2300" fmla="*/ 4165068 w 10505529"/>
              <a:gd name="connsiteY2300" fmla="*/ 7181489 h 7458372"/>
              <a:gd name="connsiteX2301" fmla="*/ 3947814 w 10505529"/>
              <a:gd name="connsiteY2301" fmla="*/ 7181489 h 7458372"/>
              <a:gd name="connsiteX2302" fmla="*/ 3959533 w 10505529"/>
              <a:gd name="connsiteY2302" fmla="*/ 7183752 h 7458372"/>
              <a:gd name="connsiteX2303" fmla="*/ 3968851 w 10505529"/>
              <a:gd name="connsiteY2303" fmla="*/ 7190141 h 7458372"/>
              <a:gd name="connsiteX2304" fmla="*/ 3974975 w 10505529"/>
              <a:gd name="connsiteY2304" fmla="*/ 7199459 h 7458372"/>
              <a:gd name="connsiteX2305" fmla="*/ 3977239 w 10505529"/>
              <a:gd name="connsiteY2305" fmla="*/ 7210908 h 7458372"/>
              <a:gd name="connsiteX2306" fmla="*/ 3974975 w 10505529"/>
              <a:gd name="connsiteY2306" fmla="*/ 7222622 h 7458372"/>
              <a:gd name="connsiteX2307" fmla="*/ 3968851 w 10505529"/>
              <a:gd name="connsiteY2307" fmla="*/ 7232074 h 7458372"/>
              <a:gd name="connsiteX2308" fmla="*/ 3959533 w 10505529"/>
              <a:gd name="connsiteY2308" fmla="*/ 7238331 h 7458372"/>
              <a:gd name="connsiteX2309" fmla="*/ 3947814 w 10505529"/>
              <a:gd name="connsiteY2309" fmla="*/ 7240594 h 7458372"/>
              <a:gd name="connsiteX2310" fmla="*/ 3925981 w 10505529"/>
              <a:gd name="connsiteY2310" fmla="*/ 7232207 h 7458372"/>
              <a:gd name="connsiteX2311" fmla="*/ 3917595 w 10505529"/>
              <a:gd name="connsiteY2311" fmla="*/ 7211040 h 7458372"/>
              <a:gd name="connsiteX2312" fmla="*/ 3925981 w 10505529"/>
              <a:gd name="connsiteY2312" fmla="*/ 7190009 h 7458372"/>
              <a:gd name="connsiteX2313" fmla="*/ 3947814 w 10505529"/>
              <a:gd name="connsiteY2313" fmla="*/ 7181489 h 7458372"/>
              <a:gd name="connsiteX2314" fmla="*/ 3730152 w 10505529"/>
              <a:gd name="connsiteY2314" fmla="*/ 7181489 h 7458372"/>
              <a:gd name="connsiteX2315" fmla="*/ 3741867 w 10505529"/>
              <a:gd name="connsiteY2315" fmla="*/ 7183752 h 7458372"/>
              <a:gd name="connsiteX2316" fmla="*/ 3751186 w 10505529"/>
              <a:gd name="connsiteY2316" fmla="*/ 7190141 h 7458372"/>
              <a:gd name="connsiteX2317" fmla="*/ 3757309 w 10505529"/>
              <a:gd name="connsiteY2317" fmla="*/ 7199459 h 7458372"/>
              <a:gd name="connsiteX2318" fmla="*/ 3759572 w 10505529"/>
              <a:gd name="connsiteY2318" fmla="*/ 7210908 h 7458372"/>
              <a:gd name="connsiteX2319" fmla="*/ 3757309 w 10505529"/>
              <a:gd name="connsiteY2319" fmla="*/ 7222622 h 7458372"/>
              <a:gd name="connsiteX2320" fmla="*/ 3751186 w 10505529"/>
              <a:gd name="connsiteY2320" fmla="*/ 7232074 h 7458372"/>
              <a:gd name="connsiteX2321" fmla="*/ 3741867 w 10505529"/>
              <a:gd name="connsiteY2321" fmla="*/ 7238331 h 7458372"/>
              <a:gd name="connsiteX2322" fmla="*/ 3730152 w 10505529"/>
              <a:gd name="connsiteY2322" fmla="*/ 7240594 h 7458372"/>
              <a:gd name="connsiteX2323" fmla="*/ 3708309 w 10505529"/>
              <a:gd name="connsiteY2323" fmla="*/ 7232207 h 7458372"/>
              <a:gd name="connsiteX2324" fmla="*/ 3699922 w 10505529"/>
              <a:gd name="connsiteY2324" fmla="*/ 7211040 h 7458372"/>
              <a:gd name="connsiteX2325" fmla="*/ 3708309 w 10505529"/>
              <a:gd name="connsiteY2325" fmla="*/ 7190009 h 7458372"/>
              <a:gd name="connsiteX2326" fmla="*/ 3730152 w 10505529"/>
              <a:gd name="connsiteY2326" fmla="*/ 7181489 h 7458372"/>
              <a:gd name="connsiteX2327" fmla="*/ 3512486 w 10505529"/>
              <a:gd name="connsiteY2327" fmla="*/ 7181489 h 7458372"/>
              <a:gd name="connsiteX2328" fmla="*/ 3524202 w 10505529"/>
              <a:gd name="connsiteY2328" fmla="*/ 7183752 h 7458372"/>
              <a:gd name="connsiteX2329" fmla="*/ 3533520 w 10505529"/>
              <a:gd name="connsiteY2329" fmla="*/ 7190141 h 7458372"/>
              <a:gd name="connsiteX2330" fmla="*/ 3539643 w 10505529"/>
              <a:gd name="connsiteY2330" fmla="*/ 7199459 h 7458372"/>
              <a:gd name="connsiteX2331" fmla="*/ 3541906 w 10505529"/>
              <a:gd name="connsiteY2331" fmla="*/ 7210908 h 7458372"/>
              <a:gd name="connsiteX2332" fmla="*/ 3539643 w 10505529"/>
              <a:gd name="connsiteY2332" fmla="*/ 7222622 h 7458372"/>
              <a:gd name="connsiteX2333" fmla="*/ 3533520 w 10505529"/>
              <a:gd name="connsiteY2333" fmla="*/ 7232074 h 7458372"/>
              <a:gd name="connsiteX2334" fmla="*/ 3524202 w 10505529"/>
              <a:gd name="connsiteY2334" fmla="*/ 7238331 h 7458372"/>
              <a:gd name="connsiteX2335" fmla="*/ 3512486 w 10505529"/>
              <a:gd name="connsiteY2335" fmla="*/ 7240594 h 7458372"/>
              <a:gd name="connsiteX2336" fmla="*/ 3490647 w 10505529"/>
              <a:gd name="connsiteY2336" fmla="*/ 7232207 h 7458372"/>
              <a:gd name="connsiteX2337" fmla="*/ 3482261 w 10505529"/>
              <a:gd name="connsiteY2337" fmla="*/ 7211040 h 7458372"/>
              <a:gd name="connsiteX2338" fmla="*/ 3490647 w 10505529"/>
              <a:gd name="connsiteY2338" fmla="*/ 7190009 h 7458372"/>
              <a:gd name="connsiteX2339" fmla="*/ 3512486 w 10505529"/>
              <a:gd name="connsiteY2339" fmla="*/ 7181489 h 7458372"/>
              <a:gd name="connsiteX2340" fmla="*/ 3294953 w 10505529"/>
              <a:gd name="connsiteY2340" fmla="*/ 7181489 h 7458372"/>
              <a:gd name="connsiteX2341" fmla="*/ 3306669 w 10505529"/>
              <a:gd name="connsiteY2341" fmla="*/ 7183752 h 7458372"/>
              <a:gd name="connsiteX2342" fmla="*/ 3315987 w 10505529"/>
              <a:gd name="connsiteY2342" fmla="*/ 7190141 h 7458372"/>
              <a:gd name="connsiteX2343" fmla="*/ 3322111 w 10505529"/>
              <a:gd name="connsiteY2343" fmla="*/ 7199459 h 7458372"/>
              <a:gd name="connsiteX2344" fmla="*/ 3324374 w 10505529"/>
              <a:gd name="connsiteY2344" fmla="*/ 7210908 h 7458372"/>
              <a:gd name="connsiteX2345" fmla="*/ 3322111 w 10505529"/>
              <a:gd name="connsiteY2345" fmla="*/ 7222622 h 7458372"/>
              <a:gd name="connsiteX2346" fmla="*/ 3315987 w 10505529"/>
              <a:gd name="connsiteY2346" fmla="*/ 7232074 h 7458372"/>
              <a:gd name="connsiteX2347" fmla="*/ 3306669 w 10505529"/>
              <a:gd name="connsiteY2347" fmla="*/ 7238331 h 7458372"/>
              <a:gd name="connsiteX2348" fmla="*/ 3294953 w 10505529"/>
              <a:gd name="connsiteY2348" fmla="*/ 7240594 h 7458372"/>
              <a:gd name="connsiteX2349" fmla="*/ 3273113 w 10505529"/>
              <a:gd name="connsiteY2349" fmla="*/ 7232207 h 7458372"/>
              <a:gd name="connsiteX2350" fmla="*/ 3264725 w 10505529"/>
              <a:gd name="connsiteY2350" fmla="*/ 7211040 h 7458372"/>
              <a:gd name="connsiteX2351" fmla="*/ 3273113 w 10505529"/>
              <a:gd name="connsiteY2351" fmla="*/ 7190009 h 7458372"/>
              <a:gd name="connsiteX2352" fmla="*/ 3294953 w 10505529"/>
              <a:gd name="connsiteY2352" fmla="*/ 7181489 h 7458372"/>
              <a:gd name="connsiteX2353" fmla="*/ 3077288 w 10505529"/>
              <a:gd name="connsiteY2353" fmla="*/ 7181489 h 7458372"/>
              <a:gd name="connsiteX2354" fmla="*/ 3089004 w 10505529"/>
              <a:gd name="connsiteY2354" fmla="*/ 7183752 h 7458372"/>
              <a:gd name="connsiteX2355" fmla="*/ 3098322 w 10505529"/>
              <a:gd name="connsiteY2355" fmla="*/ 7190141 h 7458372"/>
              <a:gd name="connsiteX2356" fmla="*/ 3104445 w 10505529"/>
              <a:gd name="connsiteY2356" fmla="*/ 7199459 h 7458372"/>
              <a:gd name="connsiteX2357" fmla="*/ 3106708 w 10505529"/>
              <a:gd name="connsiteY2357" fmla="*/ 7210908 h 7458372"/>
              <a:gd name="connsiteX2358" fmla="*/ 3104445 w 10505529"/>
              <a:gd name="connsiteY2358" fmla="*/ 7222622 h 7458372"/>
              <a:gd name="connsiteX2359" fmla="*/ 3098322 w 10505529"/>
              <a:gd name="connsiteY2359" fmla="*/ 7232074 h 7458372"/>
              <a:gd name="connsiteX2360" fmla="*/ 3089004 w 10505529"/>
              <a:gd name="connsiteY2360" fmla="*/ 7238331 h 7458372"/>
              <a:gd name="connsiteX2361" fmla="*/ 3077288 w 10505529"/>
              <a:gd name="connsiteY2361" fmla="*/ 7240594 h 7458372"/>
              <a:gd name="connsiteX2362" fmla="*/ 3055448 w 10505529"/>
              <a:gd name="connsiteY2362" fmla="*/ 7232207 h 7458372"/>
              <a:gd name="connsiteX2363" fmla="*/ 3047061 w 10505529"/>
              <a:gd name="connsiteY2363" fmla="*/ 7211040 h 7458372"/>
              <a:gd name="connsiteX2364" fmla="*/ 3055448 w 10505529"/>
              <a:gd name="connsiteY2364" fmla="*/ 7190009 h 7458372"/>
              <a:gd name="connsiteX2365" fmla="*/ 3077288 w 10505529"/>
              <a:gd name="connsiteY2365" fmla="*/ 7181489 h 7458372"/>
              <a:gd name="connsiteX2366" fmla="*/ 2859623 w 10505529"/>
              <a:gd name="connsiteY2366" fmla="*/ 7181489 h 7458372"/>
              <a:gd name="connsiteX2367" fmla="*/ 2871471 w 10505529"/>
              <a:gd name="connsiteY2367" fmla="*/ 7183752 h 7458372"/>
              <a:gd name="connsiteX2368" fmla="*/ 2880789 w 10505529"/>
              <a:gd name="connsiteY2368" fmla="*/ 7190141 h 7458372"/>
              <a:gd name="connsiteX2369" fmla="*/ 2886912 w 10505529"/>
              <a:gd name="connsiteY2369" fmla="*/ 7199459 h 7458372"/>
              <a:gd name="connsiteX2370" fmla="*/ 2889175 w 10505529"/>
              <a:gd name="connsiteY2370" fmla="*/ 7210908 h 7458372"/>
              <a:gd name="connsiteX2371" fmla="*/ 2886912 w 10505529"/>
              <a:gd name="connsiteY2371" fmla="*/ 7222622 h 7458372"/>
              <a:gd name="connsiteX2372" fmla="*/ 2880789 w 10505529"/>
              <a:gd name="connsiteY2372" fmla="*/ 7232074 h 7458372"/>
              <a:gd name="connsiteX2373" fmla="*/ 2871471 w 10505529"/>
              <a:gd name="connsiteY2373" fmla="*/ 7238331 h 7458372"/>
              <a:gd name="connsiteX2374" fmla="*/ 2859623 w 10505529"/>
              <a:gd name="connsiteY2374" fmla="*/ 7240594 h 7458372"/>
              <a:gd name="connsiteX2375" fmla="*/ 2837782 w 10505529"/>
              <a:gd name="connsiteY2375" fmla="*/ 7232207 h 7458372"/>
              <a:gd name="connsiteX2376" fmla="*/ 2829395 w 10505529"/>
              <a:gd name="connsiteY2376" fmla="*/ 7211040 h 7458372"/>
              <a:gd name="connsiteX2377" fmla="*/ 2837782 w 10505529"/>
              <a:gd name="connsiteY2377" fmla="*/ 7190009 h 7458372"/>
              <a:gd name="connsiteX2378" fmla="*/ 2859623 w 10505529"/>
              <a:gd name="connsiteY2378" fmla="*/ 7181489 h 7458372"/>
              <a:gd name="connsiteX2379" fmla="*/ 2641957 w 10505529"/>
              <a:gd name="connsiteY2379" fmla="*/ 7181489 h 7458372"/>
              <a:gd name="connsiteX2380" fmla="*/ 2653672 w 10505529"/>
              <a:gd name="connsiteY2380" fmla="*/ 7183752 h 7458372"/>
              <a:gd name="connsiteX2381" fmla="*/ 2662990 w 10505529"/>
              <a:gd name="connsiteY2381" fmla="*/ 7190141 h 7458372"/>
              <a:gd name="connsiteX2382" fmla="*/ 2669114 w 10505529"/>
              <a:gd name="connsiteY2382" fmla="*/ 7199459 h 7458372"/>
              <a:gd name="connsiteX2383" fmla="*/ 2671377 w 10505529"/>
              <a:gd name="connsiteY2383" fmla="*/ 7210908 h 7458372"/>
              <a:gd name="connsiteX2384" fmla="*/ 2669114 w 10505529"/>
              <a:gd name="connsiteY2384" fmla="*/ 7222622 h 7458372"/>
              <a:gd name="connsiteX2385" fmla="*/ 2662990 w 10505529"/>
              <a:gd name="connsiteY2385" fmla="*/ 7232074 h 7458372"/>
              <a:gd name="connsiteX2386" fmla="*/ 2653672 w 10505529"/>
              <a:gd name="connsiteY2386" fmla="*/ 7238331 h 7458372"/>
              <a:gd name="connsiteX2387" fmla="*/ 2641957 w 10505529"/>
              <a:gd name="connsiteY2387" fmla="*/ 7240594 h 7458372"/>
              <a:gd name="connsiteX2388" fmla="*/ 2620122 w 10505529"/>
              <a:gd name="connsiteY2388" fmla="*/ 7232207 h 7458372"/>
              <a:gd name="connsiteX2389" fmla="*/ 2611732 w 10505529"/>
              <a:gd name="connsiteY2389" fmla="*/ 7211040 h 7458372"/>
              <a:gd name="connsiteX2390" fmla="*/ 2620122 w 10505529"/>
              <a:gd name="connsiteY2390" fmla="*/ 7190009 h 7458372"/>
              <a:gd name="connsiteX2391" fmla="*/ 2641957 w 10505529"/>
              <a:gd name="connsiteY2391" fmla="*/ 7181489 h 7458372"/>
              <a:gd name="connsiteX2392" fmla="*/ 2424291 w 10505529"/>
              <a:gd name="connsiteY2392" fmla="*/ 7181489 h 7458372"/>
              <a:gd name="connsiteX2393" fmla="*/ 2436006 w 10505529"/>
              <a:gd name="connsiteY2393" fmla="*/ 7183752 h 7458372"/>
              <a:gd name="connsiteX2394" fmla="*/ 2445324 w 10505529"/>
              <a:gd name="connsiteY2394" fmla="*/ 7190141 h 7458372"/>
              <a:gd name="connsiteX2395" fmla="*/ 2451448 w 10505529"/>
              <a:gd name="connsiteY2395" fmla="*/ 7199459 h 7458372"/>
              <a:gd name="connsiteX2396" fmla="*/ 2453711 w 10505529"/>
              <a:gd name="connsiteY2396" fmla="*/ 7210908 h 7458372"/>
              <a:gd name="connsiteX2397" fmla="*/ 2451448 w 10505529"/>
              <a:gd name="connsiteY2397" fmla="*/ 7222622 h 7458372"/>
              <a:gd name="connsiteX2398" fmla="*/ 2445324 w 10505529"/>
              <a:gd name="connsiteY2398" fmla="*/ 7232074 h 7458372"/>
              <a:gd name="connsiteX2399" fmla="*/ 2436006 w 10505529"/>
              <a:gd name="connsiteY2399" fmla="*/ 7238331 h 7458372"/>
              <a:gd name="connsiteX2400" fmla="*/ 2424291 w 10505529"/>
              <a:gd name="connsiteY2400" fmla="*/ 7240594 h 7458372"/>
              <a:gd name="connsiteX2401" fmla="*/ 2402459 w 10505529"/>
              <a:gd name="connsiteY2401" fmla="*/ 7232207 h 7458372"/>
              <a:gd name="connsiteX2402" fmla="*/ 2394068 w 10505529"/>
              <a:gd name="connsiteY2402" fmla="*/ 7211040 h 7458372"/>
              <a:gd name="connsiteX2403" fmla="*/ 2402459 w 10505529"/>
              <a:gd name="connsiteY2403" fmla="*/ 7190009 h 7458372"/>
              <a:gd name="connsiteX2404" fmla="*/ 2424291 w 10505529"/>
              <a:gd name="connsiteY2404" fmla="*/ 7181489 h 7458372"/>
              <a:gd name="connsiteX2405" fmla="*/ 2206625 w 10505529"/>
              <a:gd name="connsiteY2405" fmla="*/ 7181489 h 7458372"/>
              <a:gd name="connsiteX2406" fmla="*/ 2218340 w 10505529"/>
              <a:gd name="connsiteY2406" fmla="*/ 7183752 h 7458372"/>
              <a:gd name="connsiteX2407" fmla="*/ 2227659 w 10505529"/>
              <a:gd name="connsiteY2407" fmla="*/ 7190141 h 7458372"/>
              <a:gd name="connsiteX2408" fmla="*/ 2233782 w 10505529"/>
              <a:gd name="connsiteY2408" fmla="*/ 7199459 h 7458372"/>
              <a:gd name="connsiteX2409" fmla="*/ 2236045 w 10505529"/>
              <a:gd name="connsiteY2409" fmla="*/ 7210908 h 7458372"/>
              <a:gd name="connsiteX2410" fmla="*/ 2233782 w 10505529"/>
              <a:gd name="connsiteY2410" fmla="*/ 7222622 h 7458372"/>
              <a:gd name="connsiteX2411" fmla="*/ 2227659 w 10505529"/>
              <a:gd name="connsiteY2411" fmla="*/ 7232074 h 7458372"/>
              <a:gd name="connsiteX2412" fmla="*/ 2218340 w 10505529"/>
              <a:gd name="connsiteY2412" fmla="*/ 7238331 h 7458372"/>
              <a:gd name="connsiteX2413" fmla="*/ 2206625 w 10505529"/>
              <a:gd name="connsiteY2413" fmla="*/ 7240594 h 7458372"/>
              <a:gd name="connsiteX2414" fmla="*/ 2184792 w 10505529"/>
              <a:gd name="connsiteY2414" fmla="*/ 7232207 h 7458372"/>
              <a:gd name="connsiteX2415" fmla="*/ 2176403 w 10505529"/>
              <a:gd name="connsiteY2415" fmla="*/ 7211040 h 7458372"/>
              <a:gd name="connsiteX2416" fmla="*/ 2184792 w 10505529"/>
              <a:gd name="connsiteY2416" fmla="*/ 7190009 h 7458372"/>
              <a:gd name="connsiteX2417" fmla="*/ 2206625 w 10505529"/>
              <a:gd name="connsiteY2417" fmla="*/ 7181489 h 7458372"/>
              <a:gd name="connsiteX2418" fmla="*/ 1989092 w 10505529"/>
              <a:gd name="connsiteY2418" fmla="*/ 7181489 h 7458372"/>
              <a:gd name="connsiteX2419" fmla="*/ 2000808 w 10505529"/>
              <a:gd name="connsiteY2419" fmla="*/ 7183752 h 7458372"/>
              <a:gd name="connsiteX2420" fmla="*/ 2010126 w 10505529"/>
              <a:gd name="connsiteY2420" fmla="*/ 7190141 h 7458372"/>
              <a:gd name="connsiteX2421" fmla="*/ 2016249 w 10505529"/>
              <a:gd name="connsiteY2421" fmla="*/ 7199459 h 7458372"/>
              <a:gd name="connsiteX2422" fmla="*/ 2018512 w 10505529"/>
              <a:gd name="connsiteY2422" fmla="*/ 7210908 h 7458372"/>
              <a:gd name="connsiteX2423" fmla="*/ 2016249 w 10505529"/>
              <a:gd name="connsiteY2423" fmla="*/ 7222622 h 7458372"/>
              <a:gd name="connsiteX2424" fmla="*/ 2010126 w 10505529"/>
              <a:gd name="connsiteY2424" fmla="*/ 7232074 h 7458372"/>
              <a:gd name="connsiteX2425" fmla="*/ 2000808 w 10505529"/>
              <a:gd name="connsiteY2425" fmla="*/ 7238331 h 7458372"/>
              <a:gd name="connsiteX2426" fmla="*/ 1989092 w 10505529"/>
              <a:gd name="connsiteY2426" fmla="*/ 7240594 h 7458372"/>
              <a:gd name="connsiteX2427" fmla="*/ 1967261 w 10505529"/>
              <a:gd name="connsiteY2427" fmla="*/ 7232207 h 7458372"/>
              <a:gd name="connsiteX2428" fmla="*/ 1958875 w 10505529"/>
              <a:gd name="connsiteY2428" fmla="*/ 7211040 h 7458372"/>
              <a:gd name="connsiteX2429" fmla="*/ 1967261 w 10505529"/>
              <a:gd name="connsiteY2429" fmla="*/ 7190009 h 7458372"/>
              <a:gd name="connsiteX2430" fmla="*/ 1989092 w 10505529"/>
              <a:gd name="connsiteY2430" fmla="*/ 7181489 h 7458372"/>
              <a:gd name="connsiteX2431" fmla="*/ 1771462 w 10505529"/>
              <a:gd name="connsiteY2431" fmla="*/ 7181489 h 7458372"/>
              <a:gd name="connsiteX2432" fmla="*/ 1783175 w 10505529"/>
              <a:gd name="connsiteY2432" fmla="*/ 7183752 h 7458372"/>
              <a:gd name="connsiteX2433" fmla="*/ 1792493 w 10505529"/>
              <a:gd name="connsiteY2433" fmla="*/ 7190141 h 7458372"/>
              <a:gd name="connsiteX2434" fmla="*/ 1798616 w 10505529"/>
              <a:gd name="connsiteY2434" fmla="*/ 7199459 h 7458372"/>
              <a:gd name="connsiteX2435" fmla="*/ 1800879 w 10505529"/>
              <a:gd name="connsiteY2435" fmla="*/ 7210908 h 7458372"/>
              <a:gd name="connsiteX2436" fmla="*/ 1798616 w 10505529"/>
              <a:gd name="connsiteY2436" fmla="*/ 7222622 h 7458372"/>
              <a:gd name="connsiteX2437" fmla="*/ 1792493 w 10505529"/>
              <a:gd name="connsiteY2437" fmla="*/ 7232074 h 7458372"/>
              <a:gd name="connsiteX2438" fmla="*/ 1783175 w 10505529"/>
              <a:gd name="connsiteY2438" fmla="*/ 7238331 h 7458372"/>
              <a:gd name="connsiteX2439" fmla="*/ 1771462 w 10505529"/>
              <a:gd name="connsiteY2439" fmla="*/ 7240594 h 7458372"/>
              <a:gd name="connsiteX2440" fmla="*/ 1749633 w 10505529"/>
              <a:gd name="connsiteY2440" fmla="*/ 7232207 h 7458372"/>
              <a:gd name="connsiteX2441" fmla="*/ 1741251 w 10505529"/>
              <a:gd name="connsiteY2441" fmla="*/ 7211040 h 7458372"/>
              <a:gd name="connsiteX2442" fmla="*/ 1749633 w 10505529"/>
              <a:gd name="connsiteY2442" fmla="*/ 7190009 h 7458372"/>
              <a:gd name="connsiteX2443" fmla="*/ 1771462 w 10505529"/>
              <a:gd name="connsiteY2443" fmla="*/ 7181489 h 7458372"/>
              <a:gd name="connsiteX2444" fmla="*/ 1553827 w 10505529"/>
              <a:gd name="connsiteY2444" fmla="*/ 7181489 h 7458372"/>
              <a:gd name="connsiteX2445" fmla="*/ 1565542 w 10505529"/>
              <a:gd name="connsiteY2445" fmla="*/ 7183752 h 7458372"/>
              <a:gd name="connsiteX2446" fmla="*/ 1574861 w 10505529"/>
              <a:gd name="connsiteY2446" fmla="*/ 7190141 h 7458372"/>
              <a:gd name="connsiteX2447" fmla="*/ 1580983 w 10505529"/>
              <a:gd name="connsiteY2447" fmla="*/ 7199459 h 7458372"/>
              <a:gd name="connsiteX2448" fmla="*/ 1583246 w 10505529"/>
              <a:gd name="connsiteY2448" fmla="*/ 7210908 h 7458372"/>
              <a:gd name="connsiteX2449" fmla="*/ 1580983 w 10505529"/>
              <a:gd name="connsiteY2449" fmla="*/ 7222622 h 7458372"/>
              <a:gd name="connsiteX2450" fmla="*/ 1574861 w 10505529"/>
              <a:gd name="connsiteY2450" fmla="*/ 7232074 h 7458372"/>
              <a:gd name="connsiteX2451" fmla="*/ 1565542 w 10505529"/>
              <a:gd name="connsiteY2451" fmla="*/ 7238331 h 7458372"/>
              <a:gd name="connsiteX2452" fmla="*/ 1553827 w 10505529"/>
              <a:gd name="connsiteY2452" fmla="*/ 7240594 h 7458372"/>
              <a:gd name="connsiteX2453" fmla="*/ 1531999 w 10505529"/>
              <a:gd name="connsiteY2453" fmla="*/ 7232207 h 7458372"/>
              <a:gd name="connsiteX2454" fmla="*/ 1523613 w 10505529"/>
              <a:gd name="connsiteY2454" fmla="*/ 7211040 h 7458372"/>
              <a:gd name="connsiteX2455" fmla="*/ 1531999 w 10505529"/>
              <a:gd name="connsiteY2455" fmla="*/ 7190009 h 7458372"/>
              <a:gd name="connsiteX2456" fmla="*/ 1553827 w 10505529"/>
              <a:gd name="connsiteY2456" fmla="*/ 7181489 h 7458372"/>
              <a:gd name="connsiteX2457" fmla="*/ 1336184 w 10505529"/>
              <a:gd name="connsiteY2457" fmla="*/ 7181489 h 7458372"/>
              <a:gd name="connsiteX2458" fmla="*/ 1347900 w 10505529"/>
              <a:gd name="connsiteY2458" fmla="*/ 7183752 h 7458372"/>
              <a:gd name="connsiteX2459" fmla="*/ 1357218 w 10505529"/>
              <a:gd name="connsiteY2459" fmla="*/ 7190141 h 7458372"/>
              <a:gd name="connsiteX2460" fmla="*/ 1363341 w 10505529"/>
              <a:gd name="connsiteY2460" fmla="*/ 7199459 h 7458372"/>
              <a:gd name="connsiteX2461" fmla="*/ 1365603 w 10505529"/>
              <a:gd name="connsiteY2461" fmla="*/ 7210908 h 7458372"/>
              <a:gd name="connsiteX2462" fmla="*/ 1363341 w 10505529"/>
              <a:gd name="connsiteY2462" fmla="*/ 7222622 h 7458372"/>
              <a:gd name="connsiteX2463" fmla="*/ 1357218 w 10505529"/>
              <a:gd name="connsiteY2463" fmla="*/ 7232074 h 7458372"/>
              <a:gd name="connsiteX2464" fmla="*/ 1347900 w 10505529"/>
              <a:gd name="connsiteY2464" fmla="*/ 7238331 h 7458372"/>
              <a:gd name="connsiteX2465" fmla="*/ 1336184 w 10505529"/>
              <a:gd name="connsiteY2465" fmla="*/ 7240594 h 7458372"/>
              <a:gd name="connsiteX2466" fmla="*/ 1314351 w 10505529"/>
              <a:gd name="connsiteY2466" fmla="*/ 7232207 h 7458372"/>
              <a:gd name="connsiteX2467" fmla="*/ 1305966 w 10505529"/>
              <a:gd name="connsiteY2467" fmla="*/ 7211040 h 7458372"/>
              <a:gd name="connsiteX2468" fmla="*/ 1314351 w 10505529"/>
              <a:gd name="connsiteY2468" fmla="*/ 7190009 h 7458372"/>
              <a:gd name="connsiteX2469" fmla="*/ 1336184 w 10505529"/>
              <a:gd name="connsiteY2469" fmla="*/ 7181489 h 7458372"/>
              <a:gd name="connsiteX2470" fmla="*/ 1118539 w 10505529"/>
              <a:gd name="connsiteY2470" fmla="*/ 7181489 h 7458372"/>
              <a:gd name="connsiteX2471" fmla="*/ 1130258 w 10505529"/>
              <a:gd name="connsiteY2471" fmla="*/ 7183752 h 7458372"/>
              <a:gd name="connsiteX2472" fmla="*/ 1139572 w 10505529"/>
              <a:gd name="connsiteY2472" fmla="*/ 7190141 h 7458372"/>
              <a:gd name="connsiteX2473" fmla="*/ 1145691 w 10505529"/>
              <a:gd name="connsiteY2473" fmla="*/ 7199459 h 7458372"/>
              <a:gd name="connsiteX2474" fmla="*/ 1147954 w 10505529"/>
              <a:gd name="connsiteY2474" fmla="*/ 7210908 h 7458372"/>
              <a:gd name="connsiteX2475" fmla="*/ 1145691 w 10505529"/>
              <a:gd name="connsiteY2475" fmla="*/ 7222622 h 7458372"/>
              <a:gd name="connsiteX2476" fmla="*/ 1139572 w 10505529"/>
              <a:gd name="connsiteY2476" fmla="*/ 7232074 h 7458372"/>
              <a:gd name="connsiteX2477" fmla="*/ 1130258 w 10505529"/>
              <a:gd name="connsiteY2477" fmla="*/ 7238331 h 7458372"/>
              <a:gd name="connsiteX2478" fmla="*/ 1118539 w 10505529"/>
              <a:gd name="connsiteY2478" fmla="*/ 7240594 h 7458372"/>
              <a:gd name="connsiteX2479" fmla="*/ 1096703 w 10505529"/>
              <a:gd name="connsiteY2479" fmla="*/ 7232207 h 7458372"/>
              <a:gd name="connsiteX2480" fmla="*/ 1088318 w 10505529"/>
              <a:gd name="connsiteY2480" fmla="*/ 7211040 h 7458372"/>
              <a:gd name="connsiteX2481" fmla="*/ 1096703 w 10505529"/>
              <a:gd name="connsiteY2481" fmla="*/ 7190009 h 7458372"/>
              <a:gd name="connsiteX2482" fmla="*/ 1118539 w 10505529"/>
              <a:gd name="connsiteY2482" fmla="*/ 7181489 h 7458372"/>
              <a:gd name="connsiteX2483" fmla="*/ 901025 w 10505529"/>
              <a:gd name="connsiteY2483" fmla="*/ 7181489 h 7458372"/>
              <a:gd name="connsiteX2484" fmla="*/ 912741 w 10505529"/>
              <a:gd name="connsiteY2484" fmla="*/ 7183752 h 7458372"/>
              <a:gd name="connsiteX2485" fmla="*/ 922059 w 10505529"/>
              <a:gd name="connsiteY2485" fmla="*/ 7190141 h 7458372"/>
              <a:gd name="connsiteX2486" fmla="*/ 928181 w 10505529"/>
              <a:gd name="connsiteY2486" fmla="*/ 7199459 h 7458372"/>
              <a:gd name="connsiteX2487" fmla="*/ 930444 w 10505529"/>
              <a:gd name="connsiteY2487" fmla="*/ 7210908 h 7458372"/>
              <a:gd name="connsiteX2488" fmla="*/ 928181 w 10505529"/>
              <a:gd name="connsiteY2488" fmla="*/ 7222622 h 7458372"/>
              <a:gd name="connsiteX2489" fmla="*/ 922059 w 10505529"/>
              <a:gd name="connsiteY2489" fmla="*/ 7232074 h 7458372"/>
              <a:gd name="connsiteX2490" fmla="*/ 912741 w 10505529"/>
              <a:gd name="connsiteY2490" fmla="*/ 7238331 h 7458372"/>
              <a:gd name="connsiteX2491" fmla="*/ 901025 w 10505529"/>
              <a:gd name="connsiteY2491" fmla="*/ 7240594 h 7458372"/>
              <a:gd name="connsiteX2492" fmla="*/ 879195 w 10505529"/>
              <a:gd name="connsiteY2492" fmla="*/ 7232207 h 7458372"/>
              <a:gd name="connsiteX2493" fmla="*/ 870810 w 10505529"/>
              <a:gd name="connsiteY2493" fmla="*/ 7211040 h 7458372"/>
              <a:gd name="connsiteX2494" fmla="*/ 879195 w 10505529"/>
              <a:gd name="connsiteY2494" fmla="*/ 7190009 h 7458372"/>
              <a:gd name="connsiteX2495" fmla="*/ 901025 w 10505529"/>
              <a:gd name="connsiteY2495" fmla="*/ 7181489 h 7458372"/>
              <a:gd name="connsiteX2496" fmla="*/ 683387 w 10505529"/>
              <a:gd name="connsiteY2496" fmla="*/ 7181489 h 7458372"/>
              <a:gd name="connsiteX2497" fmla="*/ 695102 w 10505529"/>
              <a:gd name="connsiteY2497" fmla="*/ 7183752 h 7458372"/>
              <a:gd name="connsiteX2498" fmla="*/ 704418 w 10505529"/>
              <a:gd name="connsiteY2498" fmla="*/ 7190141 h 7458372"/>
              <a:gd name="connsiteX2499" fmla="*/ 710542 w 10505529"/>
              <a:gd name="connsiteY2499" fmla="*/ 7199459 h 7458372"/>
              <a:gd name="connsiteX2500" fmla="*/ 712805 w 10505529"/>
              <a:gd name="connsiteY2500" fmla="*/ 7210908 h 7458372"/>
              <a:gd name="connsiteX2501" fmla="*/ 710542 w 10505529"/>
              <a:gd name="connsiteY2501" fmla="*/ 7222622 h 7458372"/>
              <a:gd name="connsiteX2502" fmla="*/ 704418 w 10505529"/>
              <a:gd name="connsiteY2502" fmla="*/ 7232074 h 7458372"/>
              <a:gd name="connsiteX2503" fmla="*/ 695102 w 10505529"/>
              <a:gd name="connsiteY2503" fmla="*/ 7238331 h 7458372"/>
              <a:gd name="connsiteX2504" fmla="*/ 683387 w 10505529"/>
              <a:gd name="connsiteY2504" fmla="*/ 7240594 h 7458372"/>
              <a:gd name="connsiteX2505" fmla="*/ 661555 w 10505529"/>
              <a:gd name="connsiteY2505" fmla="*/ 7232207 h 7458372"/>
              <a:gd name="connsiteX2506" fmla="*/ 653169 w 10505529"/>
              <a:gd name="connsiteY2506" fmla="*/ 7211040 h 7458372"/>
              <a:gd name="connsiteX2507" fmla="*/ 661555 w 10505529"/>
              <a:gd name="connsiteY2507" fmla="*/ 7190009 h 7458372"/>
              <a:gd name="connsiteX2508" fmla="*/ 683387 w 10505529"/>
              <a:gd name="connsiteY2508" fmla="*/ 7181489 h 7458372"/>
              <a:gd name="connsiteX2509" fmla="*/ 465746 w 10505529"/>
              <a:gd name="connsiteY2509" fmla="*/ 7181489 h 7458372"/>
              <a:gd name="connsiteX2510" fmla="*/ 477462 w 10505529"/>
              <a:gd name="connsiteY2510" fmla="*/ 7183752 h 7458372"/>
              <a:gd name="connsiteX2511" fmla="*/ 486779 w 10505529"/>
              <a:gd name="connsiteY2511" fmla="*/ 7190141 h 7458372"/>
              <a:gd name="connsiteX2512" fmla="*/ 492902 w 10505529"/>
              <a:gd name="connsiteY2512" fmla="*/ 7199459 h 7458372"/>
              <a:gd name="connsiteX2513" fmla="*/ 495164 w 10505529"/>
              <a:gd name="connsiteY2513" fmla="*/ 7210908 h 7458372"/>
              <a:gd name="connsiteX2514" fmla="*/ 492902 w 10505529"/>
              <a:gd name="connsiteY2514" fmla="*/ 7222622 h 7458372"/>
              <a:gd name="connsiteX2515" fmla="*/ 486779 w 10505529"/>
              <a:gd name="connsiteY2515" fmla="*/ 7232074 h 7458372"/>
              <a:gd name="connsiteX2516" fmla="*/ 477462 w 10505529"/>
              <a:gd name="connsiteY2516" fmla="*/ 7238331 h 7458372"/>
              <a:gd name="connsiteX2517" fmla="*/ 465746 w 10505529"/>
              <a:gd name="connsiteY2517" fmla="*/ 7240594 h 7458372"/>
              <a:gd name="connsiteX2518" fmla="*/ 443915 w 10505529"/>
              <a:gd name="connsiteY2518" fmla="*/ 7232207 h 7458372"/>
              <a:gd name="connsiteX2519" fmla="*/ 435529 w 10505529"/>
              <a:gd name="connsiteY2519" fmla="*/ 7211040 h 7458372"/>
              <a:gd name="connsiteX2520" fmla="*/ 443915 w 10505529"/>
              <a:gd name="connsiteY2520" fmla="*/ 7190009 h 7458372"/>
              <a:gd name="connsiteX2521" fmla="*/ 465746 w 10505529"/>
              <a:gd name="connsiteY2521" fmla="*/ 7181489 h 7458372"/>
              <a:gd name="connsiteX2522" fmla="*/ 248106 w 10505529"/>
              <a:gd name="connsiteY2522" fmla="*/ 7181489 h 7458372"/>
              <a:gd name="connsiteX2523" fmla="*/ 259820 w 10505529"/>
              <a:gd name="connsiteY2523" fmla="*/ 7183752 h 7458372"/>
              <a:gd name="connsiteX2524" fmla="*/ 269138 w 10505529"/>
              <a:gd name="connsiteY2524" fmla="*/ 7190141 h 7458372"/>
              <a:gd name="connsiteX2525" fmla="*/ 275261 w 10505529"/>
              <a:gd name="connsiteY2525" fmla="*/ 7199459 h 7458372"/>
              <a:gd name="connsiteX2526" fmla="*/ 277524 w 10505529"/>
              <a:gd name="connsiteY2526" fmla="*/ 7210908 h 7458372"/>
              <a:gd name="connsiteX2527" fmla="*/ 275261 w 10505529"/>
              <a:gd name="connsiteY2527" fmla="*/ 7222622 h 7458372"/>
              <a:gd name="connsiteX2528" fmla="*/ 269138 w 10505529"/>
              <a:gd name="connsiteY2528" fmla="*/ 7232074 h 7458372"/>
              <a:gd name="connsiteX2529" fmla="*/ 259820 w 10505529"/>
              <a:gd name="connsiteY2529" fmla="*/ 7238331 h 7458372"/>
              <a:gd name="connsiteX2530" fmla="*/ 248106 w 10505529"/>
              <a:gd name="connsiteY2530" fmla="*/ 7240594 h 7458372"/>
              <a:gd name="connsiteX2531" fmla="*/ 226277 w 10505529"/>
              <a:gd name="connsiteY2531" fmla="*/ 7232207 h 7458372"/>
              <a:gd name="connsiteX2532" fmla="*/ 217892 w 10505529"/>
              <a:gd name="connsiteY2532" fmla="*/ 7211040 h 7458372"/>
              <a:gd name="connsiteX2533" fmla="*/ 226277 w 10505529"/>
              <a:gd name="connsiteY2533" fmla="*/ 7190009 h 7458372"/>
              <a:gd name="connsiteX2534" fmla="*/ 248106 w 10505529"/>
              <a:gd name="connsiteY2534" fmla="*/ 7181489 h 7458372"/>
              <a:gd name="connsiteX2535" fmla="*/ 30465 w 10505529"/>
              <a:gd name="connsiteY2535" fmla="*/ 7181489 h 7458372"/>
              <a:gd name="connsiteX2536" fmla="*/ 42180 w 10505529"/>
              <a:gd name="connsiteY2536" fmla="*/ 7183752 h 7458372"/>
              <a:gd name="connsiteX2537" fmla="*/ 51499 w 10505529"/>
              <a:gd name="connsiteY2537" fmla="*/ 7190141 h 7458372"/>
              <a:gd name="connsiteX2538" fmla="*/ 57622 w 10505529"/>
              <a:gd name="connsiteY2538" fmla="*/ 7199459 h 7458372"/>
              <a:gd name="connsiteX2539" fmla="*/ 59885 w 10505529"/>
              <a:gd name="connsiteY2539" fmla="*/ 7210908 h 7458372"/>
              <a:gd name="connsiteX2540" fmla="*/ 57622 w 10505529"/>
              <a:gd name="connsiteY2540" fmla="*/ 7222622 h 7458372"/>
              <a:gd name="connsiteX2541" fmla="*/ 51499 w 10505529"/>
              <a:gd name="connsiteY2541" fmla="*/ 7232074 h 7458372"/>
              <a:gd name="connsiteX2542" fmla="*/ 42180 w 10505529"/>
              <a:gd name="connsiteY2542" fmla="*/ 7238331 h 7458372"/>
              <a:gd name="connsiteX2543" fmla="*/ 30465 w 10505529"/>
              <a:gd name="connsiteY2543" fmla="*/ 7240594 h 7458372"/>
              <a:gd name="connsiteX2544" fmla="*/ 8639 w 10505529"/>
              <a:gd name="connsiteY2544" fmla="*/ 7232207 h 7458372"/>
              <a:gd name="connsiteX2545" fmla="*/ 253 w 10505529"/>
              <a:gd name="connsiteY2545" fmla="*/ 7211040 h 7458372"/>
              <a:gd name="connsiteX2546" fmla="*/ 8639 w 10505529"/>
              <a:gd name="connsiteY2546" fmla="*/ 7190009 h 7458372"/>
              <a:gd name="connsiteX2547" fmla="*/ 30465 w 10505529"/>
              <a:gd name="connsiteY2547" fmla="*/ 7181489 h 7458372"/>
              <a:gd name="connsiteX2548" fmla="*/ 10475977 w 10505529"/>
              <a:gd name="connsiteY2548" fmla="*/ 6980351 h 7458372"/>
              <a:gd name="connsiteX2549" fmla="*/ 10465992 w 10505529"/>
              <a:gd name="connsiteY2549" fmla="*/ 6983945 h 7458372"/>
              <a:gd name="connsiteX2550" fmla="*/ 10462399 w 10505529"/>
              <a:gd name="connsiteY2550" fmla="*/ 6993396 h 7458372"/>
              <a:gd name="connsiteX2551" fmla="*/ 10465992 w 10505529"/>
              <a:gd name="connsiteY2551" fmla="*/ 7002848 h 7458372"/>
              <a:gd name="connsiteX2552" fmla="*/ 10475977 w 10505529"/>
              <a:gd name="connsiteY2552" fmla="*/ 7006442 h 7458372"/>
              <a:gd name="connsiteX2553" fmla="*/ 10481302 w 10505529"/>
              <a:gd name="connsiteY2553" fmla="*/ 7005378 h 7458372"/>
              <a:gd name="connsiteX2554" fmla="*/ 10485029 w 10505529"/>
              <a:gd name="connsiteY2554" fmla="*/ 7002980 h 7458372"/>
              <a:gd name="connsiteX2555" fmla="*/ 10487691 w 10505529"/>
              <a:gd name="connsiteY2555" fmla="*/ 6998721 h 7458372"/>
              <a:gd name="connsiteX2556" fmla="*/ 10488623 w 10505529"/>
              <a:gd name="connsiteY2556" fmla="*/ 6993263 h 7458372"/>
              <a:gd name="connsiteX2557" fmla="*/ 10487691 w 10505529"/>
              <a:gd name="connsiteY2557" fmla="*/ 6988071 h 7458372"/>
              <a:gd name="connsiteX2558" fmla="*/ 10485029 w 10505529"/>
              <a:gd name="connsiteY2558" fmla="*/ 6983945 h 7458372"/>
              <a:gd name="connsiteX2559" fmla="*/ 10481035 w 10505529"/>
              <a:gd name="connsiteY2559" fmla="*/ 6981283 h 7458372"/>
              <a:gd name="connsiteX2560" fmla="*/ 10475977 w 10505529"/>
              <a:gd name="connsiteY2560" fmla="*/ 6980351 h 7458372"/>
              <a:gd name="connsiteX2561" fmla="*/ 10258466 w 10505529"/>
              <a:gd name="connsiteY2561" fmla="*/ 6980351 h 7458372"/>
              <a:gd name="connsiteX2562" fmla="*/ 10248481 w 10505529"/>
              <a:gd name="connsiteY2562" fmla="*/ 6983945 h 7458372"/>
              <a:gd name="connsiteX2563" fmla="*/ 10244887 w 10505529"/>
              <a:gd name="connsiteY2563" fmla="*/ 6993396 h 7458372"/>
              <a:gd name="connsiteX2564" fmla="*/ 10248481 w 10505529"/>
              <a:gd name="connsiteY2564" fmla="*/ 7002848 h 7458372"/>
              <a:gd name="connsiteX2565" fmla="*/ 10258466 w 10505529"/>
              <a:gd name="connsiteY2565" fmla="*/ 7006442 h 7458372"/>
              <a:gd name="connsiteX2566" fmla="*/ 10263790 w 10505529"/>
              <a:gd name="connsiteY2566" fmla="*/ 7005378 h 7458372"/>
              <a:gd name="connsiteX2567" fmla="*/ 10267517 w 10505529"/>
              <a:gd name="connsiteY2567" fmla="*/ 7002980 h 7458372"/>
              <a:gd name="connsiteX2568" fmla="*/ 10270180 w 10505529"/>
              <a:gd name="connsiteY2568" fmla="*/ 6998721 h 7458372"/>
              <a:gd name="connsiteX2569" fmla="*/ 10271112 w 10505529"/>
              <a:gd name="connsiteY2569" fmla="*/ 6993263 h 7458372"/>
              <a:gd name="connsiteX2570" fmla="*/ 10270180 w 10505529"/>
              <a:gd name="connsiteY2570" fmla="*/ 6988071 h 7458372"/>
              <a:gd name="connsiteX2571" fmla="*/ 10267517 w 10505529"/>
              <a:gd name="connsiteY2571" fmla="*/ 6983945 h 7458372"/>
              <a:gd name="connsiteX2572" fmla="*/ 10263524 w 10505529"/>
              <a:gd name="connsiteY2572" fmla="*/ 6981283 h 7458372"/>
              <a:gd name="connsiteX2573" fmla="*/ 10258466 w 10505529"/>
              <a:gd name="connsiteY2573" fmla="*/ 6980351 h 7458372"/>
              <a:gd name="connsiteX2574" fmla="*/ 10040820 w 10505529"/>
              <a:gd name="connsiteY2574" fmla="*/ 6980351 h 7458372"/>
              <a:gd name="connsiteX2575" fmla="*/ 10030835 w 10505529"/>
              <a:gd name="connsiteY2575" fmla="*/ 6983945 h 7458372"/>
              <a:gd name="connsiteX2576" fmla="*/ 10027242 w 10505529"/>
              <a:gd name="connsiteY2576" fmla="*/ 6993396 h 7458372"/>
              <a:gd name="connsiteX2577" fmla="*/ 10030835 w 10505529"/>
              <a:gd name="connsiteY2577" fmla="*/ 7002848 h 7458372"/>
              <a:gd name="connsiteX2578" fmla="*/ 10040820 w 10505529"/>
              <a:gd name="connsiteY2578" fmla="*/ 7006442 h 7458372"/>
              <a:gd name="connsiteX2579" fmla="*/ 10046145 w 10505529"/>
              <a:gd name="connsiteY2579" fmla="*/ 7005378 h 7458372"/>
              <a:gd name="connsiteX2580" fmla="*/ 10049872 w 10505529"/>
              <a:gd name="connsiteY2580" fmla="*/ 7002980 h 7458372"/>
              <a:gd name="connsiteX2581" fmla="*/ 10052534 w 10505529"/>
              <a:gd name="connsiteY2581" fmla="*/ 6998721 h 7458372"/>
              <a:gd name="connsiteX2582" fmla="*/ 10053599 w 10505529"/>
              <a:gd name="connsiteY2582" fmla="*/ 6993263 h 7458372"/>
              <a:gd name="connsiteX2583" fmla="*/ 10052534 w 10505529"/>
              <a:gd name="connsiteY2583" fmla="*/ 6988071 h 7458372"/>
              <a:gd name="connsiteX2584" fmla="*/ 10049872 w 10505529"/>
              <a:gd name="connsiteY2584" fmla="*/ 6983945 h 7458372"/>
              <a:gd name="connsiteX2585" fmla="*/ 10045878 w 10505529"/>
              <a:gd name="connsiteY2585" fmla="*/ 6981283 h 7458372"/>
              <a:gd name="connsiteX2586" fmla="*/ 10040820 w 10505529"/>
              <a:gd name="connsiteY2586" fmla="*/ 6980351 h 7458372"/>
              <a:gd name="connsiteX2587" fmla="*/ 9823176 w 10505529"/>
              <a:gd name="connsiteY2587" fmla="*/ 6980351 h 7458372"/>
              <a:gd name="connsiteX2588" fmla="*/ 9813191 w 10505529"/>
              <a:gd name="connsiteY2588" fmla="*/ 6983945 h 7458372"/>
              <a:gd name="connsiteX2589" fmla="*/ 9809597 w 10505529"/>
              <a:gd name="connsiteY2589" fmla="*/ 6993396 h 7458372"/>
              <a:gd name="connsiteX2590" fmla="*/ 9813191 w 10505529"/>
              <a:gd name="connsiteY2590" fmla="*/ 7002848 h 7458372"/>
              <a:gd name="connsiteX2591" fmla="*/ 9823176 w 10505529"/>
              <a:gd name="connsiteY2591" fmla="*/ 7006442 h 7458372"/>
              <a:gd name="connsiteX2592" fmla="*/ 9828501 w 10505529"/>
              <a:gd name="connsiteY2592" fmla="*/ 7005378 h 7458372"/>
              <a:gd name="connsiteX2593" fmla="*/ 9832227 w 10505529"/>
              <a:gd name="connsiteY2593" fmla="*/ 7002980 h 7458372"/>
              <a:gd name="connsiteX2594" fmla="*/ 9834890 w 10505529"/>
              <a:gd name="connsiteY2594" fmla="*/ 6998721 h 7458372"/>
              <a:gd name="connsiteX2595" fmla="*/ 9835955 w 10505529"/>
              <a:gd name="connsiteY2595" fmla="*/ 6993263 h 7458372"/>
              <a:gd name="connsiteX2596" fmla="*/ 9834890 w 10505529"/>
              <a:gd name="connsiteY2596" fmla="*/ 6988071 h 7458372"/>
              <a:gd name="connsiteX2597" fmla="*/ 9832227 w 10505529"/>
              <a:gd name="connsiteY2597" fmla="*/ 6983945 h 7458372"/>
              <a:gd name="connsiteX2598" fmla="*/ 9828234 w 10505529"/>
              <a:gd name="connsiteY2598" fmla="*/ 6981283 h 7458372"/>
              <a:gd name="connsiteX2599" fmla="*/ 9823176 w 10505529"/>
              <a:gd name="connsiteY2599" fmla="*/ 6980351 h 7458372"/>
              <a:gd name="connsiteX2600" fmla="*/ 9605531 w 10505529"/>
              <a:gd name="connsiteY2600" fmla="*/ 6980351 h 7458372"/>
              <a:gd name="connsiteX2601" fmla="*/ 9595546 w 10505529"/>
              <a:gd name="connsiteY2601" fmla="*/ 6983945 h 7458372"/>
              <a:gd name="connsiteX2602" fmla="*/ 9591952 w 10505529"/>
              <a:gd name="connsiteY2602" fmla="*/ 6993396 h 7458372"/>
              <a:gd name="connsiteX2603" fmla="*/ 9595546 w 10505529"/>
              <a:gd name="connsiteY2603" fmla="*/ 7002848 h 7458372"/>
              <a:gd name="connsiteX2604" fmla="*/ 9605531 w 10505529"/>
              <a:gd name="connsiteY2604" fmla="*/ 7006442 h 7458372"/>
              <a:gd name="connsiteX2605" fmla="*/ 9610855 w 10505529"/>
              <a:gd name="connsiteY2605" fmla="*/ 7005378 h 7458372"/>
              <a:gd name="connsiteX2606" fmla="*/ 9614582 w 10505529"/>
              <a:gd name="connsiteY2606" fmla="*/ 7002980 h 7458372"/>
              <a:gd name="connsiteX2607" fmla="*/ 9617245 w 10505529"/>
              <a:gd name="connsiteY2607" fmla="*/ 6998721 h 7458372"/>
              <a:gd name="connsiteX2608" fmla="*/ 9618309 w 10505529"/>
              <a:gd name="connsiteY2608" fmla="*/ 6993263 h 7458372"/>
              <a:gd name="connsiteX2609" fmla="*/ 9617245 w 10505529"/>
              <a:gd name="connsiteY2609" fmla="*/ 6988071 h 7458372"/>
              <a:gd name="connsiteX2610" fmla="*/ 9614582 w 10505529"/>
              <a:gd name="connsiteY2610" fmla="*/ 6983945 h 7458372"/>
              <a:gd name="connsiteX2611" fmla="*/ 9610589 w 10505529"/>
              <a:gd name="connsiteY2611" fmla="*/ 6981283 h 7458372"/>
              <a:gd name="connsiteX2612" fmla="*/ 9605531 w 10505529"/>
              <a:gd name="connsiteY2612" fmla="*/ 6980351 h 7458372"/>
              <a:gd name="connsiteX2613" fmla="*/ 9387885 w 10505529"/>
              <a:gd name="connsiteY2613" fmla="*/ 6980351 h 7458372"/>
              <a:gd name="connsiteX2614" fmla="*/ 9377900 w 10505529"/>
              <a:gd name="connsiteY2614" fmla="*/ 6983945 h 7458372"/>
              <a:gd name="connsiteX2615" fmla="*/ 9374307 w 10505529"/>
              <a:gd name="connsiteY2615" fmla="*/ 6993396 h 7458372"/>
              <a:gd name="connsiteX2616" fmla="*/ 9377900 w 10505529"/>
              <a:gd name="connsiteY2616" fmla="*/ 7002848 h 7458372"/>
              <a:gd name="connsiteX2617" fmla="*/ 9387885 w 10505529"/>
              <a:gd name="connsiteY2617" fmla="*/ 7006442 h 7458372"/>
              <a:gd name="connsiteX2618" fmla="*/ 9393210 w 10505529"/>
              <a:gd name="connsiteY2618" fmla="*/ 7005378 h 7458372"/>
              <a:gd name="connsiteX2619" fmla="*/ 9396937 w 10505529"/>
              <a:gd name="connsiteY2619" fmla="*/ 7002980 h 7458372"/>
              <a:gd name="connsiteX2620" fmla="*/ 9399599 w 10505529"/>
              <a:gd name="connsiteY2620" fmla="*/ 6998721 h 7458372"/>
              <a:gd name="connsiteX2621" fmla="*/ 9400664 w 10505529"/>
              <a:gd name="connsiteY2621" fmla="*/ 6993263 h 7458372"/>
              <a:gd name="connsiteX2622" fmla="*/ 9399599 w 10505529"/>
              <a:gd name="connsiteY2622" fmla="*/ 6988071 h 7458372"/>
              <a:gd name="connsiteX2623" fmla="*/ 9396937 w 10505529"/>
              <a:gd name="connsiteY2623" fmla="*/ 6983945 h 7458372"/>
              <a:gd name="connsiteX2624" fmla="*/ 9392943 w 10505529"/>
              <a:gd name="connsiteY2624" fmla="*/ 6981283 h 7458372"/>
              <a:gd name="connsiteX2625" fmla="*/ 9387885 w 10505529"/>
              <a:gd name="connsiteY2625" fmla="*/ 6980351 h 7458372"/>
              <a:gd name="connsiteX2626" fmla="*/ 9170374 w 10505529"/>
              <a:gd name="connsiteY2626" fmla="*/ 6980351 h 7458372"/>
              <a:gd name="connsiteX2627" fmla="*/ 9160389 w 10505529"/>
              <a:gd name="connsiteY2627" fmla="*/ 6983945 h 7458372"/>
              <a:gd name="connsiteX2628" fmla="*/ 9156795 w 10505529"/>
              <a:gd name="connsiteY2628" fmla="*/ 6993396 h 7458372"/>
              <a:gd name="connsiteX2629" fmla="*/ 9160389 w 10505529"/>
              <a:gd name="connsiteY2629" fmla="*/ 7002848 h 7458372"/>
              <a:gd name="connsiteX2630" fmla="*/ 9170374 w 10505529"/>
              <a:gd name="connsiteY2630" fmla="*/ 7006442 h 7458372"/>
              <a:gd name="connsiteX2631" fmla="*/ 9175698 w 10505529"/>
              <a:gd name="connsiteY2631" fmla="*/ 7005378 h 7458372"/>
              <a:gd name="connsiteX2632" fmla="*/ 9179425 w 10505529"/>
              <a:gd name="connsiteY2632" fmla="*/ 7002980 h 7458372"/>
              <a:gd name="connsiteX2633" fmla="*/ 9182088 w 10505529"/>
              <a:gd name="connsiteY2633" fmla="*/ 6998721 h 7458372"/>
              <a:gd name="connsiteX2634" fmla="*/ 9183152 w 10505529"/>
              <a:gd name="connsiteY2634" fmla="*/ 6993263 h 7458372"/>
              <a:gd name="connsiteX2635" fmla="*/ 9182088 w 10505529"/>
              <a:gd name="connsiteY2635" fmla="*/ 6988071 h 7458372"/>
              <a:gd name="connsiteX2636" fmla="*/ 9179425 w 10505529"/>
              <a:gd name="connsiteY2636" fmla="*/ 6983945 h 7458372"/>
              <a:gd name="connsiteX2637" fmla="*/ 9175432 w 10505529"/>
              <a:gd name="connsiteY2637" fmla="*/ 6981283 h 7458372"/>
              <a:gd name="connsiteX2638" fmla="*/ 9170374 w 10505529"/>
              <a:gd name="connsiteY2638" fmla="*/ 6980351 h 7458372"/>
              <a:gd name="connsiteX2639" fmla="*/ 8952728 w 10505529"/>
              <a:gd name="connsiteY2639" fmla="*/ 6980351 h 7458372"/>
              <a:gd name="connsiteX2640" fmla="*/ 8942743 w 10505529"/>
              <a:gd name="connsiteY2640" fmla="*/ 6983945 h 7458372"/>
              <a:gd name="connsiteX2641" fmla="*/ 8939150 w 10505529"/>
              <a:gd name="connsiteY2641" fmla="*/ 6993396 h 7458372"/>
              <a:gd name="connsiteX2642" fmla="*/ 8942743 w 10505529"/>
              <a:gd name="connsiteY2642" fmla="*/ 7002848 h 7458372"/>
              <a:gd name="connsiteX2643" fmla="*/ 8952728 w 10505529"/>
              <a:gd name="connsiteY2643" fmla="*/ 7006442 h 7458372"/>
              <a:gd name="connsiteX2644" fmla="*/ 8958053 w 10505529"/>
              <a:gd name="connsiteY2644" fmla="*/ 7005378 h 7458372"/>
              <a:gd name="connsiteX2645" fmla="*/ 8961780 w 10505529"/>
              <a:gd name="connsiteY2645" fmla="*/ 7002980 h 7458372"/>
              <a:gd name="connsiteX2646" fmla="*/ 8964442 w 10505529"/>
              <a:gd name="connsiteY2646" fmla="*/ 6998721 h 7458372"/>
              <a:gd name="connsiteX2647" fmla="*/ 8965507 w 10505529"/>
              <a:gd name="connsiteY2647" fmla="*/ 6993263 h 7458372"/>
              <a:gd name="connsiteX2648" fmla="*/ 8964442 w 10505529"/>
              <a:gd name="connsiteY2648" fmla="*/ 6988071 h 7458372"/>
              <a:gd name="connsiteX2649" fmla="*/ 8961780 w 10505529"/>
              <a:gd name="connsiteY2649" fmla="*/ 6983945 h 7458372"/>
              <a:gd name="connsiteX2650" fmla="*/ 8957786 w 10505529"/>
              <a:gd name="connsiteY2650" fmla="*/ 6981283 h 7458372"/>
              <a:gd name="connsiteX2651" fmla="*/ 8952728 w 10505529"/>
              <a:gd name="connsiteY2651" fmla="*/ 6980351 h 7458372"/>
              <a:gd name="connsiteX2652" fmla="*/ 8735083 w 10505529"/>
              <a:gd name="connsiteY2652" fmla="*/ 6980351 h 7458372"/>
              <a:gd name="connsiteX2653" fmla="*/ 8725098 w 10505529"/>
              <a:gd name="connsiteY2653" fmla="*/ 6983945 h 7458372"/>
              <a:gd name="connsiteX2654" fmla="*/ 8721504 w 10505529"/>
              <a:gd name="connsiteY2654" fmla="*/ 6993396 h 7458372"/>
              <a:gd name="connsiteX2655" fmla="*/ 8725098 w 10505529"/>
              <a:gd name="connsiteY2655" fmla="*/ 7002848 h 7458372"/>
              <a:gd name="connsiteX2656" fmla="*/ 8735083 w 10505529"/>
              <a:gd name="connsiteY2656" fmla="*/ 7006442 h 7458372"/>
              <a:gd name="connsiteX2657" fmla="*/ 8740407 w 10505529"/>
              <a:gd name="connsiteY2657" fmla="*/ 7005378 h 7458372"/>
              <a:gd name="connsiteX2658" fmla="*/ 8744134 w 10505529"/>
              <a:gd name="connsiteY2658" fmla="*/ 7002980 h 7458372"/>
              <a:gd name="connsiteX2659" fmla="*/ 8746797 w 10505529"/>
              <a:gd name="connsiteY2659" fmla="*/ 6998721 h 7458372"/>
              <a:gd name="connsiteX2660" fmla="*/ 8747862 w 10505529"/>
              <a:gd name="connsiteY2660" fmla="*/ 6993263 h 7458372"/>
              <a:gd name="connsiteX2661" fmla="*/ 8746797 w 10505529"/>
              <a:gd name="connsiteY2661" fmla="*/ 6988071 h 7458372"/>
              <a:gd name="connsiteX2662" fmla="*/ 8744134 w 10505529"/>
              <a:gd name="connsiteY2662" fmla="*/ 6983945 h 7458372"/>
              <a:gd name="connsiteX2663" fmla="*/ 8740141 w 10505529"/>
              <a:gd name="connsiteY2663" fmla="*/ 6981283 h 7458372"/>
              <a:gd name="connsiteX2664" fmla="*/ 8735083 w 10505529"/>
              <a:gd name="connsiteY2664" fmla="*/ 6980351 h 7458372"/>
              <a:gd name="connsiteX2665" fmla="*/ 8517438 w 10505529"/>
              <a:gd name="connsiteY2665" fmla="*/ 6980351 h 7458372"/>
              <a:gd name="connsiteX2666" fmla="*/ 8507453 w 10505529"/>
              <a:gd name="connsiteY2666" fmla="*/ 6983945 h 7458372"/>
              <a:gd name="connsiteX2667" fmla="*/ 8503860 w 10505529"/>
              <a:gd name="connsiteY2667" fmla="*/ 6993396 h 7458372"/>
              <a:gd name="connsiteX2668" fmla="*/ 8507453 w 10505529"/>
              <a:gd name="connsiteY2668" fmla="*/ 7002848 h 7458372"/>
              <a:gd name="connsiteX2669" fmla="*/ 8517438 w 10505529"/>
              <a:gd name="connsiteY2669" fmla="*/ 7006442 h 7458372"/>
              <a:gd name="connsiteX2670" fmla="*/ 8522763 w 10505529"/>
              <a:gd name="connsiteY2670" fmla="*/ 7005378 h 7458372"/>
              <a:gd name="connsiteX2671" fmla="*/ 8526490 w 10505529"/>
              <a:gd name="connsiteY2671" fmla="*/ 7002980 h 7458372"/>
              <a:gd name="connsiteX2672" fmla="*/ 8529152 w 10505529"/>
              <a:gd name="connsiteY2672" fmla="*/ 6998721 h 7458372"/>
              <a:gd name="connsiteX2673" fmla="*/ 8530084 w 10505529"/>
              <a:gd name="connsiteY2673" fmla="*/ 6993263 h 7458372"/>
              <a:gd name="connsiteX2674" fmla="*/ 8529152 w 10505529"/>
              <a:gd name="connsiteY2674" fmla="*/ 6988071 h 7458372"/>
              <a:gd name="connsiteX2675" fmla="*/ 8526490 w 10505529"/>
              <a:gd name="connsiteY2675" fmla="*/ 6983945 h 7458372"/>
              <a:gd name="connsiteX2676" fmla="*/ 8522496 w 10505529"/>
              <a:gd name="connsiteY2676" fmla="*/ 6981283 h 7458372"/>
              <a:gd name="connsiteX2677" fmla="*/ 8517438 w 10505529"/>
              <a:gd name="connsiteY2677" fmla="*/ 6980351 h 7458372"/>
              <a:gd name="connsiteX2678" fmla="*/ 8299793 w 10505529"/>
              <a:gd name="connsiteY2678" fmla="*/ 6980351 h 7458372"/>
              <a:gd name="connsiteX2679" fmla="*/ 8289809 w 10505529"/>
              <a:gd name="connsiteY2679" fmla="*/ 6983945 h 7458372"/>
              <a:gd name="connsiteX2680" fmla="*/ 8286215 w 10505529"/>
              <a:gd name="connsiteY2680" fmla="*/ 6993396 h 7458372"/>
              <a:gd name="connsiteX2681" fmla="*/ 8289809 w 10505529"/>
              <a:gd name="connsiteY2681" fmla="*/ 7002848 h 7458372"/>
              <a:gd name="connsiteX2682" fmla="*/ 8299793 w 10505529"/>
              <a:gd name="connsiteY2682" fmla="*/ 7006442 h 7458372"/>
              <a:gd name="connsiteX2683" fmla="*/ 8305118 w 10505529"/>
              <a:gd name="connsiteY2683" fmla="*/ 7005378 h 7458372"/>
              <a:gd name="connsiteX2684" fmla="*/ 8308844 w 10505529"/>
              <a:gd name="connsiteY2684" fmla="*/ 7002980 h 7458372"/>
              <a:gd name="connsiteX2685" fmla="*/ 8311507 w 10505529"/>
              <a:gd name="connsiteY2685" fmla="*/ 6998721 h 7458372"/>
              <a:gd name="connsiteX2686" fmla="*/ 8312439 w 10505529"/>
              <a:gd name="connsiteY2686" fmla="*/ 6993263 h 7458372"/>
              <a:gd name="connsiteX2687" fmla="*/ 8311507 w 10505529"/>
              <a:gd name="connsiteY2687" fmla="*/ 6988071 h 7458372"/>
              <a:gd name="connsiteX2688" fmla="*/ 8308844 w 10505529"/>
              <a:gd name="connsiteY2688" fmla="*/ 6983945 h 7458372"/>
              <a:gd name="connsiteX2689" fmla="*/ 8304851 w 10505529"/>
              <a:gd name="connsiteY2689" fmla="*/ 6981283 h 7458372"/>
              <a:gd name="connsiteX2690" fmla="*/ 8299793 w 10505529"/>
              <a:gd name="connsiteY2690" fmla="*/ 6980351 h 7458372"/>
              <a:gd name="connsiteX2691" fmla="*/ 8082281 w 10505529"/>
              <a:gd name="connsiteY2691" fmla="*/ 6980351 h 7458372"/>
              <a:gd name="connsiteX2692" fmla="*/ 8072297 w 10505529"/>
              <a:gd name="connsiteY2692" fmla="*/ 6983945 h 7458372"/>
              <a:gd name="connsiteX2693" fmla="*/ 8068703 w 10505529"/>
              <a:gd name="connsiteY2693" fmla="*/ 6993396 h 7458372"/>
              <a:gd name="connsiteX2694" fmla="*/ 8072297 w 10505529"/>
              <a:gd name="connsiteY2694" fmla="*/ 7002848 h 7458372"/>
              <a:gd name="connsiteX2695" fmla="*/ 8082281 w 10505529"/>
              <a:gd name="connsiteY2695" fmla="*/ 7006442 h 7458372"/>
              <a:gd name="connsiteX2696" fmla="*/ 8087605 w 10505529"/>
              <a:gd name="connsiteY2696" fmla="*/ 7005378 h 7458372"/>
              <a:gd name="connsiteX2697" fmla="*/ 8091332 w 10505529"/>
              <a:gd name="connsiteY2697" fmla="*/ 7002980 h 7458372"/>
              <a:gd name="connsiteX2698" fmla="*/ 8093994 w 10505529"/>
              <a:gd name="connsiteY2698" fmla="*/ 6998721 h 7458372"/>
              <a:gd name="connsiteX2699" fmla="*/ 8094926 w 10505529"/>
              <a:gd name="connsiteY2699" fmla="*/ 6993263 h 7458372"/>
              <a:gd name="connsiteX2700" fmla="*/ 8093994 w 10505529"/>
              <a:gd name="connsiteY2700" fmla="*/ 6988071 h 7458372"/>
              <a:gd name="connsiteX2701" fmla="*/ 8091332 w 10505529"/>
              <a:gd name="connsiteY2701" fmla="*/ 6983945 h 7458372"/>
              <a:gd name="connsiteX2702" fmla="*/ 8087338 w 10505529"/>
              <a:gd name="connsiteY2702" fmla="*/ 6981283 h 7458372"/>
              <a:gd name="connsiteX2703" fmla="*/ 8082281 w 10505529"/>
              <a:gd name="connsiteY2703" fmla="*/ 6980351 h 7458372"/>
              <a:gd name="connsiteX2704" fmla="*/ 7864636 w 10505529"/>
              <a:gd name="connsiteY2704" fmla="*/ 6980351 h 7458372"/>
              <a:gd name="connsiteX2705" fmla="*/ 7854652 w 10505529"/>
              <a:gd name="connsiteY2705" fmla="*/ 6983945 h 7458372"/>
              <a:gd name="connsiteX2706" fmla="*/ 7851058 w 10505529"/>
              <a:gd name="connsiteY2706" fmla="*/ 6993396 h 7458372"/>
              <a:gd name="connsiteX2707" fmla="*/ 7854652 w 10505529"/>
              <a:gd name="connsiteY2707" fmla="*/ 7002848 h 7458372"/>
              <a:gd name="connsiteX2708" fmla="*/ 7864636 w 10505529"/>
              <a:gd name="connsiteY2708" fmla="*/ 7006442 h 7458372"/>
              <a:gd name="connsiteX2709" fmla="*/ 7869961 w 10505529"/>
              <a:gd name="connsiteY2709" fmla="*/ 7005378 h 7458372"/>
              <a:gd name="connsiteX2710" fmla="*/ 7873687 w 10505529"/>
              <a:gd name="connsiteY2710" fmla="*/ 7002980 h 7458372"/>
              <a:gd name="connsiteX2711" fmla="*/ 7876350 w 10505529"/>
              <a:gd name="connsiteY2711" fmla="*/ 6998721 h 7458372"/>
              <a:gd name="connsiteX2712" fmla="*/ 7877282 w 10505529"/>
              <a:gd name="connsiteY2712" fmla="*/ 6993263 h 7458372"/>
              <a:gd name="connsiteX2713" fmla="*/ 7876350 w 10505529"/>
              <a:gd name="connsiteY2713" fmla="*/ 6988071 h 7458372"/>
              <a:gd name="connsiteX2714" fmla="*/ 7873687 w 10505529"/>
              <a:gd name="connsiteY2714" fmla="*/ 6983945 h 7458372"/>
              <a:gd name="connsiteX2715" fmla="*/ 7869694 w 10505529"/>
              <a:gd name="connsiteY2715" fmla="*/ 6981283 h 7458372"/>
              <a:gd name="connsiteX2716" fmla="*/ 7864636 w 10505529"/>
              <a:gd name="connsiteY2716" fmla="*/ 6980351 h 7458372"/>
              <a:gd name="connsiteX2717" fmla="*/ 7646991 w 10505529"/>
              <a:gd name="connsiteY2717" fmla="*/ 6980351 h 7458372"/>
              <a:gd name="connsiteX2718" fmla="*/ 7637007 w 10505529"/>
              <a:gd name="connsiteY2718" fmla="*/ 6983945 h 7458372"/>
              <a:gd name="connsiteX2719" fmla="*/ 7633413 w 10505529"/>
              <a:gd name="connsiteY2719" fmla="*/ 6993396 h 7458372"/>
              <a:gd name="connsiteX2720" fmla="*/ 7637007 w 10505529"/>
              <a:gd name="connsiteY2720" fmla="*/ 7002848 h 7458372"/>
              <a:gd name="connsiteX2721" fmla="*/ 7646991 w 10505529"/>
              <a:gd name="connsiteY2721" fmla="*/ 7006442 h 7458372"/>
              <a:gd name="connsiteX2722" fmla="*/ 7652315 w 10505529"/>
              <a:gd name="connsiteY2722" fmla="*/ 7005378 h 7458372"/>
              <a:gd name="connsiteX2723" fmla="*/ 7656042 w 10505529"/>
              <a:gd name="connsiteY2723" fmla="*/ 7002980 h 7458372"/>
              <a:gd name="connsiteX2724" fmla="*/ 7658705 w 10505529"/>
              <a:gd name="connsiteY2724" fmla="*/ 6998721 h 7458372"/>
              <a:gd name="connsiteX2725" fmla="*/ 7659769 w 10505529"/>
              <a:gd name="connsiteY2725" fmla="*/ 6993263 h 7458372"/>
              <a:gd name="connsiteX2726" fmla="*/ 7658705 w 10505529"/>
              <a:gd name="connsiteY2726" fmla="*/ 6988071 h 7458372"/>
              <a:gd name="connsiteX2727" fmla="*/ 7656042 w 10505529"/>
              <a:gd name="connsiteY2727" fmla="*/ 6983945 h 7458372"/>
              <a:gd name="connsiteX2728" fmla="*/ 7652049 w 10505529"/>
              <a:gd name="connsiteY2728" fmla="*/ 6981283 h 7458372"/>
              <a:gd name="connsiteX2729" fmla="*/ 7646991 w 10505529"/>
              <a:gd name="connsiteY2729" fmla="*/ 6980351 h 7458372"/>
              <a:gd name="connsiteX2730" fmla="*/ 7429345 w 10505529"/>
              <a:gd name="connsiteY2730" fmla="*/ 6980351 h 7458372"/>
              <a:gd name="connsiteX2731" fmla="*/ 7419361 w 10505529"/>
              <a:gd name="connsiteY2731" fmla="*/ 6983945 h 7458372"/>
              <a:gd name="connsiteX2732" fmla="*/ 7415768 w 10505529"/>
              <a:gd name="connsiteY2732" fmla="*/ 6993396 h 7458372"/>
              <a:gd name="connsiteX2733" fmla="*/ 7419361 w 10505529"/>
              <a:gd name="connsiteY2733" fmla="*/ 7002848 h 7458372"/>
              <a:gd name="connsiteX2734" fmla="*/ 7429345 w 10505529"/>
              <a:gd name="connsiteY2734" fmla="*/ 7006442 h 7458372"/>
              <a:gd name="connsiteX2735" fmla="*/ 7434670 w 10505529"/>
              <a:gd name="connsiteY2735" fmla="*/ 7005378 h 7458372"/>
              <a:gd name="connsiteX2736" fmla="*/ 7438397 w 10505529"/>
              <a:gd name="connsiteY2736" fmla="*/ 7002980 h 7458372"/>
              <a:gd name="connsiteX2737" fmla="*/ 7441059 w 10505529"/>
              <a:gd name="connsiteY2737" fmla="*/ 6998721 h 7458372"/>
              <a:gd name="connsiteX2738" fmla="*/ 7442124 w 10505529"/>
              <a:gd name="connsiteY2738" fmla="*/ 6993263 h 7458372"/>
              <a:gd name="connsiteX2739" fmla="*/ 7441059 w 10505529"/>
              <a:gd name="connsiteY2739" fmla="*/ 6988071 h 7458372"/>
              <a:gd name="connsiteX2740" fmla="*/ 7438397 w 10505529"/>
              <a:gd name="connsiteY2740" fmla="*/ 6983945 h 7458372"/>
              <a:gd name="connsiteX2741" fmla="*/ 7434403 w 10505529"/>
              <a:gd name="connsiteY2741" fmla="*/ 6981283 h 7458372"/>
              <a:gd name="connsiteX2742" fmla="*/ 7429345 w 10505529"/>
              <a:gd name="connsiteY2742" fmla="*/ 6980351 h 7458372"/>
              <a:gd name="connsiteX2743" fmla="*/ 7211701 w 10505529"/>
              <a:gd name="connsiteY2743" fmla="*/ 6980351 h 7458372"/>
              <a:gd name="connsiteX2744" fmla="*/ 7201717 w 10505529"/>
              <a:gd name="connsiteY2744" fmla="*/ 6983945 h 7458372"/>
              <a:gd name="connsiteX2745" fmla="*/ 7198123 w 10505529"/>
              <a:gd name="connsiteY2745" fmla="*/ 6993396 h 7458372"/>
              <a:gd name="connsiteX2746" fmla="*/ 7201717 w 10505529"/>
              <a:gd name="connsiteY2746" fmla="*/ 7002848 h 7458372"/>
              <a:gd name="connsiteX2747" fmla="*/ 7211701 w 10505529"/>
              <a:gd name="connsiteY2747" fmla="*/ 7006442 h 7458372"/>
              <a:gd name="connsiteX2748" fmla="*/ 7217026 w 10505529"/>
              <a:gd name="connsiteY2748" fmla="*/ 7005378 h 7458372"/>
              <a:gd name="connsiteX2749" fmla="*/ 7220752 w 10505529"/>
              <a:gd name="connsiteY2749" fmla="*/ 7002980 h 7458372"/>
              <a:gd name="connsiteX2750" fmla="*/ 7223415 w 10505529"/>
              <a:gd name="connsiteY2750" fmla="*/ 6998721 h 7458372"/>
              <a:gd name="connsiteX2751" fmla="*/ 7224480 w 10505529"/>
              <a:gd name="connsiteY2751" fmla="*/ 6993263 h 7458372"/>
              <a:gd name="connsiteX2752" fmla="*/ 7223415 w 10505529"/>
              <a:gd name="connsiteY2752" fmla="*/ 6988071 h 7458372"/>
              <a:gd name="connsiteX2753" fmla="*/ 7220752 w 10505529"/>
              <a:gd name="connsiteY2753" fmla="*/ 6983945 h 7458372"/>
              <a:gd name="connsiteX2754" fmla="*/ 7216759 w 10505529"/>
              <a:gd name="connsiteY2754" fmla="*/ 6981283 h 7458372"/>
              <a:gd name="connsiteX2755" fmla="*/ 7211701 w 10505529"/>
              <a:gd name="connsiteY2755" fmla="*/ 6980351 h 7458372"/>
              <a:gd name="connsiteX2756" fmla="*/ 6994056 w 10505529"/>
              <a:gd name="connsiteY2756" fmla="*/ 6980351 h 7458372"/>
              <a:gd name="connsiteX2757" fmla="*/ 6984072 w 10505529"/>
              <a:gd name="connsiteY2757" fmla="*/ 6983945 h 7458372"/>
              <a:gd name="connsiteX2758" fmla="*/ 6980478 w 10505529"/>
              <a:gd name="connsiteY2758" fmla="*/ 6993396 h 7458372"/>
              <a:gd name="connsiteX2759" fmla="*/ 6984072 w 10505529"/>
              <a:gd name="connsiteY2759" fmla="*/ 7002848 h 7458372"/>
              <a:gd name="connsiteX2760" fmla="*/ 6994056 w 10505529"/>
              <a:gd name="connsiteY2760" fmla="*/ 7006442 h 7458372"/>
              <a:gd name="connsiteX2761" fmla="*/ 6999380 w 10505529"/>
              <a:gd name="connsiteY2761" fmla="*/ 7005378 h 7458372"/>
              <a:gd name="connsiteX2762" fmla="*/ 7003107 w 10505529"/>
              <a:gd name="connsiteY2762" fmla="*/ 7002980 h 7458372"/>
              <a:gd name="connsiteX2763" fmla="*/ 7005769 w 10505529"/>
              <a:gd name="connsiteY2763" fmla="*/ 6998721 h 7458372"/>
              <a:gd name="connsiteX2764" fmla="*/ 7006834 w 10505529"/>
              <a:gd name="connsiteY2764" fmla="*/ 6993263 h 7458372"/>
              <a:gd name="connsiteX2765" fmla="*/ 7005769 w 10505529"/>
              <a:gd name="connsiteY2765" fmla="*/ 6988071 h 7458372"/>
              <a:gd name="connsiteX2766" fmla="*/ 7003107 w 10505529"/>
              <a:gd name="connsiteY2766" fmla="*/ 6983945 h 7458372"/>
              <a:gd name="connsiteX2767" fmla="*/ 6999113 w 10505529"/>
              <a:gd name="connsiteY2767" fmla="*/ 6981283 h 7458372"/>
              <a:gd name="connsiteX2768" fmla="*/ 6994056 w 10505529"/>
              <a:gd name="connsiteY2768" fmla="*/ 6980351 h 7458372"/>
              <a:gd name="connsiteX2769" fmla="*/ 6776544 w 10505529"/>
              <a:gd name="connsiteY2769" fmla="*/ 6980351 h 7458372"/>
              <a:gd name="connsiteX2770" fmla="*/ 6766560 w 10505529"/>
              <a:gd name="connsiteY2770" fmla="*/ 6983945 h 7458372"/>
              <a:gd name="connsiteX2771" fmla="*/ 6762966 w 10505529"/>
              <a:gd name="connsiteY2771" fmla="*/ 6993396 h 7458372"/>
              <a:gd name="connsiteX2772" fmla="*/ 6766560 w 10505529"/>
              <a:gd name="connsiteY2772" fmla="*/ 7002848 h 7458372"/>
              <a:gd name="connsiteX2773" fmla="*/ 6776544 w 10505529"/>
              <a:gd name="connsiteY2773" fmla="*/ 7006442 h 7458372"/>
              <a:gd name="connsiteX2774" fmla="*/ 6781869 w 10505529"/>
              <a:gd name="connsiteY2774" fmla="*/ 7005378 h 7458372"/>
              <a:gd name="connsiteX2775" fmla="*/ 6785595 w 10505529"/>
              <a:gd name="connsiteY2775" fmla="*/ 7002980 h 7458372"/>
              <a:gd name="connsiteX2776" fmla="*/ 6788258 w 10505529"/>
              <a:gd name="connsiteY2776" fmla="*/ 6998721 h 7458372"/>
              <a:gd name="connsiteX2777" fmla="*/ 6789323 w 10505529"/>
              <a:gd name="connsiteY2777" fmla="*/ 6993263 h 7458372"/>
              <a:gd name="connsiteX2778" fmla="*/ 6788258 w 10505529"/>
              <a:gd name="connsiteY2778" fmla="*/ 6988071 h 7458372"/>
              <a:gd name="connsiteX2779" fmla="*/ 6785595 w 10505529"/>
              <a:gd name="connsiteY2779" fmla="*/ 6983945 h 7458372"/>
              <a:gd name="connsiteX2780" fmla="*/ 6781602 w 10505529"/>
              <a:gd name="connsiteY2780" fmla="*/ 6981283 h 7458372"/>
              <a:gd name="connsiteX2781" fmla="*/ 6776544 w 10505529"/>
              <a:gd name="connsiteY2781" fmla="*/ 6980351 h 7458372"/>
              <a:gd name="connsiteX2782" fmla="*/ 6558899 w 10505529"/>
              <a:gd name="connsiteY2782" fmla="*/ 6980351 h 7458372"/>
              <a:gd name="connsiteX2783" fmla="*/ 6548915 w 10505529"/>
              <a:gd name="connsiteY2783" fmla="*/ 6983945 h 7458372"/>
              <a:gd name="connsiteX2784" fmla="*/ 6545321 w 10505529"/>
              <a:gd name="connsiteY2784" fmla="*/ 6993396 h 7458372"/>
              <a:gd name="connsiteX2785" fmla="*/ 6548915 w 10505529"/>
              <a:gd name="connsiteY2785" fmla="*/ 7002848 h 7458372"/>
              <a:gd name="connsiteX2786" fmla="*/ 6558899 w 10505529"/>
              <a:gd name="connsiteY2786" fmla="*/ 7006442 h 7458372"/>
              <a:gd name="connsiteX2787" fmla="*/ 6564223 w 10505529"/>
              <a:gd name="connsiteY2787" fmla="*/ 7005378 h 7458372"/>
              <a:gd name="connsiteX2788" fmla="*/ 6567950 w 10505529"/>
              <a:gd name="connsiteY2788" fmla="*/ 7002980 h 7458372"/>
              <a:gd name="connsiteX2789" fmla="*/ 6570612 w 10505529"/>
              <a:gd name="connsiteY2789" fmla="*/ 6998721 h 7458372"/>
              <a:gd name="connsiteX2790" fmla="*/ 6571677 w 10505529"/>
              <a:gd name="connsiteY2790" fmla="*/ 6993263 h 7458372"/>
              <a:gd name="connsiteX2791" fmla="*/ 6570612 w 10505529"/>
              <a:gd name="connsiteY2791" fmla="*/ 6988071 h 7458372"/>
              <a:gd name="connsiteX2792" fmla="*/ 6567950 w 10505529"/>
              <a:gd name="connsiteY2792" fmla="*/ 6983945 h 7458372"/>
              <a:gd name="connsiteX2793" fmla="*/ 6563956 w 10505529"/>
              <a:gd name="connsiteY2793" fmla="*/ 6981283 h 7458372"/>
              <a:gd name="connsiteX2794" fmla="*/ 6558899 w 10505529"/>
              <a:gd name="connsiteY2794" fmla="*/ 6980351 h 7458372"/>
              <a:gd name="connsiteX2795" fmla="*/ 6341253 w 10505529"/>
              <a:gd name="connsiteY2795" fmla="*/ 6980351 h 7458372"/>
              <a:gd name="connsiteX2796" fmla="*/ 6331270 w 10505529"/>
              <a:gd name="connsiteY2796" fmla="*/ 6983945 h 7458372"/>
              <a:gd name="connsiteX2797" fmla="*/ 6327675 w 10505529"/>
              <a:gd name="connsiteY2797" fmla="*/ 6993396 h 7458372"/>
              <a:gd name="connsiteX2798" fmla="*/ 6331270 w 10505529"/>
              <a:gd name="connsiteY2798" fmla="*/ 7002848 h 7458372"/>
              <a:gd name="connsiteX2799" fmla="*/ 6341253 w 10505529"/>
              <a:gd name="connsiteY2799" fmla="*/ 7006442 h 7458372"/>
              <a:gd name="connsiteX2800" fmla="*/ 6346578 w 10505529"/>
              <a:gd name="connsiteY2800" fmla="*/ 7005378 h 7458372"/>
              <a:gd name="connsiteX2801" fmla="*/ 6350305 w 10505529"/>
              <a:gd name="connsiteY2801" fmla="*/ 7002980 h 7458372"/>
              <a:gd name="connsiteX2802" fmla="*/ 6352968 w 10505529"/>
              <a:gd name="connsiteY2802" fmla="*/ 6998721 h 7458372"/>
              <a:gd name="connsiteX2803" fmla="*/ 6354033 w 10505529"/>
              <a:gd name="connsiteY2803" fmla="*/ 6993263 h 7458372"/>
              <a:gd name="connsiteX2804" fmla="*/ 6352968 w 10505529"/>
              <a:gd name="connsiteY2804" fmla="*/ 6988071 h 7458372"/>
              <a:gd name="connsiteX2805" fmla="*/ 6350305 w 10505529"/>
              <a:gd name="connsiteY2805" fmla="*/ 6983945 h 7458372"/>
              <a:gd name="connsiteX2806" fmla="*/ 6346312 w 10505529"/>
              <a:gd name="connsiteY2806" fmla="*/ 6981283 h 7458372"/>
              <a:gd name="connsiteX2807" fmla="*/ 6341253 w 10505529"/>
              <a:gd name="connsiteY2807" fmla="*/ 6980351 h 7458372"/>
              <a:gd name="connsiteX2808" fmla="*/ 6123608 w 10505529"/>
              <a:gd name="connsiteY2808" fmla="*/ 6980351 h 7458372"/>
              <a:gd name="connsiteX2809" fmla="*/ 6113624 w 10505529"/>
              <a:gd name="connsiteY2809" fmla="*/ 6983945 h 7458372"/>
              <a:gd name="connsiteX2810" fmla="*/ 6110030 w 10505529"/>
              <a:gd name="connsiteY2810" fmla="*/ 6993396 h 7458372"/>
              <a:gd name="connsiteX2811" fmla="*/ 6113624 w 10505529"/>
              <a:gd name="connsiteY2811" fmla="*/ 7002848 h 7458372"/>
              <a:gd name="connsiteX2812" fmla="*/ 6123608 w 10505529"/>
              <a:gd name="connsiteY2812" fmla="*/ 7006442 h 7458372"/>
              <a:gd name="connsiteX2813" fmla="*/ 6128932 w 10505529"/>
              <a:gd name="connsiteY2813" fmla="*/ 7005378 h 7458372"/>
              <a:gd name="connsiteX2814" fmla="*/ 6132659 w 10505529"/>
              <a:gd name="connsiteY2814" fmla="*/ 7002980 h 7458372"/>
              <a:gd name="connsiteX2815" fmla="*/ 6135322 w 10505529"/>
              <a:gd name="connsiteY2815" fmla="*/ 6998721 h 7458372"/>
              <a:gd name="connsiteX2816" fmla="*/ 6136387 w 10505529"/>
              <a:gd name="connsiteY2816" fmla="*/ 6993263 h 7458372"/>
              <a:gd name="connsiteX2817" fmla="*/ 6135322 w 10505529"/>
              <a:gd name="connsiteY2817" fmla="*/ 6988071 h 7458372"/>
              <a:gd name="connsiteX2818" fmla="*/ 6132659 w 10505529"/>
              <a:gd name="connsiteY2818" fmla="*/ 6983945 h 7458372"/>
              <a:gd name="connsiteX2819" fmla="*/ 6128666 w 10505529"/>
              <a:gd name="connsiteY2819" fmla="*/ 6981283 h 7458372"/>
              <a:gd name="connsiteX2820" fmla="*/ 6123608 w 10505529"/>
              <a:gd name="connsiteY2820" fmla="*/ 6980351 h 7458372"/>
              <a:gd name="connsiteX2821" fmla="*/ 5905963 w 10505529"/>
              <a:gd name="connsiteY2821" fmla="*/ 6980351 h 7458372"/>
              <a:gd name="connsiteX2822" fmla="*/ 5895979 w 10505529"/>
              <a:gd name="connsiteY2822" fmla="*/ 6983945 h 7458372"/>
              <a:gd name="connsiteX2823" fmla="*/ 5892385 w 10505529"/>
              <a:gd name="connsiteY2823" fmla="*/ 6993396 h 7458372"/>
              <a:gd name="connsiteX2824" fmla="*/ 5895979 w 10505529"/>
              <a:gd name="connsiteY2824" fmla="*/ 7002848 h 7458372"/>
              <a:gd name="connsiteX2825" fmla="*/ 5905963 w 10505529"/>
              <a:gd name="connsiteY2825" fmla="*/ 7006442 h 7458372"/>
              <a:gd name="connsiteX2826" fmla="*/ 5911287 w 10505529"/>
              <a:gd name="connsiteY2826" fmla="*/ 7005378 h 7458372"/>
              <a:gd name="connsiteX2827" fmla="*/ 5915014 w 10505529"/>
              <a:gd name="connsiteY2827" fmla="*/ 7002980 h 7458372"/>
              <a:gd name="connsiteX2828" fmla="*/ 5917677 w 10505529"/>
              <a:gd name="connsiteY2828" fmla="*/ 6998721 h 7458372"/>
              <a:gd name="connsiteX2829" fmla="*/ 5918742 w 10505529"/>
              <a:gd name="connsiteY2829" fmla="*/ 6993263 h 7458372"/>
              <a:gd name="connsiteX2830" fmla="*/ 5917677 w 10505529"/>
              <a:gd name="connsiteY2830" fmla="*/ 6988071 h 7458372"/>
              <a:gd name="connsiteX2831" fmla="*/ 5915014 w 10505529"/>
              <a:gd name="connsiteY2831" fmla="*/ 6983945 h 7458372"/>
              <a:gd name="connsiteX2832" fmla="*/ 5911021 w 10505529"/>
              <a:gd name="connsiteY2832" fmla="*/ 6981283 h 7458372"/>
              <a:gd name="connsiteX2833" fmla="*/ 5905963 w 10505529"/>
              <a:gd name="connsiteY2833" fmla="*/ 6980351 h 7458372"/>
              <a:gd name="connsiteX2834" fmla="*/ 5688451 w 10505529"/>
              <a:gd name="connsiteY2834" fmla="*/ 6980351 h 7458372"/>
              <a:gd name="connsiteX2835" fmla="*/ 5678467 w 10505529"/>
              <a:gd name="connsiteY2835" fmla="*/ 6983945 h 7458372"/>
              <a:gd name="connsiteX2836" fmla="*/ 5674873 w 10505529"/>
              <a:gd name="connsiteY2836" fmla="*/ 6993396 h 7458372"/>
              <a:gd name="connsiteX2837" fmla="*/ 5678467 w 10505529"/>
              <a:gd name="connsiteY2837" fmla="*/ 7002848 h 7458372"/>
              <a:gd name="connsiteX2838" fmla="*/ 5688451 w 10505529"/>
              <a:gd name="connsiteY2838" fmla="*/ 7006442 h 7458372"/>
              <a:gd name="connsiteX2839" fmla="*/ 5693775 w 10505529"/>
              <a:gd name="connsiteY2839" fmla="*/ 7005378 h 7458372"/>
              <a:gd name="connsiteX2840" fmla="*/ 5697502 w 10505529"/>
              <a:gd name="connsiteY2840" fmla="*/ 7002980 h 7458372"/>
              <a:gd name="connsiteX2841" fmla="*/ 5700165 w 10505529"/>
              <a:gd name="connsiteY2841" fmla="*/ 6998721 h 7458372"/>
              <a:gd name="connsiteX2842" fmla="*/ 5701230 w 10505529"/>
              <a:gd name="connsiteY2842" fmla="*/ 6993263 h 7458372"/>
              <a:gd name="connsiteX2843" fmla="*/ 5700165 w 10505529"/>
              <a:gd name="connsiteY2843" fmla="*/ 6988071 h 7458372"/>
              <a:gd name="connsiteX2844" fmla="*/ 5697502 w 10505529"/>
              <a:gd name="connsiteY2844" fmla="*/ 6983945 h 7458372"/>
              <a:gd name="connsiteX2845" fmla="*/ 5693509 w 10505529"/>
              <a:gd name="connsiteY2845" fmla="*/ 6981283 h 7458372"/>
              <a:gd name="connsiteX2846" fmla="*/ 5688451 w 10505529"/>
              <a:gd name="connsiteY2846" fmla="*/ 6980351 h 7458372"/>
              <a:gd name="connsiteX2847" fmla="*/ 5470806 w 10505529"/>
              <a:gd name="connsiteY2847" fmla="*/ 6980351 h 7458372"/>
              <a:gd name="connsiteX2848" fmla="*/ 5460822 w 10505529"/>
              <a:gd name="connsiteY2848" fmla="*/ 6983945 h 7458372"/>
              <a:gd name="connsiteX2849" fmla="*/ 5457228 w 10505529"/>
              <a:gd name="connsiteY2849" fmla="*/ 6993396 h 7458372"/>
              <a:gd name="connsiteX2850" fmla="*/ 5460822 w 10505529"/>
              <a:gd name="connsiteY2850" fmla="*/ 7002848 h 7458372"/>
              <a:gd name="connsiteX2851" fmla="*/ 5470806 w 10505529"/>
              <a:gd name="connsiteY2851" fmla="*/ 7006442 h 7458372"/>
              <a:gd name="connsiteX2852" fmla="*/ 5476130 w 10505529"/>
              <a:gd name="connsiteY2852" fmla="*/ 7005378 h 7458372"/>
              <a:gd name="connsiteX2853" fmla="*/ 5479857 w 10505529"/>
              <a:gd name="connsiteY2853" fmla="*/ 7002980 h 7458372"/>
              <a:gd name="connsiteX2854" fmla="*/ 5482520 w 10505529"/>
              <a:gd name="connsiteY2854" fmla="*/ 6998721 h 7458372"/>
              <a:gd name="connsiteX2855" fmla="*/ 5483585 w 10505529"/>
              <a:gd name="connsiteY2855" fmla="*/ 6993263 h 7458372"/>
              <a:gd name="connsiteX2856" fmla="*/ 5482520 w 10505529"/>
              <a:gd name="connsiteY2856" fmla="*/ 6988071 h 7458372"/>
              <a:gd name="connsiteX2857" fmla="*/ 5479857 w 10505529"/>
              <a:gd name="connsiteY2857" fmla="*/ 6983945 h 7458372"/>
              <a:gd name="connsiteX2858" fmla="*/ 5475864 w 10505529"/>
              <a:gd name="connsiteY2858" fmla="*/ 6981283 h 7458372"/>
              <a:gd name="connsiteX2859" fmla="*/ 5470806 w 10505529"/>
              <a:gd name="connsiteY2859" fmla="*/ 6980351 h 7458372"/>
              <a:gd name="connsiteX2860" fmla="*/ 5253160 w 10505529"/>
              <a:gd name="connsiteY2860" fmla="*/ 6980351 h 7458372"/>
              <a:gd name="connsiteX2861" fmla="*/ 5243177 w 10505529"/>
              <a:gd name="connsiteY2861" fmla="*/ 6983945 h 7458372"/>
              <a:gd name="connsiteX2862" fmla="*/ 5239583 w 10505529"/>
              <a:gd name="connsiteY2862" fmla="*/ 6993396 h 7458372"/>
              <a:gd name="connsiteX2863" fmla="*/ 5243177 w 10505529"/>
              <a:gd name="connsiteY2863" fmla="*/ 7002848 h 7458372"/>
              <a:gd name="connsiteX2864" fmla="*/ 5253160 w 10505529"/>
              <a:gd name="connsiteY2864" fmla="*/ 7006442 h 7458372"/>
              <a:gd name="connsiteX2865" fmla="*/ 5258485 w 10505529"/>
              <a:gd name="connsiteY2865" fmla="*/ 7005378 h 7458372"/>
              <a:gd name="connsiteX2866" fmla="*/ 5262212 w 10505529"/>
              <a:gd name="connsiteY2866" fmla="*/ 7002980 h 7458372"/>
              <a:gd name="connsiteX2867" fmla="*/ 5264875 w 10505529"/>
              <a:gd name="connsiteY2867" fmla="*/ 6998721 h 7458372"/>
              <a:gd name="connsiteX2868" fmla="*/ 5265939 w 10505529"/>
              <a:gd name="connsiteY2868" fmla="*/ 6993263 h 7458372"/>
              <a:gd name="connsiteX2869" fmla="*/ 5264875 w 10505529"/>
              <a:gd name="connsiteY2869" fmla="*/ 6988071 h 7458372"/>
              <a:gd name="connsiteX2870" fmla="*/ 5262212 w 10505529"/>
              <a:gd name="connsiteY2870" fmla="*/ 6983945 h 7458372"/>
              <a:gd name="connsiteX2871" fmla="*/ 5258219 w 10505529"/>
              <a:gd name="connsiteY2871" fmla="*/ 6981283 h 7458372"/>
              <a:gd name="connsiteX2872" fmla="*/ 5253160 w 10505529"/>
              <a:gd name="connsiteY2872" fmla="*/ 6980351 h 7458372"/>
              <a:gd name="connsiteX2873" fmla="*/ 5035515 w 10505529"/>
              <a:gd name="connsiteY2873" fmla="*/ 6980351 h 7458372"/>
              <a:gd name="connsiteX2874" fmla="*/ 5025532 w 10505529"/>
              <a:gd name="connsiteY2874" fmla="*/ 6983945 h 7458372"/>
              <a:gd name="connsiteX2875" fmla="*/ 5021938 w 10505529"/>
              <a:gd name="connsiteY2875" fmla="*/ 6993396 h 7458372"/>
              <a:gd name="connsiteX2876" fmla="*/ 5025532 w 10505529"/>
              <a:gd name="connsiteY2876" fmla="*/ 7002848 h 7458372"/>
              <a:gd name="connsiteX2877" fmla="*/ 5035515 w 10505529"/>
              <a:gd name="connsiteY2877" fmla="*/ 7006442 h 7458372"/>
              <a:gd name="connsiteX2878" fmla="*/ 5040840 w 10505529"/>
              <a:gd name="connsiteY2878" fmla="*/ 7005378 h 7458372"/>
              <a:gd name="connsiteX2879" fmla="*/ 5044567 w 10505529"/>
              <a:gd name="connsiteY2879" fmla="*/ 7002980 h 7458372"/>
              <a:gd name="connsiteX2880" fmla="*/ 5047230 w 10505529"/>
              <a:gd name="connsiteY2880" fmla="*/ 6998721 h 7458372"/>
              <a:gd name="connsiteX2881" fmla="*/ 5048294 w 10505529"/>
              <a:gd name="connsiteY2881" fmla="*/ 6993263 h 7458372"/>
              <a:gd name="connsiteX2882" fmla="*/ 5047230 w 10505529"/>
              <a:gd name="connsiteY2882" fmla="*/ 6988071 h 7458372"/>
              <a:gd name="connsiteX2883" fmla="*/ 5044567 w 10505529"/>
              <a:gd name="connsiteY2883" fmla="*/ 6983945 h 7458372"/>
              <a:gd name="connsiteX2884" fmla="*/ 5040574 w 10505529"/>
              <a:gd name="connsiteY2884" fmla="*/ 6981283 h 7458372"/>
              <a:gd name="connsiteX2885" fmla="*/ 5035515 w 10505529"/>
              <a:gd name="connsiteY2885" fmla="*/ 6980351 h 7458372"/>
              <a:gd name="connsiteX2886" fmla="*/ 4817870 w 10505529"/>
              <a:gd name="connsiteY2886" fmla="*/ 6980351 h 7458372"/>
              <a:gd name="connsiteX2887" fmla="*/ 4807887 w 10505529"/>
              <a:gd name="connsiteY2887" fmla="*/ 6983945 h 7458372"/>
              <a:gd name="connsiteX2888" fmla="*/ 4804293 w 10505529"/>
              <a:gd name="connsiteY2888" fmla="*/ 6993396 h 7458372"/>
              <a:gd name="connsiteX2889" fmla="*/ 4807887 w 10505529"/>
              <a:gd name="connsiteY2889" fmla="*/ 7002848 h 7458372"/>
              <a:gd name="connsiteX2890" fmla="*/ 4817870 w 10505529"/>
              <a:gd name="connsiteY2890" fmla="*/ 7006442 h 7458372"/>
              <a:gd name="connsiteX2891" fmla="*/ 4823195 w 10505529"/>
              <a:gd name="connsiteY2891" fmla="*/ 7005378 h 7458372"/>
              <a:gd name="connsiteX2892" fmla="*/ 4826922 w 10505529"/>
              <a:gd name="connsiteY2892" fmla="*/ 7002980 h 7458372"/>
              <a:gd name="connsiteX2893" fmla="*/ 4829585 w 10505529"/>
              <a:gd name="connsiteY2893" fmla="*/ 6998721 h 7458372"/>
              <a:gd name="connsiteX2894" fmla="*/ 4830650 w 10505529"/>
              <a:gd name="connsiteY2894" fmla="*/ 6993263 h 7458372"/>
              <a:gd name="connsiteX2895" fmla="*/ 4829585 w 10505529"/>
              <a:gd name="connsiteY2895" fmla="*/ 6988071 h 7458372"/>
              <a:gd name="connsiteX2896" fmla="*/ 4826922 w 10505529"/>
              <a:gd name="connsiteY2896" fmla="*/ 6983945 h 7458372"/>
              <a:gd name="connsiteX2897" fmla="*/ 4822929 w 10505529"/>
              <a:gd name="connsiteY2897" fmla="*/ 6981283 h 7458372"/>
              <a:gd name="connsiteX2898" fmla="*/ 4817870 w 10505529"/>
              <a:gd name="connsiteY2898" fmla="*/ 6980351 h 7458372"/>
              <a:gd name="connsiteX2899" fmla="*/ 4600226 w 10505529"/>
              <a:gd name="connsiteY2899" fmla="*/ 6980351 h 7458372"/>
              <a:gd name="connsiteX2900" fmla="*/ 4590242 w 10505529"/>
              <a:gd name="connsiteY2900" fmla="*/ 6983945 h 7458372"/>
              <a:gd name="connsiteX2901" fmla="*/ 4586648 w 10505529"/>
              <a:gd name="connsiteY2901" fmla="*/ 6993396 h 7458372"/>
              <a:gd name="connsiteX2902" fmla="*/ 4590242 w 10505529"/>
              <a:gd name="connsiteY2902" fmla="*/ 7002848 h 7458372"/>
              <a:gd name="connsiteX2903" fmla="*/ 4600226 w 10505529"/>
              <a:gd name="connsiteY2903" fmla="*/ 7006442 h 7458372"/>
              <a:gd name="connsiteX2904" fmla="*/ 4605550 w 10505529"/>
              <a:gd name="connsiteY2904" fmla="*/ 7005378 h 7458372"/>
              <a:gd name="connsiteX2905" fmla="*/ 4609277 w 10505529"/>
              <a:gd name="connsiteY2905" fmla="*/ 7002980 h 7458372"/>
              <a:gd name="connsiteX2906" fmla="*/ 4611940 w 10505529"/>
              <a:gd name="connsiteY2906" fmla="*/ 6998721 h 7458372"/>
              <a:gd name="connsiteX2907" fmla="*/ 4613005 w 10505529"/>
              <a:gd name="connsiteY2907" fmla="*/ 6993263 h 7458372"/>
              <a:gd name="connsiteX2908" fmla="*/ 4611940 w 10505529"/>
              <a:gd name="connsiteY2908" fmla="*/ 6988071 h 7458372"/>
              <a:gd name="connsiteX2909" fmla="*/ 4609277 w 10505529"/>
              <a:gd name="connsiteY2909" fmla="*/ 6983945 h 7458372"/>
              <a:gd name="connsiteX2910" fmla="*/ 4605284 w 10505529"/>
              <a:gd name="connsiteY2910" fmla="*/ 6981283 h 7458372"/>
              <a:gd name="connsiteX2911" fmla="*/ 4600226 w 10505529"/>
              <a:gd name="connsiteY2911" fmla="*/ 6980351 h 7458372"/>
              <a:gd name="connsiteX2912" fmla="*/ 4382713 w 10505529"/>
              <a:gd name="connsiteY2912" fmla="*/ 6980351 h 7458372"/>
              <a:gd name="connsiteX2913" fmla="*/ 4372730 w 10505529"/>
              <a:gd name="connsiteY2913" fmla="*/ 6983945 h 7458372"/>
              <a:gd name="connsiteX2914" fmla="*/ 4369136 w 10505529"/>
              <a:gd name="connsiteY2914" fmla="*/ 6993396 h 7458372"/>
              <a:gd name="connsiteX2915" fmla="*/ 4372730 w 10505529"/>
              <a:gd name="connsiteY2915" fmla="*/ 7002848 h 7458372"/>
              <a:gd name="connsiteX2916" fmla="*/ 4382713 w 10505529"/>
              <a:gd name="connsiteY2916" fmla="*/ 7006442 h 7458372"/>
              <a:gd name="connsiteX2917" fmla="*/ 4388038 w 10505529"/>
              <a:gd name="connsiteY2917" fmla="*/ 7005378 h 7458372"/>
              <a:gd name="connsiteX2918" fmla="*/ 4391765 w 10505529"/>
              <a:gd name="connsiteY2918" fmla="*/ 7002980 h 7458372"/>
              <a:gd name="connsiteX2919" fmla="*/ 4394428 w 10505529"/>
              <a:gd name="connsiteY2919" fmla="*/ 6998721 h 7458372"/>
              <a:gd name="connsiteX2920" fmla="*/ 4395493 w 10505529"/>
              <a:gd name="connsiteY2920" fmla="*/ 6993263 h 7458372"/>
              <a:gd name="connsiteX2921" fmla="*/ 4394428 w 10505529"/>
              <a:gd name="connsiteY2921" fmla="*/ 6988071 h 7458372"/>
              <a:gd name="connsiteX2922" fmla="*/ 4391765 w 10505529"/>
              <a:gd name="connsiteY2922" fmla="*/ 6983945 h 7458372"/>
              <a:gd name="connsiteX2923" fmla="*/ 4387772 w 10505529"/>
              <a:gd name="connsiteY2923" fmla="*/ 6981283 h 7458372"/>
              <a:gd name="connsiteX2924" fmla="*/ 4382713 w 10505529"/>
              <a:gd name="connsiteY2924" fmla="*/ 6980351 h 7458372"/>
              <a:gd name="connsiteX2925" fmla="*/ 4165068 w 10505529"/>
              <a:gd name="connsiteY2925" fmla="*/ 6980351 h 7458372"/>
              <a:gd name="connsiteX2926" fmla="*/ 4155084 w 10505529"/>
              <a:gd name="connsiteY2926" fmla="*/ 6983945 h 7458372"/>
              <a:gd name="connsiteX2927" fmla="*/ 4151490 w 10505529"/>
              <a:gd name="connsiteY2927" fmla="*/ 6993396 h 7458372"/>
              <a:gd name="connsiteX2928" fmla="*/ 4155084 w 10505529"/>
              <a:gd name="connsiteY2928" fmla="*/ 7002848 h 7458372"/>
              <a:gd name="connsiteX2929" fmla="*/ 4165068 w 10505529"/>
              <a:gd name="connsiteY2929" fmla="*/ 7006442 h 7458372"/>
              <a:gd name="connsiteX2930" fmla="*/ 4170392 w 10505529"/>
              <a:gd name="connsiteY2930" fmla="*/ 7005378 h 7458372"/>
              <a:gd name="connsiteX2931" fmla="*/ 4174119 w 10505529"/>
              <a:gd name="connsiteY2931" fmla="*/ 7002980 h 7458372"/>
              <a:gd name="connsiteX2932" fmla="*/ 4176782 w 10505529"/>
              <a:gd name="connsiteY2932" fmla="*/ 6998721 h 7458372"/>
              <a:gd name="connsiteX2933" fmla="*/ 4177847 w 10505529"/>
              <a:gd name="connsiteY2933" fmla="*/ 6993263 h 7458372"/>
              <a:gd name="connsiteX2934" fmla="*/ 4176782 w 10505529"/>
              <a:gd name="connsiteY2934" fmla="*/ 6988071 h 7458372"/>
              <a:gd name="connsiteX2935" fmla="*/ 4174119 w 10505529"/>
              <a:gd name="connsiteY2935" fmla="*/ 6983945 h 7458372"/>
              <a:gd name="connsiteX2936" fmla="*/ 4170126 w 10505529"/>
              <a:gd name="connsiteY2936" fmla="*/ 6981283 h 7458372"/>
              <a:gd name="connsiteX2937" fmla="*/ 4165068 w 10505529"/>
              <a:gd name="connsiteY2937" fmla="*/ 6980351 h 7458372"/>
              <a:gd name="connsiteX2938" fmla="*/ 3947802 w 10505529"/>
              <a:gd name="connsiteY2938" fmla="*/ 6980351 h 7458372"/>
              <a:gd name="connsiteX2939" fmla="*/ 3937819 w 10505529"/>
              <a:gd name="connsiteY2939" fmla="*/ 6983945 h 7458372"/>
              <a:gd name="connsiteX2940" fmla="*/ 3934224 w 10505529"/>
              <a:gd name="connsiteY2940" fmla="*/ 6993396 h 7458372"/>
              <a:gd name="connsiteX2941" fmla="*/ 3937819 w 10505529"/>
              <a:gd name="connsiteY2941" fmla="*/ 7002848 h 7458372"/>
              <a:gd name="connsiteX2942" fmla="*/ 3947802 w 10505529"/>
              <a:gd name="connsiteY2942" fmla="*/ 7006442 h 7458372"/>
              <a:gd name="connsiteX2943" fmla="*/ 3953131 w 10505529"/>
              <a:gd name="connsiteY2943" fmla="*/ 7005378 h 7458372"/>
              <a:gd name="connsiteX2944" fmla="*/ 3956858 w 10505529"/>
              <a:gd name="connsiteY2944" fmla="*/ 7002980 h 7458372"/>
              <a:gd name="connsiteX2945" fmla="*/ 3959521 w 10505529"/>
              <a:gd name="connsiteY2945" fmla="*/ 6998721 h 7458372"/>
              <a:gd name="connsiteX2946" fmla="*/ 3960587 w 10505529"/>
              <a:gd name="connsiteY2946" fmla="*/ 6993263 h 7458372"/>
              <a:gd name="connsiteX2947" fmla="*/ 3959521 w 10505529"/>
              <a:gd name="connsiteY2947" fmla="*/ 6988071 h 7458372"/>
              <a:gd name="connsiteX2948" fmla="*/ 3956858 w 10505529"/>
              <a:gd name="connsiteY2948" fmla="*/ 6983945 h 7458372"/>
              <a:gd name="connsiteX2949" fmla="*/ 3952865 w 10505529"/>
              <a:gd name="connsiteY2949" fmla="*/ 6981283 h 7458372"/>
              <a:gd name="connsiteX2950" fmla="*/ 3947802 w 10505529"/>
              <a:gd name="connsiteY2950" fmla="*/ 6980351 h 7458372"/>
              <a:gd name="connsiteX2951" fmla="*/ 3730141 w 10505529"/>
              <a:gd name="connsiteY2951" fmla="*/ 6980351 h 7458372"/>
              <a:gd name="connsiteX2952" fmla="*/ 3720153 w 10505529"/>
              <a:gd name="connsiteY2952" fmla="*/ 6983945 h 7458372"/>
              <a:gd name="connsiteX2953" fmla="*/ 3716560 w 10505529"/>
              <a:gd name="connsiteY2953" fmla="*/ 6993396 h 7458372"/>
              <a:gd name="connsiteX2954" fmla="*/ 3720153 w 10505529"/>
              <a:gd name="connsiteY2954" fmla="*/ 7002848 h 7458372"/>
              <a:gd name="connsiteX2955" fmla="*/ 3730141 w 10505529"/>
              <a:gd name="connsiteY2955" fmla="*/ 7006442 h 7458372"/>
              <a:gd name="connsiteX2956" fmla="*/ 3735466 w 10505529"/>
              <a:gd name="connsiteY2956" fmla="*/ 7005378 h 7458372"/>
              <a:gd name="connsiteX2957" fmla="*/ 3739193 w 10505529"/>
              <a:gd name="connsiteY2957" fmla="*/ 7002980 h 7458372"/>
              <a:gd name="connsiteX2958" fmla="*/ 3741856 w 10505529"/>
              <a:gd name="connsiteY2958" fmla="*/ 6998721 h 7458372"/>
              <a:gd name="connsiteX2959" fmla="*/ 3742921 w 10505529"/>
              <a:gd name="connsiteY2959" fmla="*/ 6993263 h 7458372"/>
              <a:gd name="connsiteX2960" fmla="*/ 3741856 w 10505529"/>
              <a:gd name="connsiteY2960" fmla="*/ 6988071 h 7458372"/>
              <a:gd name="connsiteX2961" fmla="*/ 3739193 w 10505529"/>
              <a:gd name="connsiteY2961" fmla="*/ 6983945 h 7458372"/>
              <a:gd name="connsiteX2962" fmla="*/ 3735200 w 10505529"/>
              <a:gd name="connsiteY2962" fmla="*/ 6981283 h 7458372"/>
              <a:gd name="connsiteX2963" fmla="*/ 3730141 w 10505529"/>
              <a:gd name="connsiteY2963" fmla="*/ 6980351 h 7458372"/>
              <a:gd name="connsiteX2964" fmla="*/ 3512475 w 10505529"/>
              <a:gd name="connsiteY2964" fmla="*/ 6980351 h 7458372"/>
              <a:gd name="connsiteX2965" fmla="*/ 3502485 w 10505529"/>
              <a:gd name="connsiteY2965" fmla="*/ 6983945 h 7458372"/>
              <a:gd name="connsiteX2966" fmla="*/ 3498892 w 10505529"/>
              <a:gd name="connsiteY2966" fmla="*/ 6993396 h 7458372"/>
              <a:gd name="connsiteX2967" fmla="*/ 3502485 w 10505529"/>
              <a:gd name="connsiteY2967" fmla="*/ 7002848 h 7458372"/>
              <a:gd name="connsiteX2968" fmla="*/ 3512475 w 10505529"/>
              <a:gd name="connsiteY2968" fmla="*/ 7006442 h 7458372"/>
              <a:gd name="connsiteX2969" fmla="*/ 3517801 w 10505529"/>
              <a:gd name="connsiteY2969" fmla="*/ 7005378 h 7458372"/>
              <a:gd name="connsiteX2970" fmla="*/ 3521528 w 10505529"/>
              <a:gd name="connsiteY2970" fmla="*/ 7002980 h 7458372"/>
              <a:gd name="connsiteX2971" fmla="*/ 3524191 w 10505529"/>
              <a:gd name="connsiteY2971" fmla="*/ 6998721 h 7458372"/>
              <a:gd name="connsiteX2972" fmla="*/ 3525257 w 10505529"/>
              <a:gd name="connsiteY2972" fmla="*/ 6993263 h 7458372"/>
              <a:gd name="connsiteX2973" fmla="*/ 3524191 w 10505529"/>
              <a:gd name="connsiteY2973" fmla="*/ 6988071 h 7458372"/>
              <a:gd name="connsiteX2974" fmla="*/ 3521528 w 10505529"/>
              <a:gd name="connsiteY2974" fmla="*/ 6983945 h 7458372"/>
              <a:gd name="connsiteX2975" fmla="*/ 3517535 w 10505529"/>
              <a:gd name="connsiteY2975" fmla="*/ 6981283 h 7458372"/>
              <a:gd name="connsiteX2976" fmla="*/ 3512475 w 10505529"/>
              <a:gd name="connsiteY2976" fmla="*/ 6980351 h 7458372"/>
              <a:gd name="connsiteX2977" fmla="*/ 3294943 w 10505529"/>
              <a:gd name="connsiteY2977" fmla="*/ 6980351 h 7458372"/>
              <a:gd name="connsiteX2978" fmla="*/ 3284956 w 10505529"/>
              <a:gd name="connsiteY2978" fmla="*/ 6983945 h 7458372"/>
              <a:gd name="connsiteX2979" fmla="*/ 3281362 w 10505529"/>
              <a:gd name="connsiteY2979" fmla="*/ 6993396 h 7458372"/>
              <a:gd name="connsiteX2980" fmla="*/ 3284956 w 10505529"/>
              <a:gd name="connsiteY2980" fmla="*/ 7002848 h 7458372"/>
              <a:gd name="connsiteX2981" fmla="*/ 3294943 w 10505529"/>
              <a:gd name="connsiteY2981" fmla="*/ 7006442 h 7458372"/>
              <a:gd name="connsiteX2982" fmla="*/ 3300270 w 10505529"/>
              <a:gd name="connsiteY2982" fmla="*/ 7005378 h 7458372"/>
              <a:gd name="connsiteX2983" fmla="*/ 3303996 w 10505529"/>
              <a:gd name="connsiteY2983" fmla="*/ 7002980 h 7458372"/>
              <a:gd name="connsiteX2984" fmla="*/ 3306660 w 10505529"/>
              <a:gd name="connsiteY2984" fmla="*/ 6998721 h 7458372"/>
              <a:gd name="connsiteX2985" fmla="*/ 3307723 w 10505529"/>
              <a:gd name="connsiteY2985" fmla="*/ 6993263 h 7458372"/>
              <a:gd name="connsiteX2986" fmla="*/ 3306660 w 10505529"/>
              <a:gd name="connsiteY2986" fmla="*/ 6988071 h 7458372"/>
              <a:gd name="connsiteX2987" fmla="*/ 3303996 w 10505529"/>
              <a:gd name="connsiteY2987" fmla="*/ 6983945 h 7458372"/>
              <a:gd name="connsiteX2988" fmla="*/ 3300003 w 10505529"/>
              <a:gd name="connsiteY2988" fmla="*/ 6981283 h 7458372"/>
              <a:gd name="connsiteX2989" fmla="*/ 3294943 w 10505529"/>
              <a:gd name="connsiteY2989" fmla="*/ 6980351 h 7458372"/>
              <a:gd name="connsiteX2990" fmla="*/ 3077412 w 10505529"/>
              <a:gd name="connsiteY2990" fmla="*/ 6980351 h 7458372"/>
              <a:gd name="connsiteX2991" fmla="*/ 3067428 w 10505529"/>
              <a:gd name="connsiteY2991" fmla="*/ 6983945 h 7458372"/>
              <a:gd name="connsiteX2992" fmla="*/ 3063697 w 10505529"/>
              <a:gd name="connsiteY2992" fmla="*/ 6993396 h 7458372"/>
              <a:gd name="connsiteX2993" fmla="*/ 3067293 w 10505529"/>
              <a:gd name="connsiteY2993" fmla="*/ 7002848 h 7458372"/>
              <a:gd name="connsiteX2994" fmla="*/ 3077279 w 10505529"/>
              <a:gd name="connsiteY2994" fmla="*/ 7006442 h 7458372"/>
              <a:gd name="connsiteX2995" fmla="*/ 3082737 w 10505529"/>
              <a:gd name="connsiteY2995" fmla="*/ 7005378 h 7458372"/>
              <a:gd name="connsiteX2996" fmla="*/ 3086465 w 10505529"/>
              <a:gd name="connsiteY2996" fmla="*/ 7002980 h 7458372"/>
              <a:gd name="connsiteX2997" fmla="*/ 3089127 w 10505529"/>
              <a:gd name="connsiteY2997" fmla="*/ 6998721 h 7458372"/>
              <a:gd name="connsiteX2998" fmla="*/ 3090059 w 10505529"/>
              <a:gd name="connsiteY2998" fmla="*/ 6993263 h 7458372"/>
              <a:gd name="connsiteX2999" fmla="*/ 3089127 w 10505529"/>
              <a:gd name="connsiteY2999" fmla="*/ 6988071 h 7458372"/>
              <a:gd name="connsiteX3000" fmla="*/ 3086465 w 10505529"/>
              <a:gd name="connsiteY3000" fmla="*/ 6983945 h 7458372"/>
              <a:gd name="connsiteX3001" fmla="*/ 3082471 w 10505529"/>
              <a:gd name="connsiteY3001" fmla="*/ 6981283 h 7458372"/>
              <a:gd name="connsiteX3002" fmla="*/ 3077412 w 10505529"/>
              <a:gd name="connsiteY3002" fmla="*/ 6980351 h 7458372"/>
              <a:gd name="connsiteX3003" fmla="*/ 2859614 w 10505529"/>
              <a:gd name="connsiteY3003" fmla="*/ 6980351 h 7458372"/>
              <a:gd name="connsiteX3004" fmla="*/ 2849628 w 10505529"/>
              <a:gd name="connsiteY3004" fmla="*/ 6983945 h 7458372"/>
              <a:gd name="connsiteX3005" fmla="*/ 2846027 w 10505529"/>
              <a:gd name="connsiteY3005" fmla="*/ 6993396 h 7458372"/>
              <a:gd name="connsiteX3006" fmla="*/ 2849628 w 10505529"/>
              <a:gd name="connsiteY3006" fmla="*/ 7002848 h 7458372"/>
              <a:gd name="connsiteX3007" fmla="*/ 2859614 w 10505529"/>
              <a:gd name="connsiteY3007" fmla="*/ 7006442 h 7458372"/>
              <a:gd name="connsiteX3008" fmla="*/ 2864939 w 10505529"/>
              <a:gd name="connsiteY3008" fmla="*/ 7005378 h 7458372"/>
              <a:gd name="connsiteX3009" fmla="*/ 2868666 w 10505529"/>
              <a:gd name="connsiteY3009" fmla="*/ 7002980 h 7458372"/>
              <a:gd name="connsiteX3010" fmla="*/ 2871329 w 10505529"/>
              <a:gd name="connsiteY3010" fmla="*/ 6998721 h 7458372"/>
              <a:gd name="connsiteX3011" fmla="*/ 2872260 w 10505529"/>
              <a:gd name="connsiteY3011" fmla="*/ 6993263 h 7458372"/>
              <a:gd name="connsiteX3012" fmla="*/ 2871329 w 10505529"/>
              <a:gd name="connsiteY3012" fmla="*/ 6988071 h 7458372"/>
              <a:gd name="connsiteX3013" fmla="*/ 2868666 w 10505529"/>
              <a:gd name="connsiteY3013" fmla="*/ 6983945 h 7458372"/>
              <a:gd name="connsiteX3014" fmla="*/ 2864673 w 10505529"/>
              <a:gd name="connsiteY3014" fmla="*/ 6981283 h 7458372"/>
              <a:gd name="connsiteX3015" fmla="*/ 2859614 w 10505529"/>
              <a:gd name="connsiteY3015" fmla="*/ 6980351 h 7458372"/>
              <a:gd name="connsiteX3016" fmla="*/ 2641949 w 10505529"/>
              <a:gd name="connsiteY3016" fmla="*/ 6980351 h 7458372"/>
              <a:gd name="connsiteX3017" fmla="*/ 2631966 w 10505529"/>
              <a:gd name="connsiteY3017" fmla="*/ 6983945 h 7458372"/>
              <a:gd name="connsiteX3018" fmla="*/ 2628371 w 10505529"/>
              <a:gd name="connsiteY3018" fmla="*/ 6993396 h 7458372"/>
              <a:gd name="connsiteX3019" fmla="*/ 2631966 w 10505529"/>
              <a:gd name="connsiteY3019" fmla="*/ 7002848 h 7458372"/>
              <a:gd name="connsiteX3020" fmla="*/ 2641949 w 10505529"/>
              <a:gd name="connsiteY3020" fmla="*/ 7006442 h 7458372"/>
              <a:gd name="connsiteX3021" fmla="*/ 2647274 w 10505529"/>
              <a:gd name="connsiteY3021" fmla="*/ 7005378 h 7458372"/>
              <a:gd name="connsiteX3022" fmla="*/ 2651001 w 10505529"/>
              <a:gd name="connsiteY3022" fmla="*/ 7002980 h 7458372"/>
              <a:gd name="connsiteX3023" fmla="*/ 2653664 w 10505529"/>
              <a:gd name="connsiteY3023" fmla="*/ 6998721 h 7458372"/>
              <a:gd name="connsiteX3024" fmla="*/ 2654595 w 10505529"/>
              <a:gd name="connsiteY3024" fmla="*/ 6993263 h 7458372"/>
              <a:gd name="connsiteX3025" fmla="*/ 2653664 w 10505529"/>
              <a:gd name="connsiteY3025" fmla="*/ 6988071 h 7458372"/>
              <a:gd name="connsiteX3026" fmla="*/ 2651001 w 10505529"/>
              <a:gd name="connsiteY3026" fmla="*/ 6983945 h 7458372"/>
              <a:gd name="connsiteX3027" fmla="*/ 2647008 w 10505529"/>
              <a:gd name="connsiteY3027" fmla="*/ 6981283 h 7458372"/>
              <a:gd name="connsiteX3028" fmla="*/ 2641949 w 10505529"/>
              <a:gd name="connsiteY3028" fmla="*/ 6980351 h 7458372"/>
              <a:gd name="connsiteX3029" fmla="*/ 2424283 w 10505529"/>
              <a:gd name="connsiteY3029" fmla="*/ 6980351 h 7458372"/>
              <a:gd name="connsiteX3030" fmla="*/ 2414300 w 10505529"/>
              <a:gd name="connsiteY3030" fmla="*/ 6983945 h 7458372"/>
              <a:gd name="connsiteX3031" fmla="*/ 2410706 w 10505529"/>
              <a:gd name="connsiteY3031" fmla="*/ 6993396 h 7458372"/>
              <a:gd name="connsiteX3032" fmla="*/ 2414300 w 10505529"/>
              <a:gd name="connsiteY3032" fmla="*/ 7002848 h 7458372"/>
              <a:gd name="connsiteX3033" fmla="*/ 2424283 w 10505529"/>
              <a:gd name="connsiteY3033" fmla="*/ 7006442 h 7458372"/>
              <a:gd name="connsiteX3034" fmla="*/ 2429609 w 10505529"/>
              <a:gd name="connsiteY3034" fmla="*/ 7005378 h 7458372"/>
              <a:gd name="connsiteX3035" fmla="*/ 2433336 w 10505529"/>
              <a:gd name="connsiteY3035" fmla="*/ 7002980 h 7458372"/>
              <a:gd name="connsiteX3036" fmla="*/ 2435999 w 10505529"/>
              <a:gd name="connsiteY3036" fmla="*/ 6998721 h 7458372"/>
              <a:gd name="connsiteX3037" fmla="*/ 2436930 w 10505529"/>
              <a:gd name="connsiteY3037" fmla="*/ 6993263 h 7458372"/>
              <a:gd name="connsiteX3038" fmla="*/ 2435999 w 10505529"/>
              <a:gd name="connsiteY3038" fmla="*/ 6988071 h 7458372"/>
              <a:gd name="connsiteX3039" fmla="*/ 2433336 w 10505529"/>
              <a:gd name="connsiteY3039" fmla="*/ 6983945 h 7458372"/>
              <a:gd name="connsiteX3040" fmla="*/ 2429343 w 10505529"/>
              <a:gd name="connsiteY3040" fmla="*/ 6981283 h 7458372"/>
              <a:gd name="connsiteX3041" fmla="*/ 2424283 w 10505529"/>
              <a:gd name="connsiteY3041" fmla="*/ 6980351 h 7458372"/>
              <a:gd name="connsiteX3042" fmla="*/ 2206619 w 10505529"/>
              <a:gd name="connsiteY3042" fmla="*/ 6980351 h 7458372"/>
              <a:gd name="connsiteX3043" fmla="*/ 2196635 w 10505529"/>
              <a:gd name="connsiteY3043" fmla="*/ 6983945 h 7458372"/>
              <a:gd name="connsiteX3044" fmla="*/ 2193041 w 10505529"/>
              <a:gd name="connsiteY3044" fmla="*/ 6993396 h 7458372"/>
              <a:gd name="connsiteX3045" fmla="*/ 2196635 w 10505529"/>
              <a:gd name="connsiteY3045" fmla="*/ 7002848 h 7458372"/>
              <a:gd name="connsiteX3046" fmla="*/ 2206619 w 10505529"/>
              <a:gd name="connsiteY3046" fmla="*/ 7006442 h 7458372"/>
              <a:gd name="connsiteX3047" fmla="*/ 2211944 w 10505529"/>
              <a:gd name="connsiteY3047" fmla="*/ 7005378 h 7458372"/>
              <a:gd name="connsiteX3048" fmla="*/ 2215670 w 10505529"/>
              <a:gd name="connsiteY3048" fmla="*/ 7002980 h 7458372"/>
              <a:gd name="connsiteX3049" fmla="*/ 2218334 w 10505529"/>
              <a:gd name="connsiteY3049" fmla="*/ 6998721 h 7458372"/>
              <a:gd name="connsiteX3050" fmla="*/ 2219265 w 10505529"/>
              <a:gd name="connsiteY3050" fmla="*/ 6993263 h 7458372"/>
              <a:gd name="connsiteX3051" fmla="*/ 2218334 w 10505529"/>
              <a:gd name="connsiteY3051" fmla="*/ 6988071 h 7458372"/>
              <a:gd name="connsiteX3052" fmla="*/ 2215670 w 10505529"/>
              <a:gd name="connsiteY3052" fmla="*/ 6983945 h 7458372"/>
              <a:gd name="connsiteX3053" fmla="*/ 2211677 w 10505529"/>
              <a:gd name="connsiteY3053" fmla="*/ 6981283 h 7458372"/>
              <a:gd name="connsiteX3054" fmla="*/ 2206619 w 10505529"/>
              <a:gd name="connsiteY3054" fmla="*/ 6980351 h 7458372"/>
              <a:gd name="connsiteX3055" fmla="*/ 1989086 w 10505529"/>
              <a:gd name="connsiteY3055" fmla="*/ 6980351 h 7458372"/>
              <a:gd name="connsiteX3056" fmla="*/ 1979103 w 10505529"/>
              <a:gd name="connsiteY3056" fmla="*/ 6983945 h 7458372"/>
              <a:gd name="connsiteX3057" fmla="*/ 1975509 w 10505529"/>
              <a:gd name="connsiteY3057" fmla="*/ 6993396 h 7458372"/>
              <a:gd name="connsiteX3058" fmla="*/ 1979103 w 10505529"/>
              <a:gd name="connsiteY3058" fmla="*/ 7002848 h 7458372"/>
              <a:gd name="connsiteX3059" fmla="*/ 1989086 w 10505529"/>
              <a:gd name="connsiteY3059" fmla="*/ 7006442 h 7458372"/>
              <a:gd name="connsiteX3060" fmla="*/ 1994411 w 10505529"/>
              <a:gd name="connsiteY3060" fmla="*/ 7005378 h 7458372"/>
              <a:gd name="connsiteX3061" fmla="*/ 1998139 w 10505529"/>
              <a:gd name="connsiteY3061" fmla="*/ 7002980 h 7458372"/>
              <a:gd name="connsiteX3062" fmla="*/ 2000802 w 10505529"/>
              <a:gd name="connsiteY3062" fmla="*/ 6998721 h 7458372"/>
              <a:gd name="connsiteX3063" fmla="*/ 2001732 w 10505529"/>
              <a:gd name="connsiteY3063" fmla="*/ 6993263 h 7458372"/>
              <a:gd name="connsiteX3064" fmla="*/ 2000802 w 10505529"/>
              <a:gd name="connsiteY3064" fmla="*/ 6988071 h 7458372"/>
              <a:gd name="connsiteX3065" fmla="*/ 1998139 w 10505529"/>
              <a:gd name="connsiteY3065" fmla="*/ 6983945 h 7458372"/>
              <a:gd name="connsiteX3066" fmla="*/ 1994145 w 10505529"/>
              <a:gd name="connsiteY3066" fmla="*/ 6981283 h 7458372"/>
              <a:gd name="connsiteX3067" fmla="*/ 1989086 w 10505529"/>
              <a:gd name="connsiteY3067" fmla="*/ 6980351 h 7458372"/>
              <a:gd name="connsiteX3068" fmla="*/ 1771456 w 10505529"/>
              <a:gd name="connsiteY3068" fmla="*/ 6980351 h 7458372"/>
              <a:gd name="connsiteX3069" fmla="*/ 1761473 w 10505529"/>
              <a:gd name="connsiteY3069" fmla="*/ 6983945 h 7458372"/>
              <a:gd name="connsiteX3070" fmla="*/ 1757880 w 10505529"/>
              <a:gd name="connsiteY3070" fmla="*/ 6993396 h 7458372"/>
              <a:gd name="connsiteX3071" fmla="*/ 1761473 w 10505529"/>
              <a:gd name="connsiteY3071" fmla="*/ 7002848 h 7458372"/>
              <a:gd name="connsiteX3072" fmla="*/ 1771456 w 10505529"/>
              <a:gd name="connsiteY3072" fmla="*/ 7006442 h 7458372"/>
              <a:gd name="connsiteX3073" fmla="*/ 1776780 w 10505529"/>
              <a:gd name="connsiteY3073" fmla="*/ 7005378 h 7458372"/>
              <a:gd name="connsiteX3074" fmla="*/ 1780506 w 10505529"/>
              <a:gd name="connsiteY3074" fmla="*/ 7002980 h 7458372"/>
              <a:gd name="connsiteX3075" fmla="*/ 1783169 w 10505529"/>
              <a:gd name="connsiteY3075" fmla="*/ 6998721 h 7458372"/>
              <a:gd name="connsiteX3076" fmla="*/ 1784234 w 10505529"/>
              <a:gd name="connsiteY3076" fmla="*/ 6993263 h 7458372"/>
              <a:gd name="connsiteX3077" fmla="*/ 1783169 w 10505529"/>
              <a:gd name="connsiteY3077" fmla="*/ 6988071 h 7458372"/>
              <a:gd name="connsiteX3078" fmla="*/ 1780506 w 10505529"/>
              <a:gd name="connsiteY3078" fmla="*/ 6983945 h 7458372"/>
              <a:gd name="connsiteX3079" fmla="*/ 1776514 w 10505529"/>
              <a:gd name="connsiteY3079" fmla="*/ 6981283 h 7458372"/>
              <a:gd name="connsiteX3080" fmla="*/ 1771456 w 10505529"/>
              <a:gd name="connsiteY3080" fmla="*/ 6980351 h 7458372"/>
              <a:gd name="connsiteX3081" fmla="*/ 1553820 w 10505529"/>
              <a:gd name="connsiteY3081" fmla="*/ 6980351 h 7458372"/>
              <a:gd name="connsiteX3082" fmla="*/ 1543838 w 10505529"/>
              <a:gd name="connsiteY3082" fmla="*/ 6983945 h 7458372"/>
              <a:gd name="connsiteX3083" fmla="*/ 1540243 w 10505529"/>
              <a:gd name="connsiteY3083" fmla="*/ 6993396 h 7458372"/>
              <a:gd name="connsiteX3084" fmla="*/ 1543838 w 10505529"/>
              <a:gd name="connsiteY3084" fmla="*/ 7002848 h 7458372"/>
              <a:gd name="connsiteX3085" fmla="*/ 1553820 w 10505529"/>
              <a:gd name="connsiteY3085" fmla="*/ 7006442 h 7458372"/>
              <a:gd name="connsiteX3086" fmla="*/ 1559145 w 10505529"/>
              <a:gd name="connsiteY3086" fmla="*/ 7005378 h 7458372"/>
              <a:gd name="connsiteX3087" fmla="*/ 1562872 w 10505529"/>
              <a:gd name="connsiteY3087" fmla="*/ 7002980 h 7458372"/>
              <a:gd name="connsiteX3088" fmla="*/ 1565535 w 10505529"/>
              <a:gd name="connsiteY3088" fmla="*/ 6998721 h 7458372"/>
              <a:gd name="connsiteX3089" fmla="*/ 1566600 w 10505529"/>
              <a:gd name="connsiteY3089" fmla="*/ 6993263 h 7458372"/>
              <a:gd name="connsiteX3090" fmla="*/ 1565535 w 10505529"/>
              <a:gd name="connsiteY3090" fmla="*/ 6988071 h 7458372"/>
              <a:gd name="connsiteX3091" fmla="*/ 1562872 w 10505529"/>
              <a:gd name="connsiteY3091" fmla="*/ 6983945 h 7458372"/>
              <a:gd name="connsiteX3092" fmla="*/ 1558879 w 10505529"/>
              <a:gd name="connsiteY3092" fmla="*/ 6981283 h 7458372"/>
              <a:gd name="connsiteX3093" fmla="*/ 1553820 w 10505529"/>
              <a:gd name="connsiteY3093" fmla="*/ 6980351 h 7458372"/>
              <a:gd name="connsiteX3094" fmla="*/ 1336178 w 10505529"/>
              <a:gd name="connsiteY3094" fmla="*/ 6980351 h 7458372"/>
              <a:gd name="connsiteX3095" fmla="*/ 1326194 w 10505529"/>
              <a:gd name="connsiteY3095" fmla="*/ 6983945 h 7458372"/>
              <a:gd name="connsiteX3096" fmla="*/ 1322599 w 10505529"/>
              <a:gd name="connsiteY3096" fmla="*/ 6993396 h 7458372"/>
              <a:gd name="connsiteX3097" fmla="*/ 1326194 w 10505529"/>
              <a:gd name="connsiteY3097" fmla="*/ 7002848 h 7458372"/>
              <a:gd name="connsiteX3098" fmla="*/ 1336178 w 10505529"/>
              <a:gd name="connsiteY3098" fmla="*/ 7006442 h 7458372"/>
              <a:gd name="connsiteX3099" fmla="*/ 1341504 w 10505529"/>
              <a:gd name="connsiteY3099" fmla="*/ 7005378 h 7458372"/>
              <a:gd name="connsiteX3100" fmla="*/ 1345232 w 10505529"/>
              <a:gd name="connsiteY3100" fmla="*/ 7002980 h 7458372"/>
              <a:gd name="connsiteX3101" fmla="*/ 1347893 w 10505529"/>
              <a:gd name="connsiteY3101" fmla="*/ 6998721 h 7458372"/>
              <a:gd name="connsiteX3102" fmla="*/ 1348959 w 10505529"/>
              <a:gd name="connsiteY3102" fmla="*/ 6993263 h 7458372"/>
              <a:gd name="connsiteX3103" fmla="*/ 1347893 w 10505529"/>
              <a:gd name="connsiteY3103" fmla="*/ 6988071 h 7458372"/>
              <a:gd name="connsiteX3104" fmla="*/ 1345232 w 10505529"/>
              <a:gd name="connsiteY3104" fmla="*/ 6983945 h 7458372"/>
              <a:gd name="connsiteX3105" fmla="*/ 1341236 w 10505529"/>
              <a:gd name="connsiteY3105" fmla="*/ 6981283 h 7458372"/>
              <a:gd name="connsiteX3106" fmla="*/ 1336178 w 10505529"/>
              <a:gd name="connsiteY3106" fmla="*/ 6980351 h 7458372"/>
              <a:gd name="connsiteX3107" fmla="*/ 1118665 w 10505529"/>
              <a:gd name="connsiteY3107" fmla="*/ 6980351 h 7458372"/>
              <a:gd name="connsiteX3108" fmla="*/ 1108679 w 10505529"/>
              <a:gd name="connsiteY3108" fmla="*/ 6983945 h 7458372"/>
              <a:gd name="connsiteX3109" fmla="*/ 1104952 w 10505529"/>
              <a:gd name="connsiteY3109" fmla="*/ 6993396 h 7458372"/>
              <a:gd name="connsiteX3110" fmla="*/ 1108546 w 10505529"/>
              <a:gd name="connsiteY3110" fmla="*/ 7002848 h 7458372"/>
              <a:gd name="connsiteX3111" fmla="*/ 1118532 w 10505529"/>
              <a:gd name="connsiteY3111" fmla="*/ 7006442 h 7458372"/>
              <a:gd name="connsiteX3112" fmla="*/ 1123988 w 10505529"/>
              <a:gd name="connsiteY3112" fmla="*/ 7005378 h 7458372"/>
              <a:gd name="connsiteX3113" fmla="*/ 1127720 w 10505529"/>
              <a:gd name="connsiteY3113" fmla="*/ 7002980 h 7458372"/>
              <a:gd name="connsiteX3114" fmla="*/ 1130384 w 10505529"/>
              <a:gd name="connsiteY3114" fmla="*/ 6998721 h 7458372"/>
              <a:gd name="connsiteX3115" fmla="*/ 1131449 w 10505529"/>
              <a:gd name="connsiteY3115" fmla="*/ 6993263 h 7458372"/>
              <a:gd name="connsiteX3116" fmla="*/ 1130384 w 10505529"/>
              <a:gd name="connsiteY3116" fmla="*/ 6988071 h 7458372"/>
              <a:gd name="connsiteX3117" fmla="*/ 1127720 w 10505529"/>
              <a:gd name="connsiteY3117" fmla="*/ 6983945 h 7458372"/>
              <a:gd name="connsiteX3118" fmla="*/ 1123724 w 10505529"/>
              <a:gd name="connsiteY3118" fmla="*/ 6981283 h 7458372"/>
              <a:gd name="connsiteX3119" fmla="*/ 1118665 w 10505529"/>
              <a:gd name="connsiteY3119" fmla="*/ 6980351 h 7458372"/>
              <a:gd name="connsiteX3120" fmla="*/ 901152 w 10505529"/>
              <a:gd name="connsiteY3120" fmla="*/ 6980351 h 7458372"/>
              <a:gd name="connsiteX3121" fmla="*/ 891168 w 10505529"/>
              <a:gd name="connsiteY3121" fmla="*/ 6983945 h 7458372"/>
              <a:gd name="connsiteX3122" fmla="*/ 887441 w 10505529"/>
              <a:gd name="connsiteY3122" fmla="*/ 6993396 h 7458372"/>
              <a:gd name="connsiteX3123" fmla="*/ 891035 w 10505529"/>
              <a:gd name="connsiteY3123" fmla="*/ 7002848 h 7458372"/>
              <a:gd name="connsiteX3124" fmla="*/ 901018 w 10505529"/>
              <a:gd name="connsiteY3124" fmla="*/ 7006442 h 7458372"/>
              <a:gd name="connsiteX3125" fmla="*/ 906477 w 10505529"/>
              <a:gd name="connsiteY3125" fmla="*/ 7005378 h 7458372"/>
              <a:gd name="connsiteX3126" fmla="*/ 910205 w 10505529"/>
              <a:gd name="connsiteY3126" fmla="*/ 7002980 h 7458372"/>
              <a:gd name="connsiteX3127" fmla="*/ 912867 w 10505529"/>
              <a:gd name="connsiteY3127" fmla="*/ 6998721 h 7458372"/>
              <a:gd name="connsiteX3128" fmla="*/ 913932 w 10505529"/>
              <a:gd name="connsiteY3128" fmla="*/ 6993263 h 7458372"/>
              <a:gd name="connsiteX3129" fmla="*/ 912867 w 10505529"/>
              <a:gd name="connsiteY3129" fmla="*/ 6988071 h 7458372"/>
              <a:gd name="connsiteX3130" fmla="*/ 910205 w 10505529"/>
              <a:gd name="connsiteY3130" fmla="*/ 6983945 h 7458372"/>
              <a:gd name="connsiteX3131" fmla="*/ 906211 w 10505529"/>
              <a:gd name="connsiteY3131" fmla="*/ 6981283 h 7458372"/>
              <a:gd name="connsiteX3132" fmla="*/ 901152 w 10505529"/>
              <a:gd name="connsiteY3132" fmla="*/ 6980351 h 7458372"/>
              <a:gd name="connsiteX3133" fmla="*/ 683380 w 10505529"/>
              <a:gd name="connsiteY3133" fmla="*/ 6980351 h 7458372"/>
              <a:gd name="connsiteX3134" fmla="*/ 673396 w 10505529"/>
              <a:gd name="connsiteY3134" fmla="*/ 6983945 h 7458372"/>
              <a:gd name="connsiteX3135" fmla="*/ 669802 w 10505529"/>
              <a:gd name="connsiteY3135" fmla="*/ 6993396 h 7458372"/>
              <a:gd name="connsiteX3136" fmla="*/ 673396 w 10505529"/>
              <a:gd name="connsiteY3136" fmla="*/ 7002848 h 7458372"/>
              <a:gd name="connsiteX3137" fmla="*/ 683380 w 10505529"/>
              <a:gd name="connsiteY3137" fmla="*/ 7006442 h 7458372"/>
              <a:gd name="connsiteX3138" fmla="*/ 688705 w 10505529"/>
              <a:gd name="connsiteY3138" fmla="*/ 7005378 h 7458372"/>
              <a:gd name="connsiteX3139" fmla="*/ 692432 w 10505529"/>
              <a:gd name="connsiteY3139" fmla="*/ 7002980 h 7458372"/>
              <a:gd name="connsiteX3140" fmla="*/ 695095 w 10505529"/>
              <a:gd name="connsiteY3140" fmla="*/ 6998721 h 7458372"/>
              <a:gd name="connsiteX3141" fmla="*/ 696160 w 10505529"/>
              <a:gd name="connsiteY3141" fmla="*/ 6993263 h 7458372"/>
              <a:gd name="connsiteX3142" fmla="*/ 695095 w 10505529"/>
              <a:gd name="connsiteY3142" fmla="*/ 6988071 h 7458372"/>
              <a:gd name="connsiteX3143" fmla="*/ 692432 w 10505529"/>
              <a:gd name="connsiteY3143" fmla="*/ 6983945 h 7458372"/>
              <a:gd name="connsiteX3144" fmla="*/ 688439 w 10505529"/>
              <a:gd name="connsiteY3144" fmla="*/ 6981283 h 7458372"/>
              <a:gd name="connsiteX3145" fmla="*/ 683380 w 10505529"/>
              <a:gd name="connsiteY3145" fmla="*/ 6980351 h 7458372"/>
              <a:gd name="connsiteX3146" fmla="*/ 465739 w 10505529"/>
              <a:gd name="connsiteY3146" fmla="*/ 6980351 h 7458372"/>
              <a:gd name="connsiteX3147" fmla="*/ 455756 w 10505529"/>
              <a:gd name="connsiteY3147" fmla="*/ 6983945 h 7458372"/>
              <a:gd name="connsiteX3148" fmla="*/ 452162 w 10505529"/>
              <a:gd name="connsiteY3148" fmla="*/ 6993396 h 7458372"/>
              <a:gd name="connsiteX3149" fmla="*/ 455756 w 10505529"/>
              <a:gd name="connsiteY3149" fmla="*/ 7002848 h 7458372"/>
              <a:gd name="connsiteX3150" fmla="*/ 465739 w 10505529"/>
              <a:gd name="connsiteY3150" fmla="*/ 7006442 h 7458372"/>
              <a:gd name="connsiteX3151" fmla="*/ 471064 w 10505529"/>
              <a:gd name="connsiteY3151" fmla="*/ 7005378 h 7458372"/>
              <a:gd name="connsiteX3152" fmla="*/ 474791 w 10505529"/>
              <a:gd name="connsiteY3152" fmla="*/ 7002980 h 7458372"/>
              <a:gd name="connsiteX3153" fmla="*/ 477454 w 10505529"/>
              <a:gd name="connsiteY3153" fmla="*/ 6998721 h 7458372"/>
              <a:gd name="connsiteX3154" fmla="*/ 478519 w 10505529"/>
              <a:gd name="connsiteY3154" fmla="*/ 6993263 h 7458372"/>
              <a:gd name="connsiteX3155" fmla="*/ 477454 w 10505529"/>
              <a:gd name="connsiteY3155" fmla="*/ 6988071 h 7458372"/>
              <a:gd name="connsiteX3156" fmla="*/ 474791 w 10505529"/>
              <a:gd name="connsiteY3156" fmla="*/ 6983945 h 7458372"/>
              <a:gd name="connsiteX3157" fmla="*/ 470798 w 10505529"/>
              <a:gd name="connsiteY3157" fmla="*/ 6981283 h 7458372"/>
              <a:gd name="connsiteX3158" fmla="*/ 465739 w 10505529"/>
              <a:gd name="connsiteY3158" fmla="*/ 6980351 h 7458372"/>
              <a:gd name="connsiteX3159" fmla="*/ 248098 w 10505529"/>
              <a:gd name="connsiteY3159" fmla="*/ 6980351 h 7458372"/>
              <a:gd name="connsiteX3160" fmla="*/ 238116 w 10505529"/>
              <a:gd name="connsiteY3160" fmla="*/ 6983945 h 7458372"/>
              <a:gd name="connsiteX3161" fmla="*/ 234523 w 10505529"/>
              <a:gd name="connsiteY3161" fmla="*/ 6993396 h 7458372"/>
              <a:gd name="connsiteX3162" fmla="*/ 238116 w 10505529"/>
              <a:gd name="connsiteY3162" fmla="*/ 7002848 h 7458372"/>
              <a:gd name="connsiteX3163" fmla="*/ 248098 w 10505529"/>
              <a:gd name="connsiteY3163" fmla="*/ 7006442 h 7458372"/>
              <a:gd name="connsiteX3164" fmla="*/ 253423 w 10505529"/>
              <a:gd name="connsiteY3164" fmla="*/ 7005378 h 7458372"/>
              <a:gd name="connsiteX3165" fmla="*/ 257149 w 10505529"/>
              <a:gd name="connsiteY3165" fmla="*/ 7002980 h 7458372"/>
              <a:gd name="connsiteX3166" fmla="*/ 259813 w 10505529"/>
              <a:gd name="connsiteY3166" fmla="*/ 6998721 h 7458372"/>
              <a:gd name="connsiteX3167" fmla="*/ 260878 w 10505529"/>
              <a:gd name="connsiteY3167" fmla="*/ 6993263 h 7458372"/>
              <a:gd name="connsiteX3168" fmla="*/ 259813 w 10505529"/>
              <a:gd name="connsiteY3168" fmla="*/ 6988071 h 7458372"/>
              <a:gd name="connsiteX3169" fmla="*/ 257149 w 10505529"/>
              <a:gd name="connsiteY3169" fmla="*/ 6983945 h 7458372"/>
              <a:gd name="connsiteX3170" fmla="*/ 253157 w 10505529"/>
              <a:gd name="connsiteY3170" fmla="*/ 6981283 h 7458372"/>
              <a:gd name="connsiteX3171" fmla="*/ 248098 w 10505529"/>
              <a:gd name="connsiteY3171" fmla="*/ 6980351 h 7458372"/>
              <a:gd name="connsiteX3172" fmla="*/ 30458 w 10505529"/>
              <a:gd name="connsiteY3172" fmla="*/ 6980351 h 7458372"/>
              <a:gd name="connsiteX3173" fmla="*/ 20474 w 10505529"/>
              <a:gd name="connsiteY3173" fmla="*/ 6983945 h 7458372"/>
              <a:gd name="connsiteX3174" fmla="*/ 16882 w 10505529"/>
              <a:gd name="connsiteY3174" fmla="*/ 6993396 h 7458372"/>
              <a:gd name="connsiteX3175" fmla="*/ 20474 w 10505529"/>
              <a:gd name="connsiteY3175" fmla="*/ 7002848 h 7458372"/>
              <a:gd name="connsiteX3176" fmla="*/ 30458 w 10505529"/>
              <a:gd name="connsiteY3176" fmla="*/ 7006442 h 7458372"/>
              <a:gd name="connsiteX3177" fmla="*/ 35783 w 10505529"/>
              <a:gd name="connsiteY3177" fmla="*/ 7005378 h 7458372"/>
              <a:gd name="connsiteX3178" fmla="*/ 39510 w 10505529"/>
              <a:gd name="connsiteY3178" fmla="*/ 7002980 h 7458372"/>
              <a:gd name="connsiteX3179" fmla="*/ 42173 w 10505529"/>
              <a:gd name="connsiteY3179" fmla="*/ 6998721 h 7458372"/>
              <a:gd name="connsiteX3180" fmla="*/ 43104 w 10505529"/>
              <a:gd name="connsiteY3180" fmla="*/ 6993263 h 7458372"/>
              <a:gd name="connsiteX3181" fmla="*/ 42173 w 10505529"/>
              <a:gd name="connsiteY3181" fmla="*/ 6988071 h 7458372"/>
              <a:gd name="connsiteX3182" fmla="*/ 39510 w 10505529"/>
              <a:gd name="connsiteY3182" fmla="*/ 6983945 h 7458372"/>
              <a:gd name="connsiteX3183" fmla="*/ 35517 w 10505529"/>
              <a:gd name="connsiteY3183" fmla="*/ 6981283 h 7458372"/>
              <a:gd name="connsiteX3184" fmla="*/ 30458 w 10505529"/>
              <a:gd name="connsiteY3184" fmla="*/ 6980351 h 7458372"/>
              <a:gd name="connsiteX3185" fmla="*/ 10475977 w 10505529"/>
              <a:gd name="connsiteY3185" fmla="*/ 6963844 h 7458372"/>
              <a:gd name="connsiteX3186" fmla="*/ 10487824 w 10505529"/>
              <a:gd name="connsiteY3186" fmla="*/ 6966373 h 7458372"/>
              <a:gd name="connsiteX3187" fmla="*/ 10497143 w 10505529"/>
              <a:gd name="connsiteY3187" fmla="*/ 6972763 h 7458372"/>
              <a:gd name="connsiteX3188" fmla="*/ 10503266 w 10505529"/>
              <a:gd name="connsiteY3188" fmla="*/ 6982082 h 7458372"/>
              <a:gd name="connsiteX3189" fmla="*/ 10505529 w 10505529"/>
              <a:gd name="connsiteY3189" fmla="*/ 6993529 h 7458372"/>
              <a:gd name="connsiteX3190" fmla="*/ 10503266 w 10505529"/>
              <a:gd name="connsiteY3190" fmla="*/ 7005245 h 7458372"/>
              <a:gd name="connsiteX3191" fmla="*/ 10497143 w 10505529"/>
              <a:gd name="connsiteY3191" fmla="*/ 7014563 h 7458372"/>
              <a:gd name="connsiteX3192" fmla="*/ 10487824 w 10505529"/>
              <a:gd name="connsiteY3192" fmla="*/ 7020819 h 7458372"/>
              <a:gd name="connsiteX3193" fmla="*/ 10475977 w 10505529"/>
              <a:gd name="connsiteY3193" fmla="*/ 7023082 h 7458372"/>
              <a:gd name="connsiteX3194" fmla="*/ 10454145 w 10505529"/>
              <a:gd name="connsiteY3194" fmla="*/ 7014563 h 7458372"/>
              <a:gd name="connsiteX3195" fmla="*/ 10445759 w 10505529"/>
              <a:gd name="connsiteY3195" fmla="*/ 6993396 h 7458372"/>
              <a:gd name="connsiteX3196" fmla="*/ 10454145 w 10505529"/>
              <a:gd name="connsiteY3196" fmla="*/ 6972364 h 7458372"/>
              <a:gd name="connsiteX3197" fmla="*/ 10475977 w 10505529"/>
              <a:gd name="connsiteY3197" fmla="*/ 6963844 h 7458372"/>
              <a:gd name="connsiteX3198" fmla="*/ 10258466 w 10505529"/>
              <a:gd name="connsiteY3198" fmla="*/ 6963844 h 7458372"/>
              <a:gd name="connsiteX3199" fmla="*/ 10270313 w 10505529"/>
              <a:gd name="connsiteY3199" fmla="*/ 6966373 h 7458372"/>
              <a:gd name="connsiteX3200" fmla="*/ 10279631 w 10505529"/>
              <a:gd name="connsiteY3200" fmla="*/ 6972763 h 7458372"/>
              <a:gd name="connsiteX3201" fmla="*/ 10285754 w 10505529"/>
              <a:gd name="connsiteY3201" fmla="*/ 6982082 h 7458372"/>
              <a:gd name="connsiteX3202" fmla="*/ 10288017 w 10505529"/>
              <a:gd name="connsiteY3202" fmla="*/ 6993529 h 7458372"/>
              <a:gd name="connsiteX3203" fmla="*/ 10285754 w 10505529"/>
              <a:gd name="connsiteY3203" fmla="*/ 7005245 h 7458372"/>
              <a:gd name="connsiteX3204" fmla="*/ 10279631 w 10505529"/>
              <a:gd name="connsiteY3204" fmla="*/ 7014563 h 7458372"/>
              <a:gd name="connsiteX3205" fmla="*/ 10270313 w 10505529"/>
              <a:gd name="connsiteY3205" fmla="*/ 7020819 h 7458372"/>
              <a:gd name="connsiteX3206" fmla="*/ 10258466 w 10505529"/>
              <a:gd name="connsiteY3206" fmla="*/ 7023082 h 7458372"/>
              <a:gd name="connsiteX3207" fmla="*/ 10236633 w 10505529"/>
              <a:gd name="connsiteY3207" fmla="*/ 7014563 h 7458372"/>
              <a:gd name="connsiteX3208" fmla="*/ 10228247 w 10505529"/>
              <a:gd name="connsiteY3208" fmla="*/ 6993396 h 7458372"/>
              <a:gd name="connsiteX3209" fmla="*/ 10236633 w 10505529"/>
              <a:gd name="connsiteY3209" fmla="*/ 6972364 h 7458372"/>
              <a:gd name="connsiteX3210" fmla="*/ 10258466 w 10505529"/>
              <a:gd name="connsiteY3210" fmla="*/ 6963844 h 7458372"/>
              <a:gd name="connsiteX3211" fmla="*/ 10040820 w 10505529"/>
              <a:gd name="connsiteY3211" fmla="*/ 6963844 h 7458372"/>
              <a:gd name="connsiteX3212" fmla="*/ 10052534 w 10505529"/>
              <a:gd name="connsiteY3212" fmla="*/ 6966373 h 7458372"/>
              <a:gd name="connsiteX3213" fmla="*/ 10061852 w 10505529"/>
              <a:gd name="connsiteY3213" fmla="*/ 6972763 h 7458372"/>
              <a:gd name="connsiteX3214" fmla="*/ 10067976 w 10505529"/>
              <a:gd name="connsiteY3214" fmla="*/ 6982082 h 7458372"/>
              <a:gd name="connsiteX3215" fmla="*/ 10070239 w 10505529"/>
              <a:gd name="connsiteY3215" fmla="*/ 6993529 h 7458372"/>
              <a:gd name="connsiteX3216" fmla="*/ 10067976 w 10505529"/>
              <a:gd name="connsiteY3216" fmla="*/ 7005245 h 7458372"/>
              <a:gd name="connsiteX3217" fmla="*/ 10061852 w 10505529"/>
              <a:gd name="connsiteY3217" fmla="*/ 7014563 h 7458372"/>
              <a:gd name="connsiteX3218" fmla="*/ 10052534 w 10505529"/>
              <a:gd name="connsiteY3218" fmla="*/ 7020819 h 7458372"/>
              <a:gd name="connsiteX3219" fmla="*/ 10040820 w 10505529"/>
              <a:gd name="connsiteY3219" fmla="*/ 7023082 h 7458372"/>
              <a:gd name="connsiteX3220" fmla="*/ 10018988 w 10505529"/>
              <a:gd name="connsiteY3220" fmla="*/ 7014563 h 7458372"/>
              <a:gd name="connsiteX3221" fmla="*/ 10010602 w 10505529"/>
              <a:gd name="connsiteY3221" fmla="*/ 6993396 h 7458372"/>
              <a:gd name="connsiteX3222" fmla="*/ 10018988 w 10505529"/>
              <a:gd name="connsiteY3222" fmla="*/ 6972364 h 7458372"/>
              <a:gd name="connsiteX3223" fmla="*/ 10040820 w 10505529"/>
              <a:gd name="connsiteY3223" fmla="*/ 6963844 h 7458372"/>
              <a:gd name="connsiteX3224" fmla="*/ 9823176 w 10505529"/>
              <a:gd name="connsiteY3224" fmla="*/ 6963844 h 7458372"/>
              <a:gd name="connsiteX3225" fmla="*/ 9834890 w 10505529"/>
              <a:gd name="connsiteY3225" fmla="*/ 6966373 h 7458372"/>
              <a:gd name="connsiteX3226" fmla="*/ 9844208 w 10505529"/>
              <a:gd name="connsiteY3226" fmla="*/ 6972763 h 7458372"/>
              <a:gd name="connsiteX3227" fmla="*/ 9850331 w 10505529"/>
              <a:gd name="connsiteY3227" fmla="*/ 6982082 h 7458372"/>
              <a:gd name="connsiteX3228" fmla="*/ 9852595 w 10505529"/>
              <a:gd name="connsiteY3228" fmla="*/ 6993529 h 7458372"/>
              <a:gd name="connsiteX3229" fmla="*/ 9850331 w 10505529"/>
              <a:gd name="connsiteY3229" fmla="*/ 7005245 h 7458372"/>
              <a:gd name="connsiteX3230" fmla="*/ 9844208 w 10505529"/>
              <a:gd name="connsiteY3230" fmla="*/ 7014563 h 7458372"/>
              <a:gd name="connsiteX3231" fmla="*/ 9834890 w 10505529"/>
              <a:gd name="connsiteY3231" fmla="*/ 7020819 h 7458372"/>
              <a:gd name="connsiteX3232" fmla="*/ 9823176 w 10505529"/>
              <a:gd name="connsiteY3232" fmla="*/ 7023082 h 7458372"/>
              <a:gd name="connsiteX3233" fmla="*/ 9801343 w 10505529"/>
              <a:gd name="connsiteY3233" fmla="*/ 7014563 h 7458372"/>
              <a:gd name="connsiteX3234" fmla="*/ 9792957 w 10505529"/>
              <a:gd name="connsiteY3234" fmla="*/ 6993396 h 7458372"/>
              <a:gd name="connsiteX3235" fmla="*/ 9801343 w 10505529"/>
              <a:gd name="connsiteY3235" fmla="*/ 6972364 h 7458372"/>
              <a:gd name="connsiteX3236" fmla="*/ 9823176 w 10505529"/>
              <a:gd name="connsiteY3236" fmla="*/ 6963844 h 7458372"/>
              <a:gd name="connsiteX3237" fmla="*/ 9605531 w 10505529"/>
              <a:gd name="connsiteY3237" fmla="*/ 6963844 h 7458372"/>
              <a:gd name="connsiteX3238" fmla="*/ 9617245 w 10505529"/>
              <a:gd name="connsiteY3238" fmla="*/ 6966373 h 7458372"/>
              <a:gd name="connsiteX3239" fmla="*/ 9626562 w 10505529"/>
              <a:gd name="connsiteY3239" fmla="*/ 6972763 h 7458372"/>
              <a:gd name="connsiteX3240" fmla="*/ 9632686 w 10505529"/>
              <a:gd name="connsiteY3240" fmla="*/ 6982082 h 7458372"/>
              <a:gd name="connsiteX3241" fmla="*/ 9634949 w 10505529"/>
              <a:gd name="connsiteY3241" fmla="*/ 6993529 h 7458372"/>
              <a:gd name="connsiteX3242" fmla="*/ 9632686 w 10505529"/>
              <a:gd name="connsiteY3242" fmla="*/ 7005245 h 7458372"/>
              <a:gd name="connsiteX3243" fmla="*/ 9626562 w 10505529"/>
              <a:gd name="connsiteY3243" fmla="*/ 7014563 h 7458372"/>
              <a:gd name="connsiteX3244" fmla="*/ 9617245 w 10505529"/>
              <a:gd name="connsiteY3244" fmla="*/ 7020819 h 7458372"/>
              <a:gd name="connsiteX3245" fmla="*/ 9605531 w 10505529"/>
              <a:gd name="connsiteY3245" fmla="*/ 7023082 h 7458372"/>
              <a:gd name="connsiteX3246" fmla="*/ 9583698 w 10505529"/>
              <a:gd name="connsiteY3246" fmla="*/ 7014563 h 7458372"/>
              <a:gd name="connsiteX3247" fmla="*/ 9575312 w 10505529"/>
              <a:gd name="connsiteY3247" fmla="*/ 6993396 h 7458372"/>
              <a:gd name="connsiteX3248" fmla="*/ 9583698 w 10505529"/>
              <a:gd name="connsiteY3248" fmla="*/ 6972364 h 7458372"/>
              <a:gd name="connsiteX3249" fmla="*/ 9605531 w 10505529"/>
              <a:gd name="connsiteY3249" fmla="*/ 6963844 h 7458372"/>
              <a:gd name="connsiteX3250" fmla="*/ 9387885 w 10505529"/>
              <a:gd name="connsiteY3250" fmla="*/ 6963844 h 7458372"/>
              <a:gd name="connsiteX3251" fmla="*/ 9399599 w 10505529"/>
              <a:gd name="connsiteY3251" fmla="*/ 6966373 h 7458372"/>
              <a:gd name="connsiteX3252" fmla="*/ 9408917 w 10505529"/>
              <a:gd name="connsiteY3252" fmla="*/ 6972763 h 7458372"/>
              <a:gd name="connsiteX3253" fmla="*/ 9415041 w 10505529"/>
              <a:gd name="connsiteY3253" fmla="*/ 6982082 h 7458372"/>
              <a:gd name="connsiteX3254" fmla="*/ 9417304 w 10505529"/>
              <a:gd name="connsiteY3254" fmla="*/ 6993529 h 7458372"/>
              <a:gd name="connsiteX3255" fmla="*/ 9415041 w 10505529"/>
              <a:gd name="connsiteY3255" fmla="*/ 7005245 h 7458372"/>
              <a:gd name="connsiteX3256" fmla="*/ 9408917 w 10505529"/>
              <a:gd name="connsiteY3256" fmla="*/ 7014563 h 7458372"/>
              <a:gd name="connsiteX3257" fmla="*/ 9399599 w 10505529"/>
              <a:gd name="connsiteY3257" fmla="*/ 7020819 h 7458372"/>
              <a:gd name="connsiteX3258" fmla="*/ 9387885 w 10505529"/>
              <a:gd name="connsiteY3258" fmla="*/ 7023082 h 7458372"/>
              <a:gd name="connsiteX3259" fmla="*/ 9366053 w 10505529"/>
              <a:gd name="connsiteY3259" fmla="*/ 7014563 h 7458372"/>
              <a:gd name="connsiteX3260" fmla="*/ 9357667 w 10505529"/>
              <a:gd name="connsiteY3260" fmla="*/ 6993396 h 7458372"/>
              <a:gd name="connsiteX3261" fmla="*/ 9366053 w 10505529"/>
              <a:gd name="connsiteY3261" fmla="*/ 6972364 h 7458372"/>
              <a:gd name="connsiteX3262" fmla="*/ 9387885 w 10505529"/>
              <a:gd name="connsiteY3262" fmla="*/ 6963844 h 7458372"/>
              <a:gd name="connsiteX3263" fmla="*/ 9170374 w 10505529"/>
              <a:gd name="connsiteY3263" fmla="*/ 6963844 h 7458372"/>
              <a:gd name="connsiteX3264" fmla="*/ 9182088 w 10505529"/>
              <a:gd name="connsiteY3264" fmla="*/ 6966373 h 7458372"/>
              <a:gd name="connsiteX3265" fmla="*/ 9191405 w 10505529"/>
              <a:gd name="connsiteY3265" fmla="*/ 6972763 h 7458372"/>
              <a:gd name="connsiteX3266" fmla="*/ 9197529 w 10505529"/>
              <a:gd name="connsiteY3266" fmla="*/ 6982082 h 7458372"/>
              <a:gd name="connsiteX3267" fmla="*/ 9199792 w 10505529"/>
              <a:gd name="connsiteY3267" fmla="*/ 6993529 h 7458372"/>
              <a:gd name="connsiteX3268" fmla="*/ 9197529 w 10505529"/>
              <a:gd name="connsiteY3268" fmla="*/ 7005245 h 7458372"/>
              <a:gd name="connsiteX3269" fmla="*/ 9191405 w 10505529"/>
              <a:gd name="connsiteY3269" fmla="*/ 7014563 h 7458372"/>
              <a:gd name="connsiteX3270" fmla="*/ 9182088 w 10505529"/>
              <a:gd name="connsiteY3270" fmla="*/ 7020819 h 7458372"/>
              <a:gd name="connsiteX3271" fmla="*/ 9170374 w 10505529"/>
              <a:gd name="connsiteY3271" fmla="*/ 7023082 h 7458372"/>
              <a:gd name="connsiteX3272" fmla="*/ 9148541 w 10505529"/>
              <a:gd name="connsiteY3272" fmla="*/ 7014563 h 7458372"/>
              <a:gd name="connsiteX3273" fmla="*/ 9140155 w 10505529"/>
              <a:gd name="connsiteY3273" fmla="*/ 6993396 h 7458372"/>
              <a:gd name="connsiteX3274" fmla="*/ 9148541 w 10505529"/>
              <a:gd name="connsiteY3274" fmla="*/ 6972364 h 7458372"/>
              <a:gd name="connsiteX3275" fmla="*/ 9170374 w 10505529"/>
              <a:gd name="connsiteY3275" fmla="*/ 6963844 h 7458372"/>
              <a:gd name="connsiteX3276" fmla="*/ 8952728 w 10505529"/>
              <a:gd name="connsiteY3276" fmla="*/ 6963844 h 7458372"/>
              <a:gd name="connsiteX3277" fmla="*/ 8964442 w 10505529"/>
              <a:gd name="connsiteY3277" fmla="*/ 6966373 h 7458372"/>
              <a:gd name="connsiteX3278" fmla="*/ 8973760 w 10505529"/>
              <a:gd name="connsiteY3278" fmla="*/ 6972763 h 7458372"/>
              <a:gd name="connsiteX3279" fmla="*/ 8979884 w 10505529"/>
              <a:gd name="connsiteY3279" fmla="*/ 6982082 h 7458372"/>
              <a:gd name="connsiteX3280" fmla="*/ 8982147 w 10505529"/>
              <a:gd name="connsiteY3280" fmla="*/ 6993529 h 7458372"/>
              <a:gd name="connsiteX3281" fmla="*/ 8979884 w 10505529"/>
              <a:gd name="connsiteY3281" fmla="*/ 7005245 h 7458372"/>
              <a:gd name="connsiteX3282" fmla="*/ 8973760 w 10505529"/>
              <a:gd name="connsiteY3282" fmla="*/ 7014563 h 7458372"/>
              <a:gd name="connsiteX3283" fmla="*/ 8964442 w 10505529"/>
              <a:gd name="connsiteY3283" fmla="*/ 7020819 h 7458372"/>
              <a:gd name="connsiteX3284" fmla="*/ 8952728 w 10505529"/>
              <a:gd name="connsiteY3284" fmla="*/ 7023082 h 7458372"/>
              <a:gd name="connsiteX3285" fmla="*/ 8930896 w 10505529"/>
              <a:gd name="connsiteY3285" fmla="*/ 7014563 h 7458372"/>
              <a:gd name="connsiteX3286" fmla="*/ 8922510 w 10505529"/>
              <a:gd name="connsiteY3286" fmla="*/ 6993396 h 7458372"/>
              <a:gd name="connsiteX3287" fmla="*/ 8930896 w 10505529"/>
              <a:gd name="connsiteY3287" fmla="*/ 6972364 h 7458372"/>
              <a:gd name="connsiteX3288" fmla="*/ 8952728 w 10505529"/>
              <a:gd name="connsiteY3288" fmla="*/ 6963844 h 7458372"/>
              <a:gd name="connsiteX3289" fmla="*/ 8735083 w 10505529"/>
              <a:gd name="connsiteY3289" fmla="*/ 6963844 h 7458372"/>
              <a:gd name="connsiteX3290" fmla="*/ 8746797 w 10505529"/>
              <a:gd name="connsiteY3290" fmla="*/ 6966373 h 7458372"/>
              <a:gd name="connsiteX3291" fmla="*/ 8756115 w 10505529"/>
              <a:gd name="connsiteY3291" fmla="*/ 6972763 h 7458372"/>
              <a:gd name="connsiteX3292" fmla="*/ 8762238 w 10505529"/>
              <a:gd name="connsiteY3292" fmla="*/ 6982082 h 7458372"/>
              <a:gd name="connsiteX3293" fmla="*/ 8764502 w 10505529"/>
              <a:gd name="connsiteY3293" fmla="*/ 6993529 h 7458372"/>
              <a:gd name="connsiteX3294" fmla="*/ 8762238 w 10505529"/>
              <a:gd name="connsiteY3294" fmla="*/ 7005245 h 7458372"/>
              <a:gd name="connsiteX3295" fmla="*/ 8756115 w 10505529"/>
              <a:gd name="connsiteY3295" fmla="*/ 7014563 h 7458372"/>
              <a:gd name="connsiteX3296" fmla="*/ 8746797 w 10505529"/>
              <a:gd name="connsiteY3296" fmla="*/ 7020819 h 7458372"/>
              <a:gd name="connsiteX3297" fmla="*/ 8735083 w 10505529"/>
              <a:gd name="connsiteY3297" fmla="*/ 7023082 h 7458372"/>
              <a:gd name="connsiteX3298" fmla="*/ 8713250 w 10505529"/>
              <a:gd name="connsiteY3298" fmla="*/ 7014563 h 7458372"/>
              <a:gd name="connsiteX3299" fmla="*/ 8704864 w 10505529"/>
              <a:gd name="connsiteY3299" fmla="*/ 6993396 h 7458372"/>
              <a:gd name="connsiteX3300" fmla="*/ 8713250 w 10505529"/>
              <a:gd name="connsiteY3300" fmla="*/ 6972364 h 7458372"/>
              <a:gd name="connsiteX3301" fmla="*/ 8735083 w 10505529"/>
              <a:gd name="connsiteY3301" fmla="*/ 6963844 h 7458372"/>
              <a:gd name="connsiteX3302" fmla="*/ 8517438 w 10505529"/>
              <a:gd name="connsiteY3302" fmla="*/ 6963844 h 7458372"/>
              <a:gd name="connsiteX3303" fmla="*/ 8529152 w 10505529"/>
              <a:gd name="connsiteY3303" fmla="*/ 6966373 h 7458372"/>
              <a:gd name="connsiteX3304" fmla="*/ 8538470 w 10505529"/>
              <a:gd name="connsiteY3304" fmla="*/ 6972763 h 7458372"/>
              <a:gd name="connsiteX3305" fmla="*/ 8544594 w 10505529"/>
              <a:gd name="connsiteY3305" fmla="*/ 6982082 h 7458372"/>
              <a:gd name="connsiteX3306" fmla="*/ 8546857 w 10505529"/>
              <a:gd name="connsiteY3306" fmla="*/ 6993529 h 7458372"/>
              <a:gd name="connsiteX3307" fmla="*/ 8544594 w 10505529"/>
              <a:gd name="connsiteY3307" fmla="*/ 7005245 h 7458372"/>
              <a:gd name="connsiteX3308" fmla="*/ 8538470 w 10505529"/>
              <a:gd name="connsiteY3308" fmla="*/ 7014563 h 7458372"/>
              <a:gd name="connsiteX3309" fmla="*/ 8529152 w 10505529"/>
              <a:gd name="connsiteY3309" fmla="*/ 7020819 h 7458372"/>
              <a:gd name="connsiteX3310" fmla="*/ 8517438 w 10505529"/>
              <a:gd name="connsiteY3310" fmla="*/ 7023082 h 7458372"/>
              <a:gd name="connsiteX3311" fmla="*/ 8495606 w 10505529"/>
              <a:gd name="connsiteY3311" fmla="*/ 7014563 h 7458372"/>
              <a:gd name="connsiteX3312" fmla="*/ 8487220 w 10505529"/>
              <a:gd name="connsiteY3312" fmla="*/ 6993396 h 7458372"/>
              <a:gd name="connsiteX3313" fmla="*/ 8495606 w 10505529"/>
              <a:gd name="connsiteY3313" fmla="*/ 6972364 h 7458372"/>
              <a:gd name="connsiteX3314" fmla="*/ 8517438 w 10505529"/>
              <a:gd name="connsiteY3314" fmla="*/ 6963844 h 7458372"/>
              <a:gd name="connsiteX3315" fmla="*/ 8299793 w 10505529"/>
              <a:gd name="connsiteY3315" fmla="*/ 6963844 h 7458372"/>
              <a:gd name="connsiteX3316" fmla="*/ 8311507 w 10505529"/>
              <a:gd name="connsiteY3316" fmla="*/ 6966373 h 7458372"/>
              <a:gd name="connsiteX3317" fmla="*/ 8320825 w 10505529"/>
              <a:gd name="connsiteY3317" fmla="*/ 6972763 h 7458372"/>
              <a:gd name="connsiteX3318" fmla="*/ 8326948 w 10505529"/>
              <a:gd name="connsiteY3318" fmla="*/ 6982082 h 7458372"/>
              <a:gd name="connsiteX3319" fmla="*/ 8329212 w 10505529"/>
              <a:gd name="connsiteY3319" fmla="*/ 6993529 h 7458372"/>
              <a:gd name="connsiteX3320" fmla="*/ 8326948 w 10505529"/>
              <a:gd name="connsiteY3320" fmla="*/ 7005245 h 7458372"/>
              <a:gd name="connsiteX3321" fmla="*/ 8320825 w 10505529"/>
              <a:gd name="connsiteY3321" fmla="*/ 7014563 h 7458372"/>
              <a:gd name="connsiteX3322" fmla="*/ 8311507 w 10505529"/>
              <a:gd name="connsiteY3322" fmla="*/ 7020819 h 7458372"/>
              <a:gd name="connsiteX3323" fmla="*/ 8299793 w 10505529"/>
              <a:gd name="connsiteY3323" fmla="*/ 7023082 h 7458372"/>
              <a:gd name="connsiteX3324" fmla="*/ 8277960 w 10505529"/>
              <a:gd name="connsiteY3324" fmla="*/ 7014563 h 7458372"/>
              <a:gd name="connsiteX3325" fmla="*/ 8269574 w 10505529"/>
              <a:gd name="connsiteY3325" fmla="*/ 6993396 h 7458372"/>
              <a:gd name="connsiteX3326" fmla="*/ 8277960 w 10505529"/>
              <a:gd name="connsiteY3326" fmla="*/ 6972364 h 7458372"/>
              <a:gd name="connsiteX3327" fmla="*/ 8299793 w 10505529"/>
              <a:gd name="connsiteY3327" fmla="*/ 6963844 h 7458372"/>
              <a:gd name="connsiteX3328" fmla="*/ 8082281 w 10505529"/>
              <a:gd name="connsiteY3328" fmla="*/ 6963844 h 7458372"/>
              <a:gd name="connsiteX3329" fmla="*/ 8094127 w 10505529"/>
              <a:gd name="connsiteY3329" fmla="*/ 6966373 h 7458372"/>
              <a:gd name="connsiteX3330" fmla="*/ 8103446 w 10505529"/>
              <a:gd name="connsiteY3330" fmla="*/ 6972763 h 7458372"/>
              <a:gd name="connsiteX3331" fmla="*/ 8109569 w 10505529"/>
              <a:gd name="connsiteY3331" fmla="*/ 6982082 h 7458372"/>
              <a:gd name="connsiteX3332" fmla="*/ 8111832 w 10505529"/>
              <a:gd name="connsiteY3332" fmla="*/ 6993529 h 7458372"/>
              <a:gd name="connsiteX3333" fmla="*/ 8109569 w 10505529"/>
              <a:gd name="connsiteY3333" fmla="*/ 7005245 h 7458372"/>
              <a:gd name="connsiteX3334" fmla="*/ 8103446 w 10505529"/>
              <a:gd name="connsiteY3334" fmla="*/ 7014563 h 7458372"/>
              <a:gd name="connsiteX3335" fmla="*/ 8094127 w 10505529"/>
              <a:gd name="connsiteY3335" fmla="*/ 7020819 h 7458372"/>
              <a:gd name="connsiteX3336" fmla="*/ 8082281 w 10505529"/>
              <a:gd name="connsiteY3336" fmla="*/ 7023082 h 7458372"/>
              <a:gd name="connsiteX3337" fmla="*/ 8060448 w 10505529"/>
              <a:gd name="connsiteY3337" fmla="*/ 7014563 h 7458372"/>
              <a:gd name="connsiteX3338" fmla="*/ 8052062 w 10505529"/>
              <a:gd name="connsiteY3338" fmla="*/ 6993396 h 7458372"/>
              <a:gd name="connsiteX3339" fmla="*/ 8060448 w 10505529"/>
              <a:gd name="connsiteY3339" fmla="*/ 6972364 h 7458372"/>
              <a:gd name="connsiteX3340" fmla="*/ 8082281 w 10505529"/>
              <a:gd name="connsiteY3340" fmla="*/ 6963844 h 7458372"/>
              <a:gd name="connsiteX3341" fmla="*/ 7864636 w 10505529"/>
              <a:gd name="connsiteY3341" fmla="*/ 6963844 h 7458372"/>
              <a:gd name="connsiteX3342" fmla="*/ 7876483 w 10505529"/>
              <a:gd name="connsiteY3342" fmla="*/ 6966373 h 7458372"/>
              <a:gd name="connsiteX3343" fmla="*/ 7885802 w 10505529"/>
              <a:gd name="connsiteY3343" fmla="*/ 6972763 h 7458372"/>
              <a:gd name="connsiteX3344" fmla="*/ 7891924 w 10505529"/>
              <a:gd name="connsiteY3344" fmla="*/ 6982082 h 7458372"/>
              <a:gd name="connsiteX3345" fmla="*/ 7894188 w 10505529"/>
              <a:gd name="connsiteY3345" fmla="*/ 6993529 h 7458372"/>
              <a:gd name="connsiteX3346" fmla="*/ 7891924 w 10505529"/>
              <a:gd name="connsiteY3346" fmla="*/ 7005245 h 7458372"/>
              <a:gd name="connsiteX3347" fmla="*/ 7885802 w 10505529"/>
              <a:gd name="connsiteY3347" fmla="*/ 7014563 h 7458372"/>
              <a:gd name="connsiteX3348" fmla="*/ 7876483 w 10505529"/>
              <a:gd name="connsiteY3348" fmla="*/ 7020819 h 7458372"/>
              <a:gd name="connsiteX3349" fmla="*/ 7864636 w 10505529"/>
              <a:gd name="connsiteY3349" fmla="*/ 7023082 h 7458372"/>
              <a:gd name="connsiteX3350" fmla="*/ 7842803 w 10505529"/>
              <a:gd name="connsiteY3350" fmla="*/ 7014563 h 7458372"/>
              <a:gd name="connsiteX3351" fmla="*/ 7834417 w 10505529"/>
              <a:gd name="connsiteY3351" fmla="*/ 6993396 h 7458372"/>
              <a:gd name="connsiteX3352" fmla="*/ 7842803 w 10505529"/>
              <a:gd name="connsiteY3352" fmla="*/ 6972364 h 7458372"/>
              <a:gd name="connsiteX3353" fmla="*/ 7864636 w 10505529"/>
              <a:gd name="connsiteY3353" fmla="*/ 6963844 h 7458372"/>
              <a:gd name="connsiteX3354" fmla="*/ 7646991 w 10505529"/>
              <a:gd name="connsiteY3354" fmla="*/ 6963844 h 7458372"/>
              <a:gd name="connsiteX3355" fmla="*/ 7658705 w 10505529"/>
              <a:gd name="connsiteY3355" fmla="*/ 6966373 h 7458372"/>
              <a:gd name="connsiteX3356" fmla="*/ 7668022 w 10505529"/>
              <a:gd name="connsiteY3356" fmla="*/ 6972763 h 7458372"/>
              <a:gd name="connsiteX3357" fmla="*/ 7674146 w 10505529"/>
              <a:gd name="connsiteY3357" fmla="*/ 6982082 h 7458372"/>
              <a:gd name="connsiteX3358" fmla="*/ 7676409 w 10505529"/>
              <a:gd name="connsiteY3358" fmla="*/ 6993529 h 7458372"/>
              <a:gd name="connsiteX3359" fmla="*/ 7674146 w 10505529"/>
              <a:gd name="connsiteY3359" fmla="*/ 7005245 h 7458372"/>
              <a:gd name="connsiteX3360" fmla="*/ 7668022 w 10505529"/>
              <a:gd name="connsiteY3360" fmla="*/ 7014563 h 7458372"/>
              <a:gd name="connsiteX3361" fmla="*/ 7658705 w 10505529"/>
              <a:gd name="connsiteY3361" fmla="*/ 7020819 h 7458372"/>
              <a:gd name="connsiteX3362" fmla="*/ 7646991 w 10505529"/>
              <a:gd name="connsiteY3362" fmla="*/ 7023082 h 7458372"/>
              <a:gd name="connsiteX3363" fmla="*/ 7625158 w 10505529"/>
              <a:gd name="connsiteY3363" fmla="*/ 7014563 h 7458372"/>
              <a:gd name="connsiteX3364" fmla="*/ 7616772 w 10505529"/>
              <a:gd name="connsiteY3364" fmla="*/ 6993396 h 7458372"/>
              <a:gd name="connsiteX3365" fmla="*/ 7625158 w 10505529"/>
              <a:gd name="connsiteY3365" fmla="*/ 6972364 h 7458372"/>
              <a:gd name="connsiteX3366" fmla="*/ 7646991 w 10505529"/>
              <a:gd name="connsiteY3366" fmla="*/ 6963844 h 7458372"/>
              <a:gd name="connsiteX3367" fmla="*/ 7429345 w 10505529"/>
              <a:gd name="connsiteY3367" fmla="*/ 6963844 h 7458372"/>
              <a:gd name="connsiteX3368" fmla="*/ 7441059 w 10505529"/>
              <a:gd name="connsiteY3368" fmla="*/ 6966373 h 7458372"/>
              <a:gd name="connsiteX3369" fmla="*/ 7450377 w 10505529"/>
              <a:gd name="connsiteY3369" fmla="*/ 6972763 h 7458372"/>
              <a:gd name="connsiteX3370" fmla="*/ 7456501 w 10505529"/>
              <a:gd name="connsiteY3370" fmla="*/ 6982082 h 7458372"/>
              <a:gd name="connsiteX3371" fmla="*/ 7458764 w 10505529"/>
              <a:gd name="connsiteY3371" fmla="*/ 6993529 h 7458372"/>
              <a:gd name="connsiteX3372" fmla="*/ 7456501 w 10505529"/>
              <a:gd name="connsiteY3372" fmla="*/ 7005245 h 7458372"/>
              <a:gd name="connsiteX3373" fmla="*/ 7450377 w 10505529"/>
              <a:gd name="connsiteY3373" fmla="*/ 7014563 h 7458372"/>
              <a:gd name="connsiteX3374" fmla="*/ 7441059 w 10505529"/>
              <a:gd name="connsiteY3374" fmla="*/ 7020819 h 7458372"/>
              <a:gd name="connsiteX3375" fmla="*/ 7429345 w 10505529"/>
              <a:gd name="connsiteY3375" fmla="*/ 7023082 h 7458372"/>
              <a:gd name="connsiteX3376" fmla="*/ 7407513 w 10505529"/>
              <a:gd name="connsiteY3376" fmla="*/ 7014563 h 7458372"/>
              <a:gd name="connsiteX3377" fmla="*/ 7399127 w 10505529"/>
              <a:gd name="connsiteY3377" fmla="*/ 6993396 h 7458372"/>
              <a:gd name="connsiteX3378" fmla="*/ 7407513 w 10505529"/>
              <a:gd name="connsiteY3378" fmla="*/ 6972364 h 7458372"/>
              <a:gd name="connsiteX3379" fmla="*/ 7429345 w 10505529"/>
              <a:gd name="connsiteY3379" fmla="*/ 6963844 h 7458372"/>
              <a:gd name="connsiteX3380" fmla="*/ 7211701 w 10505529"/>
              <a:gd name="connsiteY3380" fmla="*/ 6963844 h 7458372"/>
              <a:gd name="connsiteX3381" fmla="*/ 7223415 w 10505529"/>
              <a:gd name="connsiteY3381" fmla="*/ 6966373 h 7458372"/>
              <a:gd name="connsiteX3382" fmla="*/ 7232733 w 10505529"/>
              <a:gd name="connsiteY3382" fmla="*/ 6972763 h 7458372"/>
              <a:gd name="connsiteX3383" fmla="*/ 7238856 w 10505529"/>
              <a:gd name="connsiteY3383" fmla="*/ 6982082 h 7458372"/>
              <a:gd name="connsiteX3384" fmla="*/ 7241120 w 10505529"/>
              <a:gd name="connsiteY3384" fmla="*/ 6993529 h 7458372"/>
              <a:gd name="connsiteX3385" fmla="*/ 7238856 w 10505529"/>
              <a:gd name="connsiteY3385" fmla="*/ 7005245 h 7458372"/>
              <a:gd name="connsiteX3386" fmla="*/ 7232733 w 10505529"/>
              <a:gd name="connsiteY3386" fmla="*/ 7014563 h 7458372"/>
              <a:gd name="connsiteX3387" fmla="*/ 7223415 w 10505529"/>
              <a:gd name="connsiteY3387" fmla="*/ 7020819 h 7458372"/>
              <a:gd name="connsiteX3388" fmla="*/ 7211701 w 10505529"/>
              <a:gd name="connsiteY3388" fmla="*/ 7023082 h 7458372"/>
              <a:gd name="connsiteX3389" fmla="*/ 7189868 w 10505529"/>
              <a:gd name="connsiteY3389" fmla="*/ 7014563 h 7458372"/>
              <a:gd name="connsiteX3390" fmla="*/ 7181482 w 10505529"/>
              <a:gd name="connsiteY3390" fmla="*/ 6993396 h 7458372"/>
              <a:gd name="connsiteX3391" fmla="*/ 7189868 w 10505529"/>
              <a:gd name="connsiteY3391" fmla="*/ 6972364 h 7458372"/>
              <a:gd name="connsiteX3392" fmla="*/ 7211701 w 10505529"/>
              <a:gd name="connsiteY3392" fmla="*/ 6963844 h 7458372"/>
              <a:gd name="connsiteX3393" fmla="*/ 6994056 w 10505529"/>
              <a:gd name="connsiteY3393" fmla="*/ 6963844 h 7458372"/>
              <a:gd name="connsiteX3394" fmla="*/ 7005769 w 10505529"/>
              <a:gd name="connsiteY3394" fmla="*/ 6966373 h 7458372"/>
              <a:gd name="connsiteX3395" fmla="*/ 7015087 w 10505529"/>
              <a:gd name="connsiteY3395" fmla="*/ 6972763 h 7458372"/>
              <a:gd name="connsiteX3396" fmla="*/ 7021211 w 10505529"/>
              <a:gd name="connsiteY3396" fmla="*/ 6982082 h 7458372"/>
              <a:gd name="connsiteX3397" fmla="*/ 7023474 w 10505529"/>
              <a:gd name="connsiteY3397" fmla="*/ 6993529 h 7458372"/>
              <a:gd name="connsiteX3398" fmla="*/ 7021211 w 10505529"/>
              <a:gd name="connsiteY3398" fmla="*/ 7005245 h 7458372"/>
              <a:gd name="connsiteX3399" fmla="*/ 7015087 w 10505529"/>
              <a:gd name="connsiteY3399" fmla="*/ 7014563 h 7458372"/>
              <a:gd name="connsiteX3400" fmla="*/ 7005769 w 10505529"/>
              <a:gd name="connsiteY3400" fmla="*/ 7020819 h 7458372"/>
              <a:gd name="connsiteX3401" fmla="*/ 6994056 w 10505529"/>
              <a:gd name="connsiteY3401" fmla="*/ 7023082 h 7458372"/>
              <a:gd name="connsiteX3402" fmla="*/ 6972223 w 10505529"/>
              <a:gd name="connsiteY3402" fmla="*/ 7014563 h 7458372"/>
              <a:gd name="connsiteX3403" fmla="*/ 6963837 w 10505529"/>
              <a:gd name="connsiteY3403" fmla="*/ 6993396 h 7458372"/>
              <a:gd name="connsiteX3404" fmla="*/ 6972223 w 10505529"/>
              <a:gd name="connsiteY3404" fmla="*/ 6972364 h 7458372"/>
              <a:gd name="connsiteX3405" fmla="*/ 6994056 w 10505529"/>
              <a:gd name="connsiteY3405" fmla="*/ 6963844 h 7458372"/>
              <a:gd name="connsiteX3406" fmla="*/ 6776544 w 10505529"/>
              <a:gd name="connsiteY3406" fmla="*/ 6963844 h 7458372"/>
              <a:gd name="connsiteX3407" fmla="*/ 6788258 w 10505529"/>
              <a:gd name="connsiteY3407" fmla="*/ 6966373 h 7458372"/>
              <a:gd name="connsiteX3408" fmla="*/ 6797576 w 10505529"/>
              <a:gd name="connsiteY3408" fmla="*/ 6972763 h 7458372"/>
              <a:gd name="connsiteX3409" fmla="*/ 6803699 w 10505529"/>
              <a:gd name="connsiteY3409" fmla="*/ 6982082 h 7458372"/>
              <a:gd name="connsiteX3410" fmla="*/ 6805963 w 10505529"/>
              <a:gd name="connsiteY3410" fmla="*/ 6993529 h 7458372"/>
              <a:gd name="connsiteX3411" fmla="*/ 6803699 w 10505529"/>
              <a:gd name="connsiteY3411" fmla="*/ 7005245 h 7458372"/>
              <a:gd name="connsiteX3412" fmla="*/ 6797576 w 10505529"/>
              <a:gd name="connsiteY3412" fmla="*/ 7014563 h 7458372"/>
              <a:gd name="connsiteX3413" fmla="*/ 6788258 w 10505529"/>
              <a:gd name="connsiteY3413" fmla="*/ 7020819 h 7458372"/>
              <a:gd name="connsiteX3414" fmla="*/ 6776544 w 10505529"/>
              <a:gd name="connsiteY3414" fmla="*/ 7023082 h 7458372"/>
              <a:gd name="connsiteX3415" fmla="*/ 6754711 w 10505529"/>
              <a:gd name="connsiteY3415" fmla="*/ 7014563 h 7458372"/>
              <a:gd name="connsiteX3416" fmla="*/ 6746325 w 10505529"/>
              <a:gd name="connsiteY3416" fmla="*/ 6993396 h 7458372"/>
              <a:gd name="connsiteX3417" fmla="*/ 6754711 w 10505529"/>
              <a:gd name="connsiteY3417" fmla="*/ 6972364 h 7458372"/>
              <a:gd name="connsiteX3418" fmla="*/ 6776544 w 10505529"/>
              <a:gd name="connsiteY3418" fmla="*/ 6963844 h 7458372"/>
              <a:gd name="connsiteX3419" fmla="*/ 6558899 w 10505529"/>
              <a:gd name="connsiteY3419" fmla="*/ 6963844 h 7458372"/>
              <a:gd name="connsiteX3420" fmla="*/ 6570612 w 10505529"/>
              <a:gd name="connsiteY3420" fmla="*/ 6966373 h 7458372"/>
              <a:gd name="connsiteX3421" fmla="*/ 6579930 w 10505529"/>
              <a:gd name="connsiteY3421" fmla="*/ 6972763 h 7458372"/>
              <a:gd name="connsiteX3422" fmla="*/ 6586054 w 10505529"/>
              <a:gd name="connsiteY3422" fmla="*/ 6982082 h 7458372"/>
              <a:gd name="connsiteX3423" fmla="*/ 6588317 w 10505529"/>
              <a:gd name="connsiteY3423" fmla="*/ 6993529 h 7458372"/>
              <a:gd name="connsiteX3424" fmla="*/ 6586054 w 10505529"/>
              <a:gd name="connsiteY3424" fmla="*/ 7005245 h 7458372"/>
              <a:gd name="connsiteX3425" fmla="*/ 6579930 w 10505529"/>
              <a:gd name="connsiteY3425" fmla="*/ 7014563 h 7458372"/>
              <a:gd name="connsiteX3426" fmla="*/ 6570612 w 10505529"/>
              <a:gd name="connsiteY3426" fmla="*/ 7020819 h 7458372"/>
              <a:gd name="connsiteX3427" fmla="*/ 6558899 w 10505529"/>
              <a:gd name="connsiteY3427" fmla="*/ 7023082 h 7458372"/>
              <a:gd name="connsiteX3428" fmla="*/ 6537066 w 10505529"/>
              <a:gd name="connsiteY3428" fmla="*/ 7014563 h 7458372"/>
              <a:gd name="connsiteX3429" fmla="*/ 6528680 w 10505529"/>
              <a:gd name="connsiteY3429" fmla="*/ 6993396 h 7458372"/>
              <a:gd name="connsiteX3430" fmla="*/ 6537066 w 10505529"/>
              <a:gd name="connsiteY3430" fmla="*/ 6972364 h 7458372"/>
              <a:gd name="connsiteX3431" fmla="*/ 6558899 w 10505529"/>
              <a:gd name="connsiteY3431" fmla="*/ 6963844 h 7458372"/>
              <a:gd name="connsiteX3432" fmla="*/ 6341253 w 10505529"/>
              <a:gd name="connsiteY3432" fmla="*/ 6963844 h 7458372"/>
              <a:gd name="connsiteX3433" fmla="*/ 6352968 w 10505529"/>
              <a:gd name="connsiteY3433" fmla="*/ 6966373 h 7458372"/>
              <a:gd name="connsiteX3434" fmla="*/ 6362286 w 10505529"/>
              <a:gd name="connsiteY3434" fmla="*/ 6972763 h 7458372"/>
              <a:gd name="connsiteX3435" fmla="*/ 6368409 w 10505529"/>
              <a:gd name="connsiteY3435" fmla="*/ 6982082 h 7458372"/>
              <a:gd name="connsiteX3436" fmla="*/ 6370672 w 10505529"/>
              <a:gd name="connsiteY3436" fmla="*/ 6993529 h 7458372"/>
              <a:gd name="connsiteX3437" fmla="*/ 6368409 w 10505529"/>
              <a:gd name="connsiteY3437" fmla="*/ 7005245 h 7458372"/>
              <a:gd name="connsiteX3438" fmla="*/ 6362286 w 10505529"/>
              <a:gd name="connsiteY3438" fmla="*/ 7014563 h 7458372"/>
              <a:gd name="connsiteX3439" fmla="*/ 6352968 w 10505529"/>
              <a:gd name="connsiteY3439" fmla="*/ 7020819 h 7458372"/>
              <a:gd name="connsiteX3440" fmla="*/ 6341253 w 10505529"/>
              <a:gd name="connsiteY3440" fmla="*/ 7023082 h 7458372"/>
              <a:gd name="connsiteX3441" fmla="*/ 6319421 w 10505529"/>
              <a:gd name="connsiteY3441" fmla="*/ 7014563 h 7458372"/>
              <a:gd name="connsiteX3442" fmla="*/ 6311035 w 10505529"/>
              <a:gd name="connsiteY3442" fmla="*/ 6993396 h 7458372"/>
              <a:gd name="connsiteX3443" fmla="*/ 6319421 w 10505529"/>
              <a:gd name="connsiteY3443" fmla="*/ 6972364 h 7458372"/>
              <a:gd name="connsiteX3444" fmla="*/ 6341253 w 10505529"/>
              <a:gd name="connsiteY3444" fmla="*/ 6963844 h 7458372"/>
              <a:gd name="connsiteX3445" fmla="*/ 6123608 w 10505529"/>
              <a:gd name="connsiteY3445" fmla="*/ 6963844 h 7458372"/>
              <a:gd name="connsiteX3446" fmla="*/ 6135322 w 10505529"/>
              <a:gd name="connsiteY3446" fmla="*/ 6966373 h 7458372"/>
              <a:gd name="connsiteX3447" fmla="*/ 6144640 w 10505529"/>
              <a:gd name="connsiteY3447" fmla="*/ 6972763 h 7458372"/>
              <a:gd name="connsiteX3448" fmla="*/ 6150763 w 10505529"/>
              <a:gd name="connsiteY3448" fmla="*/ 6982082 h 7458372"/>
              <a:gd name="connsiteX3449" fmla="*/ 6153026 w 10505529"/>
              <a:gd name="connsiteY3449" fmla="*/ 6993529 h 7458372"/>
              <a:gd name="connsiteX3450" fmla="*/ 6150763 w 10505529"/>
              <a:gd name="connsiteY3450" fmla="*/ 7005245 h 7458372"/>
              <a:gd name="connsiteX3451" fmla="*/ 6144640 w 10505529"/>
              <a:gd name="connsiteY3451" fmla="*/ 7014563 h 7458372"/>
              <a:gd name="connsiteX3452" fmla="*/ 6135322 w 10505529"/>
              <a:gd name="connsiteY3452" fmla="*/ 7020819 h 7458372"/>
              <a:gd name="connsiteX3453" fmla="*/ 6123608 w 10505529"/>
              <a:gd name="connsiteY3453" fmla="*/ 7023082 h 7458372"/>
              <a:gd name="connsiteX3454" fmla="*/ 6101775 w 10505529"/>
              <a:gd name="connsiteY3454" fmla="*/ 7014563 h 7458372"/>
              <a:gd name="connsiteX3455" fmla="*/ 6093389 w 10505529"/>
              <a:gd name="connsiteY3455" fmla="*/ 6993396 h 7458372"/>
              <a:gd name="connsiteX3456" fmla="*/ 6101775 w 10505529"/>
              <a:gd name="connsiteY3456" fmla="*/ 6972364 h 7458372"/>
              <a:gd name="connsiteX3457" fmla="*/ 6123608 w 10505529"/>
              <a:gd name="connsiteY3457" fmla="*/ 6963844 h 7458372"/>
              <a:gd name="connsiteX3458" fmla="*/ 5905963 w 10505529"/>
              <a:gd name="connsiteY3458" fmla="*/ 6963844 h 7458372"/>
              <a:gd name="connsiteX3459" fmla="*/ 5917677 w 10505529"/>
              <a:gd name="connsiteY3459" fmla="*/ 6966373 h 7458372"/>
              <a:gd name="connsiteX3460" fmla="*/ 5926995 w 10505529"/>
              <a:gd name="connsiteY3460" fmla="*/ 6972763 h 7458372"/>
              <a:gd name="connsiteX3461" fmla="*/ 5933118 w 10505529"/>
              <a:gd name="connsiteY3461" fmla="*/ 6982082 h 7458372"/>
              <a:gd name="connsiteX3462" fmla="*/ 5935381 w 10505529"/>
              <a:gd name="connsiteY3462" fmla="*/ 6993529 h 7458372"/>
              <a:gd name="connsiteX3463" fmla="*/ 5933118 w 10505529"/>
              <a:gd name="connsiteY3463" fmla="*/ 7005245 h 7458372"/>
              <a:gd name="connsiteX3464" fmla="*/ 5926995 w 10505529"/>
              <a:gd name="connsiteY3464" fmla="*/ 7014563 h 7458372"/>
              <a:gd name="connsiteX3465" fmla="*/ 5917677 w 10505529"/>
              <a:gd name="connsiteY3465" fmla="*/ 7020819 h 7458372"/>
              <a:gd name="connsiteX3466" fmla="*/ 5905963 w 10505529"/>
              <a:gd name="connsiteY3466" fmla="*/ 7023082 h 7458372"/>
              <a:gd name="connsiteX3467" fmla="*/ 5884130 w 10505529"/>
              <a:gd name="connsiteY3467" fmla="*/ 7014563 h 7458372"/>
              <a:gd name="connsiteX3468" fmla="*/ 5875744 w 10505529"/>
              <a:gd name="connsiteY3468" fmla="*/ 6993396 h 7458372"/>
              <a:gd name="connsiteX3469" fmla="*/ 5884130 w 10505529"/>
              <a:gd name="connsiteY3469" fmla="*/ 6972364 h 7458372"/>
              <a:gd name="connsiteX3470" fmla="*/ 5905963 w 10505529"/>
              <a:gd name="connsiteY3470" fmla="*/ 6963844 h 7458372"/>
              <a:gd name="connsiteX3471" fmla="*/ 5688451 w 10505529"/>
              <a:gd name="connsiteY3471" fmla="*/ 6963844 h 7458372"/>
              <a:gd name="connsiteX3472" fmla="*/ 5700165 w 10505529"/>
              <a:gd name="connsiteY3472" fmla="*/ 6966373 h 7458372"/>
              <a:gd name="connsiteX3473" fmla="*/ 5709483 w 10505529"/>
              <a:gd name="connsiteY3473" fmla="*/ 6972763 h 7458372"/>
              <a:gd name="connsiteX3474" fmla="*/ 5715606 w 10505529"/>
              <a:gd name="connsiteY3474" fmla="*/ 6982082 h 7458372"/>
              <a:gd name="connsiteX3475" fmla="*/ 5717869 w 10505529"/>
              <a:gd name="connsiteY3475" fmla="*/ 6993529 h 7458372"/>
              <a:gd name="connsiteX3476" fmla="*/ 5715606 w 10505529"/>
              <a:gd name="connsiteY3476" fmla="*/ 7005245 h 7458372"/>
              <a:gd name="connsiteX3477" fmla="*/ 5709483 w 10505529"/>
              <a:gd name="connsiteY3477" fmla="*/ 7014563 h 7458372"/>
              <a:gd name="connsiteX3478" fmla="*/ 5700165 w 10505529"/>
              <a:gd name="connsiteY3478" fmla="*/ 7020819 h 7458372"/>
              <a:gd name="connsiteX3479" fmla="*/ 5688451 w 10505529"/>
              <a:gd name="connsiteY3479" fmla="*/ 7023082 h 7458372"/>
              <a:gd name="connsiteX3480" fmla="*/ 5666618 w 10505529"/>
              <a:gd name="connsiteY3480" fmla="*/ 7014563 h 7458372"/>
              <a:gd name="connsiteX3481" fmla="*/ 5658232 w 10505529"/>
              <a:gd name="connsiteY3481" fmla="*/ 6993396 h 7458372"/>
              <a:gd name="connsiteX3482" fmla="*/ 5666618 w 10505529"/>
              <a:gd name="connsiteY3482" fmla="*/ 6972364 h 7458372"/>
              <a:gd name="connsiteX3483" fmla="*/ 5688451 w 10505529"/>
              <a:gd name="connsiteY3483" fmla="*/ 6963844 h 7458372"/>
              <a:gd name="connsiteX3484" fmla="*/ 5470806 w 10505529"/>
              <a:gd name="connsiteY3484" fmla="*/ 6963844 h 7458372"/>
              <a:gd name="connsiteX3485" fmla="*/ 5482520 w 10505529"/>
              <a:gd name="connsiteY3485" fmla="*/ 6966373 h 7458372"/>
              <a:gd name="connsiteX3486" fmla="*/ 5491838 w 10505529"/>
              <a:gd name="connsiteY3486" fmla="*/ 6972763 h 7458372"/>
              <a:gd name="connsiteX3487" fmla="*/ 5497961 w 10505529"/>
              <a:gd name="connsiteY3487" fmla="*/ 6982082 h 7458372"/>
              <a:gd name="connsiteX3488" fmla="*/ 5500224 w 10505529"/>
              <a:gd name="connsiteY3488" fmla="*/ 6993529 h 7458372"/>
              <a:gd name="connsiteX3489" fmla="*/ 5497961 w 10505529"/>
              <a:gd name="connsiteY3489" fmla="*/ 7005245 h 7458372"/>
              <a:gd name="connsiteX3490" fmla="*/ 5491838 w 10505529"/>
              <a:gd name="connsiteY3490" fmla="*/ 7014563 h 7458372"/>
              <a:gd name="connsiteX3491" fmla="*/ 5482520 w 10505529"/>
              <a:gd name="connsiteY3491" fmla="*/ 7020819 h 7458372"/>
              <a:gd name="connsiteX3492" fmla="*/ 5470806 w 10505529"/>
              <a:gd name="connsiteY3492" fmla="*/ 7023082 h 7458372"/>
              <a:gd name="connsiteX3493" fmla="*/ 5448973 w 10505529"/>
              <a:gd name="connsiteY3493" fmla="*/ 7014563 h 7458372"/>
              <a:gd name="connsiteX3494" fmla="*/ 5440587 w 10505529"/>
              <a:gd name="connsiteY3494" fmla="*/ 6993396 h 7458372"/>
              <a:gd name="connsiteX3495" fmla="*/ 5448973 w 10505529"/>
              <a:gd name="connsiteY3495" fmla="*/ 6972364 h 7458372"/>
              <a:gd name="connsiteX3496" fmla="*/ 5470806 w 10505529"/>
              <a:gd name="connsiteY3496" fmla="*/ 6963844 h 7458372"/>
              <a:gd name="connsiteX3497" fmla="*/ 5253160 w 10505529"/>
              <a:gd name="connsiteY3497" fmla="*/ 6963844 h 7458372"/>
              <a:gd name="connsiteX3498" fmla="*/ 5264875 w 10505529"/>
              <a:gd name="connsiteY3498" fmla="*/ 6966373 h 7458372"/>
              <a:gd name="connsiteX3499" fmla="*/ 5274192 w 10505529"/>
              <a:gd name="connsiteY3499" fmla="*/ 6972763 h 7458372"/>
              <a:gd name="connsiteX3500" fmla="*/ 5280316 w 10505529"/>
              <a:gd name="connsiteY3500" fmla="*/ 6982082 h 7458372"/>
              <a:gd name="connsiteX3501" fmla="*/ 5282579 w 10505529"/>
              <a:gd name="connsiteY3501" fmla="*/ 6993529 h 7458372"/>
              <a:gd name="connsiteX3502" fmla="*/ 5280316 w 10505529"/>
              <a:gd name="connsiteY3502" fmla="*/ 7005245 h 7458372"/>
              <a:gd name="connsiteX3503" fmla="*/ 5274192 w 10505529"/>
              <a:gd name="connsiteY3503" fmla="*/ 7014563 h 7458372"/>
              <a:gd name="connsiteX3504" fmla="*/ 5264875 w 10505529"/>
              <a:gd name="connsiteY3504" fmla="*/ 7020819 h 7458372"/>
              <a:gd name="connsiteX3505" fmla="*/ 5253160 w 10505529"/>
              <a:gd name="connsiteY3505" fmla="*/ 7023082 h 7458372"/>
              <a:gd name="connsiteX3506" fmla="*/ 5231328 w 10505529"/>
              <a:gd name="connsiteY3506" fmla="*/ 7014563 h 7458372"/>
              <a:gd name="connsiteX3507" fmla="*/ 5222942 w 10505529"/>
              <a:gd name="connsiteY3507" fmla="*/ 6993396 h 7458372"/>
              <a:gd name="connsiteX3508" fmla="*/ 5231328 w 10505529"/>
              <a:gd name="connsiteY3508" fmla="*/ 6972364 h 7458372"/>
              <a:gd name="connsiteX3509" fmla="*/ 5253160 w 10505529"/>
              <a:gd name="connsiteY3509" fmla="*/ 6963844 h 7458372"/>
              <a:gd name="connsiteX3510" fmla="*/ 5035515 w 10505529"/>
              <a:gd name="connsiteY3510" fmla="*/ 6963844 h 7458372"/>
              <a:gd name="connsiteX3511" fmla="*/ 5047230 w 10505529"/>
              <a:gd name="connsiteY3511" fmla="*/ 6966373 h 7458372"/>
              <a:gd name="connsiteX3512" fmla="*/ 5056548 w 10505529"/>
              <a:gd name="connsiteY3512" fmla="*/ 6972763 h 7458372"/>
              <a:gd name="connsiteX3513" fmla="*/ 5062671 w 10505529"/>
              <a:gd name="connsiteY3513" fmla="*/ 6982082 h 7458372"/>
              <a:gd name="connsiteX3514" fmla="*/ 5064934 w 10505529"/>
              <a:gd name="connsiteY3514" fmla="*/ 6993529 h 7458372"/>
              <a:gd name="connsiteX3515" fmla="*/ 5062671 w 10505529"/>
              <a:gd name="connsiteY3515" fmla="*/ 7005245 h 7458372"/>
              <a:gd name="connsiteX3516" fmla="*/ 5056548 w 10505529"/>
              <a:gd name="connsiteY3516" fmla="*/ 7014563 h 7458372"/>
              <a:gd name="connsiteX3517" fmla="*/ 5047230 w 10505529"/>
              <a:gd name="connsiteY3517" fmla="*/ 7020819 h 7458372"/>
              <a:gd name="connsiteX3518" fmla="*/ 5035515 w 10505529"/>
              <a:gd name="connsiteY3518" fmla="*/ 7023082 h 7458372"/>
              <a:gd name="connsiteX3519" fmla="*/ 5013683 w 10505529"/>
              <a:gd name="connsiteY3519" fmla="*/ 7014563 h 7458372"/>
              <a:gd name="connsiteX3520" fmla="*/ 5005297 w 10505529"/>
              <a:gd name="connsiteY3520" fmla="*/ 6993396 h 7458372"/>
              <a:gd name="connsiteX3521" fmla="*/ 5013683 w 10505529"/>
              <a:gd name="connsiteY3521" fmla="*/ 6972364 h 7458372"/>
              <a:gd name="connsiteX3522" fmla="*/ 5035515 w 10505529"/>
              <a:gd name="connsiteY3522" fmla="*/ 6963844 h 7458372"/>
              <a:gd name="connsiteX3523" fmla="*/ 4817870 w 10505529"/>
              <a:gd name="connsiteY3523" fmla="*/ 6963844 h 7458372"/>
              <a:gd name="connsiteX3524" fmla="*/ 4829585 w 10505529"/>
              <a:gd name="connsiteY3524" fmla="*/ 6966373 h 7458372"/>
              <a:gd name="connsiteX3525" fmla="*/ 4838903 w 10505529"/>
              <a:gd name="connsiteY3525" fmla="*/ 6972763 h 7458372"/>
              <a:gd name="connsiteX3526" fmla="*/ 4845026 w 10505529"/>
              <a:gd name="connsiteY3526" fmla="*/ 6982082 h 7458372"/>
              <a:gd name="connsiteX3527" fmla="*/ 4847289 w 10505529"/>
              <a:gd name="connsiteY3527" fmla="*/ 6993529 h 7458372"/>
              <a:gd name="connsiteX3528" fmla="*/ 4845026 w 10505529"/>
              <a:gd name="connsiteY3528" fmla="*/ 7005245 h 7458372"/>
              <a:gd name="connsiteX3529" fmla="*/ 4838903 w 10505529"/>
              <a:gd name="connsiteY3529" fmla="*/ 7014563 h 7458372"/>
              <a:gd name="connsiteX3530" fmla="*/ 4829585 w 10505529"/>
              <a:gd name="connsiteY3530" fmla="*/ 7020819 h 7458372"/>
              <a:gd name="connsiteX3531" fmla="*/ 4817870 w 10505529"/>
              <a:gd name="connsiteY3531" fmla="*/ 7023082 h 7458372"/>
              <a:gd name="connsiteX3532" fmla="*/ 4796038 w 10505529"/>
              <a:gd name="connsiteY3532" fmla="*/ 7014563 h 7458372"/>
              <a:gd name="connsiteX3533" fmla="*/ 4787652 w 10505529"/>
              <a:gd name="connsiteY3533" fmla="*/ 6993396 h 7458372"/>
              <a:gd name="connsiteX3534" fmla="*/ 4796038 w 10505529"/>
              <a:gd name="connsiteY3534" fmla="*/ 6972364 h 7458372"/>
              <a:gd name="connsiteX3535" fmla="*/ 4817870 w 10505529"/>
              <a:gd name="connsiteY3535" fmla="*/ 6963844 h 7458372"/>
              <a:gd name="connsiteX3536" fmla="*/ 4600226 w 10505529"/>
              <a:gd name="connsiteY3536" fmla="*/ 6963844 h 7458372"/>
              <a:gd name="connsiteX3537" fmla="*/ 4612073 w 10505529"/>
              <a:gd name="connsiteY3537" fmla="*/ 6966373 h 7458372"/>
              <a:gd name="connsiteX3538" fmla="*/ 4621391 w 10505529"/>
              <a:gd name="connsiteY3538" fmla="*/ 6972763 h 7458372"/>
              <a:gd name="connsiteX3539" fmla="*/ 4627514 w 10505529"/>
              <a:gd name="connsiteY3539" fmla="*/ 6982082 h 7458372"/>
              <a:gd name="connsiteX3540" fmla="*/ 4629777 w 10505529"/>
              <a:gd name="connsiteY3540" fmla="*/ 6993529 h 7458372"/>
              <a:gd name="connsiteX3541" fmla="*/ 4627514 w 10505529"/>
              <a:gd name="connsiteY3541" fmla="*/ 7005245 h 7458372"/>
              <a:gd name="connsiteX3542" fmla="*/ 4621391 w 10505529"/>
              <a:gd name="connsiteY3542" fmla="*/ 7014563 h 7458372"/>
              <a:gd name="connsiteX3543" fmla="*/ 4612073 w 10505529"/>
              <a:gd name="connsiteY3543" fmla="*/ 7020819 h 7458372"/>
              <a:gd name="connsiteX3544" fmla="*/ 4600226 w 10505529"/>
              <a:gd name="connsiteY3544" fmla="*/ 7023082 h 7458372"/>
              <a:gd name="connsiteX3545" fmla="*/ 4578393 w 10505529"/>
              <a:gd name="connsiteY3545" fmla="*/ 7014563 h 7458372"/>
              <a:gd name="connsiteX3546" fmla="*/ 4570007 w 10505529"/>
              <a:gd name="connsiteY3546" fmla="*/ 6993396 h 7458372"/>
              <a:gd name="connsiteX3547" fmla="*/ 4578393 w 10505529"/>
              <a:gd name="connsiteY3547" fmla="*/ 6972364 h 7458372"/>
              <a:gd name="connsiteX3548" fmla="*/ 4600226 w 10505529"/>
              <a:gd name="connsiteY3548" fmla="*/ 6963844 h 7458372"/>
              <a:gd name="connsiteX3549" fmla="*/ 4382713 w 10505529"/>
              <a:gd name="connsiteY3549" fmla="*/ 6963844 h 7458372"/>
              <a:gd name="connsiteX3550" fmla="*/ 4394428 w 10505529"/>
              <a:gd name="connsiteY3550" fmla="*/ 6966373 h 7458372"/>
              <a:gd name="connsiteX3551" fmla="*/ 4403746 w 10505529"/>
              <a:gd name="connsiteY3551" fmla="*/ 6972763 h 7458372"/>
              <a:gd name="connsiteX3552" fmla="*/ 4409869 w 10505529"/>
              <a:gd name="connsiteY3552" fmla="*/ 6982082 h 7458372"/>
              <a:gd name="connsiteX3553" fmla="*/ 4412132 w 10505529"/>
              <a:gd name="connsiteY3553" fmla="*/ 6993529 h 7458372"/>
              <a:gd name="connsiteX3554" fmla="*/ 4409869 w 10505529"/>
              <a:gd name="connsiteY3554" fmla="*/ 7005245 h 7458372"/>
              <a:gd name="connsiteX3555" fmla="*/ 4403746 w 10505529"/>
              <a:gd name="connsiteY3555" fmla="*/ 7014563 h 7458372"/>
              <a:gd name="connsiteX3556" fmla="*/ 4394428 w 10505529"/>
              <a:gd name="connsiteY3556" fmla="*/ 7020819 h 7458372"/>
              <a:gd name="connsiteX3557" fmla="*/ 4382713 w 10505529"/>
              <a:gd name="connsiteY3557" fmla="*/ 7023082 h 7458372"/>
              <a:gd name="connsiteX3558" fmla="*/ 4360881 w 10505529"/>
              <a:gd name="connsiteY3558" fmla="*/ 7014563 h 7458372"/>
              <a:gd name="connsiteX3559" fmla="*/ 4352495 w 10505529"/>
              <a:gd name="connsiteY3559" fmla="*/ 6993396 h 7458372"/>
              <a:gd name="connsiteX3560" fmla="*/ 4360881 w 10505529"/>
              <a:gd name="connsiteY3560" fmla="*/ 6972364 h 7458372"/>
              <a:gd name="connsiteX3561" fmla="*/ 4382713 w 10505529"/>
              <a:gd name="connsiteY3561" fmla="*/ 6963844 h 7458372"/>
              <a:gd name="connsiteX3562" fmla="*/ 4165068 w 10505529"/>
              <a:gd name="connsiteY3562" fmla="*/ 6963844 h 7458372"/>
              <a:gd name="connsiteX3563" fmla="*/ 4176782 w 10505529"/>
              <a:gd name="connsiteY3563" fmla="*/ 6966373 h 7458372"/>
              <a:gd name="connsiteX3564" fmla="*/ 4186100 w 10505529"/>
              <a:gd name="connsiteY3564" fmla="*/ 6972763 h 7458372"/>
              <a:gd name="connsiteX3565" fmla="*/ 4192223 w 10505529"/>
              <a:gd name="connsiteY3565" fmla="*/ 6982082 h 7458372"/>
              <a:gd name="connsiteX3566" fmla="*/ 4194486 w 10505529"/>
              <a:gd name="connsiteY3566" fmla="*/ 6993529 h 7458372"/>
              <a:gd name="connsiteX3567" fmla="*/ 4192223 w 10505529"/>
              <a:gd name="connsiteY3567" fmla="*/ 7005245 h 7458372"/>
              <a:gd name="connsiteX3568" fmla="*/ 4186100 w 10505529"/>
              <a:gd name="connsiteY3568" fmla="*/ 7014563 h 7458372"/>
              <a:gd name="connsiteX3569" fmla="*/ 4176782 w 10505529"/>
              <a:gd name="connsiteY3569" fmla="*/ 7020819 h 7458372"/>
              <a:gd name="connsiteX3570" fmla="*/ 4165068 w 10505529"/>
              <a:gd name="connsiteY3570" fmla="*/ 7023082 h 7458372"/>
              <a:gd name="connsiteX3571" fmla="*/ 4143235 w 10505529"/>
              <a:gd name="connsiteY3571" fmla="*/ 7014563 h 7458372"/>
              <a:gd name="connsiteX3572" fmla="*/ 4134849 w 10505529"/>
              <a:gd name="connsiteY3572" fmla="*/ 6993396 h 7458372"/>
              <a:gd name="connsiteX3573" fmla="*/ 4143235 w 10505529"/>
              <a:gd name="connsiteY3573" fmla="*/ 6972364 h 7458372"/>
              <a:gd name="connsiteX3574" fmla="*/ 4165068 w 10505529"/>
              <a:gd name="connsiteY3574" fmla="*/ 6963844 h 7458372"/>
              <a:gd name="connsiteX3575" fmla="*/ 3947802 w 10505529"/>
              <a:gd name="connsiteY3575" fmla="*/ 6963844 h 7458372"/>
              <a:gd name="connsiteX3576" fmla="*/ 3959521 w 10505529"/>
              <a:gd name="connsiteY3576" fmla="*/ 6966373 h 7458372"/>
              <a:gd name="connsiteX3577" fmla="*/ 3968839 w 10505529"/>
              <a:gd name="connsiteY3577" fmla="*/ 6972763 h 7458372"/>
              <a:gd name="connsiteX3578" fmla="*/ 3974963 w 10505529"/>
              <a:gd name="connsiteY3578" fmla="*/ 6982082 h 7458372"/>
              <a:gd name="connsiteX3579" fmla="*/ 3977227 w 10505529"/>
              <a:gd name="connsiteY3579" fmla="*/ 6993529 h 7458372"/>
              <a:gd name="connsiteX3580" fmla="*/ 3974963 w 10505529"/>
              <a:gd name="connsiteY3580" fmla="*/ 7005245 h 7458372"/>
              <a:gd name="connsiteX3581" fmla="*/ 3968839 w 10505529"/>
              <a:gd name="connsiteY3581" fmla="*/ 7014563 h 7458372"/>
              <a:gd name="connsiteX3582" fmla="*/ 3959521 w 10505529"/>
              <a:gd name="connsiteY3582" fmla="*/ 7020819 h 7458372"/>
              <a:gd name="connsiteX3583" fmla="*/ 3947802 w 10505529"/>
              <a:gd name="connsiteY3583" fmla="*/ 7023082 h 7458372"/>
              <a:gd name="connsiteX3584" fmla="*/ 3925970 w 10505529"/>
              <a:gd name="connsiteY3584" fmla="*/ 7014563 h 7458372"/>
              <a:gd name="connsiteX3585" fmla="*/ 3917583 w 10505529"/>
              <a:gd name="connsiteY3585" fmla="*/ 6993396 h 7458372"/>
              <a:gd name="connsiteX3586" fmla="*/ 3925970 w 10505529"/>
              <a:gd name="connsiteY3586" fmla="*/ 6972364 h 7458372"/>
              <a:gd name="connsiteX3587" fmla="*/ 3947802 w 10505529"/>
              <a:gd name="connsiteY3587" fmla="*/ 6963844 h 7458372"/>
              <a:gd name="connsiteX3588" fmla="*/ 3730141 w 10505529"/>
              <a:gd name="connsiteY3588" fmla="*/ 6963844 h 7458372"/>
              <a:gd name="connsiteX3589" fmla="*/ 3741856 w 10505529"/>
              <a:gd name="connsiteY3589" fmla="*/ 6966373 h 7458372"/>
              <a:gd name="connsiteX3590" fmla="*/ 3751175 w 10505529"/>
              <a:gd name="connsiteY3590" fmla="*/ 6972763 h 7458372"/>
              <a:gd name="connsiteX3591" fmla="*/ 3757297 w 10505529"/>
              <a:gd name="connsiteY3591" fmla="*/ 6982082 h 7458372"/>
              <a:gd name="connsiteX3592" fmla="*/ 3759560 w 10505529"/>
              <a:gd name="connsiteY3592" fmla="*/ 6993529 h 7458372"/>
              <a:gd name="connsiteX3593" fmla="*/ 3757297 w 10505529"/>
              <a:gd name="connsiteY3593" fmla="*/ 7005245 h 7458372"/>
              <a:gd name="connsiteX3594" fmla="*/ 3751175 w 10505529"/>
              <a:gd name="connsiteY3594" fmla="*/ 7014563 h 7458372"/>
              <a:gd name="connsiteX3595" fmla="*/ 3741856 w 10505529"/>
              <a:gd name="connsiteY3595" fmla="*/ 7020819 h 7458372"/>
              <a:gd name="connsiteX3596" fmla="*/ 3730141 w 10505529"/>
              <a:gd name="connsiteY3596" fmla="*/ 7023082 h 7458372"/>
              <a:gd name="connsiteX3597" fmla="*/ 3708298 w 10505529"/>
              <a:gd name="connsiteY3597" fmla="*/ 7014563 h 7458372"/>
              <a:gd name="connsiteX3598" fmla="*/ 3699911 w 10505529"/>
              <a:gd name="connsiteY3598" fmla="*/ 6993396 h 7458372"/>
              <a:gd name="connsiteX3599" fmla="*/ 3708298 w 10505529"/>
              <a:gd name="connsiteY3599" fmla="*/ 6972364 h 7458372"/>
              <a:gd name="connsiteX3600" fmla="*/ 3730141 w 10505529"/>
              <a:gd name="connsiteY3600" fmla="*/ 6963844 h 7458372"/>
              <a:gd name="connsiteX3601" fmla="*/ 3512475 w 10505529"/>
              <a:gd name="connsiteY3601" fmla="*/ 6963844 h 7458372"/>
              <a:gd name="connsiteX3602" fmla="*/ 3524191 w 10505529"/>
              <a:gd name="connsiteY3602" fmla="*/ 6966373 h 7458372"/>
              <a:gd name="connsiteX3603" fmla="*/ 3533509 w 10505529"/>
              <a:gd name="connsiteY3603" fmla="*/ 6972763 h 7458372"/>
              <a:gd name="connsiteX3604" fmla="*/ 3539633 w 10505529"/>
              <a:gd name="connsiteY3604" fmla="*/ 6982082 h 7458372"/>
              <a:gd name="connsiteX3605" fmla="*/ 3541896 w 10505529"/>
              <a:gd name="connsiteY3605" fmla="*/ 6993529 h 7458372"/>
              <a:gd name="connsiteX3606" fmla="*/ 3539633 w 10505529"/>
              <a:gd name="connsiteY3606" fmla="*/ 7005245 h 7458372"/>
              <a:gd name="connsiteX3607" fmla="*/ 3533509 w 10505529"/>
              <a:gd name="connsiteY3607" fmla="*/ 7014563 h 7458372"/>
              <a:gd name="connsiteX3608" fmla="*/ 3524191 w 10505529"/>
              <a:gd name="connsiteY3608" fmla="*/ 7020819 h 7458372"/>
              <a:gd name="connsiteX3609" fmla="*/ 3512475 w 10505529"/>
              <a:gd name="connsiteY3609" fmla="*/ 7023082 h 7458372"/>
              <a:gd name="connsiteX3610" fmla="*/ 3490637 w 10505529"/>
              <a:gd name="connsiteY3610" fmla="*/ 7014563 h 7458372"/>
              <a:gd name="connsiteX3611" fmla="*/ 3482251 w 10505529"/>
              <a:gd name="connsiteY3611" fmla="*/ 6993396 h 7458372"/>
              <a:gd name="connsiteX3612" fmla="*/ 3490637 w 10505529"/>
              <a:gd name="connsiteY3612" fmla="*/ 6972364 h 7458372"/>
              <a:gd name="connsiteX3613" fmla="*/ 3512475 w 10505529"/>
              <a:gd name="connsiteY3613" fmla="*/ 6963844 h 7458372"/>
              <a:gd name="connsiteX3614" fmla="*/ 3294943 w 10505529"/>
              <a:gd name="connsiteY3614" fmla="*/ 6963844 h 7458372"/>
              <a:gd name="connsiteX3615" fmla="*/ 3306660 w 10505529"/>
              <a:gd name="connsiteY3615" fmla="*/ 6966373 h 7458372"/>
              <a:gd name="connsiteX3616" fmla="*/ 3315978 w 10505529"/>
              <a:gd name="connsiteY3616" fmla="*/ 6972763 h 7458372"/>
              <a:gd name="connsiteX3617" fmla="*/ 3322101 w 10505529"/>
              <a:gd name="connsiteY3617" fmla="*/ 6982082 h 7458372"/>
              <a:gd name="connsiteX3618" fmla="*/ 3324364 w 10505529"/>
              <a:gd name="connsiteY3618" fmla="*/ 6993529 h 7458372"/>
              <a:gd name="connsiteX3619" fmla="*/ 3322101 w 10505529"/>
              <a:gd name="connsiteY3619" fmla="*/ 7005245 h 7458372"/>
              <a:gd name="connsiteX3620" fmla="*/ 3315978 w 10505529"/>
              <a:gd name="connsiteY3620" fmla="*/ 7014563 h 7458372"/>
              <a:gd name="connsiteX3621" fmla="*/ 3306660 w 10505529"/>
              <a:gd name="connsiteY3621" fmla="*/ 7020819 h 7458372"/>
              <a:gd name="connsiteX3622" fmla="*/ 3294943 w 10505529"/>
              <a:gd name="connsiteY3622" fmla="*/ 7023082 h 7458372"/>
              <a:gd name="connsiteX3623" fmla="*/ 3273104 w 10505529"/>
              <a:gd name="connsiteY3623" fmla="*/ 7014563 h 7458372"/>
              <a:gd name="connsiteX3624" fmla="*/ 3264715 w 10505529"/>
              <a:gd name="connsiteY3624" fmla="*/ 6993396 h 7458372"/>
              <a:gd name="connsiteX3625" fmla="*/ 3273104 w 10505529"/>
              <a:gd name="connsiteY3625" fmla="*/ 6972364 h 7458372"/>
              <a:gd name="connsiteX3626" fmla="*/ 3294943 w 10505529"/>
              <a:gd name="connsiteY3626" fmla="*/ 6963844 h 7458372"/>
              <a:gd name="connsiteX3627" fmla="*/ 3077279 w 10505529"/>
              <a:gd name="connsiteY3627" fmla="*/ 6963844 h 7458372"/>
              <a:gd name="connsiteX3628" fmla="*/ 3088994 w 10505529"/>
              <a:gd name="connsiteY3628" fmla="*/ 6966373 h 7458372"/>
              <a:gd name="connsiteX3629" fmla="*/ 3098312 w 10505529"/>
              <a:gd name="connsiteY3629" fmla="*/ 6972763 h 7458372"/>
              <a:gd name="connsiteX3630" fmla="*/ 3104435 w 10505529"/>
              <a:gd name="connsiteY3630" fmla="*/ 6982082 h 7458372"/>
              <a:gd name="connsiteX3631" fmla="*/ 3106698 w 10505529"/>
              <a:gd name="connsiteY3631" fmla="*/ 6993529 h 7458372"/>
              <a:gd name="connsiteX3632" fmla="*/ 3104435 w 10505529"/>
              <a:gd name="connsiteY3632" fmla="*/ 7005245 h 7458372"/>
              <a:gd name="connsiteX3633" fmla="*/ 3098312 w 10505529"/>
              <a:gd name="connsiteY3633" fmla="*/ 7014563 h 7458372"/>
              <a:gd name="connsiteX3634" fmla="*/ 3088994 w 10505529"/>
              <a:gd name="connsiteY3634" fmla="*/ 7020819 h 7458372"/>
              <a:gd name="connsiteX3635" fmla="*/ 3077279 w 10505529"/>
              <a:gd name="connsiteY3635" fmla="*/ 7023082 h 7458372"/>
              <a:gd name="connsiteX3636" fmla="*/ 3055439 w 10505529"/>
              <a:gd name="connsiteY3636" fmla="*/ 7014563 h 7458372"/>
              <a:gd name="connsiteX3637" fmla="*/ 3047052 w 10505529"/>
              <a:gd name="connsiteY3637" fmla="*/ 6993396 h 7458372"/>
              <a:gd name="connsiteX3638" fmla="*/ 3055439 w 10505529"/>
              <a:gd name="connsiteY3638" fmla="*/ 6972364 h 7458372"/>
              <a:gd name="connsiteX3639" fmla="*/ 3077279 w 10505529"/>
              <a:gd name="connsiteY3639" fmla="*/ 6963844 h 7458372"/>
              <a:gd name="connsiteX3640" fmla="*/ 2859614 w 10505529"/>
              <a:gd name="connsiteY3640" fmla="*/ 6963844 h 7458372"/>
              <a:gd name="connsiteX3641" fmla="*/ 2871462 w 10505529"/>
              <a:gd name="connsiteY3641" fmla="*/ 6966373 h 7458372"/>
              <a:gd name="connsiteX3642" fmla="*/ 2880780 w 10505529"/>
              <a:gd name="connsiteY3642" fmla="*/ 6972763 h 7458372"/>
              <a:gd name="connsiteX3643" fmla="*/ 2886904 w 10505529"/>
              <a:gd name="connsiteY3643" fmla="*/ 6982082 h 7458372"/>
              <a:gd name="connsiteX3644" fmla="*/ 2889167 w 10505529"/>
              <a:gd name="connsiteY3644" fmla="*/ 6993529 h 7458372"/>
              <a:gd name="connsiteX3645" fmla="*/ 2886904 w 10505529"/>
              <a:gd name="connsiteY3645" fmla="*/ 7005245 h 7458372"/>
              <a:gd name="connsiteX3646" fmla="*/ 2880780 w 10505529"/>
              <a:gd name="connsiteY3646" fmla="*/ 7014563 h 7458372"/>
              <a:gd name="connsiteX3647" fmla="*/ 2871462 w 10505529"/>
              <a:gd name="connsiteY3647" fmla="*/ 7020819 h 7458372"/>
              <a:gd name="connsiteX3648" fmla="*/ 2859614 w 10505529"/>
              <a:gd name="connsiteY3648" fmla="*/ 7023082 h 7458372"/>
              <a:gd name="connsiteX3649" fmla="*/ 2837774 w 10505529"/>
              <a:gd name="connsiteY3649" fmla="*/ 7014563 h 7458372"/>
              <a:gd name="connsiteX3650" fmla="*/ 2829386 w 10505529"/>
              <a:gd name="connsiteY3650" fmla="*/ 6993396 h 7458372"/>
              <a:gd name="connsiteX3651" fmla="*/ 2837774 w 10505529"/>
              <a:gd name="connsiteY3651" fmla="*/ 6972364 h 7458372"/>
              <a:gd name="connsiteX3652" fmla="*/ 2859614 w 10505529"/>
              <a:gd name="connsiteY3652" fmla="*/ 6963844 h 7458372"/>
              <a:gd name="connsiteX3653" fmla="*/ 2641949 w 10505529"/>
              <a:gd name="connsiteY3653" fmla="*/ 6963844 h 7458372"/>
              <a:gd name="connsiteX3654" fmla="*/ 2653664 w 10505529"/>
              <a:gd name="connsiteY3654" fmla="*/ 6966373 h 7458372"/>
              <a:gd name="connsiteX3655" fmla="*/ 2662982 w 10505529"/>
              <a:gd name="connsiteY3655" fmla="*/ 6972763 h 7458372"/>
              <a:gd name="connsiteX3656" fmla="*/ 2669105 w 10505529"/>
              <a:gd name="connsiteY3656" fmla="*/ 6982082 h 7458372"/>
              <a:gd name="connsiteX3657" fmla="*/ 2671368 w 10505529"/>
              <a:gd name="connsiteY3657" fmla="*/ 6993529 h 7458372"/>
              <a:gd name="connsiteX3658" fmla="*/ 2669105 w 10505529"/>
              <a:gd name="connsiteY3658" fmla="*/ 7005245 h 7458372"/>
              <a:gd name="connsiteX3659" fmla="*/ 2662982 w 10505529"/>
              <a:gd name="connsiteY3659" fmla="*/ 7014563 h 7458372"/>
              <a:gd name="connsiteX3660" fmla="*/ 2653664 w 10505529"/>
              <a:gd name="connsiteY3660" fmla="*/ 7020819 h 7458372"/>
              <a:gd name="connsiteX3661" fmla="*/ 2641949 w 10505529"/>
              <a:gd name="connsiteY3661" fmla="*/ 7023082 h 7458372"/>
              <a:gd name="connsiteX3662" fmla="*/ 2620114 w 10505529"/>
              <a:gd name="connsiteY3662" fmla="*/ 7014563 h 7458372"/>
              <a:gd name="connsiteX3663" fmla="*/ 2611724 w 10505529"/>
              <a:gd name="connsiteY3663" fmla="*/ 6993396 h 7458372"/>
              <a:gd name="connsiteX3664" fmla="*/ 2620114 w 10505529"/>
              <a:gd name="connsiteY3664" fmla="*/ 6972364 h 7458372"/>
              <a:gd name="connsiteX3665" fmla="*/ 2641949 w 10505529"/>
              <a:gd name="connsiteY3665" fmla="*/ 6963844 h 7458372"/>
              <a:gd name="connsiteX3666" fmla="*/ 2424283 w 10505529"/>
              <a:gd name="connsiteY3666" fmla="*/ 6963844 h 7458372"/>
              <a:gd name="connsiteX3667" fmla="*/ 2435999 w 10505529"/>
              <a:gd name="connsiteY3667" fmla="*/ 6966373 h 7458372"/>
              <a:gd name="connsiteX3668" fmla="*/ 2445317 w 10505529"/>
              <a:gd name="connsiteY3668" fmla="*/ 6972763 h 7458372"/>
              <a:gd name="connsiteX3669" fmla="*/ 2451440 w 10505529"/>
              <a:gd name="connsiteY3669" fmla="*/ 6982082 h 7458372"/>
              <a:gd name="connsiteX3670" fmla="*/ 2453703 w 10505529"/>
              <a:gd name="connsiteY3670" fmla="*/ 6993529 h 7458372"/>
              <a:gd name="connsiteX3671" fmla="*/ 2451440 w 10505529"/>
              <a:gd name="connsiteY3671" fmla="*/ 7005245 h 7458372"/>
              <a:gd name="connsiteX3672" fmla="*/ 2445317 w 10505529"/>
              <a:gd name="connsiteY3672" fmla="*/ 7014563 h 7458372"/>
              <a:gd name="connsiteX3673" fmla="*/ 2435999 w 10505529"/>
              <a:gd name="connsiteY3673" fmla="*/ 7020819 h 7458372"/>
              <a:gd name="connsiteX3674" fmla="*/ 2424283 w 10505529"/>
              <a:gd name="connsiteY3674" fmla="*/ 7023082 h 7458372"/>
              <a:gd name="connsiteX3675" fmla="*/ 2402451 w 10505529"/>
              <a:gd name="connsiteY3675" fmla="*/ 7014563 h 7458372"/>
              <a:gd name="connsiteX3676" fmla="*/ 2394061 w 10505529"/>
              <a:gd name="connsiteY3676" fmla="*/ 6993396 h 7458372"/>
              <a:gd name="connsiteX3677" fmla="*/ 2402451 w 10505529"/>
              <a:gd name="connsiteY3677" fmla="*/ 6972364 h 7458372"/>
              <a:gd name="connsiteX3678" fmla="*/ 2424283 w 10505529"/>
              <a:gd name="connsiteY3678" fmla="*/ 6963844 h 7458372"/>
              <a:gd name="connsiteX3679" fmla="*/ 2206619 w 10505529"/>
              <a:gd name="connsiteY3679" fmla="*/ 6963844 h 7458372"/>
              <a:gd name="connsiteX3680" fmla="*/ 2218334 w 10505529"/>
              <a:gd name="connsiteY3680" fmla="*/ 6966373 h 7458372"/>
              <a:gd name="connsiteX3681" fmla="*/ 2227652 w 10505529"/>
              <a:gd name="connsiteY3681" fmla="*/ 6972763 h 7458372"/>
              <a:gd name="connsiteX3682" fmla="*/ 2233775 w 10505529"/>
              <a:gd name="connsiteY3682" fmla="*/ 6982082 h 7458372"/>
              <a:gd name="connsiteX3683" fmla="*/ 2236038 w 10505529"/>
              <a:gd name="connsiteY3683" fmla="*/ 6993529 h 7458372"/>
              <a:gd name="connsiteX3684" fmla="*/ 2233775 w 10505529"/>
              <a:gd name="connsiteY3684" fmla="*/ 7005245 h 7458372"/>
              <a:gd name="connsiteX3685" fmla="*/ 2227652 w 10505529"/>
              <a:gd name="connsiteY3685" fmla="*/ 7014563 h 7458372"/>
              <a:gd name="connsiteX3686" fmla="*/ 2218334 w 10505529"/>
              <a:gd name="connsiteY3686" fmla="*/ 7020819 h 7458372"/>
              <a:gd name="connsiteX3687" fmla="*/ 2206619 w 10505529"/>
              <a:gd name="connsiteY3687" fmla="*/ 7023082 h 7458372"/>
              <a:gd name="connsiteX3688" fmla="*/ 2184785 w 10505529"/>
              <a:gd name="connsiteY3688" fmla="*/ 7014563 h 7458372"/>
              <a:gd name="connsiteX3689" fmla="*/ 2176397 w 10505529"/>
              <a:gd name="connsiteY3689" fmla="*/ 6993396 h 7458372"/>
              <a:gd name="connsiteX3690" fmla="*/ 2184785 w 10505529"/>
              <a:gd name="connsiteY3690" fmla="*/ 6972364 h 7458372"/>
              <a:gd name="connsiteX3691" fmla="*/ 2206619 w 10505529"/>
              <a:gd name="connsiteY3691" fmla="*/ 6963844 h 7458372"/>
              <a:gd name="connsiteX3692" fmla="*/ 1989086 w 10505529"/>
              <a:gd name="connsiteY3692" fmla="*/ 6963844 h 7458372"/>
              <a:gd name="connsiteX3693" fmla="*/ 2000802 w 10505529"/>
              <a:gd name="connsiteY3693" fmla="*/ 6966373 h 7458372"/>
              <a:gd name="connsiteX3694" fmla="*/ 2010120 w 10505529"/>
              <a:gd name="connsiteY3694" fmla="*/ 6972763 h 7458372"/>
              <a:gd name="connsiteX3695" fmla="*/ 2016243 w 10505529"/>
              <a:gd name="connsiteY3695" fmla="*/ 6982082 h 7458372"/>
              <a:gd name="connsiteX3696" fmla="*/ 2018506 w 10505529"/>
              <a:gd name="connsiteY3696" fmla="*/ 6993529 h 7458372"/>
              <a:gd name="connsiteX3697" fmla="*/ 2016243 w 10505529"/>
              <a:gd name="connsiteY3697" fmla="*/ 7005245 h 7458372"/>
              <a:gd name="connsiteX3698" fmla="*/ 2010120 w 10505529"/>
              <a:gd name="connsiteY3698" fmla="*/ 7014563 h 7458372"/>
              <a:gd name="connsiteX3699" fmla="*/ 2000802 w 10505529"/>
              <a:gd name="connsiteY3699" fmla="*/ 7020819 h 7458372"/>
              <a:gd name="connsiteX3700" fmla="*/ 1989086 w 10505529"/>
              <a:gd name="connsiteY3700" fmla="*/ 7023082 h 7458372"/>
              <a:gd name="connsiteX3701" fmla="*/ 1967255 w 10505529"/>
              <a:gd name="connsiteY3701" fmla="*/ 7014563 h 7458372"/>
              <a:gd name="connsiteX3702" fmla="*/ 1958869 w 10505529"/>
              <a:gd name="connsiteY3702" fmla="*/ 6993396 h 7458372"/>
              <a:gd name="connsiteX3703" fmla="*/ 1967255 w 10505529"/>
              <a:gd name="connsiteY3703" fmla="*/ 6972364 h 7458372"/>
              <a:gd name="connsiteX3704" fmla="*/ 1989086 w 10505529"/>
              <a:gd name="connsiteY3704" fmla="*/ 6963844 h 7458372"/>
              <a:gd name="connsiteX3705" fmla="*/ 1771456 w 10505529"/>
              <a:gd name="connsiteY3705" fmla="*/ 6963844 h 7458372"/>
              <a:gd name="connsiteX3706" fmla="*/ 1783169 w 10505529"/>
              <a:gd name="connsiteY3706" fmla="*/ 6966373 h 7458372"/>
              <a:gd name="connsiteX3707" fmla="*/ 1792487 w 10505529"/>
              <a:gd name="connsiteY3707" fmla="*/ 6972763 h 7458372"/>
              <a:gd name="connsiteX3708" fmla="*/ 1798610 w 10505529"/>
              <a:gd name="connsiteY3708" fmla="*/ 6982082 h 7458372"/>
              <a:gd name="connsiteX3709" fmla="*/ 1800872 w 10505529"/>
              <a:gd name="connsiteY3709" fmla="*/ 6993529 h 7458372"/>
              <a:gd name="connsiteX3710" fmla="*/ 1798610 w 10505529"/>
              <a:gd name="connsiteY3710" fmla="*/ 7005245 h 7458372"/>
              <a:gd name="connsiteX3711" fmla="*/ 1792487 w 10505529"/>
              <a:gd name="connsiteY3711" fmla="*/ 7014563 h 7458372"/>
              <a:gd name="connsiteX3712" fmla="*/ 1783169 w 10505529"/>
              <a:gd name="connsiteY3712" fmla="*/ 7020819 h 7458372"/>
              <a:gd name="connsiteX3713" fmla="*/ 1771456 w 10505529"/>
              <a:gd name="connsiteY3713" fmla="*/ 7023082 h 7458372"/>
              <a:gd name="connsiteX3714" fmla="*/ 1749627 w 10505529"/>
              <a:gd name="connsiteY3714" fmla="*/ 7014563 h 7458372"/>
              <a:gd name="connsiteX3715" fmla="*/ 1741244 w 10505529"/>
              <a:gd name="connsiteY3715" fmla="*/ 6993396 h 7458372"/>
              <a:gd name="connsiteX3716" fmla="*/ 1749627 w 10505529"/>
              <a:gd name="connsiteY3716" fmla="*/ 6972364 h 7458372"/>
              <a:gd name="connsiteX3717" fmla="*/ 1771456 w 10505529"/>
              <a:gd name="connsiteY3717" fmla="*/ 6963844 h 7458372"/>
              <a:gd name="connsiteX3718" fmla="*/ 1553820 w 10505529"/>
              <a:gd name="connsiteY3718" fmla="*/ 6963844 h 7458372"/>
              <a:gd name="connsiteX3719" fmla="*/ 1565535 w 10505529"/>
              <a:gd name="connsiteY3719" fmla="*/ 6966373 h 7458372"/>
              <a:gd name="connsiteX3720" fmla="*/ 1574854 w 10505529"/>
              <a:gd name="connsiteY3720" fmla="*/ 6972763 h 7458372"/>
              <a:gd name="connsiteX3721" fmla="*/ 1580976 w 10505529"/>
              <a:gd name="connsiteY3721" fmla="*/ 6982082 h 7458372"/>
              <a:gd name="connsiteX3722" fmla="*/ 1583239 w 10505529"/>
              <a:gd name="connsiteY3722" fmla="*/ 6993529 h 7458372"/>
              <a:gd name="connsiteX3723" fmla="*/ 1580976 w 10505529"/>
              <a:gd name="connsiteY3723" fmla="*/ 7005245 h 7458372"/>
              <a:gd name="connsiteX3724" fmla="*/ 1574854 w 10505529"/>
              <a:gd name="connsiteY3724" fmla="*/ 7014563 h 7458372"/>
              <a:gd name="connsiteX3725" fmla="*/ 1565535 w 10505529"/>
              <a:gd name="connsiteY3725" fmla="*/ 7020819 h 7458372"/>
              <a:gd name="connsiteX3726" fmla="*/ 1553820 w 10505529"/>
              <a:gd name="connsiteY3726" fmla="*/ 7023082 h 7458372"/>
              <a:gd name="connsiteX3727" fmla="*/ 1531992 w 10505529"/>
              <a:gd name="connsiteY3727" fmla="*/ 7014563 h 7458372"/>
              <a:gd name="connsiteX3728" fmla="*/ 1523606 w 10505529"/>
              <a:gd name="connsiteY3728" fmla="*/ 6993396 h 7458372"/>
              <a:gd name="connsiteX3729" fmla="*/ 1531992 w 10505529"/>
              <a:gd name="connsiteY3729" fmla="*/ 6972364 h 7458372"/>
              <a:gd name="connsiteX3730" fmla="*/ 1553820 w 10505529"/>
              <a:gd name="connsiteY3730" fmla="*/ 6963844 h 7458372"/>
              <a:gd name="connsiteX3731" fmla="*/ 1336178 w 10505529"/>
              <a:gd name="connsiteY3731" fmla="*/ 6963844 h 7458372"/>
              <a:gd name="connsiteX3732" fmla="*/ 1347893 w 10505529"/>
              <a:gd name="connsiteY3732" fmla="*/ 6966373 h 7458372"/>
              <a:gd name="connsiteX3733" fmla="*/ 1357211 w 10505529"/>
              <a:gd name="connsiteY3733" fmla="*/ 6972763 h 7458372"/>
              <a:gd name="connsiteX3734" fmla="*/ 1363334 w 10505529"/>
              <a:gd name="connsiteY3734" fmla="*/ 6982082 h 7458372"/>
              <a:gd name="connsiteX3735" fmla="*/ 1365596 w 10505529"/>
              <a:gd name="connsiteY3735" fmla="*/ 6993529 h 7458372"/>
              <a:gd name="connsiteX3736" fmla="*/ 1363334 w 10505529"/>
              <a:gd name="connsiteY3736" fmla="*/ 7005245 h 7458372"/>
              <a:gd name="connsiteX3737" fmla="*/ 1357211 w 10505529"/>
              <a:gd name="connsiteY3737" fmla="*/ 7014563 h 7458372"/>
              <a:gd name="connsiteX3738" fmla="*/ 1347893 w 10505529"/>
              <a:gd name="connsiteY3738" fmla="*/ 7020819 h 7458372"/>
              <a:gd name="connsiteX3739" fmla="*/ 1336178 w 10505529"/>
              <a:gd name="connsiteY3739" fmla="*/ 7023082 h 7458372"/>
              <a:gd name="connsiteX3740" fmla="*/ 1314344 w 10505529"/>
              <a:gd name="connsiteY3740" fmla="*/ 7014563 h 7458372"/>
              <a:gd name="connsiteX3741" fmla="*/ 1305959 w 10505529"/>
              <a:gd name="connsiteY3741" fmla="*/ 6993396 h 7458372"/>
              <a:gd name="connsiteX3742" fmla="*/ 1314344 w 10505529"/>
              <a:gd name="connsiteY3742" fmla="*/ 6972364 h 7458372"/>
              <a:gd name="connsiteX3743" fmla="*/ 1336178 w 10505529"/>
              <a:gd name="connsiteY3743" fmla="*/ 6963844 h 7458372"/>
              <a:gd name="connsiteX3744" fmla="*/ 1118532 w 10505529"/>
              <a:gd name="connsiteY3744" fmla="*/ 6963844 h 7458372"/>
              <a:gd name="connsiteX3745" fmla="*/ 1130251 w 10505529"/>
              <a:gd name="connsiteY3745" fmla="*/ 6966373 h 7458372"/>
              <a:gd name="connsiteX3746" fmla="*/ 1139565 w 10505529"/>
              <a:gd name="connsiteY3746" fmla="*/ 6972763 h 7458372"/>
              <a:gd name="connsiteX3747" fmla="*/ 1145684 w 10505529"/>
              <a:gd name="connsiteY3747" fmla="*/ 6982082 h 7458372"/>
              <a:gd name="connsiteX3748" fmla="*/ 1147947 w 10505529"/>
              <a:gd name="connsiteY3748" fmla="*/ 6993529 h 7458372"/>
              <a:gd name="connsiteX3749" fmla="*/ 1145684 w 10505529"/>
              <a:gd name="connsiteY3749" fmla="*/ 7005245 h 7458372"/>
              <a:gd name="connsiteX3750" fmla="*/ 1139565 w 10505529"/>
              <a:gd name="connsiteY3750" fmla="*/ 7014563 h 7458372"/>
              <a:gd name="connsiteX3751" fmla="*/ 1130251 w 10505529"/>
              <a:gd name="connsiteY3751" fmla="*/ 7020819 h 7458372"/>
              <a:gd name="connsiteX3752" fmla="*/ 1118532 w 10505529"/>
              <a:gd name="connsiteY3752" fmla="*/ 7023082 h 7458372"/>
              <a:gd name="connsiteX3753" fmla="*/ 1096696 w 10505529"/>
              <a:gd name="connsiteY3753" fmla="*/ 7014563 h 7458372"/>
              <a:gd name="connsiteX3754" fmla="*/ 1088312 w 10505529"/>
              <a:gd name="connsiteY3754" fmla="*/ 6993396 h 7458372"/>
              <a:gd name="connsiteX3755" fmla="*/ 1096696 w 10505529"/>
              <a:gd name="connsiteY3755" fmla="*/ 6972364 h 7458372"/>
              <a:gd name="connsiteX3756" fmla="*/ 1118532 w 10505529"/>
              <a:gd name="connsiteY3756" fmla="*/ 6963844 h 7458372"/>
              <a:gd name="connsiteX3757" fmla="*/ 901018 w 10505529"/>
              <a:gd name="connsiteY3757" fmla="*/ 6963844 h 7458372"/>
              <a:gd name="connsiteX3758" fmla="*/ 912734 w 10505529"/>
              <a:gd name="connsiteY3758" fmla="*/ 6966373 h 7458372"/>
              <a:gd name="connsiteX3759" fmla="*/ 922052 w 10505529"/>
              <a:gd name="connsiteY3759" fmla="*/ 6972763 h 7458372"/>
              <a:gd name="connsiteX3760" fmla="*/ 928174 w 10505529"/>
              <a:gd name="connsiteY3760" fmla="*/ 6982082 h 7458372"/>
              <a:gd name="connsiteX3761" fmla="*/ 930437 w 10505529"/>
              <a:gd name="connsiteY3761" fmla="*/ 6993529 h 7458372"/>
              <a:gd name="connsiteX3762" fmla="*/ 928174 w 10505529"/>
              <a:gd name="connsiteY3762" fmla="*/ 7005245 h 7458372"/>
              <a:gd name="connsiteX3763" fmla="*/ 922052 w 10505529"/>
              <a:gd name="connsiteY3763" fmla="*/ 7014563 h 7458372"/>
              <a:gd name="connsiteX3764" fmla="*/ 912734 w 10505529"/>
              <a:gd name="connsiteY3764" fmla="*/ 7020819 h 7458372"/>
              <a:gd name="connsiteX3765" fmla="*/ 901018 w 10505529"/>
              <a:gd name="connsiteY3765" fmla="*/ 7023082 h 7458372"/>
              <a:gd name="connsiteX3766" fmla="*/ 879188 w 10505529"/>
              <a:gd name="connsiteY3766" fmla="*/ 7014563 h 7458372"/>
              <a:gd name="connsiteX3767" fmla="*/ 870803 w 10505529"/>
              <a:gd name="connsiteY3767" fmla="*/ 6993396 h 7458372"/>
              <a:gd name="connsiteX3768" fmla="*/ 879188 w 10505529"/>
              <a:gd name="connsiteY3768" fmla="*/ 6972364 h 7458372"/>
              <a:gd name="connsiteX3769" fmla="*/ 901018 w 10505529"/>
              <a:gd name="connsiteY3769" fmla="*/ 6963844 h 7458372"/>
              <a:gd name="connsiteX3770" fmla="*/ 683380 w 10505529"/>
              <a:gd name="connsiteY3770" fmla="*/ 6963844 h 7458372"/>
              <a:gd name="connsiteX3771" fmla="*/ 695095 w 10505529"/>
              <a:gd name="connsiteY3771" fmla="*/ 6966373 h 7458372"/>
              <a:gd name="connsiteX3772" fmla="*/ 704411 w 10505529"/>
              <a:gd name="connsiteY3772" fmla="*/ 6972763 h 7458372"/>
              <a:gd name="connsiteX3773" fmla="*/ 710535 w 10505529"/>
              <a:gd name="connsiteY3773" fmla="*/ 6982082 h 7458372"/>
              <a:gd name="connsiteX3774" fmla="*/ 712798 w 10505529"/>
              <a:gd name="connsiteY3774" fmla="*/ 6993529 h 7458372"/>
              <a:gd name="connsiteX3775" fmla="*/ 710535 w 10505529"/>
              <a:gd name="connsiteY3775" fmla="*/ 7005245 h 7458372"/>
              <a:gd name="connsiteX3776" fmla="*/ 704411 w 10505529"/>
              <a:gd name="connsiteY3776" fmla="*/ 7014563 h 7458372"/>
              <a:gd name="connsiteX3777" fmla="*/ 695095 w 10505529"/>
              <a:gd name="connsiteY3777" fmla="*/ 7020819 h 7458372"/>
              <a:gd name="connsiteX3778" fmla="*/ 683380 w 10505529"/>
              <a:gd name="connsiteY3778" fmla="*/ 7023082 h 7458372"/>
              <a:gd name="connsiteX3779" fmla="*/ 661548 w 10505529"/>
              <a:gd name="connsiteY3779" fmla="*/ 7014563 h 7458372"/>
              <a:gd name="connsiteX3780" fmla="*/ 653162 w 10505529"/>
              <a:gd name="connsiteY3780" fmla="*/ 6993396 h 7458372"/>
              <a:gd name="connsiteX3781" fmla="*/ 661548 w 10505529"/>
              <a:gd name="connsiteY3781" fmla="*/ 6972364 h 7458372"/>
              <a:gd name="connsiteX3782" fmla="*/ 683380 w 10505529"/>
              <a:gd name="connsiteY3782" fmla="*/ 6963844 h 7458372"/>
              <a:gd name="connsiteX3783" fmla="*/ 465739 w 10505529"/>
              <a:gd name="connsiteY3783" fmla="*/ 6963844 h 7458372"/>
              <a:gd name="connsiteX3784" fmla="*/ 477454 w 10505529"/>
              <a:gd name="connsiteY3784" fmla="*/ 6966373 h 7458372"/>
              <a:gd name="connsiteX3785" fmla="*/ 486772 w 10505529"/>
              <a:gd name="connsiteY3785" fmla="*/ 6972763 h 7458372"/>
              <a:gd name="connsiteX3786" fmla="*/ 492894 w 10505529"/>
              <a:gd name="connsiteY3786" fmla="*/ 6982082 h 7458372"/>
              <a:gd name="connsiteX3787" fmla="*/ 495157 w 10505529"/>
              <a:gd name="connsiteY3787" fmla="*/ 6993529 h 7458372"/>
              <a:gd name="connsiteX3788" fmla="*/ 492894 w 10505529"/>
              <a:gd name="connsiteY3788" fmla="*/ 7005245 h 7458372"/>
              <a:gd name="connsiteX3789" fmla="*/ 486772 w 10505529"/>
              <a:gd name="connsiteY3789" fmla="*/ 7014563 h 7458372"/>
              <a:gd name="connsiteX3790" fmla="*/ 477454 w 10505529"/>
              <a:gd name="connsiteY3790" fmla="*/ 7020819 h 7458372"/>
              <a:gd name="connsiteX3791" fmla="*/ 465739 w 10505529"/>
              <a:gd name="connsiteY3791" fmla="*/ 7023082 h 7458372"/>
              <a:gd name="connsiteX3792" fmla="*/ 443908 w 10505529"/>
              <a:gd name="connsiteY3792" fmla="*/ 7014563 h 7458372"/>
              <a:gd name="connsiteX3793" fmla="*/ 435522 w 10505529"/>
              <a:gd name="connsiteY3793" fmla="*/ 6993396 h 7458372"/>
              <a:gd name="connsiteX3794" fmla="*/ 443908 w 10505529"/>
              <a:gd name="connsiteY3794" fmla="*/ 6972364 h 7458372"/>
              <a:gd name="connsiteX3795" fmla="*/ 465739 w 10505529"/>
              <a:gd name="connsiteY3795" fmla="*/ 6963844 h 7458372"/>
              <a:gd name="connsiteX3796" fmla="*/ 248098 w 10505529"/>
              <a:gd name="connsiteY3796" fmla="*/ 6963844 h 7458372"/>
              <a:gd name="connsiteX3797" fmla="*/ 259813 w 10505529"/>
              <a:gd name="connsiteY3797" fmla="*/ 6966373 h 7458372"/>
              <a:gd name="connsiteX3798" fmla="*/ 269131 w 10505529"/>
              <a:gd name="connsiteY3798" fmla="*/ 6972763 h 7458372"/>
              <a:gd name="connsiteX3799" fmla="*/ 275254 w 10505529"/>
              <a:gd name="connsiteY3799" fmla="*/ 6982082 h 7458372"/>
              <a:gd name="connsiteX3800" fmla="*/ 277517 w 10505529"/>
              <a:gd name="connsiteY3800" fmla="*/ 6993529 h 7458372"/>
              <a:gd name="connsiteX3801" fmla="*/ 275254 w 10505529"/>
              <a:gd name="connsiteY3801" fmla="*/ 7005245 h 7458372"/>
              <a:gd name="connsiteX3802" fmla="*/ 269131 w 10505529"/>
              <a:gd name="connsiteY3802" fmla="*/ 7014563 h 7458372"/>
              <a:gd name="connsiteX3803" fmla="*/ 259813 w 10505529"/>
              <a:gd name="connsiteY3803" fmla="*/ 7020819 h 7458372"/>
              <a:gd name="connsiteX3804" fmla="*/ 248098 w 10505529"/>
              <a:gd name="connsiteY3804" fmla="*/ 7023082 h 7458372"/>
              <a:gd name="connsiteX3805" fmla="*/ 226269 w 10505529"/>
              <a:gd name="connsiteY3805" fmla="*/ 7014563 h 7458372"/>
              <a:gd name="connsiteX3806" fmla="*/ 217884 w 10505529"/>
              <a:gd name="connsiteY3806" fmla="*/ 6993396 h 7458372"/>
              <a:gd name="connsiteX3807" fmla="*/ 226269 w 10505529"/>
              <a:gd name="connsiteY3807" fmla="*/ 6972364 h 7458372"/>
              <a:gd name="connsiteX3808" fmla="*/ 248098 w 10505529"/>
              <a:gd name="connsiteY3808" fmla="*/ 6963844 h 7458372"/>
              <a:gd name="connsiteX3809" fmla="*/ 30458 w 10505529"/>
              <a:gd name="connsiteY3809" fmla="*/ 6963844 h 7458372"/>
              <a:gd name="connsiteX3810" fmla="*/ 42173 w 10505529"/>
              <a:gd name="connsiteY3810" fmla="*/ 6966373 h 7458372"/>
              <a:gd name="connsiteX3811" fmla="*/ 51491 w 10505529"/>
              <a:gd name="connsiteY3811" fmla="*/ 6972763 h 7458372"/>
              <a:gd name="connsiteX3812" fmla="*/ 57614 w 10505529"/>
              <a:gd name="connsiteY3812" fmla="*/ 6982082 h 7458372"/>
              <a:gd name="connsiteX3813" fmla="*/ 59877 w 10505529"/>
              <a:gd name="connsiteY3813" fmla="*/ 6993529 h 7458372"/>
              <a:gd name="connsiteX3814" fmla="*/ 57614 w 10505529"/>
              <a:gd name="connsiteY3814" fmla="*/ 7005245 h 7458372"/>
              <a:gd name="connsiteX3815" fmla="*/ 51491 w 10505529"/>
              <a:gd name="connsiteY3815" fmla="*/ 7014563 h 7458372"/>
              <a:gd name="connsiteX3816" fmla="*/ 42173 w 10505529"/>
              <a:gd name="connsiteY3816" fmla="*/ 7020819 h 7458372"/>
              <a:gd name="connsiteX3817" fmla="*/ 30458 w 10505529"/>
              <a:gd name="connsiteY3817" fmla="*/ 7023082 h 7458372"/>
              <a:gd name="connsiteX3818" fmla="*/ 8631 w 10505529"/>
              <a:gd name="connsiteY3818" fmla="*/ 7014563 h 7458372"/>
              <a:gd name="connsiteX3819" fmla="*/ 245 w 10505529"/>
              <a:gd name="connsiteY3819" fmla="*/ 6993396 h 7458372"/>
              <a:gd name="connsiteX3820" fmla="*/ 8631 w 10505529"/>
              <a:gd name="connsiteY3820" fmla="*/ 6972364 h 7458372"/>
              <a:gd name="connsiteX3821" fmla="*/ 30458 w 10505529"/>
              <a:gd name="connsiteY3821" fmla="*/ 6963844 h 7458372"/>
              <a:gd name="connsiteX3822" fmla="*/ 10475977 w 10505529"/>
              <a:gd name="connsiteY3822" fmla="*/ 6762839 h 7458372"/>
              <a:gd name="connsiteX3823" fmla="*/ 10465992 w 10505529"/>
              <a:gd name="connsiteY3823" fmla="*/ 6766433 h 7458372"/>
              <a:gd name="connsiteX3824" fmla="*/ 10462399 w 10505529"/>
              <a:gd name="connsiteY3824" fmla="*/ 6775884 h 7458372"/>
              <a:gd name="connsiteX3825" fmla="*/ 10465992 w 10505529"/>
              <a:gd name="connsiteY3825" fmla="*/ 6785335 h 7458372"/>
              <a:gd name="connsiteX3826" fmla="*/ 10475977 w 10505529"/>
              <a:gd name="connsiteY3826" fmla="*/ 6788797 h 7458372"/>
              <a:gd name="connsiteX3827" fmla="*/ 10481302 w 10505529"/>
              <a:gd name="connsiteY3827" fmla="*/ 6787865 h 7458372"/>
              <a:gd name="connsiteX3828" fmla="*/ 10485029 w 10505529"/>
              <a:gd name="connsiteY3828" fmla="*/ 6785468 h 7458372"/>
              <a:gd name="connsiteX3829" fmla="*/ 10487691 w 10505529"/>
              <a:gd name="connsiteY3829" fmla="*/ 6781209 h 7458372"/>
              <a:gd name="connsiteX3830" fmla="*/ 10488623 w 10505529"/>
              <a:gd name="connsiteY3830" fmla="*/ 6775751 h 7458372"/>
              <a:gd name="connsiteX3831" fmla="*/ 10487691 w 10505529"/>
              <a:gd name="connsiteY3831" fmla="*/ 6770560 h 7458372"/>
              <a:gd name="connsiteX3832" fmla="*/ 10485029 w 10505529"/>
              <a:gd name="connsiteY3832" fmla="*/ 6766433 h 7458372"/>
              <a:gd name="connsiteX3833" fmla="*/ 10481035 w 10505529"/>
              <a:gd name="connsiteY3833" fmla="*/ 6763770 h 7458372"/>
              <a:gd name="connsiteX3834" fmla="*/ 10475977 w 10505529"/>
              <a:gd name="connsiteY3834" fmla="*/ 6762839 h 7458372"/>
              <a:gd name="connsiteX3835" fmla="*/ 10258466 w 10505529"/>
              <a:gd name="connsiteY3835" fmla="*/ 6762839 h 7458372"/>
              <a:gd name="connsiteX3836" fmla="*/ 10248481 w 10505529"/>
              <a:gd name="connsiteY3836" fmla="*/ 6766433 h 7458372"/>
              <a:gd name="connsiteX3837" fmla="*/ 10244887 w 10505529"/>
              <a:gd name="connsiteY3837" fmla="*/ 6775884 h 7458372"/>
              <a:gd name="connsiteX3838" fmla="*/ 10248481 w 10505529"/>
              <a:gd name="connsiteY3838" fmla="*/ 6785335 h 7458372"/>
              <a:gd name="connsiteX3839" fmla="*/ 10258466 w 10505529"/>
              <a:gd name="connsiteY3839" fmla="*/ 6788797 h 7458372"/>
              <a:gd name="connsiteX3840" fmla="*/ 10263790 w 10505529"/>
              <a:gd name="connsiteY3840" fmla="*/ 6787865 h 7458372"/>
              <a:gd name="connsiteX3841" fmla="*/ 10267517 w 10505529"/>
              <a:gd name="connsiteY3841" fmla="*/ 6785468 h 7458372"/>
              <a:gd name="connsiteX3842" fmla="*/ 10270180 w 10505529"/>
              <a:gd name="connsiteY3842" fmla="*/ 6781209 h 7458372"/>
              <a:gd name="connsiteX3843" fmla="*/ 10271112 w 10505529"/>
              <a:gd name="connsiteY3843" fmla="*/ 6775751 h 7458372"/>
              <a:gd name="connsiteX3844" fmla="*/ 10270180 w 10505529"/>
              <a:gd name="connsiteY3844" fmla="*/ 6770560 h 7458372"/>
              <a:gd name="connsiteX3845" fmla="*/ 10267517 w 10505529"/>
              <a:gd name="connsiteY3845" fmla="*/ 6766433 h 7458372"/>
              <a:gd name="connsiteX3846" fmla="*/ 10263524 w 10505529"/>
              <a:gd name="connsiteY3846" fmla="*/ 6763770 h 7458372"/>
              <a:gd name="connsiteX3847" fmla="*/ 10258466 w 10505529"/>
              <a:gd name="connsiteY3847" fmla="*/ 6762839 h 7458372"/>
              <a:gd name="connsiteX3848" fmla="*/ 10040820 w 10505529"/>
              <a:gd name="connsiteY3848" fmla="*/ 6762839 h 7458372"/>
              <a:gd name="connsiteX3849" fmla="*/ 10030835 w 10505529"/>
              <a:gd name="connsiteY3849" fmla="*/ 6766433 h 7458372"/>
              <a:gd name="connsiteX3850" fmla="*/ 10027242 w 10505529"/>
              <a:gd name="connsiteY3850" fmla="*/ 6775884 h 7458372"/>
              <a:gd name="connsiteX3851" fmla="*/ 10030835 w 10505529"/>
              <a:gd name="connsiteY3851" fmla="*/ 6785335 h 7458372"/>
              <a:gd name="connsiteX3852" fmla="*/ 10040820 w 10505529"/>
              <a:gd name="connsiteY3852" fmla="*/ 6788797 h 7458372"/>
              <a:gd name="connsiteX3853" fmla="*/ 10046145 w 10505529"/>
              <a:gd name="connsiteY3853" fmla="*/ 6787865 h 7458372"/>
              <a:gd name="connsiteX3854" fmla="*/ 10049872 w 10505529"/>
              <a:gd name="connsiteY3854" fmla="*/ 6785468 h 7458372"/>
              <a:gd name="connsiteX3855" fmla="*/ 10052534 w 10505529"/>
              <a:gd name="connsiteY3855" fmla="*/ 6781209 h 7458372"/>
              <a:gd name="connsiteX3856" fmla="*/ 10053599 w 10505529"/>
              <a:gd name="connsiteY3856" fmla="*/ 6775751 h 7458372"/>
              <a:gd name="connsiteX3857" fmla="*/ 10052534 w 10505529"/>
              <a:gd name="connsiteY3857" fmla="*/ 6770560 h 7458372"/>
              <a:gd name="connsiteX3858" fmla="*/ 10049872 w 10505529"/>
              <a:gd name="connsiteY3858" fmla="*/ 6766433 h 7458372"/>
              <a:gd name="connsiteX3859" fmla="*/ 10045878 w 10505529"/>
              <a:gd name="connsiteY3859" fmla="*/ 6763770 h 7458372"/>
              <a:gd name="connsiteX3860" fmla="*/ 10040820 w 10505529"/>
              <a:gd name="connsiteY3860" fmla="*/ 6762839 h 7458372"/>
              <a:gd name="connsiteX3861" fmla="*/ 9823176 w 10505529"/>
              <a:gd name="connsiteY3861" fmla="*/ 6762839 h 7458372"/>
              <a:gd name="connsiteX3862" fmla="*/ 9813191 w 10505529"/>
              <a:gd name="connsiteY3862" fmla="*/ 6766433 h 7458372"/>
              <a:gd name="connsiteX3863" fmla="*/ 9809597 w 10505529"/>
              <a:gd name="connsiteY3863" fmla="*/ 6775884 h 7458372"/>
              <a:gd name="connsiteX3864" fmla="*/ 9813191 w 10505529"/>
              <a:gd name="connsiteY3864" fmla="*/ 6785335 h 7458372"/>
              <a:gd name="connsiteX3865" fmla="*/ 9823176 w 10505529"/>
              <a:gd name="connsiteY3865" fmla="*/ 6788797 h 7458372"/>
              <a:gd name="connsiteX3866" fmla="*/ 9828501 w 10505529"/>
              <a:gd name="connsiteY3866" fmla="*/ 6787865 h 7458372"/>
              <a:gd name="connsiteX3867" fmla="*/ 9832227 w 10505529"/>
              <a:gd name="connsiteY3867" fmla="*/ 6785468 h 7458372"/>
              <a:gd name="connsiteX3868" fmla="*/ 9834890 w 10505529"/>
              <a:gd name="connsiteY3868" fmla="*/ 6781209 h 7458372"/>
              <a:gd name="connsiteX3869" fmla="*/ 9835955 w 10505529"/>
              <a:gd name="connsiteY3869" fmla="*/ 6775751 h 7458372"/>
              <a:gd name="connsiteX3870" fmla="*/ 9834890 w 10505529"/>
              <a:gd name="connsiteY3870" fmla="*/ 6770560 h 7458372"/>
              <a:gd name="connsiteX3871" fmla="*/ 9832227 w 10505529"/>
              <a:gd name="connsiteY3871" fmla="*/ 6766433 h 7458372"/>
              <a:gd name="connsiteX3872" fmla="*/ 9828234 w 10505529"/>
              <a:gd name="connsiteY3872" fmla="*/ 6763770 h 7458372"/>
              <a:gd name="connsiteX3873" fmla="*/ 9823176 w 10505529"/>
              <a:gd name="connsiteY3873" fmla="*/ 6762839 h 7458372"/>
              <a:gd name="connsiteX3874" fmla="*/ 9605531 w 10505529"/>
              <a:gd name="connsiteY3874" fmla="*/ 6762839 h 7458372"/>
              <a:gd name="connsiteX3875" fmla="*/ 9595546 w 10505529"/>
              <a:gd name="connsiteY3875" fmla="*/ 6766433 h 7458372"/>
              <a:gd name="connsiteX3876" fmla="*/ 9591952 w 10505529"/>
              <a:gd name="connsiteY3876" fmla="*/ 6775884 h 7458372"/>
              <a:gd name="connsiteX3877" fmla="*/ 9595546 w 10505529"/>
              <a:gd name="connsiteY3877" fmla="*/ 6785335 h 7458372"/>
              <a:gd name="connsiteX3878" fmla="*/ 9605531 w 10505529"/>
              <a:gd name="connsiteY3878" fmla="*/ 6788797 h 7458372"/>
              <a:gd name="connsiteX3879" fmla="*/ 9610855 w 10505529"/>
              <a:gd name="connsiteY3879" fmla="*/ 6787865 h 7458372"/>
              <a:gd name="connsiteX3880" fmla="*/ 9614582 w 10505529"/>
              <a:gd name="connsiteY3880" fmla="*/ 6785468 h 7458372"/>
              <a:gd name="connsiteX3881" fmla="*/ 9617245 w 10505529"/>
              <a:gd name="connsiteY3881" fmla="*/ 6781209 h 7458372"/>
              <a:gd name="connsiteX3882" fmla="*/ 9618309 w 10505529"/>
              <a:gd name="connsiteY3882" fmla="*/ 6775751 h 7458372"/>
              <a:gd name="connsiteX3883" fmla="*/ 9617245 w 10505529"/>
              <a:gd name="connsiteY3883" fmla="*/ 6770560 h 7458372"/>
              <a:gd name="connsiteX3884" fmla="*/ 9614582 w 10505529"/>
              <a:gd name="connsiteY3884" fmla="*/ 6766433 h 7458372"/>
              <a:gd name="connsiteX3885" fmla="*/ 9610589 w 10505529"/>
              <a:gd name="connsiteY3885" fmla="*/ 6763770 h 7458372"/>
              <a:gd name="connsiteX3886" fmla="*/ 9605531 w 10505529"/>
              <a:gd name="connsiteY3886" fmla="*/ 6762839 h 7458372"/>
              <a:gd name="connsiteX3887" fmla="*/ 9387885 w 10505529"/>
              <a:gd name="connsiteY3887" fmla="*/ 6762839 h 7458372"/>
              <a:gd name="connsiteX3888" fmla="*/ 9377900 w 10505529"/>
              <a:gd name="connsiteY3888" fmla="*/ 6766433 h 7458372"/>
              <a:gd name="connsiteX3889" fmla="*/ 9374307 w 10505529"/>
              <a:gd name="connsiteY3889" fmla="*/ 6775884 h 7458372"/>
              <a:gd name="connsiteX3890" fmla="*/ 9377900 w 10505529"/>
              <a:gd name="connsiteY3890" fmla="*/ 6785335 h 7458372"/>
              <a:gd name="connsiteX3891" fmla="*/ 9387885 w 10505529"/>
              <a:gd name="connsiteY3891" fmla="*/ 6788797 h 7458372"/>
              <a:gd name="connsiteX3892" fmla="*/ 9393210 w 10505529"/>
              <a:gd name="connsiteY3892" fmla="*/ 6787865 h 7458372"/>
              <a:gd name="connsiteX3893" fmla="*/ 9396937 w 10505529"/>
              <a:gd name="connsiteY3893" fmla="*/ 6785468 h 7458372"/>
              <a:gd name="connsiteX3894" fmla="*/ 9399599 w 10505529"/>
              <a:gd name="connsiteY3894" fmla="*/ 6781209 h 7458372"/>
              <a:gd name="connsiteX3895" fmla="*/ 9400664 w 10505529"/>
              <a:gd name="connsiteY3895" fmla="*/ 6775751 h 7458372"/>
              <a:gd name="connsiteX3896" fmla="*/ 9399599 w 10505529"/>
              <a:gd name="connsiteY3896" fmla="*/ 6770560 h 7458372"/>
              <a:gd name="connsiteX3897" fmla="*/ 9396937 w 10505529"/>
              <a:gd name="connsiteY3897" fmla="*/ 6766433 h 7458372"/>
              <a:gd name="connsiteX3898" fmla="*/ 9392943 w 10505529"/>
              <a:gd name="connsiteY3898" fmla="*/ 6763770 h 7458372"/>
              <a:gd name="connsiteX3899" fmla="*/ 9387885 w 10505529"/>
              <a:gd name="connsiteY3899" fmla="*/ 6762839 h 7458372"/>
              <a:gd name="connsiteX3900" fmla="*/ 9170374 w 10505529"/>
              <a:gd name="connsiteY3900" fmla="*/ 6762839 h 7458372"/>
              <a:gd name="connsiteX3901" fmla="*/ 9160389 w 10505529"/>
              <a:gd name="connsiteY3901" fmla="*/ 6766433 h 7458372"/>
              <a:gd name="connsiteX3902" fmla="*/ 9156795 w 10505529"/>
              <a:gd name="connsiteY3902" fmla="*/ 6775884 h 7458372"/>
              <a:gd name="connsiteX3903" fmla="*/ 9160389 w 10505529"/>
              <a:gd name="connsiteY3903" fmla="*/ 6785335 h 7458372"/>
              <a:gd name="connsiteX3904" fmla="*/ 9170374 w 10505529"/>
              <a:gd name="connsiteY3904" fmla="*/ 6788797 h 7458372"/>
              <a:gd name="connsiteX3905" fmla="*/ 9175698 w 10505529"/>
              <a:gd name="connsiteY3905" fmla="*/ 6787865 h 7458372"/>
              <a:gd name="connsiteX3906" fmla="*/ 9179425 w 10505529"/>
              <a:gd name="connsiteY3906" fmla="*/ 6785468 h 7458372"/>
              <a:gd name="connsiteX3907" fmla="*/ 9182088 w 10505529"/>
              <a:gd name="connsiteY3907" fmla="*/ 6781209 h 7458372"/>
              <a:gd name="connsiteX3908" fmla="*/ 9183152 w 10505529"/>
              <a:gd name="connsiteY3908" fmla="*/ 6775751 h 7458372"/>
              <a:gd name="connsiteX3909" fmla="*/ 9182088 w 10505529"/>
              <a:gd name="connsiteY3909" fmla="*/ 6770560 h 7458372"/>
              <a:gd name="connsiteX3910" fmla="*/ 9179425 w 10505529"/>
              <a:gd name="connsiteY3910" fmla="*/ 6766433 h 7458372"/>
              <a:gd name="connsiteX3911" fmla="*/ 9175432 w 10505529"/>
              <a:gd name="connsiteY3911" fmla="*/ 6763770 h 7458372"/>
              <a:gd name="connsiteX3912" fmla="*/ 9170374 w 10505529"/>
              <a:gd name="connsiteY3912" fmla="*/ 6762839 h 7458372"/>
              <a:gd name="connsiteX3913" fmla="*/ 8952728 w 10505529"/>
              <a:gd name="connsiteY3913" fmla="*/ 6762839 h 7458372"/>
              <a:gd name="connsiteX3914" fmla="*/ 8942743 w 10505529"/>
              <a:gd name="connsiteY3914" fmla="*/ 6766433 h 7458372"/>
              <a:gd name="connsiteX3915" fmla="*/ 8939150 w 10505529"/>
              <a:gd name="connsiteY3915" fmla="*/ 6775884 h 7458372"/>
              <a:gd name="connsiteX3916" fmla="*/ 8942743 w 10505529"/>
              <a:gd name="connsiteY3916" fmla="*/ 6785335 h 7458372"/>
              <a:gd name="connsiteX3917" fmla="*/ 8952728 w 10505529"/>
              <a:gd name="connsiteY3917" fmla="*/ 6788797 h 7458372"/>
              <a:gd name="connsiteX3918" fmla="*/ 8958053 w 10505529"/>
              <a:gd name="connsiteY3918" fmla="*/ 6787865 h 7458372"/>
              <a:gd name="connsiteX3919" fmla="*/ 8961780 w 10505529"/>
              <a:gd name="connsiteY3919" fmla="*/ 6785468 h 7458372"/>
              <a:gd name="connsiteX3920" fmla="*/ 8964442 w 10505529"/>
              <a:gd name="connsiteY3920" fmla="*/ 6781209 h 7458372"/>
              <a:gd name="connsiteX3921" fmla="*/ 8965507 w 10505529"/>
              <a:gd name="connsiteY3921" fmla="*/ 6775751 h 7458372"/>
              <a:gd name="connsiteX3922" fmla="*/ 8964442 w 10505529"/>
              <a:gd name="connsiteY3922" fmla="*/ 6770560 h 7458372"/>
              <a:gd name="connsiteX3923" fmla="*/ 8961780 w 10505529"/>
              <a:gd name="connsiteY3923" fmla="*/ 6766433 h 7458372"/>
              <a:gd name="connsiteX3924" fmla="*/ 8957786 w 10505529"/>
              <a:gd name="connsiteY3924" fmla="*/ 6763770 h 7458372"/>
              <a:gd name="connsiteX3925" fmla="*/ 8952728 w 10505529"/>
              <a:gd name="connsiteY3925" fmla="*/ 6762839 h 7458372"/>
              <a:gd name="connsiteX3926" fmla="*/ 8735083 w 10505529"/>
              <a:gd name="connsiteY3926" fmla="*/ 6762839 h 7458372"/>
              <a:gd name="connsiteX3927" fmla="*/ 8725098 w 10505529"/>
              <a:gd name="connsiteY3927" fmla="*/ 6766433 h 7458372"/>
              <a:gd name="connsiteX3928" fmla="*/ 8721504 w 10505529"/>
              <a:gd name="connsiteY3928" fmla="*/ 6775884 h 7458372"/>
              <a:gd name="connsiteX3929" fmla="*/ 8725098 w 10505529"/>
              <a:gd name="connsiteY3929" fmla="*/ 6785335 h 7458372"/>
              <a:gd name="connsiteX3930" fmla="*/ 8735083 w 10505529"/>
              <a:gd name="connsiteY3930" fmla="*/ 6788797 h 7458372"/>
              <a:gd name="connsiteX3931" fmla="*/ 8740407 w 10505529"/>
              <a:gd name="connsiteY3931" fmla="*/ 6787865 h 7458372"/>
              <a:gd name="connsiteX3932" fmla="*/ 8744134 w 10505529"/>
              <a:gd name="connsiteY3932" fmla="*/ 6785468 h 7458372"/>
              <a:gd name="connsiteX3933" fmla="*/ 8746797 w 10505529"/>
              <a:gd name="connsiteY3933" fmla="*/ 6781209 h 7458372"/>
              <a:gd name="connsiteX3934" fmla="*/ 8747862 w 10505529"/>
              <a:gd name="connsiteY3934" fmla="*/ 6775751 h 7458372"/>
              <a:gd name="connsiteX3935" fmla="*/ 8746797 w 10505529"/>
              <a:gd name="connsiteY3935" fmla="*/ 6770560 h 7458372"/>
              <a:gd name="connsiteX3936" fmla="*/ 8744134 w 10505529"/>
              <a:gd name="connsiteY3936" fmla="*/ 6766433 h 7458372"/>
              <a:gd name="connsiteX3937" fmla="*/ 8740141 w 10505529"/>
              <a:gd name="connsiteY3937" fmla="*/ 6763770 h 7458372"/>
              <a:gd name="connsiteX3938" fmla="*/ 8735083 w 10505529"/>
              <a:gd name="connsiteY3938" fmla="*/ 6762839 h 7458372"/>
              <a:gd name="connsiteX3939" fmla="*/ 8517438 w 10505529"/>
              <a:gd name="connsiteY3939" fmla="*/ 6762839 h 7458372"/>
              <a:gd name="connsiteX3940" fmla="*/ 8507453 w 10505529"/>
              <a:gd name="connsiteY3940" fmla="*/ 6766433 h 7458372"/>
              <a:gd name="connsiteX3941" fmla="*/ 8503860 w 10505529"/>
              <a:gd name="connsiteY3941" fmla="*/ 6775884 h 7458372"/>
              <a:gd name="connsiteX3942" fmla="*/ 8507453 w 10505529"/>
              <a:gd name="connsiteY3942" fmla="*/ 6785335 h 7458372"/>
              <a:gd name="connsiteX3943" fmla="*/ 8517438 w 10505529"/>
              <a:gd name="connsiteY3943" fmla="*/ 6788797 h 7458372"/>
              <a:gd name="connsiteX3944" fmla="*/ 8522763 w 10505529"/>
              <a:gd name="connsiteY3944" fmla="*/ 6787865 h 7458372"/>
              <a:gd name="connsiteX3945" fmla="*/ 8526490 w 10505529"/>
              <a:gd name="connsiteY3945" fmla="*/ 6785468 h 7458372"/>
              <a:gd name="connsiteX3946" fmla="*/ 8529152 w 10505529"/>
              <a:gd name="connsiteY3946" fmla="*/ 6781209 h 7458372"/>
              <a:gd name="connsiteX3947" fmla="*/ 8530084 w 10505529"/>
              <a:gd name="connsiteY3947" fmla="*/ 6775751 h 7458372"/>
              <a:gd name="connsiteX3948" fmla="*/ 8529152 w 10505529"/>
              <a:gd name="connsiteY3948" fmla="*/ 6770560 h 7458372"/>
              <a:gd name="connsiteX3949" fmla="*/ 8526490 w 10505529"/>
              <a:gd name="connsiteY3949" fmla="*/ 6766433 h 7458372"/>
              <a:gd name="connsiteX3950" fmla="*/ 8522496 w 10505529"/>
              <a:gd name="connsiteY3950" fmla="*/ 6763770 h 7458372"/>
              <a:gd name="connsiteX3951" fmla="*/ 8517438 w 10505529"/>
              <a:gd name="connsiteY3951" fmla="*/ 6762839 h 7458372"/>
              <a:gd name="connsiteX3952" fmla="*/ 8299793 w 10505529"/>
              <a:gd name="connsiteY3952" fmla="*/ 6762839 h 7458372"/>
              <a:gd name="connsiteX3953" fmla="*/ 8289809 w 10505529"/>
              <a:gd name="connsiteY3953" fmla="*/ 6766433 h 7458372"/>
              <a:gd name="connsiteX3954" fmla="*/ 8286215 w 10505529"/>
              <a:gd name="connsiteY3954" fmla="*/ 6775884 h 7458372"/>
              <a:gd name="connsiteX3955" fmla="*/ 8289809 w 10505529"/>
              <a:gd name="connsiteY3955" fmla="*/ 6785335 h 7458372"/>
              <a:gd name="connsiteX3956" fmla="*/ 8299793 w 10505529"/>
              <a:gd name="connsiteY3956" fmla="*/ 6788797 h 7458372"/>
              <a:gd name="connsiteX3957" fmla="*/ 8305118 w 10505529"/>
              <a:gd name="connsiteY3957" fmla="*/ 6787865 h 7458372"/>
              <a:gd name="connsiteX3958" fmla="*/ 8308844 w 10505529"/>
              <a:gd name="connsiteY3958" fmla="*/ 6785468 h 7458372"/>
              <a:gd name="connsiteX3959" fmla="*/ 8311507 w 10505529"/>
              <a:gd name="connsiteY3959" fmla="*/ 6781209 h 7458372"/>
              <a:gd name="connsiteX3960" fmla="*/ 8312439 w 10505529"/>
              <a:gd name="connsiteY3960" fmla="*/ 6775751 h 7458372"/>
              <a:gd name="connsiteX3961" fmla="*/ 8311507 w 10505529"/>
              <a:gd name="connsiteY3961" fmla="*/ 6770560 h 7458372"/>
              <a:gd name="connsiteX3962" fmla="*/ 8308844 w 10505529"/>
              <a:gd name="connsiteY3962" fmla="*/ 6766433 h 7458372"/>
              <a:gd name="connsiteX3963" fmla="*/ 8304851 w 10505529"/>
              <a:gd name="connsiteY3963" fmla="*/ 6763770 h 7458372"/>
              <a:gd name="connsiteX3964" fmla="*/ 8299793 w 10505529"/>
              <a:gd name="connsiteY3964" fmla="*/ 6762839 h 7458372"/>
              <a:gd name="connsiteX3965" fmla="*/ 8082281 w 10505529"/>
              <a:gd name="connsiteY3965" fmla="*/ 6762839 h 7458372"/>
              <a:gd name="connsiteX3966" fmla="*/ 8072297 w 10505529"/>
              <a:gd name="connsiteY3966" fmla="*/ 6766433 h 7458372"/>
              <a:gd name="connsiteX3967" fmla="*/ 8068703 w 10505529"/>
              <a:gd name="connsiteY3967" fmla="*/ 6775884 h 7458372"/>
              <a:gd name="connsiteX3968" fmla="*/ 8072297 w 10505529"/>
              <a:gd name="connsiteY3968" fmla="*/ 6785335 h 7458372"/>
              <a:gd name="connsiteX3969" fmla="*/ 8082281 w 10505529"/>
              <a:gd name="connsiteY3969" fmla="*/ 6788797 h 7458372"/>
              <a:gd name="connsiteX3970" fmla="*/ 8087605 w 10505529"/>
              <a:gd name="connsiteY3970" fmla="*/ 6787865 h 7458372"/>
              <a:gd name="connsiteX3971" fmla="*/ 8091332 w 10505529"/>
              <a:gd name="connsiteY3971" fmla="*/ 6785468 h 7458372"/>
              <a:gd name="connsiteX3972" fmla="*/ 8093994 w 10505529"/>
              <a:gd name="connsiteY3972" fmla="*/ 6781209 h 7458372"/>
              <a:gd name="connsiteX3973" fmla="*/ 8094926 w 10505529"/>
              <a:gd name="connsiteY3973" fmla="*/ 6775751 h 7458372"/>
              <a:gd name="connsiteX3974" fmla="*/ 8093994 w 10505529"/>
              <a:gd name="connsiteY3974" fmla="*/ 6770560 h 7458372"/>
              <a:gd name="connsiteX3975" fmla="*/ 8091332 w 10505529"/>
              <a:gd name="connsiteY3975" fmla="*/ 6766433 h 7458372"/>
              <a:gd name="connsiteX3976" fmla="*/ 8087338 w 10505529"/>
              <a:gd name="connsiteY3976" fmla="*/ 6763770 h 7458372"/>
              <a:gd name="connsiteX3977" fmla="*/ 8082281 w 10505529"/>
              <a:gd name="connsiteY3977" fmla="*/ 6762839 h 7458372"/>
              <a:gd name="connsiteX3978" fmla="*/ 7864636 w 10505529"/>
              <a:gd name="connsiteY3978" fmla="*/ 6762839 h 7458372"/>
              <a:gd name="connsiteX3979" fmla="*/ 7854652 w 10505529"/>
              <a:gd name="connsiteY3979" fmla="*/ 6766433 h 7458372"/>
              <a:gd name="connsiteX3980" fmla="*/ 7851058 w 10505529"/>
              <a:gd name="connsiteY3980" fmla="*/ 6775884 h 7458372"/>
              <a:gd name="connsiteX3981" fmla="*/ 7854652 w 10505529"/>
              <a:gd name="connsiteY3981" fmla="*/ 6785335 h 7458372"/>
              <a:gd name="connsiteX3982" fmla="*/ 7864636 w 10505529"/>
              <a:gd name="connsiteY3982" fmla="*/ 6788797 h 7458372"/>
              <a:gd name="connsiteX3983" fmla="*/ 7869961 w 10505529"/>
              <a:gd name="connsiteY3983" fmla="*/ 6787865 h 7458372"/>
              <a:gd name="connsiteX3984" fmla="*/ 7873687 w 10505529"/>
              <a:gd name="connsiteY3984" fmla="*/ 6785468 h 7458372"/>
              <a:gd name="connsiteX3985" fmla="*/ 7876350 w 10505529"/>
              <a:gd name="connsiteY3985" fmla="*/ 6781209 h 7458372"/>
              <a:gd name="connsiteX3986" fmla="*/ 7877282 w 10505529"/>
              <a:gd name="connsiteY3986" fmla="*/ 6775751 h 7458372"/>
              <a:gd name="connsiteX3987" fmla="*/ 7876350 w 10505529"/>
              <a:gd name="connsiteY3987" fmla="*/ 6770560 h 7458372"/>
              <a:gd name="connsiteX3988" fmla="*/ 7873687 w 10505529"/>
              <a:gd name="connsiteY3988" fmla="*/ 6766433 h 7458372"/>
              <a:gd name="connsiteX3989" fmla="*/ 7869694 w 10505529"/>
              <a:gd name="connsiteY3989" fmla="*/ 6763770 h 7458372"/>
              <a:gd name="connsiteX3990" fmla="*/ 7864636 w 10505529"/>
              <a:gd name="connsiteY3990" fmla="*/ 6762839 h 7458372"/>
              <a:gd name="connsiteX3991" fmla="*/ 7646991 w 10505529"/>
              <a:gd name="connsiteY3991" fmla="*/ 6762839 h 7458372"/>
              <a:gd name="connsiteX3992" fmla="*/ 7637007 w 10505529"/>
              <a:gd name="connsiteY3992" fmla="*/ 6766433 h 7458372"/>
              <a:gd name="connsiteX3993" fmla="*/ 7633413 w 10505529"/>
              <a:gd name="connsiteY3993" fmla="*/ 6775884 h 7458372"/>
              <a:gd name="connsiteX3994" fmla="*/ 7637007 w 10505529"/>
              <a:gd name="connsiteY3994" fmla="*/ 6785335 h 7458372"/>
              <a:gd name="connsiteX3995" fmla="*/ 7646991 w 10505529"/>
              <a:gd name="connsiteY3995" fmla="*/ 6788797 h 7458372"/>
              <a:gd name="connsiteX3996" fmla="*/ 7652315 w 10505529"/>
              <a:gd name="connsiteY3996" fmla="*/ 6787865 h 7458372"/>
              <a:gd name="connsiteX3997" fmla="*/ 7656042 w 10505529"/>
              <a:gd name="connsiteY3997" fmla="*/ 6785468 h 7458372"/>
              <a:gd name="connsiteX3998" fmla="*/ 7658705 w 10505529"/>
              <a:gd name="connsiteY3998" fmla="*/ 6781209 h 7458372"/>
              <a:gd name="connsiteX3999" fmla="*/ 7659769 w 10505529"/>
              <a:gd name="connsiteY3999" fmla="*/ 6775751 h 7458372"/>
              <a:gd name="connsiteX4000" fmla="*/ 7658705 w 10505529"/>
              <a:gd name="connsiteY4000" fmla="*/ 6770560 h 7458372"/>
              <a:gd name="connsiteX4001" fmla="*/ 7656042 w 10505529"/>
              <a:gd name="connsiteY4001" fmla="*/ 6766433 h 7458372"/>
              <a:gd name="connsiteX4002" fmla="*/ 7652049 w 10505529"/>
              <a:gd name="connsiteY4002" fmla="*/ 6763770 h 7458372"/>
              <a:gd name="connsiteX4003" fmla="*/ 7646991 w 10505529"/>
              <a:gd name="connsiteY4003" fmla="*/ 6762839 h 7458372"/>
              <a:gd name="connsiteX4004" fmla="*/ 7429345 w 10505529"/>
              <a:gd name="connsiteY4004" fmla="*/ 6762839 h 7458372"/>
              <a:gd name="connsiteX4005" fmla="*/ 7419361 w 10505529"/>
              <a:gd name="connsiteY4005" fmla="*/ 6766433 h 7458372"/>
              <a:gd name="connsiteX4006" fmla="*/ 7415768 w 10505529"/>
              <a:gd name="connsiteY4006" fmla="*/ 6775884 h 7458372"/>
              <a:gd name="connsiteX4007" fmla="*/ 7419361 w 10505529"/>
              <a:gd name="connsiteY4007" fmla="*/ 6785335 h 7458372"/>
              <a:gd name="connsiteX4008" fmla="*/ 7429345 w 10505529"/>
              <a:gd name="connsiteY4008" fmla="*/ 6788797 h 7458372"/>
              <a:gd name="connsiteX4009" fmla="*/ 7434670 w 10505529"/>
              <a:gd name="connsiteY4009" fmla="*/ 6787865 h 7458372"/>
              <a:gd name="connsiteX4010" fmla="*/ 7438397 w 10505529"/>
              <a:gd name="connsiteY4010" fmla="*/ 6785468 h 7458372"/>
              <a:gd name="connsiteX4011" fmla="*/ 7441059 w 10505529"/>
              <a:gd name="connsiteY4011" fmla="*/ 6781209 h 7458372"/>
              <a:gd name="connsiteX4012" fmla="*/ 7442124 w 10505529"/>
              <a:gd name="connsiteY4012" fmla="*/ 6775751 h 7458372"/>
              <a:gd name="connsiteX4013" fmla="*/ 7441059 w 10505529"/>
              <a:gd name="connsiteY4013" fmla="*/ 6770560 h 7458372"/>
              <a:gd name="connsiteX4014" fmla="*/ 7438397 w 10505529"/>
              <a:gd name="connsiteY4014" fmla="*/ 6766433 h 7458372"/>
              <a:gd name="connsiteX4015" fmla="*/ 7434403 w 10505529"/>
              <a:gd name="connsiteY4015" fmla="*/ 6763770 h 7458372"/>
              <a:gd name="connsiteX4016" fmla="*/ 7429345 w 10505529"/>
              <a:gd name="connsiteY4016" fmla="*/ 6762839 h 7458372"/>
              <a:gd name="connsiteX4017" fmla="*/ 7211701 w 10505529"/>
              <a:gd name="connsiteY4017" fmla="*/ 6762839 h 7458372"/>
              <a:gd name="connsiteX4018" fmla="*/ 7201717 w 10505529"/>
              <a:gd name="connsiteY4018" fmla="*/ 6766433 h 7458372"/>
              <a:gd name="connsiteX4019" fmla="*/ 7198123 w 10505529"/>
              <a:gd name="connsiteY4019" fmla="*/ 6775884 h 7458372"/>
              <a:gd name="connsiteX4020" fmla="*/ 7201717 w 10505529"/>
              <a:gd name="connsiteY4020" fmla="*/ 6785335 h 7458372"/>
              <a:gd name="connsiteX4021" fmla="*/ 7211701 w 10505529"/>
              <a:gd name="connsiteY4021" fmla="*/ 6788797 h 7458372"/>
              <a:gd name="connsiteX4022" fmla="*/ 7217026 w 10505529"/>
              <a:gd name="connsiteY4022" fmla="*/ 6787865 h 7458372"/>
              <a:gd name="connsiteX4023" fmla="*/ 7220752 w 10505529"/>
              <a:gd name="connsiteY4023" fmla="*/ 6785468 h 7458372"/>
              <a:gd name="connsiteX4024" fmla="*/ 7223415 w 10505529"/>
              <a:gd name="connsiteY4024" fmla="*/ 6781209 h 7458372"/>
              <a:gd name="connsiteX4025" fmla="*/ 7224480 w 10505529"/>
              <a:gd name="connsiteY4025" fmla="*/ 6775751 h 7458372"/>
              <a:gd name="connsiteX4026" fmla="*/ 7223415 w 10505529"/>
              <a:gd name="connsiteY4026" fmla="*/ 6770560 h 7458372"/>
              <a:gd name="connsiteX4027" fmla="*/ 7220752 w 10505529"/>
              <a:gd name="connsiteY4027" fmla="*/ 6766433 h 7458372"/>
              <a:gd name="connsiteX4028" fmla="*/ 7216759 w 10505529"/>
              <a:gd name="connsiteY4028" fmla="*/ 6763770 h 7458372"/>
              <a:gd name="connsiteX4029" fmla="*/ 7211701 w 10505529"/>
              <a:gd name="connsiteY4029" fmla="*/ 6762839 h 7458372"/>
              <a:gd name="connsiteX4030" fmla="*/ 6994056 w 10505529"/>
              <a:gd name="connsiteY4030" fmla="*/ 6762839 h 7458372"/>
              <a:gd name="connsiteX4031" fmla="*/ 6984072 w 10505529"/>
              <a:gd name="connsiteY4031" fmla="*/ 6766433 h 7458372"/>
              <a:gd name="connsiteX4032" fmla="*/ 6980478 w 10505529"/>
              <a:gd name="connsiteY4032" fmla="*/ 6775884 h 7458372"/>
              <a:gd name="connsiteX4033" fmla="*/ 6984072 w 10505529"/>
              <a:gd name="connsiteY4033" fmla="*/ 6785335 h 7458372"/>
              <a:gd name="connsiteX4034" fmla="*/ 6994056 w 10505529"/>
              <a:gd name="connsiteY4034" fmla="*/ 6788797 h 7458372"/>
              <a:gd name="connsiteX4035" fmla="*/ 6999380 w 10505529"/>
              <a:gd name="connsiteY4035" fmla="*/ 6787865 h 7458372"/>
              <a:gd name="connsiteX4036" fmla="*/ 7003107 w 10505529"/>
              <a:gd name="connsiteY4036" fmla="*/ 6785468 h 7458372"/>
              <a:gd name="connsiteX4037" fmla="*/ 7005769 w 10505529"/>
              <a:gd name="connsiteY4037" fmla="*/ 6781209 h 7458372"/>
              <a:gd name="connsiteX4038" fmla="*/ 7006834 w 10505529"/>
              <a:gd name="connsiteY4038" fmla="*/ 6775751 h 7458372"/>
              <a:gd name="connsiteX4039" fmla="*/ 7005769 w 10505529"/>
              <a:gd name="connsiteY4039" fmla="*/ 6770560 h 7458372"/>
              <a:gd name="connsiteX4040" fmla="*/ 7003107 w 10505529"/>
              <a:gd name="connsiteY4040" fmla="*/ 6766433 h 7458372"/>
              <a:gd name="connsiteX4041" fmla="*/ 6999113 w 10505529"/>
              <a:gd name="connsiteY4041" fmla="*/ 6763770 h 7458372"/>
              <a:gd name="connsiteX4042" fmla="*/ 6994056 w 10505529"/>
              <a:gd name="connsiteY4042" fmla="*/ 6762839 h 7458372"/>
              <a:gd name="connsiteX4043" fmla="*/ 6776544 w 10505529"/>
              <a:gd name="connsiteY4043" fmla="*/ 6762839 h 7458372"/>
              <a:gd name="connsiteX4044" fmla="*/ 6766560 w 10505529"/>
              <a:gd name="connsiteY4044" fmla="*/ 6766433 h 7458372"/>
              <a:gd name="connsiteX4045" fmla="*/ 6762966 w 10505529"/>
              <a:gd name="connsiteY4045" fmla="*/ 6775884 h 7458372"/>
              <a:gd name="connsiteX4046" fmla="*/ 6766560 w 10505529"/>
              <a:gd name="connsiteY4046" fmla="*/ 6785335 h 7458372"/>
              <a:gd name="connsiteX4047" fmla="*/ 6776544 w 10505529"/>
              <a:gd name="connsiteY4047" fmla="*/ 6788797 h 7458372"/>
              <a:gd name="connsiteX4048" fmla="*/ 6781869 w 10505529"/>
              <a:gd name="connsiteY4048" fmla="*/ 6787865 h 7458372"/>
              <a:gd name="connsiteX4049" fmla="*/ 6785595 w 10505529"/>
              <a:gd name="connsiteY4049" fmla="*/ 6785468 h 7458372"/>
              <a:gd name="connsiteX4050" fmla="*/ 6788258 w 10505529"/>
              <a:gd name="connsiteY4050" fmla="*/ 6781209 h 7458372"/>
              <a:gd name="connsiteX4051" fmla="*/ 6789323 w 10505529"/>
              <a:gd name="connsiteY4051" fmla="*/ 6775751 h 7458372"/>
              <a:gd name="connsiteX4052" fmla="*/ 6788258 w 10505529"/>
              <a:gd name="connsiteY4052" fmla="*/ 6770560 h 7458372"/>
              <a:gd name="connsiteX4053" fmla="*/ 6785595 w 10505529"/>
              <a:gd name="connsiteY4053" fmla="*/ 6766433 h 7458372"/>
              <a:gd name="connsiteX4054" fmla="*/ 6781602 w 10505529"/>
              <a:gd name="connsiteY4054" fmla="*/ 6763770 h 7458372"/>
              <a:gd name="connsiteX4055" fmla="*/ 6776544 w 10505529"/>
              <a:gd name="connsiteY4055" fmla="*/ 6762839 h 7458372"/>
              <a:gd name="connsiteX4056" fmla="*/ 6558899 w 10505529"/>
              <a:gd name="connsiteY4056" fmla="*/ 6762839 h 7458372"/>
              <a:gd name="connsiteX4057" fmla="*/ 6548915 w 10505529"/>
              <a:gd name="connsiteY4057" fmla="*/ 6766433 h 7458372"/>
              <a:gd name="connsiteX4058" fmla="*/ 6545321 w 10505529"/>
              <a:gd name="connsiteY4058" fmla="*/ 6775884 h 7458372"/>
              <a:gd name="connsiteX4059" fmla="*/ 6548915 w 10505529"/>
              <a:gd name="connsiteY4059" fmla="*/ 6785335 h 7458372"/>
              <a:gd name="connsiteX4060" fmla="*/ 6558899 w 10505529"/>
              <a:gd name="connsiteY4060" fmla="*/ 6788797 h 7458372"/>
              <a:gd name="connsiteX4061" fmla="*/ 6564223 w 10505529"/>
              <a:gd name="connsiteY4061" fmla="*/ 6787865 h 7458372"/>
              <a:gd name="connsiteX4062" fmla="*/ 6567950 w 10505529"/>
              <a:gd name="connsiteY4062" fmla="*/ 6785468 h 7458372"/>
              <a:gd name="connsiteX4063" fmla="*/ 6570612 w 10505529"/>
              <a:gd name="connsiteY4063" fmla="*/ 6781209 h 7458372"/>
              <a:gd name="connsiteX4064" fmla="*/ 6571677 w 10505529"/>
              <a:gd name="connsiteY4064" fmla="*/ 6775751 h 7458372"/>
              <a:gd name="connsiteX4065" fmla="*/ 6570612 w 10505529"/>
              <a:gd name="connsiteY4065" fmla="*/ 6770560 h 7458372"/>
              <a:gd name="connsiteX4066" fmla="*/ 6567950 w 10505529"/>
              <a:gd name="connsiteY4066" fmla="*/ 6766433 h 7458372"/>
              <a:gd name="connsiteX4067" fmla="*/ 6563956 w 10505529"/>
              <a:gd name="connsiteY4067" fmla="*/ 6763770 h 7458372"/>
              <a:gd name="connsiteX4068" fmla="*/ 6558899 w 10505529"/>
              <a:gd name="connsiteY4068" fmla="*/ 6762839 h 7458372"/>
              <a:gd name="connsiteX4069" fmla="*/ 6341253 w 10505529"/>
              <a:gd name="connsiteY4069" fmla="*/ 6762839 h 7458372"/>
              <a:gd name="connsiteX4070" fmla="*/ 6331270 w 10505529"/>
              <a:gd name="connsiteY4070" fmla="*/ 6766433 h 7458372"/>
              <a:gd name="connsiteX4071" fmla="*/ 6327675 w 10505529"/>
              <a:gd name="connsiteY4071" fmla="*/ 6775884 h 7458372"/>
              <a:gd name="connsiteX4072" fmla="*/ 6331270 w 10505529"/>
              <a:gd name="connsiteY4072" fmla="*/ 6785335 h 7458372"/>
              <a:gd name="connsiteX4073" fmla="*/ 6341253 w 10505529"/>
              <a:gd name="connsiteY4073" fmla="*/ 6788797 h 7458372"/>
              <a:gd name="connsiteX4074" fmla="*/ 6346578 w 10505529"/>
              <a:gd name="connsiteY4074" fmla="*/ 6787865 h 7458372"/>
              <a:gd name="connsiteX4075" fmla="*/ 6350305 w 10505529"/>
              <a:gd name="connsiteY4075" fmla="*/ 6785468 h 7458372"/>
              <a:gd name="connsiteX4076" fmla="*/ 6352968 w 10505529"/>
              <a:gd name="connsiteY4076" fmla="*/ 6781209 h 7458372"/>
              <a:gd name="connsiteX4077" fmla="*/ 6354033 w 10505529"/>
              <a:gd name="connsiteY4077" fmla="*/ 6775751 h 7458372"/>
              <a:gd name="connsiteX4078" fmla="*/ 6352968 w 10505529"/>
              <a:gd name="connsiteY4078" fmla="*/ 6770560 h 7458372"/>
              <a:gd name="connsiteX4079" fmla="*/ 6350305 w 10505529"/>
              <a:gd name="connsiteY4079" fmla="*/ 6766433 h 7458372"/>
              <a:gd name="connsiteX4080" fmla="*/ 6346312 w 10505529"/>
              <a:gd name="connsiteY4080" fmla="*/ 6763770 h 7458372"/>
              <a:gd name="connsiteX4081" fmla="*/ 6341253 w 10505529"/>
              <a:gd name="connsiteY4081" fmla="*/ 6762839 h 7458372"/>
              <a:gd name="connsiteX4082" fmla="*/ 6123608 w 10505529"/>
              <a:gd name="connsiteY4082" fmla="*/ 6762839 h 7458372"/>
              <a:gd name="connsiteX4083" fmla="*/ 6113624 w 10505529"/>
              <a:gd name="connsiteY4083" fmla="*/ 6766433 h 7458372"/>
              <a:gd name="connsiteX4084" fmla="*/ 6110030 w 10505529"/>
              <a:gd name="connsiteY4084" fmla="*/ 6775884 h 7458372"/>
              <a:gd name="connsiteX4085" fmla="*/ 6113624 w 10505529"/>
              <a:gd name="connsiteY4085" fmla="*/ 6785335 h 7458372"/>
              <a:gd name="connsiteX4086" fmla="*/ 6123608 w 10505529"/>
              <a:gd name="connsiteY4086" fmla="*/ 6788797 h 7458372"/>
              <a:gd name="connsiteX4087" fmla="*/ 6128932 w 10505529"/>
              <a:gd name="connsiteY4087" fmla="*/ 6787865 h 7458372"/>
              <a:gd name="connsiteX4088" fmla="*/ 6132659 w 10505529"/>
              <a:gd name="connsiteY4088" fmla="*/ 6785468 h 7458372"/>
              <a:gd name="connsiteX4089" fmla="*/ 6135322 w 10505529"/>
              <a:gd name="connsiteY4089" fmla="*/ 6781209 h 7458372"/>
              <a:gd name="connsiteX4090" fmla="*/ 6136387 w 10505529"/>
              <a:gd name="connsiteY4090" fmla="*/ 6775751 h 7458372"/>
              <a:gd name="connsiteX4091" fmla="*/ 6135322 w 10505529"/>
              <a:gd name="connsiteY4091" fmla="*/ 6770560 h 7458372"/>
              <a:gd name="connsiteX4092" fmla="*/ 6132659 w 10505529"/>
              <a:gd name="connsiteY4092" fmla="*/ 6766433 h 7458372"/>
              <a:gd name="connsiteX4093" fmla="*/ 6128666 w 10505529"/>
              <a:gd name="connsiteY4093" fmla="*/ 6763770 h 7458372"/>
              <a:gd name="connsiteX4094" fmla="*/ 6123608 w 10505529"/>
              <a:gd name="connsiteY4094" fmla="*/ 6762839 h 7458372"/>
              <a:gd name="connsiteX4095" fmla="*/ 5905963 w 10505529"/>
              <a:gd name="connsiteY4095" fmla="*/ 6762839 h 7458372"/>
              <a:gd name="connsiteX4096" fmla="*/ 5895979 w 10505529"/>
              <a:gd name="connsiteY4096" fmla="*/ 6766433 h 7458372"/>
              <a:gd name="connsiteX4097" fmla="*/ 5892385 w 10505529"/>
              <a:gd name="connsiteY4097" fmla="*/ 6775884 h 7458372"/>
              <a:gd name="connsiteX4098" fmla="*/ 5895979 w 10505529"/>
              <a:gd name="connsiteY4098" fmla="*/ 6785335 h 7458372"/>
              <a:gd name="connsiteX4099" fmla="*/ 5905963 w 10505529"/>
              <a:gd name="connsiteY4099" fmla="*/ 6788797 h 7458372"/>
              <a:gd name="connsiteX4100" fmla="*/ 5911287 w 10505529"/>
              <a:gd name="connsiteY4100" fmla="*/ 6787865 h 7458372"/>
              <a:gd name="connsiteX4101" fmla="*/ 5915014 w 10505529"/>
              <a:gd name="connsiteY4101" fmla="*/ 6785468 h 7458372"/>
              <a:gd name="connsiteX4102" fmla="*/ 5917677 w 10505529"/>
              <a:gd name="connsiteY4102" fmla="*/ 6781209 h 7458372"/>
              <a:gd name="connsiteX4103" fmla="*/ 5918742 w 10505529"/>
              <a:gd name="connsiteY4103" fmla="*/ 6775751 h 7458372"/>
              <a:gd name="connsiteX4104" fmla="*/ 5917677 w 10505529"/>
              <a:gd name="connsiteY4104" fmla="*/ 6770560 h 7458372"/>
              <a:gd name="connsiteX4105" fmla="*/ 5915014 w 10505529"/>
              <a:gd name="connsiteY4105" fmla="*/ 6766433 h 7458372"/>
              <a:gd name="connsiteX4106" fmla="*/ 5911021 w 10505529"/>
              <a:gd name="connsiteY4106" fmla="*/ 6763770 h 7458372"/>
              <a:gd name="connsiteX4107" fmla="*/ 5905963 w 10505529"/>
              <a:gd name="connsiteY4107" fmla="*/ 6762839 h 7458372"/>
              <a:gd name="connsiteX4108" fmla="*/ 5688451 w 10505529"/>
              <a:gd name="connsiteY4108" fmla="*/ 6762839 h 7458372"/>
              <a:gd name="connsiteX4109" fmla="*/ 5678467 w 10505529"/>
              <a:gd name="connsiteY4109" fmla="*/ 6766433 h 7458372"/>
              <a:gd name="connsiteX4110" fmla="*/ 5674873 w 10505529"/>
              <a:gd name="connsiteY4110" fmla="*/ 6775884 h 7458372"/>
              <a:gd name="connsiteX4111" fmla="*/ 5678467 w 10505529"/>
              <a:gd name="connsiteY4111" fmla="*/ 6785335 h 7458372"/>
              <a:gd name="connsiteX4112" fmla="*/ 5688451 w 10505529"/>
              <a:gd name="connsiteY4112" fmla="*/ 6788797 h 7458372"/>
              <a:gd name="connsiteX4113" fmla="*/ 5693775 w 10505529"/>
              <a:gd name="connsiteY4113" fmla="*/ 6787865 h 7458372"/>
              <a:gd name="connsiteX4114" fmla="*/ 5697502 w 10505529"/>
              <a:gd name="connsiteY4114" fmla="*/ 6785468 h 7458372"/>
              <a:gd name="connsiteX4115" fmla="*/ 5700165 w 10505529"/>
              <a:gd name="connsiteY4115" fmla="*/ 6781209 h 7458372"/>
              <a:gd name="connsiteX4116" fmla="*/ 5701230 w 10505529"/>
              <a:gd name="connsiteY4116" fmla="*/ 6775751 h 7458372"/>
              <a:gd name="connsiteX4117" fmla="*/ 5700165 w 10505529"/>
              <a:gd name="connsiteY4117" fmla="*/ 6770560 h 7458372"/>
              <a:gd name="connsiteX4118" fmla="*/ 5697502 w 10505529"/>
              <a:gd name="connsiteY4118" fmla="*/ 6766433 h 7458372"/>
              <a:gd name="connsiteX4119" fmla="*/ 5693509 w 10505529"/>
              <a:gd name="connsiteY4119" fmla="*/ 6763770 h 7458372"/>
              <a:gd name="connsiteX4120" fmla="*/ 5688451 w 10505529"/>
              <a:gd name="connsiteY4120" fmla="*/ 6762839 h 7458372"/>
              <a:gd name="connsiteX4121" fmla="*/ 5470806 w 10505529"/>
              <a:gd name="connsiteY4121" fmla="*/ 6762839 h 7458372"/>
              <a:gd name="connsiteX4122" fmla="*/ 5460822 w 10505529"/>
              <a:gd name="connsiteY4122" fmla="*/ 6766433 h 7458372"/>
              <a:gd name="connsiteX4123" fmla="*/ 5457228 w 10505529"/>
              <a:gd name="connsiteY4123" fmla="*/ 6775884 h 7458372"/>
              <a:gd name="connsiteX4124" fmla="*/ 5460822 w 10505529"/>
              <a:gd name="connsiteY4124" fmla="*/ 6785335 h 7458372"/>
              <a:gd name="connsiteX4125" fmla="*/ 5470806 w 10505529"/>
              <a:gd name="connsiteY4125" fmla="*/ 6788797 h 7458372"/>
              <a:gd name="connsiteX4126" fmla="*/ 5476130 w 10505529"/>
              <a:gd name="connsiteY4126" fmla="*/ 6787865 h 7458372"/>
              <a:gd name="connsiteX4127" fmla="*/ 5479857 w 10505529"/>
              <a:gd name="connsiteY4127" fmla="*/ 6785468 h 7458372"/>
              <a:gd name="connsiteX4128" fmla="*/ 5482520 w 10505529"/>
              <a:gd name="connsiteY4128" fmla="*/ 6781209 h 7458372"/>
              <a:gd name="connsiteX4129" fmla="*/ 5483585 w 10505529"/>
              <a:gd name="connsiteY4129" fmla="*/ 6775751 h 7458372"/>
              <a:gd name="connsiteX4130" fmla="*/ 5482520 w 10505529"/>
              <a:gd name="connsiteY4130" fmla="*/ 6770560 h 7458372"/>
              <a:gd name="connsiteX4131" fmla="*/ 5479857 w 10505529"/>
              <a:gd name="connsiteY4131" fmla="*/ 6766433 h 7458372"/>
              <a:gd name="connsiteX4132" fmla="*/ 5475864 w 10505529"/>
              <a:gd name="connsiteY4132" fmla="*/ 6763770 h 7458372"/>
              <a:gd name="connsiteX4133" fmla="*/ 5470806 w 10505529"/>
              <a:gd name="connsiteY4133" fmla="*/ 6762839 h 7458372"/>
              <a:gd name="connsiteX4134" fmla="*/ 5253160 w 10505529"/>
              <a:gd name="connsiteY4134" fmla="*/ 6762839 h 7458372"/>
              <a:gd name="connsiteX4135" fmla="*/ 5243177 w 10505529"/>
              <a:gd name="connsiteY4135" fmla="*/ 6766433 h 7458372"/>
              <a:gd name="connsiteX4136" fmla="*/ 5239583 w 10505529"/>
              <a:gd name="connsiteY4136" fmla="*/ 6775884 h 7458372"/>
              <a:gd name="connsiteX4137" fmla="*/ 5243177 w 10505529"/>
              <a:gd name="connsiteY4137" fmla="*/ 6785335 h 7458372"/>
              <a:gd name="connsiteX4138" fmla="*/ 5253160 w 10505529"/>
              <a:gd name="connsiteY4138" fmla="*/ 6788797 h 7458372"/>
              <a:gd name="connsiteX4139" fmla="*/ 5258485 w 10505529"/>
              <a:gd name="connsiteY4139" fmla="*/ 6787865 h 7458372"/>
              <a:gd name="connsiteX4140" fmla="*/ 5262212 w 10505529"/>
              <a:gd name="connsiteY4140" fmla="*/ 6785468 h 7458372"/>
              <a:gd name="connsiteX4141" fmla="*/ 5264875 w 10505529"/>
              <a:gd name="connsiteY4141" fmla="*/ 6781209 h 7458372"/>
              <a:gd name="connsiteX4142" fmla="*/ 5265939 w 10505529"/>
              <a:gd name="connsiteY4142" fmla="*/ 6775751 h 7458372"/>
              <a:gd name="connsiteX4143" fmla="*/ 5264875 w 10505529"/>
              <a:gd name="connsiteY4143" fmla="*/ 6770560 h 7458372"/>
              <a:gd name="connsiteX4144" fmla="*/ 5262212 w 10505529"/>
              <a:gd name="connsiteY4144" fmla="*/ 6766433 h 7458372"/>
              <a:gd name="connsiteX4145" fmla="*/ 5258219 w 10505529"/>
              <a:gd name="connsiteY4145" fmla="*/ 6763770 h 7458372"/>
              <a:gd name="connsiteX4146" fmla="*/ 5253160 w 10505529"/>
              <a:gd name="connsiteY4146" fmla="*/ 6762839 h 7458372"/>
              <a:gd name="connsiteX4147" fmla="*/ 5035515 w 10505529"/>
              <a:gd name="connsiteY4147" fmla="*/ 6762839 h 7458372"/>
              <a:gd name="connsiteX4148" fmla="*/ 5025532 w 10505529"/>
              <a:gd name="connsiteY4148" fmla="*/ 6766433 h 7458372"/>
              <a:gd name="connsiteX4149" fmla="*/ 5021938 w 10505529"/>
              <a:gd name="connsiteY4149" fmla="*/ 6775884 h 7458372"/>
              <a:gd name="connsiteX4150" fmla="*/ 5025532 w 10505529"/>
              <a:gd name="connsiteY4150" fmla="*/ 6785335 h 7458372"/>
              <a:gd name="connsiteX4151" fmla="*/ 5035515 w 10505529"/>
              <a:gd name="connsiteY4151" fmla="*/ 6788797 h 7458372"/>
              <a:gd name="connsiteX4152" fmla="*/ 5040840 w 10505529"/>
              <a:gd name="connsiteY4152" fmla="*/ 6787865 h 7458372"/>
              <a:gd name="connsiteX4153" fmla="*/ 5044567 w 10505529"/>
              <a:gd name="connsiteY4153" fmla="*/ 6785468 h 7458372"/>
              <a:gd name="connsiteX4154" fmla="*/ 5047230 w 10505529"/>
              <a:gd name="connsiteY4154" fmla="*/ 6781209 h 7458372"/>
              <a:gd name="connsiteX4155" fmla="*/ 5048294 w 10505529"/>
              <a:gd name="connsiteY4155" fmla="*/ 6775751 h 7458372"/>
              <a:gd name="connsiteX4156" fmla="*/ 5047230 w 10505529"/>
              <a:gd name="connsiteY4156" fmla="*/ 6770560 h 7458372"/>
              <a:gd name="connsiteX4157" fmla="*/ 5044567 w 10505529"/>
              <a:gd name="connsiteY4157" fmla="*/ 6766433 h 7458372"/>
              <a:gd name="connsiteX4158" fmla="*/ 5040574 w 10505529"/>
              <a:gd name="connsiteY4158" fmla="*/ 6763770 h 7458372"/>
              <a:gd name="connsiteX4159" fmla="*/ 5035515 w 10505529"/>
              <a:gd name="connsiteY4159" fmla="*/ 6762839 h 7458372"/>
              <a:gd name="connsiteX4160" fmla="*/ 4817870 w 10505529"/>
              <a:gd name="connsiteY4160" fmla="*/ 6762839 h 7458372"/>
              <a:gd name="connsiteX4161" fmla="*/ 4807887 w 10505529"/>
              <a:gd name="connsiteY4161" fmla="*/ 6766433 h 7458372"/>
              <a:gd name="connsiteX4162" fmla="*/ 4804293 w 10505529"/>
              <a:gd name="connsiteY4162" fmla="*/ 6775884 h 7458372"/>
              <a:gd name="connsiteX4163" fmla="*/ 4807887 w 10505529"/>
              <a:gd name="connsiteY4163" fmla="*/ 6785335 h 7458372"/>
              <a:gd name="connsiteX4164" fmla="*/ 4817870 w 10505529"/>
              <a:gd name="connsiteY4164" fmla="*/ 6788797 h 7458372"/>
              <a:gd name="connsiteX4165" fmla="*/ 4823195 w 10505529"/>
              <a:gd name="connsiteY4165" fmla="*/ 6787865 h 7458372"/>
              <a:gd name="connsiteX4166" fmla="*/ 4826922 w 10505529"/>
              <a:gd name="connsiteY4166" fmla="*/ 6785468 h 7458372"/>
              <a:gd name="connsiteX4167" fmla="*/ 4829585 w 10505529"/>
              <a:gd name="connsiteY4167" fmla="*/ 6781209 h 7458372"/>
              <a:gd name="connsiteX4168" fmla="*/ 4830650 w 10505529"/>
              <a:gd name="connsiteY4168" fmla="*/ 6775751 h 7458372"/>
              <a:gd name="connsiteX4169" fmla="*/ 4829585 w 10505529"/>
              <a:gd name="connsiteY4169" fmla="*/ 6770560 h 7458372"/>
              <a:gd name="connsiteX4170" fmla="*/ 4826922 w 10505529"/>
              <a:gd name="connsiteY4170" fmla="*/ 6766433 h 7458372"/>
              <a:gd name="connsiteX4171" fmla="*/ 4822929 w 10505529"/>
              <a:gd name="connsiteY4171" fmla="*/ 6763770 h 7458372"/>
              <a:gd name="connsiteX4172" fmla="*/ 4817870 w 10505529"/>
              <a:gd name="connsiteY4172" fmla="*/ 6762839 h 7458372"/>
              <a:gd name="connsiteX4173" fmla="*/ 4600226 w 10505529"/>
              <a:gd name="connsiteY4173" fmla="*/ 6762839 h 7458372"/>
              <a:gd name="connsiteX4174" fmla="*/ 4590242 w 10505529"/>
              <a:gd name="connsiteY4174" fmla="*/ 6766433 h 7458372"/>
              <a:gd name="connsiteX4175" fmla="*/ 4586648 w 10505529"/>
              <a:gd name="connsiteY4175" fmla="*/ 6775884 h 7458372"/>
              <a:gd name="connsiteX4176" fmla="*/ 4590242 w 10505529"/>
              <a:gd name="connsiteY4176" fmla="*/ 6785335 h 7458372"/>
              <a:gd name="connsiteX4177" fmla="*/ 4600226 w 10505529"/>
              <a:gd name="connsiteY4177" fmla="*/ 6788797 h 7458372"/>
              <a:gd name="connsiteX4178" fmla="*/ 4605550 w 10505529"/>
              <a:gd name="connsiteY4178" fmla="*/ 6787865 h 7458372"/>
              <a:gd name="connsiteX4179" fmla="*/ 4609277 w 10505529"/>
              <a:gd name="connsiteY4179" fmla="*/ 6785468 h 7458372"/>
              <a:gd name="connsiteX4180" fmla="*/ 4611940 w 10505529"/>
              <a:gd name="connsiteY4180" fmla="*/ 6781209 h 7458372"/>
              <a:gd name="connsiteX4181" fmla="*/ 4613005 w 10505529"/>
              <a:gd name="connsiteY4181" fmla="*/ 6775751 h 7458372"/>
              <a:gd name="connsiteX4182" fmla="*/ 4611940 w 10505529"/>
              <a:gd name="connsiteY4182" fmla="*/ 6770560 h 7458372"/>
              <a:gd name="connsiteX4183" fmla="*/ 4609277 w 10505529"/>
              <a:gd name="connsiteY4183" fmla="*/ 6766433 h 7458372"/>
              <a:gd name="connsiteX4184" fmla="*/ 4605284 w 10505529"/>
              <a:gd name="connsiteY4184" fmla="*/ 6763770 h 7458372"/>
              <a:gd name="connsiteX4185" fmla="*/ 4600226 w 10505529"/>
              <a:gd name="connsiteY4185" fmla="*/ 6762839 h 7458372"/>
              <a:gd name="connsiteX4186" fmla="*/ 4382713 w 10505529"/>
              <a:gd name="connsiteY4186" fmla="*/ 6762839 h 7458372"/>
              <a:gd name="connsiteX4187" fmla="*/ 4372730 w 10505529"/>
              <a:gd name="connsiteY4187" fmla="*/ 6766433 h 7458372"/>
              <a:gd name="connsiteX4188" fmla="*/ 4369136 w 10505529"/>
              <a:gd name="connsiteY4188" fmla="*/ 6775884 h 7458372"/>
              <a:gd name="connsiteX4189" fmla="*/ 4372730 w 10505529"/>
              <a:gd name="connsiteY4189" fmla="*/ 6785335 h 7458372"/>
              <a:gd name="connsiteX4190" fmla="*/ 4382713 w 10505529"/>
              <a:gd name="connsiteY4190" fmla="*/ 6788797 h 7458372"/>
              <a:gd name="connsiteX4191" fmla="*/ 4388038 w 10505529"/>
              <a:gd name="connsiteY4191" fmla="*/ 6787865 h 7458372"/>
              <a:gd name="connsiteX4192" fmla="*/ 4391765 w 10505529"/>
              <a:gd name="connsiteY4192" fmla="*/ 6785468 h 7458372"/>
              <a:gd name="connsiteX4193" fmla="*/ 4394428 w 10505529"/>
              <a:gd name="connsiteY4193" fmla="*/ 6781209 h 7458372"/>
              <a:gd name="connsiteX4194" fmla="*/ 4395493 w 10505529"/>
              <a:gd name="connsiteY4194" fmla="*/ 6775751 h 7458372"/>
              <a:gd name="connsiteX4195" fmla="*/ 4394428 w 10505529"/>
              <a:gd name="connsiteY4195" fmla="*/ 6770560 h 7458372"/>
              <a:gd name="connsiteX4196" fmla="*/ 4391765 w 10505529"/>
              <a:gd name="connsiteY4196" fmla="*/ 6766433 h 7458372"/>
              <a:gd name="connsiteX4197" fmla="*/ 4387772 w 10505529"/>
              <a:gd name="connsiteY4197" fmla="*/ 6763770 h 7458372"/>
              <a:gd name="connsiteX4198" fmla="*/ 4382713 w 10505529"/>
              <a:gd name="connsiteY4198" fmla="*/ 6762839 h 7458372"/>
              <a:gd name="connsiteX4199" fmla="*/ 4165068 w 10505529"/>
              <a:gd name="connsiteY4199" fmla="*/ 6762839 h 7458372"/>
              <a:gd name="connsiteX4200" fmla="*/ 4155084 w 10505529"/>
              <a:gd name="connsiteY4200" fmla="*/ 6766433 h 7458372"/>
              <a:gd name="connsiteX4201" fmla="*/ 4151490 w 10505529"/>
              <a:gd name="connsiteY4201" fmla="*/ 6775884 h 7458372"/>
              <a:gd name="connsiteX4202" fmla="*/ 4155084 w 10505529"/>
              <a:gd name="connsiteY4202" fmla="*/ 6785335 h 7458372"/>
              <a:gd name="connsiteX4203" fmla="*/ 4165068 w 10505529"/>
              <a:gd name="connsiteY4203" fmla="*/ 6788797 h 7458372"/>
              <a:gd name="connsiteX4204" fmla="*/ 4170392 w 10505529"/>
              <a:gd name="connsiteY4204" fmla="*/ 6787865 h 7458372"/>
              <a:gd name="connsiteX4205" fmla="*/ 4174119 w 10505529"/>
              <a:gd name="connsiteY4205" fmla="*/ 6785468 h 7458372"/>
              <a:gd name="connsiteX4206" fmla="*/ 4176782 w 10505529"/>
              <a:gd name="connsiteY4206" fmla="*/ 6781209 h 7458372"/>
              <a:gd name="connsiteX4207" fmla="*/ 4177847 w 10505529"/>
              <a:gd name="connsiteY4207" fmla="*/ 6775751 h 7458372"/>
              <a:gd name="connsiteX4208" fmla="*/ 4176782 w 10505529"/>
              <a:gd name="connsiteY4208" fmla="*/ 6770560 h 7458372"/>
              <a:gd name="connsiteX4209" fmla="*/ 4174119 w 10505529"/>
              <a:gd name="connsiteY4209" fmla="*/ 6766433 h 7458372"/>
              <a:gd name="connsiteX4210" fmla="*/ 4170126 w 10505529"/>
              <a:gd name="connsiteY4210" fmla="*/ 6763770 h 7458372"/>
              <a:gd name="connsiteX4211" fmla="*/ 4165068 w 10505529"/>
              <a:gd name="connsiteY4211" fmla="*/ 6762839 h 7458372"/>
              <a:gd name="connsiteX4212" fmla="*/ 3947790 w 10505529"/>
              <a:gd name="connsiteY4212" fmla="*/ 6762839 h 7458372"/>
              <a:gd name="connsiteX4213" fmla="*/ 3937807 w 10505529"/>
              <a:gd name="connsiteY4213" fmla="*/ 6766433 h 7458372"/>
              <a:gd name="connsiteX4214" fmla="*/ 3934213 w 10505529"/>
              <a:gd name="connsiteY4214" fmla="*/ 6775884 h 7458372"/>
              <a:gd name="connsiteX4215" fmla="*/ 3937807 w 10505529"/>
              <a:gd name="connsiteY4215" fmla="*/ 6785335 h 7458372"/>
              <a:gd name="connsiteX4216" fmla="*/ 3947790 w 10505529"/>
              <a:gd name="connsiteY4216" fmla="*/ 6788797 h 7458372"/>
              <a:gd name="connsiteX4217" fmla="*/ 3953120 w 10505529"/>
              <a:gd name="connsiteY4217" fmla="*/ 6787865 h 7458372"/>
              <a:gd name="connsiteX4218" fmla="*/ 3956847 w 10505529"/>
              <a:gd name="connsiteY4218" fmla="*/ 6785468 h 7458372"/>
              <a:gd name="connsiteX4219" fmla="*/ 3959510 w 10505529"/>
              <a:gd name="connsiteY4219" fmla="*/ 6781209 h 7458372"/>
              <a:gd name="connsiteX4220" fmla="*/ 3960575 w 10505529"/>
              <a:gd name="connsiteY4220" fmla="*/ 6775751 h 7458372"/>
              <a:gd name="connsiteX4221" fmla="*/ 3959510 w 10505529"/>
              <a:gd name="connsiteY4221" fmla="*/ 6770560 h 7458372"/>
              <a:gd name="connsiteX4222" fmla="*/ 3956847 w 10505529"/>
              <a:gd name="connsiteY4222" fmla="*/ 6766433 h 7458372"/>
              <a:gd name="connsiteX4223" fmla="*/ 3952853 w 10505529"/>
              <a:gd name="connsiteY4223" fmla="*/ 6763770 h 7458372"/>
              <a:gd name="connsiteX4224" fmla="*/ 3947790 w 10505529"/>
              <a:gd name="connsiteY4224" fmla="*/ 6762839 h 7458372"/>
              <a:gd name="connsiteX4225" fmla="*/ 3730129 w 10505529"/>
              <a:gd name="connsiteY4225" fmla="*/ 6762839 h 7458372"/>
              <a:gd name="connsiteX4226" fmla="*/ 3720142 w 10505529"/>
              <a:gd name="connsiteY4226" fmla="*/ 6766433 h 7458372"/>
              <a:gd name="connsiteX4227" fmla="*/ 3716549 w 10505529"/>
              <a:gd name="connsiteY4227" fmla="*/ 6775884 h 7458372"/>
              <a:gd name="connsiteX4228" fmla="*/ 3720142 w 10505529"/>
              <a:gd name="connsiteY4228" fmla="*/ 6785335 h 7458372"/>
              <a:gd name="connsiteX4229" fmla="*/ 3730129 w 10505529"/>
              <a:gd name="connsiteY4229" fmla="*/ 6788797 h 7458372"/>
              <a:gd name="connsiteX4230" fmla="*/ 3735454 w 10505529"/>
              <a:gd name="connsiteY4230" fmla="*/ 6787865 h 7458372"/>
              <a:gd name="connsiteX4231" fmla="*/ 3739182 w 10505529"/>
              <a:gd name="connsiteY4231" fmla="*/ 6785468 h 7458372"/>
              <a:gd name="connsiteX4232" fmla="*/ 3741845 w 10505529"/>
              <a:gd name="connsiteY4232" fmla="*/ 6781209 h 7458372"/>
              <a:gd name="connsiteX4233" fmla="*/ 3742909 w 10505529"/>
              <a:gd name="connsiteY4233" fmla="*/ 6775751 h 7458372"/>
              <a:gd name="connsiteX4234" fmla="*/ 3741845 w 10505529"/>
              <a:gd name="connsiteY4234" fmla="*/ 6770560 h 7458372"/>
              <a:gd name="connsiteX4235" fmla="*/ 3739182 w 10505529"/>
              <a:gd name="connsiteY4235" fmla="*/ 6766433 h 7458372"/>
              <a:gd name="connsiteX4236" fmla="*/ 3735189 w 10505529"/>
              <a:gd name="connsiteY4236" fmla="*/ 6763770 h 7458372"/>
              <a:gd name="connsiteX4237" fmla="*/ 3730129 w 10505529"/>
              <a:gd name="connsiteY4237" fmla="*/ 6762839 h 7458372"/>
              <a:gd name="connsiteX4238" fmla="*/ 3512465 w 10505529"/>
              <a:gd name="connsiteY4238" fmla="*/ 6762839 h 7458372"/>
              <a:gd name="connsiteX4239" fmla="*/ 3502475 w 10505529"/>
              <a:gd name="connsiteY4239" fmla="*/ 6766433 h 7458372"/>
              <a:gd name="connsiteX4240" fmla="*/ 3498881 w 10505529"/>
              <a:gd name="connsiteY4240" fmla="*/ 6775884 h 7458372"/>
              <a:gd name="connsiteX4241" fmla="*/ 3502475 w 10505529"/>
              <a:gd name="connsiteY4241" fmla="*/ 6785335 h 7458372"/>
              <a:gd name="connsiteX4242" fmla="*/ 3512465 w 10505529"/>
              <a:gd name="connsiteY4242" fmla="*/ 6788797 h 7458372"/>
              <a:gd name="connsiteX4243" fmla="*/ 3517790 w 10505529"/>
              <a:gd name="connsiteY4243" fmla="*/ 6787865 h 7458372"/>
              <a:gd name="connsiteX4244" fmla="*/ 3521518 w 10505529"/>
              <a:gd name="connsiteY4244" fmla="*/ 6785468 h 7458372"/>
              <a:gd name="connsiteX4245" fmla="*/ 3524181 w 10505529"/>
              <a:gd name="connsiteY4245" fmla="*/ 6781209 h 7458372"/>
              <a:gd name="connsiteX4246" fmla="*/ 3525246 w 10505529"/>
              <a:gd name="connsiteY4246" fmla="*/ 6775751 h 7458372"/>
              <a:gd name="connsiteX4247" fmla="*/ 3524181 w 10505529"/>
              <a:gd name="connsiteY4247" fmla="*/ 6770560 h 7458372"/>
              <a:gd name="connsiteX4248" fmla="*/ 3521518 w 10505529"/>
              <a:gd name="connsiteY4248" fmla="*/ 6766433 h 7458372"/>
              <a:gd name="connsiteX4249" fmla="*/ 3517525 w 10505529"/>
              <a:gd name="connsiteY4249" fmla="*/ 6763770 h 7458372"/>
              <a:gd name="connsiteX4250" fmla="*/ 3512465 w 10505529"/>
              <a:gd name="connsiteY4250" fmla="*/ 6762839 h 7458372"/>
              <a:gd name="connsiteX4251" fmla="*/ 3294933 w 10505529"/>
              <a:gd name="connsiteY4251" fmla="*/ 6762839 h 7458372"/>
              <a:gd name="connsiteX4252" fmla="*/ 3284947 w 10505529"/>
              <a:gd name="connsiteY4252" fmla="*/ 6766433 h 7458372"/>
              <a:gd name="connsiteX4253" fmla="*/ 3281353 w 10505529"/>
              <a:gd name="connsiteY4253" fmla="*/ 6775884 h 7458372"/>
              <a:gd name="connsiteX4254" fmla="*/ 3284947 w 10505529"/>
              <a:gd name="connsiteY4254" fmla="*/ 6785335 h 7458372"/>
              <a:gd name="connsiteX4255" fmla="*/ 3294933 w 10505529"/>
              <a:gd name="connsiteY4255" fmla="*/ 6788797 h 7458372"/>
              <a:gd name="connsiteX4256" fmla="*/ 3300260 w 10505529"/>
              <a:gd name="connsiteY4256" fmla="*/ 6787865 h 7458372"/>
              <a:gd name="connsiteX4257" fmla="*/ 3303987 w 10505529"/>
              <a:gd name="connsiteY4257" fmla="*/ 6785468 h 7458372"/>
              <a:gd name="connsiteX4258" fmla="*/ 3306650 w 10505529"/>
              <a:gd name="connsiteY4258" fmla="*/ 6781209 h 7458372"/>
              <a:gd name="connsiteX4259" fmla="*/ 3307713 w 10505529"/>
              <a:gd name="connsiteY4259" fmla="*/ 6775751 h 7458372"/>
              <a:gd name="connsiteX4260" fmla="*/ 3306650 w 10505529"/>
              <a:gd name="connsiteY4260" fmla="*/ 6770560 h 7458372"/>
              <a:gd name="connsiteX4261" fmla="*/ 3303987 w 10505529"/>
              <a:gd name="connsiteY4261" fmla="*/ 6766433 h 7458372"/>
              <a:gd name="connsiteX4262" fmla="*/ 3299993 w 10505529"/>
              <a:gd name="connsiteY4262" fmla="*/ 6763770 h 7458372"/>
              <a:gd name="connsiteX4263" fmla="*/ 3294933 w 10505529"/>
              <a:gd name="connsiteY4263" fmla="*/ 6762839 h 7458372"/>
              <a:gd name="connsiteX4264" fmla="*/ 3077403 w 10505529"/>
              <a:gd name="connsiteY4264" fmla="*/ 6762839 h 7458372"/>
              <a:gd name="connsiteX4265" fmla="*/ 3067419 w 10505529"/>
              <a:gd name="connsiteY4265" fmla="*/ 6766433 h 7458372"/>
              <a:gd name="connsiteX4266" fmla="*/ 3063687 w 10505529"/>
              <a:gd name="connsiteY4266" fmla="*/ 6775884 h 7458372"/>
              <a:gd name="connsiteX4267" fmla="*/ 3067284 w 10505529"/>
              <a:gd name="connsiteY4267" fmla="*/ 6785335 h 7458372"/>
              <a:gd name="connsiteX4268" fmla="*/ 3077269 w 10505529"/>
              <a:gd name="connsiteY4268" fmla="*/ 6788797 h 7458372"/>
              <a:gd name="connsiteX4269" fmla="*/ 3082728 w 10505529"/>
              <a:gd name="connsiteY4269" fmla="*/ 6787865 h 7458372"/>
              <a:gd name="connsiteX4270" fmla="*/ 3086455 w 10505529"/>
              <a:gd name="connsiteY4270" fmla="*/ 6785468 h 7458372"/>
              <a:gd name="connsiteX4271" fmla="*/ 3089118 w 10505529"/>
              <a:gd name="connsiteY4271" fmla="*/ 6781209 h 7458372"/>
              <a:gd name="connsiteX4272" fmla="*/ 3090050 w 10505529"/>
              <a:gd name="connsiteY4272" fmla="*/ 6775751 h 7458372"/>
              <a:gd name="connsiteX4273" fmla="*/ 3089118 w 10505529"/>
              <a:gd name="connsiteY4273" fmla="*/ 6770560 h 7458372"/>
              <a:gd name="connsiteX4274" fmla="*/ 3086455 w 10505529"/>
              <a:gd name="connsiteY4274" fmla="*/ 6766433 h 7458372"/>
              <a:gd name="connsiteX4275" fmla="*/ 3082462 w 10505529"/>
              <a:gd name="connsiteY4275" fmla="*/ 6763770 h 7458372"/>
              <a:gd name="connsiteX4276" fmla="*/ 3077403 w 10505529"/>
              <a:gd name="connsiteY4276" fmla="*/ 6762839 h 7458372"/>
              <a:gd name="connsiteX4277" fmla="*/ 2859605 w 10505529"/>
              <a:gd name="connsiteY4277" fmla="*/ 6762839 h 7458372"/>
              <a:gd name="connsiteX4278" fmla="*/ 2849619 w 10505529"/>
              <a:gd name="connsiteY4278" fmla="*/ 6766433 h 7458372"/>
              <a:gd name="connsiteX4279" fmla="*/ 2846019 w 10505529"/>
              <a:gd name="connsiteY4279" fmla="*/ 6775884 h 7458372"/>
              <a:gd name="connsiteX4280" fmla="*/ 2849619 w 10505529"/>
              <a:gd name="connsiteY4280" fmla="*/ 6785335 h 7458372"/>
              <a:gd name="connsiteX4281" fmla="*/ 2859605 w 10505529"/>
              <a:gd name="connsiteY4281" fmla="*/ 6788797 h 7458372"/>
              <a:gd name="connsiteX4282" fmla="*/ 2864930 w 10505529"/>
              <a:gd name="connsiteY4282" fmla="*/ 6787865 h 7458372"/>
              <a:gd name="connsiteX4283" fmla="*/ 2868657 w 10505529"/>
              <a:gd name="connsiteY4283" fmla="*/ 6785468 h 7458372"/>
              <a:gd name="connsiteX4284" fmla="*/ 2871320 w 10505529"/>
              <a:gd name="connsiteY4284" fmla="*/ 6781209 h 7458372"/>
              <a:gd name="connsiteX4285" fmla="*/ 2872251 w 10505529"/>
              <a:gd name="connsiteY4285" fmla="*/ 6775751 h 7458372"/>
              <a:gd name="connsiteX4286" fmla="*/ 2871320 w 10505529"/>
              <a:gd name="connsiteY4286" fmla="*/ 6770560 h 7458372"/>
              <a:gd name="connsiteX4287" fmla="*/ 2868657 w 10505529"/>
              <a:gd name="connsiteY4287" fmla="*/ 6766433 h 7458372"/>
              <a:gd name="connsiteX4288" fmla="*/ 2864665 w 10505529"/>
              <a:gd name="connsiteY4288" fmla="*/ 6763770 h 7458372"/>
              <a:gd name="connsiteX4289" fmla="*/ 2859605 w 10505529"/>
              <a:gd name="connsiteY4289" fmla="*/ 6762839 h 7458372"/>
              <a:gd name="connsiteX4290" fmla="*/ 2641941 w 10505529"/>
              <a:gd name="connsiteY4290" fmla="*/ 6762839 h 7458372"/>
              <a:gd name="connsiteX4291" fmla="*/ 2631958 w 10505529"/>
              <a:gd name="connsiteY4291" fmla="*/ 6766433 h 7458372"/>
              <a:gd name="connsiteX4292" fmla="*/ 2628363 w 10505529"/>
              <a:gd name="connsiteY4292" fmla="*/ 6775884 h 7458372"/>
              <a:gd name="connsiteX4293" fmla="*/ 2631958 w 10505529"/>
              <a:gd name="connsiteY4293" fmla="*/ 6785335 h 7458372"/>
              <a:gd name="connsiteX4294" fmla="*/ 2641941 w 10505529"/>
              <a:gd name="connsiteY4294" fmla="*/ 6788797 h 7458372"/>
              <a:gd name="connsiteX4295" fmla="*/ 2647266 w 10505529"/>
              <a:gd name="connsiteY4295" fmla="*/ 6787865 h 7458372"/>
              <a:gd name="connsiteX4296" fmla="*/ 2650993 w 10505529"/>
              <a:gd name="connsiteY4296" fmla="*/ 6785468 h 7458372"/>
              <a:gd name="connsiteX4297" fmla="*/ 2653656 w 10505529"/>
              <a:gd name="connsiteY4297" fmla="*/ 6781209 h 7458372"/>
              <a:gd name="connsiteX4298" fmla="*/ 2654587 w 10505529"/>
              <a:gd name="connsiteY4298" fmla="*/ 6775751 h 7458372"/>
              <a:gd name="connsiteX4299" fmla="*/ 2653656 w 10505529"/>
              <a:gd name="connsiteY4299" fmla="*/ 6770560 h 7458372"/>
              <a:gd name="connsiteX4300" fmla="*/ 2650993 w 10505529"/>
              <a:gd name="connsiteY4300" fmla="*/ 6766433 h 7458372"/>
              <a:gd name="connsiteX4301" fmla="*/ 2647000 w 10505529"/>
              <a:gd name="connsiteY4301" fmla="*/ 6763770 h 7458372"/>
              <a:gd name="connsiteX4302" fmla="*/ 2641941 w 10505529"/>
              <a:gd name="connsiteY4302" fmla="*/ 6762839 h 7458372"/>
              <a:gd name="connsiteX4303" fmla="*/ 2424276 w 10505529"/>
              <a:gd name="connsiteY4303" fmla="*/ 6762839 h 7458372"/>
              <a:gd name="connsiteX4304" fmla="*/ 2414293 w 10505529"/>
              <a:gd name="connsiteY4304" fmla="*/ 6766433 h 7458372"/>
              <a:gd name="connsiteX4305" fmla="*/ 2410699 w 10505529"/>
              <a:gd name="connsiteY4305" fmla="*/ 6775884 h 7458372"/>
              <a:gd name="connsiteX4306" fmla="*/ 2414293 w 10505529"/>
              <a:gd name="connsiteY4306" fmla="*/ 6785335 h 7458372"/>
              <a:gd name="connsiteX4307" fmla="*/ 2424276 w 10505529"/>
              <a:gd name="connsiteY4307" fmla="*/ 6788797 h 7458372"/>
              <a:gd name="connsiteX4308" fmla="*/ 2429601 w 10505529"/>
              <a:gd name="connsiteY4308" fmla="*/ 6787865 h 7458372"/>
              <a:gd name="connsiteX4309" fmla="*/ 2433328 w 10505529"/>
              <a:gd name="connsiteY4309" fmla="*/ 6785468 h 7458372"/>
              <a:gd name="connsiteX4310" fmla="*/ 2435991 w 10505529"/>
              <a:gd name="connsiteY4310" fmla="*/ 6781209 h 7458372"/>
              <a:gd name="connsiteX4311" fmla="*/ 2436923 w 10505529"/>
              <a:gd name="connsiteY4311" fmla="*/ 6775751 h 7458372"/>
              <a:gd name="connsiteX4312" fmla="*/ 2435991 w 10505529"/>
              <a:gd name="connsiteY4312" fmla="*/ 6770560 h 7458372"/>
              <a:gd name="connsiteX4313" fmla="*/ 2433328 w 10505529"/>
              <a:gd name="connsiteY4313" fmla="*/ 6766433 h 7458372"/>
              <a:gd name="connsiteX4314" fmla="*/ 2429335 w 10505529"/>
              <a:gd name="connsiteY4314" fmla="*/ 6763770 h 7458372"/>
              <a:gd name="connsiteX4315" fmla="*/ 2424276 w 10505529"/>
              <a:gd name="connsiteY4315" fmla="*/ 6762839 h 7458372"/>
              <a:gd name="connsiteX4316" fmla="*/ 2206612 w 10505529"/>
              <a:gd name="connsiteY4316" fmla="*/ 6762839 h 7458372"/>
              <a:gd name="connsiteX4317" fmla="*/ 2196628 w 10505529"/>
              <a:gd name="connsiteY4317" fmla="*/ 6766433 h 7458372"/>
              <a:gd name="connsiteX4318" fmla="*/ 2193034 w 10505529"/>
              <a:gd name="connsiteY4318" fmla="*/ 6775884 h 7458372"/>
              <a:gd name="connsiteX4319" fmla="*/ 2196628 w 10505529"/>
              <a:gd name="connsiteY4319" fmla="*/ 6785335 h 7458372"/>
              <a:gd name="connsiteX4320" fmla="*/ 2206612 w 10505529"/>
              <a:gd name="connsiteY4320" fmla="*/ 6788797 h 7458372"/>
              <a:gd name="connsiteX4321" fmla="*/ 2211937 w 10505529"/>
              <a:gd name="connsiteY4321" fmla="*/ 6787865 h 7458372"/>
              <a:gd name="connsiteX4322" fmla="*/ 2215664 w 10505529"/>
              <a:gd name="connsiteY4322" fmla="*/ 6785468 h 7458372"/>
              <a:gd name="connsiteX4323" fmla="*/ 2218327 w 10505529"/>
              <a:gd name="connsiteY4323" fmla="*/ 6781209 h 7458372"/>
              <a:gd name="connsiteX4324" fmla="*/ 2219258 w 10505529"/>
              <a:gd name="connsiteY4324" fmla="*/ 6775751 h 7458372"/>
              <a:gd name="connsiteX4325" fmla="*/ 2218327 w 10505529"/>
              <a:gd name="connsiteY4325" fmla="*/ 6770560 h 7458372"/>
              <a:gd name="connsiteX4326" fmla="*/ 2215664 w 10505529"/>
              <a:gd name="connsiteY4326" fmla="*/ 6766433 h 7458372"/>
              <a:gd name="connsiteX4327" fmla="*/ 2211671 w 10505529"/>
              <a:gd name="connsiteY4327" fmla="*/ 6763770 h 7458372"/>
              <a:gd name="connsiteX4328" fmla="*/ 2206612 w 10505529"/>
              <a:gd name="connsiteY4328" fmla="*/ 6762839 h 7458372"/>
              <a:gd name="connsiteX4329" fmla="*/ 1989080 w 10505529"/>
              <a:gd name="connsiteY4329" fmla="*/ 6762839 h 7458372"/>
              <a:gd name="connsiteX4330" fmla="*/ 1979097 w 10505529"/>
              <a:gd name="connsiteY4330" fmla="*/ 6766433 h 7458372"/>
              <a:gd name="connsiteX4331" fmla="*/ 1975503 w 10505529"/>
              <a:gd name="connsiteY4331" fmla="*/ 6775884 h 7458372"/>
              <a:gd name="connsiteX4332" fmla="*/ 1979097 w 10505529"/>
              <a:gd name="connsiteY4332" fmla="*/ 6785335 h 7458372"/>
              <a:gd name="connsiteX4333" fmla="*/ 1989080 w 10505529"/>
              <a:gd name="connsiteY4333" fmla="*/ 6788797 h 7458372"/>
              <a:gd name="connsiteX4334" fmla="*/ 1994405 w 10505529"/>
              <a:gd name="connsiteY4334" fmla="*/ 6787865 h 7458372"/>
              <a:gd name="connsiteX4335" fmla="*/ 1998132 w 10505529"/>
              <a:gd name="connsiteY4335" fmla="*/ 6785468 h 7458372"/>
              <a:gd name="connsiteX4336" fmla="*/ 2000795 w 10505529"/>
              <a:gd name="connsiteY4336" fmla="*/ 6781209 h 7458372"/>
              <a:gd name="connsiteX4337" fmla="*/ 2001726 w 10505529"/>
              <a:gd name="connsiteY4337" fmla="*/ 6775751 h 7458372"/>
              <a:gd name="connsiteX4338" fmla="*/ 2000795 w 10505529"/>
              <a:gd name="connsiteY4338" fmla="*/ 6770560 h 7458372"/>
              <a:gd name="connsiteX4339" fmla="*/ 1998132 w 10505529"/>
              <a:gd name="connsiteY4339" fmla="*/ 6766433 h 7458372"/>
              <a:gd name="connsiteX4340" fmla="*/ 1994139 w 10505529"/>
              <a:gd name="connsiteY4340" fmla="*/ 6763770 h 7458372"/>
              <a:gd name="connsiteX4341" fmla="*/ 1989080 w 10505529"/>
              <a:gd name="connsiteY4341" fmla="*/ 6762839 h 7458372"/>
              <a:gd name="connsiteX4342" fmla="*/ 1771449 w 10505529"/>
              <a:gd name="connsiteY4342" fmla="*/ 6762839 h 7458372"/>
              <a:gd name="connsiteX4343" fmla="*/ 1761467 w 10505529"/>
              <a:gd name="connsiteY4343" fmla="*/ 6766433 h 7458372"/>
              <a:gd name="connsiteX4344" fmla="*/ 1757873 w 10505529"/>
              <a:gd name="connsiteY4344" fmla="*/ 6775884 h 7458372"/>
              <a:gd name="connsiteX4345" fmla="*/ 1761467 w 10505529"/>
              <a:gd name="connsiteY4345" fmla="*/ 6785335 h 7458372"/>
              <a:gd name="connsiteX4346" fmla="*/ 1771449 w 10505529"/>
              <a:gd name="connsiteY4346" fmla="*/ 6788797 h 7458372"/>
              <a:gd name="connsiteX4347" fmla="*/ 1776774 w 10505529"/>
              <a:gd name="connsiteY4347" fmla="*/ 6787865 h 7458372"/>
              <a:gd name="connsiteX4348" fmla="*/ 1780499 w 10505529"/>
              <a:gd name="connsiteY4348" fmla="*/ 6785468 h 7458372"/>
              <a:gd name="connsiteX4349" fmla="*/ 1783162 w 10505529"/>
              <a:gd name="connsiteY4349" fmla="*/ 6781209 h 7458372"/>
              <a:gd name="connsiteX4350" fmla="*/ 1784227 w 10505529"/>
              <a:gd name="connsiteY4350" fmla="*/ 6775751 h 7458372"/>
              <a:gd name="connsiteX4351" fmla="*/ 1783162 w 10505529"/>
              <a:gd name="connsiteY4351" fmla="*/ 6770560 h 7458372"/>
              <a:gd name="connsiteX4352" fmla="*/ 1780499 w 10505529"/>
              <a:gd name="connsiteY4352" fmla="*/ 6766433 h 7458372"/>
              <a:gd name="connsiteX4353" fmla="*/ 1776508 w 10505529"/>
              <a:gd name="connsiteY4353" fmla="*/ 6763770 h 7458372"/>
              <a:gd name="connsiteX4354" fmla="*/ 1771449 w 10505529"/>
              <a:gd name="connsiteY4354" fmla="*/ 6762839 h 7458372"/>
              <a:gd name="connsiteX4355" fmla="*/ 1553813 w 10505529"/>
              <a:gd name="connsiteY4355" fmla="*/ 6762839 h 7458372"/>
              <a:gd name="connsiteX4356" fmla="*/ 1543831 w 10505529"/>
              <a:gd name="connsiteY4356" fmla="*/ 6766433 h 7458372"/>
              <a:gd name="connsiteX4357" fmla="*/ 1540236 w 10505529"/>
              <a:gd name="connsiteY4357" fmla="*/ 6775884 h 7458372"/>
              <a:gd name="connsiteX4358" fmla="*/ 1543831 w 10505529"/>
              <a:gd name="connsiteY4358" fmla="*/ 6785335 h 7458372"/>
              <a:gd name="connsiteX4359" fmla="*/ 1553813 w 10505529"/>
              <a:gd name="connsiteY4359" fmla="*/ 6788797 h 7458372"/>
              <a:gd name="connsiteX4360" fmla="*/ 1559138 w 10505529"/>
              <a:gd name="connsiteY4360" fmla="*/ 6787865 h 7458372"/>
              <a:gd name="connsiteX4361" fmla="*/ 1562865 w 10505529"/>
              <a:gd name="connsiteY4361" fmla="*/ 6785468 h 7458372"/>
              <a:gd name="connsiteX4362" fmla="*/ 1565528 w 10505529"/>
              <a:gd name="connsiteY4362" fmla="*/ 6781209 h 7458372"/>
              <a:gd name="connsiteX4363" fmla="*/ 1566593 w 10505529"/>
              <a:gd name="connsiteY4363" fmla="*/ 6775751 h 7458372"/>
              <a:gd name="connsiteX4364" fmla="*/ 1565528 w 10505529"/>
              <a:gd name="connsiteY4364" fmla="*/ 6770560 h 7458372"/>
              <a:gd name="connsiteX4365" fmla="*/ 1562865 w 10505529"/>
              <a:gd name="connsiteY4365" fmla="*/ 6766433 h 7458372"/>
              <a:gd name="connsiteX4366" fmla="*/ 1558872 w 10505529"/>
              <a:gd name="connsiteY4366" fmla="*/ 6763770 h 7458372"/>
              <a:gd name="connsiteX4367" fmla="*/ 1553813 w 10505529"/>
              <a:gd name="connsiteY4367" fmla="*/ 6762839 h 7458372"/>
              <a:gd name="connsiteX4368" fmla="*/ 1336171 w 10505529"/>
              <a:gd name="connsiteY4368" fmla="*/ 6762839 h 7458372"/>
              <a:gd name="connsiteX4369" fmla="*/ 1326187 w 10505529"/>
              <a:gd name="connsiteY4369" fmla="*/ 6766433 h 7458372"/>
              <a:gd name="connsiteX4370" fmla="*/ 1322592 w 10505529"/>
              <a:gd name="connsiteY4370" fmla="*/ 6775884 h 7458372"/>
              <a:gd name="connsiteX4371" fmla="*/ 1326187 w 10505529"/>
              <a:gd name="connsiteY4371" fmla="*/ 6785335 h 7458372"/>
              <a:gd name="connsiteX4372" fmla="*/ 1336171 w 10505529"/>
              <a:gd name="connsiteY4372" fmla="*/ 6788797 h 7458372"/>
              <a:gd name="connsiteX4373" fmla="*/ 1341497 w 10505529"/>
              <a:gd name="connsiteY4373" fmla="*/ 6787865 h 7458372"/>
              <a:gd name="connsiteX4374" fmla="*/ 1345225 w 10505529"/>
              <a:gd name="connsiteY4374" fmla="*/ 6785468 h 7458372"/>
              <a:gd name="connsiteX4375" fmla="*/ 1347886 w 10505529"/>
              <a:gd name="connsiteY4375" fmla="*/ 6781209 h 7458372"/>
              <a:gd name="connsiteX4376" fmla="*/ 1348952 w 10505529"/>
              <a:gd name="connsiteY4376" fmla="*/ 6775751 h 7458372"/>
              <a:gd name="connsiteX4377" fmla="*/ 1347886 w 10505529"/>
              <a:gd name="connsiteY4377" fmla="*/ 6770560 h 7458372"/>
              <a:gd name="connsiteX4378" fmla="*/ 1345225 w 10505529"/>
              <a:gd name="connsiteY4378" fmla="*/ 6766433 h 7458372"/>
              <a:gd name="connsiteX4379" fmla="*/ 1341229 w 10505529"/>
              <a:gd name="connsiteY4379" fmla="*/ 6763770 h 7458372"/>
              <a:gd name="connsiteX4380" fmla="*/ 1336171 w 10505529"/>
              <a:gd name="connsiteY4380" fmla="*/ 6762839 h 7458372"/>
              <a:gd name="connsiteX4381" fmla="*/ 1118658 w 10505529"/>
              <a:gd name="connsiteY4381" fmla="*/ 6762839 h 7458372"/>
              <a:gd name="connsiteX4382" fmla="*/ 1108672 w 10505529"/>
              <a:gd name="connsiteY4382" fmla="*/ 6766433 h 7458372"/>
              <a:gd name="connsiteX4383" fmla="*/ 1104945 w 10505529"/>
              <a:gd name="connsiteY4383" fmla="*/ 6775884 h 7458372"/>
              <a:gd name="connsiteX4384" fmla="*/ 1108539 w 10505529"/>
              <a:gd name="connsiteY4384" fmla="*/ 6785335 h 7458372"/>
              <a:gd name="connsiteX4385" fmla="*/ 1118525 w 10505529"/>
              <a:gd name="connsiteY4385" fmla="*/ 6788797 h 7458372"/>
              <a:gd name="connsiteX4386" fmla="*/ 1123981 w 10505529"/>
              <a:gd name="connsiteY4386" fmla="*/ 6787865 h 7458372"/>
              <a:gd name="connsiteX4387" fmla="*/ 1127712 w 10505529"/>
              <a:gd name="connsiteY4387" fmla="*/ 6785468 h 7458372"/>
              <a:gd name="connsiteX4388" fmla="*/ 1130377 w 10505529"/>
              <a:gd name="connsiteY4388" fmla="*/ 6781209 h 7458372"/>
              <a:gd name="connsiteX4389" fmla="*/ 1131441 w 10505529"/>
              <a:gd name="connsiteY4389" fmla="*/ 6775751 h 7458372"/>
              <a:gd name="connsiteX4390" fmla="*/ 1130377 w 10505529"/>
              <a:gd name="connsiteY4390" fmla="*/ 6770560 h 7458372"/>
              <a:gd name="connsiteX4391" fmla="*/ 1127712 w 10505529"/>
              <a:gd name="connsiteY4391" fmla="*/ 6766433 h 7458372"/>
              <a:gd name="connsiteX4392" fmla="*/ 1123717 w 10505529"/>
              <a:gd name="connsiteY4392" fmla="*/ 6763770 h 7458372"/>
              <a:gd name="connsiteX4393" fmla="*/ 1118658 w 10505529"/>
              <a:gd name="connsiteY4393" fmla="*/ 6762839 h 7458372"/>
              <a:gd name="connsiteX4394" fmla="*/ 901146 w 10505529"/>
              <a:gd name="connsiteY4394" fmla="*/ 6762839 h 7458372"/>
              <a:gd name="connsiteX4395" fmla="*/ 891161 w 10505529"/>
              <a:gd name="connsiteY4395" fmla="*/ 6766433 h 7458372"/>
              <a:gd name="connsiteX4396" fmla="*/ 887434 w 10505529"/>
              <a:gd name="connsiteY4396" fmla="*/ 6775884 h 7458372"/>
              <a:gd name="connsiteX4397" fmla="*/ 891029 w 10505529"/>
              <a:gd name="connsiteY4397" fmla="*/ 6785335 h 7458372"/>
              <a:gd name="connsiteX4398" fmla="*/ 901012 w 10505529"/>
              <a:gd name="connsiteY4398" fmla="*/ 6788797 h 7458372"/>
              <a:gd name="connsiteX4399" fmla="*/ 906470 w 10505529"/>
              <a:gd name="connsiteY4399" fmla="*/ 6787865 h 7458372"/>
              <a:gd name="connsiteX4400" fmla="*/ 910198 w 10505529"/>
              <a:gd name="connsiteY4400" fmla="*/ 6785468 h 7458372"/>
              <a:gd name="connsiteX4401" fmla="*/ 912860 w 10505529"/>
              <a:gd name="connsiteY4401" fmla="*/ 6781209 h 7458372"/>
              <a:gd name="connsiteX4402" fmla="*/ 913925 w 10505529"/>
              <a:gd name="connsiteY4402" fmla="*/ 6775751 h 7458372"/>
              <a:gd name="connsiteX4403" fmla="*/ 912860 w 10505529"/>
              <a:gd name="connsiteY4403" fmla="*/ 6770560 h 7458372"/>
              <a:gd name="connsiteX4404" fmla="*/ 910198 w 10505529"/>
              <a:gd name="connsiteY4404" fmla="*/ 6766433 h 7458372"/>
              <a:gd name="connsiteX4405" fmla="*/ 906204 w 10505529"/>
              <a:gd name="connsiteY4405" fmla="*/ 6763770 h 7458372"/>
              <a:gd name="connsiteX4406" fmla="*/ 901146 w 10505529"/>
              <a:gd name="connsiteY4406" fmla="*/ 6762839 h 7458372"/>
              <a:gd name="connsiteX4407" fmla="*/ 683372 w 10505529"/>
              <a:gd name="connsiteY4407" fmla="*/ 6762839 h 7458372"/>
              <a:gd name="connsiteX4408" fmla="*/ 673389 w 10505529"/>
              <a:gd name="connsiteY4408" fmla="*/ 6766433 h 7458372"/>
              <a:gd name="connsiteX4409" fmla="*/ 669795 w 10505529"/>
              <a:gd name="connsiteY4409" fmla="*/ 6775884 h 7458372"/>
              <a:gd name="connsiteX4410" fmla="*/ 673389 w 10505529"/>
              <a:gd name="connsiteY4410" fmla="*/ 6785335 h 7458372"/>
              <a:gd name="connsiteX4411" fmla="*/ 683372 w 10505529"/>
              <a:gd name="connsiteY4411" fmla="*/ 6788797 h 7458372"/>
              <a:gd name="connsiteX4412" fmla="*/ 688698 w 10505529"/>
              <a:gd name="connsiteY4412" fmla="*/ 6787865 h 7458372"/>
              <a:gd name="connsiteX4413" fmla="*/ 692425 w 10505529"/>
              <a:gd name="connsiteY4413" fmla="*/ 6785468 h 7458372"/>
              <a:gd name="connsiteX4414" fmla="*/ 695088 w 10505529"/>
              <a:gd name="connsiteY4414" fmla="*/ 6781209 h 7458372"/>
              <a:gd name="connsiteX4415" fmla="*/ 696153 w 10505529"/>
              <a:gd name="connsiteY4415" fmla="*/ 6775751 h 7458372"/>
              <a:gd name="connsiteX4416" fmla="*/ 695088 w 10505529"/>
              <a:gd name="connsiteY4416" fmla="*/ 6770560 h 7458372"/>
              <a:gd name="connsiteX4417" fmla="*/ 692425 w 10505529"/>
              <a:gd name="connsiteY4417" fmla="*/ 6766433 h 7458372"/>
              <a:gd name="connsiteX4418" fmla="*/ 688432 w 10505529"/>
              <a:gd name="connsiteY4418" fmla="*/ 6763770 h 7458372"/>
              <a:gd name="connsiteX4419" fmla="*/ 683372 w 10505529"/>
              <a:gd name="connsiteY4419" fmla="*/ 6762839 h 7458372"/>
              <a:gd name="connsiteX4420" fmla="*/ 465732 w 10505529"/>
              <a:gd name="connsiteY4420" fmla="*/ 6762839 h 7458372"/>
              <a:gd name="connsiteX4421" fmla="*/ 455749 w 10505529"/>
              <a:gd name="connsiteY4421" fmla="*/ 6766433 h 7458372"/>
              <a:gd name="connsiteX4422" fmla="*/ 452155 w 10505529"/>
              <a:gd name="connsiteY4422" fmla="*/ 6775884 h 7458372"/>
              <a:gd name="connsiteX4423" fmla="*/ 455749 w 10505529"/>
              <a:gd name="connsiteY4423" fmla="*/ 6785335 h 7458372"/>
              <a:gd name="connsiteX4424" fmla="*/ 465732 w 10505529"/>
              <a:gd name="connsiteY4424" fmla="*/ 6788797 h 7458372"/>
              <a:gd name="connsiteX4425" fmla="*/ 471057 w 10505529"/>
              <a:gd name="connsiteY4425" fmla="*/ 6787865 h 7458372"/>
              <a:gd name="connsiteX4426" fmla="*/ 474784 w 10505529"/>
              <a:gd name="connsiteY4426" fmla="*/ 6785468 h 7458372"/>
              <a:gd name="connsiteX4427" fmla="*/ 477447 w 10505529"/>
              <a:gd name="connsiteY4427" fmla="*/ 6781209 h 7458372"/>
              <a:gd name="connsiteX4428" fmla="*/ 478512 w 10505529"/>
              <a:gd name="connsiteY4428" fmla="*/ 6775751 h 7458372"/>
              <a:gd name="connsiteX4429" fmla="*/ 477447 w 10505529"/>
              <a:gd name="connsiteY4429" fmla="*/ 6770560 h 7458372"/>
              <a:gd name="connsiteX4430" fmla="*/ 474784 w 10505529"/>
              <a:gd name="connsiteY4430" fmla="*/ 6766433 h 7458372"/>
              <a:gd name="connsiteX4431" fmla="*/ 470791 w 10505529"/>
              <a:gd name="connsiteY4431" fmla="*/ 6763770 h 7458372"/>
              <a:gd name="connsiteX4432" fmla="*/ 465732 w 10505529"/>
              <a:gd name="connsiteY4432" fmla="*/ 6762839 h 7458372"/>
              <a:gd name="connsiteX4433" fmla="*/ 248091 w 10505529"/>
              <a:gd name="connsiteY4433" fmla="*/ 6762839 h 7458372"/>
              <a:gd name="connsiteX4434" fmla="*/ 238109 w 10505529"/>
              <a:gd name="connsiteY4434" fmla="*/ 6766433 h 7458372"/>
              <a:gd name="connsiteX4435" fmla="*/ 234515 w 10505529"/>
              <a:gd name="connsiteY4435" fmla="*/ 6775884 h 7458372"/>
              <a:gd name="connsiteX4436" fmla="*/ 238109 w 10505529"/>
              <a:gd name="connsiteY4436" fmla="*/ 6785335 h 7458372"/>
              <a:gd name="connsiteX4437" fmla="*/ 248091 w 10505529"/>
              <a:gd name="connsiteY4437" fmla="*/ 6788797 h 7458372"/>
              <a:gd name="connsiteX4438" fmla="*/ 253416 w 10505529"/>
              <a:gd name="connsiteY4438" fmla="*/ 6787865 h 7458372"/>
              <a:gd name="connsiteX4439" fmla="*/ 257142 w 10505529"/>
              <a:gd name="connsiteY4439" fmla="*/ 6785468 h 7458372"/>
              <a:gd name="connsiteX4440" fmla="*/ 259805 w 10505529"/>
              <a:gd name="connsiteY4440" fmla="*/ 6781209 h 7458372"/>
              <a:gd name="connsiteX4441" fmla="*/ 260870 w 10505529"/>
              <a:gd name="connsiteY4441" fmla="*/ 6775751 h 7458372"/>
              <a:gd name="connsiteX4442" fmla="*/ 259805 w 10505529"/>
              <a:gd name="connsiteY4442" fmla="*/ 6770560 h 7458372"/>
              <a:gd name="connsiteX4443" fmla="*/ 257142 w 10505529"/>
              <a:gd name="connsiteY4443" fmla="*/ 6766433 h 7458372"/>
              <a:gd name="connsiteX4444" fmla="*/ 253150 w 10505529"/>
              <a:gd name="connsiteY4444" fmla="*/ 6763770 h 7458372"/>
              <a:gd name="connsiteX4445" fmla="*/ 248091 w 10505529"/>
              <a:gd name="connsiteY4445" fmla="*/ 6762839 h 7458372"/>
              <a:gd name="connsiteX4446" fmla="*/ 30450 w 10505529"/>
              <a:gd name="connsiteY4446" fmla="*/ 6762839 h 7458372"/>
              <a:gd name="connsiteX4447" fmla="*/ 20467 w 10505529"/>
              <a:gd name="connsiteY4447" fmla="*/ 6766433 h 7458372"/>
              <a:gd name="connsiteX4448" fmla="*/ 16874 w 10505529"/>
              <a:gd name="connsiteY4448" fmla="*/ 6775884 h 7458372"/>
              <a:gd name="connsiteX4449" fmla="*/ 20467 w 10505529"/>
              <a:gd name="connsiteY4449" fmla="*/ 6785335 h 7458372"/>
              <a:gd name="connsiteX4450" fmla="*/ 30450 w 10505529"/>
              <a:gd name="connsiteY4450" fmla="*/ 6788797 h 7458372"/>
              <a:gd name="connsiteX4451" fmla="*/ 35775 w 10505529"/>
              <a:gd name="connsiteY4451" fmla="*/ 6787865 h 7458372"/>
              <a:gd name="connsiteX4452" fmla="*/ 39502 w 10505529"/>
              <a:gd name="connsiteY4452" fmla="*/ 6785468 h 7458372"/>
              <a:gd name="connsiteX4453" fmla="*/ 42165 w 10505529"/>
              <a:gd name="connsiteY4453" fmla="*/ 6781209 h 7458372"/>
              <a:gd name="connsiteX4454" fmla="*/ 43096 w 10505529"/>
              <a:gd name="connsiteY4454" fmla="*/ 6775751 h 7458372"/>
              <a:gd name="connsiteX4455" fmla="*/ 42165 w 10505529"/>
              <a:gd name="connsiteY4455" fmla="*/ 6770560 h 7458372"/>
              <a:gd name="connsiteX4456" fmla="*/ 39502 w 10505529"/>
              <a:gd name="connsiteY4456" fmla="*/ 6766433 h 7458372"/>
              <a:gd name="connsiteX4457" fmla="*/ 35509 w 10505529"/>
              <a:gd name="connsiteY4457" fmla="*/ 6763770 h 7458372"/>
              <a:gd name="connsiteX4458" fmla="*/ 30450 w 10505529"/>
              <a:gd name="connsiteY4458" fmla="*/ 6762839 h 7458372"/>
              <a:gd name="connsiteX4459" fmla="*/ 10475977 w 10505529"/>
              <a:gd name="connsiteY4459" fmla="*/ 6746199 h 7458372"/>
              <a:gd name="connsiteX4460" fmla="*/ 10487824 w 10505529"/>
              <a:gd name="connsiteY4460" fmla="*/ 6748595 h 7458372"/>
              <a:gd name="connsiteX4461" fmla="*/ 10497143 w 10505529"/>
              <a:gd name="connsiteY4461" fmla="*/ 6754985 h 7458372"/>
              <a:gd name="connsiteX4462" fmla="*/ 10503266 w 10505529"/>
              <a:gd name="connsiteY4462" fmla="*/ 6764303 h 7458372"/>
              <a:gd name="connsiteX4463" fmla="*/ 10505529 w 10505529"/>
              <a:gd name="connsiteY4463" fmla="*/ 6775751 h 7458372"/>
              <a:gd name="connsiteX4464" fmla="*/ 10503266 w 10505529"/>
              <a:gd name="connsiteY4464" fmla="*/ 6787466 h 7458372"/>
              <a:gd name="connsiteX4465" fmla="*/ 10497143 w 10505529"/>
              <a:gd name="connsiteY4465" fmla="*/ 6796917 h 7458372"/>
              <a:gd name="connsiteX4466" fmla="*/ 10487824 w 10505529"/>
              <a:gd name="connsiteY4466" fmla="*/ 6803174 h 7458372"/>
              <a:gd name="connsiteX4467" fmla="*/ 10475977 w 10505529"/>
              <a:gd name="connsiteY4467" fmla="*/ 6805437 h 7458372"/>
              <a:gd name="connsiteX4468" fmla="*/ 10454145 w 10505529"/>
              <a:gd name="connsiteY4468" fmla="*/ 6796917 h 7458372"/>
              <a:gd name="connsiteX4469" fmla="*/ 10445759 w 10505529"/>
              <a:gd name="connsiteY4469" fmla="*/ 6775751 h 7458372"/>
              <a:gd name="connsiteX4470" fmla="*/ 10454145 w 10505529"/>
              <a:gd name="connsiteY4470" fmla="*/ 6754719 h 7458372"/>
              <a:gd name="connsiteX4471" fmla="*/ 10475977 w 10505529"/>
              <a:gd name="connsiteY4471" fmla="*/ 6746199 h 7458372"/>
              <a:gd name="connsiteX4472" fmla="*/ 10258466 w 10505529"/>
              <a:gd name="connsiteY4472" fmla="*/ 6746199 h 7458372"/>
              <a:gd name="connsiteX4473" fmla="*/ 10270313 w 10505529"/>
              <a:gd name="connsiteY4473" fmla="*/ 6748595 h 7458372"/>
              <a:gd name="connsiteX4474" fmla="*/ 10279631 w 10505529"/>
              <a:gd name="connsiteY4474" fmla="*/ 6754985 h 7458372"/>
              <a:gd name="connsiteX4475" fmla="*/ 10285754 w 10505529"/>
              <a:gd name="connsiteY4475" fmla="*/ 6764303 h 7458372"/>
              <a:gd name="connsiteX4476" fmla="*/ 10288017 w 10505529"/>
              <a:gd name="connsiteY4476" fmla="*/ 6775751 h 7458372"/>
              <a:gd name="connsiteX4477" fmla="*/ 10285754 w 10505529"/>
              <a:gd name="connsiteY4477" fmla="*/ 6787466 h 7458372"/>
              <a:gd name="connsiteX4478" fmla="*/ 10279631 w 10505529"/>
              <a:gd name="connsiteY4478" fmla="*/ 6796917 h 7458372"/>
              <a:gd name="connsiteX4479" fmla="*/ 10270313 w 10505529"/>
              <a:gd name="connsiteY4479" fmla="*/ 6803174 h 7458372"/>
              <a:gd name="connsiteX4480" fmla="*/ 10258466 w 10505529"/>
              <a:gd name="connsiteY4480" fmla="*/ 6805437 h 7458372"/>
              <a:gd name="connsiteX4481" fmla="*/ 10236633 w 10505529"/>
              <a:gd name="connsiteY4481" fmla="*/ 6796917 h 7458372"/>
              <a:gd name="connsiteX4482" fmla="*/ 10228247 w 10505529"/>
              <a:gd name="connsiteY4482" fmla="*/ 6775751 h 7458372"/>
              <a:gd name="connsiteX4483" fmla="*/ 10236633 w 10505529"/>
              <a:gd name="connsiteY4483" fmla="*/ 6754719 h 7458372"/>
              <a:gd name="connsiteX4484" fmla="*/ 10258466 w 10505529"/>
              <a:gd name="connsiteY4484" fmla="*/ 6746199 h 7458372"/>
              <a:gd name="connsiteX4485" fmla="*/ 10040820 w 10505529"/>
              <a:gd name="connsiteY4485" fmla="*/ 6746199 h 7458372"/>
              <a:gd name="connsiteX4486" fmla="*/ 10052534 w 10505529"/>
              <a:gd name="connsiteY4486" fmla="*/ 6748595 h 7458372"/>
              <a:gd name="connsiteX4487" fmla="*/ 10061852 w 10505529"/>
              <a:gd name="connsiteY4487" fmla="*/ 6754985 h 7458372"/>
              <a:gd name="connsiteX4488" fmla="*/ 10067976 w 10505529"/>
              <a:gd name="connsiteY4488" fmla="*/ 6764303 h 7458372"/>
              <a:gd name="connsiteX4489" fmla="*/ 10070239 w 10505529"/>
              <a:gd name="connsiteY4489" fmla="*/ 6775751 h 7458372"/>
              <a:gd name="connsiteX4490" fmla="*/ 10067976 w 10505529"/>
              <a:gd name="connsiteY4490" fmla="*/ 6787466 h 7458372"/>
              <a:gd name="connsiteX4491" fmla="*/ 10061852 w 10505529"/>
              <a:gd name="connsiteY4491" fmla="*/ 6796917 h 7458372"/>
              <a:gd name="connsiteX4492" fmla="*/ 10052534 w 10505529"/>
              <a:gd name="connsiteY4492" fmla="*/ 6803174 h 7458372"/>
              <a:gd name="connsiteX4493" fmla="*/ 10040820 w 10505529"/>
              <a:gd name="connsiteY4493" fmla="*/ 6805437 h 7458372"/>
              <a:gd name="connsiteX4494" fmla="*/ 10018988 w 10505529"/>
              <a:gd name="connsiteY4494" fmla="*/ 6796917 h 7458372"/>
              <a:gd name="connsiteX4495" fmla="*/ 10010602 w 10505529"/>
              <a:gd name="connsiteY4495" fmla="*/ 6775751 h 7458372"/>
              <a:gd name="connsiteX4496" fmla="*/ 10018988 w 10505529"/>
              <a:gd name="connsiteY4496" fmla="*/ 6754719 h 7458372"/>
              <a:gd name="connsiteX4497" fmla="*/ 10040820 w 10505529"/>
              <a:gd name="connsiteY4497" fmla="*/ 6746199 h 7458372"/>
              <a:gd name="connsiteX4498" fmla="*/ 9823176 w 10505529"/>
              <a:gd name="connsiteY4498" fmla="*/ 6746199 h 7458372"/>
              <a:gd name="connsiteX4499" fmla="*/ 9834890 w 10505529"/>
              <a:gd name="connsiteY4499" fmla="*/ 6748595 h 7458372"/>
              <a:gd name="connsiteX4500" fmla="*/ 9844208 w 10505529"/>
              <a:gd name="connsiteY4500" fmla="*/ 6754985 h 7458372"/>
              <a:gd name="connsiteX4501" fmla="*/ 9850331 w 10505529"/>
              <a:gd name="connsiteY4501" fmla="*/ 6764303 h 7458372"/>
              <a:gd name="connsiteX4502" fmla="*/ 9852595 w 10505529"/>
              <a:gd name="connsiteY4502" fmla="*/ 6775751 h 7458372"/>
              <a:gd name="connsiteX4503" fmla="*/ 9850331 w 10505529"/>
              <a:gd name="connsiteY4503" fmla="*/ 6787466 h 7458372"/>
              <a:gd name="connsiteX4504" fmla="*/ 9844208 w 10505529"/>
              <a:gd name="connsiteY4504" fmla="*/ 6796917 h 7458372"/>
              <a:gd name="connsiteX4505" fmla="*/ 9834890 w 10505529"/>
              <a:gd name="connsiteY4505" fmla="*/ 6803174 h 7458372"/>
              <a:gd name="connsiteX4506" fmla="*/ 9823176 w 10505529"/>
              <a:gd name="connsiteY4506" fmla="*/ 6805437 h 7458372"/>
              <a:gd name="connsiteX4507" fmla="*/ 9801343 w 10505529"/>
              <a:gd name="connsiteY4507" fmla="*/ 6796917 h 7458372"/>
              <a:gd name="connsiteX4508" fmla="*/ 9792957 w 10505529"/>
              <a:gd name="connsiteY4508" fmla="*/ 6775751 h 7458372"/>
              <a:gd name="connsiteX4509" fmla="*/ 9801343 w 10505529"/>
              <a:gd name="connsiteY4509" fmla="*/ 6754719 h 7458372"/>
              <a:gd name="connsiteX4510" fmla="*/ 9823176 w 10505529"/>
              <a:gd name="connsiteY4510" fmla="*/ 6746199 h 7458372"/>
              <a:gd name="connsiteX4511" fmla="*/ 9605531 w 10505529"/>
              <a:gd name="connsiteY4511" fmla="*/ 6746199 h 7458372"/>
              <a:gd name="connsiteX4512" fmla="*/ 9617245 w 10505529"/>
              <a:gd name="connsiteY4512" fmla="*/ 6748595 h 7458372"/>
              <a:gd name="connsiteX4513" fmla="*/ 9626562 w 10505529"/>
              <a:gd name="connsiteY4513" fmla="*/ 6754985 h 7458372"/>
              <a:gd name="connsiteX4514" fmla="*/ 9632686 w 10505529"/>
              <a:gd name="connsiteY4514" fmla="*/ 6764303 h 7458372"/>
              <a:gd name="connsiteX4515" fmla="*/ 9634949 w 10505529"/>
              <a:gd name="connsiteY4515" fmla="*/ 6775751 h 7458372"/>
              <a:gd name="connsiteX4516" fmla="*/ 9632686 w 10505529"/>
              <a:gd name="connsiteY4516" fmla="*/ 6787466 h 7458372"/>
              <a:gd name="connsiteX4517" fmla="*/ 9626562 w 10505529"/>
              <a:gd name="connsiteY4517" fmla="*/ 6796917 h 7458372"/>
              <a:gd name="connsiteX4518" fmla="*/ 9617245 w 10505529"/>
              <a:gd name="connsiteY4518" fmla="*/ 6803174 h 7458372"/>
              <a:gd name="connsiteX4519" fmla="*/ 9605531 w 10505529"/>
              <a:gd name="connsiteY4519" fmla="*/ 6805437 h 7458372"/>
              <a:gd name="connsiteX4520" fmla="*/ 9583698 w 10505529"/>
              <a:gd name="connsiteY4520" fmla="*/ 6796917 h 7458372"/>
              <a:gd name="connsiteX4521" fmla="*/ 9575312 w 10505529"/>
              <a:gd name="connsiteY4521" fmla="*/ 6775751 h 7458372"/>
              <a:gd name="connsiteX4522" fmla="*/ 9583698 w 10505529"/>
              <a:gd name="connsiteY4522" fmla="*/ 6754719 h 7458372"/>
              <a:gd name="connsiteX4523" fmla="*/ 9605531 w 10505529"/>
              <a:gd name="connsiteY4523" fmla="*/ 6746199 h 7458372"/>
              <a:gd name="connsiteX4524" fmla="*/ 9387885 w 10505529"/>
              <a:gd name="connsiteY4524" fmla="*/ 6746199 h 7458372"/>
              <a:gd name="connsiteX4525" fmla="*/ 9399599 w 10505529"/>
              <a:gd name="connsiteY4525" fmla="*/ 6748595 h 7458372"/>
              <a:gd name="connsiteX4526" fmla="*/ 9408917 w 10505529"/>
              <a:gd name="connsiteY4526" fmla="*/ 6754985 h 7458372"/>
              <a:gd name="connsiteX4527" fmla="*/ 9415041 w 10505529"/>
              <a:gd name="connsiteY4527" fmla="*/ 6764303 h 7458372"/>
              <a:gd name="connsiteX4528" fmla="*/ 9417304 w 10505529"/>
              <a:gd name="connsiteY4528" fmla="*/ 6775751 h 7458372"/>
              <a:gd name="connsiteX4529" fmla="*/ 9415041 w 10505529"/>
              <a:gd name="connsiteY4529" fmla="*/ 6787466 h 7458372"/>
              <a:gd name="connsiteX4530" fmla="*/ 9408917 w 10505529"/>
              <a:gd name="connsiteY4530" fmla="*/ 6796917 h 7458372"/>
              <a:gd name="connsiteX4531" fmla="*/ 9399599 w 10505529"/>
              <a:gd name="connsiteY4531" fmla="*/ 6803174 h 7458372"/>
              <a:gd name="connsiteX4532" fmla="*/ 9387885 w 10505529"/>
              <a:gd name="connsiteY4532" fmla="*/ 6805437 h 7458372"/>
              <a:gd name="connsiteX4533" fmla="*/ 9366053 w 10505529"/>
              <a:gd name="connsiteY4533" fmla="*/ 6796917 h 7458372"/>
              <a:gd name="connsiteX4534" fmla="*/ 9357667 w 10505529"/>
              <a:gd name="connsiteY4534" fmla="*/ 6775751 h 7458372"/>
              <a:gd name="connsiteX4535" fmla="*/ 9366053 w 10505529"/>
              <a:gd name="connsiteY4535" fmla="*/ 6754719 h 7458372"/>
              <a:gd name="connsiteX4536" fmla="*/ 9387885 w 10505529"/>
              <a:gd name="connsiteY4536" fmla="*/ 6746199 h 7458372"/>
              <a:gd name="connsiteX4537" fmla="*/ 9170374 w 10505529"/>
              <a:gd name="connsiteY4537" fmla="*/ 6746199 h 7458372"/>
              <a:gd name="connsiteX4538" fmla="*/ 9182088 w 10505529"/>
              <a:gd name="connsiteY4538" fmla="*/ 6748595 h 7458372"/>
              <a:gd name="connsiteX4539" fmla="*/ 9191405 w 10505529"/>
              <a:gd name="connsiteY4539" fmla="*/ 6754985 h 7458372"/>
              <a:gd name="connsiteX4540" fmla="*/ 9197529 w 10505529"/>
              <a:gd name="connsiteY4540" fmla="*/ 6764303 h 7458372"/>
              <a:gd name="connsiteX4541" fmla="*/ 9199792 w 10505529"/>
              <a:gd name="connsiteY4541" fmla="*/ 6775751 h 7458372"/>
              <a:gd name="connsiteX4542" fmla="*/ 9197529 w 10505529"/>
              <a:gd name="connsiteY4542" fmla="*/ 6787466 h 7458372"/>
              <a:gd name="connsiteX4543" fmla="*/ 9191405 w 10505529"/>
              <a:gd name="connsiteY4543" fmla="*/ 6796917 h 7458372"/>
              <a:gd name="connsiteX4544" fmla="*/ 9182088 w 10505529"/>
              <a:gd name="connsiteY4544" fmla="*/ 6803174 h 7458372"/>
              <a:gd name="connsiteX4545" fmla="*/ 9170374 w 10505529"/>
              <a:gd name="connsiteY4545" fmla="*/ 6805437 h 7458372"/>
              <a:gd name="connsiteX4546" fmla="*/ 9148541 w 10505529"/>
              <a:gd name="connsiteY4546" fmla="*/ 6796917 h 7458372"/>
              <a:gd name="connsiteX4547" fmla="*/ 9140155 w 10505529"/>
              <a:gd name="connsiteY4547" fmla="*/ 6775751 h 7458372"/>
              <a:gd name="connsiteX4548" fmla="*/ 9148541 w 10505529"/>
              <a:gd name="connsiteY4548" fmla="*/ 6754719 h 7458372"/>
              <a:gd name="connsiteX4549" fmla="*/ 9170374 w 10505529"/>
              <a:gd name="connsiteY4549" fmla="*/ 6746199 h 7458372"/>
              <a:gd name="connsiteX4550" fmla="*/ 8952728 w 10505529"/>
              <a:gd name="connsiteY4550" fmla="*/ 6746199 h 7458372"/>
              <a:gd name="connsiteX4551" fmla="*/ 8964442 w 10505529"/>
              <a:gd name="connsiteY4551" fmla="*/ 6748595 h 7458372"/>
              <a:gd name="connsiteX4552" fmla="*/ 8973760 w 10505529"/>
              <a:gd name="connsiteY4552" fmla="*/ 6754985 h 7458372"/>
              <a:gd name="connsiteX4553" fmla="*/ 8979884 w 10505529"/>
              <a:gd name="connsiteY4553" fmla="*/ 6764303 h 7458372"/>
              <a:gd name="connsiteX4554" fmla="*/ 8982147 w 10505529"/>
              <a:gd name="connsiteY4554" fmla="*/ 6775751 h 7458372"/>
              <a:gd name="connsiteX4555" fmla="*/ 8979884 w 10505529"/>
              <a:gd name="connsiteY4555" fmla="*/ 6787466 h 7458372"/>
              <a:gd name="connsiteX4556" fmla="*/ 8973760 w 10505529"/>
              <a:gd name="connsiteY4556" fmla="*/ 6796917 h 7458372"/>
              <a:gd name="connsiteX4557" fmla="*/ 8964442 w 10505529"/>
              <a:gd name="connsiteY4557" fmla="*/ 6803174 h 7458372"/>
              <a:gd name="connsiteX4558" fmla="*/ 8952728 w 10505529"/>
              <a:gd name="connsiteY4558" fmla="*/ 6805437 h 7458372"/>
              <a:gd name="connsiteX4559" fmla="*/ 8930896 w 10505529"/>
              <a:gd name="connsiteY4559" fmla="*/ 6796917 h 7458372"/>
              <a:gd name="connsiteX4560" fmla="*/ 8922510 w 10505529"/>
              <a:gd name="connsiteY4560" fmla="*/ 6775751 h 7458372"/>
              <a:gd name="connsiteX4561" fmla="*/ 8930896 w 10505529"/>
              <a:gd name="connsiteY4561" fmla="*/ 6754719 h 7458372"/>
              <a:gd name="connsiteX4562" fmla="*/ 8952728 w 10505529"/>
              <a:gd name="connsiteY4562" fmla="*/ 6746199 h 7458372"/>
              <a:gd name="connsiteX4563" fmla="*/ 8735083 w 10505529"/>
              <a:gd name="connsiteY4563" fmla="*/ 6746199 h 7458372"/>
              <a:gd name="connsiteX4564" fmla="*/ 8746797 w 10505529"/>
              <a:gd name="connsiteY4564" fmla="*/ 6748595 h 7458372"/>
              <a:gd name="connsiteX4565" fmla="*/ 8756115 w 10505529"/>
              <a:gd name="connsiteY4565" fmla="*/ 6754985 h 7458372"/>
              <a:gd name="connsiteX4566" fmla="*/ 8762238 w 10505529"/>
              <a:gd name="connsiteY4566" fmla="*/ 6764303 h 7458372"/>
              <a:gd name="connsiteX4567" fmla="*/ 8764502 w 10505529"/>
              <a:gd name="connsiteY4567" fmla="*/ 6775751 h 7458372"/>
              <a:gd name="connsiteX4568" fmla="*/ 8762238 w 10505529"/>
              <a:gd name="connsiteY4568" fmla="*/ 6787466 h 7458372"/>
              <a:gd name="connsiteX4569" fmla="*/ 8756115 w 10505529"/>
              <a:gd name="connsiteY4569" fmla="*/ 6796917 h 7458372"/>
              <a:gd name="connsiteX4570" fmla="*/ 8746797 w 10505529"/>
              <a:gd name="connsiteY4570" fmla="*/ 6803174 h 7458372"/>
              <a:gd name="connsiteX4571" fmla="*/ 8735083 w 10505529"/>
              <a:gd name="connsiteY4571" fmla="*/ 6805437 h 7458372"/>
              <a:gd name="connsiteX4572" fmla="*/ 8713250 w 10505529"/>
              <a:gd name="connsiteY4572" fmla="*/ 6796917 h 7458372"/>
              <a:gd name="connsiteX4573" fmla="*/ 8704864 w 10505529"/>
              <a:gd name="connsiteY4573" fmla="*/ 6775751 h 7458372"/>
              <a:gd name="connsiteX4574" fmla="*/ 8713250 w 10505529"/>
              <a:gd name="connsiteY4574" fmla="*/ 6754719 h 7458372"/>
              <a:gd name="connsiteX4575" fmla="*/ 8735083 w 10505529"/>
              <a:gd name="connsiteY4575" fmla="*/ 6746199 h 7458372"/>
              <a:gd name="connsiteX4576" fmla="*/ 8517438 w 10505529"/>
              <a:gd name="connsiteY4576" fmla="*/ 6746199 h 7458372"/>
              <a:gd name="connsiteX4577" fmla="*/ 8529152 w 10505529"/>
              <a:gd name="connsiteY4577" fmla="*/ 6748595 h 7458372"/>
              <a:gd name="connsiteX4578" fmla="*/ 8538470 w 10505529"/>
              <a:gd name="connsiteY4578" fmla="*/ 6754985 h 7458372"/>
              <a:gd name="connsiteX4579" fmla="*/ 8544594 w 10505529"/>
              <a:gd name="connsiteY4579" fmla="*/ 6764303 h 7458372"/>
              <a:gd name="connsiteX4580" fmla="*/ 8546857 w 10505529"/>
              <a:gd name="connsiteY4580" fmla="*/ 6775751 h 7458372"/>
              <a:gd name="connsiteX4581" fmla="*/ 8544594 w 10505529"/>
              <a:gd name="connsiteY4581" fmla="*/ 6787466 h 7458372"/>
              <a:gd name="connsiteX4582" fmla="*/ 8538470 w 10505529"/>
              <a:gd name="connsiteY4582" fmla="*/ 6796917 h 7458372"/>
              <a:gd name="connsiteX4583" fmla="*/ 8529152 w 10505529"/>
              <a:gd name="connsiteY4583" fmla="*/ 6803174 h 7458372"/>
              <a:gd name="connsiteX4584" fmla="*/ 8517438 w 10505529"/>
              <a:gd name="connsiteY4584" fmla="*/ 6805437 h 7458372"/>
              <a:gd name="connsiteX4585" fmla="*/ 8495606 w 10505529"/>
              <a:gd name="connsiteY4585" fmla="*/ 6796917 h 7458372"/>
              <a:gd name="connsiteX4586" fmla="*/ 8487220 w 10505529"/>
              <a:gd name="connsiteY4586" fmla="*/ 6775751 h 7458372"/>
              <a:gd name="connsiteX4587" fmla="*/ 8495606 w 10505529"/>
              <a:gd name="connsiteY4587" fmla="*/ 6754719 h 7458372"/>
              <a:gd name="connsiteX4588" fmla="*/ 8517438 w 10505529"/>
              <a:gd name="connsiteY4588" fmla="*/ 6746199 h 7458372"/>
              <a:gd name="connsiteX4589" fmla="*/ 8299793 w 10505529"/>
              <a:gd name="connsiteY4589" fmla="*/ 6746199 h 7458372"/>
              <a:gd name="connsiteX4590" fmla="*/ 8311507 w 10505529"/>
              <a:gd name="connsiteY4590" fmla="*/ 6748595 h 7458372"/>
              <a:gd name="connsiteX4591" fmla="*/ 8320825 w 10505529"/>
              <a:gd name="connsiteY4591" fmla="*/ 6754985 h 7458372"/>
              <a:gd name="connsiteX4592" fmla="*/ 8326948 w 10505529"/>
              <a:gd name="connsiteY4592" fmla="*/ 6764303 h 7458372"/>
              <a:gd name="connsiteX4593" fmla="*/ 8329212 w 10505529"/>
              <a:gd name="connsiteY4593" fmla="*/ 6775751 h 7458372"/>
              <a:gd name="connsiteX4594" fmla="*/ 8326948 w 10505529"/>
              <a:gd name="connsiteY4594" fmla="*/ 6787466 h 7458372"/>
              <a:gd name="connsiteX4595" fmla="*/ 8320825 w 10505529"/>
              <a:gd name="connsiteY4595" fmla="*/ 6796917 h 7458372"/>
              <a:gd name="connsiteX4596" fmla="*/ 8311507 w 10505529"/>
              <a:gd name="connsiteY4596" fmla="*/ 6803174 h 7458372"/>
              <a:gd name="connsiteX4597" fmla="*/ 8299793 w 10505529"/>
              <a:gd name="connsiteY4597" fmla="*/ 6805437 h 7458372"/>
              <a:gd name="connsiteX4598" fmla="*/ 8277960 w 10505529"/>
              <a:gd name="connsiteY4598" fmla="*/ 6796917 h 7458372"/>
              <a:gd name="connsiteX4599" fmla="*/ 8269574 w 10505529"/>
              <a:gd name="connsiteY4599" fmla="*/ 6775751 h 7458372"/>
              <a:gd name="connsiteX4600" fmla="*/ 8277960 w 10505529"/>
              <a:gd name="connsiteY4600" fmla="*/ 6754719 h 7458372"/>
              <a:gd name="connsiteX4601" fmla="*/ 8299793 w 10505529"/>
              <a:gd name="connsiteY4601" fmla="*/ 6746199 h 7458372"/>
              <a:gd name="connsiteX4602" fmla="*/ 8082281 w 10505529"/>
              <a:gd name="connsiteY4602" fmla="*/ 6746199 h 7458372"/>
              <a:gd name="connsiteX4603" fmla="*/ 8094127 w 10505529"/>
              <a:gd name="connsiteY4603" fmla="*/ 6748595 h 7458372"/>
              <a:gd name="connsiteX4604" fmla="*/ 8103446 w 10505529"/>
              <a:gd name="connsiteY4604" fmla="*/ 6754985 h 7458372"/>
              <a:gd name="connsiteX4605" fmla="*/ 8109569 w 10505529"/>
              <a:gd name="connsiteY4605" fmla="*/ 6764303 h 7458372"/>
              <a:gd name="connsiteX4606" fmla="*/ 8111832 w 10505529"/>
              <a:gd name="connsiteY4606" fmla="*/ 6775751 h 7458372"/>
              <a:gd name="connsiteX4607" fmla="*/ 8109569 w 10505529"/>
              <a:gd name="connsiteY4607" fmla="*/ 6787466 h 7458372"/>
              <a:gd name="connsiteX4608" fmla="*/ 8103446 w 10505529"/>
              <a:gd name="connsiteY4608" fmla="*/ 6796917 h 7458372"/>
              <a:gd name="connsiteX4609" fmla="*/ 8094127 w 10505529"/>
              <a:gd name="connsiteY4609" fmla="*/ 6803174 h 7458372"/>
              <a:gd name="connsiteX4610" fmla="*/ 8082281 w 10505529"/>
              <a:gd name="connsiteY4610" fmla="*/ 6805437 h 7458372"/>
              <a:gd name="connsiteX4611" fmla="*/ 8060448 w 10505529"/>
              <a:gd name="connsiteY4611" fmla="*/ 6796917 h 7458372"/>
              <a:gd name="connsiteX4612" fmla="*/ 8052062 w 10505529"/>
              <a:gd name="connsiteY4612" fmla="*/ 6775751 h 7458372"/>
              <a:gd name="connsiteX4613" fmla="*/ 8060448 w 10505529"/>
              <a:gd name="connsiteY4613" fmla="*/ 6754719 h 7458372"/>
              <a:gd name="connsiteX4614" fmla="*/ 8082281 w 10505529"/>
              <a:gd name="connsiteY4614" fmla="*/ 6746199 h 7458372"/>
              <a:gd name="connsiteX4615" fmla="*/ 7864636 w 10505529"/>
              <a:gd name="connsiteY4615" fmla="*/ 6746199 h 7458372"/>
              <a:gd name="connsiteX4616" fmla="*/ 7876483 w 10505529"/>
              <a:gd name="connsiteY4616" fmla="*/ 6748595 h 7458372"/>
              <a:gd name="connsiteX4617" fmla="*/ 7885802 w 10505529"/>
              <a:gd name="connsiteY4617" fmla="*/ 6754985 h 7458372"/>
              <a:gd name="connsiteX4618" fmla="*/ 7891924 w 10505529"/>
              <a:gd name="connsiteY4618" fmla="*/ 6764303 h 7458372"/>
              <a:gd name="connsiteX4619" fmla="*/ 7894188 w 10505529"/>
              <a:gd name="connsiteY4619" fmla="*/ 6775751 h 7458372"/>
              <a:gd name="connsiteX4620" fmla="*/ 7891924 w 10505529"/>
              <a:gd name="connsiteY4620" fmla="*/ 6787466 h 7458372"/>
              <a:gd name="connsiteX4621" fmla="*/ 7885802 w 10505529"/>
              <a:gd name="connsiteY4621" fmla="*/ 6796917 h 7458372"/>
              <a:gd name="connsiteX4622" fmla="*/ 7876483 w 10505529"/>
              <a:gd name="connsiteY4622" fmla="*/ 6803174 h 7458372"/>
              <a:gd name="connsiteX4623" fmla="*/ 7864636 w 10505529"/>
              <a:gd name="connsiteY4623" fmla="*/ 6805437 h 7458372"/>
              <a:gd name="connsiteX4624" fmla="*/ 7842803 w 10505529"/>
              <a:gd name="connsiteY4624" fmla="*/ 6796917 h 7458372"/>
              <a:gd name="connsiteX4625" fmla="*/ 7834417 w 10505529"/>
              <a:gd name="connsiteY4625" fmla="*/ 6775751 h 7458372"/>
              <a:gd name="connsiteX4626" fmla="*/ 7842803 w 10505529"/>
              <a:gd name="connsiteY4626" fmla="*/ 6754719 h 7458372"/>
              <a:gd name="connsiteX4627" fmla="*/ 7864636 w 10505529"/>
              <a:gd name="connsiteY4627" fmla="*/ 6746199 h 7458372"/>
              <a:gd name="connsiteX4628" fmla="*/ 7646991 w 10505529"/>
              <a:gd name="connsiteY4628" fmla="*/ 6746199 h 7458372"/>
              <a:gd name="connsiteX4629" fmla="*/ 7658705 w 10505529"/>
              <a:gd name="connsiteY4629" fmla="*/ 6748595 h 7458372"/>
              <a:gd name="connsiteX4630" fmla="*/ 7668022 w 10505529"/>
              <a:gd name="connsiteY4630" fmla="*/ 6754985 h 7458372"/>
              <a:gd name="connsiteX4631" fmla="*/ 7674146 w 10505529"/>
              <a:gd name="connsiteY4631" fmla="*/ 6764303 h 7458372"/>
              <a:gd name="connsiteX4632" fmla="*/ 7676409 w 10505529"/>
              <a:gd name="connsiteY4632" fmla="*/ 6775751 h 7458372"/>
              <a:gd name="connsiteX4633" fmla="*/ 7674146 w 10505529"/>
              <a:gd name="connsiteY4633" fmla="*/ 6787466 h 7458372"/>
              <a:gd name="connsiteX4634" fmla="*/ 7668022 w 10505529"/>
              <a:gd name="connsiteY4634" fmla="*/ 6796917 h 7458372"/>
              <a:gd name="connsiteX4635" fmla="*/ 7658705 w 10505529"/>
              <a:gd name="connsiteY4635" fmla="*/ 6803174 h 7458372"/>
              <a:gd name="connsiteX4636" fmla="*/ 7646991 w 10505529"/>
              <a:gd name="connsiteY4636" fmla="*/ 6805437 h 7458372"/>
              <a:gd name="connsiteX4637" fmla="*/ 7625158 w 10505529"/>
              <a:gd name="connsiteY4637" fmla="*/ 6796917 h 7458372"/>
              <a:gd name="connsiteX4638" fmla="*/ 7616772 w 10505529"/>
              <a:gd name="connsiteY4638" fmla="*/ 6775751 h 7458372"/>
              <a:gd name="connsiteX4639" fmla="*/ 7625158 w 10505529"/>
              <a:gd name="connsiteY4639" fmla="*/ 6754719 h 7458372"/>
              <a:gd name="connsiteX4640" fmla="*/ 7646991 w 10505529"/>
              <a:gd name="connsiteY4640" fmla="*/ 6746199 h 7458372"/>
              <a:gd name="connsiteX4641" fmla="*/ 7429345 w 10505529"/>
              <a:gd name="connsiteY4641" fmla="*/ 6746199 h 7458372"/>
              <a:gd name="connsiteX4642" fmla="*/ 7441059 w 10505529"/>
              <a:gd name="connsiteY4642" fmla="*/ 6748595 h 7458372"/>
              <a:gd name="connsiteX4643" fmla="*/ 7450377 w 10505529"/>
              <a:gd name="connsiteY4643" fmla="*/ 6754985 h 7458372"/>
              <a:gd name="connsiteX4644" fmla="*/ 7456501 w 10505529"/>
              <a:gd name="connsiteY4644" fmla="*/ 6764303 h 7458372"/>
              <a:gd name="connsiteX4645" fmla="*/ 7458764 w 10505529"/>
              <a:gd name="connsiteY4645" fmla="*/ 6775751 h 7458372"/>
              <a:gd name="connsiteX4646" fmla="*/ 7456501 w 10505529"/>
              <a:gd name="connsiteY4646" fmla="*/ 6787466 h 7458372"/>
              <a:gd name="connsiteX4647" fmla="*/ 7450377 w 10505529"/>
              <a:gd name="connsiteY4647" fmla="*/ 6796917 h 7458372"/>
              <a:gd name="connsiteX4648" fmla="*/ 7441059 w 10505529"/>
              <a:gd name="connsiteY4648" fmla="*/ 6803174 h 7458372"/>
              <a:gd name="connsiteX4649" fmla="*/ 7429345 w 10505529"/>
              <a:gd name="connsiteY4649" fmla="*/ 6805437 h 7458372"/>
              <a:gd name="connsiteX4650" fmla="*/ 7407513 w 10505529"/>
              <a:gd name="connsiteY4650" fmla="*/ 6796917 h 7458372"/>
              <a:gd name="connsiteX4651" fmla="*/ 7399127 w 10505529"/>
              <a:gd name="connsiteY4651" fmla="*/ 6775751 h 7458372"/>
              <a:gd name="connsiteX4652" fmla="*/ 7407513 w 10505529"/>
              <a:gd name="connsiteY4652" fmla="*/ 6754719 h 7458372"/>
              <a:gd name="connsiteX4653" fmla="*/ 7429345 w 10505529"/>
              <a:gd name="connsiteY4653" fmla="*/ 6746199 h 7458372"/>
              <a:gd name="connsiteX4654" fmla="*/ 7211701 w 10505529"/>
              <a:gd name="connsiteY4654" fmla="*/ 6746199 h 7458372"/>
              <a:gd name="connsiteX4655" fmla="*/ 7223415 w 10505529"/>
              <a:gd name="connsiteY4655" fmla="*/ 6748595 h 7458372"/>
              <a:gd name="connsiteX4656" fmla="*/ 7232733 w 10505529"/>
              <a:gd name="connsiteY4656" fmla="*/ 6754985 h 7458372"/>
              <a:gd name="connsiteX4657" fmla="*/ 7238856 w 10505529"/>
              <a:gd name="connsiteY4657" fmla="*/ 6764303 h 7458372"/>
              <a:gd name="connsiteX4658" fmla="*/ 7241120 w 10505529"/>
              <a:gd name="connsiteY4658" fmla="*/ 6775751 h 7458372"/>
              <a:gd name="connsiteX4659" fmla="*/ 7238856 w 10505529"/>
              <a:gd name="connsiteY4659" fmla="*/ 6787466 h 7458372"/>
              <a:gd name="connsiteX4660" fmla="*/ 7232733 w 10505529"/>
              <a:gd name="connsiteY4660" fmla="*/ 6796917 h 7458372"/>
              <a:gd name="connsiteX4661" fmla="*/ 7223415 w 10505529"/>
              <a:gd name="connsiteY4661" fmla="*/ 6803174 h 7458372"/>
              <a:gd name="connsiteX4662" fmla="*/ 7211701 w 10505529"/>
              <a:gd name="connsiteY4662" fmla="*/ 6805437 h 7458372"/>
              <a:gd name="connsiteX4663" fmla="*/ 7189868 w 10505529"/>
              <a:gd name="connsiteY4663" fmla="*/ 6796917 h 7458372"/>
              <a:gd name="connsiteX4664" fmla="*/ 7181482 w 10505529"/>
              <a:gd name="connsiteY4664" fmla="*/ 6775751 h 7458372"/>
              <a:gd name="connsiteX4665" fmla="*/ 7189868 w 10505529"/>
              <a:gd name="connsiteY4665" fmla="*/ 6754719 h 7458372"/>
              <a:gd name="connsiteX4666" fmla="*/ 7211701 w 10505529"/>
              <a:gd name="connsiteY4666" fmla="*/ 6746199 h 7458372"/>
              <a:gd name="connsiteX4667" fmla="*/ 6994056 w 10505529"/>
              <a:gd name="connsiteY4667" fmla="*/ 6746199 h 7458372"/>
              <a:gd name="connsiteX4668" fmla="*/ 7005769 w 10505529"/>
              <a:gd name="connsiteY4668" fmla="*/ 6748595 h 7458372"/>
              <a:gd name="connsiteX4669" fmla="*/ 7015087 w 10505529"/>
              <a:gd name="connsiteY4669" fmla="*/ 6754985 h 7458372"/>
              <a:gd name="connsiteX4670" fmla="*/ 7021211 w 10505529"/>
              <a:gd name="connsiteY4670" fmla="*/ 6764303 h 7458372"/>
              <a:gd name="connsiteX4671" fmla="*/ 7023474 w 10505529"/>
              <a:gd name="connsiteY4671" fmla="*/ 6775751 h 7458372"/>
              <a:gd name="connsiteX4672" fmla="*/ 7021211 w 10505529"/>
              <a:gd name="connsiteY4672" fmla="*/ 6787466 h 7458372"/>
              <a:gd name="connsiteX4673" fmla="*/ 7015087 w 10505529"/>
              <a:gd name="connsiteY4673" fmla="*/ 6796917 h 7458372"/>
              <a:gd name="connsiteX4674" fmla="*/ 7005769 w 10505529"/>
              <a:gd name="connsiteY4674" fmla="*/ 6803174 h 7458372"/>
              <a:gd name="connsiteX4675" fmla="*/ 6994056 w 10505529"/>
              <a:gd name="connsiteY4675" fmla="*/ 6805437 h 7458372"/>
              <a:gd name="connsiteX4676" fmla="*/ 6972223 w 10505529"/>
              <a:gd name="connsiteY4676" fmla="*/ 6796917 h 7458372"/>
              <a:gd name="connsiteX4677" fmla="*/ 6963837 w 10505529"/>
              <a:gd name="connsiteY4677" fmla="*/ 6775751 h 7458372"/>
              <a:gd name="connsiteX4678" fmla="*/ 6972223 w 10505529"/>
              <a:gd name="connsiteY4678" fmla="*/ 6754719 h 7458372"/>
              <a:gd name="connsiteX4679" fmla="*/ 6994056 w 10505529"/>
              <a:gd name="connsiteY4679" fmla="*/ 6746199 h 7458372"/>
              <a:gd name="connsiteX4680" fmla="*/ 6776544 w 10505529"/>
              <a:gd name="connsiteY4680" fmla="*/ 6746199 h 7458372"/>
              <a:gd name="connsiteX4681" fmla="*/ 6788258 w 10505529"/>
              <a:gd name="connsiteY4681" fmla="*/ 6748595 h 7458372"/>
              <a:gd name="connsiteX4682" fmla="*/ 6797576 w 10505529"/>
              <a:gd name="connsiteY4682" fmla="*/ 6754985 h 7458372"/>
              <a:gd name="connsiteX4683" fmla="*/ 6803699 w 10505529"/>
              <a:gd name="connsiteY4683" fmla="*/ 6764303 h 7458372"/>
              <a:gd name="connsiteX4684" fmla="*/ 6805963 w 10505529"/>
              <a:gd name="connsiteY4684" fmla="*/ 6775751 h 7458372"/>
              <a:gd name="connsiteX4685" fmla="*/ 6803699 w 10505529"/>
              <a:gd name="connsiteY4685" fmla="*/ 6787466 h 7458372"/>
              <a:gd name="connsiteX4686" fmla="*/ 6797576 w 10505529"/>
              <a:gd name="connsiteY4686" fmla="*/ 6796917 h 7458372"/>
              <a:gd name="connsiteX4687" fmla="*/ 6788258 w 10505529"/>
              <a:gd name="connsiteY4687" fmla="*/ 6803174 h 7458372"/>
              <a:gd name="connsiteX4688" fmla="*/ 6776544 w 10505529"/>
              <a:gd name="connsiteY4688" fmla="*/ 6805437 h 7458372"/>
              <a:gd name="connsiteX4689" fmla="*/ 6754711 w 10505529"/>
              <a:gd name="connsiteY4689" fmla="*/ 6796917 h 7458372"/>
              <a:gd name="connsiteX4690" fmla="*/ 6746325 w 10505529"/>
              <a:gd name="connsiteY4690" fmla="*/ 6775751 h 7458372"/>
              <a:gd name="connsiteX4691" fmla="*/ 6754711 w 10505529"/>
              <a:gd name="connsiteY4691" fmla="*/ 6754719 h 7458372"/>
              <a:gd name="connsiteX4692" fmla="*/ 6776544 w 10505529"/>
              <a:gd name="connsiteY4692" fmla="*/ 6746199 h 7458372"/>
              <a:gd name="connsiteX4693" fmla="*/ 6558899 w 10505529"/>
              <a:gd name="connsiteY4693" fmla="*/ 6746199 h 7458372"/>
              <a:gd name="connsiteX4694" fmla="*/ 6570612 w 10505529"/>
              <a:gd name="connsiteY4694" fmla="*/ 6748595 h 7458372"/>
              <a:gd name="connsiteX4695" fmla="*/ 6579930 w 10505529"/>
              <a:gd name="connsiteY4695" fmla="*/ 6754985 h 7458372"/>
              <a:gd name="connsiteX4696" fmla="*/ 6586054 w 10505529"/>
              <a:gd name="connsiteY4696" fmla="*/ 6764303 h 7458372"/>
              <a:gd name="connsiteX4697" fmla="*/ 6588317 w 10505529"/>
              <a:gd name="connsiteY4697" fmla="*/ 6775751 h 7458372"/>
              <a:gd name="connsiteX4698" fmla="*/ 6586054 w 10505529"/>
              <a:gd name="connsiteY4698" fmla="*/ 6787466 h 7458372"/>
              <a:gd name="connsiteX4699" fmla="*/ 6579930 w 10505529"/>
              <a:gd name="connsiteY4699" fmla="*/ 6796917 h 7458372"/>
              <a:gd name="connsiteX4700" fmla="*/ 6570612 w 10505529"/>
              <a:gd name="connsiteY4700" fmla="*/ 6803174 h 7458372"/>
              <a:gd name="connsiteX4701" fmla="*/ 6558899 w 10505529"/>
              <a:gd name="connsiteY4701" fmla="*/ 6805437 h 7458372"/>
              <a:gd name="connsiteX4702" fmla="*/ 6537066 w 10505529"/>
              <a:gd name="connsiteY4702" fmla="*/ 6796917 h 7458372"/>
              <a:gd name="connsiteX4703" fmla="*/ 6528680 w 10505529"/>
              <a:gd name="connsiteY4703" fmla="*/ 6775751 h 7458372"/>
              <a:gd name="connsiteX4704" fmla="*/ 6537066 w 10505529"/>
              <a:gd name="connsiteY4704" fmla="*/ 6754719 h 7458372"/>
              <a:gd name="connsiteX4705" fmla="*/ 6558899 w 10505529"/>
              <a:gd name="connsiteY4705" fmla="*/ 6746199 h 7458372"/>
              <a:gd name="connsiteX4706" fmla="*/ 6341253 w 10505529"/>
              <a:gd name="connsiteY4706" fmla="*/ 6746199 h 7458372"/>
              <a:gd name="connsiteX4707" fmla="*/ 6352968 w 10505529"/>
              <a:gd name="connsiteY4707" fmla="*/ 6748595 h 7458372"/>
              <a:gd name="connsiteX4708" fmla="*/ 6362286 w 10505529"/>
              <a:gd name="connsiteY4708" fmla="*/ 6754985 h 7458372"/>
              <a:gd name="connsiteX4709" fmla="*/ 6368409 w 10505529"/>
              <a:gd name="connsiteY4709" fmla="*/ 6764303 h 7458372"/>
              <a:gd name="connsiteX4710" fmla="*/ 6370672 w 10505529"/>
              <a:gd name="connsiteY4710" fmla="*/ 6775751 h 7458372"/>
              <a:gd name="connsiteX4711" fmla="*/ 6368409 w 10505529"/>
              <a:gd name="connsiteY4711" fmla="*/ 6787466 h 7458372"/>
              <a:gd name="connsiteX4712" fmla="*/ 6362286 w 10505529"/>
              <a:gd name="connsiteY4712" fmla="*/ 6796917 h 7458372"/>
              <a:gd name="connsiteX4713" fmla="*/ 6352968 w 10505529"/>
              <a:gd name="connsiteY4713" fmla="*/ 6803174 h 7458372"/>
              <a:gd name="connsiteX4714" fmla="*/ 6341253 w 10505529"/>
              <a:gd name="connsiteY4714" fmla="*/ 6805437 h 7458372"/>
              <a:gd name="connsiteX4715" fmla="*/ 6319421 w 10505529"/>
              <a:gd name="connsiteY4715" fmla="*/ 6796917 h 7458372"/>
              <a:gd name="connsiteX4716" fmla="*/ 6311035 w 10505529"/>
              <a:gd name="connsiteY4716" fmla="*/ 6775751 h 7458372"/>
              <a:gd name="connsiteX4717" fmla="*/ 6319421 w 10505529"/>
              <a:gd name="connsiteY4717" fmla="*/ 6754719 h 7458372"/>
              <a:gd name="connsiteX4718" fmla="*/ 6341253 w 10505529"/>
              <a:gd name="connsiteY4718" fmla="*/ 6746199 h 7458372"/>
              <a:gd name="connsiteX4719" fmla="*/ 6123608 w 10505529"/>
              <a:gd name="connsiteY4719" fmla="*/ 6746199 h 7458372"/>
              <a:gd name="connsiteX4720" fmla="*/ 6135322 w 10505529"/>
              <a:gd name="connsiteY4720" fmla="*/ 6748595 h 7458372"/>
              <a:gd name="connsiteX4721" fmla="*/ 6144640 w 10505529"/>
              <a:gd name="connsiteY4721" fmla="*/ 6754985 h 7458372"/>
              <a:gd name="connsiteX4722" fmla="*/ 6150763 w 10505529"/>
              <a:gd name="connsiteY4722" fmla="*/ 6764303 h 7458372"/>
              <a:gd name="connsiteX4723" fmla="*/ 6153026 w 10505529"/>
              <a:gd name="connsiteY4723" fmla="*/ 6775751 h 7458372"/>
              <a:gd name="connsiteX4724" fmla="*/ 6150763 w 10505529"/>
              <a:gd name="connsiteY4724" fmla="*/ 6787466 h 7458372"/>
              <a:gd name="connsiteX4725" fmla="*/ 6144640 w 10505529"/>
              <a:gd name="connsiteY4725" fmla="*/ 6796917 h 7458372"/>
              <a:gd name="connsiteX4726" fmla="*/ 6135322 w 10505529"/>
              <a:gd name="connsiteY4726" fmla="*/ 6803174 h 7458372"/>
              <a:gd name="connsiteX4727" fmla="*/ 6123608 w 10505529"/>
              <a:gd name="connsiteY4727" fmla="*/ 6805437 h 7458372"/>
              <a:gd name="connsiteX4728" fmla="*/ 6101775 w 10505529"/>
              <a:gd name="connsiteY4728" fmla="*/ 6796917 h 7458372"/>
              <a:gd name="connsiteX4729" fmla="*/ 6093389 w 10505529"/>
              <a:gd name="connsiteY4729" fmla="*/ 6775751 h 7458372"/>
              <a:gd name="connsiteX4730" fmla="*/ 6101775 w 10505529"/>
              <a:gd name="connsiteY4730" fmla="*/ 6754719 h 7458372"/>
              <a:gd name="connsiteX4731" fmla="*/ 6123608 w 10505529"/>
              <a:gd name="connsiteY4731" fmla="*/ 6746199 h 7458372"/>
              <a:gd name="connsiteX4732" fmla="*/ 5905963 w 10505529"/>
              <a:gd name="connsiteY4732" fmla="*/ 6746199 h 7458372"/>
              <a:gd name="connsiteX4733" fmla="*/ 5917677 w 10505529"/>
              <a:gd name="connsiteY4733" fmla="*/ 6748595 h 7458372"/>
              <a:gd name="connsiteX4734" fmla="*/ 5926995 w 10505529"/>
              <a:gd name="connsiteY4734" fmla="*/ 6754985 h 7458372"/>
              <a:gd name="connsiteX4735" fmla="*/ 5933118 w 10505529"/>
              <a:gd name="connsiteY4735" fmla="*/ 6764303 h 7458372"/>
              <a:gd name="connsiteX4736" fmla="*/ 5935381 w 10505529"/>
              <a:gd name="connsiteY4736" fmla="*/ 6775751 h 7458372"/>
              <a:gd name="connsiteX4737" fmla="*/ 5933118 w 10505529"/>
              <a:gd name="connsiteY4737" fmla="*/ 6787466 h 7458372"/>
              <a:gd name="connsiteX4738" fmla="*/ 5926995 w 10505529"/>
              <a:gd name="connsiteY4738" fmla="*/ 6796917 h 7458372"/>
              <a:gd name="connsiteX4739" fmla="*/ 5917677 w 10505529"/>
              <a:gd name="connsiteY4739" fmla="*/ 6803174 h 7458372"/>
              <a:gd name="connsiteX4740" fmla="*/ 5905963 w 10505529"/>
              <a:gd name="connsiteY4740" fmla="*/ 6805437 h 7458372"/>
              <a:gd name="connsiteX4741" fmla="*/ 5884130 w 10505529"/>
              <a:gd name="connsiteY4741" fmla="*/ 6796917 h 7458372"/>
              <a:gd name="connsiteX4742" fmla="*/ 5875744 w 10505529"/>
              <a:gd name="connsiteY4742" fmla="*/ 6775751 h 7458372"/>
              <a:gd name="connsiteX4743" fmla="*/ 5884130 w 10505529"/>
              <a:gd name="connsiteY4743" fmla="*/ 6754719 h 7458372"/>
              <a:gd name="connsiteX4744" fmla="*/ 5905963 w 10505529"/>
              <a:gd name="connsiteY4744" fmla="*/ 6746199 h 7458372"/>
              <a:gd name="connsiteX4745" fmla="*/ 5688451 w 10505529"/>
              <a:gd name="connsiteY4745" fmla="*/ 6746199 h 7458372"/>
              <a:gd name="connsiteX4746" fmla="*/ 5700165 w 10505529"/>
              <a:gd name="connsiteY4746" fmla="*/ 6748595 h 7458372"/>
              <a:gd name="connsiteX4747" fmla="*/ 5709483 w 10505529"/>
              <a:gd name="connsiteY4747" fmla="*/ 6754985 h 7458372"/>
              <a:gd name="connsiteX4748" fmla="*/ 5715606 w 10505529"/>
              <a:gd name="connsiteY4748" fmla="*/ 6764303 h 7458372"/>
              <a:gd name="connsiteX4749" fmla="*/ 5717869 w 10505529"/>
              <a:gd name="connsiteY4749" fmla="*/ 6775751 h 7458372"/>
              <a:gd name="connsiteX4750" fmla="*/ 5715606 w 10505529"/>
              <a:gd name="connsiteY4750" fmla="*/ 6787466 h 7458372"/>
              <a:gd name="connsiteX4751" fmla="*/ 5709483 w 10505529"/>
              <a:gd name="connsiteY4751" fmla="*/ 6796917 h 7458372"/>
              <a:gd name="connsiteX4752" fmla="*/ 5700165 w 10505529"/>
              <a:gd name="connsiteY4752" fmla="*/ 6803174 h 7458372"/>
              <a:gd name="connsiteX4753" fmla="*/ 5688451 w 10505529"/>
              <a:gd name="connsiteY4753" fmla="*/ 6805437 h 7458372"/>
              <a:gd name="connsiteX4754" fmla="*/ 5666618 w 10505529"/>
              <a:gd name="connsiteY4754" fmla="*/ 6796917 h 7458372"/>
              <a:gd name="connsiteX4755" fmla="*/ 5658232 w 10505529"/>
              <a:gd name="connsiteY4755" fmla="*/ 6775751 h 7458372"/>
              <a:gd name="connsiteX4756" fmla="*/ 5666618 w 10505529"/>
              <a:gd name="connsiteY4756" fmla="*/ 6754719 h 7458372"/>
              <a:gd name="connsiteX4757" fmla="*/ 5688451 w 10505529"/>
              <a:gd name="connsiteY4757" fmla="*/ 6746199 h 7458372"/>
              <a:gd name="connsiteX4758" fmla="*/ 5470806 w 10505529"/>
              <a:gd name="connsiteY4758" fmla="*/ 6746199 h 7458372"/>
              <a:gd name="connsiteX4759" fmla="*/ 5482520 w 10505529"/>
              <a:gd name="connsiteY4759" fmla="*/ 6748595 h 7458372"/>
              <a:gd name="connsiteX4760" fmla="*/ 5491838 w 10505529"/>
              <a:gd name="connsiteY4760" fmla="*/ 6754985 h 7458372"/>
              <a:gd name="connsiteX4761" fmla="*/ 5497961 w 10505529"/>
              <a:gd name="connsiteY4761" fmla="*/ 6764303 h 7458372"/>
              <a:gd name="connsiteX4762" fmla="*/ 5500224 w 10505529"/>
              <a:gd name="connsiteY4762" fmla="*/ 6775751 h 7458372"/>
              <a:gd name="connsiteX4763" fmla="*/ 5497961 w 10505529"/>
              <a:gd name="connsiteY4763" fmla="*/ 6787466 h 7458372"/>
              <a:gd name="connsiteX4764" fmla="*/ 5491838 w 10505529"/>
              <a:gd name="connsiteY4764" fmla="*/ 6796917 h 7458372"/>
              <a:gd name="connsiteX4765" fmla="*/ 5482520 w 10505529"/>
              <a:gd name="connsiteY4765" fmla="*/ 6803174 h 7458372"/>
              <a:gd name="connsiteX4766" fmla="*/ 5470806 w 10505529"/>
              <a:gd name="connsiteY4766" fmla="*/ 6805437 h 7458372"/>
              <a:gd name="connsiteX4767" fmla="*/ 5448973 w 10505529"/>
              <a:gd name="connsiteY4767" fmla="*/ 6796917 h 7458372"/>
              <a:gd name="connsiteX4768" fmla="*/ 5440587 w 10505529"/>
              <a:gd name="connsiteY4768" fmla="*/ 6775751 h 7458372"/>
              <a:gd name="connsiteX4769" fmla="*/ 5448973 w 10505529"/>
              <a:gd name="connsiteY4769" fmla="*/ 6754719 h 7458372"/>
              <a:gd name="connsiteX4770" fmla="*/ 5470806 w 10505529"/>
              <a:gd name="connsiteY4770" fmla="*/ 6746199 h 7458372"/>
              <a:gd name="connsiteX4771" fmla="*/ 5253160 w 10505529"/>
              <a:gd name="connsiteY4771" fmla="*/ 6746199 h 7458372"/>
              <a:gd name="connsiteX4772" fmla="*/ 5264875 w 10505529"/>
              <a:gd name="connsiteY4772" fmla="*/ 6748595 h 7458372"/>
              <a:gd name="connsiteX4773" fmla="*/ 5274192 w 10505529"/>
              <a:gd name="connsiteY4773" fmla="*/ 6754985 h 7458372"/>
              <a:gd name="connsiteX4774" fmla="*/ 5280316 w 10505529"/>
              <a:gd name="connsiteY4774" fmla="*/ 6764303 h 7458372"/>
              <a:gd name="connsiteX4775" fmla="*/ 5282579 w 10505529"/>
              <a:gd name="connsiteY4775" fmla="*/ 6775751 h 7458372"/>
              <a:gd name="connsiteX4776" fmla="*/ 5280316 w 10505529"/>
              <a:gd name="connsiteY4776" fmla="*/ 6787466 h 7458372"/>
              <a:gd name="connsiteX4777" fmla="*/ 5274192 w 10505529"/>
              <a:gd name="connsiteY4777" fmla="*/ 6796917 h 7458372"/>
              <a:gd name="connsiteX4778" fmla="*/ 5264875 w 10505529"/>
              <a:gd name="connsiteY4778" fmla="*/ 6803174 h 7458372"/>
              <a:gd name="connsiteX4779" fmla="*/ 5253160 w 10505529"/>
              <a:gd name="connsiteY4779" fmla="*/ 6805437 h 7458372"/>
              <a:gd name="connsiteX4780" fmla="*/ 5231328 w 10505529"/>
              <a:gd name="connsiteY4780" fmla="*/ 6796917 h 7458372"/>
              <a:gd name="connsiteX4781" fmla="*/ 5222942 w 10505529"/>
              <a:gd name="connsiteY4781" fmla="*/ 6775751 h 7458372"/>
              <a:gd name="connsiteX4782" fmla="*/ 5231328 w 10505529"/>
              <a:gd name="connsiteY4782" fmla="*/ 6754719 h 7458372"/>
              <a:gd name="connsiteX4783" fmla="*/ 5253160 w 10505529"/>
              <a:gd name="connsiteY4783" fmla="*/ 6746199 h 7458372"/>
              <a:gd name="connsiteX4784" fmla="*/ 5035515 w 10505529"/>
              <a:gd name="connsiteY4784" fmla="*/ 6746199 h 7458372"/>
              <a:gd name="connsiteX4785" fmla="*/ 5047230 w 10505529"/>
              <a:gd name="connsiteY4785" fmla="*/ 6748595 h 7458372"/>
              <a:gd name="connsiteX4786" fmla="*/ 5056548 w 10505529"/>
              <a:gd name="connsiteY4786" fmla="*/ 6754985 h 7458372"/>
              <a:gd name="connsiteX4787" fmla="*/ 5062671 w 10505529"/>
              <a:gd name="connsiteY4787" fmla="*/ 6764303 h 7458372"/>
              <a:gd name="connsiteX4788" fmla="*/ 5064934 w 10505529"/>
              <a:gd name="connsiteY4788" fmla="*/ 6775751 h 7458372"/>
              <a:gd name="connsiteX4789" fmla="*/ 5062671 w 10505529"/>
              <a:gd name="connsiteY4789" fmla="*/ 6787466 h 7458372"/>
              <a:gd name="connsiteX4790" fmla="*/ 5056548 w 10505529"/>
              <a:gd name="connsiteY4790" fmla="*/ 6796917 h 7458372"/>
              <a:gd name="connsiteX4791" fmla="*/ 5047230 w 10505529"/>
              <a:gd name="connsiteY4791" fmla="*/ 6803174 h 7458372"/>
              <a:gd name="connsiteX4792" fmla="*/ 5035515 w 10505529"/>
              <a:gd name="connsiteY4792" fmla="*/ 6805437 h 7458372"/>
              <a:gd name="connsiteX4793" fmla="*/ 5013683 w 10505529"/>
              <a:gd name="connsiteY4793" fmla="*/ 6796917 h 7458372"/>
              <a:gd name="connsiteX4794" fmla="*/ 5005297 w 10505529"/>
              <a:gd name="connsiteY4794" fmla="*/ 6775751 h 7458372"/>
              <a:gd name="connsiteX4795" fmla="*/ 5013683 w 10505529"/>
              <a:gd name="connsiteY4795" fmla="*/ 6754719 h 7458372"/>
              <a:gd name="connsiteX4796" fmla="*/ 5035515 w 10505529"/>
              <a:gd name="connsiteY4796" fmla="*/ 6746199 h 7458372"/>
              <a:gd name="connsiteX4797" fmla="*/ 4817870 w 10505529"/>
              <a:gd name="connsiteY4797" fmla="*/ 6746199 h 7458372"/>
              <a:gd name="connsiteX4798" fmla="*/ 4829585 w 10505529"/>
              <a:gd name="connsiteY4798" fmla="*/ 6748595 h 7458372"/>
              <a:gd name="connsiteX4799" fmla="*/ 4838903 w 10505529"/>
              <a:gd name="connsiteY4799" fmla="*/ 6754985 h 7458372"/>
              <a:gd name="connsiteX4800" fmla="*/ 4845026 w 10505529"/>
              <a:gd name="connsiteY4800" fmla="*/ 6764303 h 7458372"/>
              <a:gd name="connsiteX4801" fmla="*/ 4847289 w 10505529"/>
              <a:gd name="connsiteY4801" fmla="*/ 6775751 h 7458372"/>
              <a:gd name="connsiteX4802" fmla="*/ 4845026 w 10505529"/>
              <a:gd name="connsiteY4802" fmla="*/ 6787466 h 7458372"/>
              <a:gd name="connsiteX4803" fmla="*/ 4838903 w 10505529"/>
              <a:gd name="connsiteY4803" fmla="*/ 6796917 h 7458372"/>
              <a:gd name="connsiteX4804" fmla="*/ 4829585 w 10505529"/>
              <a:gd name="connsiteY4804" fmla="*/ 6803174 h 7458372"/>
              <a:gd name="connsiteX4805" fmla="*/ 4817870 w 10505529"/>
              <a:gd name="connsiteY4805" fmla="*/ 6805437 h 7458372"/>
              <a:gd name="connsiteX4806" fmla="*/ 4796038 w 10505529"/>
              <a:gd name="connsiteY4806" fmla="*/ 6796917 h 7458372"/>
              <a:gd name="connsiteX4807" fmla="*/ 4787652 w 10505529"/>
              <a:gd name="connsiteY4807" fmla="*/ 6775751 h 7458372"/>
              <a:gd name="connsiteX4808" fmla="*/ 4796038 w 10505529"/>
              <a:gd name="connsiteY4808" fmla="*/ 6754719 h 7458372"/>
              <a:gd name="connsiteX4809" fmla="*/ 4817870 w 10505529"/>
              <a:gd name="connsiteY4809" fmla="*/ 6746199 h 7458372"/>
              <a:gd name="connsiteX4810" fmla="*/ 4600226 w 10505529"/>
              <a:gd name="connsiteY4810" fmla="*/ 6746199 h 7458372"/>
              <a:gd name="connsiteX4811" fmla="*/ 4612073 w 10505529"/>
              <a:gd name="connsiteY4811" fmla="*/ 6748595 h 7458372"/>
              <a:gd name="connsiteX4812" fmla="*/ 4621391 w 10505529"/>
              <a:gd name="connsiteY4812" fmla="*/ 6754985 h 7458372"/>
              <a:gd name="connsiteX4813" fmla="*/ 4627514 w 10505529"/>
              <a:gd name="connsiteY4813" fmla="*/ 6764303 h 7458372"/>
              <a:gd name="connsiteX4814" fmla="*/ 4629777 w 10505529"/>
              <a:gd name="connsiteY4814" fmla="*/ 6775751 h 7458372"/>
              <a:gd name="connsiteX4815" fmla="*/ 4627514 w 10505529"/>
              <a:gd name="connsiteY4815" fmla="*/ 6787466 h 7458372"/>
              <a:gd name="connsiteX4816" fmla="*/ 4621391 w 10505529"/>
              <a:gd name="connsiteY4816" fmla="*/ 6796917 h 7458372"/>
              <a:gd name="connsiteX4817" fmla="*/ 4612073 w 10505529"/>
              <a:gd name="connsiteY4817" fmla="*/ 6803174 h 7458372"/>
              <a:gd name="connsiteX4818" fmla="*/ 4600226 w 10505529"/>
              <a:gd name="connsiteY4818" fmla="*/ 6805437 h 7458372"/>
              <a:gd name="connsiteX4819" fmla="*/ 4578393 w 10505529"/>
              <a:gd name="connsiteY4819" fmla="*/ 6796917 h 7458372"/>
              <a:gd name="connsiteX4820" fmla="*/ 4570007 w 10505529"/>
              <a:gd name="connsiteY4820" fmla="*/ 6775751 h 7458372"/>
              <a:gd name="connsiteX4821" fmla="*/ 4578393 w 10505529"/>
              <a:gd name="connsiteY4821" fmla="*/ 6754719 h 7458372"/>
              <a:gd name="connsiteX4822" fmla="*/ 4600226 w 10505529"/>
              <a:gd name="connsiteY4822" fmla="*/ 6746199 h 7458372"/>
              <a:gd name="connsiteX4823" fmla="*/ 4382713 w 10505529"/>
              <a:gd name="connsiteY4823" fmla="*/ 6746199 h 7458372"/>
              <a:gd name="connsiteX4824" fmla="*/ 4394428 w 10505529"/>
              <a:gd name="connsiteY4824" fmla="*/ 6748595 h 7458372"/>
              <a:gd name="connsiteX4825" fmla="*/ 4403746 w 10505529"/>
              <a:gd name="connsiteY4825" fmla="*/ 6754985 h 7458372"/>
              <a:gd name="connsiteX4826" fmla="*/ 4409869 w 10505529"/>
              <a:gd name="connsiteY4826" fmla="*/ 6764303 h 7458372"/>
              <a:gd name="connsiteX4827" fmla="*/ 4412132 w 10505529"/>
              <a:gd name="connsiteY4827" fmla="*/ 6775751 h 7458372"/>
              <a:gd name="connsiteX4828" fmla="*/ 4409869 w 10505529"/>
              <a:gd name="connsiteY4828" fmla="*/ 6787466 h 7458372"/>
              <a:gd name="connsiteX4829" fmla="*/ 4403746 w 10505529"/>
              <a:gd name="connsiteY4829" fmla="*/ 6796917 h 7458372"/>
              <a:gd name="connsiteX4830" fmla="*/ 4394428 w 10505529"/>
              <a:gd name="connsiteY4830" fmla="*/ 6803174 h 7458372"/>
              <a:gd name="connsiteX4831" fmla="*/ 4382713 w 10505529"/>
              <a:gd name="connsiteY4831" fmla="*/ 6805437 h 7458372"/>
              <a:gd name="connsiteX4832" fmla="*/ 4360881 w 10505529"/>
              <a:gd name="connsiteY4832" fmla="*/ 6796917 h 7458372"/>
              <a:gd name="connsiteX4833" fmla="*/ 4352495 w 10505529"/>
              <a:gd name="connsiteY4833" fmla="*/ 6775751 h 7458372"/>
              <a:gd name="connsiteX4834" fmla="*/ 4360881 w 10505529"/>
              <a:gd name="connsiteY4834" fmla="*/ 6754719 h 7458372"/>
              <a:gd name="connsiteX4835" fmla="*/ 4382713 w 10505529"/>
              <a:gd name="connsiteY4835" fmla="*/ 6746199 h 7458372"/>
              <a:gd name="connsiteX4836" fmla="*/ 4165068 w 10505529"/>
              <a:gd name="connsiteY4836" fmla="*/ 6746199 h 7458372"/>
              <a:gd name="connsiteX4837" fmla="*/ 4176782 w 10505529"/>
              <a:gd name="connsiteY4837" fmla="*/ 6748595 h 7458372"/>
              <a:gd name="connsiteX4838" fmla="*/ 4186100 w 10505529"/>
              <a:gd name="connsiteY4838" fmla="*/ 6754985 h 7458372"/>
              <a:gd name="connsiteX4839" fmla="*/ 4192223 w 10505529"/>
              <a:gd name="connsiteY4839" fmla="*/ 6764303 h 7458372"/>
              <a:gd name="connsiteX4840" fmla="*/ 4194486 w 10505529"/>
              <a:gd name="connsiteY4840" fmla="*/ 6775751 h 7458372"/>
              <a:gd name="connsiteX4841" fmla="*/ 4192223 w 10505529"/>
              <a:gd name="connsiteY4841" fmla="*/ 6787466 h 7458372"/>
              <a:gd name="connsiteX4842" fmla="*/ 4186100 w 10505529"/>
              <a:gd name="connsiteY4842" fmla="*/ 6796917 h 7458372"/>
              <a:gd name="connsiteX4843" fmla="*/ 4176782 w 10505529"/>
              <a:gd name="connsiteY4843" fmla="*/ 6803174 h 7458372"/>
              <a:gd name="connsiteX4844" fmla="*/ 4165068 w 10505529"/>
              <a:gd name="connsiteY4844" fmla="*/ 6805437 h 7458372"/>
              <a:gd name="connsiteX4845" fmla="*/ 4143235 w 10505529"/>
              <a:gd name="connsiteY4845" fmla="*/ 6796917 h 7458372"/>
              <a:gd name="connsiteX4846" fmla="*/ 4134849 w 10505529"/>
              <a:gd name="connsiteY4846" fmla="*/ 6775751 h 7458372"/>
              <a:gd name="connsiteX4847" fmla="*/ 4143235 w 10505529"/>
              <a:gd name="connsiteY4847" fmla="*/ 6754719 h 7458372"/>
              <a:gd name="connsiteX4848" fmla="*/ 4165068 w 10505529"/>
              <a:gd name="connsiteY4848" fmla="*/ 6746199 h 7458372"/>
              <a:gd name="connsiteX4849" fmla="*/ 3947790 w 10505529"/>
              <a:gd name="connsiteY4849" fmla="*/ 6746199 h 7458372"/>
              <a:gd name="connsiteX4850" fmla="*/ 3959510 w 10505529"/>
              <a:gd name="connsiteY4850" fmla="*/ 6748595 h 7458372"/>
              <a:gd name="connsiteX4851" fmla="*/ 3968828 w 10505529"/>
              <a:gd name="connsiteY4851" fmla="*/ 6754985 h 7458372"/>
              <a:gd name="connsiteX4852" fmla="*/ 3974952 w 10505529"/>
              <a:gd name="connsiteY4852" fmla="*/ 6764303 h 7458372"/>
              <a:gd name="connsiteX4853" fmla="*/ 3977215 w 10505529"/>
              <a:gd name="connsiteY4853" fmla="*/ 6775751 h 7458372"/>
              <a:gd name="connsiteX4854" fmla="*/ 3974952 w 10505529"/>
              <a:gd name="connsiteY4854" fmla="*/ 6787466 h 7458372"/>
              <a:gd name="connsiteX4855" fmla="*/ 3968828 w 10505529"/>
              <a:gd name="connsiteY4855" fmla="*/ 6796917 h 7458372"/>
              <a:gd name="connsiteX4856" fmla="*/ 3959510 w 10505529"/>
              <a:gd name="connsiteY4856" fmla="*/ 6803174 h 7458372"/>
              <a:gd name="connsiteX4857" fmla="*/ 3947790 w 10505529"/>
              <a:gd name="connsiteY4857" fmla="*/ 6805437 h 7458372"/>
              <a:gd name="connsiteX4858" fmla="*/ 3925958 w 10505529"/>
              <a:gd name="connsiteY4858" fmla="*/ 6796917 h 7458372"/>
              <a:gd name="connsiteX4859" fmla="*/ 3917572 w 10505529"/>
              <a:gd name="connsiteY4859" fmla="*/ 6775751 h 7458372"/>
              <a:gd name="connsiteX4860" fmla="*/ 3925958 w 10505529"/>
              <a:gd name="connsiteY4860" fmla="*/ 6754719 h 7458372"/>
              <a:gd name="connsiteX4861" fmla="*/ 3947790 w 10505529"/>
              <a:gd name="connsiteY4861" fmla="*/ 6746199 h 7458372"/>
              <a:gd name="connsiteX4862" fmla="*/ 3730129 w 10505529"/>
              <a:gd name="connsiteY4862" fmla="*/ 6746199 h 7458372"/>
              <a:gd name="connsiteX4863" fmla="*/ 3741845 w 10505529"/>
              <a:gd name="connsiteY4863" fmla="*/ 6748595 h 7458372"/>
              <a:gd name="connsiteX4864" fmla="*/ 3751164 w 10505529"/>
              <a:gd name="connsiteY4864" fmla="*/ 6754985 h 7458372"/>
              <a:gd name="connsiteX4865" fmla="*/ 3757286 w 10505529"/>
              <a:gd name="connsiteY4865" fmla="*/ 6764303 h 7458372"/>
              <a:gd name="connsiteX4866" fmla="*/ 3759549 w 10505529"/>
              <a:gd name="connsiteY4866" fmla="*/ 6775751 h 7458372"/>
              <a:gd name="connsiteX4867" fmla="*/ 3757286 w 10505529"/>
              <a:gd name="connsiteY4867" fmla="*/ 6787466 h 7458372"/>
              <a:gd name="connsiteX4868" fmla="*/ 3751164 w 10505529"/>
              <a:gd name="connsiteY4868" fmla="*/ 6796917 h 7458372"/>
              <a:gd name="connsiteX4869" fmla="*/ 3741845 w 10505529"/>
              <a:gd name="connsiteY4869" fmla="*/ 6803174 h 7458372"/>
              <a:gd name="connsiteX4870" fmla="*/ 3730129 w 10505529"/>
              <a:gd name="connsiteY4870" fmla="*/ 6805437 h 7458372"/>
              <a:gd name="connsiteX4871" fmla="*/ 3708287 w 10505529"/>
              <a:gd name="connsiteY4871" fmla="*/ 6796917 h 7458372"/>
              <a:gd name="connsiteX4872" fmla="*/ 3699901 w 10505529"/>
              <a:gd name="connsiteY4872" fmla="*/ 6775751 h 7458372"/>
              <a:gd name="connsiteX4873" fmla="*/ 3708287 w 10505529"/>
              <a:gd name="connsiteY4873" fmla="*/ 6754719 h 7458372"/>
              <a:gd name="connsiteX4874" fmla="*/ 3730129 w 10505529"/>
              <a:gd name="connsiteY4874" fmla="*/ 6746199 h 7458372"/>
              <a:gd name="connsiteX4875" fmla="*/ 3512465 w 10505529"/>
              <a:gd name="connsiteY4875" fmla="*/ 6746199 h 7458372"/>
              <a:gd name="connsiteX4876" fmla="*/ 3524181 w 10505529"/>
              <a:gd name="connsiteY4876" fmla="*/ 6748595 h 7458372"/>
              <a:gd name="connsiteX4877" fmla="*/ 3533499 w 10505529"/>
              <a:gd name="connsiteY4877" fmla="*/ 6754985 h 7458372"/>
              <a:gd name="connsiteX4878" fmla="*/ 3539622 w 10505529"/>
              <a:gd name="connsiteY4878" fmla="*/ 6764303 h 7458372"/>
              <a:gd name="connsiteX4879" fmla="*/ 3541885 w 10505529"/>
              <a:gd name="connsiteY4879" fmla="*/ 6775751 h 7458372"/>
              <a:gd name="connsiteX4880" fmla="*/ 3539622 w 10505529"/>
              <a:gd name="connsiteY4880" fmla="*/ 6787466 h 7458372"/>
              <a:gd name="connsiteX4881" fmla="*/ 3533499 w 10505529"/>
              <a:gd name="connsiteY4881" fmla="*/ 6796917 h 7458372"/>
              <a:gd name="connsiteX4882" fmla="*/ 3524181 w 10505529"/>
              <a:gd name="connsiteY4882" fmla="*/ 6803174 h 7458372"/>
              <a:gd name="connsiteX4883" fmla="*/ 3512465 w 10505529"/>
              <a:gd name="connsiteY4883" fmla="*/ 6805437 h 7458372"/>
              <a:gd name="connsiteX4884" fmla="*/ 3490627 w 10505529"/>
              <a:gd name="connsiteY4884" fmla="*/ 6796917 h 7458372"/>
              <a:gd name="connsiteX4885" fmla="*/ 3482240 w 10505529"/>
              <a:gd name="connsiteY4885" fmla="*/ 6775751 h 7458372"/>
              <a:gd name="connsiteX4886" fmla="*/ 3490627 w 10505529"/>
              <a:gd name="connsiteY4886" fmla="*/ 6754719 h 7458372"/>
              <a:gd name="connsiteX4887" fmla="*/ 3512465 w 10505529"/>
              <a:gd name="connsiteY4887" fmla="*/ 6746199 h 7458372"/>
              <a:gd name="connsiteX4888" fmla="*/ 3294933 w 10505529"/>
              <a:gd name="connsiteY4888" fmla="*/ 6746199 h 7458372"/>
              <a:gd name="connsiteX4889" fmla="*/ 3306650 w 10505529"/>
              <a:gd name="connsiteY4889" fmla="*/ 6748595 h 7458372"/>
              <a:gd name="connsiteX4890" fmla="*/ 3315968 w 10505529"/>
              <a:gd name="connsiteY4890" fmla="*/ 6754985 h 7458372"/>
              <a:gd name="connsiteX4891" fmla="*/ 3322091 w 10505529"/>
              <a:gd name="connsiteY4891" fmla="*/ 6764303 h 7458372"/>
              <a:gd name="connsiteX4892" fmla="*/ 3324354 w 10505529"/>
              <a:gd name="connsiteY4892" fmla="*/ 6775751 h 7458372"/>
              <a:gd name="connsiteX4893" fmla="*/ 3322091 w 10505529"/>
              <a:gd name="connsiteY4893" fmla="*/ 6787466 h 7458372"/>
              <a:gd name="connsiteX4894" fmla="*/ 3315968 w 10505529"/>
              <a:gd name="connsiteY4894" fmla="*/ 6796917 h 7458372"/>
              <a:gd name="connsiteX4895" fmla="*/ 3306650 w 10505529"/>
              <a:gd name="connsiteY4895" fmla="*/ 6803174 h 7458372"/>
              <a:gd name="connsiteX4896" fmla="*/ 3294933 w 10505529"/>
              <a:gd name="connsiteY4896" fmla="*/ 6805437 h 7458372"/>
              <a:gd name="connsiteX4897" fmla="*/ 3273095 w 10505529"/>
              <a:gd name="connsiteY4897" fmla="*/ 6796917 h 7458372"/>
              <a:gd name="connsiteX4898" fmla="*/ 3264706 w 10505529"/>
              <a:gd name="connsiteY4898" fmla="*/ 6775751 h 7458372"/>
              <a:gd name="connsiteX4899" fmla="*/ 3273095 w 10505529"/>
              <a:gd name="connsiteY4899" fmla="*/ 6754719 h 7458372"/>
              <a:gd name="connsiteX4900" fmla="*/ 3294933 w 10505529"/>
              <a:gd name="connsiteY4900" fmla="*/ 6746199 h 7458372"/>
              <a:gd name="connsiteX4901" fmla="*/ 3077269 w 10505529"/>
              <a:gd name="connsiteY4901" fmla="*/ 6746199 h 7458372"/>
              <a:gd name="connsiteX4902" fmla="*/ 3088985 w 10505529"/>
              <a:gd name="connsiteY4902" fmla="*/ 6748595 h 7458372"/>
              <a:gd name="connsiteX4903" fmla="*/ 3098303 w 10505529"/>
              <a:gd name="connsiteY4903" fmla="*/ 6754985 h 7458372"/>
              <a:gd name="connsiteX4904" fmla="*/ 3104426 w 10505529"/>
              <a:gd name="connsiteY4904" fmla="*/ 6764303 h 7458372"/>
              <a:gd name="connsiteX4905" fmla="*/ 3106689 w 10505529"/>
              <a:gd name="connsiteY4905" fmla="*/ 6775751 h 7458372"/>
              <a:gd name="connsiteX4906" fmla="*/ 3104426 w 10505529"/>
              <a:gd name="connsiteY4906" fmla="*/ 6787466 h 7458372"/>
              <a:gd name="connsiteX4907" fmla="*/ 3098303 w 10505529"/>
              <a:gd name="connsiteY4907" fmla="*/ 6796917 h 7458372"/>
              <a:gd name="connsiteX4908" fmla="*/ 3088985 w 10505529"/>
              <a:gd name="connsiteY4908" fmla="*/ 6803174 h 7458372"/>
              <a:gd name="connsiteX4909" fmla="*/ 3077269 w 10505529"/>
              <a:gd name="connsiteY4909" fmla="*/ 6805437 h 7458372"/>
              <a:gd name="connsiteX4910" fmla="*/ 3055430 w 10505529"/>
              <a:gd name="connsiteY4910" fmla="*/ 6796917 h 7458372"/>
              <a:gd name="connsiteX4911" fmla="*/ 3047043 w 10505529"/>
              <a:gd name="connsiteY4911" fmla="*/ 6775751 h 7458372"/>
              <a:gd name="connsiteX4912" fmla="*/ 3055430 w 10505529"/>
              <a:gd name="connsiteY4912" fmla="*/ 6754719 h 7458372"/>
              <a:gd name="connsiteX4913" fmla="*/ 3077269 w 10505529"/>
              <a:gd name="connsiteY4913" fmla="*/ 6746199 h 7458372"/>
              <a:gd name="connsiteX4914" fmla="*/ 2859605 w 10505529"/>
              <a:gd name="connsiteY4914" fmla="*/ 6746199 h 7458372"/>
              <a:gd name="connsiteX4915" fmla="*/ 2871454 w 10505529"/>
              <a:gd name="connsiteY4915" fmla="*/ 6748595 h 7458372"/>
              <a:gd name="connsiteX4916" fmla="*/ 2880772 w 10505529"/>
              <a:gd name="connsiteY4916" fmla="*/ 6754985 h 7458372"/>
              <a:gd name="connsiteX4917" fmla="*/ 2886895 w 10505529"/>
              <a:gd name="connsiteY4917" fmla="*/ 6764303 h 7458372"/>
              <a:gd name="connsiteX4918" fmla="*/ 2889158 w 10505529"/>
              <a:gd name="connsiteY4918" fmla="*/ 6775751 h 7458372"/>
              <a:gd name="connsiteX4919" fmla="*/ 2886895 w 10505529"/>
              <a:gd name="connsiteY4919" fmla="*/ 6787466 h 7458372"/>
              <a:gd name="connsiteX4920" fmla="*/ 2880772 w 10505529"/>
              <a:gd name="connsiteY4920" fmla="*/ 6796917 h 7458372"/>
              <a:gd name="connsiteX4921" fmla="*/ 2871454 w 10505529"/>
              <a:gd name="connsiteY4921" fmla="*/ 6803174 h 7458372"/>
              <a:gd name="connsiteX4922" fmla="*/ 2859605 w 10505529"/>
              <a:gd name="connsiteY4922" fmla="*/ 6805437 h 7458372"/>
              <a:gd name="connsiteX4923" fmla="*/ 2837765 w 10505529"/>
              <a:gd name="connsiteY4923" fmla="*/ 6796917 h 7458372"/>
              <a:gd name="connsiteX4924" fmla="*/ 2829378 w 10505529"/>
              <a:gd name="connsiteY4924" fmla="*/ 6775751 h 7458372"/>
              <a:gd name="connsiteX4925" fmla="*/ 2837765 w 10505529"/>
              <a:gd name="connsiteY4925" fmla="*/ 6754719 h 7458372"/>
              <a:gd name="connsiteX4926" fmla="*/ 2859605 w 10505529"/>
              <a:gd name="connsiteY4926" fmla="*/ 6746199 h 7458372"/>
              <a:gd name="connsiteX4927" fmla="*/ 2641941 w 10505529"/>
              <a:gd name="connsiteY4927" fmla="*/ 6746199 h 7458372"/>
              <a:gd name="connsiteX4928" fmla="*/ 2653656 w 10505529"/>
              <a:gd name="connsiteY4928" fmla="*/ 6748595 h 7458372"/>
              <a:gd name="connsiteX4929" fmla="*/ 2662974 w 10505529"/>
              <a:gd name="connsiteY4929" fmla="*/ 6754985 h 7458372"/>
              <a:gd name="connsiteX4930" fmla="*/ 2669097 w 10505529"/>
              <a:gd name="connsiteY4930" fmla="*/ 6764303 h 7458372"/>
              <a:gd name="connsiteX4931" fmla="*/ 2671360 w 10505529"/>
              <a:gd name="connsiteY4931" fmla="*/ 6775751 h 7458372"/>
              <a:gd name="connsiteX4932" fmla="*/ 2669097 w 10505529"/>
              <a:gd name="connsiteY4932" fmla="*/ 6787466 h 7458372"/>
              <a:gd name="connsiteX4933" fmla="*/ 2662974 w 10505529"/>
              <a:gd name="connsiteY4933" fmla="*/ 6796917 h 7458372"/>
              <a:gd name="connsiteX4934" fmla="*/ 2653656 w 10505529"/>
              <a:gd name="connsiteY4934" fmla="*/ 6803174 h 7458372"/>
              <a:gd name="connsiteX4935" fmla="*/ 2641941 w 10505529"/>
              <a:gd name="connsiteY4935" fmla="*/ 6805437 h 7458372"/>
              <a:gd name="connsiteX4936" fmla="*/ 2620106 w 10505529"/>
              <a:gd name="connsiteY4936" fmla="*/ 6796917 h 7458372"/>
              <a:gd name="connsiteX4937" fmla="*/ 2611716 w 10505529"/>
              <a:gd name="connsiteY4937" fmla="*/ 6775751 h 7458372"/>
              <a:gd name="connsiteX4938" fmla="*/ 2620106 w 10505529"/>
              <a:gd name="connsiteY4938" fmla="*/ 6754719 h 7458372"/>
              <a:gd name="connsiteX4939" fmla="*/ 2641941 w 10505529"/>
              <a:gd name="connsiteY4939" fmla="*/ 6746199 h 7458372"/>
              <a:gd name="connsiteX4940" fmla="*/ 2424276 w 10505529"/>
              <a:gd name="connsiteY4940" fmla="*/ 6746199 h 7458372"/>
              <a:gd name="connsiteX4941" fmla="*/ 2435991 w 10505529"/>
              <a:gd name="connsiteY4941" fmla="*/ 6748595 h 7458372"/>
              <a:gd name="connsiteX4942" fmla="*/ 2445309 w 10505529"/>
              <a:gd name="connsiteY4942" fmla="*/ 6754985 h 7458372"/>
              <a:gd name="connsiteX4943" fmla="*/ 2451433 w 10505529"/>
              <a:gd name="connsiteY4943" fmla="*/ 6764303 h 7458372"/>
              <a:gd name="connsiteX4944" fmla="*/ 2453696 w 10505529"/>
              <a:gd name="connsiteY4944" fmla="*/ 6775751 h 7458372"/>
              <a:gd name="connsiteX4945" fmla="*/ 2451433 w 10505529"/>
              <a:gd name="connsiteY4945" fmla="*/ 6787466 h 7458372"/>
              <a:gd name="connsiteX4946" fmla="*/ 2445309 w 10505529"/>
              <a:gd name="connsiteY4946" fmla="*/ 6796917 h 7458372"/>
              <a:gd name="connsiteX4947" fmla="*/ 2435991 w 10505529"/>
              <a:gd name="connsiteY4947" fmla="*/ 6803174 h 7458372"/>
              <a:gd name="connsiteX4948" fmla="*/ 2424276 w 10505529"/>
              <a:gd name="connsiteY4948" fmla="*/ 6805437 h 7458372"/>
              <a:gd name="connsiteX4949" fmla="*/ 2402444 w 10505529"/>
              <a:gd name="connsiteY4949" fmla="*/ 6796917 h 7458372"/>
              <a:gd name="connsiteX4950" fmla="*/ 2394054 w 10505529"/>
              <a:gd name="connsiteY4950" fmla="*/ 6775751 h 7458372"/>
              <a:gd name="connsiteX4951" fmla="*/ 2402444 w 10505529"/>
              <a:gd name="connsiteY4951" fmla="*/ 6754719 h 7458372"/>
              <a:gd name="connsiteX4952" fmla="*/ 2424276 w 10505529"/>
              <a:gd name="connsiteY4952" fmla="*/ 6746199 h 7458372"/>
              <a:gd name="connsiteX4953" fmla="*/ 2206612 w 10505529"/>
              <a:gd name="connsiteY4953" fmla="*/ 6746199 h 7458372"/>
              <a:gd name="connsiteX4954" fmla="*/ 2218327 w 10505529"/>
              <a:gd name="connsiteY4954" fmla="*/ 6748595 h 7458372"/>
              <a:gd name="connsiteX4955" fmla="*/ 2227645 w 10505529"/>
              <a:gd name="connsiteY4955" fmla="*/ 6754985 h 7458372"/>
              <a:gd name="connsiteX4956" fmla="*/ 2233768 w 10505529"/>
              <a:gd name="connsiteY4956" fmla="*/ 6764303 h 7458372"/>
              <a:gd name="connsiteX4957" fmla="*/ 2236031 w 10505529"/>
              <a:gd name="connsiteY4957" fmla="*/ 6775751 h 7458372"/>
              <a:gd name="connsiteX4958" fmla="*/ 2233768 w 10505529"/>
              <a:gd name="connsiteY4958" fmla="*/ 6787466 h 7458372"/>
              <a:gd name="connsiteX4959" fmla="*/ 2227645 w 10505529"/>
              <a:gd name="connsiteY4959" fmla="*/ 6796917 h 7458372"/>
              <a:gd name="connsiteX4960" fmla="*/ 2218327 w 10505529"/>
              <a:gd name="connsiteY4960" fmla="*/ 6803174 h 7458372"/>
              <a:gd name="connsiteX4961" fmla="*/ 2206612 w 10505529"/>
              <a:gd name="connsiteY4961" fmla="*/ 6805437 h 7458372"/>
              <a:gd name="connsiteX4962" fmla="*/ 2184779 w 10505529"/>
              <a:gd name="connsiteY4962" fmla="*/ 6796917 h 7458372"/>
              <a:gd name="connsiteX4963" fmla="*/ 2176390 w 10505529"/>
              <a:gd name="connsiteY4963" fmla="*/ 6775751 h 7458372"/>
              <a:gd name="connsiteX4964" fmla="*/ 2184779 w 10505529"/>
              <a:gd name="connsiteY4964" fmla="*/ 6754719 h 7458372"/>
              <a:gd name="connsiteX4965" fmla="*/ 2206612 w 10505529"/>
              <a:gd name="connsiteY4965" fmla="*/ 6746199 h 7458372"/>
              <a:gd name="connsiteX4966" fmla="*/ 1989080 w 10505529"/>
              <a:gd name="connsiteY4966" fmla="*/ 6746199 h 7458372"/>
              <a:gd name="connsiteX4967" fmla="*/ 2000795 w 10505529"/>
              <a:gd name="connsiteY4967" fmla="*/ 6748595 h 7458372"/>
              <a:gd name="connsiteX4968" fmla="*/ 2010113 w 10505529"/>
              <a:gd name="connsiteY4968" fmla="*/ 6754985 h 7458372"/>
              <a:gd name="connsiteX4969" fmla="*/ 2016237 w 10505529"/>
              <a:gd name="connsiteY4969" fmla="*/ 6764303 h 7458372"/>
              <a:gd name="connsiteX4970" fmla="*/ 2018500 w 10505529"/>
              <a:gd name="connsiteY4970" fmla="*/ 6775751 h 7458372"/>
              <a:gd name="connsiteX4971" fmla="*/ 2016237 w 10505529"/>
              <a:gd name="connsiteY4971" fmla="*/ 6787466 h 7458372"/>
              <a:gd name="connsiteX4972" fmla="*/ 2010113 w 10505529"/>
              <a:gd name="connsiteY4972" fmla="*/ 6796917 h 7458372"/>
              <a:gd name="connsiteX4973" fmla="*/ 2000795 w 10505529"/>
              <a:gd name="connsiteY4973" fmla="*/ 6803174 h 7458372"/>
              <a:gd name="connsiteX4974" fmla="*/ 1989080 w 10505529"/>
              <a:gd name="connsiteY4974" fmla="*/ 6805437 h 7458372"/>
              <a:gd name="connsiteX4975" fmla="*/ 1967249 w 10505529"/>
              <a:gd name="connsiteY4975" fmla="*/ 6796917 h 7458372"/>
              <a:gd name="connsiteX4976" fmla="*/ 1958863 w 10505529"/>
              <a:gd name="connsiteY4976" fmla="*/ 6775751 h 7458372"/>
              <a:gd name="connsiteX4977" fmla="*/ 1967249 w 10505529"/>
              <a:gd name="connsiteY4977" fmla="*/ 6754719 h 7458372"/>
              <a:gd name="connsiteX4978" fmla="*/ 1989080 w 10505529"/>
              <a:gd name="connsiteY4978" fmla="*/ 6746199 h 7458372"/>
              <a:gd name="connsiteX4979" fmla="*/ 1771449 w 10505529"/>
              <a:gd name="connsiteY4979" fmla="*/ 6746199 h 7458372"/>
              <a:gd name="connsiteX4980" fmla="*/ 1783162 w 10505529"/>
              <a:gd name="connsiteY4980" fmla="*/ 6748595 h 7458372"/>
              <a:gd name="connsiteX4981" fmla="*/ 1792480 w 10505529"/>
              <a:gd name="connsiteY4981" fmla="*/ 6754985 h 7458372"/>
              <a:gd name="connsiteX4982" fmla="*/ 1798603 w 10505529"/>
              <a:gd name="connsiteY4982" fmla="*/ 6764303 h 7458372"/>
              <a:gd name="connsiteX4983" fmla="*/ 1800865 w 10505529"/>
              <a:gd name="connsiteY4983" fmla="*/ 6775751 h 7458372"/>
              <a:gd name="connsiteX4984" fmla="*/ 1798603 w 10505529"/>
              <a:gd name="connsiteY4984" fmla="*/ 6787466 h 7458372"/>
              <a:gd name="connsiteX4985" fmla="*/ 1792480 w 10505529"/>
              <a:gd name="connsiteY4985" fmla="*/ 6796917 h 7458372"/>
              <a:gd name="connsiteX4986" fmla="*/ 1783162 w 10505529"/>
              <a:gd name="connsiteY4986" fmla="*/ 6803174 h 7458372"/>
              <a:gd name="connsiteX4987" fmla="*/ 1771449 w 10505529"/>
              <a:gd name="connsiteY4987" fmla="*/ 6805437 h 7458372"/>
              <a:gd name="connsiteX4988" fmla="*/ 1749620 w 10505529"/>
              <a:gd name="connsiteY4988" fmla="*/ 6796917 h 7458372"/>
              <a:gd name="connsiteX4989" fmla="*/ 1741237 w 10505529"/>
              <a:gd name="connsiteY4989" fmla="*/ 6775751 h 7458372"/>
              <a:gd name="connsiteX4990" fmla="*/ 1749620 w 10505529"/>
              <a:gd name="connsiteY4990" fmla="*/ 6754719 h 7458372"/>
              <a:gd name="connsiteX4991" fmla="*/ 1771449 w 10505529"/>
              <a:gd name="connsiteY4991" fmla="*/ 6746199 h 7458372"/>
              <a:gd name="connsiteX4992" fmla="*/ 1553813 w 10505529"/>
              <a:gd name="connsiteY4992" fmla="*/ 6746199 h 7458372"/>
              <a:gd name="connsiteX4993" fmla="*/ 1565528 w 10505529"/>
              <a:gd name="connsiteY4993" fmla="*/ 6748595 h 7458372"/>
              <a:gd name="connsiteX4994" fmla="*/ 1574847 w 10505529"/>
              <a:gd name="connsiteY4994" fmla="*/ 6754985 h 7458372"/>
              <a:gd name="connsiteX4995" fmla="*/ 1580970 w 10505529"/>
              <a:gd name="connsiteY4995" fmla="*/ 6764303 h 7458372"/>
              <a:gd name="connsiteX4996" fmla="*/ 1583233 w 10505529"/>
              <a:gd name="connsiteY4996" fmla="*/ 6775751 h 7458372"/>
              <a:gd name="connsiteX4997" fmla="*/ 1580970 w 10505529"/>
              <a:gd name="connsiteY4997" fmla="*/ 6787466 h 7458372"/>
              <a:gd name="connsiteX4998" fmla="*/ 1574847 w 10505529"/>
              <a:gd name="connsiteY4998" fmla="*/ 6796917 h 7458372"/>
              <a:gd name="connsiteX4999" fmla="*/ 1565528 w 10505529"/>
              <a:gd name="connsiteY4999" fmla="*/ 6803174 h 7458372"/>
              <a:gd name="connsiteX5000" fmla="*/ 1553813 w 10505529"/>
              <a:gd name="connsiteY5000" fmla="*/ 6805437 h 7458372"/>
              <a:gd name="connsiteX5001" fmla="*/ 1531985 w 10505529"/>
              <a:gd name="connsiteY5001" fmla="*/ 6796917 h 7458372"/>
              <a:gd name="connsiteX5002" fmla="*/ 1523599 w 10505529"/>
              <a:gd name="connsiteY5002" fmla="*/ 6775751 h 7458372"/>
              <a:gd name="connsiteX5003" fmla="*/ 1531985 w 10505529"/>
              <a:gd name="connsiteY5003" fmla="*/ 6754719 h 7458372"/>
              <a:gd name="connsiteX5004" fmla="*/ 1553813 w 10505529"/>
              <a:gd name="connsiteY5004" fmla="*/ 6746199 h 7458372"/>
              <a:gd name="connsiteX5005" fmla="*/ 1336171 w 10505529"/>
              <a:gd name="connsiteY5005" fmla="*/ 6746199 h 7458372"/>
              <a:gd name="connsiteX5006" fmla="*/ 1347886 w 10505529"/>
              <a:gd name="connsiteY5006" fmla="*/ 6748595 h 7458372"/>
              <a:gd name="connsiteX5007" fmla="*/ 1357204 w 10505529"/>
              <a:gd name="connsiteY5007" fmla="*/ 6754985 h 7458372"/>
              <a:gd name="connsiteX5008" fmla="*/ 1363327 w 10505529"/>
              <a:gd name="connsiteY5008" fmla="*/ 6764303 h 7458372"/>
              <a:gd name="connsiteX5009" fmla="*/ 1365589 w 10505529"/>
              <a:gd name="connsiteY5009" fmla="*/ 6775751 h 7458372"/>
              <a:gd name="connsiteX5010" fmla="*/ 1363327 w 10505529"/>
              <a:gd name="connsiteY5010" fmla="*/ 6787466 h 7458372"/>
              <a:gd name="connsiteX5011" fmla="*/ 1357204 w 10505529"/>
              <a:gd name="connsiteY5011" fmla="*/ 6796917 h 7458372"/>
              <a:gd name="connsiteX5012" fmla="*/ 1347886 w 10505529"/>
              <a:gd name="connsiteY5012" fmla="*/ 6803174 h 7458372"/>
              <a:gd name="connsiteX5013" fmla="*/ 1336171 w 10505529"/>
              <a:gd name="connsiteY5013" fmla="*/ 6805437 h 7458372"/>
              <a:gd name="connsiteX5014" fmla="*/ 1314337 w 10505529"/>
              <a:gd name="connsiteY5014" fmla="*/ 6796917 h 7458372"/>
              <a:gd name="connsiteX5015" fmla="*/ 1305952 w 10505529"/>
              <a:gd name="connsiteY5015" fmla="*/ 6775751 h 7458372"/>
              <a:gd name="connsiteX5016" fmla="*/ 1314337 w 10505529"/>
              <a:gd name="connsiteY5016" fmla="*/ 6754719 h 7458372"/>
              <a:gd name="connsiteX5017" fmla="*/ 1336171 w 10505529"/>
              <a:gd name="connsiteY5017" fmla="*/ 6746199 h 7458372"/>
              <a:gd name="connsiteX5018" fmla="*/ 1118525 w 10505529"/>
              <a:gd name="connsiteY5018" fmla="*/ 6746199 h 7458372"/>
              <a:gd name="connsiteX5019" fmla="*/ 1130244 w 10505529"/>
              <a:gd name="connsiteY5019" fmla="*/ 6748595 h 7458372"/>
              <a:gd name="connsiteX5020" fmla="*/ 1139558 w 10505529"/>
              <a:gd name="connsiteY5020" fmla="*/ 6754985 h 7458372"/>
              <a:gd name="connsiteX5021" fmla="*/ 1145677 w 10505529"/>
              <a:gd name="connsiteY5021" fmla="*/ 6764303 h 7458372"/>
              <a:gd name="connsiteX5022" fmla="*/ 1147940 w 10505529"/>
              <a:gd name="connsiteY5022" fmla="*/ 6775751 h 7458372"/>
              <a:gd name="connsiteX5023" fmla="*/ 1145677 w 10505529"/>
              <a:gd name="connsiteY5023" fmla="*/ 6787466 h 7458372"/>
              <a:gd name="connsiteX5024" fmla="*/ 1139558 w 10505529"/>
              <a:gd name="connsiteY5024" fmla="*/ 6796917 h 7458372"/>
              <a:gd name="connsiteX5025" fmla="*/ 1130244 w 10505529"/>
              <a:gd name="connsiteY5025" fmla="*/ 6803174 h 7458372"/>
              <a:gd name="connsiteX5026" fmla="*/ 1118525 w 10505529"/>
              <a:gd name="connsiteY5026" fmla="*/ 6805437 h 7458372"/>
              <a:gd name="connsiteX5027" fmla="*/ 1096689 w 10505529"/>
              <a:gd name="connsiteY5027" fmla="*/ 6796917 h 7458372"/>
              <a:gd name="connsiteX5028" fmla="*/ 1088305 w 10505529"/>
              <a:gd name="connsiteY5028" fmla="*/ 6775751 h 7458372"/>
              <a:gd name="connsiteX5029" fmla="*/ 1096689 w 10505529"/>
              <a:gd name="connsiteY5029" fmla="*/ 6754719 h 7458372"/>
              <a:gd name="connsiteX5030" fmla="*/ 1118525 w 10505529"/>
              <a:gd name="connsiteY5030" fmla="*/ 6746199 h 7458372"/>
              <a:gd name="connsiteX5031" fmla="*/ 901012 w 10505529"/>
              <a:gd name="connsiteY5031" fmla="*/ 6746199 h 7458372"/>
              <a:gd name="connsiteX5032" fmla="*/ 912727 w 10505529"/>
              <a:gd name="connsiteY5032" fmla="*/ 6748595 h 7458372"/>
              <a:gd name="connsiteX5033" fmla="*/ 922045 w 10505529"/>
              <a:gd name="connsiteY5033" fmla="*/ 6754985 h 7458372"/>
              <a:gd name="connsiteX5034" fmla="*/ 928167 w 10505529"/>
              <a:gd name="connsiteY5034" fmla="*/ 6764303 h 7458372"/>
              <a:gd name="connsiteX5035" fmla="*/ 930430 w 10505529"/>
              <a:gd name="connsiteY5035" fmla="*/ 6775751 h 7458372"/>
              <a:gd name="connsiteX5036" fmla="*/ 928167 w 10505529"/>
              <a:gd name="connsiteY5036" fmla="*/ 6787466 h 7458372"/>
              <a:gd name="connsiteX5037" fmla="*/ 922045 w 10505529"/>
              <a:gd name="connsiteY5037" fmla="*/ 6796917 h 7458372"/>
              <a:gd name="connsiteX5038" fmla="*/ 912727 w 10505529"/>
              <a:gd name="connsiteY5038" fmla="*/ 6803174 h 7458372"/>
              <a:gd name="connsiteX5039" fmla="*/ 901012 w 10505529"/>
              <a:gd name="connsiteY5039" fmla="*/ 6805437 h 7458372"/>
              <a:gd name="connsiteX5040" fmla="*/ 879181 w 10505529"/>
              <a:gd name="connsiteY5040" fmla="*/ 6796917 h 7458372"/>
              <a:gd name="connsiteX5041" fmla="*/ 870796 w 10505529"/>
              <a:gd name="connsiteY5041" fmla="*/ 6775751 h 7458372"/>
              <a:gd name="connsiteX5042" fmla="*/ 879181 w 10505529"/>
              <a:gd name="connsiteY5042" fmla="*/ 6754719 h 7458372"/>
              <a:gd name="connsiteX5043" fmla="*/ 901012 w 10505529"/>
              <a:gd name="connsiteY5043" fmla="*/ 6746199 h 7458372"/>
              <a:gd name="connsiteX5044" fmla="*/ 683372 w 10505529"/>
              <a:gd name="connsiteY5044" fmla="*/ 6746199 h 7458372"/>
              <a:gd name="connsiteX5045" fmla="*/ 695088 w 10505529"/>
              <a:gd name="connsiteY5045" fmla="*/ 6748595 h 7458372"/>
              <a:gd name="connsiteX5046" fmla="*/ 704404 w 10505529"/>
              <a:gd name="connsiteY5046" fmla="*/ 6754985 h 7458372"/>
              <a:gd name="connsiteX5047" fmla="*/ 710527 w 10505529"/>
              <a:gd name="connsiteY5047" fmla="*/ 6764303 h 7458372"/>
              <a:gd name="connsiteX5048" fmla="*/ 712791 w 10505529"/>
              <a:gd name="connsiteY5048" fmla="*/ 6775751 h 7458372"/>
              <a:gd name="connsiteX5049" fmla="*/ 710527 w 10505529"/>
              <a:gd name="connsiteY5049" fmla="*/ 6787466 h 7458372"/>
              <a:gd name="connsiteX5050" fmla="*/ 704404 w 10505529"/>
              <a:gd name="connsiteY5050" fmla="*/ 6796917 h 7458372"/>
              <a:gd name="connsiteX5051" fmla="*/ 695088 w 10505529"/>
              <a:gd name="connsiteY5051" fmla="*/ 6803174 h 7458372"/>
              <a:gd name="connsiteX5052" fmla="*/ 683372 w 10505529"/>
              <a:gd name="connsiteY5052" fmla="*/ 6805437 h 7458372"/>
              <a:gd name="connsiteX5053" fmla="*/ 661541 w 10505529"/>
              <a:gd name="connsiteY5053" fmla="*/ 6796917 h 7458372"/>
              <a:gd name="connsiteX5054" fmla="*/ 653155 w 10505529"/>
              <a:gd name="connsiteY5054" fmla="*/ 6775751 h 7458372"/>
              <a:gd name="connsiteX5055" fmla="*/ 661541 w 10505529"/>
              <a:gd name="connsiteY5055" fmla="*/ 6754719 h 7458372"/>
              <a:gd name="connsiteX5056" fmla="*/ 683372 w 10505529"/>
              <a:gd name="connsiteY5056" fmla="*/ 6746199 h 7458372"/>
              <a:gd name="connsiteX5057" fmla="*/ 465732 w 10505529"/>
              <a:gd name="connsiteY5057" fmla="*/ 6746199 h 7458372"/>
              <a:gd name="connsiteX5058" fmla="*/ 477447 w 10505529"/>
              <a:gd name="connsiteY5058" fmla="*/ 6748595 h 7458372"/>
              <a:gd name="connsiteX5059" fmla="*/ 486765 w 10505529"/>
              <a:gd name="connsiteY5059" fmla="*/ 6754985 h 7458372"/>
              <a:gd name="connsiteX5060" fmla="*/ 492887 w 10505529"/>
              <a:gd name="connsiteY5060" fmla="*/ 6764303 h 7458372"/>
              <a:gd name="connsiteX5061" fmla="*/ 495150 w 10505529"/>
              <a:gd name="connsiteY5061" fmla="*/ 6775751 h 7458372"/>
              <a:gd name="connsiteX5062" fmla="*/ 492887 w 10505529"/>
              <a:gd name="connsiteY5062" fmla="*/ 6787466 h 7458372"/>
              <a:gd name="connsiteX5063" fmla="*/ 486765 w 10505529"/>
              <a:gd name="connsiteY5063" fmla="*/ 6796917 h 7458372"/>
              <a:gd name="connsiteX5064" fmla="*/ 477447 w 10505529"/>
              <a:gd name="connsiteY5064" fmla="*/ 6803174 h 7458372"/>
              <a:gd name="connsiteX5065" fmla="*/ 465732 w 10505529"/>
              <a:gd name="connsiteY5065" fmla="*/ 6805437 h 7458372"/>
              <a:gd name="connsiteX5066" fmla="*/ 443901 w 10505529"/>
              <a:gd name="connsiteY5066" fmla="*/ 6796917 h 7458372"/>
              <a:gd name="connsiteX5067" fmla="*/ 435515 w 10505529"/>
              <a:gd name="connsiteY5067" fmla="*/ 6775751 h 7458372"/>
              <a:gd name="connsiteX5068" fmla="*/ 443901 w 10505529"/>
              <a:gd name="connsiteY5068" fmla="*/ 6754719 h 7458372"/>
              <a:gd name="connsiteX5069" fmla="*/ 465732 w 10505529"/>
              <a:gd name="connsiteY5069" fmla="*/ 6746199 h 7458372"/>
              <a:gd name="connsiteX5070" fmla="*/ 248091 w 10505529"/>
              <a:gd name="connsiteY5070" fmla="*/ 6746199 h 7458372"/>
              <a:gd name="connsiteX5071" fmla="*/ 259805 w 10505529"/>
              <a:gd name="connsiteY5071" fmla="*/ 6748595 h 7458372"/>
              <a:gd name="connsiteX5072" fmla="*/ 269123 w 10505529"/>
              <a:gd name="connsiteY5072" fmla="*/ 6754985 h 7458372"/>
              <a:gd name="connsiteX5073" fmla="*/ 275246 w 10505529"/>
              <a:gd name="connsiteY5073" fmla="*/ 6764303 h 7458372"/>
              <a:gd name="connsiteX5074" fmla="*/ 277509 w 10505529"/>
              <a:gd name="connsiteY5074" fmla="*/ 6775751 h 7458372"/>
              <a:gd name="connsiteX5075" fmla="*/ 275246 w 10505529"/>
              <a:gd name="connsiteY5075" fmla="*/ 6787466 h 7458372"/>
              <a:gd name="connsiteX5076" fmla="*/ 269123 w 10505529"/>
              <a:gd name="connsiteY5076" fmla="*/ 6796917 h 7458372"/>
              <a:gd name="connsiteX5077" fmla="*/ 259805 w 10505529"/>
              <a:gd name="connsiteY5077" fmla="*/ 6803174 h 7458372"/>
              <a:gd name="connsiteX5078" fmla="*/ 248091 w 10505529"/>
              <a:gd name="connsiteY5078" fmla="*/ 6805437 h 7458372"/>
              <a:gd name="connsiteX5079" fmla="*/ 226262 w 10505529"/>
              <a:gd name="connsiteY5079" fmla="*/ 6796917 h 7458372"/>
              <a:gd name="connsiteX5080" fmla="*/ 217877 w 10505529"/>
              <a:gd name="connsiteY5080" fmla="*/ 6775751 h 7458372"/>
              <a:gd name="connsiteX5081" fmla="*/ 226262 w 10505529"/>
              <a:gd name="connsiteY5081" fmla="*/ 6754719 h 7458372"/>
              <a:gd name="connsiteX5082" fmla="*/ 248091 w 10505529"/>
              <a:gd name="connsiteY5082" fmla="*/ 6746199 h 7458372"/>
              <a:gd name="connsiteX5083" fmla="*/ 30450 w 10505529"/>
              <a:gd name="connsiteY5083" fmla="*/ 6746199 h 7458372"/>
              <a:gd name="connsiteX5084" fmla="*/ 42165 w 10505529"/>
              <a:gd name="connsiteY5084" fmla="*/ 6748595 h 7458372"/>
              <a:gd name="connsiteX5085" fmla="*/ 51483 w 10505529"/>
              <a:gd name="connsiteY5085" fmla="*/ 6754985 h 7458372"/>
              <a:gd name="connsiteX5086" fmla="*/ 57607 w 10505529"/>
              <a:gd name="connsiteY5086" fmla="*/ 6764303 h 7458372"/>
              <a:gd name="connsiteX5087" fmla="*/ 59870 w 10505529"/>
              <a:gd name="connsiteY5087" fmla="*/ 6775751 h 7458372"/>
              <a:gd name="connsiteX5088" fmla="*/ 57607 w 10505529"/>
              <a:gd name="connsiteY5088" fmla="*/ 6787466 h 7458372"/>
              <a:gd name="connsiteX5089" fmla="*/ 51483 w 10505529"/>
              <a:gd name="connsiteY5089" fmla="*/ 6796917 h 7458372"/>
              <a:gd name="connsiteX5090" fmla="*/ 42165 w 10505529"/>
              <a:gd name="connsiteY5090" fmla="*/ 6803174 h 7458372"/>
              <a:gd name="connsiteX5091" fmla="*/ 30450 w 10505529"/>
              <a:gd name="connsiteY5091" fmla="*/ 6805437 h 7458372"/>
              <a:gd name="connsiteX5092" fmla="*/ 8623 w 10505529"/>
              <a:gd name="connsiteY5092" fmla="*/ 6796917 h 7458372"/>
              <a:gd name="connsiteX5093" fmla="*/ 237 w 10505529"/>
              <a:gd name="connsiteY5093" fmla="*/ 6775751 h 7458372"/>
              <a:gd name="connsiteX5094" fmla="*/ 8623 w 10505529"/>
              <a:gd name="connsiteY5094" fmla="*/ 6754719 h 7458372"/>
              <a:gd name="connsiteX5095" fmla="*/ 30450 w 10505529"/>
              <a:gd name="connsiteY5095" fmla="*/ 6746199 h 7458372"/>
              <a:gd name="connsiteX5096" fmla="*/ 10475977 w 10505529"/>
              <a:gd name="connsiteY5096" fmla="*/ 6545327 h 7458372"/>
              <a:gd name="connsiteX5097" fmla="*/ 10465992 w 10505529"/>
              <a:gd name="connsiteY5097" fmla="*/ 6548921 h 7458372"/>
              <a:gd name="connsiteX5098" fmla="*/ 10462399 w 10505529"/>
              <a:gd name="connsiteY5098" fmla="*/ 6558372 h 7458372"/>
              <a:gd name="connsiteX5099" fmla="*/ 10465992 w 10505529"/>
              <a:gd name="connsiteY5099" fmla="*/ 6567823 h 7458372"/>
              <a:gd name="connsiteX5100" fmla="*/ 10475977 w 10505529"/>
              <a:gd name="connsiteY5100" fmla="*/ 6571286 h 7458372"/>
              <a:gd name="connsiteX5101" fmla="*/ 10481302 w 10505529"/>
              <a:gd name="connsiteY5101" fmla="*/ 6570354 h 7458372"/>
              <a:gd name="connsiteX5102" fmla="*/ 10485029 w 10505529"/>
              <a:gd name="connsiteY5102" fmla="*/ 6567957 h 7458372"/>
              <a:gd name="connsiteX5103" fmla="*/ 10487691 w 10505529"/>
              <a:gd name="connsiteY5103" fmla="*/ 6563697 h 7458372"/>
              <a:gd name="connsiteX5104" fmla="*/ 10488623 w 10505529"/>
              <a:gd name="connsiteY5104" fmla="*/ 6558239 h 7458372"/>
              <a:gd name="connsiteX5105" fmla="*/ 10487691 w 10505529"/>
              <a:gd name="connsiteY5105" fmla="*/ 6553047 h 7458372"/>
              <a:gd name="connsiteX5106" fmla="*/ 10485029 w 10505529"/>
              <a:gd name="connsiteY5106" fmla="*/ 6548921 h 7458372"/>
              <a:gd name="connsiteX5107" fmla="*/ 10481035 w 10505529"/>
              <a:gd name="connsiteY5107" fmla="*/ 6546259 h 7458372"/>
              <a:gd name="connsiteX5108" fmla="*/ 10475977 w 10505529"/>
              <a:gd name="connsiteY5108" fmla="*/ 6545327 h 7458372"/>
              <a:gd name="connsiteX5109" fmla="*/ 10258466 w 10505529"/>
              <a:gd name="connsiteY5109" fmla="*/ 6545327 h 7458372"/>
              <a:gd name="connsiteX5110" fmla="*/ 10248481 w 10505529"/>
              <a:gd name="connsiteY5110" fmla="*/ 6548921 h 7458372"/>
              <a:gd name="connsiteX5111" fmla="*/ 10244887 w 10505529"/>
              <a:gd name="connsiteY5111" fmla="*/ 6558372 h 7458372"/>
              <a:gd name="connsiteX5112" fmla="*/ 10248481 w 10505529"/>
              <a:gd name="connsiteY5112" fmla="*/ 6567823 h 7458372"/>
              <a:gd name="connsiteX5113" fmla="*/ 10258466 w 10505529"/>
              <a:gd name="connsiteY5113" fmla="*/ 6571286 h 7458372"/>
              <a:gd name="connsiteX5114" fmla="*/ 10263790 w 10505529"/>
              <a:gd name="connsiteY5114" fmla="*/ 6570354 h 7458372"/>
              <a:gd name="connsiteX5115" fmla="*/ 10267517 w 10505529"/>
              <a:gd name="connsiteY5115" fmla="*/ 6567957 h 7458372"/>
              <a:gd name="connsiteX5116" fmla="*/ 10270180 w 10505529"/>
              <a:gd name="connsiteY5116" fmla="*/ 6563697 h 7458372"/>
              <a:gd name="connsiteX5117" fmla="*/ 10271112 w 10505529"/>
              <a:gd name="connsiteY5117" fmla="*/ 6558239 h 7458372"/>
              <a:gd name="connsiteX5118" fmla="*/ 10270180 w 10505529"/>
              <a:gd name="connsiteY5118" fmla="*/ 6553047 h 7458372"/>
              <a:gd name="connsiteX5119" fmla="*/ 10267517 w 10505529"/>
              <a:gd name="connsiteY5119" fmla="*/ 6548921 h 7458372"/>
              <a:gd name="connsiteX5120" fmla="*/ 10263524 w 10505529"/>
              <a:gd name="connsiteY5120" fmla="*/ 6546259 h 7458372"/>
              <a:gd name="connsiteX5121" fmla="*/ 10258466 w 10505529"/>
              <a:gd name="connsiteY5121" fmla="*/ 6545327 h 7458372"/>
              <a:gd name="connsiteX5122" fmla="*/ 10040820 w 10505529"/>
              <a:gd name="connsiteY5122" fmla="*/ 6545327 h 7458372"/>
              <a:gd name="connsiteX5123" fmla="*/ 10030835 w 10505529"/>
              <a:gd name="connsiteY5123" fmla="*/ 6548921 h 7458372"/>
              <a:gd name="connsiteX5124" fmla="*/ 10027242 w 10505529"/>
              <a:gd name="connsiteY5124" fmla="*/ 6558372 h 7458372"/>
              <a:gd name="connsiteX5125" fmla="*/ 10030835 w 10505529"/>
              <a:gd name="connsiteY5125" fmla="*/ 6567823 h 7458372"/>
              <a:gd name="connsiteX5126" fmla="*/ 10040820 w 10505529"/>
              <a:gd name="connsiteY5126" fmla="*/ 6571286 h 7458372"/>
              <a:gd name="connsiteX5127" fmla="*/ 10046145 w 10505529"/>
              <a:gd name="connsiteY5127" fmla="*/ 6570354 h 7458372"/>
              <a:gd name="connsiteX5128" fmla="*/ 10049872 w 10505529"/>
              <a:gd name="connsiteY5128" fmla="*/ 6567957 h 7458372"/>
              <a:gd name="connsiteX5129" fmla="*/ 10052534 w 10505529"/>
              <a:gd name="connsiteY5129" fmla="*/ 6563697 h 7458372"/>
              <a:gd name="connsiteX5130" fmla="*/ 10053599 w 10505529"/>
              <a:gd name="connsiteY5130" fmla="*/ 6558239 h 7458372"/>
              <a:gd name="connsiteX5131" fmla="*/ 10052534 w 10505529"/>
              <a:gd name="connsiteY5131" fmla="*/ 6553047 h 7458372"/>
              <a:gd name="connsiteX5132" fmla="*/ 10049872 w 10505529"/>
              <a:gd name="connsiteY5132" fmla="*/ 6548921 h 7458372"/>
              <a:gd name="connsiteX5133" fmla="*/ 10045878 w 10505529"/>
              <a:gd name="connsiteY5133" fmla="*/ 6546259 h 7458372"/>
              <a:gd name="connsiteX5134" fmla="*/ 10040820 w 10505529"/>
              <a:gd name="connsiteY5134" fmla="*/ 6545327 h 7458372"/>
              <a:gd name="connsiteX5135" fmla="*/ 9823176 w 10505529"/>
              <a:gd name="connsiteY5135" fmla="*/ 6545327 h 7458372"/>
              <a:gd name="connsiteX5136" fmla="*/ 9813191 w 10505529"/>
              <a:gd name="connsiteY5136" fmla="*/ 6548921 h 7458372"/>
              <a:gd name="connsiteX5137" fmla="*/ 9809597 w 10505529"/>
              <a:gd name="connsiteY5137" fmla="*/ 6558372 h 7458372"/>
              <a:gd name="connsiteX5138" fmla="*/ 9813191 w 10505529"/>
              <a:gd name="connsiteY5138" fmla="*/ 6567823 h 7458372"/>
              <a:gd name="connsiteX5139" fmla="*/ 9823176 w 10505529"/>
              <a:gd name="connsiteY5139" fmla="*/ 6571286 h 7458372"/>
              <a:gd name="connsiteX5140" fmla="*/ 9828501 w 10505529"/>
              <a:gd name="connsiteY5140" fmla="*/ 6570354 h 7458372"/>
              <a:gd name="connsiteX5141" fmla="*/ 9832227 w 10505529"/>
              <a:gd name="connsiteY5141" fmla="*/ 6567957 h 7458372"/>
              <a:gd name="connsiteX5142" fmla="*/ 9834890 w 10505529"/>
              <a:gd name="connsiteY5142" fmla="*/ 6563697 h 7458372"/>
              <a:gd name="connsiteX5143" fmla="*/ 9835955 w 10505529"/>
              <a:gd name="connsiteY5143" fmla="*/ 6558239 h 7458372"/>
              <a:gd name="connsiteX5144" fmla="*/ 9834890 w 10505529"/>
              <a:gd name="connsiteY5144" fmla="*/ 6553047 h 7458372"/>
              <a:gd name="connsiteX5145" fmla="*/ 9832227 w 10505529"/>
              <a:gd name="connsiteY5145" fmla="*/ 6548921 h 7458372"/>
              <a:gd name="connsiteX5146" fmla="*/ 9828234 w 10505529"/>
              <a:gd name="connsiteY5146" fmla="*/ 6546259 h 7458372"/>
              <a:gd name="connsiteX5147" fmla="*/ 9823176 w 10505529"/>
              <a:gd name="connsiteY5147" fmla="*/ 6545327 h 7458372"/>
              <a:gd name="connsiteX5148" fmla="*/ 9605531 w 10505529"/>
              <a:gd name="connsiteY5148" fmla="*/ 6545327 h 7458372"/>
              <a:gd name="connsiteX5149" fmla="*/ 9595546 w 10505529"/>
              <a:gd name="connsiteY5149" fmla="*/ 6548921 h 7458372"/>
              <a:gd name="connsiteX5150" fmla="*/ 9591952 w 10505529"/>
              <a:gd name="connsiteY5150" fmla="*/ 6558372 h 7458372"/>
              <a:gd name="connsiteX5151" fmla="*/ 9595546 w 10505529"/>
              <a:gd name="connsiteY5151" fmla="*/ 6567823 h 7458372"/>
              <a:gd name="connsiteX5152" fmla="*/ 9605531 w 10505529"/>
              <a:gd name="connsiteY5152" fmla="*/ 6571286 h 7458372"/>
              <a:gd name="connsiteX5153" fmla="*/ 9610855 w 10505529"/>
              <a:gd name="connsiteY5153" fmla="*/ 6570354 h 7458372"/>
              <a:gd name="connsiteX5154" fmla="*/ 9614582 w 10505529"/>
              <a:gd name="connsiteY5154" fmla="*/ 6567957 h 7458372"/>
              <a:gd name="connsiteX5155" fmla="*/ 9617245 w 10505529"/>
              <a:gd name="connsiteY5155" fmla="*/ 6563697 h 7458372"/>
              <a:gd name="connsiteX5156" fmla="*/ 9618309 w 10505529"/>
              <a:gd name="connsiteY5156" fmla="*/ 6558239 h 7458372"/>
              <a:gd name="connsiteX5157" fmla="*/ 9617245 w 10505529"/>
              <a:gd name="connsiteY5157" fmla="*/ 6553047 h 7458372"/>
              <a:gd name="connsiteX5158" fmla="*/ 9614582 w 10505529"/>
              <a:gd name="connsiteY5158" fmla="*/ 6548921 h 7458372"/>
              <a:gd name="connsiteX5159" fmla="*/ 9610589 w 10505529"/>
              <a:gd name="connsiteY5159" fmla="*/ 6546259 h 7458372"/>
              <a:gd name="connsiteX5160" fmla="*/ 9605531 w 10505529"/>
              <a:gd name="connsiteY5160" fmla="*/ 6545327 h 7458372"/>
              <a:gd name="connsiteX5161" fmla="*/ 9387885 w 10505529"/>
              <a:gd name="connsiteY5161" fmla="*/ 6545327 h 7458372"/>
              <a:gd name="connsiteX5162" fmla="*/ 9377900 w 10505529"/>
              <a:gd name="connsiteY5162" fmla="*/ 6548921 h 7458372"/>
              <a:gd name="connsiteX5163" fmla="*/ 9374307 w 10505529"/>
              <a:gd name="connsiteY5163" fmla="*/ 6558372 h 7458372"/>
              <a:gd name="connsiteX5164" fmla="*/ 9377900 w 10505529"/>
              <a:gd name="connsiteY5164" fmla="*/ 6567823 h 7458372"/>
              <a:gd name="connsiteX5165" fmla="*/ 9387885 w 10505529"/>
              <a:gd name="connsiteY5165" fmla="*/ 6571286 h 7458372"/>
              <a:gd name="connsiteX5166" fmla="*/ 9393210 w 10505529"/>
              <a:gd name="connsiteY5166" fmla="*/ 6570354 h 7458372"/>
              <a:gd name="connsiteX5167" fmla="*/ 9396937 w 10505529"/>
              <a:gd name="connsiteY5167" fmla="*/ 6567957 h 7458372"/>
              <a:gd name="connsiteX5168" fmla="*/ 9399599 w 10505529"/>
              <a:gd name="connsiteY5168" fmla="*/ 6563697 h 7458372"/>
              <a:gd name="connsiteX5169" fmla="*/ 9400664 w 10505529"/>
              <a:gd name="connsiteY5169" fmla="*/ 6558239 h 7458372"/>
              <a:gd name="connsiteX5170" fmla="*/ 9399599 w 10505529"/>
              <a:gd name="connsiteY5170" fmla="*/ 6553047 h 7458372"/>
              <a:gd name="connsiteX5171" fmla="*/ 9396937 w 10505529"/>
              <a:gd name="connsiteY5171" fmla="*/ 6548921 h 7458372"/>
              <a:gd name="connsiteX5172" fmla="*/ 9392943 w 10505529"/>
              <a:gd name="connsiteY5172" fmla="*/ 6546259 h 7458372"/>
              <a:gd name="connsiteX5173" fmla="*/ 9387885 w 10505529"/>
              <a:gd name="connsiteY5173" fmla="*/ 6545327 h 7458372"/>
              <a:gd name="connsiteX5174" fmla="*/ 9170374 w 10505529"/>
              <a:gd name="connsiteY5174" fmla="*/ 6545327 h 7458372"/>
              <a:gd name="connsiteX5175" fmla="*/ 9160389 w 10505529"/>
              <a:gd name="connsiteY5175" fmla="*/ 6548921 h 7458372"/>
              <a:gd name="connsiteX5176" fmla="*/ 9156795 w 10505529"/>
              <a:gd name="connsiteY5176" fmla="*/ 6558372 h 7458372"/>
              <a:gd name="connsiteX5177" fmla="*/ 9160389 w 10505529"/>
              <a:gd name="connsiteY5177" fmla="*/ 6567823 h 7458372"/>
              <a:gd name="connsiteX5178" fmla="*/ 9170374 w 10505529"/>
              <a:gd name="connsiteY5178" fmla="*/ 6571286 h 7458372"/>
              <a:gd name="connsiteX5179" fmla="*/ 9175698 w 10505529"/>
              <a:gd name="connsiteY5179" fmla="*/ 6570354 h 7458372"/>
              <a:gd name="connsiteX5180" fmla="*/ 9179425 w 10505529"/>
              <a:gd name="connsiteY5180" fmla="*/ 6567957 h 7458372"/>
              <a:gd name="connsiteX5181" fmla="*/ 9182088 w 10505529"/>
              <a:gd name="connsiteY5181" fmla="*/ 6563697 h 7458372"/>
              <a:gd name="connsiteX5182" fmla="*/ 9183152 w 10505529"/>
              <a:gd name="connsiteY5182" fmla="*/ 6558239 h 7458372"/>
              <a:gd name="connsiteX5183" fmla="*/ 9182088 w 10505529"/>
              <a:gd name="connsiteY5183" fmla="*/ 6553047 h 7458372"/>
              <a:gd name="connsiteX5184" fmla="*/ 9179425 w 10505529"/>
              <a:gd name="connsiteY5184" fmla="*/ 6548921 h 7458372"/>
              <a:gd name="connsiteX5185" fmla="*/ 9175432 w 10505529"/>
              <a:gd name="connsiteY5185" fmla="*/ 6546259 h 7458372"/>
              <a:gd name="connsiteX5186" fmla="*/ 9170374 w 10505529"/>
              <a:gd name="connsiteY5186" fmla="*/ 6545327 h 7458372"/>
              <a:gd name="connsiteX5187" fmla="*/ 8952728 w 10505529"/>
              <a:gd name="connsiteY5187" fmla="*/ 6545327 h 7458372"/>
              <a:gd name="connsiteX5188" fmla="*/ 8942743 w 10505529"/>
              <a:gd name="connsiteY5188" fmla="*/ 6548921 h 7458372"/>
              <a:gd name="connsiteX5189" fmla="*/ 8939150 w 10505529"/>
              <a:gd name="connsiteY5189" fmla="*/ 6558372 h 7458372"/>
              <a:gd name="connsiteX5190" fmla="*/ 8942743 w 10505529"/>
              <a:gd name="connsiteY5190" fmla="*/ 6567823 h 7458372"/>
              <a:gd name="connsiteX5191" fmla="*/ 8952728 w 10505529"/>
              <a:gd name="connsiteY5191" fmla="*/ 6571286 h 7458372"/>
              <a:gd name="connsiteX5192" fmla="*/ 8958053 w 10505529"/>
              <a:gd name="connsiteY5192" fmla="*/ 6570354 h 7458372"/>
              <a:gd name="connsiteX5193" fmla="*/ 8961780 w 10505529"/>
              <a:gd name="connsiteY5193" fmla="*/ 6567957 h 7458372"/>
              <a:gd name="connsiteX5194" fmla="*/ 8964442 w 10505529"/>
              <a:gd name="connsiteY5194" fmla="*/ 6563697 h 7458372"/>
              <a:gd name="connsiteX5195" fmla="*/ 8965507 w 10505529"/>
              <a:gd name="connsiteY5195" fmla="*/ 6558239 h 7458372"/>
              <a:gd name="connsiteX5196" fmla="*/ 8964442 w 10505529"/>
              <a:gd name="connsiteY5196" fmla="*/ 6553047 h 7458372"/>
              <a:gd name="connsiteX5197" fmla="*/ 8961780 w 10505529"/>
              <a:gd name="connsiteY5197" fmla="*/ 6548921 h 7458372"/>
              <a:gd name="connsiteX5198" fmla="*/ 8957786 w 10505529"/>
              <a:gd name="connsiteY5198" fmla="*/ 6546259 h 7458372"/>
              <a:gd name="connsiteX5199" fmla="*/ 8952728 w 10505529"/>
              <a:gd name="connsiteY5199" fmla="*/ 6545327 h 7458372"/>
              <a:gd name="connsiteX5200" fmla="*/ 8735083 w 10505529"/>
              <a:gd name="connsiteY5200" fmla="*/ 6545327 h 7458372"/>
              <a:gd name="connsiteX5201" fmla="*/ 8725098 w 10505529"/>
              <a:gd name="connsiteY5201" fmla="*/ 6548921 h 7458372"/>
              <a:gd name="connsiteX5202" fmla="*/ 8721504 w 10505529"/>
              <a:gd name="connsiteY5202" fmla="*/ 6558372 h 7458372"/>
              <a:gd name="connsiteX5203" fmla="*/ 8725098 w 10505529"/>
              <a:gd name="connsiteY5203" fmla="*/ 6567823 h 7458372"/>
              <a:gd name="connsiteX5204" fmla="*/ 8735083 w 10505529"/>
              <a:gd name="connsiteY5204" fmla="*/ 6571286 h 7458372"/>
              <a:gd name="connsiteX5205" fmla="*/ 8740407 w 10505529"/>
              <a:gd name="connsiteY5205" fmla="*/ 6570354 h 7458372"/>
              <a:gd name="connsiteX5206" fmla="*/ 8744134 w 10505529"/>
              <a:gd name="connsiteY5206" fmla="*/ 6567957 h 7458372"/>
              <a:gd name="connsiteX5207" fmla="*/ 8746797 w 10505529"/>
              <a:gd name="connsiteY5207" fmla="*/ 6563697 h 7458372"/>
              <a:gd name="connsiteX5208" fmla="*/ 8747862 w 10505529"/>
              <a:gd name="connsiteY5208" fmla="*/ 6558239 h 7458372"/>
              <a:gd name="connsiteX5209" fmla="*/ 8746797 w 10505529"/>
              <a:gd name="connsiteY5209" fmla="*/ 6553047 h 7458372"/>
              <a:gd name="connsiteX5210" fmla="*/ 8744134 w 10505529"/>
              <a:gd name="connsiteY5210" fmla="*/ 6548921 h 7458372"/>
              <a:gd name="connsiteX5211" fmla="*/ 8740141 w 10505529"/>
              <a:gd name="connsiteY5211" fmla="*/ 6546259 h 7458372"/>
              <a:gd name="connsiteX5212" fmla="*/ 8735083 w 10505529"/>
              <a:gd name="connsiteY5212" fmla="*/ 6545327 h 7458372"/>
              <a:gd name="connsiteX5213" fmla="*/ 8517438 w 10505529"/>
              <a:gd name="connsiteY5213" fmla="*/ 6545327 h 7458372"/>
              <a:gd name="connsiteX5214" fmla="*/ 8507453 w 10505529"/>
              <a:gd name="connsiteY5214" fmla="*/ 6548921 h 7458372"/>
              <a:gd name="connsiteX5215" fmla="*/ 8503860 w 10505529"/>
              <a:gd name="connsiteY5215" fmla="*/ 6558372 h 7458372"/>
              <a:gd name="connsiteX5216" fmla="*/ 8507453 w 10505529"/>
              <a:gd name="connsiteY5216" fmla="*/ 6567823 h 7458372"/>
              <a:gd name="connsiteX5217" fmla="*/ 8517438 w 10505529"/>
              <a:gd name="connsiteY5217" fmla="*/ 6571286 h 7458372"/>
              <a:gd name="connsiteX5218" fmla="*/ 8522763 w 10505529"/>
              <a:gd name="connsiteY5218" fmla="*/ 6570354 h 7458372"/>
              <a:gd name="connsiteX5219" fmla="*/ 8526490 w 10505529"/>
              <a:gd name="connsiteY5219" fmla="*/ 6567957 h 7458372"/>
              <a:gd name="connsiteX5220" fmla="*/ 8529152 w 10505529"/>
              <a:gd name="connsiteY5220" fmla="*/ 6563697 h 7458372"/>
              <a:gd name="connsiteX5221" fmla="*/ 8530084 w 10505529"/>
              <a:gd name="connsiteY5221" fmla="*/ 6558239 h 7458372"/>
              <a:gd name="connsiteX5222" fmla="*/ 8529152 w 10505529"/>
              <a:gd name="connsiteY5222" fmla="*/ 6553047 h 7458372"/>
              <a:gd name="connsiteX5223" fmla="*/ 8526490 w 10505529"/>
              <a:gd name="connsiteY5223" fmla="*/ 6548921 h 7458372"/>
              <a:gd name="connsiteX5224" fmla="*/ 8522496 w 10505529"/>
              <a:gd name="connsiteY5224" fmla="*/ 6546259 h 7458372"/>
              <a:gd name="connsiteX5225" fmla="*/ 8517438 w 10505529"/>
              <a:gd name="connsiteY5225" fmla="*/ 6545327 h 7458372"/>
              <a:gd name="connsiteX5226" fmla="*/ 8299793 w 10505529"/>
              <a:gd name="connsiteY5226" fmla="*/ 6545327 h 7458372"/>
              <a:gd name="connsiteX5227" fmla="*/ 8289809 w 10505529"/>
              <a:gd name="connsiteY5227" fmla="*/ 6548921 h 7458372"/>
              <a:gd name="connsiteX5228" fmla="*/ 8286215 w 10505529"/>
              <a:gd name="connsiteY5228" fmla="*/ 6558372 h 7458372"/>
              <a:gd name="connsiteX5229" fmla="*/ 8289809 w 10505529"/>
              <a:gd name="connsiteY5229" fmla="*/ 6567823 h 7458372"/>
              <a:gd name="connsiteX5230" fmla="*/ 8299793 w 10505529"/>
              <a:gd name="connsiteY5230" fmla="*/ 6571286 h 7458372"/>
              <a:gd name="connsiteX5231" fmla="*/ 8305118 w 10505529"/>
              <a:gd name="connsiteY5231" fmla="*/ 6570354 h 7458372"/>
              <a:gd name="connsiteX5232" fmla="*/ 8308844 w 10505529"/>
              <a:gd name="connsiteY5232" fmla="*/ 6567957 h 7458372"/>
              <a:gd name="connsiteX5233" fmla="*/ 8311507 w 10505529"/>
              <a:gd name="connsiteY5233" fmla="*/ 6563697 h 7458372"/>
              <a:gd name="connsiteX5234" fmla="*/ 8312439 w 10505529"/>
              <a:gd name="connsiteY5234" fmla="*/ 6558239 h 7458372"/>
              <a:gd name="connsiteX5235" fmla="*/ 8311507 w 10505529"/>
              <a:gd name="connsiteY5235" fmla="*/ 6553047 h 7458372"/>
              <a:gd name="connsiteX5236" fmla="*/ 8308844 w 10505529"/>
              <a:gd name="connsiteY5236" fmla="*/ 6548921 h 7458372"/>
              <a:gd name="connsiteX5237" fmla="*/ 8304851 w 10505529"/>
              <a:gd name="connsiteY5237" fmla="*/ 6546259 h 7458372"/>
              <a:gd name="connsiteX5238" fmla="*/ 8299793 w 10505529"/>
              <a:gd name="connsiteY5238" fmla="*/ 6545327 h 7458372"/>
              <a:gd name="connsiteX5239" fmla="*/ 8082281 w 10505529"/>
              <a:gd name="connsiteY5239" fmla="*/ 6545327 h 7458372"/>
              <a:gd name="connsiteX5240" fmla="*/ 8072297 w 10505529"/>
              <a:gd name="connsiteY5240" fmla="*/ 6548921 h 7458372"/>
              <a:gd name="connsiteX5241" fmla="*/ 8068703 w 10505529"/>
              <a:gd name="connsiteY5241" fmla="*/ 6558372 h 7458372"/>
              <a:gd name="connsiteX5242" fmla="*/ 8072297 w 10505529"/>
              <a:gd name="connsiteY5242" fmla="*/ 6567823 h 7458372"/>
              <a:gd name="connsiteX5243" fmla="*/ 8082281 w 10505529"/>
              <a:gd name="connsiteY5243" fmla="*/ 6571286 h 7458372"/>
              <a:gd name="connsiteX5244" fmla="*/ 8087605 w 10505529"/>
              <a:gd name="connsiteY5244" fmla="*/ 6570354 h 7458372"/>
              <a:gd name="connsiteX5245" fmla="*/ 8091332 w 10505529"/>
              <a:gd name="connsiteY5245" fmla="*/ 6567957 h 7458372"/>
              <a:gd name="connsiteX5246" fmla="*/ 8093994 w 10505529"/>
              <a:gd name="connsiteY5246" fmla="*/ 6563697 h 7458372"/>
              <a:gd name="connsiteX5247" fmla="*/ 8094926 w 10505529"/>
              <a:gd name="connsiteY5247" fmla="*/ 6558239 h 7458372"/>
              <a:gd name="connsiteX5248" fmla="*/ 8093994 w 10505529"/>
              <a:gd name="connsiteY5248" fmla="*/ 6553047 h 7458372"/>
              <a:gd name="connsiteX5249" fmla="*/ 8091332 w 10505529"/>
              <a:gd name="connsiteY5249" fmla="*/ 6548921 h 7458372"/>
              <a:gd name="connsiteX5250" fmla="*/ 8087338 w 10505529"/>
              <a:gd name="connsiteY5250" fmla="*/ 6546259 h 7458372"/>
              <a:gd name="connsiteX5251" fmla="*/ 8082281 w 10505529"/>
              <a:gd name="connsiteY5251" fmla="*/ 6545327 h 7458372"/>
              <a:gd name="connsiteX5252" fmla="*/ 7864636 w 10505529"/>
              <a:gd name="connsiteY5252" fmla="*/ 6545327 h 7458372"/>
              <a:gd name="connsiteX5253" fmla="*/ 7854652 w 10505529"/>
              <a:gd name="connsiteY5253" fmla="*/ 6548921 h 7458372"/>
              <a:gd name="connsiteX5254" fmla="*/ 7851058 w 10505529"/>
              <a:gd name="connsiteY5254" fmla="*/ 6558372 h 7458372"/>
              <a:gd name="connsiteX5255" fmla="*/ 7854652 w 10505529"/>
              <a:gd name="connsiteY5255" fmla="*/ 6567823 h 7458372"/>
              <a:gd name="connsiteX5256" fmla="*/ 7864636 w 10505529"/>
              <a:gd name="connsiteY5256" fmla="*/ 6571286 h 7458372"/>
              <a:gd name="connsiteX5257" fmla="*/ 7869961 w 10505529"/>
              <a:gd name="connsiteY5257" fmla="*/ 6570354 h 7458372"/>
              <a:gd name="connsiteX5258" fmla="*/ 7873687 w 10505529"/>
              <a:gd name="connsiteY5258" fmla="*/ 6567957 h 7458372"/>
              <a:gd name="connsiteX5259" fmla="*/ 7876350 w 10505529"/>
              <a:gd name="connsiteY5259" fmla="*/ 6563697 h 7458372"/>
              <a:gd name="connsiteX5260" fmla="*/ 7877282 w 10505529"/>
              <a:gd name="connsiteY5260" fmla="*/ 6558239 h 7458372"/>
              <a:gd name="connsiteX5261" fmla="*/ 7876350 w 10505529"/>
              <a:gd name="connsiteY5261" fmla="*/ 6553047 h 7458372"/>
              <a:gd name="connsiteX5262" fmla="*/ 7873687 w 10505529"/>
              <a:gd name="connsiteY5262" fmla="*/ 6548921 h 7458372"/>
              <a:gd name="connsiteX5263" fmla="*/ 7869694 w 10505529"/>
              <a:gd name="connsiteY5263" fmla="*/ 6546259 h 7458372"/>
              <a:gd name="connsiteX5264" fmla="*/ 7864636 w 10505529"/>
              <a:gd name="connsiteY5264" fmla="*/ 6545327 h 7458372"/>
              <a:gd name="connsiteX5265" fmla="*/ 7646991 w 10505529"/>
              <a:gd name="connsiteY5265" fmla="*/ 6545327 h 7458372"/>
              <a:gd name="connsiteX5266" fmla="*/ 7637007 w 10505529"/>
              <a:gd name="connsiteY5266" fmla="*/ 6548921 h 7458372"/>
              <a:gd name="connsiteX5267" fmla="*/ 7633413 w 10505529"/>
              <a:gd name="connsiteY5267" fmla="*/ 6558372 h 7458372"/>
              <a:gd name="connsiteX5268" fmla="*/ 7637007 w 10505529"/>
              <a:gd name="connsiteY5268" fmla="*/ 6567823 h 7458372"/>
              <a:gd name="connsiteX5269" fmla="*/ 7646991 w 10505529"/>
              <a:gd name="connsiteY5269" fmla="*/ 6571286 h 7458372"/>
              <a:gd name="connsiteX5270" fmla="*/ 7652315 w 10505529"/>
              <a:gd name="connsiteY5270" fmla="*/ 6570354 h 7458372"/>
              <a:gd name="connsiteX5271" fmla="*/ 7656042 w 10505529"/>
              <a:gd name="connsiteY5271" fmla="*/ 6567957 h 7458372"/>
              <a:gd name="connsiteX5272" fmla="*/ 7658705 w 10505529"/>
              <a:gd name="connsiteY5272" fmla="*/ 6563697 h 7458372"/>
              <a:gd name="connsiteX5273" fmla="*/ 7659769 w 10505529"/>
              <a:gd name="connsiteY5273" fmla="*/ 6558239 h 7458372"/>
              <a:gd name="connsiteX5274" fmla="*/ 7658705 w 10505529"/>
              <a:gd name="connsiteY5274" fmla="*/ 6553047 h 7458372"/>
              <a:gd name="connsiteX5275" fmla="*/ 7656042 w 10505529"/>
              <a:gd name="connsiteY5275" fmla="*/ 6548921 h 7458372"/>
              <a:gd name="connsiteX5276" fmla="*/ 7652049 w 10505529"/>
              <a:gd name="connsiteY5276" fmla="*/ 6546259 h 7458372"/>
              <a:gd name="connsiteX5277" fmla="*/ 7646991 w 10505529"/>
              <a:gd name="connsiteY5277" fmla="*/ 6545327 h 7458372"/>
              <a:gd name="connsiteX5278" fmla="*/ 7429345 w 10505529"/>
              <a:gd name="connsiteY5278" fmla="*/ 6545327 h 7458372"/>
              <a:gd name="connsiteX5279" fmla="*/ 7419361 w 10505529"/>
              <a:gd name="connsiteY5279" fmla="*/ 6548921 h 7458372"/>
              <a:gd name="connsiteX5280" fmla="*/ 7415768 w 10505529"/>
              <a:gd name="connsiteY5280" fmla="*/ 6558372 h 7458372"/>
              <a:gd name="connsiteX5281" fmla="*/ 7419361 w 10505529"/>
              <a:gd name="connsiteY5281" fmla="*/ 6567823 h 7458372"/>
              <a:gd name="connsiteX5282" fmla="*/ 7429345 w 10505529"/>
              <a:gd name="connsiteY5282" fmla="*/ 6571286 h 7458372"/>
              <a:gd name="connsiteX5283" fmla="*/ 7434670 w 10505529"/>
              <a:gd name="connsiteY5283" fmla="*/ 6570354 h 7458372"/>
              <a:gd name="connsiteX5284" fmla="*/ 7438397 w 10505529"/>
              <a:gd name="connsiteY5284" fmla="*/ 6567957 h 7458372"/>
              <a:gd name="connsiteX5285" fmla="*/ 7441059 w 10505529"/>
              <a:gd name="connsiteY5285" fmla="*/ 6563697 h 7458372"/>
              <a:gd name="connsiteX5286" fmla="*/ 7442124 w 10505529"/>
              <a:gd name="connsiteY5286" fmla="*/ 6558239 h 7458372"/>
              <a:gd name="connsiteX5287" fmla="*/ 7441059 w 10505529"/>
              <a:gd name="connsiteY5287" fmla="*/ 6553047 h 7458372"/>
              <a:gd name="connsiteX5288" fmla="*/ 7438397 w 10505529"/>
              <a:gd name="connsiteY5288" fmla="*/ 6548921 h 7458372"/>
              <a:gd name="connsiteX5289" fmla="*/ 7434403 w 10505529"/>
              <a:gd name="connsiteY5289" fmla="*/ 6546259 h 7458372"/>
              <a:gd name="connsiteX5290" fmla="*/ 7429345 w 10505529"/>
              <a:gd name="connsiteY5290" fmla="*/ 6545327 h 7458372"/>
              <a:gd name="connsiteX5291" fmla="*/ 7211701 w 10505529"/>
              <a:gd name="connsiteY5291" fmla="*/ 6545327 h 7458372"/>
              <a:gd name="connsiteX5292" fmla="*/ 7201717 w 10505529"/>
              <a:gd name="connsiteY5292" fmla="*/ 6548921 h 7458372"/>
              <a:gd name="connsiteX5293" fmla="*/ 7198123 w 10505529"/>
              <a:gd name="connsiteY5293" fmla="*/ 6558372 h 7458372"/>
              <a:gd name="connsiteX5294" fmla="*/ 7201717 w 10505529"/>
              <a:gd name="connsiteY5294" fmla="*/ 6567823 h 7458372"/>
              <a:gd name="connsiteX5295" fmla="*/ 7211701 w 10505529"/>
              <a:gd name="connsiteY5295" fmla="*/ 6571286 h 7458372"/>
              <a:gd name="connsiteX5296" fmla="*/ 7217026 w 10505529"/>
              <a:gd name="connsiteY5296" fmla="*/ 6570354 h 7458372"/>
              <a:gd name="connsiteX5297" fmla="*/ 7220752 w 10505529"/>
              <a:gd name="connsiteY5297" fmla="*/ 6567957 h 7458372"/>
              <a:gd name="connsiteX5298" fmla="*/ 7223415 w 10505529"/>
              <a:gd name="connsiteY5298" fmla="*/ 6563697 h 7458372"/>
              <a:gd name="connsiteX5299" fmla="*/ 7224480 w 10505529"/>
              <a:gd name="connsiteY5299" fmla="*/ 6558239 h 7458372"/>
              <a:gd name="connsiteX5300" fmla="*/ 7223415 w 10505529"/>
              <a:gd name="connsiteY5300" fmla="*/ 6553047 h 7458372"/>
              <a:gd name="connsiteX5301" fmla="*/ 7220752 w 10505529"/>
              <a:gd name="connsiteY5301" fmla="*/ 6548921 h 7458372"/>
              <a:gd name="connsiteX5302" fmla="*/ 7216759 w 10505529"/>
              <a:gd name="connsiteY5302" fmla="*/ 6546259 h 7458372"/>
              <a:gd name="connsiteX5303" fmla="*/ 7211701 w 10505529"/>
              <a:gd name="connsiteY5303" fmla="*/ 6545327 h 7458372"/>
              <a:gd name="connsiteX5304" fmla="*/ 6994056 w 10505529"/>
              <a:gd name="connsiteY5304" fmla="*/ 6545327 h 7458372"/>
              <a:gd name="connsiteX5305" fmla="*/ 6984072 w 10505529"/>
              <a:gd name="connsiteY5305" fmla="*/ 6548921 h 7458372"/>
              <a:gd name="connsiteX5306" fmla="*/ 6980478 w 10505529"/>
              <a:gd name="connsiteY5306" fmla="*/ 6558372 h 7458372"/>
              <a:gd name="connsiteX5307" fmla="*/ 6984072 w 10505529"/>
              <a:gd name="connsiteY5307" fmla="*/ 6567823 h 7458372"/>
              <a:gd name="connsiteX5308" fmla="*/ 6994056 w 10505529"/>
              <a:gd name="connsiteY5308" fmla="*/ 6571286 h 7458372"/>
              <a:gd name="connsiteX5309" fmla="*/ 6999380 w 10505529"/>
              <a:gd name="connsiteY5309" fmla="*/ 6570354 h 7458372"/>
              <a:gd name="connsiteX5310" fmla="*/ 7003107 w 10505529"/>
              <a:gd name="connsiteY5310" fmla="*/ 6567957 h 7458372"/>
              <a:gd name="connsiteX5311" fmla="*/ 7005769 w 10505529"/>
              <a:gd name="connsiteY5311" fmla="*/ 6563697 h 7458372"/>
              <a:gd name="connsiteX5312" fmla="*/ 7006834 w 10505529"/>
              <a:gd name="connsiteY5312" fmla="*/ 6558239 h 7458372"/>
              <a:gd name="connsiteX5313" fmla="*/ 7005769 w 10505529"/>
              <a:gd name="connsiteY5313" fmla="*/ 6553047 h 7458372"/>
              <a:gd name="connsiteX5314" fmla="*/ 7003107 w 10505529"/>
              <a:gd name="connsiteY5314" fmla="*/ 6548921 h 7458372"/>
              <a:gd name="connsiteX5315" fmla="*/ 6999113 w 10505529"/>
              <a:gd name="connsiteY5315" fmla="*/ 6546259 h 7458372"/>
              <a:gd name="connsiteX5316" fmla="*/ 6994056 w 10505529"/>
              <a:gd name="connsiteY5316" fmla="*/ 6545327 h 7458372"/>
              <a:gd name="connsiteX5317" fmla="*/ 6776544 w 10505529"/>
              <a:gd name="connsiteY5317" fmla="*/ 6545327 h 7458372"/>
              <a:gd name="connsiteX5318" fmla="*/ 6766560 w 10505529"/>
              <a:gd name="connsiteY5318" fmla="*/ 6548921 h 7458372"/>
              <a:gd name="connsiteX5319" fmla="*/ 6762966 w 10505529"/>
              <a:gd name="connsiteY5319" fmla="*/ 6558372 h 7458372"/>
              <a:gd name="connsiteX5320" fmla="*/ 6766560 w 10505529"/>
              <a:gd name="connsiteY5320" fmla="*/ 6567823 h 7458372"/>
              <a:gd name="connsiteX5321" fmla="*/ 6776544 w 10505529"/>
              <a:gd name="connsiteY5321" fmla="*/ 6571286 h 7458372"/>
              <a:gd name="connsiteX5322" fmla="*/ 6781869 w 10505529"/>
              <a:gd name="connsiteY5322" fmla="*/ 6570354 h 7458372"/>
              <a:gd name="connsiteX5323" fmla="*/ 6785595 w 10505529"/>
              <a:gd name="connsiteY5323" fmla="*/ 6567957 h 7458372"/>
              <a:gd name="connsiteX5324" fmla="*/ 6788258 w 10505529"/>
              <a:gd name="connsiteY5324" fmla="*/ 6563697 h 7458372"/>
              <a:gd name="connsiteX5325" fmla="*/ 6789323 w 10505529"/>
              <a:gd name="connsiteY5325" fmla="*/ 6558239 h 7458372"/>
              <a:gd name="connsiteX5326" fmla="*/ 6788258 w 10505529"/>
              <a:gd name="connsiteY5326" fmla="*/ 6553047 h 7458372"/>
              <a:gd name="connsiteX5327" fmla="*/ 6785595 w 10505529"/>
              <a:gd name="connsiteY5327" fmla="*/ 6548921 h 7458372"/>
              <a:gd name="connsiteX5328" fmla="*/ 6781602 w 10505529"/>
              <a:gd name="connsiteY5328" fmla="*/ 6546259 h 7458372"/>
              <a:gd name="connsiteX5329" fmla="*/ 6776544 w 10505529"/>
              <a:gd name="connsiteY5329" fmla="*/ 6545327 h 7458372"/>
              <a:gd name="connsiteX5330" fmla="*/ 6558899 w 10505529"/>
              <a:gd name="connsiteY5330" fmla="*/ 6545327 h 7458372"/>
              <a:gd name="connsiteX5331" fmla="*/ 6548915 w 10505529"/>
              <a:gd name="connsiteY5331" fmla="*/ 6548921 h 7458372"/>
              <a:gd name="connsiteX5332" fmla="*/ 6545321 w 10505529"/>
              <a:gd name="connsiteY5332" fmla="*/ 6558372 h 7458372"/>
              <a:gd name="connsiteX5333" fmla="*/ 6548915 w 10505529"/>
              <a:gd name="connsiteY5333" fmla="*/ 6567823 h 7458372"/>
              <a:gd name="connsiteX5334" fmla="*/ 6558899 w 10505529"/>
              <a:gd name="connsiteY5334" fmla="*/ 6571286 h 7458372"/>
              <a:gd name="connsiteX5335" fmla="*/ 6564223 w 10505529"/>
              <a:gd name="connsiteY5335" fmla="*/ 6570354 h 7458372"/>
              <a:gd name="connsiteX5336" fmla="*/ 6567950 w 10505529"/>
              <a:gd name="connsiteY5336" fmla="*/ 6567957 h 7458372"/>
              <a:gd name="connsiteX5337" fmla="*/ 6570612 w 10505529"/>
              <a:gd name="connsiteY5337" fmla="*/ 6563697 h 7458372"/>
              <a:gd name="connsiteX5338" fmla="*/ 6571677 w 10505529"/>
              <a:gd name="connsiteY5338" fmla="*/ 6558239 h 7458372"/>
              <a:gd name="connsiteX5339" fmla="*/ 6570612 w 10505529"/>
              <a:gd name="connsiteY5339" fmla="*/ 6553047 h 7458372"/>
              <a:gd name="connsiteX5340" fmla="*/ 6567950 w 10505529"/>
              <a:gd name="connsiteY5340" fmla="*/ 6548921 h 7458372"/>
              <a:gd name="connsiteX5341" fmla="*/ 6563956 w 10505529"/>
              <a:gd name="connsiteY5341" fmla="*/ 6546259 h 7458372"/>
              <a:gd name="connsiteX5342" fmla="*/ 6558899 w 10505529"/>
              <a:gd name="connsiteY5342" fmla="*/ 6545327 h 7458372"/>
              <a:gd name="connsiteX5343" fmla="*/ 6341253 w 10505529"/>
              <a:gd name="connsiteY5343" fmla="*/ 6545327 h 7458372"/>
              <a:gd name="connsiteX5344" fmla="*/ 6331270 w 10505529"/>
              <a:gd name="connsiteY5344" fmla="*/ 6548921 h 7458372"/>
              <a:gd name="connsiteX5345" fmla="*/ 6327675 w 10505529"/>
              <a:gd name="connsiteY5345" fmla="*/ 6558372 h 7458372"/>
              <a:gd name="connsiteX5346" fmla="*/ 6331270 w 10505529"/>
              <a:gd name="connsiteY5346" fmla="*/ 6567823 h 7458372"/>
              <a:gd name="connsiteX5347" fmla="*/ 6341253 w 10505529"/>
              <a:gd name="connsiteY5347" fmla="*/ 6571286 h 7458372"/>
              <a:gd name="connsiteX5348" fmla="*/ 6346578 w 10505529"/>
              <a:gd name="connsiteY5348" fmla="*/ 6570354 h 7458372"/>
              <a:gd name="connsiteX5349" fmla="*/ 6350305 w 10505529"/>
              <a:gd name="connsiteY5349" fmla="*/ 6567957 h 7458372"/>
              <a:gd name="connsiteX5350" fmla="*/ 6352968 w 10505529"/>
              <a:gd name="connsiteY5350" fmla="*/ 6563697 h 7458372"/>
              <a:gd name="connsiteX5351" fmla="*/ 6354033 w 10505529"/>
              <a:gd name="connsiteY5351" fmla="*/ 6558239 h 7458372"/>
              <a:gd name="connsiteX5352" fmla="*/ 6352968 w 10505529"/>
              <a:gd name="connsiteY5352" fmla="*/ 6553047 h 7458372"/>
              <a:gd name="connsiteX5353" fmla="*/ 6350305 w 10505529"/>
              <a:gd name="connsiteY5353" fmla="*/ 6548921 h 7458372"/>
              <a:gd name="connsiteX5354" fmla="*/ 6346312 w 10505529"/>
              <a:gd name="connsiteY5354" fmla="*/ 6546259 h 7458372"/>
              <a:gd name="connsiteX5355" fmla="*/ 6341253 w 10505529"/>
              <a:gd name="connsiteY5355" fmla="*/ 6545327 h 7458372"/>
              <a:gd name="connsiteX5356" fmla="*/ 6123608 w 10505529"/>
              <a:gd name="connsiteY5356" fmla="*/ 6545327 h 7458372"/>
              <a:gd name="connsiteX5357" fmla="*/ 6113624 w 10505529"/>
              <a:gd name="connsiteY5357" fmla="*/ 6548921 h 7458372"/>
              <a:gd name="connsiteX5358" fmla="*/ 6110030 w 10505529"/>
              <a:gd name="connsiteY5358" fmla="*/ 6558372 h 7458372"/>
              <a:gd name="connsiteX5359" fmla="*/ 6113624 w 10505529"/>
              <a:gd name="connsiteY5359" fmla="*/ 6567823 h 7458372"/>
              <a:gd name="connsiteX5360" fmla="*/ 6123608 w 10505529"/>
              <a:gd name="connsiteY5360" fmla="*/ 6571286 h 7458372"/>
              <a:gd name="connsiteX5361" fmla="*/ 6128932 w 10505529"/>
              <a:gd name="connsiteY5361" fmla="*/ 6570354 h 7458372"/>
              <a:gd name="connsiteX5362" fmla="*/ 6132659 w 10505529"/>
              <a:gd name="connsiteY5362" fmla="*/ 6567957 h 7458372"/>
              <a:gd name="connsiteX5363" fmla="*/ 6135322 w 10505529"/>
              <a:gd name="connsiteY5363" fmla="*/ 6563697 h 7458372"/>
              <a:gd name="connsiteX5364" fmla="*/ 6136387 w 10505529"/>
              <a:gd name="connsiteY5364" fmla="*/ 6558239 h 7458372"/>
              <a:gd name="connsiteX5365" fmla="*/ 6135322 w 10505529"/>
              <a:gd name="connsiteY5365" fmla="*/ 6553047 h 7458372"/>
              <a:gd name="connsiteX5366" fmla="*/ 6132659 w 10505529"/>
              <a:gd name="connsiteY5366" fmla="*/ 6548921 h 7458372"/>
              <a:gd name="connsiteX5367" fmla="*/ 6128666 w 10505529"/>
              <a:gd name="connsiteY5367" fmla="*/ 6546259 h 7458372"/>
              <a:gd name="connsiteX5368" fmla="*/ 6123608 w 10505529"/>
              <a:gd name="connsiteY5368" fmla="*/ 6545327 h 7458372"/>
              <a:gd name="connsiteX5369" fmla="*/ 5905963 w 10505529"/>
              <a:gd name="connsiteY5369" fmla="*/ 6545327 h 7458372"/>
              <a:gd name="connsiteX5370" fmla="*/ 5895979 w 10505529"/>
              <a:gd name="connsiteY5370" fmla="*/ 6548921 h 7458372"/>
              <a:gd name="connsiteX5371" fmla="*/ 5892385 w 10505529"/>
              <a:gd name="connsiteY5371" fmla="*/ 6558372 h 7458372"/>
              <a:gd name="connsiteX5372" fmla="*/ 5895979 w 10505529"/>
              <a:gd name="connsiteY5372" fmla="*/ 6567823 h 7458372"/>
              <a:gd name="connsiteX5373" fmla="*/ 5905963 w 10505529"/>
              <a:gd name="connsiteY5373" fmla="*/ 6571286 h 7458372"/>
              <a:gd name="connsiteX5374" fmla="*/ 5911287 w 10505529"/>
              <a:gd name="connsiteY5374" fmla="*/ 6570354 h 7458372"/>
              <a:gd name="connsiteX5375" fmla="*/ 5915014 w 10505529"/>
              <a:gd name="connsiteY5375" fmla="*/ 6567957 h 7458372"/>
              <a:gd name="connsiteX5376" fmla="*/ 5917677 w 10505529"/>
              <a:gd name="connsiteY5376" fmla="*/ 6563697 h 7458372"/>
              <a:gd name="connsiteX5377" fmla="*/ 5918742 w 10505529"/>
              <a:gd name="connsiteY5377" fmla="*/ 6558239 h 7458372"/>
              <a:gd name="connsiteX5378" fmla="*/ 5917677 w 10505529"/>
              <a:gd name="connsiteY5378" fmla="*/ 6553047 h 7458372"/>
              <a:gd name="connsiteX5379" fmla="*/ 5915014 w 10505529"/>
              <a:gd name="connsiteY5379" fmla="*/ 6548921 h 7458372"/>
              <a:gd name="connsiteX5380" fmla="*/ 5911021 w 10505529"/>
              <a:gd name="connsiteY5380" fmla="*/ 6546259 h 7458372"/>
              <a:gd name="connsiteX5381" fmla="*/ 5905963 w 10505529"/>
              <a:gd name="connsiteY5381" fmla="*/ 6545327 h 7458372"/>
              <a:gd name="connsiteX5382" fmla="*/ 5688451 w 10505529"/>
              <a:gd name="connsiteY5382" fmla="*/ 6545327 h 7458372"/>
              <a:gd name="connsiteX5383" fmla="*/ 5678467 w 10505529"/>
              <a:gd name="connsiteY5383" fmla="*/ 6548921 h 7458372"/>
              <a:gd name="connsiteX5384" fmla="*/ 5674873 w 10505529"/>
              <a:gd name="connsiteY5384" fmla="*/ 6558372 h 7458372"/>
              <a:gd name="connsiteX5385" fmla="*/ 5678467 w 10505529"/>
              <a:gd name="connsiteY5385" fmla="*/ 6567823 h 7458372"/>
              <a:gd name="connsiteX5386" fmla="*/ 5688451 w 10505529"/>
              <a:gd name="connsiteY5386" fmla="*/ 6571286 h 7458372"/>
              <a:gd name="connsiteX5387" fmla="*/ 5693775 w 10505529"/>
              <a:gd name="connsiteY5387" fmla="*/ 6570354 h 7458372"/>
              <a:gd name="connsiteX5388" fmla="*/ 5697502 w 10505529"/>
              <a:gd name="connsiteY5388" fmla="*/ 6567957 h 7458372"/>
              <a:gd name="connsiteX5389" fmla="*/ 5700165 w 10505529"/>
              <a:gd name="connsiteY5389" fmla="*/ 6563697 h 7458372"/>
              <a:gd name="connsiteX5390" fmla="*/ 5701230 w 10505529"/>
              <a:gd name="connsiteY5390" fmla="*/ 6558239 h 7458372"/>
              <a:gd name="connsiteX5391" fmla="*/ 5700165 w 10505529"/>
              <a:gd name="connsiteY5391" fmla="*/ 6553047 h 7458372"/>
              <a:gd name="connsiteX5392" fmla="*/ 5697502 w 10505529"/>
              <a:gd name="connsiteY5392" fmla="*/ 6548921 h 7458372"/>
              <a:gd name="connsiteX5393" fmla="*/ 5693509 w 10505529"/>
              <a:gd name="connsiteY5393" fmla="*/ 6546259 h 7458372"/>
              <a:gd name="connsiteX5394" fmla="*/ 5688451 w 10505529"/>
              <a:gd name="connsiteY5394" fmla="*/ 6545327 h 7458372"/>
              <a:gd name="connsiteX5395" fmla="*/ 5470806 w 10505529"/>
              <a:gd name="connsiteY5395" fmla="*/ 6545327 h 7458372"/>
              <a:gd name="connsiteX5396" fmla="*/ 5460822 w 10505529"/>
              <a:gd name="connsiteY5396" fmla="*/ 6548921 h 7458372"/>
              <a:gd name="connsiteX5397" fmla="*/ 5457228 w 10505529"/>
              <a:gd name="connsiteY5397" fmla="*/ 6558372 h 7458372"/>
              <a:gd name="connsiteX5398" fmla="*/ 5460822 w 10505529"/>
              <a:gd name="connsiteY5398" fmla="*/ 6567823 h 7458372"/>
              <a:gd name="connsiteX5399" fmla="*/ 5470806 w 10505529"/>
              <a:gd name="connsiteY5399" fmla="*/ 6571286 h 7458372"/>
              <a:gd name="connsiteX5400" fmla="*/ 5476130 w 10505529"/>
              <a:gd name="connsiteY5400" fmla="*/ 6570354 h 7458372"/>
              <a:gd name="connsiteX5401" fmla="*/ 5479857 w 10505529"/>
              <a:gd name="connsiteY5401" fmla="*/ 6567957 h 7458372"/>
              <a:gd name="connsiteX5402" fmla="*/ 5482520 w 10505529"/>
              <a:gd name="connsiteY5402" fmla="*/ 6563697 h 7458372"/>
              <a:gd name="connsiteX5403" fmla="*/ 5483585 w 10505529"/>
              <a:gd name="connsiteY5403" fmla="*/ 6558239 h 7458372"/>
              <a:gd name="connsiteX5404" fmla="*/ 5482520 w 10505529"/>
              <a:gd name="connsiteY5404" fmla="*/ 6553047 h 7458372"/>
              <a:gd name="connsiteX5405" fmla="*/ 5479857 w 10505529"/>
              <a:gd name="connsiteY5405" fmla="*/ 6548921 h 7458372"/>
              <a:gd name="connsiteX5406" fmla="*/ 5475864 w 10505529"/>
              <a:gd name="connsiteY5406" fmla="*/ 6546259 h 7458372"/>
              <a:gd name="connsiteX5407" fmla="*/ 5470806 w 10505529"/>
              <a:gd name="connsiteY5407" fmla="*/ 6545327 h 7458372"/>
              <a:gd name="connsiteX5408" fmla="*/ 5253160 w 10505529"/>
              <a:gd name="connsiteY5408" fmla="*/ 6545327 h 7458372"/>
              <a:gd name="connsiteX5409" fmla="*/ 5243177 w 10505529"/>
              <a:gd name="connsiteY5409" fmla="*/ 6548921 h 7458372"/>
              <a:gd name="connsiteX5410" fmla="*/ 5239583 w 10505529"/>
              <a:gd name="connsiteY5410" fmla="*/ 6558372 h 7458372"/>
              <a:gd name="connsiteX5411" fmla="*/ 5243177 w 10505529"/>
              <a:gd name="connsiteY5411" fmla="*/ 6567823 h 7458372"/>
              <a:gd name="connsiteX5412" fmla="*/ 5253160 w 10505529"/>
              <a:gd name="connsiteY5412" fmla="*/ 6571286 h 7458372"/>
              <a:gd name="connsiteX5413" fmla="*/ 5258485 w 10505529"/>
              <a:gd name="connsiteY5413" fmla="*/ 6570354 h 7458372"/>
              <a:gd name="connsiteX5414" fmla="*/ 5262212 w 10505529"/>
              <a:gd name="connsiteY5414" fmla="*/ 6567957 h 7458372"/>
              <a:gd name="connsiteX5415" fmla="*/ 5264875 w 10505529"/>
              <a:gd name="connsiteY5415" fmla="*/ 6563697 h 7458372"/>
              <a:gd name="connsiteX5416" fmla="*/ 5265939 w 10505529"/>
              <a:gd name="connsiteY5416" fmla="*/ 6558239 h 7458372"/>
              <a:gd name="connsiteX5417" fmla="*/ 5264875 w 10505529"/>
              <a:gd name="connsiteY5417" fmla="*/ 6553047 h 7458372"/>
              <a:gd name="connsiteX5418" fmla="*/ 5262212 w 10505529"/>
              <a:gd name="connsiteY5418" fmla="*/ 6548921 h 7458372"/>
              <a:gd name="connsiteX5419" fmla="*/ 5258219 w 10505529"/>
              <a:gd name="connsiteY5419" fmla="*/ 6546259 h 7458372"/>
              <a:gd name="connsiteX5420" fmla="*/ 5253160 w 10505529"/>
              <a:gd name="connsiteY5420" fmla="*/ 6545327 h 7458372"/>
              <a:gd name="connsiteX5421" fmla="*/ 5035515 w 10505529"/>
              <a:gd name="connsiteY5421" fmla="*/ 6545327 h 7458372"/>
              <a:gd name="connsiteX5422" fmla="*/ 5025532 w 10505529"/>
              <a:gd name="connsiteY5422" fmla="*/ 6548921 h 7458372"/>
              <a:gd name="connsiteX5423" fmla="*/ 5021938 w 10505529"/>
              <a:gd name="connsiteY5423" fmla="*/ 6558372 h 7458372"/>
              <a:gd name="connsiteX5424" fmla="*/ 5025532 w 10505529"/>
              <a:gd name="connsiteY5424" fmla="*/ 6567823 h 7458372"/>
              <a:gd name="connsiteX5425" fmla="*/ 5035515 w 10505529"/>
              <a:gd name="connsiteY5425" fmla="*/ 6571286 h 7458372"/>
              <a:gd name="connsiteX5426" fmla="*/ 5040840 w 10505529"/>
              <a:gd name="connsiteY5426" fmla="*/ 6570354 h 7458372"/>
              <a:gd name="connsiteX5427" fmla="*/ 5044567 w 10505529"/>
              <a:gd name="connsiteY5427" fmla="*/ 6567957 h 7458372"/>
              <a:gd name="connsiteX5428" fmla="*/ 5047230 w 10505529"/>
              <a:gd name="connsiteY5428" fmla="*/ 6563697 h 7458372"/>
              <a:gd name="connsiteX5429" fmla="*/ 5048294 w 10505529"/>
              <a:gd name="connsiteY5429" fmla="*/ 6558239 h 7458372"/>
              <a:gd name="connsiteX5430" fmla="*/ 5047230 w 10505529"/>
              <a:gd name="connsiteY5430" fmla="*/ 6553047 h 7458372"/>
              <a:gd name="connsiteX5431" fmla="*/ 5044567 w 10505529"/>
              <a:gd name="connsiteY5431" fmla="*/ 6548921 h 7458372"/>
              <a:gd name="connsiteX5432" fmla="*/ 5040574 w 10505529"/>
              <a:gd name="connsiteY5432" fmla="*/ 6546259 h 7458372"/>
              <a:gd name="connsiteX5433" fmla="*/ 5035515 w 10505529"/>
              <a:gd name="connsiteY5433" fmla="*/ 6545327 h 7458372"/>
              <a:gd name="connsiteX5434" fmla="*/ 4817870 w 10505529"/>
              <a:gd name="connsiteY5434" fmla="*/ 6545327 h 7458372"/>
              <a:gd name="connsiteX5435" fmla="*/ 4807887 w 10505529"/>
              <a:gd name="connsiteY5435" fmla="*/ 6548921 h 7458372"/>
              <a:gd name="connsiteX5436" fmla="*/ 4804293 w 10505529"/>
              <a:gd name="connsiteY5436" fmla="*/ 6558372 h 7458372"/>
              <a:gd name="connsiteX5437" fmla="*/ 4807887 w 10505529"/>
              <a:gd name="connsiteY5437" fmla="*/ 6567823 h 7458372"/>
              <a:gd name="connsiteX5438" fmla="*/ 4817870 w 10505529"/>
              <a:gd name="connsiteY5438" fmla="*/ 6571286 h 7458372"/>
              <a:gd name="connsiteX5439" fmla="*/ 4823195 w 10505529"/>
              <a:gd name="connsiteY5439" fmla="*/ 6570354 h 7458372"/>
              <a:gd name="connsiteX5440" fmla="*/ 4826922 w 10505529"/>
              <a:gd name="connsiteY5440" fmla="*/ 6567957 h 7458372"/>
              <a:gd name="connsiteX5441" fmla="*/ 4829585 w 10505529"/>
              <a:gd name="connsiteY5441" fmla="*/ 6563697 h 7458372"/>
              <a:gd name="connsiteX5442" fmla="*/ 4830650 w 10505529"/>
              <a:gd name="connsiteY5442" fmla="*/ 6558239 h 7458372"/>
              <a:gd name="connsiteX5443" fmla="*/ 4829585 w 10505529"/>
              <a:gd name="connsiteY5443" fmla="*/ 6553047 h 7458372"/>
              <a:gd name="connsiteX5444" fmla="*/ 4826922 w 10505529"/>
              <a:gd name="connsiteY5444" fmla="*/ 6548921 h 7458372"/>
              <a:gd name="connsiteX5445" fmla="*/ 4822929 w 10505529"/>
              <a:gd name="connsiteY5445" fmla="*/ 6546259 h 7458372"/>
              <a:gd name="connsiteX5446" fmla="*/ 4817870 w 10505529"/>
              <a:gd name="connsiteY5446" fmla="*/ 6545327 h 7458372"/>
              <a:gd name="connsiteX5447" fmla="*/ 4600226 w 10505529"/>
              <a:gd name="connsiteY5447" fmla="*/ 6545327 h 7458372"/>
              <a:gd name="connsiteX5448" fmla="*/ 4590242 w 10505529"/>
              <a:gd name="connsiteY5448" fmla="*/ 6548921 h 7458372"/>
              <a:gd name="connsiteX5449" fmla="*/ 4586648 w 10505529"/>
              <a:gd name="connsiteY5449" fmla="*/ 6558372 h 7458372"/>
              <a:gd name="connsiteX5450" fmla="*/ 4590242 w 10505529"/>
              <a:gd name="connsiteY5450" fmla="*/ 6567823 h 7458372"/>
              <a:gd name="connsiteX5451" fmla="*/ 4600226 w 10505529"/>
              <a:gd name="connsiteY5451" fmla="*/ 6571286 h 7458372"/>
              <a:gd name="connsiteX5452" fmla="*/ 4605550 w 10505529"/>
              <a:gd name="connsiteY5452" fmla="*/ 6570354 h 7458372"/>
              <a:gd name="connsiteX5453" fmla="*/ 4609277 w 10505529"/>
              <a:gd name="connsiteY5453" fmla="*/ 6567957 h 7458372"/>
              <a:gd name="connsiteX5454" fmla="*/ 4611940 w 10505529"/>
              <a:gd name="connsiteY5454" fmla="*/ 6563697 h 7458372"/>
              <a:gd name="connsiteX5455" fmla="*/ 4613005 w 10505529"/>
              <a:gd name="connsiteY5455" fmla="*/ 6558239 h 7458372"/>
              <a:gd name="connsiteX5456" fmla="*/ 4611940 w 10505529"/>
              <a:gd name="connsiteY5456" fmla="*/ 6553047 h 7458372"/>
              <a:gd name="connsiteX5457" fmla="*/ 4609277 w 10505529"/>
              <a:gd name="connsiteY5457" fmla="*/ 6548921 h 7458372"/>
              <a:gd name="connsiteX5458" fmla="*/ 4605284 w 10505529"/>
              <a:gd name="connsiteY5458" fmla="*/ 6546259 h 7458372"/>
              <a:gd name="connsiteX5459" fmla="*/ 4600226 w 10505529"/>
              <a:gd name="connsiteY5459" fmla="*/ 6545327 h 7458372"/>
              <a:gd name="connsiteX5460" fmla="*/ 4382713 w 10505529"/>
              <a:gd name="connsiteY5460" fmla="*/ 6545327 h 7458372"/>
              <a:gd name="connsiteX5461" fmla="*/ 4372730 w 10505529"/>
              <a:gd name="connsiteY5461" fmla="*/ 6548921 h 7458372"/>
              <a:gd name="connsiteX5462" fmla="*/ 4369136 w 10505529"/>
              <a:gd name="connsiteY5462" fmla="*/ 6558372 h 7458372"/>
              <a:gd name="connsiteX5463" fmla="*/ 4372730 w 10505529"/>
              <a:gd name="connsiteY5463" fmla="*/ 6567823 h 7458372"/>
              <a:gd name="connsiteX5464" fmla="*/ 4382713 w 10505529"/>
              <a:gd name="connsiteY5464" fmla="*/ 6571286 h 7458372"/>
              <a:gd name="connsiteX5465" fmla="*/ 4388038 w 10505529"/>
              <a:gd name="connsiteY5465" fmla="*/ 6570354 h 7458372"/>
              <a:gd name="connsiteX5466" fmla="*/ 4391765 w 10505529"/>
              <a:gd name="connsiteY5466" fmla="*/ 6567957 h 7458372"/>
              <a:gd name="connsiteX5467" fmla="*/ 4394428 w 10505529"/>
              <a:gd name="connsiteY5467" fmla="*/ 6563697 h 7458372"/>
              <a:gd name="connsiteX5468" fmla="*/ 4395493 w 10505529"/>
              <a:gd name="connsiteY5468" fmla="*/ 6558239 h 7458372"/>
              <a:gd name="connsiteX5469" fmla="*/ 4394428 w 10505529"/>
              <a:gd name="connsiteY5469" fmla="*/ 6553047 h 7458372"/>
              <a:gd name="connsiteX5470" fmla="*/ 4391765 w 10505529"/>
              <a:gd name="connsiteY5470" fmla="*/ 6548921 h 7458372"/>
              <a:gd name="connsiteX5471" fmla="*/ 4387772 w 10505529"/>
              <a:gd name="connsiteY5471" fmla="*/ 6546259 h 7458372"/>
              <a:gd name="connsiteX5472" fmla="*/ 4382713 w 10505529"/>
              <a:gd name="connsiteY5472" fmla="*/ 6545327 h 7458372"/>
              <a:gd name="connsiteX5473" fmla="*/ 4165068 w 10505529"/>
              <a:gd name="connsiteY5473" fmla="*/ 6545327 h 7458372"/>
              <a:gd name="connsiteX5474" fmla="*/ 4155084 w 10505529"/>
              <a:gd name="connsiteY5474" fmla="*/ 6548921 h 7458372"/>
              <a:gd name="connsiteX5475" fmla="*/ 4151490 w 10505529"/>
              <a:gd name="connsiteY5475" fmla="*/ 6558372 h 7458372"/>
              <a:gd name="connsiteX5476" fmla="*/ 4155084 w 10505529"/>
              <a:gd name="connsiteY5476" fmla="*/ 6567823 h 7458372"/>
              <a:gd name="connsiteX5477" fmla="*/ 4165068 w 10505529"/>
              <a:gd name="connsiteY5477" fmla="*/ 6571286 h 7458372"/>
              <a:gd name="connsiteX5478" fmla="*/ 4170392 w 10505529"/>
              <a:gd name="connsiteY5478" fmla="*/ 6570354 h 7458372"/>
              <a:gd name="connsiteX5479" fmla="*/ 4174119 w 10505529"/>
              <a:gd name="connsiteY5479" fmla="*/ 6567957 h 7458372"/>
              <a:gd name="connsiteX5480" fmla="*/ 4176782 w 10505529"/>
              <a:gd name="connsiteY5480" fmla="*/ 6563697 h 7458372"/>
              <a:gd name="connsiteX5481" fmla="*/ 4177847 w 10505529"/>
              <a:gd name="connsiteY5481" fmla="*/ 6558239 h 7458372"/>
              <a:gd name="connsiteX5482" fmla="*/ 4176782 w 10505529"/>
              <a:gd name="connsiteY5482" fmla="*/ 6553047 h 7458372"/>
              <a:gd name="connsiteX5483" fmla="*/ 4174119 w 10505529"/>
              <a:gd name="connsiteY5483" fmla="*/ 6548921 h 7458372"/>
              <a:gd name="connsiteX5484" fmla="*/ 4170126 w 10505529"/>
              <a:gd name="connsiteY5484" fmla="*/ 6546259 h 7458372"/>
              <a:gd name="connsiteX5485" fmla="*/ 4165068 w 10505529"/>
              <a:gd name="connsiteY5485" fmla="*/ 6545327 h 7458372"/>
              <a:gd name="connsiteX5486" fmla="*/ 3947779 w 10505529"/>
              <a:gd name="connsiteY5486" fmla="*/ 6545327 h 7458372"/>
              <a:gd name="connsiteX5487" fmla="*/ 3937796 w 10505529"/>
              <a:gd name="connsiteY5487" fmla="*/ 6548921 h 7458372"/>
              <a:gd name="connsiteX5488" fmla="*/ 3934201 w 10505529"/>
              <a:gd name="connsiteY5488" fmla="*/ 6558372 h 7458372"/>
              <a:gd name="connsiteX5489" fmla="*/ 3937796 w 10505529"/>
              <a:gd name="connsiteY5489" fmla="*/ 6567823 h 7458372"/>
              <a:gd name="connsiteX5490" fmla="*/ 3947779 w 10505529"/>
              <a:gd name="connsiteY5490" fmla="*/ 6571286 h 7458372"/>
              <a:gd name="connsiteX5491" fmla="*/ 3953108 w 10505529"/>
              <a:gd name="connsiteY5491" fmla="*/ 6570354 h 7458372"/>
              <a:gd name="connsiteX5492" fmla="*/ 3956835 w 10505529"/>
              <a:gd name="connsiteY5492" fmla="*/ 6567957 h 7458372"/>
              <a:gd name="connsiteX5493" fmla="*/ 3959498 w 10505529"/>
              <a:gd name="connsiteY5493" fmla="*/ 6563697 h 7458372"/>
              <a:gd name="connsiteX5494" fmla="*/ 3960563 w 10505529"/>
              <a:gd name="connsiteY5494" fmla="*/ 6558239 h 7458372"/>
              <a:gd name="connsiteX5495" fmla="*/ 3959498 w 10505529"/>
              <a:gd name="connsiteY5495" fmla="*/ 6553047 h 7458372"/>
              <a:gd name="connsiteX5496" fmla="*/ 3956835 w 10505529"/>
              <a:gd name="connsiteY5496" fmla="*/ 6548921 h 7458372"/>
              <a:gd name="connsiteX5497" fmla="*/ 3952841 w 10505529"/>
              <a:gd name="connsiteY5497" fmla="*/ 6546259 h 7458372"/>
              <a:gd name="connsiteX5498" fmla="*/ 3947779 w 10505529"/>
              <a:gd name="connsiteY5498" fmla="*/ 6545327 h 7458372"/>
              <a:gd name="connsiteX5499" fmla="*/ 3730118 w 10505529"/>
              <a:gd name="connsiteY5499" fmla="*/ 6545327 h 7458372"/>
              <a:gd name="connsiteX5500" fmla="*/ 3720131 w 10505529"/>
              <a:gd name="connsiteY5500" fmla="*/ 6548921 h 7458372"/>
              <a:gd name="connsiteX5501" fmla="*/ 3716538 w 10505529"/>
              <a:gd name="connsiteY5501" fmla="*/ 6558372 h 7458372"/>
              <a:gd name="connsiteX5502" fmla="*/ 3720131 w 10505529"/>
              <a:gd name="connsiteY5502" fmla="*/ 6567823 h 7458372"/>
              <a:gd name="connsiteX5503" fmla="*/ 3730118 w 10505529"/>
              <a:gd name="connsiteY5503" fmla="*/ 6571286 h 7458372"/>
              <a:gd name="connsiteX5504" fmla="*/ 3735443 w 10505529"/>
              <a:gd name="connsiteY5504" fmla="*/ 6570354 h 7458372"/>
              <a:gd name="connsiteX5505" fmla="*/ 3739171 w 10505529"/>
              <a:gd name="connsiteY5505" fmla="*/ 6567957 h 7458372"/>
              <a:gd name="connsiteX5506" fmla="*/ 3741834 w 10505529"/>
              <a:gd name="connsiteY5506" fmla="*/ 6563697 h 7458372"/>
              <a:gd name="connsiteX5507" fmla="*/ 3742898 w 10505529"/>
              <a:gd name="connsiteY5507" fmla="*/ 6558239 h 7458372"/>
              <a:gd name="connsiteX5508" fmla="*/ 3741834 w 10505529"/>
              <a:gd name="connsiteY5508" fmla="*/ 6553047 h 7458372"/>
              <a:gd name="connsiteX5509" fmla="*/ 3739171 w 10505529"/>
              <a:gd name="connsiteY5509" fmla="*/ 6548921 h 7458372"/>
              <a:gd name="connsiteX5510" fmla="*/ 3735178 w 10505529"/>
              <a:gd name="connsiteY5510" fmla="*/ 6546259 h 7458372"/>
              <a:gd name="connsiteX5511" fmla="*/ 3730118 w 10505529"/>
              <a:gd name="connsiteY5511" fmla="*/ 6545327 h 7458372"/>
              <a:gd name="connsiteX5512" fmla="*/ 3512454 w 10505529"/>
              <a:gd name="connsiteY5512" fmla="*/ 6545327 h 7458372"/>
              <a:gd name="connsiteX5513" fmla="*/ 3502464 w 10505529"/>
              <a:gd name="connsiteY5513" fmla="*/ 6548921 h 7458372"/>
              <a:gd name="connsiteX5514" fmla="*/ 3498871 w 10505529"/>
              <a:gd name="connsiteY5514" fmla="*/ 6558372 h 7458372"/>
              <a:gd name="connsiteX5515" fmla="*/ 3502464 w 10505529"/>
              <a:gd name="connsiteY5515" fmla="*/ 6567823 h 7458372"/>
              <a:gd name="connsiteX5516" fmla="*/ 3512454 w 10505529"/>
              <a:gd name="connsiteY5516" fmla="*/ 6571286 h 7458372"/>
              <a:gd name="connsiteX5517" fmla="*/ 3517780 w 10505529"/>
              <a:gd name="connsiteY5517" fmla="*/ 6570354 h 7458372"/>
              <a:gd name="connsiteX5518" fmla="*/ 3521507 w 10505529"/>
              <a:gd name="connsiteY5518" fmla="*/ 6567957 h 7458372"/>
              <a:gd name="connsiteX5519" fmla="*/ 3524170 w 10505529"/>
              <a:gd name="connsiteY5519" fmla="*/ 6563697 h 7458372"/>
              <a:gd name="connsiteX5520" fmla="*/ 3525235 w 10505529"/>
              <a:gd name="connsiteY5520" fmla="*/ 6558239 h 7458372"/>
              <a:gd name="connsiteX5521" fmla="*/ 3524170 w 10505529"/>
              <a:gd name="connsiteY5521" fmla="*/ 6553047 h 7458372"/>
              <a:gd name="connsiteX5522" fmla="*/ 3521507 w 10505529"/>
              <a:gd name="connsiteY5522" fmla="*/ 6548921 h 7458372"/>
              <a:gd name="connsiteX5523" fmla="*/ 3517514 w 10505529"/>
              <a:gd name="connsiteY5523" fmla="*/ 6546259 h 7458372"/>
              <a:gd name="connsiteX5524" fmla="*/ 3512454 w 10505529"/>
              <a:gd name="connsiteY5524" fmla="*/ 6545327 h 7458372"/>
              <a:gd name="connsiteX5525" fmla="*/ 3294924 w 10505529"/>
              <a:gd name="connsiteY5525" fmla="*/ 6545327 h 7458372"/>
              <a:gd name="connsiteX5526" fmla="*/ 3284937 w 10505529"/>
              <a:gd name="connsiteY5526" fmla="*/ 6548921 h 7458372"/>
              <a:gd name="connsiteX5527" fmla="*/ 3281343 w 10505529"/>
              <a:gd name="connsiteY5527" fmla="*/ 6558372 h 7458372"/>
              <a:gd name="connsiteX5528" fmla="*/ 3284937 w 10505529"/>
              <a:gd name="connsiteY5528" fmla="*/ 6567823 h 7458372"/>
              <a:gd name="connsiteX5529" fmla="*/ 3294924 w 10505529"/>
              <a:gd name="connsiteY5529" fmla="*/ 6571286 h 7458372"/>
              <a:gd name="connsiteX5530" fmla="*/ 3300250 w 10505529"/>
              <a:gd name="connsiteY5530" fmla="*/ 6570354 h 7458372"/>
              <a:gd name="connsiteX5531" fmla="*/ 3303977 w 10505529"/>
              <a:gd name="connsiteY5531" fmla="*/ 6567957 h 7458372"/>
              <a:gd name="connsiteX5532" fmla="*/ 3306640 w 10505529"/>
              <a:gd name="connsiteY5532" fmla="*/ 6563697 h 7458372"/>
              <a:gd name="connsiteX5533" fmla="*/ 3307704 w 10505529"/>
              <a:gd name="connsiteY5533" fmla="*/ 6558239 h 7458372"/>
              <a:gd name="connsiteX5534" fmla="*/ 3306640 w 10505529"/>
              <a:gd name="connsiteY5534" fmla="*/ 6553047 h 7458372"/>
              <a:gd name="connsiteX5535" fmla="*/ 3303977 w 10505529"/>
              <a:gd name="connsiteY5535" fmla="*/ 6548921 h 7458372"/>
              <a:gd name="connsiteX5536" fmla="*/ 3299984 w 10505529"/>
              <a:gd name="connsiteY5536" fmla="*/ 6546259 h 7458372"/>
              <a:gd name="connsiteX5537" fmla="*/ 3294924 w 10505529"/>
              <a:gd name="connsiteY5537" fmla="*/ 6545327 h 7458372"/>
              <a:gd name="connsiteX5538" fmla="*/ 3077393 w 10505529"/>
              <a:gd name="connsiteY5538" fmla="*/ 6545327 h 7458372"/>
              <a:gd name="connsiteX5539" fmla="*/ 3067409 w 10505529"/>
              <a:gd name="connsiteY5539" fmla="*/ 6548921 h 7458372"/>
              <a:gd name="connsiteX5540" fmla="*/ 3063678 w 10505529"/>
              <a:gd name="connsiteY5540" fmla="*/ 6558372 h 7458372"/>
              <a:gd name="connsiteX5541" fmla="*/ 3067275 w 10505529"/>
              <a:gd name="connsiteY5541" fmla="*/ 6567823 h 7458372"/>
              <a:gd name="connsiteX5542" fmla="*/ 3077260 w 10505529"/>
              <a:gd name="connsiteY5542" fmla="*/ 6571286 h 7458372"/>
              <a:gd name="connsiteX5543" fmla="*/ 3082718 w 10505529"/>
              <a:gd name="connsiteY5543" fmla="*/ 6570354 h 7458372"/>
              <a:gd name="connsiteX5544" fmla="*/ 3086446 w 10505529"/>
              <a:gd name="connsiteY5544" fmla="*/ 6567957 h 7458372"/>
              <a:gd name="connsiteX5545" fmla="*/ 3089108 w 10505529"/>
              <a:gd name="connsiteY5545" fmla="*/ 6563697 h 7458372"/>
              <a:gd name="connsiteX5546" fmla="*/ 3090041 w 10505529"/>
              <a:gd name="connsiteY5546" fmla="*/ 6558239 h 7458372"/>
              <a:gd name="connsiteX5547" fmla="*/ 3089108 w 10505529"/>
              <a:gd name="connsiteY5547" fmla="*/ 6553047 h 7458372"/>
              <a:gd name="connsiteX5548" fmla="*/ 3086446 w 10505529"/>
              <a:gd name="connsiteY5548" fmla="*/ 6548921 h 7458372"/>
              <a:gd name="connsiteX5549" fmla="*/ 3082453 w 10505529"/>
              <a:gd name="connsiteY5549" fmla="*/ 6546259 h 7458372"/>
              <a:gd name="connsiteX5550" fmla="*/ 3077393 w 10505529"/>
              <a:gd name="connsiteY5550" fmla="*/ 6545327 h 7458372"/>
              <a:gd name="connsiteX5551" fmla="*/ 2859597 w 10505529"/>
              <a:gd name="connsiteY5551" fmla="*/ 6545327 h 7458372"/>
              <a:gd name="connsiteX5552" fmla="*/ 2849611 w 10505529"/>
              <a:gd name="connsiteY5552" fmla="*/ 6548921 h 7458372"/>
              <a:gd name="connsiteX5553" fmla="*/ 2846011 w 10505529"/>
              <a:gd name="connsiteY5553" fmla="*/ 6558372 h 7458372"/>
              <a:gd name="connsiteX5554" fmla="*/ 2849611 w 10505529"/>
              <a:gd name="connsiteY5554" fmla="*/ 6567823 h 7458372"/>
              <a:gd name="connsiteX5555" fmla="*/ 2859597 w 10505529"/>
              <a:gd name="connsiteY5555" fmla="*/ 6571286 h 7458372"/>
              <a:gd name="connsiteX5556" fmla="*/ 2864922 w 10505529"/>
              <a:gd name="connsiteY5556" fmla="*/ 6570354 h 7458372"/>
              <a:gd name="connsiteX5557" fmla="*/ 2868648 w 10505529"/>
              <a:gd name="connsiteY5557" fmla="*/ 6567957 h 7458372"/>
              <a:gd name="connsiteX5558" fmla="*/ 2871312 w 10505529"/>
              <a:gd name="connsiteY5558" fmla="*/ 6563697 h 7458372"/>
              <a:gd name="connsiteX5559" fmla="*/ 2872243 w 10505529"/>
              <a:gd name="connsiteY5559" fmla="*/ 6558239 h 7458372"/>
              <a:gd name="connsiteX5560" fmla="*/ 2871312 w 10505529"/>
              <a:gd name="connsiteY5560" fmla="*/ 6553047 h 7458372"/>
              <a:gd name="connsiteX5561" fmla="*/ 2868648 w 10505529"/>
              <a:gd name="connsiteY5561" fmla="*/ 6548921 h 7458372"/>
              <a:gd name="connsiteX5562" fmla="*/ 2864656 w 10505529"/>
              <a:gd name="connsiteY5562" fmla="*/ 6546259 h 7458372"/>
              <a:gd name="connsiteX5563" fmla="*/ 2859597 w 10505529"/>
              <a:gd name="connsiteY5563" fmla="*/ 6545327 h 7458372"/>
              <a:gd name="connsiteX5564" fmla="*/ 2641933 w 10505529"/>
              <a:gd name="connsiteY5564" fmla="*/ 6545327 h 7458372"/>
              <a:gd name="connsiteX5565" fmla="*/ 2631950 w 10505529"/>
              <a:gd name="connsiteY5565" fmla="*/ 6548921 h 7458372"/>
              <a:gd name="connsiteX5566" fmla="*/ 2628355 w 10505529"/>
              <a:gd name="connsiteY5566" fmla="*/ 6558372 h 7458372"/>
              <a:gd name="connsiteX5567" fmla="*/ 2631950 w 10505529"/>
              <a:gd name="connsiteY5567" fmla="*/ 6567823 h 7458372"/>
              <a:gd name="connsiteX5568" fmla="*/ 2641933 w 10505529"/>
              <a:gd name="connsiteY5568" fmla="*/ 6571286 h 7458372"/>
              <a:gd name="connsiteX5569" fmla="*/ 2647258 w 10505529"/>
              <a:gd name="connsiteY5569" fmla="*/ 6570354 h 7458372"/>
              <a:gd name="connsiteX5570" fmla="*/ 2650985 w 10505529"/>
              <a:gd name="connsiteY5570" fmla="*/ 6567957 h 7458372"/>
              <a:gd name="connsiteX5571" fmla="*/ 2653648 w 10505529"/>
              <a:gd name="connsiteY5571" fmla="*/ 6563697 h 7458372"/>
              <a:gd name="connsiteX5572" fmla="*/ 2654579 w 10505529"/>
              <a:gd name="connsiteY5572" fmla="*/ 6558239 h 7458372"/>
              <a:gd name="connsiteX5573" fmla="*/ 2653648 w 10505529"/>
              <a:gd name="connsiteY5573" fmla="*/ 6553047 h 7458372"/>
              <a:gd name="connsiteX5574" fmla="*/ 2650985 w 10505529"/>
              <a:gd name="connsiteY5574" fmla="*/ 6548921 h 7458372"/>
              <a:gd name="connsiteX5575" fmla="*/ 2646992 w 10505529"/>
              <a:gd name="connsiteY5575" fmla="*/ 6546259 h 7458372"/>
              <a:gd name="connsiteX5576" fmla="*/ 2641933 w 10505529"/>
              <a:gd name="connsiteY5576" fmla="*/ 6545327 h 7458372"/>
              <a:gd name="connsiteX5577" fmla="*/ 2424268 w 10505529"/>
              <a:gd name="connsiteY5577" fmla="*/ 6545327 h 7458372"/>
              <a:gd name="connsiteX5578" fmla="*/ 2414285 w 10505529"/>
              <a:gd name="connsiteY5578" fmla="*/ 6548921 h 7458372"/>
              <a:gd name="connsiteX5579" fmla="*/ 2410691 w 10505529"/>
              <a:gd name="connsiteY5579" fmla="*/ 6558372 h 7458372"/>
              <a:gd name="connsiteX5580" fmla="*/ 2414285 w 10505529"/>
              <a:gd name="connsiteY5580" fmla="*/ 6567823 h 7458372"/>
              <a:gd name="connsiteX5581" fmla="*/ 2424268 w 10505529"/>
              <a:gd name="connsiteY5581" fmla="*/ 6571286 h 7458372"/>
              <a:gd name="connsiteX5582" fmla="*/ 2429594 w 10505529"/>
              <a:gd name="connsiteY5582" fmla="*/ 6570354 h 7458372"/>
              <a:gd name="connsiteX5583" fmla="*/ 2433321 w 10505529"/>
              <a:gd name="connsiteY5583" fmla="*/ 6567957 h 7458372"/>
              <a:gd name="connsiteX5584" fmla="*/ 2435984 w 10505529"/>
              <a:gd name="connsiteY5584" fmla="*/ 6563697 h 7458372"/>
              <a:gd name="connsiteX5585" fmla="*/ 2436915 w 10505529"/>
              <a:gd name="connsiteY5585" fmla="*/ 6558239 h 7458372"/>
              <a:gd name="connsiteX5586" fmla="*/ 2435984 w 10505529"/>
              <a:gd name="connsiteY5586" fmla="*/ 6553047 h 7458372"/>
              <a:gd name="connsiteX5587" fmla="*/ 2433321 w 10505529"/>
              <a:gd name="connsiteY5587" fmla="*/ 6548921 h 7458372"/>
              <a:gd name="connsiteX5588" fmla="*/ 2429328 w 10505529"/>
              <a:gd name="connsiteY5588" fmla="*/ 6546259 h 7458372"/>
              <a:gd name="connsiteX5589" fmla="*/ 2424268 w 10505529"/>
              <a:gd name="connsiteY5589" fmla="*/ 6545327 h 7458372"/>
              <a:gd name="connsiteX5590" fmla="*/ 2206605 w 10505529"/>
              <a:gd name="connsiteY5590" fmla="*/ 6545327 h 7458372"/>
              <a:gd name="connsiteX5591" fmla="*/ 2196621 w 10505529"/>
              <a:gd name="connsiteY5591" fmla="*/ 6548921 h 7458372"/>
              <a:gd name="connsiteX5592" fmla="*/ 2193027 w 10505529"/>
              <a:gd name="connsiteY5592" fmla="*/ 6558372 h 7458372"/>
              <a:gd name="connsiteX5593" fmla="*/ 2196621 w 10505529"/>
              <a:gd name="connsiteY5593" fmla="*/ 6567823 h 7458372"/>
              <a:gd name="connsiteX5594" fmla="*/ 2206605 w 10505529"/>
              <a:gd name="connsiteY5594" fmla="*/ 6571286 h 7458372"/>
              <a:gd name="connsiteX5595" fmla="*/ 2211930 w 10505529"/>
              <a:gd name="connsiteY5595" fmla="*/ 6570354 h 7458372"/>
              <a:gd name="connsiteX5596" fmla="*/ 2215657 w 10505529"/>
              <a:gd name="connsiteY5596" fmla="*/ 6567957 h 7458372"/>
              <a:gd name="connsiteX5597" fmla="*/ 2218320 w 10505529"/>
              <a:gd name="connsiteY5597" fmla="*/ 6563697 h 7458372"/>
              <a:gd name="connsiteX5598" fmla="*/ 2219251 w 10505529"/>
              <a:gd name="connsiteY5598" fmla="*/ 6558239 h 7458372"/>
              <a:gd name="connsiteX5599" fmla="*/ 2218320 w 10505529"/>
              <a:gd name="connsiteY5599" fmla="*/ 6553047 h 7458372"/>
              <a:gd name="connsiteX5600" fmla="*/ 2215657 w 10505529"/>
              <a:gd name="connsiteY5600" fmla="*/ 6548921 h 7458372"/>
              <a:gd name="connsiteX5601" fmla="*/ 2211664 w 10505529"/>
              <a:gd name="connsiteY5601" fmla="*/ 6546259 h 7458372"/>
              <a:gd name="connsiteX5602" fmla="*/ 2206605 w 10505529"/>
              <a:gd name="connsiteY5602" fmla="*/ 6545327 h 7458372"/>
              <a:gd name="connsiteX5603" fmla="*/ 1989074 w 10505529"/>
              <a:gd name="connsiteY5603" fmla="*/ 6545327 h 7458372"/>
              <a:gd name="connsiteX5604" fmla="*/ 1979091 w 10505529"/>
              <a:gd name="connsiteY5604" fmla="*/ 6548921 h 7458372"/>
              <a:gd name="connsiteX5605" fmla="*/ 1975497 w 10505529"/>
              <a:gd name="connsiteY5605" fmla="*/ 6558372 h 7458372"/>
              <a:gd name="connsiteX5606" fmla="*/ 1979091 w 10505529"/>
              <a:gd name="connsiteY5606" fmla="*/ 6567823 h 7458372"/>
              <a:gd name="connsiteX5607" fmla="*/ 1989074 w 10505529"/>
              <a:gd name="connsiteY5607" fmla="*/ 6571286 h 7458372"/>
              <a:gd name="connsiteX5608" fmla="*/ 1994399 w 10505529"/>
              <a:gd name="connsiteY5608" fmla="*/ 6570354 h 7458372"/>
              <a:gd name="connsiteX5609" fmla="*/ 1998126 w 10505529"/>
              <a:gd name="connsiteY5609" fmla="*/ 6567957 h 7458372"/>
              <a:gd name="connsiteX5610" fmla="*/ 2000789 w 10505529"/>
              <a:gd name="connsiteY5610" fmla="*/ 6563697 h 7458372"/>
              <a:gd name="connsiteX5611" fmla="*/ 2001720 w 10505529"/>
              <a:gd name="connsiteY5611" fmla="*/ 6558239 h 7458372"/>
              <a:gd name="connsiteX5612" fmla="*/ 2000789 w 10505529"/>
              <a:gd name="connsiteY5612" fmla="*/ 6553047 h 7458372"/>
              <a:gd name="connsiteX5613" fmla="*/ 1998126 w 10505529"/>
              <a:gd name="connsiteY5613" fmla="*/ 6548921 h 7458372"/>
              <a:gd name="connsiteX5614" fmla="*/ 1994133 w 10505529"/>
              <a:gd name="connsiteY5614" fmla="*/ 6546259 h 7458372"/>
              <a:gd name="connsiteX5615" fmla="*/ 1989074 w 10505529"/>
              <a:gd name="connsiteY5615" fmla="*/ 6545327 h 7458372"/>
              <a:gd name="connsiteX5616" fmla="*/ 1771442 w 10505529"/>
              <a:gd name="connsiteY5616" fmla="*/ 6545327 h 7458372"/>
              <a:gd name="connsiteX5617" fmla="*/ 1761460 w 10505529"/>
              <a:gd name="connsiteY5617" fmla="*/ 6548921 h 7458372"/>
              <a:gd name="connsiteX5618" fmla="*/ 1757867 w 10505529"/>
              <a:gd name="connsiteY5618" fmla="*/ 6558372 h 7458372"/>
              <a:gd name="connsiteX5619" fmla="*/ 1761460 w 10505529"/>
              <a:gd name="connsiteY5619" fmla="*/ 6567823 h 7458372"/>
              <a:gd name="connsiteX5620" fmla="*/ 1771442 w 10505529"/>
              <a:gd name="connsiteY5620" fmla="*/ 6571286 h 7458372"/>
              <a:gd name="connsiteX5621" fmla="*/ 1776767 w 10505529"/>
              <a:gd name="connsiteY5621" fmla="*/ 6570354 h 7458372"/>
              <a:gd name="connsiteX5622" fmla="*/ 1780493 w 10505529"/>
              <a:gd name="connsiteY5622" fmla="*/ 6567957 h 7458372"/>
              <a:gd name="connsiteX5623" fmla="*/ 1783156 w 10505529"/>
              <a:gd name="connsiteY5623" fmla="*/ 6563697 h 7458372"/>
              <a:gd name="connsiteX5624" fmla="*/ 1784221 w 10505529"/>
              <a:gd name="connsiteY5624" fmla="*/ 6558239 h 7458372"/>
              <a:gd name="connsiteX5625" fmla="*/ 1783156 w 10505529"/>
              <a:gd name="connsiteY5625" fmla="*/ 6553047 h 7458372"/>
              <a:gd name="connsiteX5626" fmla="*/ 1780493 w 10505529"/>
              <a:gd name="connsiteY5626" fmla="*/ 6548921 h 7458372"/>
              <a:gd name="connsiteX5627" fmla="*/ 1776501 w 10505529"/>
              <a:gd name="connsiteY5627" fmla="*/ 6546259 h 7458372"/>
              <a:gd name="connsiteX5628" fmla="*/ 1771442 w 10505529"/>
              <a:gd name="connsiteY5628" fmla="*/ 6545327 h 7458372"/>
              <a:gd name="connsiteX5629" fmla="*/ 1553807 w 10505529"/>
              <a:gd name="connsiteY5629" fmla="*/ 6545327 h 7458372"/>
              <a:gd name="connsiteX5630" fmla="*/ 1543824 w 10505529"/>
              <a:gd name="connsiteY5630" fmla="*/ 6548921 h 7458372"/>
              <a:gd name="connsiteX5631" fmla="*/ 1540229 w 10505529"/>
              <a:gd name="connsiteY5631" fmla="*/ 6558372 h 7458372"/>
              <a:gd name="connsiteX5632" fmla="*/ 1543824 w 10505529"/>
              <a:gd name="connsiteY5632" fmla="*/ 6567823 h 7458372"/>
              <a:gd name="connsiteX5633" fmla="*/ 1553807 w 10505529"/>
              <a:gd name="connsiteY5633" fmla="*/ 6571286 h 7458372"/>
              <a:gd name="connsiteX5634" fmla="*/ 1559131 w 10505529"/>
              <a:gd name="connsiteY5634" fmla="*/ 6570354 h 7458372"/>
              <a:gd name="connsiteX5635" fmla="*/ 1562858 w 10505529"/>
              <a:gd name="connsiteY5635" fmla="*/ 6567957 h 7458372"/>
              <a:gd name="connsiteX5636" fmla="*/ 1565521 w 10505529"/>
              <a:gd name="connsiteY5636" fmla="*/ 6563697 h 7458372"/>
              <a:gd name="connsiteX5637" fmla="*/ 1566587 w 10505529"/>
              <a:gd name="connsiteY5637" fmla="*/ 6558239 h 7458372"/>
              <a:gd name="connsiteX5638" fmla="*/ 1565521 w 10505529"/>
              <a:gd name="connsiteY5638" fmla="*/ 6553047 h 7458372"/>
              <a:gd name="connsiteX5639" fmla="*/ 1562858 w 10505529"/>
              <a:gd name="connsiteY5639" fmla="*/ 6548921 h 7458372"/>
              <a:gd name="connsiteX5640" fmla="*/ 1558865 w 10505529"/>
              <a:gd name="connsiteY5640" fmla="*/ 6546259 h 7458372"/>
              <a:gd name="connsiteX5641" fmla="*/ 1553807 w 10505529"/>
              <a:gd name="connsiteY5641" fmla="*/ 6545327 h 7458372"/>
              <a:gd name="connsiteX5642" fmla="*/ 1336163 w 10505529"/>
              <a:gd name="connsiteY5642" fmla="*/ 6545327 h 7458372"/>
              <a:gd name="connsiteX5643" fmla="*/ 1326179 w 10505529"/>
              <a:gd name="connsiteY5643" fmla="*/ 6548921 h 7458372"/>
              <a:gd name="connsiteX5644" fmla="*/ 1322585 w 10505529"/>
              <a:gd name="connsiteY5644" fmla="*/ 6558372 h 7458372"/>
              <a:gd name="connsiteX5645" fmla="*/ 1326179 w 10505529"/>
              <a:gd name="connsiteY5645" fmla="*/ 6567823 h 7458372"/>
              <a:gd name="connsiteX5646" fmla="*/ 1336163 w 10505529"/>
              <a:gd name="connsiteY5646" fmla="*/ 6571286 h 7458372"/>
              <a:gd name="connsiteX5647" fmla="*/ 1341490 w 10505529"/>
              <a:gd name="connsiteY5647" fmla="*/ 6570354 h 7458372"/>
              <a:gd name="connsiteX5648" fmla="*/ 1345217 w 10505529"/>
              <a:gd name="connsiteY5648" fmla="*/ 6567957 h 7458372"/>
              <a:gd name="connsiteX5649" fmla="*/ 1347879 w 10505529"/>
              <a:gd name="connsiteY5649" fmla="*/ 6563697 h 7458372"/>
              <a:gd name="connsiteX5650" fmla="*/ 1348945 w 10505529"/>
              <a:gd name="connsiteY5650" fmla="*/ 6558239 h 7458372"/>
              <a:gd name="connsiteX5651" fmla="*/ 1347879 w 10505529"/>
              <a:gd name="connsiteY5651" fmla="*/ 6553047 h 7458372"/>
              <a:gd name="connsiteX5652" fmla="*/ 1345217 w 10505529"/>
              <a:gd name="connsiteY5652" fmla="*/ 6548921 h 7458372"/>
              <a:gd name="connsiteX5653" fmla="*/ 1341222 w 10505529"/>
              <a:gd name="connsiteY5653" fmla="*/ 6546259 h 7458372"/>
              <a:gd name="connsiteX5654" fmla="*/ 1336163 w 10505529"/>
              <a:gd name="connsiteY5654" fmla="*/ 6545327 h 7458372"/>
              <a:gd name="connsiteX5655" fmla="*/ 1118651 w 10505529"/>
              <a:gd name="connsiteY5655" fmla="*/ 6545327 h 7458372"/>
              <a:gd name="connsiteX5656" fmla="*/ 1108665 w 10505529"/>
              <a:gd name="connsiteY5656" fmla="*/ 6548921 h 7458372"/>
              <a:gd name="connsiteX5657" fmla="*/ 1104938 w 10505529"/>
              <a:gd name="connsiteY5657" fmla="*/ 6558372 h 7458372"/>
              <a:gd name="connsiteX5658" fmla="*/ 1108533 w 10505529"/>
              <a:gd name="connsiteY5658" fmla="*/ 6567823 h 7458372"/>
              <a:gd name="connsiteX5659" fmla="*/ 1118518 w 10505529"/>
              <a:gd name="connsiteY5659" fmla="*/ 6571286 h 7458372"/>
              <a:gd name="connsiteX5660" fmla="*/ 1123974 w 10505529"/>
              <a:gd name="connsiteY5660" fmla="*/ 6570354 h 7458372"/>
              <a:gd name="connsiteX5661" fmla="*/ 1127705 w 10505529"/>
              <a:gd name="connsiteY5661" fmla="*/ 6567957 h 7458372"/>
              <a:gd name="connsiteX5662" fmla="*/ 1130369 w 10505529"/>
              <a:gd name="connsiteY5662" fmla="*/ 6563697 h 7458372"/>
              <a:gd name="connsiteX5663" fmla="*/ 1131434 w 10505529"/>
              <a:gd name="connsiteY5663" fmla="*/ 6558239 h 7458372"/>
              <a:gd name="connsiteX5664" fmla="*/ 1130369 w 10505529"/>
              <a:gd name="connsiteY5664" fmla="*/ 6553047 h 7458372"/>
              <a:gd name="connsiteX5665" fmla="*/ 1127705 w 10505529"/>
              <a:gd name="connsiteY5665" fmla="*/ 6548921 h 7458372"/>
              <a:gd name="connsiteX5666" fmla="*/ 1123710 w 10505529"/>
              <a:gd name="connsiteY5666" fmla="*/ 6546259 h 7458372"/>
              <a:gd name="connsiteX5667" fmla="*/ 1118651 w 10505529"/>
              <a:gd name="connsiteY5667" fmla="*/ 6545327 h 7458372"/>
              <a:gd name="connsiteX5668" fmla="*/ 901139 w 10505529"/>
              <a:gd name="connsiteY5668" fmla="*/ 6545327 h 7458372"/>
              <a:gd name="connsiteX5669" fmla="*/ 891154 w 10505529"/>
              <a:gd name="connsiteY5669" fmla="*/ 6548921 h 7458372"/>
              <a:gd name="connsiteX5670" fmla="*/ 887428 w 10505529"/>
              <a:gd name="connsiteY5670" fmla="*/ 6558372 h 7458372"/>
              <a:gd name="connsiteX5671" fmla="*/ 891022 w 10505529"/>
              <a:gd name="connsiteY5671" fmla="*/ 6567823 h 7458372"/>
              <a:gd name="connsiteX5672" fmla="*/ 901005 w 10505529"/>
              <a:gd name="connsiteY5672" fmla="*/ 6571286 h 7458372"/>
              <a:gd name="connsiteX5673" fmla="*/ 906463 w 10505529"/>
              <a:gd name="connsiteY5673" fmla="*/ 6570354 h 7458372"/>
              <a:gd name="connsiteX5674" fmla="*/ 910191 w 10505529"/>
              <a:gd name="connsiteY5674" fmla="*/ 6567957 h 7458372"/>
              <a:gd name="connsiteX5675" fmla="*/ 912853 w 10505529"/>
              <a:gd name="connsiteY5675" fmla="*/ 6563697 h 7458372"/>
              <a:gd name="connsiteX5676" fmla="*/ 913918 w 10505529"/>
              <a:gd name="connsiteY5676" fmla="*/ 6558239 h 7458372"/>
              <a:gd name="connsiteX5677" fmla="*/ 912853 w 10505529"/>
              <a:gd name="connsiteY5677" fmla="*/ 6553047 h 7458372"/>
              <a:gd name="connsiteX5678" fmla="*/ 910191 w 10505529"/>
              <a:gd name="connsiteY5678" fmla="*/ 6548921 h 7458372"/>
              <a:gd name="connsiteX5679" fmla="*/ 906197 w 10505529"/>
              <a:gd name="connsiteY5679" fmla="*/ 6546259 h 7458372"/>
              <a:gd name="connsiteX5680" fmla="*/ 901139 w 10505529"/>
              <a:gd name="connsiteY5680" fmla="*/ 6545327 h 7458372"/>
              <a:gd name="connsiteX5681" fmla="*/ 683365 w 10505529"/>
              <a:gd name="connsiteY5681" fmla="*/ 6545327 h 7458372"/>
              <a:gd name="connsiteX5682" fmla="*/ 673382 w 10505529"/>
              <a:gd name="connsiteY5682" fmla="*/ 6548921 h 7458372"/>
              <a:gd name="connsiteX5683" fmla="*/ 669788 w 10505529"/>
              <a:gd name="connsiteY5683" fmla="*/ 6558372 h 7458372"/>
              <a:gd name="connsiteX5684" fmla="*/ 673382 w 10505529"/>
              <a:gd name="connsiteY5684" fmla="*/ 6567823 h 7458372"/>
              <a:gd name="connsiteX5685" fmla="*/ 683365 w 10505529"/>
              <a:gd name="connsiteY5685" fmla="*/ 6571286 h 7458372"/>
              <a:gd name="connsiteX5686" fmla="*/ 688691 w 10505529"/>
              <a:gd name="connsiteY5686" fmla="*/ 6570354 h 7458372"/>
              <a:gd name="connsiteX5687" fmla="*/ 692417 w 10505529"/>
              <a:gd name="connsiteY5687" fmla="*/ 6567957 h 7458372"/>
              <a:gd name="connsiteX5688" fmla="*/ 695081 w 10505529"/>
              <a:gd name="connsiteY5688" fmla="*/ 6563697 h 7458372"/>
              <a:gd name="connsiteX5689" fmla="*/ 696146 w 10505529"/>
              <a:gd name="connsiteY5689" fmla="*/ 6558239 h 7458372"/>
              <a:gd name="connsiteX5690" fmla="*/ 695081 w 10505529"/>
              <a:gd name="connsiteY5690" fmla="*/ 6553047 h 7458372"/>
              <a:gd name="connsiteX5691" fmla="*/ 692417 w 10505529"/>
              <a:gd name="connsiteY5691" fmla="*/ 6548921 h 7458372"/>
              <a:gd name="connsiteX5692" fmla="*/ 688424 w 10505529"/>
              <a:gd name="connsiteY5692" fmla="*/ 6546259 h 7458372"/>
              <a:gd name="connsiteX5693" fmla="*/ 683365 w 10505529"/>
              <a:gd name="connsiteY5693" fmla="*/ 6545327 h 7458372"/>
              <a:gd name="connsiteX5694" fmla="*/ 465725 w 10505529"/>
              <a:gd name="connsiteY5694" fmla="*/ 6545327 h 7458372"/>
              <a:gd name="connsiteX5695" fmla="*/ 455741 w 10505529"/>
              <a:gd name="connsiteY5695" fmla="*/ 6548921 h 7458372"/>
              <a:gd name="connsiteX5696" fmla="*/ 452147 w 10505529"/>
              <a:gd name="connsiteY5696" fmla="*/ 6558372 h 7458372"/>
              <a:gd name="connsiteX5697" fmla="*/ 455741 w 10505529"/>
              <a:gd name="connsiteY5697" fmla="*/ 6567823 h 7458372"/>
              <a:gd name="connsiteX5698" fmla="*/ 465725 w 10505529"/>
              <a:gd name="connsiteY5698" fmla="*/ 6571286 h 7458372"/>
              <a:gd name="connsiteX5699" fmla="*/ 471050 w 10505529"/>
              <a:gd name="connsiteY5699" fmla="*/ 6570354 h 7458372"/>
              <a:gd name="connsiteX5700" fmla="*/ 474777 w 10505529"/>
              <a:gd name="connsiteY5700" fmla="*/ 6567957 h 7458372"/>
              <a:gd name="connsiteX5701" fmla="*/ 477440 w 10505529"/>
              <a:gd name="connsiteY5701" fmla="*/ 6563697 h 7458372"/>
              <a:gd name="connsiteX5702" fmla="*/ 478505 w 10505529"/>
              <a:gd name="connsiteY5702" fmla="*/ 6558239 h 7458372"/>
              <a:gd name="connsiteX5703" fmla="*/ 477440 w 10505529"/>
              <a:gd name="connsiteY5703" fmla="*/ 6553047 h 7458372"/>
              <a:gd name="connsiteX5704" fmla="*/ 474777 w 10505529"/>
              <a:gd name="connsiteY5704" fmla="*/ 6548921 h 7458372"/>
              <a:gd name="connsiteX5705" fmla="*/ 470784 w 10505529"/>
              <a:gd name="connsiteY5705" fmla="*/ 6546259 h 7458372"/>
              <a:gd name="connsiteX5706" fmla="*/ 465725 w 10505529"/>
              <a:gd name="connsiteY5706" fmla="*/ 6545327 h 7458372"/>
              <a:gd name="connsiteX5707" fmla="*/ 248084 w 10505529"/>
              <a:gd name="connsiteY5707" fmla="*/ 6545327 h 7458372"/>
              <a:gd name="connsiteX5708" fmla="*/ 238101 w 10505529"/>
              <a:gd name="connsiteY5708" fmla="*/ 6548921 h 7458372"/>
              <a:gd name="connsiteX5709" fmla="*/ 234508 w 10505529"/>
              <a:gd name="connsiteY5709" fmla="*/ 6558372 h 7458372"/>
              <a:gd name="connsiteX5710" fmla="*/ 238101 w 10505529"/>
              <a:gd name="connsiteY5710" fmla="*/ 6567823 h 7458372"/>
              <a:gd name="connsiteX5711" fmla="*/ 248084 w 10505529"/>
              <a:gd name="connsiteY5711" fmla="*/ 6571286 h 7458372"/>
              <a:gd name="connsiteX5712" fmla="*/ 253408 w 10505529"/>
              <a:gd name="connsiteY5712" fmla="*/ 6570354 h 7458372"/>
              <a:gd name="connsiteX5713" fmla="*/ 257135 w 10505529"/>
              <a:gd name="connsiteY5713" fmla="*/ 6567957 h 7458372"/>
              <a:gd name="connsiteX5714" fmla="*/ 259798 w 10505529"/>
              <a:gd name="connsiteY5714" fmla="*/ 6563697 h 7458372"/>
              <a:gd name="connsiteX5715" fmla="*/ 260863 w 10505529"/>
              <a:gd name="connsiteY5715" fmla="*/ 6558239 h 7458372"/>
              <a:gd name="connsiteX5716" fmla="*/ 259798 w 10505529"/>
              <a:gd name="connsiteY5716" fmla="*/ 6553047 h 7458372"/>
              <a:gd name="connsiteX5717" fmla="*/ 257135 w 10505529"/>
              <a:gd name="connsiteY5717" fmla="*/ 6548921 h 7458372"/>
              <a:gd name="connsiteX5718" fmla="*/ 253142 w 10505529"/>
              <a:gd name="connsiteY5718" fmla="*/ 6546259 h 7458372"/>
              <a:gd name="connsiteX5719" fmla="*/ 248084 w 10505529"/>
              <a:gd name="connsiteY5719" fmla="*/ 6545327 h 7458372"/>
              <a:gd name="connsiteX5720" fmla="*/ 30443 w 10505529"/>
              <a:gd name="connsiteY5720" fmla="*/ 6545327 h 7458372"/>
              <a:gd name="connsiteX5721" fmla="*/ 20459 w 10505529"/>
              <a:gd name="connsiteY5721" fmla="*/ 6548921 h 7458372"/>
              <a:gd name="connsiteX5722" fmla="*/ 16866 w 10505529"/>
              <a:gd name="connsiteY5722" fmla="*/ 6558372 h 7458372"/>
              <a:gd name="connsiteX5723" fmla="*/ 20459 w 10505529"/>
              <a:gd name="connsiteY5723" fmla="*/ 6567823 h 7458372"/>
              <a:gd name="connsiteX5724" fmla="*/ 30443 w 10505529"/>
              <a:gd name="connsiteY5724" fmla="*/ 6571286 h 7458372"/>
              <a:gd name="connsiteX5725" fmla="*/ 35768 w 10505529"/>
              <a:gd name="connsiteY5725" fmla="*/ 6570354 h 7458372"/>
              <a:gd name="connsiteX5726" fmla="*/ 39495 w 10505529"/>
              <a:gd name="connsiteY5726" fmla="*/ 6567957 h 7458372"/>
              <a:gd name="connsiteX5727" fmla="*/ 42158 w 10505529"/>
              <a:gd name="connsiteY5727" fmla="*/ 6563697 h 7458372"/>
              <a:gd name="connsiteX5728" fmla="*/ 43089 w 10505529"/>
              <a:gd name="connsiteY5728" fmla="*/ 6558239 h 7458372"/>
              <a:gd name="connsiteX5729" fmla="*/ 42158 w 10505529"/>
              <a:gd name="connsiteY5729" fmla="*/ 6553047 h 7458372"/>
              <a:gd name="connsiteX5730" fmla="*/ 39495 w 10505529"/>
              <a:gd name="connsiteY5730" fmla="*/ 6548921 h 7458372"/>
              <a:gd name="connsiteX5731" fmla="*/ 35502 w 10505529"/>
              <a:gd name="connsiteY5731" fmla="*/ 6546259 h 7458372"/>
              <a:gd name="connsiteX5732" fmla="*/ 30443 w 10505529"/>
              <a:gd name="connsiteY5732" fmla="*/ 6545327 h 7458372"/>
              <a:gd name="connsiteX5733" fmla="*/ 10475977 w 10505529"/>
              <a:gd name="connsiteY5733" fmla="*/ 6528554 h 7458372"/>
              <a:gd name="connsiteX5734" fmla="*/ 10487824 w 10505529"/>
              <a:gd name="connsiteY5734" fmla="*/ 6531083 h 7458372"/>
              <a:gd name="connsiteX5735" fmla="*/ 10497143 w 10505529"/>
              <a:gd name="connsiteY5735" fmla="*/ 6537473 h 7458372"/>
              <a:gd name="connsiteX5736" fmla="*/ 10503266 w 10505529"/>
              <a:gd name="connsiteY5736" fmla="*/ 6546791 h 7458372"/>
              <a:gd name="connsiteX5737" fmla="*/ 10505529 w 10505529"/>
              <a:gd name="connsiteY5737" fmla="*/ 6558239 h 7458372"/>
              <a:gd name="connsiteX5738" fmla="*/ 10503266 w 10505529"/>
              <a:gd name="connsiteY5738" fmla="*/ 6569954 h 7458372"/>
              <a:gd name="connsiteX5739" fmla="*/ 10497143 w 10505529"/>
              <a:gd name="connsiteY5739" fmla="*/ 6579272 h 7458372"/>
              <a:gd name="connsiteX5740" fmla="*/ 10487824 w 10505529"/>
              <a:gd name="connsiteY5740" fmla="*/ 6585529 h 7458372"/>
              <a:gd name="connsiteX5741" fmla="*/ 10475977 w 10505529"/>
              <a:gd name="connsiteY5741" fmla="*/ 6587792 h 7458372"/>
              <a:gd name="connsiteX5742" fmla="*/ 10454145 w 10505529"/>
              <a:gd name="connsiteY5742" fmla="*/ 6579272 h 7458372"/>
              <a:gd name="connsiteX5743" fmla="*/ 10445759 w 10505529"/>
              <a:gd name="connsiteY5743" fmla="*/ 6558106 h 7458372"/>
              <a:gd name="connsiteX5744" fmla="*/ 10454145 w 10505529"/>
              <a:gd name="connsiteY5744" fmla="*/ 6537074 h 7458372"/>
              <a:gd name="connsiteX5745" fmla="*/ 10475977 w 10505529"/>
              <a:gd name="connsiteY5745" fmla="*/ 6528554 h 7458372"/>
              <a:gd name="connsiteX5746" fmla="*/ 10258466 w 10505529"/>
              <a:gd name="connsiteY5746" fmla="*/ 6528554 h 7458372"/>
              <a:gd name="connsiteX5747" fmla="*/ 10270313 w 10505529"/>
              <a:gd name="connsiteY5747" fmla="*/ 6531083 h 7458372"/>
              <a:gd name="connsiteX5748" fmla="*/ 10279631 w 10505529"/>
              <a:gd name="connsiteY5748" fmla="*/ 6537473 h 7458372"/>
              <a:gd name="connsiteX5749" fmla="*/ 10285754 w 10505529"/>
              <a:gd name="connsiteY5749" fmla="*/ 6546791 h 7458372"/>
              <a:gd name="connsiteX5750" fmla="*/ 10288017 w 10505529"/>
              <a:gd name="connsiteY5750" fmla="*/ 6558239 h 7458372"/>
              <a:gd name="connsiteX5751" fmla="*/ 10285754 w 10505529"/>
              <a:gd name="connsiteY5751" fmla="*/ 6569954 h 7458372"/>
              <a:gd name="connsiteX5752" fmla="*/ 10279631 w 10505529"/>
              <a:gd name="connsiteY5752" fmla="*/ 6579272 h 7458372"/>
              <a:gd name="connsiteX5753" fmla="*/ 10270313 w 10505529"/>
              <a:gd name="connsiteY5753" fmla="*/ 6585529 h 7458372"/>
              <a:gd name="connsiteX5754" fmla="*/ 10258466 w 10505529"/>
              <a:gd name="connsiteY5754" fmla="*/ 6587792 h 7458372"/>
              <a:gd name="connsiteX5755" fmla="*/ 10236633 w 10505529"/>
              <a:gd name="connsiteY5755" fmla="*/ 6579272 h 7458372"/>
              <a:gd name="connsiteX5756" fmla="*/ 10228247 w 10505529"/>
              <a:gd name="connsiteY5756" fmla="*/ 6558106 h 7458372"/>
              <a:gd name="connsiteX5757" fmla="*/ 10236633 w 10505529"/>
              <a:gd name="connsiteY5757" fmla="*/ 6537074 h 7458372"/>
              <a:gd name="connsiteX5758" fmla="*/ 10258466 w 10505529"/>
              <a:gd name="connsiteY5758" fmla="*/ 6528554 h 7458372"/>
              <a:gd name="connsiteX5759" fmla="*/ 10040820 w 10505529"/>
              <a:gd name="connsiteY5759" fmla="*/ 6528554 h 7458372"/>
              <a:gd name="connsiteX5760" fmla="*/ 10052534 w 10505529"/>
              <a:gd name="connsiteY5760" fmla="*/ 6531083 h 7458372"/>
              <a:gd name="connsiteX5761" fmla="*/ 10061852 w 10505529"/>
              <a:gd name="connsiteY5761" fmla="*/ 6537473 h 7458372"/>
              <a:gd name="connsiteX5762" fmla="*/ 10067976 w 10505529"/>
              <a:gd name="connsiteY5762" fmla="*/ 6546791 h 7458372"/>
              <a:gd name="connsiteX5763" fmla="*/ 10070239 w 10505529"/>
              <a:gd name="connsiteY5763" fmla="*/ 6558239 h 7458372"/>
              <a:gd name="connsiteX5764" fmla="*/ 10067976 w 10505529"/>
              <a:gd name="connsiteY5764" fmla="*/ 6569954 h 7458372"/>
              <a:gd name="connsiteX5765" fmla="*/ 10061852 w 10505529"/>
              <a:gd name="connsiteY5765" fmla="*/ 6579272 h 7458372"/>
              <a:gd name="connsiteX5766" fmla="*/ 10052534 w 10505529"/>
              <a:gd name="connsiteY5766" fmla="*/ 6585529 h 7458372"/>
              <a:gd name="connsiteX5767" fmla="*/ 10040820 w 10505529"/>
              <a:gd name="connsiteY5767" fmla="*/ 6587792 h 7458372"/>
              <a:gd name="connsiteX5768" fmla="*/ 10018988 w 10505529"/>
              <a:gd name="connsiteY5768" fmla="*/ 6579272 h 7458372"/>
              <a:gd name="connsiteX5769" fmla="*/ 10010602 w 10505529"/>
              <a:gd name="connsiteY5769" fmla="*/ 6558106 h 7458372"/>
              <a:gd name="connsiteX5770" fmla="*/ 10018988 w 10505529"/>
              <a:gd name="connsiteY5770" fmla="*/ 6537074 h 7458372"/>
              <a:gd name="connsiteX5771" fmla="*/ 10040820 w 10505529"/>
              <a:gd name="connsiteY5771" fmla="*/ 6528554 h 7458372"/>
              <a:gd name="connsiteX5772" fmla="*/ 9823176 w 10505529"/>
              <a:gd name="connsiteY5772" fmla="*/ 6528554 h 7458372"/>
              <a:gd name="connsiteX5773" fmla="*/ 9834890 w 10505529"/>
              <a:gd name="connsiteY5773" fmla="*/ 6531083 h 7458372"/>
              <a:gd name="connsiteX5774" fmla="*/ 9844208 w 10505529"/>
              <a:gd name="connsiteY5774" fmla="*/ 6537473 h 7458372"/>
              <a:gd name="connsiteX5775" fmla="*/ 9850331 w 10505529"/>
              <a:gd name="connsiteY5775" fmla="*/ 6546791 h 7458372"/>
              <a:gd name="connsiteX5776" fmla="*/ 9852595 w 10505529"/>
              <a:gd name="connsiteY5776" fmla="*/ 6558239 h 7458372"/>
              <a:gd name="connsiteX5777" fmla="*/ 9850331 w 10505529"/>
              <a:gd name="connsiteY5777" fmla="*/ 6569954 h 7458372"/>
              <a:gd name="connsiteX5778" fmla="*/ 9844208 w 10505529"/>
              <a:gd name="connsiteY5778" fmla="*/ 6579272 h 7458372"/>
              <a:gd name="connsiteX5779" fmla="*/ 9834890 w 10505529"/>
              <a:gd name="connsiteY5779" fmla="*/ 6585529 h 7458372"/>
              <a:gd name="connsiteX5780" fmla="*/ 9823176 w 10505529"/>
              <a:gd name="connsiteY5780" fmla="*/ 6587792 h 7458372"/>
              <a:gd name="connsiteX5781" fmla="*/ 9801343 w 10505529"/>
              <a:gd name="connsiteY5781" fmla="*/ 6579272 h 7458372"/>
              <a:gd name="connsiteX5782" fmla="*/ 9792957 w 10505529"/>
              <a:gd name="connsiteY5782" fmla="*/ 6558106 h 7458372"/>
              <a:gd name="connsiteX5783" fmla="*/ 9801343 w 10505529"/>
              <a:gd name="connsiteY5783" fmla="*/ 6537074 h 7458372"/>
              <a:gd name="connsiteX5784" fmla="*/ 9823176 w 10505529"/>
              <a:gd name="connsiteY5784" fmla="*/ 6528554 h 7458372"/>
              <a:gd name="connsiteX5785" fmla="*/ 9605531 w 10505529"/>
              <a:gd name="connsiteY5785" fmla="*/ 6528554 h 7458372"/>
              <a:gd name="connsiteX5786" fmla="*/ 9617245 w 10505529"/>
              <a:gd name="connsiteY5786" fmla="*/ 6531083 h 7458372"/>
              <a:gd name="connsiteX5787" fmla="*/ 9626562 w 10505529"/>
              <a:gd name="connsiteY5787" fmla="*/ 6537473 h 7458372"/>
              <a:gd name="connsiteX5788" fmla="*/ 9632686 w 10505529"/>
              <a:gd name="connsiteY5788" fmla="*/ 6546791 h 7458372"/>
              <a:gd name="connsiteX5789" fmla="*/ 9634949 w 10505529"/>
              <a:gd name="connsiteY5789" fmla="*/ 6558239 h 7458372"/>
              <a:gd name="connsiteX5790" fmla="*/ 9632686 w 10505529"/>
              <a:gd name="connsiteY5790" fmla="*/ 6569954 h 7458372"/>
              <a:gd name="connsiteX5791" fmla="*/ 9626562 w 10505529"/>
              <a:gd name="connsiteY5791" fmla="*/ 6579272 h 7458372"/>
              <a:gd name="connsiteX5792" fmla="*/ 9617245 w 10505529"/>
              <a:gd name="connsiteY5792" fmla="*/ 6585529 h 7458372"/>
              <a:gd name="connsiteX5793" fmla="*/ 9605531 w 10505529"/>
              <a:gd name="connsiteY5793" fmla="*/ 6587792 h 7458372"/>
              <a:gd name="connsiteX5794" fmla="*/ 9583698 w 10505529"/>
              <a:gd name="connsiteY5794" fmla="*/ 6579272 h 7458372"/>
              <a:gd name="connsiteX5795" fmla="*/ 9575312 w 10505529"/>
              <a:gd name="connsiteY5795" fmla="*/ 6558106 h 7458372"/>
              <a:gd name="connsiteX5796" fmla="*/ 9583698 w 10505529"/>
              <a:gd name="connsiteY5796" fmla="*/ 6537074 h 7458372"/>
              <a:gd name="connsiteX5797" fmla="*/ 9605531 w 10505529"/>
              <a:gd name="connsiteY5797" fmla="*/ 6528554 h 7458372"/>
              <a:gd name="connsiteX5798" fmla="*/ 9387885 w 10505529"/>
              <a:gd name="connsiteY5798" fmla="*/ 6528554 h 7458372"/>
              <a:gd name="connsiteX5799" fmla="*/ 9399599 w 10505529"/>
              <a:gd name="connsiteY5799" fmla="*/ 6531083 h 7458372"/>
              <a:gd name="connsiteX5800" fmla="*/ 9408917 w 10505529"/>
              <a:gd name="connsiteY5800" fmla="*/ 6537473 h 7458372"/>
              <a:gd name="connsiteX5801" fmla="*/ 9415041 w 10505529"/>
              <a:gd name="connsiteY5801" fmla="*/ 6546791 h 7458372"/>
              <a:gd name="connsiteX5802" fmla="*/ 9417304 w 10505529"/>
              <a:gd name="connsiteY5802" fmla="*/ 6558239 h 7458372"/>
              <a:gd name="connsiteX5803" fmla="*/ 9415041 w 10505529"/>
              <a:gd name="connsiteY5803" fmla="*/ 6569954 h 7458372"/>
              <a:gd name="connsiteX5804" fmla="*/ 9408917 w 10505529"/>
              <a:gd name="connsiteY5804" fmla="*/ 6579272 h 7458372"/>
              <a:gd name="connsiteX5805" fmla="*/ 9399599 w 10505529"/>
              <a:gd name="connsiteY5805" fmla="*/ 6585529 h 7458372"/>
              <a:gd name="connsiteX5806" fmla="*/ 9387885 w 10505529"/>
              <a:gd name="connsiteY5806" fmla="*/ 6587792 h 7458372"/>
              <a:gd name="connsiteX5807" fmla="*/ 9366053 w 10505529"/>
              <a:gd name="connsiteY5807" fmla="*/ 6579272 h 7458372"/>
              <a:gd name="connsiteX5808" fmla="*/ 9357667 w 10505529"/>
              <a:gd name="connsiteY5808" fmla="*/ 6558106 h 7458372"/>
              <a:gd name="connsiteX5809" fmla="*/ 9366053 w 10505529"/>
              <a:gd name="connsiteY5809" fmla="*/ 6537074 h 7458372"/>
              <a:gd name="connsiteX5810" fmla="*/ 9387885 w 10505529"/>
              <a:gd name="connsiteY5810" fmla="*/ 6528554 h 7458372"/>
              <a:gd name="connsiteX5811" fmla="*/ 9170374 w 10505529"/>
              <a:gd name="connsiteY5811" fmla="*/ 6528554 h 7458372"/>
              <a:gd name="connsiteX5812" fmla="*/ 9182088 w 10505529"/>
              <a:gd name="connsiteY5812" fmla="*/ 6531083 h 7458372"/>
              <a:gd name="connsiteX5813" fmla="*/ 9191405 w 10505529"/>
              <a:gd name="connsiteY5813" fmla="*/ 6537473 h 7458372"/>
              <a:gd name="connsiteX5814" fmla="*/ 9197529 w 10505529"/>
              <a:gd name="connsiteY5814" fmla="*/ 6546791 h 7458372"/>
              <a:gd name="connsiteX5815" fmla="*/ 9199792 w 10505529"/>
              <a:gd name="connsiteY5815" fmla="*/ 6558239 h 7458372"/>
              <a:gd name="connsiteX5816" fmla="*/ 9197529 w 10505529"/>
              <a:gd name="connsiteY5816" fmla="*/ 6569954 h 7458372"/>
              <a:gd name="connsiteX5817" fmla="*/ 9191405 w 10505529"/>
              <a:gd name="connsiteY5817" fmla="*/ 6579272 h 7458372"/>
              <a:gd name="connsiteX5818" fmla="*/ 9182088 w 10505529"/>
              <a:gd name="connsiteY5818" fmla="*/ 6585529 h 7458372"/>
              <a:gd name="connsiteX5819" fmla="*/ 9170374 w 10505529"/>
              <a:gd name="connsiteY5819" fmla="*/ 6587792 h 7458372"/>
              <a:gd name="connsiteX5820" fmla="*/ 9148541 w 10505529"/>
              <a:gd name="connsiteY5820" fmla="*/ 6579272 h 7458372"/>
              <a:gd name="connsiteX5821" fmla="*/ 9140155 w 10505529"/>
              <a:gd name="connsiteY5821" fmla="*/ 6558106 h 7458372"/>
              <a:gd name="connsiteX5822" fmla="*/ 9148541 w 10505529"/>
              <a:gd name="connsiteY5822" fmla="*/ 6537074 h 7458372"/>
              <a:gd name="connsiteX5823" fmla="*/ 9170374 w 10505529"/>
              <a:gd name="connsiteY5823" fmla="*/ 6528554 h 7458372"/>
              <a:gd name="connsiteX5824" fmla="*/ 8952728 w 10505529"/>
              <a:gd name="connsiteY5824" fmla="*/ 6528554 h 7458372"/>
              <a:gd name="connsiteX5825" fmla="*/ 8964442 w 10505529"/>
              <a:gd name="connsiteY5825" fmla="*/ 6531083 h 7458372"/>
              <a:gd name="connsiteX5826" fmla="*/ 8973760 w 10505529"/>
              <a:gd name="connsiteY5826" fmla="*/ 6537473 h 7458372"/>
              <a:gd name="connsiteX5827" fmla="*/ 8979884 w 10505529"/>
              <a:gd name="connsiteY5827" fmla="*/ 6546791 h 7458372"/>
              <a:gd name="connsiteX5828" fmla="*/ 8982147 w 10505529"/>
              <a:gd name="connsiteY5828" fmla="*/ 6558239 h 7458372"/>
              <a:gd name="connsiteX5829" fmla="*/ 8979884 w 10505529"/>
              <a:gd name="connsiteY5829" fmla="*/ 6569954 h 7458372"/>
              <a:gd name="connsiteX5830" fmla="*/ 8973760 w 10505529"/>
              <a:gd name="connsiteY5830" fmla="*/ 6579272 h 7458372"/>
              <a:gd name="connsiteX5831" fmla="*/ 8964442 w 10505529"/>
              <a:gd name="connsiteY5831" fmla="*/ 6585529 h 7458372"/>
              <a:gd name="connsiteX5832" fmla="*/ 8952728 w 10505529"/>
              <a:gd name="connsiteY5832" fmla="*/ 6587792 h 7458372"/>
              <a:gd name="connsiteX5833" fmla="*/ 8930896 w 10505529"/>
              <a:gd name="connsiteY5833" fmla="*/ 6579272 h 7458372"/>
              <a:gd name="connsiteX5834" fmla="*/ 8922510 w 10505529"/>
              <a:gd name="connsiteY5834" fmla="*/ 6558106 h 7458372"/>
              <a:gd name="connsiteX5835" fmla="*/ 8930896 w 10505529"/>
              <a:gd name="connsiteY5835" fmla="*/ 6537074 h 7458372"/>
              <a:gd name="connsiteX5836" fmla="*/ 8952728 w 10505529"/>
              <a:gd name="connsiteY5836" fmla="*/ 6528554 h 7458372"/>
              <a:gd name="connsiteX5837" fmla="*/ 8735083 w 10505529"/>
              <a:gd name="connsiteY5837" fmla="*/ 6528554 h 7458372"/>
              <a:gd name="connsiteX5838" fmla="*/ 8746797 w 10505529"/>
              <a:gd name="connsiteY5838" fmla="*/ 6531083 h 7458372"/>
              <a:gd name="connsiteX5839" fmla="*/ 8756115 w 10505529"/>
              <a:gd name="connsiteY5839" fmla="*/ 6537473 h 7458372"/>
              <a:gd name="connsiteX5840" fmla="*/ 8762238 w 10505529"/>
              <a:gd name="connsiteY5840" fmla="*/ 6546791 h 7458372"/>
              <a:gd name="connsiteX5841" fmla="*/ 8764502 w 10505529"/>
              <a:gd name="connsiteY5841" fmla="*/ 6558239 h 7458372"/>
              <a:gd name="connsiteX5842" fmla="*/ 8762238 w 10505529"/>
              <a:gd name="connsiteY5842" fmla="*/ 6569954 h 7458372"/>
              <a:gd name="connsiteX5843" fmla="*/ 8756115 w 10505529"/>
              <a:gd name="connsiteY5843" fmla="*/ 6579272 h 7458372"/>
              <a:gd name="connsiteX5844" fmla="*/ 8746797 w 10505529"/>
              <a:gd name="connsiteY5844" fmla="*/ 6585529 h 7458372"/>
              <a:gd name="connsiteX5845" fmla="*/ 8735083 w 10505529"/>
              <a:gd name="connsiteY5845" fmla="*/ 6587792 h 7458372"/>
              <a:gd name="connsiteX5846" fmla="*/ 8713250 w 10505529"/>
              <a:gd name="connsiteY5846" fmla="*/ 6579272 h 7458372"/>
              <a:gd name="connsiteX5847" fmla="*/ 8704864 w 10505529"/>
              <a:gd name="connsiteY5847" fmla="*/ 6558106 h 7458372"/>
              <a:gd name="connsiteX5848" fmla="*/ 8713250 w 10505529"/>
              <a:gd name="connsiteY5848" fmla="*/ 6537074 h 7458372"/>
              <a:gd name="connsiteX5849" fmla="*/ 8735083 w 10505529"/>
              <a:gd name="connsiteY5849" fmla="*/ 6528554 h 7458372"/>
              <a:gd name="connsiteX5850" fmla="*/ 8517438 w 10505529"/>
              <a:gd name="connsiteY5850" fmla="*/ 6528554 h 7458372"/>
              <a:gd name="connsiteX5851" fmla="*/ 8529152 w 10505529"/>
              <a:gd name="connsiteY5851" fmla="*/ 6531083 h 7458372"/>
              <a:gd name="connsiteX5852" fmla="*/ 8538470 w 10505529"/>
              <a:gd name="connsiteY5852" fmla="*/ 6537473 h 7458372"/>
              <a:gd name="connsiteX5853" fmla="*/ 8544594 w 10505529"/>
              <a:gd name="connsiteY5853" fmla="*/ 6546791 h 7458372"/>
              <a:gd name="connsiteX5854" fmla="*/ 8546857 w 10505529"/>
              <a:gd name="connsiteY5854" fmla="*/ 6558239 h 7458372"/>
              <a:gd name="connsiteX5855" fmla="*/ 8544594 w 10505529"/>
              <a:gd name="connsiteY5855" fmla="*/ 6569954 h 7458372"/>
              <a:gd name="connsiteX5856" fmla="*/ 8538470 w 10505529"/>
              <a:gd name="connsiteY5856" fmla="*/ 6579272 h 7458372"/>
              <a:gd name="connsiteX5857" fmla="*/ 8529152 w 10505529"/>
              <a:gd name="connsiteY5857" fmla="*/ 6585529 h 7458372"/>
              <a:gd name="connsiteX5858" fmla="*/ 8517438 w 10505529"/>
              <a:gd name="connsiteY5858" fmla="*/ 6587792 h 7458372"/>
              <a:gd name="connsiteX5859" fmla="*/ 8495606 w 10505529"/>
              <a:gd name="connsiteY5859" fmla="*/ 6579272 h 7458372"/>
              <a:gd name="connsiteX5860" fmla="*/ 8487220 w 10505529"/>
              <a:gd name="connsiteY5860" fmla="*/ 6558106 h 7458372"/>
              <a:gd name="connsiteX5861" fmla="*/ 8495606 w 10505529"/>
              <a:gd name="connsiteY5861" fmla="*/ 6537074 h 7458372"/>
              <a:gd name="connsiteX5862" fmla="*/ 8517438 w 10505529"/>
              <a:gd name="connsiteY5862" fmla="*/ 6528554 h 7458372"/>
              <a:gd name="connsiteX5863" fmla="*/ 8299793 w 10505529"/>
              <a:gd name="connsiteY5863" fmla="*/ 6528554 h 7458372"/>
              <a:gd name="connsiteX5864" fmla="*/ 8311507 w 10505529"/>
              <a:gd name="connsiteY5864" fmla="*/ 6531083 h 7458372"/>
              <a:gd name="connsiteX5865" fmla="*/ 8320825 w 10505529"/>
              <a:gd name="connsiteY5865" fmla="*/ 6537473 h 7458372"/>
              <a:gd name="connsiteX5866" fmla="*/ 8326948 w 10505529"/>
              <a:gd name="connsiteY5866" fmla="*/ 6546791 h 7458372"/>
              <a:gd name="connsiteX5867" fmla="*/ 8329212 w 10505529"/>
              <a:gd name="connsiteY5867" fmla="*/ 6558239 h 7458372"/>
              <a:gd name="connsiteX5868" fmla="*/ 8326948 w 10505529"/>
              <a:gd name="connsiteY5868" fmla="*/ 6569954 h 7458372"/>
              <a:gd name="connsiteX5869" fmla="*/ 8320825 w 10505529"/>
              <a:gd name="connsiteY5869" fmla="*/ 6579272 h 7458372"/>
              <a:gd name="connsiteX5870" fmla="*/ 8311507 w 10505529"/>
              <a:gd name="connsiteY5870" fmla="*/ 6585529 h 7458372"/>
              <a:gd name="connsiteX5871" fmla="*/ 8299793 w 10505529"/>
              <a:gd name="connsiteY5871" fmla="*/ 6587792 h 7458372"/>
              <a:gd name="connsiteX5872" fmla="*/ 8277960 w 10505529"/>
              <a:gd name="connsiteY5872" fmla="*/ 6579272 h 7458372"/>
              <a:gd name="connsiteX5873" fmla="*/ 8269574 w 10505529"/>
              <a:gd name="connsiteY5873" fmla="*/ 6558106 h 7458372"/>
              <a:gd name="connsiteX5874" fmla="*/ 8277960 w 10505529"/>
              <a:gd name="connsiteY5874" fmla="*/ 6537074 h 7458372"/>
              <a:gd name="connsiteX5875" fmla="*/ 8299793 w 10505529"/>
              <a:gd name="connsiteY5875" fmla="*/ 6528554 h 7458372"/>
              <a:gd name="connsiteX5876" fmla="*/ 8082281 w 10505529"/>
              <a:gd name="connsiteY5876" fmla="*/ 6528554 h 7458372"/>
              <a:gd name="connsiteX5877" fmla="*/ 8094127 w 10505529"/>
              <a:gd name="connsiteY5877" fmla="*/ 6531083 h 7458372"/>
              <a:gd name="connsiteX5878" fmla="*/ 8103446 w 10505529"/>
              <a:gd name="connsiteY5878" fmla="*/ 6537473 h 7458372"/>
              <a:gd name="connsiteX5879" fmla="*/ 8109569 w 10505529"/>
              <a:gd name="connsiteY5879" fmla="*/ 6546791 h 7458372"/>
              <a:gd name="connsiteX5880" fmla="*/ 8111832 w 10505529"/>
              <a:gd name="connsiteY5880" fmla="*/ 6558239 h 7458372"/>
              <a:gd name="connsiteX5881" fmla="*/ 8109569 w 10505529"/>
              <a:gd name="connsiteY5881" fmla="*/ 6569954 h 7458372"/>
              <a:gd name="connsiteX5882" fmla="*/ 8103446 w 10505529"/>
              <a:gd name="connsiteY5882" fmla="*/ 6579272 h 7458372"/>
              <a:gd name="connsiteX5883" fmla="*/ 8094127 w 10505529"/>
              <a:gd name="connsiteY5883" fmla="*/ 6585529 h 7458372"/>
              <a:gd name="connsiteX5884" fmla="*/ 8082281 w 10505529"/>
              <a:gd name="connsiteY5884" fmla="*/ 6587792 h 7458372"/>
              <a:gd name="connsiteX5885" fmla="*/ 8060448 w 10505529"/>
              <a:gd name="connsiteY5885" fmla="*/ 6579272 h 7458372"/>
              <a:gd name="connsiteX5886" fmla="*/ 8052062 w 10505529"/>
              <a:gd name="connsiteY5886" fmla="*/ 6558106 h 7458372"/>
              <a:gd name="connsiteX5887" fmla="*/ 8060448 w 10505529"/>
              <a:gd name="connsiteY5887" fmla="*/ 6537074 h 7458372"/>
              <a:gd name="connsiteX5888" fmla="*/ 8082281 w 10505529"/>
              <a:gd name="connsiteY5888" fmla="*/ 6528554 h 7458372"/>
              <a:gd name="connsiteX5889" fmla="*/ 7864636 w 10505529"/>
              <a:gd name="connsiteY5889" fmla="*/ 6528554 h 7458372"/>
              <a:gd name="connsiteX5890" fmla="*/ 7876483 w 10505529"/>
              <a:gd name="connsiteY5890" fmla="*/ 6531083 h 7458372"/>
              <a:gd name="connsiteX5891" fmla="*/ 7885802 w 10505529"/>
              <a:gd name="connsiteY5891" fmla="*/ 6537473 h 7458372"/>
              <a:gd name="connsiteX5892" fmla="*/ 7891924 w 10505529"/>
              <a:gd name="connsiteY5892" fmla="*/ 6546791 h 7458372"/>
              <a:gd name="connsiteX5893" fmla="*/ 7894188 w 10505529"/>
              <a:gd name="connsiteY5893" fmla="*/ 6558239 h 7458372"/>
              <a:gd name="connsiteX5894" fmla="*/ 7891924 w 10505529"/>
              <a:gd name="connsiteY5894" fmla="*/ 6569954 h 7458372"/>
              <a:gd name="connsiteX5895" fmla="*/ 7885802 w 10505529"/>
              <a:gd name="connsiteY5895" fmla="*/ 6579272 h 7458372"/>
              <a:gd name="connsiteX5896" fmla="*/ 7876483 w 10505529"/>
              <a:gd name="connsiteY5896" fmla="*/ 6585529 h 7458372"/>
              <a:gd name="connsiteX5897" fmla="*/ 7864636 w 10505529"/>
              <a:gd name="connsiteY5897" fmla="*/ 6587792 h 7458372"/>
              <a:gd name="connsiteX5898" fmla="*/ 7842803 w 10505529"/>
              <a:gd name="connsiteY5898" fmla="*/ 6579272 h 7458372"/>
              <a:gd name="connsiteX5899" fmla="*/ 7834417 w 10505529"/>
              <a:gd name="connsiteY5899" fmla="*/ 6558106 h 7458372"/>
              <a:gd name="connsiteX5900" fmla="*/ 7842803 w 10505529"/>
              <a:gd name="connsiteY5900" fmla="*/ 6537074 h 7458372"/>
              <a:gd name="connsiteX5901" fmla="*/ 7864636 w 10505529"/>
              <a:gd name="connsiteY5901" fmla="*/ 6528554 h 7458372"/>
              <a:gd name="connsiteX5902" fmla="*/ 7646991 w 10505529"/>
              <a:gd name="connsiteY5902" fmla="*/ 6528554 h 7458372"/>
              <a:gd name="connsiteX5903" fmla="*/ 7658705 w 10505529"/>
              <a:gd name="connsiteY5903" fmla="*/ 6531083 h 7458372"/>
              <a:gd name="connsiteX5904" fmla="*/ 7668022 w 10505529"/>
              <a:gd name="connsiteY5904" fmla="*/ 6537473 h 7458372"/>
              <a:gd name="connsiteX5905" fmla="*/ 7674146 w 10505529"/>
              <a:gd name="connsiteY5905" fmla="*/ 6546791 h 7458372"/>
              <a:gd name="connsiteX5906" fmla="*/ 7676409 w 10505529"/>
              <a:gd name="connsiteY5906" fmla="*/ 6558239 h 7458372"/>
              <a:gd name="connsiteX5907" fmla="*/ 7674146 w 10505529"/>
              <a:gd name="connsiteY5907" fmla="*/ 6569954 h 7458372"/>
              <a:gd name="connsiteX5908" fmla="*/ 7668022 w 10505529"/>
              <a:gd name="connsiteY5908" fmla="*/ 6579272 h 7458372"/>
              <a:gd name="connsiteX5909" fmla="*/ 7658705 w 10505529"/>
              <a:gd name="connsiteY5909" fmla="*/ 6585529 h 7458372"/>
              <a:gd name="connsiteX5910" fmla="*/ 7646991 w 10505529"/>
              <a:gd name="connsiteY5910" fmla="*/ 6587792 h 7458372"/>
              <a:gd name="connsiteX5911" fmla="*/ 7625158 w 10505529"/>
              <a:gd name="connsiteY5911" fmla="*/ 6579272 h 7458372"/>
              <a:gd name="connsiteX5912" fmla="*/ 7616772 w 10505529"/>
              <a:gd name="connsiteY5912" fmla="*/ 6558106 h 7458372"/>
              <a:gd name="connsiteX5913" fmla="*/ 7625158 w 10505529"/>
              <a:gd name="connsiteY5913" fmla="*/ 6537074 h 7458372"/>
              <a:gd name="connsiteX5914" fmla="*/ 7646991 w 10505529"/>
              <a:gd name="connsiteY5914" fmla="*/ 6528554 h 7458372"/>
              <a:gd name="connsiteX5915" fmla="*/ 7429345 w 10505529"/>
              <a:gd name="connsiteY5915" fmla="*/ 6528554 h 7458372"/>
              <a:gd name="connsiteX5916" fmla="*/ 7441059 w 10505529"/>
              <a:gd name="connsiteY5916" fmla="*/ 6531083 h 7458372"/>
              <a:gd name="connsiteX5917" fmla="*/ 7450377 w 10505529"/>
              <a:gd name="connsiteY5917" fmla="*/ 6537473 h 7458372"/>
              <a:gd name="connsiteX5918" fmla="*/ 7456501 w 10505529"/>
              <a:gd name="connsiteY5918" fmla="*/ 6546791 h 7458372"/>
              <a:gd name="connsiteX5919" fmla="*/ 7458764 w 10505529"/>
              <a:gd name="connsiteY5919" fmla="*/ 6558239 h 7458372"/>
              <a:gd name="connsiteX5920" fmla="*/ 7456501 w 10505529"/>
              <a:gd name="connsiteY5920" fmla="*/ 6569954 h 7458372"/>
              <a:gd name="connsiteX5921" fmla="*/ 7450377 w 10505529"/>
              <a:gd name="connsiteY5921" fmla="*/ 6579272 h 7458372"/>
              <a:gd name="connsiteX5922" fmla="*/ 7441059 w 10505529"/>
              <a:gd name="connsiteY5922" fmla="*/ 6585529 h 7458372"/>
              <a:gd name="connsiteX5923" fmla="*/ 7429345 w 10505529"/>
              <a:gd name="connsiteY5923" fmla="*/ 6587792 h 7458372"/>
              <a:gd name="connsiteX5924" fmla="*/ 7407513 w 10505529"/>
              <a:gd name="connsiteY5924" fmla="*/ 6579272 h 7458372"/>
              <a:gd name="connsiteX5925" fmla="*/ 7399127 w 10505529"/>
              <a:gd name="connsiteY5925" fmla="*/ 6558106 h 7458372"/>
              <a:gd name="connsiteX5926" fmla="*/ 7407513 w 10505529"/>
              <a:gd name="connsiteY5926" fmla="*/ 6537074 h 7458372"/>
              <a:gd name="connsiteX5927" fmla="*/ 7429345 w 10505529"/>
              <a:gd name="connsiteY5927" fmla="*/ 6528554 h 7458372"/>
              <a:gd name="connsiteX5928" fmla="*/ 7211701 w 10505529"/>
              <a:gd name="connsiteY5928" fmla="*/ 6528554 h 7458372"/>
              <a:gd name="connsiteX5929" fmla="*/ 7223415 w 10505529"/>
              <a:gd name="connsiteY5929" fmla="*/ 6531083 h 7458372"/>
              <a:gd name="connsiteX5930" fmla="*/ 7232733 w 10505529"/>
              <a:gd name="connsiteY5930" fmla="*/ 6537473 h 7458372"/>
              <a:gd name="connsiteX5931" fmla="*/ 7238856 w 10505529"/>
              <a:gd name="connsiteY5931" fmla="*/ 6546791 h 7458372"/>
              <a:gd name="connsiteX5932" fmla="*/ 7241120 w 10505529"/>
              <a:gd name="connsiteY5932" fmla="*/ 6558239 h 7458372"/>
              <a:gd name="connsiteX5933" fmla="*/ 7238856 w 10505529"/>
              <a:gd name="connsiteY5933" fmla="*/ 6569954 h 7458372"/>
              <a:gd name="connsiteX5934" fmla="*/ 7232733 w 10505529"/>
              <a:gd name="connsiteY5934" fmla="*/ 6579272 h 7458372"/>
              <a:gd name="connsiteX5935" fmla="*/ 7223415 w 10505529"/>
              <a:gd name="connsiteY5935" fmla="*/ 6585529 h 7458372"/>
              <a:gd name="connsiteX5936" fmla="*/ 7211701 w 10505529"/>
              <a:gd name="connsiteY5936" fmla="*/ 6587792 h 7458372"/>
              <a:gd name="connsiteX5937" fmla="*/ 7189868 w 10505529"/>
              <a:gd name="connsiteY5937" fmla="*/ 6579272 h 7458372"/>
              <a:gd name="connsiteX5938" fmla="*/ 7181482 w 10505529"/>
              <a:gd name="connsiteY5938" fmla="*/ 6558106 h 7458372"/>
              <a:gd name="connsiteX5939" fmla="*/ 7189868 w 10505529"/>
              <a:gd name="connsiteY5939" fmla="*/ 6537074 h 7458372"/>
              <a:gd name="connsiteX5940" fmla="*/ 7211701 w 10505529"/>
              <a:gd name="connsiteY5940" fmla="*/ 6528554 h 7458372"/>
              <a:gd name="connsiteX5941" fmla="*/ 6994056 w 10505529"/>
              <a:gd name="connsiteY5941" fmla="*/ 6528554 h 7458372"/>
              <a:gd name="connsiteX5942" fmla="*/ 7005769 w 10505529"/>
              <a:gd name="connsiteY5942" fmla="*/ 6531083 h 7458372"/>
              <a:gd name="connsiteX5943" fmla="*/ 7015087 w 10505529"/>
              <a:gd name="connsiteY5943" fmla="*/ 6537473 h 7458372"/>
              <a:gd name="connsiteX5944" fmla="*/ 7021211 w 10505529"/>
              <a:gd name="connsiteY5944" fmla="*/ 6546791 h 7458372"/>
              <a:gd name="connsiteX5945" fmla="*/ 7023474 w 10505529"/>
              <a:gd name="connsiteY5945" fmla="*/ 6558239 h 7458372"/>
              <a:gd name="connsiteX5946" fmla="*/ 7021211 w 10505529"/>
              <a:gd name="connsiteY5946" fmla="*/ 6569954 h 7458372"/>
              <a:gd name="connsiteX5947" fmla="*/ 7015087 w 10505529"/>
              <a:gd name="connsiteY5947" fmla="*/ 6579272 h 7458372"/>
              <a:gd name="connsiteX5948" fmla="*/ 7005769 w 10505529"/>
              <a:gd name="connsiteY5948" fmla="*/ 6585529 h 7458372"/>
              <a:gd name="connsiteX5949" fmla="*/ 6994056 w 10505529"/>
              <a:gd name="connsiteY5949" fmla="*/ 6587792 h 7458372"/>
              <a:gd name="connsiteX5950" fmla="*/ 6972223 w 10505529"/>
              <a:gd name="connsiteY5950" fmla="*/ 6579272 h 7458372"/>
              <a:gd name="connsiteX5951" fmla="*/ 6963837 w 10505529"/>
              <a:gd name="connsiteY5951" fmla="*/ 6558106 h 7458372"/>
              <a:gd name="connsiteX5952" fmla="*/ 6972223 w 10505529"/>
              <a:gd name="connsiteY5952" fmla="*/ 6537074 h 7458372"/>
              <a:gd name="connsiteX5953" fmla="*/ 6994056 w 10505529"/>
              <a:gd name="connsiteY5953" fmla="*/ 6528554 h 7458372"/>
              <a:gd name="connsiteX5954" fmla="*/ 6776544 w 10505529"/>
              <a:gd name="connsiteY5954" fmla="*/ 6528554 h 7458372"/>
              <a:gd name="connsiteX5955" fmla="*/ 6788258 w 10505529"/>
              <a:gd name="connsiteY5955" fmla="*/ 6531083 h 7458372"/>
              <a:gd name="connsiteX5956" fmla="*/ 6797576 w 10505529"/>
              <a:gd name="connsiteY5956" fmla="*/ 6537473 h 7458372"/>
              <a:gd name="connsiteX5957" fmla="*/ 6803699 w 10505529"/>
              <a:gd name="connsiteY5957" fmla="*/ 6546791 h 7458372"/>
              <a:gd name="connsiteX5958" fmla="*/ 6805963 w 10505529"/>
              <a:gd name="connsiteY5958" fmla="*/ 6558239 h 7458372"/>
              <a:gd name="connsiteX5959" fmla="*/ 6803699 w 10505529"/>
              <a:gd name="connsiteY5959" fmla="*/ 6569954 h 7458372"/>
              <a:gd name="connsiteX5960" fmla="*/ 6797576 w 10505529"/>
              <a:gd name="connsiteY5960" fmla="*/ 6579272 h 7458372"/>
              <a:gd name="connsiteX5961" fmla="*/ 6788258 w 10505529"/>
              <a:gd name="connsiteY5961" fmla="*/ 6585529 h 7458372"/>
              <a:gd name="connsiteX5962" fmla="*/ 6776544 w 10505529"/>
              <a:gd name="connsiteY5962" fmla="*/ 6587792 h 7458372"/>
              <a:gd name="connsiteX5963" fmla="*/ 6754711 w 10505529"/>
              <a:gd name="connsiteY5963" fmla="*/ 6579272 h 7458372"/>
              <a:gd name="connsiteX5964" fmla="*/ 6746325 w 10505529"/>
              <a:gd name="connsiteY5964" fmla="*/ 6558106 h 7458372"/>
              <a:gd name="connsiteX5965" fmla="*/ 6754711 w 10505529"/>
              <a:gd name="connsiteY5965" fmla="*/ 6537074 h 7458372"/>
              <a:gd name="connsiteX5966" fmla="*/ 6776544 w 10505529"/>
              <a:gd name="connsiteY5966" fmla="*/ 6528554 h 7458372"/>
              <a:gd name="connsiteX5967" fmla="*/ 6558899 w 10505529"/>
              <a:gd name="connsiteY5967" fmla="*/ 6528554 h 7458372"/>
              <a:gd name="connsiteX5968" fmla="*/ 6570612 w 10505529"/>
              <a:gd name="connsiteY5968" fmla="*/ 6531083 h 7458372"/>
              <a:gd name="connsiteX5969" fmla="*/ 6579930 w 10505529"/>
              <a:gd name="connsiteY5969" fmla="*/ 6537473 h 7458372"/>
              <a:gd name="connsiteX5970" fmla="*/ 6586054 w 10505529"/>
              <a:gd name="connsiteY5970" fmla="*/ 6546791 h 7458372"/>
              <a:gd name="connsiteX5971" fmla="*/ 6588317 w 10505529"/>
              <a:gd name="connsiteY5971" fmla="*/ 6558239 h 7458372"/>
              <a:gd name="connsiteX5972" fmla="*/ 6586054 w 10505529"/>
              <a:gd name="connsiteY5972" fmla="*/ 6569954 h 7458372"/>
              <a:gd name="connsiteX5973" fmla="*/ 6579930 w 10505529"/>
              <a:gd name="connsiteY5973" fmla="*/ 6579272 h 7458372"/>
              <a:gd name="connsiteX5974" fmla="*/ 6570612 w 10505529"/>
              <a:gd name="connsiteY5974" fmla="*/ 6585529 h 7458372"/>
              <a:gd name="connsiteX5975" fmla="*/ 6558899 w 10505529"/>
              <a:gd name="connsiteY5975" fmla="*/ 6587792 h 7458372"/>
              <a:gd name="connsiteX5976" fmla="*/ 6537066 w 10505529"/>
              <a:gd name="connsiteY5976" fmla="*/ 6579272 h 7458372"/>
              <a:gd name="connsiteX5977" fmla="*/ 6528680 w 10505529"/>
              <a:gd name="connsiteY5977" fmla="*/ 6558106 h 7458372"/>
              <a:gd name="connsiteX5978" fmla="*/ 6537066 w 10505529"/>
              <a:gd name="connsiteY5978" fmla="*/ 6537074 h 7458372"/>
              <a:gd name="connsiteX5979" fmla="*/ 6558899 w 10505529"/>
              <a:gd name="connsiteY5979" fmla="*/ 6528554 h 7458372"/>
              <a:gd name="connsiteX5980" fmla="*/ 6341253 w 10505529"/>
              <a:gd name="connsiteY5980" fmla="*/ 6528554 h 7458372"/>
              <a:gd name="connsiteX5981" fmla="*/ 6352968 w 10505529"/>
              <a:gd name="connsiteY5981" fmla="*/ 6531083 h 7458372"/>
              <a:gd name="connsiteX5982" fmla="*/ 6362286 w 10505529"/>
              <a:gd name="connsiteY5982" fmla="*/ 6537473 h 7458372"/>
              <a:gd name="connsiteX5983" fmla="*/ 6368409 w 10505529"/>
              <a:gd name="connsiteY5983" fmla="*/ 6546791 h 7458372"/>
              <a:gd name="connsiteX5984" fmla="*/ 6370672 w 10505529"/>
              <a:gd name="connsiteY5984" fmla="*/ 6558239 h 7458372"/>
              <a:gd name="connsiteX5985" fmla="*/ 6368409 w 10505529"/>
              <a:gd name="connsiteY5985" fmla="*/ 6569954 h 7458372"/>
              <a:gd name="connsiteX5986" fmla="*/ 6362286 w 10505529"/>
              <a:gd name="connsiteY5986" fmla="*/ 6579272 h 7458372"/>
              <a:gd name="connsiteX5987" fmla="*/ 6352968 w 10505529"/>
              <a:gd name="connsiteY5987" fmla="*/ 6585529 h 7458372"/>
              <a:gd name="connsiteX5988" fmla="*/ 6341253 w 10505529"/>
              <a:gd name="connsiteY5988" fmla="*/ 6587792 h 7458372"/>
              <a:gd name="connsiteX5989" fmla="*/ 6319421 w 10505529"/>
              <a:gd name="connsiteY5989" fmla="*/ 6579272 h 7458372"/>
              <a:gd name="connsiteX5990" fmla="*/ 6311035 w 10505529"/>
              <a:gd name="connsiteY5990" fmla="*/ 6558106 h 7458372"/>
              <a:gd name="connsiteX5991" fmla="*/ 6319421 w 10505529"/>
              <a:gd name="connsiteY5991" fmla="*/ 6537074 h 7458372"/>
              <a:gd name="connsiteX5992" fmla="*/ 6341253 w 10505529"/>
              <a:gd name="connsiteY5992" fmla="*/ 6528554 h 7458372"/>
              <a:gd name="connsiteX5993" fmla="*/ 6123608 w 10505529"/>
              <a:gd name="connsiteY5993" fmla="*/ 6528554 h 7458372"/>
              <a:gd name="connsiteX5994" fmla="*/ 6135322 w 10505529"/>
              <a:gd name="connsiteY5994" fmla="*/ 6531083 h 7458372"/>
              <a:gd name="connsiteX5995" fmla="*/ 6144640 w 10505529"/>
              <a:gd name="connsiteY5995" fmla="*/ 6537473 h 7458372"/>
              <a:gd name="connsiteX5996" fmla="*/ 6150763 w 10505529"/>
              <a:gd name="connsiteY5996" fmla="*/ 6546791 h 7458372"/>
              <a:gd name="connsiteX5997" fmla="*/ 6153026 w 10505529"/>
              <a:gd name="connsiteY5997" fmla="*/ 6558239 h 7458372"/>
              <a:gd name="connsiteX5998" fmla="*/ 6150763 w 10505529"/>
              <a:gd name="connsiteY5998" fmla="*/ 6569954 h 7458372"/>
              <a:gd name="connsiteX5999" fmla="*/ 6144640 w 10505529"/>
              <a:gd name="connsiteY5999" fmla="*/ 6579272 h 7458372"/>
              <a:gd name="connsiteX6000" fmla="*/ 6135322 w 10505529"/>
              <a:gd name="connsiteY6000" fmla="*/ 6585529 h 7458372"/>
              <a:gd name="connsiteX6001" fmla="*/ 6123608 w 10505529"/>
              <a:gd name="connsiteY6001" fmla="*/ 6587792 h 7458372"/>
              <a:gd name="connsiteX6002" fmla="*/ 6101775 w 10505529"/>
              <a:gd name="connsiteY6002" fmla="*/ 6579272 h 7458372"/>
              <a:gd name="connsiteX6003" fmla="*/ 6093389 w 10505529"/>
              <a:gd name="connsiteY6003" fmla="*/ 6558106 h 7458372"/>
              <a:gd name="connsiteX6004" fmla="*/ 6101775 w 10505529"/>
              <a:gd name="connsiteY6004" fmla="*/ 6537074 h 7458372"/>
              <a:gd name="connsiteX6005" fmla="*/ 6123608 w 10505529"/>
              <a:gd name="connsiteY6005" fmla="*/ 6528554 h 7458372"/>
              <a:gd name="connsiteX6006" fmla="*/ 5905963 w 10505529"/>
              <a:gd name="connsiteY6006" fmla="*/ 6528554 h 7458372"/>
              <a:gd name="connsiteX6007" fmla="*/ 5917677 w 10505529"/>
              <a:gd name="connsiteY6007" fmla="*/ 6531083 h 7458372"/>
              <a:gd name="connsiteX6008" fmla="*/ 5926995 w 10505529"/>
              <a:gd name="connsiteY6008" fmla="*/ 6537473 h 7458372"/>
              <a:gd name="connsiteX6009" fmla="*/ 5933118 w 10505529"/>
              <a:gd name="connsiteY6009" fmla="*/ 6546791 h 7458372"/>
              <a:gd name="connsiteX6010" fmla="*/ 5935381 w 10505529"/>
              <a:gd name="connsiteY6010" fmla="*/ 6558239 h 7458372"/>
              <a:gd name="connsiteX6011" fmla="*/ 5933118 w 10505529"/>
              <a:gd name="connsiteY6011" fmla="*/ 6569954 h 7458372"/>
              <a:gd name="connsiteX6012" fmla="*/ 5926995 w 10505529"/>
              <a:gd name="connsiteY6012" fmla="*/ 6579272 h 7458372"/>
              <a:gd name="connsiteX6013" fmla="*/ 5917677 w 10505529"/>
              <a:gd name="connsiteY6013" fmla="*/ 6585529 h 7458372"/>
              <a:gd name="connsiteX6014" fmla="*/ 5905963 w 10505529"/>
              <a:gd name="connsiteY6014" fmla="*/ 6587792 h 7458372"/>
              <a:gd name="connsiteX6015" fmla="*/ 5884130 w 10505529"/>
              <a:gd name="connsiteY6015" fmla="*/ 6579272 h 7458372"/>
              <a:gd name="connsiteX6016" fmla="*/ 5875744 w 10505529"/>
              <a:gd name="connsiteY6016" fmla="*/ 6558106 h 7458372"/>
              <a:gd name="connsiteX6017" fmla="*/ 5884130 w 10505529"/>
              <a:gd name="connsiteY6017" fmla="*/ 6537074 h 7458372"/>
              <a:gd name="connsiteX6018" fmla="*/ 5905963 w 10505529"/>
              <a:gd name="connsiteY6018" fmla="*/ 6528554 h 7458372"/>
              <a:gd name="connsiteX6019" fmla="*/ 5688451 w 10505529"/>
              <a:gd name="connsiteY6019" fmla="*/ 6528554 h 7458372"/>
              <a:gd name="connsiteX6020" fmla="*/ 5700165 w 10505529"/>
              <a:gd name="connsiteY6020" fmla="*/ 6531083 h 7458372"/>
              <a:gd name="connsiteX6021" fmla="*/ 5709483 w 10505529"/>
              <a:gd name="connsiteY6021" fmla="*/ 6537473 h 7458372"/>
              <a:gd name="connsiteX6022" fmla="*/ 5715606 w 10505529"/>
              <a:gd name="connsiteY6022" fmla="*/ 6546791 h 7458372"/>
              <a:gd name="connsiteX6023" fmla="*/ 5717869 w 10505529"/>
              <a:gd name="connsiteY6023" fmla="*/ 6558239 h 7458372"/>
              <a:gd name="connsiteX6024" fmla="*/ 5715606 w 10505529"/>
              <a:gd name="connsiteY6024" fmla="*/ 6569954 h 7458372"/>
              <a:gd name="connsiteX6025" fmla="*/ 5709483 w 10505529"/>
              <a:gd name="connsiteY6025" fmla="*/ 6579272 h 7458372"/>
              <a:gd name="connsiteX6026" fmla="*/ 5700165 w 10505529"/>
              <a:gd name="connsiteY6026" fmla="*/ 6585529 h 7458372"/>
              <a:gd name="connsiteX6027" fmla="*/ 5688451 w 10505529"/>
              <a:gd name="connsiteY6027" fmla="*/ 6587792 h 7458372"/>
              <a:gd name="connsiteX6028" fmla="*/ 5666618 w 10505529"/>
              <a:gd name="connsiteY6028" fmla="*/ 6579272 h 7458372"/>
              <a:gd name="connsiteX6029" fmla="*/ 5658232 w 10505529"/>
              <a:gd name="connsiteY6029" fmla="*/ 6558106 h 7458372"/>
              <a:gd name="connsiteX6030" fmla="*/ 5666618 w 10505529"/>
              <a:gd name="connsiteY6030" fmla="*/ 6537074 h 7458372"/>
              <a:gd name="connsiteX6031" fmla="*/ 5688451 w 10505529"/>
              <a:gd name="connsiteY6031" fmla="*/ 6528554 h 7458372"/>
              <a:gd name="connsiteX6032" fmla="*/ 5470806 w 10505529"/>
              <a:gd name="connsiteY6032" fmla="*/ 6528554 h 7458372"/>
              <a:gd name="connsiteX6033" fmla="*/ 5482520 w 10505529"/>
              <a:gd name="connsiteY6033" fmla="*/ 6531083 h 7458372"/>
              <a:gd name="connsiteX6034" fmla="*/ 5491838 w 10505529"/>
              <a:gd name="connsiteY6034" fmla="*/ 6537473 h 7458372"/>
              <a:gd name="connsiteX6035" fmla="*/ 5497961 w 10505529"/>
              <a:gd name="connsiteY6035" fmla="*/ 6546791 h 7458372"/>
              <a:gd name="connsiteX6036" fmla="*/ 5500224 w 10505529"/>
              <a:gd name="connsiteY6036" fmla="*/ 6558239 h 7458372"/>
              <a:gd name="connsiteX6037" fmla="*/ 5497961 w 10505529"/>
              <a:gd name="connsiteY6037" fmla="*/ 6569954 h 7458372"/>
              <a:gd name="connsiteX6038" fmla="*/ 5491838 w 10505529"/>
              <a:gd name="connsiteY6038" fmla="*/ 6579272 h 7458372"/>
              <a:gd name="connsiteX6039" fmla="*/ 5482520 w 10505529"/>
              <a:gd name="connsiteY6039" fmla="*/ 6585529 h 7458372"/>
              <a:gd name="connsiteX6040" fmla="*/ 5470806 w 10505529"/>
              <a:gd name="connsiteY6040" fmla="*/ 6587792 h 7458372"/>
              <a:gd name="connsiteX6041" fmla="*/ 5448973 w 10505529"/>
              <a:gd name="connsiteY6041" fmla="*/ 6579272 h 7458372"/>
              <a:gd name="connsiteX6042" fmla="*/ 5440587 w 10505529"/>
              <a:gd name="connsiteY6042" fmla="*/ 6558106 h 7458372"/>
              <a:gd name="connsiteX6043" fmla="*/ 5448973 w 10505529"/>
              <a:gd name="connsiteY6043" fmla="*/ 6537074 h 7458372"/>
              <a:gd name="connsiteX6044" fmla="*/ 5470806 w 10505529"/>
              <a:gd name="connsiteY6044" fmla="*/ 6528554 h 7458372"/>
              <a:gd name="connsiteX6045" fmla="*/ 5253160 w 10505529"/>
              <a:gd name="connsiteY6045" fmla="*/ 6528554 h 7458372"/>
              <a:gd name="connsiteX6046" fmla="*/ 5264875 w 10505529"/>
              <a:gd name="connsiteY6046" fmla="*/ 6531083 h 7458372"/>
              <a:gd name="connsiteX6047" fmla="*/ 5274192 w 10505529"/>
              <a:gd name="connsiteY6047" fmla="*/ 6537473 h 7458372"/>
              <a:gd name="connsiteX6048" fmla="*/ 5280316 w 10505529"/>
              <a:gd name="connsiteY6048" fmla="*/ 6546791 h 7458372"/>
              <a:gd name="connsiteX6049" fmla="*/ 5282579 w 10505529"/>
              <a:gd name="connsiteY6049" fmla="*/ 6558239 h 7458372"/>
              <a:gd name="connsiteX6050" fmla="*/ 5280316 w 10505529"/>
              <a:gd name="connsiteY6050" fmla="*/ 6569954 h 7458372"/>
              <a:gd name="connsiteX6051" fmla="*/ 5274192 w 10505529"/>
              <a:gd name="connsiteY6051" fmla="*/ 6579272 h 7458372"/>
              <a:gd name="connsiteX6052" fmla="*/ 5264875 w 10505529"/>
              <a:gd name="connsiteY6052" fmla="*/ 6585529 h 7458372"/>
              <a:gd name="connsiteX6053" fmla="*/ 5253160 w 10505529"/>
              <a:gd name="connsiteY6053" fmla="*/ 6587792 h 7458372"/>
              <a:gd name="connsiteX6054" fmla="*/ 5231328 w 10505529"/>
              <a:gd name="connsiteY6054" fmla="*/ 6579272 h 7458372"/>
              <a:gd name="connsiteX6055" fmla="*/ 5222942 w 10505529"/>
              <a:gd name="connsiteY6055" fmla="*/ 6558106 h 7458372"/>
              <a:gd name="connsiteX6056" fmla="*/ 5231328 w 10505529"/>
              <a:gd name="connsiteY6056" fmla="*/ 6537074 h 7458372"/>
              <a:gd name="connsiteX6057" fmla="*/ 5253160 w 10505529"/>
              <a:gd name="connsiteY6057" fmla="*/ 6528554 h 7458372"/>
              <a:gd name="connsiteX6058" fmla="*/ 5035515 w 10505529"/>
              <a:gd name="connsiteY6058" fmla="*/ 6528554 h 7458372"/>
              <a:gd name="connsiteX6059" fmla="*/ 5047230 w 10505529"/>
              <a:gd name="connsiteY6059" fmla="*/ 6531083 h 7458372"/>
              <a:gd name="connsiteX6060" fmla="*/ 5056548 w 10505529"/>
              <a:gd name="connsiteY6060" fmla="*/ 6537473 h 7458372"/>
              <a:gd name="connsiteX6061" fmla="*/ 5062671 w 10505529"/>
              <a:gd name="connsiteY6061" fmla="*/ 6546791 h 7458372"/>
              <a:gd name="connsiteX6062" fmla="*/ 5064934 w 10505529"/>
              <a:gd name="connsiteY6062" fmla="*/ 6558239 h 7458372"/>
              <a:gd name="connsiteX6063" fmla="*/ 5062671 w 10505529"/>
              <a:gd name="connsiteY6063" fmla="*/ 6569954 h 7458372"/>
              <a:gd name="connsiteX6064" fmla="*/ 5056548 w 10505529"/>
              <a:gd name="connsiteY6064" fmla="*/ 6579272 h 7458372"/>
              <a:gd name="connsiteX6065" fmla="*/ 5047230 w 10505529"/>
              <a:gd name="connsiteY6065" fmla="*/ 6585529 h 7458372"/>
              <a:gd name="connsiteX6066" fmla="*/ 5035515 w 10505529"/>
              <a:gd name="connsiteY6066" fmla="*/ 6587792 h 7458372"/>
              <a:gd name="connsiteX6067" fmla="*/ 5013683 w 10505529"/>
              <a:gd name="connsiteY6067" fmla="*/ 6579272 h 7458372"/>
              <a:gd name="connsiteX6068" fmla="*/ 5005297 w 10505529"/>
              <a:gd name="connsiteY6068" fmla="*/ 6558106 h 7458372"/>
              <a:gd name="connsiteX6069" fmla="*/ 5013683 w 10505529"/>
              <a:gd name="connsiteY6069" fmla="*/ 6537074 h 7458372"/>
              <a:gd name="connsiteX6070" fmla="*/ 5035515 w 10505529"/>
              <a:gd name="connsiteY6070" fmla="*/ 6528554 h 7458372"/>
              <a:gd name="connsiteX6071" fmla="*/ 4817870 w 10505529"/>
              <a:gd name="connsiteY6071" fmla="*/ 6528554 h 7458372"/>
              <a:gd name="connsiteX6072" fmla="*/ 4829585 w 10505529"/>
              <a:gd name="connsiteY6072" fmla="*/ 6531083 h 7458372"/>
              <a:gd name="connsiteX6073" fmla="*/ 4838903 w 10505529"/>
              <a:gd name="connsiteY6073" fmla="*/ 6537473 h 7458372"/>
              <a:gd name="connsiteX6074" fmla="*/ 4845026 w 10505529"/>
              <a:gd name="connsiteY6074" fmla="*/ 6546791 h 7458372"/>
              <a:gd name="connsiteX6075" fmla="*/ 4847289 w 10505529"/>
              <a:gd name="connsiteY6075" fmla="*/ 6558239 h 7458372"/>
              <a:gd name="connsiteX6076" fmla="*/ 4845026 w 10505529"/>
              <a:gd name="connsiteY6076" fmla="*/ 6569954 h 7458372"/>
              <a:gd name="connsiteX6077" fmla="*/ 4838903 w 10505529"/>
              <a:gd name="connsiteY6077" fmla="*/ 6579272 h 7458372"/>
              <a:gd name="connsiteX6078" fmla="*/ 4829585 w 10505529"/>
              <a:gd name="connsiteY6078" fmla="*/ 6585529 h 7458372"/>
              <a:gd name="connsiteX6079" fmla="*/ 4817870 w 10505529"/>
              <a:gd name="connsiteY6079" fmla="*/ 6587792 h 7458372"/>
              <a:gd name="connsiteX6080" fmla="*/ 4796038 w 10505529"/>
              <a:gd name="connsiteY6080" fmla="*/ 6579272 h 7458372"/>
              <a:gd name="connsiteX6081" fmla="*/ 4787652 w 10505529"/>
              <a:gd name="connsiteY6081" fmla="*/ 6558106 h 7458372"/>
              <a:gd name="connsiteX6082" fmla="*/ 4796038 w 10505529"/>
              <a:gd name="connsiteY6082" fmla="*/ 6537074 h 7458372"/>
              <a:gd name="connsiteX6083" fmla="*/ 4817870 w 10505529"/>
              <a:gd name="connsiteY6083" fmla="*/ 6528554 h 7458372"/>
              <a:gd name="connsiteX6084" fmla="*/ 4600226 w 10505529"/>
              <a:gd name="connsiteY6084" fmla="*/ 6528554 h 7458372"/>
              <a:gd name="connsiteX6085" fmla="*/ 4612073 w 10505529"/>
              <a:gd name="connsiteY6085" fmla="*/ 6531083 h 7458372"/>
              <a:gd name="connsiteX6086" fmla="*/ 4621391 w 10505529"/>
              <a:gd name="connsiteY6086" fmla="*/ 6537473 h 7458372"/>
              <a:gd name="connsiteX6087" fmla="*/ 4627514 w 10505529"/>
              <a:gd name="connsiteY6087" fmla="*/ 6546791 h 7458372"/>
              <a:gd name="connsiteX6088" fmla="*/ 4629777 w 10505529"/>
              <a:gd name="connsiteY6088" fmla="*/ 6558239 h 7458372"/>
              <a:gd name="connsiteX6089" fmla="*/ 4627514 w 10505529"/>
              <a:gd name="connsiteY6089" fmla="*/ 6569954 h 7458372"/>
              <a:gd name="connsiteX6090" fmla="*/ 4621391 w 10505529"/>
              <a:gd name="connsiteY6090" fmla="*/ 6579272 h 7458372"/>
              <a:gd name="connsiteX6091" fmla="*/ 4612073 w 10505529"/>
              <a:gd name="connsiteY6091" fmla="*/ 6585529 h 7458372"/>
              <a:gd name="connsiteX6092" fmla="*/ 4600226 w 10505529"/>
              <a:gd name="connsiteY6092" fmla="*/ 6587792 h 7458372"/>
              <a:gd name="connsiteX6093" fmla="*/ 4578393 w 10505529"/>
              <a:gd name="connsiteY6093" fmla="*/ 6579272 h 7458372"/>
              <a:gd name="connsiteX6094" fmla="*/ 4570007 w 10505529"/>
              <a:gd name="connsiteY6094" fmla="*/ 6558106 h 7458372"/>
              <a:gd name="connsiteX6095" fmla="*/ 4578393 w 10505529"/>
              <a:gd name="connsiteY6095" fmla="*/ 6537074 h 7458372"/>
              <a:gd name="connsiteX6096" fmla="*/ 4600226 w 10505529"/>
              <a:gd name="connsiteY6096" fmla="*/ 6528554 h 7458372"/>
              <a:gd name="connsiteX6097" fmla="*/ 4382713 w 10505529"/>
              <a:gd name="connsiteY6097" fmla="*/ 6528554 h 7458372"/>
              <a:gd name="connsiteX6098" fmla="*/ 4394428 w 10505529"/>
              <a:gd name="connsiteY6098" fmla="*/ 6531083 h 7458372"/>
              <a:gd name="connsiteX6099" fmla="*/ 4403746 w 10505529"/>
              <a:gd name="connsiteY6099" fmla="*/ 6537473 h 7458372"/>
              <a:gd name="connsiteX6100" fmla="*/ 4409869 w 10505529"/>
              <a:gd name="connsiteY6100" fmla="*/ 6546791 h 7458372"/>
              <a:gd name="connsiteX6101" fmla="*/ 4412132 w 10505529"/>
              <a:gd name="connsiteY6101" fmla="*/ 6558239 h 7458372"/>
              <a:gd name="connsiteX6102" fmla="*/ 4409869 w 10505529"/>
              <a:gd name="connsiteY6102" fmla="*/ 6569954 h 7458372"/>
              <a:gd name="connsiteX6103" fmla="*/ 4403746 w 10505529"/>
              <a:gd name="connsiteY6103" fmla="*/ 6579272 h 7458372"/>
              <a:gd name="connsiteX6104" fmla="*/ 4394428 w 10505529"/>
              <a:gd name="connsiteY6104" fmla="*/ 6585529 h 7458372"/>
              <a:gd name="connsiteX6105" fmla="*/ 4382713 w 10505529"/>
              <a:gd name="connsiteY6105" fmla="*/ 6587792 h 7458372"/>
              <a:gd name="connsiteX6106" fmla="*/ 4360881 w 10505529"/>
              <a:gd name="connsiteY6106" fmla="*/ 6579272 h 7458372"/>
              <a:gd name="connsiteX6107" fmla="*/ 4352495 w 10505529"/>
              <a:gd name="connsiteY6107" fmla="*/ 6558106 h 7458372"/>
              <a:gd name="connsiteX6108" fmla="*/ 4360881 w 10505529"/>
              <a:gd name="connsiteY6108" fmla="*/ 6537074 h 7458372"/>
              <a:gd name="connsiteX6109" fmla="*/ 4382713 w 10505529"/>
              <a:gd name="connsiteY6109" fmla="*/ 6528554 h 7458372"/>
              <a:gd name="connsiteX6110" fmla="*/ 4165068 w 10505529"/>
              <a:gd name="connsiteY6110" fmla="*/ 6528554 h 7458372"/>
              <a:gd name="connsiteX6111" fmla="*/ 4176782 w 10505529"/>
              <a:gd name="connsiteY6111" fmla="*/ 6531083 h 7458372"/>
              <a:gd name="connsiteX6112" fmla="*/ 4186100 w 10505529"/>
              <a:gd name="connsiteY6112" fmla="*/ 6537473 h 7458372"/>
              <a:gd name="connsiteX6113" fmla="*/ 4192223 w 10505529"/>
              <a:gd name="connsiteY6113" fmla="*/ 6546791 h 7458372"/>
              <a:gd name="connsiteX6114" fmla="*/ 4194486 w 10505529"/>
              <a:gd name="connsiteY6114" fmla="*/ 6558239 h 7458372"/>
              <a:gd name="connsiteX6115" fmla="*/ 4192223 w 10505529"/>
              <a:gd name="connsiteY6115" fmla="*/ 6569954 h 7458372"/>
              <a:gd name="connsiteX6116" fmla="*/ 4186100 w 10505529"/>
              <a:gd name="connsiteY6116" fmla="*/ 6579272 h 7458372"/>
              <a:gd name="connsiteX6117" fmla="*/ 4176782 w 10505529"/>
              <a:gd name="connsiteY6117" fmla="*/ 6585529 h 7458372"/>
              <a:gd name="connsiteX6118" fmla="*/ 4165068 w 10505529"/>
              <a:gd name="connsiteY6118" fmla="*/ 6587792 h 7458372"/>
              <a:gd name="connsiteX6119" fmla="*/ 4143235 w 10505529"/>
              <a:gd name="connsiteY6119" fmla="*/ 6579272 h 7458372"/>
              <a:gd name="connsiteX6120" fmla="*/ 4134849 w 10505529"/>
              <a:gd name="connsiteY6120" fmla="*/ 6558106 h 7458372"/>
              <a:gd name="connsiteX6121" fmla="*/ 4143235 w 10505529"/>
              <a:gd name="connsiteY6121" fmla="*/ 6537074 h 7458372"/>
              <a:gd name="connsiteX6122" fmla="*/ 4165068 w 10505529"/>
              <a:gd name="connsiteY6122" fmla="*/ 6528554 h 7458372"/>
              <a:gd name="connsiteX6123" fmla="*/ 3947779 w 10505529"/>
              <a:gd name="connsiteY6123" fmla="*/ 6528554 h 7458372"/>
              <a:gd name="connsiteX6124" fmla="*/ 3959498 w 10505529"/>
              <a:gd name="connsiteY6124" fmla="*/ 6531083 h 7458372"/>
              <a:gd name="connsiteX6125" fmla="*/ 3968816 w 10505529"/>
              <a:gd name="connsiteY6125" fmla="*/ 6537473 h 7458372"/>
              <a:gd name="connsiteX6126" fmla="*/ 3974940 w 10505529"/>
              <a:gd name="connsiteY6126" fmla="*/ 6546791 h 7458372"/>
              <a:gd name="connsiteX6127" fmla="*/ 3977203 w 10505529"/>
              <a:gd name="connsiteY6127" fmla="*/ 6558239 h 7458372"/>
              <a:gd name="connsiteX6128" fmla="*/ 3974940 w 10505529"/>
              <a:gd name="connsiteY6128" fmla="*/ 6569954 h 7458372"/>
              <a:gd name="connsiteX6129" fmla="*/ 3968816 w 10505529"/>
              <a:gd name="connsiteY6129" fmla="*/ 6579272 h 7458372"/>
              <a:gd name="connsiteX6130" fmla="*/ 3959498 w 10505529"/>
              <a:gd name="connsiteY6130" fmla="*/ 6585529 h 7458372"/>
              <a:gd name="connsiteX6131" fmla="*/ 3947779 w 10505529"/>
              <a:gd name="connsiteY6131" fmla="*/ 6587792 h 7458372"/>
              <a:gd name="connsiteX6132" fmla="*/ 3925946 w 10505529"/>
              <a:gd name="connsiteY6132" fmla="*/ 6579272 h 7458372"/>
              <a:gd name="connsiteX6133" fmla="*/ 3917560 w 10505529"/>
              <a:gd name="connsiteY6133" fmla="*/ 6558106 h 7458372"/>
              <a:gd name="connsiteX6134" fmla="*/ 3925946 w 10505529"/>
              <a:gd name="connsiteY6134" fmla="*/ 6537074 h 7458372"/>
              <a:gd name="connsiteX6135" fmla="*/ 3947779 w 10505529"/>
              <a:gd name="connsiteY6135" fmla="*/ 6528554 h 7458372"/>
              <a:gd name="connsiteX6136" fmla="*/ 3730118 w 10505529"/>
              <a:gd name="connsiteY6136" fmla="*/ 6528554 h 7458372"/>
              <a:gd name="connsiteX6137" fmla="*/ 3741834 w 10505529"/>
              <a:gd name="connsiteY6137" fmla="*/ 6531083 h 7458372"/>
              <a:gd name="connsiteX6138" fmla="*/ 3751152 w 10505529"/>
              <a:gd name="connsiteY6138" fmla="*/ 6537473 h 7458372"/>
              <a:gd name="connsiteX6139" fmla="*/ 3757275 w 10505529"/>
              <a:gd name="connsiteY6139" fmla="*/ 6546791 h 7458372"/>
              <a:gd name="connsiteX6140" fmla="*/ 3759538 w 10505529"/>
              <a:gd name="connsiteY6140" fmla="*/ 6558239 h 7458372"/>
              <a:gd name="connsiteX6141" fmla="*/ 3757275 w 10505529"/>
              <a:gd name="connsiteY6141" fmla="*/ 6569954 h 7458372"/>
              <a:gd name="connsiteX6142" fmla="*/ 3751152 w 10505529"/>
              <a:gd name="connsiteY6142" fmla="*/ 6579272 h 7458372"/>
              <a:gd name="connsiteX6143" fmla="*/ 3741834 w 10505529"/>
              <a:gd name="connsiteY6143" fmla="*/ 6585529 h 7458372"/>
              <a:gd name="connsiteX6144" fmla="*/ 3730118 w 10505529"/>
              <a:gd name="connsiteY6144" fmla="*/ 6587792 h 7458372"/>
              <a:gd name="connsiteX6145" fmla="*/ 3708276 w 10505529"/>
              <a:gd name="connsiteY6145" fmla="*/ 6579272 h 7458372"/>
              <a:gd name="connsiteX6146" fmla="*/ 3699890 w 10505529"/>
              <a:gd name="connsiteY6146" fmla="*/ 6558106 h 7458372"/>
              <a:gd name="connsiteX6147" fmla="*/ 3708276 w 10505529"/>
              <a:gd name="connsiteY6147" fmla="*/ 6537074 h 7458372"/>
              <a:gd name="connsiteX6148" fmla="*/ 3730118 w 10505529"/>
              <a:gd name="connsiteY6148" fmla="*/ 6528554 h 7458372"/>
              <a:gd name="connsiteX6149" fmla="*/ 3512454 w 10505529"/>
              <a:gd name="connsiteY6149" fmla="*/ 6528554 h 7458372"/>
              <a:gd name="connsiteX6150" fmla="*/ 3524170 w 10505529"/>
              <a:gd name="connsiteY6150" fmla="*/ 6531083 h 7458372"/>
              <a:gd name="connsiteX6151" fmla="*/ 3533488 w 10505529"/>
              <a:gd name="connsiteY6151" fmla="*/ 6537473 h 7458372"/>
              <a:gd name="connsiteX6152" fmla="*/ 3539612 w 10505529"/>
              <a:gd name="connsiteY6152" fmla="*/ 6546791 h 7458372"/>
              <a:gd name="connsiteX6153" fmla="*/ 3541875 w 10505529"/>
              <a:gd name="connsiteY6153" fmla="*/ 6558239 h 7458372"/>
              <a:gd name="connsiteX6154" fmla="*/ 3539612 w 10505529"/>
              <a:gd name="connsiteY6154" fmla="*/ 6569954 h 7458372"/>
              <a:gd name="connsiteX6155" fmla="*/ 3533488 w 10505529"/>
              <a:gd name="connsiteY6155" fmla="*/ 6579272 h 7458372"/>
              <a:gd name="connsiteX6156" fmla="*/ 3524170 w 10505529"/>
              <a:gd name="connsiteY6156" fmla="*/ 6585529 h 7458372"/>
              <a:gd name="connsiteX6157" fmla="*/ 3512454 w 10505529"/>
              <a:gd name="connsiteY6157" fmla="*/ 6587792 h 7458372"/>
              <a:gd name="connsiteX6158" fmla="*/ 3490617 w 10505529"/>
              <a:gd name="connsiteY6158" fmla="*/ 6579272 h 7458372"/>
              <a:gd name="connsiteX6159" fmla="*/ 3482230 w 10505529"/>
              <a:gd name="connsiteY6159" fmla="*/ 6558106 h 7458372"/>
              <a:gd name="connsiteX6160" fmla="*/ 3490617 w 10505529"/>
              <a:gd name="connsiteY6160" fmla="*/ 6537074 h 7458372"/>
              <a:gd name="connsiteX6161" fmla="*/ 3512454 w 10505529"/>
              <a:gd name="connsiteY6161" fmla="*/ 6528554 h 7458372"/>
              <a:gd name="connsiteX6162" fmla="*/ 3294924 w 10505529"/>
              <a:gd name="connsiteY6162" fmla="*/ 6528554 h 7458372"/>
              <a:gd name="connsiteX6163" fmla="*/ 3306640 w 10505529"/>
              <a:gd name="connsiteY6163" fmla="*/ 6531083 h 7458372"/>
              <a:gd name="connsiteX6164" fmla="*/ 3315958 w 10505529"/>
              <a:gd name="connsiteY6164" fmla="*/ 6537473 h 7458372"/>
              <a:gd name="connsiteX6165" fmla="*/ 3322081 w 10505529"/>
              <a:gd name="connsiteY6165" fmla="*/ 6546791 h 7458372"/>
              <a:gd name="connsiteX6166" fmla="*/ 3324344 w 10505529"/>
              <a:gd name="connsiteY6166" fmla="*/ 6558239 h 7458372"/>
              <a:gd name="connsiteX6167" fmla="*/ 3322081 w 10505529"/>
              <a:gd name="connsiteY6167" fmla="*/ 6569954 h 7458372"/>
              <a:gd name="connsiteX6168" fmla="*/ 3315958 w 10505529"/>
              <a:gd name="connsiteY6168" fmla="*/ 6579272 h 7458372"/>
              <a:gd name="connsiteX6169" fmla="*/ 3306640 w 10505529"/>
              <a:gd name="connsiteY6169" fmla="*/ 6585529 h 7458372"/>
              <a:gd name="connsiteX6170" fmla="*/ 3294924 w 10505529"/>
              <a:gd name="connsiteY6170" fmla="*/ 6587792 h 7458372"/>
              <a:gd name="connsiteX6171" fmla="*/ 3273085 w 10505529"/>
              <a:gd name="connsiteY6171" fmla="*/ 6579272 h 7458372"/>
              <a:gd name="connsiteX6172" fmla="*/ 3264696 w 10505529"/>
              <a:gd name="connsiteY6172" fmla="*/ 6558106 h 7458372"/>
              <a:gd name="connsiteX6173" fmla="*/ 3273085 w 10505529"/>
              <a:gd name="connsiteY6173" fmla="*/ 6537074 h 7458372"/>
              <a:gd name="connsiteX6174" fmla="*/ 3294924 w 10505529"/>
              <a:gd name="connsiteY6174" fmla="*/ 6528554 h 7458372"/>
              <a:gd name="connsiteX6175" fmla="*/ 3077260 w 10505529"/>
              <a:gd name="connsiteY6175" fmla="*/ 6528554 h 7458372"/>
              <a:gd name="connsiteX6176" fmla="*/ 3088976 w 10505529"/>
              <a:gd name="connsiteY6176" fmla="*/ 6531083 h 7458372"/>
              <a:gd name="connsiteX6177" fmla="*/ 3098294 w 10505529"/>
              <a:gd name="connsiteY6177" fmla="*/ 6537473 h 7458372"/>
              <a:gd name="connsiteX6178" fmla="*/ 3104417 w 10505529"/>
              <a:gd name="connsiteY6178" fmla="*/ 6546791 h 7458372"/>
              <a:gd name="connsiteX6179" fmla="*/ 3106680 w 10505529"/>
              <a:gd name="connsiteY6179" fmla="*/ 6558239 h 7458372"/>
              <a:gd name="connsiteX6180" fmla="*/ 3104417 w 10505529"/>
              <a:gd name="connsiteY6180" fmla="*/ 6569954 h 7458372"/>
              <a:gd name="connsiteX6181" fmla="*/ 3098294 w 10505529"/>
              <a:gd name="connsiteY6181" fmla="*/ 6579272 h 7458372"/>
              <a:gd name="connsiteX6182" fmla="*/ 3088976 w 10505529"/>
              <a:gd name="connsiteY6182" fmla="*/ 6585529 h 7458372"/>
              <a:gd name="connsiteX6183" fmla="*/ 3077260 w 10505529"/>
              <a:gd name="connsiteY6183" fmla="*/ 6587792 h 7458372"/>
              <a:gd name="connsiteX6184" fmla="*/ 3055421 w 10505529"/>
              <a:gd name="connsiteY6184" fmla="*/ 6579272 h 7458372"/>
              <a:gd name="connsiteX6185" fmla="*/ 3047034 w 10505529"/>
              <a:gd name="connsiteY6185" fmla="*/ 6558106 h 7458372"/>
              <a:gd name="connsiteX6186" fmla="*/ 3055421 w 10505529"/>
              <a:gd name="connsiteY6186" fmla="*/ 6537074 h 7458372"/>
              <a:gd name="connsiteX6187" fmla="*/ 3077260 w 10505529"/>
              <a:gd name="connsiteY6187" fmla="*/ 6528554 h 7458372"/>
              <a:gd name="connsiteX6188" fmla="*/ 2859597 w 10505529"/>
              <a:gd name="connsiteY6188" fmla="*/ 6528554 h 7458372"/>
              <a:gd name="connsiteX6189" fmla="*/ 2871445 w 10505529"/>
              <a:gd name="connsiteY6189" fmla="*/ 6531083 h 7458372"/>
              <a:gd name="connsiteX6190" fmla="*/ 2880763 w 10505529"/>
              <a:gd name="connsiteY6190" fmla="*/ 6537473 h 7458372"/>
              <a:gd name="connsiteX6191" fmla="*/ 2886886 w 10505529"/>
              <a:gd name="connsiteY6191" fmla="*/ 6546791 h 7458372"/>
              <a:gd name="connsiteX6192" fmla="*/ 2889149 w 10505529"/>
              <a:gd name="connsiteY6192" fmla="*/ 6558239 h 7458372"/>
              <a:gd name="connsiteX6193" fmla="*/ 2886886 w 10505529"/>
              <a:gd name="connsiteY6193" fmla="*/ 6569954 h 7458372"/>
              <a:gd name="connsiteX6194" fmla="*/ 2880763 w 10505529"/>
              <a:gd name="connsiteY6194" fmla="*/ 6579272 h 7458372"/>
              <a:gd name="connsiteX6195" fmla="*/ 2871445 w 10505529"/>
              <a:gd name="connsiteY6195" fmla="*/ 6585529 h 7458372"/>
              <a:gd name="connsiteX6196" fmla="*/ 2859597 w 10505529"/>
              <a:gd name="connsiteY6196" fmla="*/ 6587792 h 7458372"/>
              <a:gd name="connsiteX6197" fmla="*/ 2837757 w 10505529"/>
              <a:gd name="connsiteY6197" fmla="*/ 6579272 h 7458372"/>
              <a:gd name="connsiteX6198" fmla="*/ 2829370 w 10505529"/>
              <a:gd name="connsiteY6198" fmla="*/ 6558106 h 7458372"/>
              <a:gd name="connsiteX6199" fmla="*/ 2837757 w 10505529"/>
              <a:gd name="connsiteY6199" fmla="*/ 6537074 h 7458372"/>
              <a:gd name="connsiteX6200" fmla="*/ 2859597 w 10505529"/>
              <a:gd name="connsiteY6200" fmla="*/ 6528554 h 7458372"/>
              <a:gd name="connsiteX6201" fmla="*/ 2641933 w 10505529"/>
              <a:gd name="connsiteY6201" fmla="*/ 6528554 h 7458372"/>
              <a:gd name="connsiteX6202" fmla="*/ 2653648 w 10505529"/>
              <a:gd name="connsiteY6202" fmla="*/ 6531083 h 7458372"/>
              <a:gd name="connsiteX6203" fmla="*/ 2662966 w 10505529"/>
              <a:gd name="connsiteY6203" fmla="*/ 6537473 h 7458372"/>
              <a:gd name="connsiteX6204" fmla="*/ 2669089 w 10505529"/>
              <a:gd name="connsiteY6204" fmla="*/ 6546791 h 7458372"/>
              <a:gd name="connsiteX6205" fmla="*/ 2671352 w 10505529"/>
              <a:gd name="connsiteY6205" fmla="*/ 6558239 h 7458372"/>
              <a:gd name="connsiteX6206" fmla="*/ 2669089 w 10505529"/>
              <a:gd name="connsiteY6206" fmla="*/ 6569954 h 7458372"/>
              <a:gd name="connsiteX6207" fmla="*/ 2662966 w 10505529"/>
              <a:gd name="connsiteY6207" fmla="*/ 6579272 h 7458372"/>
              <a:gd name="connsiteX6208" fmla="*/ 2653648 w 10505529"/>
              <a:gd name="connsiteY6208" fmla="*/ 6585529 h 7458372"/>
              <a:gd name="connsiteX6209" fmla="*/ 2641933 w 10505529"/>
              <a:gd name="connsiteY6209" fmla="*/ 6587792 h 7458372"/>
              <a:gd name="connsiteX6210" fmla="*/ 2620099 w 10505529"/>
              <a:gd name="connsiteY6210" fmla="*/ 6579272 h 7458372"/>
              <a:gd name="connsiteX6211" fmla="*/ 2611708 w 10505529"/>
              <a:gd name="connsiteY6211" fmla="*/ 6558106 h 7458372"/>
              <a:gd name="connsiteX6212" fmla="*/ 2620099 w 10505529"/>
              <a:gd name="connsiteY6212" fmla="*/ 6537074 h 7458372"/>
              <a:gd name="connsiteX6213" fmla="*/ 2641933 w 10505529"/>
              <a:gd name="connsiteY6213" fmla="*/ 6528554 h 7458372"/>
              <a:gd name="connsiteX6214" fmla="*/ 2424268 w 10505529"/>
              <a:gd name="connsiteY6214" fmla="*/ 6528554 h 7458372"/>
              <a:gd name="connsiteX6215" fmla="*/ 2435984 w 10505529"/>
              <a:gd name="connsiteY6215" fmla="*/ 6531083 h 7458372"/>
              <a:gd name="connsiteX6216" fmla="*/ 2445302 w 10505529"/>
              <a:gd name="connsiteY6216" fmla="*/ 6537473 h 7458372"/>
              <a:gd name="connsiteX6217" fmla="*/ 2451425 w 10505529"/>
              <a:gd name="connsiteY6217" fmla="*/ 6546791 h 7458372"/>
              <a:gd name="connsiteX6218" fmla="*/ 2453688 w 10505529"/>
              <a:gd name="connsiteY6218" fmla="*/ 6558239 h 7458372"/>
              <a:gd name="connsiteX6219" fmla="*/ 2451425 w 10505529"/>
              <a:gd name="connsiteY6219" fmla="*/ 6569954 h 7458372"/>
              <a:gd name="connsiteX6220" fmla="*/ 2445302 w 10505529"/>
              <a:gd name="connsiteY6220" fmla="*/ 6579272 h 7458372"/>
              <a:gd name="connsiteX6221" fmla="*/ 2435984 w 10505529"/>
              <a:gd name="connsiteY6221" fmla="*/ 6585529 h 7458372"/>
              <a:gd name="connsiteX6222" fmla="*/ 2424268 w 10505529"/>
              <a:gd name="connsiteY6222" fmla="*/ 6587792 h 7458372"/>
              <a:gd name="connsiteX6223" fmla="*/ 2402437 w 10505529"/>
              <a:gd name="connsiteY6223" fmla="*/ 6579272 h 7458372"/>
              <a:gd name="connsiteX6224" fmla="*/ 2394047 w 10505529"/>
              <a:gd name="connsiteY6224" fmla="*/ 6558106 h 7458372"/>
              <a:gd name="connsiteX6225" fmla="*/ 2402437 w 10505529"/>
              <a:gd name="connsiteY6225" fmla="*/ 6537074 h 7458372"/>
              <a:gd name="connsiteX6226" fmla="*/ 2424268 w 10505529"/>
              <a:gd name="connsiteY6226" fmla="*/ 6528554 h 7458372"/>
              <a:gd name="connsiteX6227" fmla="*/ 2206605 w 10505529"/>
              <a:gd name="connsiteY6227" fmla="*/ 6528554 h 7458372"/>
              <a:gd name="connsiteX6228" fmla="*/ 2218320 w 10505529"/>
              <a:gd name="connsiteY6228" fmla="*/ 6531083 h 7458372"/>
              <a:gd name="connsiteX6229" fmla="*/ 2227639 w 10505529"/>
              <a:gd name="connsiteY6229" fmla="*/ 6537473 h 7458372"/>
              <a:gd name="connsiteX6230" fmla="*/ 2233761 w 10505529"/>
              <a:gd name="connsiteY6230" fmla="*/ 6546791 h 7458372"/>
              <a:gd name="connsiteX6231" fmla="*/ 2236024 w 10505529"/>
              <a:gd name="connsiteY6231" fmla="*/ 6558239 h 7458372"/>
              <a:gd name="connsiteX6232" fmla="*/ 2233761 w 10505529"/>
              <a:gd name="connsiteY6232" fmla="*/ 6569954 h 7458372"/>
              <a:gd name="connsiteX6233" fmla="*/ 2227639 w 10505529"/>
              <a:gd name="connsiteY6233" fmla="*/ 6579272 h 7458372"/>
              <a:gd name="connsiteX6234" fmla="*/ 2218320 w 10505529"/>
              <a:gd name="connsiteY6234" fmla="*/ 6585529 h 7458372"/>
              <a:gd name="connsiteX6235" fmla="*/ 2206605 w 10505529"/>
              <a:gd name="connsiteY6235" fmla="*/ 6587792 h 7458372"/>
              <a:gd name="connsiteX6236" fmla="*/ 2184772 w 10505529"/>
              <a:gd name="connsiteY6236" fmla="*/ 6579272 h 7458372"/>
              <a:gd name="connsiteX6237" fmla="*/ 2176383 w 10505529"/>
              <a:gd name="connsiteY6237" fmla="*/ 6558106 h 7458372"/>
              <a:gd name="connsiteX6238" fmla="*/ 2184772 w 10505529"/>
              <a:gd name="connsiteY6238" fmla="*/ 6537074 h 7458372"/>
              <a:gd name="connsiteX6239" fmla="*/ 2206605 w 10505529"/>
              <a:gd name="connsiteY6239" fmla="*/ 6528554 h 7458372"/>
              <a:gd name="connsiteX6240" fmla="*/ 1989074 w 10505529"/>
              <a:gd name="connsiteY6240" fmla="*/ 6528554 h 7458372"/>
              <a:gd name="connsiteX6241" fmla="*/ 2000789 w 10505529"/>
              <a:gd name="connsiteY6241" fmla="*/ 6531083 h 7458372"/>
              <a:gd name="connsiteX6242" fmla="*/ 2010107 w 10505529"/>
              <a:gd name="connsiteY6242" fmla="*/ 6537473 h 7458372"/>
              <a:gd name="connsiteX6243" fmla="*/ 2016230 w 10505529"/>
              <a:gd name="connsiteY6243" fmla="*/ 6546791 h 7458372"/>
              <a:gd name="connsiteX6244" fmla="*/ 2018493 w 10505529"/>
              <a:gd name="connsiteY6244" fmla="*/ 6558239 h 7458372"/>
              <a:gd name="connsiteX6245" fmla="*/ 2016230 w 10505529"/>
              <a:gd name="connsiteY6245" fmla="*/ 6569954 h 7458372"/>
              <a:gd name="connsiteX6246" fmla="*/ 2010107 w 10505529"/>
              <a:gd name="connsiteY6246" fmla="*/ 6579272 h 7458372"/>
              <a:gd name="connsiteX6247" fmla="*/ 2000789 w 10505529"/>
              <a:gd name="connsiteY6247" fmla="*/ 6585529 h 7458372"/>
              <a:gd name="connsiteX6248" fmla="*/ 1989074 w 10505529"/>
              <a:gd name="connsiteY6248" fmla="*/ 6587792 h 7458372"/>
              <a:gd name="connsiteX6249" fmla="*/ 1967243 w 10505529"/>
              <a:gd name="connsiteY6249" fmla="*/ 6579272 h 7458372"/>
              <a:gd name="connsiteX6250" fmla="*/ 1958856 w 10505529"/>
              <a:gd name="connsiteY6250" fmla="*/ 6558106 h 7458372"/>
              <a:gd name="connsiteX6251" fmla="*/ 1967243 w 10505529"/>
              <a:gd name="connsiteY6251" fmla="*/ 6537074 h 7458372"/>
              <a:gd name="connsiteX6252" fmla="*/ 1989074 w 10505529"/>
              <a:gd name="connsiteY6252" fmla="*/ 6528554 h 7458372"/>
              <a:gd name="connsiteX6253" fmla="*/ 1771442 w 10505529"/>
              <a:gd name="connsiteY6253" fmla="*/ 6528554 h 7458372"/>
              <a:gd name="connsiteX6254" fmla="*/ 1783156 w 10505529"/>
              <a:gd name="connsiteY6254" fmla="*/ 6531083 h 7458372"/>
              <a:gd name="connsiteX6255" fmla="*/ 1792474 w 10505529"/>
              <a:gd name="connsiteY6255" fmla="*/ 6537473 h 7458372"/>
              <a:gd name="connsiteX6256" fmla="*/ 1798597 w 10505529"/>
              <a:gd name="connsiteY6256" fmla="*/ 6546791 h 7458372"/>
              <a:gd name="connsiteX6257" fmla="*/ 1800859 w 10505529"/>
              <a:gd name="connsiteY6257" fmla="*/ 6558239 h 7458372"/>
              <a:gd name="connsiteX6258" fmla="*/ 1798597 w 10505529"/>
              <a:gd name="connsiteY6258" fmla="*/ 6569954 h 7458372"/>
              <a:gd name="connsiteX6259" fmla="*/ 1792474 w 10505529"/>
              <a:gd name="connsiteY6259" fmla="*/ 6579272 h 7458372"/>
              <a:gd name="connsiteX6260" fmla="*/ 1783156 w 10505529"/>
              <a:gd name="connsiteY6260" fmla="*/ 6585529 h 7458372"/>
              <a:gd name="connsiteX6261" fmla="*/ 1771442 w 10505529"/>
              <a:gd name="connsiteY6261" fmla="*/ 6587792 h 7458372"/>
              <a:gd name="connsiteX6262" fmla="*/ 1749613 w 10505529"/>
              <a:gd name="connsiteY6262" fmla="*/ 6579272 h 7458372"/>
              <a:gd name="connsiteX6263" fmla="*/ 1741231 w 10505529"/>
              <a:gd name="connsiteY6263" fmla="*/ 6558106 h 7458372"/>
              <a:gd name="connsiteX6264" fmla="*/ 1749613 w 10505529"/>
              <a:gd name="connsiteY6264" fmla="*/ 6537074 h 7458372"/>
              <a:gd name="connsiteX6265" fmla="*/ 1771442 w 10505529"/>
              <a:gd name="connsiteY6265" fmla="*/ 6528554 h 7458372"/>
              <a:gd name="connsiteX6266" fmla="*/ 1553807 w 10505529"/>
              <a:gd name="connsiteY6266" fmla="*/ 6528554 h 7458372"/>
              <a:gd name="connsiteX6267" fmla="*/ 1565521 w 10505529"/>
              <a:gd name="connsiteY6267" fmla="*/ 6531083 h 7458372"/>
              <a:gd name="connsiteX6268" fmla="*/ 1574840 w 10505529"/>
              <a:gd name="connsiteY6268" fmla="*/ 6537473 h 7458372"/>
              <a:gd name="connsiteX6269" fmla="*/ 1580963 w 10505529"/>
              <a:gd name="connsiteY6269" fmla="*/ 6546791 h 7458372"/>
              <a:gd name="connsiteX6270" fmla="*/ 1583226 w 10505529"/>
              <a:gd name="connsiteY6270" fmla="*/ 6558239 h 7458372"/>
              <a:gd name="connsiteX6271" fmla="*/ 1580963 w 10505529"/>
              <a:gd name="connsiteY6271" fmla="*/ 6569954 h 7458372"/>
              <a:gd name="connsiteX6272" fmla="*/ 1574840 w 10505529"/>
              <a:gd name="connsiteY6272" fmla="*/ 6579272 h 7458372"/>
              <a:gd name="connsiteX6273" fmla="*/ 1565521 w 10505529"/>
              <a:gd name="connsiteY6273" fmla="*/ 6585529 h 7458372"/>
              <a:gd name="connsiteX6274" fmla="*/ 1553807 w 10505529"/>
              <a:gd name="connsiteY6274" fmla="*/ 6587792 h 7458372"/>
              <a:gd name="connsiteX6275" fmla="*/ 1531978 w 10505529"/>
              <a:gd name="connsiteY6275" fmla="*/ 6579272 h 7458372"/>
              <a:gd name="connsiteX6276" fmla="*/ 1523592 w 10505529"/>
              <a:gd name="connsiteY6276" fmla="*/ 6558106 h 7458372"/>
              <a:gd name="connsiteX6277" fmla="*/ 1531978 w 10505529"/>
              <a:gd name="connsiteY6277" fmla="*/ 6537074 h 7458372"/>
              <a:gd name="connsiteX6278" fmla="*/ 1553807 w 10505529"/>
              <a:gd name="connsiteY6278" fmla="*/ 6528554 h 7458372"/>
              <a:gd name="connsiteX6279" fmla="*/ 1336163 w 10505529"/>
              <a:gd name="connsiteY6279" fmla="*/ 6528554 h 7458372"/>
              <a:gd name="connsiteX6280" fmla="*/ 1347879 w 10505529"/>
              <a:gd name="connsiteY6280" fmla="*/ 6531083 h 7458372"/>
              <a:gd name="connsiteX6281" fmla="*/ 1357197 w 10505529"/>
              <a:gd name="connsiteY6281" fmla="*/ 6537473 h 7458372"/>
              <a:gd name="connsiteX6282" fmla="*/ 1363320 w 10505529"/>
              <a:gd name="connsiteY6282" fmla="*/ 6546791 h 7458372"/>
              <a:gd name="connsiteX6283" fmla="*/ 1365582 w 10505529"/>
              <a:gd name="connsiteY6283" fmla="*/ 6558239 h 7458372"/>
              <a:gd name="connsiteX6284" fmla="*/ 1363320 w 10505529"/>
              <a:gd name="connsiteY6284" fmla="*/ 6569954 h 7458372"/>
              <a:gd name="connsiteX6285" fmla="*/ 1357197 w 10505529"/>
              <a:gd name="connsiteY6285" fmla="*/ 6579272 h 7458372"/>
              <a:gd name="connsiteX6286" fmla="*/ 1347879 w 10505529"/>
              <a:gd name="connsiteY6286" fmla="*/ 6585529 h 7458372"/>
              <a:gd name="connsiteX6287" fmla="*/ 1336163 w 10505529"/>
              <a:gd name="connsiteY6287" fmla="*/ 6587792 h 7458372"/>
              <a:gd name="connsiteX6288" fmla="*/ 1314330 w 10505529"/>
              <a:gd name="connsiteY6288" fmla="*/ 6579272 h 7458372"/>
              <a:gd name="connsiteX6289" fmla="*/ 1305945 w 10505529"/>
              <a:gd name="connsiteY6289" fmla="*/ 6558106 h 7458372"/>
              <a:gd name="connsiteX6290" fmla="*/ 1314330 w 10505529"/>
              <a:gd name="connsiteY6290" fmla="*/ 6537074 h 7458372"/>
              <a:gd name="connsiteX6291" fmla="*/ 1336163 w 10505529"/>
              <a:gd name="connsiteY6291" fmla="*/ 6528554 h 7458372"/>
              <a:gd name="connsiteX6292" fmla="*/ 1118518 w 10505529"/>
              <a:gd name="connsiteY6292" fmla="*/ 6528554 h 7458372"/>
              <a:gd name="connsiteX6293" fmla="*/ 1130237 w 10505529"/>
              <a:gd name="connsiteY6293" fmla="*/ 6531083 h 7458372"/>
              <a:gd name="connsiteX6294" fmla="*/ 1139551 w 10505529"/>
              <a:gd name="connsiteY6294" fmla="*/ 6537473 h 7458372"/>
              <a:gd name="connsiteX6295" fmla="*/ 1145670 w 10505529"/>
              <a:gd name="connsiteY6295" fmla="*/ 6546791 h 7458372"/>
              <a:gd name="connsiteX6296" fmla="*/ 1147933 w 10505529"/>
              <a:gd name="connsiteY6296" fmla="*/ 6558239 h 7458372"/>
              <a:gd name="connsiteX6297" fmla="*/ 1145670 w 10505529"/>
              <a:gd name="connsiteY6297" fmla="*/ 6569954 h 7458372"/>
              <a:gd name="connsiteX6298" fmla="*/ 1139551 w 10505529"/>
              <a:gd name="connsiteY6298" fmla="*/ 6579272 h 7458372"/>
              <a:gd name="connsiteX6299" fmla="*/ 1130237 w 10505529"/>
              <a:gd name="connsiteY6299" fmla="*/ 6585529 h 7458372"/>
              <a:gd name="connsiteX6300" fmla="*/ 1118518 w 10505529"/>
              <a:gd name="connsiteY6300" fmla="*/ 6587792 h 7458372"/>
              <a:gd name="connsiteX6301" fmla="*/ 1096682 w 10505529"/>
              <a:gd name="connsiteY6301" fmla="*/ 6579272 h 7458372"/>
              <a:gd name="connsiteX6302" fmla="*/ 1088298 w 10505529"/>
              <a:gd name="connsiteY6302" fmla="*/ 6558106 h 7458372"/>
              <a:gd name="connsiteX6303" fmla="*/ 1096682 w 10505529"/>
              <a:gd name="connsiteY6303" fmla="*/ 6537074 h 7458372"/>
              <a:gd name="connsiteX6304" fmla="*/ 1118518 w 10505529"/>
              <a:gd name="connsiteY6304" fmla="*/ 6528554 h 7458372"/>
              <a:gd name="connsiteX6305" fmla="*/ 901005 w 10505529"/>
              <a:gd name="connsiteY6305" fmla="*/ 6528554 h 7458372"/>
              <a:gd name="connsiteX6306" fmla="*/ 912720 w 10505529"/>
              <a:gd name="connsiteY6306" fmla="*/ 6531083 h 7458372"/>
              <a:gd name="connsiteX6307" fmla="*/ 922038 w 10505529"/>
              <a:gd name="connsiteY6307" fmla="*/ 6537473 h 7458372"/>
              <a:gd name="connsiteX6308" fmla="*/ 928160 w 10505529"/>
              <a:gd name="connsiteY6308" fmla="*/ 6546791 h 7458372"/>
              <a:gd name="connsiteX6309" fmla="*/ 930423 w 10505529"/>
              <a:gd name="connsiteY6309" fmla="*/ 6558239 h 7458372"/>
              <a:gd name="connsiteX6310" fmla="*/ 928160 w 10505529"/>
              <a:gd name="connsiteY6310" fmla="*/ 6569954 h 7458372"/>
              <a:gd name="connsiteX6311" fmla="*/ 922038 w 10505529"/>
              <a:gd name="connsiteY6311" fmla="*/ 6579272 h 7458372"/>
              <a:gd name="connsiteX6312" fmla="*/ 912720 w 10505529"/>
              <a:gd name="connsiteY6312" fmla="*/ 6585529 h 7458372"/>
              <a:gd name="connsiteX6313" fmla="*/ 901005 w 10505529"/>
              <a:gd name="connsiteY6313" fmla="*/ 6587792 h 7458372"/>
              <a:gd name="connsiteX6314" fmla="*/ 879174 w 10505529"/>
              <a:gd name="connsiteY6314" fmla="*/ 6579272 h 7458372"/>
              <a:gd name="connsiteX6315" fmla="*/ 870789 w 10505529"/>
              <a:gd name="connsiteY6315" fmla="*/ 6558106 h 7458372"/>
              <a:gd name="connsiteX6316" fmla="*/ 879174 w 10505529"/>
              <a:gd name="connsiteY6316" fmla="*/ 6537074 h 7458372"/>
              <a:gd name="connsiteX6317" fmla="*/ 901005 w 10505529"/>
              <a:gd name="connsiteY6317" fmla="*/ 6528554 h 7458372"/>
              <a:gd name="connsiteX6318" fmla="*/ 683365 w 10505529"/>
              <a:gd name="connsiteY6318" fmla="*/ 6528554 h 7458372"/>
              <a:gd name="connsiteX6319" fmla="*/ 695081 w 10505529"/>
              <a:gd name="connsiteY6319" fmla="*/ 6531083 h 7458372"/>
              <a:gd name="connsiteX6320" fmla="*/ 704397 w 10505529"/>
              <a:gd name="connsiteY6320" fmla="*/ 6537473 h 7458372"/>
              <a:gd name="connsiteX6321" fmla="*/ 710520 w 10505529"/>
              <a:gd name="connsiteY6321" fmla="*/ 6546791 h 7458372"/>
              <a:gd name="connsiteX6322" fmla="*/ 712783 w 10505529"/>
              <a:gd name="connsiteY6322" fmla="*/ 6558239 h 7458372"/>
              <a:gd name="connsiteX6323" fmla="*/ 710520 w 10505529"/>
              <a:gd name="connsiteY6323" fmla="*/ 6569954 h 7458372"/>
              <a:gd name="connsiteX6324" fmla="*/ 704397 w 10505529"/>
              <a:gd name="connsiteY6324" fmla="*/ 6579272 h 7458372"/>
              <a:gd name="connsiteX6325" fmla="*/ 695081 w 10505529"/>
              <a:gd name="connsiteY6325" fmla="*/ 6585529 h 7458372"/>
              <a:gd name="connsiteX6326" fmla="*/ 683365 w 10505529"/>
              <a:gd name="connsiteY6326" fmla="*/ 6587792 h 7458372"/>
              <a:gd name="connsiteX6327" fmla="*/ 661534 w 10505529"/>
              <a:gd name="connsiteY6327" fmla="*/ 6579272 h 7458372"/>
              <a:gd name="connsiteX6328" fmla="*/ 653148 w 10505529"/>
              <a:gd name="connsiteY6328" fmla="*/ 6558106 h 7458372"/>
              <a:gd name="connsiteX6329" fmla="*/ 661534 w 10505529"/>
              <a:gd name="connsiteY6329" fmla="*/ 6537074 h 7458372"/>
              <a:gd name="connsiteX6330" fmla="*/ 683365 w 10505529"/>
              <a:gd name="connsiteY6330" fmla="*/ 6528554 h 7458372"/>
              <a:gd name="connsiteX6331" fmla="*/ 465725 w 10505529"/>
              <a:gd name="connsiteY6331" fmla="*/ 6528554 h 7458372"/>
              <a:gd name="connsiteX6332" fmla="*/ 477440 w 10505529"/>
              <a:gd name="connsiteY6332" fmla="*/ 6531083 h 7458372"/>
              <a:gd name="connsiteX6333" fmla="*/ 486757 w 10505529"/>
              <a:gd name="connsiteY6333" fmla="*/ 6537473 h 7458372"/>
              <a:gd name="connsiteX6334" fmla="*/ 492880 w 10505529"/>
              <a:gd name="connsiteY6334" fmla="*/ 6546791 h 7458372"/>
              <a:gd name="connsiteX6335" fmla="*/ 495143 w 10505529"/>
              <a:gd name="connsiteY6335" fmla="*/ 6558239 h 7458372"/>
              <a:gd name="connsiteX6336" fmla="*/ 492880 w 10505529"/>
              <a:gd name="connsiteY6336" fmla="*/ 6569954 h 7458372"/>
              <a:gd name="connsiteX6337" fmla="*/ 486757 w 10505529"/>
              <a:gd name="connsiteY6337" fmla="*/ 6579272 h 7458372"/>
              <a:gd name="connsiteX6338" fmla="*/ 477440 w 10505529"/>
              <a:gd name="connsiteY6338" fmla="*/ 6585529 h 7458372"/>
              <a:gd name="connsiteX6339" fmla="*/ 465725 w 10505529"/>
              <a:gd name="connsiteY6339" fmla="*/ 6587792 h 7458372"/>
              <a:gd name="connsiteX6340" fmla="*/ 443893 w 10505529"/>
              <a:gd name="connsiteY6340" fmla="*/ 6579272 h 7458372"/>
              <a:gd name="connsiteX6341" fmla="*/ 435507 w 10505529"/>
              <a:gd name="connsiteY6341" fmla="*/ 6558106 h 7458372"/>
              <a:gd name="connsiteX6342" fmla="*/ 443893 w 10505529"/>
              <a:gd name="connsiteY6342" fmla="*/ 6537074 h 7458372"/>
              <a:gd name="connsiteX6343" fmla="*/ 465725 w 10505529"/>
              <a:gd name="connsiteY6343" fmla="*/ 6528554 h 7458372"/>
              <a:gd name="connsiteX6344" fmla="*/ 248084 w 10505529"/>
              <a:gd name="connsiteY6344" fmla="*/ 6528554 h 7458372"/>
              <a:gd name="connsiteX6345" fmla="*/ 259798 w 10505529"/>
              <a:gd name="connsiteY6345" fmla="*/ 6531083 h 7458372"/>
              <a:gd name="connsiteX6346" fmla="*/ 269116 w 10505529"/>
              <a:gd name="connsiteY6346" fmla="*/ 6537473 h 7458372"/>
              <a:gd name="connsiteX6347" fmla="*/ 275239 w 10505529"/>
              <a:gd name="connsiteY6347" fmla="*/ 6546791 h 7458372"/>
              <a:gd name="connsiteX6348" fmla="*/ 277502 w 10505529"/>
              <a:gd name="connsiteY6348" fmla="*/ 6558239 h 7458372"/>
              <a:gd name="connsiteX6349" fmla="*/ 275239 w 10505529"/>
              <a:gd name="connsiteY6349" fmla="*/ 6569954 h 7458372"/>
              <a:gd name="connsiteX6350" fmla="*/ 269116 w 10505529"/>
              <a:gd name="connsiteY6350" fmla="*/ 6579272 h 7458372"/>
              <a:gd name="connsiteX6351" fmla="*/ 259798 w 10505529"/>
              <a:gd name="connsiteY6351" fmla="*/ 6585529 h 7458372"/>
              <a:gd name="connsiteX6352" fmla="*/ 248084 w 10505529"/>
              <a:gd name="connsiteY6352" fmla="*/ 6587792 h 7458372"/>
              <a:gd name="connsiteX6353" fmla="*/ 226254 w 10505529"/>
              <a:gd name="connsiteY6353" fmla="*/ 6579272 h 7458372"/>
              <a:gd name="connsiteX6354" fmla="*/ 217869 w 10505529"/>
              <a:gd name="connsiteY6354" fmla="*/ 6558106 h 7458372"/>
              <a:gd name="connsiteX6355" fmla="*/ 226254 w 10505529"/>
              <a:gd name="connsiteY6355" fmla="*/ 6537074 h 7458372"/>
              <a:gd name="connsiteX6356" fmla="*/ 248084 w 10505529"/>
              <a:gd name="connsiteY6356" fmla="*/ 6528554 h 7458372"/>
              <a:gd name="connsiteX6357" fmla="*/ 30443 w 10505529"/>
              <a:gd name="connsiteY6357" fmla="*/ 6528554 h 7458372"/>
              <a:gd name="connsiteX6358" fmla="*/ 42158 w 10505529"/>
              <a:gd name="connsiteY6358" fmla="*/ 6531083 h 7458372"/>
              <a:gd name="connsiteX6359" fmla="*/ 51476 w 10505529"/>
              <a:gd name="connsiteY6359" fmla="*/ 6537473 h 7458372"/>
              <a:gd name="connsiteX6360" fmla="*/ 57599 w 10505529"/>
              <a:gd name="connsiteY6360" fmla="*/ 6546791 h 7458372"/>
              <a:gd name="connsiteX6361" fmla="*/ 59862 w 10505529"/>
              <a:gd name="connsiteY6361" fmla="*/ 6558239 h 7458372"/>
              <a:gd name="connsiteX6362" fmla="*/ 57599 w 10505529"/>
              <a:gd name="connsiteY6362" fmla="*/ 6569954 h 7458372"/>
              <a:gd name="connsiteX6363" fmla="*/ 51476 w 10505529"/>
              <a:gd name="connsiteY6363" fmla="*/ 6579272 h 7458372"/>
              <a:gd name="connsiteX6364" fmla="*/ 42158 w 10505529"/>
              <a:gd name="connsiteY6364" fmla="*/ 6585529 h 7458372"/>
              <a:gd name="connsiteX6365" fmla="*/ 30443 w 10505529"/>
              <a:gd name="connsiteY6365" fmla="*/ 6587792 h 7458372"/>
              <a:gd name="connsiteX6366" fmla="*/ 8616 w 10505529"/>
              <a:gd name="connsiteY6366" fmla="*/ 6579272 h 7458372"/>
              <a:gd name="connsiteX6367" fmla="*/ 230 w 10505529"/>
              <a:gd name="connsiteY6367" fmla="*/ 6558106 h 7458372"/>
              <a:gd name="connsiteX6368" fmla="*/ 8616 w 10505529"/>
              <a:gd name="connsiteY6368" fmla="*/ 6537074 h 7458372"/>
              <a:gd name="connsiteX6369" fmla="*/ 30443 w 10505529"/>
              <a:gd name="connsiteY6369" fmla="*/ 6528554 h 7458372"/>
              <a:gd name="connsiteX6370" fmla="*/ 10475977 w 10505529"/>
              <a:gd name="connsiteY6370" fmla="*/ 6327682 h 7458372"/>
              <a:gd name="connsiteX6371" fmla="*/ 10465992 w 10505529"/>
              <a:gd name="connsiteY6371" fmla="*/ 6331276 h 7458372"/>
              <a:gd name="connsiteX6372" fmla="*/ 10462399 w 10505529"/>
              <a:gd name="connsiteY6372" fmla="*/ 6340727 h 7458372"/>
              <a:gd name="connsiteX6373" fmla="*/ 10465992 w 10505529"/>
              <a:gd name="connsiteY6373" fmla="*/ 6350178 h 7458372"/>
              <a:gd name="connsiteX6374" fmla="*/ 10475977 w 10505529"/>
              <a:gd name="connsiteY6374" fmla="*/ 6353640 h 7458372"/>
              <a:gd name="connsiteX6375" fmla="*/ 10481302 w 10505529"/>
              <a:gd name="connsiteY6375" fmla="*/ 6352708 h 7458372"/>
              <a:gd name="connsiteX6376" fmla="*/ 10485029 w 10505529"/>
              <a:gd name="connsiteY6376" fmla="*/ 6350311 h 7458372"/>
              <a:gd name="connsiteX6377" fmla="*/ 10487691 w 10505529"/>
              <a:gd name="connsiteY6377" fmla="*/ 6346052 h 7458372"/>
              <a:gd name="connsiteX6378" fmla="*/ 10488623 w 10505529"/>
              <a:gd name="connsiteY6378" fmla="*/ 6340594 h 7458372"/>
              <a:gd name="connsiteX6379" fmla="*/ 10487691 w 10505529"/>
              <a:gd name="connsiteY6379" fmla="*/ 6335403 h 7458372"/>
              <a:gd name="connsiteX6380" fmla="*/ 10485029 w 10505529"/>
              <a:gd name="connsiteY6380" fmla="*/ 6331276 h 7458372"/>
              <a:gd name="connsiteX6381" fmla="*/ 10481035 w 10505529"/>
              <a:gd name="connsiteY6381" fmla="*/ 6328613 h 7458372"/>
              <a:gd name="connsiteX6382" fmla="*/ 10475977 w 10505529"/>
              <a:gd name="connsiteY6382" fmla="*/ 6327682 h 7458372"/>
              <a:gd name="connsiteX6383" fmla="*/ 10258466 w 10505529"/>
              <a:gd name="connsiteY6383" fmla="*/ 6327682 h 7458372"/>
              <a:gd name="connsiteX6384" fmla="*/ 10248481 w 10505529"/>
              <a:gd name="connsiteY6384" fmla="*/ 6331276 h 7458372"/>
              <a:gd name="connsiteX6385" fmla="*/ 10244887 w 10505529"/>
              <a:gd name="connsiteY6385" fmla="*/ 6340727 h 7458372"/>
              <a:gd name="connsiteX6386" fmla="*/ 10248481 w 10505529"/>
              <a:gd name="connsiteY6386" fmla="*/ 6350178 h 7458372"/>
              <a:gd name="connsiteX6387" fmla="*/ 10258466 w 10505529"/>
              <a:gd name="connsiteY6387" fmla="*/ 6353640 h 7458372"/>
              <a:gd name="connsiteX6388" fmla="*/ 10263790 w 10505529"/>
              <a:gd name="connsiteY6388" fmla="*/ 6352708 h 7458372"/>
              <a:gd name="connsiteX6389" fmla="*/ 10267517 w 10505529"/>
              <a:gd name="connsiteY6389" fmla="*/ 6350311 h 7458372"/>
              <a:gd name="connsiteX6390" fmla="*/ 10270180 w 10505529"/>
              <a:gd name="connsiteY6390" fmla="*/ 6346052 h 7458372"/>
              <a:gd name="connsiteX6391" fmla="*/ 10271112 w 10505529"/>
              <a:gd name="connsiteY6391" fmla="*/ 6340594 h 7458372"/>
              <a:gd name="connsiteX6392" fmla="*/ 10270180 w 10505529"/>
              <a:gd name="connsiteY6392" fmla="*/ 6335403 h 7458372"/>
              <a:gd name="connsiteX6393" fmla="*/ 10267517 w 10505529"/>
              <a:gd name="connsiteY6393" fmla="*/ 6331276 h 7458372"/>
              <a:gd name="connsiteX6394" fmla="*/ 10263524 w 10505529"/>
              <a:gd name="connsiteY6394" fmla="*/ 6328613 h 7458372"/>
              <a:gd name="connsiteX6395" fmla="*/ 10258466 w 10505529"/>
              <a:gd name="connsiteY6395" fmla="*/ 6327682 h 7458372"/>
              <a:gd name="connsiteX6396" fmla="*/ 10040820 w 10505529"/>
              <a:gd name="connsiteY6396" fmla="*/ 6327682 h 7458372"/>
              <a:gd name="connsiteX6397" fmla="*/ 10030835 w 10505529"/>
              <a:gd name="connsiteY6397" fmla="*/ 6331276 h 7458372"/>
              <a:gd name="connsiteX6398" fmla="*/ 10027242 w 10505529"/>
              <a:gd name="connsiteY6398" fmla="*/ 6340727 h 7458372"/>
              <a:gd name="connsiteX6399" fmla="*/ 10030835 w 10505529"/>
              <a:gd name="connsiteY6399" fmla="*/ 6350178 h 7458372"/>
              <a:gd name="connsiteX6400" fmla="*/ 10040820 w 10505529"/>
              <a:gd name="connsiteY6400" fmla="*/ 6353640 h 7458372"/>
              <a:gd name="connsiteX6401" fmla="*/ 10046145 w 10505529"/>
              <a:gd name="connsiteY6401" fmla="*/ 6352708 h 7458372"/>
              <a:gd name="connsiteX6402" fmla="*/ 10049872 w 10505529"/>
              <a:gd name="connsiteY6402" fmla="*/ 6350311 h 7458372"/>
              <a:gd name="connsiteX6403" fmla="*/ 10052534 w 10505529"/>
              <a:gd name="connsiteY6403" fmla="*/ 6346052 h 7458372"/>
              <a:gd name="connsiteX6404" fmla="*/ 10053599 w 10505529"/>
              <a:gd name="connsiteY6404" fmla="*/ 6340594 h 7458372"/>
              <a:gd name="connsiteX6405" fmla="*/ 10052534 w 10505529"/>
              <a:gd name="connsiteY6405" fmla="*/ 6335403 h 7458372"/>
              <a:gd name="connsiteX6406" fmla="*/ 10049872 w 10505529"/>
              <a:gd name="connsiteY6406" fmla="*/ 6331276 h 7458372"/>
              <a:gd name="connsiteX6407" fmla="*/ 10045878 w 10505529"/>
              <a:gd name="connsiteY6407" fmla="*/ 6328613 h 7458372"/>
              <a:gd name="connsiteX6408" fmla="*/ 10040820 w 10505529"/>
              <a:gd name="connsiteY6408" fmla="*/ 6327682 h 7458372"/>
              <a:gd name="connsiteX6409" fmla="*/ 9823176 w 10505529"/>
              <a:gd name="connsiteY6409" fmla="*/ 6327682 h 7458372"/>
              <a:gd name="connsiteX6410" fmla="*/ 9813191 w 10505529"/>
              <a:gd name="connsiteY6410" fmla="*/ 6331276 h 7458372"/>
              <a:gd name="connsiteX6411" fmla="*/ 9809597 w 10505529"/>
              <a:gd name="connsiteY6411" fmla="*/ 6340727 h 7458372"/>
              <a:gd name="connsiteX6412" fmla="*/ 9813191 w 10505529"/>
              <a:gd name="connsiteY6412" fmla="*/ 6350178 h 7458372"/>
              <a:gd name="connsiteX6413" fmla="*/ 9823176 w 10505529"/>
              <a:gd name="connsiteY6413" fmla="*/ 6353640 h 7458372"/>
              <a:gd name="connsiteX6414" fmla="*/ 9828501 w 10505529"/>
              <a:gd name="connsiteY6414" fmla="*/ 6352708 h 7458372"/>
              <a:gd name="connsiteX6415" fmla="*/ 9832227 w 10505529"/>
              <a:gd name="connsiteY6415" fmla="*/ 6350311 h 7458372"/>
              <a:gd name="connsiteX6416" fmla="*/ 9834890 w 10505529"/>
              <a:gd name="connsiteY6416" fmla="*/ 6346052 h 7458372"/>
              <a:gd name="connsiteX6417" fmla="*/ 9835955 w 10505529"/>
              <a:gd name="connsiteY6417" fmla="*/ 6340594 h 7458372"/>
              <a:gd name="connsiteX6418" fmla="*/ 9834890 w 10505529"/>
              <a:gd name="connsiteY6418" fmla="*/ 6335403 h 7458372"/>
              <a:gd name="connsiteX6419" fmla="*/ 9832227 w 10505529"/>
              <a:gd name="connsiteY6419" fmla="*/ 6331276 h 7458372"/>
              <a:gd name="connsiteX6420" fmla="*/ 9828234 w 10505529"/>
              <a:gd name="connsiteY6420" fmla="*/ 6328613 h 7458372"/>
              <a:gd name="connsiteX6421" fmla="*/ 9823176 w 10505529"/>
              <a:gd name="connsiteY6421" fmla="*/ 6327682 h 7458372"/>
              <a:gd name="connsiteX6422" fmla="*/ 9605531 w 10505529"/>
              <a:gd name="connsiteY6422" fmla="*/ 6327682 h 7458372"/>
              <a:gd name="connsiteX6423" fmla="*/ 9595546 w 10505529"/>
              <a:gd name="connsiteY6423" fmla="*/ 6331276 h 7458372"/>
              <a:gd name="connsiteX6424" fmla="*/ 9591952 w 10505529"/>
              <a:gd name="connsiteY6424" fmla="*/ 6340727 h 7458372"/>
              <a:gd name="connsiteX6425" fmla="*/ 9595546 w 10505529"/>
              <a:gd name="connsiteY6425" fmla="*/ 6350178 h 7458372"/>
              <a:gd name="connsiteX6426" fmla="*/ 9605531 w 10505529"/>
              <a:gd name="connsiteY6426" fmla="*/ 6353640 h 7458372"/>
              <a:gd name="connsiteX6427" fmla="*/ 9610855 w 10505529"/>
              <a:gd name="connsiteY6427" fmla="*/ 6352708 h 7458372"/>
              <a:gd name="connsiteX6428" fmla="*/ 9614582 w 10505529"/>
              <a:gd name="connsiteY6428" fmla="*/ 6350311 h 7458372"/>
              <a:gd name="connsiteX6429" fmla="*/ 9617245 w 10505529"/>
              <a:gd name="connsiteY6429" fmla="*/ 6346052 h 7458372"/>
              <a:gd name="connsiteX6430" fmla="*/ 9618309 w 10505529"/>
              <a:gd name="connsiteY6430" fmla="*/ 6340594 h 7458372"/>
              <a:gd name="connsiteX6431" fmla="*/ 9617245 w 10505529"/>
              <a:gd name="connsiteY6431" fmla="*/ 6335403 h 7458372"/>
              <a:gd name="connsiteX6432" fmla="*/ 9614582 w 10505529"/>
              <a:gd name="connsiteY6432" fmla="*/ 6331276 h 7458372"/>
              <a:gd name="connsiteX6433" fmla="*/ 9610589 w 10505529"/>
              <a:gd name="connsiteY6433" fmla="*/ 6328613 h 7458372"/>
              <a:gd name="connsiteX6434" fmla="*/ 9605531 w 10505529"/>
              <a:gd name="connsiteY6434" fmla="*/ 6327682 h 7458372"/>
              <a:gd name="connsiteX6435" fmla="*/ 9387885 w 10505529"/>
              <a:gd name="connsiteY6435" fmla="*/ 6327682 h 7458372"/>
              <a:gd name="connsiteX6436" fmla="*/ 9377900 w 10505529"/>
              <a:gd name="connsiteY6436" fmla="*/ 6331276 h 7458372"/>
              <a:gd name="connsiteX6437" fmla="*/ 9374307 w 10505529"/>
              <a:gd name="connsiteY6437" fmla="*/ 6340727 h 7458372"/>
              <a:gd name="connsiteX6438" fmla="*/ 9377900 w 10505529"/>
              <a:gd name="connsiteY6438" fmla="*/ 6350178 h 7458372"/>
              <a:gd name="connsiteX6439" fmla="*/ 9387885 w 10505529"/>
              <a:gd name="connsiteY6439" fmla="*/ 6353640 h 7458372"/>
              <a:gd name="connsiteX6440" fmla="*/ 9393210 w 10505529"/>
              <a:gd name="connsiteY6440" fmla="*/ 6352708 h 7458372"/>
              <a:gd name="connsiteX6441" fmla="*/ 9396937 w 10505529"/>
              <a:gd name="connsiteY6441" fmla="*/ 6350311 h 7458372"/>
              <a:gd name="connsiteX6442" fmla="*/ 9399599 w 10505529"/>
              <a:gd name="connsiteY6442" fmla="*/ 6346052 h 7458372"/>
              <a:gd name="connsiteX6443" fmla="*/ 9400664 w 10505529"/>
              <a:gd name="connsiteY6443" fmla="*/ 6340594 h 7458372"/>
              <a:gd name="connsiteX6444" fmla="*/ 9399599 w 10505529"/>
              <a:gd name="connsiteY6444" fmla="*/ 6335403 h 7458372"/>
              <a:gd name="connsiteX6445" fmla="*/ 9396937 w 10505529"/>
              <a:gd name="connsiteY6445" fmla="*/ 6331276 h 7458372"/>
              <a:gd name="connsiteX6446" fmla="*/ 9392943 w 10505529"/>
              <a:gd name="connsiteY6446" fmla="*/ 6328613 h 7458372"/>
              <a:gd name="connsiteX6447" fmla="*/ 9387885 w 10505529"/>
              <a:gd name="connsiteY6447" fmla="*/ 6327682 h 7458372"/>
              <a:gd name="connsiteX6448" fmla="*/ 9170374 w 10505529"/>
              <a:gd name="connsiteY6448" fmla="*/ 6327682 h 7458372"/>
              <a:gd name="connsiteX6449" fmla="*/ 9160389 w 10505529"/>
              <a:gd name="connsiteY6449" fmla="*/ 6331276 h 7458372"/>
              <a:gd name="connsiteX6450" fmla="*/ 9156795 w 10505529"/>
              <a:gd name="connsiteY6450" fmla="*/ 6340727 h 7458372"/>
              <a:gd name="connsiteX6451" fmla="*/ 9160389 w 10505529"/>
              <a:gd name="connsiteY6451" fmla="*/ 6350178 h 7458372"/>
              <a:gd name="connsiteX6452" fmla="*/ 9170374 w 10505529"/>
              <a:gd name="connsiteY6452" fmla="*/ 6353640 h 7458372"/>
              <a:gd name="connsiteX6453" fmla="*/ 9175698 w 10505529"/>
              <a:gd name="connsiteY6453" fmla="*/ 6352708 h 7458372"/>
              <a:gd name="connsiteX6454" fmla="*/ 9179425 w 10505529"/>
              <a:gd name="connsiteY6454" fmla="*/ 6350311 h 7458372"/>
              <a:gd name="connsiteX6455" fmla="*/ 9182088 w 10505529"/>
              <a:gd name="connsiteY6455" fmla="*/ 6346052 h 7458372"/>
              <a:gd name="connsiteX6456" fmla="*/ 9183152 w 10505529"/>
              <a:gd name="connsiteY6456" fmla="*/ 6340594 h 7458372"/>
              <a:gd name="connsiteX6457" fmla="*/ 9182088 w 10505529"/>
              <a:gd name="connsiteY6457" fmla="*/ 6335403 h 7458372"/>
              <a:gd name="connsiteX6458" fmla="*/ 9179425 w 10505529"/>
              <a:gd name="connsiteY6458" fmla="*/ 6331276 h 7458372"/>
              <a:gd name="connsiteX6459" fmla="*/ 9175432 w 10505529"/>
              <a:gd name="connsiteY6459" fmla="*/ 6328613 h 7458372"/>
              <a:gd name="connsiteX6460" fmla="*/ 9170374 w 10505529"/>
              <a:gd name="connsiteY6460" fmla="*/ 6327682 h 7458372"/>
              <a:gd name="connsiteX6461" fmla="*/ 8952728 w 10505529"/>
              <a:gd name="connsiteY6461" fmla="*/ 6327682 h 7458372"/>
              <a:gd name="connsiteX6462" fmla="*/ 8942743 w 10505529"/>
              <a:gd name="connsiteY6462" fmla="*/ 6331276 h 7458372"/>
              <a:gd name="connsiteX6463" fmla="*/ 8939150 w 10505529"/>
              <a:gd name="connsiteY6463" fmla="*/ 6340727 h 7458372"/>
              <a:gd name="connsiteX6464" fmla="*/ 8942743 w 10505529"/>
              <a:gd name="connsiteY6464" fmla="*/ 6350178 h 7458372"/>
              <a:gd name="connsiteX6465" fmla="*/ 8952728 w 10505529"/>
              <a:gd name="connsiteY6465" fmla="*/ 6353640 h 7458372"/>
              <a:gd name="connsiteX6466" fmla="*/ 8958053 w 10505529"/>
              <a:gd name="connsiteY6466" fmla="*/ 6352708 h 7458372"/>
              <a:gd name="connsiteX6467" fmla="*/ 8961780 w 10505529"/>
              <a:gd name="connsiteY6467" fmla="*/ 6350311 h 7458372"/>
              <a:gd name="connsiteX6468" fmla="*/ 8964442 w 10505529"/>
              <a:gd name="connsiteY6468" fmla="*/ 6346052 h 7458372"/>
              <a:gd name="connsiteX6469" fmla="*/ 8965507 w 10505529"/>
              <a:gd name="connsiteY6469" fmla="*/ 6340594 h 7458372"/>
              <a:gd name="connsiteX6470" fmla="*/ 8964442 w 10505529"/>
              <a:gd name="connsiteY6470" fmla="*/ 6335403 h 7458372"/>
              <a:gd name="connsiteX6471" fmla="*/ 8961780 w 10505529"/>
              <a:gd name="connsiteY6471" fmla="*/ 6331276 h 7458372"/>
              <a:gd name="connsiteX6472" fmla="*/ 8957786 w 10505529"/>
              <a:gd name="connsiteY6472" fmla="*/ 6328613 h 7458372"/>
              <a:gd name="connsiteX6473" fmla="*/ 8952728 w 10505529"/>
              <a:gd name="connsiteY6473" fmla="*/ 6327682 h 7458372"/>
              <a:gd name="connsiteX6474" fmla="*/ 8735083 w 10505529"/>
              <a:gd name="connsiteY6474" fmla="*/ 6327682 h 7458372"/>
              <a:gd name="connsiteX6475" fmla="*/ 8725098 w 10505529"/>
              <a:gd name="connsiteY6475" fmla="*/ 6331276 h 7458372"/>
              <a:gd name="connsiteX6476" fmla="*/ 8721504 w 10505529"/>
              <a:gd name="connsiteY6476" fmla="*/ 6340727 h 7458372"/>
              <a:gd name="connsiteX6477" fmla="*/ 8725098 w 10505529"/>
              <a:gd name="connsiteY6477" fmla="*/ 6350178 h 7458372"/>
              <a:gd name="connsiteX6478" fmla="*/ 8735083 w 10505529"/>
              <a:gd name="connsiteY6478" fmla="*/ 6353640 h 7458372"/>
              <a:gd name="connsiteX6479" fmla="*/ 8740407 w 10505529"/>
              <a:gd name="connsiteY6479" fmla="*/ 6352708 h 7458372"/>
              <a:gd name="connsiteX6480" fmla="*/ 8744134 w 10505529"/>
              <a:gd name="connsiteY6480" fmla="*/ 6350311 h 7458372"/>
              <a:gd name="connsiteX6481" fmla="*/ 8746797 w 10505529"/>
              <a:gd name="connsiteY6481" fmla="*/ 6346052 h 7458372"/>
              <a:gd name="connsiteX6482" fmla="*/ 8747862 w 10505529"/>
              <a:gd name="connsiteY6482" fmla="*/ 6340594 h 7458372"/>
              <a:gd name="connsiteX6483" fmla="*/ 8746797 w 10505529"/>
              <a:gd name="connsiteY6483" fmla="*/ 6335403 h 7458372"/>
              <a:gd name="connsiteX6484" fmla="*/ 8744134 w 10505529"/>
              <a:gd name="connsiteY6484" fmla="*/ 6331276 h 7458372"/>
              <a:gd name="connsiteX6485" fmla="*/ 8740141 w 10505529"/>
              <a:gd name="connsiteY6485" fmla="*/ 6328613 h 7458372"/>
              <a:gd name="connsiteX6486" fmla="*/ 8735083 w 10505529"/>
              <a:gd name="connsiteY6486" fmla="*/ 6327682 h 7458372"/>
              <a:gd name="connsiteX6487" fmla="*/ 8517438 w 10505529"/>
              <a:gd name="connsiteY6487" fmla="*/ 6327682 h 7458372"/>
              <a:gd name="connsiteX6488" fmla="*/ 8507453 w 10505529"/>
              <a:gd name="connsiteY6488" fmla="*/ 6331276 h 7458372"/>
              <a:gd name="connsiteX6489" fmla="*/ 8503860 w 10505529"/>
              <a:gd name="connsiteY6489" fmla="*/ 6340727 h 7458372"/>
              <a:gd name="connsiteX6490" fmla="*/ 8507453 w 10505529"/>
              <a:gd name="connsiteY6490" fmla="*/ 6350178 h 7458372"/>
              <a:gd name="connsiteX6491" fmla="*/ 8517438 w 10505529"/>
              <a:gd name="connsiteY6491" fmla="*/ 6353640 h 7458372"/>
              <a:gd name="connsiteX6492" fmla="*/ 8522763 w 10505529"/>
              <a:gd name="connsiteY6492" fmla="*/ 6352708 h 7458372"/>
              <a:gd name="connsiteX6493" fmla="*/ 8526490 w 10505529"/>
              <a:gd name="connsiteY6493" fmla="*/ 6350311 h 7458372"/>
              <a:gd name="connsiteX6494" fmla="*/ 8529152 w 10505529"/>
              <a:gd name="connsiteY6494" fmla="*/ 6346052 h 7458372"/>
              <a:gd name="connsiteX6495" fmla="*/ 8530084 w 10505529"/>
              <a:gd name="connsiteY6495" fmla="*/ 6340594 h 7458372"/>
              <a:gd name="connsiteX6496" fmla="*/ 8529152 w 10505529"/>
              <a:gd name="connsiteY6496" fmla="*/ 6335403 h 7458372"/>
              <a:gd name="connsiteX6497" fmla="*/ 8526490 w 10505529"/>
              <a:gd name="connsiteY6497" fmla="*/ 6331276 h 7458372"/>
              <a:gd name="connsiteX6498" fmla="*/ 8522496 w 10505529"/>
              <a:gd name="connsiteY6498" fmla="*/ 6328613 h 7458372"/>
              <a:gd name="connsiteX6499" fmla="*/ 8517438 w 10505529"/>
              <a:gd name="connsiteY6499" fmla="*/ 6327682 h 7458372"/>
              <a:gd name="connsiteX6500" fmla="*/ 8299793 w 10505529"/>
              <a:gd name="connsiteY6500" fmla="*/ 6327682 h 7458372"/>
              <a:gd name="connsiteX6501" fmla="*/ 8289809 w 10505529"/>
              <a:gd name="connsiteY6501" fmla="*/ 6331276 h 7458372"/>
              <a:gd name="connsiteX6502" fmla="*/ 8286215 w 10505529"/>
              <a:gd name="connsiteY6502" fmla="*/ 6340727 h 7458372"/>
              <a:gd name="connsiteX6503" fmla="*/ 8289809 w 10505529"/>
              <a:gd name="connsiteY6503" fmla="*/ 6350178 h 7458372"/>
              <a:gd name="connsiteX6504" fmla="*/ 8299793 w 10505529"/>
              <a:gd name="connsiteY6504" fmla="*/ 6353640 h 7458372"/>
              <a:gd name="connsiteX6505" fmla="*/ 8305118 w 10505529"/>
              <a:gd name="connsiteY6505" fmla="*/ 6352708 h 7458372"/>
              <a:gd name="connsiteX6506" fmla="*/ 8308844 w 10505529"/>
              <a:gd name="connsiteY6506" fmla="*/ 6350311 h 7458372"/>
              <a:gd name="connsiteX6507" fmla="*/ 8311507 w 10505529"/>
              <a:gd name="connsiteY6507" fmla="*/ 6346052 h 7458372"/>
              <a:gd name="connsiteX6508" fmla="*/ 8312439 w 10505529"/>
              <a:gd name="connsiteY6508" fmla="*/ 6340594 h 7458372"/>
              <a:gd name="connsiteX6509" fmla="*/ 8311507 w 10505529"/>
              <a:gd name="connsiteY6509" fmla="*/ 6335403 h 7458372"/>
              <a:gd name="connsiteX6510" fmla="*/ 8308844 w 10505529"/>
              <a:gd name="connsiteY6510" fmla="*/ 6331276 h 7458372"/>
              <a:gd name="connsiteX6511" fmla="*/ 8304851 w 10505529"/>
              <a:gd name="connsiteY6511" fmla="*/ 6328613 h 7458372"/>
              <a:gd name="connsiteX6512" fmla="*/ 8299793 w 10505529"/>
              <a:gd name="connsiteY6512" fmla="*/ 6327682 h 7458372"/>
              <a:gd name="connsiteX6513" fmla="*/ 8082281 w 10505529"/>
              <a:gd name="connsiteY6513" fmla="*/ 6327682 h 7458372"/>
              <a:gd name="connsiteX6514" fmla="*/ 8072297 w 10505529"/>
              <a:gd name="connsiteY6514" fmla="*/ 6331276 h 7458372"/>
              <a:gd name="connsiteX6515" fmla="*/ 8068703 w 10505529"/>
              <a:gd name="connsiteY6515" fmla="*/ 6340727 h 7458372"/>
              <a:gd name="connsiteX6516" fmla="*/ 8072297 w 10505529"/>
              <a:gd name="connsiteY6516" fmla="*/ 6350178 h 7458372"/>
              <a:gd name="connsiteX6517" fmla="*/ 8082281 w 10505529"/>
              <a:gd name="connsiteY6517" fmla="*/ 6353640 h 7458372"/>
              <a:gd name="connsiteX6518" fmla="*/ 8087605 w 10505529"/>
              <a:gd name="connsiteY6518" fmla="*/ 6352708 h 7458372"/>
              <a:gd name="connsiteX6519" fmla="*/ 8091332 w 10505529"/>
              <a:gd name="connsiteY6519" fmla="*/ 6350311 h 7458372"/>
              <a:gd name="connsiteX6520" fmla="*/ 8093994 w 10505529"/>
              <a:gd name="connsiteY6520" fmla="*/ 6346052 h 7458372"/>
              <a:gd name="connsiteX6521" fmla="*/ 8094926 w 10505529"/>
              <a:gd name="connsiteY6521" fmla="*/ 6340594 h 7458372"/>
              <a:gd name="connsiteX6522" fmla="*/ 8093994 w 10505529"/>
              <a:gd name="connsiteY6522" fmla="*/ 6335403 h 7458372"/>
              <a:gd name="connsiteX6523" fmla="*/ 8091332 w 10505529"/>
              <a:gd name="connsiteY6523" fmla="*/ 6331276 h 7458372"/>
              <a:gd name="connsiteX6524" fmla="*/ 8087338 w 10505529"/>
              <a:gd name="connsiteY6524" fmla="*/ 6328613 h 7458372"/>
              <a:gd name="connsiteX6525" fmla="*/ 8082281 w 10505529"/>
              <a:gd name="connsiteY6525" fmla="*/ 6327682 h 7458372"/>
              <a:gd name="connsiteX6526" fmla="*/ 7864636 w 10505529"/>
              <a:gd name="connsiteY6526" fmla="*/ 6327682 h 7458372"/>
              <a:gd name="connsiteX6527" fmla="*/ 7854652 w 10505529"/>
              <a:gd name="connsiteY6527" fmla="*/ 6331276 h 7458372"/>
              <a:gd name="connsiteX6528" fmla="*/ 7851058 w 10505529"/>
              <a:gd name="connsiteY6528" fmla="*/ 6340727 h 7458372"/>
              <a:gd name="connsiteX6529" fmla="*/ 7854652 w 10505529"/>
              <a:gd name="connsiteY6529" fmla="*/ 6350178 h 7458372"/>
              <a:gd name="connsiteX6530" fmla="*/ 7864636 w 10505529"/>
              <a:gd name="connsiteY6530" fmla="*/ 6353640 h 7458372"/>
              <a:gd name="connsiteX6531" fmla="*/ 7869961 w 10505529"/>
              <a:gd name="connsiteY6531" fmla="*/ 6352708 h 7458372"/>
              <a:gd name="connsiteX6532" fmla="*/ 7873687 w 10505529"/>
              <a:gd name="connsiteY6532" fmla="*/ 6350311 h 7458372"/>
              <a:gd name="connsiteX6533" fmla="*/ 7876350 w 10505529"/>
              <a:gd name="connsiteY6533" fmla="*/ 6346052 h 7458372"/>
              <a:gd name="connsiteX6534" fmla="*/ 7877282 w 10505529"/>
              <a:gd name="connsiteY6534" fmla="*/ 6340594 h 7458372"/>
              <a:gd name="connsiteX6535" fmla="*/ 7876350 w 10505529"/>
              <a:gd name="connsiteY6535" fmla="*/ 6335403 h 7458372"/>
              <a:gd name="connsiteX6536" fmla="*/ 7873687 w 10505529"/>
              <a:gd name="connsiteY6536" fmla="*/ 6331276 h 7458372"/>
              <a:gd name="connsiteX6537" fmla="*/ 7869694 w 10505529"/>
              <a:gd name="connsiteY6537" fmla="*/ 6328613 h 7458372"/>
              <a:gd name="connsiteX6538" fmla="*/ 7864636 w 10505529"/>
              <a:gd name="connsiteY6538" fmla="*/ 6327682 h 7458372"/>
              <a:gd name="connsiteX6539" fmla="*/ 7646991 w 10505529"/>
              <a:gd name="connsiteY6539" fmla="*/ 6327682 h 7458372"/>
              <a:gd name="connsiteX6540" fmla="*/ 7637007 w 10505529"/>
              <a:gd name="connsiteY6540" fmla="*/ 6331276 h 7458372"/>
              <a:gd name="connsiteX6541" fmla="*/ 7633413 w 10505529"/>
              <a:gd name="connsiteY6541" fmla="*/ 6340727 h 7458372"/>
              <a:gd name="connsiteX6542" fmla="*/ 7637007 w 10505529"/>
              <a:gd name="connsiteY6542" fmla="*/ 6350178 h 7458372"/>
              <a:gd name="connsiteX6543" fmla="*/ 7646991 w 10505529"/>
              <a:gd name="connsiteY6543" fmla="*/ 6353640 h 7458372"/>
              <a:gd name="connsiteX6544" fmla="*/ 7652315 w 10505529"/>
              <a:gd name="connsiteY6544" fmla="*/ 6352708 h 7458372"/>
              <a:gd name="connsiteX6545" fmla="*/ 7656042 w 10505529"/>
              <a:gd name="connsiteY6545" fmla="*/ 6350311 h 7458372"/>
              <a:gd name="connsiteX6546" fmla="*/ 7658705 w 10505529"/>
              <a:gd name="connsiteY6546" fmla="*/ 6346052 h 7458372"/>
              <a:gd name="connsiteX6547" fmla="*/ 7659769 w 10505529"/>
              <a:gd name="connsiteY6547" fmla="*/ 6340594 h 7458372"/>
              <a:gd name="connsiteX6548" fmla="*/ 7658705 w 10505529"/>
              <a:gd name="connsiteY6548" fmla="*/ 6335403 h 7458372"/>
              <a:gd name="connsiteX6549" fmla="*/ 7656042 w 10505529"/>
              <a:gd name="connsiteY6549" fmla="*/ 6331276 h 7458372"/>
              <a:gd name="connsiteX6550" fmla="*/ 7652049 w 10505529"/>
              <a:gd name="connsiteY6550" fmla="*/ 6328613 h 7458372"/>
              <a:gd name="connsiteX6551" fmla="*/ 7646991 w 10505529"/>
              <a:gd name="connsiteY6551" fmla="*/ 6327682 h 7458372"/>
              <a:gd name="connsiteX6552" fmla="*/ 7429345 w 10505529"/>
              <a:gd name="connsiteY6552" fmla="*/ 6327682 h 7458372"/>
              <a:gd name="connsiteX6553" fmla="*/ 7419361 w 10505529"/>
              <a:gd name="connsiteY6553" fmla="*/ 6331276 h 7458372"/>
              <a:gd name="connsiteX6554" fmla="*/ 7415768 w 10505529"/>
              <a:gd name="connsiteY6554" fmla="*/ 6340727 h 7458372"/>
              <a:gd name="connsiteX6555" fmla="*/ 7419361 w 10505529"/>
              <a:gd name="connsiteY6555" fmla="*/ 6350178 h 7458372"/>
              <a:gd name="connsiteX6556" fmla="*/ 7429345 w 10505529"/>
              <a:gd name="connsiteY6556" fmla="*/ 6353640 h 7458372"/>
              <a:gd name="connsiteX6557" fmla="*/ 7434670 w 10505529"/>
              <a:gd name="connsiteY6557" fmla="*/ 6352708 h 7458372"/>
              <a:gd name="connsiteX6558" fmla="*/ 7438397 w 10505529"/>
              <a:gd name="connsiteY6558" fmla="*/ 6350311 h 7458372"/>
              <a:gd name="connsiteX6559" fmla="*/ 7441059 w 10505529"/>
              <a:gd name="connsiteY6559" fmla="*/ 6346052 h 7458372"/>
              <a:gd name="connsiteX6560" fmla="*/ 7442124 w 10505529"/>
              <a:gd name="connsiteY6560" fmla="*/ 6340594 h 7458372"/>
              <a:gd name="connsiteX6561" fmla="*/ 7441059 w 10505529"/>
              <a:gd name="connsiteY6561" fmla="*/ 6335403 h 7458372"/>
              <a:gd name="connsiteX6562" fmla="*/ 7438397 w 10505529"/>
              <a:gd name="connsiteY6562" fmla="*/ 6331276 h 7458372"/>
              <a:gd name="connsiteX6563" fmla="*/ 7434403 w 10505529"/>
              <a:gd name="connsiteY6563" fmla="*/ 6328613 h 7458372"/>
              <a:gd name="connsiteX6564" fmla="*/ 7429345 w 10505529"/>
              <a:gd name="connsiteY6564" fmla="*/ 6327682 h 7458372"/>
              <a:gd name="connsiteX6565" fmla="*/ 7211701 w 10505529"/>
              <a:gd name="connsiteY6565" fmla="*/ 6327682 h 7458372"/>
              <a:gd name="connsiteX6566" fmla="*/ 7201717 w 10505529"/>
              <a:gd name="connsiteY6566" fmla="*/ 6331276 h 7458372"/>
              <a:gd name="connsiteX6567" fmla="*/ 7198123 w 10505529"/>
              <a:gd name="connsiteY6567" fmla="*/ 6340727 h 7458372"/>
              <a:gd name="connsiteX6568" fmla="*/ 7201717 w 10505529"/>
              <a:gd name="connsiteY6568" fmla="*/ 6350178 h 7458372"/>
              <a:gd name="connsiteX6569" fmla="*/ 7211701 w 10505529"/>
              <a:gd name="connsiteY6569" fmla="*/ 6353640 h 7458372"/>
              <a:gd name="connsiteX6570" fmla="*/ 7217026 w 10505529"/>
              <a:gd name="connsiteY6570" fmla="*/ 6352708 h 7458372"/>
              <a:gd name="connsiteX6571" fmla="*/ 7220752 w 10505529"/>
              <a:gd name="connsiteY6571" fmla="*/ 6350311 h 7458372"/>
              <a:gd name="connsiteX6572" fmla="*/ 7223415 w 10505529"/>
              <a:gd name="connsiteY6572" fmla="*/ 6346052 h 7458372"/>
              <a:gd name="connsiteX6573" fmla="*/ 7224480 w 10505529"/>
              <a:gd name="connsiteY6573" fmla="*/ 6340594 h 7458372"/>
              <a:gd name="connsiteX6574" fmla="*/ 7223415 w 10505529"/>
              <a:gd name="connsiteY6574" fmla="*/ 6335403 h 7458372"/>
              <a:gd name="connsiteX6575" fmla="*/ 7220752 w 10505529"/>
              <a:gd name="connsiteY6575" fmla="*/ 6331276 h 7458372"/>
              <a:gd name="connsiteX6576" fmla="*/ 7216759 w 10505529"/>
              <a:gd name="connsiteY6576" fmla="*/ 6328613 h 7458372"/>
              <a:gd name="connsiteX6577" fmla="*/ 7211701 w 10505529"/>
              <a:gd name="connsiteY6577" fmla="*/ 6327682 h 7458372"/>
              <a:gd name="connsiteX6578" fmla="*/ 6994056 w 10505529"/>
              <a:gd name="connsiteY6578" fmla="*/ 6327682 h 7458372"/>
              <a:gd name="connsiteX6579" fmla="*/ 6984072 w 10505529"/>
              <a:gd name="connsiteY6579" fmla="*/ 6331276 h 7458372"/>
              <a:gd name="connsiteX6580" fmla="*/ 6980478 w 10505529"/>
              <a:gd name="connsiteY6580" fmla="*/ 6340727 h 7458372"/>
              <a:gd name="connsiteX6581" fmla="*/ 6984072 w 10505529"/>
              <a:gd name="connsiteY6581" fmla="*/ 6350178 h 7458372"/>
              <a:gd name="connsiteX6582" fmla="*/ 6994056 w 10505529"/>
              <a:gd name="connsiteY6582" fmla="*/ 6353640 h 7458372"/>
              <a:gd name="connsiteX6583" fmla="*/ 6999380 w 10505529"/>
              <a:gd name="connsiteY6583" fmla="*/ 6352708 h 7458372"/>
              <a:gd name="connsiteX6584" fmla="*/ 7003107 w 10505529"/>
              <a:gd name="connsiteY6584" fmla="*/ 6350311 h 7458372"/>
              <a:gd name="connsiteX6585" fmla="*/ 7005769 w 10505529"/>
              <a:gd name="connsiteY6585" fmla="*/ 6346052 h 7458372"/>
              <a:gd name="connsiteX6586" fmla="*/ 7006834 w 10505529"/>
              <a:gd name="connsiteY6586" fmla="*/ 6340594 h 7458372"/>
              <a:gd name="connsiteX6587" fmla="*/ 7005769 w 10505529"/>
              <a:gd name="connsiteY6587" fmla="*/ 6335403 h 7458372"/>
              <a:gd name="connsiteX6588" fmla="*/ 7003107 w 10505529"/>
              <a:gd name="connsiteY6588" fmla="*/ 6331276 h 7458372"/>
              <a:gd name="connsiteX6589" fmla="*/ 6999113 w 10505529"/>
              <a:gd name="connsiteY6589" fmla="*/ 6328613 h 7458372"/>
              <a:gd name="connsiteX6590" fmla="*/ 6994056 w 10505529"/>
              <a:gd name="connsiteY6590" fmla="*/ 6327682 h 7458372"/>
              <a:gd name="connsiteX6591" fmla="*/ 6776544 w 10505529"/>
              <a:gd name="connsiteY6591" fmla="*/ 6327682 h 7458372"/>
              <a:gd name="connsiteX6592" fmla="*/ 6766560 w 10505529"/>
              <a:gd name="connsiteY6592" fmla="*/ 6331276 h 7458372"/>
              <a:gd name="connsiteX6593" fmla="*/ 6762966 w 10505529"/>
              <a:gd name="connsiteY6593" fmla="*/ 6340727 h 7458372"/>
              <a:gd name="connsiteX6594" fmla="*/ 6766560 w 10505529"/>
              <a:gd name="connsiteY6594" fmla="*/ 6350178 h 7458372"/>
              <a:gd name="connsiteX6595" fmla="*/ 6776544 w 10505529"/>
              <a:gd name="connsiteY6595" fmla="*/ 6353640 h 7458372"/>
              <a:gd name="connsiteX6596" fmla="*/ 6781869 w 10505529"/>
              <a:gd name="connsiteY6596" fmla="*/ 6352708 h 7458372"/>
              <a:gd name="connsiteX6597" fmla="*/ 6785595 w 10505529"/>
              <a:gd name="connsiteY6597" fmla="*/ 6350311 h 7458372"/>
              <a:gd name="connsiteX6598" fmla="*/ 6788258 w 10505529"/>
              <a:gd name="connsiteY6598" fmla="*/ 6346052 h 7458372"/>
              <a:gd name="connsiteX6599" fmla="*/ 6789323 w 10505529"/>
              <a:gd name="connsiteY6599" fmla="*/ 6340594 h 7458372"/>
              <a:gd name="connsiteX6600" fmla="*/ 6788258 w 10505529"/>
              <a:gd name="connsiteY6600" fmla="*/ 6335403 h 7458372"/>
              <a:gd name="connsiteX6601" fmla="*/ 6785595 w 10505529"/>
              <a:gd name="connsiteY6601" fmla="*/ 6331276 h 7458372"/>
              <a:gd name="connsiteX6602" fmla="*/ 6781602 w 10505529"/>
              <a:gd name="connsiteY6602" fmla="*/ 6328613 h 7458372"/>
              <a:gd name="connsiteX6603" fmla="*/ 6776544 w 10505529"/>
              <a:gd name="connsiteY6603" fmla="*/ 6327682 h 7458372"/>
              <a:gd name="connsiteX6604" fmla="*/ 6558899 w 10505529"/>
              <a:gd name="connsiteY6604" fmla="*/ 6327682 h 7458372"/>
              <a:gd name="connsiteX6605" fmla="*/ 6548915 w 10505529"/>
              <a:gd name="connsiteY6605" fmla="*/ 6331276 h 7458372"/>
              <a:gd name="connsiteX6606" fmla="*/ 6545321 w 10505529"/>
              <a:gd name="connsiteY6606" fmla="*/ 6340727 h 7458372"/>
              <a:gd name="connsiteX6607" fmla="*/ 6548915 w 10505529"/>
              <a:gd name="connsiteY6607" fmla="*/ 6350178 h 7458372"/>
              <a:gd name="connsiteX6608" fmla="*/ 6558899 w 10505529"/>
              <a:gd name="connsiteY6608" fmla="*/ 6353640 h 7458372"/>
              <a:gd name="connsiteX6609" fmla="*/ 6564223 w 10505529"/>
              <a:gd name="connsiteY6609" fmla="*/ 6352708 h 7458372"/>
              <a:gd name="connsiteX6610" fmla="*/ 6567950 w 10505529"/>
              <a:gd name="connsiteY6610" fmla="*/ 6350311 h 7458372"/>
              <a:gd name="connsiteX6611" fmla="*/ 6570612 w 10505529"/>
              <a:gd name="connsiteY6611" fmla="*/ 6346052 h 7458372"/>
              <a:gd name="connsiteX6612" fmla="*/ 6571677 w 10505529"/>
              <a:gd name="connsiteY6612" fmla="*/ 6340594 h 7458372"/>
              <a:gd name="connsiteX6613" fmla="*/ 6570612 w 10505529"/>
              <a:gd name="connsiteY6613" fmla="*/ 6335403 h 7458372"/>
              <a:gd name="connsiteX6614" fmla="*/ 6567950 w 10505529"/>
              <a:gd name="connsiteY6614" fmla="*/ 6331276 h 7458372"/>
              <a:gd name="connsiteX6615" fmla="*/ 6563956 w 10505529"/>
              <a:gd name="connsiteY6615" fmla="*/ 6328613 h 7458372"/>
              <a:gd name="connsiteX6616" fmla="*/ 6558899 w 10505529"/>
              <a:gd name="connsiteY6616" fmla="*/ 6327682 h 7458372"/>
              <a:gd name="connsiteX6617" fmla="*/ 6341253 w 10505529"/>
              <a:gd name="connsiteY6617" fmla="*/ 6327682 h 7458372"/>
              <a:gd name="connsiteX6618" fmla="*/ 6331270 w 10505529"/>
              <a:gd name="connsiteY6618" fmla="*/ 6331276 h 7458372"/>
              <a:gd name="connsiteX6619" fmla="*/ 6327675 w 10505529"/>
              <a:gd name="connsiteY6619" fmla="*/ 6340727 h 7458372"/>
              <a:gd name="connsiteX6620" fmla="*/ 6331270 w 10505529"/>
              <a:gd name="connsiteY6620" fmla="*/ 6350178 h 7458372"/>
              <a:gd name="connsiteX6621" fmla="*/ 6341253 w 10505529"/>
              <a:gd name="connsiteY6621" fmla="*/ 6353640 h 7458372"/>
              <a:gd name="connsiteX6622" fmla="*/ 6346578 w 10505529"/>
              <a:gd name="connsiteY6622" fmla="*/ 6352708 h 7458372"/>
              <a:gd name="connsiteX6623" fmla="*/ 6350305 w 10505529"/>
              <a:gd name="connsiteY6623" fmla="*/ 6350311 h 7458372"/>
              <a:gd name="connsiteX6624" fmla="*/ 6352968 w 10505529"/>
              <a:gd name="connsiteY6624" fmla="*/ 6346052 h 7458372"/>
              <a:gd name="connsiteX6625" fmla="*/ 6354033 w 10505529"/>
              <a:gd name="connsiteY6625" fmla="*/ 6340594 h 7458372"/>
              <a:gd name="connsiteX6626" fmla="*/ 6352968 w 10505529"/>
              <a:gd name="connsiteY6626" fmla="*/ 6335403 h 7458372"/>
              <a:gd name="connsiteX6627" fmla="*/ 6350305 w 10505529"/>
              <a:gd name="connsiteY6627" fmla="*/ 6331276 h 7458372"/>
              <a:gd name="connsiteX6628" fmla="*/ 6346312 w 10505529"/>
              <a:gd name="connsiteY6628" fmla="*/ 6328613 h 7458372"/>
              <a:gd name="connsiteX6629" fmla="*/ 6341253 w 10505529"/>
              <a:gd name="connsiteY6629" fmla="*/ 6327682 h 7458372"/>
              <a:gd name="connsiteX6630" fmla="*/ 6123608 w 10505529"/>
              <a:gd name="connsiteY6630" fmla="*/ 6327682 h 7458372"/>
              <a:gd name="connsiteX6631" fmla="*/ 6113624 w 10505529"/>
              <a:gd name="connsiteY6631" fmla="*/ 6331276 h 7458372"/>
              <a:gd name="connsiteX6632" fmla="*/ 6110030 w 10505529"/>
              <a:gd name="connsiteY6632" fmla="*/ 6340727 h 7458372"/>
              <a:gd name="connsiteX6633" fmla="*/ 6113624 w 10505529"/>
              <a:gd name="connsiteY6633" fmla="*/ 6350178 h 7458372"/>
              <a:gd name="connsiteX6634" fmla="*/ 6123608 w 10505529"/>
              <a:gd name="connsiteY6634" fmla="*/ 6353640 h 7458372"/>
              <a:gd name="connsiteX6635" fmla="*/ 6128932 w 10505529"/>
              <a:gd name="connsiteY6635" fmla="*/ 6352708 h 7458372"/>
              <a:gd name="connsiteX6636" fmla="*/ 6132659 w 10505529"/>
              <a:gd name="connsiteY6636" fmla="*/ 6350311 h 7458372"/>
              <a:gd name="connsiteX6637" fmla="*/ 6135322 w 10505529"/>
              <a:gd name="connsiteY6637" fmla="*/ 6346052 h 7458372"/>
              <a:gd name="connsiteX6638" fmla="*/ 6136387 w 10505529"/>
              <a:gd name="connsiteY6638" fmla="*/ 6340594 h 7458372"/>
              <a:gd name="connsiteX6639" fmla="*/ 6135322 w 10505529"/>
              <a:gd name="connsiteY6639" fmla="*/ 6335403 h 7458372"/>
              <a:gd name="connsiteX6640" fmla="*/ 6132659 w 10505529"/>
              <a:gd name="connsiteY6640" fmla="*/ 6331276 h 7458372"/>
              <a:gd name="connsiteX6641" fmla="*/ 6128666 w 10505529"/>
              <a:gd name="connsiteY6641" fmla="*/ 6328613 h 7458372"/>
              <a:gd name="connsiteX6642" fmla="*/ 6123608 w 10505529"/>
              <a:gd name="connsiteY6642" fmla="*/ 6327682 h 7458372"/>
              <a:gd name="connsiteX6643" fmla="*/ 5905963 w 10505529"/>
              <a:gd name="connsiteY6643" fmla="*/ 6327682 h 7458372"/>
              <a:gd name="connsiteX6644" fmla="*/ 5895979 w 10505529"/>
              <a:gd name="connsiteY6644" fmla="*/ 6331276 h 7458372"/>
              <a:gd name="connsiteX6645" fmla="*/ 5892385 w 10505529"/>
              <a:gd name="connsiteY6645" fmla="*/ 6340727 h 7458372"/>
              <a:gd name="connsiteX6646" fmla="*/ 5895979 w 10505529"/>
              <a:gd name="connsiteY6646" fmla="*/ 6350178 h 7458372"/>
              <a:gd name="connsiteX6647" fmla="*/ 5905963 w 10505529"/>
              <a:gd name="connsiteY6647" fmla="*/ 6353640 h 7458372"/>
              <a:gd name="connsiteX6648" fmla="*/ 5911287 w 10505529"/>
              <a:gd name="connsiteY6648" fmla="*/ 6352708 h 7458372"/>
              <a:gd name="connsiteX6649" fmla="*/ 5915014 w 10505529"/>
              <a:gd name="connsiteY6649" fmla="*/ 6350311 h 7458372"/>
              <a:gd name="connsiteX6650" fmla="*/ 5917677 w 10505529"/>
              <a:gd name="connsiteY6650" fmla="*/ 6346052 h 7458372"/>
              <a:gd name="connsiteX6651" fmla="*/ 5918742 w 10505529"/>
              <a:gd name="connsiteY6651" fmla="*/ 6340594 h 7458372"/>
              <a:gd name="connsiteX6652" fmla="*/ 5917677 w 10505529"/>
              <a:gd name="connsiteY6652" fmla="*/ 6335403 h 7458372"/>
              <a:gd name="connsiteX6653" fmla="*/ 5915014 w 10505529"/>
              <a:gd name="connsiteY6653" fmla="*/ 6331276 h 7458372"/>
              <a:gd name="connsiteX6654" fmla="*/ 5911021 w 10505529"/>
              <a:gd name="connsiteY6654" fmla="*/ 6328613 h 7458372"/>
              <a:gd name="connsiteX6655" fmla="*/ 5905963 w 10505529"/>
              <a:gd name="connsiteY6655" fmla="*/ 6327682 h 7458372"/>
              <a:gd name="connsiteX6656" fmla="*/ 5688451 w 10505529"/>
              <a:gd name="connsiteY6656" fmla="*/ 6327682 h 7458372"/>
              <a:gd name="connsiteX6657" fmla="*/ 5678467 w 10505529"/>
              <a:gd name="connsiteY6657" fmla="*/ 6331276 h 7458372"/>
              <a:gd name="connsiteX6658" fmla="*/ 5674873 w 10505529"/>
              <a:gd name="connsiteY6658" fmla="*/ 6340727 h 7458372"/>
              <a:gd name="connsiteX6659" fmla="*/ 5678467 w 10505529"/>
              <a:gd name="connsiteY6659" fmla="*/ 6350178 h 7458372"/>
              <a:gd name="connsiteX6660" fmla="*/ 5688451 w 10505529"/>
              <a:gd name="connsiteY6660" fmla="*/ 6353640 h 7458372"/>
              <a:gd name="connsiteX6661" fmla="*/ 5693775 w 10505529"/>
              <a:gd name="connsiteY6661" fmla="*/ 6352708 h 7458372"/>
              <a:gd name="connsiteX6662" fmla="*/ 5697502 w 10505529"/>
              <a:gd name="connsiteY6662" fmla="*/ 6350311 h 7458372"/>
              <a:gd name="connsiteX6663" fmla="*/ 5700165 w 10505529"/>
              <a:gd name="connsiteY6663" fmla="*/ 6346052 h 7458372"/>
              <a:gd name="connsiteX6664" fmla="*/ 5701230 w 10505529"/>
              <a:gd name="connsiteY6664" fmla="*/ 6340594 h 7458372"/>
              <a:gd name="connsiteX6665" fmla="*/ 5700165 w 10505529"/>
              <a:gd name="connsiteY6665" fmla="*/ 6335403 h 7458372"/>
              <a:gd name="connsiteX6666" fmla="*/ 5697502 w 10505529"/>
              <a:gd name="connsiteY6666" fmla="*/ 6331276 h 7458372"/>
              <a:gd name="connsiteX6667" fmla="*/ 5693509 w 10505529"/>
              <a:gd name="connsiteY6667" fmla="*/ 6328613 h 7458372"/>
              <a:gd name="connsiteX6668" fmla="*/ 5688451 w 10505529"/>
              <a:gd name="connsiteY6668" fmla="*/ 6327682 h 7458372"/>
              <a:gd name="connsiteX6669" fmla="*/ 5470806 w 10505529"/>
              <a:gd name="connsiteY6669" fmla="*/ 6327682 h 7458372"/>
              <a:gd name="connsiteX6670" fmla="*/ 5460822 w 10505529"/>
              <a:gd name="connsiteY6670" fmla="*/ 6331276 h 7458372"/>
              <a:gd name="connsiteX6671" fmla="*/ 5457228 w 10505529"/>
              <a:gd name="connsiteY6671" fmla="*/ 6340727 h 7458372"/>
              <a:gd name="connsiteX6672" fmla="*/ 5460822 w 10505529"/>
              <a:gd name="connsiteY6672" fmla="*/ 6350178 h 7458372"/>
              <a:gd name="connsiteX6673" fmla="*/ 5470806 w 10505529"/>
              <a:gd name="connsiteY6673" fmla="*/ 6353640 h 7458372"/>
              <a:gd name="connsiteX6674" fmla="*/ 5476130 w 10505529"/>
              <a:gd name="connsiteY6674" fmla="*/ 6352708 h 7458372"/>
              <a:gd name="connsiteX6675" fmla="*/ 5479857 w 10505529"/>
              <a:gd name="connsiteY6675" fmla="*/ 6350311 h 7458372"/>
              <a:gd name="connsiteX6676" fmla="*/ 5482520 w 10505529"/>
              <a:gd name="connsiteY6676" fmla="*/ 6346052 h 7458372"/>
              <a:gd name="connsiteX6677" fmla="*/ 5483585 w 10505529"/>
              <a:gd name="connsiteY6677" fmla="*/ 6340594 h 7458372"/>
              <a:gd name="connsiteX6678" fmla="*/ 5482520 w 10505529"/>
              <a:gd name="connsiteY6678" fmla="*/ 6335403 h 7458372"/>
              <a:gd name="connsiteX6679" fmla="*/ 5479857 w 10505529"/>
              <a:gd name="connsiteY6679" fmla="*/ 6331276 h 7458372"/>
              <a:gd name="connsiteX6680" fmla="*/ 5475864 w 10505529"/>
              <a:gd name="connsiteY6680" fmla="*/ 6328613 h 7458372"/>
              <a:gd name="connsiteX6681" fmla="*/ 5470806 w 10505529"/>
              <a:gd name="connsiteY6681" fmla="*/ 6327682 h 7458372"/>
              <a:gd name="connsiteX6682" fmla="*/ 5253160 w 10505529"/>
              <a:gd name="connsiteY6682" fmla="*/ 6327682 h 7458372"/>
              <a:gd name="connsiteX6683" fmla="*/ 5243177 w 10505529"/>
              <a:gd name="connsiteY6683" fmla="*/ 6331276 h 7458372"/>
              <a:gd name="connsiteX6684" fmla="*/ 5239583 w 10505529"/>
              <a:gd name="connsiteY6684" fmla="*/ 6340727 h 7458372"/>
              <a:gd name="connsiteX6685" fmla="*/ 5243177 w 10505529"/>
              <a:gd name="connsiteY6685" fmla="*/ 6350178 h 7458372"/>
              <a:gd name="connsiteX6686" fmla="*/ 5253160 w 10505529"/>
              <a:gd name="connsiteY6686" fmla="*/ 6353640 h 7458372"/>
              <a:gd name="connsiteX6687" fmla="*/ 5258485 w 10505529"/>
              <a:gd name="connsiteY6687" fmla="*/ 6352708 h 7458372"/>
              <a:gd name="connsiteX6688" fmla="*/ 5262212 w 10505529"/>
              <a:gd name="connsiteY6688" fmla="*/ 6350311 h 7458372"/>
              <a:gd name="connsiteX6689" fmla="*/ 5264875 w 10505529"/>
              <a:gd name="connsiteY6689" fmla="*/ 6346052 h 7458372"/>
              <a:gd name="connsiteX6690" fmla="*/ 5265939 w 10505529"/>
              <a:gd name="connsiteY6690" fmla="*/ 6340594 h 7458372"/>
              <a:gd name="connsiteX6691" fmla="*/ 5264875 w 10505529"/>
              <a:gd name="connsiteY6691" fmla="*/ 6335403 h 7458372"/>
              <a:gd name="connsiteX6692" fmla="*/ 5262212 w 10505529"/>
              <a:gd name="connsiteY6692" fmla="*/ 6331276 h 7458372"/>
              <a:gd name="connsiteX6693" fmla="*/ 5258219 w 10505529"/>
              <a:gd name="connsiteY6693" fmla="*/ 6328613 h 7458372"/>
              <a:gd name="connsiteX6694" fmla="*/ 5253160 w 10505529"/>
              <a:gd name="connsiteY6694" fmla="*/ 6327682 h 7458372"/>
              <a:gd name="connsiteX6695" fmla="*/ 5035515 w 10505529"/>
              <a:gd name="connsiteY6695" fmla="*/ 6327682 h 7458372"/>
              <a:gd name="connsiteX6696" fmla="*/ 5025532 w 10505529"/>
              <a:gd name="connsiteY6696" fmla="*/ 6331276 h 7458372"/>
              <a:gd name="connsiteX6697" fmla="*/ 5021938 w 10505529"/>
              <a:gd name="connsiteY6697" fmla="*/ 6340727 h 7458372"/>
              <a:gd name="connsiteX6698" fmla="*/ 5025532 w 10505529"/>
              <a:gd name="connsiteY6698" fmla="*/ 6350178 h 7458372"/>
              <a:gd name="connsiteX6699" fmla="*/ 5035515 w 10505529"/>
              <a:gd name="connsiteY6699" fmla="*/ 6353640 h 7458372"/>
              <a:gd name="connsiteX6700" fmla="*/ 5040840 w 10505529"/>
              <a:gd name="connsiteY6700" fmla="*/ 6352708 h 7458372"/>
              <a:gd name="connsiteX6701" fmla="*/ 5044567 w 10505529"/>
              <a:gd name="connsiteY6701" fmla="*/ 6350311 h 7458372"/>
              <a:gd name="connsiteX6702" fmla="*/ 5047230 w 10505529"/>
              <a:gd name="connsiteY6702" fmla="*/ 6346052 h 7458372"/>
              <a:gd name="connsiteX6703" fmla="*/ 5048294 w 10505529"/>
              <a:gd name="connsiteY6703" fmla="*/ 6340594 h 7458372"/>
              <a:gd name="connsiteX6704" fmla="*/ 5047230 w 10505529"/>
              <a:gd name="connsiteY6704" fmla="*/ 6335403 h 7458372"/>
              <a:gd name="connsiteX6705" fmla="*/ 5044567 w 10505529"/>
              <a:gd name="connsiteY6705" fmla="*/ 6331276 h 7458372"/>
              <a:gd name="connsiteX6706" fmla="*/ 5040574 w 10505529"/>
              <a:gd name="connsiteY6706" fmla="*/ 6328613 h 7458372"/>
              <a:gd name="connsiteX6707" fmla="*/ 5035515 w 10505529"/>
              <a:gd name="connsiteY6707" fmla="*/ 6327682 h 7458372"/>
              <a:gd name="connsiteX6708" fmla="*/ 4817870 w 10505529"/>
              <a:gd name="connsiteY6708" fmla="*/ 6327682 h 7458372"/>
              <a:gd name="connsiteX6709" fmla="*/ 4807887 w 10505529"/>
              <a:gd name="connsiteY6709" fmla="*/ 6331276 h 7458372"/>
              <a:gd name="connsiteX6710" fmla="*/ 4804293 w 10505529"/>
              <a:gd name="connsiteY6710" fmla="*/ 6340727 h 7458372"/>
              <a:gd name="connsiteX6711" fmla="*/ 4807887 w 10505529"/>
              <a:gd name="connsiteY6711" fmla="*/ 6350178 h 7458372"/>
              <a:gd name="connsiteX6712" fmla="*/ 4817870 w 10505529"/>
              <a:gd name="connsiteY6712" fmla="*/ 6353640 h 7458372"/>
              <a:gd name="connsiteX6713" fmla="*/ 4823195 w 10505529"/>
              <a:gd name="connsiteY6713" fmla="*/ 6352708 h 7458372"/>
              <a:gd name="connsiteX6714" fmla="*/ 4826922 w 10505529"/>
              <a:gd name="connsiteY6714" fmla="*/ 6350311 h 7458372"/>
              <a:gd name="connsiteX6715" fmla="*/ 4829585 w 10505529"/>
              <a:gd name="connsiteY6715" fmla="*/ 6346052 h 7458372"/>
              <a:gd name="connsiteX6716" fmla="*/ 4830650 w 10505529"/>
              <a:gd name="connsiteY6716" fmla="*/ 6340594 h 7458372"/>
              <a:gd name="connsiteX6717" fmla="*/ 4829585 w 10505529"/>
              <a:gd name="connsiteY6717" fmla="*/ 6335403 h 7458372"/>
              <a:gd name="connsiteX6718" fmla="*/ 4826922 w 10505529"/>
              <a:gd name="connsiteY6718" fmla="*/ 6331276 h 7458372"/>
              <a:gd name="connsiteX6719" fmla="*/ 4822929 w 10505529"/>
              <a:gd name="connsiteY6719" fmla="*/ 6328613 h 7458372"/>
              <a:gd name="connsiteX6720" fmla="*/ 4817870 w 10505529"/>
              <a:gd name="connsiteY6720" fmla="*/ 6327682 h 7458372"/>
              <a:gd name="connsiteX6721" fmla="*/ 4600226 w 10505529"/>
              <a:gd name="connsiteY6721" fmla="*/ 6327682 h 7458372"/>
              <a:gd name="connsiteX6722" fmla="*/ 4590242 w 10505529"/>
              <a:gd name="connsiteY6722" fmla="*/ 6331276 h 7458372"/>
              <a:gd name="connsiteX6723" fmla="*/ 4586648 w 10505529"/>
              <a:gd name="connsiteY6723" fmla="*/ 6340727 h 7458372"/>
              <a:gd name="connsiteX6724" fmla="*/ 4590242 w 10505529"/>
              <a:gd name="connsiteY6724" fmla="*/ 6350178 h 7458372"/>
              <a:gd name="connsiteX6725" fmla="*/ 4600226 w 10505529"/>
              <a:gd name="connsiteY6725" fmla="*/ 6353640 h 7458372"/>
              <a:gd name="connsiteX6726" fmla="*/ 4605550 w 10505529"/>
              <a:gd name="connsiteY6726" fmla="*/ 6352708 h 7458372"/>
              <a:gd name="connsiteX6727" fmla="*/ 4609277 w 10505529"/>
              <a:gd name="connsiteY6727" fmla="*/ 6350311 h 7458372"/>
              <a:gd name="connsiteX6728" fmla="*/ 4611940 w 10505529"/>
              <a:gd name="connsiteY6728" fmla="*/ 6346052 h 7458372"/>
              <a:gd name="connsiteX6729" fmla="*/ 4613005 w 10505529"/>
              <a:gd name="connsiteY6729" fmla="*/ 6340594 h 7458372"/>
              <a:gd name="connsiteX6730" fmla="*/ 4611940 w 10505529"/>
              <a:gd name="connsiteY6730" fmla="*/ 6335403 h 7458372"/>
              <a:gd name="connsiteX6731" fmla="*/ 4609277 w 10505529"/>
              <a:gd name="connsiteY6731" fmla="*/ 6331276 h 7458372"/>
              <a:gd name="connsiteX6732" fmla="*/ 4605284 w 10505529"/>
              <a:gd name="connsiteY6732" fmla="*/ 6328613 h 7458372"/>
              <a:gd name="connsiteX6733" fmla="*/ 4600226 w 10505529"/>
              <a:gd name="connsiteY6733" fmla="*/ 6327682 h 7458372"/>
              <a:gd name="connsiteX6734" fmla="*/ 4382713 w 10505529"/>
              <a:gd name="connsiteY6734" fmla="*/ 6327682 h 7458372"/>
              <a:gd name="connsiteX6735" fmla="*/ 4372730 w 10505529"/>
              <a:gd name="connsiteY6735" fmla="*/ 6331276 h 7458372"/>
              <a:gd name="connsiteX6736" fmla="*/ 4369136 w 10505529"/>
              <a:gd name="connsiteY6736" fmla="*/ 6340727 h 7458372"/>
              <a:gd name="connsiteX6737" fmla="*/ 4372730 w 10505529"/>
              <a:gd name="connsiteY6737" fmla="*/ 6350178 h 7458372"/>
              <a:gd name="connsiteX6738" fmla="*/ 4382713 w 10505529"/>
              <a:gd name="connsiteY6738" fmla="*/ 6353640 h 7458372"/>
              <a:gd name="connsiteX6739" fmla="*/ 4388038 w 10505529"/>
              <a:gd name="connsiteY6739" fmla="*/ 6352708 h 7458372"/>
              <a:gd name="connsiteX6740" fmla="*/ 4391765 w 10505529"/>
              <a:gd name="connsiteY6740" fmla="*/ 6350311 h 7458372"/>
              <a:gd name="connsiteX6741" fmla="*/ 4394428 w 10505529"/>
              <a:gd name="connsiteY6741" fmla="*/ 6346052 h 7458372"/>
              <a:gd name="connsiteX6742" fmla="*/ 4395493 w 10505529"/>
              <a:gd name="connsiteY6742" fmla="*/ 6340594 h 7458372"/>
              <a:gd name="connsiteX6743" fmla="*/ 4394428 w 10505529"/>
              <a:gd name="connsiteY6743" fmla="*/ 6335403 h 7458372"/>
              <a:gd name="connsiteX6744" fmla="*/ 4391765 w 10505529"/>
              <a:gd name="connsiteY6744" fmla="*/ 6331276 h 7458372"/>
              <a:gd name="connsiteX6745" fmla="*/ 4387772 w 10505529"/>
              <a:gd name="connsiteY6745" fmla="*/ 6328613 h 7458372"/>
              <a:gd name="connsiteX6746" fmla="*/ 4382713 w 10505529"/>
              <a:gd name="connsiteY6746" fmla="*/ 6327682 h 7458372"/>
              <a:gd name="connsiteX6747" fmla="*/ 4165068 w 10505529"/>
              <a:gd name="connsiteY6747" fmla="*/ 6327682 h 7458372"/>
              <a:gd name="connsiteX6748" fmla="*/ 4155084 w 10505529"/>
              <a:gd name="connsiteY6748" fmla="*/ 6331276 h 7458372"/>
              <a:gd name="connsiteX6749" fmla="*/ 4151490 w 10505529"/>
              <a:gd name="connsiteY6749" fmla="*/ 6340727 h 7458372"/>
              <a:gd name="connsiteX6750" fmla="*/ 4155084 w 10505529"/>
              <a:gd name="connsiteY6750" fmla="*/ 6350178 h 7458372"/>
              <a:gd name="connsiteX6751" fmla="*/ 4165068 w 10505529"/>
              <a:gd name="connsiteY6751" fmla="*/ 6353640 h 7458372"/>
              <a:gd name="connsiteX6752" fmla="*/ 4170392 w 10505529"/>
              <a:gd name="connsiteY6752" fmla="*/ 6352708 h 7458372"/>
              <a:gd name="connsiteX6753" fmla="*/ 4174119 w 10505529"/>
              <a:gd name="connsiteY6753" fmla="*/ 6350311 h 7458372"/>
              <a:gd name="connsiteX6754" fmla="*/ 4176782 w 10505529"/>
              <a:gd name="connsiteY6754" fmla="*/ 6346052 h 7458372"/>
              <a:gd name="connsiteX6755" fmla="*/ 4177847 w 10505529"/>
              <a:gd name="connsiteY6755" fmla="*/ 6340594 h 7458372"/>
              <a:gd name="connsiteX6756" fmla="*/ 4176782 w 10505529"/>
              <a:gd name="connsiteY6756" fmla="*/ 6335403 h 7458372"/>
              <a:gd name="connsiteX6757" fmla="*/ 4174119 w 10505529"/>
              <a:gd name="connsiteY6757" fmla="*/ 6331276 h 7458372"/>
              <a:gd name="connsiteX6758" fmla="*/ 4170126 w 10505529"/>
              <a:gd name="connsiteY6758" fmla="*/ 6328613 h 7458372"/>
              <a:gd name="connsiteX6759" fmla="*/ 4165068 w 10505529"/>
              <a:gd name="connsiteY6759" fmla="*/ 6327682 h 7458372"/>
              <a:gd name="connsiteX6760" fmla="*/ 3947767 w 10505529"/>
              <a:gd name="connsiteY6760" fmla="*/ 6327682 h 7458372"/>
              <a:gd name="connsiteX6761" fmla="*/ 3937784 w 10505529"/>
              <a:gd name="connsiteY6761" fmla="*/ 6331276 h 7458372"/>
              <a:gd name="connsiteX6762" fmla="*/ 3934190 w 10505529"/>
              <a:gd name="connsiteY6762" fmla="*/ 6340727 h 7458372"/>
              <a:gd name="connsiteX6763" fmla="*/ 3937784 w 10505529"/>
              <a:gd name="connsiteY6763" fmla="*/ 6350178 h 7458372"/>
              <a:gd name="connsiteX6764" fmla="*/ 3947767 w 10505529"/>
              <a:gd name="connsiteY6764" fmla="*/ 6353640 h 7458372"/>
              <a:gd name="connsiteX6765" fmla="*/ 3953096 w 10505529"/>
              <a:gd name="connsiteY6765" fmla="*/ 6352708 h 7458372"/>
              <a:gd name="connsiteX6766" fmla="*/ 3956823 w 10505529"/>
              <a:gd name="connsiteY6766" fmla="*/ 6350311 h 7458372"/>
              <a:gd name="connsiteX6767" fmla="*/ 3959486 w 10505529"/>
              <a:gd name="connsiteY6767" fmla="*/ 6346052 h 7458372"/>
              <a:gd name="connsiteX6768" fmla="*/ 3960551 w 10505529"/>
              <a:gd name="connsiteY6768" fmla="*/ 6340594 h 7458372"/>
              <a:gd name="connsiteX6769" fmla="*/ 3959486 w 10505529"/>
              <a:gd name="connsiteY6769" fmla="*/ 6335403 h 7458372"/>
              <a:gd name="connsiteX6770" fmla="*/ 3956823 w 10505529"/>
              <a:gd name="connsiteY6770" fmla="*/ 6331276 h 7458372"/>
              <a:gd name="connsiteX6771" fmla="*/ 3952829 w 10505529"/>
              <a:gd name="connsiteY6771" fmla="*/ 6328613 h 7458372"/>
              <a:gd name="connsiteX6772" fmla="*/ 3947767 w 10505529"/>
              <a:gd name="connsiteY6772" fmla="*/ 6327682 h 7458372"/>
              <a:gd name="connsiteX6773" fmla="*/ 3730107 w 10505529"/>
              <a:gd name="connsiteY6773" fmla="*/ 6327682 h 7458372"/>
              <a:gd name="connsiteX6774" fmla="*/ 3720120 w 10505529"/>
              <a:gd name="connsiteY6774" fmla="*/ 6331276 h 7458372"/>
              <a:gd name="connsiteX6775" fmla="*/ 3716527 w 10505529"/>
              <a:gd name="connsiteY6775" fmla="*/ 6340727 h 7458372"/>
              <a:gd name="connsiteX6776" fmla="*/ 3720120 w 10505529"/>
              <a:gd name="connsiteY6776" fmla="*/ 6350178 h 7458372"/>
              <a:gd name="connsiteX6777" fmla="*/ 3730107 w 10505529"/>
              <a:gd name="connsiteY6777" fmla="*/ 6353640 h 7458372"/>
              <a:gd name="connsiteX6778" fmla="*/ 3735432 w 10505529"/>
              <a:gd name="connsiteY6778" fmla="*/ 6352708 h 7458372"/>
              <a:gd name="connsiteX6779" fmla="*/ 3739160 w 10505529"/>
              <a:gd name="connsiteY6779" fmla="*/ 6350311 h 7458372"/>
              <a:gd name="connsiteX6780" fmla="*/ 3741823 w 10505529"/>
              <a:gd name="connsiteY6780" fmla="*/ 6346052 h 7458372"/>
              <a:gd name="connsiteX6781" fmla="*/ 3742887 w 10505529"/>
              <a:gd name="connsiteY6781" fmla="*/ 6340594 h 7458372"/>
              <a:gd name="connsiteX6782" fmla="*/ 3741823 w 10505529"/>
              <a:gd name="connsiteY6782" fmla="*/ 6335403 h 7458372"/>
              <a:gd name="connsiteX6783" fmla="*/ 3739160 w 10505529"/>
              <a:gd name="connsiteY6783" fmla="*/ 6331276 h 7458372"/>
              <a:gd name="connsiteX6784" fmla="*/ 3735167 w 10505529"/>
              <a:gd name="connsiteY6784" fmla="*/ 6328613 h 7458372"/>
              <a:gd name="connsiteX6785" fmla="*/ 3730107 w 10505529"/>
              <a:gd name="connsiteY6785" fmla="*/ 6327682 h 7458372"/>
              <a:gd name="connsiteX6786" fmla="*/ 3512444 w 10505529"/>
              <a:gd name="connsiteY6786" fmla="*/ 6327682 h 7458372"/>
              <a:gd name="connsiteX6787" fmla="*/ 3502454 w 10505529"/>
              <a:gd name="connsiteY6787" fmla="*/ 6331276 h 7458372"/>
              <a:gd name="connsiteX6788" fmla="*/ 3498861 w 10505529"/>
              <a:gd name="connsiteY6788" fmla="*/ 6340727 h 7458372"/>
              <a:gd name="connsiteX6789" fmla="*/ 3502454 w 10505529"/>
              <a:gd name="connsiteY6789" fmla="*/ 6350178 h 7458372"/>
              <a:gd name="connsiteX6790" fmla="*/ 3512444 w 10505529"/>
              <a:gd name="connsiteY6790" fmla="*/ 6353640 h 7458372"/>
              <a:gd name="connsiteX6791" fmla="*/ 3517769 w 10505529"/>
              <a:gd name="connsiteY6791" fmla="*/ 6352708 h 7458372"/>
              <a:gd name="connsiteX6792" fmla="*/ 3521497 w 10505529"/>
              <a:gd name="connsiteY6792" fmla="*/ 6350311 h 7458372"/>
              <a:gd name="connsiteX6793" fmla="*/ 3524160 w 10505529"/>
              <a:gd name="connsiteY6793" fmla="*/ 6346052 h 7458372"/>
              <a:gd name="connsiteX6794" fmla="*/ 3525225 w 10505529"/>
              <a:gd name="connsiteY6794" fmla="*/ 6340594 h 7458372"/>
              <a:gd name="connsiteX6795" fmla="*/ 3524160 w 10505529"/>
              <a:gd name="connsiteY6795" fmla="*/ 6335403 h 7458372"/>
              <a:gd name="connsiteX6796" fmla="*/ 3521497 w 10505529"/>
              <a:gd name="connsiteY6796" fmla="*/ 6331276 h 7458372"/>
              <a:gd name="connsiteX6797" fmla="*/ 3517504 w 10505529"/>
              <a:gd name="connsiteY6797" fmla="*/ 6328613 h 7458372"/>
              <a:gd name="connsiteX6798" fmla="*/ 3512444 w 10505529"/>
              <a:gd name="connsiteY6798" fmla="*/ 6327682 h 7458372"/>
              <a:gd name="connsiteX6799" fmla="*/ 3294914 w 10505529"/>
              <a:gd name="connsiteY6799" fmla="*/ 6327682 h 7458372"/>
              <a:gd name="connsiteX6800" fmla="*/ 3284927 w 10505529"/>
              <a:gd name="connsiteY6800" fmla="*/ 6331276 h 7458372"/>
              <a:gd name="connsiteX6801" fmla="*/ 3281333 w 10505529"/>
              <a:gd name="connsiteY6801" fmla="*/ 6340727 h 7458372"/>
              <a:gd name="connsiteX6802" fmla="*/ 3284927 w 10505529"/>
              <a:gd name="connsiteY6802" fmla="*/ 6350178 h 7458372"/>
              <a:gd name="connsiteX6803" fmla="*/ 3294914 w 10505529"/>
              <a:gd name="connsiteY6803" fmla="*/ 6353640 h 7458372"/>
              <a:gd name="connsiteX6804" fmla="*/ 3300240 w 10505529"/>
              <a:gd name="connsiteY6804" fmla="*/ 6352708 h 7458372"/>
              <a:gd name="connsiteX6805" fmla="*/ 3303967 w 10505529"/>
              <a:gd name="connsiteY6805" fmla="*/ 6350311 h 7458372"/>
              <a:gd name="connsiteX6806" fmla="*/ 3306630 w 10505529"/>
              <a:gd name="connsiteY6806" fmla="*/ 6346052 h 7458372"/>
              <a:gd name="connsiteX6807" fmla="*/ 3307694 w 10505529"/>
              <a:gd name="connsiteY6807" fmla="*/ 6340594 h 7458372"/>
              <a:gd name="connsiteX6808" fmla="*/ 3306630 w 10505529"/>
              <a:gd name="connsiteY6808" fmla="*/ 6335403 h 7458372"/>
              <a:gd name="connsiteX6809" fmla="*/ 3303967 w 10505529"/>
              <a:gd name="connsiteY6809" fmla="*/ 6331276 h 7458372"/>
              <a:gd name="connsiteX6810" fmla="*/ 3299974 w 10505529"/>
              <a:gd name="connsiteY6810" fmla="*/ 6328613 h 7458372"/>
              <a:gd name="connsiteX6811" fmla="*/ 3294914 w 10505529"/>
              <a:gd name="connsiteY6811" fmla="*/ 6327682 h 7458372"/>
              <a:gd name="connsiteX6812" fmla="*/ 3077384 w 10505529"/>
              <a:gd name="connsiteY6812" fmla="*/ 6327682 h 7458372"/>
              <a:gd name="connsiteX6813" fmla="*/ 3067400 w 10505529"/>
              <a:gd name="connsiteY6813" fmla="*/ 6331276 h 7458372"/>
              <a:gd name="connsiteX6814" fmla="*/ 3063669 w 10505529"/>
              <a:gd name="connsiteY6814" fmla="*/ 6340727 h 7458372"/>
              <a:gd name="connsiteX6815" fmla="*/ 3067265 w 10505529"/>
              <a:gd name="connsiteY6815" fmla="*/ 6350178 h 7458372"/>
              <a:gd name="connsiteX6816" fmla="*/ 3077251 w 10505529"/>
              <a:gd name="connsiteY6816" fmla="*/ 6353640 h 7458372"/>
              <a:gd name="connsiteX6817" fmla="*/ 3082709 w 10505529"/>
              <a:gd name="connsiteY6817" fmla="*/ 6352708 h 7458372"/>
              <a:gd name="connsiteX6818" fmla="*/ 3086437 w 10505529"/>
              <a:gd name="connsiteY6818" fmla="*/ 6350311 h 7458372"/>
              <a:gd name="connsiteX6819" fmla="*/ 3089099 w 10505529"/>
              <a:gd name="connsiteY6819" fmla="*/ 6346052 h 7458372"/>
              <a:gd name="connsiteX6820" fmla="*/ 3090031 w 10505529"/>
              <a:gd name="connsiteY6820" fmla="*/ 6340594 h 7458372"/>
              <a:gd name="connsiteX6821" fmla="*/ 3089099 w 10505529"/>
              <a:gd name="connsiteY6821" fmla="*/ 6335403 h 7458372"/>
              <a:gd name="connsiteX6822" fmla="*/ 3086437 w 10505529"/>
              <a:gd name="connsiteY6822" fmla="*/ 6331276 h 7458372"/>
              <a:gd name="connsiteX6823" fmla="*/ 3082444 w 10505529"/>
              <a:gd name="connsiteY6823" fmla="*/ 6328613 h 7458372"/>
              <a:gd name="connsiteX6824" fmla="*/ 3077384 w 10505529"/>
              <a:gd name="connsiteY6824" fmla="*/ 6327682 h 7458372"/>
              <a:gd name="connsiteX6825" fmla="*/ 2859588 w 10505529"/>
              <a:gd name="connsiteY6825" fmla="*/ 6327682 h 7458372"/>
              <a:gd name="connsiteX6826" fmla="*/ 2849602 w 10505529"/>
              <a:gd name="connsiteY6826" fmla="*/ 6331276 h 7458372"/>
              <a:gd name="connsiteX6827" fmla="*/ 2846002 w 10505529"/>
              <a:gd name="connsiteY6827" fmla="*/ 6340727 h 7458372"/>
              <a:gd name="connsiteX6828" fmla="*/ 2849602 w 10505529"/>
              <a:gd name="connsiteY6828" fmla="*/ 6350178 h 7458372"/>
              <a:gd name="connsiteX6829" fmla="*/ 2859588 w 10505529"/>
              <a:gd name="connsiteY6829" fmla="*/ 6353640 h 7458372"/>
              <a:gd name="connsiteX6830" fmla="*/ 2864913 w 10505529"/>
              <a:gd name="connsiteY6830" fmla="*/ 6352708 h 7458372"/>
              <a:gd name="connsiteX6831" fmla="*/ 2868640 w 10505529"/>
              <a:gd name="connsiteY6831" fmla="*/ 6350311 h 7458372"/>
              <a:gd name="connsiteX6832" fmla="*/ 2871303 w 10505529"/>
              <a:gd name="connsiteY6832" fmla="*/ 6346052 h 7458372"/>
              <a:gd name="connsiteX6833" fmla="*/ 2872234 w 10505529"/>
              <a:gd name="connsiteY6833" fmla="*/ 6340594 h 7458372"/>
              <a:gd name="connsiteX6834" fmla="*/ 2871303 w 10505529"/>
              <a:gd name="connsiteY6834" fmla="*/ 6335403 h 7458372"/>
              <a:gd name="connsiteX6835" fmla="*/ 2868640 w 10505529"/>
              <a:gd name="connsiteY6835" fmla="*/ 6331276 h 7458372"/>
              <a:gd name="connsiteX6836" fmla="*/ 2864647 w 10505529"/>
              <a:gd name="connsiteY6836" fmla="*/ 6328613 h 7458372"/>
              <a:gd name="connsiteX6837" fmla="*/ 2859588 w 10505529"/>
              <a:gd name="connsiteY6837" fmla="*/ 6327682 h 7458372"/>
              <a:gd name="connsiteX6838" fmla="*/ 2641924 w 10505529"/>
              <a:gd name="connsiteY6838" fmla="*/ 6327682 h 7458372"/>
              <a:gd name="connsiteX6839" fmla="*/ 2631941 w 10505529"/>
              <a:gd name="connsiteY6839" fmla="*/ 6331276 h 7458372"/>
              <a:gd name="connsiteX6840" fmla="*/ 2628347 w 10505529"/>
              <a:gd name="connsiteY6840" fmla="*/ 6340727 h 7458372"/>
              <a:gd name="connsiteX6841" fmla="*/ 2631941 w 10505529"/>
              <a:gd name="connsiteY6841" fmla="*/ 6350178 h 7458372"/>
              <a:gd name="connsiteX6842" fmla="*/ 2641924 w 10505529"/>
              <a:gd name="connsiteY6842" fmla="*/ 6353640 h 7458372"/>
              <a:gd name="connsiteX6843" fmla="*/ 2647250 w 10505529"/>
              <a:gd name="connsiteY6843" fmla="*/ 6352708 h 7458372"/>
              <a:gd name="connsiteX6844" fmla="*/ 2650977 w 10505529"/>
              <a:gd name="connsiteY6844" fmla="*/ 6350311 h 7458372"/>
              <a:gd name="connsiteX6845" fmla="*/ 2653640 w 10505529"/>
              <a:gd name="connsiteY6845" fmla="*/ 6346052 h 7458372"/>
              <a:gd name="connsiteX6846" fmla="*/ 2654571 w 10505529"/>
              <a:gd name="connsiteY6846" fmla="*/ 6340594 h 7458372"/>
              <a:gd name="connsiteX6847" fmla="*/ 2653640 w 10505529"/>
              <a:gd name="connsiteY6847" fmla="*/ 6335403 h 7458372"/>
              <a:gd name="connsiteX6848" fmla="*/ 2650977 w 10505529"/>
              <a:gd name="connsiteY6848" fmla="*/ 6331276 h 7458372"/>
              <a:gd name="connsiteX6849" fmla="*/ 2646984 w 10505529"/>
              <a:gd name="connsiteY6849" fmla="*/ 6328613 h 7458372"/>
              <a:gd name="connsiteX6850" fmla="*/ 2641924 w 10505529"/>
              <a:gd name="connsiteY6850" fmla="*/ 6327682 h 7458372"/>
              <a:gd name="connsiteX6851" fmla="*/ 2424261 w 10505529"/>
              <a:gd name="connsiteY6851" fmla="*/ 6327682 h 7458372"/>
              <a:gd name="connsiteX6852" fmla="*/ 2414278 w 10505529"/>
              <a:gd name="connsiteY6852" fmla="*/ 6331276 h 7458372"/>
              <a:gd name="connsiteX6853" fmla="*/ 2410684 w 10505529"/>
              <a:gd name="connsiteY6853" fmla="*/ 6340727 h 7458372"/>
              <a:gd name="connsiteX6854" fmla="*/ 2414278 w 10505529"/>
              <a:gd name="connsiteY6854" fmla="*/ 6350178 h 7458372"/>
              <a:gd name="connsiteX6855" fmla="*/ 2424261 w 10505529"/>
              <a:gd name="connsiteY6855" fmla="*/ 6353640 h 7458372"/>
              <a:gd name="connsiteX6856" fmla="*/ 2429587 w 10505529"/>
              <a:gd name="connsiteY6856" fmla="*/ 6352708 h 7458372"/>
              <a:gd name="connsiteX6857" fmla="*/ 2433313 w 10505529"/>
              <a:gd name="connsiteY6857" fmla="*/ 6350311 h 7458372"/>
              <a:gd name="connsiteX6858" fmla="*/ 2435977 w 10505529"/>
              <a:gd name="connsiteY6858" fmla="*/ 6346052 h 7458372"/>
              <a:gd name="connsiteX6859" fmla="*/ 2436908 w 10505529"/>
              <a:gd name="connsiteY6859" fmla="*/ 6340594 h 7458372"/>
              <a:gd name="connsiteX6860" fmla="*/ 2435977 w 10505529"/>
              <a:gd name="connsiteY6860" fmla="*/ 6335403 h 7458372"/>
              <a:gd name="connsiteX6861" fmla="*/ 2433313 w 10505529"/>
              <a:gd name="connsiteY6861" fmla="*/ 6331276 h 7458372"/>
              <a:gd name="connsiteX6862" fmla="*/ 2429320 w 10505529"/>
              <a:gd name="connsiteY6862" fmla="*/ 6328613 h 7458372"/>
              <a:gd name="connsiteX6863" fmla="*/ 2424261 w 10505529"/>
              <a:gd name="connsiteY6863" fmla="*/ 6327682 h 7458372"/>
              <a:gd name="connsiteX6864" fmla="*/ 2206598 w 10505529"/>
              <a:gd name="connsiteY6864" fmla="*/ 6327682 h 7458372"/>
              <a:gd name="connsiteX6865" fmla="*/ 2196615 w 10505529"/>
              <a:gd name="connsiteY6865" fmla="*/ 6331276 h 7458372"/>
              <a:gd name="connsiteX6866" fmla="*/ 2193020 w 10505529"/>
              <a:gd name="connsiteY6866" fmla="*/ 6340727 h 7458372"/>
              <a:gd name="connsiteX6867" fmla="*/ 2196615 w 10505529"/>
              <a:gd name="connsiteY6867" fmla="*/ 6350178 h 7458372"/>
              <a:gd name="connsiteX6868" fmla="*/ 2206598 w 10505529"/>
              <a:gd name="connsiteY6868" fmla="*/ 6353640 h 7458372"/>
              <a:gd name="connsiteX6869" fmla="*/ 2211923 w 10505529"/>
              <a:gd name="connsiteY6869" fmla="*/ 6352708 h 7458372"/>
              <a:gd name="connsiteX6870" fmla="*/ 2215650 w 10505529"/>
              <a:gd name="connsiteY6870" fmla="*/ 6350311 h 7458372"/>
              <a:gd name="connsiteX6871" fmla="*/ 2218313 w 10505529"/>
              <a:gd name="connsiteY6871" fmla="*/ 6346052 h 7458372"/>
              <a:gd name="connsiteX6872" fmla="*/ 2219244 w 10505529"/>
              <a:gd name="connsiteY6872" fmla="*/ 6340594 h 7458372"/>
              <a:gd name="connsiteX6873" fmla="*/ 2218313 w 10505529"/>
              <a:gd name="connsiteY6873" fmla="*/ 6335403 h 7458372"/>
              <a:gd name="connsiteX6874" fmla="*/ 2215650 w 10505529"/>
              <a:gd name="connsiteY6874" fmla="*/ 6331276 h 7458372"/>
              <a:gd name="connsiteX6875" fmla="*/ 2211657 w 10505529"/>
              <a:gd name="connsiteY6875" fmla="*/ 6328613 h 7458372"/>
              <a:gd name="connsiteX6876" fmla="*/ 2206598 w 10505529"/>
              <a:gd name="connsiteY6876" fmla="*/ 6327682 h 7458372"/>
              <a:gd name="connsiteX6877" fmla="*/ 1989068 w 10505529"/>
              <a:gd name="connsiteY6877" fmla="*/ 6327682 h 7458372"/>
              <a:gd name="connsiteX6878" fmla="*/ 1979085 w 10505529"/>
              <a:gd name="connsiteY6878" fmla="*/ 6331276 h 7458372"/>
              <a:gd name="connsiteX6879" fmla="*/ 1975490 w 10505529"/>
              <a:gd name="connsiteY6879" fmla="*/ 6340727 h 7458372"/>
              <a:gd name="connsiteX6880" fmla="*/ 1979085 w 10505529"/>
              <a:gd name="connsiteY6880" fmla="*/ 6350178 h 7458372"/>
              <a:gd name="connsiteX6881" fmla="*/ 1989068 w 10505529"/>
              <a:gd name="connsiteY6881" fmla="*/ 6353640 h 7458372"/>
              <a:gd name="connsiteX6882" fmla="*/ 1994393 w 10505529"/>
              <a:gd name="connsiteY6882" fmla="*/ 6352708 h 7458372"/>
              <a:gd name="connsiteX6883" fmla="*/ 1998120 w 10505529"/>
              <a:gd name="connsiteY6883" fmla="*/ 6350311 h 7458372"/>
              <a:gd name="connsiteX6884" fmla="*/ 2000783 w 10505529"/>
              <a:gd name="connsiteY6884" fmla="*/ 6346052 h 7458372"/>
              <a:gd name="connsiteX6885" fmla="*/ 2001714 w 10505529"/>
              <a:gd name="connsiteY6885" fmla="*/ 6340594 h 7458372"/>
              <a:gd name="connsiteX6886" fmla="*/ 2000783 w 10505529"/>
              <a:gd name="connsiteY6886" fmla="*/ 6335403 h 7458372"/>
              <a:gd name="connsiteX6887" fmla="*/ 1998120 w 10505529"/>
              <a:gd name="connsiteY6887" fmla="*/ 6331276 h 7458372"/>
              <a:gd name="connsiteX6888" fmla="*/ 1994126 w 10505529"/>
              <a:gd name="connsiteY6888" fmla="*/ 6328613 h 7458372"/>
              <a:gd name="connsiteX6889" fmla="*/ 1989068 w 10505529"/>
              <a:gd name="connsiteY6889" fmla="*/ 6327682 h 7458372"/>
              <a:gd name="connsiteX6890" fmla="*/ 1771436 w 10505529"/>
              <a:gd name="connsiteY6890" fmla="*/ 6327682 h 7458372"/>
              <a:gd name="connsiteX6891" fmla="*/ 1761453 w 10505529"/>
              <a:gd name="connsiteY6891" fmla="*/ 6331276 h 7458372"/>
              <a:gd name="connsiteX6892" fmla="*/ 1757860 w 10505529"/>
              <a:gd name="connsiteY6892" fmla="*/ 6340727 h 7458372"/>
              <a:gd name="connsiteX6893" fmla="*/ 1761453 w 10505529"/>
              <a:gd name="connsiteY6893" fmla="*/ 6350178 h 7458372"/>
              <a:gd name="connsiteX6894" fmla="*/ 1771436 w 10505529"/>
              <a:gd name="connsiteY6894" fmla="*/ 6353640 h 7458372"/>
              <a:gd name="connsiteX6895" fmla="*/ 1776760 w 10505529"/>
              <a:gd name="connsiteY6895" fmla="*/ 6352708 h 7458372"/>
              <a:gd name="connsiteX6896" fmla="*/ 1780486 w 10505529"/>
              <a:gd name="connsiteY6896" fmla="*/ 6350311 h 7458372"/>
              <a:gd name="connsiteX6897" fmla="*/ 1783149 w 10505529"/>
              <a:gd name="connsiteY6897" fmla="*/ 6346052 h 7458372"/>
              <a:gd name="connsiteX6898" fmla="*/ 1784214 w 10505529"/>
              <a:gd name="connsiteY6898" fmla="*/ 6340594 h 7458372"/>
              <a:gd name="connsiteX6899" fmla="*/ 1783149 w 10505529"/>
              <a:gd name="connsiteY6899" fmla="*/ 6335403 h 7458372"/>
              <a:gd name="connsiteX6900" fmla="*/ 1780486 w 10505529"/>
              <a:gd name="connsiteY6900" fmla="*/ 6331276 h 7458372"/>
              <a:gd name="connsiteX6901" fmla="*/ 1776495 w 10505529"/>
              <a:gd name="connsiteY6901" fmla="*/ 6328613 h 7458372"/>
              <a:gd name="connsiteX6902" fmla="*/ 1771436 w 10505529"/>
              <a:gd name="connsiteY6902" fmla="*/ 6327682 h 7458372"/>
              <a:gd name="connsiteX6903" fmla="*/ 1553800 w 10505529"/>
              <a:gd name="connsiteY6903" fmla="*/ 6327682 h 7458372"/>
              <a:gd name="connsiteX6904" fmla="*/ 1543817 w 10505529"/>
              <a:gd name="connsiteY6904" fmla="*/ 6331276 h 7458372"/>
              <a:gd name="connsiteX6905" fmla="*/ 1540222 w 10505529"/>
              <a:gd name="connsiteY6905" fmla="*/ 6340727 h 7458372"/>
              <a:gd name="connsiteX6906" fmla="*/ 1543817 w 10505529"/>
              <a:gd name="connsiteY6906" fmla="*/ 6350178 h 7458372"/>
              <a:gd name="connsiteX6907" fmla="*/ 1553800 w 10505529"/>
              <a:gd name="connsiteY6907" fmla="*/ 6353640 h 7458372"/>
              <a:gd name="connsiteX6908" fmla="*/ 1559124 w 10505529"/>
              <a:gd name="connsiteY6908" fmla="*/ 6352708 h 7458372"/>
              <a:gd name="connsiteX6909" fmla="*/ 1562852 w 10505529"/>
              <a:gd name="connsiteY6909" fmla="*/ 6350311 h 7458372"/>
              <a:gd name="connsiteX6910" fmla="*/ 1565514 w 10505529"/>
              <a:gd name="connsiteY6910" fmla="*/ 6346052 h 7458372"/>
              <a:gd name="connsiteX6911" fmla="*/ 1566580 w 10505529"/>
              <a:gd name="connsiteY6911" fmla="*/ 6340594 h 7458372"/>
              <a:gd name="connsiteX6912" fmla="*/ 1565514 w 10505529"/>
              <a:gd name="connsiteY6912" fmla="*/ 6335403 h 7458372"/>
              <a:gd name="connsiteX6913" fmla="*/ 1562852 w 10505529"/>
              <a:gd name="connsiteY6913" fmla="*/ 6331276 h 7458372"/>
              <a:gd name="connsiteX6914" fmla="*/ 1558858 w 10505529"/>
              <a:gd name="connsiteY6914" fmla="*/ 6328613 h 7458372"/>
              <a:gd name="connsiteX6915" fmla="*/ 1553800 w 10505529"/>
              <a:gd name="connsiteY6915" fmla="*/ 6327682 h 7458372"/>
              <a:gd name="connsiteX6916" fmla="*/ 1336157 w 10505529"/>
              <a:gd name="connsiteY6916" fmla="*/ 6327682 h 7458372"/>
              <a:gd name="connsiteX6917" fmla="*/ 1326172 w 10505529"/>
              <a:gd name="connsiteY6917" fmla="*/ 6331276 h 7458372"/>
              <a:gd name="connsiteX6918" fmla="*/ 1322578 w 10505529"/>
              <a:gd name="connsiteY6918" fmla="*/ 6340727 h 7458372"/>
              <a:gd name="connsiteX6919" fmla="*/ 1326172 w 10505529"/>
              <a:gd name="connsiteY6919" fmla="*/ 6350178 h 7458372"/>
              <a:gd name="connsiteX6920" fmla="*/ 1336157 w 10505529"/>
              <a:gd name="connsiteY6920" fmla="*/ 6353640 h 7458372"/>
              <a:gd name="connsiteX6921" fmla="*/ 1341483 w 10505529"/>
              <a:gd name="connsiteY6921" fmla="*/ 6352708 h 7458372"/>
              <a:gd name="connsiteX6922" fmla="*/ 1345210 w 10505529"/>
              <a:gd name="connsiteY6922" fmla="*/ 6350311 h 7458372"/>
              <a:gd name="connsiteX6923" fmla="*/ 1347872 w 10505529"/>
              <a:gd name="connsiteY6923" fmla="*/ 6346052 h 7458372"/>
              <a:gd name="connsiteX6924" fmla="*/ 1348938 w 10505529"/>
              <a:gd name="connsiteY6924" fmla="*/ 6340594 h 7458372"/>
              <a:gd name="connsiteX6925" fmla="*/ 1347872 w 10505529"/>
              <a:gd name="connsiteY6925" fmla="*/ 6335403 h 7458372"/>
              <a:gd name="connsiteX6926" fmla="*/ 1345210 w 10505529"/>
              <a:gd name="connsiteY6926" fmla="*/ 6331276 h 7458372"/>
              <a:gd name="connsiteX6927" fmla="*/ 1341215 w 10505529"/>
              <a:gd name="connsiteY6927" fmla="*/ 6328613 h 7458372"/>
              <a:gd name="connsiteX6928" fmla="*/ 1336157 w 10505529"/>
              <a:gd name="connsiteY6928" fmla="*/ 6327682 h 7458372"/>
              <a:gd name="connsiteX6929" fmla="*/ 1118644 w 10505529"/>
              <a:gd name="connsiteY6929" fmla="*/ 6327682 h 7458372"/>
              <a:gd name="connsiteX6930" fmla="*/ 1108658 w 10505529"/>
              <a:gd name="connsiteY6930" fmla="*/ 6331276 h 7458372"/>
              <a:gd name="connsiteX6931" fmla="*/ 1104931 w 10505529"/>
              <a:gd name="connsiteY6931" fmla="*/ 6340727 h 7458372"/>
              <a:gd name="connsiteX6932" fmla="*/ 1108526 w 10505529"/>
              <a:gd name="connsiteY6932" fmla="*/ 6350178 h 7458372"/>
              <a:gd name="connsiteX6933" fmla="*/ 1118511 w 10505529"/>
              <a:gd name="connsiteY6933" fmla="*/ 6353640 h 7458372"/>
              <a:gd name="connsiteX6934" fmla="*/ 1123967 w 10505529"/>
              <a:gd name="connsiteY6934" fmla="*/ 6352708 h 7458372"/>
              <a:gd name="connsiteX6935" fmla="*/ 1127698 w 10505529"/>
              <a:gd name="connsiteY6935" fmla="*/ 6350311 h 7458372"/>
              <a:gd name="connsiteX6936" fmla="*/ 1130362 w 10505529"/>
              <a:gd name="connsiteY6936" fmla="*/ 6346052 h 7458372"/>
              <a:gd name="connsiteX6937" fmla="*/ 1131427 w 10505529"/>
              <a:gd name="connsiteY6937" fmla="*/ 6340594 h 7458372"/>
              <a:gd name="connsiteX6938" fmla="*/ 1130362 w 10505529"/>
              <a:gd name="connsiteY6938" fmla="*/ 6335403 h 7458372"/>
              <a:gd name="connsiteX6939" fmla="*/ 1127698 w 10505529"/>
              <a:gd name="connsiteY6939" fmla="*/ 6331276 h 7458372"/>
              <a:gd name="connsiteX6940" fmla="*/ 1123703 w 10505529"/>
              <a:gd name="connsiteY6940" fmla="*/ 6328613 h 7458372"/>
              <a:gd name="connsiteX6941" fmla="*/ 1118644 w 10505529"/>
              <a:gd name="connsiteY6941" fmla="*/ 6327682 h 7458372"/>
              <a:gd name="connsiteX6942" fmla="*/ 901132 w 10505529"/>
              <a:gd name="connsiteY6942" fmla="*/ 6327682 h 7458372"/>
              <a:gd name="connsiteX6943" fmla="*/ 891147 w 10505529"/>
              <a:gd name="connsiteY6943" fmla="*/ 6331276 h 7458372"/>
              <a:gd name="connsiteX6944" fmla="*/ 887421 w 10505529"/>
              <a:gd name="connsiteY6944" fmla="*/ 6340727 h 7458372"/>
              <a:gd name="connsiteX6945" fmla="*/ 891015 w 10505529"/>
              <a:gd name="connsiteY6945" fmla="*/ 6350178 h 7458372"/>
              <a:gd name="connsiteX6946" fmla="*/ 900998 w 10505529"/>
              <a:gd name="connsiteY6946" fmla="*/ 6353640 h 7458372"/>
              <a:gd name="connsiteX6947" fmla="*/ 906456 w 10505529"/>
              <a:gd name="connsiteY6947" fmla="*/ 6352708 h 7458372"/>
              <a:gd name="connsiteX6948" fmla="*/ 910184 w 10505529"/>
              <a:gd name="connsiteY6948" fmla="*/ 6350311 h 7458372"/>
              <a:gd name="connsiteX6949" fmla="*/ 912846 w 10505529"/>
              <a:gd name="connsiteY6949" fmla="*/ 6346052 h 7458372"/>
              <a:gd name="connsiteX6950" fmla="*/ 913911 w 10505529"/>
              <a:gd name="connsiteY6950" fmla="*/ 6340594 h 7458372"/>
              <a:gd name="connsiteX6951" fmla="*/ 912846 w 10505529"/>
              <a:gd name="connsiteY6951" fmla="*/ 6335403 h 7458372"/>
              <a:gd name="connsiteX6952" fmla="*/ 910184 w 10505529"/>
              <a:gd name="connsiteY6952" fmla="*/ 6331276 h 7458372"/>
              <a:gd name="connsiteX6953" fmla="*/ 906190 w 10505529"/>
              <a:gd name="connsiteY6953" fmla="*/ 6328613 h 7458372"/>
              <a:gd name="connsiteX6954" fmla="*/ 901132 w 10505529"/>
              <a:gd name="connsiteY6954" fmla="*/ 6327682 h 7458372"/>
              <a:gd name="connsiteX6955" fmla="*/ 683358 w 10505529"/>
              <a:gd name="connsiteY6955" fmla="*/ 6327682 h 7458372"/>
              <a:gd name="connsiteX6956" fmla="*/ 673375 w 10505529"/>
              <a:gd name="connsiteY6956" fmla="*/ 6331276 h 7458372"/>
              <a:gd name="connsiteX6957" fmla="*/ 669781 w 10505529"/>
              <a:gd name="connsiteY6957" fmla="*/ 6340727 h 7458372"/>
              <a:gd name="connsiteX6958" fmla="*/ 673375 w 10505529"/>
              <a:gd name="connsiteY6958" fmla="*/ 6350178 h 7458372"/>
              <a:gd name="connsiteX6959" fmla="*/ 683358 w 10505529"/>
              <a:gd name="connsiteY6959" fmla="*/ 6353640 h 7458372"/>
              <a:gd name="connsiteX6960" fmla="*/ 688683 w 10505529"/>
              <a:gd name="connsiteY6960" fmla="*/ 6352708 h 7458372"/>
              <a:gd name="connsiteX6961" fmla="*/ 692410 w 10505529"/>
              <a:gd name="connsiteY6961" fmla="*/ 6350311 h 7458372"/>
              <a:gd name="connsiteX6962" fmla="*/ 695073 w 10505529"/>
              <a:gd name="connsiteY6962" fmla="*/ 6346052 h 7458372"/>
              <a:gd name="connsiteX6963" fmla="*/ 696139 w 10505529"/>
              <a:gd name="connsiteY6963" fmla="*/ 6340594 h 7458372"/>
              <a:gd name="connsiteX6964" fmla="*/ 695073 w 10505529"/>
              <a:gd name="connsiteY6964" fmla="*/ 6335403 h 7458372"/>
              <a:gd name="connsiteX6965" fmla="*/ 692410 w 10505529"/>
              <a:gd name="connsiteY6965" fmla="*/ 6331276 h 7458372"/>
              <a:gd name="connsiteX6966" fmla="*/ 688417 w 10505529"/>
              <a:gd name="connsiteY6966" fmla="*/ 6328613 h 7458372"/>
              <a:gd name="connsiteX6967" fmla="*/ 683358 w 10505529"/>
              <a:gd name="connsiteY6967" fmla="*/ 6327682 h 7458372"/>
              <a:gd name="connsiteX6968" fmla="*/ 465717 w 10505529"/>
              <a:gd name="connsiteY6968" fmla="*/ 6327682 h 7458372"/>
              <a:gd name="connsiteX6969" fmla="*/ 455734 w 10505529"/>
              <a:gd name="connsiteY6969" fmla="*/ 6331276 h 7458372"/>
              <a:gd name="connsiteX6970" fmla="*/ 452140 w 10505529"/>
              <a:gd name="connsiteY6970" fmla="*/ 6340727 h 7458372"/>
              <a:gd name="connsiteX6971" fmla="*/ 455734 w 10505529"/>
              <a:gd name="connsiteY6971" fmla="*/ 6350178 h 7458372"/>
              <a:gd name="connsiteX6972" fmla="*/ 465717 w 10505529"/>
              <a:gd name="connsiteY6972" fmla="*/ 6353640 h 7458372"/>
              <a:gd name="connsiteX6973" fmla="*/ 471042 w 10505529"/>
              <a:gd name="connsiteY6973" fmla="*/ 6352708 h 7458372"/>
              <a:gd name="connsiteX6974" fmla="*/ 474769 w 10505529"/>
              <a:gd name="connsiteY6974" fmla="*/ 6350311 h 7458372"/>
              <a:gd name="connsiteX6975" fmla="*/ 477433 w 10505529"/>
              <a:gd name="connsiteY6975" fmla="*/ 6346052 h 7458372"/>
              <a:gd name="connsiteX6976" fmla="*/ 478498 w 10505529"/>
              <a:gd name="connsiteY6976" fmla="*/ 6340594 h 7458372"/>
              <a:gd name="connsiteX6977" fmla="*/ 477433 w 10505529"/>
              <a:gd name="connsiteY6977" fmla="*/ 6335403 h 7458372"/>
              <a:gd name="connsiteX6978" fmla="*/ 474769 w 10505529"/>
              <a:gd name="connsiteY6978" fmla="*/ 6331276 h 7458372"/>
              <a:gd name="connsiteX6979" fmla="*/ 470777 w 10505529"/>
              <a:gd name="connsiteY6979" fmla="*/ 6328613 h 7458372"/>
              <a:gd name="connsiteX6980" fmla="*/ 465717 w 10505529"/>
              <a:gd name="connsiteY6980" fmla="*/ 6327682 h 7458372"/>
              <a:gd name="connsiteX6981" fmla="*/ 248076 w 10505529"/>
              <a:gd name="connsiteY6981" fmla="*/ 6327682 h 7458372"/>
              <a:gd name="connsiteX6982" fmla="*/ 238094 w 10505529"/>
              <a:gd name="connsiteY6982" fmla="*/ 6331276 h 7458372"/>
              <a:gd name="connsiteX6983" fmla="*/ 234500 w 10505529"/>
              <a:gd name="connsiteY6983" fmla="*/ 6340727 h 7458372"/>
              <a:gd name="connsiteX6984" fmla="*/ 238094 w 10505529"/>
              <a:gd name="connsiteY6984" fmla="*/ 6350178 h 7458372"/>
              <a:gd name="connsiteX6985" fmla="*/ 248076 w 10505529"/>
              <a:gd name="connsiteY6985" fmla="*/ 6353640 h 7458372"/>
              <a:gd name="connsiteX6986" fmla="*/ 253401 w 10505529"/>
              <a:gd name="connsiteY6986" fmla="*/ 6352708 h 7458372"/>
              <a:gd name="connsiteX6987" fmla="*/ 257127 w 10505529"/>
              <a:gd name="connsiteY6987" fmla="*/ 6350311 h 7458372"/>
              <a:gd name="connsiteX6988" fmla="*/ 259790 w 10505529"/>
              <a:gd name="connsiteY6988" fmla="*/ 6346052 h 7458372"/>
              <a:gd name="connsiteX6989" fmla="*/ 260855 w 10505529"/>
              <a:gd name="connsiteY6989" fmla="*/ 6340594 h 7458372"/>
              <a:gd name="connsiteX6990" fmla="*/ 259790 w 10505529"/>
              <a:gd name="connsiteY6990" fmla="*/ 6335403 h 7458372"/>
              <a:gd name="connsiteX6991" fmla="*/ 257127 w 10505529"/>
              <a:gd name="connsiteY6991" fmla="*/ 6331276 h 7458372"/>
              <a:gd name="connsiteX6992" fmla="*/ 253135 w 10505529"/>
              <a:gd name="connsiteY6992" fmla="*/ 6328613 h 7458372"/>
              <a:gd name="connsiteX6993" fmla="*/ 248076 w 10505529"/>
              <a:gd name="connsiteY6993" fmla="*/ 6327682 h 7458372"/>
              <a:gd name="connsiteX6994" fmla="*/ 30435 w 10505529"/>
              <a:gd name="connsiteY6994" fmla="*/ 6327682 h 7458372"/>
              <a:gd name="connsiteX6995" fmla="*/ 20452 w 10505529"/>
              <a:gd name="connsiteY6995" fmla="*/ 6331276 h 7458372"/>
              <a:gd name="connsiteX6996" fmla="*/ 16859 w 10505529"/>
              <a:gd name="connsiteY6996" fmla="*/ 6340727 h 7458372"/>
              <a:gd name="connsiteX6997" fmla="*/ 20452 w 10505529"/>
              <a:gd name="connsiteY6997" fmla="*/ 6350178 h 7458372"/>
              <a:gd name="connsiteX6998" fmla="*/ 30435 w 10505529"/>
              <a:gd name="connsiteY6998" fmla="*/ 6353640 h 7458372"/>
              <a:gd name="connsiteX6999" fmla="*/ 35760 w 10505529"/>
              <a:gd name="connsiteY6999" fmla="*/ 6352708 h 7458372"/>
              <a:gd name="connsiteX7000" fmla="*/ 39487 w 10505529"/>
              <a:gd name="connsiteY7000" fmla="*/ 6350311 h 7458372"/>
              <a:gd name="connsiteX7001" fmla="*/ 42150 w 10505529"/>
              <a:gd name="connsiteY7001" fmla="*/ 6346052 h 7458372"/>
              <a:gd name="connsiteX7002" fmla="*/ 43081 w 10505529"/>
              <a:gd name="connsiteY7002" fmla="*/ 6340594 h 7458372"/>
              <a:gd name="connsiteX7003" fmla="*/ 42150 w 10505529"/>
              <a:gd name="connsiteY7003" fmla="*/ 6335403 h 7458372"/>
              <a:gd name="connsiteX7004" fmla="*/ 39487 w 10505529"/>
              <a:gd name="connsiteY7004" fmla="*/ 6331276 h 7458372"/>
              <a:gd name="connsiteX7005" fmla="*/ 35494 w 10505529"/>
              <a:gd name="connsiteY7005" fmla="*/ 6328613 h 7458372"/>
              <a:gd name="connsiteX7006" fmla="*/ 30435 w 10505529"/>
              <a:gd name="connsiteY7006" fmla="*/ 6327682 h 7458372"/>
              <a:gd name="connsiteX7007" fmla="*/ 10475977 w 10505529"/>
              <a:gd name="connsiteY7007" fmla="*/ 6311042 h 7458372"/>
              <a:gd name="connsiteX7008" fmla="*/ 10487824 w 10505529"/>
              <a:gd name="connsiteY7008" fmla="*/ 6313305 h 7458372"/>
              <a:gd name="connsiteX7009" fmla="*/ 10497143 w 10505529"/>
              <a:gd name="connsiteY7009" fmla="*/ 6319694 h 7458372"/>
              <a:gd name="connsiteX7010" fmla="*/ 10503266 w 10505529"/>
              <a:gd name="connsiteY7010" fmla="*/ 6329013 h 7458372"/>
              <a:gd name="connsiteX7011" fmla="*/ 10505529 w 10505529"/>
              <a:gd name="connsiteY7011" fmla="*/ 6340461 h 7458372"/>
              <a:gd name="connsiteX7012" fmla="*/ 10503266 w 10505529"/>
              <a:gd name="connsiteY7012" fmla="*/ 6352176 h 7458372"/>
              <a:gd name="connsiteX7013" fmla="*/ 10497143 w 10505529"/>
              <a:gd name="connsiteY7013" fmla="*/ 6361627 h 7458372"/>
              <a:gd name="connsiteX7014" fmla="*/ 10487824 w 10505529"/>
              <a:gd name="connsiteY7014" fmla="*/ 6367884 h 7458372"/>
              <a:gd name="connsiteX7015" fmla="*/ 10475977 w 10505529"/>
              <a:gd name="connsiteY7015" fmla="*/ 6370147 h 7458372"/>
              <a:gd name="connsiteX7016" fmla="*/ 10454145 w 10505529"/>
              <a:gd name="connsiteY7016" fmla="*/ 6361760 h 7458372"/>
              <a:gd name="connsiteX7017" fmla="*/ 10445759 w 10505529"/>
              <a:gd name="connsiteY7017" fmla="*/ 6340594 h 7458372"/>
              <a:gd name="connsiteX7018" fmla="*/ 10454145 w 10505529"/>
              <a:gd name="connsiteY7018" fmla="*/ 6319562 h 7458372"/>
              <a:gd name="connsiteX7019" fmla="*/ 10475977 w 10505529"/>
              <a:gd name="connsiteY7019" fmla="*/ 6311042 h 7458372"/>
              <a:gd name="connsiteX7020" fmla="*/ 10258466 w 10505529"/>
              <a:gd name="connsiteY7020" fmla="*/ 6311042 h 7458372"/>
              <a:gd name="connsiteX7021" fmla="*/ 10270313 w 10505529"/>
              <a:gd name="connsiteY7021" fmla="*/ 6313305 h 7458372"/>
              <a:gd name="connsiteX7022" fmla="*/ 10279631 w 10505529"/>
              <a:gd name="connsiteY7022" fmla="*/ 6319694 h 7458372"/>
              <a:gd name="connsiteX7023" fmla="*/ 10285754 w 10505529"/>
              <a:gd name="connsiteY7023" fmla="*/ 6329013 h 7458372"/>
              <a:gd name="connsiteX7024" fmla="*/ 10288017 w 10505529"/>
              <a:gd name="connsiteY7024" fmla="*/ 6340461 h 7458372"/>
              <a:gd name="connsiteX7025" fmla="*/ 10285754 w 10505529"/>
              <a:gd name="connsiteY7025" fmla="*/ 6352176 h 7458372"/>
              <a:gd name="connsiteX7026" fmla="*/ 10279631 w 10505529"/>
              <a:gd name="connsiteY7026" fmla="*/ 6361627 h 7458372"/>
              <a:gd name="connsiteX7027" fmla="*/ 10270313 w 10505529"/>
              <a:gd name="connsiteY7027" fmla="*/ 6367884 h 7458372"/>
              <a:gd name="connsiteX7028" fmla="*/ 10258466 w 10505529"/>
              <a:gd name="connsiteY7028" fmla="*/ 6370147 h 7458372"/>
              <a:gd name="connsiteX7029" fmla="*/ 10236633 w 10505529"/>
              <a:gd name="connsiteY7029" fmla="*/ 6361760 h 7458372"/>
              <a:gd name="connsiteX7030" fmla="*/ 10228247 w 10505529"/>
              <a:gd name="connsiteY7030" fmla="*/ 6340594 h 7458372"/>
              <a:gd name="connsiteX7031" fmla="*/ 10236633 w 10505529"/>
              <a:gd name="connsiteY7031" fmla="*/ 6319562 h 7458372"/>
              <a:gd name="connsiteX7032" fmla="*/ 10258466 w 10505529"/>
              <a:gd name="connsiteY7032" fmla="*/ 6311042 h 7458372"/>
              <a:gd name="connsiteX7033" fmla="*/ 10040820 w 10505529"/>
              <a:gd name="connsiteY7033" fmla="*/ 6311042 h 7458372"/>
              <a:gd name="connsiteX7034" fmla="*/ 10052534 w 10505529"/>
              <a:gd name="connsiteY7034" fmla="*/ 6313305 h 7458372"/>
              <a:gd name="connsiteX7035" fmla="*/ 10061852 w 10505529"/>
              <a:gd name="connsiteY7035" fmla="*/ 6319694 h 7458372"/>
              <a:gd name="connsiteX7036" fmla="*/ 10067976 w 10505529"/>
              <a:gd name="connsiteY7036" fmla="*/ 6329013 h 7458372"/>
              <a:gd name="connsiteX7037" fmla="*/ 10070239 w 10505529"/>
              <a:gd name="connsiteY7037" fmla="*/ 6340461 h 7458372"/>
              <a:gd name="connsiteX7038" fmla="*/ 10067976 w 10505529"/>
              <a:gd name="connsiteY7038" fmla="*/ 6352176 h 7458372"/>
              <a:gd name="connsiteX7039" fmla="*/ 10061852 w 10505529"/>
              <a:gd name="connsiteY7039" fmla="*/ 6361627 h 7458372"/>
              <a:gd name="connsiteX7040" fmla="*/ 10052534 w 10505529"/>
              <a:gd name="connsiteY7040" fmla="*/ 6367884 h 7458372"/>
              <a:gd name="connsiteX7041" fmla="*/ 10040820 w 10505529"/>
              <a:gd name="connsiteY7041" fmla="*/ 6370147 h 7458372"/>
              <a:gd name="connsiteX7042" fmla="*/ 10018988 w 10505529"/>
              <a:gd name="connsiteY7042" fmla="*/ 6361760 h 7458372"/>
              <a:gd name="connsiteX7043" fmla="*/ 10010602 w 10505529"/>
              <a:gd name="connsiteY7043" fmla="*/ 6340594 h 7458372"/>
              <a:gd name="connsiteX7044" fmla="*/ 10018988 w 10505529"/>
              <a:gd name="connsiteY7044" fmla="*/ 6319562 h 7458372"/>
              <a:gd name="connsiteX7045" fmla="*/ 10040820 w 10505529"/>
              <a:gd name="connsiteY7045" fmla="*/ 6311042 h 7458372"/>
              <a:gd name="connsiteX7046" fmla="*/ 9823176 w 10505529"/>
              <a:gd name="connsiteY7046" fmla="*/ 6311042 h 7458372"/>
              <a:gd name="connsiteX7047" fmla="*/ 9834890 w 10505529"/>
              <a:gd name="connsiteY7047" fmla="*/ 6313305 h 7458372"/>
              <a:gd name="connsiteX7048" fmla="*/ 9844208 w 10505529"/>
              <a:gd name="connsiteY7048" fmla="*/ 6319694 h 7458372"/>
              <a:gd name="connsiteX7049" fmla="*/ 9850331 w 10505529"/>
              <a:gd name="connsiteY7049" fmla="*/ 6329013 h 7458372"/>
              <a:gd name="connsiteX7050" fmla="*/ 9852595 w 10505529"/>
              <a:gd name="connsiteY7050" fmla="*/ 6340461 h 7458372"/>
              <a:gd name="connsiteX7051" fmla="*/ 9850331 w 10505529"/>
              <a:gd name="connsiteY7051" fmla="*/ 6352176 h 7458372"/>
              <a:gd name="connsiteX7052" fmla="*/ 9844208 w 10505529"/>
              <a:gd name="connsiteY7052" fmla="*/ 6361627 h 7458372"/>
              <a:gd name="connsiteX7053" fmla="*/ 9834890 w 10505529"/>
              <a:gd name="connsiteY7053" fmla="*/ 6367884 h 7458372"/>
              <a:gd name="connsiteX7054" fmla="*/ 9823176 w 10505529"/>
              <a:gd name="connsiteY7054" fmla="*/ 6370147 h 7458372"/>
              <a:gd name="connsiteX7055" fmla="*/ 9801343 w 10505529"/>
              <a:gd name="connsiteY7055" fmla="*/ 6361760 h 7458372"/>
              <a:gd name="connsiteX7056" fmla="*/ 9792957 w 10505529"/>
              <a:gd name="connsiteY7056" fmla="*/ 6340594 h 7458372"/>
              <a:gd name="connsiteX7057" fmla="*/ 9801343 w 10505529"/>
              <a:gd name="connsiteY7057" fmla="*/ 6319562 h 7458372"/>
              <a:gd name="connsiteX7058" fmla="*/ 9823176 w 10505529"/>
              <a:gd name="connsiteY7058" fmla="*/ 6311042 h 7458372"/>
              <a:gd name="connsiteX7059" fmla="*/ 9605531 w 10505529"/>
              <a:gd name="connsiteY7059" fmla="*/ 6311042 h 7458372"/>
              <a:gd name="connsiteX7060" fmla="*/ 9617245 w 10505529"/>
              <a:gd name="connsiteY7060" fmla="*/ 6313305 h 7458372"/>
              <a:gd name="connsiteX7061" fmla="*/ 9626562 w 10505529"/>
              <a:gd name="connsiteY7061" fmla="*/ 6319694 h 7458372"/>
              <a:gd name="connsiteX7062" fmla="*/ 9632686 w 10505529"/>
              <a:gd name="connsiteY7062" fmla="*/ 6329013 h 7458372"/>
              <a:gd name="connsiteX7063" fmla="*/ 9634949 w 10505529"/>
              <a:gd name="connsiteY7063" fmla="*/ 6340461 h 7458372"/>
              <a:gd name="connsiteX7064" fmla="*/ 9632686 w 10505529"/>
              <a:gd name="connsiteY7064" fmla="*/ 6352176 h 7458372"/>
              <a:gd name="connsiteX7065" fmla="*/ 9626562 w 10505529"/>
              <a:gd name="connsiteY7065" fmla="*/ 6361627 h 7458372"/>
              <a:gd name="connsiteX7066" fmla="*/ 9617245 w 10505529"/>
              <a:gd name="connsiteY7066" fmla="*/ 6367884 h 7458372"/>
              <a:gd name="connsiteX7067" fmla="*/ 9605531 w 10505529"/>
              <a:gd name="connsiteY7067" fmla="*/ 6370147 h 7458372"/>
              <a:gd name="connsiteX7068" fmla="*/ 9583698 w 10505529"/>
              <a:gd name="connsiteY7068" fmla="*/ 6361760 h 7458372"/>
              <a:gd name="connsiteX7069" fmla="*/ 9575312 w 10505529"/>
              <a:gd name="connsiteY7069" fmla="*/ 6340594 h 7458372"/>
              <a:gd name="connsiteX7070" fmla="*/ 9583698 w 10505529"/>
              <a:gd name="connsiteY7070" fmla="*/ 6319562 h 7458372"/>
              <a:gd name="connsiteX7071" fmla="*/ 9605531 w 10505529"/>
              <a:gd name="connsiteY7071" fmla="*/ 6311042 h 7458372"/>
              <a:gd name="connsiteX7072" fmla="*/ 9387885 w 10505529"/>
              <a:gd name="connsiteY7072" fmla="*/ 6311042 h 7458372"/>
              <a:gd name="connsiteX7073" fmla="*/ 9399599 w 10505529"/>
              <a:gd name="connsiteY7073" fmla="*/ 6313305 h 7458372"/>
              <a:gd name="connsiteX7074" fmla="*/ 9408917 w 10505529"/>
              <a:gd name="connsiteY7074" fmla="*/ 6319694 h 7458372"/>
              <a:gd name="connsiteX7075" fmla="*/ 9415041 w 10505529"/>
              <a:gd name="connsiteY7075" fmla="*/ 6329013 h 7458372"/>
              <a:gd name="connsiteX7076" fmla="*/ 9417304 w 10505529"/>
              <a:gd name="connsiteY7076" fmla="*/ 6340461 h 7458372"/>
              <a:gd name="connsiteX7077" fmla="*/ 9415041 w 10505529"/>
              <a:gd name="connsiteY7077" fmla="*/ 6352176 h 7458372"/>
              <a:gd name="connsiteX7078" fmla="*/ 9408917 w 10505529"/>
              <a:gd name="connsiteY7078" fmla="*/ 6361627 h 7458372"/>
              <a:gd name="connsiteX7079" fmla="*/ 9399599 w 10505529"/>
              <a:gd name="connsiteY7079" fmla="*/ 6367884 h 7458372"/>
              <a:gd name="connsiteX7080" fmla="*/ 9387885 w 10505529"/>
              <a:gd name="connsiteY7080" fmla="*/ 6370147 h 7458372"/>
              <a:gd name="connsiteX7081" fmla="*/ 9366053 w 10505529"/>
              <a:gd name="connsiteY7081" fmla="*/ 6361760 h 7458372"/>
              <a:gd name="connsiteX7082" fmla="*/ 9357667 w 10505529"/>
              <a:gd name="connsiteY7082" fmla="*/ 6340594 h 7458372"/>
              <a:gd name="connsiteX7083" fmla="*/ 9366053 w 10505529"/>
              <a:gd name="connsiteY7083" fmla="*/ 6319562 h 7458372"/>
              <a:gd name="connsiteX7084" fmla="*/ 9387885 w 10505529"/>
              <a:gd name="connsiteY7084" fmla="*/ 6311042 h 7458372"/>
              <a:gd name="connsiteX7085" fmla="*/ 9170374 w 10505529"/>
              <a:gd name="connsiteY7085" fmla="*/ 6311042 h 7458372"/>
              <a:gd name="connsiteX7086" fmla="*/ 9182088 w 10505529"/>
              <a:gd name="connsiteY7086" fmla="*/ 6313305 h 7458372"/>
              <a:gd name="connsiteX7087" fmla="*/ 9191405 w 10505529"/>
              <a:gd name="connsiteY7087" fmla="*/ 6319694 h 7458372"/>
              <a:gd name="connsiteX7088" fmla="*/ 9197529 w 10505529"/>
              <a:gd name="connsiteY7088" fmla="*/ 6329013 h 7458372"/>
              <a:gd name="connsiteX7089" fmla="*/ 9199792 w 10505529"/>
              <a:gd name="connsiteY7089" fmla="*/ 6340461 h 7458372"/>
              <a:gd name="connsiteX7090" fmla="*/ 9197529 w 10505529"/>
              <a:gd name="connsiteY7090" fmla="*/ 6352176 h 7458372"/>
              <a:gd name="connsiteX7091" fmla="*/ 9191405 w 10505529"/>
              <a:gd name="connsiteY7091" fmla="*/ 6361627 h 7458372"/>
              <a:gd name="connsiteX7092" fmla="*/ 9182088 w 10505529"/>
              <a:gd name="connsiteY7092" fmla="*/ 6367884 h 7458372"/>
              <a:gd name="connsiteX7093" fmla="*/ 9170374 w 10505529"/>
              <a:gd name="connsiteY7093" fmla="*/ 6370147 h 7458372"/>
              <a:gd name="connsiteX7094" fmla="*/ 9148541 w 10505529"/>
              <a:gd name="connsiteY7094" fmla="*/ 6361760 h 7458372"/>
              <a:gd name="connsiteX7095" fmla="*/ 9140155 w 10505529"/>
              <a:gd name="connsiteY7095" fmla="*/ 6340594 h 7458372"/>
              <a:gd name="connsiteX7096" fmla="*/ 9148541 w 10505529"/>
              <a:gd name="connsiteY7096" fmla="*/ 6319562 h 7458372"/>
              <a:gd name="connsiteX7097" fmla="*/ 9170374 w 10505529"/>
              <a:gd name="connsiteY7097" fmla="*/ 6311042 h 7458372"/>
              <a:gd name="connsiteX7098" fmla="*/ 8952728 w 10505529"/>
              <a:gd name="connsiteY7098" fmla="*/ 6311042 h 7458372"/>
              <a:gd name="connsiteX7099" fmla="*/ 8964442 w 10505529"/>
              <a:gd name="connsiteY7099" fmla="*/ 6313305 h 7458372"/>
              <a:gd name="connsiteX7100" fmla="*/ 8973760 w 10505529"/>
              <a:gd name="connsiteY7100" fmla="*/ 6319694 h 7458372"/>
              <a:gd name="connsiteX7101" fmla="*/ 8979884 w 10505529"/>
              <a:gd name="connsiteY7101" fmla="*/ 6329013 h 7458372"/>
              <a:gd name="connsiteX7102" fmla="*/ 8982147 w 10505529"/>
              <a:gd name="connsiteY7102" fmla="*/ 6340461 h 7458372"/>
              <a:gd name="connsiteX7103" fmla="*/ 8979884 w 10505529"/>
              <a:gd name="connsiteY7103" fmla="*/ 6352176 h 7458372"/>
              <a:gd name="connsiteX7104" fmla="*/ 8973760 w 10505529"/>
              <a:gd name="connsiteY7104" fmla="*/ 6361627 h 7458372"/>
              <a:gd name="connsiteX7105" fmla="*/ 8964442 w 10505529"/>
              <a:gd name="connsiteY7105" fmla="*/ 6367884 h 7458372"/>
              <a:gd name="connsiteX7106" fmla="*/ 8952728 w 10505529"/>
              <a:gd name="connsiteY7106" fmla="*/ 6370147 h 7458372"/>
              <a:gd name="connsiteX7107" fmla="*/ 8930896 w 10505529"/>
              <a:gd name="connsiteY7107" fmla="*/ 6361760 h 7458372"/>
              <a:gd name="connsiteX7108" fmla="*/ 8922510 w 10505529"/>
              <a:gd name="connsiteY7108" fmla="*/ 6340594 h 7458372"/>
              <a:gd name="connsiteX7109" fmla="*/ 8930896 w 10505529"/>
              <a:gd name="connsiteY7109" fmla="*/ 6319562 h 7458372"/>
              <a:gd name="connsiteX7110" fmla="*/ 8952728 w 10505529"/>
              <a:gd name="connsiteY7110" fmla="*/ 6311042 h 7458372"/>
              <a:gd name="connsiteX7111" fmla="*/ 8735083 w 10505529"/>
              <a:gd name="connsiteY7111" fmla="*/ 6311042 h 7458372"/>
              <a:gd name="connsiteX7112" fmla="*/ 8746797 w 10505529"/>
              <a:gd name="connsiteY7112" fmla="*/ 6313305 h 7458372"/>
              <a:gd name="connsiteX7113" fmla="*/ 8756115 w 10505529"/>
              <a:gd name="connsiteY7113" fmla="*/ 6319694 h 7458372"/>
              <a:gd name="connsiteX7114" fmla="*/ 8762238 w 10505529"/>
              <a:gd name="connsiteY7114" fmla="*/ 6329013 h 7458372"/>
              <a:gd name="connsiteX7115" fmla="*/ 8764502 w 10505529"/>
              <a:gd name="connsiteY7115" fmla="*/ 6340461 h 7458372"/>
              <a:gd name="connsiteX7116" fmla="*/ 8762238 w 10505529"/>
              <a:gd name="connsiteY7116" fmla="*/ 6352176 h 7458372"/>
              <a:gd name="connsiteX7117" fmla="*/ 8756115 w 10505529"/>
              <a:gd name="connsiteY7117" fmla="*/ 6361627 h 7458372"/>
              <a:gd name="connsiteX7118" fmla="*/ 8746797 w 10505529"/>
              <a:gd name="connsiteY7118" fmla="*/ 6367884 h 7458372"/>
              <a:gd name="connsiteX7119" fmla="*/ 8735083 w 10505529"/>
              <a:gd name="connsiteY7119" fmla="*/ 6370147 h 7458372"/>
              <a:gd name="connsiteX7120" fmla="*/ 8713250 w 10505529"/>
              <a:gd name="connsiteY7120" fmla="*/ 6361760 h 7458372"/>
              <a:gd name="connsiteX7121" fmla="*/ 8704864 w 10505529"/>
              <a:gd name="connsiteY7121" fmla="*/ 6340594 h 7458372"/>
              <a:gd name="connsiteX7122" fmla="*/ 8713250 w 10505529"/>
              <a:gd name="connsiteY7122" fmla="*/ 6319562 h 7458372"/>
              <a:gd name="connsiteX7123" fmla="*/ 8735083 w 10505529"/>
              <a:gd name="connsiteY7123" fmla="*/ 6311042 h 7458372"/>
              <a:gd name="connsiteX7124" fmla="*/ 8517438 w 10505529"/>
              <a:gd name="connsiteY7124" fmla="*/ 6311042 h 7458372"/>
              <a:gd name="connsiteX7125" fmla="*/ 8529152 w 10505529"/>
              <a:gd name="connsiteY7125" fmla="*/ 6313305 h 7458372"/>
              <a:gd name="connsiteX7126" fmla="*/ 8538470 w 10505529"/>
              <a:gd name="connsiteY7126" fmla="*/ 6319694 h 7458372"/>
              <a:gd name="connsiteX7127" fmla="*/ 8544594 w 10505529"/>
              <a:gd name="connsiteY7127" fmla="*/ 6329013 h 7458372"/>
              <a:gd name="connsiteX7128" fmla="*/ 8546857 w 10505529"/>
              <a:gd name="connsiteY7128" fmla="*/ 6340461 h 7458372"/>
              <a:gd name="connsiteX7129" fmla="*/ 8544594 w 10505529"/>
              <a:gd name="connsiteY7129" fmla="*/ 6352176 h 7458372"/>
              <a:gd name="connsiteX7130" fmla="*/ 8538470 w 10505529"/>
              <a:gd name="connsiteY7130" fmla="*/ 6361627 h 7458372"/>
              <a:gd name="connsiteX7131" fmla="*/ 8529152 w 10505529"/>
              <a:gd name="connsiteY7131" fmla="*/ 6367884 h 7458372"/>
              <a:gd name="connsiteX7132" fmla="*/ 8517438 w 10505529"/>
              <a:gd name="connsiteY7132" fmla="*/ 6370147 h 7458372"/>
              <a:gd name="connsiteX7133" fmla="*/ 8495606 w 10505529"/>
              <a:gd name="connsiteY7133" fmla="*/ 6361760 h 7458372"/>
              <a:gd name="connsiteX7134" fmla="*/ 8487220 w 10505529"/>
              <a:gd name="connsiteY7134" fmla="*/ 6340594 h 7458372"/>
              <a:gd name="connsiteX7135" fmla="*/ 8495606 w 10505529"/>
              <a:gd name="connsiteY7135" fmla="*/ 6319562 h 7458372"/>
              <a:gd name="connsiteX7136" fmla="*/ 8517438 w 10505529"/>
              <a:gd name="connsiteY7136" fmla="*/ 6311042 h 7458372"/>
              <a:gd name="connsiteX7137" fmla="*/ 8299793 w 10505529"/>
              <a:gd name="connsiteY7137" fmla="*/ 6311042 h 7458372"/>
              <a:gd name="connsiteX7138" fmla="*/ 8311507 w 10505529"/>
              <a:gd name="connsiteY7138" fmla="*/ 6313305 h 7458372"/>
              <a:gd name="connsiteX7139" fmla="*/ 8320825 w 10505529"/>
              <a:gd name="connsiteY7139" fmla="*/ 6319694 h 7458372"/>
              <a:gd name="connsiteX7140" fmla="*/ 8326948 w 10505529"/>
              <a:gd name="connsiteY7140" fmla="*/ 6329013 h 7458372"/>
              <a:gd name="connsiteX7141" fmla="*/ 8329212 w 10505529"/>
              <a:gd name="connsiteY7141" fmla="*/ 6340461 h 7458372"/>
              <a:gd name="connsiteX7142" fmla="*/ 8326948 w 10505529"/>
              <a:gd name="connsiteY7142" fmla="*/ 6352176 h 7458372"/>
              <a:gd name="connsiteX7143" fmla="*/ 8320825 w 10505529"/>
              <a:gd name="connsiteY7143" fmla="*/ 6361627 h 7458372"/>
              <a:gd name="connsiteX7144" fmla="*/ 8311507 w 10505529"/>
              <a:gd name="connsiteY7144" fmla="*/ 6367884 h 7458372"/>
              <a:gd name="connsiteX7145" fmla="*/ 8299793 w 10505529"/>
              <a:gd name="connsiteY7145" fmla="*/ 6370147 h 7458372"/>
              <a:gd name="connsiteX7146" fmla="*/ 8277960 w 10505529"/>
              <a:gd name="connsiteY7146" fmla="*/ 6361760 h 7458372"/>
              <a:gd name="connsiteX7147" fmla="*/ 8269574 w 10505529"/>
              <a:gd name="connsiteY7147" fmla="*/ 6340594 h 7458372"/>
              <a:gd name="connsiteX7148" fmla="*/ 8277960 w 10505529"/>
              <a:gd name="connsiteY7148" fmla="*/ 6319562 h 7458372"/>
              <a:gd name="connsiteX7149" fmla="*/ 8299793 w 10505529"/>
              <a:gd name="connsiteY7149" fmla="*/ 6311042 h 7458372"/>
              <a:gd name="connsiteX7150" fmla="*/ 8082281 w 10505529"/>
              <a:gd name="connsiteY7150" fmla="*/ 6311042 h 7458372"/>
              <a:gd name="connsiteX7151" fmla="*/ 8094127 w 10505529"/>
              <a:gd name="connsiteY7151" fmla="*/ 6313305 h 7458372"/>
              <a:gd name="connsiteX7152" fmla="*/ 8103446 w 10505529"/>
              <a:gd name="connsiteY7152" fmla="*/ 6319694 h 7458372"/>
              <a:gd name="connsiteX7153" fmla="*/ 8109569 w 10505529"/>
              <a:gd name="connsiteY7153" fmla="*/ 6329013 h 7458372"/>
              <a:gd name="connsiteX7154" fmla="*/ 8111832 w 10505529"/>
              <a:gd name="connsiteY7154" fmla="*/ 6340461 h 7458372"/>
              <a:gd name="connsiteX7155" fmla="*/ 8109569 w 10505529"/>
              <a:gd name="connsiteY7155" fmla="*/ 6352176 h 7458372"/>
              <a:gd name="connsiteX7156" fmla="*/ 8103446 w 10505529"/>
              <a:gd name="connsiteY7156" fmla="*/ 6361627 h 7458372"/>
              <a:gd name="connsiteX7157" fmla="*/ 8094127 w 10505529"/>
              <a:gd name="connsiteY7157" fmla="*/ 6367884 h 7458372"/>
              <a:gd name="connsiteX7158" fmla="*/ 8082281 w 10505529"/>
              <a:gd name="connsiteY7158" fmla="*/ 6370147 h 7458372"/>
              <a:gd name="connsiteX7159" fmla="*/ 8060448 w 10505529"/>
              <a:gd name="connsiteY7159" fmla="*/ 6361760 h 7458372"/>
              <a:gd name="connsiteX7160" fmla="*/ 8052062 w 10505529"/>
              <a:gd name="connsiteY7160" fmla="*/ 6340594 h 7458372"/>
              <a:gd name="connsiteX7161" fmla="*/ 8060448 w 10505529"/>
              <a:gd name="connsiteY7161" fmla="*/ 6319562 h 7458372"/>
              <a:gd name="connsiteX7162" fmla="*/ 8082281 w 10505529"/>
              <a:gd name="connsiteY7162" fmla="*/ 6311042 h 7458372"/>
              <a:gd name="connsiteX7163" fmla="*/ 7864636 w 10505529"/>
              <a:gd name="connsiteY7163" fmla="*/ 6311042 h 7458372"/>
              <a:gd name="connsiteX7164" fmla="*/ 7876483 w 10505529"/>
              <a:gd name="connsiteY7164" fmla="*/ 6313305 h 7458372"/>
              <a:gd name="connsiteX7165" fmla="*/ 7885802 w 10505529"/>
              <a:gd name="connsiteY7165" fmla="*/ 6319694 h 7458372"/>
              <a:gd name="connsiteX7166" fmla="*/ 7891924 w 10505529"/>
              <a:gd name="connsiteY7166" fmla="*/ 6329013 h 7458372"/>
              <a:gd name="connsiteX7167" fmla="*/ 7894188 w 10505529"/>
              <a:gd name="connsiteY7167" fmla="*/ 6340461 h 7458372"/>
              <a:gd name="connsiteX7168" fmla="*/ 7891924 w 10505529"/>
              <a:gd name="connsiteY7168" fmla="*/ 6352176 h 7458372"/>
              <a:gd name="connsiteX7169" fmla="*/ 7885802 w 10505529"/>
              <a:gd name="connsiteY7169" fmla="*/ 6361627 h 7458372"/>
              <a:gd name="connsiteX7170" fmla="*/ 7876483 w 10505529"/>
              <a:gd name="connsiteY7170" fmla="*/ 6367884 h 7458372"/>
              <a:gd name="connsiteX7171" fmla="*/ 7864636 w 10505529"/>
              <a:gd name="connsiteY7171" fmla="*/ 6370147 h 7458372"/>
              <a:gd name="connsiteX7172" fmla="*/ 7842803 w 10505529"/>
              <a:gd name="connsiteY7172" fmla="*/ 6361760 h 7458372"/>
              <a:gd name="connsiteX7173" fmla="*/ 7834417 w 10505529"/>
              <a:gd name="connsiteY7173" fmla="*/ 6340594 h 7458372"/>
              <a:gd name="connsiteX7174" fmla="*/ 7842803 w 10505529"/>
              <a:gd name="connsiteY7174" fmla="*/ 6319562 h 7458372"/>
              <a:gd name="connsiteX7175" fmla="*/ 7864636 w 10505529"/>
              <a:gd name="connsiteY7175" fmla="*/ 6311042 h 7458372"/>
              <a:gd name="connsiteX7176" fmla="*/ 7646991 w 10505529"/>
              <a:gd name="connsiteY7176" fmla="*/ 6311042 h 7458372"/>
              <a:gd name="connsiteX7177" fmla="*/ 7658705 w 10505529"/>
              <a:gd name="connsiteY7177" fmla="*/ 6313305 h 7458372"/>
              <a:gd name="connsiteX7178" fmla="*/ 7668022 w 10505529"/>
              <a:gd name="connsiteY7178" fmla="*/ 6319694 h 7458372"/>
              <a:gd name="connsiteX7179" fmla="*/ 7674146 w 10505529"/>
              <a:gd name="connsiteY7179" fmla="*/ 6329013 h 7458372"/>
              <a:gd name="connsiteX7180" fmla="*/ 7676409 w 10505529"/>
              <a:gd name="connsiteY7180" fmla="*/ 6340461 h 7458372"/>
              <a:gd name="connsiteX7181" fmla="*/ 7674146 w 10505529"/>
              <a:gd name="connsiteY7181" fmla="*/ 6352176 h 7458372"/>
              <a:gd name="connsiteX7182" fmla="*/ 7668022 w 10505529"/>
              <a:gd name="connsiteY7182" fmla="*/ 6361627 h 7458372"/>
              <a:gd name="connsiteX7183" fmla="*/ 7658705 w 10505529"/>
              <a:gd name="connsiteY7183" fmla="*/ 6367884 h 7458372"/>
              <a:gd name="connsiteX7184" fmla="*/ 7646991 w 10505529"/>
              <a:gd name="connsiteY7184" fmla="*/ 6370147 h 7458372"/>
              <a:gd name="connsiteX7185" fmla="*/ 7625158 w 10505529"/>
              <a:gd name="connsiteY7185" fmla="*/ 6361760 h 7458372"/>
              <a:gd name="connsiteX7186" fmla="*/ 7616772 w 10505529"/>
              <a:gd name="connsiteY7186" fmla="*/ 6340594 h 7458372"/>
              <a:gd name="connsiteX7187" fmla="*/ 7625158 w 10505529"/>
              <a:gd name="connsiteY7187" fmla="*/ 6319562 h 7458372"/>
              <a:gd name="connsiteX7188" fmla="*/ 7646991 w 10505529"/>
              <a:gd name="connsiteY7188" fmla="*/ 6311042 h 7458372"/>
              <a:gd name="connsiteX7189" fmla="*/ 7429345 w 10505529"/>
              <a:gd name="connsiteY7189" fmla="*/ 6311042 h 7458372"/>
              <a:gd name="connsiteX7190" fmla="*/ 7441059 w 10505529"/>
              <a:gd name="connsiteY7190" fmla="*/ 6313305 h 7458372"/>
              <a:gd name="connsiteX7191" fmla="*/ 7450377 w 10505529"/>
              <a:gd name="connsiteY7191" fmla="*/ 6319694 h 7458372"/>
              <a:gd name="connsiteX7192" fmla="*/ 7456501 w 10505529"/>
              <a:gd name="connsiteY7192" fmla="*/ 6329013 h 7458372"/>
              <a:gd name="connsiteX7193" fmla="*/ 7458764 w 10505529"/>
              <a:gd name="connsiteY7193" fmla="*/ 6340461 h 7458372"/>
              <a:gd name="connsiteX7194" fmla="*/ 7456501 w 10505529"/>
              <a:gd name="connsiteY7194" fmla="*/ 6352176 h 7458372"/>
              <a:gd name="connsiteX7195" fmla="*/ 7450377 w 10505529"/>
              <a:gd name="connsiteY7195" fmla="*/ 6361627 h 7458372"/>
              <a:gd name="connsiteX7196" fmla="*/ 7441059 w 10505529"/>
              <a:gd name="connsiteY7196" fmla="*/ 6367884 h 7458372"/>
              <a:gd name="connsiteX7197" fmla="*/ 7429345 w 10505529"/>
              <a:gd name="connsiteY7197" fmla="*/ 6370147 h 7458372"/>
              <a:gd name="connsiteX7198" fmla="*/ 7407513 w 10505529"/>
              <a:gd name="connsiteY7198" fmla="*/ 6361760 h 7458372"/>
              <a:gd name="connsiteX7199" fmla="*/ 7399127 w 10505529"/>
              <a:gd name="connsiteY7199" fmla="*/ 6340594 h 7458372"/>
              <a:gd name="connsiteX7200" fmla="*/ 7407513 w 10505529"/>
              <a:gd name="connsiteY7200" fmla="*/ 6319562 h 7458372"/>
              <a:gd name="connsiteX7201" fmla="*/ 7429345 w 10505529"/>
              <a:gd name="connsiteY7201" fmla="*/ 6311042 h 7458372"/>
              <a:gd name="connsiteX7202" fmla="*/ 7211701 w 10505529"/>
              <a:gd name="connsiteY7202" fmla="*/ 6311042 h 7458372"/>
              <a:gd name="connsiteX7203" fmla="*/ 7223415 w 10505529"/>
              <a:gd name="connsiteY7203" fmla="*/ 6313305 h 7458372"/>
              <a:gd name="connsiteX7204" fmla="*/ 7232733 w 10505529"/>
              <a:gd name="connsiteY7204" fmla="*/ 6319694 h 7458372"/>
              <a:gd name="connsiteX7205" fmla="*/ 7238856 w 10505529"/>
              <a:gd name="connsiteY7205" fmla="*/ 6329013 h 7458372"/>
              <a:gd name="connsiteX7206" fmla="*/ 7241120 w 10505529"/>
              <a:gd name="connsiteY7206" fmla="*/ 6340461 h 7458372"/>
              <a:gd name="connsiteX7207" fmla="*/ 7238856 w 10505529"/>
              <a:gd name="connsiteY7207" fmla="*/ 6352176 h 7458372"/>
              <a:gd name="connsiteX7208" fmla="*/ 7232733 w 10505529"/>
              <a:gd name="connsiteY7208" fmla="*/ 6361627 h 7458372"/>
              <a:gd name="connsiteX7209" fmla="*/ 7223415 w 10505529"/>
              <a:gd name="connsiteY7209" fmla="*/ 6367884 h 7458372"/>
              <a:gd name="connsiteX7210" fmla="*/ 7211701 w 10505529"/>
              <a:gd name="connsiteY7210" fmla="*/ 6370147 h 7458372"/>
              <a:gd name="connsiteX7211" fmla="*/ 7189868 w 10505529"/>
              <a:gd name="connsiteY7211" fmla="*/ 6361760 h 7458372"/>
              <a:gd name="connsiteX7212" fmla="*/ 7181482 w 10505529"/>
              <a:gd name="connsiteY7212" fmla="*/ 6340594 h 7458372"/>
              <a:gd name="connsiteX7213" fmla="*/ 7189868 w 10505529"/>
              <a:gd name="connsiteY7213" fmla="*/ 6319562 h 7458372"/>
              <a:gd name="connsiteX7214" fmla="*/ 7211701 w 10505529"/>
              <a:gd name="connsiteY7214" fmla="*/ 6311042 h 7458372"/>
              <a:gd name="connsiteX7215" fmla="*/ 6994056 w 10505529"/>
              <a:gd name="connsiteY7215" fmla="*/ 6311042 h 7458372"/>
              <a:gd name="connsiteX7216" fmla="*/ 7005769 w 10505529"/>
              <a:gd name="connsiteY7216" fmla="*/ 6313305 h 7458372"/>
              <a:gd name="connsiteX7217" fmla="*/ 7015087 w 10505529"/>
              <a:gd name="connsiteY7217" fmla="*/ 6319694 h 7458372"/>
              <a:gd name="connsiteX7218" fmla="*/ 7021211 w 10505529"/>
              <a:gd name="connsiteY7218" fmla="*/ 6329013 h 7458372"/>
              <a:gd name="connsiteX7219" fmla="*/ 7023474 w 10505529"/>
              <a:gd name="connsiteY7219" fmla="*/ 6340461 h 7458372"/>
              <a:gd name="connsiteX7220" fmla="*/ 7021211 w 10505529"/>
              <a:gd name="connsiteY7220" fmla="*/ 6352176 h 7458372"/>
              <a:gd name="connsiteX7221" fmla="*/ 7015087 w 10505529"/>
              <a:gd name="connsiteY7221" fmla="*/ 6361627 h 7458372"/>
              <a:gd name="connsiteX7222" fmla="*/ 7005769 w 10505529"/>
              <a:gd name="connsiteY7222" fmla="*/ 6367884 h 7458372"/>
              <a:gd name="connsiteX7223" fmla="*/ 6994056 w 10505529"/>
              <a:gd name="connsiteY7223" fmla="*/ 6370147 h 7458372"/>
              <a:gd name="connsiteX7224" fmla="*/ 6972223 w 10505529"/>
              <a:gd name="connsiteY7224" fmla="*/ 6361760 h 7458372"/>
              <a:gd name="connsiteX7225" fmla="*/ 6963837 w 10505529"/>
              <a:gd name="connsiteY7225" fmla="*/ 6340594 h 7458372"/>
              <a:gd name="connsiteX7226" fmla="*/ 6972223 w 10505529"/>
              <a:gd name="connsiteY7226" fmla="*/ 6319562 h 7458372"/>
              <a:gd name="connsiteX7227" fmla="*/ 6994056 w 10505529"/>
              <a:gd name="connsiteY7227" fmla="*/ 6311042 h 7458372"/>
              <a:gd name="connsiteX7228" fmla="*/ 6776544 w 10505529"/>
              <a:gd name="connsiteY7228" fmla="*/ 6311042 h 7458372"/>
              <a:gd name="connsiteX7229" fmla="*/ 6788258 w 10505529"/>
              <a:gd name="connsiteY7229" fmla="*/ 6313305 h 7458372"/>
              <a:gd name="connsiteX7230" fmla="*/ 6797576 w 10505529"/>
              <a:gd name="connsiteY7230" fmla="*/ 6319694 h 7458372"/>
              <a:gd name="connsiteX7231" fmla="*/ 6803699 w 10505529"/>
              <a:gd name="connsiteY7231" fmla="*/ 6329013 h 7458372"/>
              <a:gd name="connsiteX7232" fmla="*/ 6805963 w 10505529"/>
              <a:gd name="connsiteY7232" fmla="*/ 6340461 h 7458372"/>
              <a:gd name="connsiteX7233" fmla="*/ 6803699 w 10505529"/>
              <a:gd name="connsiteY7233" fmla="*/ 6352176 h 7458372"/>
              <a:gd name="connsiteX7234" fmla="*/ 6797576 w 10505529"/>
              <a:gd name="connsiteY7234" fmla="*/ 6361627 h 7458372"/>
              <a:gd name="connsiteX7235" fmla="*/ 6788258 w 10505529"/>
              <a:gd name="connsiteY7235" fmla="*/ 6367884 h 7458372"/>
              <a:gd name="connsiteX7236" fmla="*/ 6776544 w 10505529"/>
              <a:gd name="connsiteY7236" fmla="*/ 6370147 h 7458372"/>
              <a:gd name="connsiteX7237" fmla="*/ 6754711 w 10505529"/>
              <a:gd name="connsiteY7237" fmla="*/ 6361760 h 7458372"/>
              <a:gd name="connsiteX7238" fmla="*/ 6746325 w 10505529"/>
              <a:gd name="connsiteY7238" fmla="*/ 6340594 h 7458372"/>
              <a:gd name="connsiteX7239" fmla="*/ 6754711 w 10505529"/>
              <a:gd name="connsiteY7239" fmla="*/ 6319562 h 7458372"/>
              <a:gd name="connsiteX7240" fmla="*/ 6776544 w 10505529"/>
              <a:gd name="connsiteY7240" fmla="*/ 6311042 h 7458372"/>
              <a:gd name="connsiteX7241" fmla="*/ 6558899 w 10505529"/>
              <a:gd name="connsiteY7241" fmla="*/ 6311042 h 7458372"/>
              <a:gd name="connsiteX7242" fmla="*/ 6570612 w 10505529"/>
              <a:gd name="connsiteY7242" fmla="*/ 6313305 h 7458372"/>
              <a:gd name="connsiteX7243" fmla="*/ 6579930 w 10505529"/>
              <a:gd name="connsiteY7243" fmla="*/ 6319694 h 7458372"/>
              <a:gd name="connsiteX7244" fmla="*/ 6586054 w 10505529"/>
              <a:gd name="connsiteY7244" fmla="*/ 6329013 h 7458372"/>
              <a:gd name="connsiteX7245" fmla="*/ 6588317 w 10505529"/>
              <a:gd name="connsiteY7245" fmla="*/ 6340461 h 7458372"/>
              <a:gd name="connsiteX7246" fmla="*/ 6586054 w 10505529"/>
              <a:gd name="connsiteY7246" fmla="*/ 6352176 h 7458372"/>
              <a:gd name="connsiteX7247" fmla="*/ 6579930 w 10505529"/>
              <a:gd name="connsiteY7247" fmla="*/ 6361627 h 7458372"/>
              <a:gd name="connsiteX7248" fmla="*/ 6570612 w 10505529"/>
              <a:gd name="connsiteY7248" fmla="*/ 6367884 h 7458372"/>
              <a:gd name="connsiteX7249" fmla="*/ 6558899 w 10505529"/>
              <a:gd name="connsiteY7249" fmla="*/ 6370147 h 7458372"/>
              <a:gd name="connsiteX7250" fmla="*/ 6537066 w 10505529"/>
              <a:gd name="connsiteY7250" fmla="*/ 6361760 h 7458372"/>
              <a:gd name="connsiteX7251" fmla="*/ 6528680 w 10505529"/>
              <a:gd name="connsiteY7251" fmla="*/ 6340594 h 7458372"/>
              <a:gd name="connsiteX7252" fmla="*/ 6537066 w 10505529"/>
              <a:gd name="connsiteY7252" fmla="*/ 6319562 h 7458372"/>
              <a:gd name="connsiteX7253" fmla="*/ 6558899 w 10505529"/>
              <a:gd name="connsiteY7253" fmla="*/ 6311042 h 7458372"/>
              <a:gd name="connsiteX7254" fmla="*/ 6341253 w 10505529"/>
              <a:gd name="connsiteY7254" fmla="*/ 6311042 h 7458372"/>
              <a:gd name="connsiteX7255" fmla="*/ 6352968 w 10505529"/>
              <a:gd name="connsiteY7255" fmla="*/ 6313305 h 7458372"/>
              <a:gd name="connsiteX7256" fmla="*/ 6362286 w 10505529"/>
              <a:gd name="connsiteY7256" fmla="*/ 6319694 h 7458372"/>
              <a:gd name="connsiteX7257" fmla="*/ 6368409 w 10505529"/>
              <a:gd name="connsiteY7257" fmla="*/ 6329013 h 7458372"/>
              <a:gd name="connsiteX7258" fmla="*/ 6370672 w 10505529"/>
              <a:gd name="connsiteY7258" fmla="*/ 6340461 h 7458372"/>
              <a:gd name="connsiteX7259" fmla="*/ 6368409 w 10505529"/>
              <a:gd name="connsiteY7259" fmla="*/ 6352176 h 7458372"/>
              <a:gd name="connsiteX7260" fmla="*/ 6362286 w 10505529"/>
              <a:gd name="connsiteY7260" fmla="*/ 6361627 h 7458372"/>
              <a:gd name="connsiteX7261" fmla="*/ 6352968 w 10505529"/>
              <a:gd name="connsiteY7261" fmla="*/ 6367884 h 7458372"/>
              <a:gd name="connsiteX7262" fmla="*/ 6341253 w 10505529"/>
              <a:gd name="connsiteY7262" fmla="*/ 6370147 h 7458372"/>
              <a:gd name="connsiteX7263" fmla="*/ 6319421 w 10505529"/>
              <a:gd name="connsiteY7263" fmla="*/ 6361760 h 7458372"/>
              <a:gd name="connsiteX7264" fmla="*/ 6311035 w 10505529"/>
              <a:gd name="connsiteY7264" fmla="*/ 6340594 h 7458372"/>
              <a:gd name="connsiteX7265" fmla="*/ 6319421 w 10505529"/>
              <a:gd name="connsiteY7265" fmla="*/ 6319562 h 7458372"/>
              <a:gd name="connsiteX7266" fmla="*/ 6341253 w 10505529"/>
              <a:gd name="connsiteY7266" fmla="*/ 6311042 h 7458372"/>
              <a:gd name="connsiteX7267" fmla="*/ 6123608 w 10505529"/>
              <a:gd name="connsiteY7267" fmla="*/ 6311042 h 7458372"/>
              <a:gd name="connsiteX7268" fmla="*/ 6135322 w 10505529"/>
              <a:gd name="connsiteY7268" fmla="*/ 6313305 h 7458372"/>
              <a:gd name="connsiteX7269" fmla="*/ 6144640 w 10505529"/>
              <a:gd name="connsiteY7269" fmla="*/ 6319694 h 7458372"/>
              <a:gd name="connsiteX7270" fmla="*/ 6150763 w 10505529"/>
              <a:gd name="connsiteY7270" fmla="*/ 6329013 h 7458372"/>
              <a:gd name="connsiteX7271" fmla="*/ 6153026 w 10505529"/>
              <a:gd name="connsiteY7271" fmla="*/ 6340461 h 7458372"/>
              <a:gd name="connsiteX7272" fmla="*/ 6150763 w 10505529"/>
              <a:gd name="connsiteY7272" fmla="*/ 6352176 h 7458372"/>
              <a:gd name="connsiteX7273" fmla="*/ 6144640 w 10505529"/>
              <a:gd name="connsiteY7273" fmla="*/ 6361627 h 7458372"/>
              <a:gd name="connsiteX7274" fmla="*/ 6135322 w 10505529"/>
              <a:gd name="connsiteY7274" fmla="*/ 6367884 h 7458372"/>
              <a:gd name="connsiteX7275" fmla="*/ 6123608 w 10505529"/>
              <a:gd name="connsiteY7275" fmla="*/ 6370147 h 7458372"/>
              <a:gd name="connsiteX7276" fmla="*/ 6101775 w 10505529"/>
              <a:gd name="connsiteY7276" fmla="*/ 6361760 h 7458372"/>
              <a:gd name="connsiteX7277" fmla="*/ 6093389 w 10505529"/>
              <a:gd name="connsiteY7277" fmla="*/ 6340594 h 7458372"/>
              <a:gd name="connsiteX7278" fmla="*/ 6101775 w 10505529"/>
              <a:gd name="connsiteY7278" fmla="*/ 6319562 h 7458372"/>
              <a:gd name="connsiteX7279" fmla="*/ 6123608 w 10505529"/>
              <a:gd name="connsiteY7279" fmla="*/ 6311042 h 7458372"/>
              <a:gd name="connsiteX7280" fmla="*/ 5905963 w 10505529"/>
              <a:gd name="connsiteY7280" fmla="*/ 6311042 h 7458372"/>
              <a:gd name="connsiteX7281" fmla="*/ 5917677 w 10505529"/>
              <a:gd name="connsiteY7281" fmla="*/ 6313305 h 7458372"/>
              <a:gd name="connsiteX7282" fmla="*/ 5926995 w 10505529"/>
              <a:gd name="connsiteY7282" fmla="*/ 6319694 h 7458372"/>
              <a:gd name="connsiteX7283" fmla="*/ 5933118 w 10505529"/>
              <a:gd name="connsiteY7283" fmla="*/ 6329013 h 7458372"/>
              <a:gd name="connsiteX7284" fmla="*/ 5935381 w 10505529"/>
              <a:gd name="connsiteY7284" fmla="*/ 6340461 h 7458372"/>
              <a:gd name="connsiteX7285" fmla="*/ 5933118 w 10505529"/>
              <a:gd name="connsiteY7285" fmla="*/ 6352176 h 7458372"/>
              <a:gd name="connsiteX7286" fmla="*/ 5926995 w 10505529"/>
              <a:gd name="connsiteY7286" fmla="*/ 6361627 h 7458372"/>
              <a:gd name="connsiteX7287" fmla="*/ 5917677 w 10505529"/>
              <a:gd name="connsiteY7287" fmla="*/ 6367884 h 7458372"/>
              <a:gd name="connsiteX7288" fmla="*/ 5905963 w 10505529"/>
              <a:gd name="connsiteY7288" fmla="*/ 6370147 h 7458372"/>
              <a:gd name="connsiteX7289" fmla="*/ 5884130 w 10505529"/>
              <a:gd name="connsiteY7289" fmla="*/ 6361760 h 7458372"/>
              <a:gd name="connsiteX7290" fmla="*/ 5875744 w 10505529"/>
              <a:gd name="connsiteY7290" fmla="*/ 6340594 h 7458372"/>
              <a:gd name="connsiteX7291" fmla="*/ 5884130 w 10505529"/>
              <a:gd name="connsiteY7291" fmla="*/ 6319562 h 7458372"/>
              <a:gd name="connsiteX7292" fmla="*/ 5905963 w 10505529"/>
              <a:gd name="connsiteY7292" fmla="*/ 6311042 h 7458372"/>
              <a:gd name="connsiteX7293" fmla="*/ 5688451 w 10505529"/>
              <a:gd name="connsiteY7293" fmla="*/ 6311042 h 7458372"/>
              <a:gd name="connsiteX7294" fmla="*/ 5700165 w 10505529"/>
              <a:gd name="connsiteY7294" fmla="*/ 6313305 h 7458372"/>
              <a:gd name="connsiteX7295" fmla="*/ 5709483 w 10505529"/>
              <a:gd name="connsiteY7295" fmla="*/ 6319694 h 7458372"/>
              <a:gd name="connsiteX7296" fmla="*/ 5715606 w 10505529"/>
              <a:gd name="connsiteY7296" fmla="*/ 6329013 h 7458372"/>
              <a:gd name="connsiteX7297" fmla="*/ 5717869 w 10505529"/>
              <a:gd name="connsiteY7297" fmla="*/ 6340461 h 7458372"/>
              <a:gd name="connsiteX7298" fmla="*/ 5715606 w 10505529"/>
              <a:gd name="connsiteY7298" fmla="*/ 6352176 h 7458372"/>
              <a:gd name="connsiteX7299" fmla="*/ 5709483 w 10505529"/>
              <a:gd name="connsiteY7299" fmla="*/ 6361627 h 7458372"/>
              <a:gd name="connsiteX7300" fmla="*/ 5700165 w 10505529"/>
              <a:gd name="connsiteY7300" fmla="*/ 6367884 h 7458372"/>
              <a:gd name="connsiteX7301" fmla="*/ 5688451 w 10505529"/>
              <a:gd name="connsiteY7301" fmla="*/ 6370147 h 7458372"/>
              <a:gd name="connsiteX7302" fmla="*/ 5666618 w 10505529"/>
              <a:gd name="connsiteY7302" fmla="*/ 6361760 h 7458372"/>
              <a:gd name="connsiteX7303" fmla="*/ 5658232 w 10505529"/>
              <a:gd name="connsiteY7303" fmla="*/ 6340594 h 7458372"/>
              <a:gd name="connsiteX7304" fmla="*/ 5666618 w 10505529"/>
              <a:gd name="connsiteY7304" fmla="*/ 6319562 h 7458372"/>
              <a:gd name="connsiteX7305" fmla="*/ 5688451 w 10505529"/>
              <a:gd name="connsiteY7305" fmla="*/ 6311042 h 7458372"/>
              <a:gd name="connsiteX7306" fmla="*/ 5470806 w 10505529"/>
              <a:gd name="connsiteY7306" fmla="*/ 6311042 h 7458372"/>
              <a:gd name="connsiteX7307" fmla="*/ 5482520 w 10505529"/>
              <a:gd name="connsiteY7307" fmla="*/ 6313305 h 7458372"/>
              <a:gd name="connsiteX7308" fmla="*/ 5491838 w 10505529"/>
              <a:gd name="connsiteY7308" fmla="*/ 6319694 h 7458372"/>
              <a:gd name="connsiteX7309" fmla="*/ 5497961 w 10505529"/>
              <a:gd name="connsiteY7309" fmla="*/ 6329013 h 7458372"/>
              <a:gd name="connsiteX7310" fmla="*/ 5500224 w 10505529"/>
              <a:gd name="connsiteY7310" fmla="*/ 6340461 h 7458372"/>
              <a:gd name="connsiteX7311" fmla="*/ 5497961 w 10505529"/>
              <a:gd name="connsiteY7311" fmla="*/ 6352176 h 7458372"/>
              <a:gd name="connsiteX7312" fmla="*/ 5491838 w 10505529"/>
              <a:gd name="connsiteY7312" fmla="*/ 6361627 h 7458372"/>
              <a:gd name="connsiteX7313" fmla="*/ 5482520 w 10505529"/>
              <a:gd name="connsiteY7313" fmla="*/ 6367884 h 7458372"/>
              <a:gd name="connsiteX7314" fmla="*/ 5470806 w 10505529"/>
              <a:gd name="connsiteY7314" fmla="*/ 6370147 h 7458372"/>
              <a:gd name="connsiteX7315" fmla="*/ 5448973 w 10505529"/>
              <a:gd name="connsiteY7315" fmla="*/ 6361760 h 7458372"/>
              <a:gd name="connsiteX7316" fmla="*/ 5440587 w 10505529"/>
              <a:gd name="connsiteY7316" fmla="*/ 6340594 h 7458372"/>
              <a:gd name="connsiteX7317" fmla="*/ 5448973 w 10505529"/>
              <a:gd name="connsiteY7317" fmla="*/ 6319562 h 7458372"/>
              <a:gd name="connsiteX7318" fmla="*/ 5470806 w 10505529"/>
              <a:gd name="connsiteY7318" fmla="*/ 6311042 h 7458372"/>
              <a:gd name="connsiteX7319" fmla="*/ 5253160 w 10505529"/>
              <a:gd name="connsiteY7319" fmla="*/ 6311042 h 7458372"/>
              <a:gd name="connsiteX7320" fmla="*/ 5264875 w 10505529"/>
              <a:gd name="connsiteY7320" fmla="*/ 6313305 h 7458372"/>
              <a:gd name="connsiteX7321" fmla="*/ 5274192 w 10505529"/>
              <a:gd name="connsiteY7321" fmla="*/ 6319694 h 7458372"/>
              <a:gd name="connsiteX7322" fmla="*/ 5280316 w 10505529"/>
              <a:gd name="connsiteY7322" fmla="*/ 6329013 h 7458372"/>
              <a:gd name="connsiteX7323" fmla="*/ 5282579 w 10505529"/>
              <a:gd name="connsiteY7323" fmla="*/ 6340461 h 7458372"/>
              <a:gd name="connsiteX7324" fmla="*/ 5280316 w 10505529"/>
              <a:gd name="connsiteY7324" fmla="*/ 6352176 h 7458372"/>
              <a:gd name="connsiteX7325" fmla="*/ 5274192 w 10505529"/>
              <a:gd name="connsiteY7325" fmla="*/ 6361627 h 7458372"/>
              <a:gd name="connsiteX7326" fmla="*/ 5264875 w 10505529"/>
              <a:gd name="connsiteY7326" fmla="*/ 6367884 h 7458372"/>
              <a:gd name="connsiteX7327" fmla="*/ 5253160 w 10505529"/>
              <a:gd name="connsiteY7327" fmla="*/ 6370147 h 7458372"/>
              <a:gd name="connsiteX7328" fmla="*/ 5231328 w 10505529"/>
              <a:gd name="connsiteY7328" fmla="*/ 6361760 h 7458372"/>
              <a:gd name="connsiteX7329" fmla="*/ 5222942 w 10505529"/>
              <a:gd name="connsiteY7329" fmla="*/ 6340594 h 7458372"/>
              <a:gd name="connsiteX7330" fmla="*/ 5231328 w 10505529"/>
              <a:gd name="connsiteY7330" fmla="*/ 6319562 h 7458372"/>
              <a:gd name="connsiteX7331" fmla="*/ 5253160 w 10505529"/>
              <a:gd name="connsiteY7331" fmla="*/ 6311042 h 7458372"/>
              <a:gd name="connsiteX7332" fmla="*/ 5035515 w 10505529"/>
              <a:gd name="connsiteY7332" fmla="*/ 6311042 h 7458372"/>
              <a:gd name="connsiteX7333" fmla="*/ 5047230 w 10505529"/>
              <a:gd name="connsiteY7333" fmla="*/ 6313305 h 7458372"/>
              <a:gd name="connsiteX7334" fmla="*/ 5056548 w 10505529"/>
              <a:gd name="connsiteY7334" fmla="*/ 6319694 h 7458372"/>
              <a:gd name="connsiteX7335" fmla="*/ 5062671 w 10505529"/>
              <a:gd name="connsiteY7335" fmla="*/ 6329013 h 7458372"/>
              <a:gd name="connsiteX7336" fmla="*/ 5064934 w 10505529"/>
              <a:gd name="connsiteY7336" fmla="*/ 6340461 h 7458372"/>
              <a:gd name="connsiteX7337" fmla="*/ 5062671 w 10505529"/>
              <a:gd name="connsiteY7337" fmla="*/ 6352176 h 7458372"/>
              <a:gd name="connsiteX7338" fmla="*/ 5056548 w 10505529"/>
              <a:gd name="connsiteY7338" fmla="*/ 6361627 h 7458372"/>
              <a:gd name="connsiteX7339" fmla="*/ 5047230 w 10505529"/>
              <a:gd name="connsiteY7339" fmla="*/ 6367884 h 7458372"/>
              <a:gd name="connsiteX7340" fmla="*/ 5035515 w 10505529"/>
              <a:gd name="connsiteY7340" fmla="*/ 6370147 h 7458372"/>
              <a:gd name="connsiteX7341" fmla="*/ 5013683 w 10505529"/>
              <a:gd name="connsiteY7341" fmla="*/ 6361760 h 7458372"/>
              <a:gd name="connsiteX7342" fmla="*/ 5005297 w 10505529"/>
              <a:gd name="connsiteY7342" fmla="*/ 6340594 h 7458372"/>
              <a:gd name="connsiteX7343" fmla="*/ 5013683 w 10505529"/>
              <a:gd name="connsiteY7343" fmla="*/ 6319562 h 7458372"/>
              <a:gd name="connsiteX7344" fmla="*/ 5035515 w 10505529"/>
              <a:gd name="connsiteY7344" fmla="*/ 6311042 h 7458372"/>
              <a:gd name="connsiteX7345" fmla="*/ 4817870 w 10505529"/>
              <a:gd name="connsiteY7345" fmla="*/ 6311042 h 7458372"/>
              <a:gd name="connsiteX7346" fmla="*/ 4829585 w 10505529"/>
              <a:gd name="connsiteY7346" fmla="*/ 6313305 h 7458372"/>
              <a:gd name="connsiteX7347" fmla="*/ 4838903 w 10505529"/>
              <a:gd name="connsiteY7347" fmla="*/ 6319694 h 7458372"/>
              <a:gd name="connsiteX7348" fmla="*/ 4845026 w 10505529"/>
              <a:gd name="connsiteY7348" fmla="*/ 6329013 h 7458372"/>
              <a:gd name="connsiteX7349" fmla="*/ 4847289 w 10505529"/>
              <a:gd name="connsiteY7349" fmla="*/ 6340461 h 7458372"/>
              <a:gd name="connsiteX7350" fmla="*/ 4845026 w 10505529"/>
              <a:gd name="connsiteY7350" fmla="*/ 6352176 h 7458372"/>
              <a:gd name="connsiteX7351" fmla="*/ 4838903 w 10505529"/>
              <a:gd name="connsiteY7351" fmla="*/ 6361627 h 7458372"/>
              <a:gd name="connsiteX7352" fmla="*/ 4829585 w 10505529"/>
              <a:gd name="connsiteY7352" fmla="*/ 6367884 h 7458372"/>
              <a:gd name="connsiteX7353" fmla="*/ 4817870 w 10505529"/>
              <a:gd name="connsiteY7353" fmla="*/ 6370147 h 7458372"/>
              <a:gd name="connsiteX7354" fmla="*/ 4796038 w 10505529"/>
              <a:gd name="connsiteY7354" fmla="*/ 6361760 h 7458372"/>
              <a:gd name="connsiteX7355" fmla="*/ 4787652 w 10505529"/>
              <a:gd name="connsiteY7355" fmla="*/ 6340594 h 7458372"/>
              <a:gd name="connsiteX7356" fmla="*/ 4796038 w 10505529"/>
              <a:gd name="connsiteY7356" fmla="*/ 6319562 h 7458372"/>
              <a:gd name="connsiteX7357" fmla="*/ 4817870 w 10505529"/>
              <a:gd name="connsiteY7357" fmla="*/ 6311042 h 7458372"/>
              <a:gd name="connsiteX7358" fmla="*/ 4600226 w 10505529"/>
              <a:gd name="connsiteY7358" fmla="*/ 6311042 h 7458372"/>
              <a:gd name="connsiteX7359" fmla="*/ 4612073 w 10505529"/>
              <a:gd name="connsiteY7359" fmla="*/ 6313305 h 7458372"/>
              <a:gd name="connsiteX7360" fmla="*/ 4621391 w 10505529"/>
              <a:gd name="connsiteY7360" fmla="*/ 6319694 h 7458372"/>
              <a:gd name="connsiteX7361" fmla="*/ 4627514 w 10505529"/>
              <a:gd name="connsiteY7361" fmla="*/ 6329013 h 7458372"/>
              <a:gd name="connsiteX7362" fmla="*/ 4629777 w 10505529"/>
              <a:gd name="connsiteY7362" fmla="*/ 6340461 h 7458372"/>
              <a:gd name="connsiteX7363" fmla="*/ 4627514 w 10505529"/>
              <a:gd name="connsiteY7363" fmla="*/ 6352176 h 7458372"/>
              <a:gd name="connsiteX7364" fmla="*/ 4621391 w 10505529"/>
              <a:gd name="connsiteY7364" fmla="*/ 6361627 h 7458372"/>
              <a:gd name="connsiteX7365" fmla="*/ 4612073 w 10505529"/>
              <a:gd name="connsiteY7365" fmla="*/ 6367884 h 7458372"/>
              <a:gd name="connsiteX7366" fmla="*/ 4600226 w 10505529"/>
              <a:gd name="connsiteY7366" fmla="*/ 6370147 h 7458372"/>
              <a:gd name="connsiteX7367" fmla="*/ 4578393 w 10505529"/>
              <a:gd name="connsiteY7367" fmla="*/ 6361760 h 7458372"/>
              <a:gd name="connsiteX7368" fmla="*/ 4570007 w 10505529"/>
              <a:gd name="connsiteY7368" fmla="*/ 6340594 h 7458372"/>
              <a:gd name="connsiteX7369" fmla="*/ 4578393 w 10505529"/>
              <a:gd name="connsiteY7369" fmla="*/ 6319562 h 7458372"/>
              <a:gd name="connsiteX7370" fmla="*/ 4600226 w 10505529"/>
              <a:gd name="connsiteY7370" fmla="*/ 6311042 h 7458372"/>
              <a:gd name="connsiteX7371" fmla="*/ 4382713 w 10505529"/>
              <a:gd name="connsiteY7371" fmla="*/ 6311042 h 7458372"/>
              <a:gd name="connsiteX7372" fmla="*/ 4394428 w 10505529"/>
              <a:gd name="connsiteY7372" fmla="*/ 6313305 h 7458372"/>
              <a:gd name="connsiteX7373" fmla="*/ 4403746 w 10505529"/>
              <a:gd name="connsiteY7373" fmla="*/ 6319694 h 7458372"/>
              <a:gd name="connsiteX7374" fmla="*/ 4409869 w 10505529"/>
              <a:gd name="connsiteY7374" fmla="*/ 6329013 h 7458372"/>
              <a:gd name="connsiteX7375" fmla="*/ 4412132 w 10505529"/>
              <a:gd name="connsiteY7375" fmla="*/ 6340461 h 7458372"/>
              <a:gd name="connsiteX7376" fmla="*/ 4409869 w 10505529"/>
              <a:gd name="connsiteY7376" fmla="*/ 6352176 h 7458372"/>
              <a:gd name="connsiteX7377" fmla="*/ 4403746 w 10505529"/>
              <a:gd name="connsiteY7377" fmla="*/ 6361627 h 7458372"/>
              <a:gd name="connsiteX7378" fmla="*/ 4394428 w 10505529"/>
              <a:gd name="connsiteY7378" fmla="*/ 6367884 h 7458372"/>
              <a:gd name="connsiteX7379" fmla="*/ 4382713 w 10505529"/>
              <a:gd name="connsiteY7379" fmla="*/ 6370147 h 7458372"/>
              <a:gd name="connsiteX7380" fmla="*/ 4360881 w 10505529"/>
              <a:gd name="connsiteY7380" fmla="*/ 6361760 h 7458372"/>
              <a:gd name="connsiteX7381" fmla="*/ 4352495 w 10505529"/>
              <a:gd name="connsiteY7381" fmla="*/ 6340594 h 7458372"/>
              <a:gd name="connsiteX7382" fmla="*/ 4360881 w 10505529"/>
              <a:gd name="connsiteY7382" fmla="*/ 6319562 h 7458372"/>
              <a:gd name="connsiteX7383" fmla="*/ 4382713 w 10505529"/>
              <a:gd name="connsiteY7383" fmla="*/ 6311042 h 7458372"/>
              <a:gd name="connsiteX7384" fmla="*/ 4165068 w 10505529"/>
              <a:gd name="connsiteY7384" fmla="*/ 6311042 h 7458372"/>
              <a:gd name="connsiteX7385" fmla="*/ 4176782 w 10505529"/>
              <a:gd name="connsiteY7385" fmla="*/ 6313305 h 7458372"/>
              <a:gd name="connsiteX7386" fmla="*/ 4186100 w 10505529"/>
              <a:gd name="connsiteY7386" fmla="*/ 6319694 h 7458372"/>
              <a:gd name="connsiteX7387" fmla="*/ 4192223 w 10505529"/>
              <a:gd name="connsiteY7387" fmla="*/ 6329013 h 7458372"/>
              <a:gd name="connsiteX7388" fmla="*/ 4194486 w 10505529"/>
              <a:gd name="connsiteY7388" fmla="*/ 6340461 h 7458372"/>
              <a:gd name="connsiteX7389" fmla="*/ 4192223 w 10505529"/>
              <a:gd name="connsiteY7389" fmla="*/ 6352176 h 7458372"/>
              <a:gd name="connsiteX7390" fmla="*/ 4186100 w 10505529"/>
              <a:gd name="connsiteY7390" fmla="*/ 6361627 h 7458372"/>
              <a:gd name="connsiteX7391" fmla="*/ 4176782 w 10505529"/>
              <a:gd name="connsiteY7391" fmla="*/ 6367884 h 7458372"/>
              <a:gd name="connsiteX7392" fmla="*/ 4165068 w 10505529"/>
              <a:gd name="connsiteY7392" fmla="*/ 6370147 h 7458372"/>
              <a:gd name="connsiteX7393" fmla="*/ 4143235 w 10505529"/>
              <a:gd name="connsiteY7393" fmla="*/ 6361760 h 7458372"/>
              <a:gd name="connsiteX7394" fmla="*/ 4134849 w 10505529"/>
              <a:gd name="connsiteY7394" fmla="*/ 6340594 h 7458372"/>
              <a:gd name="connsiteX7395" fmla="*/ 4143235 w 10505529"/>
              <a:gd name="connsiteY7395" fmla="*/ 6319562 h 7458372"/>
              <a:gd name="connsiteX7396" fmla="*/ 4165068 w 10505529"/>
              <a:gd name="connsiteY7396" fmla="*/ 6311042 h 7458372"/>
              <a:gd name="connsiteX7397" fmla="*/ 3947767 w 10505529"/>
              <a:gd name="connsiteY7397" fmla="*/ 6311042 h 7458372"/>
              <a:gd name="connsiteX7398" fmla="*/ 3959486 w 10505529"/>
              <a:gd name="connsiteY7398" fmla="*/ 6313305 h 7458372"/>
              <a:gd name="connsiteX7399" fmla="*/ 3968804 w 10505529"/>
              <a:gd name="connsiteY7399" fmla="*/ 6319694 h 7458372"/>
              <a:gd name="connsiteX7400" fmla="*/ 3974928 w 10505529"/>
              <a:gd name="connsiteY7400" fmla="*/ 6329013 h 7458372"/>
              <a:gd name="connsiteX7401" fmla="*/ 3977192 w 10505529"/>
              <a:gd name="connsiteY7401" fmla="*/ 6340461 h 7458372"/>
              <a:gd name="connsiteX7402" fmla="*/ 3974928 w 10505529"/>
              <a:gd name="connsiteY7402" fmla="*/ 6352176 h 7458372"/>
              <a:gd name="connsiteX7403" fmla="*/ 3968804 w 10505529"/>
              <a:gd name="connsiteY7403" fmla="*/ 6361627 h 7458372"/>
              <a:gd name="connsiteX7404" fmla="*/ 3959486 w 10505529"/>
              <a:gd name="connsiteY7404" fmla="*/ 6367884 h 7458372"/>
              <a:gd name="connsiteX7405" fmla="*/ 3947767 w 10505529"/>
              <a:gd name="connsiteY7405" fmla="*/ 6370147 h 7458372"/>
              <a:gd name="connsiteX7406" fmla="*/ 3925934 w 10505529"/>
              <a:gd name="connsiteY7406" fmla="*/ 6361760 h 7458372"/>
              <a:gd name="connsiteX7407" fmla="*/ 3917548 w 10505529"/>
              <a:gd name="connsiteY7407" fmla="*/ 6340594 h 7458372"/>
              <a:gd name="connsiteX7408" fmla="*/ 3925934 w 10505529"/>
              <a:gd name="connsiteY7408" fmla="*/ 6319562 h 7458372"/>
              <a:gd name="connsiteX7409" fmla="*/ 3947767 w 10505529"/>
              <a:gd name="connsiteY7409" fmla="*/ 6311042 h 7458372"/>
              <a:gd name="connsiteX7410" fmla="*/ 3730107 w 10505529"/>
              <a:gd name="connsiteY7410" fmla="*/ 6311042 h 7458372"/>
              <a:gd name="connsiteX7411" fmla="*/ 3741823 w 10505529"/>
              <a:gd name="connsiteY7411" fmla="*/ 6313305 h 7458372"/>
              <a:gd name="connsiteX7412" fmla="*/ 3751141 w 10505529"/>
              <a:gd name="connsiteY7412" fmla="*/ 6319694 h 7458372"/>
              <a:gd name="connsiteX7413" fmla="*/ 3757264 w 10505529"/>
              <a:gd name="connsiteY7413" fmla="*/ 6329013 h 7458372"/>
              <a:gd name="connsiteX7414" fmla="*/ 3759527 w 10505529"/>
              <a:gd name="connsiteY7414" fmla="*/ 6340461 h 7458372"/>
              <a:gd name="connsiteX7415" fmla="*/ 3757264 w 10505529"/>
              <a:gd name="connsiteY7415" fmla="*/ 6352176 h 7458372"/>
              <a:gd name="connsiteX7416" fmla="*/ 3751141 w 10505529"/>
              <a:gd name="connsiteY7416" fmla="*/ 6361627 h 7458372"/>
              <a:gd name="connsiteX7417" fmla="*/ 3741823 w 10505529"/>
              <a:gd name="connsiteY7417" fmla="*/ 6367884 h 7458372"/>
              <a:gd name="connsiteX7418" fmla="*/ 3730107 w 10505529"/>
              <a:gd name="connsiteY7418" fmla="*/ 6370147 h 7458372"/>
              <a:gd name="connsiteX7419" fmla="*/ 3708265 w 10505529"/>
              <a:gd name="connsiteY7419" fmla="*/ 6361760 h 7458372"/>
              <a:gd name="connsiteX7420" fmla="*/ 3699879 w 10505529"/>
              <a:gd name="connsiteY7420" fmla="*/ 6340594 h 7458372"/>
              <a:gd name="connsiteX7421" fmla="*/ 3708265 w 10505529"/>
              <a:gd name="connsiteY7421" fmla="*/ 6319562 h 7458372"/>
              <a:gd name="connsiteX7422" fmla="*/ 3730107 w 10505529"/>
              <a:gd name="connsiteY7422" fmla="*/ 6311042 h 7458372"/>
              <a:gd name="connsiteX7423" fmla="*/ 3512444 w 10505529"/>
              <a:gd name="connsiteY7423" fmla="*/ 6311042 h 7458372"/>
              <a:gd name="connsiteX7424" fmla="*/ 3524160 w 10505529"/>
              <a:gd name="connsiteY7424" fmla="*/ 6313305 h 7458372"/>
              <a:gd name="connsiteX7425" fmla="*/ 3533478 w 10505529"/>
              <a:gd name="connsiteY7425" fmla="*/ 6319694 h 7458372"/>
              <a:gd name="connsiteX7426" fmla="*/ 3539601 w 10505529"/>
              <a:gd name="connsiteY7426" fmla="*/ 6329013 h 7458372"/>
              <a:gd name="connsiteX7427" fmla="*/ 3541864 w 10505529"/>
              <a:gd name="connsiteY7427" fmla="*/ 6340461 h 7458372"/>
              <a:gd name="connsiteX7428" fmla="*/ 3539601 w 10505529"/>
              <a:gd name="connsiteY7428" fmla="*/ 6352176 h 7458372"/>
              <a:gd name="connsiteX7429" fmla="*/ 3533478 w 10505529"/>
              <a:gd name="connsiteY7429" fmla="*/ 6361627 h 7458372"/>
              <a:gd name="connsiteX7430" fmla="*/ 3524160 w 10505529"/>
              <a:gd name="connsiteY7430" fmla="*/ 6367884 h 7458372"/>
              <a:gd name="connsiteX7431" fmla="*/ 3512444 w 10505529"/>
              <a:gd name="connsiteY7431" fmla="*/ 6370147 h 7458372"/>
              <a:gd name="connsiteX7432" fmla="*/ 3490606 w 10505529"/>
              <a:gd name="connsiteY7432" fmla="*/ 6361760 h 7458372"/>
              <a:gd name="connsiteX7433" fmla="*/ 3482220 w 10505529"/>
              <a:gd name="connsiteY7433" fmla="*/ 6340594 h 7458372"/>
              <a:gd name="connsiteX7434" fmla="*/ 3490606 w 10505529"/>
              <a:gd name="connsiteY7434" fmla="*/ 6319562 h 7458372"/>
              <a:gd name="connsiteX7435" fmla="*/ 3512444 w 10505529"/>
              <a:gd name="connsiteY7435" fmla="*/ 6311042 h 7458372"/>
              <a:gd name="connsiteX7436" fmla="*/ 3294914 w 10505529"/>
              <a:gd name="connsiteY7436" fmla="*/ 6311042 h 7458372"/>
              <a:gd name="connsiteX7437" fmla="*/ 3306630 w 10505529"/>
              <a:gd name="connsiteY7437" fmla="*/ 6313305 h 7458372"/>
              <a:gd name="connsiteX7438" fmla="*/ 3315948 w 10505529"/>
              <a:gd name="connsiteY7438" fmla="*/ 6319694 h 7458372"/>
              <a:gd name="connsiteX7439" fmla="*/ 3322071 w 10505529"/>
              <a:gd name="connsiteY7439" fmla="*/ 6329013 h 7458372"/>
              <a:gd name="connsiteX7440" fmla="*/ 3324334 w 10505529"/>
              <a:gd name="connsiteY7440" fmla="*/ 6340461 h 7458372"/>
              <a:gd name="connsiteX7441" fmla="*/ 3322071 w 10505529"/>
              <a:gd name="connsiteY7441" fmla="*/ 6352176 h 7458372"/>
              <a:gd name="connsiteX7442" fmla="*/ 3315948 w 10505529"/>
              <a:gd name="connsiteY7442" fmla="*/ 6361627 h 7458372"/>
              <a:gd name="connsiteX7443" fmla="*/ 3306630 w 10505529"/>
              <a:gd name="connsiteY7443" fmla="*/ 6367884 h 7458372"/>
              <a:gd name="connsiteX7444" fmla="*/ 3294914 w 10505529"/>
              <a:gd name="connsiteY7444" fmla="*/ 6370147 h 7458372"/>
              <a:gd name="connsiteX7445" fmla="*/ 3273075 w 10505529"/>
              <a:gd name="connsiteY7445" fmla="*/ 6361760 h 7458372"/>
              <a:gd name="connsiteX7446" fmla="*/ 3264687 w 10505529"/>
              <a:gd name="connsiteY7446" fmla="*/ 6340594 h 7458372"/>
              <a:gd name="connsiteX7447" fmla="*/ 3273075 w 10505529"/>
              <a:gd name="connsiteY7447" fmla="*/ 6319562 h 7458372"/>
              <a:gd name="connsiteX7448" fmla="*/ 3294914 w 10505529"/>
              <a:gd name="connsiteY7448" fmla="*/ 6311042 h 7458372"/>
              <a:gd name="connsiteX7449" fmla="*/ 3077251 w 10505529"/>
              <a:gd name="connsiteY7449" fmla="*/ 6311042 h 7458372"/>
              <a:gd name="connsiteX7450" fmla="*/ 3088966 w 10505529"/>
              <a:gd name="connsiteY7450" fmla="*/ 6313305 h 7458372"/>
              <a:gd name="connsiteX7451" fmla="*/ 3098284 w 10505529"/>
              <a:gd name="connsiteY7451" fmla="*/ 6319694 h 7458372"/>
              <a:gd name="connsiteX7452" fmla="*/ 3104408 w 10505529"/>
              <a:gd name="connsiteY7452" fmla="*/ 6329013 h 7458372"/>
              <a:gd name="connsiteX7453" fmla="*/ 3106671 w 10505529"/>
              <a:gd name="connsiteY7453" fmla="*/ 6340461 h 7458372"/>
              <a:gd name="connsiteX7454" fmla="*/ 3104408 w 10505529"/>
              <a:gd name="connsiteY7454" fmla="*/ 6352176 h 7458372"/>
              <a:gd name="connsiteX7455" fmla="*/ 3098284 w 10505529"/>
              <a:gd name="connsiteY7455" fmla="*/ 6361627 h 7458372"/>
              <a:gd name="connsiteX7456" fmla="*/ 3088966 w 10505529"/>
              <a:gd name="connsiteY7456" fmla="*/ 6367884 h 7458372"/>
              <a:gd name="connsiteX7457" fmla="*/ 3077251 w 10505529"/>
              <a:gd name="connsiteY7457" fmla="*/ 6370147 h 7458372"/>
              <a:gd name="connsiteX7458" fmla="*/ 3055411 w 10505529"/>
              <a:gd name="connsiteY7458" fmla="*/ 6361760 h 7458372"/>
              <a:gd name="connsiteX7459" fmla="*/ 3047025 w 10505529"/>
              <a:gd name="connsiteY7459" fmla="*/ 6340594 h 7458372"/>
              <a:gd name="connsiteX7460" fmla="*/ 3055411 w 10505529"/>
              <a:gd name="connsiteY7460" fmla="*/ 6319562 h 7458372"/>
              <a:gd name="connsiteX7461" fmla="*/ 3077251 w 10505529"/>
              <a:gd name="connsiteY7461" fmla="*/ 6311042 h 7458372"/>
              <a:gd name="connsiteX7462" fmla="*/ 2859588 w 10505529"/>
              <a:gd name="connsiteY7462" fmla="*/ 6311042 h 7458372"/>
              <a:gd name="connsiteX7463" fmla="*/ 2871436 w 10505529"/>
              <a:gd name="connsiteY7463" fmla="*/ 6313305 h 7458372"/>
              <a:gd name="connsiteX7464" fmla="*/ 2880754 w 10505529"/>
              <a:gd name="connsiteY7464" fmla="*/ 6319694 h 7458372"/>
              <a:gd name="connsiteX7465" fmla="*/ 2886877 w 10505529"/>
              <a:gd name="connsiteY7465" fmla="*/ 6329013 h 7458372"/>
              <a:gd name="connsiteX7466" fmla="*/ 2889140 w 10505529"/>
              <a:gd name="connsiteY7466" fmla="*/ 6340461 h 7458372"/>
              <a:gd name="connsiteX7467" fmla="*/ 2886877 w 10505529"/>
              <a:gd name="connsiteY7467" fmla="*/ 6352176 h 7458372"/>
              <a:gd name="connsiteX7468" fmla="*/ 2880754 w 10505529"/>
              <a:gd name="connsiteY7468" fmla="*/ 6361627 h 7458372"/>
              <a:gd name="connsiteX7469" fmla="*/ 2871436 w 10505529"/>
              <a:gd name="connsiteY7469" fmla="*/ 6367884 h 7458372"/>
              <a:gd name="connsiteX7470" fmla="*/ 2859588 w 10505529"/>
              <a:gd name="connsiteY7470" fmla="*/ 6370147 h 7458372"/>
              <a:gd name="connsiteX7471" fmla="*/ 2837749 w 10505529"/>
              <a:gd name="connsiteY7471" fmla="*/ 6361760 h 7458372"/>
              <a:gd name="connsiteX7472" fmla="*/ 2829361 w 10505529"/>
              <a:gd name="connsiteY7472" fmla="*/ 6340594 h 7458372"/>
              <a:gd name="connsiteX7473" fmla="*/ 2837749 w 10505529"/>
              <a:gd name="connsiteY7473" fmla="*/ 6319562 h 7458372"/>
              <a:gd name="connsiteX7474" fmla="*/ 2859588 w 10505529"/>
              <a:gd name="connsiteY7474" fmla="*/ 6311042 h 7458372"/>
              <a:gd name="connsiteX7475" fmla="*/ 2641924 w 10505529"/>
              <a:gd name="connsiteY7475" fmla="*/ 6311042 h 7458372"/>
              <a:gd name="connsiteX7476" fmla="*/ 2653640 w 10505529"/>
              <a:gd name="connsiteY7476" fmla="*/ 6313305 h 7458372"/>
              <a:gd name="connsiteX7477" fmla="*/ 2662958 w 10505529"/>
              <a:gd name="connsiteY7477" fmla="*/ 6319694 h 7458372"/>
              <a:gd name="connsiteX7478" fmla="*/ 2669081 w 10505529"/>
              <a:gd name="connsiteY7478" fmla="*/ 6329013 h 7458372"/>
              <a:gd name="connsiteX7479" fmla="*/ 2671344 w 10505529"/>
              <a:gd name="connsiteY7479" fmla="*/ 6340461 h 7458372"/>
              <a:gd name="connsiteX7480" fmla="*/ 2669081 w 10505529"/>
              <a:gd name="connsiteY7480" fmla="*/ 6352176 h 7458372"/>
              <a:gd name="connsiteX7481" fmla="*/ 2662958 w 10505529"/>
              <a:gd name="connsiteY7481" fmla="*/ 6361627 h 7458372"/>
              <a:gd name="connsiteX7482" fmla="*/ 2653640 w 10505529"/>
              <a:gd name="connsiteY7482" fmla="*/ 6367884 h 7458372"/>
              <a:gd name="connsiteX7483" fmla="*/ 2641924 w 10505529"/>
              <a:gd name="connsiteY7483" fmla="*/ 6370147 h 7458372"/>
              <a:gd name="connsiteX7484" fmla="*/ 2620091 w 10505529"/>
              <a:gd name="connsiteY7484" fmla="*/ 6361760 h 7458372"/>
              <a:gd name="connsiteX7485" fmla="*/ 2611701 w 10505529"/>
              <a:gd name="connsiteY7485" fmla="*/ 6340594 h 7458372"/>
              <a:gd name="connsiteX7486" fmla="*/ 2620091 w 10505529"/>
              <a:gd name="connsiteY7486" fmla="*/ 6319562 h 7458372"/>
              <a:gd name="connsiteX7487" fmla="*/ 2641924 w 10505529"/>
              <a:gd name="connsiteY7487" fmla="*/ 6311042 h 7458372"/>
              <a:gd name="connsiteX7488" fmla="*/ 2424261 w 10505529"/>
              <a:gd name="connsiteY7488" fmla="*/ 6311042 h 7458372"/>
              <a:gd name="connsiteX7489" fmla="*/ 2435977 w 10505529"/>
              <a:gd name="connsiteY7489" fmla="*/ 6313305 h 7458372"/>
              <a:gd name="connsiteX7490" fmla="*/ 2445295 w 10505529"/>
              <a:gd name="connsiteY7490" fmla="*/ 6319694 h 7458372"/>
              <a:gd name="connsiteX7491" fmla="*/ 2451418 w 10505529"/>
              <a:gd name="connsiteY7491" fmla="*/ 6329013 h 7458372"/>
              <a:gd name="connsiteX7492" fmla="*/ 2453681 w 10505529"/>
              <a:gd name="connsiteY7492" fmla="*/ 6340461 h 7458372"/>
              <a:gd name="connsiteX7493" fmla="*/ 2451418 w 10505529"/>
              <a:gd name="connsiteY7493" fmla="*/ 6352176 h 7458372"/>
              <a:gd name="connsiteX7494" fmla="*/ 2445295 w 10505529"/>
              <a:gd name="connsiteY7494" fmla="*/ 6361627 h 7458372"/>
              <a:gd name="connsiteX7495" fmla="*/ 2435977 w 10505529"/>
              <a:gd name="connsiteY7495" fmla="*/ 6367884 h 7458372"/>
              <a:gd name="connsiteX7496" fmla="*/ 2424261 w 10505529"/>
              <a:gd name="connsiteY7496" fmla="*/ 6370147 h 7458372"/>
              <a:gd name="connsiteX7497" fmla="*/ 2402429 w 10505529"/>
              <a:gd name="connsiteY7497" fmla="*/ 6361760 h 7458372"/>
              <a:gd name="connsiteX7498" fmla="*/ 2394040 w 10505529"/>
              <a:gd name="connsiteY7498" fmla="*/ 6340594 h 7458372"/>
              <a:gd name="connsiteX7499" fmla="*/ 2402429 w 10505529"/>
              <a:gd name="connsiteY7499" fmla="*/ 6319562 h 7458372"/>
              <a:gd name="connsiteX7500" fmla="*/ 2424261 w 10505529"/>
              <a:gd name="connsiteY7500" fmla="*/ 6311042 h 7458372"/>
              <a:gd name="connsiteX7501" fmla="*/ 2206598 w 10505529"/>
              <a:gd name="connsiteY7501" fmla="*/ 6311042 h 7458372"/>
              <a:gd name="connsiteX7502" fmla="*/ 2218313 w 10505529"/>
              <a:gd name="connsiteY7502" fmla="*/ 6313305 h 7458372"/>
              <a:gd name="connsiteX7503" fmla="*/ 2227632 w 10505529"/>
              <a:gd name="connsiteY7503" fmla="*/ 6319694 h 7458372"/>
              <a:gd name="connsiteX7504" fmla="*/ 2233754 w 10505529"/>
              <a:gd name="connsiteY7504" fmla="*/ 6329013 h 7458372"/>
              <a:gd name="connsiteX7505" fmla="*/ 2236017 w 10505529"/>
              <a:gd name="connsiteY7505" fmla="*/ 6340461 h 7458372"/>
              <a:gd name="connsiteX7506" fmla="*/ 2233754 w 10505529"/>
              <a:gd name="connsiteY7506" fmla="*/ 6352176 h 7458372"/>
              <a:gd name="connsiteX7507" fmla="*/ 2227632 w 10505529"/>
              <a:gd name="connsiteY7507" fmla="*/ 6361627 h 7458372"/>
              <a:gd name="connsiteX7508" fmla="*/ 2218313 w 10505529"/>
              <a:gd name="connsiteY7508" fmla="*/ 6367884 h 7458372"/>
              <a:gd name="connsiteX7509" fmla="*/ 2206598 w 10505529"/>
              <a:gd name="connsiteY7509" fmla="*/ 6370147 h 7458372"/>
              <a:gd name="connsiteX7510" fmla="*/ 2184765 w 10505529"/>
              <a:gd name="connsiteY7510" fmla="*/ 6361760 h 7458372"/>
              <a:gd name="connsiteX7511" fmla="*/ 2176376 w 10505529"/>
              <a:gd name="connsiteY7511" fmla="*/ 6340594 h 7458372"/>
              <a:gd name="connsiteX7512" fmla="*/ 2184765 w 10505529"/>
              <a:gd name="connsiteY7512" fmla="*/ 6319562 h 7458372"/>
              <a:gd name="connsiteX7513" fmla="*/ 2206598 w 10505529"/>
              <a:gd name="connsiteY7513" fmla="*/ 6311042 h 7458372"/>
              <a:gd name="connsiteX7514" fmla="*/ 1989068 w 10505529"/>
              <a:gd name="connsiteY7514" fmla="*/ 6311042 h 7458372"/>
              <a:gd name="connsiteX7515" fmla="*/ 2000783 w 10505529"/>
              <a:gd name="connsiteY7515" fmla="*/ 6313305 h 7458372"/>
              <a:gd name="connsiteX7516" fmla="*/ 2010101 w 10505529"/>
              <a:gd name="connsiteY7516" fmla="*/ 6319694 h 7458372"/>
              <a:gd name="connsiteX7517" fmla="*/ 2016224 w 10505529"/>
              <a:gd name="connsiteY7517" fmla="*/ 6329013 h 7458372"/>
              <a:gd name="connsiteX7518" fmla="*/ 2018487 w 10505529"/>
              <a:gd name="connsiteY7518" fmla="*/ 6340461 h 7458372"/>
              <a:gd name="connsiteX7519" fmla="*/ 2016224 w 10505529"/>
              <a:gd name="connsiteY7519" fmla="*/ 6352176 h 7458372"/>
              <a:gd name="connsiteX7520" fmla="*/ 2010101 w 10505529"/>
              <a:gd name="connsiteY7520" fmla="*/ 6361627 h 7458372"/>
              <a:gd name="connsiteX7521" fmla="*/ 2000783 w 10505529"/>
              <a:gd name="connsiteY7521" fmla="*/ 6367884 h 7458372"/>
              <a:gd name="connsiteX7522" fmla="*/ 1989068 w 10505529"/>
              <a:gd name="connsiteY7522" fmla="*/ 6370147 h 7458372"/>
              <a:gd name="connsiteX7523" fmla="*/ 1967236 w 10505529"/>
              <a:gd name="connsiteY7523" fmla="*/ 6361760 h 7458372"/>
              <a:gd name="connsiteX7524" fmla="*/ 1958850 w 10505529"/>
              <a:gd name="connsiteY7524" fmla="*/ 6340594 h 7458372"/>
              <a:gd name="connsiteX7525" fmla="*/ 1967236 w 10505529"/>
              <a:gd name="connsiteY7525" fmla="*/ 6319562 h 7458372"/>
              <a:gd name="connsiteX7526" fmla="*/ 1989068 w 10505529"/>
              <a:gd name="connsiteY7526" fmla="*/ 6311042 h 7458372"/>
              <a:gd name="connsiteX7527" fmla="*/ 1771436 w 10505529"/>
              <a:gd name="connsiteY7527" fmla="*/ 6311042 h 7458372"/>
              <a:gd name="connsiteX7528" fmla="*/ 1783149 w 10505529"/>
              <a:gd name="connsiteY7528" fmla="*/ 6313305 h 7458372"/>
              <a:gd name="connsiteX7529" fmla="*/ 1792467 w 10505529"/>
              <a:gd name="connsiteY7529" fmla="*/ 6319694 h 7458372"/>
              <a:gd name="connsiteX7530" fmla="*/ 1798590 w 10505529"/>
              <a:gd name="connsiteY7530" fmla="*/ 6329013 h 7458372"/>
              <a:gd name="connsiteX7531" fmla="*/ 1800852 w 10505529"/>
              <a:gd name="connsiteY7531" fmla="*/ 6340461 h 7458372"/>
              <a:gd name="connsiteX7532" fmla="*/ 1798590 w 10505529"/>
              <a:gd name="connsiteY7532" fmla="*/ 6352176 h 7458372"/>
              <a:gd name="connsiteX7533" fmla="*/ 1792467 w 10505529"/>
              <a:gd name="connsiteY7533" fmla="*/ 6361627 h 7458372"/>
              <a:gd name="connsiteX7534" fmla="*/ 1783149 w 10505529"/>
              <a:gd name="connsiteY7534" fmla="*/ 6367884 h 7458372"/>
              <a:gd name="connsiteX7535" fmla="*/ 1771436 w 10505529"/>
              <a:gd name="connsiteY7535" fmla="*/ 6370147 h 7458372"/>
              <a:gd name="connsiteX7536" fmla="*/ 1749606 w 10505529"/>
              <a:gd name="connsiteY7536" fmla="*/ 6361760 h 7458372"/>
              <a:gd name="connsiteX7537" fmla="*/ 1741224 w 10505529"/>
              <a:gd name="connsiteY7537" fmla="*/ 6340594 h 7458372"/>
              <a:gd name="connsiteX7538" fmla="*/ 1749606 w 10505529"/>
              <a:gd name="connsiteY7538" fmla="*/ 6319562 h 7458372"/>
              <a:gd name="connsiteX7539" fmla="*/ 1771436 w 10505529"/>
              <a:gd name="connsiteY7539" fmla="*/ 6311042 h 7458372"/>
              <a:gd name="connsiteX7540" fmla="*/ 1553800 w 10505529"/>
              <a:gd name="connsiteY7540" fmla="*/ 6311042 h 7458372"/>
              <a:gd name="connsiteX7541" fmla="*/ 1565514 w 10505529"/>
              <a:gd name="connsiteY7541" fmla="*/ 6313305 h 7458372"/>
              <a:gd name="connsiteX7542" fmla="*/ 1574833 w 10505529"/>
              <a:gd name="connsiteY7542" fmla="*/ 6319694 h 7458372"/>
              <a:gd name="connsiteX7543" fmla="*/ 1580955 w 10505529"/>
              <a:gd name="connsiteY7543" fmla="*/ 6329013 h 7458372"/>
              <a:gd name="connsiteX7544" fmla="*/ 1583219 w 10505529"/>
              <a:gd name="connsiteY7544" fmla="*/ 6340461 h 7458372"/>
              <a:gd name="connsiteX7545" fmla="*/ 1580955 w 10505529"/>
              <a:gd name="connsiteY7545" fmla="*/ 6352176 h 7458372"/>
              <a:gd name="connsiteX7546" fmla="*/ 1574833 w 10505529"/>
              <a:gd name="connsiteY7546" fmla="*/ 6361627 h 7458372"/>
              <a:gd name="connsiteX7547" fmla="*/ 1565514 w 10505529"/>
              <a:gd name="connsiteY7547" fmla="*/ 6367884 h 7458372"/>
              <a:gd name="connsiteX7548" fmla="*/ 1553800 w 10505529"/>
              <a:gd name="connsiteY7548" fmla="*/ 6370147 h 7458372"/>
              <a:gd name="connsiteX7549" fmla="*/ 1531971 w 10505529"/>
              <a:gd name="connsiteY7549" fmla="*/ 6361760 h 7458372"/>
              <a:gd name="connsiteX7550" fmla="*/ 1523585 w 10505529"/>
              <a:gd name="connsiteY7550" fmla="*/ 6340594 h 7458372"/>
              <a:gd name="connsiteX7551" fmla="*/ 1531971 w 10505529"/>
              <a:gd name="connsiteY7551" fmla="*/ 6319562 h 7458372"/>
              <a:gd name="connsiteX7552" fmla="*/ 1553800 w 10505529"/>
              <a:gd name="connsiteY7552" fmla="*/ 6311042 h 7458372"/>
              <a:gd name="connsiteX7553" fmla="*/ 1336157 w 10505529"/>
              <a:gd name="connsiteY7553" fmla="*/ 6311042 h 7458372"/>
              <a:gd name="connsiteX7554" fmla="*/ 1347872 w 10505529"/>
              <a:gd name="connsiteY7554" fmla="*/ 6313305 h 7458372"/>
              <a:gd name="connsiteX7555" fmla="*/ 1357190 w 10505529"/>
              <a:gd name="connsiteY7555" fmla="*/ 6319694 h 7458372"/>
              <a:gd name="connsiteX7556" fmla="*/ 1363313 w 10505529"/>
              <a:gd name="connsiteY7556" fmla="*/ 6329013 h 7458372"/>
              <a:gd name="connsiteX7557" fmla="*/ 1365575 w 10505529"/>
              <a:gd name="connsiteY7557" fmla="*/ 6340461 h 7458372"/>
              <a:gd name="connsiteX7558" fmla="*/ 1363313 w 10505529"/>
              <a:gd name="connsiteY7558" fmla="*/ 6352176 h 7458372"/>
              <a:gd name="connsiteX7559" fmla="*/ 1357190 w 10505529"/>
              <a:gd name="connsiteY7559" fmla="*/ 6361627 h 7458372"/>
              <a:gd name="connsiteX7560" fmla="*/ 1347872 w 10505529"/>
              <a:gd name="connsiteY7560" fmla="*/ 6367884 h 7458372"/>
              <a:gd name="connsiteX7561" fmla="*/ 1336157 w 10505529"/>
              <a:gd name="connsiteY7561" fmla="*/ 6370147 h 7458372"/>
              <a:gd name="connsiteX7562" fmla="*/ 1314323 w 10505529"/>
              <a:gd name="connsiteY7562" fmla="*/ 6361760 h 7458372"/>
              <a:gd name="connsiteX7563" fmla="*/ 1305938 w 10505529"/>
              <a:gd name="connsiteY7563" fmla="*/ 6340594 h 7458372"/>
              <a:gd name="connsiteX7564" fmla="*/ 1314323 w 10505529"/>
              <a:gd name="connsiteY7564" fmla="*/ 6319562 h 7458372"/>
              <a:gd name="connsiteX7565" fmla="*/ 1336157 w 10505529"/>
              <a:gd name="connsiteY7565" fmla="*/ 6311042 h 7458372"/>
              <a:gd name="connsiteX7566" fmla="*/ 1118511 w 10505529"/>
              <a:gd name="connsiteY7566" fmla="*/ 6311042 h 7458372"/>
              <a:gd name="connsiteX7567" fmla="*/ 1130229 w 10505529"/>
              <a:gd name="connsiteY7567" fmla="*/ 6313305 h 7458372"/>
              <a:gd name="connsiteX7568" fmla="*/ 1139544 w 10505529"/>
              <a:gd name="connsiteY7568" fmla="*/ 6319694 h 7458372"/>
              <a:gd name="connsiteX7569" fmla="*/ 1145663 w 10505529"/>
              <a:gd name="connsiteY7569" fmla="*/ 6329013 h 7458372"/>
              <a:gd name="connsiteX7570" fmla="*/ 1147927 w 10505529"/>
              <a:gd name="connsiteY7570" fmla="*/ 6340461 h 7458372"/>
              <a:gd name="connsiteX7571" fmla="*/ 1145663 w 10505529"/>
              <a:gd name="connsiteY7571" fmla="*/ 6352176 h 7458372"/>
              <a:gd name="connsiteX7572" fmla="*/ 1139544 w 10505529"/>
              <a:gd name="connsiteY7572" fmla="*/ 6361627 h 7458372"/>
              <a:gd name="connsiteX7573" fmla="*/ 1130229 w 10505529"/>
              <a:gd name="connsiteY7573" fmla="*/ 6367884 h 7458372"/>
              <a:gd name="connsiteX7574" fmla="*/ 1118511 w 10505529"/>
              <a:gd name="connsiteY7574" fmla="*/ 6370147 h 7458372"/>
              <a:gd name="connsiteX7575" fmla="*/ 1096676 w 10505529"/>
              <a:gd name="connsiteY7575" fmla="*/ 6361760 h 7458372"/>
              <a:gd name="connsiteX7576" fmla="*/ 1088291 w 10505529"/>
              <a:gd name="connsiteY7576" fmla="*/ 6340594 h 7458372"/>
              <a:gd name="connsiteX7577" fmla="*/ 1096676 w 10505529"/>
              <a:gd name="connsiteY7577" fmla="*/ 6319562 h 7458372"/>
              <a:gd name="connsiteX7578" fmla="*/ 1118511 w 10505529"/>
              <a:gd name="connsiteY7578" fmla="*/ 6311042 h 7458372"/>
              <a:gd name="connsiteX7579" fmla="*/ 900998 w 10505529"/>
              <a:gd name="connsiteY7579" fmla="*/ 6311042 h 7458372"/>
              <a:gd name="connsiteX7580" fmla="*/ 912713 w 10505529"/>
              <a:gd name="connsiteY7580" fmla="*/ 6313305 h 7458372"/>
              <a:gd name="connsiteX7581" fmla="*/ 922031 w 10505529"/>
              <a:gd name="connsiteY7581" fmla="*/ 6319694 h 7458372"/>
              <a:gd name="connsiteX7582" fmla="*/ 928153 w 10505529"/>
              <a:gd name="connsiteY7582" fmla="*/ 6329013 h 7458372"/>
              <a:gd name="connsiteX7583" fmla="*/ 930416 w 10505529"/>
              <a:gd name="connsiteY7583" fmla="*/ 6340461 h 7458372"/>
              <a:gd name="connsiteX7584" fmla="*/ 928153 w 10505529"/>
              <a:gd name="connsiteY7584" fmla="*/ 6352176 h 7458372"/>
              <a:gd name="connsiteX7585" fmla="*/ 922031 w 10505529"/>
              <a:gd name="connsiteY7585" fmla="*/ 6361627 h 7458372"/>
              <a:gd name="connsiteX7586" fmla="*/ 912713 w 10505529"/>
              <a:gd name="connsiteY7586" fmla="*/ 6367884 h 7458372"/>
              <a:gd name="connsiteX7587" fmla="*/ 900998 w 10505529"/>
              <a:gd name="connsiteY7587" fmla="*/ 6370147 h 7458372"/>
              <a:gd name="connsiteX7588" fmla="*/ 879167 w 10505529"/>
              <a:gd name="connsiteY7588" fmla="*/ 6361760 h 7458372"/>
              <a:gd name="connsiteX7589" fmla="*/ 870782 w 10505529"/>
              <a:gd name="connsiteY7589" fmla="*/ 6340594 h 7458372"/>
              <a:gd name="connsiteX7590" fmla="*/ 879167 w 10505529"/>
              <a:gd name="connsiteY7590" fmla="*/ 6319562 h 7458372"/>
              <a:gd name="connsiteX7591" fmla="*/ 900998 w 10505529"/>
              <a:gd name="connsiteY7591" fmla="*/ 6311042 h 7458372"/>
              <a:gd name="connsiteX7592" fmla="*/ 683358 w 10505529"/>
              <a:gd name="connsiteY7592" fmla="*/ 6311042 h 7458372"/>
              <a:gd name="connsiteX7593" fmla="*/ 695073 w 10505529"/>
              <a:gd name="connsiteY7593" fmla="*/ 6313305 h 7458372"/>
              <a:gd name="connsiteX7594" fmla="*/ 704390 w 10505529"/>
              <a:gd name="connsiteY7594" fmla="*/ 6319694 h 7458372"/>
              <a:gd name="connsiteX7595" fmla="*/ 710513 w 10505529"/>
              <a:gd name="connsiteY7595" fmla="*/ 6329013 h 7458372"/>
              <a:gd name="connsiteX7596" fmla="*/ 712776 w 10505529"/>
              <a:gd name="connsiteY7596" fmla="*/ 6340461 h 7458372"/>
              <a:gd name="connsiteX7597" fmla="*/ 710513 w 10505529"/>
              <a:gd name="connsiteY7597" fmla="*/ 6352176 h 7458372"/>
              <a:gd name="connsiteX7598" fmla="*/ 704390 w 10505529"/>
              <a:gd name="connsiteY7598" fmla="*/ 6361627 h 7458372"/>
              <a:gd name="connsiteX7599" fmla="*/ 695073 w 10505529"/>
              <a:gd name="connsiteY7599" fmla="*/ 6367884 h 7458372"/>
              <a:gd name="connsiteX7600" fmla="*/ 683358 w 10505529"/>
              <a:gd name="connsiteY7600" fmla="*/ 6370147 h 7458372"/>
              <a:gd name="connsiteX7601" fmla="*/ 661527 w 10505529"/>
              <a:gd name="connsiteY7601" fmla="*/ 6361760 h 7458372"/>
              <a:gd name="connsiteX7602" fmla="*/ 653141 w 10505529"/>
              <a:gd name="connsiteY7602" fmla="*/ 6340594 h 7458372"/>
              <a:gd name="connsiteX7603" fmla="*/ 661527 w 10505529"/>
              <a:gd name="connsiteY7603" fmla="*/ 6319562 h 7458372"/>
              <a:gd name="connsiteX7604" fmla="*/ 683358 w 10505529"/>
              <a:gd name="connsiteY7604" fmla="*/ 6311042 h 7458372"/>
              <a:gd name="connsiteX7605" fmla="*/ 465717 w 10505529"/>
              <a:gd name="connsiteY7605" fmla="*/ 6311042 h 7458372"/>
              <a:gd name="connsiteX7606" fmla="*/ 477433 w 10505529"/>
              <a:gd name="connsiteY7606" fmla="*/ 6313305 h 7458372"/>
              <a:gd name="connsiteX7607" fmla="*/ 486750 w 10505529"/>
              <a:gd name="connsiteY7607" fmla="*/ 6319694 h 7458372"/>
              <a:gd name="connsiteX7608" fmla="*/ 492873 w 10505529"/>
              <a:gd name="connsiteY7608" fmla="*/ 6329013 h 7458372"/>
              <a:gd name="connsiteX7609" fmla="*/ 495136 w 10505529"/>
              <a:gd name="connsiteY7609" fmla="*/ 6340461 h 7458372"/>
              <a:gd name="connsiteX7610" fmla="*/ 492873 w 10505529"/>
              <a:gd name="connsiteY7610" fmla="*/ 6352176 h 7458372"/>
              <a:gd name="connsiteX7611" fmla="*/ 486750 w 10505529"/>
              <a:gd name="connsiteY7611" fmla="*/ 6361627 h 7458372"/>
              <a:gd name="connsiteX7612" fmla="*/ 477433 w 10505529"/>
              <a:gd name="connsiteY7612" fmla="*/ 6367884 h 7458372"/>
              <a:gd name="connsiteX7613" fmla="*/ 465717 w 10505529"/>
              <a:gd name="connsiteY7613" fmla="*/ 6370147 h 7458372"/>
              <a:gd name="connsiteX7614" fmla="*/ 443886 w 10505529"/>
              <a:gd name="connsiteY7614" fmla="*/ 6361760 h 7458372"/>
              <a:gd name="connsiteX7615" fmla="*/ 435500 w 10505529"/>
              <a:gd name="connsiteY7615" fmla="*/ 6340594 h 7458372"/>
              <a:gd name="connsiteX7616" fmla="*/ 443886 w 10505529"/>
              <a:gd name="connsiteY7616" fmla="*/ 6319562 h 7458372"/>
              <a:gd name="connsiteX7617" fmla="*/ 465717 w 10505529"/>
              <a:gd name="connsiteY7617" fmla="*/ 6311042 h 7458372"/>
              <a:gd name="connsiteX7618" fmla="*/ 248076 w 10505529"/>
              <a:gd name="connsiteY7618" fmla="*/ 6311042 h 7458372"/>
              <a:gd name="connsiteX7619" fmla="*/ 259790 w 10505529"/>
              <a:gd name="connsiteY7619" fmla="*/ 6313305 h 7458372"/>
              <a:gd name="connsiteX7620" fmla="*/ 269109 w 10505529"/>
              <a:gd name="connsiteY7620" fmla="*/ 6319694 h 7458372"/>
              <a:gd name="connsiteX7621" fmla="*/ 275232 w 10505529"/>
              <a:gd name="connsiteY7621" fmla="*/ 6329013 h 7458372"/>
              <a:gd name="connsiteX7622" fmla="*/ 277495 w 10505529"/>
              <a:gd name="connsiteY7622" fmla="*/ 6340461 h 7458372"/>
              <a:gd name="connsiteX7623" fmla="*/ 275232 w 10505529"/>
              <a:gd name="connsiteY7623" fmla="*/ 6352176 h 7458372"/>
              <a:gd name="connsiteX7624" fmla="*/ 269109 w 10505529"/>
              <a:gd name="connsiteY7624" fmla="*/ 6361627 h 7458372"/>
              <a:gd name="connsiteX7625" fmla="*/ 259790 w 10505529"/>
              <a:gd name="connsiteY7625" fmla="*/ 6367884 h 7458372"/>
              <a:gd name="connsiteX7626" fmla="*/ 248076 w 10505529"/>
              <a:gd name="connsiteY7626" fmla="*/ 6370147 h 7458372"/>
              <a:gd name="connsiteX7627" fmla="*/ 226247 w 10505529"/>
              <a:gd name="connsiteY7627" fmla="*/ 6361760 h 7458372"/>
              <a:gd name="connsiteX7628" fmla="*/ 217862 w 10505529"/>
              <a:gd name="connsiteY7628" fmla="*/ 6340594 h 7458372"/>
              <a:gd name="connsiteX7629" fmla="*/ 226247 w 10505529"/>
              <a:gd name="connsiteY7629" fmla="*/ 6319562 h 7458372"/>
              <a:gd name="connsiteX7630" fmla="*/ 248076 w 10505529"/>
              <a:gd name="connsiteY7630" fmla="*/ 6311042 h 7458372"/>
              <a:gd name="connsiteX7631" fmla="*/ 30435 w 10505529"/>
              <a:gd name="connsiteY7631" fmla="*/ 6311042 h 7458372"/>
              <a:gd name="connsiteX7632" fmla="*/ 42150 w 10505529"/>
              <a:gd name="connsiteY7632" fmla="*/ 6313305 h 7458372"/>
              <a:gd name="connsiteX7633" fmla="*/ 51468 w 10505529"/>
              <a:gd name="connsiteY7633" fmla="*/ 6319694 h 7458372"/>
              <a:gd name="connsiteX7634" fmla="*/ 57592 w 10505529"/>
              <a:gd name="connsiteY7634" fmla="*/ 6329013 h 7458372"/>
              <a:gd name="connsiteX7635" fmla="*/ 59855 w 10505529"/>
              <a:gd name="connsiteY7635" fmla="*/ 6340461 h 7458372"/>
              <a:gd name="connsiteX7636" fmla="*/ 57592 w 10505529"/>
              <a:gd name="connsiteY7636" fmla="*/ 6352176 h 7458372"/>
              <a:gd name="connsiteX7637" fmla="*/ 51468 w 10505529"/>
              <a:gd name="connsiteY7637" fmla="*/ 6361627 h 7458372"/>
              <a:gd name="connsiteX7638" fmla="*/ 42150 w 10505529"/>
              <a:gd name="connsiteY7638" fmla="*/ 6367884 h 7458372"/>
              <a:gd name="connsiteX7639" fmla="*/ 30435 w 10505529"/>
              <a:gd name="connsiteY7639" fmla="*/ 6370147 h 7458372"/>
              <a:gd name="connsiteX7640" fmla="*/ 8608 w 10505529"/>
              <a:gd name="connsiteY7640" fmla="*/ 6361760 h 7458372"/>
              <a:gd name="connsiteX7641" fmla="*/ 222 w 10505529"/>
              <a:gd name="connsiteY7641" fmla="*/ 6340594 h 7458372"/>
              <a:gd name="connsiteX7642" fmla="*/ 8608 w 10505529"/>
              <a:gd name="connsiteY7642" fmla="*/ 6319562 h 7458372"/>
              <a:gd name="connsiteX7643" fmla="*/ 30435 w 10505529"/>
              <a:gd name="connsiteY7643" fmla="*/ 6311042 h 7458372"/>
              <a:gd name="connsiteX7644" fmla="*/ 10475977 w 10505529"/>
              <a:gd name="connsiteY7644" fmla="*/ 6110037 h 7458372"/>
              <a:gd name="connsiteX7645" fmla="*/ 10465992 w 10505529"/>
              <a:gd name="connsiteY7645" fmla="*/ 6113631 h 7458372"/>
              <a:gd name="connsiteX7646" fmla="*/ 10462399 w 10505529"/>
              <a:gd name="connsiteY7646" fmla="*/ 6123082 h 7458372"/>
              <a:gd name="connsiteX7647" fmla="*/ 10465992 w 10505529"/>
              <a:gd name="connsiteY7647" fmla="*/ 6132533 h 7458372"/>
              <a:gd name="connsiteX7648" fmla="*/ 10475977 w 10505529"/>
              <a:gd name="connsiteY7648" fmla="*/ 6135995 h 7458372"/>
              <a:gd name="connsiteX7649" fmla="*/ 10481302 w 10505529"/>
              <a:gd name="connsiteY7649" fmla="*/ 6135063 h 7458372"/>
              <a:gd name="connsiteX7650" fmla="*/ 10485029 w 10505529"/>
              <a:gd name="connsiteY7650" fmla="*/ 6132666 h 7458372"/>
              <a:gd name="connsiteX7651" fmla="*/ 10487691 w 10505529"/>
              <a:gd name="connsiteY7651" fmla="*/ 6128407 h 7458372"/>
              <a:gd name="connsiteX7652" fmla="*/ 10488623 w 10505529"/>
              <a:gd name="connsiteY7652" fmla="*/ 6122949 h 7458372"/>
              <a:gd name="connsiteX7653" fmla="*/ 10487691 w 10505529"/>
              <a:gd name="connsiteY7653" fmla="*/ 6117758 h 7458372"/>
              <a:gd name="connsiteX7654" fmla="*/ 10485029 w 10505529"/>
              <a:gd name="connsiteY7654" fmla="*/ 6113631 h 7458372"/>
              <a:gd name="connsiteX7655" fmla="*/ 10481035 w 10505529"/>
              <a:gd name="connsiteY7655" fmla="*/ 6110968 h 7458372"/>
              <a:gd name="connsiteX7656" fmla="*/ 10475977 w 10505529"/>
              <a:gd name="connsiteY7656" fmla="*/ 6110037 h 7458372"/>
              <a:gd name="connsiteX7657" fmla="*/ 10258466 w 10505529"/>
              <a:gd name="connsiteY7657" fmla="*/ 6110037 h 7458372"/>
              <a:gd name="connsiteX7658" fmla="*/ 10248481 w 10505529"/>
              <a:gd name="connsiteY7658" fmla="*/ 6113631 h 7458372"/>
              <a:gd name="connsiteX7659" fmla="*/ 10244887 w 10505529"/>
              <a:gd name="connsiteY7659" fmla="*/ 6123082 h 7458372"/>
              <a:gd name="connsiteX7660" fmla="*/ 10248481 w 10505529"/>
              <a:gd name="connsiteY7660" fmla="*/ 6132533 h 7458372"/>
              <a:gd name="connsiteX7661" fmla="*/ 10258466 w 10505529"/>
              <a:gd name="connsiteY7661" fmla="*/ 6135995 h 7458372"/>
              <a:gd name="connsiteX7662" fmla="*/ 10263790 w 10505529"/>
              <a:gd name="connsiteY7662" fmla="*/ 6135063 h 7458372"/>
              <a:gd name="connsiteX7663" fmla="*/ 10267517 w 10505529"/>
              <a:gd name="connsiteY7663" fmla="*/ 6132666 h 7458372"/>
              <a:gd name="connsiteX7664" fmla="*/ 10270180 w 10505529"/>
              <a:gd name="connsiteY7664" fmla="*/ 6128407 h 7458372"/>
              <a:gd name="connsiteX7665" fmla="*/ 10271112 w 10505529"/>
              <a:gd name="connsiteY7665" fmla="*/ 6122949 h 7458372"/>
              <a:gd name="connsiteX7666" fmla="*/ 10270180 w 10505529"/>
              <a:gd name="connsiteY7666" fmla="*/ 6117758 h 7458372"/>
              <a:gd name="connsiteX7667" fmla="*/ 10267517 w 10505529"/>
              <a:gd name="connsiteY7667" fmla="*/ 6113631 h 7458372"/>
              <a:gd name="connsiteX7668" fmla="*/ 10263524 w 10505529"/>
              <a:gd name="connsiteY7668" fmla="*/ 6110968 h 7458372"/>
              <a:gd name="connsiteX7669" fmla="*/ 10258466 w 10505529"/>
              <a:gd name="connsiteY7669" fmla="*/ 6110037 h 7458372"/>
              <a:gd name="connsiteX7670" fmla="*/ 10040820 w 10505529"/>
              <a:gd name="connsiteY7670" fmla="*/ 6110037 h 7458372"/>
              <a:gd name="connsiteX7671" fmla="*/ 10030835 w 10505529"/>
              <a:gd name="connsiteY7671" fmla="*/ 6113631 h 7458372"/>
              <a:gd name="connsiteX7672" fmla="*/ 10027242 w 10505529"/>
              <a:gd name="connsiteY7672" fmla="*/ 6123082 h 7458372"/>
              <a:gd name="connsiteX7673" fmla="*/ 10030835 w 10505529"/>
              <a:gd name="connsiteY7673" fmla="*/ 6132533 h 7458372"/>
              <a:gd name="connsiteX7674" fmla="*/ 10040820 w 10505529"/>
              <a:gd name="connsiteY7674" fmla="*/ 6135995 h 7458372"/>
              <a:gd name="connsiteX7675" fmla="*/ 10046145 w 10505529"/>
              <a:gd name="connsiteY7675" fmla="*/ 6135063 h 7458372"/>
              <a:gd name="connsiteX7676" fmla="*/ 10049872 w 10505529"/>
              <a:gd name="connsiteY7676" fmla="*/ 6132666 h 7458372"/>
              <a:gd name="connsiteX7677" fmla="*/ 10052534 w 10505529"/>
              <a:gd name="connsiteY7677" fmla="*/ 6128407 h 7458372"/>
              <a:gd name="connsiteX7678" fmla="*/ 10053599 w 10505529"/>
              <a:gd name="connsiteY7678" fmla="*/ 6122949 h 7458372"/>
              <a:gd name="connsiteX7679" fmla="*/ 10052534 w 10505529"/>
              <a:gd name="connsiteY7679" fmla="*/ 6117758 h 7458372"/>
              <a:gd name="connsiteX7680" fmla="*/ 10049872 w 10505529"/>
              <a:gd name="connsiteY7680" fmla="*/ 6113631 h 7458372"/>
              <a:gd name="connsiteX7681" fmla="*/ 10045878 w 10505529"/>
              <a:gd name="connsiteY7681" fmla="*/ 6110968 h 7458372"/>
              <a:gd name="connsiteX7682" fmla="*/ 10040820 w 10505529"/>
              <a:gd name="connsiteY7682" fmla="*/ 6110037 h 7458372"/>
              <a:gd name="connsiteX7683" fmla="*/ 9823176 w 10505529"/>
              <a:gd name="connsiteY7683" fmla="*/ 6110037 h 7458372"/>
              <a:gd name="connsiteX7684" fmla="*/ 9813191 w 10505529"/>
              <a:gd name="connsiteY7684" fmla="*/ 6113631 h 7458372"/>
              <a:gd name="connsiteX7685" fmla="*/ 9809597 w 10505529"/>
              <a:gd name="connsiteY7685" fmla="*/ 6123082 h 7458372"/>
              <a:gd name="connsiteX7686" fmla="*/ 9813191 w 10505529"/>
              <a:gd name="connsiteY7686" fmla="*/ 6132533 h 7458372"/>
              <a:gd name="connsiteX7687" fmla="*/ 9823176 w 10505529"/>
              <a:gd name="connsiteY7687" fmla="*/ 6135995 h 7458372"/>
              <a:gd name="connsiteX7688" fmla="*/ 9828501 w 10505529"/>
              <a:gd name="connsiteY7688" fmla="*/ 6135063 h 7458372"/>
              <a:gd name="connsiteX7689" fmla="*/ 9832227 w 10505529"/>
              <a:gd name="connsiteY7689" fmla="*/ 6132666 h 7458372"/>
              <a:gd name="connsiteX7690" fmla="*/ 9834890 w 10505529"/>
              <a:gd name="connsiteY7690" fmla="*/ 6128407 h 7458372"/>
              <a:gd name="connsiteX7691" fmla="*/ 9835955 w 10505529"/>
              <a:gd name="connsiteY7691" fmla="*/ 6122949 h 7458372"/>
              <a:gd name="connsiteX7692" fmla="*/ 9834890 w 10505529"/>
              <a:gd name="connsiteY7692" fmla="*/ 6117758 h 7458372"/>
              <a:gd name="connsiteX7693" fmla="*/ 9832227 w 10505529"/>
              <a:gd name="connsiteY7693" fmla="*/ 6113631 h 7458372"/>
              <a:gd name="connsiteX7694" fmla="*/ 9828234 w 10505529"/>
              <a:gd name="connsiteY7694" fmla="*/ 6110968 h 7458372"/>
              <a:gd name="connsiteX7695" fmla="*/ 9823176 w 10505529"/>
              <a:gd name="connsiteY7695" fmla="*/ 6110037 h 7458372"/>
              <a:gd name="connsiteX7696" fmla="*/ 9605531 w 10505529"/>
              <a:gd name="connsiteY7696" fmla="*/ 6110037 h 7458372"/>
              <a:gd name="connsiteX7697" fmla="*/ 9595546 w 10505529"/>
              <a:gd name="connsiteY7697" fmla="*/ 6113631 h 7458372"/>
              <a:gd name="connsiteX7698" fmla="*/ 9591952 w 10505529"/>
              <a:gd name="connsiteY7698" fmla="*/ 6123082 h 7458372"/>
              <a:gd name="connsiteX7699" fmla="*/ 9595546 w 10505529"/>
              <a:gd name="connsiteY7699" fmla="*/ 6132533 h 7458372"/>
              <a:gd name="connsiteX7700" fmla="*/ 9605531 w 10505529"/>
              <a:gd name="connsiteY7700" fmla="*/ 6135995 h 7458372"/>
              <a:gd name="connsiteX7701" fmla="*/ 9610855 w 10505529"/>
              <a:gd name="connsiteY7701" fmla="*/ 6135063 h 7458372"/>
              <a:gd name="connsiteX7702" fmla="*/ 9614582 w 10505529"/>
              <a:gd name="connsiteY7702" fmla="*/ 6132666 h 7458372"/>
              <a:gd name="connsiteX7703" fmla="*/ 9617245 w 10505529"/>
              <a:gd name="connsiteY7703" fmla="*/ 6128407 h 7458372"/>
              <a:gd name="connsiteX7704" fmla="*/ 9618309 w 10505529"/>
              <a:gd name="connsiteY7704" fmla="*/ 6122949 h 7458372"/>
              <a:gd name="connsiteX7705" fmla="*/ 9617245 w 10505529"/>
              <a:gd name="connsiteY7705" fmla="*/ 6117758 h 7458372"/>
              <a:gd name="connsiteX7706" fmla="*/ 9614582 w 10505529"/>
              <a:gd name="connsiteY7706" fmla="*/ 6113631 h 7458372"/>
              <a:gd name="connsiteX7707" fmla="*/ 9610589 w 10505529"/>
              <a:gd name="connsiteY7707" fmla="*/ 6110968 h 7458372"/>
              <a:gd name="connsiteX7708" fmla="*/ 9605531 w 10505529"/>
              <a:gd name="connsiteY7708" fmla="*/ 6110037 h 7458372"/>
              <a:gd name="connsiteX7709" fmla="*/ 9387885 w 10505529"/>
              <a:gd name="connsiteY7709" fmla="*/ 6110037 h 7458372"/>
              <a:gd name="connsiteX7710" fmla="*/ 9377900 w 10505529"/>
              <a:gd name="connsiteY7710" fmla="*/ 6113631 h 7458372"/>
              <a:gd name="connsiteX7711" fmla="*/ 9374307 w 10505529"/>
              <a:gd name="connsiteY7711" fmla="*/ 6123082 h 7458372"/>
              <a:gd name="connsiteX7712" fmla="*/ 9377900 w 10505529"/>
              <a:gd name="connsiteY7712" fmla="*/ 6132533 h 7458372"/>
              <a:gd name="connsiteX7713" fmla="*/ 9387885 w 10505529"/>
              <a:gd name="connsiteY7713" fmla="*/ 6135995 h 7458372"/>
              <a:gd name="connsiteX7714" fmla="*/ 9393210 w 10505529"/>
              <a:gd name="connsiteY7714" fmla="*/ 6135063 h 7458372"/>
              <a:gd name="connsiteX7715" fmla="*/ 9396937 w 10505529"/>
              <a:gd name="connsiteY7715" fmla="*/ 6132666 h 7458372"/>
              <a:gd name="connsiteX7716" fmla="*/ 9399599 w 10505529"/>
              <a:gd name="connsiteY7716" fmla="*/ 6128407 h 7458372"/>
              <a:gd name="connsiteX7717" fmla="*/ 9400664 w 10505529"/>
              <a:gd name="connsiteY7717" fmla="*/ 6122949 h 7458372"/>
              <a:gd name="connsiteX7718" fmla="*/ 9399599 w 10505529"/>
              <a:gd name="connsiteY7718" fmla="*/ 6117758 h 7458372"/>
              <a:gd name="connsiteX7719" fmla="*/ 9396937 w 10505529"/>
              <a:gd name="connsiteY7719" fmla="*/ 6113631 h 7458372"/>
              <a:gd name="connsiteX7720" fmla="*/ 9392943 w 10505529"/>
              <a:gd name="connsiteY7720" fmla="*/ 6110968 h 7458372"/>
              <a:gd name="connsiteX7721" fmla="*/ 9387885 w 10505529"/>
              <a:gd name="connsiteY7721" fmla="*/ 6110037 h 7458372"/>
              <a:gd name="connsiteX7722" fmla="*/ 9170374 w 10505529"/>
              <a:gd name="connsiteY7722" fmla="*/ 6110037 h 7458372"/>
              <a:gd name="connsiteX7723" fmla="*/ 9160389 w 10505529"/>
              <a:gd name="connsiteY7723" fmla="*/ 6113631 h 7458372"/>
              <a:gd name="connsiteX7724" fmla="*/ 9156795 w 10505529"/>
              <a:gd name="connsiteY7724" fmla="*/ 6123082 h 7458372"/>
              <a:gd name="connsiteX7725" fmla="*/ 9160389 w 10505529"/>
              <a:gd name="connsiteY7725" fmla="*/ 6132533 h 7458372"/>
              <a:gd name="connsiteX7726" fmla="*/ 9170374 w 10505529"/>
              <a:gd name="connsiteY7726" fmla="*/ 6135995 h 7458372"/>
              <a:gd name="connsiteX7727" fmla="*/ 9175698 w 10505529"/>
              <a:gd name="connsiteY7727" fmla="*/ 6135063 h 7458372"/>
              <a:gd name="connsiteX7728" fmla="*/ 9179425 w 10505529"/>
              <a:gd name="connsiteY7728" fmla="*/ 6132666 h 7458372"/>
              <a:gd name="connsiteX7729" fmla="*/ 9182088 w 10505529"/>
              <a:gd name="connsiteY7729" fmla="*/ 6128407 h 7458372"/>
              <a:gd name="connsiteX7730" fmla="*/ 9183152 w 10505529"/>
              <a:gd name="connsiteY7730" fmla="*/ 6122949 h 7458372"/>
              <a:gd name="connsiteX7731" fmla="*/ 9182088 w 10505529"/>
              <a:gd name="connsiteY7731" fmla="*/ 6117758 h 7458372"/>
              <a:gd name="connsiteX7732" fmla="*/ 9179425 w 10505529"/>
              <a:gd name="connsiteY7732" fmla="*/ 6113631 h 7458372"/>
              <a:gd name="connsiteX7733" fmla="*/ 9175432 w 10505529"/>
              <a:gd name="connsiteY7733" fmla="*/ 6110968 h 7458372"/>
              <a:gd name="connsiteX7734" fmla="*/ 9170374 w 10505529"/>
              <a:gd name="connsiteY7734" fmla="*/ 6110037 h 7458372"/>
              <a:gd name="connsiteX7735" fmla="*/ 8952728 w 10505529"/>
              <a:gd name="connsiteY7735" fmla="*/ 6110037 h 7458372"/>
              <a:gd name="connsiteX7736" fmla="*/ 8942743 w 10505529"/>
              <a:gd name="connsiteY7736" fmla="*/ 6113631 h 7458372"/>
              <a:gd name="connsiteX7737" fmla="*/ 8939150 w 10505529"/>
              <a:gd name="connsiteY7737" fmla="*/ 6123082 h 7458372"/>
              <a:gd name="connsiteX7738" fmla="*/ 8942743 w 10505529"/>
              <a:gd name="connsiteY7738" fmla="*/ 6132533 h 7458372"/>
              <a:gd name="connsiteX7739" fmla="*/ 8952728 w 10505529"/>
              <a:gd name="connsiteY7739" fmla="*/ 6135995 h 7458372"/>
              <a:gd name="connsiteX7740" fmla="*/ 8958053 w 10505529"/>
              <a:gd name="connsiteY7740" fmla="*/ 6135063 h 7458372"/>
              <a:gd name="connsiteX7741" fmla="*/ 8961780 w 10505529"/>
              <a:gd name="connsiteY7741" fmla="*/ 6132666 h 7458372"/>
              <a:gd name="connsiteX7742" fmla="*/ 8964442 w 10505529"/>
              <a:gd name="connsiteY7742" fmla="*/ 6128407 h 7458372"/>
              <a:gd name="connsiteX7743" fmla="*/ 8965507 w 10505529"/>
              <a:gd name="connsiteY7743" fmla="*/ 6122949 h 7458372"/>
              <a:gd name="connsiteX7744" fmla="*/ 8964442 w 10505529"/>
              <a:gd name="connsiteY7744" fmla="*/ 6117758 h 7458372"/>
              <a:gd name="connsiteX7745" fmla="*/ 8961780 w 10505529"/>
              <a:gd name="connsiteY7745" fmla="*/ 6113631 h 7458372"/>
              <a:gd name="connsiteX7746" fmla="*/ 8957786 w 10505529"/>
              <a:gd name="connsiteY7746" fmla="*/ 6110968 h 7458372"/>
              <a:gd name="connsiteX7747" fmla="*/ 8952728 w 10505529"/>
              <a:gd name="connsiteY7747" fmla="*/ 6110037 h 7458372"/>
              <a:gd name="connsiteX7748" fmla="*/ 8735083 w 10505529"/>
              <a:gd name="connsiteY7748" fmla="*/ 6110037 h 7458372"/>
              <a:gd name="connsiteX7749" fmla="*/ 8725098 w 10505529"/>
              <a:gd name="connsiteY7749" fmla="*/ 6113631 h 7458372"/>
              <a:gd name="connsiteX7750" fmla="*/ 8721504 w 10505529"/>
              <a:gd name="connsiteY7750" fmla="*/ 6123082 h 7458372"/>
              <a:gd name="connsiteX7751" fmla="*/ 8725098 w 10505529"/>
              <a:gd name="connsiteY7751" fmla="*/ 6132533 h 7458372"/>
              <a:gd name="connsiteX7752" fmla="*/ 8735083 w 10505529"/>
              <a:gd name="connsiteY7752" fmla="*/ 6135995 h 7458372"/>
              <a:gd name="connsiteX7753" fmla="*/ 8740407 w 10505529"/>
              <a:gd name="connsiteY7753" fmla="*/ 6135063 h 7458372"/>
              <a:gd name="connsiteX7754" fmla="*/ 8744134 w 10505529"/>
              <a:gd name="connsiteY7754" fmla="*/ 6132666 h 7458372"/>
              <a:gd name="connsiteX7755" fmla="*/ 8746797 w 10505529"/>
              <a:gd name="connsiteY7755" fmla="*/ 6128407 h 7458372"/>
              <a:gd name="connsiteX7756" fmla="*/ 8747862 w 10505529"/>
              <a:gd name="connsiteY7756" fmla="*/ 6122949 h 7458372"/>
              <a:gd name="connsiteX7757" fmla="*/ 8746797 w 10505529"/>
              <a:gd name="connsiteY7757" fmla="*/ 6117758 h 7458372"/>
              <a:gd name="connsiteX7758" fmla="*/ 8744134 w 10505529"/>
              <a:gd name="connsiteY7758" fmla="*/ 6113631 h 7458372"/>
              <a:gd name="connsiteX7759" fmla="*/ 8740141 w 10505529"/>
              <a:gd name="connsiteY7759" fmla="*/ 6110968 h 7458372"/>
              <a:gd name="connsiteX7760" fmla="*/ 8735083 w 10505529"/>
              <a:gd name="connsiteY7760" fmla="*/ 6110037 h 7458372"/>
              <a:gd name="connsiteX7761" fmla="*/ 8517438 w 10505529"/>
              <a:gd name="connsiteY7761" fmla="*/ 6110037 h 7458372"/>
              <a:gd name="connsiteX7762" fmla="*/ 8507453 w 10505529"/>
              <a:gd name="connsiteY7762" fmla="*/ 6113631 h 7458372"/>
              <a:gd name="connsiteX7763" fmla="*/ 8503860 w 10505529"/>
              <a:gd name="connsiteY7763" fmla="*/ 6123082 h 7458372"/>
              <a:gd name="connsiteX7764" fmla="*/ 8507453 w 10505529"/>
              <a:gd name="connsiteY7764" fmla="*/ 6132533 h 7458372"/>
              <a:gd name="connsiteX7765" fmla="*/ 8517438 w 10505529"/>
              <a:gd name="connsiteY7765" fmla="*/ 6135995 h 7458372"/>
              <a:gd name="connsiteX7766" fmla="*/ 8522763 w 10505529"/>
              <a:gd name="connsiteY7766" fmla="*/ 6135063 h 7458372"/>
              <a:gd name="connsiteX7767" fmla="*/ 8526490 w 10505529"/>
              <a:gd name="connsiteY7767" fmla="*/ 6132666 h 7458372"/>
              <a:gd name="connsiteX7768" fmla="*/ 8529152 w 10505529"/>
              <a:gd name="connsiteY7768" fmla="*/ 6128407 h 7458372"/>
              <a:gd name="connsiteX7769" fmla="*/ 8530084 w 10505529"/>
              <a:gd name="connsiteY7769" fmla="*/ 6122949 h 7458372"/>
              <a:gd name="connsiteX7770" fmla="*/ 8529152 w 10505529"/>
              <a:gd name="connsiteY7770" fmla="*/ 6117758 h 7458372"/>
              <a:gd name="connsiteX7771" fmla="*/ 8526490 w 10505529"/>
              <a:gd name="connsiteY7771" fmla="*/ 6113631 h 7458372"/>
              <a:gd name="connsiteX7772" fmla="*/ 8522496 w 10505529"/>
              <a:gd name="connsiteY7772" fmla="*/ 6110968 h 7458372"/>
              <a:gd name="connsiteX7773" fmla="*/ 8517438 w 10505529"/>
              <a:gd name="connsiteY7773" fmla="*/ 6110037 h 7458372"/>
              <a:gd name="connsiteX7774" fmla="*/ 8299793 w 10505529"/>
              <a:gd name="connsiteY7774" fmla="*/ 6110037 h 7458372"/>
              <a:gd name="connsiteX7775" fmla="*/ 8289809 w 10505529"/>
              <a:gd name="connsiteY7775" fmla="*/ 6113631 h 7458372"/>
              <a:gd name="connsiteX7776" fmla="*/ 8286215 w 10505529"/>
              <a:gd name="connsiteY7776" fmla="*/ 6123082 h 7458372"/>
              <a:gd name="connsiteX7777" fmla="*/ 8289809 w 10505529"/>
              <a:gd name="connsiteY7777" fmla="*/ 6132533 h 7458372"/>
              <a:gd name="connsiteX7778" fmla="*/ 8299793 w 10505529"/>
              <a:gd name="connsiteY7778" fmla="*/ 6135995 h 7458372"/>
              <a:gd name="connsiteX7779" fmla="*/ 8305118 w 10505529"/>
              <a:gd name="connsiteY7779" fmla="*/ 6135063 h 7458372"/>
              <a:gd name="connsiteX7780" fmla="*/ 8308844 w 10505529"/>
              <a:gd name="connsiteY7780" fmla="*/ 6132666 h 7458372"/>
              <a:gd name="connsiteX7781" fmla="*/ 8311507 w 10505529"/>
              <a:gd name="connsiteY7781" fmla="*/ 6128407 h 7458372"/>
              <a:gd name="connsiteX7782" fmla="*/ 8312439 w 10505529"/>
              <a:gd name="connsiteY7782" fmla="*/ 6122949 h 7458372"/>
              <a:gd name="connsiteX7783" fmla="*/ 8311507 w 10505529"/>
              <a:gd name="connsiteY7783" fmla="*/ 6117758 h 7458372"/>
              <a:gd name="connsiteX7784" fmla="*/ 8308844 w 10505529"/>
              <a:gd name="connsiteY7784" fmla="*/ 6113631 h 7458372"/>
              <a:gd name="connsiteX7785" fmla="*/ 8304851 w 10505529"/>
              <a:gd name="connsiteY7785" fmla="*/ 6110968 h 7458372"/>
              <a:gd name="connsiteX7786" fmla="*/ 8299793 w 10505529"/>
              <a:gd name="connsiteY7786" fmla="*/ 6110037 h 7458372"/>
              <a:gd name="connsiteX7787" fmla="*/ 8082281 w 10505529"/>
              <a:gd name="connsiteY7787" fmla="*/ 6110037 h 7458372"/>
              <a:gd name="connsiteX7788" fmla="*/ 8072297 w 10505529"/>
              <a:gd name="connsiteY7788" fmla="*/ 6113631 h 7458372"/>
              <a:gd name="connsiteX7789" fmla="*/ 8068703 w 10505529"/>
              <a:gd name="connsiteY7789" fmla="*/ 6123082 h 7458372"/>
              <a:gd name="connsiteX7790" fmla="*/ 8072297 w 10505529"/>
              <a:gd name="connsiteY7790" fmla="*/ 6132533 h 7458372"/>
              <a:gd name="connsiteX7791" fmla="*/ 8082281 w 10505529"/>
              <a:gd name="connsiteY7791" fmla="*/ 6135995 h 7458372"/>
              <a:gd name="connsiteX7792" fmla="*/ 8087605 w 10505529"/>
              <a:gd name="connsiteY7792" fmla="*/ 6135063 h 7458372"/>
              <a:gd name="connsiteX7793" fmla="*/ 8091332 w 10505529"/>
              <a:gd name="connsiteY7793" fmla="*/ 6132666 h 7458372"/>
              <a:gd name="connsiteX7794" fmla="*/ 8093994 w 10505529"/>
              <a:gd name="connsiteY7794" fmla="*/ 6128407 h 7458372"/>
              <a:gd name="connsiteX7795" fmla="*/ 8094926 w 10505529"/>
              <a:gd name="connsiteY7795" fmla="*/ 6122949 h 7458372"/>
              <a:gd name="connsiteX7796" fmla="*/ 8093994 w 10505529"/>
              <a:gd name="connsiteY7796" fmla="*/ 6117758 h 7458372"/>
              <a:gd name="connsiteX7797" fmla="*/ 8091332 w 10505529"/>
              <a:gd name="connsiteY7797" fmla="*/ 6113631 h 7458372"/>
              <a:gd name="connsiteX7798" fmla="*/ 8087338 w 10505529"/>
              <a:gd name="connsiteY7798" fmla="*/ 6110968 h 7458372"/>
              <a:gd name="connsiteX7799" fmla="*/ 8082281 w 10505529"/>
              <a:gd name="connsiteY7799" fmla="*/ 6110037 h 7458372"/>
              <a:gd name="connsiteX7800" fmla="*/ 7864636 w 10505529"/>
              <a:gd name="connsiteY7800" fmla="*/ 6110037 h 7458372"/>
              <a:gd name="connsiteX7801" fmla="*/ 7854652 w 10505529"/>
              <a:gd name="connsiteY7801" fmla="*/ 6113631 h 7458372"/>
              <a:gd name="connsiteX7802" fmla="*/ 7851058 w 10505529"/>
              <a:gd name="connsiteY7802" fmla="*/ 6123082 h 7458372"/>
              <a:gd name="connsiteX7803" fmla="*/ 7854652 w 10505529"/>
              <a:gd name="connsiteY7803" fmla="*/ 6132533 h 7458372"/>
              <a:gd name="connsiteX7804" fmla="*/ 7864636 w 10505529"/>
              <a:gd name="connsiteY7804" fmla="*/ 6135995 h 7458372"/>
              <a:gd name="connsiteX7805" fmla="*/ 7869961 w 10505529"/>
              <a:gd name="connsiteY7805" fmla="*/ 6135063 h 7458372"/>
              <a:gd name="connsiteX7806" fmla="*/ 7873687 w 10505529"/>
              <a:gd name="connsiteY7806" fmla="*/ 6132666 h 7458372"/>
              <a:gd name="connsiteX7807" fmla="*/ 7876350 w 10505529"/>
              <a:gd name="connsiteY7807" fmla="*/ 6128407 h 7458372"/>
              <a:gd name="connsiteX7808" fmla="*/ 7877282 w 10505529"/>
              <a:gd name="connsiteY7808" fmla="*/ 6122949 h 7458372"/>
              <a:gd name="connsiteX7809" fmla="*/ 7876350 w 10505529"/>
              <a:gd name="connsiteY7809" fmla="*/ 6117758 h 7458372"/>
              <a:gd name="connsiteX7810" fmla="*/ 7873687 w 10505529"/>
              <a:gd name="connsiteY7810" fmla="*/ 6113631 h 7458372"/>
              <a:gd name="connsiteX7811" fmla="*/ 7869694 w 10505529"/>
              <a:gd name="connsiteY7811" fmla="*/ 6110968 h 7458372"/>
              <a:gd name="connsiteX7812" fmla="*/ 7864636 w 10505529"/>
              <a:gd name="connsiteY7812" fmla="*/ 6110037 h 7458372"/>
              <a:gd name="connsiteX7813" fmla="*/ 7646991 w 10505529"/>
              <a:gd name="connsiteY7813" fmla="*/ 6110037 h 7458372"/>
              <a:gd name="connsiteX7814" fmla="*/ 7637007 w 10505529"/>
              <a:gd name="connsiteY7814" fmla="*/ 6113631 h 7458372"/>
              <a:gd name="connsiteX7815" fmla="*/ 7633413 w 10505529"/>
              <a:gd name="connsiteY7815" fmla="*/ 6123082 h 7458372"/>
              <a:gd name="connsiteX7816" fmla="*/ 7637007 w 10505529"/>
              <a:gd name="connsiteY7816" fmla="*/ 6132533 h 7458372"/>
              <a:gd name="connsiteX7817" fmla="*/ 7646991 w 10505529"/>
              <a:gd name="connsiteY7817" fmla="*/ 6135995 h 7458372"/>
              <a:gd name="connsiteX7818" fmla="*/ 7652315 w 10505529"/>
              <a:gd name="connsiteY7818" fmla="*/ 6135063 h 7458372"/>
              <a:gd name="connsiteX7819" fmla="*/ 7656042 w 10505529"/>
              <a:gd name="connsiteY7819" fmla="*/ 6132666 h 7458372"/>
              <a:gd name="connsiteX7820" fmla="*/ 7658705 w 10505529"/>
              <a:gd name="connsiteY7820" fmla="*/ 6128407 h 7458372"/>
              <a:gd name="connsiteX7821" fmla="*/ 7659769 w 10505529"/>
              <a:gd name="connsiteY7821" fmla="*/ 6122949 h 7458372"/>
              <a:gd name="connsiteX7822" fmla="*/ 7658705 w 10505529"/>
              <a:gd name="connsiteY7822" fmla="*/ 6117758 h 7458372"/>
              <a:gd name="connsiteX7823" fmla="*/ 7656042 w 10505529"/>
              <a:gd name="connsiteY7823" fmla="*/ 6113631 h 7458372"/>
              <a:gd name="connsiteX7824" fmla="*/ 7652049 w 10505529"/>
              <a:gd name="connsiteY7824" fmla="*/ 6110968 h 7458372"/>
              <a:gd name="connsiteX7825" fmla="*/ 7646991 w 10505529"/>
              <a:gd name="connsiteY7825" fmla="*/ 6110037 h 7458372"/>
              <a:gd name="connsiteX7826" fmla="*/ 7429345 w 10505529"/>
              <a:gd name="connsiteY7826" fmla="*/ 6110037 h 7458372"/>
              <a:gd name="connsiteX7827" fmla="*/ 7419361 w 10505529"/>
              <a:gd name="connsiteY7827" fmla="*/ 6113631 h 7458372"/>
              <a:gd name="connsiteX7828" fmla="*/ 7415768 w 10505529"/>
              <a:gd name="connsiteY7828" fmla="*/ 6123082 h 7458372"/>
              <a:gd name="connsiteX7829" fmla="*/ 7419361 w 10505529"/>
              <a:gd name="connsiteY7829" fmla="*/ 6132533 h 7458372"/>
              <a:gd name="connsiteX7830" fmla="*/ 7429345 w 10505529"/>
              <a:gd name="connsiteY7830" fmla="*/ 6135995 h 7458372"/>
              <a:gd name="connsiteX7831" fmla="*/ 7434670 w 10505529"/>
              <a:gd name="connsiteY7831" fmla="*/ 6135063 h 7458372"/>
              <a:gd name="connsiteX7832" fmla="*/ 7438397 w 10505529"/>
              <a:gd name="connsiteY7832" fmla="*/ 6132666 h 7458372"/>
              <a:gd name="connsiteX7833" fmla="*/ 7441059 w 10505529"/>
              <a:gd name="connsiteY7833" fmla="*/ 6128407 h 7458372"/>
              <a:gd name="connsiteX7834" fmla="*/ 7442124 w 10505529"/>
              <a:gd name="connsiteY7834" fmla="*/ 6122949 h 7458372"/>
              <a:gd name="connsiteX7835" fmla="*/ 7441059 w 10505529"/>
              <a:gd name="connsiteY7835" fmla="*/ 6117758 h 7458372"/>
              <a:gd name="connsiteX7836" fmla="*/ 7438397 w 10505529"/>
              <a:gd name="connsiteY7836" fmla="*/ 6113631 h 7458372"/>
              <a:gd name="connsiteX7837" fmla="*/ 7434403 w 10505529"/>
              <a:gd name="connsiteY7837" fmla="*/ 6110968 h 7458372"/>
              <a:gd name="connsiteX7838" fmla="*/ 7429345 w 10505529"/>
              <a:gd name="connsiteY7838" fmla="*/ 6110037 h 7458372"/>
              <a:gd name="connsiteX7839" fmla="*/ 7211701 w 10505529"/>
              <a:gd name="connsiteY7839" fmla="*/ 6110037 h 7458372"/>
              <a:gd name="connsiteX7840" fmla="*/ 7201717 w 10505529"/>
              <a:gd name="connsiteY7840" fmla="*/ 6113631 h 7458372"/>
              <a:gd name="connsiteX7841" fmla="*/ 7198123 w 10505529"/>
              <a:gd name="connsiteY7841" fmla="*/ 6123082 h 7458372"/>
              <a:gd name="connsiteX7842" fmla="*/ 7201717 w 10505529"/>
              <a:gd name="connsiteY7842" fmla="*/ 6132533 h 7458372"/>
              <a:gd name="connsiteX7843" fmla="*/ 7211701 w 10505529"/>
              <a:gd name="connsiteY7843" fmla="*/ 6135995 h 7458372"/>
              <a:gd name="connsiteX7844" fmla="*/ 7217026 w 10505529"/>
              <a:gd name="connsiteY7844" fmla="*/ 6135063 h 7458372"/>
              <a:gd name="connsiteX7845" fmla="*/ 7220752 w 10505529"/>
              <a:gd name="connsiteY7845" fmla="*/ 6132666 h 7458372"/>
              <a:gd name="connsiteX7846" fmla="*/ 7223415 w 10505529"/>
              <a:gd name="connsiteY7846" fmla="*/ 6128407 h 7458372"/>
              <a:gd name="connsiteX7847" fmla="*/ 7224480 w 10505529"/>
              <a:gd name="connsiteY7847" fmla="*/ 6122949 h 7458372"/>
              <a:gd name="connsiteX7848" fmla="*/ 7223415 w 10505529"/>
              <a:gd name="connsiteY7848" fmla="*/ 6117758 h 7458372"/>
              <a:gd name="connsiteX7849" fmla="*/ 7220752 w 10505529"/>
              <a:gd name="connsiteY7849" fmla="*/ 6113631 h 7458372"/>
              <a:gd name="connsiteX7850" fmla="*/ 7216759 w 10505529"/>
              <a:gd name="connsiteY7850" fmla="*/ 6110968 h 7458372"/>
              <a:gd name="connsiteX7851" fmla="*/ 7211701 w 10505529"/>
              <a:gd name="connsiteY7851" fmla="*/ 6110037 h 7458372"/>
              <a:gd name="connsiteX7852" fmla="*/ 6994056 w 10505529"/>
              <a:gd name="connsiteY7852" fmla="*/ 6110037 h 7458372"/>
              <a:gd name="connsiteX7853" fmla="*/ 6984072 w 10505529"/>
              <a:gd name="connsiteY7853" fmla="*/ 6113631 h 7458372"/>
              <a:gd name="connsiteX7854" fmla="*/ 6980478 w 10505529"/>
              <a:gd name="connsiteY7854" fmla="*/ 6123082 h 7458372"/>
              <a:gd name="connsiteX7855" fmla="*/ 6984072 w 10505529"/>
              <a:gd name="connsiteY7855" fmla="*/ 6132533 h 7458372"/>
              <a:gd name="connsiteX7856" fmla="*/ 6994056 w 10505529"/>
              <a:gd name="connsiteY7856" fmla="*/ 6135995 h 7458372"/>
              <a:gd name="connsiteX7857" fmla="*/ 6999380 w 10505529"/>
              <a:gd name="connsiteY7857" fmla="*/ 6135063 h 7458372"/>
              <a:gd name="connsiteX7858" fmla="*/ 7003107 w 10505529"/>
              <a:gd name="connsiteY7858" fmla="*/ 6132666 h 7458372"/>
              <a:gd name="connsiteX7859" fmla="*/ 7005769 w 10505529"/>
              <a:gd name="connsiteY7859" fmla="*/ 6128407 h 7458372"/>
              <a:gd name="connsiteX7860" fmla="*/ 7006834 w 10505529"/>
              <a:gd name="connsiteY7860" fmla="*/ 6122949 h 7458372"/>
              <a:gd name="connsiteX7861" fmla="*/ 7005769 w 10505529"/>
              <a:gd name="connsiteY7861" fmla="*/ 6117758 h 7458372"/>
              <a:gd name="connsiteX7862" fmla="*/ 7003107 w 10505529"/>
              <a:gd name="connsiteY7862" fmla="*/ 6113631 h 7458372"/>
              <a:gd name="connsiteX7863" fmla="*/ 6999113 w 10505529"/>
              <a:gd name="connsiteY7863" fmla="*/ 6110968 h 7458372"/>
              <a:gd name="connsiteX7864" fmla="*/ 6994056 w 10505529"/>
              <a:gd name="connsiteY7864" fmla="*/ 6110037 h 7458372"/>
              <a:gd name="connsiteX7865" fmla="*/ 6776544 w 10505529"/>
              <a:gd name="connsiteY7865" fmla="*/ 6110037 h 7458372"/>
              <a:gd name="connsiteX7866" fmla="*/ 6766560 w 10505529"/>
              <a:gd name="connsiteY7866" fmla="*/ 6113631 h 7458372"/>
              <a:gd name="connsiteX7867" fmla="*/ 6762966 w 10505529"/>
              <a:gd name="connsiteY7867" fmla="*/ 6123082 h 7458372"/>
              <a:gd name="connsiteX7868" fmla="*/ 6766560 w 10505529"/>
              <a:gd name="connsiteY7868" fmla="*/ 6132533 h 7458372"/>
              <a:gd name="connsiteX7869" fmla="*/ 6776544 w 10505529"/>
              <a:gd name="connsiteY7869" fmla="*/ 6135995 h 7458372"/>
              <a:gd name="connsiteX7870" fmla="*/ 6781869 w 10505529"/>
              <a:gd name="connsiteY7870" fmla="*/ 6135063 h 7458372"/>
              <a:gd name="connsiteX7871" fmla="*/ 6785595 w 10505529"/>
              <a:gd name="connsiteY7871" fmla="*/ 6132666 h 7458372"/>
              <a:gd name="connsiteX7872" fmla="*/ 6788258 w 10505529"/>
              <a:gd name="connsiteY7872" fmla="*/ 6128407 h 7458372"/>
              <a:gd name="connsiteX7873" fmla="*/ 6789323 w 10505529"/>
              <a:gd name="connsiteY7873" fmla="*/ 6122949 h 7458372"/>
              <a:gd name="connsiteX7874" fmla="*/ 6788258 w 10505529"/>
              <a:gd name="connsiteY7874" fmla="*/ 6117758 h 7458372"/>
              <a:gd name="connsiteX7875" fmla="*/ 6785595 w 10505529"/>
              <a:gd name="connsiteY7875" fmla="*/ 6113631 h 7458372"/>
              <a:gd name="connsiteX7876" fmla="*/ 6781602 w 10505529"/>
              <a:gd name="connsiteY7876" fmla="*/ 6110968 h 7458372"/>
              <a:gd name="connsiteX7877" fmla="*/ 6776544 w 10505529"/>
              <a:gd name="connsiteY7877" fmla="*/ 6110037 h 7458372"/>
              <a:gd name="connsiteX7878" fmla="*/ 6558899 w 10505529"/>
              <a:gd name="connsiteY7878" fmla="*/ 6110037 h 7458372"/>
              <a:gd name="connsiteX7879" fmla="*/ 6548915 w 10505529"/>
              <a:gd name="connsiteY7879" fmla="*/ 6113631 h 7458372"/>
              <a:gd name="connsiteX7880" fmla="*/ 6545321 w 10505529"/>
              <a:gd name="connsiteY7880" fmla="*/ 6123082 h 7458372"/>
              <a:gd name="connsiteX7881" fmla="*/ 6548915 w 10505529"/>
              <a:gd name="connsiteY7881" fmla="*/ 6132533 h 7458372"/>
              <a:gd name="connsiteX7882" fmla="*/ 6558899 w 10505529"/>
              <a:gd name="connsiteY7882" fmla="*/ 6135995 h 7458372"/>
              <a:gd name="connsiteX7883" fmla="*/ 6564223 w 10505529"/>
              <a:gd name="connsiteY7883" fmla="*/ 6135063 h 7458372"/>
              <a:gd name="connsiteX7884" fmla="*/ 6567950 w 10505529"/>
              <a:gd name="connsiteY7884" fmla="*/ 6132666 h 7458372"/>
              <a:gd name="connsiteX7885" fmla="*/ 6570612 w 10505529"/>
              <a:gd name="connsiteY7885" fmla="*/ 6128407 h 7458372"/>
              <a:gd name="connsiteX7886" fmla="*/ 6571677 w 10505529"/>
              <a:gd name="connsiteY7886" fmla="*/ 6122949 h 7458372"/>
              <a:gd name="connsiteX7887" fmla="*/ 6570612 w 10505529"/>
              <a:gd name="connsiteY7887" fmla="*/ 6117758 h 7458372"/>
              <a:gd name="connsiteX7888" fmla="*/ 6567950 w 10505529"/>
              <a:gd name="connsiteY7888" fmla="*/ 6113631 h 7458372"/>
              <a:gd name="connsiteX7889" fmla="*/ 6563956 w 10505529"/>
              <a:gd name="connsiteY7889" fmla="*/ 6110968 h 7458372"/>
              <a:gd name="connsiteX7890" fmla="*/ 6558899 w 10505529"/>
              <a:gd name="connsiteY7890" fmla="*/ 6110037 h 7458372"/>
              <a:gd name="connsiteX7891" fmla="*/ 6341253 w 10505529"/>
              <a:gd name="connsiteY7891" fmla="*/ 6110037 h 7458372"/>
              <a:gd name="connsiteX7892" fmla="*/ 6331270 w 10505529"/>
              <a:gd name="connsiteY7892" fmla="*/ 6113631 h 7458372"/>
              <a:gd name="connsiteX7893" fmla="*/ 6327675 w 10505529"/>
              <a:gd name="connsiteY7893" fmla="*/ 6123082 h 7458372"/>
              <a:gd name="connsiteX7894" fmla="*/ 6331270 w 10505529"/>
              <a:gd name="connsiteY7894" fmla="*/ 6132533 h 7458372"/>
              <a:gd name="connsiteX7895" fmla="*/ 6341253 w 10505529"/>
              <a:gd name="connsiteY7895" fmla="*/ 6135995 h 7458372"/>
              <a:gd name="connsiteX7896" fmla="*/ 6346578 w 10505529"/>
              <a:gd name="connsiteY7896" fmla="*/ 6135063 h 7458372"/>
              <a:gd name="connsiteX7897" fmla="*/ 6350305 w 10505529"/>
              <a:gd name="connsiteY7897" fmla="*/ 6132666 h 7458372"/>
              <a:gd name="connsiteX7898" fmla="*/ 6352968 w 10505529"/>
              <a:gd name="connsiteY7898" fmla="*/ 6128407 h 7458372"/>
              <a:gd name="connsiteX7899" fmla="*/ 6354033 w 10505529"/>
              <a:gd name="connsiteY7899" fmla="*/ 6122949 h 7458372"/>
              <a:gd name="connsiteX7900" fmla="*/ 6352968 w 10505529"/>
              <a:gd name="connsiteY7900" fmla="*/ 6117758 h 7458372"/>
              <a:gd name="connsiteX7901" fmla="*/ 6350305 w 10505529"/>
              <a:gd name="connsiteY7901" fmla="*/ 6113631 h 7458372"/>
              <a:gd name="connsiteX7902" fmla="*/ 6346312 w 10505529"/>
              <a:gd name="connsiteY7902" fmla="*/ 6110968 h 7458372"/>
              <a:gd name="connsiteX7903" fmla="*/ 6341253 w 10505529"/>
              <a:gd name="connsiteY7903" fmla="*/ 6110037 h 7458372"/>
              <a:gd name="connsiteX7904" fmla="*/ 6123608 w 10505529"/>
              <a:gd name="connsiteY7904" fmla="*/ 6110037 h 7458372"/>
              <a:gd name="connsiteX7905" fmla="*/ 6113624 w 10505529"/>
              <a:gd name="connsiteY7905" fmla="*/ 6113631 h 7458372"/>
              <a:gd name="connsiteX7906" fmla="*/ 6110030 w 10505529"/>
              <a:gd name="connsiteY7906" fmla="*/ 6123082 h 7458372"/>
              <a:gd name="connsiteX7907" fmla="*/ 6113624 w 10505529"/>
              <a:gd name="connsiteY7907" fmla="*/ 6132533 h 7458372"/>
              <a:gd name="connsiteX7908" fmla="*/ 6123608 w 10505529"/>
              <a:gd name="connsiteY7908" fmla="*/ 6135995 h 7458372"/>
              <a:gd name="connsiteX7909" fmla="*/ 6128932 w 10505529"/>
              <a:gd name="connsiteY7909" fmla="*/ 6135063 h 7458372"/>
              <a:gd name="connsiteX7910" fmla="*/ 6132659 w 10505529"/>
              <a:gd name="connsiteY7910" fmla="*/ 6132666 h 7458372"/>
              <a:gd name="connsiteX7911" fmla="*/ 6135322 w 10505529"/>
              <a:gd name="connsiteY7911" fmla="*/ 6128407 h 7458372"/>
              <a:gd name="connsiteX7912" fmla="*/ 6136387 w 10505529"/>
              <a:gd name="connsiteY7912" fmla="*/ 6122949 h 7458372"/>
              <a:gd name="connsiteX7913" fmla="*/ 6135322 w 10505529"/>
              <a:gd name="connsiteY7913" fmla="*/ 6117758 h 7458372"/>
              <a:gd name="connsiteX7914" fmla="*/ 6132659 w 10505529"/>
              <a:gd name="connsiteY7914" fmla="*/ 6113631 h 7458372"/>
              <a:gd name="connsiteX7915" fmla="*/ 6128666 w 10505529"/>
              <a:gd name="connsiteY7915" fmla="*/ 6110968 h 7458372"/>
              <a:gd name="connsiteX7916" fmla="*/ 6123608 w 10505529"/>
              <a:gd name="connsiteY7916" fmla="*/ 6110037 h 7458372"/>
              <a:gd name="connsiteX7917" fmla="*/ 5905963 w 10505529"/>
              <a:gd name="connsiteY7917" fmla="*/ 6110037 h 7458372"/>
              <a:gd name="connsiteX7918" fmla="*/ 5895979 w 10505529"/>
              <a:gd name="connsiteY7918" fmla="*/ 6113631 h 7458372"/>
              <a:gd name="connsiteX7919" fmla="*/ 5892385 w 10505529"/>
              <a:gd name="connsiteY7919" fmla="*/ 6123082 h 7458372"/>
              <a:gd name="connsiteX7920" fmla="*/ 5895979 w 10505529"/>
              <a:gd name="connsiteY7920" fmla="*/ 6132533 h 7458372"/>
              <a:gd name="connsiteX7921" fmla="*/ 5905963 w 10505529"/>
              <a:gd name="connsiteY7921" fmla="*/ 6135995 h 7458372"/>
              <a:gd name="connsiteX7922" fmla="*/ 5911287 w 10505529"/>
              <a:gd name="connsiteY7922" fmla="*/ 6135063 h 7458372"/>
              <a:gd name="connsiteX7923" fmla="*/ 5915014 w 10505529"/>
              <a:gd name="connsiteY7923" fmla="*/ 6132666 h 7458372"/>
              <a:gd name="connsiteX7924" fmla="*/ 5917677 w 10505529"/>
              <a:gd name="connsiteY7924" fmla="*/ 6128407 h 7458372"/>
              <a:gd name="connsiteX7925" fmla="*/ 5918742 w 10505529"/>
              <a:gd name="connsiteY7925" fmla="*/ 6122949 h 7458372"/>
              <a:gd name="connsiteX7926" fmla="*/ 5917677 w 10505529"/>
              <a:gd name="connsiteY7926" fmla="*/ 6117758 h 7458372"/>
              <a:gd name="connsiteX7927" fmla="*/ 5915014 w 10505529"/>
              <a:gd name="connsiteY7927" fmla="*/ 6113631 h 7458372"/>
              <a:gd name="connsiteX7928" fmla="*/ 5911021 w 10505529"/>
              <a:gd name="connsiteY7928" fmla="*/ 6110968 h 7458372"/>
              <a:gd name="connsiteX7929" fmla="*/ 5905963 w 10505529"/>
              <a:gd name="connsiteY7929" fmla="*/ 6110037 h 7458372"/>
              <a:gd name="connsiteX7930" fmla="*/ 5688451 w 10505529"/>
              <a:gd name="connsiteY7930" fmla="*/ 6110037 h 7458372"/>
              <a:gd name="connsiteX7931" fmla="*/ 5678467 w 10505529"/>
              <a:gd name="connsiteY7931" fmla="*/ 6113631 h 7458372"/>
              <a:gd name="connsiteX7932" fmla="*/ 5674873 w 10505529"/>
              <a:gd name="connsiteY7932" fmla="*/ 6123082 h 7458372"/>
              <a:gd name="connsiteX7933" fmla="*/ 5678467 w 10505529"/>
              <a:gd name="connsiteY7933" fmla="*/ 6132533 h 7458372"/>
              <a:gd name="connsiteX7934" fmla="*/ 5688451 w 10505529"/>
              <a:gd name="connsiteY7934" fmla="*/ 6135995 h 7458372"/>
              <a:gd name="connsiteX7935" fmla="*/ 5693775 w 10505529"/>
              <a:gd name="connsiteY7935" fmla="*/ 6135063 h 7458372"/>
              <a:gd name="connsiteX7936" fmla="*/ 5697502 w 10505529"/>
              <a:gd name="connsiteY7936" fmla="*/ 6132666 h 7458372"/>
              <a:gd name="connsiteX7937" fmla="*/ 5700165 w 10505529"/>
              <a:gd name="connsiteY7937" fmla="*/ 6128407 h 7458372"/>
              <a:gd name="connsiteX7938" fmla="*/ 5701230 w 10505529"/>
              <a:gd name="connsiteY7938" fmla="*/ 6122949 h 7458372"/>
              <a:gd name="connsiteX7939" fmla="*/ 5700165 w 10505529"/>
              <a:gd name="connsiteY7939" fmla="*/ 6117758 h 7458372"/>
              <a:gd name="connsiteX7940" fmla="*/ 5697502 w 10505529"/>
              <a:gd name="connsiteY7940" fmla="*/ 6113631 h 7458372"/>
              <a:gd name="connsiteX7941" fmla="*/ 5693509 w 10505529"/>
              <a:gd name="connsiteY7941" fmla="*/ 6110968 h 7458372"/>
              <a:gd name="connsiteX7942" fmla="*/ 5688451 w 10505529"/>
              <a:gd name="connsiteY7942" fmla="*/ 6110037 h 7458372"/>
              <a:gd name="connsiteX7943" fmla="*/ 5470806 w 10505529"/>
              <a:gd name="connsiteY7943" fmla="*/ 6110037 h 7458372"/>
              <a:gd name="connsiteX7944" fmla="*/ 5460822 w 10505529"/>
              <a:gd name="connsiteY7944" fmla="*/ 6113631 h 7458372"/>
              <a:gd name="connsiteX7945" fmla="*/ 5457228 w 10505529"/>
              <a:gd name="connsiteY7945" fmla="*/ 6123082 h 7458372"/>
              <a:gd name="connsiteX7946" fmla="*/ 5460822 w 10505529"/>
              <a:gd name="connsiteY7946" fmla="*/ 6132533 h 7458372"/>
              <a:gd name="connsiteX7947" fmla="*/ 5470806 w 10505529"/>
              <a:gd name="connsiteY7947" fmla="*/ 6135995 h 7458372"/>
              <a:gd name="connsiteX7948" fmla="*/ 5476130 w 10505529"/>
              <a:gd name="connsiteY7948" fmla="*/ 6135063 h 7458372"/>
              <a:gd name="connsiteX7949" fmla="*/ 5479857 w 10505529"/>
              <a:gd name="connsiteY7949" fmla="*/ 6132666 h 7458372"/>
              <a:gd name="connsiteX7950" fmla="*/ 5482520 w 10505529"/>
              <a:gd name="connsiteY7950" fmla="*/ 6128407 h 7458372"/>
              <a:gd name="connsiteX7951" fmla="*/ 5483585 w 10505529"/>
              <a:gd name="connsiteY7951" fmla="*/ 6122949 h 7458372"/>
              <a:gd name="connsiteX7952" fmla="*/ 5482520 w 10505529"/>
              <a:gd name="connsiteY7952" fmla="*/ 6117758 h 7458372"/>
              <a:gd name="connsiteX7953" fmla="*/ 5479857 w 10505529"/>
              <a:gd name="connsiteY7953" fmla="*/ 6113631 h 7458372"/>
              <a:gd name="connsiteX7954" fmla="*/ 5475864 w 10505529"/>
              <a:gd name="connsiteY7954" fmla="*/ 6110968 h 7458372"/>
              <a:gd name="connsiteX7955" fmla="*/ 5470806 w 10505529"/>
              <a:gd name="connsiteY7955" fmla="*/ 6110037 h 7458372"/>
              <a:gd name="connsiteX7956" fmla="*/ 5253160 w 10505529"/>
              <a:gd name="connsiteY7956" fmla="*/ 6110037 h 7458372"/>
              <a:gd name="connsiteX7957" fmla="*/ 5243177 w 10505529"/>
              <a:gd name="connsiteY7957" fmla="*/ 6113631 h 7458372"/>
              <a:gd name="connsiteX7958" fmla="*/ 5239583 w 10505529"/>
              <a:gd name="connsiteY7958" fmla="*/ 6123082 h 7458372"/>
              <a:gd name="connsiteX7959" fmla="*/ 5243177 w 10505529"/>
              <a:gd name="connsiteY7959" fmla="*/ 6132533 h 7458372"/>
              <a:gd name="connsiteX7960" fmla="*/ 5253160 w 10505529"/>
              <a:gd name="connsiteY7960" fmla="*/ 6135995 h 7458372"/>
              <a:gd name="connsiteX7961" fmla="*/ 5258485 w 10505529"/>
              <a:gd name="connsiteY7961" fmla="*/ 6135063 h 7458372"/>
              <a:gd name="connsiteX7962" fmla="*/ 5262212 w 10505529"/>
              <a:gd name="connsiteY7962" fmla="*/ 6132666 h 7458372"/>
              <a:gd name="connsiteX7963" fmla="*/ 5264875 w 10505529"/>
              <a:gd name="connsiteY7963" fmla="*/ 6128407 h 7458372"/>
              <a:gd name="connsiteX7964" fmla="*/ 5265939 w 10505529"/>
              <a:gd name="connsiteY7964" fmla="*/ 6122949 h 7458372"/>
              <a:gd name="connsiteX7965" fmla="*/ 5264875 w 10505529"/>
              <a:gd name="connsiteY7965" fmla="*/ 6117758 h 7458372"/>
              <a:gd name="connsiteX7966" fmla="*/ 5262212 w 10505529"/>
              <a:gd name="connsiteY7966" fmla="*/ 6113631 h 7458372"/>
              <a:gd name="connsiteX7967" fmla="*/ 5258219 w 10505529"/>
              <a:gd name="connsiteY7967" fmla="*/ 6110968 h 7458372"/>
              <a:gd name="connsiteX7968" fmla="*/ 5253160 w 10505529"/>
              <a:gd name="connsiteY7968" fmla="*/ 6110037 h 7458372"/>
              <a:gd name="connsiteX7969" fmla="*/ 5035515 w 10505529"/>
              <a:gd name="connsiteY7969" fmla="*/ 6110037 h 7458372"/>
              <a:gd name="connsiteX7970" fmla="*/ 5025532 w 10505529"/>
              <a:gd name="connsiteY7970" fmla="*/ 6113631 h 7458372"/>
              <a:gd name="connsiteX7971" fmla="*/ 5021938 w 10505529"/>
              <a:gd name="connsiteY7971" fmla="*/ 6123082 h 7458372"/>
              <a:gd name="connsiteX7972" fmla="*/ 5025532 w 10505529"/>
              <a:gd name="connsiteY7972" fmla="*/ 6132533 h 7458372"/>
              <a:gd name="connsiteX7973" fmla="*/ 5035515 w 10505529"/>
              <a:gd name="connsiteY7973" fmla="*/ 6135995 h 7458372"/>
              <a:gd name="connsiteX7974" fmla="*/ 5040840 w 10505529"/>
              <a:gd name="connsiteY7974" fmla="*/ 6135063 h 7458372"/>
              <a:gd name="connsiteX7975" fmla="*/ 5044567 w 10505529"/>
              <a:gd name="connsiteY7975" fmla="*/ 6132666 h 7458372"/>
              <a:gd name="connsiteX7976" fmla="*/ 5047230 w 10505529"/>
              <a:gd name="connsiteY7976" fmla="*/ 6128407 h 7458372"/>
              <a:gd name="connsiteX7977" fmla="*/ 5048294 w 10505529"/>
              <a:gd name="connsiteY7977" fmla="*/ 6122949 h 7458372"/>
              <a:gd name="connsiteX7978" fmla="*/ 5047230 w 10505529"/>
              <a:gd name="connsiteY7978" fmla="*/ 6117758 h 7458372"/>
              <a:gd name="connsiteX7979" fmla="*/ 5044567 w 10505529"/>
              <a:gd name="connsiteY7979" fmla="*/ 6113631 h 7458372"/>
              <a:gd name="connsiteX7980" fmla="*/ 5040574 w 10505529"/>
              <a:gd name="connsiteY7980" fmla="*/ 6110968 h 7458372"/>
              <a:gd name="connsiteX7981" fmla="*/ 5035515 w 10505529"/>
              <a:gd name="connsiteY7981" fmla="*/ 6110037 h 7458372"/>
              <a:gd name="connsiteX7982" fmla="*/ 4817870 w 10505529"/>
              <a:gd name="connsiteY7982" fmla="*/ 6110037 h 7458372"/>
              <a:gd name="connsiteX7983" fmla="*/ 4807887 w 10505529"/>
              <a:gd name="connsiteY7983" fmla="*/ 6113631 h 7458372"/>
              <a:gd name="connsiteX7984" fmla="*/ 4804293 w 10505529"/>
              <a:gd name="connsiteY7984" fmla="*/ 6123082 h 7458372"/>
              <a:gd name="connsiteX7985" fmla="*/ 4807887 w 10505529"/>
              <a:gd name="connsiteY7985" fmla="*/ 6132533 h 7458372"/>
              <a:gd name="connsiteX7986" fmla="*/ 4817870 w 10505529"/>
              <a:gd name="connsiteY7986" fmla="*/ 6135995 h 7458372"/>
              <a:gd name="connsiteX7987" fmla="*/ 4823195 w 10505529"/>
              <a:gd name="connsiteY7987" fmla="*/ 6135063 h 7458372"/>
              <a:gd name="connsiteX7988" fmla="*/ 4826922 w 10505529"/>
              <a:gd name="connsiteY7988" fmla="*/ 6132666 h 7458372"/>
              <a:gd name="connsiteX7989" fmla="*/ 4829585 w 10505529"/>
              <a:gd name="connsiteY7989" fmla="*/ 6128407 h 7458372"/>
              <a:gd name="connsiteX7990" fmla="*/ 4830650 w 10505529"/>
              <a:gd name="connsiteY7990" fmla="*/ 6122949 h 7458372"/>
              <a:gd name="connsiteX7991" fmla="*/ 4829585 w 10505529"/>
              <a:gd name="connsiteY7991" fmla="*/ 6117758 h 7458372"/>
              <a:gd name="connsiteX7992" fmla="*/ 4826922 w 10505529"/>
              <a:gd name="connsiteY7992" fmla="*/ 6113631 h 7458372"/>
              <a:gd name="connsiteX7993" fmla="*/ 4822929 w 10505529"/>
              <a:gd name="connsiteY7993" fmla="*/ 6110968 h 7458372"/>
              <a:gd name="connsiteX7994" fmla="*/ 4817870 w 10505529"/>
              <a:gd name="connsiteY7994" fmla="*/ 6110037 h 7458372"/>
              <a:gd name="connsiteX7995" fmla="*/ 4600226 w 10505529"/>
              <a:gd name="connsiteY7995" fmla="*/ 6110037 h 7458372"/>
              <a:gd name="connsiteX7996" fmla="*/ 4590242 w 10505529"/>
              <a:gd name="connsiteY7996" fmla="*/ 6113631 h 7458372"/>
              <a:gd name="connsiteX7997" fmla="*/ 4586648 w 10505529"/>
              <a:gd name="connsiteY7997" fmla="*/ 6123082 h 7458372"/>
              <a:gd name="connsiteX7998" fmla="*/ 4590242 w 10505529"/>
              <a:gd name="connsiteY7998" fmla="*/ 6132533 h 7458372"/>
              <a:gd name="connsiteX7999" fmla="*/ 4600226 w 10505529"/>
              <a:gd name="connsiteY7999" fmla="*/ 6135995 h 7458372"/>
              <a:gd name="connsiteX8000" fmla="*/ 4605550 w 10505529"/>
              <a:gd name="connsiteY8000" fmla="*/ 6135063 h 7458372"/>
              <a:gd name="connsiteX8001" fmla="*/ 4609277 w 10505529"/>
              <a:gd name="connsiteY8001" fmla="*/ 6132666 h 7458372"/>
              <a:gd name="connsiteX8002" fmla="*/ 4611940 w 10505529"/>
              <a:gd name="connsiteY8002" fmla="*/ 6128407 h 7458372"/>
              <a:gd name="connsiteX8003" fmla="*/ 4613005 w 10505529"/>
              <a:gd name="connsiteY8003" fmla="*/ 6122949 h 7458372"/>
              <a:gd name="connsiteX8004" fmla="*/ 4611940 w 10505529"/>
              <a:gd name="connsiteY8004" fmla="*/ 6117758 h 7458372"/>
              <a:gd name="connsiteX8005" fmla="*/ 4609277 w 10505529"/>
              <a:gd name="connsiteY8005" fmla="*/ 6113631 h 7458372"/>
              <a:gd name="connsiteX8006" fmla="*/ 4605284 w 10505529"/>
              <a:gd name="connsiteY8006" fmla="*/ 6110968 h 7458372"/>
              <a:gd name="connsiteX8007" fmla="*/ 4600226 w 10505529"/>
              <a:gd name="connsiteY8007" fmla="*/ 6110037 h 7458372"/>
              <a:gd name="connsiteX8008" fmla="*/ 4382713 w 10505529"/>
              <a:gd name="connsiteY8008" fmla="*/ 6110037 h 7458372"/>
              <a:gd name="connsiteX8009" fmla="*/ 4372730 w 10505529"/>
              <a:gd name="connsiteY8009" fmla="*/ 6113631 h 7458372"/>
              <a:gd name="connsiteX8010" fmla="*/ 4369136 w 10505529"/>
              <a:gd name="connsiteY8010" fmla="*/ 6123082 h 7458372"/>
              <a:gd name="connsiteX8011" fmla="*/ 4372730 w 10505529"/>
              <a:gd name="connsiteY8011" fmla="*/ 6132533 h 7458372"/>
              <a:gd name="connsiteX8012" fmla="*/ 4382713 w 10505529"/>
              <a:gd name="connsiteY8012" fmla="*/ 6135995 h 7458372"/>
              <a:gd name="connsiteX8013" fmla="*/ 4388038 w 10505529"/>
              <a:gd name="connsiteY8013" fmla="*/ 6135063 h 7458372"/>
              <a:gd name="connsiteX8014" fmla="*/ 4391765 w 10505529"/>
              <a:gd name="connsiteY8014" fmla="*/ 6132666 h 7458372"/>
              <a:gd name="connsiteX8015" fmla="*/ 4394428 w 10505529"/>
              <a:gd name="connsiteY8015" fmla="*/ 6128407 h 7458372"/>
              <a:gd name="connsiteX8016" fmla="*/ 4395493 w 10505529"/>
              <a:gd name="connsiteY8016" fmla="*/ 6122949 h 7458372"/>
              <a:gd name="connsiteX8017" fmla="*/ 4394428 w 10505529"/>
              <a:gd name="connsiteY8017" fmla="*/ 6117758 h 7458372"/>
              <a:gd name="connsiteX8018" fmla="*/ 4391765 w 10505529"/>
              <a:gd name="connsiteY8018" fmla="*/ 6113631 h 7458372"/>
              <a:gd name="connsiteX8019" fmla="*/ 4387772 w 10505529"/>
              <a:gd name="connsiteY8019" fmla="*/ 6110968 h 7458372"/>
              <a:gd name="connsiteX8020" fmla="*/ 4382713 w 10505529"/>
              <a:gd name="connsiteY8020" fmla="*/ 6110037 h 7458372"/>
              <a:gd name="connsiteX8021" fmla="*/ 4165068 w 10505529"/>
              <a:gd name="connsiteY8021" fmla="*/ 6110037 h 7458372"/>
              <a:gd name="connsiteX8022" fmla="*/ 4155084 w 10505529"/>
              <a:gd name="connsiteY8022" fmla="*/ 6113631 h 7458372"/>
              <a:gd name="connsiteX8023" fmla="*/ 4151490 w 10505529"/>
              <a:gd name="connsiteY8023" fmla="*/ 6123082 h 7458372"/>
              <a:gd name="connsiteX8024" fmla="*/ 4155084 w 10505529"/>
              <a:gd name="connsiteY8024" fmla="*/ 6132533 h 7458372"/>
              <a:gd name="connsiteX8025" fmla="*/ 4165068 w 10505529"/>
              <a:gd name="connsiteY8025" fmla="*/ 6135995 h 7458372"/>
              <a:gd name="connsiteX8026" fmla="*/ 4170392 w 10505529"/>
              <a:gd name="connsiteY8026" fmla="*/ 6135063 h 7458372"/>
              <a:gd name="connsiteX8027" fmla="*/ 4174119 w 10505529"/>
              <a:gd name="connsiteY8027" fmla="*/ 6132666 h 7458372"/>
              <a:gd name="connsiteX8028" fmla="*/ 4176782 w 10505529"/>
              <a:gd name="connsiteY8028" fmla="*/ 6128407 h 7458372"/>
              <a:gd name="connsiteX8029" fmla="*/ 4177847 w 10505529"/>
              <a:gd name="connsiteY8029" fmla="*/ 6122949 h 7458372"/>
              <a:gd name="connsiteX8030" fmla="*/ 4176782 w 10505529"/>
              <a:gd name="connsiteY8030" fmla="*/ 6117758 h 7458372"/>
              <a:gd name="connsiteX8031" fmla="*/ 4174119 w 10505529"/>
              <a:gd name="connsiteY8031" fmla="*/ 6113631 h 7458372"/>
              <a:gd name="connsiteX8032" fmla="*/ 4170126 w 10505529"/>
              <a:gd name="connsiteY8032" fmla="*/ 6110968 h 7458372"/>
              <a:gd name="connsiteX8033" fmla="*/ 4165068 w 10505529"/>
              <a:gd name="connsiteY8033" fmla="*/ 6110037 h 7458372"/>
              <a:gd name="connsiteX8034" fmla="*/ 3947756 w 10505529"/>
              <a:gd name="connsiteY8034" fmla="*/ 6110037 h 7458372"/>
              <a:gd name="connsiteX8035" fmla="*/ 3937773 w 10505529"/>
              <a:gd name="connsiteY8035" fmla="*/ 6113631 h 7458372"/>
              <a:gd name="connsiteX8036" fmla="*/ 3934178 w 10505529"/>
              <a:gd name="connsiteY8036" fmla="*/ 6123082 h 7458372"/>
              <a:gd name="connsiteX8037" fmla="*/ 3937773 w 10505529"/>
              <a:gd name="connsiteY8037" fmla="*/ 6132533 h 7458372"/>
              <a:gd name="connsiteX8038" fmla="*/ 3947756 w 10505529"/>
              <a:gd name="connsiteY8038" fmla="*/ 6135995 h 7458372"/>
              <a:gd name="connsiteX8039" fmla="*/ 3953084 w 10505529"/>
              <a:gd name="connsiteY8039" fmla="*/ 6135063 h 7458372"/>
              <a:gd name="connsiteX8040" fmla="*/ 3956811 w 10505529"/>
              <a:gd name="connsiteY8040" fmla="*/ 6132666 h 7458372"/>
              <a:gd name="connsiteX8041" fmla="*/ 3959474 w 10505529"/>
              <a:gd name="connsiteY8041" fmla="*/ 6128407 h 7458372"/>
              <a:gd name="connsiteX8042" fmla="*/ 3960539 w 10505529"/>
              <a:gd name="connsiteY8042" fmla="*/ 6122949 h 7458372"/>
              <a:gd name="connsiteX8043" fmla="*/ 3959474 w 10505529"/>
              <a:gd name="connsiteY8043" fmla="*/ 6117758 h 7458372"/>
              <a:gd name="connsiteX8044" fmla="*/ 3956811 w 10505529"/>
              <a:gd name="connsiteY8044" fmla="*/ 6113631 h 7458372"/>
              <a:gd name="connsiteX8045" fmla="*/ 3952818 w 10505529"/>
              <a:gd name="connsiteY8045" fmla="*/ 6110968 h 7458372"/>
              <a:gd name="connsiteX8046" fmla="*/ 3947756 w 10505529"/>
              <a:gd name="connsiteY8046" fmla="*/ 6110037 h 7458372"/>
              <a:gd name="connsiteX8047" fmla="*/ 3730096 w 10505529"/>
              <a:gd name="connsiteY8047" fmla="*/ 6110037 h 7458372"/>
              <a:gd name="connsiteX8048" fmla="*/ 3720109 w 10505529"/>
              <a:gd name="connsiteY8048" fmla="*/ 6113631 h 7458372"/>
              <a:gd name="connsiteX8049" fmla="*/ 3716516 w 10505529"/>
              <a:gd name="connsiteY8049" fmla="*/ 6123082 h 7458372"/>
              <a:gd name="connsiteX8050" fmla="*/ 3720109 w 10505529"/>
              <a:gd name="connsiteY8050" fmla="*/ 6132533 h 7458372"/>
              <a:gd name="connsiteX8051" fmla="*/ 3730096 w 10505529"/>
              <a:gd name="connsiteY8051" fmla="*/ 6135995 h 7458372"/>
              <a:gd name="connsiteX8052" fmla="*/ 3735421 w 10505529"/>
              <a:gd name="connsiteY8052" fmla="*/ 6135063 h 7458372"/>
              <a:gd name="connsiteX8053" fmla="*/ 3739148 w 10505529"/>
              <a:gd name="connsiteY8053" fmla="*/ 6132666 h 7458372"/>
              <a:gd name="connsiteX8054" fmla="*/ 3741812 w 10505529"/>
              <a:gd name="connsiteY8054" fmla="*/ 6128407 h 7458372"/>
              <a:gd name="connsiteX8055" fmla="*/ 3742876 w 10505529"/>
              <a:gd name="connsiteY8055" fmla="*/ 6122949 h 7458372"/>
              <a:gd name="connsiteX8056" fmla="*/ 3741812 w 10505529"/>
              <a:gd name="connsiteY8056" fmla="*/ 6117758 h 7458372"/>
              <a:gd name="connsiteX8057" fmla="*/ 3739148 w 10505529"/>
              <a:gd name="connsiteY8057" fmla="*/ 6113631 h 7458372"/>
              <a:gd name="connsiteX8058" fmla="*/ 3735155 w 10505529"/>
              <a:gd name="connsiteY8058" fmla="*/ 6110968 h 7458372"/>
              <a:gd name="connsiteX8059" fmla="*/ 3730096 w 10505529"/>
              <a:gd name="connsiteY8059" fmla="*/ 6110037 h 7458372"/>
              <a:gd name="connsiteX8060" fmla="*/ 3512433 w 10505529"/>
              <a:gd name="connsiteY8060" fmla="*/ 6110037 h 7458372"/>
              <a:gd name="connsiteX8061" fmla="*/ 3502444 w 10505529"/>
              <a:gd name="connsiteY8061" fmla="*/ 6113631 h 7458372"/>
              <a:gd name="connsiteX8062" fmla="*/ 3498851 w 10505529"/>
              <a:gd name="connsiteY8062" fmla="*/ 6123082 h 7458372"/>
              <a:gd name="connsiteX8063" fmla="*/ 3502444 w 10505529"/>
              <a:gd name="connsiteY8063" fmla="*/ 6132533 h 7458372"/>
              <a:gd name="connsiteX8064" fmla="*/ 3512433 w 10505529"/>
              <a:gd name="connsiteY8064" fmla="*/ 6135995 h 7458372"/>
              <a:gd name="connsiteX8065" fmla="*/ 3517759 w 10505529"/>
              <a:gd name="connsiteY8065" fmla="*/ 6135063 h 7458372"/>
              <a:gd name="connsiteX8066" fmla="*/ 3521486 w 10505529"/>
              <a:gd name="connsiteY8066" fmla="*/ 6132666 h 7458372"/>
              <a:gd name="connsiteX8067" fmla="*/ 3524149 w 10505529"/>
              <a:gd name="connsiteY8067" fmla="*/ 6128407 h 7458372"/>
              <a:gd name="connsiteX8068" fmla="*/ 3525214 w 10505529"/>
              <a:gd name="connsiteY8068" fmla="*/ 6122949 h 7458372"/>
              <a:gd name="connsiteX8069" fmla="*/ 3524149 w 10505529"/>
              <a:gd name="connsiteY8069" fmla="*/ 6117758 h 7458372"/>
              <a:gd name="connsiteX8070" fmla="*/ 3521486 w 10505529"/>
              <a:gd name="connsiteY8070" fmla="*/ 6113631 h 7458372"/>
              <a:gd name="connsiteX8071" fmla="*/ 3517493 w 10505529"/>
              <a:gd name="connsiteY8071" fmla="*/ 6110968 h 7458372"/>
              <a:gd name="connsiteX8072" fmla="*/ 3512433 w 10505529"/>
              <a:gd name="connsiteY8072" fmla="*/ 6110037 h 7458372"/>
              <a:gd name="connsiteX8073" fmla="*/ 3294904 w 10505529"/>
              <a:gd name="connsiteY8073" fmla="*/ 6110037 h 7458372"/>
              <a:gd name="connsiteX8074" fmla="*/ 3284917 w 10505529"/>
              <a:gd name="connsiteY8074" fmla="*/ 6113631 h 7458372"/>
              <a:gd name="connsiteX8075" fmla="*/ 3281323 w 10505529"/>
              <a:gd name="connsiteY8075" fmla="*/ 6123082 h 7458372"/>
              <a:gd name="connsiteX8076" fmla="*/ 3284917 w 10505529"/>
              <a:gd name="connsiteY8076" fmla="*/ 6132533 h 7458372"/>
              <a:gd name="connsiteX8077" fmla="*/ 3294904 w 10505529"/>
              <a:gd name="connsiteY8077" fmla="*/ 6135995 h 7458372"/>
              <a:gd name="connsiteX8078" fmla="*/ 3300230 w 10505529"/>
              <a:gd name="connsiteY8078" fmla="*/ 6135063 h 7458372"/>
              <a:gd name="connsiteX8079" fmla="*/ 3303957 w 10505529"/>
              <a:gd name="connsiteY8079" fmla="*/ 6132666 h 7458372"/>
              <a:gd name="connsiteX8080" fmla="*/ 3306620 w 10505529"/>
              <a:gd name="connsiteY8080" fmla="*/ 6128407 h 7458372"/>
              <a:gd name="connsiteX8081" fmla="*/ 3307684 w 10505529"/>
              <a:gd name="connsiteY8081" fmla="*/ 6122949 h 7458372"/>
              <a:gd name="connsiteX8082" fmla="*/ 3306620 w 10505529"/>
              <a:gd name="connsiteY8082" fmla="*/ 6117758 h 7458372"/>
              <a:gd name="connsiteX8083" fmla="*/ 3303957 w 10505529"/>
              <a:gd name="connsiteY8083" fmla="*/ 6113631 h 7458372"/>
              <a:gd name="connsiteX8084" fmla="*/ 3299964 w 10505529"/>
              <a:gd name="connsiteY8084" fmla="*/ 6110968 h 7458372"/>
              <a:gd name="connsiteX8085" fmla="*/ 3294904 w 10505529"/>
              <a:gd name="connsiteY8085" fmla="*/ 6110037 h 7458372"/>
              <a:gd name="connsiteX8086" fmla="*/ 3077375 w 10505529"/>
              <a:gd name="connsiteY8086" fmla="*/ 6110037 h 7458372"/>
              <a:gd name="connsiteX8087" fmla="*/ 3067391 w 10505529"/>
              <a:gd name="connsiteY8087" fmla="*/ 6113631 h 7458372"/>
              <a:gd name="connsiteX8088" fmla="*/ 3063660 w 10505529"/>
              <a:gd name="connsiteY8088" fmla="*/ 6123082 h 7458372"/>
              <a:gd name="connsiteX8089" fmla="*/ 3067256 w 10505529"/>
              <a:gd name="connsiteY8089" fmla="*/ 6132533 h 7458372"/>
              <a:gd name="connsiteX8090" fmla="*/ 3077241 w 10505529"/>
              <a:gd name="connsiteY8090" fmla="*/ 6135995 h 7458372"/>
              <a:gd name="connsiteX8091" fmla="*/ 3082700 w 10505529"/>
              <a:gd name="connsiteY8091" fmla="*/ 6135063 h 7458372"/>
              <a:gd name="connsiteX8092" fmla="*/ 3086427 w 10505529"/>
              <a:gd name="connsiteY8092" fmla="*/ 6132666 h 7458372"/>
              <a:gd name="connsiteX8093" fmla="*/ 3089090 w 10505529"/>
              <a:gd name="connsiteY8093" fmla="*/ 6128407 h 7458372"/>
              <a:gd name="connsiteX8094" fmla="*/ 3090022 w 10505529"/>
              <a:gd name="connsiteY8094" fmla="*/ 6122949 h 7458372"/>
              <a:gd name="connsiteX8095" fmla="*/ 3089090 w 10505529"/>
              <a:gd name="connsiteY8095" fmla="*/ 6117758 h 7458372"/>
              <a:gd name="connsiteX8096" fmla="*/ 3086427 w 10505529"/>
              <a:gd name="connsiteY8096" fmla="*/ 6113631 h 7458372"/>
              <a:gd name="connsiteX8097" fmla="*/ 3082434 w 10505529"/>
              <a:gd name="connsiteY8097" fmla="*/ 6110968 h 7458372"/>
              <a:gd name="connsiteX8098" fmla="*/ 3077375 w 10505529"/>
              <a:gd name="connsiteY8098" fmla="*/ 6110037 h 7458372"/>
              <a:gd name="connsiteX8099" fmla="*/ 2859579 w 10505529"/>
              <a:gd name="connsiteY8099" fmla="*/ 6110037 h 7458372"/>
              <a:gd name="connsiteX8100" fmla="*/ 2849593 w 10505529"/>
              <a:gd name="connsiteY8100" fmla="*/ 6113631 h 7458372"/>
              <a:gd name="connsiteX8101" fmla="*/ 2845994 w 10505529"/>
              <a:gd name="connsiteY8101" fmla="*/ 6123082 h 7458372"/>
              <a:gd name="connsiteX8102" fmla="*/ 2849593 w 10505529"/>
              <a:gd name="connsiteY8102" fmla="*/ 6132533 h 7458372"/>
              <a:gd name="connsiteX8103" fmla="*/ 2859579 w 10505529"/>
              <a:gd name="connsiteY8103" fmla="*/ 6135995 h 7458372"/>
              <a:gd name="connsiteX8104" fmla="*/ 2864904 w 10505529"/>
              <a:gd name="connsiteY8104" fmla="*/ 6135063 h 7458372"/>
              <a:gd name="connsiteX8105" fmla="*/ 2868631 w 10505529"/>
              <a:gd name="connsiteY8105" fmla="*/ 6132666 h 7458372"/>
              <a:gd name="connsiteX8106" fmla="*/ 2871294 w 10505529"/>
              <a:gd name="connsiteY8106" fmla="*/ 6128407 h 7458372"/>
              <a:gd name="connsiteX8107" fmla="*/ 2872225 w 10505529"/>
              <a:gd name="connsiteY8107" fmla="*/ 6122949 h 7458372"/>
              <a:gd name="connsiteX8108" fmla="*/ 2871294 w 10505529"/>
              <a:gd name="connsiteY8108" fmla="*/ 6117758 h 7458372"/>
              <a:gd name="connsiteX8109" fmla="*/ 2868631 w 10505529"/>
              <a:gd name="connsiteY8109" fmla="*/ 6113631 h 7458372"/>
              <a:gd name="connsiteX8110" fmla="*/ 2864639 w 10505529"/>
              <a:gd name="connsiteY8110" fmla="*/ 6110968 h 7458372"/>
              <a:gd name="connsiteX8111" fmla="*/ 2859579 w 10505529"/>
              <a:gd name="connsiteY8111" fmla="*/ 6110037 h 7458372"/>
              <a:gd name="connsiteX8112" fmla="*/ 2641916 w 10505529"/>
              <a:gd name="connsiteY8112" fmla="*/ 6110037 h 7458372"/>
              <a:gd name="connsiteX8113" fmla="*/ 2631933 w 10505529"/>
              <a:gd name="connsiteY8113" fmla="*/ 6113631 h 7458372"/>
              <a:gd name="connsiteX8114" fmla="*/ 2628339 w 10505529"/>
              <a:gd name="connsiteY8114" fmla="*/ 6123082 h 7458372"/>
              <a:gd name="connsiteX8115" fmla="*/ 2631933 w 10505529"/>
              <a:gd name="connsiteY8115" fmla="*/ 6132533 h 7458372"/>
              <a:gd name="connsiteX8116" fmla="*/ 2641916 w 10505529"/>
              <a:gd name="connsiteY8116" fmla="*/ 6135995 h 7458372"/>
              <a:gd name="connsiteX8117" fmla="*/ 2647242 w 10505529"/>
              <a:gd name="connsiteY8117" fmla="*/ 6135063 h 7458372"/>
              <a:gd name="connsiteX8118" fmla="*/ 2650969 w 10505529"/>
              <a:gd name="connsiteY8118" fmla="*/ 6132666 h 7458372"/>
              <a:gd name="connsiteX8119" fmla="*/ 2653632 w 10505529"/>
              <a:gd name="connsiteY8119" fmla="*/ 6128407 h 7458372"/>
              <a:gd name="connsiteX8120" fmla="*/ 2654562 w 10505529"/>
              <a:gd name="connsiteY8120" fmla="*/ 6122949 h 7458372"/>
              <a:gd name="connsiteX8121" fmla="*/ 2653632 w 10505529"/>
              <a:gd name="connsiteY8121" fmla="*/ 6117758 h 7458372"/>
              <a:gd name="connsiteX8122" fmla="*/ 2650969 w 10505529"/>
              <a:gd name="connsiteY8122" fmla="*/ 6113631 h 7458372"/>
              <a:gd name="connsiteX8123" fmla="*/ 2646976 w 10505529"/>
              <a:gd name="connsiteY8123" fmla="*/ 6110968 h 7458372"/>
              <a:gd name="connsiteX8124" fmla="*/ 2641916 w 10505529"/>
              <a:gd name="connsiteY8124" fmla="*/ 6110037 h 7458372"/>
              <a:gd name="connsiteX8125" fmla="*/ 2424254 w 10505529"/>
              <a:gd name="connsiteY8125" fmla="*/ 6110037 h 7458372"/>
              <a:gd name="connsiteX8126" fmla="*/ 2414271 w 10505529"/>
              <a:gd name="connsiteY8126" fmla="*/ 6113631 h 7458372"/>
              <a:gd name="connsiteX8127" fmla="*/ 2410676 w 10505529"/>
              <a:gd name="connsiteY8127" fmla="*/ 6123082 h 7458372"/>
              <a:gd name="connsiteX8128" fmla="*/ 2414271 w 10505529"/>
              <a:gd name="connsiteY8128" fmla="*/ 6132533 h 7458372"/>
              <a:gd name="connsiteX8129" fmla="*/ 2424254 w 10505529"/>
              <a:gd name="connsiteY8129" fmla="*/ 6135995 h 7458372"/>
              <a:gd name="connsiteX8130" fmla="*/ 2429579 w 10505529"/>
              <a:gd name="connsiteY8130" fmla="*/ 6135063 h 7458372"/>
              <a:gd name="connsiteX8131" fmla="*/ 2433306 w 10505529"/>
              <a:gd name="connsiteY8131" fmla="*/ 6132666 h 7458372"/>
              <a:gd name="connsiteX8132" fmla="*/ 2435969 w 10505529"/>
              <a:gd name="connsiteY8132" fmla="*/ 6128407 h 7458372"/>
              <a:gd name="connsiteX8133" fmla="*/ 2436900 w 10505529"/>
              <a:gd name="connsiteY8133" fmla="*/ 6122949 h 7458372"/>
              <a:gd name="connsiteX8134" fmla="*/ 2435969 w 10505529"/>
              <a:gd name="connsiteY8134" fmla="*/ 6117758 h 7458372"/>
              <a:gd name="connsiteX8135" fmla="*/ 2433306 w 10505529"/>
              <a:gd name="connsiteY8135" fmla="*/ 6113631 h 7458372"/>
              <a:gd name="connsiteX8136" fmla="*/ 2429313 w 10505529"/>
              <a:gd name="connsiteY8136" fmla="*/ 6110968 h 7458372"/>
              <a:gd name="connsiteX8137" fmla="*/ 2424254 w 10505529"/>
              <a:gd name="connsiteY8137" fmla="*/ 6110037 h 7458372"/>
              <a:gd name="connsiteX8138" fmla="*/ 2206591 w 10505529"/>
              <a:gd name="connsiteY8138" fmla="*/ 6110037 h 7458372"/>
              <a:gd name="connsiteX8139" fmla="*/ 2196608 w 10505529"/>
              <a:gd name="connsiteY8139" fmla="*/ 6113631 h 7458372"/>
              <a:gd name="connsiteX8140" fmla="*/ 2193014 w 10505529"/>
              <a:gd name="connsiteY8140" fmla="*/ 6123082 h 7458372"/>
              <a:gd name="connsiteX8141" fmla="*/ 2196608 w 10505529"/>
              <a:gd name="connsiteY8141" fmla="*/ 6132533 h 7458372"/>
              <a:gd name="connsiteX8142" fmla="*/ 2206591 w 10505529"/>
              <a:gd name="connsiteY8142" fmla="*/ 6135995 h 7458372"/>
              <a:gd name="connsiteX8143" fmla="*/ 2211916 w 10505529"/>
              <a:gd name="connsiteY8143" fmla="*/ 6135063 h 7458372"/>
              <a:gd name="connsiteX8144" fmla="*/ 2215643 w 10505529"/>
              <a:gd name="connsiteY8144" fmla="*/ 6132666 h 7458372"/>
              <a:gd name="connsiteX8145" fmla="*/ 2218306 w 10505529"/>
              <a:gd name="connsiteY8145" fmla="*/ 6128407 h 7458372"/>
              <a:gd name="connsiteX8146" fmla="*/ 2219237 w 10505529"/>
              <a:gd name="connsiteY8146" fmla="*/ 6122949 h 7458372"/>
              <a:gd name="connsiteX8147" fmla="*/ 2218306 w 10505529"/>
              <a:gd name="connsiteY8147" fmla="*/ 6117758 h 7458372"/>
              <a:gd name="connsiteX8148" fmla="*/ 2215643 w 10505529"/>
              <a:gd name="connsiteY8148" fmla="*/ 6113631 h 7458372"/>
              <a:gd name="connsiteX8149" fmla="*/ 2211650 w 10505529"/>
              <a:gd name="connsiteY8149" fmla="*/ 6110968 h 7458372"/>
              <a:gd name="connsiteX8150" fmla="*/ 2206591 w 10505529"/>
              <a:gd name="connsiteY8150" fmla="*/ 6110037 h 7458372"/>
              <a:gd name="connsiteX8151" fmla="*/ 1989061 w 10505529"/>
              <a:gd name="connsiteY8151" fmla="*/ 6110037 h 7458372"/>
              <a:gd name="connsiteX8152" fmla="*/ 1979078 w 10505529"/>
              <a:gd name="connsiteY8152" fmla="*/ 6113631 h 7458372"/>
              <a:gd name="connsiteX8153" fmla="*/ 1975484 w 10505529"/>
              <a:gd name="connsiteY8153" fmla="*/ 6123082 h 7458372"/>
              <a:gd name="connsiteX8154" fmla="*/ 1979078 w 10505529"/>
              <a:gd name="connsiteY8154" fmla="*/ 6132533 h 7458372"/>
              <a:gd name="connsiteX8155" fmla="*/ 1989061 w 10505529"/>
              <a:gd name="connsiteY8155" fmla="*/ 6135995 h 7458372"/>
              <a:gd name="connsiteX8156" fmla="*/ 1994386 w 10505529"/>
              <a:gd name="connsiteY8156" fmla="*/ 6135063 h 7458372"/>
              <a:gd name="connsiteX8157" fmla="*/ 1998114 w 10505529"/>
              <a:gd name="connsiteY8157" fmla="*/ 6132666 h 7458372"/>
              <a:gd name="connsiteX8158" fmla="*/ 2000777 w 10505529"/>
              <a:gd name="connsiteY8158" fmla="*/ 6128407 h 7458372"/>
              <a:gd name="connsiteX8159" fmla="*/ 2001707 w 10505529"/>
              <a:gd name="connsiteY8159" fmla="*/ 6122949 h 7458372"/>
              <a:gd name="connsiteX8160" fmla="*/ 2000777 w 10505529"/>
              <a:gd name="connsiteY8160" fmla="*/ 6117758 h 7458372"/>
              <a:gd name="connsiteX8161" fmla="*/ 1998114 w 10505529"/>
              <a:gd name="connsiteY8161" fmla="*/ 6113631 h 7458372"/>
              <a:gd name="connsiteX8162" fmla="*/ 1994120 w 10505529"/>
              <a:gd name="connsiteY8162" fmla="*/ 6110968 h 7458372"/>
              <a:gd name="connsiteX8163" fmla="*/ 1989061 w 10505529"/>
              <a:gd name="connsiteY8163" fmla="*/ 6110037 h 7458372"/>
              <a:gd name="connsiteX8164" fmla="*/ 1771429 w 10505529"/>
              <a:gd name="connsiteY8164" fmla="*/ 6110037 h 7458372"/>
              <a:gd name="connsiteX8165" fmla="*/ 1761447 w 10505529"/>
              <a:gd name="connsiteY8165" fmla="*/ 6113631 h 7458372"/>
              <a:gd name="connsiteX8166" fmla="*/ 1757853 w 10505529"/>
              <a:gd name="connsiteY8166" fmla="*/ 6123082 h 7458372"/>
              <a:gd name="connsiteX8167" fmla="*/ 1761447 w 10505529"/>
              <a:gd name="connsiteY8167" fmla="*/ 6132533 h 7458372"/>
              <a:gd name="connsiteX8168" fmla="*/ 1771429 w 10505529"/>
              <a:gd name="connsiteY8168" fmla="*/ 6135995 h 7458372"/>
              <a:gd name="connsiteX8169" fmla="*/ 1776754 w 10505529"/>
              <a:gd name="connsiteY8169" fmla="*/ 6135063 h 7458372"/>
              <a:gd name="connsiteX8170" fmla="*/ 1780480 w 10505529"/>
              <a:gd name="connsiteY8170" fmla="*/ 6132666 h 7458372"/>
              <a:gd name="connsiteX8171" fmla="*/ 1783143 w 10505529"/>
              <a:gd name="connsiteY8171" fmla="*/ 6128407 h 7458372"/>
              <a:gd name="connsiteX8172" fmla="*/ 1784207 w 10505529"/>
              <a:gd name="connsiteY8172" fmla="*/ 6122949 h 7458372"/>
              <a:gd name="connsiteX8173" fmla="*/ 1783143 w 10505529"/>
              <a:gd name="connsiteY8173" fmla="*/ 6117758 h 7458372"/>
              <a:gd name="connsiteX8174" fmla="*/ 1780480 w 10505529"/>
              <a:gd name="connsiteY8174" fmla="*/ 6113631 h 7458372"/>
              <a:gd name="connsiteX8175" fmla="*/ 1776488 w 10505529"/>
              <a:gd name="connsiteY8175" fmla="*/ 6110968 h 7458372"/>
              <a:gd name="connsiteX8176" fmla="*/ 1771429 w 10505529"/>
              <a:gd name="connsiteY8176" fmla="*/ 6110037 h 7458372"/>
              <a:gd name="connsiteX8177" fmla="*/ 1553793 w 10505529"/>
              <a:gd name="connsiteY8177" fmla="*/ 6110037 h 7458372"/>
              <a:gd name="connsiteX8178" fmla="*/ 1543810 w 10505529"/>
              <a:gd name="connsiteY8178" fmla="*/ 6113631 h 7458372"/>
              <a:gd name="connsiteX8179" fmla="*/ 1540215 w 10505529"/>
              <a:gd name="connsiteY8179" fmla="*/ 6123082 h 7458372"/>
              <a:gd name="connsiteX8180" fmla="*/ 1543810 w 10505529"/>
              <a:gd name="connsiteY8180" fmla="*/ 6132533 h 7458372"/>
              <a:gd name="connsiteX8181" fmla="*/ 1553793 w 10505529"/>
              <a:gd name="connsiteY8181" fmla="*/ 6135995 h 7458372"/>
              <a:gd name="connsiteX8182" fmla="*/ 1559117 w 10505529"/>
              <a:gd name="connsiteY8182" fmla="*/ 6135063 h 7458372"/>
              <a:gd name="connsiteX8183" fmla="*/ 1562845 w 10505529"/>
              <a:gd name="connsiteY8183" fmla="*/ 6132666 h 7458372"/>
              <a:gd name="connsiteX8184" fmla="*/ 1565507 w 10505529"/>
              <a:gd name="connsiteY8184" fmla="*/ 6128407 h 7458372"/>
              <a:gd name="connsiteX8185" fmla="*/ 1566572 w 10505529"/>
              <a:gd name="connsiteY8185" fmla="*/ 6122949 h 7458372"/>
              <a:gd name="connsiteX8186" fmla="*/ 1565507 w 10505529"/>
              <a:gd name="connsiteY8186" fmla="*/ 6117758 h 7458372"/>
              <a:gd name="connsiteX8187" fmla="*/ 1562845 w 10505529"/>
              <a:gd name="connsiteY8187" fmla="*/ 6113631 h 7458372"/>
              <a:gd name="connsiteX8188" fmla="*/ 1558851 w 10505529"/>
              <a:gd name="connsiteY8188" fmla="*/ 6110968 h 7458372"/>
              <a:gd name="connsiteX8189" fmla="*/ 1553793 w 10505529"/>
              <a:gd name="connsiteY8189" fmla="*/ 6110037 h 7458372"/>
              <a:gd name="connsiteX8190" fmla="*/ 1336150 w 10505529"/>
              <a:gd name="connsiteY8190" fmla="*/ 6110037 h 7458372"/>
              <a:gd name="connsiteX8191" fmla="*/ 1326166 w 10505529"/>
              <a:gd name="connsiteY8191" fmla="*/ 6113631 h 7458372"/>
              <a:gd name="connsiteX8192" fmla="*/ 1322571 w 10505529"/>
              <a:gd name="connsiteY8192" fmla="*/ 6123082 h 7458372"/>
              <a:gd name="connsiteX8193" fmla="*/ 1326166 w 10505529"/>
              <a:gd name="connsiteY8193" fmla="*/ 6132533 h 7458372"/>
              <a:gd name="connsiteX8194" fmla="*/ 1336150 w 10505529"/>
              <a:gd name="connsiteY8194" fmla="*/ 6135995 h 7458372"/>
              <a:gd name="connsiteX8195" fmla="*/ 1341476 w 10505529"/>
              <a:gd name="connsiteY8195" fmla="*/ 6135063 h 7458372"/>
              <a:gd name="connsiteX8196" fmla="*/ 1345204 w 10505529"/>
              <a:gd name="connsiteY8196" fmla="*/ 6132666 h 7458372"/>
              <a:gd name="connsiteX8197" fmla="*/ 1347865 w 10505529"/>
              <a:gd name="connsiteY8197" fmla="*/ 6128407 h 7458372"/>
              <a:gd name="connsiteX8198" fmla="*/ 1348931 w 10505529"/>
              <a:gd name="connsiteY8198" fmla="*/ 6122949 h 7458372"/>
              <a:gd name="connsiteX8199" fmla="*/ 1347865 w 10505529"/>
              <a:gd name="connsiteY8199" fmla="*/ 6117758 h 7458372"/>
              <a:gd name="connsiteX8200" fmla="*/ 1345204 w 10505529"/>
              <a:gd name="connsiteY8200" fmla="*/ 6113631 h 7458372"/>
              <a:gd name="connsiteX8201" fmla="*/ 1341208 w 10505529"/>
              <a:gd name="connsiteY8201" fmla="*/ 6110968 h 7458372"/>
              <a:gd name="connsiteX8202" fmla="*/ 1336150 w 10505529"/>
              <a:gd name="connsiteY8202" fmla="*/ 6110037 h 7458372"/>
              <a:gd name="connsiteX8203" fmla="*/ 1118637 w 10505529"/>
              <a:gd name="connsiteY8203" fmla="*/ 6110037 h 7458372"/>
              <a:gd name="connsiteX8204" fmla="*/ 1108651 w 10505529"/>
              <a:gd name="connsiteY8204" fmla="*/ 6113631 h 7458372"/>
              <a:gd name="connsiteX8205" fmla="*/ 1104924 w 10505529"/>
              <a:gd name="connsiteY8205" fmla="*/ 6123082 h 7458372"/>
              <a:gd name="connsiteX8206" fmla="*/ 1108519 w 10505529"/>
              <a:gd name="connsiteY8206" fmla="*/ 6132533 h 7458372"/>
              <a:gd name="connsiteX8207" fmla="*/ 1118504 w 10505529"/>
              <a:gd name="connsiteY8207" fmla="*/ 6135995 h 7458372"/>
              <a:gd name="connsiteX8208" fmla="*/ 1123960 w 10505529"/>
              <a:gd name="connsiteY8208" fmla="*/ 6135063 h 7458372"/>
              <a:gd name="connsiteX8209" fmla="*/ 1127691 w 10505529"/>
              <a:gd name="connsiteY8209" fmla="*/ 6132666 h 7458372"/>
              <a:gd name="connsiteX8210" fmla="*/ 1130355 w 10505529"/>
              <a:gd name="connsiteY8210" fmla="*/ 6128407 h 7458372"/>
              <a:gd name="connsiteX8211" fmla="*/ 1131420 w 10505529"/>
              <a:gd name="connsiteY8211" fmla="*/ 6122949 h 7458372"/>
              <a:gd name="connsiteX8212" fmla="*/ 1130355 w 10505529"/>
              <a:gd name="connsiteY8212" fmla="*/ 6117758 h 7458372"/>
              <a:gd name="connsiteX8213" fmla="*/ 1127691 w 10505529"/>
              <a:gd name="connsiteY8213" fmla="*/ 6113631 h 7458372"/>
              <a:gd name="connsiteX8214" fmla="*/ 1123696 w 10505529"/>
              <a:gd name="connsiteY8214" fmla="*/ 6110968 h 7458372"/>
              <a:gd name="connsiteX8215" fmla="*/ 1118637 w 10505529"/>
              <a:gd name="connsiteY8215" fmla="*/ 6110037 h 7458372"/>
              <a:gd name="connsiteX8216" fmla="*/ 901125 w 10505529"/>
              <a:gd name="connsiteY8216" fmla="*/ 6110037 h 7458372"/>
              <a:gd name="connsiteX8217" fmla="*/ 891140 w 10505529"/>
              <a:gd name="connsiteY8217" fmla="*/ 6113631 h 7458372"/>
              <a:gd name="connsiteX8218" fmla="*/ 887414 w 10505529"/>
              <a:gd name="connsiteY8218" fmla="*/ 6123082 h 7458372"/>
              <a:gd name="connsiteX8219" fmla="*/ 891008 w 10505529"/>
              <a:gd name="connsiteY8219" fmla="*/ 6132533 h 7458372"/>
              <a:gd name="connsiteX8220" fmla="*/ 900991 w 10505529"/>
              <a:gd name="connsiteY8220" fmla="*/ 6135995 h 7458372"/>
              <a:gd name="connsiteX8221" fmla="*/ 906449 w 10505529"/>
              <a:gd name="connsiteY8221" fmla="*/ 6135063 h 7458372"/>
              <a:gd name="connsiteX8222" fmla="*/ 910177 w 10505529"/>
              <a:gd name="connsiteY8222" fmla="*/ 6132666 h 7458372"/>
              <a:gd name="connsiteX8223" fmla="*/ 912839 w 10505529"/>
              <a:gd name="connsiteY8223" fmla="*/ 6128407 h 7458372"/>
              <a:gd name="connsiteX8224" fmla="*/ 913904 w 10505529"/>
              <a:gd name="connsiteY8224" fmla="*/ 6122949 h 7458372"/>
              <a:gd name="connsiteX8225" fmla="*/ 912839 w 10505529"/>
              <a:gd name="connsiteY8225" fmla="*/ 6117758 h 7458372"/>
              <a:gd name="connsiteX8226" fmla="*/ 910177 w 10505529"/>
              <a:gd name="connsiteY8226" fmla="*/ 6113631 h 7458372"/>
              <a:gd name="connsiteX8227" fmla="*/ 906183 w 10505529"/>
              <a:gd name="connsiteY8227" fmla="*/ 6110968 h 7458372"/>
              <a:gd name="connsiteX8228" fmla="*/ 901125 w 10505529"/>
              <a:gd name="connsiteY8228" fmla="*/ 6110037 h 7458372"/>
              <a:gd name="connsiteX8229" fmla="*/ 683351 w 10505529"/>
              <a:gd name="connsiteY8229" fmla="*/ 6110037 h 7458372"/>
              <a:gd name="connsiteX8230" fmla="*/ 673368 w 10505529"/>
              <a:gd name="connsiteY8230" fmla="*/ 6113631 h 7458372"/>
              <a:gd name="connsiteX8231" fmla="*/ 669774 w 10505529"/>
              <a:gd name="connsiteY8231" fmla="*/ 6123082 h 7458372"/>
              <a:gd name="connsiteX8232" fmla="*/ 673368 w 10505529"/>
              <a:gd name="connsiteY8232" fmla="*/ 6132533 h 7458372"/>
              <a:gd name="connsiteX8233" fmla="*/ 683351 w 10505529"/>
              <a:gd name="connsiteY8233" fmla="*/ 6135995 h 7458372"/>
              <a:gd name="connsiteX8234" fmla="*/ 688676 w 10505529"/>
              <a:gd name="connsiteY8234" fmla="*/ 6135063 h 7458372"/>
              <a:gd name="connsiteX8235" fmla="*/ 692403 w 10505529"/>
              <a:gd name="connsiteY8235" fmla="*/ 6132666 h 7458372"/>
              <a:gd name="connsiteX8236" fmla="*/ 695066 w 10505529"/>
              <a:gd name="connsiteY8236" fmla="*/ 6128407 h 7458372"/>
              <a:gd name="connsiteX8237" fmla="*/ 696131 w 10505529"/>
              <a:gd name="connsiteY8237" fmla="*/ 6122949 h 7458372"/>
              <a:gd name="connsiteX8238" fmla="*/ 695066 w 10505529"/>
              <a:gd name="connsiteY8238" fmla="*/ 6117758 h 7458372"/>
              <a:gd name="connsiteX8239" fmla="*/ 692403 w 10505529"/>
              <a:gd name="connsiteY8239" fmla="*/ 6113631 h 7458372"/>
              <a:gd name="connsiteX8240" fmla="*/ 688410 w 10505529"/>
              <a:gd name="connsiteY8240" fmla="*/ 6110968 h 7458372"/>
              <a:gd name="connsiteX8241" fmla="*/ 683351 w 10505529"/>
              <a:gd name="connsiteY8241" fmla="*/ 6110037 h 7458372"/>
              <a:gd name="connsiteX8242" fmla="*/ 465710 w 10505529"/>
              <a:gd name="connsiteY8242" fmla="*/ 6110037 h 7458372"/>
              <a:gd name="connsiteX8243" fmla="*/ 455727 w 10505529"/>
              <a:gd name="connsiteY8243" fmla="*/ 6113631 h 7458372"/>
              <a:gd name="connsiteX8244" fmla="*/ 452133 w 10505529"/>
              <a:gd name="connsiteY8244" fmla="*/ 6123082 h 7458372"/>
              <a:gd name="connsiteX8245" fmla="*/ 455727 w 10505529"/>
              <a:gd name="connsiteY8245" fmla="*/ 6132533 h 7458372"/>
              <a:gd name="connsiteX8246" fmla="*/ 465710 w 10505529"/>
              <a:gd name="connsiteY8246" fmla="*/ 6135995 h 7458372"/>
              <a:gd name="connsiteX8247" fmla="*/ 471035 w 10505529"/>
              <a:gd name="connsiteY8247" fmla="*/ 6135063 h 7458372"/>
              <a:gd name="connsiteX8248" fmla="*/ 474762 w 10505529"/>
              <a:gd name="connsiteY8248" fmla="*/ 6132666 h 7458372"/>
              <a:gd name="connsiteX8249" fmla="*/ 477425 w 10505529"/>
              <a:gd name="connsiteY8249" fmla="*/ 6128407 h 7458372"/>
              <a:gd name="connsiteX8250" fmla="*/ 478490 w 10505529"/>
              <a:gd name="connsiteY8250" fmla="*/ 6122949 h 7458372"/>
              <a:gd name="connsiteX8251" fmla="*/ 477425 w 10505529"/>
              <a:gd name="connsiteY8251" fmla="*/ 6117758 h 7458372"/>
              <a:gd name="connsiteX8252" fmla="*/ 474762 w 10505529"/>
              <a:gd name="connsiteY8252" fmla="*/ 6113631 h 7458372"/>
              <a:gd name="connsiteX8253" fmla="*/ 470769 w 10505529"/>
              <a:gd name="connsiteY8253" fmla="*/ 6110968 h 7458372"/>
              <a:gd name="connsiteX8254" fmla="*/ 465710 w 10505529"/>
              <a:gd name="connsiteY8254" fmla="*/ 6110037 h 7458372"/>
              <a:gd name="connsiteX8255" fmla="*/ 248069 w 10505529"/>
              <a:gd name="connsiteY8255" fmla="*/ 6110037 h 7458372"/>
              <a:gd name="connsiteX8256" fmla="*/ 238087 w 10505529"/>
              <a:gd name="connsiteY8256" fmla="*/ 6113631 h 7458372"/>
              <a:gd name="connsiteX8257" fmla="*/ 234493 w 10505529"/>
              <a:gd name="connsiteY8257" fmla="*/ 6123082 h 7458372"/>
              <a:gd name="connsiteX8258" fmla="*/ 238087 w 10505529"/>
              <a:gd name="connsiteY8258" fmla="*/ 6132533 h 7458372"/>
              <a:gd name="connsiteX8259" fmla="*/ 248069 w 10505529"/>
              <a:gd name="connsiteY8259" fmla="*/ 6135995 h 7458372"/>
              <a:gd name="connsiteX8260" fmla="*/ 253393 w 10505529"/>
              <a:gd name="connsiteY8260" fmla="*/ 6135063 h 7458372"/>
              <a:gd name="connsiteX8261" fmla="*/ 257120 w 10505529"/>
              <a:gd name="connsiteY8261" fmla="*/ 6132666 h 7458372"/>
              <a:gd name="connsiteX8262" fmla="*/ 259783 w 10505529"/>
              <a:gd name="connsiteY8262" fmla="*/ 6128407 h 7458372"/>
              <a:gd name="connsiteX8263" fmla="*/ 260848 w 10505529"/>
              <a:gd name="connsiteY8263" fmla="*/ 6122949 h 7458372"/>
              <a:gd name="connsiteX8264" fmla="*/ 259783 w 10505529"/>
              <a:gd name="connsiteY8264" fmla="*/ 6117758 h 7458372"/>
              <a:gd name="connsiteX8265" fmla="*/ 257120 w 10505529"/>
              <a:gd name="connsiteY8265" fmla="*/ 6113631 h 7458372"/>
              <a:gd name="connsiteX8266" fmla="*/ 253127 w 10505529"/>
              <a:gd name="connsiteY8266" fmla="*/ 6110968 h 7458372"/>
              <a:gd name="connsiteX8267" fmla="*/ 248069 w 10505529"/>
              <a:gd name="connsiteY8267" fmla="*/ 6110037 h 7458372"/>
              <a:gd name="connsiteX8268" fmla="*/ 30428 w 10505529"/>
              <a:gd name="connsiteY8268" fmla="*/ 6110037 h 7458372"/>
              <a:gd name="connsiteX8269" fmla="*/ 20444 w 10505529"/>
              <a:gd name="connsiteY8269" fmla="*/ 6113631 h 7458372"/>
              <a:gd name="connsiteX8270" fmla="*/ 16851 w 10505529"/>
              <a:gd name="connsiteY8270" fmla="*/ 6123082 h 7458372"/>
              <a:gd name="connsiteX8271" fmla="*/ 20444 w 10505529"/>
              <a:gd name="connsiteY8271" fmla="*/ 6132533 h 7458372"/>
              <a:gd name="connsiteX8272" fmla="*/ 30428 w 10505529"/>
              <a:gd name="connsiteY8272" fmla="*/ 6135995 h 7458372"/>
              <a:gd name="connsiteX8273" fmla="*/ 35753 w 10505529"/>
              <a:gd name="connsiteY8273" fmla="*/ 6135063 h 7458372"/>
              <a:gd name="connsiteX8274" fmla="*/ 39480 w 10505529"/>
              <a:gd name="connsiteY8274" fmla="*/ 6132666 h 7458372"/>
              <a:gd name="connsiteX8275" fmla="*/ 42143 w 10505529"/>
              <a:gd name="connsiteY8275" fmla="*/ 6128407 h 7458372"/>
              <a:gd name="connsiteX8276" fmla="*/ 43074 w 10505529"/>
              <a:gd name="connsiteY8276" fmla="*/ 6122949 h 7458372"/>
              <a:gd name="connsiteX8277" fmla="*/ 42143 w 10505529"/>
              <a:gd name="connsiteY8277" fmla="*/ 6117758 h 7458372"/>
              <a:gd name="connsiteX8278" fmla="*/ 39480 w 10505529"/>
              <a:gd name="connsiteY8278" fmla="*/ 6113631 h 7458372"/>
              <a:gd name="connsiteX8279" fmla="*/ 35487 w 10505529"/>
              <a:gd name="connsiteY8279" fmla="*/ 6110968 h 7458372"/>
              <a:gd name="connsiteX8280" fmla="*/ 30428 w 10505529"/>
              <a:gd name="connsiteY8280" fmla="*/ 6110037 h 7458372"/>
              <a:gd name="connsiteX8281" fmla="*/ 10475977 w 10505529"/>
              <a:gd name="connsiteY8281" fmla="*/ 6093397 h 7458372"/>
              <a:gd name="connsiteX8282" fmla="*/ 10487824 w 10505529"/>
              <a:gd name="connsiteY8282" fmla="*/ 6095926 h 7458372"/>
              <a:gd name="connsiteX8283" fmla="*/ 10497143 w 10505529"/>
              <a:gd name="connsiteY8283" fmla="*/ 6102316 h 7458372"/>
              <a:gd name="connsiteX8284" fmla="*/ 10503266 w 10505529"/>
              <a:gd name="connsiteY8284" fmla="*/ 6111634 h 7458372"/>
              <a:gd name="connsiteX8285" fmla="*/ 10505529 w 10505529"/>
              <a:gd name="connsiteY8285" fmla="*/ 6123082 h 7458372"/>
              <a:gd name="connsiteX8286" fmla="*/ 10503266 w 10505529"/>
              <a:gd name="connsiteY8286" fmla="*/ 6134797 h 7458372"/>
              <a:gd name="connsiteX8287" fmla="*/ 10497143 w 10505529"/>
              <a:gd name="connsiteY8287" fmla="*/ 6144116 h 7458372"/>
              <a:gd name="connsiteX8288" fmla="*/ 10487824 w 10505529"/>
              <a:gd name="connsiteY8288" fmla="*/ 6150372 h 7458372"/>
              <a:gd name="connsiteX8289" fmla="*/ 10475977 w 10505529"/>
              <a:gd name="connsiteY8289" fmla="*/ 6152635 h 7458372"/>
              <a:gd name="connsiteX8290" fmla="*/ 10454145 w 10505529"/>
              <a:gd name="connsiteY8290" fmla="*/ 6144116 h 7458372"/>
              <a:gd name="connsiteX8291" fmla="*/ 10445759 w 10505529"/>
              <a:gd name="connsiteY8291" fmla="*/ 6122949 h 7458372"/>
              <a:gd name="connsiteX8292" fmla="*/ 10454145 w 10505529"/>
              <a:gd name="connsiteY8292" fmla="*/ 6101917 h 7458372"/>
              <a:gd name="connsiteX8293" fmla="*/ 10475977 w 10505529"/>
              <a:gd name="connsiteY8293" fmla="*/ 6093397 h 7458372"/>
              <a:gd name="connsiteX8294" fmla="*/ 10258466 w 10505529"/>
              <a:gd name="connsiteY8294" fmla="*/ 6093397 h 7458372"/>
              <a:gd name="connsiteX8295" fmla="*/ 10270313 w 10505529"/>
              <a:gd name="connsiteY8295" fmla="*/ 6095926 h 7458372"/>
              <a:gd name="connsiteX8296" fmla="*/ 10279631 w 10505529"/>
              <a:gd name="connsiteY8296" fmla="*/ 6102316 h 7458372"/>
              <a:gd name="connsiteX8297" fmla="*/ 10285754 w 10505529"/>
              <a:gd name="connsiteY8297" fmla="*/ 6111634 h 7458372"/>
              <a:gd name="connsiteX8298" fmla="*/ 10288017 w 10505529"/>
              <a:gd name="connsiteY8298" fmla="*/ 6123082 h 7458372"/>
              <a:gd name="connsiteX8299" fmla="*/ 10285754 w 10505529"/>
              <a:gd name="connsiteY8299" fmla="*/ 6134797 h 7458372"/>
              <a:gd name="connsiteX8300" fmla="*/ 10279631 w 10505529"/>
              <a:gd name="connsiteY8300" fmla="*/ 6144116 h 7458372"/>
              <a:gd name="connsiteX8301" fmla="*/ 10270313 w 10505529"/>
              <a:gd name="connsiteY8301" fmla="*/ 6150372 h 7458372"/>
              <a:gd name="connsiteX8302" fmla="*/ 10258466 w 10505529"/>
              <a:gd name="connsiteY8302" fmla="*/ 6152635 h 7458372"/>
              <a:gd name="connsiteX8303" fmla="*/ 10236633 w 10505529"/>
              <a:gd name="connsiteY8303" fmla="*/ 6144116 h 7458372"/>
              <a:gd name="connsiteX8304" fmla="*/ 10228247 w 10505529"/>
              <a:gd name="connsiteY8304" fmla="*/ 6122949 h 7458372"/>
              <a:gd name="connsiteX8305" fmla="*/ 10236633 w 10505529"/>
              <a:gd name="connsiteY8305" fmla="*/ 6101917 h 7458372"/>
              <a:gd name="connsiteX8306" fmla="*/ 10258466 w 10505529"/>
              <a:gd name="connsiteY8306" fmla="*/ 6093397 h 7458372"/>
              <a:gd name="connsiteX8307" fmla="*/ 10040820 w 10505529"/>
              <a:gd name="connsiteY8307" fmla="*/ 6093397 h 7458372"/>
              <a:gd name="connsiteX8308" fmla="*/ 10052534 w 10505529"/>
              <a:gd name="connsiteY8308" fmla="*/ 6095926 h 7458372"/>
              <a:gd name="connsiteX8309" fmla="*/ 10061852 w 10505529"/>
              <a:gd name="connsiteY8309" fmla="*/ 6102316 h 7458372"/>
              <a:gd name="connsiteX8310" fmla="*/ 10067976 w 10505529"/>
              <a:gd name="connsiteY8310" fmla="*/ 6111634 h 7458372"/>
              <a:gd name="connsiteX8311" fmla="*/ 10070239 w 10505529"/>
              <a:gd name="connsiteY8311" fmla="*/ 6123082 h 7458372"/>
              <a:gd name="connsiteX8312" fmla="*/ 10067976 w 10505529"/>
              <a:gd name="connsiteY8312" fmla="*/ 6134797 h 7458372"/>
              <a:gd name="connsiteX8313" fmla="*/ 10061852 w 10505529"/>
              <a:gd name="connsiteY8313" fmla="*/ 6144116 h 7458372"/>
              <a:gd name="connsiteX8314" fmla="*/ 10052534 w 10505529"/>
              <a:gd name="connsiteY8314" fmla="*/ 6150372 h 7458372"/>
              <a:gd name="connsiteX8315" fmla="*/ 10040820 w 10505529"/>
              <a:gd name="connsiteY8315" fmla="*/ 6152635 h 7458372"/>
              <a:gd name="connsiteX8316" fmla="*/ 10018988 w 10505529"/>
              <a:gd name="connsiteY8316" fmla="*/ 6144116 h 7458372"/>
              <a:gd name="connsiteX8317" fmla="*/ 10010602 w 10505529"/>
              <a:gd name="connsiteY8317" fmla="*/ 6122949 h 7458372"/>
              <a:gd name="connsiteX8318" fmla="*/ 10018988 w 10505529"/>
              <a:gd name="connsiteY8318" fmla="*/ 6101917 h 7458372"/>
              <a:gd name="connsiteX8319" fmla="*/ 10040820 w 10505529"/>
              <a:gd name="connsiteY8319" fmla="*/ 6093397 h 7458372"/>
              <a:gd name="connsiteX8320" fmla="*/ 9823176 w 10505529"/>
              <a:gd name="connsiteY8320" fmla="*/ 6093397 h 7458372"/>
              <a:gd name="connsiteX8321" fmla="*/ 9834890 w 10505529"/>
              <a:gd name="connsiteY8321" fmla="*/ 6095926 h 7458372"/>
              <a:gd name="connsiteX8322" fmla="*/ 9844208 w 10505529"/>
              <a:gd name="connsiteY8322" fmla="*/ 6102316 h 7458372"/>
              <a:gd name="connsiteX8323" fmla="*/ 9850331 w 10505529"/>
              <a:gd name="connsiteY8323" fmla="*/ 6111634 h 7458372"/>
              <a:gd name="connsiteX8324" fmla="*/ 9852595 w 10505529"/>
              <a:gd name="connsiteY8324" fmla="*/ 6123082 h 7458372"/>
              <a:gd name="connsiteX8325" fmla="*/ 9850331 w 10505529"/>
              <a:gd name="connsiteY8325" fmla="*/ 6134797 h 7458372"/>
              <a:gd name="connsiteX8326" fmla="*/ 9844208 w 10505529"/>
              <a:gd name="connsiteY8326" fmla="*/ 6144116 h 7458372"/>
              <a:gd name="connsiteX8327" fmla="*/ 9834890 w 10505529"/>
              <a:gd name="connsiteY8327" fmla="*/ 6150372 h 7458372"/>
              <a:gd name="connsiteX8328" fmla="*/ 9823176 w 10505529"/>
              <a:gd name="connsiteY8328" fmla="*/ 6152635 h 7458372"/>
              <a:gd name="connsiteX8329" fmla="*/ 9801343 w 10505529"/>
              <a:gd name="connsiteY8329" fmla="*/ 6144116 h 7458372"/>
              <a:gd name="connsiteX8330" fmla="*/ 9792957 w 10505529"/>
              <a:gd name="connsiteY8330" fmla="*/ 6122949 h 7458372"/>
              <a:gd name="connsiteX8331" fmla="*/ 9801343 w 10505529"/>
              <a:gd name="connsiteY8331" fmla="*/ 6101917 h 7458372"/>
              <a:gd name="connsiteX8332" fmla="*/ 9823176 w 10505529"/>
              <a:gd name="connsiteY8332" fmla="*/ 6093397 h 7458372"/>
              <a:gd name="connsiteX8333" fmla="*/ 9605531 w 10505529"/>
              <a:gd name="connsiteY8333" fmla="*/ 6093397 h 7458372"/>
              <a:gd name="connsiteX8334" fmla="*/ 9617245 w 10505529"/>
              <a:gd name="connsiteY8334" fmla="*/ 6095926 h 7458372"/>
              <a:gd name="connsiteX8335" fmla="*/ 9626562 w 10505529"/>
              <a:gd name="connsiteY8335" fmla="*/ 6102316 h 7458372"/>
              <a:gd name="connsiteX8336" fmla="*/ 9632686 w 10505529"/>
              <a:gd name="connsiteY8336" fmla="*/ 6111634 h 7458372"/>
              <a:gd name="connsiteX8337" fmla="*/ 9634949 w 10505529"/>
              <a:gd name="connsiteY8337" fmla="*/ 6123082 h 7458372"/>
              <a:gd name="connsiteX8338" fmla="*/ 9632686 w 10505529"/>
              <a:gd name="connsiteY8338" fmla="*/ 6134797 h 7458372"/>
              <a:gd name="connsiteX8339" fmla="*/ 9626562 w 10505529"/>
              <a:gd name="connsiteY8339" fmla="*/ 6144116 h 7458372"/>
              <a:gd name="connsiteX8340" fmla="*/ 9617245 w 10505529"/>
              <a:gd name="connsiteY8340" fmla="*/ 6150372 h 7458372"/>
              <a:gd name="connsiteX8341" fmla="*/ 9605531 w 10505529"/>
              <a:gd name="connsiteY8341" fmla="*/ 6152635 h 7458372"/>
              <a:gd name="connsiteX8342" fmla="*/ 9583698 w 10505529"/>
              <a:gd name="connsiteY8342" fmla="*/ 6144116 h 7458372"/>
              <a:gd name="connsiteX8343" fmla="*/ 9575312 w 10505529"/>
              <a:gd name="connsiteY8343" fmla="*/ 6122949 h 7458372"/>
              <a:gd name="connsiteX8344" fmla="*/ 9583698 w 10505529"/>
              <a:gd name="connsiteY8344" fmla="*/ 6101917 h 7458372"/>
              <a:gd name="connsiteX8345" fmla="*/ 9605531 w 10505529"/>
              <a:gd name="connsiteY8345" fmla="*/ 6093397 h 7458372"/>
              <a:gd name="connsiteX8346" fmla="*/ 9387885 w 10505529"/>
              <a:gd name="connsiteY8346" fmla="*/ 6093397 h 7458372"/>
              <a:gd name="connsiteX8347" fmla="*/ 9399599 w 10505529"/>
              <a:gd name="connsiteY8347" fmla="*/ 6095926 h 7458372"/>
              <a:gd name="connsiteX8348" fmla="*/ 9408917 w 10505529"/>
              <a:gd name="connsiteY8348" fmla="*/ 6102316 h 7458372"/>
              <a:gd name="connsiteX8349" fmla="*/ 9415041 w 10505529"/>
              <a:gd name="connsiteY8349" fmla="*/ 6111634 h 7458372"/>
              <a:gd name="connsiteX8350" fmla="*/ 9417304 w 10505529"/>
              <a:gd name="connsiteY8350" fmla="*/ 6123082 h 7458372"/>
              <a:gd name="connsiteX8351" fmla="*/ 9415041 w 10505529"/>
              <a:gd name="connsiteY8351" fmla="*/ 6134797 h 7458372"/>
              <a:gd name="connsiteX8352" fmla="*/ 9408917 w 10505529"/>
              <a:gd name="connsiteY8352" fmla="*/ 6144116 h 7458372"/>
              <a:gd name="connsiteX8353" fmla="*/ 9399599 w 10505529"/>
              <a:gd name="connsiteY8353" fmla="*/ 6150372 h 7458372"/>
              <a:gd name="connsiteX8354" fmla="*/ 9387885 w 10505529"/>
              <a:gd name="connsiteY8354" fmla="*/ 6152635 h 7458372"/>
              <a:gd name="connsiteX8355" fmla="*/ 9366053 w 10505529"/>
              <a:gd name="connsiteY8355" fmla="*/ 6144116 h 7458372"/>
              <a:gd name="connsiteX8356" fmla="*/ 9357667 w 10505529"/>
              <a:gd name="connsiteY8356" fmla="*/ 6122949 h 7458372"/>
              <a:gd name="connsiteX8357" fmla="*/ 9366053 w 10505529"/>
              <a:gd name="connsiteY8357" fmla="*/ 6101917 h 7458372"/>
              <a:gd name="connsiteX8358" fmla="*/ 9387885 w 10505529"/>
              <a:gd name="connsiteY8358" fmla="*/ 6093397 h 7458372"/>
              <a:gd name="connsiteX8359" fmla="*/ 9170374 w 10505529"/>
              <a:gd name="connsiteY8359" fmla="*/ 6093397 h 7458372"/>
              <a:gd name="connsiteX8360" fmla="*/ 9182088 w 10505529"/>
              <a:gd name="connsiteY8360" fmla="*/ 6095926 h 7458372"/>
              <a:gd name="connsiteX8361" fmla="*/ 9191405 w 10505529"/>
              <a:gd name="connsiteY8361" fmla="*/ 6102316 h 7458372"/>
              <a:gd name="connsiteX8362" fmla="*/ 9197529 w 10505529"/>
              <a:gd name="connsiteY8362" fmla="*/ 6111634 h 7458372"/>
              <a:gd name="connsiteX8363" fmla="*/ 9199792 w 10505529"/>
              <a:gd name="connsiteY8363" fmla="*/ 6123082 h 7458372"/>
              <a:gd name="connsiteX8364" fmla="*/ 9197529 w 10505529"/>
              <a:gd name="connsiteY8364" fmla="*/ 6134797 h 7458372"/>
              <a:gd name="connsiteX8365" fmla="*/ 9191405 w 10505529"/>
              <a:gd name="connsiteY8365" fmla="*/ 6144116 h 7458372"/>
              <a:gd name="connsiteX8366" fmla="*/ 9182088 w 10505529"/>
              <a:gd name="connsiteY8366" fmla="*/ 6150372 h 7458372"/>
              <a:gd name="connsiteX8367" fmla="*/ 9170374 w 10505529"/>
              <a:gd name="connsiteY8367" fmla="*/ 6152635 h 7458372"/>
              <a:gd name="connsiteX8368" fmla="*/ 9148541 w 10505529"/>
              <a:gd name="connsiteY8368" fmla="*/ 6144116 h 7458372"/>
              <a:gd name="connsiteX8369" fmla="*/ 9140155 w 10505529"/>
              <a:gd name="connsiteY8369" fmla="*/ 6122949 h 7458372"/>
              <a:gd name="connsiteX8370" fmla="*/ 9148541 w 10505529"/>
              <a:gd name="connsiteY8370" fmla="*/ 6101917 h 7458372"/>
              <a:gd name="connsiteX8371" fmla="*/ 9170374 w 10505529"/>
              <a:gd name="connsiteY8371" fmla="*/ 6093397 h 7458372"/>
              <a:gd name="connsiteX8372" fmla="*/ 8952728 w 10505529"/>
              <a:gd name="connsiteY8372" fmla="*/ 6093397 h 7458372"/>
              <a:gd name="connsiteX8373" fmla="*/ 8964442 w 10505529"/>
              <a:gd name="connsiteY8373" fmla="*/ 6095926 h 7458372"/>
              <a:gd name="connsiteX8374" fmla="*/ 8973760 w 10505529"/>
              <a:gd name="connsiteY8374" fmla="*/ 6102316 h 7458372"/>
              <a:gd name="connsiteX8375" fmla="*/ 8979884 w 10505529"/>
              <a:gd name="connsiteY8375" fmla="*/ 6111634 h 7458372"/>
              <a:gd name="connsiteX8376" fmla="*/ 8982147 w 10505529"/>
              <a:gd name="connsiteY8376" fmla="*/ 6123082 h 7458372"/>
              <a:gd name="connsiteX8377" fmla="*/ 8979884 w 10505529"/>
              <a:gd name="connsiteY8377" fmla="*/ 6134797 h 7458372"/>
              <a:gd name="connsiteX8378" fmla="*/ 8973760 w 10505529"/>
              <a:gd name="connsiteY8378" fmla="*/ 6144116 h 7458372"/>
              <a:gd name="connsiteX8379" fmla="*/ 8964442 w 10505529"/>
              <a:gd name="connsiteY8379" fmla="*/ 6150372 h 7458372"/>
              <a:gd name="connsiteX8380" fmla="*/ 8952728 w 10505529"/>
              <a:gd name="connsiteY8380" fmla="*/ 6152635 h 7458372"/>
              <a:gd name="connsiteX8381" fmla="*/ 8930896 w 10505529"/>
              <a:gd name="connsiteY8381" fmla="*/ 6144116 h 7458372"/>
              <a:gd name="connsiteX8382" fmla="*/ 8922510 w 10505529"/>
              <a:gd name="connsiteY8382" fmla="*/ 6122949 h 7458372"/>
              <a:gd name="connsiteX8383" fmla="*/ 8930896 w 10505529"/>
              <a:gd name="connsiteY8383" fmla="*/ 6101917 h 7458372"/>
              <a:gd name="connsiteX8384" fmla="*/ 8952728 w 10505529"/>
              <a:gd name="connsiteY8384" fmla="*/ 6093397 h 7458372"/>
              <a:gd name="connsiteX8385" fmla="*/ 8735083 w 10505529"/>
              <a:gd name="connsiteY8385" fmla="*/ 6093397 h 7458372"/>
              <a:gd name="connsiteX8386" fmla="*/ 8746797 w 10505529"/>
              <a:gd name="connsiteY8386" fmla="*/ 6095926 h 7458372"/>
              <a:gd name="connsiteX8387" fmla="*/ 8756115 w 10505529"/>
              <a:gd name="connsiteY8387" fmla="*/ 6102316 h 7458372"/>
              <a:gd name="connsiteX8388" fmla="*/ 8762238 w 10505529"/>
              <a:gd name="connsiteY8388" fmla="*/ 6111634 h 7458372"/>
              <a:gd name="connsiteX8389" fmla="*/ 8764502 w 10505529"/>
              <a:gd name="connsiteY8389" fmla="*/ 6123082 h 7458372"/>
              <a:gd name="connsiteX8390" fmla="*/ 8762238 w 10505529"/>
              <a:gd name="connsiteY8390" fmla="*/ 6134797 h 7458372"/>
              <a:gd name="connsiteX8391" fmla="*/ 8756115 w 10505529"/>
              <a:gd name="connsiteY8391" fmla="*/ 6144116 h 7458372"/>
              <a:gd name="connsiteX8392" fmla="*/ 8746797 w 10505529"/>
              <a:gd name="connsiteY8392" fmla="*/ 6150372 h 7458372"/>
              <a:gd name="connsiteX8393" fmla="*/ 8735083 w 10505529"/>
              <a:gd name="connsiteY8393" fmla="*/ 6152635 h 7458372"/>
              <a:gd name="connsiteX8394" fmla="*/ 8713250 w 10505529"/>
              <a:gd name="connsiteY8394" fmla="*/ 6144116 h 7458372"/>
              <a:gd name="connsiteX8395" fmla="*/ 8704864 w 10505529"/>
              <a:gd name="connsiteY8395" fmla="*/ 6122949 h 7458372"/>
              <a:gd name="connsiteX8396" fmla="*/ 8713250 w 10505529"/>
              <a:gd name="connsiteY8396" fmla="*/ 6101917 h 7458372"/>
              <a:gd name="connsiteX8397" fmla="*/ 8735083 w 10505529"/>
              <a:gd name="connsiteY8397" fmla="*/ 6093397 h 7458372"/>
              <a:gd name="connsiteX8398" fmla="*/ 8517438 w 10505529"/>
              <a:gd name="connsiteY8398" fmla="*/ 6093397 h 7458372"/>
              <a:gd name="connsiteX8399" fmla="*/ 8529152 w 10505529"/>
              <a:gd name="connsiteY8399" fmla="*/ 6095926 h 7458372"/>
              <a:gd name="connsiteX8400" fmla="*/ 8538470 w 10505529"/>
              <a:gd name="connsiteY8400" fmla="*/ 6102316 h 7458372"/>
              <a:gd name="connsiteX8401" fmla="*/ 8544594 w 10505529"/>
              <a:gd name="connsiteY8401" fmla="*/ 6111634 h 7458372"/>
              <a:gd name="connsiteX8402" fmla="*/ 8546857 w 10505529"/>
              <a:gd name="connsiteY8402" fmla="*/ 6123082 h 7458372"/>
              <a:gd name="connsiteX8403" fmla="*/ 8544594 w 10505529"/>
              <a:gd name="connsiteY8403" fmla="*/ 6134797 h 7458372"/>
              <a:gd name="connsiteX8404" fmla="*/ 8538470 w 10505529"/>
              <a:gd name="connsiteY8404" fmla="*/ 6144116 h 7458372"/>
              <a:gd name="connsiteX8405" fmla="*/ 8529152 w 10505529"/>
              <a:gd name="connsiteY8405" fmla="*/ 6150372 h 7458372"/>
              <a:gd name="connsiteX8406" fmla="*/ 8517438 w 10505529"/>
              <a:gd name="connsiteY8406" fmla="*/ 6152635 h 7458372"/>
              <a:gd name="connsiteX8407" fmla="*/ 8495606 w 10505529"/>
              <a:gd name="connsiteY8407" fmla="*/ 6144116 h 7458372"/>
              <a:gd name="connsiteX8408" fmla="*/ 8487220 w 10505529"/>
              <a:gd name="connsiteY8408" fmla="*/ 6122949 h 7458372"/>
              <a:gd name="connsiteX8409" fmla="*/ 8495606 w 10505529"/>
              <a:gd name="connsiteY8409" fmla="*/ 6101917 h 7458372"/>
              <a:gd name="connsiteX8410" fmla="*/ 8517438 w 10505529"/>
              <a:gd name="connsiteY8410" fmla="*/ 6093397 h 7458372"/>
              <a:gd name="connsiteX8411" fmla="*/ 8299793 w 10505529"/>
              <a:gd name="connsiteY8411" fmla="*/ 6093397 h 7458372"/>
              <a:gd name="connsiteX8412" fmla="*/ 8311507 w 10505529"/>
              <a:gd name="connsiteY8412" fmla="*/ 6095926 h 7458372"/>
              <a:gd name="connsiteX8413" fmla="*/ 8320825 w 10505529"/>
              <a:gd name="connsiteY8413" fmla="*/ 6102316 h 7458372"/>
              <a:gd name="connsiteX8414" fmla="*/ 8326948 w 10505529"/>
              <a:gd name="connsiteY8414" fmla="*/ 6111634 h 7458372"/>
              <a:gd name="connsiteX8415" fmla="*/ 8329212 w 10505529"/>
              <a:gd name="connsiteY8415" fmla="*/ 6123082 h 7458372"/>
              <a:gd name="connsiteX8416" fmla="*/ 8326948 w 10505529"/>
              <a:gd name="connsiteY8416" fmla="*/ 6134797 h 7458372"/>
              <a:gd name="connsiteX8417" fmla="*/ 8320825 w 10505529"/>
              <a:gd name="connsiteY8417" fmla="*/ 6144116 h 7458372"/>
              <a:gd name="connsiteX8418" fmla="*/ 8311507 w 10505529"/>
              <a:gd name="connsiteY8418" fmla="*/ 6150372 h 7458372"/>
              <a:gd name="connsiteX8419" fmla="*/ 8299793 w 10505529"/>
              <a:gd name="connsiteY8419" fmla="*/ 6152635 h 7458372"/>
              <a:gd name="connsiteX8420" fmla="*/ 8277960 w 10505529"/>
              <a:gd name="connsiteY8420" fmla="*/ 6144116 h 7458372"/>
              <a:gd name="connsiteX8421" fmla="*/ 8269574 w 10505529"/>
              <a:gd name="connsiteY8421" fmla="*/ 6122949 h 7458372"/>
              <a:gd name="connsiteX8422" fmla="*/ 8277960 w 10505529"/>
              <a:gd name="connsiteY8422" fmla="*/ 6101917 h 7458372"/>
              <a:gd name="connsiteX8423" fmla="*/ 8299793 w 10505529"/>
              <a:gd name="connsiteY8423" fmla="*/ 6093397 h 7458372"/>
              <a:gd name="connsiteX8424" fmla="*/ 8082281 w 10505529"/>
              <a:gd name="connsiteY8424" fmla="*/ 6093397 h 7458372"/>
              <a:gd name="connsiteX8425" fmla="*/ 8094127 w 10505529"/>
              <a:gd name="connsiteY8425" fmla="*/ 6095926 h 7458372"/>
              <a:gd name="connsiteX8426" fmla="*/ 8103446 w 10505529"/>
              <a:gd name="connsiteY8426" fmla="*/ 6102316 h 7458372"/>
              <a:gd name="connsiteX8427" fmla="*/ 8109569 w 10505529"/>
              <a:gd name="connsiteY8427" fmla="*/ 6111634 h 7458372"/>
              <a:gd name="connsiteX8428" fmla="*/ 8111832 w 10505529"/>
              <a:gd name="connsiteY8428" fmla="*/ 6123082 h 7458372"/>
              <a:gd name="connsiteX8429" fmla="*/ 8109569 w 10505529"/>
              <a:gd name="connsiteY8429" fmla="*/ 6134797 h 7458372"/>
              <a:gd name="connsiteX8430" fmla="*/ 8103446 w 10505529"/>
              <a:gd name="connsiteY8430" fmla="*/ 6144116 h 7458372"/>
              <a:gd name="connsiteX8431" fmla="*/ 8094127 w 10505529"/>
              <a:gd name="connsiteY8431" fmla="*/ 6150372 h 7458372"/>
              <a:gd name="connsiteX8432" fmla="*/ 8082281 w 10505529"/>
              <a:gd name="connsiteY8432" fmla="*/ 6152635 h 7458372"/>
              <a:gd name="connsiteX8433" fmla="*/ 8060448 w 10505529"/>
              <a:gd name="connsiteY8433" fmla="*/ 6144116 h 7458372"/>
              <a:gd name="connsiteX8434" fmla="*/ 8052062 w 10505529"/>
              <a:gd name="connsiteY8434" fmla="*/ 6122949 h 7458372"/>
              <a:gd name="connsiteX8435" fmla="*/ 8060448 w 10505529"/>
              <a:gd name="connsiteY8435" fmla="*/ 6101917 h 7458372"/>
              <a:gd name="connsiteX8436" fmla="*/ 8082281 w 10505529"/>
              <a:gd name="connsiteY8436" fmla="*/ 6093397 h 7458372"/>
              <a:gd name="connsiteX8437" fmla="*/ 7864636 w 10505529"/>
              <a:gd name="connsiteY8437" fmla="*/ 6093397 h 7458372"/>
              <a:gd name="connsiteX8438" fmla="*/ 7876483 w 10505529"/>
              <a:gd name="connsiteY8438" fmla="*/ 6095926 h 7458372"/>
              <a:gd name="connsiteX8439" fmla="*/ 7885802 w 10505529"/>
              <a:gd name="connsiteY8439" fmla="*/ 6102316 h 7458372"/>
              <a:gd name="connsiteX8440" fmla="*/ 7891924 w 10505529"/>
              <a:gd name="connsiteY8440" fmla="*/ 6111634 h 7458372"/>
              <a:gd name="connsiteX8441" fmla="*/ 7894188 w 10505529"/>
              <a:gd name="connsiteY8441" fmla="*/ 6123082 h 7458372"/>
              <a:gd name="connsiteX8442" fmla="*/ 7891924 w 10505529"/>
              <a:gd name="connsiteY8442" fmla="*/ 6134797 h 7458372"/>
              <a:gd name="connsiteX8443" fmla="*/ 7885802 w 10505529"/>
              <a:gd name="connsiteY8443" fmla="*/ 6144116 h 7458372"/>
              <a:gd name="connsiteX8444" fmla="*/ 7876483 w 10505529"/>
              <a:gd name="connsiteY8444" fmla="*/ 6150372 h 7458372"/>
              <a:gd name="connsiteX8445" fmla="*/ 7864636 w 10505529"/>
              <a:gd name="connsiteY8445" fmla="*/ 6152635 h 7458372"/>
              <a:gd name="connsiteX8446" fmla="*/ 7842803 w 10505529"/>
              <a:gd name="connsiteY8446" fmla="*/ 6144116 h 7458372"/>
              <a:gd name="connsiteX8447" fmla="*/ 7834417 w 10505529"/>
              <a:gd name="connsiteY8447" fmla="*/ 6122949 h 7458372"/>
              <a:gd name="connsiteX8448" fmla="*/ 7842803 w 10505529"/>
              <a:gd name="connsiteY8448" fmla="*/ 6101917 h 7458372"/>
              <a:gd name="connsiteX8449" fmla="*/ 7864636 w 10505529"/>
              <a:gd name="connsiteY8449" fmla="*/ 6093397 h 7458372"/>
              <a:gd name="connsiteX8450" fmla="*/ 7646991 w 10505529"/>
              <a:gd name="connsiteY8450" fmla="*/ 6093397 h 7458372"/>
              <a:gd name="connsiteX8451" fmla="*/ 7658705 w 10505529"/>
              <a:gd name="connsiteY8451" fmla="*/ 6095926 h 7458372"/>
              <a:gd name="connsiteX8452" fmla="*/ 7668022 w 10505529"/>
              <a:gd name="connsiteY8452" fmla="*/ 6102316 h 7458372"/>
              <a:gd name="connsiteX8453" fmla="*/ 7674146 w 10505529"/>
              <a:gd name="connsiteY8453" fmla="*/ 6111634 h 7458372"/>
              <a:gd name="connsiteX8454" fmla="*/ 7676409 w 10505529"/>
              <a:gd name="connsiteY8454" fmla="*/ 6123082 h 7458372"/>
              <a:gd name="connsiteX8455" fmla="*/ 7674146 w 10505529"/>
              <a:gd name="connsiteY8455" fmla="*/ 6134797 h 7458372"/>
              <a:gd name="connsiteX8456" fmla="*/ 7668022 w 10505529"/>
              <a:gd name="connsiteY8456" fmla="*/ 6144116 h 7458372"/>
              <a:gd name="connsiteX8457" fmla="*/ 7658705 w 10505529"/>
              <a:gd name="connsiteY8457" fmla="*/ 6150372 h 7458372"/>
              <a:gd name="connsiteX8458" fmla="*/ 7646991 w 10505529"/>
              <a:gd name="connsiteY8458" fmla="*/ 6152635 h 7458372"/>
              <a:gd name="connsiteX8459" fmla="*/ 7625158 w 10505529"/>
              <a:gd name="connsiteY8459" fmla="*/ 6144116 h 7458372"/>
              <a:gd name="connsiteX8460" fmla="*/ 7616772 w 10505529"/>
              <a:gd name="connsiteY8460" fmla="*/ 6122949 h 7458372"/>
              <a:gd name="connsiteX8461" fmla="*/ 7625158 w 10505529"/>
              <a:gd name="connsiteY8461" fmla="*/ 6101917 h 7458372"/>
              <a:gd name="connsiteX8462" fmla="*/ 7646991 w 10505529"/>
              <a:gd name="connsiteY8462" fmla="*/ 6093397 h 7458372"/>
              <a:gd name="connsiteX8463" fmla="*/ 7429345 w 10505529"/>
              <a:gd name="connsiteY8463" fmla="*/ 6093397 h 7458372"/>
              <a:gd name="connsiteX8464" fmla="*/ 7441059 w 10505529"/>
              <a:gd name="connsiteY8464" fmla="*/ 6095926 h 7458372"/>
              <a:gd name="connsiteX8465" fmla="*/ 7450377 w 10505529"/>
              <a:gd name="connsiteY8465" fmla="*/ 6102316 h 7458372"/>
              <a:gd name="connsiteX8466" fmla="*/ 7456501 w 10505529"/>
              <a:gd name="connsiteY8466" fmla="*/ 6111634 h 7458372"/>
              <a:gd name="connsiteX8467" fmla="*/ 7458764 w 10505529"/>
              <a:gd name="connsiteY8467" fmla="*/ 6123082 h 7458372"/>
              <a:gd name="connsiteX8468" fmla="*/ 7456501 w 10505529"/>
              <a:gd name="connsiteY8468" fmla="*/ 6134797 h 7458372"/>
              <a:gd name="connsiteX8469" fmla="*/ 7450377 w 10505529"/>
              <a:gd name="connsiteY8469" fmla="*/ 6144116 h 7458372"/>
              <a:gd name="connsiteX8470" fmla="*/ 7441059 w 10505529"/>
              <a:gd name="connsiteY8470" fmla="*/ 6150372 h 7458372"/>
              <a:gd name="connsiteX8471" fmla="*/ 7429345 w 10505529"/>
              <a:gd name="connsiteY8471" fmla="*/ 6152635 h 7458372"/>
              <a:gd name="connsiteX8472" fmla="*/ 7407513 w 10505529"/>
              <a:gd name="connsiteY8472" fmla="*/ 6144116 h 7458372"/>
              <a:gd name="connsiteX8473" fmla="*/ 7399127 w 10505529"/>
              <a:gd name="connsiteY8473" fmla="*/ 6122949 h 7458372"/>
              <a:gd name="connsiteX8474" fmla="*/ 7407513 w 10505529"/>
              <a:gd name="connsiteY8474" fmla="*/ 6101917 h 7458372"/>
              <a:gd name="connsiteX8475" fmla="*/ 7429345 w 10505529"/>
              <a:gd name="connsiteY8475" fmla="*/ 6093397 h 7458372"/>
              <a:gd name="connsiteX8476" fmla="*/ 7211701 w 10505529"/>
              <a:gd name="connsiteY8476" fmla="*/ 6093397 h 7458372"/>
              <a:gd name="connsiteX8477" fmla="*/ 7223415 w 10505529"/>
              <a:gd name="connsiteY8477" fmla="*/ 6095926 h 7458372"/>
              <a:gd name="connsiteX8478" fmla="*/ 7232733 w 10505529"/>
              <a:gd name="connsiteY8478" fmla="*/ 6102316 h 7458372"/>
              <a:gd name="connsiteX8479" fmla="*/ 7238856 w 10505529"/>
              <a:gd name="connsiteY8479" fmla="*/ 6111634 h 7458372"/>
              <a:gd name="connsiteX8480" fmla="*/ 7241120 w 10505529"/>
              <a:gd name="connsiteY8480" fmla="*/ 6123082 h 7458372"/>
              <a:gd name="connsiteX8481" fmla="*/ 7238856 w 10505529"/>
              <a:gd name="connsiteY8481" fmla="*/ 6134797 h 7458372"/>
              <a:gd name="connsiteX8482" fmla="*/ 7232733 w 10505529"/>
              <a:gd name="connsiteY8482" fmla="*/ 6144116 h 7458372"/>
              <a:gd name="connsiteX8483" fmla="*/ 7223415 w 10505529"/>
              <a:gd name="connsiteY8483" fmla="*/ 6150372 h 7458372"/>
              <a:gd name="connsiteX8484" fmla="*/ 7211701 w 10505529"/>
              <a:gd name="connsiteY8484" fmla="*/ 6152635 h 7458372"/>
              <a:gd name="connsiteX8485" fmla="*/ 7189868 w 10505529"/>
              <a:gd name="connsiteY8485" fmla="*/ 6144116 h 7458372"/>
              <a:gd name="connsiteX8486" fmla="*/ 7181482 w 10505529"/>
              <a:gd name="connsiteY8486" fmla="*/ 6122949 h 7458372"/>
              <a:gd name="connsiteX8487" fmla="*/ 7189868 w 10505529"/>
              <a:gd name="connsiteY8487" fmla="*/ 6101917 h 7458372"/>
              <a:gd name="connsiteX8488" fmla="*/ 7211701 w 10505529"/>
              <a:gd name="connsiteY8488" fmla="*/ 6093397 h 7458372"/>
              <a:gd name="connsiteX8489" fmla="*/ 6994056 w 10505529"/>
              <a:gd name="connsiteY8489" fmla="*/ 6093397 h 7458372"/>
              <a:gd name="connsiteX8490" fmla="*/ 7005769 w 10505529"/>
              <a:gd name="connsiteY8490" fmla="*/ 6095926 h 7458372"/>
              <a:gd name="connsiteX8491" fmla="*/ 7015087 w 10505529"/>
              <a:gd name="connsiteY8491" fmla="*/ 6102316 h 7458372"/>
              <a:gd name="connsiteX8492" fmla="*/ 7021211 w 10505529"/>
              <a:gd name="connsiteY8492" fmla="*/ 6111634 h 7458372"/>
              <a:gd name="connsiteX8493" fmla="*/ 7023474 w 10505529"/>
              <a:gd name="connsiteY8493" fmla="*/ 6123082 h 7458372"/>
              <a:gd name="connsiteX8494" fmla="*/ 7021211 w 10505529"/>
              <a:gd name="connsiteY8494" fmla="*/ 6134797 h 7458372"/>
              <a:gd name="connsiteX8495" fmla="*/ 7015087 w 10505529"/>
              <a:gd name="connsiteY8495" fmla="*/ 6144116 h 7458372"/>
              <a:gd name="connsiteX8496" fmla="*/ 7005769 w 10505529"/>
              <a:gd name="connsiteY8496" fmla="*/ 6150372 h 7458372"/>
              <a:gd name="connsiteX8497" fmla="*/ 6994056 w 10505529"/>
              <a:gd name="connsiteY8497" fmla="*/ 6152635 h 7458372"/>
              <a:gd name="connsiteX8498" fmla="*/ 6972223 w 10505529"/>
              <a:gd name="connsiteY8498" fmla="*/ 6144116 h 7458372"/>
              <a:gd name="connsiteX8499" fmla="*/ 6963837 w 10505529"/>
              <a:gd name="connsiteY8499" fmla="*/ 6122949 h 7458372"/>
              <a:gd name="connsiteX8500" fmla="*/ 6972223 w 10505529"/>
              <a:gd name="connsiteY8500" fmla="*/ 6101917 h 7458372"/>
              <a:gd name="connsiteX8501" fmla="*/ 6994056 w 10505529"/>
              <a:gd name="connsiteY8501" fmla="*/ 6093397 h 7458372"/>
              <a:gd name="connsiteX8502" fmla="*/ 6776544 w 10505529"/>
              <a:gd name="connsiteY8502" fmla="*/ 6093397 h 7458372"/>
              <a:gd name="connsiteX8503" fmla="*/ 6788258 w 10505529"/>
              <a:gd name="connsiteY8503" fmla="*/ 6095926 h 7458372"/>
              <a:gd name="connsiteX8504" fmla="*/ 6797576 w 10505529"/>
              <a:gd name="connsiteY8504" fmla="*/ 6102316 h 7458372"/>
              <a:gd name="connsiteX8505" fmla="*/ 6803699 w 10505529"/>
              <a:gd name="connsiteY8505" fmla="*/ 6111634 h 7458372"/>
              <a:gd name="connsiteX8506" fmla="*/ 6805963 w 10505529"/>
              <a:gd name="connsiteY8506" fmla="*/ 6123082 h 7458372"/>
              <a:gd name="connsiteX8507" fmla="*/ 6803699 w 10505529"/>
              <a:gd name="connsiteY8507" fmla="*/ 6134797 h 7458372"/>
              <a:gd name="connsiteX8508" fmla="*/ 6797576 w 10505529"/>
              <a:gd name="connsiteY8508" fmla="*/ 6144116 h 7458372"/>
              <a:gd name="connsiteX8509" fmla="*/ 6788258 w 10505529"/>
              <a:gd name="connsiteY8509" fmla="*/ 6150372 h 7458372"/>
              <a:gd name="connsiteX8510" fmla="*/ 6776544 w 10505529"/>
              <a:gd name="connsiteY8510" fmla="*/ 6152635 h 7458372"/>
              <a:gd name="connsiteX8511" fmla="*/ 6754711 w 10505529"/>
              <a:gd name="connsiteY8511" fmla="*/ 6144116 h 7458372"/>
              <a:gd name="connsiteX8512" fmla="*/ 6746325 w 10505529"/>
              <a:gd name="connsiteY8512" fmla="*/ 6122949 h 7458372"/>
              <a:gd name="connsiteX8513" fmla="*/ 6754711 w 10505529"/>
              <a:gd name="connsiteY8513" fmla="*/ 6101917 h 7458372"/>
              <a:gd name="connsiteX8514" fmla="*/ 6776544 w 10505529"/>
              <a:gd name="connsiteY8514" fmla="*/ 6093397 h 7458372"/>
              <a:gd name="connsiteX8515" fmla="*/ 6558899 w 10505529"/>
              <a:gd name="connsiteY8515" fmla="*/ 6093397 h 7458372"/>
              <a:gd name="connsiteX8516" fmla="*/ 6570612 w 10505529"/>
              <a:gd name="connsiteY8516" fmla="*/ 6095926 h 7458372"/>
              <a:gd name="connsiteX8517" fmla="*/ 6579930 w 10505529"/>
              <a:gd name="connsiteY8517" fmla="*/ 6102316 h 7458372"/>
              <a:gd name="connsiteX8518" fmla="*/ 6586054 w 10505529"/>
              <a:gd name="connsiteY8518" fmla="*/ 6111634 h 7458372"/>
              <a:gd name="connsiteX8519" fmla="*/ 6588317 w 10505529"/>
              <a:gd name="connsiteY8519" fmla="*/ 6123082 h 7458372"/>
              <a:gd name="connsiteX8520" fmla="*/ 6586054 w 10505529"/>
              <a:gd name="connsiteY8520" fmla="*/ 6134797 h 7458372"/>
              <a:gd name="connsiteX8521" fmla="*/ 6579930 w 10505529"/>
              <a:gd name="connsiteY8521" fmla="*/ 6144116 h 7458372"/>
              <a:gd name="connsiteX8522" fmla="*/ 6570612 w 10505529"/>
              <a:gd name="connsiteY8522" fmla="*/ 6150372 h 7458372"/>
              <a:gd name="connsiteX8523" fmla="*/ 6558899 w 10505529"/>
              <a:gd name="connsiteY8523" fmla="*/ 6152635 h 7458372"/>
              <a:gd name="connsiteX8524" fmla="*/ 6537066 w 10505529"/>
              <a:gd name="connsiteY8524" fmla="*/ 6144116 h 7458372"/>
              <a:gd name="connsiteX8525" fmla="*/ 6528680 w 10505529"/>
              <a:gd name="connsiteY8525" fmla="*/ 6122949 h 7458372"/>
              <a:gd name="connsiteX8526" fmla="*/ 6537066 w 10505529"/>
              <a:gd name="connsiteY8526" fmla="*/ 6101917 h 7458372"/>
              <a:gd name="connsiteX8527" fmla="*/ 6558899 w 10505529"/>
              <a:gd name="connsiteY8527" fmla="*/ 6093397 h 7458372"/>
              <a:gd name="connsiteX8528" fmla="*/ 6341253 w 10505529"/>
              <a:gd name="connsiteY8528" fmla="*/ 6093397 h 7458372"/>
              <a:gd name="connsiteX8529" fmla="*/ 6352968 w 10505529"/>
              <a:gd name="connsiteY8529" fmla="*/ 6095926 h 7458372"/>
              <a:gd name="connsiteX8530" fmla="*/ 6362286 w 10505529"/>
              <a:gd name="connsiteY8530" fmla="*/ 6102316 h 7458372"/>
              <a:gd name="connsiteX8531" fmla="*/ 6368409 w 10505529"/>
              <a:gd name="connsiteY8531" fmla="*/ 6111634 h 7458372"/>
              <a:gd name="connsiteX8532" fmla="*/ 6370672 w 10505529"/>
              <a:gd name="connsiteY8532" fmla="*/ 6123082 h 7458372"/>
              <a:gd name="connsiteX8533" fmla="*/ 6368409 w 10505529"/>
              <a:gd name="connsiteY8533" fmla="*/ 6134797 h 7458372"/>
              <a:gd name="connsiteX8534" fmla="*/ 6362286 w 10505529"/>
              <a:gd name="connsiteY8534" fmla="*/ 6144116 h 7458372"/>
              <a:gd name="connsiteX8535" fmla="*/ 6352968 w 10505529"/>
              <a:gd name="connsiteY8535" fmla="*/ 6150372 h 7458372"/>
              <a:gd name="connsiteX8536" fmla="*/ 6341253 w 10505529"/>
              <a:gd name="connsiteY8536" fmla="*/ 6152635 h 7458372"/>
              <a:gd name="connsiteX8537" fmla="*/ 6319421 w 10505529"/>
              <a:gd name="connsiteY8537" fmla="*/ 6144116 h 7458372"/>
              <a:gd name="connsiteX8538" fmla="*/ 6311035 w 10505529"/>
              <a:gd name="connsiteY8538" fmla="*/ 6122949 h 7458372"/>
              <a:gd name="connsiteX8539" fmla="*/ 6319421 w 10505529"/>
              <a:gd name="connsiteY8539" fmla="*/ 6101917 h 7458372"/>
              <a:gd name="connsiteX8540" fmla="*/ 6341253 w 10505529"/>
              <a:gd name="connsiteY8540" fmla="*/ 6093397 h 7458372"/>
              <a:gd name="connsiteX8541" fmla="*/ 6123608 w 10505529"/>
              <a:gd name="connsiteY8541" fmla="*/ 6093397 h 7458372"/>
              <a:gd name="connsiteX8542" fmla="*/ 6135322 w 10505529"/>
              <a:gd name="connsiteY8542" fmla="*/ 6095926 h 7458372"/>
              <a:gd name="connsiteX8543" fmla="*/ 6144640 w 10505529"/>
              <a:gd name="connsiteY8543" fmla="*/ 6102316 h 7458372"/>
              <a:gd name="connsiteX8544" fmla="*/ 6150763 w 10505529"/>
              <a:gd name="connsiteY8544" fmla="*/ 6111634 h 7458372"/>
              <a:gd name="connsiteX8545" fmla="*/ 6153026 w 10505529"/>
              <a:gd name="connsiteY8545" fmla="*/ 6123082 h 7458372"/>
              <a:gd name="connsiteX8546" fmla="*/ 6150763 w 10505529"/>
              <a:gd name="connsiteY8546" fmla="*/ 6134797 h 7458372"/>
              <a:gd name="connsiteX8547" fmla="*/ 6144640 w 10505529"/>
              <a:gd name="connsiteY8547" fmla="*/ 6144116 h 7458372"/>
              <a:gd name="connsiteX8548" fmla="*/ 6135322 w 10505529"/>
              <a:gd name="connsiteY8548" fmla="*/ 6150372 h 7458372"/>
              <a:gd name="connsiteX8549" fmla="*/ 6123608 w 10505529"/>
              <a:gd name="connsiteY8549" fmla="*/ 6152635 h 7458372"/>
              <a:gd name="connsiteX8550" fmla="*/ 6101775 w 10505529"/>
              <a:gd name="connsiteY8550" fmla="*/ 6144116 h 7458372"/>
              <a:gd name="connsiteX8551" fmla="*/ 6093389 w 10505529"/>
              <a:gd name="connsiteY8551" fmla="*/ 6122949 h 7458372"/>
              <a:gd name="connsiteX8552" fmla="*/ 6101775 w 10505529"/>
              <a:gd name="connsiteY8552" fmla="*/ 6101917 h 7458372"/>
              <a:gd name="connsiteX8553" fmla="*/ 6123608 w 10505529"/>
              <a:gd name="connsiteY8553" fmla="*/ 6093397 h 7458372"/>
              <a:gd name="connsiteX8554" fmla="*/ 5905963 w 10505529"/>
              <a:gd name="connsiteY8554" fmla="*/ 6093397 h 7458372"/>
              <a:gd name="connsiteX8555" fmla="*/ 5917677 w 10505529"/>
              <a:gd name="connsiteY8555" fmla="*/ 6095926 h 7458372"/>
              <a:gd name="connsiteX8556" fmla="*/ 5926995 w 10505529"/>
              <a:gd name="connsiteY8556" fmla="*/ 6102316 h 7458372"/>
              <a:gd name="connsiteX8557" fmla="*/ 5933118 w 10505529"/>
              <a:gd name="connsiteY8557" fmla="*/ 6111634 h 7458372"/>
              <a:gd name="connsiteX8558" fmla="*/ 5935381 w 10505529"/>
              <a:gd name="connsiteY8558" fmla="*/ 6123082 h 7458372"/>
              <a:gd name="connsiteX8559" fmla="*/ 5933118 w 10505529"/>
              <a:gd name="connsiteY8559" fmla="*/ 6134797 h 7458372"/>
              <a:gd name="connsiteX8560" fmla="*/ 5926995 w 10505529"/>
              <a:gd name="connsiteY8560" fmla="*/ 6144116 h 7458372"/>
              <a:gd name="connsiteX8561" fmla="*/ 5917677 w 10505529"/>
              <a:gd name="connsiteY8561" fmla="*/ 6150372 h 7458372"/>
              <a:gd name="connsiteX8562" fmla="*/ 5905963 w 10505529"/>
              <a:gd name="connsiteY8562" fmla="*/ 6152635 h 7458372"/>
              <a:gd name="connsiteX8563" fmla="*/ 5884130 w 10505529"/>
              <a:gd name="connsiteY8563" fmla="*/ 6144116 h 7458372"/>
              <a:gd name="connsiteX8564" fmla="*/ 5875744 w 10505529"/>
              <a:gd name="connsiteY8564" fmla="*/ 6122949 h 7458372"/>
              <a:gd name="connsiteX8565" fmla="*/ 5884130 w 10505529"/>
              <a:gd name="connsiteY8565" fmla="*/ 6101917 h 7458372"/>
              <a:gd name="connsiteX8566" fmla="*/ 5905963 w 10505529"/>
              <a:gd name="connsiteY8566" fmla="*/ 6093397 h 7458372"/>
              <a:gd name="connsiteX8567" fmla="*/ 5688451 w 10505529"/>
              <a:gd name="connsiteY8567" fmla="*/ 6093397 h 7458372"/>
              <a:gd name="connsiteX8568" fmla="*/ 5700165 w 10505529"/>
              <a:gd name="connsiteY8568" fmla="*/ 6095926 h 7458372"/>
              <a:gd name="connsiteX8569" fmla="*/ 5709483 w 10505529"/>
              <a:gd name="connsiteY8569" fmla="*/ 6102316 h 7458372"/>
              <a:gd name="connsiteX8570" fmla="*/ 5715606 w 10505529"/>
              <a:gd name="connsiteY8570" fmla="*/ 6111634 h 7458372"/>
              <a:gd name="connsiteX8571" fmla="*/ 5717869 w 10505529"/>
              <a:gd name="connsiteY8571" fmla="*/ 6123082 h 7458372"/>
              <a:gd name="connsiteX8572" fmla="*/ 5715606 w 10505529"/>
              <a:gd name="connsiteY8572" fmla="*/ 6134797 h 7458372"/>
              <a:gd name="connsiteX8573" fmla="*/ 5709483 w 10505529"/>
              <a:gd name="connsiteY8573" fmla="*/ 6144116 h 7458372"/>
              <a:gd name="connsiteX8574" fmla="*/ 5700165 w 10505529"/>
              <a:gd name="connsiteY8574" fmla="*/ 6150372 h 7458372"/>
              <a:gd name="connsiteX8575" fmla="*/ 5688451 w 10505529"/>
              <a:gd name="connsiteY8575" fmla="*/ 6152635 h 7458372"/>
              <a:gd name="connsiteX8576" fmla="*/ 5666618 w 10505529"/>
              <a:gd name="connsiteY8576" fmla="*/ 6144116 h 7458372"/>
              <a:gd name="connsiteX8577" fmla="*/ 5658232 w 10505529"/>
              <a:gd name="connsiteY8577" fmla="*/ 6122949 h 7458372"/>
              <a:gd name="connsiteX8578" fmla="*/ 5666618 w 10505529"/>
              <a:gd name="connsiteY8578" fmla="*/ 6101917 h 7458372"/>
              <a:gd name="connsiteX8579" fmla="*/ 5688451 w 10505529"/>
              <a:gd name="connsiteY8579" fmla="*/ 6093397 h 7458372"/>
              <a:gd name="connsiteX8580" fmla="*/ 5470806 w 10505529"/>
              <a:gd name="connsiteY8580" fmla="*/ 6093397 h 7458372"/>
              <a:gd name="connsiteX8581" fmla="*/ 5482520 w 10505529"/>
              <a:gd name="connsiteY8581" fmla="*/ 6095926 h 7458372"/>
              <a:gd name="connsiteX8582" fmla="*/ 5491838 w 10505529"/>
              <a:gd name="connsiteY8582" fmla="*/ 6102316 h 7458372"/>
              <a:gd name="connsiteX8583" fmla="*/ 5497961 w 10505529"/>
              <a:gd name="connsiteY8583" fmla="*/ 6111634 h 7458372"/>
              <a:gd name="connsiteX8584" fmla="*/ 5500224 w 10505529"/>
              <a:gd name="connsiteY8584" fmla="*/ 6123082 h 7458372"/>
              <a:gd name="connsiteX8585" fmla="*/ 5497961 w 10505529"/>
              <a:gd name="connsiteY8585" fmla="*/ 6134797 h 7458372"/>
              <a:gd name="connsiteX8586" fmla="*/ 5491838 w 10505529"/>
              <a:gd name="connsiteY8586" fmla="*/ 6144116 h 7458372"/>
              <a:gd name="connsiteX8587" fmla="*/ 5482520 w 10505529"/>
              <a:gd name="connsiteY8587" fmla="*/ 6150372 h 7458372"/>
              <a:gd name="connsiteX8588" fmla="*/ 5470806 w 10505529"/>
              <a:gd name="connsiteY8588" fmla="*/ 6152635 h 7458372"/>
              <a:gd name="connsiteX8589" fmla="*/ 5448973 w 10505529"/>
              <a:gd name="connsiteY8589" fmla="*/ 6144116 h 7458372"/>
              <a:gd name="connsiteX8590" fmla="*/ 5440587 w 10505529"/>
              <a:gd name="connsiteY8590" fmla="*/ 6122949 h 7458372"/>
              <a:gd name="connsiteX8591" fmla="*/ 5448973 w 10505529"/>
              <a:gd name="connsiteY8591" fmla="*/ 6101917 h 7458372"/>
              <a:gd name="connsiteX8592" fmla="*/ 5470806 w 10505529"/>
              <a:gd name="connsiteY8592" fmla="*/ 6093397 h 7458372"/>
              <a:gd name="connsiteX8593" fmla="*/ 5253160 w 10505529"/>
              <a:gd name="connsiteY8593" fmla="*/ 6093397 h 7458372"/>
              <a:gd name="connsiteX8594" fmla="*/ 5264875 w 10505529"/>
              <a:gd name="connsiteY8594" fmla="*/ 6095926 h 7458372"/>
              <a:gd name="connsiteX8595" fmla="*/ 5274192 w 10505529"/>
              <a:gd name="connsiteY8595" fmla="*/ 6102316 h 7458372"/>
              <a:gd name="connsiteX8596" fmla="*/ 5280316 w 10505529"/>
              <a:gd name="connsiteY8596" fmla="*/ 6111634 h 7458372"/>
              <a:gd name="connsiteX8597" fmla="*/ 5282579 w 10505529"/>
              <a:gd name="connsiteY8597" fmla="*/ 6123082 h 7458372"/>
              <a:gd name="connsiteX8598" fmla="*/ 5280316 w 10505529"/>
              <a:gd name="connsiteY8598" fmla="*/ 6134797 h 7458372"/>
              <a:gd name="connsiteX8599" fmla="*/ 5274192 w 10505529"/>
              <a:gd name="connsiteY8599" fmla="*/ 6144116 h 7458372"/>
              <a:gd name="connsiteX8600" fmla="*/ 5264875 w 10505529"/>
              <a:gd name="connsiteY8600" fmla="*/ 6150372 h 7458372"/>
              <a:gd name="connsiteX8601" fmla="*/ 5253160 w 10505529"/>
              <a:gd name="connsiteY8601" fmla="*/ 6152635 h 7458372"/>
              <a:gd name="connsiteX8602" fmla="*/ 5231328 w 10505529"/>
              <a:gd name="connsiteY8602" fmla="*/ 6144116 h 7458372"/>
              <a:gd name="connsiteX8603" fmla="*/ 5222942 w 10505529"/>
              <a:gd name="connsiteY8603" fmla="*/ 6122949 h 7458372"/>
              <a:gd name="connsiteX8604" fmla="*/ 5231328 w 10505529"/>
              <a:gd name="connsiteY8604" fmla="*/ 6101917 h 7458372"/>
              <a:gd name="connsiteX8605" fmla="*/ 5253160 w 10505529"/>
              <a:gd name="connsiteY8605" fmla="*/ 6093397 h 7458372"/>
              <a:gd name="connsiteX8606" fmla="*/ 5035515 w 10505529"/>
              <a:gd name="connsiteY8606" fmla="*/ 6093397 h 7458372"/>
              <a:gd name="connsiteX8607" fmla="*/ 5047230 w 10505529"/>
              <a:gd name="connsiteY8607" fmla="*/ 6095926 h 7458372"/>
              <a:gd name="connsiteX8608" fmla="*/ 5056548 w 10505529"/>
              <a:gd name="connsiteY8608" fmla="*/ 6102316 h 7458372"/>
              <a:gd name="connsiteX8609" fmla="*/ 5062671 w 10505529"/>
              <a:gd name="connsiteY8609" fmla="*/ 6111634 h 7458372"/>
              <a:gd name="connsiteX8610" fmla="*/ 5064934 w 10505529"/>
              <a:gd name="connsiteY8610" fmla="*/ 6123082 h 7458372"/>
              <a:gd name="connsiteX8611" fmla="*/ 5062671 w 10505529"/>
              <a:gd name="connsiteY8611" fmla="*/ 6134797 h 7458372"/>
              <a:gd name="connsiteX8612" fmla="*/ 5056548 w 10505529"/>
              <a:gd name="connsiteY8612" fmla="*/ 6144116 h 7458372"/>
              <a:gd name="connsiteX8613" fmla="*/ 5047230 w 10505529"/>
              <a:gd name="connsiteY8613" fmla="*/ 6150372 h 7458372"/>
              <a:gd name="connsiteX8614" fmla="*/ 5035515 w 10505529"/>
              <a:gd name="connsiteY8614" fmla="*/ 6152635 h 7458372"/>
              <a:gd name="connsiteX8615" fmla="*/ 5013683 w 10505529"/>
              <a:gd name="connsiteY8615" fmla="*/ 6144116 h 7458372"/>
              <a:gd name="connsiteX8616" fmla="*/ 5005297 w 10505529"/>
              <a:gd name="connsiteY8616" fmla="*/ 6122949 h 7458372"/>
              <a:gd name="connsiteX8617" fmla="*/ 5013683 w 10505529"/>
              <a:gd name="connsiteY8617" fmla="*/ 6101917 h 7458372"/>
              <a:gd name="connsiteX8618" fmla="*/ 5035515 w 10505529"/>
              <a:gd name="connsiteY8618" fmla="*/ 6093397 h 7458372"/>
              <a:gd name="connsiteX8619" fmla="*/ 4817870 w 10505529"/>
              <a:gd name="connsiteY8619" fmla="*/ 6093397 h 7458372"/>
              <a:gd name="connsiteX8620" fmla="*/ 4829585 w 10505529"/>
              <a:gd name="connsiteY8620" fmla="*/ 6095926 h 7458372"/>
              <a:gd name="connsiteX8621" fmla="*/ 4838903 w 10505529"/>
              <a:gd name="connsiteY8621" fmla="*/ 6102316 h 7458372"/>
              <a:gd name="connsiteX8622" fmla="*/ 4845026 w 10505529"/>
              <a:gd name="connsiteY8622" fmla="*/ 6111634 h 7458372"/>
              <a:gd name="connsiteX8623" fmla="*/ 4847289 w 10505529"/>
              <a:gd name="connsiteY8623" fmla="*/ 6123082 h 7458372"/>
              <a:gd name="connsiteX8624" fmla="*/ 4845026 w 10505529"/>
              <a:gd name="connsiteY8624" fmla="*/ 6134797 h 7458372"/>
              <a:gd name="connsiteX8625" fmla="*/ 4838903 w 10505529"/>
              <a:gd name="connsiteY8625" fmla="*/ 6144116 h 7458372"/>
              <a:gd name="connsiteX8626" fmla="*/ 4829585 w 10505529"/>
              <a:gd name="connsiteY8626" fmla="*/ 6150372 h 7458372"/>
              <a:gd name="connsiteX8627" fmla="*/ 4817870 w 10505529"/>
              <a:gd name="connsiteY8627" fmla="*/ 6152635 h 7458372"/>
              <a:gd name="connsiteX8628" fmla="*/ 4796038 w 10505529"/>
              <a:gd name="connsiteY8628" fmla="*/ 6144116 h 7458372"/>
              <a:gd name="connsiteX8629" fmla="*/ 4787652 w 10505529"/>
              <a:gd name="connsiteY8629" fmla="*/ 6122949 h 7458372"/>
              <a:gd name="connsiteX8630" fmla="*/ 4796038 w 10505529"/>
              <a:gd name="connsiteY8630" fmla="*/ 6101917 h 7458372"/>
              <a:gd name="connsiteX8631" fmla="*/ 4817870 w 10505529"/>
              <a:gd name="connsiteY8631" fmla="*/ 6093397 h 7458372"/>
              <a:gd name="connsiteX8632" fmla="*/ 4600226 w 10505529"/>
              <a:gd name="connsiteY8632" fmla="*/ 6093397 h 7458372"/>
              <a:gd name="connsiteX8633" fmla="*/ 4612073 w 10505529"/>
              <a:gd name="connsiteY8633" fmla="*/ 6095926 h 7458372"/>
              <a:gd name="connsiteX8634" fmla="*/ 4621391 w 10505529"/>
              <a:gd name="connsiteY8634" fmla="*/ 6102316 h 7458372"/>
              <a:gd name="connsiteX8635" fmla="*/ 4627514 w 10505529"/>
              <a:gd name="connsiteY8635" fmla="*/ 6111634 h 7458372"/>
              <a:gd name="connsiteX8636" fmla="*/ 4629777 w 10505529"/>
              <a:gd name="connsiteY8636" fmla="*/ 6123082 h 7458372"/>
              <a:gd name="connsiteX8637" fmla="*/ 4627514 w 10505529"/>
              <a:gd name="connsiteY8637" fmla="*/ 6134797 h 7458372"/>
              <a:gd name="connsiteX8638" fmla="*/ 4621391 w 10505529"/>
              <a:gd name="connsiteY8638" fmla="*/ 6144116 h 7458372"/>
              <a:gd name="connsiteX8639" fmla="*/ 4612073 w 10505529"/>
              <a:gd name="connsiteY8639" fmla="*/ 6150372 h 7458372"/>
              <a:gd name="connsiteX8640" fmla="*/ 4600226 w 10505529"/>
              <a:gd name="connsiteY8640" fmla="*/ 6152635 h 7458372"/>
              <a:gd name="connsiteX8641" fmla="*/ 4578393 w 10505529"/>
              <a:gd name="connsiteY8641" fmla="*/ 6144116 h 7458372"/>
              <a:gd name="connsiteX8642" fmla="*/ 4570007 w 10505529"/>
              <a:gd name="connsiteY8642" fmla="*/ 6122949 h 7458372"/>
              <a:gd name="connsiteX8643" fmla="*/ 4578393 w 10505529"/>
              <a:gd name="connsiteY8643" fmla="*/ 6101917 h 7458372"/>
              <a:gd name="connsiteX8644" fmla="*/ 4600226 w 10505529"/>
              <a:gd name="connsiteY8644" fmla="*/ 6093397 h 7458372"/>
              <a:gd name="connsiteX8645" fmla="*/ 4382713 w 10505529"/>
              <a:gd name="connsiteY8645" fmla="*/ 6093397 h 7458372"/>
              <a:gd name="connsiteX8646" fmla="*/ 4394428 w 10505529"/>
              <a:gd name="connsiteY8646" fmla="*/ 6095926 h 7458372"/>
              <a:gd name="connsiteX8647" fmla="*/ 4403746 w 10505529"/>
              <a:gd name="connsiteY8647" fmla="*/ 6102316 h 7458372"/>
              <a:gd name="connsiteX8648" fmla="*/ 4409869 w 10505529"/>
              <a:gd name="connsiteY8648" fmla="*/ 6111634 h 7458372"/>
              <a:gd name="connsiteX8649" fmla="*/ 4412132 w 10505529"/>
              <a:gd name="connsiteY8649" fmla="*/ 6123082 h 7458372"/>
              <a:gd name="connsiteX8650" fmla="*/ 4409869 w 10505529"/>
              <a:gd name="connsiteY8650" fmla="*/ 6134797 h 7458372"/>
              <a:gd name="connsiteX8651" fmla="*/ 4403746 w 10505529"/>
              <a:gd name="connsiteY8651" fmla="*/ 6144116 h 7458372"/>
              <a:gd name="connsiteX8652" fmla="*/ 4394428 w 10505529"/>
              <a:gd name="connsiteY8652" fmla="*/ 6150372 h 7458372"/>
              <a:gd name="connsiteX8653" fmla="*/ 4382713 w 10505529"/>
              <a:gd name="connsiteY8653" fmla="*/ 6152635 h 7458372"/>
              <a:gd name="connsiteX8654" fmla="*/ 4360881 w 10505529"/>
              <a:gd name="connsiteY8654" fmla="*/ 6144116 h 7458372"/>
              <a:gd name="connsiteX8655" fmla="*/ 4352495 w 10505529"/>
              <a:gd name="connsiteY8655" fmla="*/ 6122949 h 7458372"/>
              <a:gd name="connsiteX8656" fmla="*/ 4360881 w 10505529"/>
              <a:gd name="connsiteY8656" fmla="*/ 6101917 h 7458372"/>
              <a:gd name="connsiteX8657" fmla="*/ 4382713 w 10505529"/>
              <a:gd name="connsiteY8657" fmla="*/ 6093397 h 7458372"/>
              <a:gd name="connsiteX8658" fmla="*/ 4165068 w 10505529"/>
              <a:gd name="connsiteY8658" fmla="*/ 6093397 h 7458372"/>
              <a:gd name="connsiteX8659" fmla="*/ 4176782 w 10505529"/>
              <a:gd name="connsiteY8659" fmla="*/ 6095926 h 7458372"/>
              <a:gd name="connsiteX8660" fmla="*/ 4186100 w 10505529"/>
              <a:gd name="connsiteY8660" fmla="*/ 6102316 h 7458372"/>
              <a:gd name="connsiteX8661" fmla="*/ 4192223 w 10505529"/>
              <a:gd name="connsiteY8661" fmla="*/ 6111634 h 7458372"/>
              <a:gd name="connsiteX8662" fmla="*/ 4194486 w 10505529"/>
              <a:gd name="connsiteY8662" fmla="*/ 6123082 h 7458372"/>
              <a:gd name="connsiteX8663" fmla="*/ 4192223 w 10505529"/>
              <a:gd name="connsiteY8663" fmla="*/ 6134797 h 7458372"/>
              <a:gd name="connsiteX8664" fmla="*/ 4186100 w 10505529"/>
              <a:gd name="connsiteY8664" fmla="*/ 6144116 h 7458372"/>
              <a:gd name="connsiteX8665" fmla="*/ 4176782 w 10505529"/>
              <a:gd name="connsiteY8665" fmla="*/ 6150372 h 7458372"/>
              <a:gd name="connsiteX8666" fmla="*/ 4165068 w 10505529"/>
              <a:gd name="connsiteY8666" fmla="*/ 6152635 h 7458372"/>
              <a:gd name="connsiteX8667" fmla="*/ 4143235 w 10505529"/>
              <a:gd name="connsiteY8667" fmla="*/ 6144116 h 7458372"/>
              <a:gd name="connsiteX8668" fmla="*/ 4134849 w 10505529"/>
              <a:gd name="connsiteY8668" fmla="*/ 6122949 h 7458372"/>
              <a:gd name="connsiteX8669" fmla="*/ 4143235 w 10505529"/>
              <a:gd name="connsiteY8669" fmla="*/ 6101917 h 7458372"/>
              <a:gd name="connsiteX8670" fmla="*/ 4165068 w 10505529"/>
              <a:gd name="connsiteY8670" fmla="*/ 6093397 h 7458372"/>
              <a:gd name="connsiteX8671" fmla="*/ 3947756 w 10505529"/>
              <a:gd name="connsiteY8671" fmla="*/ 6093397 h 7458372"/>
              <a:gd name="connsiteX8672" fmla="*/ 3959474 w 10505529"/>
              <a:gd name="connsiteY8672" fmla="*/ 6095926 h 7458372"/>
              <a:gd name="connsiteX8673" fmla="*/ 3968792 w 10505529"/>
              <a:gd name="connsiteY8673" fmla="*/ 6102316 h 7458372"/>
              <a:gd name="connsiteX8674" fmla="*/ 3974916 w 10505529"/>
              <a:gd name="connsiteY8674" fmla="*/ 6111634 h 7458372"/>
              <a:gd name="connsiteX8675" fmla="*/ 3977180 w 10505529"/>
              <a:gd name="connsiteY8675" fmla="*/ 6123082 h 7458372"/>
              <a:gd name="connsiteX8676" fmla="*/ 3974916 w 10505529"/>
              <a:gd name="connsiteY8676" fmla="*/ 6134797 h 7458372"/>
              <a:gd name="connsiteX8677" fmla="*/ 3968792 w 10505529"/>
              <a:gd name="connsiteY8677" fmla="*/ 6144116 h 7458372"/>
              <a:gd name="connsiteX8678" fmla="*/ 3959474 w 10505529"/>
              <a:gd name="connsiteY8678" fmla="*/ 6150372 h 7458372"/>
              <a:gd name="connsiteX8679" fmla="*/ 3947756 w 10505529"/>
              <a:gd name="connsiteY8679" fmla="*/ 6152635 h 7458372"/>
              <a:gd name="connsiteX8680" fmla="*/ 3925923 w 10505529"/>
              <a:gd name="connsiteY8680" fmla="*/ 6144116 h 7458372"/>
              <a:gd name="connsiteX8681" fmla="*/ 3917537 w 10505529"/>
              <a:gd name="connsiteY8681" fmla="*/ 6122949 h 7458372"/>
              <a:gd name="connsiteX8682" fmla="*/ 3925923 w 10505529"/>
              <a:gd name="connsiteY8682" fmla="*/ 6101917 h 7458372"/>
              <a:gd name="connsiteX8683" fmla="*/ 3947756 w 10505529"/>
              <a:gd name="connsiteY8683" fmla="*/ 6093397 h 7458372"/>
              <a:gd name="connsiteX8684" fmla="*/ 3730096 w 10505529"/>
              <a:gd name="connsiteY8684" fmla="*/ 6093397 h 7458372"/>
              <a:gd name="connsiteX8685" fmla="*/ 3741812 w 10505529"/>
              <a:gd name="connsiteY8685" fmla="*/ 6095926 h 7458372"/>
              <a:gd name="connsiteX8686" fmla="*/ 3751130 w 10505529"/>
              <a:gd name="connsiteY8686" fmla="*/ 6102316 h 7458372"/>
              <a:gd name="connsiteX8687" fmla="*/ 3757253 w 10505529"/>
              <a:gd name="connsiteY8687" fmla="*/ 6111634 h 7458372"/>
              <a:gd name="connsiteX8688" fmla="*/ 3759516 w 10505529"/>
              <a:gd name="connsiteY8688" fmla="*/ 6123082 h 7458372"/>
              <a:gd name="connsiteX8689" fmla="*/ 3757253 w 10505529"/>
              <a:gd name="connsiteY8689" fmla="*/ 6134797 h 7458372"/>
              <a:gd name="connsiteX8690" fmla="*/ 3751130 w 10505529"/>
              <a:gd name="connsiteY8690" fmla="*/ 6144116 h 7458372"/>
              <a:gd name="connsiteX8691" fmla="*/ 3741812 w 10505529"/>
              <a:gd name="connsiteY8691" fmla="*/ 6150372 h 7458372"/>
              <a:gd name="connsiteX8692" fmla="*/ 3730096 w 10505529"/>
              <a:gd name="connsiteY8692" fmla="*/ 6152635 h 7458372"/>
              <a:gd name="connsiteX8693" fmla="*/ 3708255 w 10505529"/>
              <a:gd name="connsiteY8693" fmla="*/ 6144116 h 7458372"/>
              <a:gd name="connsiteX8694" fmla="*/ 3699868 w 10505529"/>
              <a:gd name="connsiteY8694" fmla="*/ 6122949 h 7458372"/>
              <a:gd name="connsiteX8695" fmla="*/ 3708255 w 10505529"/>
              <a:gd name="connsiteY8695" fmla="*/ 6101917 h 7458372"/>
              <a:gd name="connsiteX8696" fmla="*/ 3730096 w 10505529"/>
              <a:gd name="connsiteY8696" fmla="*/ 6093397 h 7458372"/>
              <a:gd name="connsiteX8697" fmla="*/ 3512433 w 10505529"/>
              <a:gd name="connsiteY8697" fmla="*/ 6093397 h 7458372"/>
              <a:gd name="connsiteX8698" fmla="*/ 3524149 w 10505529"/>
              <a:gd name="connsiteY8698" fmla="*/ 6095926 h 7458372"/>
              <a:gd name="connsiteX8699" fmla="*/ 3533467 w 10505529"/>
              <a:gd name="connsiteY8699" fmla="*/ 6102316 h 7458372"/>
              <a:gd name="connsiteX8700" fmla="*/ 3539591 w 10505529"/>
              <a:gd name="connsiteY8700" fmla="*/ 6111634 h 7458372"/>
              <a:gd name="connsiteX8701" fmla="*/ 3541854 w 10505529"/>
              <a:gd name="connsiteY8701" fmla="*/ 6123082 h 7458372"/>
              <a:gd name="connsiteX8702" fmla="*/ 3539591 w 10505529"/>
              <a:gd name="connsiteY8702" fmla="*/ 6134797 h 7458372"/>
              <a:gd name="connsiteX8703" fmla="*/ 3533467 w 10505529"/>
              <a:gd name="connsiteY8703" fmla="*/ 6144116 h 7458372"/>
              <a:gd name="connsiteX8704" fmla="*/ 3524149 w 10505529"/>
              <a:gd name="connsiteY8704" fmla="*/ 6150372 h 7458372"/>
              <a:gd name="connsiteX8705" fmla="*/ 3512433 w 10505529"/>
              <a:gd name="connsiteY8705" fmla="*/ 6152635 h 7458372"/>
              <a:gd name="connsiteX8706" fmla="*/ 3490596 w 10505529"/>
              <a:gd name="connsiteY8706" fmla="*/ 6144116 h 7458372"/>
              <a:gd name="connsiteX8707" fmla="*/ 3482209 w 10505529"/>
              <a:gd name="connsiteY8707" fmla="*/ 6122949 h 7458372"/>
              <a:gd name="connsiteX8708" fmla="*/ 3490596 w 10505529"/>
              <a:gd name="connsiteY8708" fmla="*/ 6101917 h 7458372"/>
              <a:gd name="connsiteX8709" fmla="*/ 3512433 w 10505529"/>
              <a:gd name="connsiteY8709" fmla="*/ 6093397 h 7458372"/>
              <a:gd name="connsiteX8710" fmla="*/ 3294904 w 10505529"/>
              <a:gd name="connsiteY8710" fmla="*/ 6093397 h 7458372"/>
              <a:gd name="connsiteX8711" fmla="*/ 3306620 w 10505529"/>
              <a:gd name="connsiteY8711" fmla="*/ 6095926 h 7458372"/>
              <a:gd name="connsiteX8712" fmla="*/ 3315938 w 10505529"/>
              <a:gd name="connsiteY8712" fmla="*/ 6102316 h 7458372"/>
              <a:gd name="connsiteX8713" fmla="*/ 3322061 w 10505529"/>
              <a:gd name="connsiteY8713" fmla="*/ 6111634 h 7458372"/>
              <a:gd name="connsiteX8714" fmla="*/ 3324324 w 10505529"/>
              <a:gd name="connsiteY8714" fmla="*/ 6123082 h 7458372"/>
              <a:gd name="connsiteX8715" fmla="*/ 3322061 w 10505529"/>
              <a:gd name="connsiteY8715" fmla="*/ 6134797 h 7458372"/>
              <a:gd name="connsiteX8716" fmla="*/ 3315938 w 10505529"/>
              <a:gd name="connsiteY8716" fmla="*/ 6144116 h 7458372"/>
              <a:gd name="connsiteX8717" fmla="*/ 3306620 w 10505529"/>
              <a:gd name="connsiteY8717" fmla="*/ 6150372 h 7458372"/>
              <a:gd name="connsiteX8718" fmla="*/ 3294904 w 10505529"/>
              <a:gd name="connsiteY8718" fmla="*/ 6152635 h 7458372"/>
              <a:gd name="connsiteX8719" fmla="*/ 3273066 w 10505529"/>
              <a:gd name="connsiteY8719" fmla="*/ 6144116 h 7458372"/>
              <a:gd name="connsiteX8720" fmla="*/ 3264677 w 10505529"/>
              <a:gd name="connsiteY8720" fmla="*/ 6122949 h 7458372"/>
              <a:gd name="connsiteX8721" fmla="*/ 3273066 w 10505529"/>
              <a:gd name="connsiteY8721" fmla="*/ 6101917 h 7458372"/>
              <a:gd name="connsiteX8722" fmla="*/ 3294904 w 10505529"/>
              <a:gd name="connsiteY8722" fmla="*/ 6093397 h 7458372"/>
              <a:gd name="connsiteX8723" fmla="*/ 3077241 w 10505529"/>
              <a:gd name="connsiteY8723" fmla="*/ 6093397 h 7458372"/>
              <a:gd name="connsiteX8724" fmla="*/ 3088957 w 10505529"/>
              <a:gd name="connsiteY8724" fmla="*/ 6095926 h 7458372"/>
              <a:gd name="connsiteX8725" fmla="*/ 3098275 w 10505529"/>
              <a:gd name="connsiteY8725" fmla="*/ 6102316 h 7458372"/>
              <a:gd name="connsiteX8726" fmla="*/ 3104398 w 10505529"/>
              <a:gd name="connsiteY8726" fmla="*/ 6111634 h 7458372"/>
              <a:gd name="connsiteX8727" fmla="*/ 3106661 w 10505529"/>
              <a:gd name="connsiteY8727" fmla="*/ 6123082 h 7458372"/>
              <a:gd name="connsiteX8728" fmla="*/ 3104398 w 10505529"/>
              <a:gd name="connsiteY8728" fmla="*/ 6134797 h 7458372"/>
              <a:gd name="connsiteX8729" fmla="*/ 3098275 w 10505529"/>
              <a:gd name="connsiteY8729" fmla="*/ 6144116 h 7458372"/>
              <a:gd name="connsiteX8730" fmla="*/ 3088957 w 10505529"/>
              <a:gd name="connsiteY8730" fmla="*/ 6150372 h 7458372"/>
              <a:gd name="connsiteX8731" fmla="*/ 3077241 w 10505529"/>
              <a:gd name="connsiteY8731" fmla="*/ 6152635 h 7458372"/>
              <a:gd name="connsiteX8732" fmla="*/ 3055403 w 10505529"/>
              <a:gd name="connsiteY8732" fmla="*/ 6144116 h 7458372"/>
              <a:gd name="connsiteX8733" fmla="*/ 3047016 w 10505529"/>
              <a:gd name="connsiteY8733" fmla="*/ 6122949 h 7458372"/>
              <a:gd name="connsiteX8734" fmla="*/ 3055403 w 10505529"/>
              <a:gd name="connsiteY8734" fmla="*/ 6101917 h 7458372"/>
              <a:gd name="connsiteX8735" fmla="*/ 3077241 w 10505529"/>
              <a:gd name="connsiteY8735" fmla="*/ 6093397 h 7458372"/>
              <a:gd name="connsiteX8736" fmla="*/ 2859579 w 10505529"/>
              <a:gd name="connsiteY8736" fmla="*/ 6093397 h 7458372"/>
              <a:gd name="connsiteX8737" fmla="*/ 2871428 w 10505529"/>
              <a:gd name="connsiteY8737" fmla="*/ 6095926 h 7458372"/>
              <a:gd name="connsiteX8738" fmla="*/ 2880746 w 10505529"/>
              <a:gd name="connsiteY8738" fmla="*/ 6102316 h 7458372"/>
              <a:gd name="connsiteX8739" fmla="*/ 2886869 w 10505529"/>
              <a:gd name="connsiteY8739" fmla="*/ 6111634 h 7458372"/>
              <a:gd name="connsiteX8740" fmla="*/ 2889132 w 10505529"/>
              <a:gd name="connsiteY8740" fmla="*/ 6123082 h 7458372"/>
              <a:gd name="connsiteX8741" fmla="*/ 2886869 w 10505529"/>
              <a:gd name="connsiteY8741" fmla="*/ 6134797 h 7458372"/>
              <a:gd name="connsiteX8742" fmla="*/ 2880746 w 10505529"/>
              <a:gd name="connsiteY8742" fmla="*/ 6144116 h 7458372"/>
              <a:gd name="connsiteX8743" fmla="*/ 2871428 w 10505529"/>
              <a:gd name="connsiteY8743" fmla="*/ 6150372 h 7458372"/>
              <a:gd name="connsiteX8744" fmla="*/ 2859579 w 10505529"/>
              <a:gd name="connsiteY8744" fmla="*/ 6152635 h 7458372"/>
              <a:gd name="connsiteX8745" fmla="*/ 2837740 w 10505529"/>
              <a:gd name="connsiteY8745" fmla="*/ 6144116 h 7458372"/>
              <a:gd name="connsiteX8746" fmla="*/ 2829353 w 10505529"/>
              <a:gd name="connsiteY8746" fmla="*/ 6122949 h 7458372"/>
              <a:gd name="connsiteX8747" fmla="*/ 2837740 w 10505529"/>
              <a:gd name="connsiteY8747" fmla="*/ 6101917 h 7458372"/>
              <a:gd name="connsiteX8748" fmla="*/ 2859579 w 10505529"/>
              <a:gd name="connsiteY8748" fmla="*/ 6093397 h 7458372"/>
              <a:gd name="connsiteX8749" fmla="*/ 2641916 w 10505529"/>
              <a:gd name="connsiteY8749" fmla="*/ 6093397 h 7458372"/>
              <a:gd name="connsiteX8750" fmla="*/ 2653632 w 10505529"/>
              <a:gd name="connsiteY8750" fmla="*/ 6095926 h 7458372"/>
              <a:gd name="connsiteX8751" fmla="*/ 2662950 w 10505529"/>
              <a:gd name="connsiteY8751" fmla="*/ 6102316 h 7458372"/>
              <a:gd name="connsiteX8752" fmla="*/ 2669073 w 10505529"/>
              <a:gd name="connsiteY8752" fmla="*/ 6111634 h 7458372"/>
              <a:gd name="connsiteX8753" fmla="*/ 2671336 w 10505529"/>
              <a:gd name="connsiteY8753" fmla="*/ 6123082 h 7458372"/>
              <a:gd name="connsiteX8754" fmla="*/ 2669073 w 10505529"/>
              <a:gd name="connsiteY8754" fmla="*/ 6134797 h 7458372"/>
              <a:gd name="connsiteX8755" fmla="*/ 2662950 w 10505529"/>
              <a:gd name="connsiteY8755" fmla="*/ 6144116 h 7458372"/>
              <a:gd name="connsiteX8756" fmla="*/ 2653632 w 10505529"/>
              <a:gd name="connsiteY8756" fmla="*/ 6150372 h 7458372"/>
              <a:gd name="connsiteX8757" fmla="*/ 2641916 w 10505529"/>
              <a:gd name="connsiteY8757" fmla="*/ 6152635 h 7458372"/>
              <a:gd name="connsiteX8758" fmla="*/ 2620083 w 10505529"/>
              <a:gd name="connsiteY8758" fmla="*/ 6144116 h 7458372"/>
              <a:gd name="connsiteX8759" fmla="*/ 2611693 w 10505529"/>
              <a:gd name="connsiteY8759" fmla="*/ 6122949 h 7458372"/>
              <a:gd name="connsiteX8760" fmla="*/ 2620083 w 10505529"/>
              <a:gd name="connsiteY8760" fmla="*/ 6101917 h 7458372"/>
              <a:gd name="connsiteX8761" fmla="*/ 2641916 w 10505529"/>
              <a:gd name="connsiteY8761" fmla="*/ 6093397 h 7458372"/>
              <a:gd name="connsiteX8762" fmla="*/ 2424254 w 10505529"/>
              <a:gd name="connsiteY8762" fmla="*/ 6093397 h 7458372"/>
              <a:gd name="connsiteX8763" fmla="*/ 2435969 w 10505529"/>
              <a:gd name="connsiteY8763" fmla="*/ 6095926 h 7458372"/>
              <a:gd name="connsiteX8764" fmla="*/ 2445287 w 10505529"/>
              <a:gd name="connsiteY8764" fmla="*/ 6102316 h 7458372"/>
              <a:gd name="connsiteX8765" fmla="*/ 2451410 w 10505529"/>
              <a:gd name="connsiteY8765" fmla="*/ 6111634 h 7458372"/>
              <a:gd name="connsiteX8766" fmla="*/ 2453673 w 10505529"/>
              <a:gd name="connsiteY8766" fmla="*/ 6123082 h 7458372"/>
              <a:gd name="connsiteX8767" fmla="*/ 2451410 w 10505529"/>
              <a:gd name="connsiteY8767" fmla="*/ 6134797 h 7458372"/>
              <a:gd name="connsiteX8768" fmla="*/ 2445287 w 10505529"/>
              <a:gd name="connsiteY8768" fmla="*/ 6144116 h 7458372"/>
              <a:gd name="connsiteX8769" fmla="*/ 2435969 w 10505529"/>
              <a:gd name="connsiteY8769" fmla="*/ 6150372 h 7458372"/>
              <a:gd name="connsiteX8770" fmla="*/ 2424254 w 10505529"/>
              <a:gd name="connsiteY8770" fmla="*/ 6152635 h 7458372"/>
              <a:gd name="connsiteX8771" fmla="*/ 2402422 w 10505529"/>
              <a:gd name="connsiteY8771" fmla="*/ 6144116 h 7458372"/>
              <a:gd name="connsiteX8772" fmla="*/ 2394032 w 10505529"/>
              <a:gd name="connsiteY8772" fmla="*/ 6122949 h 7458372"/>
              <a:gd name="connsiteX8773" fmla="*/ 2402422 w 10505529"/>
              <a:gd name="connsiteY8773" fmla="*/ 6101917 h 7458372"/>
              <a:gd name="connsiteX8774" fmla="*/ 2424254 w 10505529"/>
              <a:gd name="connsiteY8774" fmla="*/ 6093397 h 7458372"/>
              <a:gd name="connsiteX8775" fmla="*/ 2206591 w 10505529"/>
              <a:gd name="connsiteY8775" fmla="*/ 6093397 h 7458372"/>
              <a:gd name="connsiteX8776" fmla="*/ 2218306 w 10505529"/>
              <a:gd name="connsiteY8776" fmla="*/ 6095926 h 7458372"/>
              <a:gd name="connsiteX8777" fmla="*/ 2227625 w 10505529"/>
              <a:gd name="connsiteY8777" fmla="*/ 6102316 h 7458372"/>
              <a:gd name="connsiteX8778" fmla="*/ 2233748 w 10505529"/>
              <a:gd name="connsiteY8778" fmla="*/ 6111634 h 7458372"/>
              <a:gd name="connsiteX8779" fmla="*/ 2236011 w 10505529"/>
              <a:gd name="connsiteY8779" fmla="*/ 6123082 h 7458372"/>
              <a:gd name="connsiteX8780" fmla="*/ 2233748 w 10505529"/>
              <a:gd name="connsiteY8780" fmla="*/ 6134797 h 7458372"/>
              <a:gd name="connsiteX8781" fmla="*/ 2227625 w 10505529"/>
              <a:gd name="connsiteY8781" fmla="*/ 6144116 h 7458372"/>
              <a:gd name="connsiteX8782" fmla="*/ 2218306 w 10505529"/>
              <a:gd name="connsiteY8782" fmla="*/ 6150372 h 7458372"/>
              <a:gd name="connsiteX8783" fmla="*/ 2206591 w 10505529"/>
              <a:gd name="connsiteY8783" fmla="*/ 6152635 h 7458372"/>
              <a:gd name="connsiteX8784" fmla="*/ 2184758 w 10505529"/>
              <a:gd name="connsiteY8784" fmla="*/ 6144116 h 7458372"/>
              <a:gd name="connsiteX8785" fmla="*/ 2176369 w 10505529"/>
              <a:gd name="connsiteY8785" fmla="*/ 6122949 h 7458372"/>
              <a:gd name="connsiteX8786" fmla="*/ 2184758 w 10505529"/>
              <a:gd name="connsiteY8786" fmla="*/ 6101917 h 7458372"/>
              <a:gd name="connsiteX8787" fmla="*/ 2206591 w 10505529"/>
              <a:gd name="connsiteY8787" fmla="*/ 6093397 h 7458372"/>
              <a:gd name="connsiteX8788" fmla="*/ 1989061 w 10505529"/>
              <a:gd name="connsiteY8788" fmla="*/ 6093397 h 7458372"/>
              <a:gd name="connsiteX8789" fmla="*/ 2000777 w 10505529"/>
              <a:gd name="connsiteY8789" fmla="*/ 6095926 h 7458372"/>
              <a:gd name="connsiteX8790" fmla="*/ 2010095 w 10505529"/>
              <a:gd name="connsiteY8790" fmla="*/ 6102316 h 7458372"/>
              <a:gd name="connsiteX8791" fmla="*/ 2016218 w 10505529"/>
              <a:gd name="connsiteY8791" fmla="*/ 6111634 h 7458372"/>
              <a:gd name="connsiteX8792" fmla="*/ 2018481 w 10505529"/>
              <a:gd name="connsiteY8792" fmla="*/ 6123082 h 7458372"/>
              <a:gd name="connsiteX8793" fmla="*/ 2016218 w 10505529"/>
              <a:gd name="connsiteY8793" fmla="*/ 6134797 h 7458372"/>
              <a:gd name="connsiteX8794" fmla="*/ 2010095 w 10505529"/>
              <a:gd name="connsiteY8794" fmla="*/ 6144116 h 7458372"/>
              <a:gd name="connsiteX8795" fmla="*/ 2000777 w 10505529"/>
              <a:gd name="connsiteY8795" fmla="*/ 6150372 h 7458372"/>
              <a:gd name="connsiteX8796" fmla="*/ 1989061 w 10505529"/>
              <a:gd name="connsiteY8796" fmla="*/ 6152635 h 7458372"/>
              <a:gd name="connsiteX8797" fmla="*/ 1967230 w 10505529"/>
              <a:gd name="connsiteY8797" fmla="*/ 6144116 h 7458372"/>
              <a:gd name="connsiteX8798" fmla="*/ 1958844 w 10505529"/>
              <a:gd name="connsiteY8798" fmla="*/ 6122949 h 7458372"/>
              <a:gd name="connsiteX8799" fmla="*/ 1967230 w 10505529"/>
              <a:gd name="connsiteY8799" fmla="*/ 6101917 h 7458372"/>
              <a:gd name="connsiteX8800" fmla="*/ 1989061 w 10505529"/>
              <a:gd name="connsiteY8800" fmla="*/ 6093397 h 7458372"/>
              <a:gd name="connsiteX8801" fmla="*/ 1771429 w 10505529"/>
              <a:gd name="connsiteY8801" fmla="*/ 6093397 h 7458372"/>
              <a:gd name="connsiteX8802" fmla="*/ 1783143 w 10505529"/>
              <a:gd name="connsiteY8802" fmla="*/ 6095926 h 7458372"/>
              <a:gd name="connsiteX8803" fmla="*/ 1792460 w 10505529"/>
              <a:gd name="connsiteY8803" fmla="*/ 6102316 h 7458372"/>
              <a:gd name="connsiteX8804" fmla="*/ 1798583 w 10505529"/>
              <a:gd name="connsiteY8804" fmla="*/ 6111634 h 7458372"/>
              <a:gd name="connsiteX8805" fmla="*/ 1800846 w 10505529"/>
              <a:gd name="connsiteY8805" fmla="*/ 6123082 h 7458372"/>
              <a:gd name="connsiteX8806" fmla="*/ 1798583 w 10505529"/>
              <a:gd name="connsiteY8806" fmla="*/ 6134797 h 7458372"/>
              <a:gd name="connsiteX8807" fmla="*/ 1792460 w 10505529"/>
              <a:gd name="connsiteY8807" fmla="*/ 6144116 h 7458372"/>
              <a:gd name="connsiteX8808" fmla="*/ 1783143 w 10505529"/>
              <a:gd name="connsiteY8808" fmla="*/ 6150372 h 7458372"/>
              <a:gd name="connsiteX8809" fmla="*/ 1771429 w 10505529"/>
              <a:gd name="connsiteY8809" fmla="*/ 6152635 h 7458372"/>
              <a:gd name="connsiteX8810" fmla="*/ 1749600 w 10505529"/>
              <a:gd name="connsiteY8810" fmla="*/ 6144116 h 7458372"/>
              <a:gd name="connsiteX8811" fmla="*/ 1741217 w 10505529"/>
              <a:gd name="connsiteY8811" fmla="*/ 6122949 h 7458372"/>
              <a:gd name="connsiteX8812" fmla="*/ 1749600 w 10505529"/>
              <a:gd name="connsiteY8812" fmla="*/ 6101917 h 7458372"/>
              <a:gd name="connsiteX8813" fmla="*/ 1771429 w 10505529"/>
              <a:gd name="connsiteY8813" fmla="*/ 6093397 h 7458372"/>
              <a:gd name="connsiteX8814" fmla="*/ 1553793 w 10505529"/>
              <a:gd name="connsiteY8814" fmla="*/ 6093397 h 7458372"/>
              <a:gd name="connsiteX8815" fmla="*/ 1565507 w 10505529"/>
              <a:gd name="connsiteY8815" fmla="*/ 6095926 h 7458372"/>
              <a:gd name="connsiteX8816" fmla="*/ 1574826 w 10505529"/>
              <a:gd name="connsiteY8816" fmla="*/ 6102316 h 7458372"/>
              <a:gd name="connsiteX8817" fmla="*/ 1580949 w 10505529"/>
              <a:gd name="connsiteY8817" fmla="*/ 6111634 h 7458372"/>
              <a:gd name="connsiteX8818" fmla="*/ 1583212 w 10505529"/>
              <a:gd name="connsiteY8818" fmla="*/ 6123082 h 7458372"/>
              <a:gd name="connsiteX8819" fmla="*/ 1580949 w 10505529"/>
              <a:gd name="connsiteY8819" fmla="*/ 6134797 h 7458372"/>
              <a:gd name="connsiteX8820" fmla="*/ 1574826 w 10505529"/>
              <a:gd name="connsiteY8820" fmla="*/ 6144116 h 7458372"/>
              <a:gd name="connsiteX8821" fmla="*/ 1565507 w 10505529"/>
              <a:gd name="connsiteY8821" fmla="*/ 6150372 h 7458372"/>
              <a:gd name="connsiteX8822" fmla="*/ 1553793 w 10505529"/>
              <a:gd name="connsiteY8822" fmla="*/ 6152635 h 7458372"/>
              <a:gd name="connsiteX8823" fmla="*/ 1531964 w 10505529"/>
              <a:gd name="connsiteY8823" fmla="*/ 6144116 h 7458372"/>
              <a:gd name="connsiteX8824" fmla="*/ 1523578 w 10505529"/>
              <a:gd name="connsiteY8824" fmla="*/ 6122949 h 7458372"/>
              <a:gd name="connsiteX8825" fmla="*/ 1531964 w 10505529"/>
              <a:gd name="connsiteY8825" fmla="*/ 6101917 h 7458372"/>
              <a:gd name="connsiteX8826" fmla="*/ 1553793 w 10505529"/>
              <a:gd name="connsiteY8826" fmla="*/ 6093397 h 7458372"/>
              <a:gd name="connsiteX8827" fmla="*/ 1336150 w 10505529"/>
              <a:gd name="connsiteY8827" fmla="*/ 6093397 h 7458372"/>
              <a:gd name="connsiteX8828" fmla="*/ 1347865 w 10505529"/>
              <a:gd name="connsiteY8828" fmla="*/ 6095926 h 7458372"/>
              <a:gd name="connsiteX8829" fmla="*/ 1357183 w 10505529"/>
              <a:gd name="connsiteY8829" fmla="*/ 6102316 h 7458372"/>
              <a:gd name="connsiteX8830" fmla="*/ 1363306 w 10505529"/>
              <a:gd name="connsiteY8830" fmla="*/ 6111634 h 7458372"/>
              <a:gd name="connsiteX8831" fmla="*/ 1365568 w 10505529"/>
              <a:gd name="connsiteY8831" fmla="*/ 6123082 h 7458372"/>
              <a:gd name="connsiteX8832" fmla="*/ 1363306 w 10505529"/>
              <a:gd name="connsiteY8832" fmla="*/ 6134797 h 7458372"/>
              <a:gd name="connsiteX8833" fmla="*/ 1357183 w 10505529"/>
              <a:gd name="connsiteY8833" fmla="*/ 6144116 h 7458372"/>
              <a:gd name="connsiteX8834" fmla="*/ 1347865 w 10505529"/>
              <a:gd name="connsiteY8834" fmla="*/ 6150372 h 7458372"/>
              <a:gd name="connsiteX8835" fmla="*/ 1336150 w 10505529"/>
              <a:gd name="connsiteY8835" fmla="*/ 6152635 h 7458372"/>
              <a:gd name="connsiteX8836" fmla="*/ 1314316 w 10505529"/>
              <a:gd name="connsiteY8836" fmla="*/ 6144116 h 7458372"/>
              <a:gd name="connsiteX8837" fmla="*/ 1305931 w 10505529"/>
              <a:gd name="connsiteY8837" fmla="*/ 6122949 h 7458372"/>
              <a:gd name="connsiteX8838" fmla="*/ 1314316 w 10505529"/>
              <a:gd name="connsiteY8838" fmla="*/ 6101917 h 7458372"/>
              <a:gd name="connsiteX8839" fmla="*/ 1336150 w 10505529"/>
              <a:gd name="connsiteY8839" fmla="*/ 6093397 h 7458372"/>
              <a:gd name="connsiteX8840" fmla="*/ 1118504 w 10505529"/>
              <a:gd name="connsiteY8840" fmla="*/ 6093397 h 7458372"/>
              <a:gd name="connsiteX8841" fmla="*/ 1130222 w 10505529"/>
              <a:gd name="connsiteY8841" fmla="*/ 6095926 h 7458372"/>
              <a:gd name="connsiteX8842" fmla="*/ 1139536 w 10505529"/>
              <a:gd name="connsiteY8842" fmla="*/ 6102316 h 7458372"/>
              <a:gd name="connsiteX8843" fmla="*/ 1145656 w 10505529"/>
              <a:gd name="connsiteY8843" fmla="*/ 6111634 h 7458372"/>
              <a:gd name="connsiteX8844" fmla="*/ 1147920 w 10505529"/>
              <a:gd name="connsiteY8844" fmla="*/ 6123082 h 7458372"/>
              <a:gd name="connsiteX8845" fmla="*/ 1145656 w 10505529"/>
              <a:gd name="connsiteY8845" fmla="*/ 6134797 h 7458372"/>
              <a:gd name="connsiteX8846" fmla="*/ 1139536 w 10505529"/>
              <a:gd name="connsiteY8846" fmla="*/ 6144116 h 7458372"/>
              <a:gd name="connsiteX8847" fmla="*/ 1130222 w 10505529"/>
              <a:gd name="connsiteY8847" fmla="*/ 6150372 h 7458372"/>
              <a:gd name="connsiteX8848" fmla="*/ 1118504 w 10505529"/>
              <a:gd name="connsiteY8848" fmla="*/ 6152635 h 7458372"/>
              <a:gd name="connsiteX8849" fmla="*/ 1096669 w 10505529"/>
              <a:gd name="connsiteY8849" fmla="*/ 6144116 h 7458372"/>
              <a:gd name="connsiteX8850" fmla="*/ 1088284 w 10505529"/>
              <a:gd name="connsiteY8850" fmla="*/ 6122949 h 7458372"/>
              <a:gd name="connsiteX8851" fmla="*/ 1096669 w 10505529"/>
              <a:gd name="connsiteY8851" fmla="*/ 6101917 h 7458372"/>
              <a:gd name="connsiteX8852" fmla="*/ 1118504 w 10505529"/>
              <a:gd name="connsiteY8852" fmla="*/ 6093397 h 7458372"/>
              <a:gd name="connsiteX8853" fmla="*/ 900991 w 10505529"/>
              <a:gd name="connsiteY8853" fmla="*/ 6093397 h 7458372"/>
              <a:gd name="connsiteX8854" fmla="*/ 912706 w 10505529"/>
              <a:gd name="connsiteY8854" fmla="*/ 6095926 h 7458372"/>
              <a:gd name="connsiteX8855" fmla="*/ 922024 w 10505529"/>
              <a:gd name="connsiteY8855" fmla="*/ 6102316 h 7458372"/>
              <a:gd name="connsiteX8856" fmla="*/ 928146 w 10505529"/>
              <a:gd name="connsiteY8856" fmla="*/ 6111634 h 7458372"/>
              <a:gd name="connsiteX8857" fmla="*/ 930409 w 10505529"/>
              <a:gd name="connsiteY8857" fmla="*/ 6123082 h 7458372"/>
              <a:gd name="connsiteX8858" fmla="*/ 928146 w 10505529"/>
              <a:gd name="connsiteY8858" fmla="*/ 6134797 h 7458372"/>
              <a:gd name="connsiteX8859" fmla="*/ 922024 w 10505529"/>
              <a:gd name="connsiteY8859" fmla="*/ 6144116 h 7458372"/>
              <a:gd name="connsiteX8860" fmla="*/ 912706 w 10505529"/>
              <a:gd name="connsiteY8860" fmla="*/ 6150372 h 7458372"/>
              <a:gd name="connsiteX8861" fmla="*/ 900991 w 10505529"/>
              <a:gd name="connsiteY8861" fmla="*/ 6152635 h 7458372"/>
              <a:gd name="connsiteX8862" fmla="*/ 879160 w 10505529"/>
              <a:gd name="connsiteY8862" fmla="*/ 6144116 h 7458372"/>
              <a:gd name="connsiteX8863" fmla="*/ 870775 w 10505529"/>
              <a:gd name="connsiteY8863" fmla="*/ 6122949 h 7458372"/>
              <a:gd name="connsiteX8864" fmla="*/ 879160 w 10505529"/>
              <a:gd name="connsiteY8864" fmla="*/ 6101917 h 7458372"/>
              <a:gd name="connsiteX8865" fmla="*/ 900991 w 10505529"/>
              <a:gd name="connsiteY8865" fmla="*/ 6093397 h 7458372"/>
              <a:gd name="connsiteX8866" fmla="*/ 683351 w 10505529"/>
              <a:gd name="connsiteY8866" fmla="*/ 6093397 h 7458372"/>
              <a:gd name="connsiteX8867" fmla="*/ 695066 w 10505529"/>
              <a:gd name="connsiteY8867" fmla="*/ 6095926 h 7458372"/>
              <a:gd name="connsiteX8868" fmla="*/ 704383 w 10505529"/>
              <a:gd name="connsiteY8868" fmla="*/ 6102316 h 7458372"/>
              <a:gd name="connsiteX8869" fmla="*/ 710506 w 10505529"/>
              <a:gd name="connsiteY8869" fmla="*/ 6111634 h 7458372"/>
              <a:gd name="connsiteX8870" fmla="*/ 712769 w 10505529"/>
              <a:gd name="connsiteY8870" fmla="*/ 6123082 h 7458372"/>
              <a:gd name="connsiteX8871" fmla="*/ 710506 w 10505529"/>
              <a:gd name="connsiteY8871" fmla="*/ 6134797 h 7458372"/>
              <a:gd name="connsiteX8872" fmla="*/ 704383 w 10505529"/>
              <a:gd name="connsiteY8872" fmla="*/ 6144116 h 7458372"/>
              <a:gd name="connsiteX8873" fmla="*/ 695066 w 10505529"/>
              <a:gd name="connsiteY8873" fmla="*/ 6150372 h 7458372"/>
              <a:gd name="connsiteX8874" fmla="*/ 683351 w 10505529"/>
              <a:gd name="connsiteY8874" fmla="*/ 6152635 h 7458372"/>
              <a:gd name="connsiteX8875" fmla="*/ 661519 w 10505529"/>
              <a:gd name="connsiteY8875" fmla="*/ 6144116 h 7458372"/>
              <a:gd name="connsiteX8876" fmla="*/ 653134 w 10505529"/>
              <a:gd name="connsiteY8876" fmla="*/ 6122949 h 7458372"/>
              <a:gd name="connsiteX8877" fmla="*/ 661519 w 10505529"/>
              <a:gd name="connsiteY8877" fmla="*/ 6101917 h 7458372"/>
              <a:gd name="connsiteX8878" fmla="*/ 683351 w 10505529"/>
              <a:gd name="connsiteY8878" fmla="*/ 6093397 h 7458372"/>
              <a:gd name="connsiteX8879" fmla="*/ 465710 w 10505529"/>
              <a:gd name="connsiteY8879" fmla="*/ 6093397 h 7458372"/>
              <a:gd name="connsiteX8880" fmla="*/ 477425 w 10505529"/>
              <a:gd name="connsiteY8880" fmla="*/ 6095926 h 7458372"/>
              <a:gd name="connsiteX8881" fmla="*/ 486743 w 10505529"/>
              <a:gd name="connsiteY8881" fmla="*/ 6102316 h 7458372"/>
              <a:gd name="connsiteX8882" fmla="*/ 492866 w 10505529"/>
              <a:gd name="connsiteY8882" fmla="*/ 6111634 h 7458372"/>
              <a:gd name="connsiteX8883" fmla="*/ 495128 w 10505529"/>
              <a:gd name="connsiteY8883" fmla="*/ 6123082 h 7458372"/>
              <a:gd name="connsiteX8884" fmla="*/ 492866 w 10505529"/>
              <a:gd name="connsiteY8884" fmla="*/ 6134797 h 7458372"/>
              <a:gd name="connsiteX8885" fmla="*/ 486743 w 10505529"/>
              <a:gd name="connsiteY8885" fmla="*/ 6144116 h 7458372"/>
              <a:gd name="connsiteX8886" fmla="*/ 477425 w 10505529"/>
              <a:gd name="connsiteY8886" fmla="*/ 6150372 h 7458372"/>
              <a:gd name="connsiteX8887" fmla="*/ 465710 w 10505529"/>
              <a:gd name="connsiteY8887" fmla="*/ 6152635 h 7458372"/>
              <a:gd name="connsiteX8888" fmla="*/ 443879 w 10505529"/>
              <a:gd name="connsiteY8888" fmla="*/ 6144116 h 7458372"/>
              <a:gd name="connsiteX8889" fmla="*/ 435493 w 10505529"/>
              <a:gd name="connsiteY8889" fmla="*/ 6122949 h 7458372"/>
              <a:gd name="connsiteX8890" fmla="*/ 443879 w 10505529"/>
              <a:gd name="connsiteY8890" fmla="*/ 6101917 h 7458372"/>
              <a:gd name="connsiteX8891" fmla="*/ 465710 w 10505529"/>
              <a:gd name="connsiteY8891" fmla="*/ 6093397 h 7458372"/>
              <a:gd name="connsiteX8892" fmla="*/ 248069 w 10505529"/>
              <a:gd name="connsiteY8892" fmla="*/ 6093397 h 7458372"/>
              <a:gd name="connsiteX8893" fmla="*/ 259783 w 10505529"/>
              <a:gd name="connsiteY8893" fmla="*/ 6095926 h 7458372"/>
              <a:gd name="connsiteX8894" fmla="*/ 269101 w 10505529"/>
              <a:gd name="connsiteY8894" fmla="*/ 6102316 h 7458372"/>
              <a:gd name="connsiteX8895" fmla="*/ 275224 w 10505529"/>
              <a:gd name="connsiteY8895" fmla="*/ 6111634 h 7458372"/>
              <a:gd name="connsiteX8896" fmla="*/ 277487 w 10505529"/>
              <a:gd name="connsiteY8896" fmla="*/ 6123082 h 7458372"/>
              <a:gd name="connsiteX8897" fmla="*/ 275224 w 10505529"/>
              <a:gd name="connsiteY8897" fmla="*/ 6134797 h 7458372"/>
              <a:gd name="connsiteX8898" fmla="*/ 269101 w 10505529"/>
              <a:gd name="connsiteY8898" fmla="*/ 6144116 h 7458372"/>
              <a:gd name="connsiteX8899" fmla="*/ 259783 w 10505529"/>
              <a:gd name="connsiteY8899" fmla="*/ 6150372 h 7458372"/>
              <a:gd name="connsiteX8900" fmla="*/ 248069 w 10505529"/>
              <a:gd name="connsiteY8900" fmla="*/ 6152635 h 7458372"/>
              <a:gd name="connsiteX8901" fmla="*/ 226239 w 10505529"/>
              <a:gd name="connsiteY8901" fmla="*/ 6144116 h 7458372"/>
              <a:gd name="connsiteX8902" fmla="*/ 217854 w 10505529"/>
              <a:gd name="connsiteY8902" fmla="*/ 6122949 h 7458372"/>
              <a:gd name="connsiteX8903" fmla="*/ 226239 w 10505529"/>
              <a:gd name="connsiteY8903" fmla="*/ 6101917 h 7458372"/>
              <a:gd name="connsiteX8904" fmla="*/ 248069 w 10505529"/>
              <a:gd name="connsiteY8904" fmla="*/ 6093397 h 7458372"/>
              <a:gd name="connsiteX8905" fmla="*/ 30428 w 10505529"/>
              <a:gd name="connsiteY8905" fmla="*/ 6093397 h 7458372"/>
              <a:gd name="connsiteX8906" fmla="*/ 42143 w 10505529"/>
              <a:gd name="connsiteY8906" fmla="*/ 6095926 h 7458372"/>
              <a:gd name="connsiteX8907" fmla="*/ 51461 w 10505529"/>
              <a:gd name="connsiteY8907" fmla="*/ 6102316 h 7458372"/>
              <a:gd name="connsiteX8908" fmla="*/ 57584 w 10505529"/>
              <a:gd name="connsiteY8908" fmla="*/ 6111634 h 7458372"/>
              <a:gd name="connsiteX8909" fmla="*/ 59847 w 10505529"/>
              <a:gd name="connsiteY8909" fmla="*/ 6123082 h 7458372"/>
              <a:gd name="connsiteX8910" fmla="*/ 57584 w 10505529"/>
              <a:gd name="connsiteY8910" fmla="*/ 6134797 h 7458372"/>
              <a:gd name="connsiteX8911" fmla="*/ 51461 w 10505529"/>
              <a:gd name="connsiteY8911" fmla="*/ 6144116 h 7458372"/>
              <a:gd name="connsiteX8912" fmla="*/ 42143 w 10505529"/>
              <a:gd name="connsiteY8912" fmla="*/ 6150372 h 7458372"/>
              <a:gd name="connsiteX8913" fmla="*/ 30428 w 10505529"/>
              <a:gd name="connsiteY8913" fmla="*/ 6152635 h 7458372"/>
              <a:gd name="connsiteX8914" fmla="*/ 8600 w 10505529"/>
              <a:gd name="connsiteY8914" fmla="*/ 6144116 h 7458372"/>
              <a:gd name="connsiteX8915" fmla="*/ 214 w 10505529"/>
              <a:gd name="connsiteY8915" fmla="*/ 6122949 h 7458372"/>
              <a:gd name="connsiteX8916" fmla="*/ 8600 w 10505529"/>
              <a:gd name="connsiteY8916" fmla="*/ 6101917 h 7458372"/>
              <a:gd name="connsiteX8917" fmla="*/ 30428 w 10505529"/>
              <a:gd name="connsiteY8917" fmla="*/ 6093397 h 7458372"/>
              <a:gd name="connsiteX8918" fmla="*/ 10475977 w 10505529"/>
              <a:gd name="connsiteY8918" fmla="*/ 5892392 h 7458372"/>
              <a:gd name="connsiteX8919" fmla="*/ 10465992 w 10505529"/>
              <a:gd name="connsiteY8919" fmla="*/ 5895986 h 7458372"/>
              <a:gd name="connsiteX8920" fmla="*/ 10462399 w 10505529"/>
              <a:gd name="connsiteY8920" fmla="*/ 5905437 h 7458372"/>
              <a:gd name="connsiteX8921" fmla="*/ 10465992 w 10505529"/>
              <a:gd name="connsiteY8921" fmla="*/ 5914888 h 7458372"/>
              <a:gd name="connsiteX8922" fmla="*/ 10475977 w 10505529"/>
              <a:gd name="connsiteY8922" fmla="*/ 5918350 h 7458372"/>
              <a:gd name="connsiteX8923" fmla="*/ 10481302 w 10505529"/>
              <a:gd name="connsiteY8923" fmla="*/ 5917418 h 7458372"/>
              <a:gd name="connsiteX8924" fmla="*/ 10485029 w 10505529"/>
              <a:gd name="connsiteY8924" fmla="*/ 5915021 h 7458372"/>
              <a:gd name="connsiteX8925" fmla="*/ 10487691 w 10505529"/>
              <a:gd name="connsiteY8925" fmla="*/ 5910761 h 7458372"/>
              <a:gd name="connsiteX8926" fmla="*/ 10488623 w 10505529"/>
              <a:gd name="connsiteY8926" fmla="*/ 5905304 h 7458372"/>
              <a:gd name="connsiteX8927" fmla="*/ 10487691 w 10505529"/>
              <a:gd name="connsiteY8927" fmla="*/ 5900112 h 7458372"/>
              <a:gd name="connsiteX8928" fmla="*/ 10485029 w 10505529"/>
              <a:gd name="connsiteY8928" fmla="*/ 5895986 h 7458372"/>
              <a:gd name="connsiteX8929" fmla="*/ 10481035 w 10505529"/>
              <a:gd name="connsiteY8929" fmla="*/ 5893323 h 7458372"/>
              <a:gd name="connsiteX8930" fmla="*/ 10475977 w 10505529"/>
              <a:gd name="connsiteY8930" fmla="*/ 5892392 h 7458372"/>
              <a:gd name="connsiteX8931" fmla="*/ 10258466 w 10505529"/>
              <a:gd name="connsiteY8931" fmla="*/ 5892392 h 7458372"/>
              <a:gd name="connsiteX8932" fmla="*/ 10248481 w 10505529"/>
              <a:gd name="connsiteY8932" fmla="*/ 5895986 h 7458372"/>
              <a:gd name="connsiteX8933" fmla="*/ 10244887 w 10505529"/>
              <a:gd name="connsiteY8933" fmla="*/ 5905437 h 7458372"/>
              <a:gd name="connsiteX8934" fmla="*/ 10248481 w 10505529"/>
              <a:gd name="connsiteY8934" fmla="*/ 5914888 h 7458372"/>
              <a:gd name="connsiteX8935" fmla="*/ 10258466 w 10505529"/>
              <a:gd name="connsiteY8935" fmla="*/ 5918350 h 7458372"/>
              <a:gd name="connsiteX8936" fmla="*/ 10263790 w 10505529"/>
              <a:gd name="connsiteY8936" fmla="*/ 5917418 h 7458372"/>
              <a:gd name="connsiteX8937" fmla="*/ 10267517 w 10505529"/>
              <a:gd name="connsiteY8937" fmla="*/ 5915021 h 7458372"/>
              <a:gd name="connsiteX8938" fmla="*/ 10270180 w 10505529"/>
              <a:gd name="connsiteY8938" fmla="*/ 5910761 h 7458372"/>
              <a:gd name="connsiteX8939" fmla="*/ 10271112 w 10505529"/>
              <a:gd name="connsiteY8939" fmla="*/ 5905304 h 7458372"/>
              <a:gd name="connsiteX8940" fmla="*/ 10270180 w 10505529"/>
              <a:gd name="connsiteY8940" fmla="*/ 5900112 h 7458372"/>
              <a:gd name="connsiteX8941" fmla="*/ 10267517 w 10505529"/>
              <a:gd name="connsiteY8941" fmla="*/ 5895986 h 7458372"/>
              <a:gd name="connsiteX8942" fmla="*/ 10263524 w 10505529"/>
              <a:gd name="connsiteY8942" fmla="*/ 5893323 h 7458372"/>
              <a:gd name="connsiteX8943" fmla="*/ 10258466 w 10505529"/>
              <a:gd name="connsiteY8943" fmla="*/ 5892392 h 7458372"/>
              <a:gd name="connsiteX8944" fmla="*/ 10040820 w 10505529"/>
              <a:gd name="connsiteY8944" fmla="*/ 5892392 h 7458372"/>
              <a:gd name="connsiteX8945" fmla="*/ 10030835 w 10505529"/>
              <a:gd name="connsiteY8945" fmla="*/ 5895986 h 7458372"/>
              <a:gd name="connsiteX8946" fmla="*/ 10027242 w 10505529"/>
              <a:gd name="connsiteY8946" fmla="*/ 5905437 h 7458372"/>
              <a:gd name="connsiteX8947" fmla="*/ 10030835 w 10505529"/>
              <a:gd name="connsiteY8947" fmla="*/ 5914888 h 7458372"/>
              <a:gd name="connsiteX8948" fmla="*/ 10040820 w 10505529"/>
              <a:gd name="connsiteY8948" fmla="*/ 5918350 h 7458372"/>
              <a:gd name="connsiteX8949" fmla="*/ 10046145 w 10505529"/>
              <a:gd name="connsiteY8949" fmla="*/ 5917418 h 7458372"/>
              <a:gd name="connsiteX8950" fmla="*/ 10049872 w 10505529"/>
              <a:gd name="connsiteY8950" fmla="*/ 5915021 h 7458372"/>
              <a:gd name="connsiteX8951" fmla="*/ 10052534 w 10505529"/>
              <a:gd name="connsiteY8951" fmla="*/ 5910761 h 7458372"/>
              <a:gd name="connsiteX8952" fmla="*/ 10053599 w 10505529"/>
              <a:gd name="connsiteY8952" fmla="*/ 5905304 h 7458372"/>
              <a:gd name="connsiteX8953" fmla="*/ 10052534 w 10505529"/>
              <a:gd name="connsiteY8953" fmla="*/ 5900112 h 7458372"/>
              <a:gd name="connsiteX8954" fmla="*/ 10049872 w 10505529"/>
              <a:gd name="connsiteY8954" fmla="*/ 5895986 h 7458372"/>
              <a:gd name="connsiteX8955" fmla="*/ 10045878 w 10505529"/>
              <a:gd name="connsiteY8955" fmla="*/ 5893323 h 7458372"/>
              <a:gd name="connsiteX8956" fmla="*/ 10040820 w 10505529"/>
              <a:gd name="connsiteY8956" fmla="*/ 5892392 h 7458372"/>
              <a:gd name="connsiteX8957" fmla="*/ 9823176 w 10505529"/>
              <a:gd name="connsiteY8957" fmla="*/ 5892392 h 7458372"/>
              <a:gd name="connsiteX8958" fmla="*/ 9813191 w 10505529"/>
              <a:gd name="connsiteY8958" fmla="*/ 5895986 h 7458372"/>
              <a:gd name="connsiteX8959" fmla="*/ 9809597 w 10505529"/>
              <a:gd name="connsiteY8959" fmla="*/ 5905437 h 7458372"/>
              <a:gd name="connsiteX8960" fmla="*/ 9813191 w 10505529"/>
              <a:gd name="connsiteY8960" fmla="*/ 5914888 h 7458372"/>
              <a:gd name="connsiteX8961" fmla="*/ 9823176 w 10505529"/>
              <a:gd name="connsiteY8961" fmla="*/ 5918350 h 7458372"/>
              <a:gd name="connsiteX8962" fmla="*/ 9828501 w 10505529"/>
              <a:gd name="connsiteY8962" fmla="*/ 5917418 h 7458372"/>
              <a:gd name="connsiteX8963" fmla="*/ 9832227 w 10505529"/>
              <a:gd name="connsiteY8963" fmla="*/ 5915021 h 7458372"/>
              <a:gd name="connsiteX8964" fmla="*/ 9834890 w 10505529"/>
              <a:gd name="connsiteY8964" fmla="*/ 5910761 h 7458372"/>
              <a:gd name="connsiteX8965" fmla="*/ 9835955 w 10505529"/>
              <a:gd name="connsiteY8965" fmla="*/ 5905304 h 7458372"/>
              <a:gd name="connsiteX8966" fmla="*/ 9834890 w 10505529"/>
              <a:gd name="connsiteY8966" fmla="*/ 5900112 h 7458372"/>
              <a:gd name="connsiteX8967" fmla="*/ 9832227 w 10505529"/>
              <a:gd name="connsiteY8967" fmla="*/ 5895986 h 7458372"/>
              <a:gd name="connsiteX8968" fmla="*/ 9828234 w 10505529"/>
              <a:gd name="connsiteY8968" fmla="*/ 5893323 h 7458372"/>
              <a:gd name="connsiteX8969" fmla="*/ 9823176 w 10505529"/>
              <a:gd name="connsiteY8969" fmla="*/ 5892392 h 7458372"/>
              <a:gd name="connsiteX8970" fmla="*/ 9605531 w 10505529"/>
              <a:gd name="connsiteY8970" fmla="*/ 5892392 h 7458372"/>
              <a:gd name="connsiteX8971" fmla="*/ 9595546 w 10505529"/>
              <a:gd name="connsiteY8971" fmla="*/ 5895986 h 7458372"/>
              <a:gd name="connsiteX8972" fmla="*/ 9591952 w 10505529"/>
              <a:gd name="connsiteY8972" fmla="*/ 5905437 h 7458372"/>
              <a:gd name="connsiteX8973" fmla="*/ 9595546 w 10505529"/>
              <a:gd name="connsiteY8973" fmla="*/ 5914888 h 7458372"/>
              <a:gd name="connsiteX8974" fmla="*/ 9605531 w 10505529"/>
              <a:gd name="connsiteY8974" fmla="*/ 5918350 h 7458372"/>
              <a:gd name="connsiteX8975" fmla="*/ 9610855 w 10505529"/>
              <a:gd name="connsiteY8975" fmla="*/ 5917418 h 7458372"/>
              <a:gd name="connsiteX8976" fmla="*/ 9614582 w 10505529"/>
              <a:gd name="connsiteY8976" fmla="*/ 5915021 h 7458372"/>
              <a:gd name="connsiteX8977" fmla="*/ 9617245 w 10505529"/>
              <a:gd name="connsiteY8977" fmla="*/ 5910761 h 7458372"/>
              <a:gd name="connsiteX8978" fmla="*/ 9618309 w 10505529"/>
              <a:gd name="connsiteY8978" fmla="*/ 5905304 h 7458372"/>
              <a:gd name="connsiteX8979" fmla="*/ 9617245 w 10505529"/>
              <a:gd name="connsiteY8979" fmla="*/ 5900112 h 7458372"/>
              <a:gd name="connsiteX8980" fmla="*/ 9614582 w 10505529"/>
              <a:gd name="connsiteY8980" fmla="*/ 5895986 h 7458372"/>
              <a:gd name="connsiteX8981" fmla="*/ 9610589 w 10505529"/>
              <a:gd name="connsiteY8981" fmla="*/ 5893323 h 7458372"/>
              <a:gd name="connsiteX8982" fmla="*/ 9605531 w 10505529"/>
              <a:gd name="connsiteY8982" fmla="*/ 5892392 h 7458372"/>
              <a:gd name="connsiteX8983" fmla="*/ 9387885 w 10505529"/>
              <a:gd name="connsiteY8983" fmla="*/ 5892392 h 7458372"/>
              <a:gd name="connsiteX8984" fmla="*/ 9377900 w 10505529"/>
              <a:gd name="connsiteY8984" fmla="*/ 5895986 h 7458372"/>
              <a:gd name="connsiteX8985" fmla="*/ 9374307 w 10505529"/>
              <a:gd name="connsiteY8985" fmla="*/ 5905437 h 7458372"/>
              <a:gd name="connsiteX8986" fmla="*/ 9377900 w 10505529"/>
              <a:gd name="connsiteY8986" fmla="*/ 5914888 h 7458372"/>
              <a:gd name="connsiteX8987" fmla="*/ 9387885 w 10505529"/>
              <a:gd name="connsiteY8987" fmla="*/ 5918350 h 7458372"/>
              <a:gd name="connsiteX8988" fmla="*/ 9393210 w 10505529"/>
              <a:gd name="connsiteY8988" fmla="*/ 5917418 h 7458372"/>
              <a:gd name="connsiteX8989" fmla="*/ 9396937 w 10505529"/>
              <a:gd name="connsiteY8989" fmla="*/ 5915021 h 7458372"/>
              <a:gd name="connsiteX8990" fmla="*/ 9399599 w 10505529"/>
              <a:gd name="connsiteY8990" fmla="*/ 5910761 h 7458372"/>
              <a:gd name="connsiteX8991" fmla="*/ 9400664 w 10505529"/>
              <a:gd name="connsiteY8991" fmla="*/ 5905304 h 7458372"/>
              <a:gd name="connsiteX8992" fmla="*/ 9399599 w 10505529"/>
              <a:gd name="connsiteY8992" fmla="*/ 5900112 h 7458372"/>
              <a:gd name="connsiteX8993" fmla="*/ 9396937 w 10505529"/>
              <a:gd name="connsiteY8993" fmla="*/ 5895986 h 7458372"/>
              <a:gd name="connsiteX8994" fmla="*/ 9392943 w 10505529"/>
              <a:gd name="connsiteY8994" fmla="*/ 5893323 h 7458372"/>
              <a:gd name="connsiteX8995" fmla="*/ 9387885 w 10505529"/>
              <a:gd name="connsiteY8995" fmla="*/ 5892392 h 7458372"/>
              <a:gd name="connsiteX8996" fmla="*/ 9170374 w 10505529"/>
              <a:gd name="connsiteY8996" fmla="*/ 5892392 h 7458372"/>
              <a:gd name="connsiteX8997" fmla="*/ 9160389 w 10505529"/>
              <a:gd name="connsiteY8997" fmla="*/ 5895986 h 7458372"/>
              <a:gd name="connsiteX8998" fmla="*/ 9156795 w 10505529"/>
              <a:gd name="connsiteY8998" fmla="*/ 5905437 h 7458372"/>
              <a:gd name="connsiteX8999" fmla="*/ 9160389 w 10505529"/>
              <a:gd name="connsiteY8999" fmla="*/ 5914888 h 7458372"/>
              <a:gd name="connsiteX9000" fmla="*/ 9170374 w 10505529"/>
              <a:gd name="connsiteY9000" fmla="*/ 5918350 h 7458372"/>
              <a:gd name="connsiteX9001" fmla="*/ 9175698 w 10505529"/>
              <a:gd name="connsiteY9001" fmla="*/ 5917418 h 7458372"/>
              <a:gd name="connsiteX9002" fmla="*/ 9179425 w 10505529"/>
              <a:gd name="connsiteY9002" fmla="*/ 5915021 h 7458372"/>
              <a:gd name="connsiteX9003" fmla="*/ 9182088 w 10505529"/>
              <a:gd name="connsiteY9003" fmla="*/ 5910761 h 7458372"/>
              <a:gd name="connsiteX9004" fmla="*/ 9183152 w 10505529"/>
              <a:gd name="connsiteY9004" fmla="*/ 5905304 h 7458372"/>
              <a:gd name="connsiteX9005" fmla="*/ 9182088 w 10505529"/>
              <a:gd name="connsiteY9005" fmla="*/ 5900112 h 7458372"/>
              <a:gd name="connsiteX9006" fmla="*/ 9179425 w 10505529"/>
              <a:gd name="connsiteY9006" fmla="*/ 5895986 h 7458372"/>
              <a:gd name="connsiteX9007" fmla="*/ 9175432 w 10505529"/>
              <a:gd name="connsiteY9007" fmla="*/ 5893323 h 7458372"/>
              <a:gd name="connsiteX9008" fmla="*/ 9170374 w 10505529"/>
              <a:gd name="connsiteY9008" fmla="*/ 5892392 h 7458372"/>
              <a:gd name="connsiteX9009" fmla="*/ 8952728 w 10505529"/>
              <a:gd name="connsiteY9009" fmla="*/ 5892392 h 7458372"/>
              <a:gd name="connsiteX9010" fmla="*/ 8942743 w 10505529"/>
              <a:gd name="connsiteY9010" fmla="*/ 5895986 h 7458372"/>
              <a:gd name="connsiteX9011" fmla="*/ 8939150 w 10505529"/>
              <a:gd name="connsiteY9011" fmla="*/ 5905437 h 7458372"/>
              <a:gd name="connsiteX9012" fmla="*/ 8942743 w 10505529"/>
              <a:gd name="connsiteY9012" fmla="*/ 5914888 h 7458372"/>
              <a:gd name="connsiteX9013" fmla="*/ 8952728 w 10505529"/>
              <a:gd name="connsiteY9013" fmla="*/ 5918350 h 7458372"/>
              <a:gd name="connsiteX9014" fmla="*/ 8958053 w 10505529"/>
              <a:gd name="connsiteY9014" fmla="*/ 5917418 h 7458372"/>
              <a:gd name="connsiteX9015" fmla="*/ 8961780 w 10505529"/>
              <a:gd name="connsiteY9015" fmla="*/ 5915021 h 7458372"/>
              <a:gd name="connsiteX9016" fmla="*/ 8964442 w 10505529"/>
              <a:gd name="connsiteY9016" fmla="*/ 5910761 h 7458372"/>
              <a:gd name="connsiteX9017" fmla="*/ 8965507 w 10505529"/>
              <a:gd name="connsiteY9017" fmla="*/ 5905304 h 7458372"/>
              <a:gd name="connsiteX9018" fmla="*/ 8964442 w 10505529"/>
              <a:gd name="connsiteY9018" fmla="*/ 5900112 h 7458372"/>
              <a:gd name="connsiteX9019" fmla="*/ 8961780 w 10505529"/>
              <a:gd name="connsiteY9019" fmla="*/ 5895986 h 7458372"/>
              <a:gd name="connsiteX9020" fmla="*/ 8957786 w 10505529"/>
              <a:gd name="connsiteY9020" fmla="*/ 5893323 h 7458372"/>
              <a:gd name="connsiteX9021" fmla="*/ 8952728 w 10505529"/>
              <a:gd name="connsiteY9021" fmla="*/ 5892392 h 7458372"/>
              <a:gd name="connsiteX9022" fmla="*/ 8735083 w 10505529"/>
              <a:gd name="connsiteY9022" fmla="*/ 5892392 h 7458372"/>
              <a:gd name="connsiteX9023" fmla="*/ 8725098 w 10505529"/>
              <a:gd name="connsiteY9023" fmla="*/ 5895986 h 7458372"/>
              <a:gd name="connsiteX9024" fmla="*/ 8721504 w 10505529"/>
              <a:gd name="connsiteY9024" fmla="*/ 5905437 h 7458372"/>
              <a:gd name="connsiteX9025" fmla="*/ 8725098 w 10505529"/>
              <a:gd name="connsiteY9025" fmla="*/ 5914888 h 7458372"/>
              <a:gd name="connsiteX9026" fmla="*/ 8735083 w 10505529"/>
              <a:gd name="connsiteY9026" fmla="*/ 5918350 h 7458372"/>
              <a:gd name="connsiteX9027" fmla="*/ 8740407 w 10505529"/>
              <a:gd name="connsiteY9027" fmla="*/ 5917418 h 7458372"/>
              <a:gd name="connsiteX9028" fmla="*/ 8744134 w 10505529"/>
              <a:gd name="connsiteY9028" fmla="*/ 5915021 h 7458372"/>
              <a:gd name="connsiteX9029" fmla="*/ 8746797 w 10505529"/>
              <a:gd name="connsiteY9029" fmla="*/ 5910761 h 7458372"/>
              <a:gd name="connsiteX9030" fmla="*/ 8747862 w 10505529"/>
              <a:gd name="connsiteY9030" fmla="*/ 5905304 h 7458372"/>
              <a:gd name="connsiteX9031" fmla="*/ 8746797 w 10505529"/>
              <a:gd name="connsiteY9031" fmla="*/ 5900112 h 7458372"/>
              <a:gd name="connsiteX9032" fmla="*/ 8744134 w 10505529"/>
              <a:gd name="connsiteY9032" fmla="*/ 5895986 h 7458372"/>
              <a:gd name="connsiteX9033" fmla="*/ 8740141 w 10505529"/>
              <a:gd name="connsiteY9033" fmla="*/ 5893323 h 7458372"/>
              <a:gd name="connsiteX9034" fmla="*/ 8735083 w 10505529"/>
              <a:gd name="connsiteY9034" fmla="*/ 5892392 h 7458372"/>
              <a:gd name="connsiteX9035" fmla="*/ 8517438 w 10505529"/>
              <a:gd name="connsiteY9035" fmla="*/ 5892392 h 7458372"/>
              <a:gd name="connsiteX9036" fmla="*/ 8507453 w 10505529"/>
              <a:gd name="connsiteY9036" fmla="*/ 5895986 h 7458372"/>
              <a:gd name="connsiteX9037" fmla="*/ 8503860 w 10505529"/>
              <a:gd name="connsiteY9037" fmla="*/ 5905437 h 7458372"/>
              <a:gd name="connsiteX9038" fmla="*/ 8507453 w 10505529"/>
              <a:gd name="connsiteY9038" fmla="*/ 5914888 h 7458372"/>
              <a:gd name="connsiteX9039" fmla="*/ 8517438 w 10505529"/>
              <a:gd name="connsiteY9039" fmla="*/ 5918350 h 7458372"/>
              <a:gd name="connsiteX9040" fmla="*/ 8522763 w 10505529"/>
              <a:gd name="connsiteY9040" fmla="*/ 5917418 h 7458372"/>
              <a:gd name="connsiteX9041" fmla="*/ 8526490 w 10505529"/>
              <a:gd name="connsiteY9041" fmla="*/ 5915021 h 7458372"/>
              <a:gd name="connsiteX9042" fmla="*/ 8529152 w 10505529"/>
              <a:gd name="connsiteY9042" fmla="*/ 5910761 h 7458372"/>
              <a:gd name="connsiteX9043" fmla="*/ 8530084 w 10505529"/>
              <a:gd name="connsiteY9043" fmla="*/ 5905304 h 7458372"/>
              <a:gd name="connsiteX9044" fmla="*/ 8529152 w 10505529"/>
              <a:gd name="connsiteY9044" fmla="*/ 5900112 h 7458372"/>
              <a:gd name="connsiteX9045" fmla="*/ 8526490 w 10505529"/>
              <a:gd name="connsiteY9045" fmla="*/ 5895986 h 7458372"/>
              <a:gd name="connsiteX9046" fmla="*/ 8522496 w 10505529"/>
              <a:gd name="connsiteY9046" fmla="*/ 5893323 h 7458372"/>
              <a:gd name="connsiteX9047" fmla="*/ 8517438 w 10505529"/>
              <a:gd name="connsiteY9047" fmla="*/ 5892392 h 7458372"/>
              <a:gd name="connsiteX9048" fmla="*/ 8299793 w 10505529"/>
              <a:gd name="connsiteY9048" fmla="*/ 5892392 h 7458372"/>
              <a:gd name="connsiteX9049" fmla="*/ 8289809 w 10505529"/>
              <a:gd name="connsiteY9049" fmla="*/ 5895986 h 7458372"/>
              <a:gd name="connsiteX9050" fmla="*/ 8286215 w 10505529"/>
              <a:gd name="connsiteY9050" fmla="*/ 5905437 h 7458372"/>
              <a:gd name="connsiteX9051" fmla="*/ 8289809 w 10505529"/>
              <a:gd name="connsiteY9051" fmla="*/ 5914888 h 7458372"/>
              <a:gd name="connsiteX9052" fmla="*/ 8299793 w 10505529"/>
              <a:gd name="connsiteY9052" fmla="*/ 5918350 h 7458372"/>
              <a:gd name="connsiteX9053" fmla="*/ 8305118 w 10505529"/>
              <a:gd name="connsiteY9053" fmla="*/ 5917418 h 7458372"/>
              <a:gd name="connsiteX9054" fmla="*/ 8308844 w 10505529"/>
              <a:gd name="connsiteY9054" fmla="*/ 5915021 h 7458372"/>
              <a:gd name="connsiteX9055" fmla="*/ 8311507 w 10505529"/>
              <a:gd name="connsiteY9055" fmla="*/ 5910761 h 7458372"/>
              <a:gd name="connsiteX9056" fmla="*/ 8312439 w 10505529"/>
              <a:gd name="connsiteY9056" fmla="*/ 5905304 h 7458372"/>
              <a:gd name="connsiteX9057" fmla="*/ 8311507 w 10505529"/>
              <a:gd name="connsiteY9057" fmla="*/ 5900112 h 7458372"/>
              <a:gd name="connsiteX9058" fmla="*/ 8308844 w 10505529"/>
              <a:gd name="connsiteY9058" fmla="*/ 5895986 h 7458372"/>
              <a:gd name="connsiteX9059" fmla="*/ 8304851 w 10505529"/>
              <a:gd name="connsiteY9059" fmla="*/ 5893323 h 7458372"/>
              <a:gd name="connsiteX9060" fmla="*/ 8299793 w 10505529"/>
              <a:gd name="connsiteY9060" fmla="*/ 5892392 h 7458372"/>
              <a:gd name="connsiteX9061" fmla="*/ 8082281 w 10505529"/>
              <a:gd name="connsiteY9061" fmla="*/ 5892392 h 7458372"/>
              <a:gd name="connsiteX9062" fmla="*/ 8072297 w 10505529"/>
              <a:gd name="connsiteY9062" fmla="*/ 5895986 h 7458372"/>
              <a:gd name="connsiteX9063" fmla="*/ 8068703 w 10505529"/>
              <a:gd name="connsiteY9063" fmla="*/ 5905437 h 7458372"/>
              <a:gd name="connsiteX9064" fmla="*/ 8072297 w 10505529"/>
              <a:gd name="connsiteY9064" fmla="*/ 5914888 h 7458372"/>
              <a:gd name="connsiteX9065" fmla="*/ 8082281 w 10505529"/>
              <a:gd name="connsiteY9065" fmla="*/ 5918350 h 7458372"/>
              <a:gd name="connsiteX9066" fmla="*/ 8087605 w 10505529"/>
              <a:gd name="connsiteY9066" fmla="*/ 5917418 h 7458372"/>
              <a:gd name="connsiteX9067" fmla="*/ 8091332 w 10505529"/>
              <a:gd name="connsiteY9067" fmla="*/ 5915021 h 7458372"/>
              <a:gd name="connsiteX9068" fmla="*/ 8093994 w 10505529"/>
              <a:gd name="connsiteY9068" fmla="*/ 5910761 h 7458372"/>
              <a:gd name="connsiteX9069" fmla="*/ 8094926 w 10505529"/>
              <a:gd name="connsiteY9069" fmla="*/ 5905304 h 7458372"/>
              <a:gd name="connsiteX9070" fmla="*/ 8093994 w 10505529"/>
              <a:gd name="connsiteY9070" fmla="*/ 5900112 h 7458372"/>
              <a:gd name="connsiteX9071" fmla="*/ 8091332 w 10505529"/>
              <a:gd name="connsiteY9071" fmla="*/ 5895986 h 7458372"/>
              <a:gd name="connsiteX9072" fmla="*/ 8087338 w 10505529"/>
              <a:gd name="connsiteY9072" fmla="*/ 5893323 h 7458372"/>
              <a:gd name="connsiteX9073" fmla="*/ 8082281 w 10505529"/>
              <a:gd name="connsiteY9073" fmla="*/ 5892392 h 7458372"/>
              <a:gd name="connsiteX9074" fmla="*/ 7864636 w 10505529"/>
              <a:gd name="connsiteY9074" fmla="*/ 5892392 h 7458372"/>
              <a:gd name="connsiteX9075" fmla="*/ 7854652 w 10505529"/>
              <a:gd name="connsiteY9075" fmla="*/ 5895986 h 7458372"/>
              <a:gd name="connsiteX9076" fmla="*/ 7851058 w 10505529"/>
              <a:gd name="connsiteY9076" fmla="*/ 5905437 h 7458372"/>
              <a:gd name="connsiteX9077" fmla="*/ 7854652 w 10505529"/>
              <a:gd name="connsiteY9077" fmla="*/ 5914888 h 7458372"/>
              <a:gd name="connsiteX9078" fmla="*/ 7864636 w 10505529"/>
              <a:gd name="connsiteY9078" fmla="*/ 5918350 h 7458372"/>
              <a:gd name="connsiteX9079" fmla="*/ 7869961 w 10505529"/>
              <a:gd name="connsiteY9079" fmla="*/ 5917418 h 7458372"/>
              <a:gd name="connsiteX9080" fmla="*/ 7873687 w 10505529"/>
              <a:gd name="connsiteY9080" fmla="*/ 5915021 h 7458372"/>
              <a:gd name="connsiteX9081" fmla="*/ 7876350 w 10505529"/>
              <a:gd name="connsiteY9081" fmla="*/ 5910761 h 7458372"/>
              <a:gd name="connsiteX9082" fmla="*/ 7877282 w 10505529"/>
              <a:gd name="connsiteY9082" fmla="*/ 5905304 h 7458372"/>
              <a:gd name="connsiteX9083" fmla="*/ 7876350 w 10505529"/>
              <a:gd name="connsiteY9083" fmla="*/ 5900112 h 7458372"/>
              <a:gd name="connsiteX9084" fmla="*/ 7873687 w 10505529"/>
              <a:gd name="connsiteY9084" fmla="*/ 5895986 h 7458372"/>
              <a:gd name="connsiteX9085" fmla="*/ 7869694 w 10505529"/>
              <a:gd name="connsiteY9085" fmla="*/ 5893323 h 7458372"/>
              <a:gd name="connsiteX9086" fmla="*/ 7864636 w 10505529"/>
              <a:gd name="connsiteY9086" fmla="*/ 5892392 h 7458372"/>
              <a:gd name="connsiteX9087" fmla="*/ 7646991 w 10505529"/>
              <a:gd name="connsiteY9087" fmla="*/ 5892392 h 7458372"/>
              <a:gd name="connsiteX9088" fmla="*/ 7637007 w 10505529"/>
              <a:gd name="connsiteY9088" fmla="*/ 5895986 h 7458372"/>
              <a:gd name="connsiteX9089" fmla="*/ 7633413 w 10505529"/>
              <a:gd name="connsiteY9089" fmla="*/ 5905437 h 7458372"/>
              <a:gd name="connsiteX9090" fmla="*/ 7637007 w 10505529"/>
              <a:gd name="connsiteY9090" fmla="*/ 5914888 h 7458372"/>
              <a:gd name="connsiteX9091" fmla="*/ 7646991 w 10505529"/>
              <a:gd name="connsiteY9091" fmla="*/ 5918350 h 7458372"/>
              <a:gd name="connsiteX9092" fmla="*/ 7652315 w 10505529"/>
              <a:gd name="connsiteY9092" fmla="*/ 5917418 h 7458372"/>
              <a:gd name="connsiteX9093" fmla="*/ 7656042 w 10505529"/>
              <a:gd name="connsiteY9093" fmla="*/ 5915021 h 7458372"/>
              <a:gd name="connsiteX9094" fmla="*/ 7658705 w 10505529"/>
              <a:gd name="connsiteY9094" fmla="*/ 5910761 h 7458372"/>
              <a:gd name="connsiteX9095" fmla="*/ 7659769 w 10505529"/>
              <a:gd name="connsiteY9095" fmla="*/ 5905304 h 7458372"/>
              <a:gd name="connsiteX9096" fmla="*/ 7658705 w 10505529"/>
              <a:gd name="connsiteY9096" fmla="*/ 5900112 h 7458372"/>
              <a:gd name="connsiteX9097" fmla="*/ 7656042 w 10505529"/>
              <a:gd name="connsiteY9097" fmla="*/ 5895986 h 7458372"/>
              <a:gd name="connsiteX9098" fmla="*/ 7652049 w 10505529"/>
              <a:gd name="connsiteY9098" fmla="*/ 5893323 h 7458372"/>
              <a:gd name="connsiteX9099" fmla="*/ 7646991 w 10505529"/>
              <a:gd name="connsiteY9099" fmla="*/ 5892392 h 7458372"/>
              <a:gd name="connsiteX9100" fmla="*/ 7429345 w 10505529"/>
              <a:gd name="connsiteY9100" fmla="*/ 5892392 h 7458372"/>
              <a:gd name="connsiteX9101" fmla="*/ 7419361 w 10505529"/>
              <a:gd name="connsiteY9101" fmla="*/ 5895986 h 7458372"/>
              <a:gd name="connsiteX9102" fmla="*/ 7415768 w 10505529"/>
              <a:gd name="connsiteY9102" fmla="*/ 5905437 h 7458372"/>
              <a:gd name="connsiteX9103" fmla="*/ 7419361 w 10505529"/>
              <a:gd name="connsiteY9103" fmla="*/ 5914888 h 7458372"/>
              <a:gd name="connsiteX9104" fmla="*/ 7429345 w 10505529"/>
              <a:gd name="connsiteY9104" fmla="*/ 5918350 h 7458372"/>
              <a:gd name="connsiteX9105" fmla="*/ 7434670 w 10505529"/>
              <a:gd name="connsiteY9105" fmla="*/ 5917418 h 7458372"/>
              <a:gd name="connsiteX9106" fmla="*/ 7438397 w 10505529"/>
              <a:gd name="connsiteY9106" fmla="*/ 5915021 h 7458372"/>
              <a:gd name="connsiteX9107" fmla="*/ 7441059 w 10505529"/>
              <a:gd name="connsiteY9107" fmla="*/ 5910761 h 7458372"/>
              <a:gd name="connsiteX9108" fmla="*/ 7442124 w 10505529"/>
              <a:gd name="connsiteY9108" fmla="*/ 5905304 h 7458372"/>
              <a:gd name="connsiteX9109" fmla="*/ 7441059 w 10505529"/>
              <a:gd name="connsiteY9109" fmla="*/ 5900112 h 7458372"/>
              <a:gd name="connsiteX9110" fmla="*/ 7438397 w 10505529"/>
              <a:gd name="connsiteY9110" fmla="*/ 5895986 h 7458372"/>
              <a:gd name="connsiteX9111" fmla="*/ 7434403 w 10505529"/>
              <a:gd name="connsiteY9111" fmla="*/ 5893323 h 7458372"/>
              <a:gd name="connsiteX9112" fmla="*/ 7429345 w 10505529"/>
              <a:gd name="connsiteY9112" fmla="*/ 5892392 h 7458372"/>
              <a:gd name="connsiteX9113" fmla="*/ 7211701 w 10505529"/>
              <a:gd name="connsiteY9113" fmla="*/ 5892392 h 7458372"/>
              <a:gd name="connsiteX9114" fmla="*/ 7201717 w 10505529"/>
              <a:gd name="connsiteY9114" fmla="*/ 5895986 h 7458372"/>
              <a:gd name="connsiteX9115" fmla="*/ 7198123 w 10505529"/>
              <a:gd name="connsiteY9115" fmla="*/ 5905437 h 7458372"/>
              <a:gd name="connsiteX9116" fmla="*/ 7201717 w 10505529"/>
              <a:gd name="connsiteY9116" fmla="*/ 5914888 h 7458372"/>
              <a:gd name="connsiteX9117" fmla="*/ 7211701 w 10505529"/>
              <a:gd name="connsiteY9117" fmla="*/ 5918350 h 7458372"/>
              <a:gd name="connsiteX9118" fmla="*/ 7217026 w 10505529"/>
              <a:gd name="connsiteY9118" fmla="*/ 5917418 h 7458372"/>
              <a:gd name="connsiteX9119" fmla="*/ 7220752 w 10505529"/>
              <a:gd name="connsiteY9119" fmla="*/ 5915021 h 7458372"/>
              <a:gd name="connsiteX9120" fmla="*/ 7223415 w 10505529"/>
              <a:gd name="connsiteY9120" fmla="*/ 5910761 h 7458372"/>
              <a:gd name="connsiteX9121" fmla="*/ 7224480 w 10505529"/>
              <a:gd name="connsiteY9121" fmla="*/ 5905304 h 7458372"/>
              <a:gd name="connsiteX9122" fmla="*/ 7223415 w 10505529"/>
              <a:gd name="connsiteY9122" fmla="*/ 5900112 h 7458372"/>
              <a:gd name="connsiteX9123" fmla="*/ 7220752 w 10505529"/>
              <a:gd name="connsiteY9123" fmla="*/ 5895986 h 7458372"/>
              <a:gd name="connsiteX9124" fmla="*/ 7216759 w 10505529"/>
              <a:gd name="connsiteY9124" fmla="*/ 5893323 h 7458372"/>
              <a:gd name="connsiteX9125" fmla="*/ 7211701 w 10505529"/>
              <a:gd name="connsiteY9125" fmla="*/ 5892392 h 7458372"/>
              <a:gd name="connsiteX9126" fmla="*/ 6994056 w 10505529"/>
              <a:gd name="connsiteY9126" fmla="*/ 5892392 h 7458372"/>
              <a:gd name="connsiteX9127" fmla="*/ 6984072 w 10505529"/>
              <a:gd name="connsiteY9127" fmla="*/ 5895986 h 7458372"/>
              <a:gd name="connsiteX9128" fmla="*/ 6980478 w 10505529"/>
              <a:gd name="connsiteY9128" fmla="*/ 5905437 h 7458372"/>
              <a:gd name="connsiteX9129" fmla="*/ 6984072 w 10505529"/>
              <a:gd name="connsiteY9129" fmla="*/ 5914888 h 7458372"/>
              <a:gd name="connsiteX9130" fmla="*/ 6994056 w 10505529"/>
              <a:gd name="connsiteY9130" fmla="*/ 5918350 h 7458372"/>
              <a:gd name="connsiteX9131" fmla="*/ 6999380 w 10505529"/>
              <a:gd name="connsiteY9131" fmla="*/ 5917418 h 7458372"/>
              <a:gd name="connsiteX9132" fmla="*/ 7003107 w 10505529"/>
              <a:gd name="connsiteY9132" fmla="*/ 5915021 h 7458372"/>
              <a:gd name="connsiteX9133" fmla="*/ 7005769 w 10505529"/>
              <a:gd name="connsiteY9133" fmla="*/ 5910761 h 7458372"/>
              <a:gd name="connsiteX9134" fmla="*/ 7006834 w 10505529"/>
              <a:gd name="connsiteY9134" fmla="*/ 5905304 h 7458372"/>
              <a:gd name="connsiteX9135" fmla="*/ 7005769 w 10505529"/>
              <a:gd name="connsiteY9135" fmla="*/ 5900112 h 7458372"/>
              <a:gd name="connsiteX9136" fmla="*/ 7003107 w 10505529"/>
              <a:gd name="connsiteY9136" fmla="*/ 5895986 h 7458372"/>
              <a:gd name="connsiteX9137" fmla="*/ 6999113 w 10505529"/>
              <a:gd name="connsiteY9137" fmla="*/ 5893323 h 7458372"/>
              <a:gd name="connsiteX9138" fmla="*/ 6994056 w 10505529"/>
              <a:gd name="connsiteY9138" fmla="*/ 5892392 h 7458372"/>
              <a:gd name="connsiteX9139" fmla="*/ 6776544 w 10505529"/>
              <a:gd name="connsiteY9139" fmla="*/ 5892392 h 7458372"/>
              <a:gd name="connsiteX9140" fmla="*/ 6766560 w 10505529"/>
              <a:gd name="connsiteY9140" fmla="*/ 5895986 h 7458372"/>
              <a:gd name="connsiteX9141" fmla="*/ 6762966 w 10505529"/>
              <a:gd name="connsiteY9141" fmla="*/ 5905437 h 7458372"/>
              <a:gd name="connsiteX9142" fmla="*/ 6766560 w 10505529"/>
              <a:gd name="connsiteY9142" fmla="*/ 5914888 h 7458372"/>
              <a:gd name="connsiteX9143" fmla="*/ 6776544 w 10505529"/>
              <a:gd name="connsiteY9143" fmla="*/ 5918350 h 7458372"/>
              <a:gd name="connsiteX9144" fmla="*/ 6781869 w 10505529"/>
              <a:gd name="connsiteY9144" fmla="*/ 5917418 h 7458372"/>
              <a:gd name="connsiteX9145" fmla="*/ 6785595 w 10505529"/>
              <a:gd name="connsiteY9145" fmla="*/ 5915021 h 7458372"/>
              <a:gd name="connsiteX9146" fmla="*/ 6788258 w 10505529"/>
              <a:gd name="connsiteY9146" fmla="*/ 5910761 h 7458372"/>
              <a:gd name="connsiteX9147" fmla="*/ 6789323 w 10505529"/>
              <a:gd name="connsiteY9147" fmla="*/ 5905304 h 7458372"/>
              <a:gd name="connsiteX9148" fmla="*/ 6788258 w 10505529"/>
              <a:gd name="connsiteY9148" fmla="*/ 5900112 h 7458372"/>
              <a:gd name="connsiteX9149" fmla="*/ 6785595 w 10505529"/>
              <a:gd name="connsiteY9149" fmla="*/ 5895986 h 7458372"/>
              <a:gd name="connsiteX9150" fmla="*/ 6781602 w 10505529"/>
              <a:gd name="connsiteY9150" fmla="*/ 5893323 h 7458372"/>
              <a:gd name="connsiteX9151" fmla="*/ 6776544 w 10505529"/>
              <a:gd name="connsiteY9151" fmla="*/ 5892392 h 7458372"/>
              <a:gd name="connsiteX9152" fmla="*/ 6558899 w 10505529"/>
              <a:gd name="connsiteY9152" fmla="*/ 5892392 h 7458372"/>
              <a:gd name="connsiteX9153" fmla="*/ 6548915 w 10505529"/>
              <a:gd name="connsiteY9153" fmla="*/ 5895986 h 7458372"/>
              <a:gd name="connsiteX9154" fmla="*/ 6545321 w 10505529"/>
              <a:gd name="connsiteY9154" fmla="*/ 5905437 h 7458372"/>
              <a:gd name="connsiteX9155" fmla="*/ 6548915 w 10505529"/>
              <a:gd name="connsiteY9155" fmla="*/ 5914888 h 7458372"/>
              <a:gd name="connsiteX9156" fmla="*/ 6558899 w 10505529"/>
              <a:gd name="connsiteY9156" fmla="*/ 5918350 h 7458372"/>
              <a:gd name="connsiteX9157" fmla="*/ 6564223 w 10505529"/>
              <a:gd name="connsiteY9157" fmla="*/ 5917418 h 7458372"/>
              <a:gd name="connsiteX9158" fmla="*/ 6567950 w 10505529"/>
              <a:gd name="connsiteY9158" fmla="*/ 5915021 h 7458372"/>
              <a:gd name="connsiteX9159" fmla="*/ 6570612 w 10505529"/>
              <a:gd name="connsiteY9159" fmla="*/ 5910761 h 7458372"/>
              <a:gd name="connsiteX9160" fmla="*/ 6571677 w 10505529"/>
              <a:gd name="connsiteY9160" fmla="*/ 5905304 h 7458372"/>
              <a:gd name="connsiteX9161" fmla="*/ 6570612 w 10505529"/>
              <a:gd name="connsiteY9161" fmla="*/ 5900112 h 7458372"/>
              <a:gd name="connsiteX9162" fmla="*/ 6567950 w 10505529"/>
              <a:gd name="connsiteY9162" fmla="*/ 5895986 h 7458372"/>
              <a:gd name="connsiteX9163" fmla="*/ 6563956 w 10505529"/>
              <a:gd name="connsiteY9163" fmla="*/ 5893323 h 7458372"/>
              <a:gd name="connsiteX9164" fmla="*/ 6558899 w 10505529"/>
              <a:gd name="connsiteY9164" fmla="*/ 5892392 h 7458372"/>
              <a:gd name="connsiteX9165" fmla="*/ 6341253 w 10505529"/>
              <a:gd name="connsiteY9165" fmla="*/ 5892392 h 7458372"/>
              <a:gd name="connsiteX9166" fmla="*/ 6331270 w 10505529"/>
              <a:gd name="connsiteY9166" fmla="*/ 5895986 h 7458372"/>
              <a:gd name="connsiteX9167" fmla="*/ 6327675 w 10505529"/>
              <a:gd name="connsiteY9167" fmla="*/ 5905437 h 7458372"/>
              <a:gd name="connsiteX9168" fmla="*/ 6331270 w 10505529"/>
              <a:gd name="connsiteY9168" fmla="*/ 5914888 h 7458372"/>
              <a:gd name="connsiteX9169" fmla="*/ 6341253 w 10505529"/>
              <a:gd name="connsiteY9169" fmla="*/ 5918350 h 7458372"/>
              <a:gd name="connsiteX9170" fmla="*/ 6346578 w 10505529"/>
              <a:gd name="connsiteY9170" fmla="*/ 5917418 h 7458372"/>
              <a:gd name="connsiteX9171" fmla="*/ 6350305 w 10505529"/>
              <a:gd name="connsiteY9171" fmla="*/ 5915021 h 7458372"/>
              <a:gd name="connsiteX9172" fmla="*/ 6352968 w 10505529"/>
              <a:gd name="connsiteY9172" fmla="*/ 5910761 h 7458372"/>
              <a:gd name="connsiteX9173" fmla="*/ 6354033 w 10505529"/>
              <a:gd name="connsiteY9173" fmla="*/ 5905304 h 7458372"/>
              <a:gd name="connsiteX9174" fmla="*/ 6352968 w 10505529"/>
              <a:gd name="connsiteY9174" fmla="*/ 5900112 h 7458372"/>
              <a:gd name="connsiteX9175" fmla="*/ 6350305 w 10505529"/>
              <a:gd name="connsiteY9175" fmla="*/ 5895986 h 7458372"/>
              <a:gd name="connsiteX9176" fmla="*/ 6346312 w 10505529"/>
              <a:gd name="connsiteY9176" fmla="*/ 5893323 h 7458372"/>
              <a:gd name="connsiteX9177" fmla="*/ 6341253 w 10505529"/>
              <a:gd name="connsiteY9177" fmla="*/ 5892392 h 7458372"/>
              <a:gd name="connsiteX9178" fmla="*/ 6123608 w 10505529"/>
              <a:gd name="connsiteY9178" fmla="*/ 5892392 h 7458372"/>
              <a:gd name="connsiteX9179" fmla="*/ 6113624 w 10505529"/>
              <a:gd name="connsiteY9179" fmla="*/ 5895986 h 7458372"/>
              <a:gd name="connsiteX9180" fmla="*/ 6110030 w 10505529"/>
              <a:gd name="connsiteY9180" fmla="*/ 5905437 h 7458372"/>
              <a:gd name="connsiteX9181" fmla="*/ 6113624 w 10505529"/>
              <a:gd name="connsiteY9181" fmla="*/ 5914888 h 7458372"/>
              <a:gd name="connsiteX9182" fmla="*/ 6123608 w 10505529"/>
              <a:gd name="connsiteY9182" fmla="*/ 5918350 h 7458372"/>
              <a:gd name="connsiteX9183" fmla="*/ 6128932 w 10505529"/>
              <a:gd name="connsiteY9183" fmla="*/ 5917418 h 7458372"/>
              <a:gd name="connsiteX9184" fmla="*/ 6132659 w 10505529"/>
              <a:gd name="connsiteY9184" fmla="*/ 5915021 h 7458372"/>
              <a:gd name="connsiteX9185" fmla="*/ 6135322 w 10505529"/>
              <a:gd name="connsiteY9185" fmla="*/ 5910761 h 7458372"/>
              <a:gd name="connsiteX9186" fmla="*/ 6136387 w 10505529"/>
              <a:gd name="connsiteY9186" fmla="*/ 5905304 h 7458372"/>
              <a:gd name="connsiteX9187" fmla="*/ 6135322 w 10505529"/>
              <a:gd name="connsiteY9187" fmla="*/ 5900112 h 7458372"/>
              <a:gd name="connsiteX9188" fmla="*/ 6132659 w 10505529"/>
              <a:gd name="connsiteY9188" fmla="*/ 5895986 h 7458372"/>
              <a:gd name="connsiteX9189" fmla="*/ 6128666 w 10505529"/>
              <a:gd name="connsiteY9189" fmla="*/ 5893323 h 7458372"/>
              <a:gd name="connsiteX9190" fmla="*/ 6123608 w 10505529"/>
              <a:gd name="connsiteY9190" fmla="*/ 5892392 h 7458372"/>
              <a:gd name="connsiteX9191" fmla="*/ 5905963 w 10505529"/>
              <a:gd name="connsiteY9191" fmla="*/ 5892392 h 7458372"/>
              <a:gd name="connsiteX9192" fmla="*/ 5895979 w 10505529"/>
              <a:gd name="connsiteY9192" fmla="*/ 5895986 h 7458372"/>
              <a:gd name="connsiteX9193" fmla="*/ 5892385 w 10505529"/>
              <a:gd name="connsiteY9193" fmla="*/ 5905437 h 7458372"/>
              <a:gd name="connsiteX9194" fmla="*/ 5895979 w 10505529"/>
              <a:gd name="connsiteY9194" fmla="*/ 5914888 h 7458372"/>
              <a:gd name="connsiteX9195" fmla="*/ 5905963 w 10505529"/>
              <a:gd name="connsiteY9195" fmla="*/ 5918350 h 7458372"/>
              <a:gd name="connsiteX9196" fmla="*/ 5911287 w 10505529"/>
              <a:gd name="connsiteY9196" fmla="*/ 5917418 h 7458372"/>
              <a:gd name="connsiteX9197" fmla="*/ 5915014 w 10505529"/>
              <a:gd name="connsiteY9197" fmla="*/ 5915021 h 7458372"/>
              <a:gd name="connsiteX9198" fmla="*/ 5917677 w 10505529"/>
              <a:gd name="connsiteY9198" fmla="*/ 5910761 h 7458372"/>
              <a:gd name="connsiteX9199" fmla="*/ 5918742 w 10505529"/>
              <a:gd name="connsiteY9199" fmla="*/ 5905304 h 7458372"/>
              <a:gd name="connsiteX9200" fmla="*/ 5917677 w 10505529"/>
              <a:gd name="connsiteY9200" fmla="*/ 5900112 h 7458372"/>
              <a:gd name="connsiteX9201" fmla="*/ 5915014 w 10505529"/>
              <a:gd name="connsiteY9201" fmla="*/ 5895986 h 7458372"/>
              <a:gd name="connsiteX9202" fmla="*/ 5911021 w 10505529"/>
              <a:gd name="connsiteY9202" fmla="*/ 5893323 h 7458372"/>
              <a:gd name="connsiteX9203" fmla="*/ 5905963 w 10505529"/>
              <a:gd name="connsiteY9203" fmla="*/ 5892392 h 7458372"/>
              <a:gd name="connsiteX9204" fmla="*/ 5688451 w 10505529"/>
              <a:gd name="connsiteY9204" fmla="*/ 5892392 h 7458372"/>
              <a:gd name="connsiteX9205" fmla="*/ 5678467 w 10505529"/>
              <a:gd name="connsiteY9205" fmla="*/ 5895986 h 7458372"/>
              <a:gd name="connsiteX9206" fmla="*/ 5674873 w 10505529"/>
              <a:gd name="connsiteY9206" fmla="*/ 5905437 h 7458372"/>
              <a:gd name="connsiteX9207" fmla="*/ 5678467 w 10505529"/>
              <a:gd name="connsiteY9207" fmla="*/ 5914888 h 7458372"/>
              <a:gd name="connsiteX9208" fmla="*/ 5688451 w 10505529"/>
              <a:gd name="connsiteY9208" fmla="*/ 5918350 h 7458372"/>
              <a:gd name="connsiteX9209" fmla="*/ 5693775 w 10505529"/>
              <a:gd name="connsiteY9209" fmla="*/ 5917418 h 7458372"/>
              <a:gd name="connsiteX9210" fmla="*/ 5697502 w 10505529"/>
              <a:gd name="connsiteY9210" fmla="*/ 5915021 h 7458372"/>
              <a:gd name="connsiteX9211" fmla="*/ 5700165 w 10505529"/>
              <a:gd name="connsiteY9211" fmla="*/ 5910761 h 7458372"/>
              <a:gd name="connsiteX9212" fmla="*/ 5701230 w 10505529"/>
              <a:gd name="connsiteY9212" fmla="*/ 5905304 h 7458372"/>
              <a:gd name="connsiteX9213" fmla="*/ 5700165 w 10505529"/>
              <a:gd name="connsiteY9213" fmla="*/ 5900112 h 7458372"/>
              <a:gd name="connsiteX9214" fmla="*/ 5697502 w 10505529"/>
              <a:gd name="connsiteY9214" fmla="*/ 5895986 h 7458372"/>
              <a:gd name="connsiteX9215" fmla="*/ 5693509 w 10505529"/>
              <a:gd name="connsiteY9215" fmla="*/ 5893323 h 7458372"/>
              <a:gd name="connsiteX9216" fmla="*/ 5688451 w 10505529"/>
              <a:gd name="connsiteY9216" fmla="*/ 5892392 h 7458372"/>
              <a:gd name="connsiteX9217" fmla="*/ 5470806 w 10505529"/>
              <a:gd name="connsiteY9217" fmla="*/ 5892392 h 7458372"/>
              <a:gd name="connsiteX9218" fmla="*/ 5460822 w 10505529"/>
              <a:gd name="connsiteY9218" fmla="*/ 5895986 h 7458372"/>
              <a:gd name="connsiteX9219" fmla="*/ 5457228 w 10505529"/>
              <a:gd name="connsiteY9219" fmla="*/ 5905437 h 7458372"/>
              <a:gd name="connsiteX9220" fmla="*/ 5460822 w 10505529"/>
              <a:gd name="connsiteY9220" fmla="*/ 5914888 h 7458372"/>
              <a:gd name="connsiteX9221" fmla="*/ 5470806 w 10505529"/>
              <a:gd name="connsiteY9221" fmla="*/ 5918350 h 7458372"/>
              <a:gd name="connsiteX9222" fmla="*/ 5476130 w 10505529"/>
              <a:gd name="connsiteY9222" fmla="*/ 5917418 h 7458372"/>
              <a:gd name="connsiteX9223" fmla="*/ 5479857 w 10505529"/>
              <a:gd name="connsiteY9223" fmla="*/ 5915021 h 7458372"/>
              <a:gd name="connsiteX9224" fmla="*/ 5482520 w 10505529"/>
              <a:gd name="connsiteY9224" fmla="*/ 5910761 h 7458372"/>
              <a:gd name="connsiteX9225" fmla="*/ 5483585 w 10505529"/>
              <a:gd name="connsiteY9225" fmla="*/ 5905304 h 7458372"/>
              <a:gd name="connsiteX9226" fmla="*/ 5482520 w 10505529"/>
              <a:gd name="connsiteY9226" fmla="*/ 5900112 h 7458372"/>
              <a:gd name="connsiteX9227" fmla="*/ 5479857 w 10505529"/>
              <a:gd name="connsiteY9227" fmla="*/ 5895986 h 7458372"/>
              <a:gd name="connsiteX9228" fmla="*/ 5475864 w 10505529"/>
              <a:gd name="connsiteY9228" fmla="*/ 5893323 h 7458372"/>
              <a:gd name="connsiteX9229" fmla="*/ 5470806 w 10505529"/>
              <a:gd name="connsiteY9229" fmla="*/ 5892392 h 7458372"/>
              <a:gd name="connsiteX9230" fmla="*/ 5253160 w 10505529"/>
              <a:gd name="connsiteY9230" fmla="*/ 5892392 h 7458372"/>
              <a:gd name="connsiteX9231" fmla="*/ 5243177 w 10505529"/>
              <a:gd name="connsiteY9231" fmla="*/ 5895986 h 7458372"/>
              <a:gd name="connsiteX9232" fmla="*/ 5239583 w 10505529"/>
              <a:gd name="connsiteY9232" fmla="*/ 5905437 h 7458372"/>
              <a:gd name="connsiteX9233" fmla="*/ 5243177 w 10505529"/>
              <a:gd name="connsiteY9233" fmla="*/ 5914888 h 7458372"/>
              <a:gd name="connsiteX9234" fmla="*/ 5253160 w 10505529"/>
              <a:gd name="connsiteY9234" fmla="*/ 5918350 h 7458372"/>
              <a:gd name="connsiteX9235" fmla="*/ 5258485 w 10505529"/>
              <a:gd name="connsiteY9235" fmla="*/ 5917418 h 7458372"/>
              <a:gd name="connsiteX9236" fmla="*/ 5262212 w 10505529"/>
              <a:gd name="connsiteY9236" fmla="*/ 5915021 h 7458372"/>
              <a:gd name="connsiteX9237" fmla="*/ 5264875 w 10505529"/>
              <a:gd name="connsiteY9237" fmla="*/ 5910761 h 7458372"/>
              <a:gd name="connsiteX9238" fmla="*/ 5265939 w 10505529"/>
              <a:gd name="connsiteY9238" fmla="*/ 5905304 h 7458372"/>
              <a:gd name="connsiteX9239" fmla="*/ 5264875 w 10505529"/>
              <a:gd name="connsiteY9239" fmla="*/ 5900112 h 7458372"/>
              <a:gd name="connsiteX9240" fmla="*/ 5262212 w 10505529"/>
              <a:gd name="connsiteY9240" fmla="*/ 5895986 h 7458372"/>
              <a:gd name="connsiteX9241" fmla="*/ 5258219 w 10505529"/>
              <a:gd name="connsiteY9241" fmla="*/ 5893323 h 7458372"/>
              <a:gd name="connsiteX9242" fmla="*/ 5253160 w 10505529"/>
              <a:gd name="connsiteY9242" fmla="*/ 5892392 h 7458372"/>
              <a:gd name="connsiteX9243" fmla="*/ 5035515 w 10505529"/>
              <a:gd name="connsiteY9243" fmla="*/ 5892392 h 7458372"/>
              <a:gd name="connsiteX9244" fmla="*/ 5025532 w 10505529"/>
              <a:gd name="connsiteY9244" fmla="*/ 5895986 h 7458372"/>
              <a:gd name="connsiteX9245" fmla="*/ 5021938 w 10505529"/>
              <a:gd name="connsiteY9245" fmla="*/ 5905437 h 7458372"/>
              <a:gd name="connsiteX9246" fmla="*/ 5025532 w 10505529"/>
              <a:gd name="connsiteY9246" fmla="*/ 5914888 h 7458372"/>
              <a:gd name="connsiteX9247" fmla="*/ 5035515 w 10505529"/>
              <a:gd name="connsiteY9247" fmla="*/ 5918350 h 7458372"/>
              <a:gd name="connsiteX9248" fmla="*/ 5040840 w 10505529"/>
              <a:gd name="connsiteY9248" fmla="*/ 5917418 h 7458372"/>
              <a:gd name="connsiteX9249" fmla="*/ 5044567 w 10505529"/>
              <a:gd name="connsiteY9249" fmla="*/ 5915021 h 7458372"/>
              <a:gd name="connsiteX9250" fmla="*/ 5047230 w 10505529"/>
              <a:gd name="connsiteY9250" fmla="*/ 5910761 h 7458372"/>
              <a:gd name="connsiteX9251" fmla="*/ 5048294 w 10505529"/>
              <a:gd name="connsiteY9251" fmla="*/ 5905304 h 7458372"/>
              <a:gd name="connsiteX9252" fmla="*/ 5047230 w 10505529"/>
              <a:gd name="connsiteY9252" fmla="*/ 5900112 h 7458372"/>
              <a:gd name="connsiteX9253" fmla="*/ 5044567 w 10505529"/>
              <a:gd name="connsiteY9253" fmla="*/ 5895986 h 7458372"/>
              <a:gd name="connsiteX9254" fmla="*/ 5040574 w 10505529"/>
              <a:gd name="connsiteY9254" fmla="*/ 5893323 h 7458372"/>
              <a:gd name="connsiteX9255" fmla="*/ 5035515 w 10505529"/>
              <a:gd name="connsiteY9255" fmla="*/ 5892392 h 7458372"/>
              <a:gd name="connsiteX9256" fmla="*/ 4817870 w 10505529"/>
              <a:gd name="connsiteY9256" fmla="*/ 5892392 h 7458372"/>
              <a:gd name="connsiteX9257" fmla="*/ 4807887 w 10505529"/>
              <a:gd name="connsiteY9257" fmla="*/ 5895986 h 7458372"/>
              <a:gd name="connsiteX9258" fmla="*/ 4804293 w 10505529"/>
              <a:gd name="connsiteY9258" fmla="*/ 5905437 h 7458372"/>
              <a:gd name="connsiteX9259" fmla="*/ 4807887 w 10505529"/>
              <a:gd name="connsiteY9259" fmla="*/ 5914888 h 7458372"/>
              <a:gd name="connsiteX9260" fmla="*/ 4817870 w 10505529"/>
              <a:gd name="connsiteY9260" fmla="*/ 5918350 h 7458372"/>
              <a:gd name="connsiteX9261" fmla="*/ 4823195 w 10505529"/>
              <a:gd name="connsiteY9261" fmla="*/ 5917418 h 7458372"/>
              <a:gd name="connsiteX9262" fmla="*/ 4826922 w 10505529"/>
              <a:gd name="connsiteY9262" fmla="*/ 5915021 h 7458372"/>
              <a:gd name="connsiteX9263" fmla="*/ 4829585 w 10505529"/>
              <a:gd name="connsiteY9263" fmla="*/ 5910761 h 7458372"/>
              <a:gd name="connsiteX9264" fmla="*/ 4830650 w 10505529"/>
              <a:gd name="connsiteY9264" fmla="*/ 5905304 h 7458372"/>
              <a:gd name="connsiteX9265" fmla="*/ 4829585 w 10505529"/>
              <a:gd name="connsiteY9265" fmla="*/ 5900112 h 7458372"/>
              <a:gd name="connsiteX9266" fmla="*/ 4826922 w 10505529"/>
              <a:gd name="connsiteY9266" fmla="*/ 5895986 h 7458372"/>
              <a:gd name="connsiteX9267" fmla="*/ 4822929 w 10505529"/>
              <a:gd name="connsiteY9267" fmla="*/ 5893323 h 7458372"/>
              <a:gd name="connsiteX9268" fmla="*/ 4817870 w 10505529"/>
              <a:gd name="connsiteY9268" fmla="*/ 5892392 h 7458372"/>
              <a:gd name="connsiteX9269" fmla="*/ 4600226 w 10505529"/>
              <a:gd name="connsiteY9269" fmla="*/ 5892392 h 7458372"/>
              <a:gd name="connsiteX9270" fmla="*/ 4590242 w 10505529"/>
              <a:gd name="connsiteY9270" fmla="*/ 5895986 h 7458372"/>
              <a:gd name="connsiteX9271" fmla="*/ 4586648 w 10505529"/>
              <a:gd name="connsiteY9271" fmla="*/ 5905437 h 7458372"/>
              <a:gd name="connsiteX9272" fmla="*/ 4590242 w 10505529"/>
              <a:gd name="connsiteY9272" fmla="*/ 5914888 h 7458372"/>
              <a:gd name="connsiteX9273" fmla="*/ 4600226 w 10505529"/>
              <a:gd name="connsiteY9273" fmla="*/ 5918350 h 7458372"/>
              <a:gd name="connsiteX9274" fmla="*/ 4605550 w 10505529"/>
              <a:gd name="connsiteY9274" fmla="*/ 5917418 h 7458372"/>
              <a:gd name="connsiteX9275" fmla="*/ 4609277 w 10505529"/>
              <a:gd name="connsiteY9275" fmla="*/ 5915021 h 7458372"/>
              <a:gd name="connsiteX9276" fmla="*/ 4611940 w 10505529"/>
              <a:gd name="connsiteY9276" fmla="*/ 5910761 h 7458372"/>
              <a:gd name="connsiteX9277" fmla="*/ 4613005 w 10505529"/>
              <a:gd name="connsiteY9277" fmla="*/ 5905304 h 7458372"/>
              <a:gd name="connsiteX9278" fmla="*/ 4611940 w 10505529"/>
              <a:gd name="connsiteY9278" fmla="*/ 5900112 h 7458372"/>
              <a:gd name="connsiteX9279" fmla="*/ 4609277 w 10505529"/>
              <a:gd name="connsiteY9279" fmla="*/ 5895986 h 7458372"/>
              <a:gd name="connsiteX9280" fmla="*/ 4605284 w 10505529"/>
              <a:gd name="connsiteY9280" fmla="*/ 5893323 h 7458372"/>
              <a:gd name="connsiteX9281" fmla="*/ 4600226 w 10505529"/>
              <a:gd name="connsiteY9281" fmla="*/ 5892392 h 7458372"/>
              <a:gd name="connsiteX9282" fmla="*/ 4382713 w 10505529"/>
              <a:gd name="connsiteY9282" fmla="*/ 5892392 h 7458372"/>
              <a:gd name="connsiteX9283" fmla="*/ 4372730 w 10505529"/>
              <a:gd name="connsiteY9283" fmla="*/ 5895986 h 7458372"/>
              <a:gd name="connsiteX9284" fmla="*/ 4369136 w 10505529"/>
              <a:gd name="connsiteY9284" fmla="*/ 5905437 h 7458372"/>
              <a:gd name="connsiteX9285" fmla="*/ 4372730 w 10505529"/>
              <a:gd name="connsiteY9285" fmla="*/ 5914888 h 7458372"/>
              <a:gd name="connsiteX9286" fmla="*/ 4382713 w 10505529"/>
              <a:gd name="connsiteY9286" fmla="*/ 5918350 h 7458372"/>
              <a:gd name="connsiteX9287" fmla="*/ 4388038 w 10505529"/>
              <a:gd name="connsiteY9287" fmla="*/ 5917418 h 7458372"/>
              <a:gd name="connsiteX9288" fmla="*/ 4391765 w 10505529"/>
              <a:gd name="connsiteY9288" fmla="*/ 5915021 h 7458372"/>
              <a:gd name="connsiteX9289" fmla="*/ 4394428 w 10505529"/>
              <a:gd name="connsiteY9289" fmla="*/ 5910761 h 7458372"/>
              <a:gd name="connsiteX9290" fmla="*/ 4395493 w 10505529"/>
              <a:gd name="connsiteY9290" fmla="*/ 5905304 h 7458372"/>
              <a:gd name="connsiteX9291" fmla="*/ 4394428 w 10505529"/>
              <a:gd name="connsiteY9291" fmla="*/ 5900112 h 7458372"/>
              <a:gd name="connsiteX9292" fmla="*/ 4391765 w 10505529"/>
              <a:gd name="connsiteY9292" fmla="*/ 5895986 h 7458372"/>
              <a:gd name="connsiteX9293" fmla="*/ 4387772 w 10505529"/>
              <a:gd name="connsiteY9293" fmla="*/ 5893323 h 7458372"/>
              <a:gd name="connsiteX9294" fmla="*/ 4382713 w 10505529"/>
              <a:gd name="connsiteY9294" fmla="*/ 5892392 h 7458372"/>
              <a:gd name="connsiteX9295" fmla="*/ 4165068 w 10505529"/>
              <a:gd name="connsiteY9295" fmla="*/ 5892392 h 7458372"/>
              <a:gd name="connsiteX9296" fmla="*/ 4155084 w 10505529"/>
              <a:gd name="connsiteY9296" fmla="*/ 5895986 h 7458372"/>
              <a:gd name="connsiteX9297" fmla="*/ 4151490 w 10505529"/>
              <a:gd name="connsiteY9297" fmla="*/ 5905437 h 7458372"/>
              <a:gd name="connsiteX9298" fmla="*/ 4155084 w 10505529"/>
              <a:gd name="connsiteY9298" fmla="*/ 5914888 h 7458372"/>
              <a:gd name="connsiteX9299" fmla="*/ 4165068 w 10505529"/>
              <a:gd name="connsiteY9299" fmla="*/ 5918350 h 7458372"/>
              <a:gd name="connsiteX9300" fmla="*/ 4170392 w 10505529"/>
              <a:gd name="connsiteY9300" fmla="*/ 5917418 h 7458372"/>
              <a:gd name="connsiteX9301" fmla="*/ 4174119 w 10505529"/>
              <a:gd name="connsiteY9301" fmla="*/ 5915021 h 7458372"/>
              <a:gd name="connsiteX9302" fmla="*/ 4176782 w 10505529"/>
              <a:gd name="connsiteY9302" fmla="*/ 5910761 h 7458372"/>
              <a:gd name="connsiteX9303" fmla="*/ 4177847 w 10505529"/>
              <a:gd name="connsiteY9303" fmla="*/ 5905304 h 7458372"/>
              <a:gd name="connsiteX9304" fmla="*/ 4176782 w 10505529"/>
              <a:gd name="connsiteY9304" fmla="*/ 5900112 h 7458372"/>
              <a:gd name="connsiteX9305" fmla="*/ 4174119 w 10505529"/>
              <a:gd name="connsiteY9305" fmla="*/ 5895986 h 7458372"/>
              <a:gd name="connsiteX9306" fmla="*/ 4170126 w 10505529"/>
              <a:gd name="connsiteY9306" fmla="*/ 5893323 h 7458372"/>
              <a:gd name="connsiteX9307" fmla="*/ 4165068 w 10505529"/>
              <a:gd name="connsiteY9307" fmla="*/ 5892392 h 7458372"/>
              <a:gd name="connsiteX9308" fmla="*/ 3947744 w 10505529"/>
              <a:gd name="connsiteY9308" fmla="*/ 5892392 h 7458372"/>
              <a:gd name="connsiteX9309" fmla="*/ 3937761 w 10505529"/>
              <a:gd name="connsiteY9309" fmla="*/ 5895986 h 7458372"/>
              <a:gd name="connsiteX9310" fmla="*/ 3934166 w 10505529"/>
              <a:gd name="connsiteY9310" fmla="*/ 5905437 h 7458372"/>
              <a:gd name="connsiteX9311" fmla="*/ 3937761 w 10505529"/>
              <a:gd name="connsiteY9311" fmla="*/ 5914888 h 7458372"/>
              <a:gd name="connsiteX9312" fmla="*/ 3947744 w 10505529"/>
              <a:gd name="connsiteY9312" fmla="*/ 5918350 h 7458372"/>
              <a:gd name="connsiteX9313" fmla="*/ 3953073 w 10505529"/>
              <a:gd name="connsiteY9313" fmla="*/ 5917418 h 7458372"/>
              <a:gd name="connsiteX9314" fmla="*/ 3956799 w 10505529"/>
              <a:gd name="connsiteY9314" fmla="*/ 5915021 h 7458372"/>
              <a:gd name="connsiteX9315" fmla="*/ 3959463 w 10505529"/>
              <a:gd name="connsiteY9315" fmla="*/ 5910761 h 7458372"/>
              <a:gd name="connsiteX9316" fmla="*/ 3960528 w 10505529"/>
              <a:gd name="connsiteY9316" fmla="*/ 5905304 h 7458372"/>
              <a:gd name="connsiteX9317" fmla="*/ 3959463 w 10505529"/>
              <a:gd name="connsiteY9317" fmla="*/ 5900112 h 7458372"/>
              <a:gd name="connsiteX9318" fmla="*/ 3956799 w 10505529"/>
              <a:gd name="connsiteY9318" fmla="*/ 5895986 h 7458372"/>
              <a:gd name="connsiteX9319" fmla="*/ 3952806 w 10505529"/>
              <a:gd name="connsiteY9319" fmla="*/ 5893323 h 7458372"/>
              <a:gd name="connsiteX9320" fmla="*/ 3947744 w 10505529"/>
              <a:gd name="connsiteY9320" fmla="*/ 5892392 h 7458372"/>
              <a:gd name="connsiteX9321" fmla="*/ 3730085 w 10505529"/>
              <a:gd name="connsiteY9321" fmla="*/ 5892392 h 7458372"/>
              <a:gd name="connsiteX9322" fmla="*/ 3720098 w 10505529"/>
              <a:gd name="connsiteY9322" fmla="*/ 5895986 h 7458372"/>
              <a:gd name="connsiteX9323" fmla="*/ 3716506 w 10505529"/>
              <a:gd name="connsiteY9323" fmla="*/ 5905437 h 7458372"/>
              <a:gd name="connsiteX9324" fmla="*/ 3720098 w 10505529"/>
              <a:gd name="connsiteY9324" fmla="*/ 5914888 h 7458372"/>
              <a:gd name="connsiteX9325" fmla="*/ 3730085 w 10505529"/>
              <a:gd name="connsiteY9325" fmla="*/ 5918350 h 7458372"/>
              <a:gd name="connsiteX9326" fmla="*/ 3735410 w 10505529"/>
              <a:gd name="connsiteY9326" fmla="*/ 5917418 h 7458372"/>
              <a:gd name="connsiteX9327" fmla="*/ 3739137 w 10505529"/>
              <a:gd name="connsiteY9327" fmla="*/ 5915021 h 7458372"/>
              <a:gd name="connsiteX9328" fmla="*/ 3741800 w 10505529"/>
              <a:gd name="connsiteY9328" fmla="*/ 5910761 h 7458372"/>
              <a:gd name="connsiteX9329" fmla="*/ 3742865 w 10505529"/>
              <a:gd name="connsiteY9329" fmla="*/ 5905304 h 7458372"/>
              <a:gd name="connsiteX9330" fmla="*/ 3741800 w 10505529"/>
              <a:gd name="connsiteY9330" fmla="*/ 5900112 h 7458372"/>
              <a:gd name="connsiteX9331" fmla="*/ 3739137 w 10505529"/>
              <a:gd name="connsiteY9331" fmla="*/ 5895986 h 7458372"/>
              <a:gd name="connsiteX9332" fmla="*/ 3735144 w 10505529"/>
              <a:gd name="connsiteY9332" fmla="*/ 5893323 h 7458372"/>
              <a:gd name="connsiteX9333" fmla="*/ 3730085 w 10505529"/>
              <a:gd name="connsiteY9333" fmla="*/ 5892392 h 7458372"/>
              <a:gd name="connsiteX9334" fmla="*/ 3512423 w 10505529"/>
              <a:gd name="connsiteY9334" fmla="*/ 5892392 h 7458372"/>
              <a:gd name="connsiteX9335" fmla="*/ 3502433 w 10505529"/>
              <a:gd name="connsiteY9335" fmla="*/ 5895986 h 7458372"/>
              <a:gd name="connsiteX9336" fmla="*/ 3498840 w 10505529"/>
              <a:gd name="connsiteY9336" fmla="*/ 5905437 h 7458372"/>
              <a:gd name="connsiteX9337" fmla="*/ 3502433 w 10505529"/>
              <a:gd name="connsiteY9337" fmla="*/ 5914888 h 7458372"/>
              <a:gd name="connsiteX9338" fmla="*/ 3512423 w 10505529"/>
              <a:gd name="connsiteY9338" fmla="*/ 5918350 h 7458372"/>
              <a:gd name="connsiteX9339" fmla="*/ 3517748 w 10505529"/>
              <a:gd name="connsiteY9339" fmla="*/ 5917418 h 7458372"/>
              <a:gd name="connsiteX9340" fmla="*/ 3521476 w 10505529"/>
              <a:gd name="connsiteY9340" fmla="*/ 5915021 h 7458372"/>
              <a:gd name="connsiteX9341" fmla="*/ 3524139 w 10505529"/>
              <a:gd name="connsiteY9341" fmla="*/ 5910761 h 7458372"/>
              <a:gd name="connsiteX9342" fmla="*/ 3525204 w 10505529"/>
              <a:gd name="connsiteY9342" fmla="*/ 5905304 h 7458372"/>
              <a:gd name="connsiteX9343" fmla="*/ 3524139 w 10505529"/>
              <a:gd name="connsiteY9343" fmla="*/ 5900112 h 7458372"/>
              <a:gd name="connsiteX9344" fmla="*/ 3521476 w 10505529"/>
              <a:gd name="connsiteY9344" fmla="*/ 5895986 h 7458372"/>
              <a:gd name="connsiteX9345" fmla="*/ 3517483 w 10505529"/>
              <a:gd name="connsiteY9345" fmla="*/ 5893323 h 7458372"/>
              <a:gd name="connsiteX9346" fmla="*/ 3512423 w 10505529"/>
              <a:gd name="connsiteY9346" fmla="*/ 5892392 h 7458372"/>
              <a:gd name="connsiteX9347" fmla="*/ 3294894 w 10505529"/>
              <a:gd name="connsiteY9347" fmla="*/ 5892392 h 7458372"/>
              <a:gd name="connsiteX9348" fmla="*/ 3284907 w 10505529"/>
              <a:gd name="connsiteY9348" fmla="*/ 5895986 h 7458372"/>
              <a:gd name="connsiteX9349" fmla="*/ 3281313 w 10505529"/>
              <a:gd name="connsiteY9349" fmla="*/ 5905437 h 7458372"/>
              <a:gd name="connsiteX9350" fmla="*/ 3284907 w 10505529"/>
              <a:gd name="connsiteY9350" fmla="*/ 5914888 h 7458372"/>
              <a:gd name="connsiteX9351" fmla="*/ 3294894 w 10505529"/>
              <a:gd name="connsiteY9351" fmla="*/ 5918350 h 7458372"/>
              <a:gd name="connsiteX9352" fmla="*/ 3300220 w 10505529"/>
              <a:gd name="connsiteY9352" fmla="*/ 5917418 h 7458372"/>
              <a:gd name="connsiteX9353" fmla="*/ 3303947 w 10505529"/>
              <a:gd name="connsiteY9353" fmla="*/ 5915021 h 7458372"/>
              <a:gd name="connsiteX9354" fmla="*/ 3306610 w 10505529"/>
              <a:gd name="connsiteY9354" fmla="*/ 5910761 h 7458372"/>
              <a:gd name="connsiteX9355" fmla="*/ 3307674 w 10505529"/>
              <a:gd name="connsiteY9355" fmla="*/ 5905304 h 7458372"/>
              <a:gd name="connsiteX9356" fmla="*/ 3306610 w 10505529"/>
              <a:gd name="connsiteY9356" fmla="*/ 5900112 h 7458372"/>
              <a:gd name="connsiteX9357" fmla="*/ 3303947 w 10505529"/>
              <a:gd name="connsiteY9357" fmla="*/ 5895986 h 7458372"/>
              <a:gd name="connsiteX9358" fmla="*/ 3299954 w 10505529"/>
              <a:gd name="connsiteY9358" fmla="*/ 5893323 h 7458372"/>
              <a:gd name="connsiteX9359" fmla="*/ 3294894 w 10505529"/>
              <a:gd name="connsiteY9359" fmla="*/ 5892392 h 7458372"/>
              <a:gd name="connsiteX9360" fmla="*/ 3077366 w 10505529"/>
              <a:gd name="connsiteY9360" fmla="*/ 5892392 h 7458372"/>
              <a:gd name="connsiteX9361" fmla="*/ 3067381 w 10505529"/>
              <a:gd name="connsiteY9361" fmla="*/ 5895986 h 7458372"/>
              <a:gd name="connsiteX9362" fmla="*/ 3063651 w 10505529"/>
              <a:gd name="connsiteY9362" fmla="*/ 5905437 h 7458372"/>
              <a:gd name="connsiteX9363" fmla="*/ 3067247 w 10505529"/>
              <a:gd name="connsiteY9363" fmla="*/ 5914888 h 7458372"/>
              <a:gd name="connsiteX9364" fmla="*/ 3077232 w 10505529"/>
              <a:gd name="connsiteY9364" fmla="*/ 5918350 h 7458372"/>
              <a:gd name="connsiteX9365" fmla="*/ 3082690 w 10505529"/>
              <a:gd name="connsiteY9365" fmla="*/ 5917418 h 7458372"/>
              <a:gd name="connsiteX9366" fmla="*/ 3086418 w 10505529"/>
              <a:gd name="connsiteY9366" fmla="*/ 5915021 h 7458372"/>
              <a:gd name="connsiteX9367" fmla="*/ 3089080 w 10505529"/>
              <a:gd name="connsiteY9367" fmla="*/ 5910761 h 7458372"/>
              <a:gd name="connsiteX9368" fmla="*/ 3090013 w 10505529"/>
              <a:gd name="connsiteY9368" fmla="*/ 5905304 h 7458372"/>
              <a:gd name="connsiteX9369" fmla="*/ 3089080 w 10505529"/>
              <a:gd name="connsiteY9369" fmla="*/ 5900112 h 7458372"/>
              <a:gd name="connsiteX9370" fmla="*/ 3086418 w 10505529"/>
              <a:gd name="connsiteY9370" fmla="*/ 5895986 h 7458372"/>
              <a:gd name="connsiteX9371" fmla="*/ 3082425 w 10505529"/>
              <a:gd name="connsiteY9371" fmla="*/ 5893323 h 7458372"/>
              <a:gd name="connsiteX9372" fmla="*/ 3077366 w 10505529"/>
              <a:gd name="connsiteY9372" fmla="*/ 5892392 h 7458372"/>
              <a:gd name="connsiteX9373" fmla="*/ 2859571 w 10505529"/>
              <a:gd name="connsiteY9373" fmla="*/ 5892392 h 7458372"/>
              <a:gd name="connsiteX9374" fmla="*/ 2849584 w 10505529"/>
              <a:gd name="connsiteY9374" fmla="*/ 5895986 h 7458372"/>
              <a:gd name="connsiteX9375" fmla="*/ 2845985 w 10505529"/>
              <a:gd name="connsiteY9375" fmla="*/ 5905437 h 7458372"/>
              <a:gd name="connsiteX9376" fmla="*/ 2849584 w 10505529"/>
              <a:gd name="connsiteY9376" fmla="*/ 5914888 h 7458372"/>
              <a:gd name="connsiteX9377" fmla="*/ 2859571 w 10505529"/>
              <a:gd name="connsiteY9377" fmla="*/ 5918350 h 7458372"/>
              <a:gd name="connsiteX9378" fmla="*/ 2864895 w 10505529"/>
              <a:gd name="connsiteY9378" fmla="*/ 5917418 h 7458372"/>
              <a:gd name="connsiteX9379" fmla="*/ 2868622 w 10505529"/>
              <a:gd name="connsiteY9379" fmla="*/ 5915021 h 7458372"/>
              <a:gd name="connsiteX9380" fmla="*/ 2871285 w 10505529"/>
              <a:gd name="connsiteY9380" fmla="*/ 5910761 h 7458372"/>
              <a:gd name="connsiteX9381" fmla="*/ 2872217 w 10505529"/>
              <a:gd name="connsiteY9381" fmla="*/ 5905304 h 7458372"/>
              <a:gd name="connsiteX9382" fmla="*/ 2871285 w 10505529"/>
              <a:gd name="connsiteY9382" fmla="*/ 5900112 h 7458372"/>
              <a:gd name="connsiteX9383" fmla="*/ 2868622 w 10505529"/>
              <a:gd name="connsiteY9383" fmla="*/ 5895986 h 7458372"/>
              <a:gd name="connsiteX9384" fmla="*/ 2864630 w 10505529"/>
              <a:gd name="connsiteY9384" fmla="*/ 5893323 h 7458372"/>
              <a:gd name="connsiteX9385" fmla="*/ 2859571 w 10505529"/>
              <a:gd name="connsiteY9385" fmla="*/ 5892392 h 7458372"/>
              <a:gd name="connsiteX9386" fmla="*/ 2641908 w 10505529"/>
              <a:gd name="connsiteY9386" fmla="*/ 5892392 h 7458372"/>
              <a:gd name="connsiteX9387" fmla="*/ 2631925 w 10505529"/>
              <a:gd name="connsiteY9387" fmla="*/ 5895986 h 7458372"/>
              <a:gd name="connsiteX9388" fmla="*/ 2628331 w 10505529"/>
              <a:gd name="connsiteY9388" fmla="*/ 5905437 h 7458372"/>
              <a:gd name="connsiteX9389" fmla="*/ 2631925 w 10505529"/>
              <a:gd name="connsiteY9389" fmla="*/ 5914888 h 7458372"/>
              <a:gd name="connsiteX9390" fmla="*/ 2641908 w 10505529"/>
              <a:gd name="connsiteY9390" fmla="*/ 5918350 h 7458372"/>
              <a:gd name="connsiteX9391" fmla="*/ 2647234 w 10505529"/>
              <a:gd name="connsiteY9391" fmla="*/ 5917418 h 7458372"/>
              <a:gd name="connsiteX9392" fmla="*/ 2650961 w 10505529"/>
              <a:gd name="connsiteY9392" fmla="*/ 5915021 h 7458372"/>
              <a:gd name="connsiteX9393" fmla="*/ 2653624 w 10505529"/>
              <a:gd name="connsiteY9393" fmla="*/ 5910761 h 7458372"/>
              <a:gd name="connsiteX9394" fmla="*/ 2654554 w 10505529"/>
              <a:gd name="connsiteY9394" fmla="*/ 5905304 h 7458372"/>
              <a:gd name="connsiteX9395" fmla="*/ 2653624 w 10505529"/>
              <a:gd name="connsiteY9395" fmla="*/ 5900112 h 7458372"/>
              <a:gd name="connsiteX9396" fmla="*/ 2650961 w 10505529"/>
              <a:gd name="connsiteY9396" fmla="*/ 5895986 h 7458372"/>
              <a:gd name="connsiteX9397" fmla="*/ 2646968 w 10505529"/>
              <a:gd name="connsiteY9397" fmla="*/ 5893323 h 7458372"/>
              <a:gd name="connsiteX9398" fmla="*/ 2641908 w 10505529"/>
              <a:gd name="connsiteY9398" fmla="*/ 5892392 h 7458372"/>
              <a:gd name="connsiteX9399" fmla="*/ 2424246 w 10505529"/>
              <a:gd name="connsiteY9399" fmla="*/ 5892392 h 7458372"/>
              <a:gd name="connsiteX9400" fmla="*/ 2414263 w 10505529"/>
              <a:gd name="connsiteY9400" fmla="*/ 5895986 h 7458372"/>
              <a:gd name="connsiteX9401" fmla="*/ 2410669 w 10505529"/>
              <a:gd name="connsiteY9401" fmla="*/ 5905437 h 7458372"/>
              <a:gd name="connsiteX9402" fmla="*/ 2414263 w 10505529"/>
              <a:gd name="connsiteY9402" fmla="*/ 5914888 h 7458372"/>
              <a:gd name="connsiteX9403" fmla="*/ 2424246 w 10505529"/>
              <a:gd name="connsiteY9403" fmla="*/ 5918350 h 7458372"/>
              <a:gd name="connsiteX9404" fmla="*/ 2429572 w 10505529"/>
              <a:gd name="connsiteY9404" fmla="*/ 5917418 h 7458372"/>
              <a:gd name="connsiteX9405" fmla="*/ 2433299 w 10505529"/>
              <a:gd name="connsiteY9405" fmla="*/ 5915021 h 7458372"/>
              <a:gd name="connsiteX9406" fmla="*/ 2435962 w 10505529"/>
              <a:gd name="connsiteY9406" fmla="*/ 5910761 h 7458372"/>
              <a:gd name="connsiteX9407" fmla="*/ 2436893 w 10505529"/>
              <a:gd name="connsiteY9407" fmla="*/ 5905304 h 7458372"/>
              <a:gd name="connsiteX9408" fmla="*/ 2435962 w 10505529"/>
              <a:gd name="connsiteY9408" fmla="*/ 5900112 h 7458372"/>
              <a:gd name="connsiteX9409" fmla="*/ 2433299 w 10505529"/>
              <a:gd name="connsiteY9409" fmla="*/ 5895986 h 7458372"/>
              <a:gd name="connsiteX9410" fmla="*/ 2429306 w 10505529"/>
              <a:gd name="connsiteY9410" fmla="*/ 5893323 h 7458372"/>
              <a:gd name="connsiteX9411" fmla="*/ 2424246 w 10505529"/>
              <a:gd name="connsiteY9411" fmla="*/ 5892392 h 7458372"/>
              <a:gd name="connsiteX9412" fmla="*/ 2206585 w 10505529"/>
              <a:gd name="connsiteY9412" fmla="*/ 5892392 h 7458372"/>
              <a:gd name="connsiteX9413" fmla="*/ 2196601 w 10505529"/>
              <a:gd name="connsiteY9413" fmla="*/ 5895986 h 7458372"/>
              <a:gd name="connsiteX9414" fmla="*/ 2193007 w 10505529"/>
              <a:gd name="connsiteY9414" fmla="*/ 5905437 h 7458372"/>
              <a:gd name="connsiteX9415" fmla="*/ 2196601 w 10505529"/>
              <a:gd name="connsiteY9415" fmla="*/ 5914888 h 7458372"/>
              <a:gd name="connsiteX9416" fmla="*/ 2206585 w 10505529"/>
              <a:gd name="connsiteY9416" fmla="*/ 5918350 h 7458372"/>
              <a:gd name="connsiteX9417" fmla="*/ 2211909 w 10505529"/>
              <a:gd name="connsiteY9417" fmla="*/ 5917418 h 7458372"/>
              <a:gd name="connsiteX9418" fmla="*/ 2215636 w 10505529"/>
              <a:gd name="connsiteY9418" fmla="*/ 5915021 h 7458372"/>
              <a:gd name="connsiteX9419" fmla="*/ 2218299 w 10505529"/>
              <a:gd name="connsiteY9419" fmla="*/ 5910761 h 7458372"/>
              <a:gd name="connsiteX9420" fmla="*/ 2219231 w 10505529"/>
              <a:gd name="connsiteY9420" fmla="*/ 5905304 h 7458372"/>
              <a:gd name="connsiteX9421" fmla="*/ 2218299 w 10505529"/>
              <a:gd name="connsiteY9421" fmla="*/ 5900112 h 7458372"/>
              <a:gd name="connsiteX9422" fmla="*/ 2215636 w 10505529"/>
              <a:gd name="connsiteY9422" fmla="*/ 5895986 h 7458372"/>
              <a:gd name="connsiteX9423" fmla="*/ 2211643 w 10505529"/>
              <a:gd name="connsiteY9423" fmla="*/ 5893323 h 7458372"/>
              <a:gd name="connsiteX9424" fmla="*/ 2206585 w 10505529"/>
              <a:gd name="connsiteY9424" fmla="*/ 5892392 h 7458372"/>
              <a:gd name="connsiteX9425" fmla="*/ 1989055 w 10505529"/>
              <a:gd name="connsiteY9425" fmla="*/ 5892392 h 7458372"/>
              <a:gd name="connsiteX9426" fmla="*/ 1979072 w 10505529"/>
              <a:gd name="connsiteY9426" fmla="*/ 5895986 h 7458372"/>
              <a:gd name="connsiteX9427" fmla="*/ 1975478 w 10505529"/>
              <a:gd name="connsiteY9427" fmla="*/ 5905437 h 7458372"/>
              <a:gd name="connsiteX9428" fmla="*/ 1979072 w 10505529"/>
              <a:gd name="connsiteY9428" fmla="*/ 5914888 h 7458372"/>
              <a:gd name="connsiteX9429" fmla="*/ 1989055 w 10505529"/>
              <a:gd name="connsiteY9429" fmla="*/ 5918350 h 7458372"/>
              <a:gd name="connsiteX9430" fmla="*/ 1994380 w 10505529"/>
              <a:gd name="connsiteY9430" fmla="*/ 5917418 h 7458372"/>
              <a:gd name="connsiteX9431" fmla="*/ 1998108 w 10505529"/>
              <a:gd name="connsiteY9431" fmla="*/ 5915021 h 7458372"/>
              <a:gd name="connsiteX9432" fmla="*/ 2000771 w 10505529"/>
              <a:gd name="connsiteY9432" fmla="*/ 5910761 h 7458372"/>
              <a:gd name="connsiteX9433" fmla="*/ 2001701 w 10505529"/>
              <a:gd name="connsiteY9433" fmla="*/ 5905304 h 7458372"/>
              <a:gd name="connsiteX9434" fmla="*/ 2000771 w 10505529"/>
              <a:gd name="connsiteY9434" fmla="*/ 5900112 h 7458372"/>
              <a:gd name="connsiteX9435" fmla="*/ 1998108 w 10505529"/>
              <a:gd name="connsiteY9435" fmla="*/ 5895986 h 7458372"/>
              <a:gd name="connsiteX9436" fmla="*/ 1994114 w 10505529"/>
              <a:gd name="connsiteY9436" fmla="*/ 5893323 h 7458372"/>
              <a:gd name="connsiteX9437" fmla="*/ 1989055 w 10505529"/>
              <a:gd name="connsiteY9437" fmla="*/ 5892392 h 7458372"/>
              <a:gd name="connsiteX9438" fmla="*/ 1771422 w 10505529"/>
              <a:gd name="connsiteY9438" fmla="*/ 5892392 h 7458372"/>
              <a:gd name="connsiteX9439" fmla="*/ 1761440 w 10505529"/>
              <a:gd name="connsiteY9439" fmla="*/ 5895986 h 7458372"/>
              <a:gd name="connsiteX9440" fmla="*/ 1757847 w 10505529"/>
              <a:gd name="connsiteY9440" fmla="*/ 5905437 h 7458372"/>
              <a:gd name="connsiteX9441" fmla="*/ 1761440 w 10505529"/>
              <a:gd name="connsiteY9441" fmla="*/ 5914888 h 7458372"/>
              <a:gd name="connsiteX9442" fmla="*/ 1771422 w 10505529"/>
              <a:gd name="connsiteY9442" fmla="*/ 5918350 h 7458372"/>
              <a:gd name="connsiteX9443" fmla="*/ 1776747 w 10505529"/>
              <a:gd name="connsiteY9443" fmla="*/ 5917418 h 7458372"/>
              <a:gd name="connsiteX9444" fmla="*/ 1780473 w 10505529"/>
              <a:gd name="connsiteY9444" fmla="*/ 5915021 h 7458372"/>
              <a:gd name="connsiteX9445" fmla="*/ 1783136 w 10505529"/>
              <a:gd name="connsiteY9445" fmla="*/ 5910761 h 7458372"/>
              <a:gd name="connsiteX9446" fmla="*/ 1784201 w 10505529"/>
              <a:gd name="connsiteY9446" fmla="*/ 5905304 h 7458372"/>
              <a:gd name="connsiteX9447" fmla="*/ 1783136 w 10505529"/>
              <a:gd name="connsiteY9447" fmla="*/ 5900112 h 7458372"/>
              <a:gd name="connsiteX9448" fmla="*/ 1780473 w 10505529"/>
              <a:gd name="connsiteY9448" fmla="*/ 5895986 h 7458372"/>
              <a:gd name="connsiteX9449" fmla="*/ 1776481 w 10505529"/>
              <a:gd name="connsiteY9449" fmla="*/ 5893323 h 7458372"/>
              <a:gd name="connsiteX9450" fmla="*/ 1771422 w 10505529"/>
              <a:gd name="connsiteY9450" fmla="*/ 5892392 h 7458372"/>
              <a:gd name="connsiteX9451" fmla="*/ 1553786 w 10505529"/>
              <a:gd name="connsiteY9451" fmla="*/ 5892392 h 7458372"/>
              <a:gd name="connsiteX9452" fmla="*/ 1543803 w 10505529"/>
              <a:gd name="connsiteY9452" fmla="*/ 5895986 h 7458372"/>
              <a:gd name="connsiteX9453" fmla="*/ 1540208 w 10505529"/>
              <a:gd name="connsiteY9453" fmla="*/ 5905437 h 7458372"/>
              <a:gd name="connsiteX9454" fmla="*/ 1543803 w 10505529"/>
              <a:gd name="connsiteY9454" fmla="*/ 5914888 h 7458372"/>
              <a:gd name="connsiteX9455" fmla="*/ 1553786 w 10505529"/>
              <a:gd name="connsiteY9455" fmla="*/ 5918350 h 7458372"/>
              <a:gd name="connsiteX9456" fmla="*/ 1559110 w 10505529"/>
              <a:gd name="connsiteY9456" fmla="*/ 5917418 h 7458372"/>
              <a:gd name="connsiteX9457" fmla="*/ 1562837 w 10505529"/>
              <a:gd name="connsiteY9457" fmla="*/ 5915021 h 7458372"/>
              <a:gd name="connsiteX9458" fmla="*/ 1565500 w 10505529"/>
              <a:gd name="connsiteY9458" fmla="*/ 5910761 h 7458372"/>
              <a:gd name="connsiteX9459" fmla="*/ 1566566 w 10505529"/>
              <a:gd name="connsiteY9459" fmla="*/ 5905304 h 7458372"/>
              <a:gd name="connsiteX9460" fmla="*/ 1565500 w 10505529"/>
              <a:gd name="connsiteY9460" fmla="*/ 5900112 h 7458372"/>
              <a:gd name="connsiteX9461" fmla="*/ 1562837 w 10505529"/>
              <a:gd name="connsiteY9461" fmla="*/ 5895986 h 7458372"/>
              <a:gd name="connsiteX9462" fmla="*/ 1558844 w 10505529"/>
              <a:gd name="connsiteY9462" fmla="*/ 5893323 h 7458372"/>
              <a:gd name="connsiteX9463" fmla="*/ 1553786 w 10505529"/>
              <a:gd name="connsiteY9463" fmla="*/ 5892392 h 7458372"/>
              <a:gd name="connsiteX9464" fmla="*/ 1336143 w 10505529"/>
              <a:gd name="connsiteY9464" fmla="*/ 5892392 h 7458372"/>
              <a:gd name="connsiteX9465" fmla="*/ 1326159 w 10505529"/>
              <a:gd name="connsiteY9465" fmla="*/ 5895986 h 7458372"/>
              <a:gd name="connsiteX9466" fmla="*/ 1322564 w 10505529"/>
              <a:gd name="connsiteY9466" fmla="*/ 5905437 h 7458372"/>
              <a:gd name="connsiteX9467" fmla="*/ 1326159 w 10505529"/>
              <a:gd name="connsiteY9467" fmla="*/ 5914888 h 7458372"/>
              <a:gd name="connsiteX9468" fmla="*/ 1336143 w 10505529"/>
              <a:gd name="connsiteY9468" fmla="*/ 5918350 h 7458372"/>
              <a:gd name="connsiteX9469" fmla="*/ 1341469 w 10505529"/>
              <a:gd name="connsiteY9469" fmla="*/ 5917418 h 7458372"/>
              <a:gd name="connsiteX9470" fmla="*/ 1345196 w 10505529"/>
              <a:gd name="connsiteY9470" fmla="*/ 5915021 h 7458372"/>
              <a:gd name="connsiteX9471" fmla="*/ 1347858 w 10505529"/>
              <a:gd name="connsiteY9471" fmla="*/ 5910761 h 7458372"/>
              <a:gd name="connsiteX9472" fmla="*/ 1348924 w 10505529"/>
              <a:gd name="connsiteY9472" fmla="*/ 5905304 h 7458372"/>
              <a:gd name="connsiteX9473" fmla="*/ 1347858 w 10505529"/>
              <a:gd name="connsiteY9473" fmla="*/ 5900112 h 7458372"/>
              <a:gd name="connsiteX9474" fmla="*/ 1345196 w 10505529"/>
              <a:gd name="connsiteY9474" fmla="*/ 5895986 h 7458372"/>
              <a:gd name="connsiteX9475" fmla="*/ 1341201 w 10505529"/>
              <a:gd name="connsiteY9475" fmla="*/ 5893323 h 7458372"/>
              <a:gd name="connsiteX9476" fmla="*/ 1336143 w 10505529"/>
              <a:gd name="connsiteY9476" fmla="*/ 5892392 h 7458372"/>
              <a:gd name="connsiteX9477" fmla="*/ 1118630 w 10505529"/>
              <a:gd name="connsiteY9477" fmla="*/ 5892392 h 7458372"/>
              <a:gd name="connsiteX9478" fmla="*/ 1108645 w 10505529"/>
              <a:gd name="connsiteY9478" fmla="*/ 5895986 h 7458372"/>
              <a:gd name="connsiteX9479" fmla="*/ 1104917 w 10505529"/>
              <a:gd name="connsiteY9479" fmla="*/ 5905437 h 7458372"/>
              <a:gd name="connsiteX9480" fmla="*/ 1108512 w 10505529"/>
              <a:gd name="connsiteY9480" fmla="*/ 5914888 h 7458372"/>
              <a:gd name="connsiteX9481" fmla="*/ 1118497 w 10505529"/>
              <a:gd name="connsiteY9481" fmla="*/ 5918350 h 7458372"/>
              <a:gd name="connsiteX9482" fmla="*/ 1123953 w 10505529"/>
              <a:gd name="connsiteY9482" fmla="*/ 5917418 h 7458372"/>
              <a:gd name="connsiteX9483" fmla="*/ 1127684 w 10505529"/>
              <a:gd name="connsiteY9483" fmla="*/ 5915021 h 7458372"/>
              <a:gd name="connsiteX9484" fmla="*/ 1130348 w 10505529"/>
              <a:gd name="connsiteY9484" fmla="*/ 5910761 h 7458372"/>
              <a:gd name="connsiteX9485" fmla="*/ 1131413 w 10505529"/>
              <a:gd name="connsiteY9485" fmla="*/ 5905304 h 7458372"/>
              <a:gd name="connsiteX9486" fmla="*/ 1130348 w 10505529"/>
              <a:gd name="connsiteY9486" fmla="*/ 5900112 h 7458372"/>
              <a:gd name="connsiteX9487" fmla="*/ 1127684 w 10505529"/>
              <a:gd name="connsiteY9487" fmla="*/ 5895986 h 7458372"/>
              <a:gd name="connsiteX9488" fmla="*/ 1123688 w 10505529"/>
              <a:gd name="connsiteY9488" fmla="*/ 5893323 h 7458372"/>
              <a:gd name="connsiteX9489" fmla="*/ 1118630 w 10505529"/>
              <a:gd name="connsiteY9489" fmla="*/ 5892392 h 7458372"/>
              <a:gd name="connsiteX9490" fmla="*/ 901118 w 10505529"/>
              <a:gd name="connsiteY9490" fmla="*/ 5892392 h 7458372"/>
              <a:gd name="connsiteX9491" fmla="*/ 891133 w 10505529"/>
              <a:gd name="connsiteY9491" fmla="*/ 5895986 h 7458372"/>
              <a:gd name="connsiteX9492" fmla="*/ 887407 w 10505529"/>
              <a:gd name="connsiteY9492" fmla="*/ 5905437 h 7458372"/>
              <a:gd name="connsiteX9493" fmla="*/ 891001 w 10505529"/>
              <a:gd name="connsiteY9493" fmla="*/ 5914888 h 7458372"/>
              <a:gd name="connsiteX9494" fmla="*/ 900984 w 10505529"/>
              <a:gd name="connsiteY9494" fmla="*/ 5918350 h 7458372"/>
              <a:gd name="connsiteX9495" fmla="*/ 906442 w 10505529"/>
              <a:gd name="connsiteY9495" fmla="*/ 5917418 h 7458372"/>
              <a:gd name="connsiteX9496" fmla="*/ 910170 w 10505529"/>
              <a:gd name="connsiteY9496" fmla="*/ 5915021 h 7458372"/>
              <a:gd name="connsiteX9497" fmla="*/ 912832 w 10505529"/>
              <a:gd name="connsiteY9497" fmla="*/ 5910761 h 7458372"/>
              <a:gd name="connsiteX9498" fmla="*/ 913897 w 10505529"/>
              <a:gd name="connsiteY9498" fmla="*/ 5905304 h 7458372"/>
              <a:gd name="connsiteX9499" fmla="*/ 912832 w 10505529"/>
              <a:gd name="connsiteY9499" fmla="*/ 5900112 h 7458372"/>
              <a:gd name="connsiteX9500" fmla="*/ 910170 w 10505529"/>
              <a:gd name="connsiteY9500" fmla="*/ 5895986 h 7458372"/>
              <a:gd name="connsiteX9501" fmla="*/ 906176 w 10505529"/>
              <a:gd name="connsiteY9501" fmla="*/ 5893323 h 7458372"/>
              <a:gd name="connsiteX9502" fmla="*/ 901118 w 10505529"/>
              <a:gd name="connsiteY9502" fmla="*/ 5892392 h 7458372"/>
              <a:gd name="connsiteX9503" fmla="*/ 683344 w 10505529"/>
              <a:gd name="connsiteY9503" fmla="*/ 5892392 h 7458372"/>
              <a:gd name="connsiteX9504" fmla="*/ 673361 w 10505529"/>
              <a:gd name="connsiteY9504" fmla="*/ 5895986 h 7458372"/>
              <a:gd name="connsiteX9505" fmla="*/ 669767 w 10505529"/>
              <a:gd name="connsiteY9505" fmla="*/ 5905437 h 7458372"/>
              <a:gd name="connsiteX9506" fmla="*/ 673361 w 10505529"/>
              <a:gd name="connsiteY9506" fmla="*/ 5914888 h 7458372"/>
              <a:gd name="connsiteX9507" fmla="*/ 683344 w 10505529"/>
              <a:gd name="connsiteY9507" fmla="*/ 5918350 h 7458372"/>
              <a:gd name="connsiteX9508" fmla="*/ 688669 w 10505529"/>
              <a:gd name="connsiteY9508" fmla="*/ 5917418 h 7458372"/>
              <a:gd name="connsiteX9509" fmla="*/ 692396 w 10505529"/>
              <a:gd name="connsiteY9509" fmla="*/ 5915021 h 7458372"/>
              <a:gd name="connsiteX9510" fmla="*/ 695059 w 10505529"/>
              <a:gd name="connsiteY9510" fmla="*/ 5910761 h 7458372"/>
              <a:gd name="connsiteX9511" fmla="*/ 696124 w 10505529"/>
              <a:gd name="connsiteY9511" fmla="*/ 5905304 h 7458372"/>
              <a:gd name="connsiteX9512" fmla="*/ 695059 w 10505529"/>
              <a:gd name="connsiteY9512" fmla="*/ 5900112 h 7458372"/>
              <a:gd name="connsiteX9513" fmla="*/ 692396 w 10505529"/>
              <a:gd name="connsiteY9513" fmla="*/ 5895986 h 7458372"/>
              <a:gd name="connsiteX9514" fmla="*/ 688403 w 10505529"/>
              <a:gd name="connsiteY9514" fmla="*/ 5893323 h 7458372"/>
              <a:gd name="connsiteX9515" fmla="*/ 683344 w 10505529"/>
              <a:gd name="connsiteY9515" fmla="*/ 5892392 h 7458372"/>
              <a:gd name="connsiteX9516" fmla="*/ 465703 w 10505529"/>
              <a:gd name="connsiteY9516" fmla="*/ 5892392 h 7458372"/>
              <a:gd name="connsiteX9517" fmla="*/ 455720 w 10505529"/>
              <a:gd name="connsiteY9517" fmla="*/ 5895986 h 7458372"/>
              <a:gd name="connsiteX9518" fmla="*/ 452126 w 10505529"/>
              <a:gd name="connsiteY9518" fmla="*/ 5905437 h 7458372"/>
              <a:gd name="connsiteX9519" fmla="*/ 455720 w 10505529"/>
              <a:gd name="connsiteY9519" fmla="*/ 5914888 h 7458372"/>
              <a:gd name="connsiteX9520" fmla="*/ 465703 w 10505529"/>
              <a:gd name="connsiteY9520" fmla="*/ 5918350 h 7458372"/>
              <a:gd name="connsiteX9521" fmla="*/ 471028 w 10505529"/>
              <a:gd name="connsiteY9521" fmla="*/ 5917418 h 7458372"/>
              <a:gd name="connsiteX9522" fmla="*/ 474755 w 10505529"/>
              <a:gd name="connsiteY9522" fmla="*/ 5915021 h 7458372"/>
              <a:gd name="connsiteX9523" fmla="*/ 477418 w 10505529"/>
              <a:gd name="connsiteY9523" fmla="*/ 5910761 h 7458372"/>
              <a:gd name="connsiteX9524" fmla="*/ 478483 w 10505529"/>
              <a:gd name="connsiteY9524" fmla="*/ 5905304 h 7458372"/>
              <a:gd name="connsiteX9525" fmla="*/ 477418 w 10505529"/>
              <a:gd name="connsiteY9525" fmla="*/ 5900112 h 7458372"/>
              <a:gd name="connsiteX9526" fmla="*/ 474755 w 10505529"/>
              <a:gd name="connsiteY9526" fmla="*/ 5895986 h 7458372"/>
              <a:gd name="connsiteX9527" fmla="*/ 470762 w 10505529"/>
              <a:gd name="connsiteY9527" fmla="*/ 5893323 h 7458372"/>
              <a:gd name="connsiteX9528" fmla="*/ 465703 w 10505529"/>
              <a:gd name="connsiteY9528" fmla="*/ 5892392 h 7458372"/>
              <a:gd name="connsiteX9529" fmla="*/ 248061 w 10505529"/>
              <a:gd name="connsiteY9529" fmla="*/ 5892392 h 7458372"/>
              <a:gd name="connsiteX9530" fmla="*/ 238079 w 10505529"/>
              <a:gd name="connsiteY9530" fmla="*/ 5895986 h 7458372"/>
              <a:gd name="connsiteX9531" fmla="*/ 234486 w 10505529"/>
              <a:gd name="connsiteY9531" fmla="*/ 5905437 h 7458372"/>
              <a:gd name="connsiteX9532" fmla="*/ 238079 w 10505529"/>
              <a:gd name="connsiteY9532" fmla="*/ 5914888 h 7458372"/>
              <a:gd name="connsiteX9533" fmla="*/ 248061 w 10505529"/>
              <a:gd name="connsiteY9533" fmla="*/ 5918350 h 7458372"/>
              <a:gd name="connsiteX9534" fmla="*/ 253386 w 10505529"/>
              <a:gd name="connsiteY9534" fmla="*/ 5917418 h 7458372"/>
              <a:gd name="connsiteX9535" fmla="*/ 257113 w 10505529"/>
              <a:gd name="connsiteY9535" fmla="*/ 5915021 h 7458372"/>
              <a:gd name="connsiteX9536" fmla="*/ 259776 w 10505529"/>
              <a:gd name="connsiteY9536" fmla="*/ 5910761 h 7458372"/>
              <a:gd name="connsiteX9537" fmla="*/ 260841 w 10505529"/>
              <a:gd name="connsiteY9537" fmla="*/ 5905304 h 7458372"/>
              <a:gd name="connsiteX9538" fmla="*/ 259776 w 10505529"/>
              <a:gd name="connsiteY9538" fmla="*/ 5900112 h 7458372"/>
              <a:gd name="connsiteX9539" fmla="*/ 257113 w 10505529"/>
              <a:gd name="connsiteY9539" fmla="*/ 5895986 h 7458372"/>
              <a:gd name="connsiteX9540" fmla="*/ 253120 w 10505529"/>
              <a:gd name="connsiteY9540" fmla="*/ 5893323 h 7458372"/>
              <a:gd name="connsiteX9541" fmla="*/ 248061 w 10505529"/>
              <a:gd name="connsiteY9541" fmla="*/ 5892392 h 7458372"/>
              <a:gd name="connsiteX9542" fmla="*/ 30420 w 10505529"/>
              <a:gd name="connsiteY9542" fmla="*/ 5892392 h 7458372"/>
              <a:gd name="connsiteX9543" fmla="*/ 20437 w 10505529"/>
              <a:gd name="connsiteY9543" fmla="*/ 5895986 h 7458372"/>
              <a:gd name="connsiteX9544" fmla="*/ 16844 w 10505529"/>
              <a:gd name="connsiteY9544" fmla="*/ 5905437 h 7458372"/>
              <a:gd name="connsiteX9545" fmla="*/ 20437 w 10505529"/>
              <a:gd name="connsiteY9545" fmla="*/ 5914888 h 7458372"/>
              <a:gd name="connsiteX9546" fmla="*/ 30420 w 10505529"/>
              <a:gd name="connsiteY9546" fmla="*/ 5918350 h 7458372"/>
              <a:gd name="connsiteX9547" fmla="*/ 35745 w 10505529"/>
              <a:gd name="connsiteY9547" fmla="*/ 5917418 h 7458372"/>
              <a:gd name="connsiteX9548" fmla="*/ 39472 w 10505529"/>
              <a:gd name="connsiteY9548" fmla="*/ 5915021 h 7458372"/>
              <a:gd name="connsiteX9549" fmla="*/ 42135 w 10505529"/>
              <a:gd name="connsiteY9549" fmla="*/ 5910761 h 7458372"/>
              <a:gd name="connsiteX9550" fmla="*/ 43066 w 10505529"/>
              <a:gd name="connsiteY9550" fmla="*/ 5905304 h 7458372"/>
              <a:gd name="connsiteX9551" fmla="*/ 42135 w 10505529"/>
              <a:gd name="connsiteY9551" fmla="*/ 5900112 h 7458372"/>
              <a:gd name="connsiteX9552" fmla="*/ 39472 w 10505529"/>
              <a:gd name="connsiteY9552" fmla="*/ 5895986 h 7458372"/>
              <a:gd name="connsiteX9553" fmla="*/ 35479 w 10505529"/>
              <a:gd name="connsiteY9553" fmla="*/ 5893323 h 7458372"/>
              <a:gd name="connsiteX9554" fmla="*/ 30420 w 10505529"/>
              <a:gd name="connsiteY9554" fmla="*/ 5892392 h 7458372"/>
              <a:gd name="connsiteX9555" fmla="*/ 10475977 w 10505529"/>
              <a:gd name="connsiteY9555" fmla="*/ 5875752 h 7458372"/>
              <a:gd name="connsiteX9556" fmla="*/ 10487824 w 10505529"/>
              <a:gd name="connsiteY9556" fmla="*/ 5878281 h 7458372"/>
              <a:gd name="connsiteX9557" fmla="*/ 10497143 w 10505529"/>
              <a:gd name="connsiteY9557" fmla="*/ 5884671 h 7458372"/>
              <a:gd name="connsiteX9558" fmla="*/ 10503266 w 10505529"/>
              <a:gd name="connsiteY9558" fmla="*/ 5893989 h 7458372"/>
              <a:gd name="connsiteX9559" fmla="*/ 10505529 w 10505529"/>
              <a:gd name="connsiteY9559" fmla="*/ 5905437 h 7458372"/>
              <a:gd name="connsiteX9560" fmla="*/ 10503266 w 10505529"/>
              <a:gd name="connsiteY9560" fmla="*/ 5917152 h 7458372"/>
              <a:gd name="connsiteX9561" fmla="*/ 10497143 w 10505529"/>
              <a:gd name="connsiteY9561" fmla="*/ 5926470 h 7458372"/>
              <a:gd name="connsiteX9562" fmla="*/ 10487824 w 10505529"/>
              <a:gd name="connsiteY9562" fmla="*/ 5932727 h 7458372"/>
              <a:gd name="connsiteX9563" fmla="*/ 10475977 w 10505529"/>
              <a:gd name="connsiteY9563" fmla="*/ 5934989 h 7458372"/>
              <a:gd name="connsiteX9564" fmla="*/ 10454145 w 10505529"/>
              <a:gd name="connsiteY9564" fmla="*/ 5926470 h 7458372"/>
              <a:gd name="connsiteX9565" fmla="*/ 10445759 w 10505529"/>
              <a:gd name="connsiteY9565" fmla="*/ 5905304 h 7458372"/>
              <a:gd name="connsiteX9566" fmla="*/ 10454145 w 10505529"/>
              <a:gd name="connsiteY9566" fmla="*/ 5884271 h 7458372"/>
              <a:gd name="connsiteX9567" fmla="*/ 10475977 w 10505529"/>
              <a:gd name="connsiteY9567" fmla="*/ 5875752 h 7458372"/>
              <a:gd name="connsiteX9568" fmla="*/ 10258466 w 10505529"/>
              <a:gd name="connsiteY9568" fmla="*/ 5875752 h 7458372"/>
              <a:gd name="connsiteX9569" fmla="*/ 10270313 w 10505529"/>
              <a:gd name="connsiteY9569" fmla="*/ 5878281 h 7458372"/>
              <a:gd name="connsiteX9570" fmla="*/ 10279631 w 10505529"/>
              <a:gd name="connsiteY9570" fmla="*/ 5884671 h 7458372"/>
              <a:gd name="connsiteX9571" fmla="*/ 10285754 w 10505529"/>
              <a:gd name="connsiteY9571" fmla="*/ 5893989 h 7458372"/>
              <a:gd name="connsiteX9572" fmla="*/ 10288017 w 10505529"/>
              <a:gd name="connsiteY9572" fmla="*/ 5905437 h 7458372"/>
              <a:gd name="connsiteX9573" fmla="*/ 10285754 w 10505529"/>
              <a:gd name="connsiteY9573" fmla="*/ 5917152 h 7458372"/>
              <a:gd name="connsiteX9574" fmla="*/ 10279631 w 10505529"/>
              <a:gd name="connsiteY9574" fmla="*/ 5926470 h 7458372"/>
              <a:gd name="connsiteX9575" fmla="*/ 10270313 w 10505529"/>
              <a:gd name="connsiteY9575" fmla="*/ 5932727 h 7458372"/>
              <a:gd name="connsiteX9576" fmla="*/ 10258466 w 10505529"/>
              <a:gd name="connsiteY9576" fmla="*/ 5934989 h 7458372"/>
              <a:gd name="connsiteX9577" fmla="*/ 10236633 w 10505529"/>
              <a:gd name="connsiteY9577" fmla="*/ 5926470 h 7458372"/>
              <a:gd name="connsiteX9578" fmla="*/ 10228247 w 10505529"/>
              <a:gd name="connsiteY9578" fmla="*/ 5905304 h 7458372"/>
              <a:gd name="connsiteX9579" fmla="*/ 10236633 w 10505529"/>
              <a:gd name="connsiteY9579" fmla="*/ 5884271 h 7458372"/>
              <a:gd name="connsiteX9580" fmla="*/ 10258466 w 10505529"/>
              <a:gd name="connsiteY9580" fmla="*/ 5875752 h 7458372"/>
              <a:gd name="connsiteX9581" fmla="*/ 10040820 w 10505529"/>
              <a:gd name="connsiteY9581" fmla="*/ 5875752 h 7458372"/>
              <a:gd name="connsiteX9582" fmla="*/ 10052534 w 10505529"/>
              <a:gd name="connsiteY9582" fmla="*/ 5878281 h 7458372"/>
              <a:gd name="connsiteX9583" fmla="*/ 10061852 w 10505529"/>
              <a:gd name="connsiteY9583" fmla="*/ 5884671 h 7458372"/>
              <a:gd name="connsiteX9584" fmla="*/ 10067976 w 10505529"/>
              <a:gd name="connsiteY9584" fmla="*/ 5893989 h 7458372"/>
              <a:gd name="connsiteX9585" fmla="*/ 10070239 w 10505529"/>
              <a:gd name="connsiteY9585" fmla="*/ 5905437 h 7458372"/>
              <a:gd name="connsiteX9586" fmla="*/ 10067976 w 10505529"/>
              <a:gd name="connsiteY9586" fmla="*/ 5917152 h 7458372"/>
              <a:gd name="connsiteX9587" fmla="*/ 10061852 w 10505529"/>
              <a:gd name="connsiteY9587" fmla="*/ 5926470 h 7458372"/>
              <a:gd name="connsiteX9588" fmla="*/ 10052534 w 10505529"/>
              <a:gd name="connsiteY9588" fmla="*/ 5932727 h 7458372"/>
              <a:gd name="connsiteX9589" fmla="*/ 10040820 w 10505529"/>
              <a:gd name="connsiteY9589" fmla="*/ 5934989 h 7458372"/>
              <a:gd name="connsiteX9590" fmla="*/ 10018988 w 10505529"/>
              <a:gd name="connsiteY9590" fmla="*/ 5926470 h 7458372"/>
              <a:gd name="connsiteX9591" fmla="*/ 10010602 w 10505529"/>
              <a:gd name="connsiteY9591" fmla="*/ 5905304 h 7458372"/>
              <a:gd name="connsiteX9592" fmla="*/ 10018988 w 10505529"/>
              <a:gd name="connsiteY9592" fmla="*/ 5884271 h 7458372"/>
              <a:gd name="connsiteX9593" fmla="*/ 10040820 w 10505529"/>
              <a:gd name="connsiteY9593" fmla="*/ 5875752 h 7458372"/>
              <a:gd name="connsiteX9594" fmla="*/ 9823176 w 10505529"/>
              <a:gd name="connsiteY9594" fmla="*/ 5875752 h 7458372"/>
              <a:gd name="connsiteX9595" fmla="*/ 9834890 w 10505529"/>
              <a:gd name="connsiteY9595" fmla="*/ 5878281 h 7458372"/>
              <a:gd name="connsiteX9596" fmla="*/ 9844208 w 10505529"/>
              <a:gd name="connsiteY9596" fmla="*/ 5884671 h 7458372"/>
              <a:gd name="connsiteX9597" fmla="*/ 9850331 w 10505529"/>
              <a:gd name="connsiteY9597" fmla="*/ 5893989 h 7458372"/>
              <a:gd name="connsiteX9598" fmla="*/ 9852595 w 10505529"/>
              <a:gd name="connsiteY9598" fmla="*/ 5905437 h 7458372"/>
              <a:gd name="connsiteX9599" fmla="*/ 9850331 w 10505529"/>
              <a:gd name="connsiteY9599" fmla="*/ 5917152 h 7458372"/>
              <a:gd name="connsiteX9600" fmla="*/ 9844208 w 10505529"/>
              <a:gd name="connsiteY9600" fmla="*/ 5926470 h 7458372"/>
              <a:gd name="connsiteX9601" fmla="*/ 9834890 w 10505529"/>
              <a:gd name="connsiteY9601" fmla="*/ 5932727 h 7458372"/>
              <a:gd name="connsiteX9602" fmla="*/ 9823176 w 10505529"/>
              <a:gd name="connsiteY9602" fmla="*/ 5934989 h 7458372"/>
              <a:gd name="connsiteX9603" fmla="*/ 9801343 w 10505529"/>
              <a:gd name="connsiteY9603" fmla="*/ 5926470 h 7458372"/>
              <a:gd name="connsiteX9604" fmla="*/ 9792957 w 10505529"/>
              <a:gd name="connsiteY9604" fmla="*/ 5905304 h 7458372"/>
              <a:gd name="connsiteX9605" fmla="*/ 9801343 w 10505529"/>
              <a:gd name="connsiteY9605" fmla="*/ 5884271 h 7458372"/>
              <a:gd name="connsiteX9606" fmla="*/ 9823176 w 10505529"/>
              <a:gd name="connsiteY9606" fmla="*/ 5875752 h 7458372"/>
              <a:gd name="connsiteX9607" fmla="*/ 9605531 w 10505529"/>
              <a:gd name="connsiteY9607" fmla="*/ 5875752 h 7458372"/>
              <a:gd name="connsiteX9608" fmla="*/ 9617245 w 10505529"/>
              <a:gd name="connsiteY9608" fmla="*/ 5878281 h 7458372"/>
              <a:gd name="connsiteX9609" fmla="*/ 9626562 w 10505529"/>
              <a:gd name="connsiteY9609" fmla="*/ 5884671 h 7458372"/>
              <a:gd name="connsiteX9610" fmla="*/ 9632686 w 10505529"/>
              <a:gd name="connsiteY9610" fmla="*/ 5893989 h 7458372"/>
              <a:gd name="connsiteX9611" fmla="*/ 9634949 w 10505529"/>
              <a:gd name="connsiteY9611" fmla="*/ 5905437 h 7458372"/>
              <a:gd name="connsiteX9612" fmla="*/ 9632686 w 10505529"/>
              <a:gd name="connsiteY9612" fmla="*/ 5917152 h 7458372"/>
              <a:gd name="connsiteX9613" fmla="*/ 9626562 w 10505529"/>
              <a:gd name="connsiteY9613" fmla="*/ 5926470 h 7458372"/>
              <a:gd name="connsiteX9614" fmla="*/ 9617245 w 10505529"/>
              <a:gd name="connsiteY9614" fmla="*/ 5932727 h 7458372"/>
              <a:gd name="connsiteX9615" fmla="*/ 9605531 w 10505529"/>
              <a:gd name="connsiteY9615" fmla="*/ 5934989 h 7458372"/>
              <a:gd name="connsiteX9616" fmla="*/ 9583698 w 10505529"/>
              <a:gd name="connsiteY9616" fmla="*/ 5926470 h 7458372"/>
              <a:gd name="connsiteX9617" fmla="*/ 9575312 w 10505529"/>
              <a:gd name="connsiteY9617" fmla="*/ 5905304 h 7458372"/>
              <a:gd name="connsiteX9618" fmla="*/ 9583698 w 10505529"/>
              <a:gd name="connsiteY9618" fmla="*/ 5884271 h 7458372"/>
              <a:gd name="connsiteX9619" fmla="*/ 9605531 w 10505529"/>
              <a:gd name="connsiteY9619" fmla="*/ 5875752 h 7458372"/>
              <a:gd name="connsiteX9620" fmla="*/ 9387885 w 10505529"/>
              <a:gd name="connsiteY9620" fmla="*/ 5875752 h 7458372"/>
              <a:gd name="connsiteX9621" fmla="*/ 9399599 w 10505529"/>
              <a:gd name="connsiteY9621" fmla="*/ 5878281 h 7458372"/>
              <a:gd name="connsiteX9622" fmla="*/ 9408917 w 10505529"/>
              <a:gd name="connsiteY9622" fmla="*/ 5884671 h 7458372"/>
              <a:gd name="connsiteX9623" fmla="*/ 9415041 w 10505529"/>
              <a:gd name="connsiteY9623" fmla="*/ 5893989 h 7458372"/>
              <a:gd name="connsiteX9624" fmla="*/ 9417304 w 10505529"/>
              <a:gd name="connsiteY9624" fmla="*/ 5905437 h 7458372"/>
              <a:gd name="connsiteX9625" fmla="*/ 9415041 w 10505529"/>
              <a:gd name="connsiteY9625" fmla="*/ 5917152 h 7458372"/>
              <a:gd name="connsiteX9626" fmla="*/ 9408917 w 10505529"/>
              <a:gd name="connsiteY9626" fmla="*/ 5926470 h 7458372"/>
              <a:gd name="connsiteX9627" fmla="*/ 9399599 w 10505529"/>
              <a:gd name="connsiteY9627" fmla="*/ 5932727 h 7458372"/>
              <a:gd name="connsiteX9628" fmla="*/ 9387885 w 10505529"/>
              <a:gd name="connsiteY9628" fmla="*/ 5934989 h 7458372"/>
              <a:gd name="connsiteX9629" fmla="*/ 9366053 w 10505529"/>
              <a:gd name="connsiteY9629" fmla="*/ 5926470 h 7458372"/>
              <a:gd name="connsiteX9630" fmla="*/ 9357667 w 10505529"/>
              <a:gd name="connsiteY9630" fmla="*/ 5905304 h 7458372"/>
              <a:gd name="connsiteX9631" fmla="*/ 9366053 w 10505529"/>
              <a:gd name="connsiteY9631" fmla="*/ 5884271 h 7458372"/>
              <a:gd name="connsiteX9632" fmla="*/ 9387885 w 10505529"/>
              <a:gd name="connsiteY9632" fmla="*/ 5875752 h 7458372"/>
              <a:gd name="connsiteX9633" fmla="*/ 9170374 w 10505529"/>
              <a:gd name="connsiteY9633" fmla="*/ 5875752 h 7458372"/>
              <a:gd name="connsiteX9634" fmla="*/ 9182088 w 10505529"/>
              <a:gd name="connsiteY9634" fmla="*/ 5878281 h 7458372"/>
              <a:gd name="connsiteX9635" fmla="*/ 9191405 w 10505529"/>
              <a:gd name="connsiteY9635" fmla="*/ 5884671 h 7458372"/>
              <a:gd name="connsiteX9636" fmla="*/ 9197529 w 10505529"/>
              <a:gd name="connsiteY9636" fmla="*/ 5893989 h 7458372"/>
              <a:gd name="connsiteX9637" fmla="*/ 9199792 w 10505529"/>
              <a:gd name="connsiteY9637" fmla="*/ 5905437 h 7458372"/>
              <a:gd name="connsiteX9638" fmla="*/ 9197529 w 10505529"/>
              <a:gd name="connsiteY9638" fmla="*/ 5917152 h 7458372"/>
              <a:gd name="connsiteX9639" fmla="*/ 9191405 w 10505529"/>
              <a:gd name="connsiteY9639" fmla="*/ 5926470 h 7458372"/>
              <a:gd name="connsiteX9640" fmla="*/ 9182088 w 10505529"/>
              <a:gd name="connsiteY9640" fmla="*/ 5932727 h 7458372"/>
              <a:gd name="connsiteX9641" fmla="*/ 9170374 w 10505529"/>
              <a:gd name="connsiteY9641" fmla="*/ 5934989 h 7458372"/>
              <a:gd name="connsiteX9642" fmla="*/ 9148541 w 10505529"/>
              <a:gd name="connsiteY9642" fmla="*/ 5926470 h 7458372"/>
              <a:gd name="connsiteX9643" fmla="*/ 9140155 w 10505529"/>
              <a:gd name="connsiteY9643" fmla="*/ 5905304 h 7458372"/>
              <a:gd name="connsiteX9644" fmla="*/ 9148541 w 10505529"/>
              <a:gd name="connsiteY9644" fmla="*/ 5884271 h 7458372"/>
              <a:gd name="connsiteX9645" fmla="*/ 9170374 w 10505529"/>
              <a:gd name="connsiteY9645" fmla="*/ 5875752 h 7458372"/>
              <a:gd name="connsiteX9646" fmla="*/ 8952728 w 10505529"/>
              <a:gd name="connsiteY9646" fmla="*/ 5875752 h 7458372"/>
              <a:gd name="connsiteX9647" fmla="*/ 8964442 w 10505529"/>
              <a:gd name="connsiteY9647" fmla="*/ 5878281 h 7458372"/>
              <a:gd name="connsiteX9648" fmla="*/ 8973760 w 10505529"/>
              <a:gd name="connsiteY9648" fmla="*/ 5884671 h 7458372"/>
              <a:gd name="connsiteX9649" fmla="*/ 8979884 w 10505529"/>
              <a:gd name="connsiteY9649" fmla="*/ 5893989 h 7458372"/>
              <a:gd name="connsiteX9650" fmla="*/ 8982147 w 10505529"/>
              <a:gd name="connsiteY9650" fmla="*/ 5905437 h 7458372"/>
              <a:gd name="connsiteX9651" fmla="*/ 8979884 w 10505529"/>
              <a:gd name="connsiteY9651" fmla="*/ 5917152 h 7458372"/>
              <a:gd name="connsiteX9652" fmla="*/ 8973760 w 10505529"/>
              <a:gd name="connsiteY9652" fmla="*/ 5926470 h 7458372"/>
              <a:gd name="connsiteX9653" fmla="*/ 8964442 w 10505529"/>
              <a:gd name="connsiteY9653" fmla="*/ 5932727 h 7458372"/>
              <a:gd name="connsiteX9654" fmla="*/ 8952728 w 10505529"/>
              <a:gd name="connsiteY9654" fmla="*/ 5934989 h 7458372"/>
              <a:gd name="connsiteX9655" fmla="*/ 8930896 w 10505529"/>
              <a:gd name="connsiteY9655" fmla="*/ 5926470 h 7458372"/>
              <a:gd name="connsiteX9656" fmla="*/ 8922510 w 10505529"/>
              <a:gd name="connsiteY9656" fmla="*/ 5905304 h 7458372"/>
              <a:gd name="connsiteX9657" fmla="*/ 8930896 w 10505529"/>
              <a:gd name="connsiteY9657" fmla="*/ 5884271 h 7458372"/>
              <a:gd name="connsiteX9658" fmla="*/ 8952728 w 10505529"/>
              <a:gd name="connsiteY9658" fmla="*/ 5875752 h 7458372"/>
              <a:gd name="connsiteX9659" fmla="*/ 8735083 w 10505529"/>
              <a:gd name="connsiteY9659" fmla="*/ 5875752 h 7458372"/>
              <a:gd name="connsiteX9660" fmla="*/ 8746797 w 10505529"/>
              <a:gd name="connsiteY9660" fmla="*/ 5878281 h 7458372"/>
              <a:gd name="connsiteX9661" fmla="*/ 8756115 w 10505529"/>
              <a:gd name="connsiteY9661" fmla="*/ 5884671 h 7458372"/>
              <a:gd name="connsiteX9662" fmla="*/ 8762238 w 10505529"/>
              <a:gd name="connsiteY9662" fmla="*/ 5893989 h 7458372"/>
              <a:gd name="connsiteX9663" fmla="*/ 8764502 w 10505529"/>
              <a:gd name="connsiteY9663" fmla="*/ 5905437 h 7458372"/>
              <a:gd name="connsiteX9664" fmla="*/ 8762238 w 10505529"/>
              <a:gd name="connsiteY9664" fmla="*/ 5917152 h 7458372"/>
              <a:gd name="connsiteX9665" fmla="*/ 8756115 w 10505529"/>
              <a:gd name="connsiteY9665" fmla="*/ 5926470 h 7458372"/>
              <a:gd name="connsiteX9666" fmla="*/ 8746797 w 10505529"/>
              <a:gd name="connsiteY9666" fmla="*/ 5932727 h 7458372"/>
              <a:gd name="connsiteX9667" fmla="*/ 8735083 w 10505529"/>
              <a:gd name="connsiteY9667" fmla="*/ 5934989 h 7458372"/>
              <a:gd name="connsiteX9668" fmla="*/ 8713250 w 10505529"/>
              <a:gd name="connsiteY9668" fmla="*/ 5926470 h 7458372"/>
              <a:gd name="connsiteX9669" fmla="*/ 8704864 w 10505529"/>
              <a:gd name="connsiteY9669" fmla="*/ 5905304 h 7458372"/>
              <a:gd name="connsiteX9670" fmla="*/ 8713250 w 10505529"/>
              <a:gd name="connsiteY9670" fmla="*/ 5884271 h 7458372"/>
              <a:gd name="connsiteX9671" fmla="*/ 8735083 w 10505529"/>
              <a:gd name="connsiteY9671" fmla="*/ 5875752 h 7458372"/>
              <a:gd name="connsiteX9672" fmla="*/ 8517438 w 10505529"/>
              <a:gd name="connsiteY9672" fmla="*/ 5875752 h 7458372"/>
              <a:gd name="connsiteX9673" fmla="*/ 8529152 w 10505529"/>
              <a:gd name="connsiteY9673" fmla="*/ 5878281 h 7458372"/>
              <a:gd name="connsiteX9674" fmla="*/ 8538470 w 10505529"/>
              <a:gd name="connsiteY9674" fmla="*/ 5884671 h 7458372"/>
              <a:gd name="connsiteX9675" fmla="*/ 8544594 w 10505529"/>
              <a:gd name="connsiteY9675" fmla="*/ 5893989 h 7458372"/>
              <a:gd name="connsiteX9676" fmla="*/ 8546857 w 10505529"/>
              <a:gd name="connsiteY9676" fmla="*/ 5905437 h 7458372"/>
              <a:gd name="connsiteX9677" fmla="*/ 8544594 w 10505529"/>
              <a:gd name="connsiteY9677" fmla="*/ 5917152 h 7458372"/>
              <a:gd name="connsiteX9678" fmla="*/ 8538470 w 10505529"/>
              <a:gd name="connsiteY9678" fmla="*/ 5926470 h 7458372"/>
              <a:gd name="connsiteX9679" fmla="*/ 8529152 w 10505529"/>
              <a:gd name="connsiteY9679" fmla="*/ 5932727 h 7458372"/>
              <a:gd name="connsiteX9680" fmla="*/ 8517438 w 10505529"/>
              <a:gd name="connsiteY9680" fmla="*/ 5934989 h 7458372"/>
              <a:gd name="connsiteX9681" fmla="*/ 8495606 w 10505529"/>
              <a:gd name="connsiteY9681" fmla="*/ 5926470 h 7458372"/>
              <a:gd name="connsiteX9682" fmla="*/ 8487220 w 10505529"/>
              <a:gd name="connsiteY9682" fmla="*/ 5905304 h 7458372"/>
              <a:gd name="connsiteX9683" fmla="*/ 8495606 w 10505529"/>
              <a:gd name="connsiteY9683" fmla="*/ 5884271 h 7458372"/>
              <a:gd name="connsiteX9684" fmla="*/ 8517438 w 10505529"/>
              <a:gd name="connsiteY9684" fmla="*/ 5875752 h 7458372"/>
              <a:gd name="connsiteX9685" fmla="*/ 8299793 w 10505529"/>
              <a:gd name="connsiteY9685" fmla="*/ 5875752 h 7458372"/>
              <a:gd name="connsiteX9686" fmla="*/ 8311507 w 10505529"/>
              <a:gd name="connsiteY9686" fmla="*/ 5878281 h 7458372"/>
              <a:gd name="connsiteX9687" fmla="*/ 8320825 w 10505529"/>
              <a:gd name="connsiteY9687" fmla="*/ 5884671 h 7458372"/>
              <a:gd name="connsiteX9688" fmla="*/ 8326948 w 10505529"/>
              <a:gd name="connsiteY9688" fmla="*/ 5893989 h 7458372"/>
              <a:gd name="connsiteX9689" fmla="*/ 8329212 w 10505529"/>
              <a:gd name="connsiteY9689" fmla="*/ 5905437 h 7458372"/>
              <a:gd name="connsiteX9690" fmla="*/ 8326948 w 10505529"/>
              <a:gd name="connsiteY9690" fmla="*/ 5917152 h 7458372"/>
              <a:gd name="connsiteX9691" fmla="*/ 8320825 w 10505529"/>
              <a:gd name="connsiteY9691" fmla="*/ 5926470 h 7458372"/>
              <a:gd name="connsiteX9692" fmla="*/ 8311507 w 10505529"/>
              <a:gd name="connsiteY9692" fmla="*/ 5932727 h 7458372"/>
              <a:gd name="connsiteX9693" fmla="*/ 8299793 w 10505529"/>
              <a:gd name="connsiteY9693" fmla="*/ 5934989 h 7458372"/>
              <a:gd name="connsiteX9694" fmla="*/ 8277960 w 10505529"/>
              <a:gd name="connsiteY9694" fmla="*/ 5926470 h 7458372"/>
              <a:gd name="connsiteX9695" fmla="*/ 8269574 w 10505529"/>
              <a:gd name="connsiteY9695" fmla="*/ 5905304 h 7458372"/>
              <a:gd name="connsiteX9696" fmla="*/ 8277960 w 10505529"/>
              <a:gd name="connsiteY9696" fmla="*/ 5884271 h 7458372"/>
              <a:gd name="connsiteX9697" fmla="*/ 8299793 w 10505529"/>
              <a:gd name="connsiteY9697" fmla="*/ 5875752 h 7458372"/>
              <a:gd name="connsiteX9698" fmla="*/ 8082281 w 10505529"/>
              <a:gd name="connsiteY9698" fmla="*/ 5875752 h 7458372"/>
              <a:gd name="connsiteX9699" fmla="*/ 8094127 w 10505529"/>
              <a:gd name="connsiteY9699" fmla="*/ 5878281 h 7458372"/>
              <a:gd name="connsiteX9700" fmla="*/ 8103446 w 10505529"/>
              <a:gd name="connsiteY9700" fmla="*/ 5884671 h 7458372"/>
              <a:gd name="connsiteX9701" fmla="*/ 8109569 w 10505529"/>
              <a:gd name="connsiteY9701" fmla="*/ 5893989 h 7458372"/>
              <a:gd name="connsiteX9702" fmla="*/ 8111832 w 10505529"/>
              <a:gd name="connsiteY9702" fmla="*/ 5905437 h 7458372"/>
              <a:gd name="connsiteX9703" fmla="*/ 8109569 w 10505529"/>
              <a:gd name="connsiteY9703" fmla="*/ 5917152 h 7458372"/>
              <a:gd name="connsiteX9704" fmla="*/ 8103446 w 10505529"/>
              <a:gd name="connsiteY9704" fmla="*/ 5926470 h 7458372"/>
              <a:gd name="connsiteX9705" fmla="*/ 8094127 w 10505529"/>
              <a:gd name="connsiteY9705" fmla="*/ 5932727 h 7458372"/>
              <a:gd name="connsiteX9706" fmla="*/ 8082281 w 10505529"/>
              <a:gd name="connsiteY9706" fmla="*/ 5934989 h 7458372"/>
              <a:gd name="connsiteX9707" fmla="*/ 8060448 w 10505529"/>
              <a:gd name="connsiteY9707" fmla="*/ 5926470 h 7458372"/>
              <a:gd name="connsiteX9708" fmla="*/ 8052062 w 10505529"/>
              <a:gd name="connsiteY9708" fmla="*/ 5905304 h 7458372"/>
              <a:gd name="connsiteX9709" fmla="*/ 8060448 w 10505529"/>
              <a:gd name="connsiteY9709" fmla="*/ 5884271 h 7458372"/>
              <a:gd name="connsiteX9710" fmla="*/ 8082281 w 10505529"/>
              <a:gd name="connsiteY9710" fmla="*/ 5875752 h 7458372"/>
              <a:gd name="connsiteX9711" fmla="*/ 7864636 w 10505529"/>
              <a:gd name="connsiteY9711" fmla="*/ 5875752 h 7458372"/>
              <a:gd name="connsiteX9712" fmla="*/ 7876483 w 10505529"/>
              <a:gd name="connsiteY9712" fmla="*/ 5878281 h 7458372"/>
              <a:gd name="connsiteX9713" fmla="*/ 7885802 w 10505529"/>
              <a:gd name="connsiteY9713" fmla="*/ 5884671 h 7458372"/>
              <a:gd name="connsiteX9714" fmla="*/ 7891924 w 10505529"/>
              <a:gd name="connsiteY9714" fmla="*/ 5893989 h 7458372"/>
              <a:gd name="connsiteX9715" fmla="*/ 7894188 w 10505529"/>
              <a:gd name="connsiteY9715" fmla="*/ 5905437 h 7458372"/>
              <a:gd name="connsiteX9716" fmla="*/ 7891924 w 10505529"/>
              <a:gd name="connsiteY9716" fmla="*/ 5917152 h 7458372"/>
              <a:gd name="connsiteX9717" fmla="*/ 7885802 w 10505529"/>
              <a:gd name="connsiteY9717" fmla="*/ 5926470 h 7458372"/>
              <a:gd name="connsiteX9718" fmla="*/ 7876483 w 10505529"/>
              <a:gd name="connsiteY9718" fmla="*/ 5932727 h 7458372"/>
              <a:gd name="connsiteX9719" fmla="*/ 7864636 w 10505529"/>
              <a:gd name="connsiteY9719" fmla="*/ 5934989 h 7458372"/>
              <a:gd name="connsiteX9720" fmla="*/ 7842803 w 10505529"/>
              <a:gd name="connsiteY9720" fmla="*/ 5926470 h 7458372"/>
              <a:gd name="connsiteX9721" fmla="*/ 7834417 w 10505529"/>
              <a:gd name="connsiteY9721" fmla="*/ 5905304 h 7458372"/>
              <a:gd name="connsiteX9722" fmla="*/ 7842803 w 10505529"/>
              <a:gd name="connsiteY9722" fmla="*/ 5884271 h 7458372"/>
              <a:gd name="connsiteX9723" fmla="*/ 7864636 w 10505529"/>
              <a:gd name="connsiteY9723" fmla="*/ 5875752 h 7458372"/>
              <a:gd name="connsiteX9724" fmla="*/ 7646991 w 10505529"/>
              <a:gd name="connsiteY9724" fmla="*/ 5875752 h 7458372"/>
              <a:gd name="connsiteX9725" fmla="*/ 7658705 w 10505529"/>
              <a:gd name="connsiteY9725" fmla="*/ 5878281 h 7458372"/>
              <a:gd name="connsiteX9726" fmla="*/ 7668022 w 10505529"/>
              <a:gd name="connsiteY9726" fmla="*/ 5884671 h 7458372"/>
              <a:gd name="connsiteX9727" fmla="*/ 7674146 w 10505529"/>
              <a:gd name="connsiteY9727" fmla="*/ 5893989 h 7458372"/>
              <a:gd name="connsiteX9728" fmla="*/ 7676409 w 10505529"/>
              <a:gd name="connsiteY9728" fmla="*/ 5905437 h 7458372"/>
              <a:gd name="connsiteX9729" fmla="*/ 7674146 w 10505529"/>
              <a:gd name="connsiteY9729" fmla="*/ 5917152 h 7458372"/>
              <a:gd name="connsiteX9730" fmla="*/ 7668022 w 10505529"/>
              <a:gd name="connsiteY9730" fmla="*/ 5926470 h 7458372"/>
              <a:gd name="connsiteX9731" fmla="*/ 7658705 w 10505529"/>
              <a:gd name="connsiteY9731" fmla="*/ 5932727 h 7458372"/>
              <a:gd name="connsiteX9732" fmla="*/ 7646991 w 10505529"/>
              <a:gd name="connsiteY9732" fmla="*/ 5934989 h 7458372"/>
              <a:gd name="connsiteX9733" fmla="*/ 7625158 w 10505529"/>
              <a:gd name="connsiteY9733" fmla="*/ 5926470 h 7458372"/>
              <a:gd name="connsiteX9734" fmla="*/ 7616772 w 10505529"/>
              <a:gd name="connsiteY9734" fmla="*/ 5905304 h 7458372"/>
              <a:gd name="connsiteX9735" fmla="*/ 7625158 w 10505529"/>
              <a:gd name="connsiteY9735" fmla="*/ 5884271 h 7458372"/>
              <a:gd name="connsiteX9736" fmla="*/ 7646991 w 10505529"/>
              <a:gd name="connsiteY9736" fmla="*/ 5875752 h 7458372"/>
              <a:gd name="connsiteX9737" fmla="*/ 7429345 w 10505529"/>
              <a:gd name="connsiteY9737" fmla="*/ 5875752 h 7458372"/>
              <a:gd name="connsiteX9738" fmla="*/ 7441059 w 10505529"/>
              <a:gd name="connsiteY9738" fmla="*/ 5878281 h 7458372"/>
              <a:gd name="connsiteX9739" fmla="*/ 7450377 w 10505529"/>
              <a:gd name="connsiteY9739" fmla="*/ 5884671 h 7458372"/>
              <a:gd name="connsiteX9740" fmla="*/ 7456501 w 10505529"/>
              <a:gd name="connsiteY9740" fmla="*/ 5893989 h 7458372"/>
              <a:gd name="connsiteX9741" fmla="*/ 7458764 w 10505529"/>
              <a:gd name="connsiteY9741" fmla="*/ 5905437 h 7458372"/>
              <a:gd name="connsiteX9742" fmla="*/ 7456501 w 10505529"/>
              <a:gd name="connsiteY9742" fmla="*/ 5917152 h 7458372"/>
              <a:gd name="connsiteX9743" fmla="*/ 7450377 w 10505529"/>
              <a:gd name="connsiteY9743" fmla="*/ 5926470 h 7458372"/>
              <a:gd name="connsiteX9744" fmla="*/ 7441059 w 10505529"/>
              <a:gd name="connsiteY9744" fmla="*/ 5932727 h 7458372"/>
              <a:gd name="connsiteX9745" fmla="*/ 7429345 w 10505529"/>
              <a:gd name="connsiteY9745" fmla="*/ 5934989 h 7458372"/>
              <a:gd name="connsiteX9746" fmla="*/ 7407513 w 10505529"/>
              <a:gd name="connsiteY9746" fmla="*/ 5926470 h 7458372"/>
              <a:gd name="connsiteX9747" fmla="*/ 7399127 w 10505529"/>
              <a:gd name="connsiteY9747" fmla="*/ 5905304 h 7458372"/>
              <a:gd name="connsiteX9748" fmla="*/ 7407513 w 10505529"/>
              <a:gd name="connsiteY9748" fmla="*/ 5884271 h 7458372"/>
              <a:gd name="connsiteX9749" fmla="*/ 7429345 w 10505529"/>
              <a:gd name="connsiteY9749" fmla="*/ 5875752 h 7458372"/>
              <a:gd name="connsiteX9750" fmla="*/ 7211701 w 10505529"/>
              <a:gd name="connsiteY9750" fmla="*/ 5875752 h 7458372"/>
              <a:gd name="connsiteX9751" fmla="*/ 7223415 w 10505529"/>
              <a:gd name="connsiteY9751" fmla="*/ 5878281 h 7458372"/>
              <a:gd name="connsiteX9752" fmla="*/ 7232733 w 10505529"/>
              <a:gd name="connsiteY9752" fmla="*/ 5884671 h 7458372"/>
              <a:gd name="connsiteX9753" fmla="*/ 7238856 w 10505529"/>
              <a:gd name="connsiteY9753" fmla="*/ 5893989 h 7458372"/>
              <a:gd name="connsiteX9754" fmla="*/ 7241120 w 10505529"/>
              <a:gd name="connsiteY9754" fmla="*/ 5905437 h 7458372"/>
              <a:gd name="connsiteX9755" fmla="*/ 7238856 w 10505529"/>
              <a:gd name="connsiteY9755" fmla="*/ 5917152 h 7458372"/>
              <a:gd name="connsiteX9756" fmla="*/ 7232733 w 10505529"/>
              <a:gd name="connsiteY9756" fmla="*/ 5926470 h 7458372"/>
              <a:gd name="connsiteX9757" fmla="*/ 7223415 w 10505529"/>
              <a:gd name="connsiteY9757" fmla="*/ 5932727 h 7458372"/>
              <a:gd name="connsiteX9758" fmla="*/ 7211701 w 10505529"/>
              <a:gd name="connsiteY9758" fmla="*/ 5934989 h 7458372"/>
              <a:gd name="connsiteX9759" fmla="*/ 7189868 w 10505529"/>
              <a:gd name="connsiteY9759" fmla="*/ 5926470 h 7458372"/>
              <a:gd name="connsiteX9760" fmla="*/ 7181482 w 10505529"/>
              <a:gd name="connsiteY9760" fmla="*/ 5905304 h 7458372"/>
              <a:gd name="connsiteX9761" fmla="*/ 7189868 w 10505529"/>
              <a:gd name="connsiteY9761" fmla="*/ 5884271 h 7458372"/>
              <a:gd name="connsiteX9762" fmla="*/ 7211701 w 10505529"/>
              <a:gd name="connsiteY9762" fmla="*/ 5875752 h 7458372"/>
              <a:gd name="connsiteX9763" fmla="*/ 6994056 w 10505529"/>
              <a:gd name="connsiteY9763" fmla="*/ 5875752 h 7458372"/>
              <a:gd name="connsiteX9764" fmla="*/ 7005769 w 10505529"/>
              <a:gd name="connsiteY9764" fmla="*/ 5878281 h 7458372"/>
              <a:gd name="connsiteX9765" fmla="*/ 7015087 w 10505529"/>
              <a:gd name="connsiteY9765" fmla="*/ 5884671 h 7458372"/>
              <a:gd name="connsiteX9766" fmla="*/ 7021211 w 10505529"/>
              <a:gd name="connsiteY9766" fmla="*/ 5893989 h 7458372"/>
              <a:gd name="connsiteX9767" fmla="*/ 7023474 w 10505529"/>
              <a:gd name="connsiteY9767" fmla="*/ 5905437 h 7458372"/>
              <a:gd name="connsiteX9768" fmla="*/ 7021211 w 10505529"/>
              <a:gd name="connsiteY9768" fmla="*/ 5917152 h 7458372"/>
              <a:gd name="connsiteX9769" fmla="*/ 7015087 w 10505529"/>
              <a:gd name="connsiteY9769" fmla="*/ 5926470 h 7458372"/>
              <a:gd name="connsiteX9770" fmla="*/ 7005769 w 10505529"/>
              <a:gd name="connsiteY9770" fmla="*/ 5932727 h 7458372"/>
              <a:gd name="connsiteX9771" fmla="*/ 6994056 w 10505529"/>
              <a:gd name="connsiteY9771" fmla="*/ 5934989 h 7458372"/>
              <a:gd name="connsiteX9772" fmla="*/ 6972223 w 10505529"/>
              <a:gd name="connsiteY9772" fmla="*/ 5926470 h 7458372"/>
              <a:gd name="connsiteX9773" fmla="*/ 6963837 w 10505529"/>
              <a:gd name="connsiteY9773" fmla="*/ 5905304 h 7458372"/>
              <a:gd name="connsiteX9774" fmla="*/ 6972223 w 10505529"/>
              <a:gd name="connsiteY9774" fmla="*/ 5884271 h 7458372"/>
              <a:gd name="connsiteX9775" fmla="*/ 6994056 w 10505529"/>
              <a:gd name="connsiteY9775" fmla="*/ 5875752 h 7458372"/>
              <a:gd name="connsiteX9776" fmla="*/ 6776544 w 10505529"/>
              <a:gd name="connsiteY9776" fmla="*/ 5875752 h 7458372"/>
              <a:gd name="connsiteX9777" fmla="*/ 6788258 w 10505529"/>
              <a:gd name="connsiteY9777" fmla="*/ 5878281 h 7458372"/>
              <a:gd name="connsiteX9778" fmla="*/ 6797576 w 10505529"/>
              <a:gd name="connsiteY9778" fmla="*/ 5884671 h 7458372"/>
              <a:gd name="connsiteX9779" fmla="*/ 6803699 w 10505529"/>
              <a:gd name="connsiteY9779" fmla="*/ 5893989 h 7458372"/>
              <a:gd name="connsiteX9780" fmla="*/ 6805963 w 10505529"/>
              <a:gd name="connsiteY9780" fmla="*/ 5905437 h 7458372"/>
              <a:gd name="connsiteX9781" fmla="*/ 6803699 w 10505529"/>
              <a:gd name="connsiteY9781" fmla="*/ 5917152 h 7458372"/>
              <a:gd name="connsiteX9782" fmla="*/ 6797576 w 10505529"/>
              <a:gd name="connsiteY9782" fmla="*/ 5926470 h 7458372"/>
              <a:gd name="connsiteX9783" fmla="*/ 6788258 w 10505529"/>
              <a:gd name="connsiteY9783" fmla="*/ 5932727 h 7458372"/>
              <a:gd name="connsiteX9784" fmla="*/ 6776544 w 10505529"/>
              <a:gd name="connsiteY9784" fmla="*/ 5934989 h 7458372"/>
              <a:gd name="connsiteX9785" fmla="*/ 6754711 w 10505529"/>
              <a:gd name="connsiteY9785" fmla="*/ 5926470 h 7458372"/>
              <a:gd name="connsiteX9786" fmla="*/ 6746325 w 10505529"/>
              <a:gd name="connsiteY9786" fmla="*/ 5905304 h 7458372"/>
              <a:gd name="connsiteX9787" fmla="*/ 6754711 w 10505529"/>
              <a:gd name="connsiteY9787" fmla="*/ 5884271 h 7458372"/>
              <a:gd name="connsiteX9788" fmla="*/ 6776544 w 10505529"/>
              <a:gd name="connsiteY9788" fmla="*/ 5875752 h 7458372"/>
              <a:gd name="connsiteX9789" fmla="*/ 6558899 w 10505529"/>
              <a:gd name="connsiteY9789" fmla="*/ 5875752 h 7458372"/>
              <a:gd name="connsiteX9790" fmla="*/ 6570612 w 10505529"/>
              <a:gd name="connsiteY9790" fmla="*/ 5878281 h 7458372"/>
              <a:gd name="connsiteX9791" fmla="*/ 6579930 w 10505529"/>
              <a:gd name="connsiteY9791" fmla="*/ 5884671 h 7458372"/>
              <a:gd name="connsiteX9792" fmla="*/ 6586054 w 10505529"/>
              <a:gd name="connsiteY9792" fmla="*/ 5893989 h 7458372"/>
              <a:gd name="connsiteX9793" fmla="*/ 6588317 w 10505529"/>
              <a:gd name="connsiteY9793" fmla="*/ 5905437 h 7458372"/>
              <a:gd name="connsiteX9794" fmla="*/ 6586054 w 10505529"/>
              <a:gd name="connsiteY9794" fmla="*/ 5917152 h 7458372"/>
              <a:gd name="connsiteX9795" fmla="*/ 6579930 w 10505529"/>
              <a:gd name="connsiteY9795" fmla="*/ 5926470 h 7458372"/>
              <a:gd name="connsiteX9796" fmla="*/ 6570612 w 10505529"/>
              <a:gd name="connsiteY9796" fmla="*/ 5932727 h 7458372"/>
              <a:gd name="connsiteX9797" fmla="*/ 6558899 w 10505529"/>
              <a:gd name="connsiteY9797" fmla="*/ 5934989 h 7458372"/>
              <a:gd name="connsiteX9798" fmla="*/ 6537066 w 10505529"/>
              <a:gd name="connsiteY9798" fmla="*/ 5926470 h 7458372"/>
              <a:gd name="connsiteX9799" fmla="*/ 6528680 w 10505529"/>
              <a:gd name="connsiteY9799" fmla="*/ 5905304 h 7458372"/>
              <a:gd name="connsiteX9800" fmla="*/ 6537066 w 10505529"/>
              <a:gd name="connsiteY9800" fmla="*/ 5884271 h 7458372"/>
              <a:gd name="connsiteX9801" fmla="*/ 6558899 w 10505529"/>
              <a:gd name="connsiteY9801" fmla="*/ 5875752 h 7458372"/>
              <a:gd name="connsiteX9802" fmla="*/ 6341253 w 10505529"/>
              <a:gd name="connsiteY9802" fmla="*/ 5875752 h 7458372"/>
              <a:gd name="connsiteX9803" fmla="*/ 6352968 w 10505529"/>
              <a:gd name="connsiteY9803" fmla="*/ 5878281 h 7458372"/>
              <a:gd name="connsiteX9804" fmla="*/ 6362286 w 10505529"/>
              <a:gd name="connsiteY9804" fmla="*/ 5884671 h 7458372"/>
              <a:gd name="connsiteX9805" fmla="*/ 6368409 w 10505529"/>
              <a:gd name="connsiteY9805" fmla="*/ 5893989 h 7458372"/>
              <a:gd name="connsiteX9806" fmla="*/ 6370672 w 10505529"/>
              <a:gd name="connsiteY9806" fmla="*/ 5905437 h 7458372"/>
              <a:gd name="connsiteX9807" fmla="*/ 6368409 w 10505529"/>
              <a:gd name="connsiteY9807" fmla="*/ 5917152 h 7458372"/>
              <a:gd name="connsiteX9808" fmla="*/ 6362286 w 10505529"/>
              <a:gd name="connsiteY9808" fmla="*/ 5926470 h 7458372"/>
              <a:gd name="connsiteX9809" fmla="*/ 6352968 w 10505529"/>
              <a:gd name="connsiteY9809" fmla="*/ 5932727 h 7458372"/>
              <a:gd name="connsiteX9810" fmla="*/ 6341253 w 10505529"/>
              <a:gd name="connsiteY9810" fmla="*/ 5934989 h 7458372"/>
              <a:gd name="connsiteX9811" fmla="*/ 6319421 w 10505529"/>
              <a:gd name="connsiteY9811" fmla="*/ 5926470 h 7458372"/>
              <a:gd name="connsiteX9812" fmla="*/ 6311035 w 10505529"/>
              <a:gd name="connsiteY9812" fmla="*/ 5905304 h 7458372"/>
              <a:gd name="connsiteX9813" fmla="*/ 6319421 w 10505529"/>
              <a:gd name="connsiteY9813" fmla="*/ 5884271 h 7458372"/>
              <a:gd name="connsiteX9814" fmla="*/ 6341253 w 10505529"/>
              <a:gd name="connsiteY9814" fmla="*/ 5875752 h 7458372"/>
              <a:gd name="connsiteX9815" fmla="*/ 6123608 w 10505529"/>
              <a:gd name="connsiteY9815" fmla="*/ 5875752 h 7458372"/>
              <a:gd name="connsiteX9816" fmla="*/ 6135322 w 10505529"/>
              <a:gd name="connsiteY9816" fmla="*/ 5878281 h 7458372"/>
              <a:gd name="connsiteX9817" fmla="*/ 6144640 w 10505529"/>
              <a:gd name="connsiteY9817" fmla="*/ 5884671 h 7458372"/>
              <a:gd name="connsiteX9818" fmla="*/ 6150763 w 10505529"/>
              <a:gd name="connsiteY9818" fmla="*/ 5893989 h 7458372"/>
              <a:gd name="connsiteX9819" fmla="*/ 6153026 w 10505529"/>
              <a:gd name="connsiteY9819" fmla="*/ 5905437 h 7458372"/>
              <a:gd name="connsiteX9820" fmla="*/ 6150763 w 10505529"/>
              <a:gd name="connsiteY9820" fmla="*/ 5917152 h 7458372"/>
              <a:gd name="connsiteX9821" fmla="*/ 6144640 w 10505529"/>
              <a:gd name="connsiteY9821" fmla="*/ 5926470 h 7458372"/>
              <a:gd name="connsiteX9822" fmla="*/ 6135322 w 10505529"/>
              <a:gd name="connsiteY9822" fmla="*/ 5932727 h 7458372"/>
              <a:gd name="connsiteX9823" fmla="*/ 6123608 w 10505529"/>
              <a:gd name="connsiteY9823" fmla="*/ 5934989 h 7458372"/>
              <a:gd name="connsiteX9824" fmla="*/ 6101775 w 10505529"/>
              <a:gd name="connsiteY9824" fmla="*/ 5926470 h 7458372"/>
              <a:gd name="connsiteX9825" fmla="*/ 6093389 w 10505529"/>
              <a:gd name="connsiteY9825" fmla="*/ 5905304 h 7458372"/>
              <a:gd name="connsiteX9826" fmla="*/ 6101775 w 10505529"/>
              <a:gd name="connsiteY9826" fmla="*/ 5884271 h 7458372"/>
              <a:gd name="connsiteX9827" fmla="*/ 6123608 w 10505529"/>
              <a:gd name="connsiteY9827" fmla="*/ 5875752 h 7458372"/>
              <a:gd name="connsiteX9828" fmla="*/ 5905963 w 10505529"/>
              <a:gd name="connsiteY9828" fmla="*/ 5875752 h 7458372"/>
              <a:gd name="connsiteX9829" fmla="*/ 5917677 w 10505529"/>
              <a:gd name="connsiteY9829" fmla="*/ 5878281 h 7458372"/>
              <a:gd name="connsiteX9830" fmla="*/ 5926995 w 10505529"/>
              <a:gd name="connsiteY9830" fmla="*/ 5884671 h 7458372"/>
              <a:gd name="connsiteX9831" fmla="*/ 5933118 w 10505529"/>
              <a:gd name="connsiteY9831" fmla="*/ 5893989 h 7458372"/>
              <a:gd name="connsiteX9832" fmla="*/ 5935381 w 10505529"/>
              <a:gd name="connsiteY9832" fmla="*/ 5905437 h 7458372"/>
              <a:gd name="connsiteX9833" fmla="*/ 5933118 w 10505529"/>
              <a:gd name="connsiteY9833" fmla="*/ 5917152 h 7458372"/>
              <a:gd name="connsiteX9834" fmla="*/ 5926995 w 10505529"/>
              <a:gd name="connsiteY9834" fmla="*/ 5926470 h 7458372"/>
              <a:gd name="connsiteX9835" fmla="*/ 5917677 w 10505529"/>
              <a:gd name="connsiteY9835" fmla="*/ 5932727 h 7458372"/>
              <a:gd name="connsiteX9836" fmla="*/ 5905963 w 10505529"/>
              <a:gd name="connsiteY9836" fmla="*/ 5934989 h 7458372"/>
              <a:gd name="connsiteX9837" fmla="*/ 5884130 w 10505529"/>
              <a:gd name="connsiteY9837" fmla="*/ 5926470 h 7458372"/>
              <a:gd name="connsiteX9838" fmla="*/ 5875744 w 10505529"/>
              <a:gd name="connsiteY9838" fmla="*/ 5905304 h 7458372"/>
              <a:gd name="connsiteX9839" fmla="*/ 5884130 w 10505529"/>
              <a:gd name="connsiteY9839" fmla="*/ 5884271 h 7458372"/>
              <a:gd name="connsiteX9840" fmla="*/ 5905963 w 10505529"/>
              <a:gd name="connsiteY9840" fmla="*/ 5875752 h 7458372"/>
              <a:gd name="connsiteX9841" fmla="*/ 5688451 w 10505529"/>
              <a:gd name="connsiteY9841" fmla="*/ 5875752 h 7458372"/>
              <a:gd name="connsiteX9842" fmla="*/ 5700165 w 10505529"/>
              <a:gd name="connsiteY9842" fmla="*/ 5878281 h 7458372"/>
              <a:gd name="connsiteX9843" fmla="*/ 5709483 w 10505529"/>
              <a:gd name="connsiteY9843" fmla="*/ 5884671 h 7458372"/>
              <a:gd name="connsiteX9844" fmla="*/ 5715606 w 10505529"/>
              <a:gd name="connsiteY9844" fmla="*/ 5893989 h 7458372"/>
              <a:gd name="connsiteX9845" fmla="*/ 5717869 w 10505529"/>
              <a:gd name="connsiteY9845" fmla="*/ 5905437 h 7458372"/>
              <a:gd name="connsiteX9846" fmla="*/ 5715606 w 10505529"/>
              <a:gd name="connsiteY9846" fmla="*/ 5917152 h 7458372"/>
              <a:gd name="connsiteX9847" fmla="*/ 5709483 w 10505529"/>
              <a:gd name="connsiteY9847" fmla="*/ 5926470 h 7458372"/>
              <a:gd name="connsiteX9848" fmla="*/ 5700165 w 10505529"/>
              <a:gd name="connsiteY9848" fmla="*/ 5932727 h 7458372"/>
              <a:gd name="connsiteX9849" fmla="*/ 5688451 w 10505529"/>
              <a:gd name="connsiteY9849" fmla="*/ 5934989 h 7458372"/>
              <a:gd name="connsiteX9850" fmla="*/ 5666618 w 10505529"/>
              <a:gd name="connsiteY9850" fmla="*/ 5926470 h 7458372"/>
              <a:gd name="connsiteX9851" fmla="*/ 5658232 w 10505529"/>
              <a:gd name="connsiteY9851" fmla="*/ 5905304 h 7458372"/>
              <a:gd name="connsiteX9852" fmla="*/ 5666618 w 10505529"/>
              <a:gd name="connsiteY9852" fmla="*/ 5884271 h 7458372"/>
              <a:gd name="connsiteX9853" fmla="*/ 5688451 w 10505529"/>
              <a:gd name="connsiteY9853" fmla="*/ 5875752 h 7458372"/>
              <a:gd name="connsiteX9854" fmla="*/ 5470806 w 10505529"/>
              <a:gd name="connsiteY9854" fmla="*/ 5875752 h 7458372"/>
              <a:gd name="connsiteX9855" fmla="*/ 5482520 w 10505529"/>
              <a:gd name="connsiteY9855" fmla="*/ 5878281 h 7458372"/>
              <a:gd name="connsiteX9856" fmla="*/ 5491838 w 10505529"/>
              <a:gd name="connsiteY9856" fmla="*/ 5884671 h 7458372"/>
              <a:gd name="connsiteX9857" fmla="*/ 5497961 w 10505529"/>
              <a:gd name="connsiteY9857" fmla="*/ 5893989 h 7458372"/>
              <a:gd name="connsiteX9858" fmla="*/ 5500224 w 10505529"/>
              <a:gd name="connsiteY9858" fmla="*/ 5905437 h 7458372"/>
              <a:gd name="connsiteX9859" fmla="*/ 5497961 w 10505529"/>
              <a:gd name="connsiteY9859" fmla="*/ 5917152 h 7458372"/>
              <a:gd name="connsiteX9860" fmla="*/ 5491838 w 10505529"/>
              <a:gd name="connsiteY9860" fmla="*/ 5926470 h 7458372"/>
              <a:gd name="connsiteX9861" fmla="*/ 5482520 w 10505529"/>
              <a:gd name="connsiteY9861" fmla="*/ 5932727 h 7458372"/>
              <a:gd name="connsiteX9862" fmla="*/ 5470806 w 10505529"/>
              <a:gd name="connsiteY9862" fmla="*/ 5934989 h 7458372"/>
              <a:gd name="connsiteX9863" fmla="*/ 5448973 w 10505529"/>
              <a:gd name="connsiteY9863" fmla="*/ 5926470 h 7458372"/>
              <a:gd name="connsiteX9864" fmla="*/ 5440587 w 10505529"/>
              <a:gd name="connsiteY9864" fmla="*/ 5905304 h 7458372"/>
              <a:gd name="connsiteX9865" fmla="*/ 5448973 w 10505529"/>
              <a:gd name="connsiteY9865" fmla="*/ 5884271 h 7458372"/>
              <a:gd name="connsiteX9866" fmla="*/ 5470806 w 10505529"/>
              <a:gd name="connsiteY9866" fmla="*/ 5875752 h 7458372"/>
              <a:gd name="connsiteX9867" fmla="*/ 5253160 w 10505529"/>
              <a:gd name="connsiteY9867" fmla="*/ 5875752 h 7458372"/>
              <a:gd name="connsiteX9868" fmla="*/ 5264875 w 10505529"/>
              <a:gd name="connsiteY9868" fmla="*/ 5878281 h 7458372"/>
              <a:gd name="connsiteX9869" fmla="*/ 5274192 w 10505529"/>
              <a:gd name="connsiteY9869" fmla="*/ 5884671 h 7458372"/>
              <a:gd name="connsiteX9870" fmla="*/ 5280316 w 10505529"/>
              <a:gd name="connsiteY9870" fmla="*/ 5893989 h 7458372"/>
              <a:gd name="connsiteX9871" fmla="*/ 5282579 w 10505529"/>
              <a:gd name="connsiteY9871" fmla="*/ 5905437 h 7458372"/>
              <a:gd name="connsiteX9872" fmla="*/ 5280316 w 10505529"/>
              <a:gd name="connsiteY9872" fmla="*/ 5917152 h 7458372"/>
              <a:gd name="connsiteX9873" fmla="*/ 5274192 w 10505529"/>
              <a:gd name="connsiteY9873" fmla="*/ 5926470 h 7458372"/>
              <a:gd name="connsiteX9874" fmla="*/ 5264875 w 10505529"/>
              <a:gd name="connsiteY9874" fmla="*/ 5932727 h 7458372"/>
              <a:gd name="connsiteX9875" fmla="*/ 5253160 w 10505529"/>
              <a:gd name="connsiteY9875" fmla="*/ 5934989 h 7458372"/>
              <a:gd name="connsiteX9876" fmla="*/ 5231328 w 10505529"/>
              <a:gd name="connsiteY9876" fmla="*/ 5926470 h 7458372"/>
              <a:gd name="connsiteX9877" fmla="*/ 5222942 w 10505529"/>
              <a:gd name="connsiteY9877" fmla="*/ 5905304 h 7458372"/>
              <a:gd name="connsiteX9878" fmla="*/ 5231328 w 10505529"/>
              <a:gd name="connsiteY9878" fmla="*/ 5884271 h 7458372"/>
              <a:gd name="connsiteX9879" fmla="*/ 5253160 w 10505529"/>
              <a:gd name="connsiteY9879" fmla="*/ 5875752 h 7458372"/>
              <a:gd name="connsiteX9880" fmla="*/ 5035515 w 10505529"/>
              <a:gd name="connsiteY9880" fmla="*/ 5875752 h 7458372"/>
              <a:gd name="connsiteX9881" fmla="*/ 5047230 w 10505529"/>
              <a:gd name="connsiteY9881" fmla="*/ 5878281 h 7458372"/>
              <a:gd name="connsiteX9882" fmla="*/ 5056548 w 10505529"/>
              <a:gd name="connsiteY9882" fmla="*/ 5884671 h 7458372"/>
              <a:gd name="connsiteX9883" fmla="*/ 5062671 w 10505529"/>
              <a:gd name="connsiteY9883" fmla="*/ 5893989 h 7458372"/>
              <a:gd name="connsiteX9884" fmla="*/ 5064934 w 10505529"/>
              <a:gd name="connsiteY9884" fmla="*/ 5905437 h 7458372"/>
              <a:gd name="connsiteX9885" fmla="*/ 5062671 w 10505529"/>
              <a:gd name="connsiteY9885" fmla="*/ 5917152 h 7458372"/>
              <a:gd name="connsiteX9886" fmla="*/ 5056548 w 10505529"/>
              <a:gd name="connsiteY9886" fmla="*/ 5926470 h 7458372"/>
              <a:gd name="connsiteX9887" fmla="*/ 5047230 w 10505529"/>
              <a:gd name="connsiteY9887" fmla="*/ 5932727 h 7458372"/>
              <a:gd name="connsiteX9888" fmla="*/ 5035515 w 10505529"/>
              <a:gd name="connsiteY9888" fmla="*/ 5934989 h 7458372"/>
              <a:gd name="connsiteX9889" fmla="*/ 5013683 w 10505529"/>
              <a:gd name="connsiteY9889" fmla="*/ 5926470 h 7458372"/>
              <a:gd name="connsiteX9890" fmla="*/ 5005297 w 10505529"/>
              <a:gd name="connsiteY9890" fmla="*/ 5905304 h 7458372"/>
              <a:gd name="connsiteX9891" fmla="*/ 5013683 w 10505529"/>
              <a:gd name="connsiteY9891" fmla="*/ 5884271 h 7458372"/>
              <a:gd name="connsiteX9892" fmla="*/ 5035515 w 10505529"/>
              <a:gd name="connsiteY9892" fmla="*/ 5875752 h 7458372"/>
              <a:gd name="connsiteX9893" fmla="*/ 4817870 w 10505529"/>
              <a:gd name="connsiteY9893" fmla="*/ 5875752 h 7458372"/>
              <a:gd name="connsiteX9894" fmla="*/ 4829585 w 10505529"/>
              <a:gd name="connsiteY9894" fmla="*/ 5878281 h 7458372"/>
              <a:gd name="connsiteX9895" fmla="*/ 4838903 w 10505529"/>
              <a:gd name="connsiteY9895" fmla="*/ 5884671 h 7458372"/>
              <a:gd name="connsiteX9896" fmla="*/ 4845026 w 10505529"/>
              <a:gd name="connsiteY9896" fmla="*/ 5893989 h 7458372"/>
              <a:gd name="connsiteX9897" fmla="*/ 4847289 w 10505529"/>
              <a:gd name="connsiteY9897" fmla="*/ 5905437 h 7458372"/>
              <a:gd name="connsiteX9898" fmla="*/ 4845026 w 10505529"/>
              <a:gd name="connsiteY9898" fmla="*/ 5917152 h 7458372"/>
              <a:gd name="connsiteX9899" fmla="*/ 4838903 w 10505529"/>
              <a:gd name="connsiteY9899" fmla="*/ 5926470 h 7458372"/>
              <a:gd name="connsiteX9900" fmla="*/ 4829585 w 10505529"/>
              <a:gd name="connsiteY9900" fmla="*/ 5932727 h 7458372"/>
              <a:gd name="connsiteX9901" fmla="*/ 4817870 w 10505529"/>
              <a:gd name="connsiteY9901" fmla="*/ 5934989 h 7458372"/>
              <a:gd name="connsiteX9902" fmla="*/ 4796038 w 10505529"/>
              <a:gd name="connsiteY9902" fmla="*/ 5926470 h 7458372"/>
              <a:gd name="connsiteX9903" fmla="*/ 4787652 w 10505529"/>
              <a:gd name="connsiteY9903" fmla="*/ 5905304 h 7458372"/>
              <a:gd name="connsiteX9904" fmla="*/ 4796038 w 10505529"/>
              <a:gd name="connsiteY9904" fmla="*/ 5884271 h 7458372"/>
              <a:gd name="connsiteX9905" fmla="*/ 4817870 w 10505529"/>
              <a:gd name="connsiteY9905" fmla="*/ 5875752 h 7458372"/>
              <a:gd name="connsiteX9906" fmla="*/ 4600226 w 10505529"/>
              <a:gd name="connsiteY9906" fmla="*/ 5875752 h 7458372"/>
              <a:gd name="connsiteX9907" fmla="*/ 4612073 w 10505529"/>
              <a:gd name="connsiteY9907" fmla="*/ 5878281 h 7458372"/>
              <a:gd name="connsiteX9908" fmla="*/ 4621391 w 10505529"/>
              <a:gd name="connsiteY9908" fmla="*/ 5884671 h 7458372"/>
              <a:gd name="connsiteX9909" fmla="*/ 4627514 w 10505529"/>
              <a:gd name="connsiteY9909" fmla="*/ 5893989 h 7458372"/>
              <a:gd name="connsiteX9910" fmla="*/ 4629777 w 10505529"/>
              <a:gd name="connsiteY9910" fmla="*/ 5905437 h 7458372"/>
              <a:gd name="connsiteX9911" fmla="*/ 4627514 w 10505529"/>
              <a:gd name="connsiteY9911" fmla="*/ 5917152 h 7458372"/>
              <a:gd name="connsiteX9912" fmla="*/ 4621391 w 10505529"/>
              <a:gd name="connsiteY9912" fmla="*/ 5926470 h 7458372"/>
              <a:gd name="connsiteX9913" fmla="*/ 4612073 w 10505529"/>
              <a:gd name="connsiteY9913" fmla="*/ 5932727 h 7458372"/>
              <a:gd name="connsiteX9914" fmla="*/ 4600226 w 10505529"/>
              <a:gd name="connsiteY9914" fmla="*/ 5934989 h 7458372"/>
              <a:gd name="connsiteX9915" fmla="*/ 4578393 w 10505529"/>
              <a:gd name="connsiteY9915" fmla="*/ 5926470 h 7458372"/>
              <a:gd name="connsiteX9916" fmla="*/ 4570007 w 10505529"/>
              <a:gd name="connsiteY9916" fmla="*/ 5905304 h 7458372"/>
              <a:gd name="connsiteX9917" fmla="*/ 4578393 w 10505529"/>
              <a:gd name="connsiteY9917" fmla="*/ 5884271 h 7458372"/>
              <a:gd name="connsiteX9918" fmla="*/ 4600226 w 10505529"/>
              <a:gd name="connsiteY9918" fmla="*/ 5875752 h 7458372"/>
              <a:gd name="connsiteX9919" fmla="*/ 4382713 w 10505529"/>
              <a:gd name="connsiteY9919" fmla="*/ 5875752 h 7458372"/>
              <a:gd name="connsiteX9920" fmla="*/ 4394428 w 10505529"/>
              <a:gd name="connsiteY9920" fmla="*/ 5878281 h 7458372"/>
              <a:gd name="connsiteX9921" fmla="*/ 4403746 w 10505529"/>
              <a:gd name="connsiteY9921" fmla="*/ 5884671 h 7458372"/>
              <a:gd name="connsiteX9922" fmla="*/ 4409869 w 10505529"/>
              <a:gd name="connsiteY9922" fmla="*/ 5893989 h 7458372"/>
              <a:gd name="connsiteX9923" fmla="*/ 4412132 w 10505529"/>
              <a:gd name="connsiteY9923" fmla="*/ 5905437 h 7458372"/>
              <a:gd name="connsiteX9924" fmla="*/ 4409869 w 10505529"/>
              <a:gd name="connsiteY9924" fmla="*/ 5917152 h 7458372"/>
              <a:gd name="connsiteX9925" fmla="*/ 4403746 w 10505529"/>
              <a:gd name="connsiteY9925" fmla="*/ 5926470 h 7458372"/>
              <a:gd name="connsiteX9926" fmla="*/ 4394428 w 10505529"/>
              <a:gd name="connsiteY9926" fmla="*/ 5932727 h 7458372"/>
              <a:gd name="connsiteX9927" fmla="*/ 4382713 w 10505529"/>
              <a:gd name="connsiteY9927" fmla="*/ 5934989 h 7458372"/>
              <a:gd name="connsiteX9928" fmla="*/ 4360881 w 10505529"/>
              <a:gd name="connsiteY9928" fmla="*/ 5926470 h 7458372"/>
              <a:gd name="connsiteX9929" fmla="*/ 4352495 w 10505529"/>
              <a:gd name="connsiteY9929" fmla="*/ 5905304 h 7458372"/>
              <a:gd name="connsiteX9930" fmla="*/ 4360881 w 10505529"/>
              <a:gd name="connsiteY9930" fmla="*/ 5884271 h 7458372"/>
              <a:gd name="connsiteX9931" fmla="*/ 4382713 w 10505529"/>
              <a:gd name="connsiteY9931" fmla="*/ 5875752 h 7458372"/>
              <a:gd name="connsiteX9932" fmla="*/ 4165068 w 10505529"/>
              <a:gd name="connsiteY9932" fmla="*/ 5875752 h 7458372"/>
              <a:gd name="connsiteX9933" fmla="*/ 4176782 w 10505529"/>
              <a:gd name="connsiteY9933" fmla="*/ 5878281 h 7458372"/>
              <a:gd name="connsiteX9934" fmla="*/ 4186100 w 10505529"/>
              <a:gd name="connsiteY9934" fmla="*/ 5884671 h 7458372"/>
              <a:gd name="connsiteX9935" fmla="*/ 4192223 w 10505529"/>
              <a:gd name="connsiteY9935" fmla="*/ 5893989 h 7458372"/>
              <a:gd name="connsiteX9936" fmla="*/ 4194486 w 10505529"/>
              <a:gd name="connsiteY9936" fmla="*/ 5905437 h 7458372"/>
              <a:gd name="connsiteX9937" fmla="*/ 4192223 w 10505529"/>
              <a:gd name="connsiteY9937" fmla="*/ 5917152 h 7458372"/>
              <a:gd name="connsiteX9938" fmla="*/ 4186100 w 10505529"/>
              <a:gd name="connsiteY9938" fmla="*/ 5926470 h 7458372"/>
              <a:gd name="connsiteX9939" fmla="*/ 4176782 w 10505529"/>
              <a:gd name="connsiteY9939" fmla="*/ 5932727 h 7458372"/>
              <a:gd name="connsiteX9940" fmla="*/ 4165068 w 10505529"/>
              <a:gd name="connsiteY9940" fmla="*/ 5934989 h 7458372"/>
              <a:gd name="connsiteX9941" fmla="*/ 4143235 w 10505529"/>
              <a:gd name="connsiteY9941" fmla="*/ 5926470 h 7458372"/>
              <a:gd name="connsiteX9942" fmla="*/ 4134849 w 10505529"/>
              <a:gd name="connsiteY9942" fmla="*/ 5905304 h 7458372"/>
              <a:gd name="connsiteX9943" fmla="*/ 4143235 w 10505529"/>
              <a:gd name="connsiteY9943" fmla="*/ 5884271 h 7458372"/>
              <a:gd name="connsiteX9944" fmla="*/ 4165068 w 10505529"/>
              <a:gd name="connsiteY9944" fmla="*/ 5875752 h 7458372"/>
              <a:gd name="connsiteX9945" fmla="*/ 3947744 w 10505529"/>
              <a:gd name="connsiteY9945" fmla="*/ 5875752 h 7458372"/>
              <a:gd name="connsiteX9946" fmla="*/ 3959463 w 10505529"/>
              <a:gd name="connsiteY9946" fmla="*/ 5878281 h 7458372"/>
              <a:gd name="connsiteX9947" fmla="*/ 3968781 w 10505529"/>
              <a:gd name="connsiteY9947" fmla="*/ 5884671 h 7458372"/>
              <a:gd name="connsiteX9948" fmla="*/ 3974904 w 10505529"/>
              <a:gd name="connsiteY9948" fmla="*/ 5893989 h 7458372"/>
              <a:gd name="connsiteX9949" fmla="*/ 3977168 w 10505529"/>
              <a:gd name="connsiteY9949" fmla="*/ 5905437 h 7458372"/>
              <a:gd name="connsiteX9950" fmla="*/ 3974904 w 10505529"/>
              <a:gd name="connsiteY9950" fmla="*/ 5917152 h 7458372"/>
              <a:gd name="connsiteX9951" fmla="*/ 3968781 w 10505529"/>
              <a:gd name="connsiteY9951" fmla="*/ 5926470 h 7458372"/>
              <a:gd name="connsiteX9952" fmla="*/ 3959463 w 10505529"/>
              <a:gd name="connsiteY9952" fmla="*/ 5932727 h 7458372"/>
              <a:gd name="connsiteX9953" fmla="*/ 3947744 w 10505529"/>
              <a:gd name="connsiteY9953" fmla="*/ 5934989 h 7458372"/>
              <a:gd name="connsiteX9954" fmla="*/ 3925911 w 10505529"/>
              <a:gd name="connsiteY9954" fmla="*/ 5926470 h 7458372"/>
              <a:gd name="connsiteX9955" fmla="*/ 3917525 w 10505529"/>
              <a:gd name="connsiteY9955" fmla="*/ 5905304 h 7458372"/>
              <a:gd name="connsiteX9956" fmla="*/ 3925911 w 10505529"/>
              <a:gd name="connsiteY9956" fmla="*/ 5884271 h 7458372"/>
              <a:gd name="connsiteX9957" fmla="*/ 3947744 w 10505529"/>
              <a:gd name="connsiteY9957" fmla="*/ 5875752 h 7458372"/>
              <a:gd name="connsiteX9958" fmla="*/ 3730085 w 10505529"/>
              <a:gd name="connsiteY9958" fmla="*/ 5875752 h 7458372"/>
              <a:gd name="connsiteX9959" fmla="*/ 3741800 w 10505529"/>
              <a:gd name="connsiteY9959" fmla="*/ 5878281 h 7458372"/>
              <a:gd name="connsiteX9960" fmla="*/ 3751119 w 10505529"/>
              <a:gd name="connsiteY9960" fmla="*/ 5884671 h 7458372"/>
              <a:gd name="connsiteX9961" fmla="*/ 3757242 w 10505529"/>
              <a:gd name="connsiteY9961" fmla="*/ 5893989 h 7458372"/>
              <a:gd name="connsiteX9962" fmla="*/ 3759505 w 10505529"/>
              <a:gd name="connsiteY9962" fmla="*/ 5905437 h 7458372"/>
              <a:gd name="connsiteX9963" fmla="*/ 3757242 w 10505529"/>
              <a:gd name="connsiteY9963" fmla="*/ 5917152 h 7458372"/>
              <a:gd name="connsiteX9964" fmla="*/ 3751119 w 10505529"/>
              <a:gd name="connsiteY9964" fmla="*/ 5926470 h 7458372"/>
              <a:gd name="connsiteX9965" fmla="*/ 3741800 w 10505529"/>
              <a:gd name="connsiteY9965" fmla="*/ 5932727 h 7458372"/>
              <a:gd name="connsiteX9966" fmla="*/ 3730085 w 10505529"/>
              <a:gd name="connsiteY9966" fmla="*/ 5934989 h 7458372"/>
              <a:gd name="connsiteX9967" fmla="*/ 3708244 w 10505529"/>
              <a:gd name="connsiteY9967" fmla="*/ 5926470 h 7458372"/>
              <a:gd name="connsiteX9968" fmla="*/ 3699858 w 10505529"/>
              <a:gd name="connsiteY9968" fmla="*/ 5905304 h 7458372"/>
              <a:gd name="connsiteX9969" fmla="*/ 3708244 w 10505529"/>
              <a:gd name="connsiteY9969" fmla="*/ 5884271 h 7458372"/>
              <a:gd name="connsiteX9970" fmla="*/ 3730085 w 10505529"/>
              <a:gd name="connsiteY9970" fmla="*/ 5875752 h 7458372"/>
              <a:gd name="connsiteX9971" fmla="*/ 3512423 w 10505529"/>
              <a:gd name="connsiteY9971" fmla="*/ 5875752 h 7458372"/>
              <a:gd name="connsiteX9972" fmla="*/ 3524139 w 10505529"/>
              <a:gd name="connsiteY9972" fmla="*/ 5878281 h 7458372"/>
              <a:gd name="connsiteX9973" fmla="*/ 3533457 w 10505529"/>
              <a:gd name="connsiteY9973" fmla="*/ 5884671 h 7458372"/>
              <a:gd name="connsiteX9974" fmla="*/ 3539580 w 10505529"/>
              <a:gd name="connsiteY9974" fmla="*/ 5893989 h 7458372"/>
              <a:gd name="connsiteX9975" fmla="*/ 3541843 w 10505529"/>
              <a:gd name="connsiteY9975" fmla="*/ 5905437 h 7458372"/>
              <a:gd name="connsiteX9976" fmla="*/ 3539580 w 10505529"/>
              <a:gd name="connsiteY9976" fmla="*/ 5917152 h 7458372"/>
              <a:gd name="connsiteX9977" fmla="*/ 3533457 w 10505529"/>
              <a:gd name="connsiteY9977" fmla="*/ 5926470 h 7458372"/>
              <a:gd name="connsiteX9978" fmla="*/ 3524139 w 10505529"/>
              <a:gd name="connsiteY9978" fmla="*/ 5932727 h 7458372"/>
              <a:gd name="connsiteX9979" fmla="*/ 3512423 w 10505529"/>
              <a:gd name="connsiteY9979" fmla="*/ 5934989 h 7458372"/>
              <a:gd name="connsiteX9980" fmla="*/ 3490586 w 10505529"/>
              <a:gd name="connsiteY9980" fmla="*/ 5926470 h 7458372"/>
              <a:gd name="connsiteX9981" fmla="*/ 3482199 w 10505529"/>
              <a:gd name="connsiteY9981" fmla="*/ 5905304 h 7458372"/>
              <a:gd name="connsiteX9982" fmla="*/ 3490586 w 10505529"/>
              <a:gd name="connsiteY9982" fmla="*/ 5884271 h 7458372"/>
              <a:gd name="connsiteX9983" fmla="*/ 3512423 w 10505529"/>
              <a:gd name="connsiteY9983" fmla="*/ 5875752 h 7458372"/>
              <a:gd name="connsiteX9984" fmla="*/ 3294894 w 10505529"/>
              <a:gd name="connsiteY9984" fmla="*/ 5875752 h 7458372"/>
              <a:gd name="connsiteX9985" fmla="*/ 3306610 w 10505529"/>
              <a:gd name="connsiteY9985" fmla="*/ 5878281 h 7458372"/>
              <a:gd name="connsiteX9986" fmla="*/ 3315928 w 10505529"/>
              <a:gd name="connsiteY9986" fmla="*/ 5884671 h 7458372"/>
              <a:gd name="connsiteX9987" fmla="*/ 3322051 w 10505529"/>
              <a:gd name="connsiteY9987" fmla="*/ 5893989 h 7458372"/>
              <a:gd name="connsiteX9988" fmla="*/ 3324314 w 10505529"/>
              <a:gd name="connsiteY9988" fmla="*/ 5905437 h 7458372"/>
              <a:gd name="connsiteX9989" fmla="*/ 3322051 w 10505529"/>
              <a:gd name="connsiteY9989" fmla="*/ 5917152 h 7458372"/>
              <a:gd name="connsiteX9990" fmla="*/ 3315928 w 10505529"/>
              <a:gd name="connsiteY9990" fmla="*/ 5926470 h 7458372"/>
              <a:gd name="connsiteX9991" fmla="*/ 3306610 w 10505529"/>
              <a:gd name="connsiteY9991" fmla="*/ 5932727 h 7458372"/>
              <a:gd name="connsiteX9992" fmla="*/ 3294894 w 10505529"/>
              <a:gd name="connsiteY9992" fmla="*/ 5934989 h 7458372"/>
              <a:gd name="connsiteX9993" fmla="*/ 3273056 w 10505529"/>
              <a:gd name="connsiteY9993" fmla="*/ 5926470 h 7458372"/>
              <a:gd name="connsiteX9994" fmla="*/ 3264667 w 10505529"/>
              <a:gd name="connsiteY9994" fmla="*/ 5905304 h 7458372"/>
              <a:gd name="connsiteX9995" fmla="*/ 3273056 w 10505529"/>
              <a:gd name="connsiteY9995" fmla="*/ 5884271 h 7458372"/>
              <a:gd name="connsiteX9996" fmla="*/ 3294894 w 10505529"/>
              <a:gd name="connsiteY9996" fmla="*/ 5875752 h 7458372"/>
              <a:gd name="connsiteX9997" fmla="*/ 3077232 w 10505529"/>
              <a:gd name="connsiteY9997" fmla="*/ 5875752 h 7458372"/>
              <a:gd name="connsiteX9998" fmla="*/ 3088948 w 10505529"/>
              <a:gd name="connsiteY9998" fmla="*/ 5878281 h 7458372"/>
              <a:gd name="connsiteX9999" fmla="*/ 3098266 w 10505529"/>
              <a:gd name="connsiteY9999" fmla="*/ 5884671 h 7458372"/>
              <a:gd name="connsiteX10000" fmla="*/ 3104389 w 10505529"/>
              <a:gd name="connsiteY10000" fmla="*/ 5893989 h 7458372"/>
              <a:gd name="connsiteX10001" fmla="*/ 3106652 w 10505529"/>
              <a:gd name="connsiteY10001" fmla="*/ 5905437 h 7458372"/>
              <a:gd name="connsiteX10002" fmla="*/ 3104389 w 10505529"/>
              <a:gd name="connsiteY10002" fmla="*/ 5917152 h 7458372"/>
              <a:gd name="connsiteX10003" fmla="*/ 3098266 w 10505529"/>
              <a:gd name="connsiteY10003" fmla="*/ 5926470 h 7458372"/>
              <a:gd name="connsiteX10004" fmla="*/ 3088948 w 10505529"/>
              <a:gd name="connsiteY10004" fmla="*/ 5932727 h 7458372"/>
              <a:gd name="connsiteX10005" fmla="*/ 3077232 w 10505529"/>
              <a:gd name="connsiteY10005" fmla="*/ 5934989 h 7458372"/>
              <a:gd name="connsiteX10006" fmla="*/ 3055393 w 10505529"/>
              <a:gd name="connsiteY10006" fmla="*/ 5926470 h 7458372"/>
              <a:gd name="connsiteX10007" fmla="*/ 3047007 w 10505529"/>
              <a:gd name="connsiteY10007" fmla="*/ 5905304 h 7458372"/>
              <a:gd name="connsiteX10008" fmla="*/ 3055393 w 10505529"/>
              <a:gd name="connsiteY10008" fmla="*/ 5884271 h 7458372"/>
              <a:gd name="connsiteX10009" fmla="*/ 3077232 w 10505529"/>
              <a:gd name="connsiteY10009" fmla="*/ 5875752 h 7458372"/>
              <a:gd name="connsiteX10010" fmla="*/ 2859571 w 10505529"/>
              <a:gd name="connsiteY10010" fmla="*/ 5875752 h 7458372"/>
              <a:gd name="connsiteX10011" fmla="*/ 2871419 w 10505529"/>
              <a:gd name="connsiteY10011" fmla="*/ 5878281 h 7458372"/>
              <a:gd name="connsiteX10012" fmla="*/ 2880737 w 10505529"/>
              <a:gd name="connsiteY10012" fmla="*/ 5884671 h 7458372"/>
              <a:gd name="connsiteX10013" fmla="*/ 2886860 w 10505529"/>
              <a:gd name="connsiteY10013" fmla="*/ 5893989 h 7458372"/>
              <a:gd name="connsiteX10014" fmla="*/ 2889123 w 10505529"/>
              <a:gd name="connsiteY10014" fmla="*/ 5905437 h 7458372"/>
              <a:gd name="connsiteX10015" fmla="*/ 2886860 w 10505529"/>
              <a:gd name="connsiteY10015" fmla="*/ 5917152 h 7458372"/>
              <a:gd name="connsiteX10016" fmla="*/ 2880737 w 10505529"/>
              <a:gd name="connsiteY10016" fmla="*/ 5926470 h 7458372"/>
              <a:gd name="connsiteX10017" fmla="*/ 2871419 w 10505529"/>
              <a:gd name="connsiteY10017" fmla="*/ 5932727 h 7458372"/>
              <a:gd name="connsiteX10018" fmla="*/ 2859571 w 10505529"/>
              <a:gd name="connsiteY10018" fmla="*/ 5934989 h 7458372"/>
              <a:gd name="connsiteX10019" fmla="*/ 2837732 w 10505529"/>
              <a:gd name="connsiteY10019" fmla="*/ 5926470 h 7458372"/>
              <a:gd name="connsiteX10020" fmla="*/ 2829344 w 10505529"/>
              <a:gd name="connsiteY10020" fmla="*/ 5905304 h 7458372"/>
              <a:gd name="connsiteX10021" fmla="*/ 2837732 w 10505529"/>
              <a:gd name="connsiteY10021" fmla="*/ 5884271 h 7458372"/>
              <a:gd name="connsiteX10022" fmla="*/ 2859571 w 10505529"/>
              <a:gd name="connsiteY10022" fmla="*/ 5875752 h 7458372"/>
              <a:gd name="connsiteX10023" fmla="*/ 2641908 w 10505529"/>
              <a:gd name="connsiteY10023" fmla="*/ 5875752 h 7458372"/>
              <a:gd name="connsiteX10024" fmla="*/ 2653624 w 10505529"/>
              <a:gd name="connsiteY10024" fmla="*/ 5878281 h 7458372"/>
              <a:gd name="connsiteX10025" fmla="*/ 2662942 w 10505529"/>
              <a:gd name="connsiteY10025" fmla="*/ 5884671 h 7458372"/>
              <a:gd name="connsiteX10026" fmla="*/ 2669065 w 10505529"/>
              <a:gd name="connsiteY10026" fmla="*/ 5893989 h 7458372"/>
              <a:gd name="connsiteX10027" fmla="*/ 2671328 w 10505529"/>
              <a:gd name="connsiteY10027" fmla="*/ 5905437 h 7458372"/>
              <a:gd name="connsiteX10028" fmla="*/ 2669065 w 10505529"/>
              <a:gd name="connsiteY10028" fmla="*/ 5917152 h 7458372"/>
              <a:gd name="connsiteX10029" fmla="*/ 2662942 w 10505529"/>
              <a:gd name="connsiteY10029" fmla="*/ 5926470 h 7458372"/>
              <a:gd name="connsiteX10030" fmla="*/ 2653624 w 10505529"/>
              <a:gd name="connsiteY10030" fmla="*/ 5932727 h 7458372"/>
              <a:gd name="connsiteX10031" fmla="*/ 2641908 w 10505529"/>
              <a:gd name="connsiteY10031" fmla="*/ 5934989 h 7458372"/>
              <a:gd name="connsiteX10032" fmla="*/ 2620075 w 10505529"/>
              <a:gd name="connsiteY10032" fmla="*/ 5926470 h 7458372"/>
              <a:gd name="connsiteX10033" fmla="*/ 2611685 w 10505529"/>
              <a:gd name="connsiteY10033" fmla="*/ 5905304 h 7458372"/>
              <a:gd name="connsiteX10034" fmla="*/ 2620075 w 10505529"/>
              <a:gd name="connsiteY10034" fmla="*/ 5884271 h 7458372"/>
              <a:gd name="connsiteX10035" fmla="*/ 2641908 w 10505529"/>
              <a:gd name="connsiteY10035" fmla="*/ 5875752 h 7458372"/>
              <a:gd name="connsiteX10036" fmla="*/ 2424246 w 10505529"/>
              <a:gd name="connsiteY10036" fmla="*/ 5875752 h 7458372"/>
              <a:gd name="connsiteX10037" fmla="*/ 2435962 w 10505529"/>
              <a:gd name="connsiteY10037" fmla="*/ 5878281 h 7458372"/>
              <a:gd name="connsiteX10038" fmla="*/ 2445280 w 10505529"/>
              <a:gd name="connsiteY10038" fmla="*/ 5884671 h 7458372"/>
              <a:gd name="connsiteX10039" fmla="*/ 2451403 w 10505529"/>
              <a:gd name="connsiteY10039" fmla="*/ 5893989 h 7458372"/>
              <a:gd name="connsiteX10040" fmla="*/ 2453666 w 10505529"/>
              <a:gd name="connsiteY10040" fmla="*/ 5905437 h 7458372"/>
              <a:gd name="connsiteX10041" fmla="*/ 2451403 w 10505529"/>
              <a:gd name="connsiteY10041" fmla="*/ 5917152 h 7458372"/>
              <a:gd name="connsiteX10042" fmla="*/ 2445280 w 10505529"/>
              <a:gd name="connsiteY10042" fmla="*/ 5926470 h 7458372"/>
              <a:gd name="connsiteX10043" fmla="*/ 2435962 w 10505529"/>
              <a:gd name="connsiteY10043" fmla="*/ 5932727 h 7458372"/>
              <a:gd name="connsiteX10044" fmla="*/ 2424246 w 10505529"/>
              <a:gd name="connsiteY10044" fmla="*/ 5934989 h 7458372"/>
              <a:gd name="connsiteX10045" fmla="*/ 2402414 w 10505529"/>
              <a:gd name="connsiteY10045" fmla="*/ 5926470 h 7458372"/>
              <a:gd name="connsiteX10046" fmla="*/ 2394025 w 10505529"/>
              <a:gd name="connsiteY10046" fmla="*/ 5905304 h 7458372"/>
              <a:gd name="connsiteX10047" fmla="*/ 2402414 w 10505529"/>
              <a:gd name="connsiteY10047" fmla="*/ 5884271 h 7458372"/>
              <a:gd name="connsiteX10048" fmla="*/ 2424246 w 10505529"/>
              <a:gd name="connsiteY10048" fmla="*/ 5875752 h 7458372"/>
              <a:gd name="connsiteX10049" fmla="*/ 2206585 w 10505529"/>
              <a:gd name="connsiteY10049" fmla="*/ 5875752 h 7458372"/>
              <a:gd name="connsiteX10050" fmla="*/ 2218299 w 10505529"/>
              <a:gd name="connsiteY10050" fmla="*/ 5878281 h 7458372"/>
              <a:gd name="connsiteX10051" fmla="*/ 2227618 w 10505529"/>
              <a:gd name="connsiteY10051" fmla="*/ 5884671 h 7458372"/>
              <a:gd name="connsiteX10052" fmla="*/ 2233741 w 10505529"/>
              <a:gd name="connsiteY10052" fmla="*/ 5893989 h 7458372"/>
              <a:gd name="connsiteX10053" fmla="*/ 2236004 w 10505529"/>
              <a:gd name="connsiteY10053" fmla="*/ 5905437 h 7458372"/>
              <a:gd name="connsiteX10054" fmla="*/ 2233741 w 10505529"/>
              <a:gd name="connsiteY10054" fmla="*/ 5917152 h 7458372"/>
              <a:gd name="connsiteX10055" fmla="*/ 2227618 w 10505529"/>
              <a:gd name="connsiteY10055" fmla="*/ 5926470 h 7458372"/>
              <a:gd name="connsiteX10056" fmla="*/ 2218299 w 10505529"/>
              <a:gd name="connsiteY10056" fmla="*/ 5932727 h 7458372"/>
              <a:gd name="connsiteX10057" fmla="*/ 2206585 w 10505529"/>
              <a:gd name="connsiteY10057" fmla="*/ 5934989 h 7458372"/>
              <a:gd name="connsiteX10058" fmla="*/ 2184751 w 10505529"/>
              <a:gd name="connsiteY10058" fmla="*/ 5926470 h 7458372"/>
              <a:gd name="connsiteX10059" fmla="*/ 2176363 w 10505529"/>
              <a:gd name="connsiteY10059" fmla="*/ 5905304 h 7458372"/>
              <a:gd name="connsiteX10060" fmla="*/ 2184751 w 10505529"/>
              <a:gd name="connsiteY10060" fmla="*/ 5884271 h 7458372"/>
              <a:gd name="connsiteX10061" fmla="*/ 2206585 w 10505529"/>
              <a:gd name="connsiteY10061" fmla="*/ 5875752 h 7458372"/>
              <a:gd name="connsiteX10062" fmla="*/ 1989055 w 10505529"/>
              <a:gd name="connsiteY10062" fmla="*/ 5875752 h 7458372"/>
              <a:gd name="connsiteX10063" fmla="*/ 2000771 w 10505529"/>
              <a:gd name="connsiteY10063" fmla="*/ 5878281 h 7458372"/>
              <a:gd name="connsiteX10064" fmla="*/ 2010089 w 10505529"/>
              <a:gd name="connsiteY10064" fmla="*/ 5884671 h 7458372"/>
              <a:gd name="connsiteX10065" fmla="*/ 2016212 w 10505529"/>
              <a:gd name="connsiteY10065" fmla="*/ 5893989 h 7458372"/>
              <a:gd name="connsiteX10066" fmla="*/ 2018475 w 10505529"/>
              <a:gd name="connsiteY10066" fmla="*/ 5905437 h 7458372"/>
              <a:gd name="connsiteX10067" fmla="*/ 2016212 w 10505529"/>
              <a:gd name="connsiteY10067" fmla="*/ 5917152 h 7458372"/>
              <a:gd name="connsiteX10068" fmla="*/ 2010089 w 10505529"/>
              <a:gd name="connsiteY10068" fmla="*/ 5926470 h 7458372"/>
              <a:gd name="connsiteX10069" fmla="*/ 2000771 w 10505529"/>
              <a:gd name="connsiteY10069" fmla="*/ 5932727 h 7458372"/>
              <a:gd name="connsiteX10070" fmla="*/ 1989055 w 10505529"/>
              <a:gd name="connsiteY10070" fmla="*/ 5934989 h 7458372"/>
              <a:gd name="connsiteX10071" fmla="*/ 1967224 w 10505529"/>
              <a:gd name="connsiteY10071" fmla="*/ 5926470 h 7458372"/>
              <a:gd name="connsiteX10072" fmla="*/ 1958838 w 10505529"/>
              <a:gd name="connsiteY10072" fmla="*/ 5905304 h 7458372"/>
              <a:gd name="connsiteX10073" fmla="*/ 1967224 w 10505529"/>
              <a:gd name="connsiteY10073" fmla="*/ 5884271 h 7458372"/>
              <a:gd name="connsiteX10074" fmla="*/ 1989055 w 10505529"/>
              <a:gd name="connsiteY10074" fmla="*/ 5875752 h 7458372"/>
              <a:gd name="connsiteX10075" fmla="*/ 1771422 w 10505529"/>
              <a:gd name="connsiteY10075" fmla="*/ 5875752 h 7458372"/>
              <a:gd name="connsiteX10076" fmla="*/ 1783136 w 10505529"/>
              <a:gd name="connsiteY10076" fmla="*/ 5878281 h 7458372"/>
              <a:gd name="connsiteX10077" fmla="*/ 1792454 w 10505529"/>
              <a:gd name="connsiteY10077" fmla="*/ 5884671 h 7458372"/>
              <a:gd name="connsiteX10078" fmla="*/ 1798577 w 10505529"/>
              <a:gd name="connsiteY10078" fmla="*/ 5893989 h 7458372"/>
              <a:gd name="connsiteX10079" fmla="*/ 1800839 w 10505529"/>
              <a:gd name="connsiteY10079" fmla="*/ 5905437 h 7458372"/>
              <a:gd name="connsiteX10080" fmla="*/ 1798577 w 10505529"/>
              <a:gd name="connsiteY10080" fmla="*/ 5917152 h 7458372"/>
              <a:gd name="connsiteX10081" fmla="*/ 1792454 w 10505529"/>
              <a:gd name="connsiteY10081" fmla="*/ 5926470 h 7458372"/>
              <a:gd name="connsiteX10082" fmla="*/ 1783136 w 10505529"/>
              <a:gd name="connsiteY10082" fmla="*/ 5932727 h 7458372"/>
              <a:gd name="connsiteX10083" fmla="*/ 1771422 w 10505529"/>
              <a:gd name="connsiteY10083" fmla="*/ 5934989 h 7458372"/>
              <a:gd name="connsiteX10084" fmla="*/ 1749593 w 10505529"/>
              <a:gd name="connsiteY10084" fmla="*/ 5926470 h 7458372"/>
              <a:gd name="connsiteX10085" fmla="*/ 1741210 w 10505529"/>
              <a:gd name="connsiteY10085" fmla="*/ 5905304 h 7458372"/>
              <a:gd name="connsiteX10086" fmla="*/ 1749593 w 10505529"/>
              <a:gd name="connsiteY10086" fmla="*/ 5884271 h 7458372"/>
              <a:gd name="connsiteX10087" fmla="*/ 1771422 w 10505529"/>
              <a:gd name="connsiteY10087" fmla="*/ 5875752 h 7458372"/>
              <a:gd name="connsiteX10088" fmla="*/ 1553786 w 10505529"/>
              <a:gd name="connsiteY10088" fmla="*/ 5875752 h 7458372"/>
              <a:gd name="connsiteX10089" fmla="*/ 1565500 w 10505529"/>
              <a:gd name="connsiteY10089" fmla="*/ 5878281 h 7458372"/>
              <a:gd name="connsiteX10090" fmla="*/ 1574819 w 10505529"/>
              <a:gd name="connsiteY10090" fmla="*/ 5884671 h 7458372"/>
              <a:gd name="connsiteX10091" fmla="*/ 1580942 w 10505529"/>
              <a:gd name="connsiteY10091" fmla="*/ 5893989 h 7458372"/>
              <a:gd name="connsiteX10092" fmla="*/ 1583205 w 10505529"/>
              <a:gd name="connsiteY10092" fmla="*/ 5905437 h 7458372"/>
              <a:gd name="connsiteX10093" fmla="*/ 1580942 w 10505529"/>
              <a:gd name="connsiteY10093" fmla="*/ 5917152 h 7458372"/>
              <a:gd name="connsiteX10094" fmla="*/ 1574819 w 10505529"/>
              <a:gd name="connsiteY10094" fmla="*/ 5926470 h 7458372"/>
              <a:gd name="connsiteX10095" fmla="*/ 1565500 w 10505529"/>
              <a:gd name="connsiteY10095" fmla="*/ 5932727 h 7458372"/>
              <a:gd name="connsiteX10096" fmla="*/ 1553786 w 10505529"/>
              <a:gd name="connsiteY10096" fmla="*/ 5934989 h 7458372"/>
              <a:gd name="connsiteX10097" fmla="*/ 1531956 w 10505529"/>
              <a:gd name="connsiteY10097" fmla="*/ 5926470 h 7458372"/>
              <a:gd name="connsiteX10098" fmla="*/ 1523571 w 10505529"/>
              <a:gd name="connsiteY10098" fmla="*/ 5905304 h 7458372"/>
              <a:gd name="connsiteX10099" fmla="*/ 1531956 w 10505529"/>
              <a:gd name="connsiteY10099" fmla="*/ 5884271 h 7458372"/>
              <a:gd name="connsiteX10100" fmla="*/ 1553786 w 10505529"/>
              <a:gd name="connsiteY10100" fmla="*/ 5875752 h 7458372"/>
              <a:gd name="connsiteX10101" fmla="*/ 1336143 w 10505529"/>
              <a:gd name="connsiteY10101" fmla="*/ 5875752 h 7458372"/>
              <a:gd name="connsiteX10102" fmla="*/ 1347858 w 10505529"/>
              <a:gd name="connsiteY10102" fmla="*/ 5878281 h 7458372"/>
              <a:gd name="connsiteX10103" fmla="*/ 1357176 w 10505529"/>
              <a:gd name="connsiteY10103" fmla="*/ 5884671 h 7458372"/>
              <a:gd name="connsiteX10104" fmla="*/ 1363299 w 10505529"/>
              <a:gd name="connsiteY10104" fmla="*/ 5893989 h 7458372"/>
              <a:gd name="connsiteX10105" fmla="*/ 1365561 w 10505529"/>
              <a:gd name="connsiteY10105" fmla="*/ 5905437 h 7458372"/>
              <a:gd name="connsiteX10106" fmla="*/ 1363299 w 10505529"/>
              <a:gd name="connsiteY10106" fmla="*/ 5917152 h 7458372"/>
              <a:gd name="connsiteX10107" fmla="*/ 1357176 w 10505529"/>
              <a:gd name="connsiteY10107" fmla="*/ 5926470 h 7458372"/>
              <a:gd name="connsiteX10108" fmla="*/ 1347858 w 10505529"/>
              <a:gd name="connsiteY10108" fmla="*/ 5932727 h 7458372"/>
              <a:gd name="connsiteX10109" fmla="*/ 1336143 w 10505529"/>
              <a:gd name="connsiteY10109" fmla="*/ 5934989 h 7458372"/>
              <a:gd name="connsiteX10110" fmla="*/ 1314309 w 10505529"/>
              <a:gd name="connsiteY10110" fmla="*/ 5926470 h 7458372"/>
              <a:gd name="connsiteX10111" fmla="*/ 1305924 w 10505529"/>
              <a:gd name="connsiteY10111" fmla="*/ 5905304 h 7458372"/>
              <a:gd name="connsiteX10112" fmla="*/ 1314309 w 10505529"/>
              <a:gd name="connsiteY10112" fmla="*/ 5884271 h 7458372"/>
              <a:gd name="connsiteX10113" fmla="*/ 1336143 w 10505529"/>
              <a:gd name="connsiteY10113" fmla="*/ 5875752 h 7458372"/>
              <a:gd name="connsiteX10114" fmla="*/ 1118497 w 10505529"/>
              <a:gd name="connsiteY10114" fmla="*/ 5875752 h 7458372"/>
              <a:gd name="connsiteX10115" fmla="*/ 1130215 w 10505529"/>
              <a:gd name="connsiteY10115" fmla="*/ 5878281 h 7458372"/>
              <a:gd name="connsiteX10116" fmla="*/ 1139529 w 10505529"/>
              <a:gd name="connsiteY10116" fmla="*/ 5884671 h 7458372"/>
              <a:gd name="connsiteX10117" fmla="*/ 1145649 w 10505529"/>
              <a:gd name="connsiteY10117" fmla="*/ 5893989 h 7458372"/>
              <a:gd name="connsiteX10118" fmla="*/ 1147913 w 10505529"/>
              <a:gd name="connsiteY10118" fmla="*/ 5905437 h 7458372"/>
              <a:gd name="connsiteX10119" fmla="*/ 1145649 w 10505529"/>
              <a:gd name="connsiteY10119" fmla="*/ 5917152 h 7458372"/>
              <a:gd name="connsiteX10120" fmla="*/ 1139529 w 10505529"/>
              <a:gd name="connsiteY10120" fmla="*/ 5926470 h 7458372"/>
              <a:gd name="connsiteX10121" fmla="*/ 1130215 w 10505529"/>
              <a:gd name="connsiteY10121" fmla="*/ 5932727 h 7458372"/>
              <a:gd name="connsiteX10122" fmla="*/ 1118497 w 10505529"/>
              <a:gd name="connsiteY10122" fmla="*/ 5934989 h 7458372"/>
              <a:gd name="connsiteX10123" fmla="*/ 1096662 w 10505529"/>
              <a:gd name="connsiteY10123" fmla="*/ 5926470 h 7458372"/>
              <a:gd name="connsiteX10124" fmla="*/ 1088277 w 10505529"/>
              <a:gd name="connsiteY10124" fmla="*/ 5905304 h 7458372"/>
              <a:gd name="connsiteX10125" fmla="*/ 1096662 w 10505529"/>
              <a:gd name="connsiteY10125" fmla="*/ 5884271 h 7458372"/>
              <a:gd name="connsiteX10126" fmla="*/ 1118497 w 10505529"/>
              <a:gd name="connsiteY10126" fmla="*/ 5875752 h 7458372"/>
              <a:gd name="connsiteX10127" fmla="*/ 900984 w 10505529"/>
              <a:gd name="connsiteY10127" fmla="*/ 5875752 h 7458372"/>
              <a:gd name="connsiteX10128" fmla="*/ 912699 w 10505529"/>
              <a:gd name="connsiteY10128" fmla="*/ 5878281 h 7458372"/>
              <a:gd name="connsiteX10129" fmla="*/ 922017 w 10505529"/>
              <a:gd name="connsiteY10129" fmla="*/ 5884671 h 7458372"/>
              <a:gd name="connsiteX10130" fmla="*/ 928139 w 10505529"/>
              <a:gd name="connsiteY10130" fmla="*/ 5893989 h 7458372"/>
              <a:gd name="connsiteX10131" fmla="*/ 930402 w 10505529"/>
              <a:gd name="connsiteY10131" fmla="*/ 5905437 h 7458372"/>
              <a:gd name="connsiteX10132" fmla="*/ 928139 w 10505529"/>
              <a:gd name="connsiteY10132" fmla="*/ 5917152 h 7458372"/>
              <a:gd name="connsiteX10133" fmla="*/ 922017 w 10505529"/>
              <a:gd name="connsiteY10133" fmla="*/ 5926470 h 7458372"/>
              <a:gd name="connsiteX10134" fmla="*/ 912699 w 10505529"/>
              <a:gd name="connsiteY10134" fmla="*/ 5932727 h 7458372"/>
              <a:gd name="connsiteX10135" fmla="*/ 900984 w 10505529"/>
              <a:gd name="connsiteY10135" fmla="*/ 5934989 h 7458372"/>
              <a:gd name="connsiteX10136" fmla="*/ 879153 w 10505529"/>
              <a:gd name="connsiteY10136" fmla="*/ 5926470 h 7458372"/>
              <a:gd name="connsiteX10137" fmla="*/ 870768 w 10505529"/>
              <a:gd name="connsiteY10137" fmla="*/ 5905304 h 7458372"/>
              <a:gd name="connsiteX10138" fmla="*/ 879153 w 10505529"/>
              <a:gd name="connsiteY10138" fmla="*/ 5884271 h 7458372"/>
              <a:gd name="connsiteX10139" fmla="*/ 900984 w 10505529"/>
              <a:gd name="connsiteY10139" fmla="*/ 5875752 h 7458372"/>
              <a:gd name="connsiteX10140" fmla="*/ 683344 w 10505529"/>
              <a:gd name="connsiteY10140" fmla="*/ 5875752 h 7458372"/>
              <a:gd name="connsiteX10141" fmla="*/ 695059 w 10505529"/>
              <a:gd name="connsiteY10141" fmla="*/ 5878281 h 7458372"/>
              <a:gd name="connsiteX10142" fmla="*/ 704376 w 10505529"/>
              <a:gd name="connsiteY10142" fmla="*/ 5884671 h 7458372"/>
              <a:gd name="connsiteX10143" fmla="*/ 710499 w 10505529"/>
              <a:gd name="connsiteY10143" fmla="*/ 5893989 h 7458372"/>
              <a:gd name="connsiteX10144" fmla="*/ 712762 w 10505529"/>
              <a:gd name="connsiteY10144" fmla="*/ 5905437 h 7458372"/>
              <a:gd name="connsiteX10145" fmla="*/ 710499 w 10505529"/>
              <a:gd name="connsiteY10145" fmla="*/ 5917152 h 7458372"/>
              <a:gd name="connsiteX10146" fmla="*/ 704376 w 10505529"/>
              <a:gd name="connsiteY10146" fmla="*/ 5926470 h 7458372"/>
              <a:gd name="connsiteX10147" fmla="*/ 695059 w 10505529"/>
              <a:gd name="connsiteY10147" fmla="*/ 5932727 h 7458372"/>
              <a:gd name="connsiteX10148" fmla="*/ 683344 w 10505529"/>
              <a:gd name="connsiteY10148" fmla="*/ 5934989 h 7458372"/>
              <a:gd name="connsiteX10149" fmla="*/ 661512 w 10505529"/>
              <a:gd name="connsiteY10149" fmla="*/ 5926470 h 7458372"/>
              <a:gd name="connsiteX10150" fmla="*/ 653126 w 10505529"/>
              <a:gd name="connsiteY10150" fmla="*/ 5905304 h 7458372"/>
              <a:gd name="connsiteX10151" fmla="*/ 661512 w 10505529"/>
              <a:gd name="connsiteY10151" fmla="*/ 5884271 h 7458372"/>
              <a:gd name="connsiteX10152" fmla="*/ 683344 w 10505529"/>
              <a:gd name="connsiteY10152" fmla="*/ 5875752 h 7458372"/>
              <a:gd name="connsiteX10153" fmla="*/ 465703 w 10505529"/>
              <a:gd name="connsiteY10153" fmla="*/ 5875752 h 7458372"/>
              <a:gd name="connsiteX10154" fmla="*/ 477418 w 10505529"/>
              <a:gd name="connsiteY10154" fmla="*/ 5878281 h 7458372"/>
              <a:gd name="connsiteX10155" fmla="*/ 486736 w 10505529"/>
              <a:gd name="connsiteY10155" fmla="*/ 5884671 h 7458372"/>
              <a:gd name="connsiteX10156" fmla="*/ 492858 w 10505529"/>
              <a:gd name="connsiteY10156" fmla="*/ 5893989 h 7458372"/>
              <a:gd name="connsiteX10157" fmla="*/ 495121 w 10505529"/>
              <a:gd name="connsiteY10157" fmla="*/ 5905437 h 7458372"/>
              <a:gd name="connsiteX10158" fmla="*/ 492858 w 10505529"/>
              <a:gd name="connsiteY10158" fmla="*/ 5917152 h 7458372"/>
              <a:gd name="connsiteX10159" fmla="*/ 486736 w 10505529"/>
              <a:gd name="connsiteY10159" fmla="*/ 5926470 h 7458372"/>
              <a:gd name="connsiteX10160" fmla="*/ 477418 w 10505529"/>
              <a:gd name="connsiteY10160" fmla="*/ 5932727 h 7458372"/>
              <a:gd name="connsiteX10161" fmla="*/ 465703 w 10505529"/>
              <a:gd name="connsiteY10161" fmla="*/ 5934989 h 7458372"/>
              <a:gd name="connsiteX10162" fmla="*/ 443872 w 10505529"/>
              <a:gd name="connsiteY10162" fmla="*/ 5926470 h 7458372"/>
              <a:gd name="connsiteX10163" fmla="*/ 435486 w 10505529"/>
              <a:gd name="connsiteY10163" fmla="*/ 5905304 h 7458372"/>
              <a:gd name="connsiteX10164" fmla="*/ 443872 w 10505529"/>
              <a:gd name="connsiteY10164" fmla="*/ 5884271 h 7458372"/>
              <a:gd name="connsiteX10165" fmla="*/ 465703 w 10505529"/>
              <a:gd name="connsiteY10165" fmla="*/ 5875752 h 7458372"/>
              <a:gd name="connsiteX10166" fmla="*/ 248061 w 10505529"/>
              <a:gd name="connsiteY10166" fmla="*/ 5875752 h 7458372"/>
              <a:gd name="connsiteX10167" fmla="*/ 259776 w 10505529"/>
              <a:gd name="connsiteY10167" fmla="*/ 5878281 h 7458372"/>
              <a:gd name="connsiteX10168" fmla="*/ 269094 w 10505529"/>
              <a:gd name="connsiteY10168" fmla="*/ 5884671 h 7458372"/>
              <a:gd name="connsiteX10169" fmla="*/ 275217 w 10505529"/>
              <a:gd name="connsiteY10169" fmla="*/ 5893989 h 7458372"/>
              <a:gd name="connsiteX10170" fmla="*/ 277480 w 10505529"/>
              <a:gd name="connsiteY10170" fmla="*/ 5905437 h 7458372"/>
              <a:gd name="connsiteX10171" fmla="*/ 275217 w 10505529"/>
              <a:gd name="connsiteY10171" fmla="*/ 5917152 h 7458372"/>
              <a:gd name="connsiteX10172" fmla="*/ 269094 w 10505529"/>
              <a:gd name="connsiteY10172" fmla="*/ 5926470 h 7458372"/>
              <a:gd name="connsiteX10173" fmla="*/ 259776 w 10505529"/>
              <a:gd name="connsiteY10173" fmla="*/ 5932727 h 7458372"/>
              <a:gd name="connsiteX10174" fmla="*/ 248061 w 10505529"/>
              <a:gd name="connsiteY10174" fmla="*/ 5934989 h 7458372"/>
              <a:gd name="connsiteX10175" fmla="*/ 226232 w 10505529"/>
              <a:gd name="connsiteY10175" fmla="*/ 5926470 h 7458372"/>
              <a:gd name="connsiteX10176" fmla="*/ 217847 w 10505529"/>
              <a:gd name="connsiteY10176" fmla="*/ 5905304 h 7458372"/>
              <a:gd name="connsiteX10177" fmla="*/ 226232 w 10505529"/>
              <a:gd name="connsiteY10177" fmla="*/ 5884271 h 7458372"/>
              <a:gd name="connsiteX10178" fmla="*/ 248061 w 10505529"/>
              <a:gd name="connsiteY10178" fmla="*/ 5875752 h 7458372"/>
              <a:gd name="connsiteX10179" fmla="*/ 30420 w 10505529"/>
              <a:gd name="connsiteY10179" fmla="*/ 5875752 h 7458372"/>
              <a:gd name="connsiteX10180" fmla="*/ 42135 w 10505529"/>
              <a:gd name="connsiteY10180" fmla="*/ 5878281 h 7458372"/>
              <a:gd name="connsiteX10181" fmla="*/ 51453 w 10505529"/>
              <a:gd name="connsiteY10181" fmla="*/ 5884671 h 7458372"/>
              <a:gd name="connsiteX10182" fmla="*/ 57577 w 10505529"/>
              <a:gd name="connsiteY10182" fmla="*/ 5893989 h 7458372"/>
              <a:gd name="connsiteX10183" fmla="*/ 59840 w 10505529"/>
              <a:gd name="connsiteY10183" fmla="*/ 5905437 h 7458372"/>
              <a:gd name="connsiteX10184" fmla="*/ 57577 w 10505529"/>
              <a:gd name="connsiteY10184" fmla="*/ 5917152 h 7458372"/>
              <a:gd name="connsiteX10185" fmla="*/ 51453 w 10505529"/>
              <a:gd name="connsiteY10185" fmla="*/ 5926470 h 7458372"/>
              <a:gd name="connsiteX10186" fmla="*/ 42135 w 10505529"/>
              <a:gd name="connsiteY10186" fmla="*/ 5932727 h 7458372"/>
              <a:gd name="connsiteX10187" fmla="*/ 30420 w 10505529"/>
              <a:gd name="connsiteY10187" fmla="*/ 5934989 h 7458372"/>
              <a:gd name="connsiteX10188" fmla="*/ 8593 w 10505529"/>
              <a:gd name="connsiteY10188" fmla="*/ 5926470 h 7458372"/>
              <a:gd name="connsiteX10189" fmla="*/ 207 w 10505529"/>
              <a:gd name="connsiteY10189" fmla="*/ 5905304 h 7458372"/>
              <a:gd name="connsiteX10190" fmla="*/ 8593 w 10505529"/>
              <a:gd name="connsiteY10190" fmla="*/ 5884271 h 7458372"/>
              <a:gd name="connsiteX10191" fmla="*/ 30420 w 10505529"/>
              <a:gd name="connsiteY10191" fmla="*/ 5875752 h 7458372"/>
              <a:gd name="connsiteX10192" fmla="*/ 10475977 w 10505529"/>
              <a:gd name="connsiteY10192" fmla="*/ 5674747 h 7458372"/>
              <a:gd name="connsiteX10193" fmla="*/ 10465992 w 10505529"/>
              <a:gd name="connsiteY10193" fmla="*/ 5678341 h 7458372"/>
              <a:gd name="connsiteX10194" fmla="*/ 10462399 w 10505529"/>
              <a:gd name="connsiteY10194" fmla="*/ 5687792 h 7458372"/>
              <a:gd name="connsiteX10195" fmla="*/ 10465992 w 10505529"/>
              <a:gd name="connsiteY10195" fmla="*/ 5697243 h 7458372"/>
              <a:gd name="connsiteX10196" fmla="*/ 10475977 w 10505529"/>
              <a:gd name="connsiteY10196" fmla="*/ 5700705 h 7458372"/>
              <a:gd name="connsiteX10197" fmla="*/ 10481302 w 10505529"/>
              <a:gd name="connsiteY10197" fmla="*/ 5699773 h 7458372"/>
              <a:gd name="connsiteX10198" fmla="*/ 10485029 w 10505529"/>
              <a:gd name="connsiteY10198" fmla="*/ 5697376 h 7458372"/>
              <a:gd name="connsiteX10199" fmla="*/ 10487691 w 10505529"/>
              <a:gd name="connsiteY10199" fmla="*/ 5693117 h 7458372"/>
              <a:gd name="connsiteX10200" fmla="*/ 10488623 w 10505529"/>
              <a:gd name="connsiteY10200" fmla="*/ 5687659 h 7458372"/>
              <a:gd name="connsiteX10201" fmla="*/ 10487691 w 10505529"/>
              <a:gd name="connsiteY10201" fmla="*/ 5682467 h 7458372"/>
              <a:gd name="connsiteX10202" fmla="*/ 10485029 w 10505529"/>
              <a:gd name="connsiteY10202" fmla="*/ 5678341 h 7458372"/>
              <a:gd name="connsiteX10203" fmla="*/ 10481035 w 10505529"/>
              <a:gd name="connsiteY10203" fmla="*/ 5675678 h 7458372"/>
              <a:gd name="connsiteX10204" fmla="*/ 10475977 w 10505529"/>
              <a:gd name="connsiteY10204" fmla="*/ 5674747 h 7458372"/>
              <a:gd name="connsiteX10205" fmla="*/ 10258466 w 10505529"/>
              <a:gd name="connsiteY10205" fmla="*/ 5674747 h 7458372"/>
              <a:gd name="connsiteX10206" fmla="*/ 10248481 w 10505529"/>
              <a:gd name="connsiteY10206" fmla="*/ 5678341 h 7458372"/>
              <a:gd name="connsiteX10207" fmla="*/ 10244887 w 10505529"/>
              <a:gd name="connsiteY10207" fmla="*/ 5687792 h 7458372"/>
              <a:gd name="connsiteX10208" fmla="*/ 10248481 w 10505529"/>
              <a:gd name="connsiteY10208" fmla="*/ 5697243 h 7458372"/>
              <a:gd name="connsiteX10209" fmla="*/ 10258466 w 10505529"/>
              <a:gd name="connsiteY10209" fmla="*/ 5700705 h 7458372"/>
              <a:gd name="connsiteX10210" fmla="*/ 10263790 w 10505529"/>
              <a:gd name="connsiteY10210" fmla="*/ 5699773 h 7458372"/>
              <a:gd name="connsiteX10211" fmla="*/ 10267517 w 10505529"/>
              <a:gd name="connsiteY10211" fmla="*/ 5697376 h 7458372"/>
              <a:gd name="connsiteX10212" fmla="*/ 10270180 w 10505529"/>
              <a:gd name="connsiteY10212" fmla="*/ 5693117 h 7458372"/>
              <a:gd name="connsiteX10213" fmla="*/ 10271112 w 10505529"/>
              <a:gd name="connsiteY10213" fmla="*/ 5687659 h 7458372"/>
              <a:gd name="connsiteX10214" fmla="*/ 10270180 w 10505529"/>
              <a:gd name="connsiteY10214" fmla="*/ 5682467 h 7458372"/>
              <a:gd name="connsiteX10215" fmla="*/ 10267517 w 10505529"/>
              <a:gd name="connsiteY10215" fmla="*/ 5678341 h 7458372"/>
              <a:gd name="connsiteX10216" fmla="*/ 10263524 w 10505529"/>
              <a:gd name="connsiteY10216" fmla="*/ 5675678 h 7458372"/>
              <a:gd name="connsiteX10217" fmla="*/ 10258466 w 10505529"/>
              <a:gd name="connsiteY10217" fmla="*/ 5674747 h 7458372"/>
              <a:gd name="connsiteX10218" fmla="*/ 10040820 w 10505529"/>
              <a:gd name="connsiteY10218" fmla="*/ 5674747 h 7458372"/>
              <a:gd name="connsiteX10219" fmla="*/ 10030835 w 10505529"/>
              <a:gd name="connsiteY10219" fmla="*/ 5678341 h 7458372"/>
              <a:gd name="connsiteX10220" fmla="*/ 10027242 w 10505529"/>
              <a:gd name="connsiteY10220" fmla="*/ 5687792 h 7458372"/>
              <a:gd name="connsiteX10221" fmla="*/ 10030835 w 10505529"/>
              <a:gd name="connsiteY10221" fmla="*/ 5697243 h 7458372"/>
              <a:gd name="connsiteX10222" fmla="*/ 10040820 w 10505529"/>
              <a:gd name="connsiteY10222" fmla="*/ 5700705 h 7458372"/>
              <a:gd name="connsiteX10223" fmla="*/ 10046145 w 10505529"/>
              <a:gd name="connsiteY10223" fmla="*/ 5699773 h 7458372"/>
              <a:gd name="connsiteX10224" fmla="*/ 10049872 w 10505529"/>
              <a:gd name="connsiteY10224" fmla="*/ 5697376 h 7458372"/>
              <a:gd name="connsiteX10225" fmla="*/ 10052534 w 10505529"/>
              <a:gd name="connsiteY10225" fmla="*/ 5693117 h 7458372"/>
              <a:gd name="connsiteX10226" fmla="*/ 10053599 w 10505529"/>
              <a:gd name="connsiteY10226" fmla="*/ 5687659 h 7458372"/>
              <a:gd name="connsiteX10227" fmla="*/ 10052534 w 10505529"/>
              <a:gd name="connsiteY10227" fmla="*/ 5682467 h 7458372"/>
              <a:gd name="connsiteX10228" fmla="*/ 10049872 w 10505529"/>
              <a:gd name="connsiteY10228" fmla="*/ 5678341 h 7458372"/>
              <a:gd name="connsiteX10229" fmla="*/ 10045878 w 10505529"/>
              <a:gd name="connsiteY10229" fmla="*/ 5675678 h 7458372"/>
              <a:gd name="connsiteX10230" fmla="*/ 10040820 w 10505529"/>
              <a:gd name="connsiteY10230" fmla="*/ 5674747 h 7458372"/>
              <a:gd name="connsiteX10231" fmla="*/ 9823176 w 10505529"/>
              <a:gd name="connsiteY10231" fmla="*/ 5674747 h 7458372"/>
              <a:gd name="connsiteX10232" fmla="*/ 9813191 w 10505529"/>
              <a:gd name="connsiteY10232" fmla="*/ 5678341 h 7458372"/>
              <a:gd name="connsiteX10233" fmla="*/ 9809597 w 10505529"/>
              <a:gd name="connsiteY10233" fmla="*/ 5687792 h 7458372"/>
              <a:gd name="connsiteX10234" fmla="*/ 9813191 w 10505529"/>
              <a:gd name="connsiteY10234" fmla="*/ 5697243 h 7458372"/>
              <a:gd name="connsiteX10235" fmla="*/ 9823176 w 10505529"/>
              <a:gd name="connsiteY10235" fmla="*/ 5700705 h 7458372"/>
              <a:gd name="connsiteX10236" fmla="*/ 9828501 w 10505529"/>
              <a:gd name="connsiteY10236" fmla="*/ 5699773 h 7458372"/>
              <a:gd name="connsiteX10237" fmla="*/ 9832227 w 10505529"/>
              <a:gd name="connsiteY10237" fmla="*/ 5697376 h 7458372"/>
              <a:gd name="connsiteX10238" fmla="*/ 9834890 w 10505529"/>
              <a:gd name="connsiteY10238" fmla="*/ 5693117 h 7458372"/>
              <a:gd name="connsiteX10239" fmla="*/ 9835955 w 10505529"/>
              <a:gd name="connsiteY10239" fmla="*/ 5687659 h 7458372"/>
              <a:gd name="connsiteX10240" fmla="*/ 9834890 w 10505529"/>
              <a:gd name="connsiteY10240" fmla="*/ 5682467 h 7458372"/>
              <a:gd name="connsiteX10241" fmla="*/ 9832227 w 10505529"/>
              <a:gd name="connsiteY10241" fmla="*/ 5678341 h 7458372"/>
              <a:gd name="connsiteX10242" fmla="*/ 9828234 w 10505529"/>
              <a:gd name="connsiteY10242" fmla="*/ 5675678 h 7458372"/>
              <a:gd name="connsiteX10243" fmla="*/ 9823176 w 10505529"/>
              <a:gd name="connsiteY10243" fmla="*/ 5674747 h 7458372"/>
              <a:gd name="connsiteX10244" fmla="*/ 9605531 w 10505529"/>
              <a:gd name="connsiteY10244" fmla="*/ 5674747 h 7458372"/>
              <a:gd name="connsiteX10245" fmla="*/ 9595546 w 10505529"/>
              <a:gd name="connsiteY10245" fmla="*/ 5678341 h 7458372"/>
              <a:gd name="connsiteX10246" fmla="*/ 9591952 w 10505529"/>
              <a:gd name="connsiteY10246" fmla="*/ 5687792 h 7458372"/>
              <a:gd name="connsiteX10247" fmla="*/ 9595546 w 10505529"/>
              <a:gd name="connsiteY10247" fmla="*/ 5697243 h 7458372"/>
              <a:gd name="connsiteX10248" fmla="*/ 9605531 w 10505529"/>
              <a:gd name="connsiteY10248" fmla="*/ 5700705 h 7458372"/>
              <a:gd name="connsiteX10249" fmla="*/ 9610855 w 10505529"/>
              <a:gd name="connsiteY10249" fmla="*/ 5699773 h 7458372"/>
              <a:gd name="connsiteX10250" fmla="*/ 9614582 w 10505529"/>
              <a:gd name="connsiteY10250" fmla="*/ 5697376 h 7458372"/>
              <a:gd name="connsiteX10251" fmla="*/ 9617245 w 10505529"/>
              <a:gd name="connsiteY10251" fmla="*/ 5693117 h 7458372"/>
              <a:gd name="connsiteX10252" fmla="*/ 9618309 w 10505529"/>
              <a:gd name="connsiteY10252" fmla="*/ 5687659 h 7458372"/>
              <a:gd name="connsiteX10253" fmla="*/ 9617245 w 10505529"/>
              <a:gd name="connsiteY10253" fmla="*/ 5682467 h 7458372"/>
              <a:gd name="connsiteX10254" fmla="*/ 9614582 w 10505529"/>
              <a:gd name="connsiteY10254" fmla="*/ 5678341 h 7458372"/>
              <a:gd name="connsiteX10255" fmla="*/ 9610589 w 10505529"/>
              <a:gd name="connsiteY10255" fmla="*/ 5675678 h 7458372"/>
              <a:gd name="connsiteX10256" fmla="*/ 9605531 w 10505529"/>
              <a:gd name="connsiteY10256" fmla="*/ 5674747 h 7458372"/>
              <a:gd name="connsiteX10257" fmla="*/ 9387885 w 10505529"/>
              <a:gd name="connsiteY10257" fmla="*/ 5674747 h 7458372"/>
              <a:gd name="connsiteX10258" fmla="*/ 9377900 w 10505529"/>
              <a:gd name="connsiteY10258" fmla="*/ 5678341 h 7458372"/>
              <a:gd name="connsiteX10259" fmla="*/ 9374307 w 10505529"/>
              <a:gd name="connsiteY10259" fmla="*/ 5687792 h 7458372"/>
              <a:gd name="connsiteX10260" fmla="*/ 9377900 w 10505529"/>
              <a:gd name="connsiteY10260" fmla="*/ 5697243 h 7458372"/>
              <a:gd name="connsiteX10261" fmla="*/ 9387885 w 10505529"/>
              <a:gd name="connsiteY10261" fmla="*/ 5700705 h 7458372"/>
              <a:gd name="connsiteX10262" fmla="*/ 9393210 w 10505529"/>
              <a:gd name="connsiteY10262" fmla="*/ 5699773 h 7458372"/>
              <a:gd name="connsiteX10263" fmla="*/ 9396937 w 10505529"/>
              <a:gd name="connsiteY10263" fmla="*/ 5697376 h 7458372"/>
              <a:gd name="connsiteX10264" fmla="*/ 9399599 w 10505529"/>
              <a:gd name="connsiteY10264" fmla="*/ 5693117 h 7458372"/>
              <a:gd name="connsiteX10265" fmla="*/ 9400664 w 10505529"/>
              <a:gd name="connsiteY10265" fmla="*/ 5687659 h 7458372"/>
              <a:gd name="connsiteX10266" fmla="*/ 9399599 w 10505529"/>
              <a:gd name="connsiteY10266" fmla="*/ 5682467 h 7458372"/>
              <a:gd name="connsiteX10267" fmla="*/ 9396937 w 10505529"/>
              <a:gd name="connsiteY10267" fmla="*/ 5678341 h 7458372"/>
              <a:gd name="connsiteX10268" fmla="*/ 9392943 w 10505529"/>
              <a:gd name="connsiteY10268" fmla="*/ 5675678 h 7458372"/>
              <a:gd name="connsiteX10269" fmla="*/ 9387885 w 10505529"/>
              <a:gd name="connsiteY10269" fmla="*/ 5674747 h 7458372"/>
              <a:gd name="connsiteX10270" fmla="*/ 9170374 w 10505529"/>
              <a:gd name="connsiteY10270" fmla="*/ 5674747 h 7458372"/>
              <a:gd name="connsiteX10271" fmla="*/ 9160389 w 10505529"/>
              <a:gd name="connsiteY10271" fmla="*/ 5678341 h 7458372"/>
              <a:gd name="connsiteX10272" fmla="*/ 9156795 w 10505529"/>
              <a:gd name="connsiteY10272" fmla="*/ 5687792 h 7458372"/>
              <a:gd name="connsiteX10273" fmla="*/ 9160389 w 10505529"/>
              <a:gd name="connsiteY10273" fmla="*/ 5697243 h 7458372"/>
              <a:gd name="connsiteX10274" fmla="*/ 9170374 w 10505529"/>
              <a:gd name="connsiteY10274" fmla="*/ 5700705 h 7458372"/>
              <a:gd name="connsiteX10275" fmla="*/ 9175698 w 10505529"/>
              <a:gd name="connsiteY10275" fmla="*/ 5699773 h 7458372"/>
              <a:gd name="connsiteX10276" fmla="*/ 9179425 w 10505529"/>
              <a:gd name="connsiteY10276" fmla="*/ 5697376 h 7458372"/>
              <a:gd name="connsiteX10277" fmla="*/ 9182088 w 10505529"/>
              <a:gd name="connsiteY10277" fmla="*/ 5693117 h 7458372"/>
              <a:gd name="connsiteX10278" fmla="*/ 9183152 w 10505529"/>
              <a:gd name="connsiteY10278" fmla="*/ 5687659 h 7458372"/>
              <a:gd name="connsiteX10279" fmla="*/ 9182088 w 10505529"/>
              <a:gd name="connsiteY10279" fmla="*/ 5682467 h 7458372"/>
              <a:gd name="connsiteX10280" fmla="*/ 9179425 w 10505529"/>
              <a:gd name="connsiteY10280" fmla="*/ 5678341 h 7458372"/>
              <a:gd name="connsiteX10281" fmla="*/ 9175432 w 10505529"/>
              <a:gd name="connsiteY10281" fmla="*/ 5675678 h 7458372"/>
              <a:gd name="connsiteX10282" fmla="*/ 9170374 w 10505529"/>
              <a:gd name="connsiteY10282" fmla="*/ 5674747 h 7458372"/>
              <a:gd name="connsiteX10283" fmla="*/ 8952728 w 10505529"/>
              <a:gd name="connsiteY10283" fmla="*/ 5674747 h 7458372"/>
              <a:gd name="connsiteX10284" fmla="*/ 8942743 w 10505529"/>
              <a:gd name="connsiteY10284" fmla="*/ 5678341 h 7458372"/>
              <a:gd name="connsiteX10285" fmla="*/ 8939150 w 10505529"/>
              <a:gd name="connsiteY10285" fmla="*/ 5687792 h 7458372"/>
              <a:gd name="connsiteX10286" fmla="*/ 8942743 w 10505529"/>
              <a:gd name="connsiteY10286" fmla="*/ 5697243 h 7458372"/>
              <a:gd name="connsiteX10287" fmla="*/ 8952728 w 10505529"/>
              <a:gd name="connsiteY10287" fmla="*/ 5700705 h 7458372"/>
              <a:gd name="connsiteX10288" fmla="*/ 8958053 w 10505529"/>
              <a:gd name="connsiteY10288" fmla="*/ 5699773 h 7458372"/>
              <a:gd name="connsiteX10289" fmla="*/ 8961780 w 10505529"/>
              <a:gd name="connsiteY10289" fmla="*/ 5697376 h 7458372"/>
              <a:gd name="connsiteX10290" fmla="*/ 8964442 w 10505529"/>
              <a:gd name="connsiteY10290" fmla="*/ 5693117 h 7458372"/>
              <a:gd name="connsiteX10291" fmla="*/ 8965507 w 10505529"/>
              <a:gd name="connsiteY10291" fmla="*/ 5687659 h 7458372"/>
              <a:gd name="connsiteX10292" fmla="*/ 8964442 w 10505529"/>
              <a:gd name="connsiteY10292" fmla="*/ 5682467 h 7458372"/>
              <a:gd name="connsiteX10293" fmla="*/ 8961780 w 10505529"/>
              <a:gd name="connsiteY10293" fmla="*/ 5678341 h 7458372"/>
              <a:gd name="connsiteX10294" fmla="*/ 8957786 w 10505529"/>
              <a:gd name="connsiteY10294" fmla="*/ 5675678 h 7458372"/>
              <a:gd name="connsiteX10295" fmla="*/ 8952728 w 10505529"/>
              <a:gd name="connsiteY10295" fmla="*/ 5674747 h 7458372"/>
              <a:gd name="connsiteX10296" fmla="*/ 8735083 w 10505529"/>
              <a:gd name="connsiteY10296" fmla="*/ 5674747 h 7458372"/>
              <a:gd name="connsiteX10297" fmla="*/ 8725098 w 10505529"/>
              <a:gd name="connsiteY10297" fmla="*/ 5678341 h 7458372"/>
              <a:gd name="connsiteX10298" fmla="*/ 8721504 w 10505529"/>
              <a:gd name="connsiteY10298" fmla="*/ 5687792 h 7458372"/>
              <a:gd name="connsiteX10299" fmla="*/ 8725098 w 10505529"/>
              <a:gd name="connsiteY10299" fmla="*/ 5697243 h 7458372"/>
              <a:gd name="connsiteX10300" fmla="*/ 8735083 w 10505529"/>
              <a:gd name="connsiteY10300" fmla="*/ 5700705 h 7458372"/>
              <a:gd name="connsiteX10301" fmla="*/ 8740407 w 10505529"/>
              <a:gd name="connsiteY10301" fmla="*/ 5699773 h 7458372"/>
              <a:gd name="connsiteX10302" fmla="*/ 8744134 w 10505529"/>
              <a:gd name="connsiteY10302" fmla="*/ 5697376 h 7458372"/>
              <a:gd name="connsiteX10303" fmla="*/ 8746797 w 10505529"/>
              <a:gd name="connsiteY10303" fmla="*/ 5693117 h 7458372"/>
              <a:gd name="connsiteX10304" fmla="*/ 8747862 w 10505529"/>
              <a:gd name="connsiteY10304" fmla="*/ 5687659 h 7458372"/>
              <a:gd name="connsiteX10305" fmla="*/ 8746797 w 10505529"/>
              <a:gd name="connsiteY10305" fmla="*/ 5682467 h 7458372"/>
              <a:gd name="connsiteX10306" fmla="*/ 8744134 w 10505529"/>
              <a:gd name="connsiteY10306" fmla="*/ 5678341 h 7458372"/>
              <a:gd name="connsiteX10307" fmla="*/ 8740141 w 10505529"/>
              <a:gd name="connsiteY10307" fmla="*/ 5675678 h 7458372"/>
              <a:gd name="connsiteX10308" fmla="*/ 8735083 w 10505529"/>
              <a:gd name="connsiteY10308" fmla="*/ 5674747 h 7458372"/>
              <a:gd name="connsiteX10309" fmla="*/ 8517438 w 10505529"/>
              <a:gd name="connsiteY10309" fmla="*/ 5674747 h 7458372"/>
              <a:gd name="connsiteX10310" fmla="*/ 8507453 w 10505529"/>
              <a:gd name="connsiteY10310" fmla="*/ 5678341 h 7458372"/>
              <a:gd name="connsiteX10311" fmla="*/ 8503860 w 10505529"/>
              <a:gd name="connsiteY10311" fmla="*/ 5687792 h 7458372"/>
              <a:gd name="connsiteX10312" fmla="*/ 8507453 w 10505529"/>
              <a:gd name="connsiteY10312" fmla="*/ 5697243 h 7458372"/>
              <a:gd name="connsiteX10313" fmla="*/ 8517438 w 10505529"/>
              <a:gd name="connsiteY10313" fmla="*/ 5700705 h 7458372"/>
              <a:gd name="connsiteX10314" fmla="*/ 8522763 w 10505529"/>
              <a:gd name="connsiteY10314" fmla="*/ 5699773 h 7458372"/>
              <a:gd name="connsiteX10315" fmla="*/ 8526490 w 10505529"/>
              <a:gd name="connsiteY10315" fmla="*/ 5697376 h 7458372"/>
              <a:gd name="connsiteX10316" fmla="*/ 8529152 w 10505529"/>
              <a:gd name="connsiteY10316" fmla="*/ 5693117 h 7458372"/>
              <a:gd name="connsiteX10317" fmla="*/ 8530084 w 10505529"/>
              <a:gd name="connsiteY10317" fmla="*/ 5687659 h 7458372"/>
              <a:gd name="connsiteX10318" fmla="*/ 8529152 w 10505529"/>
              <a:gd name="connsiteY10318" fmla="*/ 5682467 h 7458372"/>
              <a:gd name="connsiteX10319" fmla="*/ 8526490 w 10505529"/>
              <a:gd name="connsiteY10319" fmla="*/ 5678341 h 7458372"/>
              <a:gd name="connsiteX10320" fmla="*/ 8522496 w 10505529"/>
              <a:gd name="connsiteY10320" fmla="*/ 5675678 h 7458372"/>
              <a:gd name="connsiteX10321" fmla="*/ 8517438 w 10505529"/>
              <a:gd name="connsiteY10321" fmla="*/ 5674747 h 7458372"/>
              <a:gd name="connsiteX10322" fmla="*/ 8299793 w 10505529"/>
              <a:gd name="connsiteY10322" fmla="*/ 5674747 h 7458372"/>
              <a:gd name="connsiteX10323" fmla="*/ 8289809 w 10505529"/>
              <a:gd name="connsiteY10323" fmla="*/ 5678341 h 7458372"/>
              <a:gd name="connsiteX10324" fmla="*/ 8286215 w 10505529"/>
              <a:gd name="connsiteY10324" fmla="*/ 5687792 h 7458372"/>
              <a:gd name="connsiteX10325" fmla="*/ 8289809 w 10505529"/>
              <a:gd name="connsiteY10325" fmla="*/ 5697243 h 7458372"/>
              <a:gd name="connsiteX10326" fmla="*/ 8299793 w 10505529"/>
              <a:gd name="connsiteY10326" fmla="*/ 5700705 h 7458372"/>
              <a:gd name="connsiteX10327" fmla="*/ 8305118 w 10505529"/>
              <a:gd name="connsiteY10327" fmla="*/ 5699773 h 7458372"/>
              <a:gd name="connsiteX10328" fmla="*/ 8308844 w 10505529"/>
              <a:gd name="connsiteY10328" fmla="*/ 5697376 h 7458372"/>
              <a:gd name="connsiteX10329" fmla="*/ 8311507 w 10505529"/>
              <a:gd name="connsiteY10329" fmla="*/ 5693117 h 7458372"/>
              <a:gd name="connsiteX10330" fmla="*/ 8312439 w 10505529"/>
              <a:gd name="connsiteY10330" fmla="*/ 5687659 h 7458372"/>
              <a:gd name="connsiteX10331" fmla="*/ 8311507 w 10505529"/>
              <a:gd name="connsiteY10331" fmla="*/ 5682467 h 7458372"/>
              <a:gd name="connsiteX10332" fmla="*/ 8308844 w 10505529"/>
              <a:gd name="connsiteY10332" fmla="*/ 5678341 h 7458372"/>
              <a:gd name="connsiteX10333" fmla="*/ 8304851 w 10505529"/>
              <a:gd name="connsiteY10333" fmla="*/ 5675678 h 7458372"/>
              <a:gd name="connsiteX10334" fmla="*/ 8299793 w 10505529"/>
              <a:gd name="connsiteY10334" fmla="*/ 5674747 h 7458372"/>
              <a:gd name="connsiteX10335" fmla="*/ 8082281 w 10505529"/>
              <a:gd name="connsiteY10335" fmla="*/ 5674747 h 7458372"/>
              <a:gd name="connsiteX10336" fmla="*/ 8072297 w 10505529"/>
              <a:gd name="connsiteY10336" fmla="*/ 5678341 h 7458372"/>
              <a:gd name="connsiteX10337" fmla="*/ 8068703 w 10505529"/>
              <a:gd name="connsiteY10337" fmla="*/ 5687792 h 7458372"/>
              <a:gd name="connsiteX10338" fmla="*/ 8072297 w 10505529"/>
              <a:gd name="connsiteY10338" fmla="*/ 5697243 h 7458372"/>
              <a:gd name="connsiteX10339" fmla="*/ 8082281 w 10505529"/>
              <a:gd name="connsiteY10339" fmla="*/ 5700705 h 7458372"/>
              <a:gd name="connsiteX10340" fmla="*/ 8087605 w 10505529"/>
              <a:gd name="connsiteY10340" fmla="*/ 5699773 h 7458372"/>
              <a:gd name="connsiteX10341" fmla="*/ 8091332 w 10505529"/>
              <a:gd name="connsiteY10341" fmla="*/ 5697376 h 7458372"/>
              <a:gd name="connsiteX10342" fmla="*/ 8093994 w 10505529"/>
              <a:gd name="connsiteY10342" fmla="*/ 5693117 h 7458372"/>
              <a:gd name="connsiteX10343" fmla="*/ 8094926 w 10505529"/>
              <a:gd name="connsiteY10343" fmla="*/ 5687659 h 7458372"/>
              <a:gd name="connsiteX10344" fmla="*/ 8093994 w 10505529"/>
              <a:gd name="connsiteY10344" fmla="*/ 5682467 h 7458372"/>
              <a:gd name="connsiteX10345" fmla="*/ 8091332 w 10505529"/>
              <a:gd name="connsiteY10345" fmla="*/ 5678341 h 7458372"/>
              <a:gd name="connsiteX10346" fmla="*/ 8087338 w 10505529"/>
              <a:gd name="connsiteY10346" fmla="*/ 5675678 h 7458372"/>
              <a:gd name="connsiteX10347" fmla="*/ 8082281 w 10505529"/>
              <a:gd name="connsiteY10347" fmla="*/ 5674747 h 7458372"/>
              <a:gd name="connsiteX10348" fmla="*/ 7864636 w 10505529"/>
              <a:gd name="connsiteY10348" fmla="*/ 5674747 h 7458372"/>
              <a:gd name="connsiteX10349" fmla="*/ 7854652 w 10505529"/>
              <a:gd name="connsiteY10349" fmla="*/ 5678341 h 7458372"/>
              <a:gd name="connsiteX10350" fmla="*/ 7851058 w 10505529"/>
              <a:gd name="connsiteY10350" fmla="*/ 5687792 h 7458372"/>
              <a:gd name="connsiteX10351" fmla="*/ 7854652 w 10505529"/>
              <a:gd name="connsiteY10351" fmla="*/ 5697243 h 7458372"/>
              <a:gd name="connsiteX10352" fmla="*/ 7864636 w 10505529"/>
              <a:gd name="connsiteY10352" fmla="*/ 5700705 h 7458372"/>
              <a:gd name="connsiteX10353" fmla="*/ 7869961 w 10505529"/>
              <a:gd name="connsiteY10353" fmla="*/ 5699773 h 7458372"/>
              <a:gd name="connsiteX10354" fmla="*/ 7873687 w 10505529"/>
              <a:gd name="connsiteY10354" fmla="*/ 5697376 h 7458372"/>
              <a:gd name="connsiteX10355" fmla="*/ 7876350 w 10505529"/>
              <a:gd name="connsiteY10355" fmla="*/ 5693117 h 7458372"/>
              <a:gd name="connsiteX10356" fmla="*/ 7877282 w 10505529"/>
              <a:gd name="connsiteY10356" fmla="*/ 5687659 h 7458372"/>
              <a:gd name="connsiteX10357" fmla="*/ 7876350 w 10505529"/>
              <a:gd name="connsiteY10357" fmla="*/ 5682467 h 7458372"/>
              <a:gd name="connsiteX10358" fmla="*/ 7873687 w 10505529"/>
              <a:gd name="connsiteY10358" fmla="*/ 5678341 h 7458372"/>
              <a:gd name="connsiteX10359" fmla="*/ 7869694 w 10505529"/>
              <a:gd name="connsiteY10359" fmla="*/ 5675678 h 7458372"/>
              <a:gd name="connsiteX10360" fmla="*/ 7864636 w 10505529"/>
              <a:gd name="connsiteY10360" fmla="*/ 5674747 h 7458372"/>
              <a:gd name="connsiteX10361" fmla="*/ 7646991 w 10505529"/>
              <a:gd name="connsiteY10361" fmla="*/ 5674747 h 7458372"/>
              <a:gd name="connsiteX10362" fmla="*/ 7637007 w 10505529"/>
              <a:gd name="connsiteY10362" fmla="*/ 5678341 h 7458372"/>
              <a:gd name="connsiteX10363" fmla="*/ 7633413 w 10505529"/>
              <a:gd name="connsiteY10363" fmla="*/ 5687792 h 7458372"/>
              <a:gd name="connsiteX10364" fmla="*/ 7637007 w 10505529"/>
              <a:gd name="connsiteY10364" fmla="*/ 5697243 h 7458372"/>
              <a:gd name="connsiteX10365" fmla="*/ 7646991 w 10505529"/>
              <a:gd name="connsiteY10365" fmla="*/ 5700705 h 7458372"/>
              <a:gd name="connsiteX10366" fmla="*/ 7652315 w 10505529"/>
              <a:gd name="connsiteY10366" fmla="*/ 5699773 h 7458372"/>
              <a:gd name="connsiteX10367" fmla="*/ 7656042 w 10505529"/>
              <a:gd name="connsiteY10367" fmla="*/ 5697376 h 7458372"/>
              <a:gd name="connsiteX10368" fmla="*/ 7658705 w 10505529"/>
              <a:gd name="connsiteY10368" fmla="*/ 5693117 h 7458372"/>
              <a:gd name="connsiteX10369" fmla="*/ 7659769 w 10505529"/>
              <a:gd name="connsiteY10369" fmla="*/ 5687659 h 7458372"/>
              <a:gd name="connsiteX10370" fmla="*/ 7658705 w 10505529"/>
              <a:gd name="connsiteY10370" fmla="*/ 5682467 h 7458372"/>
              <a:gd name="connsiteX10371" fmla="*/ 7656042 w 10505529"/>
              <a:gd name="connsiteY10371" fmla="*/ 5678341 h 7458372"/>
              <a:gd name="connsiteX10372" fmla="*/ 7652049 w 10505529"/>
              <a:gd name="connsiteY10372" fmla="*/ 5675678 h 7458372"/>
              <a:gd name="connsiteX10373" fmla="*/ 7646991 w 10505529"/>
              <a:gd name="connsiteY10373" fmla="*/ 5674747 h 7458372"/>
              <a:gd name="connsiteX10374" fmla="*/ 7429345 w 10505529"/>
              <a:gd name="connsiteY10374" fmla="*/ 5674747 h 7458372"/>
              <a:gd name="connsiteX10375" fmla="*/ 7419361 w 10505529"/>
              <a:gd name="connsiteY10375" fmla="*/ 5678341 h 7458372"/>
              <a:gd name="connsiteX10376" fmla="*/ 7415768 w 10505529"/>
              <a:gd name="connsiteY10376" fmla="*/ 5687792 h 7458372"/>
              <a:gd name="connsiteX10377" fmla="*/ 7419361 w 10505529"/>
              <a:gd name="connsiteY10377" fmla="*/ 5697243 h 7458372"/>
              <a:gd name="connsiteX10378" fmla="*/ 7429345 w 10505529"/>
              <a:gd name="connsiteY10378" fmla="*/ 5700705 h 7458372"/>
              <a:gd name="connsiteX10379" fmla="*/ 7434670 w 10505529"/>
              <a:gd name="connsiteY10379" fmla="*/ 5699773 h 7458372"/>
              <a:gd name="connsiteX10380" fmla="*/ 7438397 w 10505529"/>
              <a:gd name="connsiteY10380" fmla="*/ 5697376 h 7458372"/>
              <a:gd name="connsiteX10381" fmla="*/ 7441059 w 10505529"/>
              <a:gd name="connsiteY10381" fmla="*/ 5693117 h 7458372"/>
              <a:gd name="connsiteX10382" fmla="*/ 7442124 w 10505529"/>
              <a:gd name="connsiteY10382" fmla="*/ 5687659 h 7458372"/>
              <a:gd name="connsiteX10383" fmla="*/ 7441059 w 10505529"/>
              <a:gd name="connsiteY10383" fmla="*/ 5682467 h 7458372"/>
              <a:gd name="connsiteX10384" fmla="*/ 7438397 w 10505529"/>
              <a:gd name="connsiteY10384" fmla="*/ 5678341 h 7458372"/>
              <a:gd name="connsiteX10385" fmla="*/ 7434403 w 10505529"/>
              <a:gd name="connsiteY10385" fmla="*/ 5675678 h 7458372"/>
              <a:gd name="connsiteX10386" fmla="*/ 7429345 w 10505529"/>
              <a:gd name="connsiteY10386" fmla="*/ 5674747 h 7458372"/>
              <a:gd name="connsiteX10387" fmla="*/ 7211701 w 10505529"/>
              <a:gd name="connsiteY10387" fmla="*/ 5674747 h 7458372"/>
              <a:gd name="connsiteX10388" fmla="*/ 7201717 w 10505529"/>
              <a:gd name="connsiteY10388" fmla="*/ 5678341 h 7458372"/>
              <a:gd name="connsiteX10389" fmla="*/ 7198123 w 10505529"/>
              <a:gd name="connsiteY10389" fmla="*/ 5687792 h 7458372"/>
              <a:gd name="connsiteX10390" fmla="*/ 7201717 w 10505529"/>
              <a:gd name="connsiteY10390" fmla="*/ 5697243 h 7458372"/>
              <a:gd name="connsiteX10391" fmla="*/ 7211701 w 10505529"/>
              <a:gd name="connsiteY10391" fmla="*/ 5700705 h 7458372"/>
              <a:gd name="connsiteX10392" fmla="*/ 7217026 w 10505529"/>
              <a:gd name="connsiteY10392" fmla="*/ 5699773 h 7458372"/>
              <a:gd name="connsiteX10393" fmla="*/ 7220752 w 10505529"/>
              <a:gd name="connsiteY10393" fmla="*/ 5697376 h 7458372"/>
              <a:gd name="connsiteX10394" fmla="*/ 7223415 w 10505529"/>
              <a:gd name="connsiteY10394" fmla="*/ 5693117 h 7458372"/>
              <a:gd name="connsiteX10395" fmla="*/ 7224480 w 10505529"/>
              <a:gd name="connsiteY10395" fmla="*/ 5687659 h 7458372"/>
              <a:gd name="connsiteX10396" fmla="*/ 7223415 w 10505529"/>
              <a:gd name="connsiteY10396" fmla="*/ 5682467 h 7458372"/>
              <a:gd name="connsiteX10397" fmla="*/ 7220752 w 10505529"/>
              <a:gd name="connsiteY10397" fmla="*/ 5678341 h 7458372"/>
              <a:gd name="connsiteX10398" fmla="*/ 7216759 w 10505529"/>
              <a:gd name="connsiteY10398" fmla="*/ 5675678 h 7458372"/>
              <a:gd name="connsiteX10399" fmla="*/ 7211701 w 10505529"/>
              <a:gd name="connsiteY10399" fmla="*/ 5674747 h 7458372"/>
              <a:gd name="connsiteX10400" fmla="*/ 6994056 w 10505529"/>
              <a:gd name="connsiteY10400" fmla="*/ 5674747 h 7458372"/>
              <a:gd name="connsiteX10401" fmla="*/ 6984072 w 10505529"/>
              <a:gd name="connsiteY10401" fmla="*/ 5678341 h 7458372"/>
              <a:gd name="connsiteX10402" fmla="*/ 6980478 w 10505529"/>
              <a:gd name="connsiteY10402" fmla="*/ 5687792 h 7458372"/>
              <a:gd name="connsiteX10403" fmla="*/ 6984072 w 10505529"/>
              <a:gd name="connsiteY10403" fmla="*/ 5697243 h 7458372"/>
              <a:gd name="connsiteX10404" fmla="*/ 6994056 w 10505529"/>
              <a:gd name="connsiteY10404" fmla="*/ 5700705 h 7458372"/>
              <a:gd name="connsiteX10405" fmla="*/ 6999380 w 10505529"/>
              <a:gd name="connsiteY10405" fmla="*/ 5699773 h 7458372"/>
              <a:gd name="connsiteX10406" fmla="*/ 7003107 w 10505529"/>
              <a:gd name="connsiteY10406" fmla="*/ 5697376 h 7458372"/>
              <a:gd name="connsiteX10407" fmla="*/ 7005769 w 10505529"/>
              <a:gd name="connsiteY10407" fmla="*/ 5693117 h 7458372"/>
              <a:gd name="connsiteX10408" fmla="*/ 7006834 w 10505529"/>
              <a:gd name="connsiteY10408" fmla="*/ 5687659 h 7458372"/>
              <a:gd name="connsiteX10409" fmla="*/ 7005769 w 10505529"/>
              <a:gd name="connsiteY10409" fmla="*/ 5682467 h 7458372"/>
              <a:gd name="connsiteX10410" fmla="*/ 7003107 w 10505529"/>
              <a:gd name="connsiteY10410" fmla="*/ 5678341 h 7458372"/>
              <a:gd name="connsiteX10411" fmla="*/ 6999113 w 10505529"/>
              <a:gd name="connsiteY10411" fmla="*/ 5675678 h 7458372"/>
              <a:gd name="connsiteX10412" fmla="*/ 6994056 w 10505529"/>
              <a:gd name="connsiteY10412" fmla="*/ 5674747 h 7458372"/>
              <a:gd name="connsiteX10413" fmla="*/ 6776544 w 10505529"/>
              <a:gd name="connsiteY10413" fmla="*/ 5674747 h 7458372"/>
              <a:gd name="connsiteX10414" fmla="*/ 6766560 w 10505529"/>
              <a:gd name="connsiteY10414" fmla="*/ 5678341 h 7458372"/>
              <a:gd name="connsiteX10415" fmla="*/ 6762966 w 10505529"/>
              <a:gd name="connsiteY10415" fmla="*/ 5687792 h 7458372"/>
              <a:gd name="connsiteX10416" fmla="*/ 6766560 w 10505529"/>
              <a:gd name="connsiteY10416" fmla="*/ 5697243 h 7458372"/>
              <a:gd name="connsiteX10417" fmla="*/ 6776544 w 10505529"/>
              <a:gd name="connsiteY10417" fmla="*/ 5700705 h 7458372"/>
              <a:gd name="connsiteX10418" fmla="*/ 6781869 w 10505529"/>
              <a:gd name="connsiteY10418" fmla="*/ 5699773 h 7458372"/>
              <a:gd name="connsiteX10419" fmla="*/ 6785595 w 10505529"/>
              <a:gd name="connsiteY10419" fmla="*/ 5697376 h 7458372"/>
              <a:gd name="connsiteX10420" fmla="*/ 6788258 w 10505529"/>
              <a:gd name="connsiteY10420" fmla="*/ 5693117 h 7458372"/>
              <a:gd name="connsiteX10421" fmla="*/ 6789323 w 10505529"/>
              <a:gd name="connsiteY10421" fmla="*/ 5687659 h 7458372"/>
              <a:gd name="connsiteX10422" fmla="*/ 6788258 w 10505529"/>
              <a:gd name="connsiteY10422" fmla="*/ 5682467 h 7458372"/>
              <a:gd name="connsiteX10423" fmla="*/ 6785595 w 10505529"/>
              <a:gd name="connsiteY10423" fmla="*/ 5678341 h 7458372"/>
              <a:gd name="connsiteX10424" fmla="*/ 6781602 w 10505529"/>
              <a:gd name="connsiteY10424" fmla="*/ 5675678 h 7458372"/>
              <a:gd name="connsiteX10425" fmla="*/ 6776544 w 10505529"/>
              <a:gd name="connsiteY10425" fmla="*/ 5674747 h 7458372"/>
              <a:gd name="connsiteX10426" fmla="*/ 6558899 w 10505529"/>
              <a:gd name="connsiteY10426" fmla="*/ 5674747 h 7458372"/>
              <a:gd name="connsiteX10427" fmla="*/ 6548915 w 10505529"/>
              <a:gd name="connsiteY10427" fmla="*/ 5678341 h 7458372"/>
              <a:gd name="connsiteX10428" fmla="*/ 6545321 w 10505529"/>
              <a:gd name="connsiteY10428" fmla="*/ 5687792 h 7458372"/>
              <a:gd name="connsiteX10429" fmla="*/ 6548915 w 10505529"/>
              <a:gd name="connsiteY10429" fmla="*/ 5697243 h 7458372"/>
              <a:gd name="connsiteX10430" fmla="*/ 6558899 w 10505529"/>
              <a:gd name="connsiteY10430" fmla="*/ 5700705 h 7458372"/>
              <a:gd name="connsiteX10431" fmla="*/ 6564223 w 10505529"/>
              <a:gd name="connsiteY10431" fmla="*/ 5699773 h 7458372"/>
              <a:gd name="connsiteX10432" fmla="*/ 6567950 w 10505529"/>
              <a:gd name="connsiteY10432" fmla="*/ 5697376 h 7458372"/>
              <a:gd name="connsiteX10433" fmla="*/ 6570612 w 10505529"/>
              <a:gd name="connsiteY10433" fmla="*/ 5693117 h 7458372"/>
              <a:gd name="connsiteX10434" fmla="*/ 6571677 w 10505529"/>
              <a:gd name="connsiteY10434" fmla="*/ 5687659 h 7458372"/>
              <a:gd name="connsiteX10435" fmla="*/ 6570612 w 10505529"/>
              <a:gd name="connsiteY10435" fmla="*/ 5682467 h 7458372"/>
              <a:gd name="connsiteX10436" fmla="*/ 6567950 w 10505529"/>
              <a:gd name="connsiteY10436" fmla="*/ 5678341 h 7458372"/>
              <a:gd name="connsiteX10437" fmla="*/ 6563956 w 10505529"/>
              <a:gd name="connsiteY10437" fmla="*/ 5675678 h 7458372"/>
              <a:gd name="connsiteX10438" fmla="*/ 6558899 w 10505529"/>
              <a:gd name="connsiteY10438" fmla="*/ 5674747 h 7458372"/>
              <a:gd name="connsiteX10439" fmla="*/ 6341253 w 10505529"/>
              <a:gd name="connsiteY10439" fmla="*/ 5674747 h 7458372"/>
              <a:gd name="connsiteX10440" fmla="*/ 6331270 w 10505529"/>
              <a:gd name="connsiteY10440" fmla="*/ 5678341 h 7458372"/>
              <a:gd name="connsiteX10441" fmla="*/ 6327675 w 10505529"/>
              <a:gd name="connsiteY10441" fmla="*/ 5687792 h 7458372"/>
              <a:gd name="connsiteX10442" fmla="*/ 6331270 w 10505529"/>
              <a:gd name="connsiteY10442" fmla="*/ 5697243 h 7458372"/>
              <a:gd name="connsiteX10443" fmla="*/ 6341253 w 10505529"/>
              <a:gd name="connsiteY10443" fmla="*/ 5700705 h 7458372"/>
              <a:gd name="connsiteX10444" fmla="*/ 6346578 w 10505529"/>
              <a:gd name="connsiteY10444" fmla="*/ 5699773 h 7458372"/>
              <a:gd name="connsiteX10445" fmla="*/ 6350305 w 10505529"/>
              <a:gd name="connsiteY10445" fmla="*/ 5697376 h 7458372"/>
              <a:gd name="connsiteX10446" fmla="*/ 6352968 w 10505529"/>
              <a:gd name="connsiteY10446" fmla="*/ 5693117 h 7458372"/>
              <a:gd name="connsiteX10447" fmla="*/ 6354033 w 10505529"/>
              <a:gd name="connsiteY10447" fmla="*/ 5687659 h 7458372"/>
              <a:gd name="connsiteX10448" fmla="*/ 6352968 w 10505529"/>
              <a:gd name="connsiteY10448" fmla="*/ 5682467 h 7458372"/>
              <a:gd name="connsiteX10449" fmla="*/ 6350305 w 10505529"/>
              <a:gd name="connsiteY10449" fmla="*/ 5678341 h 7458372"/>
              <a:gd name="connsiteX10450" fmla="*/ 6346312 w 10505529"/>
              <a:gd name="connsiteY10450" fmla="*/ 5675678 h 7458372"/>
              <a:gd name="connsiteX10451" fmla="*/ 6341253 w 10505529"/>
              <a:gd name="connsiteY10451" fmla="*/ 5674747 h 7458372"/>
              <a:gd name="connsiteX10452" fmla="*/ 6123608 w 10505529"/>
              <a:gd name="connsiteY10452" fmla="*/ 5674747 h 7458372"/>
              <a:gd name="connsiteX10453" fmla="*/ 6113624 w 10505529"/>
              <a:gd name="connsiteY10453" fmla="*/ 5678341 h 7458372"/>
              <a:gd name="connsiteX10454" fmla="*/ 6110030 w 10505529"/>
              <a:gd name="connsiteY10454" fmla="*/ 5687792 h 7458372"/>
              <a:gd name="connsiteX10455" fmla="*/ 6113624 w 10505529"/>
              <a:gd name="connsiteY10455" fmla="*/ 5697243 h 7458372"/>
              <a:gd name="connsiteX10456" fmla="*/ 6123608 w 10505529"/>
              <a:gd name="connsiteY10456" fmla="*/ 5700705 h 7458372"/>
              <a:gd name="connsiteX10457" fmla="*/ 6128932 w 10505529"/>
              <a:gd name="connsiteY10457" fmla="*/ 5699773 h 7458372"/>
              <a:gd name="connsiteX10458" fmla="*/ 6132659 w 10505529"/>
              <a:gd name="connsiteY10458" fmla="*/ 5697376 h 7458372"/>
              <a:gd name="connsiteX10459" fmla="*/ 6135322 w 10505529"/>
              <a:gd name="connsiteY10459" fmla="*/ 5693117 h 7458372"/>
              <a:gd name="connsiteX10460" fmla="*/ 6136387 w 10505529"/>
              <a:gd name="connsiteY10460" fmla="*/ 5687659 h 7458372"/>
              <a:gd name="connsiteX10461" fmla="*/ 6135322 w 10505529"/>
              <a:gd name="connsiteY10461" fmla="*/ 5682467 h 7458372"/>
              <a:gd name="connsiteX10462" fmla="*/ 6132659 w 10505529"/>
              <a:gd name="connsiteY10462" fmla="*/ 5678341 h 7458372"/>
              <a:gd name="connsiteX10463" fmla="*/ 6128666 w 10505529"/>
              <a:gd name="connsiteY10463" fmla="*/ 5675678 h 7458372"/>
              <a:gd name="connsiteX10464" fmla="*/ 6123608 w 10505529"/>
              <a:gd name="connsiteY10464" fmla="*/ 5674747 h 7458372"/>
              <a:gd name="connsiteX10465" fmla="*/ 5905963 w 10505529"/>
              <a:gd name="connsiteY10465" fmla="*/ 5674747 h 7458372"/>
              <a:gd name="connsiteX10466" fmla="*/ 5895979 w 10505529"/>
              <a:gd name="connsiteY10466" fmla="*/ 5678341 h 7458372"/>
              <a:gd name="connsiteX10467" fmla="*/ 5892385 w 10505529"/>
              <a:gd name="connsiteY10467" fmla="*/ 5687792 h 7458372"/>
              <a:gd name="connsiteX10468" fmla="*/ 5895979 w 10505529"/>
              <a:gd name="connsiteY10468" fmla="*/ 5697243 h 7458372"/>
              <a:gd name="connsiteX10469" fmla="*/ 5905963 w 10505529"/>
              <a:gd name="connsiteY10469" fmla="*/ 5700705 h 7458372"/>
              <a:gd name="connsiteX10470" fmla="*/ 5911287 w 10505529"/>
              <a:gd name="connsiteY10470" fmla="*/ 5699773 h 7458372"/>
              <a:gd name="connsiteX10471" fmla="*/ 5915014 w 10505529"/>
              <a:gd name="connsiteY10471" fmla="*/ 5697376 h 7458372"/>
              <a:gd name="connsiteX10472" fmla="*/ 5917677 w 10505529"/>
              <a:gd name="connsiteY10472" fmla="*/ 5693117 h 7458372"/>
              <a:gd name="connsiteX10473" fmla="*/ 5918742 w 10505529"/>
              <a:gd name="connsiteY10473" fmla="*/ 5687659 h 7458372"/>
              <a:gd name="connsiteX10474" fmla="*/ 5917677 w 10505529"/>
              <a:gd name="connsiteY10474" fmla="*/ 5682467 h 7458372"/>
              <a:gd name="connsiteX10475" fmla="*/ 5915014 w 10505529"/>
              <a:gd name="connsiteY10475" fmla="*/ 5678341 h 7458372"/>
              <a:gd name="connsiteX10476" fmla="*/ 5911021 w 10505529"/>
              <a:gd name="connsiteY10476" fmla="*/ 5675678 h 7458372"/>
              <a:gd name="connsiteX10477" fmla="*/ 5905963 w 10505529"/>
              <a:gd name="connsiteY10477" fmla="*/ 5674747 h 7458372"/>
              <a:gd name="connsiteX10478" fmla="*/ 5688451 w 10505529"/>
              <a:gd name="connsiteY10478" fmla="*/ 5674747 h 7458372"/>
              <a:gd name="connsiteX10479" fmla="*/ 5678467 w 10505529"/>
              <a:gd name="connsiteY10479" fmla="*/ 5678341 h 7458372"/>
              <a:gd name="connsiteX10480" fmla="*/ 5674873 w 10505529"/>
              <a:gd name="connsiteY10480" fmla="*/ 5687792 h 7458372"/>
              <a:gd name="connsiteX10481" fmla="*/ 5678467 w 10505529"/>
              <a:gd name="connsiteY10481" fmla="*/ 5697243 h 7458372"/>
              <a:gd name="connsiteX10482" fmla="*/ 5688451 w 10505529"/>
              <a:gd name="connsiteY10482" fmla="*/ 5700705 h 7458372"/>
              <a:gd name="connsiteX10483" fmla="*/ 5693775 w 10505529"/>
              <a:gd name="connsiteY10483" fmla="*/ 5699773 h 7458372"/>
              <a:gd name="connsiteX10484" fmla="*/ 5697502 w 10505529"/>
              <a:gd name="connsiteY10484" fmla="*/ 5697376 h 7458372"/>
              <a:gd name="connsiteX10485" fmla="*/ 5700165 w 10505529"/>
              <a:gd name="connsiteY10485" fmla="*/ 5693117 h 7458372"/>
              <a:gd name="connsiteX10486" fmla="*/ 5701230 w 10505529"/>
              <a:gd name="connsiteY10486" fmla="*/ 5687659 h 7458372"/>
              <a:gd name="connsiteX10487" fmla="*/ 5700165 w 10505529"/>
              <a:gd name="connsiteY10487" fmla="*/ 5682467 h 7458372"/>
              <a:gd name="connsiteX10488" fmla="*/ 5697502 w 10505529"/>
              <a:gd name="connsiteY10488" fmla="*/ 5678341 h 7458372"/>
              <a:gd name="connsiteX10489" fmla="*/ 5693509 w 10505529"/>
              <a:gd name="connsiteY10489" fmla="*/ 5675678 h 7458372"/>
              <a:gd name="connsiteX10490" fmla="*/ 5688451 w 10505529"/>
              <a:gd name="connsiteY10490" fmla="*/ 5674747 h 7458372"/>
              <a:gd name="connsiteX10491" fmla="*/ 5470806 w 10505529"/>
              <a:gd name="connsiteY10491" fmla="*/ 5674747 h 7458372"/>
              <a:gd name="connsiteX10492" fmla="*/ 5460822 w 10505529"/>
              <a:gd name="connsiteY10492" fmla="*/ 5678341 h 7458372"/>
              <a:gd name="connsiteX10493" fmla="*/ 5457228 w 10505529"/>
              <a:gd name="connsiteY10493" fmla="*/ 5687792 h 7458372"/>
              <a:gd name="connsiteX10494" fmla="*/ 5460822 w 10505529"/>
              <a:gd name="connsiteY10494" fmla="*/ 5697243 h 7458372"/>
              <a:gd name="connsiteX10495" fmla="*/ 5470806 w 10505529"/>
              <a:gd name="connsiteY10495" fmla="*/ 5700705 h 7458372"/>
              <a:gd name="connsiteX10496" fmla="*/ 5476130 w 10505529"/>
              <a:gd name="connsiteY10496" fmla="*/ 5699773 h 7458372"/>
              <a:gd name="connsiteX10497" fmla="*/ 5479857 w 10505529"/>
              <a:gd name="connsiteY10497" fmla="*/ 5697376 h 7458372"/>
              <a:gd name="connsiteX10498" fmla="*/ 5482520 w 10505529"/>
              <a:gd name="connsiteY10498" fmla="*/ 5693117 h 7458372"/>
              <a:gd name="connsiteX10499" fmla="*/ 5483585 w 10505529"/>
              <a:gd name="connsiteY10499" fmla="*/ 5687659 h 7458372"/>
              <a:gd name="connsiteX10500" fmla="*/ 5482520 w 10505529"/>
              <a:gd name="connsiteY10500" fmla="*/ 5682467 h 7458372"/>
              <a:gd name="connsiteX10501" fmla="*/ 5479857 w 10505529"/>
              <a:gd name="connsiteY10501" fmla="*/ 5678341 h 7458372"/>
              <a:gd name="connsiteX10502" fmla="*/ 5475864 w 10505529"/>
              <a:gd name="connsiteY10502" fmla="*/ 5675678 h 7458372"/>
              <a:gd name="connsiteX10503" fmla="*/ 5470806 w 10505529"/>
              <a:gd name="connsiteY10503" fmla="*/ 5674747 h 7458372"/>
              <a:gd name="connsiteX10504" fmla="*/ 5253160 w 10505529"/>
              <a:gd name="connsiteY10504" fmla="*/ 5674747 h 7458372"/>
              <a:gd name="connsiteX10505" fmla="*/ 5243177 w 10505529"/>
              <a:gd name="connsiteY10505" fmla="*/ 5678341 h 7458372"/>
              <a:gd name="connsiteX10506" fmla="*/ 5239583 w 10505529"/>
              <a:gd name="connsiteY10506" fmla="*/ 5687792 h 7458372"/>
              <a:gd name="connsiteX10507" fmla="*/ 5243177 w 10505529"/>
              <a:gd name="connsiteY10507" fmla="*/ 5697243 h 7458372"/>
              <a:gd name="connsiteX10508" fmla="*/ 5253160 w 10505529"/>
              <a:gd name="connsiteY10508" fmla="*/ 5700705 h 7458372"/>
              <a:gd name="connsiteX10509" fmla="*/ 5258485 w 10505529"/>
              <a:gd name="connsiteY10509" fmla="*/ 5699773 h 7458372"/>
              <a:gd name="connsiteX10510" fmla="*/ 5262212 w 10505529"/>
              <a:gd name="connsiteY10510" fmla="*/ 5697376 h 7458372"/>
              <a:gd name="connsiteX10511" fmla="*/ 5264875 w 10505529"/>
              <a:gd name="connsiteY10511" fmla="*/ 5693117 h 7458372"/>
              <a:gd name="connsiteX10512" fmla="*/ 5265939 w 10505529"/>
              <a:gd name="connsiteY10512" fmla="*/ 5687659 h 7458372"/>
              <a:gd name="connsiteX10513" fmla="*/ 5264875 w 10505529"/>
              <a:gd name="connsiteY10513" fmla="*/ 5682467 h 7458372"/>
              <a:gd name="connsiteX10514" fmla="*/ 5262212 w 10505529"/>
              <a:gd name="connsiteY10514" fmla="*/ 5678341 h 7458372"/>
              <a:gd name="connsiteX10515" fmla="*/ 5258219 w 10505529"/>
              <a:gd name="connsiteY10515" fmla="*/ 5675678 h 7458372"/>
              <a:gd name="connsiteX10516" fmla="*/ 5253160 w 10505529"/>
              <a:gd name="connsiteY10516" fmla="*/ 5674747 h 7458372"/>
              <a:gd name="connsiteX10517" fmla="*/ 5035515 w 10505529"/>
              <a:gd name="connsiteY10517" fmla="*/ 5674747 h 7458372"/>
              <a:gd name="connsiteX10518" fmla="*/ 5025532 w 10505529"/>
              <a:gd name="connsiteY10518" fmla="*/ 5678341 h 7458372"/>
              <a:gd name="connsiteX10519" fmla="*/ 5021938 w 10505529"/>
              <a:gd name="connsiteY10519" fmla="*/ 5687792 h 7458372"/>
              <a:gd name="connsiteX10520" fmla="*/ 5025532 w 10505529"/>
              <a:gd name="connsiteY10520" fmla="*/ 5697243 h 7458372"/>
              <a:gd name="connsiteX10521" fmla="*/ 5035515 w 10505529"/>
              <a:gd name="connsiteY10521" fmla="*/ 5700705 h 7458372"/>
              <a:gd name="connsiteX10522" fmla="*/ 5040840 w 10505529"/>
              <a:gd name="connsiteY10522" fmla="*/ 5699773 h 7458372"/>
              <a:gd name="connsiteX10523" fmla="*/ 5044567 w 10505529"/>
              <a:gd name="connsiteY10523" fmla="*/ 5697376 h 7458372"/>
              <a:gd name="connsiteX10524" fmla="*/ 5047230 w 10505529"/>
              <a:gd name="connsiteY10524" fmla="*/ 5693117 h 7458372"/>
              <a:gd name="connsiteX10525" fmla="*/ 5048294 w 10505529"/>
              <a:gd name="connsiteY10525" fmla="*/ 5687659 h 7458372"/>
              <a:gd name="connsiteX10526" fmla="*/ 5047230 w 10505529"/>
              <a:gd name="connsiteY10526" fmla="*/ 5682467 h 7458372"/>
              <a:gd name="connsiteX10527" fmla="*/ 5044567 w 10505529"/>
              <a:gd name="connsiteY10527" fmla="*/ 5678341 h 7458372"/>
              <a:gd name="connsiteX10528" fmla="*/ 5040574 w 10505529"/>
              <a:gd name="connsiteY10528" fmla="*/ 5675678 h 7458372"/>
              <a:gd name="connsiteX10529" fmla="*/ 5035515 w 10505529"/>
              <a:gd name="connsiteY10529" fmla="*/ 5674747 h 7458372"/>
              <a:gd name="connsiteX10530" fmla="*/ 4817870 w 10505529"/>
              <a:gd name="connsiteY10530" fmla="*/ 5674747 h 7458372"/>
              <a:gd name="connsiteX10531" fmla="*/ 4807887 w 10505529"/>
              <a:gd name="connsiteY10531" fmla="*/ 5678341 h 7458372"/>
              <a:gd name="connsiteX10532" fmla="*/ 4804293 w 10505529"/>
              <a:gd name="connsiteY10532" fmla="*/ 5687792 h 7458372"/>
              <a:gd name="connsiteX10533" fmla="*/ 4807887 w 10505529"/>
              <a:gd name="connsiteY10533" fmla="*/ 5697243 h 7458372"/>
              <a:gd name="connsiteX10534" fmla="*/ 4817870 w 10505529"/>
              <a:gd name="connsiteY10534" fmla="*/ 5700705 h 7458372"/>
              <a:gd name="connsiteX10535" fmla="*/ 4823195 w 10505529"/>
              <a:gd name="connsiteY10535" fmla="*/ 5699773 h 7458372"/>
              <a:gd name="connsiteX10536" fmla="*/ 4826922 w 10505529"/>
              <a:gd name="connsiteY10536" fmla="*/ 5697376 h 7458372"/>
              <a:gd name="connsiteX10537" fmla="*/ 4829585 w 10505529"/>
              <a:gd name="connsiteY10537" fmla="*/ 5693117 h 7458372"/>
              <a:gd name="connsiteX10538" fmla="*/ 4830650 w 10505529"/>
              <a:gd name="connsiteY10538" fmla="*/ 5687659 h 7458372"/>
              <a:gd name="connsiteX10539" fmla="*/ 4829585 w 10505529"/>
              <a:gd name="connsiteY10539" fmla="*/ 5682467 h 7458372"/>
              <a:gd name="connsiteX10540" fmla="*/ 4826922 w 10505529"/>
              <a:gd name="connsiteY10540" fmla="*/ 5678341 h 7458372"/>
              <a:gd name="connsiteX10541" fmla="*/ 4822929 w 10505529"/>
              <a:gd name="connsiteY10541" fmla="*/ 5675678 h 7458372"/>
              <a:gd name="connsiteX10542" fmla="*/ 4817870 w 10505529"/>
              <a:gd name="connsiteY10542" fmla="*/ 5674747 h 7458372"/>
              <a:gd name="connsiteX10543" fmla="*/ 4600226 w 10505529"/>
              <a:gd name="connsiteY10543" fmla="*/ 5674747 h 7458372"/>
              <a:gd name="connsiteX10544" fmla="*/ 4590242 w 10505529"/>
              <a:gd name="connsiteY10544" fmla="*/ 5678341 h 7458372"/>
              <a:gd name="connsiteX10545" fmla="*/ 4586648 w 10505529"/>
              <a:gd name="connsiteY10545" fmla="*/ 5687792 h 7458372"/>
              <a:gd name="connsiteX10546" fmla="*/ 4590242 w 10505529"/>
              <a:gd name="connsiteY10546" fmla="*/ 5697243 h 7458372"/>
              <a:gd name="connsiteX10547" fmla="*/ 4600226 w 10505529"/>
              <a:gd name="connsiteY10547" fmla="*/ 5700705 h 7458372"/>
              <a:gd name="connsiteX10548" fmla="*/ 4605550 w 10505529"/>
              <a:gd name="connsiteY10548" fmla="*/ 5699773 h 7458372"/>
              <a:gd name="connsiteX10549" fmla="*/ 4609277 w 10505529"/>
              <a:gd name="connsiteY10549" fmla="*/ 5697376 h 7458372"/>
              <a:gd name="connsiteX10550" fmla="*/ 4611940 w 10505529"/>
              <a:gd name="connsiteY10550" fmla="*/ 5693117 h 7458372"/>
              <a:gd name="connsiteX10551" fmla="*/ 4613005 w 10505529"/>
              <a:gd name="connsiteY10551" fmla="*/ 5687659 h 7458372"/>
              <a:gd name="connsiteX10552" fmla="*/ 4611940 w 10505529"/>
              <a:gd name="connsiteY10552" fmla="*/ 5682467 h 7458372"/>
              <a:gd name="connsiteX10553" fmla="*/ 4609277 w 10505529"/>
              <a:gd name="connsiteY10553" fmla="*/ 5678341 h 7458372"/>
              <a:gd name="connsiteX10554" fmla="*/ 4605284 w 10505529"/>
              <a:gd name="connsiteY10554" fmla="*/ 5675678 h 7458372"/>
              <a:gd name="connsiteX10555" fmla="*/ 4600226 w 10505529"/>
              <a:gd name="connsiteY10555" fmla="*/ 5674747 h 7458372"/>
              <a:gd name="connsiteX10556" fmla="*/ 4382713 w 10505529"/>
              <a:gd name="connsiteY10556" fmla="*/ 5674747 h 7458372"/>
              <a:gd name="connsiteX10557" fmla="*/ 4372730 w 10505529"/>
              <a:gd name="connsiteY10557" fmla="*/ 5678341 h 7458372"/>
              <a:gd name="connsiteX10558" fmla="*/ 4369136 w 10505529"/>
              <a:gd name="connsiteY10558" fmla="*/ 5687792 h 7458372"/>
              <a:gd name="connsiteX10559" fmla="*/ 4372730 w 10505529"/>
              <a:gd name="connsiteY10559" fmla="*/ 5697243 h 7458372"/>
              <a:gd name="connsiteX10560" fmla="*/ 4382713 w 10505529"/>
              <a:gd name="connsiteY10560" fmla="*/ 5700705 h 7458372"/>
              <a:gd name="connsiteX10561" fmla="*/ 4388038 w 10505529"/>
              <a:gd name="connsiteY10561" fmla="*/ 5699773 h 7458372"/>
              <a:gd name="connsiteX10562" fmla="*/ 4391765 w 10505529"/>
              <a:gd name="connsiteY10562" fmla="*/ 5697376 h 7458372"/>
              <a:gd name="connsiteX10563" fmla="*/ 4394428 w 10505529"/>
              <a:gd name="connsiteY10563" fmla="*/ 5693117 h 7458372"/>
              <a:gd name="connsiteX10564" fmla="*/ 4395493 w 10505529"/>
              <a:gd name="connsiteY10564" fmla="*/ 5687659 h 7458372"/>
              <a:gd name="connsiteX10565" fmla="*/ 4394428 w 10505529"/>
              <a:gd name="connsiteY10565" fmla="*/ 5682467 h 7458372"/>
              <a:gd name="connsiteX10566" fmla="*/ 4391765 w 10505529"/>
              <a:gd name="connsiteY10566" fmla="*/ 5678341 h 7458372"/>
              <a:gd name="connsiteX10567" fmla="*/ 4387772 w 10505529"/>
              <a:gd name="connsiteY10567" fmla="*/ 5675678 h 7458372"/>
              <a:gd name="connsiteX10568" fmla="*/ 4382713 w 10505529"/>
              <a:gd name="connsiteY10568" fmla="*/ 5674747 h 7458372"/>
              <a:gd name="connsiteX10569" fmla="*/ 4165068 w 10505529"/>
              <a:gd name="connsiteY10569" fmla="*/ 5674747 h 7458372"/>
              <a:gd name="connsiteX10570" fmla="*/ 4155084 w 10505529"/>
              <a:gd name="connsiteY10570" fmla="*/ 5678341 h 7458372"/>
              <a:gd name="connsiteX10571" fmla="*/ 4151490 w 10505529"/>
              <a:gd name="connsiteY10571" fmla="*/ 5687792 h 7458372"/>
              <a:gd name="connsiteX10572" fmla="*/ 4155084 w 10505529"/>
              <a:gd name="connsiteY10572" fmla="*/ 5697243 h 7458372"/>
              <a:gd name="connsiteX10573" fmla="*/ 4165068 w 10505529"/>
              <a:gd name="connsiteY10573" fmla="*/ 5700705 h 7458372"/>
              <a:gd name="connsiteX10574" fmla="*/ 4170392 w 10505529"/>
              <a:gd name="connsiteY10574" fmla="*/ 5699773 h 7458372"/>
              <a:gd name="connsiteX10575" fmla="*/ 4174119 w 10505529"/>
              <a:gd name="connsiteY10575" fmla="*/ 5697376 h 7458372"/>
              <a:gd name="connsiteX10576" fmla="*/ 4176782 w 10505529"/>
              <a:gd name="connsiteY10576" fmla="*/ 5693117 h 7458372"/>
              <a:gd name="connsiteX10577" fmla="*/ 4177847 w 10505529"/>
              <a:gd name="connsiteY10577" fmla="*/ 5687659 h 7458372"/>
              <a:gd name="connsiteX10578" fmla="*/ 4176782 w 10505529"/>
              <a:gd name="connsiteY10578" fmla="*/ 5682467 h 7458372"/>
              <a:gd name="connsiteX10579" fmla="*/ 4174119 w 10505529"/>
              <a:gd name="connsiteY10579" fmla="*/ 5678341 h 7458372"/>
              <a:gd name="connsiteX10580" fmla="*/ 4170126 w 10505529"/>
              <a:gd name="connsiteY10580" fmla="*/ 5675678 h 7458372"/>
              <a:gd name="connsiteX10581" fmla="*/ 4165068 w 10505529"/>
              <a:gd name="connsiteY10581" fmla="*/ 5674747 h 7458372"/>
              <a:gd name="connsiteX10582" fmla="*/ 3947733 w 10505529"/>
              <a:gd name="connsiteY10582" fmla="*/ 5674747 h 7458372"/>
              <a:gd name="connsiteX10583" fmla="*/ 3937749 w 10505529"/>
              <a:gd name="connsiteY10583" fmla="*/ 5678341 h 7458372"/>
              <a:gd name="connsiteX10584" fmla="*/ 3934155 w 10505529"/>
              <a:gd name="connsiteY10584" fmla="*/ 5687792 h 7458372"/>
              <a:gd name="connsiteX10585" fmla="*/ 3937749 w 10505529"/>
              <a:gd name="connsiteY10585" fmla="*/ 5697243 h 7458372"/>
              <a:gd name="connsiteX10586" fmla="*/ 3947733 w 10505529"/>
              <a:gd name="connsiteY10586" fmla="*/ 5700705 h 7458372"/>
              <a:gd name="connsiteX10587" fmla="*/ 3953061 w 10505529"/>
              <a:gd name="connsiteY10587" fmla="*/ 5699773 h 7458372"/>
              <a:gd name="connsiteX10588" fmla="*/ 3956788 w 10505529"/>
              <a:gd name="connsiteY10588" fmla="*/ 5697376 h 7458372"/>
              <a:gd name="connsiteX10589" fmla="*/ 3959451 w 10505529"/>
              <a:gd name="connsiteY10589" fmla="*/ 5693117 h 7458372"/>
              <a:gd name="connsiteX10590" fmla="*/ 3960516 w 10505529"/>
              <a:gd name="connsiteY10590" fmla="*/ 5687659 h 7458372"/>
              <a:gd name="connsiteX10591" fmla="*/ 3959451 w 10505529"/>
              <a:gd name="connsiteY10591" fmla="*/ 5682467 h 7458372"/>
              <a:gd name="connsiteX10592" fmla="*/ 3956788 w 10505529"/>
              <a:gd name="connsiteY10592" fmla="*/ 5678341 h 7458372"/>
              <a:gd name="connsiteX10593" fmla="*/ 3952794 w 10505529"/>
              <a:gd name="connsiteY10593" fmla="*/ 5675678 h 7458372"/>
              <a:gd name="connsiteX10594" fmla="*/ 3947733 w 10505529"/>
              <a:gd name="connsiteY10594" fmla="*/ 5674747 h 7458372"/>
              <a:gd name="connsiteX10595" fmla="*/ 3730074 w 10505529"/>
              <a:gd name="connsiteY10595" fmla="*/ 5674747 h 7458372"/>
              <a:gd name="connsiteX10596" fmla="*/ 3720087 w 10505529"/>
              <a:gd name="connsiteY10596" fmla="*/ 5678341 h 7458372"/>
              <a:gd name="connsiteX10597" fmla="*/ 3716495 w 10505529"/>
              <a:gd name="connsiteY10597" fmla="*/ 5687792 h 7458372"/>
              <a:gd name="connsiteX10598" fmla="*/ 3720087 w 10505529"/>
              <a:gd name="connsiteY10598" fmla="*/ 5697243 h 7458372"/>
              <a:gd name="connsiteX10599" fmla="*/ 3730074 w 10505529"/>
              <a:gd name="connsiteY10599" fmla="*/ 5700705 h 7458372"/>
              <a:gd name="connsiteX10600" fmla="*/ 3735399 w 10505529"/>
              <a:gd name="connsiteY10600" fmla="*/ 5699773 h 7458372"/>
              <a:gd name="connsiteX10601" fmla="*/ 3739126 w 10505529"/>
              <a:gd name="connsiteY10601" fmla="*/ 5697376 h 7458372"/>
              <a:gd name="connsiteX10602" fmla="*/ 3741789 w 10505529"/>
              <a:gd name="connsiteY10602" fmla="*/ 5693117 h 7458372"/>
              <a:gd name="connsiteX10603" fmla="*/ 3742854 w 10505529"/>
              <a:gd name="connsiteY10603" fmla="*/ 5687659 h 7458372"/>
              <a:gd name="connsiteX10604" fmla="*/ 3741789 w 10505529"/>
              <a:gd name="connsiteY10604" fmla="*/ 5682467 h 7458372"/>
              <a:gd name="connsiteX10605" fmla="*/ 3739126 w 10505529"/>
              <a:gd name="connsiteY10605" fmla="*/ 5678341 h 7458372"/>
              <a:gd name="connsiteX10606" fmla="*/ 3735133 w 10505529"/>
              <a:gd name="connsiteY10606" fmla="*/ 5675678 h 7458372"/>
              <a:gd name="connsiteX10607" fmla="*/ 3730074 w 10505529"/>
              <a:gd name="connsiteY10607" fmla="*/ 5674747 h 7458372"/>
              <a:gd name="connsiteX10608" fmla="*/ 3512412 w 10505529"/>
              <a:gd name="connsiteY10608" fmla="*/ 5674747 h 7458372"/>
              <a:gd name="connsiteX10609" fmla="*/ 3502423 w 10505529"/>
              <a:gd name="connsiteY10609" fmla="*/ 5678341 h 7458372"/>
              <a:gd name="connsiteX10610" fmla="*/ 3498830 w 10505529"/>
              <a:gd name="connsiteY10610" fmla="*/ 5687792 h 7458372"/>
              <a:gd name="connsiteX10611" fmla="*/ 3502423 w 10505529"/>
              <a:gd name="connsiteY10611" fmla="*/ 5697243 h 7458372"/>
              <a:gd name="connsiteX10612" fmla="*/ 3512412 w 10505529"/>
              <a:gd name="connsiteY10612" fmla="*/ 5700705 h 7458372"/>
              <a:gd name="connsiteX10613" fmla="*/ 3517738 w 10505529"/>
              <a:gd name="connsiteY10613" fmla="*/ 5699773 h 7458372"/>
              <a:gd name="connsiteX10614" fmla="*/ 3521465 w 10505529"/>
              <a:gd name="connsiteY10614" fmla="*/ 5697376 h 7458372"/>
              <a:gd name="connsiteX10615" fmla="*/ 3524128 w 10505529"/>
              <a:gd name="connsiteY10615" fmla="*/ 5693117 h 7458372"/>
              <a:gd name="connsiteX10616" fmla="*/ 3525193 w 10505529"/>
              <a:gd name="connsiteY10616" fmla="*/ 5687659 h 7458372"/>
              <a:gd name="connsiteX10617" fmla="*/ 3524128 w 10505529"/>
              <a:gd name="connsiteY10617" fmla="*/ 5682467 h 7458372"/>
              <a:gd name="connsiteX10618" fmla="*/ 3521465 w 10505529"/>
              <a:gd name="connsiteY10618" fmla="*/ 5678341 h 7458372"/>
              <a:gd name="connsiteX10619" fmla="*/ 3517472 w 10505529"/>
              <a:gd name="connsiteY10619" fmla="*/ 5675678 h 7458372"/>
              <a:gd name="connsiteX10620" fmla="*/ 3512412 w 10505529"/>
              <a:gd name="connsiteY10620" fmla="*/ 5674747 h 7458372"/>
              <a:gd name="connsiteX10621" fmla="*/ 3294884 w 10505529"/>
              <a:gd name="connsiteY10621" fmla="*/ 5674747 h 7458372"/>
              <a:gd name="connsiteX10622" fmla="*/ 3284898 w 10505529"/>
              <a:gd name="connsiteY10622" fmla="*/ 5678341 h 7458372"/>
              <a:gd name="connsiteX10623" fmla="*/ 3281304 w 10505529"/>
              <a:gd name="connsiteY10623" fmla="*/ 5687792 h 7458372"/>
              <a:gd name="connsiteX10624" fmla="*/ 3284898 w 10505529"/>
              <a:gd name="connsiteY10624" fmla="*/ 5697243 h 7458372"/>
              <a:gd name="connsiteX10625" fmla="*/ 3294884 w 10505529"/>
              <a:gd name="connsiteY10625" fmla="*/ 5700705 h 7458372"/>
              <a:gd name="connsiteX10626" fmla="*/ 3300210 w 10505529"/>
              <a:gd name="connsiteY10626" fmla="*/ 5699773 h 7458372"/>
              <a:gd name="connsiteX10627" fmla="*/ 3303937 w 10505529"/>
              <a:gd name="connsiteY10627" fmla="*/ 5697376 h 7458372"/>
              <a:gd name="connsiteX10628" fmla="*/ 3306600 w 10505529"/>
              <a:gd name="connsiteY10628" fmla="*/ 5693117 h 7458372"/>
              <a:gd name="connsiteX10629" fmla="*/ 3307664 w 10505529"/>
              <a:gd name="connsiteY10629" fmla="*/ 5687659 h 7458372"/>
              <a:gd name="connsiteX10630" fmla="*/ 3306600 w 10505529"/>
              <a:gd name="connsiteY10630" fmla="*/ 5682467 h 7458372"/>
              <a:gd name="connsiteX10631" fmla="*/ 3303937 w 10505529"/>
              <a:gd name="connsiteY10631" fmla="*/ 5678341 h 7458372"/>
              <a:gd name="connsiteX10632" fmla="*/ 3299944 w 10505529"/>
              <a:gd name="connsiteY10632" fmla="*/ 5675678 h 7458372"/>
              <a:gd name="connsiteX10633" fmla="*/ 3294884 w 10505529"/>
              <a:gd name="connsiteY10633" fmla="*/ 5674747 h 7458372"/>
              <a:gd name="connsiteX10634" fmla="*/ 3077356 w 10505529"/>
              <a:gd name="connsiteY10634" fmla="*/ 5674747 h 7458372"/>
              <a:gd name="connsiteX10635" fmla="*/ 3067372 w 10505529"/>
              <a:gd name="connsiteY10635" fmla="*/ 5678341 h 7458372"/>
              <a:gd name="connsiteX10636" fmla="*/ 3063642 w 10505529"/>
              <a:gd name="connsiteY10636" fmla="*/ 5687792 h 7458372"/>
              <a:gd name="connsiteX10637" fmla="*/ 3067238 w 10505529"/>
              <a:gd name="connsiteY10637" fmla="*/ 5697243 h 7458372"/>
              <a:gd name="connsiteX10638" fmla="*/ 3077223 w 10505529"/>
              <a:gd name="connsiteY10638" fmla="*/ 5700705 h 7458372"/>
              <a:gd name="connsiteX10639" fmla="*/ 3082681 w 10505529"/>
              <a:gd name="connsiteY10639" fmla="*/ 5699773 h 7458372"/>
              <a:gd name="connsiteX10640" fmla="*/ 3086409 w 10505529"/>
              <a:gd name="connsiteY10640" fmla="*/ 5697376 h 7458372"/>
              <a:gd name="connsiteX10641" fmla="*/ 3089071 w 10505529"/>
              <a:gd name="connsiteY10641" fmla="*/ 5693117 h 7458372"/>
              <a:gd name="connsiteX10642" fmla="*/ 3090003 w 10505529"/>
              <a:gd name="connsiteY10642" fmla="*/ 5687659 h 7458372"/>
              <a:gd name="connsiteX10643" fmla="*/ 3089071 w 10505529"/>
              <a:gd name="connsiteY10643" fmla="*/ 5682467 h 7458372"/>
              <a:gd name="connsiteX10644" fmla="*/ 3086409 w 10505529"/>
              <a:gd name="connsiteY10644" fmla="*/ 5678341 h 7458372"/>
              <a:gd name="connsiteX10645" fmla="*/ 3082416 w 10505529"/>
              <a:gd name="connsiteY10645" fmla="*/ 5675678 h 7458372"/>
              <a:gd name="connsiteX10646" fmla="*/ 3077356 w 10505529"/>
              <a:gd name="connsiteY10646" fmla="*/ 5674747 h 7458372"/>
              <a:gd name="connsiteX10647" fmla="*/ 2859562 w 10505529"/>
              <a:gd name="connsiteY10647" fmla="*/ 5674747 h 7458372"/>
              <a:gd name="connsiteX10648" fmla="*/ 2849576 w 10505529"/>
              <a:gd name="connsiteY10648" fmla="*/ 5678341 h 7458372"/>
              <a:gd name="connsiteX10649" fmla="*/ 2845977 w 10505529"/>
              <a:gd name="connsiteY10649" fmla="*/ 5687792 h 7458372"/>
              <a:gd name="connsiteX10650" fmla="*/ 2849576 w 10505529"/>
              <a:gd name="connsiteY10650" fmla="*/ 5697243 h 7458372"/>
              <a:gd name="connsiteX10651" fmla="*/ 2859562 w 10505529"/>
              <a:gd name="connsiteY10651" fmla="*/ 5700705 h 7458372"/>
              <a:gd name="connsiteX10652" fmla="*/ 2864887 w 10505529"/>
              <a:gd name="connsiteY10652" fmla="*/ 5699773 h 7458372"/>
              <a:gd name="connsiteX10653" fmla="*/ 2868614 w 10505529"/>
              <a:gd name="connsiteY10653" fmla="*/ 5697376 h 7458372"/>
              <a:gd name="connsiteX10654" fmla="*/ 2871277 w 10505529"/>
              <a:gd name="connsiteY10654" fmla="*/ 5693117 h 7458372"/>
              <a:gd name="connsiteX10655" fmla="*/ 2872208 w 10505529"/>
              <a:gd name="connsiteY10655" fmla="*/ 5687659 h 7458372"/>
              <a:gd name="connsiteX10656" fmla="*/ 2871277 w 10505529"/>
              <a:gd name="connsiteY10656" fmla="*/ 5682467 h 7458372"/>
              <a:gd name="connsiteX10657" fmla="*/ 2868614 w 10505529"/>
              <a:gd name="connsiteY10657" fmla="*/ 5678341 h 7458372"/>
              <a:gd name="connsiteX10658" fmla="*/ 2864621 w 10505529"/>
              <a:gd name="connsiteY10658" fmla="*/ 5675678 h 7458372"/>
              <a:gd name="connsiteX10659" fmla="*/ 2859562 w 10505529"/>
              <a:gd name="connsiteY10659" fmla="*/ 5674747 h 7458372"/>
              <a:gd name="connsiteX10660" fmla="*/ 2641900 w 10505529"/>
              <a:gd name="connsiteY10660" fmla="*/ 5674747 h 7458372"/>
              <a:gd name="connsiteX10661" fmla="*/ 2631917 w 10505529"/>
              <a:gd name="connsiteY10661" fmla="*/ 5678341 h 7458372"/>
              <a:gd name="connsiteX10662" fmla="*/ 2628322 w 10505529"/>
              <a:gd name="connsiteY10662" fmla="*/ 5687792 h 7458372"/>
              <a:gd name="connsiteX10663" fmla="*/ 2631917 w 10505529"/>
              <a:gd name="connsiteY10663" fmla="*/ 5697243 h 7458372"/>
              <a:gd name="connsiteX10664" fmla="*/ 2641900 w 10505529"/>
              <a:gd name="connsiteY10664" fmla="*/ 5700705 h 7458372"/>
              <a:gd name="connsiteX10665" fmla="*/ 2647226 w 10505529"/>
              <a:gd name="connsiteY10665" fmla="*/ 5699773 h 7458372"/>
              <a:gd name="connsiteX10666" fmla="*/ 2650953 w 10505529"/>
              <a:gd name="connsiteY10666" fmla="*/ 5697376 h 7458372"/>
              <a:gd name="connsiteX10667" fmla="*/ 2653616 w 10505529"/>
              <a:gd name="connsiteY10667" fmla="*/ 5693117 h 7458372"/>
              <a:gd name="connsiteX10668" fmla="*/ 2654546 w 10505529"/>
              <a:gd name="connsiteY10668" fmla="*/ 5687659 h 7458372"/>
              <a:gd name="connsiteX10669" fmla="*/ 2653616 w 10505529"/>
              <a:gd name="connsiteY10669" fmla="*/ 5682467 h 7458372"/>
              <a:gd name="connsiteX10670" fmla="*/ 2650953 w 10505529"/>
              <a:gd name="connsiteY10670" fmla="*/ 5678341 h 7458372"/>
              <a:gd name="connsiteX10671" fmla="*/ 2646960 w 10505529"/>
              <a:gd name="connsiteY10671" fmla="*/ 5675678 h 7458372"/>
              <a:gd name="connsiteX10672" fmla="*/ 2641900 w 10505529"/>
              <a:gd name="connsiteY10672" fmla="*/ 5674747 h 7458372"/>
              <a:gd name="connsiteX10673" fmla="*/ 2424239 w 10505529"/>
              <a:gd name="connsiteY10673" fmla="*/ 5674747 h 7458372"/>
              <a:gd name="connsiteX10674" fmla="*/ 2414256 w 10505529"/>
              <a:gd name="connsiteY10674" fmla="*/ 5678341 h 7458372"/>
              <a:gd name="connsiteX10675" fmla="*/ 2410661 w 10505529"/>
              <a:gd name="connsiteY10675" fmla="*/ 5687792 h 7458372"/>
              <a:gd name="connsiteX10676" fmla="*/ 2414256 w 10505529"/>
              <a:gd name="connsiteY10676" fmla="*/ 5697243 h 7458372"/>
              <a:gd name="connsiteX10677" fmla="*/ 2424239 w 10505529"/>
              <a:gd name="connsiteY10677" fmla="*/ 5700705 h 7458372"/>
              <a:gd name="connsiteX10678" fmla="*/ 2429564 w 10505529"/>
              <a:gd name="connsiteY10678" fmla="*/ 5699773 h 7458372"/>
              <a:gd name="connsiteX10679" fmla="*/ 2433291 w 10505529"/>
              <a:gd name="connsiteY10679" fmla="*/ 5697376 h 7458372"/>
              <a:gd name="connsiteX10680" fmla="*/ 2435954 w 10505529"/>
              <a:gd name="connsiteY10680" fmla="*/ 5693117 h 7458372"/>
              <a:gd name="connsiteX10681" fmla="*/ 2436885 w 10505529"/>
              <a:gd name="connsiteY10681" fmla="*/ 5687659 h 7458372"/>
              <a:gd name="connsiteX10682" fmla="*/ 2435954 w 10505529"/>
              <a:gd name="connsiteY10682" fmla="*/ 5682467 h 7458372"/>
              <a:gd name="connsiteX10683" fmla="*/ 2433291 w 10505529"/>
              <a:gd name="connsiteY10683" fmla="*/ 5678341 h 7458372"/>
              <a:gd name="connsiteX10684" fmla="*/ 2429298 w 10505529"/>
              <a:gd name="connsiteY10684" fmla="*/ 5675678 h 7458372"/>
              <a:gd name="connsiteX10685" fmla="*/ 2424239 w 10505529"/>
              <a:gd name="connsiteY10685" fmla="*/ 5674747 h 7458372"/>
              <a:gd name="connsiteX10686" fmla="*/ 2206578 w 10505529"/>
              <a:gd name="connsiteY10686" fmla="*/ 5674747 h 7458372"/>
              <a:gd name="connsiteX10687" fmla="*/ 2196594 w 10505529"/>
              <a:gd name="connsiteY10687" fmla="*/ 5678341 h 7458372"/>
              <a:gd name="connsiteX10688" fmla="*/ 2193000 w 10505529"/>
              <a:gd name="connsiteY10688" fmla="*/ 5687792 h 7458372"/>
              <a:gd name="connsiteX10689" fmla="*/ 2196594 w 10505529"/>
              <a:gd name="connsiteY10689" fmla="*/ 5697243 h 7458372"/>
              <a:gd name="connsiteX10690" fmla="*/ 2206578 w 10505529"/>
              <a:gd name="connsiteY10690" fmla="*/ 5700705 h 7458372"/>
              <a:gd name="connsiteX10691" fmla="*/ 2211903 w 10505529"/>
              <a:gd name="connsiteY10691" fmla="*/ 5699773 h 7458372"/>
              <a:gd name="connsiteX10692" fmla="*/ 2215630 w 10505529"/>
              <a:gd name="connsiteY10692" fmla="*/ 5697376 h 7458372"/>
              <a:gd name="connsiteX10693" fmla="*/ 2218293 w 10505529"/>
              <a:gd name="connsiteY10693" fmla="*/ 5693117 h 7458372"/>
              <a:gd name="connsiteX10694" fmla="*/ 2219224 w 10505529"/>
              <a:gd name="connsiteY10694" fmla="*/ 5687659 h 7458372"/>
              <a:gd name="connsiteX10695" fmla="*/ 2218293 w 10505529"/>
              <a:gd name="connsiteY10695" fmla="*/ 5682467 h 7458372"/>
              <a:gd name="connsiteX10696" fmla="*/ 2215630 w 10505529"/>
              <a:gd name="connsiteY10696" fmla="*/ 5678341 h 7458372"/>
              <a:gd name="connsiteX10697" fmla="*/ 2211636 w 10505529"/>
              <a:gd name="connsiteY10697" fmla="*/ 5675678 h 7458372"/>
              <a:gd name="connsiteX10698" fmla="*/ 2206578 w 10505529"/>
              <a:gd name="connsiteY10698" fmla="*/ 5674747 h 7458372"/>
              <a:gd name="connsiteX10699" fmla="*/ 1989049 w 10505529"/>
              <a:gd name="connsiteY10699" fmla="*/ 5674747 h 7458372"/>
              <a:gd name="connsiteX10700" fmla="*/ 1979066 w 10505529"/>
              <a:gd name="connsiteY10700" fmla="*/ 5678341 h 7458372"/>
              <a:gd name="connsiteX10701" fmla="*/ 1975472 w 10505529"/>
              <a:gd name="connsiteY10701" fmla="*/ 5687792 h 7458372"/>
              <a:gd name="connsiteX10702" fmla="*/ 1979066 w 10505529"/>
              <a:gd name="connsiteY10702" fmla="*/ 5697243 h 7458372"/>
              <a:gd name="connsiteX10703" fmla="*/ 1989049 w 10505529"/>
              <a:gd name="connsiteY10703" fmla="*/ 5700705 h 7458372"/>
              <a:gd name="connsiteX10704" fmla="*/ 1994374 w 10505529"/>
              <a:gd name="connsiteY10704" fmla="*/ 5699773 h 7458372"/>
              <a:gd name="connsiteX10705" fmla="*/ 1998101 w 10505529"/>
              <a:gd name="connsiteY10705" fmla="*/ 5697376 h 7458372"/>
              <a:gd name="connsiteX10706" fmla="*/ 2000764 w 10505529"/>
              <a:gd name="connsiteY10706" fmla="*/ 5693117 h 7458372"/>
              <a:gd name="connsiteX10707" fmla="*/ 2001695 w 10505529"/>
              <a:gd name="connsiteY10707" fmla="*/ 5687659 h 7458372"/>
              <a:gd name="connsiteX10708" fmla="*/ 2000764 w 10505529"/>
              <a:gd name="connsiteY10708" fmla="*/ 5682467 h 7458372"/>
              <a:gd name="connsiteX10709" fmla="*/ 1998101 w 10505529"/>
              <a:gd name="connsiteY10709" fmla="*/ 5678341 h 7458372"/>
              <a:gd name="connsiteX10710" fmla="*/ 1994108 w 10505529"/>
              <a:gd name="connsiteY10710" fmla="*/ 5675678 h 7458372"/>
              <a:gd name="connsiteX10711" fmla="*/ 1989049 w 10505529"/>
              <a:gd name="connsiteY10711" fmla="*/ 5674747 h 7458372"/>
              <a:gd name="connsiteX10712" fmla="*/ 1771416 w 10505529"/>
              <a:gd name="connsiteY10712" fmla="*/ 5674747 h 7458372"/>
              <a:gd name="connsiteX10713" fmla="*/ 1761434 w 10505529"/>
              <a:gd name="connsiteY10713" fmla="*/ 5678341 h 7458372"/>
              <a:gd name="connsiteX10714" fmla="*/ 1757840 w 10505529"/>
              <a:gd name="connsiteY10714" fmla="*/ 5687792 h 7458372"/>
              <a:gd name="connsiteX10715" fmla="*/ 1761434 w 10505529"/>
              <a:gd name="connsiteY10715" fmla="*/ 5697243 h 7458372"/>
              <a:gd name="connsiteX10716" fmla="*/ 1771416 w 10505529"/>
              <a:gd name="connsiteY10716" fmla="*/ 5700705 h 7458372"/>
              <a:gd name="connsiteX10717" fmla="*/ 1776740 w 10505529"/>
              <a:gd name="connsiteY10717" fmla="*/ 5699773 h 7458372"/>
              <a:gd name="connsiteX10718" fmla="*/ 1780467 w 10505529"/>
              <a:gd name="connsiteY10718" fmla="*/ 5697376 h 7458372"/>
              <a:gd name="connsiteX10719" fmla="*/ 1783129 w 10505529"/>
              <a:gd name="connsiteY10719" fmla="*/ 5693117 h 7458372"/>
              <a:gd name="connsiteX10720" fmla="*/ 1784194 w 10505529"/>
              <a:gd name="connsiteY10720" fmla="*/ 5687659 h 7458372"/>
              <a:gd name="connsiteX10721" fmla="*/ 1783129 w 10505529"/>
              <a:gd name="connsiteY10721" fmla="*/ 5682467 h 7458372"/>
              <a:gd name="connsiteX10722" fmla="*/ 1780467 w 10505529"/>
              <a:gd name="connsiteY10722" fmla="*/ 5678341 h 7458372"/>
              <a:gd name="connsiteX10723" fmla="*/ 1776475 w 10505529"/>
              <a:gd name="connsiteY10723" fmla="*/ 5675678 h 7458372"/>
              <a:gd name="connsiteX10724" fmla="*/ 1771416 w 10505529"/>
              <a:gd name="connsiteY10724" fmla="*/ 5674747 h 7458372"/>
              <a:gd name="connsiteX10725" fmla="*/ 1553779 w 10505529"/>
              <a:gd name="connsiteY10725" fmla="*/ 5674747 h 7458372"/>
              <a:gd name="connsiteX10726" fmla="*/ 1543796 w 10505529"/>
              <a:gd name="connsiteY10726" fmla="*/ 5678341 h 7458372"/>
              <a:gd name="connsiteX10727" fmla="*/ 1540201 w 10505529"/>
              <a:gd name="connsiteY10727" fmla="*/ 5687792 h 7458372"/>
              <a:gd name="connsiteX10728" fmla="*/ 1543796 w 10505529"/>
              <a:gd name="connsiteY10728" fmla="*/ 5697243 h 7458372"/>
              <a:gd name="connsiteX10729" fmla="*/ 1553779 w 10505529"/>
              <a:gd name="connsiteY10729" fmla="*/ 5700705 h 7458372"/>
              <a:gd name="connsiteX10730" fmla="*/ 1559104 w 10505529"/>
              <a:gd name="connsiteY10730" fmla="*/ 5699773 h 7458372"/>
              <a:gd name="connsiteX10731" fmla="*/ 1562831 w 10505529"/>
              <a:gd name="connsiteY10731" fmla="*/ 5697376 h 7458372"/>
              <a:gd name="connsiteX10732" fmla="*/ 1565494 w 10505529"/>
              <a:gd name="connsiteY10732" fmla="*/ 5693117 h 7458372"/>
              <a:gd name="connsiteX10733" fmla="*/ 1566559 w 10505529"/>
              <a:gd name="connsiteY10733" fmla="*/ 5687659 h 7458372"/>
              <a:gd name="connsiteX10734" fmla="*/ 1565494 w 10505529"/>
              <a:gd name="connsiteY10734" fmla="*/ 5682467 h 7458372"/>
              <a:gd name="connsiteX10735" fmla="*/ 1562831 w 10505529"/>
              <a:gd name="connsiteY10735" fmla="*/ 5678341 h 7458372"/>
              <a:gd name="connsiteX10736" fmla="*/ 1558837 w 10505529"/>
              <a:gd name="connsiteY10736" fmla="*/ 5675678 h 7458372"/>
              <a:gd name="connsiteX10737" fmla="*/ 1553779 w 10505529"/>
              <a:gd name="connsiteY10737" fmla="*/ 5674747 h 7458372"/>
              <a:gd name="connsiteX10738" fmla="*/ 1336135 w 10505529"/>
              <a:gd name="connsiteY10738" fmla="*/ 5674747 h 7458372"/>
              <a:gd name="connsiteX10739" fmla="*/ 1326151 w 10505529"/>
              <a:gd name="connsiteY10739" fmla="*/ 5678341 h 7458372"/>
              <a:gd name="connsiteX10740" fmla="*/ 1322557 w 10505529"/>
              <a:gd name="connsiteY10740" fmla="*/ 5687792 h 7458372"/>
              <a:gd name="connsiteX10741" fmla="*/ 1326151 w 10505529"/>
              <a:gd name="connsiteY10741" fmla="*/ 5697243 h 7458372"/>
              <a:gd name="connsiteX10742" fmla="*/ 1336135 w 10505529"/>
              <a:gd name="connsiteY10742" fmla="*/ 5700705 h 7458372"/>
              <a:gd name="connsiteX10743" fmla="*/ 1341462 w 10505529"/>
              <a:gd name="connsiteY10743" fmla="*/ 5699773 h 7458372"/>
              <a:gd name="connsiteX10744" fmla="*/ 1345189 w 10505529"/>
              <a:gd name="connsiteY10744" fmla="*/ 5697376 h 7458372"/>
              <a:gd name="connsiteX10745" fmla="*/ 1347851 w 10505529"/>
              <a:gd name="connsiteY10745" fmla="*/ 5693117 h 7458372"/>
              <a:gd name="connsiteX10746" fmla="*/ 1348917 w 10505529"/>
              <a:gd name="connsiteY10746" fmla="*/ 5687659 h 7458372"/>
              <a:gd name="connsiteX10747" fmla="*/ 1347851 w 10505529"/>
              <a:gd name="connsiteY10747" fmla="*/ 5682467 h 7458372"/>
              <a:gd name="connsiteX10748" fmla="*/ 1345189 w 10505529"/>
              <a:gd name="connsiteY10748" fmla="*/ 5678341 h 7458372"/>
              <a:gd name="connsiteX10749" fmla="*/ 1341194 w 10505529"/>
              <a:gd name="connsiteY10749" fmla="*/ 5675678 h 7458372"/>
              <a:gd name="connsiteX10750" fmla="*/ 1336135 w 10505529"/>
              <a:gd name="connsiteY10750" fmla="*/ 5674747 h 7458372"/>
              <a:gd name="connsiteX10751" fmla="*/ 1118623 w 10505529"/>
              <a:gd name="connsiteY10751" fmla="*/ 5674747 h 7458372"/>
              <a:gd name="connsiteX10752" fmla="*/ 1108637 w 10505529"/>
              <a:gd name="connsiteY10752" fmla="*/ 5678341 h 7458372"/>
              <a:gd name="connsiteX10753" fmla="*/ 1104910 w 10505529"/>
              <a:gd name="connsiteY10753" fmla="*/ 5687792 h 7458372"/>
              <a:gd name="connsiteX10754" fmla="*/ 1108505 w 10505529"/>
              <a:gd name="connsiteY10754" fmla="*/ 5697243 h 7458372"/>
              <a:gd name="connsiteX10755" fmla="*/ 1118490 w 10505529"/>
              <a:gd name="connsiteY10755" fmla="*/ 5700705 h 7458372"/>
              <a:gd name="connsiteX10756" fmla="*/ 1123946 w 10505529"/>
              <a:gd name="connsiteY10756" fmla="*/ 5699773 h 7458372"/>
              <a:gd name="connsiteX10757" fmla="*/ 1127678 w 10505529"/>
              <a:gd name="connsiteY10757" fmla="*/ 5697376 h 7458372"/>
              <a:gd name="connsiteX10758" fmla="*/ 1130341 w 10505529"/>
              <a:gd name="connsiteY10758" fmla="*/ 5693117 h 7458372"/>
              <a:gd name="connsiteX10759" fmla="*/ 1131406 w 10505529"/>
              <a:gd name="connsiteY10759" fmla="*/ 5687659 h 7458372"/>
              <a:gd name="connsiteX10760" fmla="*/ 1130341 w 10505529"/>
              <a:gd name="connsiteY10760" fmla="*/ 5682467 h 7458372"/>
              <a:gd name="connsiteX10761" fmla="*/ 1127678 w 10505529"/>
              <a:gd name="connsiteY10761" fmla="*/ 5678341 h 7458372"/>
              <a:gd name="connsiteX10762" fmla="*/ 1123681 w 10505529"/>
              <a:gd name="connsiteY10762" fmla="*/ 5675678 h 7458372"/>
              <a:gd name="connsiteX10763" fmla="*/ 1118623 w 10505529"/>
              <a:gd name="connsiteY10763" fmla="*/ 5674747 h 7458372"/>
              <a:gd name="connsiteX10764" fmla="*/ 901111 w 10505529"/>
              <a:gd name="connsiteY10764" fmla="*/ 5674747 h 7458372"/>
              <a:gd name="connsiteX10765" fmla="*/ 891127 w 10505529"/>
              <a:gd name="connsiteY10765" fmla="*/ 5678341 h 7458372"/>
              <a:gd name="connsiteX10766" fmla="*/ 887400 w 10505529"/>
              <a:gd name="connsiteY10766" fmla="*/ 5687792 h 7458372"/>
              <a:gd name="connsiteX10767" fmla="*/ 890994 w 10505529"/>
              <a:gd name="connsiteY10767" fmla="*/ 5697243 h 7458372"/>
              <a:gd name="connsiteX10768" fmla="*/ 900977 w 10505529"/>
              <a:gd name="connsiteY10768" fmla="*/ 5700705 h 7458372"/>
              <a:gd name="connsiteX10769" fmla="*/ 906435 w 10505529"/>
              <a:gd name="connsiteY10769" fmla="*/ 5699773 h 7458372"/>
              <a:gd name="connsiteX10770" fmla="*/ 910163 w 10505529"/>
              <a:gd name="connsiteY10770" fmla="*/ 5697376 h 7458372"/>
              <a:gd name="connsiteX10771" fmla="*/ 912825 w 10505529"/>
              <a:gd name="connsiteY10771" fmla="*/ 5693117 h 7458372"/>
              <a:gd name="connsiteX10772" fmla="*/ 913890 w 10505529"/>
              <a:gd name="connsiteY10772" fmla="*/ 5687659 h 7458372"/>
              <a:gd name="connsiteX10773" fmla="*/ 912825 w 10505529"/>
              <a:gd name="connsiteY10773" fmla="*/ 5682467 h 7458372"/>
              <a:gd name="connsiteX10774" fmla="*/ 910163 w 10505529"/>
              <a:gd name="connsiteY10774" fmla="*/ 5678341 h 7458372"/>
              <a:gd name="connsiteX10775" fmla="*/ 906169 w 10505529"/>
              <a:gd name="connsiteY10775" fmla="*/ 5675678 h 7458372"/>
              <a:gd name="connsiteX10776" fmla="*/ 901111 w 10505529"/>
              <a:gd name="connsiteY10776" fmla="*/ 5674747 h 7458372"/>
              <a:gd name="connsiteX10777" fmla="*/ 683337 w 10505529"/>
              <a:gd name="connsiteY10777" fmla="*/ 5674747 h 7458372"/>
              <a:gd name="connsiteX10778" fmla="*/ 673353 w 10505529"/>
              <a:gd name="connsiteY10778" fmla="*/ 5678341 h 7458372"/>
              <a:gd name="connsiteX10779" fmla="*/ 669760 w 10505529"/>
              <a:gd name="connsiteY10779" fmla="*/ 5687792 h 7458372"/>
              <a:gd name="connsiteX10780" fmla="*/ 673353 w 10505529"/>
              <a:gd name="connsiteY10780" fmla="*/ 5697243 h 7458372"/>
              <a:gd name="connsiteX10781" fmla="*/ 683337 w 10505529"/>
              <a:gd name="connsiteY10781" fmla="*/ 5700705 h 7458372"/>
              <a:gd name="connsiteX10782" fmla="*/ 688662 w 10505529"/>
              <a:gd name="connsiteY10782" fmla="*/ 5699773 h 7458372"/>
              <a:gd name="connsiteX10783" fmla="*/ 692389 w 10505529"/>
              <a:gd name="connsiteY10783" fmla="*/ 5697376 h 7458372"/>
              <a:gd name="connsiteX10784" fmla="*/ 695052 w 10505529"/>
              <a:gd name="connsiteY10784" fmla="*/ 5693117 h 7458372"/>
              <a:gd name="connsiteX10785" fmla="*/ 696117 w 10505529"/>
              <a:gd name="connsiteY10785" fmla="*/ 5687659 h 7458372"/>
              <a:gd name="connsiteX10786" fmla="*/ 695052 w 10505529"/>
              <a:gd name="connsiteY10786" fmla="*/ 5682467 h 7458372"/>
              <a:gd name="connsiteX10787" fmla="*/ 692389 w 10505529"/>
              <a:gd name="connsiteY10787" fmla="*/ 5678341 h 7458372"/>
              <a:gd name="connsiteX10788" fmla="*/ 688396 w 10505529"/>
              <a:gd name="connsiteY10788" fmla="*/ 5675678 h 7458372"/>
              <a:gd name="connsiteX10789" fmla="*/ 683337 w 10505529"/>
              <a:gd name="connsiteY10789" fmla="*/ 5674747 h 7458372"/>
              <a:gd name="connsiteX10790" fmla="*/ 465695 w 10505529"/>
              <a:gd name="connsiteY10790" fmla="*/ 5674747 h 7458372"/>
              <a:gd name="connsiteX10791" fmla="*/ 455712 w 10505529"/>
              <a:gd name="connsiteY10791" fmla="*/ 5678341 h 7458372"/>
              <a:gd name="connsiteX10792" fmla="*/ 452118 w 10505529"/>
              <a:gd name="connsiteY10792" fmla="*/ 5687792 h 7458372"/>
              <a:gd name="connsiteX10793" fmla="*/ 455712 w 10505529"/>
              <a:gd name="connsiteY10793" fmla="*/ 5697243 h 7458372"/>
              <a:gd name="connsiteX10794" fmla="*/ 465695 w 10505529"/>
              <a:gd name="connsiteY10794" fmla="*/ 5700705 h 7458372"/>
              <a:gd name="connsiteX10795" fmla="*/ 471021 w 10505529"/>
              <a:gd name="connsiteY10795" fmla="*/ 5699773 h 7458372"/>
              <a:gd name="connsiteX10796" fmla="*/ 474748 w 10505529"/>
              <a:gd name="connsiteY10796" fmla="*/ 5697376 h 7458372"/>
              <a:gd name="connsiteX10797" fmla="*/ 477411 w 10505529"/>
              <a:gd name="connsiteY10797" fmla="*/ 5693117 h 7458372"/>
              <a:gd name="connsiteX10798" fmla="*/ 478476 w 10505529"/>
              <a:gd name="connsiteY10798" fmla="*/ 5687659 h 7458372"/>
              <a:gd name="connsiteX10799" fmla="*/ 477411 w 10505529"/>
              <a:gd name="connsiteY10799" fmla="*/ 5682467 h 7458372"/>
              <a:gd name="connsiteX10800" fmla="*/ 474748 w 10505529"/>
              <a:gd name="connsiteY10800" fmla="*/ 5678341 h 7458372"/>
              <a:gd name="connsiteX10801" fmla="*/ 470755 w 10505529"/>
              <a:gd name="connsiteY10801" fmla="*/ 5675678 h 7458372"/>
              <a:gd name="connsiteX10802" fmla="*/ 465695 w 10505529"/>
              <a:gd name="connsiteY10802" fmla="*/ 5674747 h 7458372"/>
              <a:gd name="connsiteX10803" fmla="*/ 248054 w 10505529"/>
              <a:gd name="connsiteY10803" fmla="*/ 5674747 h 7458372"/>
              <a:gd name="connsiteX10804" fmla="*/ 238072 w 10505529"/>
              <a:gd name="connsiteY10804" fmla="*/ 5678341 h 7458372"/>
              <a:gd name="connsiteX10805" fmla="*/ 234478 w 10505529"/>
              <a:gd name="connsiteY10805" fmla="*/ 5687792 h 7458372"/>
              <a:gd name="connsiteX10806" fmla="*/ 238072 w 10505529"/>
              <a:gd name="connsiteY10806" fmla="*/ 5697243 h 7458372"/>
              <a:gd name="connsiteX10807" fmla="*/ 248054 w 10505529"/>
              <a:gd name="connsiteY10807" fmla="*/ 5700705 h 7458372"/>
              <a:gd name="connsiteX10808" fmla="*/ 253379 w 10505529"/>
              <a:gd name="connsiteY10808" fmla="*/ 5699773 h 7458372"/>
              <a:gd name="connsiteX10809" fmla="*/ 257105 w 10505529"/>
              <a:gd name="connsiteY10809" fmla="*/ 5697376 h 7458372"/>
              <a:gd name="connsiteX10810" fmla="*/ 259768 w 10505529"/>
              <a:gd name="connsiteY10810" fmla="*/ 5693117 h 7458372"/>
              <a:gd name="connsiteX10811" fmla="*/ 260833 w 10505529"/>
              <a:gd name="connsiteY10811" fmla="*/ 5687659 h 7458372"/>
              <a:gd name="connsiteX10812" fmla="*/ 259768 w 10505529"/>
              <a:gd name="connsiteY10812" fmla="*/ 5682467 h 7458372"/>
              <a:gd name="connsiteX10813" fmla="*/ 257105 w 10505529"/>
              <a:gd name="connsiteY10813" fmla="*/ 5678341 h 7458372"/>
              <a:gd name="connsiteX10814" fmla="*/ 253113 w 10505529"/>
              <a:gd name="connsiteY10814" fmla="*/ 5675678 h 7458372"/>
              <a:gd name="connsiteX10815" fmla="*/ 248054 w 10505529"/>
              <a:gd name="connsiteY10815" fmla="*/ 5674747 h 7458372"/>
              <a:gd name="connsiteX10816" fmla="*/ 30413 w 10505529"/>
              <a:gd name="connsiteY10816" fmla="*/ 5674747 h 7458372"/>
              <a:gd name="connsiteX10817" fmla="*/ 20429 w 10505529"/>
              <a:gd name="connsiteY10817" fmla="*/ 5678341 h 7458372"/>
              <a:gd name="connsiteX10818" fmla="*/ 16836 w 10505529"/>
              <a:gd name="connsiteY10818" fmla="*/ 5687792 h 7458372"/>
              <a:gd name="connsiteX10819" fmla="*/ 20429 w 10505529"/>
              <a:gd name="connsiteY10819" fmla="*/ 5697243 h 7458372"/>
              <a:gd name="connsiteX10820" fmla="*/ 30413 w 10505529"/>
              <a:gd name="connsiteY10820" fmla="*/ 5700705 h 7458372"/>
              <a:gd name="connsiteX10821" fmla="*/ 35738 w 10505529"/>
              <a:gd name="connsiteY10821" fmla="*/ 5699773 h 7458372"/>
              <a:gd name="connsiteX10822" fmla="*/ 39465 w 10505529"/>
              <a:gd name="connsiteY10822" fmla="*/ 5697376 h 7458372"/>
              <a:gd name="connsiteX10823" fmla="*/ 42128 w 10505529"/>
              <a:gd name="connsiteY10823" fmla="*/ 5693117 h 7458372"/>
              <a:gd name="connsiteX10824" fmla="*/ 43059 w 10505529"/>
              <a:gd name="connsiteY10824" fmla="*/ 5687659 h 7458372"/>
              <a:gd name="connsiteX10825" fmla="*/ 42128 w 10505529"/>
              <a:gd name="connsiteY10825" fmla="*/ 5682467 h 7458372"/>
              <a:gd name="connsiteX10826" fmla="*/ 39465 w 10505529"/>
              <a:gd name="connsiteY10826" fmla="*/ 5678341 h 7458372"/>
              <a:gd name="connsiteX10827" fmla="*/ 35472 w 10505529"/>
              <a:gd name="connsiteY10827" fmla="*/ 5675678 h 7458372"/>
              <a:gd name="connsiteX10828" fmla="*/ 30413 w 10505529"/>
              <a:gd name="connsiteY10828" fmla="*/ 5674747 h 7458372"/>
              <a:gd name="connsiteX10829" fmla="*/ 10475977 w 10505529"/>
              <a:gd name="connsiteY10829" fmla="*/ 5658107 h 7458372"/>
              <a:gd name="connsiteX10830" fmla="*/ 10487824 w 10505529"/>
              <a:gd name="connsiteY10830" fmla="*/ 5660636 h 7458372"/>
              <a:gd name="connsiteX10831" fmla="*/ 10497143 w 10505529"/>
              <a:gd name="connsiteY10831" fmla="*/ 5667026 h 7458372"/>
              <a:gd name="connsiteX10832" fmla="*/ 10503266 w 10505529"/>
              <a:gd name="connsiteY10832" fmla="*/ 5676344 h 7458372"/>
              <a:gd name="connsiteX10833" fmla="*/ 10505529 w 10505529"/>
              <a:gd name="connsiteY10833" fmla="*/ 5687792 h 7458372"/>
              <a:gd name="connsiteX10834" fmla="*/ 10503266 w 10505529"/>
              <a:gd name="connsiteY10834" fmla="*/ 5699507 h 7458372"/>
              <a:gd name="connsiteX10835" fmla="*/ 10497143 w 10505529"/>
              <a:gd name="connsiteY10835" fmla="*/ 5708825 h 7458372"/>
              <a:gd name="connsiteX10836" fmla="*/ 10487824 w 10505529"/>
              <a:gd name="connsiteY10836" fmla="*/ 5715082 h 7458372"/>
              <a:gd name="connsiteX10837" fmla="*/ 10475977 w 10505529"/>
              <a:gd name="connsiteY10837" fmla="*/ 5717344 h 7458372"/>
              <a:gd name="connsiteX10838" fmla="*/ 10454145 w 10505529"/>
              <a:gd name="connsiteY10838" fmla="*/ 5708825 h 7458372"/>
              <a:gd name="connsiteX10839" fmla="*/ 10445759 w 10505529"/>
              <a:gd name="connsiteY10839" fmla="*/ 5687659 h 7458372"/>
              <a:gd name="connsiteX10840" fmla="*/ 10454145 w 10505529"/>
              <a:gd name="connsiteY10840" fmla="*/ 5666626 h 7458372"/>
              <a:gd name="connsiteX10841" fmla="*/ 10475977 w 10505529"/>
              <a:gd name="connsiteY10841" fmla="*/ 5658107 h 7458372"/>
              <a:gd name="connsiteX10842" fmla="*/ 10258466 w 10505529"/>
              <a:gd name="connsiteY10842" fmla="*/ 5658107 h 7458372"/>
              <a:gd name="connsiteX10843" fmla="*/ 10270313 w 10505529"/>
              <a:gd name="connsiteY10843" fmla="*/ 5660636 h 7458372"/>
              <a:gd name="connsiteX10844" fmla="*/ 10279631 w 10505529"/>
              <a:gd name="connsiteY10844" fmla="*/ 5667026 h 7458372"/>
              <a:gd name="connsiteX10845" fmla="*/ 10285754 w 10505529"/>
              <a:gd name="connsiteY10845" fmla="*/ 5676344 h 7458372"/>
              <a:gd name="connsiteX10846" fmla="*/ 10288017 w 10505529"/>
              <a:gd name="connsiteY10846" fmla="*/ 5687792 h 7458372"/>
              <a:gd name="connsiteX10847" fmla="*/ 10285754 w 10505529"/>
              <a:gd name="connsiteY10847" fmla="*/ 5699507 h 7458372"/>
              <a:gd name="connsiteX10848" fmla="*/ 10279631 w 10505529"/>
              <a:gd name="connsiteY10848" fmla="*/ 5708825 h 7458372"/>
              <a:gd name="connsiteX10849" fmla="*/ 10270313 w 10505529"/>
              <a:gd name="connsiteY10849" fmla="*/ 5715082 h 7458372"/>
              <a:gd name="connsiteX10850" fmla="*/ 10258466 w 10505529"/>
              <a:gd name="connsiteY10850" fmla="*/ 5717344 h 7458372"/>
              <a:gd name="connsiteX10851" fmla="*/ 10236633 w 10505529"/>
              <a:gd name="connsiteY10851" fmla="*/ 5708825 h 7458372"/>
              <a:gd name="connsiteX10852" fmla="*/ 10228247 w 10505529"/>
              <a:gd name="connsiteY10852" fmla="*/ 5687659 h 7458372"/>
              <a:gd name="connsiteX10853" fmla="*/ 10236633 w 10505529"/>
              <a:gd name="connsiteY10853" fmla="*/ 5666626 h 7458372"/>
              <a:gd name="connsiteX10854" fmla="*/ 10258466 w 10505529"/>
              <a:gd name="connsiteY10854" fmla="*/ 5658107 h 7458372"/>
              <a:gd name="connsiteX10855" fmla="*/ 10040820 w 10505529"/>
              <a:gd name="connsiteY10855" fmla="*/ 5658107 h 7458372"/>
              <a:gd name="connsiteX10856" fmla="*/ 10052534 w 10505529"/>
              <a:gd name="connsiteY10856" fmla="*/ 5660636 h 7458372"/>
              <a:gd name="connsiteX10857" fmla="*/ 10061852 w 10505529"/>
              <a:gd name="connsiteY10857" fmla="*/ 5667026 h 7458372"/>
              <a:gd name="connsiteX10858" fmla="*/ 10067976 w 10505529"/>
              <a:gd name="connsiteY10858" fmla="*/ 5676344 h 7458372"/>
              <a:gd name="connsiteX10859" fmla="*/ 10070239 w 10505529"/>
              <a:gd name="connsiteY10859" fmla="*/ 5687792 h 7458372"/>
              <a:gd name="connsiteX10860" fmla="*/ 10067976 w 10505529"/>
              <a:gd name="connsiteY10860" fmla="*/ 5699507 h 7458372"/>
              <a:gd name="connsiteX10861" fmla="*/ 10061852 w 10505529"/>
              <a:gd name="connsiteY10861" fmla="*/ 5708825 h 7458372"/>
              <a:gd name="connsiteX10862" fmla="*/ 10052534 w 10505529"/>
              <a:gd name="connsiteY10862" fmla="*/ 5715082 h 7458372"/>
              <a:gd name="connsiteX10863" fmla="*/ 10040820 w 10505529"/>
              <a:gd name="connsiteY10863" fmla="*/ 5717344 h 7458372"/>
              <a:gd name="connsiteX10864" fmla="*/ 10018988 w 10505529"/>
              <a:gd name="connsiteY10864" fmla="*/ 5708825 h 7458372"/>
              <a:gd name="connsiteX10865" fmla="*/ 10010602 w 10505529"/>
              <a:gd name="connsiteY10865" fmla="*/ 5687659 h 7458372"/>
              <a:gd name="connsiteX10866" fmla="*/ 10018988 w 10505529"/>
              <a:gd name="connsiteY10866" fmla="*/ 5666626 h 7458372"/>
              <a:gd name="connsiteX10867" fmla="*/ 10040820 w 10505529"/>
              <a:gd name="connsiteY10867" fmla="*/ 5658107 h 7458372"/>
              <a:gd name="connsiteX10868" fmla="*/ 9823176 w 10505529"/>
              <a:gd name="connsiteY10868" fmla="*/ 5658107 h 7458372"/>
              <a:gd name="connsiteX10869" fmla="*/ 9834890 w 10505529"/>
              <a:gd name="connsiteY10869" fmla="*/ 5660636 h 7458372"/>
              <a:gd name="connsiteX10870" fmla="*/ 9844208 w 10505529"/>
              <a:gd name="connsiteY10870" fmla="*/ 5667026 h 7458372"/>
              <a:gd name="connsiteX10871" fmla="*/ 9850331 w 10505529"/>
              <a:gd name="connsiteY10871" fmla="*/ 5676344 h 7458372"/>
              <a:gd name="connsiteX10872" fmla="*/ 9852595 w 10505529"/>
              <a:gd name="connsiteY10872" fmla="*/ 5687792 h 7458372"/>
              <a:gd name="connsiteX10873" fmla="*/ 9850331 w 10505529"/>
              <a:gd name="connsiteY10873" fmla="*/ 5699507 h 7458372"/>
              <a:gd name="connsiteX10874" fmla="*/ 9844208 w 10505529"/>
              <a:gd name="connsiteY10874" fmla="*/ 5708825 h 7458372"/>
              <a:gd name="connsiteX10875" fmla="*/ 9834890 w 10505529"/>
              <a:gd name="connsiteY10875" fmla="*/ 5715082 h 7458372"/>
              <a:gd name="connsiteX10876" fmla="*/ 9823176 w 10505529"/>
              <a:gd name="connsiteY10876" fmla="*/ 5717344 h 7458372"/>
              <a:gd name="connsiteX10877" fmla="*/ 9801343 w 10505529"/>
              <a:gd name="connsiteY10877" fmla="*/ 5708825 h 7458372"/>
              <a:gd name="connsiteX10878" fmla="*/ 9792957 w 10505529"/>
              <a:gd name="connsiteY10878" fmla="*/ 5687659 h 7458372"/>
              <a:gd name="connsiteX10879" fmla="*/ 9801343 w 10505529"/>
              <a:gd name="connsiteY10879" fmla="*/ 5666626 h 7458372"/>
              <a:gd name="connsiteX10880" fmla="*/ 9823176 w 10505529"/>
              <a:gd name="connsiteY10880" fmla="*/ 5658107 h 7458372"/>
              <a:gd name="connsiteX10881" fmla="*/ 9605531 w 10505529"/>
              <a:gd name="connsiteY10881" fmla="*/ 5658107 h 7458372"/>
              <a:gd name="connsiteX10882" fmla="*/ 9617245 w 10505529"/>
              <a:gd name="connsiteY10882" fmla="*/ 5660636 h 7458372"/>
              <a:gd name="connsiteX10883" fmla="*/ 9626562 w 10505529"/>
              <a:gd name="connsiteY10883" fmla="*/ 5667026 h 7458372"/>
              <a:gd name="connsiteX10884" fmla="*/ 9632686 w 10505529"/>
              <a:gd name="connsiteY10884" fmla="*/ 5676344 h 7458372"/>
              <a:gd name="connsiteX10885" fmla="*/ 9634949 w 10505529"/>
              <a:gd name="connsiteY10885" fmla="*/ 5687792 h 7458372"/>
              <a:gd name="connsiteX10886" fmla="*/ 9632686 w 10505529"/>
              <a:gd name="connsiteY10886" fmla="*/ 5699507 h 7458372"/>
              <a:gd name="connsiteX10887" fmla="*/ 9626562 w 10505529"/>
              <a:gd name="connsiteY10887" fmla="*/ 5708825 h 7458372"/>
              <a:gd name="connsiteX10888" fmla="*/ 9617245 w 10505529"/>
              <a:gd name="connsiteY10888" fmla="*/ 5715082 h 7458372"/>
              <a:gd name="connsiteX10889" fmla="*/ 9605531 w 10505529"/>
              <a:gd name="connsiteY10889" fmla="*/ 5717344 h 7458372"/>
              <a:gd name="connsiteX10890" fmla="*/ 9583698 w 10505529"/>
              <a:gd name="connsiteY10890" fmla="*/ 5708825 h 7458372"/>
              <a:gd name="connsiteX10891" fmla="*/ 9575312 w 10505529"/>
              <a:gd name="connsiteY10891" fmla="*/ 5687659 h 7458372"/>
              <a:gd name="connsiteX10892" fmla="*/ 9583698 w 10505529"/>
              <a:gd name="connsiteY10892" fmla="*/ 5666626 h 7458372"/>
              <a:gd name="connsiteX10893" fmla="*/ 9605531 w 10505529"/>
              <a:gd name="connsiteY10893" fmla="*/ 5658107 h 7458372"/>
              <a:gd name="connsiteX10894" fmla="*/ 9387885 w 10505529"/>
              <a:gd name="connsiteY10894" fmla="*/ 5658107 h 7458372"/>
              <a:gd name="connsiteX10895" fmla="*/ 9399599 w 10505529"/>
              <a:gd name="connsiteY10895" fmla="*/ 5660636 h 7458372"/>
              <a:gd name="connsiteX10896" fmla="*/ 9408917 w 10505529"/>
              <a:gd name="connsiteY10896" fmla="*/ 5667026 h 7458372"/>
              <a:gd name="connsiteX10897" fmla="*/ 9415041 w 10505529"/>
              <a:gd name="connsiteY10897" fmla="*/ 5676344 h 7458372"/>
              <a:gd name="connsiteX10898" fmla="*/ 9417304 w 10505529"/>
              <a:gd name="connsiteY10898" fmla="*/ 5687792 h 7458372"/>
              <a:gd name="connsiteX10899" fmla="*/ 9415041 w 10505529"/>
              <a:gd name="connsiteY10899" fmla="*/ 5699507 h 7458372"/>
              <a:gd name="connsiteX10900" fmla="*/ 9408917 w 10505529"/>
              <a:gd name="connsiteY10900" fmla="*/ 5708825 h 7458372"/>
              <a:gd name="connsiteX10901" fmla="*/ 9399599 w 10505529"/>
              <a:gd name="connsiteY10901" fmla="*/ 5715082 h 7458372"/>
              <a:gd name="connsiteX10902" fmla="*/ 9387885 w 10505529"/>
              <a:gd name="connsiteY10902" fmla="*/ 5717344 h 7458372"/>
              <a:gd name="connsiteX10903" fmla="*/ 9366053 w 10505529"/>
              <a:gd name="connsiteY10903" fmla="*/ 5708825 h 7458372"/>
              <a:gd name="connsiteX10904" fmla="*/ 9357667 w 10505529"/>
              <a:gd name="connsiteY10904" fmla="*/ 5687659 h 7458372"/>
              <a:gd name="connsiteX10905" fmla="*/ 9366053 w 10505529"/>
              <a:gd name="connsiteY10905" fmla="*/ 5666626 h 7458372"/>
              <a:gd name="connsiteX10906" fmla="*/ 9387885 w 10505529"/>
              <a:gd name="connsiteY10906" fmla="*/ 5658107 h 7458372"/>
              <a:gd name="connsiteX10907" fmla="*/ 9170374 w 10505529"/>
              <a:gd name="connsiteY10907" fmla="*/ 5658107 h 7458372"/>
              <a:gd name="connsiteX10908" fmla="*/ 9182088 w 10505529"/>
              <a:gd name="connsiteY10908" fmla="*/ 5660636 h 7458372"/>
              <a:gd name="connsiteX10909" fmla="*/ 9191405 w 10505529"/>
              <a:gd name="connsiteY10909" fmla="*/ 5667026 h 7458372"/>
              <a:gd name="connsiteX10910" fmla="*/ 9197529 w 10505529"/>
              <a:gd name="connsiteY10910" fmla="*/ 5676344 h 7458372"/>
              <a:gd name="connsiteX10911" fmla="*/ 9199792 w 10505529"/>
              <a:gd name="connsiteY10911" fmla="*/ 5687792 h 7458372"/>
              <a:gd name="connsiteX10912" fmla="*/ 9197529 w 10505529"/>
              <a:gd name="connsiteY10912" fmla="*/ 5699507 h 7458372"/>
              <a:gd name="connsiteX10913" fmla="*/ 9191405 w 10505529"/>
              <a:gd name="connsiteY10913" fmla="*/ 5708825 h 7458372"/>
              <a:gd name="connsiteX10914" fmla="*/ 9182088 w 10505529"/>
              <a:gd name="connsiteY10914" fmla="*/ 5715082 h 7458372"/>
              <a:gd name="connsiteX10915" fmla="*/ 9170374 w 10505529"/>
              <a:gd name="connsiteY10915" fmla="*/ 5717344 h 7458372"/>
              <a:gd name="connsiteX10916" fmla="*/ 9148541 w 10505529"/>
              <a:gd name="connsiteY10916" fmla="*/ 5708825 h 7458372"/>
              <a:gd name="connsiteX10917" fmla="*/ 9140155 w 10505529"/>
              <a:gd name="connsiteY10917" fmla="*/ 5687659 h 7458372"/>
              <a:gd name="connsiteX10918" fmla="*/ 9148541 w 10505529"/>
              <a:gd name="connsiteY10918" fmla="*/ 5666626 h 7458372"/>
              <a:gd name="connsiteX10919" fmla="*/ 9170374 w 10505529"/>
              <a:gd name="connsiteY10919" fmla="*/ 5658107 h 7458372"/>
              <a:gd name="connsiteX10920" fmla="*/ 8952728 w 10505529"/>
              <a:gd name="connsiteY10920" fmla="*/ 5658107 h 7458372"/>
              <a:gd name="connsiteX10921" fmla="*/ 8964442 w 10505529"/>
              <a:gd name="connsiteY10921" fmla="*/ 5660636 h 7458372"/>
              <a:gd name="connsiteX10922" fmla="*/ 8973760 w 10505529"/>
              <a:gd name="connsiteY10922" fmla="*/ 5667026 h 7458372"/>
              <a:gd name="connsiteX10923" fmla="*/ 8979884 w 10505529"/>
              <a:gd name="connsiteY10923" fmla="*/ 5676344 h 7458372"/>
              <a:gd name="connsiteX10924" fmla="*/ 8982147 w 10505529"/>
              <a:gd name="connsiteY10924" fmla="*/ 5687792 h 7458372"/>
              <a:gd name="connsiteX10925" fmla="*/ 8979884 w 10505529"/>
              <a:gd name="connsiteY10925" fmla="*/ 5699507 h 7458372"/>
              <a:gd name="connsiteX10926" fmla="*/ 8973760 w 10505529"/>
              <a:gd name="connsiteY10926" fmla="*/ 5708825 h 7458372"/>
              <a:gd name="connsiteX10927" fmla="*/ 8964442 w 10505529"/>
              <a:gd name="connsiteY10927" fmla="*/ 5715082 h 7458372"/>
              <a:gd name="connsiteX10928" fmla="*/ 8952728 w 10505529"/>
              <a:gd name="connsiteY10928" fmla="*/ 5717344 h 7458372"/>
              <a:gd name="connsiteX10929" fmla="*/ 8930896 w 10505529"/>
              <a:gd name="connsiteY10929" fmla="*/ 5708825 h 7458372"/>
              <a:gd name="connsiteX10930" fmla="*/ 8922510 w 10505529"/>
              <a:gd name="connsiteY10930" fmla="*/ 5687659 h 7458372"/>
              <a:gd name="connsiteX10931" fmla="*/ 8930896 w 10505529"/>
              <a:gd name="connsiteY10931" fmla="*/ 5666626 h 7458372"/>
              <a:gd name="connsiteX10932" fmla="*/ 8952728 w 10505529"/>
              <a:gd name="connsiteY10932" fmla="*/ 5658107 h 7458372"/>
              <a:gd name="connsiteX10933" fmla="*/ 8735083 w 10505529"/>
              <a:gd name="connsiteY10933" fmla="*/ 5658107 h 7458372"/>
              <a:gd name="connsiteX10934" fmla="*/ 8746797 w 10505529"/>
              <a:gd name="connsiteY10934" fmla="*/ 5660636 h 7458372"/>
              <a:gd name="connsiteX10935" fmla="*/ 8756115 w 10505529"/>
              <a:gd name="connsiteY10935" fmla="*/ 5667026 h 7458372"/>
              <a:gd name="connsiteX10936" fmla="*/ 8762238 w 10505529"/>
              <a:gd name="connsiteY10936" fmla="*/ 5676344 h 7458372"/>
              <a:gd name="connsiteX10937" fmla="*/ 8764502 w 10505529"/>
              <a:gd name="connsiteY10937" fmla="*/ 5687792 h 7458372"/>
              <a:gd name="connsiteX10938" fmla="*/ 8762238 w 10505529"/>
              <a:gd name="connsiteY10938" fmla="*/ 5699507 h 7458372"/>
              <a:gd name="connsiteX10939" fmla="*/ 8756115 w 10505529"/>
              <a:gd name="connsiteY10939" fmla="*/ 5708825 h 7458372"/>
              <a:gd name="connsiteX10940" fmla="*/ 8746797 w 10505529"/>
              <a:gd name="connsiteY10940" fmla="*/ 5715082 h 7458372"/>
              <a:gd name="connsiteX10941" fmla="*/ 8735083 w 10505529"/>
              <a:gd name="connsiteY10941" fmla="*/ 5717344 h 7458372"/>
              <a:gd name="connsiteX10942" fmla="*/ 8713250 w 10505529"/>
              <a:gd name="connsiteY10942" fmla="*/ 5708825 h 7458372"/>
              <a:gd name="connsiteX10943" fmla="*/ 8704864 w 10505529"/>
              <a:gd name="connsiteY10943" fmla="*/ 5687659 h 7458372"/>
              <a:gd name="connsiteX10944" fmla="*/ 8713250 w 10505529"/>
              <a:gd name="connsiteY10944" fmla="*/ 5666626 h 7458372"/>
              <a:gd name="connsiteX10945" fmla="*/ 8735083 w 10505529"/>
              <a:gd name="connsiteY10945" fmla="*/ 5658107 h 7458372"/>
              <a:gd name="connsiteX10946" fmla="*/ 8517438 w 10505529"/>
              <a:gd name="connsiteY10946" fmla="*/ 5658107 h 7458372"/>
              <a:gd name="connsiteX10947" fmla="*/ 8529152 w 10505529"/>
              <a:gd name="connsiteY10947" fmla="*/ 5660636 h 7458372"/>
              <a:gd name="connsiteX10948" fmla="*/ 8538470 w 10505529"/>
              <a:gd name="connsiteY10948" fmla="*/ 5667026 h 7458372"/>
              <a:gd name="connsiteX10949" fmla="*/ 8544594 w 10505529"/>
              <a:gd name="connsiteY10949" fmla="*/ 5676344 h 7458372"/>
              <a:gd name="connsiteX10950" fmla="*/ 8546857 w 10505529"/>
              <a:gd name="connsiteY10950" fmla="*/ 5687792 h 7458372"/>
              <a:gd name="connsiteX10951" fmla="*/ 8544594 w 10505529"/>
              <a:gd name="connsiteY10951" fmla="*/ 5699507 h 7458372"/>
              <a:gd name="connsiteX10952" fmla="*/ 8538470 w 10505529"/>
              <a:gd name="connsiteY10952" fmla="*/ 5708825 h 7458372"/>
              <a:gd name="connsiteX10953" fmla="*/ 8529152 w 10505529"/>
              <a:gd name="connsiteY10953" fmla="*/ 5715082 h 7458372"/>
              <a:gd name="connsiteX10954" fmla="*/ 8517438 w 10505529"/>
              <a:gd name="connsiteY10954" fmla="*/ 5717344 h 7458372"/>
              <a:gd name="connsiteX10955" fmla="*/ 8495606 w 10505529"/>
              <a:gd name="connsiteY10955" fmla="*/ 5708825 h 7458372"/>
              <a:gd name="connsiteX10956" fmla="*/ 8487220 w 10505529"/>
              <a:gd name="connsiteY10956" fmla="*/ 5687659 h 7458372"/>
              <a:gd name="connsiteX10957" fmla="*/ 8495606 w 10505529"/>
              <a:gd name="connsiteY10957" fmla="*/ 5666626 h 7458372"/>
              <a:gd name="connsiteX10958" fmla="*/ 8517438 w 10505529"/>
              <a:gd name="connsiteY10958" fmla="*/ 5658107 h 7458372"/>
              <a:gd name="connsiteX10959" fmla="*/ 8299793 w 10505529"/>
              <a:gd name="connsiteY10959" fmla="*/ 5658107 h 7458372"/>
              <a:gd name="connsiteX10960" fmla="*/ 8311507 w 10505529"/>
              <a:gd name="connsiteY10960" fmla="*/ 5660636 h 7458372"/>
              <a:gd name="connsiteX10961" fmla="*/ 8320825 w 10505529"/>
              <a:gd name="connsiteY10961" fmla="*/ 5667026 h 7458372"/>
              <a:gd name="connsiteX10962" fmla="*/ 8326948 w 10505529"/>
              <a:gd name="connsiteY10962" fmla="*/ 5676344 h 7458372"/>
              <a:gd name="connsiteX10963" fmla="*/ 8329212 w 10505529"/>
              <a:gd name="connsiteY10963" fmla="*/ 5687792 h 7458372"/>
              <a:gd name="connsiteX10964" fmla="*/ 8326948 w 10505529"/>
              <a:gd name="connsiteY10964" fmla="*/ 5699507 h 7458372"/>
              <a:gd name="connsiteX10965" fmla="*/ 8320825 w 10505529"/>
              <a:gd name="connsiteY10965" fmla="*/ 5708825 h 7458372"/>
              <a:gd name="connsiteX10966" fmla="*/ 8311507 w 10505529"/>
              <a:gd name="connsiteY10966" fmla="*/ 5715082 h 7458372"/>
              <a:gd name="connsiteX10967" fmla="*/ 8299793 w 10505529"/>
              <a:gd name="connsiteY10967" fmla="*/ 5717344 h 7458372"/>
              <a:gd name="connsiteX10968" fmla="*/ 8277960 w 10505529"/>
              <a:gd name="connsiteY10968" fmla="*/ 5708825 h 7458372"/>
              <a:gd name="connsiteX10969" fmla="*/ 8269574 w 10505529"/>
              <a:gd name="connsiteY10969" fmla="*/ 5687659 h 7458372"/>
              <a:gd name="connsiteX10970" fmla="*/ 8277960 w 10505529"/>
              <a:gd name="connsiteY10970" fmla="*/ 5666626 h 7458372"/>
              <a:gd name="connsiteX10971" fmla="*/ 8299793 w 10505529"/>
              <a:gd name="connsiteY10971" fmla="*/ 5658107 h 7458372"/>
              <a:gd name="connsiteX10972" fmla="*/ 8082281 w 10505529"/>
              <a:gd name="connsiteY10972" fmla="*/ 5658107 h 7458372"/>
              <a:gd name="connsiteX10973" fmla="*/ 8094127 w 10505529"/>
              <a:gd name="connsiteY10973" fmla="*/ 5660636 h 7458372"/>
              <a:gd name="connsiteX10974" fmla="*/ 8103446 w 10505529"/>
              <a:gd name="connsiteY10974" fmla="*/ 5667026 h 7458372"/>
              <a:gd name="connsiteX10975" fmla="*/ 8109569 w 10505529"/>
              <a:gd name="connsiteY10975" fmla="*/ 5676344 h 7458372"/>
              <a:gd name="connsiteX10976" fmla="*/ 8111832 w 10505529"/>
              <a:gd name="connsiteY10976" fmla="*/ 5687792 h 7458372"/>
              <a:gd name="connsiteX10977" fmla="*/ 8109569 w 10505529"/>
              <a:gd name="connsiteY10977" fmla="*/ 5699507 h 7458372"/>
              <a:gd name="connsiteX10978" fmla="*/ 8103446 w 10505529"/>
              <a:gd name="connsiteY10978" fmla="*/ 5708825 h 7458372"/>
              <a:gd name="connsiteX10979" fmla="*/ 8094127 w 10505529"/>
              <a:gd name="connsiteY10979" fmla="*/ 5715082 h 7458372"/>
              <a:gd name="connsiteX10980" fmla="*/ 8082281 w 10505529"/>
              <a:gd name="connsiteY10980" fmla="*/ 5717344 h 7458372"/>
              <a:gd name="connsiteX10981" fmla="*/ 8060448 w 10505529"/>
              <a:gd name="connsiteY10981" fmla="*/ 5708825 h 7458372"/>
              <a:gd name="connsiteX10982" fmla="*/ 8052062 w 10505529"/>
              <a:gd name="connsiteY10982" fmla="*/ 5687659 h 7458372"/>
              <a:gd name="connsiteX10983" fmla="*/ 8060448 w 10505529"/>
              <a:gd name="connsiteY10983" fmla="*/ 5666626 h 7458372"/>
              <a:gd name="connsiteX10984" fmla="*/ 8082281 w 10505529"/>
              <a:gd name="connsiteY10984" fmla="*/ 5658107 h 7458372"/>
              <a:gd name="connsiteX10985" fmla="*/ 7864636 w 10505529"/>
              <a:gd name="connsiteY10985" fmla="*/ 5658107 h 7458372"/>
              <a:gd name="connsiteX10986" fmla="*/ 7876483 w 10505529"/>
              <a:gd name="connsiteY10986" fmla="*/ 5660636 h 7458372"/>
              <a:gd name="connsiteX10987" fmla="*/ 7885802 w 10505529"/>
              <a:gd name="connsiteY10987" fmla="*/ 5667026 h 7458372"/>
              <a:gd name="connsiteX10988" fmla="*/ 7891924 w 10505529"/>
              <a:gd name="connsiteY10988" fmla="*/ 5676344 h 7458372"/>
              <a:gd name="connsiteX10989" fmla="*/ 7894188 w 10505529"/>
              <a:gd name="connsiteY10989" fmla="*/ 5687792 h 7458372"/>
              <a:gd name="connsiteX10990" fmla="*/ 7891924 w 10505529"/>
              <a:gd name="connsiteY10990" fmla="*/ 5699507 h 7458372"/>
              <a:gd name="connsiteX10991" fmla="*/ 7885802 w 10505529"/>
              <a:gd name="connsiteY10991" fmla="*/ 5708825 h 7458372"/>
              <a:gd name="connsiteX10992" fmla="*/ 7876483 w 10505529"/>
              <a:gd name="connsiteY10992" fmla="*/ 5715082 h 7458372"/>
              <a:gd name="connsiteX10993" fmla="*/ 7864636 w 10505529"/>
              <a:gd name="connsiteY10993" fmla="*/ 5717344 h 7458372"/>
              <a:gd name="connsiteX10994" fmla="*/ 7842803 w 10505529"/>
              <a:gd name="connsiteY10994" fmla="*/ 5708825 h 7458372"/>
              <a:gd name="connsiteX10995" fmla="*/ 7834417 w 10505529"/>
              <a:gd name="connsiteY10995" fmla="*/ 5687659 h 7458372"/>
              <a:gd name="connsiteX10996" fmla="*/ 7842803 w 10505529"/>
              <a:gd name="connsiteY10996" fmla="*/ 5666626 h 7458372"/>
              <a:gd name="connsiteX10997" fmla="*/ 7864636 w 10505529"/>
              <a:gd name="connsiteY10997" fmla="*/ 5658107 h 7458372"/>
              <a:gd name="connsiteX10998" fmla="*/ 7646991 w 10505529"/>
              <a:gd name="connsiteY10998" fmla="*/ 5658107 h 7458372"/>
              <a:gd name="connsiteX10999" fmla="*/ 7658705 w 10505529"/>
              <a:gd name="connsiteY10999" fmla="*/ 5660636 h 7458372"/>
              <a:gd name="connsiteX11000" fmla="*/ 7668022 w 10505529"/>
              <a:gd name="connsiteY11000" fmla="*/ 5667026 h 7458372"/>
              <a:gd name="connsiteX11001" fmla="*/ 7674146 w 10505529"/>
              <a:gd name="connsiteY11001" fmla="*/ 5676344 h 7458372"/>
              <a:gd name="connsiteX11002" fmla="*/ 7676409 w 10505529"/>
              <a:gd name="connsiteY11002" fmla="*/ 5687792 h 7458372"/>
              <a:gd name="connsiteX11003" fmla="*/ 7674146 w 10505529"/>
              <a:gd name="connsiteY11003" fmla="*/ 5699507 h 7458372"/>
              <a:gd name="connsiteX11004" fmla="*/ 7668022 w 10505529"/>
              <a:gd name="connsiteY11004" fmla="*/ 5708825 h 7458372"/>
              <a:gd name="connsiteX11005" fmla="*/ 7658705 w 10505529"/>
              <a:gd name="connsiteY11005" fmla="*/ 5715082 h 7458372"/>
              <a:gd name="connsiteX11006" fmla="*/ 7646991 w 10505529"/>
              <a:gd name="connsiteY11006" fmla="*/ 5717344 h 7458372"/>
              <a:gd name="connsiteX11007" fmla="*/ 7625158 w 10505529"/>
              <a:gd name="connsiteY11007" fmla="*/ 5708825 h 7458372"/>
              <a:gd name="connsiteX11008" fmla="*/ 7616772 w 10505529"/>
              <a:gd name="connsiteY11008" fmla="*/ 5687659 h 7458372"/>
              <a:gd name="connsiteX11009" fmla="*/ 7625158 w 10505529"/>
              <a:gd name="connsiteY11009" fmla="*/ 5666626 h 7458372"/>
              <a:gd name="connsiteX11010" fmla="*/ 7646991 w 10505529"/>
              <a:gd name="connsiteY11010" fmla="*/ 5658107 h 7458372"/>
              <a:gd name="connsiteX11011" fmla="*/ 7429345 w 10505529"/>
              <a:gd name="connsiteY11011" fmla="*/ 5658107 h 7458372"/>
              <a:gd name="connsiteX11012" fmla="*/ 7441059 w 10505529"/>
              <a:gd name="connsiteY11012" fmla="*/ 5660636 h 7458372"/>
              <a:gd name="connsiteX11013" fmla="*/ 7450377 w 10505529"/>
              <a:gd name="connsiteY11013" fmla="*/ 5667026 h 7458372"/>
              <a:gd name="connsiteX11014" fmla="*/ 7456501 w 10505529"/>
              <a:gd name="connsiteY11014" fmla="*/ 5676344 h 7458372"/>
              <a:gd name="connsiteX11015" fmla="*/ 7458764 w 10505529"/>
              <a:gd name="connsiteY11015" fmla="*/ 5687792 h 7458372"/>
              <a:gd name="connsiteX11016" fmla="*/ 7456501 w 10505529"/>
              <a:gd name="connsiteY11016" fmla="*/ 5699507 h 7458372"/>
              <a:gd name="connsiteX11017" fmla="*/ 7450377 w 10505529"/>
              <a:gd name="connsiteY11017" fmla="*/ 5708825 h 7458372"/>
              <a:gd name="connsiteX11018" fmla="*/ 7441059 w 10505529"/>
              <a:gd name="connsiteY11018" fmla="*/ 5715082 h 7458372"/>
              <a:gd name="connsiteX11019" fmla="*/ 7429345 w 10505529"/>
              <a:gd name="connsiteY11019" fmla="*/ 5717344 h 7458372"/>
              <a:gd name="connsiteX11020" fmla="*/ 7407513 w 10505529"/>
              <a:gd name="connsiteY11020" fmla="*/ 5708825 h 7458372"/>
              <a:gd name="connsiteX11021" fmla="*/ 7399127 w 10505529"/>
              <a:gd name="connsiteY11021" fmla="*/ 5687659 h 7458372"/>
              <a:gd name="connsiteX11022" fmla="*/ 7407513 w 10505529"/>
              <a:gd name="connsiteY11022" fmla="*/ 5666626 h 7458372"/>
              <a:gd name="connsiteX11023" fmla="*/ 7429345 w 10505529"/>
              <a:gd name="connsiteY11023" fmla="*/ 5658107 h 7458372"/>
              <a:gd name="connsiteX11024" fmla="*/ 7211701 w 10505529"/>
              <a:gd name="connsiteY11024" fmla="*/ 5658107 h 7458372"/>
              <a:gd name="connsiteX11025" fmla="*/ 7223415 w 10505529"/>
              <a:gd name="connsiteY11025" fmla="*/ 5660636 h 7458372"/>
              <a:gd name="connsiteX11026" fmla="*/ 7232733 w 10505529"/>
              <a:gd name="connsiteY11026" fmla="*/ 5667026 h 7458372"/>
              <a:gd name="connsiteX11027" fmla="*/ 7238856 w 10505529"/>
              <a:gd name="connsiteY11027" fmla="*/ 5676344 h 7458372"/>
              <a:gd name="connsiteX11028" fmla="*/ 7241120 w 10505529"/>
              <a:gd name="connsiteY11028" fmla="*/ 5687792 h 7458372"/>
              <a:gd name="connsiteX11029" fmla="*/ 7238856 w 10505529"/>
              <a:gd name="connsiteY11029" fmla="*/ 5699507 h 7458372"/>
              <a:gd name="connsiteX11030" fmla="*/ 7232733 w 10505529"/>
              <a:gd name="connsiteY11030" fmla="*/ 5708825 h 7458372"/>
              <a:gd name="connsiteX11031" fmla="*/ 7223415 w 10505529"/>
              <a:gd name="connsiteY11031" fmla="*/ 5715082 h 7458372"/>
              <a:gd name="connsiteX11032" fmla="*/ 7211701 w 10505529"/>
              <a:gd name="connsiteY11032" fmla="*/ 5717344 h 7458372"/>
              <a:gd name="connsiteX11033" fmla="*/ 7189868 w 10505529"/>
              <a:gd name="connsiteY11033" fmla="*/ 5708825 h 7458372"/>
              <a:gd name="connsiteX11034" fmla="*/ 7181482 w 10505529"/>
              <a:gd name="connsiteY11034" fmla="*/ 5687659 h 7458372"/>
              <a:gd name="connsiteX11035" fmla="*/ 7189868 w 10505529"/>
              <a:gd name="connsiteY11035" fmla="*/ 5666626 h 7458372"/>
              <a:gd name="connsiteX11036" fmla="*/ 7211701 w 10505529"/>
              <a:gd name="connsiteY11036" fmla="*/ 5658107 h 7458372"/>
              <a:gd name="connsiteX11037" fmla="*/ 6994056 w 10505529"/>
              <a:gd name="connsiteY11037" fmla="*/ 5658107 h 7458372"/>
              <a:gd name="connsiteX11038" fmla="*/ 7005769 w 10505529"/>
              <a:gd name="connsiteY11038" fmla="*/ 5660636 h 7458372"/>
              <a:gd name="connsiteX11039" fmla="*/ 7015087 w 10505529"/>
              <a:gd name="connsiteY11039" fmla="*/ 5667026 h 7458372"/>
              <a:gd name="connsiteX11040" fmla="*/ 7021211 w 10505529"/>
              <a:gd name="connsiteY11040" fmla="*/ 5676344 h 7458372"/>
              <a:gd name="connsiteX11041" fmla="*/ 7023474 w 10505529"/>
              <a:gd name="connsiteY11041" fmla="*/ 5687792 h 7458372"/>
              <a:gd name="connsiteX11042" fmla="*/ 7021211 w 10505529"/>
              <a:gd name="connsiteY11042" fmla="*/ 5699507 h 7458372"/>
              <a:gd name="connsiteX11043" fmla="*/ 7015087 w 10505529"/>
              <a:gd name="connsiteY11043" fmla="*/ 5708825 h 7458372"/>
              <a:gd name="connsiteX11044" fmla="*/ 7005769 w 10505529"/>
              <a:gd name="connsiteY11044" fmla="*/ 5715082 h 7458372"/>
              <a:gd name="connsiteX11045" fmla="*/ 6994056 w 10505529"/>
              <a:gd name="connsiteY11045" fmla="*/ 5717344 h 7458372"/>
              <a:gd name="connsiteX11046" fmla="*/ 6972223 w 10505529"/>
              <a:gd name="connsiteY11046" fmla="*/ 5708825 h 7458372"/>
              <a:gd name="connsiteX11047" fmla="*/ 6963837 w 10505529"/>
              <a:gd name="connsiteY11047" fmla="*/ 5687659 h 7458372"/>
              <a:gd name="connsiteX11048" fmla="*/ 6972223 w 10505529"/>
              <a:gd name="connsiteY11048" fmla="*/ 5666626 h 7458372"/>
              <a:gd name="connsiteX11049" fmla="*/ 6994056 w 10505529"/>
              <a:gd name="connsiteY11049" fmla="*/ 5658107 h 7458372"/>
              <a:gd name="connsiteX11050" fmla="*/ 6776544 w 10505529"/>
              <a:gd name="connsiteY11050" fmla="*/ 5658107 h 7458372"/>
              <a:gd name="connsiteX11051" fmla="*/ 6788258 w 10505529"/>
              <a:gd name="connsiteY11051" fmla="*/ 5660636 h 7458372"/>
              <a:gd name="connsiteX11052" fmla="*/ 6797576 w 10505529"/>
              <a:gd name="connsiteY11052" fmla="*/ 5667026 h 7458372"/>
              <a:gd name="connsiteX11053" fmla="*/ 6803699 w 10505529"/>
              <a:gd name="connsiteY11053" fmla="*/ 5676344 h 7458372"/>
              <a:gd name="connsiteX11054" fmla="*/ 6805963 w 10505529"/>
              <a:gd name="connsiteY11054" fmla="*/ 5687792 h 7458372"/>
              <a:gd name="connsiteX11055" fmla="*/ 6803699 w 10505529"/>
              <a:gd name="connsiteY11055" fmla="*/ 5699507 h 7458372"/>
              <a:gd name="connsiteX11056" fmla="*/ 6797576 w 10505529"/>
              <a:gd name="connsiteY11056" fmla="*/ 5708825 h 7458372"/>
              <a:gd name="connsiteX11057" fmla="*/ 6788258 w 10505529"/>
              <a:gd name="connsiteY11057" fmla="*/ 5715082 h 7458372"/>
              <a:gd name="connsiteX11058" fmla="*/ 6776544 w 10505529"/>
              <a:gd name="connsiteY11058" fmla="*/ 5717344 h 7458372"/>
              <a:gd name="connsiteX11059" fmla="*/ 6754711 w 10505529"/>
              <a:gd name="connsiteY11059" fmla="*/ 5708825 h 7458372"/>
              <a:gd name="connsiteX11060" fmla="*/ 6746325 w 10505529"/>
              <a:gd name="connsiteY11060" fmla="*/ 5687659 h 7458372"/>
              <a:gd name="connsiteX11061" fmla="*/ 6754711 w 10505529"/>
              <a:gd name="connsiteY11061" fmla="*/ 5666626 h 7458372"/>
              <a:gd name="connsiteX11062" fmla="*/ 6776544 w 10505529"/>
              <a:gd name="connsiteY11062" fmla="*/ 5658107 h 7458372"/>
              <a:gd name="connsiteX11063" fmla="*/ 6558899 w 10505529"/>
              <a:gd name="connsiteY11063" fmla="*/ 5658107 h 7458372"/>
              <a:gd name="connsiteX11064" fmla="*/ 6570612 w 10505529"/>
              <a:gd name="connsiteY11064" fmla="*/ 5660636 h 7458372"/>
              <a:gd name="connsiteX11065" fmla="*/ 6579930 w 10505529"/>
              <a:gd name="connsiteY11065" fmla="*/ 5667026 h 7458372"/>
              <a:gd name="connsiteX11066" fmla="*/ 6586054 w 10505529"/>
              <a:gd name="connsiteY11066" fmla="*/ 5676344 h 7458372"/>
              <a:gd name="connsiteX11067" fmla="*/ 6588317 w 10505529"/>
              <a:gd name="connsiteY11067" fmla="*/ 5687792 h 7458372"/>
              <a:gd name="connsiteX11068" fmla="*/ 6586054 w 10505529"/>
              <a:gd name="connsiteY11068" fmla="*/ 5699507 h 7458372"/>
              <a:gd name="connsiteX11069" fmla="*/ 6579930 w 10505529"/>
              <a:gd name="connsiteY11069" fmla="*/ 5708825 h 7458372"/>
              <a:gd name="connsiteX11070" fmla="*/ 6570612 w 10505529"/>
              <a:gd name="connsiteY11070" fmla="*/ 5715082 h 7458372"/>
              <a:gd name="connsiteX11071" fmla="*/ 6558899 w 10505529"/>
              <a:gd name="connsiteY11071" fmla="*/ 5717344 h 7458372"/>
              <a:gd name="connsiteX11072" fmla="*/ 6537066 w 10505529"/>
              <a:gd name="connsiteY11072" fmla="*/ 5708825 h 7458372"/>
              <a:gd name="connsiteX11073" fmla="*/ 6528680 w 10505529"/>
              <a:gd name="connsiteY11073" fmla="*/ 5687659 h 7458372"/>
              <a:gd name="connsiteX11074" fmla="*/ 6537066 w 10505529"/>
              <a:gd name="connsiteY11074" fmla="*/ 5666626 h 7458372"/>
              <a:gd name="connsiteX11075" fmla="*/ 6558899 w 10505529"/>
              <a:gd name="connsiteY11075" fmla="*/ 5658107 h 7458372"/>
              <a:gd name="connsiteX11076" fmla="*/ 6341253 w 10505529"/>
              <a:gd name="connsiteY11076" fmla="*/ 5658107 h 7458372"/>
              <a:gd name="connsiteX11077" fmla="*/ 6352968 w 10505529"/>
              <a:gd name="connsiteY11077" fmla="*/ 5660636 h 7458372"/>
              <a:gd name="connsiteX11078" fmla="*/ 6362286 w 10505529"/>
              <a:gd name="connsiteY11078" fmla="*/ 5667026 h 7458372"/>
              <a:gd name="connsiteX11079" fmla="*/ 6368409 w 10505529"/>
              <a:gd name="connsiteY11079" fmla="*/ 5676344 h 7458372"/>
              <a:gd name="connsiteX11080" fmla="*/ 6370672 w 10505529"/>
              <a:gd name="connsiteY11080" fmla="*/ 5687792 h 7458372"/>
              <a:gd name="connsiteX11081" fmla="*/ 6368409 w 10505529"/>
              <a:gd name="connsiteY11081" fmla="*/ 5699507 h 7458372"/>
              <a:gd name="connsiteX11082" fmla="*/ 6362286 w 10505529"/>
              <a:gd name="connsiteY11082" fmla="*/ 5708825 h 7458372"/>
              <a:gd name="connsiteX11083" fmla="*/ 6352968 w 10505529"/>
              <a:gd name="connsiteY11083" fmla="*/ 5715082 h 7458372"/>
              <a:gd name="connsiteX11084" fmla="*/ 6341253 w 10505529"/>
              <a:gd name="connsiteY11084" fmla="*/ 5717344 h 7458372"/>
              <a:gd name="connsiteX11085" fmla="*/ 6319421 w 10505529"/>
              <a:gd name="connsiteY11085" fmla="*/ 5708825 h 7458372"/>
              <a:gd name="connsiteX11086" fmla="*/ 6311035 w 10505529"/>
              <a:gd name="connsiteY11086" fmla="*/ 5687659 h 7458372"/>
              <a:gd name="connsiteX11087" fmla="*/ 6319421 w 10505529"/>
              <a:gd name="connsiteY11087" fmla="*/ 5666626 h 7458372"/>
              <a:gd name="connsiteX11088" fmla="*/ 6341253 w 10505529"/>
              <a:gd name="connsiteY11088" fmla="*/ 5658107 h 7458372"/>
              <a:gd name="connsiteX11089" fmla="*/ 6123608 w 10505529"/>
              <a:gd name="connsiteY11089" fmla="*/ 5658107 h 7458372"/>
              <a:gd name="connsiteX11090" fmla="*/ 6135322 w 10505529"/>
              <a:gd name="connsiteY11090" fmla="*/ 5660636 h 7458372"/>
              <a:gd name="connsiteX11091" fmla="*/ 6144640 w 10505529"/>
              <a:gd name="connsiteY11091" fmla="*/ 5667026 h 7458372"/>
              <a:gd name="connsiteX11092" fmla="*/ 6150763 w 10505529"/>
              <a:gd name="connsiteY11092" fmla="*/ 5676344 h 7458372"/>
              <a:gd name="connsiteX11093" fmla="*/ 6153026 w 10505529"/>
              <a:gd name="connsiteY11093" fmla="*/ 5687792 h 7458372"/>
              <a:gd name="connsiteX11094" fmla="*/ 6150763 w 10505529"/>
              <a:gd name="connsiteY11094" fmla="*/ 5699507 h 7458372"/>
              <a:gd name="connsiteX11095" fmla="*/ 6144640 w 10505529"/>
              <a:gd name="connsiteY11095" fmla="*/ 5708825 h 7458372"/>
              <a:gd name="connsiteX11096" fmla="*/ 6135322 w 10505529"/>
              <a:gd name="connsiteY11096" fmla="*/ 5715082 h 7458372"/>
              <a:gd name="connsiteX11097" fmla="*/ 6123608 w 10505529"/>
              <a:gd name="connsiteY11097" fmla="*/ 5717344 h 7458372"/>
              <a:gd name="connsiteX11098" fmla="*/ 6101775 w 10505529"/>
              <a:gd name="connsiteY11098" fmla="*/ 5708825 h 7458372"/>
              <a:gd name="connsiteX11099" fmla="*/ 6093389 w 10505529"/>
              <a:gd name="connsiteY11099" fmla="*/ 5687659 h 7458372"/>
              <a:gd name="connsiteX11100" fmla="*/ 6101775 w 10505529"/>
              <a:gd name="connsiteY11100" fmla="*/ 5666626 h 7458372"/>
              <a:gd name="connsiteX11101" fmla="*/ 6123608 w 10505529"/>
              <a:gd name="connsiteY11101" fmla="*/ 5658107 h 7458372"/>
              <a:gd name="connsiteX11102" fmla="*/ 5905963 w 10505529"/>
              <a:gd name="connsiteY11102" fmla="*/ 5658107 h 7458372"/>
              <a:gd name="connsiteX11103" fmla="*/ 5917677 w 10505529"/>
              <a:gd name="connsiteY11103" fmla="*/ 5660636 h 7458372"/>
              <a:gd name="connsiteX11104" fmla="*/ 5926995 w 10505529"/>
              <a:gd name="connsiteY11104" fmla="*/ 5667026 h 7458372"/>
              <a:gd name="connsiteX11105" fmla="*/ 5933118 w 10505529"/>
              <a:gd name="connsiteY11105" fmla="*/ 5676344 h 7458372"/>
              <a:gd name="connsiteX11106" fmla="*/ 5935381 w 10505529"/>
              <a:gd name="connsiteY11106" fmla="*/ 5687792 h 7458372"/>
              <a:gd name="connsiteX11107" fmla="*/ 5933118 w 10505529"/>
              <a:gd name="connsiteY11107" fmla="*/ 5699507 h 7458372"/>
              <a:gd name="connsiteX11108" fmla="*/ 5926995 w 10505529"/>
              <a:gd name="connsiteY11108" fmla="*/ 5708825 h 7458372"/>
              <a:gd name="connsiteX11109" fmla="*/ 5917677 w 10505529"/>
              <a:gd name="connsiteY11109" fmla="*/ 5715082 h 7458372"/>
              <a:gd name="connsiteX11110" fmla="*/ 5905963 w 10505529"/>
              <a:gd name="connsiteY11110" fmla="*/ 5717344 h 7458372"/>
              <a:gd name="connsiteX11111" fmla="*/ 5884130 w 10505529"/>
              <a:gd name="connsiteY11111" fmla="*/ 5708825 h 7458372"/>
              <a:gd name="connsiteX11112" fmla="*/ 5875744 w 10505529"/>
              <a:gd name="connsiteY11112" fmla="*/ 5687659 h 7458372"/>
              <a:gd name="connsiteX11113" fmla="*/ 5884130 w 10505529"/>
              <a:gd name="connsiteY11113" fmla="*/ 5666626 h 7458372"/>
              <a:gd name="connsiteX11114" fmla="*/ 5905963 w 10505529"/>
              <a:gd name="connsiteY11114" fmla="*/ 5658107 h 7458372"/>
              <a:gd name="connsiteX11115" fmla="*/ 5688451 w 10505529"/>
              <a:gd name="connsiteY11115" fmla="*/ 5658107 h 7458372"/>
              <a:gd name="connsiteX11116" fmla="*/ 5700165 w 10505529"/>
              <a:gd name="connsiteY11116" fmla="*/ 5660636 h 7458372"/>
              <a:gd name="connsiteX11117" fmla="*/ 5709483 w 10505529"/>
              <a:gd name="connsiteY11117" fmla="*/ 5667026 h 7458372"/>
              <a:gd name="connsiteX11118" fmla="*/ 5715606 w 10505529"/>
              <a:gd name="connsiteY11118" fmla="*/ 5676344 h 7458372"/>
              <a:gd name="connsiteX11119" fmla="*/ 5717869 w 10505529"/>
              <a:gd name="connsiteY11119" fmla="*/ 5687792 h 7458372"/>
              <a:gd name="connsiteX11120" fmla="*/ 5715606 w 10505529"/>
              <a:gd name="connsiteY11120" fmla="*/ 5699507 h 7458372"/>
              <a:gd name="connsiteX11121" fmla="*/ 5709483 w 10505529"/>
              <a:gd name="connsiteY11121" fmla="*/ 5708825 h 7458372"/>
              <a:gd name="connsiteX11122" fmla="*/ 5700165 w 10505529"/>
              <a:gd name="connsiteY11122" fmla="*/ 5715082 h 7458372"/>
              <a:gd name="connsiteX11123" fmla="*/ 5688451 w 10505529"/>
              <a:gd name="connsiteY11123" fmla="*/ 5717344 h 7458372"/>
              <a:gd name="connsiteX11124" fmla="*/ 5666618 w 10505529"/>
              <a:gd name="connsiteY11124" fmla="*/ 5708825 h 7458372"/>
              <a:gd name="connsiteX11125" fmla="*/ 5658232 w 10505529"/>
              <a:gd name="connsiteY11125" fmla="*/ 5687659 h 7458372"/>
              <a:gd name="connsiteX11126" fmla="*/ 5666618 w 10505529"/>
              <a:gd name="connsiteY11126" fmla="*/ 5666626 h 7458372"/>
              <a:gd name="connsiteX11127" fmla="*/ 5688451 w 10505529"/>
              <a:gd name="connsiteY11127" fmla="*/ 5658107 h 7458372"/>
              <a:gd name="connsiteX11128" fmla="*/ 5470806 w 10505529"/>
              <a:gd name="connsiteY11128" fmla="*/ 5658107 h 7458372"/>
              <a:gd name="connsiteX11129" fmla="*/ 5482520 w 10505529"/>
              <a:gd name="connsiteY11129" fmla="*/ 5660636 h 7458372"/>
              <a:gd name="connsiteX11130" fmla="*/ 5491838 w 10505529"/>
              <a:gd name="connsiteY11130" fmla="*/ 5667026 h 7458372"/>
              <a:gd name="connsiteX11131" fmla="*/ 5497961 w 10505529"/>
              <a:gd name="connsiteY11131" fmla="*/ 5676344 h 7458372"/>
              <a:gd name="connsiteX11132" fmla="*/ 5500224 w 10505529"/>
              <a:gd name="connsiteY11132" fmla="*/ 5687792 h 7458372"/>
              <a:gd name="connsiteX11133" fmla="*/ 5497961 w 10505529"/>
              <a:gd name="connsiteY11133" fmla="*/ 5699507 h 7458372"/>
              <a:gd name="connsiteX11134" fmla="*/ 5491838 w 10505529"/>
              <a:gd name="connsiteY11134" fmla="*/ 5708825 h 7458372"/>
              <a:gd name="connsiteX11135" fmla="*/ 5482520 w 10505529"/>
              <a:gd name="connsiteY11135" fmla="*/ 5715082 h 7458372"/>
              <a:gd name="connsiteX11136" fmla="*/ 5470806 w 10505529"/>
              <a:gd name="connsiteY11136" fmla="*/ 5717344 h 7458372"/>
              <a:gd name="connsiteX11137" fmla="*/ 5448973 w 10505529"/>
              <a:gd name="connsiteY11137" fmla="*/ 5708825 h 7458372"/>
              <a:gd name="connsiteX11138" fmla="*/ 5440587 w 10505529"/>
              <a:gd name="connsiteY11138" fmla="*/ 5687659 h 7458372"/>
              <a:gd name="connsiteX11139" fmla="*/ 5448973 w 10505529"/>
              <a:gd name="connsiteY11139" fmla="*/ 5666626 h 7458372"/>
              <a:gd name="connsiteX11140" fmla="*/ 5470806 w 10505529"/>
              <a:gd name="connsiteY11140" fmla="*/ 5658107 h 7458372"/>
              <a:gd name="connsiteX11141" fmla="*/ 5253160 w 10505529"/>
              <a:gd name="connsiteY11141" fmla="*/ 5658107 h 7458372"/>
              <a:gd name="connsiteX11142" fmla="*/ 5264875 w 10505529"/>
              <a:gd name="connsiteY11142" fmla="*/ 5660636 h 7458372"/>
              <a:gd name="connsiteX11143" fmla="*/ 5274192 w 10505529"/>
              <a:gd name="connsiteY11143" fmla="*/ 5667026 h 7458372"/>
              <a:gd name="connsiteX11144" fmla="*/ 5280316 w 10505529"/>
              <a:gd name="connsiteY11144" fmla="*/ 5676344 h 7458372"/>
              <a:gd name="connsiteX11145" fmla="*/ 5282579 w 10505529"/>
              <a:gd name="connsiteY11145" fmla="*/ 5687792 h 7458372"/>
              <a:gd name="connsiteX11146" fmla="*/ 5280316 w 10505529"/>
              <a:gd name="connsiteY11146" fmla="*/ 5699507 h 7458372"/>
              <a:gd name="connsiteX11147" fmla="*/ 5274192 w 10505529"/>
              <a:gd name="connsiteY11147" fmla="*/ 5708825 h 7458372"/>
              <a:gd name="connsiteX11148" fmla="*/ 5264875 w 10505529"/>
              <a:gd name="connsiteY11148" fmla="*/ 5715082 h 7458372"/>
              <a:gd name="connsiteX11149" fmla="*/ 5253160 w 10505529"/>
              <a:gd name="connsiteY11149" fmla="*/ 5717344 h 7458372"/>
              <a:gd name="connsiteX11150" fmla="*/ 5231328 w 10505529"/>
              <a:gd name="connsiteY11150" fmla="*/ 5708825 h 7458372"/>
              <a:gd name="connsiteX11151" fmla="*/ 5222942 w 10505529"/>
              <a:gd name="connsiteY11151" fmla="*/ 5687659 h 7458372"/>
              <a:gd name="connsiteX11152" fmla="*/ 5231328 w 10505529"/>
              <a:gd name="connsiteY11152" fmla="*/ 5666626 h 7458372"/>
              <a:gd name="connsiteX11153" fmla="*/ 5253160 w 10505529"/>
              <a:gd name="connsiteY11153" fmla="*/ 5658107 h 7458372"/>
              <a:gd name="connsiteX11154" fmla="*/ 5035515 w 10505529"/>
              <a:gd name="connsiteY11154" fmla="*/ 5658107 h 7458372"/>
              <a:gd name="connsiteX11155" fmla="*/ 5047230 w 10505529"/>
              <a:gd name="connsiteY11155" fmla="*/ 5660636 h 7458372"/>
              <a:gd name="connsiteX11156" fmla="*/ 5056548 w 10505529"/>
              <a:gd name="connsiteY11156" fmla="*/ 5667026 h 7458372"/>
              <a:gd name="connsiteX11157" fmla="*/ 5062671 w 10505529"/>
              <a:gd name="connsiteY11157" fmla="*/ 5676344 h 7458372"/>
              <a:gd name="connsiteX11158" fmla="*/ 5064934 w 10505529"/>
              <a:gd name="connsiteY11158" fmla="*/ 5687792 h 7458372"/>
              <a:gd name="connsiteX11159" fmla="*/ 5062671 w 10505529"/>
              <a:gd name="connsiteY11159" fmla="*/ 5699507 h 7458372"/>
              <a:gd name="connsiteX11160" fmla="*/ 5056548 w 10505529"/>
              <a:gd name="connsiteY11160" fmla="*/ 5708825 h 7458372"/>
              <a:gd name="connsiteX11161" fmla="*/ 5047230 w 10505529"/>
              <a:gd name="connsiteY11161" fmla="*/ 5715082 h 7458372"/>
              <a:gd name="connsiteX11162" fmla="*/ 5035515 w 10505529"/>
              <a:gd name="connsiteY11162" fmla="*/ 5717344 h 7458372"/>
              <a:gd name="connsiteX11163" fmla="*/ 5013683 w 10505529"/>
              <a:gd name="connsiteY11163" fmla="*/ 5708825 h 7458372"/>
              <a:gd name="connsiteX11164" fmla="*/ 5005297 w 10505529"/>
              <a:gd name="connsiteY11164" fmla="*/ 5687659 h 7458372"/>
              <a:gd name="connsiteX11165" fmla="*/ 5013683 w 10505529"/>
              <a:gd name="connsiteY11165" fmla="*/ 5666626 h 7458372"/>
              <a:gd name="connsiteX11166" fmla="*/ 5035515 w 10505529"/>
              <a:gd name="connsiteY11166" fmla="*/ 5658107 h 7458372"/>
              <a:gd name="connsiteX11167" fmla="*/ 4817870 w 10505529"/>
              <a:gd name="connsiteY11167" fmla="*/ 5658107 h 7458372"/>
              <a:gd name="connsiteX11168" fmla="*/ 4829585 w 10505529"/>
              <a:gd name="connsiteY11168" fmla="*/ 5660636 h 7458372"/>
              <a:gd name="connsiteX11169" fmla="*/ 4838903 w 10505529"/>
              <a:gd name="connsiteY11169" fmla="*/ 5667026 h 7458372"/>
              <a:gd name="connsiteX11170" fmla="*/ 4845026 w 10505529"/>
              <a:gd name="connsiteY11170" fmla="*/ 5676344 h 7458372"/>
              <a:gd name="connsiteX11171" fmla="*/ 4847289 w 10505529"/>
              <a:gd name="connsiteY11171" fmla="*/ 5687792 h 7458372"/>
              <a:gd name="connsiteX11172" fmla="*/ 4845026 w 10505529"/>
              <a:gd name="connsiteY11172" fmla="*/ 5699507 h 7458372"/>
              <a:gd name="connsiteX11173" fmla="*/ 4838903 w 10505529"/>
              <a:gd name="connsiteY11173" fmla="*/ 5708825 h 7458372"/>
              <a:gd name="connsiteX11174" fmla="*/ 4829585 w 10505529"/>
              <a:gd name="connsiteY11174" fmla="*/ 5715082 h 7458372"/>
              <a:gd name="connsiteX11175" fmla="*/ 4817870 w 10505529"/>
              <a:gd name="connsiteY11175" fmla="*/ 5717344 h 7458372"/>
              <a:gd name="connsiteX11176" fmla="*/ 4796038 w 10505529"/>
              <a:gd name="connsiteY11176" fmla="*/ 5708825 h 7458372"/>
              <a:gd name="connsiteX11177" fmla="*/ 4787652 w 10505529"/>
              <a:gd name="connsiteY11177" fmla="*/ 5687659 h 7458372"/>
              <a:gd name="connsiteX11178" fmla="*/ 4796038 w 10505529"/>
              <a:gd name="connsiteY11178" fmla="*/ 5666626 h 7458372"/>
              <a:gd name="connsiteX11179" fmla="*/ 4817870 w 10505529"/>
              <a:gd name="connsiteY11179" fmla="*/ 5658107 h 7458372"/>
              <a:gd name="connsiteX11180" fmla="*/ 4600226 w 10505529"/>
              <a:gd name="connsiteY11180" fmla="*/ 5658107 h 7458372"/>
              <a:gd name="connsiteX11181" fmla="*/ 4612073 w 10505529"/>
              <a:gd name="connsiteY11181" fmla="*/ 5660636 h 7458372"/>
              <a:gd name="connsiteX11182" fmla="*/ 4621391 w 10505529"/>
              <a:gd name="connsiteY11182" fmla="*/ 5667026 h 7458372"/>
              <a:gd name="connsiteX11183" fmla="*/ 4627514 w 10505529"/>
              <a:gd name="connsiteY11183" fmla="*/ 5676344 h 7458372"/>
              <a:gd name="connsiteX11184" fmla="*/ 4629777 w 10505529"/>
              <a:gd name="connsiteY11184" fmla="*/ 5687792 h 7458372"/>
              <a:gd name="connsiteX11185" fmla="*/ 4627514 w 10505529"/>
              <a:gd name="connsiteY11185" fmla="*/ 5699507 h 7458372"/>
              <a:gd name="connsiteX11186" fmla="*/ 4621391 w 10505529"/>
              <a:gd name="connsiteY11186" fmla="*/ 5708825 h 7458372"/>
              <a:gd name="connsiteX11187" fmla="*/ 4612073 w 10505529"/>
              <a:gd name="connsiteY11187" fmla="*/ 5715082 h 7458372"/>
              <a:gd name="connsiteX11188" fmla="*/ 4600226 w 10505529"/>
              <a:gd name="connsiteY11188" fmla="*/ 5717344 h 7458372"/>
              <a:gd name="connsiteX11189" fmla="*/ 4578393 w 10505529"/>
              <a:gd name="connsiteY11189" fmla="*/ 5708825 h 7458372"/>
              <a:gd name="connsiteX11190" fmla="*/ 4570007 w 10505529"/>
              <a:gd name="connsiteY11190" fmla="*/ 5687659 h 7458372"/>
              <a:gd name="connsiteX11191" fmla="*/ 4578393 w 10505529"/>
              <a:gd name="connsiteY11191" fmla="*/ 5666626 h 7458372"/>
              <a:gd name="connsiteX11192" fmla="*/ 4600226 w 10505529"/>
              <a:gd name="connsiteY11192" fmla="*/ 5658107 h 7458372"/>
              <a:gd name="connsiteX11193" fmla="*/ 4382713 w 10505529"/>
              <a:gd name="connsiteY11193" fmla="*/ 5658107 h 7458372"/>
              <a:gd name="connsiteX11194" fmla="*/ 4394428 w 10505529"/>
              <a:gd name="connsiteY11194" fmla="*/ 5660636 h 7458372"/>
              <a:gd name="connsiteX11195" fmla="*/ 4403746 w 10505529"/>
              <a:gd name="connsiteY11195" fmla="*/ 5667026 h 7458372"/>
              <a:gd name="connsiteX11196" fmla="*/ 4409869 w 10505529"/>
              <a:gd name="connsiteY11196" fmla="*/ 5676344 h 7458372"/>
              <a:gd name="connsiteX11197" fmla="*/ 4412132 w 10505529"/>
              <a:gd name="connsiteY11197" fmla="*/ 5687792 h 7458372"/>
              <a:gd name="connsiteX11198" fmla="*/ 4409869 w 10505529"/>
              <a:gd name="connsiteY11198" fmla="*/ 5699507 h 7458372"/>
              <a:gd name="connsiteX11199" fmla="*/ 4403746 w 10505529"/>
              <a:gd name="connsiteY11199" fmla="*/ 5708825 h 7458372"/>
              <a:gd name="connsiteX11200" fmla="*/ 4394428 w 10505529"/>
              <a:gd name="connsiteY11200" fmla="*/ 5715082 h 7458372"/>
              <a:gd name="connsiteX11201" fmla="*/ 4382713 w 10505529"/>
              <a:gd name="connsiteY11201" fmla="*/ 5717344 h 7458372"/>
              <a:gd name="connsiteX11202" fmla="*/ 4360881 w 10505529"/>
              <a:gd name="connsiteY11202" fmla="*/ 5708825 h 7458372"/>
              <a:gd name="connsiteX11203" fmla="*/ 4352495 w 10505529"/>
              <a:gd name="connsiteY11203" fmla="*/ 5687659 h 7458372"/>
              <a:gd name="connsiteX11204" fmla="*/ 4360881 w 10505529"/>
              <a:gd name="connsiteY11204" fmla="*/ 5666626 h 7458372"/>
              <a:gd name="connsiteX11205" fmla="*/ 4382713 w 10505529"/>
              <a:gd name="connsiteY11205" fmla="*/ 5658107 h 7458372"/>
              <a:gd name="connsiteX11206" fmla="*/ 4165068 w 10505529"/>
              <a:gd name="connsiteY11206" fmla="*/ 5658107 h 7458372"/>
              <a:gd name="connsiteX11207" fmla="*/ 4176782 w 10505529"/>
              <a:gd name="connsiteY11207" fmla="*/ 5660636 h 7458372"/>
              <a:gd name="connsiteX11208" fmla="*/ 4186100 w 10505529"/>
              <a:gd name="connsiteY11208" fmla="*/ 5667026 h 7458372"/>
              <a:gd name="connsiteX11209" fmla="*/ 4192223 w 10505529"/>
              <a:gd name="connsiteY11209" fmla="*/ 5676344 h 7458372"/>
              <a:gd name="connsiteX11210" fmla="*/ 4194486 w 10505529"/>
              <a:gd name="connsiteY11210" fmla="*/ 5687792 h 7458372"/>
              <a:gd name="connsiteX11211" fmla="*/ 4192223 w 10505529"/>
              <a:gd name="connsiteY11211" fmla="*/ 5699507 h 7458372"/>
              <a:gd name="connsiteX11212" fmla="*/ 4186100 w 10505529"/>
              <a:gd name="connsiteY11212" fmla="*/ 5708825 h 7458372"/>
              <a:gd name="connsiteX11213" fmla="*/ 4176782 w 10505529"/>
              <a:gd name="connsiteY11213" fmla="*/ 5715082 h 7458372"/>
              <a:gd name="connsiteX11214" fmla="*/ 4165068 w 10505529"/>
              <a:gd name="connsiteY11214" fmla="*/ 5717344 h 7458372"/>
              <a:gd name="connsiteX11215" fmla="*/ 4143235 w 10505529"/>
              <a:gd name="connsiteY11215" fmla="*/ 5708825 h 7458372"/>
              <a:gd name="connsiteX11216" fmla="*/ 4134849 w 10505529"/>
              <a:gd name="connsiteY11216" fmla="*/ 5687659 h 7458372"/>
              <a:gd name="connsiteX11217" fmla="*/ 4143235 w 10505529"/>
              <a:gd name="connsiteY11217" fmla="*/ 5666626 h 7458372"/>
              <a:gd name="connsiteX11218" fmla="*/ 4165068 w 10505529"/>
              <a:gd name="connsiteY11218" fmla="*/ 5658107 h 7458372"/>
              <a:gd name="connsiteX11219" fmla="*/ 3947733 w 10505529"/>
              <a:gd name="connsiteY11219" fmla="*/ 5658107 h 7458372"/>
              <a:gd name="connsiteX11220" fmla="*/ 3959451 w 10505529"/>
              <a:gd name="connsiteY11220" fmla="*/ 5660636 h 7458372"/>
              <a:gd name="connsiteX11221" fmla="*/ 3968769 w 10505529"/>
              <a:gd name="connsiteY11221" fmla="*/ 5667026 h 7458372"/>
              <a:gd name="connsiteX11222" fmla="*/ 3974893 w 10505529"/>
              <a:gd name="connsiteY11222" fmla="*/ 5676344 h 7458372"/>
              <a:gd name="connsiteX11223" fmla="*/ 3977156 w 10505529"/>
              <a:gd name="connsiteY11223" fmla="*/ 5687792 h 7458372"/>
              <a:gd name="connsiteX11224" fmla="*/ 3974893 w 10505529"/>
              <a:gd name="connsiteY11224" fmla="*/ 5699507 h 7458372"/>
              <a:gd name="connsiteX11225" fmla="*/ 3968769 w 10505529"/>
              <a:gd name="connsiteY11225" fmla="*/ 5708825 h 7458372"/>
              <a:gd name="connsiteX11226" fmla="*/ 3959451 w 10505529"/>
              <a:gd name="connsiteY11226" fmla="*/ 5715082 h 7458372"/>
              <a:gd name="connsiteX11227" fmla="*/ 3947733 w 10505529"/>
              <a:gd name="connsiteY11227" fmla="*/ 5717344 h 7458372"/>
              <a:gd name="connsiteX11228" fmla="*/ 3925900 w 10505529"/>
              <a:gd name="connsiteY11228" fmla="*/ 5708825 h 7458372"/>
              <a:gd name="connsiteX11229" fmla="*/ 3917513 w 10505529"/>
              <a:gd name="connsiteY11229" fmla="*/ 5687659 h 7458372"/>
              <a:gd name="connsiteX11230" fmla="*/ 3925900 w 10505529"/>
              <a:gd name="connsiteY11230" fmla="*/ 5666626 h 7458372"/>
              <a:gd name="connsiteX11231" fmla="*/ 3947733 w 10505529"/>
              <a:gd name="connsiteY11231" fmla="*/ 5658107 h 7458372"/>
              <a:gd name="connsiteX11232" fmla="*/ 3730074 w 10505529"/>
              <a:gd name="connsiteY11232" fmla="*/ 5658107 h 7458372"/>
              <a:gd name="connsiteX11233" fmla="*/ 3741789 w 10505529"/>
              <a:gd name="connsiteY11233" fmla="*/ 5660636 h 7458372"/>
              <a:gd name="connsiteX11234" fmla="*/ 3751108 w 10505529"/>
              <a:gd name="connsiteY11234" fmla="*/ 5667026 h 7458372"/>
              <a:gd name="connsiteX11235" fmla="*/ 3757230 w 10505529"/>
              <a:gd name="connsiteY11235" fmla="*/ 5676344 h 7458372"/>
              <a:gd name="connsiteX11236" fmla="*/ 3759493 w 10505529"/>
              <a:gd name="connsiteY11236" fmla="*/ 5687792 h 7458372"/>
              <a:gd name="connsiteX11237" fmla="*/ 3757230 w 10505529"/>
              <a:gd name="connsiteY11237" fmla="*/ 5699507 h 7458372"/>
              <a:gd name="connsiteX11238" fmla="*/ 3751108 w 10505529"/>
              <a:gd name="connsiteY11238" fmla="*/ 5708825 h 7458372"/>
              <a:gd name="connsiteX11239" fmla="*/ 3741789 w 10505529"/>
              <a:gd name="connsiteY11239" fmla="*/ 5715082 h 7458372"/>
              <a:gd name="connsiteX11240" fmla="*/ 3730074 w 10505529"/>
              <a:gd name="connsiteY11240" fmla="*/ 5717344 h 7458372"/>
              <a:gd name="connsiteX11241" fmla="*/ 3708233 w 10505529"/>
              <a:gd name="connsiteY11241" fmla="*/ 5708825 h 7458372"/>
              <a:gd name="connsiteX11242" fmla="*/ 3699847 w 10505529"/>
              <a:gd name="connsiteY11242" fmla="*/ 5687659 h 7458372"/>
              <a:gd name="connsiteX11243" fmla="*/ 3708233 w 10505529"/>
              <a:gd name="connsiteY11243" fmla="*/ 5666626 h 7458372"/>
              <a:gd name="connsiteX11244" fmla="*/ 3730074 w 10505529"/>
              <a:gd name="connsiteY11244" fmla="*/ 5658107 h 7458372"/>
              <a:gd name="connsiteX11245" fmla="*/ 3512412 w 10505529"/>
              <a:gd name="connsiteY11245" fmla="*/ 5658107 h 7458372"/>
              <a:gd name="connsiteX11246" fmla="*/ 3524128 w 10505529"/>
              <a:gd name="connsiteY11246" fmla="*/ 5660636 h 7458372"/>
              <a:gd name="connsiteX11247" fmla="*/ 3533446 w 10505529"/>
              <a:gd name="connsiteY11247" fmla="*/ 5667026 h 7458372"/>
              <a:gd name="connsiteX11248" fmla="*/ 3539569 w 10505529"/>
              <a:gd name="connsiteY11248" fmla="*/ 5676344 h 7458372"/>
              <a:gd name="connsiteX11249" fmla="*/ 3541832 w 10505529"/>
              <a:gd name="connsiteY11249" fmla="*/ 5687792 h 7458372"/>
              <a:gd name="connsiteX11250" fmla="*/ 3539569 w 10505529"/>
              <a:gd name="connsiteY11250" fmla="*/ 5699507 h 7458372"/>
              <a:gd name="connsiteX11251" fmla="*/ 3533446 w 10505529"/>
              <a:gd name="connsiteY11251" fmla="*/ 5708825 h 7458372"/>
              <a:gd name="connsiteX11252" fmla="*/ 3524128 w 10505529"/>
              <a:gd name="connsiteY11252" fmla="*/ 5715082 h 7458372"/>
              <a:gd name="connsiteX11253" fmla="*/ 3512412 w 10505529"/>
              <a:gd name="connsiteY11253" fmla="*/ 5717344 h 7458372"/>
              <a:gd name="connsiteX11254" fmla="*/ 3490575 w 10505529"/>
              <a:gd name="connsiteY11254" fmla="*/ 5708825 h 7458372"/>
              <a:gd name="connsiteX11255" fmla="*/ 3482189 w 10505529"/>
              <a:gd name="connsiteY11255" fmla="*/ 5687659 h 7458372"/>
              <a:gd name="connsiteX11256" fmla="*/ 3490575 w 10505529"/>
              <a:gd name="connsiteY11256" fmla="*/ 5666626 h 7458372"/>
              <a:gd name="connsiteX11257" fmla="*/ 3512412 w 10505529"/>
              <a:gd name="connsiteY11257" fmla="*/ 5658107 h 7458372"/>
              <a:gd name="connsiteX11258" fmla="*/ 3294884 w 10505529"/>
              <a:gd name="connsiteY11258" fmla="*/ 5658107 h 7458372"/>
              <a:gd name="connsiteX11259" fmla="*/ 3306600 w 10505529"/>
              <a:gd name="connsiteY11259" fmla="*/ 5660636 h 7458372"/>
              <a:gd name="connsiteX11260" fmla="*/ 3315918 w 10505529"/>
              <a:gd name="connsiteY11260" fmla="*/ 5667026 h 7458372"/>
              <a:gd name="connsiteX11261" fmla="*/ 3322041 w 10505529"/>
              <a:gd name="connsiteY11261" fmla="*/ 5676344 h 7458372"/>
              <a:gd name="connsiteX11262" fmla="*/ 3324304 w 10505529"/>
              <a:gd name="connsiteY11262" fmla="*/ 5687792 h 7458372"/>
              <a:gd name="connsiteX11263" fmla="*/ 3322041 w 10505529"/>
              <a:gd name="connsiteY11263" fmla="*/ 5699507 h 7458372"/>
              <a:gd name="connsiteX11264" fmla="*/ 3315918 w 10505529"/>
              <a:gd name="connsiteY11264" fmla="*/ 5708825 h 7458372"/>
              <a:gd name="connsiteX11265" fmla="*/ 3306600 w 10505529"/>
              <a:gd name="connsiteY11265" fmla="*/ 5715082 h 7458372"/>
              <a:gd name="connsiteX11266" fmla="*/ 3294884 w 10505529"/>
              <a:gd name="connsiteY11266" fmla="*/ 5717344 h 7458372"/>
              <a:gd name="connsiteX11267" fmla="*/ 3273046 w 10505529"/>
              <a:gd name="connsiteY11267" fmla="*/ 5708825 h 7458372"/>
              <a:gd name="connsiteX11268" fmla="*/ 3264658 w 10505529"/>
              <a:gd name="connsiteY11268" fmla="*/ 5687659 h 7458372"/>
              <a:gd name="connsiteX11269" fmla="*/ 3273046 w 10505529"/>
              <a:gd name="connsiteY11269" fmla="*/ 5666626 h 7458372"/>
              <a:gd name="connsiteX11270" fmla="*/ 3294884 w 10505529"/>
              <a:gd name="connsiteY11270" fmla="*/ 5658107 h 7458372"/>
              <a:gd name="connsiteX11271" fmla="*/ 3077223 w 10505529"/>
              <a:gd name="connsiteY11271" fmla="*/ 5658107 h 7458372"/>
              <a:gd name="connsiteX11272" fmla="*/ 3088938 w 10505529"/>
              <a:gd name="connsiteY11272" fmla="*/ 5660636 h 7458372"/>
              <a:gd name="connsiteX11273" fmla="*/ 3098256 w 10505529"/>
              <a:gd name="connsiteY11273" fmla="*/ 5667026 h 7458372"/>
              <a:gd name="connsiteX11274" fmla="*/ 3104380 w 10505529"/>
              <a:gd name="connsiteY11274" fmla="*/ 5676344 h 7458372"/>
              <a:gd name="connsiteX11275" fmla="*/ 3106643 w 10505529"/>
              <a:gd name="connsiteY11275" fmla="*/ 5687792 h 7458372"/>
              <a:gd name="connsiteX11276" fmla="*/ 3104380 w 10505529"/>
              <a:gd name="connsiteY11276" fmla="*/ 5699507 h 7458372"/>
              <a:gd name="connsiteX11277" fmla="*/ 3098256 w 10505529"/>
              <a:gd name="connsiteY11277" fmla="*/ 5708825 h 7458372"/>
              <a:gd name="connsiteX11278" fmla="*/ 3088938 w 10505529"/>
              <a:gd name="connsiteY11278" fmla="*/ 5715082 h 7458372"/>
              <a:gd name="connsiteX11279" fmla="*/ 3077223 w 10505529"/>
              <a:gd name="connsiteY11279" fmla="*/ 5717344 h 7458372"/>
              <a:gd name="connsiteX11280" fmla="*/ 3055385 w 10505529"/>
              <a:gd name="connsiteY11280" fmla="*/ 5708825 h 7458372"/>
              <a:gd name="connsiteX11281" fmla="*/ 3046998 w 10505529"/>
              <a:gd name="connsiteY11281" fmla="*/ 5687659 h 7458372"/>
              <a:gd name="connsiteX11282" fmla="*/ 3055385 w 10505529"/>
              <a:gd name="connsiteY11282" fmla="*/ 5666626 h 7458372"/>
              <a:gd name="connsiteX11283" fmla="*/ 3077223 w 10505529"/>
              <a:gd name="connsiteY11283" fmla="*/ 5658107 h 7458372"/>
              <a:gd name="connsiteX11284" fmla="*/ 2859562 w 10505529"/>
              <a:gd name="connsiteY11284" fmla="*/ 5658107 h 7458372"/>
              <a:gd name="connsiteX11285" fmla="*/ 2871410 w 10505529"/>
              <a:gd name="connsiteY11285" fmla="*/ 5660636 h 7458372"/>
              <a:gd name="connsiteX11286" fmla="*/ 2880728 w 10505529"/>
              <a:gd name="connsiteY11286" fmla="*/ 5667026 h 7458372"/>
              <a:gd name="connsiteX11287" fmla="*/ 2886851 w 10505529"/>
              <a:gd name="connsiteY11287" fmla="*/ 5676344 h 7458372"/>
              <a:gd name="connsiteX11288" fmla="*/ 2889114 w 10505529"/>
              <a:gd name="connsiteY11288" fmla="*/ 5687792 h 7458372"/>
              <a:gd name="connsiteX11289" fmla="*/ 2886851 w 10505529"/>
              <a:gd name="connsiteY11289" fmla="*/ 5699507 h 7458372"/>
              <a:gd name="connsiteX11290" fmla="*/ 2880728 w 10505529"/>
              <a:gd name="connsiteY11290" fmla="*/ 5708825 h 7458372"/>
              <a:gd name="connsiteX11291" fmla="*/ 2871410 w 10505529"/>
              <a:gd name="connsiteY11291" fmla="*/ 5715082 h 7458372"/>
              <a:gd name="connsiteX11292" fmla="*/ 2859562 w 10505529"/>
              <a:gd name="connsiteY11292" fmla="*/ 5717344 h 7458372"/>
              <a:gd name="connsiteX11293" fmla="*/ 2837724 w 10505529"/>
              <a:gd name="connsiteY11293" fmla="*/ 5708825 h 7458372"/>
              <a:gd name="connsiteX11294" fmla="*/ 2829336 w 10505529"/>
              <a:gd name="connsiteY11294" fmla="*/ 5687659 h 7458372"/>
              <a:gd name="connsiteX11295" fmla="*/ 2837724 w 10505529"/>
              <a:gd name="connsiteY11295" fmla="*/ 5666626 h 7458372"/>
              <a:gd name="connsiteX11296" fmla="*/ 2859562 w 10505529"/>
              <a:gd name="connsiteY11296" fmla="*/ 5658107 h 7458372"/>
              <a:gd name="connsiteX11297" fmla="*/ 2641900 w 10505529"/>
              <a:gd name="connsiteY11297" fmla="*/ 5658107 h 7458372"/>
              <a:gd name="connsiteX11298" fmla="*/ 2653616 w 10505529"/>
              <a:gd name="connsiteY11298" fmla="*/ 5660636 h 7458372"/>
              <a:gd name="connsiteX11299" fmla="*/ 2662934 w 10505529"/>
              <a:gd name="connsiteY11299" fmla="*/ 5667026 h 7458372"/>
              <a:gd name="connsiteX11300" fmla="*/ 2669057 w 10505529"/>
              <a:gd name="connsiteY11300" fmla="*/ 5676344 h 7458372"/>
              <a:gd name="connsiteX11301" fmla="*/ 2671320 w 10505529"/>
              <a:gd name="connsiteY11301" fmla="*/ 5687792 h 7458372"/>
              <a:gd name="connsiteX11302" fmla="*/ 2669057 w 10505529"/>
              <a:gd name="connsiteY11302" fmla="*/ 5699507 h 7458372"/>
              <a:gd name="connsiteX11303" fmla="*/ 2662934 w 10505529"/>
              <a:gd name="connsiteY11303" fmla="*/ 5708825 h 7458372"/>
              <a:gd name="connsiteX11304" fmla="*/ 2653616 w 10505529"/>
              <a:gd name="connsiteY11304" fmla="*/ 5715082 h 7458372"/>
              <a:gd name="connsiteX11305" fmla="*/ 2641900 w 10505529"/>
              <a:gd name="connsiteY11305" fmla="*/ 5717344 h 7458372"/>
              <a:gd name="connsiteX11306" fmla="*/ 2620068 w 10505529"/>
              <a:gd name="connsiteY11306" fmla="*/ 5708825 h 7458372"/>
              <a:gd name="connsiteX11307" fmla="*/ 2611677 w 10505529"/>
              <a:gd name="connsiteY11307" fmla="*/ 5687659 h 7458372"/>
              <a:gd name="connsiteX11308" fmla="*/ 2620068 w 10505529"/>
              <a:gd name="connsiteY11308" fmla="*/ 5666626 h 7458372"/>
              <a:gd name="connsiteX11309" fmla="*/ 2641900 w 10505529"/>
              <a:gd name="connsiteY11309" fmla="*/ 5658107 h 7458372"/>
              <a:gd name="connsiteX11310" fmla="*/ 2424239 w 10505529"/>
              <a:gd name="connsiteY11310" fmla="*/ 5658107 h 7458372"/>
              <a:gd name="connsiteX11311" fmla="*/ 2435954 w 10505529"/>
              <a:gd name="connsiteY11311" fmla="*/ 5660636 h 7458372"/>
              <a:gd name="connsiteX11312" fmla="*/ 2445272 w 10505529"/>
              <a:gd name="connsiteY11312" fmla="*/ 5667026 h 7458372"/>
              <a:gd name="connsiteX11313" fmla="*/ 2451395 w 10505529"/>
              <a:gd name="connsiteY11313" fmla="*/ 5676344 h 7458372"/>
              <a:gd name="connsiteX11314" fmla="*/ 2453658 w 10505529"/>
              <a:gd name="connsiteY11314" fmla="*/ 5687792 h 7458372"/>
              <a:gd name="connsiteX11315" fmla="*/ 2451395 w 10505529"/>
              <a:gd name="connsiteY11315" fmla="*/ 5699507 h 7458372"/>
              <a:gd name="connsiteX11316" fmla="*/ 2445272 w 10505529"/>
              <a:gd name="connsiteY11316" fmla="*/ 5708825 h 7458372"/>
              <a:gd name="connsiteX11317" fmla="*/ 2435954 w 10505529"/>
              <a:gd name="connsiteY11317" fmla="*/ 5715082 h 7458372"/>
              <a:gd name="connsiteX11318" fmla="*/ 2424239 w 10505529"/>
              <a:gd name="connsiteY11318" fmla="*/ 5717344 h 7458372"/>
              <a:gd name="connsiteX11319" fmla="*/ 2402407 w 10505529"/>
              <a:gd name="connsiteY11319" fmla="*/ 5708825 h 7458372"/>
              <a:gd name="connsiteX11320" fmla="*/ 2394017 w 10505529"/>
              <a:gd name="connsiteY11320" fmla="*/ 5687659 h 7458372"/>
              <a:gd name="connsiteX11321" fmla="*/ 2402407 w 10505529"/>
              <a:gd name="connsiteY11321" fmla="*/ 5666626 h 7458372"/>
              <a:gd name="connsiteX11322" fmla="*/ 2424239 w 10505529"/>
              <a:gd name="connsiteY11322" fmla="*/ 5658107 h 7458372"/>
              <a:gd name="connsiteX11323" fmla="*/ 2206578 w 10505529"/>
              <a:gd name="connsiteY11323" fmla="*/ 5658107 h 7458372"/>
              <a:gd name="connsiteX11324" fmla="*/ 2218293 w 10505529"/>
              <a:gd name="connsiteY11324" fmla="*/ 5660636 h 7458372"/>
              <a:gd name="connsiteX11325" fmla="*/ 2227611 w 10505529"/>
              <a:gd name="connsiteY11325" fmla="*/ 5667026 h 7458372"/>
              <a:gd name="connsiteX11326" fmla="*/ 2233734 w 10505529"/>
              <a:gd name="connsiteY11326" fmla="*/ 5676344 h 7458372"/>
              <a:gd name="connsiteX11327" fmla="*/ 2235997 w 10505529"/>
              <a:gd name="connsiteY11327" fmla="*/ 5687792 h 7458372"/>
              <a:gd name="connsiteX11328" fmla="*/ 2233734 w 10505529"/>
              <a:gd name="connsiteY11328" fmla="*/ 5699507 h 7458372"/>
              <a:gd name="connsiteX11329" fmla="*/ 2227611 w 10505529"/>
              <a:gd name="connsiteY11329" fmla="*/ 5708825 h 7458372"/>
              <a:gd name="connsiteX11330" fmla="*/ 2218293 w 10505529"/>
              <a:gd name="connsiteY11330" fmla="*/ 5715082 h 7458372"/>
              <a:gd name="connsiteX11331" fmla="*/ 2206578 w 10505529"/>
              <a:gd name="connsiteY11331" fmla="*/ 5717344 h 7458372"/>
              <a:gd name="connsiteX11332" fmla="*/ 2184745 w 10505529"/>
              <a:gd name="connsiteY11332" fmla="*/ 5708825 h 7458372"/>
              <a:gd name="connsiteX11333" fmla="*/ 2176356 w 10505529"/>
              <a:gd name="connsiteY11333" fmla="*/ 5687659 h 7458372"/>
              <a:gd name="connsiteX11334" fmla="*/ 2184745 w 10505529"/>
              <a:gd name="connsiteY11334" fmla="*/ 5666626 h 7458372"/>
              <a:gd name="connsiteX11335" fmla="*/ 2206578 w 10505529"/>
              <a:gd name="connsiteY11335" fmla="*/ 5658107 h 7458372"/>
              <a:gd name="connsiteX11336" fmla="*/ 1989049 w 10505529"/>
              <a:gd name="connsiteY11336" fmla="*/ 5658107 h 7458372"/>
              <a:gd name="connsiteX11337" fmla="*/ 2000764 w 10505529"/>
              <a:gd name="connsiteY11337" fmla="*/ 5660636 h 7458372"/>
              <a:gd name="connsiteX11338" fmla="*/ 2010082 w 10505529"/>
              <a:gd name="connsiteY11338" fmla="*/ 5667026 h 7458372"/>
              <a:gd name="connsiteX11339" fmla="*/ 2016206 w 10505529"/>
              <a:gd name="connsiteY11339" fmla="*/ 5676344 h 7458372"/>
              <a:gd name="connsiteX11340" fmla="*/ 2018469 w 10505529"/>
              <a:gd name="connsiteY11340" fmla="*/ 5687792 h 7458372"/>
              <a:gd name="connsiteX11341" fmla="*/ 2016206 w 10505529"/>
              <a:gd name="connsiteY11341" fmla="*/ 5699507 h 7458372"/>
              <a:gd name="connsiteX11342" fmla="*/ 2010082 w 10505529"/>
              <a:gd name="connsiteY11342" fmla="*/ 5708825 h 7458372"/>
              <a:gd name="connsiteX11343" fmla="*/ 2000764 w 10505529"/>
              <a:gd name="connsiteY11343" fmla="*/ 5715082 h 7458372"/>
              <a:gd name="connsiteX11344" fmla="*/ 1989049 w 10505529"/>
              <a:gd name="connsiteY11344" fmla="*/ 5717344 h 7458372"/>
              <a:gd name="connsiteX11345" fmla="*/ 1967218 w 10505529"/>
              <a:gd name="connsiteY11345" fmla="*/ 5708825 h 7458372"/>
              <a:gd name="connsiteX11346" fmla="*/ 1958832 w 10505529"/>
              <a:gd name="connsiteY11346" fmla="*/ 5687659 h 7458372"/>
              <a:gd name="connsiteX11347" fmla="*/ 1967218 w 10505529"/>
              <a:gd name="connsiteY11347" fmla="*/ 5666626 h 7458372"/>
              <a:gd name="connsiteX11348" fmla="*/ 1989049 w 10505529"/>
              <a:gd name="connsiteY11348" fmla="*/ 5658107 h 7458372"/>
              <a:gd name="connsiteX11349" fmla="*/ 1771416 w 10505529"/>
              <a:gd name="connsiteY11349" fmla="*/ 5658107 h 7458372"/>
              <a:gd name="connsiteX11350" fmla="*/ 1783129 w 10505529"/>
              <a:gd name="connsiteY11350" fmla="*/ 5660636 h 7458372"/>
              <a:gd name="connsiteX11351" fmla="*/ 1792447 w 10505529"/>
              <a:gd name="connsiteY11351" fmla="*/ 5667026 h 7458372"/>
              <a:gd name="connsiteX11352" fmla="*/ 1798570 w 10505529"/>
              <a:gd name="connsiteY11352" fmla="*/ 5676344 h 7458372"/>
              <a:gd name="connsiteX11353" fmla="*/ 1800833 w 10505529"/>
              <a:gd name="connsiteY11353" fmla="*/ 5687792 h 7458372"/>
              <a:gd name="connsiteX11354" fmla="*/ 1798570 w 10505529"/>
              <a:gd name="connsiteY11354" fmla="*/ 5699507 h 7458372"/>
              <a:gd name="connsiteX11355" fmla="*/ 1792447 w 10505529"/>
              <a:gd name="connsiteY11355" fmla="*/ 5708825 h 7458372"/>
              <a:gd name="connsiteX11356" fmla="*/ 1783129 w 10505529"/>
              <a:gd name="connsiteY11356" fmla="*/ 5715082 h 7458372"/>
              <a:gd name="connsiteX11357" fmla="*/ 1771416 w 10505529"/>
              <a:gd name="connsiteY11357" fmla="*/ 5717344 h 7458372"/>
              <a:gd name="connsiteX11358" fmla="*/ 1749586 w 10505529"/>
              <a:gd name="connsiteY11358" fmla="*/ 5708825 h 7458372"/>
              <a:gd name="connsiteX11359" fmla="*/ 1741203 w 10505529"/>
              <a:gd name="connsiteY11359" fmla="*/ 5687659 h 7458372"/>
              <a:gd name="connsiteX11360" fmla="*/ 1749586 w 10505529"/>
              <a:gd name="connsiteY11360" fmla="*/ 5666626 h 7458372"/>
              <a:gd name="connsiteX11361" fmla="*/ 1771416 w 10505529"/>
              <a:gd name="connsiteY11361" fmla="*/ 5658107 h 7458372"/>
              <a:gd name="connsiteX11362" fmla="*/ 1553779 w 10505529"/>
              <a:gd name="connsiteY11362" fmla="*/ 5658107 h 7458372"/>
              <a:gd name="connsiteX11363" fmla="*/ 1565494 w 10505529"/>
              <a:gd name="connsiteY11363" fmla="*/ 5660636 h 7458372"/>
              <a:gd name="connsiteX11364" fmla="*/ 1574812 w 10505529"/>
              <a:gd name="connsiteY11364" fmla="*/ 5667026 h 7458372"/>
              <a:gd name="connsiteX11365" fmla="*/ 1580935 w 10505529"/>
              <a:gd name="connsiteY11365" fmla="*/ 5676344 h 7458372"/>
              <a:gd name="connsiteX11366" fmla="*/ 1583198 w 10505529"/>
              <a:gd name="connsiteY11366" fmla="*/ 5687792 h 7458372"/>
              <a:gd name="connsiteX11367" fmla="*/ 1580935 w 10505529"/>
              <a:gd name="connsiteY11367" fmla="*/ 5699507 h 7458372"/>
              <a:gd name="connsiteX11368" fmla="*/ 1574812 w 10505529"/>
              <a:gd name="connsiteY11368" fmla="*/ 5708825 h 7458372"/>
              <a:gd name="connsiteX11369" fmla="*/ 1565494 w 10505529"/>
              <a:gd name="connsiteY11369" fmla="*/ 5715082 h 7458372"/>
              <a:gd name="connsiteX11370" fmla="*/ 1553779 w 10505529"/>
              <a:gd name="connsiteY11370" fmla="*/ 5717344 h 7458372"/>
              <a:gd name="connsiteX11371" fmla="*/ 1531949 w 10505529"/>
              <a:gd name="connsiteY11371" fmla="*/ 5708825 h 7458372"/>
              <a:gd name="connsiteX11372" fmla="*/ 1523564 w 10505529"/>
              <a:gd name="connsiteY11372" fmla="*/ 5687659 h 7458372"/>
              <a:gd name="connsiteX11373" fmla="*/ 1531949 w 10505529"/>
              <a:gd name="connsiteY11373" fmla="*/ 5666626 h 7458372"/>
              <a:gd name="connsiteX11374" fmla="*/ 1553779 w 10505529"/>
              <a:gd name="connsiteY11374" fmla="*/ 5658107 h 7458372"/>
              <a:gd name="connsiteX11375" fmla="*/ 1336135 w 10505529"/>
              <a:gd name="connsiteY11375" fmla="*/ 5658107 h 7458372"/>
              <a:gd name="connsiteX11376" fmla="*/ 1347851 w 10505529"/>
              <a:gd name="connsiteY11376" fmla="*/ 5660636 h 7458372"/>
              <a:gd name="connsiteX11377" fmla="*/ 1357169 w 10505529"/>
              <a:gd name="connsiteY11377" fmla="*/ 5667026 h 7458372"/>
              <a:gd name="connsiteX11378" fmla="*/ 1363292 w 10505529"/>
              <a:gd name="connsiteY11378" fmla="*/ 5676344 h 7458372"/>
              <a:gd name="connsiteX11379" fmla="*/ 1365554 w 10505529"/>
              <a:gd name="connsiteY11379" fmla="*/ 5687792 h 7458372"/>
              <a:gd name="connsiteX11380" fmla="*/ 1363292 w 10505529"/>
              <a:gd name="connsiteY11380" fmla="*/ 5699507 h 7458372"/>
              <a:gd name="connsiteX11381" fmla="*/ 1357169 w 10505529"/>
              <a:gd name="connsiteY11381" fmla="*/ 5708825 h 7458372"/>
              <a:gd name="connsiteX11382" fmla="*/ 1347851 w 10505529"/>
              <a:gd name="connsiteY11382" fmla="*/ 5715082 h 7458372"/>
              <a:gd name="connsiteX11383" fmla="*/ 1336135 w 10505529"/>
              <a:gd name="connsiteY11383" fmla="*/ 5717344 h 7458372"/>
              <a:gd name="connsiteX11384" fmla="*/ 1314303 w 10505529"/>
              <a:gd name="connsiteY11384" fmla="*/ 5708825 h 7458372"/>
              <a:gd name="connsiteX11385" fmla="*/ 1305917 w 10505529"/>
              <a:gd name="connsiteY11385" fmla="*/ 5687659 h 7458372"/>
              <a:gd name="connsiteX11386" fmla="*/ 1314303 w 10505529"/>
              <a:gd name="connsiteY11386" fmla="*/ 5666626 h 7458372"/>
              <a:gd name="connsiteX11387" fmla="*/ 1336135 w 10505529"/>
              <a:gd name="connsiteY11387" fmla="*/ 5658107 h 7458372"/>
              <a:gd name="connsiteX11388" fmla="*/ 1118490 w 10505529"/>
              <a:gd name="connsiteY11388" fmla="*/ 5658107 h 7458372"/>
              <a:gd name="connsiteX11389" fmla="*/ 1130208 w 10505529"/>
              <a:gd name="connsiteY11389" fmla="*/ 5660636 h 7458372"/>
              <a:gd name="connsiteX11390" fmla="*/ 1139523 w 10505529"/>
              <a:gd name="connsiteY11390" fmla="*/ 5667026 h 7458372"/>
              <a:gd name="connsiteX11391" fmla="*/ 1145643 w 10505529"/>
              <a:gd name="connsiteY11391" fmla="*/ 5676344 h 7458372"/>
              <a:gd name="connsiteX11392" fmla="*/ 1147906 w 10505529"/>
              <a:gd name="connsiteY11392" fmla="*/ 5687792 h 7458372"/>
              <a:gd name="connsiteX11393" fmla="*/ 1145643 w 10505529"/>
              <a:gd name="connsiteY11393" fmla="*/ 5699507 h 7458372"/>
              <a:gd name="connsiteX11394" fmla="*/ 1139523 w 10505529"/>
              <a:gd name="connsiteY11394" fmla="*/ 5708825 h 7458372"/>
              <a:gd name="connsiteX11395" fmla="*/ 1130208 w 10505529"/>
              <a:gd name="connsiteY11395" fmla="*/ 5715082 h 7458372"/>
              <a:gd name="connsiteX11396" fmla="*/ 1118490 w 10505529"/>
              <a:gd name="connsiteY11396" fmla="*/ 5717344 h 7458372"/>
              <a:gd name="connsiteX11397" fmla="*/ 1096655 w 10505529"/>
              <a:gd name="connsiteY11397" fmla="*/ 5708825 h 7458372"/>
              <a:gd name="connsiteX11398" fmla="*/ 1088270 w 10505529"/>
              <a:gd name="connsiteY11398" fmla="*/ 5687659 h 7458372"/>
              <a:gd name="connsiteX11399" fmla="*/ 1096655 w 10505529"/>
              <a:gd name="connsiteY11399" fmla="*/ 5666626 h 7458372"/>
              <a:gd name="connsiteX11400" fmla="*/ 1118490 w 10505529"/>
              <a:gd name="connsiteY11400" fmla="*/ 5658107 h 7458372"/>
              <a:gd name="connsiteX11401" fmla="*/ 900977 w 10505529"/>
              <a:gd name="connsiteY11401" fmla="*/ 5658107 h 7458372"/>
              <a:gd name="connsiteX11402" fmla="*/ 912692 w 10505529"/>
              <a:gd name="connsiteY11402" fmla="*/ 5660636 h 7458372"/>
              <a:gd name="connsiteX11403" fmla="*/ 922010 w 10505529"/>
              <a:gd name="connsiteY11403" fmla="*/ 5667026 h 7458372"/>
              <a:gd name="connsiteX11404" fmla="*/ 928132 w 10505529"/>
              <a:gd name="connsiteY11404" fmla="*/ 5676344 h 7458372"/>
              <a:gd name="connsiteX11405" fmla="*/ 930395 w 10505529"/>
              <a:gd name="connsiteY11405" fmla="*/ 5687792 h 7458372"/>
              <a:gd name="connsiteX11406" fmla="*/ 928132 w 10505529"/>
              <a:gd name="connsiteY11406" fmla="*/ 5699507 h 7458372"/>
              <a:gd name="connsiteX11407" fmla="*/ 922010 w 10505529"/>
              <a:gd name="connsiteY11407" fmla="*/ 5708825 h 7458372"/>
              <a:gd name="connsiteX11408" fmla="*/ 912692 w 10505529"/>
              <a:gd name="connsiteY11408" fmla="*/ 5715082 h 7458372"/>
              <a:gd name="connsiteX11409" fmla="*/ 900977 w 10505529"/>
              <a:gd name="connsiteY11409" fmla="*/ 5717344 h 7458372"/>
              <a:gd name="connsiteX11410" fmla="*/ 879146 w 10505529"/>
              <a:gd name="connsiteY11410" fmla="*/ 5708825 h 7458372"/>
              <a:gd name="connsiteX11411" fmla="*/ 870761 w 10505529"/>
              <a:gd name="connsiteY11411" fmla="*/ 5687659 h 7458372"/>
              <a:gd name="connsiteX11412" fmla="*/ 879146 w 10505529"/>
              <a:gd name="connsiteY11412" fmla="*/ 5666626 h 7458372"/>
              <a:gd name="connsiteX11413" fmla="*/ 900977 w 10505529"/>
              <a:gd name="connsiteY11413" fmla="*/ 5658107 h 7458372"/>
              <a:gd name="connsiteX11414" fmla="*/ 683337 w 10505529"/>
              <a:gd name="connsiteY11414" fmla="*/ 5658107 h 7458372"/>
              <a:gd name="connsiteX11415" fmla="*/ 695052 w 10505529"/>
              <a:gd name="connsiteY11415" fmla="*/ 5660636 h 7458372"/>
              <a:gd name="connsiteX11416" fmla="*/ 704369 w 10505529"/>
              <a:gd name="connsiteY11416" fmla="*/ 5667026 h 7458372"/>
              <a:gd name="connsiteX11417" fmla="*/ 710492 w 10505529"/>
              <a:gd name="connsiteY11417" fmla="*/ 5676344 h 7458372"/>
              <a:gd name="connsiteX11418" fmla="*/ 712755 w 10505529"/>
              <a:gd name="connsiteY11418" fmla="*/ 5687792 h 7458372"/>
              <a:gd name="connsiteX11419" fmla="*/ 710492 w 10505529"/>
              <a:gd name="connsiteY11419" fmla="*/ 5699507 h 7458372"/>
              <a:gd name="connsiteX11420" fmla="*/ 704369 w 10505529"/>
              <a:gd name="connsiteY11420" fmla="*/ 5708825 h 7458372"/>
              <a:gd name="connsiteX11421" fmla="*/ 695052 w 10505529"/>
              <a:gd name="connsiteY11421" fmla="*/ 5715082 h 7458372"/>
              <a:gd name="connsiteX11422" fmla="*/ 683337 w 10505529"/>
              <a:gd name="connsiteY11422" fmla="*/ 5717344 h 7458372"/>
              <a:gd name="connsiteX11423" fmla="*/ 661505 w 10505529"/>
              <a:gd name="connsiteY11423" fmla="*/ 5708825 h 7458372"/>
              <a:gd name="connsiteX11424" fmla="*/ 653119 w 10505529"/>
              <a:gd name="connsiteY11424" fmla="*/ 5687659 h 7458372"/>
              <a:gd name="connsiteX11425" fmla="*/ 661505 w 10505529"/>
              <a:gd name="connsiteY11425" fmla="*/ 5666626 h 7458372"/>
              <a:gd name="connsiteX11426" fmla="*/ 683337 w 10505529"/>
              <a:gd name="connsiteY11426" fmla="*/ 5658107 h 7458372"/>
              <a:gd name="connsiteX11427" fmla="*/ 465695 w 10505529"/>
              <a:gd name="connsiteY11427" fmla="*/ 5658107 h 7458372"/>
              <a:gd name="connsiteX11428" fmla="*/ 477411 w 10505529"/>
              <a:gd name="connsiteY11428" fmla="*/ 5660636 h 7458372"/>
              <a:gd name="connsiteX11429" fmla="*/ 486728 w 10505529"/>
              <a:gd name="connsiteY11429" fmla="*/ 5667026 h 7458372"/>
              <a:gd name="connsiteX11430" fmla="*/ 492851 w 10505529"/>
              <a:gd name="connsiteY11430" fmla="*/ 5676344 h 7458372"/>
              <a:gd name="connsiteX11431" fmla="*/ 495114 w 10505529"/>
              <a:gd name="connsiteY11431" fmla="*/ 5687792 h 7458372"/>
              <a:gd name="connsiteX11432" fmla="*/ 492851 w 10505529"/>
              <a:gd name="connsiteY11432" fmla="*/ 5699507 h 7458372"/>
              <a:gd name="connsiteX11433" fmla="*/ 486728 w 10505529"/>
              <a:gd name="connsiteY11433" fmla="*/ 5708825 h 7458372"/>
              <a:gd name="connsiteX11434" fmla="*/ 477411 w 10505529"/>
              <a:gd name="connsiteY11434" fmla="*/ 5715082 h 7458372"/>
              <a:gd name="connsiteX11435" fmla="*/ 465695 w 10505529"/>
              <a:gd name="connsiteY11435" fmla="*/ 5717344 h 7458372"/>
              <a:gd name="connsiteX11436" fmla="*/ 443864 w 10505529"/>
              <a:gd name="connsiteY11436" fmla="*/ 5708825 h 7458372"/>
              <a:gd name="connsiteX11437" fmla="*/ 435478 w 10505529"/>
              <a:gd name="connsiteY11437" fmla="*/ 5687659 h 7458372"/>
              <a:gd name="connsiteX11438" fmla="*/ 443864 w 10505529"/>
              <a:gd name="connsiteY11438" fmla="*/ 5666626 h 7458372"/>
              <a:gd name="connsiteX11439" fmla="*/ 465695 w 10505529"/>
              <a:gd name="connsiteY11439" fmla="*/ 5658107 h 7458372"/>
              <a:gd name="connsiteX11440" fmla="*/ 248054 w 10505529"/>
              <a:gd name="connsiteY11440" fmla="*/ 5658107 h 7458372"/>
              <a:gd name="connsiteX11441" fmla="*/ 259768 w 10505529"/>
              <a:gd name="connsiteY11441" fmla="*/ 5660636 h 7458372"/>
              <a:gd name="connsiteX11442" fmla="*/ 269087 w 10505529"/>
              <a:gd name="connsiteY11442" fmla="*/ 5667026 h 7458372"/>
              <a:gd name="connsiteX11443" fmla="*/ 275210 w 10505529"/>
              <a:gd name="connsiteY11443" fmla="*/ 5676344 h 7458372"/>
              <a:gd name="connsiteX11444" fmla="*/ 277473 w 10505529"/>
              <a:gd name="connsiteY11444" fmla="*/ 5687792 h 7458372"/>
              <a:gd name="connsiteX11445" fmla="*/ 275210 w 10505529"/>
              <a:gd name="connsiteY11445" fmla="*/ 5699507 h 7458372"/>
              <a:gd name="connsiteX11446" fmla="*/ 269087 w 10505529"/>
              <a:gd name="connsiteY11446" fmla="*/ 5708825 h 7458372"/>
              <a:gd name="connsiteX11447" fmla="*/ 259768 w 10505529"/>
              <a:gd name="connsiteY11447" fmla="*/ 5715082 h 7458372"/>
              <a:gd name="connsiteX11448" fmla="*/ 248054 w 10505529"/>
              <a:gd name="connsiteY11448" fmla="*/ 5717344 h 7458372"/>
              <a:gd name="connsiteX11449" fmla="*/ 226224 w 10505529"/>
              <a:gd name="connsiteY11449" fmla="*/ 5708825 h 7458372"/>
              <a:gd name="connsiteX11450" fmla="*/ 217839 w 10505529"/>
              <a:gd name="connsiteY11450" fmla="*/ 5687659 h 7458372"/>
              <a:gd name="connsiteX11451" fmla="*/ 226224 w 10505529"/>
              <a:gd name="connsiteY11451" fmla="*/ 5666626 h 7458372"/>
              <a:gd name="connsiteX11452" fmla="*/ 248054 w 10505529"/>
              <a:gd name="connsiteY11452" fmla="*/ 5658107 h 7458372"/>
              <a:gd name="connsiteX11453" fmla="*/ 30413 w 10505529"/>
              <a:gd name="connsiteY11453" fmla="*/ 5658107 h 7458372"/>
              <a:gd name="connsiteX11454" fmla="*/ 42128 w 10505529"/>
              <a:gd name="connsiteY11454" fmla="*/ 5660636 h 7458372"/>
              <a:gd name="connsiteX11455" fmla="*/ 51446 w 10505529"/>
              <a:gd name="connsiteY11455" fmla="*/ 5667026 h 7458372"/>
              <a:gd name="connsiteX11456" fmla="*/ 57569 w 10505529"/>
              <a:gd name="connsiteY11456" fmla="*/ 5676344 h 7458372"/>
              <a:gd name="connsiteX11457" fmla="*/ 59832 w 10505529"/>
              <a:gd name="connsiteY11457" fmla="*/ 5687792 h 7458372"/>
              <a:gd name="connsiteX11458" fmla="*/ 57569 w 10505529"/>
              <a:gd name="connsiteY11458" fmla="*/ 5699507 h 7458372"/>
              <a:gd name="connsiteX11459" fmla="*/ 51446 w 10505529"/>
              <a:gd name="connsiteY11459" fmla="*/ 5708825 h 7458372"/>
              <a:gd name="connsiteX11460" fmla="*/ 42128 w 10505529"/>
              <a:gd name="connsiteY11460" fmla="*/ 5715082 h 7458372"/>
              <a:gd name="connsiteX11461" fmla="*/ 30413 w 10505529"/>
              <a:gd name="connsiteY11461" fmla="*/ 5717344 h 7458372"/>
              <a:gd name="connsiteX11462" fmla="*/ 8585 w 10505529"/>
              <a:gd name="connsiteY11462" fmla="*/ 5708825 h 7458372"/>
              <a:gd name="connsiteX11463" fmla="*/ 199 w 10505529"/>
              <a:gd name="connsiteY11463" fmla="*/ 5687659 h 7458372"/>
              <a:gd name="connsiteX11464" fmla="*/ 8585 w 10505529"/>
              <a:gd name="connsiteY11464" fmla="*/ 5666626 h 7458372"/>
              <a:gd name="connsiteX11465" fmla="*/ 30413 w 10505529"/>
              <a:gd name="connsiteY11465" fmla="*/ 5658107 h 7458372"/>
              <a:gd name="connsiteX11466" fmla="*/ 10475977 w 10505529"/>
              <a:gd name="connsiteY11466" fmla="*/ 5457102 h 7458372"/>
              <a:gd name="connsiteX11467" fmla="*/ 10465992 w 10505529"/>
              <a:gd name="connsiteY11467" fmla="*/ 5460696 h 7458372"/>
              <a:gd name="connsiteX11468" fmla="*/ 10462399 w 10505529"/>
              <a:gd name="connsiteY11468" fmla="*/ 5470147 h 7458372"/>
              <a:gd name="connsiteX11469" fmla="*/ 10465992 w 10505529"/>
              <a:gd name="connsiteY11469" fmla="*/ 5479598 h 7458372"/>
              <a:gd name="connsiteX11470" fmla="*/ 10475977 w 10505529"/>
              <a:gd name="connsiteY11470" fmla="*/ 5483060 h 7458372"/>
              <a:gd name="connsiteX11471" fmla="*/ 10481302 w 10505529"/>
              <a:gd name="connsiteY11471" fmla="*/ 5482128 h 7458372"/>
              <a:gd name="connsiteX11472" fmla="*/ 10485029 w 10505529"/>
              <a:gd name="connsiteY11472" fmla="*/ 5479731 h 7458372"/>
              <a:gd name="connsiteX11473" fmla="*/ 10487691 w 10505529"/>
              <a:gd name="connsiteY11473" fmla="*/ 5475472 h 7458372"/>
              <a:gd name="connsiteX11474" fmla="*/ 10488623 w 10505529"/>
              <a:gd name="connsiteY11474" fmla="*/ 5470014 h 7458372"/>
              <a:gd name="connsiteX11475" fmla="*/ 10487691 w 10505529"/>
              <a:gd name="connsiteY11475" fmla="*/ 5464822 h 7458372"/>
              <a:gd name="connsiteX11476" fmla="*/ 10485029 w 10505529"/>
              <a:gd name="connsiteY11476" fmla="*/ 5460696 h 7458372"/>
              <a:gd name="connsiteX11477" fmla="*/ 10481035 w 10505529"/>
              <a:gd name="connsiteY11477" fmla="*/ 5458033 h 7458372"/>
              <a:gd name="connsiteX11478" fmla="*/ 10475977 w 10505529"/>
              <a:gd name="connsiteY11478" fmla="*/ 5457102 h 7458372"/>
              <a:gd name="connsiteX11479" fmla="*/ 10258466 w 10505529"/>
              <a:gd name="connsiteY11479" fmla="*/ 5457102 h 7458372"/>
              <a:gd name="connsiteX11480" fmla="*/ 10248481 w 10505529"/>
              <a:gd name="connsiteY11480" fmla="*/ 5460696 h 7458372"/>
              <a:gd name="connsiteX11481" fmla="*/ 10244887 w 10505529"/>
              <a:gd name="connsiteY11481" fmla="*/ 5470147 h 7458372"/>
              <a:gd name="connsiteX11482" fmla="*/ 10248481 w 10505529"/>
              <a:gd name="connsiteY11482" fmla="*/ 5479598 h 7458372"/>
              <a:gd name="connsiteX11483" fmla="*/ 10258466 w 10505529"/>
              <a:gd name="connsiteY11483" fmla="*/ 5483060 h 7458372"/>
              <a:gd name="connsiteX11484" fmla="*/ 10263790 w 10505529"/>
              <a:gd name="connsiteY11484" fmla="*/ 5482128 h 7458372"/>
              <a:gd name="connsiteX11485" fmla="*/ 10267517 w 10505529"/>
              <a:gd name="connsiteY11485" fmla="*/ 5479731 h 7458372"/>
              <a:gd name="connsiteX11486" fmla="*/ 10270180 w 10505529"/>
              <a:gd name="connsiteY11486" fmla="*/ 5475472 h 7458372"/>
              <a:gd name="connsiteX11487" fmla="*/ 10271112 w 10505529"/>
              <a:gd name="connsiteY11487" fmla="*/ 5470014 h 7458372"/>
              <a:gd name="connsiteX11488" fmla="*/ 10270180 w 10505529"/>
              <a:gd name="connsiteY11488" fmla="*/ 5464822 h 7458372"/>
              <a:gd name="connsiteX11489" fmla="*/ 10267517 w 10505529"/>
              <a:gd name="connsiteY11489" fmla="*/ 5460696 h 7458372"/>
              <a:gd name="connsiteX11490" fmla="*/ 10263524 w 10505529"/>
              <a:gd name="connsiteY11490" fmla="*/ 5458033 h 7458372"/>
              <a:gd name="connsiteX11491" fmla="*/ 10258466 w 10505529"/>
              <a:gd name="connsiteY11491" fmla="*/ 5457102 h 7458372"/>
              <a:gd name="connsiteX11492" fmla="*/ 10040820 w 10505529"/>
              <a:gd name="connsiteY11492" fmla="*/ 5457102 h 7458372"/>
              <a:gd name="connsiteX11493" fmla="*/ 10030835 w 10505529"/>
              <a:gd name="connsiteY11493" fmla="*/ 5460696 h 7458372"/>
              <a:gd name="connsiteX11494" fmla="*/ 10027242 w 10505529"/>
              <a:gd name="connsiteY11494" fmla="*/ 5470147 h 7458372"/>
              <a:gd name="connsiteX11495" fmla="*/ 10030835 w 10505529"/>
              <a:gd name="connsiteY11495" fmla="*/ 5479598 h 7458372"/>
              <a:gd name="connsiteX11496" fmla="*/ 10040820 w 10505529"/>
              <a:gd name="connsiteY11496" fmla="*/ 5483060 h 7458372"/>
              <a:gd name="connsiteX11497" fmla="*/ 10046145 w 10505529"/>
              <a:gd name="connsiteY11497" fmla="*/ 5482128 h 7458372"/>
              <a:gd name="connsiteX11498" fmla="*/ 10049872 w 10505529"/>
              <a:gd name="connsiteY11498" fmla="*/ 5479731 h 7458372"/>
              <a:gd name="connsiteX11499" fmla="*/ 10052534 w 10505529"/>
              <a:gd name="connsiteY11499" fmla="*/ 5475472 h 7458372"/>
              <a:gd name="connsiteX11500" fmla="*/ 10053599 w 10505529"/>
              <a:gd name="connsiteY11500" fmla="*/ 5470014 h 7458372"/>
              <a:gd name="connsiteX11501" fmla="*/ 10052534 w 10505529"/>
              <a:gd name="connsiteY11501" fmla="*/ 5464822 h 7458372"/>
              <a:gd name="connsiteX11502" fmla="*/ 10049872 w 10505529"/>
              <a:gd name="connsiteY11502" fmla="*/ 5460696 h 7458372"/>
              <a:gd name="connsiteX11503" fmla="*/ 10045878 w 10505529"/>
              <a:gd name="connsiteY11503" fmla="*/ 5458033 h 7458372"/>
              <a:gd name="connsiteX11504" fmla="*/ 10040820 w 10505529"/>
              <a:gd name="connsiteY11504" fmla="*/ 5457102 h 7458372"/>
              <a:gd name="connsiteX11505" fmla="*/ 9823176 w 10505529"/>
              <a:gd name="connsiteY11505" fmla="*/ 5457102 h 7458372"/>
              <a:gd name="connsiteX11506" fmla="*/ 9813191 w 10505529"/>
              <a:gd name="connsiteY11506" fmla="*/ 5460696 h 7458372"/>
              <a:gd name="connsiteX11507" fmla="*/ 9809597 w 10505529"/>
              <a:gd name="connsiteY11507" fmla="*/ 5470147 h 7458372"/>
              <a:gd name="connsiteX11508" fmla="*/ 9813191 w 10505529"/>
              <a:gd name="connsiteY11508" fmla="*/ 5479598 h 7458372"/>
              <a:gd name="connsiteX11509" fmla="*/ 9823176 w 10505529"/>
              <a:gd name="connsiteY11509" fmla="*/ 5483060 h 7458372"/>
              <a:gd name="connsiteX11510" fmla="*/ 9828501 w 10505529"/>
              <a:gd name="connsiteY11510" fmla="*/ 5482128 h 7458372"/>
              <a:gd name="connsiteX11511" fmla="*/ 9832227 w 10505529"/>
              <a:gd name="connsiteY11511" fmla="*/ 5479731 h 7458372"/>
              <a:gd name="connsiteX11512" fmla="*/ 9834890 w 10505529"/>
              <a:gd name="connsiteY11512" fmla="*/ 5475472 h 7458372"/>
              <a:gd name="connsiteX11513" fmla="*/ 9835955 w 10505529"/>
              <a:gd name="connsiteY11513" fmla="*/ 5470014 h 7458372"/>
              <a:gd name="connsiteX11514" fmla="*/ 9834890 w 10505529"/>
              <a:gd name="connsiteY11514" fmla="*/ 5464822 h 7458372"/>
              <a:gd name="connsiteX11515" fmla="*/ 9832227 w 10505529"/>
              <a:gd name="connsiteY11515" fmla="*/ 5460696 h 7458372"/>
              <a:gd name="connsiteX11516" fmla="*/ 9828234 w 10505529"/>
              <a:gd name="connsiteY11516" fmla="*/ 5458033 h 7458372"/>
              <a:gd name="connsiteX11517" fmla="*/ 9823176 w 10505529"/>
              <a:gd name="connsiteY11517" fmla="*/ 5457102 h 7458372"/>
              <a:gd name="connsiteX11518" fmla="*/ 9605531 w 10505529"/>
              <a:gd name="connsiteY11518" fmla="*/ 5457102 h 7458372"/>
              <a:gd name="connsiteX11519" fmla="*/ 9595546 w 10505529"/>
              <a:gd name="connsiteY11519" fmla="*/ 5460696 h 7458372"/>
              <a:gd name="connsiteX11520" fmla="*/ 9591952 w 10505529"/>
              <a:gd name="connsiteY11520" fmla="*/ 5470147 h 7458372"/>
              <a:gd name="connsiteX11521" fmla="*/ 9595546 w 10505529"/>
              <a:gd name="connsiteY11521" fmla="*/ 5479598 h 7458372"/>
              <a:gd name="connsiteX11522" fmla="*/ 9605531 w 10505529"/>
              <a:gd name="connsiteY11522" fmla="*/ 5483060 h 7458372"/>
              <a:gd name="connsiteX11523" fmla="*/ 9610855 w 10505529"/>
              <a:gd name="connsiteY11523" fmla="*/ 5482128 h 7458372"/>
              <a:gd name="connsiteX11524" fmla="*/ 9614582 w 10505529"/>
              <a:gd name="connsiteY11524" fmla="*/ 5479731 h 7458372"/>
              <a:gd name="connsiteX11525" fmla="*/ 9617245 w 10505529"/>
              <a:gd name="connsiteY11525" fmla="*/ 5475472 h 7458372"/>
              <a:gd name="connsiteX11526" fmla="*/ 9618309 w 10505529"/>
              <a:gd name="connsiteY11526" fmla="*/ 5470014 h 7458372"/>
              <a:gd name="connsiteX11527" fmla="*/ 9617245 w 10505529"/>
              <a:gd name="connsiteY11527" fmla="*/ 5464822 h 7458372"/>
              <a:gd name="connsiteX11528" fmla="*/ 9614582 w 10505529"/>
              <a:gd name="connsiteY11528" fmla="*/ 5460696 h 7458372"/>
              <a:gd name="connsiteX11529" fmla="*/ 9610589 w 10505529"/>
              <a:gd name="connsiteY11529" fmla="*/ 5458033 h 7458372"/>
              <a:gd name="connsiteX11530" fmla="*/ 9605531 w 10505529"/>
              <a:gd name="connsiteY11530" fmla="*/ 5457102 h 7458372"/>
              <a:gd name="connsiteX11531" fmla="*/ 9387885 w 10505529"/>
              <a:gd name="connsiteY11531" fmla="*/ 5457102 h 7458372"/>
              <a:gd name="connsiteX11532" fmla="*/ 9377900 w 10505529"/>
              <a:gd name="connsiteY11532" fmla="*/ 5460696 h 7458372"/>
              <a:gd name="connsiteX11533" fmla="*/ 9374307 w 10505529"/>
              <a:gd name="connsiteY11533" fmla="*/ 5470147 h 7458372"/>
              <a:gd name="connsiteX11534" fmla="*/ 9377900 w 10505529"/>
              <a:gd name="connsiteY11534" fmla="*/ 5479598 h 7458372"/>
              <a:gd name="connsiteX11535" fmla="*/ 9387885 w 10505529"/>
              <a:gd name="connsiteY11535" fmla="*/ 5483060 h 7458372"/>
              <a:gd name="connsiteX11536" fmla="*/ 9393210 w 10505529"/>
              <a:gd name="connsiteY11536" fmla="*/ 5482128 h 7458372"/>
              <a:gd name="connsiteX11537" fmla="*/ 9396937 w 10505529"/>
              <a:gd name="connsiteY11537" fmla="*/ 5479731 h 7458372"/>
              <a:gd name="connsiteX11538" fmla="*/ 9399599 w 10505529"/>
              <a:gd name="connsiteY11538" fmla="*/ 5475472 h 7458372"/>
              <a:gd name="connsiteX11539" fmla="*/ 9400664 w 10505529"/>
              <a:gd name="connsiteY11539" fmla="*/ 5470014 h 7458372"/>
              <a:gd name="connsiteX11540" fmla="*/ 9399599 w 10505529"/>
              <a:gd name="connsiteY11540" fmla="*/ 5464822 h 7458372"/>
              <a:gd name="connsiteX11541" fmla="*/ 9396937 w 10505529"/>
              <a:gd name="connsiteY11541" fmla="*/ 5460696 h 7458372"/>
              <a:gd name="connsiteX11542" fmla="*/ 9392943 w 10505529"/>
              <a:gd name="connsiteY11542" fmla="*/ 5458033 h 7458372"/>
              <a:gd name="connsiteX11543" fmla="*/ 9387885 w 10505529"/>
              <a:gd name="connsiteY11543" fmla="*/ 5457102 h 7458372"/>
              <a:gd name="connsiteX11544" fmla="*/ 9170374 w 10505529"/>
              <a:gd name="connsiteY11544" fmla="*/ 5457102 h 7458372"/>
              <a:gd name="connsiteX11545" fmla="*/ 9160389 w 10505529"/>
              <a:gd name="connsiteY11545" fmla="*/ 5460696 h 7458372"/>
              <a:gd name="connsiteX11546" fmla="*/ 9156795 w 10505529"/>
              <a:gd name="connsiteY11546" fmla="*/ 5470147 h 7458372"/>
              <a:gd name="connsiteX11547" fmla="*/ 9160389 w 10505529"/>
              <a:gd name="connsiteY11547" fmla="*/ 5479598 h 7458372"/>
              <a:gd name="connsiteX11548" fmla="*/ 9170374 w 10505529"/>
              <a:gd name="connsiteY11548" fmla="*/ 5483060 h 7458372"/>
              <a:gd name="connsiteX11549" fmla="*/ 9175698 w 10505529"/>
              <a:gd name="connsiteY11549" fmla="*/ 5482128 h 7458372"/>
              <a:gd name="connsiteX11550" fmla="*/ 9179425 w 10505529"/>
              <a:gd name="connsiteY11550" fmla="*/ 5479731 h 7458372"/>
              <a:gd name="connsiteX11551" fmla="*/ 9182088 w 10505529"/>
              <a:gd name="connsiteY11551" fmla="*/ 5475472 h 7458372"/>
              <a:gd name="connsiteX11552" fmla="*/ 9183152 w 10505529"/>
              <a:gd name="connsiteY11552" fmla="*/ 5470014 h 7458372"/>
              <a:gd name="connsiteX11553" fmla="*/ 9182088 w 10505529"/>
              <a:gd name="connsiteY11553" fmla="*/ 5464822 h 7458372"/>
              <a:gd name="connsiteX11554" fmla="*/ 9179425 w 10505529"/>
              <a:gd name="connsiteY11554" fmla="*/ 5460696 h 7458372"/>
              <a:gd name="connsiteX11555" fmla="*/ 9175432 w 10505529"/>
              <a:gd name="connsiteY11555" fmla="*/ 5458033 h 7458372"/>
              <a:gd name="connsiteX11556" fmla="*/ 9170374 w 10505529"/>
              <a:gd name="connsiteY11556" fmla="*/ 5457102 h 7458372"/>
              <a:gd name="connsiteX11557" fmla="*/ 8952728 w 10505529"/>
              <a:gd name="connsiteY11557" fmla="*/ 5457102 h 7458372"/>
              <a:gd name="connsiteX11558" fmla="*/ 8942743 w 10505529"/>
              <a:gd name="connsiteY11558" fmla="*/ 5460696 h 7458372"/>
              <a:gd name="connsiteX11559" fmla="*/ 8939150 w 10505529"/>
              <a:gd name="connsiteY11559" fmla="*/ 5470147 h 7458372"/>
              <a:gd name="connsiteX11560" fmla="*/ 8942743 w 10505529"/>
              <a:gd name="connsiteY11560" fmla="*/ 5479598 h 7458372"/>
              <a:gd name="connsiteX11561" fmla="*/ 8952728 w 10505529"/>
              <a:gd name="connsiteY11561" fmla="*/ 5483060 h 7458372"/>
              <a:gd name="connsiteX11562" fmla="*/ 8958053 w 10505529"/>
              <a:gd name="connsiteY11562" fmla="*/ 5482128 h 7458372"/>
              <a:gd name="connsiteX11563" fmla="*/ 8961780 w 10505529"/>
              <a:gd name="connsiteY11563" fmla="*/ 5479731 h 7458372"/>
              <a:gd name="connsiteX11564" fmla="*/ 8964442 w 10505529"/>
              <a:gd name="connsiteY11564" fmla="*/ 5475472 h 7458372"/>
              <a:gd name="connsiteX11565" fmla="*/ 8965507 w 10505529"/>
              <a:gd name="connsiteY11565" fmla="*/ 5470014 h 7458372"/>
              <a:gd name="connsiteX11566" fmla="*/ 8964442 w 10505529"/>
              <a:gd name="connsiteY11566" fmla="*/ 5464822 h 7458372"/>
              <a:gd name="connsiteX11567" fmla="*/ 8961780 w 10505529"/>
              <a:gd name="connsiteY11567" fmla="*/ 5460696 h 7458372"/>
              <a:gd name="connsiteX11568" fmla="*/ 8957786 w 10505529"/>
              <a:gd name="connsiteY11568" fmla="*/ 5458033 h 7458372"/>
              <a:gd name="connsiteX11569" fmla="*/ 8952728 w 10505529"/>
              <a:gd name="connsiteY11569" fmla="*/ 5457102 h 7458372"/>
              <a:gd name="connsiteX11570" fmla="*/ 8735083 w 10505529"/>
              <a:gd name="connsiteY11570" fmla="*/ 5457102 h 7458372"/>
              <a:gd name="connsiteX11571" fmla="*/ 8725098 w 10505529"/>
              <a:gd name="connsiteY11571" fmla="*/ 5460696 h 7458372"/>
              <a:gd name="connsiteX11572" fmla="*/ 8721504 w 10505529"/>
              <a:gd name="connsiteY11572" fmla="*/ 5470147 h 7458372"/>
              <a:gd name="connsiteX11573" fmla="*/ 8725098 w 10505529"/>
              <a:gd name="connsiteY11573" fmla="*/ 5479598 h 7458372"/>
              <a:gd name="connsiteX11574" fmla="*/ 8735083 w 10505529"/>
              <a:gd name="connsiteY11574" fmla="*/ 5483060 h 7458372"/>
              <a:gd name="connsiteX11575" fmla="*/ 8740407 w 10505529"/>
              <a:gd name="connsiteY11575" fmla="*/ 5482128 h 7458372"/>
              <a:gd name="connsiteX11576" fmla="*/ 8744134 w 10505529"/>
              <a:gd name="connsiteY11576" fmla="*/ 5479731 h 7458372"/>
              <a:gd name="connsiteX11577" fmla="*/ 8746797 w 10505529"/>
              <a:gd name="connsiteY11577" fmla="*/ 5475472 h 7458372"/>
              <a:gd name="connsiteX11578" fmla="*/ 8747862 w 10505529"/>
              <a:gd name="connsiteY11578" fmla="*/ 5470014 h 7458372"/>
              <a:gd name="connsiteX11579" fmla="*/ 8746797 w 10505529"/>
              <a:gd name="connsiteY11579" fmla="*/ 5464822 h 7458372"/>
              <a:gd name="connsiteX11580" fmla="*/ 8744134 w 10505529"/>
              <a:gd name="connsiteY11580" fmla="*/ 5460696 h 7458372"/>
              <a:gd name="connsiteX11581" fmla="*/ 8740141 w 10505529"/>
              <a:gd name="connsiteY11581" fmla="*/ 5458033 h 7458372"/>
              <a:gd name="connsiteX11582" fmla="*/ 8735083 w 10505529"/>
              <a:gd name="connsiteY11582" fmla="*/ 5457102 h 7458372"/>
              <a:gd name="connsiteX11583" fmla="*/ 8517438 w 10505529"/>
              <a:gd name="connsiteY11583" fmla="*/ 5457102 h 7458372"/>
              <a:gd name="connsiteX11584" fmla="*/ 8507453 w 10505529"/>
              <a:gd name="connsiteY11584" fmla="*/ 5460696 h 7458372"/>
              <a:gd name="connsiteX11585" fmla="*/ 8503860 w 10505529"/>
              <a:gd name="connsiteY11585" fmla="*/ 5470147 h 7458372"/>
              <a:gd name="connsiteX11586" fmla="*/ 8507453 w 10505529"/>
              <a:gd name="connsiteY11586" fmla="*/ 5479598 h 7458372"/>
              <a:gd name="connsiteX11587" fmla="*/ 8517438 w 10505529"/>
              <a:gd name="connsiteY11587" fmla="*/ 5483060 h 7458372"/>
              <a:gd name="connsiteX11588" fmla="*/ 8522763 w 10505529"/>
              <a:gd name="connsiteY11588" fmla="*/ 5482128 h 7458372"/>
              <a:gd name="connsiteX11589" fmla="*/ 8526490 w 10505529"/>
              <a:gd name="connsiteY11589" fmla="*/ 5479731 h 7458372"/>
              <a:gd name="connsiteX11590" fmla="*/ 8529152 w 10505529"/>
              <a:gd name="connsiteY11590" fmla="*/ 5475472 h 7458372"/>
              <a:gd name="connsiteX11591" fmla="*/ 8530084 w 10505529"/>
              <a:gd name="connsiteY11591" fmla="*/ 5470014 h 7458372"/>
              <a:gd name="connsiteX11592" fmla="*/ 8529152 w 10505529"/>
              <a:gd name="connsiteY11592" fmla="*/ 5464822 h 7458372"/>
              <a:gd name="connsiteX11593" fmla="*/ 8526490 w 10505529"/>
              <a:gd name="connsiteY11593" fmla="*/ 5460696 h 7458372"/>
              <a:gd name="connsiteX11594" fmla="*/ 8522496 w 10505529"/>
              <a:gd name="connsiteY11594" fmla="*/ 5458033 h 7458372"/>
              <a:gd name="connsiteX11595" fmla="*/ 8517438 w 10505529"/>
              <a:gd name="connsiteY11595" fmla="*/ 5457102 h 7458372"/>
              <a:gd name="connsiteX11596" fmla="*/ 8299793 w 10505529"/>
              <a:gd name="connsiteY11596" fmla="*/ 5457102 h 7458372"/>
              <a:gd name="connsiteX11597" fmla="*/ 8289809 w 10505529"/>
              <a:gd name="connsiteY11597" fmla="*/ 5460696 h 7458372"/>
              <a:gd name="connsiteX11598" fmla="*/ 8286215 w 10505529"/>
              <a:gd name="connsiteY11598" fmla="*/ 5470147 h 7458372"/>
              <a:gd name="connsiteX11599" fmla="*/ 8289809 w 10505529"/>
              <a:gd name="connsiteY11599" fmla="*/ 5479598 h 7458372"/>
              <a:gd name="connsiteX11600" fmla="*/ 8299793 w 10505529"/>
              <a:gd name="connsiteY11600" fmla="*/ 5483060 h 7458372"/>
              <a:gd name="connsiteX11601" fmla="*/ 8305118 w 10505529"/>
              <a:gd name="connsiteY11601" fmla="*/ 5482128 h 7458372"/>
              <a:gd name="connsiteX11602" fmla="*/ 8308844 w 10505529"/>
              <a:gd name="connsiteY11602" fmla="*/ 5479731 h 7458372"/>
              <a:gd name="connsiteX11603" fmla="*/ 8311507 w 10505529"/>
              <a:gd name="connsiteY11603" fmla="*/ 5475472 h 7458372"/>
              <a:gd name="connsiteX11604" fmla="*/ 8312439 w 10505529"/>
              <a:gd name="connsiteY11604" fmla="*/ 5470014 h 7458372"/>
              <a:gd name="connsiteX11605" fmla="*/ 8311507 w 10505529"/>
              <a:gd name="connsiteY11605" fmla="*/ 5464822 h 7458372"/>
              <a:gd name="connsiteX11606" fmla="*/ 8308844 w 10505529"/>
              <a:gd name="connsiteY11606" fmla="*/ 5460696 h 7458372"/>
              <a:gd name="connsiteX11607" fmla="*/ 8304851 w 10505529"/>
              <a:gd name="connsiteY11607" fmla="*/ 5458033 h 7458372"/>
              <a:gd name="connsiteX11608" fmla="*/ 8299793 w 10505529"/>
              <a:gd name="connsiteY11608" fmla="*/ 5457102 h 7458372"/>
              <a:gd name="connsiteX11609" fmla="*/ 8082281 w 10505529"/>
              <a:gd name="connsiteY11609" fmla="*/ 5457102 h 7458372"/>
              <a:gd name="connsiteX11610" fmla="*/ 8072297 w 10505529"/>
              <a:gd name="connsiteY11610" fmla="*/ 5460696 h 7458372"/>
              <a:gd name="connsiteX11611" fmla="*/ 8068703 w 10505529"/>
              <a:gd name="connsiteY11611" fmla="*/ 5470147 h 7458372"/>
              <a:gd name="connsiteX11612" fmla="*/ 8072297 w 10505529"/>
              <a:gd name="connsiteY11612" fmla="*/ 5479598 h 7458372"/>
              <a:gd name="connsiteX11613" fmla="*/ 8082281 w 10505529"/>
              <a:gd name="connsiteY11613" fmla="*/ 5483060 h 7458372"/>
              <a:gd name="connsiteX11614" fmla="*/ 8087605 w 10505529"/>
              <a:gd name="connsiteY11614" fmla="*/ 5482128 h 7458372"/>
              <a:gd name="connsiteX11615" fmla="*/ 8091332 w 10505529"/>
              <a:gd name="connsiteY11615" fmla="*/ 5479731 h 7458372"/>
              <a:gd name="connsiteX11616" fmla="*/ 8093994 w 10505529"/>
              <a:gd name="connsiteY11616" fmla="*/ 5475472 h 7458372"/>
              <a:gd name="connsiteX11617" fmla="*/ 8094926 w 10505529"/>
              <a:gd name="connsiteY11617" fmla="*/ 5470014 h 7458372"/>
              <a:gd name="connsiteX11618" fmla="*/ 8093994 w 10505529"/>
              <a:gd name="connsiteY11618" fmla="*/ 5464822 h 7458372"/>
              <a:gd name="connsiteX11619" fmla="*/ 8091332 w 10505529"/>
              <a:gd name="connsiteY11619" fmla="*/ 5460696 h 7458372"/>
              <a:gd name="connsiteX11620" fmla="*/ 8087338 w 10505529"/>
              <a:gd name="connsiteY11620" fmla="*/ 5458033 h 7458372"/>
              <a:gd name="connsiteX11621" fmla="*/ 8082281 w 10505529"/>
              <a:gd name="connsiteY11621" fmla="*/ 5457102 h 7458372"/>
              <a:gd name="connsiteX11622" fmla="*/ 7864636 w 10505529"/>
              <a:gd name="connsiteY11622" fmla="*/ 5457102 h 7458372"/>
              <a:gd name="connsiteX11623" fmla="*/ 7854652 w 10505529"/>
              <a:gd name="connsiteY11623" fmla="*/ 5460696 h 7458372"/>
              <a:gd name="connsiteX11624" fmla="*/ 7851058 w 10505529"/>
              <a:gd name="connsiteY11624" fmla="*/ 5470147 h 7458372"/>
              <a:gd name="connsiteX11625" fmla="*/ 7854652 w 10505529"/>
              <a:gd name="connsiteY11625" fmla="*/ 5479598 h 7458372"/>
              <a:gd name="connsiteX11626" fmla="*/ 7864636 w 10505529"/>
              <a:gd name="connsiteY11626" fmla="*/ 5483060 h 7458372"/>
              <a:gd name="connsiteX11627" fmla="*/ 7869961 w 10505529"/>
              <a:gd name="connsiteY11627" fmla="*/ 5482128 h 7458372"/>
              <a:gd name="connsiteX11628" fmla="*/ 7873687 w 10505529"/>
              <a:gd name="connsiteY11628" fmla="*/ 5479731 h 7458372"/>
              <a:gd name="connsiteX11629" fmla="*/ 7876350 w 10505529"/>
              <a:gd name="connsiteY11629" fmla="*/ 5475472 h 7458372"/>
              <a:gd name="connsiteX11630" fmla="*/ 7877282 w 10505529"/>
              <a:gd name="connsiteY11630" fmla="*/ 5470014 h 7458372"/>
              <a:gd name="connsiteX11631" fmla="*/ 7876350 w 10505529"/>
              <a:gd name="connsiteY11631" fmla="*/ 5464822 h 7458372"/>
              <a:gd name="connsiteX11632" fmla="*/ 7873687 w 10505529"/>
              <a:gd name="connsiteY11632" fmla="*/ 5460696 h 7458372"/>
              <a:gd name="connsiteX11633" fmla="*/ 7869694 w 10505529"/>
              <a:gd name="connsiteY11633" fmla="*/ 5458033 h 7458372"/>
              <a:gd name="connsiteX11634" fmla="*/ 7864636 w 10505529"/>
              <a:gd name="connsiteY11634" fmla="*/ 5457102 h 7458372"/>
              <a:gd name="connsiteX11635" fmla="*/ 7646991 w 10505529"/>
              <a:gd name="connsiteY11635" fmla="*/ 5457102 h 7458372"/>
              <a:gd name="connsiteX11636" fmla="*/ 7637007 w 10505529"/>
              <a:gd name="connsiteY11636" fmla="*/ 5460696 h 7458372"/>
              <a:gd name="connsiteX11637" fmla="*/ 7633413 w 10505529"/>
              <a:gd name="connsiteY11637" fmla="*/ 5470147 h 7458372"/>
              <a:gd name="connsiteX11638" fmla="*/ 7637007 w 10505529"/>
              <a:gd name="connsiteY11638" fmla="*/ 5479598 h 7458372"/>
              <a:gd name="connsiteX11639" fmla="*/ 7646991 w 10505529"/>
              <a:gd name="connsiteY11639" fmla="*/ 5483060 h 7458372"/>
              <a:gd name="connsiteX11640" fmla="*/ 7652315 w 10505529"/>
              <a:gd name="connsiteY11640" fmla="*/ 5482128 h 7458372"/>
              <a:gd name="connsiteX11641" fmla="*/ 7656042 w 10505529"/>
              <a:gd name="connsiteY11641" fmla="*/ 5479731 h 7458372"/>
              <a:gd name="connsiteX11642" fmla="*/ 7658705 w 10505529"/>
              <a:gd name="connsiteY11642" fmla="*/ 5475472 h 7458372"/>
              <a:gd name="connsiteX11643" fmla="*/ 7659769 w 10505529"/>
              <a:gd name="connsiteY11643" fmla="*/ 5470014 h 7458372"/>
              <a:gd name="connsiteX11644" fmla="*/ 7658705 w 10505529"/>
              <a:gd name="connsiteY11644" fmla="*/ 5464822 h 7458372"/>
              <a:gd name="connsiteX11645" fmla="*/ 7656042 w 10505529"/>
              <a:gd name="connsiteY11645" fmla="*/ 5460696 h 7458372"/>
              <a:gd name="connsiteX11646" fmla="*/ 7652049 w 10505529"/>
              <a:gd name="connsiteY11646" fmla="*/ 5458033 h 7458372"/>
              <a:gd name="connsiteX11647" fmla="*/ 7646991 w 10505529"/>
              <a:gd name="connsiteY11647" fmla="*/ 5457102 h 7458372"/>
              <a:gd name="connsiteX11648" fmla="*/ 7429345 w 10505529"/>
              <a:gd name="connsiteY11648" fmla="*/ 5457102 h 7458372"/>
              <a:gd name="connsiteX11649" fmla="*/ 7419361 w 10505529"/>
              <a:gd name="connsiteY11649" fmla="*/ 5460696 h 7458372"/>
              <a:gd name="connsiteX11650" fmla="*/ 7415768 w 10505529"/>
              <a:gd name="connsiteY11650" fmla="*/ 5470147 h 7458372"/>
              <a:gd name="connsiteX11651" fmla="*/ 7419361 w 10505529"/>
              <a:gd name="connsiteY11651" fmla="*/ 5479598 h 7458372"/>
              <a:gd name="connsiteX11652" fmla="*/ 7429345 w 10505529"/>
              <a:gd name="connsiteY11652" fmla="*/ 5483060 h 7458372"/>
              <a:gd name="connsiteX11653" fmla="*/ 7434670 w 10505529"/>
              <a:gd name="connsiteY11653" fmla="*/ 5482128 h 7458372"/>
              <a:gd name="connsiteX11654" fmla="*/ 7438397 w 10505529"/>
              <a:gd name="connsiteY11654" fmla="*/ 5479731 h 7458372"/>
              <a:gd name="connsiteX11655" fmla="*/ 7441059 w 10505529"/>
              <a:gd name="connsiteY11655" fmla="*/ 5475472 h 7458372"/>
              <a:gd name="connsiteX11656" fmla="*/ 7442124 w 10505529"/>
              <a:gd name="connsiteY11656" fmla="*/ 5470014 h 7458372"/>
              <a:gd name="connsiteX11657" fmla="*/ 7441059 w 10505529"/>
              <a:gd name="connsiteY11657" fmla="*/ 5464822 h 7458372"/>
              <a:gd name="connsiteX11658" fmla="*/ 7438397 w 10505529"/>
              <a:gd name="connsiteY11658" fmla="*/ 5460696 h 7458372"/>
              <a:gd name="connsiteX11659" fmla="*/ 7434403 w 10505529"/>
              <a:gd name="connsiteY11659" fmla="*/ 5458033 h 7458372"/>
              <a:gd name="connsiteX11660" fmla="*/ 7429345 w 10505529"/>
              <a:gd name="connsiteY11660" fmla="*/ 5457102 h 7458372"/>
              <a:gd name="connsiteX11661" fmla="*/ 7211701 w 10505529"/>
              <a:gd name="connsiteY11661" fmla="*/ 5457102 h 7458372"/>
              <a:gd name="connsiteX11662" fmla="*/ 7201717 w 10505529"/>
              <a:gd name="connsiteY11662" fmla="*/ 5460696 h 7458372"/>
              <a:gd name="connsiteX11663" fmla="*/ 7198123 w 10505529"/>
              <a:gd name="connsiteY11663" fmla="*/ 5470147 h 7458372"/>
              <a:gd name="connsiteX11664" fmla="*/ 7201717 w 10505529"/>
              <a:gd name="connsiteY11664" fmla="*/ 5479598 h 7458372"/>
              <a:gd name="connsiteX11665" fmla="*/ 7211701 w 10505529"/>
              <a:gd name="connsiteY11665" fmla="*/ 5483060 h 7458372"/>
              <a:gd name="connsiteX11666" fmla="*/ 7217026 w 10505529"/>
              <a:gd name="connsiteY11666" fmla="*/ 5482128 h 7458372"/>
              <a:gd name="connsiteX11667" fmla="*/ 7220752 w 10505529"/>
              <a:gd name="connsiteY11667" fmla="*/ 5479731 h 7458372"/>
              <a:gd name="connsiteX11668" fmla="*/ 7223415 w 10505529"/>
              <a:gd name="connsiteY11668" fmla="*/ 5475472 h 7458372"/>
              <a:gd name="connsiteX11669" fmla="*/ 7224480 w 10505529"/>
              <a:gd name="connsiteY11669" fmla="*/ 5470014 h 7458372"/>
              <a:gd name="connsiteX11670" fmla="*/ 7223415 w 10505529"/>
              <a:gd name="connsiteY11670" fmla="*/ 5464822 h 7458372"/>
              <a:gd name="connsiteX11671" fmla="*/ 7220752 w 10505529"/>
              <a:gd name="connsiteY11671" fmla="*/ 5460696 h 7458372"/>
              <a:gd name="connsiteX11672" fmla="*/ 7216759 w 10505529"/>
              <a:gd name="connsiteY11672" fmla="*/ 5458033 h 7458372"/>
              <a:gd name="connsiteX11673" fmla="*/ 7211701 w 10505529"/>
              <a:gd name="connsiteY11673" fmla="*/ 5457102 h 7458372"/>
              <a:gd name="connsiteX11674" fmla="*/ 6994056 w 10505529"/>
              <a:gd name="connsiteY11674" fmla="*/ 5457102 h 7458372"/>
              <a:gd name="connsiteX11675" fmla="*/ 6984072 w 10505529"/>
              <a:gd name="connsiteY11675" fmla="*/ 5460696 h 7458372"/>
              <a:gd name="connsiteX11676" fmla="*/ 6980478 w 10505529"/>
              <a:gd name="connsiteY11676" fmla="*/ 5470147 h 7458372"/>
              <a:gd name="connsiteX11677" fmla="*/ 6984072 w 10505529"/>
              <a:gd name="connsiteY11677" fmla="*/ 5479598 h 7458372"/>
              <a:gd name="connsiteX11678" fmla="*/ 6994056 w 10505529"/>
              <a:gd name="connsiteY11678" fmla="*/ 5483060 h 7458372"/>
              <a:gd name="connsiteX11679" fmla="*/ 6999380 w 10505529"/>
              <a:gd name="connsiteY11679" fmla="*/ 5482128 h 7458372"/>
              <a:gd name="connsiteX11680" fmla="*/ 7003107 w 10505529"/>
              <a:gd name="connsiteY11680" fmla="*/ 5479731 h 7458372"/>
              <a:gd name="connsiteX11681" fmla="*/ 7005769 w 10505529"/>
              <a:gd name="connsiteY11681" fmla="*/ 5475472 h 7458372"/>
              <a:gd name="connsiteX11682" fmla="*/ 7006834 w 10505529"/>
              <a:gd name="connsiteY11682" fmla="*/ 5470014 h 7458372"/>
              <a:gd name="connsiteX11683" fmla="*/ 7005769 w 10505529"/>
              <a:gd name="connsiteY11683" fmla="*/ 5464822 h 7458372"/>
              <a:gd name="connsiteX11684" fmla="*/ 7003107 w 10505529"/>
              <a:gd name="connsiteY11684" fmla="*/ 5460696 h 7458372"/>
              <a:gd name="connsiteX11685" fmla="*/ 6999113 w 10505529"/>
              <a:gd name="connsiteY11685" fmla="*/ 5458033 h 7458372"/>
              <a:gd name="connsiteX11686" fmla="*/ 6994056 w 10505529"/>
              <a:gd name="connsiteY11686" fmla="*/ 5457102 h 7458372"/>
              <a:gd name="connsiteX11687" fmla="*/ 6776544 w 10505529"/>
              <a:gd name="connsiteY11687" fmla="*/ 5457102 h 7458372"/>
              <a:gd name="connsiteX11688" fmla="*/ 6766560 w 10505529"/>
              <a:gd name="connsiteY11688" fmla="*/ 5460696 h 7458372"/>
              <a:gd name="connsiteX11689" fmla="*/ 6762966 w 10505529"/>
              <a:gd name="connsiteY11689" fmla="*/ 5470147 h 7458372"/>
              <a:gd name="connsiteX11690" fmla="*/ 6766560 w 10505529"/>
              <a:gd name="connsiteY11690" fmla="*/ 5479598 h 7458372"/>
              <a:gd name="connsiteX11691" fmla="*/ 6776544 w 10505529"/>
              <a:gd name="connsiteY11691" fmla="*/ 5483060 h 7458372"/>
              <a:gd name="connsiteX11692" fmla="*/ 6781869 w 10505529"/>
              <a:gd name="connsiteY11692" fmla="*/ 5482128 h 7458372"/>
              <a:gd name="connsiteX11693" fmla="*/ 6785595 w 10505529"/>
              <a:gd name="connsiteY11693" fmla="*/ 5479731 h 7458372"/>
              <a:gd name="connsiteX11694" fmla="*/ 6788258 w 10505529"/>
              <a:gd name="connsiteY11694" fmla="*/ 5475472 h 7458372"/>
              <a:gd name="connsiteX11695" fmla="*/ 6789323 w 10505529"/>
              <a:gd name="connsiteY11695" fmla="*/ 5470014 h 7458372"/>
              <a:gd name="connsiteX11696" fmla="*/ 6788258 w 10505529"/>
              <a:gd name="connsiteY11696" fmla="*/ 5464822 h 7458372"/>
              <a:gd name="connsiteX11697" fmla="*/ 6785595 w 10505529"/>
              <a:gd name="connsiteY11697" fmla="*/ 5460696 h 7458372"/>
              <a:gd name="connsiteX11698" fmla="*/ 6781602 w 10505529"/>
              <a:gd name="connsiteY11698" fmla="*/ 5458033 h 7458372"/>
              <a:gd name="connsiteX11699" fmla="*/ 6776544 w 10505529"/>
              <a:gd name="connsiteY11699" fmla="*/ 5457102 h 7458372"/>
              <a:gd name="connsiteX11700" fmla="*/ 6558899 w 10505529"/>
              <a:gd name="connsiteY11700" fmla="*/ 5457102 h 7458372"/>
              <a:gd name="connsiteX11701" fmla="*/ 6548915 w 10505529"/>
              <a:gd name="connsiteY11701" fmla="*/ 5460696 h 7458372"/>
              <a:gd name="connsiteX11702" fmla="*/ 6545321 w 10505529"/>
              <a:gd name="connsiteY11702" fmla="*/ 5470147 h 7458372"/>
              <a:gd name="connsiteX11703" fmla="*/ 6548915 w 10505529"/>
              <a:gd name="connsiteY11703" fmla="*/ 5479598 h 7458372"/>
              <a:gd name="connsiteX11704" fmla="*/ 6558899 w 10505529"/>
              <a:gd name="connsiteY11704" fmla="*/ 5483060 h 7458372"/>
              <a:gd name="connsiteX11705" fmla="*/ 6564223 w 10505529"/>
              <a:gd name="connsiteY11705" fmla="*/ 5482128 h 7458372"/>
              <a:gd name="connsiteX11706" fmla="*/ 6567950 w 10505529"/>
              <a:gd name="connsiteY11706" fmla="*/ 5479731 h 7458372"/>
              <a:gd name="connsiteX11707" fmla="*/ 6570612 w 10505529"/>
              <a:gd name="connsiteY11707" fmla="*/ 5475472 h 7458372"/>
              <a:gd name="connsiteX11708" fmla="*/ 6571677 w 10505529"/>
              <a:gd name="connsiteY11708" fmla="*/ 5470014 h 7458372"/>
              <a:gd name="connsiteX11709" fmla="*/ 6570612 w 10505529"/>
              <a:gd name="connsiteY11709" fmla="*/ 5464822 h 7458372"/>
              <a:gd name="connsiteX11710" fmla="*/ 6567950 w 10505529"/>
              <a:gd name="connsiteY11710" fmla="*/ 5460696 h 7458372"/>
              <a:gd name="connsiteX11711" fmla="*/ 6563956 w 10505529"/>
              <a:gd name="connsiteY11711" fmla="*/ 5458033 h 7458372"/>
              <a:gd name="connsiteX11712" fmla="*/ 6558899 w 10505529"/>
              <a:gd name="connsiteY11712" fmla="*/ 5457102 h 7458372"/>
              <a:gd name="connsiteX11713" fmla="*/ 6341253 w 10505529"/>
              <a:gd name="connsiteY11713" fmla="*/ 5457102 h 7458372"/>
              <a:gd name="connsiteX11714" fmla="*/ 6331270 w 10505529"/>
              <a:gd name="connsiteY11714" fmla="*/ 5460696 h 7458372"/>
              <a:gd name="connsiteX11715" fmla="*/ 6327675 w 10505529"/>
              <a:gd name="connsiteY11715" fmla="*/ 5470147 h 7458372"/>
              <a:gd name="connsiteX11716" fmla="*/ 6331270 w 10505529"/>
              <a:gd name="connsiteY11716" fmla="*/ 5479598 h 7458372"/>
              <a:gd name="connsiteX11717" fmla="*/ 6341253 w 10505529"/>
              <a:gd name="connsiteY11717" fmla="*/ 5483060 h 7458372"/>
              <a:gd name="connsiteX11718" fmla="*/ 6346578 w 10505529"/>
              <a:gd name="connsiteY11718" fmla="*/ 5482128 h 7458372"/>
              <a:gd name="connsiteX11719" fmla="*/ 6350305 w 10505529"/>
              <a:gd name="connsiteY11719" fmla="*/ 5479731 h 7458372"/>
              <a:gd name="connsiteX11720" fmla="*/ 6352968 w 10505529"/>
              <a:gd name="connsiteY11720" fmla="*/ 5475472 h 7458372"/>
              <a:gd name="connsiteX11721" fmla="*/ 6354033 w 10505529"/>
              <a:gd name="connsiteY11721" fmla="*/ 5470014 h 7458372"/>
              <a:gd name="connsiteX11722" fmla="*/ 6352968 w 10505529"/>
              <a:gd name="connsiteY11722" fmla="*/ 5464822 h 7458372"/>
              <a:gd name="connsiteX11723" fmla="*/ 6350305 w 10505529"/>
              <a:gd name="connsiteY11723" fmla="*/ 5460696 h 7458372"/>
              <a:gd name="connsiteX11724" fmla="*/ 6346312 w 10505529"/>
              <a:gd name="connsiteY11724" fmla="*/ 5458033 h 7458372"/>
              <a:gd name="connsiteX11725" fmla="*/ 6341253 w 10505529"/>
              <a:gd name="connsiteY11725" fmla="*/ 5457102 h 7458372"/>
              <a:gd name="connsiteX11726" fmla="*/ 6123608 w 10505529"/>
              <a:gd name="connsiteY11726" fmla="*/ 5457102 h 7458372"/>
              <a:gd name="connsiteX11727" fmla="*/ 6113624 w 10505529"/>
              <a:gd name="connsiteY11727" fmla="*/ 5460696 h 7458372"/>
              <a:gd name="connsiteX11728" fmla="*/ 6110030 w 10505529"/>
              <a:gd name="connsiteY11728" fmla="*/ 5470147 h 7458372"/>
              <a:gd name="connsiteX11729" fmla="*/ 6113624 w 10505529"/>
              <a:gd name="connsiteY11729" fmla="*/ 5479598 h 7458372"/>
              <a:gd name="connsiteX11730" fmla="*/ 6123608 w 10505529"/>
              <a:gd name="connsiteY11730" fmla="*/ 5483060 h 7458372"/>
              <a:gd name="connsiteX11731" fmla="*/ 6128932 w 10505529"/>
              <a:gd name="connsiteY11731" fmla="*/ 5482128 h 7458372"/>
              <a:gd name="connsiteX11732" fmla="*/ 6132659 w 10505529"/>
              <a:gd name="connsiteY11732" fmla="*/ 5479731 h 7458372"/>
              <a:gd name="connsiteX11733" fmla="*/ 6135322 w 10505529"/>
              <a:gd name="connsiteY11733" fmla="*/ 5475472 h 7458372"/>
              <a:gd name="connsiteX11734" fmla="*/ 6136387 w 10505529"/>
              <a:gd name="connsiteY11734" fmla="*/ 5470014 h 7458372"/>
              <a:gd name="connsiteX11735" fmla="*/ 6135322 w 10505529"/>
              <a:gd name="connsiteY11735" fmla="*/ 5464822 h 7458372"/>
              <a:gd name="connsiteX11736" fmla="*/ 6132659 w 10505529"/>
              <a:gd name="connsiteY11736" fmla="*/ 5460696 h 7458372"/>
              <a:gd name="connsiteX11737" fmla="*/ 6128666 w 10505529"/>
              <a:gd name="connsiteY11737" fmla="*/ 5458033 h 7458372"/>
              <a:gd name="connsiteX11738" fmla="*/ 6123608 w 10505529"/>
              <a:gd name="connsiteY11738" fmla="*/ 5457102 h 7458372"/>
              <a:gd name="connsiteX11739" fmla="*/ 5905963 w 10505529"/>
              <a:gd name="connsiteY11739" fmla="*/ 5457102 h 7458372"/>
              <a:gd name="connsiteX11740" fmla="*/ 5895979 w 10505529"/>
              <a:gd name="connsiteY11740" fmla="*/ 5460696 h 7458372"/>
              <a:gd name="connsiteX11741" fmla="*/ 5892385 w 10505529"/>
              <a:gd name="connsiteY11741" fmla="*/ 5470147 h 7458372"/>
              <a:gd name="connsiteX11742" fmla="*/ 5895979 w 10505529"/>
              <a:gd name="connsiteY11742" fmla="*/ 5479598 h 7458372"/>
              <a:gd name="connsiteX11743" fmla="*/ 5905963 w 10505529"/>
              <a:gd name="connsiteY11743" fmla="*/ 5483060 h 7458372"/>
              <a:gd name="connsiteX11744" fmla="*/ 5911287 w 10505529"/>
              <a:gd name="connsiteY11744" fmla="*/ 5482128 h 7458372"/>
              <a:gd name="connsiteX11745" fmla="*/ 5915014 w 10505529"/>
              <a:gd name="connsiteY11745" fmla="*/ 5479731 h 7458372"/>
              <a:gd name="connsiteX11746" fmla="*/ 5917677 w 10505529"/>
              <a:gd name="connsiteY11746" fmla="*/ 5475472 h 7458372"/>
              <a:gd name="connsiteX11747" fmla="*/ 5918742 w 10505529"/>
              <a:gd name="connsiteY11747" fmla="*/ 5470014 h 7458372"/>
              <a:gd name="connsiteX11748" fmla="*/ 5917677 w 10505529"/>
              <a:gd name="connsiteY11748" fmla="*/ 5464822 h 7458372"/>
              <a:gd name="connsiteX11749" fmla="*/ 5915014 w 10505529"/>
              <a:gd name="connsiteY11749" fmla="*/ 5460696 h 7458372"/>
              <a:gd name="connsiteX11750" fmla="*/ 5911021 w 10505529"/>
              <a:gd name="connsiteY11750" fmla="*/ 5458033 h 7458372"/>
              <a:gd name="connsiteX11751" fmla="*/ 5905963 w 10505529"/>
              <a:gd name="connsiteY11751" fmla="*/ 5457102 h 7458372"/>
              <a:gd name="connsiteX11752" fmla="*/ 5688451 w 10505529"/>
              <a:gd name="connsiteY11752" fmla="*/ 5457102 h 7458372"/>
              <a:gd name="connsiteX11753" fmla="*/ 5678467 w 10505529"/>
              <a:gd name="connsiteY11753" fmla="*/ 5460696 h 7458372"/>
              <a:gd name="connsiteX11754" fmla="*/ 5674873 w 10505529"/>
              <a:gd name="connsiteY11754" fmla="*/ 5470147 h 7458372"/>
              <a:gd name="connsiteX11755" fmla="*/ 5678467 w 10505529"/>
              <a:gd name="connsiteY11755" fmla="*/ 5479598 h 7458372"/>
              <a:gd name="connsiteX11756" fmla="*/ 5688451 w 10505529"/>
              <a:gd name="connsiteY11756" fmla="*/ 5483060 h 7458372"/>
              <a:gd name="connsiteX11757" fmla="*/ 5693775 w 10505529"/>
              <a:gd name="connsiteY11757" fmla="*/ 5482128 h 7458372"/>
              <a:gd name="connsiteX11758" fmla="*/ 5697502 w 10505529"/>
              <a:gd name="connsiteY11758" fmla="*/ 5479731 h 7458372"/>
              <a:gd name="connsiteX11759" fmla="*/ 5700165 w 10505529"/>
              <a:gd name="connsiteY11759" fmla="*/ 5475472 h 7458372"/>
              <a:gd name="connsiteX11760" fmla="*/ 5701230 w 10505529"/>
              <a:gd name="connsiteY11760" fmla="*/ 5470014 h 7458372"/>
              <a:gd name="connsiteX11761" fmla="*/ 5700165 w 10505529"/>
              <a:gd name="connsiteY11761" fmla="*/ 5464822 h 7458372"/>
              <a:gd name="connsiteX11762" fmla="*/ 5697502 w 10505529"/>
              <a:gd name="connsiteY11762" fmla="*/ 5460696 h 7458372"/>
              <a:gd name="connsiteX11763" fmla="*/ 5693509 w 10505529"/>
              <a:gd name="connsiteY11763" fmla="*/ 5458033 h 7458372"/>
              <a:gd name="connsiteX11764" fmla="*/ 5688451 w 10505529"/>
              <a:gd name="connsiteY11764" fmla="*/ 5457102 h 7458372"/>
              <a:gd name="connsiteX11765" fmla="*/ 5470806 w 10505529"/>
              <a:gd name="connsiteY11765" fmla="*/ 5457102 h 7458372"/>
              <a:gd name="connsiteX11766" fmla="*/ 5460822 w 10505529"/>
              <a:gd name="connsiteY11766" fmla="*/ 5460696 h 7458372"/>
              <a:gd name="connsiteX11767" fmla="*/ 5457228 w 10505529"/>
              <a:gd name="connsiteY11767" fmla="*/ 5470147 h 7458372"/>
              <a:gd name="connsiteX11768" fmla="*/ 5460822 w 10505529"/>
              <a:gd name="connsiteY11768" fmla="*/ 5479598 h 7458372"/>
              <a:gd name="connsiteX11769" fmla="*/ 5470806 w 10505529"/>
              <a:gd name="connsiteY11769" fmla="*/ 5483060 h 7458372"/>
              <a:gd name="connsiteX11770" fmla="*/ 5476130 w 10505529"/>
              <a:gd name="connsiteY11770" fmla="*/ 5482128 h 7458372"/>
              <a:gd name="connsiteX11771" fmla="*/ 5479857 w 10505529"/>
              <a:gd name="connsiteY11771" fmla="*/ 5479731 h 7458372"/>
              <a:gd name="connsiteX11772" fmla="*/ 5482520 w 10505529"/>
              <a:gd name="connsiteY11772" fmla="*/ 5475472 h 7458372"/>
              <a:gd name="connsiteX11773" fmla="*/ 5483585 w 10505529"/>
              <a:gd name="connsiteY11773" fmla="*/ 5470014 h 7458372"/>
              <a:gd name="connsiteX11774" fmla="*/ 5482520 w 10505529"/>
              <a:gd name="connsiteY11774" fmla="*/ 5464822 h 7458372"/>
              <a:gd name="connsiteX11775" fmla="*/ 5479857 w 10505529"/>
              <a:gd name="connsiteY11775" fmla="*/ 5460696 h 7458372"/>
              <a:gd name="connsiteX11776" fmla="*/ 5475864 w 10505529"/>
              <a:gd name="connsiteY11776" fmla="*/ 5458033 h 7458372"/>
              <a:gd name="connsiteX11777" fmla="*/ 5470806 w 10505529"/>
              <a:gd name="connsiteY11777" fmla="*/ 5457102 h 7458372"/>
              <a:gd name="connsiteX11778" fmla="*/ 5253160 w 10505529"/>
              <a:gd name="connsiteY11778" fmla="*/ 5457102 h 7458372"/>
              <a:gd name="connsiteX11779" fmla="*/ 5243177 w 10505529"/>
              <a:gd name="connsiteY11779" fmla="*/ 5460696 h 7458372"/>
              <a:gd name="connsiteX11780" fmla="*/ 5239583 w 10505529"/>
              <a:gd name="connsiteY11780" fmla="*/ 5470147 h 7458372"/>
              <a:gd name="connsiteX11781" fmla="*/ 5243177 w 10505529"/>
              <a:gd name="connsiteY11781" fmla="*/ 5479598 h 7458372"/>
              <a:gd name="connsiteX11782" fmla="*/ 5253160 w 10505529"/>
              <a:gd name="connsiteY11782" fmla="*/ 5483060 h 7458372"/>
              <a:gd name="connsiteX11783" fmla="*/ 5258485 w 10505529"/>
              <a:gd name="connsiteY11783" fmla="*/ 5482128 h 7458372"/>
              <a:gd name="connsiteX11784" fmla="*/ 5262212 w 10505529"/>
              <a:gd name="connsiteY11784" fmla="*/ 5479731 h 7458372"/>
              <a:gd name="connsiteX11785" fmla="*/ 5264875 w 10505529"/>
              <a:gd name="connsiteY11785" fmla="*/ 5475472 h 7458372"/>
              <a:gd name="connsiteX11786" fmla="*/ 5265939 w 10505529"/>
              <a:gd name="connsiteY11786" fmla="*/ 5470014 h 7458372"/>
              <a:gd name="connsiteX11787" fmla="*/ 5264875 w 10505529"/>
              <a:gd name="connsiteY11787" fmla="*/ 5464822 h 7458372"/>
              <a:gd name="connsiteX11788" fmla="*/ 5262212 w 10505529"/>
              <a:gd name="connsiteY11788" fmla="*/ 5460696 h 7458372"/>
              <a:gd name="connsiteX11789" fmla="*/ 5258219 w 10505529"/>
              <a:gd name="connsiteY11789" fmla="*/ 5458033 h 7458372"/>
              <a:gd name="connsiteX11790" fmla="*/ 5253160 w 10505529"/>
              <a:gd name="connsiteY11790" fmla="*/ 5457102 h 7458372"/>
              <a:gd name="connsiteX11791" fmla="*/ 5035515 w 10505529"/>
              <a:gd name="connsiteY11791" fmla="*/ 5457102 h 7458372"/>
              <a:gd name="connsiteX11792" fmla="*/ 5025532 w 10505529"/>
              <a:gd name="connsiteY11792" fmla="*/ 5460696 h 7458372"/>
              <a:gd name="connsiteX11793" fmla="*/ 5021938 w 10505529"/>
              <a:gd name="connsiteY11793" fmla="*/ 5470147 h 7458372"/>
              <a:gd name="connsiteX11794" fmla="*/ 5025532 w 10505529"/>
              <a:gd name="connsiteY11794" fmla="*/ 5479598 h 7458372"/>
              <a:gd name="connsiteX11795" fmla="*/ 5035515 w 10505529"/>
              <a:gd name="connsiteY11795" fmla="*/ 5483060 h 7458372"/>
              <a:gd name="connsiteX11796" fmla="*/ 5040840 w 10505529"/>
              <a:gd name="connsiteY11796" fmla="*/ 5482128 h 7458372"/>
              <a:gd name="connsiteX11797" fmla="*/ 5044567 w 10505529"/>
              <a:gd name="connsiteY11797" fmla="*/ 5479731 h 7458372"/>
              <a:gd name="connsiteX11798" fmla="*/ 5047230 w 10505529"/>
              <a:gd name="connsiteY11798" fmla="*/ 5475472 h 7458372"/>
              <a:gd name="connsiteX11799" fmla="*/ 5048294 w 10505529"/>
              <a:gd name="connsiteY11799" fmla="*/ 5470014 h 7458372"/>
              <a:gd name="connsiteX11800" fmla="*/ 5047230 w 10505529"/>
              <a:gd name="connsiteY11800" fmla="*/ 5464822 h 7458372"/>
              <a:gd name="connsiteX11801" fmla="*/ 5044567 w 10505529"/>
              <a:gd name="connsiteY11801" fmla="*/ 5460696 h 7458372"/>
              <a:gd name="connsiteX11802" fmla="*/ 5040574 w 10505529"/>
              <a:gd name="connsiteY11802" fmla="*/ 5458033 h 7458372"/>
              <a:gd name="connsiteX11803" fmla="*/ 5035515 w 10505529"/>
              <a:gd name="connsiteY11803" fmla="*/ 5457102 h 7458372"/>
              <a:gd name="connsiteX11804" fmla="*/ 4817870 w 10505529"/>
              <a:gd name="connsiteY11804" fmla="*/ 5457102 h 7458372"/>
              <a:gd name="connsiteX11805" fmla="*/ 4807887 w 10505529"/>
              <a:gd name="connsiteY11805" fmla="*/ 5460696 h 7458372"/>
              <a:gd name="connsiteX11806" fmla="*/ 4804293 w 10505529"/>
              <a:gd name="connsiteY11806" fmla="*/ 5470147 h 7458372"/>
              <a:gd name="connsiteX11807" fmla="*/ 4807887 w 10505529"/>
              <a:gd name="connsiteY11807" fmla="*/ 5479598 h 7458372"/>
              <a:gd name="connsiteX11808" fmla="*/ 4817870 w 10505529"/>
              <a:gd name="connsiteY11808" fmla="*/ 5483060 h 7458372"/>
              <a:gd name="connsiteX11809" fmla="*/ 4823195 w 10505529"/>
              <a:gd name="connsiteY11809" fmla="*/ 5482128 h 7458372"/>
              <a:gd name="connsiteX11810" fmla="*/ 4826922 w 10505529"/>
              <a:gd name="connsiteY11810" fmla="*/ 5479731 h 7458372"/>
              <a:gd name="connsiteX11811" fmla="*/ 4829585 w 10505529"/>
              <a:gd name="connsiteY11811" fmla="*/ 5475472 h 7458372"/>
              <a:gd name="connsiteX11812" fmla="*/ 4830650 w 10505529"/>
              <a:gd name="connsiteY11812" fmla="*/ 5470014 h 7458372"/>
              <a:gd name="connsiteX11813" fmla="*/ 4829585 w 10505529"/>
              <a:gd name="connsiteY11813" fmla="*/ 5464822 h 7458372"/>
              <a:gd name="connsiteX11814" fmla="*/ 4826922 w 10505529"/>
              <a:gd name="connsiteY11814" fmla="*/ 5460696 h 7458372"/>
              <a:gd name="connsiteX11815" fmla="*/ 4822929 w 10505529"/>
              <a:gd name="connsiteY11815" fmla="*/ 5458033 h 7458372"/>
              <a:gd name="connsiteX11816" fmla="*/ 4817870 w 10505529"/>
              <a:gd name="connsiteY11816" fmla="*/ 5457102 h 7458372"/>
              <a:gd name="connsiteX11817" fmla="*/ 4600226 w 10505529"/>
              <a:gd name="connsiteY11817" fmla="*/ 5457102 h 7458372"/>
              <a:gd name="connsiteX11818" fmla="*/ 4590242 w 10505529"/>
              <a:gd name="connsiteY11818" fmla="*/ 5460696 h 7458372"/>
              <a:gd name="connsiteX11819" fmla="*/ 4586648 w 10505529"/>
              <a:gd name="connsiteY11819" fmla="*/ 5470147 h 7458372"/>
              <a:gd name="connsiteX11820" fmla="*/ 4590242 w 10505529"/>
              <a:gd name="connsiteY11820" fmla="*/ 5479598 h 7458372"/>
              <a:gd name="connsiteX11821" fmla="*/ 4600226 w 10505529"/>
              <a:gd name="connsiteY11821" fmla="*/ 5483060 h 7458372"/>
              <a:gd name="connsiteX11822" fmla="*/ 4605550 w 10505529"/>
              <a:gd name="connsiteY11822" fmla="*/ 5482128 h 7458372"/>
              <a:gd name="connsiteX11823" fmla="*/ 4609277 w 10505529"/>
              <a:gd name="connsiteY11823" fmla="*/ 5479731 h 7458372"/>
              <a:gd name="connsiteX11824" fmla="*/ 4611940 w 10505529"/>
              <a:gd name="connsiteY11824" fmla="*/ 5475472 h 7458372"/>
              <a:gd name="connsiteX11825" fmla="*/ 4613005 w 10505529"/>
              <a:gd name="connsiteY11825" fmla="*/ 5470014 h 7458372"/>
              <a:gd name="connsiteX11826" fmla="*/ 4611940 w 10505529"/>
              <a:gd name="connsiteY11826" fmla="*/ 5464822 h 7458372"/>
              <a:gd name="connsiteX11827" fmla="*/ 4609277 w 10505529"/>
              <a:gd name="connsiteY11827" fmla="*/ 5460696 h 7458372"/>
              <a:gd name="connsiteX11828" fmla="*/ 4605284 w 10505529"/>
              <a:gd name="connsiteY11828" fmla="*/ 5458033 h 7458372"/>
              <a:gd name="connsiteX11829" fmla="*/ 4600226 w 10505529"/>
              <a:gd name="connsiteY11829" fmla="*/ 5457102 h 7458372"/>
              <a:gd name="connsiteX11830" fmla="*/ 4382713 w 10505529"/>
              <a:gd name="connsiteY11830" fmla="*/ 5457102 h 7458372"/>
              <a:gd name="connsiteX11831" fmla="*/ 4372730 w 10505529"/>
              <a:gd name="connsiteY11831" fmla="*/ 5460696 h 7458372"/>
              <a:gd name="connsiteX11832" fmla="*/ 4369136 w 10505529"/>
              <a:gd name="connsiteY11832" fmla="*/ 5470147 h 7458372"/>
              <a:gd name="connsiteX11833" fmla="*/ 4372730 w 10505529"/>
              <a:gd name="connsiteY11833" fmla="*/ 5479598 h 7458372"/>
              <a:gd name="connsiteX11834" fmla="*/ 4382713 w 10505529"/>
              <a:gd name="connsiteY11834" fmla="*/ 5483060 h 7458372"/>
              <a:gd name="connsiteX11835" fmla="*/ 4388038 w 10505529"/>
              <a:gd name="connsiteY11835" fmla="*/ 5482128 h 7458372"/>
              <a:gd name="connsiteX11836" fmla="*/ 4391765 w 10505529"/>
              <a:gd name="connsiteY11836" fmla="*/ 5479731 h 7458372"/>
              <a:gd name="connsiteX11837" fmla="*/ 4394428 w 10505529"/>
              <a:gd name="connsiteY11837" fmla="*/ 5475472 h 7458372"/>
              <a:gd name="connsiteX11838" fmla="*/ 4395493 w 10505529"/>
              <a:gd name="connsiteY11838" fmla="*/ 5470014 h 7458372"/>
              <a:gd name="connsiteX11839" fmla="*/ 4394428 w 10505529"/>
              <a:gd name="connsiteY11839" fmla="*/ 5464822 h 7458372"/>
              <a:gd name="connsiteX11840" fmla="*/ 4391765 w 10505529"/>
              <a:gd name="connsiteY11840" fmla="*/ 5460696 h 7458372"/>
              <a:gd name="connsiteX11841" fmla="*/ 4387772 w 10505529"/>
              <a:gd name="connsiteY11841" fmla="*/ 5458033 h 7458372"/>
              <a:gd name="connsiteX11842" fmla="*/ 4382713 w 10505529"/>
              <a:gd name="connsiteY11842" fmla="*/ 5457102 h 7458372"/>
              <a:gd name="connsiteX11843" fmla="*/ 4165068 w 10505529"/>
              <a:gd name="connsiteY11843" fmla="*/ 5457102 h 7458372"/>
              <a:gd name="connsiteX11844" fmla="*/ 4155084 w 10505529"/>
              <a:gd name="connsiteY11844" fmla="*/ 5460696 h 7458372"/>
              <a:gd name="connsiteX11845" fmla="*/ 4151490 w 10505529"/>
              <a:gd name="connsiteY11845" fmla="*/ 5470147 h 7458372"/>
              <a:gd name="connsiteX11846" fmla="*/ 4155084 w 10505529"/>
              <a:gd name="connsiteY11846" fmla="*/ 5479598 h 7458372"/>
              <a:gd name="connsiteX11847" fmla="*/ 4165068 w 10505529"/>
              <a:gd name="connsiteY11847" fmla="*/ 5483060 h 7458372"/>
              <a:gd name="connsiteX11848" fmla="*/ 4170392 w 10505529"/>
              <a:gd name="connsiteY11848" fmla="*/ 5482128 h 7458372"/>
              <a:gd name="connsiteX11849" fmla="*/ 4174119 w 10505529"/>
              <a:gd name="connsiteY11849" fmla="*/ 5479731 h 7458372"/>
              <a:gd name="connsiteX11850" fmla="*/ 4176782 w 10505529"/>
              <a:gd name="connsiteY11850" fmla="*/ 5475472 h 7458372"/>
              <a:gd name="connsiteX11851" fmla="*/ 4177847 w 10505529"/>
              <a:gd name="connsiteY11851" fmla="*/ 5470014 h 7458372"/>
              <a:gd name="connsiteX11852" fmla="*/ 4176782 w 10505529"/>
              <a:gd name="connsiteY11852" fmla="*/ 5464822 h 7458372"/>
              <a:gd name="connsiteX11853" fmla="*/ 4174119 w 10505529"/>
              <a:gd name="connsiteY11853" fmla="*/ 5460696 h 7458372"/>
              <a:gd name="connsiteX11854" fmla="*/ 4170126 w 10505529"/>
              <a:gd name="connsiteY11854" fmla="*/ 5458033 h 7458372"/>
              <a:gd name="connsiteX11855" fmla="*/ 4165068 w 10505529"/>
              <a:gd name="connsiteY11855" fmla="*/ 5457102 h 7458372"/>
              <a:gd name="connsiteX11856" fmla="*/ 3947721 w 10505529"/>
              <a:gd name="connsiteY11856" fmla="*/ 5457102 h 7458372"/>
              <a:gd name="connsiteX11857" fmla="*/ 3937738 w 10505529"/>
              <a:gd name="connsiteY11857" fmla="*/ 5460696 h 7458372"/>
              <a:gd name="connsiteX11858" fmla="*/ 3934143 w 10505529"/>
              <a:gd name="connsiteY11858" fmla="*/ 5470147 h 7458372"/>
              <a:gd name="connsiteX11859" fmla="*/ 3937738 w 10505529"/>
              <a:gd name="connsiteY11859" fmla="*/ 5479598 h 7458372"/>
              <a:gd name="connsiteX11860" fmla="*/ 3947721 w 10505529"/>
              <a:gd name="connsiteY11860" fmla="*/ 5483060 h 7458372"/>
              <a:gd name="connsiteX11861" fmla="*/ 3953049 w 10505529"/>
              <a:gd name="connsiteY11861" fmla="*/ 5482128 h 7458372"/>
              <a:gd name="connsiteX11862" fmla="*/ 3956776 w 10505529"/>
              <a:gd name="connsiteY11862" fmla="*/ 5479731 h 7458372"/>
              <a:gd name="connsiteX11863" fmla="*/ 3959439 w 10505529"/>
              <a:gd name="connsiteY11863" fmla="*/ 5475472 h 7458372"/>
              <a:gd name="connsiteX11864" fmla="*/ 3960504 w 10505529"/>
              <a:gd name="connsiteY11864" fmla="*/ 5470014 h 7458372"/>
              <a:gd name="connsiteX11865" fmla="*/ 3959439 w 10505529"/>
              <a:gd name="connsiteY11865" fmla="*/ 5464822 h 7458372"/>
              <a:gd name="connsiteX11866" fmla="*/ 3956776 w 10505529"/>
              <a:gd name="connsiteY11866" fmla="*/ 5460696 h 7458372"/>
              <a:gd name="connsiteX11867" fmla="*/ 3952782 w 10505529"/>
              <a:gd name="connsiteY11867" fmla="*/ 5458033 h 7458372"/>
              <a:gd name="connsiteX11868" fmla="*/ 3947721 w 10505529"/>
              <a:gd name="connsiteY11868" fmla="*/ 5457102 h 7458372"/>
              <a:gd name="connsiteX11869" fmla="*/ 3730062 w 10505529"/>
              <a:gd name="connsiteY11869" fmla="*/ 5457102 h 7458372"/>
              <a:gd name="connsiteX11870" fmla="*/ 3720076 w 10505529"/>
              <a:gd name="connsiteY11870" fmla="*/ 5460696 h 7458372"/>
              <a:gd name="connsiteX11871" fmla="*/ 3716483 w 10505529"/>
              <a:gd name="connsiteY11871" fmla="*/ 5470147 h 7458372"/>
              <a:gd name="connsiteX11872" fmla="*/ 3720076 w 10505529"/>
              <a:gd name="connsiteY11872" fmla="*/ 5479598 h 7458372"/>
              <a:gd name="connsiteX11873" fmla="*/ 3730062 w 10505529"/>
              <a:gd name="connsiteY11873" fmla="*/ 5483060 h 7458372"/>
              <a:gd name="connsiteX11874" fmla="*/ 3735387 w 10505529"/>
              <a:gd name="connsiteY11874" fmla="*/ 5482128 h 7458372"/>
              <a:gd name="connsiteX11875" fmla="*/ 3739115 w 10505529"/>
              <a:gd name="connsiteY11875" fmla="*/ 5479731 h 7458372"/>
              <a:gd name="connsiteX11876" fmla="*/ 3741778 w 10505529"/>
              <a:gd name="connsiteY11876" fmla="*/ 5475472 h 7458372"/>
              <a:gd name="connsiteX11877" fmla="*/ 3742843 w 10505529"/>
              <a:gd name="connsiteY11877" fmla="*/ 5470014 h 7458372"/>
              <a:gd name="connsiteX11878" fmla="*/ 3741778 w 10505529"/>
              <a:gd name="connsiteY11878" fmla="*/ 5464822 h 7458372"/>
              <a:gd name="connsiteX11879" fmla="*/ 3739115 w 10505529"/>
              <a:gd name="connsiteY11879" fmla="*/ 5460696 h 7458372"/>
              <a:gd name="connsiteX11880" fmla="*/ 3735122 w 10505529"/>
              <a:gd name="connsiteY11880" fmla="*/ 5458033 h 7458372"/>
              <a:gd name="connsiteX11881" fmla="*/ 3730062 w 10505529"/>
              <a:gd name="connsiteY11881" fmla="*/ 5457102 h 7458372"/>
              <a:gd name="connsiteX11882" fmla="*/ 3512401 w 10505529"/>
              <a:gd name="connsiteY11882" fmla="*/ 5457102 h 7458372"/>
              <a:gd name="connsiteX11883" fmla="*/ 3502413 w 10505529"/>
              <a:gd name="connsiteY11883" fmla="*/ 5460696 h 7458372"/>
              <a:gd name="connsiteX11884" fmla="*/ 3498820 w 10505529"/>
              <a:gd name="connsiteY11884" fmla="*/ 5470147 h 7458372"/>
              <a:gd name="connsiteX11885" fmla="*/ 3502413 w 10505529"/>
              <a:gd name="connsiteY11885" fmla="*/ 5479598 h 7458372"/>
              <a:gd name="connsiteX11886" fmla="*/ 3512401 w 10505529"/>
              <a:gd name="connsiteY11886" fmla="*/ 5483060 h 7458372"/>
              <a:gd name="connsiteX11887" fmla="*/ 3517727 w 10505529"/>
              <a:gd name="connsiteY11887" fmla="*/ 5482128 h 7458372"/>
              <a:gd name="connsiteX11888" fmla="*/ 3521455 w 10505529"/>
              <a:gd name="connsiteY11888" fmla="*/ 5479731 h 7458372"/>
              <a:gd name="connsiteX11889" fmla="*/ 3524118 w 10505529"/>
              <a:gd name="connsiteY11889" fmla="*/ 5475472 h 7458372"/>
              <a:gd name="connsiteX11890" fmla="*/ 3525183 w 10505529"/>
              <a:gd name="connsiteY11890" fmla="*/ 5470014 h 7458372"/>
              <a:gd name="connsiteX11891" fmla="*/ 3524118 w 10505529"/>
              <a:gd name="connsiteY11891" fmla="*/ 5464822 h 7458372"/>
              <a:gd name="connsiteX11892" fmla="*/ 3521455 w 10505529"/>
              <a:gd name="connsiteY11892" fmla="*/ 5460696 h 7458372"/>
              <a:gd name="connsiteX11893" fmla="*/ 3517462 w 10505529"/>
              <a:gd name="connsiteY11893" fmla="*/ 5458033 h 7458372"/>
              <a:gd name="connsiteX11894" fmla="*/ 3512401 w 10505529"/>
              <a:gd name="connsiteY11894" fmla="*/ 5457102 h 7458372"/>
              <a:gd name="connsiteX11895" fmla="*/ 3294874 w 10505529"/>
              <a:gd name="connsiteY11895" fmla="*/ 5457102 h 7458372"/>
              <a:gd name="connsiteX11896" fmla="*/ 3284888 w 10505529"/>
              <a:gd name="connsiteY11896" fmla="*/ 5460696 h 7458372"/>
              <a:gd name="connsiteX11897" fmla="*/ 3281294 w 10505529"/>
              <a:gd name="connsiteY11897" fmla="*/ 5470147 h 7458372"/>
              <a:gd name="connsiteX11898" fmla="*/ 3284888 w 10505529"/>
              <a:gd name="connsiteY11898" fmla="*/ 5479598 h 7458372"/>
              <a:gd name="connsiteX11899" fmla="*/ 3294874 w 10505529"/>
              <a:gd name="connsiteY11899" fmla="*/ 5483060 h 7458372"/>
              <a:gd name="connsiteX11900" fmla="*/ 3300200 w 10505529"/>
              <a:gd name="connsiteY11900" fmla="*/ 5482128 h 7458372"/>
              <a:gd name="connsiteX11901" fmla="*/ 3303927 w 10505529"/>
              <a:gd name="connsiteY11901" fmla="*/ 5479731 h 7458372"/>
              <a:gd name="connsiteX11902" fmla="*/ 3306590 w 10505529"/>
              <a:gd name="connsiteY11902" fmla="*/ 5475472 h 7458372"/>
              <a:gd name="connsiteX11903" fmla="*/ 3307654 w 10505529"/>
              <a:gd name="connsiteY11903" fmla="*/ 5470014 h 7458372"/>
              <a:gd name="connsiteX11904" fmla="*/ 3306590 w 10505529"/>
              <a:gd name="connsiteY11904" fmla="*/ 5464822 h 7458372"/>
              <a:gd name="connsiteX11905" fmla="*/ 3303927 w 10505529"/>
              <a:gd name="connsiteY11905" fmla="*/ 5460696 h 7458372"/>
              <a:gd name="connsiteX11906" fmla="*/ 3299934 w 10505529"/>
              <a:gd name="connsiteY11906" fmla="*/ 5458033 h 7458372"/>
              <a:gd name="connsiteX11907" fmla="*/ 3294874 w 10505529"/>
              <a:gd name="connsiteY11907" fmla="*/ 5457102 h 7458372"/>
              <a:gd name="connsiteX11908" fmla="*/ 3077347 w 10505529"/>
              <a:gd name="connsiteY11908" fmla="*/ 5457102 h 7458372"/>
              <a:gd name="connsiteX11909" fmla="*/ 3067363 w 10505529"/>
              <a:gd name="connsiteY11909" fmla="*/ 5460696 h 7458372"/>
              <a:gd name="connsiteX11910" fmla="*/ 3063633 w 10505529"/>
              <a:gd name="connsiteY11910" fmla="*/ 5470147 h 7458372"/>
              <a:gd name="connsiteX11911" fmla="*/ 3067229 w 10505529"/>
              <a:gd name="connsiteY11911" fmla="*/ 5479598 h 7458372"/>
              <a:gd name="connsiteX11912" fmla="*/ 3077214 w 10505529"/>
              <a:gd name="connsiteY11912" fmla="*/ 5483060 h 7458372"/>
              <a:gd name="connsiteX11913" fmla="*/ 3082672 w 10505529"/>
              <a:gd name="connsiteY11913" fmla="*/ 5482128 h 7458372"/>
              <a:gd name="connsiteX11914" fmla="*/ 3086399 w 10505529"/>
              <a:gd name="connsiteY11914" fmla="*/ 5479731 h 7458372"/>
              <a:gd name="connsiteX11915" fmla="*/ 3089062 w 10505529"/>
              <a:gd name="connsiteY11915" fmla="*/ 5475472 h 7458372"/>
              <a:gd name="connsiteX11916" fmla="*/ 3089994 w 10505529"/>
              <a:gd name="connsiteY11916" fmla="*/ 5470014 h 7458372"/>
              <a:gd name="connsiteX11917" fmla="*/ 3089062 w 10505529"/>
              <a:gd name="connsiteY11917" fmla="*/ 5464822 h 7458372"/>
              <a:gd name="connsiteX11918" fmla="*/ 3086399 w 10505529"/>
              <a:gd name="connsiteY11918" fmla="*/ 5460696 h 7458372"/>
              <a:gd name="connsiteX11919" fmla="*/ 3082406 w 10505529"/>
              <a:gd name="connsiteY11919" fmla="*/ 5458033 h 7458372"/>
              <a:gd name="connsiteX11920" fmla="*/ 3077347 w 10505529"/>
              <a:gd name="connsiteY11920" fmla="*/ 5457102 h 7458372"/>
              <a:gd name="connsiteX11921" fmla="*/ 2859553 w 10505529"/>
              <a:gd name="connsiteY11921" fmla="*/ 5457102 h 7458372"/>
              <a:gd name="connsiteX11922" fmla="*/ 2849567 w 10505529"/>
              <a:gd name="connsiteY11922" fmla="*/ 5460696 h 7458372"/>
              <a:gd name="connsiteX11923" fmla="*/ 2845969 w 10505529"/>
              <a:gd name="connsiteY11923" fmla="*/ 5470147 h 7458372"/>
              <a:gd name="connsiteX11924" fmla="*/ 2849567 w 10505529"/>
              <a:gd name="connsiteY11924" fmla="*/ 5479598 h 7458372"/>
              <a:gd name="connsiteX11925" fmla="*/ 2859553 w 10505529"/>
              <a:gd name="connsiteY11925" fmla="*/ 5483060 h 7458372"/>
              <a:gd name="connsiteX11926" fmla="*/ 2864878 w 10505529"/>
              <a:gd name="connsiteY11926" fmla="*/ 5482128 h 7458372"/>
              <a:gd name="connsiteX11927" fmla="*/ 2868605 w 10505529"/>
              <a:gd name="connsiteY11927" fmla="*/ 5479731 h 7458372"/>
              <a:gd name="connsiteX11928" fmla="*/ 2871268 w 10505529"/>
              <a:gd name="connsiteY11928" fmla="*/ 5475472 h 7458372"/>
              <a:gd name="connsiteX11929" fmla="*/ 2872199 w 10505529"/>
              <a:gd name="connsiteY11929" fmla="*/ 5470014 h 7458372"/>
              <a:gd name="connsiteX11930" fmla="*/ 2871268 w 10505529"/>
              <a:gd name="connsiteY11930" fmla="*/ 5464822 h 7458372"/>
              <a:gd name="connsiteX11931" fmla="*/ 2868605 w 10505529"/>
              <a:gd name="connsiteY11931" fmla="*/ 5460696 h 7458372"/>
              <a:gd name="connsiteX11932" fmla="*/ 2864613 w 10505529"/>
              <a:gd name="connsiteY11932" fmla="*/ 5458033 h 7458372"/>
              <a:gd name="connsiteX11933" fmla="*/ 2859553 w 10505529"/>
              <a:gd name="connsiteY11933" fmla="*/ 5457102 h 7458372"/>
              <a:gd name="connsiteX11934" fmla="*/ 2641892 w 10505529"/>
              <a:gd name="connsiteY11934" fmla="*/ 5457102 h 7458372"/>
              <a:gd name="connsiteX11935" fmla="*/ 2631909 w 10505529"/>
              <a:gd name="connsiteY11935" fmla="*/ 5460696 h 7458372"/>
              <a:gd name="connsiteX11936" fmla="*/ 2628314 w 10505529"/>
              <a:gd name="connsiteY11936" fmla="*/ 5470147 h 7458372"/>
              <a:gd name="connsiteX11937" fmla="*/ 2631909 w 10505529"/>
              <a:gd name="connsiteY11937" fmla="*/ 5479598 h 7458372"/>
              <a:gd name="connsiteX11938" fmla="*/ 2641892 w 10505529"/>
              <a:gd name="connsiteY11938" fmla="*/ 5483060 h 7458372"/>
              <a:gd name="connsiteX11939" fmla="*/ 2647218 w 10505529"/>
              <a:gd name="connsiteY11939" fmla="*/ 5482128 h 7458372"/>
              <a:gd name="connsiteX11940" fmla="*/ 2650945 w 10505529"/>
              <a:gd name="connsiteY11940" fmla="*/ 5479731 h 7458372"/>
              <a:gd name="connsiteX11941" fmla="*/ 2653608 w 10505529"/>
              <a:gd name="connsiteY11941" fmla="*/ 5475472 h 7458372"/>
              <a:gd name="connsiteX11942" fmla="*/ 2654538 w 10505529"/>
              <a:gd name="connsiteY11942" fmla="*/ 5470014 h 7458372"/>
              <a:gd name="connsiteX11943" fmla="*/ 2653608 w 10505529"/>
              <a:gd name="connsiteY11943" fmla="*/ 5464822 h 7458372"/>
              <a:gd name="connsiteX11944" fmla="*/ 2650945 w 10505529"/>
              <a:gd name="connsiteY11944" fmla="*/ 5460696 h 7458372"/>
              <a:gd name="connsiteX11945" fmla="*/ 2646952 w 10505529"/>
              <a:gd name="connsiteY11945" fmla="*/ 5458033 h 7458372"/>
              <a:gd name="connsiteX11946" fmla="*/ 2641892 w 10505529"/>
              <a:gd name="connsiteY11946" fmla="*/ 5457102 h 7458372"/>
              <a:gd name="connsiteX11947" fmla="*/ 2424231 w 10505529"/>
              <a:gd name="connsiteY11947" fmla="*/ 5457102 h 7458372"/>
              <a:gd name="connsiteX11948" fmla="*/ 2414248 w 10505529"/>
              <a:gd name="connsiteY11948" fmla="*/ 5460696 h 7458372"/>
              <a:gd name="connsiteX11949" fmla="*/ 2410654 w 10505529"/>
              <a:gd name="connsiteY11949" fmla="*/ 5470147 h 7458372"/>
              <a:gd name="connsiteX11950" fmla="*/ 2414248 w 10505529"/>
              <a:gd name="connsiteY11950" fmla="*/ 5479598 h 7458372"/>
              <a:gd name="connsiteX11951" fmla="*/ 2424231 w 10505529"/>
              <a:gd name="connsiteY11951" fmla="*/ 5483060 h 7458372"/>
              <a:gd name="connsiteX11952" fmla="*/ 2429557 w 10505529"/>
              <a:gd name="connsiteY11952" fmla="*/ 5482128 h 7458372"/>
              <a:gd name="connsiteX11953" fmla="*/ 2433284 w 10505529"/>
              <a:gd name="connsiteY11953" fmla="*/ 5479731 h 7458372"/>
              <a:gd name="connsiteX11954" fmla="*/ 2435947 w 10505529"/>
              <a:gd name="connsiteY11954" fmla="*/ 5475472 h 7458372"/>
              <a:gd name="connsiteX11955" fmla="*/ 2436878 w 10505529"/>
              <a:gd name="connsiteY11955" fmla="*/ 5470014 h 7458372"/>
              <a:gd name="connsiteX11956" fmla="*/ 2435947 w 10505529"/>
              <a:gd name="connsiteY11956" fmla="*/ 5464822 h 7458372"/>
              <a:gd name="connsiteX11957" fmla="*/ 2433284 w 10505529"/>
              <a:gd name="connsiteY11957" fmla="*/ 5460696 h 7458372"/>
              <a:gd name="connsiteX11958" fmla="*/ 2429291 w 10505529"/>
              <a:gd name="connsiteY11958" fmla="*/ 5458033 h 7458372"/>
              <a:gd name="connsiteX11959" fmla="*/ 2424231 w 10505529"/>
              <a:gd name="connsiteY11959" fmla="*/ 5457102 h 7458372"/>
              <a:gd name="connsiteX11960" fmla="*/ 2206571 w 10505529"/>
              <a:gd name="connsiteY11960" fmla="*/ 5457102 h 7458372"/>
              <a:gd name="connsiteX11961" fmla="*/ 2196587 w 10505529"/>
              <a:gd name="connsiteY11961" fmla="*/ 5460696 h 7458372"/>
              <a:gd name="connsiteX11962" fmla="*/ 2192993 w 10505529"/>
              <a:gd name="connsiteY11962" fmla="*/ 5470147 h 7458372"/>
              <a:gd name="connsiteX11963" fmla="*/ 2196587 w 10505529"/>
              <a:gd name="connsiteY11963" fmla="*/ 5479598 h 7458372"/>
              <a:gd name="connsiteX11964" fmla="*/ 2206571 w 10505529"/>
              <a:gd name="connsiteY11964" fmla="*/ 5483060 h 7458372"/>
              <a:gd name="connsiteX11965" fmla="*/ 2211896 w 10505529"/>
              <a:gd name="connsiteY11965" fmla="*/ 5482128 h 7458372"/>
              <a:gd name="connsiteX11966" fmla="*/ 2215623 w 10505529"/>
              <a:gd name="connsiteY11966" fmla="*/ 5479731 h 7458372"/>
              <a:gd name="connsiteX11967" fmla="*/ 2218286 w 10505529"/>
              <a:gd name="connsiteY11967" fmla="*/ 5475472 h 7458372"/>
              <a:gd name="connsiteX11968" fmla="*/ 2219217 w 10505529"/>
              <a:gd name="connsiteY11968" fmla="*/ 5470014 h 7458372"/>
              <a:gd name="connsiteX11969" fmla="*/ 2218286 w 10505529"/>
              <a:gd name="connsiteY11969" fmla="*/ 5464822 h 7458372"/>
              <a:gd name="connsiteX11970" fmla="*/ 2215623 w 10505529"/>
              <a:gd name="connsiteY11970" fmla="*/ 5460696 h 7458372"/>
              <a:gd name="connsiteX11971" fmla="*/ 2211630 w 10505529"/>
              <a:gd name="connsiteY11971" fmla="*/ 5458033 h 7458372"/>
              <a:gd name="connsiteX11972" fmla="*/ 2206571 w 10505529"/>
              <a:gd name="connsiteY11972" fmla="*/ 5457102 h 7458372"/>
              <a:gd name="connsiteX11973" fmla="*/ 1989043 w 10505529"/>
              <a:gd name="connsiteY11973" fmla="*/ 5457102 h 7458372"/>
              <a:gd name="connsiteX11974" fmla="*/ 1979060 w 10505529"/>
              <a:gd name="connsiteY11974" fmla="*/ 5460696 h 7458372"/>
              <a:gd name="connsiteX11975" fmla="*/ 1975466 w 10505529"/>
              <a:gd name="connsiteY11975" fmla="*/ 5470147 h 7458372"/>
              <a:gd name="connsiteX11976" fmla="*/ 1979060 w 10505529"/>
              <a:gd name="connsiteY11976" fmla="*/ 5479598 h 7458372"/>
              <a:gd name="connsiteX11977" fmla="*/ 1989043 w 10505529"/>
              <a:gd name="connsiteY11977" fmla="*/ 5483060 h 7458372"/>
              <a:gd name="connsiteX11978" fmla="*/ 1994368 w 10505529"/>
              <a:gd name="connsiteY11978" fmla="*/ 5482128 h 7458372"/>
              <a:gd name="connsiteX11979" fmla="*/ 1998095 w 10505529"/>
              <a:gd name="connsiteY11979" fmla="*/ 5479731 h 7458372"/>
              <a:gd name="connsiteX11980" fmla="*/ 2000758 w 10505529"/>
              <a:gd name="connsiteY11980" fmla="*/ 5475472 h 7458372"/>
              <a:gd name="connsiteX11981" fmla="*/ 2001689 w 10505529"/>
              <a:gd name="connsiteY11981" fmla="*/ 5470014 h 7458372"/>
              <a:gd name="connsiteX11982" fmla="*/ 2000758 w 10505529"/>
              <a:gd name="connsiteY11982" fmla="*/ 5464822 h 7458372"/>
              <a:gd name="connsiteX11983" fmla="*/ 1998095 w 10505529"/>
              <a:gd name="connsiteY11983" fmla="*/ 5460696 h 7458372"/>
              <a:gd name="connsiteX11984" fmla="*/ 1994102 w 10505529"/>
              <a:gd name="connsiteY11984" fmla="*/ 5458033 h 7458372"/>
              <a:gd name="connsiteX11985" fmla="*/ 1989043 w 10505529"/>
              <a:gd name="connsiteY11985" fmla="*/ 5457102 h 7458372"/>
              <a:gd name="connsiteX11986" fmla="*/ 1771409 w 10505529"/>
              <a:gd name="connsiteY11986" fmla="*/ 5457102 h 7458372"/>
              <a:gd name="connsiteX11987" fmla="*/ 1761427 w 10505529"/>
              <a:gd name="connsiteY11987" fmla="*/ 5460696 h 7458372"/>
              <a:gd name="connsiteX11988" fmla="*/ 1757833 w 10505529"/>
              <a:gd name="connsiteY11988" fmla="*/ 5470147 h 7458372"/>
              <a:gd name="connsiteX11989" fmla="*/ 1761427 w 10505529"/>
              <a:gd name="connsiteY11989" fmla="*/ 5479598 h 7458372"/>
              <a:gd name="connsiteX11990" fmla="*/ 1771409 w 10505529"/>
              <a:gd name="connsiteY11990" fmla="*/ 5483060 h 7458372"/>
              <a:gd name="connsiteX11991" fmla="*/ 1776734 w 10505529"/>
              <a:gd name="connsiteY11991" fmla="*/ 5482128 h 7458372"/>
              <a:gd name="connsiteX11992" fmla="*/ 1780460 w 10505529"/>
              <a:gd name="connsiteY11992" fmla="*/ 5479731 h 7458372"/>
              <a:gd name="connsiteX11993" fmla="*/ 1783123 w 10505529"/>
              <a:gd name="connsiteY11993" fmla="*/ 5475472 h 7458372"/>
              <a:gd name="connsiteX11994" fmla="*/ 1784188 w 10505529"/>
              <a:gd name="connsiteY11994" fmla="*/ 5470014 h 7458372"/>
              <a:gd name="connsiteX11995" fmla="*/ 1783123 w 10505529"/>
              <a:gd name="connsiteY11995" fmla="*/ 5464822 h 7458372"/>
              <a:gd name="connsiteX11996" fmla="*/ 1780460 w 10505529"/>
              <a:gd name="connsiteY11996" fmla="*/ 5460696 h 7458372"/>
              <a:gd name="connsiteX11997" fmla="*/ 1776468 w 10505529"/>
              <a:gd name="connsiteY11997" fmla="*/ 5458033 h 7458372"/>
              <a:gd name="connsiteX11998" fmla="*/ 1771409 w 10505529"/>
              <a:gd name="connsiteY11998" fmla="*/ 5457102 h 7458372"/>
              <a:gd name="connsiteX11999" fmla="*/ 1553772 w 10505529"/>
              <a:gd name="connsiteY11999" fmla="*/ 5457102 h 7458372"/>
              <a:gd name="connsiteX12000" fmla="*/ 1543789 w 10505529"/>
              <a:gd name="connsiteY12000" fmla="*/ 5460696 h 7458372"/>
              <a:gd name="connsiteX12001" fmla="*/ 1540194 w 10505529"/>
              <a:gd name="connsiteY12001" fmla="*/ 5470147 h 7458372"/>
              <a:gd name="connsiteX12002" fmla="*/ 1543789 w 10505529"/>
              <a:gd name="connsiteY12002" fmla="*/ 5479598 h 7458372"/>
              <a:gd name="connsiteX12003" fmla="*/ 1553772 w 10505529"/>
              <a:gd name="connsiteY12003" fmla="*/ 5483060 h 7458372"/>
              <a:gd name="connsiteX12004" fmla="*/ 1559097 w 10505529"/>
              <a:gd name="connsiteY12004" fmla="*/ 5482128 h 7458372"/>
              <a:gd name="connsiteX12005" fmla="*/ 1562824 w 10505529"/>
              <a:gd name="connsiteY12005" fmla="*/ 5479731 h 7458372"/>
              <a:gd name="connsiteX12006" fmla="*/ 1565487 w 10505529"/>
              <a:gd name="connsiteY12006" fmla="*/ 5475472 h 7458372"/>
              <a:gd name="connsiteX12007" fmla="*/ 1566552 w 10505529"/>
              <a:gd name="connsiteY12007" fmla="*/ 5470014 h 7458372"/>
              <a:gd name="connsiteX12008" fmla="*/ 1565487 w 10505529"/>
              <a:gd name="connsiteY12008" fmla="*/ 5464822 h 7458372"/>
              <a:gd name="connsiteX12009" fmla="*/ 1562824 w 10505529"/>
              <a:gd name="connsiteY12009" fmla="*/ 5460696 h 7458372"/>
              <a:gd name="connsiteX12010" fmla="*/ 1558831 w 10505529"/>
              <a:gd name="connsiteY12010" fmla="*/ 5458033 h 7458372"/>
              <a:gd name="connsiteX12011" fmla="*/ 1553772 w 10505529"/>
              <a:gd name="connsiteY12011" fmla="*/ 5457102 h 7458372"/>
              <a:gd name="connsiteX12012" fmla="*/ 1336129 w 10505529"/>
              <a:gd name="connsiteY12012" fmla="*/ 5457102 h 7458372"/>
              <a:gd name="connsiteX12013" fmla="*/ 1326144 w 10505529"/>
              <a:gd name="connsiteY12013" fmla="*/ 5460696 h 7458372"/>
              <a:gd name="connsiteX12014" fmla="*/ 1322550 w 10505529"/>
              <a:gd name="connsiteY12014" fmla="*/ 5470147 h 7458372"/>
              <a:gd name="connsiteX12015" fmla="*/ 1326144 w 10505529"/>
              <a:gd name="connsiteY12015" fmla="*/ 5479598 h 7458372"/>
              <a:gd name="connsiteX12016" fmla="*/ 1336129 w 10505529"/>
              <a:gd name="connsiteY12016" fmla="*/ 5483060 h 7458372"/>
              <a:gd name="connsiteX12017" fmla="*/ 1341455 w 10505529"/>
              <a:gd name="connsiteY12017" fmla="*/ 5482128 h 7458372"/>
              <a:gd name="connsiteX12018" fmla="*/ 1345182 w 10505529"/>
              <a:gd name="connsiteY12018" fmla="*/ 5479731 h 7458372"/>
              <a:gd name="connsiteX12019" fmla="*/ 1347844 w 10505529"/>
              <a:gd name="connsiteY12019" fmla="*/ 5475472 h 7458372"/>
              <a:gd name="connsiteX12020" fmla="*/ 1348910 w 10505529"/>
              <a:gd name="connsiteY12020" fmla="*/ 5470014 h 7458372"/>
              <a:gd name="connsiteX12021" fmla="*/ 1347844 w 10505529"/>
              <a:gd name="connsiteY12021" fmla="*/ 5464822 h 7458372"/>
              <a:gd name="connsiteX12022" fmla="*/ 1345182 w 10505529"/>
              <a:gd name="connsiteY12022" fmla="*/ 5460696 h 7458372"/>
              <a:gd name="connsiteX12023" fmla="*/ 1341187 w 10505529"/>
              <a:gd name="connsiteY12023" fmla="*/ 5458033 h 7458372"/>
              <a:gd name="connsiteX12024" fmla="*/ 1336129 w 10505529"/>
              <a:gd name="connsiteY12024" fmla="*/ 5457102 h 7458372"/>
              <a:gd name="connsiteX12025" fmla="*/ 1118616 w 10505529"/>
              <a:gd name="connsiteY12025" fmla="*/ 5457102 h 7458372"/>
              <a:gd name="connsiteX12026" fmla="*/ 1108631 w 10505529"/>
              <a:gd name="connsiteY12026" fmla="*/ 5460696 h 7458372"/>
              <a:gd name="connsiteX12027" fmla="*/ 1104904 w 10505529"/>
              <a:gd name="connsiteY12027" fmla="*/ 5470147 h 7458372"/>
              <a:gd name="connsiteX12028" fmla="*/ 1108498 w 10505529"/>
              <a:gd name="connsiteY12028" fmla="*/ 5479598 h 7458372"/>
              <a:gd name="connsiteX12029" fmla="*/ 1118483 w 10505529"/>
              <a:gd name="connsiteY12029" fmla="*/ 5483060 h 7458372"/>
              <a:gd name="connsiteX12030" fmla="*/ 1123940 w 10505529"/>
              <a:gd name="connsiteY12030" fmla="*/ 5482128 h 7458372"/>
              <a:gd name="connsiteX12031" fmla="*/ 1127670 w 10505529"/>
              <a:gd name="connsiteY12031" fmla="*/ 5479731 h 7458372"/>
              <a:gd name="connsiteX12032" fmla="*/ 1130334 w 10505529"/>
              <a:gd name="connsiteY12032" fmla="*/ 5475472 h 7458372"/>
              <a:gd name="connsiteX12033" fmla="*/ 1131399 w 10505529"/>
              <a:gd name="connsiteY12033" fmla="*/ 5470014 h 7458372"/>
              <a:gd name="connsiteX12034" fmla="*/ 1130334 w 10505529"/>
              <a:gd name="connsiteY12034" fmla="*/ 5464822 h 7458372"/>
              <a:gd name="connsiteX12035" fmla="*/ 1127670 w 10505529"/>
              <a:gd name="connsiteY12035" fmla="*/ 5460696 h 7458372"/>
              <a:gd name="connsiteX12036" fmla="*/ 1123674 w 10505529"/>
              <a:gd name="connsiteY12036" fmla="*/ 5458033 h 7458372"/>
              <a:gd name="connsiteX12037" fmla="*/ 1118616 w 10505529"/>
              <a:gd name="connsiteY12037" fmla="*/ 5457102 h 7458372"/>
              <a:gd name="connsiteX12038" fmla="*/ 901104 w 10505529"/>
              <a:gd name="connsiteY12038" fmla="*/ 5457102 h 7458372"/>
              <a:gd name="connsiteX12039" fmla="*/ 891120 w 10505529"/>
              <a:gd name="connsiteY12039" fmla="*/ 5460696 h 7458372"/>
              <a:gd name="connsiteX12040" fmla="*/ 887393 w 10505529"/>
              <a:gd name="connsiteY12040" fmla="*/ 5470147 h 7458372"/>
              <a:gd name="connsiteX12041" fmla="*/ 890987 w 10505529"/>
              <a:gd name="connsiteY12041" fmla="*/ 5479598 h 7458372"/>
              <a:gd name="connsiteX12042" fmla="*/ 900970 w 10505529"/>
              <a:gd name="connsiteY12042" fmla="*/ 5483060 h 7458372"/>
              <a:gd name="connsiteX12043" fmla="*/ 906428 w 10505529"/>
              <a:gd name="connsiteY12043" fmla="*/ 5482128 h 7458372"/>
              <a:gd name="connsiteX12044" fmla="*/ 910156 w 10505529"/>
              <a:gd name="connsiteY12044" fmla="*/ 5479731 h 7458372"/>
              <a:gd name="connsiteX12045" fmla="*/ 912818 w 10505529"/>
              <a:gd name="connsiteY12045" fmla="*/ 5475472 h 7458372"/>
              <a:gd name="connsiteX12046" fmla="*/ 913883 w 10505529"/>
              <a:gd name="connsiteY12046" fmla="*/ 5470014 h 7458372"/>
              <a:gd name="connsiteX12047" fmla="*/ 912818 w 10505529"/>
              <a:gd name="connsiteY12047" fmla="*/ 5464822 h 7458372"/>
              <a:gd name="connsiteX12048" fmla="*/ 910156 w 10505529"/>
              <a:gd name="connsiteY12048" fmla="*/ 5460696 h 7458372"/>
              <a:gd name="connsiteX12049" fmla="*/ 906162 w 10505529"/>
              <a:gd name="connsiteY12049" fmla="*/ 5458033 h 7458372"/>
              <a:gd name="connsiteX12050" fmla="*/ 901104 w 10505529"/>
              <a:gd name="connsiteY12050" fmla="*/ 5457102 h 7458372"/>
              <a:gd name="connsiteX12051" fmla="*/ 683330 w 10505529"/>
              <a:gd name="connsiteY12051" fmla="*/ 5457102 h 7458372"/>
              <a:gd name="connsiteX12052" fmla="*/ 673346 w 10505529"/>
              <a:gd name="connsiteY12052" fmla="*/ 5460696 h 7458372"/>
              <a:gd name="connsiteX12053" fmla="*/ 669752 w 10505529"/>
              <a:gd name="connsiteY12053" fmla="*/ 5470147 h 7458372"/>
              <a:gd name="connsiteX12054" fmla="*/ 673346 w 10505529"/>
              <a:gd name="connsiteY12054" fmla="*/ 5479598 h 7458372"/>
              <a:gd name="connsiteX12055" fmla="*/ 683330 w 10505529"/>
              <a:gd name="connsiteY12055" fmla="*/ 5483060 h 7458372"/>
              <a:gd name="connsiteX12056" fmla="*/ 688655 w 10505529"/>
              <a:gd name="connsiteY12056" fmla="*/ 5482128 h 7458372"/>
              <a:gd name="connsiteX12057" fmla="*/ 692382 w 10505529"/>
              <a:gd name="connsiteY12057" fmla="*/ 5479731 h 7458372"/>
              <a:gd name="connsiteX12058" fmla="*/ 695045 w 10505529"/>
              <a:gd name="connsiteY12058" fmla="*/ 5475472 h 7458372"/>
              <a:gd name="connsiteX12059" fmla="*/ 696110 w 10505529"/>
              <a:gd name="connsiteY12059" fmla="*/ 5470014 h 7458372"/>
              <a:gd name="connsiteX12060" fmla="*/ 695045 w 10505529"/>
              <a:gd name="connsiteY12060" fmla="*/ 5464822 h 7458372"/>
              <a:gd name="connsiteX12061" fmla="*/ 692382 w 10505529"/>
              <a:gd name="connsiteY12061" fmla="*/ 5460696 h 7458372"/>
              <a:gd name="connsiteX12062" fmla="*/ 688389 w 10505529"/>
              <a:gd name="connsiteY12062" fmla="*/ 5458033 h 7458372"/>
              <a:gd name="connsiteX12063" fmla="*/ 683330 w 10505529"/>
              <a:gd name="connsiteY12063" fmla="*/ 5457102 h 7458372"/>
              <a:gd name="connsiteX12064" fmla="*/ 465688 w 10505529"/>
              <a:gd name="connsiteY12064" fmla="*/ 5457102 h 7458372"/>
              <a:gd name="connsiteX12065" fmla="*/ 455705 w 10505529"/>
              <a:gd name="connsiteY12065" fmla="*/ 5460696 h 7458372"/>
              <a:gd name="connsiteX12066" fmla="*/ 452111 w 10505529"/>
              <a:gd name="connsiteY12066" fmla="*/ 5470147 h 7458372"/>
              <a:gd name="connsiteX12067" fmla="*/ 455705 w 10505529"/>
              <a:gd name="connsiteY12067" fmla="*/ 5479598 h 7458372"/>
              <a:gd name="connsiteX12068" fmla="*/ 465688 w 10505529"/>
              <a:gd name="connsiteY12068" fmla="*/ 5483060 h 7458372"/>
              <a:gd name="connsiteX12069" fmla="*/ 471013 w 10505529"/>
              <a:gd name="connsiteY12069" fmla="*/ 5482128 h 7458372"/>
              <a:gd name="connsiteX12070" fmla="*/ 474740 w 10505529"/>
              <a:gd name="connsiteY12070" fmla="*/ 5479731 h 7458372"/>
              <a:gd name="connsiteX12071" fmla="*/ 477404 w 10505529"/>
              <a:gd name="connsiteY12071" fmla="*/ 5475472 h 7458372"/>
              <a:gd name="connsiteX12072" fmla="*/ 478468 w 10505529"/>
              <a:gd name="connsiteY12072" fmla="*/ 5470014 h 7458372"/>
              <a:gd name="connsiteX12073" fmla="*/ 477404 w 10505529"/>
              <a:gd name="connsiteY12073" fmla="*/ 5464822 h 7458372"/>
              <a:gd name="connsiteX12074" fmla="*/ 474740 w 10505529"/>
              <a:gd name="connsiteY12074" fmla="*/ 5460696 h 7458372"/>
              <a:gd name="connsiteX12075" fmla="*/ 470747 w 10505529"/>
              <a:gd name="connsiteY12075" fmla="*/ 5458033 h 7458372"/>
              <a:gd name="connsiteX12076" fmla="*/ 465688 w 10505529"/>
              <a:gd name="connsiteY12076" fmla="*/ 5457102 h 7458372"/>
              <a:gd name="connsiteX12077" fmla="*/ 248047 w 10505529"/>
              <a:gd name="connsiteY12077" fmla="*/ 5457102 h 7458372"/>
              <a:gd name="connsiteX12078" fmla="*/ 238064 w 10505529"/>
              <a:gd name="connsiteY12078" fmla="*/ 5460696 h 7458372"/>
              <a:gd name="connsiteX12079" fmla="*/ 234471 w 10505529"/>
              <a:gd name="connsiteY12079" fmla="*/ 5470147 h 7458372"/>
              <a:gd name="connsiteX12080" fmla="*/ 238064 w 10505529"/>
              <a:gd name="connsiteY12080" fmla="*/ 5479598 h 7458372"/>
              <a:gd name="connsiteX12081" fmla="*/ 248047 w 10505529"/>
              <a:gd name="connsiteY12081" fmla="*/ 5483060 h 7458372"/>
              <a:gd name="connsiteX12082" fmla="*/ 253371 w 10505529"/>
              <a:gd name="connsiteY12082" fmla="*/ 5482128 h 7458372"/>
              <a:gd name="connsiteX12083" fmla="*/ 257098 w 10505529"/>
              <a:gd name="connsiteY12083" fmla="*/ 5479731 h 7458372"/>
              <a:gd name="connsiteX12084" fmla="*/ 259761 w 10505529"/>
              <a:gd name="connsiteY12084" fmla="*/ 5475472 h 7458372"/>
              <a:gd name="connsiteX12085" fmla="*/ 260826 w 10505529"/>
              <a:gd name="connsiteY12085" fmla="*/ 5470014 h 7458372"/>
              <a:gd name="connsiteX12086" fmla="*/ 259761 w 10505529"/>
              <a:gd name="connsiteY12086" fmla="*/ 5464822 h 7458372"/>
              <a:gd name="connsiteX12087" fmla="*/ 257098 w 10505529"/>
              <a:gd name="connsiteY12087" fmla="*/ 5460696 h 7458372"/>
              <a:gd name="connsiteX12088" fmla="*/ 253105 w 10505529"/>
              <a:gd name="connsiteY12088" fmla="*/ 5458033 h 7458372"/>
              <a:gd name="connsiteX12089" fmla="*/ 248047 w 10505529"/>
              <a:gd name="connsiteY12089" fmla="*/ 5457102 h 7458372"/>
              <a:gd name="connsiteX12090" fmla="*/ 30405 w 10505529"/>
              <a:gd name="connsiteY12090" fmla="*/ 5457102 h 7458372"/>
              <a:gd name="connsiteX12091" fmla="*/ 20422 w 10505529"/>
              <a:gd name="connsiteY12091" fmla="*/ 5460696 h 7458372"/>
              <a:gd name="connsiteX12092" fmla="*/ 16829 w 10505529"/>
              <a:gd name="connsiteY12092" fmla="*/ 5470147 h 7458372"/>
              <a:gd name="connsiteX12093" fmla="*/ 20422 w 10505529"/>
              <a:gd name="connsiteY12093" fmla="*/ 5479598 h 7458372"/>
              <a:gd name="connsiteX12094" fmla="*/ 30405 w 10505529"/>
              <a:gd name="connsiteY12094" fmla="*/ 5483060 h 7458372"/>
              <a:gd name="connsiteX12095" fmla="*/ 35730 w 10505529"/>
              <a:gd name="connsiteY12095" fmla="*/ 5482128 h 7458372"/>
              <a:gd name="connsiteX12096" fmla="*/ 39457 w 10505529"/>
              <a:gd name="connsiteY12096" fmla="*/ 5479731 h 7458372"/>
              <a:gd name="connsiteX12097" fmla="*/ 42120 w 10505529"/>
              <a:gd name="connsiteY12097" fmla="*/ 5475472 h 7458372"/>
              <a:gd name="connsiteX12098" fmla="*/ 43051 w 10505529"/>
              <a:gd name="connsiteY12098" fmla="*/ 5470014 h 7458372"/>
              <a:gd name="connsiteX12099" fmla="*/ 42120 w 10505529"/>
              <a:gd name="connsiteY12099" fmla="*/ 5464822 h 7458372"/>
              <a:gd name="connsiteX12100" fmla="*/ 39457 w 10505529"/>
              <a:gd name="connsiteY12100" fmla="*/ 5460696 h 7458372"/>
              <a:gd name="connsiteX12101" fmla="*/ 35464 w 10505529"/>
              <a:gd name="connsiteY12101" fmla="*/ 5458033 h 7458372"/>
              <a:gd name="connsiteX12102" fmla="*/ 30405 w 10505529"/>
              <a:gd name="connsiteY12102" fmla="*/ 5457102 h 7458372"/>
              <a:gd name="connsiteX12103" fmla="*/ 10475977 w 10505529"/>
              <a:gd name="connsiteY12103" fmla="*/ 5440462 h 7458372"/>
              <a:gd name="connsiteX12104" fmla="*/ 10487824 w 10505529"/>
              <a:gd name="connsiteY12104" fmla="*/ 5443124 h 7458372"/>
              <a:gd name="connsiteX12105" fmla="*/ 10497143 w 10505529"/>
              <a:gd name="connsiteY12105" fmla="*/ 5449514 h 7458372"/>
              <a:gd name="connsiteX12106" fmla="*/ 10503266 w 10505529"/>
              <a:gd name="connsiteY12106" fmla="*/ 5458832 h 7458372"/>
              <a:gd name="connsiteX12107" fmla="*/ 10505529 w 10505529"/>
              <a:gd name="connsiteY12107" fmla="*/ 5470280 h 7458372"/>
              <a:gd name="connsiteX12108" fmla="*/ 10503266 w 10505529"/>
              <a:gd name="connsiteY12108" fmla="*/ 5481995 h 7458372"/>
              <a:gd name="connsiteX12109" fmla="*/ 10497143 w 10505529"/>
              <a:gd name="connsiteY12109" fmla="*/ 5491314 h 7458372"/>
              <a:gd name="connsiteX12110" fmla="*/ 10487824 w 10505529"/>
              <a:gd name="connsiteY12110" fmla="*/ 5497570 h 7458372"/>
              <a:gd name="connsiteX12111" fmla="*/ 10475977 w 10505529"/>
              <a:gd name="connsiteY12111" fmla="*/ 5499833 h 7458372"/>
              <a:gd name="connsiteX12112" fmla="*/ 10454145 w 10505529"/>
              <a:gd name="connsiteY12112" fmla="*/ 5491314 h 7458372"/>
              <a:gd name="connsiteX12113" fmla="*/ 10445759 w 10505529"/>
              <a:gd name="connsiteY12113" fmla="*/ 5470147 h 7458372"/>
              <a:gd name="connsiteX12114" fmla="*/ 10454145 w 10505529"/>
              <a:gd name="connsiteY12114" fmla="*/ 5449114 h 7458372"/>
              <a:gd name="connsiteX12115" fmla="*/ 10475977 w 10505529"/>
              <a:gd name="connsiteY12115" fmla="*/ 5440462 h 7458372"/>
              <a:gd name="connsiteX12116" fmla="*/ 10258466 w 10505529"/>
              <a:gd name="connsiteY12116" fmla="*/ 5440462 h 7458372"/>
              <a:gd name="connsiteX12117" fmla="*/ 10270313 w 10505529"/>
              <a:gd name="connsiteY12117" fmla="*/ 5443124 h 7458372"/>
              <a:gd name="connsiteX12118" fmla="*/ 10279631 w 10505529"/>
              <a:gd name="connsiteY12118" fmla="*/ 5449514 h 7458372"/>
              <a:gd name="connsiteX12119" fmla="*/ 10285754 w 10505529"/>
              <a:gd name="connsiteY12119" fmla="*/ 5458832 h 7458372"/>
              <a:gd name="connsiteX12120" fmla="*/ 10288017 w 10505529"/>
              <a:gd name="connsiteY12120" fmla="*/ 5470280 h 7458372"/>
              <a:gd name="connsiteX12121" fmla="*/ 10285754 w 10505529"/>
              <a:gd name="connsiteY12121" fmla="*/ 5481995 h 7458372"/>
              <a:gd name="connsiteX12122" fmla="*/ 10279631 w 10505529"/>
              <a:gd name="connsiteY12122" fmla="*/ 5491314 h 7458372"/>
              <a:gd name="connsiteX12123" fmla="*/ 10270313 w 10505529"/>
              <a:gd name="connsiteY12123" fmla="*/ 5497570 h 7458372"/>
              <a:gd name="connsiteX12124" fmla="*/ 10258466 w 10505529"/>
              <a:gd name="connsiteY12124" fmla="*/ 5499833 h 7458372"/>
              <a:gd name="connsiteX12125" fmla="*/ 10236633 w 10505529"/>
              <a:gd name="connsiteY12125" fmla="*/ 5491314 h 7458372"/>
              <a:gd name="connsiteX12126" fmla="*/ 10228247 w 10505529"/>
              <a:gd name="connsiteY12126" fmla="*/ 5470147 h 7458372"/>
              <a:gd name="connsiteX12127" fmla="*/ 10236633 w 10505529"/>
              <a:gd name="connsiteY12127" fmla="*/ 5449114 h 7458372"/>
              <a:gd name="connsiteX12128" fmla="*/ 10258466 w 10505529"/>
              <a:gd name="connsiteY12128" fmla="*/ 5440462 h 7458372"/>
              <a:gd name="connsiteX12129" fmla="*/ 10040820 w 10505529"/>
              <a:gd name="connsiteY12129" fmla="*/ 5440462 h 7458372"/>
              <a:gd name="connsiteX12130" fmla="*/ 10052534 w 10505529"/>
              <a:gd name="connsiteY12130" fmla="*/ 5443124 h 7458372"/>
              <a:gd name="connsiteX12131" fmla="*/ 10061852 w 10505529"/>
              <a:gd name="connsiteY12131" fmla="*/ 5449514 h 7458372"/>
              <a:gd name="connsiteX12132" fmla="*/ 10067976 w 10505529"/>
              <a:gd name="connsiteY12132" fmla="*/ 5458832 h 7458372"/>
              <a:gd name="connsiteX12133" fmla="*/ 10070239 w 10505529"/>
              <a:gd name="connsiteY12133" fmla="*/ 5470280 h 7458372"/>
              <a:gd name="connsiteX12134" fmla="*/ 10067976 w 10505529"/>
              <a:gd name="connsiteY12134" fmla="*/ 5481995 h 7458372"/>
              <a:gd name="connsiteX12135" fmla="*/ 10061852 w 10505529"/>
              <a:gd name="connsiteY12135" fmla="*/ 5491314 h 7458372"/>
              <a:gd name="connsiteX12136" fmla="*/ 10052534 w 10505529"/>
              <a:gd name="connsiteY12136" fmla="*/ 5497570 h 7458372"/>
              <a:gd name="connsiteX12137" fmla="*/ 10040820 w 10505529"/>
              <a:gd name="connsiteY12137" fmla="*/ 5499833 h 7458372"/>
              <a:gd name="connsiteX12138" fmla="*/ 10018988 w 10505529"/>
              <a:gd name="connsiteY12138" fmla="*/ 5491314 h 7458372"/>
              <a:gd name="connsiteX12139" fmla="*/ 10010602 w 10505529"/>
              <a:gd name="connsiteY12139" fmla="*/ 5470147 h 7458372"/>
              <a:gd name="connsiteX12140" fmla="*/ 10018988 w 10505529"/>
              <a:gd name="connsiteY12140" fmla="*/ 5449114 h 7458372"/>
              <a:gd name="connsiteX12141" fmla="*/ 10040820 w 10505529"/>
              <a:gd name="connsiteY12141" fmla="*/ 5440462 h 7458372"/>
              <a:gd name="connsiteX12142" fmla="*/ 9823176 w 10505529"/>
              <a:gd name="connsiteY12142" fmla="*/ 5440462 h 7458372"/>
              <a:gd name="connsiteX12143" fmla="*/ 9834890 w 10505529"/>
              <a:gd name="connsiteY12143" fmla="*/ 5443124 h 7458372"/>
              <a:gd name="connsiteX12144" fmla="*/ 9844208 w 10505529"/>
              <a:gd name="connsiteY12144" fmla="*/ 5449514 h 7458372"/>
              <a:gd name="connsiteX12145" fmla="*/ 9850331 w 10505529"/>
              <a:gd name="connsiteY12145" fmla="*/ 5458832 h 7458372"/>
              <a:gd name="connsiteX12146" fmla="*/ 9852595 w 10505529"/>
              <a:gd name="connsiteY12146" fmla="*/ 5470280 h 7458372"/>
              <a:gd name="connsiteX12147" fmla="*/ 9850331 w 10505529"/>
              <a:gd name="connsiteY12147" fmla="*/ 5481995 h 7458372"/>
              <a:gd name="connsiteX12148" fmla="*/ 9844208 w 10505529"/>
              <a:gd name="connsiteY12148" fmla="*/ 5491314 h 7458372"/>
              <a:gd name="connsiteX12149" fmla="*/ 9834890 w 10505529"/>
              <a:gd name="connsiteY12149" fmla="*/ 5497570 h 7458372"/>
              <a:gd name="connsiteX12150" fmla="*/ 9823176 w 10505529"/>
              <a:gd name="connsiteY12150" fmla="*/ 5499833 h 7458372"/>
              <a:gd name="connsiteX12151" fmla="*/ 9801343 w 10505529"/>
              <a:gd name="connsiteY12151" fmla="*/ 5491314 h 7458372"/>
              <a:gd name="connsiteX12152" fmla="*/ 9792957 w 10505529"/>
              <a:gd name="connsiteY12152" fmla="*/ 5470147 h 7458372"/>
              <a:gd name="connsiteX12153" fmla="*/ 9801343 w 10505529"/>
              <a:gd name="connsiteY12153" fmla="*/ 5449114 h 7458372"/>
              <a:gd name="connsiteX12154" fmla="*/ 9823176 w 10505529"/>
              <a:gd name="connsiteY12154" fmla="*/ 5440462 h 7458372"/>
              <a:gd name="connsiteX12155" fmla="*/ 9605531 w 10505529"/>
              <a:gd name="connsiteY12155" fmla="*/ 5440462 h 7458372"/>
              <a:gd name="connsiteX12156" fmla="*/ 9617245 w 10505529"/>
              <a:gd name="connsiteY12156" fmla="*/ 5443124 h 7458372"/>
              <a:gd name="connsiteX12157" fmla="*/ 9626562 w 10505529"/>
              <a:gd name="connsiteY12157" fmla="*/ 5449514 h 7458372"/>
              <a:gd name="connsiteX12158" fmla="*/ 9632686 w 10505529"/>
              <a:gd name="connsiteY12158" fmla="*/ 5458832 h 7458372"/>
              <a:gd name="connsiteX12159" fmla="*/ 9634949 w 10505529"/>
              <a:gd name="connsiteY12159" fmla="*/ 5470280 h 7458372"/>
              <a:gd name="connsiteX12160" fmla="*/ 9632686 w 10505529"/>
              <a:gd name="connsiteY12160" fmla="*/ 5481995 h 7458372"/>
              <a:gd name="connsiteX12161" fmla="*/ 9626562 w 10505529"/>
              <a:gd name="connsiteY12161" fmla="*/ 5491314 h 7458372"/>
              <a:gd name="connsiteX12162" fmla="*/ 9617245 w 10505529"/>
              <a:gd name="connsiteY12162" fmla="*/ 5497570 h 7458372"/>
              <a:gd name="connsiteX12163" fmla="*/ 9605531 w 10505529"/>
              <a:gd name="connsiteY12163" fmla="*/ 5499833 h 7458372"/>
              <a:gd name="connsiteX12164" fmla="*/ 9583698 w 10505529"/>
              <a:gd name="connsiteY12164" fmla="*/ 5491314 h 7458372"/>
              <a:gd name="connsiteX12165" fmla="*/ 9575312 w 10505529"/>
              <a:gd name="connsiteY12165" fmla="*/ 5470147 h 7458372"/>
              <a:gd name="connsiteX12166" fmla="*/ 9583698 w 10505529"/>
              <a:gd name="connsiteY12166" fmla="*/ 5449114 h 7458372"/>
              <a:gd name="connsiteX12167" fmla="*/ 9605531 w 10505529"/>
              <a:gd name="connsiteY12167" fmla="*/ 5440462 h 7458372"/>
              <a:gd name="connsiteX12168" fmla="*/ 9387885 w 10505529"/>
              <a:gd name="connsiteY12168" fmla="*/ 5440462 h 7458372"/>
              <a:gd name="connsiteX12169" fmla="*/ 9399599 w 10505529"/>
              <a:gd name="connsiteY12169" fmla="*/ 5443124 h 7458372"/>
              <a:gd name="connsiteX12170" fmla="*/ 9408917 w 10505529"/>
              <a:gd name="connsiteY12170" fmla="*/ 5449514 h 7458372"/>
              <a:gd name="connsiteX12171" fmla="*/ 9415041 w 10505529"/>
              <a:gd name="connsiteY12171" fmla="*/ 5458832 h 7458372"/>
              <a:gd name="connsiteX12172" fmla="*/ 9417304 w 10505529"/>
              <a:gd name="connsiteY12172" fmla="*/ 5470280 h 7458372"/>
              <a:gd name="connsiteX12173" fmla="*/ 9415041 w 10505529"/>
              <a:gd name="connsiteY12173" fmla="*/ 5481995 h 7458372"/>
              <a:gd name="connsiteX12174" fmla="*/ 9408917 w 10505529"/>
              <a:gd name="connsiteY12174" fmla="*/ 5491314 h 7458372"/>
              <a:gd name="connsiteX12175" fmla="*/ 9399599 w 10505529"/>
              <a:gd name="connsiteY12175" fmla="*/ 5497570 h 7458372"/>
              <a:gd name="connsiteX12176" fmla="*/ 9387885 w 10505529"/>
              <a:gd name="connsiteY12176" fmla="*/ 5499833 h 7458372"/>
              <a:gd name="connsiteX12177" fmla="*/ 9366053 w 10505529"/>
              <a:gd name="connsiteY12177" fmla="*/ 5491314 h 7458372"/>
              <a:gd name="connsiteX12178" fmla="*/ 9357667 w 10505529"/>
              <a:gd name="connsiteY12178" fmla="*/ 5470147 h 7458372"/>
              <a:gd name="connsiteX12179" fmla="*/ 9366053 w 10505529"/>
              <a:gd name="connsiteY12179" fmla="*/ 5449114 h 7458372"/>
              <a:gd name="connsiteX12180" fmla="*/ 9387885 w 10505529"/>
              <a:gd name="connsiteY12180" fmla="*/ 5440462 h 7458372"/>
              <a:gd name="connsiteX12181" fmla="*/ 9170374 w 10505529"/>
              <a:gd name="connsiteY12181" fmla="*/ 5440462 h 7458372"/>
              <a:gd name="connsiteX12182" fmla="*/ 9182088 w 10505529"/>
              <a:gd name="connsiteY12182" fmla="*/ 5443124 h 7458372"/>
              <a:gd name="connsiteX12183" fmla="*/ 9191405 w 10505529"/>
              <a:gd name="connsiteY12183" fmla="*/ 5449514 h 7458372"/>
              <a:gd name="connsiteX12184" fmla="*/ 9197529 w 10505529"/>
              <a:gd name="connsiteY12184" fmla="*/ 5458832 h 7458372"/>
              <a:gd name="connsiteX12185" fmla="*/ 9199792 w 10505529"/>
              <a:gd name="connsiteY12185" fmla="*/ 5470280 h 7458372"/>
              <a:gd name="connsiteX12186" fmla="*/ 9197529 w 10505529"/>
              <a:gd name="connsiteY12186" fmla="*/ 5481995 h 7458372"/>
              <a:gd name="connsiteX12187" fmla="*/ 9191405 w 10505529"/>
              <a:gd name="connsiteY12187" fmla="*/ 5491314 h 7458372"/>
              <a:gd name="connsiteX12188" fmla="*/ 9182088 w 10505529"/>
              <a:gd name="connsiteY12188" fmla="*/ 5497570 h 7458372"/>
              <a:gd name="connsiteX12189" fmla="*/ 9170374 w 10505529"/>
              <a:gd name="connsiteY12189" fmla="*/ 5499833 h 7458372"/>
              <a:gd name="connsiteX12190" fmla="*/ 9148541 w 10505529"/>
              <a:gd name="connsiteY12190" fmla="*/ 5491314 h 7458372"/>
              <a:gd name="connsiteX12191" fmla="*/ 9140155 w 10505529"/>
              <a:gd name="connsiteY12191" fmla="*/ 5470147 h 7458372"/>
              <a:gd name="connsiteX12192" fmla="*/ 9148541 w 10505529"/>
              <a:gd name="connsiteY12192" fmla="*/ 5449114 h 7458372"/>
              <a:gd name="connsiteX12193" fmla="*/ 9170374 w 10505529"/>
              <a:gd name="connsiteY12193" fmla="*/ 5440462 h 7458372"/>
              <a:gd name="connsiteX12194" fmla="*/ 8952728 w 10505529"/>
              <a:gd name="connsiteY12194" fmla="*/ 5440462 h 7458372"/>
              <a:gd name="connsiteX12195" fmla="*/ 8964442 w 10505529"/>
              <a:gd name="connsiteY12195" fmla="*/ 5443124 h 7458372"/>
              <a:gd name="connsiteX12196" fmla="*/ 8973760 w 10505529"/>
              <a:gd name="connsiteY12196" fmla="*/ 5449514 h 7458372"/>
              <a:gd name="connsiteX12197" fmla="*/ 8979884 w 10505529"/>
              <a:gd name="connsiteY12197" fmla="*/ 5458832 h 7458372"/>
              <a:gd name="connsiteX12198" fmla="*/ 8982147 w 10505529"/>
              <a:gd name="connsiteY12198" fmla="*/ 5470280 h 7458372"/>
              <a:gd name="connsiteX12199" fmla="*/ 8979884 w 10505529"/>
              <a:gd name="connsiteY12199" fmla="*/ 5481995 h 7458372"/>
              <a:gd name="connsiteX12200" fmla="*/ 8973760 w 10505529"/>
              <a:gd name="connsiteY12200" fmla="*/ 5491314 h 7458372"/>
              <a:gd name="connsiteX12201" fmla="*/ 8964442 w 10505529"/>
              <a:gd name="connsiteY12201" fmla="*/ 5497570 h 7458372"/>
              <a:gd name="connsiteX12202" fmla="*/ 8952728 w 10505529"/>
              <a:gd name="connsiteY12202" fmla="*/ 5499833 h 7458372"/>
              <a:gd name="connsiteX12203" fmla="*/ 8930896 w 10505529"/>
              <a:gd name="connsiteY12203" fmla="*/ 5491314 h 7458372"/>
              <a:gd name="connsiteX12204" fmla="*/ 8922510 w 10505529"/>
              <a:gd name="connsiteY12204" fmla="*/ 5470147 h 7458372"/>
              <a:gd name="connsiteX12205" fmla="*/ 8930896 w 10505529"/>
              <a:gd name="connsiteY12205" fmla="*/ 5449114 h 7458372"/>
              <a:gd name="connsiteX12206" fmla="*/ 8952728 w 10505529"/>
              <a:gd name="connsiteY12206" fmla="*/ 5440462 h 7458372"/>
              <a:gd name="connsiteX12207" fmla="*/ 8735083 w 10505529"/>
              <a:gd name="connsiteY12207" fmla="*/ 5440462 h 7458372"/>
              <a:gd name="connsiteX12208" fmla="*/ 8746797 w 10505529"/>
              <a:gd name="connsiteY12208" fmla="*/ 5443124 h 7458372"/>
              <a:gd name="connsiteX12209" fmla="*/ 8756115 w 10505529"/>
              <a:gd name="connsiteY12209" fmla="*/ 5449514 h 7458372"/>
              <a:gd name="connsiteX12210" fmla="*/ 8762238 w 10505529"/>
              <a:gd name="connsiteY12210" fmla="*/ 5458832 h 7458372"/>
              <a:gd name="connsiteX12211" fmla="*/ 8764502 w 10505529"/>
              <a:gd name="connsiteY12211" fmla="*/ 5470280 h 7458372"/>
              <a:gd name="connsiteX12212" fmla="*/ 8762238 w 10505529"/>
              <a:gd name="connsiteY12212" fmla="*/ 5481995 h 7458372"/>
              <a:gd name="connsiteX12213" fmla="*/ 8756115 w 10505529"/>
              <a:gd name="connsiteY12213" fmla="*/ 5491314 h 7458372"/>
              <a:gd name="connsiteX12214" fmla="*/ 8746797 w 10505529"/>
              <a:gd name="connsiteY12214" fmla="*/ 5497570 h 7458372"/>
              <a:gd name="connsiteX12215" fmla="*/ 8735083 w 10505529"/>
              <a:gd name="connsiteY12215" fmla="*/ 5499833 h 7458372"/>
              <a:gd name="connsiteX12216" fmla="*/ 8713250 w 10505529"/>
              <a:gd name="connsiteY12216" fmla="*/ 5491314 h 7458372"/>
              <a:gd name="connsiteX12217" fmla="*/ 8704864 w 10505529"/>
              <a:gd name="connsiteY12217" fmla="*/ 5470147 h 7458372"/>
              <a:gd name="connsiteX12218" fmla="*/ 8713250 w 10505529"/>
              <a:gd name="connsiteY12218" fmla="*/ 5449114 h 7458372"/>
              <a:gd name="connsiteX12219" fmla="*/ 8735083 w 10505529"/>
              <a:gd name="connsiteY12219" fmla="*/ 5440462 h 7458372"/>
              <a:gd name="connsiteX12220" fmla="*/ 8517438 w 10505529"/>
              <a:gd name="connsiteY12220" fmla="*/ 5440462 h 7458372"/>
              <a:gd name="connsiteX12221" fmla="*/ 8529152 w 10505529"/>
              <a:gd name="connsiteY12221" fmla="*/ 5443124 h 7458372"/>
              <a:gd name="connsiteX12222" fmla="*/ 8538470 w 10505529"/>
              <a:gd name="connsiteY12222" fmla="*/ 5449514 h 7458372"/>
              <a:gd name="connsiteX12223" fmla="*/ 8544594 w 10505529"/>
              <a:gd name="connsiteY12223" fmla="*/ 5458832 h 7458372"/>
              <a:gd name="connsiteX12224" fmla="*/ 8546857 w 10505529"/>
              <a:gd name="connsiteY12224" fmla="*/ 5470280 h 7458372"/>
              <a:gd name="connsiteX12225" fmla="*/ 8544594 w 10505529"/>
              <a:gd name="connsiteY12225" fmla="*/ 5481995 h 7458372"/>
              <a:gd name="connsiteX12226" fmla="*/ 8538470 w 10505529"/>
              <a:gd name="connsiteY12226" fmla="*/ 5491314 h 7458372"/>
              <a:gd name="connsiteX12227" fmla="*/ 8529152 w 10505529"/>
              <a:gd name="connsiteY12227" fmla="*/ 5497570 h 7458372"/>
              <a:gd name="connsiteX12228" fmla="*/ 8517438 w 10505529"/>
              <a:gd name="connsiteY12228" fmla="*/ 5499833 h 7458372"/>
              <a:gd name="connsiteX12229" fmla="*/ 8495606 w 10505529"/>
              <a:gd name="connsiteY12229" fmla="*/ 5491314 h 7458372"/>
              <a:gd name="connsiteX12230" fmla="*/ 8487220 w 10505529"/>
              <a:gd name="connsiteY12230" fmla="*/ 5470147 h 7458372"/>
              <a:gd name="connsiteX12231" fmla="*/ 8495606 w 10505529"/>
              <a:gd name="connsiteY12231" fmla="*/ 5449114 h 7458372"/>
              <a:gd name="connsiteX12232" fmla="*/ 8517438 w 10505529"/>
              <a:gd name="connsiteY12232" fmla="*/ 5440462 h 7458372"/>
              <a:gd name="connsiteX12233" fmla="*/ 8299793 w 10505529"/>
              <a:gd name="connsiteY12233" fmla="*/ 5440462 h 7458372"/>
              <a:gd name="connsiteX12234" fmla="*/ 8311507 w 10505529"/>
              <a:gd name="connsiteY12234" fmla="*/ 5443124 h 7458372"/>
              <a:gd name="connsiteX12235" fmla="*/ 8320825 w 10505529"/>
              <a:gd name="connsiteY12235" fmla="*/ 5449514 h 7458372"/>
              <a:gd name="connsiteX12236" fmla="*/ 8326948 w 10505529"/>
              <a:gd name="connsiteY12236" fmla="*/ 5458832 h 7458372"/>
              <a:gd name="connsiteX12237" fmla="*/ 8329212 w 10505529"/>
              <a:gd name="connsiteY12237" fmla="*/ 5470280 h 7458372"/>
              <a:gd name="connsiteX12238" fmla="*/ 8326948 w 10505529"/>
              <a:gd name="connsiteY12238" fmla="*/ 5481995 h 7458372"/>
              <a:gd name="connsiteX12239" fmla="*/ 8320825 w 10505529"/>
              <a:gd name="connsiteY12239" fmla="*/ 5491314 h 7458372"/>
              <a:gd name="connsiteX12240" fmla="*/ 8311507 w 10505529"/>
              <a:gd name="connsiteY12240" fmla="*/ 5497570 h 7458372"/>
              <a:gd name="connsiteX12241" fmla="*/ 8299793 w 10505529"/>
              <a:gd name="connsiteY12241" fmla="*/ 5499833 h 7458372"/>
              <a:gd name="connsiteX12242" fmla="*/ 8277960 w 10505529"/>
              <a:gd name="connsiteY12242" fmla="*/ 5491314 h 7458372"/>
              <a:gd name="connsiteX12243" fmla="*/ 8269574 w 10505529"/>
              <a:gd name="connsiteY12243" fmla="*/ 5470147 h 7458372"/>
              <a:gd name="connsiteX12244" fmla="*/ 8277960 w 10505529"/>
              <a:gd name="connsiteY12244" fmla="*/ 5449114 h 7458372"/>
              <a:gd name="connsiteX12245" fmla="*/ 8299793 w 10505529"/>
              <a:gd name="connsiteY12245" fmla="*/ 5440462 h 7458372"/>
              <a:gd name="connsiteX12246" fmla="*/ 8082281 w 10505529"/>
              <a:gd name="connsiteY12246" fmla="*/ 5440462 h 7458372"/>
              <a:gd name="connsiteX12247" fmla="*/ 8094127 w 10505529"/>
              <a:gd name="connsiteY12247" fmla="*/ 5443124 h 7458372"/>
              <a:gd name="connsiteX12248" fmla="*/ 8103446 w 10505529"/>
              <a:gd name="connsiteY12248" fmla="*/ 5449514 h 7458372"/>
              <a:gd name="connsiteX12249" fmla="*/ 8109569 w 10505529"/>
              <a:gd name="connsiteY12249" fmla="*/ 5458832 h 7458372"/>
              <a:gd name="connsiteX12250" fmla="*/ 8111832 w 10505529"/>
              <a:gd name="connsiteY12250" fmla="*/ 5470280 h 7458372"/>
              <a:gd name="connsiteX12251" fmla="*/ 8109569 w 10505529"/>
              <a:gd name="connsiteY12251" fmla="*/ 5481995 h 7458372"/>
              <a:gd name="connsiteX12252" fmla="*/ 8103446 w 10505529"/>
              <a:gd name="connsiteY12252" fmla="*/ 5491314 h 7458372"/>
              <a:gd name="connsiteX12253" fmla="*/ 8094127 w 10505529"/>
              <a:gd name="connsiteY12253" fmla="*/ 5497570 h 7458372"/>
              <a:gd name="connsiteX12254" fmla="*/ 8082281 w 10505529"/>
              <a:gd name="connsiteY12254" fmla="*/ 5499833 h 7458372"/>
              <a:gd name="connsiteX12255" fmla="*/ 8060448 w 10505529"/>
              <a:gd name="connsiteY12255" fmla="*/ 5491314 h 7458372"/>
              <a:gd name="connsiteX12256" fmla="*/ 8052062 w 10505529"/>
              <a:gd name="connsiteY12256" fmla="*/ 5470147 h 7458372"/>
              <a:gd name="connsiteX12257" fmla="*/ 8060448 w 10505529"/>
              <a:gd name="connsiteY12257" fmla="*/ 5449114 h 7458372"/>
              <a:gd name="connsiteX12258" fmla="*/ 8082281 w 10505529"/>
              <a:gd name="connsiteY12258" fmla="*/ 5440462 h 7458372"/>
              <a:gd name="connsiteX12259" fmla="*/ 7864636 w 10505529"/>
              <a:gd name="connsiteY12259" fmla="*/ 5440462 h 7458372"/>
              <a:gd name="connsiteX12260" fmla="*/ 7876483 w 10505529"/>
              <a:gd name="connsiteY12260" fmla="*/ 5443124 h 7458372"/>
              <a:gd name="connsiteX12261" fmla="*/ 7885802 w 10505529"/>
              <a:gd name="connsiteY12261" fmla="*/ 5449514 h 7458372"/>
              <a:gd name="connsiteX12262" fmla="*/ 7891924 w 10505529"/>
              <a:gd name="connsiteY12262" fmla="*/ 5458832 h 7458372"/>
              <a:gd name="connsiteX12263" fmla="*/ 7894188 w 10505529"/>
              <a:gd name="connsiteY12263" fmla="*/ 5470280 h 7458372"/>
              <a:gd name="connsiteX12264" fmla="*/ 7891924 w 10505529"/>
              <a:gd name="connsiteY12264" fmla="*/ 5481995 h 7458372"/>
              <a:gd name="connsiteX12265" fmla="*/ 7885802 w 10505529"/>
              <a:gd name="connsiteY12265" fmla="*/ 5491314 h 7458372"/>
              <a:gd name="connsiteX12266" fmla="*/ 7876483 w 10505529"/>
              <a:gd name="connsiteY12266" fmla="*/ 5497570 h 7458372"/>
              <a:gd name="connsiteX12267" fmla="*/ 7864636 w 10505529"/>
              <a:gd name="connsiteY12267" fmla="*/ 5499833 h 7458372"/>
              <a:gd name="connsiteX12268" fmla="*/ 7842803 w 10505529"/>
              <a:gd name="connsiteY12268" fmla="*/ 5491314 h 7458372"/>
              <a:gd name="connsiteX12269" fmla="*/ 7834417 w 10505529"/>
              <a:gd name="connsiteY12269" fmla="*/ 5470147 h 7458372"/>
              <a:gd name="connsiteX12270" fmla="*/ 7842803 w 10505529"/>
              <a:gd name="connsiteY12270" fmla="*/ 5449114 h 7458372"/>
              <a:gd name="connsiteX12271" fmla="*/ 7864636 w 10505529"/>
              <a:gd name="connsiteY12271" fmla="*/ 5440462 h 7458372"/>
              <a:gd name="connsiteX12272" fmla="*/ 7646991 w 10505529"/>
              <a:gd name="connsiteY12272" fmla="*/ 5440462 h 7458372"/>
              <a:gd name="connsiteX12273" fmla="*/ 7658705 w 10505529"/>
              <a:gd name="connsiteY12273" fmla="*/ 5443124 h 7458372"/>
              <a:gd name="connsiteX12274" fmla="*/ 7668022 w 10505529"/>
              <a:gd name="connsiteY12274" fmla="*/ 5449514 h 7458372"/>
              <a:gd name="connsiteX12275" fmla="*/ 7674146 w 10505529"/>
              <a:gd name="connsiteY12275" fmla="*/ 5458832 h 7458372"/>
              <a:gd name="connsiteX12276" fmla="*/ 7676409 w 10505529"/>
              <a:gd name="connsiteY12276" fmla="*/ 5470280 h 7458372"/>
              <a:gd name="connsiteX12277" fmla="*/ 7674146 w 10505529"/>
              <a:gd name="connsiteY12277" fmla="*/ 5481995 h 7458372"/>
              <a:gd name="connsiteX12278" fmla="*/ 7668022 w 10505529"/>
              <a:gd name="connsiteY12278" fmla="*/ 5491314 h 7458372"/>
              <a:gd name="connsiteX12279" fmla="*/ 7658705 w 10505529"/>
              <a:gd name="connsiteY12279" fmla="*/ 5497570 h 7458372"/>
              <a:gd name="connsiteX12280" fmla="*/ 7646991 w 10505529"/>
              <a:gd name="connsiteY12280" fmla="*/ 5499833 h 7458372"/>
              <a:gd name="connsiteX12281" fmla="*/ 7625158 w 10505529"/>
              <a:gd name="connsiteY12281" fmla="*/ 5491314 h 7458372"/>
              <a:gd name="connsiteX12282" fmla="*/ 7616772 w 10505529"/>
              <a:gd name="connsiteY12282" fmla="*/ 5470147 h 7458372"/>
              <a:gd name="connsiteX12283" fmla="*/ 7625158 w 10505529"/>
              <a:gd name="connsiteY12283" fmla="*/ 5449114 h 7458372"/>
              <a:gd name="connsiteX12284" fmla="*/ 7646991 w 10505529"/>
              <a:gd name="connsiteY12284" fmla="*/ 5440462 h 7458372"/>
              <a:gd name="connsiteX12285" fmla="*/ 7429345 w 10505529"/>
              <a:gd name="connsiteY12285" fmla="*/ 5440462 h 7458372"/>
              <a:gd name="connsiteX12286" fmla="*/ 7441059 w 10505529"/>
              <a:gd name="connsiteY12286" fmla="*/ 5443124 h 7458372"/>
              <a:gd name="connsiteX12287" fmla="*/ 7450377 w 10505529"/>
              <a:gd name="connsiteY12287" fmla="*/ 5449514 h 7458372"/>
              <a:gd name="connsiteX12288" fmla="*/ 7456501 w 10505529"/>
              <a:gd name="connsiteY12288" fmla="*/ 5458832 h 7458372"/>
              <a:gd name="connsiteX12289" fmla="*/ 7458764 w 10505529"/>
              <a:gd name="connsiteY12289" fmla="*/ 5470280 h 7458372"/>
              <a:gd name="connsiteX12290" fmla="*/ 7456501 w 10505529"/>
              <a:gd name="connsiteY12290" fmla="*/ 5481995 h 7458372"/>
              <a:gd name="connsiteX12291" fmla="*/ 7450377 w 10505529"/>
              <a:gd name="connsiteY12291" fmla="*/ 5491314 h 7458372"/>
              <a:gd name="connsiteX12292" fmla="*/ 7441059 w 10505529"/>
              <a:gd name="connsiteY12292" fmla="*/ 5497570 h 7458372"/>
              <a:gd name="connsiteX12293" fmla="*/ 7429345 w 10505529"/>
              <a:gd name="connsiteY12293" fmla="*/ 5499833 h 7458372"/>
              <a:gd name="connsiteX12294" fmla="*/ 7407513 w 10505529"/>
              <a:gd name="connsiteY12294" fmla="*/ 5491314 h 7458372"/>
              <a:gd name="connsiteX12295" fmla="*/ 7399127 w 10505529"/>
              <a:gd name="connsiteY12295" fmla="*/ 5470147 h 7458372"/>
              <a:gd name="connsiteX12296" fmla="*/ 7407513 w 10505529"/>
              <a:gd name="connsiteY12296" fmla="*/ 5449114 h 7458372"/>
              <a:gd name="connsiteX12297" fmla="*/ 7429345 w 10505529"/>
              <a:gd name="connsiteY12297" fmla="*/ 5440462 h 7458372"/>
              <a:gd name="connsiteX12298" fmla="*/ 7211701 w 10505529"/>
              <a:gd name="connsiteY12298" fmla="*/ 5440462 h 7458372"/>
              <a:gd name="connsiteX12299" fmla="*/ 7223415 w 10505529"/>
              <a:gd name="connsiteY12299" fmla="*/ 5443124 h 7458372"/>
              <a:gd name="connsiteX12300" fmla="*/ 7232733 w 10505529"/>
              <a:gd name="connsiteY12300" fmla="*/ 5449514 h 7458372"/>
              <a:gd name="connsiteX12301" fmla="*/ 7238856 w 10505529"/>
              <a:gd name="connsiteY12301" fmla="*/ 5458832 h 7458372"/>
              <a:gd name="connsiteX12302" fmla="*/ 7241120 w 10505529"/>
              <a:gd name="connsiteY12302" fmla="*/ 5470280 h 7458372"/>
              <a:gd name="connsiteX12303" fmla="*/ 7238856 w 10505529"/>
              <a:gd name="connsiteY12303" fmla="*/ 5481995 h 7458372"/>
              <a:gd name="connsiteX12304" fmla="*/ 7232733 w 10505529"/>
              <a:gd name="connsiteY12304" fmla="*/ 5491314 h 7458372"/>
              <a:gd name="connsiteX12305" fmla="*/ 7223415 w 10505529"/>
              <a:gd name="connsiteY12305" fmla="*/ 5497570 h 7458372"/>
              <a:gd name="connsiteX12306" fmla="*/ 7211701 w 10505529"/>
              <a:gd name="connsiteY12306" fmla="*/ 5499833 h 7458372"/>
              <a:gd name="connsiteX12307" fmla="*/ 7189868 w 10505529"/>
              <a:gd name="connsiteY12307" fmla="*/ 5491314 h 7458372"/>
              <a:gd name="connsiteX12308" fmla="*/ 7181482 w 10505529"/>
              <a:gd name="connsiteY12308" fmla="*/ 5470147 h 7458372"/>
              <a:gd name="connsiteX12309" fmla="*/ 7189868 w 10505529"/>
              <a:gd name="connsiteY12309" fmla="*/ 5449114 h 7458372"/>
              <a:gd name="connsiteX12310" fmla="*/ 7211701 w 10505529"/>
              <a:gd name="connsiteY12310" fmla="*/ 5440462 h 7458372"/>
              <a:gd name="connsiteX12311" fmla="*/ 6994056 w 10505529"/>
              <a:gd name="connsiteY12311" fmla="*/ 5440462 h 7458372"/>
              <a:gd name="connsiteX12312" fmla="*/ 7005769 w 10505529"/>
              <a:gd name="connsiteY12312" fmla="*/ 5443124 h 7458372"/>
              <a:gd name="connsiteX12313" fmla="*/ 7015087 w 10505529"/>
              <a:gd name="connsiteY12313" fmla="*/ 5449514 h 7458372"/>
              <a:gd name="connsiteX12314" fmla="*/ 7021211 w 10505529"/>
              <a:gd name="connsiteY12314" fmla="*/ 5458832 h 7458372"/>
              <a:gd name="connsiteX12315" fmla="*/ 7023474 w 10505529"/>
              <a:gd name="connsiteY12315" fmla="*/ 5470280 h 7458372"/>
              <a:gd name="connsiteX12316" fmla="*/ 7021211 w 10505529"/>
              <a:gd name="connsiteY12316" fmla="*/ 5481995 h 7458372"/>
              <a:gd name="connsiteX12317" fmla="*/ 7015087 w 10505529"/>
              <a:gd name="connsiteY12317" fmla="*/ 5491314 h 7458372"/>
              <a:gd name="connsiteX12318" fmla="*/ 7005769 w 10505529"/>
              <a:gd name="connsiteY12318" fmla="*/ 5497570 h 7458372"/>
              <a:gd name="connsiteX12319" fmla="*/ 6994056 w 10505529"/>
              <a:gd name="connsiteY12319" fmla="*/ 5499833 h 7458372"/>
              <a:gd name="connsiteX12320" fmla="*/ 6972223 w 10505529"/>
              <a:gd name="connsiteY12320" fmla="*/ 5491314 h 7458372"/>
              <a:gd name="connsiteX12321" fmla="*/ 6963837 w 10505529"/>
              <a:gd name="connsiteY12321" fmla="*/ 5470147 h 7458372"/>
              <a:gd name="connsiteX12322" fmla="*/ 6972223 w 10505529"/>
              <a:gd name="connsiteY12322" fmla="*/ 5449114 h 7458372"/>
              <a:gd name="connsiteX12323" fmla="*/ 6994056 w 10505529"/>
              <a:gd name="connsiteY12323" fmla="*/ 5440462 h 7458372"/>
              <a:gd name="connsiteX12324" fmla="*/ 6776544 w 10505529"/>
              <a:gd name="connsiteY12324" fmla="*/ 5440462 h 7458372"/>
              <a:gd name="connsiteX12325" fmla="*/ 6788258 w 10505529"/>
              <a:gd name="connsiteY12325" fmla="*/ 5443124 h 7458372"/>
              <a:gd name="connsiteX12326" fmla="*/ 6797576 w 10505529"/>
              <a:gd name="connsiteY12326" fmla="*/ 5449514 h 7458372"/>
              <a:gd name="connsiteX12327" fmla="*/ 6803699 w 10505529"/>
              <a:gd name="connsiteY12327" fmla="*/ 5458832 h 7458372"/>
              <a:gd name="connsiteX12328" fmla="*/ 6805963 w 10505529"/>
              <a:gd name="connsiteY12328" fmla="*/ 5470280 h 7458372"/>
              <a:gd name="connsiteX12329" fmla="*/ 6803699 w 10505529"/>
              <a:gd name="connsiteY12329" fmla="*/ 5481995 h 7458372"/>
              <a:gd name="connsiteX12330" fmla="*/ 6797576 w 10505529"/>
              <a:gd name="connsiteY12330" fmla="*/ 5491314 h 7458372"/>
              <a:gd name="connsiteX12331" fmla="*/ 6788258 w 10505529"/>
              <a:gd name="connsiteY12331" fmla="*/ 5497570 h 7458372"/>
              <a:gd name="connsiteX12332" fmla="*/ 6776544 w 10505529"/>
              <a:gd name="connsiteY12332" fmla="*/ 5499833 h 7458372"/>
              <a:gd name="connsiteX12333" fmla="*/ 6754711 w 10505529"/>
              <a:gd name="connsiteY12333" fmla="*/ 5491314 h 7458372"/>
              <a:gd name="connsiteX12334" fmla="*/ 6746325 w 10505529"/>
              <a:gd name="connsiteY12334" fmla="*/ 5470147 h 7458372"/>
              <a:gd name="connsiteX12335" fmla="*/ 6754711 w 10505529"/>
              <a:gd name="connsiteY12335" fmla="*/ 5449114 h 7458372"/>
              <a:gd name="connsiteX12336" fmla="*/ 6776544 w 10505529"/>
              <a:gd name="connsiteY12336" fmla="*/ 5440462 h 7458372"/>
              <a:gd name="connsiteX12337" fmla="*/ 6558899 w 10505529"/>
              <a:gd name="connsiteY12337" fmla="*/ 5440462 h 7458372"/>
              <a:gd name="connsiteX12338" fmla="*/ 6570612 w 10505529"/>
              <a:gd name="connsiteY12338" fmla="*/ 5443124 h 7458372"/>
              <a:gd name="connsiteX12339" fmla="*/ 6579930 w 10505529"/>
              <a:gd name="connsiteY12339" fmla="*/ 5449514 h 7458372"/>
              <a:gd name="connsiteX12340" fmla="*/ 6586054 w 10505529"/>
              <a:gd name="connsiteY12340" fmla="*/ 5458832 h 7458372"/>
              <a:gd name="connsiteX12341" fmla="*/ 6588317 w 10505529"/>
              <a:gd name="connsiteY12341" fmla="*/ 5470280 h 7458372"/>
              <a:gd name="connsiteX12342" fmla="*/ 6586054 w 10505529"/>
              <a:gd name="connsiteY12342" fmla="*/ 5481995 h 7458372"/>
              <a:gd name="connsiteX12343" fmla="*/ 6579930 w 10505529"/>
              <a:gd name="connsiteY12343" fmla="*/ 5491314 h 7458372"/>
              <a:gd name="connsiteX12344" fmla="*/ 6570612 w 10505529"/>
              <a:gd name="connsiteY12344" fmla="*/ 5497570 h 7458372"/>
              <a:gd name="connsiteX12345" fmla="*/ 6558899 w 10505529"/>
              <a:gd name="connsiteY12345" fmla="*/ 5499833 h 7458372"/>
              <a:gd name="connsiteX12346" fmla="*/ 6537066 w 10505529"/>
              <a:gd name="connsiteY12346" fmla="*/ 5491314 h 7458372"/>
              <a:gd name="connsiteX12347" fmla="*/ 6528680 w 10505529"/>
              <a:gd name="connsiteY12347" fmla="*/ 5470147 h 7458372"/>
              <a:gd name="connsiteX12348" fmla="*/ 6537066 w 10505529"/>
              <a:gd name="connsiteY12348" fmla="*/ 5449114 h 7458372"/>
              <a:gd name="connsiteX12349" fmla="*/ 6558899 w 10505529"/>
              <a:gd name="connsiteY12349" fmla="*/ 5440462 h 7458372"/>
              <a:gd name="connsiteX12350" fmla="*/ 6341253 w 10505529"/>
              <a:gd name="connsiteY12350" fmla="*/ 5440462 h 7458372"/>
              <a:gd name="connsiteX12351" fmla="*/ 6352968 w 10505529"/>
              <a:gd name="connsiteY12351" fmla="*/ 5443124 h 7458372"/>
              <a:gd name="connsiteX12352" fmla="*/ 6362286 w 10505529"/>
              <a:gd name="connsiteY12352" fmla="*/ 5449514 h 7458372"/>
              <a:gd name="connsiteX12353" fmla="*/ 6368409 w 10505529"/>
              <a:gd name="connsiteY12353" fmla="*/ 5458832 h 7458372"/>
              <a:gd name="connsiteX12354" fmla="*/ 6370672 w 10505529"/>
              <a:gd name="connsiteY12354" fmla="*/ 5470280 h 7458372"/>
              <a:gd name="connsiteX12355" fmla="*/ 6368409 w 10505529"/>
              <a:gd name="connsiteY12355" fmla="*/ 5481995 h 7458372"/>
              <a:gd name="connsiteX12356" fmla="*/ 6362286 w 10505529"/>
              <a:gd name="connsiteY12356" fmla="*/ 5491314 h 7458372"/>
              <a:gd name="connsiteX12357" fmla="*/ 6352968 w 10505529"/>
              <a:gd name="connsiteY12357" fmla="*/ 5497570 h 7458372"/>
              <a:gd name="connsiteX12358" fmla="*/ 6341253 w 10505529"/>
              <a:gd name="connsiteY12358" fmla="*/ 5499833 h 7458372"/>
              <a:gd name="connsiteX12359" fmla="*/ 6319421 w 10505529"/>
              <a:gd name="connsiteY12359" fmla="*/ 5491314 h 7458372"/>
              <a:gd name="connsiteX12360" fmla="*/ 6311035 w 10505529"/>
              <a:gd name="connsiteY12360" fmla="*/ 5470147 h 7458372"/>
              <a:gd name="connsiteX12361" fmla="*/ 6319421 w 10505529"/>
              <a:gd name="connsiteY12361" fmla="*/ 5449114 h 7458372"/>
              <a:gd name="connsiteX12362" fmla="*/ 6341253 w 10505529"/>
              <a:gd name="connsiteY12362" fmla="*/ 5440462 h 7458372"/>
              <a:gd name="connsiteX12363" fmla="*/ 6123608 w 10505529"/>
              <a:gd name="connsiteY12363" fmla="*/ 5440462 h 7458372"/>
              <a:gd name="connsiteX12364" fmla="*/ 6135322 w 10505529"/>
              <a:gd name="connsiteY12364" fmla="*/ 5443124 h 7458372"/>
              <a:gd name="connsiteX12365" fmla="*/ 6144640 w 10505529"/>
              <a:gd name="connsiteY12365" fmla="*/ 5449514 h 7458372"/>
              <a:gd name="connsiteX12366" fmla="*/ 6150763 w 10505529"/>
              <a:gd name="connsiteY12366" fmla="*/ 5458832 h 7458372"/>
              <a:gd name="connsiteX12367" fmla="*/ 6153026 w 10505529"/>
              <a:gd name="connsiteY12367" fmla="*/ 5470280 h 7458372"/>
              <a:gd name="connsiteX12368" fmla="*/ 6150763 w 10505529"/>
              <a:gd name="connsiteY12368" fmla="*/ 5481995 h 7458372"/>
              <a:gd name="connsiteX12369" fmla="*/ 6144640 w 10505529"/>
              <a:gd name="connsiteY12369" fmla="*/ 5491314 h 7458372"/>
              <a:gd name="connsiteX12370" fmla="*/ 6135322 w 10505529"/>
              <a:gd name="connsiteY12370" fmla="*/ 5497570 h 7458372"/>
              <a:gd name="connsiteX12371" fmla="*/ 6123608 w 10505529"/>
              <a:gd name="connsiteY12371" fmla="*/ 5499833 h 7458372"/>
              <a:gd name="connsiteX12372" fmla="*/ 6101775 w 10505529"/>
              <a:gd name="connsiteY12372" fmla="*/ 5491314 h 7458372"/>
              <a:gd name="connsiteX12373" fmla="*/ 6093389 w 10505529"/>
              <a:gd name="connsiteY12373" fmla="*/ 5470147 h 7458372"/>
              <a:gd name="connsiteX12374" fmla="*/ 6101775 w 10505529"/>
              <a:gd name="connsiteY12374" fmla="*/ 5449114 h 7458372"/>
              <a:gd name="connsiteX12375" fmla="*/ 6123608 w 10505529"/>
              <a:gd name="connsiteY12375" fmla="*/ 5440462 h 7458372"/>
              <a:gd name="connsiteX12376" fmla="*/ 5905963 w 10505529"/>
              <a:gd name="connsiteY12376" fmla="*/ 5440462 h 7458372"/>
              <a:gd name="connsiteX12377" fmla="*/ 5917677 w 10505529"/>
              <a:gd name="connsiteY12377" fmla="*/ 5443124 h 7458372"/>
              <a:gd name="connsiteX12378" fmla="*/ 5926995 w 10505529"/>
              <a:gd name="connsiteY12378" fmla="*/ 5449514 h 7458372"/>
              <a:gd name="connsiteX12379" fmla="*/ 5933118 w 10505529"/>
              <a:gd name="connsiteY12379" fmla="*/ 5458832 h 7458372"/>
              <a:gd name="connsiteX12380" fmla="*/ 5935381 w 10505529"/>
              <a:gd name="connsiteY12380" fmla="*/ 5470280 h 7458372"/>
              <a:gd name="connsiteX12381" fmla="*/ 5933118 w 10505529"/>
              <a:gd name="connsiteY12381" fmla="*/ 5481995 h 7458372"/>
              <a:gd name="connsiteX12382" fmla="*/ 5926995 w 10505529"/>
              <a:gd name="connsiteY12382" fmla="*/ 5491314 h 7458372"/>
              <a:gd name="connsiteX12383" fmla="*/ 5917677 w 10505529"/>
              <a:gd name="connsiteY12383" fmla="*/ 5497570 h 7458372"/>
              <a:gd name="connsiteX12384" fmla="*/ 5905963 w 10505529"/>
              <a:gd name="connsiteY12384" fmla="*/ 5499833 h 7458372"/>
              <a:gd name="connsiteX12385" fmla="*/ 5884130 w 10505529"/>
              <a:gd name="connsiteY12385" fmla="*/ 5491314 h 7458372"/>
              <a:gd name="connsiteX12386" fmla="*/ 5875744 w 10505529"/>
              <a:gd name="connsiteY12386" fmla="*/ 5470147 h 7458372"/>
              <a:gd name="connsiteX12387" fmla="*/ 5884130 w 10505529"/>
              <a:gd name="connsiteY12387" fmla="*/ 5449114 h 7458372"/>
              <a:gd name="connsiteX12388" fmla="*/ 5905963 w 10505529"/>
              <a:gd name="connsiteY12388" fmla="*/ 5440462 h 7458372"/>
              <a:gd name="connsiteX12389" fmla="*/ 5688451 w 10505529"/>
              <a:gd name="connsiteY12389" fmla="*/ 5440462 h 7458372"/>
              <a:gd name="connsiteX12390" fmla="*/ 5700165 w 10505529"/>
              <a:gd name="connsiteY12390" fmla="*/ 5443124 h 7458372"/>
              <a:gd name="connsiteX12391" fmla="*/ 5709483 w 10505529"/>
              <a:gd name="connsiteY12391" fmla="*/ 5449514 h 7458372"/>
              <a:gd name="connsiteX12392" fmla="*/ 5715606 w 10505529"/>
              <a:gd name="connsiteY12392" fmla="*/ 5458832 h 7458372"/>
              <a:gd name="connsiteX12393" fmla="*/ 5717869 w 10505529"/>
              <a:gd name="connsiteY12393" fmla="*/ 5470280 h 7458372"/>
              <a:gd name="connsiteX12394" fmla="*/ 5715606 w 10505529"/>
              <a:gd name="connsiteY12394" fmla="*/ 5481995 h 7458372"/>
              <a:gd name="connsiteX12395" fmla="*/ 5709483 w 10505529"/>
              <a:gd name="connsiteY12395" fmla="*/ 5491314 h 7458372"/>
              <a:gd name="connsiteX12396" fmla="*/ 5700165 w 10505529"/>
              <a:gd name="connsiteY12396" fmla="*/ 5497570 h 7458372"/>
              <a:gd name="connsiteX12397" fmla="*/ 5688451 w 10505529"/>
              <a:gd name="connsiteY12397" fmla="*/ 5499833 h 7458372"/>
              <a:gd name="connsiteX12398" fmla="*/ 5666618 w 10505529"/>
              <a:gd name="connsiteY12398" fmla="*/ 5491314 h 7458372"/>
              <a:gd name="connsiteX12399" fmla="*/ 5658232 w 10505529"/>
              <a:gd name="connsiteY12399" fmla="*/ 5470147 h 7458372"/>
              <a:gd name="connsiteX12400" fmla="*/ 5666618 w 10505529"/>
              <a:gd name="connsiteY12400" fmla="*/ 5449114 h 7458372"/>
              <a:gd name="connsiteX12401" fmla="*/ 5688451 w 10505529"/>
              <a:gd name="connsiteY12401" fmla="*/ 5440462 h 7458372"/>
              <a:gd name="connsiteX12402" fmla="*/ 5470806 w 10505529"/>
              <a:gd name="connsiteY12402" fmla="*/ 5440462 h 7458372"/>
              <a:gd name="connsiteX12403" fmla="*/ 5482520 w 10505529"/>
              <a:gd name="connsiteY12403" fmla="*/ 5443124 h 7458372"/>
              <a:gd name="connsiteX12404" fmla="*/ 5491838 w 10505529"/>
              <a:gd name="connsiteY12404" fmla="*/ 5449514 h 7458372"/>
              <a:gd name="connsiteX12405" fmla="*/ 5497961 w 10505529"/>
              <a:gd name="connsiteY12405" fmla="*/ 5458832 h 7458372"/>
              <a:gd name="connsiteX12406" fmla="*/ 5500224 w 10505529"/>
              <a:gd name="connsiteY12406" fmla="*/ 5470280 h 7458372"/>
              <a:gd name="connsiteX12407" fmla="*/ 5497961 w 10505529"/>
              <a:gd name="connsiteY12407" fmla="*/ 5481995 h 7458372"/>
              <a:gd name="connsiteX12408" fmla="*/ 5491838 w 10505529"/>
              <a:gd name="connsiteY12408" fmla="*/ 5491314 h 7458372"/>
              <a:gd name="connsiteX12409" fmla="*/ 5482520 w 10505529"/>
              <a:gd name="connsiteY12409" fmla="*/ 5497570 h 7458372"/>
              <a:gd name="connsiteX12410" fmla="*/ 5470806 w 10505529"/>
              <a:gd name="connsiteY12410" fmla="*/ 5499833 h 7458372"/>
              <a:gd name="connsiteX12411" fmla="*/ 5448973 w 10505529"/>
              <a:gd name="connsiteY12411" fmla="*/ 5491314 h 7458372"/>
              <a:gd name="connsiteX12412" fmla="*/ 5440587 w 10505529"/>
              <a:gd name="connsiteY12412" fmla="*/ 5470147 h 7458372"/>
              <a:gd name="connsiteX12413" fmla="*/ 5448973 w 10505529"/>
              <a:gd name="connsiteY12413" fmla="*/ 5449114 h 7458372"/>
              <a:gd name="connsiteX12414" fmla="*/ 5470806 w 10505529"/>
              <a:gd name="connsiteY12414" fmla="*/ 5440462 h 7458372"/>
              <a:gd name="connsiteX12415" fmla="*/ 5253160 w 10505529"/>
              <a:gd name="connsiteY12415" fmla="*/ 5440462 h 7458372"/>
              <a:gd name="connsiteX12416" fmla="*/ 5264875 w 10505529"/>
              <a:gd name="connsiteY12416" fmla="*/ 5443124 h 7458372"/>
              <a:gd name="connsiteX12417" fmla="*/ 5274192 w 10505529"/>
              <a:gd name="connsiteY12417" fmla="*/ 5449514 h 7458372"/>
              <a:gd name="connsiteX12418" fmla="*/ 5280316 w 10505529"/>
              <a:gd name="connsiteY12418" fmla="*/ 5458832 h 7458372"/>
              <a:gd name="connsiteX12419" fmla="*/ 5282579 w 10505529"/>
              <a:gd name="connsiteY12419" fmla="*/ 5470280 h 7458372"/>
              <a:gd name="connsiteX12420" fmla="*/ 5280316 w 10505529"/>
              <a:gd name="connsiteY12420" fmla="*/ 5481995 h 7458372"/>
              <a:gd name="connsiteX12421" fmla="*/ 5274192 w 10505529"/>
              <a:gd name="connsiteY12421" fmla="*/ 5491314 h 7458372"/>
              <a:gd name="connsiteX12422" fmla="*/ 5264875 w 10505529"/>
              <a:gd name="connsiteY12422" fmla="*/ 5497570 h 7458372"/>
              <a:gd name="connsiteX12423" fmla="*/ 5253160 w 10505529"/>
              <a:gd name="connsiteY12423" fmla="*/ 5499833 h 7458372"/>
              <a:gd name="connsiteX12424" fmla="*/ 5231328 w 10505529"/>
              <a:gd name="connsiteY12424" fmla="*/ 5491314 h 7458372"/>
              <a:gd name="connsiteX12425" fmla="*/ 5222942 w 10505529"/>
              <a:gd name="connsiteY12425" fmla="*/ 5470147 h 7458372"/>
              <a:gd name="connsiteX12426" fmla="*/ 5231328 w 10505529"/>
              <a:gd name="connsiteY12426" fmla="*/ 5449114 h 7458372"/>
              <a:gd name="connsiteX12427" fmla="*/ 5253160 w 10505529"/>
              <a:gd name="connsiteY12427" fmla="*/ 5440462 h 7458372"/>
              <a:gd name="connsiteX12428" fmla="*/ 5035515 w 10505529"/>
              <a:gd name="connsiteY12428" fmla="*/ 5440462 h 7458372"/>
              <a:gd name="connsiteX12429" fmla="*/ 5047230 w 10505529"/>
              <a:gd name="connsiteY12429" fmla="*/ 5443124 h 7458372"/>
              <a:gd name="connsiteX12430" fmla="*/ 5056548 w 10505529"/>
              <a:gd name="connsiteY12430" fmla="*/ 5449514 h 7458372"/>
              <a:gd name="connsiteX12431" fmla="*/ 5062671 w 10505529"/>
              <a:gd name="connsiteY12431" fmla="*/ 5458832 h 7458372"/>
              <a:gd name="connsiteX12432" fmla="*/ 5064934 w 10505529"/>
              <a:gd name="connsiteY12432" fmla="*/ 5470280 h 7458372"/>
              <a:gd name="connsiteX12433" fmla="*/ 5062671 w 10505529"/>
              <a:gd name="connsiteY12433" fmla="*/ 5481995 h 7458372"/>
              <a:gd name="connsiteX12434" fmla="*/ 5056548 w 10505529"/>
              <a:gd name="connsiteY12434" fmla="*/ 5491314 h 7458372"/>
              <a:gd name="connsiteX12435" fmla="*/ 5047230 w 10505529"/>
              <a:gd name="connsiteY12435" fmla="*/ 5497570 h 7458372"/>
              <a:gd name="connsiteX12436" fmla="*/ 5035515 w 10505529"/>
              <a:gd name="connsiteY12436" fmla="*/ 5499833 h 7458372"/>
              <a:gd name="connsiteX12437" fmla="*/ 5013683 w 10505529"/>
              <a:gd name="connsiteY12437" fmla="*/ 5491314 h 7458372"/>
              <a:gd name="connsiteX12438" fmla="*/ 5005297 w 10505529"/>
              <a:gd name="connsiteY12438" fmla="*/ 5470147 h 7458372"/>
              <a:gd name="connsiteX12439" fmla="*/ 5013683 w 10505529"/>
              <a:gd name="connsiteY12439" fmla="*/ 5449114 h 7458372"/>
              <a:gd name="connsiteX12440" fmla="*/ 5035515 w 10505529"/>
              <a:gd name="connsiteY12440" fmla="*/ 5440462 h 7458372"/>
              <a:gd name="connsiteX12441" fmla="*/ 4817870 w 10505529"/>
              <a:gd name="connsiteY12441" fmla="*/ 5440462 h 7458372"/>
              <a:gd name="connsiteX12442" fmla="*/ 4829585 w 10505529"/>
              <a:gd name="connsiteY12442" fmla="*/ 5443124 h 7458372"/>
              <a:gd name="connsiteX12443" fmla="*/ 4838903 w 10505529"/>
              <a:gd name="connsiteY12443" fmla="*/ 5449514 h 7458372"/>
              <a:gd name="connsiteX12444" fmla="*/ 4845026 w 10505529"/>
              <a:gd name="connsiteY12444" fmla="*/ 5458832 h 7458372"/>
              <a:gd name="connsiteX12445" fmla="*/ 4847289 w 10505529"/>
              <a:gd name="connsiteY12445" fmla="*/ 5470280 h 7458372"/>
              <a:gd name="connsiteX12446" fmla="*/ 4845026 w 10505529"/>
              <a:gd name="connsiteY12446" fmla="*/ 5481995 h 7458372"/>
              <a:gd name="connsiteX12447" fmla="*/ 4838903 w 10505529"/>
              <a:gd name="connsiteY12447" fmla="*/ 5491314 h 7458372"/>
              <a:gd name="connsiteX12448" fmla="*/ 4829585 w 10505529"/>
              <a:gd name="connsiteY12448" fmla="*/ 5497570 h 7458372"/>
              <a:gd name="connsiteX12449" fmla="*/ 4817870 w 10505529"/>
              <a:gd name="connsiteY12449" fmla="*/ 5499833 h 7458372"/>
              <a:gd name="connsiteX12450" fmla="*/ 4796038 w 10505529"/>
              <a:gd name="connsiteY12450" fmla="*/ 5491314 h 7458372"/>
              <a:gd name="connsiteX12451" fmla="*/ 4787652 w 10505529"/>
              <a:gd name="connsiteY12451" fmla="*/ 5470147 h 7458372"/>
              <a:gd name="connsiteX12452" fmla="*/ 4796038 w 10505529"/>
              <a:gd name="connsiteY12452" fmla="*/ 5449114 h 7458372"/>
              <a:gd name="connsiteX12453" fmla="*/ 4817870 w 10505529"/>
              <a:gd name="connsiteY12453" fmla="*/ 5440462 h 7458372"/>
              <a:gd name="connsiteX12454" fmla="*/ 4600226 w 10505529"/>
              <a:gd name="connsiteY12454" fmla="*/ 5440462 h 7458372"/>
              <a:gd name="connsiteX12455" fmla="*/ 4612073 w 10505529"/>
              <a:gd name="connsiteY12455" fmla="*/ 5443124 h 7458372"/>
              <a:gd name="connsiteX12456" fmla="*/ 4621391 w 10505529"/>
              <a:gd name="connsiteY12456" fmla="*/ 5449514 h 7458372"/>
              <a:gd name="connsiteX12457" fmla="*/ 4627514 w 10505529"/>
              <a:gd name="connsiteY12457" fmla="*/ 5458832 h 7458372"/>
              <a:gd name="connsiteX12458" fmla="*/ 4629777 w 10505529"/>
              <a:gd name="connsiteY12458" fmla="*/ 5470280 h 7458372"/>
              <a:gd name="connsiteX12459" fmla="*/ 4627514 w 10505529"/>
              <a:gd name="connsiteY12459" fmla="*/ 5481995 h 7458372"/>
              <a:gd name="connsiteX12460" fmla="*/ 4621391 w 10505529"/>
              <a:gd name="connsiteY12460" fmla="*/ 5491314 h 7458372"/>
              <a:gd name="connsiteX12461" fmla="*/ 4612073 w 10505529"/>
              <a:gd name="connsiteY12461" fmla="*/ 5497570 h 7458372"/>
              <a:gd name="connsiteX12462" fmla="*/ 4600226 w 10505529"/>
              <a:gd name="connsiteY12462" fmla="*/ 5499833 h 7458372"/>
              <a:gd name="connsiteX12463" fmla="*/ 4578393 w 10505529"/>
              <a:gd name="connsiteY12463" fmla="*/ 5491314 h 7458372"/>
              <a:gd name="connsiteX12464" fmla="*/ 4570007 w 10505529"/>
              <a:gd name="connsiteY12464" fmla="*/ 5470147 h 7458372"/>
              <a:gd name="connsiteX12465" fmla="*/ 4578393 w 10505529"/>
              <a:gd name="connsiteY12465" fmla="*/ 5449114 h 7458372"/>
              <a:gd name="connsiteX12466" fmla="*/ 4600226 w 10505529"/>
              <a:gd name="connsiteY12466" fmla="*/ 5440462 h 7458372"/>
              <a:gd name="connsiteX12467" fmla="*/ 4382713 w 10505529"/>
              <a:gd name="connsiteY12467" fmla="*/ 5440462 h 7458372"/>
              <a:gd name="connsiteX12468" fmla="*/ 4394428 w 10505529"/>
              <a:gd name="connsiteY12468" fmla="*/ 5443124 h 7458372"/>
              <a:gd name="connsiteX12469" fmla="*/ 4403746 w 10505529"/>
              <a:gd name="connsiteY12469" fmla="*/ 5449514 h 7458372"/>
              <a:gd name="connsiteX12470" fmla="*/ 4409869 w 10505529"/>
              <a:gd name="connsiteY12470" fmla="*/ 5458832 h 7458372"/>
              <a:gd name="connsiteX12471" fmla="*/ 4412132 w 10505529"/>
              <a:gd name="connsiteY12471" fmla="*/ 5470280 h 7458372"/>
              <a:gd name="connsiteX12472" fmla="*/ 4409869 w 10505529"/>
              <a:gd name="connsiteY12472" fmla="*/ 5481995 h 7458372"/>
              <a:gd name="connsiteX12473" fmla="*/ 4403746 w 10505529"/>
              <a:gd name="connsiteY12473" fmla="*/ 5491314 h 7458372"/>
              <a:gd name="connsiteX12474" fmla="*/ 4394428 w 10505529"/>
              <a:gd name="connsiteY12474" fmla="*/ 5497570 h 7458372"/>
              <a:gd name="connsiteX12475" fmla="*/ 4382713 w 10505529"/>
              <a:gd name="connsiteY12475" fmla="*/ 5499833 h 7458372"/>
              <a:gd name="connsiteX12476" fmla="*/ 4360881 w 10505529"/>
              <a:gd name="connsiteY12476" fmla="*/ 5491314 h 7458372"/>
              <a:gd name="connsiteX12477" fmla="*/ 4352495 w 10505529"/>
              <a:gd name="connsiteY12477" fmla="*/ 5470147 h 7458372"/>
              <a:gd name="connsiteX12478" fmla="*/ 4360881 w 10505529"/>
              <a:gd name="connsiteY12478" fmla="*/ 5449114 h 7458372"/>
              <a:gd name="connsiteX12479" fmla="*/ 4382713 w 10505529"/>
              <a:gd name="connsiteY12479" fmla="*/ 5440462 h 7458372"/>
              <a:gd name="connsiteX12480" fmla="*/ 4165068 w 10505529"/>
              <a:gd name="connsiteY12480" fmla="*/ 5440462 h 7458372"/>
              <a:gd name="connsiteX12481" fmla="*/ 4176782 w 10505529"/>
              <a:gd name="connsiteY12481" fmla="*/ 5443124 h 7458372"/>
              <a:gd name="connsiteX12482" fmla="*/ 4186100 w 10505529"/>
              <a:gd name="connsiteY12482" fmla="*/ 5449514 h 7458372"/>
              <a:gd name="connsiteX12483" fmla="*/ 4192223 w 10505529"/>
              <a:gd name="connsiteY12483" fmla="*/ 5458832 h 7458372"/>
              <a:gd name="connsiteX12484" fmla="*/ 4194486 w 10505529"/>
              <a:gd name="connsiteY12484" fmla="*/ 5470280 h 7458372"/>
              <a:gd name="connsiteX12485" fmla="*/ 4192223 w 10505529"/>
              <a:gd name="connsiteY12485" fmla="*/ 5481995 h 7458372"/>
              <a:gd name="connsiteX12486" fmla="*/ 4186100 w 10505529"/>
              <a:gd name="connsiteY12486" fmla="*/ 5491314 h 7458372"/>
              <a:gd name="connsiteX12487" fmla="*/ 4176782 w 10505529"/>
              <a:gd name="connsiteY12487" fmla="*/ 5497570 h 7458372"/>
              <a:gd name="connsiteX12488" fmla="*/ 4165068 w 10505529"/>
              <a:gd name="connsiteY12488" fmla="*/ 5499833 h 7458372"/>
              <a:gd name="connsiteX12489" fmla="*/ 4143235 w 10505529"/>
              <a:gd name="connsiteY12489" fmla="*/ 5491314 h 7458372"/>
              <a:gd name="connsiteX12490" fmla="*/ 4134849 w 10505529"/>
              <a:gd name="connsiteY12490" fmla="*/ 5470147 h 7458372"/>
              <a:gd name="connsiteX12491" fmla="*/ 4143235 w 10505529"/>
              <a:gd name="connsiteY12491" fmla="*/ 5449114 h 7458372"/>
              <a:gd name="connsiteX12492" fmla="*/ 4165068 w 10505529"/>
              <a:gd name="connsiteY12492" fmla="*/ 5440462 h 7458372"/>
              <a:gd name="connsiteX12493" fmla="*/ 3947721 w 10505529"/>
              <a:gd name="connsiteY12493" fmla="*/ 5440462 h 7458372"/>
              <a:gd name="connsiteX12494" fmla="*/ 3959439 w 10505529"/>
              <a:gd name="connsiteY12494" fmla="*/ 5443124 h 7458372"/>
              <a:gd name="connsiteX12495" fmla="*/ 3968757 w 10505529"/>
              <a:gd name="connsiteY12495" fmla="*/ 5449514 h 7458372"/>
              <a:gd name="connsiteX12496" fmla="*/ 3974881 w 10505529"/>
              <a:gd name="connsiteY12496" fmla="*/ 5458832 h 7458372"/>
              <a:gd name="connsiteX12497" fmla="*/ 3977144 w 10505529"/>
              <a:gd name="connsiteY12497" fmla="*/ 5470280 h 7458372"/>
              <a:gd name="connsiteX12498" fmla="*/ 3974881 w 10505529"/>
              <a:gd name="connsiteY12498" fmla="*/ 5481995 h 7458372"/>
              <a:gd name="connsiteX12499" fmla="*/ 3968757 w 10505529"/>
              <a:gd name="connsiteY12499" fmla="*/ 5491314 h 7458372"/>
              <a:gd name="connsiteX12500" fmla="*/ 3959439 w 10505529"/>
              <a:gd name="connsiteY12500" fmla="*/ 5497570 h 7458372"/>
              <a:gd name="connsiteX12501" fmla="*/ 3947721 w 10505529"/>
              <a:gd name="connsiteY12501" fmla="*/ 5499833 h 7458372"/>
              <a:gd name="connsiteX12502" fmla="*/ 3925888 w 10505529"/>
              <a:gd name="connsiteY12502" fmla="*/ 5491314 h 7458372"/>
              <a:gd name="connsiteX12503" fmla="*/ 3917502 w 10505529"/>
              <a:gd name="connsiteY12503" fmla="*/ 5470147 h 7458372"/>
              <a:gd name="connsiteX12504" fmla="*/ 3925888 w 10505529"/>
              <a:gd name="connsiteY12504" fmla="*/ 5449114 h 7458372"/>
              <a:gd name="connsiteX12505" fmla="*/ 3947721 w 10505529"/>
              <a:gd name="connsiteY12505" fmla="*/ 5440462 h 7458372"/>
              <a:gd name="connsiteX12506" fmla="*/ 3730062 w 10505529"/>
              <a:gd name="connsiteY12506" fmla="*/ 5440462 h 7458372"/>
              <a:gd name="connsiteX12507" fmla="*/ 3741778 w 10505529"/>
              <a:gd name="connsiteY12507" fmla="*/ 5443124 h 7458372"/>
              <a:gd name="connsiteX12508" fmla="*/ 3751097 w 10505529"/>
              <a:gd name="connsiteY12508" fmla="*/ 5449514 h 7458372"/>
              <a:gd name="connsiteX12509" fmla="*/ 3757219 w 10505529"/>
              <a:gd name="connsiteY12509" fmla="*/ 5458832 h 7458372"/>
              <a:gd name="connsiteX12510" fmla="*/ 3759482 w 10505529"/>
              <a:gd name="connsiteY12510" fmla="*/ 5470280 h 7458372"/>
              <a:gd name="connsiteX12511" fmla="*/ 3757219 w 10505529"/>
              <a:gd name="connsiteY12511" fmla="*/ 5481995 h 7458372"/>
              <a:gd name="connsiteX12512" fmla="*/ 3751097 w 10505529"/>
              <a:gd name="connsiteY12512" fmla="*/ 5491314 h 7458372"/>
              <a:gd name="connsiteX12513" fmla="*/ 3741778 w 10505529"/>
              <a:gd name="connsiteY12513" fmla="*/ 5497570 h 7458372"/>
              <a:gd name="connsiteX12514" fmla="*/ 3730062 w 10505529"/>
              <a:gd name="connsiteY12514" fmla="*/ 5499833 h 7458372"/>
              <a:gd name="connsiteX12515" fmla="*/ 3708222 w 10505529"/>
              <a:gd name="connsiteY12515" fmla="*/ 5491314 h 7458372"/>
              <a:gd name="connsiteX12516" fmla="*/ 3699836 w 10505529"/>
              <a:gd name="connsiteY12516" fmla="*/ 5470147 h 7458372"/>
              <a:gd name="connsiteX12517" fmla="*/ 3708222 w 10505529"/>
              <a:gd name="connsiteY12517" fmla="*/ 5449114 h 7458372"/>
              <a:gd name="connsiteX12518" fmla="*/ 3730062 w 10505529"/>
              <a:gd name="connsiteY12518" fmla="*/ 5440462 h 7458372"/>
              <a:gd name="connsiteX12519" fmla="*/ 3512401 w 10505529"/>
              <a:gd name="connsiteY12519" fmla="*/ 5440462 h 7458372"/>
              <a:gd name="connsiteX12520" fmla="*/ 3524118 w 10505529"/>
              <a:gd name="connsiteY12520" fmla="*/ 5443124 h 7458372"/>
              <a:gd name="connsiteX12521" fmla="*/ 3533436 w 10505529"/>
              <a:gd name="connsiteY12521" fmla="*/ 5449514 h 7458372"/>
              <a:gd name="connsiteX12522" fmla="*/ 3539559 w 10505529"/>
              <a:gd name="connsiteY12522" fmla="*/ 5458832 h 7458372"/>
              <a:gd name="connsiteX12523" fmla="*/ 3541822 w 10505529"/>
              <a:gd name="connsiteY12523" fmla="*/ 5470280 h 7458372"/>
              <a:gd name="connsiteX12524" fmla="*/ 3539559 w 10505529"/>
              <a:gd name="connsiteY12524" fmla="*/ 5481995 h 7458372"/>
              <a:gd name="connsiteX12525" fmla="*/ 3533436 w 10505529"/>
              <a:gd name="connsiteY12525" fmla="*/ 5491314 h 7458372"/>
              <a:gd name="connsiteX12526" fmla="*/ 3524118 w 10505529"/>
              <a:gd name="connsiteY12526" fmla="*/ 5497570 h 7458372"/>
              <a:gd name="connsiteX12527" fmla="*/ 3512401 w 10505529"/>
              <a:gd name="connsiteY12527" fmla="*/ 5499833 h 7458372"/>
              <a:gd name="connsiteX12528" fmla="*/ 3490565 w 10505529"/>
              <a:gd name="connsiteY12528" fmla="*/ 5491314 h 7458372"/>
              <a:gd name="connsiteX12529" fmla="*/ 3482178 w 10505529"/>
              <a:gd name="connsiteY12529" fmla="*/ 5470147 h 7458372"/>
              <a:gd name="connsiteX12530" fmla="*/ 3490565 w 10505529"/>
              <a:gd name="connsiteY12530" fmla="*/ 5449114 h 7458372"/>
              <a:gd name="connsiteX12531" fmla="*/ 3512401 w 10505529"/>
              <a:gd name="connsiteY12531" fmla="*/ 5440462 h 7458372"/>
              <a:gd name="connsiteX12532" fmla="*/ 3294874 w 10505529"/>
              <a:gd name="connsiteY12532" fmla="*/ 5440462 h 7458372"/>
              <a:gd name="connsiteX12533" fmla="*/ 3306590 w 10505529"/>
              <a:gd name="connsiteY12533" fmla="*/ 5443124 h 7458372"/>
              <a:gd name="connsiteX12534" fmla="*/ 3315908 w 10505529"/>
              <a:gd name="connsiteY12534" fmla="*/ 5449514 h 7458372"/>
              <a:gd name="connsiteX12535" fmla="*/ 3322031 w 10505529"/>
              <a:gd name="connsiteY12535" fmla="*/ 5458832 h 7458372"/>
              <a:gd name="connsiteX12536" fmla="*/ 3324294 w 10505529"/>
              <a:gd name="connsiteY12536" fmla="*/ 5470280 h 7458372"/>
              <a:gd name="connsiteX12537" fmla="*/ 3322031 w 10505529"/>
              <a:gd name="connsiteY12537" fmla="*/ 5481995 h 7458372"/>
              <a:gd name="connsiteX12538" fmla="*/ 3315908 w 10505529"/>
              <a:gd name="connsiteY12538" fmla="*/ 5491314 h 7458372"/>
              <a:gd name="connsiteX12539" fmla="*/ 3306590 w 10505529"/>
              <a:gd name="connsiteY12539" fmla="*/ 5497570 h 7458372"/>
              <a:gd name="connsiteX12540" fmla="*/ 3294874 w 10505529"/>
              <a:gd name="connsiteY12540" fmla="*/ 5499833 h 7458372"/>
              <a:gd name="connsiteX12541" fmla="*/ 3273036 w 10505529"/>
              <a:gd name="connsiteY12541" fmla="*/ 5491314 h 7458372"/>
              <a:gd name="connsiteX12542" fmla="*/ 3264648 w 10505529"/>
              <a:gd name="connsiteY12542" fmla="*/ 5470147 h 7458372"/>
              <a:gd name="connsiteX12543" fmla="*/ 3273036 w 10505529"/>
              <a:gd name="connsiteY12543" fmla="*/ 5449114 h 7458372"/>
              <a:gd name="connsiteX12544" fmla="*/ 3294874 w 10505529"/>
              <a:gd name="connsiteY12544" fmla="*/ 5440462 h 7458372"/>
              <a:gd name="connsiteX12545" fmla="*/ 3077214 w 10505529"/>
              <a:gd name="connsiteY12545" fmla="*/ 5440462 h 7458372"/>
              <a:gd name="connsiteX12546" fmla="*/ 3088929 w 10505529"/>
              <a:gd name="connsiteY12546" fmla="*/ 5443124 h 7458372"/>
              <a:gd name="connsiteX12547" fmla="*/ 3098247 w 10505529"/>
              <a:gd name="connsiteY12547" fmla="*/ 5449514 h 7458372"/>
              <a:gd name="connsiteX12548" fmla="*/ 3104370 w 10505529"/>
              <a:gd name="connsiteY12548" fmla="*/ 5458832 h 7458372"/>
              <a:gd name="connsiteX12549" fmla="*/ 3106633 w 10505529"/>
              <a:gd name="connsiteY12549" fmla="*/ 5470280 h 7458372"/>
              <a:gd name="connsiteX12550" fmla="*/ 3104370 w 10505529"/>
              <a:gd name="connsiteY12550" fmla="*/ 5481995 h 7458372"/>
              <a:gd name="connsiteX12551" fmla="*/ 3098247 w 10505529"/>
              <a:gd name="connsiteY12551" fmla="*/ 5491314 h 7458372"/>
              <a:gd name="connsiteX12552" fmla="*/ 3088929 w 10505529"/>
              <a:gd name="connsiteY12552" fmla="*/ 5497570 h 7458372"/>
              <a:gd name="connsiteX12553" fmla="*/ 3077214 w 10505529"/>
              <a:gd name="connsiteY12553" fmla="*/ 5499833 h 7458372"/>
              <a:gd name="connsiteX12554" fmla="*/ 3055375 w 10505529"/>
              <a:gd name="connsiteY12554" fmla="*/ 5491314 h 7458372"/>
              <a:gd name="connsiteX12555" fmla="*/ 3046989 w 10505529"/>
              <a:gd name="connsiteY12555" fmla="*/ 5470147 h 7458372"/>
              <a:gd name="connsiteX12556" fmla="*/ 3055375 w 10505529"/>
              <a:gd name="connsiteY12556" fmla="*/ 5449114 h 7458372"/>
              <a:gd name="connsiteX12557" fmla="*/ 3077214 w 10505529"/>
              <a:gd name="connsiteY12557" fmla="*/ 5440462 h 7458372"/>
              <a:gd name="connsiteX12558" fmla="*/ 2859553 w 10505529"/>
              <a:gd name="connsiteY12558" fmla="*/ 5440462 h 7458372"/>
              <a:gd name="connsiteX12559" fmla="*/ 2871401 w 10505529"/>
              <a:gd name="connsiteY12559" fmla="*/ 5443124 h 7458372"/>
              <a:gd name="connsiteX12560" fmla="*/ 2880719 w 10505529"/>
              <a:gd name="connsiteY12560" fmla="*/ 5449514 h 7458372"/>
              <a:gd name="connsiteX12561" fmla="*/ 2886843 w 10505529"/>
              <a:gd name="connsiteY12561" fmla="*/ 5458832 h 7458372"/>
              <a:gd name="connsiteX12562" fmla="*/ 2889106 w 10505529"/>
              <a:gd name="connsiteY12562" fmla="*/ 5470280 h 7458372"/>
              <a:gd name="connsiteX12563" fmla="*/ 2886843 w 10505529"/>
              <a:gd name="connsiteY12563" fmla="*/ 5481995 h 7458372"/>
              <a:gd name="connsiteX12564" fmla="*/ 2880719 w 10505529"/>
              <a:gd name="connsiteY12564" fmla="*/ 5491314 h 7458372"/>
              <a:gd name="connsiteX12565" fmla="*/ 2871401 w 10505529"/>
              <a:gd name="connsiteY12565" fmla="*/ 5497570 h 7458372"/>
              <a:gd name="connsiteX12566" fmla="*/ 2859553 w 10505529"/>
              <a:gd name="connsiteY12566" fmla="*/ 5499833 h 7458372"/>
              <a:gd name="connsiteX12567" fmla="*/ 2837715 w 10505529"/>
              <a:gd name="connsiteY12567" fmla="*/ 5491314 h 7458372"/>
              <a:gd name="connsiteX12568" fmla="*/ 2829328 w 10505529"/>
              <a:gd name="connsiteY12568" fmla="*/ 5470147 h 7458372"/>
              <a:gd name="connsiteX12569" fmla="*/ 2837715 w 10505529"/>
              <a:gd name="connsiteY12569" fmla="*/ 5449114 h 7458372"/>
              <a:gd name="connsiteX12570" fmla="*/ 2859553 w 10505529"/>
              <a:gd name="connsiteY12570" fmla="*/ 5440462 h 7458372"/>
              <a:gd name="connsiteX12571" fmla="*/ 2641892 w 10505529"/>
              <a:gd name="connsiteY12571" fmla="*/ 5440462 h 7458372"/>
              <a:gd name="connsiteX12572" fmla="*/ 2653608 w 10505529"/>
              <a:gd name="connsiteY12572" fmla="*/ 5443124 h 7458372"/>
              <a:gd name="connsiteX12573" fmla="*/ 2662926 w 10505529"/>
              <a:gd name="connsiteY12573" fmla="*/ 5449514 h 7458372"/>
              <a:gd name="connsiteX12574" fmla="*/ 2669049 w 10505529"/>
              <a:gd name="connsiteY12574" fmla="*/ 5458832 h 7458372"/>
              <a:gd name="connsiteX12575" fmla="*/ 2671312 w 10505529"/>
              <a:gd name="connsiteY12575" fmla="*/ 5470280 h 7458372"/>
              <a:gd name="connsiteX12576" fmla="*/ 2669049 w 10505529"/>
              <a:gd name="connsiteY12576" fmla="*/ 5481995 h 7458372"/>
              <a:gd name="connsiteX12577" fmla="*/ 2662926 w 10505529"/>
              <a:gd name="connsiteY12577" fmla="*/ 5491314 h 7458372"/>
              <a:gd name="connsiteX12578" fmla="*/ 2653608 w 10505529"/>
              <a:gd name="connsiteY12578" fmla="*/ 5497570 h 7458372"/>
              <a:gd name="connsiteX12579" fmla="*/ 2641892 w 10505529"/>
              <a:gd name="connsiteY12579" fmla="*/ 5499833 h 7458372"/>
              <a:gd name="connsiteX12580" fmla="*/ 2620060 w 10505529"/>
              <a:gd name="connsiteY12580" fmla="*/ 5491314 h 7458372"/>
              <a:gd name="connsiteX12581" fmla="*/ 2611669 w 10505529"/>
              <a:gd name="connsiteY12581" fmla="*/ 5470147 h 7458372"/>
              <a:gd name="connsiteX12582" fmla="*/ 2620060 w 10505529"/>
              <a:gd name="connsiteY12582" fmla="*/ 5449114 h 7458372"/>
              <a:gd name="connsiteX12583" fmla="*/ 2641892 w 10505529"/>
              <a:gd name="connsiteY12583" fmla="*/ 5440462 h 7458372"/>
              <a:gd name="connsiteX12584" fmla="*/ 2424231 w 10505529"/>
              <a:gd name="connsiteY12584" fmla="*/ 5440462 h 7458372"/>
              <a:gd name="connsiteX12585" fmla="*/ 2435947 w 10505529"/>
              <a:gd name="connsiteY12585" fmla="*/ 5443124 h 7458372"/>
              <a:gd name="connsiteX12586" fmla="*/ 2445265 w 10505529"/>
              <a:gd name="connsiteY12586" fmla="*/ 5449514 h 7458372"/>
              <a:gd name="connsiteX12587" fmla="*/ 2451388 w 10505529"/>
              <a:gd name="connsiteY12587" fmla="*/ 5458832 h 7458372"/>
              <a:gd name="connsiteX12588" fmla="*/ 2453651 w 10505529"/>
              <a:gd name="connsiteY12588" fmla="*/ 5470280 h 7458372"/>
              <a:gd name="connsiteX12589" fmla="*/ 2451388 w 10505529"/>
              <a:gd name="connsiteY12589" fmla="*/ 5481995 h 7458372"/>
              <a:gd name="connsiteX12590" fmla="*/ 2445265 w 10505529"/>
              <a:gd name="connsiteY12590" fmla="*/ 5491314 h 7458372"/>
              <a:gd name="connsiteX12591" fmla="*/ 2435947 w 10505529"/>
              <a:gd name="connsiteY12591" fmla="*/ 5497570 h 7458372"/>
              <a:gd name="connsiteX12592" fmla="*/ 2424231 w 10505529"/>
              <a:gd name="connsiteY12592" fmla="*/ 5499833 h 7458372"/>
              <a:gd name="connsiteX12593" fmla="*/ 2402399 w 10505529"/>
              <a:gd name="connsiteY12593" fmla="*/ 5491314 h 7458372"/>
              <a:gd name="connsiteX12594" fmla="*/ 2394010 w 10505529"/>
              <a:gd name="connsiteY12594" fmla="*/ 5470147 h 7458372"/>
              <a:gd name="connsiteX12595" fmla="*/ 2402399 w 10505529"/>
              <a:gd name="connsiteY12595" fmla="*/ 5449114 h 7458372"/>
              <a:gd name="connsiteX12596" fmla="*/ 2424231 w 10505529"/>
              <a:gd name="connsiteY12596" fmla="*/ 5440462 h 7458372"/>
              <a:gd name="connsiteX12597" fmla="*/ 2206571 w 10505529"/>
              <a:gd name="connsiteY12597" fmla="*/ 5440462 h 7458372"/>
              <a:gd name="connsiteX12598" fmla="*/ 2218286 w 10505529"/>
              <a:gd name="connsiteY12598" fmla="*/ 5443124 h 7458372"/>
              <a:gd name="connsiteX12599" fmla="*/ 2227604 w 10505529"/>
              <a:gd name="connsiteY12599" fmla="*/ 5449514 h 7458372"/>
              <a:gd name="connsiteX12600" fmla="*/ 2233727 w 10505529"/>
              <a:gd name="connsiteY12600" fmla="*/ 5458832 h 7458372"/>
              <a:gd name="connsiteX12601" fmla="*/ 2235990 w 10505529"/>
              <a:gd name="connsiteY12601" fmla="*/ 5470280 h 7458372"/>
              <a:gd name="connsiteX12602" fmla="*/ 2233727 w 10505529"/>
              <a:gd name="connsiteY12602" fmla="*/ 5481995 h 7458372"/>
              <a:gd name="connsiteX12603" fmla="*/ 2227604 w 10505529"/>
              <a:gd name="connsiteY12603" fmla="*/ 5491314 h 7458372"/>
              <a:gd name="connsiteX12604" fmla="*/ 2218286 w 10505529"/>
              <a:gd name="connsiteY12604" fmla="*/ 5497570 h 7458372"/>
              <a:gd name="connsiteX12605" fmla="*/ 2206571 w 10505529"/>
              <a:gd name="connsiteY12605" fmla="*/ 5499833 h 7458372"/>
              <a:gd name="connsiteX12606" fmla="*/ 2184738 w 10505529"/>
              <a:gd name="connsiteY12606" fmla="*/ 5491314 h 7458372"/>
              <a:gd name="connsiteX12607" fmla="*/ 2176350 w 10505529"/>
              <a:gd name="connsiteY12607" fmla="*/ 5470147 h 7458372"/>
              <a:gd name="connsiteX12608" fmla="*/ 2184738 w 10505529"/>
              <a:gd name="connsiteY12608" fmla="*/ 5449114 h 7458372"/>
              <a:gd name="connsiteX12609" fmla="*/ 2206571 w 10505529"/>
              <a:gd name="connsiteY12609" fmla="*/ 5440462 h 7458372"/>
              <a:gd name="connsiteX12610" fmla="*/ 1989043 w 10505529"/>
              <a:gd name="connsiteY12610" fmla="*/ 5440462 h 7458372"/>
              <a:gd name="connsiteX12611" fmla="*/ 2000758 w 10505529"/>
              <a:gd name="connsiteY12611" fmla="*/ 5443124 h 7458372"/>
              <a:gd name="connsiteX12612" fmla="*/ 2010076 w 10505529"/>
              <a:gd name="connsiteY12612" fmla="*/ 5449514 h 7458372"/>
              <a:gd name="connsiteX12613" fmla="*/ 2016199 w 10505529"/>
              <a:gd name="connsiteY12613" fmla="*/ 5458832 h 7458372"/>
              <a:gd name="connsiteX12614" fmla="*/ 2018462 w 10505529"/>
              <a:gd name="connsiteY12614" fmla="*/ 5470280 h 7458372"/>
              <a:gd name="connsiteX12615" fmla="*/ 2016199 w 10505529"/>
              <a:gd name="connsiteY12615" fmla="*/ 5481995 h 7458372"/>
              <a:gd name="connsiteX12616" fmla="*/ 2010076 w 10505529"/>
              <a:gd name="connsiteY12616" fmla="*/ 5491314 h 7458372"/>
              <a:gd name="connsiteX12617" fmla="*/ 2000758 w 10505529"/>
              <a:gd name="connsiteY12617" fmla="*/ 5497570 h 7458372"/>
              <a:gd name="connsiteX12618" fmla="*/ 1989043 w 10505529"/>
              <a:gd name="connsiteY12618" fmla="*/ 5499833 h 7458372"/>
              <a:gd name="connsiteX12619" fmla="*/ 1967212 w 10505529"/>
              <a:gd name="connsiteY12619" fmla="*/ 5491314 h 7458372"/>
              <a:gd name="connsiteX12620" fmla="*/ 1958825 w 10505529"/>
              <a:gd name="connsiteY12620" fmla="*/ 5470147 h 7458372"/>
              <a:gd name="connsiteX12621" fmla="*/ 1967212 w 10505529"/>
              <a:gd name="connsiteY12621" fmla="*/ 5449114 h 7458372"/>
              <a:gd name="connsiteX12622" fmla="*/ 1989043 w 10505529"/>
              <a:gd name="connsiteY12622" fmla="*/ 5440462 h 7458372"/>
              <a:gd name="connsiteX12623" fmla="*/ 1771409 w 10505529"/>
              <a:gd name="connsiteY12623" fmla="*/ 5440462 h 7458372"/>
              <a:gd name="connsiteX12624" fmla="*/ 1783123 w 10505529"/>
              <a:gd name="connsiteY12624" fmla="*/ 5443124 h 7458372"/>
              <a:gd name="connsiteX12625" fmla="*/ 1792441 w 10505529"/>
              <a:gd name="connsiteY12625" fmla="*/ 5449514 h 7458372"/>
              <a:gd name="connsiteX12626" fmla="*/ 1798564 w 10505529"/>
              <a:gd name="connsiteY12626" fmla="*/ 5458832 h 7458372"/>
              <a:gd name="connsiteX12627" fmla="*/ 1800826 w 10505529"/>
              <a:gd name="connsiteY12627" fmla="*/ 5470280 h 7458372"/>
              <a:gd name="connsiteX12628" fmla="*/ 1798564 w 10505529"/>
              <a:gd name="connsiteY12628" fmla="*/ 5481995 h 7458372"/>
              <a:gd name="connsiteX12629" fmla="*/ 1792441 w 10505529"/>
              <a:gd name="connsiteY12629" fmla="*/ 5491314 h 7458372"/>
              <a:gd name="connsiteX12630" fmla="*/ 1783123 w 10505529"/>
              <a:gd name="connsiteY12630" fmla="*/ 5497570 h 7458372"/>
              <a:gd name="connsiteX12631" fmla="*/ 1771409 w 10505529"/>
              <a:gd name="connsiteY12631" fmla="*/ 5499833 h 7458372"/>
              <a:gd name="connsiteX12632" fmla="*/ 1749580 w 10505529"/>
              <a:gd name="connsiteY12632" fmla="*/ 5491314 h 7458372"/>
              <a:gd name="connsiteX12633" fmla="*/ 1741196 w 10505529"/>
              <a:gd name="connsiteY12633" fmla="*/ 5470147 h 7458372"/>
              <a:gd name="connsiteX12634" fmla="*/ 1749580 w 10505529"/>
              <a:gd name="connsiteY12634" fmla="*/ 5449114 h 7458372"/>
              <a:gd name="connsiteX12635" fmla="*/ 1771409 w 10505529"/>
              <a:gd name="connsiteY12635" fmla="*/ 5440462 h 7458372"/>
              <a:gd name="connsiteX12636" fmla="*/ 1553772 w 10505529"/>
              <a:gd name="connsiteY12636" fmla="*/ 5440462 h 7458372"/>
              <a:gd name="connsiteX12637" fmla="*/ 1565487 w 10505529"/>
              <a:gd name="connsiteY12637" fmla="*/ 5443124 h 7458372"/>
              <a:gd name="connsiteX12638" fmla="*/ 1574805 w 10505529"/>
              <a:gd name="connsiteY12638" fmla="*/ 5449514 h 7458372"/>
              <a:gd name="connsiteX12639" fmla="*/ 1580928 w 10505529"/>
              <a:gd name="connsiteY12639" fmla="*/ 5458832 h 7458372"/>
              <a:gd name="connsiteX12640" fmla="*/ 1583191 w 10505529"/>
              <a:gd name="connsiteY12640" fmla="*/ 5470280 h 7458372"/>
              <a:gd name="connsiteX12641" fmla="*/ 1580928 w 10505529"/>
              <a:gd name="connsiteY12641" fmla="*/ 5481995 h 7458372"/>
              <a:gd name="connsiteX12642" fmla="*/ 1574805 w 10505529"/>
              <a:gd name="connsiteY12642" fmla="*/ 5491314 h 7458372"/>
              <a:gd name="connsiteX12643" fmla="*/ 1565487 w 10505529"/>
              <a:gd name="connsiteY12643" fmla="*/ 5497570 h 7458372"/>
              <a:gd name="connsiteX12644" fmla="*/ 1553772 w 10505529"/>
              <a:gd name="connsiteY12644" fmla="*/ 5499833 h 7458372"/>
              <a:gd name="connsiteX12645" fmla="*/ 1531942 w 10505529"/>
              <a:gd name="connsiteY12645" fmla="*/ 5491314 h 7458372"/>
              <a:gd name="connsiteX12646" fmla="*/ 1523557 w 10505529"/>
              <a:gd name="connsiteY12646" fmla="*/ 5470147 h 7458372"/>
              <a:gd name="connsiteX12647" fmla="*/ 1531942 w 10505529"/>
              <a:gd name="connsiteY12647" fmla="*/ 5449114 h 7458372"/>
              <a:gd name="connsiteX12648" fmla="*/ 1553772 w 10505529"/>
              <a:gd name="connsiteY12648" fmla="*/ 5440462 h 7458372"/>
              <a:gd name="connsiteX12649" fmla="*/ 1336129 w 10505529"/>
              <a:gd name="connsiteY12649" fmla="*/ 5440462 h 7458372"/>
              <a:gd name="connsiteX12650" fmla="*/ 1347844 w 10505529"/>
              <a:gd name="connsiteY12650" fmla="*/ 5443124 h 7458372"/>
              <a:gd name="connsiteX12651" fmla="*/ 1357162 w 10505529"/>
              <a:gd name="connsiteY12651" fmla="*/ 5449514 h 7458372"/>
              <a:gd name="connsiteX12652" fmla="*/ 1363285 w 10505529"/>
              <a:gd name="connsiteY12652" fmla="*/ 5458832 h 7458372"/>
              <a:gd name="connsiteX12653" fmla="*/ 1365547 w 10505529"/>
              <a:gd name="connsiteY12653" fmla="*/ 5470280 h 7458372"/>
              <a:gd name="connsiteX12654" fmla="*/ 1363285 w 10505529"/>
              <a:gd name="connsiteY12654" fmla="*/ 5481995 h 7458372"/>
              <a:gd name="connsiteX12655" fmla="*/ 1357162 w 10505529"/>
              <a:gd name="connsiteY12655" fmla="*/ 5491314 h 7458372"/>
              <a:gd name="connsiteX12656" fmla="*/ 1347844 w 10505529"/>
              <a:gd name="connsiteY12656" fmla="*/ 5497570 h 7458372"/>
              <a:gd name="connsiteX12657" fmla="*/ 1336129 w 10505529"/>
              <a:gd name="connsiteY12657" fmla="*/ 5499833 h 7458372"/>
              <a:gd name="connsiteX12658" fmla="*/ 1314296 w 10505529"/>
              <a:gd name="connsiteY12658" fmla="*/ 5491314 h 7458372"/>
              <a:gd name="connsiteX12659" fmla="*/ 1305910 w 10505529"/>
              <a:gd name="connsiteY12659" fmla="*/ 5470147 h 7458372"/>
              <a:gd name="connsiteX12660" fmla="*/ 1314296 w 10505529"/>
              <a:gd name="connsiteY12660" fmla="*/ 5449114 h 7458372"/>
              <a:gd name="connsiteX12661" fmla="*/ 1336129 w 10505529"/>
              <a:gd name="connsiteY12661" fmla="*/ 5440462 h 7458372"/>
              <a:gd name="connsiteX12662" fmla="*/ 1118483 w 10505529"/>
              <a:gd name="connsiteY12662" fmla="*/ 5440462 h 7458372"/>
              <a:gd name="connsiteX12663" fmla="*/ 1130201 w 10505529"/>
              <a:gd name="connsiteY12663" fmla="*/ 5443124 h 7458372"/>
              <a:gd name="connsiteX12664" fmla="*/ 1139516 w 10505529"/>
              <a:gd name="connsiteY12664" fmla="*/ 5449514 h 7458372"/>
              <a:gd name="connsiteX12665" fmla="*/ 1145636 w 10505529"/>
              <a:gd name="connsiteY12665" fmla="*/ 5458832 h 7458372"/>
              <a:gd name="connsiteX12666" fmla="*/ 1147899 w 10505529"/>
              <a:gd name="connsiteY12666" fmla="*/ 5470280 h 7458372"/>
              <a:gd name="connsiteX12667" fmla="*/ 1145636 w 10505529"/>
              <a:gd name="connsiteY12667" fmla="*/ 5481995 h 7458372"/>
              <a:gd name="connsiteX12668" fmla="*/ 1139516 w 10505529"/>
              <a:gd name="connsiteY12668" fmla="*/ 5491314 h 7458372"/>
              <a:gd name="connsiteX12669" fmla="*/ 1130201 w 10505529"/>
              <a:gd name="connsiteY12669" fmla="*/ 5497570 h 7458372"/>
              <a:gd name="connsiteX12670" fmla="*/ 1118483 w 10505529"/>
              <a:gd name="connsiteY12670" fmla="*/ 5499833 h 7458372"/>
              <a:gd name="connsiteX12671" fmla="*/ 1096648 w 10505529"/>
              <a:gd name="connsiteY12671" fmla="*/ 5491314 h 7458372"/>
              <a:gd name="connsiteX12672" fmla="*/ 1088263 w 10505529"/>
              <a:gd name="connsiteY12672" fmla="*/ 5470147 h 7458372"/>
              <a:gd name="connsiteX12673" fmla="*/ 1096648 w 10505529"/>
              <a:gd name="connsiteY12673" fmla="*/ 5449114 h 7458372"/>
              <a:gd name="connsiteX12674" fmla="*/ 1118483 w 10505529"/>
              <a:gd name="connsiteY12674" fmla="*/ 5440462 h 7458372"/>
              <a:gd name="connsiteX12675" fmla="*/ 900970 w 10505529"/>
              <a:gd name="connsiteY12675" fmla="*/ 5440462 h 7458372"/>
              <a:gd name="connsiteX12676" fmla="*/ 912685 w 10505529"/>
              <a:gd name="connsiteY12676" fmla="*/ 5443124 h 7458372"/>
              <a:gd name="connsiteX12677" fmla="*/ 922003 w 10505529"/>
              <a:gd name="connsiteY12677" fmla="*/ 5449514 h 7458372"/>
              <a:gd name="connsiteX12678" fmla="*/ 928126 w 10505529"/>
              <a:gd name="connsiteY12678" fmla="*/ 5458832 h 7458372"/>
              <a:gd name="connsiteX12679" fmla="*/ 930389 w 10505529"/>
              <a:gd name="connsiteY12679" fmla="*/ 5470280 h 7458372"/>
              <a:gd name="connsiteX12680" fmla="*/ 928126 w 10505529"/>
              <a:gd name="connsiteY12680" fmla="*/ 5481995 h 7458372"/>
              <a:gd name="connsiteX12681" fmla="*/ 922003 w 10505529"/>
              <a:gd name="connsiteY12681" fmla="*/ 5491314 h 7458372"/>
              <a:gd name="connsiteX12682" fmla="*/ 912685 w 10505529"/>
              <a:gd name="connsiteY12682" fmla="*/ 5497570 h 7458372"/>
              <a:gd name="connsiteX12683" fmla="*/ 900970 w 10505529"/>
              <a:gd name="connsiteY12683" fmla="*/ 5499833 h 7458372"/>
              <a:gd name="connsiteX12684" fmla="*/ 879139 w 10505529"/>
              <a:gd name="connsiteY12684" fmla="*/ 5491314 h 7458372"/>
              <a:gd name="connsiteX12685" fmla="*/ 870754 w 10505529"/>
              <a:gd name="connsiteY12685" fmla="*/ 5470147 h 7458372"/>
              <a:gd name="connsiteX12686" fmla="*/ 879139 w 10505529"/>
              <a:gd name="connsiteY12686" fmla="*/ 5449114 h 7458372"/>
              <a:gd name="connsiteX12687" fmla="*/ 900970 w 10505529"/>
              <a:gd name="connsiteY12687" fmla="*/ 5440462 h 7458372"/>
              <a:gd name="connsiteX12688" fmla="*/ 683330 w 10505529"/>
              <a:gd name="connsiteY12688" fmla="*/ 5440462 h 7458372"/>
              <a:gd name="connsiteX12689" fmla="*/ 695045 w 10505529"/>
              <a:gd name="connsiteY12689" fmla="*/ 5443124 h 7458372"/>
              <a:gd name="connsiteX12690" fmla="*/ 704362 w 10505529"/>
              <a:gd name="connsiteY12690" fmla="*/ 5449514 h 7458372"/>
              <a:gd name="connsiteX12691" fmla="*/ 710485 w 10505529"/>
              <a:gd name="connsiteY12691" fmla="*/ 5458832 h 7458372"/>
              <a:gd name="connsiteX12692" fmla="*/ 712748 w 10505529"/>
              <a:gd name="connsiteY12692" fmla="*/ 5470280 h 7458372"/>
              <a:gd name="connsiteX12693" fmla="*/ 710485 w 10505529"/>
              <a:gd name="connsiteY12693" fmla="*/ 5481995 h 7458372"/>
              <a:gd name="connsiteX12694" fmla="*/ 704362 w 10505529"/>
              <a:gd name="connsiteY12694" fmla="*/ 5491314 h 7458372"/>
              <a:gd name="connsiteX12695" fmla="*/ 695045 w 10505529"/>
              <a:gd name="connsiteY12695" fmla="*/ 5497570 h 7458372"/>
              <a:gd name="connsiteX12696" fmla="*/ 683330 w 10505529"/>
              <a:gd name="connsiteY12696" fmla="*/ 5499833 h 7458372"/>
              <a:gd name="connsiteX12697" fmla="*/ 661498 w 10505529"/>
              <a:gd name="connsiteY12697" fmla="*/ 5491314 h 7458372"/>
              <a:gd name="connsiteX12698" fmla="*/ 653112 w 10505529"/>
              <a:gd name="connsiteY12698" fmla="*/ 5470147 h 7458372"/>
              <a:gd name="connsiteX12699" fmla="*/ 661498 w 10505529"/>
              <a:gd name="connsiteY12699" fmla="*/ 5449114 h 7458372"/>
              <a:gd name="connsiteX12700" fmla="*/ 683330 w 10505529"/>
              <a:gd name="connsiteY12700" fmla="*/ 5440462 h 7458372"/>
              <a:gd name="connsiteX12701" fmla="*/ 465688 w 10505529"/>
              <a:gd name="connsiteY12701" fmla="*/ 5440462 h 7458372"/>
              <a:gd name="connsiteX12702" fmla="*/ 477404 w 10505529"/>
              <a:gd name="connsiteY12702" fmla="*/ 5443124 h 7458372"/>
              <a:gd name="connsiteX12703" fmla="*/ 486721 w 10505529"/>
              <a:gd name="connsiteY12703" fmla="*/ 5449514 h 7458372"/>
              <a:gd name="connsiteX12704" fmla="*/ 492844 w 10505529"/>
              <a:gd name="connsiteY12704" fmla="*/ 5458832 h 7458372"/>
              <a:gd name="connsiteX12705" fmla="*/ 495107 w 10505529"/>
              <a:gd name="connsiteY12705" fmla="*/ 5470280 h 7458372"/>
              <a:gd name="connsiteX12706" fmla="*/ 492844 w 10505529"/>
              <a:gd name="connsiteY12706" fmla="*/ 5481995 h 7458372"/>
              <a:gd name="connsiteX12707" fmla="*/ 486721 w 10505529"/>
              <a:gd name="connsiteY12707" fmla="*/ 5491314 h 7458372"/>
              <a:gd name="connsiteX12708" fmla="*/ 477404 w 10505529"/>
              <a:gd name="connsiteY12708" fmla="*/ 5497570 h 7458372"/>
              <a:gd name="connsiteX12709" fmla="*/ 465688 w 10505529"/>
              <a:gd name="connsiteY12709" fmla="*/ 5499833 h 7458372"/>
              <a:gd name="connsiteX12710" fmla="*/ 443857 w 10505529"/>
              <a:gd name="connsiteY12710" fmla="*/ 5491314 h 7458372"/>
              <a:gd name="connsiteX12711" fmla="*/ 435471 w 10505529"/>
              <a:gd name="connsiteY12711" fmla="*/ 5470147 h 7458372"/>
              <a:gd name="connsiteX12712" fmla="*/ 443857 w 10505529"/>
              <a:gd name="connsiteY12712" fmla="*/ 5449114 h 7458372"/>
              <a:gd name="connsiteX12713" fmla="*/ 465688 w 10505529"/>
              <a:gd name="connsiteY12713" fmla="*/ 5440462 h 7458372"/>
              <a:gd name="connsiteX12714" fmla="*/ 248047 w 10505529"/>
              <a:gd name="connsiteY12714" fmla="*/ 5440462 h 7458372"/>
              <a:gd name="connsiteX12715" fmla="*/ 259761 w 10505529"/>
              <a:gd name="connsiteY12715" fmla="*/ 5443124 h 7458372"/>
              <a:gd name="connsiteX12716" fmla="*/ 269079 w 10505529"/>
              <a:gd name="connsiteY12716" fmla="*/ 5449514 h 7458372"/>
              <a:gd name="connsiteX12717" fmla="*/ 275202 w 10505529"/>
              <a:gd name="connsiteY12717" fmla="*/ 5458832 h 7458372"/>
              <a:gd name="connsiteX12718" fmla="*/ 277465 w 10505529"/>
              <a:gd name="connsiteY12718" fmla="*/ 5470280 h 7458372"/>
              <a:gd name="connsiteX12719" fmla="*/ 275202 w 10505529"/>
              <a:gd name="connsiteY12719" fmla="*/ 5481995 h 7458372"/>
              <a:gd name="connsiteX12720" fmla="*/ 269079 w 10505529"/>
              <a:gd name="connsiteY12720" fmla="*/ 5491314 h 7458372"/>
              <a:gd name="connsiteX12721" fmla="*/ 259761 w 10505529"/>
              <a:gd name="connsiteY12721" fmla="*/ 5497570 h 7458372"/>
              <a:gd name="connsiteX12722" fmla="*/ 248047 w 10505529"/>
              <a:gd name="connsiteY12722" fmla="*/ 5499833 h 7458372"/>
              <a:gd name="connsiteX12723" fmla="*/ 226217 w 10505529"/>
              <a:gd name="connsiteY12723" fmla="*/ 5491314 h 7458372"/>
              <a:gd name="connsiteX12724" fmla="*/ 217832 w 10505529"/>
              <a:gd name="connsiteY12724" fmla="*/ 5470147 h 7458372"/>
              <a:gd name="connsiteX12725" fmla="*/ 226217 w 10505529"/>
              <a:gd name="connsiteY12725" fmla="*/ 5449114 h 7458372"/>
              <a:gd name="connsiteX12726" fmla="*/ 248047 w 10505529"/>
              <a:gd name="connsiteY12726" fmla="*/ 5440462 h 7458372"/>
              <a:gd name="connsiteX12727" fmla="*/ 30405 w 10505529"/>
              <a:gd name="connsiteY12727" fmla="*/ 5440462 h 7458372"/>
              <a:gd name="connsiteX12728" fmla="*/ 42120 w 10505529"/>
              <a:gd name="connsiteY12728" fmla="*/ 5443124 h 7458372"/>
              <a:gd name="connsiteX12729" fmla="*/ 51438 w 10505529"/>
              <a:gd name="connsiteY12729" fmla="*/ 5449514 h 7458372"/>
              <a:gd name="connsiteX12730" fmla="*/ 57561 w 10505529"/>
              <a:gd name="connsiteY12730" fmla="*/ 5458832 h 7458372"/>
              <a:gd name="connsiteX12731" fmla="*/ 59825 w 10505529"/>
              <a:gd name="connsiteY12731" fmla="*/ 5470280 h 7458372"/>
              <a:gd name="connsiteX12732" fmla="*/ 57561 w 10505529"/>
              <a:gd name="connsiteY12732" fmla="*/ 5481995 h 7458372"/>
              <a:gd name="connsiteX12733" fmla="*/ 51438 w 10505529"/>
              <a:gd name="connsiteY12733" fmla="*/ 5491314 h 7458372"/>
              <a:gd name="connsiteX12734" fmla="*/ 42120 w 10505529"/>
              <a:gd name="connsiteY12734" fmla="*/ 5497570 h 7458372"/>
              <a:gd name="connsiteX12735" fmla="*/ 30405 w 10505529"/>
              <a:gd name="connsiteY12735" fmla="*/ 5499833 h 7458372"/>
              <a:gd name="connsiteX12736" fmla="*/ 8577 w 10505529"/>
              <a:gd name="connsiteY12736" fmla="*/ 5491314 h 7458372"/>
              <a:gd name="connsiteX12737" fmla="*/ 191 w 10505529"/>
              <a:gd name="connsiteY12737" fmla="*/ 5470147 h 7458372"/>
              <a:gd name="connsiteX12738" fmla="*/ 8577 w 10505529"/>
              <a:gd name="connsiteY12738" fmla="*/ 5449114 h 7458372"/>
              <a:gd name="connsiteX12739" fmla="*/ 30405 w 10505529"/>
              <a:gd name="connsiteY12739" fmla="*/ 5440462 h 7458372"/>
              <a:gd name="connsiteX12740" fmla="*/ 10475977 w 10505529"/>
              <a:gd name="connsiteY12740" fmla="*/ 5239589 h 7458372"/>
              <a:gd name="connsiteX12741" fmla="*/ 10465992 w 10505529"/>
              <a:gd name="connsiteY12741" fmla="*/ 5243183 h 7458372"/>
              <a:gd name="connsiteX12742" fmla="*/ 10462399 w 10505529"/>
              <a:gd name="connsiteY12742" fmla="*/ 5252634 h 7458372"/>
              <a:gd name="connsiteX12743" fmla="*/ 10465992 w 10505529"/>
              <a:gd name="connsiteY12743" fmla="*/ 5262085 h 7458372"/>
              <a:gd name="connsiteX12744" fmla="*/ 10475977 w 10505529"/>
              <a:gd name="connsiteY12744" fmla="*/ 5265548 h 7458372"/>
              <a:gd name="connsiteX12745" fmla="*/ 10481302 w 10505529"/>
              <a:gd name="connsiteY12745" fmla="*/ 5264616 h 7458372"/>
              <a:gd name="connsiteX12746" fmla="*/ 10485029 w 10505529"/>
              <a:gd name="connsiteY12746" fmla="*/ 5262219 h 7458372"/>
              <a:gd name="connsiteX12747" fmla="*/ 10487691 w 10505529"/>
              <a:gd name="connsiteY12747" fmla="*/ 5257959 h 7458372"/>
              <a:gd name="connsiteX12748" fmla="*/ 10488623 w 10505529"/>
              <a:gd name="connsiteY12748" fmla="*/ 5252501 h 7458372"/>
              <a:gd name="connsiteX12749" fmla="*/ 10487691 w 10505529"/>
              <a:gd name="connsiteY12749" fmla="*/ 5247309 h 7458372"/>
              <a:gd name="connsiteX12750" fmla="*/ 10485029 w 10505529"/>
              <a:gd name="connsiteY12750" fmla="*/ 5243183 h 7458372"/>
              <a:gd name="connsiteX12751" fmla="*/ 10481035 w 10505529"/>
              <a:gd name="connsiteY12751" fmla="*/ 5240521 h 7458372"/>
              <a:gd name="connsiteX12752" fmla="*/ 10475977 w 10505529"/>
              <a:gd name="connsiteY12752" fmla="*/ 5239589 h 7458372"/>
              <a:gd name="connsiteX12753" fmla="*/ 10258466 w 10505529"/>
              <a:gd name="connsiteY12753" fmla="*/ 5239589 h 7458372"/>
              <a:gd name="connsiteX12754" fmla="*/ 10248481 w 10505529"/>
              <a:gd name="connsiteY12754" fmla="*/ 5243183 h 7458372"/>
              <a:gd name="connsiteX12755" fmla="*/ 10244887 w 10505529"/>
              <a:gd name="connsiteY12755" fmla="*/ 5252634 h 7458372"/>
              <a:gd name="connsiteX12756" fmla="*/ 10248481 w 10505529"/>
              <a:gd name="connsiteY12756" fmla="*/ 5262085 h 7458372"/>
              <a:gd name="connsiteX12757" fmla="*/ 10258466 w 10505529"/>
              <a:gd name="connsiteY12757" fmla="*/ 5265548 h 7458372"/>
              <a:gd name="connsiteX12758" fmla="*/ 10263790 w 10505529"/>
              <a:gd name="connsiteY12758" fmla="*/ 5264616 h 7458372"/>
              <a:gd name="connsiteX12759" fmla="*/ 10267517 w 10505529"/>
              <a:gd name="connsiteY12759" fmla="*/ 5262219 h 7458372"/>
              <a:gd name="connsiteX12760" fmla="*/ 10270180 w 10505529"/>
              <a:gd name="connsiteY12760" fmla="*/ 5257959 h 7458372"/>
              <a:gd name="connsiteX12761" fmla="*/ 10271112 w 10505529"/>
              <a:gd name="connsiteY12761" fmla="*/ 5252501 h 7458372"/>
              <a:gd name="connsiteX12762" fmla="*/ 10270180 w 10505529"/>
              <a:gd name="connsiteY12762" fmla="*/ 5247309 h 7458372"/>
              <a:gd name="connsiteX12763" fmla="*/ 10267517 w 10505529"/>
              <a:gd name="connsiteY12763" fmla="*/ 5243183 h 7458372"/>
              <a:gd name="connsiteX12764" fmla="*/ 10263524 w 10505529"/>
              <a:gd name="connsiteY12764" fmla="*/ 5240521 h 7458372"/>
              <a:gd name="connsiteX12765" fmla="*/ 10258466 w 10505529"/>
              <a:gd name="connsiteY12765" fmla="*/ 5239589 h 7458372"/>
              <a:gd name="connsiteX12766" fmla="*/ 10040820 w 10505529"/>
              <a:gd name="connsiteY12766" fmla="*/ 5239589 h 7458372"/>
              <a:gd name="connsiteX12767" fmla="*/ 10030835 w 10505529"/>
              <a:gd name="connsiteY12767" fmla="*/ 5243183 h 7458372"/>
              <a:gd name="connsiteX12768" fmla="*/ 10027242 w 10505529"/>
              <a:gd name="connsiteY12768" fmla="*/ 5252634 h 7458372"/>
              <a:gd name="connsiteX12769" fmla="*/ 10030835 w 10505529"/>
              <a:gd name="connsiteY12769" fmla="*/ 5262085 h 7458372"/>
              <a:gd name="connsiteX12770" fmla="*/ 10040820 w 10505529"/>
              <a:gd name="connsiteY12770" fmla="*/ 5265548 h 7458372"/>
              <a:gd name="connsiteX12771" fmla="*/ 10046145 w 10505529"/>
              <a:gd name="connsiteY12771" fmla="*/ 5264616 h 7458372"/>
              <a:gd name="connsiteX12772" fmla="*/ 10049872 w 10505529"/>
              <a:gd name="connsiteY12772" fmla="*/ 5262219 h 7458372"/>
              <a:gd name="connsiteX12773" fmla="*/ 10052534 w 10505529"/>
              <a:gd name="connsiteY12773" fmla="*/ 5257959 h 7458372"/>
              <a:gd name="connsiteX12774" fmla="*/ 10053599 w 10505529"/>
              <a:gd name="connsiteY12774" fmla="*/ 5252501 h 7458372"/>
              <a:gd name="connsiteX12775" fmla="*/ 10052534 w 10505529"/>
              <a:gd name="connsiteY12775" fmla="*/ 5247309 h 7458372"/>
              <a:gd name="connsiteX12776" fmla="*/ 10049872 w 10505529"/>
              <a:gd name="connsiteY12776" fmla="*/ 5243183 h 7458372"/>
              <a:gd name="connsiteX12777" fmla="*/ 10045878 w 10505529"/>
              <a:gd name="connsiteY12777" fmla="*/ 5240521 h 7458372"/>
              <a:gd name="connsiteX12778" fmla="*/ 10040820 w 10505529"/>
              <a:gd name="connsiteY12778" fmla="*/ 5239589 h 7458372"/>
              <a:gd name="connsiteX12779" fmla="*/ 9823176 w 10505529"/>
              <a:gd name="connsiteY12779" fmla="*/ 5239589 h 7458372"/>
              <a:gd name="connsiteX12780" fmla="*/ 9813191 w 10505529"/>
              <a:gd name="connsiteY12780" fmla="*/ 5243183 h 7458372"/>
              <a:gd name="connsiteX12781" fmla="*/ 9809597 w 10505529"/>
              <a:gd name="connsiteY12781" fmla="*/ 5252634 h 7458372"/>
              <a:gd name="connsiteX12782" fmla="*/ 9813191 w 10505529"/>
              <a:gd name="connsiteY12782" fmla="*/ 5262085 h 7458372"/>
              <a:gd name="connsiteX12783" fmla="*/ 9823176 w 10505529"/>
              <a:gd name="connsiteY12783" fmla="*/ 5265548 h 7458372"/>
              <a:gd name="connsiteX12784" fmla="*/ 9828501 w 10505529"/>
              <a:gd name="connsiteY12784" fmla="*/ 5264616 h 7458372"/>
              <a:gd name="connsiteX12785" fmla="*/ 9832227 w 10505529"/>
              <a:gd name="connsiteY12785" fmla="*/ 5262219 h 7458372"/>
              <a:gd name="connsiteX12786" fmla="*/ 9834890 w 10505529"/>
              <a:gd name="connsiteY12786" fmla="*/ 5257959 h 7458372"/>
              <a:gd name="connsiteX12787" fmla="*/ 9835955 w 10505529"/>
              <a:gd name="connsiteY12787" fmla="*/ 5252501 h 7458372"/>
              <a:gd name="connsiteX12788" fmla="*/ 9834890 w 10505529"/>
              <a:gd name="connsiteY12788" fmla="*/ 5247309 h 7458372"/>
              <a:gd name="connsiteX12789" fmla="*/ 9832227 w 10505529"/>
              <a:gd name="connsiteY12789" fmla="*/ 5243183 h 7458372"/>
              <a:gd name="connsiteX12790" fmla="*/ 9828234 w 10505529"/>
              <a:gd name="connsiteY12790" fmla="*/ 5240521 h 7458372"/>
              <a:gd name="connsiteX12791" fmla="*/ 9823176 w 10505529"/>
              <a:gd name="connsiteY12791" fmla="*/ 5239589 h 7458372"/>
              <a:gd name="connsiteX12792" fmla="*/ 9605531 w 10505529"/>
              <a:gd name="connsiteY12792" fmla="*/ 5239589 h 7458372"/>
              <a:gd name="connsiteX12793" fmla="*/ 9595546 w 10505529"/>
              <a:gd name="connsiteY12793" fmla="*/ 5243183 h 7458372"/>
              <a:gd name="connsiteX12794" fmla="*/ 9591952 w 10505529"/>
              <a:gd name="connsiteY12794" fmla="*/ 5252634 h 7458372"/>
              <a:gd name="connsiteX12795" fmla="*/ 9595546 w 10505529"/>
              <a:gd name="connsiteY12795" fmla="*/ 5262085 h 7458372"/>
              <a:gd name="connsiteX12796" fmla="*/ 9605531 w 10505529"/>
              <a:gd name="connsiteY12796" fmla="*/ 5265548 h 7458372"/>
              <a:gd name="connsiteX12797" fmla="*/ 9610855 w 10505529"/>
              <a:gd name="connsiteY12797" fmla="*/ 5264616 h 7458372"/>
              <a:gd name="connsiteX12798" fmla="*/ 9614582 w 10505529"/>
              <a:gd name="connsiteY12798" fmla="*/ 5262219 h 7458372"/>
              <a:gd name="connsiteX12799" fmla="*/ 9617245 w 10505529"/>
              <a:gd name="connsiteY12799" fmla="*/ 5257959 h 7458372"/>
              <a:gd name="connsiteX12800" fmla="*/ 9618309 w 10505529"/>
              <a:gd name="connsiteY12800" fmla="*/ 5252501 h 7458372"/>
              <a:gd name="connsiteX12801" fmla="*/ 9617245 w 10505529"/>
              <a:gd name="connsiteY12801" fmla="*/ 5247309 h 7458372"/>
              <a:gd name="connsiteX12802" fmla="*/ 9614582 w 10505529"/>
              <a:gd name="connsiteY12802" fmla="*/ 5243183 h 7458372"/>
              <a:gd name="connsiteX12803" fmla="*/ 9610589 w 10505529"/>
              <a:gd name="connsiteY12803" fmla="*/ 5240521 h 7458372"/>
              <a:gd name="connsiteX12804" fmla="*/ 9605531 w 10505529"/>
              <a:gd name="connsiteY12804" fmla="*/ 5239589 h 7458372"/>
              <a:gd name="connsiteX12805" fmla="*/ 9387885 w 10505529"/>
              <a:gd name="connsiteY12805" fmla="*/ 5239589 h 7458372"/>
              <a:gd name="connsiteX12806" fmla="*/ 9377900 w 10505529"/>
              <a:gd name="connsiteY12806" fmla="*/ 5243183 h 7458372"/>
              <a:gd name="connsiteX12807" fmla="*/ 9374307 w 10505529"/>
              <a:gd name="connsiteY12807" fmla="*/ 5252634 h 7458372"/>
              <a:gd name="connsiteX12808" fmla="*/ 9377900 w 10505529"/>
              <a:gd name="connsiteY12808" fmla="*/ 5262085 h 7458372"/>
              <a:gd name="connsiteX12809" fmla="*/ 9387885 w 10505529"/>
              <a:gd name="connsiteY12809" fmla="*/ 5265548 h 7458372"/>
              <a:gd name="connsiteX12810" fmla="*/ 9393210 w 10505529"/>
              <a:gd name="connsiteY12810" fmla="*/ 5264616 h 7458372"/>
              <a:gd name="connsiteX12811" fmla="*/ 9396937 w 10505529"/>
              <a:gd name="connsiteY12811" fmla="*/ 5262219 h 7458372"/>
              <a:gd name="connsiteX12812" fmla="*/ 9399599 w 10505529"/>
              <a:gd name="connsiteY12812" fmla="*/ 5257959 h 7458372"/>
              <a:gd name="connsiteX12813" fmla="*/ 9400664 w 10505529"/>
              <a:gd name="connsiteY12813" fmla="*/ 5252501 h 7458372"/>
              <a:gd name="connsiteX12814" fmla="*/ 9399599 w 10505529"/>
              <a:gd name="connsiteY12814" fmla="*/ 5247309 h 7458372"/>
              <a:gd name="connsiteX12815" fmla="*/ 9396937 w 10505529"/>
              <a:gd name="connsiteY12815" fmla="*/ 5243183 h 7458372"/>
              <a:gd name="connsiteX12816" fmla="*/ 9392943 w 10505529"/>
              <a:gd name="connsiteY12816" fmla="*/ 5240521 h 7458372"/>
              <a:gd name="connsiteX12817" fmla="*/ 9387885 w 10505529"/>
              <a:gd name="connsiteY12817" fmla="*/ 5239589 h 7458372"/>
              <a:gd name="connsiteX12818" fmla="*/ 9170374 w 10505529"/>
              <a:gd name="connsiteY12818" fmla="*/ 5239589 h 7458372"/>
              <a:gd name="connsiteX12819" fmla="*/ 9160389 w 10505529"/>
              <a:gd name="connsiteY12819" fmla="*/ 5243183 h 7458372"/>
              <a:gd name="connsiteX12820" fmla="*/ 9156795 w 10505529"/>
              <a:gd name="connsiteY12820" fmla="*/ 5252634 h 7458372"/>
              <a:gd name="connsiteX12821" fmla="*/ 9160389 w 10505529"/>
              <a:gd name="connsiteY12821" fmla="*/ 5262085 h 7458372"/>
              <a:gd name="connsiteX12822" fmla="*/ 9170374 w 10505529"/>
              <a:gd name="connsiteY12822" fmla="*/ 5265548 h 7458372"/>
              <a:gd name="connsiteX12823" fmla="*/ 9175698 w 10505529"/>
              <a:gd name="connsiteY12823" fmla="*/ 5264616 h 7458372"/>
              <a:gd name="connsiteX12824" fmla="*/ 9179425 w 10505529"/>
              <a:gd name="connsiteY12824" fmla="*/ 5262219 h 7458372"/>
              <a:gd name="connsiteX12825" fmla="*/ 9182088 w 10505529"/>
              <a:gd name="connsiteY12825" fmla="*/ 5257959 h 7458372"/>
              <a:gd name="connsiteX12826" fmla="*/ 9183152 w 10505529"/>
              <a:gd name="connsiteY12826" fmla="*/ 5252501 h 7458372"/>
              <a:gd name="connsiteX12827" fmla="*/ 9182088 w 10505529"/>
              <a:gd name="connsiteY12827" fmla="*/ 5247309 h 7458372"/>
              <a:gd name="connsiteX12828" fmla="*/ 9179425 w 10505529"/>
              <a:gd name="connsiteY12828" fmla="*/ 5243183 h 7458372"/>
              <a:gd name="connsiteX12829" fmla="*/ 9175432 w 10505529"/>
              <a:gd name="connsiteY12829" fmla="*/ 5240521 h 7458372"/>
              <a:gd name="connsiteX12830" fmla="*/ 9170374 w 10505529"/>
              <a:gd name="connsiteY12830" fmla="*/ 5239589 h 7458372"/>
              <a:gd name="connsiteX12831" fmla="*/ 8952728 w 10505529"/>
              <a:gd name="connsiteY12831" fmla="*/ 5239589 h 7458372"/>
              <a:gd name="connsiteX12832" fmla="*/ 8942743 w 10505529"/>
              <a:gd name="connsiteY12832" fmla="*/ 5243183 h 7458372"/>
              <a:gd name="connsiteX12833" fmla="*/ 8939150 w 10505529"/>
              <a:gd name="connsiteY12833" fmla="*/ 5252634 h 7458372"/>
              <a:gd name="connsiteX12834" fmla="*/ 8942743 w 10505529"/>
              <a:gd name="connsiteY12834" fmla="*/ 5262085 h 7458372"/>
              <a:gd name="connsiteX12835" fmla="*/ 8952728 w 10505529"/>
              <a:gd name="connsiteY12835" fmla="*/ 5265548 h 7458372"/>
              <a:gd name="connsiteX12836" fmla="*/ 8958053 w 10505529"/>
              <a:gd name="connsiteY12836" fmla="*/ 5264616 h 7458372"/>
              <a:gd name="connsiteX12837" fmla="*/ 8961780 w 10505529"/>
              <a:gd name="connsiteY12837" fmla="*/ 5262219 h 7458372"/>
              <a:gd name="connsiteX12838" fmla="*/ 8964442 w 10505529"/>
              <a:gd name="connsiteY12838" fmla="*/ 5257959 h 7458372"/>
              <a:gd name="connsiteX12839" fmla="*/ 8965507 w 10505529"/>
              <a:gd name="connsiteY12839" fmla="*/ 5252501 h 7458372"/>
              <a:gd name="connsiteX12840" fmla="*/ 8964442 w 10505529"/>
              <a:gd name="connsiteY12840" fmla="*/ 5247309 h 7458372"/>
              <a:gd name="connsiteX12841" fmla="*/ 8961780 w 10505529"/>
              <a:gd name="connsiteY12841" fmla="*/ 5243183 h 7458372"/>
              <a:gd name="connsiteX12842" fmla="*/ 8957786 w 10505529"/>
              <a:gd name="connsiteY12842" fmla="*/ 5240521 h 7458372"/>
              <a:gd name="connsiteX12843" fmla="*/ 8952728 w 10505529"/>
              <a:gd name="connsiteY12843" fmla="*/ 5239589 h 7458372"/>
              <a:gd name="connsiteX12844" fmla="*/ 8735083 w 10505529"/>
              <a:gd name="connsiteY12844" fmla="*/ 5239589 h 7458372"/>
              <a:gd name="connsiteX12845" fmla="*/ 8725098 w 10505529"/>
              <a:gd name="connsiteY12845" fmla="*/ 5243183 h 7458372"/>
              <a:gd name="connsiteX12846" fmla="*/ 8721504 w 10505529"/>
              <a:gd name="connsiteY12846" fmla="*/ 5252634 h 7458372"/>
              <a:gd name="connsiteX12847" fmla="*/ 8725098 w 10505529"/>
              <a:gd name="connsiteY12847" fmla="*/ 5262085 h 7458372"/>
              <a:gd name="connsiteX12848" fmla="*/ 8735083 w 10505529"/>
              <a:gd name="connsiteY12848" fmla="*/ 5265548 h 7458372"/>
              <a:gd name="connsiteX12849" fmla="*/ 8740407 w 10505529"/>
              <a:gd name="connsiteY12849" fmla="*/ 5264616 h 7458372"/>
              <a:gd name="connsiteX12850" fmla="*/ 8744134 w 10505529"/>
              <a:gd name="connsiteY12850" fmla="*/ 5262219 h 7458372"/>
              <a:gd name="connsiteX12851" fmla="*/ 8746797 w 10505529"/>
              <a:gd name="connsiteY12851" fmla="*/ 5257959 h 7458372"/>
              <a:gd name="connsiteX12852" fmla="*/ 8747862 w 10505529"/>
              <a:gd name="connsiteY12852" fmla="*/ 5252501 h 7458372"/>
              <a:gd name="connsiteX12853" fmla="*/ 8746797 w 10505529"/>
              <a:gd name="connsiteY12853" fmla="*/ 5247309 h 7458372"/>
              <a:gd name="connsiteX12854" fmla="*/ 8744134 w 10505529"/>
              <a:gd name="connsiteY12854" fmla="*/ 5243183 h 7458372"/>
              <a:gd name="connsiteX12855" fmla="*/ 8740141 w 10505529"/>
              <a:gd name="connsiteY12855" fmla="*/ 5240521 h 7458372"/>
              <a:gd name="connsiteX12856" fmla="*/ 8735083 w 10505529"/>
              <a:gd name="connsiteY12856" fmla="*/ 5239589 h 7458372"/>
              <a:gd name="connsiteX12857" fmla="*/ 8517438 w 10505529"/>
              <a:gd name="connsiteY12857" fmla="*/ 5239589 h 7458372"/>
              <a:gd name="connsiteX12858" fmla="*/ 8507453 w 10505529"/>
              <a:gd name="connsiteY12858" fmla="*/ 5243183 h 7458372"/>
              <a:gd name="connsiteX12859" fmla="*/ 8503860 w 10505529"/>
              <a:gd name="connsiteY12859" fmla="*/ 5252634 h 7458372"/>
              <a:gd name="connsiteX12860" fmla="*/ 8507453 w 10505529"/>
              <a:gd name="connsiteY12860" fmla="*/ 5262085 h 7458372"/>
              <a:gd name="connsiteX12861" fmla="*/ 8517438 w 10505529"/>
              <a:gd name="connsiteY12861" fmla="*/ 5265548 h 7458372"/>
              <a:gd name="connsiteX12862" fmla="*/ 8522763 w 10505529"/>
              <a:gd name="connsiteY12862" fmla="*/ 5264616 h 7458372"/>
              <a:gd name="connsiteX12863" fmla="*/ 8526490 w 10505529"/>
              <a:gd name="connsiteY12863" fmla="*/ 5262219 h 7458372"/>
              <a:gd name="connsiteX12864" fmla="*/ 8529152 w 10505529"/>
              <a:gd name="connsiteY12864" fmla="*/ 5257959 h 7458372"/>
              <a:gd name="connsiteX12865" fmla="*/ 8530084 w 10505529"/>
              <a:gd name="connsiteY12865" fmla="*/ 5252501 h 7458372"/>
              <a:gd name="connsiteX12866" fmla="*/ 8529152 w 10505529"/>
              <a:gd name="connsiteY12866" fmla="*/ 5247309 h 7458372"/>
              <a:gd name="connsiteX12867" fmla="*/ 8526490 w 10505529"/>
              <a:gd name="connsiteY12867" fmla="*/ 5243183 h 7458372"/>
              <a:gd name="connsiteX12868" fmla="*/ 8522496 w 10505529"/>
              <a:gd name="connsiteY12868" fmla="*/ 5240521 h 7458372"/>
              <a:gd name="connsiteX12869" fmla="*/ 8517438 w 10505529"/>
              <a:gd name="connsiteY12869" fmla="*/ 5239589 h 7458372"/>
              <a:gd name="connsiteX12870" fmla="*/ 8299793 w 10505529"/>
              <a:gd name="connsiteY12870" fmla="*/ 5239589 h 7458372"/>
              <a:gd name="connsiteX12871" fmla="*/ 8289809 w 10505529"/>
              <a:gd name="connsiteY12871" fmla="*/ 5243183 h 7458372"/>
              <a:gd name="connsiteX12872" fmla="*/ 8286215 w 10505529"/>
              <a:gd name="connsiteY12872" fmla="*/ 5252634 h 7458372"/>
              <a:gd name="connsiteX12873" fmla="*/ 8289809 w 10505529"/>
              <a:gd name="connsiteY12873" fmla="*/ 5262085 h 7458372"/>
              <a:gd name="connsiteX12874" fmla="*/ 8299793 w 10505529"/>
              <a:gd name="connsiteY12874" fmla="*/ 5265548 h 7458372"/>
              <a:gd name="connsiteX12875" fmla="*/ 8305118 w 10505529"/>
              <a:gd name="connsiteY12875" fmla="*/ 5264616 h 7458372"/>
              <a:gd name="connsiteX12876" fmla="*/ 8308844 w 10505529"/>
              <a:gd name="connsiteY12876" fmla="*/ 5262219 h 7458372"/>
              <a:gd name="connsiteX12877" fmla="*/ 8311507 w 10505529"/>
              <a:gd name="connsiteY12877" fmla="*/ 5257959 h 7458372"/>
              <a:gd name="connsiteX12878" fmla="*/ 8312439 w 10505529"/>
              <a:gd name="connsiteY12878" fmla="*/ 5252501 h 7458372"/>
              <a:gd name="connsiteX12879" fmla="*/ 8311507 w 10505529"/>
              <a:gd name="connsiteY12879" fmla="*/ 5247309 h 7458372"/>
              <a:gd name="connsiteX12880" fmla="*/ 8308844 w 10505529"/>
              <a:gd name="connsiteY12880" fmla="*/ 5243183 h 7458372"/>
              <a:gd name="connsiteX12881" fmla="*/ 8304851 w 10505529"/>
              <a:gd name="connsiteY12881" fmla="*/ 5240521 h 7458372"/>
              <a:gd name="connsiteX12882" fmla="*/ 8299793 w 10505529"/>
              <a:gd name="connsiteY12882" fmla="*/ 5239589 h 7458372"/>
              <a:gd name="connsiteX12883" fmla="*/ 8082281 w 10505529"/>
              <a:gd name="connsiteY12883" fmla="*/ 5239589 h 7458372"/>
              <a:gd name="connsiteX12884" fmla="*/ 8072297 w 10505529"/>
              <a:gd name="connsiteY12884" fmla="*/ 5243183 h 7458372"/>
              <a:gd name="connsiteX12885" fmla="*/ 8068703 w 10505529"/>
              <a:gd name="connsiteY12885" fmla="*/ 5252634 h 7458372"/>
              <a:gd name="connsiteX12886" fmla="*/ 8072297 w 10505529"/>
              <a:gd name="connsiteY12886" fmla="*/ 5262085 h 7458372"/>
              <a:gd name="connsiteX12887" fmla="*/ 8082281 w 10505529"/>
              <a:gd name="connsiteY12887" fmla="*/ 5265548 h 7458372"/>
              <a:gd name="connsiteX12888" fmla="*/ 8087605 w 10505529"/>
              <a:gd name="connsiteY12888" fmla="*/ 5264616 h 7458372"/>
              <a:gd name="connsiteX12889" fmla="*/ 8091332 w 10505529"/>
              <a:gd name="connsiteY12889" fmla="*/ 5262219 h 7458372"/>
              <a:gd name="connsiteX12890" fmla="*/ 8093994 w 10505529"/>
              <a:gd name="connsiteY12890" fmla="*/ 5257959 h 7458372"/>
              <a:gd name="connsiteX12891" fmla="*/ 8094926 w 10505529"/>
              <a:gd name="connsiteY12891" fmla="*/ 5252501 h 7458372"/>
              <a:gd name="connsiteX12892" fmla="*/ 8093994 w 10505529"/>
              <a:gd name="connsiteY12892" fmla="*/ 5247309 h 7458372"/>
              <a:gd name="connsiteX12893" fmla="*/ 8091332 w 10505529"/>
              <a:gd name="connsiteY12893" fmla="*/ 5243183 h 7458372"/>
              <a:gd name="connsiteX12894" fmla="*/ 8087338 w 10505529"/>
              <a:gd name="connsiteY12894" fmla="*/ 5240521 h 7458372"/>
              <a:gd name="connsiteX12895" fmla="*/ 8082281 w 10505529"/>
              <a:gd name="connsiteY12895" fmla="*/ 5239589 h 7458372"/>
              <a:gd name="connsiteX12896" fmla="*/ 7864636 w 10505529"/>
              <a:gd name="connsiteY12896" fmla="*/ 5239589 h 7458372"/>
              <a:gd name="connsiteX12897" fmla="*/ 7854652 w 10505529"/>
              <a:gd name="connsiteY12897" fmla="*/ 5243183 h 7458372"/>
              <a:gd name="connsiteX12898" fmla="*/ 7851058 w 10505529"/>
              <a:gd name="connsiteY12898" fmla="*/ 5252634 h 7458372"/>
              <a:gd name="connsiteX12899" fmla="*/ 7854652 w 10505529"/>
              <a:gd name="connsiteY12899" fmla="*/ 5262085 h 7458372"/>
              <a:gd name="connsiteX12900" fmla="*/ 7864636 w 10505529"/>
              <a:gd name="connsiteY12900" fmla="*/ 5265548 h 7458372"/>
              <a:gd name="connsiteX12901" fmla="*/ 7869961 w 10505529"/>
              <a:gd name="connsiteY12901" fmla="*/ 5264616 h 7458372"/>
              <a:gd name="connsiteX12902" fmla="*/ 7873687 w 10505529"/>
              <a:gd name="connsiteY12902" fmla="*/ 5262219 h 7458372"/>
              <a:gd name="connsiteX12903" fmla="*/ 7876350 w 10505529"/>
              <a:gd name="connsiteY12903" fmla="*/ 5257959 h 7458372"/>
              <a:gd name="connsiteX12904" fmla="*/ 7877282 w 10505529"/>
              <a:gd name="connsiteY12904" fmla="*/ 5252501 h 7458372"/>
              <a:gd name="connsiteX12905" fmla="*/ 7876350 w 10505529"/>
              <a:gd name="connsiteY12905" fmla="*/ 5247309 h 7458372"/>
              <a:gd name="connsiteX12906" fmla="*/ 7873687 w 10505529"/>
              <a:gd name="connsiteY12906" fmla="*/ 5243183 h 7458372"/>
              <a:gd name="connsiteX12907" fmla="*/ 7869694 w 10505529"/>
              <a:gd name="connsiteY12907" fmla="*/ 5240521 h 7458372"/>
              <a:gd name="connsiteX12908" fmla="*/ 7864636 w 10505529"/>
              <a:gd name="connsiteY12908" fmla="*/ 5239589 h 7458372"/>
              <a:gd name="connsiteX12909" fmla="*/ 7646991 w 10505529"/>
              <a:gd name="connsiteY12909" fmla="*/ 5239589 h 7458372"/>
              <a:gd name="connsiteX12910" fmla="*/ 7637007 w 10505529"/>
              <a:gd name="connsiteY12910" fmla="*/ 5243183 h 7458372"/>
              <a:gd name="connsiteX12911" fmla="*/ 7633413 w 10505529"/>
              <a:gd name="connsiteY12911" fmla="*/ 5252634 h 7458372"/>
              <a:gd name="connsiteX12912" fmla="*/ 7637007 w 10505529"/>
              <a:gd name="connsiteY12912" fmla="*/ 5262085 h 7458372"/>
              <a:gd name="connsiteX12913" fmla="*/ 7646991 w 10505529"/>
              <a:gd name="connsiteY12913" fmla="*/ 5265548 h 7458372"/>
              <a:gd name="connsiteX12914" fmla="*/ 7652315 w 10505529"/>
              <a:gd name="connsiteY12914" fmla="*/ 5264616 h 7458372"/>
              <a:gd name="connsiteX12915" fmla="*/ 7656042 w 10505529"/>
              <a:gd name="connsiteY12915" fmla="*/ 5262219 h 7458372"/>
              <a:gd name="connsiteX12916" fmla="*/ 7658705 w 10505529"/>
              <a:gd name="connsiteY12916" fmla="*/ 5257959 h 7458372"/>
              <a:gd name="connsiteX12917" fmla="*/ 7659769 w 10505529"/>
              <a:gd name="connsiteY12917" fmla="*/ 5252501 h 7458372"/>
              <a:gd name="connsiteX12918" fmla="*/ 7658705 w 10505529"/>
              <a:gd name="connsiteY12918" fmla="*/ 5247309 h 7458372"/>
              <a:gd name="connsiteX12919" fmla="*/ 7656042 w 10505529"/>
              <a:gd name="connsiteY12919" fmla="*/ 5243183 h 7458372"/>
              <a:gd name="connsiteX12920" fmla="*/ 7652049 w 10505529"/>
              <a:gd name="connsiteY12920" fmla="*/ 5240521 h 7458372"/>
              <a:gd name="connsiteX12921" fmla="*/ 7646991 w 10505529"/>
              <a:gd name="connsiteY12921" fmla="*/ 5239589 h 7458372"/>
              <a:gd name="connsiteX12922" fmla="*/ 7429345 w 10505529"/>
              <a:gd name="connsiteY12922" fmla="*/ 5239589 h 7458372"/>
              <a:gd name="connsiteX12923" fmla="*/ 7419361 w 10505529"/>
              <a:gd name="connsiteY12923" fmla="*/ 5243183 h 7458372"/>
              <a:gd name="connsiteX12924" fmla="*/ 7415768 w 10505529"/>
              <a:gd name="connsiteY12924" fmla="*/ 5252634 h 7458372"/>
              <a:gd name="connsiteX12925" fmla="*/ 7419361 w 10505529"/>
              <a:gd name="connsiteY12925" fmla="*/ 5262085 h 7458372"/>
              <a:gd name="connsiteX12926" fmla="*/ 7429345 w 10505529"/>
              <a:gd name="connsiteY12926" fmla="*/ 5265548 h 7458372"/>
              <a:gd name="connsiteX12927" fmla="*/ 7434670 w 10505529"/>
              <a:gd name="connsiteY12927" fmla="*/ 5264616 h 7458372"/>
              <a:gd name="connsiteX12928" fmla="*/ 7438397 w 10505529"/>
              <a:gd name="connsiteY12928" fmla="*/ 5262219 h 7458372"/>
              <a:gd name="connsiteX12929" fmla="*/ 7441059 w 10505529"/>
              <a:gd name="connsiteY12929" fmla="*/ 5257959 h 7458372"/>
              <a:gd name="connsiteX12930" fmla="*/ 7442124 w 10505529"/>
              <a:gd name="connsiteY12930" fmla="*/ 5252501 h 7458372"/>
              <a:gd name="connsiteX12931" fmla="*/ 7441059 w 10505529"/>
              <a:gd name="connsiteY12931" fmla="*/ 5247309 h 7458372"/>
              <a:gd name="connsiteX12932" fmla="*/ 7438397 w 10505529"/>
              <a:gd name="connsiteY12932" fmla="*/ 5243183 h 7458372"/>
              <a:gd name="connsiteX12933" fmla="*/ 7434403 w 10505529"/>
              <a:gd name="connsiteY12933" fmla="*/ 5240521 h 7458372"/>
              <a:gd name="connsiteX12934" fmla="*/ 7429345 w 10505529"/>
              <a:gd name="connsiteY12934" fmla="*/ 5239589 h 7458372"/>
              <a:gd name="connsiteX12935" fmla="*/ 7211701 w 10505529"/>
              <a:gd name="connsiteY12935" fmla="*/ 5239589 h 7458372"/>
              <a:gd name="connsiteX12936" fmla="*/ 7201717 w 10505529"/>
              <a:gd name="connsiteY12936" fmla="*/ 5243183 h 7458372"/>
              <a:gd name="connsiteX12937" fmla="*/ 7198123 w 10505529"/>
              <a:gd name="connsiteY12937" fmla="*/ 5252634 h 7458372"/>
              <a:gd name="connsiteX12938" fmla="*/ 7201717 w 10505529"/>
              <a:gd name="connsiteY12938" fmla="*/ 5262085 h 7458372"/>
              <a:gd name="connsiteX12939" fmla="*/ 7211701 w 10505529"/>
              <a:gd name="connsiteY12939" fmla="*/ 5265548 h 7458372"/>
              <a:gd name="connsiteX12940" fmla="*/ 7217026 w 10505529"/>
              <a:gd name="connsiteY12940" fmla="*/ 5264616 h 7458372"/>
              <a:gd name="connsiteX12941" fmla="*/ 7220752 w 10505529"/>
              <a:gd name="connsiteY12941" fmla="*/ 5262219 h 7458372"/>
              <a:gd name="connsiteX12942" fmla="*/ 7223415 w 10505529"/>
              <a:gd name="connsiteY12942" fmla="*/ 5257959 h 7458372"/>
              <a:gd name="connsiteX12943" fmla="*/ 7224480 w 10505529"/>
              <a:gd name="connsiteY12943" fmla="*/ 5252501 h 7458372"/>
              <a:gd name="connsiteX12944" fmla="*/ 7223415 w 10505529"/>
              <a:gd name="connsiteY12944" fmla="*/ 5247309 h 7458372"/>
              <a:gd name="connsiteX12945" fmla="*/ 7220752 w 10505529"/>
              <a:gd name="connsiteY12945" fmla="*/ 5243183 h 7458372"/>
              <a:gd name="connsiteX12946" fmla="*/ 7216759 w 10505529"/>
              <a:gd name="connsiteY12946" fmla="*/ 5240521 h 7458372"/>
              <a:gd name="connsiteX12947" fmla="*/ 7211701 w 10505529"/>
              <a:gd name="connsiteY12947" fmla="*/ 5239589 h 7458372"/>
              <a:gd name="connsiteX12948" fmla="*/ 6994056 w 10505529"/>
              <a:gd name="connsiteY12948" fmla="*/ 5239589 h 7458372"/>
              <a:gd name="connsiteX12949" fmla="*/ 6984072 w 10505529"/>
              <a:gd name="connsiteY12949" fmla="*/ 5243183 h 7458372"/>
              <a:gd name="connsiteX12950" fmla="*/ 6980478 w 10505529"/>
              <a:gd name="connsiteY12950" fmla="*/ 5252634 h 7458372"/>
              <a:gd name="connsiteX12951" fmla="*/ 6984072 w 10505529"/>
              <a:gd name="connsiteY12951" fmla="*/ 5262085 h 7458372"/>
              <a:gd name="connsiteX12952" fmla="*/ 6994056 w 10505529"/>
              <a:gd name="connsiteY12952" fmla="*/ 5265548 h 7458372"/>
              <a:gd name="connsiteX12953" fmla="*/ 6999380 w 10505529"/>
              <a:gd name="connsiteY12953" fmla="*/ 5264616 h 7458372"/>
              <a:gd name="connsiteX12954" fmla="*/ 7003107 w 10505529"/>
              <a:gd name="connsiteY12954" fmla="*/ 5262219 h 7458372"/>
              <a:gd name="connsiteX12955" fmla="*/ 7005769 w 10505529"/>
              <a:gd name="connsiteY12955" fmla="*/ 5257959 h 7458372"/>
              <a:gd name="connsiteX12956" fmla="*/ 7006834 w 10505529"/>
              <a:gd name="connsiteY12956" fmla="*/ 5252501 h 7458372"/>
              <a:gd name="connsiteX12957" fmla="*/ 7005769 w 10505529"/>
              <a:gd name="connsiteY12957" fmla="*/ 5247309 h 7458372"/>
              <a:gd name="connsiteX12958" fmla="*/ 7003107 w 10505529"/>
              <a:gd name="connsiteY12958" fmla="*/ 5243183 h 7458372"/>
              <a:gd name="connsiteX12959" fmla="*/ 6999113 w 10505529"/>
              <a:gd name="connsiteY12959" fmla="*/ 5240521 h 7458372"/>
              <a:gd name="connsiteX12960" fmla="*/ 6994056 w 10505529"/>
              <a:gd name="connsiteY12960" fmla="*/ 5239589 h 7458372"/>
              <a:gd name="connsiteX12961" fmla="*/ 6776544 w 10505529"/>
              <a:gd name="connsiteY12961" fmla="*/ 5239589 h 7458372"/>
              <a:gd name="connsiteX12962" fmla="*/ 6766560 w 10505529"/>
              <a:gd name="connsiteY12962" fmla="*/ 5243183 h 7458372"/>
              <a:gd name="connsiteX12963" fmla="*/ 6762966 w 10505529"/>
              <a:gd name="connsiteY12963" fmla="*/ 5252634 h 7458372"/>
              <a:gd name="connsiteX12964" fmla="*/ 6766560 w 10505529"/>
              <a:gd name="connsiteY12964" fmla="*/ 5262085 h 7458372"/>
              <a:gd name="connsiteX12965" fmla="*/ 6776544 w 10505529"/>
              <a:gd name="connsiteY12965" fmla="*/ 5265548 h 7458372"/>
              <a:gd name="connsiteX12966" fmla="*/ 6781869 w 10505529"/>
              <a:gd name="connsiteY12966" fmla="*/ 5264616 h 7458372"/>
              <a:gd name="connsiteX12967" fmla="*/ 6785595 w 10505529"/>
              <a:gd name="connsiteY12967" fmla="*/ 5262219 h 7458372"/>
              <a:gd name="connsiteX12968" fmla="*/ 6788258 w 10505529"/>
              <a:gd name="connsiteY12968" fmla="*/ 5257959 h 7458372"/>
              <a:gd name="connsiteX12969" fmla="*/ 6789323 w 10505529"/>
              <a:gd name="connsiteY12969" fmla="*/ 5252501 h 7458372"/>
              <a:gd name="connsiteX12970" fmla="*/ 6788258 w 10505529"/>
              <a:gd name="connsiteY12970" fmla="*/ 5247309 h 7458372"/>
              <a:gd name="connsiteX12971" fmla="*/ 6785595 w 10505529"/>
              <a:gd name="connsiteY12971" fmla="*/ 5243183 h 7458372"/>
              <a:gd name="connsiteX12972" fmla="*/ 6781602 w 10505529"/>
              <a:gd name="connsiteY12972" fmla="*/ 5240521 h 7458372"/>
              <a:gd name="connsiteX12973" fmla="*/ 6776544 w 10505529"/>
              <a:gd name="connsiteY12973" fmla="*/ 5239589 h 7458372"/>
              <a:gd name="connsiteX12974" fmla="*/ 6558899 w 10505529"/>
              <a:gd name="connsiteY12974" fmla="*/ 5239589 h 7458372"/>
              <a:gd name="connsiteX12975" fmla="*/ 6548915 w 10505529"/>
              <a:gd name="connsiteY12975" fmla="*/ 5243183 h 7458372"/>
              <a:gd name="connsiteX12976" fmla="*/ 6545321 w 10505529"/>
              <a:gd name="connsiteY12976" fmla="*/ 5252634 h 7458372"/>
              <a:gd name="connsiteX12977" fmla="*/ 6548915 w 10505529"/>
              <a:gd name="connsiteY12977" fmla="*/ 5262085 h 7458372"/>
              <a:gd name="connsiteX12978" fmla="*/ 6558899 w 10505529"/>
              <a:gd name="connsiteY12978" fmla="*/ 5265548 h 7458372"/>
              <a:gd name="connsiteX12979" fmla="*/ 6564223 w 10505529"/>
              <a:gd name="connsiteY12979" fmla="*/ 5264616 h 7458372"/>
              <a:gd name="connsiteX12980" fmla="*/ 6567950 w 10505529"/>
              <a:gd name="connsiteY12980" fmla="*/ 5262219 h 7458372"/>
              <a:gd name="connsiteX12981" fmla="*/ 6570612 w 10505529"/>
              <a:gd name="connsiteY12981" fmla="*/ 5257959 h 7458372"/>
              <a:gd name="connsiteX12982" fmla="*/ 6571677 w 10505529"/>
              <a:gd name="connsiteY12982" fmla="*/ 5252501 h 7458372"/>
              <a:gd name="connsiteX12983" fmla="*/ 6570612 w 10505529"/>
              <a:gd name="connsiteY12983" fmla="*/ 5247309 h 7458372"/>
              <a:gd name="connsiteX12984" fmla="*/ 6567950 w 10505529"/>
              <a:gd name="connsiteY12984" fmla="*/ 5243183 h 7458372"/>
              <a:gd name="connsiteX12985" fmla="*/ 6563956 w 10505529"/>
              <a:gd name="connsiteY12985" fmla="*/ 5240521 h 7458372"/>
              <a:gd name="connsiteX12986" fmla="*/ 6558899 w 10505529"/>
              <a:gd name="connsiteY12986" fmla="*/ 5239589 h 7458372"/>
              <a:gd name="connsiteX12987" fmla="*/ 6341253 w 10505529"/>
              <a:gd name="connsiteY12987" fmla="*/ 5239589 h 7458372"/>
              <a:gd name="connsiteX12988" fmla="*/ 6331270 w 10505529"/>
              <a:gd name="connsiteY12988" fmla="*/ 5243183 h 7458372"/>
              <a:gd name="connsiteX12989" fmla="*/ 6327675 w 10505529"/>
              <a:gd name="connsiteY12989" fmla="*/ 5252634 h 7458372"/>
              <a:gd name="connsiteX12990" fmla="*/ 6331270 w 10505529"/>
              <a:gd name="connsiteY12990" fmla="*/ 5262085 h 7458372"/>
              <a:gd name="connsiteX12991" fmla="*/ 6341253 w 10505529"/>
              <a:gd name="connsiteY12991" fmla="*/ 5265548 h 7458372"/>
              <a:gd name="connsiteX12992" fmla="*/ 6346578 w 10505529"/>
              <a:gd name="connsiteY12992" fmla="*/ 5264616 h 7458372"/>
              <a:gd name="connsiteX12993" fmla="*/ 6350305 w 10505529"/>
              <a:gd name="connsiteY12993" fmla="*/ 5262219 h 7458372"/>
              <a:gd name="connsiteX12994" fmla="*/ 6352968 w 10505529"/>
              <a:gd name="connsiteY12994" fmla="*/ 5257959 h 7458372"/>
              <a:gd name="connsiteX12995" fmla="*/ 6354033 w 10505529"/>
              <a:gd name="connsiteY12995" fmla="*/ 5252501 h 7458372"/>
              <a:gd name="connsiteX12996" fmla="*/ 6352968 w 10505529"/>
              <a:gd name="connsiteY12996" fmla="*/ 5247309 h 7458372"/>
              <a:gd name="connsiteX12997" fmla="*/ 6350305 w 10505529"/>
              <a:gd name="connsiteY12997" fmla="*/ 5243183 h 7458372"/>
              <a:gd name="connsiteX12998" fmla="*/ 6346312 w 10505529"/>
              <a:gd name="connsiteY12998" fmla="*/ 5240521 h 7458372"/>
              <a:gd name="connsiteX12999" fmla="*/ 6341253 w 10505529"/>
              <a:gd name="connsiteY12999" fmla="*/ 5239589 h 7458372"/>
              <a:gd name="connsiteX13000" fmla="*/ 6123608 w 10505529"/>
              <a:gd name="connsiteY13000" fmla="*/ 5239589 h 7458372"/>
              <a:gd name="connsiteX13001" fmla="*/ 6113624 w 10505529"/>
              <a:gd name="connsiteY13001" fmla="*/ 5243183 h 7458372"/>
              <a:gd name="connsiteX13002" fmla="*/ 6110030 w 10505529"/>
              <a:gd name="connsiteY13002" fmla="*/ 5252634 h 7458372"/>
              <a:gd name="connsiteX13003" fmla="*/ 6113624 w 10505529"/>
              <a:gd name="connsiteY13003" fmla="*/ 5262085 h 7458372"/>
              <a:gd name="connsiteX13004" fmla="*/ 6123608 w 10505529"/>
              <a:gd name="connsiteY13004" fmla="*/ 5265548 h 7458372"/>
              <a:gd name="connsiteX13005" fmla="*/ 6128932 w 10505529"/>
              <a:gd name="connsiteY13005" fmla="*/ 5264616 h 7458372"/>
              <a:gd name="connsiteX13006" fmla="*/ 6132659 w 10505529"/>
              <a:gd name="connsiteY13006" fmla="*/ 5262219 h 7458372"/>
              <a:gd name="connsiteX13007" fmla="*/ 6135322 w 10505529"/>
              <a:gd name="connsiteY13007" fmla="*/ 5257959 h 7458372"/>
              <a:gd name="connsiteX13008" fmla="*/ 6136387 w 10505529"/>
              <a:gd name="connsiteY13008" fmla="*/ 5252501 h 7458372"/>
              <a:gd name="connsiteX13009" fmla="*/ 6135322 w 10505529"/>
              <a:gd name="connsiteY13009" fmla="*/ 5247309 h 7458372"/>
              <a:gd name="connsiteX13010" fmla="*/ 6132659 w 10505529"/>
              <a:gd name="connsiteY13010" fmla="*/ 5243183 h 7458372"/>
              <a:gd name="connsiteX13011" fmla="*/ 6128666 w 10505529"/>
              <a:gd name="connsiteY13011" fmla="*/ 5240521 h 7458372"/>
              <a:gd name="connsiteX13012" fmla="*/ 6123608 w 10505529"/>
              <a:gd name="connsiteY13012" fmla="*/ 5239589 h 7458372"/>
              <a:gd name="connsiteX13013" fmla="*/ 5905963 w 10505529"/>
              <a:gd name="connsiteY13013" fmla="*/ 5239589 h 7458372"/>
              <a:gd name="connsiteX13014" fmla="*/ 5895979 w 10505529"/>
              <a:gd name="connsiteY13014" fmla="*/ 5243183 h 7458372"/>
              <a:gd name="connsiteX13015" fmla="*/ 5892385 w 10505529"/>
              <a:gd name="connsiteY13015" fmla="*/ 5252634 h 7458372"/>
              <a:gd name="connsiteX13016" fmla="*/ 5895979 w 10505529"/>
              <a:gd name="connsiteY13016" fmla="*/ 5262085 h 7458372"/>
              <a:gd name="connsiteX13017" fmla="*/ 5905963 w 10505529"/>
              <a:gd name="connsiteY13017" fmla="*/ 5265548 h 7458372"/>
              <a:gd name="connsiteX13018" fmla="*/ 5911287 w 10505529"/>
              <a:gd name="connsiteY13018" fmla="*/ 5264616 h 7458372"/>
              <a:gd name="connsiteX13019" fmla="*/ 5915014 w 10505529"/>
              <a:gd name="connsiteY13019" fmla="*/ 5262219 h 7458372"/>
              <a:gd name="connsiteX13020" fmla="*/ 5917677 w 10505529"/>
              <a:gd name="connsiteY13020" fmla="*/ 5257959 h 7458372"/>
              <a:gd name="connsiteX13021" fmla="*/ 5918742 w 10505529"/>
              <a:gd name="connsiteY13021" fmla="*/ 5252501 h 7458372"/>
              <a:gd name="connsiteX13022" fmla="*/ 5917677 w 10505529"/>
              <a:gd name="connsiteY13022" fmla="*/ 5247309 h 7458372"/>
              <a:gd name="connsiteX13023" fmla="*/ 5915014 w 10505529"/>
              <a:gd name="connsiteY13023" fmla="*/ 5243183 h 7458372"/>
              <a:gd name="connsiteX13024" fmla="*/ 5911021 w 10505529"/>
              <a:gd name="connsiteY13024" fmla="*/ 5240521 h 7458372"/>
              <a:gd name="connsiteX13025" fmla="*/ 5905963 w 10505529"/>
              <a:gd name="connsiteY13025" fmla="*/ 5239589 h 7458372"/>
              <a:gd name="connsiteX13026" fmla="*/ 5688451 w 10505529"/>
              <a:gd name="connsiteY13026" fmla="*/ 5239589 h 7458372"/>
              <a:gd name="connsiteX13027" fmla="*/ 5678467 w 10505529"/>
              <a:gd name="connsiteY13027" fmla="*/ 5243183 h 7458372"/>
              <a:gd name="connsiteX13028" fmla="*/ 5674873 w 10505529"/>
              <a:gd name="connsiteY13028" fmla="*/ 5252634 h 7458372"/>
              <a:gd name="connsiteX13029" fmla="*/ 5678467 w 10505529"/>
              <a:gd name="connsiteY13029" fmla="*/ 5262085 h 7458372"/>
              <a:gd name="connsiteX13030" fmla="*/ 5688451 w 10505529"/>
              <a:gd name="connsiteY13030" fmla="*/ 5265548 h 7458372"/>
              <a:gd name="connsiteX13031" fmla="*/ 5693775 w 10505529"/>
              <a:gd name="connsiteY13031" fmla="*/ 5264616 h 7458372"/>
              <a:gd name="connsiteX13032" fmla="*/ 5697502 w 10505529"/>
              <a:gd name="connsiteY13032" fmla="*/ 5262219 h 7458372"/>
              <a:gd name="connsiteX13033" fmla="*/ 5700165 w 10505529"/>
              <a:gd name="connsiteY13033" fmla="*/ 5257959 h 7458372"/>
              <a:gd name="connsiteX13034" fmla="*/ 5701230 w 10505529"/>
              <a:gd name="connsiteY13034" fmla="*/ 5252501 h 7458372"/>
              <a:gd name="connsiteX13035" fmla="*/ 5700165 w 10505529"/>
              <a:gd name="connsiteY13035" fmla="*/ 5247309 h 7458372"/>
              <a:gd name="connsiteX13036" fmla="*/ 5697502 w 10505529"/>
              <a:gd name="connsiteY13036" fmla="*/ 5243183 h 7458372"/>
              <a:gd name="connsiteX13037" fmla="*/ 5693509 w 10505529"/>
              <a:gd name="connsiteY13037" fmla="*/ 5240521 h 7458372"/>
              <a:gd name="connsiteX13038" fmla="*/ 5688451 w 10505529"/>
              <a:gd name="connsiteY13038" fmla="*/ 5239589 h 7458372"/>
              <a:gd name="connsiteX13039" fmla="*/ 5470806 w 10505529"/>
              <a:gd name="connsiteY13039" fmla="*/ 5239589 h 7458372"/>
              <a:gd name="connsiteX13040" fmla="*/ 5460822 w 10505529"/>
              <a:gd name="connsiteY13040" fmla="*/ 5243183 h 7458372"/>
              <a:gd name="connsiteX13041" fmla="*/ 5457228 w 10505529"/>
              <a:gd name="connsiteY13041" fmla="*/ 5252634 h 7458372"/>
              <a:gd name="connsiteX13042" fmla="*/ 5460822 w 10505529"/>
              <a:gd name="connsiteY13042" fmla="*/ 5262085 h 7458372"/>
              <a:gd name="connsiteX13043" fmla="*/ 5470806 w 10505529"/>
              <a:gd name="connsiteY13043" fmla="*/ 5265548 h 7458372"/>
              <a:gd name="connsiteX13044" fmla="*/ 5476130 w 10505529"/>
              <a:gd name="connsiteY13044" fmla="*/ 5264616 h 7458372"/>
              <a:gd name="connsiteX13045" fmla="*/ 5479857 w 10505529"/>
              <a:gd name="connsiteY13045" fmla="*/ 5262219 h 7458372"/>
              <a:gd name="connsiteX13046" fmla="*/ 5482520 w 10505529"/>
              <a:gd name="connsiteY13046" fmla="*/ 5257959 h 7458372"/>
              <a:gd name="connsiteX13047" fmla="*/ 5483585 w 10505529"/>
              <a:gd name="connsiteY13047" fmla="*/ 5252501 h 7458372"/>
              <a:gd name="connsiteX13048" fmla="*/ 5482520 w 10505529"/>
              <a:gd name="connsiteY13048" fmla="*/ 5247309 h 7458372"/>
              <a:gd name="connsiteX13049" fmla="*/ 5479857 w 10505529"/>
              <a:gd name="connsiteY13049" fmla="*/ 5243183 h 7458372"/>
              <a:gd name="connsiteX13050" fmla="*/ 5475864 w 10505529"/>
              <a:gd name="connsiteY13050" fmla="*/ 5240521 h 7458372"/>
              <a:gd name="connsiteX13051" fmla="*/ 5470806 w 10505529"/>
              <a:gd name="connsiteY13051" fmla="*/ 5239589 h 7458372"/>
              <a:gd name="connsiteX13052" fmla="*/ 5253160 w 10505529"/>
              <a:gd name="connsiteY13052" fmla="*/ 5239589 h 7458372"/>
              <a:gd name="connsiteX13053" fmla="*/ 5243177 w 10505529"/>
              <a:gd name="connsiteY13053" fmla="*/ 5243183 h 7458372"/>
              <a:gd name="connsiteX13054" fmla="*/ 5239583 w 10505529"/>
              <a:gd name="connsiteY13054" fmla="*/ 5252634 h 7458372"/>
              <a:gd name="connsiteX13055" fmla="*/ 5243177 w 10505529"/>
              <a:gd name="connsiteY13055" fmla="*/ 5262085 h 7458372"/>
              <a:gd name="connsiteX13056" fmla="*/ 5253160 w 10505529"/>
              <a:gd name="connsiteY13056" fmla="*/ 5265548 h 7458372"/>
              <a:gd name="connsiteX13057" fmla="*/ 5258485 w 10505529"/>
              <a:gd name="connsiteY13057" fmla="*/ 5264616 h 7458372"/>
              <a:gd name="connsiteX13058" fmla="*/ 5262212 w 10505529"/>
              <a:gd name="connsiteY13058" fmla="*/ 5262219 h 7458372"/>
              <a:gd name="connsiteX13059" fmla="*/ 5264875 w 10505529"/>
              <a:gd name="connsiteY13059" fmla="*/ 5257959 h 7458372"/>
              <a:gd name="connsiteX13060" fmla="*/ 5265939 w 10505529"/>
              <a:gd name="connsiteY13060" fmla="*/ 5252501 h 7458372"/>
              <a:gd name="connsiteX13061" fmla="*/ 5264875 w 10505529"/>
              <a:gd name="connsiteY13061" fmla="*/ 5247309 h 7458372"/>
              <a:gd name="connsiteX13062" fmla="*/ 5262212 w 10505529"/>
              <a:gd name="connsiteY13062" fmla="*/ 5243183 h 7458372"/>
              <a:gd name="connsiteX13063" fmla="*/ 5258219 w 10505529"/>
              <a:gd name="connsiteY13063" fmla="*/ 5240521 h 7458372"/>
              <a:gd name="connsiteX13064" fmla="*/ 5253160 w 10505529"/>
              <a:gd name="connsiteY13064" fmla="*/ 5239589 h 7458372"/>
              <a:gd name="connsiteX13065" fmla="*/ 5035515 w 10505529"/>
              <a:gd name="connsiteY13065" fmla="*/ 5239589 h 7458372"/>
              <a:gd name="connsiteX13066" fmla="*/ 5025532 w 10505529"/>
              <a:gd name="connsiteY13066" fmla="*/ 5243183 h 7458372"/>
              <a:gd name="connsiteX13067" fmla="*/ 5021938 w 10505529"/>
              <a:gd name="connsiteY13067" fmla="*/ 5252634 h 7458372"/>
              <a:gd name="connsiteX13068" fmla="*/ 5025532 w 10505529"/>
              <a:gd name="connsiteY13068" fmla="*/ 5262085 h 7458372"/>
              <a:gd name="connsiteX13069" fmla="*/ 5035515 w 10505529"/>
              <a:gd name="connsiteY13069" fmla="*/ 5265548 h 7458372"/>
              <a:gd name="connsiteX13070" fmla="*/ 5040840 w 10505529"/>
              <a:gd name="connsiteY13070" fmla="*/ 5264616 h 7458372"/>
              <a:gd name="connsiteX13071" fmla="*/ 5044567 w 10505529"/>
              <a:gd name="connsiteY13071" fmla="*/ 5262219 h 7458372"/>
              <a:gd name="connsiteX13072" fmla="*/ 5047230 w 10505529"/>
              <a:gd name="connsiteY13072" fmla="*/ 5257959 h 7458372"/>
              <a:gd name="connsiteX13073" fmla="*/ 5048294 w 10505529"/>
              <a:gd name="connsiteY13073" fmla="*/ 5252501 h 7458372"/>
              <a:gd name="connsiteX13074" fmla="*/ 5047230 w 10505529"/>
              <a:gd name="connsiteY13074" fmla="*/ 5247309 h 7458372"/>
              <a:gd name="connsiteX13075" fmla="*/ 5044567 w 10505529"/>
              <a:gd name="connsiteY13075" fmla="*/ 5243183 h 7458372"/>
              <a:gd name="connsiteX13076" fmla="*/ 5040574 w 10505529"/>
              <a:gd name="connsiteY13076" fmla="*/ 5240521 h 7458372"/>
              <a:gd name="connsiteX13077" fmla="*/ 5035515 w 10505529"/>
              <a:gd name="connsiteY13077" fmla="*/ 5239589 h 7458372"/>
              <a:gd name="connsiteX13078" fmla="*/ 4817870 w 10505529"/>
              <a:gd name="connsiteY13078" fmla="*/ 5239589 h 7458372"/>
              <a:gd name="connsiteX13079" fmla="*/ 4807887 w 10505529"/>
              <a:gd name="connsiteY13079" fmla="*/ 5243183 h 7458372"/>
              <a:gd name="connsiteX13080" fmla="*/ 4804293 w 10505529"/>
              <a:gd name="connsiteY13080" fmla="*/ 5252634 h 7458372"/>
              <a:gd name="connsiteX13081" fmla="*/ 4807887 w 10505529"/>
              <a:gd name="connsiteY13081" fmla="*/ 5262085 h 7458372"/>
              <a:gd name="connsiteX13082" fmla="*/ 4817870 w 10505529"/>
              <a:gd name="connsiteY13082" fmla="*/ 5265548 h 7458372"/>
              <a:gd name="connsiteX13083" fmla="*/ 4823195 w 10505529"/>
              <a:gd name="connsiteY13083" fmla="*/ 5264616 h 7458372"/>
              <a:gd name="connsiteX13084" fmla="*/ 4826922 w 10505529"/>
              <a:gd name="connsiteY13084" fmla="*/ 5262219 h 7458372"/>
              <a:gd name="connsiteX13085" fmla="*/ 4829585 w 10505529"/>
              <a:gd name="connsiteY13085" fmla="*/ 5257959 h 7458372"/>
              <a:gd name="connsiteX13086" fmla="*/ 4830650 w 10505529"/>
              <a:gd name="connsiteY13086" fmla="*/ 5252501 h 7458372"/>
              <a:gd name="connsiteX13087" fmla="*/ 4829585 w 10505529"/>
              <a:gd name="connsiteY13087" fmla="*/ 5247309 h 7458372"/>
              <a:gd name="connsiteX13088" fmla="*/ 4826922 w 10505529"/>
              <a:gd name="connsiteY13088" fmla="*/ 5243183 h 7458372"/>
              <a:gd name="connsiteX13089" fmla="*/ 4822929 w 10505529"/>
              <a:gd name="connsiteY13089" fmla="*/ 5240521 h 7458372"/>
              <a:gd name="connsiteX13090" fmla="*/ 4817870 w 10505529"/>
              <a:gd name="connsiteY13090" fmla="*/ 5239589 h 7458372"/>
              <a:gd name="connsiteX13091" fmla="*/ 4600226 w 10505529"/>
              <a:gd name="connsiteY13091" fmla="*/ 5239589 h 7458372"/>
              <a:gd name="connsiteX13092" fmla="*/ 4590242 w 10505529"/>
              <a:gd name="connsiteY13092" fmla="*/ 5243183 h 7458372"/>
              <a:gd name="connsiteX13093" fmla="*/ 4586648 w 10505529"/>
              <a:gd name="connsiteY13093" fmla="*/ 5252634 h 7458372"/>
              <a:gd name="connsiteX13094" fmla="*/ 4590242 w 10505529"/>
              <a:gd name="connsiteY13094" fmla="*/ 5262085 h 7458372"/>
              <a:gd name="connsiteX13095" fmla="*/ 4600226 w 10505529"/>
              <a:gd name="connsiteY13095" fmla="*/ 5265548 h 7458372"/>
              <a:gd name="connsiteX13096" fmla="*/ 4605550 w 10505529"/>
              <a:gd name="connsiteY13096" fmla="*/ 5264616 h 7458372"/>
              <a:gd name="connsiteX13097" fmla="*/ 4609277 w 10505529"/>
              <a:gd name="connsiteY13097" fmla="*/ 5262219 h 7458372"/>
              <a:gd name="connsiteX13098" fmla="*/ 4611940 w 10505529"/>
              <a:gd name="connsiteY13098" fmla="*/ 5257959 h 7458372"/>
              <a:gd name="connsiteX13099" fmla="*/ 4613005 w 10505529"/>
              <a:gd name="connsiteY13099" fmla="*/ 5252501 h 7458372"/>
              <a:gd name="connsiteX13100" fmla="*/ 4611940 w 10505529"/>
              <a:gd name="connsiteY13100" fmla="*/ 5247309 h 7458372"/>
              <a:gd name="connsiteX13101" fmla="*/ 4609277 w 10505529"/>
              <a:gd name="connsiteY13101" fmla="*/ 5243183 h 7458372"/>
              <a:gd name="connsiteX13102" fmla="*/ 4605284 w 10505529"/>
              <a:gd name="connsiteY13102" fmla="*/ 5240521 h 7458372"/>
              <a:gd name="connsiteX13103" fmla="*/ 4600226 w 10505529"/>
              <a:gd name="connsiteY13103" fmla="*/ 5239589 h 7458372"/>
              <a:gd name="connsiteX13104" fmla="*/ 4382713 w 10505529"/>
              <a:gd name="connsiteY13104" fmla="*/ 5239589 h 7458372"/>
              <a:gd name="connsiteX13105" fmla="*/ 4372730 w 10505529"/>
              <a:gd name="connsiteY13105" fmla="*/ 5243183 h 7458372"/>
              <a:gd name="connsiteX13106" fmla="*/ 4369136 w 10505529"/>
              <a:gd name="connsiteY13106" fmla="*/ 5252634 h 7458372"/>
              <a:gd name="connsiteX13107" fmla="*/ 4372730 w 10505529"/>
              <a:gd name="connsiteY13107" fmla="*/ 5262085 h 7458372"/>
              <a:gd name="connsiteX13108" fmla="*/ 4382713 w 10505529"/>
              <a:gd name="connsiteY13108" fmla="*/ 5265548 h 7458372"/>
              <a:gd name="connsiteX13109" fmla="*/ 4388038 w 10505529"/>
              <a:gd name="connsiteY13109" fmla="*/ 5264616 h 7458372"/>
              <a:gd name="connsiteX13110" fmla="*/ 4391765 w 10505529"/>
              <a:gd name="connsiteY13110" fmla="*/ 5262219 h 7458372"/>
              <a:gd name="connsiteX13111" fmla="*/ 4394428 w 10505529"/>
              <a:gd name="connsiteY13111" fmla="*/ 5257959 h 7458372"/>
              <a:gd name="connsiteX13112" fmla="*/ 4395493 w 10505529"/>
              <a:gd name="connsiteY13112" fmla="*/ 5252501 h 7458372"/>
              <a:gd name="connsiteX13113" fmla="*/ 4394428 w 10505529"/>
              <a:gd name="connsiteY13113" fmla="*/ 5247309 h 7458372"/>
              <a:gd name="connsiteX13114" fmla="*/ 4391765 w 10505529"/>
              <a:gd name="connsiteY13114" fmla="*/ 5243183 h 7458372"/>
              <a:gd name="connsiteX13115" fmla="*/ 4387772 w 10505529"/>
              <a:gd name="connsiteY13115" fmla="*/ 5240521 h 7458372"/>
              <a:gd name="connsiteX13116" fmla="*/ 4382713 w 10505529"/>
              <a:gd name="connsiteY13116" fmla="*/ 5239589 h 7458372"/>
              <a:gd name="connsiteX13117" fmla="*/ 4165068 w 10505529"/>
              <a:gd name="connsiteY13117" fmla="*/ 5239589 h 7458372"/>
              <a:gd name="connsiteX13118" fmla="*/ 4155084 w 10505529"/>
              <a:gd name="connsiteY13118" fmla="*/ 5243183 h 7458372"/>
              <a:gd name="connsiteX13119" fmla="*/ 4151490 w 10505529"/>
              <a:gd name="connsiteY13119" fmla="*/ 5252634 h 7458372"/>
              <a:gd name="connsiteX13120" fmla="*/ 4155084 w 10505529"/>
              <a:gd name="connsiteY13120" fmla="*/ 5262085 h 7458372"/>
              <a:gd name="connsiteX13121" fmla="*/ 4165068 w 10505529"/>
              <a:gd name="connsiteY13121" fmla="*/ 5265548 h 7458372"/>
              <a:gd name="connsiteX13122" fmla="*/ 4170392 w 10505529"/>
              <a:gd name="connsiteY13122" fmla="*/ 5264616 h 7458372"/>
              <a:gd name="connsiteX13123" fmla="*/ 4174119 w 10505529"/>
              <a:gd name="connsiteY13123" fmla="*/ 5262219 h 7458372"/>
              <a:gd name="connsiteX13124" fmla="*/ 4176782 w 10505529"/>
              <a:gd name="connsiteY13124" fmla="*/ 5257959 h 7458372"/>
              <a:gd name="connsiteX13125" fmla="*/ 4177847 w 10505529"/>
              <a:gd name="connsiteY13125" fmla="*/ 5252501 h 7458372"/>
              <a:gd name="connsiteX13126" fmla="*/ 4176782 w 10505529"/>
              <a:gd name="connsiteY13126" fmla="*/ 5247309 h 7458372"/>
              <a:gd name="connsiteX13127" fmla="*/ 4174119 w 10505529"/>
              <a:gd name="connsiteY13127" fmla="*/ 5243183 h 7458372"/>
              <a:gd name="connsiteX13128" fmla="*/ 4170126 w 10505529"/>
              <a:gd name="connsiteY13128" fmla="*/ 5240521 h 7458372"/>
              <a:gd name="connsiteX13129" fmla="*/ 4165068 w 10505529"/>
              <a:gd name="connsiteY13129" fmla="*/ 5239589 h 7458372"/>
              <a:gd name="connsiteX13130" fmla="*/ 3947709 w 10505529"/>
              <a:gd name="connsiteY13130" fmla="*/ 5239589 h 7458372"/>
              <a:gd name="connsiteX13131" fmla="*/ 3937726 w 10505529"/>
              <a:gd name="connsiteY13131" fmla="*/ 5243183 h 7458372"/>
              <a:gd name="connsiteX13132" fmla="*/ 3934131 w 10505529"/>
              <a:gd name="connsiteY13132" fmla="*/ 5252634 h 7458372"/>
              <a:gd name="connsiteX13133" fmla="*/ 3937726 w 10505529"/>
              <a:gd name="connsiteY13133" fmla="*/ 5262085 h 7458372"/>
              <a:gd name="connsiteX13134" fmla="*/ 3947709 w 10505529"/>
              <a:gd name="connsiteY13134" fmla="*/ 5265548 h 7458372"/>
              <a:gd name="connsiteX13135" fmla="*/ 3953037 w 10505529"/>
              <a:gd name="connsiteY13135" fmla="*/ 5264616 h 7458372"/>
              <a:gd name="connsiteX13136" fmla="*/ 3956764 w 10505529"/>
              <a:gd name="connsiteY13136" fmla="*/ 5262219 h 7458372"/>
              <a:gd name="connsiteX13137" fmla="*/ 3959427 w 10505529"/>
              <a:gd name="connsiteY13137" fmla="*/ 5257959 h 7458372"/>
              <a:gd name="connsiteX13138" fmla="*/ 3960492 w 10505529"/>
              <a:gd name="connsiteY13138" fmla="*/ 5252501 h 7458372"/>
              <a:gd name="connsiteX13139" fmla="*/ 3959427 w 10505529"/>
              <a:gd name="connsiteY13139" fmla="*/ 5247309 h 7458372"/>
              <a:gd name="connsiteX13140" fmla="*/ 3956764 w 10505529"/>
              <a:gd name="connsiteY13140" fmla="*/ 5243183 h 7458372"/>
              <a:gd name="connsiteX13141" fmla="*/ 3952770 w 10505529"/>
              <a:gd name="connsiteY13141" fmla="*/ 5240521 h 7458372"/>
              <a:gd name="connsiteX13142" fmla="*/ 3947709 w 10505529"/>
              <a:gd name="connsiteY13142" fmla="*/ 5239589 h 7458372"/>
              <a:gd name="connsiteX13143" fmla="*/ 3730051 w 10505529"/>
              <a:gd name="connsiteY13143" fmla="*/ 5239589 h 7458372"/>
              <a:gd name="connsiteX13144" fmla="*/ 3720065 w 10505529"/>
              <a:gd name="connsiteY13144" fmla="*/ 5243183 h 7458372"/>
              <a:gd name="connsiteX13145" fmla="*/ 3716472 w 10505529"/>
              <a:gd name="connsiteY13145" fmla="*/ 5252634 h 7458372"/>
              <a:gd name="connsiteX13146" fmla="*/ 3720065 w 10505529"/>
              <a:gd name="connsiteY13146" fmla="*/ 5262085 h 7458372"/>
              <a:gd name="connsiteX13147" fmla="*/ 3730051 w 10505529"/>
              <a:gd name="connsiteY13147" fmla="*/ 5265548 h 7458372"/>
              <a:gd name="connsiteX13148" fmla="*/ 3735376 w 10505529"/>
              <a:gd name="connsiteY13148" fmla="*/ 5264616 h 7458372"/>
              <a:gd name="connsiteX13149" fmla="*/ 3739104 w 10505529"/>
              <a:gd name="connsiteY13149" fmla="*/ 5262219 h 7458372"/>
              <a:gd name="connsiteX13150" fmla="*/ 3741767 w 10505529"/>
              <a:gd name="connsiteY13150" fmla="*/ 5257959 h 7458372"/>
              <a:gd name="connsiteX13151" fmla="*/ 3742831 w 10505529"/>
              <a:gd name="connsiteY13151" fmla="*/ 5252501 h 7458372"/>
              <a:gd name="connsiteX13152" fmla="*/ 3741767 w 10505529"/>
              <a:gd name="connsiteY13152" fmla="*/ 5247309 h 7458372"/>
              <a:gd name="connsiteX13153" fmla="*/ 3739104 w 10505529"/>
              <a:gd name="connsiteY13153" fmla="*/ 5243183 h 7458372"/>
              <a:gd name="connsiteX13154" fmla="*/ 3735111 w 10505529"/>
              <a:gd name="connsiteY13154" fmla="*/ 5240521 h 7458372"/>
              <a:gd name="connsiteX13155" fmla="*/ 3730051 w 10505529"/>
              <a:gd name="connsiteY13155" fmla="*/ 5239589 h 7458372"/>
              <a:gd name="connsiteX13156" fmla="*/ 3512391 w 10505529"/>
              <a:gd name="connsiteY13156" fmla="*/ 5239589 h 7458372"/>
              <a:gd name="connsiteX13157" fmla="*/ 3502403 w 10505529"/>
              <a:gd name="connsiteY13157" fmla="*/ 5243183 h 7458372"/>
              <a:gd name="connsiteX13158" fmla="*/ 3498809 w 10505529"/>
              <a:gd name="connsiteY13158" fmla="*/ 5252634 h 7458372"/>
              <a:gd name="connsiteX13159" fmla="*/ 3502403 w 10505529"/>
              <a:gd name="connsiteY13159" fmla="*/ 5262085 h 7458372"/>
              <a:gd name="connsiteX13160" fmla="*/ 3512391 w 10505529"/>
              <a:gd name="connsiteY13160" fmla="*/ 5265548 h 7458372"/>
              <a:gd name="connsiteX13161" fmla="*/ 3517716 w 10505529"/>
              <a:gd name="connsiteY13161" fmla="*/ 5264616 h 7458372"/>
              <a:gd name="connsiteX13162" fmla="*/ 3521444 w 10505529"/>
              <a:gd name="connsiteY13162" fmla="*/ 5262219 h 7458372"/>
              <a:gd name="connsiteX13163" fmla="*/ 3524107 w 10505529"/>
              <a:gd name="connsiteY13163" fmla="*/ 5257959 h 7458372"/>
              <a:gd name="connsiteX13164" fmla="*/ 3525172 w 10505529"/>
              <a:gd name="connsiteY13164" fmla="*/ 5252501 h 7458372"/>
              <a:gd name="connsiteX13165" fmla="*/ 3524107 w 10505529"/>
              <a:gd name="connsiteY13165" fmla="*/ 5247309 h 7458372"/>
              <a:gd name="connsiteX13166" fmla="*/ 3521444 w 10505529"/>
              <a:gd name="connsiteY13166" fmla="*/ 5243183 h 7458372"/>
              <a:gd name="connsiteX13167" fmla="*/ 3517451 w 10505529"/>
              <a:gd name="connsiteY13167" fmla="*/ 5240521 h 7458372"/>
              <a:gd name="connsiteX13168" fmla="*/ 3512391 w 10505529"/>
              <a:gd name="connsiteY13168" fmla="*/ 5239589 h 7458372"/>
              <a:gd name="connsiteX13169" fmla="*/ 3294865 w 10505529"/>
              <a:gd name="connsiteY13169" fmla="*/ 5239589 h 7458372"/>
              <a:gd name="connsiteX13170" fmla="*/ 3284878 w 10505529"/>
              <a:gd name="connsiteY13170" fmla="*/ 5243183 h 7458372"/>
              <a:gd name="connsiteX13171" fmla="*/ 3281284 w 10505529"/>
              <a:gd name="connsiteY13171" fmla="*/ 5252634 h 7458372"/>
              <a:gd name="connsiteX13172" fmla="*/ 3284878 w 10505529"/>
              <a:gd name="connsiteY13172" fmla="*/ 5262085 h 7458372"/>
              <a:gd name="connsiteX13173" fmla="*/ 3294865 w 10505529"/>
              <a:gd name="connsiteY13173" fmla="*/ 5265548 h 7458372"/>
              <a:gd name="connsiteX13174" fmla="*/ 3300190 w 10505529"/>
              <a:gd name="connsiteY13174" fmla="*/ 5264616 h 7458372"/>
              <a:gd name="connsiteX13175" fmla="*/ 3303917 w 10505529"/>
              <a:gd name="connsiteY13175" fmla="*/ 5262219 h 7458372"/>
              <a:gd name="connsiteX13176" fmla="*/ 3306580 w 10505529"/>
              <a:gd name="connsiteY13176" fmla="*/ 5257959 h 7458372"/>
              <a:gd name="connsiteX13177" fmla="*/ 3307644 w 10505529"/>
              <a:gd name="connsiteY13177" fmla="*/ 5252501 h 7458372"/>
              <a:gd name="connsiteX13178" fmla="*/ 3306580 w 10505529"/>
              <a:gd name="connsiteY13178" fmla="*/ 5247309 h 7458372"/>
              <a:gd name="connsiteX13179" fmla="*/ 3303917 w 10505529"/>
              <a:gd name="connsiteY13179" fmla="*/ 5243183 h 7458372"/>
              <a:gd name="connsiteX13180" fmla="*/ 3299924 w 10505529"/>
              <a:gd name="connsiteY13180" fmla="*/ 5240521 h 7458372"/>
              <a:gd name="connsiteX13181" fmla="*/ 3294865 w 10505529"/>
              <a:gd name="connsiteY13181" fmla="*/ 5239589 h 7458372"/>
              <a:gd name="connsiteX13182" fmla="*/ 3077338 w 10505529"/>
              <a:gd name="connsiteY13182" fmla="*/ 5239589 h 7458372"/>
              <a:gd name="connsiteX13183" fmla="*/ 3067354 w 10505529"/>
              <a:gd name="connsiteY13183" fmla="*/ 5243183 h 7458372"/>
              <a:gd name="connsiteX13184" fmla="*/ 3063623 w 10505529"/>
              <a:gd name="connsiteY13184" fmla="*/ 5252634 h 7458372"/>
              <a:gd name="connsiteX13185" fmla="*/ 3067220 w 10505529"/>
              <a:gd name="connsiteY13185" fmla="*/ 5262085 h 7458372"/>
              <a:gd name="connsiteX13186" fmla="*/ 3077204 w 10505529"/>
              <a:gd name="connsiteY13186" fmla="*/ 5265548 h 7458372"/>
              <a:gd name="connsiteX13187" fmla="*/ 3082663 w 10505529"/>
              <a:gd name="connsiteY13187" fmla="*/ 5264616 h 7458372"/>
              <a:gd name="connsiteX13188" fmla="*/ 3086390 w 10505529"/>
              <a:gd name="connsiteY13188" fmla="*/ 5262219 h 7458372"/>
              <a:gd name="connsiteX13189" fmla="*/ 3089053 w 10505529"/>
              <a:gd name="connsiteY13189" fmla="*/ 5257959 h 7458372"/>
              <a:gd name="connsiteX13190" fmla="*/ 3089985 w 10505529"/>
              <a:gd name="connsiteY13190" fmla="*/ 5252501 h 7458372"/>
              <a:gd name="connsiteX13191" fmla="*/ 3089053 w 10505529"/>
              <a:gd name="connsiteY13191" fmla="*/ 5247309 h 7458372"/>
              <a:gd name="connsiteX13192" fmla="*/ 3086390 w 10505529"/>
              <a:gd name="connsiteY13192" fmla="*/ 5243183 h 7458372"/>
              <a:gd name="connsiteX13193" fmla="*/ 3082397 w 10505529"/>
              <a:gd name="connsiteY13193" fmla="*/ 5240521 h 7458372"/>
              <a:gd name="connsiteX13194" fmla="*/ 3077338 w 10505529"/>
              <a:gd name="connsiteY13194" fmla="*/ 5239589 h 7458372"/>
              <a:gd name="connsiteX13195" fmla="*/ 2859544 w 10505529"/>
              <a:gd name="connsiteY13195" fmla="*/ 5239589 h 7458372"/>
              <a:gd name="connsiteX13196" fmla="*/ 2849558 w 10505529"/>
              <a:gd name="connsiteY13196" fmla="*/ 5243183 h 7458372"/>
              <a:gd name="connsiteX13197" fmla="*/ 2845960 w 10505529"/>
              <a:gd name="connsiteY13197" fmla="*/ 5252634 h 7458372"/>
              <a:gd name="connsiteX13198" fmla="*/ 2849558 w 10505529"/>
              <a:gd name="connsiteY13198" fmla="*/ 5262085 h 7458372"/>
              <a:gd name="connsiteX13199" fmla="*/ 2859544 w 10505529"/>
              <a:gd name="connsiteY13199" fmla="*/ 5265548 h 7458372"/>
              <a:gd name="connsiteX13200" fmla="*/ 2864869 w 10505529"/>
              <a:gd name="connsiteY13200" fmla="*/ 5264616 h 7458372"/>
              <a:gd name="connsiteX13201" fmla="*/ 2868596 w 10505529"/>
              <a:gd name="connsiteY13201" fmla="*/ 5262219 h 7458372"/>
              <a:gd name="connsiteX13202" fmla="*/ 2871259 w 10505529"/>
              <a:gd name="connsiteY13202" fmla="*/ 5257959 h 7458372"/>
              <a:gd name="connsiteX13203" fmla="*/ 2872191 w 10505529"/>
              <a:gd name="connsiteY13203" fmla="*/ 5252501 h 7458372"/>
              <a:gd name="connsiteX13204" fmla="*/ 2871259 w 10505529"/>
              <a:gd name="connsiteY13204" fmla="*/ 5247309 h 7458372"/>
              <a:gd name="connsiteX13205" fmla="*/ 2868596 w 10505529"/>
              <a:gd name="connsiteY13205" fmla="*/ 5243183 h 7458372"/>
              <a:gd name="connsiteX13206" fmla="*/ 2864604 w 10505529"/>
              <a:gd name="connsiteY13206" fmla="*/ 5240521 h 7458372"/>
              <a:gd name="connsiteX13207" fmla="*/ 2859544 w 10505529"/>
              <a:gd name="connsiteY13207" fmla="*/ 5239589 h 7458372"/>
              <a:gd name="connsiteX13208" fmla="*/ 2641884 w 10505529"/>
              <a:gd name="connsiteY13208" fmla="*/ 5239589 h 7458372"/>
              <a:gd name="connsiteX13209" fmla="*/ 2631901 w 10505529"/>
              <a:gd name="connsiteY13209" fmla="*/ 5243183 h 7458372"/>
              <a:gd name="connsiteX13210" fmla="*/ 2628306 w 10505529"/>
              <a:gd name="connsiteY13210" fmla="*/ 5252634 h 7458372"/>
              <a:gd name="connsiteX13211" fmla="*/ 2631901 w 10505529"/>
              <a:gd name="connsiteY13211" fmla="*/ 5262085 h 7458372"/>
              <a:gd name="connsiteX13212" fmla="*/ 2641884 w 10505529"/>
              <a:gd name="connsiteY13212" fmla="*/ 5265548 h 7458372"/>
              <a:gd name="connsiteX13213" fmla="*/ 2647210 w 10505529"/>
              <a:gd name="connsiteY13213" fmla="*/ 5264616 h 7458372"/>
              <a:gd name="connsiteX13214" fmla="*/ 2650937 w 10505529"/>
              <a:gd name="connsiteY13214" fmla="*/ 5262219 h 7458372"/>
              <a:gd name="connsiteX13215" fmla="*/ 2653600 w 10505529"/>
              <a:gd name="connsiteY13215" fmla="*/ 5257959 h 7458372"/>
              <a:gd name="connsiteX13216" fmla="*/ 2654530 w 10505529"/>
              <a:gd name="connsiteY13216" fmla="*/ 5252501 h 7458372"/>
              <a:gd name="connsiteX13217" fmla="*/ 2653600 w 10505529"/>
              <a:gd name="connsiteY13217" fmla="*/ 5247309 h 7458372"/>
              <a:gd name="connsiteX13218" fmla="*/ 2650937 w 10505529"/>
              <a:gd name="connsiteY13218" fmla="*/ 5243183 h 7458372"/>
              <a:gd name="connsiteX13219" fmla="*/ 2646944 w 10505529"/>
              <a:gd name="connsiteY13219" fmla="*/ 5240521 h 7458372"/>
              <a:gd name="connsiteX13220" fmla="*/ 2641884 w 10505529"/>
              <a:gd name="connsiteY13220" fmla="*/ 5239589 h 7458372"/>
              <a:gd name="connsiteX13221" fmla="*/ 2424224 w 10505529"/>
              <a:gd name="connsiteY13221" fmla="*/ 5239589 h 7458372"/>
              <a:gd name="connsiteX13222" fmla="*/ 2414241 w 10505529"/>
              <a:gd name="connsiteY13222" fmla="*/ 5243183 h 7458372"/>
              <a:gd name="connsiteX13223" fmla="*/ 2410647 w 10505529"/>
              <a:gd name="connsiteY13223" fmla="*/ 5252634 h 7458372"/>
              <a:gd name="connsiteX13224" fmla="*/ 2414241 w 10505529"/>
              <a:gd name="connsiteY13224" fmla="*/ 5262085 h 7458372"/>
              <a:gd name="connsiteX13225" fmla="*/ 2424224 w 10505529"/>
              <a:gd name="connsiteY13225" fmla="*/ 5265548 h 7458372"/>
              <a:gd name="connsiteX13226" fmla="*/ 2429549 w 10505529"/>
              <a:gd name="connsiteY13226" fmla="*/ 5264616 h 7458372"/>
              <a:gd name="connsiteX13227" fmla="*/ 2433276 w 10505529"/>
              <a:gd name="connsiteY13227" fmla="*/ 5262219 h 7458372"/>
              <a:gd name="connsiteX13228" fmla="*/ 2435939 w 10505529"/>
              <a:gd name="connsiteY13228" fmla="*/ 5257959 h 7458372"/>
              <a:gd name="connsiteX13229" fmla="*/ 2436870 w 10505529"/>
              <a:gd name="connsiteY13229" fmla="*/ 5252501 h 7458372"/>
              <a:gd name="connsiteX13230" fmla="*/ 2435939 w 10505529"/>
              <a:gd name="connsiteY13230" fmla="*/ 5247309 h 7458372"/>
              <a:gd name="connsiteX13231" fmla="*/ 2433276 w 10505529"/>
              <a:gd name="connsiteY13231" fmla="*/ 5243183 h 7458372"/>
              <a:gd name="connsiteX13232" fmla="*/ 2429283 w 10505529"/>
              <a:gd name="connsiteY13232" fmla="*/ 5240521 h 7458372"/>
              <a:gd name="connsiteX13233" fmla="*/ 2424224 w 10505529"/>
              <a:gd name="connsiteY13233" fmla="*/ 5239589 h 7458372"/>
              <a:gd name="connsiteX13234" fmla="*/ 2206564 w 10505529"/>
              <a:gd name="connsiteY13234" fmla="*/ 5239589 h 7458372"/>
              <a:gd name="connsiteX13235" fmla="*/ 2196580 w 10505529"/>
              <a:gd name="connsiteY13235" fmla="*/ 5243183 h 7458372"/>
              <a:gd name="connsiteX13236" fmla="*/ 2192986 w 10505529"/>
              <a:gd name="connsiteY13236" fmla="*/ 5252634 h 7458372"/>
              <a:gd name="connsiteX13237" fmla="*/ 2196580 w 10505529"/>
              <a:gd name="connsiteY13237" fmla="*/ 5262085 h 7458372"/>
              <a:gd name="connsiteX13238" fmla="*/ 2206564 w 10505529"/>
              <a:gd name="connsiteY13238" fmla="*/ 5265548 h 7458372"/>
              <a:gd name="connsiteX13239" fmla="*/ 2211889 w 10505529"/>
              <a:gd name="connsiteY13239" fmla="*/ 5264616 h 7458372"/>
              <a:gd name="connsiteX13240" fmla="*/ 2215616 w 10505529"/>
              <a:gd name="connsiteY13240" fmla="*/ 5262219 h 7458372"/>
              <a:gd name="connsiteX13241" fmla="*/ 2218279 w 10505529"/>
              <a:gd name="connsiteY13241" fmla="*/ 5257959 h 7458372"/>
              <a:gd name="connsiteX13242" fmla="*/ 2219210 w 10505529"/>
              <a:gd name="connsiteY13242" fmla="*/ 5252501 h 7458372"/>
              <a:gd name="connsiteX13243" fmla="*/ 2218279 w 10505529"/>
              <a:gd name="connsiteY13243" fmla="*/ 5247309 h 7458372"/>
              <a:gd name="connsiteX13244" fmla="*/ 2215616 w 10505529"/>
              <a:gd name="connsiteY13244" fmla="*/ 5243183 h 7458372"/>
              <a:gd name="connsiteX13245" fmla="*/ 2211623 w 10505529"/>
              <a:gd name="connsiteY13245" fmla="*/ 5240521 h 7458372"/>
              <a:gd name="connsiteX13246" fmla="*/ 2206564 w 10505529"/>
              <a:gd name="connsiteY13246" fmla="*/ 5239589 h 7458372"/>
              <a:gd name="connsiteX13247" fmla="*/ 1989037 w 10505529"/>
              <a:gd name="connsiteY13247" fmla="*/ 5239589 h 7458372"/>
              <a:gd name="connsiteX13248" fmla="*/ 1979054 w 10505529"/>
              <a:gd name="connsiteY13248" fmla="*/ 5243183 h 7458372"/>
              <a:gd name="connsiteX13249" fmla="*/ 1975459 w 10505529"/>
              <a:gd name="connsiteY13249" fmla="*/ 5252634 h 7458372"/>
              <a:gd name="connsiteX13250" fmla="*/ 1979054 w 10505529"/>
              <a:gd name="connsiteY13250" fmla="*/ 5262085 h 7458372"/>
              <a:gd name="connsiteX13251" fmla="*/ 1989037 w 10505529"/>
              <a:gd name="connsiteY13251" fmla="*/ 5265548 h 7458372"/>
              <a:gd name="connsiteX13252" fmla="*/ 1994362 w 10505529"/>
              <a:gd name="connsiteY13252" fmla="*/ 5264616 h 7458372"/>
              <a:gd name="connsiteX13253" fmla="*/ 1998089 w 10505529"/>
              <a:gd name="connsiteY13253" fmla="*/ 5262219 h 7458372"/>
              <a:gd name="connsiteX13254" fmla="*/ 2000752 w 10505529"/>
              <a:gd name="connsiteY13254" fmla="*/ 5257959 h 7458372"/>
              <a:gd name="connsiteX13255" fmla="*/ 2001682 w 10505529"/>
              <a:gd name="connsiteY13255" fmla="*/ 5252501 h 7458372"/>
              <a:gd name="connsiteX13256" fmla="*/ 2000752 w 10505529"/>
              <a:gd name="connsiteY13256" fmla="*/ 5247309 h 7458372"/>
              <a:gd name="connsiteX13257" fmla="*/ 1998089 w 10505529"/>
              <a:gd name="connsiteY13257" fmla="*/ 5243183 h 7458372"/>
              <a:gd name="connsiteX13258" fmla="*/ 1994095 w 10505529"/>
              <a:gd name="connsiteY13258" fmla="*/ 5240521 h 7458372"/>
              <a:gd name="connsiteX13259" fmla="*/ 1989037 w 10505529"/>
              <a:gd name="connsiteY13259" fmla="*/ 5239589 h 7458372"/>
              <a:gd name="connsiteX13260" fmla="*/ 1771402 w 10505529"/>
              <a:gd name="connsiteY13260" fmla="*/ 5239589 h 7458372"/>
              <a:gd name="connsiteX13261" fmla="*/ 1761420 w 10505529"/>
              <a:gd name="connsiteY13261" fmla="*/ 5243183 h 7458372"/>
              <a:gd name="connsiteX13262" fmla="*/ 1757826 w 10505529"/>
              <a:gd name="connsiteY13262" fmla="*/ 5252634 h 7458372"/>
              <a:gd name="connsiteX13263" fmla="*/ 1761420 w 10505529"/>
              <a:gd name="connsiteY13263" fmla="*/ 5262085 h 7458372"/>
              <a:gd name="connsiteX13264" fmla="*/ 1771402 w 10505529"/>
              <a:gd name="connsiteY13264" fmla="*/ 5265548 h 7458372"/>
              <a:gd name="connsiteX13265" fmla="*/ 1776727 w 10505529"/>
              <a:gd name="connsiteY13265" fmla="*/ 5264616 h 7458372"/>
              <a:gd name="connsiteX13266" fmla="*/ 1780453 w 10505529"/>
              <a:gd name="connsiteY13266" fmla="*/ 5262219 h 7458372"/>
              <a:gd name="connsiteX13267" fmla="*/ 1783116 w 10505529"/>
              <a:gd name="connsiteY13267" fmla="*/ 5257959 h 7458372"/>
              <a:gd name="connsiteX13268" fmla="*/ 1784181 w 10505529"/>
              <a:gd name="connsiteY13268" fmla="*/ 5252501 h 7458372"/>
              <a:gd name="connsiteX13269" fmla="*/ 1783116 w 10505529"/>
              <a:gd name="connsiteY13269" fmla="*/ 5247309 h 7458372"/>
              <a:gd name="connsiteX13270" fmla="*/ 1780453 w 10505529"/>
              <a:gd name="connsiteY13270" fmla="*/ 5243183 h 7458372"/>
              <a:gd name="connsiteX13271" fmla="*/ 1776461 w 10505529"/>
              <a:gd name="connsiteY13271" fmla="*/ 5240521 h 7458372"/>
              <a:gd name="connsiteX13272" fmla="*/ 1771402 w 10505529"/>
              <a:gd name="connsiteY13272" fmla="*/ 5239589 h 7458372"/>
              <a:gd name="connsiteX13273" fmla="*/ 1553765 w 10505529"/>
              <a:gd name="connsiteY13273" fmla="*/ 5239589 h 7458372"/>
              <a:gd name="connsiteX13274" fmla="*/ 1543782 w 10505529"/>
              <a:gd name="connsiteY13274" fmla="*/ 5243183 h 7458372"/>
              <a:gd name="connsiteX13275" fmla="*/ 1540187 w 10505529"/>
              <a:gd name="connsiteY13275" fmla="*/ 5252634 h 7458372"/>
              <a:gd name="connsiteX13276" fmla="*/ 1543782 w 10505529"/>
              <a:gd name="connsiteY13276" fmla="*/ 5262085 h 7458372"/>
              <a:gd name="connsiteX13277" fmla="*/ 1553765 w 10505529"/>
              <a:gd name="connsiteY13277" fmla="*/ 5265548 h 7458372"/>
              <a:gd name="connsiteX13278" fmla="*/ 1559090 w 10505529"/>
              <a:gd name="connsiteY13278" fmla="*/ 5264616 h 7458372"/>
              <a:gd name="connsiteX13279" fmla="*/ 1562817 w 10505529"/>
              <a:gd name="connsiteY13279" fmla="*/ 5262219 h 7458372"/>
              <a:gd name="connsiteX13280" fmla="*/ 1565480 w 10505529"/>
              <a:gd name="connsiteY13280" fmla="*/ 5257959 h 7458372"/>
              <a:gd name="connsiteX13281" fmla="*/ 1566545 w 10505529"/>
              <a:gd name="connsiteY13281" fmla="*/ 5252501 h 7458372"/>
              <a:gd name="connsiteX13282" fmla="*/ 1565480 w 10505529"/>
              <a:gd name="connsiteY13282" fmla="*/ 5247309 h 7458372"/>
              <a:gd name="connsiteX13283" fmla="*/ 1562817 w 10505529"/>
              <a:gd name="connsiteY13283" fmla="*/ 5243183 h 7458372"/>
              <a:gd name="connsiteX13284" fmla="*/ 1558824 w 10505529"/>
              <a:gd name="connsiteY13284" fmla="*/ 5240521 h 7458372"/>
              <a:gd name="connsiteX13285" fmla="*/ 1553765 w 10505529"/>
              <a:gd name="connsiteY13285" fmla="*/ 5239589 h 7458372"/>
              <a:gd name="connsiteX13286" fmla="*/ 1336122 w 10505529"/>
              <a:gd name="connsiteY13286" fmla="*/ 5239589 h 7458372"/>
              <a:gd name="connsiteX13287" fmla="*/ 1326138 w 10505529"/>
              <a:gd name="connsiteY13287" fmla="*/ 5243183 h 7458372"/>
              <a:gd name="connsiteX13288" fmla="*/ 1322543 w 10505529"/>
              <a:gd name="connsiteY13288" fmla="*/ 5252634 h 7458372"/>
              <a:gd name="connsiteX13289" fmla="*/ 1326138 w 10505529"/>
              <a:gd name="connsiteY13289" fmla="*/ 5262085 h 7458372"/>
              <a:gd name="connsiteX13290" fmla="*/ 1336122 w 10505529"/>
              <a:gd name="connsiteY13290" fmla="*/ 5265548 h 7458372"/>
              <a:gd name="connsiteX13291" fmla="*/ 1341448 w 10505529"/>
              <a:gd name="connsiteY13291" fmla="*/ 5264616 h 7458372"/>
              <a:gd name="connsiteX13292" fmla="*/ 1345175 w 10505529"/>
              <a:gd name="connsiteY13292" fmla="*/ 5262219 h 7458372"/>
              <a:gd name="connsiteX13293" fmla="*/ 1347836 w 10505529"/>
              <a:gd name="connsiteY13293" fmla="*/ 5257959 h 7458372"/>
              <a:gd name="connsiteX13294" fmla="*/ 1348903 w 10505529"/>
              <a:gd name="connsiteY13294" fmla="*/ 5252501 h 7458372"/>
              <a:gd name="connsiteX13295" fmla="*/ 1347836 w 10505529"/>
              <a:gd name="connsiteY13295" fmla="*/ 5247309 h 7458372"/>
              <a:gd name="connsiteX13296" fmla="*/ 1345175 w 10505529"/>
              <a:gd name="connsiteY13296" fmla="*/ 5243183 h 7458372"/>
              <a:gd name="connsiteX13297" fmla="*/ 1341180 w 10505529"/>
              <a:gd name="connsiteY13297" fmla="*/ 5240521 h 7458372"/>
              <a:gd name="connsiteX13298" fmla="*/ 1336122 w 10505529"/>
              <a:gd name="connsiteY13298" fmla="*/ 5239589 h 7458372"/>
              <a:gd name="connsiteX13299" fmla="*/ 1118609 w 10505529"/>
              <a:gd name="connsiteY13299" fmla="*/ 5239589 h 7458372"/>
              <a:gd name="connsiteX13300" fmla="*/ 1108624 w 10505529"/>
              <a:gd name="connsiteY13300" fmla="*/ 5243183 h 7458372"/>
              <a:gd name="connsiteX13301" fmla="*/ 1104897 w 10505529"/>
              <a:gd name="connsiteY13301" fmla="*/ 5252634 h 7458372"/>
              <a:gd name="connsiteX13302" fmla="*/ 1108491 w 10505529"/>
              <a:gd name="connsiteY13302" fmla="*/ 5262085 h 7458372"/>
              <a:gd name="connsiteX13303" fmla="*/ 1118476 w 10505529"/>
              <a:gd name="connsiteY13303" fmla="*/ 5265548 h 7458372"/>
              <a:gd name="connsiteX13304" fmla="*/ 1123932 w 10505529"/>
              <a:gd name="connsiteY13304" fmla="*/ 5264616 h 7458372"/>
              <a:gd name="connsiteX13305" fmla="*/ 1127663 w 10505529"/>
              <a:gd name="connsiteY13305" fmla="*/ 5262219 h 7458372"/>
              <a:gd name="connsiteX13306" fmla="*/ 1130327 w 10505529"/>
              <a:gd name="connsiteY13306" fmla="*/ 5257959 h 7458372"/>
              <a:gd name="connsiteX13307" fmla="*/ 1131392 w 10505529"/>
              <a:gd name="connsiteY13307" fmla="*/ 5252501 h 7458372"/>
              <a:gd name="connsiteX13308" fmla="*/ 1130327 w 10505529"/>
              <a:gd name="connsiteY13308" fmla="*/ 5247309 h 7458372"/>
              <a:gd name="connsiteX13309" fmla="*/ 1127663 w 10505529"/>
              <a:gd name="connsiteY13309" fmla="*/ 5243183 h 7458372"/>
              <a:gd name="connsiteX13310" fmla="*/ 1123667 w 10505529"/>
              <a:gd name="connsiteY13310" fmla="*/ 5240521 h 7458372"/>
              <a:gd name="connsiteX13311" fmla="*/ 1118609 w 10505529"/>
              <a:gd name="connsiteY13311" fmla="*/ 5239589 h 7458372"/>
              <a:gd name="connsiteX13312" fmla="*/ 901097 w 10505529"/>
              <a:gd name="connsiteY13312" fmla="*/ 5239589 h 7458372"/>
              <a:gd name="connsiteX13313" fmla="*/ 891113 w 10505529"/>
              <a:gd name="connsiteY13313" fmla="*/ 5243183 h 7458372"/>
              <a:gd name="connsiteX13314" fmla="*/ 887386 w 10505529"/>
              <a:gd name="connsiteY13314" fmla="*/ 5252634 h 7458372"/>
              <a:gd name="connsiteX13315" fmla="*/ 890980 w 10505529"/>
              <a:gd name="connsiteY13315" fmla="*/ 5262085 h 7458372"/>
              <a:gd name="connsiteX13316" fmla="*/ 900963 w 10505529"/>
              <a:gd name="connsiteY13316" fmla="*/ 5265548 h 7458372"/>
              <a:gd name="connsiteX13317" fmla="*/ 906421 w 10505529"/>
              <a:gd name="connsiteY13317" fmla="*/ 5264616 h 7458372"/>
              <a:gd name="connsiteX13318" fmla="*/ 910149 w 10505529"/>
              <a:gd name="connsiteY13318" fmla="*/ 5262219 h 7458372"/>
              <a:gd name="connsiteX13319" fmla="*/ 912811 w 10505529"/>
              <a:gd name="connsiteY13319" fmla="*/ 5257959 h 7458372"/>
              <a:gd name="connsiteX13320" fmla="*/ 913876 w 10505529"/>
              <a:gd name="connsiteY13320" fmla="*/ 5252501 h 7458372"/>
              <a:gd name="connsiteX13321" fmla="*/ 912811 w 10505529"/>
              <a:gd name="connsiteY13321" fmla="*/ 5247309 h 7458372"/>
              <a:gd name="connsiteX13322" fmla="*/ 910149 w 10505529"/>
              <a:gd name="connsiteY13322" fmla="*/ 5243183 h 7458372"/>
              <a:gd name="connsiteX13323" fmla="*/ 906155 w 10505529"/>
              <a:gd name="connsiteY13323" fmla="*/ 5240521 h 7458372"/>
              <a:gd name="connsiteX13324" fmla="*/ 901097 w 10505529"/>
              <a:gd name="connsiteY13324" fmla="*/ 5239589 h 7458372"/>
              <a:gd name="connsiteX13325" fmla="*/ 683323 w 10505529"/>
              <a:gd name="connsiteY13325" fmla="*/ 5239589 h 7458372"/>
              <a:gd name="connsiteX13326" fmla="*/ 673339 w 10505529"/>
              <a:gd name="connsiteY13326" fmla="*/ 5243183 h 7458372"/>
              <a:gd name="connsiteX13327" fmla="*/ 669745 w 10505529"/>
              <a:gd name="connsiteY13327" fmla="*/ 5252634 h 7458372"/>
              <a:gd name="connsiteX13328" fmla="*/ 673339 w 10505529"/>
              <a:gd name="connsiteY13328" fmla="*/ 5262085 h 7458372"/>
              <a:gd name="connsiteX13329" fmla="*/ 683323 w 10505529"/>
              <a:gd name="connsiteY13329" fmla="*/ 5265548 h 7458372"/>
              <a:gd name="connsiteX13330" fmla="*/ 688648 w 10505529"/>
              <a:gd name="connsiteY13330" fmla="*/ 5264616 h 7458372"/>
              <a:gd name="connsiteX13331" fmla="*/ 692375 w 10505529"/>
              <a:gd name="connsiteY13331" fmla="*/ 5262219 h 7458372"/>
              <a:gd name="connsiteX13332" fmla="*/ 695038 w 10505529"/>
              <a:gd name="connsiteY13332" fmla="*/ 5257959 h 7458372"/>
              <a:gd name="connsiteX13333" fmla="*/ 696103 w 10505529"/>
              <a:gd name="connsiteY13333" fmla="*/ 5252501 h 7458372"/>
              <a:gd name="connsiteX13334" fmla="*/ 695038 w 10505529"/>
              <a:gd name="connsiteY13334" fmla="*/ 5247309 h 7458372"/>
              <a:gd name="connsiteX13335" fmla="*/ 692375 w 10505529"/>
              <a:gd name="connsiteY13335" fmla="*/ 5243183 h 7458372"/>
              <a:gd name="connsiteX13336" fmla="*/ 688382 w 10505529"/>
              <a:gd name="connsiteY13336" fmla="*/ 5240521 h 7458372"/>
              <a:gd name="connsiteX13337" fmla="*/ 683323 w 10505529"/>
              <a:gd name="connsiteY13337" fmla="*/ 5239589 h 7458372"/>
              <a:gd name="connsiteX13338" fmla="*/ 465681 w 10505529"/>
              <a:gd name="connsiteY13338" fmla="*/ 5239589 h 7458372"/>
              <a:gd name="connsiteX13339" fmla="*/ 455698 w 10505529"/>
              <a:gd name="connsiteY13339" fmla="*/ 5243183 h 7458372"/>
              <a:gd name="connsiteX13340" fmla="*/ 452104 w 10505529"/>
              <a:gd name="connsiteY13340" fmla="*/ 5252634 h 7458372"/>
              <a:gd name="connsiteX13341" fmla="*/ 455698 w 10505529"/>
              <a:gd name="connsiteY13341" fmla="*/ 5262085 h 7458372"/>
              <a:gd name="connsiteX13342" fmla="*/ 465681 w 10505529"/>
              <a:gd name="connsiteY13342" fmla="*/ 5265548 h 7458372"/>
              <a:gd name="connsiteX13343" fmla="*/ 471006 w 10505529"/>
              <a:gd name="connsiteY13343" fmla="*/ 5264616 h 7458372"/>
              <a:gd name="connsiteX13344" fmla="*/ 474733 w 10505529"/>
              <a:gd name="connsiteY13344" fmla="*/ 5262219 h 7458372"/>
              <a:gd name="connsiteX13345" fmla="*/ 477396 w 10505529"/>
              <a:gd name="connsiteY13345" fmla="*/ 5257959 h 7458372"/>
              <a:gd name="connsiteX13346" fmla="*/ 478461 w 10505529"/>
              <a:gd name="connsiteY13346" fmla="*/ 5252501 h 7458372"/>
              <a:gd name="connsiteX13347" fmla="*/ 477396 w 10505529"/>
              <a:gd name="connsiteY13347" fmla="*/ 5247309 h 7458372"/>
              <a:gd name="connsiteX13348" fmla="*/ 474733 w 10505529"/>
              <a:gd name="connsiteY13348" fmla="*/ 5243183 h 7458372"/>
              <a:gd name="connsiteX13349" fmla="*/ 470740 w 10505529"/>
              <a:gd name="connsiteY13349" fmla="*/ 5240521 h 7458372"/>
              <a:gd name="connsiteX13350" fmla="*/ 465681 w 10505529"/>
              <a:gd name="connsiteY13350" fmla="*/ 5239589 h 7458372"/>
              <a:gd name="connsiteX13351" fmla="*/ 248039 w 10505529"/>
              <a:gd name="connsiteY13351" fmla="*/ 5239589 h 7458372"/>
              <a:gd name="connsiteX13352" fmla="*/ 238057 w 10505529"/>
              <a:gd name="connsiteY13352" fmla="*/ 5243183 h 7458372"/>
              <a:gd name="connsiteX13353" fmla="*/ 234463 w 10505529"/>
              <a:gd name="connsiteY13353" fmla="*/ 5252634 h 7458372"/>
              <a:gd name="connsiteX13354" fmla="*/ 238057 w 10505529"/>
              <a:gd name="connsiteY13354" fmla="*/ 5262085 h 7458372"/>
              <a:gd name="connsiteX13355" fmla="*/ 248039 w 10505529"/>
              <a:gd name="connsiteY13355" fmla="*/ 5265548 h 7458372"/>
              <a:gd name="connsiteX13356" fmla="*/ 253364 w 10505529"/>
              <a:gd name="connsiteY13356" fmla="*/ 5264616 h 7458372"/>
              <a:gd name="connsiteX13357" fmla="*/ 257091 w 10505529"/>
              <a:gd name="connsiteY13357" fmla="*/ 5262219 h 7458372"/>
              <a:gd name="connsiteX13358" fmla="*/ 259754 w 10505529"/>
              <a:gd name="connsiteY13358" fmla="*/ 5257959 h 7458372"/>
              <a:gd name="connsiteX13359" fmla="*/ 260819 w 10505529"/>
              <a:gd name="connsiteY13359" fmla="*/ 5252501 h 7458372"/>
              <a:gd name="connsiteX13360" fmla="*/ 259754 w 10505529"/>
              <a:gd name="connsiteY13360" fmla="*/ 5247309 h 7458372"/>
              <a:gd name="connsiteX13361" fmla="*/ 257091 w 10505529"/>
              <a:gd name="connsiteY13361" fmla="*/ 5243183 h 7458372"/>
              <a:gd name="connsiteX13362" fmla="*/ 253098 w 10505529"/>
              <a:gd name="connsiteY13362" fmla="*/ 5240521 h 7458372"/>
              <a:gd name="connsiteX13363" fmla="*/ 248039 w 10505529"/>
              <a:gd name="connsiteY13363" fmla="*/ 5239589 h 7458372"/>
              <a:gd name="connsiteX13364" fmla="*/ 30398 w 10505529"/>
              <a:gd name="connsiteY13364" fmla="*/ 5239589 h 7458372"/>
              <a:gd name="connsiteX13365" fmla="*/ 20414 w 10505529"/>
              <a:gd name="connsiteY13365" fmla="*/ 5243183 h 7458372"/>
              <a:gd name="connsiteX13366" fmla="*/ 16821 w 10505529"/>
              <a:gd name="connsiteY13366" fmla="*/ 5252634 h 7458372"/>
              <a:gd name="connsiteX13367" fmla="*/ 20414 w 10505529"/>
              <a:gd name="connsiteY13367" fmla="*/ 5262085 h 7458372"/>
              <a:gd name="connsiteX13368" fmla="*/ 30398 w 10505529"/>
              <a:gd name="connsiteY13368" fmla="*/ 5265548 h 7458372"/>
              <a:gd name="connsiteX13369" fmla="*/ 35723 w 10505529"/>
              <a:gd name="connsiteY13369" fmla="*/ 5264616 h 7458372"/>
              <a:gd name="connsiteX13370" fmla="*/ 39450 w 10505529"/>
              <a:gd name="connsiteY13370" fmla="*/ 5262219 h 7458372"/>
              <a:gd name="connsiteX13371" fmla="*/ 42113 w 10505529"/>
              <a:gd name="connsiteY13371" fmla="*/ 5257959 h 7458372"/>
              <a:gd name="connsiteX13372" fmla="*/ 43044 w 10505529"/>
              <a:gd name="connsiteY13372" fmla="*/ 5252501 h 7458372"/>
              <a:gd name="connsiteX13373" fmla="*/ 42113 w 10505529"/>
              <a:gd name="connsiteY13373" fmla="*/ 5247309 h 7458372"/>
              <a:gd name="connsiteX13374" fmla="*/ 39450 w 10505529"/>
              <a:gd name="connsiteY13374" fmla="*/ 5243183 h 7458372"/>
              <a:gd name="connsiteX13375" fmla="*/ 35457 w 10505529"/>
              <a:gd name="connsiteY13375" fmla="*/ 5240521 h 7458372"/>
              <a:gd name="connsiteX13376" fmla="*/ 30398 w 10505529"/>
              <a:gd name="connsiteY13376" fmla="*/ 5239589 h 7458372"/>
              <a:gd name="connsiteX13377" fmla="*/ 10475977 w 10505529"/>
              <a:gd name="connsiteY13377" fmla="*/ 5222816 h 7458372"/>
              <a:gd name="connsiteX13378" fmla="*/ 10487824 w 10505529"/>
              <a:gd name="connsiteY13378" fmla="*/ 5225478 h 7458372"/>
              <a:gd name="connsiteX13379" fmla="*/ 10497143 w 10505529"/>
              <a:gd name="connsiteY13379" fmla="*/ 5231868 h 7458372"/>
              <a:gd name="connsiteX13380" fmla="*/ 10503266 w 10505529"/>
              <a:gd name="connsiteY13380" fmla="*/ 5241186 h 7458372"/>
              <a:gd name="connsiteX13381" fmla="*/ 10505529 w 10505529"/>
              <a:gd name="connsiteY13381" fmla="*/ 5252634 h 7458372"/>
              <a:gd name="connsiteX13382" fmla="*/ 10503266 w 10505529"/>
              <a:gd name="connsiteY13382" fmla="*/ 5264349 h 7458372"/>
              <a:gd name="connsiteX13383" fmla="*/ 10497143 w 10505529"/>
              <a:gd name="connsiteY13383" fmla="*/ 5273668 h 7458372"/>
              <a:gd name="connsiteX13384" fmla="*/ 10487824 w 10505529"/>
              <a:gd name="connsiteY13384" fmla="*/ 5279924 h 7458372"/>
              <a:gd name="connsiteX13385" fmla="*/ 10475977 w 10505529"/>
              <a:gd name="connsiteY13385" fmla="*/ 5282187 h 7458372"/>
              <a:gd name="connsiteX13386" fmla="*/ 10454145 w 10505529"/>
              <a:gd name="connsiteY13386" fmla="*/ 5273668 h 7458372"/>
              <a:gd name="connsiteX13387" fmla="*/ 10445759 w 10505529"/>
              <a:gd name="connsiteY13387" fmla="*/ 5252501 h 7458372"/>
              <a:gd name="connsiteX13388" fmla="*/ 10454145 w 10505529"/>
              <a:gd name="connsiteY13388" fmla="*/ 5231468 h 7458372"/>
              <a:gd name="connsiteX13389" fmla="*/ 10475977 w 10505529"/>
              <a:gd name="connsiteY13389" fmla="*/ 5222816 h 7458372"/>
              <a:gd name="connsiteX13390" fmla="*/ 10258466 w 10505529"/>
              <a:gd name="connsiteY13390" fmla="*/ 5222816 h 7458372"/>
              <a:gd name="connsiteX13391" fmla="*/ 10270313 w 10505529"/>
              <a:gd name="connsiteY13391" fmla="*/ 5225478 h 7458372"/>
              <a:gd name="connsiteX13392" fmla="*/ 10279631 w 10505529"/>
              <a:gd name="connsiteY13392" fmla="*/ 5231868 h 7458372"/>
              <a:gd name="connsiteX13393" fmla="*/ 10285754 w 10505529"/>
              <a:gd name="connsiteY13393" fmla="*/ 5241186 h 7458372"/>
              <a:gd name="connsiteX13394" fmla="*/ 10288017 w 10505529"/>
              <a:gd name="connsiteY13394" fmla="*/ 5252634 h 7458372"/>
              <a:gd name="connsiteX13395" fmla="*/ 10285754 w 10505529"/>
              <a:gd name="connsiteY13395" fmla="*/ 5264349 h 7458372"/>
              <a:gd name="connsiteX13396" fmla="*/ 10279631 w 10505529"/>
              <a:gd name="connsiteY13396" fmla="*/ 5273668 h 7458372"/>
              <a:gd name="connsiteX13397" fmla="*/ 10270313 w 10505529"/>
              <a:gd name="connsiteY13397" fmla="*/ 5279924 h 7458372"/>
              <a:gd name="connsiteX13398" fmla="*/ 10258466 w 10505529"/>
              <a:gd name="connsiteY13398" fmla="*/ 5282187 h 7458372"/>
              <a:gd name="connsiteX13399" fmla="*/ 10236633 w 10505529"/>
              <a:gd name="connsiteY13399" fmla="*/ 5273668 h 7458372"/>
              <a:gd name="connsiteX13400" fmla="*/ 10228247 w 10505529"/>
              <a:gd name="connsiteY13400" fmla="*/ 5252501 h 7458372"/>
              <a:gd name="connsiteX13401" fmla="*/ 10236633 w 10505529"/>
              <a:gd name="connsiteY13401" fmla="*/ 5231468 h 7458372"/>
              <a:gd name="connsiteX13402" fmla="*/ 10258466 w 10505529"/>
              <a:gd name="connsiteY13402" fmla="*/ 5222816 h 7458372"/>
              <a:gd name="connsiteX13403" fmla="*/ 10040820 w 10505529"/>
              <a:gd name="connsiteY13403" fmla="*/ 5222816 h 7458372"/>
              <a:gd name="connsiteX13404" fmla="*/ 10052534 w 10505529"/>
              <a:gd name="connsiteY13404" fmla="*/ 5225478 h 7458372"/>
              <a:gd name="connsiteX13405" fmla="*/ 10061852 w 10505529"/>
              <a:gd name="connsiteY13405" fmla="*/ 5231868 h 7458372"/>
              <a:gd name="connsiteX13406" fmla="*/ 10067976 w 10505529"/>
              <a:gd name="connsiteY13406" fmla="*/ 5241186 h 7458372"/>
              <a:gd name="connsiteX13407" fmla="*/ 10070239 w 10505529"/>
              <a:gd name="connsiteY13407" fmla="*/ 5252634 h 7458372"/>
              <a:gd name="connsiteX13408" fmla="*/ 10067976 w 10505529"/>
              <a:gd name="connsiteY13408" fmla="*/ 5264349 h 7458372"/>
              <a:gd name="connsiteX13409" fmla="*/ 10061852 w 10505529"/>
              <a:gd name="connsiteY13409" fmla="*/ 5273668 h 7458372"/>
              <a:gd name="connsiteX13410" fmla="*/ 10052534 w 10505529"/>
              <a:gd name="connsiteY13410" fmla="*/ 5279924 h 7458372"/>
              <a:gd name="connsiteX13411" fmla="*/ 10040820 w 10505529"/>
              <a:gd name="connsiteY13411" fmla="*/ 5282187 h 7458372"/>
              <a:gd name="connsiteX13412" fmla="*/ 10018988 w 10505529"/>
              <a:gd name="connsiteY13412" fmla="*/ 5273668 h 7458372"/>
              <a:gd name="connsiteX13413" fmla="*/ 10010602 w 10505529"/>
              <a:gd name="connsiteY13413" fmla="*/ 5252501 h 7458372"/>
              <a:gd name="connsiteX13414" fmla="*/ 10018988 w 10505529"/>
              <a:gd name="connsiteY13414" fmla="*/ 5231468 h 7458372"/>
              <a:gd name="connsiteX13415" fmla="*/ 10040820 w 10505529"/>
              <a:gd name="connsiteY13415" fmla="*/ 5222816 h 7458372"/>
              <a:gd name="connsiteX13416" fmla="*/ 9823176 w 10505529"/>
              <a:gd name="connsiteY13416" fmla="*/ 5222816 h 7458372"/>
              <a:gd name="connsiteX13417" fmla="*/ 9834890 w 10505529"/>
              <a:gd name="connsiteY13417" fmla="*/ 5225478 h 7458372"/>
              <a:gd name="connsiteX13418" fmla="*/ 9844208 w 10505529"/>
              <a:gd name="connsiteY13418" fmla="*/ 5231868 h 7458372"/>
              <a:gd name="connsiteX13419" fmla="*/ 9850331 w 10505529"/>
              <a:gd name="connsiteY13419" fmla="*/ 5241186 h 7458372"/>
              <a:gd name="connsiteX13420" fmla="*/ 9852595 w 10505529"/>
              <a:gd name="connsiteY13420" fmla="*/ 5252634 h 7458372"/>
              <a:gd name="connsiteX13421" fmla="*/ 9850331 w 10505529"/>
              <a:gd name="connsiteY13421" fmla="*/ 5264349 h 7458372"/>
              <a:gd name="connsiteX13422" fmla="*/ 9844208 w 10505529"/>
              <a:gd name="connsiteY13422" fmla="*/ 5273668 h 7458372"/>
              <a:gd name="connsiteX13423" fmla="*/ 9834890 w 10505529"/>
              <a:gd name="connsiteY13423" fmla="*/ 5279924 h 7458372"/>
              <a:gd name="connsiteX13424" fmla="*/ 9823176 w 10505529"/>
              <a:gd name="connsiteY13424" fmla="*/ 5282187 h 7458372"/>
              <a:gd name="connsiteX13425" fmla="*/ 9801343 w 10505529"/>
              <a:gd name="connsiteY13425" fmla="*/ 5273668 h 7458372"/>
              <a:gd name="connsiteX13426" fmla="*/ 9792957 w 10505529"/>
              <a:gd name="connsiteY13426" fmla="*/ 5252501 h 7458372"/>
              <a:gd name="connsiteX13427" fmla="*/ 9801343 w 10505529"/>
              <a:gd name="connsiteY13427" fmla="*/ 5231468 h 7458372"/>
              <a:gd name="connsiteX13428" fmla="*/ 9823176 w 10505529"/>
              <a:gd name="connsiteY13428" fmla="*/ 5222816 h 7458372"/>
              <a:gd name="connsiteX13429" fmla="*/ 9605531 w 10505529"/>
              <a:gd name="connsiteY13429" fmla="*/ 5222816 h 7458372"/>
              <a:gd name="connsiteX13430" fmla="*/ 9617245 w 10505529"/>
              <a:gd name="connsiteY13430" fmla="*/ 5225478 h 7458372"/>
              <a:gd name="connsiteX13431" fmla="*/ 9626562 w 10505529"/>
              <a:gd name="connsiteY13431" fmla="*/ 5231868 h 7458372"/>
              <a:gd name="connsiteX13432" fmla="*/ 9632686 w 10505529"/>
              <a:gd name="connsiteY13432" fmla="*/ 5241186 h 7458372"/>
              <a:gd name="connsiteX13433" fmla="*/ 9634949 w 10505529"/>
              <a:gd name="connsiteY13433" fmla="*/ 5252634 h 7458372"/>
              <a:gd name="connsiteX13434" fmla="*/ 9632686 w 10505529"/>
              <a:gd name="connsiteY13434" fmla="*/ 5264349 h 7458372"/>
              <a:gd name="connsiteX13435" fmla="*/ 9626562 w 10505529"/>
              <a:gd name="connsiteY13435" fmla="*/ 5273668 h 7458372"/>
              <a:gd name="connsiteX13436" fmla="*/ 9617245 w 10505529"/>
              <a:gd name="connsiteY13436" fmla="*/ 5279924 h 7458372"/>
              <a:gd name="connsiteX13437" fmla="*/ 9605531 w 10505529"/>
              <a:gd name="connsiteY13437" fmla="*/ 5282187 h 7458372"/>
              <a:gd name="connsiteX13438" fmla="*/ 9583698 w 10505529"/>
              <a:gd name="connsiteY13438" fmla="*/ 5273668 h 7458372"/>
              <a:gd name="connsiteX13439" fmla="*/ 9575312 w 10505529"/>
              <a:gd name="connsiteY13439" fmla="*/ 5252501 h 7458372"/>
              <a:gd name="connsiteX13440" fmla="*/ 9583698 w 10505529"/>
              <a:gd name="connsiteY13440" fmla="*/ 5231468 h 7458372"/>
              <a:gd name="connsiteX13441" fmla="*/ 9605531 w 10505529"/>
              <a:gd name="connsiteY13441" fmla="*/ 5222816 h 7458372"/>
              <a:gd name="connsiteX13442" fmla="*/ 9387885 w 10505529"/>
              <a:gd name="connsiteY13442" fmla="*/ 5222816 h 7458372"/>
              <a:gd name="connsiteX13443" fmla="*/ 9399599 w 10505529"/>
              <a:gd name="connsiteY13443" fmla="*/ 5225478 h 7458372"/>
              <a:gd name="connsiteX13444" fmla="*/ 9408917 w 10505529"/>
              <a:gd name="connsiteY13444" fmla="*/ 5231868 h 7458372"/>
              <a:gd name="connsiteX13445" fmla="*/ 9415041 w 10505529"/>
              <a:gd name="connsiteY13445" fmla="*/ 5241186 h 7458372"/>
              <a:gd name="connsiteX13446" fmla="*/ 9417304 w 10505529"/>
              <a:gd name="connsiteY13446" fmla="*/ 5252634 h 7458372"/>
              <a:gd name="connsiteX13447" fmla="*/ 9415041 w 10505529"/>
              <a:gd name="connsiteY13447" fmla="*/ 5264349 h 7458372"/>
              <a:gd name="connsiteX13448" fmla="*/ 9408917 w 10505529"/>
              <a:gd name="connsiteY13448" fmla="*/ 5273668 h 7458372"/>
              <a:gd name="connsiteX13449" fmla="*/ 9399599 w 10505529"/>
              <a:gd name="connsiteY13449" fmla="*/ 5279924 h 7458372"/>
              <a:gd name="connsiteX13450" fmla="*/ 9387885 w 10505529"/>
              <a:gd name="connsiteY13450" fmla="*/ 5282187 h 7458372"/>
              <a:gd name="connsiteX13451" fmla="*/ 9366053 w 10505529"/>
              <a:gd name="connsiteY13451" fmla="*/ 5273668 h 7458372"/>
              <a:gd name="connsiteX13452" fmla="*/ 9357667 w 10505529"/>
              <a:gd name="connsiteY13452" fmla="*/ 5252501 h 7458372"/>
              <a:gd name="connsiteX13453" fmla="*/ 9366053 w 10505529"/>
              <a:gd name="connsiteY13453" fmla="*/ 5231468 h 7458372"/>
              <a:gd name="connsiteX13454" fmla="*/ 9387885 w 10505529"/>
              <a:gd name="connsiteY13454" fmla="*/ 5222816 h 7458372"/>
              <a:gd name="connsiteX13455" fmla="*/ 9170374 w 10505529"/>
              <a:gd name="connsiteY13455" fmla="*/ 5222816 h 7458372"/>
              <a:gd name="connsiteX13456" fmla="*/ 9182088 w 10505529"/>
              <a:gd name="connsiteY13456" fmla="*/ 5225478 h 7458372"/>
              <a:gd name="connsiteX13457" fmla="*/ 9191405 w 10505529"/>
              <a:gd name="connsiteY13457" fmla="*/ 5231868 h 7458372"/>
              <a:gd name="connsiteX13458" fmla="*/ 9197529 w 10505529"/>
              <a:gd name="connsiteY13458" fmla="*/ 5241186 h 7458372"/>
              <a:gd name="connsiteX13459" fmla="*/ 9199792 w 10505529"/>
              <a:gd name="connsiteY13459" fmla="*/ 5252634 h 7458372"/>
              <a:gd name="connsiteX13460" fmla="*/ 9197529 w 10505529"/>
              <a:gd name="connsiteY13460" fmla="*/ 5264349 h 7458372"/>
              <a:gd name="connsiteX13461" fmla="*/ 9191405 w 10505529"/>
              <a:gd name="connsiteY13461" fmla="*/ 5273668 h 7458372"/>
              <a:gd name="connsiteX13462" fmla="*/ 9182088 w 10505529"/>
              <a:gd name="connsiteY13462" fmla="*/ 5279924 h 7458372"/>
              <a:gd name="connsiteX13463" fmla="*/ 9170374 w 10505529"/>
              <a:gd name="connsiteY13463" fmla="*/ 5282187 h 7458372"/>
              <a:gd name="connsiteX13464" fmla="*/ 9148541 w 10505529"/>
              <a:gd name="connsiteY13464" fmla="*/ 5273668 h 7458372"/>
              <a:gd name="connsiteX13465" fmla="*/ 9140155 w 10505529"/>
              <a:gd name="connsiteY13465" fmla="*/ 5252501 h 7458372"/>
              <a:gd name="connsiteX13466" fmla="*/ 9148541 w 10505529"/>
              <a:gd name="connsiteY13466" fmla="*/ 5231468 h 7458372"/>
              <a:gd name="connsiteX13467" fmla="*/ 9170374 w 10505529"/>
              <a:gd name="connsiteY13467" fmla="*/ 5222816 h 7458372"/>
              <a:gd name="connsiteX13468" fmla="*/ 8952728 w 10505529"/>
              <a:gd name="connsiteY13468" fmla="*/ 5222816 h 7458372"/>
              <a:gd name="connsiteX13469" fmla="*/ 8964442 w 10505529"/>
              <a:gd name="connsiteY13469" fmla="*/ 5225478 h 7458372"/>
              <a:gd name="connsiteX13470" fmla="*/ 8973760 w 10505529"/>
              <a:gd name="connsiteY13470" fmla="*/ 5231868 h 7458372"/>
              <a:gd name="connsiteX13471" fmla="*/ 8979884 w 10505529"/>
              <a:gd name="connsiteY13471" fmla="*/ 5241186 h 7458372"/>
              <a:gd name="connsiteX13472" fmla="*/ 8982147 w 10505529"/>
              <a:gd name="connsiteY13472" fmla="*/ 5252634 h 7458372"/>
              <a:gd name="connsiteX13473" fmla="*/ 8979884 w 10505529"/>
              <a:gd name="connsiteY13473" fmla="*/ 5264349 h 7458372"/>
              <a:gd name="connsiteX13474" fmla="*/ 8973760 w 10505529"/>
              <a:gd name="connsiteY13474" fmla="*/ 5273668 h 7458372"/>
              <a:gd name="connsiteX13475" fmla="*/ 8964442 w 10505529"/>
              <a:gd name="connsiteY13475" fmla="*/ 5279924 h 7458372"/>
              <a:gd name="connsiteX13476" fmla="*/ 8952728 w 10505529"/>
              <a:gd name="connsiteY13476" fmla="*/ 5282187 h 7458372"/>
              <a:gd name="connsiteX13477" fmla="*/ 8930896 w 10505529"/>
              <a:gd name="connsiteY13477" fmla="*/ 5273668 h 7458372"/>
              <a:gd name="connsiteX13478" fmla="*/ 8922510 w 10505529"/>
              <a:gd name="connsiteY13478" fmla="*/ 5252501 h 7458372"/>
              <a:gd name="connsiteX13479" fmla="*/ 8930896 w 10505529"/>
              <a:gd name="connsiteY13479" fmla="*/ 5231468 h 7458372"/>
              <a:gd name="connsiteX13480" fmla="*/ 8952728 w 10505529"/>
              <a:gd name="connsiteY13480" fmla="*/ 5222816 h 7458372"/>
              <a:gd name="connsiteX13481" fmla="*/ 8735083 w 10505529"/>
              <a:gd name="connsiteY13481" fmla="*/ 5222816 h 7458372"/>
              <a:gd name="connsiteX13482" fmla="*/ 8746797 w 10505529"/>
              <a:gd name="connsiteY13482" fmla="*/ 5225478 h 7458372"/>
              <a:gd name="connsiteX13483" fmla="*/ 8756115 w 10505529"/>
              <a:gd name="connsiteY13483" fmla="*/ 5231868 h 7458372"/>
              <a:gd name="connsiteX13484" fmla="*/ 8762238 w 10505529"/>
              <a:gd name="connsiteY13484" fmla="*/ 5241186 h 7458372"/>
              <a:gd name="connsiteX13485" fmla="*/ 8764502 w 10505529"/>
              <a:gd name="connsiteY13485" fmla="*/ 5252634 h 7458372"/>
              <a:gd name="connsiteX13486" fmla="*/ 8762238 w 10505529"/>
              <a:gd name="connsiteY13486" fmla="*/ 5264349 h 7458372"/>
              <a:gd name="connsiteX13487" fmla="*/ 8756115 w 10505529"/>
              <a:gd name="connsiteY13487" fmla="*/ 5273668 h 7458372"/>
              <a:gd name="connsiteX13488" fmla="*/ 8746797 w 10505529"/>
              <a:gd name="connsiteY13488" fmla="*/ 5279924 h 7458372"/>
              <a:gd name="connsiteX13489" fmla="*/ 8735083 w 10505529"/>
              <a:gd name="connsiteY13489" fmla="*/ 5282187 h 7458372"/>
              <a:gd name="connsiteX13490" fmla="*/ 8713250 w 10505529"/>
              <a:gd name="connsiteY13490" fmla="*/ 5273668 h 7458372"/>
              <a:gd name="connsiteX13491" fmla="*/ 8704864 w 10505529"/>
              <a:gd name="connsiteY13491" fmla="*/ 5252501 h 7458372"/>
              <a:gd name="connsiteX13492" fmla="*/ 8713250 w 10505529"/>
              <a:gd name="connsiteY13492" fmla="*/ 5231468 h 7458372"/>
              <a:gd name="connsiteX13493" fmla="*/ 8735083 w 10505529"/>
              <a:gd name="connsiteY13493" fmla="*/ 5222816 h 7458372"/>
              <a:gd name="connsiteX13494" fmla="*/ 8517438 w 10505529"/>
              <a:gd name="connsiteY13494" fmla="*/ 5222816 h 7458372"/>
              <a:gd name="connsiteX13495" fmla="*/ 8529152 w 10505529"/>
              <a:gd name="connsiteY13495" fmla="*/ 5225478 h 7458372"/>
              <a:gd name="connsiteX13496" fmla="*/ 8538470 w 10505529"/>
              <a:gd name="connsiteY13496" fmla="*/ 5231868 h 7458372"/>
              <a:gd name="connsiteX13497" fmla="*/ 8544594 w 10505529"/>
              <a:gd name="connsiteY13497" fmla="*/ 5241186 h 7458372"/>
              <a:gd name="connsiteX13498" fmla="*/ 8546857 w 10505529"/>
              <a:gd name="connsiteY13498" fmla="*/ 5252634 h 7458372"/>
              <a:gd name="connsiteX13499" fmla="*/ 8544594 w 10505529"/>
              <a:gd name="connsiteY13499" fmla="*/ 5264349 h 7458372"/>
              <a:gd name="connsiteX13500" fmla="*/ 8538470 w 10505529"/>
              <a:gd name="connsiteY13500" fmla="*/ 5273668 h 7458372"/>
              <a:gd name="connsiteX13501" fmla="*/ 8529152 w 10505529"/>
              <a:gd name="connsiteY13501" fmla="*/ 5279924 h 7458372"/>
              <a:gd name="connsiteX13502" fmla="*/ 8517438 w 10505529"/>
              <a:gd name="connsiteY13502" fmla="*/ 5282187 h 7458372"/>
              <a:gd name="connsiteX13503" fmla="*/ 8495606 w 10505529"/>
              <a:gd name="connsiteY13503" fmla="*/ 5273668 h 7458372"/>
              <a:gd name="connsiteX13504" fmla="*/ 8487220 w 10505529"/>
              <a:gd name="connsiteY13504" fmla="*/ 5252501 h 7458372"/>
              <a:gd name="connsiteX13505" fmla="*/ 8495606 w 10505529"/>
              <a:gd name="connsiteY13505" fmla="*/ 5231468 h 7458372"/>
              <a:gd name="connsiteX13506" fmla="*/ 8517438 w 10505529"/>
              <a:gd name="connsiteY13506" fmla="*/ 5222816 h 7458372"/>
              <a:gd name="connsiteX13507" fmla="*/ 8299793 w 10505529"/>
              <a:gd name="connsiteY13507" fmla="*/ 5222816 h 7458372"/>
              <a:gd name="connsiteX13508" fmla="*/ 8311507 w 10505529"/>
              <a:gd name="connsiteY13508" fmla="*/ 5225478 h 7458372"/>
              <a:gd name="connsiteX13509" fmla="*/ 8320825 w 10505529"/>
              <a:gd name="connsiteY13509" fmla="*/ 5231868 h 7458372"/>
              <a:gd name="connsiteX13510" fmla="*/ 8326948 w 10505529"/>
              <a:gd name="connsiteY13510" fmla="*/ 5241186 h 7458372"/>
              <a:gd name="connsiteX13511" fmla="*/ 8329212 w 10505529"/>
              <a:gd name="connsiteY13511" fmla="*/ 5252634 h 7458372"/>
              <a:gd name="connsiteX13512" fmla="*/ 8326948 w 10505529"/>
              <a:gd name="connsiteY13512" fmla="*/ 5264349 h 7458372"/>
              <a:gd name="connsiteX13513" fmla="*/ 8320825 w 10505529"/>
              <a:gd name="connsiteY13513" fmla="*/ 5273668 h 7458372"/>
              <a:gd name="connsiteX13514" fmla="*/ 8311507 w 10505529"/>
              <a:gd name="connsiteY13514" fmla="*/ 5279924 h 7458372"/>
              <a:gd name="connsiteX13515" fmla="*/ 8299793 w 10505529"/>
              <a:gd name="connsiteY13515" fmla="*/ 5282187 h 7458372"/>
              <a:gd name="connsiteX13516" fmla="*/ 8277960 w 10505529"/>
              <a:gd name="connsiteY13516" fmla="*/ 5273668 h 7458372"/>
              <a:gd name="connsiteX13517" fmla="*/ 8269574 w 10505529"/>
              <a:gd name="connsiteY13517" fmla="*/ 5252501 h 7458372"/>
              <a:gd name="connsiteX13518" fmla="*/ 8277960 w 10505529"/>
              <a:gd name="connsiteY13518" fmla="*/ 5231468 h 7458372"/>
              <a:gd name="connsiteX13519" fmla="*/ 8299793 w 10505529"/>
              <a:gd name="connsiteY13519" fmla="*/ 5222816 h 7458372"/>
              <a:gd name="connsiteX13520" fmla="*/ 8082281 w 10505529"/>
              <a:gd name="connsiteY13520" fmla="*/ 5222816 h 7458372"/>
              <a:gd name="connsiteX13521" fmla="*/ 8094127 w 10505529"/>
              <a:gd name="connsiteY13521" fmla="*/ 5225478 h 7458372"/>
              <a:gd name="connsiteX13522" fmla="*/ 8103446 w 10505529"/>
              <a:gd name="connsiteY13522" fmla="*/ 5231868 h 7458372"/>
              <a:gd name="connsiteX13523" fmla="*/ 8109569 w 10505529"/>
              <a:gd name="connsiteY13523" fmla="*/ 5241186 h 7458372"/>
              <a:gd name="connsiteX13524" fmla="*/ 8111832 w 10505529"/>
              <a:gd name="connsiteY13524" fmla="*/ 5252634 h 7458372"/>
              <a:gd name="connsiteX13525" fmla="*/ 8109569 w 10505529"/>
              <a:gd name="connsiteY13525" fmla="*/ 5264349 h 7458372"/>
              <a:gd name="connsiteX13526" fmla="*/ 8103446 w 10505529"/>
              <a:gd name="connsiteY13526" fmla="*/ 5273668 h 7458372"/>
              <a:gd name="connsiteX13527" fmla="*/ 8094127 w 10505529"/>
              <a:gd name="connsiteY13527" fmla="*/ 5279924 h 7458372"/>
              <a:gd name="connsiteX13528" fmla="*/ 8082281 w 10505529"/>
              <a:gd name="connsiteY13528" fmla="*/ 5282187 h 7458372"/>
              <a:gd name="connsiteX13529" fmla="*/ 8060448 w 10505529"/>
              <a:gd name="connsiteY13529" fmla="*/ 5273668 h 7458372"/>
              <a:gd name="connsiteX13530" fmla="*/ 8052062 w 10505529"/>
              <a:gd name="connsiteY13530" fmla="*/ 5252501 h 7458372"/>
              <a:gd name="connsiteX13531" fmla="*/ 8060448 w 10505529"/>
              <a:gd name="connsiteY13531" fmla="*/ 5231468 h 7458372"/>
              <a:gd name="connsiteX13532" fmla="*/ 8082281 w 10505529"/>
              <a:gd name="connsiteY13532" fmla="*/ 5222816 h 7458372"/>
              <a:gd name="connsiteX13533" fmla="*/ 7864636 w 10505529"/>
              <a:gd name="connsiteY13533" fmla="*/ 5222816 h 7458372"/>
              <a:gd name="connsiteX13534" fmla="*/ 7876483 w 10505529"/>
              <a:gd name="connsiteY13534" fmla="*/ 5225478 h 7458372"/>
              <a:gd name="connsiteX13535" fmla="*/ 7885802 w 10505529"/>
              <a:gd name="connsiteY13535" fmla="*/ 5231868 h 7458372"/>
              <a:gd name="connsiteX13536" fmla="*/ 7891924 w 10505529"/>
              <a:gd name="connsiteY13536" fmla="*/ 5241186 h 7458372"/>
              <a:gd name="connsiteX13537" fmla="*/ 7894188 w 10505529"/>
              <a:gd name="connsiteY13537" fmla="*/ 5252634 h 7458372"/>
              <a:gd name="connsiteX13538" fmla="*/ 7891924 w 10505529"/>
              <a:gd name="connsiteY13538" fmla="*/ 5264349 h 7458372"/>
              <a:gd name="connsiteX13539" fmla="*/ 7885802 w 10505529"/>
              <a:gd name="connsiteY13539" fmla="*/ 5273668 h 7458372"/>
              <a:gd name="connsiteX13540" fmla="*/ 7876483 w 10505529"/>
              <a:gd name="connsiteY13540" fmla="*/ 5279924 h 7458372"/>
              <a:gd name="connsiteX13541" fmla="*/ 7864636 w 10505529"/>
              <a:gd name="connsiteY13541" fmla="*/ 5282187 h 7458372"/>
              <a:gd name="connsiteX13542" fmla="*/ 7842803 w 10505529"/>
              <a:gd name="connsiteY13542" fmla="*/ 5273668 h 7458372"/>
              <a:gd name="connsiteX13543" fmla="*/ 7834417 w 10505529"/>
              <a:gd name="connsiteY13543" fmla="*/ 5252501 h 7458372"/>
              <a:gd name="connsiteX13544" fmla="*/ 7842803 w 10505529"/>
              <a:gd name="connsiteY13544" fmla="*/ 5231468 h 7458372"/>
              <a:gd name="connsiteX13545" fmla="*/ 7864636 w 10505529"/>
              <a:gd name="connsiteY13545" fmla="*/ 5222816 h 7458372"/>
              <a:gd name="connsiteX13546" fmla="*/ 7646991 w 10505529"/>
              <a:gd name="connsiteY13546" fmla="*/ 5222816 h 7458372"/>
              <a:gd name="connsiteX13547" fmla="*/ 7658705 w 10505529"/>
              <a:gd name="connsiteY13547" fmla="*/ 5225478 h 7458372"/>
              <a:gd name="connsiteX13548" fmla="*/ 7668022 w 10505529"/>
              <a:gd name="connsiteY13548" fmla="*/ 5231868 h 7458372"/>
              <a:gd name="connsiteX13549" fmla="*/ 7674146 w 10505529"/>
              <a:gd name="connsiteY13549" fmla="*/ 5241186 h 7458372"/>
              <a:gd name="connsiteX13550" fmla="*/ 7676409 w 10505529"/>
              <a:gd name="connsiteY13550" fmla="*/ 5252634 h 7458372"/>
              <a:gd name="connsiteX13551" fmla="*/ 7674146 w 10505529"/>
              <a:gd name="connsiteY13551" fmla="*/ 5264349 h 7458372"/>
              <a:gd name="connsiteX13552" fmla="*/ 7668022 w 10505529"/>
              <a:gd name="connsiteY13552" fmla="*/ 5273668 h 7458372"/>
              <a:gd name="connsiteX13553" fmla="*/ 7658705 w 10505529"/>
              <a:gd name="connsiteY13553" fmla="*/ 5279924 h 7458372"/>
              <a:gd name="connsiteX13554" fmla="*/ 7646991 w 10505529"/>
              <a:gd name="connsiteY13554" fmla="*/ 5282187 h 7458372"/>
              <a:gd name="connsiteX13555" fmla="*/ 7625158 w 10505529"/>
              <a:gd name="connsiteY13555" fmla="*/ 5273668 h 7458372"/>
              <a:gd name="connsiteX13556" fmla="*/ 7616772 w 10505529"/>
              <a:gd name="connsiteY13556" fmla="*/ 5252501 h 7458372"/>
              <a:gd name="connsiteX13557" fmla="*/ 7625158 w 10505529"/>
              <a:gd name="connsiteY13557" fmla="*/ 5231468 h 7458372"/>
              <a:gd name="connsiteX13558" fmla="*/ 7646991 w 10505529"/>
              <a:gd name="connsiteY13558" fmla="*/ 5222816 h 7458372"/>
              <a:gd name="connsiteX13559" fmla="*/ 7429345 w 10505529"/>
              <a:gd name="connsiteY13559" fmla="*/ 5222816 h 7458372"/>
              <a:gd name="connsiteX13560" fmla="*/ 7441059 w 10505529"/>
              <a:gd name="connsiteY13560" fmla="*/ 5225478 h 7458372"/>
              <a:gd name="connsiteX13561" fmla="*/ 7450377 w 10505529"/>
              <a:gd name="connsiteY13561" fmla="*/ 5231868 h 7458372"/>
              <a:gd name="connsiteX13562" fmla="*/ 7456501 w 10505529"/>
              <a:gd name="connsiteY13562" fmla="*/ 5241186 h 7458372"/>
              <a:gd name="connsiteX13563" fmla="*/ 7458764 w 10505529"/>
              <a:gd name="connsiteY13563" fmla="*/ 5252634 h 7458372"/>
              <a:gd name="connsiteX13564" fmla="*/ 7456501 w 10505529"/>
              <a:gd name="connsiteY13564" fmla="*/ 5264349 h 7458372"/>
              <a:gd name="connsiteX13565" fmla="*/ 7450377 w 10505529"/>
              <a:gd name="connsiteY13565" fmla="*/ 5273668 h 7458372"/>
              <a:gd name="connsiteX13566" fmla="*/ 7441059 w 10505529"/>
              <a:gd name="connsiteY13566" fmla="*/ 5279924 h 7458372"/>
              <a:gd name="connsiteX13567" fmla="*/ 7429345 w 10505529"/>
              <a:gd name="connsiteY13567" fmla="*/ 5282187 h 7458372"/>
              <a:gd name="connsiteX13568" fmla="*/ 7407513 w 10505529"/>
              <a:gd name="connsiteY13568" fmla="*/ 5273668 h 7458372"/>
              <a:gd name="connsiteX13569" fmla="*/ 7399127 w 10505529"/>
              <a:gd name="connsiteY13569" fmla="*/ 5252501 h 7458372"/>
              <a:gd name="connsiteX13570" fmla="*/ 7407513 w 10505529"/>
              <a:gd name="connsiteY13570" fmla="*/ 5231468 h 7458372"/>
              <a:gd name="connsiteX13571" fmla="*/ 7429345 w 10505529"/>
              <a:gd name="connsiteY13571" fmla="*/ 5222816 h 7458372"/>
              <a:gd name="connsiteX13572" fmla="*/ 7211701 w 10505529"/>
              <a:gd name="connsiteY13572" fmla="*/ 5222816 h 7458372"/>
              <a:gd name="connsiteX13573" fmla="*/ 7223415 w 10505529"/>
              <a:gd name="connsiteY13573" fmla="*/ 5225478 h 7458372"/>
              <a:gd name="connsiteX13574" fmla="*/ 7232733 w 10505529"/>
              <a:gd name="connsiteY13574" fmla="*/ 5231868 h 7458372"/>
              <a:gd name="connsiteX13575" fmla="*/ 7238856 w 10505529"/>
              <a:gd name="connsiteY13575" fmla="*/ 5241186 h 7458372"/>
              <a:gd name="connsiteX13576" fmla="*/ 7241120 w 10505529"/>
              <a:gd name="connsiteY13576" fmla="*/ 5252634 h 7458372"/>
              <a:gd name="connsiteX13577" fmla="*/ 7238856 w 10505529"/>
              <a:gd name="connsiteY13577" fmla="*/ 5264349 h 7458372"/>
              <a:gd name="connsiteX13578" fmla="*/ 7232733 w 10505529"/>
              <a:gd name="connsiteY13578" fmla="*/ 5273668 h 7458372"/>
              <a:gd name="connsiteX13579" fmla="*/ 7223415 w 10505529"/>
              <a:gd name="connsiteY13579" fmla="*/ 5279924 h 7458372"/>
              <a:gd name="connsiteX13580" fmla="*/ 7211701 w 10505529"/>
              <a:gd name="connsiteY13580" fmla="*/ 5282187 h 7458372"/>
              <a:gd name="connsiteX13581" fmla="*/ 7189868 w 10505529"/>
              <a:gd name="connsiteY13581" fmla="*/ 5273668 h 7458372"/>
              <a:gd name="connsiteX13582" fmla="*/ 7181482 w 10505529"/>
              <a:gd name="connsiteY13582" fmla="*/ 5252501 h 7458372"/>
              <a:gd name="connsiteX13583" fmla="*/ 7189868 w 10505529"/>
              <a:gd name="connsiteY13583" fmla="*/ 5231468 h 7458372"/>
              <a:gd name="connsiteX13584" fmla="*/ 7211701 w 10505529"/>
              <a:gd name="connsiteY13584" fmla="*/ 5222816 h 7458372"/>
              <a:gd name="connsiteX13585" fmla="*/ 6994056 w 10505529"/>
              <a:gd name="connsiteY13585" fmla="*/ 5222816 h 7458372"/>
              <a:gd name="connsiteX13586" fmla="*/ 7005769 w 10505529"/>
              <a:gd name="connsiteY13586" fmla="*/ 5225478 h 7458372"/>
              <a:gd name="connsiteX13587" fmla="*/ 7015087 w 10505529"/>
              <a:gd name="connsiteY13587" fmla="*/ 5231868 h 7458372"/>
              <a:gd name="connsiteX13588" fmla="*/ 7021211 w 10505529"/>
              <a:gd name="connsiteY13588" fmla="*/ 5241186 h 7458372"/>
              <a:gd name="connsiteX13589" fmla="*/ 7023474 w 10505529"/>
              <a:gd name="connsiteY13589" fmla="*/ 5252634 h 7458372"/>
              <a:gd name="connsiteX13590" fmla="*/ 7021211 w 10505529"/>
              <a:gd name="connsiteY13590" fmla="*/ 5264349 h 7458372"/>
              <a:gd name="connsiteX13591" fmla="*/ 7015087 w 10505529"/>
              <a:gd name="connsiteY13591" fmla="*/ 5273668 h 7458372"/>
              <a:gd name="connsiteX13592" fmla="*/ 7005769 w 10505529"/>
              <a:gd name="connsiteY13592" fmla="*/ 5279924 h 7458372"/>
              <a:gd name="connsiteX13593" fmla="*/ 6994056 w 10505529"/>
              <a:gd name="connsiteY13593" fmla="*/ 5282187 h 7458372"/>
              <a:gd name="connsiteX13594" fmla="*/ 6972223 w 10505529"/>
              <a:gd name="connsiteY13594" fmla="*/ 5273668 h 7458372"/>
              <a:gd name="connsiteX13595" fmla="*/ 6963837 w 10505529"/>
              <a:gd name="connsiteY13595" fmla="*/ 5252501 h 7458372"/>
              <a:gd name="connsiteX13596" fmla="*/ 6972223 w 10505529"/>
              <a:gd name="connsiteY13596" fmla="*/ 5231468 h 7458372"/>
              <a:gd name="connsiteX13597" fmla="*/ 6994056 w 10505529"/>
              <a:gd name="connsiteY13597" fmla="*/ 5222816 h 7458372"/>
              <a:gd name="connsiteX13598" fmla="*/ 6776544 w 10505529"/>
              <a:gd name="connsiteY13598" fmla="*/ 5222816 h 7458372"/>
              <a:gd name="connsiteX13599" fmla="*/ 6788258 w 10505529"/>
              <a:gd name="connsiteY13599" fmla="*/ 5225478 h 7458372"/>
              <a:gd name="connsiteX13600" fmla="*/ 6797576 w 10505529"/>
              <a:gd name="connsiteY13600" fmla="*/ 5231868 h 7458372"/>
              <a:gd name="connsiteX13601" fmla="*/ 6803699 w 10505529"/>
              <a:gd name="connsiteY13601" fmla="*/ 5241186 h 7458372"/>
              <a:gd name="connsiteX13602" fmla="*/ 6805963 w 10505529"/>
              <a:gd name="connsiteY13602" fmla="*/ 5252634 h 7458372"/>
              <a:gd name="connsiteX13603" fmla="*/ 6803699 w 10505529"/>
              <a:gd name="connsiteY13603" fmla="*/ 5264349 h 7458372"/>
              <a:gd name="connsiteX13604" fmla="*/ 6797576 w 10505529"/>
              <a:gd name="connsiteY13604" fmla="*/ 5273668 h 7458372"/>
              <a:gd name="connsiteX13605" fmla="*/ 6788258 w 10505529"/>
              <a:gd name="connsiteY13605" fmla="*/ 5279924 h 7458372"/>
              <a:gd name="connsiteX13606" fmla="*/ 6776544 w 10505529"/>
              <a:gd name="connsiteY13606" fmla="*/ 5282187 h 7458372"/>
              <a:gd name="connsiteX13607" fmla="*/ 6754711 w 10505529"/>
              <a:gd name="connsiteY13607" fmla="*/ 5273668 h 7458372"/>
              <a:gd name="connsiteX13608" fmla="*/ 6746325 w 10505529"/>
              <a:gd name="connsiteY13608" fmla="*/ 5252501 h 7458372"/>
              <a:gd name="connsiteX13609" fmla="*/ 6754711 w 10505529"/>
              <a:gd name="connsiteY13609" fmla="*/ 5231468 h 7458372"/>
              <a:gd name="connsiteX13610" fmla="*/ 6776544 w 10505529"/>
              <a:gd name="connsiteY13610" fmla="*/ 5222816 h 7458372"/>
              <a:gd name="connsiteX13611" fmla="*/ 6558899 w 10505529"/>
              <a:gd name="connsiteY13611" fmla="*/ 5222816 h 7458372"/>
              <a:gd name="connsiteX13612" fmla="*/ 6570612 w 10505529"/>
              <a:gd name="connsiteY13612" fmla="*/ 5225478 h 7458372"/>
              <a:gd name="connsiteX13613" fmla="*/ 6579930 w 10505529"/>
              <a:gd name="connsiteY13613" fmla="*/ 5231868 h 7458372"/>
              <a:gd name="connsiteX13614" fmla="*/ 6586054 w 10505529"/>
              <a:gd name="connsiteY13614" fmla="*/ 5241186 h 7458372"/>
              <a:gd name="connsiteX13615" fmla="*/ 6588317 w 10505529"/>
              <a:gd name="connsiteY13615" fmla="*/ 5252634 h 7458372"/>
              <a:gd name="connsiteX13616" fmla="*/ 6586054 w 10505529"/>
              <a:gd name="connsiteY13616" fmla="*/ 5264349 h 7458372"/>
              <a:gd name="connsiteX13617" fmla="*/ 6579930 w 10505529"/>
              <a:gd name="connsiteY13617" fmla="*/ 5273668 h 7458372"/>
              <a:gd name="connsiteX13618" fmla="*/ 6570612 w 10505529"/>
              <a:gd name="connsiteY13618" fmla="*/ 5279924 h 7458372"/>
              <a:gd name="connsiteX13619" fmla="*/ 6558899 w 10505529"/>
              <a:gd name="connsiteY13619" fmla="*/ 5282187 h 7458372"/>
              <a:gd name="connsiteX13620" fmla="*/ 6537066 w 10505529"/>
              <a:gd name="connsiteY13620" fmla="*/ 5273668 h 7458372"/>
              <a:gd name="connsiteX13621" fmla="*/ 6528680 w 10505529"/>
              <a:gd name="connsiteY13621" fmla="*/ 5252501 h 7458372"/>
              <a:gd name="connsiteX13622" fmla="*/ 6537066 w 10505529"/>
              <a:gd name="connsiteY13622" fmla="*/ 5231468 h 7458372"/>
              <a:gd name="connsiteX13623" fmla="*/ 6558899 w 10505529"/>
              <a:gd name="connsiteY13623" fmla="*/ 5222816 h 7458372"/>
              <a:gd name="connsiteX13624" fmla="*/ 6341253 w 10505529"/>
              <a:gd name="connsiteY13624" fmla="*/ 5222816 h 7458372"/>
              <a:gd name="connsiteX13625" fmla="*/ 6352968 w 10505529"/>
              <a:gd name="connsiteY13625" fmla="*/ 5225478 h 7458372"/>
              <a:gd name="connsiteX13626" fmla="*/ 6362286 w 10505529"/>
              <a:gd name="connsiteY13626" fmla="*/ 5231868 h 7458372"/>
              <a:gd name="connsiteX13627" fmla="*/ 6368409 w 10505529"/>
              <a:gd name="connsiteY13627" fmla="*/ 5241186 h 7458372"/>
              <a:gd name="connsiteX13628" fmla="*/ 6370672 w 10505529"/>
              <a:gd name="connsiteY13628" fmla="*/ 5252634 h 7458372"/>
              <a:gd name="connsiteX13629" fmla="*/ 6368409 w 10505529"/>
              <a:gd name="connsiteY13629" fmla="*/ 5264349 h 7458372"/>
              <a:gd name="connsiteX13630" fmla="*/ 6362286 w 10505529"/>
              <a:gd name="connsiteY13630" fmla="*/ 5273668 h 7458372"/>
              <a:gd name="connsiteX13631" fmla="*/ 6352968 w 10505529"/>
              <a:gd name="connsiteY13631" fmla="*/ 5279924 h 7458372"/>
              <a:gd name="connsiteX13632" fmla="*/ 6341253 w 10505529"/>
              <a:gd name="connsiteY13632" fmla="*/ 5282187 h 7458372"/>
              <a:gd name="connsiteX13633" fmla="*/ 6319421 w 10505529"/>
              <a:gd name="connsiteY13633" fmla="*/ 5273668 h 7458372"/>
              <a:gd name="connsiteX13634" fmla="*/ 6311035 w 10505529"/>
              <a:gd name="connsiteY13634" fmla="*/ 5252501 h 7458372"/>
              <a:gd name="connsiteX13635" fmla="*/ 6319421 w 10505529"/>
              <a:gd name="connsiteY13635" fmla="*/ 5231468 h 7458372"/>
              <a:gd name="connsiteX13636" fmla="*/ 6341253 w 10505529"/>
              <a:gd name="connsiteY13636" fmla="*/ 5222816 h 7458372"/>
              <a:gd name="connsiteX13637" fmla="*/ 6123608 w 10505529"/>
              <a:gd name="connsiteY13637" fmla="*/ 5222816 h 7458372"/>
              <a:gd name="connsiteX13638" fmla="*/ 6135322 w 10505529"/>
              <a:gd name="connsiteY13638" fmla="*/ 5225478 h 7458372"/>
              <a:gd name="connsiteX13639" fmla="*/ 6144640 w 10505529"/>
              <a:gd name="connsiteY13639" fmla="*/ 5231868 h 7458372"/>
              <a:gd name="connsiteX13640" fmla="*/ 6150763 w 10505529"/>
              <a:gd name="connsiteY13640" fmla="*/ 5241186 h 7458372"/>
              <a:gd name="connsiteX13641" fmla="*/ 6153026 w 10505529"/>
              <a:gd name="connsiteY13641" fmla="*/ 5252634 h 7458372"/>
              <a:gd name="connsiteX13642" fmla="*/ 6150763 w 10505529"/>
              <a:gd name="connsiteY13642" fmla="*/ 5264349 h 7458372"/>
              <a:gd name="connsiteX13643" fmla="*/ 6144640 w 10505529"/>
              <a:gd name="connsiteY13643" fmla="*/ 5273668 h 7458372"/>
              <a:gd name="connsiteX13644" fmla="*/ 6135322 w 10505529"/>
              <a:gd name="connsiteY13644" fmla="*/ 5279924 h 7458372"/>
              <a:gd name="connsiteX13645" fmla="*/ 6123608 w 10505529"/>
              <a:gd name="connsiteY13645" fmla="*/ 5282187 h 7458372"/>
              <a:gd name="connsiteX13646" fmla="*/ 6101775 w 10505529"/>
              <a:gd name="connsiteY13646" fmla="*/ 5273668 h 7458372"/>
              <a:gd name="connsiteX13647" fmla="*/ 6093389 w 10505529"/>
              <a:gd name="connsiteY13647" fmla="*/ 5252501 h 7458372"/>
              <a:gd name="connsiteX13648" fmla="*/ 6101775 w 10505529"/>
              <a:gd name="connsiteY13648" fmla="*/ 5231468 h 7458372"/>
              <a:gd name="connsiteX13649" fmla="*/ 6123608 w 10505529"/>
              <a:gd name="connsiteY13649" fmla="*/ 5222816 h 7458372"/>
              <a:gd name="connsiteX13650" fmla="*/ 5905963 w 10505529"/>
              <a:gd name="connsiteY13650" fmla="*/ 5222816 h 7458372"/>
              <a:gd name="connsiteX13651" fmla="*/ 5917677 w 10505529"/>
              <a:gd name="connsiteY13651" fmla="*/ 5225478 h 7458372"/>
              <a:gd name="connsiteX13652" fmla="*/ 5926995 w 10505529"/>
              <a:gd name="connsiteY13652" fmla="*/ 5231868 h 7458372"/>
              <a:gd name="connsiteX13653" fmla="*/ 5933118 w 10505529"/>
              <a:gd name="connsiteY13653" fmla="*/ 5241186 h 7458372"/>
              <a:gd name="connsiteX13654" fmla="*/ 5935381 w 10505529"/>
              <a:gd name="connsiteY13654" fmla="*/ 5252634 h 7458372"/>
              <a:gd name="connsiteX13655" fmla="*/ 5933118 w 10505529"/>
              <a:gd name="connsiteY13655" fmla="*/ 5264349 h 7458372"/>
              <a:gd name="connsiteX13656" fmla="*/ 5926995 w 10505529"/>
              <a:gd name="connsiteY13656" fmla="*/ 5273668 h 7458372"/>
              <a:gd name="connsiteX13657" fmla="*/ 5917677 w 10505529"/>
              <a:gd name="connsiteY13657" fmla="*/ 5279924 h 7458372"/>
              <a:gd name="connsiteX13658" fmla="*/ 5905963 w 10505529"/>
              <a:gd name="connsiteY13658" fmla="*/ 5282187 h 7458372"/>
              <a:gd name="connsiteX13659" fmla="*/ 5884130 w 10505529"/>
              <a:gd name="connsiteY13659" fmla="*/ 5273668 h 7458372"/>
              <a:gd name="connsiteX13660" fmla="*/ 5875744 w 10505529"/>
              <a:gd name="connsiteY13660" fmla="*/ 5252501 h 7458372"/>
              <a:gd name="connsiteX13661" fmla="*/ 5884130 w 10505529"/>
              <a:gd name="connsiteY13661" fmla="*/ 5231468 h 7458372"/>
              <a:gd name="connsiteX13662" fmla="*/ 5905963 w 10505529"/>
              <a:gd name="connsiteY13662" fmla="*/ 5222816 h 7458372"/>
              <a:gd name="connsiteX13663" fmla="*/ 5688451 w 10505529"/>
              <a:gd name="connsiteY13663" fmla="*/ 5222816 h 7458372"/>
              <a:gd name="connsiteX13664" fmla="*/ 5700165 w 10505529"/>
              <a:gd name="connsiteY13664" fmla="*/ 5225478 h 7458372"/>
              <a:gd name="connsiteX13665" fmla="*/ 5709483 w 10505529"/>
              <a:gd name="connsiteY13665" fmla="*/ 5231868 h 7458372"/>
              <a:gd name="connsiteX13666" fmla="*/ 5715606 w 10505529"/>
              <a:gd name="connsiteY13666" fmla="*/ 5241186 h 7458372"/>
              <a:gd name="connsiteX13667" fmla="*/ 5717869 w 10505529"/>
              <a:gd name="connsiteY13667" fmla="*/ 5252634 h 7458372"/>
              <a:gd name="connsiteX13668" fmla="*/ 5715606 w 10505529"/>
              <a:gd name="connsiteY13668" fmla="*/ 5264349 h 7458372"/>
              <a:gd name="connsiteX13669" fmla="*/ 5709483 w 10505529"/>
              <a:gd name="connsiteY13669" fmla="*/ 5273668 h 7458372"/>
              <a:gd name="connsiteX13670" fmla="*/ 5700165 w 10505529"/>
              <a:gd name="connsiteY13670" fmla="*/ 5279924 h 7458372"/>
              <a:gd name="connsiteX13671" fmla="*/ 5688451 w 10505529"/>
              <a:gd name="connsiteY13671" fmla="*/ 5282187 h 7458372"/>
              <a:gd name="connsiteX13672" fmla="*/ 5666618 w 10505529"/>
              <a:gd name="connsiteY13672" fmla="*/ 5273668 h 7458372"/>
              <a:gd name="connsiteX13673" fmla="*/ 5658232 w 10505529"/>
              <a:gd name="connsiteY13673" fmla="*/ 5252501 h 7458372"/>
              <a:gd name="connsiteX13674" fmla="*/ 5666618 w 10505529"/>
              <a:gd name="connsiteY13674" fmla="*/ 5231468 h 7458372"/>
              <a:gd name="connsiteX13675" fmla="*/ 5688451 w 10505529"/>
              <a:gd name="connsiteY13675" fmla="*/ 5222816 h 7458372"/>
              <a:gd name="connsiteX13676" fmla="*/ 5470806 w 10505529"/>
              <a:gd name="connsiteY13676" fmla="*/ 5222816 h 7458372"/>
              <a:gd name="connsiteX13677" fmla="*/ 5482520 w 10505529"/>
              <a:gd name="connsiteY13677" fmla="*/ 5225478 h 7458372"/>
              <a:gd name="connsiteX13678" fmla="*/ 5491838 w 10505529"/>
              <a:gd name="connsiteY13678" fmla="*/ 5231868 h 7458372"/>
              <a:gd name="connsiteX13679" fmla="*/ 5497961 w 10505529"/>
              <a:gd name="connsiteY13679" fmla="*/ 5241186 h 7458372"/>
              <a:gd name="connsiteX13680" fmla="*/ 5500224 w 10505529"/>
              <a:gd name="connsiteY13680" fmla="*/ 5252634 h 7458372"/>
              <a:gd name="connsiteX13681" fmla="*/ 5497961 w 10505529"/>
              <a:gd name="connsiteY13681" fmla="*/ 5264349 h 7458372"/>
              <a:gd name="connsiteX13682" fmla="*/ 5491838 w 10505529"/>
              <a:gd name="connsiteY13682" fmla="*/ 5273668 h 7458372"/>
              <a:gd name="connsiteX13683" fmla="*/ 5482520 w 10505529"/>
              <a:gd name="connsiteY13683" fmla="*/ 5279924 h 7458372"/>
              <a:gd name="connsiteX13684" fmla="*/ 5470806 w 10505529"/>
              <a:gd name="connsiteY13684" fmla="*/ 5282187 h 7458372"/>
              <a:gd name="connsiteX13685" fmla="*/ 5448973 w 10505529"/>
              <a:gd name="connsiteY13685" fmla="*/ 5273668 h 7458372"/>
              <a:gd name="connsiteX13686" fmla="*/ 5440587 w 10505529"/>
              <a:gd name="connsiteY13686" fmla="*/ 5252501 h 7458372"/>
              <a:gd name="connsiteX13687" fmla="*/ 5448973 w 10505529"/>
              <a:gd name="connsiteY13687" fmla="*/ 5231468 h 7458372"/>
              <a:gd name="connsiteX13688" fmla="*/ 5470806 w 10505529"/>
              <a:gd name="connsiteY13688" fmla="*/ 5222816 h 7458372"/>
              <a:gd name="connsiteX13689" fmla="*/ 5253160 w 10505529"/>
              <a:gd name="connsiteY13689" fmla="*/ 5222816 h 7458372"/>
              <a:gd name="connsiteX13690" fmla="*/ 5264875 w 10505529"/>
              <a:gd name="connsiteY13690" fmla="*/ 5225478 h 7458372"/>
              <a:gd name="connsiteX13691" fmla="*/ 5274192 w 10505529"/>
              <a:gd name="connsiteY13691" fmla="*/ 5231868 h 7458372"/>
              <a:gd name="connsiteX13692" fmla="*/ 5280316 w 10505529"/>
              <a:gd name="connsiteY13692" fmla="*/ 5241186 h 7458372"/>
              <a:gd name="connsiteX13693" fmla="*/ 5282579 w 10505529"/>
              <a:gd name="connsiteY13693" fmla="*/ 5252634 h 7458372"/>
              <a:gd name="connsiteX13694" fmla="*/ 5280316 w 10505529"/>
              <a:gd name="connsiteY13694" fmla="*/ 5264349 h 7458372"/>
              <a:gd name="connsiteX13695" fmla="*/ 5274192 w 10505529"/>
              <a:gd name="connsiteY13695" fmla="*/ 5273668 h 7458372"/>
              <a:gd name="connsiteX13696" fmla="*/ 5264875 w 10505529"/>
              <a:gd name="connsiteY13696" fmla="*/ 5279924 h 7458372"/>
              <a:gd name="connsiteX13697" fmla="*/ 5253160 w 10505529"/>
              <a:gd name="connsiteY13697" fmla="*/ 5282187 h 7458372"/>
              <a:gd name="connsiteX13698" fmla="*/ 5231328 w 10505529"/>
              <a:gd name="connsiteY13698" fmla="*/ 5273668 h 7458372"/>
              <a:gd name="connsiteX13699" fmla="*/ 5222942 w 10505529"/>
              <a:gd name="connsiteY13699" fmla="*/ 5252501 h 7458372"/>
              <a:gd name="connsiteX13700" fmla="*/ 5231328 w 10505529"/>
              <a:gd name="connsiteY13700" fmla="*/ 5231468 h 7458372"/>
              <a:gd name="connsiteX13701" fmla="*/ 5253160 w 10505529"/>
              <a:gd name="connsiteY13701" fmla="*/ 5222816 h 7458372"/>
              <a:gd name="connsiteX13702" fmla="*/ 5035515 w 10505529"/>
              <a:gd name="connsiteY13702" fmla="*/ 5222816 h 7458372"/>
              <a:gd name="connsiteX13703" fmla="*/ 5047230 w 10505529"/>
              <a:gd name="connsiteY13703" fmla="*/ 5225478 h 7458372"/>
              <a:gd name="connsiteX13704" fmla="*/ 5056548 w 10505529"/>
              <a:gd name="connsiteY13704" fmla="*/ 5231868 h 7458372"/>
              <a:gd name="connsiteX13705" fmla="*/ 5062671 w 10505529"/>
              <a:gd name="connsiteY13705" fmla="*/ 5241186 h 7458372"/>
              <a:gd name="connsiteX13706" fmla="*/ 5064934 w 10505529"/>
              <a:gd name="connsiteY13706" fmla="*/ 5252634 h 7458372"/>
              <a:gd name="connsiteX13707" fmla="*/ 5062671 w 10505529"/>
              <a:gd name="connsiteY13707" fmla="*/ 5264349 h 7458372"/>
              <a:gd name="connsiteX13708" fmla="*/ 5056548 w 10505529"/>
              <a:gd name="connsiteY13708" fmla="*/ 5273668 h 7458372"/>
              <a:gd name="connsiteX13709" fmla="*/ 5047230 w 10505529"/>
              <a:gd name="connsiteY13709" fmla="*/ 5279924 h 7458372"/>
              <a:gd name="connsiteX13710" fmla="*/ 5035515 w 10505529"/>
              <a:gd name="connsiteY13710" fmla="*/ 5282187 h 7458372"/>
              <a:gd name="connsiteX13711" fmla="*/ 5013683 w 10505529"/>
              <a:gd name="connsiteY13711" fmla="*/ 5273668 h 7458372"/>
              <a:gd name="connsiteX13712" fmla="*/ 5005297 w 10505529"/>
              <a:gd name="connsiteY13712" fmla="*/ 5252501 h 7458372"/>
              <a:gd name="connsiteX13713" fmla="*/ 5013683 w 10505529"/>
              <a:gd name="connsiteY13713" fmla="*/ 5231468 h 7458372"/>
              <a:gd name="connsiteX13714" fmla="*/ 5035515 w 10505529"/>
              <a:gd name="connsiteY13714" fmla="*/ 5222816 h 7458372"/>
              <a:gd name="connsiteX13715" fmla="*/ 4817870 w 10505529"/>
              <a:gd name="connsiteY13715" fmla="*/ 5222816 h 7458372"/>
              <a:gd name="connsiteX13716" fmla="*/ 4829585 w 10505529"/>
              <a:gd name="connsiteY13716" fmla="*/ 5225478 h 7458372"/>
              <a:gd name="connsiteX13717" fmla="*/ 4838903 w 10505529"/>
              <a:gd name="connsiteY13717" fmla="*/ 5231868 h 7458372"/>
              <a:gd name="connsiteX13718" fmla="*/ 4845026 w 10505529"/>
              <a:gd name="connsiteY13718" fmla="*/ 5241186 h 7458372"/>
              <a:gd name="connsiteX13719" fmla="*/ 4847289 w 10505529"/>
              <a:gd name="connsiteY13719" fmla="*/ 5252634 h 7458372"/>
              <a:gd name="connsiteX13720" fmla="*/ 4845026 w 10505529"/>
              <a:gd name="connsiteY13720" fmla="*/ 5264349 h 7458372"/>
              <a:gd name="connsiteX13721" fmla="*/ 4838903 w 10505529"/>
              <a:gd name="connsiteY13721" fmla="*/ 5273668 h 7458372"/>
              <a:gd name="connsiteX13722" fmla="*/ 4829585 w 10505529"/>
              <a:gd name="connsiteY13722" fmla="*/ 5279924 h 7458372"/>
              <a:gd name="connsiteX13723" fmla="*/ 4817870 w 10505529"/>
              <a:gd name="connsiteY13723" fmla="*/ 5282187 h 7458372"/>
              <a:gd name="connsiteX13724" fmla="*/ 4796038 w 10505529"/>
              <a:gd name="connsiteY13724" fmla="*/ 5273668 h 7458372"/>
              <a:gd name="connsiteX13725" fmla="*/ 4787652 w 10505529"/>
              <a:gd name="connsiteY13725" fmla="*/ 5252501 h 7458372"/>
              <a:gd name="connsiteX13726" fmla="*/ 4796038 w 10505529"/>
              <a:gd name="connsiteY13726" fmla="*/ 5231468 h 7458372"/>
              <a:gd name="connsiteX13727" fmla="*/ 4817870 w 10505529"/>
              <a:gd name="connsiteY13727" fmla="*/ 5222816 h 7458372"/>
              <a:gd name="connsiteX13728" fmla="*/ 4600226 w 10505529"/>
              <a:gd name="connsiteY13728" fmla="*/ 5222816 h 7458372"/>
              <a:gd name="connsiteX13729" fmla="*/ 4612073 w 10505529"/>
              <a:gd name="connsiteY13729" fmla="*/ 5225478 h 7458372"/>
              <a:gd name="connsiteX13730" fmla="*/ 4621391 w 10505529"/>
              <a:gd name="connsiteY13730" fmla="*/ 5231868 h 7458372"/>
              <a:gd name="connsiteX13731" fmla="*/ 4627514 w 10505529"/>
              <a:gd name="connsiteY13731" fmla="*/ 5241186 h 7458372"/>
              <a:gd name="connsiteX13732" fmla="*/ 4629777 w 10505529"/>
              <a:gd name="connsiteY13732" fmla="*/ 5252634 h 7458372"/>
              <a:gd name="connsiteX13733" fmla="*/ 4627514 w 10505529"/>
              <a:gd name="connsiteY13733" fmla="*/ 5264349 h 7458372"/>
              <a:gd name="connsiteX13734" fmla="*/ 4621391 w 10505529"/>
              <a:gd name="connsiteY13734" fmla="*/ 5273668 h 7458372"/>
              <a:gd name="connsiteX13735" fmla="*/ 4612073 w 10505529"/>
              <a:gd name="connsiteY13735" fmla="*/ 5279924 h 7458372"/>
              <a:gd name="connsiteX13736" fmla="*/ 4600226 w 10505529"/>
              <a:gd name="connsiteY13736" fmla="*/ 5282187 h 7458372"/>
              <a:gd name="connsiteX13737" fmla="*/ 4578393 w 10505529"/>
              <a:gd name="connsiteY13737" fmla="*/ 5273668 h 7458372"/>
              <a:gd name="connsiteX13738" fmla="*/ 4570007 w 10505529"/>
              <a:gd name="connsiteY13738" fmla="*/ 5252501 h 7458372"/>
              <a:gd name="connsiteX13739" fmla="*/ 4578393 w 10505529"/>
              <a:gd name="connsiteY13739" fmla="*/ 5231468 h 7458372"/>
              <a:gd name="connsiteX13740" fmla="*/ 4600226 w 10505529"/>
              <a:gd name="connsiteY13740" fmla="*/ 5222816 h 7458372"/>
              <a:gd name="connsiteX13741" fmla="*/ 4382713 w 10505529"/>
              <a:gd name="connsiteY13741" fmla="*/ 5222816 h 7458372"/>
              <a:gd name="connsiteX13742" fmla="*/ 4394428 w 10505529"/>
              <a:gd name="connsiteY13742" fmla="*/ 5225478 h 7458372"/>
              <a:gd name="connsiteX13743" fmla="*/ 4403746 w 10505529"/>
              <a:gd name="connsiteY13743" fmla="*/ 5231868 h 7458372"/>
              <a:gd name="connsiteX13744" fmla="*/ 4409869 w 10505529"/>
              <a:gd name="connsiteY13744" fmla="*/ 5241186 h 7458372"/>
              <a:gd name="connsiteX13745" fmla="*/ 4412132 w 10505529"/>
              <a:gd name="connsiteY13745" fmla="*/ 5252634 h 7458372"/>
              <a:gd name="connsiteX13746" fmla="*/ 4409869 w 10505529"/>
              <a:gd name="connsiteY13746" fmla="*/ 5264349 h 7458372"/>
              <a:gd name="connsiteX13747" fmla="*/ 4403746 w 10505529"/>
              <a:gd name="connsiteY13747" fmla="*/ 5273668 h 7458372"/>
              <a:gd name="connsiteX13748" fmla="*/ 4394428 w 10505529"/>
              <a:gd name="connsiteY13748" fmla="*/ 5279924 h 7458372"/>
              <a:gd name="connsiteX13749" fmla="*/ 4382713 w 10505529"/>
              <a:gd name="connsiteY13749" fmla="*/ 5282187 h 7458372"/>
              <a:gd name="connsiteX13750" fmla="*/ 4360881 w 10505529"/>
              <a:gd name="connsiteY13750" fmla="*/ 5273668 h 7458372"/>
              <a:gd name="connsiteX13751" fmla="*/ 4352495 w 10505529"/>
              <a:gd name="connsiteY13751" fmla="*/ 5252501 h 7458372"/>
              <a:gd name="connsiteX13752" fmla="*/ 4360881 w 10505529"/>
              <a:gd name="connsiteY13752" fmla="*/ 5231468 h 7458372"/>
              <a:gd name="connsiteX13753" fmla="*/ 4382713 w 10505529"/>
              <a:gd name="connsiteY13753" fmla="*/ 5222816 h 7458372"/>
              <a:gd name="connsiteX13754" fmla="*/ 4165068 w 10505529"/>
              <a:gd name="connsiteY13754" fmla="*/ 5222816 h 7458372"/>
              <a:gd name="connsiteX13755" fmla="*/ 4176782 w 10505529"/>
              <a:gd name="connsiteY13755" fmla="*/ 5225478 h 7458372"/>
              <a:gd name="connsiteX13756" fmla="*/ 4186100 w 10505529"/>
              <a:gd name="connsiteY13756" fmla="*/ 5231868 h 7458372"/>
              <a:gd name="connsiteX13757" fmla="*/ 4192223 w 10505529"/>
              <a:gd name="connsiteY13757" fmla="*/ 5241186 h 7458372"/>
              <a:gd name="connsiteX13758" fmla="*/ 4194486 w 10505529"/>
              <a:gd name="connsiteY13758" fmla="*/ 5252634 h 7458372"/>
              <a:gd name="connsiteX13759" fmla="*/ 4192223 w 10505529"/>
              <a:gd name="connsiteY13759" fmla="*/ 5264349 h 7458372"/>
              <a:gd name="connsiteX13760" fmla="*/ 4186100 w 10505529"/>
              <a:gd name="connsiteY13760" fmla="*/ 5273668 h 7458372"/>
              <a:gd name="connsiteX13761" fmla="*/ 4176782 w 10505529"/>
              <a:gd name="connsiteY13761" fmla="*/ 5279924 h 7458372"/>
              <a:gd name="connsiteX13762" fmla="*/ 4165068 w 10505529"/>
              <a:gd name="connsiteY13762" fmla="*/ 5282187 h 7458372"/>
              <a:gd name="connsiteX13763" fmla="*/ 4143235 w 10505529"/>
              <a:gd name="connsiteY13763" fmla="*/ 5273668 h 7458372"/>
              <a:gd name="connsiteX13764" fmla="*/ 4134849 w 10505529"/>
              <a:gd name="connsiteY13764" fmla="*/ 5252501 h 7458372"/>
              <a:gd name="connsiteX13765" fmla="*/ 4143235 w 10505529"/>
              <a:gd name="connsiteY13765" fmla="*/ 5231468 h 7458372"/>
              <a:gd name="connsiteX13766" fmla="*/ 4165068 w 10505529"/>
              <a:gd name="connsiteY13766" fmla="*/ 5222816 h 7458372"/>
              <a:gd name="connsiteX13767" fmla="*/ 3947709 w 10505529"/>
              <a:gd name="connsiteY13767" fmla="*/ 5222816 h 7458372"/>
              <a:gd name="connsiteX13768" fmla="*/ 3959427 w 10505529"/>
              <a:gd name="connsiteY13768" fmla="*/ 5225478 h 7458372"/>
              <a:gd name="connsiteX13769" fmla="*/ 3968745 w 10505529"/>
              <a:gd name="connsiteY13769" fmla="*/ 5231868 h 7458372"/>
              <a:gd name="connsiteX13770" fmla="*/ 3974869 w 10505529"/>
              <a:gd name="connsiteY13770" fmla="*/ 5241186 h 7458372"/>
              <a:gd name="connsiteX13771" fmla="*/ 3977133 w 10505529"/>
              <a:gd name="connsiteY13771" fmla="*/ 5252634 h 7458372"/>
              <a:gd name="connsiteX13772" fmla="*/ 3974869 w 10505529"/>
              <a:gd name="connsiteY13772" fmla="*/ 5264349 h 7458372"/>
              <a:gd name="connsiteX13773" fmla="*/ 3968745 w 10505529"/>
              <a:gd name="connsiteY13773" fmla="*/ 5273668 h 7458372"/>
              <a:gd name="connsiteX13774" fmla="*/ 3959427 w 10505529"/>
              <a:gd name="connsiteY13774" fmla="*/ 5279924 h 7458372"/>
              <a:gd name="connsiteX13775" fmla="*/ 3947709 w 10505529"/>
              <a:gd name="connsiteY13775" fmla="*/ 5282187 h 7458372"/>
              <a:gd name="connsiteX13776" fmla="*/ 3925877 w 10505529"/>
              <a:gd name="connsiteY13776" fmla="*/ 5273668 h 7458372"/>
              <a:gd name="connsiteX13777" fmla="*/ 3917490 w 10505529"/>
              <a:gd name="connsiteY13777" fmla="*/ 5252501 h 7458372"/>
              <a:gd name="connsiteX13778" fmla="*/ 3925877 w 10505529"/>
              <a:gd name="connsiteY13778" fmla="*/ 5231468 h 7458372"/>
              <a:gd name="connsiteX13779" fmla="*/ 3947709 w 10505529"/>
              <a:gd name="connsiteY13779" fmla="*/ 5222816 h 7458372"/>
              <a:gd name="connsiteX13780" fmla="*/ 3730051 w 10505529"/>
              <a:gd name="connsiteY13780" fmla="*/ 5222816 h 7458372"/>
              <a:gd name="connsiteX13781" fmla="*/ 3741767 w 10505529"/>
              <a:gd name="connsiteY13781" fmla="*/ 5225478 h 7458372"/>
              <a:gd name="connsiteX13782" fmla="*/ 3751085 w 10505529"/>
              <a:gd name="connsiteY13782" fmla="*/ 5231868 h 7458372"/>
              <a:gd name="connsiteX13783" fmla="*/ 3757208 w 10505529"/>
              <a:gd name="connsiteY13783" fmla="*/ 5241186 h 7458372"/>
              <a:gd name="connsiteX13784" fmla="*/ 3759471 w 10505529"/>
              <a:gd name="connsiteY13784" fmla="*/ 5252634 h 7458372"/>
              <a:gd name="connsiteX13785" fmla="*/ 3757208 w 10505529"/>
              <a:gd name="connsiteY13785" fmla="*/ 5264349 h 7458372"/>
              <a:gd name="connsiteX13786" fmla="*/ 3751085 w 10505529"/>
              <a:gd name="connsiteY13786" fmla="*/ 5273668 h 7458372"/>
              <a:gd name="connsiteX13787" fmla="*/ 3741767 w 10505529"/>
              <a:gd name="connsiteY13787" fmla="*/ 5279924 h 7458372"/>
              <a:gd name="connsiteX13788" fmla="*/ 3730051 w 10505529"/>
              <a:gd name="connsiteY13788" fmla="*/ 5282187 h 7458372"/>
              <a:gd name="connsiteX13789" fmla="*/ 3708212 w 10505529"/>
              <a:gd name="connsiteY13789" fmla="*/ 5273668 h 7458372"/>
              <a:gd name="connsiteX13790" fmla="*/ 3699826 w 10505529"/>
              <a:gd name="connsiteY13790" fmla="*/ 5252501 h 7458372"/>
              <a:gd name="connsiteX13791" fmla="*/ 3708212 w 10505529"/>
              <a:gd name="connsiteY13791" fmla="*/ 5231468 h 7458372"/>
              <a:gd name="connsiteX13792" fmla="*/ 3730051 w 10505529"/>
              <a:gd name="connsiteY13792" fmla="*/ 5222816 h 7458372"/>
              <a:gd name="connsiteX13793" fmla="*/ 3512391 w 10505529"/>
              <a:gd name="connsiteY13793" fmla="*/ 5222816 h 7458372"/>
              <a:gd name="connsiteX13794" fmla="*/ 3524107 w 10505529"/>
              <a:gd name="connsiteY13794" fmla="*/ 5225478 h 7458372"/>
              <a:gd name="connsiteX13795" fmla="*/ 3533425 w 10505529"/>
              <a:gd name="connsiteY13795" fmla="*/ 5231868 h 7458372"/>
              <a:gd name="connsiteX13796" fmla="*/ 3539548 w 10505529"/>
              <a:gd name="connsiteY13796" fmla="*/ 5241186 h 7458372"/>
              <a:gd name="connsiteX13797" fmla="*/ 3541811 w 10505529"/>
              <a:gd name="connsiteY13797" fmla="*/ 5252634 h 7458372"/>
              <a:gd name="connsiteX13798" fmla="*/ 3539548 w 10505529"/>
              <a:gd name="connsiteY13798" fmla="*/ 5264349 h 7458372"/>
              <a:gd name="connsiteX13799" fmla="*/ 3533425 w 10505529"/>
              <a:gd name="connsiteY13799" fmla="*/ 5273668 h 7458372"/>
              <a:gd name="connsiteX13800" fmla="*/ 3524107 w 10505529"/>
              <a:gd name="connsiteY13800" fmla="*/ 5279924 h 7458372"/>
              <a:gd name="connsiteX13801" fmla="*/ 3512391 w 10505529"/>
              <a:gd name="connsiteY13801" fmla="*/ 5282187 h 7458372"/>
              <a:gd name="connsiteX13802" fmla="*/ 3490555 w 10505529"/>
              <a:gd name="connsiteY13802" fmla="*/ 5273668 h 7458372"/>
              <a:gd name="connsiteX13803" fmla="*/ 3482168 w 10505529"/>
              <a:gd name="connsiteY13803" fmla="*/ 5252501 h 7458372"/>
              <a:gd name="connsiteX13804" fmla="*/ 3490555 w 10505529"/>
              <a:gd name="connsiteY13804" fmla="*/ 5231468 h 7458372"/>
              <a:gd name="connsiteX13805" fmla="*/ 3512391 w 10505529"/>
              <a:gd name="connsiteY13805" fmla="*/ 5222816 h 7458372"/>
              <a:gd name="connsiteX13806" fmla="*/ 3294865 w 10505529"/>
              <a:gd name="connsiteY13806" fmla="*/ 5222816 h 7458372"/>
              <a:gd name="connsiteX13807" fmla="*/ 3306580 w 10505529"/>
              <a:gd name="connsiteY13807" fmla="*/ 5225478 h 7458372"/>
              <a:gd name="connsiteX13808" fmla="*/ 3315898 w 10505529"/>
              <a:gd name="connsiteY13808" fmla="*/ 5231868 h 7458372"/>
              <a:gd name="connsiteX13809" fmla="*/ 3322021 w 10505529"/>
              <a:gd name="connsiteY13809" fmla="*/ 5241186 h 7458372"/>
              <a:gd name="connsiteX13810" fmla="*/ 3324284 w 10505529"/>
              <a:gd name="connsiteY13810" fmla="*/ 5252634 h 7458372"/>
              <a:gd name="connsiteX13811" fmla="*/ 3322021 w 10505529"/>
              <a:gd name="connsiteY13811" fmla="*/ 5264349 h 7458372"/>
              <a:gd name="connsiteX13812" fmla="*/ 3315898 w 10505529"/>
              <a:gd name="connsiteY13812" fmla="*/ 5273668 h 7458372"/>
              <a:gd name="connsiteX13813" fmla="*/ 3306580 w 10505529"/>
              <a:gd name="connsiteY13813" fmla="*/ 5279924 h 7458372"/>
              <a:gd name="connsiteX13814" fmla="*/ 3294865 w 10505529"/>
              <a:gd name="connsiteY13814" fmla="*/ 5282187 h 7458372"/>
              <a:gd name="connsiteX13815" fmla="*/ 3273026 w 10505529"/>
              <a:gd name="connsiteY13815" fmla="*/ 5273668 h 7458372"/>
              <a:gd name="connsiteX13816" fmla="*/ 3264639 w 10505529"/>
              <a:gd name="connsiteY13816" fmla="*/ 5252501 h 7458372"/>
              <a:gd name="connsiteX13817" fmla="*/ 3273026 w 10505529"/>
              <a:gd name="connsiteY13817" fmla="*/ 5231468 h 7458372"/>
              <a:gd name="connsiteX13818" fmla="*/ 3294865 w 10505529"/>
              <a:gd name="connsiteY13818" fmla="*/ 5222816 h 7458372"/>
              <a:gd name="connsiteX13819" fmla="*/ 3077204 w 10505529"/>
              <a:gd name="connsiteY13819" fmla="*/ 5222816 h 7458372"/>
              <a:gd name="connsiteX13820" fmla="*/ 3088920 w 10505529"/>
              <a:gd name="connsiteY13820" fmla="*/ 5225478 h 7458372"/>
              <a:gd name="connsiteX13821" fmla="*/ 3098238 w 10505529"/>
              <a:gd name="connsiteY13821" fmla="*/ 5231868 h 7458372"/>
              <a:gd name="connsiteX13822" fmla="*/ 3104361 w 10505529"/>
              <a:gd name="connsiteY13822" fmla="*/ 5241186 h 7458372"/>
              <a:gd name="connsiteX13823" fmla="*/ 3106624 w 10505529"/>
              <a:gd name="connsiteY13823" fmla="*/ 5252634 h 7458372"/>
              <a:gd name="connsiteX13824" fmla="*/ 3104361 w 10505529"/>
              <a:gd name="connsiteY13824" fmla="*/ 5264349 h 7458372"/>
              <a:gd name="connsiteX13825" fmla="*/ 3098238 w 10505529"/>
              <a:gd name="connsiteY13825" fmla="*/ 5273668 h 7458372"/>
              <a:gd name="connsiteX13826" fmla="*/ 3088920 w 10505529"/>
              <a:gd name="connsiteY13826" fmla="*/ 5279924 h 7458372"/>
              <a:gd name="connsiteX13827" fmla="*/ 3077204 w 10505529"/>
              <a:gd name="connsiteY13827" fmla="*/ 5282187 h 7458372"/>
              <a:gd name="connsiteX13828" fmla="*/ 3055367 w 10505529"/>
              <a:gd name="connsiteY13828" fmla="*/ 5273668 h 7458372"/>
              <a:gd name="connsiteX13829" fmla="*/ 3046980 w 10505529"/>
              <a:gd name="connsiteY13829" fmla="*/ 5252501 h 7458372"/>
              <a:gd name="connsiteX13830" fmla="*/ 3055367 w 10505529"/>
              <a:gd name="connsiteY13830" fmla="*/ 5231468 h 7458372"/>
              <a:gd name="connsiteX13831" fmla="*/ 3077204 w 10505529"/>
              <a:gd name="connsiteY13831" fmla="*/ 5222816 h 7458372"/>
              <a:gd name="connsiteX13832" fmla="*/ 2859544 w 10505529"/>
              <a:gd name="connsiteY13832" fmla="*/ 5222816 h 7458372"/>
              <a:gd name="connsiteX13833" fmla="*/ 2871393 w 10505529"/>
              <a:gd name="connsiteY13833" fmla="*/ 5225478 h 7458372"/>
              <a:gd name="connsiteX13834" fmla="*/ 2880711 w 10505529"/>
              <a:gd name="connsiteY13834" fmla="*/ 5231868 h 7458372"/>
              <a:gd name="connsiteX13835" fmla="*/ 2886834 w 10505529"/>
              <a:gd name="connsiteY13835" fmla="*/ 5241186 h 7458372"/>
              <a:gd name="connsiteX13836" fmla="*/ 2889097 w 10505529"/>
              <a:gd name="connsiteY13836" fmla="*/ 5252634 h 7458372"/>
              <a:gd name="connsiteX13837" fmla="*/ 2886834 w 10505529"/>
              <a:gd name="connsiteY13837" fmla="*/ 5264349 h 7458372"/>
              <a:gd name="connsiteX13838" fmla="*/ 2880711 w 10505529"/>
              <a:gd name="connsiteY13838" fmla="*/ 5273668 h 7458372"/>
              <a:gd name="connsiteX13839" fmla="*/ 2871393 w 10505529"/>
              <a:gd name="connsiteY13839" fmla="*/ 5279924 h 7458372"/>
              <a:gd name="connsiteX13840" fmla="*/ 2859544 w 10505529"/>
              <a:gd name="connsiteY13840" fmla="*/ 5282187 h 7458372"/>
              <a:gd name="connsiteX13841" fmla="*/ 2837707 w 10505529"/>
              <a:gd name="connsiteY13841" fmla="*/ 5273668 h 7458372"/>
              <a:gd name="connsiteX13842" fmla="*/ 2829319 w 10505529"/>
              <a:gd name="connsiteY13842" fmla="*/ 5252501 h 7458372"/>
              <a:gd name="connsiteX13843" fmla="*/ 2837707 w 10505529"/>
              <a:gd name="connsiteY13843" fmla="*/ 5231468 h 7458372"/>
              <a:gd name="connsiteX13844" fmla="*/ 2859544 w 10505529"/>
              <a:gd name="connsiteY13844" fmla="*/ 5222816 h 7458372"/>
              <a:gd name="connsiteX13845" fmla="*/ 2641884 w 10505529"/>
              <a:gd name="connsiteY13845" fmla="*/ 5222816 h 7458372"/>
              <a:gd name="connsiteX13846" fmla="*/ 2653600 w 10505529"/>
              <a:gd name="connsiteY13846" fmla="*/ 5225478 h 7458372"/>
              <a:gd name="connsiteX13847" fmla="*/ 2662918 w 10505529"/>
              <a:gd name="connsiteY13847" fmla="*/ 5231868 h 7458372"/>
              <a:gd name="connsiteX13848" fmla="*/ 2669041 w 10505529"/>
              <a:gd name="connsiteY13848" fmla="*/ 5241186 h 7458372"/>
              <a:gd name="connsiteX13849" fmla="*/ 2671304 w 10505529"/>
              <a:gd name="connsiteY13849" fmla="*/ 5252634 h 7458372"/>
              <a:gd name="connsiteX13850" fmla="*/ 2669041 w 10505529"/>
              <a:gd name="connsiteY13850" fmla="*/ 5264349 h 7458372"/>
              <a:gd name="connsiteX13851" fmla="*/ 2662918 w 10505529"/>
              <a:gd name="connsiteY13851" fmla="*/ 5273668 h 7458372"/>
              <a:gd name="connsiteX13852" fmla="*/ 2653600 w 10505529"/>
              <a:gd name="connsiteY13852" fmla="*/ 5279924 h 7458372"/>
              <a:gd name="connsiteX13853" fmla="*/ 2641884 w 10505529"/>
              <a:gd name="connsiteY13853" fmla="*/ 5282187 h 7458372"/>
              <a:gd name="connsiteX13854" fmla="*/ 2620052 w 10505529"/>
              <a:gd name="connsiteY13854" fmla="*/ 5273668 h 7458372"/>
              <a:gd name="connsiteX13855" fmla="*/ 2611661 w 10505529"/>
              <a:gd name="connsiteY13855" fmla="*/ 5252501 h 7458372"/>
              <a:gd name="connsiteX13856" fmla="*/ 2620052 w 10505529"/>
              <a:gd name="connsiteY13856" fmla="*/ 5231468 h 7458372"/>
              <a:gd name="connsiteX13857" fmla="*/ 2641884 w 10505529"/>
              <a:gd name="connsiteY13857" fmla="*/ 5222816 h 7458372"/>
              <a:gd name="connsiteX13858" fmla="*/ 2424224 w 10505529"/>
              <a:gd name="connsiteY13858" fmla="*/ 5222816 h 7458372"/>
              <a:gd name="connsiteX13859" fmla="*/ 2435939 w 10505529"/>
              <a:gd name="connsiteY13859" fmla="*/ 5225478 h 7458372"/>
              <a:gd name="connsiteX13860" fmla="*/ 2445257 w 10505529"/>
              <a:gd name="connsiteY13860" fmla="*/ 5231868 h 7458372"/>
              <a:gd name="connsiteX13861" fmla="*/ 2451381 w 10505529"/>
              <a:gd name="connsiteY13861" fmla="*/ 5241186 h 7458372"/>
              <a:gd name="connsiteX13862" fmla="*/ 2453644 w 10505529"/>
              <a:gd name="connsiteY13862" fmla="*/ 5252634 h 7458372"/>
              <a:gd name="connsiteX13863" fmla="*/ 2451381 w 10505529"/>
              <a:gd name="connsiteY13863" fmla="*/ 5264349 h 7458372"/>
              <a:gd name="connsiteX13864" fmla="*/ 2445257 w 10505529"/>
              <a:gd name="connsiteY13864" fmla="*/ 5273668 h 7458372"/>
              <a:gd name="connsiteX13865" fmla="*/ 2435939 w 10505529"/>
              <a:gd name="connsiteY13865" fmla="*/ 5279924 h 7458372"/>
              <a:gd name="connsiteX13866" fmla="*/ 2424224 w 10505529"/>
              <a:gd name="connsiteY13866" fmla="*/ 5282187 h 7458372"/>
              <a:gd name="connsiteX13867" fmla="*/ 2402392 w 10505529"/>
              <a:gd name="connsiteY13867" fmla="*/ 5273668 h 7458372"/>
              <a:gd name="connsiteX13868" fmla="*/ 2394003 w 10505529"/>
              <a:gd name="connsiteY13868" fmla="*/ 5252501 h 7458372"/>
              <a:gd name="connsiteX13869" fmla="*/ 2402392 w 10505529"/>
              <a:gd name="connsiteY13869" fmla="*/ 5231468 h 7458372"/>
              <a:gd name="connsiteX13870" fmla="*/ 2424224 w 10505529"/>
              <a:gd name="connsiteY13870" fmla="*/ 5222816 h 7458372"/>
              <a:gd name="connsiteX13871" fmla="*/ 2206564 w 10505529"/>
              <a:gd name="connsiteY13871" fmla="*/ 5222816 h 7458372"/>
              <a:gd name="connsiteX13872" fmla="*/ 2218279 w 10505529"/>
              <a:gd name="connsiteY13872" fmla="*/ 5225478 h 7458372"/>
              <a:gd name="connsiteX13873" fmla="*/ 2227598 w 10505529"/>
              <a:gd name="connsiteY13873" fmla="*/ 5231868 h 7458372"/>
              <a:gd name="connsiteX13874" fmla="*/ 2233720 w 10505529"/>
              <a:gd name="connsiteY13874" fmla="*/ 5241186 h 7458372"/>
              <a:gd name="connsiteX13875" fmla="*/ 2235983 w 10505529"/>
              <a:gd name="connsiteY13875" fmla="*/ 5252634 h 7458372"/>
              <a:gd name="connsiteX13876" fmla="*/ 2233720 w 10505529"/>
              <a:gd name="connsiteY13876" fmla="*/ 5264349 h 7458372"/>
              <a:gd name="connsiteX13877" fmla="*/ 2227598 w 10505529"/>
              <a:gd name="connsiteY13877" fmla="*/ 5273668 h 7458372"/>
              <a:gd name="connsiteX13878" fmla="*/ 2218279 w 10505529"/>
              <a:gd name="connsiteY13878" fmla="*/ 5279924 h 7458372"/>
              <a:gd name="connsiteX13879" fmla="*/ 2206564 w 10505529"/>
              <a:gd name="connsiteY13879" fmla="*/ 5282187 h 7458372"/>
              <a:gd name="connsiteX13880" fmla="*/ 2184731 w 10505529"/>
              <a:gd name="connsiteY13880" fmla="*/ 5273668 h 7458372"/>
              <a:gd name="connsiteX13881" fmla="*/ 2176343 w 10505529"/>
              <a:gd name="connsiteY13881" fmla="*/ 5252501 h 7458372"/>
              <a:gd name="connsiteX13882" fmla="*/ 2184731 w 10505529"/>
              <a:gd name="connsiteY13882" fmla="*/ 5231468 h 7458372"/>
              <a:gd name="connsiteX13883" fmla="*/ 2206564 w 10505529"/>
              <a:gd name="connsiteY13883" fmla="*/ 5222816 h 7458372"/>
              <a:gd name="connsiteX13884" fmla="*/ 1989037 w 10505529"/>
              <a:gd name="connsiteY13884" fmla="*/ 5222816 h 7458372"/>
              <a:gd name="connsiteX13885" fmla="*/ 2000752 w 10505529"/>
              <a:gd name="connsiteY13885" fmla="*/ 5225478 h 7458372"/>
              <a:gd name="connsiteX13886" fmla="*/ 2010070 w 10505529"/>
              <a:gd name="connsiteY13886" fmla="*/ 5231868 h 7458372"/>
              <a:gd name="connsiteX13887" fmla="*/ 2016193 w 10505529"/>
              <a:gd name="connsiteY13887" fmla="*/ 5241186 h 7458372"/>
              <a:gd name="connsiteX13888" fmla="*/ 2018456 w 10505529"/>
              <a:gd name="connsiteY13888" fmla="*/ 5252634 h 7458372"/>
              <a:gd name="connsiteX13889" fmla="*/ 2016193 w 10505529"/>
              <a:gd name="connsiteY13889" fmla="*/ 5264349 h 7458372"/>
              <a:gd name="connsiteX13890" fmla="*/ 2010070 w 10505529"/>
              <a:gd name="connsiteY13890" fmla="*/ 5273668 h 7458372"/>
              <a:gd name="connsiteX13891" fmla="*/ 2000752 w 10505529"/>
              <a:gd name="connsiteY13891" fmla="*/ 5279924 h 7458372"/>
              <a:gd name="connsiteX13892" fmla="*/ 1989037 w 10505529"/>
              <a:gd name="connsiteY13892" fmla="*/ 5282187 h 7458372"/>
              <a:gd name="connsiteX13893" fmla="*/ 1967205 w 10505529"/>
              <a:gd name="connsiteY13893" fmla="*/ 5273668 h 7458372"/>
              <a:gd name="connsiteX13894" fmla="*/ 1958819 w 10505529"/>
              <a:gd name="connsiteY13894" fmla="*/ 5252501 h 7458372"/>
              <a:gd name="connsiteX13895" fmla="*/ 1967205 w 10505529"/>
              <a:gd name="connsiteY13895" fmla="*/ 5231468 h 7458372"/>
              <a:gd name="connsiteX13896" fmla="*/ 1989037 w 10505529"/>
              <a:gd name="connsiteY13896" fmla="*/ 5222816 h 7458372"/>
              <a:gd name="connsiteX13897" fmla="*/ 1771402 w 10505529"/>
              <a:gd name="connsiteY13897" fmla="*/ 5222816 h 7458372"/>
              <a:gd name="connsiteX13898" fmla="*/ 1783116 w 10505529"/>
              <a:gd name="connsiteY13898" fmla="*/ 5225478 h 7458372"/>
              <a:gd name="connsiteX13899" fmla="*/ 1792434 w 10505529"/>
              <a:gd name="connsiteY13899" fmla="*/ 5231868 h 7458372"/>
              <a:gd name="connsiteX13900" fmla="*/ 1798557 w 10505529"/>
              <a:gd name="connsiteY13900" fmla="*/ 5241186 h 7458372"/>
              <a:gd name="connsiteX13901" fmla="*/ 1800820 w 10505529"/>
              <a:gd name="connsiteY13901" fmla="*/ 5252634 h 7458372"/>
              <a:gd name="connsiteX13902" fmla="*/ 1798557 w 10505529"/>
              <a:gd name="connsiteY13902" fmla="*/ 5264349 h 7458372"/>
              <a:gd name="connsiteX13903" fmla="*/ 1792434 w 10505529"/>
              <a:gd name="connsiteY13903" fmla="*/ 5273668 h 7458372"/>
              <a:gd name="connsiteX13904" fmla="*/ 1783116 w 10505529"/>
              <a:gd name="connsiteY13904" fmla="*/ 5279924 h 7458372"/>
              <a:gd name="connsiteX13905" fmla="*/ 1771402 w 10505529"/>
              <a:gd name="connsiteY13905" fmla="*/ 5282187 h 7458372"/>
              <a:gd name="connsiteX13906" fmla="*/ 1749573 w 10505529"/>
              <a:gd name="connsiteY13906" fmla="*/ 5273668 h 7458372"/>
              <a:gd name="connsiteX13907" fmla="*/ 1741190 w 10505529"/>
              <a:gd name="connsiteY13907" fmla="*/ 5252501 h 7458372"/>
              <a:gd name="connsiteX13908" fmla="*/ 1749573 w 10505529"/>
              <a:gd name="connsiteY13908" fmla="*/ 5231468 h 7458372"/>
              <a:gd name="connsiteX13909" fmla="*/ 1771402 w 10505529"/>
              <a:gd name="connsiteY13909" fmla="*/ 5222816 h 7458372"/>
              <a:gd name="connsiteX13910" fmla="*/ 1553765 w 10505529"/>
              <a:gd name="connsiteY13910" fmla="*/ 5222816 h 7458372"/>
              <a:gd name="connsiteX13911" fmla="*/ 1565480 w 10505529"/>
              <a:gd name="connsiteY13911" fmla="*/ 5225478 h 7458372"/>
              <a:gd name="connsiteX13912" fmla="*/ 1574798 w 10505529"/>
              <a:gd name="connsiteY13912" fmla="*/ 5231868 h 7458372"/>
              <a:gd name="connsiteX13913" fmla="*/ 1580921 w 10505529"/>
              <a:gd name="connsiteY13913" fmla="*/ 5241186 h 7458372"/>
              <a:gd name="connsiteX13914" fmla="*/ 1583184 w 10505529"/>
              <a:gd name="connsiteY13914" fmla="*/ 5252634 h 7458372"/>
              <a:gd name="connsiteX13915" fmla="*/ 1580921 w 10505529"/>
              <a:gd name="connsiteY13915" fmla="*/ 5264349 h 7458372"/>
              <a:gd name="connsiteX13916" fmla="*/ 1574798 w 10505529"/>
              <a:gd name="connsiteY13916" fmla="*/ 5273668 h 7458372"/>
              <a:gd name="connsiteX13917" fmla="*/ 1565480 w 10505529"/>
              <a:gd name="connsiteY13917" fmla="*/ 5279924 h 7458372"/>
              <a:gd name="connsiteX13918" fmla="*/ 1553765 w 10505529"/>
              <a:gd name="connsiteY13918" fmla="*/ 5282187 h 7458372"/>
              <a:gd name="connsiteX13919" fmla="*/ 1531935 w 10505529"/>
              <a:gd name="connsiteY13919" fmla="*/ 5273668 h 7458372"/>
              <a:gd name="connsiteX13920" fmla="*/ 1523550 w 10505529"/>
              <a:gd name="connsiteY13920" fmla="*/ 5252501 h 7458372"/>
              <a:gd name="connsiteX13921" fmla="*/ 1531935 w 10505529"/>
              <a:gd name="connsiteY13921" fmla="*/ 5231468 h 7458372"/>
              <a:gd name="connsiteX13922" fmla="*/ 1553765 w 10505529"/>
              <a:gd name="connsiteY13922" fmla="*/ 5222816 h 7458372"/>
              <a:gd name="connsiteX13923" fmla="*/ 1336122 w 10505529"/>
              <a:gd name="connsiteY13923" fmla="*/ 5222816 h 7458372"/>
              <a:gd name="connsiteX13924" fmla="*/ 1347836 w 10505529"/>
              <a:gd name="connsiteY13924" fmla="*/ 5225478 h 7458372"/>
              <a:gd name="connsiteX13925" fmla="*/ 1357155 w 10505529"/>
              <a:gd name="connsiteY13925" fmla="*/ 5231868 h 7458372"/>
              <a:gd name="connsiteX13926" fmla="*/ 1363278 w 10505529"/>
              <a:gd name="connsiteY13926" fmla="*/ 5241186 h 7458372"/>
              <a:gd name="connsiteX13927" fmla="*/ 1365540 w 10505529"/>
              <a:gd name="connsiteY13927" fmla="*/ 5252634 h 7458372"/>
              <a:gd name="connsiteX13928" fmla="*/ 1363278 w 10505529"/>
              <a:gd name="connsiteY13928" fmla="*/ 5264349 h 7458372"/>
              <a:gd name="connsiteX13929" fmla="*/ 1357155 w 10505529"/>
              <a:gd name="connsiteY13929" fmla="*/ 5273668 h 7458372"/>
              <a:gd name="connsiteX13930" fmla="*/ 1347836 w 10505529"/>
              <a:gd name="connsiteY13930" fmla="*/ 5279924 h 7458372"/>
              <a:gd name="connsiteX13931" fmla="*/ 1336122 w 10505529"/>
              <a:gd name="connsiteY13931" fmla="*/ 5282187 h 7458372"/>
              <a:gd name="connsiteX13932" fmla="*/ 1314289 w 10505529"/>
              <a:gd name="connsiteY13932" fmla="*/ 5273668 h 7458372"/>
              <a:gd name="connsiteX13933" fmla="*/ 1305903 w 10505529"/>
              <a:gd name="connsiteY13933" fmla="*/ 5252501 h 7458372"/>
              <a:gd name="connsiteX13934" fmla="*/ 1314289 w 10505529"/>
              <a:gd name="connsiteY13934" fmla="*/ 5231468 h 7458372"/>
              <a:gd name="connsiteX13935" fmla="*/ 1336122 w 10505529"/>
              <a:gd name="connsiteY13935" fmla="*/ 5222816 h 7458372"/>
              <a:gd name="connsiteX13936" fmla="*/ 1118476 w 10505529"/>
              <a:gd name="connsiteY13936" fmla="*/ 5222816 h 7458372"/>
              <a:gd name="connsiteX13937" fmla="*/ 1130194 w 10505529"/>
              <a:gd name="connsiteY13937" fmla="*/ 5225478 h 7458372"/>
              <a:gd name="connsiteX13938" fmla="*/ 1139509 w 10505529"/>
              <a:gd name="connsiteY13938" fmla="*/ 5231868 h 7458372"/>
              <a:gd name="connsiteX13939" fmla="*/ 1145629 w 10505529"/>
              <a:gd name="connsiteY13939" fmla="*/ 5241186 h 7458372"/>
              <a:gd name="connsiteX13940" fmla="*/ 1147892 w 10505529"/>
              <a:gd name="connsiteY13940" fmla="*/ 5252634 h 7458372"/>
              <a:gd name="connsiteX13941" fmla="*/ 1145629 w 10505529"/>
              <a:gd name="connsiteY13941" fmla="*/ 5264349 h 7458372"/>
              <a:gd name="connsiteX13942" fmla="*/ 1139509 w 10505529"/>
              <a:gd name="connsiteY13942" fmla="*/ 5273668 h 7458372"/>
              <a:gd name="connsiteX13943" fmla="*/ 1130194 w 10505529"/>
              <a:gd name="connsiteY13943" fmla="*/ 5279924 h 7458372"/>
              <a:gd name="connsiteX13944" fmla="*/ 1118476 w 10505529"/>
              <a:gd name="connsiteY13944" fmla="*/ 5282187 h 7458372"/>
              <a:gd name="connsiteX13945" fmla="*/ 1096641 w 10505529"/>
              <a:gd name="connsiteY13945" fmla="*/ 5273668 h 7458372"/>
              <a:gd name="connsiteX13946" fmla="*/ 1088257 w 10505529"/>
              <a:gd name="connsiteY13946" fmla="*/ 5252501 h 7458372"/>
              <a:gd name="connsiteX13947" fmla="*/ 1096641 w 10505529"/>
              <a:gd name="connsiteY13947" fmla="*/ 5231468 h 7458372"/>
              <a:gd name="connsiteX13948" fmla="*/ 1118476 w 10505529"/>
              <a:gd name="connsiteY13948" fmla="*/ 5222816 h 7458372"/>
              <a:gd name="connsiteX13949" fmla="*/ 900963 w 10505529"/>
              <a:gd name="connsiteY13949" fmla="*/ 5222816 h 7458372"/>
              <a:gd name="connsiteX13950" fmla="*/ 912678 w 10505529"/>
              <a:gd name="connsiteY13950" fmla="*/ 5225478 h 7458372"/>
              <a:gd name="connsiteX13951" fmla="*/ 921996 w 10505529"/>
              <a:gd name="connsiteY13951" fmla="*/ 5231868 h 7458372"/>
              <a:gd name="connsiteX13952" fmla="*/ 928119 w 10505529"/>
              <a:gd name="connsiteY13952" fmla="*/ 5241186 h 7458372"/>
              <a:gd name="connsiteX13953" fmla="*/ 930382 w 10505529"/>
              <a:gd name="connsiteY13953" fmla="*/ 5252634 h 7458372"/>
              <a:gd name="connsiteX13954" fmla="*/ 928119 w 10505529"/>
              <a:gd name="connsiteY13954" fmla="*/ 5264349 h 7458372"/>
              <a:gd name="connsiteX13955" fmla="*/ 921996 w 10505529"/>
              <a:gd name="connsiteY13955" fmla="*/ 5273668 h 7458372"/>
              <a:gd name="connsiteX13956" fmla="*/ 912678 w 10505529"/>
              <a:gd name="connsiteY13956" fmla="*/ 5279924 h 7458372"/>
              <a:gd name="connsiteX13957" fmla="*/ 900963 w 10505529"/>
              <a:gd name="connsiteY13957" fmla="*/ 5282187 h 7458372"/>
              <a:gd name="connsiteX13958" fmla="*/ 879132 w 10505529"/>
              <a:gd name="connsiteY13958" fmla="*/ 5273668 h 7458372"/>
              <a:gd name="connsiteX13959" fmla="*/ 870747 w 10505529"/>
              <a:gd name="connsiteY13959" fmla="*/ 5252501 h 7458372"/>
              <a:gd name="connsiteX13960" fmla="*/ 879132 w 10505529"/>
              <a:gd name="connsiteY13960" fmla="*/ 5231468 h 7458372"/>
              <a:gd name="connsiteX13961" fmla="*/ 900963 w 10505529"/>
              <a:gd name="connsiteY13961" fmla="*/ 5222816 h 7458372"/>
              <a:gd name="connsiteX13962" fmla="*/ 683323 w 10505529"/>
              <a:gd name="connsiteY13962" fmla="*/ 5222816 h 7458372"/>
              <a:gd name="connsiteX13963" fmla="*/ 695038 w 10505529"/>
              <a:gd name="connsiteY13963" fmla="*/ 5225478 h 7458372"/>
              <a:gd name="connsiteX13964" fmla="*/ 704355 w 10505529"/>
              <a:gd name="connsiteY13964" fmla="*/ 5231868 h 7458372"/>
              <a:gd name="connsiteX13965" fmla="*/ 710478 w 10505529"/>
              <a:gd name="connsiteY13965" fmla="*/ 5241186 h 7458372"/>
              <a:gd name="connsiteX13966" fmla="*/ 712741 w 10505529"/>
              <a:gd name="connsiteY13966" fmla="*/ 5252634 h 7458372"/>
              <a:gd name="connsiteX13967" fmla="*/ 710478 w 10505529"/>
              <a:gd name="connsiteY13967" fmla="*/ 5264349 h 7458372"/>
              <a:gd name="connsiteX13968" fmla="*/ 704355 w 10505529"/>
              <a:gd name="connsiteY13968" fmla="*/ 5273668 h 7458372"/>
              <a:gd name="connsiteX13969" fmla="*/ 695038 w 10505529"/>
              <a:gd name="connsiteY13969" fmla="*/ 5279924 h 7458372"/>
              <a:gd name="connsiteX13970" fmla="*/ 683323 w 10505529"/>
              <a:gd name="connsiteY13970" fmla="*/ 5282187 h 7458372"/>
              <a:gd name="connsiteX13971" fmla="*/ 661491 w 10505529"/>
              <a:gd name="connsiteY13971" fmla="*/ 5273668 h 7458372"/>
              <a:gd name="connsiteX13972" fmla="*/ 653105 w 10505529"/>
              <a:gd name="connsiteY13972" fmla="*/ 5252501 h 7458372"/>
              <a:gd name="connsiteX13973" fmla="*/ 661491 w 10505529"/>
              <a:gd name="connsiteY13973" fmla="*/ 5231468 h 7458372"/>
              <a:gd name="connsiteX13974" fmla="*/ 683323 w 10505529"/>
              <a:gd name="connsiteY13974" fmla="*/ 5222816 h 7458372"/>
              <a:gd name="connsiteX13975" fmla="*/ 465681 w 10505529"/>
              <a:gd name="connsiteY13975" fmla="*/ 5222816 h 7458372"/>
              <a:gd name="connsiteX13976" fmla="*/ 477396 w 10505529"/>
              <a:gd name="connsiteY13976" fmla="*/ 5225478 h 7458372"/>
              <a:gd name="connsiteX13977" fmla="*/ 486714 w 10505529"/>
              <a:gd name="connsiteY13977" fmla="*/ 5231868 h 7458372"/>
              <a:gd name="connsiteX13978" fmla="*/ 492837 w 10505529"/>
              <a:gd name="connsiteY13978" fmla="*/ 5241186 h 7458372"/>
              <a:gd name="connsiteX13979" fmla="*/ 495100 w 10505529"/>
              <a:gd name="connsiteY13979" fmla="*/ 5252634 h 7458372"/>
              <a:gd name="connsiteX13980" fmla="*/ 492837 w 10505529"/>
              <a:gd name="connsiteY13980" fmla="*/ 5264349 h 7458372"/>
              <a:gd name="connsiteX13981" fmla="*/ 486714 w 10505529"/>
              <a:gd name="connsiteY13981" fmla="*/ 5273668 h 7458372"/>
              <a:gd name="connsiteX13982" fmla="*/ 477396 w 10505529"/>
              <a:gd name="connsiteY13982" fmla="*/ 5279924 h 7458372"/>
              <a:gd name="connsiteX13983" fmla="*/ 465681 w 10505529"/>
              <a:gd name="connsiteY13983" fmla="*/ 5282187 h 7458372"/>
              <a:gd name="connsiteX13984" fmla="*/ 443850 w 10505529"/>
              <a:gd name="connsiteY13984" fmla="*/ 5273668 h 7458372"/>
              <a:gd name="connsiteX13985" fmla="*/ 435464 w 10505529"/>
              <a:gd name="connsiteY13985" fmla="*/ 5252501 h 7458372"/>
              <a:gd name="connsiteX13986" fmla="*/ 443850 w 10505529"/>
              <a:gd name="connsiteY13986" fmla="*/ 5231468 h 7458372"/>
              <a:gd name="connsiteX13987" fmla="*/ 465681 w 10505529"/>
              <a:gd name="connsiteY13987" fmla="*/ 5222816 h 7458372"/>
              <a:gd name="connsiteX13988" fmla="*/ 248039 w 10505529"/>
              <a:gd name="connsiteY13988" fmla="*/ 5222816 h 7458372"/>
              <a:gd name="connsiteX13989" fmla="*/ 259754 w 10505529"/>
              <a:gd name="connsiteY13989" fmla="*/ 5225478 h 7458372"/>
              <a:gd name="connsiteX13990" fmla="*/ 269072 w 10505529"/>
              <a:gd name="connsiteY13990" fmla="*/ 5231868 h 7458372"/>
              <a:gd name="connsiteX13991" fmla="*/ 275195 w 10505529"/>
              <a:gd name="connsiteY13991" fmla="*/ 5241186 h 7458372"/>
              <a:gd name="connsiteX13992" fmla="*/ 277458 w 10505529"/>
              <a:gd name="connsiteY13992" fmla="*/ 5252634 h 7458372"/>
              <a:gd name="connsiteX13993" fmla="*/ 275195 w 10505529"/>
              <a:gd name="connsiteY13993" fmla="*/ 5264349 h 7458372"/>
              <a:gd name="connsiteX13994" fmla="*/ 269072 w 10505529"/>
              <a:gd name="connsiteY13994" fmla="*/ 5273668 h 7458372"/>
              <a:gd name="connsiteX13995" fmla="*/ 259754 w 10505529"/>
              <a:gd name="connsiteY13995" fmla="*/ 5279924 h 7458372"/>
              <a:gd name="connsiteX13996" fmla="*/ 248039 w 10505529"/>
              <a:gd name="connsiteY13996" fmla="*/ 5282187 h 7458372"/>
              <a:gd name="connsiteX13997" fmla="*/ 226209 w 10505529"/>
              <a:gd name="connsiteY13997" fmla="*/ 5273668 h 7458372"/>
              <a:gd name="connsiteX13998" fmla="*/ 217824 w 10505529"/>
              <a:gd name="connsiteY13998" fmla="*/ 5252501 h 7458372"/>
              <a:gd name="connsiteX13999" fmla="*/ 226209 w 10505529"/>
              <a:gd name="connsiteY13999" fmla="*/ 5231468 h 7458372"/>
              <a:gd name="connsiteX14000" fmla="*/ 248039 w 10505529"/>
              <a:gd name="connsiteY14000" fmla="*/ 5222816 h 7458372"/>
              <a:gd name="connsiteX14001" fmla="*/ 30398 w 10505529"/>
              <a:gd name="connsiteY14001" fmla="*/ 5222816 h 7458372"/>
              <a:gd name="connsiteX14002" fmla="*/ 42113 w 10505529"/>
              <a:gd name="connsiteY14002" fmla="*/ 5225478 h 7458372"/>
              <a:gd name="connsiteX14003" fmla="*/ 51431 w 10505529"/>
              <a:gd name="connsiteY14003" fmla="*/ 5231868 h 7458372"/>
              <a:gd name="connsiteX14004" fmla="*/ 57554 w 10505529"/>
              <a:gd name="connsiteY14004" fmla="*/ 5241186 h 7458372"/>
              <a:gd name="connsiteX14005" fmla="*/ 59817 w 10505529"/>
              <a:gd name="connsiteY14005" fmla="*/ 5252634 h 7458372"/>
              <a:gd name="connsiteX14006" fmla="*/ 57554 w 10505529"/>
              <a:gd name="connsiteY14006" fmla="*/ 5264349 h 7458372"/>
              <a:gd name="connsiteX14007" fmla="*/ 51431 w 10505529"/>
              <a:gd name="connsiteY14007" fmla="*/ 5273668 h 7458372"/>
              <a:gd name="connsiteX14008" fmla="*/ 42113 w 10505529"/>
              <a:gd name="connsiteY14008" fmla="*/ 5279924 h 7458372"/>
              <a:gd name="connsiteX14009" fmla="*/ 30398 w 10505529"/>
              <a:gd name="connsiteY14009" fmla="*/ 5282187 h 7458372"/>
              <a:gd name="connsiteX14010" fmla="*/ 8570 w 10505529"/>
              <a:gd name="connsiteY14010" fmla="*/ 5273668 h 7458372"/>
              <a:gd name="connsiteX14011" fmla="*/ 184 w 10505529"/>
              <a:gd name="connsiteY14011" fmla="*/ 5252501 h 7458372"/>
              <a:gd name="connsiteX14012" fmla="*/ 8570 w 10505529"/>
              <a:gd name="connsiteY14012" fmla="*/ 5231468 h 7458372"/>
              <a:gd name="connsiteX14013" fmla="*/ 30398 w 10505529"/>
              <a:gd name="connsiteY14013" fmla="*/ 5222816 h 7458372"/>
              <a:gd name="connsiteX14014" fmla="*/ 10475977 w 10505529"/>
              <a:gd name="connsiteY14014" fmla="*/ 5021945 h 7458372"/>
              <a:gd name="connsiteX14015" fmla="*/ 10465992 w 10505529"/>
              <a:gd name="connsiteY14015" fmla="*/ 5025539 h 7458372"/>
              <a:gd name="connsiteX14016" fmla="*/ 10462399 w 10505529"/>
              <a:gd name="connsiteY14016" fmla="*/ 5034990 h 7458372"/>
              <a:gd name="connsiteX14017" fmla="*/ 10465992 w 10505529"/>
              <a:gd name="connsiteY14017" fmla="*/ 5044441 h 7458372"/>
              <a:gd name="connsiteX14018" fmla="*/ 10475977 w 10505529"/>
              <a:gd name="connsiteY14018" fmla="*/ 5047903 h 7458372"/>
              <a:gd name="connsiteX14019" fmla="*/ 10481302 w 10505529"/>
              <a:gd name="connsiteY14019" fmla="*/ 5046971 h 7458372"/>
              <a:gd name="connsiteX14020" fmla="*/ 10485029 w 10505529"/>
              <a:gd name="connsiteY14020" fmla="*/ 5044574 h 7458372"/>
              <a:gd name="connsiteX14021" fmla="*/ 10487691 w 10505529"/>
              <a:gd name="connsiteY14021" fmla="*/ 5040315 h 7458372"/>
              <a:gd name="connsiteX14022" fmla="*/ 10488623 w 10505529"/>
              <a:gd name="connsiteY14022" fmla="*/ 5034857 h 7458372"/>
              <a:gd name="connsiteX14023" fmla="*/ 10487691 w 10505529"/>
              <a:gd name="connsiteY14023" fmla="*/ 5029666 h 7458372"/>
              <a:gd name="connsiteX14024" fmla="*/ 10485029 w 10505529"/>
              <a:gd name="connsiteY14024" fmla="*/ 5025539 h 7458372"/>
              <a:gd name="connsiteX14025" fmla="*/ 10481035 w 10505529"/>
              <a:gd name="connsiteY14025" fmla="*/ 5022876 h 7458372"/>
              <a:gd name="connsiteX14026" fmla="*/ 10475977 w 10505529"/>
              <a:gd name="connsiteY14026" fmla="*/ 5021945 h 7458372"/>
              <a:gd name="connsiteX14027" fmla="*/ 10258466 w 10505529"/>
              <a:gd name="connsiteY14027" fmla="*/ 5021945 h 7458372"/>
              <a:gd name="connsiteX14028" fmla="*/ 10248481 w 10505529"/>
              <a:gd name="connsiteY14028" fmla="*/ 5025539 h 7458372"/>
              <a:gd name="connsiteX14029" fmla="*/ 10244887 w 10505529"/>
              <a:gd name="connsiteY14029" fmla="*/ 5034990 h 7458372"/>
              <a:gd name="connsiteX14030" fmla="*/ 10248481 w 10505529"/>
              <a:gd name="connsiteY14030" fmla="*/ 5044441 h 7458372"/>
              <a:gd name="connsiteX14031" fmla="*/ 10258466 w 10505529"/>
              <a:gd name="connsiteY14031" fmla="*/ 5047903 h 7458372"/>
              <a:gd name="connsiteX14032" fmla="*/ 10263790 w 10505529"/>
              <a:gd name="connsiteY14032" fmla="*/ 5046971 h 7458372"/>
              <a:gd name="connsiteX14033" fmla="*/ 10267517 w 10505529"/>
              <a:gd name="connsiteY14033" fmla="*/ 5044574 h 7458372"/>
              <a:gd name="connsiteX14034" fmla="*/ 10270180 w 10505529"/>
              <a:gd name="connsiteY14034" fmla="*/ 5040315 h 7458372"/>
              <a:gd name="connsiteX14035" fmla="*/ 10271112 w 10505529"/>
              <a:gd name="connsiteY14035" fmla="*/ 5034857 h 7458372"/>
              <a:gd name="connsiteX14036" fmla="*/ 10270180 w 10505529"/>
              <a:gd name="connsiteY14036" fmla="*/ 5029666 h 7458372"/>
              <a:gd name="connsiteX14037" fmla="*/ 10267517 w 10505529"/>
              <a:gd name="connsiteY14037" fmla="*/ 5025539 h 7458372"/>
              <a:gd name="connsiteX14038" fmla="*/ 10263524 w 10505529"/>
              <a:gd name="connsiteY14038" fmla="*/ 5022876 h 7458372"/>
              <a:gd name="connsiteX14039" fmla="*/ 10258466 w 10505529"/>
              <a:gd name="connsiteY14039" fmla="*/ 5021945 h 7458372"/>
              <a:gd name="connsiteX14040" fmla="*/ 10040820 w 10505529"/>
              <a:gd name="connsiteY14040" fmla="*/ 5021945 h 7458372"/>
              <a:gd name="connsiteX14041" fmla="*/ 10030835 w 10505529"/>
              <a:gd name="connsiteY14041" fmla="*/ 5025539 h 7458372"/>
              <a:gd name="connsiteX14042" fmla="*/ 10027242 w 10505529"/>
              <a:gd name="connsiteY14042" fmla="*/ 5034990 h 7458372"/>
              <a:gd name="connsiteX14043" fmla="*/ 10030835 w 10505529"/>
              <a:gd name="connsiteY14043" fmla="*/ 5044441 h 7458372"/>
              <a:gd name="connsiteX14044" fmla="*/ 10040820 w 10505529"/>
              <a:gd name="connsiteY14044" fmla="*/ 5047903 h 7458372"/>
              <a:gd name="connsiteX14045" fmla="*/ 10046145 w 10505529"/>
              <a:gd name="connsiteY14045" fmla="*/ 5046971 h 7458372"/>
              <a:gd name="connsiteX14046" fmla="*/ 10049872 w 10505529"/>
              <a:gd name="connsiteY14046" fmla="*/ 5044574 h 7458372"/>
              <a:gd name="connsiteX14047" fmla="*/ 10052534 w 10505529"/>
              <a:gd name="connsiteY14047" fmla="*/ 5040315 h 7458372"/>
              <a:gd name="connsiteX14048" fmla="*/ 10053599 w 10505529"/>
              <a:gd name="connsiteY14048" fmla="*/ 5034857 h 7458372"/>
              <a:gd name="connsiteX14049" fmla="*/ 10052534 w 10505529"/>
              <a:gd name="connsiteY14049" fmla="*/ 5029666 h 7458372"/>
              <a:gd name="connsiteX14050" fmla="*/ 10049872 w 10505529"/>
              <a:gd name="connsiteY14050" fmla="*/ 5025539 h 7458372"/>
              <a:gd name="connsiteX14051" fmla="*/ 10045878 w 10505529"/>
              <a:gd name="connsiteY14051" fmla="*/ 5022876 h 7458372"/>
              <a:gd name="connsiteX14052" fmla="*/ 10040820 w 10505529"/>
              <a:gd name="connsiteY14052" fmla="*/ 5021945 h 7458372"/>
              <a:gd name="connsiteX14053" fmla="*/ 9823176 w 10505529"/>
              <a:gd name="connsiteY14053" fmla="*/ 5021945 h 7458372"/>
              <a:gd name="connsiteX14054" fmla="*/ 9813191 w 10505529"/>
              <a:gd name="connsiteY14054" fmla="*/ 5025539 h 7458372"/>
              <a:gd name="connsiteX14055" fmla="*/ 9809597 w 10505529"/>
              <a:gd name="connsiteY14055" fmla="*/ 5034990 h 7458372"/>
              <a:gd name="connsiteX14056" fmla="*/ 9813191 w 10505529"/>
              <a:gd name="connsiteY14056" fmla="*/ 5044441 h 7458372"/>
              <a:gd name="connsiteX14057" fmla="*/ 9823176 w 10505529"/>
              <a:gd name="connsiteY14057" fmla="*/ 5047903 h 7458372"/>
              <a:gd name="connsiteX14058" fmla="*/ 9828501 w 10505529"/>
              <a:gd name="connsiteY14058" fmla="*/ 5046971 h 7458372"/>
              <a:gd name="connsiteX14059" fmla="*/ 9832227 w 10505529"/>
              <a:gd name="connsiteY14059" fmla="*/ 5044574 h 7458372"/>
              <a:gd name="connsiteX14060" fmla="*/ 9834890 w 10505529"/>
              <a:gd name="connsiteY14060" fmla="*/ 5040315 h 7458372"/>
              <a:gd name="connsiteX14061" fmla="*/ 9835955 w 10505529"/>
              <a:gd name="connsiteY14061" fmla="*/ 5034857 h 7458372"/>
              <a:gd name="connsiteX14062" fmla="*/ 9834890 w 10505529"/>
              <a:gd name="connsiteY14062" fmla="*/ 5029666 h 7458372"/>
              <a:gd name="connsiteX14063" fmla="*/ 9832227 w 10505529"/>
              <a:gd name="connsiteY14063" fmla="*/ 5025539 h 7458372"/>
              <a:gd name="connsiteX14064" fmla="*/ 9828234 w 10505529"/>
              <a:gd name="connsiteY14064" fmla="*/ 5022876 h 7458372"/>
              <a:gd name="connsiteX14065" fmla="*/ 9823176 w 10505529"/>
              <a:gd name="connsiteY14065" fmla="*/ 5021945 h 7458372"/>
              <a:gd name="connsiteX14066" fmla="*/ 9605531 w 10505529"/>
              <a:gd name="connsiteY14066" fmla="*/ 5021945 h 7458372"/>
              <a:gd name="connsiteX14067" fmla="*/ 9595546 w 10505529"/>
              <a:gd name="connsiteY14067" fmla="*/ 5025539 h 7458372"/>
              <a:gd name="connsiteX14068" fmla="*/ 9591952 w 10505529"/>
              <a:gd name="connsiteY14068" fmla="*/ 5034990 h 7458372"/>
              <a:gd name="connsiteX14069" fmla="*/ 9595546 w 10505529"/>
              <a:gd name="connsiteY14069" fmla="*/ 5044441 h 7458372"/>
              <a:gd name="connsiteX14070" fmla="*/ 9605531 w 10505529"/>
              <a:gd name="connsiteY14070" fmla="*/ 5047903 h 7458372"/>
              <a:gd name="connsiteX14071" fmla="*/ 9610855 w 10505529"/>
              <a:gd name="connsiteY14071" fmla="*/ 5046971 h 7458372"/>
              <a:gd name="connsiteX14072" fmla="*/ 9614582 w 10505529"/>
              <a:gd name="connsiteY14072" fmla="*/ 5044574 h 7458372"/>
              <a:gd name="connsiteX14073" fmla="*/ 9617245 w 10505529"/>
              <a:gd name="connsiteY14073" fmla="*/ 5040315 h 7458372"/>
              <a:gd name="connsiteX14074" fmla="*/ 9618309 w 10505529"/>
              <a:gd name="connsiteY14074" fmla="*/ 5034857 h 7458372"/>
              <a:gd name="connsiteX14075" fmla="*/ 9617245 w 10505529"/>
              <a:gd name="connsiteY14075" fmla="*/ 5029666 h 7458372"/>
              <a:gd name="connsiteX14076" fmla="*/ 9614582 w 10505529"/>
              <a:gd name="connsiteY14076" fmla="*/ 5025539 h 7458372"/>
              <a:gd name="connsiteX14077" fmla="*/ 9610589 w 10505529"/>
              <a:gd name="connsiteY14077" fmla="*/ 5022876 h 7458372"/>
              <a:gd name="connsiteX14078" fmla="*/ 9605531 w 10505529"/>
              <a:gd name="connsiteY14078" fmla="*/ 5021945 h 7458372"/>
              <a:gd name="connsiteX14079" fmla="*/ 9387885 w 10505529"/>
              <a:gd name="connsiteY14079" fmla="*/ 5021945 h 7458372"/>
              <a:gd name="connsiteX14080" fmla="*/ 9377900 w 10505529"/>
              <a:gd name="connsiteY14080" fmla="*/ 5025539 h 7458372"/>
              <a:gd name="connsiteX14081" fmla="*/ 9374307 w 10505529"/>
              <a:gd name="connsiteY14081" fmla="*/ 5034990 h 7458372"/>
              <a:gd name="connsiteX14082" fmla="*/ 9377900 w 10505529"/>
              <a:gd name="connsiteY14082" fmla="*/ 5044441 h 7458372"/>
              <a:gd name="connsiteX14083" fmla="*/ 9387885 w 10505529"/>
              <a:gd name="connsiteY14083" fmla="*/ 5047903 h 7458372"/>
              <a:gd name="connsiteX14084" fmla="*/ 9393210 w 10505529"/>
              <a:gd name="connsiteY14084" fmla="*/ 5046971 h 7458372"/>
              <a:gd name="connsiteX14085" fmla="*/ 9396937 w 10505529"/>
              <a:gd name="connsiteY14085" fmla="*/ 5044574 h 7458372"/>
              <a:gd name="connsiteX14086" fmla="*/ 9399599 w 10505529"/>
              <a:gd name="connsiteY14086" fmla="*/ 5040315 h 7458372"/>
              <a:gd name="connsiteX14087" fmla="*/ 9400664 w 10505529"/>
              <a:gd name="connsiteY14087" fmla="*/ 5034857 h 7458372"/>
              <a:gd name="connsiteX14088" fmla="*/ 9399599 w 10505529"/>
              <a:gd name="connsiteY14088" fmla="*/ 5029666 h 7458372"/>
              <a:gd name="connsiteX14089" fmla="*/ 9396937 w 10505529"/>
              <a:gd name="connsiteY14089" fmla="*/ 5025539 h 7458372"/>
              <a:gd name="connsiteX14090" fmla="*/ 9392943 w 10505529"/>
              <a:gd name="connsiteY14090" fmla="*/ 5022876 h 7458372"/>
              <a:gd name="connsiteX14091" fmla="*/ 9387885 w 10505529"/>
              <a:gd name="connsiteY14091" fmla="*/ 5021945 h 7458372"/>
              <a:gd name="connsiteX14092" fmla="*/ 9170374 w 10505529"/>
              <a:gd name="connsiteY14092" fmla="*/ 5021945 h 7458372"/>
              <a:gd name="connsiteX14093" fmla="*/ 9160389 w 10505529"/>
              <a:gd name="connsiteY14093" fmla="*/ 5025539 h 7458372"/>
              <a:gd name="connsiteX14094" fmla="*/ 9156795 w 10505529"/>
              <a:gd name="connsiteY14094" fmla="*/ 5034990 h 7458372"/>
              <a:gd name="connsiteX14095" fmla="*/ 9160389 w 10505529"/>
              <a:gd name="connsiteY14095" fmla="*/ 5044441 h 7458372"/>
              <a:gd name="connsiteX14096" fmla="*/ 9170374 w 10505529"/>
              <a:gd name="connsiteY14096" fmla="*/ 5047903 h 7458372"/>
              <a:gd name="connsiteX14097" fmla="*/ 9175698 w 10505529"/>
              <a:gd name="connsiteY14097" fmla="*/ 5046971 h 7458372"/>
              <a:gd name="connsiteX14098" fmla="*/ 9179425 w 10505529"/>
              <a:gd name="connsiteY14098" fmla="*/ 5044574 h 7458372"/>
              <a:gd name="connsiteX14099" fmla="*/ 9182088 w 10505529"/>
              <a:gd name="connsiteY14099" fmla="*/ 5040315 h 7458372"/>
              <a:gd name="connsiteX14100" fmla="*/ 9183152 w 10505529"/>
              <a:gd name="connsiteY14100" fmla="*/ 5034857 h 7458372"/>
              <a:gd name="connsiteX14101" fmla="*/ 9182088 w 10505529"/>
              <a:gd name="connsiteY14101" fmla="*/ 5029666 h 7458372"/>
              <a:gd name="connsiteX14102" fmla="*/ 9179425 w 10505529"/>
              <a:gd name="connsiteY14102" fmla="*/ 5025539 h 7458372"/>
              <a:gd name="connsiteX14103" fmla="*/ 9175432 w 10505529"/>
              <a:gd name="connsiteY14103" fmla="*/ 5022876 h 7458372"/>
              <a:gd name="connsiteX14104" fmla="*/ 9170374 w 10505529"/>
              <a:gd name="connsiteY14104" fmla="*/ 5021945 h 7458372"/>
              <a:gd name="connsiteX14105" fmla="*/ 8952728 w 10505529"/>
              <a:gd name="connsiteY14105" fmla="*/ 5021945 h 7458372"/>
              <a:gd name="connsiteX14106" fmla="*/ 8942743 w 10505529"/>
              <a:gd name="connsiteY14106" fmla="*/ 5025539 h 7458372"/>
              <a:gd name="connsiteX14107" fmla="*/ 8939150 w 10505529"/>
              <a:gd name="connsiteY14107" fmla="*/ 5034990 h 7458372"/>
              <a:gd name="connsiteX14108" fmla="*/ 8942743 w 10505529"/>
              <a:gd name="connsiteY14108" fmla="*/ 5044441 h 7458372"/>
              <a:gd name="connsiteX14109" fmla="*/ 8952728 w 10505529"/>
              <a:gd name="connsiteY14109" fmla="*/ 5047903 h 7458372"/>
              <a:gd name="connsiteX14110" fmla="*/ 8958053 w 10505529"/>
              <a:gd name="connsiteY14110" fmla="*/ 5046971 h 7458372"/>
              <a:gd name="connsiteX14111" fmla="*/ 8961780 w 10505529"/>
              <a:gd name="connsiteY14111" fmla="*/ 5044574 h 7458372"/>
              <a:gd name="connsiteX14112" fmla="*/ 8964442 w 10505529"/>
              <a:gd name="connsiteY14112" fmla="*/ 5040315 h 7458372"/>
              <a:gd name="connsiteX14113" fmla="*/ 8965507 w 10505529"/>
              <a:gd name="connsiteY14113" fmla="*/ 5034857 h 7458372"/>
              <a:gd name="connsiteX14114" fmla="*/ 8964442 w 10505529"/>
              <a:gd name="connsiteY14114" fmla="*/ 5029666 h 7458372"/>
              <a:gd name="connsiteX14115" fmla="*/ 8961780 w 10505529"/>
              <a:gd name="connsiteY14115" fmla="*/ 5025539 h 7458372"/>
              <a:gd name="connsiteX14116" fmla="*/ 8957786 w 10505529"/>
              <a:gd name="connsiteY14116" fmla="*/ 5022876 h 7458372"/>
              <a:gd name="connsiteX14117" fmla="*/ 8952728 w 10505529"/>
              <a:gd name="connsiteY14117" fmla="*/ 5021945 h 7458372"/>
              <a:gd name="connsiteX14118" fmla="*/ 8735083 w 10505529"/>
              <a:gd name="connsiteY14118" fmla="*/ 5021945 h 7458372"/>
              <a:gd name="connsiteX14119" fmla="*/ 8725098 w 10505529"/>
              <a:gd name="connsiteY14119" fmla="*/ 5025539 h 7458372"/>
              <a:gd name="connsiteX14120" fmla="*/ 8721504 w 10505529"/>
              <a:gd name="connsiteY14120" fmla="*/ 5034990 h 7458372"/>
              <a:gd name="connsiteX14121" fmla="*/ 8725098 w 10505529"/>
              <a:gd name="connsiteY14121" fmla="*/ 5044441 h 7458372"/>
              <a:gd name="connsiteX14122" fmla="*/ 8735083 w 10505529"/>
              <a:gd name="connsiteY14122" fmla="*/ 5047903 h 7458372"/>
              <a:gd name="connsiteX14123" fmla="*/ 8740407 w 10505529"/>
              <a:gd name="connsiteY14123" fmla="*/ 5046971 h 7458372"/>
              <a:gd name="connsiteX14124" fmla="*/ 8744134 w 10505529"/>
              <a:gd name="connsiteY14124" fmla="*/ 5044574 h 7458372"/>
              <a:gd name="connsiteX14125" fmla="*/ 8746797 w 10505529"/>
              <a:gd name="connsiteY14125" fmla="*/ 5040315 h 7458372"/>
              <a:gd name="connsiteX14126" fmla="*/ 8747862 w 10505529"/>
              <a:gd name="connsiteY14126" fmla="*/ 5034857 h 7458372"/>
              <a:gd name="connsiteX14127" fmla="*/ 8746797 w 10505529"/>
              <a:gd name="connsiteY14127" fmla="*/ 5029666 h 7458372"/>
              <a:gd name="connsiteX14128" fmla="*/ 8744134 w 10505529"/>
              <a:gd name="connsiteY14128" fmla="*/ 5025539 h 7458372"/>
              <a:gd name="connsiteX14129" fmla="*/ 8740141 w 10505529"/>
              <a:gd name="connsiteY14129" fmla="*/ 5022876 h 7458372"/>
              <a:gd name="connsiteX14130" fmla="*/ 8735083 w 10505529"/>
              <a:gd name="connsiteY14130" fmla="*/ 5021945 h 7458372"/>
              <a:gd name="connsiteX14131" fmla="*/ 8517438 w 10505529"/>
              <a:gd name="connsiteY14131" fmla="*/ 5021945 h 7458372"/>
              <a:gd name="connsiteX14132" fmla="*/ 8507453 w 10505529"/>
              <a:gd name="connsiteY14132" fmla="*/ 5025539 h 7458372"/>
              <a:gd name="connsiteX14133" fmla="*/ 8503860 w 10505529"/>
              <a:gd name="connsiteY14133" fmla="*/ 5034990 h 7458372"/>
              <a:gd name="connsiteX14134" fmla="*/ 8507453 w 10505529"/>
              <a:gd name="connsiteY14134" fmla="*/ 5044441 h 7458372"/>
              <a:gd name="connsiteX14135" fmla="*/ 8517438 w 10505529"/>
              <a:gd name="connsiteY14135" fmla="*/ 5047903 h 7458372"/>
              <a:gd name="connsiteX14136" fmla="*/ 8522763 w 10505529"/>
              <a:gd name="connsiteY14136" fmla="*/ 5046971 h 7458372"/>
              <a:gd name="connsiteX14137" fmla="*/ 8526490 w 10505529"/>
              <a:gd name="connsiteY14137" fmla="*/ 5044574 h 7458372"/>
              <a:gd name="connsiteX14138" fmla="*/ 8529152 w 10505529"/>
              <a:gd name="connsiteY14138" fmla="*/ 5040315 h 7458372"/>
              <a:gd name="connsiteX14139" fmla="*/ 8530084 w 10505529"/>
              <a:gd name="connsiteY14139" fmla="*/ 5034857 h 7458372"/>
              <a:gd name="connsiteX14140" fmla="*/ 8529152 w 10505529"/>
              <a:gd name="connsiteY14140" fmla="*/ 5029666 h 7458372"/>
              <a:gd name="connsiteX14141" fmla="*/ 8526490 w 10505529"/>
              <a:gd name="connsiteY14141" fmla="*/ 5025539 h 7458372"/>
              <a:gd name="connsiteX14142" fmla="*/ 8522496 w 10505529"/>
              <a:gd name="connsiteY14142" fmla="*/ 5022876 h 7458372"/>
              <a:gd name="connsiteX14143" fmla="*/ 8517438 w 10505529"/>
              <a:gd name="connsiteY14143" fmla="*/ 5021945 h 7458372"/>
              <a:gd name="connsiteX14144" fmla="*/ 8299793 w 10505529"/>
              <a:gd name="connsiteY14144" fmla="*/ 5021945 h 7458372"/>
              <a:gd name="connsiteX14145" fmla="*/ 8289809 w 10505529"/>
              <a:gd name="connsiteY14145" fmla="*/ 5025539 h 7458372"/>
              <a:gd name="connsiteX14146" fmla="*/ 8286215 w 10505529"/>
              <a:gd name="connsiteY14146" fmla="*/ 5034990 h 7458372"/>
              <a:gd name="connsiteX14147" fmla="*/ 8289809 w 10505529"/>
              <a:gd name="connsiteY14147" fmla="*/ 5044441 h 7458372"/>
              <a:gd name="connsiteX14148" fmla="*/ 8299793 w 10505529"/>
              <a:gd name="connsiteY14148" fmla="*/ 5047903 h 7458372"/>
              <a:gd name="connsiteX14149" fmla="*/ 8305118 w 10505529"/>
              <a:gd name="connsiteY14149" fmla="*/ 5046971 h 7458372"/>
              <a:gd name="connsiteX14150" fmla="*/ 8308844 w 10505529"/>
              <a:gd name="connsiteY14150" fmla="*/ 5044574 h 7458372"/>
              <a:gd name="connsiteX14151" fmla="*/ 8311507 w 10505529"/>
              <a:gd name="connsiteY14151" fmla="*/ 5040315 h 7458372"/>
              <a:gd name="connsiteX14152" fmla="*/ 8312439 w 10505529"/>
              <a:gd name="connsiteY14152" fmla="*/ 5034857 h 7458372"/>
              <a:gd name="connsiteX14153" fmla="*/ 8311507 w 10505529"/>
              <a:gd name="connsiteY14153" fmla="*/ 5029666 h 7458372"/>
              <a:gd name="connsiteX14154" fmla="*/ 8308844 w 10505529"/>
              <a:gd name="connsiteY14154" fmla="*/ 5025539 h 7458372"/>
              <a:gd name="connsiteX14155" fmla="*/ 8304851 w 10505529"/>
              <a:gd name="connsiteY14155" fmla="*/ 5022876 h 7458372"/>
              <a:gd name="connsiteX14156" fmla="*/ 8299793 w 10505529"/>
              <a:gd name="connsiteY14156" fmla="*/ 5021945 h 7458372"/>
              <a:gd name="connsiteX14157" fmla="*/ 8082281 w 10505529"/>
              <a:gd name="connsiteY14157" fmla="*/ 5021945 h 7458372"/>
              <a:gd name="connsiteX14158" fmla="*/ 8072297 w 10505529"/>
              <a:gd name="connsiteY14158" fmla="*/ 5025539 h 7458372"/>
              <a:gd name="connsiteX14159" fmla="*/ 8068703 w 10505529"/>
              <a:gd name="connsiteY14159" fmla="*/ 5034990 h 7458372"/>
              <a:gd name="connsiteX14160" fmla="*/ 8072297 w 10505529"/>
              <a:gd name="connsiteY14160" fmla="*/ 5044441 h 7458372"/>
              <a:gd name="connsiteX14161" fmla="*/ 8082281 w 10505529"/>
              <a:gd name="connsiteY14161" fmla="*/ 5047903 h 7458372"/>
              <a:gd name="connsiteX14162" fmla="*/ 8087605 w 10505529"/>
              <a:gd name="connsiteY14162" fmla="*/ 5046971 h 7458372"/>
              <a:gd name="connsiteX14163" fmla="*/ 8091332 w 10505529"/>
              <a:gd name="connsiteY14163" fmla="*/ 5044574 h 7458372"/>
              <a:gd name="connsiteX14164" fmla="*/ 8093994 w 10505529"/>
              <a:gd name="connsiteY14164" fmla="*/ 5040315 h 7458372"/>
              <a:gd name="connsiteX14165" fmla="*/ 8094926 w 10505529"/>
              <a:gd name="connsiteY14165" fmla="*/ 5034857 h 7458372"/>
              <a:gd name="connsiteX14166" fmla="*/ 8093994 w 10505529"/>
              <a:gd name="connsiteY14166" fmla="*/ 5029666 h 7458372"/>
              <a:gd name="connsiteX14167" fmla="*/ 8091332 w 10505529"/>
              <a:gd name="connsiteY14167" fmla="*/ 5025539 h 7458372"/>
              <a:gd name="connsiteX14168" fmla="*/ 8087338 w 10505529"/>
              <a:gd name="connsiteY14168" fmla="*/ 5022876 h 7458372"/>
              <a:gd name="connsiteX14169" fmla="*/ 8082281 w 10505529"/>
              <a:gd name="connsiteY14169" fmla="*/ 5021945 h 7458372"/>
              <a:gd name="connsiteX14170" fmla="*/ 7864636 w 10505529"/>
              <a:gd name="connsiteY14170" fmla="*/ 5021945 h 7458372"/>
              <a:gd name="connsiteX14171" fmla="*/ 7854652 w 10505529"/>
              <a:gd name="connsiteY14171" fmla="*/ 5025539 h 7458372"/>
              <a:gd name="connsiteX14172" fmla="*/ 7851058 w 10505529"/>
              <a:gd name="connsiteY14172" fmla="*/ 5034990 h 7458372"/>
              <a:gd name="connsiteX14173" fmla="*/ 7854652 w 10505529"/>
              <a:gd name="connsiteY14173" fmla="*/ 5044441 h 7458372"/>
              <a:gd name="connsiteX14174" fmla="*/ 7864636 w 10505529"/>
              <a:gd name="connsiteY14174" fmla="*/ 5047903 h 7458372"/>
              <a:gd name="connsiteX14175" fmla="*/ 7869961 w 10505529"/>
              <a:gd name="connsiteY14175" fmla="*/ 5046971 h 7458372"/>
              <a:gd name="connsiteX14176" fmla="*/ 7873687 w 10505529"/>
              <a:gd name="connsiteY14176" fmla="*/ 5044574 h 7458372"/>
              <a:gd name="connsiteX14177" fmla="*/ 7876350 w 10505529"/>
              <a:gd name="connsiteY14177" fmla="*/ 5040315 h 7458372"/>
              <a:gd name="connsiteX14178" fmla="*/ 7877282 w 10505529"/>
              <a:gd name="connsiteY14178" fmla="*/ 5034857 h 7458372"/>
              <a:gd name="connsiteX14179" fmla="*/ 7876350 w 10505529"/>
              <a:gd name="connsiteY14179" fmla="*/ 5029666 h 7458372"/>
              <a:gd name="connsiteX14180" fmla="*/ 7873687 w 10505529"/>
              <a:gd name="connsiteY14180" fmla="*/ 5025539 h 7458372"/>
              <a:gd name="connsiteX14181" fmla="*/ 7869694 w 10505529"/>
              <a:gd name="connsiteY14181" fmla="*/ 5022876 h 7458372"/>
              <a:gd name="connsiteX14182" fmla="*/ 7864636 w 10505529"/>
              <a:gd name="connsiteY14182" fmla="*/ 5021945 h 7458372"/>
              <a:gd name="connsiteX14183" fmla="*/ 7646991 w 10505529"/>
              <a:gd name="connsiteY14183" fmla="*/ 5021945 h 7458372"/>
              <a:gd name="connsiteX14184" fmla="*/ 7637007 w 10505529"/>
              <a:gd name="connsiteY14184" fmla="*/ 5025539 h 7458372"/>
              <a:gd name="connsiteX14185" fmla="*/ 7633413 w 10505529"/>
              <a:gd name="connsiteY14185" fmla="*/ 5034990 h 7458372"/>
              <a:gd name="connsiteX14186" fmla="*/ 7637007 w 10505529"/>
              <a:gd name="connsiteY14186" fmla="*/ 5044441 h 7458372"/>
              <a:gd name="connsiteX14187" fmla="*/ 7646991 w 10505529"/>
              <a:gd name="connsiteY14187" fmla="*/ 5047903 h 7458372"/>
              <a:gd name="connsiteX14188" fmla="*/ 7652315 w 10505529"/>
              <a:gd name="connsiteY14188" fmla="*/ 5046971 h 7458372"/>
              <a:gd name="connsiteX14189" fmla="*/ 7656042 w 10505529"/>
              <a:gd name="connsiteY14189" fmla="*/ 5044574 h 7458372"/>
              <a:gd name="connsiteX14190" fmla="*/ 7658705 w 10505529"/>
              <a:gd name="connsiteY14190" fmla="*/ 5040315 h 7458372"/>
              <a:gd name="connsiteX14191" fmla="*/ 7659769 w 10505529"/>
              <a:gd name="connsiteY14191" fmla="*/ 5034857 h 7458372"/>
              <a:gd name="connsiteX14192" fmla="*/ 7658705 w 10505529"/>
              <a:gd name="connsiteY14192" fmla="*/ 5029666 h 7458372"/>
              <a:gd name="connsiteX14193" fmla="*/ 7656042 w 10505529"/>
              <a:gd name="connsiteY14193" fmla="*/ 5025539 h 7458372"/>
              <a:gd name="connsiteX14194" fmla="*/ 7652049 w 10505529"/>
              <a:gd name="connsiteY14194" fmla="*/ 5022876 h 7458372"/>
              <a:gd name="connsiteX14195" fmla="*/ 7646991 w 10505529"/>
              <a:gd name="connsiteY14195" fmla="*/ 5021945 h 7458372"/>
              <a:gd name="connsiteX14196" fmla="*/ 7429345 w 10505529"/>
              <a:gd name="connsiteY14196" fmla="*/ 5021945 h 7458372"/>
              <a:gd name="connsiteX14197" fmla="*/ 7419361 w 10505529"/>
              <a:gd name="connsiteY14197" fmla="*/ 5025539 h 7458372"/>
              <a:gd name="connsiteX14198" fmla="*/ 7415768 w 10505529"/>
              <a:gd name="connsiteY14198" fmla="*/ 5034990 h 7458372"/>
              <a:gd name="connsiteX14199" fmla="*/ 7419361 w 10505529"/>
              <a:gd name="connsiteY14199" fmla="*/ 5044441 h 7458372"/>
              <a:gd name="connsiteX14200" fmla="*/ 7429345 w 10505529"/>
              <a:gd name="connsiteY14200" fmla="*/ 5047903 h 7458372"/>
              <a:gd name="connsiteX14201" fmla="*/ 7434670 w 10505529"/>
              <a:gd name="connsiteY14201" fmla="*/ 5046971 h 7458372"/>
              <a:gd name="connsiteX14202" fmla="*/ 7438397 w 10505529"/>
              <a:gd name="connsiteY14202" fmla="*/ 5044574 h 7458372"/>
              <a:gd name="connsiteX14203" fmla="*/ 7441059 w 10505529"/>
              <a:gd name="connsiteY14203" fmla="*/ 5040315 h 7458372"/>
              <a:gd name="connsiteX14204" fmla="*/ 7442124 w 10505529"/>
              <a:gd name="connsiteY14204" fmla="*/ 5034857 h 7458372"/>
              <a:gd name="connsiteX14205" fmla="*/ 7441059 w 10505529"/>
              <a:gd name="connsiteY14205" fmla="*/ 5029666 h 7458372"/>
              <a:gd name="connsiteX14206" fmla="*/ 7438397 w 10505529"/>
              <a:gd name="connsiteY14206" fmla="*/ 5025539 h 7458372"/>
              <a:gd name="connsiteX14207" fmla="*/ 7434403 w 10505529"/>
              <a:gd name="connsiteY14207" fmla="*/ 5022876 h 7458372"/>
              <a:gd name="connsiteX14208" fmla="*/ 7429345 w 10505529"/>
              <a:gd name="connsiteY14208" fmla="*/ 5021945 h 7458372"/>
              <a:gd name="connsiteX14209" fmla="*/ 7211701 w 10505529"/>
              <a:gd name="connsiteY14209" fmla="*/ 5021945 h 7458372"/>
              <a:gd name="connsiteX14210" fmla="*/ 7201717 w 10505529"/>
              <a:gd name="connsiteY14210" fmla="*/ 5025539 h 7458372"/>
              <a:gd name="connsiteX14211" fmla="*/ 7198123 w 10505529"/>
              <a:gd name="connsiteY14211" fmla="*/ 5034990 h 7458372"/>
              <a:gd name="connsiteX14212" fmla="*/ 7201717 w 10505529"/>
              <a:gd name="connsiteY14212" fmla="*/ 5044441 h 7458372"/>
              <a:gd name="connsiteX14213" fmla="*/ 7211701 w 10505529"/>
              <a:gd name="connsiteY14213" fmla="*/ 5047903 h 7458372"/>
              <a:gd name="connsiteX14214" fmla="*/ 7217026 w 10505529"/>
              <a:gd name="connsiteY14214" fmla="*/ 5046971 h 7458372"/>
              <a:gd name="connsiteX14215" fmla="*/ 7220752 w 10505529"/>
              <a:gd name="connsiteY14215" fmla="*/ 5044574 h 7458372"/>
              <a:gd name="connsiteX14216" fmla="*/ 7223415 w 10505529"/>
              <a:gd name="connsiteY14216" fmla="*/ 5040315 h 7458372"/>
              <a:gd name="connsiteX14217" fmla="*/ 7224480 w 10505529"/>
              <a:gd name="connsiteY14217" fmla="*/ 5034857 h 7458372"/>
              <a:gd name="connsiteX14218" fmla="*/ 7223415 w 10505529"/>
              <a:gd name="connsiteY14218" fmla="*/ 5029666 h 7458372"/>
              <a:gd name="connsiteX14219" fmla="*/ 7220752 w 10505529"/>
              <a:gd name="connsiteY14219" fmla="*/ 5025539 h 7458372"/>
              <a:gd name="connsiteX14220" fmla="*/ 7216759 w 10505529"/>
              <a:gd name="connsiteY14220" fmla="*/ 5022876 h 7458372"/>
              <a:gd name="connsiteX14221" fmla="*/ 7211701 w 10505529"/>
              <a:gd name="connsiteY14221" fmla="*/ 5021945 h 7458372"/>
              <a:gd name="connsiteX14222" fmla="*/ 6994056 w 10505529"/>
              <a:gd name="connsiteY14222" fmla="*/ 5021945 h 7458372"/>
              <a:gd name="connsiteX14223" fmla="*/ 6984072 w 10505529"/>
              <a:gd name="connsiteY14223" fmla="*/ 5025539 h 7458372"/>
              <a:gd name="connsiteX14224" fmla="*/ 6980478 w 10505529"/>
              <a:gd name="connsiteY14224" fmla="*/ 5034990 h 7458372"/>
              <a:gd name="connsiteX14225" fmla="*/ 6984072 w 10505529"/>
              <a:gd name="connsiteY14225" fmla="*/ 5044441 h 7458372"/>
              <a:gd name="connsiteX14226" fmla="*/ 6994056 w 10505529"/>
              <a:gd name="connsiteY14226" fmla="*/ 5047903 h 7458372"/>
              <a:gd name="connsiteX14227" fmla="*/ 6999380 w 10505529"/>
              <a:gd name="connsiteY14227" fmla="*/ 5046971 h 7458372"/>
              <a:gd name="connsiteX14228" fmla="*/ 7003107 w 10505529"/>
              <a:gd name="connsiteY14228" fmla="*/ 5044574 h 7458372"/>
              <a:gd name="connsiteX14229" fmla="*/ 7005769 w 10505529"/>
              <a:gd name="connsiteY14229" fmla="*/ 5040315 h 7458372"/>
              <a:gd name="connsiteX14230" fmla="*/ 7006834 w 10505529"/>
              <a:gd name="connsiteY14230" fmla="*/ 5034857 h 7458372"/>
              <a:gd name="connsiteX14231" fmla="*/ 7005769 w 10505529"/>
              <a:gd name="connsiteY14231" fmla="*/ 5029666 h 7458372"/>
              <a:gd name="connsiteX14232" fmla="*/ 7003107 w 10505529"/>
              <a:gd name="connsiteY14232" fmla="*/ 5025539 h 7458372"/>
              <a:gd name="connsiteX14233" fmla="*/ 6999113 w 10505529"/>
              <a:gd name="connsiteY14233" fmla="*/ 5022876 h 7458372"/>
              <a:gd name="connsiteX14234" fmla="*/ 6994056 w 10505529"/>
              <a:gd name="connsiteY14234" fmla="*/ 5021945 h 7458372"/>
              <a:gd name="connsiteX14235" fmla="*/ 6776544 w 10505529"/>
              <a:gd name="connsiteY14235" fmla="*/ 5021945 h 7458372"/>
              <a:gd name="connsiteX14236" fmla="*/ 6766560 w 10505529"/>
              <a:gd name="connsiteY14236" fmla="*/ 5025539 h 7458372"/>
              <a:gd name="connsiteX14237" fmla="*/ 6762966 w 10505529"/>
              <a:gd name="connsiteY14237" fmla="*/ 5034990 h 7458372"/>
              <a:gd name="connsiteX14238" fmla="*/ 6766560 w 10505529"/>
              <a:gd name="connsiteY14238" fmla="*/ 5044441 h 7458372"/>
              <a:gd name="connsiteX14239" fmla="*/ 6776544 w 10505529"/>
              <a:gd name="connsiteY14239" fmla="*/ 5047903 h 7458372"/>
              <a:gd name="connsiteX14240" fmla="*/ 6781869 w 10505529"/>
              <a:gd name="connsiteY14240" fmla="*/ 5046971 h 7458372"/>
              <a:gd name="connsiteX14241" fmla="*/ 6785595 w 10505529"/>
              <a:gd name="connsiteY14241" fmla="*/ 5044574 h 7458372"/>
              <a:gd name="connsiteX14242" fmla="*/ 6788258 w 10505529"/>
              <a:gd name="connsiteY14242" fmla="*/ 5040315 h 7458372"/>
              <a:gd name="connsiteX14243" fmla="*/ 6789323 w 10505529"/>
              <a:gd name="connsiteY14243" fmla="*/ 5034857 h 7458372"/>
              <a:gd name="connsiteX14244" fmla="*/ 6788258 w 10505529"/>
              <a:gd name="connsiteY14244" fmla="*/ 5029666 h 7458372"/>
              <a:gd name="connsiteX14245" fmla="*/ 6785595 w 10505529"/>
              <a:gd name="connsiteY14245" fmla="*/ 5025539 h 7458372"/>
              <a:gd name="connsiteX14246" fmla="*/ 6781602 w 10505529"/>
              <a:gd name="connsiteY14246" fmla="*/ 5022876 h 7458372"/>
              <a:gd name="connsiteX14247" fmla="*/ 6776544 w 10505529"/>
              <a:gd name="connsiteY14247" fmla="*/ 5021945 h 7458372"/>
              <a:gd name="connsiteX14248" fmla="*/ 6558899 w 10505529"/>
              <a:gd name="connsiteY14248" fmla="*/ 5021945 h 7458372"/>
              <a:gd name="connsiteX14249" fmla="*/ 6548915 w 10505529"/>
              <a:gd name="connsiteY14249" fmla="*/ 5025539 h 7458372"/>
              <a:gd name="connsiteX14250" fmla="*/ 6545321 w 10505529"/>
              <a:gd name="connsiteY14250" fmla="*/ 5034990 h 7458372"/>
              <a:gd name="connsiteX14251" fmla="*/ 6548915 w 10505529"/>
              <a:gd name="connsiteY14251" fmla="*/ 5044441 h 7458372"/>
              <a:gd name="connsiteX14252" fmla="*/ 6558899 w 10505529"/>
              <a:gd name="connsiteY14252" fmla="*/ 5047903 h 7458372"/>
              <a:gd name="connsiteX14253" fmla="*/ 6564223 w 10505529"/>
              <a:gd name="connsiteY14253" fmla="*/ 5046971 h 7458372"/>
              <a:gd name="connsiteX14254" fmla="*/ 6567950 w 10505529"/>
              <a:gd name="connsiteY14254" fmla="*/ 5044574 h 7458372"/>
              <a:gd name="connsiteX14255" fmla="*/ 6570612 w 10505529"/>
              <a:gd name="connsiteY14255" fmla="*/ 5040315 h 7458372"/>
              <a:gd name="connsiteX14256" fmla="*/ 6571677 w 10505529"/>
              <a:gd name="connsiteY14256" fmla="*/ 5034857 h 7458372"/>
              <a:gd name="connsiteX14257" fmla="*/ 6570612 w 10505529"/>
              <a:gd name="connsiteY14257" fmla="*/ 5029666 h 7458372"/>
              <a:gd name="connsiteX14258" fmla="*/ 6567950 w 10505529"/>
              <a:gd name="connsiteY14258" fmla="*/ 5025539 h 7458372"/>
              <a:gd name="connsiteX14259" fmla="*/ 6563956 w 10505529"/>
              <a:gd name="connsiteY14259" fmla="*/ 5022876 h 7458372"/>
              <a:gd name="connsiteX14260" fmla="*/ 6558899 w 10505529"/>
              <a:gd name="connsiteY14260" fmla="*/ 5021945 h 7458372"/>
              <a:gd name="connsiteX14261" fmla="*/ 6341253 w 10505529"/>
              <a:gd name="connsiteY14261" fmla="*/ 5021945 h 7458372"/>
              <a:gd name="connsiteX14262" fmla="*/ 6331270 w 10505529"/>
              <a:gd name="connsiteY14262" fmla="*/ 5025539 h 7458372"/>
              <a:gd name="connsiteX14263" fmla="*/ 6327675 w 10505529"/>
              <a:gd name="connsiteY14263" fmla="*/ 5034990 h 7458372"/>
              <a:gd name="connsiteX14264" fmla="*/ 6331270 w 10505529"/>
              <a:gd name="connsiteY14264" fmla="*/ 5044441 h 7458372"/>
              <a:gd name="connsiteX14265" fmla="*/ 6341253 w 10505529"/>
              <a:gd name="connsiteY14265" fmla="*/ 5047903 h 7458372"/>
              <a:gd name="connsiteX14266" fmla="*/ 6346578 w 10505529"/>
              <a:gd name="connsiteY14266" fmla="*/ 5046971 h 7458372"/>
              <a:gd name="connsiteX14267" fmla="*/ 6350305 w 10505529"/>
              <a:gd name="connsiteY14267" fmla="*/ 5044574 h 7458372"/>
              <a:gd name="connsiteX14268" fmla="*/ 6352968 w 10505529"/>
              <a:gd name="connsiteY14268" fmla="*/ 5040315 h 7458372"/>
              <a:gd name="connsiteX14269" fmla="*/ 6354033 w 10505529"/>
              <a:gd name="connsiteY14269" fmla="*/ 5034857 h 7458372"/>
              <a:gd name="connsiteX14270" fmla="*/ 6352968 w 10505529"/>
              <a:gd name="connsiteY14270" fmla="*/ 5029666 h 7458372"/>
              <a:gd name="connsiteX14271" fmla="*/ 6350305 w 10505529"/>
              <a:gd name="connsiteY14271" fmla="*/ 5025539 h 7458372"/>
              <a:gd name="connsiteX14272" fmla="*/ 6346312 w 10505529"/>
              <a:gd name="connsiteY14272" fmla="*/ 5022876 h 7458372"/>
              <a:gd name="connsiteX14273" fmla="*/ 6341253 w 10505529"/>
              <a:gd name="connsiteY14273" fmla="*/ 5021945 h 7458372"/>
              <a:gd name="connsiteX14274" fmla="*/ 6123608 w 10505529"/>
              <a:gd name="connsiteY14274" fmla="*/ 5021945 h 7458372"/>
              <a:gd name="connsiteX14275" fmla="*/ 6113624 w 10505529"/>
              <a:gd name="connsiteY14275" fmla="*/ 5025539 h 7458372"/>
              <a:gd name="connsiteX14276" fmla="*/ 6110030 w 10505529"/>
              <a:gd name="connsiteY14276" fmla="*/ 5034990 h 7458372"/>
              <a:gd name="connsiteX14277" fmla="*/ 6113624 w 10505529"/>
              <a:gd name="connsiteY14277" fmla="*/ 5044441 h 7458372"/>
              <a:gd name="connsiteX14278" fmla="*/ 6123608 w 10505529"/>
              <a:gd name="connsiteY14278" fmla="*/ 5047903 h 7458372"/>
              <a:gd name="connsiteX14279" fmla="*/ 6128932 w 10505529"/>
              <a:gd name="connsiteY14279" fmla="*/ 5046971 h 7458372"/>
              <a:gd name="connsiteX14280" fmla="*/ 6132659 w 10505529"/>
              <a:gd name="connsiteY14280" fmla="*/ 5044574 h 7458372"/>
              <a:gd name="connsiteX14281" fmla="*/ 6135322 w 10505529"/>
              <a:gd name="connsiteY14281" fmla="*/ 5040315 h 7458372"/>
              <a:gd name="connsiteX14282" fmla="*/ 6136387 w 10505529"/>
              <a:gd name="connsiteY14282" fmla="*/ 5034857 h 7458372"/>
              <a:gd name="connsiteX14283" fmla="*/ 6135322 w 10505529"/>
              <a:gd name="connsiteY14283" fmla="*/ 5029666 h 7458372"/>
              <a:gd name="connsiteX14284" fmla="*/ 6132659 w 10505529"/>
              <a:gd name="connsiteY14284" fmla="*/ 5025539 h 7458372"/>
              <a:gd name="connsiteX14285" fmla="*/ 6128666 w 10505529"/>
              <a:gd name="connsiteY14285" fmla="*/ 5022876 h 7458372"/>
              <a:gd name="connsiteX14286" fmla="*/ 6123608 w 10505529"/>
              <a:gd name="connsiteY14286" fmla="*/ 5021945 h 7458372"/>
              <a:gd name="connsiteX14287" fmla="*/ 5905963 w 10505529"/>
              <a:gd name="connsiteY14287" fmla="*/ 5021945 h 7458372"/>
              <a:gd name="connsiteX14288" fmla="*/ 5895979 w 10505529"/>
              <a:gd name="connsiteY14288" fmla="*/ 5025539 h 7458372"/>
              <a:gd name="connsiteX14289" fmla="*/ 5892385 w 10505529"/>
              <a:gd name="connsiteY14289" fmla="*/ 5034990 h 7458372"/>
              <a:gd name="connsiteX14290" fmla="*/ 5895979 w 10505529"/>
              <a:gd name="connsiteY14290" fmla="*/ 5044441 h 7458372"/>
              <a:gd name="connsiteX14291" fmla="*/ 5905963 w 10505529"/>
              <a:gd name="connsiteY14291" fmla="*/ 5047903 h 7458372"/>
              <a:gd name="connsiteX14292" fmla="*/ 5911287 w 10505529"/>
              <a:gd name="connsiteY14292" fmla="*/ 5046971 h 7458372"/>
              <a:gd name="connsiteX14293" fmla="*/ 5915014 w 10505529"/>
              <a:gd name="connsiteY14293" fmla="*/ 5044574 h 7458372"/>
              <a:gd name="connsiteX14294" fmla="*/ 5917677 w 10505529"/>
              <a:gd name="connsiteY14294" fmla="*/ 5040315 h 7458372"/>
              <a:gd name="connsiteX14295" fmla="*/ 5918742 w 10505529"/>
              <a:gd name="connsiteY14295" fmla="*/ 5034857 h 7458372"/>
              <a:gd name="connsiteX14296" fmla="*/ 5917677 w 10505529"/>
              <a:gd name="connsiteY14296" fmla="*/ 5029666 h 7458372"/>
              <a:gd name="connsiteX14297" fmla="*/ 5915014 w 10505529"/>
              <a:gd name="connsiteY14297" fmla="*/ 5025539 h 7458372"/>
              <a:gd name="connsiteX14298" fmla="*/ 5911021 w 10505529"/>
              <a:gd name="connsiteY14298" fmla="*/ 5022876 h 7458372"/>
              <a:gd name="connsiteX14299" fmla="*/ 5905963 w 10505529"/>
              <a:gd name="connsiteY14299" fmla="*/ 5021945 h 7458372"/>
              <a:gd name="connsiteX14300" fmla="*/ 5688451 w 10505529"/>
              <a:gd name="connsiteY14300" fmla="*/ 5021945 h 7458372"/>
              <a:gd name="connsiteX14301" fmla="*/ 5678467 w 10505529"/>
              <a:gd name="connsiteY14301" fmla="*/ 5025539 h 7458372"/>
              <a:gd name="connsiteX14302" fmla="*/ 5674873 w 10505529"/>
              <a:gd name="connsiteY14302" fmla="*/ 5034990 h 7458372"/>
              <a:gd name="connsiteX14303" fmla="*/ 5678467 w 10505529"/>
              <a:gd name="connsiteY14303" fmla="*/ 5044441 h 7458372"/>
              <a:gd name="connsiteX14304" fmla="*/ 5688451 w 10505529"/>
              <a:gd name="connsiteY14304" fmla="*/ 5047903 h 7458372"/>
              <a:gd name="connsiteX14305" fmla="*/ 5693775 w 10505529"/>
              <a:gd name="connsiteY14305" fmla="*/ 5046971 h 7458372"/>
              <a:gd name="connsiteX14306" fmla="*/ 5697502 w 10505529"/>
              <a:gd name="connsiteY14306" fmla="*/ 5044574 h 7458372"/>
              <a:gd name="connsiteX14307" fmla="*/ 5700165 w 10505529"/>
              <a:gd name="connsiteY14307" fmla="*/ 5040315 h 7458372"/>
              <a:gd name="connsiteX14308" fmla="*/ 5701230 w 10505529"/>
              <a:gd name="connsiteY14308" fmla="*/ 5034857 h 7458372"/>
              <a:gd name="connsiteX14309" fmla="*/ 5700165 w 10505529"/>
              <a:gd name="connsiteY14309" fmla="*/ 5029666 h 7458372"/>
              <a:gd name="connsiteX14310" fmla="*/ 5697502 w 10505529"/>
              <a:gd name="connsiteY14310" fmla="*/ 5025539 h 7458372"/>
              <a:gd name="connsiteX14311" fmla="*/ 5693509 w 10505529"/>
              <a:gd name="connsiteY14311" fmla="*/ 5022876 h 7458372"/>
              <a:gd name="connsiteX14312" fmla="*/ 5688451 w 10505529"/>
              <a:gd name="connsiteY14312" fmla="*/ 5021945 h 7458372"/>
              <a:gd name="connsiteX14313" fmla="*/ 5470806 w 10505529"/>
              <a:gd name="connsiteY14313" fmla="*/ 5021945 h 7458372"/>
              <a:gd name="connsiteX14314" fmla="*/ 5460822 w 10505529"/>
              <a:gd name="connsiteY14314" fmla="*/ 5025539 h 7458372"/>
              <a:gd name="connsiteX14315" fmla="*/ 5457228 w 10505529"/>
              <a:gd name="connsiteY14315" fmla="*/ 5034990 h 7458372"/>
              <a:gd name="connsiteX14316" fmla="*/ 5460822 w 10505529"/>
              <a:gd name="connsiteY14316" fmla="*/ 5044441 h 7458372"/>
              <a:gd name="connsiteX14317" fmla="*/ 5470806 w 10505529"/>
              <a:gd name="connsiteY14317" fmla="*/ 5047903 h 7458372"/>
              <a:gd name="connsiteX14318" fmla="*/ 5476130 w 10505529"/>
              <a:gd name="connsiteY14318" fmla="*/ 5046971 h 7458372"/>
              <a:gd name="connsiteX14319" fmla="*/ 5479857 w 10505529"/>
              <a:gd name="connsiteY14319" fmla="*/ 5044574 h 7458372"/>
              <a:gd name="connsiteX14320" fmla="*/ 5482520 w 10505529"/>
              <a:gd name="connsiteY14320" fmla="*/ 5040315 h 7458372"/>
              <a:gd name="connsiteX14321" fmla="*/ 5483585 w 10505529"/>
              <a:gd name="connsiteY14321" fmla="*/ 5034857 h 7458372"/>
              <a:gd name="connsiteX14322" fmla="*/ 5482520 w 10505529"/>
              <a:gd name="connsiteY14322" fmla="*/ 5029666 h 7458372"/>
              <a:gd name="connsiteX14323" fmla="*/ 5479857 w 10505529"/>
              <a:gd name="connsiteY14323" fmla="*/ 5025539 h 7458372"/>
              <a:gd name="connsiteX14324" fmla="*/ 5475864 w 10505529"/>
              <a:gd name="connsiteY14324" fmla="*/ 5022876 h 7458372"/>
              <a:gd name="connsiteX14325" fmla="*/ 5470806 w 10505529"/>
              <a:gd name="connsiteY14325" fmla="*/ 5021945 h 7458372"/>
              <a:gd name="connsiteX14326" fmla="*/ 5253160 w 10505529"/>
              <a:gd name="connsiteY14326" fmla="*/ 5021945 h 7458372"/>
              <a:gd name="connsiteX14327" fmla="*/ 5243177 w 10505529"/>
              <a:gd name="connsiteY14327" fmla="*/ 5025539 h 7458372"/>
              <a:gd name="connsiteX14328" fmla="*/ 5239583 w 10505529"/>
              <a:gd name="connsiteY14328" fmla="*/ 5034990 h 7458372"/>
              <a:gd name="connsiteX14329" fmla="*/ 5243177 w 10505529"/>
              <a:gd name="connsiteY14329" fmla="*/ 5044441 h 7458372"/>
              <a:gd name="connsiteX14330" fmla="*/ 5253160 w 10505529"/>
              <a:gd name="connsiteY14330" fmla="*/ 5047903 h 7458372"/>
              <a:gd name="connsiteX14331" fmla="*/ 5258485 w 10505529"/>
              <a:gd name="connsiteY14331" fmla="*/ 5046971 h 7458372"/>
              <a:gd name="connsiteX14332" fmla="*/ 5262212 w 10505529"/>
              <a:gd name="connsiteY14332" fmla="*/ 5044574 h 7458372"/>
              <a:gd name="connsiteX14333" fmla="*/ 5264875 w 10505529"/>
              <a:gd name="connsiteY14333" fmla="*/ 5040315 h 7458372"/>
              <a:gd name="connsiteX14334" fmla="*/ 5265939 w 10505529"/>
              <a:gd name="connsiteY14334" fmla="*/ 5034857 h 7458372"/>
              <a:gd name="connsiteX14335" fmla="*/ 5264875 w 10505529"/>
              <a:gd name="connsiteY14335" fmla="*/ 5029666 h 7458372"/>
              <a:gd name="connsiteX14336" fmla="*/ 5262212 w 10505529"/>
              <a:gd name="connsiteY14336" fmla="*/ 5025539 h 7458372"/>
              <a:gd name="connsiteX14337" fmla="*/ 5258219 w 10505529"/>
              <a:gd name="connsiteY14337" fmla="*/ 5022876 h 7458372"/>
              <a:gd name="connsiteX14338" fmla="*/ 5253160 w 10505529"/>
              <a:gd name="connsiteY14338" fmla="*/ 5021945 h 7458372"/>
              <a:gd name="connsiteX14339" fmla="*/ 5035515 w 10505529"/>
              <a:gd name="connsiteY14339" fmla="*/ 5021945 h 7458372"/>
              <a:gd name="connsiteX14340" fmla="*/ 5025532 w 10505529"/>
              <a:gd name="connsiteY14340" fmla="*/ 5025539 h 7458372"/>
              <a:gd name="connsiteX14341" fmla="*/ 5021938 w 10505529"/>
              <a:gd name="connsiteY14341" fmla="*/ 5034990 h 7458372"/>
              <a:gd name="connsiteX14342" fmla="*/ 5025532 w 10505529"/>
              <a:gd name="connsiteY14342" fmla="*/ 5044441 h 7458372"/>
              <a:gd name="connsiteX14343" fmla="*/ 5035515 w 10505529"/>
              <a:gd name="connsiteY14343" fmla="*/ 5047903 h 7458372"/>
              <a:gd name="connsiteX14344" fmla="*/ 5040840 w 10505529"/>
              <a:gd name="connsiteY14344" fmla="*/ 5046971 h 7458372"/>
              <a:gd name="connsiteX14345" fmla="*/ 5044567 w 10505529"/>
              <a:gd name="connsiteY14345" fmla="*/ 5044574 h 7458372"/>
              <a:gd name="connsiteX14346" fmla="*/ 5047230 w 10505529"/>
              <a:gd name="connsiteY14346" fmla="*/ 5040315 h 7458372"/>
              <a:gd name="connsiteX14347" fmla="*/ 5048294 w 10505529"/>
              <a:gd name="connsiteY14347" fmla="*/ 5034857 h 7458372"/>
              <a:gd name="connsiteX14348" fmla="*/ 5047230 w 10505529"/>
              <a:gd name="connsiteY14348" fmla="*/ 5029666 h 7458372"/>
              <a:gd name="connsiteX14349" fmla="*/ 5044567 w 10505529"/>
              <a:gd name="connsiteY14349" fmla="*/ 5025539 h 7458372"/>
              <a:gd name="connsiteX14350" fmla="*/ 5040574 w 10505529"/>
              <a:gd name="connsiteY14350" fmla="*/ 5022876 h 7458372"/>
              <a:gd name="connsiteX14351" fmla="*/ 5035515 w 10505529"/>
              <a:gd name="connsiteY14351" fmla="*/ 5021945 h 7458372"/>
              <a:gd name="connsiteX14352" fmla="*/ 4817870 w 10505529"/>
              <a:gd name="connsiteY14352" fmla="*/ 5021945 h 7458372"/>
              <a:gd name="connsiteX14353" fmla="*/ 4807887 w 10505529"/>
              <a:gd name="connsiteY14353" fmla="*/ 5025539 h 7458372"/>
              <a:gd name="connsiteX14354" fmla="*/ 4804293 w 10505529"/>
              <a:gd name="connsiteY14354" fmla="*/ 5034990 h 7458372"/>
              <a:gd name="connsiteX14355" fmla="*/ 4807887 w 10505529"/>
              <a:gd name="connsiteY14355" fmla="*/ 5044441 h 7458372"/>
              <a:gd name="connsiteX14356" fmla="*/ 4817870 w 10505529"/>
              <a:gd name="connsiteY14356" fmla="*/ 5047903 h 7458372"/>
              <a:gd name="connsiteX14357" fmla="*/ 4823195 w 10505529"/>
              <a:gd name="connsiteY14357" fmla="*/ 5046971 h 7458372"/>
              <a:gd name="connsiteX14358" fmla="*/ 4826922 w 10505529"/>
              <a:gd name="connsiteY14358" fmla="*/ 5044574 h 7458372"/>
              <a:gd name="connsiteX14359" fmla="*/ 4829585 w 10505529"/>
              <a:gd name="connsiteY14359" fmla="*/ 5040315 h 7458372"/>
              <a:gd name="connsiteX14360" fmla="*/ 4830650 w 10505529"/>
              <a:gd name="connsiteY14360" fmla="*/ 5034857 h 7458372"/>
              <a:gd name="connsiteX14361" fmla="*/ 4829585 w 10505529"/>
              <a:gd name="connsiteY14361" fmla="*/ 5029666 h 7458372"/>
              <a:gd name="connsiteX14362" fmla="*/ 4826922 w 10505529"/>
              <a:gd name="connsiteY14362" fmla="*/ 5025539 h 7458372"/>
              <a:gd name="connsiteX14363" fmla="*/ 4822929 w 10505529"/>
              <a:gd name="connsiteY14363" fmla="*/ 5022876 h 7458372"/>
              <a:gd name="connsiteX14364" fmla="*/ 4817870 w 10505529"/>
              <a:gd name="connsiteY14364" fmla="*/ 5021945 h 7458372"/>
              <a:gd name="connsiteX14365" fmla="*/ 4600226 w 10505529"/>
              <a:gd name="connsiteY14365" fmla="*/ 5021945 h 7458372"/>
              <a:gd name="connsiteX14366" fmla="*/ 4590242 w 10505529"/>
              <a:gd name="connsiteY14366" fmla="*/ 5025539 h 7458372"/>
              <a:gd name="connsiteX14367" fmla="*/ 4586648 w 10505529"/>
              <a:gd name="connsiteY14367" fmla="*/ 5034990 h 7458372"/>
              <a:gd name="connsiteX14368" fmla="*/ 4590242 w 10505529"/>
              <a:gd name="connsiteY14368" fmla="*/ 5044441 h 7458372"/>
              <a:gd name="connsiteX14369" fmla="*/ 4600226 w 10505529"/>
              <a:gd name="connsiteY14369" fmla="*/ 5047903 h 7458372"/>
              <a:gd name="connsiteX14370" fmla="*/ 4605550 w 10505529"/>
              <a:gd name="connsiteY14370" fmla="*/ 5046971 h 7458372"/>
              <a:gd name="connsiteX14371" fmla="*/ 4609277 w 10505529"/>
              <a:gd name="connsiteY14371" fmla="*/ 5044574 h 7458372"/>
              <a:gd name="connsiteX14372" fmla="*/ 4611940 w 10505529"/>
              <a:gd name="connsiteY14372" fmla="*/ 5040315 h 7458372"/>
              <a:gd name="connsiteX14373" fmla="*/ 4613005 w 10505529"/>
              <a:gd name="connsiteY14373" fmla="*/ 5034857 h 7458372"/>
              <a:gd name="connsiteX14374" fmla="*/ 4611940 w 10505529"/>
              <a:gd name="connsiteY14374" fmla="*/ 5029666 h 7458372"/>
              <a:gd name="connsiteX14375" fmla="*/ 4609277 w 10505529"/>
              <a:gd name="connsiteY14375" fmla="*/ 5025539 h 7458372"/>
              <a:gd name="connsiteX14376" fmla="*/ 4605284 w 10505529"/>
              <a:gd name="connsiteY14376" fmla="*/ 5022876 h 7458372"/>
              <a:gd name="connsiteX14377" fmla="*/ 4600226 w 10505529"/>
              <a:gd name="connsiteY14377" fmla="*/ 5021945 h 7458372"/>
              <a:gd name="connsiteX14378" fmla="*/ 4382713 w 10505529"/>
              <a:gd name="connsiteY14378" fmla="*/ 5021945 h 7458372"/>
              <a:gd name="connsiteX14379" fmla="*/ 4372730 w 10505529"/>
              <a:gd name="connsiteY14379" fmla="*/ 5025539 h 7458372"/>
              <a:gd name="connsiteX14380" fmla="*/ 4369136 w 10505529"/>
              <a:gd name="connsiteY14380" fmla="*/ 5034990 h 7458372"/>
              <a:gd name="connsiteX14381" fmla="*/ 4372730 w 10505529"/>
              <a:gd name="connsiteY14381" fmla="*/ 5044441 h 7458372"/>
              <a:gd name="connsiteX14382" fmla="*/ 4382713 w 10505529"/>
              <a:gd name="connsiteY14382" fmla="*/ 5047903 h 7458372"/>
              <a:gd name="connsiteX14383" fmla="*/ 4388038 w 10505529"/>
              <a:gd name="connsiteY14383" fmla="*/ 5046971 h 7458372"/>
              <a:gd name="connsiteX14384" fmla="*/ 4391765 w 10505529"/>
              <a:gd name="connsiteY14384" fmla="*/ 5044574 h 7458372"/>
              <a:gd name="connsiteX14385" fmla="*/ 4394428 w 10505529"/>
              <a:gd name="connsiteY14385" fmla="*/ 5040315 h 7458372"/>
              <a:gd name="connsiteX14386" fmla="*/ 4395493 w 10505529"/>
              <a:gd name="connsiteY14386" fmla="*/ 5034857 h 7458372"/>
              <a:gd name="connsiteX14387" fmla="*/ 4394428 w 10505529"/>
              <a:gd name="connsiteY14387" fmla="*/ 5029666 h 7458372"/>
              <a:gd name="connsiteX14388" fmla="*/ 4391765 w 10505529"/>
              <a:gd name="connsiteY14388" fmla="*/ 5025539 h 7458372"/>
              <a:gd name="connsiteX14389" fmla="*/ 4387772 w 10505529"/>
              <a:gd name="connsiteY14389" fmla="*/ 5022876 h 7458372"/>
              <a:gd name="connsiteX14390" fmla="*/ 4382713 w 10505529"/>
              <a:gd name="connsiteY14390" fmla="*/ 5021945 h 7458372"/>
              <a:gd name="connsiteX14391" fmla="*/ 4165068 w 10505529"/>
              <a:gd name="connsiteY14391" fmla="*/ 5021945 h 7458372"/>
              <a:gd name="connsiteX14392" fmla="*/ 4155084 w 10505529"/>
              <a:gd name="connsiteY14392" fmla="*/ 5025539 h 7458372"/>
              <a:gd name="connsiteX14393" fmla="*/ 4151490 w 10505529"/>
              <a:gd name="connsiteY14393" fmla="*/ 5034990 h 7458372"/>
              <a:gd name="connsiteX14394" fmla="*/ 4155084 w 10505529"/>
              <a:gd name="connsiteY14394" fmla="*/ 5044441 h 7458372"/>
              <a:gd name="connsiteX14395" fmla="*/ 4165068 w 10505529"/>
              <a:gd name="connsiteY14395" fmla="*/ 5047903 h 7458372"/>
              <a:gd name="connsiteX14396" fmla="*/ 4170392 w 10505529"/>
              <a:gd name="connsiteY14396" fmla="*/ 5046971 h 7458372"/>
              <a:gd name="connsiteX14397" fmla="*/ 4174119 w 10505529"/>
              <a:gd name="connsiteY14397" fmla="*/ 5044574 h 7458372"/>
              <a:gd name="connsiteX14398" fmla="*/ 4176782 w 10505529"/>
              <a:gd name="connsiteY14398" fmla="*/ 5040315 h 7458372"/>
              <a:gd name="connsiteX14399" fmla="*/ 4177847 w 10505529"/>
              <a:gd name="connsiteY14399" fmla="*/ 5034857 h 7458372"/>
              <a:gd name="connsiteX14400" fmla="*/ 4176782 w 10505529"/>
              <a:gd name="connsiteY14400" fmla="*/ 5029666 h 7458372"/>
              <a:gd name="connsiteX14401" fmla="*/ 4174119 w 10505529"/>
              <a:gd name="connsiteY14401" fmla="*/ 5025539 h 7458372"/>
              <a:gd name="connsiteX14402" fmla="*/ 4170126 w 10505529"/>
              <a:gd name="connsiteY14402" fmla="*/ 5022876 h 7458372"/>
              <a:gd name="connsiteX14403" fmla="*/ 4165068 w 10505529"/>
              <a:gd name="connsiteY14403" fmla="*/ 5021945 h 7458372"/>
              <a:gd name="connsiteX14404" fmla="*/ 3947698 w 10505529"/>
              <a:gd name="connsiteY14404" fmla="*/ 5021945 h 7458372"/>
              <a:gd name="connsiteX14405" fmla="*/ 3937714 w 10505529"/>
              <a:gd name="connsiteY14405" fmla="*/ 5025539 h 7458372"/>
              <a:gd name="connsiteX14406" fmla="*/ 3934120 w 10505529"/>
              <a:gd name="connsiteY14406" fmla="*/ 5034990 h 7458372"/>
              <a:gd name="connsiteX14407" fmla="*/ 3937714 w 10505529"/>
              <a:gd name="connsiteY14407" fmla="*/ 5044441 h 7458372"/>
              <a:gd name="connsiteX14408" fmla="*/ 3947698 w 10505529"/>
              <a:gd name="connsiteY14408" fmla="*/ 5047903 h 7458372"/>
              <a:gd name="connsiteX14409" fmla="*/ 3953025 w 10505529"/>
              <a:gd name="connsiteY14409" fmla="*/ 5046971 h 7458372"/>
              <a:gd name="connsiteX14410" fmla="*/ 3956752 w 10505529"/>
              <a:gd name="connsiteY14410" fmla="*/ 5044574 h 7458372"/>
              <a:gd name="connsiteX14411" fmla="*/ 3959415 w 10505529"/>
              <a:gd name="connsiteY14411" fmla="*/ 5040315 h 7458372"/>
              <a:gd name="connsiteX14412" fmla="*/ 3960481 w 10505529"/>
              <a:gd name="connsiteY14412" fmla="*/ 5034857 h 7458372"/>
              <a:gd name="connsiteX14413" fmla="*/ 3959415 w 10505529"/>
              <a:gd name="connsiteY14413" fmla="*/ 5029666 h 7458372"/>
              <a:gd name="connsiteX14414" fmla="*/ 3956752 w 10505529"/>
              <a:gd name="connsiteY14414" fmla="*/ 5025539 h 7458372"/>
              <a:gd name="connsiteX14415" fmla="*/ 3952759 w 10505529"/>
              <a:gd name="connsiteY14415" fmla="*/ 5022876 h 7458372"/>
              <a:gd name="connsiteX14416" fmla="*/ 3947698 w 10505529"/>
              <a:gd name="connsiteY14416" fmla="*/ 5021945 h 7458372"/>
              <a:gd name="connsiteX14417" fmla="*/ 3730040 w 10505529"/>
              <a:gd name="connsiteY14417" fmla="*/ 5021945 h 7458372"/>
              <a:gd name="connsiteX14418" fmla="*/ 3720053 w 10505529"/>
              <a:gd name="connsiteY14418" fmla="*/ 5025539 h 7458372"/>
              <a:gd name="connsiteX14419" fmla="*/ 3716461 w 10505529"/>
              <a:gd name="connsiteY14419" fmla="*/ 5034990 h 7458372"/>
              <a:gd name="connsiteX14420" fmla="*/ 3720053 w 10505529"/>
              <a:gd name="connsiteY14420" fmla="*/ 5044441 h 7458372"/>
              <a:gd name="connsiteX14421" fmla="*/ 3730040 w 10505529"/>
              <a:gd name="connsiteY14421" fmla="*/ 5047903 h 7458372"/>
              <a:gd name="connsiteX14422" fmla="*/ 3735365 w 10505529"/>
              <a:gd name="connsiteY14422" fmla="*/ 5046971 h 7458372"/>
              <a:gd name="connsiteX14423" fmla="*/ 3739093 w 10505529"/>
              <a:gd name="connsiteY14423" fmla="*/ 5044574 h 7458372"/>
              <a:gd name="connsiteX14424" fmla="*/ 3741756 w 10505529"/>
              <a:gd name="connsiteY14424" fmla="*/ 5040315 h 7458372"/>
              <a:gd name="connsiteX14425" fmla="*/ 3742820 w 10505529"/>
              <a:gd name="connsiteY14425" fmla="*/ 5034857 h 7458372"/>
              <a:gd name="connsiteX14426" fmla="*/ 3741756 w 10505529"/>
              <a:gd name="connsiteY14426" fmla="*/ 5029666 h 7458372"/>
              <a:gd name="connsiteX14427" fmla="*/ 3739093 w 10505529"/>
              <a:gd name="connsiteY14427" fmla="*/ 5025539 h 7458372"/>
              <a:gd name="connsiteX14428" fmla="*/ 3735100 w 10505529"/>
              <a:gd name="connsiteY14428" fmla="*/ 5022876 h 7458372"/>
              <a:gd name="connsiteX14429" fmla="*/ 3730040 w 10505529"/>
              <a:gd name="connsiteY14429" fmla="*/ 5021945 h 7458372"/>
              <a:gd name="connsiteX14430" fmla="*/ 3512380 w 10505529"/>
              <a:gd name="connsiteY14430" fmla="*/ 5021945 h 7458372"/>
              <a:gd name="connsiteX14431" fmla="*/ 3502392 w 10505529"/>
              <a:gd name="connsiteY14431" fmla="*/ 5025539 h 7458372"/>
              <a:gd name="connsiteX14432" fmla="*/ 3498799 w 10505529"/>
              <a:gd name="connsiteY14432" fmla="*/ 5034990 h 7458372"/>
              <a:gd name="connsiteX14433" fmla="*/ 3502392 w 10505529"/>
              <a:gd name="connsiteY14433" fmla="*/ 5044441 h 7458372"/>
              <a:gd name="connsiteX14434" fmla="*/ 3512380 w 10505529"/>
              <a:gd name="connsiteY14434" fmla="*/ 5047903 h 7458372"/>
              <a:gd name="connsiteX14435" fmla="*/ 3517706 w 10505529"/>
              <a:gd name="connsiteY14435" fmla="*/ 5046971 h 7458372"/>
              <a:gd name="connsiteX14436" fmla="*/ 3521433 w 10505529"/>
              <a:gd name="connsiteY14436" fmla="*/ 5044574 h 7458372"/>
              <a:gd name="connsiteX14437" fmla="*/ 3524097 w 10505529"/>
              <a:gd name="connsiteY14437" fmla="*/ 5040315 h 7458372"/>
              <a:gd name="connsiteX14438" fmla="*/ 3525162 w 10505529"/>
              <a:gd name="connsiteY14438" fmla="*/ 5034857 h 7458372"/>
              <a:gd name="connsiteX14439" fmla="*/ 3524097 w 10505529"/>
              <a:gd name="connsiteY14439" fmla="*/ 5029666 h 7458372"/>
              <a:gd name="connsiteX14440" fmla="*/ 3521433 w 10505529"/>
              <a:gd name="connsiteY14440" fmla="*/ 5025539 h 7458372"/>
              <a:gd name="connsiteX14441" fmla="*/ 3517440 w 10505529"/>
              <a:gd name="connsiteY14441" fmla="*/ 5022876 h 7458372"/>
              <a:gd name="connsiteX14442" fmla="*/ 3512380 w 10505529"/>
              <a:gd name="connsiteY14442" fmla="*/ 5021945 h 7458372"/>
              <a:gd name="connsiteX14443" fmla="*/ 3294855 w 10505529"/>
              <a:gd name="connsiteY14443" fmla="*/ 5021945 h 7458372"/>
              <a:gd name="connsiteX14444" fmla="*/ 3284869 w 10505529"/>
              <a:gd name="connsiteY14444" fmla="*/ 5025539 h 7458372"/>
              <a:gd name="connsiteX14445" fmla="*/ 3281274 w 10505529"/>
              <a:gd name="connsiteY14445" fmla="*/ 5034990 h 7458372"/>
              <a:gd name="connsiteX14446" fmla="*/ 3284869 w 10505529"/>
              <a:gd name="connsiteY14446" fmla="*/ 5044441 h 7458372"/>
              <a:gd name="connsiteX14447" fmla="*/ 3294855 w 10505529"/>
              <a:gd name="connsiteY14447" fmla="*/ 5047903 h 7458372"/>
              <a:gd name="connsiteX14448" fmla="*/ 3300180 w 10505529"/>
              <a:gd name="connsiteY14448" fmla="*/ 5046971 h 7458372"/>
              <a:gd name="connsiteX14449" fmla="*/ 3303907 w 10505529"/>
              <a:gd name="connsiteY14449" fmla="*/ 5044574 h 7458372"/>
              <a:gd name="connsiteX14450" fmla="*/ 3306570 w 10505529"/>
              <a:gd name="connsiteY14450" fmla="*/ 5040315 h 7458372"/>
              <a:gd name="connsiteX14451" fmla="*/ 3307634 w 10505529"/>
              <a:gd name="connsiteY14451" fmla="*/ 5034857 h 7458372"/>
              <a:gd name="connsiteX14452" fmla="*/ 3306570 w 10505529"/>
              <a:gd name="connsiteY14452" fmla="*/ 5029666 h 7458372"/>
              <a:gd name="connsiteX14453" fmla="*/ 3303907 w 10505529"/>
              <a:gd name="connsiteY14453" fmla="*/ 5025539 h 7458372"/>
              <a:gd name="connsiteX14454" fmla="*/ 3299914 w 10505529"/>
              <a:gd name="connsiteY14454" fmla="*/ 5022876 h 7458372"/>
              <a:gd name="connsiteX14455" fmla="*/ 3294855 w 10505529"/>
              <a:gd name="connsiteY14455" fmla="*/ 5021945 h 7458372"/>
              <a:gd name="connsiteX14456" fmla="*/ 3077328 w 10505529"/>
              <a:gd name="connsiteY14456" fmla="*/ 5021945 h 7458372"/>
              <a:gd name="connsiteX14457" fmla="*/ 3067345 w 10505529"/>
              <a:gd name="connsiteY14457" fmla="*/ 5025539 h 7458372"/>
              <a:gd name="connsiteX14458" fmla="*/ 3063614 w 10505529"/>
              <a:gd name="connsiteY14458" fmla="*/ 5034990 h 7458372"/>
              <a:gd name="connsiteX14459" fmla="*/ 3067211 w 10505529"/>
              <a:gd name="connsiteY14459" fmla="*/ 5044441 h 7458372"/>
              <a:gd name="connsiteX14460" fmla="*/ 3077195 w 10505529"/>
              <a:gd name="connsiteY14460" fmla="*/ 5047903 h 7458372"/>
              <a:gd name="connsiteX14461" fmla="*/ 3082653 w 10505529"/>
              <a:gd name="connsiteY14461" fmla="*/ 5046971 h 7458372"/>
              <a:gd name="connsiteX14462" fmla="*/ 3086381 w 10505529"/>
              <a:gd name="connsiteY14462" fmla="*/ 5044574 h 7458372"/>
              <a:gd name="connsiteX14463" fmla="*/ 3089043 w 10505529"/>
              <a:gd name="connsiteY14463" fmla="*/ 5040315 h 7458372"/>
              <a:gd name="connsiteX14464" fmla="*/ 3089976 w 10505529"/>
              <a:gd name="connsiteY14464" fmla="*/ 5034857 h 7458372"/>
              <a:gd name="connsiteX14465" fmla="*/ 3089043 w 10505529"/>
              <a:gd name="connsiteY14465" fmla="*/ 5029666 h 7458372"/>
              <a:gd name="connsiteX14466" fmla="*/ 3086381 w 10505529"/>
              <a:gd name="connsiteY14466" fmla="*/ 5025539 h 7458372"/>
              <a:gd name="connsiteX14467" fmla="*/ 3082388 w 10505529"/>
              <a:gd name="connsiteY14467" fmla="*/ 5022876 h 7458372"/>
              <a:gd name="connsiteX14468" fmla="*/ 3077328 w 10505529"/>
              <a:gd name="connsiteY14468" fmla="*/ 5021945 h 7458372"/>
              <a:gd name="connsiteX14469" fmla="*/ 2859536 w 10505529"/>
              <a:gd name="connsiteY14469" fmla="*/ 5021945 h 7458372"/>
              <a:gd name="connsiteX14470" fmla="*/ 2849550 w 10505529"/>
              <a:gd name="connsiteY14470" fmla="*/ 5025539 h 7458372"/>
              <a:gd name="connsiteX14471" fmla="*/ 2845952 w 10505529"/>
              <a:gd name="connsiteY14471" fmla="*/ 5034990 h 7458372"/>
              <a:gd name="connsiteX14472" fmla="*/ 2849550 w 10505529"/>
              <a:gd name="connsiteY14472" fmla="*/ 5044441 h 7458372"/>
              <a:gd name="connsiteX14473" fmla="*/ 2859536 w 10505529"/>
              <a:gd name="connsiteY14473" fmla="*/ 5047903 h 7458372"/>
              <a:gd name="connsiteX14474" fmla="*/ 2864861 w 10505529"/>
              <a:gd name="connsiteY14474" fmla="*/ 5046971 h 7458372"/>
              <a:gd name="connsiteX14475" fmla="*/ 2868588 w 10505529"/>
              <a:gd name="connsiteY14475" fmla="*/ 5044574 h 7458372"/>
              <a:gd name="connsiteX14476" fmla="*/ 2871251 w 10505529"/>
              <a:gd name="connsiteY14476" fmla="*/ 5040315 h 7458372"/>
              <a:gd name="connsiteX14477" fmla="*/ 2872182 w 10505529"/>
              <a:gd name="connsiteY14477" fmla="*/ 5034857 h 7458372"/>
              <a:gd name="connsiteX14478" fmla="*/ 2871251 w 10505529"/>
              <a:gd name="connsiteY14478" fmla="*/ 5029666 h 7458372"/>
              <a:gd name="connsiteX14479" fmla="*/ 2868588 w 10505529"/>
              <a:gd name="connsiteY14479" fmla="*/ 5025539 h 7458372"/>
              <a:gd name="connsiteX14480" fmla="*/ 2864595 w 10505529"/>
              <a:gd name="connsiteY14480" fmla="*/ 5022876 h 7458372"/>
              <a:gd name="connsiteX14481" fmla="*/ 2859536 w 10505529"/>
              <a:gd name="connsiteY14481" fmla="*/ 5021945 h 7458372"/>
              <a:gd name="connsiteX14482" fmla="*/ 2641876 w 10505529"/>
              <a:gd name="connsiteY14482" fmla="*/ 5021945 h 7458372"/>
              <a:gd name="connsiteX14483" fmla="*/ 2631893 w 10505529"/>
              <a:gd name="connsiteY14483" fmla="*/ 5025539 h 7458372"/>
              <a:gd name="connsiteX14484" fmla="*/ 2628298 w 10505529"/>
              <a:gd name="connsiteY14484" fmla="*/ 5034990 h 7458372"/>
              <a:gd name="connsiteX14485" fmla="*/ 2631893 w 10505529"/>
              <a:gd name="connsiteY14485" fmla="*/ 5044441 h 7458372"/>
              <a:gd name="connsiteX14486" fmla="*/ 2641876 w 10505529"/>
              <a:gd name="connsiteY14486" fmla="*/ 5047903 h 7458372"/>
              <a:gd name="connsiteX14487" fmla="*/ 2647202 w 10505529"/>
              <a:gd name="connsiteY14487" fmla="*/ 5046971 h 7458372"/>
              <a:gd name="connsiteX14488" fmla="*/ 2650929 w 10505529"/>
              <a:gd name="connsiteY14488" fmla="*/ 5044574 h 7458372"/>
              <a:gd name="connsiteX14489" fmla="*/ 2653592 w 10505529"/>
              <a:gd name="connsiteY14489" fmla="*/ 5040315 h 7458372"/>
              <a:gd name="connsiteX14490" fmla="*/ 2654522 w 10505529"/>
              <a:gd name="connsiteY14490" fmla="*/ 5034857 h 7458372"/>
              <a:gd name="connsiteX14491" fmla="*/ 2653592 w 10505529"/>
              <a:gd name="connsiteY14491" fmla="*/ 5029666 h 7458372"/>
              <a:gd name="connsiteX14492" fmla="*/ 2650929 w 10505529"/>
              <a:gd name="connsiteY14492" fmla="*/ 5025539 h 7458372"/>
              <a:gd name="connsiteX14493" fmla="*/ 2646935 w 10505529"/>
              <a:gd name="connsiteY14493" fmla="*/ 5022876 h 7458372"/>
              <a:gd name="connsiteX14494" fmla="*/ 2641876 w 10505529"/>
              <a:gd name="connsiteY14494" fmla="*/ 5021945 h 7458372"/>
              <a:gd name="connsiteX14495" fmla="*/ 2424216 w 10505529"/>
              <a:gd name="connsiteY14495" fmla="*/ 5021945 h 7458372"/>
              <a:gd name="connsiteX14496" fmla="*/ 2414233 w 10505529"/>
              <a:gd name="connsiteY14496" fmla="*/ 5025539 h 7458372"/>
              <a:gd name="connsiteX14497" fmla="*/ 2410639 w 10505529"/>
              <a:gd name="connsiteY14497" fmla="*/ 5034990 h 7458372"/>
              <a:gd name="connsiteX14498" fmla="*/ 2414233 w 10505529"/>
              <a:gd name="connsiteY14498" fmla="*/ 5044441 h 7458372"/>
              <a:gd name="connsiteX14499" fmla="*/ 2424216 w 10505529"/>
              <a:gd name="connsiteY14499" fmla="*/ 5047903 h 7458372"/>
              <a:gd name="connsiteX14500" fmla="*/ 2429542 w 10505529"/>
              <a:gd name="connsiteY14500" fmla="*/ 5046971 h 7458372"/>
              <a:gd name="connsiteX14501" fmla="*/ 2433269 w 10505529"/>
              <a:gd name="connsiteY14501" fmla="*/ 5044574 h 7458372"/>
              <a:gd name="connsiteX14502" fmla="*/ 2435932 w 10505529"/>
              <a:gd name="connsiteY14502" fmla="*/ 5040315 h 7458372"/>
              <a:gd name="connsiteX14503" fmla="*/ 2436863 w 10505529"/>
              <a:gd name="connsiteY14503" fmla="*/ 5034857 h 7458372"/>
              <a:gd name="connsiteX14504" fmla="*/ 2435932 w 10505529"/>
              <a:gd name="connsiteY14504" fmla="*/ 5029666 h 7458372"/>
              <a:gd name="connsiteX14505" fmla="*/ 2433269 w 10505529"/>
              <a:gd name="connsiteY14505" fmla="*/ 5025539 h 7458372"/>
              <a:gd name="connsiteX14506" fmla="*/ 2429276 w 10505529"/>
              <a:gd name="connsiteY14506" fmla="*/ 5022876 h 7458372"/>
              <a:gd name="connsiteX14507" fmla="*/ 2424216 w 10505529"/>
              <a:gd name="connsiteY14507" fmla="*/ 5021945 h 7458372"/>
              <a:gd name="connsiteX14508" fmla="*/ 2206557 w 10505529"/>
              <a:gd name="connsiteY14508" fmla="*/ 5021945 h 7458372"/>
              <a:gd name="connsiteX14509" fmla="*/ 2196574 w 10505529"/>
              <a:gd name="connsiteY14509" fmla="*/ 5025539 h 7458372"/>
              <a:gd name="connsiteX14510" fmla="*/ 2192979 w 10505529"/>
              <a:gd name="connsiteY14510" fmla="*/ 5034990 h 7458372"/>
              <a:gd name="connsiteX14511" fmla="*/ 2196574 w 10505529"/>
              <a:gd name="connsiteY14511" fmla="*/ 5044441 h 7458372"/>
              <a:gd name="connsiteX14512" fmla="*/ 2206557 w 10505529"/>
              <a:gd name="connsiteY14512" fmla="*/ 5047903 h 7458372"/>
              <a:gd name="connsiteX14513" fmla="*/ 2211882 w 10505529"/>
              <a:gd name="connsiteY14513" fmla="*/ 5046971 h 7458372"/>
              <a:gd name="connsiteX14514" fmla="*/ 2215609 w 10505529"/>
              <a:gd name="connsiteY14514" fmla="*/ 5044574 h 7458372"/>
              <a:gd name="connsiteX14515" fmla="*/ 2218272 w 10505529"/>
              <a:gd name="connsiteY14515" fmla="*/ 5040315 h 7458372"/>
              <a:gd name="connsiteX14516" fmla="*/ 2219203 w 10505529"/>
              <a:gd name="connsiteY14516" fmla="*/ 5034857 h 7458372"/>
              <a:gd name="connsiteX14517" fmla="*/ 2218272 w 10505529"/>
              <a:gd name="connsiteY14517" fmla="*/ 5029666 h 7458372"/>
              <a:gd name="connsiteX14518" fmla="*/ 2215609 w 10505529"/>
              <a:gd name="connsiteY14518" fmla="*/ 5025539 h 7458372"/>
              <a:gd name="connsiteX14519" fmla="*/ 2211616 w 10505529"/>
              <a:gd name="connsiteY14519" fmla="*/ 5022876 h 7458372"/>
              <a:gd name="connsiteX14520" fmla="*/ 2206557 w 10505529"/>
              <a:gd name="connsiteY14520" fmla="*/ 5021945 h 7458372"/>
              <a:gd name="connsiteX14521" fmla="*/ 1989030 w 10505529"/>
              <a:gd name="connsiteY14521" fmla="*/ 5021945 h 7458372"/>
              <a:gd name="connsiteX14522" fmla="*/ 1979047 w 10505529"/>
              <a:gd name="connsiteY14522" fmla="*/ 5025539 h 7458372"/>
              <a:gd name="connsiteX14523" fmla="*/ 1975453 w 10505529"/>
              <a:gd name="connsiteY14523" fmla="*/ 5034990 h 7458372"/>
              <a:gd name="connsiteX14524" fmla="*/ 1979047 w 10505529"/>
              <a:gd name="connsiteY14524" fmla="*/ 5044441 h 7458372"/>
              <a:gd name="connsiteX14525" fmla="*/ 1989030 w 10505529"/>
              <a:gd name="connsiteY14525" fmla="*/ 5047903 h 7458372"/>
              <a:gd name="connsiteX14526" fmla="*/ 1994355 w 10505529"/>
              <a:gd name="connsiteY14526" fmla="*/ 5046971 h 7458372"/>
              <a:gd name="connsiteX14527" fmla="*/ 1998083 w 10505529"/>
              <a:gd name="connsiteY14527" fmla="*/ 5044574 h 7458372"/>
              <a:gd name="connsiteX14528" fmla="*/ 2000746 w 10505529"/>
              <a:gd name="connsiteY14528" fmla="*/ 5040315 h 7458372"/>
              <a:gd name="connsiteX14529" fmla="*/ 2001676 w 10505529"/>
              <a:gd name="connsiteY14529" fmla="*/ 5034857 h 7458372"/>
              <a:gd name="connsiteX14530" fmla="*/ 2000746 w 10505529"/>
              <a:gd name="connsiteY14530" fmla="*/ 5029666 h 7458372"/>
              <a:gd name="connsiteX14531" fmla="*/ 1998083 w 10505529"/>
              <a:gd name="connsiteY14531" fmla="*/ 5025539 h 7458372"/>
              <a:gd name="connsiteX14532" fmla="*/ 1994089 w 10505529"/>
              <a:gd name="connsiteY14532" fmla="*/ 5022876 h 7458372"/>
              <a:gd name="connsiteX14533" fmla="*/ 1989030 w 10505529"/>
              <a:gd name="connsiteY14533" fmla="*/ 5021945 h 7458372"/>
              <a:gd name="connsiteX14534" fmla="*/ 1771396 w 10505529"/>
              <a:gd name="connsiteY14534" fmla="*/ 5021945 h 7458372"/>
              <a:gd name="connsiteX14535" fmla="*/ 1761414 w 10505529"/>
              <a:gd name="connsiteY14535" fmla="*/ 5025539 h 7458372"/>
              <a:gd name="connsiteX14536" fmla="*/ 1757820 w 10505529"/>
              <a:gd name="connsiteY14536" fmla="*/ 5034990 h 7458372"/>
              <a:gd name="connsiteX14537" fmla="*/ 1761414 w 10505529"/>
              <a:gd name="connsiteY14537" fmla="*/ 5044441 h 7458372"/>
              <a:gd name="connsiteX14538" fmla="*/ 1771396 w 10505529"/>
              <a:gd name="connsiteY14538" fmla="*/ 5047903 h 7458372"/>
              <a:gd name="connsiteX14539" fmla="*/ 1776721 w 10505529"/>
              <a:gd name="connsiteY14539" fmla="*/ 5046971 h 7458372"/>
              <a:gd name="connsiteX14540" fmla="*/ 1780447 w 10505529"/>
              <a:gd name="connsiteY14540" fmla="*/ 5044574 h 7458372"/>
              <a:gd name="connsiteX14541" fmla="*/ 1783110 w 10505529"/>
              <a:gd name="connsiteY14541" fmla="*/ 5040315 h 7458372"/>
              <a:gd name="connsiteX14542" fmla="*/ 1784174 w 10505529"/>
              <a:gd name="connsiteY14542" fmla="*/ 5034857 h 7458372"/>
              <a:gd name="connsiteX14543" fmla="*/ 1783110 w 10505529"/>
              <a:gd name="connsiteY14543" fmla="*/ 5029666 h 7458372"/>
              <a:gd name="connsiteX14544" fmla="*/ 1780447 w 10505529"/>
              <a:gd name="connsiteY14544" fmla="*/ 5025539 h 7458372"/>
              <a:gd name="connsiteX14545" fmla="*/ 1776455 w 10505529"/>
              <a:gd name="connsiteY14545" fmla="*/ 5022876 h 7458372"/>
              <a:gd name="connsiteX14546" fmla="*/ 1771396 w 10505529"/>
              <a:gd name="connsiteY14546" fmla="*/ 5021945 h 7458372"/>
              <a:gd name="connsiteX14547" fmla="*/ 1553758 w 10505529"/>
              <a:gd name="connsiteY14547" fmla="*/ 5021945 h 7458372"/>
              <a:gd name="connsiteX14548" fmla="*/ 1543775 w 10505529"/>
              <a:gd name="connsiteY14548" fmla="*/ 5025539 h 7458372"/>
              <a:gd name="connsiteX14549" fmla="*/ 1540180 w 10505529"/>
              <a:gd name="connsiteY14549" fmla="*/ 5034990 h 7458372"/>
              <a:gd name="connsiteX14550" fmla="*/ 1543775 w 10505529"/>
              <a:gd name="connsiteY14550" fmla="*/ 5044441 h 7458372"/>
              <a:gd name="connsiteX14551" fmla="*/ 1553758 w 10505529"/>
              <a:gd name="connsiteY14551" fmla="*/ 5047903 h 7458372"/>
              <a:gd name="connsiteX14552" fmla="*/ 1559083 w 10505529"/>
              <a:gd name="connsiteY14552" fmla="*/ 5046971 h 7458372"/>
              <a:gd name="connsiteX14553" fmla="*/ 1562810 w 10505529"/>
              <a:gd name="connsiteY14553" fmla="*/ 5044574 h 7458372"/>
              <a:gd name="connsiteX14554" fmla="*/ 1565473 w 10505529"/>
              <a:gd name="connsiteY14554" fmla="*/ 5040315 h 7458372"/>
              <a:gd name="connsiteX14555" fmla="*/ 1566538 w 10505529"/>
              <a:gd name="connsiteY14555" fmla="*/ 5034857 h 7458372"/>
              <a:gd name="connsiteX14556" fmla="*/ 1565473 w 10505529"/>
              <a:gd name="connsiteY14556" fmla="*/ 5029666 h 7458372"/>
              <a:gd name="connsiteX14557" fmla="*/ 1562810 w 10505529"/>
              <a:gd name="connsiteY14557" fmla="*/ 5025539 h 7458372"/>
              <a:gd name="connsiteX14558" fmla="*/ 1558816 w 10505529"/>
              <a:gd name="connsiteY14558" fmla="*/ 5022876 h 7458372"/>
              <a:gd name="connsiteX14559" fmla="*/ 1553758 w 10505529"/>
              <a:gd name="connsiteY14559" fmla="*/ 5021945 h 7458372"/>
              <a:gd name="connsiteX14560" fmla="*/ 1336114 w 10505529"/>
              <a:gd name="connsiteY14560" fmla="*/ 5021945 h 7458372"/>
              <a:gd name="connsiteX14561" fmla="*/ 1326131 w 10505529"/>
              <a:gd name="connsiteY14561" fmla="*/ 5025539 h 7458372"/>
              <a:gd name="connsiteX14562" fmla="*/ 1322536 w 10505529"/>
              <a:gd name="connsiteY14562" fmla="*/ 5034990 h 7458372"/>
              <a:gd name="connsiteX14563" fmla="*/ 1326131 w 10505529"/>
              <a:gd name="connsiteY14563" fmla="*/ 5044441 h 7458372"/>
              <a:gd name="connsiteX14564" fmla="*/ 1336114 w 10505529"/>
              <a:gd name="connsiteY14564" fmla="*/ 5047903 h 7458372"/>
              <a:gd name="connsiteX14565" fmla="*/ 1341441 w 10505529"/>
              <a:gd name="connsiteY14565" fmla="*/ 5046971 h 7458372"/>
              <a:gd name="connsiteX14566" fmla="*/ 1345168 w 10505529"/>
              <a:gd name="connsiteY14566" fmla="*/ 5044574 h 7458372"/>
              <a:gd name="connsiteX14567" fmla="*/ 1347830 w 10505529"/>
              <a:gd name="connsiteY14567" fmla="*/ 5040315 h 7458372"/>
              <a:gd name="connsiteX14568" fmla="*/ 1348896 w 10505529"/>
              <a:gd name="connsiteY14568" fmla="*/ 5034857 h 7458372"/>
              <a:gd name="connsiteX14569" fmla="*/ 1347830 w 10505529"/>
              <a:gd name="connsiteY14569" fmla="*/ 5029666 h 7458372"/>
              <a:gd name="connsiteX14570" fmla="*/ 1345168 w 10505529"/>
              <a:gd name="connsiteY14570" fmla="*/ 5025539 h 7458372"/>
              <a:gd name="connsiteX14571" fmla="*/ 1341173 w 10505529"/>
              <a:gd name="connsiteY14571" fmla="*/ 5022876 h 7458372"/>
              <a:gd name="connsiteX14572" fmla="*/ 1336114 w 10505529"/>
              <a:gd name="connsiteY14572" fmla="*/ 5021945 h 7458372"/>
              <a:gd name="connsiteX14573" fmla="*/ 1118602 w 10505529"/>
              <a:gd name="connsiteY14573" fmla="*/ 5021945 h 7458372"/>
              <a:gd name="connsiteX14574" fmla="*/ 1108617 w 10505529"/>
              <a:gd name="connsiteY14574" fmla="*/ 5025539 h 7458372"/>
              <a:gd name="connsiteX14575" fmla="*/ 1104890 w 10505529"/>
              <a:gd name="connsiteY14575" fmla="*/ 5034990 h 7458372"/>
              <a:gd name="connsiteX14576" fmla="*/ 1108484 w 10505529"/>
              <a:gd name="connsiteY14576" fmla="*/ 5044441 h 7458372"/>
              <a:gd name="connsiteX14577" fmla="*/ 1118469 w 10505529"/>
              <a:gd name="connsiteY14577" fmla="*/ 5047903 h 7458372"/>
              <a:gd name="connsiteX14578" fmla="*/ 1123926 w 10505529"/>
              <a:gd name="connsiteY14578" fmla="*/ 5046971 h 7458372"/>
              <a:gd name="connsiteX14579" fmla="*/ 1127656 w 10505529"/>
              <a:gd name="connsiteY14579" fmla="*/ 5044574 h 7458372"/>
              <a:gd name="connsiteX14580" fmla="*/ 1130320 w 10505529"/>
              <a:gd name="connsiteY14580" fmla="*/ 5040315 h 7458372"/>
              <a:gd name="connsiteX14581" fmla="*/ 1131384 w 10505529"/>
              <a:gd name="connsiteY14581" fmla="*/ 5034857 h 7458372"/>
              <a:gd name="connsiteX14582" fmla="*/ 1130320 w 10505529"/>
              <a:gd name="connsiteY14582" fmla="*/ 5029666 h 7458372"/>
              <a:gd name="connsiteX14583" fmla="*/ 1127656 w 10505529"/>
              <a:gd name="connsiteY14583" fmla="*/ 5025539 h 7458372"/>
              <a:gd name="connsiteX14584" fmla="*/ 1123661 w 10505529"/>
              <a:gd name="connsiteY14584" fmla="*/ 5022876 h 7458372"/>
              <a:gd name="connsiteX14585" fmla="*/ 1118602 w 10505529"/>
              <a:gd name="connsiteY14585" fmla="*/ 5021945 h 7458372"/>
              <a:gd name="connsiteX14586" fmla="*/ 901090 w 10505529"/>
              <a:gd name="connsiteY14586" fmla="*/ 5021945 h 7458372"/>
              <a:gd name="connsiteX14587" fmla="*/ 891106 w 10505529"/>
              <a:gd name="connsiteY14587" fmla="*/ 5025539 h 7458372"/>
              <a:gd name="connsiteX14588" fmla="*/ 887379 w 10505529"/>
              <a:gd name="connsiteY14588" fmla="*/ 5034990 h 7458372"/>
              <a:gd name="connsiteX14589" fmla="*/ 890973 w 10505529"/>
              <a:gd name="connsiteY14589" fmla="*/ 5044441 h 7458372"/>
              <a:gd name="connsiteX14590" fmla="*/ 900956 w 10505529"/>
              <a:gd name="connsiteY14590" fmla="*/ 5047903 h 7458372"/>
              <a:gd name="connsiteX14591" fmla="*/ 906414 w 10505529"/>
              <a:gd name="connsiteY14591" fmla="*/ 5046971 h 7458372"/>
              <a:gd name="connsiteX14592" fmla="*/ 910142 w 10505529"/>
              <a:gd name="connsiteY14592" fmla="*/ 5044574 h 7458372"/>
              <a:gd name="connsiteX14593" fmla="*/ 912804 w 10505529"/>
              <a:gd name="connsiteY14593" fmla="*/ 5040315 h 7458372"/>
              <a:gd name="connsiteX14594" fmla="*/ 913869 w 10505529"/>
              <a:gd name="connsiteY14594" fmla="*/ 5034857 h 7458372"/>
              <a:gd name="connsiteX14595" fmla="*/ 912804 w 10505529"/>
              <a:gd name="connsiteY14595" fmla="*/ 5029666 h 7458372"/>
              <a:gd name="connsiteX14596" fmla="*/ 910142 w 10505529"/>
              <a:gd name="connsiteY14596" fmla="*/ 5025539 h 7458372"/>
              <a:gd name="connsiteX14597" fmla="*/ 906148 w 10505529"/>
              <a:gd name="connsiteY14597" fmla="*/ 5022876 h 7458372"/>
              <a:gd name="connsiteX14598" fmla="*/ 901090 w 10505529"/>
              <a:gd name="connsiteY14598" fmla="*/ 5021945 h 7458372"/>
              <a:gd name="connsiteX14599" fmla="*/ 683315 w 10505529"/>
              <a:gd name="connsiteY14599" fmla="*/ 5021945 h 7458372"/>
              <a:gd name="connsiteX14600" fmla="*/ 673332 w 10505529"/>
              <a:gd name="connsiteY14600" fmla="*/ 5025539 h 7458372"/>
              <a:gd name="connsiteX14601" fmla="*/ 669738 w 10505529"/>
              <a:gd name="connsiteY14601" fmla="*/ 5034990 h 7458372"/>
              <a:gd name="connsiteX14602" fmla="*/ 673332 w 10505529"/>
              <a:gd name="connsiteY14602" fmla="*/ 5044441 h 7458372"/>
              <a:gd name="connsiteX14603" fmla="*/ 683315 w 10505529"/>
              <a:gd name="connsiteY14603" fmla="*/ 5047903 h 7458372"/>
              <a:gd name="connsiteX14604" fmla="*/ 688641 w 10505529"/>
              <a:gd name="connsiteY14604" fmla="*/ 5046971 h 7458372"/>
              <a:gd name="connsiteX14605" fmla="*/ 692368 w 10505529"/>
              <a:gd name="connsiteY14605" fmla="*/ 5044574 h 7458372"/>
              <a:gd name="connsiteX14606" fmla="*/ 695031 w 10505529"/>
              <a:gd name="connsiteY14606" fmla="*/ 5040315 h 7458372"/>
              <a:gd name="connsiteX14607" fmla="*/ 696096 w 10505529"/>
              <a:gd name="connsiteY14607" fmla="*/ 5034857 h 7458372"/>
              <a:gd name="connsiteX14608" fmla="*/ 695031 w 10505529"/>
              <a:gd name="connsiteY14608" fmla="*/ 5029666 h 7458372"/>
              <a:gd name="connsiteX14609" fmla="*/ 692368 w 10505529"/>
              <a:gd name="connsiteY14609" fmla="*/ 5025539 h 7458372"/>
              <a:gd name="connsiteX14610" fmla="*/ 688375 w 10505529"/>
              <a:gd name="connsiteY14610" fmla="*/ 5022876 h 7458372"/>
              <a:gd name="connsiteX14611" fmla="*/ 683315 w 10505529"/>
              <a:gd name="connsiteY14611" fmla="*/ 5021945 h 7458372"/>
              <a:gd name="connsiteX14612" fmla="*/ 465674 w 10505529"/>
              <a:gd name="connsiteY14612" fmla="*/ 5021945 h 7458372"/>
              <a:gd name="connsiteX14613" fmla="*/ 455691 w 10505529"/>
              <a:gd name="connsiteY14613" fmla="*/ 5025539 h 7458372"/>
              <a:gd name="connsiteX14614" fmla="*/ 452097 w 10505529"/>
              <a:gd name="connsiteY14614" fmla="*/ 5034990 h 7458372"/>
              <a:gd name="connsiteX14615" fmla="*/ 455691 w 10505529"/>
              <a:gd name="connsiteY14615" fmla="*/ 5044441 h 7458372"/>
              <a:gd name="connsiteX14616" fmla="*/ 465674 w 10505529"/>
              <a:gd name="connsiteY14616" fmla="*/ 5047903 h 7458372"/>
              <a:gd name="connsiteX14617" fmla="*/ 470999 w 10505529"/>
              <a:gd name="connsiteY14617" fmla="*/ 5046971 h 7458372"/>
              <a:gd name="connsiteX14618" fmla="*/ 474726 w 10505529"/>
              <a:gd name="connsiteY14618" fmla="*/ 5044574 h 7458372"/>
              <a:gd name="connsiteX14619" fmla="*/ 477389 w 10505529"/>
              <a:gd name="connsiteY14619" fmla="*/ 5040315 h 7458372"/>
              <a:gd name="connsiteX14620" fmla="*/ 478454 w 10505529"/>
              <a:gd name="connsiteY14620" fmla="*/ 5034857 h 7458372"/>
              <a:gd name="connsiteX14621" fmla="*/ 477389 w 10505529"/>
              <a:gd name="connsiteY14621" fmla="*/ 5029666 h 7458372"/>
              <a:gd name="connsiteX14622" fmla="*/ 474726 w 10505529"/>
              <a:gd name="connsiteY14622" fmla="*/ 5025539 h 7458372"/>
              <a:gd name="connsiteX14623" fmla="*/ 470733 w 10505529"/>
              <a:gd name="connsiteY14623" fmla="*/ 5022876 h 7458372"/>
              <a:gd name="connsiteX14624" fmla="*/ 465674 w 10505529"/>
              <a:gd name="connsiteY14624" fmla="*/ 5021945 h 7458372"/>
              <a:gd name="connsiteX14625" fmla="*/ 248032 w 10505529"/>
              <a:gd name="connsiteY14625" fmla="*/ 5021945 h 7458372"/>
              <a:gd name="connsiteX14626" fmla="*/ 238049 w 10505529"/>
              <a:gd name="connsiteY14626" fmla="*/ 5025539 h 7458372"/>
              <a:gd name="connsiteX14627" fmla="*/ 234456 w 10505529"/>
              <a:gd name="connsiteY14627" fmla="*/ 5034990 h 7458372"/>
              <a:gd name="connsiteX14628" fmla="*/ 238049 w 10505529"/>
              <a:gd name="connsiteY14628" fmla="*/ 5044441 h 7458372"/>
              <a:gd name="connsiteX14629" fmla="*/ 248032 w 10505529"/>
              <a:gd name="connsiteY14629" fmla="*/ 5047903 h 7458372"/>
              <a:gd name="connsiteX14630" fmla="*/ 253357 w 10505529"/>
              <a:gd name="connsiteY14630" fmla="*/ 5046971 h 7458372"/>
              <a:gd name="connsiteX14631" fmla="*/ 257083 w 10505529"/>
              <a:gd name="connsiteY14631" fmla="*/ 5044574 h 7458372"/>
              <a:gd name="connsiteX14632" fmla="*/ 259746 w 10505529"/>
              <a:gd name="connsiteY14632" fmla="*/ 5040315 h 7458372"/>
              <a:gd name="connsiteX14633" fmla="*/ 260811 w 10505529"/>
              <a:gd name="connsiteY14633" fmla="*/ 5034857 h 7458372"/>
              <a:gd name="connsiteX14634" fmla="*/ 259746 w 10505529"/>
              <a:gd name="connsiteY14634" fmla="*/ 5029666 h 7458372"/>
              <a:gd name="connsiteX14635" fmla="*/ 257083 w 10505529"/>
              <a:gd name="connsiteY14635" fmla="*/ 5025539 h 7458372"/>
              <a:gd name="connsiteX14636" fmla="*/ 253091 w 10505529"/>
              <a:gd name="connsiteY14636" fmla="*/ 5022876 h 7458372"/>
              <a:gd name="connsiteX14637" fmla="*/ 248032 w 10505529"/>
              <a:gd name="connsiteY14637" fmla="*/ 5021945 h 7458372"/>
              <a:gd name="connsiteX14638" fmla="*/ 30390 w 10505529"/>
              <a:gd name="connsiteY14638" fmla="*/ 5021945 h 7458372"/>
              <a:gd name="connsiteX14639" fmla="*/ 20407 w 10505529"/>
              <a:gd name="connsiteY14639" fmla="*/ 5025539 h 7458372"/>
              <a:gd name="connsiteX14640" fmla="*/ 16814 w 10505529"/>
              <a:gd name="connsiteY14640" fmla="*/ 5034990 h 7458372"/>
              <a:gd name="connsiteX14641" fmla="*/ 20407 w 10505529"/>
              <a:gd name="connsiteY14641" fmla="*/ 5044441 h 7458372"/>
              <a:gd name="connsiteX14642" fmla="*/ 30390 w 10505529"/>
              <a:gd name="connsiteY14642" fmla="*/ 5047903 h 7458372"/>
              <a:gd name="connsiteX14643" fmla="*/ 35715 w 10505529"/>
              <a:gd name="connsiteY14643" fmla="*/ 5046971 h 7458372"/>
              <a:gd name="connsiteX14644" fmla="*/ 39442 w 10505529"/>
              <a:gd name="connsiteY14644" fmla="*/ 5044574 h 7458372"/>
              <a:gd name="connsiteX14645" fmla="*/ 42105 w 10505529"/>
              <a:gd name="connsiteY14645" fmla="*/ 5040315 h 7458372"/>
              <a:gd name="connsiteX14646" fmla="*/ 43036 w 10505529"/>
              <a:gd name="connsiteY14646" fmla="*/ 5034857 h 7458372"/>
              <a:gd name="connsiteX14647" fmla="*/ 42105 w 10505529"/>
              <a:gd name="connsiteY14647" fmla="*/ 5029666 h 7458372"/>
              <a:gd name="connsiteX14648" fmla="*/ 39442 w 10505529"/>
              <a:gd name="connsiteY14648" fmla="*/ 5025539 h 7458372"/>
              <a:gd name="connsiteX14649" fmla="*/ 35449 w 10505529"/>
              <a:gd name="connsiteY14649" fmla="*/ 5022876 h 7458372"/>
              <a:gd name="connsiteX14650" fmla="*/ 30390 w 10505529"/>
              <a:gd name="connsiteY14650" fmla="*/ 5021945 h 7458372"/>
              <a:gd name="connsiteX14651" fmla="*/ 10475977 w 10505529"/>
              <a:gd name="connsiteY14651" fmla="*/ 5005305 h 7458372"/>
              <a:gd name="connsiteX14652" fmla="*/ 10487824 w 10505529"/>
              <a:gd name="connsiteY14652" fmla="*/ 5007834 h 7458372"/>
              <a:gd name="connsiteX14653" fmla="*/ 10497143 w 10505529"/>
              <a:gd name="connsiteY14653" fmla="*/ 5014224 h 7458372"/>
              <a:gd name="connsiteX14654" fmla="*/ 10503266 w 10505529"/>
              <a:gd name="connsiteY14654" fmla="*/ 5023542 h 7458372"/>
              <a:gd name="connsiteX14655" fmla="*/ 10505529 w 10505529"/>
              <a:gd name="connsiteY14655" fmla="*/ 5034990 h 7458372"/>
              <a:gd name="connsiteX14656" fmla="*/ 10503266 w 10505529"/>
              <a:gd name="connsiteY14656" fmla="*/ 5046705 h 7458372"/>
              <a:gd name="connsiteX14657" fmla="*/ 10497143 w 10505529"/>
              <a:gd name="connsiteY14657" fmla="*/ 5056023 h 7458372"/>
              <a:gd name="connsiteX14658" fmla="*/ 10487824 w 10505529"/>
              <a:gd name="connsiteY14658" fmla="*/ 5062280 h 7458372"/>
              <a:gd name="connsiteX14659" fmla="*/ 10475977 w 10505529"/>
              <a:gd name="connsiteY14659" fmla="*/ 5064543 h 7458372"/>
              <a:gd name="connsiteX14660" fmla="*/ 10454145 w 10505529"/>
              <a:gd name="connsiteY14660" fmla="*/ 5056023 h 7458372"/>
              <a:gd name="connsiteX14661" fmla="*/ 10445759 w 10505529"/>
              <a:gd name="connsiteY14661" fmla="*/ 5034857 h 7458372"/>
              <a:gd name="connsiteX14662" fmla="*/ 10454145 w 10505529"/>
              <a:gd name="connsiteY14662" fmla="*/ 5013825 h 7458372"/>
              <a:gd name="connsiteX14663" fmla="*/ 10475977 w 10505529"/>
              <a:gd name="connsiteY14663" fmla="*/ 5005305 h 7458372"/>
              <a:gd name="connsiteX14664" fmla="*/ 10258466 w 10505529"/>
              <a:gd name="connsiteY14664" fmla="*/ 5005305 h 7458372"/>
              <a:gd name="connsiteX14665" fmla="*/ 10270313 w 10505529"/>
              <a:gd name="connsiteY14665" fmla="*/ 5007834 h 7458372"/>
              <a:gd name="connsiteX14666" fmla="*/ 10279631 w 10505529"/>
              <a:gd name="connsiteY14666" fmla="*/ 5014224 h 7458372"/>
              <a:gd name="connsiteX14667" fmla="*/ 10285754 w 10505529"/>
              <a:gd name="connsiteY14667" fmla="*/ 5023542 h 7458372"/>
              <a:gd name="connsiteX14668" fmla="*/ 10288017 w 10505529"/>
              <a:gd name="connsiteY14668" fmla="*/ 5034990 h 7458372"/>
              <a:gd name="connsiteX14669" fmla="*/ 10285754 w 10505529"/>
              <a:gd name="connsiteY14669" fmla="*/ 5046705 h 7458372"/>
              <a:gd name="connsiteX14670" fmla="*/ 10279631 w 10505529"/>
              <a:gd name="connsiteY14670" fmla="*/ 5056023 h 7458372"/>
              <a:gd name="connsiteX14671" fmla="*/ 10270313 w 10505529"/>
              <a:gd name="connsiteY14671" fmla="*/ 5062280 h 7458372"/>
              <a:gd name="connsiteX14672" fmla="*/ 10258466 w 10505529"/>
              <a:gd name="connsiteY14672" fmla="*/ 5064543 h 7458372"/>
              <a:gd name="connsiteX14673" fmla="*/ 10236633 w 10505529"/>
              <a:gd name="connsiteY14673" fmla="*/ 5056023 h 7458372"/>
              <a:gd name="connsiteX14674" fmla="*/ 10228247 w 10505529"/>
              <a:gd name="connsiteY14674" fmla="*/ 5034857 h 7458372"/>
              <a:gd name="connsiteX14675" fmla="*/ 10236633 w 10505529"/>
              <a:gd name="connsiteY14675" fmla="*/ 5013825 h 7458372"/>
              <a:gd name="connsiteX14676" fmla="*/ 10258466 w 10505529"/>
              <a:gd name="connsiteY14676" fmla="*/ 5005305 h 7458372"/>
              <a:gd name="connsiteX14677" fmla="*/ 10040820 w 10505529"/>
              <a:gd name="connsiteY14677" fmla="*/ 5005305 h 7458372"/>
              <a:gd name="connsiteX14678" fmla="*/ 10052534 w 10505529"/>
              <a:gd name="connsiteY14678" fmla="*/ 5007834 h 7458372"/>
              <a:gd name="connsiteX14679" fmla="*/ 10061852 w 10505529"/>
              <a:gd name="connsiteY14679" fmla="*/ 5014224 h 7458372"/>
              <a:gd name="connsiteX14680" fmla="*/ 10067976 w 10505529"/>
              <a:gd name="connsiteY14680" fmla="*/ 5023542 h 7458372"/>
              <a:gd name="connsiteX14681" fmla="*/ 10070239 w 10505529"/>
              <a:gd name="connsiteY14681" fmla="*/ 5034990 h 7458372"/>
              <a:gd name="connsiteX14682" fmla="*/ 10067976 w 10505529"/>
              <a:gd name="connsiteY14682" fmla="*/ 5046705 h 7458372"/>
              <a:gd name="connsiteX14683" fmla="*/ 10061852 w 10505529"/>
              <a:gd name="connsiteY14683" fmla="*/ 5056023 h 7458372"/>
              <a:gd name="connsiteX14684" fmla="*/ 10052534 w 10505529"/>
              <a:gd name="connsiteY14684" fmla="*/ 5062280 h 7458372"/>
              <a:gd name="connsiteX14685" fmla="*/ 10040820 w 10505529"/>
              <a:gd name="connsiteY14685" fmla="*/ 5064543 h 7458372"/>
              <a:gd name="connsiteX14686" fmla="*/ 10018988 w 10505529"/>
              <a:gd name="connsiteY14686" fmla="*/ 5056023 h 7458372"/>
              <a:gd name="connsiteX14687" fmla="*/ 10010602 w 10505529"/>
              <a:gd name="connsiteY14687" fmla="*/ 5034857 h 7458372"/>
              <a:gd name="connsiteX14688" fmla="*/ 10018988 w 10505529"/>
              <a:gd name="connsiteY14688" fmla="*/ 5013825 h 7458372"/>
              <a:gd name="connsiteX14689" fmla="*/ 10040820 w 10505529"/>
              <a:gd name="connsiteY14689" fmla="*/ 5005305 h 7458372"/>
              <a:gd name="connsiteX14690" fmla="*/ 9823176 w 10505529"/>
              <a:gd name="connsiteY14690" fmla="*/ 5005305 h 7458372"/>
              <a:gd name="connsiteX14691" fmla="*/ 9834890 w 10505529"/>
              <a:gd name="connsiteY14691" fmla="*/ 5007834 h 7458372"/>
              <a:gd name="connsiteX14692" fmla="*/ 9844208 w 10505529"/>
              <a:gd name="connsiteY14692" fmla="*/ 5014224 h 7458372"/>
              <a:gd name="connsiteX14693" fmla="*/ 9850331 w 10505529"/>
              <a:gd name="connsiteY14693" fmla="*/ 5023542 h 7458372"/>
              <a:gd name="connsiteX14694" fmla="*/ 9852595 w 10505529"/>
              <a:gd name="connsiteY14694" fmla="*/ 5034990 h 7458372"/>
              <a:gd name="connsiteX14695" fmla="*/ 9850331 w 10505529"/>
              <a:gd name="connsiteY14695" fmla="*/ 5046705 h 7458372"/>
              <a:gd name="connsiteX14696" fmla="*/ 9844208 w 10505529"/>
              <a:gd name="connsiteY14696" fmla="*/ 5056023 h 7458372"/>
              <a:gd name="connsiteX14697" fmla="*/ 9834890 w 10505529"/>
              <a:gd name="connsiteY14697" fmla="*/ 5062280 h 7458372"/>
              <a:gd name="connsiteX14698" fmla="*/ 9823176 w 10505529"/>
              <a:gd name="connsiteY14698" fmla="*/ 5064543 h 7458372"/>
              <a:gd name="connsiteX14699" fmla="*/ 9801343 w 10505529"/>
              <a:gd name="connsiteY14699" fmla="*/ 5056023 h 7458372"/>
              <a:gd name="connsiteX14700" fmla="*/ 9792957 w 10505529"/>
              <a:gd name="connsiteY14700" fmla="*/ 5034857 h 7458372"/>
              <a:gd name="connsiteX14701" fmla="*/ 9801343 w 10505529"/>
              <a:gd name="connsiteY14701" fmla="*/ 5013825 h 7458372"/>
              <a:gd name="connsiteX14702" fmla="*/ 9823176 w 10505529"/>
              <a:gd name="connsiteY14702" fmla="*/ 5005305 h 7458372"/>
              <a:gd name="connsiteX14703" fmla="*/ 9605531 w 10505529"/>
              <a:gd name="connsiteY14703" fmla="*/ 5005305 h 7458372"/>
              <a:gd name="connsiteX14704" fmla="*/ 9617245 w 10505529"/>
              <a:gd name="connsiteY14704" fmla="*/ 5007834 h 7458372"/>
              <a:gd name="connsiteX14705" fmla="*/ 9626562 w 10505529"/>
              <a:gd name="connsiteY14705" fmla="*/ 5014224 h 7458372"/>
              <a:gd name="connsiteX14706" fmla="*/ 9632686 w 10505529"/>
              <a:gd name="connsiteY14706" fmla="*/ 5023542 h 7458372"/>
              <a:gd name="connsiteX14707" fmla="*/ 9634949 w 10505529"/>
              <a:gd name="connsiteY14707" fmla="*/ 5034990 h 7458372"/>
              <a:gd name="connsiteX14708" fmla="*/ 9632686 w 10505529"/>
              <a:gd name="connsiteY14708" fmla="*/ 5046705 h 7458372"/>
              <a:gd name="connsiteX14709" fmla="*/ 9626562 w 10505529"/>
              <a:gd name="connsiteY14709" fmla="*/ 5056023 h 7458372"/>
              <a:gd name="connsiteX14710" fmla="*/ 9617245 w 10505529"/>
              <a:gd name="connsiteY14710" fmla="*/ 5062280 h 7458372"/>
              <a:gd name="connsiteX14711" fmla="*/ 9605531 w 10505529"/>
              <a:gd name="connsiteY14711" fmla="*/ 5064543 h 7458372"/>
              <a:gd name="connsiteX14712" fmla="*/ 9583698 w 10505529"/>
              <a:gd name="connsiteY14712" fmla="*/ 5056023 h 7458372"/>
              <a:gd name="connsiteX14713" fmla="*/ 9575312 w 10505529"/>
              <a:gd name="connsiteY14713" fmla="*/ 5034857 h 7458372"/>
              <a:gd name="connsiteX14714" fmla="*/ 9583698 w 10505529"/>
              <a:gd name="connsiteY14714" fmla="*/ 5013825 h 7458372"/>
              <a:gd name="connsiteX14715" fmla="*/ 9605531 w 10505529"/>
              <a:gd name="connsiteY14715" fmla="*/ 5005305 h 7458372"/>
              <a:gd name="connsiteX14716" fmla="*/ 9387885 w 10505529"/>
              <a:gd name="connsiteY14716" fmla="*/ 5005305 h 7458372"/>
              <a:gd name="connsiteX14717" fmla="*/ 9399599 w 10505529"/>
              <a:gd name="connsiteY14717" fmla="*/ 5007834 h 7458372"/>
              <a:gd name="connsiteX14718" fmla="*/ 9408917 w 10505529"/>
              <a:gd name="connsiteY14718" fmla="*/ 5014224 h 7458372"/>
              <a:gd name="connsiteX14719" fmla="*/ 9415041 w 10505529"/>
              <a:gd name="connsiteY14719" fmla="*/ 5023542 h 7458372"/>
              <a:gd name="connsiteX14720" fmla="*/ 9417304 w 10505529"/>
              <a:gd name="connsiteY14720" fmla="*/ 5034990 h 7458372"/>
              <a:gd name="connsiteX14721" fmla="*/ 9415041 w 10505529"/>
              <a:gd name="connsiteY14721" fmla="*/ 5046705 h 7458372"/>
              <a:gd name="connsiteX14722" fmla="*/ 9408917 w 10505529"/>
              <a:gd name="connsiteY14722" fmla="*/ 5056023 h 7458372"/>
              <a:gd name="connsiteX14723" fmla="*/ 9399599 w 10505529"/>
              <a:gd name="connsiteY14723" fmla="*/ 5062280 h 7458372"/>
              <a:gd name="connsiteX14724" fmla="*/ 9387885 w 10505529"/>
              <a:gd name="connsiteY14724" fmla="*/ 5064543 h 7458372"/>
              <a:gd name="connsiteX14725" fmla="*/ 9366053 w 10505529"/>
              <a:gd name="connsiteY14725" fmla="*/ 5056023 h 7458372"/>
              <a:gd name="connsiteX14726" fmla="*/ 9357667 w 10505529"/>
              <a:gd name="connsiteY14726" fmla="*/ 5034857 h 7458372"/>
              <a:gd name="connsiteX14727" fmla="*/ 9366053 w 10505529"/>
              <a:gd name="connsiteY14727" fmla="*/ 5013825 h 7458372"/>
              <a:gd name="connsiteX14728" fmla="*/ 9387885 w 10505529"/>
              <a:gd name="connsiteY14728" fmla="*/ 5005305 h 7458372"/>
              <a:gd name="connsiteX14729" fmla="*/ 9170374 w 10505529"/>
              <a:gd name="connsiteY14729" fmla="*/ 5005305 h 7458372"/>
              <a:gd name="connsiteX14730" fmla="*/ 9182088 w 10505529"/>
              <a:gd name="connsiteY14730" fmla="*/ 5007834 h 7458372"/>
              <a:gd name="connsiteX14731" fmla="*/ 9191405 w 10505529"/>
              <a:gd name="connsiteY14731" fmla="*/ 5014224 h 7458372"/>
              <a:gd name="connsiteX14732" fmla="*/ 9197529 w 10505529"/>
              <a:gd name="connsiteY14732" fmla="*/ 5023542 h 7458372"/>
              <a:gd name="connsiteX14733" fmla="*/ 9199792 w 10505529"/>
              <a:gd name="connsiteY14733" fmla="*/ 5034990 h 7458372"/>
              <a:gd name="connsiteX14734" fmla="*/ 9197529 w 10505529"/>
              <a:gd name="connsiteY14734" fmla="*/ 5046705 h 7458372"/>
              <a:gd name="connsiteX14735" fmla="*/ 9191405 w 10505529"/>
              <a:gd name="connsiteY14735" fmla="*/ 5056023 h 7458372"/>
              <a:gd name="connsiteX14736" fmla="*/ 9182088 w 10505529"/>
              <a:gd name="connsiteY14736" fmla="*/ 5062280 h 7458372"/>
              <a:gd name="connsiteX14737" fmla="*/ 9170374 w 10505529"/>
              <a:gd name="connsiteY14737" fmla="*/ 5064543 h 7458372"/>
              <a:gd name="connsiteX14738" fmla="*/ 9148541 w 10505529"/>
              <a:gd name="connsiteY14738" fmla="*/ 5056023 h 7458372"/>
              <a:gd name="connsiteX14739" fmla="*/ 9140155 w 10505529"/>
              <a:gd name="connsiteY14739" fmla="*/ 5034857 h 7458372"/>
              <a:gd name="connsiteX14740" fmla="*/ 9148541 w 10505529"/>
              <a:gd name="connsiteY14740" fmla="*/ 5013825 h 7458372"/>
              <a:gd name="connsiteX14741" fmla="*/ 9170374 w 10505529"/>
              <a:gd name="connsiteY14741" fmla="*/ 5005305 h 7458372"/>
              <a:gd name="connsiteX14742" fmla="*/ 8952728 w 10505529"/>
              <a:gd name="connsiteY14742" fmla="*/ 5005305 h 7458372"/>
              <a:gd name="connsiteX14743" fmla="*/ 8964442 w 10505529"/>
              <a:gd name="connsiteY14743" fmla="*/ 5007834 h 7458372"/>
              <a:gd name="connsiteX14744" fmla="*/ 8973760 w 10505529"/>
              <a:gd name="connsiteY14744" fmla="*/ 5014224 h 7458372"/>
              <a:gd name="connsiteX14745" fmla="*/ 8979884 w 10505529"/>
              <a:gd name="connsiteY14745" fmla="*/ 5023542 h 7458372"/>
              <a:gd name="connsiteX14746" fmla="*/ 8982147 w 10505529"/>
              <a:gd name="connsiteY14746" fmla="*/ 5034990 h 7458372"/>
              <a:gd name="connsiteX14747" fmla="*/ 8979884 w 10505529"/>
              <a:gd name="connsiteY14747" fmla="*/ 5046705 h 7458372"/>
              <a:gd name="connsiteX14748" fmla="*/ 8973760 w 10505529"/>
              <a:gd name="connsiteY14748" fmla="*/ 5056023 h 7458372"/>
              <a:gd name="connsiteX14749" fmla="*/ 8964442 w 10505529"/>
              <a:gd name="connsiteY14749" fmla="*/ 5062280 h 7458372"/>
              <a:gd name="connsiteX14750" fmla="*/ 8952728 w 10505529"/>
              <a:gd name="connsiteY14750" fmla="*/ 5064543 h 7458372"/>
              <a:gd name="connsiteX14751" fmla="*/ 8930896 w 10505529"/>
              <a:gd name="connsiteY14751" fmla="*/ 5056023 h 7458372"/>
              <a:gd name="connsiteX14752" fmla="*/ 8922510 w 10505529"/>
              <a:gd name="connsiteY14752" fmla="*/ 5034857 h 7458372"/>
              <a:gd name="connsiteX14753" fmla="*/ 8930896 w 10505529"/>
              <a:gd name="connsiteY14753" fmla="*/ 5013825 h 7458372"/>
              <a:gd name="connsiteX14754" fmla="*/ 8952728 w 10505529"/>
              <a:gd name="connsiteY14754" fmla="*/ 5005305 h 7458372"/>
              <a:gd name="connsiteX14755" fmla="*/ 8735083 w 10505529"/>
              <a:gd name="connsiteY14755" fmla="*/ 5005305 h 7458372"/>
              <a:gd name="connsiteX14756" fmla="*/ 8746797 w 10505529"/>
              <a:gd name="connsiteY14756" fmla="*/ 5007834 h 7458372"/>
              <a:gd name="connsiteX14757" fmla="*/ 8756115 w 10505529"/>
              <a:gd name="connsiteY14757" fmla="*/ 5014224 h 7458372"/>
              <a:gd name="connsiteX14758" fmla="*/ 8762238 w 10505529"/>
              <a:gd name="connsiteY14758" fmla="*/ 5023542 h 7458372"/>
              <a:gd name="connsiteX14759" fmla="*/ 8764502 w 10505529"/>
              <a:gd name="connsiteY14759" fmla="*/ 5034990 h 7458372"/>
              <a:gd name="connsiteX14760" fmla="*/ 8762238 w 10505529"/>
              <a:gd name="connsiteY14760" fmla="*/ 5046705 h 7458372"/>
              <a:gd name="connsiteX14761" fmla="*/ 8756115 w 10505529"/>
              <a:gd name="connsiteY14761" fmla="*/ 5056023 h 7458372"/>
              <a:gd name="connsiteX14762" fmla="*/ 8746797 w 10505529"/>
              <a:gd name="connsiteY14762" fmla="*/ 5062280 h 7458372"/>
              <a:gd name="connsiteX14763" fmla="*/ 8735083 w 10505529"/>
              <a:gd name="connsiteY14763" fmla="*/ 5064543 h 7458372"/>
              <a:gd name="connsiteX14764" fmla="*/ 8713250 w 10505529"/>
              <a:gd name="connsiteY14764" fmla="*/ 5056023 h 7458372"/>
              <a:gd name="connsiteX14765" fmla="*/ 8704864 w 10505529"/>
              <a:gd name="connsiteY14765" fmla="*/ 5034857 h 7458372"/>
              <a:gd name="connsiteX14766" fmla="*/ 8713250 w 10505529"/>
              <a:gd name="connsiteY14766" fmla="*/ 5013825 h 7458372"/>
              <a:gd name="connsiteX14767" fmla="*/ 8735083 w 10505529"/>
              <a:gd name="connsiteY14767" fmla="*/ 5005305 h 7458372"/>
              <a:gd name="connsiteX14768" fmla="*/ 8517438 w 10505529"/>
              <a:gd name="connsiteY14768" fmla="*/ 5005305 h 7458372"/>
              <a:gd name="connsiteX14769" fmla="*/ 8529152 w 10505529"/>
              <a:gd name="connsiteY14769" fmla="*/ 5007834 h 7458372"/>
              <a:gd name="connsiteX14770" fmla="*/ 8538470 w 10505529"/>
              <a:gd name="connsiteY14770" fmla="*/ 5014224 h 7458372"/>
              <a:gd name="connsiteX14771" fmla="*/ 8544594 w 10505529"/>
              <a:gd name="connsiteY14771" fmla="*/ 5023542 h 7458372"/>
              <a:gd name="connsiteX14772" fmla="*/ 8546857 w 10505529"/>
              <a:gd name="connsiteY14772" fmla="*/ 5034990 h 7458372"/>
              <a:gd name="connsiteX14773" fmla="*/ 8544594 w 10505529"/>
              <a:gd name="connsiteY14773" fmla="*/ 5046705 h 7458372"/>
              <a:gd name="connsiteX14774" fmla="*/ 8538470 w 10505529"/>
              <a:gd name="connsiteY14774" fmla="*/ 5056023 h 7458372"/>
              <a:gd name="connsiteX14775" fmla="*/ 8529152 w 10505529"/>
              <a:gd name="connsiteY14775" fmla="*/ 5062280 h 7458372"/>
              <a:gd name="connsiteX14776" fmla="*/ 8517438 w 10505529"/>
              <a:gd name="connsiteY14776" fmla="*/ 5064543 h 7458372"/>
              <a:gd name="connsiteX14777" fmla="*/ 8495606 w 10505529"/>
              <a:gd name="connsiteY14777" fmla="*/ 5056023 h 7458372"/>
              <a:gd name="connsiteX14778" fmla="*/ 8487220 w 10505529"/>
              <a:gd name="connsiteY14778" fmla="*/ 5034857 h 7458372"/>
              <a:gd name="connsiteX14779" fmla="*/ 8495606 w 10505529"/>
              <a:gd name="connsiteY14779" fmla="*/ 5013825 h 7458372"/>
              <a:gd name="connsiteX14780" fmla="*/ 8517438 w 10505529"/>
              <a:gd name="connsiteY14780" fmla="*/ 5005305 h 7458372"/>
              <a:gd name="connsiteX14781" fmla="*/ 8299793 w 10505529"/>
              <a:gd name="connsiteY14781" fmla="*/ 5005305 h 7458372"/>
              <a:gd name="connsiteX14782" fmla="*/ 8311507 w 10505529"/>
              <a:gd name="connsiteY14782" fmla="*/ 5007834 h 7458372"/>
              <a:gd name="connsiteX14783" fmla="*/ 8320825 w 10505529"/>
              <a:gd name="connsiteY14783" fmla="*/ 5014224 h 7458372"/>
              <a:gd name="connsiteX14784" fmla="*/ 8326948 w 10505529"/>
              <a:gd name="connsiteY14784" fmla="*/ 5023542 h 7458372"/>
              <a:gd name="connsiteX14785" fmla="*/ 8329212 w 10505529"/>
              <a:gd name="connsiteY14785" fmla="*/ 5034990 h 7458372"/>
              <a:gd name="connsiteX14786" fmla="*/ 8326948 w 10505529"/>
              <a:gd name="connsiteY14786" fmla="*/ 5046705 h 7458372"/>
              <a:gd name="connsiteX14787" fmla="*/ 8320825 w 10505529"/>
              <a:gd name="connsiteY14787" fmla="*/ 5056023 h 7458372"/>
              <a:gd name="connsiteX14788" fmla="*/ 8311507 w 10505529"/>
              <a:gd name="connsiteY14788" fmla="*/ 5062280 h 7458372"/>
              <a:gd name="connsiteX14789" fmla="*/ 8299793 w 10505529"/>
              <a:gd name="connsiteY14789" fmla="*/ 5064543 h 7458372"/>
              <a:gd name="connsiteX14790" fmla="*/ 8277960 w 10505529"/>
              <a:gd name="connsiteY14790" fmla="*/ 5056023 h 7458372"/>
              <a:gd name="connsiteX14791" fmla="*/ 8269574 w 10505529"/>
              <a:gd name="connsiteY14791" fmla="*/ 5034857 h 7458372"/>
              <a:gd name="connsiteX14792" fmla="*/ 8277960 w 10505529"/>
              <a:gd name="connsiteY14792" fmla="*/ 5013825 h 7458372"/>
              <a:gd name="connsiteX14793" fmla="*/ 8299793 w 10505529"/>
              <a:gd name="connsiteY14793" fmla="*/ 5005305 h 7458372"/>
              <a:gd name="connsiteX14794" fmla="*/ 8082281 w 10505529"/>
              <a:gd name="connsiteY14794" fmla="*/ 5005305 h 7458372"/>
              <a:gd name="connsiteX14795" fmla="*/ 8094127 w 10505529"/>
              <a:gd name="connsiteY14795" fmla="*/ 5007834 h 7458372"/>
              <a:gd name="connsiteX14796" fmla="*/ 8103446 w 10505529"/>
              <a:gd name="connsiteY14796" fmla="*/ 5014224 h 7458372"/>
              <a:gd name="connsiteX14797" fmla="*/ 8109569 w 10505529"/>
              <a:gd name="connsiteY14797" fmla="*/ 5023542 h 7458372"/>
              <a:gd name="connsiteX14798" fmla="*/ 8111832 w 10505529"/>
              <a:gd name="connsiteY14798" fmla="*/ 5034990 h 7458372"/>
              <a:gd name="connsiteX14799" fmla="*/ 8109569 w 10505529"/>
              <a:gd name="connsiteY14799" fmla="*/ 5046705 h 7458372"/>
              <a:gd name="connsiteX14800" fmla="*/ 8103446 w 10505529"/>
              <a:gd name="connsiteY14800" fmla="*/ 5056023 h 7458372"/>
              <a:gd name="connsiteX14801" fmla="*/ 8094127 w 10505529"/>
              <a:gd name="connsiteY14801" fmla="*/ 5062280 h 7458372"/>
              <a:gd name="connsiteX14802" fmla="*/ 8082281 w 10505529"/>
              <a:gd name="connsiteY14802" fmla="*/ 5064543 h 7458372"/>
              <a:gd name="connsiteX14803" fmla="*/ 8060448 w 10505529"/>
              <a:gd name="connsiteY14803" fmla="*/ 5056023 h 7458372"/>
              <a:gd name="connsiteX14804" fmla="*/ 8052062 w 10505529"/>
              <a:gd name="connsiteY14804" fmla="*/ 5034857 h 7458372"/>
              <a:gd name="connsiteX14805" fmla="*/ 8060448 w 10505529"/>
              <a:gd name="connsiteY14805" fmla="*/ 5013825 h 7458372"/>
              <a:gd name="connsiteX14806" fmla="*/ 8082281 w 10505529"/>
              <a:gd name="connsiteY14806" fmla="*/ 5005305 h 7458372"/>
              <a:gd name="connsiteX14807" fmla="*/ 7864636 w 10505529"/>
              <a:gd name="connsiteY14807" fmla="*/ 5005305 h 7458372"/>
              <a:gd name="connsiteX14808" fmla="*/ 7876483 w 10505529"/>
              <a:gd name="connsiteY14808" fmla="*/ 5007834 h 7458372"/>
              <a:gd name="connsiteX14809" fmla="*/ 7885802 w 10505529"/>
              <a:gd name="connsiteY14809" fmla="*/ 5014224 h 7458372"/>
              <a:gd name="connsiteX14810" fmla="*/ 7891924 w 10505529"/>
              <a:gd name="connsiteY14810" fmla="*/ 5023542 h 7458372"/>
              <a:gd name="connsiteX14811" fmla="*/ 7894188 w 10505529"/>
              <a:gd name="connsiteY14811" fmla="*/ 5034990 h 7458372"/>
              <a:gd name="connsiteX14812" fmla="*/ 7891924 w 10505529"/>
              <a:gd name="connsiteY14812" fmla="*/ 5046705 h 7458372"/>
              <a:gd name="connsiteX14813" fmla="*/ 7885802 w 10505529"/>
              <a:gd name="connsiteY14813" fmla="*/ 5056023 h 7458372"/>
              <a:gd name="connsiteX14814" fmla="*/ 7876483 w 10505529"/>
              <a:gd name="connsiteY14814" fmla="*/ 5062280 h 7458372"/>
              <a:gd name="connsiteX14815" fmla="*/ 7864636 w 10505529"/>
              <a:gd name="connsiteY14815" fmla="*/ 5064543 h 7458372"/>
              <a:gd name="connsiteX14816" fmla="*/ 7842803 w 10505529"/>
              <a:gd name="connsiteY14816" fmla="*/ 5056023 h 7458372"/>
              <a:gd name="connsiteX14817" fmla="*/ 7834417 w 10505529"/>
              <a:gd name="connsiteY14817" fmla="*/ 5034857 h 7458372"/>
              <a:gd name="connsiteX14818" fmla="*/ 7842803 w 10505529"/>
              <a:gd name="connsiteY14818" fmla="*/ 5013825 h 7458372"/>
              <a:gd name="connsiteX14819" fmla="*/ 7864636 w 10505529"/>
              <a:gd name="connsiteY14819" fmla="*/ 5005305 h 7458372"/>
              <a:gd name="connsiteX14820" fmla="*/ 7646991 w 10505529"/>
              <a:gd name="connsiteY14820" fmla="*/ 5005305 h 7458372"/>
              <a:gd name="connsiteX14821" fmla="*/ 7658705 w 10505529"/>
              <a:gd name="connsiteY14821" fmla="*/ 5007834 h 7458372"/>
              <a:gd name="connsiteX14822" fmla="*/ 7668022 w 10505529"/>
              <a:gd name="connsiteY14822" fmla="*/ 5014224 h 7458372"/>
              <a:gd name="connsiteX14823" fmla="*/ 7674146 w 10505529"/>
              <a:gd name="connsiteY14823" fmla="*/ 5023542 h 7458372"/>
              <a:gd name="connsiteX14824" fmla="*/ 7676409 w 10505529"/>
              <a:gd name="connsiteY14824" fmla="*/ 5034990 h 7458372"/>
              <a:gd name="connsiteX14825" fmla="*/ 7674146 w 10505529"/>
              <a:gd name="connsiteY14825" fmla="*/ 5046705 h 7458372"/>
              <a:gd name="connsiteX14826" fmla="*/ 7668022 w 10505529"/>
              <a:gd name="connsiteY14826" fmla="*/ 5056023 h 7458372"/>
              <a:gd name="connsiteX14827" fmla="*/ 7658705 w 10505529"/>
              <a:gd name="connsiteY14827" fmla="*/ 5062280 h 7458372"/>
              <a:gd name="connsiteX14828" fmla="*/ 7646991 w 10505529"/>
              <a:gd name="connsiteY14828" fmla="*/ 5064543 h 7458372"/>
              <a:gd name="connsiteX14829" fmla="*/ 7625158 w 10505529"/>
              <a:gd name="connsiteY14829" fmla="*/ 5056023 h 7458372"/>
              <a:gd name="connsiteX14830" fmla="*/ 7616772 w 10505529"/>
              <a:gd name="connsiteY14830" fmla="*/ 5034857 h 7458372"/>
              <a:gd name="connsiteX14831" fmla="*/ 7625158 w 10505529"/>
              <a:gd name="connsiteY14831" fmla="*/ 5013825 h 7458372"/>
              <a:gd name="connsiteX14832" fmla="*/ 7646991 w 10505529"/>
              <a:gd name="connsiteY14832" fmla="*/ 5005305 h 7458372"/>
              <a:gd name="connsiteX14833" fmla="*/ 7429345 w 10505529"/>
              <a:gd name="connsiteY14833" fmla="*/ 5005305 h 7458372"/>
              <a:gd name="connsiteX14834" fmla="*/ 7441059 w 10505529"/>
              <a:gd name="connsiteY14834" fmla="*/ 5007834 h 7458372"/>
              <a:gd name="connsiteX14835" fmla="*/ 7450377 w 10505529"/>
              <a:gd name="connsiteY14835" fmla="*/ 5014224 h 7458372"/>
              <a:gd name="connsiteX14836" fmla="*/ 7456501 w 10505529"/>
              <a:gd name="connsiteY14836" fmla="*/ 5023542 h 7458372"/>
              <a:gd name="connsiteX14837" fmla="*/ 7458764 w 10505529"/>
              <a:gd name="connsiteY14837" fmla="*/ 5034990 h 7458372"/>
              <a:gd name="connsiteX14838" fmla="*/ 7456501 w 10505529"/>
              <a:gd name="connsiteY14838" fmla="*/ 5046705 h 7458372"/>
              <a:gd name="connsiteX14839" fmla="*/ 7450377 w 10505529"/>
              <a:gd name="connsiteY14839" fmla="*/ 5056023 h 7458372"/>
              <a:gd name="connsiteX14840" fmla="*/ 7441059 w 10505529"/>
              <a:gd name="connsiteY14840" fmla="*/ 5062280 h 7458372"/>
              <a:gd name="connsiteX14841" fmla="*/ 7429345 w 10505529"/>
              <a:gd name="connsiteY14841" fmla="*/ 5064543 h 7458372"/>
              <a:gd name="connsiteX14842" fmla="*/ 7407513 w 10505529"/>
              <a:gd name="connsiteY14842" fmla="*/ 5056023 h 7458372"/>
              <a:gd name="connsiteX14843" fmla="*/ 7399127 w 10505529"/>
              <a:gd name="connsiteY14843" fmla="*/ 5034857 h 7458372"/>
              <a:gd name="connsiteX14844" fmla="*/ 7407513 w 10505529"/>
              <a:gd name="connsiteY14844" fmla="*/ 5013825 h 7458372"/>
              <a:gd name="connsiteX14845" fmla="*/ 7429345 w 10505529"/>
              <a:gd name="connsiteY14845" fmla="*/ 5005305 h 7458372"/>
              <a:gd name="connsiteX14846" fmla="*/ 7211701 w 10505529"/>
              <a:gd name="connsiteY14846" fmla="*/ 5005305 h 7458372"/>
              <a:gd name="connsiteX14847" fmla="*/ 7223415 w 10505529"/>
              <a:gd name="connsiteY14847" fmla="*/ 5007834 h 7458372"/>
              <a:gd name="connsiteX14848" fmla="*/ 7232733 w 10505529"/>
              <a:gd name="connsiteY14848" fmla="*/ 5014224 h 7458372"/>
              <a:gd name="connsiteX14849" fmla="*/ 7238856 w 10505529"/>
              <a:gd name="connsiteY14849" fmla="*/ 5023542 h 7458372"/>
              <a:gd name="connsiteX14850" fmla="*/ 7241120 w 10505529"/>
              <a:gd name="connsiteY14850" fmla="*/ 5034990 h 7458372"/>
              <a:gd name="connsiteX14851" fmla="*/ 7238856 w 10505529"/>
              <a:gd name="connsiteY14851" fmla="*/ 5046705 h 7458372"/>
              <a:gd name="connsiteX14852" fmla="*/ 7232733 w 10505529"/>
              <a:gd name="connsiteY14852" fmla="*/ 5056023 h 7458372"/>
              <a:gd name="connsiteX14853" fmla="*/ 7223415 w 10505529"/>
              <a:gd name="connsiteY14853" fmla="*/ 5062280 h 7458372"/>
              <a:gd name="connsiteX14854" fmla="*/ 7211701 w 10505529"/>
              <a:gd name="connsiteY14854" fmla="*/ 5064543 h 7458372"/>
              <a:gd name="connsiteX14855" fmla="*/ 7189868 w 10505529"/>
              <a:gd name="connsiteY14855" fmla="*/ 5056023 h 7458372"/>
              <a:gd name="connsiteX14856" fmla="*/ 7181482 w 10505529"/>
              <a:gd name="connsiteY14856" fmla="*/ 5034857 h 7458372"/>
              <a:gd name="connsiteX14857" fmla="*/ 7189868 w 10505529"/>
              <a:gd name="connsiteY14857" fmla="*/ 5013825 h 7458372"/>
              <a:gd name="connsiteX14858" fmla="*/ 7211701 w 10505529"/>
              <a:gd name="connsiteY14858" fmla="*/ 5005305 h 7458372"/>
              <a:gd name="connsiteX14859" fmla="*/ 6994056 w 10505529"/>
              <a:gd name="connsiteY14859" fmla="*/ 5005305 h 7458372"/>
              <a:gd name="connsiteX14860" fmla="*/ 7005769 w 10505529"/>
              <a:gd name="connsiteY14860" fmla="*/ 5007834 h 7458372"/>
              <a:gd name="connsiteX14861" fmla="*/ 7015087 w 10505529"/>
              <a:gd name="connsiteY14861" fmla="*/ 5014224 h 7458372"/>
              <a:gd name="connsiteX14862" fmla="*/ 7021211 w 10505529"/>
              <a:gd name="connsiteY14862" fmla="*/ 5023542 h 7458372"/>
              <a:gd name="connsiteX14863" fmla="*/ 7023474 w 10505529"/>
              <a:gd name="connsiteY14863" fmla="*/ 5034990 h 7458372"/>
              <a:gd name="connsiteX14864" fmla="*/ 7021211 w 10505529"/>
              <a:gd name="connsiteY14864" fmla="*/ 5046705 h 7458372"/>
              <a:gd name="connsiteX14865" fmla="*/ 7015087 w 10505529"/>
              <a:gd name="connsiteY14865" fmla="*/ 5056023 h 7458372"/>
              <a:gd name="connsiteX14866" fmla="*/ 7005769 w 10505529"/>
              <a:gd name="connsiteY14866" fmla="*/ 5062280 h 7458372"/>
              <a:gd name="connsiteX14867" fmla="*/ 6994056 w 10505529"/>
              <a:gd name="connsiteY14867" fmla="*/ 5064543 h 7458372"/>
              <a:gd name="connsiteX14868" fmla="*/ 6972223 w 10505529"/>
              <a:gd name="connsiteY14868" fmla="*/ 5056023 h 7458372"/>
              <a:gd name="connsiteX14869" fmla="*/ 6963837 w 10505529"/>
              <a:gd name="connsiteY14869" fmla="*/ 5034857 h 7458372"/>
              <a:gd name="connsiteX14870" fmla="*/ 6972223 w 10505529"/>
              <a:gd name="connsiteY14870" fmla="*/ 5013825 h 7458372"/>
              <a:gd name="connsiteX14871" fmla="*/ 6994056 w 10505529"/>
              <a:gd name="connsiteY14871" fmla="*/ 5005305 h 7458372"/>
              <a:gd name="connsiteX14872" fmla="*/ 6776544 w 10505529"/>
              <a:gd name="connsiteY14872" fmla="*/ 5005305 h 7458372"/>
              <a:gd name="connsiteX14873" fmla="*/ 6788258 w 10505529"/>
              <a:gd name="connsiteY14873" fmla="*/ 5007834 h 7458372"/>
              <a:gd name="connsiteX14874" fmla="*/ 6797576 w 10505529"/>
              <a:gd name="connsiteY14874" fmla="*/ 5014224 h 7458372"/>
              <a:gd name="connsiteX14875" fmla="*/ 6803699 w 10505529"/>
              <a:gd name="connsiteY14875" fmla="*/ 5023542 h 7458372"/>
              <a:gd name="connsiteX14876" fmla="*/ 6805963 w 10505529"/>
              <a:gd name="connsiteY14876" fmla="*/ 5034990 h 7458372"/>
              <a:gd name="connsiteX14877" fmla="*/ 6803699 w 10505529"/>
              <a:gd name="connsiteY14877" fmla="*/ 5046705 h 7458372"/>
              <a:gd name="connsiteX14878" fmla="*/ 6797576 w 10505529"/>
              <a:gd name="connsiteY14878" fmla="*/ 5056023 h 7458372"/>
              <a:gd name="connsiteX14879" fmla="*/ 6788258 w 10505529"/>
              <a:gd name="connsiteY14879" fmla="*/ 5062280 h 7458372"/>
              <a:gd name="connsiteX14880" fmla="*/ 6776544 w 10505529"/>
              <a:gd name="connsiteY14880" fmla="*/ 5064543 h 7458372"/>
              <a:gd name="connsiteX14881" fmla="*/ 6754711 w 10505529"/>
              <a:gd name="connsiteY14881" fmla="*/ 5056023 h 7458372"/>
              <a:gd name="connsiteX14882" fmla="*/ 6746325 w 10505529"/>
              <a:gd name="connsiteY14882" fmla="*/ 5034857 h 7458372"/>
              <a:gd name="connsiteX14883" fmla="*/ 6754711 w 10505529"/>
              <a:gd name="connsiteY14883" fmla="*/ 5013825 h 7458372"/>
              <a:gd name="connsiteX14884" fmla="*/ 6776544 w 10505529"/>
              <a:gd name="connsiteY14884" fmla="*/ 5005305 h 7458372"/>
              <a:gd name="connsiteX14885" fmla="*/ 6558899 w 10505529"/>
              <a:gd name="connsiteY14885" fmla="*/ 5005305 h 7458372"/>
              <a:gd name="connsiteX14886" fmla="*/ 6570612 w 10505529"/>
              <a:gd name="connsiteY14886" fmla="*/ 5007834 h 7458372"/>
              <a:gd name="connsiteX14887" fmla="*/ 6579930 w 10505529"/>
              <a:gd name="connsiteY14887" fmla="*/ 5014224 h 7458372"/>
              <a:gd name="connsiteX14888" fmla="*/ 6586054 w 10505529"/>
              <a:gd name="connsiteY14888" fmla="*/ 5023542 h 7458372"/>
              <a:gd name="connsiteX14889" fmla="*/ 6588317 w 10505529"/>
              <a:gd name="connsiteY14889" fmla="*/ 5034990 h 7458372"/>
              <a:gd name="connsiteX14890" fmla="*/ 6586054 w 10505529"/>
              <a:gd name="connsiteY14890" fmla="*/ 5046705 h 7458372"/>
              <a:gd name="connsiteX14891" fmla="*/ 6579930 w 10505529"/>
              <a:gd name="connsiteY14891" fmla="*/ 5056023 h 7458372"/>
              <a:gd name="connsiteX14892" fmla="*/ 6570612 w 10505529"/>
              <a:gd name="connsiteY14892" fmla="*/ 5062280 h 7458372"/>
              <a:gd name="connsiteX14893" fmla="*/ 6558899 w 10505529"/>
              <a:gd name="connsiteY14893" fmla="*/ 5064543 h 7458372"/>
              <a:gd name="connsiteX14894" fmla="*/ 6537066 w 10505529"/>
              <a:gd name="connsiteY14894" fmla="*/ 5056023 h 7458372"/>
              <a:gd name="connsiteX14895" fmla="*/ 6528680 w 10505529"/>
              <a:gd name="connsiteY14895" fmla="*/ 5034857 h 7458372"/>
              <a:gd name="connsiteX14896" fmla="*/ 6537066 w 10505529"/>
              <a:gd name="connsiteY14896" fmla="*/ 5013825 h 7458372"/>
              <a:gd name="connsiteX14897" fmla="*/ 6558899 w 10505529"/>
              <a:gd name="connsiteY14897" fmla="*/ 5005305 h 7458372"/>
              <a:gd name="connsiteX14898" fmla="*/ 6341253 w 10505529"/>
              <a:gd name="connsiteY14898" fmla="*/ 5005305 h 7458372"/>
              <a:gd name="connsiteX14899" fmla="*/ 6352968 w 10505529"/>
              <a:gd name="connsiteY14899" fmla="*/ 5007834 h 7458372"/>
              <a:gd name="connsiteX14900" fmla="*/ 6362286 w 10505529"/>
              <a:gd name="connsiteY14900" fmla="*/ 5014224 h 7458372"/>
              <a:gd name="connsiteX14901" fmla="*/ 6368409 w 10505529"/>
              <a:gd name="connsiteY14901" fmla="*/ 5023542 h 7458372"/>
              <a:gd name="connsiteX14902" fmla="*/ 6370672 w 10505529"/>
              <a:gd name="connsiteY14902" fmla="*/ 5034990 h 7458372"/>
              <a:gd name="connsiteX14903" fmla="*/ 6368409 w 10505529"/>
              <a:gd name="connsiteY14903" fmla="*/ 5046705 h 7458372"/>
              <a:gd name="connsiteX14904" fmla="*/ 6362286 w 10505529"/>
              <a:gd name="connsiteY14904" fmla="*/ 5056023 h 7458372"/>
              <a:gd name="connsiteX14905" fmla="*/ 6352968 w 10505529"/>
              <a:gd name="connsiteY14905" fmla="*/ 5062280 h 7458372"/>
              <a:gd name="connsiteX14906" fmla="*/ 6341253 w 10505529"/>
              <a:gd name="connsiteY14906" fmla="*/ 5064543 h 7458372"/>
              <a:gd name="connsiteX14907" fmla="*/ 6319421 w 10505529"/>
              <a:gd name="connsiteY14907" fmla="*/ 5056023 h 7458372"/>
              <a:gd name="connsiteX14908" fmla="*/ 6311035 w 10505529"/>
              <a:gd name="connsiteY14908" fmla="*/ 5034857 h 7458372"/>
              <a:gd name="connsiteX14909" fmla="*/ 6319421 w 10505529"/>
              <a:gd name="connsiteY14909" fmla="*/ 5013825 h 7458372"/>
              <a:gd name="connsiteX14910" fmla="*/ 6341253 w 10505529"/>
              <a:gd name="connsiteY14910" fmla="*/ 5005305 h 7458372"/>
              <a:gd name="connsiteX14911" fmla="*/ 6123608 w 10505529"/>
              <a:gd name="connsiteY14911" fmla="*/ 5005305 h 7458372"/>
              <a:gd name="connsiteX14912" fmla="*/ 6135322 w 10505529"/>
              <a:gd name="connsiteY14912" fmla="*/ 5007834 h 7458372"/>
              <a:gd name="connsiteX14913" fmla="*/ 6144640 w 10505529"/>
              <a:gd name="connsiteY14913" fmla="*/ 5014224 h 7458372"/>
              <a:gd name="connsiteX14914" fmla="*/ 6150763 w 10505529"/>
              <a:gd name="connsiteY14914" fmla="*/ 5023542 h 7458372"/>
              <a:gd name="connsiteX14915" fmla="*/ 6153026 w 10505529"/>
              <a:gd name="connsiteY14915" fmla="*/ 5034990 h 7458372"/>
              <a:gd name="connsiteX14916" fmla="*/ 6150763 w 10505529"/>
              <a:gd name="connsiteY14916" fmla="*/ 5046705 h 7458372"/>
              <a:gd name="connsiteX14917" fmla="*/ 6144640 w 10505529"/>
              <a:gd name="connsiteY14917" fmla="*/ 5056023 h 7458372"/>
              <a:gd name="connsiteX14918" fmla="*/ 6135322 w 10505529"/>
              <a:gd name="connsiteY14918" fmla="*/ 5062280 h 7458372"/>
              <a:gd name="connsiteX14919" fmla="*/ 6123608 w 10505529"/>
              <a:gd name="connsiteY14919" fmla="*/ 5064543 h 7458372"/>
              <a:gd name="connsiteX14920" fmla="*/ 6101775 w 10505529"/>
              <a:gd name="connsiteY14920" fmla="*/ 5056023 h 7458372"/>
              <a:gd name="connsiteX14921" fmla="*/ 6093389 w 10505529"/>
              <a:gd name="connsiteY14921" fmla="*/ 5034857 h 7458372"/>
              <a:gd name="connsiteX14922" fmla="*/ 6101775 w 10505529"/>
              <a:gd name="connsiteY14922" fmla="*/ 5013825 h 7458372"/>
              <a:gd name="connsiteX14923" fmla="*/ 6123608 w 10505529"/>
              <a:gd name="connsiteY14923" fmla="*/ 5005305 h 7458372"/>
              <a:gd name="connsiteX14924" fmla="*/ 5905963 w 10505529"/>
              <a:gd name="connsiteY14924" fmla="*/ 5005305 h 7458372"/>
              <a:gd name="connsiteX14925" fmla="*/ 5917677 w 10505529"/>
              <a:gd name="connsiteY14925" fmla="*/ 5007834 h 7458372"/>
              <a:gd name="connsiteX14926" fmla="*/ 5926995 w 10505529"/>
              <a:gd name="connsiteY14926" fmla="*/ 5014224 h 7458372"/>
              <a:gd name="connsiteX14927" fmla="*/ 5933118 w 10505529"/>
              <a:gd name="connsiteY14927" fmla="*/ 5023542 h 7458372"/>
              <a:gd name="connsiteX14928" fmla="*/ 5935381 w 10505529"/>
              <a:gd name="connsiteY14928" fmla="*/ 5034990 h 7458372"/>
              <a:gd name="connsiteX14929" fmla="*/ 5933118 w 10505529"/>
              <a:gd name="connsiteY14929" fmla="*/ 5046705 h 7458372"/>
              <a:gd name="connsiteX14930" fmla="*/ 5926995 w 10505529"/>
              <a:gd name="connsiteY14930" fmla="*/ 5056023 h 7458372"/>
              <a:gd name="connsiteX14931" fmla="*/ 5917677 w 10505529"/>
              <a:gd name="connsiteY14931" fmla="*/ 5062280 h 7458372"/>
              <a:gd name="connsiteX14932" fmla="*/ 5905963 w 10505529"/>
              <a:gd name="connsiteY14932" fmla="*/ 5064543 h 7458372"/>
              <a:gd name="connsiteX14933" fmla="*/ 5884130 w 10505529"/>
              <a:gd name="connsiteY14933" fmla="*/ 5056023 h 7458372"/>
              <a:gd name="connsiteX14934" fmla="*/ 5875744 w 10505529"/>
              <a:gd name="connsiteY14934" fmla="*/ 5034857 h 7458372"/>
              <a:gd name="connsiteX14935" fmla="*/ 5884130 w 10505529"/>
              <a:gd name="connsiteY14935" fmla="*/ 5013825 h 7458372"/>
              <a:gd name="connsiteX14936" fmla="*/ 5905963 w 10505529"/>
              <a:gd name="connsiteY14936" fmla="*/ 5005305 h 7458372"/>
              <a:gd name="connsiteX14937" fmla="*/ 5688451 w 10505529"/>
              <a:gd name="connsiteY14937" fmla="*/ 5005305 h 7458372"/>
              <a:gd name="connsiteX14938" fmla="*/ 5700165 w 10505529"/>
              <a:gd name="connsiteY14938" fmla="*/ 5007834 h 7458372"/>
              <a:gd name="connsiteX14939" fmla="*/ 5709483 w 10505529"/>
              <a:gd name="connsiteY14939" fmla="*/ 5014224 h 7458372"/>
              <a:gd name="connsiteX14940" fmla="*/ 5715606 w 10505529"/>
              <a:gd name="connsiteY14940" fmla="*/ 5023542 h 7458372"/>
              <a:gd name="connsiteX14941" fmla="*/ 5717869 w 10505529"/>
              <a:gd name="connsiteY14941" fmla="*/ 5034990 h 7458372"/>
              <a:gd name="connsiteX14942" fmla="*/ 5715606 w 10505529"/>
              <a:gd name="connsiteY14942" fmla="*/ 5046705 h 7458372"/>
              <a:gd name="connsiteX14943" fmla="*/ 5709483 w 10505529"/>
              <a:gd name="connsiteY14943" fmla="*/ 5056023 h 7458372"/>
              <a:gd name="connsiteX14944" fmla="*/ 5700165 w 10505529"/>
              <a:gd name="connsiteY14944" fmla="*/ 5062280 h 7458372"/>
              <a:gd name="connsiteX14945" fmla="*/ 5688451 w 10505529"/>
              <a:gd name="connsiteY14945" fmla="*/ 5064543 h 7458372"/>
              <a:gd name="connsiteX14946" fmla="*/ 5666618 w 10505529"/>
              <a:gd name="connsiteY14946" fmla="*/ 5056023 h 7458372"/>
              <a:gd name="connsiteX14947" fmla="*/ 5658232 w 10505529"/>
              <a:gd name="connsiteY14947" fmla="*/ 5034857 h 7458372"/>
              <a:gd name="connsiteX14948" fmla="*/ 5666618 w 10505529"/>
              <a:gd name="connsiteY14948" fmla="*/ 5013825 h 7458372"/>
              <a:gd name="connsiteX14949" fmla="*/ 5688451 w 10505529"/>
              <a:gd name="connsiteY14949" fmla="*/ 5005305 h 7458372"/>
              <a:gd name="connsiteX14950" fmla="*/ 5470806 w 10505529"/>
              <a:gd name="connsiteY14950" fmla="*/ 5005305 h 7458372"/>
              <a:gd name="connsiteX14951" fmla="*/ 5482520 w 10505529"/>
              <a:gd name="connsiteY14951" fmla="*/ 5007834 h 7458372"/>
              <a:gd name="connsiteX14952" fmla="*/ 5491838 w 10505529"/>
              <a:gd name="connsiteY14952" fmla="*/ 5014224 h 7458372"/>
              <a:gd name="connsiteX14953" fmla="*/ 5497961 w 10505529"/>
              <a:gd name="connsiteY14953" fmla="*/ 5023542 h 7458372"/>
              <a:gd name="connsiteX14954" fmla="*/ 5500224 w 10505529"/>
              <a:gd name="connsiteY14954" fmla="*/ 5034990 h 7458372"/>
              <a:gd name="connsiteX14955" fmla="*/ 5497961 w 10505529"/>
              <a:gd name="connsiteY14955" fmla="*/ 5046705 h 7458372"/>
              <a:gd name="connsiteX14956" fmla="*/ 5491838 w 10505529"/>
              <a:gd name="connsiteY14956" fmla="*/ 5056023 h 7458372"/>
              <a:gd name="connsiteX14957" fmla="*/ 5482520 w 10505529"/>
              <a:gd name="connsiteY14957" fmla="*/ 5062280 h 7458372"/>
              <a:gd name="connsiteX14958" fmla="*/ 5470806 w 10505529"/>
              <a:gd name="connsiteY14958" fmla="*/ 5064543 h 7458372"/>
              <a:gd name="connsiteX14959" fmla="*/ 5448973 w 10505529"/>
              <a:gd name="connsiteY14959" fmla="*/ 5056023 h 7458372"/>
              <a:gd name="connsiteX14960" fmla="*/ 5440587 w 10505529"/>
              <a:gd name="connsiteY14960" fmla="*/ 5034857 h 7458372"/>
              <a:gd name="connsiteX14961" fmla="*/ 5448973 w 10505529"/>
              <a:gd name="connsiteY14961" fmla="*/ 5013825 h 7458372"/>
              <a:gd name="connsiteX14962" fmla="*/ 5470806 w 10505529"/>
              <a:gd name="connsiteY14962" fmla="*/ 5005305 h 7458372"/>
              <a:gd name="connsiteX14963" fmla="*/ 5253160 w 10505529"/>
              <a:gd name="connsiteY14963" fmla="*/ 5005305 h 7458372"/>
              <a:gd name="connsiteX14964" fmla="*/ 5264875 w 10505529"/>
              <a:gd name="connsiteY14964" fmla="*/ 5007834 h 7458372"/>
              <a:gd name="connsiteX14965" fmla="*/ 5274192 w 10505529"/>
              <a:gd name="connsiteY14965" fmla="*/ 5014224 h 7458372"/>
              <a:gd name="connsiteX14966" fmla="*/ 5280316 w 10505529"/>
              <a:gd name="connsiteY14966" fmla="*/ 5023542 h 7458372"/>
              <a:gd name="connsiteX14967" fmla="*/ 5282579 w 10505529"/>
              <a:gd name="connsiteY14967" fmla="*/ 5034990 h 7458372"/>
              <a:gd name="connsiteX14968" fmla="*/ 5280316 w 10505529"/>
              <a:gd name="connsiteY14968" fmla="*/ 5046705 h 7458372"/>
              <a:gd name="connsiteX14969" fmla="*/ 5274192 w 10505529"/>
              <a:gd name="connsiteY14969" fmla="*/ 5056023 h 7458372"/>
              <a:gd name="connsiteX14970" fmla="*/ 5264875 w 10505529"/>
              <a:gd name="connsiteY14970" fmla="*/ 5062280 h 7458372"/>
              <a:gd name="connsiteX14971" fmla="*/ 5253160 w 10505529"/>
              <a:gd name="connsiteY14971" fmla="*/ 5064543 h 7458372"/>
              <a:gd name="connsiteX14972" fmla="*/ 5231328 w 10505529"/>
              <a:gd name="connsiteY14972" fmla="*/ 5056023 h 7458372"/>
              <a:gd name="connsiteX14973" fmla="*/ 5222942 w 10505529"/>
              <a:gd name="connsiteY14973" fmla="*/ 5034857 h 7458372"/>
              <a:gd name="connsiteX14974" fmla="*/ 5231328 w 10505529"/>
              <a:gd name="connsiteY14974" fmla="*/ 5013825 h 7458372"/>
              <a:gd name="connsiteX14975" fmla="*/ 5253160 w 10505529"/>
              <a:gd name="connsiteY14975" fmla="*/ 5005305 h 7458372"/>
              <a:gd name="connsiteX14976" fmla="*/ 5035515 w 10505529"/>
              <a:gd name="connsiteY14976" fmla="*/ 5005305 h 7458372"/>
              <a:gd name="connsiteX14977" fmla="*/ 5047230 w 10505529"/>
              <a:gd name="connsiteY14977" fmla="*/ 5007834 h 7458372"/>
              <a:gd name="connsiteX14978" fmla="*/ 5056548 w 10505529"/>
              <a:gd name="connsiteY14978" fmla="*/ 5014224 h 7458372"/>
              <a:gd name="connsiteX14979" fmla="*/ 5062671 w 10505529"/>
              <a:gd name="connsiteY14979" fmla="*/ 5023542 h 7458372"/>
              <a:gd name="connsiteX14980" fmla="*/ 5064934 w 10505529"/>
              <a:gd name="connsiteY14980" fmla="*/ 5034990 h 7458372"/>
              <a:gd name="connsiteX14981" fmla="*/ 5062671 w 10505529"/>
              <a:gd name="connsiteY14981" fmla="*/ 5046705 h 7458372"/>
              <a:gd name="connsiteX14982" fmla="*/ 5056548 w 10505529"/>
              <a:gd name="connsiteY14982" fmla="*/ 5056023 h 7458372"/>
              <a:gd name="connsiteX14983" fmla="*/ 5047230 w 10505529"/>
              <a:gd name="connsiteY14983" fmla="*/ 5062280 h 7458372"/>
              <a:gd name="connsiteX14984" fmla="*/ 5035515 w 10505529"/>
              <a:gd name="connsiteY14984" fmla="*/ 5064543 h 7458372"/>
              <a:gd name="connsiteX14985" fmla="*/ 5013683 w 10505529"/>
              <a:gd name="connsiteY14985" fmla="*/ 5056023 h 7458372"/>
              <a:gd name="connsiteX14986" fmla="*/ 5005297 w 10505529"/>
              <a:gd name="connsiteY14986" fmla="*/ 5034857 h 7458372"/>
              <a:gd name="connsiteX14987" fmla="*/ 5013683 w 10505529"/>
              <a:gd name="connsiteY14987" fmla="*/ 5013825 h 7458372"/>
              <a:gd name="connsiteX14988" fmla="*/ 5035515 w 10505529"/>
              <a:gd name="connsiteY14988" fmla="*/ 5005305 h 7458372"/>
              <a:gd name="connsiteX14989" fmla="*/ 4817870 w 10505529"/>
              <a:gd name="connsiteY14989" fmla="*/ 5005305 h 7458372"/>
              <a:gd name="connsiteX14990" fmla="*/ 4829585 w 10505529"/>
              <a:gd name="connsiteY14990" fmla="*/ 5007834 h 7458372"/>
              <a:gd name="connsiteX14991" fmla="*/ 4838903 w 10505529"/>
              <a:gd name="connsiteY14991" fmla="*/ 5014224 h 7458372"/>
              <a:gd name="connsiteX14992" fmla="*/ 4845026 w 10505529"/>
              <a:gd name="connsiteY14992" fmla="*/ 5023542 h 7458372"/>
              <a:gd name="connsiteX14993" fmla="*/ 4847289 w 10505529"/>
              <a:gd name="connsiteY14993" fmla="*/ 5034990 h 7458372"/>
              <a:gd name="connsiteX14994" fmla="*/ 4845026 w 10505529"/>
              <a:gd name="connsiteY14994" fmla="*/ 5046705 h 7458372"/>
              <a:gd name="connsiteX14995" fmla="*/ 4838903 w 10505529"/>
              <a:gd name="connsiteY14995" fmla="*/ 5056023 h 7458372"/>
              <a:gd name="connsiteX14996" fmla="*/ 4829585 w 10505529"/>
              <a:gd name="connsiteY14996" fmla="*/ 5062280 h 7458372"/>
              <a:gd name="connsiteX14997" fmla="*/ 4817870 w 10505529"/>
              <a:gd name="connsiteY14997" fmla="*/ 5064543 h 7458372"/>
              <a:gd name="connsiteX14998" fmla="*/ 4796038 w 10505529"/>
              <a:gd name="connsiteY14998" fmla="*/ 5056023 h 7458372"/>
              <a:gd name="connsiteX14999" fmla="*/ 4787652 w 10505529"/>
              <a:gd name="connsiteY14999" fmla="*/ 5034857 h 7458372"/>
              <a:gd name="connsiteX15000" fmla="*/ 4796038 w 10505529"/>
              <a:gd name="connsiteY15000" fmla="*/ 5013825 h 7458372"/>
              <a:gd name="connsiteX15001" fmla="*/ 4817870 w 10505529"/>
              <a:gd name="connsiteY15001" fmla="*/ 5005305 h 7458372"/>
              <a:gd name="connsiteX15002" fmla="*/ 4600226 w 10505529"/>
              <a:gd name="connsiteY15002" fmla="*/ 5005305 h 7458372"/>
              <a:gd name="connsiteX15003" fmla="*/ 4612073 w 10505529"/>
              <a:gd name="connsiteY15003" fmla="*/ 5007834 h 7458372"/>
              <a:gd name="connsiteX15004" fmla="*/ 4621391 w 10505529"/>
              <a:gd name="connsiteY15004" fmla="*/ 5014224 h 7458372"/>
              <a:gd name="connsiteX15005" fmla="*/ 4627514 w 10505529"/>
              <a:gd name="connsiteY15005" fmla="*/ 5023542 h 7458372"/>
              <a:gd name="connsiteX15006" fmla="*/ 4629777 w 10505529"/>
              <a:gd name="connsiteY15006" fmla="*/ 5034990 h 7458372"/>
              <a:gd name="connsiteX15007" fmla="*/ 4627514 w 10505529"/>
              <a:gd name="connsiteY15007" fmla="*/ 5046705 h 7458372"/>
              <a:gd name="connsiteX15008" fmla="*/ 4621391 w 10505529"/>
              <a:gd name="connsiteY15008" fmla="*/ 5056023 h 7458372"/>
              <a:gd name="connsiteX15009" fmla="*/ 4612073 w 10505529"/>
              <a:gd name="connsiteY15009" fmla="*/ 5062280 h 7458372"/>
              <a:gd name="connsiteX15010" fmla="*/ 4600226 w 10505529"/>
              <a:gd name="connsiteY15010" fmla="*/ 5064543 h 7458372"/>
              <a:gd name="connsiteX15011" fmla="*/ 4578393 w 10505529"/>
              <a:gd name="connsiteY15011" fmla="*/ 5056023 h 7458372"/>
              <a:gd name="connsiteX15012" fmla="*/ 4570007 w 10505529"/>
              <a:gd name="connsiteY15012" fmla="*/ 5034857 h 7458372"/>
              <a:gd name="connsiteX15013" fmla="*/ 4578393 w 10505529"/>
              <a:gd name="connsiteY15013" fmla="*/ 5013825 h 7458372"/>
              <a:gd name="connsiteX15014" fmla="*/ 4600226 w 10505529"/>
              <a:gd name="connsiteY15014" fmla="*/ 5005305 h 7458372"/>
              <a:gd name="connsiteX15015" fmla="*/ 4382713 w 10505529"/>
              <a:gd name="connsiteY15015" fmla="*/ 5005305 h 7458372"/>
              <a:gd name="connsiteX15016" fmla="*/ 4394428 w 10505529"/>
              <a:gd name="connsiteY15016" fmla="*/ 5007834 h 7458372"/>
              <a:gd name="connsiteX15017" fmla="*/ 4403746 w 10505529"/>
              <a:gd name="connsiteY15017" fmla="*/ 5014224 h 7458372"/>
              <a:gd name="connsiteX15018" fmla="*/ 4409869 w 10505529"/>
              <a:gd name="connsiteY15018" fmla="*/ 5023542 h 7458372"/>
              <a:gd name="connsiteX15019" fmla="*/ 4412132 w 10505529"/>
              <a:gd name="connsiteY15019" fmla="*/ 5034990 h 7458372"/>
              <a:gd name="connsiteX15020" fmla="*/ 4409869 w 10505529"/>
              <a:gd name="connsiteY15020" fmla="*/ 5046705 h 7458372"/>
              <a:gd name="connsiteX15021" fmla="*/ 4403746 w 10505529"/>
              <a:gd name="connsiteY15021" fmla="*/ 5056023 h 7458372"/>
              <a:gd name="connsiteX15022" fmla="*/ 4394428 w 10505529"/>
              <a:gd name="connsiteY15022" fmla="*/ 5062280 h 7458372"/>
              <a:gd name="connsiteX15023" fmla="*/ 4382713 w 10505529"/>
              <a:gd name="connsiteY15023" fmla="*/ 5064543 h 7458372"/>
              <a:gd name="connsiteX15024" fmla="*/ 4360881 w 10505529"/>
              <a:gd name="connsiteY15024" fmla="*/ 5056023 h 7458372"/>
              <a:gd name="connsiteX15025" fmla="*/ 4352495 w 10505529"/>
              <a:gd name="connsiteY15025" fmla="*/ 5034857 h 7458372"/>
              <a:gd name="connsiteX15026" fmla="*/ 4360881 w 10505529"/>
              <a:gd name="connsiteY15026" fmla="*/ 5013825 h 7458372"/>
              <a:gd name="connsiteX15027" fmla="*/ 4382713 w 10505529"/>
              <a:gd name="connsiteY15027" fmla="*/ 5005305 h 7458372"/>
              <a:gd name="connsiteX15028" fmla="*/ 4165068 w 10505529"/>
              <a:gd name="connsiteY15028" fmla="*/ 5005305 h 7458372"/>
              <a:gd name="connsiteX15029" fmla="*/ 4176782 w 10505529"/>
              <a:gd name="connsiteY15029" fmla="*/ 5007834 h 7458372"/>
              <a:gd name="connsiteX15030" fmla="*/ 4186100 w 10505529"/>
              <a:gd name="connsiteY15030" fmla="*/ 5014224 h 7458372"/>
              <a:gd name="connsiteX15031" fmla="*/ 4192223 w 10505529"/>
              <a:gd name="connsiteY15031" fmla="*/ 5023542 h 7458372"/>
              <a:gd name="connsiteX15032" fmla="*/ 4194486 w 10505529"/>
              <a:gd name="connsiteY15032" fmla="*/ 5034990 h 7458372"/>
              <a:gd name="connsiteX15033" fmla="*/ 4192223 w 10505529"/>
              <a:gd name="connsiteY15033" fmla="*/ 5046705 h 7458372"/>
              <a:gd name="connsiteX15034" fmla="*/ 4186100 w 10505529"/>
              <a:gd name="connsiteY15034" fmla="*/ 5056023 h 7458372"/>
              <a:gd name="connsiteX15035" fmla="*/ 4176782 w 10505529"/>
              <a:gd name="connsiteY15035" fmla="*/ 5062280 h 7458372"/>
              <a:gd name="connsiteX15036" fmla="*/ 4165068 w 10505529"/>
              <a:gd name="connsiteY15036" fmla="*/ 5064543 h 7458372"/>
              <a:gd name="connsiteX15037" fmla="*/ 4143235 w 10505529"/>
              <a:gd name="connsiteY15037" fmla="*/ 5056023 h 7458372"/>
              <a:gd name="connsiteX15038" fmla="*/ 4134849 w 10505529"/>
              <a:gd name="connsiteY15038" fmla="*/ 5034857 h 7458372"/>
              <a:gd name="connsiteX15039" fmla="*/ 4143235 w 10505529"/>
              <a:gd name="connsiteY15039" fmla="*/ 5013825 h 7458372"/>
              <a:gd name="connsiteX15040" fmla="*/ 4165068 w 10505529"/>
              <a:gd name="connsiteY15040" fmla="*/ 5005305 h 7458372"/>
              <a:gd name="connsiteX15041" fmla="*/ 3947698 w 10505529"/>
              <a:gd name="connsiteY15041" fmla="*/ 5005305 h 7458372"/>
              <a:gd name="connsiteX15042" fmla="*/ 3959415 w 10505529"/>
              <a:gd name="connsiteY15042" fmla="*/ 5007834 h 7458372"/>
              <a:gd name="connsiteX15043" fmla="*/ 3968733 w 10505529"/>
              <a:gd name="connsiteY15043" fmla="*/ 5014224 h 7458372"/>
              <a:gd name="connsiteX15044" fmla="*/ 3974857 w 10505529"/>
              <a:gd name="connsiteY15044" fmla="*/ 5023542 h 7458372"/>
              <a:gd name="connsiteX15045" fmla="*/ 3977121 w 10505529"/>
              <a:gd name="connsiteY15045" fmla="*/ 5034990 h 7458372"/>
              <a:gd name="connsiteX15046" fmla="*/ 3974857 w 10505529"/>
              <a:gd name="connsiteY15046" fmla="*/ 5046705 h 7458372"/>
              <a:gd name="connsiteX15047" fmla="*/ 3968733 w 10505529"/>
              <a:gd name="connsiteY15047" fmla="*/ 5056023 h 7458372"/>
              <a:gd name="connsiteX15048" fmla="*/ 3959415 w 10505529"/>
              <a:gd name="connsiteY15048" fmla="*/ 5062280 h 7458372"/>
              <a:gd name="connsiteX15049" fmla="*/ 3947698 w 10505529"/>
              <a:gd name="connsiteY15049" fmla="*/ 5064543 h 7458372"/>
              <a:gd name="connsiteX15050" fmla="*/ 3925865 w 10505529"/>
              <a:gd name="connsiteY15050" fmla="*/ 5056023 h 7458372"/>
              <a:gd name="connsiteX15051" fmla="*/ 3917479 w 10505529"/>
              <a:gd name="connsiteY15051" fmla="*/ 5034857 h 7458372"/>
              <a:gd name="connsiteX15052" fmla="*/ 3925865 w 10505529"/>
              <a:gd name="connsiteY15052" fmla="*/ 5013825 h 7458372"/>
              <a:gd name="connsiteX15053" fmla="*/ 3947698 w 10505529"/>
              <a:gd name="connsiteY15053" fmla="*/ 5005305 h 7458372"/>
              <a:gd name="connsiteX15054" fmla="*/ 3730040 w 10505529"/>
              <a:gd name="connsiteY15054" fmla="*/ 5005305 h 7458372"/>
              <a:gd name="connsiteX15055" fmla="*/ 3741756 w 10505529"/>
              <a:gd name="connsiteY15055" fmla="*/ 5007834 h 7458372"/>
              <a:gd name="connsiteX15056" fmla="*/ 3751074 w 10505529"/>
              <a:gd name="connsiteY15056" fmla="*/ 5014224 h 7458372"/>
              <a:gd name="connsiteX15057" fmla="*/ 3757197 w 10505529"/>
              <a:gd name="connsiteY15057" fmla="*/ 5023542 h 7458372"/>
              <a:gd name="connsiteX15058" fmla="*/ 3759460 w 10505529"/>
              <a:gd name="connsiteY15058" fmla="*/ 5034990 h 7458372"/>
              <a:gd name="connsiteX15059" fmla="*/ 3757197 w 10505529"/>
              <a:gd name="connsiteY15059" fmla="*/ 5046705 h 7458372"/>
              <a:gd name="connsiteX15060" fmla="*/ 3751074 w 10505529"/>
              <a:gd name="connsiteY15060" fmla="*/ 5056023 h 7458372"/>
              <a:gd name="connsiteX15061" fmla="*/ 3741756 w 10505529"/>
              <a:gd name="connsiteY15061" fmla="*/ 5062280 h 7458372"/>
              <a:gd name="connsiteX15062" fmla="*/ 3730040 w 10505529"/>
              <a:gd name="connsiteY15062" fmla="*/ 5064543 h 7458372"/>
              <a:gd name="connsiteX15063" fmla="*/ 3708201 w 10505529"/>
              <a:gd name="connsiteY15063" fmla="*/ 5056023 h 7458372"/>
              <a:gd name="connsiteX15064" fmla="*/ 3699815 w 10505529"/>
              <a:gd name="connsiteY15064" fmla="*/ 5034857 h 7458372"/>
              <a:gd name="connsiteX15065" fmla="*/ 3708201 w 10505529"/>
              <a:gd name="connsiteY15065" fmla="*/ 5013825 h 7458372"/>
              <a:gd name="connsiteX15066" fmla="*/ 3730040 w 10505529"/>
              <a:gd name="connsiteY15066" fmla="*/ 5005305 h 7458372"/>
              <a:gd name="connsiteX15067" fmla="*/ 3512380 w 10505529"/>
              <a:gd name="connsiteY15067" fmla="*/ 5005305 h 7458372"/>
              <a:gd name="connsiteX15068" fmla="*/ 3524097 w 10505529"/>
              <a:gd name="connsiteY15068" fmla="*/ 5007834 h 7458372"/>
              <a:gd name="connsiteX15069" fmla="*/ 3533415 w 10505529"/>
              <a:gd name="connsiteY15069" fmla="*/ 5014224 h 7458372"/>
              <a:gd name="connsiteX15070" fmla="*/ 3539538 w 10505529"/>
              <a:gd name="connsiteY15070" fmla="*/ 5023542 h 7458372"/>
              <a:gd name="connsiteX15071" fmla="*/ 3541801 w 10505529"/>
              <a:gd name="connsiteY15071" fmla="*/ 5034990 h 7458372"/>
              <a:gd name="connsiteX15072" fmla="*/ 3539538 w 10505529"/>
              <a:gd name="connsiteY15072" fmla="*/ 5046705 h 7458372"/>
              <a:gd name="connsiteX15073" fmla="*/ 3533415 w 10505529"/>
              <a:gd name="connsiteY15073" fmla="*/ 5056023 h 7458372"/>
              <a:gd name="connsiteX15074" fmla="*/ 3524097 w 10505529"/>
              <a:gd name="connsiteY15074" fmla="*/ 5062280 h 7458372"/>
              <a:gd name="connsiteX15075" fmla="*/ 3512380 w 10505529"/>
              <a:gd name="connsiteY15075" fmla="*/ 5064543 h 7458372"/>
              <a:gd name="connsiteX15076" fmla="*/ 3490544 w 10505529"/>
              <a:gd name="connsiteY15076" fmla="*/ 5056023 h 7458372"/>
              <a:gd name="connsiteX15077" fmla="*/ 3482158 w 10505529"/>
              <a:gd name="connsiteY15077" fmla="*/ 5034857 h 7458372"/>
              <a:gd name="connsiteX15078" fmla="*/ 3490544 w 10505529"/>
              <a:gd name="connsiteY15078" fmla="*/ 5013825 h 7458372"/>
              <a:gd name="connsiteX15079" fmla="*/ 3512380 w 10505529"/>
              <a:gd name="connsiteY15079" fmla="*/ 5005305 h 7458372"/>
              <a:gd name="connsiteX15080" fmla="*/ 3294855 w 10505529"/>
              <a:gd name="connsiteY15080" fmla="*/ 5005305 h 7458372"/>
              <a:gd name="connsiteX15081" fmla="*/ 3306570 w 10505529"/>
              <a:gd name="connsiteY15081" fmla="*/ 5007834 h 7458372"/>
              <a:gd name="connsiteX15082" fmla="*/ 3315888 w 10505529"/>
              <a:gd name="connsiteY15082" fmla="*/ 5014224 h 7458372"/>
              <a:gd name="connsiteX15083" fmla="*/ 3322011 w 10505529"/>
              <a:gd name="connsiteY15083" fmla="*/ 5023542 h 7458372"/>
              <a:gd name="connsiteX15084" fmla="*/ 3324274 w 10505529"/>
              <a:gd name="connsiteY15084" fmla="*/ 5034990 h 7458372"/>
              <a:gd name="connsiteX15085" fmla="*/ 3322011 w 10505529"/>
              <a:gd name="connsiteY15085" fmla="*/ 5046705 h 7458372"/>
              <a:gd name="connsiteX15086" fmla="*/ 3315888 w 10505529"/>
              <a:gd name="connsiteY15086" fmla="*/ 5056023 h 7458372"/>
              <a:gd name="connsiteX15087" fmla="*/ 3306570 w 10505529"/>
              <a:gd name="connsiteY15087" fmla="*/ 5062280 h 7458372"/>
              <a:gd name="connsiteX15088" fmla="*/ 3294855 w 10505529"/>
              <a:gd name="connsiteY15088" fmla="*/ 5064543 h 7458372"/>
              <a:gd name="connsiteX15089" fmla="*/ 3273017 w 10505529"/>
              <a:gd name="connsiteY15089" fmla="*/ 5056023 h 7458372"/>
              <a:gd name="connsiteX15090" fmla="*/ 3264629 w 10505529"/>
              <a:gd name="connsiteY15090" fmla="*/ 5034857 h 7458372"/>
              <a:gd name="connsiteX15091" fmla="*/ 3273017 w 10505529"/>
              <a:gd name="connsiteY15091" fmla="*/ 5013825 h 7458372"/>
              <a:gd name="connsiteX15092" fmla="*/ 3294855 w 10505529"/>
              <a:gd name="connsiteY15092" fmla="*/ 5005305 h 7458372"/>
              <a:gd name="connsiteX15093" fmla="*/ 3077195 w 10505529"/>
              <a:gd name="connsiteY15093" fmla="*/ 5005305 h 7458372"/>
              <a:gd name="connsiteX15094" fmla="*/ 3088910 w 10505529"/>
              <a:gd name="connsiteY15094" fmla="*/ 5007834 h 7458372"/>
              <a:gd name="connsiteX15095" fmla="*/ 3098228 w 10505529"/>
              <a:gd name="connsiteY15095" fmla="*/ 5014224 h 7458372"/>
              <a:gd name="connsiteX15096" fmla="*/ 3104352 w 10505529"/>
              <a:gd name="connsiteY15096" fmla="*/ 5023542 h 7458372"/>
              <a:gd name="connsiteX15097" fmla="*/ 3106615 w 10505529"/>
              <a:gd name="connsiteY15097" fmla="*/ 5034990 h 7458372"/>
              <a:gd name="connsiteX15098" fmla="*/ 3104352 w 10505529"/>
              <a:gd name="connsiteY15098" fmla="*/ 5046705 h 7458372"/>
              <a:gd name="connsiteX15099" fmla="*/ 3098228 w 10505529"/>
              <a:gd name="connsiteY15099" fmla="*/ 5056023 h 7458372"/>
              <a:gd name="connsiteX15100" fmla="*/ 3088910 w 10505529"/>
              <a:gd name="connsiteY15100" fmla="*/ 5062280 h 7458372"/>
              <a:gd name="connsiteX15101" fmla="*/ 3077195 w 10505529"/>
              <a:gd name="connsiteY15101" fmla="*/ 5064543 h 7458372"/>
              <a:gd name="connsiteX15102" fmla="*/ 3055357 w 10505529"/>
              <a:gd name="connsiteY15102" fmla="*/ 5056023 h 7458372"/>
              <a:gd name="connsiteX15103" fmla="*/ 3046971 w 10505529"/>
              <a:gd name="connsiteY15103" fmla="*/ 5034857 h 7458372"/>
              <a:gd name="connsiteX15104" fmla="*/ 3055357 w 10505529"/>
              <a:gd name="connsiteY15104" fmla="*/ 5013825 h 7458372"/>
              <a:gd name="connsiteX15105" fmla="*/ 3077195 w 10505529"/>
              <a:gd name="connsiteY15105" fmla="*/ 5005305 h 7458372"/>
              <a:gd name="connsiteX15106" fmla="*/ 2859536 w 10505529"/>
              <a:gd name="connsiteY15106" fmla="*/ 5005305 h 7458372"/>
              <a:gd name="connsiteX15107" fmla="*/ 2871384 w 10505529"/>
              <a:gd name="connsiteY15107" fmla="*/ 5007834 h 7458372"/>
              <a:gd name="connsiteX15108" fmla="*/ 2880702 w 10505529"/>
              <a:gd name="connsiteY15108" fmla="*/ 5014224 h 7458372"/>
              <a:gd name="connsiteX15109" fmla="*/ 2886825 w 10505529"/>
              <a:gd name="connsiteY15109" fmla="*/ 5023542 h 7458372"/>
              <a:gd name="connsiteX15110" fmla="*/ 2889088 w 10505529"/>
              <a:gd name="connsiteY15110" fmla="*/ 5034990 h 7458372"/>
              <a:gd name="connsiteX15111" fmla="*/ 2886825 w 10505529"/>
              <a:gd name="connsiteY15111" fmla="*/ 5046705 h 7458372"/>
              <a:gd name="connsiteX15112" fmla="*/ 2880702 w 10505529"/>
              <a:gd name="connsiteY15112" fmla="*/ 5056023 h 7458372"/>
              <a:gd name="connsiteX15113" fmla="*/ 2871384 w 10505529"/>
              <a:gd name="connsiteY15113" fmla="*/ 5062280 h 7458372"/>
              <a:gd name="connsiteX15114" fmla="*/ 2859536 w 10505529"/>
              <a:gd name="connsiteY15114" fmla="*/ 5064543 h 7458372"/>
              <a:gd name="connsiteX15115" fmla="*/ 2837698 w 10505529"/>
              <a:gd name="connsiteY15115" fmla="*/ 5056023 h 7458372"/>
              <a:gd name="connsiteX15116" fmla="*/ 2829311 w 10505529"/>
              <a:gd name="connsiteY15116" fmla="*/ 5034857 h 7458372"/>
              <a:gd name="connsiteX15117" fmla="*/ 2837698 w 10505529"/>
              <a:gd name="connsiteY15117" fmla="*/ 5013825 h 7458372"/>
              <a:gd name="connsiteX15118" fmla="*/ 2859536 w 10505529"/>
              <a:gd name="connsiteY15118" fmla="*/ 5005305 h 7458372"/>
              <a:gd name="connsiteX15119" fmla="*/ 2641876 w 10505529"/>
              <a:gd name="connsiteY15119" fmla="*/ 5005305 h 7458372"/>
              <a:gd name="connsiteX15120" fmla="*/ 2653592 w 10505529"/>
              <a:gd name="connsiteY15120" fmla="*/ 5007834 h 7458372"/>
              <a:gd name="connsiteX15121" fmla="*/ 2662910 w 10505529"/>
              <a:gd name="connsiteY15121" fmla="*/ 5014224 h 7458372"/>
              <a:gd name="connsiteX15122" fmla="*/ 2669033 w 10505529"/>
              <a:gd name="connsiteY15122" fmla="*/ 5023542 h 7458372"/>
              <a:gd name="connsiteX15123" fmla="*/ 2671296 w 10505529"/>
              <a:gd name="connsiteY15123" fmla="*/ 5034990 h 7458372"/>
              <a:gd name="connsiteX15124" fmla="*/ 2669033 w 10505529"/>
              <a:gd name="connsiteY15124" fmla="*/ 5046705 h 7458372"/>
              <a:gd name="connsiteX15125" fmla="*/ 2662910 w 10505529"/>
              <a:gd name="connsiteY15125" fmla="*/ 5056023 h 7458372"/>
              <a:gd name="connsiteX15126" fmla="*/ 2653592 w 10505529"/>
              <a:gd name="connsiteY15126" fmla="*/ 5062280 h 7458372"/>
              <a:gd name="connsiteX15127" fmla="*/ 2641876 w 10505529"/>
              <a:gd name="connsiteY15127" fmla="*/ 5064543 h 7458372"/>
              <a:gd name="connsiteX15128" fmla="*/ 2620044 w 10505529"/>
              <a:gd name="connsiteY15128" fmla="*/ 5056023 h 7458372"/>
              <a:gd name="connsiteX15129" fmla="*/ 2611653 w 10505529"/>
              <a:gd name="connsiteY15129" fmla="*/ 5034857 h 7458372"/>
              <a:gd name="connsiteX15130" fmla="*/ 2620044 w 10505529"/>
              <a:gd name="connsiteY15130" fmla="*/ 5013825 h 7458372"/>
              <a:gd name="connsiteX15131" fmla="*/ 2641876 w 10505529"/>
              <a:gd name="connsiteY15131" fmla="*/ 5005305 h 7458372"/>
              <a:gd name="connsiteX15132" fmla="*/ 2424216 w 10505529"/>
              <a:gd name="connsiteY15132" fmla="*/ 5005305 h 7458372"/>
              <a:gd name="connsiteX15133" fmla="*/ 2435932 w 10505529"/>
              <a:gd name="connsiteY15133" fmla="*/ 5007834 h 7458372"/>
              <a:gd name="connsiteX15134" fmla="*/ 2445250 w 10505529"/>
              <a:gd name="connsiteY15134" fmla="*/ 5014224 h 7458372"/>
              <a:gd name="connsiteX15135" fmla="*/ 2451373 w 10505529"/>
              <a:gd name="connsiteY15135" fmla="*/ 5023542 h 7458372"/>
              <a:gd name="connsiteX15136" fmla="*/ 2453636 w 10505529"/>
              <a:gd name="connsiteY15136" fmla="*/ 5034990 h 7458372"/>
              <a:gd name="connsiteX15137" fmla="*/ 2451373 w 10505529"/>
              <a:gd name="connsiteY15137" fmla="*/ 5046705 h 7458372"/>
              <a:gd name="connsiteX15138" fmla="*/ 2445250 w 10505529"/>
              <a:gd name="connsiteY15138" fmla="*/ 5056023 h 7458372"/>
              <a:gd name="connsiteX15139" fmla="*/ 2435932 w 10505529"/>
              <a:gd name="connsiteY15139" fmla="*/ 5062280 h 7458372"/>
              <a:gd name="connsiteX15140" fmla="*/ 2424216 w 10505529"/>
              <a:gd name="connsiteY15140" fmla="*/ 5064543 h 7458372"/>
              <a:gd name="connsiteX15141" fmla="*/ 2402384 w 10505529"/>
              <a:gd name="connsiteY15141" fmla="*/ 5056023 h 7458372"/>
              <a:gd name="connsiteX15142" fmla="*/ 2393995 w 10505529"/>
              <a:gd name="connsiteY15142" fmla="*/ 5034857 h 7458372"/>
              <a:gd name="connsiteX15143" fmla="*/ 2402384 w 10505529"/>
              <a:gd name="connsiteY15143" fmla="*/ 5013825 h 7458372"/>
              <a:gd name="connsiteX15144" fmla="*/ 2424216 w 10505529"/>
              <a:gd name="connsiteY15144" fmla="*/ 5005305 h 7458372"/>
              <a:gd name="connsiteX15145" fmla="*/ 2206557 w 10505529"/>
              <a:gd name="connsiteY15145" fmla="*/ 5005305 h 7458372"/>
              <a:gd name="connsiteX15146" fmla="*/ 2218272 w 10505529"/>
              <a:gd name="connsiteY15146" fmla="*/ 5007834 h 7458372"/>
              <a:gd name="connsiteX15147" fmla="*/ 2227591 w 10505529"/>
              <a:gd name="connsiteY15147" fmla="*/ 5014224 h 7458372"/>
              <a:gd name="connsiteX15148" fmla="*/ 2233713 w 10505529"/>
              <a:gd name="connsiteY15148" fmla="*/ 5023542 h 7458372"/>
              <a:gd name="connsiteX15149" fmla="*/ 2235976 w 10505529"/>
              <a:gd name="connsiteY15149" fmla="*/ 5034990 h 7458372"/>
              <a:gd name="connsiteX15150" fmla="*/ 2233713 w 10505529"/>
              <a:gd name="connsiteY15150" fmla="*/ 5046705 h 7458372"/>
              <a:gd name="connsiteX15151" fmla="*/ 2227591 w 10505529"/>
              <a:gd name="connsiteY15151" fmla="*/ 5056023 h 7458372"/>
              <a:gd name="connsiteX15152" fmla="*/ 2218272 w 10505529"/>
              <a:gd name="connsiteY15152" fmla="*/ 5062280 h 7458372"/>
              <a:gd name="connsiteX15153" fmla="*/ 2206557 w 10505529"/>
              <a:gd name="connsiteY15153" fmla="*/ 5064543 h 7458372"/>
              <a:gd name="connsiteX15154" fmla="*/ 2184724 w 10505529"/>
              <a:gd name="connsiteY15154" fmla="*/ 5056023 h 7458372"/>
              <a:gd name="connsiteX15155" fmla="*/ 2176337 w 10505529"/>
              <a:gd name="connsiteY15155" fmla="*/ 5034857 h 7458372"/>
              <a:gd name="connsiteX15156" fmla="*/ 2184724 w 10505529"/>
              <a:gd name="connsiteY15156" fmla="*/ 5013825 h 7458372"/>
              <a:gd name="connsiteX15157" fmla="*/ 2206557 w 10505529"/>
              <a:gd name="connsiteY15157" fmla="*/ 5005305 h 7458372"/>
              <a:gd name="connsiteX15158" fmla="*/ 1989030 w 10505529"/>
              <a:gd name="connsiteY15158" fmla="*/ 5005305 h 7458372"/>
              <a:gd name="connsiteX15159" fmla="*/ 2000746 w 10505529"/>
              <a:gd name="connsiteY15159" fmla="*/ 5007834 h 7458372"/>
              <a:gd name="connsiteX15160" fmla="*/ 2010064 w 10505529"/>
              <a:gd name="connsiteY15160" fmla="*/ 5014224 h 7458372"/>
              <a:gd name="connsiteX15161" fmla="*/ 2016187 w 10505529"/>
              <a:gd name="connsiteY15161" fmla="*/ 5023542 h 7458372"/>
              <a:gd name="connsiteX15162" fmla="*/ 2018450 w 10505529"/>
              <a:gd name="connsiteY15162" fmla="*/ 5034990 h 7458372"/>
              <a:gd name="connsiteX15163" fmla="*/ 2016187 w 10505529"/>
              <a:gd name="connsiteY15163" fmla="*/ 5046705 h 7458372"/>
              <a:gd name="connsiteX15164" fmla="*/ 2010064 w 10505529"/>
              <a:gd name="connsiteY15164" fmla="*/ 5056023 h 7458372"/>
              <a:gd name="connsiteX15165" fmla="*/ 2000746 w 10505529"/>
              <a:gd name="connsiteY15165" fmla="*/ 5062280 h 7458372"/>
              <a:gd name="connsiteX15166" fmla="*/ 1989030 w 10505529"/>
              <a:gd name="connsiteY15166" fmla="*/ 5064543 h 7458372"/>
              <a:gd name="connsiteX15167" fmla="*/ 1967199 w 10505529"/>
              <a:gd name="connsiteY15167" fmla="*/ 5056023 h 7458372"/>
              <a:gd name="connsiteX15168" fmla="*/ 1958813 w 10505529"/>
              <a:gd name="connsiteY15168" fmla="*/ 5034857 h 7458372"/>
              <a:gd name="connsiteX15169" fmla="*/ 1967199 w 10505529"/>
              <a:gd name="connsiteY15169" fmla="*/ 5013825 h 7458372"/>
              <a:gd name="connsiteX15170" fmla="*/ 1989030 w 10505529"/>
              <a:gd name="connsiteY15170" fmla="*/ 5005305 h 7458372"/>
              <a:gd name="connsiteX15171" fmla="*/ 1771396 w 10505529"/>
              <a:gd name="connsiteY15171" fmla="*/ 5005305 h 7458372"/>
              <a:gd name="connsiteX15172" fmla="*/ 1783110 w 10505529"/>
              <a:gd name="connsiteY15172" fmla="*/ 5007834 h 7458372"/>
              <a:gd name="connsiteX15173" fmla="*/ 1792427 w 10505529"/>
              <a:gd name="connsiteY15173" fmla="*/ 5014224 h 7458372"/>
              <a:gd name="connsiteX15174" fmla="*/ 1798551 w 10505529"/>
              <a:gd name="connsiteY15174" fmla="*/ 5023542 h 7458372"/>
              <a:gd name="connsiteX15175" fmla="*/ 1800813 w 10505529"/>
              <a:gd name="connsiteY15175" fmla="*/ 5034990 h 7458372"/>
              <a:gd name="connsiteX15176" fmla="*/ 1798551 w 10505529"/>
              <a:gd name="connsiteY15176" fmla="*/ 5046705 h 7458372"/>
              <a:gd name="connsiteX15177" fmla="*/ 1792427 w 10505529"/>
              <a:gd name="connsiteY15177" fmla="*/ 5056023 h 7458372"/>
              <a:gd name="connsiteX15178" fmla="*/ 1783110 w 10505529"/>
              <a:gd name="connsiteY15178" fmla="*/ 5062280 h 7458372"/>
              <a:gd name="connsiteX15179" fmla="*/ 1771396 w 10505529"/>
              <a:gd name="connsiteY15179" fmla="*/ 5064543 h 7458372"/>
              <a:gd name="connsiteX15180" fmla="*/ 1749566 w 10505529"/>
              <a:gd name="connsiteY15180" fmla="*/ 5056023 h 7458372"/>
              <a:gd name="connsiteX15181" fmla="*/ 1741183 w 10505529"/>
              <a:gd name="connsiteY15181" fmla="*/ 5034857 h 7458372"/>
              <a:gd name="connsiteX15182" fmla="*/ 1749566 w 10505529"/>
              <a:gd name="connsiteY15182" fmla="*/ 5013825 h 7458372"/>
              <a:gd name="connsiteX15183" fmla="*/ 1771396 w 10505529"/>
              <a:gd name="connsiteY15183" fmla="*/ 5005305 h 7458372"/>
              <a:gd name="connsiteX15184" fmla="*/ 1553758 w 10505529"/>
              <a:gd name="connsiteY15184" fmla="*/ 5005305 h 7458372"/>
              <a:gd name="connsiteX15185" fmla="*/ 1565473 w 10505529"/>
              <a:gd name="connsiteY15185" fmla="*/ 5007834 h 7458372"/>
              <a:gd name="connsiteX15186" fmla="*/ 1574791 w 10505529"/>
              <a:gd name="connsiteY15186" fmla="*/ 5014224 h 7458372"/>
              <a:gd name="connsiteX15187" fmla="*/ 1580914 w 10505529"/>
              <a:gd name="connsiteY15187" fmla="*/ 5023542 h 7458372"/>
              <a:gd name="connsiteX15188" fmla="*/ 1583177 w 10505529"/>
              <a:gd name="connsiteY15188" fmla="*/ 5034990 h 7458372"/>
              <a:gd name="connsiteX15189" fmla="*/ 1580914 w 10505529"/>
              <a:gd name="connsiteY15189" fmla="*/ 5046705 h 7458372"/>
              <a:gd name="connsiteX15190" fmla="*/ 1574791 w 10505529"/>
              <a:gd name="connsiteY15190" fmla="*/ 5056023 h 7458372"/>
              <a:gd name="connsiteX15191" fmla="*/ 1565473 w 10505529"/>
              <a:gd name="connsiteY15191" fmla="*/ 5062280 h 7458372"/>
              <a:gd name="connsiteX15192" fmla="*/ 1553758 w 10505529"/>
              <a:gd name="connsiteY15192" fmla="*/ 5064543 h 7458372"/>
              <a:gd name="connsiteX15193" fmla="*/ 1531928 w 10505529"/>
              <a:gd name="connsiteY15193" fmla="*/ 5056023 h 7458372"/>
              <a:gd name="connsiteX15194" fmla="*/ 1523542 w 10505529"/>
              <a:gd name="connsiteY15194" fmla="*/ 5034857 h 7458372"/>
              <a:gd name="connsiteX15195" fmla="*/ 1531928 w 10505529"/>
              <a:gd name="connsiteY15195" fmla="*/ 5013825 h 7458372"/>
              <a:gd name="connsiteX15196" fmla="*/ 1553758 w 10505529"/>
              <a:gd name="connsiteY15196" fmla="*/ 5005305 h 7458372"/>
              <a:gd name="connsiteX15197" fmla="*/ 1336114 w 10505529"/>
              <a:gd name="connsiteY15197" fmla="*/ 5005305 h 7458372"/>
              <a:gd name="connsiteX15198" fmla="*/ 1347830 w 10505529"/>
              <a:gd name="connsiteY15198" fmla="*/ 5007834 h 7458372"/>
              <a:gd name="connsiteX15199" fmla="*/ 1357148 w 10505529"/>
              <a:gd name="connsiteY15199" fmla="*/ 5014224 h 7458372"/>
              <a:gd name="connsiteX15200" fmla="*/ 1363271 w 10505529"/>
              <a:gd name="connsiteY15200" fmla="*/ 5023542 h 7458372"/>
              <a:gd name="connsiteX15201" fmla="*/ 1365533 w 10505529"/>
              <a:gd name="connsiteY15201" fmla="*/ 5034990 h 7458372"/>
              <a:gd name="connsiteX15202" fmla="*/ 1363271 w 10505529"/>
              <a:gd name="connsiteY15202" fmla="*/ 5046705 h 7458372"/>
              <a:gd name="connsiteX15203" fmla="*/ 1357148 w 10505529"/>
              <a:gd name="connsiteY15203" fmla="*/ 5056023 h 7458372"/>
              <a:gd name="connsiteX15204" fmla="*/ 1347830 w 10505529"/>
              <a:gd name="connsiteY15204" fmla="*/ 5062280 h 7458372"/>
              <a:gd name="connsiteX15205" fmla="*/ 1336114 w 10505529"/>
              <a:gd name="connsiteY15205" fmla="*/ 5064543 h 7458372"/>
              <a:gd name="connsiteX15206" fmla="*/ 1314282 w 10505529"/>
              <a:gd name="connsiteY15206" fmla="*/ 5056023 h 7458372"/>
              <a:gd name="connsiteX15207" fmla="*/ 1305896 w 10505529"/>
              <a:gd name="connsiteY15207" fmla="*/ 5034857 h 7458372"/>
              <a:gd name="connsiteX15208" fmla="*/ 1314282 w 10505529"/>
              <a:gd name="connsiteY15208" fmla="*/ 5013825 h 7458372"/>
              <a:gd name="connsiteX15209" fmla="*/ 1336114 w 10505529"/>
              <a:gd name="connsiteY15209" fmla="*/ 5005305 h 7458372"/>
              <a:gd name="connsiteX15210" fmla="*/ 1118469 w 10505529"/>
              <a:gd name="connsiteY15210" fmla="*/ 5005305 h 7458372"/>
              <a:gd name="connsiteX15211" fmla="*/ 1130187 w 10505529"/>
              <a:gd name="connsiteY15211" fmla="*/ 5007834 h 7458372"/>
              <a:gd name="connsiteX15212" fmla="*/ 1139502 w 10505529"/>
              <a:gd name="connsiteY15212" fmla="*/ 5014224 h 7458372"/>
              <a:gd name="connsiteX15213" fmla="*/ 1145622 w 10505529"/>
              <a:gd name="connsiteY15213" fmla="*/ 5023542 h 7458372"/>
              <a:gd name="connsiteX15214" fmla="*/ 1147885 w 10505529"/>
              <a:gd name="connsiteY15214" fmla="*/ 5034990 h 7458372"/>
              <a:gd name="connsiteX15215" fmla="*/ 1145622 w 10505529"/>
              <a:gd name="connsiteY15215" fmla="*/ 5046705 h 7458372"/>
              <a:gd name="connsiteX15216" fmla="*/ 1139502 w 10505529"/>
              <a:gd name="connsiteY15216" fmla="*/ 5056023 h 7458372"/>
              <a:gd name="connsiteX15217" fmla="*/ 1130187 w 10505529"/>
              <a:gd name="connsiteY15217" fmla="*/ 5062280 h 7458372"/>
              <a:gd name="connsiteX15218" fmla="*/ 1118469 w 10505529"/>
              <a:gd name="connsiteY15218" fmla="*/ 5064543 h 7458372"/>
              <a:gd name="connsiteX15219" fmla="*/ 1096634 w 10505529"/>
              <a:gd name="connsiteY15219" fmla="*/ 5056023 h 7458372"/>
              <a:gd name="connsiteX15220" fmla="*/ 1088250 w 10505529"/>
              <a:gd name="connsiteY15220" fmla="*/ 5034857 h 7458372"/>
              <a:gd name="connsiteX15221" fmla="*/ 1096634 w 10505529"/>
              <a:gd name="connsiteY15221" fmla="*/ 5013825 h 7458372"/>
              <a:gd name="connsiteX15222" fmla="*/ 1118469 w 10505529"/>
              <a:gd name="connsiteY15222" fmla="*/ 5005305 h 7458372"/>
              <a:gd name="connsiteX15223" fmla="*/ 900956 w 10505529"/>
              <a:gd name="connsiteY15223" fmla="*/ 5005305 h 7458372"/>
              <a:gd name="connsiteX15224" fmla="*/ 912671 w 10505529"/>
              <a:gd name="connsiteY15224" fmla="*/ 5007834 h 7458372"/>
              <a:gd name="connsiteX15225" fmla="*/ 921989 w 10505529"/>
              <a:gd name="connsiteY15225" fmla="*/ 5014224 h 7458372"/>
              <a:gd name="connsiteX15226" fmla="*/ 928112 w 10505529"/>
              <a:gd name="connsiteY15226" fmla="*/ 5023542 h 7458372"/>
              <a:gd name="connsiteX15227" fmla="*/ 930375 w 10505529"/>
              <a:gd name="connsiteY15227" fmla="*/ 5034990 h 7458372"/>
              <a:gd name="connsiteX15228" fmla="*/ 928112 w 10505529"/>
              <a:gd name="connsiteY15228" fmla="*/ 5046705 h 7458372"/>
              <a:gd name="connsiteX15229" fmla="*/ 921989 w 10505529"/>
              <a:gd name="connsiteY15229" fmla="*/ 5056023 h 7458372"/>
              <a:gd name="connsiteX15230" fmla="*/ 912671 w 10505529"/>
              <a:gd name="connsiteY15230" fmla="*/ 5062280 h 7458372"/>
              <a:gd name="connsiteX15231" fmla="*/ 900956 w 10505529"/>
              <a:gd name="connsiteY15231" fmla="*/ 5064543 h 7458372"/>
              <a:gd name="connsiteX15232" fmla="*/ 879125 w 10505529"/>
              <a:gd name="connsiteY15232" fmla="*/ 5056023 h 7458372"/>
              <a:gd name="connsiteX15233" fmla="*/ 870740 w 10505529"/>
              <a:gd name="connsiteY15233" fmla="*/ 5034857 h 7458372"/>
              <a:gd name="connsiteX15234" fmla="*/ 879125 w 10505529"/>
              <a:gd name="connsiteY15234" fmla="*/ 5013825 h 7458372"/>
              <a:gd name="connsiteX15235" fmla="*/ 900956 w 10505529"/>
              <a:gd name="connsiteY15235" fmla="*/ 5005305 h 7458372"/>
              <a:gd name="connsiteX15236" fmla="*/ 683315 w 10505529"/>
              <a:gd name="connsiteY15236" fmla="*/ 5005305 h 7458372"/>
              <a:gd name="connsiteX15237" fmla="*/ 695031 w 10505529"/>
              <a:gd name="connsiteY15237" fmla="*/ 5007834 h 7458372"/>
              <a:gd name="connsiteX15238" fmla="*/ 704348 w 10505529"/>
              <a:gd name="connsiteY15238" fmla="*/ 5014224 h 7458372"/>
              <a:gd name="connsiteX15239" fmla="*/ 710471 w 10505529"/>
              <a:gd name="connsiteY15239" fmla="*/ 5023542 h 7458372"/>
              <a:gd name="connsiteX15240" fmla="*/ 712734 w 10505529"/>
              <a:gd name="connsiteY15240" fmla="*/ 5034990 h 7458372"/>
              <a:gd name="connsiteX15241" fmla="*/ 710471 w 10505529"/>
              <a:gd name="connsiteY15241" fmla="*/ 5046705 h 7458372"/>
              <a:gd name="connsiteX15242" fmla="*/ 704348 w 10505529"/>
              <a:gd name="connsiteY15242" fmla="*/ 5056023 h 7458372"/>
              <a:gd name="connsiteX15243" fmla="*/ 695031 w 10505529"/>
              <a:gd name="connsiteY15243" fmla="*/ 5062280 h 7458372"/>
              <a:gd name="connsiteX15244" fmla="*/ 683315 w 10505529"/>
              <a:gd name="connsiteY15244" fmla="*/ 5064543 h 7458372"/>
              <a:gd name="connsiteX15245" fmla="*/ 661484 w 10505529"/>
              <a:gd name="connsiteY15245" fmla="*/ 5056023 h 7458372"/>
              <a:gd name="connsiteX15246" fmla="*/ 653098 w 10505529"/>
              <a:gd name="connsiteY15246" fmla="*/ 5034857 h 7458372"/>
              <a:gd name="connsiteX15247" fmla="*/ 661484 w 10505529"/>
              <a:gd name="connsiteY15247" fmla="*/ 5013825 h 7458372"/>
              <a:gd name="connsiteX15248" fmla="*/ 683315 w 10505529"/>
              <a:gd name="connsiteY15248" fmla="*/ 5005305 h 7458372"/>
              <a:gd name="connsiteX15249" fmla="*/ 465674 w 10505529"/>
              <a:gd name="connsiteY15249" fmla="*/ 5005305 h 7458372"/>
              <a:gd name="connsiteX15250" fmla="*/ 477389 w 10505529"/>
              <a:gd name="connsiteY15250" fmla="*/ 5007834 h 7458372"/>
              <a:gd name="connsiteX15251" fmla="*/ 486706 w 10505529"/>
              <a:gd name="connsiteY15251" fmla="*/ 5014224 h 7458372"/>
              <a:gd name="connsiteX15252" fmla="*/ 492829 w 10505529"/>
              <a:gd name="connsiteY15252" fmla="*/ 5023542 h 7458372"/>
              <a:gd name="connsiteX15253" fmla="*/ 495092 w 10505529"/>
              <a:gd name="connsiteY15253" fmla="*/ 5034990 h 7458372"/>
              <a:gd name="connsiteX15254" fmla="*/ 492829 w 10505529"/>
              <a:gd name="connsiteY15254" fmla="*/ 5046705 h 7458372"/>
              <a:gd name="connsiteX15255" fmla="*/ 486706 w 10505529"/>
              <a:gd name="connsiteY15255" fmla="*/ 5056023 h 7458372"/>
              <a:gd name="connsiteX15256" fmla="*/ 477389 w 10505529"/>
              <a:gd name="connsiteY15256" fmla="*/ 5062280 h 7458372"/>
              <a:gd name="connsiteX15257" fmla="*/ 465674 w 10505529"/>
              <a:gd name="connsiteY15257" fmla="*/ 5064543 h 7458372"/>
              <a:gd name="connsiteX15258" fmla="*/ 443842 w 10505529"/>
              <a:gd name="connsiteY15258" fmla="*/ 5056023 h 7458372"/>
              <a:gd name="connsiteX15259" fmla="*/ 435457 w 10505529"/>
              <a:gd name="connsiteY15259" fmla="*/ 5034857 h 7458372"/>
              <a:gd name="connsiteX15260" fmla="*/ 443842 w 10505529"/>
              <a:gd name="connsiteY15260" fmla="*/ 5013825 h 7458372"/>
              <a:gd name="connsiteX15261" fmla="*/ 465674 w 10505529"/>
              <a:gd name="connsiteY15261" fmla="*/ 5005305 h 7458372"/>
              <a:gd name="connsiteX15262" fmla="*/ 248032 w 10505529"/>
              <a:gd name="connsiteY15262" fmla="*/ 5005305 h 7458372"/>
              <a:gd name="connsiteX15263" fmla="*/ 259746 w 10505529"/>
              <a:gd name="connsiteY15263" fmla="*/ 5007834 h 7458372"/>
              <a:gd name="connsiteX15264" fmla="*/ 269065 w 10505529"/>
              <a:gd name="connsiteY15264" fmla="*/ 5014224 h 7458372"/>
              <a:gd name="connsiteX15265" fmla="*/ 275188 w 10505529"/>
              <a:gd name="connsiteY15265" fmla="*/ 5023542 h 7458372"/>
              <a:gd name="connsiteX15266" fmla="*/ 277451 w 10505529"/>
              <a:gd name="connsiteY15266" fmla="*/ 5034990 h 7458372"/>
              <a:gd name="connsiteX15267" fmla="*/ 275188 w 10505529"/>
              <a:gd name="connsiteY15267" fmla="*/ 5046705 h 7458372"/>
              <a:gd name="connsiteX15268" fmla="*/ 269065 w 10505529"/>
              <a:gd name="connsiteY15268" fmla="*/ 5056023 h 7458372"/>
              <a:gd name="connsiteX15269" fmla="*/ 259746 w 10505529"/>
              <a:gd name="connsiteY15269" fmla="*/ 5062280 h 7458372"/>
              <a:gd name="connsiteX15270" fmla="*/ 248032 w 10505529"/>
              <a:gd name="connsiteY15270" fmla="*/ 5064543 h 7458372"/>
              <a:gd name="connsiteX15271" fmla="*/ 226202 w 10505529"/>
              <a:gd name="connsiteY15271" fmla="*/ 5056023 h 7458372"/>
              <a:gd name="connsiteX15272" fmla="*/ 217817 w 10505529"/>
              <a:gd name="connsiteY15272" fmla="*/ 5034857 h 7458372"/>
              <a:gd name="connsiteX15273" fmla="*/ 226202 w 10505529"/>
              <a:gd name="connsiteY15273" fmla="*/ 5013825 h 7458372"/>
              <a:gd name="connsiteX15274" fmla="*/ 248032 w 10505529"/>
              <a:gd name="connsiteY15274" fmla="*/ 5005305 h 7458372"/>
              <a:gd name="connsiteX15275" fmla="*/ 30390 w 10505529"/>
              <a:gd name="connsiteY15275" fmla="*/ 5005305 h 7458372"/>
              <a:gd name="connsiteX15276" fmla="*/ 42105 w 10505529"/>
              <a:gd name="connsiteY15276" fmla="*/ 5007834 h 7458372"/>
              <a:gd name="connsiteX15277" fmla="*/ 51423 w 10505529"/>
              <a:gd name="connsiteY15277" fmla="*/ 5014224 h 7458372"/>
              <a:gd name="connsiteX15278" fmla="*/ 57546 w 10505529"/>
              <a:gd name="connsiteY15278" fmla="*/ 5023542 h 7458372"/>
              <a:gd name="connsiteX15279" fmla="*/ 59809 w 10505529"/>
              <a:gd name="connsiteY15279" fmla="*/ 5034990 h 7458372"/>
              <a:gd name="connsiteX15280" fmla="*/ 57546 w 10505529"/>
              <a:gd name="connsiteY15280" fmla="*/ 5046705 h 7458372"/>
              <a:gd name="connsiteX15281" fmla="*/ 51423 w 10505529"/>
              <a:gd name="connsiteY15281" fmla="*/ 5056023 h 7458372"/>
              <a:gd name="connsiteX15282" fmla="*/ 42105 w 10505529"/>
              <a:gd name="connsiteY15282" fmla="*/ 5062280 h 7458372"/>
              <a:gd name="connsiteX15283" fmla="*/ 30390 w 10505529"/>
              <a:gd name="connsiteY15283" fmla="*/ 5064543 h 7458372"/>
              <a:gd name="connsiteX15284" fmla="*/ 8562 w 10505529"/>
              <a:gd name="connsiteY15284" fmla="*/ 5056023 h 7458372"/>
              <a:gd name="connsiteX15285" fmla="*/ 176 w 10505529"/>
              <a:gd name="connsiteY15285" fmla="*/ 5034857 h 7458372"/>
              <a:gd name="connsiteX15286" fmla="*/ 8562 w 10505529"/>
              <a:gd name="connsiteY15286" fmla="*/ 5013825 h 7458372"/>
              <a:gd name="connsiteX15287" fmla="*/ 30390 w 10505529"/>
              <a:gd name="connsiteY15287" fmla="*/ 5005305 h 7458372"/>
              <a:gd name="connsiteX15288" fmla="*/ 10475977 w 10505529"/>
              <a:gd name="connsiteY15288" fmla="*/ 4804299 h 7458372"/>
              <a:gd name="connsiteX15289" fmla="*/ 10465992 w 10505529"/>
              <a:gd name="connsiteY15289" fmla="*/ 4807893 h 7458372"/>
              <a:gd name="connsiteX15290" fmla="*/ 10462399 w 10505529"/>
              <a:gd name="connsiteY15290" fmla="*/ 4817344 h 7458372"/>
              <a:gd name="connsiteX15291" fmla="*/ 10465992 w 10505529"/>
              <a:gd name="connsiteY15291" fmla="*/ 4826795 h 7458372"/>
              <a:gd name="connsiteX15292" fmla="*/ 10475977 w 10505529"/>
              <a:gd name="connsiteY15292" fmla="*/ 4830257 h 7458372"/>
              <a:gd name="connsiteX15293" fmla="*/ 10481302 w 10505529"/>
              <a:gd name="connsiteY15293" fmla="*/ 4829325 h 7458372"/>
              <a:gd name="connsiteX15294" fmla="*/ 10485029 w 10505529"/>
              <a:gd name="connsiteY15294" fmla="*/ 4826928 h 7458372"/>
              <a:gd name="connsiteX15295" fmla="*/ 10487691 w 10505529"/>
              <a:gd name="connsiteY15295" fmla="*/ 4822669 h 7458372"/>
              <a:gd name="connsiteX15296" fmla="*/ 10488623 w 10505529"/>
              <a:gd name="connsiteY15296" fmla="*/ 4817211 h 7458372"/>
              <a:gd name="connsiteX15297" fmla="*/ 10487691 w 10505529"/>
              <a:gd name="connsiteY15297" fmla="*/ 4812020 h 7458372"/>
              <a:gd name="connsiteX15298" fmla="*/ 10485029 w 10505529"/>
              <a:gd name="connsiteY15298" fmla="*/ 4807893 h 7458372"/>
              <a:gd name="connsiteX15299" fmla="*/ 10481035 w 10505529"/>
              <a:gd name="connsiteY15299" fmla="*/ 4805230 h 7458372"/>
              <a:gd name="connsiteX15300" fmla="*/ 10475977 w 10505529"/>
              <a:gd name="connsiteY15300" fmla="*/ 4804299 h 7458372"/>
              <a:gd name="connsiteX15301" fmla="*/ 10258466 w 10505529"/>
              <a:gd name="connsiteY15301" fmla="*/ 4804299 h 7458372"/>
              <a:gd name="connsiteX15302" fmla="*/ 10248481 w 10505529"/>
              <a:gd name="connsiteY15302" fmla="*/ 4807893 h 7458372"/>
              <a:gd name="connsiteX15303" fmla="*/ 10244887 w 10505529"/>
              <a:gd name="connsiteY15303" fmla="*/ 4817344 h 7458372"/>
              <a:gd name="connsiteX15304" fmla="*/ 10248481 w 10505529"/>
              <a:gd name="connsiteY15304" fmla="*/ 4826795 h 7458372"/>
              <a:gd name="connsiteX15305" fmla="*/ 10258466 w 10505529"/>
              <a:gd name="connsiteY15305" fmla="*/ 4830257 h 7458372"/>
              <a:gd name="connsiteX15306" fmla="*/ 10263790 w 10505529"/>
              <a:gd name="connsiteY15306" fmla="*/ 4829325 h 7458372"/>
              <a:gd name="connsiteX15307" fmla="*/ 10267517 w 10505529"/>
              <a:gd name="connsiteY15307" fmla="*/ 4826928 h 7458372"/>
              <a:gd name="connsiteX15308" fmla="*/ 10270180 w 10505529"/>
              <a:gd name="connsiteY15308" fmla="*/ 4822669 h 7458372"/>
              <a:gd name="connsiteX15309" fmla="*/ 10271112 w 10505529"/>
              <a:gd name="connsiteY15309" fmla="*/ 4817211 h 7458372"/>
              <a:gd name="connsiteX15310" fmla="*/ 10270180 w 10505529"/>
              <a:gd name="connsiteY15310" fmla="*/ 4812020 h 7458372"/>
              <a:gd name="connsiteX15311" fmla="*/ 10267517 w 10505529"/>
              <a:gd name="connsiteY15311" fmla="*/ 4807893 h 7458372"/>
              <a:gd name="connsiteX15312" fmla="*/ 10263524 w 10505529"/>
              <a:gd name="connsiteY15312" fmla="*/ 4805230 h 7458372"/>
              <a:gd name="connsiteX15313" fmla="*/ 10258466 w 10505529"/>
              <a:gd name="connsiteY15313" fmla="*/ 4804299 h 7458372"/>
              <a:gd name="connsiteX15314" fmla="*/ 10040820 w 10505529"/>
              <a:gd name="connsiteY15314" fmla="*/ 4804299 h 7458372"/>
              <a:gd name="connsiteX15315" fmla="*/ 10030835 w 10505529"/>
              <a:gd name="connsiteY15315" fmla="*/ 4807893 h 7458372"/>
              <a:gd name="connsiteX15316" fmla="*/ 10027242 w 10505529"/>
              <a:gd name="connsiteY15316" fmla="*/ 4817344 h 7458372"/>
              <a:gd name="connsiteX15317" fmla="*/ 10030835 w 10505529"/>
              <a:gd name="connsiteY15317" fmla="*/ 4826795 h 7458372"/>
              <a:gd name="connsiteX15318" fmla="*/ 10040820 w 10505529"/>
              <a:gd name="connsiteY15318" fmla="*/ 4830257 h 7458372"/>
              <a:gd name="connsiteX15319" fmla="*/ 10046145 w 10505529"/>
              <a:gd name="connsiteY15319" fmla="*/ 4829325 h 7458372"/>
              <a:gd name="connsiteX15320" fmla="*/ 10049872 w 10505529"/>
              <a:gd name="connsiteY15320" fmla="*/ 4826928 h 7458372"/>
              <a:gd name="connsiteX15321" fmla="*/ 10052534 w 10505529"/>
              <a:gd name="connsiteY15321" fmla="*/ 4822669 h 7458372"/>
              <a:gd name="connsiteX15322" fmla="*/ 10053599 w 10505529"/>
              <a:gd name="connsiteY15322" fmla="*/ 4817211 h 7458372"/>
              <a:gd name="connsiteX15323" fmla="*/ 10052534 w 10505529"/>
              <a:gd name="connsiteY15323" fmla="*/ 4812020 h 7458372"/>
              <a:gd name="connsiteX15324" fmla="*/ 10049872 w 10505529"/>
              <a:gd name="connsiteY15324" fmla="*/ 4807893 h 7458372"/>
              <a:gd name="connsiteX15325" fmla="*/ 10045878 w 10505529"/>
              <a:gd name="connsiteY15325" fmla="*/ 4805230 h 7458372"/>
              <a:gd name="connsiteX15326" fmla="*/ 10040820 w 10505529"/>
              <a:gd name="connsiteY15326" fmla="*/ 4804299 h 7458372"/>
              <a:gd name="connsiteX15327" fmla="*/ 9823176 w 10505529"/>
              <a:gd name="connsiteY15327" fmla="*/ 4804299 h 7458372"/>
              <a:gd name="connsiteX15328" fmla="*/ 9813191 w 10505529"/>
              <a:gd name="connsiteY15328" fmla="*/ 4807893 h 7458372"/>
              <a:gd name="connsiteX15329" fmla="*/ 9809597 w 10505529"/>
              <a:gd name="connsiteY15329" fmla="*/ 4817344 h 7458372"/>
              <a:gd name="connsiteX15330" fmla="*/ 9813191 w 10505529"/>
              <a:gd name="connsiteY15330" fmla="*/ 4826795 h 7458372"/>
              <a:gd name="connsiteX15331" fmla="*/ 9823176 w 10505529"/>
              <a:gd name="connsiteY15331" fmla="*/ 4830257 h 7458372"/>
              <a:gd name="connsiteX15332" fmla="*/ 9828501 w 10505529"/>
              <a:gd name="connsiteY15332" fmla="*/ 4829325 h 7458372"/>
              <a:gd name="connsiteX15333" fmla="*/ 9832227 w 10505529"/>
              <a:gd name="connsiteY15333" fmla="*/ 4826928 h 7458372"/>
              <a:gd name="connsiteX15334" fmla="*/ 9834890 w 10505529"/>
              <a:gd name="connsiteY15334" fmla="*/ 4822669 h 7458372"/>
              <a:gd name="connsiteX15335" fmla="*/ 9835955 w 10505529"/>
              <a:gd name="connsiteY15335" fmla="*/ 4817211 h 7458372"/>
              <a:gd name="connsiteX15336" fmla="*/ 9834890 w 10505529"/>
              <a:gd name="connsiteY15336" fmla="*/ 4812020 h 7458372"/>
              <a:gd name="connsiteX15337" fmla="*/ 9832227 w 10505529"/>
              <a:gd name="connsiteY15337" fmla="*/ 4807893 h 7458372"/>
              <a:gd name="connsiteX15338" fmla="*/ 9828234 w 10505529"/>
              <a:gd name="connsiteY15338" fmla="*/ 4805230 h 7458372"/>
              <a:gd name="connsiteX15339" fmla="*/ 9823176 w 10505529"/>
              <a:gd name="connsiteY15339" fmla="*/ 4804299 h 7458372"/>
              <a:gd name="connsiteX15340" fmla="*/ 9605531 w 10505529"/>
              <a:gd name="connsiteY15340" fmla="*/ 4804299 h 7458372"/>
              <a:gd name="connsiteX15341" fmla="*/ 9595546 w 10505529"/>
              <a:gd name="connsiteY15341" fmla="*/ 4807893 h 7458372"/>
              <a:gd name="connsiteX15342" fmla="*/ 9591952 w 10505529"/>
              <a:gd name="connsiteY15342" fmla="*/ 4817344 h 7458372"/>
              <a:gd name="connsiteX15343" fmla="*/ 9595546 w 10505529"/>
              <a:gd name="connsiteY15343" fmla="*/ 4826795 h 7458372"/>
              <a:gd name="connsiteX15344" fmla="*/ 9605531 w 10505529"/>
              <a:gd name="connsiteY15344" fmla="*/ 4830257 h 7458372"/>
              <a:gd name="connsiteX15345" fmla="*/ 9610855 w 10505529"/>
              <a:gd name="connsiteY15345" fmla="*/ 4829325 h 7458372"/>
              <a:gd name="connsiteX15346" fmla="*/ 9614582 w 10505529"/>
              <a:gd name="connsiteY15346" fmla="*/ 4826928 h 7458372"/>
              <a:gd name="connsiteX15347" fmla="*/ 9617245 w 10505529"/>
              <a:gd name="connsiteY15347" fmla="*/ 4822669 h 7458372"/>
              <a:gd name="connsiteX15348" fmla="*/ 9618309 w 10505529"/>
              <a:gd name="connsiteY15348" fmla="*/ 4817211 h 7458372"/>
              <a:gd name="connsiteX15349" fmla="*/ 9617245 w 10505529"/>
              <a:gd name="connsiteY15349" fmla="*/ 4812020 h 7458372"/>
              <a:gd name="connsiteX15350" fmla="*/ 9614582 w 10505529"/>
              <a:gd name="connsiteY15350" fmla="*/ 4807893 h 7458372"/>
              <a:gd name="connsiteX15351" fmla="*/ 9610589 w 10505529"/>
              <a:gd name="connsiteY15351" fmla="*/ 4805230 h 7458372"/>
              <a:gd name="connsiteX15352" fmla="*/ 9605531 w 10505529"/>
              <a:gd name="connsiteY15352" fmla="*/ 4804299 h 7458372"/>
              <a:gd name="connsiteX15353" fmla="*/ 9387885 w 10505529"/>
              <a:gd name="connsiteY15353" fmla="*/ 4804299 h 7458372"/>
              <a:gd name="connsiteX15354" fmla="*/ 9377900 w 10505529"/>
              <a:gd name="connsiteY15354" fmla="*/ 4807893 h 7458372"/>
              <a:gd name="connsiteX15355" fmla="*/ 9374307 w 10505529"/>
              <a:gd name="connsiteY15355" fmla="*/ 4817344 h 7458372"/>
              <a:gd name="connsiteX15356" fmla="*/ 9377900 w 10505529"/>
              <a:gd name="connsiteY15356" fmla="*/ 4826795 h 7458372"/>
              <a:gd name="connsiteX15357" fmla="*/ 9387885 w 10505529"/>
              <a:gd name="connsiteY15357" fmla="*/ 4830257 h 7458372"/>
              <a:gd name="connsiteX15358" fmla="*/ 9393210 w 10505529"/>
              <a:gd name="connsiteY15358" fmla="*/ 4829325 h 7458372"/>
              <a:gd name="connsiteX15359" fmla="*/ 9396937 w 10505529"/>
              <a:gd name="connsiteY15359" fmla="*/ 4826928 h 7458372"/>
              <a:gd name="connsiteX15360" fmla="*/ 9399599 w 10505529"/>
              <a:gd name="connsiteY15360" fmla="*/ 4822669 h 7458372"/>
              <a:gd name="connsiteX15361" fmla="*/ 9400664 w 10505529"/>
              <a:gd name="connsiteY15361" fmla="*/ 4817211 h 7458372"/>
              <a:gd name="connsiteX15362" fmla="*/ 9399599 w 10505529"/>
              <a:gd name="connsiteY15362" fmla="*/ 4812020 h 7458372"/>
              <a:gd name="connsiteX15363" fmla="*/ 9396937 w 10505529"/>
              <a:gd name="connsiteY15363" fmla="*/ 4807893 h 7458372"/>
              <a:gd name="connsiteX15364" fmla="*/ 9392943 w 10505529"/>
              <a:gd name="connsiteY15364" fmla="*/ 4805230 h 7458372"/>
              <a:gd name="connsiteX15365" fmla="*/ 9387885 w 10505529"/>
              <a:gd name="connsiteY15365" fmla="*/ 4804299 h 7458372"/>
              <a:gd name="connsiteX15366" fmla="*/ 9170374 w 10505529"/>
              <a:gd name="connsiteY15366" fmla="*/ 4804299 h 7458372"/>
              <a:gd name="connsiteX15367" fmla="*/ 9160389 w 10505529"/>
              <a:gd name="connsiteY15367" fmla="*/ 4807893 h 7458372"/>
              <a:gd name="connsiteX15368" fmla="*/ 9156795 w 10505529"/>
              <a:gd name="connsiteY15368" fmla="*/ 4817344 h 7458372"/>
              <a:gd name="connsiteX15369" fmla="*/ 9160389 w 10505529"/>
              <a:gd name="connsiteY15369" fmla="*/ 4826795 h 7458372"/>
              <a:gd name="connsiteX15370" fmla="*/ 9170374 w 10505529"/>
              <a:gd name="connsiteY15370" fmla="*/ 4830257 h 7458372"/>
              <a:gd name="connsiteX15371" fmla="*/ 9175698 w 10505529"/>
              <a:gd name="connsiteY15371" fmla="*/ 4829325 h 7458372"/>
              <a:gd name="connsiteX15372" fmla="*/ 9179425 w 10505529"/>
              <a:gd name="connsiteY15372" fmla="*/ 4826928 h 7458372"/>
              <a:gd name="connsiteX15373" fmla="*/ 9182088 w 10505529"/>
              <a:gd name="connsiteY15373" fmla="*/ 4822669 h 7458372"/>
              <a:gd name="connsiteX15374" fmla="*/ 9183152 w 10505529"/>
              <a:gd name="connsiteY15374" fmla="*/ 4817211 h 7458372"/>
              <a:gd name="connsiteX15375" fmla="*/ 9182088 w 10505529"/>
              <a:gd name="connsiteY15375" fmla="*/ 4812020 h 7458372"/>
              <a:gd name="connsiteX15376" fmla="*/ 9179425 w 10505529"/>
              <a:gd name="connsiteY15376" fmla="*/ 4807893 h 7458372"/>
              <a:gd name="connsiteX15377" fmla="*/ 9175432 w 10505529"/>
              <a:gd name="connsiteY15377" fmla="*/ 4805230 h 7458372"/>
              <a:gd name="connsiteX15378" fmla="*/ 9170374 w 10505529"/>
              <a:gd name="connsiteY15378" fmla="*/ 4804299 h 7458372"/>
              <a:gd name="connsiteX15379" fmla="*/ 8952728 w 10505529"/>
              <a:gd name="connsiteY15379" fmla="*/ 4804299 h 7458372"/>
              <a:gd name="connsiteX15380" fmla="*/ 8942743 w 10505529"/>
              <a:gd name="connsiteY15380" fmla="*/ 4807893 h 7458372"/>
              <a:gd name="connsiteX15381" fmla="*/ 8939150 w 10505529"/>
              <a:gd name="connsiteY15381" fmla="*/ 4817344 h 7458372"/>
              <a:gd name="connsiteX15382" fmla="*/ 8942743 w 10505529"/>
              <a:gd name="connsiteY15382" fmla="*/ 4826795 h 7458372"/>
              <a:gd name="connsiteX15383" fmla="*/ 8952728 w 10505529"/>
              <a:gd name="connsiteY15383" fmla="*/ 4830257 h 7458372"/>
              <a:gd name="connsiteX15384" fmla="*/ 8958053 w 10505529"/>
              <a:gd name="connsiteY15384" fmla="*/ 4829325 h 7458372"/>
              <a:gd name="connsiteX15385" fmla="*/ 8961780 w 10505529"/>
              <a:gd name="connsiteY15385" fmla="*/ 4826928 h 7458372"/>
              <a:gd name="connsiteX15386" fmla="*/ 8964442 w 10505529"/>
              <a:gd name="connsiteY15386" fmla="*/ 4822669 h 7458372"/>
              <a:gd name="connsiteX15387" fmla="*/ 8965507 w 10505529"/>
              <a:gd name="connsiteY15387" fmla="*/ 4817211 h 7458372"/>
              <a:gd name="connsiteX15388" fmla="*/ 8964442 w 10505529"/>
              <a:gd name="connsiteY15388" fmla="*/ 4812020 h 7458372"/>
              <a:gd name="connsiteX15389" fmla="*/ 8961780 w 10505529"/>
              <a:gd name="connsiteY15389" fmla="*/ 4807893 h 7458372"/>
              <a:gd name="connsiteX15390" fmla="*/ 8957786 w 10505529"/>
              <a:gd name="connsiteY15390" fmla="*/ 4805230 h 7458372"/>
              <a:gd name="connsiteX15391" fmla="*/ 8952728 w 10505529"/>
              <a:gd name="connsiteY15391" fmla="*/ 4804299 h 7458372"/>
              <a:gd name="connsiteX15392" fmla="*/ 8735083 w 10505529"/>
              <a:gd name="connsiteY15392" fmla="*/ 4804299 h 7458372"/>
              <a:gd name="connsiteX15393" fmla="*/ 8725098 w 10505529"/>
              <a:gd name="connsiteY15393" fmla="*/ 4807893 h 7458372"/>
              <a:gd name="connsiteX15394" fmla="*/ 8721504 w 10505529"/>
              <a:gd name="connsiteY15394" fmla="*/ 4817344 h 7458372"/>
              <a:gd name="connsiteX15395" fmla="*/ 8725098 w 10505529"/>
              <a:gd name="connsiteY15395" fmla="*/ 4826795 h 7458372"/>
              <a:gd name="connsiteX15396" fmla="*/ 8735083 w 10505529"/>
              <a:gd name="connsiteY15396" fmla="*/ 4830257 h 7458372"/>
              <a:gd name="connsiteX15397" fmla="*/ 8740407 w 10505529"/>
              <a:gd name="connsiteY15397" fmla="*/ 4829325 h 7458372"/>
              <a:gd name="connsiteX15398" fmla="*/ 8744134 w 10505529"/>
              <a:gd name="connsiteY15398" fmla="*/ 4826928 h 7458372"/>
              <a:gd name="connsiteX15399" fmla="*/ 8746797 w 10505529"/>
              <a:gd name="connsiteY15399" fmla="*/ 4822669 h 7458372"/>
              <a:gd name="connsiteX15400" fmla="*/ 8747862 w 10505529"/>
              <a:gd name="connsiteY15400" fmla="*/ 4817211 h 7458372"/>
              <a:gd name="connsiteX15401" fmla="*/ 8746797 w 10505529"/>
              <a:gd name="connsiteY15401" fmla="*/ 4812020 h 7458372"/>
              <a:gd name="connsiteX15402" fmla="*/ 8744134 w 10505529"/>
              <a:gd name="connsiteY15402" fmla="*/ 4807893 h 7458372"/>
              <a:gd name="connsiteX15403" fmla="*/ 8740141 w 10505529"/>
              <a:gd name="connsiteY15403" fmla="*/ 4805230 h 7458372"/>
              <a:gd name="connsiteX15404" fmla="*/ 8735083 w 10505529"/>
              <a:gd name="connsiteY15404" fmla="*/ 4804299 h 7458372"/>
              <a:gd name="connsiteX15405" fmla="*/ 8517438 w 10505529"/>
              <a:gd name="connsiteY15405" fmla="*/ 4804299 h 7458372"/>
              <a:gd name="connsiteX15406" fmla="*/ 8507453 w 10505529"/>
              <a:gd name="connsiteY15406" fmla="*/ 4807893 h 7458372"/>
              <a:gd name="connsiteX15407" fmla="*/ 8503860 w 10505529"/>
              <a:gd name="connsiteY15407" fmla="*/ 4817344 h 7458372"/>
              <a:gd name="connsiteX15408" fmla="*/ 8507453 w 10505529"/>
              <a:gd name="connsiteY15408" fmla="*/ 4826795 h 7458372"/>
              <a:gd name="connsiteX15409" fmla="*/ 8517438 w 10505529"/>
              <a:gd name="connsiteY15409" fmla="*/ 4830257 h 7458372"/>
              <a:gd name="connsiteX15410" fmla="*/ 8522763 w 10505529"/>
              <a:gd name="connsiteY15410" fmla="*/ 4829325 h 7458372"/>
              <a:gd name="connsiteX15411" fmla="*/ 8526490 w 10505529"/>
              <a:gd name="connsiteY15411" fmla="*/ 4826928 h 7458372"/>
              <a:gd name="connsiteX15412" fmla="*/ 8529152 w 10505529"/>
              <a:gd name="connsiteY15412" fmla="*/ 4822669 h 7458372"/>
              <a:gd name="connsiteX15413" fmla="*/ 8530084 w 10505529"/>
              <a:gd name="connsiteY15413" fmla="*/ 4817211 h 7458372"/>
              <a:gd name="connsiteX15414" fmla="*/ 8529152 w 10505529"/>
              <a:gd name="connsiteY15414" fmla="*/ 4812020 h 7458372"/>
              <a:gd name="connsiteX15415" fmla="*/ 8526490 w 10505529"/>
              <a:gd name="connsiteY15415" fmla="*/ 4807893 h 7458372"/>
              <a:gd name="connsiteX15416" fmla="*/ 8522496 w 10505529"/>
              <a:gd name="connsiteY15416" fmla="*/ 4805230 h 7458372"/>
              <a:gd name="connsiteX15417" fmla="*/ 8517438 w 10505529"/>
              <a:gd name="connsiteY15417" fmla="*/ 4804299 h 7458372"/>
              <a:gd name="connsiteX15418" fmla="*/ 8299793 w 10505529"/>
              <a:gd name="connsiteY15418" fmla="*/ 4804299 h 7458372"/>
              <a:gd name="connsiteX15419" fmla="*/ 8289809 w 10505529"/>
              <a:gd name="connsiteY15419" fmla="*/ 4807893 h 7458372"/>
              <a:gd name="connsiteX15420" fmla="*/ 8286215 w 10505529"/>
              <a:gd name="connsiteY15420" fmla="*/ 4817344 h 7458372"/>
              <a:gd name="connsiteX15421" fmla="*/ 8289809 w 10505529"/>
              <a:gd name="connsiteY15421" fmla="*/ 4826795 h 7458372"/>
              <a:gd name="connsiteX15422" fmla="*/ 8299793 w 10505529"/>
              <a:gd name="connsiteY15422" fmla="*/ 4830257 h 7458372"/>
              <a:gd name="connsiteX15423" fmla="*/ 8305118 w 10505529"/>
              <a:gd name="connsiteY15423" fmla="*/ 4829325 h 7458372"/>
              <a:gd name="connsiteX15424" fmla="*/ 8308844 w 10505529"/>
              <a:gd name="connsiteY15424" fmla="*/ 4826928 h 7458372"/>
              <a:gd name="connsiteX15425" fmla="*/ 8311507 w 10505529"/>
              <a:gd name="connsiteY15425" fmla="*/ 4822669 h 7458372"/>
              <a:gd name="connsiteX15426" fmla="*/ 8312439 w 10505529"/>
              <a:gd name="connsiteY15426" fmla="*/ 4817211 h 7458372"/>
              <a:gd name="connsiteX15427" fmla="*/ 8311507 w 10505529"/>
              <a:gd name="connsiteY15427" fmla="*/ 4812020 h 7458372"/>
              <a:gd name="connsiteX15428" fmla="*/ 8308844 w 10505529"/>
              <a:gd name="connsiteY15428" fmla="*/ 4807893 h 7458372"/>
              <a:gd name="connsiteX15429" fmla="*/ 8304851 w 10505529"/>
              <a:gd name="connsiteY15429" fmla="*/ 4805230 h 7458372"/>
              <a:gd name="connsiteX15430" fmla="*/ 8299793 w 10505529"/>
              <a:gd name="connsiteY15430" fmla="*/ 4804299 h 7458372"/>
              <a:gd name="connsiteX15431" fmla="*/ 8082281 w 10505529"/>
              <a:gd name="connsiteY15431" fmla="*/ 4804299 h 7458372"/>
              <a:gd name="connsiteX15432" fmla="*/ 8072297 w 10505529"/>
              <a:gd name="connsiteY15432" fmla="*/ 4807893 h 7458372"/>
              <a:gd name="connsiteX15433" fmla="*/ 8068703 w 10505529"/>
              <a:gd name="connsiteY15433" fmla="*/ 4817344 h 7458372"/>
              <a:gd name="connsiteX15434" fmla="*/ 8072297 w 10505529"/>
              <a:gd name="connsiteY15434" fmla="*/ 4826795 h 7458372"/>
              <a:gd name="connsiteX15435" fmla="*/ 8082281 w 10505529"/>
              <a:gd name="connsiteY15435" fmla="*/ 4830257 h 7458372"/>
              <a:gd name="connsiteX15436" fmla="*/ 8087605 w 10505529"/>
              <a:gd name="connsiteY15436" fmla="*/ 4829325 h 7458372"/>
              <a:gd name="connsiteX15437" fmla="*/ 8091332 w 10505529"/>
              <a:gd name="connsiteY15437" fmla="*/ 4826928 h 7458372"/>
              <a:gd name="connsiteX15438" fmla="*/ 8093994 w 10505529"/>
              <a:gd name="connsiteY15438" fmla="*/ 4822669 h 7458372"/>
              <a:gd name="connsiteX15439" fmla="*/ 8094926 w 10505529"/>
              <a:gd name="connsiteY15439" fmla="*/ 4817211 h 7458372"/>
              <a:gd name="connsiteX15440" fmla="*/ 8093994 w 10505529"/>
              <a:gd name="connsiteY15440" fmla="*/ 4812020 h 7458372"/>
              <a:gd name="connsiteX15441" fmla="*/ 8091332 w 10505529"/>
              <a:gd name="connsiteY15441" fmla="*/ 4807893 h 7458372"/>
              <a:gd name="connsiteX15442" fmla="*/ 8087338 w 10505529"/>
              <a:gd name="connsiteY15442" fmla="*/ 4805230 h 7458372"/>
              <a:gd name="connsiteX15443" fmla="*/ 8082281 w 10505529"/>
              <a:gd name="connsiteY15443" fmla="*/ 4804299 h 7458372"/>
              <a:gd name="connsiteX15444" fmla="*/ 7864636 w 10505529"/>
              <a:gd name="connsiteY15444" fmla="*/ 4804299 h 7458372"/>
              <a:gd name="connsiteX15445" fmla="*/ 7854652 w 10505529"/>
              <a:gd name="connsiteY15445" fmla="*/ 4807893 h 7458372"/>
              <a:gd name="connsiteX15446" fmla="*/ 7851058 w 10505529"/>
              <a:gd name="connsiteY15446" fmla="*/ 4817344 h 7458372"/>
              <a:gd name="connsiteX15447" fmla="*/ 7854652 w 10505529"/>
              <a:gd name="connsiteY15447" fmla="*/ 4826795 h 7458372"/>
              <a:gd name="connsiteX15448" fmla="*/ 7864636 w 10505529"/>
              <a:gd name="connsiteY15448" fmla="*/ 4830257 h 7458372"/>
              <a:gd name="connsiteX15449" fmla="*/ 7869961 w 10505529"/>
              <a:gd name="connsiteY15449" fmla="*/ 4829325 h 7458372"/>
              <a:gd name="connsiteX15450" fmla="*/ 7873687 w 10505529"/>
              <a:gd name="connsiteY15450" fmla="*/ 4826928 h 7458372"/>
              <a:gd name="connsiteX15451" fmla="*/ 7876350 w 10505529"/>
              <a:gd name="connsiteY15451" fmla="*/ 4822669 h 7458372"/>
              <a:gd name="connsiteX15452" fmla="*/ 7877282 w 10505529"/>
              <a:gd name="connsiteY15452" fmla="*/ 4817211 h 7458372"/>
              <a:gd name="connsiteX15453" fmla="*/ 7876350 w 10505529"/>
              <a:gd name="connsiteY15453" fmla="*/ 4812020 h 7458372"/>
              <a:gd name="connsiteX15454" fmla="*/ 7873687 w 10505529"/>
              <a:gd name="connsiteY15454" fmla="*/ 4807893 h 7458372"/>
              <a:gd name="connsiteX15455" fmla="*/ 7869694 w 10505529"/>
              <a:gd name="connsiteY15455" fmla="*/ 4805230 h 7458372"/>
              <a:gd name="connsiteX15456" fmla="*/ 7864636 w 10505529"/>
              <a:gd name="connsiteY15456" fmla="*/ 4804299 h 7458372"/>
              <a:gd name="connsiteX15457" fmla="*/ 7646991 w 10505529"/>
              <a:gd name="connsiteY15457" fmla="*/ 4804299 h 7458372"/>
              <a:gd name="connsiteX15458" fmla="*/ 7637007 w 10505529"/>
              <a:gd name="connsiteY15458" fmla="*/ 4807893 h 7458372"/>
              <a:gd name="connsiteX15459" fmla="*/ 7633413 w 10505529"/>
              <a:gd name="connsiteY15459" fmla="*/ 4817344 h 7458372"/>
              <a:gd name="connsiteX15460" fmla="*/ 7637007 w 10505529"/>
              <a:gd name="connsiteY15460" fmla="*/ 4826795 h 7458372"/>
              <a:gd name="connsiteX15461" fmla="*/ 7646991 w 10505529"/>
              <a:gd name="connsiteY15461" fmla="*/ 4830257 h 7458372"/>
              <a:gd name="connsiteX15462" fmla="*/ 7652315 w 10505529"/>
              <a:gd name="connsiteY15462" fmla="*/ 4829325 h 7458372"/>
              <a:gd name="connsiteX15463" fmla="*/ 7656042 w 10505529"/>
              <a:gd name="connsiteY15463" fmla="*/ 4826928 h 7458372"/>
              <a:gd name="connsiteX15464" fmla="*/ 7658705 w 10505529"/>
              <a:gd name="connsiteY15464" fmla="*/ 4822669 h 7458372"/>
              <a:gd name="connsiteX15465" fmla="*/ 7659769 w 10505529"/>
              <a:gd name="connsiteY15465" fmla="*/ 4817211 h 7458372"/>
              <a:gd name="connsiteX15466" fmla="*/ 7658705 w 10505529"/>
              <a:gd name="connsiteY15466" fmla="*/ 4812020 h 7458372"/>
              <a:gd name="connsiteX15467" fmla="*/ 7656042 w 10505529"/>
              <a:gd name="connsiteY15467" fmla="*/ 4807893 h 7458372"/>
              <a:gd name="connsiteX15468" fmla="*/ 7652049 w 10505529"/>
              <a:gd name="connsiteY15468" fmla="*/ 4805230 h 7458372"/>
              <a:gd name="connsiteX15469" fmla="*/ 7646991 w 10505529"/>
              <a:gd name="connsiteY15469" fmla="*/ 4804299 h 7458372"/>
              <a:gd name="connsiteX15470" fmla="*/ 7429345 w 10505529"/>
              <a:gd name="connsiteY15470" fmla="*/ 4804299 h 7458372"/>
              <a:gd name="connsiteX15471" fmla="*/ 7419361 w 10505529"/>
              <a:gd name="connsiteY15471" fmla="*/ 4807893 h 7458372"/>
              <a:gd name="connsiteX15472" fmla="*/ 7415768 w 10505529"/>
              <a:gd name="connsiteY15472" fmla="*/ 4817344 h 7458372"/>
              <a:gd name="connsiteX15473" fmla="*/ 7419361 w 10505529"/>
              <a:gd name="connsiteY15473" fmla="*/ 4826795 h 7458372"/>
              <a:gd name="connsiteX15474" fmla="*/ 7429345 w 10505529"/>
              <a:gd name="connsiteY15474" fmla="*/ 4830257 h 7458372"/>
              <a:gd name="connsiteX15475" fmla="*/ 7434670 w 10505529"/>
              <a:gd name="connsiteY15475" fmla="*/ 4829325 h 7458372"/>
              <a:gd name="connsiteX15476" fmla="*/ 7438397 w 10505529"/>
              <a:gd name="connsiteY15476" fmla="*/ 4826928 h 7458372"/>
              <a:gd name="connsiteX15477" fmla="*/ 7441059 w 10505529"/>
              <a:gd name="connsiteY15477" fmla="*/ 4822669 h 7458372"/>
              <a:gd name="connsiteX15478" fmla="*/ 7442124 w 10505529"/>
              <a:gd name="connsiteY15478" fmla="*/ 4817211 h 7458372"/>
              <a:gd name="connsiteX15479" fmla="*/ 7441059 w 10505529"/>
              <a:gd name="connsiteY15479" fmla="*/ 4812020 h 7458372"/>
              <a:gd name="connsiteX15480" fmla="*/ 7438397 w 10505529"/>
              <a:gd name="connsiteY15480" fmla="*/ 4807893 h 7458372"/>
              <a:gd name="connsiteX15481" fmla="*/ 7434403 w 10505529"/>
              <a:gd name="connsiteY15481" fmla="*/ 4805230 h 7458372"/>
              <a:gd name="connsiteX15482" fmla="*/ 7429345 w 10505529"/>
              <a:gd name="connsiteY15482" fmla="*/ 4804299 h 7458372"/>
              <a:gd name="connsiteX15483" fmla="*/ 7211701 w 10505529"/>
              <a:gd name="connsiteY15483" fmla="*/ 4804299 h 7458372"/>
              <a:gd name="connsiteX15484" fmla="*/ 7201717 w 10505529"/>
              <a:gd name="connsiteY15484" fmla="*/ 4807893 h 7458372"/>
              <a:gd name="connsiteX15485" fmla="*/ 7198123 w 10505529"/>
              <a:gd name="connsiteY15485" fmla="*/ 4817344 h 7458372"/>
              <a:gd name="connsiteX15486" fmla="*/ 7201717 w 10505529"/>
              <a:gd name="connsiteY15486" fmla="*/ 4826795 h 7458372"/>
              <a:gd name="connsiteX15487" fmla="*/ 7211701 w 10505529"/>
              <a:gd name="connsiteY15487" fmla="*/ 4830257 h 7458372"/>
              <a:gd name="connsiteX15488" fmla="*/ 7217026 w 10505529"/>
              <a:gd name="connsiteY15488" fmla="*/ 4829325 h 7458372"/>
              <a:gd name="connsiteX15489" fmla="*/ 7220752 w 10505529"/>
              <a:gd name="connsiteY15489" fmla="*/ 4826928 h 7458372"/>
              <a:gd name="connsiteX15490" fmla="*/ 7223415 w 10505529"/>
              <a:gd name="connsiteY15490" fmla="*/ 4822669 h 7458372"/>
              <a:gd name="connsiteX15491" fmla="*/ 7224480 w 10505529"/>
              <a:gd name="connsiteY15491" fmla="*/ 4817211 h 7458372"/>
              <a:gd name="connsiteX15492" fmla="*/ 7223415 w 10505529"/>
              <a:gd name="connsiteY15492" fmla="*/ 4812020 h 7458372"/>
              <a:gd name="connsiteX15493" fmla="*/ 7220752 w 10505529"/>
              <a:gd name="connsiteY15493" fmla="*/ 4807893 h 7458372"/>
              <a:gd name="connsiteX15494" fmla="*/ 7216759 w 10505529"/>
              <a:gd name="connsiteY15494" fmla="*/ 4805230 h 7458372"/>
              <a:gd name="connsiteX15495" fmla="*/ 7211701 w 10505529"/>
              <a:gd name="connsiteY15495" fmla="*/ 4804299 h 7458372"/>
              <a:gd name="connsiteX15496" fmla="*/ 6994056 w 10505529"/>
              <a:gd name="connsiteY15496" fmla="*/ 4804299 h 7458372"/>
              <a:gd name="connsiteX15497" fmla="*/ 6984072 w 10505529"/>
              <a:gd name="connsiteY15497" fmla="*/ 4807893 h 7458372"/>
              <a:gd name="connsiteX15498" fmla="*/ 6980478 w 10505529"/>
              <a:gd name="connsiteY15498" fmla="*/ 4817344 h 7458372"/>
              <a:gd name="connsiteX15499" fmla="*/ 6984072 w 10505529"/>
              <a:gd name="connsiteY15499" fmla="*/ 4826795 h 7458372"/>
              <a:gd name="connsiteX15500" fmla="*/ 6994056 w 10505529"/>
              <a:gd name="connsiteY15500" fmla="*/ 4830257 h 7458372"/>
              <a:gd name="connsiteX15501" fmla="*/ 6999380 w 10505529"/>
              <a:gd name="connsiteY15501" fmla="*/ 4829325 h 7458372"/>
              <a:gd name="connsiteX15502" fmla="*/ 7003107 w 10505529"/>
              <a:gd name="connsiteY15502" fmla="*/ 4826928 h 7458372"/>
              <a:gd name="connsiteX15503" fmla="*/ 7005769 w 10505529"/>
              <a:gd name="connsiteY15503" fmla="*/ 4822669 h 7458372"/>
              <a:gd name="connsiteX15504" fmla="*/ 7006834 w 10505529"/>
              <a:gd name="connsiteY15504" fmla="*/ 4817211 h 7458372"/>
              <a:gd name="connsiteX15505" fmla="*/ 7005769 w 10505529"/>
              <a:gd name="connsiteY15505" fmla="*/ 4812020 h 7458372"/>
              <a:gd name="connsiteX15506" fmla="*/ 7003107 w 10505529"/>
              <a:gd name="connsiteY15506" fmla="*/ 4807893 h 7458372"/>
              <a:gd name="connsiteX15507" fmla="*/ 6999113 w 10505529"/>
              <a:gd name="connsiteY15507" fmla="*/ 4805230 h 7458372"/>
              <a:gd name="connsiteX15508" fmla="*/ 6994056 w 10505529"/>
              <a:gd name="connsiteY15508" fmla="*/ 4804299 h 7458372"/>
              <a:gd name="connsiteX15509" fmla="*/ 6776544 w 10505529"/>
              <a:gd name="connsiteY15509" fmla="*/ 4804299 h 7458372"/>
              <a:gd name="connsiteX15510" fmla="*/ 6766560 w 10505529"/>
              <a:gd name="connsiteY15510" fmla="*/ 4807893 h 7458372"/>
              <a:gd name="connsiteX15511" fmla="*/ 6762966 w 10505529"/>
              <a:gd name="connsiteY15511" fmla="*/ 4817344 h 7458372"/>
              <a:gd name="connsiteX15512" fmla="*/ 6766560 w 10505529"/>
              <a:gd name="connsiteY15512" fmla="*/ 4826795 h 7458372"/>
              <a:gd name="connsiteX15513" fmla="*/ 6776544 w 10505529"/>
              <a:gd name="connsiteY15513" fmla="*/ 4830257 h 7458372"/>
              <a:gd name="connsiteX15514" fmla="*/ 6781869 w 10505529"/>
              <a:gd name="connsiteY15514" fmla="*/ 4829325 h 7458372"/>
              <a:gd name="connsiteX15515" fmla="*/ 6785595 w 10505529"/>
              <a:gd name="connsiteY15515" fmla="*/ 4826928 h 7458372"/>
              <a:gd name="connsiteX15516" fmla="*/ 6788258 w 10505529"/>
              <a:gd name="connsiteY15516" fmla="*/ 4822669 h 7458372"/>
              <a:gd name="connsiteX15517" fmla="*/ 6789323 w 10505529"/>
              <a:gd name="connsiteY15517" fmla="*/ 4817211 h 7458372"/>
              <a:gd name="connsiteX15518" fmla="*/ 6788258 w 10505529"/>
              <a:gd name="connsiteY15518" fmla="*/ 4812020 h 7458372"/>
              <a:gd name="connsiteX15519" fmla="*/ 6785595 w 10505529"/>
              <a:gd name="connsiteY15519" fmla="*/ 4807893 h 7458372"/>
              <a:gd name="connsiteX15520" fmla="*/ 6781602 w 10505529"/>
              <a:gd name="connsiteY15520" fmla="*/ 4805230 h 7458372"/>
              <a:gd name="connsiteX15521" fmla="*/ 6776544 w 10505529"/>
              <a:gd name="connsiteY15521" fmla="*/ 4804299 h 7458372"/>
              <a:gd name="connsiteX15522" fmla="*/ 6558899 w 10505529"/>
              <a:gd name="connsiteY15522" fmla="*/ 4804299 h 7458372"/>
              <a:gd name="connsiteX15523" fmla="*/ 6548915 w 10505529"/>
              <a:gd name="connsiteY15523" fmla="*/ 4807893 h 7458372"/>
              <a:gd name="connsiteX15524" fmla="*/ 6545321 w 10505529"/>
              <a:gd name="connsiteY15524" fmla="*/ 4817344 h 7458372"/>
              <a:gd name="connsiteX15525" fmla="*/ 6548915 w 10505529"/>
              <a:gd name="connsiteY15525" fmla="*/ 4826795 h 7458372"/>
              <a:gd name="connsiteX15526" fmla="*/ 6558899 w 10505529"/>
              <a:gd name="connsiteY15526" fmla="*/ 4830257 h 7458372"/>
              <a:gd name="connsiteX15527" fmla="*/ 6564223 w 10505529"/>
              <a:gd name="connsiteY15527" fmla="*/ 4829325 h 7458372"/>
              <a:gd name="connsiteX15528" fmla="*/ 6567950 w 10505529"/>
              <a:gd name="connsiteY15528" fmla="*/ 4826928 h 7458372"/>
              <a:gd name="connsiteX15529" fmla="*/ 6570612 w 10505529"/>
              <a:gd name="connsiteY15529" fmla="*/ 4822669 h 7458372"/>
              <a:gd name="connsiteX15530" fmla="*/ 6571677 w 10505529"/>
              <a:gd name="connsiteY15530" fmla="*/ 4817211 h 7458372"/>
              <a:gd name="connsiteX15531" fmla="*/ 6570612 w 10505529"/>
              <a:gd name="connsiteY15531" fmla="*/ 4812020 h 7458372"/>
              <a:gd name="connsiteX15532" fmla="*/ 6567950 w 10505529"/>
              <a:gd name="connsiteY15532" fmla="*/ 4807893 h 7458372"/>
              <a:gd name="connsiteX15533" fmla="*/ 6563956 w 10505529"/>
              <a:gd name="connsiteY15533" fmla="*/ 4805230 h 7458372"/>
              <a:gd name="connsiteX15534" fmla="*/ 6558899 w 10505529"/>
              <a:gd name="connsiteY15534" fmla="*/ 4804299 h 7458372"/>
              <a:gd name="connsiteX15535" fmla="*/ 6341253 w 10505529"/>
              <a:gd name="connsiteY15535" fmla="*/ 4804299 h 7458372"/>
              <a:gd name="connsiteX15536" fmla="*/ 6331270 w 10505529"/>
              <a:gd name="connsiteY15536" fmla="*/ 4807893 h 7458372"/>
              <a:gd name="connsiteX15537" fmla="*/ 6327675 w 10505529"/>
              <a:gd name="connsiteY15537" fmla="*/ 4817344 h 7458372"/>
              <a:gd name="connsiteX15538" fmla="*/ 6331270 w 10505529"/>
              <a:gd name="connsiteY15538" fmla="*/ 4826795 h 7458372"/>
              <a:gd name="connsiteX15539" fmla="*/ 6341253 w 10505529"/>
              <a:gd name="connsiteY15539" fmla="*/ 4830257 h 7458372"/>
              <a:gd name="connsiteX15540" fmla="*/ 6346578 w 10505529"/>
              <a:gd name="connsiteY15540" fmla="*/ 4829325 h 7458372"/>
              <a:gd name="connsiteX15541" fmla="*/ 6350305 w 10505529"/>
              <a:gd name="connsiteY15541" fmla="*/ 4826928 h 7458372"/>
              <a:gd name="connsiteX15542" fmla="*/ 6352968 w 10505529"/>
              <a:gd name="connsiteY15542" fmla="*/ 4822669 h 7458372"/>
              <a:gd name="connsiteX15543" fmla="*/ 6354033 w 10505529"/>
              <a:gd name="connsiteY15543" fmla="*/ 4817211 h 7458372"/>
              <a:gd name="connsiteX15544" fmla="*/ 6352968 w 10505529"/>
              <a:gd name="connsiteY15544" fmla="*/ 4812020 h 7458372"/>
              <a:gd name="connsiteX15545" fmla="*/ 6350305 w 10505529"/>
              <a:gd name="connsiteY15545" fmla="*/ 4807893 h 7458372"/>
              <a:gd name="connsiteX15546" fmla="*/ 6346312 w 10505529"/>
              <a:gd name="connsiteY15546" fmla="*/ 4805230 h 7458372"/>
              <a:gd name="connsiteX15547" fmla="*/ 6341253 w 10505529"/>
              <a:gd name="connsiteY15547" fmla="*/ 4804299 h 7458372"/>
              <a:gd name="connsiteX15548" fmla="*/ 6123608 w 10505529"/>
              <a:gd name="connsiteY15548" fmla="*/ 4804299 h 7458372"/>
              <a:gd name="connsiteX15549" fmla="*/ 6113624 w 10505529"/>
              <a:gd name="connsiteY15549" fmla="*/ 4807893 h 7458372"/>
              <a:gd name="connsiteX15550" fmla="*/ 6110030 w 10505529"/>
              <a:gd name="connsiteY15550" fmla="*/ 4817344 h 7458372"/>
              <a:gd name="connsiteX15551" fmla="*/ 6113624 w 10505529"/>
              <a:gd name="connsiteY15551" fmla="*/ 4826795 h 7458372"/>
              <a:gd name="connsiteX15552" fmla="*/ 6123608 w 10505529"/>
              <a:gd name="connsiteY15552" fmla="*/ 4830257 h 7458372"/>
              <a:gd name="connsiteX15553" fmla="*/ 6128932 w 10505529"/>
              <a:gd name="connsiteY15553" fmla="*/ 4829325 h 7458372"/>
              <a:gd name="connsiteX15554" fmla="*/ 6132659 w 10505529"/>
              <a:gd name="connsiteY15554" fmla="*/ 4826928 h 7458372"/>
              <a:gd name="connsiteX15555" fmla="*/ 6135322 w 10505529"/>
              <a:gd name="connsiteY15555" fmla="*/ 4822669 h 7458372"/>
              <a:gd name="connsiteX15556" fmla="*/ 6136387 w 10505529"/>
              <a:gd name="connsiteY15556" fmla="*/ 4817211 h 7458372"/>
              <a:gd name="connsiteX15557" fmla="*/ 6135322 w 10505529"/>
              <a:gd name="connsiteY15557" fmla="*/ 4812020 h 7458372"/>
              <a:gd name="connsiteX15558" fmla="*/ 6132659 w 10505529"/>
              <a:gd name="connsiteY15558" fmla="*/ 4807893 h 7458372"/>
              <a:gd name="connsiteX15559" fmla="*/ 6128666 w 10505529"/>
              <a:gd name="connsiteY15559" fmla="*/ 4805230 h 7458372"/>
              <a:gd name="connsiteX15560" fmla="*/ 6123608 w 10505529"/>
              <a:gd name="connsiteY15560" fmla="*/ 4804299 h 7458372"/>
              <a:gd name="connsiteX15561" fmla="*/ 5905963 w 10505529"/>
              <a:gd name="connsiteY15561" fmla="*/ 4804299 h 7458372"/>
              <a:gd name="connsiteX15562" fmla="*/ 5895979 w 10505529"/>
              <a:gd name="connsiteY15562" fmla="*/ 4807893 h 7458372"/>
              <a:gd name="connsiteX15563" fmla="*/ 5892385 w 10505529"/>
              <a:gd name="connsiteY15563" fmla="*/ 4817344 h 7458372"/>
              <a:gd name="connsiteX15564" fmla="*/ 5895979 w 10505529"/>
              <a:gd name="connsiteY15564" fmla="*/ 4826795 h 7458372"/>
              <a:gd name="connsiteX15565" fmla="*/ 5905963 w 10505529"/>
              <a:gd name="connsiteY15565" fmla="*/ 4830257 h 7458372"/>
              <a:gd name="connsiteX15566" fmla="*/ 5911287 w 10505529"/>
              <a:gd name="connsiteY15566" fmla="*/ 4829325 h 7458372"/>
              <a:gd name="connsiteX15567" fmla="*/ 5915014 w 10505529"/>
              <a:gd name="connsiteY15567" fmla="*/ 4826928 h 7458372"/>
              <a:gd name="connsiteX15568" fmla="*/ 5917677 w 10505529"/>
              <a:gd name="connsiteY15568" fmla="*/ 4822669 h 7458372"/>
              <a:gd name="connsiteX15569" fmla="*/ 5918742 w 10505529"/>
              <a:gd name="connsiteY15569" fmla="*/ 4817211 h 7458372"/>
              <a:gd name="connsiteX15570" fmla="*/ 5917677 w 10505529"/>
              <a:gd name="connsiteY15570" fmla="*/ 4812020 h 7458372"/>
              <a:gd name="connsiteX15571" fmla="*/ 5915014 w 10505529"/>
              <a:gd name="connsiteY15571" fmla="*/ 4807893 h 7458372"/>
              <a:gd name="connsiteX15572" fmla="*/ 5911021 w 10505529"/>
              <a:gd name="connsiteY15572" fmla="*/ 4805230 h 7458372"/>
              <a:gd name="connsiteX15573" fmla="*/ 5905963 w 10505529"/>
              <a:gd name="connsiteY15573" fmla="*/ 4804299 h 7458372"/>
              <a:gd name="connsiteX15574" fmla="*/ 5688451 w 10505529"/>
              <a:gd name="connsiteY15574" fmla="*/ 4804299 h 7458372"/>
              <a:gd name="connsiteX15575" fmla="*/ 5678467 w 10505529"/>
              <a:gd name="connsiteY15575" fmla="*/ 4807893 h 7458372"/>
              <a:gd name="connsiteX15576" fmla="*/ 5674873 w 10505529"/>
              <a:gd name="connsiteY15576" fmla="*/ 4817344 h 7458372"/>
              <a:gd name="connsiteX15577" fmla="*/ 5678467 w 10505529"/>
              <a:gd name="connsiteY15577" fmla="*/ 4826795 h 7458372"/>
              <a:gd name="connsiteX15578" fmla="*/ 5688451 w 10505529"/>
              <a:gd name="connsiteY15578" fmla="*/ 4830257 h 7458372"/>
              <a:gd name="connsiteX15579" fmla="*/ 5693775 w 10505529"/>
              <a:gd name="connsiteY15579" fmla="*/ 4829325 h 7458372"/>
              <a:gd name="connsiteX15580" fmla="*/ 5697502 w 10505529"/>
              <a:gd name="connsiteY15580" fmla="*/ 4826928 h 7458372"/>
              <a:gd name="connsiteX15581" fmla="*/ 5700165 w 10505529"/>
              <a:gd name="connsiteY15581" fmla="*/ 4822669 h 7458372"/>
              <a:gd name="connsiteX15582" fmla="*/ 5701230 w 10505529"/>
              <a:gd name="connsiteY15582" fmla="*/ 4817211 h 7458372"/>
              <a:gd name="connsiteX15583" fmla="*/ 5700165 w 10505529"/>
              <a:gd name="connsiteY15583" fmla="*/ 4812020 h 7458372"/>
              <a:gd name="connsiteX15584" fmla="*/ 5697502 w 10505529"/>
              <a:gd name="connsiteY15584" fmla="*/ 4807893 h 7458372"/>
              <a:gd name="connsiteX15585" fmla="*/ 5693509 w 10505529"/>
              <a:gd name="connsiteY15585" fmla="*/ 4805230 h 7458372"/>
              <a:gd name="connsiteX15586" fmla="*/ 5688451 w 10505529"/>
              <a:gd name="connsiteY15586" fmla="*/ 4804299 h 7458372"/>
              <a:gd name="connsiteX15587" fmla="*/ 5470806 w 10505529"/>
              <a:gd name="connsiteY15587" fmla="*/ 4804299 h 7458372"/>
              <a:gd name="connsiteX15588" fmla="*/ 5460822 w 10505529"/>
              <a:gd name="connsiteY15588" fmla="*/ 4807893 h 7458372"/>
              <a:gd name="connsiteX15589" fmla="*/ 5457228 w 10505529"/>
              <a:gd name="connsiteY15589" fmla="*/ 4817344 h 7458372"/>
              <a:gd name="connsiteX15590" fmla="*/ 5460822 w 10505529"/>
              <a:gd name="connsiteY15590" fmla="*/ 4826795 h 7458372"/>
              <a:gd name="connsiteX15591" fmla="*/ 5470806 w 10505529"/>
              <a:gd name="connsiteY15591" fmla="*/ 4830257 h 7458372"/>
              <a:gd name="connsiteX15592" fmla="*/ 5476130 w 10505529"/>
              <a:gd name="connsiteY15592" fmla="*/ 4829325 h 7458372"/>
              <a:gd name="connsiteX15593" fmla="*/ 5479857 w 10505529"/>
              <a:gd name="connsiteY15593" fmla="*/ 4826928 h 7458372"/>
              <a:gd name="connsiteX15594" fmla="*/ 5482520 w 10505529"/>
              <a:gd name="connsiteY15594" fmla="*/ 4822669 h 7458372"/>
              <a:gd name="connsiteX15595" fmla="*/ 5483585 w 10505529"/>
              <a:gd name="connsiteY15595" fmla="*/ 4817211 h 7458372"/>
              <a:gd name="connsiteX15596" fmla="*/ 5482520 w 10505529"/>
              <a:gd name="connsiteY15596" fmla="*/ 4812020 h 7458372"/>
              <a:gd name="connsiteX15597" fmla="*/ 5479857 w 10505529"/>
              <a:gd name="connsiteY15597" fmla="*/ 4807893 h 7458372"/>
              <a:gd name="connsiteX15598" fmla="*/ 5475864 w 10505529"/>
              <a:gd name="connsiteY15598" fmla="*/ 4805230 h 7458372"/>
              <a:gd name="connsiteX15599" fmla="*/ 5470806 w 10505529"/>
              <a:gd name="connsiteY15599" fmla="*/ 4804299 h 7458372"/>
              <a:gd name="connsiteX15600" fmla="*/ 5253160 w 10505529"/>
              <a:gd name="connsiteY15600" fmla="*/ 4804299 h 7458372"/>
              <a:gd name="connsiteX15601" fmla="*/ 5243177 w 10505529"/>
              <a:gd name="connsiteY15601" fmla="*/ 4807893 h 7458372"/>
              <a:gd name="connsiteX15602" fmla="*/ 5239583 w 10505529"/>
              <a:gd name="connsiteY15602" fmla="*/ 4817344 h 7458372"/>
              <a:gd name="connsiteX15603" fmla="*/ 5243177 w 10505529"/>
              <a:gd name="connsiteY15603" fmla="*/ 4826795 h 7458372"/>
              <a:gd name="connsiteX15604" fmla="*/ 5253160 w 10505529"/>
              <a:gd name="connsiteY15604" fmla="*/ 4830257 h 7458372"/>
              <a:gd name="connsiteX15605" fmla="*/ 5258485 w 10505529"/>
              <a:gd name="connsiteY15605" fmla="*/ 4829325 h 7458372"/>
              <a:gd name="connsiteX15606" fmla="*/ 5262212 w 10505529"/>
              <a:gd name="connsiteY15606" fmla="*/ 4826928 h 7458372"/>
              <a:gd name="connsiteX15607" fmla="*/ 5264875 w 10505529"/>
              <a:gd name="connsiteY15607" fmla="*/ 4822669 h 7458372"/>
              <a:gd name="connsiteX15608" fmla="*/ 5265939 w 10505529"/>
              <a:gd name="connsiteY15608" fmla="*/ 4817211 h 7458372"/>
              <a:gd name="connsiteX15609" fmla="*/ 5264875 w 10505529"/>
              <a:gd name="connsiteY15609" fmla="*/ 4812020 h 7458372"/>
              <a:gd name="connsiteX15610" fmla="*/ 5262212 w 10505529"/>
              <a:gd name="connsiteY15610" fmla="*/ 4807893 h 7458372"/>
              <a:gd name="connsiteX15611" fmla="*/ 5258219 w 10505529"/>
              <a:gd name="connsiteY15611" fmla="*/ 4805230 h 7458372"/>
              <a:gd name="connsiteX15612" fmla="*/ 5253160 w 10505529"/>
              <a:gd name="connsiteY15612" fmla="*/ 4804299 h 7458372"/>
              <a:gd name="connsiteX15613" fmla="*/ 5035515 w 10505529"/>
              <a:gd name="connsiteY15613" fmla="*/ 4804299 h 7458372"/>
              <a:gd name="connsiteX15614" fmla="*/ 5025532 w 10505529"/>
              <a:gd name="connsiteY15614" fmla="*/ 4807893 h 7458372"/>
              <a:gd name="connsiteX15615" fmla="*/ 5021938 w 10505529"/>
              <a:gd name="connsiteY15615" fmla="*/ 4817344 h 7458372"/>
              <a:gd name="connsiteX15616" fmla="*/ 5025532 w 10505529"/>
              <a:gd name="connsiteY15616" fmla="*/ 4826795 h 7458372"/>
              <a:gd name="connsiteX15617" fmla="*/ 5035515 w 10505529"/>
              <a:gd name="connsiteY15617" fmla="*/ 4830257 h 7458372"/>
              <a:gd name="connsiteX15618" fmla="*/ 5040840 w 10505529"/>
              <a:gd name="connsiteY15618" fmla="*/ 4829325 h 7458372"/>
              <a:gd name="connsiteX15619" fmla="*/ 5044567 w 10505529"/>
              <a:gd name="connsiteY15619" fmla="*/ 4826928 h 7458372"/>
              <a:gd name="connsiteX15620" fmla="*/ 5047230 w 10505529"/>
              <a:gd name="connsiteY15620" fmla="*/ 4822669 h 7458372"/>
              <a:gd name="connsiteX15621" fmla="*/ 5048294 w 10505529"/>
              <a:gd name="connsiteY15621" fmla="*/ 4817211 h 7458372"/>
              <a:gd name="connsiteX15622" fmla="*/ 5047230 w 10505529"/>
              <a:gd name="connsiteY15622" fmla="*/ 4812020 h 7458372"/>
              <a:gd name="connsiteX15623" fmla="*/ 5044567 w 10505529"/>
              <a:gd name="connsiteY15623" fmla="*/ 4807893 h 7458372"/>
              <a:gd name="connsiteX15624" fmla="*/ 5040574 w 10505529"/>
              <a:gd name="connsiteY15624" fmla="*/ 4805230 h 7458372"/>
              <a:gd name="connsiteX15625" fmla="*/ 5035515 w 10505529"/>
              <a:gd name="connsiteY15625" fmla="*/ 4804299 h 7458372"/>
              <a:gd name="connsiteX15626" fmla="*/ 4817870 w 10505529"/>
              <a:gd name="connsiteY15626" fmla="*/ 4804299 h 7458372"/>
              <a:gd name="connsiteX15627" fmla="*/ 4807887 w 10505529"/>
              <a:gd name="connsiteY15627" fmla="*/ 4807893 h 7458372"/>
              <a:gd name="connsiteX15628" fmla="*/ 4804293 w 10505529"/>
              <a:gd name="connsiteY15628" fmla="*/ 4817344 h 7458372"/>
              <a:gd name="connsiteX15629" fmla="*/ 4807887 w 10505529"/>
              <a:gd name="connsiteY15629" fmla="*/ 4826795 h 7458372"/>
              <a:gd name="connsiteX15630" fmla="*/ 4817870 w 10505529"/>
              <a:gd name="connsiteY15630" fmla="*/ 4830257 h 7458372"/>
              <a:gd name="connsiteX15631" fmla="*/ 4823195 w 10505529"/>
              <a:gd name="connsiteY15631" fmla="*/ 4829325 h 7458372"/>
              <a:gd name="connsiteX15632" fmla="*/ 4826922 w 10505529"/>
              <a:gd name="connsiteY15632" fmla="*/ 4826928 h 7458372"/>
              <a:gd name="connsiteX15633" fmla="*/ 4829585 w 10505529"/>
              <a:gd name="connsiteY15633" fmla="*/ 4822669 h 7458372"/>
              <a:gd name="connsiteX15634" fmla="*/ 4830650 w 10505529"/>
              <a:gd name="connsiteY15634" fmla="*/ 4817211 h 7458372"/>
              <a:gd name="connsiteX15635" fmla="*/ 4829585 w 10505529"/>
              <a:gd name="connsiteY15635" fmla="*/ 4812020 h 7458372"/>
              <a:gd name="connsiteX15636" fmla="*/ 4826922 w 10505529"/>
              <a:gd name="connsiteY15636" fmla="*/ 4807893 h 7458372"/>
              <a:gd name="connsiteX15637" fmla="*/ 4822929 w 10505529"/>
              <a:gd name="connsiteY15637" fmla="*/ 4805230 h 7458372"/>
              <a:gd name="connsiteX15638" fmla="*/ 4817870 w 10505529"/>
              <a:gd name="connsiteY15638" fmla="*/ 4804299 h 7458372"/>
              <a:gd name="connsiteX15639" fmla="*/ 4600226 w 10505529"/>
              <a:gd name="connsiteY15639" fmla="*/ 4804299 h 7458372"/>
              <a:gd name="connsiteX15640" fmla="*/ 4590242 w 10505529"/>
              <a:gd name="connsiteY15640" fmla="*/ 4807893 h 7458372"/>
              <a:gd name="connsiteX15641" fmla="*/ 4586648 w 10505529"/>
              <a:gd name="connsiteY15641" fmla="*/ 4817344 h 7458372"/>
              <a:gd name="connsiteX15642" fmla="*/ 4590242 w 10505529"/>
              <a:gd name="connsiteY15642" fmla="*/ 4826795 h 7458372"/>
              <a:gd name="connsiteX15643" fmla="*/ 4600226 w 10505529"/>
              <a:gd name="connsiteY15643" fmla="*/ 4830257 h 7458372"/>
              <a:gd name="connsiteX15644" fmla="*/ 4605550 w 10505529"/>
              <a:gd name="connsiteY15644" fmla="*/ 4829325 h 7458372"/>
              <a:gd name="connsiteX15645" fmla="*/ 4609277 w 10505529"/>
              <a:gd name="connsiteY15645" fmla="*/ 4826928 h 7458372"/>
              <a:gd name="connsiteX15646" fmla="*/ 4611940 w 10505529"/>
              <a:gd name="connsiteY15646" fmla="*/ 4822669 h 7458372"/>
              <a:gd name="connsiteX15647" fmla="*/ 4613005 w 10505529"/>
              <a:gd name="connsiteY15647" fmla="*/ 4817211 h 7458372"/>
              <a:gd name="connsiteX15648" fmla="*/ 4611940 w 10505529"/>
              <a:gd name="connsiteY15648" fmla="*/ 4812020 h 7458372"/>
              <a:gd name="connsiteX15649" fmla="*/ 4609277 w 10505529"/>
              <a:gd name="connsiteY15649" fmla="*/ 4807893 h 7458372"/>
              <a:gd name="connsiteX15650" fmla="*/ 4605284 w 10505529"/>
              <a:gd name="connsiteY15650" fmla="*/ 4805230 h 7458372"/>
              <a:gd name="connsiteX15651" fmla="*/ 4600226 w 10505529"/>
              <a:gd name="connsiteY15651" fmla="*/ 4804299 h 7458372"/>
              <a:gd name="connsiteX15652" fmla="*/ 4382713 w 10505529"/>
              <a:gd name="connsiteY15652" fmla="*/ 4804299 h 7458372"/>
              <a:gd name="connsiteX15653" fmla="*/ 4372730 w 10505529"/>
              <a:gd name="connsiteY15653" fmla="*/ 4807893 h 7458372"/>
              <a:gd name="connsiteX15654" fmla="*/ 4369136 w 10505529"/>
              <a:gd name="connsiteY15654" fmla="*/ 4817344 h 7458372"/>
              <a:gd name="connsiteX15655" fmla="*/ 4372730 w 10505529"/>
              <a:gd name="connsiteY15655" fmla="*/ 4826795 h 7458372"/>
              <a:gd name="connsiteX15656" fmla="*/ 4382713 w 10505529"/>
              <a:gd name="connsiteY15656" fmla="*/ 4830257 h 7458372"/>
              <a:gd name="connsiteX15657" fmla="*/ 4388038 w 10505529"/>
              <a:gd name="connsiteY15657" fmla="*/ 4829325 h 7458372"/>
              <a:gd name="connsiteX15658" fmla="*/ 4391765 w 10505529"/>
              <a:gd name="connsiteY15658" fmla="*/ 4826928 h 7458372"/>
              <a:gd name="connsiteX15659" fmla="*/ 4394428 w 10505529"/>
              <a:gd name="connsiteY15659" fmla="*/ 4822669 h 7458372"/>
              <a:gd name="connsiteX15660" fmla="*/ 4395493 w 10505529"/>
              <a:gd name="connsiteY15660" fmla="*/ 4817211 h 7458372"/>
              <a:gd name="connsiteX15661" fmla="*/ 4394428 w 10505529"/>
              <a:gd name="connsiteY15661" fmla="*/ 4812020 h 7458372"/>
              <a:gd name="connsiteX15662" fmla="*/ 4391765 w 10505529"/>
              <a:gd name="connsiteY15662" fmla="*/ 4807893 h 7458372"/>
              <a:gd name="connsiteX15663" fmla="*/ 4387772 w 10505529"/>
              <a:gd name="connsiteY15663" fmla="*/ 4805230 h 7458372"/>
              <a:gd name="connsiteX15664" fmla="*/ 4382713 w 10505529"/>
              <a:gd name="connsiteY15664" fmla="*/ 4804299 h 7458372"/>
              <a:gd name="connsiteX15665" fmla="*/ 4165068 w 10505529"/>
              <a:gd name="connsiteY15665" fmla="*/ 4804299 h 7458372"/>
              <a:gd name="connsiteX15666" fmla="*/ 4155084 w 10505529"/>
              <a:gd name="connsiteY15666" fmla="*/ 4807893 h 7458372"/>
              <a:gd name="connsiteX15667" fmla="*/ 4151490 w 10505529"/>
              <a:gd name="connsiteY15667" fmla="*/ 4817344 h 7458372"/>
              <a:gd name="connsiteX15668" fmla="*/ 4155084 w 10505529"/>
              <a:gd name="connsiteY15668" fmla="*/ 4826795 h 7458372"/>
              <a:gd name="connsiteX15669" fmla="*/ 4165068 w 10505529"/>
              <a:gd name="connsiteY15669" fmla="*/ 4830257 h 7458372"/>
              <a:gd name="connsiteX15670" fmla="*/ 4170392 w 10505529"/>
              <a:gd name="connsiteY15670" fmla="*/ 4829325 h 7458372"/>
              <a:gd name="connsiteX15671" fmla="*/ 4174119 w 10505529"/>
              <a:gd name="connsiteY15671" fmla="*/ 4826928 h 7458372"/>
              <a:gd name="connsiteX15672" fmla="*/ 4176782 w 10505529"/>
              <a:gd name="connsiteY15672" fmla="*/ 4822669 h 7458372"/>
              <a:gd name="connsiteX15673" fmla="*/ 4177847 w 10505529"/>
              <a:gd name="connsiteY15673" fmla="*/ 4817211 h 7458372"/>
              <a:gd name="connsiteX15674" fmla="*/ 4176782 w 10505529"/>
              <a:gd name="connsiteY15674" fmla="*/ 4812020 h 7458372"/>
              <a:gd name="connsiteX15675" fmla="*/ 4174119 w 10505529"/>
              <a:gd name="connsiteY15675" fmla="*/ 4807893 h 7458372"/>
              <a:gd name="connsiteX15676" fmla="*/ 4170126 w 10505529"/>
              <a:gd name="connsiteY15676" fmla="*/ 4805230 h 7458372"/>
              <a:gd name="connsiteX15677" fmla="*/ 4165068 w 10505529"/>
              <a:gd name="connsiteY15677" fmla="*/ 4804299 h 7458372"/>
              <a:gd name="connsiteX15678" fmla="*/ 3947686 w 10505529"/>
              <a:gd name="connsiteY15678" fmla="*/ 4804299 h 7458372"/>
              <a:gd name="connsiteX15679" fmla="*/ 3937703 w 10505529"/>
              <a:gd name="connsiteY15679" fmla="*/ 4807893 h 7458372"/>
              <a:gd name="connsiteX15680" fmla="*/ 3934108 w 10505529"/>
              <a:gd name="connsiteY15680" fmla="*/ 4817344 h 7458372"/>
              <a:gd name="connsiteX15681" fmla="*/ 3937703 w 10505529"/>
              <a:gd name="connsiteY15681" fmla="*/ 4826795 h 7458372"/>
              <a:gd name="connsiteX15682" fmla="*/ 3947686 w 10505529"/>
              <a:gd name="connsiteY15682" fmla="*/ 4830257 h 7458372"/>
              <a:gd name="connsiteX15683" fmla="*/ 3953014 w 10505529"/>
              <a:gd name="connsiteY15683" fmla="*/ 4829325 h 7458372"/>
              <a:gd name="connsiteX15684" fmla="*/ 3956741 w 10505529"/>
              <a:gd name="connsiteY15684" fmla="*/ 4826928 h 7458372"/>
              <a:gd name="connsiteX15685" fmla="*/ 3959404 w 10505529"/>
              <a:gd name="connsiteY15685" fmla="*/ 4822669 h 7458372"/>
              <a:gd name="connsiteX15686" fmla="*/ 3960469 w 10505529"/>
              <a:gd name="connsiteY15686" fmla="*/ 4817211 h 7458372"/>
              <a:gd name="connsiteX15687" fmla="*/ 3959404 w 10505529"/>
              <a:gd name="connsiteY15687" fmla="*/ 4812020 h 7458372"/>
              <a:gd name="connsiteX15688" fmla="*/ 3956741 w 10505529"/>
              <a:gd name="connsiteY15688" fmla="*/ 4807893 h 7458372"/>
              <a:gd name="connsiteX15689" fmla="*/ 3952747 w 10505529"/>
              <a:gd name="connsiteY15689" fmla="*/ 4805230 h 7458372"/>
              <a:gd name="connsiteX15690" fmla="*/ 3947686 w 10505529"/>
              <a:gd name="connsiteY15690" fmla="*/ 4804299 h 7458372"/>
              <a:gd name="connsiteX15691" fmla="*/ 3730029 w 10505529"/>
              <a:gd name="connsiteY15691" fmla="*/ 4804299 h 7458372"/>
              <a:gd name="connsiteX15692" fmla="*/ 3720042 w 10505529"/>
              <a:gd name="connsiteY15692" fmla="*/ 4807893 h 7458372"/>
              <a:gd name="connsiteX15693" fmla="*/ 3716450 w 10505529"/>
              <a:gd name="connsiteY15693" fmla="*/ 4817344 h 7458372"/>
              <a:gd name="connsiteX15694" fmla="*/ 3720042 w 10505529"/>
              <a:gd name="connsiteY15694" fmla="*/ 4826795 h 7458372"/>
              <a:gd name="connsiteX15695" fmla="*/ 3730029 w 10505529"/>
              <a:gd name="connsiteY15695" fmla="*/ 4830257 h 7458372"/>
              <a:gd name="connsiteX15696" fmla="*/ 3735354 w 10505529"/>
              <a:gd name="connsiteY15696" fmla="*/ 4829325 h 7458372"/>
              <a:gd name="connsiteX15697" fmla="*/ 3739081 w 10505529"/>
              <a:gd name="connsiteY15697" fmla="*/ 4826928 h 7458372"/>
              <a:gd name="connsiteX15698" fmla="*/ 3741745 w 10505529"/>
              <a:gd name="connsiteY15698" fmla="*/ 4822669 h 7458372"/>
              <a:gd name="connsiteX15699" fmla="*/ 3742809 w 10505529"/>
              <a:gd name="connsiteY15699" fmla="*/ 4817211 h 7458372"/>
              <a:gd name="connsiteX15700" fmla="*/ 3741745 w 10505529"/>
              <a:gd name="connsiteY15700" fmla="*/ 4812020 h 7458372"/>
              <a:gd name="connsiteX15701" fmla="*/ 3739081 w 10505529"/>
              <a:gd name="connsiteY15701" fmla="*/ 4807893 h 7458372"/>
              <a:gd name="connsiteX15702" fmla="*/ 3735088 w 10505529"/>
              <a:gd name="connsiteY15702" fmla="*/ 4805230 h 7458372"/>
              <a:gd name="connsiteX15703" fmla="*/ 3730029 w 10505529"/>
              <a:gd name="connsiteY15703" fmla="*/ 4804299 h 7458372"/>
              <a:gd name="connsiteX15704" fmla="*/ 3512370 w 10505529"/>
              <a:gd name="connsiteY15704" fmla="*/ 4804299 h 7458372"/>
              <a:gd name="connsiteX15705" fmla="*/ 3502382 w 10505529"/>
              <a:gd name="connsiteY15705" fmla="*/ 4807893 h 7458372"/>
              <a:gd name="connsiteX15706" fmla="*/ 3498789 w 10505529"/>
              <a:gd name="connsiteY15706" fmla="*/ 4817344 h 7458372"/>
              <a:gd name="connsiteX15707" fmla="*/ 3502382 w 10505529"/>
              <a:gd name="connsiteY15707" fmla="*/ 4826795 h 7458372"/>
              <a:gd name="connsiteX15708" fmla="*/ 3512370 w 10505529"/>
              <a:gd name="connsiteY15708" fmla="*/ 4830257 h 7458372"/>
              <a:gd name="connsiteX15709" fmla="*/ 3517695 w 10505529"/>
              <a:gd name="connsiteY15709" fmla="*/ 4829325 h 7458372"/>
              <a:gd name="connsiteX15710" fmla="*/ 3521423 w 10505529"/>
              <a:gd name="connsiteY15710" fmla="*/ 4826928 h 7458372"/>
              <a:gd name="connsiteX15711" fmla="*/ 3524086 w 10505529"/>
              <a:gd name="connsiteY15711" fmla="*/ 4822669 h 7458372"/>
              <a:gd name="connsiteX15712" fmla="*/ 3525151 w 10505529"/>
              <a:gd name="connsiteY15712" fmla="*/ 4817211 h 7458372"/>
              <a:gd name="connsiteX15713" fmla="*/ 3524086 w 10505529"/>
              <a:gd name="connsiteY15713" fmla="*/ 4812020 h 7458372"/>
              <a:gd name="connsiteX15714" fmla="*/ 3521423 w 10505529"/>
              <a:gd name="connsiteY15714" fmla="*/ 4807893 h 7458372"/>
              <a:gd name="connsiteX15715" fmla="*/ 3517430 w 10505529"/>
              <a:gd name="connsiteY15715" fmla="*/ 4805230 h 7458372"/>
              <a:gd name="connsiteX15716" fmla="*/ 3512370 w 10505529"/>
              <a:gd name="connsiteY15716" fmla="*/ 4804299 h 7458372"/>
              <a:gd name="connsiteX15717" fmla="*/ 3294845 w 10505529"/>
              <a:gd name="connsiteY15717" fmla="*/ 4804299 h 7458372"/>
              <a:gd name="connsiteX15718" fmla="*/ 3284859 w 10505529"/>
              <a:gd name="connsiteY15718" fmla="*/ 4807893 h 7458372"/>
              <a:gd name="connsiteX15719" fmla="*/ 3281264 w 10505529"/>
              <a:gd name="connsiteY15719" fmla="*/ 4817344 h 7458372"/>
              <a:gd name="connsiteX15720" fmla="*/ 3284859 w 10505529"/>
              <a:gd name="connsiteY15720" fmla="*/ 4826795 h 7458372"/>
              <a:gd name="connsiteX15721" fmla="*/ 3294845 w 10505529"/>
              <a:gd name="connsiteY15721" fmla="*/ 4830257 h 7458372"/>
              <a:gd name="connsiteX15722" fmla="*/ 3300170 w 10505529"/>
              <a:gd name="connsiteY15722" fmla="*/ 4829325 h 7458372"/>
              <a:gd name="connsiteX15723" fmla="*/ 3303897 w 10505529"/>
              <a:gd name="connsiteY15723" fmla="*/ 4826928 h 7458372"/>
              <a:gd name="connsiteX15724" fmla="*/ 3306560 w 10505529"/>
              <a:gd name="connsiteY15724" fmla="*/ 4822669 h 7458372"/>
              <a:gd name="connsiteX15725" fmla="*/ 3307624 w 10505529"/>
              <a:gd name="connsiteY15725" fmla="*/ 4817211 h 7458372"/>
              <a:gd name="connsiteX15726" fmla="*/ 3306560 w 10505529"/>
              <a:gd name="connsiteY15726" fmla="*/ 4812020 h 7458372"/>
              <a:gd name="connsiteX15727" fmla="*/ 3303897 w 10505529"/>
              <a:gd name="connsiteY15727" fmla="*/ 4807893 h 7458372"/>
              <a:gd name="connsiteX15728" fmla="*/ 3299904 w 10505529"/>
              <a:gd name="connsiteY15728" fmla="*/ 4805230 h 7458372"/>
              <a:gd name="connsiteX15729" fmla="*/ 3294845 w 10505529"/>
              <a:gd name="connsiteY15729" fmla="*/ 4804299 h 7458372"/>
              <a:gd name="connsiteX15730" fmla="*/ 3077319 w 10505529"/>
              <a:gd name="connsiteY15730" fmla="*/ 4804299 h 7458372"/>
              <a:gd name="connsiteX15731" fmla="*/ 3067336 w 10505529"/>
              <a:gd name="connsiteY15731" fmla="*/ 4807893 h 7458372"/>
              <a:gd name="connsiteX15732" fmla="*/ 3063605 w 10505529"/>
              <a:gd name="connsiteY15732" fmla="*/ 4817344 h 7458372"/>
              <a:gd name="connsiteX15733" fmla="*/ 3067201 w 10505529"/>
              <a:gd name="connsiteY15733" fmla="*/ 4826795 h 7458372"/>
              <a:gd name="connsiteX15734" fmla="*/ 3077186 w 10505529"/>
              <a:gd name="connsiteY15734" fmla="*/ 4830257 h 7458372"/>
              <a:gd name="connsiteX15735" fmla="*/ 3082644 w 10505529"/>
              <a:gd name="connsiteY15735" fmla="*/ 4829325 h 7458372"/>
              <a:gd name="connsiteX15736" fmla="*/ 3086371 w 10505529"/>
              <a:gd name="connsiteY15736" fmla="*/ 4826928 h 7458372"/>
              <a:gd name="connsiteX15737" fmla="*/ 3089034 w 10505529"/>
              <a:gd name="connsiteY15737" fmla="*/ 4822669 h 7458372"/>
              <a:gd name="connsiteX15738" fmla="*/ 3089966 w 10505529"/>
              <a:gd name="connsiteY15738" fmla="*/ 4817211 h 7458372"/>
              <a:gd name="connsiteX15739" fmla="*/ 3089034 w 10505529"/>
              <a:gd name="connsiteY15739" fmla="*/ 4812020 h 7458372"/>
              <a:gd name="connsiteX15740" fmla="*/ 3086371 w 10505529"/>
              <a:gd name="connsiteY15740" fmla="*/ 4807893 h 7458372"/>
              <a:gd name="connsiteX15741" fmla="*/ 3082378 w 10505529"/>
              <a:gd name="connsiteY15741" fmla="*/ 4805230 h 7458372"/>
              <a:gd name="connsiteX15742" fmla="*/ 3077319 w 10505529"/>
              <a:gd name="connsiteY15742" fmla="*/ 4804299 h 7458372"/>
              <a:gd name="connsiteX15743" fmla="*/ 2859527 w 10505529"/>
              <a:gd name="connsiteY15743" fmla="*/ 4804299 h 7458372"/>
              <a:gd name="connsiteX15744" fmla="*/ 2849541 w 10505529"/>
              <a:gd name="connsiteY15744" fmla="*/ 4807893 h 7458372"/>
              <a:gd name="connsiteX15745" fmla="*/ 2845944 w 10505529"/>
              <a:gd name="connsiteY15745" fmla="*/ 4817344 h 7458372"/>
              <a:gd name="connsiteX15746" fmla="*/ 2849541 w 10505529"/>
              <a:gd name="connsiteY15746" fmla="*/ 4826795 h 7458372"/>
              <a:gd name="connsiteX15747" fmla="*/ 2859527 w 10505529"/>
              <a:gd name="connsiteY15747" fmla="*/ 4830257 h 7458372"/>
              <a:gd name="connsiteX15748" fmla="*/ 2864852 w 10505529"/>
              <a:gd name="connsiteY15748" fmla="*/ 4829325 h 7458372"/>
              <a:gd name="connsiteX15749" fmla="*/ 2868579 w 10505529"/>
              <a:gd name="connsiteY15749" fmla="*/ 4826928 h 7458372"/>
              <a:gd name="connsiteX15750" fmla="*/ 2871242 w 10505529"/>
              <a:gd name="connsiteY15750" fmla="*/ 4822669 h 7458372"/>
              <a:gd name="connsiteX15751" fmla="*/ 2872173 w 10505529"/>
              <a:gd name="connsiteY15751" fmla="*/ 4817211 h 7458372"/>
              <a:gd name="connsiteX15752" fmla="*/ 2871242 w 10505529"/>
              <a:gd name="connsiteY15752" fmla="*/ 4812020 h 7458372"/>
              <a:gd name="connsiteX15753" fmla="*/ 2868579 w 10505529"/>
              <a:gd name="connsiteY15753" fmla="*/ 4807893 h 7458372"/>
              <a:gd name="connsiteX15754" fmla="*/ 2864587 w 10505529"/>
              <a:gd name="connsiteY15754" fmla="*/ 4805230 h 7458372"/>
              <a:gd name="connsiteX15755" fmla="*/ 2859527 w 10505529"/>
              <a:gd name="connsiteY15755" fmla="*/ 4804299 h 7458372"/>
              <a:gd name="connsiteX15756" fmla="*/ 2641868 w 10505529"/>
              <a:gd name="connsiteY15756" fmla="*/ 4804299 h 7458372"/>
              <a:gd name="connsiteX15757" fmla="*/ 2631885 w 10505529"/>
              <a:gd name="connsiteY15757" fmla="*/ 4807893 h 7458372"/>
              <a:gd name="connsiteX15758" fmla="*/ 2628290 w 10505529"/>
              <a:gd name="connsiteY15758" fmla="*/ 4817344 h 7458372"/>
              <a:gd name="connsiteX15759" fmla="*/ 2631885 w 10505529"/>
              <a:gd name="connsiteY15759" fmla="*/ 4826795 h 7458372"/>
              <a:gd name="connsiteX15760" fmla="*/ 2641868 w 10505529"/>
              <a:gd name="connsiteY15760" fmla="*/ 4830257 h 7458372"/>
              <a:gd name="connsiteX15761" fmla="*/ 2647194 w 10505529"/>
              <a:gd name="connsiteY15761" fmla="*/ 4829325 h 7458372"/>
              <a:gd name="connsiteX15762" fmla="*/ 2650920 w 10505529"/>
              <a:gd name="connsiteY15762" fmla="*/ 4826928 h 7458372"/>
              <a:gd name="connsiteX15763" fmla="*/ 2653584 w 10505529"/>
              <a:gd name="connsiteY15763" fmla="*/ 4822669 h 7458372"/>
              <a:gd name="connsiteX15764" fmla="*/ 2654514 w 10505529"/>
              <a:gd name="connsiteY15764" fmla="*/ 4817211 h 7458372"/>
              <a:gd name="connsiteX15765" fmla="*/ 2653584 w 10505529"/>
              <a:gd name="connsiteY15765" fmla="*/ 4812020 h 7458372"/>
              <a:gd name="connsiteX15766" fmla="*/ 2650920 w 10505529"/>
              <a:gd name="connsiteY15766" fmla="*/ 4807893 h 7458372"/>
              <a:gd name="connsiteX15767" fmla="*/ 2646927 w 10505529"/>
              <a:gd name="connsiteY15767" fmla="*/ 4805230 h 7458372"/>
              <a:gd name="connsiteX15768" fmla="*/ 2641868 w 10505529"/>
              <a:gd name="connsiteY15768" fmla="*/ 4804299 h 7458372"/>
              <a:gd name="connsiteX15769" fmla="*/ 2424209 w 10505529"/>
              <a:gd name="connsiteY15769" fmla="*/ 4804299 h 7458372"/>
              <a:gd name="connsiteX15770" fmla="*/ 2414226 w 10505529"/>
              <a:gd name="connsiteY15770" fmla="*/ 4807893 h 7458372"/>
              <a:gd name="connsiteX15771" fmla="*/ 2410632 w 10505529"/>
              <a:gd name="connsiteY15771" fmla="*/ 4817344 h 7458372"/>
              <a:gd name="connsiteX15772" fmla="*/ 2414226 w 10505529"/>
              <a:gd name="connsiteY15772" fmla="*/ 4826795 h 7458372"/>
              <a:gd name="connsiteX15773" fmla="*/ 2424209 w 10505529"/>
              <a:gd name="connsiteY15773" fmla="*/ 4830257 h 7458372"/>
              <a:gd name="connsiteX15774" fmla="*/ 2429534 w 10505529"/>
              <a:gd name="connsiteY15774" fmla="*/ 4829325 h 7458372"/>
              <a:gd name="connsiteX15775" fmla="*/ 2433261 w 10505529"/>
              <a:gd name="connsiteY15775" fmla="*/ 4826928 h 7458372"/>
              <a:gd name="connsiteX15776" fmla="*/ 2435924 w 10505529"/>
              <a:gd name="connsiteY15776" fmla="*/ 4822669 h 7458372"/>
              <a:gd name="connsiteX15777" fmla="*/ 2436856 w 10505529"/>
              <a:gd name="connsiteY15777" fmla="*/ 4817211 h 7458372"/>
              <a:gd name="connsiteX15778" fmla="*/ 2435924 w 10505529"/>
              <a:gd name="connsiteY15778" fmla="*/ 4812020 h 7458372"/>
              <a:gd name="connsiteX15779" fmla="*/ 2433261 w 10505529"/>
              <a:gd name="connsiteY15779" fmla="*/ 4807893 h 7458372"/>
              <a:gd name="connsiteX15780" fmla="*/ 2429268 w 10505529"/>
              <a:gd name="connsiteY15780" fmla="*/ 4805230 h 7458372"/>
              <a:gd name="connsiteX15781" fmla="*/ 2424209 w 10505529"/>
              <a:gd name="connsiteY15781" fmla="*/ 4804299 h 7458372"/>
              <a:gd name="connsiteX15782" fmla="*/ 2206550 w 10505529"/>
              <a:gd name="connsiteY15782" fmla="*/ 4804299 h 7458372"/>
              <a:gd name="connsiteX15783" fmla="*/ 2196567 w 10505529"/>
              <a:gd name="connsiteY15783" fmla="*/ 4807893 h 7458372"/>
              <a:gd name="connsiteX15784" fmla="*/ 2192973 w 10505529"/>
              <a:gd name="connsiteY15784" fmla="*/ 4817344 h 7458372"/>
              <a:gd name="connsiteX15785" fmla="*/ 2196567 w 10505529"/>
              <a:gd name="connsiteY15785" fmla="*/ 4826795 h 7458372"/>
              <a:gd name="connsiteX15786" fmla="*/ 2206550 w 10505529"/>
              <a:gd name="connsiteY15786" fmla="*/ 4830257 h 7458372"/>
              <a:gd name="connsiteX15787" fmla="*/ 2211875 w 10505529"/>
              <a:gd name="connsiteY15787" fmla="*/ 4829325 h 7458372"/>
              <a:gd name="connsiteX15788" fmla="*/ 2215602 w 10505529"/>
              <a:gd name="connsiteY15788" fmla="*/ 4826928 h 7458372"/>
              <a:gd name="connsiteX15789" fmla="*/ 2218265 w 10505529"/>
              <a:gd name="connsiteY15789" fmla="*/ 4822669 h 7458372"/>
              <a:gd name="connsiteX15790" fmla="*/ 2219196 w 10505529"/>
              <a:gd name="connsiteY15790" fmla="*/ 4817211 h 7458372"/>
              <a:gd name="connsiteX15791" fmla="*/ 2218265 w 10505529"/>
              <a:gd name="connsiteY15791" fmla="*/ 4812020 h 7458372"/>
              <a:gd name="connsiteX15792" fmla="*/ 2215602 w 10505529"/>
              <a:gd name="connsiteY15792" fmla="*/ 4807893 h 7458372"/>
              <a:gd name="connsiteX15793" fmla="*/ 2211609 w 10505529"/>
              <a:gd name="connsiteY15793" fmla="*/ 4805230 h 7458372"/>
              <a:gd name="connsiteX15794" fmla="*/ 2206550 w 10505529"/>
              <a:gd name="connsiteY15794" fmla="*/ 4804299 h 7458372"/>
              <a:gd name="connsiteX15795" fmla="*/ 1989024 w 10505529"/>
              <a:gd name="connsiteY15795" fmla="*/ 4804299 h 7458372"/>
              <a:gd name="connsiteX15796" fmla="*/ 1979041 w 10505529"/>
              <a:gd name="connsiteY15796" fmla="*/ 4807893 h 7458372"/>
              <a:gd name="connsiteX15797" fmla="*/ 1975447 w 10505529"/>
              <a:gd name="connsiteY15797" fmla="*/ 4817344 h 7458372"/>
              <a:gd name="connsiteX15798" fmla="*/ 1979041 w 10505529"/>
              <a:gd name="connsiteY15798" fmla="*/ 4826795 h 7458372"/>
              <a:gd name="connsiteX15799" fmla="*/ 1989024 w 10505529"/>
              <a:gd name="connsiteY15799" fmla="*/ 4830257 h 7458372"/>
              <a:gd name="connsiteX15800" fmla="*/ 1994349 w 10505529"/>
              <a:gd name="connsiteY15800" fmla="*/ 4829325 h 7458372"/>
              <a:gd name="connsiteX15801" fmla="*/ 1998077 w 10505529"/>
              <a:gd name="connsiteY15801" fmla="*/ 4826928 h 7458372"/>
              <a:gd name="connsiteX15802" fmla="*/ 2000740 w 10505529"/>
              <a:gd name="connsiteY15802" fmla="*/ 4822669 h 7458372"/>
              <a:gd name="connsiteX15803" fmla="*/ 2001670 w 10505529"/>
              <a:gd name="connsiteY15803" fmla="*/ 4817211 h 7458372"/>
              <a:gd name="connsiteX15804" fmla="*/ 2000740 w 10505529"/>
              <a:gd name="connsiteY15804" fmla="*/ 4812020 h 7458372"/>
              <a:gd name="connsiteX15805" fmla="*/ 1998077 w 10505529"/>
              <a:gd name="connsiteY15805" fmla="*/ 4807893 h 7458372"/>
              <a:gd name="connsiteX15806" fmla="*/ 1994083 w 10505529"/>
              <a:gd name="connsiteY15806" fmla="*/ 4805230 h 7458372"/>
              <a:gd name="connsiteX15807" fmla="*/ 1989024 w 10505529"/>
              <a:gd name="connsiteY15807" fmla="*/ 4804299 h 7458372"/>
              <a:gd name="connsiteX15808" fmla="*/ 1771389 w 10505529"/>
              <a:gd name="connsiteY15808" fmla="*/ 4804299 h 7458372"/>
              <a:gd name="connsiteX15809" fmla="*/ 1761407 w 10505529"/>
              <a:gd name="connsiteY15809" fmla="*/ 4807893 h 7458372"/>
              <a:gd name="connsiteX15810" fmla="*/ 1757813 w 10505529"/>
              <a:gd name="connsiteY15810" fmla="*/ 4817344 h 7458372"/>
              <a:gd name="connsiteX15811" fmla="*/ 1761407 w 10505529"/>
              <a:gd name="connsiteY15811" fmla="*/ 4826795 h 7458372"/>
              <a:gd name="connsiteX15812" fmla="*/ 1771389 w 10505529"/>
              <a:gd name="connsiteY15812" fmla="*/ 4830257 h 7458372"/>
              <a:gd name="connsiteX15813" fmla="*/ 1776714 w 10505529"/>
              <a:gd name="connsiteY15813" fmla="*/ 4829325 h 7458372"/>
              <a:gd name="connsiteX15814" fmla="*/ 1780440 w 10505529"/>
              <a:gd name="connsiteY15814" fmla="*/ 4826928 h 7458372"/>
              <a:gd name="connsiteX15815" fmla="*/ 1783103 w 10505529"/>
              <a:gd name="connsiteY15815" fmla="*/ 4822669 h 7458372"/>
              <a:gd name="connsiteX15816" fmla="*/ 1784168 w 10505529"/>
              <a:gd name="connsiteY15816" fmla="*/ 4817211 h 7458372"/>
              <a:gd name="connsiteX15817" fmla="*/ 1783103 w 10505529"/>
              <a:gd name="connsiteY15817" fmla="*/ 4812020 h 7458372"/>
              <a:gd name="connsiteX15818" fmla="*/ 1780440 w 10505529"/>
              <a:gd name="connsiteY15818" fmla="*/ 4807893 h 7458372"/>
              <a:gd name="connsiteX15819" fmla="*/ 1776448 w 10505529"/>
              <a:gd name="connsiteY15819" fmla="*/ 4805230 h 7458372"/>
              <a:gd name="connsiteX15820" fmla="*/ 1771389 w 10505529"/>
              <a:gd name="connsiteY15820" fmla="*/ 4804299 h 7458372"/>
              <a:gd name="connsiteX15821" fmla="*/ 1553751 w 10505529"/>
              <a:gd name="connsiteY15821" fmla="*/ 4804299 h 7458372"/>
              <a:gd name="connsiteX15822" fmla="*/ 1543768 w 10505529"/>
              <a:gd name="connsiteY15822" fmla="*/ 4807893 h 7458372"/>
              <a:gd name="connsiteX15823" fmla="*/ 1540174 w 10505529"/>
              <a:gd name="connsiteY15823" fmla="*/ 4817344 h 7458372"/>
              <a:gd name="connsiteX15824" fmla="*/ 1543768 w 10505529"/>
              <a:gd name="connsiteY15824" fmla="*/ 4826795 h 7458372"/>
              <a:gd name="connsiteX15825" fmla="*/ 1553751 w 10505529"/>
              <a:gd name="connsiteY15825" fmla="*/ 4830257 h 7458372"/>
              <a:gd name="connsiteX15826" fmla="*/ 1559076 w 10505529"/>
              <a:gd name="connsiteY15826" fmla="*/ 4829325 h 7458372"/>
              <a:gd name="connsiteX15827" fmla="*/ 1562803 w 10505529"/>
              <a:gd name="connsiteY15827" fmla="*/ 4826928 h 7458372"/>
              <a:gd name="connsiteX15828" fmla="*/ 1565466 w 10505529"/>
              <a:gd name="connsiteY15828" fmla="*/ 4822669 h 7458372"/>
              <a:gd name="connsiteX15829" fmla="*/ 1566531 w 10505529"/>
              <a:gd name="connsiteY15829" fmla="*/ 4817211 h 7458372"/>
              <a:gd name="connsiteX15830" fmla="*/ 1565466 w 10505529"/>
              <a:gd name="connsiteY15830" fmla="*/ 4812020 h 7458372"/>
              <a:gd name="connsiteX15831" fmla="*/ 1562803 w 10505529"/>
              <a:gd name="connsiteY15831" fmla="*/ 4807893 h 7458372"/>
              <a:gd name="connsiteX15832" fmla="*/ 1558810 w 10505529"/>
              <a:gd name="connsiteY15832" fmla="*/ 4805230 h 7458372"/>
              <a:gd name="connsiteX15833" fmla="*/ 1553751 w 10505529"/>
              <a:gd name="connsiteY15833" fmla="*/ 4804299 h 7458372"/>
              <a:gd name="connsiteX15834" fmla="*/ 1336107 w 10505529"/>
              <a:gd name="connsiteY15834" fmla="*/ 4804299 h 7458372"/>
              <a:gd name="connsiteX15835" fmla="*/ 1326123 w 10505529"/>
              <a:gd name="connsiteY15835" fmla="*/ 4807893 h 7458372"/>
              <a:gd name="connsiteX15836" fmla="*/ 1322529 w 10505529"/>
              <a:gd name="connsiteY15836" fmla="*/ 4817344 h 7458372"/>
              <a:gd name="connsiteX15837" fmla="*/ 1326123 w 10505529"/>
              <a:gd name="connsiteY15837" fmla="*/ 4826795 h 7458372"/>
              <a:gd name="connsiteX15838" fmla="*/ 1336107 w 10505529"/>
              <a:gd name="connsiteY15838" fmla="*/ 4830257 h 7458372"/>
              <a:gd name="connsiteX15839" fmla="*/ 1341434 w 10505529"/>
              <a:gd name="connsiteY15839" fmla="*/ 4829325 h 7458372"/>
              <a:gd name="connsiteX15840" fmla="*/ 1345161 w 10505529"/>
              <a:gd name="connsiteY15840" fmla="*/ 4826928 h 7458372"/>
              <a:gd name="connsiteX15841" fmla="*/ 1347823 w 10505529"/>
              <a:gd name="connsiteY15841" fmla="*/ 4822669 h 7458372"/>
              <a:gd name="connsiteX15842" fmla="*/ 1348890 w 10505529"/>
              <a:gd name="connsiteY15842" fmla="*/ 4817211 h 7458372"/>
              <a:gd name="connsiteX15843" fmla="*/ 1347823 w 10505529"/>
              <a:gd name="connsiteY15843" fmla="*/ 4812020 h 7458372"/>
              <a:gd name="connsiteX15844" fmla="*/ 1345161 w 10505529"/>
              <a:gd name="connsiteY15844" fmla="*/ 4807893 h 7458372"/>
              <a:gd name="connsiteX15845" fmla="*/ 1341166 w 10505529"/>
              <a:gd name="connsiteY15845" fmla="*/ 4805230 h 7458372"/>
              <a:gd name="connsiteX15846" fmla="*/ 1336107 w 10505529"/>
              <a:gd name="connsiteY15846" fmla="*/ 4804299 h 7458372"/>
              <a:gd name="connsiteX15847" fmla="*/ 1118595 w 10505529"/>
              <a:gd name="connsiteY15847" fmla="*/ 4804299 h 7458372"/>
              <a:gd name="connsiteX15848" fmla="*/ 1108610 w 10505529"/>
              <a:gd name="connsiteY15848" fmla="*/ 4807893 h 7458372"/>
              <a:gd name="connsiteX15849" fmla="*/ 1104883 w 10505529"/>
              <a:gd name="connsiteY15849" fmla="*/ 4817344 h 7458372"/>
              <a:gd name="connsiteX15850" fmla="*/ 1108477 w 10505529"/>
              <a:gd name="connsiteY15850" fmla="*/ 4826795 h 7458372"/>
              <a:gd name="connsiteX15851" fmla="*/ 1118462 w 10505529"/>
              <a:gd name="connsiteY15851" fmla="*/ 4830257 h 7458372"/>
              <a:gd name="connsiteX15852" fmla="*/ 1123919 w 10505529"/>
              <a:gd name="connsiteY15852" fmla="*/ 4829325 h 7458372"/>
              <a:gd name="connsiteX15853" fmla="*/ 1127649 w 10505529"/>
              <a:gd name="connsiteY15853" fmla="*/ 4826928 h 7458372"/>
              <a:gd name="connsiteX15854" fmla="*/ 1130312 w 10505529"/>
              <a:gd name="connsiteY15854" fmla="*/ 4822669 h 7458372"/>
              <a:gd name="connsiteX15855" fmla="*/ 1131377 w 10505529"/>
              <a:gd name="connsiteY15855" fmla="*/ 4817211 h 7458372"/>
              <a:gd name="connsiteX15856" fmla="*/ 1130312 w 10505529"/>
              <a:gd name="connsiteY15856" fmla="*/ 4812020 h 7458372"/>
              <a:gd name="connsiteX15857" fmla="*/ 1127649 w 10505529"/>
              <a:gd name="connsiteY15857" fmla="*/ 4807893 h 7458372"/>
              <a:gd name="connsiteX15858" fmla="*/ 1123654 w 10505529"/>
              <a:gd name="connsiteY15858" fmla="*/ 4805230 h 7458372"/>
              <a:gd name="connsiteX15859" fmla="*/ 1118595 w 10505529"/>
              <a:gd name="connsiteY15859" fmla="*/ 4804299 h 7458372"/>
              <a:gd name="connsiteX15860" fmla="*/ 901083 w 10505529"/>
              <a:gd name="connsiteY15860" fmla="*/ 4804299 h 7458372"/>
              <a:gd name="connsiteX15861" fmla="*/ 891099 w 10505529"/>
              <a:gd name="connsiteY15861" fmla="*/ 4807893 h 7458372"/>
              <a:gd name="connsiteX15862" fmla="*/ 887372 w 10505529"/>
              <a:gd name="connsiteY15862" fmla="*/ 4817344 h 7458372"/>
              <a:gd name="connsiteX15863" fmla="*/ 890966 w 10505529"/>
              <a:gd name="connsiteY15863" fmla="*/ 4826795 h 7458372"/>
              <a:gd name="connsiteX15864" fmla="*/ 900949 w 10505529"/>
              <a:gd name="connsiteY15864" fmla="*/ 4830257 h 7458372"/>
              <a:gd name="connsiteX15865" fmla="*/ 906407 w 10505529"/>
              <a:gd name="connsiteY15865" fmla="*/ 4829325 h 7458372"/>
              <a:gd name="connsiteX15866" fmla="*/ 910135 w 10505529"/>
              <a:gd name="connsiteY15866" fmla="*/ 4826928 h 7458372"/>
              <a:gd name="connsiteX15867" fmla="*/ 912797 w 10505529"/>
              <a:gd name="connsiteY15867" fmla="*/ 4822669 h 7458372"/>
              <a:gd name="connsiteX15868" fmla="*/ 913862 w 10505529"/>
              <a:gd name="connsiteY15868" fmla="*/ 4817211 h 7458372"/>
              <a:gd name="connsiteX15869" fmla="*/ 912797 w 10505529"/>
              <a:gd name="connsiteY15869" fmla="*/ 4812020 h 7458372"/>
              <a:gd name="connsiteX15870" fmla="*/ 910135 w 10505529"/>
              <a:gd name="connsiteY15870" fmla="*/ 4807893 h 7458372"/>
              <a:gd name="connsiteX15871" fmla="*/ 906141 w 10505529"/>
              <a:gd name="connsiteY15871" fmla="*/ 4805230 h 7458372"/>
              <a:gd name="connsiteX15872" fmla="*/ 901083 w 10505529"/>
              <a:gd name="connsiteY15872" fmla="*/ 4804299 h 7458372"/>
              <a:gd name="connsiteX15873" fmla="*/ 683308 w 10505529"/>
              <a:gd name="connsiteY15873" fmla="*/ 4804299 h 7458372"/>
              <a:gd name="connsiteX15874" fmla="*/ 673325 w 10505529"/>
              <a:gd name="connsiteY15874" fmla="*/ 4807893 h 7458372"/>
              <a:gd name="connsiteX15875" fmla="*/ 669731 w 10505529"/>
              <a:gd name="connsiteY15875" fmla="*/ 4817344 h 7458372"/>
              <a:gd name="connsiteX15876" fmla="*/ 673325 w 10505529"/>
              <a:gd name="connsiteY15876" fmla="*/ 4826795 h 7458372"/>
              <a:gd name="connsiteX15877" fmla="*/ 683308 w 10505529"/>
              <a:gd name="connsiteY15877" fmla="*/ 4830257 h 7458372"/>
              <a:gd name="connsiteX15878" fmla="*/ 688633 w 10505529"/>
              <a:gd name="connsiteY15878" fmla="*/ 4829325 h 7458372"/>
              <a:gd name="connsiteX15879" fmla="*/ 692360 w 10505529"/>
              <a:gd name="connsiteY15879" fmla="*/ 4826928 h 7458372"/>
              <a:gd name="connsiteX15880" fmla="*/ 695023 w 10505529"/>
              <a:gd name="connsiteY15880" fmla="*/ 4822669 h 7458372"/>
              <a:gd name="connsiteX15881" fmla="*/ 696089 w 10505529"/>
              <a:gd name="connsiteY15881" fmla="*/ 4817211 h 7458372"/>
              <a:gd name="connsiteX15882" fmla="*/ 695023 w 10505529"/>
              <a:gd name="connsiteY15882" fmla="*/ 4812020 h 7458372"/>
              <a:gd name="connsiteX15883" fmla="*/ 692360 w 10505529"/>
              <a:gd name="connsiteY15883" fmla="*/ 4807893 h 7458372"/>
              <a:gd name="connsiteX15884" fmla="*/ 688367 w 10505529"/>
              <a:gd name="connsiteY15884" fmla="*/ 4805230 h 7458372"/>
              <a:gd name="connsiteX15885" fmla="*/ 683308 w 10505529"/>
              <a:gd name="connsiteY15885" fmla="*/ 4804299 h 7458372"/>
              <a:gd name="connsiteX15886" fmla="*/ 465666 w 10505529"/>
              <a:gd name="connsiteY15886" fmla="*/ 4804299 h 7458372"/>
              <a:gd name="connsiteX15887" fmla="*/ 455683 w 10505529"/>
              <a:gd name="connsiteY15887" fmla="*/ 4807893 h 7458372"/>
              <a:gd name="connsiteX15888" fmla="*/ 452089 w 10505529"/>
              <a:gd name="connsiteY15888" fmla="*/ 4817344 h 7458372"/>
              <a:gd name="connsiteX15889" fmla="*/ 455683 w 10505529"/>
              <a:gd name="connsiteY15889" fmla="*/ 4826795 h 7458372"/>
              <a:gd name="connsiteX15890" fmla="*/ 465666 w 10505529"/>
              <a:gd name="connsiteY15890" fmla="*/ 4830257 h 7458372"/>
              <a:gd name="connsiteX15891" fmla="*/ 470992 w 10505529"/>
              <a:gd name="connsiteY15891" fmla="*/ 4829325 h 7458372"/>
              <a:gd name="connsiteX15892" fmla="*/ 474719 w 10505529"/>
              <a:gd name="connsiteY15892" fmla="*/ 4826928 h 7458372"/>
              <a:gd name="connsiteX15893" fmla="*/ 477382 w 10505529"/>
              <a:gd name="connsiteY15893" fmla="*/ 4822669 h 7458372"/>
              <a:gd name="connsiteX15894" fmla="*/ 478447 w 10505529"/>
              <a:gd name="connsiteY15894" fmla="*/ 4817211 h 7458372"/>
              <a:gd name="connsiteX15895" fmla="*/ 477382 w 10505529"/>
              <a:gd name="connsiteY15895" fmla="*/ 4812020 h 7458372"/>
              <a:gd name="connsiteX15896" fmla="*/ 474719 w 10505529"/>
              <a:gd name="connsiteY15896" fmla="*/ 4807893 h 7458372"/>
              <a:gd name="connsiteX15897" fmla="*/ 470726 w 10505529"/>
              <a:gd name="connsiteY15897" fmla="*/ 4805230 h 7458372"/>
              <a:gd name="connsiteX15898" fmla="*/ 465666 w 10505529"/>
              <a:gd name="connsiteY15898" fmla="*/ 4804299 h 7458372"/>
              <a:gd name="connsiteX15899" fmla="*/ 248024 w 10505529"/>
              <a:gd name="connsiteY15899" fmla="*/ 4804299 h 7458372"/>
              <a:gd name="connsiteX15900" fmla="*/ 238042 w 10505529"/>
              <a:gd name="connsiteY15900" fmla="*/ 4807893 h 7458372"/>
              <a:gd name="connsiteX15901" fmla="*/ 234448 w 10505529"/>
              <a:gd name="connsiteY15901" fmla="*/ 4817344 h 7458372"/>
              <a:gd name="connsiteX15902" fmla="*/ 238042 w 10505529"/>
              <a:gd name="connsiteY15902" fmla="*/ 4826795 h 7458372"/>
              <a:gd name="connsiteX15903" fmla="*/ 248024 w 10505529"/>
              <a:gd name="connsiteY15903" fmla="*/ 4830257 h 7458372"/>
              <a:gd name="connsiteX15904" fmla="*/ 253349 w 10505529"/>
              <a:gd name="connsiteY15904" fmla="*/ 4829325 h 7458372"/>
              <a:gd name="connsiteX15905" fmla="*/ 257076 w 10505529"/>
              <a:gd name="connsiteY15905" fmla="*/ 4826928 h 7458372"/>
              <a:gd name="connsiteX15906" fmla="*/ 259739 w 10505529"/>
              <a:gd name="connsiteY15906" fmla="*/ 4822669 h 7458372"/>
              <a:gd name="connsiteX15907" fmla="*/ 260804 w 10505529"/>
              <a:gd name="connsiteY15907" fmla="*/ 4817211 h 7458372"/>
              <a:gd name="connsiteX15908" fmla="*/ 259739 w 10505529"/>
              <a:gd name="connsiteY15908" fmla="*/ 4812020 h 7458372"/>
              <a:gd name="connsiteX15909" fmla="*/ 257076 w 10505529"/>
              <a:gd name="connsiteY15909" fmla="*/ 4807893 h 7458372"/>
              <a:gd name="connsiteX15910" fmla="*/ 253083 w 10505529"/>
              <a:gd name="connsiteY15910" fmla="*/ 4805230 h 7458372"/>
              <a:gd name="connsiteX15911" fmla="*/ 248024 w 10505529"/>
              <a:gd name="connsiteY15911" fmla="*/ 4804299 h 7458372"/>
              <a:gd name="connsiteX15912" fmla="*/ 30383 w 10505529"/>
              <a:gd name="connsiteY15912" fmla="*/ 4804299 h 7458372"/>
              <a:gd name="connsiteX15913" fmla="*/ 20399 w 10505529"/>
              <a:gd name="connsiteY15913" fmla="*/ 4807893 h 7458372"/>
              <a:gd name="connsiteX15914" fmla="*/ 16806 w 10505529"/>
              <a:gd name="connsiteY15914" fmla="*/ 4817344 h 7458372"/>
              <a:gd name="connsiteX15915" fmla="*/ 20399 w 10505529"/>
              <a:gd name="connsiteY15915" fmla="*/ 4826795 h 7458372"/>
              <a:gd name="connsiteX15916" fmla="*/ 30383 w 10505529"/>
              <a:gd name="connsiteY15916" fmla="*/ 4830257 h 7458372"/>
              <a:gd name="connsiteX15917" fmla="*/ 35708 w 10505529"/>
              <a:gd name="connsiteY15917" fmla="*/ 4829325 h 7458372"/>
              <a:gd name="connsiteX15918" fmla="*/ 39435 w 10505529"/>
              <a:gd name="connsiteY15918" fmla="*/ 4826928 h 7458372"/>
              <a:gd name="connsiteX15919" fmla="*/ 42098 w 10505529"/>
              <a:gd name="connsiteY15919" fmla="*/ 4822669 h 7458372"/>
              <a:gd name="connsiteX15920" fmla="*/ 43029 w 10505529"/>
              <a:gd name="connsiteY15920" fmla="*/ 4817211 h 7458372"/>
              <a:gd name="connsiteX15921" fmla="*/ 42098 w 10505529"/>
              <a:gd name="connsiteY15921" fmla="*/ 4812020 h 7458372"/>
              <a:gd name="connsiteX15922" fmla="*/ 39435 w 10505529"/>
              <a:gd name="connsiteY15922" fmla="*/ 4807893 h 7458372"/>
              <a:gd name="connsiteX15923" fmla="*/ 35442 w 10505529"/>
              <a:gd name="connsiteY15923" fmla="*/ 4805230 h 7458372"/>
              <a:gd name="connsiteX15924" fmla="*/ 30383 w 10505529"/>
              <a:gd name="connsiteY15924" fmla="*/ 4804299 h 7458372"/>
              <a:gd name="connsiteX15925" fmla="*/ 10475977 w 10505529"/>
              <a:gd name="connsiteY15925" fmla="*/ 4787659 h 7458372"/>
              <a:gd name="connsiteX15926" fmla="*/ 10487824 w 10505529"/>
              <a:gd name="connsiteY15926" fmla="*/ 4790321 h 7458372"/>
              <a:gd name="connsiteX15927" fmla="*/ 10497143 w 10505529"/>
              <a:gd name="connsiteY15927" fmla="*/ 4796711 h 7458372"/>
              <a:gd name="connsiteX15928" fmla="*/ 10503266 w 10505529"/>
              <a:gd name="connsiteY15928" fmla="*/ 4806029 h 7458372"/>
              <a:gd name="connsiteX15929" fmla="*/ 10505529 w 10505529"/>
              <a:gd name="connsiteY15929" fmla="*/ 4817477 h 7458372"/>
              <a:gd name="connsiteX15930" fmla="*/ 10503266 w 10505529"/>
              <a:gd name="connsiteY15930" fmla="*/ 4829192 h 7458372"/>
              <a:gd name="connsiteX15931" fmla="*/ 10497143 w 10505529"/>
              <a:gd name="connsiteY15931" fmla="*/ 4838511 h 7458372"/>
              <a:gd name="connsiteX15932" fmla="*/ 10487824 w 10505529"/>
              <a:gd name="connsiteY15932" fmla="*/ 4844767 h 7458372"/>
              <a:gd name="connsiteX15933" fmla="*/ 10475977 w 10505529"/>
              <a:gd name="connsiteY15933" fmla="*/ 4847030 h 7458372"/>
              <a:gd name="connsiteX15934" fmla="*/ 10454145 w 10505529"/>
              <a:gd name="connsiteY15934" fmla="*/ 4838511 h 7458372"/>
              <a:gd name="connsiteX15935" fmla="*/ 10445759 w 10505529"/>
              <a:gd name="connsiteY15935" fmla="*/ 4817344 h 7458372"/>
              <a:gd name="connsiteX15936" fmla="*/ 10454145 w 10505529"/>
              <a:gd name="connsiteY15936" fmla="*/ 4796312 h 7458372"/>
              <a:gd name="connsiteX15937" fmla="*/ 10475977 w 10505529"/>
              <a:gd name="connsiteY15937" fmla="*/ 4787659 h 7458372"/>
              <a:gd name="connsiteX15938" fmla="*/ 10258466 w 10505529"/>
              <a:gd name="connsiteY15938" fmla="*/ 4787659 h 7458372"/>
              <a:gd name="connsiteX15939" fmla="*/ 10270313 w 10505529"/>
              <a:gd name="connsiteY15939" fmla="*/ 4790321 h 7458372"/>
              <a:gd name="connsiteX15940" fmla="*/ 10279631 w 10505529"/>
              <a:gd name="connsiteY15940" fmla="*/ 4796711 h 7458372"/>
              <a:gd name="connsiteX15941" fmla="*/ 10285754 w 10505529"/>
              <a:gd name="connsiteY15941" fmla="*/ 4806029 h 7458372"/>
              <a:gd name="connsiteX15942" fmla="*/ 10288017 w 10505529"/>
              <a:gd name="connsiteY15942" fmla="*/ 4817477 h 7458372"/>
              <a:gd name="connsiteX15943" fmla="*/ 10285754 w 10505529"/>
              <a:gd name="connsiteY15943" fmla="*/ 4829192 h 7458372"/>
              <a:gd name="connsiteX15944" fmla="*/ 10279631 w 10505529"/>
              <a:gd name="connsiteY15944" fmla="*/ 4838511 h 7458372"/>
              <a:gd name="connsiteX15945" fmla="*/ 10270313 w 10505529"/>
              <a:gd name="connsiteY15945" fmla="*/ 4844767 h 7458372"/>
              <a:gd name="connsiteX15946" fmla="*/ 10258466 w 10505529"/>
              <a:gd name="connsiteY15946" fmla="*/ 4847030 h 7458372"/>
              <a:gd name="connsiteX15947" fmla="*/ 10236633 w 10505529"/>
              <a:gd name="connsiteY15947" fmla="*/ 4838511 h 7458372"/>
              <a:gd name="connsiteX15948" fmla="*/ 10228247 w 10505529"/>
              <a:gd name="connsiteY15948" fmla="*/ 4817344 h 7458372"/>
              <a:gd name="connsiteX15949" fmla="*/ 10236633 w 10505529"/>
              <a:gd name="connsiteY15949" fmla="*/ 4796312 h 7458372"/>
              <a:gd name="connsiteX15950" fmla="*/ 10258466 w 10505529"/>
              <a:gd name="connsiteY15950" fmla="*/ 4787659 h 7458372"/>
              <a:gd name="connsiteX15951" fmla="*/ 10040820 w 10505529"/>
              <a:gd name="connsiteY15951" fmla="*/ 4787659 h 7458372"/>
              <a:gd name="connsiteX15952" fmla="*/ 10052534 w 10505529"/>
              <a:gd name="connsiteY15952" fmla="*/ 4790321 h 7458372"/>
              <a:gd name="connsiteX15953" fmla="*/ 10061852 w 10505529"/>
              <a:gd name="connsiteY15953" fmla="*/ 4796711 h 7458372"/>
              <a:gd name="connsiteX15954" fmla="*/ 10067976 w 10505529"/>
              <a:gd name="connsiteY15954" fmla="*/ 4806029 h 7458372"/>
              <a:gd name="connsiteX15955" fmla="*/ 10070239 w 10505529"/>
              <a:gd name="connsiteY15955" fmla="*/ 4817477 h 7458372"/>
              <a:gd name="connsiteX15956" fmla="*/ 10067976 w 10505529"/>
              <a:gd name="connsiteY15956" fmla="*/ 4829192 h 7458372"/>
              <a:gd name="connsiteX15957" fmla="*/ 10061852 w 10505529"/>
              <a:gd name="connsiteY15957" fmla="*/ 4838511 h 7458372"/>
              <a:gd name="connsiteX15958" fmla="*/ 10052534 w 10505529"/>
              <a:gd name="connsiteY15958" fmla="*/ 4844767 h 7458372"/>
              <a:gd name="connsiteX15959" fmla="*/ 10040820 w 10505529"/>
              <a:gd name="connsiteY15959" fmla="*/ 4847030 h 7458372"/>
              <a:gd name="connsiteX15960" fmla="*/ 10018988 w 10505529"/>
              <a:gd name="connsiteY15960" fmla="*/ 4838511 h 7458372"/>
              <a:gd name="connsiteX15961" fmla="*/ 10010602 w 10505529"/>
              <a:gd name="connsiteY15961" fmla="*/ 4817344 h 7458372"/>
              <a:gd name="connsiteX15962" fmla="*/ 10018988 w 10505529"/>
              <a:gd name="connsiteY15962" fmla="*/ 4796312 h 7458372"/>
              <a:gd name="connsiteX15963" fmla="*/ 10040820 w 10505529"/>
              <a:gd name="connsiteY15963" fmla="*/ 4787659 h 7458372"/>
              <a:gd name="connsiteX15964" fmla="*/ 9823176 w 10505529"/>
              <a:gd name="connsiteY15964" fmla="*/ 4787659 h 7458372"/>
              <a:gd name="connsiteX15965" fmla="*/ 9834890 w 10505529"/>
              <a:gd name="connsiteY15965" fmla="*/ 4790321 h 7458372"/>
              <a:gd name="connsiteX15966" fmla="*/ 9844208 w 10505529"/>
              <a:gd name="connsiteY15966" fmla="*/ 4796711 h 7458372"/>
              <a:gd name="connsiteX15967" fmla="*/ 9850331 w 10505529"/>
              <a:gd name="connsiteY15967" fmla="*/ 4806029 h 7458372"/>
              <a:gd name="connsiteX15968" fmla="*/ 9852595 w 10505529"/>
              <a:gd name="connsiteY15968" fmla="*/ 4817477 h 7458372"/>
              <a:gd name="connsiteX15969" fmla="*/ 9850331 w 10505529"/>
              <a:gd name="connsiteY15969" fmla="*/ 4829192 h 7458372"/>
              <a:gd name="connsiteX15970" fmla="*/ 9844208 w 10505529"/>
              <a:gd name="connsiteY15970" fmla="*/ 4838511 h 7458372"/>
              <a:gd name="connsiteX15971" fmla="*/ 9834890 w 10505529"/>
              <a:gd name="connsiteY15971" fmla="*/ 4844767 h 7458372"/>
              <a:gd name="connsiteX15972" fmla="*/ 9823176 w 10505529"/>
              <a:gd name="connsiteY15972" fmla="*/ 4847030 h 7458372"/>
              <a:gd name="connsiteX15973" fmla="*/ 9801343 w 10505529"/>
              <a:gd name="connsiteY15973" fmla="*/ 4838511 h 7458372"/>
              <a:gd name="connsiteX15974" fmla="*/ 9792957 w 10505529"/>
              <a:gd name="connsiteY15974" fmla="*/ 4817344 h 7458372"/>
              <a:gd name="connsiteX15975" fmla="*/ 9801343 w 10505529"/>
              <a:gd name="connsiteY15975" fmla="*/ 4796312 h 7458372"/>
              <a:gd name="connsiteX15976" fmla="*/ 9823176 w 10505529"/>
              <a:gd name="connsiteY15976" fmla="*/ 4787659 h 7458372"/>
              <a:gd name="connsiteX15977" fmla="*/ 9605531 w 10505529"/>
              <a:gd name="connsiteY15977" fmla="*/ 4787659 h 7458372"/>
              <a:gd name="connsiteX15978" fmla="*/ 9617245 w 10505529"/>
              <a:gd name="connsiteY15978" fmla="*/ 4790321 h 7458372"/>
              <a:gd name="connsiteX15979" fmla="*/ 9626562 w 10505529"/>
              <a:gd name="connsiteY15979" fmla="*/ 4796711 h 7458372"/>
              <a:gd name="connsiteX15980" fmla="*/ 9632686 w 10505529"/>
              <a:gd name="connsiteY15980" fmla="*/ 4806029 h 7458372"/>
              <a:gd name="connsiteX15981" fmla="*/ 9634949 w 10505529"/>
              <a:gd name="connsiteY15981" fmla="*/ 4817477 h 7458372"/>
              <a:gd name="connsiteX15982" fmla="*/ 9632686 w 10505529"/>
              <a:gd name="connsiteY15982" fmla="*/ 4829192 h 7458372"/>
              <a:gd name="connsiteX15983" fmla="*/ 9626562 w 10505529"/>
              <a:gd name="connsiteY15983" fmla="*/ 4838511 h 7458372"/>
              <a:gd name="connsiteX15984" fmla="*/ 9617245 w 10505529"/>
              <a:gd name="connsiteY15984" fmla="*/ 4844767 h 7458372"/>
              <a:gd name="connsiteX15985" fmla="*/ 9605531 w 10505529"/>
              <a:gd name="connsiteY15985" fmla="*/ 4847030 h 7458372"/>
              <a:gd name="connsiteX15986" fmla="*/ 9583698 w 10505529"/>
              <a:gd name="connsiteY15986" fmla="*/ 4838511 h 7458372"/>
              <a:gd name="connsiteX15987" fmla="*/ 9575312 w 10505529"/>
              <a:gd name="connsiteY15987" fmla="*/ 4817344 h 7458372"/>
              <a:gd name="connsiteX15988" fmla="*/ 9583698 w 10505529"/>
              <a:gd name="connsiteY15988" fmla="*/ 4796312 h 7458372"/>
              <a:gd name="connsiteX15989" fmla="*/ 9605531 w 10505529"/>
              <a:gd name="connsiteY15989" fmla="*/ 4787659 h 7458372"/>
              <a:gd name="connsiteX15990" fmla="*/ 9387885 w 10505529"/>
              <a:gd name="connsiteY15990" fmla="*/ 4787659 h 7458372"/>
              <a:gd name="connsiteX15991" fmla="*/ 9399599 w 10505529"/>
              <a:gd name="connsiteY15991" fmla="*/ 4790321 h 7458372"/>
              <a:gd name="connsiteX15992" fmla="*/ 9408917 w 10505529"/>
              <a:gd name="connsiteY15992" fmla="*/ 4796711 h 7458372"/>
              <a:gd name="connsiteX15993" fmla="*/ 9415041 w 10505529"/>
              <a:gd name="connsiteY15993" fmla="*/ 4806029 h 7458372"/>
              <a:gd name="connsiteX15994" fmla="*/ 9417304 w 10505529"/>
              <a:gd name="connsiteY15994" fmla="*/ 4817477 h 7458372"/>
              <a:gd name="connsiteX15995" fmla="*/ 9415041 w 10505529"/>
              <a:gd name="connsiteY15995" fmla="*/ 4829192 h 7458372"/>
              <a:gd name="connsiteX15996" fmla="*/ 9408917 w 10505529"/>
              <a:gd name="connsiteY15996" fmla="*/ 4838511 h 7458372"/>
              <a:gd name="connsiteX15997" fmla="*/ 9399599 w 10505529"/>
              <a:gd name="connsiteY15997" fmla="*/ 4844767 h 7458372"/>
              <a:gd name="connsiteX15998" fmla="*/ 9387885 w 10505529"/>
              <a:gd name="connsiteY15998" fmla="*/ 4847030 h 7458372"/>
              <a:gd name="connsiteX15999" fmla="*/ 9366053 w 10505529"/>
              <a:gd name="connsiteY15999" fmla="*/ 4838511 h 7458372"/>
              <a:gd name="connsiteX16000" fmla="*/ 9357667 w 10505529"/>
              <a:gd name="connsiteY16000" fmla="*/ 4817344 h 7458372"/>
              <a:gd name="connsiteX16001" fmla="*/ 9366053 w 10505529"/>
              <a:gd name="connsiteY16001" fmla="*/ 4796312 h 7458372"/>
              <a:gd name="connsiteX16002" fmla="*/ 9387885 w 10505529"/>
              <a:gd name="connsiteY16002" fmla="*/ 4787659 h 7458372"/>
              <a:gd name="connsiteX16003" fmla="*/ 9170374 w 10505529"/>
              <a:gd name="connsiteY16003" fmla="*/ 4787659 h 7458372"/>
              <a:gd name="connsiteX16004" fmla="*/ 9182088 w 10505529"/>
              <a:gd name="connsiteY16004" fmla="*/ 4790321 h 7458372"/>
              <a:gd name="connsiteX16005" fmla="*/ 9191405 w 10505529"/>
              <a:gd name="connsiteY16005" fmla="*/ 4796711 h 7458372"/>
              <a:gd name="connsiteX16006" fmla="*/ 9197529 w 10505529"/>
              <a:gd name="connsiteY16006" fmla="*/ 4806029 h 7458372"/>
              <a:gd name="connsiteX16007" fmla="*/ 9199792 w 10505529"/>
              <a:gd name="connsiteY16007" fmla="*/ 4817477 h 7458372"/>
              <a:gd name="connsiteX16008" fmla="*/ 9197529 w 10505529"/>
              <a:gd name="connsiteY16008" fmla="*/ 4829192 h 7458372"/>
              <a:gd name="connsiteX16009" fmla="*/ 9191405 w 10505529"/>
              <a:gd name="connsiteY16009" fmla="*/ 4838511 h 7458372"/>
              <a:gd name="connsiteX16010" fmla="*/ 9182088 w 10505529"/>
              <a:gd name="connsiteY16010" fmla="*/ 4844767 h 7458372"/>
              <a:gd name="connsiteX16011" fmla="*/ 9170374 w 10505529"/>
              <a:gd name="connsiteY16011" fmla="*/ 4847030 h 7458372"/>
              <a:gd name="connsiteX16012" fmla="*/ 9148541 w 10505529"/>
              <a:gd name="connsiteY16012" fmla="*/ 4838511 h 7458372"/>
              <a:gd name="connsiteX16013" fmla="*/ 9140155 w 10505529"/>
              <a:gd name="connsiteY16013" fmla="*/ 4817344 h 7458372"/>
              <a:gd name="connsiteX16014" fmla="*/ 9148541 w 10505529"/>
              <a:gd name="connsiteY16014" fmla="*/ 4796312 h 7458372"/>
              <a:gd name="connsiteX16015" fmla="*/ 9170374 w 10505529"/>
              <a:gd name="connsiteY16015" fmla="*/ 4787659 h 7458372"/>
              <a:gd name="connsiteX16016" fmla="*/ 8952728 w 10505529"/>
              <a:gd name="connsiteY16016" fmla="*/ 4787659 h 7458372"/>
              <a:gd name="connsiteX16017" fmla="*/ 8964442 w 10505529"/>
              <a:gd name="connsiteY16017" fmla="*/ 4790321 h 7458372"/>
              <a:gd name="connsiteX16018" fmla="*/ 8973760 w 10505529"/>
              <a:gd name="connsiteY16018" fmla="*/ 4796711 h 7458372"/>
              <a:gd name="connsiteX16019" fmla="*/ 8979884 w 10505529"/>
              <a:gd name="connsiteY16019" fmla="*/ 4806029 h 7458372"/>
              <a:gd name="connsiteX16020" fmla="*/ 8982147 w 10505529"/>
              <a:gd name="connsiteY16020" fmla="*/ 4817477 h 7458372"/>
              <a:gd name="connsiteX16021" fmla="*/ 8979884 w 10505529"/>
              <a:gd name="connsiteY16021" fmla="*/ 4829192 h 7458372"/>
              <a:gd name="connsiteX16022" fmla="*/ 8973760 w 10505529"/>
              <a:gd name="connsiteY16022" fmla="*/ 4838511 h 7458372"/>
              <a:gd name="connsiteX16023" fmla="*/ 8964442 w 10505529"/>
              <a:gd name="connsiteY16023" fmla="*/ 4844767 h 7458372"/>
              <a:gd name="connsiteX16024" fmla="*/ 8952728 w 10505529"/>
              <a:gd name="connsiteY16024" fmla="*/ 4847030 h 7458372"/>
              <a:gd name="connsiteX16025" fmla="*/ 8930896 w 10505529"/>
              <a:gd name="connsiteY16025" fmla="*/ 4838511 h 7458372"/>
              <a:gd name="connsiteX16026" fmla="*/ 8922510 w 10505529"/>
              <a:gd name="connsiteY16026" fmla="*/ 4817344 h 7458372"/>
              <a:gd name="connsiteX16027" fmla="*/ 8930896 w 10505529"/>
              <a:gd name="connsiteY16027" fmla="*/ 4796312 h 7458372"/>
              <a:gd name="connsiteX16028" fmla="*/ 8952728 w 10505529"/>
              <a:gd name="connsiteY16028" fmla="*/ 4787659 h 7458372"/>
              <a:gd name="connsiteX16029" fmla="*/ 8735083 w 10505529"/>
              <a:gd name="connsiteY16029" fmla="*/ 4787659 h 7458372"/>
              <a:gd name="connsiteX16030" fmla="*/ 8746797 w 10505529"/>
              <a:gd name="connsiteY16030" fmla="*/ 4790321 h 7458372"/>
              <a:gd name="connsiteX16031" fmla="*/ 8756115 w 10505529"/>
              <a:gd name="connsiteY16031" fmla="*/ 4796711 h 7458372"/>
              <a:gd name="connsiteX16032" fmla="*/ 8762238 w 10505529"/>
              <a:gd name="connsiteY16032" fmla="*/ 4806029 h 7458372"/>
              <a:gd name="connsiteX16033" fmla="*/ 8764502 w 10505529"/>
              <a:gd name="connsiteY16033" fmla="*/ 4817477 h 7458372"/>
              <a:gd name="connsiteX16034" fmla="*/ 8762238 w 10505529"/>
              <a:gd name="connsiteY16034" fmla="*/ 4829192 h 7458372"/>
              <a:gd name="connsiteX16035" fmla="*/ 8756115 w 10505529"/>
              <a:gd name="connsiteY16035" fmla="*/ 4838511 h 7458372"/>
              <a:gd name="connsiteX16036" fmla="*/ 8746797 w 10505529"/>
              <a:gd name="connsiteY16036" fmla="*/ 4844767 h 7458372"/>
              <a:gd name="connsiteX16037" fmla="*/ 8735083 w 10505529"/>
              <a:gd name="connsiteY16037" fmla="*/ 4847030 h 7458372"/>
              <a:gd name="connsiteX16038" fmla="*/ 8713250 w 10505529"/>
              <a:gd name="connsiteY16038" fmla="*/ 4838511 h 7458372"/>
              <a:gd name="connsiteX16039" fmla="*/ 8704864 w 10505529"/>
              <a:gd name="connsiteY16039" fmla="*/ 4817344 h 7458372"/>
              <a:gd name="connsiteX16040" fmla="*/ 8713250 w 10505529"/>
              <a:gd name="connsiteY16040" fmla="*/ 4796312 h 7458372"/>
              <a:gd name="connsiteX16041" fmla="*/ 8735083 w 10505529"/>
              <a:gd name="connsiteY16041" fmla="*/ 4787659 h 7458372"/>
              <a:gd name="connsiteX16042" fmla="*/ 8517438 w 10505529"/>
              <a:gd name="connsiteY16042" fmla="*/ 4787659 h 7458372"/>
              <a:gd name="connsiteX16043" fmla="*/ 8529152 w 10505529"/>
              <a:gd name="connsiteY16043" fmla="*/ 4790321 h 7458372"/>
              <a:gd name="connsiteX16044" fmla="*/ 8538470 w 10505529"/>
              <a:gd name="connsiteY16044" fmla="*/ 4796711 h 7458372"/>
              <a:gd name="connsiteX16045" fmla="*/ 8544594 w 10505529"/>
              <a:gd name="connsiteY16045" fmla="*/ 4806029 h 7458372"/>
              <a:gd name="connsiteX16046" fmla="*/ 8546857 w 10505529"/>
              <a:gd name="connsiteY16046" fmla="*/ 4817477 h 7458372"/>
              <a:gd name="connsiteX16047" fmla="*/ 8544594 w 10505529"/>
              <a:gd name="connsiteY16047" fmla="*/ 4829192 h 7458372"/>
              <a:gd name="connsiteX16048" fmla="*/ 8538470 w 10505529"/>
              <a:gd name="connsiteY16048" fmla="*/ 4838511 h 7458372"/>
              <a:gd name="connsiteX16049" fmla="*/ 8529152 w 10505529"/>
              <a:gd name="connsiteY16049" fmla="*/ 4844767 h 7458372"/>
              <a:gd name="connsiteX16050" fmla="*/ 8517438 w 10505529"/>
              <a:gd name="connsiteY16050" fmla="*/ 4847030 h 7458372"/>
              <a:gd name="connsiteX16051" fmla="*/ 8495606 w 10505529"/>
              <a:gd name="connsiteY16051" fmla="*/ 4838511 h 7458372"/>
              <a:gd name="connsiteX16052" fmla="*/ 8487220 w 10505529"/>
              <a:gd name="connsiteY16052" fmla="*/ 4817344 h 7458372"/>
              <a:gd name="connsiteX16053" fmla="*/ 8495606 w 10505529"/>
              <a:gd name="connsiteY16053" fmla="*/ 4796312 h 7458372"/>
              <a:gd name="connsiteX16054" fmla="*/ 8517438 w 10505529"/>
              <a:gd name="connsiteY16054" fmla="*/ 4787659 h 7458372"/>
              <a:gd name="connsiteX16055" fmla="*/ 8299793 w 10505529"/>
              <a:gd name="connsiteY16055" fmla="*/ 4787659 h 7458372"/>
              <a:gd name="connsiteX16056" fmla="*/ 8311507 w 10505529"/>
              <a:gd name="connsiteY16056" fmla="*/ 4790321 h 7458372"/>
              <a:gd name="connsiteX16057" fmla="*/ 8320825 w 10505529"/>
              <a:gd name="connsiteY16057" fmla="*/ 4796711 h 7458372"/>
              <a:gd name="connsiteX16058" fmla="*/ 8326948 w 10505529"/>
              <a:gd name="connsiteY16058" fmla="*/ 4806029 h 7458372"/>
              <a:gd name="connsiteX16059" fmla="*/ 8329212 w 10505529"/>
              <a:gd name="connsiteY16059" fmla="*/ 4817477 h 7458372"/>
              <a:gd name="connsiteX16060" fmla="*/ 8326948 w 10505529"/>
              <a:gd name="connsiteY16060" fmla="*/ 4829192 h 7458372"/>
              <a:gd name="connsiteX16061" fmla="*/ 8320825 w 10505529"/>
              <a:gd name="connsiteY16061" fmla="*/ 4838511 h 7458372"/>
              <a:gd name="connsiteX16062" fmla="*/ 8311507 w 10505529"/>
              <a:gd name="connsiteY16062" fmla="*/ 4844767 h 7458372"/>
              <a:gd name="connsiteX16063" fmla="*/ 8299793 w 10505529"/>
              <a:gd name="connsiteY16063" fmla="*/ 4847030 h 7458372"/>
              <a:gd name="connsiteX16064" fmla="*/ 8277960 w 10505529"/>
              <a:gd name="connsiteY16064" fmla="*/ 4838511 h 7458372"/>
              <a:gd name="connsiteX16065" fmla="*/ 8269574 w 10505529"/>
              <a:gd name="connsiteY16065" fmla="*/ 4817344 h 7458372"/>
              <a:gd name="connsiteX16066" fmla="*/ 8277960 w 10505529"/>
              <a:gd name="connsiteY16066" fmla="*/ 4796312 h 7458372"/>
              <a:gd name="connsiteX16067" fmla="*/ 8299793 w 10505529"/>
              <a:gd name="connsiteY16067" fmla="*/ 4787659 h 7458372"/>
              <a:gd name="connsiteX16068" fmla="*/ 8082281 w 10505529"/>
              <a:gd name="connsiteY16068" fmla="*/ 4787659 h 7458372"/>
              <a:gd name="connsiteX16069" fmla="*/ 8094127 w 10505529"/>
              <a:gd name="connsiteY16069" fmla="*/ 4790321 h 7458372"/>
              <a:gd name="connsiteX16070" fmla="*/ 8103446 w 10505529"/>
              <a:gd name="connsiteY16070" fmla="*/ 4796711 h 7458372"/>
              <a:gd name="connsiteX16071" fmla="*/ 8109569 w 10505529"/>
              <a:gd name="connsiteY16071" fmla="*/ 4806029 h 7458372"/>
              <a:gd name="connsiteX16072" fmla="*/ 8111832 w 10505529"/>
              <a:gd name="connsiteY16072" fmla="*/ 4817477 h 7458372"/>
              <a:gd name="connsiteX16073" fmla="*/ 8109569 w 10505529"/>
              <a:gd name="connsiteY16073" fmla="*/ 4829192 h 7458372"/>
              <a:gd name="connsiteX16074" fmla="*/ 8103446 w 10505529"/>
              <a:gd name="connsiteY16074" fmla="*/ 4838511 h 7458372"/>
              <a:gd name="connsiteX16075" fmla="*/ 8094127 w 10505529"/>
              <a:gd name="connsiteY16075" fmla="*/ 4844767 h 7458372"/>
              <a:gd name="connsiteX16076" fmla="*/ 8082281 w 10505529"/>
              <a:gd name="connsiteY16076" fmla="*/ 4847030 h 7458372"/>
              <a:gd name="connsiteX16077" fmla="*/ 8060448 w 10505529"/>
              <a:gd name="connsiteY16077" fmla="*/ 4838511 h 7458372"/>
              <a:gd name="connsiteX16078" fmla="*/ 8052062 w 10505529"/>
              <a:gd name="connsiteY16078" fmla="*/ 4817344 h 7458372"/>
              <a:gd name="connsiteX16079" fmla="*/ 8060448 w 10505529"/>
              <a:gd name="connsiteY16079" fmla="*/ 4796312 h 7458372"/>
              <a:gd name="connsiteX16080" fmla="*/ 8082281 w 10505529"/>
              <a:gd name="connsiteY16080" fmla="*/ 4787659 h 7458372"/>
              <a:gd name="connsiteX16081" fmla="*/ 7864636 w 10505529"/>
              <a:gd name="connsiteY16081" fmla="*/ 4787659 h 7458372"/>
              <a:gd name="connsiteX16082" fmla="*/ 7876483 w 10505529"/>
              <a:gd name="connsiteY16082" fmla="*/ 4790321 h 7458372"/>
              <a:gd name="connsiteX16083" fmla="*/ 7885802 w 10505529"/>
              <a:gd name="connsiteY16083" fmla="*/ 4796711 h 7458372"/>
              <a:gd name="connsiteX16084" fmla="*/ 7891924 w 10505529"/>
              <a:gd name="connsiteY16084" fmla="*/ 4806029 h 7458372"/>
              <a:gd name="connsiteX16085" fmla="*/ 7894188 w 10505529"/>
              <a:gd name="connsiteY16085" fmla="*/ 4817477 h 7458372"/>
              <a:gd name="connsiteX16086" fmla="*/ 7891924 w 10505529"/>
              <a:gd name="connsiteY16086" fmla="*/ 4829192 h 7458372"/>
              <a:gd name="connsiteX16087" fmla="*/ 7885802 w 10505529"/>
              <a:gd name="connsiteY16087" fmla="*/ 4838511 h 7458372"/>
              <a:gd name="connsiteX16088" fmla="*/ 7876483 w 10505529"/>
              <a:gd name="connsiteY16088" fmla="*/ 4844767 h 7458372"/>
              <a:gd name="connsiteX16089" fmla="*/ 7864636 w 10505529"/>
              <a:gd name="connsiteY16089" fmla="*/ 4847030 h 7458372"/>
              <a:gd name="connsiteX16090" fmla="*/ 7842803 w 10505529"/>
              <a:gd name="connsiteY16090" fmla="*/ 4838511 h 7458372"/>
              <a:gd name="connsiteX16091" fmla="*/ 7834417 w 10505529"/>
              <a:gd name="connsiteY16091" fmla="*/ 4817344 h 7458372"/>
              <a:gd name="connsiteX16092" fmla="*/ 7842803 w 10505529"/>
              <a:gd name="connsiteY16092" fmla="*/ 4796312 h 7458372"/>
              <a:gd name="connsiteX16093" fmla="*/ 7864636 w 10505529"/>
              <a:gd name="connsiteY16093" fmla="*/ 4787659 h 7458372"/>
              <a:gd name="connsiteX16094" fmla="*/ 7646991 w 10505529"/>
              <a:gd name="connsiteY16094" fmla="*/ 4787659 h 7458372"/>
              <a:gd name="connsiteX16095" fmla="*/ 7658705 w 10505529"/>
              <a:gd name="connsiteY16095" fmla="*/ 4790321 h 7458372"/>
              <a:gd name="connsiteX16096" fmla="*/ 7668022 w 10505529"/>
              <a:gd name="connsiteY16096" fmla="*/ 4796711 h 7458372"/>
              <a:gd name="connsiteX16097" fmla="*/ 7674146 w 10505529"/>
              <a:gd name="connsiteY16097" fmla="*/ 4806029 h 7458372"/>
              <a:gd name="connsiteX16098" fmla="*/ 7676409 w 10505529"/>
              <a:gd name="connsiteY16098" fmla="*/ 4817477 h 7458372"/>
              <a:gd name="connsiteX16099" fmla="*/ 7674146 w 10505529"/>
              <a:gd name="connsiteY16099" fmla="*/ 4829192 h 7458372"/>
              <a:gd name="connsiteX16100" fmla="*/ 7668022 w 10505529"/>
              <a:gd name="connsiteY16100" fmla="*/ 4838511 h 7458372"/>
              <a:gd name="connsiteX16101" fmla="*/ 7658705 w 10505529"/>
              <a:gd name="connsiteY16101" fmla="*/ 4844767 h 7458372"/>
              <a:gd name="connsiteX16102" fmla="*/ 7646991 w 10505529"/>
              <a:gd name="connsiteY16102" fmla="*/ 4847030 h 7458372"/>
              <a:gd name="connsiteX16103" fmla="*/ 7625158 w 10505529"/>
              <a:gd name="connsiteY16103" fmla="*/ 4838511 h 7458372"/>
              <a:gd name="connsiteX16104" fmla="*/ 7616772 w 10505529"/>
              <a:gd name="connsiteY16104" fmla="*/ 4817344 h 7458372"/>
              <a:gd name="connsiteX16105" fmla="*/ 7625158 w 10505529"/>
              <a:gd name="connsiteY16105" fmla="*/ 4796312 h 7458372"/>
              <a:gd name="connsiteX16106" fmla="*/ 7646991 w 10505529"/>
              <a:gd name="connsiteY16106" fmla="*/ 4787659 h 7458372"/>
              <a:gd name="connsiteX16107" fmla="*/ 7429345 w 10505529"/>
              <a:gd name="connsiteY16107" fmla="*/ 4787659 h 7458372"/>
              <a:gd name="connsiteX16108" fmla="*/ 7441059 w 10505529"/>
              <a:gd name="connsiteY16108" fmla="*/ 4790321 h 7458372"/>
              <a:gd name="connsiteX16109" fmla="*/ 7450377 w 10505529"/>
              <a:gd name="connsiteY16109" fmla="*/ 4796711 h 7458372"/>
              <a:gd name="connsiteX16110" fmla="*/ 7456501 w 10505529"/>
              <a:gd name="connsiteY16110" fmla="*/ 4806029 h 7458372"/>
              <a:gd name="connsiteX16111" fmla="*/ 7458764 w 10505529"/>
              <a:gd name="connsiteY16111" fmla="*/ 4817477 h 7458372"/>
              <a:gd name="connsiteX16112" fmla="*/ 7456501 w 10505529"/>
              <a:gd name="connsiteY16112" fmla="*/ 4829192 h 7458372"/>
              <a:gd name="connsiteX16113" fmla="*/ 7450377 w 10505529"/>
              <a:gd name="connsiteY16113" fmla="*/ 4838511 h 7458372"/>
              <a:gd name="connsiteX16114" fmla="*/ 7441059 w 10505529"/>
              <a:gd name="connsiteY16114" fmla="*/ 4844767 h 7458372"/>
              <a:gd name="connsiteX16115" fmla="*/ 7429345 w 10505529"/>
              <a:gd name="connsiteY16115" fmla="*/ 4847030 h 7458372"/>
              <a:gd name="connsiteX16116" fmla="*/ 7407513 w 10505529"/>
              <a:gd name="connsiteY16116" fmla="*/ 4838511 h 7458372"/>
              <a:gd name="connsiteX16117" fmla="*/ 7399127 w 10505529"/>
              <a:gd name="connsiteY16117" fmla="*/ 4817344 h 7458372"/>
              <a:gd name="connsiteX16118" fmla="*/ 7407513 w 10505529"/>
              <a:gd name="connsiteY16118" fmla="*/ 4796312 h 7458372"/>
              <a:gd name="connsiteX16119" fmla="*/ 7429345 w 10505529"/>
              <a:gd name="connsiteY16119" fmla="*/ 4787659 h 7458372"/>
              <a:gd name="connsiteX16120" fmla="*/ 7211701 w 10505529"/>
              <a:gd name="connsiteY16120" fmla="*/ 4787659 h 7458372"/>
              <a:gd name="connsiteX16121" fmla="*/ 7223415 w 10505529"/>
              <a:gd name="connsiteY16121" fmla="*/ 4790321 h 7458372"/>
              <a:gd name="connsiteX16122" fmla="*/ 7232733 w 10505529"/>
              <a:gd name="connsiteY16122" fmla="*/ 4796711 h 7458372"/>
              <a:gd name="connsiteX16123" fmla="*/ 7238856 w 10505529"/>
              <a:gd name="connsiteY16123" fmla="*/ 4806029 h 7458372"/>
              <a:gd name="connsiteX16124" fmla="*/ 7241120 w 10505529"/>
              <a:gd name="connsiteY16124" fmla="*/ 4817477 h 7458372"/>
              <a:gd name="connsiteX16125" fmla="*/ 7238856 w 10505529"/>
              <a:gd name="connsiteY16125" fmla="*/ 4829192 h 7458372"/>
              <a:gd name="connsiteX16126" fmla="*/ 7232733 w 10505529"/>
              <a:gd name="connsiteY16126" fmla="*/ 4838511 h 7458372"/>
              <a:gd name="connsiteX16127" fmla="*/ 7223415 w 10505529"/>
              <a:gd name="connsiteY16127" fmla="*/ 4844767 h 7458372"/>
              <a:gd name="connsiteX16128" fmla="*/ 7211701 w 10505529"/>
              <a:gd name="connsiteY16128" fmla="*/ 4847030 h 7458372"/>
              <a:gd name="connsiteX16129" fmla="*/ 7189868 w 10505529"/>
              <a:gd name="connsiteY16129" fmla="*/ 4838511 h 7458372"/>
              <a:gd name="connsiteX16130" fmla="*/ 7181482 w 10505529"/>
              <a:gd name="connsiteY16130" fmla="*/ 4817344 h 7458372"/>
              <a:gd name="connsiteX16131" fmla="*/ 7189868 w 10505529"/>
              <a:gd name="connsiteY16131" fmla="*/ 4796312 h 7458372"/>
              <a:gd name="connsiteX16132" fmla="*/ 7211701 w 10505529"/>
              <a:gd name="connsiteY16132" fmla="*/ 4787659 h 7458372"/>
              <a:gd name="connsiteX16133" fmla="*/ 6994056 w 10505529"/>
              <a:gd name="connsiteY16133" fmla="*/ 4787659 h 7458372"/>
              <a:gd name="connsiteX16134" fmla="*/ 7005769 w 10505529"/>
              <a:gd name="connsiteY16134" fmla="*/ 4790321 h 7458372"/>
              <a:gd name="connsiteX16135" fmla="*/ 7015087 w 10505529"/>
              <a:gd name="connsiteY16135" fmla="*/ 4796711 h 7458372"/>
              <a:gd name="connsiteX16136" fmla="*/ 7021211 w 10505529"/>
              <a:gd name="connsiteY16136" fmla="*/ 4806029 h 7458372"/>
              <a:gd name="connsiteX16137" fmla="*/ 7023474 w 10505529"/>
              <a:gd name="connsiteY16137" fmla="*/ 4817477 h 7458372"/>
              <a:gd name="connsiteX16138" fmla="*/ 7021211 w 10505529"/>
              <a:gd name="connsiteY16138" fmla="*/ 4829192 h 7458372"/>
              <a:gd name="connsiteX16139" fmla="*/ 7015087 w 10505529"/>
              <a:gd name="connsiteY16139" fmla="*/ 4838511 h 7458372"/>
              <a:gd name="connsiteX16140" fmla="*/ 7005769 w 10505529"/>
              <a:gd name="connsiteY16140" fmla="*/ 4844767 h 7458372"/>
              <a:gd name="connsiteX16141" fmla="*/ 6994056 w 10505529"/>
              <a:gd name="connsiteY16141" fmla="*/ 4847030 h 7458372"/>
              <a:gd name="connsiteX16142" fmla="*/ 6972223 w 10505529"/>
              <a:gd name="connsiteY16142" fmla="*/ 4838511 h 7458372"/>
              <a:gd name="connsiteX16143" fmla="*/ 6963837 w 10505529"/>
              <a:gd name="connsiteY16143" fmla="*/ 4817344 h 7458372"/>
              <a:gd name="connsiteX16144" fmla="*/ 6972223 w 10505529"/>
              <a:gd name="connsiteY16144" fmla="*/ 4796312 h 7458372"/>
              <a:gd name="connsiteX16145" fmla="*/ 6994056 w 10505529"/>
              <a:gd name="connsiteY16145" fmla="*/ 4787659 h 7458372"/>
              <a:gd name="connsiteX16146" fmla="*/ 6776544 w 10505529"/>
              <a:gd name="connsiteY16146" fmla="*/ 4787659 h 7458372"/>
              <a:gd name="connsiteX16147" fmla="*/ 6788258 w 10505529"/>
              <a:gd name="connsiteY16147" fmla="*/ 4790321 h 7458372"/>
              <a:gd name="connsiteX16148" fmla="*/ 6797576 w 10505529"/>
              <a:gd name="connsiteY16148" fmla="*/ 4796711 h 7458372"/>
              <a:gd name="connsiteX16149" fmla="*/ 6803699 w 10505529"/>
              <a:gd name="connsiteY16149" fmla="*/ 4806029 h 7458372"/>
              <a:gd name="connsiteX16150" fmla="*/ 6805963 w 10505529"/>
              <a:gd name="connsiteY16150" fmla="*/ 4817477 h 7458372"/>
              <a:gd name="connsiteX16151" fmla="*/ 6803699 w 10505529"/>
              <a:gd name="connsiteY16151" fmla="*/ 4829192 h 7458372"/>
              <a:gd name="connsiteX16152" fmla="*/ 6797576 w 10505529"/>
              <a:gd name="connsiteY16152" fmla="*/ 4838511 h 7458372"/>
              <a:gd name="connsiteX16153" fmla="*/ 6788258 w 10505529"/>
              <a:gd name="connsiteY16153" fmla="*/ 4844767 h 7458372"/>
              <a:gd name="connsiteX16154" fmla="*/ 6776544 w 10505529"/>
              <a:gd name="connsiteY16154" fmla="*/ 4847030 h 7458372"/>
              <a:gd name="connsiteX16155" fmla="*/ 6754711 w 10505529"/>
              <a:gd name="connsiteY16155" fmla="*/ 4838511 h 7458372"/>
              <a:gd name="connsiteX16156" fmla="*/ 6746325 w 10505529"/>
              <a:gd name="connsiteY16156" fmla="*/ 4817344 h 7458372"/>
              <a:gd name="connsiteX16157" fmla="*/ 6754711 w 10505529"/>
              <a:gd name="connsiteY16157" fmla="*/ 4796312 h 7458372"/>
              <a:gd name="connsiteX16158" fmla="*/ 6776544 w 10505529"/>
              <a:gd name="connsiteY16158" fmla="*/ 4787659 h 7458372"/>
              <a:gd name="connsiteX16159" fmla="*/ 6558899 w 10505529"/>
              <a:gd name="connsiteY16159" fmla="*/ 4787659 h 7458372"/>
              <a:gd name="connsiteX16160" fmla="*/ 6570612 w 10505529"/>
              <a:gd name="connsiteY16160" fmla="*/ 4790321 h 7458372"/>
              <a:gd name="connsiteX16161" fmla="*/ 6579930 w 10505529"/>
              <a:gd name="connsiteY16161" fmla="*/ 4796711 h 7458372"/>
              <a:gd name="connsiteX16162" fmla="*/ 6586054 w 10505529"/>
              <a:gd name="connsiteY16162" fmla="*/ 4806029 h 7458372"/>
              <a:gd name="connsiteX16163" fmla="*/ 6588317 w 10505529"/>
              <a:gd name="connsiteY16163" fmla="*/ 4817477 h 7458372"/>
              <a:gd name="connsiteX16164" fmla="*/ 6586054 w 10505529"/>
              <a:gd name="connsiteY16164" fmla="*/ 4829192 h 7458372"/>
              <a:gd name="connsiteX16165" fmla="*/ 6579930 w 10505529"/>
              <a:gd name="connsiteY16165" fmla="*/ 4838511 h 7458372"/>
              <a:gd name="connsiteX16166" fmla="*/ 6570612 w 10505529"/>
              <a:gd name="connsiteY16166" fmla="*/ 4844767 h 7458372"/>
              <a:gd name="connsiteX16167" fmla="*/ 6558899 w 10505529"/>
              <a:gd name="connsiteY16167" fmla="*/ 4847030 h 7458372"/>
              <a:gd name="connsiteX16168" fmla="*/ 6537066 w 10505529"/>
              <a:gd name="connsiteY16168" fmla="*/ 4838511 h 7458372"/>
              <a:gd name="connsiteX16169" fmla="*/ 6528680 w 10505529"/>
              <a:gd name="connsiteY16169" fmla="*/ 4817344 h 7458372"/>
              <a:gd name="connsiteX16170" fmla="*/ 6537066 w 10505529"/>
              <a:gd name="connsiteY16170" fmla="*/ 4796312 h 7458372"/>
              <a:gd name="connsiteX16171" fmla="*/ 6558899 w 10505529"/>
              <a:gd name="connsiteY16171" fmla="*/ 4787659 h 7458372"/>
              <a:gd name="connsiteX16172" fmla="*/ 6341253 w 10505529"/>
              <a:gd name="connsiteY16172" fmla="*/ 4787659 h 7458372"/>
              <a:gd name="connsiteX16173" fmla="*/ 6352968 w 10505529"/>
              <a:gd name="connsiteY16173" fmla="*/ 4790321 h 7458372"/>
              <a:gd name="connsiteX16174" fmla="*/ 6362286 w 10505529"/>
              <a:gd name="connsiteY16174" fmla="*/ 4796711 h 7458372"/>
              <a:gd name="connsiteX16175" fmla="*/ 6368409 w 10505529"/>
              <a:gd name="connsiteY16175" fmla="*/ 4806029 h 7458372"/>
              <a:gd name="connsiteX16176" fmla="*/ 6370672 w 10505529"/>
              <a:gd name="connsiteY16176" fmla="*/ 4817477 h 7458372"/>
              <a:gd name="connsiteX16177" fmla="*/ 6368409 w 10505529"/>
              <a:gd name="connsiteY16177" fmla="*/ 4829192 h 7458372"/>
              <a:gd name="connsiteX16178" fmla="*/ 6362286 w 10505529"/>
              <a:gd name="connsiteY16178" fmla="*/ 4838511 h 7458372"/>
              <a:gd name="connsiteX16179" fmla="*/ 6352968 w 10505529"/>
              <a:gd name="connsiteY16179" fmla="*/ 4844767 h 7458372"/>
              <a:gd name="connsiteX16180" fmla="*/ 6341253 w 10505529"/>
              <a:gd name="connsiteY16180" fmla="*/ 4847030 h 7458372"/>
              <a:gd name="connsiteX16181" fmla="*/ 6319421 w 10505529"/>
              <a:gd name="connsiteY16181" fmla="*/ 4838511 h 7458372"/>
              <a:gd name="connsiteX16182" fmla="*/ 6311035 w 10505529"/>
              <a:gd name="connsiteY16182" fmla="*/ 4817344 h 7458372"/>
              <a:gd name="connsiteX16183" fmla="*/ 6319421 w 10505529"/>
              <a:gd name="connsiteY16183" fmla="*/ 4796312 h 7458372"/>
              <a:gd name="connsiteX16184" fmla="*/ 6341253 w 10505529"/>
              <a:gd name="connsiteY16184" fmla="*/ 4787659 h 7458372"/>
              <a:gd name="connsiteX16185" fmla="*/ 6123608 w 10505529"/>
              <a:gd name="connsiteY16185" fmla="*/ 4787659 h 7458372"/>
              <a:gd name="connsiteX16186" fmla="*/ 6135322 w 10505529"/>
              <a:gd name="connsiteY16186" fmla="*/ 4790321 h 7458372"/>
              <a:gd name="connsiteX16187" fmla="*/ 6144640 w 10505529"/>
              <a:gd name="connsiteY16187" fmla="*/ 4796711 h 7458372"/>
              <a:gd name="connsiteX16188" fmla="*/ 6150763 w 10505529"/>
              <a:gd name="connsiteY16188" fmla="*/ 4806029 h 7458372"/>
              <a:gd name="connsiteX16189" fmla="*/ 6153026 w 10505529"/>
              <a:gd name="connsiteY16189" fmla="*/ 4817477 h 7458372"/>
              <a:gd name="connsiteX16190" fmla="*/ 6150763 w 10505529"/>
              <a:gd name="connsiteY16190" fmla="*/ 4829192 h 7458372"/>
              <a:gd name="connsiteX16191" fmla="*/ 6144640 w 10505529"/>
              <a:gd name="connsiteY16191" fmla="*/ 4838511 h 7458372"/>
              <a:gd name="connsiteX16192" fmla="*/ 6135322 w 10505529"/>
              <a:gd name="connsiteY16192" fmla="*/ 4844767 h 7458372"/>
              <a:gd name="connsiteX16193" fmla="*/ 6123608 w 10505529"/>
              <a:gd name="connsiteY16193" fmla="*/ 4847030 h 7458372"/>
              <a:gd name="connsiteX16194" fmla="*/ 6101775 w 10505529"/>
              <a:gd name="connsiteY16194" fmla="*/ 4838511 h 7458372"/>
              <a:gd name="connsiteX16195" fmla="*/ 6093389 w 10505529"/>
              <a:gd name="connsiteY16195" fmla="*/ 4817344 h 7458372"/>
              <a:gd name="connsiteX16196" fmla="*/ 6101775 w 10505529"/>
              <a:gd name="connsiteY16196" fmla="*/ 4796312 h 7458372"/>
              <a:gd name="connsiteX16197" fmla="*/ 6123608 w 10505529"/>
              <a:gd name="connsiteY16197" fmla="*/ 4787659 h 7458372"/>
              <a:gd name="connsiteX16198" fmla="*/ 5905963 w 10505529"/>
              <a:gd name="connsiteY16198" fmla="*/ 4787659 h 7458372"/>
              <a:gd name="connsiteX16199" fmla="*/ 5917677 w 10505529"/>
              <a:gd name="connsiteY16199" fmla="*/ 4790321 h 7458372"/>
              <a:gd name="connsiteX16200" fmla="*/ 5926995 w 10505529"/>
              <a:gd name="connsiteY16200" fmla="*/ 4796711 h 7458372"/>
              <a:gd name="connsiteX16201" fmla="*/ 5933118 w 10505529"/>
              <a:gd name="connsiteY16201" fmla="*/ 4806029 h 7458372"/>
              <a:gd name="connsiteX16202" fmla="*/ 5935381 w 10505529"/>
              <a:gd name="connsiteY16202" fmla="*/ 4817477 h 7458372"/>
              <a:gd name="connsiteX16203" fmla="*/ 5933118 w 10505529"/>
              <a:gd name="connsiteY16203" fmla="*/ 4829192 h 7458372"/>
              <a:gd name="connsiteX16204" fmla="*/ 5926995 w 10505529"/>
              <a:gd name="connsiteY16204" fmla="*/ 4838511 h 7458372"/>
              <a:gd name="connsiteX16205" fmla="*/ 5917677 w 10505529"/>
              <a:gd name="connsiteY16205" fmla="*/ 4844767 h 7458372"/>
              <a:gd name="connsiteX16206" fmla="*/ 5905963 w 10505529"/>
              <a:gd name="connsiteY16206" fmla="*/ 4847030 h 7458372"/>
              <a:gd name="connsiteX16207" fmla="*/ 5884130 w 10505529"/>
              <a:gd name="connsiteY16207" fmla="*/ 4838511 h 7458372"/>
              <a:gd name="connsiteX16208" fmla="*/ 5875744 w 10505529"/>
              <a:gd name="connsiteY16208" fmla="*/ 4817344 h 7458372"/>
              <a:gd name="connsiteX16209" fmla="*/ 5884130 w 10505529"/>
              <a:gd name="connsiteY16209" fmla="*/ 4796312 h 7458372"/>
              <a:gd name="connsiteX16210" fmla="*/ 5905963 w 10505529"/>
              <a:gd name="connsiteY16210" fmla="*/ 4787659 h 7458372"/>
              <a:gd name="connsiteX16211" fmla="*/ 5688451 w 10505529"/>
              <a:gd name="connsiteY16211" fmla="*/ 4787659 h 7458372"/>
              <a:gd name="connsiteX16212" fmla="*/ 5700165 w 10505529"/>
              <a:gd name="connsiteY16212" fmla="*/ 4790321 h 7458372"/>
              <a:gd name="connsiteX16213" fmla="*/ 5709483 w 10505529"/>
              <a:gd name="connsiteY16213" fmla="*/ 4796711 h 7458372"/>
              <a:gd name="connsiteX16214" fmla="*/ 5715606 w 10505529"/>
              <a:gd name="connsiteY16214" fmla="*/ 4806029 h 7458372"/>
              <a:gd name="connsiteX16215" fmla="*/ 5717869 w 10505529"/>
              <a:gd name="connsiteY16215" fmla="*/ 4817477 h 7458372"/>
              <a:gd name="connsiteX16216" fmla="*/ 5715606 w 10505529"/>
              <a:gd name="connsiteY16216" fmla="*/ 4829192 h 7458372"/>
              <a:gd name="connsiteX16217" fmla="*/ 5709483 w 10505529"/>
              <a:gd name="connsiteY16217" fmla="*/ 4838511 h 7458372"/>
              <a:gd name="connsiteX16218" fmla="*/ 5700165 w 10505529"/>
              <a:gd name="connsiteY16218" fmla="*/ 4844767 h 7458372"/>
              <a:gd name="connsiteX16219" fmla="*/ 5688451 w 10505529"/>
              <a:gd name="connsiteY16219" fmla="*/ 4847030 h 7458372"/>
              <a:gd name="connsiteX16220" fmla="*/ 5666618 w 10505529"/>
              <a:gd name="connsiteY16220" fmla="*/ 4838511 h 7458372"/>
              <a:gd name="connsiteX16221" fmla="*/ 5658232 w 10505529"/>
              <a:gd name="connsiteY16221" fmla="*/ 4817344 h 7458372"/>
              <a:gd name="connsiteX16222" fmla="*/ 5666618 w 10505529"/>
              <a:gd name="connsiteY16222" fmla="*/ 4796312 h 7458372"/>
              <a:gd name="connsiteX16223" fmla="*/ 5688451 w 10505529"/>
              <a:gd name="connsiteY16223" fmla="*/ 4787659 h 7458372"/>
              <a:gd name="connsiteX16224" fmla="*/ 5470806 w 10505529"/>
              <a:gd name="connsiteY16224" fmla="*/ 4787659 h 7458372"/>
              <a:gd name="connsiteX16225" fmla="*/ 5482520 w 10505529"/>
              <a:gd name="connsiteY16225" fmla="*/ 4790321 h 7458372"/>
              <a:gd name="connsiteX16226" fmla="*/ 5491838 w 10505529"/>
              <a:gd name="connsiteY16226" fmla="*/ 4796711 h 7458372"/>
              <a:gd name="connsiteX16227" fmla="*/ 5497961 w 10505529"/>
              <a:gd name="connsiteY16227" fmla="*/ 4806029 h 7458372"/>
              <a:gd name="connsiteX16228" fmla="*/ 5500224 w 10505529"/>
              <a:gd name="connsiteY16228" fmla="*/ 4817477 h 7458372"/>
              <a:gd name="connsiteX16229" fmla="*/ 5497961 w 10505529"/>
              <a:gd name="connsiteY16229" fmla="*/ 4829192 h 7458372"/>
              <a:gd name="connsiteX16230" fmla="*/ 5491838 w 10505529"/>
              <a:gd name="connsiteY16230" fmla="*/ 4838511 h 7458372"/>
              <a:gd name="connsiteX16231" fmla="*/ 5482520 w 10505529"/>
              <a:gd name="connsiteY16231" fmla="*/ 4844767 h 7458372"/>
              <a:gd name="connsiteX16232" fmla="*/ 5470806 w 10505529"/>
              <a:gd name="connsiteY16232" fmla="*/ 4847030 h 7458372"/>
              <a:gd name="connsiteX16233" fmla="*/ 5448973 w 10505529"/>
              <a:gd name="connsiteY16233" fmla="*/ 4838511 h 7458372"/>
              <a:gd name="connsiteX16234" fmla="*/ 5440587 w 10505529"/>
              <a:gd name="connsiteY16234" fmla="*/ 4817344 h 7458372"/>
              <a:gd name="connsiteX16235" fmla="*/ 5448973 w 10505529"/>
              <a:gd name="connsiteY16235" fmla="*/ 4796312 h 7458372"/>
              <a:gd name="connsiteX16236" fmla="*/ 5470806 w 10505529"/>
              <a:gd name="connsiteY16236" fmla="*/ 4787659 h 7458372"/>
              <a:gd name="connsiteX16237" fmla="*/ 5253160 w 10505529"/>
              <a:gd name="connsiteY16237" fmla="*/ 4787659 h 7458372"/>
              <a:gd name="connsiteX16238" fmla="*/ 5264875 w 10505529"/>
              <a:gd name="connsiteY16238" fmla="*/ 4790321 h 7458372"/>
              <a:gd name="connsiteX16239" fmla="*/ 5274192 w 10505529"/>
              <a:gd name="connsiteY16239" fmla="*/ 4796711 h 7458372"/>
              <a:gd name="connsiteX16240" fmla="*/ 5280316 w 10505529"/>
              <a:gd name="connsiteY16240" fmla="*/ 4806029 h 7458372"/>
              <a:gd name="connsiteX16241" fmla="*/ 5282579 w 10505529"/>
              <a:gd name="connsiteY16241" fmla="*/ 4817477 h 7458372"/>
              <a:gd name="connsiteX16242" fmla="*/ 5280316 w 10505529"/>
              <a:gd name="connsiteY16242" fmla="*/ 4829192 h 7458372"/>
              <a:gd name="connsiteX16243" fmla="*/ 5274192 w 10505529"/>
              <a:gd name="connsiteY16243" fmla="*/ 4838511 h 7458372"/>
              <a:gd name="connsiteX16244" fmla="*/ 5264875 w 10505529"/>
              <a:gd name="connsiteY16244" fmla="*/ 4844767 h 7458372"/>
              <a:gd name="connsiteX16245" fmla="*/ 5253160 w 10505529"/>
              <a:gd name="connsiteY16245" fmla="*/ 4847030 h 7458372"/>
              <a:gd name="connsiteX16246" fmla="*/ 5231328 w 10505529"/>
              <a:gd name="connsiteY16246" fmla="*/ 4838511 h 7458372"/>
              <a:gd name="connsiteX16247" fmla="*/ 5222942 w 10505529"/>
              <a:gd name="connsiteY16247" fmla="*/ 4817344 h 7458372"/>
              <a:gd name="connsiteX16248" fmla="*/ 5231328 w 10505529"/>
              <a:gd name="connsiteY16248" fmla="*/ 4796312 h 7458372"/>
              <a:gd name="connsiteX16249" fmla="*/ 5253160 w 10505529"/>
              <a:gd name="connsiteY16249" fmla="*/ 4787659 h 7458372"/>
              <a:gd name="connsiteX16250" fmla="*/ 5035515 w 10505529"/>
              <a:gd name="connsiteY16250" fmla="*/ 4787659 h 7458372"/>
              <a:gd name="connsiteX16251" fmla="*/ 5047230 w 10505529"/>
              <a:gd name="connsiteY16251" fmla="*/ 4790321 h 7458372"/>
              <a:gd name="connsiteX16252" fmla="*/ 5056548 w 10505529"/>
              <a:gd name="connsiteY16252" fmla="*/ 4796711 h 7458372"/>
              <a:gd name="connsiteX16253" fmla="*/ 5062671 w 10505529"/>
              <a:gd name="connsiteY16253" fmla="*/ 4806029 h 7458372"/>
              <a:gd name="connsiteX16254" fmla="*/ 5064934 w 10505529"/>
              <a:gd name="connsiteY16254" fmla="*/ 4817477 h 7458372"/>
              <a:gd name="connsiteX16255" fmla="*/ 5062671 w 10505529"/>
              <a:gd name="connsiteY16255" fmla="*/ 4829192 h 7458372"/>
              <a:gd name="connsiteX16256" fmla="*/ 5056548 w 10505529"/>
              <a:gd name="connsiteY16256" fmla="*/ 4838511 h 7458372"/>
              <a:gd name="connsiteX16257" fmla="*/ 5047230 w 10505529"/>
              <a:gd name="connsiteY16257" fmla="*/ 4844767 h 7458372"/>
              <a:gd name="connsiteX16258" fmla="*/ 5035515 w 10505529"/>
              <a:gd name="connsiteY16258" fmla="*/ 4847030 h 7458372"/>
              <a:gd name="connsiteX16259" fmla="*/ 5013683 w 10505529"/>
              <a:gd name="connsiteY16259" fmla="*/ 4838511 h 7458372"/>
              <a:gd name="connsiteX16260" fmla="*/ 5005297 w 10505529"/>
              <a:gd name="connsiteY16260" fmla="*/ 4817344 h 7458372"/>
              <a:gd name="connsiteX16261" fmla="*/ 5013683 w 10505529"/>
              <a:gd name="connsiteY16261" fmla="*/ 4796312 h 7458372"/>
              <a:gd name="connsiteX16262" fmla="*/ 5035515 w 10505529"/>
              <a:gd name="connsiteY16262" fmla="*/ 4787659 h 7458372"/>
              <a:gd name="connsiteX16263" fmla="*/ 4817870 w 10505529"/>
              <a:gd name="connsiteY16263" fmla="*/ 4787659 h 7458372"/>
              <a:gd name="connsiteX16264" fmla="*/ 4829585 w 10505529"/>
              <a:gd name="connsiteY16264" fmla="*/ 4790321 h 7458372"/>
              <a:gd name="connsiteX16265" fmla="*/ 4838903 w 10505529"/>
              <a:gd name="connsiteY16265" fmla="*/ 4796711 h 7458372"/>
              <a:gd name="connsiteX16266" fmla="*/ 4845026 w 10505529"/>
              <a:gd name="connsiteY16266" fmla="*/ 4806029 h 7458372"/>
              <a:gd name="connsiteX16267" fmla="*/ 4847289 w 10505529"/>
              <a:gd name="connsiteY16267" fmla="*/ 4817477 h 7458372"/>
              <a:gd name="connsiteX16268" fmla="*/ 4845026 w 10505529"/>
              <a:gd name="connsiteY16268" fmla="*/ 4829192 h 7458372"/>
              <a:gd name="connsiteX16269" fmla="*/ 4838903 w 10505529"/>
              <a:gd name="connsiteY16269" fmla="*/ 4838511 h 7458372"/>
              <a:gd name="connsiteX16270" fmla="*/ 4829585 w 10505529"/>
              <a:gd name="connsiteY16270" fmla="*/ 4844767 h 7458372"/>
              <a:gd name="connsiteX16271" fmla="*/ 4817870 w 10505529"/>
              <a:gd name="connsiteY16271" fmla="*/ 4847030 h 7458372"/>
              <a:gd name="connsiteX16272" fmla="*/ 4796038 w 10505529"/>
              <a:gd name="connsiteY16272" fmla="*/ 4838511 h 7458372"/>
              <a:gd name="connsiteX16273" fmla="*/ 4787652 w 10505529"/>
              <a:gd name="connsiteY16273" fmla="*/ 4817344 h 7458372"/>
              <a:gd name="connsiteX16274" fmla="*/ 4796038 w 10505529"/>
              <a:gd name="connsiteY16274" fmla="*/ 4796312 h 7458372"/>
              <a:gd name="connsiteX16275" fmla="*/ 4817870 w 10505529"/>
              <a:gd name="connsiteY16275" fmla="*/ 4787659 h 7458372"/>
              <a:gd name="connsiteX16276" fmla="*/ 4600226 w 10505529"/>
              <a:gd name="connsiteY16276" fmla="*/ 4787659 h 7458372"/>
              <a:gd name="connsiteX16277" fmla="*/ 4612073 w 10505529"/>
              <a:gd name="connsiteY16277" fmla="*/ 4790321 h 7458372"/>
              <a:gd name="connsiteX16278" fmla="*/ 4621391 w 10505529"/>
              <a:gd name="connsiteY16278" fmla="*/ 4796711 h 7458372"/>
              <a:gd name="connsiteX16279" fmla="*/ 4627514 w 10505529"/>
              <a:gd name="connsiteY16279" fmla="*/ 4806029 h 7458372"/>
              <a:gd name="connsiteX16280" fmla="*/ 4629777 w 10505529"/>
              <a:gd name="connsiteY16280" fmla="*/ 4817477 h 7458372"/>
              <a:gd name="connsiteX16281" fmla="*/ 4627514 w 10505529"/>
              <a:gd name="connsiteY16281" fmla="*/ 4829192 h 7458372"/>
              <a:gd name="connsiteX16282" fmla="*/ 4621391 w 10505529"/>
              <a:gd name="connsiteY16282" fmla="*/ 4838511 h 7458372"/>
              <a:gd name="connsiteX16283" fmla="*/ 4612073 w 10505529"/>
              <a:gd name="connsiteY16283" fmla="*/ 4844767 h 7458372"/>
              <a:gd name="connsiteX16284" fmla="*/ 4600226 w 10505529"/>
              <a:gd name="connsiteY16284" fmla="*/ 4847030 h 7458372"/>
              <a:gd name="connsiteX16285" fmla="*/ 4578393 w 10505529"/>
              <a:gd name="connsiteY16285" fmla="*/ 4838511 h 7458372"/>
              <a:gd name="connsiteX16286" fmla="*/ 4570007 w 10505529"/>
              <a:gd name="connsiteY16286" fmla="*/ 4817344 h 7458372"/>
              <a:gd name="connsiteX16287" fmla="*/ 4578393 w 10505529"/>
              <a:gd name="connsiteY16287" fmla="*/ 4796312 h 7458372"/>
              <a:gd name="connsiteX16288" fmla="*/ 4600226 w 10505529"/>
              <a:gd name="connsiteY16288" fmla="*/ 4787659 h 7458372"/>
              <a:gd name="connsiteX16289" fmla="*/ 4382713 w 10505529"/>
              <a:gd name="connsiteY16289" fmla="*/ 4787659 h 7458372"/>
              <a:gd name="connsiteX16290" fmla="*/ 4394428 w 10505529"/>
              <a:gd name="connsiteY16290" fmla="*/ 4790321 h 7458372"/>
              <a:gd name="connsiteX16291" fmla="*/ 4403746 w 10505529"/>
              <a:gd name="connsiteY16291" fmla="*/ 4796711 h 7458372"/>
              <a:gd name="connsiteX16292" fmla="*/ 4409869 w 10505529"/>
              <a:gd name="connsiteY16292" fmla="*/ 4806029 h 7458372"/>
              <a:gd name="connsiteX16293" fmla="*/ 4412132 w 10505529"/>
              <a:gd name="connsiteY16293" fmla="*/ 4817477 h 7458372"/>
              <a:gd name="connsiteX16294" fmla="*/ 4409869 w 10505529"/>
              <a:gd name="connsiteY16294" fmla="*/ 4829192 h 7458372"/>
              <a:gd name="connsiteX16295" fmla="*/ 4403746 w 10505529"/>
              <a:gd name="connsiteY16295" fmla="*/ 4838511 h 7458372"/>
              <a:gd name="connsiteX16296" fmla="*/ 4394428 w 10505529"/>
              <a:gd name="connsiteY16296" fmla="*/ 4844767 h 7458372"/>
              <a:gd name="connsiteX16297" fmla="*/ 4382713 w 10505529"/>
              <a:gd name="connsiteY16297" fmla="*/ 4847030 h 7458372"/>
              <a:gd name="connsiteX16298" fmla="*/ 4360881 w 10505529"/>
              <a:gd name="connsiteY16298" fmla="*/ 4838511 h 7458372"/>
              <a:gd name="connsiteX16299" fmla="*/ 4352495 w 10505529"/>
              <a:gd name="connsiteY16299" fmla="*/ 4817344 h 7458372"/>
              <a:gd name="connsiteX16300" fmla="*/ 4360881 w 10505529"/>
              <a:gd name="connsiteY16300" fmla="*/ 4796312 h 7458372"/>
              <a:gd name="connsiteX16301" fmla="*/ 4382713 w 10505529"/>
              <a:gd name="connsiteY16301" fmla="*/ 4787659 h 7458372"/>
              <a:gd name="connsiteX16302" fmla="*/ 4165068 w 10505529"/>
              <a:gd name="connsiteY16302" fmla="*/ 4787659 h 7458372"/>
              <a:gd name="connsiteX16303" fmla="*/ 4176782 w 10505529"/>
              <a:gd name="connsiteY16303" fmla="*/ 4790321 h 7458372"/>
              <a:gd name="connsiteX16304" fmla="*/ 4186100 w 10505529"/>
              <a:gd name="connsiteY16304" fmla="*/ 4796711 h 7458372"/>
              <a:gd name="connsiteX16305" fmla="*/ 4192223 w 10505529"/>
              <a:gd name="connsiteY16305" fmla="*/ 4806029 h 7458372"/>
              <a:gd name="connsiteX16306" fmla="*/ 4194486 w 10505529"/>
              <a:gd name="connsiteY16306" fmla="*/ 4817477 h 7458372"/>
              <a:gd name="connsiteX16307" fmla="*/ 4192223 w 10505529"/>
              <a:gd name="connsiteY16307" fmla="*/ 4829192 h 7458372"/>
              <a:gd name="connsiteX16308" fmla="*/ 4186100 w 10505529"/>
              <a:gd name="connsiteY16308" fmla="*/ 4838511 h 7458372"/>
              <a:gd name="connsiteX16309" fmla="*/ 4176782 w 10505529"/>
              <a:gd name="connsiteY16309" fmla="*/ 4844767 h 7458372"/>
              <a:gd name="connsiteX16310" fmla="*/ 4165068 w 10505529"/>
              <a:gd name="connsiteY16310" fmla="*/ 4847030 h 7458372"/>
              <a:gd name="connsiteX16311" fmla="*/ 4143235 w 10505529"/>
              <a:gd name="connsiteY16311" fmla="*/ 4838511 h 7458372"/>
              <a:gd name="connsiteX16312" fmla="*/ 4134849 w 10505529"/>
              <a:gd name="connsiteY16312" fmla="*/ 4817344 h 7458372"/>
              <a:gd name="connsiteX16313" fmla="*/ 4143235 w 10505529"/>
              <a:gd name="connsiteY16313" fmla="*/ 4796312 h 7458372"/>
              <a:gd name="connsiteX16314" fmla="*/ 4165068 w 10505529"/>
              <a:gd name="connsiteY16314" fmla="*/ 4787659 h 7458372"/>
              <a:gd name="connsiteX16315" fmla="*/ 3947686 w 10505529"/>
              <a:gd name="connsiteY16315" fmla="*/ 4787659 h 7458372"/>
              <a:gd name="connsiteX16316" fmla="*/ 3959404 w 10505529"/>
              <a:gd name="connsiteY16316" fmla="*/ 4790321 h 7458372"/>
              <a:gd name="connsiteX16317" fmla="*/ 3968722 w 10505529"/>
              <a:gd name="connsiteY16317" fmla="*/ 4796711 h 7458372"/>
              <a:gd name="connsiteX16318" fmla="*/ 3974846 w 10505529"/>
              <a:gd name="connsiteY16318" fmla="*/ 4806029 h 7458372"/>
              <a:gd name="connsiteX16319" fmla="*/ 3977109 w 10505529"/>
              <a:gd name="connsiteY16319" fmla="*/ 4817477 h 7458372"/>
              <a:gd name="connsiteX16320" fmla="*/ 3974846 w 10505529"/>
              <a:gd name="connsiteY16320" fmla="*/ 4829192 h 7458372"/>
              <a:gd name="connsiteX16321" fmla="*/ 3968722 w 10505529"/>
              <a:gd name="connsiteY16321" fmla="*/ 4838511 h 7458372"/>
              <a:gd name="connsiteX16322" fmla="*/ 3959404 w 10505529"/>
              <a:gd name="connsiteY16322" fmla="*/ 4844767 h 7458372"/>
              <a:gd name="connsiteX16323" fmla="*/ 3947686 w 10505529"/>
              <a:gd name="connsiteY16323" fmla="*/ 4847030 h 7458372"/>
              <a:gd name="connsiteX16324" fmla="*/ 3925854 w 10505529"/>
              <a:gd name="connsiteY16324" fmla="*/ 4838511 h 7458372"/>
              <a:gd name="connsiteX16325" fmla="*/ 3917467 w 10505529"/>
              <a:gd name="connsiteY16325" fmla="*/ 4817344 h 7458372"/>
              <a:gd name="connsiteX16326" fmla="*/ 3925854 w 10505529"/>
              <a:gd name="connsiteY16326" fmla="*/ 4796312 h 7458372"/>
              <a:gd name="connsiteX16327" fmla="*/ 3947686 w 10505529"/>
              <a:gd name="connsiteY16327" fmla="*/ 4787659 h 7458372"/>
              <a:gd name="connsiteX16328" fmla="*/ 3730029 w 10505529"/>
              <a:gd name="connsiteY16328" fmla="*/ 4787659 h 7458372"/>
              <a:gd name="connsiteX16329" fmla="*/ 3741745 w 10505529"/>
              <a:gd name="connsiteY16329" fmla="*/ 4790321 h 7458372"/>
              <a:gd name="connsiteX16330" fmla="*/ 3751063 w 10505529"/>
              <a:gd name="connsiteY16330" fmla="*/ 4796711 h 7458372"/>
              <a:gd name="connsiteX16331" fmla="*/ 3757186 w 10505529"/>
              <a:gd name="connsiteY16331" fmla="*/ 4806029 h 7458372"/>
              <a:gd name="connsiteX16332" fmla="*/ 3759449 w 10505529"/>
              <a:gd name="connsiteY16332" fmla="*/ 4817477 h 7458372"/>
              <a:gd name="connsiteX16333" fmla="*/ 3757186 w 10505529"/>
              <a:gd name="connsiteY16333" fmla="*/ 4829192 h 7458372"/>
              <a:gd name="connsiteX16334" fmla="*/ 3751063 w 10505529"/>
              <a:gd name="connsiteY16334" fmla="*/ 4838511 h 7458372"/>
              <a:gd name="connsiteX16335" fmla="*/ 3741745 w 10505529"/>
              <a:gd name="connsiteY16335" fmla="*/ 4844767 h 7458372"/>
              <a:gd name="connsiteX16336" fmla="*/ 3730029 w 10505529"/>
              <a:gd name="connsiteY16336" fmla="*/ 4847030 h 7458372"/>
              <a:gd name="connsiteX16337" fmla="*/ 3708190 w 10505529"/>
              <a:gd name="connsiteY16337" fmla="*/ 4838511 h 7458372"/>
              <a:gd name="connsiteX16338" fmla="*/ 3699804 w 10505529"/>
              <a:gd name="connsiteY16338" fmla="*/ 4817344 h 7458372"/>
              <a:gd name="connsiteX16339" fmla="*/ 3708190 w 10505529"/>
              <a:gd name="connsiteY16339" fmla="*/ 4796312 h 7458372"/>
              <a:gd name="connsiteX16340" fmla="*/ 3730029 w 10505529"/>
              <a:gd name="connsiteY16340" fmla="*/ 4787659 h 7458372"/>
              <a:gd name="connsiteX16341" fmla="*/ 3512370 w 10505529"/>
              <a:gd name="connsiteY16341" fmla="*/ 4787659 h 7458372"/>
              <a:gd name="connsiteX16342" fmla="*/ 3524086 w 10505529"/>
              <a:gd name="connsiteY16342" fmla="*/ 4790321 h 7458372"/>
              <a:gd name="connsiteX16343" fmla="*/ 3533404 w 10505529"/>
              <a:gd name="connsiteY16343" fmla="*/ 4796711 h 7458372"/>
              <a:gd name="connsiteX16344" fmla="*/ 3539527 w 10505529"/>
              <a:gd name="connsiteY16344" fmla="*/ 4806029 h 7458372"/>
              <a:gd name="connsiteX16345" fmla="*/ 3541790 w 10505529"/>
              <a:gd name="connsiteY16345" fmla="*/ 4817477 h 7458372"/>
              <a:gd name="connsiteX16346" fmla="*/ 3539527 w 10505529"/>
              <a:gd name="connsiteY16346" fmla="*/ 4829192 h 7458372"/>
              <a:gd name="connsiteX16347" fmla="*/ 3533404 w 10505529"/>
              <a:gd name="connsiteY16347" fmla="*/ 4838511 h 7458372"/>
              <a:gd name="connsiteX16348" fmla="*/ 3524086 w 10505529"/>
              <a:gd name="connsiteY16348" fmla="*/ 4844767 h 7458372"/>
              <a:gd name="connsiteX16349" fmla="*/ 3512370 w 10505529"/>
              <a:gd name="connsiteY16349" fmla="*/ 4847030 h 7458372"/>
              <a:gd name="connsiteX16350" fmla="*/ 3490534 w 10505529"/>
              <a:gd name="connsiteY16350" fmla="*/ 4838511 h 7458372"/>
              <a:gd name="connsiteX16351" fmla="*/ 3482147 w 10505529"/>
              <a:gd name="connsiteY16351" fmla="*/ 4817344 h 7458372"/>
              <a:gd name="connsiteX16352" fmla="*/ 3490534 w 10505529"/>
              <a:gd name="connsiteY16352" fmla="*/ 4796312 h 7458372"/>
              <a:gd name="connsiteX16353" fmla="*/ 3512370 w 10505529"/>
              <a:gd name="connsiteY16353" fmla="*/ 4787659 h 7458372"/>
              <a:gd name="connsiteX16354" fmla="*/ 3294845 w 10505529"/>
              <a:gd name="connsiteY16354" fmla="*/ 4787659 h 7458372"/>
              <a:gd name="connsiteX16355" fmla="*/ 3306560 w 10505529"/>
              <a:gd name="connsiteY16355" fmla="*/ 4790321 h 7458372"/>
              <a:gd name="connsiteX16356" fmla="*/ 3315878 w 10505529"/>
              <a:gd name="connsiteY16356" fmla="*/ 4796711 h 7458372"/>
              <a:gd name="connsiteX16357" fmla="*/ 3322002 w 10505529"/>
              <a:gd name="connsiteY16357" fmla="*/ 4806029 h 7458372"/>
              <a:gd name="connsiteX16358" fmla="*/ 3324265 w 10505529"/>
              <a:gd name="connsiteY16358" fmla="*/ 4817477 h 7458372"/>
              <a:gd name="connsiteX16359" fmla="*/ 3322002 w 10505529"/>
              <a:gd name="connsiteY16359" fmla="*/ 4829192 h 7458372"/>
              <a:gd name="connsiteX16360" fmla="*/ 3315878 w 10505529"/>
              <a:gd name="connsiteY16360" fmla="*/ 4838511 h 7458372"/>
              <a:gd name="connsiteX16361" fmla="*/ 3306560 w 10505529"/>
              <a:gd name="connsiteY16361" fmla="*/ 4844767 h 7458372"/>
              <a:gd name="connsiteX16362" fmla="*/ 3294845 w 10505529"/>
              <a:gd name="connsiteY16362" fmla="*/ 4847030 h 7458372"/>
              <a:gd name="connsiteX16363" fmla="*/ 3273007 w 10505529"/>
              <a:gd name="connsiteY16363" fmla="*/ 4838511 h 7458372"/>
              <a:gd name="connsiteX16364" fmla="*/ 3264620 w 10505529"/>
              <a:gd name="connsiteY16364" fmla="*/ 4817344 h 7458372"/>
              <a:gd name="connsiteX16365" fmla="*/ 3273007 w 10505529"/>
              <a:gd name="connsiteY16365" fmla="*/ 4796312 h 7458372"/>
              <a:gd name="connsiteX16366" fmla="*/ 3294845 w 10505529"/>
              <a:gd name="connsiteY16366" fmla="*/ 4787659 h 7458372"/>
              <a:gd name="connsiteX16367" fmla="*/ 3077186 w 10505529"/>
              <a:gd name="connsiteY16367" fmla="*/ 4787659 h 7458372"/>
              <a:gd name="connsiteX16368" fmla="*/ 3088901 w 10505529"/>
              <a:gd name="connsiteY16368" fmla="*/ 4790321 h 7458372"/>
              <a:gd name="connsiteX16369" fmla="*/ 3098219 w 10505529"/>
              <a:gd name="connsiteY16369" fmla="*/ 4796711 h 7458372"/>
              <a:gd name="connsiteX16370" fmla="*/ 3104342 w 10505529"/>
              <a:gd name="connsiteY16370" fmla="*/ 4806029 h 7458372"/>
              <a:gd name="connsiteX16371" fmla="*/ 3106605 w 10505529"/>
              <a:gd name="connsiteY16371" fmla="*/ 4817477 h 7458372"/>
              <a:gd name="connsiteX16372" fmla="*/ 3104342 w 10505529"/>
              <a:gd name="connsiteY16372" fmla="*/ 4829192 h 7458372"/>
              <a:gd name="connsiteX16373" fmla="*/ 3098219 w 10505529"/>
              <a:gd name="connsiteY16373" fmla="*/ 4838511 h 7458372"/>
              <a:gd name="connsiteX16374" fmla="*/ 3088901 w 10505529"/>
              <a:gd name="connsiteY16374" fmla="*/ 4844767 h 7458372"/>
              <a:gd name="connsiteX16375" fmla="*/ 3077186 w 10505529"/>
              <a:gd name="connsiteY16375" fmla="*/ 4847030 h 7458372"/>
              <a:gd name="connsiteX16376" fmla="*/ 3055349 w 10505529"/>
              <a:gd name="connsiteY16376" fmla="*/ 4838511 h 7458372"/>
              <a:gd name="connsiteX16377" fmla="*/ 3046962 w 10505529"/>
              <a:gd name="connsiteY16377" fmla="*/ 4817344 h 7458372"/>
              <a:gd name="connsiteX16378" fmla="*/ 3055349 w 10505529"/>
              <a:gd name="connsiteY16378" fmla="*/ 4796312 h 7458372"/>
              <a:gd name="connsiteX16379" fmla="*/ 3077186 w 10505529"/>
              <a:gd name="connsiteY16379" fmla="*/ 4787659 h 7458372"/>
              <a:gd name="connsiteX16380" fmla="*/ 2859527 w 10505529"/>
              <a:gd name="connsiteY16380" fmla="*/ 4787659 h 7458372"/>
              <a:gd name="connsiteX16381" fmla="*/ 2871375 w 10505529"/>
              <a:gd name="connsiteY16381" fmla="*/ 4790321 h 7458372"/>
              <a:gd name="connsiteX16382" fmla="*/ 2880693 w 10505529"/>
              <a:gd name="connsiteY16382" fmla="*/ 4796711 h 7458372"/>
              <a:gd name="connsiteX16383" fmla="*/ 2886817 w 10505529"/>
              <a:gd name="connsiteY16383" fmla="*/ 4806029 h 7458372"/>
              <a:gd name="connsiteX16384" fmla="*/ 2889080 w 10505529"/>
              <a:gd name="connsiteY16384" fmla="*/ 4817477 h 7458372"/>
              <a:gd name="connsiteX16385" fmla="*/ 2886817 w 10505529"/>
              <a:gd name="connsiteY16385" fmla="*/ 4829192 h 7458372"/>
              <a:gd name="connsiteX16386" fmla="*/ 2880693 w 10505529"/>
              <a:gd name="connsiteY16386" fmla="*/ 4838511 h 7458372"/>
              <a:gd name="connsiteX16387" fmla="*/ 2871375 w 10505529"/>
              <a:gd name="connsiteY16387" fmla="*/ 4844767 h 7458372"/>
              <a:gd name="connsiteX16388" fmla="*/ 2859527 w 10505529"/>
              <a:gd name="connsiteY16388" fmla="*/ 4847030 h 7458372"/>
              <a:gd name="connsiteX16389" fmla="*/ 2837690 w 10505529"/>
              <a:gd name="connsiteY16389" fmla="*/ 4838511 h 7458372"/>
              <a:gd name="connsiteX16390" fmla="*/ 2829303 w 10505529"/>
              <a:gd name="connsiteY16390" fmla="*/ 4817344 h 7458372"/>
              <a:gd name="connsiteX16391" fmla="*/ 2837690 w 10505529"/>
              <a:gd name="connsiteY16391" fmla="*/ 4796312 h 7458372"/>
              <a:gd name="connsiteX16392" fmla="*/ 2859527 w 10505529"/>
              <a:gd name="connsiteY16392" fmla="*/ 4787659 h 7458372"/>
              <a:gd name="connsiteX16393" fmla="*/ 2641868 w 10505529"/>
              <a:gd name="connsiteY16393" fmla="*/ 4787659 h 7458372"/>
              <a:gd name="connsiteX16394" fmla="*/ 2653584 w 10505529"/>
              <a:gd name="connsiteY16394" fmla="*/ 4790321 h 7458372"/>
              <a:gd name="connsiteX16395" fmla="*/ 2662902 w 10505529"/>
              <a:gd name="connsiteY16395" fmla="*/ 4796711 h 7458372"/>
              <a:gd name="connsiteX16396" fmla="*/ 2669025 w 10505529"/>
              <a:gd name="connsiteY16396" fmla="*/ 4806029 h 7458372"/>
              <a:gd name="connsiteX16397" fmla="*/ 2671288 w 10505529"/>
              <a:gd name="connsiteY16397" fmla="*/ 4817477 h 7458372"/>
              <a:gd name="connsiteX16398" fmla="*/ 2669025 w 10505529"/>
              <a:gd name="connsiteY16398" fmla="*/ 4829192 h 7458372"/>
              <a:gd name="connsiteX16399" fmla="*/ 2662902 w 10505529"/>
              <a:gd name="connsiteY16399" fmla="*/ 4838511 h 7458372"/>
              <a:gd name="connsiteX16400" fmla="*/ 2653584 w 10505529"/>
              <a:gd name="connsiteY16400" fmla="*/ 4844767 h 7458372"/>
              <a:gd name="connsiteX16401" fmla="*/ 2641868 w 10505529"/>
              <a:gd name="connsiteY16401" fmla="*/ 4847030 h 7458372"/>
              <a:gd name="connsiteX16402" fmla="*/ 2620035 w 10505529"/>
              <a:gd name="connsiteY16402" fmla="*/ 4838511 h 7458372"/>
              <a:gd name="connsiteX16403" fmla="*/ 2611645 w 10505529"/>
              <a:gd name="connsiteY16403" fmla="*/ 4817344 h 7458372"/>
              <a:gd name="connsiteX16404" fmla="*/ 2620035 w 10505529"/>
              <a:gd name="connsiteY16404" fmla="*/ 4796312 h 7458372"/>
              <a:gd name="connsiteX16405" fmla="*/ 2641868 w 10505529"/>
              <a:gd name="connsiteY16405" fmla="*/ 4787659 h 7458372"/>
              <a:gd name="connsiteX16406" fmla="*/ 2424209 w 10505529"/>
              <a:gd name="connsiteY16406" fmla="*/ 4787659 h 7458372"/>
              <a:gd name="connsiteX16407" fmla="*/ 2435924 w 10505529"/>
              <a:gd name="connsiteY16407" fmla="*/ 4790321 h 7458372"/>
              <a:gd name="connsiteX16408" fmla="*/ 2445242 w 10505529"/>
              <a:gd name="connsiteY16408" fmla="*/ 4796711 h 7458372"/>
              <a:gd name="connsiteX16409" fmla="*/ 2451366 w 10505529"/>
              <a:gd name="connsiteY16409" fmla="*/ 4806029 h 7458372"/>
              <a:gd name="connsiteX16410" fmla="*/ 2453629 w 10505529"/>
              <a:gd name="connsiteY16410" fmla="*/ 4817477 h 7458372"/>
              <a:gd name="connsiteX16411" fmla="*/ 2451366 w 10505529"/>
              <a:gd name="connsiteY16411" fmla="*/ 4829192 h 7458372"/>
              <a:gd name="connsiteX16412" fmla="*/ 2445242 w 10505529"/>
              <a:gd name="connsiteY16412" fmla="*/ 4838511 h 7458372"/>
              <a:gd name="connsiteX16413" fmla="*/ 2435924 w 10505529"/>
              <a:gd name="connsiteY16413" fmla="*/ 4844767 h 7458372"/>
              <a:gd name="connsiteX16414" fmla="*/ 2424209 w 10505529"/>
              <a:gd name="connsiteY16414" fmla="*/ 4847030 h 7458372"/>
              <a:gd name="connsiteX16415" fmla="*/ 2402377 w 10505529"/>
              <a:gd name="connsiteY16415" fmla="*/ 4838511 h 7458372"/>
              <a:gd name="connsiteX16416" fmla="*/ 2393988 w 10505529"/>
              <a:gd name="connsiteY16416" fmla="*/ 4817344 h 7458372"/>
              <a:gd name="connsiteX16417" fmla="*/ 2402377 w 10505529"/>
              <a:gd name="connsiteY16417" fmla="*/ 4796312 h 7458372"/>
              <a:gd name="connsiteX16418" fmla="*/ 2424209 w 10505529"/>
              <a:gd name="connsiteY16418" fmla="*/ 4787659 h 7458372"/>
              <a:gd name="connsiteX16419" fmla="*/ 2206550 w 10505529"/>
              <a:gd name="connsiteY16419" fmla="*/ 4787659 h 7458372"/>
              <a:gd name="connsiteX16420" fmla="*/ 2218265 w 10505529"/>
              <a:gd name="connsiteY16420" fmla="*/ 4790321 h 7458372"/>
              <a:gd name="connsiteX16421" fmla="*/ 2227584 w 10505529"/>
              <a:gd name="connsiteY16421" fmla="*/ 4796711 h 7458372"/>
              <a:gd name="connsiteX16422" fmla="*/ 2233707 w 10505529"/>
              <a:gd name="connsiteY16422" fmla="*/ 4806029 h 7458372"/>
              <a:gd name="connsiteX16423" fmla="*/ 2235970 w 10505529"/>
              <a:gd name="connsiteY16423" fmla="*/ 4817477 h 7458372"/>
              <a:gd name="connsiteX16424" fmla="*/ 2233707 w 10505529"/>
              <a:gd name="connsiteY16424" fmla="*/ 4829192 h 7458372"/>
              <a:gd name="connsiteX16425" fmla="*/ 2227584 w 10505529"/>
              <a:gd name="connsiteY16425" fmla="*/ 4838511 h 7458372"/>
              <a:gd name="connsiteX16426" fmla="*/ 2218265 w 10505529"/>
              <a:gd name="connsiteY16426" fmla="*/ 4844767 h 7458372"/>
              <a:gd name="connsiteX16427" fmla="*/ 2206550 w 10505529"/>
              <a:gd name="connsiteY16427" fmla="*/ 4847030 h 7458372"/>
              <a:gd name="connsiteX16428" fmla="*/ 2184717 w 10505529"/>
              <a:gd name="connsiteY16428" fmla="*/ 4838511 h 7458372"/>
              <a:gd name="connsiteX16429" fmla="*/ 2176330 w 10505529"/>
              <a:gd name="connsiteY16429" fmla="*/ 4817344 h 7458372"/>
              <a:gd name="connsiteX16430" fmla="*/ 2184717 w 10505529"/>
              <a:gd name="connsiteY16430" fmla="*/ 4796312 h 7458372"/>
              <a:gd name="connsiteX16431" fmla="*/ 2206550 w 10505529"/>
              <a:gd name="connsiteY16431" fmla="*/ 4787659 h 7458372"/>
              <a:gd name="connsiteX16432" fmla="*/ 1989024 w 10505529"/>
              <a:gd name="connsiteY16432" fmla="*/ 4787659 h 7458372"/>
              <a:gd name="connsiteX16433" fmla="*/ 2000740 w 10505529"/>
              <a:gd name="connsiteY16433" fmla="*/ 4790321 h 7458372"/>
              <a:gd name="connsiteX16434" fmla="*/ 2010058 w 10505529"/>
              <a:gd name="connsiteY16434" fmla="*/ 4796711 h 7458372"/>
              <a:gd name="connsiteX16435" fmla="*/ 2016181 w 10505529"/>
              <a:gd name="connsiteY16435" fmla="*/ 4806029 h 7458372"/>
              <a:gd name="connsiteX16436" fmla="*/ 2018444 w 10505529"/>
              <a:gd name="connsiteY16436" fmla="*/ 4817477 h 7458372"/>
              <a:gd name="connsiteX16437" fmla="*/ 2016181 w 10505529"/>
              <a:gd name="connsiteY16437" fmla="*/ 4829192 h 7458372"/>
              <a:gd name="connsiteX16438" fmla="*/ 2010058 w 10505529"/>
              <a:gd name="connsiteY16438" fmla="*/ 4838511 h 7458372"/>
              <a:gd name="connsiteX16439" fmla="*/ 2000740 w 10505529"/>
              <a:gd name="connsiteY16439" fmla="*/ 4844767 h 7458372"/>
              <a:gd name="connsiteX16440" fmla="*/ 1989024 w 10505529"/>
              <a:gd name="connsiteY16440" fmla="*/ 4847030 h 7458372"/>
              <a:gd name="connsiteX16441" fmla="*/ 1967193 w 10505529"/>
              <a:gd name="connsiteY16441" fmla="*/ 4838511 h 7458372"/>
              <a:gd name="connsiteX16442" fmla="*/ 1958807 w 10505529"/>
              <a:gd name="connsiteY16442" fmla="*/ 4817344 h 7458372"/>
              <a:gd name="connsiteX16443" fmla="*/ 1967193 w 10505529"/>
              <a:gd name="connsiteY16443" fmla="*/ 4796312 h 7458372"/>
              <a:gd name="connsiteX16444" fmla="*/ 1989024 w 10505529"/>
              <a:gd name="connsiteY16444" fmla="*/ 4787659 h 7458372"/>
              <a:gd name="connsiteX16445" fmla="*/ 1771389 w 10505529"/>
              <a:gd name="connsiteY16445" fmla="*/ 4787659 h 7458372"/>
              <a:gd name="connsiteX16446" fmla="*/ 1783103 w 10505529"/>
              <a:gd name="connsiteY16446" fmla="*/ 4790321 h 7458372"/>
              <a:gd name="connsiteX16447" fmla="*/ 1792421 w 10505529"/>
              <a:gd name="connsiteY16447" fmla="*/ 4796711 h 7458372"/>
              <a:gd name="connsiteX16448" fmla="*/ 1798544 w 10505529"/>
              <a:gd name="connsiteY16448" fmla="*/ 4806029 h 7458372"/>
              <a:gd name="connsiteX16449" fmla="*/ 1800806 w 10505529"/>
              <a:gd name="connsiteY16449" fmla="*/ 4817477 h 7458372"/>
              <a:gd name="connsiteX16450" fmla="*/ 1798544 w 10505529"/>
              <a:gd name="connsiteY16450" fmla="*/ 4829192 h 7458372"/>
              <a:gd name="connsiteX16451" fmla="*/ 1792421 w 10505529"/>
              <a:gd name="connsiteY16451" fmla="*/ 4838511 h 7458372"/>
              <a:gd name="connsiteX16452" fmla="*/ 1783103 w 10505529"/>
              <a:gd name="connsiteY16452" fmla="*/ 4844767 h 7458372"/>
              <a:gd name="connsiteX16453" fmla="*/ 1771389 w 10505529"/>
              <a:gd name="connsiteY16453" fmla="*/ 4847030 h 7458372"/>
              <a:gd name="connsiteX16454" fmla="*/ 1749560 w 10505529"/>
              <a:gd name="connsiteY16454" fmla="*/ 4838511 h 7458372"/>
              <a:gd name="connsiteX16455" fmla="*/ 1741176 w 10505529"/>
              <a:gd name="connsiteY16455" fmla="*/ 4817344 h 7458372"/>
              <a:gd name="connsiteX16456" fmla="*/ 1749560 w 10505529"/>
              <a:gd name="connsiteY16456" fmla="*/ 4796312 h 7458372"/>
              <a:gd name="connsiteX16457" fmla="*/ 1771389 w 10505529"/>
              <a:gd name="connsiteY16457" fmla="*/ 4787659 h 7458372"/>
              <a:gd name="connsiteX16458" fmla="*/ 1553751 w 10505529"/>
              <a:gd name="connsiteY16458" fmla="*/ 4787659 h 7458372"/>
              <a:gd name="connsiteX16459" fmla="*/ 1565466 w 10505529"/>
              <a:gd name="connsiteY16459" fmla="*/ 4790321 h 7458372"/>
              <a:gd name="connsiteX16460" fmla="*/ 1574784 w 10505529"/>
              <a:gd name="connsiteY16460" fmla="*/ 4796711 h 7458372"/>
              <a:gd name="connsiteX16461" fmla="*/ 1580907 w 10505529"/>
              <a:gd name="connsiteY16461" fmla="*/ 4806029 h 7458372"/>
              <a:gd name="connsiteX16462" fmla="*/ 1583170 w 10505529"/>
              <a:gd name="connsiteY16462" fmla="*/ 4817477 h 7458372"/>
              <a:gd name="connsiteX16463" fmla="*/ 1580907 w 10505529"/>
              <a:gd name="connsiteY16463" fmla="*/ 4829192 h 7458372"/>
              <a:gd name="connsiteX16464" fmla="*/ 1574784 w 10505529"/>
              <a:gd name="connsiteY16464" fmla="*/ 4838511 h 7458372"/>
              <a:gd name="connsiteX16465" fmla="*/ 1565466 w 10505529"/>
              <a:gd name="connsiteY16465" fmla="*/ 4844767 h 7458372"/>
              <a:gd name="connsiteX16466" fmla="*/ 1553751 w 10505529"/>
              <a:gd name="connsiteY16466" fmla="*/ 4847030 h 7458372"/>
              <a:gd name="connsiteX16467" fmla="*/ 1531921 w 10505529"/>
              <a:gd name="connsiteY16467" fmla="*/ 4838511 h 7458372"/>
              <a:gd name="connsiteX16468" fmla="*/ 1523535 w 10505529"/>
              <a:gd name="connsiteY16468" fmla="*/ 4817344 h 7458372"/>
              <a:gd name="connsiteX16469" fmla="*/ 1531921 w 10505529"/>
              <a:gd name="connsiteY16469" fmla="*/ 4796312 h 7458372"/>
              <a:gd name="connsiteX16470" fmla="*/ 1553751 w 10505529"/>
              <a:gd name="connsiteY16470" fmla="*/ 4787659 h 7458372"/>
              <a:gd name="connsiteX16471" fmla="*/ 1336107 w 10505529"/>
              <a:gd name="connsiteY16471" fmla="*/ 4787659 h 7458372"/>
              <a:gd name="connsiteX16472" fmla="*/ 1347823 w 10505529"/>
              <a:gd name="connsiteY16472" fmla="*/ 4790321 h 7458372"/>
              <a:gd name="connsiteX16473" fmla="*/ 1357141 w 10505529"/>
              <a:gd name="connsiteY16473" fmla="*/ 4796711 h 7458372"/>
              <a:gd name="connsiteX16474" fmla="*/ 1363264 w 10505529"/>
              <a:gd name="connsiteY16474" fmla="*/ 4806029 h 7458372"/>
              <a:gd name="connsiteX16475" fmla="*/ 1365526 w 10505529"/>
              <a:gd name="connsiteY16475" fmla="*/ 4817477 h 7458372"/>
              <a:gd name="connsiteX16476" fmla="*/ 1363264 w 10505529"/>
              <a:gd name="connsiteY16476" fmla="*/ 4829192 h 7458372"/>
              <a:gd name="connsiteX16477" fmla="*/ 1357141 w 10505529"/>
              <a:gd name="connsiteY16477" fmla="*/ 4838511 h 7458372"/>
              <a:gd name="connsiteX16478" fmla="*/ 1347823 w 10505529"/>
              <a:gd name="connsiteY16478" fmla="*/ 4844767 h 7458372"/>
              <a:gd name="connsiteX16479" fmla="*/ 1336107 w 10505529"/>
              <a:gd name="connsiteY16479" fmla="*/ 4847030 h 7458372"/>
              <a:gd name="connsiteX16480" fmla="*/ 1314275 w 10505529"/>
              <a:gd name="connsiteY16480" fmla="*/ 4838511 h 7458372"/>
              <a:gd name="connsiteX16481" fmla="*/ 1305889 w 10505529"/>
              <a:gd name="connsiteY16481" fmla="*/ 4817344 h 7458372"/>
              <a:gd name="connsiteX16482" fmla="*/ 1314275 w 10505529"/>
              <a:gd name="connsiteY16482" fmla="*/ 4796312 h 7458372"/>
              <a:gd name="connsiteX16483" fmla="*/ 1336107 w 10505529"/>
              <a:gd name="connsiteY16483" fmla="*/ 4787659 h 7458372"/>
              <a:gd name="connsiteX16484" fmla="*/ 1118462 w 10505529"/>
              <a:gd name="connsiteY16484" fmla="*/ 4787659 h 7458372"/>
              <a:gd name="connsiteX16485" fmla="*/ 1130180 w 10505529"/>
              <a:gd name="connsiteY16485" fmla="*/ 4790321 h 7458372"/>
              <a:gd name="connsiteX16486" fmla="*/ 1139495 w 10505529"/>
              <a:gd name="connsiteY16486" fmla="*/ 4796711 h 7458372"/>
              <a:gd name="connsiteX16487" fmla="*/ 1145615 w 10505529"/>
              <a:gd name="connsiteY16487" fmla="*/ 4806029 h 7458372"/>
              <a:gd name="connsiteX16488" fmla="*/ 1147878 w 10505529"/>
              <a:gd name="connsiteY16488" fmla="*/ 4817477 h 7458372"/>
              <a:gd name="connsiteX16489" fmla="*/ 1145615 w 10505529"/>
              <a:gd name="connsiteY16489" fmla="*/ 4829192 h 7458372"/>
              <a:gd name="connsiteX16490" fmla="*/ 1139495 w 10505529"/>
              <a:gd name="connsiteY16490" fmla="*/ 4838511 h 7458372"/>
              <a:gd name="connsiteX16491" fmla="*/ 1130180 w 10505529"/>
              <a:gd name="connsiteY16491" fmla="*/ 4844767 h 7458372"/>
              <a:gd name="connsiteX16492" fmla="*/ 1118462 w 10505529"/>
              <a:gd name="connsiteY16492" fmla="*/ 4847030 h 7458372"/>
              <a:gd name="connsiteX16493" fmla="*/ 1096627 w 10505529"/>
              <a:gd name="connsiteY16493" fmla="*/ 4838511 h 7458372"/>
              <a:gd name="connsiteX16494" fmla="*/ 1088243 w 10505529"/>
              <a:gd name="connsiteY16494" fmla="*/ 4817344 h 7458372"/>
              <a:gd name="connsiteX16495" fmla="*/ 1096627 w 10505529"/>
              <a:gd name="connsiteY16495" fmla="*/ 4796312 h 7458372"/>
              <a:gd name="connsiteX16496" fmla="*/ 1118462 w 10505529"/>
              <a:gd name="connsiteY16496" fmla="*/ 4787659 h 7458372"/>
              <a:gd name="connsiteX16497" fmla="*/ 900949 w 10505529"/>
              <a:gd name="connsiteY16497" fmla="*/ 4787659 h 7458372"/>
              <a:gd name="connsiteX16498" fmla="*/ 912664 w 10505529"/>
              <a:gd name="connsiteY16498" fmla="*/ 4790321 h 7458372"/>
              <a:gd name="connsiteX16499" fmla="*/ 921982 w 10505529"/>
              <a:gd name="connsiteY16499" fmla="*/ 4796711 h 7458372"/>
              <a:gd name="connsiteX16500" fmla="*/ 928105 w 10505529"/>
              <a:gd name="connsiteY16500" fmla="*/ 4806029 h 7458372"/>
              <a:gd name="connsiteX16501" fmla="*/ 930368 w 10505529"/>
              <a:gd name="connsiteY16501" fmla="*/ 4817477 h 7458372"/>
              <a:gd name="connsiteX16502" fmla="*/ 928105 w 10505529"/>
              <a:gd name="connsiteY16502" fmla="*/ 4829192 h 7458372"/>
              <a:gd name="connsiteX16503" fmla="*/ 921982 w 10505529"/>
              <a:gd name="connsiteY16503" fmla="*/ 4838511 h 7458372"/>
              <a:gd name="connsiteX16504" fmla="*/ 912664 w 10505529"/>
              <a:gd name="connsiteY16504" fmla="*/ 4844767 h 7458372"/>
              <a:gd name="connsiteX16505" fmla="*/ 900949 w 10505529"/>
              <a:gd name="connsiteY16505" fmla="*/ 4847030 h 7458372"/>
              <a:gd name="connsiteX16506" fmla="*/ 879118 w 10505529"/>
              <a:gd name="connsiteY16506" fmla="*/ 4838511 h 7458372"/>
              <a:gd name="connsiteX16507" fmla="*/ 870733 w 10505529"/>
              <a:gd name="connsiteY16507" fmla="*/ 4817344 h 7458372"/>
              <a:gd name="connsiteX16508" fmla="*/ 879118 w 10505529"/>
              <a:gd name="connsiteY16508" fmla="*/ 4796312 h 7458372"/>
              <a:gd name="connsiteX16509" fmla="*/ 900949 w 10505529"/>
              <a:gd name="connsiteY16509" fmla="*/ 4787659 h 7458372"/>
              <a:gd name="connsiteX16510" fmla="*/ 683308 w 10505529"/>
              <a:gd name="connsiteY16510" fmla="*/ 4787659 h 7458372"/>
              <a:gd name="connsiteX16511" fmla="*/ 695023 w 10505529"/>
              <a:gd name="connsiteY16511" fmla="*/ 4790321 h 7458372"/>
              <a:gd name="connsiteX16512" fmla="*/ 704341 w 10505529"/>
              <a:gd name="connsiteY16512" fmla="*/ 4796711 h 7458372"/>
              <a:gd name="connsiteX16513" fmla="*/ 710464 w 10505529"/>
              <a:gd name="connsiteY16513" fmla="*/ 4806029 h 7458372"/>
              <a:gd name="connsiteX16514" fmla="*/ 712727 w 10505529"/>
              <a:gd name="connsiteY16514" fmla="*/ 4817477 h 7458372"/>
              <a:gd name="connsiteX16515" fmla="*/ 710464 w 10505529"/>
              <a:gd name="connsiteY16515" fmla="*/ 4829192 h 7458372"/>
              <a:gd name="connsiteX16516" fmla="*/ 704341 w 10505529"/>
              <a:gd name="connsiteY16516" fmla="*/ 4838511 h 7458372"/>
              <a:gd name="connsiteX16517" fmla="*/ 695023 w 10505529"/>
              <a:gd name="connsiteY16517" fmla="*/ 4844767 h 7458372"/>
              <a:gd name="connsiteX16518" fmla="*/ 683308 w 10505529"/>
              <a:gd name="connsiteY16518" fmla="*/ 4847030 h 7458372"/>
              <a:gd name="connsiteX16519" fmla="*/ 661477 w 10505529"/>
              <a:gd name="connsiteY16519" fmla="*/ 4838511 h 7458372"/>
              <a:gd name="connsiteX16520" fmla="*/ 653091 w 10505529"/>
              <a:gd name="connsiteY16520" fmla="*/ 4817344 h 7458372"/>
              <a:gd name="connsiteX16521" fmla="*/ 661477 w 10505529"/>
              <a:gd name="connsiteY16521" fmla="*/ 4796312 h 7458372"/>
              <a:gd name="connsiteX16522" fmla="*/ 683308 w 10505529"/>
              <a:gd name="connsiteY16522" fmla="*/ 4787659 h 7458372"/>
              <a:gd name="connsiteX16523" fmla="*/ 465666 w 10505529"/>
              <a:gd name="connsiteY16523" fmla="*/ 4787659 h 7458372"/>
              <a:gd name="connsiteX16524" fmla="*/ 477382 w 10505529"/>
              <a:gd name="connsiteY16524" fmla="*/ 4790321 h 7458372"/>
              <a:gd name="connsiteX16525" fmla="*/ 486699 w 10505529"/>
              <a:gd name="connsiteY16525" fmla="*/ 4796711 h 7458372"/>
              <a:gd name="connsiteX16526" fmla="*/ 492822 w 10505529"/>
              <a:gd name="connsiteY16526" fmla="*/ 4806029 h 7458372"/>
              <a:gd name="connsiteX16527" fmla="*/ 495085 w 10505529"/>
              <a:gd name="connsiteY16527" fmla="*/ 4817477 h 7458372"/>
              <a:gd name="connsiteX16528" fmla="*/ 492822 w 10505529"/>
              <a:gd name="connsiteY16528" fmla="*/ 4829192 h 7458372"/>
              <a:gd name="connsiteX16529" fmla="*/ 486699 w 10505529"/>
              <a:gd name="connsiteY16529" fmla="*/ 4838511 h 7458372"/>
              <a:gd name="connsiteX16530" fmla="*/ 477382 w 10505529"/>
              <a:gd name="connsiteY16530" fmla="*/ 4844767 h 7458372"/>
              <a:gd name="connsiteX16531" fmla="*/ 465666 w 10505529"/>
              <a:gd name="connsiteY16531" fmla="*/ 4847030 h 7458372"/>
              <a:gd name="connsiteX16532" fmla="*/ 443835 w 10505529"/>
              <a:gd name="connsiteY16532" fmla="*/ 4838511 h 7458372"/>
              <a:gd name="connsiteX16533" fmla="*/ 435449 w 10505529"/>
              <a:gd name="connsiteY16533" fmla="*/ 4817344 h 7458372"/>
              <a:gd name="connsiteX16534" fmla="*/ 443835 w 10505529"/>
              <a:gd name="connsiteY16534" fmla="*/ 4796312 h 7458372"/>
              <a:gd name="connsiteX16535" fmla="*/ 465666 w 10505529"/>
              <a:gd name="connsiteY16535" fmla="*/ 4787659 h 7458372"/>
              <a:gd name="connsiteX16536" fmla="*/ 248024 w 10505529"/>
              <a:gd name="connsiteY16536" fmla="*/ 4787659 h 7458372"/>
              <a:gd name="connsiteX16537" fmla="*/ 259739 w 10505529"/>
              <a:gd name="connsiteY16537" fmla="*/ 4790321 h 7458372"/>
              <a:gd name="connsiteX16538" fmla="*/ 269057 w 10505529"/>
              <a:gd name="connsiteY16538" fmla="*/ 4796711 h 7458372"/>
              <a:gd name="connsiteX16539" fmla="*/ 275180 w 10505529"/>
              <a:gd name="connsiteY16539" fmla="*/ 4806029 h 7458372"/>
              <a:gd name="connsiteX16540" fmla="*/ 277443 w 10505529"/>
              <a:gd name="connsiteY16540" fmla="*/ 4817477 h 7458372"/>
              <a:gd name="connsiteX16541" fmla="*/ 275180 w 10505529"/>
              <a:gd name="connsiteY16541" fmla="*/ 4829192 h 7458372"/>
              <a:gd name="connsiteX16542" fmla="*/ 269057 w 10505529"/>
              <a:gd name="connsiteY16542" fmla="*/ 4838511 h 7458372"/>
              <a:gd name="connsiteX16543" fmla="*/ 259739 w 10505529"/>
              <a:gd name="connsiteY16543" fmla="*/ 4844767 h 7458372"/>
              <a:gd name="connsiteX16544" fmla="*/ 248024 w 10505529"/>
              <a:gd name="connsiteY16544" fmla="*/ 4847030 h 7458372"/>
              <a:gd name="connsiteX16545" fmla="*/ 226195 w 10505529"/>
              <a:gd name="connsiteY16545" fmla="*/ 4838511 h 7458372"/>
              <a:gd name="connsiteX16546" fmla="*/ 217809 w 10505529"/>
              <a:gd name="connsiteY16546" fmla="*/ 4817344 h 7458372"/>
              <a:gd name="connsiteX16547" fmla="*/ 226195 w 10505529"/>
              <a:gd name="connsiteY16547" fmla="*/ 4796312 h 7458372"/>
              <a:gd name="connsiteX16548" fmla="*/ 248024 w 10505529"/>
              <a:gd name="connsiteY16548" fmla="*/ 4787659 h 7458372"/>
              <a:gd name="connsiteX16549" fmla="*/ 30383 w 10505529"/>
              <a:gd name="connsiteY16549" fmla="*/ 4787659 h 7458372"/>
              <a:gd name="connsiteX16550" fmla="*/ 42098 w 10505529"/>
              <a:gd name="connsiteY16550" fmla="*/ 4790321 h 7458372"/>
              <a:gd name="connsiteX16551" fmla="*/ 51416 w 10505529"/>
              <a:gd name="connsiteY16551" fmla="*/ 4796711 h 7458372"/>
              <a:gd name="connsiteX16552" fmla="*/ 57539 w 10505529"/>
              <a:gd name="connsiteY16552" fmla="*/ 4806029 h 7458372"/>
              <a:gd name="connsiteX16553" fmla="*/ 59802 w 10505529"/>
              <a:gd name="connsiteY16553" fmla="*/ 4817477 h 7458372"/>
              <a:gd name="connsiteX16554" fmla="*/ 57539 w 10505529"/>
              <a:gd name="connsiteY16554" fmla="*/ 4829192 h 7458372"/>
              <a:gd name="connsiteX16555" fmla="*/ 51416 w 10505529"/>
              <a:gd name="connsiteY16555" fmla="*/ 4838511 h 7458372"/>
              <a:gd name="connsiteX16556" fmla="*/ 42098 w 10505529"/>
              <a:gd name="connsiteY16556" fmla="*/ 4844767 h 7458372"/>
              <a:gd name="connsiteX16557" fmla="*/ 30383 w 10505529"/>
              <a:gd name="connsiteY16557" fmla="*/ 4847030 h 7458372"/>
              <a:gd name="connsiteX16558" fmla="*/ 8554 w 10505529"/>
              <a:gd name="connsiteY16558" fmla="*/ 4838511 h 7458372"/>
              <a:gd name="connsiteX16559" fmla="*/ 168 w 10505529"/>
              <a:gd name="connsiteY16559" fmla="*/ 4817344 h 7458372"/>
              <a:gd name="connsiteX16560" fmla="*/ 8554 w 10505529"/>
              <a:gd name="connsiteY16560" fmla="*/ 4796312 h 7458372"/>
              <a:gd name="connsiteX16561" fmla="*/ 30383 w 10505529"/>
              <a:gd name="connsiteY16561" fmla="*/ 4787659 h 7458372"/>
              <a:gd name="connsiteX16562" fmla="*/ 10475977 w 10505529"/>
              <a:gd name="connsiteY16562" fmla="*/ 4586655 h 7458372"/>
              <a:gd name="connsiteX16563" fmla="*/ 10465992 w 10505529"/>
              <a:gd name="connsiteY16563" fmla="*/ 4590249 h 7458372"/>
              <a:gd name="connsiteX16564" fmla="*/ 10462399 w 10505529"/>
              <a:gd name="connsiteY16564" fmla="*/ 4599700 h 7458372"/>
              <a:gd name="connsiteX16565" fmla="*/ 10465992 w 10505529"/>
              <a:gd name="connsiteY16565" fmla="*/ 4609151 h 7458372"/>
              <a:gd name="connsiteX16566" fmla="*/ 10475977 w 10505529"/>
              <a:gd name="connsiteY16566" fmla="*/ 4612613 h 7458372"/>
              <a:gd name="connsiteX16567" fmla="*/ 10481302 w 10505529"/>
              <a:gd name="connsiteY16567" fmla="*/ 4611681 h 7458372"/>
              <a:gd name="connsiteX16568" fmla="*/ 10485029 w 10505529"/>
              <a:gd name="connsiteY16568" fmla="*/ 4609284 h 7458372"/>
              <a:gd name="connsiteX16569" fmla="*/ 10487691 w 10505529"/>
              <a:gd name="connsiteY16569" fmla="*/ 4605024 h 7458372"/>
              <a:gd name="connsiteX16570" fmla="*/ 10488623 w 10505529"/>
              <a:gd name="connsiteY16570" fmla="*/ 4599566 h 7458372"/>
              <a:gd name="connsiteX16571" fmla="*/ 10487691 w 10505529"/>
              <a:gd name="connsiteY16571" fmla="*/ 4594375 h 7458372"/>
              <a:gd name="connsiteX16572" fmla="*/ 10485029 w 10505529"/>
              <a:gd name="connsiteY16572" fmla="*/ 4590249 h 7458372"/>
              <a:gd name="connsiteX16573" fmla="*/ 10481035 w 10505529"/>
              <a:gd name="connsiteY16573" fmla="*/ 4587586 h 7458372"/>
              <a:gd name="connsiteX16574" fmla="*/ 10475977 w 10505529"/>
              <a:gd name="connsiteY16574" fmla="*/ 4586655 h 7458372"/>
              <a:gd name="connsiteX16575" fmla="*/ 10258466 w 10505529"/>
              <a:gd name="connsiteY16575" fmla="*/ 4586655 h 7458372"/>
              <a:gd name="connsiteX16576" fmla="*/ 10248481 w 10505529"/>
              <a:gd name="connsiteY16576" fmla="*/ 4590249 h 7458372"/>
              <a:gd name="connsiteX16577" fmla="*/ 10244887 w 10505529"/>
              <a:gd name="connsiteY16577" fmla="*/ 4599700 h 7458372"/>
              <a:gd name="connsiteX16578" fmla="*/ 10248481 w 10505529"/>
              <a:gd name="connsiteY16578" fmla="*/ 4609151 h 7458372"/>
              <a:gd name="connsiteX16579" fmla="*/ 10258466 w 10505529"/>
              <a:gd name="connsiteY16579" fmla="*/ 4612613 h 7458372"/>
              <a:gd name="connsiteX16580" fmla="*/ 10263790 w 10505529"/>
              <a:gd name="connsiteY16580" fmla="*/ 4611681 h 7458372"/>
              <a:gd name="connsiteX16581" fmla="*/ 10267517 w 10505529"/>
              <a:gd name="connsiteY16581" fmla="*/ 4609284 h 7458372"/>
              <a:gd name="connsiteX16582" fmla="*/ 10270180 w 10505529"/>
              <a:gd name="connsiteY16582" fmla="*/ 4605024 h 7458372"/>
              <a:gd name="connsiteX16583" fmla="*/ 10271112 w 10505529"/>
              <a:gd name="connsiteY16583" fmla="*/ 4599566 h 7458372"/>
              <a:gd name="connsiteX16584" fmla="*/ 10270180 w 10505529"/>
              <a:gd name="connsiteY16584" fmla="*/ 4594375 h 7458372"/>
              <a:gd name="connsiteX16585" fmla="*/ 10267517 w 10505529"/>
              <a:gd name="connsiteY16585" fmla="*/ 4590249 h 7458372"/>
              <a:gd name="connsiteX16586" fmla="*/ 10263524 w 10505529"/>
              <a:gd name="connsiteY16586" fmla="*/ 4587586 h 7458372"/>
              <a:gd name="connsiteX16587" fmla="*/ 10258466 w 10505529"/>
              <a:gd name="connsiteY16587" fmla="*/ 4586655 h 7458372"/>
              <a:gd name="connsiteX16588" fmla="*/ 10040820 w 10505529"/>
              <a:gd name="connsiteY16588" fmla="*/ 4586655 h 7458372"/>
              <a:gd name="connsiteX16589" fmla="*/ 10030835 w 10505529"/>
              <a:gd name="connsiteY16589" fmla="*/ 4590249 h 7458372"/>
              <a:gd name="connsiteX16590" fmla="*/ 10027242 w 10505529"/>
              <a:gd name="connsiteY16590" fmla="*/ 4599700 h 7458372"/>
              <a:gd name="connsiteX16591" fmla="*/ 10030835 w 10505529"/>
              <a:gd name="connsiteY16591" fmla="*/ 4609151 h 7458372"/>
              <a:gd name="connsiteX16592" fmla="*/ 10040820 w 10505529"/>
              <a:gd name="connsiteY16592" fmla="*/ 4612613 h 7458372"/>
              <a:gd name="connsiteX16593" fmla="*/ 10046145 w 10505529"/>
              <a:gd name="connsiteY16593" fmla="*/ 4611681 h 7458372"/>
              <a:gd name="connsiteX16594" fmla="*/ 10049872 w 10505529"/>
              <a:gd name="connsiteY16594" fmla="*/ 4609284 h 7458372"/>
              <a:gd name="connsiteX16595" fmla="*/ 10052534 w 10505529"/>
              <a:gd name="connsiteY16595" fmla="*/ 4605024 h 7458372"/>
              <a:gd name="connsiteX16596" fmla="*/ 10053599 w 10505529"/>
              <a:gd name="connsiteY16596" fmla="*/ 4599566 h 7458372"/>
              <a:gd name="connsiteX16597" fmla="*/ 10052534 w 10505529"/>
              <a:gd name="connsiteY16597" fmla="*/ 4594375 h 7458372"/>
              <a:gd name="connsiteX16598" fmla="*/ 10049872 w 10505529"/>
              <a:gd name="connsiteY16598" fmla="*/ 4590249 h 7458372"/>
              <a:gd name="connsiteX16599" fmla="*/ 10045878 w 10505529"/>
              <a:gd name="connsiteY16599" fmla="*/ 4587586 h 7458372"/>
              <a:gd name="connsiteX16600" fmla="*/ 10040820 w 10505529"/>
              <a:gd name="connsiteY16600" fmla="*/ 4586655 h 7458372"/>
              <a:gd name="connsiteX16601" fmla="*/ 9823176 w 10505529"/>
              <a:gd name="connsiteY16601" fmla="*/ 4586655 h 7458372"/>
              <a:gd name="connsiteX16602" fmla="*/ 9813191 w 10505529"/>
              <a:gd name="connsiteY16602" fmla="*/ 4590249 h 7458372"/>
              <a:gd name="connsiteX16603" fmla="*/ 9809597 w 10505529"/>
              <a:gd name="connsiteY16603" fmla="*/ 4599700 h 7458372"/>
              <a:gd name="connsiteX16604" fmla="*/ 9813191 w 10505529"/>
              <a:gd name="connsiteY16604" fmla="*/ 4609151 h 7458372"/>
              <a:gd name="connsiteX16605" fmla="*/ 9823176 w 10505529"/>
              <a:gd name="connsiteY16605" fmla="*/ 4612613 h 7458372"/>
              <a:gd name="connsiteX16606" fmla="*/ 9828501 w 10505529"/>
              <a:gd name="connsiteY16606" fmla="*/ 4611681 h 7458372"/>
              <a:gd name="connsiteX16607" fmla="*/ 9832227 w 10505529"/>
              <a:gd name="connsiteY16607" fmla="*/ 4609284 h 7458372"/>
              <a:gd name="connsiteX16608" fmla="*/ 9834890 w 10505529"/>
              <a:gd name="connsiteY16608" fmla="*/ 4605024 h 7458372"/>
              <a:gd name="connsiteX16609" fmla="*/ 9835955 w 10505529"/>
              <a:gd name="connsiteY16609" fmla="*/ 4599566 h 7458372"/>
              <a:gd name="connsiteX16610" fmla="*/ 9834890 w 10505529"/>
              <a:gd name="connsiteY16610" fmla="*/ 4594375 h 7458372"/>
              <a:gd name="connsiteX16611" fmla="*/ 9832227 w 10505529"/>
              <a:gd name="connsiteY16611" fmla="*/ 4590249 h 7458372"/>
              <a:gd name="connsiteX16612" fmla="*/ 9828234 w 10505529"/>
              <a:gd name="connsiteY16612" fmla="*/ 4587586 h 7458372"/>
              <a:gd name="connsiteX16613" fmla="*/ 9823176 w 10505529"/>
              <a:gd name="connsiteY16613" fmla="*/ 4586655 h 7458372"/>
              <a:gd name="connsiteX16614" fmla="*/ 9605531 w 10505529"/>
              <a:gd name="connsiteY16614" fmla="*/ 4586655 h 7458372"/>
              <a:gd name="connsiteX16615" fmla="*/ 9595546 w 10505529"/>
              <a:gd name="connsiteY16615" fmla="*/ 4590249 h 7458372"/>
              <a:gd name="connsiteX16616" fmla="*/ 9591952 w 10505529"/>
              <a:gd name="connsiteY16616" fmla="*/ 4599700 h 7458372"/>
              <a:gd name="connsiteX16617" fmla="*/ 9595546 w 10505529"/>
              <a:gd name="connsiteY16617" fmla="*/ 4609151 h 7458372"/>
              <a:gd name="connsiteX16618" fmla="*/ 9605531 w 10505529"/>
              <a:gd name="connsiteY16618" fmla="*/ 4612613 h 7458372"/>
              <a:gd name="connsiteX16619" fmla="*/ 9610855 w 10505529"/>
              <a:gd name="connsiteY16619" fmla="*/ 4611681 h 7458372"/>
              <a:gd name="connsiteX16620" fmla="*/ 9614582 w 10505529"/>
              <a:gd name="connsiteY16620" fmla="*/ 4609284 h 7458372"/>
              <a:gd name="connsiteX16621" fmla="*/ 9617245 w 10505529"/>
              <a:gd name="connsiteY16621" fmla="*/ 4605024 h 7458372"/>
              <a:gd name="connsiteX16622" fmla="*/ 9618309 w 10505529"/>
              <a:gd name="connsiteY16622" fmla="*/ 4599566 h 7458372"/>
              <a:gd name="connsiteX16623" fmla="*/ 9617245 w 10505529"/>
              <a:gd name="connsiteY16623" fmla="*/ 4594375 h 7458372"/>
              <a:gd name="connsiteX16624" fmla="*/ 9614582 w 10505529"/>
              <a:gd name="connsiteY16624" fmla="*/ 4590249 h 7458372"/>
              <a:gd name="connsiteX16625" fmla="*/ 9610589 w 10505529"/>
              <a:gd name="connsiteY16625" fmla="*/ 4587586 h 7458372"/>
              <a:gd name="connsiteX16626" fmla="*/ 9605531 w 10505529"/>
              <a:gd name="connsiteY16626" fmla="*/ 4586655 h 7458372"/>
              <a:gd name="connsiteX16627" fmla="*/ 9387885 w 10505529"/>
              <a:gd name="connsiteY16627" fmla="*/ 4586655 h 7458372"/>
              <a:gd name="connsiteX16628" fmla="*/ 9377900 w 10505529"/>
              <a:gd name="connsiteY16628" fmla="*/ 4590249 h 7458372"/>
              <a:gd name="connsiteX16629" fmla="*/ 9374307 w 10505529"/>
              <a:gd name="connsiteY16629" fmla="*/ 4599700 h 7458372"/>
              <a:gd name="connsiteX16630" fmla="*/ 9377900 w 10505529"/>
              <a:gd name="connsiteY16630" fmla="*/ 4609151 h 7458372"/>
              <a:gd name="connsiteX16631" fmla="*/ 9387885 w 10505529"/>
              <a:gd name="connsiteY16631" fmla="*/ 4612613 h 7458372"/>
              <a:gd name="connsiteX16632" fmla="*/ 9393210 w 10505529"/>
              <a:gd name="connsiteY16632" fmla="*/ 4611681 h 7458372"/>
              <a:gd name="connsiteX16633" fmla="*/ 9396937 w 10505529"/>
              <a:gd name="connsiteY16633" fmla="*/ 4609284 h 7458372"/>
              <a:gd name="connsiteX16634" fmla="*/ 9399599 w 10505529"/>
              <a:gd name="connsiteY16634" fmla="*/ 4605024 h 7458372"/>
              <a:gd name="connsiteX16635" fmla="*/ 9400664 w 10505529"/>
              <a:gd name="connsiteY16635" fmla="*/ 4599566 h 7458372"/>
              <a:gd name="connsiteX16636" fmla="*/ 9399599 w 10505529"/>
              <a:gd name="connsiteY16636" fmla="*/ 4594375 h 7458372"/>
              <a:gd name="connsiteX16637" fmla="*/ 9396937 w 10505529"/>
              <a:gd name="connsiteY16637" fmla="*/ 4590249 h 7458372"/>
              <a:gd name="connsiteX16638" fmla="*/ 9392943 w 10505529"/>
              <a:gd name="connsiteY16638" fmla="*/ 4587586 h 7458372"/>
              <a:gd name="connsiteX16639" fmla="*/ 9387885 w 10505529"/>
              <a:gd name="connsiteY16639" fmla="*/ 4586655 h 7458372"/>
              <a:gd name="connsiteX16640" fmla="*/ 9170374 w 10505529"/>
              <a:gd name="connsiteY16640" fmla="*/ 4586655 h 7458372"/>
              <a:gd name="connsiteX16641" fmla="*/ 9160389 w 10505529"/>
              <a:gd name="connsiteY16641" fmla="*/ 4590249 h 7458372"/>
              <a:gd name="connsiteX16642" fmla="*/ 9156795 w 10505529"/>
              <a:gd name="connsiteY16642" fmla="*/ 4599700 h 7458372"/>
              <a:gd name="connsiteX16643" fmla="*/ 9160389 w 10505529"/>
              <a:gd name="connsiteY16643" fmla="*/ 4609151 h 7458372"/>
              <a:gd name="connsiteX16644" fmla="*/ 9170374 w 10505529"/>
              <a:gd name="connsiteY16644" fmla="*/ 4612613 h 7458372"/>
              <a:gd name="connsiteX16645" fmla="*/ 9175698 w 10505529"/>
              <a:gd name="connsiteY16645" fmla="*/ 4611681 h 7458372"/>
              <a:gd name="connsiteX16646" fmla="*/ 9179425 w 10505529"/>
              <a:gd name="connsiteY16646" fmla="*/ 4609284 h 7458372"/>
              <a:gd name="connsiteX16647" fmla="*/ 9182088 w 10505529"/>
              <a:gd name="connsiteY16647" fmla="*/ 4605024 h 7458372"/>
              <a:gd name="connsiteX16648" fmla="*/ 9183152 w 10505529"/>
              <a:gd name="connsiteY16648" fmla="*/ 4599566 h 7458372"/>
              <a:gd name="connsiteX16649" fmla="*/ 9182088 w 10505529"/>
              <a:gd name="connsiteY16649" fmla="*/ 4594375 h 7458372"/>
              <a:gd name="connsiteX16650" fmla="*/ 9179425 w 10505529"/>
              <a:gd name="connsiteY16650" fmla="*/ 4590249 h 7458372"/>
              <a:gd name="connsiteX16651" fmla="*/ 9175432 w 10505529"/>
              <a:gd name="connsiteY16651" fmla="*/ 4587586 h 7458372"/>
              <a:gd name="connsiteX16652" fmla="*/ 9170374 w 10505529"/>
              <a:gd name="connsiteY16652" fmla="*/ 4586655 h 7458372"/>
              <a:gd name="connsiteX16653" fmla="*/ 8952728 w 10505529"/>
              <a:gd name="connsiteY16653" fmla="*/ 4586655 h 7458372"/>
              <a:gd name="connsiteX16654" fmla="*/ 8942743 w 10505529"/>
              <a:gd name="connsiteY16654" fmla="*/ 4590249 h 7458372"/>
              <a:gd name="connsiteX16655" fmla="*/ 8939150 w 10505529"/>
              <a:gd name="connsiteY16655" fmla="*/ 4599700 h 7458372"/>
              <a:gd name="connsiteX16656" fmla="*/ 8942743 w 10505529"/>
              <a:gd name="connsiteY16656" fmla="*/ 4609151 h 7458372"/>
              <a:gd name="connsiteX16657" fmla="*/ 8952728 w 10505529"/>
              <a:gd name="connsiteY16657" fmla="*/ 4612613 h 7458372"/>
              <a:gd name="connsiteX16658" fmla="*/ 8958053 w 10505529"/>
              <a:gd name="connsiteY16658" fmla="*/ 4611681 h 7458372"/>
              <a:gd name="connsiteX16659" fmla="*/ 8961780 w 10505529"/>
              <a:gd name="connsiteY16659" fmla="*/ 4609284 h 7458372"/>
              <a:gd name="connsiteX16660" fmla="*/ 8964442 w 10505529"/>
              <a:gd name="connsiteY16660" fmla="*/ 4605024 h 7458372"/>
              <a:gd name="connsiteX16661" fmla="*/ 8965507 w 10505529"/>
              <a:gd name="connsiteY16661" fmla="*/ 4599566 h 7458372"/>
              <a:gd name="connsiteX16662" fmla="*/ 8964442 w 10505529"/>
              <a:gd name="connsiteY16662" fmla="*/ 4594375 h 7458372"/>
              <a:gd name="connsiteX16663" fmla="*/ 8961780 w 10505529"/>
              <a:gd name="connsiteY16663" fmla="*/ 4590249 h 7458372"/>
              <a:gd name="connsiteX16664" fmla="*/ 8957786 w 10505529"/>
              <a:gd name="connsiteY16664" fmla="*/ 4587586 h 7458372"/>
              <a:gd name="connsiteX16665" fmla="*/ 8952728 w 10505529"/>
              <a:gd name="connsiteY16665" fmla="*/ 4586655 h 7458372"/>
              <a:gd name="connsiteX16666" fmla="*/ 8735083 w 10505529"/>
              <a:gd name="connsiteY16666" fmla="*/ 4586655 h 7458372"/>
              <a:gd name="connsiteX16667" fmla="*/ 8725098 w 10505529"/>
              <a:gd name="connsiteY16667" fmla="*/ 4590249 h 7458372"/>
              <a:gd name="connsiteX16668" fmla="*/ 8721504 w 10505529"/>
              <a:gd name="connsiteY16668" fmla="*/ 4599700 h 7458372"/>
              <a:gd name="connsiteX16669" fmla="*/ 8725098 w 10505529"/>
              <a:gd name="connsiteY16669" fmla="*/ 4609151 h 7458372"/>
              <a:gd name="connsiteX16670" fmla="*/ 8735083 w 10505529"/>
              <a:gd name="connsiteY16670" fmla="*/ 4612613 h 7458372"/>
              <a:gd name="connsiteX16671" fmla="*/ 8740407 w 10505529"/>
              <a:gd name="connsiteY16671" fmla="*/ 4611681 h 7458372"/>
              <a:gd name="connsiteX16672" fmla="*/ 8744134 w 10505529"/>
              <a:gd name="connsiteY16672" fmla="*/ 4609284 h 7458372"/>
              <a:gd name="connsiteX16673" fmla="*/ 8746797 w 10505529"/>
              <a:gd name="connsiteY16673" fmla="*/ 4605024 h 7458372"/>
              <a:gd name="connsiteX16674" fmla="*/ 8747862 w 10505529"/>
              <a:gd name="connsiteY16674" fmla="*/ 4599566 h 7458372"/>
              <a:gd name="connsiteX16675" fmla="*/ 8746797 w 10505529"/>
              <a:gd name="connsiteY16675" fmla="*/ 4594375 h 7458372"/>
              <a:gd name="connsiteX16676" fmla="*/ 8744134 w 10505529"/>
              <a:gd name="connsiteY16676" fmla="*/ 4590249 h 7458372"/>
              <a:gd name="connsiteX16677" fmla="*/ 8740141 w 10505529"/>
              <a:gd name="connsiteY16677" fmla="*/ 4587586 h 7458372"/>
              <a:gd name="connsiteX16678" fmla="*/ 8735083 w 10505529"/>
              <a:gd name="connsiteY16678" fmla="*/ 4586655 h 7458372"/>
              <a:gd name="connsiteX16679" fmla="*/ 8517438 w 10505529"/>
              <a:gd name="connsiteY16679" fmla="*/ 4586655 h 7458372"/>
              <a:gd name="connsiteX16680" fmla="*/ 8507453 w 10505529"/>
              <a:gd name="connsiteY16680" fmla="*/ 4590249 h 7458372"/>
              <a:gd name="connsiteX16681" fmla="*/ 8503860 w 10505529"/>
              <a:gd name="connsiteY16681" fmla="*/ 4599700 h 7458372"/>
              <a:gd name="connsiteX16682" fmla="*/ 8507453 w 10505529"/>
              <a:gd name="connsiteY16682" fmla="*/ 4609151 h 7458372"/>
              <a:gd name="connsiteX16683" fmla="*/ 8517438 w 10505529"/>
              <a:gd name="connsiteY16683" fmla="*/ 4612613 h 7458372"/>
              <a:gd name="connsiteX16684" fmla="*/ 8522763 w 10505529"/>
              <a:gd name="connsiteY16684" fmla="*/ 4611681 h 7458372"/>
              <a:gd name="connsiteX16685" fmla="*/ 8526490 w 10505529"/>
              <a:gd name="connsiteY16685" fmla="*/ 4609284 h 7458372"/>
              <a:gd name="connsiteX16686" fmla="*/ 8529152 w 10505529"/>
              <a:gd name="connsiteY16686" fmla="*/ 4605024 h 7458372"/>
              <a:gd name="connsiteX16687" fmla="*/ 8530084 w 10505529"/>
              <a:gd name="connsiteY16687" fmla="*/ 4599566 h 7458372"/>
              <a:gd name="connsiteX16688" fmla="*/ 8529152 w 10505529"/>
              <a:gd name="connsiteY16688" fmla="*/ 4594375 h 7458372"/>
              <a:gd name="connsiteX16689" fmla="*/ 8526490 w 10505529"/>
              <a:gd name="connsiteY16689" fmla="*/ 4590249 h 7458372"/>
              <a:gd name="connsiteX16690" fmla="*/ 8522496 w 10505529"/>
              <a:gd name="connsiteY16690" fmla="*/ 4587586 h 7458372"/>
              <a:gd name="connsiteX16691" fmla="*/ 8517438 w 10505529"/>
              <a:gd name="connsiteY16691" fmla="*/ 4586655 h 7458372"/>
              <a:gd name="connsiteX16692" fmla="*/ 8299793 w 10505529"/>
              <a:gd name="connsiteY16692" fmla="*/ 4586655 h 7458372"/>
              <a:gd name="connsiteX16693" fmla="*/ 8289809 w 10505529"/>
              <a:gd name="connsiteY16693" fmla="*/ 4590249 h 7458372"/>
              <a:gd name="connsiteX16694" fmla="*/ 8286215 w 10505529"/>
              <a:gd name="connsiteY16694" fmla="*/ 4599700 h 7458372"/>
              <a:gd name="connsiteX16695" fmla="*/ 8289809 w 10505529"/>
              <a:gd name="connsiteY16695" fmla="*/ 4609151 h 7458372"/>
              <a:gd name="connsiteX16696" fmla="*/ 8299793 w 10505529"/>
              <a:gd name="connsiteY16696" fmla="*/ 4612613 h 7458372"/>
              <a:gd name="connsiteX16697" fmla="*/ 8305118 w 10505529"/>
              <a:gd name="connsiteY16697" fmla="*/ 4611681 h 7458372"/>
              <a:gd name="connsiteX16698" fmla="*/ 8308844 w 10505529"/>
              <a:gd name="connsiteY16698" fmla="*/ 4609284 h 7458372"/>
              <a:gd name="connsiteX16699" fmla="*/ 8311507 w 10505529"/>
              <a:gd name="connsiteY16699" fmla="*/ 4605024 h 7458372"/>
              <a:gd name="connsiteX16700" fmla="*/ 8312439 w 10505529"/>
              <a:gd name="connsiteY16700" fmla="*/ 4599566 h 7458372"/>
              <a:gd name="connsiteX16701" fmla="*/ 8311507 w 10505529"/>
              <a:gd name="connsiteY16701" fmla="*/ 4594375 h 7458372"/>
              <a:gd name="connsiteX16702" fmla="*/ 8308844 w 10505529"/>
              <a:gd name="connsiteY16702" fmla="*/ 4590249 h 7458372"/>
              <a:gd name="connsiteX16703" fmla="*/ 8304851 w 10505529"/>
              <a:gd name="connsiteY16703" fmla="*/ 4587586 h 7458372"/>
              <a:gd name="connsiteX16704" fmla="*/ 8299793 w 10505529"/>
              <a:gd name="connsiteY16704" fmla="*/ 4586655 h 7458372"/>
              <a:gd name="connsiteX16705" fmla="*/ 8082281 w 10505529"/>
              <a:gd name="connsiteY16705" fmla="*/ 4586655 h 7458372"/>
              <a:gd name="connsiteX16706" fmla="*/ 8072297 w 10505529"/>
              <a:gd name="connsiteY16706" fmla="*/ 4590249 h 7458372"/>
              <a:gd name="connsiteX16707" fmla="*/ 8068703 w 10505529"/>
              <a:gd name="connsiteY16707" fmla="*/ 4599700 h 7458372"/>
              <a:gd name="connsiteX16708" fmla="*/ 8072297 w 10505529"/>
              <a:gd name="connsiteY16708" fmla="*/ 4609151 h 7458372"/>
              <a:gd name="connsiteX16709" fmla="*/ 8082281 w 10505529"/>
              <a:gd name="connsiteY16709" fmla="*/ 4612613 h 7458372"/>
              <a:gd name="connsiteX16710" fmla="*/ 8087605 w 10505529"/>
              <a:gd name="connsiteY16710" fmla="*/ 4611681 h 7458372"/>
              <a:gd name="connsiteX16711" fmla="*/ 8091332 w 10505529"/>
              <a:gd name="connsiteY16711" fmla="*/ 4609284 h 7458372"/>
              <a:gd name="connsiteX16712" fmla="*/ 8093994 w 10505529"/>
              <a:gd name="connsiteY16712" fmla="*/ 4605024 h 7458372"/>
              <a:gd name="connsiteX16713" fmla="*/ 8094926 w 10505529"/>
              <a:gd name="connsiteY16713" fmla="*/ 4599566 h 7458372"/>
              <a:gd name="connsiteX16714" fmla="*/ 8093994 w 10505529"/>
              <a:gd name="connsiteY16714" fmla="*/ 4594375 h 7458372"/>
              <a:gd name="connsiteX16715" fmla="*/ 8091332 w 10505529"/>
              <a:gd name="connsiteY16715" fmla="*/ 4590249 h 7458372"/>
              <a:gd name="connsiteX16716" fmla="*/ 8087338 w 10505529"/>
              <a:gd name="connsiteY16716" fmla="*/ 4587586 h 7458372"/>
              <a:gd name="connsiteX16717" fmla="*/ 8082281 w 10505529"/>
              <a:gd name="connsiteY16717" fmla="*/ 4586655 h 7458372"/>
              <a:gd name="connsiteX16718" fmla="*/ 7864636 w 10505529"/>
              <a:gd name="connsiteY16718" fmla="*/ 4586655 h 7458372"/>
              <a:gd name="connsiteX16719" fmla="*/ 7854652 w 10505529"/>
              <a:gd name="connsiteY16719" fmla="*/ 4590249 h 7458372"/>
              <a:gd name="connsiteX16720" fmla="*/ 7851058 w 10505529"/>
              <a:gd name="connsiteY16720" fmla="*/ 4599700 h 7458372"/>
              <a:gd name="connsiteX16721" fmla="*/ 7854652 w 10505529"/>
              <a:gd name="connsiteY16721" fmla="*/ 4609151 h 7458372"/>
              <a:gd name="connsiteX16722" fmla="*/ 7864636 w 10505529"/>
              <a:gd name="connsiteY16722" fmla="*/ 4612613 h 7458372"/>
              <a:gd name="connsiteX16723" fmla="*/ 7869961 w 10505529"/>
              <a:gd name="connsiteY16723" fmla="*/ 4611681 h 7458372"/>
              <a:gd name="connsiteX16724" fmla="*/ 7873687 w 10505529"/>
              <a:gd name="connsiteY16724" fmla="*/ 4609284 h 7458372"/>
              <a:gd name="connsiteX16725" fmla="*/ 7876350 w 10505529"/>
              <a:gd name="connsiteY16725" fmla="*/ 4605024 h 7458372"/>
              <a:gd name="connsiteX16726" fmla="*/ 7877282 w 10505529"/>
              <a:gd name="connsiteY16726" fmla="*/ 4599566 h 7458372"/>
              <a:gd name="connsiteX16727" fmla="*/ 7876350 w 10505529"/>
              <a:gd name="connsiteY16727" fmla="*/ 4594375 h 7458372"/>
              <a:gd name="connsiteX16728" fmla="*/ 7873687 w 10505529"/>
              <a:gd name="connsiteY16728" fmla="*/ 4590249 h 7458372"/>
              <a:gd name="connsiteX16729" fmla="*/ 7869694 w 10505529"/>
              <a:gd name="connsiteY16729" fmla="*/ 4587586 h 7458372"/>
              <a:gd name="connsiteX16730" fmla="*/ 7864636 w 10505529"/>
              <a:gd name="connsiteY16730" fmla="*/ 4586655 h 7458372"/>
              <a:gd name="connsiteX16731" fmla="*/ 7646991 w 10505529"/>
              <a:gd name="connsiteY16731" fmla="*/ 4586655 h 7458372"/>
              <a:gd name="connsiteX16732" fmla="*/ 7637007 w 10505529"/>
              <a:gd name="connsiteY16732" fmla="*/ 4590249 h 7458372"/>
              <a:gd name="connsiteX16733" fmla="*/ 7633413 w 10505529"/>
              <a:gd name="connsiteY16733" fmla="*/ 4599700 h 7458372"/>
              <a:gd name="connsiteX16734" fmla="*/ 7637007 w 10505529"/>
              <a:gd name="connsiteY16734" fmla="*/ 4609151 h 7458372"/>
              <a:gd name="connsiteX16735" fmla="*/ 7646991 w 10505529"/>
              <a:gd name="connsiteY16735" fmla="*/ 4612613 h 7458372"/>
              <a:gd name="connsiteX16736" fmla="*/ 7652315 w 10505529"/>
              <a:gd name="connsiteY16736" fmla="*/ 4611681 h 7458372"/>
              <a:gd name="connsiteX16737" fmla="*/ 7656042 w 10505529"/>
              <a:gd name="connsiteY16737" fmla="*/ 4609284 h 7458372"/>
              <a:gd name="connsiteX16738" fmla="*/ 7658705 w 10505529"/>
              <a:gd name="connsiteY16738" fmla="*/ 4605024 h 7458372"/>
              <a:gd name="connsiteX16739" fmla="*/ 7659769 w 10505529"/>
              <a:gd name="connsiteY16739" fmla="*/ 4599566 h 7458372"/>
              <a:gd name="connsiteX16740" fmla="*/ 7658705 w 10505529"/>
              <a:gd name="connsiteY16740" fmla="*/ 4594375 h 7458372"/>
              <a:gd name="connsiteX16741" fmla="*/ 7656042 w 10505529"/>
              <a:gd name="connsiteY16741" fmla="*/ 4590249 h 7458372"/>
              <a:gd name="connsiteX16742" fmla="*/ 7652049 w 10505529"/>
              <a:gd name="connsiteY16742" fmla="*/ 4587586 h 7458372"/>
              <a:gd name="connsiteX16743" fmla="*/ 7646991 w 10505529"/>
              <a:gd name="connsiteY16743" fmla="*/ 4586655 h 7458372"/>
              <a:gd name="connsiteX16744" fmla="*/ 7429345 w 10505529"/>
              <a:gd name="connsiteY16744" fmla="*/ 4586655 h 7458372"/>
              <a:gd name="connsiteX16745" fmla="*/ 7419361 w 10505529"/>
              <a:gd name="connsiteY16745" fmla="*/ 4590249 h 7458372"/>
              <a:gd name="connsiteX16746" fmla="*/ 7415768 w 10505529"/>
              <a:gd name="connsiteY16746" fmla="*/ 4599700 h 7458372"/>
              <a:gd name="connsiteX16747" fmla="*/ 7419361 w 10505529"/>
              <a:gd name="connsiteY16747" fmla="*/ 4609151 h 7458372"/>
              <a:gd name="connsiteX16748" fmla="*/ 7429345 w 10505529"/>
              <a:gd name="connsiteY16748" fmla="*/ 4612613 h 7458372"/>
              <a:gd name="connsiteX16749" fmla="*/ 7434670 w 10505529"/>
              <a:gd name="connsiteY16749" fmla="*/ 4611681 h 7458372"/>
              <a:gd name="connsiteX16750" fmla="*/ 7438397 w 10505529"/>
              <a:gd name="connsiteY16750" fmla="*/ 4609284 h 7458372"/>
              <a:gd name="connsiteX16751" fmla="*/ 7441059 w 10505529"/>
              <a:gd name="connsiteY16751" fmla="*/ 4605024 h 7458372"/>
              <a:gd name="connsiteX16752" fmla="*/ 7442124 w 10505529"/>
              <a:gd name="connsiteY16752" fmla="*/ 4599566 h 7458372"/>
              <a:gd name="connsiteX16753" fmla="*/ 7441059 w 10505529"/>
              <a:gd name="connsiteY16753" fmla="*/ 4594375 h 7458372"/>
              <a:gd name="connsiteX16754" fmla="*/ 7438397 w 10505529"/>
              <a:gd name="connsiteY16754" fmla="*/ 4590249 h 7458372"/>
              <a:gd name="connsiteX16755" fmla="*/ 7434403 w 10505529"/>
              <a:gd name="connsiteY16755" fmla="*/ 4587586 h 7458372"/>
              <a:gd name="connsiteX16756" fmla="*/ 7429345 w 10505529"/>
              <a:gd name="connsiteY16756" fmla="*/ 4586655 h 7458372"/>
              <a:gd name="connsiteX16757" fmla="*/ 7211701 w 10505529"/>
              <a:gd name="connsiteY16757" fmla="*/ 4586655 h 7458372"/>
              <a:gd name="connsiteX16758" fmla="*/ 7201717 w 10505529"/>
              <a:gd name="connsiteY16758" fmla="*/ 4590249 h 7458372"/>
              <a:gd name="connsiteX16759" fmla="*/ 7198123 w 10505529"/>
              <a:gd name="connsiteY16759" fmla="*/ 4599700 h 7458372"/>
              <a:gd name="connsiteX16760" fmla="*/ 7201717 w 10505529"/>
              <a:gd name="connsiteY16760" fmla="*/ 4609151 h 7458372"/>
              <a:gd name="connsiteX16761" fmla="*/ 7211701 w 10505529"/>
              <a:gd name="connsiteY16761" fmla="*/ 4612613 h 7458372"/>
              <a:gd name="connsiteX16762" fmla="*/ 7217026 w 10505529"/>
              <a:gd name="connsiteY16762" fmla="*/ 4611681 h 7458372"/>
              <a:gd name="connsiteX16763" fmla="*/ 7220752 w 10505529"/>
              <a:gd name="connsiteY16763" fmla="*/ 4609284 h 7458372"/>
              <a:gd name="connsiteX16764" fmla="*/ 7223415 w 10505529"/>
              <a:gd name="connsiteY16764" fmla="*/ 4605024 h 7458372"/>
              <a:gd name="connsiteX16765" fmla="*/ 7224480 w 10505529"/>
              <a:gd name="connsiteY16765" fmla="*/ 4599566 h 7458372"/>
              <a:gd name="connsiteX16766" fmla="*/ 7223415 w 10505529"/>
              <a:gd name="connsiteY16766" fmla="*/ 4594375 h 7458372"/>
              <a:gd name="connsiteX16767" fmla="*/ 7220752 w 10505529"/>
              <a:gd name="connsiteY16767" fmla="*/ 4590249 h 7458372"/>
              <a:gd name="connsiteX16768" fmla="*/ 7216759 w 10505529"/>
              <a:gd name="connsiteY16768" fmla="*/ 4587586 h 7458372"/>
              <a:gd name="connsiteX16769" fmla="*/ 7211701 w 10505529"/>
              <a:gd name="connsiteY16769" fmla="*/ 4586655 h 7458372"/>
              <a:gd name="connsiteX16770" fmla="*/ 6994056 w 10505529"/>
              <a:gd name="connsiteY16770" fmla="*/ 4586655 h 7458372"/>
              <a:gd name="connsiteX16771" fmla="*/ 6984072 w 10505529"/>
              <a:gd name="connsiteY16771" fmla="*/ 4590249 h 7458372"/>
              <a:gd name="connsiteX16772" fmla="*/ 6980478 w 10505529"/>
              <a:gd name="connsiteY16772" fmla="*/ 4599700 h 7458372"/>
              <a:gd name="connsiteX16773" fmla="*/ 6984072 w 10505529"/>
              <a:gd name="connsiteY16773" fmla="*/ 4609151 h 7458372"/>
              <a:gd name="connsiteX16774" fmla="*/ 6994056 w 10505529"/>
              <a:gd name="connsiteY16774" fmla="*/ 4612613 h 7458372"/>
              <a:gd name="connsiteX16775" fmla="*/ 6999380 w 10505529"/>
              <a:gd name="connsiteY16775" fmla="*/ 4611681 h 7458372"/>
              <a:gd name="connsiteX16776" fmla="*/ 7003107 w 10505529"/>
              <a:gd name="connsiteY16776" fmla="*/ 4609284 h 7458372"/>
              <a:gd name="connsiteX16777" fmla="*/ 7005769 w 10505529"/>
              <a:gd name="connsiteY16777" fmla="*/ 4605024 h 7458372"/>
              <a:gd name="connsiteX16778" fmla="*/ 7006834 w 10505529"/>
              <a:gd name="connsiteY16778" fmla="*/ 4599566 h 7458372"/>
              <a:gd name="connsiteX16779" fmla="*/ 7005769 w 10505529"/>
              <a:gd name="connsiteY16779" fmla="*/ 4594375 h 7458372"/>
              <a:gd name="connsiteX16780" fmla="*/ 7003107 w 10505529"/>
              <a:gd name="connsiteY16780" fmla="*/ 4590249 h 7458372"/>
              <a:gd name="connsiteX16781" fmla="*/ 6999113 w 10505529"/>
              <a:gd name="connsiteY16781" fmla="*/ 4587586 h 7458372"/>
              <a:gd name="connsiteX16782" fmla="*/ 6994056 w 10505529"/>
              <a:gd name="connsiteY16782" fmla="*/ 4586655 h 7458372"/>
              <a:gd name="connsiteX16783" fmla="*/ 6776544 w 10505529"/>
              <a:gd name="connsiteY16783" fmla="*/ 4586655 h 7458372"/>
              <a:gd name="connsiteX16784" fmla="*/ 6766560 w 10505529"/>
              <a:gd name="connsiteY16784" fmla="*/ 4590249 h 7458372"/>
              <a:gd name="connsiteX16785" fmla="*/ 6762966 w 10505529"/>
              <a:gd name="connsiteY16785" fmla="*/ 4599700 h 7458372"/>
              <a:gd name="connsiteX16786" fmla="*/ 6766560 w 10505529"/>
              <a:gd name="connsiteY16786" fmla="*/ 4609151 h 7458372"/>
              <a:gd name="connsiteX16787" fmla="*/ 6776544 w 10505529"/>
              <a:gd name="connsiteY16787" fmla="*/ 4612613 h 7458372"/>
              <a:gd name="connsiteX16788" fmla="*/ 6781869 w 10505529"/>
              <a:gd name="connsiteY16788" fmla="*/ 4611681 h 7458372"/>
              <a:gd name="connsiteX16789" fmla="*/ 6785595 w 10505529"/>
              <a:gd name="connsiteY16789" fmla="*/ 4609284 h 7458372"/>
              <a:gd name="connsiteX16790" fmla="*/ 6788258 w 10505529"/>
              <a:gd name="connsiteY16790" fmla="*/ 4605024 h 7458372"/>
              <a:gd name="connsiteX16791" fmla="*/ 6789323 w 10505529"/>
              <a:gd name="connsiteY16791" fmla="*/ 4599566 h 7458372"/>
              <a:gd name="connsiteX16792" fmla="*/ 6788258 w 10505529"/>
              <a:gd name="connsiteY16792" fmla="*/ 4594375 h 7458372"/>
              <a:gd name="connsiteX16793" fmla="*/ 6785595 w 10505529"/>
              <a:gd name="connsiteY16793" fmla="*/ 4590249 h 7458372"/>
              <a:gd name="connsiteX16794" fmla="*/ 6781602 w 10505529"/>
              <a:gd name="connsiteY16794" fmla="*/ 4587586 h 7458372"/>
              <a:gd name="connsiteX16795" fmla="*/ 6776544 w 10505529"/>
              <a:gd name="connsiteY16795" fmla="*/ 4586655 h 7458372"/>
              <a:gd name="connsiteX16796" fmla="*/ 6558899 w 10505529"/>
              <a:gd name="connsiteY16796" fmla="*/ 4586655 h 7458372"/>
              <a:gd name="connsiteX16797" fmla="*/ 6548915 w 10505529"/>
              <a:gd name="connsiteY16797" fmla="*/ 4590249 h 7458372"/>
              <a:gd name="connsiteX16798" fmla="*/ 6545321 w 10505529"/>
              <a:gd name="connsiteY16798" fmla="*/ 4599700 h 7458372"/>
              <a:gd name="connsiteX16799" fmla="*/ 6548915 w 10505529"/>
              <a:gd name="connsiteY16799" fmla="*/ 4609151 h 7458372"/>
              <a:gd name="connsiteX16800" fmla="*/ 6558899 w 10505529"/>
              <a:gd name="connsiteY16800" fmla="*/ 4612613 h 7458372"/>
              <a:gd name="connsiteX16801" fmla="*/ 6564223 w 10505529"/>
              <a:gd name="connsiteY16801" fmla="*/ 4611681 h 7458372"/>
              <a:gd name="connsiteX16802" fmla="*/ 6567950 w 10505529"/>
              <a:gd name="connsiteY16802" fmla="*/ 4609284 h 7458372"/>
              <a:gd name="connsiteX16803" fmla="*/ 6570612 w 10505529"/>
              <a:gd name="connsiteY16803" fmla="*/ 4605024 h 7458372"/>
              <a:gd name="connsiteX16804" fmla="*/ 6571677 w 10505529"/>
              <a:gd name="connsiteY16804" fmla="*/ 4599566 h 7458372"/>
              <a:gd name="connsiteX16805" fmla="*/ 6570612 w 10505529"/>
              <a:gd name="connsiteY16805" fmla="*/ 4594375 h 7458372"/>
              <a:gd name="connsiteX16806" fmla="*/ 6567950 w 10505529"/>
              <a:gd name="connsiteY16806" fmla="*/ 4590249 h 7458372"/>
              <a:gd name="connsiteX16807" fmla="*/ 6563956 w 10505529"/>
              <a:gd name="connsiteY16807" fmla="*/ 4587586 h 7458372"/>
              <a:gd name="connsiteX16808" fmla="*/ 6558899 w 10505529"/>
              <a:gd name="connsiteY16808" fmla="*/ 4586655 h 7458372"/>
              <a:gd name="connsiteX16809" fmla="*/ 6341253 w 10505529"/>
              <a:gd name="connsiteY16809" fmla="*/ 4586655 h 7458372"/>
              <a:gd name="connsiteX16810" fmla="*/ 6331270 w 10505529"/>
              <a:gd name="connsiteY16810" fmla="*/ 4590249 h 7458372"/>
              <a:gd name="connsiteX16811" fmla="*/ 6327675 w 10505529"/>
              <a:gd name="connsiteY16811" fmla="*/ 4599700 h 7458372"/>
              <a:gd name="connsiteX16812" fmla="*/ 6331270 w 10505529"/>
              <a:gd name="connsiteY16812" fmla="*/ 4609151 h 7458372"/>
              <a:gd name="connsiteX16813" fmla="*/ 6341253 w 10505529"/>
              <a:gd name="connsiteY16813" fmla="*/ 4612613 h 7458372"/>
              <a:gd name="connsiteX16814" fmla="*/ 6346578 w 10505529"/>
              <a:gd name="connsiteY16814" fmla="*/ 4611681 h 7458372"/>
              <a:gd name="connsiteX16815" fmla="*/ 6350305 w 10505529"/>
              <a:gd name="connsiteY16815" fmla="*/ 4609284 h 7458372"/>
              <a:gd name="connsiteX16816" fmla="*/ 6352968 w 10505529"/>
              <a:gd name="connsiteY16816" fmla="*/ 4605024 h 7458372"/>
              <a:gd name="connsiteX16817" fmla="*/ 6354033 w 10505529"/>
              <a:gd name="connsiteY16817" fmla="*/ 4599566 h 7458372"/>
              <a:gd name="connsiteX16818" fmla="*/ 6352968 w 10505529"/>
              <a:gd name="connsiteY16818" fmla="*/ 4594375 h 7458372"/>
              <a:gd name="connsiteX16819" fmla="*/ 6350305 w 10505529"/>
              <a:gd name="connsiteY16819" fmla="*/ 4590249 h 7458372"/>
              <a:gd name="connsiteX16820" fmla="*/ 6346312 w 10505529"/>
              <a:gd name="connsiteY16820" fmla="*/ 4587586 h 7458372"/>
              <a:gd name="connsiteX16821" fmla="*/ 6341253 w 10505529"/>
              <a:gd name="connsiteY16821" fmla="*/ 4586655 h 7458372"/>
              <a:gd name="connsiteX16822" fmla="*/ 6123608 w 10505529"/>
              <a:gd name="connsiteY16822" fmla="*/ 4586655 h 7458372"/>
              <a:gd name="connsiteX16823" fmla="*/ 6113624 w 10505529"/>
              <a:gd name="connsiteY16823" fmla="*/ 4590249 h 7458372"/>
              <a:gd name="connsiteX16824" fmla="*/ 6110030 w 10505529"/>
              <a:gd name="connsiteY16824" fmla="*/ 4599700 h 7458372"/>
              <a:gd name="connsiteX16825" fmla="*/ 6113624 w 10505529"/>
              <a:gd name="connsiteY16825" fmla="*/ 4609151 h 7458372"/>
              <a:gd name="connsiteX16826" fmla="*/ 6123608 w 10505529"/>
              <a:gd name="connsiteY16826" fmla="*/ 4612613 h 7458372"/>
              <a:gd name="connsiteX16827" fmla="*/ 6128932 w 10505529"/>
              <a:gd name="connsiteY16827" fmla="*/ 4611681 h 7458372"/>
              <a:gd name="connsiteX16828" fmla="*/ 6132659 w 10505529"/>
              <a:gd name="connsiteY16828" fmla="*/ 4609284 h 7458372"/>
              <a:gd name="connsiteX16829" fmla="*/ 6135322 w 10505529"/>
              <a:gd name="connsiteY16829" fmla="*/ 4605024 h 7458372"/>
              <a:gd name="connsiteX16830" fmla="*/ 6136387 w 10505529"/>
              <a:gd name="connsiteY16830" fmla="*/ 4599566 h 7458372"/>
              <a:gd name="connsiteX16831" fmla="*/ 6135322 w 10505529"/>
              <a:gd name="connsiteY16831" fmla="*/ 4594375 h 7458372"/>
              <a:gd name="connsiteX16832" fmla="*/ 6132659 w 10505529"/>
              <a:gd name="connsiteY16832" fmla="*/ 4590249 h 7458372"/>
              <a:gd name="connsiteX16833" fmla="*/ 6128666 w 10505529"/>
              <a:gd name="connsiteY16833" fmla="*/ 4587586 h 7458372"/>
              <a:gd name="connsiteX16834" fmla="*/ 6123608 w 10505529"/>
              <a:gd name="connsiteY16834" fmla="*/ 4586655 h 7458372"/>
              <a:gd name="connsiteX16835" fmla="*/ 5905963 w 10505529"/>
              <a:gd name="connsiteY16835" fmla="*/ 4586655 h 7458372"/>
              <a:gd name="connsiteX16836" fmla="*/ 5895979 w 10505529"/>
              <a:gd name="connsiteY16836" fmla="*/ 4590249 h 7458372"/>
              <a:gd name="connsiteX16837" fmla="*/ 5892385 w 10505529"/>
              <a:gd name="connsiteY16837" fmla="*/ 4599700 h 7458372"/>
              <a:gd name="connsiteX16838" fmla="*/ 5895979 w 10505529"/>
              <a:gd name="connsiteY16838" fmla="*/ 4609151 h 7458372"/>
              <a:gd name="connsiteX16839" fmla="*/ 5905963 w 10505529"/>
              <a:gd name="connsiteY16839" fmla="*/ 4612613 h 7458372"/>
              <a:gd name="connsiteX16840" fmla="*/ 5911287 w 10505529"/>
              <a:gd name="connsiteY16840" fmla="*/ 4611681 h 7458372"/>
              <a:gd name="connsiteX16841" fmla="*/ 5915014 w 10505529"/>
              <a:gd name="connsiteY16841" fmla="*/ 4609284 h 7458372"/>
              <a:gd name="connsiteX16842" fmla="*/ 5917677 w 10505529"/>
              <a:gd name="connsiteY16842" fmla="*/ 4605024 h 7458372"/>
              <a:gd name="connsiteX16843" fmla="*/ 5918742 w 10505529"/>
              <a:gd name="connsiteY16843" fmla="*/ 4599566 h 7458372"/>
              <a:gd name="connsiteX16844" fmla="*/ 5917677 w 10505529"/>
              <a:gd name="connsiteY16844" fmla="*/ 4594375 h 7458372"/>
              <a:gd name="connsiteX16845" fmla="*/ 5915014 w 10505529"/>
              <a:gd name="connsiteY16845" fmla="*/ 4590249 h 7458372"/>
              <a:gd name="connsiteX16846" fmla="*/ 5911021 w 10505529"/>
              <a:gd name="connsiteY16846" fmla="*/ 4587586 h 7458372"/>
              <a:gd name="connsiteX16847" fmla="*/ 5905963 w 10505529"/>
              <a:gd name="connsiteY16847" fmla="*/ 4586655 h 7458372"/>
              <a:gd name="connsiteX16848" fmla="*/ 5688451 w 10505529"/>
              <a:gd name="connsiteY16848" fmla="*/ 4586655 h 7458372"/>
              <a:gd name="connsiteX16849" fmla="*/ 5678467 w 10505529"/>
              <a:gd name="connsiteY16849" fmla="*/ 4590249 h 7458372"/>
              <a:gd name="connsiteX16850" fmla="*/ 5674873 w 10505529"/>
              <a:gd name="connsiteY16850" fmla="*/ 4599700 h 7458372"/>
              <a:gd name="connsiteX16851" fmla="*/ 5678467 w 10505529"/>
              <a:gd name="connsiteY16851" fmla="*/ 4609151 h 7458372"/>
              <a:gd name="connsiteX16852" fmla="*/ 5688451 w 10505529"/>
              <a:gd name="connsiteY16852" fmla="*/ 4612613 h 7458372"/>
              <a:gd name="connsiteX16853" fmla="*/ 5693775 w 10505529"/>
              <a:gd name="connsiteY16853" fmla="*/ 4611681 h 7458372"/>
              <a:gd name="connsiteX16854" fmla="*/ 5697502 w 10505529"/>
              <a:gd name="connsiteY16854" fmla="*/ 4609284 h 7458372"/>
              <a:gd name="connsiteX16855" fmla="*/ 5700165 w 10505529"/>
              <a:gd name="connsiteY16855" fmla="*/ 4605024 h 7458372"/>
              <a:gd name="connsiteX16856" fmla="*/ 5701230 w 10505529"/>
              <a:gd name="connsiteY16856" fmla="*/ 4599566 h 7458372"/>
              <a:gd name="connsiteX16857" fmla="*/ 5700165 w 10505529"/>
              <a:gd name="connsiteY16857" fmla="*/ 4594375 h 7458372"/>
              <a:gd name="connsiteX16858" fmla="*/ 5697502 w 10505529"/>
              <a:gd name="connsiteY16858" fmla="*/ 4590249 h 7458372"/>
              <a:gd name="connsiteX16859" fmla="*/ 5693509 w 10505529"/>
              <a:gd name="connsiteY16859" fmla="*/ 4587586 h 7458372"/>
              <a:gd name="connsiteX16860" fmla="*/ 5688451 w 10505529"/>
              <a:gd name="connsiteY16860" fmla="*/ 4586655 h 7458372"/>
              <a:gd name="connsiteX16861" fmla="*/ 5470806 w 10505529"/>
              <a:gd name="connsiteY16861" fmla="*/ 4586655 h 7458372"/>
              <a:gd name="connsiteX16862" fmla="*/ 5460822 w 10505529"/>
              <a:gd name="connsiteY16862" fmla="*/ 4590249 h 7458372"/>
              <a:gd name="connsiteX16863" fmla="*/ 5457228 w 10505529"/>
              <a:gd name="connsiteY16863" fmla="*/ 4599700 h 7458372"/>
              <a:gd name="connsiteX16864" fmla="*/ 5460822 w 10505529"/>
              <a:gd name="connsiteY16864" fmla="*/ 4609151 h 7458372"/>
              <a:gd name="connsiteX16865" fmla="*/ 5470806 w 10505529"/>
              <a:gd name="connsiteY16865" fmla="*/ 4612613 h 7458372"/>
              <a:gd name="connsiteX16866" fmla="*/ 5476130 w 10505529"/>
              <a:gd name="connsiteY16866" fmla="*/ 4611681 h 7458372"/>
              <a:gd name="connsiteX16867" fmla="*/ 5479857 w 10505529"/>
              <a:gd name="connsiteY16867" fmla="*/ 4609284 h 7458372"/>
              <a:gd name="connsiteX16868" fmla="*/ 5482520 w 10505529"/>
              <a:gd name="connsiteY16868" fmla="*/ 4605024 h 7458372"/>
              <a:gd name="connsiteX16869" fmla="*/ 5483585 w 10505529"/>
              <a:gd name="connsiteY16869" fmla="*/ 4599566 h 7458372"/>
              <a:gd name="connsiteX16870" fmla="*/ 5482520 w 10505529"/>
              <a:gd name="connsiteY16870" fmla="*/ 4594375 h 7458372"/>
              <a:gd name="connsiteX16871" fmla="*/ 5479857 w 10505529"/>
              <a:gd name="connsiteY16871" fmla="*/ 4590249 h 7458372"/>
              <a:gd name="connsiteX16872" fmla="*/ 5475864 w 10505529"/>
              <a:gd name="connsiteY16872" fmla="*/ 4587586 h 7458372"/>
              <a:gd name="connsiteX16873" fmla="*/ 5470806 w 10505529"/>
              <a:gd name="connsiteY16873" fmla="*/ 4586655 h 7458372"/>
              <a:gd name="connsiteX16874" fmla="*/ 5253160 w 10505529"/>
              <a:gd name="connsiteY16874" fmla="*/ 4586655 h 7458372"/>
              <a:gd name="connsiteX16875" fmla="*/ 5243177 w 10505529"/>
              <a:gd name="connsiteY16875" fmla="*/ 4590249 h 7458372"/>
              <a:gd name="connsiteX16876" fmla="*/ 5239583 w 10505529"/>
              <a:gd name="connsiteY16876" fmla="*/ 4599700 h 7458372"/>
              <a:gd name="connsiteX16877" fmla="*/ 5243177 w 10505529"/>
              <a:gd name="connsiteY16877" fmla="*/ 4609151 h 7458372"/>
              <a:gd name="connsiteX16878" fmla="*/ 5253160 w 10505529"/>
              <a:gd name="connsiteY16878" fmla="*/ 4612613 h 7458372"/>
              <a:gd name="connsiteX16879" fmla="*/ 5258485 w 10505529"/>
              <a:gd name="connsiteY16879" fmla="*/ 4611681 h 7458372"/>
              <a:gd name="connsiteX16880" fmla="*/ 5262212 w 10505529"/>
              <a:gd name="connsiteY16880" fmla="*/ 4609284 h 7458372"/>
              <a:gd name="connsiteX16881" fmla="*/ 5264875 w 10505529"/>
              <a:gd name="connsiteY16881" fmla="*/ 4605024 h 7458372"/>
              <a:gd name="connsiteX16882" fmla="*/ 5265939 w 10505529"/>
              <a:gd name="connsiteY16882" fmla="*/ 4599566 h 7458372"/>
              <a:gd name="connsiteX16883" fmla="*/ 5264875 w 10505529"/>
              <a:gd name="connsiteY16883" fmla="*/ 4594375 h 7458372"/>
              <a:gd name="connsiteX16884" fmla="*/ 5262212 w 10505529"/>
              <a:gd name="connsiteY16884" fmla="*/ 4590249 h 7458372"/>
              <a:gd name="connsiteX16885" fmla="*/ 5258219 w 10505529"/>
              <a:gd name="connsiteY16885" fmla="*/ 4587586 h 7458372"/>
              <a:gd name="connsiteX16886" fmla="*/ 5253160 w 10505529"/>
              <a:gd name="connsiteY16886" fmla="*/ 4586655 h 7458372"/>
              <a:gd name="connsiteX16887" fmla="*/ 5035515 w 10505529"/>
              <a:gd name="connsiteY16887" fmla="*/ 4586655 h 7458372"/>
              <a:gd name="connsiteX16888" fmla="*/ 5025532 w 10505529"/>
              <a:gd name="connsiteY16888" fmla="*/ 4590249 h 7458372"/>
              <a:gd name="connsiteX16889" fmla="*/ 5021938 w 10505529"/>
              <a:gd name="connsiteY16889" fmla="*/ 4599700 h 7458372"/>
              <a:gd name="connsiteX16890" fmla="*/ 5025532 w 10505529"/>
              <a:gd name="connsiteY16890" fmla="*/ 4609151 h 7458372"/>
              <a:gd name="connsiteX16891" fmla="*/ 5035515 w 10505529"/>
              <a:gd name="connsiteY16891" fmla="*/ 4612613 h 7458372"/>
              <a:gd name="connsiteX16892" fmla="*/ 5040840 w 10505529"/>
              <a:gd name="connsiteY16892" fmla="*/ 4611681 h 7458372"/>
              <a:gd name="connsiteX16893" fmla="*/ 5044567 w 10505529"/>
              <a:gd name="connsiteY16893" fmla="*/ 4609284 h 7458372"/>
              <a:gd name="connsiteX16894" fmla="*/ 5047230 w 10505529"/>
              <a:gd name="connsiteY16894" fmla="*/ 4605024 h 7458372"/>
              <a:gd name="connsiteX16895" fmla="*/ 5048294 w 10505529"/>
              <a:gd name="connsiteY16895" fmla="*/ 4599566 h 7458372"/>
              <a:gd name="connsiteX16896" fmla="*/ 5047230 w 10505529"/>
              <a:gd name="connsiteY16896" fmla="*/ 4594375 h 7458372"/>
              <a:gd name="connsiteX16897" fmla="*/ 5044567 w 10505529"/>
              <a:gd name="connsiteY16897" fmla="*/ 4590249 h 7458372"/>
              <a:gd name="connsiteX16898" fmla="*/ 5040574 w 10505529"/>
              <a:gd name="connsiteY16898" fmla="*/ 4587586 h 7458372"/>
              <a:gd name="connsiteX16899" fmla="*/ 5035515 w 10505529"/>
              <a:gd name="connsiteY16899" fmla="*/ 4586655 h 7458372"/>
              <a:gd name="connsiteX16900" fmla="*/ 4817870 w 10505529"/>
              <a:gd name="connsiteY16900" fmla="*/ 4586655 h 7458372"/>
              <a:gd name="connsiteX16901" fmla="*/ 4807887 w 10505529"/>
              <a:gd name="connsiteY16901" fmla="*/ 4590249 h 7458372"/>
              <a:gd name="connsiteX16902" fmla="*/ 4804293 w 10505529"/>
              <a:gd name="connsiteY16902" fmla="*/ 4599700 h 7458372"/>
              <a:gd name="connsiteX16903" fmla="*/ 4807887 w 10505529"/>
              <a:gd name="connsiteY16903" fmla="*/ 4609151 h 7458372"/>
              <a:gd name="connsiteX16904" fmla="*/ 4817870 w 10505529"/>
              <a:gd name="connsiteY16904" fmla="*/ 4612613 h 7458372"/>
              <a:gd name="connsiteX16905" fmla="*/ 4823195 w 10505529"/>
              <a:gd name="connsiteY16905" fmla="*/ 4611681 h 7458372"/>
              <a:gd name="connsiteX16906" fmla="*/ 4826922 w 10505529"/>
              <a:gd name="connsiteY16906" fmla="*/ 4609284 h 7458372"/>
              <a:gd name="connsiteX16907" fmla="*/ 4829585 w 10505529"/>
              <a:gd name="connsiteY16907" fmla="*/ 4605024 h 7458372"/>
              <a:gd name="connsiteX16908" fmla="*/ 4830650 w 10505529"/>
              <a:gd name="connsiteY16908" fmla="*/ 4599566 h 7458372"/>
              <a:gd name="connsiteX16909" fmla="*/ 4829585 w 10505529"/>
              <a:gd name="connsiteY16909" fmla="*/ 4594375 h 7458372"/>
              <a:gd name="connsiteX16910" fmla="*/ 4826922 w 10505529"/>
              <a:gd name="connsiteY16910" fmla="*/ 4590249 h 7458372"/>
              <a:gd name="connsiteX16911" fmla="*/ 4822929 w 10505529"/>
              <a:gd name="connsiteY16911" fmla="*/ 4587586 h 7458372"/>
              <a:gd name="connsiteX16912" fmla="*/ 4817870 w 10505529"/>
              <a:gd name="connsiteY16912" fmla="*/ 4586655 h 7458372"/>
              <a:gd name="connsiteX16913" fmla="*/ 4600226 w 10505529"/>
              <a:gd name="connsiteY16913" fmla="*/ 4586655 h 7458372"/>
              <a:gd name="connsiteX16914" fmla="*/ 4590242 w 10505529"/>
              <a:gd name="connsiteY16914" fmla="*/ 4590249 h 7458372"/>
              <a:gd name="connsiteX16915" fmla="*/ 4586648 w 10505529"/>
              <a:gd name="connsiteY16915" fmla="*/ 4599700 h 7458372"/>
              <a:gd name="connsiteX16916" fmla="*/ 4590242 w 10505529"/>
              <a:gd name="connsiteY16916" fmla="*/ 4609151 h 7458372"/>
              <a:gd name="connsiteX16917" fmla="*/ 4600226 w 10505529"/>
              <a:gd name="connsiteY16917" fmla="*/ 4612613 h 7458372"/>
              <a:gd name="connsiteX16918" fmla="*/ 4605550 w 10505529"/>
              <a:gd name="connsiteY16918" fmla="*/ 4611681 h 7458372"/>
              <a:gd name="connsiteX16919" fmla="*/ 4609277 w 10505529"/>
              <a:gd name="connsiteY16919" fmla="*/ 4609284 h 7458372"/>
              <a:gd name="connsiteX16920" fmla="*/ 4611940 w 10505529"/>
              <a:gd name="connsiteY16920" fmla="*/ 4605024 h 7458372"/>
              <a:gd name="connsiteX16921" fmla="*/ 4613005 w 10505529"/>
              <a:gd name="connsiteY16921" fmla="*/ 4599566 h 7458372"/>
              <a:gd name="connsiteX16922" fmla="*/ 4611940 w 10505529"/>
              <a:gd name="connsiteY16922" fmla="*/ 4594375 h 7458372"/>
              <a:gd name="connsiteX16923" fmla="*/ 4609277 w 10505529"/>
              <a:gd name="connsiteY16923" fmla="*/ 4590249 h 7458372"/>
              <a:gd name="connsiteX16924" fmla="*/ 4605284 w 10505529"/>
              <a:gd name="connsiteY16924" fmla="*/ 4587586 h 7458372"/>
              <a:gd name="connsiteX16925" fmla="*/ 4600226 w 10505529"/>
              <a:gd name="connsiteY16925" fmla="*/ 4586655 h 7458372"/>
              <a:gd name="connsiteX16926" fmla="*/ 4382713 w 10505529"/>
              <a:gd name="connsiteY16926" fmla="*/ 4586655 h 7458372"/>
              <a:gd name="connsiteX16927" fmla="*/ 4372730 w 10505529"/>
              <a:gd name="connsiteY16927" fmla="*/ 4590249 h 7458372"/>
              <a:gd name="connsiteX16928" fmla="*/ 4369136 w 10505529"/>
              <a:gd name="connsiteY16928" fmla="*/ 4599700 h 7458372"/>
              <a:gd name="connsiteX16929" fmla="*/ 4372730 w 10505529"/>
              <a:gd name="connsiteY16929" fmla="*/ 4609151 h 7458372"/>
              <a:gd name="connsiteX16930" fmla="*/ 4382713 w 10505529"/>
              <a:gd name="connsiteY16930" fmla="*/ 4612613 h 7458372"/>
              <a:gd name="connsiteX16931" fmla="*/ 4388038 w 10505529"/>
              <a:gd name="connsiteY16931" fmla="*/ 4611681 h 7458372"/>
              <a:gd name="connsiteX16932" fmla="*/ 4391765 w 10505529"/>
              <a:gd name="connsiteY16932" fmla="*/ 4609284 h 7458372"/>
              <a:gd name="connsiteX16933" fmla="*/ 4394428 w 10505529"/>
              <a:gd name="connsiteY16933" fmla="*/ 4605024 h 7458372"/>
              <a:gd name="connsiteX16934" fmla="*/ 4395493 w 10505529"/>
              <a:gd name="connsiteY16934" fmla="*/ 4599566 h 7458372"/>
              <a:gd name="connsiteX16935" fmla="*/ 4394428 w 10505529"/>
              <a:gd name="connsiteY16935" fmla="*/ 4594375 h 7458372"/>
              <a:gd name="connsiteX16936" fmla="*/ 4391765 w 10505529"/>
              <a:gd name="connsiteY16936" fmla="*/ 4590249 h 7458372"/>
              <a:gd name="connsiteX16937" fmla="*/ 4387772 w 10505529"/>
              <a:gd name="connsiteY16937" fmla="*/ 4587586 h 7458372"/>
              <a:gd name="connsiteX16938" fmla="*/ 4382713 w 10505529"/>
              <a:gd name="connsiteY16938" fmla="*/ 4586655 h 7458372"/>
              <a:gd name="connsiteX16939" fmla="*/ 4165068 w 10505529"/>
              <a:gd name="connsiteY16939" fmla="*/ 4586655 h 7458372"/>
              <a:gd name="connsiteX16940" fmla="*/ 4155084 w 10505529"/>
              <a:gd name="connsiteY16940" fmla="*/ 4590249 h 7458372"/>
              <a:gd name="connsiteX16941" fmla="*/ 4151490 w 10505529"/>
              <a:gd name="connsiteY16941" fmla="*/ 4599700 h 7458372"/>
              <a:gd name="connsiteX16942" fmla="*/ 4155084 w 10505529"/>
              <a:gd name="connsiteY16942" fmla="*/ 4609151 h 7458372"/>
              <a:gd name="connsiteX16943" fmla="*/ 4165068 w 10505529"/>
              <a:gd name="connsiteY16943" fmla="*/ 4612613 h 7458372"/>
              <a:gd name="connsiteX16944" fmla="*/ 4170392 w 10505529"/>
              <a:gd name="connsiteY16944" fmla="*/ 4611681 h 7458372"/>
              <a:gd name="connsiteX16945" fmla="*/ 4174119 w 10505529"/>
              <a:gd name="connsiteY16945" fmla="*/ 4609284 h 7458372"/>
              <a:gd name="connsiteX16946" fmla="*/ 4176782 w 10505529"/>
              <a:gd name="connsiteY16946" fmla="*/ 4605024 h 7458372"/>
              <a:gd name="connsiteX16947" fmla="*/ 4177847 w 10505529"/>
              <a:gd name="connsiteY16947" fmla="*/ 4599566 h 7458372"/>
              <a:gd name="connsiteX16948" fmla="*/ 4176782 w 10505529"/>
              <a:gd name="connsiteY16948" fmla="*/ 4594375 h 7458372"/>
              <a:gd name="connsiteX16949" fmla="*/ 4174119 w 10505529"/>
              <a:gd name="connsiteY16949" fmla="*/ 4590249 h 7458372"/>
              <a:gd name="connsiteX16950" fmla="*/ 4170126 w 10505529"/>
              <a:gd name="connsiteY16950" fmla="*/ 4587586 h 7458372"/>
              <a:gd name="connsiteX16951" fmla="*/ 4165068 w 10505529"/>
              <a:gd name="connsiteY16951" fmla="*/ 4586655 h 7458372"/>
              <a:gd name="connsiteX16952" fmla="*/ 3947674 w 10505529"/>
              <a:gd name="connsiteY16952" fmla="*/ 4586655 h 7458372"/>
              <a:gd name="connsiteX16953" fmla="*/ 3937691 w 10505529"/>
              <a:gd name="connsiteY16953" fmla="*/ 4590249 h 7458372"/>
              <a:gd name="connsiteX16954" fmla="*/ 3934097 w 10505529"/>
              <a:gd name="connsiteY16954" fmla="*/ 4599700 h 7458372"/>
              <a:gd name="connsiteX16955" fmla="*/ 3937691 w 10505529"/>
              <a:gd name="connsiteY16955" fmla="*/ 4609151 h 7458372"/>
              <a:gd name="connsiteX16956" fmla="*/ 3947674 w 10505529"/>
              <a:gd name="connsiteY16956" fmla="*/ 4612613 h 7458372"/>
              <a:gd name="connsiteX16957" fmla="*/ 3953002 w 10505529"/>
              <a:gd name="connsiteY16957" fmla="*/ 4611681 h 7458372"/>
              <a:gd name="connsiteX16958" fmla="*/ 3956729 w 10505529"/>
              <a:gd name="connsiteY16958" fmla="*/ 4609284 h 7458372"/>
              <a:gd name="connsiteX16959" fmla="*/ 3959392 w 10505529"/>
              <a:gd name="connsiteY16959" fmla="*/ 4605024 h 7458372"/>
              <a:gd name="connsiteX16960" fmla="*/ 3960457 w 10505529"/>
              <a:gd name="connsiteY16960" fmla="*/ 4599566 h 7458372"/>
              <a:gd name="connsiteX16961" fmla="*/ 3959392 w 10505529"/>
              <a:gd name="connsiteY16961" fmla="*/ 4594375 h 7458372"/>
              <a:gd name="connsiteX16962" fmla="*/ 3956729 w 10505529"/>
              <a:gd name="connsiteY16962" fmla="*/ 4590249 h 7458372"/>
              <a:gd name="connsiteX16963" fmla="*/ 3952735 w 10505529"/>
              <a:gd name="connsiteY16963" fmla="*/ 4587586 h 7458372"/>
              <a:gd name="connsiteX16964" fmla="*/ 3947674 w 10505529"/>
              <a:gd name="connsiteY16964" fmla="*/ 4586655 h 7458372"/>
              <a:gd name="connsiteX16965" fmla="*/ 3730018 w 10505529"/>
              <a:gd name="connsiteY16965" fmla="*/ 4586655 h 7458372"/>
              <a:gd name="connsiteX16966" fmla="*/ 3720031 w 10505529"/>
              <a:gd name="connsiteY16966" fmla="*/ 4590249 h 7458372"/>
              <a:gd name="connsiteX16967" fmla="*/ 3716439 w 10505529"/>
              <a:gd name="connsiteY16967" fmla="*/ 4599700 h 7458372"/>
              <a:gd name="connsiteX16968" fmla="*/ 3720031 w 10505529"/>
              <a:gd name="connsiteY16968" fmla="*/ 4609151 h 7458372"/>
              <a:gd name="connsiteX16969" fmla="*/ 3730018 w 10505529"/>
              <a:gd name="connsiteY16969" fmla="*/ 4612613 h 7458372"/>
              <a:gd name="connsiteX16970" fmla="*/ 3735343 w 10505529"/>
              <a:gd name="connsiteY16970" fmla="*/ 4611681 h 7458372"/>
              <a:gd name="connsiteX16971" fmla="*/ 3739070 w 10505529"/>
              <a:gd name="connsiteY16971" fmla="*/ 4609284 h 7458372"/>
              <a:gd name="connsiteX16972" fmla="*/ 3741733 w 10505529"/>
              <a:gd name="connsiteY16972" fmla="*/ 4605024 h 7458372"/>
              <a:gd name="connsiteX16973" fmla="*/ 3742798 w 10505529"/>
              <a:gd name="connsiteY16973" fmla="*/ 4599566 h 7458372"/>
              <a:gd name="connsiteX16974" fmla="*/ 3741733 w 10505529"/>
              <a:gd name="connsiteY16974" fmla="*/ 4594375 h 7458372"/>
              <a:gd name="connsiteX16975" fmla="*/ 3739070 w 10505529"/>
              <a:gd name="connsiteY16975" fmla="*/ 4590249 h 7458372"/>
              <a:gd name="connsiteX16976" fmla="*/ 3735077 w 10505529"/>
              <a:gd name="connsiteY16976" fmla="*/ 4587586 h 7458372"/>
              <a:gd name="connsiteX16977" fmla="*/ 3730018 w 10505529"/>
              <a:gd name="connsiteY16977" fmla="*/ 4586655 h 7458372"/>
              <a:gd name="connsiteX16978" fmla="*/ 3512359 w 10505529"/>
              <a:gd name="connsiteY16978" fmla="*/ 4586655 h 7458372"/>
              <a:gd name="connsiteX16979" fmla="*/ 3502372 w 10505529"/>
              <a:gd name="connsiteY16979" fmla="*/ 4590249 h 7458372"/>
              <a:gd name="connsiteX16980" fmla="*/ 3498778 w 10505529"/>
              <a:gd name="connsiteY16980" fmla="*/ 4599700 h 7458372"/>
              <a:gd name="connsiteX16981" fmla="*/ 3502372 w 10505529"/>
              <a:gd name="connsiteY16981" fmla="*/ 4609151 h 7458372"/>
              <a:gd name="connsiteX16982" fmla="*/ 3512359 w 10505529"/>
              <a:gd name="connsiteY16982" fmla="*/ 4612613 h 7458372"/>
              <a:gd name="connsiteX16983" fmla="*/ 3517685 w 10505529"/>
              <a:gd name="connsiteY16983" fmla="*/ 4611681 h 7458372"/>
              <a:gd name="connsiteX16984" fmla="*/ 3521412 w 10505529"/>
              <a:gd name="connsiteY16984" fmla="*/ 4609284 h 7458372"/>
              <a:gd name="connsiteX16985" fmla="*/ 3524075 w 10505529"/>
              <a:gd name="connsiteY16985" fmla="*/ 4605024 h 7458372"/>
              <a:gd name="connsiteX16986" fmla="*/ 3525141 w 10505529"/>
              <a:gd name="connsiteY16986" fmla="*/ 4599566 h 7458372"/>
              <a:gd name="connsiteX16987" fmla="*/ 3524075 w 10505529"/>
              <a:gd name="connsiteY16987" fmla="*/ 4594375 h 7458372"/>
              <a:gd name="connsiteX16988" fmla="*/ 3521412 w 10505529"/>
              <a:gd name="connsiteY16988" fmla="*/ 4590249 h 7458372"/>
              <a:gd name="connsiteX16989" fmla="*/ 3517419 w 10505529"/>
              <a:gd name="connsiteY16989" fmla="*/ 4587586 h 7458372"/>
              <a:gd name="connsiteX16990" fmla="*/ 3512359 w 10505529"/>
              <a:gd name="connsiteY16990" fmla="*/ 4586655 h 7458372"/>
              <a:gd name="connsiteX16991" fmla="*/ 3294835 w 10505529"/>
              <a:gd name="connsiteY16991" fmla="*/ 4586655 h 7458372"/>
              <a:gd name="connsiteX16992" fmla="*/ 3284849 w 10505529"/>
              <a:gd name="connsiteY16992" fmla="*/ 4590249 h 7458372"/>
              <a:gd name="connsiteX16993" fmla="*/ 3281255 w 10505529"/>
              <a:gd name="connsiteY16993" fmla="*/ 4599700 h 7458372"/>
              <a:gd name="connsiteX16994" fmla="*/ 3284849 w 10505529"/>
              <a:gd name="connsiteY16994" fmla="*/ 4609151 h 7458372"/>
              <a:gd name="connsiteX16995" fmla="*/ 3294835 w 10505529"/>
              <a:gd name="connsiteY16995" fmla="*/ 4612613 h 7458372"/>
              <a:gd name="connsiteX16996" fmla="*/ 3300160 w 10505529"/>
              <a:gd name="connsiteY16996" fmla="*/ 4611681 h 7458372"/>
              <a:gd name="connsiteX16997" fmla="*/ 3303887 w 10505529"/>
              <a:gd name="connsiteY16997" fmla="*/ 4609284 h 7458372"/>
              <a:gd name="connsiteX16998" fmla="*/ 3306550 w 10505529"/>
              <a:gd name="connsiteY16998" fmla="*/ 4605024 h 7458372"/>
              <a:gd name="connsiteX16999" fmla="*/ 3307614 w 10505529"/>
              <a:gd name="connsiteY16999" fmla="*/ 4599566 h 7458372"/>
              <a:gd name="connsiteX17000" fmla="*/ 3306550 w 10505529"/>
              <a:gd name="connsiteY17000" fmla="*/ 4594375 h 7458372"/>
              <a:gd name="connsiteX17001" fmla="*/ 3303887 w 10505529"/>
              <a:gd name="connsiteY17001" fmla="*/ 4590249 h 7458372"/>
              <a:gd name="connsiteX17002" fmla="*/ 3299894 w 10505529"/>
              <a:gd name="connsiteY17002" fmla="*/ 4587586 h 7458372"/>
              <a:gd name="connsiteX17003" fmla="*/ 3294835 w 10505529"/>
              <a:gd name="connsiteY17003" fmla="*/ 4586655 h 7458372"/>
              <a:gd name="connsiteX17004" fmla="*/ 3077310 w 10505529"/>
              <a:gd name="connsiteY17004" fmla="*/ 4586655 h 7458372"/>
              <a:gd name="connsiteX17005" fmla="*/ 3067327 w 10505529"/>
              <a:gd name="connsiteY17005" fmla="*/ 4590249 h 7458372"/>
              <a:gd name="connsiteX17006" fmla="*/ 3063595 w 10505529"/>
              <a:gd name="connsiteY17006" fmla="*/ 4599700 h 7458372"/>
              <a:gd name="connsiteX17007" fmla="*/ 3067192 w 10505529"/>
              <a:gd name="connsiteY17007" fmla="*/ 4609151 h 7458372"/>
              <a:gd name="connsiteX17008" fmla="*/ 3077176 w 10505529"/>
              <a:gd name="connsiteY17008" fmla="*/ 4612613 h 7458372"/>
              <a:gd name="connsiteX17009" fmla="*/ 3082635 w 10505529"/>
              <a:gd name="connsiteY17009" fmla="*/ 4611681 h 7458372"/>
              <a:gd name="connsiteX17010" fmla="*/ 3086362 w 10505529"/>
              <a:gd name="connsiteY17010" fmla="*/ 4609284 h 7458372"/>
              <a:gd name="connsiteX17011" fmla="*/ 3089025 w 10505529"/>
              <a:gd name="connsiteY17011" fmla="*/ 4605024 h 7458372"/>
              <a:gd name="connsiteX17012" fmla="*/ 3089957 w 10505529"/>
              <a:gd name="connsiteY17012" fmla="*/ 4599566 h 7458372"/>
              <a:gd name="connsiteX17013" fmla="*/ 3089025 w 10505529"/>
              <a:gd name="connsiteY17013" fmla="*/ 4594375 h 7458372"/>
              <a:gd name="connsiteX17014" fmla="*/ 3086362 w 10505529"/>
              <a:gd name="connsiteY17014" fmla="*/ 4590249 h 7458372"/>
              <a:gd name="connsiteX17015" fmla="*/ 3082369 w 10505529"/>
              <a:gd name="connsiteY17015" fmla="*/ 4587586 h 7458372"/>
              <a:gd name="connsiteX17016" fmla="*/ 3077310 w 10505529"/>
              <a:gd name="connsiteY17016" fmla="*/ 4586655 h 7458372"/>
              <a:gd name="connsiteX17017" fmla="*/ 2859518 w 10505529"/>
              <a:gd name="connsiteY17017" fmla="*/ 4586655 h 7458372"/>
              <a:gd name="connsiteX17018" fmla="*/ 2849532 w 10505529"/>
              <a:gd name="connsiteY17018" fmla="*/ 4590249 h 7458372"/>
              <a:gd name="connsiteX17019" fmla="*/ 2845935 w 10505529"/>
              <a:gd name="connsiteY17019" fmla="*/ 4599700 h 7458372"/>
              <a:gd name="connsiteX17020" fmla="*/ 2849532 w 10505529"/>
              <a:gd name="connsiteY17020" fmla="*/ 4609151 h 7458372"/>
              <a:gd name="connsiteX17021" fmla="*/ 2859518 w 10505529"/>
              <a:gd name="connsiteY17021" fmla="*/ 4612613 h 7458372"/>
              <a:gd name="connsiteX17022" fmla="*/ 2864843 w 10505529"/>
              <a:gd name="connsiteY17022" fmla="*/ 4611681 h 7458372"/>
              <a:gd name="connsiteX17023" fmla="*/ 2868570 w 10505529"/>
              <a:gd name="connsiteY17023" fmla="*/ 4609284 h 7458372"/>
              <a:gd name="connsiteX17024" fmla="*/ 2871233 w 10505529"/>
              <a:gd name="connsiteY17024" fmla="*/ 4605024 h 7458372"/>
              <a:gd name="connsiteX17025" fmla="*/ 2872164 w 10505529"/>
              <a:gd name="connsiteY17025" fmla="*/ 4599566 h 7458372"/>
              <a:gd name="connsiteX17026" fmla="*/ 2871233 w 10505529"/>
              <a:gd name="connsiteY17026" fmla="*/ 4594375 h 7458372"/>
              <a:gd name="connsiteX17027" fmla="*/ 2868570 w 10505529"/>
              <a:gd name="connsiteY17027" fmla="*/ 4590249 h 7458372"/>
              <a:gd name="connsiteX17028" fmla="*/ 2864578 w 10505529"/>
              <a:gd name="connsiteY17028" fmla="*/ 4587586 h 7458372"/>
              <a:gd name="connsiteX17029" fmla="*/ 2859518 w 10505529"/>
              <a:gd name="connsiteY17029" fmla="*/ 4586655 h 7458372"/>
              <a:gd name="connsiteX17030" fmla="*/ 2641860 w 10505529"/>
              <a:gd name="connsiteY17030" fmla="*/ 4586655 h 7458372"/>
              <a:gd name="connsiteX17031" fmla="*/ 2631877 w 10505529"/>
              <a:gd name="connsiteY17031" fmla="*/ 4590249 h 7458372"/>
              <a:gd name="connsiteX17032" fmla="*/ 2628282 w 10505529"/>
              <a:gd name="connsiteY17032" fmla="*/ 4599700 h 7458372"/>
              <a:gd name="connsiteX17033" fmla="*/ 2631877 w 10505529"/>
              <a:gd name="connsiteY17033" fmla="*/ 4609151 h 7458372"/>
              <a:gd name="connsiteX17034" fmla="*/ 2641860 w 10505529"/>
              <a:gd name="connsiteY17034" fmla="*/ 4612613 h 7458372"/>
              <a:gd name="connsiteX17035" fmla="*/ 2647185 w 10505529"/>
              <a:gd name="connsiteY17035" fmla="*/ 4611681 h 7458372"/>
              <a:gd name="connsiteX17036" fmla="*/ 2650912 w 10505529"/>
              <a:gd name="connsiteY17036" fmla="*/ 4609284 h 7458372"/>
              <a:gd name="connsiteX17037" fmla="*/ 2653576 w 10505529"/>
              <a:gd name="connsiteY17037" fmla="*/ 4605024 h 7458372"/>
              <a:gd name="connsiteX17038" fmla="*/ 2654506 w 10505529"/>
              <a:gd name="connsiteY17038" fmla="*/ 4599566 h 7458372"/>
              <a:gd name="connsiteX17039" fmla="*/ 2653576 w 10505529"/>
              <a:gd name="connsiteY17039" fmla="*/ 4594375 h 7458372"/>
              <a:gd name="connsiteX17040" fmla="*/ 2650912 w 10505529"/>
              <a:gd name="connsiteY17040" fmla="*/ 4590249 h 7458372"/>
              <a:gd name="connsiteX17041" fmla="*/ 2646919 w 10505529"/>
              <a:gd name="connsiteY17041" fmla="*/ 4587586 h 7458372"/>
              <a:gd name="connsiteX17042" fmla="*/ 2641860 w 10505529"/>
              <a:gd name="connsiteY17042" fmla="*/ 4586655 h 7458372"/>
              <a:gd name="connsiteX17043" fmla="*/ 2424201 w 10505529"/>
              <a:gd name="connsiteY17043" fmla="*/ 4586655 h 7458372"/>
              <a:gd name="connsiteX17044" fmla="*/ 2414218 w 10505529"/>
              <a:gd name="connsiteY17044" fmla="*/ 4590249 h 7458372"/>
              <a:gd name="connsiteX17045" fmla="*/ 2410624 w 10505529"/>
              <a:gd name="connsiteY17045" fmla="*/ 4599700 h 7458372"/>
              <a:gd name="connsiteX17046" fmla="*/ 2414218 w 10505529"/>
              <a:gd name="connsiteY17046" fmla="*/ 4609151 h 7458372"/>
              <a:gd name="connsiteX17047" fmla="*/ 2424201 w 10505529"/>
              <a:gd name="connsiteY17047" fmla="*/ 4612613 h 7458372"/>
              <a:gd name="connsiteX17048" fmla="*/ 2429527 w 10505529"/>
              <a:gd name="connsiteY17048" fmla="*/ 4611681 h 7458372"/>
              <a:gd name="connsiteX17049" fmla="*/ 2433254 w 10505529"/>
              <a:gd name="connsiteY17049" fmla="*/ 4609284 h 7458372"/>
              <a:gd name="connsiteX17050" fmla="*/ 2435917 w 10505529"/>
              <a:gd name="connsiteY17050" fmla="*/ 4605024 h 7458372"/>
              <a:gd name="connsiteX17051" fmla="*/ 2436848 w 10505529"/>
              <a:gd name="connsiteY17051" fmla="*/ 4599566 h 7458372"/>
              <a:gd name="connsiteX17052" fmla="*/ 2435917 w 10505529"/>
              <a:gd name="connsiteY17052" fmla="*/ 4594375 h 7458372"/>
              <a:gd name="connsiteX17053" fmla="*/ 2433254 w 10505529"/>
              <a:gd name="connsiteY17053" fmla="*/ 4590249 h 7458372"/>
              <a:gd name="connsiteX17054" fmla="*/ 2429261 w 10505529"/>
              <a:gd name="connsiteY17054" fmla="*/ 4587586 h 7458372"/>
              <a:gd name="connsiteX17055" fmla="*/ 2424201 w 10505529"/>
              <a:gd name="connsiteY17055" fmla="*/ 4586655 h 7458372"/>
              <a:gd name="connsiteX17056" fmla="*/ 2206544 w 10505529"/>
              <a:gd name="connsiteY17056" fmla="*/ 4586655 h 7458372"/>
              <a:gd name="connsiteX17057" fmla="*/ 2196560 w 10505529"/>
              <a:gd name="connsiteY17057" fmla="*/ 4590249 h 7458372"/>
              <a:gd name="connsiteX17058" fmla="*/ 2192966 w 10505529"/>
              <a:gd name="connsiteY17058" fmla="*/ 4599700 h 7458372"/>
              <a:gd name="connsiteX17059" fmla="*/ 2196560 w 10505529"/>
              <a:gd name="connsiteY17059" fmla="*/ 4609151 h 7458372"/>
              <a:gd name="connsiteX17060" fmla="*/ 2206544 w 10505529"/>
              <a:gd name="connsiteY17060" fmla="*/ 4612613 h 7458372"/>
              <a:gd name="connsiteX17061" fmla="*/ 2211868 w 10505529"/>
              <a:gd name="connsiteY17061" fmla="*/ 4611681 h 7458372"/>
              <a:gd name="connsiteX17062" fmla="*/ 2215595 w 10505529"/>
              <a:gd name="connsiteY17062" fmla="*/ 4609284 h 7458372"/>
              <a:gd name="connsiteX17063" fmla="*/ 2218259 w 10505529"/>
              <a:gd name="connsiteY17063" fmla="*/ 4605024 h 7458372"/>
              <a:gd name="connsiteX17064" fmla="*/ 2219190 w 10505529"/>
              <a:gd name="connsiteY17064" fmla="*/ 4599566 h 7458372"/>
              <a:gd name="connsiteX17065" fmla="*/ 2218259 w 10505529"/>
              <a:gd name="connsiteY17065" fmla="*/ 4594375 h 7458372"/>
              <a:gd name="connsiteX17066" fmla="*/ 2215595 w 10505529"/>
              <a:gd name="connsiteY17066" fmla="*/ 4590249 h 7458372"/>
              <a:gd name="connsiteX17067" fmla="*/ 2211602 w 10505529"/>
              <a:gd name="connsiteY17067" fmla="*/ 4587586 h 7458372"/>
              <a:gd name="connsiteX17068" fmla="*/ 2206544 w 10505529"/>
              <a:gd name="connsiteY17068" fmla="*/ 4586655 h 7458372"/>
              <a:gd name="connsiteX17069" fmla="*/ 1989018 w 10505529"/>
              <a:gd name="connsiteY17069" fmla="*/ 4586655 h 7458372"/>
              <a:gd name="connsiteX17070" fmla="*/ 1979035 w 10505529"/>
              <a:gd name="connsiteY17070" fmla="*/ 4590249 h 7458372"/>
              <a:gd name="connsiteX17071" fmla="*/ 1975441 w 10505529"/>
              <a:gd name="connsiteY17071" fmla="*/ 4599700 h 7458372"/>
              <a:gd name="connsiteX17072" fmla="*/ 1979035 w 10505529"/>
              <a:gd name="connsiteY17072" fmla="*/ 4609151 h 7458372"/>
              <a:gd name="connsiteX17073" fmla="*/ 1989018 w 10505529"/>
              <a:gd name="connsiteY17073" fmla="*/ 4612613 h 7458372"/>
              <a:gd name="connsiteX17074" fmla="*/ 1994343 w 10505529"/>
              <a:gd name="connsiteY17074" fmla="*/ 4611681 h 7458372"/>
              <a:gd name="connsiteX17075" fmla="*/ 1998070 w 10505529"/>
              <a:gd name="connsiteY17075" fmla="*/ 4609284 h 7458372"/>
              <a:gd name="connsiteX17076" fmla="*/ 2000733 w 10505529"/>
              <a:gd name="connsiteY17076" fmla="*/ 4605024 h 7458372"/>
              <a:gd name="connsiteX17077" fmla="*/ 2001664 w 10505529"/>
              <a:gd name="connsiteY17077" fmla="*/ 4599566 h 7458372"/>
              <a:gd name="connsiteX17078" fmla="*/ 2000733 w 10505529"/>
              <a:gd name="connsiteY17078" fmla="*/ 4594375 h 7458372"/>
              <a:gd name="connsiteX17079" fmla="*/ 1998070 w 10505529"/>
              <a:gd name="connsiteY17079" fmla="*/ 4590249 h 7458372"/>
              <a:gd name="connsiteX17080" fmla="*/ 1994077 w 10505529"/>
              <a:gd name="connsiteY17080" fmla="*/ 4587586 h 7458372"/>
              <a:gd name="connsiteX17081" fmla="*/ 1989018 w 10505529"/>
              <a:gd name="connsiteY17081" fmla="*/ 4586655 h 7458372"/>
              <a:gd name="connsiteX17082" fmla="*/ 1771382 w 10505529"/>
              <a:gd name="connsiteY17082" fmla="*/ 4586655 h 7458372"/>
              <a:gd name="connsiteX17083" fmla="*/ 1761400 w 10505529"/>
              <a:gd name="connsiteY17083" fmla="*/ 4590249 h 7458372"/>
              <a:gd name="connsiteX17084" fmla="*/ 1757806 w 10505529"/>
              <a:gd name="connsiteY17084" fmla="*/ 4599700 h 7458372"/>
              <a:gd name="connsiteX17085" fmla="*/ 1761400 w 10505529"/>
              <a:gd name="connsiteY17085" fmla="*/ 4609151 h 7458372"/>
              <a:gd name="connsiteX17086" fmla="*/ 1771382 w 10505529"/>
              <a:gd name="connsiteY17086" fmla="*/ 4612613 h 7458372"/>
              <a:gd name="connsiteX17087" fmla="*/ 1776707 w 10505529"/>
              <a:gd name="connsiteY17087" fmla="*/ 4611681 h 7458372"/>
              <a:gd name="connsiteX17088" fmla="*/ 1780434 w 10505529"/>
              <a:gd name="connsiteY17088" fmla="*/ 4609284 h 7458372"/>
              <a:gd name="connsiteX17089" fmla="*/ 1783096 w 10505529"/>
              <a:gd name="connsiteY17089" fmla="*/ 4605024 h 7458372"/>
              <a:gd name="connsiteX17090" fmla="*/ 1784161 w 10505529"/>
              <a:gd name="connsiteY17090" fmla="*/ 4599566 h 7458372"/>
              <a:gd name="connsiteX17091" fmla="*/ 1783096 w 10505529"/>
              <a:gd name="connsiteY17091" fmla="*/ 4594375 h 7458372"/>
              <a:gd name="connsiteX17092" fmla="*/ 1780434 w 10505529"/>
              <a:gd name="connsiteY17092" fmla="*/ 4590249 h 7458372"/>
              <a:gd name="connsiteX17093" fmla="*/ 1776441 w 10505529"/>
              <a:gd name="connsiteY17093" fmla="*/ 4587586 h 7458372"/>
              <a:gd name="connsiteX17094" fmla="*/ 1771382 w 10505529"/>
              <a:gd name="connsiteY17094" fmla="*/ 4586655 h 7458372"/>
              <a:gd name="connsiteX17095" fmla="*/ 1553744 w 10505529"/>
              <a:gd name="connsiteY17095" fmla="*/ 4586655 h 7458372"/>
              <a:gd name="connsiteX17096" fmla="*/ 1543761 w 10505529"/>
              <a:gd name="connsiteY17096" fmla="*/ 4590249 h 7458372"/>
              <a:gd name="connsiteX17097" fmla="*/ 1540167 w 10505529"/>
              <a:gd name="connsiteY17097" fmla="*/ 4599700 h 7458372"/>
              <a:gd name="connsiteX17098" fmla="*/ 1543761 w 10505529"/>
              <a:gd name="connsiteY17098" fmla="*/ 4609151 h 7458372"/>
              <a:gd name="connsiteX17099" fmla="*/ 1553744 w 10505529"/>
              <a:gd name="connsiteY17099" fmla="*/ 4612613 h 7458372"/>
              <a:gd name="connsiteX17100" fmla="*/ 1559069 w 10505529"/>
              <a:gd name="connsiteY17100" fmla="*/ 4611681 h 7458372"/>
              <a:gd name="connsiteX17101" fmla="*/ 1562796 w 10505529"/>
              <a:gd name="connsiteY17101" fmla="*/ 4609284 h 7458372"/>
              <a:gd name="connsiteX17102" fmla="*/ 1565459 w 10505529"/>
              <a:gd name="connsiteY17102" fmla="*/ 4605024 h 7458372"/>
              <a:gd name="connsiteX17103" fmla="*/ 1566524 w 10505529"/>
              <a:gd name="connsiteY17103" fmla="*/ 4599566 h 7458372"/>
              <a:gd name="connsiteX17104" fmla="*/ 1565459 w 10505529"/>
              <a:gd name="connsiteY17104" fmla="*/ 4594375 h 7458372"/>
              <a:gd name="connsiteX17105" fmla="*/ 1562796 w 10505529"/>
              <a:gd name="connsiteY17105" fmla="*/ 4590249 h 7458372"/>
              <a:gd name="connsiteX17106" fmla="*/ 1558803 w 10505529"/>
              <a:gd name="connsiteY17106" fmla="*/ 4587586 h 7458372"/>
              <a:gd name="connsiteX17107" fmla="*/ 1553744 w 10505529"/>
              <a:gd name="connsiteY17107" fmla="*/ 4586655 h 7458372"/>
              <a:gd name="connsiteX17108" fmla="*/ 1336100 w 10505529"/>
              <a:gd name="connsiteY17108" fmla="*/ 4586655 h 7458372"/>
              <a:gd name="connsiteX17109" fmla="*/ 1326117 w 10505529"/>
              <a:gd name="connsiteY17109" fmla="*/ 4590249 h 7458372"/>
              <a:gd name="connsiteX17110" fmla="*/ 1322522 w 10505529"/>
              <a:gd name="connsiteY17110" fmla="*/ 4599700 h 7458372"/>
              <a:gd name="connsiteX17111" fmla="*/ 1326117 w 10505529"/>
              <a:gd name="connsiteY17111" fmla="*/ 4609151 h 7458372"/>
              <a:gd name="connsiteX17112" fmla="*/ 1336100 w 10505529"/>
              <a:gd name="connsiteY17112" fmla="*/ 4612613 h 7458372"/>
              <a:gd name="connsiteX17113" fmla="*/ 1341426 w 10505529"/>
              <a:gd name="connsiteY17113" fmla="*/ 4611681 h 7458372"/>
              <a:gd name="connsiteX17114" fmla="*/ 1345154 w 10505529"/>
              <a:gd name="connsiteY17114" fmla="*/ 4609284 h 7458372"/>
              <a:gd name="connsiteX17115" fmla="*/ 1347816 w 10505529"/>
              <a:gd name="connsiteY17115" fmla="*/ 4605024 h 7458372"/>
              <a:gd name="connsiteX17116" fmla="*/ 1348882 w 10505529"/>
              <a:gd name="connsiteY17116" fmla="*/ 4599566 h 7458372"/>
              <a:gd name="connsiteX17117" fmla="*/ 1347816 w 10505529"/>
              <a:gd name="connsiteY17117" fmla="*/ 4594375 h 7458372"/>
              <a:gd name="connsiteX17118" fmla="*/ 1345154 w 10505529"/>
              <a:gd name="connsiteY17118" fmla="*/ 4590249 h 7458372"/>
              <a:gd name="connsiteX17119" fmla="*/ 1341159 w 10505529"/>
              <a:gd name="connsiteY17119" fmla="*/ 4587586 h 7458372"/>
              <a:gd name="connsiteX17120" fmla="*/ 1336100 w 10505529"/>
              <a:gd name="connsiteY17120" fmla="*/ 4586655 h 7458372"/>
              <a:gd name="connsiteX17121" fmla="*/ 1118588 w 10505529"/>
              <a:gd name="connsiteY17121" fmla="*/ 4586655 h 7458372"/>
              <a:gd name="connsiteX17122" fmla="*/ 1108603 w 10505529"/>
              <a:gd name="connsiteY17122" fmla="*/ 4590249 h 7458372"/>
              <a:gd name="connsiteX17123" fmla="*/ 1104876 w 10505529"/>
              <a:gd name="connsiteY17123" fmla="*/ 4599700 h 7458372"/>
              <a:gd name="connsiteX17124" fmla="*/ 1108470 w 10505529"/>
              <a:gd name="connsiteY17124" fmla="*/ 4609151 h 7458372"/>
              <a:gd name="connsiteX17125" fmla="*/ 1118455 w 10505529"/>
              <a:gd name="connsiteY17125" fmla="*/ 4612613 h 7458372"/>
              <a:gd name="connsiteX17126" fmla="*/ 1123912 w 10505529"/>
              <a:gd name="connsiteY17126" fmla="*/ 4611681 h 7458372"/>
              <a:gd name="connsiteX17127" fmla="*/ 1127642 w 10505529"/>
              <a:gd name="connsiteY17127" fmla="*/ 4609284 h 7458372"/>
              <a:gd name="connsiteX17128" fmla="*/ 1130305 w 10505529"/>
              <a:gd name="connsiteY17128" fmla="*/ 4605024 h 7458372"/>
              <a:gd name="connsiteX17129" fmla="*/ 1131370 w 10505529"/>
              <a:gd name="connsiteY17129" fmla="*/ 4599566 h 7458372"/>
              <a:gd name="connsiteX17130" fmla="*/ 1130305 w 10505529"/>
              <a:gd name="connsiteY17130" fmla="*/ 4594375 h 7458372"/>
              <a:gd name="connsiteX17131" fmla="*/ 1127642 w 10505529"/>
              <a:gd name="connsiteY17131" fmla="*/ 4590249 h 7458372"/>
              <a:gd name="connsiteX17132" fmla="*/ 1123646 w 10505529"/>
              <a:gd name="connsiteY17132" fmla="*/ 4587586 h 7458372"/>
              <a:gd name="connsiteX17133" fmla="*/ 1118588 w 10505529"/>
              <a:gd name="connsiteY17133" fmla="*/ 4586655 h 7458372"/>
              <a:gd name="connsiteX17134" fmla="*/ 901076 w 10505529"/>
              <a:gd name="connsiteY17134" fmla="*/ 4586655 h 7458372"/>
              <a:gd name="connsiteX17135" fmla="*/ 891092 w 10505529"/>
              <a:gd name="connsiteY17135" fmla="*/ 4590249 h 7458372"/>
              <a:gd name="connsiteX17136" fmla="*/ 887365 w 10505529"/>
              <a:gd name="connsiteY17136" fmla="*/ 4599700 h 7458372"/>
              <a:gd name="connsiteX17137" fmla="*/ 890959 w 10505529"/>
              <a:gd name="connsiteY17137" fmla="*/ 4609151 h 7458372"/>
              <a:gd name="connsiteX17138" fmla="*/ 900942 w 10505529"/>
              <a:gd name="connsiteY17138" fmla="*/ 4612613 h 7458372"/>
              <a:gd name="connsiteX17139" fmla="*/ 906400 w 10505529"/>
              <a:gd name="connsiteY17139" fmla="*/ 4611681 h 7458372"/>
              <a:gd name="connsiteX17140" fmla="*/ 910128 w 10505529"/>
              <a:gd name="connsiteY17140" fmla="*/ 4609284 h 7458372"/>
              <a:gd name="connsiteX17141" fmla="*/ 912790 w 10505529"/>
              <a:gd name="connsiteY17141" fmla="*/ 4605024 h 7458372"/>
              <a:gd name="connsiteX17142" fmla="*/ 913855 w 10505529"/>
              <a:gd name="connsiteY17142" fmla="*/ 4599566 h 7458372"/>
              <a:gd name="connsiteX17143" fmla="*/ 912790 w 10505529"/>
              <a:gd name="connsiteY17143" fmla="*/ 4594375 h 7458372"/>
              <a:gd name="connsiteX17144" fmla="*/ 910128 w 10505529"/>
              <a:gd name="connsiteY17144" fmla="*/ 4590249 h 7458372"/>
              <a:gd name="connsiteX17145" fmla="*/ 906134 w 10505529"/>
              <a:gd name="connsiteY17145" fmla="*/ 4587586 h 7458372"/>
              <a:gd name="connsiteX17146" fmla="*/ 901076 w 10505529"/>
              <a:gd name="connsiteY17146" fmla="*/ 4586655 h 7458372"/>
              <a:gd name="connsiteX17147" fmla="*/ 683301 w 10505529"/>
              <a:gd name="connsiteY17147" fmla="*/ 4586655 h 7458372"/>
              <a:gd name="connsiteX17148" fmla="*/ 673318 w 10505529"/>
              <a:gd name="connsiteY17148" fmla="*/ 4590249 h 7458372"/>
              <a:gd name="connsiteX17149" fmla="*/ 669724 w 10505529"/>
              <a:gd name="connsiteY17149" fmla="*/ 4599700 h 7458372"/>
              <a:gd name="connsiteX17150" fmla="*/ 673318 w 10505529"/>
              <a:gd name="connsiteY17150" fmla="*/ 4609151 h 7458372"/>
              <a:gd name="connsiteX17151" fmla="*/ 683301 w 10505529"/>
              <a:gd name="connsiteY17151" fmla="*/ 4612613 h 7458372"/>
              <a:gd name="connsiteX17152" fmla="*/ 688626 w 10505529"/>
              <a:gd name="connsiteY17152" fmla="*/ 4611681 h 7458372"/>
              <a:gd name="connsiteX17153" fmla="*/ 692353 w 10505529"/>
              <a:gd name="connsiteY17153" fmla="*/ 4609284 h 7458372"/>
              <a:gd name="connsiteX17154" fmla="*/ 695016 w 10505529"/>
              <a:gd name="connsiteY17154" fmla="*/ 4605024 h 7458372"/>
              <a:gd name="connsiteX17155" fmla="*/ 696081 w 10505529"/>
              <a:gd name="connsiteY17155" fmla="*/ 4599566 h 7458372"/>
              <a:gd name="connsiteX17156" fmla="*/ 695016 w 10505529"/>
              <a:gd name="connsiteY17156" fmla="*/ 4594375 h 7458372"/>
              <a:gd name="connsiteX17157" fmla="*/ 692353 w 10505529"/>
              <a:gd name="connsiteY17157" fmla="*/ 4590249 h 7458372"/>
              <a:gd name="connsiteX17158" fmla="*/ 688360 w 10505529"/>
              <a:gd name="connsiteY17158" fmla="*/ 4587586 h 7458372"/>
              <a:gd name="connsiteX17159" fmla="*/ 683301 w 10505529"/>
              <a:gd name="connsiteY17159" fmla="*/ 4586655 h 7458372"/>
              <a:gd name="connsiteX17160" fmla="*/ 465659 w 10505529"/>
              <a:gd name="connsiteY17160" fmla="*/ 4586655 h 7458372"/>
              <a:gd name="connsiteX17161" fmla="*/ 455676 w 10505529"/>
              <a:gd name="connsiteY17161" fmla="*/ 4590249 h 7458372"/>
              <a:gd name="connsiteX17162" fmla="*/ 452082 w 10505529"/>
              <a:gd name="connsiteY17162" fmla="*/ 4599700 h 7458372"/>
              <a:gd name="connsiteX17163" fmla="*/ 455676 w 10505529"/>
              <a:gd name="connsiteY17163" fmla="*/ 4609151 h 7458372"/>
              <a:gd name="connsiteX17164" fmla="*/ 465659 w 10505529"/>
              <a:gd name="connsiteY17164" fmla="*/ 4612613 h 7458372"/>
              <a:gd name="connsiteX17165" fmla="*/ 470984 w 10505529"/>
              <a:gd name="connsiteY17165" fmla="*/ 4611681 h 7458372"/>
              <a:gd name="connsiteX17166" fmla="*/ 474711 w 10505529"/>
              <a:gd name="connsiteY17166" fmla="*/ 4609284 h 7458372"/>
              <a:gd name="connsiteX17167" fmla="*/ 477375 w 10505529"/>
              <a:gd name="connsiteY17167" fmla="*/ 4605024 h 7458372"/>
              <a:gd name="connsiteX17168" fmla="*/ 478439 w 10505529"/>
              <a:gd name="connsiteY17168" fmla="*/ 4599566 h 7458372"/>
              <a:gd name="connsiteX17169" fmla="*/ 477375 w 10505529"/>
              <a:gd name="connsiteY17169" fmla="*/ 4594375 h 7458372"/>
              <a:gd name="connsiteX17170" fmla="*/ 474711 w 10505529"/>
              <a:gd name="connsiteY17170" fmla="*/ 4590249 h 7458372"/>
              <a:gd name="connsiteX17171" fmla="*/ 470718 w 10505529"/>
              <a:gd name="connsiteY17171" fmla="*/ 4587586 h 7458372"/>
              <a:gd name="connsiteX17172" fmla="*/ 465659 w 10505529"/>
              <a:gd name="connsiteY17172" fmla="*/ 4586655 h 7458372"/>
              <a:gd name="connsiteX17173" fmla="*/ 248017 w 10505529"/>
              <a:gd name="connsiteY17173" fmla="*/ 4586655 h 7458372"/>
              <a:gd name="connsiteX17174" fmla="*/ 238035 w 10505529"/>
              <a:gd name="connsiteY17174" fmla="*/ 4590249 h 7458372"/>
              <a:gd name="connsiteX17175" fmla="*/ 234441 w 10505529"/>
              <a:gd name="connsiteY17175" fmla="*/ 4599700 h 7458372"/>
              <a:gd name="connsiteX17176" fmla="*/ 238035 w 10505529"/>
              <a:gd name="connsiteY17176" fmla="*/ 4609151 h 7458372"/>
              <a:gd name="connsiteX17177" fmla="*/ 248017 w 10505529"/>
              <a:gd name="connsiteY17177" fmla="*/ 4612613 h 7458372"/>
              <a:gd name="connsiteX17178" fmla="*/ 253342 w 10505529"/>
              <a:gd name="connsiteY17178" fmla="*/ 4611681 h 7458372"/>
              <a:gd name="connsiteX17179" fmla="*/ 257069 w 10505529"/>
              <a:gd name="connsiteY17179" fmla="*/ 4609284 h 7458372"/>
              <a:gd name="connsiteX17180" fmla="*/ 259732 w 10505529"/>
              <a:gd name="connsiteY17180" fmla="*/ 4605024 h 7458372"/>
              <a:gd name="connsiteX17181" fmla="*/ 260797 w 10505529"/>
              <a:gd name="connsiteY17181" fmla="*/ 4599566 h 7458372"/>
              <a:gd name="connsiteX17182" fmla="*/ 259732 w 10505529"/>
              <a:gd name="connsiteY17182" fmla="*/ 4594375 h 7458372"/>
              <a:gd name="connsiteX17183" fmla="*/ 257069 w 10505529"/>
              <a:gd name="connsiteY17183" fmla="*/ 4590249 h 7458372"/>
              <a:gd name="connsiteX17184" fmla="*/ 253076 w 10505529"/>
              <a:gd name="connsiteY17184" fmla="*/ 4587586 h 7458372"/>
              <a:gd name="connsiteX17185" fmla="*/ 248017 w 10505529"/>
              <a:gd name="connsiteY17185" fmla="*/ 4586655 h 7458372"/>
              <a:gd name="connsiteX17186" fmla="*/ 30375 w 10505529"/>
              <a:gd name="connsiteY17186" fmla="*/ 4586655 h 7458372"/>
              <a:gd name="connsiteX17187" fmla="*/ 20392 w 10505529"/>
              <a:gd name="connsiteY17187" fmla="*/ 4590249 h 7458372"/>
              <a:gd name="connsiteX17188" fmla="*/ 16799 w 10505529"/>
              <a:gd name="connsiteY17188" fmla="*/ 4599700 h 7458372"/>
              <a:gd name="connsiteX17189" fmla="*/ 20392 w 10505529"/>
              <a:gd name="connsiteY17189" fmla="*/ 4609151 h 7458372"/>
              <a:gd name="connsiteX17190" fmla="*/ 30375 w 10505529"/>
              <a:gd name="connsiteY17190" fmla="*/ 4612613 h 7458372"/>
              <a:gd name="connsiteX17191" fmla="*/ 35700 w 10505529"/>
              <a:gd name="connsiteY17191" fmla="*/ 4611681 h 7458372"/>
              <a:gd name="connsiteX17192" fmla="*/ 39427 w 10505529"/>
              <a:gd name="connsiteY17192" fmla="*/ 4609284 h 7458372"/>
              <a:gd name="connsiteX17193" fmla="*/ 42090 w 10505529"/>
              <a:gd name="connsiteY17193" fmla="*/ 4605024 h 7458372"/>
              <a:gd name="connsiteX17194" fmla="*/ 43021 w 10505529"/>
              <a:gd name="connsiteY17194" fmla="*/ 4599566 h 7458372"/>
              <a:gd name="connsiteX17195" fmla="*/ 42090 w 10505529"/>
              <a:gd name="connsiteY17195" fmla="*/ 4594375 h 7458372"/>
              <a:gd name="connsiteX17196" fmla="*/ 39427 w 10505529"/>
              <a:gd name="connsiteY17196" fmla="*/ 4590249 h 7458372"/>
              <a:gd name="connsiteX17197" fmla="*/ 35434 w 10505529"/>
              <a:gd name="connsiteY17197" fmla="*/ 4587586 h 7458372"/>
              <a:gd name="connsiteX17198" fmla="*/ 30375 w 10505529"/>
              <a:gd name="connsiteY17198" fmla="*/ 4586655 h 7458372"/>
              <a:gd name="connsiteX17199" fmla="*/ 10475977 w 10505529"/>
              <a:gd name="connsiteY17199" fmla="*/ 4570015 h 7458372"/>
              <a:gd name="connsiteX17200" fmla="*/ 10487824 w 10505529"/>
              <a:gd name="connsiteY17200" fmla="*/ 4572677 h 7458372"/>
              <a:gd name="connsiteX17201" fmla="*/ 10497143 w 10505529"/>
              <a:gd name="connsiteY17201" fmla="*/ 4579067 h 7458372"/>
              <a:gd name="connsiteX17202" fmla="*/ 10503266 w 10505529"/>
              <a:gd name="connsiteY17202" fmla="*/ 4588385 h 7458372"/>
              <a:gd name="connsiteX17203" fmla="*/ 10505529 w 10505529"/>
              <a:gd name="connsiteY17203" fmla="*/ 4599833 h 7458372"/>
              <a:gd name="connsiteX17204" fmla="*/ 10503266 w 10505529"/>
              <a:gd name="connsiteY17204" fmla="*/ 4611548 h 7458372"/>
              <a:gd name="connsiteX17205" fmla="*/ 10497143 w 10505529"/>
              <a:gd name="connsiteY17205" fmla="*/ 4620866 h 7458372"/>
              <a:gd name="connsiteX17206" fmla="*/ 10487824 w 10505529"/>
              <a:gd name="connsiteY17206" fmla="*/ 4627123 h 7458372"/>
              <a:gd name="connsiteX17207" fmla="*/ 10475977 w 10505529"/>
              <a:gd name="connsiteY17207" fmla="*/ 4629386 h 7458372"/>
              <a:gd name="connsiteX17208" fmla="*/ 10454145 w 10505529"/>
              <a:gd name="connsiteY17208" fmla="*/ 4620866 h 7458372"/>
              <a:gd name="connsiteX17209" fmla="*/ 10445759 w 10505529"/>
              <a:gd name="connsiteY17209" fmla="*/ 4599700 h 7458372"/>
              <a:gd name="connsiteX17210" fmla="*/ 10454145 w 10505529"/>
              <a:gd name="connsiteY17210" fmla="*/ 4578667 h 7458372"/>
              <a:gd name="connsiteX17211" fmla="*/ 10475977 w 10505529"/>
              <a:gd name="connsiteY17211" fmla="*/ 4570015 h 7458372"/>
              <a:gd name="connsiteX17212" fmla="*/ 10258466 w 10505529"/>
              <a:gd name="connsiteY17212" fmla="*/ 4570015 h 7458372"/>
              <a:gd name="connsiteX17213" fmla="*/ 10270313 w 10505529"/>
              <a:gd name="connsiteY17213" fmla="*/ 4572677 h 7458372"/>
              <a:gd name="connsiteX17214" fmla="*/ 10279631 w 10505529"/>
              <a:gd name="connsiteY17214" fmla="*/ 4579067 h 7458372"/>
              <a:gd name="connsiteX17215" fmla="*/ 10285754 w 10505529"/>
              <a:gd name="connsiteY17215" fmla="*/ 4588385 h 7458372"/>
              <a:gd name="connsiteX17216" fmla="*/ 10288017 w 10505529"/>
              <a:gd name="connsiteY17216" fmla="*/ 4599833 h 7458372"/>
              <a:gd name="connsiteX17217" fmla="*/ 10285754 w 10505529"/>
              <a:gd name="connsiteY17217" fmla="*/ 4611548 h 7458372"/>
              <a:gd name="connsiteX17218" fmla="*/ 10279631 w 10505529"/>
              <a:gd name="connsiteY17218" fmla="*/ 4620866 h 7458372"/>
              <a:gd name="connsiteX17219" fmla="*/ 10270313 w 10505529"/>
              <a:gd name="connsiteY17219" fmla="*/ 4627123 h 7458372"/>
              <a:gd name="connsiteX17220" fmla="*/ 10258466 w 10505529"/>
              <a:gd name="connsiteY17220" fmla="*/ 4629386 h 7458372"/>
              <a:gd name="connsiteX17221" fmla="*/ 10236633 w 10505529"/>
              <a:gd name="connsiteY17221" fmla="*/ 4620866 h 7458372"/>
              <a:gd name="connsiteX17222" fmla="*/ 10228247 w 10505529"/>
              <a:gd name="connsiteY17222" fmla="*/ 4599700 h 7458372"/>
              <a:gd name="connsiteX17223" fmla="*/ 10236633 w 10505529"/>
              <a:gd name="connsiteY17223" fmla="*/ 4578667 h 7458372"/>
              <a:gd name="connsiteX17224" fmla="*/ 10258466 w 10505529"/>
              <a:gd name="connsiteY17224" fmla="*/ 4570015 h 7458372"/>
              <a:gd name="connsiteX17225" fmla="*/ 10040820 w 10505529"/>
              <a:gd name="connsiteY17225" fmla="*/ 4570015 h 7458372"/>
              <a:gd name="connsiteX17226" fmla="*/ 10052534 w 10505529"/>
              <a:gd name="connsiteY17226" fmla="*/ 4572677 h 7458372"/>
              <a:gd name="connsiteX17227" fmla="*/ 10061852 w 10505529"/>
              <a:gd name="connsiteY17227" fmla="*/ 4579067 h 7458372"/>
              <a:gd name="connsiteX17228" fmla="*/ 10067976 w 10505529"/>
              <a:gd name="connsiteY17228" fmla="*/ 4588385 h 7458372"/>
              <a:gd name="connsiteX17229" fmla="*/ 10070239 w 10505529"/>
              <a:gd name="connsiteY17229" fmla="*/ 4599833 h 7458372"/>
              <a:gd name="connsiteX17230" fmla="*/ 10067976 w 10505529"/>
              <a:gd name="connsiteY17230" fmla="*/ 4611548 h 7458372"/>
              <a:gd name="connsiteX17231" fmla="*/ 10061852 w 10505529"/>
              <a:gd name="connsiteY17231" fmla="*/ 4620866 h 7458372"/>
              <a:gd name="connsiteX17232" fmla="*/ 10052534 w 10505529"/>
              <a:gd name="connsiteY17232" fmla="*/ 4627123 h 7458372"/>
              <a:gd name="connsiteX17233" fmla="*/ 10040820 w 10505529"/>
              <a:gd name="connsiteY17233" fmla="*/ 4629386 h 7458372"/>
              <a:gd name="connsiteX17234" fmla="*/ 10018988 w 10505529"/>
              <a:gd name="connsiteY17234" fmla="*/ 4620866 h 7458372"/>
              <a:gd name="connsiteX17235" fmla="*/ 10010602 w 10505529"/>
              <a:gd name="connsiteY17235" fmla="*/ 4599700 h 7458372"/>
              <a:gd name="connsiteX17236" fmla="*/ 10018988 w 10505529"/>
              <a:gd name="connsiteY17236" fmla="*/ 4578667 h 7458372"/>
              <a:gd name="connsiteX17237" fmla="*/ 10040820 w 10505529"/>
              <a:gd name="connsiteY17237" fmla="*/ 4570015 h 7458372"/>
              <a:gd name="connsiteX17238" fmla="*/ 9823176 w 10505529"/>
              <a:gd name="connsiteY17238" fmla="*/ 4570015 h 7458372"/>
              <a:gd name="connsiteX17239" fmla="*/ 9834890 w 10505529"/>
              <a:gd name="connsiteY17239" fmla="*/ 4572677 h 7458372"/>
              <a:gd name="connsiteX17240" fmla="*/ 9844208 w 10505529"/>
              <a:gd name="connsiteY17240" fmla="*/ 4579067 h 7458372"/>
              <a:gd name="connsiteX17241" fmla="*/ 9850331 w 10505529"/>
              <a:gd name="connsiteY17241" fmla="*/ 4588385 h 7458372"/>
              <a:gd name="connsiteX17242" fmla="*/ 9852595 w 10505529"/>
              <a:gd name="connsiteY17242" fmla="*/ 4599833 h 7458372"/>
              <a:gd name="connsiteX17243" fmla="*/ 9850331 w 10505529"/>
              <a:gd name="connsiteY17243" fmla="*/ 4611548 h 7458372"/>
              <a:gd name="connsiteX17244" fmla="*/ 9844208 w 10505529"/>
              <a:gd name="connsiteY17244" fmla="*/ 4620866 h 7458372"/>
              <a:gd name="connsiteX17245" fmla="*/ 9834890 w 10505529"/>
              <a:gd name="connsiteY17245" fmla="*/ 4627123 h 7458372"/>
              <a:gd name="connsiteX17246" fmla="*/ 9823176 w 10505529"/>
              <a:gd name="connsiteY17246" fmla="*/ 4629386 h 7458372"/>
              <a:gd name="connsiteX17247" fmla="*/ 9801343 w 10505529"/>
              <a:gd name="connsiteY17247" fmla="*/ 4620866 h 7458372"/>
              <a:gd name="connsiteX17248" fmla="*/ 9792957 w 10505529"/>
              <a:gd name="connsiteY17248" fmla="*/ 4599700 h 7458372"/>
              <a:gd name="connsiteX17249" fmla="*/ 9801343 w 10505529"/>
              <a:gd name="connsiteY17249" fmla="*/ 4578667 h 7458372"/>
              <a:gd name="connsiteX17250" fmla="*/ 9823176 w 10505529"/>
              <a:gd name="connsiteY17250" fmla="*/ 4570015 h 7458372"/>
              <a:gd name="connsiteX17251" fmla="*/ 9605531 w 10505529"/>
              <a:gd name="connsiteY17251" fmla="*/ 4570015 h 7458372"/>
              <a:gd name="connsiteX17252" fmla="*/ 9617245 w 10505529"/>
              <a:gd name="connsiteY17252" fmla="*/ 4572677 h 7458372"/>
              <a:gd name="connsiteX17253" fmla="*/ 9626562 w 10505529"/>
              <a:gd name="connsiteY17253" fmla="*/ 4579067 h 7458372"/>
              <a:gd name="connsiteX17254" fmla="*/ 9632686 w 10505529"/>
              <a:gd name="connsiteY17254" fmla="*/ 4588385 h 7458372"/>
              <a:gd name="connsiteX17255" fmla="*/ 9634949 w 10505529"/>
              <a:gd name="connsiteY17255" fmla="*/ 4599833 h 7458372"/>
              <a:gd name="connsiteX17256" fmla="*/ 9632686 w 10505529"/>
              <a:gd name="connsiteY17256" fmla="*/ 4611548 h 7458372"/>
              <a:gd name="connsiteX17257" fmla="*/ 9626562 w 10505529"/>
              <a:gd name="connsiteY17257" fmla="*/ 4620866 h 7458372"/>
              <a:gd name="connsiteX17258" fmla="*/ 9617245 w 10505529"/>
              <a:gd name="connsiteY17258" fmla="*/ 4627123 h 7458372"/>
              <a:gd name="connsiteX17259" fmla="*/ 9605531 w 10505529"/>
              <a:gd name="connsiteY17259" fmla="*/ 4629386 h 7458372"/>
              <a:gd name="connsiteX17260" fmla="*/ 9583698 w 10505529"/>
              <a:gd name="connsiteY17260" fmla="*/ 4620866 h 7458372"/>
              <a:gd name="connsiteX17261" fmla="*/ 9575312 w 10505529"/>
              <a:gd name="connsiteY17261" fmla="*/ 4599700 h 7458372"/>
              <a:gd name="connsiteX17262" fmla="*/ 9583698 w 10505529"/>
              <a:gd name="connsiteY17262" fmla="*/ 4578667 h 7458372"/>
              <a:gd name="connsiteX17263" fmla="*/ 9605531 w 10505529"/>
              <a:gd name="connsiteY17263" fmla="*/ 4570015 h 7458372"/>
              <a:gd name="connsiteX17264" fmla="*/ 9387885 w 10505529"/>
              <a:gd name="connsiteY17264" fmla="*/ 4570015 h 7458372"/>
              <a:gd name="connsiteX17265" fmla="*/ 9399599 w 10505529"/>
              <a:gd name="connsiteY17265" fmla="*/ 4572677 h 7458372"/>
              <a:gd name="connsiteX17266" fmla="*/ 9408917 w 10505529"/>
              <a:gd name="connsiteY17266" fmla="*/ 4579067 h 7458372"/>
              <a:gd name="connsiteX17267" fmla="*/ 9415041 w 10505529"/>
              <a:gd name="connsiteY17267" fmla="*/ 4588385 h 7458372"/>
              <a:gd name="connsiteX17268" fmla="*/ 9417304 w 10505529"/>
              <a:gd name="connsiteY17268" fmla="*/ 4599833 h 7458372"/>
              <a:gd name="connsiteX17269" fmla="*/ 9415041 w 10505529"/>
              <a:gd name="connsiteY17269" fmla="*/ 4611548 h 7458372"/>
              <a:gd name="connsiteX17270" fmla="*/ 9408917 w 10505529"/>
              <a:gd name="connsiteY17270" fmla="*/ 4620866 h 7458372"/>
              <a:gd name="connsiteX17271" fmla="*/ 9399599 w 10505529"/>
              <a:gd name="connsiteY17271" fmla="*/ 4627123 h 7458372"/>
              <a:gd name="connsiteX17272" fmla="*/ 9387885 w 10505529"/>
              <a:gd name="connsiteY17272" fmla="*/ 4629386 h 7458372"/>
              <a:gd name="connsiteX17273" fmla="*/ 9366053 w 10505529"/>
              <a:gd name="connsiteY17273" fmla="*/ 4620866 h 7458372"/>
              <a:gd name="connsiteX17274" fmla="*/ 9357667 w 10505529"/>
              <a:gd name="connsiteY17274" fmla="*/ 4599700 h 7458372"/>
              <a:gd name="connsiteX17275" fmla="*/ 9366053 w 10505529"/>
              <a:gd name="connsiteY17275" fmla="*/ 4578667 h 7458372"/>
              <a:gd name="connsiteX17276" fmla="*/ 9387885 w 10505529"/>
              <a:gd name="connsiteY17276" fmla="*/ 4570015 h 7458372"/>
              <a:gd name="connsiteX17277" fmla="*/ 9170374 w 10505529"/>
              <a:gd name="connsiteY17277" fmla="*/ 4570015 h 7458372"/>
              <a:gd name="connsiteX17278" fmla="*/ 9182088 w 10505529"/>
              <a:gd name="connsiteY17278" fmla="*/ 4572677 h 7458372"/>
              <a:gd name="connsiteX17279" fmla="*/ 9191405 w 10505529"/>
              <a:gd name="connsiteY17279" fmla="*/ 4579067 h 7458372"/>
              <a:gd name="connsiteX17280" fmla="*/ 9197529 w 10505529"/>
              <a:gd name="connsiteY17280" fmla="*/ 4588385 h 7458372"/>
              <a:gd name="connsiteX17281" fmla="*/ 9199792 w 10505529"/>
              <a:gd name="connsiteY17281" fmla="*/ 4599833 h 7458372"/>
              <a:gd name="connsiteX17282" fmla="*/ 9197529 w 10505529"/>
              <a:gd name="connsiteY17282" fmla="*/ 4611548 h 7458372"/>
              <a:gd name="connsiteX17283" fmla="*/ 9191405 w 10505529"/>
              <a:gd name="connsiteY17283" fmla="*/ 4620866 h 7458372"/>
              <a:gd name="connsiteX17284" fmla="*/ 9182088 w 10505529"/>
              <a:gd name="connsiteY17284" fmla="*/ 4627123 h 7458372"/>
              <a:gd name="connsiteX17285" fmla="*/ 9170374 w 10505529"/>
              <a:gd name="connsiteY17285" fmla="*/ 4629386 h 7458372"/>
              <a:gd name="connsiteX17286" fmla="*/ 9148541 w 10505529"/>
              <a:gd name="connsiteY17286" fmla="*/ 4620866 h 7458372"/>
              <a:gd name="connsiteX17287" fmla="*/ 9140155 w 10505529"/>
              <a:gd name="connsiteY17287" fmla="*/ 4599700 h 7458372"/>
              <a:gd name="connsiteX17288" fmla="*/ 9148541 w 10505529"/>
              <a:gd name="connsiteY17288" fmla="*/ 4578667 h 7458372"/>
              <a:gd name="connsiteX17289" fmla="*/ 9170374 w 10505529"/>
              <a:gd name="connsiteY17289" fmla="*/ 4570015 h 7458372"/>
              <a:gd name="connsiteX17290" fmla="*/ 8952728 w 10505529"/>
              <a:gd name="connsiteY17290" fmla="*/ 4570015 h 7458372"/>
              <a:gd name="connsiteX17291" fmla="*/ 8964442 w 10505529"/>
              <a:gd name="connsiteY17291" fmla="*/ 4572677 h 7458372"/>
              <a:gd name="connsiteX17292" fmla="*/ 8973760 w 10505529"/>
              <a:gd name="connsiteY17292" fmla="*/ 4579067 h 7458372"/>
              <a:gd name="connsiteX17293" fmla="*/ 8979884 w 10505529"/>
              <a:gd name="connsiteY17293" fmla="*/ 4588385 h 7458372"/>
              <a:gd name="connsiteX17294" fmla="*/ 8982147 w 10505529"/>
              <a:gd name="connsiteY17294" fmla="*/ 4599833 h 7458372"/>
              <a:gd name="connsiteX17295" fmla="*/ 8979884 w 10505529"/>
              <a:gd name="connsiteY17295" fmla="*/ 4611548 h 7458372"/>
              <a:gd name="connsiteX17296" fmla="*/ 8973760 w 10505529"/>
              <a:gd name="connsiteY17296" fmla="*/ 4620866 h 7458372"/>
              <a:gd name="connsiteX17297" fmla="*/ 8964442 w 10505529"/>
              <a:gd name="connsiteY17297" fmla="*/ 4627123 h 7458372"/>
              <a:gd name="connsiteX17298" fmla="*/ 8952728 w 10505529"/>
              <a:gd name="connsiteY17298" fmla="*/ 4629386 h 7458372"/>
              <a:gd name="connsiteX17299" fmla="*/ 8930896 w 10505529"/>
              <a:gd name="connsiteY17299" fmla="*/ 4620866 h 7458372"/>
              <a:gd name="connsiteX17300" fmla="*/ 8922510 w 10505529"/>
              <a:gd name="connsiteY17300" fmla="*/ 4599700 h 7458372"/>
              <a:gd name="connsiteX17301" fmla="*/ 8930896 w 10505529"/>
              <a:gd name="connsiteY17301" fmla="*/ 4578667 h 7458372"/>
              <a:gd name="connsiteX17302" fmla="*/ 8952728 w 10505529"/>
              <a:gd name="connsiteY17302" fmla="*/ 4570015 h 7458372"/>
              <a:gd name="connsiteX17303" fmla="*/ 8735083 w 10505529"/>
              <a:gd name="connsiteY17303" fmla="*/ 4570015 h 7458372"/>
              <a:gd name="connsiteX17304" fmla="*/ 8746797 w 10505529"/>
              <a:gd name="connsiteY17304" fmla="*/ 4572677 h 7458372"/>
              <a:gd name="connsiteX17305" fmla="*/ 8756115 w 10505529"/>
              <a:gd name="connsiteY17305" fmla="*/ 4579067 h 7458372"/>
              <a:gd name="connsiteX17306" fmla="*/ 8762238 w 10505529"/>
              <a:gd name="connsiteY17306" fmla="*/ 4588385 h 7458372"/>
              <a:gd name="connsiteX17307" fmla="*/ 8764502 w 10505529"/>
              <a:gd name="connsiteY17307" fmla="*/ 4599833 h 7458372"/>
              <a:gd name="connsiteX17308" fmla="*/ 8762238 w 10505529"/>
              <a:gd name="connsiteY17308" fmla="*/ 4611548 h 7458372"/>
              <a:gd name="connsiteX17309" fmla="*/ 8756115 w 10505529"/>
              <a:gd name="connsiteY17309" fmla="*/ 4620866 h 7458372"/>
              <a:gd name="connsiteX17310" fmla="*/ 8746797 w 10505529"/>
              <a:gd name="connsiteY17310" fmla="*/ 4627123 h 7458372"/>
              <a:gd name="connsiteX17311" fmla="*/ 8735083 w 10505529"/>
              <a:gd name="connsiteY17311" fmla="*/ 4629386 h 7458372"/>
              <a:gd name="connsiteX17312" fmla="*/ 8713250 w 10505529"/>
              <a:gd name="connsiteY17312" fmla="*/ 4620866 h 7458372"/>
              <a:gd name="connsiteX17313" fmla="*/ 8704864 w 10505529"/>
              <a:gd name="connsiteY17313" fmla="*/ 4599700 h 7458372"/>
              <a:gd name="connsiteX17314" fmla="*/ 8713250 w 10505529"/>
              <a:gd name="connsiteY17314" fmla="*/ 4578667 h 7458372"/>
              <a:gd name="connsiteX17315" fmla="*/ 8735083 w 10505529"/>
              <a:gd name="connsiteY17315" fmla="*/ 4570015 h 7458372"/>
              <a:gd name="connsiteX17316" fmla="*/ 8517438 w 10505529"/>
              <a:gd name="connsiteY17316" fmla="*/ 4570015 h 7458372"/>
              <a:gd name="connsiteX17317" fmla="*/ 8529152 w 10505529"/>
              <a:gd name="connsiteY17317" fmla="*/ 4572677 h 7458372"/>
              <a:gd name="connsiteX17318" fmla="*/ 8538470 w 10505529"/>
              <a:gd name="connsiteY17318" fmla="*/ 4579067 h 7458372"/>
              <a:gd name="connsiteX17319" fmla="*/ 8544594 w 10505529"/>
              <a:gd name="connsiteY17319" fmla="*/ 4588385 h 7458372"/>
              <a:gd name="connsiteX17320" fmla="*/ 8546857 w 10505529"/>
              <a:gd name="connsiteY17320" fmla="*/ 4599833 h 7458372"/>
              <a:gd name="connsiteX17321" fmla="*/ 8544594 w 10505529"/>
              <a:gd name="connsiteY17321" fmla="*/ 4611548 h 7458372"/>
              <a:gd name="connsiteX17322" fmla="*/ 8538470 w 10505529"/>
              <a:gd name="connsiteY17322" fmla="*/ 4620866 h 7458372"/>
              <a:gd name="connsiteX17323" fmla="*/ 8529152 w 10505529"/>
              <a:gd name="connsiteY17323" fmla="*/ 4627123 h 7458372"/>
              <a:gd name="connsiteX17324" fmla="*/ 8517438 w 10505529"/>
              <a:gd name="connsiteY17324" fmla="*/ 4629386 h 7458372"/>
              <a:gd name="connsiteX17325" fmla="*/ 8495606 w 10505529"/>
              <a:gd name="connsiteY17325" fmla="*/ 4620866 h 7458372"/>
              <a:gd name="connsiteX17326" fmla="*/ 8487220 w 10505529"/>
              <a:gd name="connsiteY17326" fmla="*/ 4599700 h 7458372"/>
              <a:gd name="connsiteX17327" fmla="*/ 8495606 w 10505529"/>
              <a:gd name="connsiteY17327" fmla="*/ 4578667 h 7458372"/>
              <a:gd name="connsiteX17328" fmla="*/ 8517438 w 10505529"/>
              <a:gd name="connsiteY17328" fmla="*/ 4570015 h 7458372"/>
              <a:gd name="connsiteX17329" fmla="*/ 8299793 w 10505529"/>
              <a:gd name="connsiteY17329" fmla="*/ 4570015 h 7458372"/>
              <a:gd name="connsiteX17330" fmla="*/ 8311507 w 10505529"/>
              <a:gd name="connsiteY17330" fmla="*/ 4572677 h 7458372"/>
              <a:gd name="connsiteX17331" fmla="*/ 8320825 w 10505529"/>
              <a:gd name="connsiteY17331" fmla="*/ 4579067 h 7458372"/>
              <a:gd name="connsiteX17332" fmla="*/ 8326948 w 10505529"/>
              <a:gd name="connsiteY17332" fmla="*/ 4588385 h 7458372"/>
              <a:gd name="connsiteX17333" fmla="*/ 8329212 w 10505529"/>
              <a:gd name="connsiteY17333" fmla="*/ 4599833 h 7458372"/>
              <a:gd name="connsiteX17334" fmla="*/ 8326948 w 10505529"/>
              <a:gd name="connsiteY17334" fmla="*/ 4611548 h 7458372"/>
              <a:gd name="connsiteX17335" fmla="*/ 8320825 w 10505529"/>
              <a:gd name="connsiteY17335" fmla="*/ 4620866 h 7458372"/>
              <a:gd name="connsiteX17336" fmla="*/ 8311507 w 10505529"/>
              <a:gd name="connsiteY17336" fmla="*/ 4627123 h 7458372"/>
              <a:gd name="connsiteX17337" fmla="*/ 8299793 w 10505529"/>
              <a:gd name="connsiteY17337" fmla="*/ 4629386 h 7458372"/>
              <a:gd name="connsiteX17338" fmla="*/ 8277960 w 10505529"/>
              <a:gd name="connsiteY17338" fmla="*/ 4620866 h 7458372"/>
              <a:gd name="connsiteX17339" fmla="*/ 8269574 w 10505529"/>
              <a:gd name="connsiteY17339" fmla="*/ 4599700 h 7458372"/>
              <a:gd name="connsiteX17340" fmla="*/ 8277960 w 10505529"/>
              <a:gd name="connsiteY17340" fmla="*/ 4578667 h 7458372"/>
              <a:gd name="connsiteX17341" fmla="*/ 8299793 w 10505529"/>
              <a:gd name="connsiteY17341" fmla="*/ 4570015 h 7458372"/>
              <a:gd name="connsiteX17342" fmla="*/ 8082281 w 10505529"/>
              <a:gd name="connsiteY17342" fmla="*/ 4570015 h 7458372"/>
              <a:gd name="connsiteX17343" fmla="*/ 8094127 w 10505529"/>
              <a:gd name="connsiteY17343" fmla="*/ 4572677 h 7458372"/>
              <a:gd name="connsiteX17344" fmla="*/ 8103446 w 10505529"/>
              <a:gd name="connsiteY17344" fmla="*/ 4579067 h 7458372"/>
              <a:gd name="connsiteX17345" fmla="*/ 8109569 w 10505529"/>
              <a:gd name="connsiteY17345" fmla="*/ 4588385 h 7458372"/>
              <a:gd name="connsiteX17346" fmla="*/ 8111832 w 10505529"/>
              <a:gd name="connsiteY17346" fmla="*/ 4599833 h 7458372"/>
              <a:gd name="connsiteX17347" fmla="*/ 8109569 w 10505529"/>
              <a:gd name="connsiteY17347" fmla="*/ 4611548 h 7458372"/>
              <a:gd name="connsiteX17348" fmla="*/ 8103446 w 10505529"/>
              <a:gd name="connsiteY17348" fmla="*/ 4620866 h 7458372"/>
              <a:gd name="connsiteX17349" fmla="*/ 8094127 w 10505529"/>
              <a:gd name="connsiteY17349" fmla="*/ 4627123 h 7458372"/>
              <a:gd name="connsiteX17350" fmla="*/ 8082281 w 10505529"/>
              <a:gd name="connsiteY17350" fmla="*/ 4629386 h 7458372"/>
              <a:gd name="connsiteX17351" fmla="*/ 8060448 w 10505529"/>
              <a:gd name="connsiteY17351" fmla="*/ 4620866 h 7458372"/>
              <a:gd name="connsiteX17352" fmla="*/ 8052062 w 10505529"/>
              <a:gd name="connsiteY17352" fmla="*/ 4599700 h 7458372"/>
              <a:gd name="connsiteX17353" fmla="*/ 8060448 w 10505529"/>
              <a:gd name="connsiteY17353" fmla="*/ 4578667 h 7458372"/>
              <a:gd name="connsiteX17354" fmla="*/ 8082281 w 10505529"/>
              <a:gd name="connsiteY17354" fmla="*/ 4570015 h 7458372"/>
              <a:gd name="connsiteX17355" fmla="*/ 7864636 w 10505529"/>
              <a:gd name="connsiteY17355" fmla="*/ 4570015 h 7458372"/>
              <a:gd name="connsiteX17356" fmla="*/ 7876483 w 10505529"/>
              <a:gd name="connsiteY17356" fmla="*/ 4572677 h 7458372"/>
              <a:gd name="connsiteX17357" fmla="*/ 7885802 w 10505529"/>
              <a:gd name="connsiteY17357" fmla="*/ 4579067 h 7458372"/>
              <a:gd name="connsiteX17358" fmla="*/ 7891924 w 10505529"/>
              <a:gd name="connsiteY17358" fmla="*/ 4588385 h 7458372"/>
              <a:gd name="connsiteX17359" fmla="*/ 7894188 w 10505529"/>
              <a:gd name="connsiteY17359" fmla="*/ 4599833 h 7458372"/>
              <a:gd name="connsiteX17360" fmla="*/ 7891924 w 10505529"/>
              <a:gd name="connsiteY17360" fmla="*/ 4611548 h 7458372"/>
              <a:gd name="connsiteX17361" fmla="*/ 7885802 w 10505529"/>
              <a:gd name="connsiteY17361" fmla="*/ 4620866 h 7458372"/>
              <a:gd name="connsiteX17362" fmla="*/ 7876483 w 10505529"/>
              <a:gd name="connsiteY17362" fmla="*/ 4627123 h 7458372"/>
              <a:gd name="connsiteX17363" fmla="*/ 7864636 w 10505529"/>
              <a:gd name="connsiteY17363" fmla="*/ 4629386 h 7458372"/>
              <a:gd name="connsiteX17364" fmla="*/ 7842803 w 10505529"/>
              <a:gd name="connsiteY17364" fmla="*/ 4620866 h 7458372"/>
              <a:gd name="connsiteX17365" fmla="*/ 7834417 w 10505529"/>
              <a:gd name="connsiteY17365" fmla="*/ 4599700 h 7458372"/>
              <a:gd name="connsiteX17366" fmla="*/ 7842803 w 10505529"/>
              <a:gd name="connsiteY17366" fmla="*/ 4578667 h 7458372"/>
              <a:gd name="connsiteX17367" fmla="*/ 7864636 w 10505529"/>
              <a:gd name="connsiteY17367" fmla="*/ 4570015 h 7458372"/>
              <a:gd name="connsiteX17368" fmla="*/ 7646991 w 10505529"/>
              <a:gd name="connsiteY17368" fmla="*/ 4570015 h 7458372"/>
              <a:gd name="connsiteX17369" fmla="*/ 7658705 w 10505529"/>
              <a:gd name="connsiteY17369" fmla="*/ 4572677 h 7458372"/>
              <a:gd name="connsiteX17370" fmla="*/ 7668022 w 10505529"/>
              <a:gd name="connsiteY17370" fmla="*/ 4579067 h 7458372"/>
              <a:gd name="connsiteX17371" fmla="*/ 7674146 w 10505529"/>
              <a:gd name="connsiteY17371" fmla="*/ 4588385 h 7458372"/>
              <a:gd name="connsiteX17372" fmla="*/ 7676409 w 10505529"/>
              <a:gd name="connsiteY17372" fmla="*/ 4599833 h 7458372"/>
              <a:gd name="connsiteX17373" fmla="*/ 7674146 w 10505529"/>
              <a:gd name="connsiteY17373" fmla="*/ 4611548 h 7458372"/>
              <a:gd name="connsiteX17374" fmla="*/ 7668022 w 10505529"/>
              <a:gd name="connsiteY17374" fmla="*/ 4620866 h 7458372"/>
              <a:gd name="connsiteX17375" fmla="*/ 7658705 w 10505529"/>
              <a:gd name="connsiteY17375" fmla="*/ 4627123 h 7458372"/>
              <a:gd name="connsiteX17376" fmla="*/ 7646991 w 10505529"/>
              <a:gd name="connsiteY17376" fmla="*/ 4629386 h 7458372"/>
              <a:gd name="connsiteX17377" fmla="*/ 7625158 w 10505529"/>
              <a:gd name="connsiteY17377" fmla="*/ 4620866 h 7458372"/>
              <a:gd name="connsiteX17378" fmla="*/ 7616772 w 10505529"/>
              <a:gd name="connsiteY17378" fmla="*/ 4599700 h 7458372"/>
              <a:gd name="connsiteX17379" fmla="*/ 7625158 w 10505529"/>
              <a:gd name="connsiteY17379" fmla="*/ 4578667 h 7458372"/>
              <a:gd name="connsiteX17380" fmla="*/ 7646991 w 10505529"/>
              <a:gd name="connsiteY17380" fmla="*/ 4570015 h 7458372"/>
              <a:gd name="connsiteX17381" fmla="*/ 7429345 w 10505529"/>
              <a:gd name="connsiteY17381" fmla="*/ 4570015 h 7458372"/>
              <a:gd name="connsiteX17382" fmla="*/ 7441059 w 10505529"/>
              <a:gd name="connsiteY17382" fmla="*/ 4572677 h 7458372"/>
              <a:gd name="connsiteX17383" fmla="*/ 7450377 w 10505529"/>
              <a:gd name="connsiteY17383" fmla="*/ 4579067 h 7458372"/>
              <a:gd name="connsiteX17384" fmla="*/ 7456501 w 10505529"/>
              <a:gd name="connsiteY17384" fmla="*/ 4588385 h 7458372"/>
              <a:gd name="connsiteX17385" fmla="*/ 7458764 w 10505529"/>
              <a:gd name="connsiteY17385" fmla="*/ 4599833 h 7458372"/>
              <a:gd name="connsiteX17386" fmla="*/ 7456501 w 10505529"/>
              <a:gd name="connsiteY17386" fmla="*/ 4611548 h 7458372"/>
              <a:gd name="connsiteX17387" fmla="*/ 7450377 w 10505529"/>
              <a:gd name="connsiteY17387" fmla="*/ 4620866 h 7458372"/>
              <a:gd name="connsiteX17388" fmla="*/ 7441059 w 10505529"/>
              <a:gd name="connsiteY17388" fmla="*/ 4627123 h 7458372"/>
              <a:gd name="connsiteX17389" fmla="*/ 7429345 w 10505529"/>
              <a:gd name="connsiteY17389" fmla="*/ 4629386 h 7458372"/>
              <a:gd name="connsiteX17390" fmla="*/ 7407513 w 10505529"/>
              <a:gd name="connsiteY17390" fmla="*/ 4620866 h 7458372"/>
              <a:gd name="connsiteX17391" fmla="*/ 7399127 w 10505529"/>
              <a:gd name="connsiteY17391" fmla="*/ 4599700 h 7458372"/>
              <a:gd name="connsiteX17392" fmla="*/ 7407513 w 10505529"/>
              <a:gd name="connsiteY17392" fmla="*/ 4578667 h 7458372"/>
              <a:gd name="connsiteX17393" fmla="*/ 7429345 w 10505529"/>
              <a:gd name="connsiteY17393" fmla="*/ 4570015 h 7458372"/>
              <a:gd name="connsiteX17394" fmla="*/ 7211701 w 10505529"/>
              <a:gd name="connsiteY17394" fmla="*/ 4570015 h 7458372"/>
              <a:gd name="connsiteX17395" fmla="*/ 7223415 w 10505529"/>
              <a:gd name="connsiteY17395" fmla="*/ 4572677 h 7458372"/>
              <a:gd name="connsiteX17396" fmla="*/ 7232733 w 10505529"/>
              <a:gd name="connsiteY17396" fmla="*/ 4579067 h 7458372"/>
              <a:gd name="connsiteX17397" fmla="*/ 7238856 w 10505529"/>
              <a:gd name="connsiteY17397" fmla="*/ 4588385 h 7458372"/>
              <a:gd name="connsiteX17398" fmla="*/ 7241120 w 10505529"/>
              <a:gd name="connsiteY17398" fmla="*/ 4599833 h 7458372"/>
              <a:gd name="connsiteX17399" fmla="*/ 7238856 w 10505529"/>
              <a:gd name="connsiteY17399" fmla="*/ 4611548 h 7458372"/>
              <a:gd name="connsiteX17400" fmla="*/ 7232733 w 10505529"/>
              <a:gd name="connsiteY17400" fmla="*/ 4620866 h 7458372"/>
              <a:gd name="connsiteX17401" fmla="*/ 7223415 w 10505529"/>
              <a:gd name="connsiteY17401" fmla="*/ 4627123 h 7458372"/>
              <a:gd name="connsiteX17402" fmla="*/ 7211701 w 10505529"/>
              <a:gd name="connsiteY17402" fmla="*/ 4629386 h 7458372"/>
              <a:gd name="connsiteX17403" fmla="*/ 7189868 w 10505529"/>
              <a:gd name="connsiteY17403" fmla="*/ 4620866 h 7458372"/>
              <a:gd name="connsiteX17404" fmla="*/ 7181482 w 10505529"/>
              <a:gd name="connsiteY17404" fmla="*/ 4599700 h 7458372"/>
              <a:gd name="connsiteX17405" fmla="*/ 7189868 w 10505529"/>
              <a:gd name="connsiteY17405" fmla="*/ 4578667 h 7458372"/>
              <a:gd name="connsiteX17406" fmla="*/ 7211701 w 10505529"/>
              <a:gd name="connsiteY17406" fmla="*/ 4570015 h 7458372"/>
              <a:gd name="connsiteX17407" fmla="*/ 6994056 w 10505529"/>
              <a:gd name="connsiteY17407" fmla="*/ 4570015 h 7458372"/>
              <a:gd name="connsiteX17408" fmla="*/ 7005769 w 10505529"/>
              <a:gd name="connsiteY17408" fmla="*/ 4572677 h 7458372"/>
              <a:gd name="connsiteX17409" fmla="*/ 7015087 w 10505529"/>
              <a:gd name="connsiteY17409" fmla="*/ 4579067 h 7458372"/>
              <a:gd name="connsiteX17410" fmla="*/ 7021211 w 10505529"/>
              <a:gd name="connsiteY17410" fmla="*/ 4588385 h 7458372"/>
              <a:gd name="connsiteX17411" fmla="*/ 7023474 w 10505529"/>
              <a:gd name="connsiteY17411" fmla="*/ 4599833 h 7458372"/>
              <a:gd name="connsiteX17412" fmla="*/ 7021211 w 10505529"/>
              <a:gd name="connsiteY17412" fmla="*/ 4611548 h 7458372"/>
              <a:gd name="connsiteX17413" fmla="*/ 7015087 w 10505529"/>
              <a:gd name="connsiteY17413" fmla="*/ 4620866 h 7458372"/>
              <a:gd name="connsiteX17414" fmla="*/ 7005769 w 10505529"/>
              <a:gd name="connsiteY17414" fmla="*/ 4627123 h 7458372"/>
              <a:gd name="connsiteX17415" fmla="*/ 6994056 w 10505529"/>
              <a:gd name="connsiteY17415" fmla="*/ 4629386 h 7458372"/>
              <a:gd name="connsiteX17416" fmla="*/ 6972223 w 10505529"/>
              <a:gd name="connsiteY17416" fmla="*/ 4620866 h 7458372"/>
              <a:gd name="connsiteX17417" fmla="*/ 6963837 w 10505529"/>
              <a:gd name="connsiteY17417" fmla="*/ 4599700 h 7458372"/>
              <a:gd name="connsiteX17418" fmla="*/ 6972223 w 10505529"/>
              <a:gd name="connsiteY17418" fmla="*/ 4578667 h 7458372"/>
              <a:gd name="connsiteX17419" fmla="*/ 6994056 w 10505529"/>
              <a:gd name="connsiteY17419" fmla="*/ 4570015 h 7458372"/>
              <a:gd name="connsiteX17420" fmla="*/ 6776544 w 10505529"/>
              <a:gd name="connsiteY17420" fmla="*/ 4570015 h 7458372"/>
              <a:gd name="connsiteX17421" fmla="*/ 6788258 w 10505529"/>
              <a:gd name="connsiteY17421" fmla="*/ 4572677 h 7458372"/>
              <a:gd name="connsiteX17422" fmla="*/ 6797576 w 10505529"/>
              <a:gd name="connsiteY17422" fmla="*/ 4579067 h 7458372"/>
              <a:gd name="connsiteX17423" fmla="*/ 6803699 w 10505529"/>
              <a:gd name="connsiteY17423" fmla="*/ 4588385 h 7458372"/>
              <a:gd name="connsiteX17424" fmla="*/ 6805963 w 10505529"/>
              <a:gd name="connsiteY17424" fmla="*/ 4599833 h 7458372"/>
              <a:gd name="connsiteX17425" fmla="*/ 6803699 w 10505529"/>
              <a:gd name="connsiteY17425" fmla="*/ 4611548 h 7458372"/>
              <a:gd name="connsiteX17426" fmla="*/ 6797576 w 10505529"/>
              <a:gd name="connsiteY17426" fmla="*/ 4620866 h 7458372"/>
              <a:gd name="connsiteX17427" fmla="*/ 6788258 w 10505529"/>
              <a:gd name="connsiteY17427" fmla="*/ 4627123 h 7458372"/>
              <a:gd name="connsiteX17428" fmla="*/ 6776544 w 10505529"/>
              <a:gd name="connsiteY17428" fmla="*/ 4629386 h 7458372"/>
              <a:gd name="connsiteX17429" fmla="*/ 6754711 w 10505529"/>
              <a:gd name="connsiteY17429" fmla="*/ 4620866 h 7458372"/>
              <a:gd name="connsiteX17430" fmla="*/ 6746325 w 10505529"/>
              <a:gd name="connsiteY17430" fmla="*/ 4599700 h 7458372"/>
              <a:gd name="connsiteX17431" fmla="*/ 6754711 w 10505529"/>
              <a:gd name="connsiteY17431" fmla="*/ 4578667 h 7458372"/>
              <a:gd name="connsiteX17432" fmla="*/ 6776544 w 10505529"/>
              <a:gd name="connsiteY17432" fmla="*/ 4570015 h 7458372"/>
              <a:gd name="connsiteX17433" fmla="*/ 6558899 w 10505529"/>
              <a:gd name="connsiteY17433" fmla="*/ 4570015 h 7458372"/>
              <a:gd name="connsiteX17434" fmla="*/ 6570612 w 10505529"/>
              <a:gd name="connsiteY17434" fmla="*/ 4572677 h 7458372"/>
              <a:gd name="connsiteX17435" fmla="*/ 6579930 w 10505529"/>
              <a:gd name="connsiteY17435" fmla="*/ 4579067 h 7458372"/>
              <a:gd name="connsiteX17436" fmla="*/ 6586054 w 10505529"/>
              <a:gd name="connsiteY17436" fmla="*/ 4588385 h 7458372"/>
              <a:gd name="connsiteX17437" fmla="*/ 6588317 w 10505529"/>
              <a:gd name="connsiteY17437" fmla="*/ 4599833 h 7458372"/>
              <a:gd name="connsiteX17438" fmla="*/ 6586054 w 10505529"/>
              <a:gd name="connsiteY17438" fmla="*/ 4611548 h 7458372"/>
              <a:gd name="connsiteX17439" fmla="*/ 6579930 w 10505529"/>
              <a:gd name="connsiteY17439" fmla="*/ 4620866 h 7458372"/>
              <a:gd name="connsiteX17440" fmla="*/ 6570612 w 10505529"/>
              <a:gd name="connsiteY17440" fmla="*/ 4627123 h 7458372"/>
              <a:gd name="connsiteX17441" fmla="*/ 6558899 w 10505529"/>
              <a:gd name="connsiteY17441" fmla="*/ 4629386 h 7458372"/>
              <a:gd name="connsiteX17442" fmla="*/ 6537066 w 10505529"/>
              <a:gd name="connsiteY17442" fmla="*/ 4620866 h 7458372"/>
              <a:gd name="connsiteX17443" fmla="*/ 6528680 w 10505529"/>
              <a:gd name="connsiteY17443" fmla="*/ 4599700 h 7458372"/>
              <a:gd name="connsiteX17444" fmla="*/ 6537066 w 10505529"/>
              <a:gd name="connsiteY17444" fmla="*/ 4578667 h 7458372"/>
              <a:gd name="connsiteX17445" fmla="*/ 6558899 w 10505529"/>
              <a:gd name="connsiteY17445" fmla="*/ 4570015 h 7458372"/>
              <a:gd name="connsiteX17446" fmla="*/ 6341253 w 10505529"/>
              <a:gd name="connsiteY17446" fmla="*/ 4570015 h 7458372"/>
              <a:gd name="connsiteX17447" fmla="*/ 6352968 w 10505529"/>
              <a:gd name="connsiteY17447" fmla="*/ 4572677 h 7458372"/>
              <a:gd name="connsiteX17448" fmla="*/ 6362286 w 10505529"/>
              <a:gd name="connsiteY17448" fmla="*/ 4579067 h 7458372"/>
              <a:gd name="connsiteX17449" fmla="*/ 6368409 w 10505529"/>
              <a:gd name="connsiteY17449" fmla="*/ 4588385 h 7458372"/>
              <a:gd name="connsiteX17450" fmla="*/ 6370672 w 10505529"/>
              <a:gd name="connsiteY17450" fmla="*/ 4599833 h 7458372"/>
              <a:gd name="connsiteX17451" fmla="*/ 6368409 w 10505529"/>
              <a:gd name="connsiteY17451" fmla="*/ 4611548 h 7458372"/>
              <a:gd name="connsiteX17452" fmla="*/ 6362286 w 10505529"/>
              <a:gd name="connsiteY17452" fmla="*/ 4620866 h 7458372"/>
              <a:gd name="connsiteX17453" fmla="*/ 6352968 w 10505529"/>
              <a:gd name="connsiteY17453" fmla="*/ 4627123 h 7458372"/>
              <a:gd name="connsiteX17454" fmla="*/ 6341253 w 10505529"/>
              <a:gd name="connsiteY17454" fmla="*/ 4629386 h 7458372"/>
              <a:gd name="connsiteX17455" fmla="*/ 6319421 w 10505529"/>
              <a:gd name="connsiteY17455" fmla="*/ 4620866 h 7458372"/>
              <a:gd name="connsiteX17456" fmla="*/ 6311035 w 10505529"/>
              <a:gd name="connsiteY17456" fmla="*/ 4599700 h 7458372"/>
              <a:gd name="connsiteX17457" fmla="*/ 6319421 w 10505529"/>
              <a:gd name="connsiteY17457" fmla="*/ 4578667 h 7458372"/>
              <a:gd name="connsiteX17458" fmla="*/ 6341253 w 10505529"/>
              <a:gd name="connsiteY17458" fmla="*/ 4570015 h 7458372"/>
              <a:gd name="connsiteX17459" fmla="*/ 6123608 w 10505529"/>
              <a:gd name="connsiteY17459" fmla="*/ 4570015 h 7458372"/>
              <a:gd name="connsiteX17460" fmla="*/ 6135322 w 10505529"/>
              <a:gd name="connsiteY17460" fmla="*/ 4572677 h 7458372"/>
              <a:gd name="connsiteX17461" fmla="*/ 6144640 w 10505529"/>
              <a:gd name="connsiteY17461" fmla="*/ 4579067 h 7458372"/>
              <a:gd name="connsiteX17462" fmla="*/ 6150763 w 10505529"/>
              <a:gd name="connsiteY17462" fmla="*/ 4588385 h 7458372"/>
              <a:gd name="connsiteX17463" fmla="*/ 6153026 w 10505529"/>
              <a:gd name="connsiteY17463" fmla="*/ 4599833 h 7458372"/>
              <a:gd name="connsiteX17464" fmla="*/ 6150763 w 10505529"/>
              <a:gd name="connsiteY17464" fmla="*/ 4611548 h 7458372"/>
              <a:gd name="connsiteX17465" fmla="*/ 6144640 w 10505529"/>
              <a:gd name="connsiteY17465" fmla="*/ 4620866 h 7458372"/>
              <a:gd name="connsiteX17466" fmla="*/ 6135322 w 10505529"/>
              <a:gd name="connsiteY17466" fmla="*/ 4627123 h 7458372"/>
              <a:gd name="connsiteX17467" fmla="*/ 6123608 w 10505529"/>
              <a:gd name="connsiteY17467" fmla="*/ 4629386 h 7458372"/>
              <a:gd name="connsiteX17468" fmla="*/ 6101775 w 10505529"/>
              <a:gd name="connsiteY17468" fmla="*/ 4620866 h 7458372"/>
              <a:gd name="connsiteX17469" fmla="*/ 6093389 w 10505529"/>
              <a:gd name="connsiteY17469" fmla="*/ 4599700 h 7458372"/>
              <a:gd name="connsiteX17470" fmla="*/ 6101775 w 10505529"/>
              <a:gd name="connsiteY17470" fmla="*/ 4578667 h 7458372"/>
              <a:gd name="connsiteX17471" fmla="*/ 6123608 w 10505529"/>
              <a:gd name="connsiteY17471" fmla="*/ 4570015 h 7458372"/>
              <a:gd name="connsiteX17472" fmla="*/ 5905963 w 10505529"/>
              <a:gd name="connsiteY17472" fmla="*/ 4570015 h 7458372"/>
              <a:gd name="connsiteX17473" fmla="*/ 5917677 w 10505529"/>
              <a:gd name="connsiteY17473" fmla="*/ 4572677 h 7458372"/>
              <a:gd name="connsiteX17474" fmla="*/ 5926995 w 10505529"/>
              <a:gd name="connsiteY17474" fmla="*/ 4579067 h 7458372"/>
              <a:gd name="connsiteX17475" fmla="*/ 5933118 w 10505529"/>
              <a:gd name="connsiteY17475" fmla="*/ 4588385 h 7458372"/>
              <a:gd name="connsiteX17476" fmla="*/ 5935381 w 10505529"/>
              <a:gd name="connsiteY17476" fmla="*/ 4599833 h 7458372"/>
              <a:gd name="connsiteX17477" fmla="*/ 5933118 w 10505529"/>
              <a:gd name="connsiteY17477" fmla="*/ 4611548 h 7458372"/>
              <a:gd name="connsiteX17478" fmla="*/ 5926995 w 10505529"/>
              <a:gd name="connsiteY17478" fmla="*/ 4620866 h 7458372"/>
              <a:gd name="connsiteX17479" fmla="*/ 5917677 w 10505529"/>
              <a:gd name="connsiteY17479" fmla="*/ 4627123 h 7458372"/>
              <a:gd name="connsiteX17480" fmla="*/ 5905963 w 10505529"/>
              <a:gd name="connsiteY17480" fmla="*/ 4629386 h 7458372"/>
              <a:gd name="connsiteX17481" fmla="*/ 5884130 w 10505529"/>
              <a:gd name="connsiteY17481" fmla="*/ 4620866 h 7458372"/>
              <a:gd name="connsiteX17482" fmla="*/ 5875744 w 10505529"/>
              <a:gd name="connsiteY17482" fmla="*/ 4599700 h 7458372"/>
              <a:gd name="connsiteX17483" fmla="*/ 5884130 w 10505529"/>
              <a:gd name="connsiteY17483" fmla="*/ 4578667 h 7458372"/>
              <a:gd name="connsiteX17484" fmla="*/ 5905963 w 10505529"/>
              <a:gd name="connsiteY17484" fmla="*/ 4570015 h 7458372"/>
              <a:gd name="connsiteX17485" fmla="*/ 5688451 w 10505529"/>
              <a:gd name="connsiteY17485" fmla="*/ 4570015 h 7458372"/>
              <a:gd name="connsiteX17486" fmla="*/ 5700165 w 10505529"/>
              <a:gd name="connsiteY17486" fmla="*/ 4572677 h 7458372"/>
              <a:gd name="connsiteX17487" fmla="*/ 5709483 w 10505529"/>
              <a:gd name="connsiteY17487" fmla="*/ 4579067 h 7458372"/>
              <a:gd name="connsiteX17488" fmla="*/ 5715606 w 10505529"/>
              <a:gd name="connsiteY17488" fmla="*/ 4588385 h 7458372"/>
              <a:gd name="connsiteX17489" fmla="*/ 5717869 w 10505529"/>
              <a:gd name="connsiteY17489" fmla="*/ 4599833 h 7458372"/>
              <a:gd name="connsiteX17490" fmla="*/ 5715606 w 10505529"/>
              <a:gd name="connsiteY17490" fmla="*/ 4611548 h 7458372"/>
              <a:gd name="connsiteX17491" fmla="*/ 5709483 w 10505529"/>
              <a:gd name="connsiteY17491" fmla="*/ 4620866 h 7458372"/>
              <a:gd name="connsiteX17492" fmla="*/ 5700165 w 10505529"/>
              <a:gd name="connsiteY17492" fmla="*/ 4627123 h 7458372"/>
              <a:gd name="connsiteX17493" fmla="*/ 5688451 w 10505529"/>
              <a:gd name="connsiteY17493" fmla="*/ 4629386 h 7458372"/>
              <a:gd name="connsiteX17494" fmla="*/ 5666618 w 10505529"/>
              <a:gd name="connsiteY17494" fmla="*/ 4620866 h 7458372"/>
              <a:gd name="connsiteX17495" fmla="*/ 5658232 w 10505529"/>
              <a:gd name="connsiteY17495" fmla="*/ 4599700 h 7458372"/>
              <a:gd name="connsiteX17496" fmla="*/ 5666618 w 10505529"/>
              <a:gd name="connsiteY17496" fmla="*/ 4578667 h 7458372"/>
              <a:gd name="connsiteX17497" fmla="*/ 5688451 w 10505529"/>
              <a:gd name="connsiteY17497" fmla="*/ 4570015 h 7458372"/>
              <a:gd name="connsiteX17498" fmla="*/ 5470806 w 10505529"/>
              <a:gd name="connsiteY17498" fmla="*/ 4570015 h 7458372"/>
              <a:gd name="connsiteX17499" fmla="*/ 5482520 w 10505529"/>
              <a:gd name="connsiteY17499" fmla="*/ 4572677 h 7458372"/>
              <a:gd name="connsiteX17500" fmla="*/ 5491838 w 10505529"/>
              <a:gd name="connsiteY17500" fmla="*/ 4579067 h 7458372"/>
              <a:gd name="connsiteX17501" fmla="*/ 5497961 w 10505529"/>
              <a:gd name="connsiteY17501" fmla="*/ 4588385 h 7458372"/>
              <a:gd name="connsiteX17502" fmla="*/ 5500224 w 10505529"/>
              <a:gd name="connsiteY17502" fmla="*/ 4599833 h 7458372"/>
              <a:gd name="connsiteX17503" fmla="*/ 5497961 w 10505529"/>
              <a:gd name="connsiteY17503" fmla="*/ 4611548 h 7458372"/>
              <a:gd name="connsiteX17504" fmla="*/ 5491838 w 10505529"/>
              <a:gd name="connsiteY17504" fmla="*/ 4620866 h 7458372"/>
              <a:gd name="connsiteX17505" fmla="*/ 5482520 w 10505529"/>
              <a:gd name="connsiteY17505" fmla="*/ 4627123 h 7458372"/>
              <a:gd name="connsiteX17506" fmla="*/ 5470806 w 10505529"/>
              <a:gd name="connsiteY17506" fmla="*/ 4629386 h 7458372"/>
              <a:gd name="connsiteX17507" fmla="*/ 5448973 w 10505529"/>
              <a:gd name="connsiteY17507" fmla="*/ 4620866 h 7458372"/>
              <a:gd name="connsiteX17508" fmla="*/ 5440587 w 10505529"/>
              <a:gd name="connsiteY17508" fmla="*/ 4599700 h 7458372"/>
              <a:gd name="connsiteX17509" fmla="*/ 5448973 w 10505529"/>
              <a:gd name="connsiteY17509" fmla="*/ 4578667 h 7458372"/>
              <a:gd name="connsiteX17510" fmla="*/ 5470806 w 10505529"/>
              <a:gd name="connsiteY17510" fmla="*/ 4570015 h 7458372"/>
              <a:gd name="connsiteX17511" fmla="*/ 5253160 w 10505529"/>
              <a:gd name="connsiteY17511" fmla="*/ 4570015 h 7458372"/>
              <a:gd name="connsiteX17512" fmla="*/ 5264875 w 10505529"/>
              <a:gd name="connsiteY17512" fmla="*/ 4572677 h 7458372"/>
              <a:gd name="connsiteX17513" fmla="*/ 5274192 w 10505529"/>
              <a:gd name="connsiteY17513" fmla="*/ 4579067 h 7458372"/>
              <a:gd name="connsiteX17514" fmla="*/ 5280316 w 10505529"/>
              <a:gd name="connsiteY17514" fmla="*/ 4588385 h 7458372"/>
              <a:gd name="connsiteX17515" fmla="*/ 5282579 w 10505529"/>
              <a:gd name="connsiteY17515" fmla="*/ 4599833 h 7458372"/>
              <a:gd name="connsiteX17516" fmla="*/ 5280316 w 10505529"/>
              <a:gd name="connsiteY17516" fmla="*/ 4611548 h 7458372"/>
              <a:gd name="connsiteX17517" fmla="*/ 5274192 w 10505529"/>
              <a:gd name="connsiteY17517" fmla="*/ 4620866 h 7458372"/>
              <a:gd name="connsiteX17518" fmla="*/ 5264875 w 10505529"/>
              <a:gd name="connsiteY17518" fmla="*/ 4627123 h 7458372"/>
              <a:gd name="connsiteX17519" fmla="*/ 5253160 w 10505529"/>
              <a:gd name="connsiteY17519" fmla="*/ 4629386 h 7458372"/>
              <a:gd name="connsiteX17520" fmla="*/ 5231328 w 10505529"/>
              <a:gd name="connsiteY17520" fmla="*/ 4620866 h 7458372"/>
              <a:gd name="connsiteX17521" fmla="*/ 5222942 w 10505529"/>
              <a:gd name="connsiteY17521" fmla="*/ 4599700 h 7458372"/>
              <a:gd name="connsiteX17522" fmla="*/ 5231328 w 10505529"/>
              <a:gd name="connsiteY17522" fmla="*/ 4578667 h 7458372"/>
              <a:gd name="connsiteX17523" fmla="*/ 5253160 w 10505529"/>
              <a:gd name="connsiteY17523" fmla="*/ 4570015 h 7458372"/>
              <a:gd name="connsiteX17524" fmla="*/ 5035515 w 10505529"/>
              <a:gd name="connsiteY17524" fmla="*/ 4570015 h 7458372"/>
              <a:gd name="connsiteX17525" fmla="*/ 5047230 w 10505529"/>
              <a:gd name="connsiteY17525" fmla="*/ 4572677 h 7458372"/>
              <a:gd name="connsiteX17526" fmla="*/ 5056548 w 10505529"/>
              <a:gd name="connsiteY17526" fmla="*/ 4579067 h 7458372"/>
              <a:gd name="connsiteX17527" fmla="*/ 5062671 w 10505529"/>
              <a:gd name="connsiteY17527" fmla="*/ 4588385 h 7458372"/>
              <a:gd name="connsiteX17528" fmla="*/ 5064934 w 10505529"/>
              <a:gd name="connsiteY17528" fmla="*/ 4599833 h 7458372"/>
              <a:gd name="connsiteX17529" fmla="*/ 5062671 w 10505529"/>
              <a:gd name="connsiteY17529" fmla="*/ 4611548 h 7458372"/>
              <a:gd name="connsiteX17530" fmla="*/ 5056548 w 10505529"/>
              <a:gd name="connsiteY17530" fmla="*/ 4620866 h 7458372"/>
              <a:gd name="connsiteX17531" fmla="*/ 5047230 w 10505529"/>
              <a:gd name="connsiteY17531" fmla="*/ 4627123 h 7458372"/>
              <a:gd name="connsiteX17532" fmla="*/ 5035515 w 10505529"/>
              <a:gd name="connsiteY17532" fmla="*/ 4629386 h 7458372"/>
              <a:gd name="connsiteX17533" fmla="*/ 5013683 w 10505529"/>
              <a:gd name="connsiteY17533" fmla="*/ 4620866 h 7458372"/>
              <a:gd name="connsiteX17534" fmla="*/ 5005297 w 10505529"/>
              <a:gd name="connsiteY17534" fmla="*/ 4599700 h 7458372"/>
              <a:gd name="connsiteX17535" fmla="*/ 5013683 w 10505529"/>
              <a:gd name="connsiteY17535" fmla="*/ 4578667 h 7458372"/>
              <a:gd name="connsiteX17536" fmla="*/ 5035515 w 10505529"/>
              <a:gd name="connsiteY17536" fmla="*/ 4570015 h 7458372"/>
              <a:gd name="connsiteX17537" fmla="*/ 4817870 w 10505529"/>
              <a:gd name="connsiteY17537" fmla="*/ 4570015 h 7458372"/>
              <a:gd name="connsiteX17538" fmla="*/ 4829585 w 10505529"/>
              <a:gd name="connsiteY17538" fmla="*/ 4572677 h 7458372"/>
              <a:gd name="connsiteX17539" fmla="*/ 4838903 w 10505529"/>
              <a:gd name="connsiteY17539" fmla="*/ 4579067 h 7458372"/>
              <a:gd name="connsiteX17540" fmla="*/ 4845026 w 10505529"/>
              <a:gd name="connsiteY17540" fmla="*/ 4588385 h 7458372"/>
              <a:gd name="connsiteX17541" fmla="*/ 4847289 w 10505529"/>
              <a:gd name="connsiteY17541" fmla="*/ 4599833 h 7458372"/>
              <a:gd name="connsiteX17542" fmla="*/ 4845026 w 10505529"/>
              <a:gd name="connsiteY17542" fmla="*/ 4611548 h 7458372"/>
              <a:gd name="connsiteX17543" fmla="*/ 4838903 w 10505529"/>
              <a:gd name="connsiteY17543" fmla="*/ 4620866 h 7458372"/>
              <a:gd name="connsiteX17544" fmla="*/ 4829585 w 10505529"/>
              <a:gd name="connsiteY17544" fmla="*/ 4627123 h 7458372"/>
              <a:gd name="connsiteX17545" fmla="*/ 4817870 w 10505529"/>
              <a:gd name="connsiteY17545" fmla="*/ 4629386 h 7458372"/>
              <a:gd name="connsiteX17546" fmla="*/ 4796038 w 10505529"/>
              <a:gd name="connsiteY17546" fmla="*/ 4620866 h 7458372"/>
              <a:gd name="connsiteX17547" fmla="*/ 4787652 w 10505529"/>
              <a:gd name="connsiteY17547" fmla="*/ 4599700 h 7458372"/>
              <a:gd name="connsiteX17548" fmla="*/ 4796038 w 10505529"/>
              <a:gd name="connsiteY17548" fmla="*/ 4578667 h 7458372"/>
              <a:gd name="connsiteX17549" fmla="*/ 4817870 w 10505529"/>
              <a:gd name="connsiteY17549" fmla="*/ 4570015 h 7458372"/>
              <a:gd name="connsiteX17550" fmla="*/ 4600226 w 10505529"/>
              <a:gd name="connsiteY17550" fmla="*/ 4570015 h 7458372"/>
              <a:gd name="connsiteX17551" fmla="*/ 4612073 w 10505529"/>
              <a:gd name="connsiteY17551" fmla="*/ 4572677 h 7458372"/>
              <a:gd name="connsiteX17552" fmla="*/ 4621391 w 10505529"/>
              <a:gd name="connsiteY17552" fmla="*/ 4579067 h 7458372"/>
              <a:gd name="connsiteX17553" fmla="*/ 4627514 w 10505529"/>
              <a:gd name="connsiteY17553" fmla="*/ 4588385 h 7458372"/>
              <a:gd name="connsiteX17554" fmla="*/ 4629777 w 10505529"/>
              <a:gd name="connsiteY17554" fmla="*/ 4599833 h 7458372"/>
              <a:gd name="connsiteX17555" fmla="*/ 4627514 w 10505529"/>
              <a:gd name="connsiteY17555" fmla="*/ 4611548 h 7458372"/>
              <a:gd name="connsiteX17556" fmla="*/ 4621391 w 10505529"/>
              <a:gd name="connsiteY17556" fmla="*/ 4620866 h 7458372"/>
              <a:gd name="connsiteX17557" fmla="*/ 4612073 w 10505529"/>
              <a:gd name="connsiteY17557" fmla="*/ 4627123 h 7458372"/>
              <a:gd name="connsiteX17558" fmla="*/ 4600226 w 10505529"/>
              <a:gd name="connsiteY17558" fmla="*/ 4629386 h 7458372"/>
              <a:gd name="connsiteX17559" fmla="*/ 4578393 w 10505529"/>
              <a:gd name="connsiteY17559" fmla="*/ 4620866 h 7458372"/>
              <a:gd name="connsiteX17560" fmla="*/ 4570007 w 10505529"/>
              <a:gd name="connsiteY17560" fmla="*/ 4599700 h 7458372"/>
              <a:gd name="connsiteX17561" fmla="*/ 4578393 w 10505529"/>
              <a:gd name="connsiteY17561" fmla="*/ 4578667 h 7458372"/>
              <a:gd name="connsiteX17562" fmla="*/ 4600226 w 10505529"/>
              <a:gd name="connsiteY17562" fmla="*/ 4570015 h 7458372"/>
              <a:gd name="connsiteX17563" fmla="*/ 4382713 w 10505529"/>
              <a:gd name="connsiteY17563" fmla="*/ 4570015 h 7458372"/>
              <a:gd name="connsiteX17564" fmla="*/ 4394428 w 10505529"/>
              <a:gd name="connsiteY17564" fmla="*/ 4572677 h 7458372"/>
              <a:gd name="connsiteX17565" fmla="*/ 4403746 w 10505529"/>
              <a:gd name="connsiteY17565" fmla="*/ 4579067 h 7458372"/>
              <a:gd name="connsiteX17566" fmla="*/ 4409869 w 10505529"/>
              <a:gd name="connsiteY17566" fmla="*/ 4588385 h 7458372"/>
              <a:gd name="connsiteX17567" fmla="*/ 4412132 w 10505529"/>
              <a:gd name="connsiteY17567" fmla="*/ 4599833 h 7458372"/>
              <a:gd name="connsiteX17568" fmla="*/ 4409869 w 10505529"/>
              <a:gd name="connsiteY17568" fmla="*/ 4611548 h 7458372"/>
              <a:gd name="connsiteX17569" fmla="*/ 4403746 w 10505529"/>
              <a:gd name="connsiteY17569" fmla="*/ 4620866 h 7458372"/>
              <a:gd name="connsiteX17570" fmla="*/ 4394428 w 10505529"/>
              <a:gd name="connsiteY17570" fmla="*/ 4627123 h 7458372"/>
              <a:gd name="connsiteX17571" fmla="*/ 4382713 w 10505529"/>
              <a:gd name="connsiteY17571" fmla="*/ 4629386 h 7458372"/>
              <a:gd name="connsiteX17572" fmla="*/ 4360881 w 10505529"/>
              <a:gd name="connsiteY17572" fmla="*/ 4620866 h 7458372"/>
              <a:gd name="connsiteX17573" fmla="*/ 4352495 w 10505529"/>
              <a:gd name="connsiteY17573" fmla="*/ 4599700 h 7458372"/>
              <a:gd name="connsiteX17574" fmla="*/ 4360881 w 10505529"/>
              <a:gd name="connsiteY17574" fmla="*/ 4578667 h 7458372"/>
              <a:gd name="connsiteX17575" fmla="*/ 4382713 w 10505529"/>
              <a:gd name="connsiteY17575" fmla="*/ 4570015 h 7458372"/>
              <a:gd name="connsiteX17576" fmla="*/ 4165068 w 10505529"/>
              <a:gd name="connsiteY17576" fmla="*/ 4570015 h 7458372"/>
              <a:gd name="connsiteX17577" fmla="*/ 4176782 w 10505529"/>
              <a:gd name="connsiteY17577" fmla="*/ 4572677 h 7458372"/>
              <a:gd name="connsiteX17578" fmla="*/ 4186100 w 10505529"/>
              <a:gd name="connsiteY17578" fmla="*/ 4579067 h 7458372"/>
              <a:gd name="connsiteX17579" fmla="*/ 4192223 w 10505529"/>
              <a:gd name="connsiteY17579" fmla="*/ 4588385 h 7458372"/>
              <a:gd name="connsiteX17580" fmla="*/ 4194486 w 10505529"/>
              <a:gd name="connsiteY17580" fmla="*/ 4599833 h 7458372"/>
              <a:gd name="connsiteX17581" fmla="*/ 4192223 w 10505529"/>
              <a:gd name="connsiteY17581" fmla="*/ 4611548 h 7458372"/>
              <a:gd name="connsiteX17582" fmla="*/ 4186100 w 10505529"/>
              <a:gd name="connsiteY17582" fmla="*/ 4620866 h 7458372"/>
              <a:gd name="connsiteX17583" fmla="*/ 4176782 w 10505529"/>
              <a:gd name="connsiteY17583" fmla="*/ 4627123 h 7458372"/>
              <a:gd name="connsiteX17584" fmla="*/ 4165068 w 10505529"/>
              <a:gd name="connsiteY17584" fmla="*/ 4629386 h 7458372"/>
              <a:gd name="connsiteX17585" fmla="*/ 4143235 w 10505529"/>
              <a:gd name="connsiteY17585" fmla="*/ 4620866 h 7458372"/>
              <a:gd name="connsiteX17586" fmla="*/ 4134849 w 10505529"/>
              <a:gd name="connsiteY17586" fmla="*/ 4599700 h 7458372"/>
              <a:gd name="connsiteX17587" fmla="*/ 4143235 w 10505529"/>
              <a:gd name="connsiteY17587" fmla="*/ 4578667 h 7458372"/>
              <a:gd name="connsiteX17588" fmla="*/ 4165068 w 10505529"/>
              <a:gd name="connsiteY17588" fmla="*/ 4570015 h 7458372"/>
              <a:gd name="connsiteX17589" fmla="*/ 3947674 w 10505529"/>
              <a:gd name="connsiteY17589" fmla="*/ 4570015 h 7458372"/>
              <a:gd name="connsiteX17590" fmla="*/ 3959392 w 10505529"/>
              <a:gd name="connsiteY17590" fmla="*/ 4572677 h 7458372"/>
              <a:gd name="connsiteX17591" fmla="*/ 3968710 w 10505529"/>
              <a:gd name="connsiteY17591" fmla="*/ 4579067 h 7458372"/>
              <a:gd name="connsiteX17592" fmla="*/ 3974834 w 10505529"/>
              <a:gd name="connsiteY17592" fmla="*/ 4588385 h 7458372"/>
              <a:gd name="connsiteX17593" fmla="*/ 3977097 w 10505529"/>
              <a:gd name="connsiteY17593" fmla="*/ 4599833 h 7458372"/>
              <a:gd name="connsiteX17594" fmla="*/ 3974834 w 10505529"/>
              <a:gd name="connsiteY17594" fmla="*/ 4611548 h 7458372"/>
              <a:gd name="connsiteX17595" fmla="*/ 3968710 w 10505529"/>
              <a:gd name="connsiteY17595" fmla="*/ 4620866 h 7458372"/>
              <a:gd name="connsiteX17596" fmla="*/ 3959392 w 10505529"/>
              <a:gd name="connsiteY17596" fmla="*/ 4627123 h 7458372"/>
              <a:gd name="connsiteX17597" fmla="*/ 3947674 w 10505529"/>
              <a:gd name="connsiteY17597" fmla="*/ 4629386 h 7458372"/>
              <a:gd name="connsiteX17598" fmla="*/ 3925842 w 10505529"/>
              <a:gd name="connsiteY17598" fmla="*/ 4620866 h 7458372"/>
              <a:gd name="connsiteX17599" fmla="*/ 3917456 w 10505529"/>
              <a:gd name="connsiteY17599" fmla="*/ 4599700 h 7458372"/>
              <a:gd name="connsiteX17600" fmla="*/ 3925842 w 10505529"/>
              <a:gd name="connsiteY17600" fmla="*/ 4578667 h 7458372"/>
              <a:gd name="connsiteX17601" fmla="*/ 3947674 w 10505529"/>
              <a:gd name="connsiteY17601" fmla="*/ 4570015 h 7458372"/>
              <a:gd name="connsiteX17602" fmla="*/ 3730018 w 10505529"/>
              <a:gd name="connsiteY17602" fmla="*/ 4570015 h 7458372"/>
              <a:gd name="connsiteX17603" fmla="*/ 3741733 w 10505529"/>
              <a:gd name="connsiteY17603" fmla="*/ 4572677 h 7458372"/>
              <a:gd name="connsiteX17604" fmla="*/ 3751052 w 10505529"/>
              <a:gd name="connsiteY17604" fmla="*/ 4579067 h 7458372"/>
              <a:gd name="connsiteX17605" fmla="*/ 3757175 w 10505529"/>
              <a:gd name="connsiteY17605" fmla="*/ 4588385 h 7458372"/>
              <a:gd name="connsiteX17606" fmla="*/ 3759438 w 10505529"/>
              <a:gd name="connsiteY17606" fmla="*/ 4599833 h 7458372"/>
              <a:gd name="connsiteX17607" fmla="*/ 3757175 w 10505529"/>
              <a:gd name="connsiteY17607" fmla="*/ 4611548 h 7458372"/>
              <a:gd name="connsiteX17608" fmla="*/ 3751052 w 10505529"/>
              <a:gd name="connsiteY17608" fmla="*/ 4620866 h 7458372"/>
              <a:gd name="connsiteX17609" fmla="*/ 3741733 w 10505529"/>
              <a:gd name="connsiteY17609" fmla="*/ 4627123 h 7458372"/>
              <a:gd name="connsiteX17610" fmla="*/ 3730018 w 10505529"/>
              <a:gd name="connsiteY17610" fmla="*/ 4629386 h 7458372"/>
              <a:gd name="connsiteX17611" fmla="*/ 3708180 w 10505529"/>
              <a:gd name="connsiteY17611" fmla="*/ 4620866 h 7458372"/>
              <a:gd name="connsiteX17612" fmla="*/ 3699793 w 10505529"/>
              <a:gd name="connsiteY17612" fmla="*/ 4599700 h 7458372"/>
              <a:gd name="connsiteX17613" fmla="*/ 3708180 w 10505529"/>
              <a:gd name="connsiteY17613" fmla="*/ 4578667 h 7458372"/>
              <a:gd name="connsiteX17614" fmla="*/ 3730018 w 10505529"/>
              <a:gd name="connsiteY17614" fmla="*/ 4570015 h 7458372"/>
              <a:gd name="connsiteX17615" fmla="*/ 3512359 w 10505529"/>
              <a:gd name="connsiteY17615" fmla="*/ 4570015 h 7458372"/>
              <a:gd name="connsiteX17616" fmla="*/ 3524075 w 10505529"/>
              <a:gd name="connsiteY17616" fmla="*/ 4572677 h 7458372"/>
              <a:gd name="connsiteX17617" fmla="*/ 3533393 w 10505529"/>
              <a:gd name="connsiteY17617" fmla="*/ 4579067 h 7458372"/>
              <a:gd name="connsiteX17618" fmla="*/ 3539517 w 10505529"/>
              <a:gd name="connsiteY17618" fmla="*/ 4588385 h 7458372"/>
              <a:gd name="connsiteX17619" fmla="*/ 3541780 w 10505529"/>
              <a:gd name="connsiteY17619" fmla="*/ 4599833 h 7458372"/>
              <a:gd name="connsiteX17620" fmla="*/ 3539517 w 10505529"/>
              <a:gd name="connsiteY17620" fmla="*/ 4611548 h 7458372"/>
              <a:gd name="connsiteX17621" fmla="*/ 3533393 w 10505529"/>
              <a:gd name="connsiteY17621" fmla="*/ 4620866 h 7458372"/>
              <a:gd name="connsiteX17622" fmla="*/ 3524075 w 10505529"/>
              <a:gd name="connsiteY17622" fmla="*/ 4627123 h 7458372"/>
              <a:gd name="connsiteX17623" fmla="*/ 3512359 w 10505529"/>
              <a:gd name="connsiteY17623" fmla="*/ 4629386 h 7458372"/>
              <a:gd name="connsiteX17624" fmla="*/ 3490524 w 10505529"/>
              <a:gd name="connsiteY17624" fmla="*/ 4620866 h 7458372"/>
              <a:gd name="connsiteX17625" fmla="*/ 3482137 w 10505529"/>
              <a:gd name="connsiteY17625" fmla="*/ 4599700 h 7458372"/>
              <a:gd name="connsiteX17626" fmla="*/ 3490524 w 10505529"/>
              <a:gd name="connsiteY17626" fmla="*/ 4578667 h 7458372"/>
              <a:gd name="connsiteX17627" fmla="*/ 3512359 w 10505529"/>
              <a:gd name="connsiteY17627" fmla="*/ 4570015 h 7458372"/>
              <a:gd name="connsiteX17628" fmla="*/ 3294835 w 10505529"/>
              <a:gd name="connsiteY17628" fmla="*/ 4570015 h 7458372"/>
              <a:gd name="connsiteX17629" fmla="*/ 3306550 w 10505529"/>
              <a:gd name="connsiteY17629" fmla="*/ 4572677 h 7458372"/>
              <a:gd name="connsiteX17630" fmla="*/ 3315868 w 10505529"/>
              <a:gd name="connsiteY17630" fmla="*/ 4579067 h 7458372"/>
              <a:gd name="connsiteX17631" fmla="*/ 3321992 w 10505529"/>
              <a:gd name="connsiteY17631" fmla="*/ 4588385 h 7458372"/>
              <a:gd name="connsiteX17632" fmla="*/ 3324255 w 10505529"/>
              <a:gd name="connsiteY17632" fmla="*/ 4599833 h 7458372"/>
              <a:gd name="connsiteX17633" fmla="*/ 3321992 w 10505529"/>
              <a:gd name="connsiteY17633" fmla="*/ 4611548 h 7458372"/>
              <a:gd name="connsiteX17634" fmla="*/ 3315868 w 10505529"/>
              <a:gd name="connsiteY17634" fmla="*/ 4620866 h 7458372"/>
              <a:gd name="connsiteX17635" fmla="*/ 3306550 w 10505529"/>
              <a:gd name="connsiteY17635" fmla="*/ 4627123 h 7458372"/>
              <a:gd name="connsiteX17636" fmla="*/ 3294835 w 10505529"/>
              <a:gd name="connsiteY17636" fmla="*/ 4629386 h 7458372"/>
              <a:gd name="connsiteX17637" fmla="*/ 3272997 w 10505529"/>
              <a:gd name="connsiteY17637" fmla="*/ 4620866 h 7458372"/>
              <a:gd name="connsiteX17638" fmla="*/ 3264610 w 10505529"/>
              <a:gd name="connsiteY17638" fmla="*/ 4599700 h 7458372"/>
              <a:gd name="connsiteX17639" fmla="*/ 3272997 w 10505529"/>
              <a:gd name="connsiteY17639" fmla="*/ 4578667 h 7458372"/>
              <a:gd name="connsiteX17640" fmla="*/ 3294835 w 10505529"/>
              <a:gd name="connsiteY17640" fmla="*/ 4570015 h 7458372"/>
              <a:gd name="connsiteX17641" fmla="*/ 3077176 w 10505529"/>
              <a:gd name="connsiteY17641" fmla="*/ 4570015 h 7458372"/>
              <a:gd name="connsiteX17642" fmla="*/ 3088892 w 10505529"/>
              <a:gd name="connsiteY17642" fmla="*/ 4572677 h 7458372"/>
              <a:gd name="connsiteX17643" fmla="*/ 3098210 w 10505529"/>
              <a:gd name="connsiteY17643" fmla="*/ 4579067 h 7458372"/>
              <a:gd name="connsiteX17644" fmla="*/ 3104333 w 10505529"/>
              <a:gd name="connsiteY17644" fmla="*/ 4588385 h 7458372"/>
              <a:gd name="connsiteX17645" fmla="*/ 3106596 w 10505529"/>
              <a:gd name="connsiteY17645" fmla="*/ 4599833 h 7458372"/>
              <a:gd name="connsiteX17646" fmla="*/ 3104333 w 10505529"/>
              <a:gd name="connsiteY17646" fmla="*/ 4611548 h 7458372"/>
              <a:gd name="connsiteX17647" fmla="*/ 3098210 w 10505529"/>
              <a:gd name="connsiteY17647" fmla="*/ 4620866 h 7458372"/>
              <a:gd name="connsiteX17648" fmla="*/ 3088892 w 10505529"/>
              <a:gd name="connsiteY17648" fmla="*/ 4627123 h 7458372"/>
              <a:gd name="connsiteX17649" fmla="*/ 3077176 w 10505529"/>
              <a:gd name="connsiteY17649" fmla="*/ 4629386 h 7458372"/>
              <a:gd name="connsiteX17650" fmla="*/ 3055339 w 10505529"/>
              <a:gd name="connsiteY17650" fmla="*/ 4620866 h 7458372"/>
              <a:gd name="connsiteX17651" fmla="*/ 3046953 w 10505529"/>
              <a:gd name="connsiteY17651" fmla="*/ 4599700 h 7458372"/>
              <a:gd name="connsiteX17652" fmla="*/ 3055339 w 10505529"/>
              <a:gd name="connsiteY17652" fmla="*/ 4578667 h 7458372"/>
              <a:gd name="connsiteX17653" fmla="*/ 3077176 w 10505529"/>
              <a:gd name="connsiteY17653" fmla="*/ 4570015 h 7458372"/>
              <a:gd name="connsiteX17654" fmla="*/ 2859518 w 10505529"/>
              <a:gd name="connsiteY17654" fmla="*/ 4570015 h 7458372"/>
              <a:gd name="connsiteX17655" fmla="*/ 2871367 w 10505529"/>
              <a:gd name="connsiteY17655" fmla="*/ 4572677 h 7458372"/>
              <a:gd name="connsiteX17656" fmla="*/ 2880685 w 10505529"/>
              <a:gd name="connsiteY17656" fmla="*/ 4579067 h 7458372"/>
              <a:gd name="connsiteX17657" fmla="*/ 2886808 w 10505529"/>
              <a:gd name="connsiteY17657" fmla="*/ 4588385 h 7458372"/>
              <a:gd name="connsiteX17658" fmla="*/ 2889071 w 10505529"/>
              <a:gd name="connsiteY17658" fmla="*/ 4599833 h 7458372"/>
              <a:gd name="connsiteX17659" fmla="*/ 2886808 w 10505529"/>
              <a:gd name="connsiteY17659" fmla="*/ 4611548 h 7458372"/>
              <a:gd name="connsiteX17660" fmla="*/ 2880685 w 10505529"/>
              <a:gd name="connsiteY17660" fmla="*/ 4620866 h 7458372"/>
              <a:gd name="connsiteX17661" fmla="*/ 2871367 w 10505529"/>
              <a:gd name="connsiteY17661" fmla="*/ 4627123 h 7458372"/>
              <a:gd name="connsiteX17662" fmla="*/ 2859518 w 10505529"/>
              <a:gd name="connsiteY17662" fmla="*/ 4629386 h 7458372"/>
              <a:gd name="connsiteX17663" fmla="*/ 2837682 w 10505529"/>
              <a:gd name="connsiteY17663" fmla="*/ 4620866 h 7458372"/>
              <a:gd name="connsiteX17664" fmla="*/ 2829294 w 10505529"/>
              <a:gd name="connsiteY17664" fmla="*/ 4599700 h 7458372"/>
              <a:gd name="connsiteX17665" fmla="*/ 2837682 w 10505529"/>
              <a:gd name="connsiteY17665" fmla="*/ 4578667 h 7458372"/>
              <a:gd name="connsiteX17666" fmla="*/ 2859518 w 10505529"/>
              <a:gd name="connsiteY17666" fmla="*/ 4570015 h 7458372"/>
              <a:gd name="connsiteX17667" fmla="*/ 2641860 w 10505529"/>
              <a:gd name="connsiteY17667" fmla="*/ 4570015 h 7458372"/>
              <a:gd name="connsiteX17668" fmla="*/ 2653576 w 10505529"/>
              <a:gd name="connsiteY17668" fmla="*/ 4572677 h 7458372"/>
              <a:gd name="connsiteX17669" fmla="*/ 2662893 w 10505529"/>
              <a:gd name="connsiteY17669" fmla="*/ 4579067 h 7458372"/>
              <a:gd name="connsiteX17670" fmla="*/ 2669017 w 10505529"/>
              <a:gd name="connsiteY17670" fmla="*/ 4588385 h 7458372"/>
              <a:gd name="connsiteX17671" fmla="*/ 2671280 w 10505529"/>
              <a:gd name="connsiteY17671" fmla="*/ 4599833 h 7458372"/>
              <a:gd name="connsiteX17672" fmla="*/ 2669017 w 10505529"/>
              <a:gd name="connsiteY17672" fmla="*/ 4611548 h 7458372"/>
              <a:gd name="connsiteX17673" fmla="*/ 2662893 w 10505529"/>
              <a:gd name="connsiteY17673" fmla="*/ 4620866 h 7458372"/>
              <a:gd name="connsiteX17674" fmla="*/ 2653576 w 10505529"/>
              <a:gd name="connsiteY17674" fmla="*/ 4627123 h 7458372"/>
              <a:gd name="connsiteX17675" fmla="*/ 2641860 w 10505529"/>
              <a:gd name="connsiteY17675" fmla="*/ 4629386 h 7458372"/>
              <a:gd name="connsiteX17676" fmla="*/ 2620027 w 10505529"/>
              <a:gd name="connsiteY17676" fmla="*/ 4620866 h 7458372"/>
              <a:gd name="connsiteX17677" fmla="*/ 2611637 w 10505529"/>
              <a:gd name="connsiteY17677" fmla="*/ 4599700 h 7458372"/>
              <a:gd name="connsiteX17678" fmla="*/ 2620027 w 10505529"/>
              <a:gd name="connsiteY17678" fmla="*/ 4578667 h 7458372"/>
              <a:gd name="connsiteX17679" fmla="*/ 2641860 w 10505529"/>
              <a:gd name="connsiteY17679" fmla="*/ 4570015 h 7458372"/>
              <a:gd name="connsiteX17680" fmla="*/ 2424201 w 10505529"/>
              <a:gd name="connsiteY17680" fmla="*/ 4570015 h 7458372"/>
              <a:gd name="connsiteX17681" fmla="*/ 2435917 w 10505529"/>
              <a:gd name="connsiteY17681" fmla="*/ 4572677 h 7458372"/>
              <a:gd name="connsiteX17682" fmla="*/ 2445235 w 10505529"/>
              <a:gd name="connsiteY17682" fmla="*/ 4579067 h 7458372"/>
              <a:gd name="connsiteX17683" fmla="*/ 2451358 w 10505529"/>
              <a:gd name="connsiteY17683" fmla="*/ 4588385 h 7458372"/>
              <a:gd name="connsiteX17684" fmla="*/ 2453621 w 10505529"/>
              <a:gd name="connsiteY17684" fmla="*/ 4599833 h 7458372"/>
              <a:gd name="connsiteX17685" fmla="*/ 2451358 w 10505529"/>
              <a:gd name="connsiteY17685" fmla="*/ 4611548 h 7458372"/>
              <a:gd name="connsiteX17686" fmla="*/ 2445235 w 10505529"/>
              <a:gd name="connsiteY17686" fmla="*/ 4620866 h 7458372"/>
              <a:gd name="connsiteX17687" fmla="*/ 2435917 w 10505529"/>
              <a:gd name="connsiteY17687" fmla="*/ 4627123 h 7458372"/>
              <a:gd name="connsiteX17688" fmla="*/ 2424201 w 10505529"/>
              <a:gd name="connsiteY17688" fmla="*/ 4629386 h 7458372"/>
              <a:gd name="connsiteX17689" fmla="*/ 2402370 w 10505529"/>
              <a:gd name="connsiteY17689" fmla="*/ 4620866 h 7458372"/>
              <a:gd name="connsiteX17690" fmla="*/ 2393981 w 10505529"/>
              <a:gd name="connsiteY17690" fmla="*/ 4599700 h 7458372"/>
              <a:gd name="connsiteX17691" fmla="*/ 2402370 w 10505529"/>
              <a:gd name="connsiteY17691" fmla="*/ 4578667 h 7458372"/>
              <a:gd name="connsiteX17692" fmla="*/ 2424201 w 10505529"/>
              <a:gd name="connsiteY17692" fmla="*/ 4570015 h 7458372"/>
              <a:gd name="connsiteX17693" fmla="*/ 2206544 w 10505529"/>
              <a:gd name="connsiteY17693" fmla="*/ 4570015 h 7458372"/>
              <a:gd name="connsiteX17694" fmla="*/ 2218259 w 10505529"/>
              <a:gd name="connsiteY17694" fmla="*/ 4572677 h 7458372"/>
              <a:gd name="connsiteX17695" fmla="*/ 2227577 w 10505529"/>
              <a:gd name="connsiteY17695" fmla="*/ 4579067 h 7458372"/>
              <a:gd name="connsiteX17696" fmla="*/ 2233700 w 10505529"/>
              <a:gd name="connsiteY17696" fmla="*/ 4588385 h 7458372"/>
              <a:gd name="connsiteX17697" fmla="*/ 2235963 w 10505529"/>
              <a:gd name="connsiteY17697" fmla="*/ 4599833 h 7458372"/>
              <a:gd name="connsiteX17698" fmla="*/ 2233700 w 10505529"/>
              <a:gd name="connsiteY17698" fmla="*/ 4611548 h 7458372"/>
              <a:gd name="connsiteX17699" fmla="*/ 2227577 w 10505529"/>
              <a:gd name="connsiteY17699" fmla="*/ 4620866 h 7458372"/>
              <a:gd name="connsiteX17700" fmla="*/ 2218259 w 10505529"/>
              <a:gd name="connsiteY17700" fmla="*/ 4627123 h 7458372"/>
              <a:gd name="connsiteX17701" fmla="*/ 2206544 w 10505529"/>
              <a:gd name="connsiteY17701" fmla="*/ 4629386 h 7458372"/>
              <a:gd name="connsiteX17702" fmla="*/ 2184710 w 10505529"/>
              <a:gd name="connsiteY17702" fmla="*/ 4620866 h 7458372"/>
              <a:gd name="connsiteX17703" fmla="*/ 2176323 w 10505529"/>
              <a:gd name="connsiteY17703" fmla="*/ 4599700 h 7458372"/>
              <a:gd name="connsiteX17704" fmla="*/ 2184710 w 10505529"/>
              <a:gd name="connsiteY17704" fmla="*/ 4578667 h 7458372"/>
              <a:gd name="connsiteX17705" fmla="*/ 2206544 w 10505529"/>
              <a:gd name="connsiteY17705" fmla="*/ 4570015 h 7458372"/>
              <a:gd name="connsiteX17706" fmla="*/ 1989018 w 10505529"/>
              <a:gd name="connsiteY17706" fmla="*/ 4570015 h 7458372"/>
              <a:gd name="connsiteX17707" fmla="*/ 2000733 w 10505529"/>
              <a:gd name="connsiteY17707" fmla="*/ 4572677 h 7458372"/>
              <a:gd name="connsiteX17708" fmla="*/ 2010051 w 10505529"/>
              <a:gd name="connsiteY17708" fmla="*/ 4579067 h 7458372"/>
              <a:gd name="connsiteX17709" fmla="*/ 2016175 w 10505529"/>
              <a:gd name="connsiteY17709" fmla="*/ 4588385 h 7458372"/>
              <a:gd name="connsiteX17710" fmla="*/ 2018438 w 10505529"/>
              <a:gd name="connsiteY17710" fmla="*/ 4599833 h 7458372"/>
              <a:gd name="connsiteX17711" fmla="*/ 2016175 w 10505529"/>
              <a:gd name="connsiteY17711" fmla="*/ 4611548 h 7458372"/>
              <a:gd name="connsiteX17712" fmla="*/ 2010051 w 10505529"/>
              <a:gd name="connsiteY17712" fmla="*/ 4620866 h 7458372"/>
              <a:gd name="connsiteX17713" fmla="*/ 2000733 w 10505529"/>
              <a:gd name="connsiteY17713" fmla="*/ 4627123 h 7458372"/>
              <a:gd name="connsiteX17714" fmla="*/ 1989018 w 10505529"/>
              <a:gd name="connsiteY17714" fmla="*/ 4629386 h 7458372"/>
              <a:gd name="connsiteX17715" fmla="*/ 1967187 w 10505529"/>
              <a:gd name="connsiteY17715" fmla="*/ 4620866 h 7458372"/>
              <a:gd name="connsiteX17716" fmla="*/ 1958801 w 10505529"/>
              <a:gd name="connsiteY17716" fmla="*/ 4599700 h 7458372"/>
              <a:gd name="connsiteX17717" fmla="*/ 1967187 w 10505529"/>
              <a:gd name="connsiteY17717" fmla="*/ 4578667 h 7458372"/>
              <a:gd name="connsiteX17718" fmla="*/ 1989018 w 10505529"/>
              <a:gd name="connsiteY17718" fmla="*/ 4570015 h 7458372"/>
              <a:gd name="connsiteX17719" fmla="*/ 1771382 w 10505529"/>
              <a:gd name="connsiteY17719" fmla="*/ 4570015 h 7458372"/>
              <a:gd name="connsiteX17720" fmla="*/ 1783096 w 10505529"/>
              <a:gd name="connsiteY17720" fmla="*/ 4572677 h 7458372"/>
              <a:gd name="connsiteX17721" fmla="*/ 1792414 w 10505529"/>
              <a:gd name="connsiteY17721" fmla="*/ 4579067 h 7458372"/>
              <a:gd name="connsiteX17722" fmla="*/ 1798538 w 10505529"/>
              <a:gd name="connsiteY17722" fmla="*/ 4588385 h 7458372"/>
              <a:gd name="connsiteX17723" fmla="*/ 1800800 w 10505529"/>
              <a:gd name="connsiteY17723" fmla="*/ 4599833 h 7458372"/>
              <a:gd name="connsiteX17724" fmla="*/ 1798538 w 10505529"/>
              <a:gd name="connsiteY17724" fmla="*/ 4611548 h 7458372"/>
              <a:gd name="connsiteX17725" fmla="*/ 1792414 w 10505529"/>
              <a:gd name="connsiteY17725" fmla="*/ 4620866 h 7458372"/>
              <a:gd name="connsiteX17726" fmla="*/ 1783096 w 10505529"/>
              <a:gd name="connsiteY17726" fmla="*/ 4627123 h 7458372"/>
              <a:gd name="connsiteX17727" fmla="*/ 1771382 w 10505529"/>
              <a:gd name="connsiteY17727" fmla="*/ 4629386 h 7458372"/>
              <a:gd name="connsiteX17728" fmla="*/ 1749553 w 10505529"/>
              <a:gd name="connsiteY17728" fmla="*/ 4620866 h 7458372"/>
              <a:gd name="connsiteX17729" fmla="*/ 1741169 w 10505529"/>
              <a:gd name="connsiteY17729" fmla="*/ 4599700 h 7458372"/>
              <a:gd name="connsiteX17730" fmla="*/ 1749553 w 10505529"/>
              <a:gd name="connsiteY17730" fmla="*/ 4578667 h 7458372"/>
              <a:gd name="connsiteX17731" fmla="*/ 1771382 w 10505529"/>
              <a:gd name="connsiteY17731" fmla="*/ 4570015 h 7458372"/>
              <a:gd name="connsiteX17732" fmla="*/ 1553744 w 10505529"/>
              <a:gd name="connsiteY17732" fmla="*/ 4570015 h 7458372"/>
              <a:gd name="connsiteX17733" fmla="*/ 1565459 w 10505529"/>
              <a:gd name="connsiteY17733" fmla="*/ 4572677 h 7458372"/>
              <a:gd name="connsiteX17734" fmla="*/ 1574777 w 10505529"/>
              <a:gd name="connsiteY17734" fmla="*/ 4579067 h 7458372"/>
              <a:gd name="connsiteX17735" fmla="*/ 1580900 w 10505529"/>
              <a:gd name="connsiteY17735" fmla="*/ 4588385 h 7458372"/>
              <a:gd name="connsiteX17736" fmla="*/ 1583163 w 10505529"/>
              <a:gd name="connsiteY17736" fmla="*/ 4599833 h 7458372"/>
              <a:gd name="connsiteX17737" fmla="*/ 1580900 w 10505529"/>
              <a:gd name="connsiteY17737" fmla="*/ 4611548 h 7458372"/>
              <a:gd name="connsiteX17738" fmla="*/ 1574777 w 10505529"/>
              <a:gd name="connsiteY17738" fmla="*/ 4620866 h 7458372"/>
              <a:gd name="connsiteX17739" fmla="*/ 1565459 w 10505529"/>
              <a:gd name="connsiteY17739" fmla="*/ 4627123 h 7458372"/>
              <a:gd name="connsiteX17740" fmla="*/ 1553744 w 10505529"/>
              <a:gd name="connsiteY17740" fmla="*/ 4629386 h 7458372"/>
              <a:gd name="connsiteX17741" fmla="*/ 1531914 w 10505529"/>
              <a:gd name="connsiteY17741" fmla="*/ 4620866 h 7458372"/>
              <a:gd name="connsiteX17742" fmla="*/ 1523528 w 10505529"/>
              <a:gd name="connsiteY17742" fmla="*/ 4599700 h 7458372"/>
              <a:gd name="connsiteX17743" fmla="*/ 1531914 w 10505529"/>
              <a:gd name="connsiteY17743" fmla="*/ 4578667 h 7458372"/>
              <a:gd name="connsiteX17744" fmla="*/ 1553744 w 10505529"/>
              <a:gd name="connsiteY17744" fmla="*/ 4570015 h 7458372"/>
              <a:gd name="connsiteX17745" fmla="*/ 1336100 w 10505529"/>
              <a:gd name="connsiteY17745" fmla="*/ 4570015 h 7458372"/>
              <a:gd name="connsiteX17746" fmla="*/ 1347816 w 10505529"/>
              <a:gd name="connsiteY17746" fmla="*/ 4572677 h 7458372"/>
              <a:gd name="connsiteX17747" fmla="*/ 1357134 w 10505529"/>
              <a:gd name="connsiteY17747" fmla="*/ 4579067 h 7458372"/>
              <a:gd name="connsiteX17748" fmla="*/ 1363257 w 10505529"/>
              <a:gd name="connsiteY17748" fmla="*/ 4588385 h 7458372"/>
              <a:gd name="connsiteX17749" fmla="*/ 1365519 w 10505529"/>
              <a:gd name="connsiteY17749" fmla="*/ 4599833 h 7458372"/>
              <a:gd name="connsiteX17750" fmla="*/ 1363257 w 10505529"/>
              <a:gd name="connsiteY17750" fmla="*/ 4611548 h 7458372"/>
              <a:gd name="connsiteX17751" fmla="*/ 1357134 w 10505529"/>
              <a:gd name="connsiteY17751" fmla="*/ 4620866 h 7458372"/>
              <a:gd name="connsiteX17752" fmla="*/ 1347816 w 10505529"/>
              <a:gd name="connsiteY17752" fmla="*/ 4627123 h 7458372"/>
              <a:gd name="connsiteX17753" fmla="*/ 1336100 w 10505529"/>
              <a:gd name="connsiteY17753" fmla="*/ 4629386 h 7458372"/>
              <a:gd name="connsiteX17754" fmla="*/ 1314268 w 10505529"/>
              <a:gd name="connsiteY17754" fmla="*/ 4620866 h 7458372"/>
              <a:gd name="connsiteX17755" fmla="*/ 1305882 w 10505529"/>
              <a:gd name="connsiteY17755" fmla="*/ 4599700 h 7458372"/>
              <a:gd name="connsiteX17756" fmla="*/ 1314268 w 10505529"/>
              <a:gd name="connsiteY17756" fmla="*/ 4578667 h 7458372"/>
              <a:gd name="connsiteX17757" fmla="*/ 1336100 w 10505529"/>
              <a:gd name="connsiteY17757" fmla="*/ 4570015 h 7458372"/>
              <a:gd name="connsiteX17758" fmla="*/ 1118455 w 10505529"/>
              <a:gd name="connsiteY17758" fmla="*/ 4570015 h 7458372"/>
              <a:gd name="connsiteX17759" fmla="*/ 1130172 w 10505529"/>
              <a:gd name="connsiteY17759" fmla="*/ 4572677 h 7458372"/>
              <a:gd name="connsiteX17760" fmla="*/ 1139488 w 10505529"/>
              <a:gd name="connsiteY17760" fmla="*/ 4579067 h 7458372"/>
              <a:gd name="connsiteX17761" fmla="*/ 1145608 w 10505529"/>
              <a:gd name="connsiteY17761" fmla="*/ 4588385 h 7458372"/>
              <a:gd name="connsiteX17762" fmla="*/ 1147872 w 10505529"/>
              <a:gd name="connsiteY17762" fmla="*/ 4599833 h 7458372"/>
              <a:gd name="connsiteX17763" fmla="*/ 1145608 w 10505529"/>
              <a:gd name="connsiteY17763" fmla="*/ 4611548 h 7458372"/>
              <a:gd name="connsiteX17764" fmla="*/ 1139488 w 10505529"/>
              <a:gd name="connsiteY17764" fmla="*/ 4620866 h 7458372"/>
              <a:gd name="connsiteX17765" fmla="*/ 1130172 w 10505529"/>
              <a:gd name="connsiteY17765" fmla="*/ 4627123 h 7458372"/>
              <a:gd name="connsiteX17766" fmla="*/ 1118455 w 10505529"/>
              <a:gd name="connsiteY17766" fmla="*/ 4629386 h 7458372"/>
              <a:gd name="connsiteX17767" fmla="*/ 1096620 w 10505529"/>
              <a:gd name="connsiteY17767" fmla="*/ 4620866 h 7458372"/>
              <a:gd name="connsiteX17768" fmla="*/ 1088236 w 10505529"/>
              <a:gd name="connsiteY17768" fmla="*/ 4599700 h 7458372"/>
              <a:gd name="connsiteX17769" fmla="*/ 1096620 w 10505529"/>
              <a:gd name="connsiteY17769" fmla="*/ 4578667 h 7458372"/>
              <a:gd name="connsiteX17770" fmla="*/ 1118455 w 10505529"/>
              <a:gd name="connsiteY17770" fmla="*/ 4570015 h 7458372"/>
              <a:gd name="connsiteX17771" fmla="*/ 900942 w 10505529"/>
              <a:gd name="connsiteY17771" fmla="*/ 4570015 h 7458372"/>
              <a:gd name="connsiteX17772" fmla="*/ 912657 w 10505529"/>
              <a:gd name="connsiteY17772" fmla="*/ 4572677 h 7458372"/>
              <a:gd name="connsiteX17773" fmla="*/ 921975 w 10505529"/>
              <a:gd name="connsiteY17773" fmla="*/ 4579067 h 7458372"/>
              <a:gd name="connsiteX17774" fmla="*/ 928098 w 10505529"/>
              <a:gd name="connsiteY17774" fmla="*/ 4588385 h 7458372"/>
              <a:gd name="connsiteX17775" fmla="*/ 930361 w 10505529"/>
              <a:gd name="connsiteY17775" fmla="*/ 4599833 h 7458372"/>
              <a:gd name="connsiteX17776" fmla="*/ 928098 w 10505529"/>
              <a:gd name="connsiteY17776" fmla="*/ 4611548 h 7458372"/>
              <a:gd name="connsiteX17777" fmla="*/ 921975 w 10505529"/>
              <a:gd name="connsiteY17777" fmla="*/ 4620866 h 7458372"/>
              <a:gd name="connsiteX17778" fmla="*/ 912657 w 10505529"/>
              <a:gd name="connsiteY17778" fmla="*/ 4627123 h 7458372"/>
              <a:gd name="connsiteX17779" fmla="*/ 900942 w 10505529"/>
              <a:gd name="connsiteY17779" fmla="*/ 4629386 h 7458372"/>
              <a:gd name="connsiteX17780" fmla="*/ 879111 w 10505529"/>
              <a:gd name="connsiteY17780" fmla="*/ 4620866 h 7458372"/>
              <a:gd name="connsiteX17781" fmla="*/ 870726 w 10505529"/>
              <a:gd name="connsiteY17781" fmla="*/ 4599700 h 7458372"/>
              <a:gd name="connsiteX17782" fmla="*/ 879111 w 10505529"/>
              <a:gd name="connsiteY17782" fmla="*/ 4578667 h 7458372"/>
              <a:gd name="connsiteX17783" fmla="*/ 900942 w 10505529"/>
              <a:gd name="connsiteY17783" fmla="*/ 4570015 h 7458372"/>
              <a:gd name="connsiteX17784" fmla="*/ 683301 w 10505529"/>
              <a:gd name="connsiteY17784" fmla="*/ 4570015 h 7458372"/>
              <a:gd name="connsiteX17785" fmla="*/ 695016 w 10505529"/>
              <a:gd name="connsiteY17785" fmla="*/ 4572677 h 7458372"/>
              <a:gd name="connsiteX17786" fmla="*/ 704333 w 10505529"/>
              <a:gd name="connsiteY17786" fmla="*/ 4579067 h 7458372"/>
              <a:gd name="connsiteX17787" fmla="*/ 710457 w 10505529"/>
              <a:gd name="connsiteY17787" fmla="*/ 4588385 h 7458372"/>
              <a:gd name="connsiteX17788" fmla="*/ 712720 w 10505529"/>
              <a:gd name="connsiteY17788" fmla="*/ 4599833 h 7458372"/>
              <a:gd name="connsiteX17789" fmla="*/ 710457 w 10505529"/>
              <a:gd name="connsiteY17789" fmla="*/ 4611548 h 7458372"/>
              <a:gd name="connsiteX17790" fmla="*/ 704333 w 10505529"/>
              <a:gd name="connsiteY17790" fmla="*/ 4620866 h 7458372"/>
              <a:gd name="connsiteX17791" fmla="*/ 695016 w 10505529"/>
              <a:gd name="connsiteY17791" fmla="*/ 4627123 h 7458372"/>
              <a:gd name="connsiteX17792" fmla="*/ 683301 w 10505529"/>
              <a:gd name="connsiteY17792" fmla="*/ 4629386 h 7458372"/>
              <a:gd name="connsiteX17793" fmla="*/ 661470 w 10505529"/>
              <a:gd name="connsiteY17793" fmla="*/ 4620866 h 7458372"/>
              <a:gd name="connsiteX17794" fmla="*/ 653084 w 10505529"/>
              <a:gd name="connsiteY17794" fmla="*/ 4599700 h 7458372"/>
              <a:gd name="connsiteX17795" fmla="*/ 661470 w 10505529"/>
              <a:gd name="connsiteY17795" fmla="*/ 4578667 h 7458372"/>
              <a:gd name="connsiteX17796" fmla="*/ 683301 w 10505529"/>
              <a:gd name="connsiteY17796" fmla="*/ 4570015 h 7458372"/>
              <a:gd name="connsiteX17797" fmla="*/ 465659 w 10505529"/>
              <a:gd name="connsiteY17797" fmla="*/ 4570015 h 7458372"/>
              <a:gd name="connsiteX17798" fmla="*/ 477375 w 10505529"/>
              <a:gd name="connsiteY17798" fmla="*/ 4572677 h 7458372"/>
              <a:gd name="connsiteX17799" fmla="*/ 486692 w 10505529"/>
              <a:gd name="connsiteY17799" fmla="*/ 4579067 h 7458372"/>
              <a:gd name="connsiteX17800" fmla="*/ 492815 w 10505529"/>
              <a:gd name="connsiteY17800" fmla="*/ 4588385 h 7458372"/>
              <a:gd name="connsiteX17801" fmla="*/ 495078 w 10505529"/>
              <a:gd name="connsiteY17801" fmla="*/ 4599833 h 7458372"/>
              <a:gd name="connsiteX17802" fmla="*/ 492815 w 10505529"/>
              <a:gd name="connsiteY17802" fmla="*/ 4611548 h 7458372"/>
              <a:gd name="connsiteX17803" fmla="*/ 486692 w 10505529"/>
              <a:gd name="connsiteY17803" fmla="*/ 4620866 h 7458372"/>
              <a:gd name="connsiteX17804" fmla="*/ 477375 w 10505529"/>
              <a:gd name="connsiteY17804" fmla="*/ 4627123 h 7458372"/>
              <a:gd name="connsiteX17805" fmla="*/ 465659 w 10505529"/>
              <a:gd name="connsiteY17805" fmla="*/ 4629386 h 7458372"/>
              <a:gd name="connsiteX17806" fmla="*/ 443828 w 10505529"/>
              <a:gd name="connsiteY17806" fmla="*/ 4620866 h 7458372"/>
              <a:gd name="connsiteX17807" fmla="*/ 435442 w 10505529"/>
              <a:gd name="connsiteY17807" fmla="*/ 4599700 h 7458372"/>
              <a:gd name="connsiteX17808" fmla="*/ 443828 w 10505529"/>
              <a:gd name="connsiteY17808" fmla="*/ 4578667 h 7458372"/>
              <a:gd name="connsiteX17809" fmla="*/ 465659 w 10505529"/>
              <a:gd name="connsiteY17809" fmla="*/ 4570015 h 7458372"/>
              <a:gd name="connsiteX17810" fmla="*/ 248017 w 10505529"/>
              <a:gd name="connsiteY17810" fmla="*/ 4570015 h 7458372"/>
              <a:gd name="connsiteX17811" fmla="*/ 259732 w 10505529"/>
              <a:gd name="connsiteY17811" fmla="*/ 4572677 h 7458372"/>
              <a:gd name="connsiteX17812" fmla="*/ 269050 w 10505529"/>
              <a:gd name="connsiteY17812" fmla="*/ 4579067 h 7458372"/>
              <a:gd name="connsiteX17813" fmla="*/ 275173 w 10505529"/>
              <a:gd name="connsiteY17813" fmla="*/ 4588385 h 7458372"/>
              <a:gd name="connsiteX17814" fmla="*/ 277436 w 10505529"/>
              <a:gd name="connsiteY17814" fmla="*/ 4599833 h 7458372"/>
              <a:gd name="connsiteX17815" fmla="*/ 275173 w 10505529"/>
              <a:gd name="connsiteY17815" fmla="*/ 4611548 h 7458372"/>
              <a:gd name="connsiteX17816" fmla="*/ 269050 w 10505529"/>
              <a:gd name="connsiteY17816" fmla="*/ 4620866 h 7458372"/>
              <a:gd name="connsiteX17817" fmla="*/ 259732 w 10505529"/>
              <a:gd name="connsiteY17817" fmla="*/ 4627123 h 7458372"/>
              <a:gd name="connsiteX17818" fmla="*/ 248017 w 10505529"/>
              <a:gd name="connsiteY17818" fmla="*/ 4629386 h 7458372"/>
              <a:gd name="connsiteX17819" fmla="*/ 226187 w 10505529"/>
              <a:gd name="connsiteY17819" fmla="*/ 4620866 h 7458372"/>
              <a:gd name="connsiteX17820" fmla="*/ 217802 w 10505529"/>
              <a:gd name="connsiteY17820" fmla="*/ 4599700 h 7458372"/>
              <a:gd name="connsiteX17821" fmla="*/ 226187 w 10505529"/>
              <a:gd name="connsiteY17821" fmla="*/ 4578667 h 7458372"/>
              <a:gd name="connsiteX17822" fmla="*/ 248017 w 10505529"/>
              <a:gd name="connsiteY17822" fmla="*/ 4570015 h 7458372"/>
              <a:gd name="connsiteX17823" fmla="*/ 30375 w 10505529"/>
              <a:gd name="connsiteY17823" fmla="*/ 4570015 h 7458372"/>
              <a:gd name="connsiteX17824" fmla="*/ 42090 w 10505529"/>
              <a:gd name="connsiteY17824" fmla="*/ 4572677 h 7458372"/>
              <a:gd name="connsiteX17825" fmla="*/ 51408 w 10505529"/>
              <a:gd name="connsiteY17825" fmla="*/ 4579067 h 7458372"/>
              <a:gd name="connsiteX17826" fmla="*/ 57531 w 10505529"/>
              <a:gd name="connsiteY17826" fmla="*/ 4588385 h 7458372"/>
              <a:gd name="connsiteX17827" fmla="*/ 59794 w 10505529"/>
              <a:gd name="connsiteY17827" fmla="*/ 4599833 h 7458372"/>
              <a:gd name="connsiteX17828" fmla="*/ 57531 w 10505529"/>
              <a:gd name="connsiteY17828" fmla="*/ 4611548 h 7458372"/>
              <a:gd name="connsiteX17829" fmla="*/ 51408 w 10505529"/>
              <a:gd name="connsiteY17829" fmla="*/ 4620866 h 7458372"/>
              <a:gd name="connsiteX17830" fmla="*/ 42090 w 10505529"/>
              <a:gd name="connsiteY17830" fmla="*/ 4627123 h 7458372"/>
              <a:gd name="connsiteX17831" fmla="*/ 30375 w 10505529"/>
              <a:gd name="connsiteY17831" fmla="*/ 4629386 h 7458372"/>
              <a:gd name="connsiteX17832" fmla="*/ 8547 w 10505529"/>
              <a:gd name="connsiteY17832" fmla="*/ 4620866 h 7458372"/>
              <a:gd name="connsiteX17833" fmla="*/ 161 w 10505529"/>
              <a:gd name="connsiteY17833" fmla="*/ 4599700 h 7458372"/>
              <a:gd name="connsiteX17834" fmla="*/ 8547 w 10505529"/>
              <a:gd name="connsiteY17834" fmla="*/ 4578667 h 7458372"/>
              <a:gd name="connsiteX17835" fmla="*/ 30375 w 10505529"/>
              <a:gd name="connsiteY17835" fmla="*/ 4570015 h 7458372"/>
              <a:gd name="connsiteX17836" fmla="*/ 10475977 w 10505529"/>
              <a:gd name="connsiteY17836" fmla="*/ 4369009 h 7458372"/>
              <a:gd name="connsiteX17837" fmla="*/ 10465992 w 10505529"/>
              <a:gd name="connsiteY17837" fmla="*/ 4372603 h 7458372"/>
              <a:gd name="connsiteX17838" fmla="*/ 10462399 w 10505529"/>
              <a:gd name="connsiteY17838" fmla="*/ 4382054 h 7458372"/>
              <a:gd name="connsiteX17839" fmla="*/ 10465992 w 10505529"/>
              <a:gd name="connsiteY17839" fmla="*/ 4391505 h 7458372"/>
              <a:gd name="connsiteX17840" fmla="*/ 10475977 w 10505529"/>
              <a:gd name="connsiteY17840" fmla="*/ 4394967 h 7458372"/>
              <a:gd name="connsiteX17841" fmla="*/ 10481302 w 10505529"/>
              <a:gd name="connsiteY17841" fmla="*/ 4394035 h 7458372"/>
              <a:gd name="connsiteX17842" fmla="*/ 10485029 w 10505529"/>
              <a:gd name="connsiteY17842" fmla="*/ 4391638 h 7458372"/>
              <a:gd name="connsiteX17843" fmla="*/ 10487691 w 10505529"/>
              <a:gd name="connsiteY17843" fmla="*/ 4387379 h 7458372"/>
              <a:gd name="connsiteX17844" fmla="*/ 10488623 w 10505529"/>
              <a:gd name="connsiteY17844" fmla="*/ 4381921 h 7458372"/>
              <a:gd name="connsiteX17845" fmla="*/ 10487691 w 10505529"/>
              <a:gd name="connsiteY17845" fmla="*/ 4376729 h 7458372"/>
              <a:gd name="connsiteX17846" fmla="*/ 10485029 w 10505529"/>
              <a:gd name="connsiteY17846" fmla="*/ 4372603 h 7458372"/>
              <a:gd name="connsiteX17847" fmla="*/ 10481035 w 10505529"/>
              <a:gd name="connsiteY17847" fmla="*/ 4369940 h 7458372"/>
              <a:gd name="connsiteX17848" fmla="*/ 10475977 w 10505529"/>
              <a:gd name="connsiteY17848" fmla="*/ 4369009 h 7458372"/>
              <a:gd name="connsiteX17849" fmla="*/ 10258466 w 10505529"/>
              <a:gd name="connsiteY17849" fmla="*/ 4369009 h 7458372"/>
              <a:gd name="connsiteX17850" fmla="*/ 10248481 w 10505529"/>
              <a:gd name="connsiteY17850" fmla="*/ 4372603 h 7458372"/>
              <a:gd name="connsiteX17851" fmla="*/ 10244887 w 10505529"/>
              <a:gd name="connsiteY17851" fmla="*/ 4382054 h 7458372"/>
              <a:gd name="connsiteX17852" fmla="*/ 10248481 w 10505529"/>
              <a:gd name="connsiteY17852" fmla="*/ 4391505 h 7458372"/>
              <a:gd name="connsiteX17853" fmla="*/ 10258466 w 10505529"/>
              <a:gd name="connsiteY17853" fmla="*/ 4394967 h 7458372"/>
              <a:gd name="connsiteX17854" fmla="*/ 10263790 w 10505529"/>
              <a:gd name="connsiteY17854" fmla="*/ 4394035 h 7458372"/>
              <a:gd name="connsiteX17855" fmla="*/ 10267517 w 10505529"/>
              <a:gd name="connsiteY17855" fmla="*/ 4391638 h 7458372"/>
              <a:gd name="connsiteX17856" fmla="*/ 10270180 w 10505529"/>
              <a:gd name="connsiteY17856" fmla="*/ 4387379 h 7458372"/>
              <a:gd name="connsiteX17857" fmla="*/ 10271112 w 10505529"/>
              <a:gd name="connsiteY17857" fmla="*/ 4381921 h 7458372"/>
              <a:gd name="connsiteX17858" fmla="*/ 10270180 w 10505529"/>
              <a:gd name="connsiteY17858" fmla="*/ 4376729 h 7458372"/>
              <a:gd name="connsiteX17859" fmla="*/ 10267517 w 10505529"/>
              <a:gd name="connsiteY17859" fmla="*/ 4372603 h 7458372"/>
              <a:gd name="connsiteX17860" fmla="*/ 10263524 w 10505529"/>
              <a:gd name="connsiteY17860" fmla="*/ 4369940 h 7458372"/>
              <a:gd name="connsiteX17861" fmla="*/ 10258466 w 10505529"/>
              <a:gd name="connsiteY17861" fmla="*/ 4369009 h 7458372"/>
              <a:gd name="connsiteX17862" fmla="*/ 10040820 w 10505529"/>
              <a:gd name="connsiteY17862" fmla="*/ 4369009 h 7458372"/>
              <a:gd name="connsiteX17863" fmla="*/ 10030835 w 10505529"/>
              <a:gd name="connsiteY17863" fmla="*/ 4372603 h 7458372"/>
              <a:gd name="connsiteX17864" fmla="*/ 10027242 w 10505529"/>
              <a:gd name="connsiteY17864" fmla="*/ 4382054 h 7458372"/>
              <a:gd name="connsiteX17865" fmla="*/ 10030835 w 10505529"/>
              <a:gd name="connsiteY17865" fmla="*/ 4391505 h 7458372"/>
              <a:gd name="connsiteX17866" fmla="*/ 10040820 w 10505529"/>
              <a:gd name="connsiteY17866" fmla="*/ 4394967 h 7458372"/>
              <a:gd name="connsiteX17867" fmla="*/ 10046145 w 10505529"/>
              <a:gd name="connsiteY17867" fmla="*/ 4394035 h 7458372"/>
              <a:gd name="connsiteX17868" fmla="*/ 10049872 w 10505529"/>
              <a:gd name="connsiteY17868" fmla="*/ 4391638 h 7458372"/>
              <a:gd name="connsiteX17869" fmla="*/ 10052534 w 10505529"/>
              <a:gd name="connsiteY17869" fmla="*/ 4387379 h 7458372"/>
              <a:gd name="connsiteX17870" fmla="*/ 10053599 w 10505529"/>
              <a:gd name="connsiteY17870" fmla="*/ 4381921 h 7458372"/>
              <a:gd name="connsiteX17871" fmla="*/ 10052534 w 10505529"/>
              <a:gd name="connsiteY17871" fmla="*/ 4376729 h 7458372"/>
              <a:gd name="connsiteX17872" fmla="*/ 10049872 w 10505529"/>
              <a:gd name="connsiteY17872" fmla="*/ 4372603 h 7458372"/>
              <a:gd name="connsiteX17873" fmla="*/ 10045878 w 10505529"/>
              <a:gd name="connsiteY17873" fmla="*/ 4369940 h 7458372"/>
              <a:gd name="connsiteX17874" fmla="*/ 10040820 w 10505529"/>
              <a:gd name="connsiteY17874" fmla="*/ 4369009 h 7458372"/>
              <a:gd name="connsiteX17875" fmla="*/ 9823176 w 10505529"/>
              <a:gd name="connsiteY17875" fmla="*/ 4369009 h 7458372"/>
              <a:gd name="connsiteX17876" fmla="*/ 9813191 w 10505529"/>
              <a:gd name="connsiteY17876" fmla="*/ 4372603 h 7458372"/>
              <a:gd name="connsiteX17877" fmla="*/ 9809597 w 10505529"/>
              <a:gd name="connsiteY17877" fmla="*/ 4382054 h 7458372"/>
              <a:gd name="connsiteX17878" fmla="*/ 9813191 w 10505529"/>
              <a:gd name="connsiteY17878" fmla="*/ 4391505 h 7458372"/>
              <a:gd name="connsiteX17879" fmla="*/ 9823176 w 10505529"/>
              <a:gd name="connsiteY17879" fmla="*/ 4394967 h 7458372"/>
              <a:gd name="connsiteX17880" fmla="*/ 9828501 w 10505529"/>
              <a:gd name="connsiteY17880" fmla="*/ 4394035 h 7458372"/>
              <a:gd name="connsiteX17881" fmla="*/ 9832227 w 10505529"/>
              <a:gd name="connsiteY17881" fmla="*/ 4391638 h 7458372"/>
              <a:gd name="connsiteX17882" fmla="*/ 9834890 w 10505529"/>
              <a:gd name="connsiteY17882" fmla="*/ 4387379 h 7458372"/>
              <a:gd name="connsiteX17883" fmla="*/ 9835955 w 10505529"/>
              <a:gd name="connsiteY17883" fmla="*/ 4381921 h 7458372"/>
              <a:gd name="connsiteX17884" fmla="*/ 9834890 w 10505529"/>
              <a:gd name="connsiteY17884" fmla="*/ 4376729 h 7458372"/>
              <a:gd name="connsiteX17885" fmla="*/ 9832227 w 10505529"/>
              <a:gd name="connsiteY17885" fmla="*/ 4372603 h 7458372"/>
              <a:gd name="connsiteX17886" fmla="*/ 9828234 w 10505529"/>
              <a:gd name="connsiteY17886" fmla="*/ 4369940 h 7458372"/>
              <a:gd name="connsiteX17887" fmla="*/ 9823176 w 10505529"/>
              <a:gd name="connsiteY17887" fmla="*/ 4369009 h 7458372"/>
              <a:gd name="connsiteX17888" fmla="*/ 9605531 w 10505529"/>
              <a:gd name="connsiteY17888" fmla="*/ 4369009 h 7458372"/>
              <a:gd name="connsiteX17889" fmla="*/ 9595546 w 10505529"/>
              <a:gd name="connsiteY17889" fmla="*/ 4372603 h 7458372"/>
              <a:gd name="connsiteX17890" fmla="*/ 9591952 w 10505529"/>
              <a:gd name="connsiteY17890" fmla="*/ 4382054 h 7458372"/>
              <a:gd name="connsiteX17891" fmla="*/ 9595546 w 10505529"/>
              <a:gd name="connsiteY17891" fmla="*/ 4391505 h 7458372"/>
              <a:gd name="connsiteX17892" fmla="*/ 9605531 w 10505529"/>
              <a:gd name="connsiteY17892" fmla="*/ 4394967 h 7458372"/>
              <a:gd name="connsiteX17893" fmla="*/ 9610855 w 10505529"/>
              <a:gd name="connsiteY17893" fmla="*/ 4394035 h 7458372"/>
              <a:gd name="connsiteX17894" fmla="*/ 9614582 w 10505529"/>
              <a:gd name="connsiteY17894" fmla="*/ 4391638 h 7458372"/>
              <a:gd name="connsiteX17895" fmla="*/ 9617245 w 10505529"/>
              <a:gd name="connsiteY17895" fmla="*/ 4387379 h 7458372"/>
              <a:gd name="connsiteX17896" fmla="*/ 9618309 w 10505529"/>
              <a:gd name="connsiteY17896" fmla="*/ 4381921 h 7458372"/>
              <a:gd name="connsiteX17897" fmla="*/ 9617245 w 10505529"/>
              <a:gd name="connsiteY17897" fmla="*/ 4376729 h 7458372"/>
              <a:gd name="connsiteX17898" fmla="*/ 9614582 w 10505529"/>
              <a:gd name="connsiteY17898" fmla="*/ 4372603 h 7458372"/>
              <a:gd name="connsiteX17899" fmla="*/ 9610589 w 10505529"/>
              <a:gd name="connsiteY17899" fmla="*/ 4369940 h 7458372"/>
              <a:gd name="connsiteX17900" fmla="*/ 9605531 w 10505529"/>
              <a:gd name="connsiteY17900" fmla="*/ 4369009 h 7458372"/>
              <a:gd name="connsiteX17901" fmla="*/ 9387885 w 10505529"/>
              <a:gd name="connsiteY17901" fmla="*/ 4369009 h 7458372"/>
              <a:gd name="connsiteX17902" fmla="*/ 9377900 w 10505529"/>
              <a:gd name="connsiteY17902" fmla="*/ 4372603 h 7458372"/>
              <a:gd name="connsiteX17903" fmla="*/ 9374307 w 10505529"/>
              <a:gd name="connsiteY17903" fmla="*/ 4382054 h 7458372"/>
              <a:gd name="connsiteX17904" fmla="*/ 9377900 w 10505529"/>
              <a:gd name="connsiteY17904" fmla="*/ 4391505 h 7458372"/>
              <a:gd name="connsiteX17905" fmla="*/ 9387885 w 10505529"/>
              <a:gd name="connsiteY17905" fmla="*/ 4394967 h 7458372"/>
              <a:gd name="connsiteX17906" fmla="*/ 9393210 w 10505529"/>
              <a:gd name="connsiteY17906" fmla="*/ 4394035 h 7458372"/>
              <a:gd name="connsiteX17907" fmla="*/ 9396937 w 10505529"/>
              <a:gd name="connsiteY17907" fmla="*/ 4391638 h 7458372"/>
              <a:gd name="connsiteX17908" fmla="*/ 9399599 w 10505529"/>
              <a:gd name="connsiteY17908" fmla="*/ 4387379 h 7458372"/>
              <a:gd name="connsiteX17909" fmla="*/ 9400664 w 10505529"/>
              <a:gd name="connsiteY17909" fmla="*/ 4381921 h 7458372"/>
              <a:gd name="connsiteX17910" fmla="*/ 9399599 w 10505529"/>
              <a:gd name="connsiteY17910" fmla="*/ 4376729 h 7458372"/>
              <a:gd name="connsiteX17911" fmla="*/ 9396937 w 10505529"/>
              <a:gd name="connsiteY17911" fmla="*/ 4372603 h 7458372"/>
              <a:gd name="connsiteX17912" fmla="*/ 9392943 w 10505529"/>
              <a:gd name="connsiteY17912" fmla="*/ 4369940 h 7458372"/>
              <a:gd name="connsiteX17913" fmla="*/ 9387885 w 10505529"/>
              <a:gd name="connsiteY17913" fmla="*/ 4369009 h 7458372"/>
              <a:gd name="connsiteX17914" fmla="*/ 9170374 w 10505529"/>
              <a:gd name="connsiteY17914" fmla="*/ 4369009 h 7458372"/>
              <a:gd name="connsiteX17915" fmla="*/ 9160389 w 10505529"/>
              <a:gd name="connsiteY17915" fmla="*/ 4372603 h 7458372"/>
              <a:gd name="connsiteX17916" fmla="*/ 9156795 w 10505529"/>
              <a:gd name="connsiteY17916" fmla="*/ 4382054 h 7458372"/>
              <a:gd name="connsiteX17917" fmla="*/ 9160389 w 10505529"/>
              <a:gd name="connsiteY17917" fmla="*/ 4391505 h 7458372"/>
              <a:gd name="connsiteX17918" fmla="*/ 9170374 w 10505529"/>
              <a:gd name="connsiteY17918" fmla="*/ 4394967 h 7458372"/>
              <a:gd name="connsiteX17919" fmla="*/ 9175698 w 10505529"/>
              <a:gd name="connsiteY17919" fmla="*/ 4394035 h 7458372"/>
              <a:gd name="connsiteX17920" fmla="*/ 9179425 w 10505529"/>
              <a:gd name="connsiteY17920" fmla="*/ 4391638 h 7458372"/>
              <a:gd name="connsiteX17921" fmla="*/ 9182088 w 10505529"/>
              <a:gd name="connsiteY17921" fmla="*/ 4387379 h 7458372"/>
              <a:gd name="connsiteX17922" fmla="*/ 9183152 w 10505529"/>
              <a:gd name="connsiteY17922" fmla="*/ 4381921 h 7458372"/>
              <a:gd name="connsiteX17923" fmla="*/ 9182088 w 10505529"/>
              <a:gd name="connsiteY17923" fmla="*/ 4376729 h 7458372"/>
              <a:gd name="connsiteX17924" fmla="*/ 9179425 w 10505529"/>
              <a:gd name="connsiteY17924" fmla="*/ 4372603 h 7458372"/>
              <a:gd name="connsiteX17925" fmla="*/ 9175432 w 10505529"/>
              <a:gd name="connsiteY17925" fmla="*/ 4369940 h 7458372"/>
              <a:gd name="connsiteX17926" fmla="*/ 9170374 w 10505529"/>
              <a:gd name="connsiteY17926" fmla="*/ 4369009 h 7458372"/>
              <a:gd name="connsiteX17927" fmla="*/ 8952728 w 10505529"/>
              <a:gd name="connsiteY17927" fmla="*/ 4369009 h 7458372"/>
              <a:gd name="connsiteX17928" fmla="*/ 8942743 w 10505529"/>
              <a:gd name="connsiteY17928" fmla="*/ 4372603 h 7458372"/>
              <a:gd name="connsiteX17929" fmla="*/ 8939150 w 10505529"/>
              <a:gd name="connsiteY17929" fmla="*/ 4382054 h 7458372"/>
              <a:gd name="connsiteX17930" fmla="*/ 8942743 w 10505529"/>
              <a:gd name="connsiteY17930" fmla="*/ 4391505 h 7458372"/>
              <a:gd name="connsiteX17931" fmla="*/ 8952728 w 10505529"/>
              <a:gd name="connsiteY17931" fmla="*/ 4394967 h 7458372"/>
              <a:gd name="connsiteX17932" fmla="*/ 8958053 w 10505529"/>
              <a:gd name="connsiteY17932" fmla="*/ 4394035 h 7458372"/>
              <a:gd name="connsiteX17933" fmla="*/ 8961780 w 10505529"/>
              <a:gd name="connsiteY17933" fmla="*/ 4391638 h 7458372"/>
              <a:gd name="connsiteX17934" fmla="*/ 8964442 w 10505529"/>
              <a:gd name="connsiteY17934" fmla="*/ 4387379 h 7458372"/>
              <a:gd name="connsiteX17935" fmla="*/ 8965507 w 10505529"/>
              <a:gd name="connsiteY17935" fmla="*/ 4381921 h 7458372"/>
              <a:gd name="connsiteX17936" fmla="*/ 8964442 w 10505529"/>
              <a:gd name="connsiteY17936" fmla="*/ 4376729 h 7458372"/>
              <a:gd name="connsiteX17937" fmla="*/ 8961780 w 10505529"/>
              <a:gd name="connsiteY17937" fmla="*/ 4372603 h 7458372"/>
              <a:gd name="connsiteX17938" fmla="*/ 8957786 w 10505529"/>
              <a:gd name="connsiteY17938" fmla="*/ 4369940 h 7458372"/>
              <a:gd name="connsiteX17939" fmla="*/ 8952728 w 10505529"/>
              <a:gd name="connsiteY17939" fmla="*/ 4369009 h 7458372"/>
              <a:gd name="connsiteX17940" fmla="*/ 8735083 w 10505529"/>
              <a:gd name="connsiteY17940" fmla="*/ 4369009 h 7458372"/>
              <a:gd name="connsiteX17941" fmla="*/ 8725098 w 10505529"/>
              <a:gd name="connsiteY17941" fmla="*/ 4372603 h 7458372"/>
              <a:gd name="connsiteX17942" fmla="*/ 8721504 w 10505529"/>
              <a:gd name="connsiteY17942" fmla="*/ 4382054 h 7458372"/>
              <a:gd name="connsiteX17943" fmla="*/ 8725098 w 10505529"/>
              <a:gd name="connsiteY17943" fmla="*/ 4391505 h 7458372"/>
              <a:gd name="connsiteX17944" fmla="*/ 8735083 w 10505529"/>
              <a:gd name="connsiteY17944" fmla="*/ 4394967 h 7458372"/>
              <a:gd name="connsiteX17945" fmla="*/ 8740407 w 10505529"/>
              <a:gd name="connsiteY17945" fmla="*/ 4394035 h 7458372"/>
              <a:gd name="connsiteX17946" fmla="*/ 8744134 w 10505529"/>
              <a:gd name="connsiteY17946" fmla="*/ 4391638 h 7458372"/>
              <a:gd name="connsiteX17947" fmla="*/ 8746797 w 10505529"/>
              <a:gd name="connsiteY17947" fmla="*/ 4387379 h 7458372"/>
              <a:gd name="connsiteX17948" fmla="*/ 8747862 w 10505529"/>
              <a:gd name="connsiteY17948" fmla="*/ 4381921 h 7458372"/>
              <a:gd name="connsiteX17949" fmla="*/ 8746797 w 10505529"/>
              <a:gd name="connsiteY17949" fmla="*/ 4376729 h 7458372"/>
              <a:gd name="connsiteX17950" fmla="*/ 8744134 w 10505529"/>
              <a:gd name="connsiteY17950" fmla="*/ 4372603 h 7458372"/>
              <a:gd name="connsiteX17951" fmla="*/ 8740141 w 10505529"/>
              <a:gd name="connsiteY17951" fmla="*/ 4369940 h 7458372"/>
              <a:gd name="connsiteX17952" fmla="*/ 8735083 w 10505529"/>
              <a:gd name="connsiteY17952" fmla="*/ 4369009 h 7458372"/>
              <a:gd name="connsiteX17953" fmla="*/ 8517438 w 10505529"/>
              <a:gd name="connsiteY17953" fmla="*/ 4369009 h 7458372"/>
              <a:gd name="connsiteX17954" fmla="*/ 8507453 w 10505529"/>
              <a:gd name="connsiteY17954" fmla="*/ 4372603 h 7458372"/>
              <a:gd name="connsiteX17955" fmla="*/ 8503860 w 10505529"/>
              <a:gd name="connsiteY17955" fmla="*/ 4382054 h 7458372"/>
              <a:gd name="connsiteX17956" fmla="*/ 8507453 w 10505529"/>
              <a:gd name="connsiteY17956" fmla="*/ 4391505 h 7458372"/>
              <a:gd name="connsiteX17957" fmla="*/ 8517438 w 10505529"/>
              <a:gd name="connsiteY17957" fmla="*/ 4394967 h 7458372"/>
              <a:gd name="connsiteX17958" fmla="*/ 8522763 w 10505529"/>
              <a:gd name="connsiteY17958" fmla="*/ 4394035 h 7458372"/>
              <a:gd name="connsiteX17959" fmla="*/ 8526490 w 10505529"/>
              <a:gd name="connsiteY17959" fmla="*/ 4391638 h 7458372"/>
              <a:gd name="connsiteX17960" fmla="*/ 8529152 w 10505529"/>
              <a:gd name="connsiteY17960" fmla="*/ 4387379 h 7458372"/>
              <a:gd name="connsiteX17961" fmla="*/ 8530084 w 10505529"/>
              <a:gd name="connsiteY17961" fmla="*/ 4381921 h 7458372"/>
              <a:gd name="connsiteX17962" fmla="*/ 8529152 w 10505529"/>
              <a:gd name="connsiteY17962" fmla="*/ 4376729 h 7458372"/>
              <a:gd name="connsiteX17963" fmla="*/ 8526490 w 10505529"/>
              <a:gd name="connsiteY17963" fmla="*/ 4372603 h 7458372"/>
              <a:gd name="connsiteX17964" fmla="*/ 8522496 w 10505529"/>
              <a:gd name="connsiteY17964" fmla="*/ 4369940 h 7458372"/>
              <a:gd name="connsiteX17965" fmla="*/ 8517438 w 10505529"/>
              <a:gd name="connsiteY17965" fmla="*/ 4369009 h 7458372"/>
              <a:gd name="connsiteX17966" fmla="*/ 8299793 w 10505529"/>
              <a:gd name="connsiteY17966" fmla="*/ 4369009 h 7458372"/>
              <a:gd name="connsiteX17967" fmla="*/ 8289809 w 10505529"/>
              <a:gd name="connsiteY17967" fmla="*/ 4372603 h 7458372"/>
              <a:gd name="connsiteX17968" fmla="*/ 8286215 w 10505529"/>
              <a:gd name="connsiteY17968" fmla="*/ 4382054 h 7458372"/>
              <a:gd name="connsiteX17969" fmla="*/ 8289809 w 10505529"/>
              <a:gd name="connsiteY17969" fmla="*/ 4391505 h 7458372"/>
              <a:gd name="connsiteX17970" fmla="*/ 8299793 w 10505529"/>
              <a:gd name="connsiteY17970" fmla="*/ 4394967 h 7458372"/>
              <a:gd name="connsiteX17971" fmla="*/ 8305118 w 10505529"/>
              <a:gd name="connsiteY17971" fmla="*/ 4394035 h 7458372"/>
              <a:gd name="connsiteX17972" fmla="*/ 8308844 w 10505529"/>
              <a:gd name="connsiteY17972" fmla="*/ 4391638 h 7458372"/>
              <a:gd name="connsiteX17973" fmla="*/ 8311507 w 10505529"/>
              <a:gd name="connsiteY17973" fmla="*/ 4387379 h 7458372"/>
              <a:gd name="connsiteX17974" fmla="*/ 8312439 w 10505529"/>
              <a:gd name="connsiteY17974" fmla="*/ 4381921 h 7458372"/>
              <a:gd name="connsiteX17975" fmla="*/ 8311507 w 10505529"/>
              <a:gd name="connsiteY17975" fmla="*/ 4376729 h 7458372"/>
              <a:gd name="connsiteX17976" fmla="*/ 8308844 w 10505529"/>
              <a:gd name="connsiteY17976" fmla="*/ 4372603 h 7458372"/>
              <a:gd name="connsiteX17977" fmla="*/ 8304851 w 10505529"/>
              <a:gd name="connsiteY17977" fmla="*/ 4369940 h 7458372"/>
              <a:gd name="connsiteX17978" fmla="*/ 8299793 w 10505529"/>
              <a:gd name="connsiteY17978" fmla="*/ 4369009 h 7458372"/>
              <a:gd name="connsiteX17979" fmla="*/ 8082281 w 10505529"/>
              <a:gd name="connsiteY17979" fmla="*/ 4369009 h 7458372"/>
              <a:gd name="connsiteX17980" fmla="*/ 8072297 w 10505529"/>
              <a:gd name="connsiteY17980" fmla="*/ 4372603 h 7458372"/>
              <a:gd name="connsiteX17981" fmla="*/ 8068703 w 10505529"/>
              <a:gd name="connsiteY17981" fmla="*/ 4382054 h 7458372"/>
              <a:gd name="connsiteX17982" fmla="*/ 8072297 w 10505529"/>
              <a:gd name="connsiteY17982" fmla="*/ 4391505 h 7458372"/>
              <a:gd name="connsiteX17983" fmla="*/ 8082281 w 10505529"/>
              <a:gd name="connsiteY17983" fmla="*/ 4394967 h 7458372"/>
              <a:gd name="connsiteX17984" fmla="*/ 8087605 w 10505529"/>
              <a:gd name="connsiteY17984" fmla="*/ 4394035 h 7458372"/>
              <a:gd name="connsiteX17985" fmla="*/ 8091332 w 10505529"/>
              <a:gd name="connsiteY17985" fmla="*/ 4391638 h 7458372"/>
              <a:gd name="connsiteX17986" fmla="*/ 8093994 w 10505529"/>
              <a:gd name="connsiteY17986" fmla="*/ 4387379 h 7458372"/>
              <a:gd name="connsiteX17987" fmla="*/ 8094926 w 10505529"/>
              <a:gd name="connsiteY17987" fmla="*/ 4381921 h 7458372"/>
              <a:gd name="connsiteX17988" fmla="*/ 8093994 w 10505529"/>
              <a:gd name="connsiteY17988" fmla="*/ 4376729 h 7458372"/>
              <a:gd name="connsiteX17989" fmla="*/ 8091332 w 10505529"/>
              <a:gd name="connsiteY17989" fmla="*/ 4372603 h 7458372"/>
              <a:gd name="connsiteX17990" fmla="*/ 8087338 w 10505529"/>
              <a:gd name="connsiteY17990" fmla="*/ 4369940 h 7458372"/>
              <a:gd name="connsiteX17991" fmla="*/ 8082281 w 10505529"/>
              <a:gd name="connsiteY17991" fmla="*/ 4369009 h 7458372"/>
              <a:gd name="connsiteX17992" fmla="*/ 7864636 w 10505529"/>
              <a:gd name="connsiteY17992" fmla="*/ 4369009 h 7458372"/>
              <a:gd name="connsiteX17993" fmla="*/ 7854652 w 10505529"/>
              <a:gd name="connsiteY17993" fmla="*/ 4372603 h 7458372"/>
              <a:gd name="connsiteX17994" fmla="*/ 7851058 w 10505529"/>
              <a:gd name="connsiteY17994" fmla="*/ 4382054 h 7458372"/>
              <a:gd name="connsiteX17995" fmla="*/ 7854652 w 10505529"/>
              <a:gd name="connsiteY17995" fmla="*/ 4391505 h 7458372"/>
              <a:gd name="connsiteX17996" fmla="*/ 7864636 w 10505529"/>
              <a:gd name="connsiteY17996" fmla="*/ 4394967 h 7458372"/>
              <a:gd name="connsiteX17997" fmla="*/ 7869961 w 10505529"/>
              <a:gd name="connsiteY17997" fmla="*/ 4394035 h 7458372"/>
              <a:gd name="connsiteX17998" fmla="*/ 7873687 w 10505529"/>
              <a:gd name="connsiteY17998" fmla="*/ 4391638 h 7458372"/>
              <a:gd name="connsiteX17999" fmla="*/ 7876350 w 10505529"/>
              <a:gd name="connsiteY17999" fmla="*/ 4387379 h 7458372"/>
              <a:gd name="connsiteX18000" fmla="*/ 7877282 w 10505529"/>
              <a:gd name="connsiteY18000" fmla="*/ 4381921 h 7458372"/>
              <a:gd name="connsiteX18001" fmla="*/ 7876350 w 10505529"/>
              <a:gd name="connsiteY18001" fmla="*/ 4376729 h 7458372"/>
              <a:gd name="connsiteX18002" fmla="*/ 7873687 w 10505529"/>
              <a:gd name="connsiteY18002" fmla="*/ 4372603 h 7458372"/>
              <a:gd name="connsiteX18003" fmla="*/ 7869694 w 10505529"/>
              <a:gd name="connsiteY18003" fmla="*/ 4369940 h 7458372"/>
              <a:gd name="connsiteX18004" fmla="*/ 7864636 w 10505529"/>
              <a:gd name="connsiteY18004" fmla="*/ 4369009 h 7458372"/>
              <a:gd name="connsiteX18005" fmla="*/ 7646991 w 10505529"/>
              <a:gd name="connsiteY18005" fmla="*/ 4369009 h 7458372"/>
              <a:gd name="connsiteX18006" fmla="*/ 7637007 w 10505529"/>
              <a:gd name="connsiteY18006" fmla="*/ 4372603 h 7458372"/>
              <a:gd name="connsiteX18007" fmla="*/ 7633413 w 10505529"/>
              <a:gd name="connsiteY18007" fmla="*/ 4382054 h 7458372"/>
              <a:gd name="connsiteX18008" fmla="*/ 7637007 w 10505529"/>
              <a:gd name="connsiteY18008" fmla="*/ 4391505 h 7458372"/>
              <a:gd name="connsiteX18009" fmla="*/ 7646991 w 10505529"/>
              <a:gd name="connsiteY18009" fmla="*/ 4394967 h 7458372"/>
              <a:gd name="connsiteX18010" fmla="*/ 7652315 w 10505529"/>
              <a:gd name="connsiteY18010" fmla="*/ 4394035 h 7458372"/>
              <a:gd name="connsiteX18011" fmla="*/ 7656042 w 10505529"/>
              <a:gd name="connsiteY18011" fmla="*/ 4391638 h 7458372"/>
              <a:gd name="connsiteX18012" fmla="*/ 7658705 w 10505529"/>
              <a:gd name="connsiteY18012" fmla="*/ 4387379 h 7458372"/>
              <a:gd name="connsiteX18013" fmla="*/ 7659769 w 10505529"/>
              <a:gd name="connsiteY18013" fmla="*/ 4381921 h 7458372"/>
              <a:gd name="connsiteX18014" fmla="*/ 7658705 w 10505529"/>
              <a:gd name="connsiteY18014" fmla="*/ 4376729 h 7458372"/>
              <a:gd name="connsiteX18015" fmla="*/ 7656042 w 10505529"/>
              <a:gd name="connsiteY18015" fmla="*/ 4372603 h 7458372"/>
              <a:gd name="connsiteX18016" fmla="*/ 7652049 w 10505529"/>
              <a:gd name="connsiteY18016" fmla="*/ 4369940 h 7458372"/>
              <a:gd name="connsiteX18017" fmla="*/ 7646991 w 10505529"/>
              <a:gd name="connsiteY18017" fmla="*/ 4369009 h 7458372"/>
              <a:gd name="connsiteX18018" fmla="*/ 7429345 w 10505529"/>
              <a:gd name="connsiteY18018" fmla="*/ 4369009 h 7458372"/>
              <a:gd name="connsiteX18019" fmla="*/ 7419361 w 10505529"/>
              <a:gd name="connsiteY18019" fmla="*/ 4372603 h 7458372"/>
              <a:gd name="connsiteX18020" fmla="*/ 7415768 w 10505529"/>
              <a:gd name="connsiteY18020" fmla="*/ 4382054 h 7458372"/>
              <a:gd name="connsiteX18021" fmla="*/ 7419361 w 10505529"/>
              <a:gd name="connsiteY18021" fmla="*/ 4391505 h 7458372"/>
              <a:gd name="connsiteX18022" fmla="*/ 7429345 w 10505529"/>
              <a:gd name="connsiteY18022" fmla="*/ 4394967 h 7458372"/>
              <a:gd name="connsiteX18023" fmla="*/ 7434670 w 10505529"/>
              <a:gd name="connsiteY18023" fmla="*/ 4394035 h 7458372"/>
              <a:gd name="connsiteX18024" fmla="*/ 7438397 w 10505529"/>
              <a:gd name="connsiteY18024" fmla="*/ 4391638 h 7458372"/>
              <a:gd name="connsiteX18025" fmla="*/ 7441059 w 10505529"/>
              <a:gd name="connsiteY18025" fmla="*/ 4387379 h 7458372"/>
              <a:gd name="connsiteX18026" fmla="*/ 7442124 w 10505529"/>
              <a:gd name="connsiteY18026" fmla="*/ 4381921 h 7458372"/>
              <a:gd name="connsiteX18027" fmla="*/ 7441059 w 10505529"/>
              <a:gd name="connsiteY18027" fmla="*/ 4376729 h 7458372"/>
              <a:gd name="connsiteX18028" fmla="*/ 7438397 w 10505529"/>
              <a:gd name="connsiteY18028" fmla="*/ 4372603 h 7458372"/>
              <a:gd name="connsiteX18029" fmla="*/ 7434403 w 10505529"/>
              <a:gd name="connsiteY18029" fmla="*/ 4369940 h 7458372"/>
              <a:gd name="connsiteX18030" fmla="*/ 7429345 w 10505529"/>
              <a:gd name="connsiteY18030" fmla="*/ 4369009 h 7458372"/>
              <a:gd name="connsiteX18031" fmla="*/ 7211701 w 10505529"/>
              <a:gd name="connsiteY18031" fmla="*/ 4369009 h 7458372"/>
              <a:gd name="connsiteX18032" fmla="*/ 7201717 w 10505529"/>
              <a:gd name="connsiteY18032" fmla="*/ 4372603 h 7458372"/>
              <a:gd name="connsiteX18033" fmla="*/ 7198123 w 10505529"/>
              <a:gd name="connsiteY18033" fmla="*/ 4382054 h 7458372"/>
              <a:gd name="connsiteX18034" fmla="*/ 7201717 w 10505529"/>
              <a:gd name="connsiteY18034" fmla="*/ 4391505 h 7458372"/>
              <a:gd name="connsiteX18035" fmla="*/ 7211701 w 10505529"/>
              <a:gd name="connsiteY18035" fmla="*/ 4394967 h 7458372"/>
              <a:gd name="connsiteX18036" fmla="*/ 7217026 w 10505529"/>
              <a:gd name="connsiteY18036" fmla="*/ 4394035 h 7458372"/>
              <a:gd name="connsiteX18037" fmla="*/ 7220752 w 10505529"/>
              <a:gd name="connsiteY18037" fmla="*/ 4391638 h 7458372"/>
              <a:gd name="connsiteX18038" fmla="*/ 7223415 w 10505529"/>
              <a:gd name="connsiteY18038" fmla="*/ 4387379 h 7458372"/>
              <a:gd name="connsiteX18039" fmla="*/ 7224480 w 10505529"/>
              <a:gd name="connsiteY18039" fmla="*/ 4381921 h 7458372"/>
              <a:gd name="connsiteX18040" fmla="*/ 7223415 w 10505529"/>
              <a:gd name="connsiteY18040" fmla="*/ 4376729 h 7458372"/>
              <a:gd name="connsiteX18041" fmla="*/ 7220752 w 10505529"/>
              <a:gd name="connsiteY18041" fmla="*/ 4372603 h 7458372"/>
              <a:gd name="connsiteX18042" fmla="*/ 7216759 w 10505529"/>
              <a:gd name="connsiteY18042" fmla="*/ 4369940 h 7458372"/>
              <a:gd name="connsiteX18043" fmla="*/ 7211701 w 10505529"/>
              <a:gd name="connsiteY18043" fmla="*/ 4369009 h 7458372"/>
              <a:gd name="connsiteX18044" fmla="*/ 6994056 w 10505529"/>
              <a:gd name="connsiteY18044" fmla="*/ 4369009 h 7458372"/>
              <a:gd name="connsiteX18045" fmla="*/ 6984072 w 10505529"/>
              <a:gd name="connsiteY18045" fmla="*/ 4372603 h 7458372"/>
              <a:gd name="connsiteX18046" fmla="*/ 6980478 w 10505529"/>
              <a:gd name="connsiteY18046" fmla="*/ 4382054 h 7458372"/>
              <a:gd name="connsiteX18047" fmla="*/ 6984072 w 10505529"/>
              <a:gd name="connsiteY18047" fmla="*/ 4391505 h 7458372"/>
              <a:gd name="connsiteX18048" fmla="*/ 6994056 w 10505529"/>
              <a:gd name="connsiteY18048" fmla="*/ 4394967 h 7458372"/>
              <a:gd name="connsiteX18049" fmla="*/ 6999380 w 10505529"/>
              <a:gd name="connsiteY18049" fmla="*/ 4394035 h 7458372"/>
              <a:gd name="connsiteX18050" fmla="*/ 7003107 w 10505529"/>
              <a:gd name="connsiteY18050" fmla="*/ 4391638 h 7458372"/>
              <a:gd name="connsiteX18051" fmla="*/ 7005769 w 10505529"/>
              <a:gd name="connsiteY18051" fmla="*/ 4387379 h 7458372"/>
              <a:gd name="connsiteX18052" fmla="*/ 7006834 w 10505529"/>
              <a:gd name="connsiteY18052" fmla="*/ 4381921 h 7458372"/>
              <a:gd name="connsiteX18053" fmla="*/ 7005769 w 10505529"/>
              <a:gd name="connsiteY18053" fmla="*/ 4376729 h 7458372"/>
              <a:gd name="connsiteX18054" fmla="*/ 7003107 w 10505529"/>
              <a:gd name="connsiteY18054" fmla="*/ 4372603 h 7458372"/>
              <a:gd name="connsiteX18055" fmla="*/ 6999113 w 10505529"/>
              <a:gd name="connsiteY18055" fmla="*/ 4369940 h 7458372"/>
              <a:gd name="connsiteX18056" fmla="*/ 6994056 w 10505529"/>
              <a:gd name="connsiteY18056" fmla="*/ 4369009 h 7458372"/>
              <a:gd name="connsiteX18057" fmla="*/ 6776544 w 10505529"/>
              <a:gd name="connsiteY18057" fmla="*/ 4369009 h 7458372"/>
              <a:gd name="connsiteX18058" fmla="*/ 6766560 w 10505529"/>
              <a:gd name="connsiteY18058" fmla="*/ 4372603 h 7458372"/>
              <a:gd name="connsiteX18059" fmla="*/ 6762966 w 10505529"/>
              <a:gd name="connsiteY18059" fmla="*/ 4382054 h 7458372"/>
              <a:gd name="connsiteX18060" fmla="*/ 6766560 w 10505529"/>
              <a:gd name="connsiteY18060" fmla="*/ 4391505 h 7458372"/>
              <a:gd name="connsiteX18061" fmla="*/ 6776544 w 10505529"/>
              <a:gd name="connsiteY18061" fmla="*/ 4394967 h 7458372"/>
              <a:gd name="connsiteX18062" fmla="*/ 6781869 w 10505529"/>
              <a:gd name="connsiteY18062" fmla="*/ 4394035 h 7458372"/>
              <a:gd name="connsiteX18063" fmla="*/ 6785595 w 10505529"/>
              <a:gd name="connsiteY18063" fmla="*/ 4391638 h 7458372"/>
              <a:gd name="connsiteX18064" fmla="*/ 6788258 w 10505529"/>
              <a:gd name="connsiteY18064" fmla="*/ 4387379 h 7458372"/>
              <a:gd name="connsiteX18065" fmla="*/ 6789323 w 10505529"/>
              <a:gd name="connsiteY18065" fmla="*/ 4381921 h 7458372"/>
              <a:gd name="connsiteX18066" fmla="*/ 6788258 w 10505529"/>
              <a:gd name="connsiteY18066" fmla="*/ 4376729 h 7458372"/>
              <a:gd name="connsiteX18067" fmla="*/ 6785595 w 10505529"/>
              <a:gd name="connsiteY18067" fmla="*/ 4372603 h 7458372"/>
              <a:gd name="connsiteX18068" fmla="*/ 6781602 w 10505529"/>
              <a:gd name="connsiteY18068" fmla="*/ 4369940 h 7458372"/>
              <a:gd name="connsiteX18069" fmla="*/ 6776544 w 10505529"/>
              <a:gd name="connsiteY18069" fmla="*/ 4369009 h 7458372"/>
              <a:gd name="connsiteX18070" fmla="*/ 6558899 w 10505529"/>
              <a:gd name="connsiteY18070" fmla="*/ 4369009 h 7458372"/>
              <a:gd name="connsiteX18071" fmla="*/ 6548915 w 10505529"/>
              <a:gd name="connsiteY18071" fmla="*/ 4372603 h 7458372"/>
              <a:gd name="connsiteX18072" fmla="*/ 6545321 w 10505529"/>
              <a:gd name="connsiteY18072" fmla="*/ 4382054 h 7458372"/>
              <a:gd name="connsiteX18073" fmla="*/ 6548915 w 10505529"/>
              <a:gd name="connsiteY18073" fmla="*/ 4391505 h 7458372"/>
              <a:gd name="connsiteX18074" fmla="*/ 6558899 w 10505529"/>
              <a:gd name="connsiteY18074" fmla="*/ 4394967 h 7458372"/>
              <a:gd name="connsiteX18075" fmla="*/ 6564223 w 10505529"/>
              <a:gd name="connsiteY18075" fmla="*/ 4394035 h 7458372"/>
              <a:gd name="connsiteX18076" fmla="*/ 6567950 w 10505529"/>
              <a:gd name="connsiteY18076" fmla="*/ 4391638 h 7458372"/>
              <a:gd name="connsiteX18077" fmla="*/ 6570612 w 10505529"/>
              <a:gd name="connsiteY18077" fmla="*/ 4387379 h 7458372"/>
              <a:gd name="connsiteX18078" fmla="*/ 6571677 w 10505529"/>
              <a:gd name="connsiteY18078" fmla="*/ 4381921 h 7458372"/>
              <a:gd name="connsiteX18079" fmla="*/ 6570612 w 10505529"/>
              <a:gd name="connsiteY18079" fmla="*/ 4376729 h 7458372"/>
              <a:gd name="connsiteX18080" fmla="*/ 6567950 w 10505529"/>
              <a:gd name="connsiteY18080" fmla="*/ 4372603 h 7458372"/>
              <a:gd name="connsiteX18081" fmla="*/ 6563956 w 10505529"/>
              <a:gd name="connsiteY18081" fmla="*/ 4369940 h 7458372"/>
              <a:gd name="connsiteX18082" fmla="*/ 6558899 w 10505529"/>
              <a:gd name="connsiteY18082" fmla="*/ 4369009 h 7458372"/>
              <a:gd name="connsiteX18083" fmla="*/ 6341253 w 10505529"/>
              <a:gd name="connsiteY18083" fmla="*/ 4369009 h 7458372"/>
              <a:gd name="connsiteX18084" fmla="*/ 6331270 w 10505529"/>
              <a:gd name="connsiteY18084" fmla="*/ 4372603 h 7458372"/>
              <a:gd name="connsiteX18085" fmla="*/ 6327675 w 10505529"/>
              <a:gd name="connsiteY18085" fmla="*/ 4382054 h 7458372"/>
              <a:gd name="connsiteX18086" fmla="*/ 6331270 w 10505529"/>
              <a:gd name="connsiteY18086" fmla="*/ 4391505 h 7458372"/>
              <a:gd name="connsiteX18087" fmla="*/ 6341253 w 10505529"/>
              <a:gd name="connsiteY18087" fmla="*/ 4394967 h 7458372"/>
              <a:gd name="connsiteX18088" fmla="*/ 6346578 w 10505529"/>
              <a:gd name="connsiteY18088" fmla="*/ 4394035 h 7458372"/>
              <a:gd name="connsiteX18089" fmla="*/ 6350305 w 10505529"/>
              <a:gd name="connsiteY18089" fmla="*/ 4391638 h 7458372"/>
              <a:gd name="connsiteX18090" fmla="*/ 6352968 w 10505529"/>
              <a:gd name="connsiteY18090" fmla="*/ 4387379 h 7458372"/>
              <a:gd name="connsiteX18091" fmla="*/ 6354033 w 10505529"/>
              <a:gd name="connsiteY18091" fmla="*/ 4381921 h 7458372"/>
              <a:gd name="connsiteX18092" fmla="*/ 6352968 w 10505529"/>
              <a:gd name="connsiteY18092" fmla="*/ 4376729 h 7458372"/>
              <a:gd name="connsiteX18093" fmla="*/ 6350305 w 10505529"/>
              <a:gd name="connsiteY18093" fmla="*/ 4372603 h 7458372"/>
              <a:gd name="connsiteX18094" fmla="*/ 6346312 w 10505529"/>
              <a:gd name="connsiteY18094" fmla="*/ 4369940 h 7458372"/>
              <a:gd name="connsiteX18095" fmla="*/ 6341253 w 10505529"/>
              <a:gd name="connsiteY18095" fmla="*/ 4369009 h 7458372"/>
              <a:gd name="connsiteX18096" fmla="*/ 6123608 w 10505529"/>
              <a:gd name="connsiteY18096" fmla="*/ 4369009 h 7458372"/>
              <a:gd name="connsiteX18097" fmla="*/ 6113624 w 10505529"/>
              <a:gd name="connsiteY18097" fmla="*/ 4372603 h 7458372"/>
              <a:gd name="connsiteX18098" fmla="*/ 6110030 w 10505529"/>
              <a:gd name="connsiteY18098" fmla="*/ 4382054 h 7458372"/>
              <a:gd name="connsiteX18099" fmla="*/ 6113624 w 10505529"/>
              <a:gd name="connsiteY18099" fmla="*/ 4391505 h 7458372"/>
              <a:gd name="connsiteX18100" fmla="*/ 6123608 w 10505529"/>
              <a:gd name="connsiteY18100" fmla="*/ 4394967 h 7458372"/>
              <a:gd name="connsiteX18101" fmla="*/ 6128932 w 10505529"/>
              <a:gd name="connsiteY18101" fmla="*/ 4394035 h 7458372"/>
              <a:gd name="connsiteX18102" fmla="*/ 6132659 w 10505529"/>
              <a:gd name="connsiteY18102" fmla="*/ 4391638 h 7458372"/>
              <a:gd name="connsiteX18103" fmla="*/ 6135322 w 10505529"/>
              <a:gd name="connsiteY18103" fmla="*/ 4387379 h 7458372"/>
              <a:gd name="connsiteX18104" fmla="*/ 6136387 w 10505529"/>
              <a:gd name="connsiteY18104" fmla="*/ 4381921 h 7458372"/>
              <a:gd name="connsiteX18105" fmla="*/ 6135322 w 10505529"/>
              <a:gd name="connsiteY18105" fmla="*/ 4376729 h 7458372"/>
              <a:gd name="connsiteX18106" fmla="*/ 6132659 w 10505529"/>
              <a:gd name="connsiteY18106" fmla="*/ 4372603 h 7458372"/>
              <a:gd name="connsiteX18107" fmla="*/ 6128666 w 10505529"/>
              <a:gd name="connsiteY18107" fmla="*/ 4369940 h 7458372"/>
              <a:gd name="connsiteX18108" fmla="*/ 6123608 w 10505529"/>
              <a:gd name="connsiteY18108" fmla="*/ 4369009 h 7458372"/>
              <a:gd name="connsiteX18109" fmla="*/ 5905963 w 10505529"/>
              <a:gd name="connsiteY18109" fmla="*/ 4369009 h 7458372"/>
              <a:gd name="connsiteX18110" fmla="*/ 5895979 w 10505529"/>
              <a:gd name="connsiteY18110" fmla="*/ 4372603 h 7458372"/>
              <a:gd name="connsiteX18111" fmla="*/ 5892385 w 10505529"/>
              <a:gd name="connsiteY18111" fmla="*/ 4382054 h 7458372"/>
              <a:gd name="connsiteX18112" fmla="*/ 5895979 w 10505529"/>
              <a:gd name="connsiteY18112" fmla="*/ 4391505 h 7458372"/>
              <a:gd name="connsiteX18113" fmla="*/ 5905963 w 10505529"/>
              <a:gd name="connsiteY18113" fmla="*/ 4394967 h 7458372"/>
              <a:gd name="connsiteX18114" fmla="*/ 5911287 w 10505529"/>
              <a:gd name="connsiteY18114" fmla="*/ 4394035 h 7458372"/>
              <a:gd name="connsiteX18115" fmla="*/ 5915014 w 10505529"/>
              <a:gd name="connsiteY18115" fmla="*/ 4391638 h 7458372"/>
              <a:gd name="connsiteX18116" fmla="*/ 5917677 w 10505529"/>
              <a:gd name="connsiteY18116" fmla="*/ 4387379 h 7458372"/>
              <a:gd name="connsiteX18117" fmla="*/ 5918742 w 10505529"/>
              <a:gd name="connsiteY18117" fmla="*/ 4381921 h 7458372"/>
              <a:gd name="connsiteX18118" fmla="*/ 5917677 w 10505529"/>
              <a:gd name="connsiteY18118" fmla="*/ 4376729 h 7458372"/>
              <a:gd name="connsiteX18119" fmla="*/ 5915014 w 10505529"/>
              <a:gd name="connsiteY18119" fmla="*/ 4372603 h 7458372"/>
              <a:gd name="connsiteX18120" fmla="*/ 5911021 w 10505529"/>
              <a:gd name="connsiteY18120" fmla="*/ 4369940 h 7458372"/>
              <a:gd name="connsiteX18121" fmla="*/ 5905963 w 10505529"/>
              <a:gd name="connsiteY18121" fmla="*/ 4369009 h 7458372"/>
              <a:gd name="connsiteX18122" fmla="*/ 5688451 w 10505529"/>
              <a:gd name="connsiteY18122" fmla="*/ 4369009 h 7458372"/>
              <a:gd name="connsiteX18123" fmla="*/ 5678467 w 10505529"/>
              <a:gd name="connsiteY18123" fmla="*/ 4372603 h 7458372"/>
              <a:gd name="connsiteX18124" fmla="*/ 5674873 w 10505529"/>
              <a:gd name="connsiteY18124" fmla="*/ 4382054 h 7458372"/>
              <a:gd name="connsiteX18125" fmla="*/ 5678467 w 10505529"/>
              <a:gd name="connsiteY18125" fmla="*/ 4391505 h 7458372"/>
              <a:gd name="connsiteX18126" fmla="*/ 5688451 w 10505529"/>
              <a:gd name="connsiteY18126" fmla="*/ 4394967 h 7458372"/>
              <a:gd name="connsiteX18127" fmla="*/ 5693775 w 10505529"/>
              <a:gd name="connsiteY18127" fmla="*/ 4394035 h 7458372"/>
              <a:gd name="connsiteX18128" fmla="*/ 5697502 w 10505529"/>
              <a:gd name="connsiteY18128" fmla="*/ 4391638 h 7458372"/>
              <a:gd name="connsiteX18129" fmla="*/ 5700165 w 10505529"/>
              <a:gd name="connsiteY18129" fmla="*/ 4387379 h 7458372"/>
              <a:gd name="connsiteX18130" fmla="*/ 5701230 w 10505529"/>
              <a:gd name="connsiteY18130" fmla="*/ 4381921 h 7458372"/>
              <a:gd name="connsiteX18131" fmla="*/ 5700165 w 10505529"/>
              <a:gd name="connsiteY18131" fmla="*/ 4376729 h 7458372"/>
              <a:gd name="connsiteX18132" fmla="*/ 5697502 w 10505529"/>
              <a:gd name="connsiteY18132" fmla="*/ 4372603 h 7458372"/>
              <a:gd name="connsiteX18133" fmla="*/ 5693509 w 10505529"/>
              <a:gd name="connsiteY18133" fmla="*/ 4369940 h 7458372"/>
              <a:gd name="connsiteX18134" fmla="*/ 5688451 w 10505529"/>
              <a:gd name="connsiteY18134" fmla="*/ 4369009 h 7458372"/>
              <a:gd name="connsiteX18135" fmla="*/ 5470806 w 10505529"/>
              <a:gd name="connsiteY18135" fmla="*/ 4369009 h 7458372"/>
              <a:gd name="connsiteX18136" fmla="*/ 5460822 w 10505529"/>
              <a:gd name="connsiteY18136" fmla="*/ 4372603 h 7458372"/>
              <a:gd name="connsiteX18137" fmla="*/ 5457228 w 10505529"/>
              <a:gd name="connsiteY18137" fmla="*/ 4382054 h 7458372"/>
              <a:gd name="connsiteX18138" fmla="*/ 5460822 w 10505529"/>
              <a:gd name="connsiteY18138" fmla="*/ 4391505 h 7458372"/>
              <a:gd name="connsiteX18139" fmla="*/ 5470806 w 10505529"/>
              <a:gd name="connsiteY18139" fmla="*/ 4394967 h 7458372"/>
              <a:gd name="connsiteX18140" fmla="*/ 5476130 w 10505529"/>
              <a:gd name="connsiteY18140" fmla="*/ 4394035 h 7458372"/>
              <a:gd name="connsiteX18141" fmla="*/ 5479857 w 10505529"/>
              <a:gd name="connsiteY18141" fmla="*/ 4391638 h 7458372"/>
              <a:gd name="connsiteX18142" fmla="*/ 5482520 w 10505529"/>
              <a:gd name="connsiteY18142" fmla="*/ 4387379 h 7458372"/>
              <a:gd name="connsiteX18143" fmla="*/ 5483585 w 10505529"/>
              <a:gd name="connsiteY18143" fmla="*/ 4381921 h 7458372"/>
              <a:gd name="connsiteX18144" fmla="*/ 5482520 w 10505529"/>
              <a:gd name="connsiteY18144" fmla="*/ 4376729 h 7458372"/>
              <a:gd name="connsiteX18145" fmla="*/ 5479857 w 10505529"/>
              <a:gd name="connsiteY18145" fmla="*/ 4372603 h 7458372"/>
              <a:gd name="connsiteX18146" fmla="*/ 5475864 w 10505529"/>
              <a:gd name="connsiteY18146" fmla="*/ 4369940 h 7458372"/>
              <a:gd name="connsiteX18147" fmla="*/ 5470806 w 10505529"/>
              <a:gd name="connsiteY18147" fmla="*/ 4369009 h 7458372"/>
              <a:gd name="connsiteX18148" fmla="*/ 5253160 w 10505529"/>
              <a:gd name="connsiteY18148" fmla="*/ 4369009 h 7458372"/>
              <a:gd name="connsiteX18149" fmla="*/ 5243177 w 10505529"/>
              <a:gd name="connsiteY18149" fmla="*/ 4372603 h 7458372"/>
              <a:gd name="connsiteX18150" fmla="*/ 5239583 w 10505529"/>
              <a:gd name="connsiteY18150" fmla="*/ 4382054 h 7458372"/>
              <a:gd name="connsiteX18151" fmla="*/ 5243177 w 10505529"/>
              <a:gd name="connsiteY18151" fmla="*/ 4391505 h 7458372"/>
              <a:gd name="connsiteX18152" fmla="*/ 5253160 w 10505529"/>
              <a:gd name="connsiteY18152" fmla="*/ 4394967 h 7458372"/>
              <a:gd name="connsiteX18153" fmla="*/ 5258485 w 10505529"/>
              <a:gd name="connsiteY18153" fmla="*/ 4394035 h 7458372"/>
              <a:gd name="connsiteX18154" fmla="*/ 5262212 w 10505529"/>
              <a:gd name="connsiteY18154" fmla="*/ 4391638 h 7458372"/>
              <a:gd name="connsiteX18155" fmla="*/ 5264875 w 10505529"/>
              <a:gd name="connsiteY18155" fmla="*/ 4387379 h 7458372"/>
              <a:gd name="connsiteX18156" fmla="*/ 5265939 w 10505529"/>
              <a:gd name="connsiteY18156" fmla="*/ 4381921 h 7458372"/>
              <a:gd name="connsiteX18157" fmla="*/ 5264875 w 10505529"/>
              <a:gd name="connsiteY18157" fmla="*/ 4376729 h 7458372"/>
              <a:gd name="connsiteX18158" fmla="*/ 5262212 w 10505529"/>
              <a:gd name="connsiteY18158" fmla="*/ 4372603 h 7458372"/>
              <a:gd name="connsiteX18159" fmla="*/ 5258219 w 10505529"/>
              <a:gd name="connsiteY18159" fmla="*/ 4369940 h 7458372"/>
              <a:gd name="connsiteX18160" fmla="*/ 5253160 w 10505529"/>
              <a:gd name="connsiteY18160" fmla="*/ 4369009 h 7458372"/>
              <a:gd name="connsiteX18161" fmla="*/ 5035515 w 10505529"/>
              <a:gd name="connsiteY18161" fmla="*/ 4369009 h 7458372"/>
              <a:gd name="connsiteX18162" fmla="*/ 5025532 w 10505529"/>
              <a:gd name="connsiteY18162" fmla="*/ 4372603 h 7458372"/>
              <a:gd name="connsiteX18163" fmla="*/ 5021938 w 10505529"/>
              <a:gd name="connsiteY18163" fmla="*/ 4382054 h 7458372"/>
              <a:gd name="connsiteX18164" fmla="*/ 5025532 w 10505529"/>
              <a:gd name="connsiteY18164" fmla="*/ 4391505 h 7458372"/>
              <a:gd name="connsiteX18165" fmla="*/ 5035515 w 10505529"/>
              <a:gd name="connsiteY18165" fmla="*/ 4394967 h 7458372"/>
              <a:gd name="connsiteX18166" fmla="*/ 5040840 w 10505529"/>
              <a:gd name="connsiteY18166" fmla="*/ 4394035 h 7458372"/>
              <a:gd name="connsiteX18167" fmla="*/ 5044567 w 10505529"/>
              <a:gd name="connsiteY18167" fmla="*/ 4391638 h 7458372"/>
              <a:gd name="connsiteX18168" fmla="*/ 5047230 w 10505529"/>
              <a:gd name="connsiteY18168" fmla="*/ 4387379 h 7458372"/>
              <a:gd name="connsiteX18169" fmla="*/ 5048294 w 10505529"/>
              <a:gd name="connsiteY18169" fmla="*/ 4381921 h 7458372"/>
              <a:gd name="connsiteX18170" fmla="*/ 5047230 w 10505529"/>
              <a:gd name="connsiteY18170" fmla="*/ 4376729 h 7458372"/>
              <a:gd name="connsiteX18171" fmla="*/ 5044567 w 10505529"/>
              <a:gd name="connsiteY18171" fmla="*/ 4372603 h 7458372"/>
              <a:gd name="connsiteX18172" fmla="*/ 5040574 w 10505529"/>
              <a:gd name="connsiteY18172" fmla="*/ 4369940 h 7458372"/>
              <a:gd name="connsiteX18173" fmla="*/ 5035515 w 10505529"/>
              <a:gd name="connsiteY18173" fmla="*/ 4369009 h 7458372"/>
              <a:gd name="connsiteX18174" fmla="*/ 4817870 w 10505529"/>
              <a:gd name="connsiteY18174" fmla="*/ 4369009 h 7458372"/>
              <a:gd name="connsiteX18175" fmla="*/ 4807887 w 10505529"/>
              <a:gd name="connsiteY18175" fmla="*/ 4372603 h 7458372"/>
              <a:gd name="connsiteX18176" fmla="*/ 4804293 w 10505529"/>
              <a:gd name="connsiteY18176" fmla="*/ 4382054 h 7458372"/>
              <a:gd name="connsiteX18177" fmla="*/ 4807887 w 10505529"/>
              <a:gd name="connsiteY18177" fmla="*/ 4391505 h 7458372"/>
              <a:gd name="connsiteX18178" fmla="*/ 4817870 w 10505529"/>
              <a:gd name="connsiteY18178" fmla="*/ 4394967 h 7458372"/>
              <a:gd name="connsiteX18179" fmla="*/ 4823195 w 10505529"/>
              <a:gd name="connsiteY18179" fmla="*/ 4394035 h 7458372"/>
              <a:gd name="connsiteX18180" fmla="*/ 4826922 w 10505529"/>
              <a:gd name="connsiteY18180" fmla="*/ 4391638 h 7458372"/>
              <a:gd name="connsiteX18181" fmla="*/ 4829585 w 10505529"/>
              <a:gd name="connsiteY18181" fmla="*/ 4387379 h 7458372"/>
              <a:gd name="connsiteX18182" fmla="*/ 4830650 w 10505529"/>
              <a:gd name="connsiteY18182" fmla="*/ 4381921 h 7458372"/>
              <a:gd name="connsiteX18183" fmla="*/ 4829585 w 10505529"/>
              <a:gd name="connsiteY18183" fmla="*/ 4376729 h 7458372"/>
              <a:gd name="connsiteX18184" fmla="*/ 4826922 w 10505529"/>
              <a:gd name="connsiteY18184" fmla="*/ 4372603 h 7458372"/>
              <a:gd name="connsiteX18185" fmla="*/ 4822929 w 10505529"/>
              <a:gd name="connsiteY18185" fmla="*/ 4369940 h 7458372"/>
              <a:gd name="connsiteX18186" fmla="*/ 4817870 w 10505529"/>
              <a:gd name="connsiteY18186" fmla="*/ 4369009 h 7458372"/>
              <a:gd name="connsiteX18187" fmla="*/ 4600226 w 10505529"/>
              <a:gd name="connsiteY18187" fmla="*/ 4369009 h 7458372"/>
              <a:gd name="connsiteX18188" fmla="*/ 4590242 w 10505529"/>
              <a:gd name="connsiteY18188" fmla="*/ 4372603 h 7458372"/>
              <a:gd name="connsiteX18189" fmla="*/ 4586648 w 10505529"/>
              <a:gd name="connsiteY18189" fmla="*/ 4382054 h 7458372"/>
              <a:gd name="connsiteX18190" fmla="*/ 4590242 w 10505529"/>
              <a:gd name="connsiteY18190" fmla="*/ 4391505 h 7458372"/>
              <a:gd name="connsiteX18191" fmla="*/ 4600226 w 10505529"/>
              <a:gd name="connsiteY18191" fmla="*/ 4394967 h 7458372"/>
              <a:gd name="connsiteX18192" fmla="*/ 4605550 w 10505529"/>
              <a:gd name="connsiteY18192" fmla="*/ 4394035 h 7458372"/>
              <a:gd name="connsiteX18193" fmla="*/ 4609277 w 10505529"/>
              <a:gd name="connsiteY18193" fmla="*/ 4391638 h 7458372"/>
              <a:gd name="connsiteX18194" fmla="*/ 4611940 w 10505529"/>
              <a:gd name="connsiteY18194" fmla="*/ 4387379 h 7458372"/>
              <a:gd name="connsiteX18195" fmla="*/ 4613005 w 10505529"/>
              <a:gd name="connsiteY18195" fmla="*/ 4381921 h 7458372"/>
              <a:gd name="connsiteX18196" fmla="*/ 4611940 w 10505529"/>
              <a:gd name="connsiteY18196" fmla="*/ 4376729 h 7458372"/>
              <a:gd name="connsiteX18197" fmla="*/ 4609277 w 10505529"/>
              <a:gd name="connsiteY18197" fmla="*/ 4372603 h 7458372"/>
              <a:gd name="connsiteX18198" fmla="*/ 4605284 w 10505529"/>
              <a:gd name="connsiteY18198" fmla="*/ 4369940 h 7458372"/>
              <a:gd name="connsiteX18199" fmla="*/ 4600226 w 10505529"/>
              <a:gd name="connsiteY18199" fmla="*/ 4369009 h 7458372"/>
              <a:gd name="connsiteX18200" fmla="*/ 4382713 w 10505529"/>
              <a:gd name="connsiteY18200" fmla="*/ 4369009 h 7458372"/>
              <a:gd name="connsiteX18201" fmla="*/ 4372730 w 10505529"/>
              <a:gd name="connsiteY18201" fmla="*/ 4372603 h 7458372"/>
              <a:gd name="connsiteX18202" fmla="*/ 4369136 w 10505529"/>
              <a:gd name="connsiteY18202" fmla="*/ 4382054 h 7458372"/>
              <a:gd name="connsiteX18203" fmla="*/ 4372730 w 10505529"/>
              <a:gd name="connsiteY18203" fmla="*/ 4391505 h 7458372"/>
              <a:gd name="connsiteX18204" fmla="*/ 4382713 w 10505529"/>
              <a:gd name="connsiteY18204" fmla="*/ 4394967 h 7458372"/>
              <a:gd name="connsiteX18205" fmla="*/ 4388038 w 10505529"/>
              <a:gd name="connsiteY18205" fmla="*/ 4394035 h 7458372"/>
              <a:gd name="connsiteX18206" fmla="*/ 4391765 w 10505529"/>
              <a:gd name="connsiteY18206" fmla="*/ 4391638 h 7458372"/>
              <a:gd name="connsiteX18207" fmla="*/ 4394428 w 10505529"/>
              <a:gd name="connsiteY18207" fmla="*/ 4387379 h 7458372"/>
              <a:gd name="connsiteX18208" fmla="*/ 4395493 w 10505529"/>
              <a:gd name="connsiteY18208" fmla="*/ 4381921 h 7458372"/>
              <a:gd name="connsiteX18209" fmla="*/ 4394428 w 10505529"/>
              <a:gd name="connsiteY18209" fmla="*/ 4376729 h 7458372"/>
              <a:gd name="connsiteX18210" fmla="*/ 4391765 w 10505529"/>
              <a:gd name="connsiteY18210" fmla="*/ 4372603 h 7458372"/>
              <a:gd name="connsiteX18211" fmla="*/ 4387772 w 10505529"/>
              <a:gd name="connsiteY18211" fmla="*/ 4369940 h 7458372"/>
              <a:gd name="connsiteX18212" fmla="*/ 4382713 w 10505529"/>
              <a:gd name="connsiteY18212" fmla="*/ 4369009 h 7458372"/>
              <a:gd name="connsiteX18213" fmla="*/ 4165068 w 10505529"/>
              <a:gd name="connsiteY18213" fmla="*/ 4369009 h 7458372"/>
              <a:gd name="connsiteX18214" fmla="*/ 4155084 w 10505529"/>
              <a:gd name="connsiteY18214" fmla="*/ 4372603 h 7458372"/>
              <a:gd name="connsiteX18215" fmla="*/ 4151490 w 10505529"/>
              <a:gd name="connsiteY18215" fmla="*/ 4382054 h 7458372"/>
              <a:gd name="connsiteX18216" fmla="*/ 4155084 w 10505529"/>
              <a:gd name="connsiteY18216" fmla="*/ 4391505 h 7458372"/>
              <a:gd name="connsiteX18217" fmla="*/ 4165068 w 10505529"/>
              <a:gd name="connsiteY18217" fmla="*/ 4394967 h 7458372"/>
              <a:gd name="connsiteX18218" fmla="*/ 4170392 w 10505529"/>
              <a:gd name="connsiteY18218" fmla="*/ 4394035 h 7458372"/>
              <a:gd name="connsiteX18219" fmla="*/ 4174119 w 10505529"/>
              <a:gd name="connsiteY18219" fmla="*/ 4391638 h 7458372"/>
              <a:gd name="connsiteX18220" fmla="*/ 4176782 w 10505529"/>
              <a:gd name="connsiteY18220" fmla="*/ 4387379 h 7458372"/>
              <a:gd name="connsiteX18221" fmla="*/ 4177847 w 10505529"/>
              <a:gd name="connsiteY18221" fmla="*/ 4381921 h 7458372"/>
              <a:gd name="connsiteX18222" fmla="*/ 4176782 w 10505529"/>
              <a:gd name="connsiteY18222" fmla="*/ 4376729 h 7458372"/>
              <a:gd name="connsiteX18223" fmla="*/ 4174119 w 10505529"/>
              <a:gd name="connsiteY18223" fmla="*/ 4372603 h 7458372"/>
              <a:gd name="connsiteX18224" fmla="*/ 4170126 w 10505529"/>
              <a:gd name="connsiteY18224" fmla="*/ 4369940 h 7458372"/>
              <a:gd name="connsiteX18225" fmla="*/ 4165068 w 10505529"/>
              <a:gd name="connsiteY18225" fmla="*/ 4369009 h 7458372"/>
              <a:gd name="connsiteX18226" fmla="*/ 3947663 w 10505529"/>
              <a:gd name="connsiteY18226" fmla="*/ 4369009 h 7458372"/>
              <a:gd name="connsiteX18227" fmla="*/ 3937680 w 10505529"/>
              <a:gd name="connsiteY18227" fmla="*/ 4372603 h 7458372"/>
              <a:gd name="connsiteX18228" fmla="*/ 3934085 w 10505529"/>
              <a:gd name="connsiteY18228" fmla="*/ 4382054 h 7458372"/>
              <a:gd name="connsiteX18229" fmla="*/ 3937680 w 10505529"/>
              <a:gd name="connsiteY18229" fmla="*/ 4391505 h 7458372"/>
              <a:gd name="connsiteX18230" fmla="*/ 3947663 w 10505529"/>
              <a:gd name="connsiteY18230" fmla="*/ 4394967 h 7458372"/>
              <a:gd name="connsiteX18231" fmla="*/ 3952991 w 10505529"/>
              <a:gd name="connsiteY18231" fmla="*/ 4394035 h 7458372"/>
              <a:gd name="connsiteX18232" fmla="*/ 3956717 w 10505529"/>
              <a:gd name="connsiteY18232" fmla="*/ 4391638 h 7458372"/>
              <a:gd name="connsiteX18233" fmla="*/ 3959380 w 10505529"/>
              <a:gd name="connsiteY18233" fmla="*/ 4387379 h 7458372"/>
              <a:gd name="connsiteX18234" fmla="*/ 3960445 w 10505529"/>
              <a:gd name="connsiteY18234" fmla="*/ 4381921 h 7458372"/>
              <a:gd name="connsiteX18235" fmla="*/ 3959380 w 10505529"/>
              <a:gd name="connsiteY18235" fmla="*/ 4376729 h 7458372"/>
              <a:gd name="connsiteX18236" fmla="*/ 3956717 w 10505529"/>
              <a:gd name="connsiteY18236" fmla="*/ 4372603 h 7458372"/>
              <a:gd name="connsiteX18237" fmla="*/ 3952723 w 10505529"/>
              <a:gd name="connsiteY18237" fmla="*/ 4369940 h 7458372"/>
              <a:gd name="connsiteX18238" fmla="*/ 3947663 w 10505529"/>
              <a:gd name="connsiteY18238" fmla="*/ 4369009 h 7458372"/>
              <a:gd name="connsiteX18239" fmla="*/ 3730007 w 10505529"/>
              <a:gd name="connsiteY18239" fmla="*/ 4369009 h 7458372"/>
              <a:gd name="connsiteX18240" fmla="*/ 3720020 w 10505529"/>
              <a:gd name="connsiteY18240" fmla="*/ 4372603 h 7458372"/>
              <a:gd name="connsiteX18241" fmla="*/ 3716428 w 10505529"/>
              <a:gd name="connsiteY18241" fmla="*/ 4382054 h 7458372"/>
              <a:gd name="connsiteX18242" fmla="*/ 3720020 w 10505529"/>
              <a:gd name="connsiteY18242" fmla="*/ 4391505 h 7458372"/>
              <a:gd name="connsiteX18243" fmla="*/ 3730007 w 10505529"/>
              <a:gd name="connsiteY18243" fmla="*/ 4394967 h 7458372"/>
              <a:gd name="connsiteX18244" fmla="*/ 3735332 w 10505529"/>
              <a:gd name="connsiteY18244" fmla="*/ 4394035 h 7458372"/>
              <a:gd name="connsiteX18245" fmla="*/ 3739059 w 10505529"/>
              <a:gd name="connsiteY18245" fmla="*/ 4391638 h 7458372"/>
              <a:gd name="connsiteX18246" fmla="*/ 3741722 w 10505529"/>
              <a:gd name="connsiteY18246" fmla="*/ 4387379 h 7458372"/>
              <a:gd name="connsiteX18247" fmla="*/ 3742787 w 10505529"/>
              <a:gd name="connsiteY18247" fmla="*/ 4381921 h 7458372"/>
              <a:gd name="connsiteX18248" fmla="*/ 3741722 w 10505529"/>
              <a:gd name="connsiteY18248" fmla="*/ 4376729 h 7458372"/>
              <a:gd name="connsiteX18249" fmla="*/ 3739059 w 10505529"/>
              <a:gd name="connsiteY18249" fmla="*/ 4372603 h 7458372"/>
              <a:gd name="connsiteX18250" fmla="*/ 3735066 w 10505529"/>
              <a:gd name="connsiteY18250" fmla="*/ 4369940 h 7458372"/>
              <a:gd name="connsiteX18251" fmla="*/ 3730007 w 10505529"/>
              <a:gd name="connsiteY18251" fmla="*/ 4369009 h 7458372"/>
              <a:gd name="connsiteX18252" fmla="*/ 3512349 w 10505529"/>
              <a:gd name="connsiteY18252" fmla="*/ 4369009 h 7458372"/>
              <a:gd name="connsiteX18253" fmla="*/ 3502361 w 10505529"/>
              <a:gd name="connsiteY18253" fmla="*/ 4372603 h 7458372"/>
              <a:gd name="connsiteX18254" fmla="*/ 3498768 w 10505529"/>
              <a:gd name="connsiteY18254" fmla="*/ 4382054 h 7458372"/>
              <a:gd name="connsiteX18255" fmla="*/ 3502361 w 10505529"/>
              <a:gd name="connsiteY18255" fmla="*/ 4391505 h 7458372"/>
              <a:gd name="connsiteX18256" fmla="*/ 3512349 w 10505529"/>
              <a:gd name="connsiteY18256" fmla="*/ 4394967 h 7458372"/>
              <a:gd name="connsiteX18257" fmla="*/ 3517674 w 10505529"/>
              <a:gd name="connsiteY18257" fmla="*/ 4394035 h 7458372"/>
              <a:gd name="connsiteX18258" fmla="*/ 3521402 w 10505529"/>
              <a:gd name="connsiteY18258" fmla="*/ 4391638 h 7458372"/>
              <a:gd name="connsiteX18259" fmla="*/ 3524065 w 10505529"/>
              <a:gd name="connsiteY18259" fmla="*/ 4387379 h 7458372"/>
              <a:gd name="connsiteX18260" fmla="*/ 3525130 w 10505529"/>
              <a:gd name="connsiteY18260" fmla="*/ 4381921 h 7458372"/>
              <a:gd name="connsiteX18261" fmla="*/ 3524065 w 10505529"/>
              <a:gd name="connsiteY18261" fmla="*/ 4376729 h 7458372"/>
              <a:gd name="connsiteX18262" fmla="*/ 3521402 w 10505529"/>
              <a:gd name="connsiteY18262" fmla="*/ 4372603 h 7458372"/>
              <a:gd name="connsiteX18263" fmla="*/ 3517409 w 10505529"/>
              <a:gd name="connsiteY18263" fmla="*/ 4369940 h 7458372"/>
              <a:gd name="connsiteX18264" fmla="*/ 3512349 w 10505529"/>
              <a:gd name="connsiteY18264" fmla="*/ 4369009 h 7458372"/>
              <a:gd name="connsiteX18265" fmla="*/ 3294825 w 10505529"/>
              <a:gd name="connsiteY18265" fmla="*/ 4369009 h 7458372"/>
              <a:gd name="connsiteX18266" fmla="*/ 3284839 w 10505529"/>
              <a:gd name="connsiteY18266" fmla="*/ 4372603 h 7458372"/>
              <a:gd name="connsiteX18267" fmla="*/ 3281245 w 10505529"/>
              <a:gd name="connsiteY18267" fmla="*/ 4382054 h 7458372"/>
              <a:gd name="connsiteX18268" fmla="*/ 3284839 w 10505529"/>
              <a:gd name="connsiteY18268" fmla="*/ 4391505 h 7458372"/>
              <a:gd name="connsiteX18269" fmla="*/ 3294825 w 10505529"/>
              <a:gd name="connsiteY18269" fmla="*/ 4394967 h 7458372"/>
              <a:gd name="connsiteX18270" fmla="*/ 3300150 w 10505529"/>
              <a:gd name="connsiteY18270" fmla="*/ 4394035 h 7458372"/>
              <a:gd name="connsiteX18271" fmla="*/ 3303877 w 10505529"/>
              <a:gd name="connsiteY18271" fmla="*/ 4391638 h 7458372"/>
              <a:gd name="connsiteX18272" fmla="*/ 3306540 w 10505529"/>
              <a:gd name="connsiteY18272" fmla="*/ 4387379 h 7458372"/>
              <a:gd name="connsiteX18273" fmla="*/ 3307604 w 10505529"/>
              <a:gd name="connsiteY18273" fmla="*/ 4381921 h 7458372"/>
              <a:gd name="connsiteX18274" fmla="*/ 3306540 w 10505529"/>
              <a:gd name="connsiteY18274" fmla="*/ 4376729 h 7458372"/>
              <a:gd name="connsiteX18275" fmla="*/ 3303877 w 10505529"/>
              <a:gd name="connsiteY18275" fmla="*/ 4372603 h 7458372"/>
              <a:gd name="connsiteX18276" fmla="*/ 3299884 w 10505529"/>
              <a:gd name="connsiteY18276" fmla="*/ 4369940 h 7458372"/>
              <a:gd name="connsiteX18277" fmla="*/ 3294825 w 10505529"/>
              <a:gd name="connsiteY18277" fmla="*/ 4369009 h 7458372"/>
              <a:gd name="connsiteX18278" fmla="*/ 3077300 w 10505529"/>
              <a:gd name="connsiteY18278" fmla="*/ 4369009 h 7458372"/>
              <a:gd name="connsiteX18279" fmla="*/ 3067317 w 10505529"/>
              <a:gd name="connsiteY18279" fmla="*/ 4372603 h 7458372"/>
              <a:gd name="connsiteX18280" fmla="*/ 3063587 w 10505529"/>
              <a:gd name="connsiteY18280" fmla="*/ 4382054 h 7458372"/>
              <a:gd name="connsiteX18281" fmla="*/ 3067183 w 10505529"/>
              <a:gd name="connsiteY18281" fmla="*/ 4391505 h 7458372"/>
              <a:gd name="connsiteX18282" fmla="*/ 3077167 w 10505529"/>
              <a:gd name="connsiteY18282" fmla="*/ 4394967 h 7458372"/>
              <a:gd name="connsiteX18283" fmla="*/ 3082625 w 10505529"/>
              <a:gd name="connsiteY18283" fmla="*/ 4394035 h 7458372"/>
              <a:gd name="connsiteX18284" fmla="*/ 3086353 w 10505529"/>
              <a:gd name="connsiteY18284" fmla="*/ 4391638 h 7458372"/>
              <a:gd name="connsiteX18285" fmla="*/ 3089015 w 10505529"/>
              <a:gd name="connsiteY18285" fmla="*/ 4387379 h 7458372"/>
              <a:gd name="connsiteX18286" fmla="*/ 3089948 w 10505529"/>
              <a:gd name="connsiteY18286" fmla="*/ 4381921 h 7458372"/>
              <a:gd name="connsiteX18287" fmla="*/ 3089015 w 10505529"/>
              <a:gd name="connsiteY18287" fmla="*/ 4376729 h 7458372"/>
              <a:gd name="connsiteX18288" fmla="*/ 3086353 w 10505529"/>
              <a:gd name="connsiteY18288" fmla="*/ 4372603 h 7458372"/>
              <a:gd name="connsiteX18289" fmla="*/ 3082360 w 10505529"/>
              <a:gd name="connsiteY18289" fmla="*/ 4369940 h 7458372"/>
              <a:gd name="connsiteX18290" fmla="*/ 3077300 w 10505529"/>
              <a:gd name="connsiteY18290" fmla="*/ 4369009 h 7458372"/>
              <a:gd name="connsiteX18291" fmla="*/ 2859510 w 10505529"/>
              <a:gd name="connsiteY18291" fmla="*/ 4369009 h 7458372"/>
              <a:gd name="connsiteX18292" fmla="*/ 2849524 w 10505529"/>
              <a:gd name="connsiteY18292" fmla="*/ 4372603 h 7458372"/>
              <a:gd name="connsiteX18293" fmla="*/ 2845927 w 10505529"/>
              <a:gd name="connsiteY18293" fmla="*/ 4382054 h 7458372"/>
              <a:gd name="connsiteX18294" fmla="*/ 2849524 w 10505529"/>
              <a:gd name="connsiteY18294" fmla="*/ 4391505 h 7458372"/>
              <a:gd name="connsiteX18295" fmla="*/ 2859510 w 10505529"/>
              <a:gd name="connsiteY18295" fmla="*/ 4394967 h 7458372"/>
              <a:gd name="connsiteX18296" fmla="*/ 2864835 w 10505529"/>
              <a:gd name="connsiteY18296" fmla="*/ 4394035 h 7458372"/>
              <a:gd name="connsiteX18297" fmla="*/ 2868562 w 10505529"/>
              <a:gd name="connsiteY18297" fmla="*/ 4391638 h 7458372"/>
              <a:gd name="connsiteX18298" fmla="*/ 2871225 w 10505529"/>
              <a:gd name="connsiteY18298" fmla="*/ 4387379 h 7458372"/>
              <a:gd name="connsiteX18299" fmla="*/ 2872156 w 10505529"/>
              <a:gd name="connsiteY18299" fmla="*/ 4381921 h 7458372"/>
              <a:gd name="connsiteX18300" fmla="*/ 2871225 w 10505529"/>
              <a:gd name="connsiteY18300" fmla="*/ 4376729 h 7458372"/>
              <a:gd name="connsiteX18301" fmla="*/ 2868562 w 10505529"/>
              <a:gd name="connsiteY18301" fmla="*/ 4372603 h 7458372"/>
              <a:gd name="connsiteX18302" fmla="*/ 2864569 w 10505529"/>
              <a:gd name="connsiteY18302" fmla="*/ 4369940 h 7458372"/>
              <a:gd name="connsiteX18303" fmla="*/ 2859510 w 10505529"/>
              <a:gd name="connsiteY18303" fmla="*/ 4369009 h 7458372"/>
              <a:gd name="connsiteX18304" fmla="*/ 2641852 w 10505529"/>
              <a:gd name="connsiteY18304" fmla="*/ 4369009 h 7458372"/>
              <a:gd name="connsiteX18305" fmla="*/ 2631869 w 10505529"/>
              <a:gd name="connsiteY18305" fmla="*/ 4372603 h 7458372"/>
              <a:gd name="connsiteX18306" fmla="*/ 2628274 w 10505529"/>
              <a:gd name="connsiteY18306" fmla="*/ 4382054 h 7458372"/>
              <a:gd name="connsiteX18307" fmla="*/ 2631869 w 10505529"/>
              <a:gd name="connsiteY18307" fmla="*/ 4391505 h 7458372"/>
              <a:gd name="connsiteX18308" fmla="*/ 2641852 w 10505529"/>
              <a:gd name="connsiteY18308" fmla="*/ 4394967 h 7458372"/>
              <a:gd name="connsiteX18309" fmla="*/ 2647177 w 10505529"/>
              <a:gd name="connsiteY18309" fmla="*/ 4394035 h 7458372"/>
              <a:gd name="connsiteX18310" fmla="*/ 2650904 w 10505529"/>
              <a:gd name="connsiteY18310" fmla="*/ 4391638 h 7458372"/>
              <a:gd name="connsiteX18311" fmla="*/ 2653567 w 10505529"/>
              <a:gd name="connsiteY18311" fmla="*/ 4387379 h 7458372"/>
              <a:gd name="connsiteX18312" fmla="*/ 2654498 w 10505529"/>
              <a:gd name="connsiteY18312" fmla="*/ 4381921 h 7458372"/>
              <a:gd name="connsiteX18313" fmla="*/ 2653567 w 10505529"/>
              <a:gd name="connsiteY18313" fmla="*/ 4376729 h 7458372"/>
              <a:gd name="connsiteX18314" fmla="*/ 2650904 w 10505529"/>
              <a:gd name="connsiteY18314" fmla="*/ 4372603 h 7458372"/>
              <a:gd name="connsiteX18315" fmla="*/ 2646911 w 10505529"/>
              <a:gd name="connsiteY18315" fmla="*/ 4369940 h 7458372"/>
              <a:gd name="connsiteX18316" fmla="*/ 2641852 w 10505529"/>
              <a:gd name="connsiteY18316" fmla="*/ 4369009 h 7458372"/>
              <a:gd name="connsiteX18317" fmla="*/ 2424194 w 10505529"/>
              <a:gd name="connsiteY18317" fmla="*/ 4369009 h 7458372"/>
              <a:gd name="connsiteX18318" fmla="*/ 2414211 w 10505529"/>
              <a:gd name="connsiteY18318" fmla="*/ 4372603 h 7458372"/>
              <a:gd name="connsiteX18319" fmla="*/ 2410617 w 10505529"/>
              <a:gd name="connsiteY18319" fmla="*/ 4382054 h 7458372"/>
              <a:gd name="connsiteX18320" fmla="*/ 2414211 w 10505529"/>
              <a:gd name="connsiteY18320" fmla="*/ 4391505 h 7458372"/>
              <a:gd name="connsiteX18321" fmla="*/ 2424194 w 10505529"/>
              <a:gd name="connsiteY18321" fmla="*/ 4394967 h 7458372"/>
              <a:gd name="connsiteX18322" fmla="*/ 2429520 w 10505529"/>
              <a:gd name="connsiteY18322" fmla="*/ 4394035 h 7458372"/>
              <a:gd name="connsiteX18323" fmla="*/ 2433246 w 10505529"/>
              <a:gd name="connsiteY18323" fmla="*/ 4391638 h 7458372"/>
              <a:gd name="connsiteX18324" fmla="*/ 2435910 w 10505529"/>
              <a:gd name="connsiteY18324" fmla="*/ 4387379 h 7458372"/>
              <a:gd name="connsiteX18325" fmla="*/ 2436841 w 10505529"/>
              <a:gd name="connsiteY18325" fmla="*/ 4381921 h 7458372"/>
              <a:gd name="connsiteX18326" fmla="*/ 2435910 w 10505529"/>
              <a:gd name="connsiteY18326" fmla="*/ 4376729 h 7458372"/>
              <a:gd name="connsiteX18327" fmla="*/ 2433246 w 10505529"/>
              <a:gd name="connsiteY18327" fmla="*/ 4372603 h 7458372"/>
              <a:gd name="connsiteX18328" fmla="*/ 2429253 w 10505529"/>
              <a:gd name="connsiteY18328" fmla="*/ 4369940 h 7458372"/>
              <a:gd name="connsiteX18329" fmla="*/ 2424194 w 10505529"/>
              <a:gd name="connsiteY18329" fmla="*/ 4369009 h 7458372"/>
              <a:gd name="connsiteX18330" fmla="*/ 2206537 w 10505529"/>
              <a:gd name="connsiteY18330" fmla="*/ 4369009 h 7458372"/>
              <a:gd name="connsiteX18331" fmla="*/ 2196553 w 10505529"/>
              <a:gd name="connsiteY18331" fmla="*/ 4372603 h 7458372"/>
              <a:gd name="connsiteX18332" fmla="*/ 2192959 w 10505529"/>
              <a:gd name="connsiteY18332" fmla="*/ 4382054 h 7458372"/>
              <a:gd name="connsiteX18333" fmla="*/ 2196553 w 10505529"/>
              <a:gd name="connsiteY18333" fmla="*/ 4391505 h 7458372"/>
              <a:gd name="connsiteX18334" fmla="*/ 2206537 w 10505529"/>
              <a:gd name="connsiteY18334" fmla="*/ 4394967 h 7458372"/>
              <a:gd name="connsiteX18335" fmla="*/ 2211862 w 10505529"/>
              <a:gd name="connsiteY18335" fmla="*/ 4394035 h 7458372"/>
              <a:gd name="connsiteX18336" fmla="*/ 2215589 w 10505529"/>
              <a:gd name="connsiteY18336" fmla="*/ 4391638 h 7458372"/>
              <a:gd name="connsiteX18337" fmla="*/ 2218252 w 10505529"/>
              <a:gd name="connsiteY18337" fmla="*/ 4387379 h 7458372"/>
              <a:gd name="connsiteX18338" fmla="*/ 2219183 w 10505529"/>
              <a:gd name="connsiteY18338" fmla="*/ 4381921 h 7458372"/>
              <a:gd name="connsiteX18339" fmla="*/ 2218252 w 10505529"/>
              <a:gd name="connsiteY18339" fmla="*/ 4376729 h 7458372"/>
              <a:gd name="connsiteX18340" fmla="*/ 2215589 w 10505529"/>
              <a:gd name="connsiteY18340" fmla="*/ 4372603 h 7458372"/>
              <a:gd name="connsiteX18341" fmla="*/ 2211596 w 10505529"/>
              <a:gd name="connsiteY18341" fmla="*/ 4369940 h 7458372"/>
              <a:gd name="connsiteX18342" fmla="*/ 2206537 w 10505529"/>
              <a:gd name="connsiteY18342" fmla="*/ 4369009 h 7458372"/>
              <a:gd name="connsiteX18343" fmla="*/ 1989012 w 10505529"/>
              <a:gd name="connsiteY18343" fmla="*/ 4369009 h 7458372"/>
              <a:gd name="connsiteX18344" fmla="*/ 1979029 w 10505529"/>
              <a:gd name="connsiteY18344" fmla="*/ 4372603 h 7458372"/>
              <a:gd name="connsiteX18345" fmla="*/ 1975435 w 10505529"/>
              <a:gd name="connsiteY18345" fmla="*/ 4382054 h 7458372"/>
              <a:gd name="connsiteX18346" fmla="*/ 1979029 w 10505529"/>
              <a:gd name="connsiteY18346" fmla="*/ 4391505 h 7458372"/>
              <a:gd name="connsiteX18347" fmla="*/ 1989012 w 10505529"/>
              <a:gd name="connsiteY18347" fmla="*/ 4394967 h 7458372"/>
              <a:gd name="connsiteX18348" fmla="*/ 1994337 w 10505529"/>
              <a:gd name="connsiteY18348" fmla="*/ 4394035 h 7458372"/>
              <a:gd name="connsiteX18349" fmla="*/ 1998064 w 10505529"/>
              <a:gd name="connsiteY18349" fmla="*/ 4391638 h 7458372"/>
              <a:gd name="connsiteX18350" fmla="*/ 2000727 w 10505529"/>
              <a:gd name="connsiteY18350" fmla="*/ 4387379 h 7458372"/>
              <a:gd name="connsiteX18351" fmla="*/ 2001658 w 10505529"/>
              <a:gd name="connsiteY18351" fmla="*/ 4381921 h 7458372"/>
              <a:gd name="connsiteX18352" fmla="*/ 2000727 w 10505529"/>
              <a:gd name="connsiteY18352" fmla="*/ 4376729 h 7458372"/>
              <a:gd name="connsiteX18353" fmla="*/ 1998064 w 10505529"/>
              <a:gd name="connsiteY18353" fmla="*/ 4372603 h 7458372"/>
              <a:gd name="connsiteX18354" fmla="*/ 1994071 w 10505529"/>
              <a:gd name="connsiteY18354" fmla="*/ 4369940 h 7458372"/>
              <a:gd name="connsiteX18355" fmla="*/ 1989012 w 10505529"/>
              <a:gd name="connsiteY18355" fmla="*/ 4369009 h 7458372"/>
              <a:gd name="connsiteX18356" fmla="*/ 1771376 w 10505529"/>
              <a:gd name="connsiteY18356" fmla="*/ 4369009 h 7458372"/>
              <a:gd name="connsiteX18357" fmla="*/ 1761394 w 10505529"/>
              <a:gd name="connsiteY18357" fmla="*/ 4372603 h 7458372"/>
              <a:gd name="connsiteX18358" fmla="*/ 1757800 w 10505529"/>
              <a:gd name="connsiteY18358" fmla="*/ 4382054 h 7458372"/>
              <a:gd name="connsiteX18359" fmla="*/ 1761394 w 10505529"/>
              <a:gd name="connsiteY18359" fmla="*/ 4391505 h 7458372"/>
              <a:gd name="connsiteX18360" fmla="*/ 1771376 w 10505529"/>
              <a:gd name="connsiteY18360" fmla="*/ 4394967 h 7458372"/>
              <a:gd name="connsiteX18361" fmla="*/ 1776701 w 10505529"/>
              <a:gd name="connsiteY18361" fmla="*/ 4394035 h 7458372"/>
              <a:gd name="connsiteX18362" fmla="*/ 1780427 w 10505529"/>
              <a:gd name="connsiteY18362" fmla="*/ 4391638 h 7458372"/>
              <a:gd name="connsiteX18363" fmla="*/ 1783090 w 10505529"/>
              <a:gd name="connsiteY18363" fmla="*/ 4387379 h 7458372"/>
              <a:gd name="connsiteX18364" fmla="*/ 1784155 w 10505529"/>
              <a:gd name="connsiteY18364" fmla="*/ 4381921 h 7458372"/>
              <a:gd name="connsiteX18365" fmla="*/ 1783090 w 10505529"/>
              <a:gd name="connsiteY18365" fmla="*/ 4376729 h 7458372"/>
              <a:gd name="connsiteX18366" fmla="*/ 1780427 w 10505529"/>
              <a:gd name="connsiteY18366" fmla="*/ 4372603 h 7458372"/>
              <a:gd name="connsiteX18367" fmla="*/ 1776435 w 10505529"/>
              <a:gd name="connsiteY18367" fmla="*/ 4369940 h 7458372"/>
              <a:gd name="connsiteX18368" fmla="*/ 1771376 w 10505529"/>
              <a:gd name="connsiteY18368" fmla="*/ 4369009 h 7458372"/>
              <a:gd name="connsiteX18369" fmla="*/ 1553737 w 10505529"/>
              <a:gd name="connsiteY18369" fmla="*/ 4369009 h 7458372"/>
              <a:gd name="connsiteX18370" fmla="*/ 1543754 w 10505529"/>
              <a:gd name="connsiteY18370" fmla="*/ 4372603 h 7458372"/>
              <a:gd name="connsiteX18371" fmla="*/ 1540160 w 10505529"/>
              <a:gd name="connsiteY18371" fmla="*/ 4382054 h 7458372"/>
              <a:gd name="connsiteX18372" fmla="*/ 1543754 w 10505529"/>
              <a:gd name="connsiteY18372" fmla="*/ 4391505 h 7458372"/>
              <a:gd name="connsiteX18373" fmla="*/ 1553737 w 10505529"/>
              <a:gd name="connsiteY18373" fmla="*/ 4394967 h 7458372"/>
              <a:gd name="connsiteX18374" fmla="*/ 1559062 w 10505529"/>
              <a:gd name="connsiteY18374" fmla="*/ 4394035 h 7458372"/>
              <a:gd name="connsiteX18375" fmla="*/ 1562789 w 10505529"/>
              <a:gd name="connsiteY18375" fmla="*/ 4391638 h 7458372"/>
              <a:gd name="connsiteX18376" fmla="*/ 1565452 w 10505529"/>
              <a:gd name="connsiteY18376" fmla="*/ 4387379 h 7458372"/>
              <a:gd name="connsiteX18377" fmla="*/ 1566517 w 10505529"/>
              <a:gd name="connsiteY18377" fmla="*/ 4381921 h 7458372"/>
              <a:gd name="connsiteX18378" fmla="*/ 1565452 w 10505529"/>
              <a:gd name="connsiteY18378" fmla="*/ 4376729 h 7458372"/>
              <a:gd name="connsiteX18379" fmla="*/ 1562789 w 10505529"/>
              <a:gd name="connsiteY18379" fmla="*/ 4372603 h 7458372"/>
              <a:gd name="connsiteX18380" fmla="*/ 1558796 w 10505529"/>
              <a:gd name="connsiteY18380" fmla="*/ 4369940 h 7458372"/>
              <a:gd name="connsiteX18381" fmla="*/ 1553737 w 10505529"/>
              <a:gd name="connsiteY18381" fmla="*/ 4369009 h 7458372"/>
              <a:gd name="connsiteX18382" fmla="*/ 1336093 w 10505529"/>
              <a:gd name="connsiteY18382" fmla="*/ 4369009 h 7458372"/>
              <a:gd name="connsiteX18383" fmla="*/ 1326110 w 10505529"/>
              <a:gd name="connsiteY18383" fmla="*/ 4372603 h 7458372"/>
              <a:gd name="connsiteX18384" fmla="*/ 1322515 w 10505529"/>
              <a:gd name="connsiteY18384" fmla="*/ 4382054 h 7458372"/>
              <a:gd name="connsiteX18385" fmla="*/ 1326110 w 10505529"/>
              <a:gd name="connsiteY18385" fmla="*/ 4391505 h 7458372"/>
              <a:gd name="connsiteX18386" fmla="*/ 1336093 w 10505529"/>
              <a:gd name="connsiteY18386" fmla="*/ 4394967 h 7458372"/>
              <a:gd name="connsiteX18387" fmla="*/ 1341419 w 10505529"/>
              <a:gd name="connsiteY18387" fmla="*/ 4394035 h 7458372"/>
              <a:gd name="connsiteX18388" fmla="*/ 1345147 w 10505529"/>
              <a:gd name="connsiteY18388" fmla="*/ 4391638 h 7458372"/>
              <a:gd name="connsiteX18389" fmla="*/ 1347809 w 10505529"/>
              <a:gd name="connsiteY18389" fmla="*/ 4387379 h 7458372"/>
              <a:gd name="connsiteX18390" fmla="*/ 1348875 w 10505529"/>
              <a:gd name="connsiteY18390" fmla="*/ 4381921 h 7458372"/>
              <a:gd name="connsiteX18391" fmla="*/ 1347809 w 10505529"/>
              <a:gd name="connsiteY18391" fmla="*/ 4376729 h 7458372"/>
              <a:gd name="connsiteX18392" fmla="*/ 1345147 w 10505529"/>
              <a:gd name="connsiteY18392" fmla="*/ 4372603 h 7458372"/>
              <a:gd name="connsiteX18393" fmla="*/ 1341152 w 10505529"/>
              <a:gd name="connsiteY18393" fmla="*/ 4369940 h 7458372"/>
              <a:gd name="connsiteX18394" fmla="*/ 1336093 w 10505529"/>
              <a:gd name="connsiteY18394" fmla="*/ 4369009 h 7458372"/>
              <a:gd name="connsiteX18395" fmla="*/ 1118581 w 10505529"/>
              <a:gd name="connsiteY18395" fmla="*/ 4369009 h 7458372"/>
              <a:gd name="connsiteX18396" fmla="*/ 1108596 w 10505529"/>
              <a:gd name="connsiteY18396" fmla="*/ 4372603 h 7458372"/>
              <a:gd name="connsiteX18397" fmla="*/ 1104869 w 10505529"/>
              <a:gd name="connsiteY18397" fmla="*/ 4382054 h 7458372"/>
              <a:gd name="connsiteX18398" fmla="*/ 1108463 w 10505529"/>
              <a:gd name="connsiteY18398" fmla="*/ 4391505 h 7458372"/>
              <a:gd name="connsiteX18399" fmla="*/ 1118448 w 10505529"/>
              <a:gd name="connsiteY18399" fmla="*/ 4394967 h 7458372"/>
              <a:gd name="connsiteX18400" fmla="*/ 1123905 w 10505529"/>
              <a:gd name="connsiteY18400" fmla="*/ 4394035 h 7458372"/>
              <a:gd name="connsiteX18401" fmla="*/ 1127635 w 10505529"/>
              <a:gd name="connsiteY18401" fmla="*/ 4391638 h 7458372"/>
              <a:gd name="connsiteX18402" fmla="*/ 1130298 w 10505529"/>
              <a:gd name="connsiteY18402" fmla="*/ 4387379 h 7458372"/>
              <a:gd name="connsiteX18403" fmla="*/ 1131363 w 10505529"/>
              <a:gd name="connsiteY18403" fmla="*/ 4381921 h 7458372"/>
              <a:gd name="connsiteX18404" fmla="*/ 1130298 w 10505529"/>
              <a:gd name="connsiteY18404" fmla="*/ 4376729 h 7458372"/>
              <a:gd name="connsiteX18405" fmla="*/ 1127635 w 10505529"/>
              <a:gd name="connsiteY18405" fmla="*/ 4372603 h 7458372"/>
              <a:gd name="connsiteX18406" fmla="*/ 1123639 w 10505529"/>
              <a:gd name="connsiteY18406" fmla="*/ 4369940 h 7458372"/>
              <a:gd name="connsiteX18407" fmla="*/ 1118581 w 10505529"/>
              <a:gd name="connsiteY18407" fmla="*/ 4369009 h 7458372"/>
              <a:gd name="connsiteX18408" fmla="*/ 901069 w 10505529"/>
              <a:gd name="connsiteY18408" fmla="*/ 4369009 h 7458372"/>
              <a:gd name="connsiteX18409" fmla="*/ 891085 w 10505529"/>
              <a:gd name="connsiteY18409" fmla="*/ 4372603 h 7458372"/>
              <a:gd name="connsiteX18410" fmla="*/ 887358 w 10505529"/>
              <a:gd name="connsiteY18410" fmla="*/ 4382054 h 7458372"/>
              <a:gd name="connsiteX18411" fmla="*/ 890952 w 10505529"/>
              <a:gd name="connsiteY18411" fmla="*/ 4391505 h 7458372"/>
              <a:gd name="connsiteX18412" fmla="*/ 900935 w 10505529"/>
              <a:gd name="connsiteY18412" fmla="*/ 4394967 h 7458372"/>
              <a:gd name="connsiteX18413" fmla="*/ 906393 w 10505529"/>
              <a:gd name="connsiteY18413" fmla="*/ 4394035 h 7458372"/>
              <a:gd name="connsiteX18414" fmla="*/ 910121 w 10505529"/>
              <a:gd name="connsiteY18414" fmla="*/ 4391638 h 7458372"/>
              <a:gd name="connsiteX18415" fmla="*/ 912783 w 10505529"/>
              <a:gd name="connsiteY18415" fmla="*/ 4387379 h 7458372"/>
              <a:gd name="connsiteX18416" fmla="*/ 913848 w 10505529"/>
              <a:gd name="connsiteY18416" fmla="*/ 4381921 h 7458372"/>
              <a:gd name="connsiteX18417" fmla="*/ 912783 w 10505529"/>
              <a:gd name="connsiteY18417" fmla="*/ 4376729 h 7458372"/>
              <a:gd name="connsiteX18418" fmla="*/ 910121 w 10505529"/>
              <a:gd name="connsiteY18418" fmla="*/ 4372603 h 7458372"/>
              <a:gd name="connsiteX18419" fmla="*/ 906127 w 10505529"/>
              <a:gd name="connsiteY18419" fmla="*/ 4369940 h 7458372"/>
              <a:gd name="connsiteX18420" fmla="*/ 901069 w 10505529"/>
              <a:gd name="connsiteY18420" fmla="*/ 4369009 h 7458372"/>
              <a:gd name="connsiteX18421" fmla="*/ 683294 w 10505529"/>
              <a:gd name="connsiteY18421" fmla="*/ 4369009 h 7458372"/>
              <a:gd name="connsiteX18422" fmla="*/ 673311 w 10505529"/>
              <a:gd name="connsiteY18422" fmla="*/ 4372603 h 7458372"/>
              <a:gd name="connsiteX18423" fmla="*/ 669717 w 10505529"/>
              <a:gd name="connsiteY18423" fmla="*/ 4382054 h 7458372"/>
              <a:gd name="connsiteX18424" fmla="*/ 673311 w 10505529"/>
              <a:gd name="connsiteY18424" fmla="*/ 4391505 h 7458372"/>
              <a:gd name="connsiteX18425" fmla="*/ 683294 w 10505529"/>
              <a:gd name="connsiteY18425" fmla="*/ 4394967 h 7458372"/>
              <a:gd name="connsiteX18426" fmla="*/ 688619 w 10505529"/>
              <a:gd name="connsiteY18426" fmla="*/ 4394035 h 7458372"/>
              <a:gd name="connsiteX18427" fmla="*/ 692346 w 10505529"/>
              <a:gd name="connsiteY18427" fmla="*/ 4391638 h 7458372"/>
              <a:gd name="connsiteX18428" fmla="*/ 695009 w 10505529"/>
              <a:gd name="connsiteY18428" fmla="*/ 4387379 h 7458372"/>
              <a:gd name="connsiteX18429" fmla="*/ 696074 w 10505529"/>
              <a:gd name="connsiteY18429" fmla="*/ 4381921 h 7458372"/>
              <a:gd name="connsiteX18430" fmla="*/ 695009 w 10505529"/>
              <a:gd name="connsiteY18430" fmla="*/ 4376729 h 7458372"/>
              <a:gd name="connsiteX18431" fmla="*/ 692346 w 10505529"/>
              <a:gd name="connsiteY18431" fmla="*/ 4372603 h 7458372"/>
              <a:gd name="connsiteX18432" fmla="*/ 688353 w 10505529"/>
              <a:gd name="connsiteY18432" fmla="*/ 4369940 h 7458372"/>
              <a:gd name="connsiteX18433" fmla="*/ 683294 w 10505529"/>
              <a:gd name="connsiteY18433" fmla="*/ 4369009 h 7458372"/>
              <a:gd name="connsiteX18434" fmla="*/ 465652 w 10505529"/>
              <a:gd name="connsiteY18434" fmla="*/ 4369009 h 7458372"/>
              <a:gd name="connsiteX18435" fmla="*/ 455669 w 10505529"/>
              <a:gd name="connsiteY18435" fmla="*/ 4372603 h 7458372"/>
              <a:gd name="connsiteX18436" fmla="*/ 452075 w 10505529"/>
              <a:gd name="connsiteY18436" fmla="*/ 4382054 h 7458372"/>
              <a:gd name="connsiteX18437" fmla="*/ 455669 w 10505529"/>
              <a:gd name="connsiteY18437" fmla="*/ 4391505 h 7458372"/>
              <a:gd name="connsiteX18438" fmla="*/ 465652 w 10505529"/>
              <a:gd name="connsiteY18438" fmla="*/ 4394967 h 7458372"/>
              <a:gd name="connsiteX18439" fmla="*/ 470977 w 10505529"/>
              <a:gd name="connsiteY18439" fmla="*/ 4394035 h 7458372"/>
              <a:gd name="connsiteX18440" fmla="*/ 474704 w 10505529"/>
              <a:gd name="connsiteY18440" fmla="*/ 4391638 h 7458372"/>
              <a:gd name="connsiteX18441" fmla="*/ 477367 w 10505529"/>
              <a:gd name="connsiteY18441" fmla="*/ 4387379 h 7458372"/>
              <a:gd name="connsiteX18442" fmla="*/ 478432 w 10505529"/>
              <a:gd name="connsiteY18442" fmla="*/ 4381921 h 7458372"/>
              <a:gd name="connsiteX18443" fmla="*/ 477367 w 10505529"/>
              <a:gd name="connsiteY18443" fmla="*/ 4376729 h 7458372"/>
              <a:gd name="connsiteX18444" fmla="*/ 474704 w 10505529"/>
              <a:gd name="connsiteY18444" fmla="*/ 4372603 h 7458372"/>
              <a:gd name="connsiteX18445" fmla="*/ 470711 w 10505529"/>
              <a:gd name="connsiteY18445" fmla="*/ 4369940 h 7458372"/>
              <a:gd name="connsiteX18446" fmla="*/ 465652 w 10505529"/>
              <a:gd name="connsiteY18446" fmla="*/ 4369009 h 7458372"/>
              <a:gd name="connsiteX18447" fmla="*/ 248010 w 10505529"/>
              <a:gd name="connsiteY18447" fmla="*/ 4369009 h 7458372"/>
              <a:gd name="connsiteX18448" fmla="*/ 238027 w 10505529"/>
              <a:gd name="connsiteY18448" fmla="*/ 4372603 h 7458372"/>
              <a:gd name="connsiteX18449" fmla="*/ 234433 w 10505529"/>
              <a:gd name="connsiteY18449" fmla="*/ 4382054 h 7458372"/>
              <a:gd name="connsiteX18450" fmla="*/ 238027 w 10505529"/>
              <a:gd name="connsiteY18450" fmla="*/ 4391505 h 7458372"/>
              <a:gd name="connsiteX18451" fmla="*/ 248010 w 10505529"/>
              <a:gd name="connsiteY18451" fmla="*/ 4394967 h 7458372"/>
              <a:gd name="connsiteX18452" fmla="*/ 253334 w 10505529"/>
              <a:gd name="connsiteY18452" fmla="*/ 4394035 h 7458372"/>
              <a:gd name="connsiteX18453" fmla="*/ 257061 w 10505529"/>
              <a:gd name="connsiteY18453" fmla="*/ 4391638 h 7458372"/>
              <a:gd name="connsiteX18454" fmla="*/ 259724 w 10505529"/>
              <a:gd name="connsiteY18454" fmla="*/ 4387379 h 7458372"/>
              <a:gd name="connsiteX18455" fmla="*/ 260789 w 10505529"/>
              <a:gd name="connsiteY18455" fmla="*/ 4381921 h 7458372"/>
              <a:gd name="connsiteX18456" fmla="*/ 259724 w 10505529"/>
              <a:gd name="connsiteY18456" fmla="*/ 4376729 h 7458372"/>
              <a:gd name="connsiteX18457" fmla="*/ 257061 w 10505529"/>
              <a:gd name="connsiteY18457" fmla="*/ 4372603 h 7458372"/>
              <a:gd name="connsiteX18458" fmla="*/ 253068 w 10505529"/>
              <a:gd name="connsiteY18458" fmla="*/ 4369940 h 7458372"/>
              <a:gd name="connsiteX18459" fmla="*/ 248010 w 10505529"/>
              <a:gd name="connsiteY18459" fmla="*/ 4369009 h 7458372"/>
              <a:gd name="connsiteX18460" fmla="*/ 30368 w 10505529"/>
              <a:gd name="connsiteY18460" fmla="*/ 4369009 h 7458372"/>
              <a:gd name="connsiteX18461" fmla="*/ 20384 w 10505529"/>
              <a:gd name="connsiteY18461" fmla="*/ 4372603 h 7458372"/>
              <a:gd name="connsiteX18462" fmla="*/ 16791 w 10505529"/>
              <a:gd name="connsiteY18462" fmla="*/ 4382054 h 7458372"/>
              <a:gd name="connsiteX18463" fmla="*/ 20384 w 10505529"/>
              <a:gd name="connsiteY18463" fmla="*/ 4391505 h 7458372"/>
              <a:gd name="connsiteX18464" fmla="*/ 30368 w 10505529"/>
              <a:gd name="connsiteY18464" fmla="*/ 4394967 h 7458372"/>
              <a:gd name="connsiteX18465" fmla="*/ 35693 w 10505529"/>
              <a:gd name="connsiteY18465" fmla="*/ 4394035 h 7458372"/>
              <a:gd name="connsiteX18466" fmla="*/ 39420 w 10505529"/>
              <a:gd name="connsiteY18466" fmla="*/ 4391638 h 7458372"/>
              <a:gd name="connsiteX18467" fmla="*/ 42083 w 10505529"/>
              <a:gd name="connsiteY18467" fmla="*/ 4387379 h 7458372"/>
              <a:gd name="connsiteX18468" fmla="*/ 43014 w 10505529"/>
              <a:gd name="connsiteY18468" fmla="*/ 4381921 h 7458372"/>
              <a:gd name="connsiteX18469" fmla="*/ 42083 w 10505529"/>
              <a:gd name="connsiteY18469" fmla="*/ 4376729 h 7458372"/>
              <a:gd name="connsiteX18470" fmla="*/ 39420 w 10505529"/>
              <a:gd name="connsiteY18470" fmla="*/ 4372603 h 7458372"/>
              <a:gd name="connsiteX18471" fmla="*/ 35427 w 10505529"/>
              <a:gd name="connsiteY18471" fmla="*/ 4369940 h 7458372"/>
              <a:gd name="connsiteX18472" fmla="*/ 30368 w 10505529"/>
              <a:gd name="connsiteY18472" fmla="*/ 4369009 h 7458372"/>
              <a:gd name="connsiteX18473" fmla="*/ 10475977 w 10505529"/>
              <a:gd name="connsiteY18473" fmla="*/ 4352369 h 7458372"/>
              <a:gd name="connsiteX18474" fmla="*/ 10487824 w 10505529"/>
              <a:gd name="connsiteY18474" fmla="*/ 4355031 h 7458372"/>
              <a:gd name="connsiteX18475" fmla="*/ 10497143 w 10505529"/>
              <a:gd name="connsiteY18475" fmla="*/ 4361421 h 7458372"/>
              <a:gd name="connsiteX18476" fmla="*/ 10503266 w 10505529"/>
              <a:gd name="connsiteY18476" fmla="*/ 4370739 h 7458372"/>
              <a:gd name="connsiteX18477" fmla="*/ 10505529 w 10505529"/>
              <a:gd name="connsiteY18477" fmla="*/ 4382187 h 7458372"/>
              <a:gd name="connsiteX18478" fmla="*/ 10503266 w 10505529"/>
              <a:gd name="connsiteY18478" fmla="*/ 4393902 h 7458372"/>
              <a:gd name="connsiteX18479" fmla="*/ 10497143 w 10505529"/>
              <a:gd name="connsiteY18479" fmla="*/ 4403220 h 7458372"/>
              <a:gd name="connsiteX18480" fmla="*/ 10487824 w 10505529"/>
              <a:gd name="connsiteY18480" fmla="*/ 4409477 h 7458372"/>
              <a:gd name="connsiteX18481" fmla="*/ 10475977 w 10505529"/>
              <a:gd name="connsiteY18481" fmla="*/ 4411740 h 7458372"/>
              <a:gd name="connsiteX18482" fmla="*/ 10454145 w 10505529"/>
              <a:gd name="connsiteY18482" fmla="*/ 4403220 h 7458372"/>
              <a:gd name="connsiteX18483" fmla="*/ 10445759 w 10505529"/>
              <a:gd name="connsiteY18483" fmla="*/ 4382054 h 7458372"/>
              <a:gd name="connsiteX18484" fmla="*/ 10454145 w 10505529"/>
              <a:gd name="connsiteY18484" fmla="*/ 4361021 h 7458372"/>
              <a:gd name="connsiteX18485" fmla="*/ 10475977 w 10505529"/>
              <a:gd name="connsiteY18485" fmla="*/ 4352369 h 7458372"/>
              <a:gd name="connsiteX18486" fmla="*/ 10258466 w 10505529"/>
              <a:gd name="connsiteY18486" fmla="*/ 4352369 h 7458372"/>
              <a:gd name="connsiteX18487" fmla="*/ 10270313 w 10505529"/>
              <a:gd name="connsiteY18487" fmla="*/ 4355031 h 7458372"/>
              <a:gd name="connsiteX18488" fmla="*/ 10279631 w 10505529"/>
              <a:gd name="connsiteY18488" fmla="*/ 4361421 h 7458372"/>
              <a:gd name="connsiteX18489" fmla="*/ 10285754 w 10505529"/>
              <a:gd name="connsiteY18489" fmla="*/ 4370739 h 7458372"/>
              <a:gd name="connsiteX18490" fmla="*/ 10288017 w 10505529"/>
              <a:gd name="connsiteY18490" fmla="*/ 4382187 h 7458372"/>
              <a:gd name="connsiteX18491" fmla="*/ 10285754 w 10505529"/>
              <a:gd name="connsiteY18491" fmla="*/ 4393902 h 7458372"/>
              <a:gd name="connsiteX18492" fmla="*/ 10279631 w 10505529"/>
              <a:gd name="connsiteY18492" fmla="*/ 4403220 h 7458372"/>
              <a:gd name="connsiteX18493" fmla="*/ 10270313 w 10505529"/>
              <a:gd name="connsiteY18493" fmla="*/ 4409477 h 7458372"/>
              <a:gd name="connsiteX18494" fmla="*/ 10258466 w 10505529"/>
              <a:gd name="connsiteY18494" fmla="*/ 4411740 h 7458372"/>
              <a:gd name="connsiteX18495" fmla="*/ 10236633 w 10505529"/>
              <a:gd name="connsiteY18495" fmla="*/ 4403220 h 7458372"/>
              <a:gd name="connsiteX18496" fmla="*/ 10228247 w 10505529"/>
              <a:gd name="connsiteY18496" fmla="*/ 4382054 h 7458372"/>
              <a:gd name="connsiteX18497" fmla="*/ 10236633 w 10505529"/>
              <a:gd name="connsiteY18497" fmla="*/ 4361021 h 7458372"/>
              <a:gd name="connsiteX18498" fmla="*/ 10258466 w 10505529"/>
              <a:gd name="connsiteY18498" fmla="*/ 4352369 h 7458372"/>
              <a:gd name="connsiteX18499" fmla="*/ 10040820 w 10505529"/>
              <a:gd name="connsiteY18499" fmla="*/ 4352369 h 7458372"/>
              <a:gd name="connsiteX18500" fmla="*/ 10052534 w 10505529"/>
              <a:gd name="connsiteY18500" fmla="*/ 4355031 h 7458372"/>
              <a:gd name="connsiteX18501" fmla="*/ 10061852 w 10505529"/>
              <a:gd name="connsiteY18501" fmla="*/ 4361421 h 7458372"/>
              <a:gd name="connsiteX18502" fmla="*/ 10067976 w 10505529"/>
              <a:gd name="connsiteY18502" fmla="*/ 4370739 h 7458372"/>
              <a:gd name="connsiteX18503" fmla="*/ 10070239 w 10505529"/>
              <a:gd name="connsiteY18503" fmla="*/ 4382187 h 7458372"/>
              <a:gd name="connsiteX18504" fmla="*/ 10067976 w 10505529"/>
              <a:gd name="connsiteY18504" fmla="*/ 4393902 h 7458372"/>
              <a:gd name="connsiteX18505" fmla="*/ 10061852 w 10505529"/>
              <a:gd name="connsiteY18505" fmla="*/ 4403220 h 7458372"/>
              <a:gd name="connsiteX18506" fmla="*/ 10052534 w 10505529"/>
              <a:gd name="connsiteY18506" fmla="*/ 4409477 h 7458372"/>
              <a:gd name="connsiteX18507" fmla="*/ 10040820 w 10505529"/>
              <a:gd name="connsiteY18507" fmla="*/ 4411740 h 7458372"/>
              <a:gd name="connsiteX18508" fmla="*/ 10018988 w 10505529"/>
              <a:gd name="connsiteY18508" fmla="*/ 4403220 h 7458372"/>
              <a:gd name="connsiteX18509" fmla="*/ 10010602 w 10505529"/>
              <a:gd name="connsiteY18509" fmla="*/ 4382054 h 7458372"/>
              <a:gd name="connsiteX18510" fmla="*/ 10018988 w 10505529"/>
              <a:gd name="connsiteY18510" fmla="*/ 4361021 h 7458372"/>
              <a:gd name="connsiteX18511" fmla="*/ 10040820 w 10505529"/>
              <a:gd name="connsiteY18511" fmla="*/ 4352369 h 7458372"/>
              <a:gd name="connsiteX18512" fmla="*/ 9823176 w 10505529"/>
              <a:gd name="connsiteY18512" fmla="*/ 4352369 h 7458372"/>
              <a:gd name="connsiteX18513" fmla="*/ 9834890 w 10505529"/>
              <a:gd name="connsiteY18513" fmla="*/ 4355031 h 7458372"/>
              <a:gd name="connsiteX18514" fmla="*/ 9844208 w 10505529"/>
              <a:gd name="connsiteY18514" fmla="*/ 4361421 h 7458372"/>
              <a:gd name="connsiteX18515" fmla="*/ 9850331 w 10505529"/>
              <a:gd name="connsiteY18515" fmla="*/ 4370739 h 7458372"/>
              <a:gd name="connsiteX18516" fmla="*/ 9852595 w 10505529"/>
              <a:gd name="connsiteY18516" fmla="*/ 4382187 h 7458372"/>
              <a:gd name="connsiteX18517" fmla="*/ 9850331 w 10505529"/>
              <a:gd name="connsiteY18517" fmla="*/ 4393902 h 7458372"/>
              <a:gd name="connsiteX18518" fmla="*/ 9844208 w 10505529"/>
              <a:gd name="connsiteY18518" fmla="*/ 4403220 h 7458372"/>
              <a:gd name="connsiteX18519" fmla="*/ 9834890 w 10505529"/>
              <a:gd name="connsiteY18519" fmla="*/ 4409477 h 7458372"/>
              <a:gd name="connsiteX18520" fmla="*/ 9823176 w 10505529"/>
              <a:gd name="connsiteY18520" fmla="*/ 4411740 h 7458372"/>
              <a:gd name="connsiteX18521" fmla="*/ 9801343 w 10505529"/>
              <a:gd name="connsiteY18521" fmla="*/ 4403220 h 7458372"/>
              <a:gd name="connsiteX18522" fmla="*/ 9792957 w 10505529"/>
              <a:gd name="connsiteY18522" fmla="*/ 4382054 h 7458372"/>
              <a:gd name="connsiteX18523" fmla="*/ 9801343 w 10505529"/>
              <a:gd name="connsiteY18523" fmla="*/ 4361021 h 7458372"/>
              <a:gd name="connsiteX18524" fmla="*/ 9823176 w 10505529"/>
              <a:gd name="connsiteY18524" fmla="*/ 4352369 h 7458372"/>
              <a:gd name="connsiteX18525" fmla="*/ 9605531 w 10505529"/>
              <a:gd name="connsiteY18525" fmla="*/ 4352369 h 7458372"/>
              <a:gd name="connsiteX18526" fmla="*/ 9617245 w 10505529"/>
              <a:gd name="connsiteY18526" fmla="*/ 4355031 h 7458372"/>
              <a:gd name="connsiteX18527" fmla="*/ 9626562 w 10505529"/>
              <a:gd name="connsiteY18527" fmla="*/ 4361421 h 7458372"/>
              <a:gd name="connsiteX18528" fmla="*/ 9632686 w 10505529"/>
              <a:gd name="connsiteY18528" fmla="*/ 4370739 h 7458372"/>
              <a:gd name="connsiteX18529" fmla="*/ 9634949 w 10505529"/>
              <a:gd name="connsiteY18529" fmla="*/ 4382187 h 7458372"/>
              <a:gd name="connsiteX18530" fmla="*/ 9632686 w 10505529"/>
              <a:gd name="connsiteY18530" fmla="*/ 4393902 h 7458372"/>
              <a:gd name="connsiteX18531" fmla="*/ 9626562 w 10505529"/>
              <a:gd name="connsiteY18531" fmla="*/ 4403220 h 7458372"/>
              <a:gd name="connsiteX18532" fmla="*/ 9617245 w 10505529"/>
              <a:gd name="connsiteY18532" fmla="*/ 4409477 h 7458372"/>
              <a:gd name="connsiteX18533" fmla="*/ 9605531 w 10505529"/>
              <a:gd name="connsiteY18533" fmla="*/ 4411740 h 7458372"/>
              <a:gd name="connsiteX18534" fmla="*/ 9583698 w 10505529"/>
              <a:gd name="connsiteY18534" fmla="*/ 4403220 h 7458372"/>
              <a:gd name="connsiteX18535" fmla="*/ 9575312 w 10505529"/>
              <a:gd name="connsiteY18535" fmla="*/ 4382054 h 7458372"/>
              <a:gd name="connsiteX18536" fmla="*/ 9583698 w 10505529"/>
              <a:gd name="connsiteY18536" fmla="*/ 4361021 h 7458372"/>
              <a:gd name="connsiteX18537" fmla="*/ 9605531 w 10505529"/>
              <a:gd name="connsiteY18537" fmla="*/ 4352369 h 7458372"/>
              <a:gd name="connsiteX18538" fmla="*/ 9387885 w 10505529"/>
              <a:gd name="connsiteY18538" fmla="*/ 4352369 h 7458372"/>
              <a:gd name="connsiteX18539" fmla="*/ 9399599 w 10505529"/>
              <a:gd name="connsiteY18539" fmla="*/ 4355031 h 7458372"/>
              <a:gd name="connsiteX18540" fmla="*/ 9408917 w 10505529"/>
              <a:gd name="connsiteY18540" fmla="*/ 4361421 h 7458372"/>
              <a:gd name="connsiteX18541" fmla="*/ 9415041 w 10505529"/>
              <a:gd name="connsiteY18541" fmla="*/ 4370739 h 7458372"/>
              <a:gd name="connsiteX18542" fmla="*/ 9417304 w 10505529"/>
              <a:gd name="connsiteY18542" fmla="*/ 4382187 h 7458372"/>
              <a:gd name="connsiteX18543" fmla="*/ 9415041 w 10505529"/>
              <a:gd name="connsiteY18543" fmla="*/ 4393902 h 7458372"/>
              <a:gd name="connsiteX18544" fmla="*/ 9408917 w 10505529"/>
              <a:gd name="connsiteY18544" fmla="*/ 4403220 h 7458372"/>
              <a:gd name="connsiteX18545" fmla="*/ 9399599 w 10505529"/>
              <a:gd name="connsiteY18545" fmla="*/ 4409477 h 7458372"/>
              <a:gd name="connsiteX18546" fmla="*/ 9387885 w 10505529"/>
              <a:gd name="connsiteY18546" fmla="*/ 4411740 h 7458372"/>
              <a:gd name="connsiteX18547" fmla="*/ 9366053 w 10505529"/>
              <a:gd name="connsiteY18547" fmla="*/ 4403220 h 7458372"/>
              <a:gd name="connsiteX18548" fmla="*/ 9357667 w 10505529"/>
              <a:gd name="connsiteY18548" fmla="*/ 4382054 h 7458372"/>
              <a:gd name="connsiteX18549" fmla="*/ 9366053 w 10505529"/>
              <a:gd name="connsiteY18549" fmla="*/ 4361021 h 7458372"/>
              <a:gd name="connsiteX18550" fmla="*/ 9387885 w 10505529"/>
              <a:gd name="connsiteY18550" fmla="*/ 4352369 h 7458372"/>
              <a:gd name="connsiteX18551" fmla="*/ 9170374 w 10505529"/>
              <a:gd name="connsiteY18551" fmla="*/ 4352369 h 7458372"/>
              <a:gd name="connsiteX18552" fmla="*/ 9182088 w 10505529"/>
              <a:gd name="connsiteY18552" fmla="*/ 4355031 h 7458372"/>
              <a:gd name="connsiteX18553" fmla="*/ 9191405 w 10505529"/>
              <a:gd name="connsiteY18553" fmla="*/ 4361421 h 7458372"/>
              <a:gd name="connsiteX18554" fmla="*/ 9197529 w 10505529"/>
              <a:gd name="connsiteY18554" fmla="*/ 4370739 h 7458372"/>
              <a:gd name="connsiteX18555" fmla="*/ 9199792 w 10505529"/>
              <a:gd name="connsiteY18555" fmla="*/ 4382187 h 7458372"/>
              <a:gd name="connsiteX18556" fmla="*/ 9197529 w 10505529"/>
              <a:gd name="connsiteY18556" fmla="*/ 4393902 h 7458372"/>
              <a:gd name="connsiteX18557" fmla="*/ 9191405 w 10505529"/>
              <a:gd name="connsiteY18557" fmla="*/ 4403220 h 7458372"/>
              <a:gd name="connsiteX18558" fmla="*/ 9182088 w 10505529"/>
              <a:gd name="connsiteY18558" fmla="*/ 4409477 h 7458372"/>
              <a:gd name="connsiteX18559" fmla="*/ 9170374 w 10505529"/>
              <a:gd name="connsiteY18559" fmla="*/ 4411740 h 7458372"/>
              <a:gd name="connsiteX18560" fmla="*/ 9148541 w 10505529"/>
              <a:gd name="connsiteY18560" fmla="*/ 4403220 h 7458372"/>
              <a:gd name="connsiteX18561" fmla="*/ 9140155 w 10505529"/>
              <a:gd name="connsiteY18561" fmla="*/ 4382054 h 7458372"/>
              <a:gd name="connsiteX18562" fmla="*/ 9148541 w 10505529"/>
              <a:gd name="connsiteY18562" fmla="*/ 4361021 h 7458372"/>
              <a:gd name="connsiteX18563" fmla="*/ 9170374 w 10505529"/>
              <a:gd name="connsiteY18563" fmla="*/ 4352369 h 7458372"/>
              <a:gd name="connsiteX18564" fmla="*/ 8952728 w 10505529"/>
              <a:gd name="connsiteY18564" fmla="*/ 4352369 h 7458372"/>
              <a:gd name="connsiteX18565" fmla="*/ 8964442 w 10505529"/>
              <a:gd name="connsiteY18565" fmla="*/ 4355031 h 7458372"/>
              <a:gd name="connsiteX18566" fmla="*/ 8973760 w 10505529"/>
              <a:gd name="connsiteY18566" fmla="*/ 4361421 h 7458372"/>
              <a:gd name="connsiteX18567" fmla="*/ 8979884 w 10505529"/>
              <a:gd name="connsiteY18567" fmla="*/ 4370739 h 7458372"/>
              <a:gd name="connsiteX18568" fmla="*/ 8982147 w 10505529"/>
              <a:gd name="connsiteY18568" fmla="*/ 4382187 h 7458372"/>
              <a:gd name="connsiteX18569" fmla="*/ 8979884 w 10505529"/>
              <a:gd name="connsiteY18569" fmla="*/ 4393902 h 7458372"/>
              <a:gd name="connsiteX18570" fmla="*/ 8973760 w 10505529"/>
              <a:gd name="connsiteY18570" fmla="*/ 4403220 h 7458372"/>
              <a:gd name="connsiteX18571" fmla="*/ 8964442 w 10505529"/>
              <a:gd name="connsiteY18571" fmla="*/ 4409477 h 7458372"/>
              <a:gd name="connsiteX18572" fmla="*/ 8952728 w 10505529"/>
              <a:gd name="connsiteY18572" fmla="*/ 4411740 h 7458372"/>
              <a:gd name="connsiteX18573" fmla="*/ 8930896 w 10505529"/>
              <a:gd name="connsiteY18573" fmla="*/ 4403220 h 7458372"/>
              <a:gd name="connsiteX18574" fmla="*/ 8922510 w 10505529"/>
              <a:gd name="connsiteY18574" fmla="*/ 4382054 h 7458372"/>
              <a:gd name="connsiteX18575" fmla="*/ 8930896 w 10505529"/>
              <a:gd name="connsiteY18575" fmla="*/ 4361021 h 7458372"/>
              <a:gd name="connsiteX18576" fmla="*/ 8952728 w 10505529"/>
              <a:gd name="connsiteY18576" fmla="*/ 4352369 h 7458372"/>
              <a:gd name="connsiteX18577" fmla="*/ 8735083 w 10505529"/>
              <a:gd name="connsiteY18577" fmla="*/ 4352369 h 7458372"/>
              <a:gd name="connsiteX18578" fmla="*/ 8746797 w 10505529"/>
              <a:gd name="connsiteY18578" fmla="*/ 4355031 h 7458372"/>
              <a:gd name="connsiteX18579" fmla="*/ 8756115 w 10505529"/>
              <a:gd name="connsiteY18579" fmla="*/ 4361421 h 7458372"/>
              <a:gd name="connsiteX18580" fmla="*/ 8762238 w 10505529"/>
              <a:gd name="connsiteY18580" fmla="*/ 4370739 h 7458372"/>
              <a:gd name="connsiteX18581" fmla="*/ 8764502 w 10505529"/>
              <a:gd name="connsiteY18581" fmla="*/ 4382187 h 7458372"/>
              <a:gd name="connsiteX18582" fmla="*/ 8762238 w 10505529"/>
              <a:gd name="connsiteY18582" fmla="*/ 4393902 h 7458372"/>
              <a:gd name="connsiteX18583" fmla="*/ 8756115 w 10505529"/>
              <a:gd name="connsiteY18583" fmla="*/ 4403220 h 7458372"/>
              <a:gd name="connsiteX18584" fmla="*/ 8746797 w 10505529"/>
              <a:gd name="connsiteY18584" fmla="*/ 4409477 h 7458372"/>
              <a:gd name="connsiteX18585" fmla="*/ 8735083 w 10505529"/>
              <a:gd name="connsiteY18585" fmla="*/ 4411740 h 7458372"/>
              <a:gd name="connsiteX18586" fmla="*/ 8713250 w 10505529"/>
              <a:gd name="connsiteY18586" fmla="*/ 4403220 h 7458372"/>
              <a:gd name="connsiteX18587" fmla="*/ 8704864 w 10505529"/>
              <a:gd name="connsiteY18587" fmla="*/ 4382054 h 7458372"/>
              <a:gd name="connsiteX18588" fmla="*/ 8713250 w 10505529"/>
              <a:gd name="connsiteY18588" fmla="*/ 4361021 h 7458372"/>
              <a:gd name="connsiteX18589" fmla="*/ 8735083 w 10505529"/>
              <a:gd name="connsiteY18589" fmla="*/ 4352369 h 7458372"/>
              <a:gd name="connsiteX18590" fmla="*/ 8517438 w 10505529"/>
              <a:gd name="connsiteY18590" fmla="*/ 4352369 h 7458372"/>
              <a:gd name="connsiteX18591" fmla="*/ 8529152 w 10505529"/>
              <a:gd name="connsiteY18591" fmla="*/ 4355031 h 7458372"/>
              <a:gd name="connsiteX18592" fmla="*/ 8538470 w 10505529"/>
              <a:gd name="connsiteY18592" fmla="*/ 4361421 h 7458372"/>
              <a:gd name="connsiteX18593" fmla="*/ 8544594 w 10505529"/>
              <a:gd name="connsiteY18593" fmla="*/ 4370739 h 7458372"/>
              <a:gd name="connsiteX18594" fmla="*/ 8546857 w 10505529"/>
              <a:gd name="connsiteY18594" fmla="*/ 4382187 h 7458372"/>
              <a:gd name="connsiteX18595" fmla="*/ 8544594 w 10505529"/>
              <a:gd name="connsiteY18595" fmla="*/ 4393902 h 7458372"/>
              <a:gd name="connsiteX18596" fmla="*/ 8538470 w 10505529"/>
              <a:gd name="connsiteY18596" fmla="*/ 4403220 h 7458372"/>
              <a:gd name="connsiteX18597" fmla="*/ 8529152 w 10505529"/>
              <a:gd name="connsiteY18597" fmla="*/ 4409477 h 7458372"/>
              <a:gd name="connsiteX18598" fmla="*/ 8517438 w 10505529"/>
              <a:gd name="connsiteY18598" fmla="*/ 4411740 h 7458372"/>
              <a:gd name="connsiteX18599" fmla="*/ 8495606 w 10505529"/>
              <a:gd name="connsiteY18599" fmla="*/ 4403220 h 7458372"/>
              <a:gd name="connsiteX18600" fmla="*/ 8487220 w 10505529"/>
              <a:gd name="connsiteY18600" fmla="*/ 4382054 h 7458372"/>
              <a:gd name="connsiteX18601" fmla="*/ 8495606 w 10505529"/>
              <a:gd name="connsiteY18601" fmla="*/ 4361021 h 7458372"/>
              <a:gd name="connsiteX18602" fmla="*/ 8517438 w 10505529"/>
              <a:gd name="connsiteY18602" fmla="*/ 4352369 h 7458372"/>
              <a:gd name="connsiteX18603" fmla="*/ 8299793 w 10505529"/>
              <a:gd name="connsiteY18603" fmla="*/ 4352369 h 7458372"/>
              <a:gd name="connsiteX18604" fmla="*/ 8311507 w 10505529"/>
              <a:gd name="connsiteY18604" fmla="*/ 4355031 h 7458372"/>
              <a:gd name="connsiteX18605" fmla="*/ 8320825 w 10505529"/>
              <a:gd name="connsiteY18605" fmla="*/ 4361421 h 7458372"/>
              <a:gd name="connsiteX18606" fmla="*/ 8326948 w 10505529"/>
              <a:gd name="connsiteY18606" fmla="*/ 4370739 h 7458372"/>
              <a:gd name="connsiteX18607" fmla="*/ 8329212 w 10505529"/>
              <a:gd name="connsiteY18607" fmla="*/ 4382187 h 7458372"/>
              <a:gd name="connsiteX18608" fmla="*/ 8326948 w 10505529"/>
              <a:gd name="connsiteY18608" fmla="*/ 4393902 h 7458372"/>
              <a:gd name="connsiteX18609" fmla="*/ 8320825 w 10505529"/>
              <a:gd name="connsiteY18609" fmla="*/ 4403220 h 7458372"/>
              <a:gd name="connsiteX18610" fmla="*/ 8311507 w 10505529"/>
              <a:gd name="connsiteY18610" fmla="*/ 4409477 h 7458372"/>
              <a:gd name="connsiteX18611" fmla="*/ 8299793 w 10505529"/>
              <a:gd name="connsiteY18611" fmla="*/ 4411740 h 7458372"/>
              <a:gd name="connsiteX18612" fmla="*/ 8277960 w 10505529"/>
              <a:gd name="connsiteY18612" fmla="*/ 4403220 h 7458372"/>
              <a:gd name="connsiteX18613" fmla="*/ 8269574 w 10505529"/>
              <a:gd name="connsiteY18613" fmla="*/ 4382054 h 7458372"/>
              <a:gd name="connsiteX18614" fmla="*/ 8277960 w 10505529"/>
              <a:gd name="connsiteY18614" fmla="*/ 4361021 h 7458372"/>
              <a:gd name="connsiteX18615" fmla="*/ 8299793 w 10505529"/>
              <a:gd name="connsiteY18615" fmla="*/ 4352369 h 7458372"/>
              <a:gd name="connsiteX18616" fmla="*/ 8082281 w 10505529"/>
              <a:gd name="connsiteY18616" fmla="*/ 4352369 h 7458372"/>
              <a:gd name="connsiteX18617" fmla="*/ 8094127 w 10505529"/>
              <a:gd name="connsiteY18617" fmla="*/ 4355031 h 7458372"/>
              <a:gd name="connsiteX18618" fmla="*/ 8103446 w 10505529"/>
              <a:gd name="connsiteY18618" fmla="*/ 4361421 h 7458372"/>
              <a:gd name="connsiteX18619" fmla="*/ 8109569 w 10505529"/>
              <a:gd name="connsiteY18619" fmla="*/ 4370739 h 7458372"/>
              <a:gd name="connsiteX18620" fmla="*/ 8111832 w 10505529"/>
              <a:gd name="connsiteY18620" fmla="*/ 4382187 h 7458372"/>
              <a:gd name="connsiteX18621" fmla="*/ 8109569 w 10505529"/>
              <a:gd name="connsiteY18621" fmla="*/ 4393902 h 7458372"/>
              <a:gd name="connsiteX18622" fmla="*/ 8103446 w 10505529"/>
              <a:gd name="connsiteY18622" fmla="*/ 4403220 h 7458372"/>
              <a:gd name="connsiteX18623" fmla="*/ 8094127 w 10505529"/>
              <a:gd name="connsiteY18623" fmla="*/ 4409477 h 7458372"/>
              <a:gd name="connsiteX18624" fmla="*/ 8082281 w 10505529"/>
              <a:gd name="connsiteY18624" fmla="*/ 4411740 h 7458372"/>
              <a:gd name="connsiteX18625" fmla="*/ 8060448 w 10505529"/>
              <a:gd name="connsiteY18625" fmla="*/ 4403220 h 7458372"/>
              <a:gd name="connsiteX18626" fmla="*/ 8052062 w 10505529"/>
              <a:gd name="connsiteY18626" fmla="*/ 4382054 h 7458372"/>
              <a:gd name="connsiteX18627" fmla="*/ 8060448 w 10505529"/>
              <a:gd name="connsiteY18627" fmla="*/ 4361021 h 7458372"/>
              <a:gd name="connsiteX18628" fmla="*/ 8082281 w 10505529"/>
              <a:gd name="connsiteY18628" fmla="*/ 4352369 h 7458372"/>
              <a:gd name="connsiteX18629" fmla="*/ 7864636 w 10505529"/>
              <a:gd name="connsiteY18629" fmla="*/ 4352369 h 7458372"/>
              <a:gd name="connsiteX18630" fmla="*/ 7876483 w 10505529"/>
              <a:gd name="connsiteY18630" fmla="*/ 4355031 h 7458372"/>
              <a:gd name="connsiteX18631" fmla="*/ 7885802 w 10505529"/>
              <a:gd name="connsiteY18631" fmla="*/ 4361421 h 7458372"/>
              <a:gd name="connsiteX18632" fmla="*/ 7891924 w 10505529"/>
              <a:gd name="connsiteY18632" fmla="*/ 4370739 h 7458372"/>
              <a:gd name="connsiteX18633" fmla="*/ 7894188 w 10505529"/>
              <a:gd name="connsiteY18633" fmla="*/ 4382187 h 7458372"/>
              <a:gd name="connsiteX18634" fmla="*/ 7891924 w 10505529"/>
              <a:gd name="connsiteY18634" fmla="*/ 4393902 h 7458372"/>
              <a:gd name="connsiteX18635" fmla="*/ 7885802 w 10505529"/>
              <a:gd name="connsiteY18635" fmla="*/ 4403220 h 7458372"/>
              <a:gd name="connsiteX18636" fmla="*/ 7876483 w 10505529"/>
              <a:gd name="connsiteY18636" fmla="*/ 4409477 h 7458372"/>
              <a:gd name="connsiteX18637" fmla="*/ 7864636 w 10505529"/>
              <a:gd name="connsiteY18637" fmla="*/ 4411740 h 7458372"/>
              <a:gd name="connsiteX18638" fmla="*/ 7842803 w 10505529"/>
              <a:gd name="connsiteY18638" fmla="*/ 4403220 h 7458372"/>
              <a:gd name="connsiteX18639" fmla="*/ 7834417 w 10505529"/>
              <a:gd name="connsiteY18639" fmla="*/ 4382054 h 7458372"/>
              <a:gd name="connsiteX18640" fmla="*/ 7842803 w 10505529"/>
              <a:gd name="connsiteY18640" fmla="*/ 4361021 h 7458372"/>
              <a:gd name="connsiteX18641" fmla="*/ 7864636 w 10505529"/>
              <a:gd name="connsiteY18641" fmla="*/ 4352369 h 7458372"/>
              <a:gd name="connsiteX18642" fmla="*/ 7646991 w 10505529"/>
              <a:gd name="connsiteY18642" fmla="*/ 4352369 h 7458372"/>
              <a:gd name="connsiteX18643" fmla="*/ 7658705 w 10505529"/>
              <a:gd name="connsiteY18643" fmla="*/ 4355031 h 7458372"/>
              <a:gd name="connsiteX18644" fmla="*/ 7668022 w 10505529"/>
              <a:gd name="connsiteY18644" fmla="*/ 4361421 h 7458372"/>
              <a:gd name="connsiteX18645" fmla="*/ 7674146 w 10505529"/>
              <a:gd name="connsiteY18645" fmla="*/ 4370739 h 7458372"/>
              <a:gd name="connsiteX18646" fmla="*/ 7676409 w 10505529"/>
              <a:gd name="connsiteY18646" fmla="*/ 4382187 h 7458372"/>
              <a:gd name="connsiteX18647" fmla="*/ 7674146 w 10505529"/>
              <a:gd name="connsiteY18647" fmla="*/ 4393902 h 7458372"/>
              <a:gd name="connsiteX18648" fmla="*/ 7668022 w 10505529"/>
              <a:gd name="connsiteY18648" fmla="*/ 4403220 h 7458372"/>
              <a:gd name="connsiteX18649" fmla="*/ 7658705 w 10505529"/>
              <a:gd name="connsiteY18649" fmla="*/ 4409477 h 7458372"/>
              <a:gd name="connsiteX18650" fmla="*/ 7646991 w 10505529"/>
              <a:gd name="connsiteY18650" fmla="*/ 4411740 h 7458372"/>
              <a:gd name="connsiteX18651" fmla="*/ 7625158 w 10505529"/>
              <a:gd name="connsiteY18651" fmla="*/ 4403220 h 7458372"/>
              <a:gd name="connsiteX18652" fmla="*/ 7616772 w 10505529"/>
              <a:gd name="connsiteY18652" fmla="*/ 4382054 h 7458372"/>
              <a:gd name="connsiteX18653" fmla="*/ 7625158 w 10505529"/>
              <a:gd name="connsiteY18653" fmla="*/ 4361021 h 7458372"/>
              <a:gd name="connsiteX18654" fmla="*/ 7646991 w 10505529"/>
              <a:gd name="connsiteY18654" fmla="*/ 4352369 h 7458372"/>
              <a:gd name="connsiteX18655" fmla="*/ 7429345 w 10505529"/>
              <a:gd name="connsiteY18655" fmla="*/ 4352369 h 7458372"/>
              <a:gd name="connsiteX18656" fmla="*/ 7441059 w 10505529"/>
              <a:gd name="connsiteY18656" fmla="*/ 4355031 h 7458372"/>
              <a:gd name="connsiteX18657" fmla="*/ 7450377 w 10505529"/>
              <a:gd name="connsiteY18657" fmla="*/ 4361421 h 7458372"/>
              <a:gd name="connsiteX18658" fmla="*/ 7456501 w 10505529"/>
              <a:gd name="connsiteY18658" fmla="*/ 4370739 h 7458372"/>
              <a:gd name="connsiteX18659" fmla="*/ 7458764 w 10505529"/>
              <a:gd name="connsiteY18659" fmla="*/ 4382187 h 7458372"/>
              <a:gd name="connsiteX18660" fmla="*/ 7456501 w 10505529"/>
              <a:gd name="connsiteY18660" fmla="*/ 4393902 h 7458372"/>
              <a:gd name="connsiteX18661" fmla="*/ 7450377 w 10505529"/>
              <a:gd name="connsiteY18661" fmla="*/ 4403220 h 7458372"/>
              <a:gd name="connsiteX18662" fmla="*/ 7441059 w 10505529"/>
              <a:gd name="connsiteY18662" fmla="*/ 4409477 h 7458372"/>
              <a:gd name="connsiteX18663" fmla="*/ 7429345 w 10505529"/>
              <a:gd name="connsiteY18663" fmla="*/ 4411740 h 7458372"/>
              <a:gd name="connsiteX18664" fmla="*/ 7407513 w 10505529"/>
              <a:gd name="connsiteY18664" fmla="*/ 4403220 h 7458372"/>
              <a:gd name="connsiteX18665" fmla="*/ 7399127 w 10505529"/>
              <a:gd name="connsiteY18665" fmla="*/ 4382054 h 7458372"/>
              <a:gd name="connsiteX18666" fmla="*/ 7407513 w 10505529"/>
              <a:gd name="connsiteY18666" fmla="*/ 4361021 h 7458372"/>
              <a:gd name="connsiteX18667" fmla="*/ 7429345 w 10505529"/>
              <a:gd name="connsiteY18667" fmla="*/ 4352369 h 7458372"/>
              <a:gd name="connsiteX18668" fmla="*/ 7211701 w 10505529"/>
              <a:gd name="connsiteY18668" fmla="*/ 4352369 h 7458372"/>
              <a:gd name="connsiteX18669" fmla="*/ 7223415 w 10505529"/>
              <a:gd name="connsiteY18669" fmla="*/ 4355031 h 7458372"/>
              <a:gd name="connsiteX18670" fmla="*/ 7232733 w 10505529"/>
              <a:gd name="connsiteY18670" fmla="*/ 4361421 h 7458372"/>
              <a:gd name="connsiteX18671" fmla="*/ 7238856 w 10505529"/>
              <a:gd name="connsiteY18671" fmla="*/ 4370739 h 7458372"/>
              <a:gd name="connsiteX18672" fmla="*/ 7241120 w 10505529"/>
              <a:gd name="connsiteY18672" fmla="*/ 4382187 h 7458372"/>
              <a:gd name="connsiteX18673" fmla="*/ 7238856 w 10505529"/>
              <a:gd name="connsiteY18673" fmla="*/ 4393902 h 7458372"/>
              <a:gd name="connsiteX18674" fmla="*/ 7232733 w 10505529"/>
              <a:gd name="connsiteY18674" fmla="*/ 4403220 h 7458372"/>
              <a:gd name="connsiteX18675" fmla="*/ 7223415 w 10505529"/>
              <a:gd name="connsiteY18675" fmla="*/ 4409477 h 7458372"/>
              <a:gd name="connsiteX18676" fmla="*/ 7211701 w 10505529"/>
              <a:gd name="connsiteY18676" fmla="*/ 4411740 h 7458372"/>
              <a:gd name="connsiteX18677" fmla="*/ 7189868 w 10505529"/>
              <a:gd name="connsiteY18677" fmla="*/ 4403220 h 7458372"/>
              <a:gd name="connsiteX18678" fmla="*/ 7181482 w 10505529"/>
              <a:gd name="connsiteY18678" fmla="*/ 4382054 h 7458372"/>
              <a:gd name="connsiteX18679" fmla="*/ 7189868 w 10505529"/>
              <a:gd name="connsiteY18679" fmla="*/ 4361021 h 7458372"/>
              <a:gd name="connsiteX18680" fmla="*/ 7211701 w 10505529"/>
              <a:gd name="connsiteY18680" fmla="*/ 4352369 h 7458372"/>
              <a:gd name="connsiteX18681" fmla="*/ 6994056 w 10505529"/>
              <a:gd name="connsiteY18681" fmla="*/ 4352369 h 7458372"/>
              <a:gd name="connsiteX18682" fmla="*/ 7005769 w 10505529"/>
              <a:gd name="connsiteY18682" fmla="*/ 4355031 h 7458372"/>
              <a:gd name="connsiteX18683" fmla="*/ 7015087 w 10505529"/>
              <a:gd name="connsiteY18683" fmla="*/ 4361421 h 7458372"/>
              <a:gd name="connsiteX18684" fmla="*/ 7021211 w 10505529"/>
              <a:gd name="connsiteY18684" fmla="*/ 4370739 h 7458372"/>
              <a:gd name="connsiteX18685" fmla="*/ 7023474 w 10505529"/>
              <a:gd name="connsiteY18685" fmla="*/ 4382187 h 7458372"/>
              <a:gd name="connsiteX18686" fmla="*/ 7021211 w 10505529"/>
              <a:gd name="connsiteY18686" fmla="*/ 4393902 h 7458372"/>
              <a:gd name="connsiteX18687" fmla="*/ 7015087 w 10505529"/>
              <a:gd name="connsiteY18687" fmla="*/ 4403220 h 7458372"/>
              <a:gd name="connsiteX18688" fmla="*/ 7005769 w 10505529"/>
              <a:gd name="connsiteY18688" fmla="*/ 4409477 h 7458372"/>
              <a:gd name="connsiteX18689" fmla="*/ 6994056 w 10505529"/>
              <a:gd name="connsiteY18689" fmla="*/ 4411740 h 7458372"/>
              <a:gd name="connsiteX18690" fmla="*/ 6972223 w 10505529"/>
              <a:gd name="connsiteY18690" fmla="*/ 4403220 h 7458372"/>
              <a:gd name="connsiteX18691" fmla="*/ 6963837 w 10505529"/>
              <a:gd name="connsiteY18691" fmla="*/ 4382054 h 7458372"/>
              <a:gd name="connsiteX18692" fmla="*/ 6972223 w 10505529"/>
              <a:gd name="connsiteY18692" fmla="*/ 4361021 h 7458372"/>
              <a:gd name="connsiteX18693" fmla="*/ 6994056 w 10505529"/>
              <a:gd name="connsiteY18693" fmla="*/ 4352369 h 7458372"/>
              <a:gd name="connsiteX18694" fmla="*/ 6776544 w 10505529"/>
              <a:gd name="connsiteY18694" fmla="*/ 4352369 h 7458372"/>
              <a:gd name="connsiteX18695" fmla="*/ 6788258 w 10505529"/>
              <a:gd name="connsiteY18695" fmla="*/ 4355031 h 7458372"/>
              <a:gd name="connsiteX18696" fmla="*/ 6797576 w 10505529"/>
              <a:gd name="connsiteY18696" fmla="*/ 4361421 h 7458372"/>
              <a:gd name="connsiteX18697" fmla="*/ 6803699 w 10505529"/>
              <a:gd name="connsiteY18697" fmla="*/ 4370739 h 7458372"/>
              <a:gd name="connsiteX18698" fmla="*/ 6805963 w 10505529"/>
              <a:gd name="connsiteY18698" fmla="*/ 4382187 h 7458372"/>
              <a:gd name="connsiteX18699" fmla="*/ 6803699 w 10505529"/>
              <a:gd name="connsiteY18699" fmla="*/ 4393902 h 7458372"/>
              <a:gd name="connsiteX18700" fmla="*/ 6797576 w 10505529"/>
              <a:gd name="connsiteY18700" fmla="*/ 4403220 h 7458372"/>
              <a:gd name="connsiteX18701" fmla="*/ 6788258 w 10505529"/>
              <a:gd name="connsiteY18701" fmla="*/ 4409477 h 7458372"/>
              <a:gd name="connsiteX18702" fmla="*/ 6776544 w 10505529"/>
              <a:gd name="connsiteY18702" fmla="*/ 4411740 h 7458372"/>
              <a:gd name="connsiteX18703" fmla="*/ 6754711 w 10505529"/>
              <a:gd name="connsiteY18703" fmla="*/ 4403220 h 7458372"/>
              <a:gd name="connsiteX18704" fmla="*/ 6746325 w 10505529"/>
              <a:gd name="connsiteY18704" fmla="*/ 4382054 h 7458372"/>
              <a:gd name="connsiteX18705" fmla="*/ 6754711 w 10505529"/>
              <a:gd name="connsiteY18705" fmla="*/ 4361021 h 7458372"/>
              <a:gd name="connsiteX18706" fmla="*/ 6776544 w 10505529"/>
              <a:gd name="connsiteY18706" fmla="*/ 4352369 h 7458372"/>
              <a:gd name="connsiteX18707" fmla="*/ 6558899 w 10505529"/>
              <a:gd name="connsiteY18707" fmla="*/ 4352369 h 7458372"/>
              <a:gd name="connsiteX18708" fmla="*/ 6570612 w 10505529"/>
              <a:gd name="connsiteY18708" fmla="*/ 4355031 h 7458372"/>
              <a:gd name="connsiteX18709" fmla="*/ 6579930 w 10505529"/>
              <a:gd name="connsiteY18709" fmla="*/ 4361421 h 7458372"/>
              <a:gd name="connsiteX18710" fmla="*/ 6586054 w 10505529"/>
              <a:gd name="connsiteY18710" fmla="*/ 4370739 h 7458372"/>
              <a:gd name="connsiteX18711" fmla="*/ 6588317 w 10505529"/>
              <a:gd name="connsiteY18711" fmla="*/ 4382187 h 7458372"/>
              <a:gd name="connsiteX18712" fmla="*/ 6586054 w 10505529"/>
              <a:gd name="connsiteY18712" fmla="*/ 4393902 h 7458372"/>
              <a:gd name="connsiteX18713" fmla="*/ 6579930 w 10505529"/>
              <a:gd name="connsiteY18713" fmla="*/ 4403220 h 7458372"/>
              <a:gd name="connsiteX18714" fmla="*/ 6570612 w 10505529"/>
              <a:gd name="connsiteY18714" fmla="*/ 4409477 h 7458372"/>
              <a:gd name="connsiteX18715" fmla="*/ 6558899 w 10505529"/>
              <a:gd name="connsiteY18715" fmla="*/ 4411740 h 7458372"/>
              <a:gd name="connsiteX18716" fmla="*/ 6537066 w 10505529"/>
              <a:gd name="connsiteY18716" fmla="*/ 4403220 h 7458372"/>
              <a:gd name="connsiteX18717" fmla="*/ 6528680 w 10505529"/>
              <a:gd name="connsiteY18717" fmla="*/ 4382054 h 7458372"/>
              <a:gd name="connsiteX18718" fmla="*/ 6537066 w 10505529"/>
              <a:gd name="connsiteY18718" fmla="*/ 4361021 h 7458372"/>
              <a:gd name="connsiteX18719" fmla="*/ 6558899 w 10505529"/>
              <a:gd name="connsiteY18719" fmla="*/ 4352369 h 7458372"/>
              <a:gd name="connsiteX18720" fmla="*/ 6341253 w 10505529"/>
              <a:gd name="connsiteY18720" fmla="*/ 4352369 h 7458372"/>
              <a:gd name="connsiteX18721" fmla="*/ 6352968 w 10505529"/>
              <a:gd name="connsiteY18721" fmla="*/ 4355031 h 7458372"/>
              <a:gd name="connsiteX18722" fmla="*/ 6362286 w 10505529"/>
              <a:gd name="connsiteY18722" fmla="*/ 4361421 h 7458372"/>
              <a:gd name="connsiteX18723" fmla="*/ 6368409 w 10505529"/>
              <a:gd name="connsiteY18723" fmla="*/ 4370739 h 7458372"/>
              <a:gd name="connsiteX18724" fmla="*/ 6370672 w 10505529"/>
              <a:gd name="connsiteY18724" fmla="*/ 4382187 h 7458372"/>
              <a:gd name="connsiteX18725" fmla="*/ 6368409 w 10505529"/>
              <a:gd name="connsiteY18725" fmla="*/ 4393902 h 7458372"/>
              <a:gd name="connsiteX18726" fmla="*/ 6362286 w 10505529"/>
              <a:gd name="connsiteY18726" fmla="*/ 4403220 h 7458372"/>
              <a:gd name="connsiteX18727" fmla="*/ 6352968 w 10505529"/>
              <a:gd name="connsiteY18727" fmla="*/ 4409477 h 7458372"/>
              <a:gd name="connsiteX18728" fmla="*/ 6341253 w 10505529"/>
              <a:gd name="connsiteY18728" fmla="*/ 4411740 h 7458372"/>
              <a:gd name="connsiteX18729" fmla="*/ 6319421 w 10505529"/>
              <a:gd name="connsiteY18729" fmla="*/ 4403220 h 7458372"/>
              <a:gd name="connsiteX18730" fmla="*/ 6311035 w 10505529"/>
              <a:gd name="connsiteY18730" fmla="*/ 4382054 h 7458372"/>
              <a:gd name="connsiteX18731" fmla="*/ 6319421 w 10505529"/>
              <a:gd name="connsiteY18731" fmla="*/ 4361021 h 7458372"/>
              <a:gd name="connsiteX18732" fmla="*/ 6341253 w 10505529"/>
              <a:gd name="connsiteY18732" fmla="*/ 4352369 h 7458372"/>
              <a:gd name="connsiteX18733" fmla="*/ 6123608 w 10505529"/>
              <a:gd name="connsiteY18733" fmla="*/ 4352369 h 7458372"/>
              <a:gd name="connsiteX18734" fmla="*/ 6135322 w 10505529"/>
              <a:gd name="connsiteY18734" fmla="*/ 4355031 h 7458372"/>
              <a:gd name="connsiteX18735" fmla="*/ 6144640 w 10505529"/>
              <a:gd name="connsiteY18735" fmla="*/ 4361421 h 7458372"/>
              <a:gd name="connsiteX18736" fmla="*/ 6150763 w 10505529"/>
              <a:gd name="connsiteY18736" fmla="*/ 4370739 h 7458372"/>
              <a:gd name="connsiteX18737" fmla="*/ 6153026 w 10505529"/>
              <a:gd name="connsiteY18737" fmla="*/ 4382187 h 7458372"/>
              <a:gd name="connsiteX18738" fmla="*/ 6150763 w 10505529"/>
              <a:gd name="connsiteY18738" fmla="*/ 4393902 h 7458372"/>
              <a:gd name="connsiteX18739" fmla="*/ 6144640 w 10505529"/>
              <a:gd name="connsiteY18739" fmla="*/ 4403220 h 7458372"/>
              <a:gd name="connsiteX18740" fmla="*/ 6135322 w 10505529"/>
              <a:gd name="connsiteY18740" fmla="*/ 4409477 h 7458372"/>
              <a:gd name="connsiteX18741" fmla="*/ 6123608 w 10505529"/>
              <a:gd name="connsiteY18741" fmla="*/ 4411740 h 7458372"/>
              <a:gd name="connsiteX18742" fmla="*/ 6101775 w 10505529"/>
              <a:gd name="connsiteY18742" fmla="*/ 4403220 h 7458372"/>
              <a:gd name="connsiteX18743" fmla="*/ 6093389 w 10505529"/>
              <a:gd name="connsiteY18743" fmla="*/ 4382054 h 7458372"/>
              <a:gd name="connsiteX18744" fmla="*/ 6101775 w 10505529"/>
              <a:gd name="connsiteY18744" fmla="*/ 4361021 h 7458372"/>
              <a:gd name="connsiteX18745" fmla="*/ 6123608 w 10505529"/>
              <a:gd name="connsiteY18745" fmla="*/ 4352369 h 7458372"/>
              <a:gd name="connsiteX18746" fmla="*/ 5905963 w 10505529"/>
              <a:gd name="connsiteY18746" fmla="*/ 4352369 h 7458372"/>
              <a:gd name="connsiteX18747" fmla="*/ 5917677 w 10505529"/>
              <a:gd name="connsiteY18747" fmla="*/ 4355031 h 7458372"/>
              <a:gd name="connsiteX18748" fmla="*/ 5926995 w 10505529"/>
              <a:gd name="connsiteY18748" fmla="*/ 4361421 h 7458372"/>
              <a:gd name="connsiteX18749" fmla="*/ 5933118 w 10505529"/>
              <a:gd name="connsiteY18749" fmla="*/ 4370739 h 7458372"/>
              <a:gd name="connsiteX18750" fmla="*/ 5935381 w 10505529"/>
              <a:gd name="connsiteY18750" fmla="*/ 4382187 h 7458372"/>
              <a:gd name="connsiteX18751" fmla="*/ 5933118 w 10505529"/>
              <a:gd name="connsiteY18751" fmla="*/ 4393902 h 7458372"/>
              <a:gd name="connsiteX18752" fmla="*/ 5926995 w 10505529"/>
              <a:gd name="connsiteY18752" fmla="*/ 4403220 h 7458372"/>
              <a:gd name="connsiteX18753" fmla="*/ 5917677 w 10505529"/>
              <a:gd name="connsiteY18753" fmla="*/ 4409477 h 7458372"/>
              <a:gd name="connsiteX18754" fmla="*/ 5905963 w 10505529"/>
              <a:gd name="connsiteY18754" fmla="*/ 4411740 h 7458372"/>
              <a:gd name="connsiteX18755" fmla="*/ 5884130 w 10505529"/>
              <a:gd name="connsiteY18755" fmla="*/ 4403220 h 7458372"/>
              <a:gd name="connsiteX18756" fmla="*/ 5875744 w 10505529"/>
              <a:gd name="connsiteY18756" fmla="*/ 4382054 h 7458372"/>
              <a:gd name="connsiteX18757" fmla="*/ 5884130 w 10505529"/>
              <a:gd name="connsiteY18757" fmla="*/ 4361021 h 7458372"/>
              <a:gd name="connsiteX18758" fmla="*/ 5905963 w 10505529"/>
              <a:gd name="connsiteY18758" fmla="*/ 4352369 h 7458372"/>
              <a:gd name="connsiteX18759" fmla="*/ 5688451 w 10505529"/>
              <a:gd name="connsiteY18759" fmla="*/ 4352369 h 7458372"/>
              <a:gd name="connsiteX18760" fmla="*/ 5700165 w 10505529"/>
              <a:gd name="connsiteY18760" fmla="*/ 4355031 h 7458372"/>
              <a:gd name="connsiteX18761" fmla="*/ 5709483 w 10505529"/>
              <a:gd name="connsiteY18761" fmla="*/ 4361421 h 7458372"/>
              <a:gd name="connsiteX18762" fmla="*/ 5715606 w 10505529"/>
              <a:gd name="connsiteY18762" fmla="*/ 4370739 h 7458372"/>
              <a:gd name="connsiteX18763" fmla="*/ 5717869 w 10505529"/>
              <a:gd name="connsiteY18763" fmla="*/ 4382187 h 7458372"/>
              <a:gd name="connsiteX18764" fmla="*/ 5715606 w 10505529"/>
              <a:gd name="connsiteY18764" fmla="*/ 4393902 h 7458372"/>
              <a:gd name="connsiteX18765" fmla="*/ 5709483 w 10505529"/>
              <a:gd name="connsiteY18765" fmla="*/ 4403220 h 7458372"/>
              <a:gd name="connsiteX18766" fmla="*/ 5700165 w 10505529"/>
              <a:gd name="connsiteY18766" fmla="*/ 4409477 h 7458372"/>
              <a:gd name="connsiteX18767" fmla="*/ 5688451 w 10505529"/>
              <a:gd name="connsiteY18767" fmla="*/ 4411740 h 7458372"/>
              <a:gd name="connsiteX18768" fmla="*/ 5666618 w 10505529"/>
              <a:gd name="connsiteY18768" fmla="*/ 4403220 h 7458372"/>
              <a:gd name="connsiteX18769" fmla="*/ 5658232 w 10505529"/>
              <a:gd name="connsiteY18769" fmla="*/ 4382054 h 7458372"/>
              <a:gd name="connsiteX18770" fmla="*/ 5666618 w 10505529"/>
              <a:gd name="connsiteY18770" fmla="*/ 4361021 h 7458372"/>
              <a:gd name="connsiteX18771" fmla="*/ 5688451 w 10505529"/>
              <a:gd name="connsiteY18771" fmla="*/ 4352369 h 7458372"/>
              <a:gd name="connsiteX18772" fmla="*/ 5470806 w 10505529"/>
              <a:gd name="connsiteY18772" fmla="*/ 4352369 h 7458372"/>
              <a:gd name="connsiteX18773" fmla="*/ 5482520 w 10505529"/>
              <a:gd name="connsiteY18773" fmla="*/ 4355031 h 7458372"/>
              <a:gd name="connsiteX18774" fmla="*/ 5491838 w 10505529"/>
              <a:gd name="connsiteY18774" fmla="*/ 4361421 h 7458372"/>
              <a:gd name="connsiteX18775" fmla="*/ 5497961 w 10505529"/>
              <a:gd name="connsiteY18775" fmla="*/ 4370739 h 7458372"/>
              <a:gd name="connsiteX18776" fmla="*/ 5500224 w 10505529"/>
              <a:gd name="connsiteY18776" fmla="*/ 4382187 h 7458372"/>
              <a:gd name="connsiteX18777" fmla="*/ 5497961 w 10505529"/>
              <a:gd name="connsiteY18777" fmla="*/ 4393902 h 7458372"/>
              <a:gd name="connsiteX18778" fmla="*/ 5491838 w 10505529"/>
              <a:gd name="connsiteY18778" fmla="*/ 4403220 h 7458372"/>
              <a:gd name="connsiteX18779" fmla="*/ 5482520 w 10505529"/>
              <a:gd name="connsiteY18779" fmla="*/ 4409477 h 7458372"/>
              <a:gd name="connsiteX18780" fmla="*/ 5470806 w 10505529"/>
              <a:gd name="connsiteY18780" fmla="*/ 4411740 h 7458372"/>
              <a:gd name="connsiteX18781" fmla="*/ 5448973 w 10505529"/>
              <a:gd name="connsiteY18781" fmla="*/ 4403220 h 7458372"/>
              <a:gd name="connsiteX18782" fmla="*/ 5440587 w 10505529"/>
              <a:gd name="connsiteY18782" fmla="*/ 4382054 h 7458372"/>
              <a:gd name="connsiteX18783" fmla="*/ 5448973 w 10505529"/>
              <a:gd name="connsiteY18783" fmla="*/ 4361021 h 7458372"/>
              <a:gd name="connsiteX18784" fmla="*/ 5470806 w 10505529"/>
              <a:gd name="connsiteY18784" fmla="*/ 4352369 h 7458372"/>
              <a:gd name="connsiteX18785" fmla="*/ 5253160 w 10505529"/>
              <a:gd name="connsiteY18785" fmla="*/ 4352369 h 7458372"/>
              <a:gd name="connsiteX18786" fmla="*/ 5264875 w 10505529"/>
              <a:gd name="connsiteY18786" fmla="*/ 4355031 h 7458372"/>
              <a:gd name="connsiteX18787" fmla="*/ 5274192 w 10505529"/>
              <a:gd name="connsiteY18787" fmla="*/ 4361421 h 7458372"/>
              <a:gd name="connsiteX18788" fmla="*/ 5280316 w 10505529"/>
              <a:gd name="connsiteY18788" fmla="*/ 4370739 h 7458372"/>
              <a:gd name="connsiteX18789" fmla="*/ 5282579 w 10505529"/>
              <a:gd name="connsiteY18789" fmla="*/ 4382187 h 7458372"/>
              <a:gd name="connsiteX18790" fmla="*/ 5280316 w 10505529"/>
              <a:gd name="connsiteY18790" fmla="*/ 4393902 h 7458372"/>
              <a:gd name="connsiteX18791" fmla="*/ 5274192 w 10505529"/>
              <a:gd name="connsiteY18791" fmla="*/ 4403220 h 7458372"/>
              <a:gd name="connsiteX18792" fmla="*/ 5264875 w 10505529"/>
              <a:gd name="connsiteY18792" fmla="*/ 4409477 h 7458372"/>
              <a:gd name="connsiteX18793" fmla="*/ 5253160 w 10505529"/>
              <a:gd name="connsiteY18793" fmla="*/ 4411740 h 7458372"/>
              <a:gd name="connsiteX18794" fmla="*/ 5231328 w 10505529"/>
              <a:gd name="connsiteY18794" fmla="*/ 4403220 h 7458372"/>
              <a:gd name="connsiteX18795" fmla="*/ 5222942 w 10505529"/>
              <a:gd name="connsiteY18795" fmla="*/ 4382054 h 7458372"/>
              <a:gd name="connsiteX18796" fmla="*/ 5231328 w 10505529"/>
              <a:gd name="connsiteY18796" fmla="*/ 4361021 h 7458372"/>
              <a:gd name="connsiteX18797" fmla="*/ 5253160 w 10505529"/>
              <a:gd name="connsiteY18797" fmla="*/ 4352369 h 7458372"/>
              <a:gd name="connsiteX18798" fmla="*/ 5035515 w 10505529"/>
              <a:gd name="connsiteY18798" fmla="*/ 4352369 h 7458372"/>
              <a:gd name="connsiteX18799" fmla="*/ 5047230 w 10505529"/>
              <a:gd name="connsiteY18799" fmla="*/ 4355031 h 7458372"/>
              <a:gd name="connsiteX18800" fmla="*/ 5056548 w 10505529"/>
              <a:gd name="connsiteY18800" fmla="*/ 4361421 h 7458372"/>
              <a:gd name="connsiteX18801" fmla="*/ 5062671 w 10505529"/>
              <a:gd name="connsiteY18801" fmla="*/ 4370739 h 7458372"/>
              <a:gd name="connsiteX18802" fmla="*/ 5064934 w 10505529"/>
              <a:gd name="connsiteY18802" fmla="*/ 4382187 h 7458372"/>
              <a:gd name="connsiteX18803" fmla="*/ 5062671 w 10505529"/>
              <a:gd name="connsiteY18803" fmla="*/ 4393902 h 7458372"/>
              <a:gd name="connsiteX18804" fmla="*/ 5056548 w 10505529"/>
              <a:gd name="connsiteY18804" fmla="*/ 4403220 h 7458372"/>
              <a:gd name="connsiteX18805" fmla="*/ 5047230 w 10505529"/>
              <a:gd name="connsiteY18805" fmla="*/ 4409477 h 7458372"/>
              <a:gd name="connsiteX18806" fmla="*/ 5035515 w 10505529"/>
              <a:gd name="connsiteY18806" fmla="*/ 4411740 h 7458372"/>
              <a:gd name="connsiteX18807" fmla="*/ 5013683 w 10505529"/>
              <a:gd name="connsiteY18807" fmla="*/ 4403220 h 7458372"/>
              <a:gd name="connsiteX18808" fmla="*/ 5005297 w 10505529"/>
              <a:gd name="connsiteY18808" fmla="*/ 4382054 h 7458372"/>
              <a:gd name="connsiteX18809" fmla="*/ 5013683 w 10505529"/>
              <a:gd name="connsiteY18809" fmla="*/ 4361021 h 7458372"/>
              <a:gd name="connsiteX18810" fmla="*/ 5035515 w 10505529"/>
              <a:gd name="connsiteY18810" fmla="*/ 4352369 h 7458372"/>
              <a:gd name="connsiteX18811" fmla="*/ 4817870 w 10505529"/>
              <a:gd name="connsiteY18811" fmla="*/ 4352369 h 7458372"/>
              <a:gd name="connsiteX18812" fmla="*/ 4829585 w 10505529"/>
              <a:gd name="connsiteY18812" fmla="*/ 4355031 h 7458372"/>
              <a:gd name="connsiteX18813" fmla="*/ 4838903 w 10505529"/>
              <a:gd name="connsiteY18813" fmla="*/ 4361421 h 7458372"/>
              <a:gd name="connsiteX18814" fmla="*/ 4845026 w 10505529"/>
              <a:gd name="connsiteY18814" fmla="*/ 4370739 h 7458372"/>
              <a:gd name="connsiteX18815" fmla="*/ 4847289 w 10505529"/>
              <a:gd name="connsiteY18815" fmla="*/ 4382187 h 7458372"/>
              <a:gd name="connsiteX18816" fmla="*/ 4845026 w 10505529"/>
              <a:gd name="connsiteY18816" fmla="*/ 4393902 h 7458372"/>
              <a:gd name="connsiteX18817" fmla="*/ 4838903 w 10505529"/>
              <a:gd name="connsiteY18817" fmla="*/ 4403220 h 7458372"/>
              <a:gd name="connsiteX18818" fmla="*/ 4829585 w 10505529"/>
              <a:gd name="connsiteY18818" fmla="*/ 4409477 h 7458372"/>
              <a:gd name="connsiteX18819" fmla="*/ 4817870 w 10505529"/>
              <a:gd name="connsiteY18819" fmla="*/ 4411740 h 7458372"/>
              <a:gd name="connsiteX18820" fmla="*/ 4796038 w 10505529"/>
              <a:gd name="connsiteY18820" fmla="*/ 4403220 h 7458372"/>
              <a:gd name="connsiteX18821" fmla="*/ 4787652 w 10505529"/>
              <a:gd name="connsiteY18821" fmla="*/ 4382054 h 7458372"/>
              <a:gd name="connsiteX18822" fmla="*/ 4796038 w 10505529"/>
              <a:gd name="connsiteY18822" fmla="*/ 4361021 h 7458372"/>
              <a:gd name="connsiteX18823" fmla="*/ 4817870 w 10505529"/>
              <a:gd name="connsiteY18823" fmla="*/ 4352369 h 7458372"/>
              <a:gd name="connsiteX18824" fmla="*/ 4600226 w 10505529"/>
              <a:gd name="connsiteY18824" fmla="*/ 4352369 h 7458372"/>
              <a:gd name="connsiteX18825" fmla="*/ 4612073 w 10505529"/>
              <a:gd name="connsiteY18825" fmla="*/ 4355031 h 7458372"/>
              <a:gd name="connsiteX18826" fmla="*/ 4621391 w 10505529"/>
              <a:gd name="connsiteY18826" fmla="*/ 4361421 h 7458372"/>
              <a:gd name="connsiteX18827" fmla="*/ 4627514 w 10505529"/>
              <a:gd name="connsiteY18827" fmla="*/ 4370739 h 7458372"/>
              <a:gd name="connsiteX18828" fmla="*/ 4629777 w 10505529"/>
              <a:gd name="connsiteY18828" fmla="*/ 4382187 h 7458372"/>
              <a:gd name="connsiteX18829" fmla="*/ 4627514 w 10505529"/>
              <a:gd name="connsiteY18829" fmla="*/ 4393902 h 7458372"/>
              <a:gd name="connsiteX18830" fmla="*/ 4621391 w 10505529"/>
              <a:gd name="connsiteY18830" fmla="*/ 4403220 h 7458372"/>
              <a:gd name="connsiteX18831" fmla="*/ 4612073 w 10505529"/>
              <a:gd name="connsiteY18831" fmla="*/ 4409477 h 7458372"/>
              <a:gd name="connsiteX18832" fmla="*/ 4600226 w 10505529"/>
              <a:gd name="connsiteY18832" fmla="*/ 4411740 h 7458372"/>
              <a:gd name="connsiteX18833" fmla="*/ 4578393 w 10505529"/>
              <a:gd name="connsiteY18833" fmla="*/ 4403220 h 7458372"/>
              <a:gd name="connsiteX18834" fmla="*/ 4570007 w 10505529"/>
              <a:gd name="connsiteY18834" fmla="*/ 4382054 h 7458372"/>
              <a:gd name="connsiteX18835" fmla="*/ 4578393 w 10505529"/>
              <a:gd name="connsiteY18835" fmla="*/ 4361021 h 7458372"/>
              <a:gd name="connsiteX18836" fmla="*/ 4600226 w 10505529"/>
              <a:gd name="connsiteY18836" fmla="*/ 4352369 h 7458372"/>
              <a:gd name="connsiteX18837" fmla="*/ 4382713 w 10505529"/>
              <a:gd name="connsiteY18837" fmla="*/ 4352369 h 7458372"/>
              <a:gd name="connsiteX18838" fmla="*/ 4394428 w 10505529"/>
              <a:gd name="connsiteY18838" fmla="*/ 4355031 h 7458372"/>
              <a:gd name="connsiteX18839" fmla="*/ 4403746 w 10505529"/>
              <a:gd name="connsiteY18839" fmla="*/ 4361421 h 7458372"/>
              <a:gd name="connsiteX18840" fmla="*/ 4409869 w 10505529"/>
              <a:gd name="connsiteY18840" fmla="*/ 4370739 h 7458372"/>
              <a:gd name="connsiteX18841" fmla="*/ 4412132 w 10505529"/>
              <a:gd name="connsiteY18841" fmla="*/ 4382187 h 7458372"/>
              <a:gd name="connsiteX18842" fmla="*/ 4409869 w 10505529"/>
              <a:gd name="connsiteY18842" fmla="*/ 4393902 h 7458372"/>
              <a:gd name="connsiteX18843" fmla="*/ 4403746 w 10505529"/>
              <a:gd name="connsiteY18843" fmla="*/ 4403220 h 7458372"/>
              <a:gd name="connsiteX18844" fmla="*/ 4394428 w 10505529"/>
              <a:gd name="connsiteY18844" fmla="*/ 4409477 h 7458372"/>
              <a:gd name="connsiteX18845" fmla="*/ 4382713 w 10505529"/>
              <a:gd name="connsiteY18845" fmla="*/ 4411740 h 7458372"/>
              <a:gd name="connsiteX18846" fmla="*/ 4360881 w 10505529"/>
              <a:gd name="connsiteY18846" fmla="*/ 4403220 h 7458372"/>
              <a:gd name="connsiteX18847" fmla="*/ 4352495 w 10505529"/>
              <a:gd name="connsiteY18847" fmla="*/ 4382054 h 7458372"/>
              <a:gd name="connsiteX18848" fmla="*/ 4360881 w 10505529"/>
              <a:gd name="connsiteY18848" fmla="*/ 4361021 h 7458372"/>
              <a:gd name="connsiteX18849" fmla="*/ 4382713 w 10505529"/>
              <a:gd name="connsiteY18849" fmla="*/ 4352369 h 7458372"/>
              <a:gd name="connsiteX18850" fmla="*/ 4165068 w 10505529"/>
              <a:gd name="connsiteY18850" fmla="*/ 4352369 h 7458372"/>
              <a:gd name="connsiteX18851" fmla="*/ 4176782 w 10505529"/>
              <a:gd name="connsiteY18851" fmla="*/ 4355031 h 7458372"/>
              <a:gd name="connsiteX18852" fmla="*/ 4186100 w 10505529"/>
              <a:gd name="connsiteY18852" fmla="*/ 4361421 h 7458372"/>
              <a:gd name="connsiteX18853" fmla="*/ 4192223 w 10505529"/>
              <a:gd name="connsiteY18853" fmla="*/ 4370739 h 7458372"/>
              <a:gd name="connsiteX18854" fmla="*/ 4194486 w 10505529"/>
              <a:gd name="connsiteY18854" fmla="*/ 4382187 h 7458372"/>
              <a:gd name="connsiteX18855" fmla="*/ 4192223 w 10505529"/>
              <a:gd name="connsiteY18855" fmla="*/ 4393902 h 7458372"/>
              <a:gd name="connsiteX18856" fmla="*/ 4186100 w 10505529"/>
              <a:gd name="connsiteY18856" fmla="*/ 4403220 h 7458372"/>
              <a:gd name="connsiteX18857" fmla="*/ 4176782 w 10505529"/>
              <a:gd name="connsiteY18857" fmla="*/ 4409477 h 7458372"/>
              <a:gd name="connsiteX18858" fmla="*/ 4165068 w 10505529"/>
              <a:gd name="connsiteY18858" fmla="*/ 4411740 h 7458372"/>
              <a:gd name="connsiteX18859" fmla="*/ 4143235 w 10505529"/>
              <a:gd name="connsiteY18859" fmla="*/ 4403220 h 7458372"/>
              <a:gd name="connsiteX18860" fmla="*/ 4134849 w 10505529"/>
              <a:gd name="connsiteY18860" fmla="*/ 4382054 h 7458372"/>
              <a:gd name="connsiteX18861" fmla="*/ 4143235 w 10505529"/>
              <a:gd name="connsiteY18861" fmla="*/ 4361021 h 7458372"/>
              <a:gd name="connsiteX18862" fmla="*/ 4165068 w 10505529"/>
              <a:gd name="connsiteY18862" fmla="*/ 4352369 h 7458372"/>
              <a:gd name="connsiteX18863" fmla="*/ 3947663 w 10505529"/>
              <a:gd name="connsiteY18863" fmla="*/ 4352369 h 7458372"/>
              <a:gd name="connsiteX18864" fmla="*/ 3959380 w 10505529"/>
              <a:gd name="connsiteY18864" fmla="*/ 4355031 h 7458372"/>
              <a:gd name="connsiteX18865" fmla="*/ 3968698 w 10505529"/>
              <a:gd name="connsiteY18865" fmla="*/ 4361421 h 7458372"/>
              <a:gd name="connsiteX18866" fmla="*/ 3974822 w 10505529"/>
              <a:gd name="connsiteY18866" fmla="*/ 4370739 h 7458372"/>
              <a:gd name="connsiteX18867" fmla="*/ 3977086 w 10505529"/>
              <a:gd name="connsiteY18867" fmla="*/ 4382187 h 7458372"/>
              <a:gd name="connsiteX18868" fmla="*/ 3974822 w 10505529"/>
              <a:gd name="connsiteY18868" fmla="*/ 4393902 h 7458372"/>
              <a:gd name="connsiteX18869" fmla="*/ 3968698 w 10505529"/>
              <a:gd name="connsiteY18869" fmla="*/ 4403220 h 7458372"/>
              <a:gd name="connsiteX18870" fmla="*/ 3959380 w 10505529"/>
              <a:gd name="connsiteY18870" fmla="*/ 4409477 h 7458372"/>
              <a:gd name="connsiteX18871" fmla="*/ 3947663 w 10505529"/>
              <a:gd name="connsiteY18871" fmla="*/ 4411740 h 7458372"/>
              <a:gd name="connsiteX18872" fmla="*/ 3925830 w 10505529"/>
              <a:gd name="connsiteY18872" fmla="*/ 4403220 h 7458372"/>
              <a:gd name="connsiteX18873" fmla="*/ 3917444 w 10505529"/>
              <a:gd name="connsiteY18873" fmla="*/ 4382054 h 7458372"/>
              <a:gd name="connsiteX18874" fmla="*/ 3925830 w 10505529"/>
              <a:gd name="connsiteY18874" fmla="*/ 4361021 h 7458372"/>
              <a:gd name="connsiteX18875" fmla="*/ 3947663 w 10505529"/>
              <a:gd name="connsiteY18875" fmla="*/ 4352369 h 7458372"/>
              <a:gd name="connsiteX18876" fmla="*/ 3730007 w 10505529"/>
              <a:gd name="connsiteY18876" fmla="*/ 4352369 h 7458372"/>
              <a:gd name="connsiteX18877" fmla="*/ 3741722 w 10505529"/>
              <a:gd name="connsiteY18877" fmla="*/ 4355031 h 7458372"/>
              <a:gd name="connsiteX18878" fmla="*/ 3751041 w 10505529"/>
              <a:gd name="connsiteY18878" fmla="*/ 4361421 h 7458372"/>
              <a:gd name="connsiteX18879" fmla="*/ 3757163 w 10505529"/>
              <a:gd name="connsiteY18879" fmla="*/ 4370739 h 7458372"/>
              <a:gd name="connsiteX18880" fmla="*/ 3759426 w 10505529"/>
              <a:gd name="connsiteY18880" fmla="*/ 4382187 h 7458372"/>
              <a:gd name="connsiteX18881" fmla="*/ 3757163 w 10505529"/>
              <a:gd name="connsiteY18881" fmla="*/ 4393902 h 7458372"/>
              <a:gd name="connsiteX18882" fmla="*/ 3751041 w 10505529"/>
              <a:gd name="connsiteY18882" fmla="*/ 4403220 h 7458372"/>
              <a:gd name="connsiteX18883" fmla="*/ 3741722 w 10505529"/>
              <a:gd name="connsiteY18883" fmla="*/ 4409477 h 7458372"/>
              <a:gd name="connsiteX18884" fmla="*/ 3730007 w 10505529"/>
              <a:gd name="connsiteY18884" fmla="*/ 4411740 h 7458372"/>
              <a:gd name="connsiteX18885" fmla="*/ 3708169 w 10505529"/>
              <a:gd name="connsiteY18885" fmla="*/ 4403220 h 7458372"/>
              <a:gd name="connsiteX18886" fmla="*/ 3699782 w 10505529"/>
              <a:gd name="connsiteY18886" fmla="*/ 4382054 h 7458372"/>
              <a:gd name="connsiteX18887" fmla="*/ 3708169 w 10505529"/>
              <a:gd name="connsiteY18887" fmla="*/ 4361021 h 7458372"/>
              <a:gd name="connsiteX18888" fmla="*/ 3730007 w 10505529"/>
              <a:gd name="connsiteY18888" fmla="*/ 4352369 h 7458372"/>
              <a:gd name="connsiteX18889" fmla="*/ 3512349 w 10505529"/>
              <a:gd name="connsiteY18889" fmla="*/ 4352369 h 7458372"/>
              <a:gd name="connsiteX18890" fmla="*/ 3524065 w 10505529"/>
              <a:gd name="connsiteY18890" fmla="*/ 4355031 h 7458372"/>
              <a:gd name="connsiteX18891" fmla="*/ 3533383 w 10505529"/>
              <a:gd name="connsiteY18891" fmla="*/ 4361421 h 7458372"/>
              <a:gd name="connsiteX18892" fmla="*/ 3539506 w 10505529"/>
              <a:gd name="connsiteY18892" fmla="*/ 4370739 h 7458372"/>
              <a:gd name="connsiteX18893" fmla="*/ 3541769 w 10505529"/>
              <a:gd name="connsiteY18893" fmla="*/ 4382187 h 7458372"/>
              <a:gd name="connsiteX18894" fmla="*/ 3539506 w 10505529"/>
              <a:gd name="connsiteY18894" fmla="*/ 4393902 h 7458372"/>
              <a:gd name="connsiteX18895" fmla="*/ 3533383 w 10505529"/>
              <a:gd name="connsiteY18895" fmla="*/ 4403220 h 7458372"/>
              <a:gd name="connsiteX18896" fmla="*/ 3524065 w 10505529"/>
              <a:gd name="connsiteY18896" fmla="*/ 4409477 h 7458372"/>
              <a:gd name="connsiteX18897" fmla="*/ 3512349 w 10505529"/>
              <a:gd name="connsiteY18897" fmla="*/ 4411740 h 7458372"/>
              <a:gd name="connsiteX18898" fmla="*/ 3490513 w 10505529"/>
              <a:gd name="connsiteY18898" fmla="*/ 4403220 h 7458372"/>
              <a:gd name="connsiteX18899" fmla="*/ 3482127 w 10505529"/>
              <a:gd name="connsiteY18899" fmla="*/ 4382054 h 7458372"/>
              <a:gd name="connsiteX18900" fmla="*/ 3490513 w 10505529"/>
              <a:gd name="connsiteY18900" fmla="*/ 4361021 h 7458372"/>
              <a:gd name="connsiteX18901" fmla="*/ 3512349 w 10505529"/>
              <a:gd name="connsiteY18901" fmla="*/ 4352369 h 7458372"/>
              <a:gd name="connsiteX18902" fmla="*/ 3294825 w 10505529"/>
              <a:gd name="connsiteY18902" fmla="*/ 4352369 h 7458372"/>
              <a:gd name="connsiteX18903" fmla="*/ 3306540 w 10505529"/>
              <a:gd name="connsiteY18903" fmla="*/ 4355031 h 7458372"/>
              <a:gd name="connsiteX18904" fmla="*/ 3315858 w 10505529"/>
              <a:gd name="connsiteY18904" fmla="*/ 4361421 h 7458372"/>
              <a:gd name="connsiteX18905" fmla="*/ 3321982 w 10505529"/>
              <a:gd name="connsiteY18905" fmla="*/ 4370739 h 7458372"/>
              <a:gd name="connsiteX18906" fmla="*/ 3324245 w 10505529"/>
              <a:gd name="connsiteY18906" fmla="*/ 4382187 h 7458372"/>
              <a:gd name="connsiteX18907" fmla="*/ 3321982 w 10505529"/>
              <a:gd name="connsiteY18907" fmla="*/ 4393902 h 7458372"/>
              <a:gd name="connsiteX18908" fmla="*/ 3315858 w 10505529"/>
              <a:gd name="connsiteY18908" fmla="*/ 4403220 h 7458372"/>
              <a:gd name="connsiteX18909" fmla="*/ 3306540 w 10505529"/>
              <a:gd name="connsiteY18909" fmla="*/ 4409477 h 7458372"/>
              <a:gd name="connsiteX18910" fmla="*/ 3294825 w 10505529"/>
              <a:gd name="connsiteY18910" fmla="*/ 4411740 h 7458372"/>
              <a:gd name="connsiteX18911" fmla="*/ 3272988 w 10505529"/>
              <a:gd name="connsiteY18911" fmla="*/ 4403220 h 7458372"/>
              <a:gd name="connsiteX18912" fmla="*/ 3264601 w 10505529"/>
              <a:gd name="connsiteY18912" fmla="*/ 4382054 h 7458372"/>
              <a:gd name="connsiteX18913" fmla="*/ 3272988 w 10505529"/>
              <a:gd name="connsiteY18913" fmla="*/ 4361021 h 7458372"/>
              <a:gd name="connsiteX18914" fmla="*/ 3294825 w 10505529"/>
              <a:gd name="connsiteY18914" fmla="*/ 4352369 h 7458372"/>
              <a:gd name="connsiteX18915" fmla="*/ 3077167 w 10505529"/>
              <a:gd name="connsiteY18915" fmla="*/ 4352369 h 7458372"/>
              <a:gd name="connsiteX18916" fmla="*/ 3088883 w 10505529"/>
              <a:gd name="connsiteY18916" fmla="*/ 4355031 h 7458372"/>
              <a:gd name="connsiteX18917" fmla="*/ 3098201 w 10505529"/>
              <a:gd name="connsiteY18917" fmla="*/ 4361421 h 7458372"/>
              <a:gd name="connsiteX18918" fmla="*/ 3104324 w 10505529"/>
              <a:gd name="connsiteY18918" fmla="*/ 4370739 h 7458372"/>
              <a:gd name="connsiteX18919" fmla="*/ 3106587 w 10505529"/>
              <a:gd name="connsiteY18919" fmla="*/ 4382187 h 7458372"/>
              <a:gd name="connsiteX18920" fmla="*/ 3104324 w 10505529"/>
              <a:gd name="connsiteY18920" fmla="*/ 4393902 h 7458372"/>
              <a:gd name="connsiteX18921" fmla="*/ 3098201 w 10505529"/>
              <a:gd name="connsiteY18921" fmla="*/ 4403220 h 7458372"/>
              <a:gd name="connsiteX18922" fmla="*/ 3088883 w 10505529"/>
              <a:gd name="connsiteY18922" fmla="*/ 4409477 h 7458372"/>
              <a:gd name="connsiteX18923" fmla="*/ 3077167 w 10505529"/>
              <a:gd name="connsiteY18923" fmla="*/ 4411740 h 7458372"/>
              <a:gd name="connsiteX18924" fmla="*/ 3055331 w 10505529"/>
              <a:gd name="connsiteY18924" fmla="*/ 4403220 h 7458372"/>
              <a:gd name="connsiteX18925" fmla="*/ 3046944 w 10505529"/>
              <a:gd name="connsiteY18925" fmla="*/ 4382054 h 7458372"/>
              <a:gd name="connsiteX18926" fmla="*/ 3055331 w 10505529"/>
              <a:gd name="connsiteY18926" fmla="*/ 4361021 h 7458372"/>
              <a:gd name="connsiteX18927" fmla="*/ 3077167 w 10505529"/>
              <a:gd name="connsiteY18927" fmla="*/ 4352369 h 7458372"/>
              <a:gd name="connsiteX18928" fmla="*/ 2859510 w 10505529"/>
              <a:gd name="connsiteY18928" fmla="*/ 4352369 h 7458372"/>
              <a:gd name="connsiteX18929" fmla="*/ 2871358 w 10505529"/>
              <a:gd name="connsiteY18929" fmla="*/ 4355031 h 7458372"/>
              <a:gd name="connsiteX18930" fmla="*/ 2880676 w 10505529"/>
              <a:gd name="connsiteY18930" fmla="*/ 4361421 h 7458372"/>
              <a:gd name="connsiteX18931" fmla="*/ 2886799 w 10505529"/>
              <a:gd name="connsiteY18931" fmla="*/ 4370739 h 7458372"/>
              <a:gd name="connsiteX18932" fmla="*/ 2889062 w 10505529"/>
              <a:gd name="connsiteY18932" fmla="*/ 4382187 h 7458372"/>
              <a:gd name="connsiteX18933" fmla="*/ 2886799 w 10505529"/>
              <a:gd name="connsiteY18933" fmla="*/ 4393902 h 7458372"/>
              <a:gd name="connsiteX18934" fmla="*/ 2880676 w 10505529"/>
              <a:gd name="connsiteY18934" fmla="*/ 4403220 h 7458372"/>
              <a:gd name="connsiteX18935" fmla="*/ 2871358 w 10505529"/>
              <a:gd name="connsiteY18935" fmla="*/ 4409477 h 7458372"/>
              <a:gd name="connsiteX18936" fmla="*/ 2859510 w 10505529"/>
              <a:gd name="connsiteY18936" fmla="*/ 4411740 h 7458372"/>
              <a:gd name="connsiteX18937" fmla="*/ 2837673 w 10505529"/>
              <a:gd name="connsiteY18937" fmla="*/ 4403220 h 7458372"/>
              <a:gd name="connsiteX18938" fmla="*/ 2829286 w 10505529"/>
              <a:gd name="connsiteY18938" fmla="*/ 4382054 h 7458372"/>
              <a:gd name="connsiteX18939" fmla="*/ 2837673 w 10505529"/>
              <a:gd name="connsiteY18939" fmla="*/ 4361021 h 7458372"/>
              <a:gd name="connsiteX18940" fmla="*/ 2859510 w 10505529"/>
              <a:gd name="connsiteY18940" fmla="*/ 4352369 h 7458372"/>
              <a:gd name="connsiteX18941" fmla="*/ 2641852 w 10505529"/>
              <a:gd name="connsiteY18941" fmla="*/ 4352369 h 7458372"/>
              <a:gd name="connsiteX18942" fmla="*/ 2653567 w 10505529"/>
              <a:gd name="connsiteY18942" fmla="*/ 4355031 h 7458372"/>
              <a:gd name="connsiteX18943" fmla="*/ 2662885 w 10505529"/>
              <a:gd name="connsiteY18943" fmla="*/ 4361421 h 7458372"/>
              <a:gd name="connsiteX18944" fmla="*/ 2669009 w 10505529"/>
              <a:gd name="connsiteY18944" fmla="*/ 4370739 h 7458372"/>
              <a:gd name="connsiteX18945" fmla="*/ 2671272 w 10505529"/>
              <a:gd name="connsiteY18945" fmla="*/ 4382187 h 7458372"/>
              <a:gd name="connsiteX18946" fmla="*/ 2669009 w 10505529"/>
              <a:gd name="connsiteY18946" fmla="*/ 4393902 h 7458372"/>
              <a:gd name="connsiteX18947" fmla="*/ 2662885 w 10505529"/>
              <a:gd name="connsiteY18947" fmla="*/ 4403220 h 7458372"/>
              <a:gd name="connsiteX18948" fmla="*/ 2653567 w 10505529"/>
              <a:gd name="connsiteY18948" fmla="*/ 4409477 h 7458372"/>
              <a:gd name="connsiteX18949" fmla="*/ 2641852 w 10505529"/>
              <a:gd name="connsiteY18949" fmla="*/ 4411740 h 7458372"/>
              <a:gd name="connsiteX18950" fmla="*/ 2620019 w 10505529"/>
              <a:gd name="connsiteY18950" fmla="*/ 4403220 h 7458372"/>
              <a:gd name="connsiteX18951" fmla="*/ 2611630 w 10505529"/>
              <a:gd name="connsiteY18951" fmla="*/ 4382054 h 7458372"/>
              <a:gd name="connsiteX18952" fmla="*/ 2620019 w 10505529"/>
              <a:gd name="connsiteY18952" fmla="*/ 4361021 h 7458372"/>
              <a:gd name="connsiteX18953" fmla="*/ 2641852 w 10505529"/>
              <a:gd name="connsiteY18953" fmla="*/ 4352369 h 7458372"/>
              <a:gd name="connsiteX18954" fmla="*/ 2424194 w 10505529"/>
              <a:gd name="connsiteY18954" fmla="*/ 4352369 h 7458372"/>
              <a:gd name="connsiteX18955" fmla="*/ 2435910 w 10505529"/>
              <a:gd name="connsiteY18955" fmla="*/ 4355031 h 7458372"/>
              <a:gd name="connsiteX18956" fmla="*/ 2445228 w 10505529"/>
              <a:gd name="connsiteY18956" fmla="*/ 4361421 h 7458372"/>
              <a:gd name="connsiteX18957" fmla="*/ 2451351 w 10505529"/>
              <a:gd name="connsiteY18957" fmla="*/ 4370739 h 7458372"/>
              <a:gd name="connsiteX18958" fmla="*/ 2453614 w 10505529"/>
              <a:gd name="connsiteY18958" fmla="*/ 4382187 h 7458372"/>
              <a:gd name="connsiteX18959" fmla="*/ 2451351 w 10505529"/>
              <a:gd name="connsiteY18959" fmla="*/ 4393902 h 7458372"/>
              <a:gd name="connsiteX18960" fmla="*/ 2445228 w 10505529"/>
              <a:gd name="connsiteY18960" fmla="*/ 4403220 h 7458372"/>
              <a:gd name="connsiteX18961" fmla="*/ 2435910 w 10505529"/>
              <a:gd name="connsiteY18961" fmla="*/ 4409477 h 7458372"/>
              <a:gd name="connsiteX18962" fmla="*/ 2424194 w 10505529"/>
              <a:gd name="connsiteY18962" fmla="*/ 4411740 h 7458372"/>
              <a:gd name="connsiteX18963" fmla="*/ 2402362 w 10505529"/>
              <a:gd name="connsiteY18963" fmla="*/ 4403220 h 7458372"/>
              <a:gd name="connsiteX18964" fmla="*/ 2393974 w 10505529"/>
              <a:gd name="connsiteY18964" fmla="*/ 4382054 h 7458372"/>
              <a:gd name="connsiteX18965" fmla="*/ 2402362 w 10505529"/>
              <a:gd name="connsiteY18965" fmla="*/ 4361021 h 7458372"/>
              <a:gd name="connsiteX18966" fmla="*/ 2424194 w 10505529"/>
              <a:gd name="connsiteY18966" fmla="*/ 4352369 h 7458372"/>
              <a:gd name="connsiteX18967" fmla="*/ 2206537 w 10505529"/>
              <a:gd name="connsiteY18967" fmla="*/ 4352369 h 7458372"/>
              <a:gd name="connsiteX18968" fmla="*/ 2218252 w 10505529"/>
              <a:gd name="connsiteY18968" fmla="*/ 4355031 h 7458372"/>
              <a:gd name="connsiteX18969" fmla="*/ 2227570 w 10505529"/>
              <a:gd name="connsiteY18969" fmla="*/ 4361421 h 7458372"/>
              <a:gd name="connsiteX18970" fmla="*/ 2233693 w 10505529"/>
              <a:gd name="connsiteY18970" fmla="*/ 4370739 h 7458372"/>
              <a:gd name="connsiteX18971" fmla="*/ 2235956 w 10505529"/>
              <a:gd name="connsiteY18971" fmla="*/ 4382187 h 7458372"/>
              <a:gd name="connsiteX18972" fmla="*/ 2233693 w 10505529"/>
              <a:gd name="connsiteY18972" fmla="*/ 4393902 h 7458372"/>
              <a:gd name="connsiteX18973" fmla="*/ 2227570 w 10505529"/>
              <a:gd name="connsiteY18973" fmla="*/ 4403220 h 7458372"/>
              <a:gd name="connsiteX18974" fmla="*/ 2218252 w 10505529"/>
              <a:gd name="connsiteY18974" fmla="*/ 4409477 h 7458372"/>
              <a:gd name="connsiteX18975" fmla="*/ 2206537 w 10505529"/>
              <a:gd name="connsiteY18975" fmla="*/ 4411740 h 7458372"/>
              <a:gd name="connsiteX18976" fmla="*/ 2184704 w 10505529"/>
              <a:gd name="connsiteY18976" fmla="*/ 4403220 h 7458372"/>
              <a:gd name="connsiteX18977" fmla="*/ 2176317 w 10505529"/>
              <a:gd name="connsiteY18977" fmla="*/ 4382054 h 7458372"/>
              <a:gd name="connsiteX18978" fmla="*/ 2184704 w 10505529"/>
              <a:gd name="connsiteY18978" fmla="*/ 4361021 h 7458372"/>
              <a:gd name="connsiteX18979" fmla="*/ 2206537 w 10505529"/>
              <a:gd name="connsiteY18979" fmla="*/ 4352369 h 7458372"/>
              <a:gd name="connsiteX18980" fmla="*/ 1989012 w 10505529"/>
              <a:gd name="connsiteY18980" fmla="*/ 4352369 h 7458372"/>
              <a:gd name="connsiteX18981" fmla="*/ 2000727 w 10505529"/>
              <a:gd name="connsiteY18981" fmla="*/ 4355031 h 7458372"/>
              <a:gd name="connsiteX18982" fmla="*/ 2010045 w 10505529"/>
              <a:gd name="connsiteY18982" fmla="*/ 4361421 h 7458372"/>
              <a:gd name="connsiteX18983" fmla="*/ 2016168 w 10505529"/>
              <a:gd name="connsiteY18983" fmla="*/ 4370739 h 7458372"/>
              <a:gd name="connsiteX18984" fmla="*/ 2018431 w 10505529"/>
              <a:gd name="connsiteY18984" fmla="*/ 4382187 h 7458372"/>
              <a:gd name="connsiteX18985" fmla="*/ 2016168 w 10505529"/>
              <a:gd name="connsiteY18985" fmla="*/ 4393902 h 7458372"/>
              <a:gd name="connsiteX18986" fmla="*/ 2010045 w 10505529"/>
              <a:gd name="connsiteY18986" fmla="*/ 4403220 h 7458372"/>
              <a:gd name="connsiteX18987" fmla="*/ 2000727 w 10505529"/>
              <a:gd name="connsiteY18987" fmla="*/ 4409477 h 7458372"/>
              <a:gd name="connsiteX18988" fmla="*/ 1989012 w 10505529"/>
              <a:gd name="connsiteY18988" fmla="*/ 4411740 h 7458372"/>
              <a:gd name="connsiteX18989" fmla="*/ 1967181 w 10505529"/>
              <a:gd name="connsiteY18989" fmla="*/ 4403220 h 7458372"/>
              <a:gd name="connsiteX18990" fmla="*/ 1958794 w 10505529"/>
              <a:gd name="connsiteY18990" fmla="*/ 4382054 h 7458372"/>
              <a:gd name="connsiteX18991" fmla="*/ 1967181 w 10505529"/>
              <a:gd name="connsiteY18991" fmla="*/ 4361021 h 7458372"/>
              <a:gd name="connsiteX18992" fmla="*/ 1989012 w 10505529"/>
              <a:gd name="connsiteY18992" fmla="*/ 4352369 h 7458372"/>
              <a:gd name="connsiteX18993" fmla="*/ 1771376 w 10505529"/>
              <a:gd name="connsiteY18993" fmla="*/ 4352369 h 7458372"/>
              <a:gd name="connsiteX18994" fmla="*/ 1783090 w 10505529"/>
              <a:gd name="connsiteY18994" fmla="*/ 4355031 h 7458372"/>
              <a:gd name="connsiteX18995" fmla="*/ 1792407 w 10505529"/>
              <a:gd name="connsiteY18995" fmla="*/ 4361421 h 7458372"/>
              <a:gd name="connsiteX18996" fmla="*/ 1798531 w 10505529"/>
              <a:gd name="connsiteY18996" fmla="*/ 4370739 h 7458372"/>
              <a:gd name="connsiteX18997" fmla="*/ 1800793 w 10505529"/>
              <a:gd name="connsiteY18997" fmla="*/ 4382187 h 7458372"/>
              <a:gd name="connsiteX18998" fmla="*/ 1798531 w 10505529"/>
              <a:gd name="connsiteY18998" fmla="*/ 4393902 h 7458372"/>
              <a:gd name="connsiteX18999" fmla="*/ 1792407 w 10505529"/>
              <a:gd name="connsiteY18999" fmla="*/ 4403220 h 7458372"/>
              <a:gd name="connsiteX19000" fmla="*/ 1783090 w 10505529"/>
              <a:gd name="connsiteY19000" fmla="*/ 4409477 h 7458372"/>
              <a:gd name="connsiteX19001" fmla="*/ 1771376 w 10505529"/>
              <a:gd name="connsiteY19001" fmla="*/ 4411740 h 7458372"/>
              <a:gd name="connsiteX19002" fmla="*/ 1749546 w 10505529"/>
              <a:gd name="connsiteY19002" fmla="*/ 4403220 h 7458372"/>
              <a:gd name="connsiteX19003" fmla="*/ 1741162 w 10505529"/>
              <a:gd name="connsiteY19003" fmla="*/ 4382054 h 7458372"/>
              <a:gd name="connsiteX19004" fmla="*/ 1749546 w 10505529"/>
              <a:gd name="connsiteY19004" fmla="*/ 4361021 h 7458372"/>
              <a:gd name="connsiteX19005" fmla="*/ 1771376 w 10505529"/>
              <a:gd name="connsiteY19005" fmla="*/ 4352369 h 7458372"/>
              <a:gd name="connsiteX19006" fmla="*/ 1553737 w 10505529"/>
              <a:gd name="connsiteY19006" fmla="*/ 4352369 h 7458372"/>
              <a:gd name="connsiteX19007" fmla="*/ 1565452 w 10505529"/>
              <a:gd name="connsiteY19007" fmla="*/ 4355031 h 7458372"/>
              <a:gd name="connsiteX19008" fmla="*/ 1574770 w 10505529"/>
              <a:gd name="connsiteY19008" fmla="*/ 4361421 h 7458372"/>
              <a:gd name="connsiteX19009" fmla="*/ 1580893 w 10505529"/>
              <a:gd name="connsiteY19009" fmla="*/ 4370739 h 7458372"/>
              <a:gd name="connsiteX19010" fmla="*/ 1583156 w 10505529"/>
              <a:gd name="connsiteY19010" fmla="*/ 4382187 h 7458372"/>
              <a:gd name="connsiteX19011" fmla="*/ 1580893 w 10505529"/>
              <a:gd name="connsiteY19011" fmla="*/ 4393902 h 7458372"/>
              <a:gd name="connsiteX19012" fmla="*/ 1574770 w 10505529"/>
              <a:gd name="connsiteY19012" fmla="*/ 4403220 h 7458372"/>
              <a:gd name="connsiteX19013" fmla="*/ 1565452 w 10505529"/>
              <a:gd name="connsiteY19013" fmla="*/ 4409477 h 7458372"/>
              <a:gd name="connsiteX19014" fmla="*/ 1553737 w 10505529"/>
              <a:gd name="connsiteY19014" fmla="*/ 4411740 h 7458372"/>
              <a:gd name="connsiteX19015" fmla="*/ 1531907 w 10505529"/>
              <a:gd name="connsiteY19015" fmla="*/ 4403220 h 7458372"/>
              <a:gd name="connsiteX19016" fmla="*/ 1523521 w 10505529"/>
              <a:gd name="connsiteY19016" fmla="*/ 4382054 h 7458372"/>
              <a:gd name="connsiteX19017" fmla="*/ 1531907 w 10505529"/>
              <a:gd name="connsiteY19017" fmla="*/ 4361021 h 7458372"/>
              <a:gd name="connsiteX19018" fmla="*/ 1553737 w 10505529"/>
              <a:gd name="connsiteY19018" fmla="*/ 4352369 h 7458372"/>
              <a:gd name="connsiteX19019" fmla="*/ 1336093 w 10505529"/>
              <a:gd name="connsiteY19019" fmla="*/ 4352369 h 7458372"/>
              <a:gd name="connsiteX19020" fmla="*/ 1347809 w 10505529"/>
              <a:gd name="connsiteY19020" fmla="*/ 4355031 h 7458372"/>
              <a:gd name="connsiteX19021" fmla="*/ 1357127 w 10505529"/>
              <a:gd name="connsiteY19021" fmla="*/ 4361421 h 7458372"/>
              <a:gd name="connsiteX19022" fmla="*/ 1363250 w 10505529"/>
              <a:gd name="connsiteY19022" fmla="*/ 4370739 h 7458372"/>
              <a:gd name="connsiteX19023" fmla="*/ 1365512 w 10505529"/>
              <a:gd name="connsiteY19023" fmla="*/ 4382187 h 7458372"/>
              <a:gd name="connsiteX19024" fmla="*/ 1363250 w 10505529"/>
              <a:gd name="connsiteY19024" fmla="*/ 4393902 h 7458372"/>
              <a:gd name="connsiteX19025" fmla="*/ 1357127 w 10505529"/>
              <a:gd name="connsiteY19025" fmla="*/ 4403220 h 7458372"/>
              <a:gd name="connsiteX19026" fmla="*/ 1347809 w 10505529"/>
              <a:gd name="connsiteY19026" fmla="*/ 4409477 h 7458372"/>
              <a:gd name="connsiteX19027" fmla="*/ 1336093 w 10505529"/>
              <a:gd name="connsiteY19027" fmla="*/ 4411740 h 7458372"/>
              <a:gd name="connsiteX19028" fmla="*/ 1314261 w 10505529"/>
              <a:gd name="connsiteY19028" fmla="*/ 4403220 h 7458372"/>
              <a:gd name="connsiteX19029" fmla="*/ 1305875 w 10505529"/>
              <a:gd name="connsiteY19029" fmla="*/ 4382054 h 7458372"/>
              <a:gd name="connsiteX19030" fmla="*/ 1314261 w 10505529"/>
              <a:gd name="connsiteY19030" fmla="*/ 4361021 h 7458372"/>
              <a:gd name="connsiteX19031" fmla="*/ 1336093 w 10505529"/>
              <a:gd name="connsiteY19031" fmla="*/ 4352369 h 7458372"/>
              <a:gd name="connsiteX19032" fmla="*/ 1118448 w 10505529"/>
              <a:gd name="connsiteY19032" fmla="*/ 4352369 h 7458372"/>
              <a:gd name="connsiteX19033" fmla="*/ 1130165 w 10505529"/>
              <a:gd name="connsiteY19033" fmla="*/ 4355031 h 7458372"/>
              <a:gd name="connsiteX19034" fmla="*/ 1139481 w 10505529"/>
              <a:gd name="connsiteY19034" fmla="*/ 4361421 h 7458372"/>
              <a:gd name="connsiteX19035" fmla="*/ 1145602 w 10505529"/>
              <a:gd name="connsiteY19035" fmla="*/ 4370739 h 7458372"/>
              <a:gd name="connsiteX19036" fmla="*/ 1147865 w 10505529"/>
              <a:gd name="connsiteY19036" fmla="*/ 4382187 h 7458372"/>
              <a:gd name="connsiteX19037" fmla="*/ 1145602 w 10505529"/>
              <a:gd name="connsiteY19037" fmla="*/ 4393902 h 7458372"/>
              <a:gd name="connsiteX19038" fmla="*/ 1139481 w 10505529"/>
              <a:gd name="connsiteY19038" fmla="*/ 4403220 h 7458372"/>
              <a:gd name="connsiteX19039" fmla="*/ 1130165 w 10505529"/>
              <a:gd name="connsiteY19039" fmla="*/ 4409477 h 7458372"/>
              <a:gd name="connsiteX19040" fmla="*/ 1118448 w 10505529"/>
              <a:gd name="connsiteY19040" fmla="*/ 4411740 h 7458372"/>
              <a:gd name="connsiteX19041" fmla="*/ 1096614 w 10505529"/>
              <a:gd name="connsiteY19041" fmla="*/ 4403220 h 7458372"/>
              <a:gd name="connsiteX19042" fmla="*/ 1088229 w 10505529"/>
              <a:gd name="connsiteY19042" fmla="*/ 4382054 h 7458372"/>
              <a:gd name="connsiteX19043" fmla="*/ 1096614 w 10505529"/>
              <a:gd name="connsiteY19043" fmla="*/ 4361021 h 7458372"/>
              <a:gd name="connsiteX19044" fmla="*/ 1118448 w 10505529"/>
              <a:gd name="connsiteY19044" fmla="*/ 4352369 h 7458372"/>
              <a:gd name="connsiteX19045" fmla="*/ 900935 w 10505529"/>
              <a:gd name="connsiteY19045" fmla="*/ 4352369 h 7458372"/>
              <a:gd name="connsiteX19046" fmla="*/ 912650 w 10505529"/>
              <a:gd name="connsiteY19046" fmla="*/ 4355031 h 7458372"/>
              <a:gd name="connsiteX19047" fmla="*/ 921968 w 10505529"/>
              <a:gd name="connsiteY19047" fmla="*/ 4361421 h 7458372"/>
              <a:gd name="connsiteX19048" fmla="*/ 928091 w 10505529"/>
              <a:gd name="connsiteY19048" fmla="*/ 4370739 h 7458372"/>
              <a:gd name="connsiteX19049" fmla="*/ 930354 w 10505529"/>
              <a:gd name="connsiteY19049" fmla="*/ 4382187 h 7458372"/>
              <a:gd name="connsiteX19050" fmla="*/ 928091 w 10505529"/>
              <a:gd name="connsiteY19050" fmla="*/ 4393902 h 7458372"/>
              <a:gd name="connsiteX19051" fmla="*/ 921968 w 10505529"/>
              <a:gd name="connsiteY19051" fmla="*/ 4403220 h 7458372"/>
              <a:gd name="connsiteX19052" fmla="*/ 912650 w 10505529"/>
              <a:gd name="connsiteY19052" fmla="*/ 4409477 h 7458372"/>
              <a:gd name="connsiteX19053" fmla="*/ 900935 w 10505529"/>
              <a:gd name="connsiteY19053" fmla="*/ 4411740 h 7458372"/>
              <a:gd name="connsiteX19054" fmla="*/ 879104 w 10505529"/>
              <a:gd name="connsiteY19054" fmla="*/ 4403220 h 7458372"/>
              <a:gd name="connsiteX19055" fmla="*/ 870719 w 10505529"/>
              <a:gd name="connsiteY19055" fmla="*/ 4382054 h 7458372"/>
              <a:gd name="connsiteX19056" fmla="*/ 879104 w 10505529"/>
              <a:gd name="connsiteY19056" fmla="*/ 4361021 h 7458372"/>
              <a:gd name="connsiteX19057" fmla="*/ 900935 w 10505529"/>
              <a:gd name="connsiteY19057" fmla="*/ 4352369 h 7458372"/>
              <a:gd name="connsiteX19058" fmla="*/ 683294 w 10505529"/>
              <a:gd name="connsiteY19058" fmla="*/ 4352369 h 7458372"/>
              <a:gd name="connsiteX19059" fmla="*/ 695009 w 10505529"/>
              <a:gd name="connsiteY19059" fmla="*/ 4355031 h 7458372"/>
              <a:gd name="connsiteX19060" fmla="*/ 704326 w 10505529"/>
              <a:gd name="connsiteY19060" fmla="*/ 4361421 h 7458372"/>
              <a:gd name="connsiteX19061" fmla="*/ 710450 w 10505529"/>
              <a:gd name="connsiteY19061" fmla="*/ 4370739 h 7458372"/>
              <a:gd name="connsiteX19062" fmla="*/ 712713 w 10505529"/>
              <a:gd name="connsiteY19062" fmla="*/ 4382187 h 7458372"/>
              <a:gd name="connsiteX19063" fmla="*/ 710450 w 10505529"/>
              <a:gd name="connsiteY19063" fmla="*/ 4393902 h 7458372"/>
              <a:gd name="connsiteX19064" fmla="*/ 704326 w 10505529"/>
              <a:gd name="connsiteY19064" fmla="*/ 4403220 h 7458372"/>
              <a:gd name="connsiteX19065" fmla="*/ 695009 w 10505529"/>
              <a:gd name="connsiteY19065" fmla="*/ 4409477 h 7458372"/>
              <a:gd name="connsiteX19066" fmla="*/ 683294 w 10505529"/>
              <a:gd name="connsiteY19066" fmla="*/ 4411740 h 7458372"/>
              <a:gd name="connsiteX19067" fmla="*/ 661462 w 10505529"/>
              <a:gd name="connsiteY19067" fmla="*/ 4403220 h 7458372"/>
              <a:gd name="connsiteX19068" fmla="*/ 653077 w 10505529"/>
              <a:gd name="connsiteY19068" fmla="*/ 4382054 h 7458372"/>
              <a:gd name="connsiteX19069" fmla="*/ 661462 w 10505529"/>
              <a:gd name="connsiteY19069" fmla="*/ 4361021 h 7458372"/>
              <a:gd name="connsiteX19070" fmla="*/ 683294 w 10505529"/>
              <a:gd name="connsiteY19070" fmla="*/ 4352369 h 7458372"/>
              <a:gd name="connsiteX19071" fmla="*/ 465652 w 10505529"/>
              <a:gd name="connsiteY19071" fmla="*/ 4352369 h 7458372"/>
              <a:gd name="connsiteX19072" fmla="*/ 477367 w 10505529"/>
              <a:gd name="connsiteY19072" fmla="*/ 4355031 h 7458372"/>
              <a:gd name="connsiteX19073" fmla="*/ 486685 w 10505529"/>
              <a:gd name="connsiteY19073" fmla="*/ 4361421 h 7458372"/>
              <a:gd name="connsiteX19074" fmla="*/ 492808 w 10505529"/>
              <a:gd name="connsiteY19074" fmla="*/ 4370739 h 7458372"/>
              <a:gd name="connsiteX19075" fmla="*/ 495071 w 10505529"/>
              <a:gd name="connsiteY19075" fmla="*/ 4382187 h 7458372"/>
              <a:gd name="connsiteX19076" fmla="*/ 492808 w 10505529"/>
              <a:gd name="connsiteY19076" fmla="*/ 4393902 h 7458372"/>
              <a:gd name="connsiteX19077" fmla="*/ 486685 w 10505529"/>
              <a:gd name="connsiteY19077" fmla="*/ 4403220 h 7458372"/>
              <a:gd name="connsiteX19078" fmla="*/ 477367 w 10505529"/>
              <a:gd name="connsiteY19078" fmla="*/ 4409477 h 7458372"/>
              <a:gd name="connsiteX19079" fmla="*/ 465652 w 10505529"/>
              <a:gd name="connsiteY19079" fmla="*/ 4411740 h 7458372"/>
              <a:gd name="connsiteX19080" fmla="*/ 443821 w 10505529"/>
              <a:gd name="connsiteY19080" fmla="*/ 4403220 h 7458372"/>
              <a:gd name="connsiteX19081" fmla="*/ 435435 w 10505529"/>
              <a:gd name="connsiteY19081" fmla="*/ 4382054 h 7458372"/>
              <a:gd name="connsiteX19082" fmla="*/ 443821 w 10505529"/>
              <a:gd name="connsiteY19082" fmla="*/ 4361021 h 7458372"/>
              <a:gd name="connsiteX19083" fmla="*/ 465652 w 10505529"/>
              <a:gd name="connsiteY19083" fmla="*/ 4352369 h 7458372"/>
              <a:gd name="connsiteX19084" fmla="*/ 248010 w 10505529"/>
              <a:gd name="connsiteY19084" fmla="*/ 4352369 h 7458372"/>
              <a:gd name="connsiteX19085" fmla="*/ 259724 w 10505529"/>
              <a:gd name="connsiteY19085" fmla="*/ 4355031 h 7458372"/>
              <a:gd name="connsiteX19086" fmla="*/ 269042 w 10505529"/>
              <a:gd name="connsiteY19086" fmla="*/ 4361421 h 7458372"/>
              <a:gd name="connsiteX19087" fmla="*/ 275166 w 10505529"/>
              <a:gd name="connsiteY19087" fmla="*/ 4370739 h 7458372"/>
              <a:gd name="connsiteX19088" fmla="*/ 277429 w 10505529"/>
              <a:gd name="connsiteY19088" fmla="*/ 4382187 h 7458372"/>
              <a:gd name="connsiteX19089" fmla="*/ 275166 w 10505529"/>
              <a:gd name="connsiteY19089" fmla="*/ 4393902 h 7458372"/>
              <a:gd name="connsiteX19090" fmla="*/ 269042 w 10505529"/>
              <a:gd name="connsiteY19090" fmla="*/ 4403220 h 7458372"/>
              <a:gd name="connsiteX19091" fmla="*/ 259724 w 10505529"/>
              <a:gd name="connsiteY19091" fmla="*/ 4409477 h 7458372"/>
              <a:gd name="connsiteX19092" fmla="*/ 248010 w 10505529"/>
              <a:gd name="connsiteY19092" fmla="*/ 4411740 h 7458372"/>
              <a:gd name="connsiteX19093" fmla="*/ 226180 w 10505529"/>
              <a:gd name="connsiteY19093" fmla="*/ 4403220 h 7458372"/>
              <a:gd name="connsiteX19094" fmla="*/ 217794 w 10505529"/>
              <a:gd name="connsiteY19094" fmla="*/ 4382054 h 7458372"/>
              <a:gd name="connsiteX19095" fmla="*/ 226180 w 10505529"/>
              <a:gd name="connsiteY19095" fmla="*/ 4361021 h 7458372"/>
              <a:gd name="connsiteX19096" fmla="*/ 248010 w 10505529"/>
              <a:gd name="connsiteY19096" fmla="*/ 4352369 h 7458372"/>
              <a:gd name="connsiteX19097" fmla="*/ 30368 w 10505529"/>
              <a:gd name="connsiteY19097" fmla="*/ 4352369 h 7458372"/>
              <a:gd name="connsiteX19098" fmla="*/ 42083 w 10505529"/>
              <a:gd name="connsiteY19098" fmla="*/ 4355031 h 7458372"/>
              <a:gd name="connsiteX19099" fmla="*/ 51401 w 10505529"/>
              <a:gd name="connsiteY19099" fmla="*/ 4361421 h 7458372"/>
              <a:gd name="connsiteX19100" fmla="*/ 57524 w 10505529"/>
              <a:gd name="connsiteY19100" fmla="*/ 4370739 h 7458372"/>
              <a:gd name="connsiteX19101" fmla="*/ 59787 w 10505529"/>
              <a:gd name="connsiteY19101" fmla="*/ 4382187 h 7458372"/>
              <a:gd name="connsiteX19102" fmla="*/ 57524 w 10505529"/>
              <a:gd name="connsiteY19102" fmla="*/ 4393902 h 7458372"/>
              <a:gd name="connsiteX19103" fmla="*/ 51401 w 10505529"/>
              <a:gd name="connsiteY19103" fmla="*/ 4403220 h 7458372"/>
              <a:gd name="connsiteX19104" fmla="*/ 42083 w 10505529"/>
              <a:gd name="connsiteY19104" fmla="*/ 4409477 h 7458372"/>
              <a:gd name="connsiteX19105" fmla="*/ 30368 w 10505529"/>
              <a:gd name="connsiteY19105" fmla="*/ 4411740 h 7458372"/>
              <a:gd name="connsiteX19106" fmla="*/ 8539 w 10505529"/>
              <a:gd name="connsiteY19106" fmla="*/ 4403220 h 7458372"/>
              <a:gd name="connsiteX19107" fmla="*/ 153 w 10505529"/>
              <a:gd name="connsiteY19107" fmla="*/ 4382054 h 7458372"/>
              <a:gd name="connsiteX19108" fmla="*/ 8539 w 10505529"/>
              <a:gd name="connsiteY19108" fmla="*/ 4361021 h 7458372"/>
              <a:gd name="connsiteX19109" fmla="*/ 30368 w 10505529"/>
              <a:gd name="connsiteY19109" fmla="*/ 4352369 h 7458372"/>
              <a:gd name="connsiteX19110" fmla="*/ 10475977 w 10505529"/>
              <a:gd name="connsiteY19110" fmla="*/ 4151497 h 7458372"/>
              <a:gd name="connsiteX19111" fmla="*/ 10465992 w 10505529"/>
              <a:gd name="connsiteY19111" fmla="*/ 4155091 h 7458372"/>
              <a:gd name="connsiteX19112" fmla="*/ 10462399 w 10505529"/>
              <a:gd name="connsiteY19112" fmla="*/ 4164542 h 7458372"/>
              <a:gd name="connsiteX19113" fmla="*/ 10465992 w 10505529"/>
              <a:gd name="connsiteY19113" fmla="*/ 4173993 h 7458372"/>
              <a:gd name="connsiteX19114" fmla="*/ 10475977 w 10505529"/>
              <a:gd name="connsiteY19114" fmla="*/ 4177455 h 7458372"/>
              <a:gd name="connsiteX19115" fmla="*/ 10481302 w 10505529"/>
              <a:gd name="connsiteY19115" fmla="*/ 4176657 h 7458372"/>
              <a:gd name="connsiteX19116" fmla="*/ 10485029 w 10505529"/>
              <a:gd name="connsiteY19116" fmla="*/ 4174260 h 7458372"/>
              <a:gd name="connsiteX19117" fmla="*/ 10487691 w 10505529"/>
              <a:gd name="connsiteY19117" fmla="*/ 4170000 h 7458372"/>
              <a:gd name="connsiteX19118" fmla="*/ 10488623 w 10505529"/>
              <a:gd name="connsiteY19118" fmla="*/ 4164542 h 7458372"/>
              <a:gd name="connsiteX19119" fmla="*/ 10487691 w 10505529"/>
              <a:gd name="connsiteY19119" fmla="*/ 4159351 h 7458372"/>
              <a:gd name="connsiteX19120" fmla="*/ 10485029 w 10505529"/>
              <a:gd name="connsiteY19120" fmla="*/ 4155091 h 7458372"/>
              <a:gd name="connsiteX19121" fmla="*/ 10481035 w 10505529"/>
              <a:gd name="connsiteY19121" fmla="*/ 4152428 h 7458372"/>
              <a:gd name="connsiteX19122" fmla="*/ 10475977 w 10505529"/>
              <a:gd name="connsiteY19122" fmla="*/ 4151497 h 7458372"/>
              <a:gd name="connsiteX19123" fmla="*/ 10258466 w 10505529"/>
              <a:gd name="connsiteY19123" fmla="*/ 4151497 h 7458372"/>
              <a:gd name="connsiteX19124" fmla="*/ 10248481 w 10505529"/>
              <a:gd name="connsiteY19124" fmla="*/ 4155091 h 7458372"/>
              <a:gd name="connsiteX19125" fmla="*/ 10244887 w 10505529"/>
              <a:gd name="connsiteY19125" fmla="*/ 4164542 h 7458372"/>
              <a:gd name="connsiteX19126" fmla="*/ 10248481 w 10505529"/>
              <a:gd name="connsiteY19126" fmla="*/ 4173993 h 7458372"/>
              <a:gd name="connsiteX19127" fmla="*/ 10258466 w 10505529"/>
              <a:gd name="connsiteY19127" fmla="*/ 4177455 h 7458372"/>
              <a:gd name="connsiteX19128" fmla="*/ 10263790 w 10505529"/>
              <a:gd name="connsiteY19128" fmla="*/ 4176657 h 7458372"/>
              <a:gd name="connsiteX19129" fmla="*/ 10267517 w 10505529"/>
              <a:gd name="connsiteY19129" fmla="*/ 4174260 h 7458372"/>
              <a:gd name="connsiteX19130" fmla="*/ 10270180 w 10505529"/>
              <a:gd name="connsiteY19130" fmla="*/ 4170000 h 7458372"/>
              <a:gd name="connsiteX19131" fmla="*/ 10271112 w 10505529"/>
              <a:gd name="connsiteY19131" fmla="*/ 4164542 h 7458372"/>
              <a:gd name="connsiteX19132" fmla="*/ 10270180 w 10505529"/>
              <a:gd name="connsiteY19132" fmla="*/ 4159351 h 7458372"/>
              <a:gd name="connsiteX19133" fmla="*/ 10267517 w 10505529"/>
              <a:gd name="connsiteY19133" fmla="*/ 4155091 h 7458372"/>
              <a:gd name="connsiteX19134" fmla="*/ 10263524 w 10505529"/>
              <a:gd name="connsiteY19134" fmla="*/ 4152428 h 7458372"/>
              <a:gd name="connsiteX19135" fmla="*/ 10258466 w 10505529"/>
              <a:gd name="connsiteY19135" fmla="*/ 4151497 h 7458372"/>
              <a:gd name="connsiteX19136" fmla="*/ 10040820 w 10505529"/>
              <a:gd name="connsiteY19136" fmla="*/ 4151497 h 7458372"/>
              <a:gd name="connsiteX19137" fmla="*/ 10030835 w 10505529"/>
              <a:gd name="connsiteY19137" fmla="*/ 4155091 h 7458372"/>
              <a:gd name="connsiteX19138" fmla="*/ 10027242 w 10505529"/>
              <a:gd name="connsiteY19138" fmla="*/ 4164542 h 7458372"/>
              <a:gd name="connsiteX19139" fmla="*/ 10030835 w 10505529"/>
              <a:gd name="connsiteY19139" fmla="*/ 4173993 h 7458372"/>
              <a:gd name="connsiteX19140" fmla="*/ 10040820 w 10505529"/>
              <a:gd name="connsiteY19140" fmla="*/ 4177455 h 7458372"/>
              <a:gd name="connsiteX19141" fmla="*/ 10046145 w 10505529"/>
              <a:gd name="connsiteY19141" fmla="*/ 4176657 h 7458372"/>
              <a:gd name="connsiteX19142" fmla="*/ 10049872 w 10505529"/>
              <a:gd name="connsiteY19142" fmla="*/ 4174260 h 7458372"/>
              <a:gd name="connsiteX19143" fmla="*/ 10052534 w 10505529"/>
              <a:gd name="connsiteY19143" fmla="*/ 4170000 h 7458372"/>
              <a:gd name="connsiteX19144" fmla="*/ 10053599 w 10505529"/>
              <a:gd name="connsiteY19144" fmla="*/ 4164542 h 7458372"/>
              <a:gd name="connsiteX19145" fmla="*/ 10052534 w 10505529"/>
              <a:gd name="connsiteY19145" fmla="*/ 4159351 h 7458372"/>
              <a:gd name="connsiteX19146" fmla="*/ 10049872 w 10505529"/>
              <a:gd name="connsiteY19146" fmla="*/ 4155091 h 7458372"/>
              <a:gd name="connsiteX19147" fmla="*/ 10045878 w 10505529"/>
              <a:gd name="connsiteY19147" fmla="*/ 4152428 h 7458372"/>
              <a:gd name="connsiteX19148" fmla="*/ 10040820 w 10505529"/>
              <a:gd name="connsiteY19148" fmla="*/ 4151497 h 7458372"/>
              <a:gd name="connsiteX19149" fmla="*/ 9823176 w 10505529"/>
              <a:gd name="connsiteY19149" fmla="*/ 4151497 h 7458372"/>
              <a:gd name="connsiteX19150" fmla="*/ 9813191 w 10505529"/>
              <a:gd name="connsiteY19150" fmla="*/ 4155091 h 7458372"/>
              <a:gd name="connsiteX19151" fmla="*/ 9809597 w 10505529"/>
              <a:gd name="connsiteY19151" fmla="*/ 4164542 h 7458372"/>
              <a:gd name="connsiteX19152" fmla="*/ 9813191 w 10505529"/>
              <a:gd name="connsiteY19152" fmla="*/ 4173993 h 7458372"/>
              <a:gd name="connsiteX19153" fmla="*/ 9823176 w 10505529"/>
              <a:gd name="connsiteY19153" fmla="*/ 4177455 h 7458372"/>
              <a:gd name="connsiteX19154" fmla="*/ 9828501 w 10505529"/>
              <a:gd name="connsiteY19154" fmla="*/ 4176657 h 7458372"/>
              <a:gd name="connsiteX19155" fmla="*/ 9832227 w 10505529"/>
              <a:gd name="connsiteY19155" fmla="*/ 4174260 h 7458372"/>
              <a:gd name="connsiteX19156" fmla="*/ 9834890 w 10505529"/>
              <a:gd name="connsiteY19156" fmla="*/ 4170000 h 7458372"/>
              <a:gd name="connsiteX19157" fmla="*/ 9835955 w 10505529"/>
              <a:gd name="connsiteY19157" fmla="*/ 4164542 h 7458372"/>
              <a:gd name="connsiteX19158" fmla="*/ 9834890 w 10505529"/>
              <a:gd name="connsiteY19158" fmla="*/ 4159351 h 7458372"/>
              <a:gd name="connsiteX19159" fmla="*/ 9832227 w 10505529"/>
              <a:gd name="connsiteY19159" fmla="*/ 4155091 h 7458372"/>
              <a:gd name="connsiteX19160" fmla="*/ 9828234 w 10505529"/>
              <a:gd name="connsiteY19160" fmla="*/ 4152428 h 7458372"/>
              <a:gd name="connsiteX19161" fmla="*/ 9823176 w 10505529"/>
              <a:gd name="connsiteY19161" fmla="*/ 4151497 h 7458372"/>
              <a:gd name="connsiteX19162" fmla="*/ 9605531 w 10505529"/>
              <a:gd name="connsiteY19162" fmla="*/ 4151497 h 7458372"/>
              <a:gd name="connsiteX19163" fmla="*/ 9595546 w 10505529"/>
              <a:gd name="connsiteY19163" fmla="*/ 4155091 h 7458372"/>
              <a:gd name="connsiteX19164" fmla="*/ 9591952 w 10505529"/>
              <a:gd name="connsiteY19164" fmla="*/ 4164542 h 7458372"/>
              <a:gd name="connsiteX19165" fmla="*/ 9595546 w 10505529"/>
              <a:gd name="connsiteY19165" fmla="*/ 4173993 h 7458372"/>
              <a:gd name="connsiteX19166" fmla="*/ 9605531 w 10505529"/>
              <a:gd name="connsiteY19166" fmla="*/ 4177455 h 7458372"/>
              <a:gd name="connsiteX19167" fmla="*/ 9610855 w 10505529"/>
              <a:gd name="connsiteY19167" fmla="*/ 4176657 h 7458372"/>
              <a:gd name="connsiteX19168" fmla="*/ 9614582 w 10505529"/>
              <a:gd name="connsiteY19168" fmla="*/ 4174260 h 7458372"/>
              <a:gd name="connsiteX19169" fmla="*/ 9617245 w 10505529"/>
              <a:gd name="connsiteY19169" fmla="*/ 4170000 h 7458372"/>
              <a:gd name="connsiteX19170" fmla="*/ 9618309 w 10505529"/>
              <a:gd name="connsiteY19170" fmla="*/ 4164542 h 7458372"/>
              <a:gd name="connsiteX19171" fmla="*/ 9617245 w 10505529"/>
              <a:gd name="connsiteY19171" fmla="*/ 4159351 h 7458372"/>
              <a:gd name="connsiteX19172" fmla="*/ 9614582 w 10505529"/>
              <a:gd name="connsiteY19172" fmla="*/ 4155091 h 7458372"/>
              <a:gd name="connsiteX19173" fmla="*/ 9610589 w 10505529"/>
              <a:gd name="connsiteY19173" fmla="*/ 4152428 h 7458372"/>
              <a:gd name="connsiteX19174" fmla="*/ 9605531 w 10505529"/>
              <a:gd name="connsiteY19174" fmla="*/ 4151497 h 7458372"/>
              <a:gd name="connsiteX19175" fmla="*/ 9387885 w 10505529"/>
              <a:gd name="connsiteY19175" fmla="*/ 4151497 h 7458372"/>
              <a:gd name="connsiteX19176" fmla="*/ 9377900 w 10505529"/>
              <a:gd name="connsiteY19176" fmla="*/ 4155091 h 7458372"/>
              <a:gd name="connsiteX19177" fmla="*/ 9374307 w 10505529"/>
              <a:gd name="connsiteY19177" fmla="*/ 4164542 h 7458372"/>
              <a:gd name="connsiteX19178" fmla="*/ 9377900 w 10505529"/>
              <a:gd name="connsiteY19178" fmla="*/ 4173993 h 7458372"/>
              <a:gd name="connsiteX19179" fmla="*/ 9387885 w 10505529"/>
              <a:gd name="connsiteY19179" fmla="*/ 4177455 h 7458372"/>
              <a:gd name="connsiteX19180" fmla="*/ 9393210 w 10505529"/>
              <a:gd name="connsiteY19180" fmla="*/ 4176657 h 7458372"/>
              <a:gd name="connsiteX19181" fmla="*/ 9396937 w 10505529"/>
              <a:gd name="connsiteY19181" fmla="*/ 4174260 h 7458372"/>
              <a:gd name="connsiteX19182" fmla="*/ 9399599 w 10505529"/>
              <a:gd name="connsiteY19182" fmla="*/ 4170000 h 7458372"/>
              <a:gd name="connsiteX19183" fmla="*/ 9400664 w 10505529"/>
              <a:gd name="connsiteY19183" fmla="*/ 4164542 h 7458372"/>
              <a:gd name="connsiteX19184" fmla="*/ 9399599 w 10505529"/>
              <a:gd name="connsiteY19184" fmla="*/ 4159351 h 7458372"/>
              <a:gd name="connsiteX19185" fmla="*/ 9396937 w 10505529"/>
              <a:gd name="connsiteY19185" fmla="*/ 4155091 h 7458372"/>
              <a:gd name="connsiteX19186" fmla="*/ 9392943 w 10505529"/>
              <a:gd name="connsiteY19186" fmla="*/ 4152428 h 7458372"/>
              <a:gd name="connsiteX19187" fmla="*/ 9387885 w 10505529"/>
              <a:gd name="connsiteY19187" fmla="*/ 4151497 h 7458372"/>
              <a:gd name="connsiteX19188" fmla="*/ 9170374 w 10505529"/>
              <a:gd name="connsiteY19188" fmla="*/ 4151497 h 7458372"/>
              <a:gd name="connsiteX19189" fmla="*/ 9160389 w 10505529"/>
              <a:gd name="connsiteY19189" fmla="*/ 4155091 h 7458372"/>
              <a:gd name="connsiteX19190" fmla="*/ 9156795 w 10505529"/>
              <a:gd name="connsiteY19190" fmla="*/ 4164542 h 7458372"/>
              <a:gd name="connsiteX19191" fmla="*/ 9160389 w 10505529"/>
              <a:gd name="connsiteY19191" fmla="*/ 4173993 h 7458372"/>
              <a:gd name="connsiteX19192" fmla="*/ 9170374 w 10505529"/>
              <a:gd name="connsiteY19192" fmla="*/ 4177455 h 7458372"/>
              <a:gd name="connsiteX19193" fmla="*/ 9175698 w 10505529"/>
              <a:gd name="connsiteY19193" fmla="*/ 4176657 h 7458372"/>
              <a:gd name="connsiteX19194" fmla="*/ 9179425 w 10505529"/>
              <a:gd name="connsiteY19194" fmla="*/ 4174260 h 7458372"/>
              <a:gd name="connsiteX19195" fmla="*/ 9182088 w 10505529"/>
              <a:gd name="connsiteY19195" fmla="*/ 4170000 h 7458372"/>
              <a:gd name="connsiteX19196" fmla="*/ 9183152 w 10505529"/>
              <a:gd name="connsiteY19196" fmla="*/ 4164542 h 7458372"/>
              <a:gd name="connsiteX19197" fmla="*/ 9182088 w 10505529"/>
              <a:gd name="connsiteY19197" fmla="*/ 4159351 h 7458372"/>
              <a:gd name="connsiteX19198" fmla="*/ 9179425 w 10505529"/>
              <a:gd name="connsiteY19198" fmla="*/ 4155091 h 7458372"/>
              <a:gd name="connsiteX19199" fmla="*/ 9175432 w 10505529"/>
              <a:gd name="connsiteY19199" fmla="*/ 4152428 h 7458372"/>
              <a:gd name="connsiteX19200" fmla="*/ 9170374 w 10505529"/>
              <a:gd name="connsiteY19200" fmla="*/ 4151497 h 7458372"/>
              <a:gd name="connsiteX19201" fmla="*/ 8952728 w 10505529"/>
              <a:gd name="connsiteY19201" fmla="*/ 4151497 h 7458372"/>
              <a:gd name="connsiteX19202" fmla="*/ 8942743 w 10505529"/>
              <a:gd name="connsiteY19202" fmla="*/ 4155091 h 7458372"/>
              <a:gd name="connsiteX19203" fmla="*/ 8939150 w 10505529"/>
              <a:gd name="connsiteY19203" fmla="*/ 4164542 h 7458372"/>
              <a:gd name="connsiteX19204" fmla="*/ 8942743 w 10505529"/>
              <a:gd name="connsiteY19204" fmla="*/ 4173993 h 7458372"/>
              <a:gd name="connsiteX19205" fmla="*/ 8952728 w 10505529"/>
              <a:gd name="connsiteY19205" fmla="*/ 4177455 h 7458372"/>
              <a:gd name="connsiteX19206" fmla="*/ 8958053 w 10505529"/>
              <a:gd name="connsiteY19206" fmla="*/ 4176657 h 7458372"/>
              <a:gd name="connsiteX19207" fmla="*/ 8961780 w 10505529"/>
              <a:gd name="connsiteY19207" fmla="*/ 4174260 h 7458372"/>
              <a:gd name="connsiteX19208" fmla="*/ 8964442 w 10505529"/>
              <a:gd name="connsiteY19208" fmla="*/ 4170000 h 7458372"/>
              <a:gd name="connsiteX19209" fmla="*/ 8965507 w 10505529"/>
              <a:gd name="connsiteY19209" fmla="*/ 4164542 h 7458372"/>
              <a:gd name="connsiteX19210" fmla="*/ 8964442 w 10505529"/>
              <a:gd name="connsiteY19210" fmla="*/ 4159351 h 7458372"/>
              <a:gd name="connsiteX19211" fmla="*/ 8961780 w 10505529"/>
              <a:gd name="connsiteY19211" fmla="*/ 4155091 h 7458372"/>
              <a:gd name="connsiteX19212" fmla="*/ 8957786 w 10505529"/>
              <a:gd name="connsiteY19212" fmla="*/ 4152428 h 7458372"/>
              <a:gd name="connsiteX19213" fmla="*/ 8952728 w 10505529"/>
              <a:gd name="connsiteY19213" fmla="*/ 4151497 h 7458372"/>
              <a:gd name="connsiteX19214" fmla="*/ 8735083 w 10505529"/>
              <a:gd name="connsiteY19214" fmla="*/ 4151497 h 7458372"/>
              <a:gd name="connsiteX19215" fmla="*/ 8725098 w 10505529"/>
              <a:gd name="connsiteY19215" fmla="*/ 4155091 h 7458372"/>
              <a:gd name="connsiteX19216" fmla="*/ 8721504 w 10505529"/>
              <a:gd name="connsiteY19216" fmla="*/ 4164542 h 7458372"/>
              <a:gd name="connsiteX19217" fmla="*/ 8725098 w 10505529"/>
              <a:gd name="connsiteY19217" fmla="*/ 4173993 h 7458372"/>
              <a:gd name="connsiteX19218" fmla="*/ 8735083 w 10505529"/>
              <a:gd name="connsiteY19218" fmla="*/ 4177455 h 7458372"/>
              <a:gd name="connsiteX19219" fmla="*/ 8740407 w 10505529"/>
              <a:gd name="connsiteY19219" fmla="*/ 4176657 h 7458372"/>
              <a:gd name="connsiteX19220" fmla="*/ 8744134 w 10505529"/>
              <a:gd name="connsiteY19220" fmla="*/ 4174260 h 7458372"/>
              <a:gd name="connsiteX19221" fmla="*/ 8746797 w 10505529"/>
              <a:gd name="connsiteY19221" fmla="*/ 4170000 h 7458372"/>
              <a:gd name="connsiteX19222" fmla="*/ 8747862 w 10505529"/>
              <a:gd name="connsiteY19222" fmla="*/ 4164542 h 7458372"/>
              <a:gd name="connsiteX19223" fmla="*/ 8746797 w 10505529"/>
              <a:gd name="connsiteY19223" fmla="*/ 4159351 h 7458372"/>
              <a:gd name="connsiteX19224" fmla="*/ 8744134 w 10505529"/>
              <a:gd name="connsiteY19224" fmla="*/ 4155091 h 7458372"/>
              <a:gd name="connsiteX19225" fmla="*/ 8740141 w 10505529"/>
              <a:gd name="connsiteY19225" fmla="*/ 4152428 h 7458372"/>
              <a:gd name="connsiteX19226" fmla="*/ 8735083 w 10505529"/>
              <a:gd name="connsiteY19226" fmla="*/ 4151497 h 7458372"/>
              <a:gd name="connsiteX19227" fmla="*/ 8517438 w 10505529"/>
              <a:gd name="connsiteY19227" fmla="*/ 4151497 h 7458372"/>
              <a:gd name="connsiteX19228" fmla="*/ 8507453 w 10505529"/>
              <a:gd name="connsiteY19228" fmla="*/ 4155091 h 7458372"/>
              <a:gd name="connsiteX19229" fmla="*/ 8503860 w 10505529"/>
              <a:gd name="connsiteY19229" fmla="*/ 4164542 h 7458372"/>
              <a:gd name="connsiteX19230" fmla="*/ 8507453 w 10505529"/>
              <a:gd name="connsiteY19230" fmla="*/ 4173993 h 7458372"/>
              <a:gd name="connsiteX19231" fmla="*/ 8517438 w 10505529"/>
              <a:gd name="connsiteY19231" fmla="*/ 4177455 h 7458372"/>
              <a:gd name="connsiteX19232" fmla="*/ 8522763 w 10505529"/>
              <a:gd name="connsiteY19232" fmla="*/ 4176657 h 7458372"/>
              <a:gd name="connsiteX19233" fmla="*/ 8526490 w 10505529"/>
              <a:gd name="connsiteY19233" fmla="*/ 4174260 h 7458372"/>
              <a:gd name="connsiteX19234" fmla="*/ 8529152 w 10505529"/>
              <a:gd name="connsiteY19234" fmla="*/ 4170000 h 7458372"/>
              <a:gd name="connsiteX19235" fmla="*/ 8530084 w 10505529"/>
              <a:gd name="connsiteY19235" fmla="*/ 4164542 h 7458372"/>
              <a:gd name="connsiteX19236" fmla="*/ 8529152 w 10505529"/>
              <a:gd name="connsiteY19236" fmla="*/ 4159351 h 7458372"/>
              <a:gd name="connsiteX19237" fmla="*/ 8526490 w 10505529"/>
              <a:gd name="connsiteY19237" fmla="*/ 4155091 h 7458372"/>
              <a:gd name="connsiteX19238" fmla="*/ 8522496 w 10505529"/>
              <a:gd name="connsiteY19238" fmla="*/ 4152428 h 7458372"/>
              <a:gd name="connsiteX19239" fmla="*/ 8517438 w 10505529"/>
              <a:gd name="connsiteY19239" fmla="*/ 4151497 h 7458372"/>
              <a:gd name="connsiteX19240" fmla="*/ 8299793 w 10505529"/>
              <a:gd name="connsiteY19240" fmla="*/ 4151497 h 7458372"/>
              <a:gd name="connsiteX19241" fmla="*/ 8289809 w 10505529"/>
              <a:gd name="connsiteY19241" fmla="*/ 4155091 h 7458372"/>
              <a:gd name="connsiteX19242" fmla="*/ 8286215 w 10505529"/>
              <a:gd name="connsiteY19242" fmla="*/ 4164542 h 7458372"/>
              <a:gd name="connsiteX19243" fmla="*/ 8289809 w 10505529"/>
              <a:gd name="connsiteY19243" fmla="*/ 4173993 h 7458372"/>
              <a:gd name="connsiteX19244" fmla="*/ 8299793 w 10505529"/>
              <a:gd name="connsiteY19244" fmla="*/ 4177455 h 7458372"/>
              <a:gd name="connsiteX19245" fmla="*/ 8305118 w 10505529"/>
              <a:gd name="connsiteY19245" fmla="*/ 4176657 h 7458372"/>
              <a:gd name="connsiteX19246" fmla="*/ 8308844 w 10505529"/>
              <a:gd name="connsiteY19246" fmla="*/ 4174260 h 7458372"/>
              <a:gd name="connsiteX19247" fmla="*/ 8311507 w 10505529"/>
              <a:gd name="connsiteY19247" fmla="*/ 4170000 h 7458372"/>
              <a:gd name="connsiteX19248" fmla="*/ 8312439 w 10505529"/>
              <a:gd name="connsiteY19248" fmla="*/ 4164542 h 7458372"/>
              <a:gd name="connsiteX19249" fmla="*/ 8311507 w 10505529"/>
              <a:gd name="connsiteY19249" fmla="*/ 4159351 h 7458372"/>
              <a:gd name="connsiteX19250" fmla="*/ 8308844 w 10505529"/>
              <a:gd name="connsiteY19250" fmla="*/ 4155091 h 7458372"/>
              <a:gd name="connsiteX19251" fmla="*/ 8304851 w 10505529"/>
              <a:gd name="connsiteY19251" fmla="*/ 4152428 h 7458372"/>
              <a:gd name="connsiteX19252" fmla="*/ 8299793 w 10505529"/>
              <a:gd name="connsiteY19252" fmla="*/ 4151497 h 7458372"/>
              <a:gd name="connsiteX19253" fmla="*/ 8082281 w 10505529"/>
              <a:gd name="connsiteY19253" fmla="*/ 4151497 h 7458372"/>
              <a:gd name="connsiteX19254" fmla="*/ 8072297 w 10505529"/>
              <a:gd name="connsiteY19254" fmla="*/ 4155091 h 7458372"/>
              <a:gd name="connsiteX19255" fmla="*/ 8068703 w 10505529"/>
              <a:gd name="connsiteY19255" fmla="*/ 4164542 h 7458372"/>
              <a:gd name="connsiteX19256" fmla="*/ 8072297 w 10505529"/>
              <a:gd name="connsiteY19256" fmla="*/ 4173993 h 7458372"/>
              <a:gd name="connsiteX19257" fmla="*/ 8082281 w 10505529"/>
              <a:gd name="connsiteY19257" fmla="*/ 4177455 h 7458372"/>
              <a:gd name="connsiteX19258" fmla="*/ 8087605 w 10505529"/>
              <a:gd name="connsiteY19258" fmla="*/ 4176657 h 7458372"/>
              <a:gd name="connsiteX19259" fmla="*/ 8091332 w 10505529"/>
              <a:gd name="connsiteY19259" fmla="*/ 4174260 h 7458372"/>
              <a:gd name="connsiteX19260" fmla="*/ 8093994 w 10505529"/>
              <a:gd name="connsiteY19260" fmla="*/ 4170000 h 7458372"/>
              <a:gd name="connsiteX19261" fmla="*/ 8094926 w 10505529"/>
              <a:gd name="connsiteY19261" fmla="*/ 4164542 h 7458372"/>
              <a:gd name="connsiteX19262" fmla="*/ 8093994 w 10505529"/>
              <a:gd name="connsiteY19262" fmla="*/ 4159351 h 7458372"/>
              <a:gd name="connsiteX19263" fmla="*/ 8091332 w 10505529"/>
              <a:gd name="connsiteY19263" fmla="*/ 4155091 h 7458372"/>
              <a:gd name="connsiteX19264" fmla="*/ 8087338 w 10505529"/>
              <a:gd name="connsiteY19264" fmla="*/ 4152428 h 7458372"/>
              <a:gd name="connsiteX19265" fmla="*/ 8082281 w 10505529"/>
              <a:gd name="connsiteY19265" fmla="*/ 4151497 h 7458372"/>
              <a:gd name="connsiteX19266" fmla="*/ 7864636 w 10505529"/>
              <a:gd name="connsiteY19266" fmla="*/ 4151497 h 7458372"/>
              <a:gd name="connsiteX19267" fmla="*/ 7854652 w 10505529"/>
              <a:gd name="connsiteY19267" fmla="*/ 4155091 h 7458372"/>
              <a:gd name="connsiteX19268" fmla="*/ 7851058 w 10505529"/>
              <a:gd name="connsiteY19268" fmla="*/ 4164542 h 7458372"/>
              <a:gd name="connsiteX19269" fmla="*/ 7854652 w 10505529"/>
              <a:gd name="connsiteY19269" fmla="*/ 4173993 h 7458372"/>
              <a:gd name="connsiteX19270" fmla="*/ 7864636 w 10505529"/>
              <a:gd name="connsiteY19270" fmla="*/ 4177455 h 7458372"/>
              <a:gd name="connsiteX19271" fmla="*/ 7869961 w 10505529"/>
              <a:gd name="connsiteY19271" fmla="*/ 4176657 h 7458372"/>
              <a:gd name="connsiteX19272" fmla="*/ 7873687 w 10505529"/>
              <a:gd name="connsiteY19272" fmla="*/ 4174260 h 7458372"/>
              <a:gd name="connsiteX19273" fmla="*/ 7876350 w 10505529"/>
              <a:gd name="connsiteY19273" fmla="*/ 4170000 h 7458372"/>
              <a:gd name="connsiteX19274" fmla="*/ 7877282 w 10505529"/>
              <a:gd name="connsiteY19274" fmla="*/ 4164542 h 7458372"/>
              <a:gd name="connsiteX19275" fmla="*/ 7876350 w 10505529"/>
              <a:gd name="connsiteY19275" fmla="*/ 4159351 h 7458372"/>
              <a:gd name="connsiteX19276" fmla="*/ 7873687 w 10505529"/>
              <a:gd name="connsiteY19276" fmla="*/ 4155091 h 7458372"/>
              <a:gd name="connsiteX19277" fmla="*/ 7869694 w 10505529"/>
              <a:gd name="connsiteY19277" fmla="*/ 4152428 h 7458372"/>
              <a:gd name="connsiteX19278" fmla="*/ 7864636 w 10505529"/>
              <a:gd name="connsiteY19278" fmla="*/ 4151497 h 7458372"/>
              <a:gd name="connsiteX19279" fmla="*/ 7646991 w 10505529"/>
              <a:gd name="connsiteY19279" fmla="*/ 4151497 h 7458372"/>
              <a:gd name="connsiteX19280" fmla="*/ 7637007 w 10505529"/>
              <a:gd name="connsiteY19280" fmla="*/ 4155091 h 7458372"/>
              <a:gd name="connsiteX19281" fmla="*/ 7633413 w 10505529"/>
              <a:gd name="connsiteY19281" fmla="*/ 4164542 h 7458372"/>
              <a:gd name="connsiteX19282" fmla="*/ 7637007 w 10505529"/>
              <a:gd name="connsiteY19282" fmla="*/ 4173993 h 7458372"/>
              <a:gd name="connsiteX19283" fmla="*/ 7646991 w 10505529"/>
              <a:gd name="connsiteY19283" fmla="*/ 4177455 h 7458372"/>
              <a:gd name="connsiteX19284" fmla="*/ 7652315 w 10505529"/>
              <a:gd name="connsiteY19284" fmla="*/ 4176657 h 7458372"/>
              <a:gd name="connsiteX19285" fmla="*/ 7656042 w 10505529"/>
              <a:gd name="connsiteY19285" fmla="*/ 4174260 h 7458372"/>
              <a:gd name="connsiteX19286" fmla="*/ 7658705 w 10505529"/>
              <a:gd name="connsiteY19286" fmla="*/ 4170000 h 7458372"/>
              <a:gd name="connsiteX19287" fmla="*/ 7659769 w 10505529"/>
              <a:gd name="connsiteY19287" fmla="*/ 4164542 h 7458372"/>
              <a:gd name="connsiteX19288" fmla="*/ 7658705 w 10505529"/>
              <a:gd name="connsiteY19288" fmla="*/ 4159351 h 7458372"/>
              <a:gd name="connsiteX19289" fmla="*/ 7656042 w 10505529"/>
              <a:gd name="connsiteY19289" fmla="*/ 4155091 h 7458372"/>
              <a:gd name="connsiteX19290" fmla="*/ 7652049 w 10505529"/>
              <a:gd name="connsiteY19290" fmla="*/ 4152428 h 7458372"/>
              <a:gd name="connsiteX19291" fmla="*/ 7646991 w 10505529"/>
              <a:gd name="connsiteY19291" fmla="*/ 4151497 h 7458372"/>
              <a:gd name="connsiteX19292" fmla="*/ 7429345 w 10505529"/>
              <a:gd name="connsiteY19292" fmla="*/ 4151497 h 7458372"/>
              <a:gd name="connsiteX19293" fmla="*/ 7419361 w 10505529"/>
              <a:gd name="connsiteY19293" fmla="*/ 4155091 h 7458372"/>
              <a:gd name="connsiteX19294" fmla="*/ 7415768 w 10505529"/>
              <a:gd name="connsiteY19294" fmla="*/ 4164542 h 7458372"/>
              <a:gd name="connsiteX19295" fmla="*/ 7419361 w 10505529"/>
              <a:gd name="connsiteY19295" fmla="*/ 4173993 h 7458372"/>
              <a:gd name="connsiteX19296" fmla="*/ 7429345 w 10505529"/>
              <a:gd name="connsiteY19296" fmla="*/ 4177455 h 7458372"/>
              <a:gd name="connsiteX19297" fmla="*/ 7434670 w 10505529"/>
              <a:gd name="connsiteY19297" fmla="*/ 4176657 h 7458372"/>
              <a:gd name="connsiteX19298" fmla="*/ 7438397 w 10505529"/>
              <a:gd name="connsiteY19298" fmla="*/ 4174260 h 7458372"/>
              <a:gd name="connsiteX19299" fmla="*/ 7441059 w 10505529"/>
              <a:gd name="connsiteY19299" fmla="*/ 4170000 h 7458372"/>
              <a:gd name="connsiteX19300" fmla="*/ 7442124 w 10505529"/>
              <a:gd name="connsiteY19300" fmla="*/ 4164542 h 7458372"/>
              <a:gd name="connsiteX19301" fmla="*/ 7441059 w 10505529"/>
              <a:gd name="connsiteY19301" fmla="*/ 4159351 h 7458372"/>
              <a:gd name="connsiteX19302" fmla="*/ 7438397 w 10505529"/>
              <a:gd name="connsiteY19302" fmla="*/ 4155091 h 7458372"/>
              <a:gd name="connsiteX19303" fmla="*/ 7434403 w 10505529"/>
              <a:gd name="connsiteY19303" fmla="*/ 4152428 h 7458372"/>
              <a:gd name="connsiteX19304" fmla="*/ 7429345 w 10505529"/>
              <a:gd name="connsiteY19304" fmla="*/ 4151497 h 7458372"/>
              <a:gd name="connsiteX19305" fmla="*/ 7211701 w 10505529"/>
              <a:gd name="connsiteY19305" fmla="*/ 4151497 h 7458372"/>
              <a:gd name="connsiteX19306" fmla="*/ 7201717 w 10505529"/>
              <a:gd name="connsiteY19306" fmla="*/ 4155091 h 7458372"/>
              <a:gd name="connsiteX19307" fmla="*/ 7198123 w 10505529"/>
              <a:gd name="connsiteY19307" fmla="*/ 4164542 h 7458372"/>
              <a:gd name="connsiteX19308" fmla="*/ 7201717 w 10505529"/>
              <a:gd name="connsiteY19308" fmla="*/ 4173993 h 7458372"/>
              <a:gd name="connsiteX19309" fmla="*/ 7211701 w 10505529"/>
              <a:gd name="connsiteY19309" fmla="*/ 4177455 h 7458372"/>
              <a:gd name="connsiteX19310" fmla="*/ 7217026 w 10505529"/>
              <a:gd name="connsiteY19310" fmla="*/ 4176657 h 7458372"/>
              <a:gd name="connsiteX19311" fmla="*/ 7220752 w 10505529"/>
              <a:gd name="connsiteY19311" fmla="*/ 4174260 h 7458372"/>
              <a:gd name="connsiteX19312" fmla="*/ 7223415 w 10505529"/>
              <a:gd name="connsiteY19312" fmla="*/ 4170000 h 7458372"/>
              <a:gd name="connsiteX19313" fmla="*/ 7224480 w 10505529"/>
              <a:gd name="connsiteY19313" fmla="*/ 4164542 h 7458372"/>
              <a:gd name="connsiteX19314" fmla="*/ 7223415 w 10505529"/>
              <a:gd name="connsiteY19314" fmla="*/ 4159351 h 7458372"/>
              <a:gd name="connsiteX19315" fmla="*/ 7220752 w 10505529"/>
              <a:gd name="connsiteY19315" fmla="*/ 4155091 h 7458372"/>
              <a:gd name="connsiteX19316" fmla="*/ 7216759 w 10505529"/>
              <a:gd name="connsiteY19316" fmla="*/ 4152428 h 7458372"/>
              <a:gd name="connsiteX19317" fmla="*/ 7211701 w 10505529"/>
              <a:gd name="connsiteY19317" fmla="*/ 4151497 h 7458372"/>
              <a:gd name="connsiteX19318" fmla="*/ 6994056 w 10505529"/>
              <a:gd name="connsiteY19318" fmla="*/ 4151497 h 7458372"/>
              <a:gd name="connsiteX19319" fmla="*/ 6984072 w 10505529"/>
              <a:gd name="connsiteY19319" fmla="*/ 4155091 h 7458372"/>
              <a:gd name="connsiteX19320" fmla="*/ 6980478 w 10505529"/>
              <a:gd name="connsiteY19320" fmla="*/ 4164542 h 7458372"/>
              <a:gd name="connsiteX19321" fmla="*/ 6984072 w 10505529"/>
              <a:gd name="connsiteY19321" fmla="*/ 4173993 h 7458372"/>
              <a:gd name="connsiteX19322" fmla="*/ 6994056 w 10505529"/>
              <a:gd name="connsiteY19322" fmla="*/ 4177455 h 7458372"/>
              <a:gd name="connsiteX19323" fmla="*/ 6999380 w 10505529"/>
              <a:gd name="connsiteY19323" fmla="*/ 4176657 h 7458372"/>
              <a:gd name="connsiteX19324" fmla="*/ 7003107 w 10505529"/>
              <a:gd name="connsiteY19324" fmla="*/ 4174260 h 7458372"/>
              <a:gd name="connsiteX19325" fmla="*/ 7005769 w 10505529"/>
              <a:gd name="connsiteY19325" fmla="*/ 4170000 h 7458372"/>
              <a:gd name="connsiteX19326" fmla="*/ 7006834 w 10505529"/>
              <a:gd name="connsiteY19326" fmla="*/ 4164542 h 7458372"/>
              <a:gd name="connsiteX19327" fmla="*/ 7005769 w 10505529"/>
              <a:gd name="connsiteY19327" fmla="*/ 4159351 h 7458372"/>
              <a:gd name="connsiteX19328" fmla="*/ 7003107 w 10505529"/>
              <a:gd name="connsiteY19328" fmla="*/ 4155091 h 7458372"/>
              <a:gd name="connsiteX19329" fmla="*/ 6999113 w 10505529"/>
              <a:gd name="connsiteY19329" fmla="*/ 4152428 h 7458372"/>
              <a:gd name="connsiteX19330" fmla="*/ 6994056 w 10505529"/>
              <a:gd name="connsiteY19330" fmla="*/ 4151497 h 7458372"/>
              <a:gd name="connsiteX19331" fmla="*/ 6776544 w 10505529"/>
              <a:gd name="connsiteY19331" fmla="*/ 4151497 h 7458372"/>
              <a:gd name="connsiteX19332" fmla="*/ 6766560 w 10505529"/>
              <a:gd name="connsiteY19332" fmla="*/ 4155091 h 7458372"/>
              <a:gd name="connsiteX19333" fmla="*/ 6762966 w 10505529"/>
              <a:gd name="connsiteY19333" fmla="*/ 4164542 h 7458372"/>
              <a:gd name="connsiteX19334" fmla="*/ 6766560 w 10505529"/>
              <a:gd name="connsiteY19334" fmla="*/ 4173993 h 7458372"/>
              <a:gd name="connsiteX19335" fmla="*/ 6776544 w 10505529"/>
              <a:gd name="connsiteY19335" fmla="*/ 4177455 h 7458372"/>
              <a:gd name="connsiteX19336" fmla="*/ 6781869 w 10505529"/>
              <a:gd name="connsiteY19336" fmla="*/ 4176657 h 7458372"/>
              <a:gd name="connsiteX19337" fmla="*/ 6785595 w 10505529"/>
              <a:gd name="connsiteY19337" fmla="*/ 4174260 h 7458372"/>
              <a:gd name="connsiteX19338" fmla="*/ 6788258 w 10505529"/>
              <a:gd name="connsiteY19338" fmla="*/ 4170000 h 7458372"/>
              <a:gd name="connsiteX19339" fmla="*/ 6789323 w 10505529"/>
              <a:gd name="connsiteY19339" fmla="*/ 4164542 h 7458372"/>
              <a:gd name="connsiteX19340" fmla="*/ 6788258 w 10505529"/>
              <a:gd name="connsiteY19340" fmla="*/ 4159351 h 7458372"/>
              <a:gd name="connsiteX19341" fmla="*/ 6785595 w 10505529"/>
              <a:gd name="connsiteY19341" fmla="*/ 4155091 h 7458372"/>
              <a:gd name="connsiteX19342" fmla="*/ 6781602 w 10505529"/>
              <a:gd name="connsiteY19342" fmla="*/ 4152428 h 7458372"/>
              <a:gd name="connsiteX19343" fmla="*/ 6776544 w 10505529"/>
              <a:gd name="connsiteY19343" fmla="*/ 4151497 h 7458372"/>
              <a:gd name="connsiteX19344" fmla="*/ 6558899 w 10505529"/>
              <a:gd name="connsiteY19344" fmla="*/ 4151497 h 7458372"/>
              <a:gd name="connsiteX19345" fmla="*/ 6548915 w 10505529"/>
              <a:gd name="connsiteY19345" fmla="*/ 4155091 h 7458372"/>
              <a:gd name="connsiteX19346" fmla="*/ 6545321 w 10505529"/>
              <a:gd name="connsiteY19346" fmla="*/ 4164542 h 7458372"/>
              <a:gd name="connsiteX19347" fmla="*/ 6548915 w 10505529"/>
              <a:gd name="connsiteY19347" fmla="*/ 4173993 h 7458372"/>
              <a:gd name="connsiteX19348" fmla="*/ 6558899 w 10505529"/>
              <a:gd name="connsiteY19348" fmla="*/ 4177455 h 7458372"/>
              <a:gd name="connsiteX19349" fmla="*/ 6564223 w 10505529"/>
              <a:gd name="connsiteY19349" fmla="*/ 4176657 h 7458372"/>
              <a:gd name="connsiteX19350" fmla="*/ 6567950 w 10505529"/>
              <a:gd name="connsiteY19350" fmla="*/ 4174260 h 7458372"/>
              <a:gd name="connsiteX19351" fmla="*/ 6570612 w 10505529"/>
              <a:gd name="connsiteY19351" fmla="*/ 4170000 h 7458372"/>
              <a:gd name="connsiteX19352" fmla="*/ 6571677 w 10505529"/>
              <a:gd name="connsiteY19352" fmla="*/ 4164542 h 7458372"/>
              <a:gd name="connsiteX19353" fmla="*/ 6570612 w 10505529"/>
              <a:gd name="connsiteY19353" fmla="*/ 4159351 h 7458372"/>
              <a:gd name="connsiteX19354" fmla="*/ 6567950 w 10505529"/>
              <a:gd name="connsiteY19354" fmla="*/ 4155091 h 7458372"/>
              <a:gd name="connsiteX19355" fmla="*/ 6563956 w 10505529"/>
              <a:gd name="connsiteY19355" fmla="*/ 4152428 h 7458372"/>
              <a:gd name="connsiteX19356" fmla="*/ 6558899 w 10505529"/>
              <a:gd name="connsiteY19356" fmla="*/ 4151497 h 7458372"/>
              <a:gd name="connsiteX19357" fmla="*/ 6341253 w 10505529"/>
              <a:gd name="connsiteY19357" fmla="*/ 4151497 h 7458372"/>
              <a:gd name="connsiteX19358" fmla="*/ 6331270 w 10505529"/>
              <a:gd name="connsiteY19358" fmla="*/ 4155091 h 7458372"/>
              <a:gd name="connsiteX19359" fmla="*/ 6327675 w 10505529"/>
              <a:gd name="connsiteY19359" fmla="*/ 4164542 h 7458372"/>
              <a:gd name="connsiteX19360" fmla="*/ 6331270 w 10505529"/>
              <a:gd name="connsiteY19360" fmla="*/ 4173993 h 7458372"/>
              <a:gd name="connsiteX19361" fmla="*/ 6341253 w 10505529"/>
              <a:gd name="connsiteY19361" fmla="*/ 4177455 h 7458372"/>
              <a:gd name="connsiteX19362" fmla="*/ 6346578 w 10505529"/>
              <a:gd name="connsiteY19362" fmla="*/ 4176657 h 7458372"/>
              <a:gd name="connsiteX19363" fmla="*/ 6350305 w 10505529"/>
              <a:gd name="connsiteY19363" fmla="*/ 4174260 h 7458372"/>
              <a:gd name="connsiteX19364" fmla="*/ 6352968 w 10505529"/>
              <a:gd name="connsiteY19364" fmla="*/ 4170000 h 7458372"/>
              <a:gd name="connsiteX19365" fmla="*/ 6354033 w 10505529"/>
              <a:gd name="connsiteY19365" fmla="*/ 4164542 h 7458372"/>
              <a:gd name="connsiteX19366" fmla="*/ 6352968 w 10505529"/>
              <a:gd name="connsiteY19366" fmla="*/ 4159351 h 7458372"/>
              <a:gd name="connsiteX19367" fmla="*/ 6350305 w 10505529"/>
              <a:gd name="connsiteY19367" fmla="*/ 4155091 h 7458372"/>
              <a:gd name="connsiteX19368" fmla="*/ 6346312 w 10505529"/>
              <a:gd name="connsiteY19368" fmla="*/ 4152428 h 7458372"/>
              <a:gd name="connsiteX19369" fmla="*/ 6341253 w 10505529"/>
              <a:gd name="connsiteY19369" fmla="*/ 4151497 h 7458372"/>
              <a:gd name="connsiteX19370" fmla="*/ 6123608 w 10505529"/>
              <a:gd name="connsiteY19370" fmla="*/ 4151497 h 7458372"/>
              <a:gd name="connsiteX19371" fmla="*/ 6113624 w 10505529"/>
              <a:gd name="connsiteY19371" fmla="*/ 4155091 h 7458372"/>
              <a:gd name="connsiteX19372" fmla="*/ 6110030 w 10505529"/>
              <a:gd name="connsiteY19372" fmla="*/ 4164542 h 7458372"/>
              <a:gd name="connsiteX19373" fmla="*/ 6113624 w 10505529"/>
              <a:gd name="connsiteY19373" fmla="*/ 4173993 h 7458372"/>
              <a:gd name="connsiteX19374" fmla="*/ 6123608 w 10505529"/>
              <a:gd name="connsiteY19374" fmla="*/ 4177455 h 7458372"/>
              <a:gd name="connsiteX19375" fmla="*/ 6128932 w 10505529"/>
              <a:gd name="connsiteY19375" fmla="*/ 4176657 h 7458372"/>
              <a:gd name="connsiteX19376" fmla="*/ 6132659 w 10505529"/>
              <a:gd name="connsiteY19376" fmla="*/ 4174260 h 7458372"/>
              <a:gd name="connsiteX19377" fmla="*/ 6135322 w 10505529"/>
              <a:gd name="connsiteY19377" fmla="*/ 4170000 h 7458372"/>
              <a:gd name="connsiteX19378" fmla="*/ 6136387 w 10505529"/>
              <a:gd name="connsiteY19378" fmla="*/ 4164542 h 7458372"/>
              <a:gd name="connsiteX19379" fmla="*/ 6135322 w 10505529"/>
              <a:gd name="connsiteY19379" fmla="*/ 4159351 h 7458372"/>
              <a:gd name="connsiteX19380" fmla="*/ 6132659 w 10505529"/>
              <a:gd name="connsiteY19380" fmla="*/ 4155091 h 7458372"/>
              <a:gd name="connsiteX19381" fmla="*/ 6128666 w 10505529"/>
              <a:gd name="connsiteY19381" fmla="*/ 4152428 h 7458372"/>
              <a:gd name="connsiteX19382" fmla="*/ 6123608 w 10505529"/>
              <a:gd name="connsiteY19382" fmla="*/ 4151497 h 7458372"/>
              <a:gd name="connsiteX19383" fmla="*/ 5905963 w 10505529"/>
              <a:gd name="connsiteY19383" fmla="*/ 4151497 h 7458372"/>
              <a:gd name="connsiteX19384" fmla="*/ 5895979 w 10505529"/>
              <a:gd name="connsiteY19384" fmla="*/ 4155091 h 7458372"/>
              <a:gd name="connsiteX19385" fmla="*/ 5892385 w 10505529"/>
              <a:gd name="connsiteY19385" fmla="*/ 4164542 h 7458372"/>
              <a:gd name="connsiteX19386" fmla="*/ 5895979 w 10505529"/>
              <a:gd name="connsiteY19386" fmla="*/ 4173993 h 7458372"/>
              <a:gd name="connsiteX19387" fmla="*/ 5905963 w 10505529"/>
              <a:gd name="connsiteY19387" fmla="*/ 4177455 h 7458372"/>
              <a:gd name="connsiteX19388" fmla="*/ 5911287 w 10505529"/>
              <a:gd name="connsiteY19388" fmla="*/ 4176657 h 7458372"/>
              <a:gd name="connsiteX19389" fmla="*/ 5915014 w 10505529"/>
              <a:gd name="connsiteY19389" fmla="*/ 4174260 h 7458372"/>
              <a:gd name="connsiteX19390" fmla="*/ 5917677 w 10505529"/>
              <a:gd name="connsiteY19390" fmla="*/ 4170000 h 7458372"/>
              <a:gd name="connsiteX19391" fmla="*/ 5918742 w 10505529"/>
              <a:gd name="connsiteY19391" fmla="*/ 4164542 h 7458372"/>
              <a:gd name="connsiteX19392" fmla="*/ 5917677 w 10505529"/>
              <a:gd name="connsiteY19392" fmla="*/ 4159351 h 7458372"/>
              <a:gd name="connsiteX19393" fmla="*/ 5915014 w 10505529"/>
              <a:gd name="connsiteY19393" fmla="*/ 4155091 h 7458372"/>
              <a:gd name="connsiteX19394" fmla="*/ 5911021 w 10505529"/>
              <a:gd name="connsiteY19394" fmla="*/ 4152428 h 7458372"/>
              <a:gd name="connsiteX19395" fmla="*/ 5905963 w 10505529"/>
              <a:gd name="connsiteY19395" fmla="*/ 4151497 h 7458372"/>
              <a:gd name="connsiteX19396" fmla="*/ 5688451 w 10505529"/>
              <a:gd name="connsiteY19396" fmla="*/ 4151497 h 7458372"/>
              <a:gd name="connsiteX19397" fmla="*/ 5678467 w 10505529"/>
              <a:gd name="connsiteY19397" fmla="*/ 4155091 h 7458372"/>
              <a:gd name="connsiteX19398" fmla="*/ 5674873 w 10505529"/>
              <a:gd name="connsiteY19398" fmla="*/ 4164542 h 7458372"/>
              <a:gd name="connsiteX19399" fmla="*/ 5678467 w 10505529"/>
              <a:gd name="connsiteY19399" fmla="*/ 4173993 h 7458372"/>
              <a:gd name="connsiteX19400" fmla="*/ 5688451 w 10505529"/>
              <a:gd name="connsiteY19400" fmla="*/ 4177455 h 7458372"/>
              <a:gd name="connsiteX19401" fmla="*/ 5693775 w 10505529"/>
              <a:gd name="connsiteY19401" fmla="*/ 4176657 h 7458372"/>
              <a:gd name="connsiteX19402" fmla="*/ 5697502 w 10505529"/>
              <a:gd name="connsiteY19402" fmla="*/ 4174260 h 7458372"/>
              <a:gd name="connsiteX19403" fmla="*/ 5700165 w 10505529"/>
              <a:gd name="connsiteY19403" fmla="*/ 4170000 h 7458372"/>
              <a:gd name="connsiteX19404" fmla="*/ 5701230 w 10505529"/>
              <a:gd name="connsiteY19404" fmla="*/ 4164542 h 7458372"/>
              <a:gd name="connsiteX19405" fmla="*/ 5700165 w 10505529"/>
              <a:gd name="connsiteY19405" fmla="*/ 4159351 h 7458372"/>
              <a:gd name="connsiteX19406" fmla="*/ 5697502 w 10505529"/>
              <a:gd name="connsiteY19406" fmla="*/ 4155091 h 7458372"/>
              <a:gd name="connsiteX19407" fmla="*/ 5693509 w 10505529"/>
              <a:gd name="connsiteY19407" fmla="*/ 4152428 h 7458372"/>
              <a:gd name="connsiteX19408" fmla="*/ 5688451 w 10505529"/>
              <a:gd name="connsiteY19408" fmla="*/ 4151497 h 7458372"/>
              <a:gd name="connsiteX19409" fmla="*/ 5470806 w 10505529"/>
              <a:gd name="connsiteY19409" fmla="*/ 4151497 h 7458372"/>
              <a:gd name="connsiteX19410" fmla="*/ 5460822 w 10505529"/>
              <a:gd name="connsiteY19410" fmla="*/ 4155091 h 7458372"/>
              <a:gd name="connsiteX19411" fmla="*/ 5457228 w 10505529"/>
              <a:gd name="connsiteY19411" fmla="*/ 4164542 h 7458372"/>
              <a:gd name="connsiteX19412" fmla="*/ 5460822 w 10505529"/>
              <a:gd name="connsiteY19412" fmla="*/ 4173993 h 7458372"/>
              <a:gd name="connsiteX19413" fmla="*/ 5470806 w 10505529"/>
              <a:gd name="connsiteY19413" fmla="*/ 4177455 h 7458372"/>
              <a:gd name="connsiteX19414" fmla="*/ 5476130 w 10505529"/>
              <a:gd name="connsiteY19414" fmla="*/ 4176657 h 7458372"/>
              <a:gd name="connsiteX19415" fmla="*/ 5479857 w 10505529"/>
              <a:gd name="connsiteY19415" fmla="*/ 4174260 h 7458372"/>
              <a:gd name="connsiteX19416" fmla="*/ 5482520 w 10505529"/>
              <a:gd name="connsiteY19416" fmla="*/ 4170000 h 7458372"/>
              <a:gd name="connsiteX19417" fmla="*/ 5483585 w 10505529"/>
              <a:gd name="connsiteY19417" fmla="*/ 4164542 h 7458372"/>
              <a:gd name="connsiteX19418" fmla="*/ 5482520 w 10505529"/>
              <a:gd name="connsiteY19418" fmla="*/ 4159351 h 7458372"/>
              <a:gd name="connsiteX19419" fmla="*/ 5479857 w 10505529"/>
              <a:gd name="connsiteY19419" fmla="*/ 4155091 h 7458372"/>
              <a:gd name="connsiteX19420" fmla="*/ 5475864 w 10505529"/>
              <a:gd name="connsiteY19420" fmla="*/ 4152428 h 7458372"/>
              <a:gd name="connsiteX19421" fmla="*/ 5470806 w 10505529"/>
              <a:gd name="connsiteY19421" fmla="*/ 4151497 h 7458372"/>
              <a:gd name="connsiteX19422" fmla="*/ 5253160 w 10505529"/>
              <a:gd name="connsiteY19422" fmla="*/ 4151497 h 7458372"/>
              <a:gd name="connsiteX19423" fmla="*/ 5243177 w 10505529"/>
              <a:gd name="connsiteY19423" fmla="*/ 4155091 h 7458372"/>
              <a:gd name="connsiteX19424" fmla="*/ 5239583 w 10505529"/>
              <a:gd name="connsiteY19424" fmla="*/ 4164542 h 7458372"/>
              <a:gd name="connsiteX19425" fmla="*/ 5243177 w 10505529"/>
              <a:gd name="connsiteY19425" fmla="*/ 4173993 h 7458372"/>
              <a:gd name="connsiteX19426" fmla="*/ 5253160 w 10505529"/>
              <a:gd name="connsiteY19426" fmla="*/ 4177455 h 7458372"/>
              <a:gd name="connsiteX19427" fmla="*/ 5258485 w 10505529"/>
              <a:gd name="connsiteY19427" fmla="*/ 4176657 h 7458372"/>
              <a:gd name="connsiteX19428" fmla="*/ 5262212 w 10505529"/>
              <a:gd name="connsiteY19428" fmla="*/ 4174260 h 7458372"/>
              <a:gd name="connsiteX19429" fmla="*/ 5264875 w 10505529"/>
              <a:gd name="connsiteY19429" fmla="*/ 4170000 h 7458372"/>
              <a:gd name="connsiteX19430" fmla="*/ 5265939 w 10505529"/>
              <a:gd name="connsiteY19430" fmla="*/ 4164542 h 7458372"/>
              <a:gd name="connsiteX19431" fmla="*/ 5264875 w 10505529"/>
              <a:gd name="connsiteY19431" fmla="*/ 4159351 h 7458372"/>
              <a:gd name="connsiteX19432" fmla="*/ 5262212 w 10505529"/>
              <a:gd name="connsiteY19432" fmla="*/ 4155091 h 7458372"/>
              <a:gd name="connsiteX19433" fmla="*/ 5258219 w 10505529"/>
              <a:gd name="connsiteY19433" fmla="*/ 4152428 h 7458372"/>
              <a:gd name="connsiteX19434" fmla="*/ 5253160 w 10505529"/>
              <a:gd name="connsiteY19434" fmla="*/ 4151497 h 7458372"/>
              <a:gd name="connsiteX19435" fmla="*/ 5035515 w 10505529"/>
              <a:gd name="connsiteY19435" fmla="*/ 4151497 h 7458372"/>
              <a:gd name="connsiteX19436" fmla="*/ 5025532 w 10505529"/>
              <a:gd name="connsiteY19436" fmla="*/ 4155091 h 7458372"/>
              <a:gd name="connsiteX19437" fmla="*/ 5021938 w 10505529"/>
              <a:gd name="connsiteY19437" fmla="*/ 4164542 h 7458372"/>
              <a:gd name="connsiteX19438" fmla="*/ 5025532 w 10505529"/>
              <a:gd name="connsiteY19438" fmla="*/ 4173993 h 7458372"/>
              <a:gd name="connsiteX19439" fmla="*/ 5035515 w 10505529"/>
              <a:gd name="connsiteY19439" fmla="*/ 4177455 h 7458372"/>
              <a:gd name="connsiteX19440" fmla="*/ 5040840 w 10505529"/>
              <a:gd name="connsiteY19440" fmla="*/ 4176657 h 7458372"/>
              <a:gd name="connsiteX19441" fmla="*/ 5044567 w 10505529"/>
              <a:gd name="connsiteY19441" fmla="*/ 4174260 h 7458372"/>
              <a:gd name="connsiteX19442" fmla="*/ 5047230 w 10505529"/>
              <a:gd name="connsiteY19442" fmla="*/ 4170000 h 7458372"/>
              <a:gd name="connsiteX19443" fmla="*/ 5048294 w 10505529"/>
              <a:gd name="connsiteY19443" fmla="*/ 4164542 h 7458372"/>
              <a:gd name="connsiteX19444" fmla="*/ 5047230 w 10505529"/>
              <a:gd name="connsiteY19444" fmla="*/ 4159351 h 7458372"/>
              <a:gd name="connsiteX19445" fmla="*/ 5044567 w 10505529"/>
              <a:gd name="connsiteY19445" fmla="*/ 4155091 h 7458372"/>
              <a:gd name="connsiteX19446" fmla="*/ 5040574 w 10505529"/>
              <a:gd name="connsiteY19446" fmla="*/ 4152428 h 7458372"/>
              <a:gd name="connsiteX19447" fmla="*/ 5035515 w 10505529"/>
              <a:gd name="connsiteY19447" fmla="*/ 4151497 h 7458372"/>
              <a:gd name="connsiteX19448" fmla="*/ 4817870 w 10505529"/>
              <a:gd name="connsiteY19448" fmla="*/ 4151497 h 7458372"/>
              <a:gd name="connsiteX19449" fmla="*/ 4807887 w 10505529"/>
              <a:gd name="connsiteY19449" fmla="*/ 4155091 h 7458372"/>
              <a:gd name="connsiteX19450" fmla="*/ 4804293 w 10505529"/>
              <a:gd name="connsiteY19450" fmla="*/ 4164542 h 7458372"/>
              <a:gd name="connsiteX19451" fmla="*/ 4807887 w 10505529"/>
              <a:gd name="connsiteY19451" fmla="*/ 4173993 h 7458372"/>
              <a:gd name="connsiteX19452" fmla="*/ 4817870 w 10505529"/>
              <a:gd name="connsiteY19452" fmla="*/ 4177455 h 7458372"/>
              <a:gd name="connsiteX19453" fmla="*/ 4823195 w 10505529"/>
              <a:gd name="connsiteY19453" fmla="*/ 4176657 h 7458372"/>
              <a:gd name="connsiteX19454" fmla="*/ 4826922 w 10505529"/>
              <a:gd name="connsiteY19454" fmla="*/ 4174260 h 7458372"/>
              <a:gd name="connsiteX19455" fmla="*/ 4829585 w 10505529"/>
              <a:gd name="connsiteY19455" fmla="*/ 4170000 h 7458372"/>
              <a:gd name="connsiteX19456" fmla="*/ 4830650 w 10505529"/>
              <a:gd name="connsiteY19456" fmla="*/ 4164542 h 7458372"/>
              <a:gd name="connsiteX19457" fmla="*/ 4829585 w 10505529"/>
              <a:gd name="connsiteY19457" fmla="*/ 4159351 h 7458372"/>
              <a:gd name="connsiteX19458" fmla="*/ 4826922 w 10505529"/>
              <a:gd name="connsiteY19458" fmla="*/ 4155091 h 7458372"/>
              <a:gd name="connsiteX19459" fmla="*/ 4822929 w 10505529"/>
              <a:gd name="connsiteY19459" fmla="*/ 4152428 h 7458372"/>
              <a:gd name="connsiteX19460" fmla="*/ 4817870 w 10505529"/>
              <a:gd name="connsiteY19460" fmla="*/ 4151497 h 7458372"/>
              <a:gd name="connsiteX19461" fmla="*/ 4600226 w 10505529"/>
              <a:gd name="connsiteY19461" fmla="*/ 4151497 h 7458372"/>
              <a:gd name="connsiteX19462" fmla="*/ 4590242 w 10505529"/>
              <a:gd name="connsiteY19462" fmla="*/ 4155091 h 7458372"/>
              <a:gd name="connsiteX19463" fmla="*/ 4586648 w 10505529"/>
              <a:gd name="connsiteY19463" fmla="*/ 4164542 h 7458372"/>
              <a:gd name="connsiteX19464" fmla="*/ 4590242 w 10505529"/>
              <a:gd name="connsiteY19464" fmla="*/ 4173993 h 7458372"/>
              <a:gd name="connsiteX19465" fmla="*/ 4600226 w 10505529"/>
              <a:gd name="connsiteY19465" fmla="*/ 4177455 h 7458372"/>
              <a:gd name="connsiteX19466" fmla="*/ 4605550 w 10505529"/>
              <a:gd name="connsiteY19466" fmla="*/ 4176657 h 7458372"/>
              <a:gd name="connsiteX19467" fmla="*/ 4609277 w 10505529"/>
              <a:gd name="connsiteY19467" fmla="*/ 4174260 h 7458372"/>
              <a:gd name="connsiteX19468" fmla="*/ 4611940 w 10505529"/>
              <a:gd name="connsiteY19468" fmla="*/ 4170000 h 7458372"/>
              <a:gd name="connsiteX19469" fmla="*/ 4613005 w 10505529"/>
              <a:gd name="connsiteY19469" fmla="*/ 4164542 h 7458372"/>
              <a:gd name="connsiteX19470" fmla="*/ 4611940 w 10505529"/>
              <a:gd name="connsiteY19470" fmla="*/ 4159351 h 7458372"/>
              <a:gd name="connsiteX19471" fmla="*/ 4609277 w 10505529"/>
              <a:gd name="connsiteY19471" fmla="*/ 4155091 h 7458372"/>
              <a:gd name="connsiteX19472" fmla="*/ 4605284 w 10505529"/>
              <a:gd name="connsiteY19472" fmla="*/ 4152428 h 7458372"/>
              <a:gd name="connsiteX19473" fmla="*/ 4600226 w 10505529"/>
              <a:gd name="connsiteY19473" fmla="*/ 4151497 h 7458372"/>
              <a:gd name="connsiteX19474" fmla="*/ 4382713 w 10505529"/>
              <a:gd name="connsiteY19474" fmla="*/ 4151497 h 7458372"/>
              <a:gd name="connsiteX19475" fmla="*/ 4372730 w 10505529"/>
              <a:gd name="connsiteY19475" fmla="*/ 4155091 h 7458372"/>
              <a:gd name="connsiteX19476" fmla="*/ 4369136 w 10505529"/>
              <a:gd name="connsiteY19476" fmla="*/ 4164542 h 7458372"/>
              <a:gd name="connsiteX19477" fmla="*/ 4372730 w 10505529"/>
              <a:gd name="connsiteY19477" fmla="*/ 4173993 h 7458372"/>
              <a:gd name="connsiteX19478" fmla="*/ 4382713 w 10505529"/>
              <a:gd name="connsiteY19478" fmla="*/ 4177455 h 7458372"/>
              <a:gd name="connsiteX19479" fmla="*/ 4388038 w 10505529"/>
              <a:gd name="connsiteY19479" fmla="*/ 4176657 h 7458372"/>
              <a:gd name="connsiteX19480" fmla="*/ 4391765 w 10505529"/>
              <a:gd name="connsiteY19480" fmla="*/ 4174260 h 7458372"/>
              <a:gd name="connsiteX19481" fmla="*/ 4394428 w 10505529"/>
              <a:gd name="connsiteY19481" fmla="*/ 4170000 h 7458372"/>
              <a:gd name="connsiteX19482" fmla="*/ 4395493 w 10505529"/>
              <a:gd name="connsiteY19482" fmla="*/ 4164542 h 7458372"/>
              <a:gd name="connsiteX19483" fmla="*/ 4394428 w 10505529"/>
              <a:gd name="connsiteY19483" fmla="*/ 4159351 h 7458372"/>
              <a:gd name="connsiteX19484" fmla="*/ 4391765 w 10505529"/>
              <a:gd name="connsiteY19484" fmla="*/ 4155091 h 7458372"/>
              <a:gd name="connsiteX19485" fmla="*/ 4387772 w 10505529"/>
              <a:gd name="connsiteY19485" fmla="*/ 4152428 h 7458372"/>
              <a:gd name="connsiteX19486" fmla="*/ 4382713 w 10505529"/>
              <a:gd name="connsiteY19486" fmla="*/ 4151497 h 7458372"/>
              <a:gd name="connsiteX19487" fmla="*/ 4165068 w 10505529"/>
              <a:gd name="connsiteY19487" fmla="*/ 4151497 h 7458372"/>
              <a:gd name="connsiteX19488" fmla="*/ 4155084 w 10505529"/>
              <a:gd name="connsiteY19488" fmla="*/ 4155091 h 7458372"/>
              <a:gd name="connsiteX19489" fmla="*/ 4151490 w 10505529"/>
              <a:gd name="connsiteY19489" fmla="*/ 4164542 h 7458372"/>
              <a:gd name="connsiteX19490" fmla="*/ 4155084 w 10505529"/>
              <a:gd name="connsiteY19490" fmla="*/ 4173993 h 7458372"/>
              <a:gd name="connsiteX19491" fmla="*/ 4165068 w 10505529"/>
              <a:gd name="connsiteY19491" fmla="*/ 4177455 h 7458372"/>
              <a:gd name="connsiteX19492" fmla="*/ 4170392 w 10505529"/>
              <a:gd name="connsiteY19492" fmla="*/ 4176657 h 7458372"/>
              <a:gd name="connsiteX19493" fmla="*/ 4174119 w 10505529"/>
              <a:gd name="connsiteY19493" fmla="*/ 4174260 h 7458372"/>
              <a:gd name="connsiteX19494" fmla="*/ 4176782 w 10505529"/>
              <a:gd name="connsiteY19494" fmla="*/ 4170000 h 7458372"/>
              <a:gd name="connsiteX19495" fmla="*/ 4177847 w 10505529"/>
              <a:gd name="connsiteY19495" fmla="*/ 4164542 h 7458372"/>
              <a:gd name="connsiteX19496" fmla="*/ 4176782 w 10505529"/>
              <a:gd name="connsiteY19496" fmla="*/ 4159351 h 7458372"/>
              <a:gd name="connsiteX19497" fmla="*/ 4174119 w 10505529"/>
              <a:gd name="connsiteY19497" fmla="*/ 4155091 h 7458372"/>
              <a:gd name="connsiteX19498" fmla="*/ 4170126 w 10505529"/>
              <a:gd name="connsiteY19498" fmla="*/ 4152428 h 7458372"/>
              <a:gd name="connsiteX19499" fmla="*/ 4165068 w 10505529"/>
              <a:gd name="connsiteY19499" fmla="*/ 4151497 h 7458372"/>
              <a:gd name="connsiteX19500" fmla="*/ 3947651 w 10505529"/>
              <a:gd name="connsiteY19500" fmla="*/ 4151497 h 7458372"/>
              <a:gd name="connsiteX19501" fmla="*/ 3937668 w 10505529"/>
              <a:gd name="connsiteY19501" fmla="*/ 4155091 h 7458372"/>
              <a:gd name="connsiteX19502" fmla="*/ 3934074 w 10505529"/>
              <a:gd name="connsiteY19502" fmla="*/ 4164542 h 7458372"/>
              <a:gd name="connsiteX19503" fmla="*/ 3937668 w 10505529"/>
              <a:gd name="connsiteY19503" fmla="*/ 4173993 h 7458372"/>
              <a:gd name="connsiteX19504" fmla="*/ 3947651 w 10505529"/>
              <a:gd name="connsiteY19504" fmla="*/ 4177455 h 7458372"/>
              <a:gd name="connsiteX19505" fmla="*/ 3952979 w 10505529"/>
              <a:gd name="connsiteY19505" fmla="*/ 4176657 h 7458372"/>
              <a:gd name="connsiteX19506" fmla="*/ 3956705 w 10505529"/>
              <a:gd name="connsiteY19506" fmla="*/ 4174260 h 7458372"/>
              <a:gd name="connsiteX19507" fmla="*/ 3959368 w 10505529"/>
              <a:gd name="connsiteY19507" fmla="*/ 4170000 h 7458372"/>
              <a:gd name="connsiteX19508" fmla="*/ 3960433 w 10505529"/>
              <a:gd name="connsiteY19508" fmla="*/ 4164542 h 7458372"/>
              <a:gd name="connsiteX19509" fmla="*/ 3959368 w 10505529"/>
              <a:gd name="connsiteY19509" fmla="*/ 4159351 h 7458372"/>
              <a:gd name="connsiteX19510" fmla="*/ 3956705 w 10505529"/>
              <a:gd name="connsiteY19510" fmla="*/ 4155091 h 7458372"/>
              <a:gd name="connsiteX19511" fmla="*/ 3952712 w 10505529"/>
              <a:gd name="connsiteY19511" fmla="*/ 4152428 h 7458372"/>
              <a:gd name="connsiteX19512" fmla="*/ 3947651 w 10505529"/>
              <a:gd name="connsiteY19512" fmla="*/ 4151497 h 7458372"/>
              <a:gd name="connsiteX19513" fmla="*/ 3729995 w 10505529"/>
              <a:gd name="connsiteY19513" fmla="*/ 4151497 h 7458372"/>
              <a:gd name="connsiteX19514" fmla="*/ 3720009 w 10505529"/>
              <a:gd name="connsiteY19514" fmla="*/ 4155091 h 7458372"/>
              <a:gd name="connsiteX19515" fmla="*/ 3716416 w 10505529"/>
              <a:gd name="connsiteY19515" fmla="*/ 4164542 h 7458372"/>
              <a:gd name="connsiteX19516" fmla="*/ 3720009 w 10505529"/>
              <a:gd name="connsiteY19516" fmla="*/ 4173993 h 7458372"/>
              <a:gd name="connsiteX19517" fmla="*/ 3729995 w 10505529"/>
              <a:gd name="connsiteY19517" fmla="*/ 4177455 h 7458372"/>
              <a:gd name="connsiteX19518" fmla="*/ 3735320 w 10505529"/>
              <a:gd name="connsiteY19518" fmla="*/ 4176657 h 7458372"/>
              <a:gd name="connsiteX19519" fmla="*/ 3739048 w 10505529"/>
              <a:gd name="connsiteY19519" fmla="*/ 4174260 h 7458372"/>
              <a:gd name="connsiteX19520" fmla="*/ 3741711 w 10505529"/>
              <a:gd name="connsiteY19520" fmla="*/ 4170000 h 7458372"/>
              <a:gd name="connsiteX19521" fmla="*/ 3742776 w 10505529"/>
              <a:gd name="connsiteY19521" fmla="*/ 4164542 h 7458372"/>
              <a:gd name="connsiteX19522" fmla="*/ 3741711 w 10505529"/>
              <a:gd name="connsiteY19522" fmla="*/ 4159351 h 7458372"/>
              <a:gd name="connsiteX19523" fmla="*/ 3739048 w 10505529"/>
              <a:gd name="connsiteY19523" fmla="*/ 4155091 h 7458372"/>
              <a:gd name="connsiteX19524" fmla="*/ 3735055 w 10505529"/>
              <a:gd name="connsiteY19524" fmla="*/ 4152428 h 7458372"/>
              <a:gd name="connsiteX19525" fmla="*/ 3729995 w 10505529"/>
              <a:gd name="connsiteY19525" fmla="*/ 4151497 h 7458372"/>
              <a:gd name="connsiteX19526" fmla="*/ 3512338 w 10505529"/>
              <a:gd name="connsiteY19526" fmla="*/ 4151497 h 7458372"/>
              <a:gd name="connsiteX19527" fmla="*/ 3502351 w 10505529"/>
              <a:gd name="connsiteY19527" fmla="*/ 4155091 h 7458372"/>
              <a:gd name="connsiteX19528" fmla="*/ 3498758 w 10505529"/>
              <a:gd name="connsiteY19528" fmla="*/ 4164542 h 7458372"/>
              <a:gd name="connsiteX19529" fmla="*/ 3502351 w 10505529"/>
              <a:gd name="connsiteY19529" fmla="*/ 4173993 h 7458372"/>
              <a:gd name="connsiteX19530" fmla="*/ 3512338 w 10505529"/>
              <a:gd name="connsiteY19530" fmla="*/ 4177455 h 7458372"/>
              <a:gd name="connsiteX19531" fmla="*/ 3517664 w 10505529"/>
              <a:gd name="connsiteY19531" fmla="*/ 4176657 h 7458372"/>
              <a:gd name="connsiteX19532" fmla="*/ 3521391 w 10505529"/>
              <a:gd name="connsiteY19532" fmla="*/ 4174260 h 7458372"/>
              <a:gd name="connsiteX19533" fmla="*/ 3524054 w 10505529"/>
              <a:gd name="connsiteY19533" fmla="*/ 4170000 h 7458372"/>
              <a:gd name="connsiteX19534" fmla="*/ 3525119 w 10505529"/>
              <a:gd name="connsiteY19534" fmla="*/ 4164542 h 7458372"/>
              <a:gd name="connsiteX19535" fmla="*/ 3524054 w 10505529"/>
              <a:gd name="connsiteY19535" fmla="*/ 4159351 h 7458372"/>
              <a:gd name="connsiteX19536" fmla="*/ 3521391 w 10505529"/>
              <a:gd name="connsiteY19536" fmla="*/ 4155091 h 7458372"/>
              <a:gd name="connsiteX19537" fmla="*/ 3517398 w 10505529"/>
              <a:gd name="connsiteY19537" fmla="*/ 4152428 h 7458372"/>
              <a:gd name="connsiteX19538" fmla="*/ 3512338 w 10505529"/>
              <a:gd name="connsiteY19538" fmla="*/ 4151497 h 7458372"/>
              <a:gd name="connsiteX19539" fmla="*/ 3294815 w 10505529"/>
              <a:gd name="connsiteY19539" fmla="*/ 4151497 h 7458372"/>
              <a:gd name="connsiteX19540" fmla="*/ 3284829 w 10505529"/>
              <a:gd name="connsiteY19540" fmla="*/ 4155091 h 7458372"/>
              <a:gd name="connsiteX19541" fmla="*/ 3281235 w 10505529"/>
              <a:gd name="connsiteY19541" fmla="*/ 4164542 h 7458372"/>
              <a:gd name="connsiteX19542" fmla="*/ 3284829 w 10505529"/>
              <a:gd name="connsiteY19542" fmla="*/ 4173993 h 7458372"/>
              <a:gd name="connsiteX19543" fmla="*/ 3294815 w 10505529"/>
              <a:gd name="connsiteY19543" fmla="*/ 4177455 h 7458372"/>
              <a:gd name="connsiteX19544" fmla="*/ 3300140 w 10505529"/>
              <a:gd name="connsiteY19544" fmla="*/ 4176657 h 7458372"/>
              <a:gd name="connsiteX19545" fmla="*/ 3303867 w 10505529"/>
              <a:gd name="connsiteY19545" fmla="*/ 4174260 h 7458372"/>
              <a:gd name="connsiteX19546" fmla="*/ 3306531 w 10505529"/>
              <a:gd name="connsiteY19546" fmla="*/ 4170000 h 7458372"/>
              <a:gd name="connsiteX19547" fmla="*/ 3307594 w 10505529"/>
              <a:gd name="connsiteY19547" fmla="*/ 4164542 h 7458372"/>
              <a:gd name="connsiteX19548" fmla="*/ 3306531 w 10505529"/>
              <a:gd name="connsiteY19548" fmla="*/ 4159351 h 7458372"/>
              <a:gd name="connsiteX19549" fmla="*/ 3303867 w 10505529"/>
              <a:gd name="connsiteY19549" fmla="*/ 4155091 h 7458372"/>
              <a:gd name="connsiteX19550" fmla="*/ 3299874 w 10505529"/>
              <a:gd name="connsiteY19550" fmla="*/ 4152428 h 7458372"/>
              <a:gd name="connsiteX19551" fmla="*/ 3294815 w 10505529"/>
              <a:gd name="connsiteY19551" fmla="*/ 4151497 h 7458372"/>
              <a:gd name="connsiteX19552" fmla="*/ 3077291 w 10505529"/>
              <a:gd name="connsiteY19552" fmla="*/ 4151497 h 7458372"/>
              <a:gd name="connsiteX19553" fmla="*/ 3067308 w 10505529"/>
              <a:gd name="connsiteY19553" fmla="*/ 4155091 h 7458372"/>
              <a:gd name="connsiteX19554" fmla="*/ 3063577 w 10505529"/>
              <a:gd name="connsiteY19554" fmla="*/ 4164542 h 7458372"/>
              <a:gd name="connsiteX19555" fmla="*/ 3067173 w 10505529"/>
              <a:gd name="connsiteY19555" fmla="*/ 4173993 h 7458372"/>
              <a:gd name="connsiteX19556" fmla="*/ 3077158 w 10505529"/>
              <a:gd name="connsiteY19556" fmla="*/ 4177455 h 7458372"/>
              <a:gd name="connsiteX19557" fmla="*/ 3082616 w 10505529"/>
              <a:gd name="connsiteY19557" fmla="*/ 4176657 h 7458372"/>
              <a:gd name="connsiteX19558" fmla="*/ 3086344 w 10505529"/>
              <a:gd name="connsiteY19558" fmla="*/ 4174260 h 7458372"/>
              <a:gd name="connsiteX19559" fmla="*/ 3089006 w 10505529"/>
              <a:gd name="connsiteY19559" fmla="*/ 4170000 h 7458372"/>
              <a:gd name="connsiteX19560" fmla="*/ 3089938 w 10505529"/>
              <a:gd name="connsiteY19560" fmla="*/ 4164542 h 7458372"/>
              <a:gd name="connsiteX19561" fmla="*/ 3089006 w 10505529"/>
              <a:gd name="connsiteY19561" fmla="*/ 4159351 h 7458372"/>
              <a:gd name="connsiteX19562" fmla="*/ 3086344 w 10505529"/>
              <a:gd name="connsiteY19562" fmla="*/ 4155091 h 7458372"/>
              <a:gd name="connsiteX19563" fmla="*/ 3082350 w 10505529"/>
              <a:gd name="connsiteY19563" fmla="*/ 4152428 h 7458372"/>
              <a:gd name="connsiteX19564" fmla="*/ 3077291 w 10505529"/>
              <a:gd name="connsiteY19564" fmla="*/ 4151497 h 7458372"/>
              <a:gd name="connsiteX19565" fmla="*/ 2859501 w 10505529"/>
              <a:gd name="connsiteY19565" fmla="*/ 4151497 h 7458372"/>
              <a:gd name="connsiteX19566" fmla="*/ 2849515 w 10505529"/>
              <a:gd name="connsiteY19566" fmla="*/ 4155091 h 7458372"/>
              <a:gd name="connsiteX19567" fmla="*/ 2845918 w 10505529"/>
              <a:gd name="connsiteY19567" fmla="*/ 4164542 h 7458372"/>
              <a:gd name="connsiteX19568" fmla="*/ 2849515 w 10505529"/>
              <a:gd name="connsiteY19568" fmla="*/ 4173993 h 7458372"/>
              <a:gd name="connsiteX19569" fmla="*/ 2859501 w 10505529"/>
              <a:gd name="connsiteY19569" fmla="*/ 4177455 h 7458372"/>
              <a:gd name="connsiteX19570" fmla="*/ 2864826 w 10505529"/>
              <a:gd name="connsiteY19570" fmla="*/ 4176657 h 7458372"/>
              <a:gd name="connsiteX19571" fmla="*/ 2868553 w 10505529"/>
              <a:gd name="connsiteY19571" fmla="*/ 4174260 h 7458372"/>
              <a:gd name="connsiteX19572" fmla="*/ 2871216 w 10505529"/>
              <a:gd name="connsiteY19572" fmla="*/ 4170000 h 7458372"/>
              <a:gd name="connsiteX19573" fmla="*/ 2872147 w 10505529"/>
              <a:gd name="connsiteY19573" fmla="*/ 4164542 h 7458372"/>
              <a:gd name="connsiteX19574" fmla="*/ 2871216 w 10505529"/>
              <a:gd name="connsiteY19574" fmla="*/ 4159351 h 7458372"/>
              <a:gd name="connsiteX19575" fmla="*/ 2868553 w 10505529"/>
              <a:gd name="connsiteY19575" fmla="*/ 4155091 h 7458372"/>
              <a:gd name="connsiteX19576" fmla="*/ 2864560 w 10505529"/>
              <a:gd name="connsiteY19576" fmla="*/ 4152428 h 7458372"/>
              <a:gd name="connsiteX19577" fmla="*/ 2859501 w 10505529"/>
              <a:gd name="connsiteY19577" fmla="*/ 4151497 h 7458372"/>
              <a:gd name="connsiteX19578" fmla="*/ 2641844 w 10505529"/>
              <a:gd name="connsiteY19578" fmla="*/ 4151497 h 7458372"/>
              <a:gd name="connsiteX19579" fmla="*/ 2631861 w 10505529"/>
              <a:gd name="connsiteY19579" fmla="*/ 4155091 h 7458372"/>
              <a:gd name="connsiteX19580" fmla="*/ 2628266 w 10505529"/>
              <a:gd name="connsiteY19580" fmla="*/ 4164542 h 7458372"/>
              <a:gd name="connsiteX19581" fmla="*/ 2631861 w 10505529"/>
              <a:gd name="connsiteY19581" fmla="*/ 4173993 h 7458372"/>
              <a:gd name="connsiteX19582" fmla="*/ 2641844 w 10505529"/>
              <a:gd name="connsiteY19582" fmla="*/ 4177455 h 7458372"/>
              <a:gd name="connsiteX19583" fmla="*/ 2647169 w 10505529"/>
              <a:gd name="connsiteY19583" fmla="*/ 4176657 h 7458372"/>
              <a:gd name="connsiteX19584" fmla="*/ 2650896 w 10505529"/>
              <a:gd name="connsiteY19584" fmla="*/ 4174260 h 7458372"/>
              <a:gd name="connsiteX19585" fmla="*/ 2653559 w 10505529"/>
              <a:gd name="connsiteY19585" fmla="*/ 4170000 h 7458372"/>
              <a:gd name="connsiteX19586" fmla="*/ 2654490 w 10505529"/>
              <a:gd name="connsiteY19586" fmla="*/ 4164542 h 7458372"/>
              <a:gd name="connsiteX19587" fmla="*/ 2653559 w 10505529"/>
              <a:gd name="connsiteY19587" fmla="*/ 4159351 h 7458372"/>
              <a:gd name="connsiteX19588" fmla="*/ 2650896 w 10505529"/>
              <a:gd name="connsiteY19588" fmla="*/ 4155091 h 7458372"/>
              <a:gd name="connsiteX19589" fmla="*/ 2646903 w 10505529"/>
              <a:gd name="connsiteY19589" fmla="*/ 4152428 h 7458372"/>
              <a:gd name="connsiteX19590" fmla="*/ 2641844 w 10505529"/>
              <a:gd name="connsiteY19590" fmla="*/ 4151497 h 7458372"/>
              <a:gd name="connsiteX19591" fmla="*/ 2424187 w 10505529"/>
              <a:gd name="connsiteY19591" fmla="*/ 4151497 h 7458372"/>
              <a:gd name="connsiteX19592" fmla="*/ 2414204 w 10505529"/>
              <a:gd name="connsiteY19592" fmla="*/ 4155091 h 7458372"/>
              <a:gd name="connsiteX19593" fmla="*/ 2410609 w 10505529"/>
              <a:gd name="connsiteY19593" fmla="*/ 4164542 h 7458372"/>
              <a:gd name="connsiteX19594" fmla="*/ 2414204 w 10505529"/>
              <a:gd name="connsiteY19594" fmla="*/ 4173993 h 7458372"/>
              <a:gd name="connsiteX19595" fmla="*/ 2424187 w 10505529"/>
              <a:gd name="connsiteY19595" fmla="*/ 4177455 h 7458372"/>
              <a:gd name="connsiteX19596" fmla="*/ 2429512 w 10505529"/>
              <a:gd name="connsiteY19596" fmla="*/ 4176657 h 7458372"/>
              <a:gd name="connsiteX19597" fmla="*/ 2433239 w 10505529"/>
              <a:gd name="connsiteY19597" fmla="*/ 4174260 h 7458372"/>
              <a:gd name="connsiteX19598" fmla="*/ 2435902 w 10505529"/>
              <a:gd name="connsiteY19598" fmla="*/ 4170000 h 7458372"/>
              <a:gd name="connsiteX19599" fmla="*/ 2436833 w 10505529"/>
              <a:gd name="connsiteY19599" fmla="*/ 4164542 h 7458372"/>
              <a:gd name="connsiteX19600" fmla="*/ 2435902 w 10505529"/>
              <a:gd name="connsiteY19600" fmla="*/ 4159351 h 7458372"/>
              <a:gd name="connsiteX19601" fmla="*/ 2433239 w 10505529"/>
              <a:gd name="connsiteY19601" fmla="*/ 4155091 h 7458372"/>
              <a:gd name="connsiteX19602" fmla="*/ 2429246 w 10505529"/>
              <a:gd name="connsiteY19602" fmla="*/ 4152428 h 7458372"/>
              <a:gd name="connsiteX19603" fmla="*/ 2424187 w 10505529"/>
              <a:gd name="connsiteY19603" fmla="*/ 4151497 h 7458372"/>
              <a:gd name="connsiteX19604" fmla="*/ 2206530 w 10505529"/>
              <a:gd name="connsiteY19604" fmla="*/ 4151497 h 7458372"/>
              <a:gd name="connsiteX19605" fmla="*/ 2196546 w 10505529"/>
              <a:gd name="connsiteY19605" fmla="*/ 4155091 h 7458372"/>
              <a:gd name="connsiteX19606" fmla="*/ 2192952 w 10505529"/>
              <a:gd name="connsiteY19606" fmla="*/ 4164542 h 7458372"/>
              <a:gd name="connsiteX19607" fmla="*/ 2196546 w 10505529"/>
              <a:gd name="connsiteY19607" fmla="*/ 4173993 h 7458372"/>
              <a:gd name="connsiteX19608" fmla="*/ 2206530 w 10505529"/>
              <a:gd name="connsiteY19608" fmla="*/ 4177455 h 7458372"/>
              <a:gd name="connsiteX19609" fmla="*/ 2211855 w 10505529"/>
              <a:gd name="connsiteY19609" fmla="*/ 4176657 h 7458372"/>
              <a:gd name="connsiteX19610" fmla="*/ 2215582 w 10505529"/>
              <a:gd name="connsiteY19610" fmla="*/ 4174260 h 7458372"/>
              <a:gd name="connsiteX19611" fmla="*/ 2218245 w 10505529"/>
              <a:gd name="connsiteY19611" fmla="*/ 4170000 h 7458372"/>
              <a:gd name="connsiteX19612" fmla="*/ 2219176 w 10505529"/>
              <a:gd name="connsiteY19612" fmla="*/ 4164542 h 7458372"/>
              <a:gd name="connsiteX19613" fmla="*/ 2218245 w 10505529"/>
              <a:gd name="connsiteY19613" fmla="*/ 4159351 h 7458372"/>
              <a:gd name="connsiteX19614" fmla="*/ 2215582 w 10505529"/>
              <a:gd name="connsiteY19614" fmla="*/ 4155091 h 7458372"/>
              <a:gd name="connsiteX19615" fmla="*/ 2211589 w 10505529"/>
              <a:gd name="connsiteY19615" fmla="*/ 4152428 h 7458372"/>
              <a:gd name="connsiteX19616" fmla="*/ 2206530 w 10505529"/>
              <a:gd name="connsiteY19616" fmla="*/ 4151497 h 7458372"/>
              <a:gd name="connsiteX19617" fmla="*/ 1989006 w 10505529"/>
              <a:gd name="connsiteY19617" fmla="*/ 4151497 h 7458372"/>
              <a:gd name="connsiteX19618" fmla="*/ 1979023 w 10505529"/>
              <a:gd name="connsiteY19618" fmla="*/ 4155091 h 7458372"/>
              <a:gd name="connsiteX19619" fmla="*/ 1975428 w 10505529"/>
              <a:gd name="connsiteY19619" fmla="*/ 4164542 h 7458372"/>
              <a:gd name="connsiteX19620" fmla="*/ 1979023 w 10505529"/>
              <a:gd name="connsiteY19620" fmla="*/ 4173993 h 7458372"/>
              <a:gd name="connsiteX19621" fmla="*/ 1989006 w 10505529"/>
              <a:gd name="connsiteY19621" fmla="*/ 4177455 h 7458372"/>
              <a:gd name="connsiteX19622" fmla="*/ 1994330 w 10505529"/>
              <a:gd name="connsiteY19622" fmla="*/ 4176657 h 7458372"/>
              <a:gd name="connsiteX19623" fmla="*/ 1998058 w 10505529"/>
              <a:gd name="connsiteY19623" fmla="*/ 4174260 h 7458372"/>
              <a:gd name="connsiteX19624" fmla="*/ 2000721 w 10505529"/>
              <a:gd name="connsiteY19624" fmla="*/ 4170000 h 7458372"/>
              <a:gd name="connsiteX19625" fmla="*/ 2001651 w 10505529"/>
              <a:gd name="connsiteY19625" fmla="*/ 4164542 h 7458372"/>
              <a:gd name="connsiteX19626" fmla="*/ 2000721 w 10505529"/>
              <a:gd name="connsiteY19626" fmla="*/ 4159351 h 7458372"/>
              <a:gd name="connsiteX19627" fmla="*/ 1998058 w 10505529"/>
              <a:gd name="connsiteY19627" fmla="*/ 4155091 h 7458372"/>
              <a:gd name="connsiteX19628" fmla="*/ 1994064 w 10505529"/>
              <a:gd name="connsiteY19628" fmla="*/ 4152428 h 7458372"/>
              <a:gd name="connsiteX19629" fmla="*/ 1989006 w 10505529"/>
              <a:gd name="connsiteY19629" fmla="*/ 4151497 h 7458372"/>
              <a:gd name="connsiteX19630" fmla="*/ 1771369 w 10505529"/>
              <a:gd name="connsiteY19630" fmla="*/ 4151497 h 7458372"/>
              <a:gd name="connsiteX19631" fmla="*/ 1761387 w 10505529"/>
              <a:gd name="connsiteY19631" fmla="*/ 4155091 h 7458372"/>
              <a:gd name="connsiteX19632" fmla="*/ 1757793 w 10505529"/>
              <a:gd name="connsiteY19632" fmla="*/ 4164542 h 7458372"/>
              <a:gd name="connsiteX19633" fmla="*/ 1761387 w 10505529"/>
              <a:gd name="connsiteY19633" fmla="*/ 4173993 h 7458372"/>
              <a:gd name="connsiteX19634" fmla="*/ 1771369 w 10505529"/>
              <a:gd name="connsiteY19634" fmla="*/ 4177455 h 7458372"/>
              <a:gd name="connsiteX19635" fmla="*/ 1776694 w 10505529"/>
              <a:gd name="connsiteY19635" fmla="*/ 4176657 h 7458372"/>
              <a:gd name="connsiteX19636" fmla="*/ 1780421 w 10505529"/>
              <a:gd name="connsiteY19636" fmla="*/ 4174260 h 7458372"/>
              <a:gd name="connsiteX19637" fmla="*/ 1783083 w 10505529"/>
              <a:gd name="connsiteY19637" fmla="*/ 4170000 h 7458372"/>
              <a:gd name="connsiteX19638" fmla="*/ 1784148 w 10505529"/>
              <a:gd name="connsiteY19638" fmla="*/ 4164542 h 7458372"/>
              <a:gd name="connsiteX19639" fmla="*/ 1783083 w 10505529"/>
              <a:gd name="connsiteY19639" fmla="*/ 4159351 h 7458372"/>
              <a:gd name="connsiteX19640" fmla="*/ 1780421 w 10505529"/>
              <a:gd name="connsiteY19640" fmla="*/ 4155091 h 7458372"/>
              <a:gd name="connsiteX19641" fmla="*/ 1776428 w 10505529"/>
              <a:gd name="connsiteY19641" fmla="*/ 4152428 h 7458372"/>
              <a:gd name="connsiteX19642" fmla="*/ 1771369 w 10505529"/>
              <a:gd name="connsiteY19642" fmla="*/ 4151497 h 7458372"/>
              <a:gd name="connsiteX19643" fmla="*/ 1553730 w 10505529"/>
              <a:gd name="connsiteY19643" fmla="*/ 4151497 h 7458372"/>
              <a:gd name="connsiteX19644" fmla="*/ 1543747 w 10505529"/>
              <a:gd name="connsiteY19644" fmla="*/ 4155091 h 7458372"/>
              <a:gd name="connsiteX19645" fmla="*/ 1540153 w 10505529"/>
              <a:gd name="connsiteY19645" fmla="*/ 4164542 h 7458372"/>
              <a:gd name="connsiteX19646" fmla="*/ 1543747 w 10505529"/>
              <a:gd name="connsiteY19646" fmla="*/ 4173993 h 7458372"/>
              <a:gd name="connsiteX19647" fmla="*/ 1553730 w 10505529"/>
              <a:gd name="connsiteY19647" fmla="*/ 4177455 h 7458372"/>
              <a:gd name="connsiteX19648" fmla="*/ 1559055 w 10505529"/>
              <a:gd name="connsiteY19648" fmla="*/ 4176657 h 7458372"/>
              <a:gd name="connsiteX19649" fmla="*/ 1562782 w 10505529"/>
              <a:gd name="connsiteY19649" fmla="*/ 4174260 h 7458372"/>
              <a:gd name="connsiteX19650" fmla="*/ 1565445 w 10505529"/>
              <a:gd name="connsiteY19650" fmla="*/ 4170000 h 7458372"/>
              <a:gd name="connsiteX19651" fmla="*/ 1566510 w 10505529"/>
              <a:gd name="connsiteY19651" fmla="*/ 4164542 h 7458372"/>
              <a:gd name="connsiteX19652" fmla="*/ 1565445 w 10505529"/>
              <a:gd name="connsiteY19652" fmla="*/ 4159351 h 7458372"/>
              <a:gd name="connsiteX19653" fmla="*/ 1562782 w 10505529"/>
              <a:gd name="connsiteY19653" fmla="*/ 4155091 h 7458372"/>
              <a:gd name="connsiteX19654" fmla="*/ 1558789 w 10505529"/>
              <a:gd name="connsiteY19654" fmla="*/ 4152428 h 7458372"/>
              <a:gd name="connsiteX19655" fmla="*/ 1553730 w 10505529"/>
              <a:gd name="connsiteY19655" fmla="*/ 4151497 h 7458372"/>
              <a:gd name="connsiteX19656" fmla="*/ 1336086 w 10505529"/>
              <a:gd name="connsiteY19656" fmla="*/ 4151497 h 7458372"/>
              <a:gd name="connsiteX19657" fmla="*/ 1326103 w 10505529"/>
              <a:gd name="connsiteY19657" fmla="*/ 4155091 h 7458372"/>
              <a:gd name="connsiteX19658" fmla="*/ 1322508 w 10505529"/>
              <a:gd name="connsiteY19658" fmla="*/ 4164542 h 7458372"/>
              <a:gd name="connsiteX19659" fmla="*/ 1326103 w 10505529"/>
              <a:gd name="connsiteY19659" fmla="*/ 4173993 h 7458372"/>
              <a:gd name="connsiteX19660" fmla="*/ 1336086 w 10505529"/>
              <a:gd name="connsiteY19660" fmla="*/ 4177455 h 7458372"/>
              <a:gd name="connsiteX19661" fmla="*/ 1341413 w 10505529"/>
              <a:gd name="connsiteY19661" fmla="*/ 4176657 h 7458372"/>
              <a:gd name="connsiteX19662" fmla="*/ 1345140 w 10505529"/>
              <a:gd name="connsiteY19662" fmla="*/ 4174260 h 7458372"/>
              <a:gd name="connsiteX19663" fmla="*/ 1347802 w 10505529"/>
              <a:gd name="connsiteY19663" fmla="*/ 4170000 h 7458372"/>
              <a:gd name="connsiteX19664" fmla="*/ 1348868 w 10505529"/>
              <a:gd name="connsiteY19664" fmla="*/ 4164542 h 7458372"/>
              <a:gd name="connsiteX19665" fmla="*/ 1347802 w 10505529"/>
              <a:gd name="connsiteY19665" fmla="*/ 4159351 h 7458372"/>
              <a:gd name="connsiteX19666" fmla="*/ 1345140 w 10505529"/>
              <a:gd name="connsiteY19666" fmla="*/ 4155091 h 7458372"/>
              <a:gd name="connsiteX19667" fmla="*/ 1341145 w 10505529"/>
              <a:gd name="connsiteY19667" fmla="*/ 4152428 h 7458372"/>
              <a:gd name="connsiteX19668" fmla="*/ 1336086 w 10505529"/>
              <a:gd name="connsiteY19668" fmla="*/ 4151497 h 7458372"/>
              <a:gd name="connsiteX19669" fmla="*/ 1118574 w 10505529"/>
              <a:gd name="connsiteY19669" fmla="*/ 4151497 h 7458372"/>
              <a:gd name="connsiteX19670" fmla="*/ 1108589 w 10505529"/>
              <a:gd name="connsiteY19670" fmla="*/ 4155091 h 7458372"/>
              <a:gd name="connsiteX19671" fmla="*/ 1104862 w 10505529"/>
              <a:gd name="connsiteY19671" fmla="*/ 4164542 h 7458372"/>
              <a:gd name="connsiteX19672" fmla="*/ 1108456 w 10505529"/>
              <a:gd name="connsiteY19672" fmla="*/ 4173993 h 7458372"/>
              <a:gd name="connsiteX19673" fmla="*/ 1118441 w 10505529"/>
              <a:gd name="connsiteY19673" fmla="*/ 4177455 h 7458372"/>
              <a:gd name="connsiteX19674" fmla="*/ 1123898 w 10505529"/>
              <a:gd name="connsiteY19674" fmla="*/ 4176657 h 7458372"/>
              <a:gd name="connsiteX19675" fmla="*/ 1127627 w 10505529"/>
              <a:gd name="connsiteY19675" fmla="*/ 4174260 h 7458372"/>
              <a:gd name="connsiteX19676" fmla="*/ 1130291 w 10505529"/>
              <a:gd name="connsiteY19676" fmla="*/ 4170000 h 7458372"/>
              <a:gd name="connsiteX19677" fmla="*/ 1131356 w 10505529"/>
              <a:gd name="connsiteY19677" fmla="*/ 4164542 h 7458372"/>
              <a:gd name="connsiteX19678" fmla="*/ 1130291 w 10505529"/>
              <a:gd name="connsiteY19678" fmla="*/ 4159351 h 7458372"/>
              <a:gd name="connsiteX19679" fmla="*/ 1127627 w 10505529"/>
              <a:gd name="connsiteY19679" fmla="*/ 4155091 h 7458372"/>
              <a:gd name="connsiteX19680" fmla="*/ 1123632 w 10505529"/>
              <a:gd name="connsiteY19680" fmla="*/ 4152428 h 7458372"/>
              <a:gd name="connsiteX19681" fmla="*/ 1118574 w 10505529"/>
              <a:gd name="connsiteY19681" fmla="*/ 4151497 h 7458372"/>
              <a:gd name="connsiteX19682" fmla="*/ 901062 w 10505529"/>
              <a:gd name="connsiteY19682" fmla="*/ 4151497 h 7458372"/>
              <a:gd name="connsiteX19683" fmla="*/ 891078 w 10505529"/>
              <a:gd name="connsiteY19683" fmla="*/ 4155091 h 7458372"/>
              <a:gd name="connsiteX19684" fmla="*/ 887351 w 10505529"/>
              <a:gd name="connsiteY19684" fmla="*/ 4164542 h 7458372"/>
              <a:gd name="connsiteX19685" fmla="*/ 890945 w 10505529"/>
              <a:gd name="connsiteY19685" fmla="*/ 4173993 h 7458372"/>
              <a:gd name="connsiteX19686" fmla="*/ 900928 w 10505529"/>
              <a:gd name="connsiteY19686" fmla="*/ 4177455 h 7458372"/>
              <a:gd name="connsiteX19687" fmla="*/ 906386 w 10505529"/>
              <a:gd name="connsiteY19687" fmla="*/ 4176657 h 7458372"/>
              <a:gd name="connsiteX19688" fmla="*/ 910114 w 10505529"/>
              <a:gd name="connsiteY19688" fmla="*/ 4174260 h 7458372"/>
              <a:gd name="connsiteX19689" fmla="*/ 912776 w 10505529"/>
              <a:gd name="connsiteY19689" fmla="*/ 4170000 h 7458372"/>
              <a:gd name="connsiteX19690" fmla="*/ 913841 w 10505529"/>
              <a:gd name="connsiteY19690" fmla="*/ 4164542 h 7458372"/>
              <a:gd name="connsiteX19691" fmla="*/ 912776 w 10505529"/>
              <a:gd name="connsiteY19691" fmla="*/ 4159351 h 7458372"/>
              <a:gd name="connsiteX19692" fmla="*/ 910114 w 10505529"/>
              <a:gd name="connsiteY19692" fmla="*/ 4155091 h 7458372"/>
              <a:gd name="connsiteX19693" fmla="*/ 906120 w 10505529"/>
              <a:gd name="connsiteY19693" fmla="*/ 4152428 h 7458372"/>
              <a:gd name="connsiteX19694" fmla="*/ 901062 w 10505529"/>
              <a:gd name="connsiteY19694" fmla="*/ 4151497 h 7458372"/>
              <a:gd name="connsiteX19695" fmla="*/ 683287 w 10505529"/>
              <a:gd name="connsiteY19695" fmla="*/ 4151497 h 7458372"/>
              <a:gd name="connsiteX19696" fmla="*/ 673304 w 10505529"/>
              <a:gd name="connsiteY19696" fmla="*/ 4155091 h 7458372"/>
              <a:gd name="connsiteX19697" fmla="*/ 669710 w 10505529"/>
              <a:gd name="connsiteY19697" fmla="*/ 4164542 h 7458372"/>
              <a:gd name="connsiteX19698" fmla="*/ 673304 w 10505529"/>
              <a:gd name="connsiteY19698" fmla="*/ 4173993 h 7458372"/>
              <a:gd name="connsiteX19699" fmla="*/ 683287 w 10505529"/>
              <a:gd name="connsiteY19699" fmla="*/ 4177455 h 7458372"/>
              <a:gd name="connsiteX19700" fmla="*/ 688612 w 10505529"/>
              <a:gd name="connsiteY19700" fmla="*/ 4176657 h 7458372"/>
              <a:gd name="connsiteX19701" fmla="*/ 692339 w 10505529"/>
              <a:gd name="connsiteY19701" fmla="*/ 4174260 h 7458372"/>
              <a:gd name="connsiteX19702" fmla="*/ 695002 w 10505529"/>
              <a:gd name="connsiteY19702" fmla="*/ 4170000 h 7458372"/>
              <a:gd name="connsiteX19703" fmla="*/ 696067 w 10505529"/>
              <a:gd name="connsiteY19703" fmla="*/ 4164542 h 7458372"/>
              <a:gd name="connsiteX19704" fmla="*/ 695002 w 10505529"/>
              <a:gd name="connsiteY19704" fmla="*/ 4159351 h 7458372"/>
              <a:gd name="connsiteX19705" fmla="*/ 692339 w 10505529"/>
              <a:gd name="connsiteY19705" fmla="*/ 4155091 h 7458372"/>
              <a:gd name="connsiteX19706" fmla="*/ 688346 w 10505529"/>
              <a:gd name="connsiteY19706" fmla="*/ 4152428 h 7458372"/>
              <a:gd name="connsiteX19707" fmla="*/ 683287 w 10505529"/>
              <a:gd name="connsiteY19707" fmla="*/ 4151497 h 7458372"/>
              <a:gd name="connsiteX19708" fmla="*/ 465645 w 10505529"/>
              <a:gd name="connsiteY19708" fmla="*/ 4151497 h 7458372"/>
              <a:gd name="connsiteX19709" fmla="*/ 455662 w 10505529"/>
              <a:gd name="connsiteY19709" fmla="*/ 4155091 h 7458372"/>
              <a:gd name="connsiteX19710" fmla="*/ 452068 w 10505529"/>
              <a:gd name="connsiteY19710" fmla="*/ 4164542 h 7458372"/>
              <a:gd name="connsiteX19711" fmla="*/ 455662 w 10505529"/>
              <a:gd name="connsiteY19711" fmla="*/ 4173993 h 7458372"/>
              <a:gd name="connsiteX19712" fmla="*/ 465645 w 10505529"/>
              <a:gd name="connsiteY19712" fmla="*/ 4177455 h 7458372"/>
              <a:gd name="connsiteX19713" fmla="*/ 470970 w 10505529"/>
              <a:gd name="connsiteY19713" fmla="*/ 4176657 h 7458372"/>
              <a:gd name="connsiteX19714" fmla="*/ 474697 w 10505529"/>
              <a:gd name="connsiteY19714" fmla="*/ 4174260 h 7458372"/>
              <a:gd name="connsiteX19715" fmla="*/ 477360 w 10505529"/>
              <a:gd name="connsiteY19715" fmla="*/ 4170000 h 7458372"/>
              <a:gd name="connsiteX19716" fmla="*/ 478425 w 10505529"/>
              <a:gd name="connsiteY19716" fmla="*/ 4164542 h 7458372"/>
              <a:gd name="connsiteX19717" fmla="*/ 477360 w 10505529"/>
              <a:gd name="connsiteY19717" fmla="*/ 4159351 h 7458372"/>
              <a:gd name="connsiteX19718" fmla="*/ 474697 w 10505529"/>
              <a:gd name="connsiteY19718" fmla="*/ 4155091 h 7458372"/>
              <a:gd name="connsiteX19719" fmla="*/ 470704 w 10505529"/>
              <a:gd name="connsiteY19719" fmla="*/ 4152428 h 7458372"/>
              <a:gd name="connsiteX19720" fmla="*/ 465645 w 10505529"/>
              <a:gd name="connsiteY19720" fmla="*/ 4151497 h 7458372"/>
              <a:gd name="connsiteX19721" fmla="*/ 248002 w 10505529"/>
              <a:gd name="connsiteY19721" fmla="*/ 4151497 h 7458372"/>
              <a:gd name="connsiteX19722" fmla="*/ 238020 w 10505529"/>
              <a:gd name="connsiteY19722" fmla="*/ 4155091 h 7458372"/>
              <a:gd name="connsiteX19723" fmla="*/ 234426 w 10505529"/>
              <a:gd name="connsiteY19723" fmla="*/ 4164542 h 7458372"/>
              <a:gd name="connsiteX19724" fmla="*/ 238020 w 10505529"/>
              <a:gd name="connsiteY19724" fmla="*/ 4173993 h 7458372"/>
              <a:gd name="connsiteX19725" fmla="*/ 248002 w 10505529"/>
              <a:gd name="connsiteY19725" fmla="*/ 4177455 h 7458372"/>
              <a:gd name="connsiteX19726" fmla="*/ 253327 w 10505529"/>
              <a:gd name="connsiteY19726" fmla="*/ 4176657 h 7458372"/>
              <a:gd name="connsiteX19727" fmla="*/ 257054 w 10505529"/>
              <a:gd name="connsiteY19727" fmla="*/ 4174260 h 7458372"/>
              <a:gd name="connsiteX19728" fmla="*/ 259717 w 10505529"/>
              <a:gd name="connsiteY19728" fmla="*/ 4170000 h 7458372"/>
              <a:gd name="connsiteX19729" fmla="*/ 260782 w 10505529"/>
              <a:gd name="connsiteY19729" fmla="*/ 4164542 h 7458372"/>
              <a:gd name="connsiteX19730" fmla="*/ 259717 w 10505529"/>
              <a:gd name="connsiteY19730" fmla="*/ 4159351 h 7458372"/>
              <a:gd name="connsiteX19731" fmla="*/ 257054 w 10505529"/>
              <a:gd name="connsiteY19731" fmla="*/ 4155091 h 7458372"/>
              <a:gd name="connsiteX19732" fmla="*/ 253061 w 10505529"/>
              <a:gd name="connsiteY19732" fmla="*/ 4152428 h 7458372"/>
              <a:gd name="connsiteX19733" fmla="*/ 248002 w 10505529"/>
              <a:gd name="connsiteY19733" fmla="*/ 4151497 h 7458372"/>
              <a:gd name="connsiteX19734" fmla="*/ 30360 w 10505529"/>
              <a:gd name="connsiteY19734" fmla="*/ 4151497 h 7458372"/>
              <a:gd name="connsiteX19735" fmla="*/ 20377 w 10505529"/>
              <a:gd name="connsiteY19735" fmla="*/ 4155091 h 7458372"/>
              <a:gd name="connsiteX19736" fmla="*/ 16783 w 10505529"/>
              <a:gd name="connsiteY19736" fmla="*/ 4164542 h 7458372"/>
              <a:gd name="connsiteX19737" fmla="*/ 20377 w 10505529"/>
              <a:gd name="connsiteY19737" fmla="*/ 4173993 h 7458372"/>
              <a:gd name="connsiteX19738" fmla="*/ 30360 w 10505529"/>
              <a:gd name="connsiteY19738" fmla="*/ 4177455 h 7458372"/>
              <a:gd name="connsiteX19739" fmla="*/ 35685 w 10505529"/>
              <a:gd name="connsiteY19739" fmla="*/ 4176657 h 7458372"/>
              <a:gd name="connsiteX19740" fmla="*/ 39412 w 10505529"/>
              <a:gd name="connsiteY19740" fmla="*/ 4174260 h 7458372"/>
              <a:gd name="connsiteX19741" fmla="*/ 42075 w 10505529"/>
              <a:gd name="connsiteY19741" fmla="*/ 4170000 h 7458372"/>
              <a:gd name="connsiteX19742" fmla="*/ 43006 w 10505529"/>
              <a:gd name="connsiteY19742" fmla="*/ 4164542 h 7458372"/>
              <a:gd name="connsiteX19743" fmla="*/ 42075 w 10505529"/>
              <a:gd name="connsiteY19743" fmla="*/ 4159351 h 7458372"/>
              <a:gd name="connsiteX19744" fmla="*/ 39412 w 10505529"/>
              <a:gd name="connsiteY19744" fmla="*/ 4155091 h 7458372"/>
              <a:gd name="connsiteX19745" fmla="*/ 35419 w 10505529"/>
              <a:gd name="connsiteY19745" fmla="*/ 4152428 h 7458372"/>
              <a:gd name="connsiteX19746" fmla="*/ 30360 w 10505529"/>
              <a:gd name="connsiteY19746" fmla="*/ 4151497 h 7458372"/>
              <a:gd name="connsiteX19747" fmla="*/ 10475977 w 10505529"/>
              <a:gd name="connsiteY19747" fmla="*/ 4134724 h 7458372"/>
              <a:gd name="connsiteX19748" fmla="*/ 10487824 w 10505529"/>
              <a:gd name="connsiteY19748" fmla="*/ 4137253 h 7458372"/>
              <a:gd name="connsiteX19749" fmla="*/ 10497143 w 10505529"/>
              <a:gd name="connsiteY19749" fmla="*/ 4143643 h 7458372"/>
              <a:gd name="connsiteX19750" fmla="*/ 10503266 w 10505529"/>
              <a:gd name="connsiteY19750" fmla="*/ 4153094 h 7458372"/>
              <a:gd name="connsiteX19751" fmla="*/ 10505529 w 10505529"/>
              <a:gd name="connsiteY19751" fmla="*/ 4164542 h 7458372"/>
              <a:gd name="connsiteX19752" fmla="*/ 10503266 w 10505529"/>
              <a:gd name="connsiteY19752" fmla="*/ 4176257 h 7458372"/>
              <a:gd name="connsiteX19753" fmla="*/ 10497143 w 10505529"/>
              <a:gd name="connsiteY19753" fmla="*/ 4185576 h 7458372"/>
              <a:gd name="connsiteX19754" fmla="*/ 10487824 w 10505529"/>
              <a:gd name="connsiteY19754" fmla="*/ 4191832 h 7458372"/>
              <a:gd name="connsiteX19755" fmla="*/ 10475977 w 10505529"/>
              <a:gd name="connsiteY19755" fmla="*/ 4194095 h 7458372"/>
              <a:gd name="connsiteX19756" fmla="*/ 10454145 w 10505529"/>
              <a:gd name="connsiteY19756" fmla="*/ 4185576 h 7458372"/>
              <a:gd name="connsiteX19757" fmla="*/ 10445759 w 10505529"/>
              <a:gd name="connsiteY19757" fmla="*/ 4164409 h 7458372"/>
              <a:gd name="connsiteX19758" fmla="*/ 10454145 w 10505529"/>
              <a:gd name="connsiteY19758" fmla="*/ 4143376 h 7458372"/>
              <a:gd name="connsiteX19759" fmla="*/ 10475977 w 10505529"/>
              <a:gd name="connsiteY19759" fmla="*/ 4134724 h 7458372"/>
              <a:gd name="connsiteX19760" fmla="*/ 10258466 w 10505529"/>
              <a:gd name="connsiteY19760" fmla="*/ 4134724 h 7458372"/>
              <a:gd name="connsiteX19761" fmla="*/ 10270313 w 10505529"/>
              <a:gd name="connsiteY19761" fmla="*/ 4137253 h 7458372"/>
              <a:gd name="connsiteX19762" fmla="*/ 10279631 w 10505529"/>
              <a:gd name="connsiteY19762" fmla="*/ 4143643 h 7458372"/>
              <a:gd name="connsiteX19763" fmla="*/ 10285754 w 10505529"/>
              <a:gd name="connsiteY19763" fmla="*/ 4153094 h 7458372"/>
              <a:gd name="connsiteX19764" fmla="*/ 10288017 w 10505529"/>
              <a:gd name="connsiteY19764" fmla="*/ 4164542 h 7458372"/>
              <a:gd name="connsiteX19765" fmla="*/ 10285754 w 10505529"/>
              <a:gd name="connsiteY19765" fmla="*/ 4176257 h 7458372"/>
              <a:gd name="connsiteX19766" fmla="*/ 10279631 w 10505529"/>
              <a:gd name="connsiteY19766" fmla="*/ 4185576 h 7458372"/>
              <a:gd name="connsiteX19767" fmla="*/ 10270313 w 10505529"/>
              <a:gd name="connsiteY19767" fmla="*/ 4191832 h 7458372"/>
              <a:gd name="connsiteX19768" fmla="*/ 10258466 w 10505529"/>
              <a:gd name="connsiteY19768" fmla="*/ 4194095 h 7458372"/>
              <a:gd name="connsiteX19769" fmla="*/ 10236633 w 10505529"/>
              <a:gd name="connsiteY19769" fmla="*/ 4185576 h 7458372"/>
              <a:gd name="connsiteX19770" fmla="*/ 10228247 w 10505529"/>
              <a:gd name="connsiteY19770" fmla="*/ 4164409 h 7458372"/>
              <a:gd name="connsiteX19771" fmla="*/ 10236633 w 10505529"/>
              <a:gd name="connsiteY19771" fmla="*/ 4143376 h 7458372"/>
              <a:gd name="connsiteX19772" fmla="*/ 10258466 w 10505529"/>
              <a:gd name="connsiteY19772" fmla="*/ 4134724 h 7458372"/>
              <a:gd name="connsiteX19773" fmla="*/ 10040820 w 10505529"/>
              <a:gd name="connsiteY19773" fmla="*/ 4134724 h 7458372"/>
              <a:gd name="connsiteX19774" fmla="*/ 10052534 w 10505529"/>
              <a:gd name="connsiteY19774" fmla="*/ 4137253 h 7458372"/>
              <a:gd name="connsiteX19775" fmla="*/ 10061852 w 10505529"/>
              <a:gd name="connsiteY19775" fmla="*/ 4143643 h 7458372"/>
              <a:gd name="connsiteX19776" fmla="*/ 10067976 w 10505529"/>
              <a:gd name="connsiteY19776" fmla="*/ 4153094 h 7458372"/>
              <a:gd name="connsiteX19777" fmla="*/ 10070239 w 10505529"/>
              <a:gd name="connsiteY19777" fmla="*/ 4164542 h 7458372"/>
              <a:gd name="connsiteX19778" fmla="*/ 10067976 w 10505529"/>
              <a:gd name="connsiteY19778" fmla="*/ 4176257 h 7458372"/>
              <a:gd name="connsiteX19779" fmla="*/ 10061852 w 10505529"/>
              <a:gd name="connsiteY19779" fmla="*/ 4185576 h 7458372"/>
              <a:gd name="connsiteX19780" fmla="*/ 10052534 w 10505529"/>
              <a:gd name="connsiteY19780" fmla="*/ 4191832 h 7458372"/>
              <a:gd name="connsiteX19781" fmla="*/ 10040820 w 10505529"/>
              <a:gd name="connsiteY19781" fmla="*/ 4194095 h 7458372"/>
              <a:gd name="connsiteX19782" fmla="*/ 10018988 w 10505529"/>
              <a:gd name="connsiteY19782" fmla="*/ 4185576 h 7458372"/>
              <a:gd name="connsiteX19783" fmla="*/ 10010602 w 10505529"/>
              <a:gd name="connsiteY19783" fmla="*/ 4164409 h 7458372"/>
              <a:gd name="connsiteX19784" fmla="*/ 10018988 w 10505529"/>
              <a:gd name="connsiteY19784" fmla="*/ 4143376 h 7458372"/>
              <a:gd name="connsiteX19785" fmla="*/ 10040820 w 10505529"/>
              <a:gd name="connsiteY19785" fmla="*/ 4134724 h 7458372"/>
              <a:gd name="connsiteX19786" fmla="*/ 9823176 w 10505529"/>
              <a:gd name="connsiteY19786" fmla="*/ 4134724 h 7458372"/>
              <a:gd name="connsiteX19787" fmla="*/ 9834890 w 10505529"/>
              <a:gd name="connsiteY19787" fmla="*/ 4137253 h 7458372"/>
              <a:gd name="connsiteX19788" fmla="*/ 9844208 w 10505529"/>
              <a:gd name="connsiteY19788" fmla="*/ 4143643 h 7458372"/>
              <a:gd name="connsiteX19789" fmla="*/ 9850331 w 10505529"/>
              <a:gd name="connsiteY19789" fmla="*/ 4153094 h 7458372"/>
              <a:gd name="connsiteX19790" fmla="*/ 9852595 w 10505529"/>
              <a:gd name="connsiteY19790" fmla="*/ 4164542 h 7458372"/>
              <a:gd name="connsiteX19791" fmla="*/ 9850331 w 10505529"/>
              <a:gd name="connsiteY19791" fmla="*/ 4176257 h 7458372"/>
              <a:gd name="connsiteX19792" fmla="*/ 9844208 w 10505529"/>
              <a:gd name="connsiteY19792" fmla="*/ 4185576 h 7458372"/>
              <a:gd name="connsiteX19793" fmla="*/ 9834890 w 10505529"/>
              <a:gd name="connsiteY19793" fmla="*/ 4191832 h 7458372"/>
              <a:gd name="connsiteX19794" fmla="*/ 9823176 w 10505529"/>
              <a:gd name="connsiteY19794" fmla="*/ 4194095 h 7458372"/>
              <a:gd name="connsiteX19795" fmla="*/ 9801343 w 10505529"/>
              <a:gd name="connsiteY19795" fmla="*/ 4185576 h 7458372"/>
              <a:gd name="connsiteX19796" fmla="*/ 9792957 w 10505529"/>
              <a:gd name="connsiteY19796" fmla="*/ 4164409 h 7458372"/>
              <a:gd name="connsiteX19797" fmla="*/ 9801343 w 10505529"/>
              <a:gd name="connsiteY19797" fmla="*/ 4143376 h 7458372"/>
              <a:gd name="connsiteX19798" fmla="*/ 9823176 w 10505529"/>
              <a:gd name="connsiteY19798" fmla="*/ 4134724 h 7458372"/>
              <a:gd name="connsiteX19799" fmla="*/ 9605531 w 10505529"/>
              <a:gd name="connsiteY19799" fmla="*/ 4134724 h 7458372"/>
              <a:gd name="connsiteX19800" fmla="*/ 9617245 w 10505529"/>
              <a:gd name="connsiteY19800" fmla="*/ 4137253 h 7458372"/>
              <a:gd name="connsiteX19801" fmla="*/ 9626562 w 10505529"/>
              <a:gd name="connsiteY19801" fmla="*/ 4143643 h 7458372"/>
              <a:gd name="connsiteX19802" fmla="*/ 9632686 w 10505529"/>
              <a:gd name="connsiteY19802" fmla="*/ 4153094 h 7458372"/>
              <a:gd name="connsiteX19803" fmla="*/ 9634949 w 10505529"/>
              <a:gd name="connsiteY19803" fmla="*/ 4164542 h 7458372"/>
              <a:gd name="connsiteX19804" fmla="*/ 9632686 w 10505529"/>
              <a:gd name="connsiteY19804" fmla="*/ 4176257 h 7458372"/>
              <a:gd name="connsiteX19805" fmla="*/ 9626562 w 10505529"/>
              <a:gd name="connsiteY19805" fmla="*/ 4185576 h 7458372"/>
              <a:gd name="connsiteX19806" fmla="*/ 9617245 w 10505529"/>
              <a:gd name="connsiteY19806" fmla="*/ 4191832 h 7458372"/>
              <a:gd name="connsiteX19807" fmla="*/ 9605531 w 10505529"/>
              <a:gd name="connsiteY19807" fmla="*/ 4194095 h 7458372"/>
              <a:gd name="connsiteX19808" fmla="*/ 9583698 w 10505529"/>
              <a:gd name="connsiteY19808" fmla="*/ 4185576 h 7458372"/>
              <a:gd name="connsiteX19809" fmla="*/ 9575312 w 10505529"/>
              <a:gd name="connsiteY19809" fmla="*/ 4164409 h 7458372"/>
              <a:gd name="connsiteX19810" fmla="*/ 9583698 w 10505529"/>
              <a:gd name="connsiteY19810" fmla="*/ 4143376 h 7458372"/>
              <a:gd name="connsiteX19811" fmla="*/ 9605531 w 10505529"/>
              <a:gd name="connsiteY19811" fmla="*/ 4134724 h 7458372"/>
              <a:gd name="connsiteX19812" fmla="*/ 9387885 w 10505529"/>
              <a:gd name="connsiteY19812" fmla="*/ 4134724 h 7458372"/>
              <a:gd name="connsiteX19813" fmla="*/ 9399599 w 10505529"/>
              <a:gd name="connsiteY19813" fmla="*/ 4137253 h 7458372"/>
              <a:gd name="connsiteX19814" fmla="*/ 9408917 w 10505529"/>
              <a:gd name="connsiteY19814" fmla="*/ 4143643 h 7458372"/>
              <a:gd name="connsiteX19815" fmla="*/ 9415041 w 10505529"/>
              <a:gd name="connsiteY19815" fmla="*/ 4153094 h 7458372"/>
              <a:gd name="connsiteX19816" fmla="*/ 9417304 w 10505529"/>
              <a:gd name="connsiteY19816" fmla="*/ 4164542 h 7458372"/>
              <a:gd name="connsiteX19817" fmla="*/ 9415041 w 10505529"/>
              <a:gd name="connsiteY19817" fmla="*/ 4176257 h 7458372"/>
              <a:gd name="connsiteX19818" fmla="*/ 9408917 w 10505529"/>
              <a:gd name="connsiteY19818" fmla="*/ 4185576 h 7458372"/>
              <a:gd name="connsiteX19819" fmla="*/ 9399599 w 10505529"/>
              <a:gd name="connsiteY19819" fmla="*/ 4191832 h 7458372"/>
              <a:gd name="connsiteX19820" fmla="*/ 9387885 w 10505529"/>
              <a:gd name="connsiteY19820" fmla="*/ 4194095 h 7458372"/>
              <a:gd name="connsiteX19821" fmla="*/ 9366053 w 10505529"/>
              <a:gd name="connsiteY19821" fmla="*/ 4185576 h 7458372"/>
              <a:gd name="connsiteX19822" fmla="*/ 9357667 w 10505529"/>
              <a:gd name="connsiteY19822" fmla="*/ 4164409 h 7458372"/>
              <a:gd name="connsiteX19823" fmla="*/ 9366053 w 10505529"/>
              <a:gd name="connsiteY19823" fmla="*/ 4143376 h 7458372"/>
              <a:gd name="connsiteX19824" fmla="*/ 9387885 w 10505529"/>
              <a:gd name="connsiteY19824" fmla="*/ 4134724 h 7458372"/>
              <a:gd name="connsiteX19825" fmla="*/ 9170374 w 10505529"/>
              <a:gd name="connsiteY19825" fmla="*/ 4134724 h 7458372"/>
              <a:gd name="connsiteX19826" fmla="*/ 9182088 w 10505529"/>
              <a:gd name="connsiteY19826" fmla="*/ 4137253 h 7458372"/>
              <a:gd name="connsiteX19827" fmla="*/ 9191405 w 10505529"/>
              <a:gd name="connsiteY19827" fmla="*/ 4143643 h 7458372"/>
              <a:gd name="connsiteX19828" fmla="*/ 9197529 w 10505529"/>
              <a:gd name="connsiteY19828" fmla="*/ 4153094 h 7458372"/>
              <a:gd name="connsiteX19829" fmla="*/ 9199792 w 10505529"/>
              <a:gd name="connsiteY19829" fmla="*/ 4164542 h 7458372"/>
              <a:gd name="connsiteX19830" fmla="*/ 9197529 w 10505529"/>
              <a:gd name="connsiteY19830" fmla="*/ 4176257 h 7458372"/>
              <a:gd name="connsiteX19831" fmla="*/ 9191405 w 10505529"/>
              <a:gd name="connsiteY19831" fmla="*/ 4185576 h 7458372"/>
              <a:gd name="connsiteX19832" fmla="*/ 9182088 w 10505529"/>
              <a:gd name="connsiteY19832" fmla="*/ 4191832 h 7458372"/>
              <a:gd name="connsiteX19833" fmla="*/ 9170374 w 10505529"/>
              <a:gd name="connsiteY19833" fmla="*/ 4194095 h 7458372"/>
              <a:gd name="connsiteX19834" fmla="*/ 9148541 w 10505529"/>
              <a:gd name="connsiteY19834" fmla="*/ 4185576 h 7458372"/>
              <a:gd name="connsiteX19835" fmla="*/ 9140155 w 10505529"/>
              <a:gd name="connsiteY19835" fmla="*/ 4164409 h 7458372"/>
              <a:gd name="connsiteX19836" fmla="*/ 9148541 w 10505529"/>
              <a:gd name="connsiteY19836" fmla="*/ 4143376 h 7458372"/>
              <a:gd name="connsiteX19837" fmla="*/ 9170374 w 10505529"/>
              <a:gd name="connsiteY19837" fmla="*/ 4134724 h 7458372"/>
              <a:gd name="connsiteX19838" fmla="*/ 8952728 w 10505529"/>
              <a:gd name="connsiteY19838" fmla="*/ 4134724 h 7458372"/>
              <a:gd name="connsiteX19839" fmla="*/ 8964442 w 10505529"/>
              <a:gd name="connsiteY19839" fmla="*/ 4137253 h 7458372"/>
              <a:gd name="connsiteX19840" fmla="*/ 8973760 w 10505529"/>
              <a:gd name="connsiteY19840" fmla="*/ 4143643 h 7458372"/>
              <a:gd name="connsiteX19841" fmla="*/ 8979884 w 10505529"/>
              <a:gd name="connsiteY19841" fmla="*/ 4153094 h 7458372"/>
              <a:gd name="connsiteX19842" fmla="*/ 8982147 w 10505529"/>
              <a:gd name="connsiteY19842" fmla="*/ 4164542 h 7458372"/>
              <a:gd name="connsiteX19843" fmla="*/ 8979884 w 10505529"/>
              <a:gd name="connsiteY19843" fmla="*/ 4176257 h 7458372"/>
              <a:gd name="connsiteX19844" fmla="*/ 8973760 w 10505529"/>
              <a:gd name="connsiteY19844" fmla="*/ 4185576 h 7458372"/>
              <a:gd name="connsiteX19845" fmla="*/ 8964442 w 10505529"/>
              <a:gd name="connsiteY19845" fmla="*/ 4191832 h 7458372"/>
              <a:gd name="connsiteX19846" fmla="*/ 8952728 w 10505529"/>
              <a:gd name="connsiteY19846" fmla="*/ 4194095 h 7458372"/>
              <a:gd name="connsiteX19847" fmla="*/ 8930896 w 10505529"/>
              <a:gd name="connsiteY19847" fmla="*/ 4185576 h 7458372"/>
              <a:gd name="connsiteX19848" fmla="*/ 8922510 w 10505529"/>
              <a:gd name="connsiteY19848" fmla="*/ 4164409 h 7458372"/>
              <a:gd name="connsiteX19849" fmla="*/ 8930896 w 10505529"/>
              <a:gd name="connsiteY19849" fmla="*/ 4143376 h 7458372"/>
              <a:gd name="connsiteX19850" fmla="*/ 8952728 w 10505529"/>
              <a:gd name="connsiteY19850" fmla="*/ 4134724 h 7458372"/>
              <a:gd name="connsiteX19851" fmla="*/ 8735083 w 10505529"/>
              <a:gd name="connsiteY19851" fmla="*/ 4134724 h 7458372"/>
              <a:gd name="connsiteX19852" fmla="*/ 8746797 w 10505529"/>
              <a:gd name="connsiteY19852" fmla="*/ 4137253 h 7458372"/>
              <a:gd name="connsiteX19853" fmla="*/ 8756115 w 10505529"/>
              <a:gd name="connsiteY19853" fmla="*/ 4143643 h 7458372"/>
              <a:gd name="connsiteX19854" fmla="*/ 8762238 w 10505529"/>
              <a:gd name="connsiteY19854" fmla="*/ 4153094 h 7458372"/>
              <a:gd name="connsiteX19855" fmla="*/ 8764502 w 10505529"/>
              <a:gd name="connsiteY19855" fmla="*/ 4164542 h 7458372"/>
              <a:gd name="connsiteX19856" fmla="*/ 8762238 w 10505529"/>
              <a:gd name="connsiteY19856" fmla="*/ 4176257 h 7458372"/>
              <a:gd name="connsiteX19857" fmla="*/ 8756115 w 10505529"/>
              <a:gd name="connsiteY19857" fmla="*/ 4185576 h 7458372"/>
              <a:gd name="connsiteX19858" fmla="*/ 8746797 w 10505529"/>
              <a:gd name="connsiteY19858" fmla="*/ 4191832 h 7458372"/>
              <a:gd name="connsiteX19859" fmla="*/ 8735083 w 10505529"/>
              <a:gd name="connsiteY19859" fmla="*/ 4194095 h 7458372"/>
              <a:gd name="connsiteX19860" fmla="*/ 8713250 w 10505529"/>
              <a:gd name="connsiteY19860" fmla="*/ 4185576 h 7458372"/>
              <a:gd name="connsiteX19861" fmla="*/ 8704864 w 10505529"/>
              <a:gd name="connsiteY19861" fmla="*/ 4164409 h 7458372"/>
              <a:gd name="connsiteX19862" fmla="*/ 8713250 w 10505529"/>
              <a:gd name="connsiteY19862" fmla="*/ 4143376 h 7458372"/>
              <a:gd name="connsiteX19863" fmla="*/ 8735083 w 10505529"/>
              <a:gd name="connsiteY19863" fmla="*/ 4134724 h 7458372"/>
              <a:gd name="connsiteX19864" fmla="*/ 8517438 w 10505529"/>
              <a:gd name="connsiteY19864" fmla="*/ 4134724 h 7458372"/>
              <a:gd name="connsiteX19865" fmla="*/ 8529152 w 10505529"/>
              <a:gd name="connsiteY19865" fmla="*/ 4137253 h 7458372"/>
              <a:gd name="connsiteX19866" fmla="*/ 8538470 w 10505529"/>
              <a:gd name="connsiteY19866" fmla="*/ 4143643 h 7458372"/>
              <a:gd name="connsiteX19867" fmla="*/ 8544594 w 10505529"/>
              <a:gd name="connsiteY19867" fmla="*/ 4153094 h 7458372"/>
              <a:gd name="connsiteX19868" fmla="*/ 8546857 w 10505529"/>
              <a:gd name="connsiteY19868" fmla="*/ 4164542 h 7458372"/>
              <a:gd name="connsiteX19869" fmla="*/ 8544594 w 10505529"/>
              <a:gd name="connsiteY19869" fmla="*/ 4176257 h 7458372"/>
              <a:gd name="connsiteX19870" fmla="*/ 8538470 w 10505529"/>
              <a:gd name="connsiteY19870" fmla="*/ 4185576 h 7458372"/>
              <a:gd name="connsiteX19871" fmla="*/ 8529152 w 10505529"/>
              <a:gd name="connsiteY19871" fmla="*/ 4191832 h 7458372"/>
              <a:gd name="connsiteX19872" fmla="*/ 8517438 w 10505529"/>
              <a:gd name="connsiteY19872" fmla="*/ 4194095 h 7458372"/>
              <a:gd name="connsiteX19873" fmla="*/ 8495606 w 10505529"/>
              <a:gd name="connsiteY19873" fmla="*/ 4185576 h 7458372"/>
              <a:gd name="connsiteX19874" fmla="*/ 8487220 w 10505529"/>
              <a:gd name="connsiteY19874" fmla="*/ 4164409 h 7458372"/>
              <a:gd name="connsiteX19875" fmla="*/ 8495606 w 10505529"/>
              <a:gd name="connsiteY19875" fmla="*/ 4143376 h 7458372"/>
              <a:gd name="connsiteX19876" fmla="*/ 8517438 w 10505529"/>
              <a:gd name="connsiteY19876" fmla="*/ 4134724 h 7458372"/>
              <a:gd name="connsiteX19877" fmla="*/ 8299793 w 10505529"/>
              <a:gd name="connsiteY19877" fmla="*/ 4134724 h 7458372"/>
              <a:gd name="connsiteX19878" fmla="*/ 8311507 w 10505529"/>
              <a:gd name="connsiteY19878" fmla="*/ 4137253 h 7458372"/>
              <a:gd name="connsiteX19879" fmla="*/ 8320825 w 10505529"/>
              <a:gd name="connsiteY19879" fmla="*/ 4143643 h 7458372"/>
              <a:gd name="connsiteX19880" fmla="*/ 8326948 w 10505529"/>
              <a:gd name="connsiteY19880" fmla="*/ 4153094 h 7458372"/>
              <a:gd name="connsiteX19881" fmla="*/ 8329212 w 10505529"/>
              <a:gd name="connsiteY19881" fmla="*/ 4164542 h 7458372"/>
              <a:gd name="connsiteX19882" fmla="*/ 8326948 w 10505529"/>
              <a:gd name="connsiteY19882" fmla="*/ 4176257 h 7458372"/>
              <a:gd name="connsiteX19883" fmla="*/ 8320825 w 10505529"/>
              <a:gd name="connsiteY19883" fmla="*/ 4185576 h 7458372"/>
              <a:gd name="connsiteX19884" fmla="*/ 8311507 w 10505529"/>
              <a:gd name="connsiteY19884" fmla="*/ 4191832 h 7458372"/>
              <a:gd name="connsiteX19885" fmla="*/ 8299793 w 10505529"/>
              <a:gd name="connsiteY19885" fmla="*/ 4194095 h 7458372"/>
              <a:gd name="connsiteX19886" fmla="*/ 8277960 w 10505529"/>
              <a:gd name="connsiteY19886" fmla="*/ 4185576 h 7458372"/>
              <a:gd name="connsiteX19887" fmla="*/ 8269574 w 10505529"/>
              <a:gd name="connsiteY19887" fmla="*/ 4164409 h 7458372"/>
              <a:gd name="connsiteX19888" fmla="*/ 8277960 w 10505529"/>
              <a:gd name="connsiteY19888" fmla="*/ 4143376 h 7458372"/>
              <a:gd name="connsiteX19889" fmla="*/ 8299793 w 10505529"/>
              <a:gd name="connsiteY19889" fmla="*/ 4134724 h 7458372"/>
              <a:gd name="connsiteX19890" fmla="*/ 8082281 w 10505529"/>
              <a:gd name="connsiteY19890" fmla="*/ 4134724 h 7458372"/>
              <a:gd name="connsiteX19891" fmla="*/ 8094127 w 10505529"/>
              <a:gd name="connsiteY19891" fmla="*/ 4137253 h 7458372"/>
              <a:gd name="connsiteX19892" fmla="*/ 8103446 w 10505529"/>
              <a:gd name="connsiteY19892" fmla="*/ 4143643 h 7458372"/>
              <a:gd name="connsiteX19893" fmla="*/ 8109569 w 10505529"/>
              <a:gd name="connsiteY19893" fmla="*/ 4153094 h 7458372"/>
              <a:gd name="connsiteX19894" fmla="*/ 8111832 w 10505529"/>
              <a:gd name="connsiteY19894" fmla="*/ 4164542 h 7458372"/>
              <a:gd name="connsiteX19895" fmla="*/ 8109569 w 10505529"/>
              <a:gd name="connsiteY19895" fmla="*/ 4176257 h 7458372"/>
              <a:gd name="connsiteX19896" fmla="*/ 8103446 w 10505529"/>
              <a:gd name="connsiteY19896" fmla="*/ 4185576 h 7458372"/>
              <a:gd name="connsiteX19897" fmla="*/ 8094127 w 10505529"/>
              <a:gd name="connsiteY19897" fmla="*/ 4191832 h 7458372"/>
              <a:gd name="connsiteX19898" fmla="*/ 8082281 w 10505529"/>
              <a:gd name="connsiteY19898" fmla="*/ 4194095 h 7458372"/>
              <a:gd name="connsiteX19899" fmla="*/ 8060448 w 10505529"/>
              <a:gd name="connsiteY19899" fmla="*/ 4185576 h 7458372"/>
              <a:gd name="connsiteX19900" fmla="*/ 8052062 w 10505529"/>
              <a:gd name="connsiteY19900" fmla="*/ 4164409 h 7458372"/>
              <a:gd name="connsiteX19901" fmla="*/ 8060448 w 10505529"/>
              <a:gd name="connsiteY19901" fmla="*/ 4143376 h 7458372"/>
              <a:gd name="connsiteX19902" fmla="*/ 8082281 w 10505529"/>
              <a:gd name="connsiteY19902" fmla="*/ 4134724 h 7458372"/>
              <a:gd name="connsiteX19903" fmla="*/ 7864636 w 10505529"/>
              <a:gd name="connsiteY19903" fmla="*/ 4134724 h 7458372"/>
              <a:gd name="connsiteX19904" fmla="*/ 7876483 w 10505529"/>
              <a:gd name="connsiteY19904" fmla="*/ 4137253 h 7458372"/>
              <a:gd name="connsiteX19905" fmla="*/ 7885802 w 10505529"/>
              <a:gd name="connsiteY19905" fmla="*/ 4143643 h 7458372"/>
              <a:gd name="connsiteX19906" fmla="*/ 7891924 w 10505529"/>
              <a:gd name="connsiteY19906" fmla="*/ 4153094 h 7458372"/>
              <a:gd name="connsiteX19907" fmla="*/ 7894188 w 10505529"/>
              <a:gd name="connsiteY19907" fmla="*/ 4164542 h 7458372"/>
              <a:gd name="connsiteX19908" fmla="*/ 7891924 w 10505529"/>
              <a:gd name="connsiteY19908" fmla="*/ 4176257 h 7458372"/>
              <a:gd name="connsiteX19909" fmla="*/ 7885802 w 10505529"/>
              <a:gd name="connsiteY19909" fmla="*/ 4185576 h 7458372"/>
              <a:gd name="connsiteX19910" fmla="*/ 7876483 w 10505529"/>
              <a:gd name="connsiteY19910" fmla="*/ 4191832 h 7458372"/>
              <a:gd name="connsiteX19911" fmla="*/ 7864636 w 10505529"/>
              <a:gd name="connsiteY19911" fmla="*/ 4194095 h 7458372"/>
              <a:gd name="connsiteX19912" fmla="*/ 7842803 w 10505529"/>
              <a:gd name="connsiteY19912" fmla="*/ 4185576 h 7458372"/>
              <a:gd name="connsiteX19913" fmla="*/ 7834417 w 10505529"/>
              <a:gd name="connsiteY19913" fmla="*/ 4164409 h 7458372"/>
              <a:gd name="connsiteX19914" fmla="*/ 7842803 w 10505529"/>
              <a:gd name="connsiteY19914" fmla="*/ 4143376 h 7458372"/>
              <a:gd name="connsiteX19915" fmla="*/ 7864636 w 10505529"/>
              <a:gd name="connsiteY19915" fmla="*/ 4134724 h 7458372"/>
              <a:gd name="connsiteX19916" fmla="*/ 7646991 w 10505529"/>
              <a:gd name="connsiteY19916" fmla="*/ 4134724 h 7458372"/>
              <a:gd name="connsiteX19917" fmla="*/ 7658705 w 10505529"/>
              <a:gd name="connsiteY19917" fmla="*/ 4137253 h 7458372"/>
              <a:gd name="connsiteX19918" fmla="*/ 7668022 w 10505529"/>
              <a:gd name="connsiteY19918" fmla="*/ 4143643 h 7458372"/>
              <a:gd name="connsiteX19919" fmla="*/ 7674146 w 10505529"/>
              <a:gd name="connsiteY19919" fmla="*/ 4153094 h 7458372"/>
              <a:gd name="connsiteX19920" fmla="*/ 7676409 w 10505529"/>
              <a:gd name="connsiteY19920" fmla="*/ 4164542 h 7458372"/>
              <a:gd name="connsiteX19921" fmla="*/ 7674146 w 10505529"/>
              <a:gd name="connsiteY19921" fmla="*/ 4176257 h 7458372"/>
              <a:gd name="connsiteX19922" fmla="*/ 7668022 w 10505529"/>
              <a:gd name="connsiteY19922" fmla="*/ 4185576 h 7458372"/>
              <a:gd name="connsiteX19923" fmla="*/ 7658705 w 10505529"/>
              <a:gd name="connsiteY19923" fmla="*/ 4191832 h 7458372"/>
              <a:gd name="connsiteX19924" fmla="*/ 7646991 w 10505529"/>
              <a:gd name="connsiteY19924" fmla="*/ 4194095 h 7458372"/>
              <a:gd name="connsiteX19925" fmla="*/ 7625158 w 10505529"/>
              <a:gd name="connsiteY19925" fmla="*/ 4185576 h 7458372"/>
              <a:gd name="connsiteX19926" fmla="*/ 7616772 w 10505529"/>
              <a:gd name="connsiteY19926" fmla="*/ 4164409 h 7458372"/>
              <a:gd name="connsiteX19927" fmla="*/ 7625158 w 10505529"/>
              <a:gd name="connsiteY19927" fmla="*/ 4143376 h 7458372"/>
              <a:gd name="connsiteX19928" fmla="*/ 7646991 w 10505529"/>
              <a:gd name="connsiteY19928" fmla="*/ 4134724 h 7458372"/>
              <a:gd name="connsiteX19929" fmla="*/ 7429345 w 10505529"/>
              <a:gd name="connsiteY19929" fmla="*/ 4134724 h 7458372"/>
              <a:gd name="connsiteX19930" fmla="*/ 7441059 w 10505529"/>
              <a:gd name="connsiteY19930" fmla="*/ 4137253 h 7458372"/>
              <a:gd name="connsiteX19931" fmla="*/ 7450377 w 10505529"/>
              <a:gd name="connsiteY19931" fmla="*/ 4143643 h 7458372"/>
              <a:gd name="connsiteX19932" fmla="*/ 7456501 w 10505529"/>
              <a:gd name="connsiteY19932" fmla="*/ 4153094 h 7458372"/>
              <a:gd name="connsiteX19933" fmla="*/ 7458764 w 10505529"/>
              <a:gd name="connsiteY19933" fmla="*/ 4164542 h 7458372"/>
              <a:gd name="connsiteX19934" fmla="*/ 7456501 w 10505529"/>
              <a:gd name="connsiteY19934" fmla="*/ 4176257 h 7458372"/>
              <a:gd name="connsiteX19935" fmla="*/ 7450377 w 10505529"/>
              <a:gd name="connsiteY19935" fmla="*/ 4185576 h 7458372"/>
              <a:gd name="connsiteX19936" fmla="*/ 7441059 w 10505529"/>
              <a:gd name="connsiteY19936" fmla="*/ 4191832 h 7458372"/>
              <a:gd name="connsiteX19937" fmla="*/ 7429345 w 10505529"/>
              <a:gd name="connsiteY19937" fmla="*/ 4194095 h 7458372"/>
              <a:gd name="connsiteX19938" fmla="*/ 7407513 w 10505529"/>
              <a:gd name="connsiteY19938" fmla="*/ 4185576 h 7458372"/>
              <a:gd name="connsiteX19939" fmla="*/ 7399127 w 10505529"/>
              <a:gd name="connsiteY19939" fmla="*/ 4164409 h 7458372"/>
              <a:gd name="connsiteX19940" fmla="*/ 7407513 w 10505529"/>
              <a:gd name="connsiteY19940" fmla="*/ 4143376 h 7458372"/>
              <a:gd name="connsiteX19941" fmla="*/ 7429345 w 10505529"/>
              <a:gd name="connsiteY19941" fmla="*/ 4134724 h 7458372"/>
              <a:gd name="connsiteX19942" fmla="*/ 7211701 w 10505529"/>
              <a:gd name="connsiteY19942" fmla="*/ 4134724 h 7458372"/>
              <a:gd name="connsiteX19943" fmla="*/ 7223415 w 10505529"/>
              <a:gd name="connsiteY19943" fmla="*/ 4137253 h 7458372"/>
              <a:gd name="connsiteX19944" fmla="*/ 7232733 w 10505529"/>
              <a:gd name="connsiteY19944" fmla="*/ 4143643 h 7458372"/>
              <a:gd name="connsiteX19945" fmla="*/ 7238856 w 10505529"/>
              <a:gd name="connsiteY19945" fmla="*/ 4153094 h 7458372"/>
              <a:gd name="connsiteX19946" fmla="*/ 7241120 w 10505529"/>
              <a:gd name="connsiteY19946" fmla="*/ 4164542 h 7458372"/>
              <a:gd name="connsiteX19947" fmla="*/ 7238856 w 10505529"/>
              <a:gd name="connsiteY19947" fmla="*/ 4176257 h 7458372"/>
              <a:gd name="connsiteX19948" fmla="*/ 7232733 w 10505529"/>
              <a:gd name="connsiteY19948" fmla="*/ 4185576 h 7458372"/>
              <a:gd name="connsiteX19949" fmla="*/ 7223415 w 10505529"/>
              <a:gd name="connsiteY19949" fmla="*/ 4191832 h 7458372"/>
              <a:gd name="connsiteX19950" fmla="*/ 7211701 w 10505529"/>
              <a:gd name="connsiteY19950" fmla="*/ 4194095 h 7458372"/>
              <a:gd name="connsiteX19951" fmla="*/ 7189868 w 10505529"/>
              <a:gd name="connsiteY19951" fmla="*/ 4185576 h 7458372"/>
              <a:gd name="connsiteX19952" fmla="*/ 7181482 w 10505529"/>
              <a:gd name="connsiteY19952" fmla="*/ 4164409 h 7458372"/>
              <a:gd name="connsiteX19953" fmla="*/ 7189868 w 10505529"/>
              <a:gd name="connsiteY19953" fmla="*/ 4143376 h 7458372"/>
              <a:gd name="connsiteX19954" fmla="*/ 7211701 w 10505529"/>
              <a:gd name="connsiteY19954" fmla="*/ 4134724 h 7458372"/>
              <a:gd name="connsiteX19955" fmla="*/ 6994056 w 10505529"/>
              <a:gd name="connsiteY19955" fmla="*/ 4134724 h 7458372"/>
              <a:gd name="connsiteX19956" fmla="*/ 7005769 w 10505529"/>
              <a:gd name="connsiteY19956" fmla="*/ 4137253 h 7458372"/>
              <a:gd name="connsiteX19957" fmla="*/ 7015087 w 10505529"/>
              <a:gd name="connsiteY19957" fmla="*/ 4143643 h 7458372"/>
              <a:gd name="connsiteX19958" fmla="*/ 7021211 w 10505529"/>
              <a:gd name="connsiteY19958" fmla="*/ 4153094 h 7458372"/>
              <a:gd name="connsiteX19959" fmla="*/ 7023474 w 10505529"/>
              <a:gd name="connsiteY19959" fmla="*/ 4164542 h 7458372"/>
              <a:gd name="connsiteX19960" fmla="*/ 7021211 w 10505529"/>
              <a:gd name="connsiteY19960" fmla="*/ 4176257 h 7458372"/>
              <a:gd name="connsiteX19961" fmla="*/ 7015087 w 10505529"/>
              <a:gd name="connsiteY19961" fmla="*/ 4185576 h 7458372"/>
              <a:gd name="connsiteX19962" fmla="*/ 7005769 w 10505529"/>
              <a:gd name="connsiteY19962" fmla="*/ 4191832 h 7458372"/>
              <a:gd name="connsiteX19963" fmla="*/ 6994056 w 10505529"/>
              <a:gd name="connsiteY19963" fmla="*/ 4194095 h 7458372"/>
              <a:gd name="connsiteX19964" fmla="*/ 6972223 w 10505529"/>
              <a:gd name="connsiteY19964" fmla="*/ 4185576 h 7458372"/>
              <a:gd name="connsiteX19965" fmla="*/ 6963837 w 10505529"/>
              <a:gd name="connsiteY19965" fmla="*/ 4164409 h 7458372"/>
              <a:gd name="connsiteX19966" fmla="*/ 6972223 w 10505529"/>
              <a:gd name="connsiteY19966" fmla="*/ 4143376 h 7458372"/>
              <a:gd name="connsiteX19967" fmla="*/ 6994056 w 10505529"/>
              <a:gd name="connsiteY19967" fmla="*/ 4134724 h 7458372"/>
              <a:gd name="connsiteX19968" fmla="*/ 6776544 w 10505529"/>
              <a:gd name="connsiteY19968" fmla="*/ 4134724 h 7458372"/>
              <a:gd name="connsiteX19969" fmla="*/ 6788258 w 10505529"/>
              <a:gd name="connsiteY19969" fmla="*/ 4137253 h 7458372"/>
              <a:gd name="connsiteX19970" fmla="*/ 6797576 w 10505529"/>
              <a:gd name="connsiteY19970" fmla="*/ 4143643 h 7458372"/>
              <a:gd name="connsiteX19971" fmla="*/ 6803699 w 10505529"/>
              <a:gd name="connsiteY19971" fmla="*/ 4153094 h 7458372"/>
              <a:gd name="connsiteX19972" fmla="*/ 6805963 w 10505529"/>
              <a:gd name="connsiteY19972" fmla="*/ 4164542 h 7458372"/>
              <a:gd name="connsiteX19973" fmla="*/ 6803699 w 10505529"/>
              <a:gd name="connsiteY19973" fmla="*/ 4176257 h 7458372"/>
              <a:gd name="connsiteX19974" fmla="*/ 6797576 w 10505529"/>
              <a:gd name="connsiteY19974" fmla="*/ 4185576 h 7458372"/>
              <a:gd name="connsiteX19975" fmla="*/ 6788258 w 10505529"/>
              <a:gd name="connsiteY19975" fmla="*/ 4191832 h 7458372"/>
              <a:gd name="connsiteX19976" fmla="*/ 6776544 w 10505529"/>
              <a:gd name="connsiteY19976" fmla="*/ 4194095 h 7458372"/>
              <a:gd name="connsiteX19977" fmla="*/ 6754711 w 10505529"/>
              <a:gd name="connsiteY19977" fmla="*/ 4185576 h 7458372"/>
              <a:gd name="connsiteX19978" fmla="*/ 6746325 w 10505529"/>
              <a:gd name="connsiteY19978" fmla="*/ 4164409 h 7458372"/>
              <a:gd name="connsiteX19979" fmla="*/ 6754711 w 10505529"/>
              <a:gd name="connsiteY19979" fmla="*/ 4143376 h 7458372"/>
              <a:gd name="connsiteX19980" fmla="*/ 6776544 w 10505529"/>
              <a:gd name="connsiteY19980" fmla="*/ 4134724 h 7458372"/>
              <a:gd name="connsiteX19981" fmla="*/ 6558899 w 10505529"/>
              <a:gd name="connsiteY19981" fmla="*/ 4134724 h 7458372"/>
              <a:gd name="connsiteX19982" fmla="*/ 6570612 w 10505529"/>
              <a:gd name="connsiteY19982" fmla="*/ 4137253 h 7458372"/>
              <a:gd name="connsiteX19983" fmla="*/ 6579930 w 10505529"/>
              <a:gd name="connsiteY19983" fmla="*/ 4143643 h 7458372"/>
              <a:gd name="connsiteX19984" fmla="*/ 6586054 w 10505529"/>
              <a:gd name="connsiteY19984" fmla="*/ 4153094 h 7458372"/>
              <a:gd name="connsiteX19985" fmla="*/ 6588317 w 10505529"/>
              <a:gd name="connsiteY19985" fmla="*/ 4164542 h 7458372"/>
              <a:gd name="connsiteX19986" fmla="*/ 6586054 w 10505529"/>
              <a:gd name="connsiteY19986" fmla="*/ 4176257 h 7458372"/>
              <a:gd name="connsiteX19987" fmla="*/ 6579930 w 10505529"/>
              <a:gd name="connsiteY19987" fmla="*/ 4185576 h 7458372"/>
              <a:gd name="connsiteX19988" fmla="*/ 6570612 w 10505529"/>
              <a:gd name="connsiteY19988" fmla="*/ 4191832 h 7458372"/>
              <a:gd name="connsiteX19989" fmla="*/ 6558899 w 10505529"/>
              <a:gd name="connsiteY19989" fmla="*/ 4194095 h 7458372"/>
              <a:gd name="connsiteX19990" fmla="*/ 6537066 w 10505529"/>
              <a:gd name="connsiteY19990" fmla="*/ 4185576 h 7458372"/>
              <a:gd name="connsiteX19991" fmla="*/ 6528680 w 10505529"/>
              <a:gd name="connsiteY19991" fmla="*/ 4164409 h 7458372"/>
              <a:gd name="connsiteX19992" fmla="*/ 6537066 w 10505529"/>
              <a:gd name="connsiteY19992" fmla="*/ 4143376 h 7458372"/>
              <a:gd name="connsiteX19993" fmla="*/ 6558899 w 10505529"/>
              <a:gd name="connsiteY19993" fmla="*/ 4134724 h 7458372"/>
              <a:gd name="connsiteX19994" fmla="*/ 6341253 w 10505529"/>
              <a:gd name="connsiteY19994" fmla="*/ 4134724 h 7458372"/>
              <a:gd name="connsiteX19995" fmla="*/ 6352968 w 10505529"/>
              <a:gd name="connsiteY19995" fmla="*/ 4137253 h 7458372"/>
              <a:gd name="connsiteX19996" fmla="*/ 6362286 w 10505529"/>
              <a:gd name="connsiteY19996" fmla="*/ 4143643 h 7458372"/>
              <a:gd name="connsiteX19997" fmla="*/ 6368409 w 10505529"/>
              <a:gd name="connsiteY19997" fmla="*/ 4153094 h 7458372"/>
              <a:gd name="connsiteX19998" fmla="*/ 6370672 w 10505529"/>
              <a:gd name="connsiteY19998" fmla="*/ 4164542 h 7458372"/>
              <a:gd name="connsiteX19999" fmla="*/ 6368409 w 10505529"/>
              <a:gd name="connsiteY19999" fmla="*/ 4176257 h 7458372"/>
              <a:gd name="connsiteX20000" fmla="*/ 6362286 w 10505529"/>
              <a:gd name="connsiteY20000" fmla="*/ 4185576 h 7458372"/>
              <a:gd name="connsiteX20001" fmla="*/ 6352968 w 10505529"/>
              <a:gd name="connsiteY20001" fmla="*/ 4191832 h 7458372"/>
              <a:gd name="connsiteX20002" fmla="*/ 6341253 w 10505529"/>
              <a:gd name="connsiteY20002" fmla="*/ 4194095 h 7458372"/>
              <a:gd name="connsiteX20003" fmla="*/ 6319421 w 10505529"/>
              <a:gd name="connsiteY20003" fmla="*/ 4185576 h 7458372"/>
              <a:gd name="connsiteX20004" fmla="*/ 6311035 w 10505529"/>
              <a:gd name="connsiteY20004" fmla="*/ 4164409 h 7458372"/>
              <a:gd name="connsiteX20005" fmla="*/ 6319421 w 10505529"/>
              <a:gd name="connsiteY20005" fmla="*/ 4143376 h 7458372"/>
              <a:gd name="connsiteX20006" fmla="*/ 6341253 w 10505529"/>
              <a:gd name="connsiteY20006" fmla="*/ 4134724 h 7458372"/>
              <a:gd name="connsiteX20007" fmla="*/ 6123608 w 10505529"/>
              <a:gd name="connsiteY20007" fmla="*/ 4134724 h 7458372"/>
              <a:gd name="connsiteX20008" fmla="*/ 6135322 w 10505529"/>
              <a:gd name="connsiteY20008" fmla="*/ 4137253 h 7458372"/>
              <a:gd name="connsiteX20009" fmla="*/ 6144640 w 10505529"/>
              <a:gd name="connsiteY20009" fmla="*/ 4143643 h 7458372"/>
              <a:gd name="connsiteX20010" fmla="*/ 6150763 w 10505529"/>
              <a:gd name="connsiteY20010" fmla="*/ 4153094 h 7458372"/>
              <a:gd name="connsiteX20011" fmla="*/ 6153026 w 10505529"/>
              <a:gd name="connsiteY20011" fmla="*/ 4164542 h 7458372"/>
              <a:gd name="connsiteX20012" fmla="*/ 6150763 w 10505529"/>
              <a:gd name="connsiteY20012" fmla="*/ 4176257 h 7458372"/>
              <a:gd name="connsiteX20013" fmla="*/ 6144640 w 10505529"/>
              <a:gd name="connsiteY20013" fmla="*/ 4185576 h 7458372"/>
              <a:gd name="connsiteX20014" fmla="*/ 6135322 w 10505529"/>
              <a:gd name="connsiteY20014" fmla="*/ 4191832 h 7458372"/>
              <a:gd name="connsiteX20015" fmla="*/ 6123608 w 10505529"/>
              <a:gd name="connsiteY20015" fmla="*/ 4194095 h 7458372"/>
              <a:gd name="connsiteX20016" fmla="*/ 6101775 w 10505529"/>
              <a:gd name="connsiteY20016" fmla="*/ 4185576 h 7458372"/>
              <a:gd name="connsiteX20017" fmla="*/ 6093389 w 10505529"/>
              <a:gd name="connsiteY20017" fmla="*/ 4164409 h 7458372"/>
              <a:gd name="connsiteX20018" fmla="*/ 6101775 w 10505529"/>
              <a:gd name="connsiteY20018" fmla="*/ 4143376 h 7458372"/>
              <a:gd name="connsiteX20019" fmla="*/ 6123608 w 10505529"/>
              <a:gd name="connsiteY20019" fmla="*/ 4134724 h 7458372"/>
              <a:gd name="connsiteX20020" fmla="*/ 5905963 w 10505529"/>
              <a:gd name="connsiteY20020" fmla="*/ 4134724 h 7458372"/>
              <a:gd name="connsiteX20021" fmla="*/ 5917677 w 10505529"/>
              <a:gd name="connsiteY20021" fmla="*/ 4137253 h 7458372"/>
              <a:gd name="connsiteX20022" fmla="*/ 5926995 w 10505529"/>
              <a:gd name="connsiteY20022" fmla="*/ 4143643 h 7458372"/>
              <a:gd name="connsiteX20023" fmla="*/ 5933118 w 10505529"/>
              <a:gd name="connsiteY20023" fmla="*/ 4153094 h 7458372"/>
              <a:gd name="connsiteX20024" fmla="*/ 5935381 w 10505529"/>
              <a:gd name="connsiteY20024" fmla="*/ 4164542 h 7458372"/>
              <a:gd name="connsiteX20025" fmla="*/ 5933118 w 10505529"/>
              <a:gd name="connsiteY20025" fmla="*/ 4176257 h 7458372"/>
              <a:gd name="connsiteX20026" fmla="*/ 5926995 w 10505529"/>
              <a:gd name="connsiteY20026" fmla="*/ 4185576 h 7458372"/>
              <a:gd name="connsiteX20027" fmla="*/ 5917677 w 10505529"/>
              <a:gd name="connsiteY20027" fmla="*/ 4191832 h 7458372"/>
              <a:gd name="connsiteX20028" fmla="*/ 5905963 w 10505529"/>
              <a:gd name="connsiteY20028" fmla="*/ 4194095 h 7458372"/>
              <a:gd name="connsiteX20029" fmla="*/ 5884130 w 10505529"/>
              <a:gd name="connsiteY20029" fmla="*/ 4185576 h 7458372"/>
              <a:gd name="connsiteX20030" fmla="*/ 5875744 w 10505529"/>
              <a:gd name="connsiteY20030" fmla="*/ 4164409 h 7458372"/>
              <a:gd name="connsiteX20031" fmla="*/ 5884130 w 10505529"/>
              <a:gd name="connsiteY20031" fmla="*/ 4143376 h 7458372"/>
              <a:gd name="connsiteX20032" fmla="*/ 5905963 w 10505529"/>
              <a:gd name="connsiteY20032" fmla="*/ 4134724 h 7458372"/>
              <a:gd name="connsiteX20033" fmla="*/ 5688451 w 10505529"/>
              <a:gd name="connsiteY20033" fmla="*/ 4134724 h 7458372"/>
              <a:gd name="connsiteX20034" fmla="*/ 5700165 w 10505529"/>
              <a:gd name="connsiteY20034" fmla="*/ 4137253 h 7458372"/>
              <a:gd name="connsiteX20035" fmla="*/ 5709483 w 10505529"/>
              <a:gd name="connsiteY20035" fmla="*/ 4143643 h 7458372"/>
              <a:gd name="connsiteX20036" fmla="*/ 5715606 w 10505529"/>
              <a:gd name="connsiteY20036" fmla="*/ 4153094 h 7458372"/>
              <a:gd name="connsiteX20037" fmla="*/ 5717869 w 10505529"/>
              <a:gd name="connsiteY20037" fmla="*/ 4164542 h 7458372"/>
              <a:gd name="connsiteX20038" fmla="*/ 5715606 w 10505529"/>
              <a:gd name="connsiteY20038" fmla="*/ 4176257 h 7458372"/>
              <a:gd name="connsiteX20039" fmla="*/ 5709483 w 10505529"/>
              <a:gd name="connsiteY20039" fmla="*/ 4185576 h 7458372"/>
              <a:gd name="connsiteX20040" fmla="*/ 5700165 w 10505529"/>
              <a:gd name="connsiteY20040" fmla="*/ 4191832 h 7458372"/>
              <a:gd name="connsiteX20041" fmla="*/ 5688451 w 10505529"/>
              <a:gd name="connsiteY20041" fmla="*/ 4194095 h 7458372"/>
              <a:gd name="connsiteX20042" fmla="*/ 5666618 w 10505529"/>
              <a:gd name="connsiteY20042" fmla="*/ 4185576 h 7458372"/>
              <a:gd name="connsiteX20043" fmla="*/ 5658232 w 10505529"/>
              <a:gd name="connsiteY20043" fmla="*/ 4164409 h 7458372"/>
              <a:gd name="connsiteX20044" fmla="*/ 5666618 w 10505529"/>
              <a:gd name="connsiteY20044" fmla="*/ 4143376 h 7458372"/>
              <a:gd name="connsiteX20045" fmla="*/ 5688451 w 10505529"/>
              <a:gd name="connsiteY20045" fmla="*/ 4134724 h 7458372"/>
              <a:gd name="connsiteX20046" fmla="*/ 5470806 w 10505529"/>
              <a:gd name="connsiteY20046" fmla="*/ 4134724 h 7458372"/>
              <a:gd name="connsiteX20047" fmla="*/ 5482520 w 10505529"/>
              <a:gd name="connsiteY20047" fmla="*/ 4137253 h 7458372"/>
              <a:gd name="connsiteX20048" fmla="*/ 5491838 w 10505529"/>
              <a:gd name="connsiteY20048" fmla="*/ 4143643 h 7458372"/>
              <a:gd name="connsiteX20049" fmla="*/ 5497961 w 10505529"/>
              <a:gd name="connsiteY20049" fmla="*/ 4153094 h 7458372"/>
              <a:gd name="connsiteX20050" fmla="*/ 5500224 w 10505529"/>
              <a:gd name="connsiteY20050" fmla="*/ 4164542 h 7458372"/>
              <a:gd name="connsiteX20051" fmla="*/ 5497961 w 10505529"/>
              <a:gd name="connsiteY20051" fmla="*/ 4176257 h 7458372"/>
              <a:gd name="connsiteX20052" fmla="*/ 5491838 w 10505529"/>
              <a:gd name="connsiteY20052" fmla="*/ 4185576 h 7458372"/>
              <a:gd name="connsiteX20053" fmla="*/ 5482520 w 10505529"/>
              <a:gd name="connsiteY20053" fmla="*/ 4191832 h 7458372"/>
              <a:gd name="connsiteX20054" fmla="*/ 5470806 w 10505529"/>
              <a:gd name="connsiteY20054" fmla="*/ 4194095 h 7458372"/>
              <a:gd name="connsiteX20055" fmla="*/ 5448973 w 10505529"/>
              <a:gd name="connsiteY20055" fmla="*/ 4185576 h 7458372"/>
              <a:gd name="connsiteX20056" fmla="*/ 5440587 w 10505529"/>
              <a:gd name="connsiteY20056" fmla="*/ 4164409 h 7458372"/>
              <a:gd name="connsiteX20057" fmla="*/ 5448973 w 10505529"/>
              <a:gd name="connsiteY20057" fmla="*/ 4143376 h 7458372"/>
              <a:gd name="connsiteX20058" fmla="*/ 5470806 w 10505529"/>
              <a:gd name="connsiteY20058" fmla="*/ 4134724 h 7458372"/>
              <a:gd name="connsiteX20059" fmla="*/ 5253160 w 10505529"/>
              <a:gd name="connsiteY20059" fmla="*/ 4134724 h 7458372"/>
              <a:gd name="connsiteX20060" fmla="*/ 5264875 w 10505529"/>
              <a:gd name="connsiteY20060" fmla="*/ 4137253 h 7458372"/>
              <a:gd name="connsiteX20061" fmla="*/ 5274192 w 10505529"/>
              <a:gd name="connsiteY20061" fmla="*/ 4143643 h 7458372"/>
              <a:gd name="connsiteX20062" fmla="*/ 5280316 w 10505529"/>
              <a:gd name="connsiteY20062" fmla="*/ 4153094 h 7458372"/>
              <a:gd name="connsiteX20063" fmla="*/ 5282579 w 10505529"/>
              <a:gd name="connsiteY20063" fmla="*/ 4164542 h 7458372"/>
              <a:gd name="connsiteX20064" fmla="*/ 5280316 w 10505529"/>
              <a:gd name="connsiteY20064" fmla="*/ 4176257 h 7458372"/>
              <a:gd name="connsiteX20065" fmla="*/ 5274192 w 10505529"/>
              <a:gd name="connsiteY20065" fmla="*/ 4185576 h 7458372"/>
              <a:gd name="connsiteX20066" fmla="*/ 5264875 w 10505529"/>
              <a:gd name="connsiteY20066" fmla="*/ 4191832 h 7458372"/>
              <a:gd name="connsiteX20067" fmla="*/ 5253160 w 10505529"/>
              <a:gd name="connsiteY20067" fmla="*/ 4194095 h 7458372"/>
              <a:gd name="connsiteX20068" fmla="*/ 5231328 w 10505529"/>
              <a:gd name="connsiteY20068" fmla="*/ 4185576 h 7458372"/>
              <a:gd name="connsiteX20069" fmla="*/ 5222942 w 10505529"/>
              <a:gd name="connsiteY20069" fmla="*/ 4164409 h 7458372"/>
              <a:gd name="connsiteX20070" fmla="*/ 5231328 w 10505529"/>
              <a:gd name="connsiteY20070" fmla="*/ 4143376 h 7458372"/>
              <a:gd name="connsiteX20071" fmla="*/ 5253160 w 10505529"/>
              <a:gd name="connsiteY20071" fmla="*/ 4134724 h 7458372"/>
              <a:gd name="connsiteX20072" fmla="*/ 5035515 w 10505529"/>
              <a:gd name="connsiteY20072" fmla="*/ 4134724 h 7458372"/>
              <a:gd name="connsiteX20073" fmla="*/ 5047230 w 10505529"/>
              <a:gd name="connsiteY20073" fmla="*/ 4137253 h 7458372"/>
              <a:gd name="connsiteX20074" fmla="*/ 5056548 w 10505529"/>
              <a:gd name="connsiteY20074" fmla="*/ 4143643 h 7458372"/>
              <a:gd name="connsiteX20075" fmla="*/ 5062671 w 10505529"/>
              <a:gd name="connsiteY20075" fmla="*/ 4153094 h 7458372"/>
              <a:gd name="connsiteX20076" fmla="*/ 5064934 w 10505529"/>
              <a:gd name="connsiteY20076" fmla="*/ 4164542 h 7458372"/>
              <a:gd name="connsiteX20077" fmla="*/ 5062671 w 10505529"/>
              <a:gd name="connsiteY20077" fmla="*/ 4176257 h 7458372"/>
              <a:gd name="connsiteX20078" fmla="*/ 5056548 w 10505529"/>
              <a:gd name="connsiteY20078" fmla="*/ 4185576 h 7458372"/>
              <a:gd name="connsiteX20079" fmla="*/ 5047230 w 10505529"/>
              <a:gd name="connsiteY20079" fmla="*/ 4191832 h 7458372"/>
              <a:gd name="connsiteX20080" fmla="*/ 5035515 w 10505529"/>
              <a:gd name="connsiteY20080" fmla="*/ 4194095 h 7458372"/>
              <a:gd name="connsiteX20081" fmla="*/ 5013683 w 10505529"/>
              <a:gd name="connsiteY20081" fmla="*/ 4185576 h 7458372"/>
              <a:gd name="connsiteX20082" fmla="*/ 5005297 w 10505529"/>
              <a:gd name="connsiteY20082" fmla="*/ 4164409 h 7458372"/>
              <a:gd name="connsiteX20083" fmla="*/ 5013683 w 10505529"/>
              <a:gd name="connsiteY20083" fmla="*/ 4143376 h 7458372"/>
              <a:gd name="connsiteX20084" fmla="*/ 5035515 w 10505529"/>
              <a:gd name="connsiteY20084" fmla="*/ 4134724 h 7458372"/>
              <a:gd name="connsiteX20085" fmla="*/ 4817870 w 10505529"/>
              <a:gd name="connsiteY20085" fmla="*/ 4134724 h 7458372"/>
              <a:gd name="connsiteX20086" fmla="*/ 4829585 w 10505529"/>
              <a:gd name="connsiteY20086" fmla="*/ 4137253 h 7458372"/>
              <a:gd name="connsiteX20087" fmla="*/ 4838903 w 10505529"/>
              <a:gd name="connsiteY20087" fmla="*/ 4143643 h 7458372"/>
              <a:gd name="connsiteX20088" fmla="*/ 4845026 w 10505529"/>
              <a:gd name="connsiteY20088" fmla="*/ 4153094 h 7458372"/>
              <a:gd name="connsiteX20089" fmla="*/ 4847289 w 10505529"/>
              <a:gd name="connsiteY20089" fmla="*/ 4164542 h 7458372"/>
              <a:gd name="connsiteX20090" fmla="*/ 4845026 w 10505529"/>
              <a:gd name="connsiteY20090" fmla="*/ 4176257 h 7458372"/>
              <a:gd name="connsiteX20091" fmla="*/ 4838903 w 10505529"/>
              <a:gd name="connsiteY20091" fmla="*/ 4185576 h 7458372"/>
              <a:gd name="connsiteX20092" fmla="*/ 4829585 w 10505529"/>
              <a:gd name="connsiteY20092" fmla="*/ 4191832 h 7458372"/>
              <a:gd name="connsiteX20093" fmla="*/ 4817870 w 10505529"/>
              <a:gd name="connsiteY20093" fmla="*/ 4194095 h 7458372"/>
              <a:gd name="connsiteX20094" fmla="*/ 4796038 w 10505529"/>
              <a:gd name="connsiteY20094" fmla="*/ 4185576 h 7458372"/>
              <a:gd name="connsiteX20095" fmla="*/ 4787652 w 10505529"/>
              <a:gd name="connsiteY20095" fmla="*/ 4164409 h 7458372"/>
              <a:gd name="connsiteX20096" fmla="*/ 4796038 w 10505529"/>
              <a:gd name="connsiteY20096" fmla="*/ 4143376 h 7458372"/>
              <a:gd name="connsiteX20097" fmla="*/ 4817870 w 10505529"/>
              <a:gd name="connsiteY20097" fmla="*/ 4134724 h 7458372"/>
              <a:gd name="connsiteX20098" fmla="*/ 4600226 w 10505529"/>
              <a:gd name="connsiteY20098" fmla="*/ 4134724 h 7458372"/>
              <a:gd name="connsiteX20099" fmla="*/ 4612073 w 10505529"/>
              <a:gd name="connsiteY20099" fmla="*/ 4137253 h 7458372"/>
              <a:gd name="connsiteX20100" fmla="*/ 4621391 w 10505529"/>
              <a:gd name="connsiteY20100" fmla="*/ 4143643 h 7458372"/>
              <a:gd name="connsiteX20101" fmla="*/ 4627514 w 10505529"/>
              <a:gd name="connsiteY20101" fmla="*/ 4153094 h 7458372"/>
              <a:gd name="connsiteX20102" fmla="*/ 4629777 w 10505529"/>
              <a:gd name="connsiteY20102" fmla="*/ 4164542 h 7458372"/>
              <a:gd name="connsiteX20103" fmla="*/ 4627514 w 10505529"/>
              <a:gd name="connsiteY20103" fmla="*/ 4176257 h 7458372"/>
              <a:gd name="connsiteX20104" fmla="*/ 4621391 w 10505529"/>
              <a:gd name="connsiteY20104" fmla="*/ 4185576 h 7458372"/>
              <a:gd name="connsiteX20105" fmla="*/ 4612073 w 10505529"/>
              <a:gd name="connsiteY20105" fmla="*/ 4191832 h 7458372"/>
              <a:gd name="connsiteX20106" fmla="*/ 4600226 w 10505529"/>
              <a:gd name="connsiteY20106" fmla="*/ 4194095 h 7458372"/>
              <a:gd name="connsiteX20107" fmla="*/ 4578393 w 10505529"/>
              <a:gd name="connsiteY20107" fmla="*/ 4185576 h 7458372"/>
              <a:gd name="connsiteX20108" fmla="*/ 4570007 w 10505529"/>
              <a:gd name="connsiteY20108" fmla="*/ 4164409 h 7458372"/>
              <a:gd name="connsiteX20109" fmla="*/ 4578393 w 10505529"/>
              <a:gd name="connsiteY20109" fmla="*/ 4143376 h 7458372"/>
              <a:gd name="connsiteX20110" fmla="*/ 4600226 w 10505529"/>
              <a:gd name="connsiteY20110" fmla="*/ 4134724 h 7458372"/>
              <a:gd name="connsiteX20111" fmla="*/ 4382713 w 10505529"/>
              <a:gd name="connsiteY20111" fmla="*/ 4134724 h 7458372"/>
              <a:gd name="connsiteX20112" fmla="*/ 4394428 w 10505529"/>
              <a:gd name="connsiteY20112" fmla="*/ 4137253 h 7458372"/>
              <a:gd name="connsiteX20113" fmla="*/ 4403746 w 10505529"/>
              <a:gd name="connsiteY20113" fmla="*/ 4143643 h 7458372"/>
              <a:gd name="connsiteX20114" fmla="*/ 4409869 w 10505529"/>
              <a:gd name="connsiteY20114" fmla="*/ 4153094 h 7458372"/>
              <a:gd name="connsiteX20115" fmla="*/ 4412132 w 10505529"/>
              <a:gd name="connsiteY20115" fmla="*/ 4164542 h 7458372"/>
              <a:gd name="connsiteX20116" fmla="*/ 4409869 w 10505529"/>
              <a:gd name="connsiteY20116" fmla="*/ 4176257 h 7458372"/>
              <a:gd name="connsiteX20117" fmla="*/ 4403746 w 10505529"/>
              <a:gd name="connsiteY20117" fmla="*/ 4185576 h 7458372"/>
              <a:gd name="connsiteX20118" fmla="*/ 4394428 w 10505529"/>
              <a:gd name="connsiteY20118" fmla="*/ 4191832 h 7458372"/>
              <a:gd name="connsiteX20119" fmla="*/ 4382713 w 10505529"/>
              <a:gd name="connsiteY20119" fmla="*/ 4194095 h 7458372"/>
              <a:gd name="connsiteX20120" fmla="*/ 4360881 w 10505529"/>
              <a:gd name="connsiteY20120" fmla="*/ 4185576 h 7458372"/>
              <a:gd name="connsiteX20121" fmla="*/ 4352495 w 10505529"/>
              <a:gd name="connsiteY20121" fmla="*/ 4164409 h 7458372"/>
              <a:gd name="connsiteX20122" fmla="*/ 4360881 w 10505529"/>
              <a:gd name="connsiteY20122" fmla="*/ 4143376 h 7458372"/>
              <a:gd name="connsiteX20123" fmla="*/ 4382713 w 10505529"/>
              <a:gd name="connsiteY20123" fmla="*/ 4134724 h 7458372"/>
              <a:gd name="connsiteX20124" fmla="*/ 4165068 w 10505529"/>
              <a:gd name="connsiteY20124" fmla="*/ 4134724 h 7458372"/>
              <a:gd name="connsiteX20125" fmla="*/ 4176782 w 10505529"/>
              <a:gd name="connsiteY20125" fmla="*/ 4137253 h 7458372"/>
              <a:gd name="connsiteX20126" fmla="*/ 4186100 w 10505529"/>
              <a:gd name="connsiteY20126" fmla="*/ 4143643 h 7458372"/>
              <a:gd name="connsiteX20127" fmla="*/ 4192223 w 10505529"/>
              <a:gd name="connsiteY20127" fmla="*/ 4153094 h 7458372"/>
              <a:gd name="connsiteX20128" fmla="*/ 4194486 w 10505529"/>
              <a:gd name="connsiteY20128" fmla="*/ 4164542 h 7458372"/>
              <a:gd name="connsiteX20129" fmla="*/ 4192223 w 10505529"/>
              <a:gd name="connsiteY20129" fmla="*/ 4176257 h 7458372"/>
              <a:gd name="connsiteX20130" fmla="*/ 4186100 w 10505529"/>
              <a:gd name="connsiteY20130" fmla="*/ 4185576 h 7458372"/>
              <a:gd name="connsiteX20131" fmla="*/ 4176782 w 10505529"/>
              <a:gd name="connsiteY20131" fmla="*/ 4191832 h 7458372"/>
              <a:gd name="connsiteX20132" fmla="*/ 4165068 w 10505529"/>
              <a:gd name="connsiteY20132" fmla="*/ 4194095 h 7458372"/>
              <a:gd name="connsiteX20133" fmla="*/ 4143235 w 10505529"/>
              <a:gd name="connsiteY20133" fmla="*/ 4185576 h 7458372"/>
              <a:gd name="connsiteX20134" fmla="*/ 4134849 w 10505529"/>
              <a:gd name="connsiteY20134" fmla="*/ 4164409 h 7458372"/>
              <a:gd name="connsiteX20135" fmla="*/ 4143235 w 10505529"/>
              <a:gd name="connsiteY20135" fmla="*/ 4143376 h 7458372"/>
              <a:gd name="connsiteX20136" fmla="*/ 4165068 w 10505529"/>
              <a:gd name="connsiteY20136" fmla="*/ 4134724 h 7458372"/>
              <a:gd name="connsiteX20137" fmla="*/ 3947651 w 10505529"/>
              <a:gd name="connsiteY20137" fmla="*/ 4134724 h 7458372"/>
              <a:gd name="connsiteX20138" fmla="*/ 3959368 w 10505529"/>
              <a:gd name="connsiteY20138" fmla="*/ 4137253 h 7458372"/>
              <a:gd name="connsiteX20139" fmla="*/ 3968686 w 10505529"/>
              <a:gd name="connsiteY20139" fmla="*/ 4143643 h 7458372"/>
              <a:gd name="connsiteX20140" fmla="*/ 3974810 w 10505529"/>
              <a:gd name="connsiteY20140" fmla="*/ 4153094 h 7458372"/>
              <a:gd name="connsiteX20141" fmla="*/ 3977074 w 10505529"/>
              <a:gd name="connsiteY20141" fmla="*/ 4164542 h 7458372"/>
              <a:gd name="connsiteX20142" fmla="*/ 3974810 w 10505529"/>
              <a:gd name="connsiteY20142" fmla="*/ 4176257 h 7458372"/>
              <a:gd name="connsiteX20143" fmla="*/ 3968686 w 10505529"/>
              <a:gd name="connsiteY20143" fmla="*/ 4185576 h 7458372"/>
              <a:gd name="connsiteX20144" fmla="*/ 3959368 w 10505529"/>
              <a:gd name="connsiteY20144" fmla="*/ 4191832 h 7458372"/>
              <a:gd name="connsiteX20145" fmla="*/ 3947651 w 10505529"/>
              <a:gd name="connsiteY20145" fmla="*/ 4194095 h 7458372"/>
              <a:gd name="connsiteX20146" fmla="*/ 3925819 w 10505529"/>
              <a:gd name="connsiteY20146" fmla="*/ 4185576 h 7458372"/>
              <a:gd name="connsiteX20147" fmla="*/ 3917432 w 10505529"/>
              <a:gd name="connsiteY20147" fmla="*/ 4164409 h 7458372"/>
              <a:gd name="connsiteX20148" fmla="*/ 3925819 w 10505529"/>
              <a:gd name="connsiteY20148" fmla="*/ 4143376 h 7458372"/>
              <a:gd name="connsiteX20149" fmla="*/ 3947651 w 10505529"/>
              <a:gd name="connsiteY20149" fmla="*/ 4134724 h 7458372"/>
              <a:gd name="connsiteX20150" fmla="*/ 3729995 w 10505529"/>
              <a:gd name="connsiteY20150" fmla="*/ 4134724 h 7458372"/>
              <a:gd name="connsiteX20151" fmla="*/ 3741711 w 10505529"/>
              <a:gd name="connsiteY20151" fmla="*/ 4137253 h 7458372"/>
              <a:gd name="connsiteX20152" fmla="*/ 3751030 w 10505529"/>
              <a:gd name="connsiteY20152" fmla="*/ 4143643 h 7458372"/>
              <a:gd name="connsiteX20153" fmla="*/ 3757152 w 10505529"/>
              <a:gd name="connsiteY20153" fmla="*/ 4153094 h 7458372"/>
              <a:gd name="connsiteX20154" fmla="*/ 3759415 w 10505529"/>
              <a:gd name="connsiteY20154" fmla="*/ 4164542 h 7458372"/>
              <a:gd name="connsiteX20155" fmla="*/ 3757152 w 10505529"/>
              <a:gd name="connsiteY20155" fmla="*/ 4176257 h 7458372"/>
              <a:gd name="connsiteX20156" fmla="*/ 3751030 w 10505529"/>
              <a:gd name="connsiteY20156" fmla="*/ 4185576 h 7458372"/>
              <a:gd name="connsiteX20157" fmla="*/ 3741711 w 10505529"/>
              <a:gd name="connsiteY20157" fmla="*/ 4191832 h 7458372"/>
              <a:gd name="connsiteX20158" fmla="*/ 3729995 w 10505529"/>
              <a:gd name="connsiteY20158" fmla="*/ 4194095 h 7458372"/>
              <a:gd name="connsiteX20159" fmla="*/ 3708158 w 10505529"/>
              <a:gd name="connsiteY20159" fmla="*/ 4185576 h 7458372"/>
              <a:gd name="connsiteX20160" fmla="*/ 3699772 w 10505529"/>
              <a:gd name="connsiteY20160" fmla="*/ 4164409 h 7458372"/>
              <a:gd name="connsiteX20161" fmla="*/ 3708158 w 10505529"/>
              <a:gd name="connsiteY20161" fmla="*/ 4143376 h 7458372"/>
              <a:gd name="connsiteX20162" fmla="*/ 3729995 w 10505529"/>
              <a:gd name="connsiteY20162" fmla="*/ 4134724 h 7458372"/>
              <a:gd name="connsiteX20163" fmla="*/ 3512338 w 10505529"/>
              <a:gd name="connsiteY20163" fmla="*/ 4134724 h 7458372"/>
              <a:gd name="connsiteX20164" fmla="*/ 3524054 w 10505529"/>
              <a:gd name="connsiteY20164" fmla="*/ 4137253 h 7458372"/>
              <a:gd name="connsiteX20165" fmla="*/ 3533372 w 10505529"/>
              <a:gd name="connsiteY20165" fmla="*/ 4143643 h 7458372"/>
              <a:gd name="connsiteX20166" fmla="*/ 3539496 w 10505529"/>
              <a:gd name="connsiteY20166" fmla="*/ 4153094 h 7458372"/>
              <a:gd name="connsiteX20167" fmla="*/ 3541759 w 10505529"/>
              <a:gd name="connsiteY20167" fmla="*/ 4164542 h 7458372"/>
              <a:gd name="connsiteX20168" fmla="*/ 3539496 w 10505529"/>
              <a:gd name="connsiteY20168" fmla="*/ 4176257 h 7458372"/>
              <a:gd name="connsiteX20169" fmla="*/ 3533372 w 10505529"/>
              <a:gd name="connsiteY20169" fmla="*/ 4185576 h 7458372"/>
              <a:gd name="connsiteX20170" fmla="*/ 3524054 w 10505529"/>
              <a:gd name="connsiteY20170" fmla="*/ 4191832 h 7458372"/>
              <a:gd name="connsiteX20171" fmla="*/ 3512338 w 10505529"/>
              <a:gd name="connsiteY20171" fmla="*/ 4194095 h 7458372"/>
              <a:gd name="connsiteX20172" fmla="*/ 3490503 w 10505529"/>
              <a:gd name="connsiteY20172" fmla="*/ 4185576 h 7458372"/>
              <a:gd name="connsiteX20173" fmla="*/ 3482117 w 10505529"/>
              <a:gd name="connsiteY20173" fmla="*/ 4164409 h 7458372"/>
              <a:gd name="connsiteX20174" fmla="*/ 3490503 w 10505529"/>
              <a:gd name="connsiteY20174" fmla="*/ 4143376 h 7458372"/>
              <a:gd name="connsiteX20175" fmla="*/ 3512338 w 10505529"/>
              <a:gd name="connsiteY20175" fmla="*/ 4134724 h 7458372"/>
              <a:gd name="connsiteX20176" fmla="*/ 3294815 w 10505529"/>
              <a:gd name="connsiteY20176" fmla="*/ 4134724 h 7458372"/>
              <a:gd name="connsiteX20177" fmla="*/ 3306531 w 10505529"/>
              <a:gd name="connsiteY20177" fmla="*/ 4137253 h 7458372"/>
              <a:gd name="connsiteX20178" fmla="*/ 3315848 w 10505529"/>
              <a:gd name="connsiteY20178" fmla="*/ 4143643 h 7458372"/>
              <a:gd name="connsiteX20179" fmla="*/ 3321972 w 10505529"/>
              <a:gd name="connsiteY20179" fmla="*/ 4153094 h 7458372"/>
              <a:gd name="connsiteX20180" fmla="*/ 3324235 w 10505529"/>
              <a:gd name="connsiteY20180" fmla="*/ 4164542 h 7458372"/>
              <a:gd name="connsiteX20181" fmla="*/ 3321972 w 10505529"/>
              <a:gd name="connsiteY20181" fmla="*/ 4176257 h 7458372"/>
              <a:gd name="connsiteX20182" fmla="*/ 3315848 w 10505529"/>
              <a:gd name="connsiteY20182" fmla="*/ 4185576 h 7458372"/>
              <a:gd name="connsiteX20183" fmla="*/ 3306531 w 10505529"/>
              <a:gd name="connsiteY20183" fmla="*/ 4191832 h 7458372"/>
              <a:gd name="connsiteX20184" fmla="*/ 3294815 w 10505529"/>
              <a:gd name="connsiteY20184" fmla="*/ 4194095 h 7458372"/>
              <a:gd name="connsiteX20185" fmla="*/ 3272979 w 10505529"/>
              <a:gd name="connsiteY20185" fmla="*/ 4185576 h 7458372"/>
              <a:gd name="connsiteX20186" fmla="*/ 3264591 w 10505529"/>
              <a:gd name="connsiteY20186" fmla="*/ 4164409 h 7458372"/>
              <a:gd name="connsiteX20187" fmla="*/ 3272979 w 10505529"/>
              <a:gd name="connsiteY20187" fmla="*/ 4143376 h 7458372"/>
              <a:gd name="connsiteX20188" fmla="*/ 3294815 w 10505529"/>
              <a:gd name="connsiteY20188" fmla="*/ 4134724 h 7458372"/>
              <a:gd name="connsiteX20189" fmla="*/ 3077158 w 10505529"/>
              <a:gd name="connsiteY20189" fmla="*/ 4134724 h 7458372"/>
              <a:gd name="connsiteX20190" fmla="*/ 3088873 w 10505529"/>
              <a:gd name="connsiteY20190" fmla="*/ 4137253 h 7458372"/>
              <a:gd name="connsiteX20191" fmla="*/ 3098191 w 10505529"/>
              <a:gd name="connsiteY20191" fmla="*/ 4143643 h 7458372"/>
              <a:gd name="connsiteX20192" fmla="*/ 3104315 w 10505529"/>
              <a:gd name="connsiteY20192" fmla="*/ 4153094 h 7458372"/>
              <a:gd name="connsiteX20193" fmla="*/ 3106577 w 10505529"/>
              <a:gd name="connsiteY20193" fmla="*/ 4164542 h 7458372"/>
              <a:gd name="connsiteX20194" fmla="*/ 3104315 w 10505529"/>
              <a:gd name="connsiteY20194" fmla="*/ 4176257 h 7458372"/>
              <a:gd name="connsiteX20195" fmla="*/ 3098191 w 10505529"/>
              <a:gd name="connsiteY20195" fmla="*/ 4185576 h 7458372"/>
              <a:gd name="connsiteX20196" fmla="*/ 3088873 w 10505529"/>
              <a:gd name="connsiteY20196" fmla="*/ 4191832 h 7458372"/>
              <a:gd name="connsiteX20197" fmla="*/ 3077158 w 10505529"/>
              <a:gd name="connsiteY20197" fmla="*/ 4194095 h 7458372"/>
              <a:gd name="connsiteX20198" fmla="*/ 3055321 w 10505529"/>
              <a:gd name="connsiteY20198" fmla="*/ 4185576 h 7458372"/>
              <a:gd name="connsiteX20199" fmla="*/ 3046935 w 10505529"/>
              <a:gd name="connsiteY20199" fmla="*/ 4164409 h 7458372"/>
              <a:gd name="connsiteX20200" fmla="*/ 3055321 w 10505529"/>
              <a:gd name="connsiteY20200" fmla="*/ 4143376 h 7458372"/>
              <a:gd name="connsiteX20201" fmla="*/ 3077158 w 10505529"/>
              <a:gd name="connsiteY20201" fmla="*/ 4134724 h 7458372"/>
              <a:gd name="connsiteX20202" fmla="*/ 2859501 w 10505529"/>
              <a:gd name="connsiteY20202" fmla="*/ 4134724 h 7458372"/>
              <a:gd name="connsiteX20203" fmla="*/ 2871349 w 10505529"/>
              <a:gd name="connsiteY20203" fmla="*/ 4137253 h 7458372"/>
              <a:gd name="connsiteX20204" fmla="*/ 2880667 w 10505529"/>
              <a:gd name="connsiteY20204" fmla="*/ 4143643 h 7458372"/>
              <a:gd name="connsiteX20205" fmla="*/ 2886791 w 10505529"/>
              <a:gd name="connsiteY20205" fmla="*/ 4153094 h 7458372"/>
              <a:gd name="connsiteX20206" fmla="*/ 2889054 w 10505529"/>
              <a:gd name="connsiteY20206" fmla="*/ 4164542 h 7458372"/>
              <a:gd name="connsiteX20207" fmla="*/ 2886791 w 10505529"/>
              <a:gd name="connsiteY20207" fmla="*/ 4176257 h 7458372"/>
              <a:gd name="connsiteX20208" fmla="*/ 2880667 w 10505529"/>
              <a:gd name="connsiteY20208" fmla="*/ 4185576 h 7458372"/>
              <a:gd name="connsiteX20209" fmla="*/ 2871349 w 10505529"/>
              <a:gd name="connsiteY20209" fmla="*/ 4191832 h 7458372"/>
              <a:gd name="connsiteX20210" fmla="*/ 2859501 w 10505529"/>
              <a:gd name="connsiteY20210" fmla="*/ 4194095 h 7458372"/>
              <a:gd name="connsiteX20211" fmla="*/ 2837665 w 10505529"/>
              <a:gd name="connsiteY20211" fmla="*/ 4185576 h 7458372"/>
              <a:gd name="connsiteX20212" fmla="*/ 2829278 w 10505529"/>
              <a:gd name="connsiteY20212" fmla="*/ 4164409 h 7458372"/>
              <a:gd name="connsiteX20213" fmla="*/ 2837665 w 10505529"/>
              <a:gd name="connsiteY20213" fmla="*/ 4143376 h 7458372"/>
              <a:gd name="connsiteX20214" fmla="*/ 2859501 w 10505529"/>
              <a:gd name="connsiteY20214" fmla="*/ 4134724 h 7458372"/>
              <a:gd name="connsiteX20215" fmla="*/ 2641844 w 10505529"/>
              <a:gd name="connsiteY20215" fmla="*/ 4134724 h 7458372"/>
              <a:gd name="connsiteX20216" fmla="*/ 2653559 w 10505529"/>
              <a:gd name="connsiteY20216" fmla="*/ 4137253 h 7458372"/>
              <a:gd name="connsiteX20217" fmla="*/ 2662877 w 10505529"/>
              <a:gd name="connsiteY20217" fmla="*/ 4143643 h 7458372"/>
              <a:gd name="connsiteX20218" fmla="*/ 2669001 w 10505529"/>
              <a:gd name="connsiteY20218" fmla="*/ 4153094 h 7458372"/>
              <a:gd name="connsiteX20219" fmla="*/ 2671264 w 10505529"/>
              <a:gd name="connsiteY20219" fmla="*/ 4164542 h 7458372"/>
              <a:gd name="connsiteX20220" fmla="*/ 2669001 w 10505529"/>
              <a:gd name="connsiteY20220" fmla="*/ 4176257 h 7458372"/>
              <a:gd name="connsiteX20221" fmla="*/ 2662877 w 10505529"/>
              <a:gd name="connsiteY20221" fmla="*/ 4185576 h 7458372"/>
              <a:gd name="connsiteX20222" fmla="*/ 2653559 w 10505529"/>
              <a:gd name="connsiteY20222" fmla="*/ 4191832 h 7458372"/>
              <a:gd name="connsiteX20223" fmla="*/ 2641844 w 10505529"/>
              <a:gd name="connsiteY20223" fmla="*/ 4194095 h 7458372"/>
              <a:gd name="connsiteX20224" fmla="*/ 2620011 w 10505529"/>
              <a:gd name="connsiteY20224" fmla="*/ 4185576 h 7458372"/>
              <a:gd name="connsiteX20225" fmla="*/ 2611622 w 10505529"/>
              <a:gd name="connsiteY20225" fmla="*/ 4164409 h 7458372"/>
              <a:gd name="connsiteX20226" fmla="*/ 2620011 w 10505529"/>
              <a:gd name="connsiteY20226" fmla="*/ 4143376 h 7458372"/>
              <a:gd name="connsiteX20227" fmla="*/ 2641844 w 10505529"/>
              <a:gd name="connsiteY20227" fmla="*/ 4134724 h 7458372"/>
              <a:gd name="connsiteX20228" fmla="*/ 2424187 w 10505529"/>
              <a:gd name="connsiteY20228" fmla="*/ 4134724 h 7458372"/>
              <a:gd name="connsiteX20229" fmla="*/ 2435902 w 10505529"/>
              <a:gd name="connsiteY20229" fmla="*/ 4137253 h 7458372"/>
              <a:gd name="connsiteX20230" fmla="*/ 2445220 w 10505529"/>
              <a:gd name="connsiteY20230" fmla="*/ 4143643 h 7458372"/>
              <a:gd name="connsiteX20231" fmla="*/ 2451343 w 10505529"/>
              <a:gd name="connsiteY20231" fmla="*/ 4153094 h 7458372"/>
              <a:gd name="connsiteX20232" fmla="*/ 2453606 w 10505529"/>
              <a:gd name="connsiteY20232" fmla="*/ 4164542 h 7458372"/>
              <a:gd name="connsiteX20233" fmla="*/ 2451343 w 10505529"/>
              <a:gd name="connsiteY20233" fmla="*/ 4176257 h 7458372"/>
              <a:gd name="connsiteX20234" fmla="*/ 2445220 w 10505529"/>
              <a:gd name="connsiteY20234" fmla="*/ 4185576 h 7458372"/>
              <a:gd name="connsiteX20235" fmla="*/ 2435902 w 10505529"/>
              <a:gd name="connsiteY20235" fmla="*/ 4191832 h 7458372"/>
              <a:gd name="connsiteX20236" fmla="*/ 2424187 w 10505529"/>
              <a:gd name="connsiteY20236" fmla="*/ 4194095 h 7458372"/>
              <a:gd name="connsiteX20237" fmla="*/ 2402355 w 10505529"/>
              <a:gd name="connsiteY20237" fmla="*/ 4185576 h 7458372"/>
              <a:gd name="connsiteX20238" fmla="*/ 2393967 w 10505529"/>
              <a:gd name="connsiteY20238" fmla="*/ 4164409 h 7458372"/>
              <a:gd name="connsiteX20239" fmla="*/ 2402355 w 10505529"/>
              <a:gd name="connsiteY20239" fmla="*/ 4143376 h 7458372"/>
              <a:gd name="connsiteX20240" fmla="*/ 2424187 w 10505529"/>
              <a:gd name="connsiteY20240" fmla="*/ 4134724 h 7458372"/>
              <a:gd name="connsiteX20241" fmla="*/ 2206530 w 10505529"/>
              <a:gd name="connsiteY20241" fmla="*/ 4134724 h 7458372"/>
              <a:gd name="connsiteX20242" fmla="*/ 2218245 w 10505529"/>
              <a:gd name="connsiteY20242" fmla="*/ 4137253 h 7458372"/>
              <a:gd name="connsiteX20243" fmla="*/ 2227563 w 10505529"/>
              <a:gd name="connsiteY20243" fmla="*/ 4143643 h 7458372"/>
              <a:gd name="connsiteX20244" fmla="*/ 2233686 w 10505529"/>
              <a:gd name="connsiteY20244" fmla="*/ 4153094 h 7458372"/>
              <a:gd name="connsiteX20245" fmla="*/ 2235949 w 10505529"/>
              <a:gd name="connsiteY20245" fmla="*/ 4164542 h 7458372"/>
              <a:gd name="connsiteX20246" fmla="*/ 2233686 w 10505529"/>
              <a:gd name="connsiteY20246" fmla="*/ 4176257 h 7458372"/>
              <a:gd name="connsiteX20247" fmla="*/ 2227563 w 10505529"/>
              <a:gd name="connsiteY20247" fmla="*/ 4185576 h 7458372"/>
              <a:gd name="connsiteX20248" fmla="*/ 2218245 w 10505529"/>
              <a:gd name="connsiteY20248" fmla="*/ 4191832 h 7458372"/>
              <a:gd name="connsiteX20249" fmla="*/ 2206530 w 10505529"/>
              <a:gd name="connsiteY20249" fmla="*/ 4194095 h 7458372"/>
              <a:gd name="connsiteX20250" fmla="*/ 2184697 w 10505529"/>
              <a:gd name="connsiteY20250" fmla="*/ 4185576 h 7458372"/>
              <a:gd name="connsiteX20251" fmla="*/ 2176310 w 10505529"/>
              <a:gd name="connsiteY20251" fmla="*/ 4164409 h 7458372"/>
              <a:gd name="connsiteX20252" fmla="*/ 2184697 w 10505529"/>
              <a:gd name="connsiteY20252" fmla="*/ 4143376 h 7458372"/>
              <a:gd name="connsiteX20253" fmla="*/ 2206530 w 10505529"/>
              <a:gd name="connsiteY20253" fmla="*/ 4134724 h 7458372"/>
              <a:gd name="connsiteX20254" fmla="*/ 1989006 w 10505529"/>
              <a:gd name="connsiteY20254" fmla="*/ 4134724 h 7458372"/>
              <a:gd name="connsiteX20255" fmla="*/ 2000721 w 10505529"/>
              <a:gd name="connsiteY20255" fmla="*/ 4137253 h 7458372"/>
              <a:gd name="connsiteX20256" fmla="*/ 2010039 w 10505529"/>
              <a:gd name="connsiteY20256" fmla="*/ 4143643 h 7458372"/>
              <a:gd name="connsiteX20257" fmla="*/ 2016162 w 10505529"/>
              <a:gd name="connsiteY20257" fmla="*/ 4153094 h 7458372"/>
              <a:gd name="connsiteX20258" fmla="*/ 2018425 w 10505529"/>
              <a:gd name="connsiteY20258" fmla="*/ 4164542 h 7458372"/>
              <a:gd name="connsiteX20259" fmla="*/ 2016162 w 10505529"/>
              <a:gd name="connsiteY20259" fmla="*/ 4176257 h 7458372"/>
              <a:gd name="connsiteX20260" fmla="*/ 2010039 w 10505529"/>
              <a:gd name="connsiteY20260" fmla="*/ 4185576 h 7458372"/>
              <a:gd name="connsiteX20261" fmla="*/ 2000721 w 10505529"/>
              <a:gd name="connsiteY20261" fmla="*/ 4191832 h 7458372"/>
              <a:gd name="connsiteX20262" fmla="*/ 1989006 w 10505529"/>
              <a:gd name="connsiteY20262" fmla="*/ 4194095 h 7458372"/>
              <a:gd name="connsiteX20263" fmla="*/ 1967174 w 10505529"/>
              <a:gd name="connsiteY20263" fmla="*/ 4185576 h 7458372"/>
              <a:gd name="connsiteX20264" fmla="*/ 1958788 w 10505529"/>
              <a:gd name="connsiteY20264" fmla="*/ 4164409 h 7458372"/>
              <a:gd name="connsiteX20265" fmla="*/ 1967174 w 10505529"/>
              <a:gd name="connsiteY20265" fmla="*/ 4143376 h 7458372"/>
              <a:gd name="connsiteX20266" fmla="*/ 1989006 w 10505529"/>
              <a:gd name="connsiteY20266" fmla="*/ 4134724 h 7458372"/>
              <a:gd name="connsiteX20267" fmla="*/ 1771369 w 10505529"/>
              <a:gd name="connsiteY20267" fmla="*/ 4134724 h 7458372"/>
              <a:gd name="connsiteX20268" fmla="*/ 1783083 w 10505529"/>
              <a:gd name="connsiteY20268" fmla="*/ 4137253 h 7458372"/>
              <a:gd name="connsiteX20269" fmla="*/ 1792401 w 10505529"/>
              <a:gd name="connsiteY20269" fmla="*/ 4143643 h 7458372"/>
              <a:gd name="connsiteX20270" fmla="*/ 1798524 w 10505529"/>
              <a:gd name="connsiteY20270" fmla="*/ 4153094 h 7458372"/>
              <a:gd name="connsiteX20271" fmla="*/ 1800787 w 10505529"/>
              <a:gd name="connsiteY20271" fmla="*/ 4164542 h 7458372"/>
              <a:gd name="connsiteX20272" fmla="*/ 1798524 w 10505529"/>
              <a:gd name="connsiteY20272" fmla="*/ 4176257 h 7458372"/>
              <a:gd name="connsiteX20273" fmla="*/ 1792401 w 10505529"/>
              <a:gd name="connsiteY20273" fmla="*/ 4185576 h 7458372"/>
              <a:gd name="connsiteX20274" fmla="*/ 1783083 w 10505529"/>
              <a:gd name="connsiteY20274" fmla="*/ 4191832 h 7458372"/>
              <a:gd name="connsiteX20275" fmla="*/ 1771369 w 10505529"/>
              <a:gd name="connsiteY20275" fmla="*/ 4194095 h 7458372"/>
              <a:gd name="connsiteX20276" fmla="*/ 1749539 w 10505529"/>
              <a:gd name="connsiteY20276" fmla="*/ 4185576 h 7458372"/>
              <a:gd name="connsiteX20277" fmla="*/ 1741156 w 10505529"/>
              <a:gd name="connsiteY20277" fmla="*/ 4164409 h 7458372"/>
              <a:gd name="connsiteX20278" fmla="*/ 1749539 w 10505529"/>
              <a:gd name="connsiteY20278" fmla="*/ 4143376 h 7458372"/>
              <a:gd name="connsiteX20279" fmla="*/ 1771369 w 10505529"/>
              <a:gd name="connsiteY20279" fmla="*/ 4134724 h 7458372"/>
              <a:gd name="connsiteX20280" fmla="*/ 1553730 w 10505529"/>
              <a:gd name="connsiteY20280" fmla="*/ 4134724 h 7458372"/>
              <a:gd name="connsiteX20281" fmla="*/ 1565445 w 10505529"/>
              <a:gd name="connsiteY20281" fmla="*/ 4137253 h 7458372"/>
              <a:gd name="connsiteX20282" fmla="*/ 1574763 w 10505529"/>
              <a:gd name="connsiteY20282" fmla="*/ 4143643 h 7458372"/>
              <a:gd name="connsiteX20283" fmla="*/ 1580886 w 10505529"/>
              <a:gd name="connsiteY20283" fmla="*/ 4153094 h 7458372"/>
              <a:gd name="connsiteX20284" fmla="*/ 1583149 w 10505529"/>
              <a:gd name="connsiteY20284" fmla="*/ 4164542 h 7458372"/>
              <a:gd name="connsiteX20285" fmla="*/ 1580886 w 10505529"/>
              <a:gd name="connsiteY20285" fmla="*/ 4176257 h 7458372"/>
              <a:gd name="connsiteX20286" fmla="*/ 1574763 w 10505529"/>
              <a:gd name="connsiteY20286" fmla="*/ 4185576 h 7458372"/>
              <a:gd name="connsiteX20287" fmla="*/ 1565445 w 10505529"/>
              <a:gd name="connsiteY20287" fmla="*/ 4191832 h 7458372"/>
              <a:gd name="connsiteX20288" fmla="*/ 1553730 w 10505529"/>
              <a:gd name="connsiteY20288" fmla="*/ 4194095 h 7458372"/>
              <a:gd name="connsiteX20289" fmla="*/ 1531900 w 10505529"/>
              <a:gd name="connsiteY20289" fmla="*/ 4185576 h 7458372"/>
              <a:gd name="connsiteX20290" fmla="*/ 1523514 w 10505529"/>
              <a:gd name="connsiteY20290" fmla="*/ 4164409 h 7458372"/>
              <a:gd name="connsiteX20291" fmla="*/ 1531900 w 10505529"/>
              <a:gd name="connsiteY20291" fmla="*/ 4143376 h 7458372"/>
              <a:gd name="connsiteX20292" fmla="*/ 1553730 w 10505529"/>
              <a:gd name="connsiteY20292" fmla="*/ 4134724 h 7458372"/>
              <a:gd name="connsiteX20293" fmla="*/ 1336086 w 10505529"/>
              <a:gd name="connsiteY20293" fmla="*/ 4134724 h 7458372"/>
              <a:gd name="connsiteX20294" fmla="*/ 1347802 w 10505529"/>
              <a:gd name="connsiteY20294" fmla="*/ 4137253 h 7458372"/>
              <a:gd name="connsiteX20295" fmla="*/ 1357120 w 10505529"/>
              <a:gd name="connsiteY20295" fmla="*/ 4143643 h 7458372"/>
              <a:gd name="connsiteX20296" fmla="*/ 1363243 w 10505529"/>
              <a:gd name="connsiteY20296" fmla="*/ 4153094 h 7458372"/>
              <a:gd name="connsiteX20297" fmla="*/ 1365505 w 10505529"/>
              <a:gd name="connsiteY20297" fmla="*/ 4164542 h 7458372"/>
              <a:gd name="connsiteX20298" fmla="*/ 1363243 w 10505529"/>
              <a:gd name="connsiteY20298" fmla="*/ 4176257 h 7458372"/>
              <a:gd name="connsiteX20299" fmla="*/ 1357120 w 10505529"/>
              <a:gd name="connsiteY20299" fmla="*/ 4185576 h 7458372"/>
              <a:gd name="connsiteX20300" fmla="*/ 1347802 w 10505529"/>
              <a:gd name="connsiteY20300" fmla="*/ 4191832 h 7458372"/>
              <a:gd name="connsiteX20301" fmla="*/ 1336086 w 10505529"/>
              <a:gd name="connsiteY20301" fmla="*/ 4194095 h 7458372"/>
              <a:gd name="connsiteX20302" fmla="*/ 1314253 w 10505529"/>
              <a:gd name="connsiteY20302" fmla="*/ 4185576 h 7458372"/>
              <a:gd name="connsiteX20303" fmla="*/ 1305868 w 10505529"/>
              <a:gd name="connsiteY20303" fmla="*/ 4164409 h 7458372"/>
              <a:gd name="connsiteX20304" fmla="*/ 1314253 w 10505529"/>
              <a:gd name="connsiteY20304" fmla="*/ 4143376 h 7458372"/>
              <a:gd name="connsiteX20305" fmla="*/ 1336086 w 10505529"/>
              <a:gd name="connsiteY20305" fmla="*/ 4134724 h 7458372"/>
              <a:gd name="connsiteX20306" fmla="*/ 1118441 w 10505529"/>
              <a:gd name="connsiteY20306" fmla="*/ 4134724 h 7458372"/>
              <a:gd name="connsiteX20307" fmla="*/ 1130158 w 10505529"/>
              <a:gd name="connsiteY20307" fmla="*/ 4137253 h 7458372"/>
              <a:gd name="connsiteX20308" fmla="*/ 1139474 w 10505529"/>
              <a:gd name="connsiteY20308" fmla="*/ 4143643 h 7458372"/>
              <a:gd name="connsiteX20309" fmla="*/ 1145595 w 10505529"/>
              <a:gd name="connsiteY20309" fmla="*/ 4153094 h 7458372"/>
              <a:gd name="connsiteX20310" fmla="*/ 1147858 w 10505529"/>
              <a:gd name="connsiteY20310" fmla="*/ 4164542 h 7458372"/>
              <a:gd name="connsiteX20311" fmla="*/ 1145595 w 10505529"/>
              <a:gd name="connsiteY20311" fmla="*/ 4176257 h 7458372"/>
              <a:gd name="connsiteX20312" fmla="*/ 1139474 w 10505529"/>
              <a:gd name="connsiteY20312" fmla="*/ 4185576 h 7458372"/>
              <a:gd name="connsiteX20313" fmla="*/ 1130158 w 10505529"/>
              <a:gd name="connsiteY20313" fmla="*/ 4191832 h 7458372"/>
              <a:gd name="connsiteX20314" fmla="*/ 1118441 w 10505529"/>
              <a:gd name="connsiteY20314" fmla="*/ 4194095 h 7458372"/>
              <a:gd name="connsiteX20315" fmla="*/ 1096607 w 10505529"/>
              <a:gd name="connsiteY20315" fmla="*/ 4185576 h 7458372"/>
              <a:gd name="connsiteX20316" fmla="*/ 1088222 w 10505529"/>
              <a:gd name="connsiteY20316" fmla="*/ 4164409 h 7458372"/>
              <a:gd name="connsiteX20317" fmla="*/ 1096607 w 10505529"/>
              <a:gd name="connsiteY20317" fmla="*/ 4143376 h 7458372"/>
              <a:gd name="connsiteX20318" fmla="*/ 1118441 w 10505529"/>
              <a:gd name="connsiteY20318" fmla="*/ 4134724 h 7458372"/>
              <a:gd name="connsiteX20319" fmla="*/ 900928 w 10505529"/>
              <a:gd name="connsiteY20319" fmla="*/ 4134724 h 7458372"/>
              <a:gd name="connsiteX20320" fmla="*/ 912643 w 10505529"/>
              <a:gd name="connsiteY20320" fmla="*/ 4137253 h 7458372"/>
              <a:gd name="connsiteX20321" fmla="*/ 921961 w 10505529"/>
              <a:gd name="connsiteY20321" fmla="*/ 4143643 h 7458372"/>
              <a:gd name="connsiteX20322" fmla="*/ 928084 w 10505529"/>
              <a:gd name="connsiteY20322" fmla="*/ 4153094 h 7458372"/>
              <a:gd name="connsiteX20323" fmla="*/ 930347 w 10505529"/>
              <a:gd name="connsiteY20323" fmla="*/ 4164542 h 7458372"/>
              <a:gd name="connsiteX20324" fmla="*/ 928084 w 10505529"/>
              <a:gd name="connsiteY20324" fmla="*/ 4176257 h 7458372"/>
              <a:gd name="connsiteX20325" fmla="*/ 921961 w 10505529"/>
              <a:gd name="connsiteY20325" fmla="*/ 4185576 h 7458372"/>
              <a:gd name="connsiteX20326" fmla="*/ 912643 w 10505529"/>
              <a:gd name="connsiteY20326" fmla="*/ 4191832 h 7458372"/>
              <a:gd name="connsiteX20327" fmla="*/ 900928 w 10505529"/>
              <a:gd name="connsiteY20327" fmla="*/ 4194095 h 7458372"/>
              <a:gd name="connsiteX20328" fmla="*/ 879097 w 10505529"/>
              <a:gd name="connsiteY20328" fmla="*/ 4185576 h 7458372"/>
              <a:gd name="connsiteX20329" fmla="*/ 870712 w 10505529"/>
              <a:gd name="connsiteY20329" fmla="*/ 4164409 h 7458372"/>
              <a:gd name="connsiteX20330" fmla="*/ 879097 w 10505529"/>
              <a:gd name="connsiteY20330" fmla="*/ 4143376 h 7458372"/>
              <a:gd name="connsiteX20331" fmla="*/ 900928 w 10505529"/>
              <a:gd name="connsiteY20331" fmla="*/ 4134724 h 7458372"/>
              <a:gd name="connsiteX20332" fmla="*/ 683287 w 10505529"/>
              <a:gd name="connsiteY20332" fmla="*/ 4134724 h 7458372"/>
              <a:gd name="connsiteX20333" fmla="*/ 695002 w 10505529"/>
              <a:gd name="connsiteY20333" fmla="*/ 4137253 h 7458372"/>
              <a:gd name="connsiteX20334" fmla="*/ 704319 w 10505529"/>
              <a:gd name="connsiteY20334" fmla="*/ 4143643 h 7458372"/>
              <a:gd name="connsiteX20335" fmla="*/ 710442 w 10505529"/>
              <a:gd name="connsiteY20335" fmla="*/ 4153094 h 7458372"/>
              <a:gd name="connsiteX20336" fmla="*/ 712705 w 10505529"/>
              <a:gd name="connsiteY20336" fmla="*/ 4164542 h 7458372"/>
              <a:gd name="connsiteX20337" fmla="*/ 710442 w 10505529"/>
              <a:gd name="connsiteY20337" fmla="*/ 4176257 h 7458372"/>
              <a:gd name="connsiteX20338" fmla="*/ 704319 w 10505529"/>
              <a:gd name="connsiteY20338" fmla="*/ 4185576 h 7458372"/>
              <a:gd name="connsiteX20339" fmla="*/ 695002 w 10505529"/>
              <a:gd name="connsiteY20339" fmla="*/ 4191832 h 7458372"/>
              <a:gd name="connsiteX20340" fmla="*/ 683287 w 10505529"/>
              <a:gd name="connsiteY20340" fmla="*/ 4194095 h 7458372"/>
              <a:gd name="connsiteX20341" fmla="*/ 661455 w 10505529"/>
              <a:gd name="connsiteY20341" fmla="*/ 4185576 h 7458372"/>
              <a:gd name="connsiteX20342" fmla="*/ 653069 w 10505529"/>
              <a:gd name="connsiteY20342" fmla="*/ 4164409 h 7458372"/>
              <a:gd name="connsiteX20343" fmla="*/ 661455 w 10505529"/>
              <a:gd name="connsiteY20343" fmla="*/ 4143376 h 7458372"/>
              <a:gd name="connsiteX20344" fmla="*/ 683287 w 10505529"/>
              <a:gd name="connsiteY20344" fmla="*/ 4134724 h 7458372"/>
              <a:gd name="connsiteX20345" fmla="*/ 465645 w 10505529"/>
              <a:gd name="connsiteY20345" fmla="*/ 4134724 h 7458372"/>
              <a:gd name="connsiteX20346" fmla="*/ 477360 w 10505529"/>
              <a:gd name="connsiteY20346" fmla="*/ 4137253 h 7458372"/>
              <a:gd name="connsiteX20347" fmla="*/ 486677 w 10505529"/>
              <a:gd name="connsiteY20347" fmla="*/ 4143643 h 7458372"/>
              <a:gd name="connsiteX20348" fmla="*/ 492801 w 10505529"/>
              <a:gd name="connsiteY20348" fmla="*/ 4153094 h 7458372"/>
              <a:gd name="connsiteX20349" fmla="*/ 495063 w 10505529"/>
              <a:gd name="connsiteY20349" fmla="*/ 4164542 h 7458372"/>
              <a:gd name="connsiteX20350" fmla="*/ 492801 w 10505529"/>
              <a:gd name="connsiteY20350" fmla="*/ 4176257 h 7458372"/>
              <a:gd name="connsiteX20351" fmla="*/ 486677 w 10505529"/>
              <a:gd name="connsiteY20351" fmla="*/ 4185576 h 7458372"/>
              <a:gd name="connsiteX20352" fmla="*/ 477360 w 10505529"/>
              <a:gd name="connsiteY20352" fmla="*/ 4191832 h 7458372"/>
              <a:gd name="connsiteX20353" fmla="*/ 465645 w 10505529"/>
              <a:gd name="connsiteY20353" fmla="*/ 4194095 h 7458372"/>
              <a:gd name="connsiteX20354" fmla="*/ 443813 w 10505529"/>
              <a:gd name="connsiteY20354" fmla="*/ 4185576 h 7458372"/>
              <a:gd name="connsiteX20355" fmla="*/ 435427 w 10505529"/>
              <a:gd name="connsiteY20355" fmla="*/ 4164409 h 7458372"/>
              <a:gd name="connsiteX20356" fmla="*/ 443813 w 10505529"/>
              <a:gd name="connsiteY20356" fmla="*/ 4143376 h 7458372"/>
              <a:gd name="connsiteX20357" fmla="*/ 465645 w 10505529"/>
              <a:gd name="connsiteY20357" fmla="*/ 4134724 h 7458372"/>
              <a:gd name="connsiteX20358" fmla="*/ 248002 w 10505529"/>
              <a:gd name="connsiteY20358" fmla="*/ 4134724 h 7458372"/>
              <a:gd name="connsiteX20359" fmla="*/ 259717 w 10505529"/>
              <a:gd name="connsiteY20359" fmla="*/ 4137253 h 7458372"/>
              <a:gd name="connsiteX20360" fmla="*/ 269035 w 10505529"/>
              <a:gd name="connsiteY20360" fmla="*/ 4143643 h 7458372"/>
              <a:gd name="connsiteX20361" fmla="*/ 275158 w 10505529"/>
              <a:gd name="connsiteY20361" fmla="*/ 4153094 h 7458372"/>
              <a:gd name="connsiteX20362" fmla="*/ 277421 w 10505529"/>
              <a:gd name="connsiteY20362" fmla="*/ 4164542 h 7458372"/>
              <a:gd name="connsiteX20363" fmla="*/ 275158 w 10505529"/>
              <a:gd name="connsiteY20363" fmla="*/ 4176257 h 7458372"/>
              <a:gd name="connsiteX20364" fmla="*/ 269035 w 10505529"/>
              <a:gd name="connsiteY20364" fmla="*/ 4185576 h 7458372"/>
              <a:gd name="connsiteX20365" fmla="*/ 259717 w 10505529"/>
              <a:gd name="connsiteY20365" fmla="*/ 4191832 h 7458372"/>
              <a:gd name="connsiteX20366" fmla="*/ 248002 w 10505529"/>
              <a:gd name="connsiteY20366" fmla="*/ 4194095 h 7458372"/>
              <a:gd name="connsiteX20367" fmla="*/ 226172 w 10505529"/>
              <a:gd name="connsiteY20367" fmla="*/ 4185576 h 7458372"/>
              <a:gd name="connsiteX20368" fmla="*/ 217787 w 10505529"/>
              <a:gd name="connsiteY20368" fmla="*/ 4164409 h 7458372"/>
              <a:gd name="connsiteX20369" fmla="*/ 226172 w 10505529"/>
              <a:gd name="connsiteY20369" fmla="*/ 4143376 h 7458372"/>
              <a:gd name="connsiteX20370" fmla="*/ 248002 w 10505529"/>
              <a:gd name="connsiteY20370" fmla="*/ 4134724 h 7458372"/>
              <a:gd name="connsiteX20371" fmla="*/ 30360 w 10505529"/>
              <a:gd name="connsiteY20371" fmla="*/ 4134724 h 7458372"/>
              <a:gd name="connsiteX20372" fmla="*/ 42075 w 10505529"/>
              <a:gd name="connsiteY20372" fmla="*/ 4137253 h 7458372"/>
              <a:gd name="connsiteX20373" fmla="*/ 51393 w 10505529"/>
              <a:gd name="connsiteY20373" fmla="*/ 4143643 h 7458372"/>
              <a:gd name="connsiteX20374" fmla="*/ 57516 w 10505529"/>
              <a:gd name="connsiteY20374" fmla="*/ 4153094 h 7458372"/>
              <a:gd name="connsiteX20375" fmla="*/ 59779 w 10505529"/>
              <a:gd name="connsiteY20375" fmla="*/ 4164542 h 7458372"/>
              <a:gd name="connsiteX20376" fmla="*/ 57516 w 10505529"/>
              <a:gd name="connsiteY20376" fmla="*/ 4176257 h 7458372"/>
              <a:gd name="connsiteX20377" fmla="*/ 51393 w 10505529"/>
              <a:gd name="connsiteY20377" fmla="*/ 4185576 h 7458372"/>
              <a:gd name="connsiteX20378" fmla="*/ 42075 w 10505529"/>
              <a:gd name="connsiteY20378" fmla="*/ 4191832 h 7458372"/>
              <a:gd name="connsiteX20379" fmla="*/ 30360 w 10505529"/>
              <a:gd name="connsiteY20379" fmla="*/ 4194095 h 7458372"/>
              <a:gd name="connsiteX20380" fmla="*/ 8531 w 10505529"/>
              <a:gd name="connsiteY20380" fmla="*/ 4185576 h 7458372"/>
              <a:gd name="connsiteX20381" fmla="*/ 145 w 10505529"/>
              <a:gd name="connsiteY20381" fmla="*/ 4164409 h 7458372"/>
              <a:gd name="connsiteX20382" fmla="*/ 8531 w 10505529"/>
              <a:gd name="connsiteY20382" fmla="*/ 4143376 h 7458372"/>
              <a:gd name="connsiteX20383" fmla="*/ 30360 w 10505529"/>
              <a:gd name="connsiteY20383" fmla="*/ 4134724 h 7458372"/>
              <a:gd name="connsiteX20384" fmla="*/ 10475977 w 10505529"/>
              <a:gd name="connsiteY20384" fmla="*/ 3933852 h 7458372"/>
              <a:gd name="connsiteX20385" fmla="*/ 10465992 w 10505529"/>
              <a:gd name="connsiteY20385" fmla="*/ 3937447 h 7458372"/>
              <a:gd name="connsiteX20386" fmla="*/ 10462399 w 10505529"/>
              <a:gd name="connsiteY20386" fmla="*/ 3946897 h 7458372"/>
              <a:gd name="connsiteX20387" fmla="*/ 10465992 w 10505529"/>
              <a:gd name="connsiteY20387" fmla="*/ 3956349 h 7458372"/>
              <a:gd name="connsiteX20388" fmla="*/ 10475977 w 10505529"/>
              <a:gd name="connsiteY20388" fmla="*/ 3959810 h 7458372"/>
              <a:gd name="connsiteX20389" fmla="*/ 10481302 w 10505529"/>
              <a:gd name="connsiteY20389" fmla="*/ 3959011 h 7458372"/>
              <a:gd name="connsiteX20390" fmla="*/ 10485029 w 10505529"/>
              <a:gd name="connsiteY20390" fmla="*/ 3956615 h 7458372"/>
              <a:gd name="connsiteX20391" fmla="*/ 10487691 w 10505529"/>
              <a:gd name="connsiteY20391" fmla="*/ 3952355 h 7458372"/>
              <a:gd name="connsiteX20392" fmla="*/ 10488623 w 10505529"/>
              <a:gd name="connsiteY20392" fmla="*/ 3946897 h 7458372"/>
              <a:gd name="connsiteX20393" fmla="*/ 10487691 w 10505529"/>
              <a:gd name="connsiteY20393" fmla="*/ 3941706 h 7458372"/>
              <a:gd name="connsiteX20394" fmla="*/ 10485029 w 10505529"/>
              <a:gd name="connsiteY20394" fmla="*/ 3937447 h 7458372"/>
              <a:gd name="connsiteX20395" fmla="*/ 10481035 w 10505529"/>
              <a:gd name="connsiteY20395" fmla="*/ 3934784 h 7458372"/>
              <a:gd name="connsiteX20396" fmla="*/ 10475977 w 10505529"/>
              <a:gd name="connsiteY20396" fmla="*/ 3933852 h 7458372"/>
              <a:gd name="connsiteX20397" fmla="*/ 10258466 w 10505529"/>
              <a:gd name="connsiteY20397" fmla="*/ 3933852 h 7458372"/>
              <a:gd name="connsiteX20398" fmla="*/ 10248481 w 10505529"/>
              <a:gd name="connsiteY20398" fmla="*/ 3937447 h 7458372"/>
              <a:gd name="connsiteX20399" fmla="*/ 10244887 w 10505529"/>
              <a:gd name="connsiteY20399" fmla="*/ 3946897 h 7458372"/>
              <a:gd name="connsiteX20400" fmla="*/ 10248481 w 10505529"/>
              <a:gd name="connsiteY20400" fmla="*/ 3956349 h 7458372"/>
              <a:gd name="connsiteX20401" fmla="*/ 10258466 w 10505529"/>
              <a:gd name="connsiteY20401" fmla="*/ 3959810 h 7458372"/>
              <a:gd name="connsiteX20402" fmla="*/ 10263790 w 10505529"/>
              <a:gd name="connsiteY20402" fmla="*/ 3959011 h 7458372"/>
              <a:gd name="connsiteX20403" fmla="*/ 10267517 w 10505529"/>
              <a:gd name="connsiteY20403" fmla="*/ 3956615 h 7458372"/>
              <a:gd name="connsiteX20404" fmla="*/ 10270180 w 10505529"/>
              <a:gd name="connsiteY20404" fmla="*/ 3952355 h 7458372"/>
              <a:gd name="connsiteX20405" fmla="*/ 10271112 w 10505529"/>
              <a:gd name="connsiteY20405" fmla="*/ 3946897 h 7458372"/>
              <a:gd name="connsiteX20406" fmla="*/ 10270180 w 10505529"/>
              <a:gd name="connsiteY20406" fmla="*/ 3941706 h 7458372"/>
              <a:gd name="connsiteX20407" fmla="*/ 10267517 w 10505529"/>
              <a:gd name="connsiteY20407" fmla="*/ 3937447 h 7458372"/>
              <a:gd name="connsiteX20408" fmla="*/ 10263524 w 10505529"/>
              <a:gd name="connsiteY20408" fmla="*/ 3934784 h 7458372"/>
              <a:gd name="connsiteX20409" fmla="*/ 10258466 w 10505529"/>
              <a:gd name="connsiteY20409" fmla="*/ 3933852 h 7458372"/>
              <a:gd name="connsiteX20410" fmla="*/ 10040820 w 10505529"/>
              <a:gd name="connsiteY20410" fmla="*/ 3933852 h 7458372"/>
              <a:gd name="connsiteX20411" fmla="*/ 10030835 w 10505529"/>
              <a:gd name="connsiteY20411" fmla="*/ 3937447 h 7458372"/>
              <a:gd name="connsiteX20412" fmla="*/ 10027242 w 10505529"/>
              <a:gd name="connsiteY20412" fmla="*/ 3946897 h 7458372"/>
              <a:gd name="connsiteX20413" fmla="*/ 10030835 w 10505529"/>
              <a:gd name="connsiteY20413" fmla="*/ 3956349 h 7458372"/>
              <a:gd name="connsiteX20414" fmla="*/ 10040820 w 10505529"/>
              <a:gd name="connsiteY20414" fmla="*/ 3959810 h 7458372"/>
              <a:gd name="connsiteX20415" fmla="*/ 10046145 w 10505529"/>
              <a:gd name="connsiteY20415" fmla="*/ 3959011 h 7458372"/>
              <a:gd name="connsiteX20416" fmla="*/ 10049872 w 10505529"/>
              <a:gd name="connsiteY20416" fmla="*/ 3956615 h 7458372"/>
              <a:gd name="connsiteX20417" fmla="*/ 10052534 w 10505529"/>
              <a:gd name="connsiteY20417" fmla="*/ 3952355 h 7458372"/>
              <a:gd name="connsiteX20418" fmla="*/ 10053599 w 10505529"/>
              <a:gd name="connsiteY20418" fmla="*/ 3946897 h 7458372"/>
              <a:gd name="connsiteX20419" fmla="*/ 10052534 w 10505529"/>
              <a:gd name="connsiteY20419" fmla="*/ 3941706 h 7458372"/>
              <a:gd name="connsiteX20420" fmla="*/ 10049872 w 10505529"/>
              <a:gd name="connsiteY20420" fmla="*/ 3937447 h 7458372"/>
              <a:gd name="connsiteX20421" fmla="*/ 10045878 w 10505529"/>
              <a:gd name="connsiteY20421" fmla="*/ 3934784 h 7458372"/>
              <a:gd name="connsiteX20422" fmla="*/ 10040820 w 10505529"/>
              <a:gd name="connsiteY20422" fmla="*/ 3933852 h 7458372"/>
              <a:gd name="connsiteX20423" fmla="*/ 9823176 w 10505529"/>
              <a:gd name="connsiteY20423" fmla="*/ 3933852 h 7458372"/>
              <a:gd name="connsiteX20424" fmla="*/ 9813191 w 10505529"/>
              <a:gd name="connsiteY20424" fmla="*/ 3937447 h 7458372"/>
              <a:gd name="connsiteX20425" fmla="*/ 9809597 w 10505529"/>
              <a:gd name="connsiteY20425" fmla="*/ 3946897 h 7458372"/>
              <a:gd name="connsiteX20426" fmla="*/ 9813191 w 10505529"/>
              <a:gd name="connsiteY20426" fmla="*/ 3956349 h 7458372"/>
              <a:gd name="connsiteX20427" fmla="*/ 9823176 w 10505529"/>
              <a:gd name="connsiteY20427" fmla="*/ 3959810 h 7458372"/>
              <a:gd name="connsiteX20428" fmla="*/ 9828501 w 10505529"/>
              <a:gd name="connsiteY20428" fmla="*/ 3959011 h 7458372"/>
              <a:gd name="connsiteX20429" fmla="*/ 9832227 w 10505529"/>
              <a:gd name="connsiteY20429" fmla="*/ 3956615 h 7458372"/>
              <a:gd name="connsiteX20430" fmla="*/ 9834890 w 10505529"/>
              <a:gd name="connsiteY20430" fmla="*/ 3952355 h 7458372"/>
              <a:gd name="connsiteX20431" fmla="*/ 9835955 w 10505529"/>
              <a:gd name="connsiteY20431" fmla="*/ 3946897 h 7458372"/>
              <a:gd name="connsiteX20432" fmla="*/ 9834890 w 10505529"/>
              <a:gd name="connsiteY20432" fmla="*/ 3941706 h 7458372"/>
              <a:gd name="connsiteX20433" fmla="*/ 9832227 w 10505529"/>
              <a:gd name="connsiteY20433" fmla="*/ 3937447 h 7458372"/>
              <a:gd name="connsiteX20434" fmla="*/ 9828234 w 10505529"/>
              <a:gd name="connsiteY20434" fmla="*/ 3934784 h 7458372"/>
              <a:gd name="connsiteX20435" fmla="*/ 9823176 w 10505529"/>
              <a:gd name="connsiteY20435" fmla="*/ 3933852 h 7458372"/>
              <a:gd name="connsiteX20436" fmla="*/ 9605531 w 10505529"/>
              <a:gd name="connsiteY20436" fmla="*/ 3933852 h 7458372"/>
              <a:gd name="connsiteX20437" fmla="*/ 9595546 w 10505529"/>
              <a:gd name="connsiteY20437" fmla="*/ 3937447 h 7458372"/>
              <a:gd name="connsiteX20438" fmla="*/ 9591952 w 10505529"/>
              <a:gd name="connsiteY20438" fmla="*/ 3946897 h 7458372"/>
              <a:gd name="connsiteX20439" fmla="*/ 9595546 w 10505529"/>
              <a:gd name="connsiteY20439" fmla="*/ 3956349 h 7458372"/>
              <a:gd name="connsiteX20440" fmla="*/ 9605531 w 10505529"/>
              <a:gd name="connsiteY20440" fmla="*/ 3959810 h 7458372"/>
              <a:gd name="connsiteX20441" fmla="*/ 9610855 w 10505529"/>
              <a:gd name="connsiteY20441" fmla="*/ 3959011 h 7458372"/>
              <a:gd name="connsiteX20442" fmla="*/ 9614582 w 10505529"/>
              <a:gd name="connsiteY20442" fmla="*/ 3956615 h 7458372"/>
              <a:gd name="connsiteX20443" fmla="*/ 9617245 w 10505529"/>
              <a:gd name="connsiteY20443" fmla="*/ 3952355 h 7458372"/>
              <a:gd name="connsiteX20444" fmla="*/ 9618309 w 10505529"/>
              <a:gd name="connsiteY20444" fmla="*/ 3946897 h 7458372"/>
              <a:gd name="connsiteX20445" fmla="*/ 9617245 w 10505529"/>
              <a:gd name="connsiteY20445" fmla="*/ 3941706 h 7458372"/>
              <a:gd name="connsiteX20446" fmla="*/ 9614582 w 10505529"/>
              <a:gd name="connsiteY20446" fmla="*/ 3937447 h 7458372"/>
              <a:gd name="connsiteX20447" fmla="*/ 9610589 w 10505529"/>
              <a:gd name="connsiteY20447" fmla="*/ 3934784 h 7458372"/>
              <a:gd name="connsiteX20448" fmla="*/ 9605531 w 10505529"/>
              <a:gd name="connsiteY20448" fmla="*/ 3933852 h 7458372"/>
              <a:gd name="connsiteX20449" fmla="*/ 9387885 w 10505529"/>
              <a:gd name="connsiteY20449" fmla="*/ 3933852 h 7458372"/>
              <a:gd name="connsiteX20450" fmla="*/ 9377900 w 10505529"/>
              <a:gd name="connsiteY20450" fmla="*/ 3937447 h 7458372"/>
              <a:gd name="connsiteX20451" fmla="*/ 9374307 w 10505529"/>
              <a:gd name="connsiteY20451" fmla="*/ 3946897 h 7458372"/>
              <a:gd name="connsiteX20452" fmla="*/ 9377900 w 10505529"/>
              <a:gd name="connsiteY20452" fmla="*/ 3956349 h 7458372"/>
              <a:gd name="connsiteX20453" fmla="*/ 9387885 w 10505529"/>
              <a:gd name="connsiteY20453" fmla="*/ 3959810 h 7458372"/>
              <a:gd name="connsiteX20454" fmla="*/ 9393210 w 10505529"/>
              <a:gd name="connsiteY20454" fmla="*/ 3959011 h 7458372"/>
              <a:gd name="connsiteX20455" fmla="*/ 9396937 w 10505529"/>
              <a:gd name="connsiteY20455" fmla="*/ 3956615 h 7458372"/>
              <a:gd name="connsiteX20456" fmla="*/ 9399599 w 10505529"/>
              <a:gd name="connsiteY20456" fmla="*/ 3952355 h 7458372"/>
              <a:gd name="connsiteX20457" fmla="*/ 9400664 w 10505529"/>
              <a:gd name="connsiteY20457" fmla="*/ 3946897 h 7458372"/>
              <a:gd name="connsiteX20458" fmla="*/ 9399599 w 10505529"/>
              <a:gd name="connsiteY20458" fmla="*/ 3941706 h 7458372"/>
              <a:gd name="connsiteX20459" fmla="*/ 9396937 w 10505529"/>
              <a:gd name="connsiteY20459" fmla="*/ 3937447 h 7458372"/>
              <a:gd name="connsiteX20460" fmla="*/ 9392943 w 10505529"/>
              <a:gd name="connsiteY20460" fmla="*/ 3934784 h 7458372"/>
              <a:gd name="connsiteX20461" fmla="*/ 9387885 w 10505529"/>
              <a:gd name="connsiteY20461" fmla="*/ 3933852 h 7458372"/>
              <a:gd name="connsiteX20462" fmla="*/ 9170374 w 10505529"/>
              <a:gd name="connsiteY20462" fmla="*/ 3933852 h 7458372"/>
              <a:gd name="connsiteX20463" fmla="*/ 9160389 w 10505529"/>
              <a:gd name="connsiteY20463" fmla="*/ 3937447 h 7458372"/>
              <a:gd name="connsiteX20464" fmla="*/ 9156795 w 10505529"/>
              <a:gd name="connsiteY20464" fmla="*/ 3946897 h 7458372"/>
              <a:gd name="connsiteX20465" fmla="*/ 9160389 w 10505529"/>
              <a:gd name="connsiteY20465" fmla="*/ 3956349 h 7458372"/>
              <a:gd name="connsiteX20466" fmla="*/ 9170374 w 10505529"/>
              <a:gd name="connsiteY20466" fmla="*/ 3959810 h 7458372"/>
              <a:gd name="connsiteX20467" fmla="*/ 9175698 w 10505529"/>
              <a:gd name="connsiteY20467" fmla="*/ 3959011 h 7458372"/>
              <a:gd name="connsiteX20468" fmla="*/ 9179425 w 10505529"/>
              <a:gd name="connsiteY20468" fmla="*/ 3956615 h 7458372"/>
              <a:gd name="connsiteX20469" fmla="*/ 9182088 w 10505529"/>
              <a:gd name="connsiteY20469" fmla="*/ 3952355 h 7458372"/>
              <a:gd name="connsiteX20470" fmla="*/ 9183152 w 10505529"/>
              <a:gd name="connsiteY20470" fmla="*/ 3946897 h 7458372"/>
              <a:gd name="connsiteX20471" fmla="*/ 9182088 w 10505529"/>
              <a:gd name="connsiteY20471" fmla="*/ 3941706 h 7458372"/>
              <a:gd name="connsiteX20472" fmla="*/ 9179425 w 10505529"/>
              <a:gd name="connsiteY20472" fmla="*/ 3937447 h 7458372"/>
              <a:gd name="connsiteX20473" fmla="*/ 9175432 w 10505529"/>
              <a:gd name="connsiteY20473" fmla="*/ 3934784 h 7458372"/>
              <a:gd name="connsiteX20474" fmla="*/ 9170374 w 10505529"/>
              <a:gd name="connsiteY20474" fmla="*/ 3933852 h 7458372"/>
              <a:gd name="connsiteX20475" fmla="*/ 8952728 w 10505529"/>
              <a:gd name="connsiteY20475" fmla="*/ 3933852 h 7458372"/>
              <a:gd name="connsiteX20476" fmla="*/ 8942743 w 10505529"/>
              <a:gd name="connsiteY20476" fmla="*/ 3937447 h 7458372"/>
              <a:gd name="connsiteX20477" fmla="*/ 8939150 w 10505529"/>
              <a:gd name="connsiteY20477" fmla="*/ 3946897 h 7458372"/>
              <a:gd name="connsiteX20478" fmla="*/ 8942743 w 10505529"/>
              <a:gd name="connsiteY20478" fmla="*/ 3956349 h 7458372"/>
              <a:gd name="connsiteX20479" fmla="*/ 8952728 w 10505529"/>
              <a:gd name="connsiteY20479" fmla="*/ 3959810 h 7458372"/>
              <a:gd name="connsiteX20480" fmla="*/ 8958053 w 10505529"/>
              <a:gd name="connsiteY20480" fmla="*/ 3959011 h 7458372"/>
              <a:gd name="connsiteX20481" fmla="*/ 8961780 w 10505529"/>
              <a:gd name="connsiteY20481" fmla="*/ 3956615 h 7458372"/>
              <a:gd name="connsiteX20482" fmla="*/ 8964442 w 10505529"/>
              <a:gd name="connsiteY20482" fmla="*/ 3952355 h 7458372"/>
              <a:gd name="connsiteX20483" fmla="*/ 8965507 w 10505529"/>
              <a:gd name="connsiteY20483" fmla="*/ 3946897 h 7458372"/>
              <a:gd name="connsiteX20484" fmla="*/ 8964442 w 10505529"/>
              <a:gd name="connsiteY20484" fmla="*/ 3941706 h 7458372"/>
              <a:gd name="connsiteX20485" fmla="*/ 8961780 w 10505529"/>
              <a:gd name="connsiteY20485" fmla="*/ 3937447 h 7458372"/>
              <a:gd name="connsiteX20486" fmla="*/ 8957786 w 10505529"/>
              <a:gd name="connsiteY20486" fmla="*/ 3934784 h 7458372"/>
              <a:gd name="connsiteX20487" fmla="*/ 8952728 w 10505529"/>
              <a:gd name="connsiteY20487" fmla="*/ 3933852 h 7458372"/>
              <a:gd name="connsiteX20488" fmla="*/ 8735083 w 10505529"/>
              <a:gd name="connsiteY20488" fmla="*/ 3933852 h 7458372"/>
              <a:gd name="connsiteX20489" fmla="*/ 8725098 w 10505529"/>
              <a:gd name="connsiteY20489" fmla="*/ 3937447 h 7458372"/>
              <a:gd name="connsiteX20490" fmla="*/ 8721504 w 10505529"/>
              <a:gd name="connsiteY20490" fmla="*/ 3946897 h 7458372"/>
              <a:gd name="connsiteX20491" fmla="*/ 8725098 w 10505529"/>
              <a:gd name="connsiteY20491" fmla="*/ 3956349 h 7458372"/>
              <a:gd name="connsiteX20492" fmla="*/ 8735083 w 10505529"/>
              <a:gd name="connsiteY20492" fmla="*/ 3959810 h 7458372"/>
              <a:gd name="connsiteX20493" fmla="*/ 8740407 w 10505529"/>
              <a:gd name="connsiteY20493" fmla="*/ 3959011 h 7458372"/>
              <a:gd name="connsiteX20494" fmla="*/ 8744134 w 10505529"/>
              <a:gd name="connsiteY20494" fmla="*/ 3956615 h 7458372"/>
              <a:gd name="connsiteX20495" fmla="*/ 8746797 w 10505529"/>
              <a:gd name="connsiteY20495" fmla="*/ 3952355 h 7458372"/>
              <a:gd name="connsiteX20496" fmla="*/ 8747862 w 10505529"/>
              <a:gd name="connsiteY20496" fmla="*/ 3946897 h 7458372"/>
              <a:gd name="connsiteX20497" fmla="*/ 8746797 w 10505529"/>
              <a:gd name="connsiteY20497" fmla="*/ 3941706 h 7458372"/>
              <a:gd name="connsiteX20498" fmla="*/ 8744134 w 10505529"/>
              <a:gd name="connsiteY20498" fmla="*/ 3937447 h 7458372"/>
              <a:gd name="connsiteX20499" fmla="*/ 8740141 w 10505529"/>
              <a:gd name="connsiteY20499" fmla="*/ 3934784 h 7458372"/>
              <a:gd name="connsiteX20500" fmla="*/ 8735083 w 10505529"/>
              <a:gd name="connsiteY20500" fmla="*/ 3933852 h 7458372"/>
              <a:gd name="connsiteX20501" fmla="*/ 8517438 w 10505529"/>
              <a:gd name="connsiteY20501" fmla="*/ 3933852 h 7458372"/>
              <a:gd name="connsiteX20502" fmla="*/ 8507453 w 10505529"/>
              <a:gd name="connsiteY20502" fmla="*/ 3937447 h 7458372"/>
              <a:gd name="connsiteX20503" fmla="*/ 8503860 w 10505529"/>
              <a:gd name="connsiteY20503" fmla="*/ 3946897 h 7458372"/>
              <a:gd name="connsiteX20504" fmla="*/ 8507453 w 10505529"/>
              <a:gd name="connsiteY20504" fmla="*/ 3956349 h 7458372"/>
              <a:gd name="connsiteX20505" fmla="*/ 8517438 w 10505529"/>
              <a:gd name="connsiteY20505" fmla="*/ 3959810 h 7458372"/>
              <a:gd name="connsiteX20506" fmla="*/ 8522763 w 10505529"/>
              <a:gd name="connsiteY20506" fmla="*/ 3959011 h 7458372"/>
              <a:gd name="connsiteX20507" fmla="*/ 8526490 w 10505529"/>
              <a:gd name="connsiteY20507" fmla="*/ 3956615 h 7458372"/>
              <a:gd name="connsiteX20508" fmla="*/ 8529152 w 10505529"/>
              <a:gd name="connsiteY20508" fmla="*/ 3952355 h 7458372"/>
              <a:gd name="connsiteX20509" fmla="*/ 8530084 w 10505529"/>
              <a:gd name="connsiteY20509" fmla="*/ 3946897 h 7458372"/>
              <a:gd name="connsiteX20510" fmla="*/ 8529152 w 10505529"/>
              <a:gd name="connsiteY20510" fmla="*/ 3941706 h 7458372"/>
              <a:gd name="connsiteX20511" fmla="*/ 8526490 w 10505529"/>
              <a:gd name="connsiteY20511" fmla="*/ 3937447 h 7458372"/>
              <a:gd name="connsiteX20512" fmla="*/ 8522496 w 10505529"/>
              <a:gd name="connsiteY20512" fmla="*/ 3934784 h 7458372"/>
              <a:gd name="connsiteX20513" fmla="*/ 8517438 w 10505529"/>
              <a:gd name="connsiteY20513" fmla="*/ 3933852 h 7458372"/>
              <a:gd name="connsiteX20514" fmla="*/ 8299793 w 10505529"/>
              <a:gd name="connsiteY20514" fmla="*/ 3933852 h 7458372"/>
              <a:gd name="connsiteX20515" fmla="*/ 8289809 w 10505529"/>
              <a:gd name="connsiteY20515" fmla="*/ 3937447 h 7458372"/>
              <a:gd name="connsiteX20516" fmla="*/ 8286215 w 10505529"/>
              <a:gd name="connsiteY20516" fmla="*/ 3946897 h 7458372"/>
              <a:gd name="connsiteX20517" fmla="*/ 8289809 w 10505529"/>
              <a:gd name="connsiteY20517" fmla="*/ 3956349 h 7458372"/>
              <a:gd name="connsiteX20518" fmla="*/ 8299793 w 10505529"/>
              <a:gd name="connsiteY20518" fmla="*/ 3959810 h 7458372"/>
              <a:gd name="connsiteX20519" fmla="*/ 8305118 w 10505529"/>
              <a:gd name="connsiteY20519" fmla="*/ 3959011 h 7458372"/>
              <a:gd name="connsiteX20520" fmla="*/ 8308844 w 10505529"/>
              <a:gd name="connsiteY20520" fmla="*/ 3956615 h 7458372"/>
              <a:gd name="connsiteX20521" fmla="*/ 8311507 w 10505529"/>
              <a:gd name="connsiteY20521" fmla="*/ 3952355 h 7458372"/>
              <a:gd name="connsiteX20522" fmla="*/ 8312439 w 10505529"/>
              <a:gd name="connsiteY20522" fmla="*/ 3946897 h 7458372"/>
              <a:gd name="connsiteX20523" fmla="*/ 8311507 w 10505529"/>
              <a:gd name="connsiteY20523" fmla="*/ 3941706 h 7458372"/>
              <a:gd name="connsiteX20524" fmla="*/ 8308844 w 10505529"/>
              <a:gd name="connsiteY20524" fmla="*/ 3937447 h 7458372"/>
              <a:gd name="connsiteX20525" fmla="*/ 8304851 w 10505529"/>
              <a:gd name="connsiteY20525" fmla="*/ 3934784 h 7458372"/>
              <a:gd name="connsiteX20526" fmla="*/ 8299793 w 10505529"/>
              <a:gd name="connsiteY20526" fmla="*/ 3933852 h 7458372"/>
              <a:gd name="connsiteX20527" fmla="*/ 8082281 w 10505529"/>
              <a:gd name="connsiteY20527" fmla="*/ 3933852 h 7458372"/>
              <a:gd name="connsiteX20528" fmla="*/ 8072297 w 10505529"/>
              <a:gd name="connsiteY20528" fmla="*/ 3937447 h 7458372"/>
              <a:gd name="connsiteX20529" fmla="*/ 8068703 w 10505529"/>
              <a:gd name="connsiteY20529" fmla="*/ 3946897 h 7458372"/>
              <a:gd name="connsiteX20530" fmla="*/ 8072297 w 10505529"/>
              <a:gd name="connsiteY20530" fmla="*/ 3956349 h 7458372"/>
              <a:gd name="connsiteX20531" fmla="*/ 8082281 w 10505529"/>
              <a:gd name="connsiteY20531" fmla="*/ 3959810 h 7458372"/>
              <a:gd name="connsiteX20532" fmla="*/ 8087605 w 10505529"/>
              <a:gd name="connsiteY20532" fmla="*/ 3959011 h 7458372"/>
              <a:gd name="connsiteX20533" fmla="*/ 8091332 w 10505529"/>
              <a:gd name="connsiteY20533" fmla="*/ 3956615 h 7458372"/>
              <a:gd name="connsiteX20534" fmla="*/ 8093994 w 10505529"/>
              <a:gd name="connsiteY20534" fmla="*/ 3952355 h 7458372"/>
              <a:gd name="connsiteX20535" fmla="*/ 8094926 w 10505529"/>
              <a:gd name="connsiteY20535" fmla="*/ 3946897 h 7458372"/>
              <a:gd name="connsiteX20536" fmla="*/ 8093994 w 10505529"/>
              <a:gd name="connsiteY20536" fmla="*/ 3941706 h 7458372"/>
              <a:gd name="connsiteX20537" fmla="*/ 8091332 w 10505529"/>
              <a:gd name="connsiteY20537" fmla="*/ 3937447 h 7458372"/>
              <a:gd name="connsiteX20538" fmla="*/ 8087338 w 10505529"/>
              <a:gd name="connsiteY20538" fmla="*/ 3934784 h 7458372"/>
              <a:gd name="connsiteX20539" fmla="*/ 8082281 w 10505529"/>
              <a:gd name="connsiteY20539" fmla="*/ 3933852 h 7458372"/>
              <a:gd name="connsiteX20540" fmla="*/ 7864636 w 10505529"/>
              <a:gd name="connsiteY20540" fmla="*/ 3933852 h 7458372"/>
              <a:gd name="connsiteX20541" fmla="*/ 7854652 w 10505529"/>
              <a:gd name="connsiteY20541" fmla="*/ 3937447 h 7458372"/>
              <a:gd name="connsiteX20542" fmla="*/ 7851058 w 10505529"/>
              <a:gd name="connsiteY20542" fmla="*/ 3946897 h 7458372"/>
              <a:gd name="connsiteX20543" fmla="*/ 7854652 w 10505529"/>
              <a:gd name="connsiteY20543" fmla="*/ 3956349 h 7458372"/>
              <a:gd name="connsiteX20544" fmla="*/ 7864636 w 10505529"/>
              <a:gd name="connsiteY20544" fmla="*/ 3959810 h 7458372"/>
              <a:gd name="connsiteX20545" fmla="*/ 7869961 w 10505529"/>
              <a:gd name="connsiteY20545" fmla="*/ 3959011 h 7458372"/>
              <a:gd name="connsiteX20546" fmla="*/ 7873687 w 10505529"/>
              <a:gd name="connsiteY20546" fmla="*/ 3956615 h 7458372"/>
              <a:gd name="connsiteX20547" fmla="*/ 7876350 w 10505529"/>
              <a:gd name="connsiteY20547" fmla="*/ 3952355 h 7458372"/>
              <a:gd name="connsiteX20548" fmla="*/ 7877282 w 10505529"/>
              <a:gd name="connsiteY20548" fmla="*/ 3946897 h 7458372"/>
              <a:gd name="connsiteX20549" fmla="*/ 7876350 w 10505529"/>
              <a:gd name="connsiteY20549" fmla="*/ 3941706 h 7458372"/>
              <a:gd name="connsiteX20550" fmla="*/ 7873687 w 10505529"/>
              <a:gd name="connsiteY20550" fmla="*/ 3937447 h 7458372"/>
              <a:gd name="connsiteX20551" fmla="*/ 7869694 w 10505529"/>
              <a:gd name="connsiteY20551" fmla="*/ 3934784 h 7458372"/>
              <a:gd name="connsiteX20552" fmla="*/ 7864636 w 10505529"/>
              <a:gd name="connsiteY20552" fmla="*/ 3933852 h 7458372"/>
              <a:gd name="connsiteX20553" fmla="*/ 7646991 w 10505529"/>
              <a:gd name="connsiteY20553" fmla="*/ 3933852 h 7458372"/>
              <a:gd name="connsiteX20554" fmla="*/ 7637007 w 10505529"/>
              <a:gd name="connsiteY20554" fmla="*/ 3937447 h 7458372"/>
              <a:gd name="connsiteX20555" fmla="*/ 7633413 w 10505529"/>
              <a:gd name="connsiteY20555" fmla="*/ 3946897 h 7458372"/>
              <a:gd name="connsiteX20556" fmla="*/ 7637007 w 10505529"/>
              <a:gd name="connsiteY20556" fmla="*/ 3956349 h 7458372"/>
              <a:gd name="connsiteX20557" fmla="*/ 7646991 w 10505529"/>
              <a:gd name="connsiteY20557" fmla="*/ 3959810 h 7458372"/>
              <a:gd name="connsiteX20558" fmla="*/ 7652315 w 10505529"/>
              <a:gd name="connsiteY20558" fmla="*/ 3959011 h 7458372"/>
              <a:gd name="connsiteX20559" fmla="*/ 7656042 w 10505529"/>
              <a:gd name="connsiteY20559" fmla="*/ 3956615 h 7458372"/>
              <a:gd name="connsiteX20560" fmla="*/ 7658705 w 10505529"/>
              <a:gd name="connsiteY20560" fmla="*/ 3952355 h 7458372"/>
              <a:gd name="connsiteX20561" fmla="*/ 7659769 w 10505529"/>
              <a:gd name="connsiteY20561" fmla="*/ 3946897 h 7458372"/>
              <a:gd name="connsiteX20562" fmla="*/ 7658705 w 10505529"/>
              <a:gd name="connsiteY20562" fmla="*/ 3941706 h 7458372"/>
              <a:gd name="connsiteX20563" fmla="*/ 7656042 w 10505529"/>
              <a:gd name="connsiteY20563" fmla="*/ 3937447 h 7458372"/>
              <a:gd name="connsiteX20564" fmla="*/ 7652049 w 10505529"/>
              <a:gd name="connsiteY20564" fmla="*/ 3934784 h 7458372"/>
              <a:gd name="connsiteX20565" fmla="*/ 7646991 w 10505529"/>
              <a:gd name="connsiteY20565" fmla="*/ 3933852 h 7458372"/>
              <a:gd name="connsiteX20566" fmla="*/ 7429345 w 10505529"/>
              <a:gd name="connsiteY20566" fmla="*/ 3933852 h 7458372"/>
              <a:gd name="connsiteX20567" fmla="*/ 7419361 w 10505529"/>
              <a:gd name="connsiteY20567" fmla="*/ 3937447 h 7458372"/>
              <a:gd name="connsiteX20568" fmla="*/ 7415768 w 10505529"/>
              <a:gd name="connsiteY20568" fmla="*/ 3946897 h 7458372"/>
              <a:gd name="connsiteX20569" fmla="*/ 7419361 w 10505529"/>
              <a:gd name="connsiteY20569" fmla="*/ 3956349 h 7458372"/>
              <a:gd name="connsiteX20570" fmla="*/ 7429345 w 10505529"/>
              <a:gd name="connsiteY20570" fmla="*/ 3959810 h 7458372"/>
              <a:gd name="connsiteX20571" fmla="*/ 7434670 w 10505529"/>
              <a:gd name="connsiteY20571" fmla="*/ 3959011 h 7458372"/>
              <a:gd name="connsiteX20572" fmla="*/ 7438397 w 10505529"/>
              <a:gd name="connsiteY20572" fmla="*/ 3956615 h 7458372"/>
              <a:gd name="connsiteX20573" fmla="*/ 7441059 w 10505529"/>
              <a:gd name="connsiteY20573" fmla="*/ 3952355 h 7458372"/>
              <a:gd name="connsiteX20574" fmla="*/ 7442124 w 10505529"/>
              <a:gd name="connsiteY20574" fmla="*/ 3946897 h 7458372"/>
              <a:gd name="connsiteX20575" fmla="*/ 7441059 w 10505529"/>
              <a:gd name="connsiteY20575" fmla="*/ 3941706 h 7458372"/>
              <a:gd name="connsiteX20576" fmla="*/ 7438397 w 10505529"/>
              <a:gd name="connsiteY20576" fmla="*/ 3937447 h 7458372"/>
              <a:gd name="connsiteX20577" fmla="*/ 7434403 w 10505529"/>
              <a:gd name="connsiteY20577" fmla="*/ 3934784 h 7458372"/>
              <a:gd name="connsiteX20578" fmla="*/ 7429345 w 10505529"/>
              <a:gd name="connsiteY20578" fmla="*/ 3933852 h 7458372"/>
              <a:gd name="connsiteX20579" fmla="*/ 7211701 w 10505529"/>
              <a:gd name="connsiteY20579" fmla="*/ 3933852 h 7458372"/>
              <a:gd name="connsiteX20580" fmla="*/ 7201717 w 10505529"/>
              <a:gd name="connsiteY20580" fmla="*/ 3937447 h 7458372"/>
              <a:gd name="connsiteX20581" fmla="*/ 7198123 w 10505529"/>
              <a:gd name="connsiteY20581" fmla="*/ 3946897 h 7458372"/>
              <a:gd name="connsiteX20582" fmla="*/ 7201717 w 10505529"/>
              <a:gd name="connsiteY20582" fmla="*/ 3956349 h 7458372"/>
              <a:gd name="connsiteX20583" fmla="*/ 7211701 w 10505529"/>
              <a:gd name="connsiteY20583" fmla="*/ 3959810 h 7458372"/>
              <a:gd name="connsiteX20584" fmla="*/ 7217026 w 10505529"/>
              <a:gd name="connsiteY20584" fmla="*/ 3959011 h 7458372"/>
              <a:gd name="connsiteX20585" fmla="*/ 7220752 w 10505529"/>
              <a:gd name="connsiteY20585" fmla="*/ 3956615 h 7458372"/>
              <a:gd name="connsiteX20586" fmla="*/ 7223415 w 10505529"/>
              <a:gd name="connsiteY20586" fmla="*/ 3952355 h 7458372"/>
              <a:gd name="connsiteX20587" fmla="*/ 7224480 w 10505529"/>
              <a:gd name="connsiteY20587" fmla="*/ 3946897 h 7458372"/>
              <a:gd name="connsiteX20588" fmla="*/ 7223415 w 10505529"/>
              <a:gd name="connsiteY20588" fmla="*/ 3941706 h 7458372"/>
              <a:gd name="connsiteX20589" fmla="*/ 7220752 w 10505529"/>
              <a:gd name="connsiteY20589" fmla="*/ 3937447 h 7458372"/>
              <a:gd name="connsiteX20590" fmla="*/ 7216759 w 10505529"/>
              <a:gd name="connsiteY20590" fmla="*/ 3934784 h 7458372"/>
              <a:gd name="connsiteX20591" fmla="*/ 7211701 w 10505529"/>
              <a:gd name="connsiteY20591" fmla="*/ 3933852 h 7458372"/>
              <a:gd name="connsiteX20592" fmla="*/ 6994056 w 10505529"/>
              <a:gd name="connsiteY20592" fmla="*/ 3933852 h 7458372"/>
              <a:gd name="connsiteX20593" fmla="*/ 6984072 w 10505529"/>
              <a:gd name="connsiteY20593" fmla="*/ 3937447 h 7458372"/>
              <a:gd name="connsiteX20594" fmla="*/ 6980478 w 10505529"/>
              <a:gd name="connsiteY20594" fmla="*/ 3946897 h 7458372"/>
              <a:gd name="connsiteX20595" fmla="*/ 6984072 w 10505529"/>
              <a:gd name="connsiteY20595" fmla="*/ 3956349 h 7458372"/>
              <a:gd name="connsiteX20596" fmla="*/ 6994056 w 10505529"/>
              <a:gd name="connsiteY20596" fmla="*/ 3959810 h 7458372"/>
              <a:gd name="connsiteX20597" fmla="*/ 6999380 w 10505529"/>
              <a:gd name="connsiteY20597" fmla="*/ 3959011 h 7458372"/>
              <a:gd name="connsiteX20598" fmla="*/ 7003107 w 10505529"/>
              <a:gd name="connsiteY20598" fmla="*/ 3956615 h 7458372"/>
              <a:gd name="connsiteX20599" fmla="*/ 7005769 w 10505529"/>
              <a:gd name="connsiteY20599" fmla="*/ 3952355 h 7458372"/>
              <a:gd name="connsiteX20600" fmla="*/ 7006834 w 10505529"/>
              <a:gd name="connsiteY20600" fmla="*/ 3946897 h 7458372"/>
              <a:gd name="connsiteX20601" fmla="*/ 7005769 w 10505529"/>
              <a:gd name="connsiteY20601" fmla="*/ 3941706 h 7458372"/>
              <a:gd name="connsiteX20602" fmla="*/ 7003107 w 10505529"/>
              <a:gd name="connsiteY20602" fmla="*/ 3937447 h 7458372"/>
              <a:gd name="connsiteX20603" fmla="*/ 6999113 w 10505529"/>
              <a:gd name="connsiteY20603" fmla="*/ 3934784 h 7458372"/>
              <a:gd name="connsiteX20604" fmla="*/ 6994056 w 10505529"/>
              <a:gd name="connsiteY20604" fmla="*/ 3933852 h 7458372"/>
              <a:gd name="connsiteX20605" fmla="*/ 6776544 w 10505529"/>
              <a:gd name="connsiteY20605" fmla="*/ 3933852 h 7458372"/>
              <a:gd name="connsiteX20606" fmla="*/ 6766560 w 10505529"/>
              <a:gd name="connsiteY20606" fmla="*/ 3937447 h 7458372"/>
              <a:gd name="connsiteX20607" fmla="*/ 6762966 w 10505529"/>
              <a:gd name="connsiteY20607" fmla="*/ 3946897 h 7458372"/>
              <a:gd name="connsiteX20608" fmla="*/ 6766560 w 10505529"/>
              <a:gd name="connsiteY20608" fmla="*/ 3956349 h 7458372"/>
              <a:gd name="connsiteX20609" fmla="*/ 6776544 w 10505529"/>
              <a:gd name="connsiteY20609" fmla="*/ 3959810 h 7458372"/>
              <a:gd name="connsiteX20610" fmla="*/ 6781869 w 10505529"/>
              <a:gd name="connsiteY20610" fmla="*/ 3959011 h 7458372"/>
              <a:gd name="connsiteX20611" fmla="*/ 6785595 w 10505529"/>
              <a:gd name="connsiteY20611" fmla="*/ 3956615 h 7458372"/>
              <a:gd name="connsiteX20612" fmla="*/ 6788258 w 10505529"/>
              <a:gd name="connsiteY20612" fmla="*/ 3952355 h 7458372"/>
              <a:gd name="connsiteX20613" fmla="*/ 6789323 w 10505529"/>
              <a:gd name="connsiteY20613" fmla="*/ 3946897 h 7458372"/>
              <a:gd name="connsiteX20614" fmla="*/ 6788258 w 10505529"/>
              <a:gd name="connsiteY20614" fmla="*/ 3941706 h 7458372"/>
              <a:gd name="connsiteX20615" fmla="*/ 6785595 w 10505529"/>
              <a:gd name="connsiteY20615" fmla="*/ 3937447 h 7458372"/>
              <a:gd name="connsiteX20616" fmla="*/ 6781602 w 10505529"/>
              <a:gd name="connsiteY20616" fmla="*/ 3934784 h 7458372"/>
              <a:gd name="connsiteX20617" fmla="*/ 6776544 w 10505529"/>
              <a:gd name="connsiteY20617" fmla="*/ 3933852 h 7458372"/>
              <a:gd name="connsiteX20618" fmla="*/ 6558899 w 10505529"/>
              <a:gd name="connsiteY20618" fmla="*/ 3933852 h 7458372"/>
              <a:gd name="connsiteX20619" fmla="*/ 6548915 w 10505529"/>
              <a:gd name="connsiteY20619" fmla="*/ 3937447 h 7458372"/>
              <a:gd name="connsiteX20620" fmla="*/ 6545321 w 10505529"/>
              <a:gd name="connsiteY20620" fmla="*/ 3946897 h 7458372"/>
              <a:gd name="connsiteX20621" fmla="*/ 6548915 w 10505529"/>
              <a:gd name="connsiteY20621" fmla="*/ 3956349 h 7458372"/>
              <a:gd name="connsiteX20622" fmla="*/ 6558899 w 10505529"/>
              <a:gd name="connsiteY20622" fmla="*/ 3959810 h 7458372"/>
              <a:gd name="connsiteX20623" fmla="*/ 6564223 w 10505529"/>
              <a:gd name="connsiteY20623" fmla="*/ 3959011 h 7458372"/>
              <a:gd name="connsiteX20624" fmla="*/ 6567950 w 10505529"/>
              <a:gd name="connsiteY20624" fmla="*/ 3956615 h 7458372"/>
              <a:gd name="connsiteX20625" fmla="*/ 6570612 w 10505529"/>
              <a:gd name="connsiteY20625" fmla="*/ 3952355 h 7458372"/>
              <a:gd name="connsiteX20626" fmla="*/ 6571677 w 10505529"/>
              <a:gd name="connsiteY20626" fmla="*/ 3946897 h 7458372"/>
              <a:gd name="connsiteX20627" fmla="*/ 6570612 w 10505529"/>
              <a:gd name="connsiteY20627" fmla="*/ 3941706 h 7458372"/>
              <a:gd name="connsiteX20628" fmla="*/ 6567950 w 10505529"/>
              <a:gd name="connsiteY20628" fmla="*/ 3937447 h 7458372"/>
              <a:gd name="connsiteX20629" fmla="*/ 6563956 w 10505529"/>
              <a:gd name="connsiteY20629" fmla="*/ 3934784 h 7458372"/>
              <a:gd name="connsiteX20630" fmla="*/ 6558899 w 10505529"/>
              <a:gd name="connsiteY20630" fmla="*/ 3933852 h 7458372"/>
              <a:gd name="connsiteX20631" fmla="*/ 6341253 w 10505529"/>
              <a:gd name="connsiteY20631" fmla="*/ 3933852 h 7458372"/>
              <a:gd name="connsiteX20632" fmla="*/ 6331270 w 10505529"/>
              <a:gd name="connsiteY20632" fmla="*/ 3937447 h 7458372"/>
              <a:gd name="connsiteX20633" fmla="*/ 6327675 w 10505529"/>
              <a:gd name="connsiteY20633" fmla="*/ 3946897 h 7458372"/>
              <a:gd name="connsiteX20634" fmla="*/ 6331270 w 10505529"/>
              <a:gd name="connsiteY20634" fmla="*/ 3956349 h 7458372"/>
              <a:gd name="connsiteX20635" fmla="*/ 6341253 w 10505529"/>
              <a:gd name="connsiteY20635" fmla="*/ 3959810 h 7458372"/>
              <a:gd name="connsiteX20636" fmla="*/ 6346578 w 10505529"/>
              <a:gd name="connsiteY20636" fmla="*/ 3959011 h 7458372"/>
              <a:gd name="connsiteX20637" fmla="*/ 6350305 w 10505529"/>
              <a:gd name="connsiteY20637" fmla="*/ 3956615 h 7458372"/>
              <a:gd name="connsiteX20638" fmla="*/ 6352968 w 10505529"/>
              <a:gd name="connsiteY20638" fmla="*/ 3952355 h 7458372"/>
              <a:gd name="connsiteX20639" fmla="*/ 6354033 w 10505529"/>
              <a:gd name="connsiteY20639" fmla="*/ 3946897 h 7458372"/>
              <a:gd name="connsiteX20640" fmla="*/ 6352968 w 10505529"/>
              <a:gd name="connsiteY20640" fmla="*/ 3941706 h 7458372"/>
              <a:gd name="connsiteX20641" fmla="*/ 6350305 w 10505529"/>
              <a:gd name="connsiteY20641" fmla="*/ 3937447 h 7458372"/>
              <a:gd name="connsiteX20642" fmla="*/ 6346312 w 10505529"/>
              <a:gd name="connsiteY20642" fmla="*/ 3934784 h 7458372"/>
              <a:gd name="connsiteX20643" fmla="*/ 6341253 w 10505529"/>
              <a:gd name="connsiteY20643" fmla="*/ 3933852 h 7458372"/>
              <a:gd name="connsiteX20644" fmla="*/ 6123608 w 10505529"/>
              <a:gd name="connsiteY20644" fmla="*/ 3933852 h 7458372"/>
              <a:gd name="connsiteX20645" fmla="*/ 6113624 w 10505529"/>
              <a:gd name="connsiteY20645" fmla="*/ 3937447 h 7458372"/>
              <a:gd name="connsiteX20646" fmla="*/ 6110030 w 10505529"/>
              <a:gd name="connsiteY20646" fmla="*/ 3946897 h 7458372"/>
              <a:gd name="connsiteX20647" fmla="*/ 6113624 w 10505529"/>
              <a:gd name="connsiteY20647" fmla="*/ 3956349 h 7458372"/>
              <a:gd name="connsiteX20648" fmla="*/ 6123608 w 10505529"/>
              <a:gd name="connsiteY20648" fmla="*/ 3959810 h 7458372"/>
              <a:gd name="connsiteX20649" fmla="*/ 6128932 w 10505529"/>
              <a:gd name="connsiteY20649" fmla="*/ 3959011 h 7458372"/>
              <a:gd name="connsiteX20650" fmla="*/ 6132659 w 10505529"/>
              <a:gd name="connsiteY20650" fmla="*/ 3956615 h 7458372"/>
              <a:gd name="connsiteX20651" fmla="*/ 6135322 w 10505529"/>
              <a:gd name="connsiteY20651" fmla="*/ 3952355 h 7458372"/>
              <a:gd name="connsiteX20652" fmla="*/ 6136387 w 10505529"/>
              <a:gd name="connsiteY20652" fmla="*/ 3946897 h 7458372"/>
              <a:gd name="connsiteX20653" fmla="*/ 6135322 w 10505529"/>
              <a:gd name="connsiteY20653" fmla="*/ 3941706 h 7458372"/>
              <a:gd name="connsiteX20654" fmla="*/ 6132659 w 10505529"/>
              <a:gd name="connsiteY20654" fmla="*/ 3937447 h 7458372"/>
              <a:gd name="connsiteX20655" fmla="*/ 6128666 w 10505529"/>
              <a:gd name="connsiteY20655" fmla="*/ 3934784 h 7458372"/>
              <a:gd name="connsiteX20656" fmla="*/ 6123608 w 10505529"/>
              <a:gd name="connsiteY20656" fmla="*/ 3933852 h 7458372"/>
              <a:gd name="connsiteX20657" fmla="*/ 5905963 w 10505529"/>
              <a:gd name="connsiteY20657" fmla="*/ 3933852 h 7458372"/>
              <a:gd name="connsiteX20658" fmla="*/ 5895979 w 10505529"/>
              <a:gd name="connsiteY20658" fmla="*/ 3937447 h 7458372"/>
              <a:gd name="connsiteX20659" fmla="*/ 5892385 w 10505529"/>
              <a:gd name="connsiteY20659" fmla="*/ 3946897 h 7458372"/>
              <a:gd name="connsiteX20660" fmla="*/ 5895979 w 10505529"/>
              <a:gd name="connsiteY20660" fmla="*/ 3956349 h 7458372"/>
              <a:gd name="connsiteX20661" fmla="*/ 5905963 w 10505529"/>
              <a:gd name="connsiteY20661" fmla="*/ 3959810 h 7458372"/>
              <a:gd name="connsiteX20662" fmla="*/ 5911287 w 10505529"/>
              <a:gd name="connsiteY20662" fmla="*/ 3959011 h 7458372"/>
              <a:gd name="connsiteX20663" fmla="*/ 5915014 w 10505529"/>
              <a:gd name="connsiteY20663" fmla="*/ 3956615 h 7458372"/>
              <a:gd name="connsiteX20664" fmla="*/ 5917677 w 10505529"/>
              <a:gd name="connsiteY20664" fmla="*/ 3952355 h 7458372"/>
              <a:gd name="connsiteX20665" fmla="*/ 5918742 w 10505529"/>
              <a:gd name="connsiteY20665" fmla="*/ 3946897 h 7458372"/>
              <a:gd name="connsiteX20666" fmla="*/ 5917677 w 10505529"/>
              <a:gd name="connsiteY20666" fmla="*/ 3941706 h 7458372"/>
              <a:gd name="connsiteX20667" fmla="*/ 5915014 w 10505529"/>
              <a:gd name="connsiteY20667" fmla="*/ 3937447 h 7458372"/>
              <a:gd name="connsiteX20668" fmla="*/ 5911021 w 10505529"/>
              <a:gd name="connsiteY20668" fmla="*/ 3934784 h 7458372"/>
              <a:gd name="connsiteX20669" fmla="*/ 5905963 w 10505529"/>
              <a:gd name="connsiteY20669" fmla="*/ 3933852 h 7458372"/>
              <a:gd name="connsiteX20670" fmla="*/ 5688451 w 10505529"/>
              <a:gd name="connsiteY20670" fmla="*/ 3933852 h 7458372"/>
              <a:gd name="connsiteX20671" fmla="*/ 5678467 w 10505529"/>
              <a:gd name="connsiteY20671" fmla="*/ 3937447 h 7458372"/>
              <a:gd name="connsiteX20672" fmla="*/ 5674873 w 10505529"/>
              <a:gd name="connsiteY20672" fmla="*/ 3946897 h 7458372"/>
              <a:gd name="connsiteX20673" fmla="*/ 5678467 w 10505529"/>
              <a:gd name="connsiteY20673" fmla="*/ 3956349 h 7458372"/>
              <a:gd name="connsiteX20674" fmla="*/ 5688451 w 10505529"/>
              <a:gd name="connsiteY20674" fmla="*/ 3959810 h 7458372"/>
              <a:gd name="connsiteX20675" fmla="*/ 5693775 w 10505529"/>
              <a:gd name="connsiteY20675" fmla="*/ 3959011 h 7458372"/>
              <a:gd name="connsiteX20676" fmla="*/ 5697502 w 10505529"/>
              <a:gd name="connsiteY20676" fmla="*/ 3956615 h 7458372"/>
              <a:gd name="connsiteX20677" fmla="*/ 5700165 w 10505529"/>
              <a:gd name="connsiteY20677" fmla="*/ 3952355 h 7458372"/>
              <a:gd name="connsiteX20678" fmla="*/ 5701230 w 10505529"/>
              <a:gd name="connsiteY20678" fmla="*/ 3946897 h 7458372"/>
              <a:gd name="connsiteX20679" fmla="*/ 5700165 w 10505529"/>
              <a:gd name="connsiteY20679" fmla="*/ 3941706 h 7458372"/>
              <a:gd name="connsiteX20680" fmla="*/ 5697502 w 10505529"/>
              <a:gd name="connsiteY20680" fmla="*/ 3937447 h 7458372"/>
              <a:gd name="connsiteX20681" fmla="*/ 5693509 w 10505529"/>
              <a:gd name="connsiteY20681" fmla="*/ 3934784 h 7458372"/>
              <a:gd name="connsiteX20682" fmla="*/ 5688451 w 10505529"/>
              <a:gd name="connsiteY20682" fmla="*/ 3933852 h 7458372"/>
              <a:gd name="connsiteX20683" fmla="*/ 5470806 w 10505529"/>
              <a:gd name="connsiteY20683" fmla="*/ 3933852 h 7458372"/>
              <a:gd name="connsiteX20684" fmla="*/ 5460822 w 10505529"/>
              <a:gd name="connsiteY20684" fmla="*/ 3937447 h 7458372"/>
              <a:gd name="connsiteX20685" fmla="*/ 5457228 w 10505529"/>
              <a:gd name="connsiteY20685" fmla="*/ 3946897 h 7458372"/>
              <a:gd name="connsiteX20686" fmla="*/ 5460822 w 10505529"/>
              <a:gd name="connsiteY20686" fmla="*/ 3956349 h 7458372"/>
              <a:gd name="connsiteX20687" fmla="*/ 5470806 w 10505529"/>
              <a:gd name="connsiteY20687" fmla="*/ 3959810 h 7458372"/>
              <a:gd name="connsiteX20688" fmla="*/ 5476130 w 10505529"/>
              <a:gd name="connsiteY20688" fmla="*/ 3959011 h 7458372"/>
              <a:gd name="connsiteX20689" fmla="*/ 5479857 w 10505529"/>
              <a:gd name="connsiteY20689" fmla="*/ 3956615 h 7458372"/>
              <a:gd name="connsiteX20690" fmla="*/ 5482520 w 10505529"/>
              <a:gd name="connsiteY20690" fmla="*/ 3952355 h 7458372"/>
              <a:gd name="connsiteX20691" fmla="*/ 5483585 w 10505529"/>
              <a:gd name="connsiteY20691" fmla="*/ 3946897 h 7458372"/>
              <a:gd name="connsiteX20692" fmla="*/ 5482520 w 10505529"/>
              <a:gd name="connsiteY20692" fmla="*/ 3941706 h 7458372"/>
              <a:gd name="connsiteX20693" fmla="*/ 5479857 w 10505529"/>
              <a:gd name="connsiteY20693" fmla="*/ 3937447 h 7458372"/>
              <a:gd name="connsiteX20694" fmla="*/ 5475864 w 10505529"/>
              <a:gd name="connsiteY20694" fmla="*/ 3934784 h 7458372"/>
              <a:gd name="connsiteX20695" fmla="*/ 5470806 w 10505529"/>
              <a:gd name="connsiteY20695" fmla="*/ 3933852 h 7458372"/>
              <a:gd name="connsiteX20696" fmla="*/ 5253160 w 10505529"/>
              <a:gd name="connsiteY20696" fmla="*/ 3933852 h 7458372"/>
              <a:gd name="connsiteX20697" fmla="*/ 5243177 w 10505529"/>
              <a:gd name="connsiteY20697" fmla="*/ 3937447 h 7458372"/>
              <a:gd name="connsiteX20698" fmla="*/ 5239583 w 10505529"/>
              <a:gd name="connsiteY20698" fmla="*/ 3946897 h 7458372"/>
              <a:gd name="connsiteX20699" fmla="*/ 5243177 w 10505529"/>
              <a:gd name="connsiteY20699" fmla="*/ 3956349 h 7458372"/>
              <a:gd name="connsiteX20700" fmla="*/ 5253160 w 10505529"/>
              <a:gd name="connsiteY20700" fmla="*/ 3959810 h 7458372"/>
              <a:gd name="connsiteX20701" fmla="*/ 5258485 w 10505529"/>
              <a:gd name="connsiteY20701" fmla="*/ 3959011 h 7458372"/>
              <a:gd name="connsiteX20702" fmla="*/ 5262212 w 10505529"/>
              <a:gd name="connsiteY20702" fmla="*/ 3956615 h 7458372"/>
              <a:gd name="connsiteX20703" fmla="*/ 5264875 w 10505529"/>
              <a:gd name="connsiteY20703" fmla="*/ 3952355 h 7458372"/>
              <a:gd name="connsiteX20704" fmla="*/ 5265939 w 10505529"/>
              <a:gd name="connsiteY20704" fmla="*/ 3946897 h 7458372"/>
              <a:gd name="connsiteX20705" fmla="*/ 5264875 w 10505529"/>
              <a:gd name="connsiteY20705" fmla="*/ 3941706 h 7458372"/>
              <a:gd name="connsiteX20706" fmla="*/ 5262212 w 10505529"/>
              <a:gd name="connsiteY20706" fmla="*/ 3937447 h 7458372"/>
              <a:gd name="connsiteX20707" fmla="*/ 5258219 w 10505529"/>
              <a:gd name="connsiteY20707" fmla="*/ 3934784 h 7458372"/>
              <a:gd name="connsiteX20708" fmla="*/ 5253160 w 10505529"/>
              <a:gd name="connsiteY20708" fmla="*/ 3933852 h 7458372"/>
              <a:gd name="connsiteX20709" fmla="*/ 5035515 w 10505529"/>
              <a:gd name="connsiteY20709" fmla="*/ 3933852 h 7458372"/>
              <a:gd name="connsiteX20710" fmla="*/ 5025532 w 10505529"/>
              <a:gd name="connsiteY20710" fmla="*/ 3937447 h 7458372"/>
              <a:gd name="connsiteX20711" fmla="*/ 5021938 w 10505529"/>
              <a:gd name="connsiteY20711" fmla="*/ 3946897 h 7458372"/>
              <a:gd name="connsiteX20712" fmla="*/ 5025532 w 10505529"/>
              <a:gd name="connsiteY20712" fmla="*/ 3956349 h 7458372"/>
              <a:gd name="connsiteX20713" fmla="*/ 5035515 w 10505529"/>
              <a:gd name="connsiteY20713" fmla="*/ 3959810 h 7458372"/>
              <a:gd name="connsiteX20714" fmla="*/ 5040840 w 10505529"/>
              <a:gd name="connsiteY20714" fmla="*/ 3959011 h 7458372"/>
              <a:gd name="connsiteX20715" fmla="*/ 5044567 w 10505529"/>
              <a:gd name="connsiteY20715" fmla="*/ 3956615 h 7458372"/>
              <a:gd name="connsiteX20716" fmla="*/ 5047230 w 10505529"/>
              <a:gd name="connsiteY20716" fmla="*/ 3952355 h 7458372"/>
              <a:gd name="connsiteX20717" fmla="*/ 5048294 w 10505529"/>
              <a:gd name="connsiteY20717" fmla="*/ 3946897 h 7458372"/>
              <a:gd name="connsiteX20718" fmla="*/ 5047230 w 10505529"/>
              <a:gd name="connsiteY20718" fmla="*/ 3941706 h 7458372"/>
              <a:gd name="connsiteX20719" fmla="*/ 5044567 w 10505529"/>
              <a:gd name="connsiteY20719" fmla="*/ 3937447 h 7458372"/>
              <a:gd name="connsiteX20720" fmla="*/ 5040574 w 10505529"/>
              <a:gd name="connsiteY20720" fmla="*/ 3934784 h 7458372"/>
              <a:gd name="connsiteX20721" fmla="*/ 5035515 w 10505529"/>
              <a:gd name="connsiteY20721" fmla="*/ 3933852 h 7458372"/>
              <a:gd name="connsiteX20722" fmla="*/ 4817870 w 10505529"/>
              <a:gd name="connsiteY20722" fmla="*/ 3933852 h 7458372"/>
              <a:gd name="connsiteX20723" fmla="*/ 4807887 w 10505529"/>
              <a:gd name="connsiteY20723" fmla="*/ 3937447 h 7458372"/>
              <a:gd name="connsiteX20724" fmla="*/ 4804293 w 10505529"/>
              <a:gd name="connsiteY20724" fmla="*/ 3946897 h 7458372"/>
              <a:gd name="connsiteX20725" fmla="*/ 4807887 w 10505529"/>
              <a:gd name="connsiteY20725" fmla="*/ 3956349 h 7458372"/>
              <a:gd name="connsiteX20726" fmla="*/ 4817870 w 10505529"/>
              <a:gd name="connsiteY20726" fmla="*/ 3959810 h 7458372"/>
              <a:gd name="connsiteX20727" fmla="*/ 4823195 w 10505529"/>
              <a:gd name="connsiteY20727" fmla="*/ 3959011 h 7458372"/>
              <a:gd name="connsiteX20728" fmla="*/ 4826922 w 10505529"/>
              <a:gd name="connsiteY20728" fmla="*/ 3956615 h 7458372"/>
              <a:gd name="connsiteX20729" fmla="*/ 4829585 w 10505529"/>
              <a:gd name="connsiteY20729" fmla="*/ 3952355 h 7458372"/>
              <a:gd name="connsiteX20730" fmla="*/ 4830650 w 10505529"/>
              <a:gd name="connsiteY20730" fmla="*/ 3946897 h 7458372"/>
              <a:gd name="connsiteX20731" fmla="*/ 4829585 w 10505529"/>
              <a:gd name="connsiteY20731" fmla="*/ 3941706 h 7458372"/>
              <a:gd name="connsiteX20732" fmla="*/ 4826922 w 10505529"/>
              <a:gd name="connsiteY20732" fmla="*/ 3937447 h 7458372"/>
              <a:gd name="connsiteX20733" fmla="*/ 4822929 w 10505529"/>
              <a:gd name="connsiteY20733" fmla="*/ 3934784 h 7458372"/>
              <a:gd name="connsiteX20734" fmla="*/ 4817870 w 10505529"/>
              <a:gd name="connsiteY20734" fmla="*/ 3933852 h 7458372"/>
              <a:gd name="connsiteX20735" fmla="*/ 4600226 w 10505529"/>
              <a:gd name="connsiteY20735" fmla="*/ 3933852 h 7458372"/>
              <a:gd name="connsiteX20736" fmla="*/ 4590242 w 10505529"/>
              <a:gd name="connsiteY20736" fmla="*/ 3937447 h 7458372"/>
              <a:gd name="connsiteX20737" fmla="*/ 4586648 w 10505529"/>
              <a:gd name="connsiteY20737" fmla="*/ 3946897 h 7458372"/>
              <a:gd name="connsiteX20738" fmla="*/ 4590242 w 10505529"/>
              <a:gd name="connsiteY20738" fmla="*/ 3956349 h 7458372"/>
              <a:gd name="connsiteX20739" fmla="*/ 4600226 w 10505529"/>
              <a:gd name="connsiteY20739" fmla="*/ 3959810 h 7458372"/>
              <a:gd name="connsiteX20740" fmla="*/ 4605550 w 10505529"/>
              <a:gd name="connsiteY20740" fmla="*/ 3959011 h 7458372"/>
              <a:gd name="connsiteX20741" fmla="*/ 4609277 w 10505529"/>
              <a:gd name="connsiteY20741" fmla="*/ 3956615 h 7458372"/>
              <a:gd name="connsiteX20742" fmla="*/ 4611940 w 10505529"/>
              <a:gd name="connsiteY20742" fmla="*/ 3952355 h 7458372"/>
              <a:gd name="connsiteX20743" fmla="*/ 4613005 w 10505529"/>
              <a:gd name="connsiteY20743" fmla="*/ 3946897 h 7458372"/>
              <a:gd name="connsiteX20744" fmla="*/ 4611940 w 10505529"/>
              <a:gd name="connsiteY20744" fmla="*/ 3941706 h 7458372"/>
              <a:gd name="connsiteX20745" fmla="*/ 4609277 w 10505529"/>
              <a:gd name="connsiteY20745" fmla="*/ 3937447 h 7458372"/>
              <a:gd name="connsiteX20746" fmla="*/ 4605284 w 10505529"/>
              <a:gd name="connsiteY20746" fmla="*/ 3934784 h 7458372"/>
              <a:gd name="connsiteX20747" fmla="*/ 4600226 w 10505529"/>
              <a:gd name="connsiteY20747" fmla="*/ 3933852 h 7458372"/>
              <a:gd name="connsiteX20748" fmla="*/ 4382713 w 10505529"/>
              <a:gd name="connsiteY20748" fmla="*/ 3933852 h 7458372"/>
              <a:gd name="connsiteX20749" fmla="*/ 4372730 w 10505529"/>
              <a:gd name="connsiteY20749" fmla="*/ 3937447 h 7458372"/>
              <a:gd name="connsiteX20750" fmla="*/ 4369136 w 10505529"/>
              <a:gd name="connsiteY20750" fmla="*/ 3946897 h 7458372"/>
              <a:gd name="connsiteX20751" fmla="*/ 4372730 w 10505529"/>
              <a:gd name="connsiteY20751" fmla="*/ 3956349 h 7458372"/>
              <a:gd name="connsiteX20752" fmla="*/ 4382713 w 10505529"/>
              <a:gd name="connsiteY20752" fmla="*/ 3959810 h 7458372"/>
              <a:gd name="connsiteX20753" fmla="*/ 4388038 w 10505529"/>
              <a:gd name="connsiteY20753" fmla="*/ 3959011 h 7458372"/>
              <a:gd name="connsiteX20754" fmla="*/ 4391765 w 10505529"/>
              <a:gd name="connsiteY20754" fmla="*/ 3956615 h 7458372"/>
              <a:gd name="connsiteX20755" fmla="*/ 4394428 w 10505529"/>
              <a:gd name="connsiteY20755" fmla="*/ 3952355 h 7458372"/>
              <a:gd name="connsiteX20756" fmla="*/ 4395493 w 10505529"/>
              <a:gd name="connsiteY20756" fmla="*/ 3946897 h 7458372"/>
              <a:gd name="connsiteX20757" fmla="*/ 4394428 w 10505529"/>
              <a:gd name="connsiteY20757" fmla="*/ 3941706 h 7458372"/>
              <a:gd name="connsiteX20758" fmla="*/ 4391765 w 10505529"/>
              <a:gd name="connsiteY20758" fmla="*/ 3937447 h 7458372"/>
              <a:gd name="connsiteX20759" fmla="*/ 4387772 w 10505529"/>
              <a:gd name="connsiteY20759" fmla="*/ 3934784 h 7458372"/>
              <a:gd name="connsiteX20760" fmla="*/ 4382713 w 10505529"/>
              <a:gd name="connsiteY20760" fmla="*/ 3933852 h 7458372"/>
              <a:gd name="connsiteX20761" fmla="*/ 4165068 w 10505529"/>
              <a:gd name="connsiteY20761" fmla="*/ 3933852 h 7458372"/>
              <a:gd name="connsiteX20762" fmla="*/ 4155084 w 10505529"/>
              <a:gd name="connsiteY20762" fmla="*/ 3937447 h 7458372"/>
              <a:gd name="connsiteX20763" fmla="*/ 4151490 w 10505529"/>
              <a:gd name="connsiteY20763" fmla="*/ 3946897 h 7458372"/>
              <a:gd name="connsiteX20764" fmla="*/ 4155084 w 10505529"/>
              <a:gd name="connsiteY20764" fmla="*/ 3956349 h 7458372"/>
              <a:gd name="connsiteX20765" fmla="*/ 4165068 w 10505529"/>
              <a:gd name="connsiteY20765" fmla="*/ 3959810 h 7458372"/>
              <a:gd name="connsiteX20766" fmla="*/ 4170392 w 10505529"/>
              <a:gd name="connsiteY20766" fmla="*/ 3959011 h 7458372"/>
              <a:gd name="connsiteX20767" fmla="*/ 4174119 w 10505529"/>
              <a:gd name="connsiteY20767" fmla="*/ 3956615 h 7458372"/>
              <a:gd name="connsiteX20768" fmla="*/ 4176782 w 10505529"/>
              <a:gd name="connsiteY20768" fmla="*/ 3952355 h 7458372"/>
              <a:gd name="connsiteX20769" fmla="*/ 4177847 w 10505529"/>
              <a:gd name="connsiteY20769" fmla="*/ 3946897 h 7458372"/>
              <a:gd name="connsiteX20770" fmla="*/ 4176782 w 10505529"/>
              <a:gd name="connsiteY20770" fmla="*/ 3941706 h 7458372"/>
              <a:gd name="connsiteX20771" fmla="*/ 4174119 w 10505529"/>
              <a:gd name="connsiteY20771" fmla="*/ 3937447 h 7458372"/>
              <a:gd name="connsiteX20772" fmla="*/ 4170126 w 10505529"/>
              <a:gd name="connsiteY20772" fmla="*/ 3934784 h 7458372"/>
              <a:gd name="connsiteX20773" fmla="*/ 4165068 w 10505529"/>
              <a:gd name="connsiteY20773" fmla="*/ 3933852 h 7458372"/>
              <a:gd name="connsiteX20774" fmla="*/ 3947640 w 10505529"/>
              <a:gd name="connsiteY20774" fmla="*/ 3933852 h 7458372"/>
              <a:gd name="connsiteX20775" fmla="*/ 3937657 w 10505529"/>
              <a:gd name="connsiteY20775" fmla="*/ 3937447 h 7458372"/>
              <a:gd name="connsiteX20776" fmla="*/ 3934062 w 10505529"/>
              <a:gd name="connsiteY20776" fmla="*/ 3946897 h 7458372"/>
              <a:gd name="connsiteX20777" fmla="*/ 3937657 w 10505529"/>
              <a:gd name="connsiteY20777" fmla="*/ 3956349 h 7458372"/>
              <a:gd name="connsiteX20778" fmla="*/ 3947640 w 10505529"/>
              <a:gd name="connsiteY20778" fmla="*/ 3959810 h 7458372"/>
              <a:gd name="connsiteX20779" fmla="*/ 3952967 w 10505529"/>
              <a:gd name="connsiteY20779" fmla="*/ 3959011 h 7458372"/>
              <a:gd name="connsiteX20780" fmla="*/ 3956693 w 10505529"/>
              <a:gd name="connsiteY20780" fmla="*/ 3956615 h 7458372"/>
              <a:gd name="connsiteX20781" fmla="*/ 3959356 w 10505529"/>
              <a:gd name="connsiteY20781" fmla="*/ 3952355 h 7458372"/>
              <a:gd name="connsiteX20782" fmla="*/ 3960422 w 10505529"/>
              <a:gd name="connsiteY20782" fmla="*/ 3946897 h 7458372"/>
              <a:gd name="connsiteX20783" fmla="*/ 3959356 w 10505529"/>
              <a:gd name="connsiteY20783" fmla="*/ 3941706 h 7458372"/>
              <a:gd name="connsiteX20784" fmla="*/ 3956693 w 10505529"/>
              <a:gd name="connsiteY20784" fmla="*/ 3937447 h 7458372"/>
              <a:gd name="connsiteX20785" fmla="*/ 3952700 w 10505529"/>
              <a:gd name="connsiteY20785" fmla="*/ 3934784 h 7458372"/>
              <a:gd name="connsiteX20786" fmla="*/ 3947640 w 10505529"/>
              <a:gd name="connsiteY20786" fmla="*/ 3933852 h 7458372"/>
              <a:gd name="connsiteX20787" fmla="*/ 3729984 w 10505529"/>
              <a:gd name="connsiteY20787" fmla="*/ 3933852 h 7458372"/>
              <a:gd name="connsiteX20788" fmla="*/ 3719998 w 10505529"/>
              <a:gd name="connsiteY20788" fmla="*/ 3937447 h 7458372"/>
              <a:gd name="connsiteX20789" fmla="*/ 3716405 w 10505529"/>
              <a:gd name="connsiteY20789" fmla="*/ 3946897 h 7458372"/>
              <a:gd name="connsiteX20790" fmla="*/ 3719998 w 10505529"/>
              <a:gd name="connsiteY20790" fmla="*/ 3956349 h 7458372"/>
              <a:gd name="connsiteX20791" fmla="*/ 3729984 w 10505529"/>
              <a:gd name="connsiteY20791" fmla="*/ 3959810 h 7458372"/>
              <a:gd name="connsiteX20792" fmla="*/ 3735309 w 10505529"/>
              <a:gd name="connsiteY20792" fmla="*/ 3959011 h 7458372"/>
              <a:gd name="connsiteX20793" fmla="*/ 3739037 w 10505529"/>
              <a:gd name="connsiteY20793" fmla="*/ 3956615 h 7458372"/>
              <a:gd name="connsiteX20794" fmla="*/ 3741700 w 10505529"/>
              <a:gd name="connsiteY20794" fmla="*/ 3952355 h 7458372"/>
              <a:gd name="connsiteX20795" fmla="*/ 3742764 w 10505529"/>
              <a:gd name="connsiteY20795" fmla="*/ 3946897 h 7458372"/>
              <a:gd name="connsiteX20796" fmla="*/ 3741700 w 10505529"/>
              <a:gd name="connsiteY20796" fmla="*/ 3941706 h 7458372"/>
              <a:gd name="connsiteX20797" fmla="*/ 3739037 w 10505529"/>
              <a:gd name="connsiteY20797" fmla="*/ 3937447 h 7458372"/>
              <a:gd name="connsiteX20798" fmla="*/ 3735044 w 10505529"/>
              <a:gd name="connsiteY20798" fmla="*/ 3934784 h 7458372"/>
              <a:gd name="connsiteX20799" fmla="*/ 3729984 w 10505529"/>
              <a:gd name="connsiteY20799" fmla="*/ 3933852 h 7458372"/>
              <a:gd name="connsiteX20800" fmla="*/ 3512328 w 10505529"/>
              <a:gd name="connsiteY20800" fmla="*/ 3933852 h 7458372"/>
              <a:gd name="connsiteX20801" fmla="*/ 3502341 w 10505529"/>
              <a:gd name="connsiteY20801" fmla="*/ 3937447 h 7458372"/>
              <a:gd name="connsiteX20802" fmla="*/ 3498747 w 10505529"/>
              <a:gd name="connsiteY20802" fmla="*/ 3946897 h 7458372"/>
              <a:gd name="connsiteX20803" fmla="*/ 3502341 w 10505529"/>
              <a:gd name="connsiteY20803" fmla="*/ 3956349 h 7458372"/>
              <a:gd name="connsiteX20804" fmla="*/ 3512328 w 10505529"/>
              <a:gd name="connsiteY20804" fmla="*/ 3959810 h 7458372"/>
              <a:gd name="connsiteX20805" fmla="*/ 3517653 w 10505529"/>
              <a:gd name="connsiteY20805" fmla="*/ 3959011 h 7458372"/>
              <a:gd name="connsiteX20806" fmla="*/ 3521381 w 10505529"/>
              <a:gd name="connsiteY20806" fmla="*/ 3956615 h 7458372"/>
              <a:gd name="connsiteX20807" fmla="*/ 3524044 w 10505529"/>
              <a:gd name="connsiteY20807" fmla="*/ 3952355 h 7458372"/>
              <a:gd name="connsiteX20808" fmla="*/ 3525109 w 10505529"/>
              <a:gd name="connsiteY20808" fmla="*/ 3946897 h 7458372"/>
              <a:gd name="connsiteX20809" fmla="*/ 3524044 w 10505529"/>
              <a:gd name="connsiteY20809" fmla="*/ 3941706 h 7458372"/>
              <a:gd name="connsiteX20810" fmla="*/ 3521381 w 10505529"/>
              <a:gd name="connsiteY20810" fmla="*/ 3937447 h 7458372"/>
              <a:gd name="connsiteX20811" fmla="*/ 3517388 w 10505529"/>
              <a:gd name="connsiteY20811" fmla="*/ 3934784 h 7458372"/>
              <a:gd name="connsiteX20812" fmla="*/ 3512328 w 10505529"/>
              <a:gd name="connsiteY20812" fmla="*/ 3933852 h 7458372"/>
              <a:gd name="connsiteX20813" fmla="*/ 3294805 w 10505529"/>
              <a:gd name="connsiteY20813" fmla="*/ 3933852 h 7458372"/>
              <a:gd name="connsiteX20814" fmla="*/ 3284820 w 10505529"/>
              <a:gd name="connsiteY20814" fmla="*/ 3937447 h 7458372"/>
              <a:gd name="connsiteX20815" fmla="*/ 3281226 w 10505529"/>
              <a:gd name="connsiteY20815" fmla="*/ 3946897 h 7458372"/>
              <a:gd name="connsiteX20816" fmla="*/ 3284820 w 10505529"/>
              <a:gd name="connsiteY20816" fmla="*/ 3956349 h 7458372"/>
              <a:gd name="connsiteX20817" fmla="*/ 3294805 w 10505529"/>
              <a:gd name="connsiteY20817" fmla="*/ 3959810 h 7458372"/>
              <a:gd name="connsiteX20818" fmla="*/ 3300131 w 10505529"/>
              <a:gd name="connsiteY20818" fmla="*/ 3959011 h 7458372"/>
              <a:gd name="connsiteX20819" fmla="*/ 3303858 w 10505529"/>
              <a:gd name="connsiteY20819" fmla="*/ 3956615 h 7458372"/>
              <a:gd name="connsiteX20820" fmla="*/ 3306521 w 10505529"/>
              <a:gd name="connsiteY20820" fmla="*/ 3952355 h 7458372"/>
              <a:gd name="connsiteX20821" fmla="*/ 3307584 w 10505529"/>
              <a:gd name="connsiteY20821" fmla="*/ 3946897 h 7458372"/>
              <a:gd name="connsiteX20822" fmla="*/ 3306521 w 10505529"/>
              <a:gd name="connsiteY20822" fmla="*/ 3941706 h 7458372"/>
              <a:gd name="connsiteX20823" fmla="*/ 3303858 w 10505529"/>
              <a:gd name="connsiteY20823" fmla="*/ 3937447 h 7458372"/>
              <a:gd name="connsiteX20824" fmla="*/ 3299864 w 10505529"/>
              <a:gd name="connsiteY20824" fmla="*/ 3934784 h 7458372"/>
              <a:gd name="connsiteX20825" fmla="*/ 3294805 w 10505529"/>
              <a:gd name="connsiteY20825" fmla="*/ 3933852 h 7458372"/>
              <a:gd name="connsiteX20826" fmla="*/ 3077282 w 10505529"/>
              <a:gd name="connsiteY20826" fmla="*/ 3933852 h 7458372"/>
              <a:gd name="connsiteX20827" fmla="*/ 3067299 w 10505529"/>
              <a:gd name="connsiteY20827" fmla="*/ 3937447 h 7458372"/>
              <a:gd name="connsiteX20828" fmla="*/ 3063569 w 10505529"/>
              <a:gd name="connsiteY20828" fmla="*/ 3946897 h 7458372"/>
              <a:gd name="connsiteX20829" fmla="*/ 3067164 w 10505529"/>
              <a:gd name="connsiteY20829" fmla="*/ 3956349 h 7458372"/>
              <a:gd name="connsiteX20830" fmla="*/ 3077148 w 10505529"/>
              <a:gd name="connsiteY20830" fmla="*/ 3959810 h 7458372"/>
              <a:gd name="connsiteX20831" fmla="*/ 3082607 w 10505529"/>
              <a:gd name="connsiteY20831" fmla="*/ 3959011 h 7458372"/>
              <a:gd name="connsiteX20832" fmla="*/ 3086334 w 10505529"/>
              <a:gd name="connsiteY20832" fmla="*/ 3956615 h 7458372"/>
              <a:gd name="connsiteX20833" fmla="*/ 3088997 w 10505529"/>
              <a:gd name="connsiteY20833" fmla="*/ 3952355 h 7458372"/>
              <a:gd name="connsiteX20834" fmla="*/ 3089929 w 10505529"/>
              <a:gd name="connsiteY20834" fmla="*/ 3946897 h 7458372"/>
              <a:gd name="connsiteX20835" fmla="*/ 3088997 w 10505529"/>
              <a:gd name="connsiteY20835" fmla="*/ 3941706 h 7458372"/>
              <a:gd name="connsiteX20836" fmla="*/ 3086334 w 10505529"/>
              <a:gd name="connsiteY20836" fmla="*/ 3937447 h 7458372"/>
              <a:gd name="connsiteX20837" fmla="*/ 3082341 w 10505529"/>
              <a:gd name="connsiteY20837" fmla="*/ 3934784 h 7458372"/>
              <a:gd name="connsiteX20838" fmla="*/ 3077282 w 10505529"/>
              <a:gd name="connsiteY20838" fmla="*/ 3933852 h 7458372"/>
              <a:gd name="connsiteX20839" fmla="*/ 2859492 w 10505529"/>
              <a:gd name="connsiteY20839" fmla="*/ 3933852 h 7458372"/>
              <a:gd name="connsiteX20840" fmla="*/ 2849506 w 10505529"/>
              <a:gd name="connsiteY20840" fmla="*/ 3937447 h 7458372"/>
              <a:gd name="connsiteX20841" fmla="*/ 2845910 w 10505529"/>
              <a:gd name="connsiteY20841" fmla="*/ 3946897 h 7458372"/>
              <a:gd name="connsiteX20842" fmla="*/ 2849506 w 10505529"/>
              <a:gd name="connsiteY20842" fmla="*/ 3956349 h 7458372"/>
              <a:gd name="connsiteX20843" fmla="*/ 2859492 w 10505529"/>
              <a:gd name="connsiteY20843" fmla="*/ 3959810 h 7458372"/>
              <a:gd name="connsiteX20844" fmla="*/ 2864817 w 10505529"/>
              <a:gd name="connsiteY20844" fmla="*/ 3959011 h 7458372"/>
              <a:gd name="connsiteX20845" fmla="*/ 2868544 w 10505529"/>
              <a:gd name="connsiteY20845" fmla="*/ 3956615 h 7458372"/>
              <a:gd name="connsiteX20846" fmla="*/ 2871207 w 10505529"/>
              <a:gd name="connsiteY20846" fmla="*/ 3952355 h 7458372"/>
              <a:gd name="connsiteX20847" fmla="*/ 2872138 w 10505529"/>
              <a:gd name="connsiteY20847" fmla="*/ 3946897 h 7458372"/>
              <a:gd name="connsiteX20848" fmla="*/ 2871207 w 10505529"/>
              <a:gd name="connsiteY20848" fmla="*/ 3941706 h 7458372"/>
              <a:gd name="connsiteX20849" fmla="*/ 2868544 w 10505529"/>
              <a:gd name="connsiteY20849" fmla="*/ 3937447 h 7458372"/>
              <a:gd name="connsiteX20850" fmla="*/ 2864552 w 10505529"/>
              <a:gd name="connsiteY20850" fmla="*/ 3934784 h 7458372"/>
              <a:gd name="connsiteX20851" fmla="*/ 2859492 w 10505529"/>
              <a:gd name="connsiteY20851" fmla="*/ 3933852 h 7458372"/>
              <a:gd name="connsiteX20852" fmla="*/ 2641836 w 10505529"/>
              <a:gd name="connsiteY20852" fmla="*/ 3933852 h 7458372"/>
              <a:gd name="connsiteX20853" fmla="*/ 2631853 w 10505529"/>
              <a:gd name="connsiteY20853" fmla="*/ 3937447 h 7458372"/>
              <a:gd name="connsiteX20854" fmla="*/ 2628258 w 10505529"/>
              <a:gd name="connsiteY20854" fmla="*/ 3946897 h 7458372"/>
              <a:gd name="connsiteX20855" fmla="*/ 2631853 w 10505529"/>
              <a:gd name="connsiteY20855" fmla="*/ 3956349 h 7458372"/>
              <a:gd name="connsiteX20856" fmla="*/ 2641836 w 10505529"/>
              <a:gd name="connsiteY20856" fmla="*/ 3959810 h 7458372"/>
              <a:gd name="connsiteX20857" fmla="*/ 2647161 w 10505529"/>
              <a:gd name="connsiteY20857" fmla="*/ 3959011 h 7458372"/>
              <a:gd name="connsiteX20858" fmla="*/ 2650888 w 10505529"/>
              <a:gd name="connsiteY20858" fmla="*/ 3956615 h 7458372"/>
              <a:gd name="connsiteX20859" fmla="*/ 2653551 w 10505529"/>
              <a:gd name="connsiteY20859" fmla="*/ 3952355 h 7458372"/>
              <a:gd name="connsiteX20860" fmla="*/ 2654482 w 10505529"/>
              <a:gd name="connsiteY20860" fmla="*/ 3946897 h 7458372"/>
              <a:gd name="connsiteX20861" fmla="*/ 2653551 w 10505529"/>
              <a:gd name="connsiteY20861" fmla="*/ 3941706 h 7458372"/>
              <a:gd name="connsiteX20862" fmla="*/ 2650888 w 10505529"/>
              <a:gd name="connsiteY20862" fmla="*/ 3937447 h 7458372"/>
              <a:gd name="connsiteX20863" fmla="*/ 2646895 w 10505529"/>
              <a:gd name="connsiteY20863" fmla="*/ 3934784 h 7458372"/>
              <a:gd name="connsiteX20864" fmla="*/ 2641836 w 10505529"/>
              <a:gd name="connsiteY20864" fmla="*/ 3933852 h 7458372"/>
              <a:gd name="connsiteX20865" fmla="*/ 2424179 w 10505529"/>
              <a:gd name="connsiteY20865" fmla="*/ 3933852 h 7458372"/>
              <a:gd name="connsiteX20866" fmla="*/ 2414196 w 10505529"/>
              <a:gd name="connsiteY20866" fmla="*/ 3937447 h 7458372"/>
              <a:gd name="connsiteX20867" fmla="*/ 2410602 w 10505529"/>
              <a:gd name="connsiteY20867" fmla="*/ 3946897 h 7458372"/>
              <a:gd name="connsiteX20868" fmla="*/ 2414196 w 10505529"/>
              <a:gd name="connsiteY20868" fmla="*/ 3956349 h 7458372"/>
              <a:gd name="connsiteX20869" fmla="*/ 2424179 w 10505529"/>
              <a:gd name="connsiteY20869" fmla="*/ 3959810 h 7458372"/>
              <a:gd name="connsiteX20870" fmla="*/ 2429505 w 10505529"/>
              <a:gd name="connsiteY20870" fmla="*/ 3959011 h 7458372"/>
              <a:gd name="connsiteX20871" fmla="*/ 2433232 w 10505529"/>
              <a:gd name="connsiteY20871" fmla="*/ 3956615 h 7458372"/>
              <a:gd name="connsiteX20872" fmla="*/ 2435895 w 10505529"/>
              <a:gd name="connsiteY20872" fmla="*/ 3952355 h 7458372"/>
              <a:gd name="connsiteX20873" fmla="*/ 2436826 w 10505529"/>
              <a:gd name="connsiteY20873" fmla="*/ 3946897 h 7458372"/>
              <a:gd name="connsiteX20874" fmla="*/ 2435895 w 10505529"/>
              <a:gd name="connsiteY20874" fmla="*/ 3941706 h 7458372"/>
              <a:gd name="connsiteX20875" fmla="*/ 2433232 w 10505529"/>
              <a:gd name="connsiteY20875" fmla="*/ 3937447 h 7458372"/>
              <a:gd name="connsiteX20876" fmla="*/ 2429239 w 10505529"/>
              <a:gd name="connsiteY20876" fmla="*/ 3934784 h 7458372"/>
              <a:gd name="connsiteX20877" fmla="*/ 2424179 w 10505529"/>
              <a:gd name="connsiteY20877" fmla="*/ 3933852 h 7458372"/>
              <a:gd name="connsiteX20878" fmla="*/ 2206523 w 10505529"/>
              <a:gd name="connsiteY20878" fmla="*/ 3933852 h 7458372"/>
              <a:gd name="connsiteX20879" fmla="*/ 2196540 w 10505529"/>
              <a:gd name="connsiteY20879" fmla="*/ 3937447 h 7458372"/>
              <a:gd name="connsiteX20880" fmla="*/ 2192945 w 10505529"/>
              <a:gd name="connsiteY20880" fmla="*/ 3946897 h 7458372"/>
              <a:gd name="connsiteX20881" fmla="*/ 2196540 w 10505529"/>
              <a:gd name="connsiteY20881" fmla="*/ 3956349 h 7458372"/>
              <a:gd name="connsiteX20882" fmla="*/ 2206523 w 10505529"/>
              <a:gd name="connsiteY20882" fmla="*/ 3959810 h 7458372"/>
              <a:gd name="connsiteX20883" fmla="*/ 2211848 w 10505529"/>
              <a:gd name="connsiteY20883" fmla="*/ 3959011 h 7458372"/>
              <a:gd name="connsiteX20884" fmla="*/ 2215575 w 10505529"/>
              <a:gd name="connsiteY20884" fmla="*/ 3956615 h 7458372"/>
              <a:gd name="connsiteX20885" fmla="*/ 2218238 w 10505529"/>
              <a:gd name="connsiteY20885" fmla="*/ 3952355 h 7458372"/>
              <a:gd name="connsiteX20886" fmla="*/ 2219169 w 10505529"/>
              <a:gd name="connsiteY20886" fmla="*/ 3946897 h 7458372"/>
              <a:gd name="connsiteX20887" fmla="*/ 2218238 w 10505529"/>
              <a:gd name="connsiteY20887" fmla="*/ 3941706 h 7458372"/>
              <a:gd name="connsiteX20888" fmla="*/ 2215575 w 10505529"/>
              <a:gd name="connsiteY20888" fmla="*/ 3937447 h 7458372"/>
              <a:gd name="connsiteX20889" fmla="*/ 2211582 w 10505529"/>
              <a:gd name="connsiteY20889" fmla="*/ 3934784 h 7458372"/>
              <a:gd name="connsiteX20890" fmla="*/ 2206523 w 10505529"/>
              <a:gd name="connsiteY20890" fmla="*/ 3933852 h 7458372"/>
              <a:gd name="connsiteX20891" fmla="*/ 1988999 w 10505529"/>
              <a:gd name="connsiteY20891" fmla="*/ 3933852 h 7458372"/>
              <a:gd name="connsiteX20892" fmla="*/ 1979016 w 10505529"/>
              <a:gd name="connsiteY20892" fmla="*/ 3937447 h 7458372"/>
              <a:gd name="connsiteX20893" fmla="*/ 1975422 w 10505529"/>
              <a:gd name="connsiteY20893" fmla="*/ 3946897 h 7458372"/>
              <a:gd name="connsiteX20894" fmla="*/ 1979016 w 10505529"/>
              <a:gd name="connsiteY20894" fmla="*/ 3956349 h 7458372"/>
              <a:gd name="connsiteX20895" fmla="*/ 1988999 w 10505529"/>
              <a:gd name="connsiteY20895" fmla="*/ 3959810 h 7458372"/>
              <a:gd name="connsiteX20896" fmla="*/ 1994324 w 10505529"/>
              <a:gd name="connsiteY20896" fmla="*/ 3959011 h 7458372"/>
              <a:gd name="connsiteX20897" fmla="*/ 1998052 w 10505529"/>
              <a:gd name="connsiteY20897" fmla="*/ 3956615 h 7458372"/>
              <a:gd name="connsiteX20898" fmla="*/ 2000715 w 10505529"/>
              <a:gd name="connsiteY20898" fmla="*/ 3952355 h 7458372"/>
              <a:gd name="connsiteX20899" fmla="*/ 2001645 w 10505529"/>
              <a:gd name="connsiteY20899" fmla="*/ 3946897 h 7458372"/>
              <a:gd name="connsiteX20900" fmla="*/ 2000715 w 10505529"/>
              <a:gd name="connsiteY20900" fmla="*/ 3941706 h 7458372"/>
              <a:gd name="connsiteX20901" fmla="*/ 1998052 w 10505529"/>
              <a:gd name="connsiteY20901" fmla="*/ 3937447 h 7458372"/>
              <a:gd name="connsiteX20902" fmla="*/ 1994058 w 10505529"/>
              <a:gd name="connsiteY20902" fmla="*/ 3934784 h 7458372"/>
              <a:gd name="connsiteX20903" fmla="*/ 1988999 w 10505529"/>
              <a:gd name="connsiteY20903" fmla="*/ 3933852 h 7458372"/>
              <a:gd name="connsiteX20904" fmla="*/ 1771363 w 10505529"/>
              <a:gd name="connsiteY20904" fmla="*/ 3933852 h 7458372"/>
              <a:gd name="connsiteX20905" fmla="*/ 1761380 w 10505529"/>
              <a:gd name="connsiteY20905" fmla="*/ 3937447 h 7458372"/>
              <a:gd name="connsiteX20906" fmla="*/ 1757786 w 10505529"/>
              <a:gd name="connsiteY20906" fmla="*/ 3946897 h 7458372"/>
              <a:gd name="connsiteX20907" fmla="*/ 1761380 w 10505529"/>
              <a:gd name="connsiteY20907" fmla="*/ 3956349 h 7458372"/>
              <a:gd name="connsiteX20908" fmla="*/ 1771363 w 10505529"/>
              <a:gd name="connsiteY20908" fmla="*/ 3959810 h 7458372"/>
              <a:gd name="connsiteX20909" fmla="*/ 1776687 w 10505529"/>
              <a:gd name="connsiteY20909" fmla="*/ 3959011 h 7458372"/>
              <a:gd name="connsiteX20910" fmla="*/ 1780414 w 10505529"/>
              <a:gd name="connsiteY20910" fmla="*/ 3956615 h 7458372"/>
              <a:gd name="connsiteX20911" fmla="*/ 1783077 w 10505529"/>
              <a:gd name="connsiteY20911" fmla="*/ 3952355 h 7458372"/>
              <a:gd name="connsiteX20912" fmla="*/ 1784142 w 10505529"/>
              <a:gd name="connsiteY20912" fmla="*/ 3946897 h 7458372"/>
              <a:gd name="connsiteX20913" fmla="*/ 1783077 w 10505529"/>
              <a:gd name="connsiteY20913" fmla="*/ 3941706 h 7458372"/>
              <a:gd name="connsiteX20914" fmla="*/ 1780414 w 10505529"/>
              <a:gd name="connsiteY20914" fmla="*/ 3937447 h 7458372"/>
              <a:gd name="connsiteX20915" fmla="*/ 1776422 w 10505529"/>
              <a:gd name="connsiteY20915" fmla="*/ 3934784 h 7458372"/>
              <a:gd name="connsiteX20916" fmla="*/ 1771363 w 10505529"/>
              <a:gd name="connsiteY20916" fmla="*/ 3933852 h 7458372"/>
              <a:gd name="connsiteX20917" fmla="*/ 1553723 w 10505529"/>
              <a:gd name="connsiteY20917" fmla="*/ 3933852 h 7458372"/>
              <a:gd name="connsiteX20918" fmla="*/ 1543740 w 10505529"/>
              <a:gd name="connsiteY20918" fmla="*/ 3937447 h 7458372"/>
              <a:gd name="connsiteX20919" fmla="*/ 1540146 w 10505529"/>
              <a:gd name="connsiteY20919" fmla="*/ 3946897 h 7458372"/>
              <a:gd name="connsiteX20920" fmla="*/ 1543740 w 10505529"/>
              <a:gd name="connsiteY20920" fmla="*/ 3956349 h 7458372"/>
              <a:gd name="connsiteX20921" fmla="*/ 1553723 w 10505529"/>
              <a:gd name="connsiteY20921" fmla="*/ 3959810 h 7458372"/>
              <a:gd name="connsiteX20922" fmla="*/ 1559048 w 10505529"/>
              <a:gd name="connsiteY20922" fmla="*/ 3959011 h 7458372"/>
              <a:gd name="connsiteX20923" fmla="*/ 1562775 w 10505529"/>
              <a:gd name="connsiteY20923" fmla="*/ 3956615 h 7458372"/>
              <a:gd name="connsiteX20924" fmla="*/ 1565438 w 10505529"/>
              <a:gd name="connsiteY20924" fmla="*/ 3952355 h 7458372"/>
              <a:gd name="connsiteX20925" fmla="*/ 1566503 w 10505529"/>
              <a:gd name="connsiteY20925" fmla="*/ 3946897 h 7458372"/>
              <a:gd name="connsiteX20926" fmla="*/ 1565438 w 10505529"/>
              <a:gd name="connsiteY20926" fmla="*/ 3941706 h 7458372"/>
              <a:gd name="connsiteX20927" fmla="*/ 1562775 w 10505529"/>
              <a:gd name="connsiteY20927" fmla="*/ 3937447 h 7458372"/>
              <a:gd name="connsiteX20928" fmla="*/ 1558782 w 10505529"/>
              <a:gd name="connsiteY20928" fmla="*/ 3934784 h 7458372"/>
              <a:gd name="connsiteX20929" fmla="*/ 1553723 w 10505529"/>
              <a:gd name="connsiteY20929" fmla="*/ 3933852 h 7458372"/>
              <a:gd name="connsiteX20930" fmla="*/ 1336079 w 10505529"/>
              <a:gd name="connsiteY20930" fmla="*/ 3933852 h 7458372"/>
              <a:gd name="connsiteX20931" fmla="*/ 1326096 w 10505529"/>
              <a:gd name="connsiteY20931" fmla="*/ 3937447 h 7458372"/>
              <a:gd name="connsiteX20932" fmla="*/ 1322501 w 10505529"/>
              <a:gd name="connsiteY20932" fmla="*/ 3946897 h 7458372"/>
              <a:gd name="connsiteX20933" fmla="*/ 1326096 w 10505529"/>
              <a:gd name="connsiteY20933" fmla="*/ 3956349 h 7458372"/>
              <a:gd name="connsiteX20934" fmla="*/ 1336079 w 10505529"/>
              <a:gd name="connsiteY20934" fmla="*/ 3959810 h 7458372"/>
              <a:gd name="connsiteX20935" fmla="*/ 1341405 w 10505529"/>
              <a:gd name="connsiteY20935" fmla="*/ 3959011 h 7458372"/>
              <a:gd name="connsiteX20936" fmla="*/ 1345133 w 10505529"/>
              <a:gd name="connsiteY20936" fmla="*/ 3956615 h 7458372"/>
              <a:gd name="connsiteX20937" fmla="*/ 1347795 w 10505529"/>
              <a:gd name="connsiteY20937" fmla="*/ 3952355 h 7458372"/>
              <a:gd name="connsiteX20938" fmla="*/ 1348861 w 10505529"/>
              <a:gd name="connsiteY20938" fmla="*/ 3946897 h 7458372"/>
              <a:gd name="connsiteX20939" fmla="*/ 1347795 w 10505529"/>
              <a:gd name="connsiteY20939" fmla="*/ 3941706 h 7458372"/>
              <a:gd name="connsiteX20940" fmla="*/ 1345133 w 10505529"/>
              <a:gd name="connsiteY20940" fmla="*/ 3937447 h 7458372"/>
              <a:gd name="connsiteX20941" fmla="*/ 1341138 w 10505529"/>
              <a:gd name="connsiteY20941" fmla="*/ 3934784 h 7458372"/>
              <a:gd name="connsiteX20942" fmla="*/ 1336079 w 10505529"/>
              <a:gd name="connsiteY20942" fmla="*/ 3933852 h 7458372"/>
              <a:gd name="connsiteX20943" fmla="*/ 1118567 w 10505529"/>
              <a:gd name="connsiteY20943" fmla="*/ 3933852 h 7458372"/>
              <a:gd name="connsiteX20944" fmla="*/ 1108582 w 10505529"/>
              <a:gd name="connsiteY20944" fmla="*/ 3937447 h 7458372"/>
              <a:gd name="connsiteX20945" fmla="*/ 1104855 w 10505529"/>
              <a:gd name="connsiteY20945" fmla="*/ 3946897 h 7458372"/>
              <a:gd name="connsiteX20946" fmla="*/ 1108449 w 10505529"/>
              <a:gd name="connsiteY20946" fmla="*/ 3956349 h 7458372"/>
              <a:gd name="connsiteX20947" fmla="*/ 1118434 w 10505529"/>
              <a:gd name="connsiteY20947" fmla="*/ 3959810 h 7458372"/>
              <a:gd name="connsiteX20948" fmla="*/ 1123891 w 10505529"/>
              <a:gd name="connsiteY20948" fmla="*/ 3959011 h 7458372"/>
              <a:gd name="connsiteX20949" fmla="*/ 1127620 w 10505529"/>
              <a:gd name="connsiteY20949" fmla="*/ 3956615 h 7458372"/>
              <a:gd name="connsiteX20950" fmla="*/ 1130284 w 10505529"/>
              <a:gd name="connsiteY20950" fmla="*/ 3952355 h 7458372"/>
              <a:gd name="connsiteX20951" fmla="*/ 1131349 w 10505529"/>
              <a:gd name="connsiteY20951" fmla="*/ 3946897 h 7458372"/>
              <a:gd name="connsiteX20952" fmla="*/ 1130284 w 10505529"/>
              <a:gd name="connsiteY20952" fmla="*/ 3941706 h 7458372"/>
              <a:gd name="connsiteX20953" fmla="*/ 1127620 w 10505529"/>
              <a:gd name="connsiteY20953" fmla="*/ 3937447 h 7458372"/>
              <a:gd name="connsiteX20954" fmla="*/ 1123625 w 10505529"/>
              <a:gd name="connsiteY20954" fmla="*/ 3934784 h 7458372"/>
              <a:gd name="connsiteX20955" fmla="*/ 1118567 w 10505529"/>
              <a:gd name="connsiteY20955" fmla="*/ 3933852 h 7458372"/>
              <a:gd name="connsiteX20956" fmla="*/ 901055 w 10505529"/>
              <a:gd name="connsiteY20956" fmla="*/ 3933852 h 7458372"/>
              <a:gd name="connsiteX20957" fmla="*/ 891071 w 10505529"/>
              <a:gd name="connsiteY20957" fmla="*/ 3937447 h 7458372"/>
              <a:gd name="connsiteX20958" fmla="*/ 887344 w 10505529"/>
              <a:gd name="connsiteY20958" fmla="*/ 3946897 h 7458372"/>
              <a:gd name="connsiteX20959" fmla="*/ 890938 w 10505529"/>
              <a:gd name="connsiteY20959" fmla="*/ 3956349 h 7458372"/>
              <a:gd name="connsiteX20960" fmla="*/ 900921 w 10505529"/>
              <a:gd name="connsiteY20960" fmla="*/ 3959810 h 7458372"/>
              <a:gd name="connsiteX20961" fmla="*/ 906379 w 10505529"/>
              <a:gd name="connsiteY20961" fmla="*/ 3959011 h 7458372"/>
              <a:gd name="connsiteX20962" fmla="*/ 910107 w 10505529"/>
              <a:gd name="connsiteY20962" fmla="*/ 3956615 h 7458372"/>
              <a:gd name="connsiteX20963" fmla="*/ 912769 w 10505529"/>
              <a:gd name="connsiteY20963" fmla="*/ 3952355 h 7458372"/>
              <a:gd name="connsiteX20964" fmla="*/ 913834 w 10505529"/>
              <a:gd name="connsiteY20964" fmla="*/ 3946897 h 7458372"/>
              <a:gd name="connsiteX20965" fmla="*/ 912769 w 10505529"/>
              <a:gd name="connsiteY20965" fmla="*/ 3941706 h 7458372"/>
              <a:gd name="connsiteX20966" fmla="*/ 910107 w 10505529"/>
              <a:gd name="connsiteY20966" fmla="*/ 3937447 h 7458372"/>
              <a:gd name="connsiteX20967" fmla="*/ 906113 w 10505529"/>
              <a:gd name="connsiteY20967" fmla="*/ 3934784 h 7458372"/>
              <a:gd name="connsiteX20968" fmla="*/ 901055 w 10505529"/>
              <a:gd name="connsiteY20968" fmla="*/ 3933852 h 7458372"/>
              <a:gd name="connsiteX20969" fmla="*/ 683280 w 10505529"/>
              <a:gd name="connsiteY20969" fmla="*/ 3933852 h 7458372"/>
              <a:gd name="connsiteX20970" fmla="*/ 673296 w 10505529"/>
              <a:gd name="connsiteY20970" fmla="*/ 3937447 h 7458372"/>
              <a:gd name="connsiteX20971" fmla="*/ 669703 w 10505529"/>
              <a:gd name="connsiteY20971" fmla="*/ 3946897 h 7458372"/>
              <a:gd name="connsiteX20972" fmla="*/ 673296 w 10505529"/>
              <a:gd name="connsiteY20972" fmla="*/ 3956349 h 7458372"/>
              <a:gd name="connsiteX20973" fmla="*/ 683280 w 10505529"/>
              <a:gd name="connsiteY20973" fmla="*/ 3959810 h 7458372"/>
              <a:gd name="connsiteX20974" fmla="*/ 688605 w 10505529"/>
              <a:gd name="connsiteY20974" fmla="*/ 3959011 h 7458372"/>
              <a:gd name="connsiteX20975" fmla="*/ 692332 w 10505529"/>
              <a:gd name="connsiteY20975" fmla="*/ 3956615 h 7458372"/>
              <a:gd name="connsiteX20976" fmla="*/ 694995 w 10505529"/>
              <a:gd name="connsiteY20976" fmla="*/ 3952355 h 7458372"/>
              <a:gd name="connsiteX20977" fmla="*/ 696060 w 10505529"/>
              <a:gd name="connsiteY20977" fmla="*/ 3946897 h 7458372"/>
              <a:gd name="connsiteX20978" fmla="*/ 694995 w 10505529"/>
              <a:gd name="connsiteY20978" fmla="*/ 3941706 h 7458372"/>
              <a:gd name="connsiteX20979" fmla="*/ 692332 w 10505529"/>
              <a:gd name="connsiteY20979" fmla="*/ 3937447 h 7458372"/>
              <a:gd name="connsiteX20980" fmla="*/ 688339 w 10505529"/>
              <a:gd name="connsiteY20980" fmla="*/ 3934784 h 7458372"/>
              <a:gd name="connsiteX20981" fmla="*/ 683280 w 10505529"/>
              <a:gd name="connsiteY20981" fmla="*/ 3933852 h 7458372"/>
              <a:gd name="connsiteX20982" fmla="*/ 465637 w 10505529"/>
              <a:gd name="connsiteY20982" fmla="*/ 3933852 h 7458372"/>
              <a:gd name="connsiteX20983" fmla="*/ 455654 w 10505529"/>
              <a:gd name="connsiteY20983" fmla="*/ 3937447 h 7458372"/>
              <a:gd name="connsiteX20984" fmla="*/ 452060 w 10505529"/>
              <a:gd name="connsiteY20984" fmla="*/ 3946897 h 7458372"/>
              <a:gd name="connsiteX20985" fmla="*/ 455654 w 10505529"/>
              <a:gd name="connsiteY20985" fmla="*/ 3956349 h 7458372"/>
              <a:gd name="connsiteX20986" fmla="*/ 465637 w 10505529"/>
              <a:gd name="connsiteY20986" fmla="*/ 3959810 h 7458372"/>
              <a:gd name="connsiteX20987" fmla="*/ 470962 w 10505529"/>
              <a:gd name="connsiteY20987" fmla="*/ 3959011 h 7458372"/>
              <a:gd name="connsiteX20988" fmla="*/ 474689 w 10505529"/>
              <a:gd name="connsiteY20988" fmla="*/ 3956615 h 7458372"/>
              <a:gd name="connsiteX20989" fmla="*/ 477353 w 10505529"/>
              <a:gd name="connsiteY20989" fmla="*/ 3952355 h 7458372"/>
              <a:gd name="connsiteX20990" fmla="*/ 478418 w 10505529"/>
              <a:gd name="connsiteY20990" fmla="*/ 3946897 h 7458372"/>
              <a:gd name="connsiteX20991" fmla="*/ 477353 w 10505529"/>
              <a:gd name="connsiteY20991" fmla="*/ 3941706 h 7458372"/>
              <a:gd name="connsiteX20992" fmla="*/ 474689 w 10505529"/>
              <a:gd name="connsiteY20992" fmla="*/ 3937447 h 7458372"/>
              <a:gd name="connsiteX20993" fmla="*/ 470697 w 10505529"/>
              <a:gd name="connsiteY20993" fmla="*/ 3934784 h 7458372"/>
              <a:gd name="connsiteX20994" fmla="*/ 465637 w 10505529"/>
              <a:gd name="connsiteY20994" fmla="*/ 3933852 h 7458372"/>
              <a:gd name="connsiteX20995" fmla="*/ 247995 w 10505529"/>
              <a:gd name="connsiteY20995" fmla="*/ 3933852 h 7458372"/>
              <a:gd name="connsiteX20996" fmla="*/ 238012 w 10505529"/>
              <a:gd name="connsiteY20996" fmla="*/ 3937447 h 7458372"/>
              <a:gd name="connsiteX20997" fmla="*/ 234419 w 10505529"/>
              <a:gd name="connsiteY20997" fmla="*/ 3946897 h 7458372"/>
              <a:gd name="connsiteX20998" fmla="*/ 238012 w 10505529"/>
              <a:gd name="connsiteY20998" fmla="*/ 3956349 h 7458372"/>
              <a:gd name="connsiteX20999" fmla="*/ 247995 w 10505529"/>
              <a:gd name="connsiteY20999" fmla="*/ 3959810 h 7458372"/>
              <a:gd name="connsiteX21000" fmla="*/ 253320 w 10505529"/>
              <a:gd name="connsiteY21000" fmla="*/ 3959011 h 7458372"/>
              <a:gd name="connsiteX21001" fmla="*/ 257046 w 10505529"/>
              <a:gd name="connsiteY21001" fmla="*/ 3956615 h 7458372"/>
              <a:gd name="connsiteX21002" fmla="*/ 259710 w 10505529"/>
              <a:gd name="connsiteY21002" fmla="*/ 3952355 h 7458372"/>
              <a:gd name="connsiteX21003" fmla="*/ 260775 w 10505529"/>
              <a:gd name="connsiteY21003" fmla="*/ 3946897 h 7458372"/>
              <a:gd name="connsiteX21004" fmla="*/ 259710 w 10505529"/>
              <a:gd name="connsiteY21004" fmla="*/ 3941706 h 7458372"/>
              <a:gd name="connsiteX21005" fmla="*/ 257046 w 10505529"/>
              <a:gd name="connsiteY21005" fmla="*/ 3937447 h 7458372"/>
              <a:gd name="connsiteX21006" fmla="*/ 253054 w 10505529"/>
              <a:gd name="connsiteY21006" fmla="*/ 3934784 h 7458372"/>
              <a:gd name="connsiteX21007" fmla="*/ 247995 w 10505529"/>
              <a:gd name="connsiteY21007" fmla="*/ 3933852 h 7458372"/>
              <a:gd name="connsiteX21008" fmla="*/ 30352 w 10505529"/>
              <a:gd name="connsiteY21008" fmla="*/ 3933852 h 7458372"/>
              <a:gd name="connsiteX21009" fmla="*/ 20369 w 10505529"/>
              <a:gd name="connsiteY21009" fmla="*/ 3937447 h 7458372"/>
              <a:gd name="connsiteX21010" fmla="*/ 16776 w 10505529"/>
              <a:gd name="connsiteY21010" fmla="*/ 3946897 h 7458372"/>
              <a:gd name="connsiteX21011" fmla="*/ 20369 w 10505529"/>
              <a:gd name="connsiteY21011" fmla="*/ 3956349 h 7458372"/>
              <a:gd name="connsiteX21012" fmla="*/ 30352 w 10505529"/>
              <a:gd name="connsiteY21012" fmla="*/ 3959810 h 7458372"/>
              <a:gd name="connsiteX21013" fmla="*/ 35677 w 10505529"/>
              <a:gd name="connsiteY21013" fmla="*/ 3959011 h 7458372"/>
              <a:gd name="connsiteX21014" fmla="*/ 39405 w 10505529"/>
              <a:gd name="connsiteY21014" fmla="*/ 3956615 h 7458372"/>
              <a:gd name="connsiteX21015" fmla="*/ 42068 w 10505529"/>
              <a:gd name="connsiteY21015" fmla="*/ 3952355 h 7458372"/>
              <a:gd name="connsiteX21016" fmla="*/ 42999 w 10505529"/>
              <a:gd name="connsiteY21016" fmla="*/ 3946897 h 7458372"/>
              <a:gd name="connsiteX21017" fmla="*/ 42068 w 10505529"/>
              <a:gd name="connsiteY21017" fmla="*/ 3941706 h 7458372"/>
              <a:gd name="connsiteX21018" fmla="*/ 39405 w 10505529"/>
              <a:gd name="connsiteY21018" fmla="*/ 3937447 h 7458372"/>
              <a:gd name="connsiteX21019" fmla="*/ 35412 w 10505529"/>
              <a:gd name="connsiteY21019" fmla="*/ 3934784 h 7458372"/>
              <a:gd name="connsiteX21020" fmla="*/ 30352 w 10505529"/>
              <a:gd name="connsiteY21020" fmla="*/ 3933852 h 7458372"/>
              <a:gd name="connsiteX21021" fmla="*/ 10475977 w 10505529"/>
              <a:gd name="connsiteY21021" fmla="*/ 3917212 h 7458372"/>
              <a:gd name="connsiteX21022" fmla="*/ 10487824 w 10505529"/>
              <a:gd name="connsiteY21022" fmla="*/ 3919741 h 7458372"/>
              <a:gd name="connsiteX21023" fmla="*/ 10497143 w 10505529"/>
              <a:gd name="connsiteY21023" fmla="*/ 3926131 h 7458372"/>
              <a:gd name="connsiteX21024" fmla="*/ 10503266 w 10505529"/>
              <a:gd name="connsiteY21024" fmla="*/ 3935582 h 7458372"/>
              <a:gd name="connsiteX21025" fmla="*/ 10505529 w 10505529"/>
              <a:gd name="connsiteY21025" fmla="*/ 3947031 h 7458372"/>
              <a:gd name="connsiteX21026" fmla="*/ 10503266 w 10505529"/>
              <a:gd name="connsiteY21026" fmla="*/ 3958745 h 7458372"/>
              <a:gd name="connsiteX21027" fmla="*/ 10497143 w 10505529"/>
              <a:gd name="connsiteY21027" fmla="*/ 3968064 h 7458372"/>
              <a:gd name="connsiteX21028" fmla="*/ 10487824 w 10505529"/>
              <a:gd name="connsiteY21028" fmla="*/ 3974320 h 7458372"/>
              <a:gd name="connsiteX21029" fmla="*/ 10475977 w 10505529"/>
              <a:gd name="connsiteY21029" fmla="*/ 3976583 h 7458372"/>
              <a:gd name="connsiteX21030" fmla="*/ 10454145 w 10505529"/>
              <a:gd name="connsiteY21030" fmla="*/ 3968064 h 7458372"/>
              <a:gd name="connsiteX21031" fmla="*/ 10445759 w 10505529"/>
              <a:gd name="connsiteY21031" fmla="*/ 3946897 h 7458372"/>
              <a:gd name="connsiteX21032" fmla="*/ 10454145 w 10505529"/>
              <a:gd name="connsiteY21032" fmla="*/ 3925864 h 7458372"/>
              <a:gd name="connsiteX21033" fmla="*/ 10475977 w 10505529"/>
              <a:gd name="connsiteY21033" fmla="*/ 3917212 h 7458372"/>
              <a:gd name="connsiteX21034" fmla="*/ 10258466 w 10505529"/>
              <a:gd name="connsiteY21034" fmla="*/ 3917212 h 7458372"/>
              <a:gd name="connsiteX21035" fmla="*/ 10270313 w 10505529"/>
              <a:gd name="connsiteY21035" fmla="*/ 3919741 h 7458372"/>
              <a:gd name="connsiteX21036" fmla="*/ 10279631 w 10505529"/>
              <a:gd name="connsiteY21036" fmla="*/ 3926131 h 7458372"/>
              <a:gd name="connsiteX21037" fmla="*/ 10285754 w 10505529"/>
              <a:gd name="connsiteY21037" fmla="*/ 3935582 h 7458372"/>
              <a:gd name="connsiteX21038" fmla="*/ 10288017 w 10505529"/>
              <a:gd name="connsiteY21038" fmla="*/ 3947031 h 7458372"/>
              <a:gd name="connsiteX21039" fmla="*/ 10285754 w 10505529"/>
              <a:gd name="connsiteY21039" fmla="*/ 3958745 h 7458372"/>
              <a:gd name="connsiteX21040" fmla="*/ 10279631 w 10505529"/>
              <a:gd name="connsiteY21040" fmla="*/ 3968064 h 7458372"/>
              <a:gd name="connsiteX21041" fmla="*/ 10270313 w 10505529"/>
              <a:gd name="connsiteY21041" fmla="*/ 3974320 h 7458372"/>
              <a:gd name="connsiteX21042" fmla="*/ 10258466 w 10505529"/>
              <a:gd name="connsiteY21042" fmla="*/ 3976583 h 7458372"/>
              <a:gd name="connsiteX21043" fmla="*/ 10236633 w 10505529"/>
              <a:gd name="connsiteY21043" fmla="*/ 3968064 h 7458372"/>
              <a:gd name="connsiteX21044" fmla="*/ 10228247 w 10505529"/>
              <a:gd name="connsiteY21044" fmla="*/ 3946897 h 7458372"/>
              <a:gd name="connsiteX21045" fmla="*/ 10236633 w 10505529"/>
              <a:gd name="connsiteY21045" fmla="*/ 3925864 h 7458372"/>
              <a:gd name="connsiteX21046" fmla="*/ 10258466 w 10505529"/>
              <a:gd name="connsiteY21046" fmla="*/ 3917212 h 7458372"/>
              <a:gd name="connsiteX21047" fmla="*/ 10040820 w 10505529"/>
              <a:gd name="connsiteY21047" fmla="*/ 3917212 h 7458372"/>
              <a:gd name="connsiteX21048" fmla="*/ 10052534 w 10505529"/>
              <a:gd name="connsiteY21048" fmla="*/ 3919741 h 7458372"/>
              <a:gd name="connsiteX21049" fmla="*/ 10061852 w 10505529"/>
              <a:gd name="connsiteY21049" fmla="*/ 3926131 h 7458372"/>
              <a:gd name="connsiteX21050" fmla="*/ 10067976 w 10505529"/>
              <a:gd name="connsiteY21050" fmla="*/ 3935582 h 7458372"/>
              <a:gd name="connsiteX21051" fmla="*/ 10070239 w 10505529"/>
              <a:gd name="connsiteY21051" fmla="*/ 3947031 h 7458372"/>
              <a:gd name="connsiteX21052" fmla="*/ 10067976 w 10505529"/>
              <a:gd name="connsiteY21052" fmla="*/ 3958745 h 7458372"/>
              <a:gd name="connsiteX21053" fmla="*/ 10061852 w 10505529"/>
              <a:gd name="connsiteY21053" fmla="*/ 3968064 h 7458372"/>
              <a:gd name="connsiteX21054" fmla="*/ 10052534 w 10505529"/>
              <a:gd name="connsiteY21054" fmla="*/ 3974320 h 7458372"/>
              <a:gd name="connsiteX21055" fmla="*/ 10040820 w 10505529"/>
              <a:gd name="connsiteY21055" fmla="*/ 3976583 h 7458372"/>
              <a:gd name="connsiteX21056" fmla="*/ 10018988 w 10505529"/>
              <a:gd name="connsiteY21056" fmla="*/ 3968064 h 7458372"/>
              <a:gd name="connsiteX21057" fmla="*/ 10010602 w 10505529"/>
              <a:gd name="connsiteY21057" fmla="*/ 3946897 h 7458372"/>
              <a:gd name="connsiteX21058" fmla="*/ 10018988 w 10505529"/>
              <a:gd name="connsiteY21058" fmla="*/ 3925864 h 7458372"/>
              <a:gd name="connsiteX21059" fmla="*/ 10040820 w 10505529"/>
              <a:gd name="connsiteY21059" fmla="*/ 3917212 h 7458372"/>
              <a:gd name="connsiteX21060" fmla="*/ 9823176 w 10505529"/>
              <a:gd name="connsiteY21060" fmla="*/ 3917212 h 7458372"/>
              <a:gd name="connsiteX21061" fmla="*/ 9834890 w 10505529"/>
              <a:gd name="connsiteY21061" fmla="*/ 3919741 h 7458372"/>
              <a:gd name="connsiteX21062" fmla="*/ 9844208 w 10505529"/>
              <a:gd name="connsiteY21062" fmla="*/ 3926131 h 7458372"/>
              <a:gd name="connsiteX21063" fmla="*/ 9850331 w 10505529"/>
              <a:gd name="connsiteY21063" fmla="*/ 3935582 h 7458372"/>
              <a:gd name="connsiteX21064" fmla="*/ 9852595 w 10505529"/>
              <a:gd name="connsiteY21064" fmla="*/ 3947031 h 7458372"/>
              <a:gd name="connsiteX21065" fmla="*/ 9850331 w 10505529"/>
              <a:gd name="connsiteY21065" fmla="*/ 3958745 h 7458372"/>
              <a:gd name="connsiteX21066" fmla="*/ 9844208 w 10505529"/>
              <a:gd name="connsiteY21066" fmla="*/ 3968064 h 7458372"/>
              <a:gd name="connsiteX21067" fmla="*/ 9834890 w 10505529"/>
              <a:gd name="connsiteY21067" fmla="*/ 3974320 h 7458372"/>
              <a:gd name="connsiteX21068" fmla="*/ 9823176 w 10505529"/>
              <a:gd name="connsiteY21068" fmla="*/ 3976583 h 7458372"/>
              <a:gd name="connsiteX21069" fmla="*/ 9801343 w 10505529"/>
              <a:gd name="connsiteY21069" fmla="*/ 3968064 h 7458372"/>
              <a:gd name="connsiteX21070" fmla="*/ 9792957 w 10505529"/>
              <a:gd name="connsiteY21070" fmla="*/ 3946897 h 7458372"/>
              <a:gd name="connsiteX21071" fmla="*/ 9801343 w 10505529"/>
              <a:gd name="connsiteY21071" fmla="*/ 3925864 h 7458372"/>
              <a:gd name="connsiteX21072" fmla="*/ 9823176 w 10505529"/>
              <a:gd name="connsiteY21072" fmla="*/ 3917212 h 7458372"/>
              <a:gd name="connsiteX21073" fmla="*/ 9605531 w 10505529"/>
              <a:gd name="connsiteY21073" fmla="*/ 3917212 h 7458372"/>
              <a:gd name="connsiteX21074" fmla="*/ 9617245 w 10505529"/>
              <a:gd name="connsiteY21074" fmla="*/ 3919741 h 7458372"/>
              <a:gd name="connsiteX21075" fmla="*/ 9626562 w 10505529"/>
              <a:gd name="connsiteY21075" fmla="*/ 3926131 h 7458372"/>
              <a:gd name="connsiteX21076" fmla="*/ 9632686 w 10505529"/>
              <a:gd name="connsiteY21076" fmla="*/ 3935582 h 7458372"/>
              <a:gd name="connsiteX21077" fmla="*/ 9634949 w 10505529"/>
              <a:gd name="connsiteY21077" fmla="*/ 3947031 h 7458372"/>
              <a:gd name="connsiteX21078" fmla="*/ 9632686 w 10505529"/>
              <a:gd name="connsiteY21078" fmla="*/ 3958745 h 7458372"/>
              <a:gd name="connsiteX21079" fmla="*/ 9626562 w 10505529"/>
              <a:gd name="connsiteY21079" fmla="*/ 3968064 h 7458372"/>
              <a:gd name="connsiteX21080" fmla="*/ 9617245 w 10505529"/>
              <a:gd name="connsiteY21080" fmla="*/ 3974320 h 7458372"/>
              <a:gd name="connsiteX21081" fmla="*/ 9605531 w 10505529"/>
              <a:gd name="connsiteY21081" fmla="*/ 3976583 h 7458372"/>
              <a:gd name="connsiteX21082" fmla="*/ 9583698 w 10505529"/>
              <a:gd name="connsiteY21082" fmla="*/ 3968064 h 7458372"/>
              <a:gd name="connsiteX21083" fmla="*/ 9575312 w 10505529"/>
              <a:gd name="connsiteY21083" fmla="*/ 3946897 h 7458372"/>
              <a:gd name="connsiteX21084" fmla="*/ 9583698 w 10505529"/>
              <a:gd name="connsiteY21084" fmla="*/ 3925864 h 7458372"/>
              <a:gd name="connsiteX21085" fmla="*/ 9605531 w 10505529"/>
              <a:gd name="connsiteY21085" fmla="*/ 3917212 h 7458372"/>
              <a:gd name="connsiteX21086" fmla="*/ 9387885 w 10505529"/>
              <a:gd name="connsiteY21086" fmla="*/ 3917212 h 7458372"/>
              <a:gd name="connsiteX21087" fmla="*/ 9399599 w 10505529"/>
              <a:gd name="connsiteY21087" fmla="*/ 3919741 h 7458372"/>
              <a:gd name="connsiteX21088" fmla="*/ 9408917 w 10505529"/>
              <a:gd name="connsiteY21088" fmla="*/ 3926131 h 7458372"/>
              <a:gd name="connsiteX21089" fmla="*/ 9415041 w 10505529"/>
              <a:gd name="connsiteY21089" fmla="*/ 3935582 h 7458372"/>
              <a:gd name="connsiteX21090" fmla="*/ 9417304 w 10505529"/>
              <a:gd name="connsiteY21090" fmla="*/ 3947031 h 7458372"/>
              <a:gd name="connsiteX21091" fmla="*/ 9415041 w 10505529"/>
              <a:gd name="connsiteY21091" fmla="*/ 3958745 h 7458372"/>
              <a:gd name="connsiteX21092" fmla="*/ 9408917 w 10505529"/>
              <a:gd name="connsiteY21092" fmla="*/ 3968064 h 7458372"/>
              <a:gd name="connsiteX21093" fmla="*/ 9399599 w 10505529"/>
              <a:gd name="connsiteY21093" fmla="*/ 3974320 h 7458372"/>
              <a:gd name="connsiteX21094" fmla="*/ 9387885 w 10505529"/>
              <a:gd name="connsiteY21094" fmla="*/ 3976583 h 7458372"/>
              <a:gd name="connsiteX21095" fmla="*/ 9366053 w 10505529"/>
              <a:gd name="connsiteY21095" fmla="*/ 3968064 h 7458372"/>
              <a:gd name="connsiteX21096" fmla="*/ 9357667 w 10505529"/>
              <a:gd name="connsiteY21096" fmla="*/ 3946897 h 7458372"/>
              <a:gd name="connsiteX21097" fmla="*/ 9366053 w 10505529"/>
              <a:gd name="connsiteY21097" fmla="*/ 3925864 h 7458372"/>
              <a:gd name="connsiteX21098" fmla="*/ 9387885 w 10505529"/>
              <a:gd name="connsiteY21098" fmla="*/ 3917212 h 7458372"/>
              <a:gd name="connsiteX21099" fmla="*/ 9170374 w 10505529"/>
              <a:gd name="connsiteY21099" fmla="*/ 3917212 h 7458372"/>
              <a:gd name="connsiteX21100" fmla="*/ 9182088 w 10505529"/>
              <a:gd name="connsiteY21100" fmla="*/ 3919741 h 7458372"/>
              <a:gd name="connsiteX21101" fmla="*/ 9191405 w 10505529"/>
              <a:gd name="connsiteY21101" fmla="*/ 3926131 h 7458372"/>
              <a:gd name="connsiteX21102" fmla="*/ 9197529 w 10505529"/>
              <a:gd name="connsiteY21102" fmla="*/ 3935582 h 7458372"/>
              <a:gd name="connsiteX21103" fmla="*/ 9199792 w 10505529"/>
              <a:gd name="connsiteY21103" fmla="*/ 3947031 h 7458372"/>
              <a:gd name="connsiteX21104" fmla="*/ 9197529 w 10505529"/>
              <a:gd name="connsiteY21104" fmla="*/ 3958745 h 7458372"/>
              <a:gd name="connsiteX21105" fmla="*/ 9191405 w 10505529"/>
              <a:gd name="connsiteY21105" fmla="*/ 3968064 h 7458372"/>
              <a:gd name="connsiteX21106" fmla="*/ 9182088 w 10505529"/>
              <a:gd name="connsiteY21106" fmla="*/ 3974320 h 7458372"/>
              <a:gd name="connsiteX21107" fmla="*/ 9170374 w 10505529"/>
              <a:gd name="connsiteY21107" fmla="*/ 3976583 h 7458372"/>
              <a:gd name="connsiteX21108" fmla="*/ 9148541 w 10505529"/>
              <a:gd name="connsiteY21108" fmla="*/ 3968064 h 7458372"/>
              <a:gd name="connsiteX21109" fmla="*/ 9140155 w 10505529"/>
              <a:gd name="connsiteY21109" fmla="*/ 3946897 h 7458372"/>
              <a:gd name="connsiteX21110" fmla="*/ 9148541 w 10505529"/>
              <a:gd name="connsiteY21110" fmla="*/ 3925864 h 7458372"/>
              <a:gd name="connsiteX21111" fmla="*/ 9170374 w 10505529"/>
              <a:gd name="connsiteY21111" fmla="*/ 3917212 h 7458372"/>
              <a:gd name="connsiteX21112" fmla="*/ 8952728 w 10505529"/>
              <a:gd name="connsiteY21112" fmla="*/ 3917212 h 7458372"/>
              <a:gd name="connsiteX21113" fmla="*/ 8964442 w 10505529"/>
              <a:gd name="connsiteY21113" fmla="*/ 3919741 h 7458372"/>
              <a:gd name="connsiteX21114" fmla="*/ 8973760 w 10505529"/>
              <a:gd name="connsiteY21114" fmla="*/ 3926131 h 7458372"/>
              <a:gd name="connsiteX21115" fmla="*/ 8979884 w 10505529"/>
              <a:gd name="connsiteY21115" fmla="*/ 3935582 h 7458372"/>
              <a:gd name="connsiteX21116" fmla="*/ 8982147 w 10505529"/>
              <a:gd name="connsiteY21116" fmla="*/ 3947031 h 7458372"/>
              <a:gd name="connsiteX21117" fmla="*/ 8979884 w 10505529"/>
              <a:gd name="connsiteY21117" fmla="*/ 3958745 h 7458372"/>
              <a:gd name="connsiteX21118" fmla="*/ 8973760 w 10505529"/>
              <a:gd name="connsiteY21118" fmla="*/ 3968064 h 7458372"/>
              <a:gd name="connsiteX21119" fmla="*/ 8964442 w 10505529"/>
              <a:gd name="connsiteY21119" fmla="*/ 3974320 h 7458372"/>
              <a:gd name="connsiteX21120" fmla="*/ 8952728 w 10505529"/>
              <a:gd name="connsiteY21120" fmla="*/ 3976583 h 7458372"/>
              <a:gd name="connsiteX21121" fmla="*/ 8930896 w 10505529"/>
              <a:gd name="connsiteY21121" fmla="*/ 3968064 h 7458372"/>
              <a:gd name="connsiteX21122" fmla="*/ 8922510 w 10505529"/>
              <a:gd name="connsiteY21122" fmla="*/ 3946897 h 7458372"/>
              <a:gd name="connsiteX21123" fmla="*/ 8930896 w 10505529"/>
              <a:gd name="connsiteY21123" fmla="*/ 3925864 h 7458372"/>
              <a:gd name="connsiteX21124" fmla="*/ 8952728 w 10505529"/>
              <a:gd name="connsiteY21124" fmla="*/ 3917212 h 7458372"/>
              <a:gd name="connsiteX21125" fmla="*/ 8735083 w 10505529"/>
              <a:gd name="connsiteY21125" fmla="*/ 3917212 h 7458372"/>
              <a:gd name="connsiteX21126" fmla="*/ 8746797 w 10505529"/>
              <a:gd name="connsiteY21126" fmla="*/ 3919741 h 7458372"/>
              <a:gd name="connsiteX21127" fmla="*/ 8756115 w 10505529"/>
              <a:gd name="connsiteY21127" fmla="*/ 3926131 h 7458372"/>
              <a:gd name="connsiteX21128" fmla="*/ 8762238 w 10505529"/>
              <a:gd name="connsiteY21128" fmla="*/ 3935582 h 7458372"/>
              <a:gd name="connsiteX21129" fmla="*/ 8764502 w 10505529"/>
              <a:gd name="connsiteY21129" fmla="*/ 3947031 h 7458372"/>
              <a:gd name="connsiteX21130" fmla="*/ 8762238 w 10505529"/>
              <a:gd name="connsiteY21130" fmla="*/ 3958745 h 7458372"/>
              <a:gd name="connsiteX21131" fmla="*/ 8756115 w 10505529"/>
              <a:gd name="connsiteY21131" fmla="*/ 3968064 h 7458372"/>
              <a:gd name="connsiteX21132" fmla="*/ 8746797 w 10505529"/>
              <a:gd name="connsiteY21132" fmla="*/ 3974320 h 7458372"/>
              <a:gd name="connsiteX21133" fmla="*/ 8735083 w 10505529"/>
              <a:gd name="connsiteY21133" fmla="*/ 3976583 h 7458372"/>
              <a:gd name="connsiteX21134" fmla="*/ 8713250 w 10505529"/>
              <a:gd name="connsiteY21134" fmla="*/ 3968064 h 7458372"/>
              <a:gd name="connsiteX21135" fmla="*/ 8704864 w 10505529"/>
              <a:gd name="connsiteY21135" fmla="*/ 3946897 h 7458372"/>
              <a:gd name="connsiteX21136" fmla="*/ 8713250 w 10505529"/>
              <a:gd name="connsiteY21136" fmla="*/ 3925864 h 7458372"/>
              <a:gd name="connsiteX21137" fmla="*/ 8735083 w 10505529"/>
              <a:gd name="connsiteY21137" fmla="*/ 3917212 h 7458372"/>
              <a:gd name="connsiteX21138" fmla="*/ 8517438 w 10505529"/>
              <a:gd name="connsiteY21138" fmla="*/ 3917212 h 7458372"/>
              <a:gd name="connsiteX21139" fmla="*/ 8529152 w 10505529"/>
              <a:gd name="connsiteY21139" fmla="*/ 3919741 h 7458372"/>
              <a:gd name="connsiteX21140" fmla="*/ 8538470 w 10505529"/>
              <a:gd name="connsiteY21140" fmla="*/ 3926131 h 7458372"/>
              <a:gd name="connsiteX21141" fmla="*/ 8544594 w 10505529"/>
              <a:gd name="connsiteY21141" fmla="*/ 3935582 h 7458372"/>
              <a:gd name="connsiteX21142" fmla="*/ 8546857 w 10505529"/>
              <a:gd name="connsiteY21142" fmla="*/ 3947031 h 7458372"/>
              <a:gd name="connsiteX21143" fmla="*/ 8544594 w 10505529"/>
              <a:gd name="connsiteY21143" fmla="*/ 3958745 h 7458372"/>
              <a:gd name="connsiteX21144" fmla="*/ 8538470 w 10505529"/>
              <a:gd name="connsiteY21144" fmla="*/ 3968064 h 7458372"/>
              <a:gd name="connsiteX21145" fmla="*/ 8529152 w 10505529"/>
              <a:gd name="connsiteY21145" fmla="*/ 3974320 h 7458372"/>
              <a:gd name="connsiteX21146" fmla="*/ 8517438 w 10505529"/>
              <a:gd name="connsiteY21146" fmla="*/ 3976583 h 7458372"/>
              <a:gd name="connsiteX21147" fmla="*/ 8495606 w 10505529"/>
              <a:gd name="connsiteY21147" fmla="*/ 3968064 h 7458372"/>
              <a:gd name="connsiteX21148" fmla="*/ 8487220 w 10505529"/>
              <a:gd name="connsiteY21148" fmla="*/ 3946897 h 7458372"/>
              <a:gd name="connsiteX21149" fmla="*/ 8495606 w 10505529"/>
              <a:gd name="connsiteY21149" fmla="*/ 3925864 h 7458372"/>
              <a:gd name="connsiteX21150" fmla="*/ 8517438 w 10505529"/>
              <a:gd name="connsiteY21150" fmla="*/ 3917212 h 7458372"/>
              <a:gd name="connsiteX21151" fmla="*/ 8299793 w 10505529"/>
              <a:gd name="connsiteY21151" fmla="*/ 3917212 h 7458372"/>
              <a:gd name="connsiteX21152" fmla="*/ 8311507 w 10505529"/>
              <a:gd name="connsiteY21152" fmla="*/ 3919741 h 7458372"/>
              <a:gd name="connsiteX21153" fmla="*/ 8320825 w 10505529"/>
              <a:gd name="connsiteY21153" fmla="*/ 3926131 h 7458372"/>
              <a:gd name="connsiteX21154" fmla="*/ 8326948 w 10505529"/>
              <a:gd name="connsiteY21154" fmla="*/ 3935582 h 7458372"/>
              <a:gd name="connsiteX21155" fmla="*/ 8329212 w 10505529"/>
              <a:gd name="connsiteY21155" fmla="*/ 3947031 h 7458372"/>
              <a:gd name="connsiteX21156" fmla="*/ 8326948 w 10505529"/>
              <a:gd name="connsiteY21156" fmla="*/ 3958745 h 7458372"/>
              <a:gd name="connsiteX21157" fmla="*/ 8320825 w 10505529"/>
              <a:gd name="connsiteY21157" fmla="*/ 3968064 h 7458372"/>
              <a:gd name="connsiteX21158" fmla="*/ 8311507 w 10505529"/>
              <a:gd name="connsiteY21158" fmla="*/ 3974320 h 7458372"/>
              <a:gd name="connsiteX21159" fmla="*/ 8299793 w 10505529"/>
              <a:gd name="connsiteY21159" fmla="*/ 3976583 h 7458372"/>
              <a:gd name="connsiteX21160" fmla="*/ 8277960 w 10505529"/>
              <a:gd name="connsiteY21160" fmla="*/ 3968064 h 7458372"/>
              <a:gd name="connsiteX21161" fmla="*/ 8269574 w 10505529"/>
              <a:gd name="connsiteY21161" fmla="*/ 3946897 h 7458372"/>
              <a:gd name="connsiteX21162" fmla="*/ 8277960 w 10505529"/>
              <a:gd name="connsiteY21162" fmla="*/ 3925864 h 7458372"/>
              <a:gd name="connsiteX21163" fmla="*/ 8299793 w 10505529"/>
              <a:gd name="connsiteY21163" fmla="*/ 3917212 h 7458372"/>
              <a:gd name="connsiteX21164" fmla="*/ 8082281 w 10505529"/>
              <a:gd name="connsiteY21164" fmla="*/ 3917212 h 7458372"/>
              <a:gd name="connsiteX21165" fmla="*/ 8094127 w 10505529"/>
              <a:gd name="connsiteY21165" fmla="*/ 3919741 h 7458372"/>
              <a:gd name="connsiteX21166" fmla="*/ 8103446 w 10505529"/>
              <a:gd name="connsiteY21166" fmla="*/ 3926131 h 7458372"/>
              <a:gd name="connsiteX21167" fmla="*/ 8109569 w 10505529"/>
              <a:gd name="connsiteY21167" fmla="*/ 3935582 h 7458372"/>
              <a:gd name="connsiteX21168" fmla="*/ 8111832 w 10505529"/>
              <a:gd name="connsiteY21168" fmla="*/ 3947031 h 7458372"/>
              <a:gd name="connsiteX21169" fmla="*/ 8109569 w 10505529"/>
              <a:gd name="connsiteY21169" fmla="*/ 3958745 h 7458372"/>
              <a:gd name="connsiteX21170" fmla="*/ 8103446 w 10505529"/>
              <a:gd name="connsiteY21170" fmla="*/ 3968064 h 7458372"/>
              <a:gd name="connsiteX21171" fmla="*/ 8094127 w 10505529"/>
              <a:gd name="connsiteY21171" fmla="*/ 3974320 h 7458372"/>
              <a:gd name="connsiteX21172" fmla="*/ 8082281 w 10505529"/>
              <a:gd name="connsiteY21172" fmla="*/ 3976583 h 7458372"/>
              <a:gd name="connsiteX21173" fmla="*/ 8060448 w 10505529"/>
              <a:gd name="connsiteY21173" fmla="*/ 3968064 h 7458372"/>
              <a:gd name="connsiteX21174" fmla="*/ 8052062 w 10505529"/>
              <a:gd name="connsiteY21174" fmla="*/ 3946897 h 7458372"/>
              <a:gd name="connsiteX21175" fmla="*/ 8060448 w 10505529"/>
              <a:gd name="connsiteY21175" fmla="*/ 3925864 h 7458372"/>
              <a:gd name="connsiteX21176" fmla="*/ 8082281 w 10505529"/>
              <a:gd name="connsiteY21176" fmla="*/ 3917212 h 7458372"/>
              <a:gd name="connsiteX21177" fmla="*/ 7864636 w 10505529"/>
              <a:gd name="connsiteY21177" fmla="*/ 3917212 h 7458372"/>
              <a:gd name="connsiteX21178" fmla="*/ 7876483 w 10505529"/>
              <a:gd name="connsiteY21178" fmla="*/ 3919741 h 7458372"/>
              <a:gd name="connsiteX21179" fmla="*/ 7885802 w 10505529"/>
              <a:gd name="connsiteY21179" fmla="*/ 3926131 h 7458372"/>
              <a:gd name="connsiteX21180" fmla="*/ 7891924 w 10505529"/>
              <a:gd name="connsiteY21180" fmla="*/ 3935582 h 7458372"/>
              <a:gd name="connsiteX21181" fmla="*/ 7894188 w 10505529"/>
              <a:gd name="connsiteY21181" fmla="*/ 3947031 h 7458372"/>
              <a:gd name="connsiteX21182" fmla="*/ 7891924 w 10505529"/>
              <a:gd name="connsiteY21182" fmla="*/ 3958745 h 7458372"/>
              <a:gd name="connsiteX21183" fmla="*/ 7885802 w 10505529"/>
              <a:gd name="connsiteY21183" fmla="*/ 3968064 h 7458372"/>
              <a:gd name="connsiteX21184" fmla="*/ 7876483 w 10505529"/>
              <a:gd name="connsiteY21184" fmla="*/ 3974320 h 7458372"/>
              <a:gd name="connsiteX21185" fmla="*/ 7864636 w 10505529"/>
              <a:gd name="connsiteY21185" fmla="*/ 3976583 h 7458372"/>
              <a:gd name="connsiteX21186" fmla="*/ 7842803 w 10505529"/>
              <a:gd name="connsiteY21186" fmla="*/ 3968064 h 7458372"/>
              <a:gd name="connsiteX21187" fmla="*/ 7834417 w 10505529"/>
              <a:gd name="connsiteY21187" fmla="*/ 3946897 h 7458372"/>
              <a:gd name="connsiteX21188" fmla="*/ 7842803 w 10505529"/>
              <a:gd name="connsiteY21188" fmla="*/ 3925864 h 7458372"/>
              <a:gd name="connsiteX21189" fmla="*/ 7864636 w 10505529"/>
              <a:gd name="connsiteY21189" fmla="*/ 3917212 h 7458372"/>
              <a:gd name="connsiteX21190" fmla="*/ 7646991 w 10505529"/>
              <a:gd name="connsiteY21190" fmla="*/ 3917212 h 7458372"/>
              <a:gd name="connsiteX21191" fmla="*/ 7658705 w 10505529"/>
              <a:gd name="connsiteY21191" fmla="*/ 3919741 h 7458372"/>
              <a:gd name="connsiteX21192" fmla="*/ 7668022 w 10505529"/>
              <a:gd name="connsiteY21192" fmla="*/ 3926131 h 7458372"/>
              <a:gd name="connsiteX21193" fmla="*/ 7674146 w 10505529"/>
              <a:gd name="connsiteY21193" fmla="*/ 3935582 h 7458372"/>
              <a:gd name="connsiteX21194" fmla="*/ 7676409 w 10505529"/>
              <a:gd name="connsiteY21194" fmla="*/ 3947031 h 7458372"/>
              <a:gd name="connsiteX21195" fmla="*/ 7674146 w 10505529"/>
              <a:gd name="connsiteY21195" fmla="*/ 3958745 h 7458372"/>
              <a:gd name="connsiteX21196" fmla="*/ 7668022 w 10505529"/>
              <a:gd name="connsiteY21196" fmla="*/ 3968064 h 7458372"/>
              <a:gd name="connsiteX21197" fmla="*/ 7658705 w 10505529"/>
              <a:gd name="connsiteY21197" fmla="*/ 3974320 h 7458372"/>
              <a:gd name="connsiteX21198" fmla="*/ 7646991 w 10505529"/>
              <a:gd name="connsiteY21198" fmla="*/ 3976583 h 7458372"/>
              <a:gd name="connsiteX21199" fmla="*/ 7625158 w 10505529"/>
              <a:gd name="connsiteY21199" fmla="*/ 3968064 h 7458372"/>
              <a:gd name="connsiteX21200" fmla="*/ 7616772 w 10505529"/>
              <a:gd name="connsiteY21200" fmla="*/ 3946897 h 7458372"/>
              <a:gd name="connsiteX21201" fmla="*/ 7625158 w 10505529"/>
              <a:gd name="connsiteY21201" fmla="*/ 3925864 h 7458372"/>
              <a:gd name="connsiteX21202" fmla="*/ 7646991 w 10505529"/>
              <a:gd name="connsiteY21202" fmla="*/ 3917212 h 7458372"/>
              <a:gd name="connsiteX21203" fmla="*/ 7429345 w 10505529"/>
              <a:gd name="connsiteY21203" fmla="*/ 3917212 h 7458372"/>
              <a:gd name="connsiteX21204" fmla="*/ 7441059 w 10505529"/>
              <a:gd name="connsiteY21204" fmla="*/ 3919741 h 7458372"/>
              <a:gd name="connsiteX21205" fmla="*/ 7450377 w 10505529"/>
              <a:gd name="connsiteY21205" fmla="*/ 3926131 h 7458372"/>
              <a:gd name="connsiteX21206" fmla="*/ 7456501 w 10505529"/>
              <a:gd name="connsiteY21206" fmla="*/ 3935582 h 7458372"/>
              <a:gd name="connsiteX21207" fmla="*/ 7458764 w 10505529"/>
              <a:gd name="connsiteY21207" fmla="*/ 3947031 h 7458372"/>
              <a:gd name="connsiteX21208" fmla="*/ 7456501 w 10505529"/>
              <a:gd name="connsiteY21208" fmla="*/ 3958745 h 7458372"/>
              <a:gd name="connsiteX21209" fmla="*/ 7450377 w 10505529"/>
              <a:gd name="connsiteY21209" fmla="*/ 3968064 h 7458372"/>
              <a:gd name="connsiteX21210" fmla="*/ 7441059 w 10505529"/>
              <a:gd name="connsiteY21210" fmla="*/ 3974320 h 7458372"/>
              <a:gd name="connsiteX21211" fmla="*/ 7429345 w 10505529"/>
              <a:gd name="connsiteY21211" fmla="*/ 3976583 h 7458372"/>
              <a:gd name="connsiteX21212" fmla="*/ 7407513 w 10505529"/>
              <a:gd name="connsiteY21212" fmla="*/ 3968064 h 7458372"/>
              <a:gd name="connsiteX21213" fmla="*/ 7399127 w 10505529"/>
              <a:gd name="connsiteY21213" fmla="*/ 3946897 h 7458372"/>
              <a:gd name="connsiteX21214" fmla="*/ 7407513 w 10505529"/>
              <a:gd name="connsiteY21214" fmla="*/ 3925864 h 7458372"/>
              <a:gd name="connsiteX21215" fmla="*/ 7429345 w 10505529"/>
              <a:gd name="connsiteY21215" fmla="*/ 3917212 h 7458372"/>
              <a:gd name="connsiteX21216" fmla="*/ 7211701 w 10505529"/>
              <a:gd name="connsiteY21216" fmla="*/ 3917212 h 7458372"/>
              <a:gd name="connsiteX21217" fmla="*/ 7223415 w 10505529"/>
              <a:gd name="connsiteY21217" fmla="*/ 3919741 h 7458372"/>
              <a:gd name="connsiteX21218" fmla="*/ 7232733 w 10505529"/>
              <a:gd name="connsiteY21218" fmla="*/ 3926131 h 7458372"/>
              <a:gd name="connsiteX21219" fmla="*/ 7238856 w 10505529"/>
              <a:gd name="connsiteY21219" fmla="*/ 3935582 h 7458372"/>
              <a:gd name="connsiteX21220" fmla="*/ 7241120 w 10505529"/>
              <a:gd name="connsiteY21220" fmla="*/ 3947031 h 7458372"/>
              <a:gd name="connsiteX21221" fmla="*/ 7238856 w 10505529"/>
              <a:gd name="connsiteY21221" fmla="*/ 3958745 h 7458372"/>
              <a:gd name="connsiteX21222" fmla="*/ 7232733 w 10505529"/>
              <a:gd name="connsiteY21222" fmla="*/ 3968064 h 7458372"/>
              <a:gd name="connsiteX21223" fmla="*/ 7223415 w 10505529"/>
              <a:gd name="connsiteY21223" fmla="*/ 3974320 h 7458372"/>
              <a:gd name="connsiteX21224" fmla="*/ 7211701 w 10505529"/>
              <a:gd name="connsiteY21224" fmla="*/ 3976583 h 7458372"/>
              <a:gd name="connsiteX21225" fmla="*/ 7189868 w 10505529"/>
              <a:gd name="connsiteY21225" fmla="*/ 3968064 h 7458372"/>
              <a:gd name="connsiteX21226" fmla="*/ 7181482 w 10505529"/>
              <a:gd name="connsiteY21226" fmla="*/ 3946897 h 7458372"/>
              <a:gd name="connsiteX21227" fmla="*/ 7189868 w 10505529"/>
              <a:gd name="connsiteY21227" fmla="*/ 3925864 h 7458372"/>
              <a:gd name="connsiteX21228" fmla="*/ 7211701 w 10505529"/>
              <a:gd name="connsiteY21228" fmla="*/ 3917212 h 7458372"/>
              <a:gd name="connsiteX21229" fmla="*/ 6994056 w 10505529"/>
              <a:gd name="connsiteY21229" fmla="*/ 3917212 h 7458372"/>
              <a:gd name="connsiteX21230" fmla="*/ 7005769 w 10505529"/>
              <a:gd name="connsiteY21230" fmla="*/ 3919741 h 7458372"/>
              <a:gd name="connsiteX21231" fmla="*/ 7015087 w 10505529"/>
              <a:gd name="connsiteY21231" fmla="*/ 3926131 h 7458372"/>
              <a:gd name="connsiteX21232" fmla="*/ 7021211 w 10505529"/>
              <a:gd name="connsiteY21232" fmla="*/ 3935582 h 7458372"/>
              <a:gd name="connsiteX21233" fmla="*/ 7023474 w 10505529"/>
              <a:gd name="connsiteY21233" fmla="*/ 3947031 h 7458372"/>
              <a:gd name="connsiteX21234" fmla="*/ 7021211 w 10505529"/>
              <a:gd name="connsiteY21234" fmla="*/ 3958745 h 7458372"/>
              <a:gd name="connsiteX21235" fmla="*/ 7015087 w 10505529"/>
              <a:gd name="connsiteY21235" fmla="*/ 3968064 h 7458372"/>
              <a:gd name="connsiteX21236" fmla="*/ 7005769 w 10505529"/>
              <a:gd name="connsiteY21236" fmla="*/ 3974320 h 7458372"/>
              <a:gd name="connsiteX21237" fmla="*/ 6994056 w 10505529"/>
              <a:gd name="connsiteY21237" fmla="*/ 3976583 h 7458372"/>
              <a:gd name="connsiteX21238" fmla="*/ 6972223 w 10505529"/>
              <a:gd name="connsiteY21238" fmla="*/ 3968064 h 7458372"/>
              <a:gd name="connsiteX21239" fmla="*/ 6963837 w 10505529"/>
              <a:gd name="connsiteY21239" fmla="*/ 3946897 h 7458372"/>
              <a:gd name="connsiteX21240" fmla="*/ 6972223 w 10505529"/>
              <a:gd name="connsiteY21240" fmla="*/ 3925864 h 7458372"/>
              <a:gd name="connsiteX21241" fmla="*/ 6994056 w 10505529"/>
              <a:gd name="connsiteY21241" fmla="*/ 3917212 h 7458372"/>
              <a:gd name="connsiteX21242" fmla="*/ 6776544 w 10505529"/>
              <a:gd name="connsiteY21242" fmla="*/ 3917212 h 7458372"/>
              <a:gd name="connsiteX21243" fmla="*/ 6788258 w 10505529"/>
              <a:gd name="connsiteY21243" fmla="*/ 3919741 h 7458372"/>
              <a:gd name="connsiteX21244" fmla="*/ 6797576 w 10505529"/>
              <a:gd name="connsiteY21244" fmla="*/ 3926131 h 7458372"/>
              <a:gd name="connsiteX21245" fmla="*/ 6803699 w 10505529"/>
              <a:gd name="connsiteY21245" fmla="*/ 3935582 h 7458372"/>
              <a:gd name="connsiteX21246" fmla="*/ 6805963 w 10505529"/>
              <a:gd name="connsiteY21246" fmla="*/ 3947031 h 7458372"/>
              <a:gd name="connsiteX21247" fmla="*/ 6803699 w 10505529"/>
              <a:gd name="connsiteY21247" fmla="*/ 3958745 h 7458372"/>
              <a:gd name="connsiteX21248" fmla="*/ 6797576 w 10505529"/>
              <a:gd name="connsiteY21248" fmla="*/ 3968064 h 7458372"/>
              <a:gd name="connsiteX21249" fmla="*/ 6788258 w 10505529"/>
              <a:gd name="connsiteY21249" fmla="*/ 3974320 h 7458372"/>
              <a:gd name="connsiteX21250" fmla="*/ 6776544 w 10505529"/>
              <a:gd name="connsiteY21250" fmla="*/ 3976583 h 7458372"/>
              <a:gd name="connsiteX21251" fmla="*/ 6754711 w 10505529"/>
              <a:gd name="connsiteY21251" fmla="*/ 3968064 h 7458372"/>
              <a:gd name="connsiteX21252" fmla="*/ 6746325 w 10505529"/>
              <a:gd name="connsiteY21252" fmla="*/ 3946897 h 7458372"/>
              <a:gd name="connsiteX21253" fmla="*/ 6754711 w 10505529"/>
              <a:gd name="connsiteY21253" fmla="*/ 3925864 h 7458372"/>
              <a:gd name="connsiteX21254" fmla="*/ 6776544 w 10505529"/>
              <a:gd name="connsiteY21254" fmla="*/ 3917212 h 7458372"/>
              <a:gd name="connsiteX21255" fmla="*/ 6558899 w 10505529"/>
              <a:gd name="connsiteY21255" fmla="*/ 3917212 h 7458372"/>
              <a:gd name="connsiteX21256" fmla="*/ 6570612 w 10505529"/>
              <a:gd name="connsiteY21256" fmla="*/ 3919741 h 7458372"/>
              <a:gd name="connsiteX21257" fmla="*/ 6579930 w 10505529"/>
              <a:gd name="connsiteY21257" fmla="*/ 3926131 h 7458372"/>
              <a:gd name="connsiteX21258" fmla="*/ 6586054 w 10505529"/>
              <a:gd name="connsiteY21258" fmla="*/ 3935582 h 7458372"/>
              <a:gd name="connsiteX21259" fmla="*/ 6588317 w 10505529"/>
              <a:gd name="connsiteY21259" fmla="*/ 3947031 h 7458372"/>
              <a:gd name="connsiteX21260" fmla="*/ 6586054 w 10505529"/>
              <a:gd name="connsiteY21260" fmla="*/ 3958745 h 7458372"/>
              <a:gd name="connsiteX21261" fmla="*/ 6579930 w 10505529"/>
              <a:gd name="connsiteY21261" fmla="*/ 3968064 h 7458372"/>
              <a:gd name="connsiteX21262" fmla="*/ 6570612 w 10505529"/>
              <a:gd name="connsiteY21262" fmla="*/ 3974320 h 7458372"/>
              <a:gd name="connsiteX21263" fmla="*/ 6558899 w 10505529"/>
              <a:gd name="connsiteY21263" fmla="*/ 3976583 h 7458372"/>
              <a:gd name="connsiteX21264" fmla="*/ 6537066 w 10505529"/>
              <a:gd name="connsiteY21264" fmla="*/ 3968064 h 7458372"/>
              <a:gd name="connsiteX21265" fmla="*/ 6528680 w 10505529"/>
              <a:gd name="connsiteY21265" fmla="*/ 3946897 h 7458372"/>
              <a:gd name="connsiteX21266" fmla="*/ 6537066 w 10505529"/>
              <a:gd name="connsiteY21266" fmla="*/ 3925864 h 7458372"/>
              <a:gd name="connsiteX21267" fmla="*/ 6558899 w 10505529"/>
              <a:gd name="connsiteY21267" fmla="*/ 3917212 h 7458372"/>
              <a:gd name="connsiteX21268" fmla="*/ 6341253 w 10505529"/>
              <a:gd name="connsiteY21268" fmla="*/ 3917212 h 7458372"/>
              <a:gd name="connsiteX21269" fmla="*/ 6352968 w 10505529"/>
              <a:gd name="connsiteY21269" fmla="*/ 3919741 h 7458372"/>
              <a:gd name="connsiteX21270" fmla="*/ 6362286 w 10505529"/>
              <a:gd name="connsiteY21270" fmla="*/ 3926131 h 7458372"/>
              <a:gd name="connsiteX21271" fmla="*/ 6368409 w 10505529"/>
              <a:gd name="connsiteY21271" fmla="*/ 3935582 h 7458372"/>
              <a:gd name="connsiteX21272" fmla="*/ 6370672 w 10505529"/>
              <a:gd name="connsiteY21272" fmla="*/ 3947031 h 7458372"/>
              <a:gd name="connsiteX21273" fmla="*/ 6368409 w 10505529"/>
              <a:gd name="connsiteY21273" fmla="*/ 3958745 h 7458372"/>
              <a:gd name="connsiteX21274" fmla="*/ 6362286 w 10505529"/>
              <a:gd name="connsiteY21274" fmla="*/ 3968064 h 7458372"/>
              <a:gd name="connsiteX21275" fmla="*/ 6352968 w 10505529"/>
              <a:gd name="connsiteY21275" fmla="*/ 3974320 h 7458372"/>
              <a:gd name="connsiteX21276" fmla="*/ 6341253 w 10505529"/>
              <a:gd name="connsiteY21276" fmla="*/ 3976583 h 7458372"/>
              <a:gd name="connsiteX21277" fmla="*/ 6319421 w 10505529"/>
              <a:gd name="connsiteY21277" fmla="*/ 3968064 h 7458372"/>
              <a:gd name="connsiteX21278" fmla="*/ 6311035 w 10505529"/>
              <a:gd name="connsiteY21278" fmla="*/ 3946897 h 7458372"/>
              <a:gd name="connsiteX21279" fmla="*/ 6319421 w 10505529"/>
              <a:gd name="connsiteY21279" fmla="*/ 3925864 h 7458372"/>
              <a:gd name="connsiteX21280" fmla="*/ 6341253 w 10505529"/>
              <a:gd name="connsiteY21280" fmla="*/ 3917212 h 7458372"/>
              <a:gd name="connsiteX21281" fmla="*/ 6123608 w 10505529"/>
              <a:gd name="connsiteY21281" fmla="*/ 3917212 h 7458372"/>
              <a:gd name="connsiteX21282" fmla="*/ 6135322 w 10505529"/>
              <a:gd name="connsiteY21282" fmla="*/ 3919741 h 7458372"/>
              <a:gd name="connsiteX21283" fmla="*/ 6144640 w 10505529"/>
              <a:gd name="connsiteY21283" fmla="*/ 3926131 h 7458372"/>
              <a:gd name="connsiteX21284" fmla="*/ 6150763 w 10505529"/>
              <a:gd name="connsiteY21284" fmla="*/ 3935582 h 7458372"/>
              <a:gd name="connsiteX21285" fmla="*/ 6153026 w 10505529"/>
              <a:gd name="connsiteY21285" fmla="*/ 3947031 h 7458372"/>
              <a:gd name="connsiteX21286" fmla="*/ 6150763 w 10505529"/>
              <a:gd name="connsiteY21286" fmla="*/ 3958745 h 7458372"/>
              <a:gd name="connsiteX21287" fmla="*/ 6144640 w 10505529"/>
              <a:gd name="connsiteY21287" fmla="*/ 3968064 h 7458372"/>
              <a:gd name="connsiteX21288" fmla="*/ 6135322 w 10505529"/>
              <a:gd name="connsiteY21288" fmla="*/ 3974320 h 7458372"/>
              <a:gd name="connsiteX21289" fmla="*/ 6123608 w 10505529"/>
              <a:gd name="connsiteY21289" fmla="*/ 3976583 h 7458372"/>
              <a:gd name="connsiteX21290" fmla="*/ 6101775 w 10505529"/>
              <a:gd name="connsiteY21290" fmla="*/ 3968064 h 7458372"/>
              <a:gd name="connsiteX21291" fmla="*/ 6093389 w 10505529"/>
              <a:gd name="connsiteY21291" fmla="*/ 3946897 h 7458372"/>
              <a:gd name="connsiteX21292" fmla="*/ 6101775 w 10505529"/>
              <a:gd name="connsiteY21292" fmla="*/ 3925864 h 7458372"/>
              <a:gd name="connsiteX21293" fmla="*/ 6123608 w 10505529"/>
              <a:gd name="connsiteY21293" fmla="*/ 3917212 h 7458372"/>
              <a:gd name="connsiteX21294" fmla="*/ 5905963 w 10505529"/>
              <a:gd name="connsiteY21294" fmla="*/ 3917212 h 7458372"/>
              <a:gd name="connsiteX21295" fmla="*/ 5917677 w 10505529"/>
              <a:gd name="connsiteY21295" fmla="*/ 3919741 h 7458372"/>
              <a:gd name="connsiteX21296" fmla="*/ 5926995 w 10505529"/>
              <a:gd name="connsiteY21296" fmla="*/ 3926131 h 7458372"/>
              <a:gd name="connsiteX21297" fmla="*/ 5933118 w 10505529"/>
              <a:gd name="connsiteY21297" fmla="*/ 3935582 h 7458372"/>
              <a:gd name="connsiteX21298" fmla="*/ 5935381 w 10505529"/>
              <a:gd name="connsiteY21298" fmla="*/ 3947031 h 7458372"/>
              <a:gd name="connsiteX21299" fmla="*/ 5933118 w 10505529"/>
              <a:gd name="connsiteY21299" fmla="*/ 3958745 h 7458372"/>
              <a:gd name="connsiteX21300" fmla="*/ 5926995 w 10505529"/>
              <a:gd name="connsiteY21300" fmla="*/ 3968064 h 7458372"/>
              <a:gd name="connsiteX21301" fmla="*/ 5917677 w 10505529"/>
              <a:gd name="connsiteY21301" fmla="*/ 3974320 h 7458372"/>
              <a:gd name="connsiteX21302" fmla="*/ 5905963 w 10505529"/>
              <a:gd name="connsiteY21302" fmla="*/ 3976583 h 7458372"/>
              <a:gd name="connsiteX21303" fmla="*/ 5884130 w 10505529"/>
              <a:gd name="connsiteY21303" fmla="*/ 3968064 h 7458372"/>
              <a:gd name="connsiteX21304" fmla="*/ 5875744 w 10505529"/>
              <a:gd name="connsiteY21304" fmla="*/ 3946897 h 7458372"/>
              <a:gd name="connsiteX21305" fmla="*/ 5884130 w 10505529"/>
              <a:gd name="connsiteY21305" fmla="*/ 3925864 h 7458372"/>
              <a:gd name="connsiteX21306" fmla="*/ 5905963 w 10505529"/>
              <a:gd name="connsiteY21306" fmla="*/ 3917212 h 7458372"/>
              <a:gd name="connsiteX21307" fmla="*/ 5688451 w 10505529"/>
              <a:gd name="connsiteY21307" fmla="*/ 3917212 h 7458372"/>
              <a:gd name="connsiteX21308" fmla="*/ 5700165 w 10505529"/>
              <a:gd name="connsiteY21308" fmla="*/ 3919741 h 7458372"/>
              <a:gd name="connsiteX21309" fmla="*/ 5709483 w 10505529"/>
              <a:gd name="connsiteY21309" fmla="*/ 3926131 h 7458372"/>
              <a:gd name="connsiteX21310" fmla="*/ 5715606 w 10505529"/>
              <a:gd name="connsiteY21310" fmla="*/ 3935582 h 7458372"/>
              <a:gd name="connsiteX21311" fmla="*/ 5717869 w 10505529"/>
              <a:gd name="connsiteY21311" fmla="*/ 3947031 h 7458372"/>
              <a:gd name="connsiteX21312" fmla="*/ 5715606 w 10505529"/>
              <a:gd name="connsiteY21312" fmla="*/ 3958745 h 7458372"/>
              <a:gd name="connsiteX21313" fmla="*/ 5709483 w 10505529"/>
              <a:gd name="connsiteY21313" fmla="*/ 3968064 h 7458372"/>
              <a:gd name="connsiteX21314" fmla="*/ 5700165 w 10505529"/>
              <a:gd name="connsiteY21314" fmla="*/ 3974320 h 7458372"/>
              <a:gd name="connsiteX21315" fmla="*/ 5688451 w 10505529"/>
              <a:gd name="connsiteY21315" fmla="*/ 3976583 h 7458372"/>
              <a:gd name="connsiteX21316" fmla="*/ 5666618 w 10505529"/>
              <a:gd name="connsiteY21316" fmla="*/ 3968064 h 7458372"/>
              <a:gd name="connsiteX21317" fmla="*/ 5658232 w 10505529"/>
              <a:gd name="connsiteY21317" fmla="*/ 3946897 h 7458372"/>
              <a:gd name="connsiteX21318" fmla="*/ 5666618 w 10505529"/>
              <a:gd name="connsiteY21318" fmla="*/ 3925864 h 7458372"/>
              <a:gd name="connsiteX21319" fmla="*/ 5688451 w 10505529"/>
              <a:gd name="connsiteY21319" fmla="*/ 3917212 h 7458372"/>
              <a:gd name="connsiteX21320" fmla="*/ 5470806 w 10505529"/>
              <a:gd name="connsiteY21320" fmla="*/ 3917212 h 7458372"/>
              <a:gd name="connsiteX21321" fmla="*/ 5482520 w 10505529"/>
              <a:gd name="connsiteY21321" fmla="*/ 3919741 h 7458372"/>
              <a:gd name="connsiteX21322" fmla="*/ 5491838 w 10505529"/>
              <a:gd name="connsiteY21322" fmla="*/ 3926131 h 7458372"/>
              <a:gd name="connsiteX21323" fmla="*/ 5497961 w 10505529"/>
              <a:gd name="connsiteY21323" fmla="*/ 3935582 h 7458372"/>
              <a:gd name="connsiteX21324" fmla="*/ 5500224 w 10505529"/>
              <a:gd name="connsiteY21324" fmla="*/ 3947031 h 7458372"/>
              <a:gd name="connsiteX21325" fmla="*/ 5497961 w 10505529"/>
              <a:gd name="connsiteY21325" fmla="*/ 3958745 h 7458372"/>
              <a:gd name="connsiteX21326" fmla="*/ 5491838 w 10505529"/>
              <a:gd name="connsiteY21326" fmla="*/ 3968064 h 7458372"/>
              <a:gd name="connsiteX21327" fmla="*/ 5482520 w 10505529"/>
              <a:gd name="connsiteY21327" fmla="*/ 3974320 h 7458372"/>
              <a:gd name="connsiteX21328" fmla="*/ 5470806 w 10505529"/>
              <a:gd name="connsiteY21328" fmla="*/ 3976583 h 7458372"/>
              <a:gd name="connsiteX21329" fmla="*/ 5448973 w 10505529"/>
              <a:gd name="connsiteY21329" fmla="*/ 3968064 h 7458372"/>
              <a:gd name="connsiteX21330" fmla="*/ 5440587 w 10505529"/>
              <a:gd name="connsiteY21330" fmla="*/ 3946897 h 7458372"/>
              <a:gd name="connsiteX21331" fmla="*/ 5448973 w 10505529"/>
              <a:gd name="connsiteY21331" fmla="*/ 3925864 h 7458372"/>
              <a:gd name="connsiteX21332" fmla="*/ 5470806 w 10505529"/>
              <a:gd name="connsiteY21332" fmla="*/ 3917212 h 7458372"/>
              <a:gd name="connsiteX21333" fmla="*/ 5253160 w 10505529"/>
              <a:gd name="connsiteY21333" fmla="*/ 3917212 h 7458372"/>
              <a:gd name="connsiteX21334" fmla="*/ 5264875 w 10505529"/>
              <a:gd name="connsiteY21334" fmla="*/ 3919741 h 7458372"/>
              <a:gd name="connsiteX21335" fmla="*/ 5274192 w 10505529"/>
              <a:gd name="connsiteY21335" fmla="*/ 3926131 h 7458372"/>
              <a:gd name="connsiteX21336" fmla="*/ 5280316 w 10505529"/>
              <a:gd name="connsiteY21336" fmla="*/ 3935582 h 7458372"/>
              <a:gd name="connsiteX21337" fmla="*/ 5282579 w 10505529"/>
              <a:gd name="connsiteY21337" fmla="*/ 3947031 h 7458372"/>
              <a:gd name="connsiteX21338" fmla="*/ 5280316 w 10505529"/>
              <a:gd name="connsiteY21338" fmla="*/ 3958745 h 7458372"/>
              <a:gd name="connsiteX21339" fmla="*/ 5274192 w 10505529"/>
              <a:gd name="connsiteY21339" fmla="*/ 3968064 h 7458372"/>
              <a:gd name="connsiteX21340" fmla="*/ 5264875 w 10505529"/>
              <a:gd name="connsiteY21340" fmla="*/ 3974320 h 7458372"/>
              <a:gd name="connsiteX21341" fmla="*/ 5253160 w 10505529"/>
              <a:gd name="connsiteY21341" fmla="*/ 3976583 h 7458372"/>
              <a:gd name="connsiteX21342" fmla="*/ 5231328 w 10505529"/>
              <a:gd name="connsiteY21342" fmla="*/ 3968064 h 7458372"/>
              <a:gd name="connsiteX21343" fmla="*/ 5222942 w 10505529"/>
              <a:gd name="connsiteY21343" fmla="*/ 3946897 h 7458372"/>
              <a:gd name="connsiteX21344" fmla="*/ 5231328 w 10505529"/>
              <a:gd name="connsiteY21344" fmla="*/ 3925864 h 7458372"/>
              <a:gd name="connsiteX21345" fmla="*/ 5253160 w 10505529"/>
              <a:gd name="connsiteY21345" fmla="*/ 3917212 h 7458372"/>
              <a:gd name="connsiteX21346" fmla="*/ 5035515 w 10505529"/>
              <a:gd name="connsiteY21346" fmla="*/ 3917212 h 7458372"/>
              <a:gd name="connsiteX21347" fmla="*/ 5047230 w 10505529"/>
              <a:gd name="connsiteY21347" fmla="*/ 3919741 h 7458372"/>
              <a:gd name="connsiteX21348" fmla="*/ 5056548 w 10505529"/>
              <a:gd name="connsiteY21348" fmla="*/ 3926131 h 7458372"/>
              <a:gd name="connsiteX21349" fmla="*/ 5062671 w 10505529"/>
              <a:gd name="connsiteY21349" fmla="*/ 3935582 h 7458372"/>
              <a:gd name="connsiteX21350" fmla="*/ 5064934 w 10505529"/>
              <a:gd name="connsiteY21350" fmla="*/ 3947031 h 7458372"/>
              <a:gd name="connsiteX21351" fmla="*/ 5062671 w 10505529"/>
              <a:gd name="connsiteY21351" fmla="*/ 3958745 h 7458372"/>
              <a:gd name="connsiteX21352" fmla="*/ 5056548 w 10505529"/>
              <a:gd name="connsiteY21352" fmla="*/ 3968064 h 7458372"/>
              <a:gd name="connsiteX21353" fmla="*/ 5047230 w 10505529"/>
              <a:gd name="connsiteY21353" fmla="*/ 3974320 h 7458372"/>
              <a:gd name="connsiteX21354" fmla="*/ 5035515 w 10505529"/>
              <a:gd name="connsiteY21354" fmla="*/ 3976583 h 7458372"/>
              <a:gd name="connsiteX21355" fmla="*/ 5013683 w 10505529"/>
              <a:gd name="connsiteY21355" fmla="*/ 3968064 h 7458372"/>
              <a:gd name="connsiteX21356" fmla="*/ 5005297 w 10505529"/>
              <a:gd name="connsiteY21356" fmla="*/ 3946897 h 7458372"/>
              <a:gd name="connsiteX21357" fmla="*/ 5013683 w 10505529"/>
              <a:gd name="connsiteY21357" fmla="*/ 3925864 h 7458372"/>
              <a:gd name="connsiteX21358" fmla="*/ 5035515 w 10505529"/>
              <a:gd name="connsiteY21358" fmla="*/ 3917212 h 7458372"/>
              <a:gd name="connsiteX21359" fmla="*/ 4817870 w 10505529"/>
              <a:gd name="connsiteY21359" fmla="*/ 3917212 h 7458372"/>
              <a:gd name="connsiteX21360" fmla="*/ 4829585 w 10505529"/>
              <a:gd name="connsiteY21360" fmla="*/ 3919741 h 7458372"/>
              <a:gd name="connsiteX21361" fmla="*/ 4838903 w 10505529"/>
              <a:gd name="connsiteY21361" fmla="*/ 3926131 h 7458372"/>
              <a:gd name="connsiteX21362" fmla="*/ 4845026 w 10505529"/>
              <a:gd name="connsiteY21362" fmla="*/ 3935582 h 7458372"/>
              <a:gd name="connsiteX21363" fmla="*/ 4847289 w 10505529"/>
              <a:gd name="connsiteY21363" fmla="*/ 3947031 h 7458372"/>
              <a:gd name="connsiteX21364" fmla="*/ 4845026 w 10505529"/>
              <a:gd name="connsiteY21364" fmla="*/ 3958745 h 7458372"/>
              <a:gd name="connsiteX21365" fmla="*/ 4838903 w 10505529"/>
              <a:gd name="connsiteY21365" fmla="*/ 3968064 h 7458372"/>
              <a:gd name="connsiteX21366" fmla="*/ 4829585 w 10505529"/>
              <a:gd name="connsiteY21366" fmla="*/ 3974320 h 7458372"/>
              <a:gd name="connsiteX21367" fmla="*/ 4817870 w 10505529"/>
              <a:gd name="connsiteY21367" fmla="*/ 3976583 h 7458372"/>
              <a:gd name="connsiteX21368" fmla="*/ 4796038 w 10505529"/>
              <a:gd name="connsiteY21368" fmla="*/ 3968064 h 7458372"/>
              <a:gd name="connsiteX21369" fmla="*/ 4787652 w 10505529"/>
              <a:gd name="connsiteY21369" fmla="*/ 3946897 h 7458372"/>
              <a:gd name="connsiteX21370" fmla="*/ 4796038 w 10505529"/>
              <a:gd name="connsiteY21370" fmla="*/ 3925864 h 7458372"/>
              <a:gd name="connsiteX21371" fmla="*/ 4817870 w 10505529"/>
              <a:gd name="connsiteY21371" fmla="*/ 3917212 h 7458372"/>
              <a:gd name="connsiteX21372" fmla="*/ 4600226 w 10505529"/>
              <a:gd name="connsiteY21372" fmla="*/ 3917212 h 7458372"/>
              <a:gd name="connsiteX21373" fmla="*/ 4612073 w 10505529"/>
              <a:gd name="connsiteY21373" fmla="*/ 3919741 h 7458372"/>
              <a:gd name="connsiteX21374" fmla="*/ 4621391 w 10505529"/>
              <a:gd name="connsiteY21374" fmla="*/ 3926131 h 7458372"/>
              <a:gd name="connsiteX21375" fmla="*/ 4627514 w 10505529"/>
              <a:gd name="connsiteY21375" fmla="*/ 3935582 h 7458372"/>
              <a:gd name="connsiteX21376" fmla="*/ 4629777 w 10505529"/>
              <a:gd name="connsiteY21376" fmla="*/ 3947031 h 7458372"/>
              <a:gd name="connsiteX21377" fmla="*/ 4627514 w 10505529"/>
              <a:gd name="connsiteY21377" fmla="*/ 3958745 h 7458372"/>
              <a:gd name="connsiteX21378" fmla="*/ 4621391 w 10505529"/>
              <a:gd name="connsiteY21378" fmla="*/ 3968064 h 7458372"/>
              <a:gd name="connsiteX21379" fmla="*/ 4612073 w 10505529"/>
              <a:gd name="connsiteY21379" fmla="*/ 3974320 h 7458372"/>
              <a:gd name="connsiteX21380" fmla="*/ 4600226 w 10505529"/>
              <a:gd name="connsiteY21380" fmla="*/ 3976583 h 7458372"/>
              <a:gd name="connsiteX21381" fmla="*/ 4578393 w 10505529"/>
              <a:gd name="connsiteY21381" fmla="*/ 3968064 h 7458372"/>
              <a:gd name="connsiteX21382" fmla="*/ 4570007 w 10505529"/>
              <a:gd name="connsiteY21382" fmla="*/ 3946897 h 7458372"/>
              <a:gd name="connsiteX21383" fmla="*/ 4578393 w 10505529"/>
              <a:gd name="connsiteY21383" fmla="*/ 3925864 h 7458372"/>
              <a:gd name="connsiteX21384" fmla="*/ 4600226 w 10505529"/>
              <a:gd name="connsiteY21384" fmla="*/ 3917212 h 7458372"/>
              <a:gd name="connsiteX21385" fmla="*/ 4382713 w 10505529"/>
              <a:gd name="connsiteY21385" fmla="*/ 3917212 h 7458372"/>
              <a:gd name="connsiteX21386" fmla="*/ 4394428 w 10505529"/>
              <a:gd name="connsiteY21386" fmla="*/ 3919741 h 7458372"/>
              <a:gd name="connsiteX21387" fmla="*/ 4403746 w 10505529"/>
              <a:gd name="connsiteY21387" fmla="*/ 3926131 h 7458372"/>
              <a:gd name="connsiteX21388" fmla="*/ 4409869 w 10505529"/>
              <a:gd name="connsiteY21388" fmla="*/ 3935582 h 7458372"/>
              <a:gd name="connsiteX21389" fmla="*/ 4412132 w 10505529"/>
              <a:gd name="connsiteY21389" fmla="*/ 3947031 h 7458372"/>
              <a:gd name="connsiteX21390" fmla="*/ 4409869 w 10505529"/>
              <a:gd name="connsiteY21390" fmla="*/ 3958745 h 7458372"/>
              <a:gd name="connsiteX21391" fmla="*/ 4403746 w 10505529"/>
              <a:gd name="connsiteY21391" fmla="*/ 3968064 h 7458372"/>
              <a:gd name="connsiteX21392" fmla="*/ 4394428 w 10505529"/>
              <a:gd name="connsiteY21392" fmla="*/ 3974320 h 7458372"/>
              <a:gd name="connsiteX21393" fmla="*/ 4382713 w 10505529"/>
              <a:gd name="connsiteY21393" fmla="*/ 3976583 h 7458372"/>
              <a:gd name="connsiteX21394" fmla="*/ 4360881 w 10505529"/>
              <a:gd name="connsiteY21394" fmla="*/ 3968064 h 7458372"/>
              <a:gd name="connsiteX21395" fmla="*/ 4352495 w 10505529"/>
              <a:gd name="connsiteY21395" fmla="*/ 3946897 h 7458372"/>
              <a:gd name="connsiteX21396" fmla="*/ 4360881 w 10505529"/>
              <a:gd name="connsiteY21396" fmla="*/ 3925864 h 7458372"/>
              <a:gd name="connsiteX21397" fmla="*/ 4382713 w 10505529"/>
              <a:gd name="connsiteY21397" fmla="*/ 3917212 h 7458372"/>
              <a:gd name="connsiteX21398" fmla="*/ 4165068 w 10505529"/>
              <a:gd name="connsiteY21398" fmla="*/ 3917212 h 7458372"/>
              <a:gd name="connsiteX21399" fmla="*/ 4176782 w 10505529"/>
              <a:gd name="connsiteY21399" fmla="*/ 3919741 h 7458372"/>
              <a:gd name="connsiteX21400" fmla="*/ 4186100 w 10505529"/>
              <a:gd name="connsiteY21400" fmla="*/ 3926131 h 7458372"/>
              <a:gd name="connsiteX21401" fmla="*/ 4192223 w 10505529"/>
              <a:gd name="connsiteY21401" fmla="*/ 3935582 h 7458372"/>
              <a:gd name="connsiteX21402" fmla="*/ 4194486 w 10505529"/>
              <a:gd name="connsiteY21402" fmla="*/ 3947031 h 7458372"/>
              <a:gd name="connsiteX21403" fmla="*/ 4192223 w 10505529"/>
              <a:gd name="connsiteY21403" fmla="*/ 3958745 h 7458372"/>
              <a:gd name="connsiteX21404" fmla="*/ 4186100 w 10505529"/>
              <a:gd name="connsiteY21404" fmla="*/ 3968064 h 7458372"/>
              <a:gd name="connsiteX21405" fmla="*/ 4176782 w 10505529"/>
              <a:gd name="connsiteY21405" fmla="*/ 3974320 h 7458372"/>
              <a:gd name="connsiteX21406" fmla="*/ 4165068 w 10505529"/>
              <a:gd name="connsiteY21406" fmla="*/ 3976583 h 7458372"/>
              <a:gd name="connsiteX21407" fmla="*/ 4143235 w 10505529"/>
              <a:gd name="connsiteY21407" fmla="*/ 3968064 h 7458372"/>
              <a:gd name="connsiteX21408" fmla="*/ 4134849 w 10505529"/>
              <a:gd name="connsiteY21408" fmla="*/ 3946897 h 7458372"/>
              <a:gd name="connsiteX21409" fmla="*/ 4143235 w 10505529"/>
              <a:gd name="connsiteY21409" fmla="*/ 3925864 h 7458372"/>
              <a:gd name="connsiteX21410" fmla="*/ 4165068 w 10505529"/>
              <a:gd name="connsiteY21410" fmla="*/ 3917212 h 7458372"/>
              <a:gd name="connsiteX21411" fmla="*/ 3947640 w 10505529"/>
              <a:gd name="connsiteY21411" fmla="*/ 3917212 h 7458372"/>
              <a:gd name="connsiteX21412" fmla="*/ 3959356 w 10505529"/>
              <a:gd name="connsiteY21412" fmla="*/ 3919741 h 7458372"/>
              <a:gd name="connsiteX21413" fmla="*/ 3968674 w 10505529"/>
              <a:gd name="connsiteY21413" fmla="*/ 3926131 h 7458372"/>
              <a:gd name="connsiteX21414" fmla="*/ 3974798 w 10505529"/>
              <a:gd name="connsiteY21414" fmla="*/ 3935582 h 7458372"/>
              <a:gd name="connsiteX21415" fmla="*/ 3977062 w 10505529"/>
              <a:gd name="connsiteY21415" fmla="*/ 3947031 h 7458372"/>
              <a:gd name="connsiteX21416" fmla="*/ 3974798 w 10505529"/>
              <a:gd name="connsiteY21416" fmla="*/ 3958745 h 7458372"/>
              <a:gd name="connsiteX21417" fmla="*/ 3968674 w 10505529"/>
              <a:gd name="connsiteY21417" fmla="*/ 3968064 h 7458372"/>
              <a:gd name="connsiteX21418" fmla="*/ 3959356 w 10505529"/>
              <a:gd name="connsiteY21418" fmla="*/ 3974320 h 7458372"/>
              <a:gd name="connsiteX21419" fmla="*/ 3947640 w 10505529"/>
              <a:gd name="connsiteY21419" fmla="*/ 3976583 h 7458372"/>
              <a:gd name="connsiteX21420" fmla="*/ 3925807 w 10505529"/>
              <a:gd name="connsiteY21420" fmla="*/ 3968064 h 7458372"/>
              <a:gd name="connsiteX21421" fmla="*/ 3917421 w 10505529"/>
              <a:gd name="connsiteY21421" fmla="*/ 3946897 h 7458372"/>
              <a:gd name="connsiteX21422" fmla="*/ 3925807 w 10505529"/>
              <a:gd name="connsiteY21422" fmla="*/ 3925864 h 7458372"/>
              <a:gd name="connsiteX21423" fmla="*/ 3947640 w 10505529"/>
              <a:gd name="connsiteY21423" fmla="*/ 3917212 h 7458372"/>
              <a:gd name="connsiteX21424" fmla="*/ 3729984 w 10505529"/>
              <a:gd name="connsiteY21424" fmla="*/ 3917212 h 7458372"/>
              <a:gd name="connsiteX21425" fmla="*/ 3741700 w 10505529"/>
              <a:gd name="connsiteY21425" fmla="*/ 3919741 h 7458372"/>
              <a:gd name="connsiteX21426" fmla="*/ 3751018 w 10505529"/>
              <a:gd name="connsiteY21426" fmla="*/ 3926131 h 7458372"/>
              <a:gd name="connsiteX21427" fmla="*/ 3757141 w 10505529"/>
              <a:gd name="connsiteY21427" fmla="*/ 3935582 h 7458372"/>
              <a:gd name="connsiteX21428" fmla="*/ 3759404 w 10505529"/>
              <a:gd name="connsiteY21428" fmla="*/ 3947031 h 7458372"/>
              <a:gd name="connsiteX21429" fmla="*/ 3757141 w 10505529"/>
              <a:gd name="connsiteY21429" fmla="*/ 3958745 h 7458372"/>
              <a:gd name="connsiteX21430" fmla="*/ 3751018 w 10505529"/>
              <a:gd name="connsiteY21430" fmla="*/ 3968064 h 7458372"/>
              <a:gd name="connsiteX21431" fmla="*/ 3741700 w 10505529"/>
              <a:gd name="connsiteY21431" fmla="*/ 3974320 h 7458372"/>
              <a:gd name="connsiteX21432" fmla="*/ 3729984 w 10505529"/>
              <a:gd name="connsiteY21432" fmla="*/ 3976583 h 7458372"/>
              <a:gd name="connsiteX21433" fmla="*/ 3708147 w 10505529"/>
              <a:gd name="connsiteY21433" fmla="*/ 3968064 h 7458372"/>
              <a:gd name="connsiteX21434" fmla="*/ 3699761 w 10505529"/>
              <a:gd name="connsiteY21434" fmla="*/ 3946897 h 7458372"/>
              <a:gd name="connsiteX21435" fmla="*/ 3708147 w 10505529"/>
              <a:gd name="connsiteY21435" fmla="*/ 3925864 h 7458372"/>
              <a:gd name="connsiteX21436" fmla="*/ 3729984 w 10505529"/>
              <a:gd name="connsiteY21436" fmla="*/ 3917212 h 7458372"/>
              <a:gd name="connsiteX21437" fmla="*/ 3512328 w 10505529"/>
              <a:gd name="connsiteY21437" fmla="*/ 3917212 h 7458372"/>
              <a:gd name="connsiteX21438" fmla="*/ 3524044 w 10505529"/>
              <a:gd name="connsiteY21438" fmla="*/ 3919741 h 7458372"/>
              <a:gd name="connsiteX21439" fmla="*/ 3533362 w 10505529"/>
              <a:gd name="connsiteY21439" fmla="*/ 3926131 h 7458372"/>
              <a:gd name="connsiteX21440" fmla="*/ 3539485 w 10505529"/>
              <a:gd name="connsiteY21440" fmla="*/ 3935582 h 7458372"/>
              <a:gd name="connsiteX21441" fmla="*/ 3541748 w 10505529"/>
              <a:gd name="connsiteY21441" fmla="*/ 3947031 h 7458372"/>
              <a:gd name="connsiteX21442" fmla="*/ 3539485 w 10505529"/>
              <a:gd name="connsiteY21442" fmla="*/ 3958745 h 7458372"/>
              <a:gd name="connsiteX21443" fmla="*/ 3533362 w 10505529"/>
              <a:gd name="connsiteY21443" fmla="*/ 3968064 h 7458372"/>
              <a:gd name="connsiteX21444" fmla="*/ 3524044 w 10505529"/>
              <a:gd name="connsiteY21444" fmla="*/ 3974320 h 7458372"/>
              <a:gd name="connsiteX21445" fmla="*/ 3512328 w 10505529"/>
              <a:gd name="connsiteY21445" fmla="*/ 3976583 h 7458372"/>
              <a:gd name="connsiteX21446" fmla="*/ 3490493 w 10505529"/>
              <a:gd name="connsiteY21446" fmla="*/ 3968064 h 7458372"/>
              <a:gd name="connsiteX21447" fmla="*/ 3482106 w 10505529"/>
              <a:gd name="connsiteY21447" fmla="*/ 3946897 h 7458372"/>
              <a:gd name="connsiteX21448" fmla="*/ 3490493 w 10505529"/>
              <a:gd name="connsiteY21448" fmla="*/ 3925864 h 7458372"/>
              <a:gd name="connsiteX21449" fmla="*/ 3512328 w 10505529"/>
              <a:gd name="connsiteY21449" fmla="*/ 3917212 h 7458372"/>
              <a:gd name="connsiteX21450" fmla="*/ 3294805 w 10505529"/>
              <a:gd name="connsiteY21450" fmla="*/ 3917212 h 7458372"/>
              <a:gd name="connsiteX21451" fmla="*/ 3306521 w 10505529"/>
              <a:gd name="connsiteY21451" fmla="*/ 3919741 h 7458372"/>
              <a:gd name="connsiteX21452" fmla="*/ 3315839 w 10505529"/>
              <a:gd name="connsiteY21452" fmla="*/ 3926131 h 7458372"/>
              <a:gd name="connsiteX21453" fmla="*/ 3321962 w 10505529"/>
              <a:gd name="connsiteY21453" fmla="*/ 3935582 h 7458372"/>
              <a:gd name="connsiteX21454" fmla="*/ 3324225 w 10505529"/>
              <a:gd name="connsiteY21454" fmla="*/ 3947031 h 7458372"/>
              <a:gd name="connsiteX21455" fmla="*/ 3321962 w 10505529"/>
              <a:gd name="connsiteY21455" fmla="*/ 3958745 h 7458372"/>
              <a:gd name="connsiteX21456" fmla="*/ 3315839 w 10505529"/>
              <a:gd name="connsiteY21456" fmla="*/ 3968064 h 7458372"/>
              <a:gd name="connsiteX21457" fmla="*/ 3306521 w 10505529"/>
              <a:gd name="connsiteY21457" fmla="*/ 3974320 h 7458372"/>
              <a:gd name="connsiteX21458" fmla="*/ 3294805 w 10505529"/>
              <a:gd name="connsiteY21458" fmla="*/ 3976583 h 7458372"/>
              <a:gd name="connsiteX21459" fmla="*/ 3272969 w 10505529"/>
              <a:gd name="connsiteY21459" fmla="*/ 3968064 h 7458372"/>
              <a:gd name="connsiteX21460" fmla="*/ 3264581 w 10505529"/>
              <a:gd name="connsiteY21460" fmla="*/ 3946897 h 7458372"/>
              <a:gd name="connsiteX21461" fmla="*/ 3272969 w 10505529"/>
              <a:gd name="connsiteY21461" fmla="*/ 3925864 h 7458372"/>
              <a:gd name="connsiteX21462" fmla="*/ 3294805 w 10505529"/>
              <a:gd name="connsiteY21462" fmla="*/ 3917212 h 7458372"/>
              <a:gd name="connsiteX21463" fmla="*/ 3077148 w 10505529"/>
              <a:gd name="connsiteY21463" fmla="*/ 3917212 h 7458372"/>
              <a:gd name="connsiteX21464" fmla="*/ 3088864 w 10505529"/>
              <a:gd name="connsiteY21464" fmla="*/ 3919741 h 7458372"/>
              <a:gd name="connsiteX21465" fmla="*/ 3098182 w 10505529"/>
              <a:gd name="connsiteY21465" fmla="*/ 3926131 h 7458372"/>
              <a:gd name="connsiteX21466" fmla="*/ 3104305 w 10505529"/>
              <a:gd name="connsiteY21466" fmla="*/ 3935582 h 7458372"/>
              <a:gd name="connsiteX21467" fmla="*/ 3106568 w 10505529"/>
              <a:gd name="connsiteY21467" fmla="*/ 3947031 h 7458372"/>
              <a:gd name="connsiteX21468" fmla="*/ 3104305 w 10505529"/>
              <a:gd name="connsiteY21468" fmla="*/ 3958745 h 7458372"/>
              <a:gd name="connsiteX21469" fmla="*/ 3098182 w 10505529"/>
              <a:gd name="connsiteY21469" fmla="*/ 3968064 h 7458372"/>
              <a:gd name="connsiteX21470" fmla="*/ 3088864 w 10505529"/>
              <a:gd name="connsiteY21470" fmla="*/ 3974320 h 7458372"/>
              <a:gd name="connsiteX21471" fmla="*/ 3077148 w 10505529"/>
              <a:gd name="connsiteY21471" fmla="*/ 3976583 h 7458372"/>
              <a:gd name="connsiteX21472" fmla="*/ 3055312 w 10505529"/>
              <a:gd name="connsiteY21472" fmla="*/ 3968064 h 7458372"/>
              <a:gd name="connsiteX21473" fmla="*/ 3046926 w 10505529"/>
              <a:gd name="connsiteY21473" fmla="*/ 3946897 h 7458372"/>
              <a:gd name="connsiteX21474" fmla="*/ 3055312 w 10505529"/>
              <a:gd name="connsiteY21474" fmla="*/ 3925864 h 7458372"/>
              <a:gd name="connsiteX21475" fmla="*/ 3077148 w 10505529"/>
              <a:gd name="connsiteY21475" fmla="*/ 3917212 h 7458372"/>
              <a:gd name="connsiteX21476" fmla="*/ 2859492 w 10505529"/>
              <a:gd name="connsiteY21476" fmla="*/ 3917212 h 7458372"/>
              <a:gd name="connsiteX21477" fmla="*/ 2871341 w 10505529"/>
              <a:gd name="connsiteY21477" fmla="*/ 3919741 h 7458372"/>
              <a:gd name="connsiteX21478" fmla="*/ 2880659 w 10505529"/>
              <a:gd name="connsiteY21478" fmla="*/ 3926131 h 7458372"/>
              <a:gd name="connsiteX21479" fmla="*/ 2886782 w 10505529"/>
              <a:gd name="connsiteY21479" fmla="*/ 3935582 h 7458372"/>
              <a:gd name="connsiteX21480" fmla="*/ 2889045 w 10505529"/>
              <a:gd name="connsiteY21480" fmla="*/ 3947031 h 7458372"/>
              <a:gd name="connsiteX21481" fmla="*/ 2886782 w 10505529"/>
              <a:gd name="connsiteY21481" fmla="*/ 3958745 h 7458372"/>
              <a:gd name="connsiteX21482" fmla="*/ 2880659 w 10505529"/>
              <a:gd name="connsiteY21482" fmla="*/ 3968064 h 7458372"/>
              <a:gd name="connsiteX21483" fmla="*/ 2871341 w 10505529"/>
              <a:gd name="connsiteY21483" fmla="*/ 3974320 h 7458372"/>
              <a:gd name="connsiteX21484" fmla="*/ 2859492 w 10505529"/>
              <a:gd name="connsiteY21484" fmla="*/ 3976583 h 7458372"/>
              <a:gd name="connsiteX21485" fmla="*/ 2837657 w 10505529"/>
              <a:gd name="connsiteY21485" fmla="*/ 3968064 h 7458372"/>
              <a:gd name="connsiteX21486" fmla="*/ 2829269 w 10505529"/>
              <a:gd name="connsiteY21486" fmla="*/ 3946897 h 7458372"/>
              <a:gd name="connsiteX21487" fmla="*/ 2837657 w 10505529"/>
              <a:gd name="connsiteY21487" fmla="*/ 3925864 h 7458372"/>
              <a:gd name="connsiteX21488" fmla="*/ 2859492 w 10505529"/>
              <a:gd name="connsiteY21488" fmla="*/ 3917212 h 7458372"/>
              <a:gd name="connsiteX21489" fmla="*/ 2641836 w 10505529"/>
              <a:gd name="connsiteY21489" fmla="*/ 3917212 h 7458372"/>
              <a:gd name="connsiteX21490" fmla="*/ 2653551 w 10505529"/>
              <a:gd name="connsiteY21490" fmla="*/ 3919741 h 7458372"/>
              <a:gd name="connsiteX21491" fmla="*/ 2662869 w 10505529"/>
              <a:gd name="connsiteY21491" fmla="*/ 3926131 h 7458372"/>
              <a:gd name="connsiteX21492" fmla="*/ 2668993 w 10505529"/>
              <a:gd name="connsiteY21492" fmla="*/ 3935582 h 7458372"/>
              <a:gd name="connsiteX21493" fmla="*/ 2671256 w 10505529"/>
              <a:gd name="connsiteY21493" fmla="*/ 3947031 h 7458372"/>
              <a:gd name="connsiteX21494" fmla="*/ 2668993 w 10505529"/>
              <a:gd name="connsiteY21494" fmla="*/ 3958745 h 7458372"/>
              <a:gd name="connsiteX21495" fmla="*/ 2662869 w 10505529"/>
              <a:gd name="connsiteY21495" fmla="*/ 3968064 h 7458372"/>
              <a:gd name="connsiteX21496" fmla="*/ 2653551 w 10505529"/>
              <a:gd name="connsiteY21496" fmla="*/ 3974320 h 7458372"/>
              <a:gd name="connsiteX21497" fmla="*/ 2641836 w 10505529"/>
              <a:gd name="connsiteY21497" fmla="*/ 3976583 h 7458372"/>
              <a:gd name="connsiteX21498" fmla="*/ 2620003 w 10505529"/>
              <a:gd name="connsiteY21498" fmla="*/ 3968064 h 7458372"/>
              <a:gd name="connsiteX21499" fmla="*/ 2611614 w 10505529"/>
              <a:gd name="connsiteY21499" fmla="*/ 3946897 h 7458372"/>
              <a:gd name="connsiteX21500" fmla="*/ 2620003 w 10505529"/>
              <a:gd name="connsiteY21500" fmla="*/ 3925864 h 7458372"/>
              <a:gd name="connsiteX21501" fmla="*/ 2641836 w 10505529"/>
              <a:gd name="connsiteY21501" fmla="*/ 3917212 h 7458372"/>
              <a:gd name="connsiteX21502" fmla="*/ 2424179 w 10505529"/>
              <a:gd name="connsiteY21502" fmla="*/ 3917212 h 7458372"/>
              <a:gd name="connsiteX21503" fmla="*/ 2435895 w 10505529"/>
              <a:gd name="connsiteY21503" fmla="*/ 3919741 h 7458372"/>
              <a:gd name="connsiteX21504" fmla="*/ 2445213 w 10505529"/>
              <a:gd name="connsiteY21504" fmla="*/ 3926131 h 7458372"/>
              <a:gd name="connsiteX21505" fmla="*/ 2451336 w 10505529"/>
              <a:gd name="connsiteY21505" fmla="*/ 3935582 h 7458372"/>
              <a:gd name="connsiteX21506" fmla="*/ 2453599 w 10505529"/>
              <a:gd name="connsiteY21506" fmla="*/ 3947031 h 7458372"/>
              <a:gd name="connsiteX21507" fmla="*/ 2451336 w 10505529"/>
              <a:gd name="connsiteY21507" fmla="*/ 3958745 h 7458372"/>
              <a:gd name="connsiteX21508" fmla="*/ 2445213 w 10505529"/>
              <a:gd name="connsiteY21508" fmla="*/ 3968064 h 7458372"/>
              <a:gd name="connsiteX21509" fmla="*/ 2435895 w 10505529"/>
              <a:gd name="connsiteY21509" fmla="*/ 3974320 h 7458372"/>
              <a:gd name="connsiteX21510" fmla="*/ 2424179 w 10505529"/>
              <a:gd name="connsiteY21510" fmla="*/ 3976583 h 7458372"/>
              <a:gd name="connsiteX21511" fmla="*/ 2402347 w 10505529"/>
              <a:gd name="connsiteY21511" fmla="*/ 3968064 h 7458372"/>
              <a:gd name="connsiteX21512" fmla="*/ 2393959 w 10505529"/>
              <a:gd name="connsiteY21512" fmla="*/ 3946897 h 7458372"/>
              <a:gd name="connsiteX21513" fmla="*/ 2402347 w 10505529"/>
              <a:gd name="connsiteY21513" fmla="*/ 3925864 h 7458372"/>
              <a:gd name="connsiteX21514" fmla="*/ 2424179 w 10505529"/>
              <a:gd name="connsiteY21514" fmla="*/ 3917212 h 7458372"/>
              <a:gd name="connsiteX21515" fmla="*/ 2206523 w 10505529"/>
              <a:gd name="connsiteY21515" fmla="*/ 3917212 h 7458372"/>
              <a:gd name="connsiteX21516" fmla="*/ 2218238 w 10505529"/>
              <a:gd name="connsiteY21516" fmla="*/ 3919741 h 7458372"/>
              <a:gd name="connsiteX21517" fmla="*/ 2227557 w 10505529"/>
              <a:gd name="connsiteY21517" fmla="*/ 3926131 h 7458372"/>
              <a:gd name="connsiteX21518" fmla="*/ 2233679 w 10505529"/>
              <a:gd name="connsiteY21518" fmla="*/ 3935582 h 7458372"/>
              <a:gd name="connsiteX21519" fmla="*/ 2235942 w 10505529"/>
              <a:gd name="connsiteY21519" fmla="*/ 3947031 h 7458372"/>
              <a:gd name="connsiteX21520" fmla="*/ 2233679 w 10505529"/>
              <a:gd name="connsiteY21520" fmla="*/ 3958745 h 7458372"/>
              <a:gd name="connsiteX21521" fmla="*/ 2227557 w 10505529"/>
              <a:gd name="connsiteY21521" fmla="*/ 3968064 h 7458372"/>
              <a:gd name="connsiteX21522" fmla="*/ 2218238 w 10505529"/>
              <a:gd name="connsiteY21522" fmla="*/ 3974320 h 7458372"/>
              <a:gd name="connsiteX21523" fmla="*/ 2206523 w 10505529"/>
              <a:gd name="connsiteY21523" fmla="*/ 3976583 h 7458372"/>
              <a:gd name="connsiteX21524" fmla="*/ 2184690 w 10505529"/>
              <a:gd name="connsiteY21524" fmla="*/ 3968064 h 7458372"/>
              <a:gd name="connsiteX21525" fmla="*/ 2176303 w 10505529"/>
              <a:gd name="connsiteY21525" fmla="*/ 3946897 h 7458372"/>
              <a:gd name="connsiteX21526" fmla="*/ 2184690 w 10505529"/>
              <a:gd name="connsiteY21526" fmla="*/ 3925864 h 7458372"/>
              <a:gd name="connsiteX21527" fmla="*/ 2206523 w 10505529"/>
              <a:gd name="connsiteY21527" fmla="*/ 3917212 h 7458372"/>
              <a:gd name="connsiteX21528" fmla="*/ 1988999 w 10505529"/>
              <a:gd name="connsiteY21528" fmla="*/ 3917212 h 7458372"/>
              <a:gd name="connsiteX21529" fmla="*/ 2000715 w 10505529"/>
              <a:gd name="connsiteY21529" fmla="*/ 3919741 h 7458372"/>
              <a:gd name="connsiteX21530" fmla="*/ 2010033 w 10505529"/>
              <a:gd name="connsiteY21530" fmla="*/ 3926131 h 7458372"/>
              <a:gd name="connsiteX21531" fmla="*/ 2016156 w 10505529"/>
              <a:gd name="connsiteY21531" fmla="*/ 3935582 h 7458372"/>
              <a:gd name="connsiteX21532" fmla="*/ 2018419 w 10505529"/>
              <a:gd name="connsiteY21532" fmla="*/ 3947031 h 7458372"/>
              <a:gd name="connsiteX21533" fmla="*/ 2016156 w 10505529"/>
              <a:gd name="connsiteY21533" fmla="*/ 3958745 h 7458372"/>
              <a:gd name="connsiteX21534" fmla="*/ 2010033 w 10505529"/>
              <a:gd name="connsiteY21534" fmla="*/ 3968064 h 7458372"/>
              <a:gd name="connsiteX21535" fmla="*/ 2000715 w 10505529"/>
              <a:gd name="connsiteY21535" fmla="*/ 3974320 h 7458372"/>
              <a:gd name="connsiteX21536" fmla="*/ 1988999 w 10505529"/>
              <a:gd name="connsiteY21536" fmla="*/ 3976583 h 7458372"/>
              <a:gd name="connsiteX21537" fmla="*/ 1967168 w 10505529"/>
              <a:gd name="connsiteY21537" fmla="*/ 3968064 h 7458372"/>
              <a:gd name="connsiteX21538" fmla="*/ 1958782 w 10505529"/>
              <a:gd name="connsiteY21538" fmla="*/ 3946897 h 7458372"/>
              <a:gd name="connsiteX21539" fmla="*/ 1967168 w 10505529"/>
              <a:gd name="connsiteY21539" fmla="*/ 3925864 h 7458372"/>
              <a:gd name="connsiteX21540" fmla="*/ 1988999 w 10505529"/>
              <a:gd name="connsiteY21540" fmla="*/ 3917212 h 7458372"/>
              <a:gd name="connsiteX21541" fmla="*/ 1771363 w 10505529"/>
              <a:gd name="connsiteY21541" fmla="*/ 3917212 h 7458372"/>
              <a:gd name="connsiteX21542" fmla="*/ 1783077 w 10505529"/>
              <a:gd name="connsiteY21542" fmla="*/ 3919741 h 7458372"/>
              <a:gd name="connsiteX21543" fmla="*/ 1792394 w 10505529"/>
              <a:gd name="connsiteY21543" fmla="*/ 3926131 h 7458372"/>
              <a:gd name="connsiteX21544" fmla="*/ 1798518 w 10505529"/>
              <a:gd name="connsiteY21544" fmla="*/ 3935582 h 7458372"/>
              <a:gd name="connsiteX21545" fmla="*/ 1800780 w 10505529"/>
              <a:gd name="connsiteY21545" fmla="*/ 3947031 h 7458372"/>
              <a:gd name="connsiteX21546" fmla="*/ 1798518 w 10505529"/>
              <a:gd name="connsiteY21546" fmla="*/ 3958745 h 7458372"/>
              <a:gd name="connsiteX21547" fmla="*/ 1792394 w 10505529"/>
              <a:gd name="connsiteY21547" fmla="*/ 3968064 h 7458372"/>
              <a:gd name="connsiteX21548" fmla="*/ 1783077 w 10505529"/>
              <a:gd name="connsiteY21548" fmla="*/ 3974320 h 7458372"/>
              <a:gd name="connsiteX21549" fmla="*/ 1771363 w 10505529"/>
              <a:gd name="connsiteY21549" fmla="*/ 3976583 h 7458372"/>
              <a:gd name="connsiteX21550" fmla="*/ 1749533 w 10505529"/>
              <a:gd name="connsiteY21550" fmla="*/ 3968064 h 7458372"/>
              <a:gd name="connsiteX21551" fmla="*/ 1741149 w 10505529"/>
              <a:gd name="connsiteY21551" fmla="*/ 3946897 h 7458372"/>
              <a:gd name="connsiteX21552" fmla="*/ 1749533 w 10505529"/>
              <a:gd name="connsiteY21552" fmla="*/ 3925864 h 7458372"/>
              <a:gd name="connsiteX21553" fmla="*/ 1771363 w 10505529"/>
              <a:gd name="connsiteY21553" fmla="*/ 3917212 h 7458372"/>
              <a:gd name="connsiteX21554" fmla="*/ 1553723 w 10505529"/>
              <a:gd name="connsiteY21554" fmla="*/ 3917212 h 7458372"/>
              <a:gd name="connsiteX21555" fmla="*/ 1565438 w 10505529"/>
              <a:gd name="connsiteY21555" fmla="*/ 3919741 h 7458372"/>
              <a:gd name="connsiteX21556" fmla="*/ 1574756 w 10505529"/>
              <a:gd name="connsiteY21556" fmla="*/ 3926131 h 7458372"/>
              <a:gd name="connsiteX21557" fmla="*/ 1580879 w 10505529"/>
              <a:gd name="connsiteY21557" fmla="*/ 3935582 h 7458372"/>
              <a:gd name="connsiteX21558" fmla="*/ 1583142 w 10505529"/>
              <a:gd name="connsiteY21558" fmla="*/ 3947031 h 7458372"/>
              <a:gd name="connsiteX21559" fmla="*/ 1580879 w 10505529"/>
              <a:gd name="connsiteY21559" fmla="*/ 3958745 h 7458372"/>
              <a:gd name="connsiteX21560" fmla="*/ 1574756 w 10505529"/>
              <a:gd name="connsiteY21560" fmla="*/ 3968064 h 7458372"/>
              <a:gd name="connsiteX21561" fmla="*/ 1565438 w 10505529"/>
              <a:gd name="connsiteY21561" fmla="*/ 3974320 h 7458372"/>
              <a:gd name="connsiteX21562" fmla="*/ 1553723 w 10505529"/>
              <a:gd name="connsiteY21562" fmla="*/ 3976583 h 7458372"/>
              <a:gd name="connsiteX21563" fmla="*/ 1531893 w 10505529"/>
              <a:gd name="connsiteY21563" fmla="*/ 3968064 h 7458372"/>
              <a:gd name="connsiteX21564" fmla="*/ 1523507 w 10505529"/>
              <a:gd name="connsiteY21564" fmla="*/ 3946897 h 7458372"/>
              <a:gd name="connsiteX21565" fmla="*/ 1531893 w 10505529"/>
              <a:gd name="connsiteY21565" fmla="*/ 3925864 h 7458372"/>
              <a:gd name="connsiteX21566" fmla="*/ 1553723 w 10505529"/>
              <a:gd name="connsiteY21566" fmla="*/ 3917212 h 7458372"/>
              <a:gd name="connsiteX21567" fmla="*/ 1336079 w 10505529"/>
              <a:gd name="connsiteY21567" fmla="*/ 3917212 h 7458372"/>
              <a:gd name="connsiteX21568" fmla="*/ 1347795 w 10505529"/>
              <a:gd name="connsiteY21568" fmla="*/ 3919741 h 7458372"/>
              <a:gd name="connsiteX21569" fmla="*/ 1357113 w 10505529"/>
              <a:gd name="connsiteY21569" fmla="*/ 3926131 h 7458372"/>
              <a:gd name="connsiteX21570" fmla="*/ 1363236 w 10505529"/>
              <a:gd name="connsiteY21570" fmla="*/ 3935582 h 7458372"/>
              <a:gd name="connsiteX21571" fmla="*/ 1365498 w 10505529"/>
              <a:gd name="connsiteY21571" fmla="*/ 3947031 h 7458372"/>
              <a:gd name="connsiteX21572" fmla="*/ 1363236 w 10505529"/>
              <a:gd name="connsiteY21572" fmla="*/ 3958745 h 7458372"/>
              <a:gd name="connsiteX21573" fmla="*/ 1357113 w 10505529"/>
              <a:gd name="connsiteY21573" fmla="*/ 3968064 h 7458372"/>
              <a:gd name="connsiteX21574" fmla="*/ 1347795 w 10505529"/>
              <a:gd name="connsiteY21574" fmla="*/ 3974320 h 7458372"/>
              <a:gd name="connsiteX21575" fmla="*/ 1336079 w 10505529"/>
              <a:gd name="connsiteY21575" fmla="*/ 3976583 h 7458372"/>
              <a:gd name="connsiteX21576" fmla="*/ 1314246 w 10505529"/>
              <a:gd name="connsiteY21576" fmla="*/ 3968064 h 7458372"/>
              <a:gd name="connsiteX21577" fmla="*/ 1305861 w 10505529"/>
              <a:gd name="connsiteY21577" fmla="*/ 3946897 h 7458372"/>
              <a:gd name="connsiteX21578" fmla="*/ 1314246 w 10505529"/>
              <a:gd name="connsiteY21578" fmla="*/ 3925864 h 7458372"/>
              <a:gd name="connsiteX21579" fmla="*/ 1336079 w 10505529"/>
              <a:gd name="connsiteY21579" fmla="*/ 3917212 h 7458372"/>
              <a:gd name="connsiteX21580" fmla="*/ 1118434 w 10505529"/>
              <a:gd name="connsiteY21580" fmla="*/ 3917212 h 7458372"/>
              <a:gd name="connsiteX21581" fmla="*/ 1130151 w 10505529"/>
              <a:gd name="connsiteY21581" fmla="*/ 3919741 h 7458372"/>
              <a:gd name="connsiteX21582" fmla="*/ 1139467 w 10505529"/>
              <a:gd name="connsiteY21582" fmla="*/ 3926131 h 7458372"/>
              <a:gd name="connsiteX21583" fmla="*/ 1145588 w 10505529"/>
              <a:gd name="connsiteY21583" fmla="*/ 3935582 h 7458372"/>
              <a:gd name="connsiteX21584" fmla="*/ 1147851 w 10505529"/>
              <a:gd name="connsiteY21584" fmla="*/ 3947031 h 7458372"/>
              <a:gd name="connsiteX21585" fmla="*/ 1145588 w 10505529"/>
              <a:gd name="connsiteY21585" fmla="*/ 3958745 h 7458372"/>
              <a:gd name="connsiteX21586" fmla="*/ 1139467 w 10505529"/>
              <a:gd name="connsiteY21586" fmla="*/ 3968064 h 7458372"/>
              <a:gd name="connsiteX21587" fmla="*/ 1130151 w 10505529"/>
              <a:gd name="connsiteY21587" fmla="*/ 3974320 h 7458372"/>
              <a:gd name="connsiteX21588" fmla="*/ 1118434 w 10505529"/>
              <a:gd name="connsiteY21588" fmla="*/ 3976583 h 7458372"/>
              <a:gd name="connsiteX21589" fmla="*/ 1096600 w 10505529"/>
              <a:gd name="connsiteY21589" fmla="*/ 3968064 h 7458372"/>
              <a:gd name="connsiteX21590" fmla="*/ 1088215 w 10505529"/>
              <a:gd name="connsiteY21590" fmla="*/ 3946897 h 7458372"/>
              <a:gd name="connsiteX21591" fmla="*/ 1096600 w 10505529"/>
              <a:gd name="connsiteY21591" fmla="*/ 3925864 h 7458372"/>
              <a:gd name="connsiteX21592" fmla="*/ 1118434 w 10505529"/>
              <a:gd name="connsiteY21592" fmla="*/ 3917212 h 7458372"/>
              <a:gd name="connsiteX21593" fmla="*/ 900921 w 10505529"/>
              <a:gd name="connsiteY21593" fmla="*/ 3917212 h 7458372"/>
              <a:gd name="connsiteX21594" fmla="*/ 912636 w 10505529"/>
              <a:gd name="connsiteY21594" fmla="*/ 3919741 h 7458372"/>
              <a:gd name="connsiteX21595" fmla="*/ 921955 w 10505529"/>
              <a:gd name="connsiteY21595" fmla="*/ 3926131 h 7458372"/>
              <a:gd name="connsiteX21596" fmla="*/ 928077 w 10505529"/>
              <a:gd name="connsiteY21596" fmla="*/ 3935582 h 7458372"/>
              <a:gd name="connsiteX21597" fmla="*/ 930340 w 10505529"/>
              <a:gd name="connsiteY21597" fmla="*/ 3947031 h 7458372"/>
              <a:gd name="connsiteX21598" fmla="*/ 928077 w 10505529"/>
              <a:gd name="connsiteY21598" fmla="*/ 3958745 h 7458372"/>
              <a:gd name="connsiteX21599" fmla="*/ 921955 w 10505529"/>
              <a:gd name="connsiteY21599" fmla="*/ 3968064 h 7458372"/>
              <a:gd name="connsiteX21600" fmla="*/ 912636 w 10505529"/>
              <a:gd name="connsiteY21600" fmla="*/ 3974320 h 7458372"/>
              <a:gd name="connsiteX21601" fmla="*/ 900921 w 10505529"/>
              <a:gd name="connsiteY21601" fmla="*/ 3976583 h 7458372"/>
              <a:gd name="connsiteX21602" fmla="*/ 879090 w 10505529"/>
              <a:gd name="connsiteY21602" fmla="*/ 3968064 h 7458372"/>
              <a:gd name="connsiteX21603" fmla="*/ 870705 w 10505529"/>
              <a:gd name="connsiteY21603" fmla="*/ 3946897 h 7458372"/>
              <a:gd name="connsiteX21604" fmla="*/ 879090 w 10505529"/>
              <a:gd name="connsiteY21604" fmla="*/ 3925864 h 7458372"/>
              <a:gd name="connsiteX21605" fmla="*/ 900921 w 10505529"/>
              <a:gd name="connsiteY21605" fmla="*/ 3917212 h 7458372"/>
              <a:gd name="connsiteX21606" fmla="*/ 683280 w 10505529"/>
              <a:gd name="connsiteY21606" fmla="*/ 3917212 h 7458372"/>
              <a:gd name="connsiteX21607" fmla="*/ 694995 w 10505529"/>
              <a:gd name="connsiteY21607" fmla="*/ 3919741 h 7458372"/>
              <a:gd name="connsiteX21608" fmla="*/ 704312 w 10505529"/>
              <a:gd name="connsiteY21608" fmla="*/ 3926131 h 7458372"/>
              <a:gd name="connsiteX21609" fmla="*/ 710435 w 10505529"/>
              <a:gd name="connsiteY21609" fmla="*/ 3935582 h 7458372"/>
              <a:gd name="connsiteX21610" fmla="*/ 712698 w 10505529"/>
              <a:gd name="connsiteY21610" fmla="*/ 3947031 h 7458372"/>
              <a:gd name="connsiteX21611" fmla="*/ 710435 w 10505529"/>
              <a:gd name="connsiteY21611" fmla="*/ 3958745 h 7458372"/>
              <a:gd name="connsiteX21612" fmla="*/ 704312 w 10505529"/>
              <a:gd name="connsiteY21612" fmla="*/ 3968064 h 7458372"/>
              <a:gd name="connsiteX21613" fmla="*/ 694995 w 10505529"/>
              <a:gd name="connsiteY21613" fmla="*/ 3974320 h 7458372"/>
              <a:gd name="connsiteX21614" fmla="*/ 683280 w 10505529"/>
              <a:gd name="connsiteY21614" fmla="*/ 3976583 h 7458372"/>
              <a:gd name="connsiteX21615" fmla="*/ 661448 w 10505529"/>
              <a:gd name="connsiteY21615" fmla="*/ 3968064 h 7458372"/>
              <a:gd name="connsiteX21616" fmla="*/ 653062 w 10505529"/>
              <a:gd name="connsiteY21616" fmla="*/ 3946897 h 7458372"/>
              <a:gd name="connsiteX21617" fmla="*/ 661448 w 10505529"/>
              <a:gd name="connsiteY21617" fmla="*/ 3925864 h 7458372"/>
              <a:gd name="connsiteX21618" fmla="*/ 683280 w 10505529"/>
              <a:gd name="connsiteY21618" fmla="*/ 3917212 h 7458372"/>
              <a:gd name="connsiteX21619" fmla="*/ 465637 w 10505529"/>
              <a:gd name="connsiteY21619" fmla="*/ 3917212 h 7458372"/>
              <a:gd name="connsiteX21620" fmla="*/ 477353 w 10505529"/>
              <a:gd name="connsiteY21620" fmla="*/ 3919741 h 7458372"/>
              <a:gd name="connsiteX21621" fmla="*/ 486670 w 10505529"/>
              <a:gd name="connsiteY21621" fmla="*/ 3926131 h 7458372"/>
              <a:gd name="connsiteX21622" fmla="*/ 492793 w 10505529"/>
              <a:gd name="connsiteY21622" fmla="*/ 3935582 h 7458372"/>
              <a:gd name="connsiteX21623" fmla="*/ 495056 w 10505529"/>
              <a:gd name="connsiteY21623" fmla="*/ 3947031 h 7458372"/>
              <a:gd name="connsiteX21624" fmla="*/ 492793 w 10505529"/>
              <a:gd name="connsiteY21624" fmla="*/ 3958745 h 7458372"/>
              <a:gd name="connsiteX21625" fmla="*/ 486670 w 10505529"/>
              <a:gd name="connsiteY21625" fmla="*/ 3968064 h 7458372"/>
              <a:gd name="connsiteX21626" fmla="*/ 477353 w 10505529"/>
              <a:gd name="connsiteY21626" fmla="*/ 3974320 h 7458372"/>
              <a:gd name="connsiteX21627" fmla="*/ 465637 w 10505529"/>
              <a:gd name="connsiteY21627" fmla="*/ 3976583 h 7458372"/>
              <a:gd name="connsiteX21628" fmla="*/ 443806 w 10505529"/>
              <a:gd name="connsiteY21628" fmla="*/ 3968064 h 7458372"/>
              <a:gd name="connsiteX21629" fmla="*/ 435420 w 10505529"/>
              <a:gd name="connsiteY21629" fmla="*/ 3946897 h 7458372"/>
              <a:gd name="connsiteX21630" fmla="*/ 443806 w 10505529"/>
              <a:gd name="connsiteY21630" fmla="*/ 3925864 h 7458372"/>
              <a:gd name="connsiteX21631" fmla="*/ 465637 w 10505529"/>
              <a:gd name="connsiteY21631" fmla="*/ 3917212 h 7458372"/>
              <a:gd name="connsiteX21632" fmla="*/ 247995 w 10505529"/>
              <a:gd name="connsiteY21632" fmla="*/ 3917212 h 7458372"/>
              <a:gd name="connsiteX21633" fmla="*/ 259710 w 10505529"/>
              <a:gd name="connsiteY21633" fmla="*/ 3919741 h 7458372"/>
              <a:gd name="connsiteX21634" fmla="*/ 269028 w 10505529"/>
              <a:gd name="connsiteY21634" fmla="*/ 3926131 h 7458372"/>
              <a:gd name="connsiteX21635" fmla="*/ 275151 w 10505529"/>
              <a:gd name="connsiteY21635" fmla="*/ 3935582 h 7458372"/>
              <a:gd name="connsiteX21636" fmla="*/ 277414 w 10505529"/>
              <a:gd name="connsiteY21636" fmla="*/ 3947031 h 7458372"/>
              <a:gd name="connsiteX21637" fmla="*/ 275151 w 10505529"/>
              <a:gd name="connsiteY21637" fmla="*/ 3958745 h 7458372"/>
              <a:gd name="connsiteX21638" fmla="*/ 269028 w 10505529"/>
              <a:gd name="connsiteY21638" fmla="*/ 3968064 h 7458372"/>
              <a:gd name="connsiteX21639" fmla="*/ 259710 w 10505529"/>
              <a:gd name="connsiteY21639" fmla="*/ 3974320 h 7458372"/>
              <a:gd name="connsiteX21640" fmla="*/ 247995 w 10505529"/>
              <a:gd name="connsiteY21640" fmla="*/ 3976583 h 7458372"/>
              <a:gd name="connsiteX21641" fmla="*/ 226165 w 10505529"/>
              <a:gd name="connsiteY21641" fmla="*/ 3968064 h 7458372"/>
              <a:gd name="connsiteX21642" fmla="*/ 217779 w 10505529"/>
              <a:gd name="connsiteY21642" fmla="*/ 3946897 h 7458372"/>
              <a:gd name="connsiteX21643" fmla="*/ 226165 w 10505529"/>
              <a:gd name="connsiteY21643" fmla="*/ 3925864 h 7458372"/>
              <a:gd name="connsiteX21644" fmla="*/ 247995 w 10505529"/>
              <a:gd name="connsiteY21644" fmla="*/ 3917212 h 7458372"/>
              <a:gd name="connsiteX21645" fmla="*/ 30352 w 10505529"/>
              <a:gd name="connsiteY21645" fmla="*/ 3917212 h 7458372"/>
              <a:gd name="connsiteX21646" fmla="*/ 42068 w 10505529"/>
              <a:gd name="connsiteY21646" fmla="*/ 3919741 h 7458372"/>
              <a:gd name="connsiteX21647" fmla="*/ 51386 w 10505529"/>
              <a:gd name="connsiteY21647" fmla="*/ 3926131 h 7458372"/>
              <a:gd name="connsiteX21648" fmla="*/ 57509 w 10505529"/>
              <a:gd name="connsiteY21648" fmla="*/ 3935582 h 7458372"/>
              <a:gd name="connsiteX21649" fmla="*/ 59772 w 10505529"/>
              <a:gd name="connsiteY21649" fmla="*/ 3947031 h 7458372"/>
              <a:gd name="connsiteX21650" fmla="*/ 57509 w 10505529"/>
              <a:gd name="connsiteY21650" fmla="*/ 3958745 h 7458372"/>
              <a:gd name="connsiteX21651" fmla="*/ 51386 w 10505529"/>
              <a:gd name="connsiteY21651" fmla="*/ 3968064 h 7458372"/>
              <a:gd name="connsiteX21652" fmla="*/ 42068 w 10505529"/>
              <a:gd name="connsiteY21652" fmla="*/ 3974320 h 7458372"/>
              <a:gd name="connsiteX21653" fmla="*/ 30352 w 10505529"/>
              <a:gd name="connsiteY21653" fmla="*/ 3976583 h 7458372"/>
              <a:gd name="connsiteX21654" fmla="*/ 8524 w 10505529"/>
              <a:gd name="connsiteY21654" fmla="*/ 3968064 h 7458372"/>
              <a:gd name="connsiteX21655" fmla="*/ 138 w 10505529"/>
              <a:gd name="connsiteY21655" fmla="*/ 3946897 h 7458372"/>
              <a:gd name="connsiteX21656" fmla="*/ 8524 w 10505529"/>
              <a:gd name="connsiteY21656" fmla="*/ 3925864 h 7458372"/>
              <a:gd name="connsiteX21657" fmla="*/ 30352 w 10505529"/>
              <a:gd name="connsiteY21657" fmla="*/ 3917212 h 7458372"/>
              <a:gd name="connsiteX21658" fmla="*/ 10475977 w 10505529"/>
              <a:gd name="connsiteY21658" fmla="*/ 3716208 h 7458372"/>
              <a:gd name="connsiteX21659" fmla="*/ 10465992 w 10505529"/>
              <a:gd name="connsiteY21659" fmla="*/ 3719802 h 7458372"/>
              <a:gd name="connsiteX21660" fmla="*/ 10462399 w 10505529"/>
              <a:gd name="connsiteY21660" fmla="*/ 3729253 h 7458372"/>
              <a:gd name="connsiteX21661" fmla="*/ 10465992 w 10505529"/>
              <a:gd name="connsiteY21661" fmla="*/ 3738705 h 7458372"/>
              <a:gd name="connsiteX21662" fmla="*/ 10475977 w 10505529"/>
              <a:gd name="connsiteY21662" fmla="*/ 3742165 h 7458372"/>
              <a:gd name="connsiteX21663" fmla="*/ 10481302 w 10505529"/>
              <a:gd name="connsiteY21663" fmla="*/ 3741367 h 7458372"/>
              <a:gd name="connsiteX21664" fmla="*/ 10485029 w 10505529"/>
              <a:gd name="connsiteY21664" fmla="*/ 3738970 h 7458372"/>
              <a:gd name="connsiteX21665" fmla="*/ 10487691 w 10505529"/>
              <a:gd name="connsiteY21665" fmla="*/ 3734711 h 7458372"/>
              <a:gd name="connsiteX21666" fmla="*/ 10488623 w 10505529"/>
              <a:gd name="connsiteY21666" fmla="*/ 3729253 h 7458372"/>
              <a:gd name="connsiteX21667" fmla="*/ 10487691 w 10505529"/>
              <a:gd name="connsiteY21667" fmla="*/ 3724061 h 7458372"/>
              <a:gd name="connsiteX21668" fmla="*/ 10485029 w 10505529"/>
              <a:gd name="connsiteY21668" fmla="*/ 3719802 h 7458372"/>
              <a:gd name="connsiteX21669" fmla="*/ 10481035 w 10505529"/>
              <a:gd name="connsiteY21669" fmla="*/ 3717139 h 7458372"/>
              <a:gd name="connsiteX21670" fmla="*/ 10475977 w 10505529"/>
              <a:gd name="connsiteY21670" fmla="*/ 3716208 h 7458372"/>
              <a:gd name="connsiteX21671" fmla="*/ 10258466 w 10505529"/>
              <a:gd name="connsiteY21671" fmla="*/ 3716208 h 7458372"/>
              <a:gd name="connsiteX21672" fmla="*/ 10248481 w 10505529"/>
              <a:gd name="connsiteY21672" fmla="*/ 3719802 h 7458372"/>
              <a:gd name="connsiteX21673" fmla="*/ 10244887 w 10505529"/>
              <a:gd name="connsiteY21673" fmla="*/ 3729253 h 7458372"/>
              <a:gd name="connsiteX21674" fmla="*/ 10248481 w 10505529"/>
              <a:gd name="connsiteY21674" fmla="*/ 3738705 h 7458372"/>
              <a:gd name="connsiteX21675" fmla="*/ 10258466 w 10505529"/>
              <a:gd name="connsiteY21675" fmla="*/ 3742165 h 7458372"/>
              <a:gd name="connsiteX21676" fmla="*/ 10263790 w 10505529"/>
              <a:gd name="connsiteY21676" fmla="*/ 3741367 h 7458372"/>
              <a:gd name="connsiteX21677" fmla="*/ 10267517 w 10505529"/>
              <a:gd name="connsiteY21677" fmla="*/ 3738970 h 7458372"/>
              <a:gd name="connsiteX21678" fmla="*/ 10270180 w 10505529"/>
              <a:gd name="connsiteY21678" fmla="*/ 3734711 h 7458372"/>
              <a:gd name="connsiteX21679" fmla="*/ 10271112 w 10505529"/>
              <a:gd name="connsiteY21679" fmla="*/ 3729253 h 7458372"/>
              <a:gd name="connsiteX21680" fmla="*/ 10270180 w 10505529"/>
              <a:gd name="connsiteY21680" fmla="*/ 3724061 h 7458372"/>
              <a:gd name="connsiteX21681" fmla="*/ 10267517 w 10505529"/>
              <a:gd name="connsiteY21681" fmla="*/ 3719802 h 7458372"/>
              <a:gd name="connsiteX21682" fmla="*/ 10263524 w 10505529"/>
              <a:gd name="connsiteY21682" fmla="*/ 3717139 h 7458372"/>
              <a:gd name="connsiteX21683" fmla="*/ 10258466 w 10505529"/>
              <a:gd name="connsiteY21683" fmla="*/ 3716208 h 7458372"/>
              <a:gd name="connsiteX21684" fmla="*/ 10040820 w 10505529"/>
              <a:gd name="connsiteY21684" fmla="*/ 3716208 h 7458372"/>
              <a:gd name="connsiteX21685" fmla="*/ 10030835 w 10505529"/>
              <a:gd name="connsiteY21685" fmla="*/ 3719802 h 7458372"/>
              <a:gd name="connsiteX21686" fmla="*/ 10027242 w 10505529"/>
              <a:gd name="connsiteY21686" fmla="*/ 3729253 h 7458372"/>
              <a:gd name="connsiteX21687" fmla="*/ 10030835 w 10505529"/>
              <a:gd name="connsiteY21687" fmla="*/ 3738705 h 7458372"/>
              <a:gd name="connsiteX21688" fmla="*/ 10040820 w 10505529"/>
              <a:gd name="connsiteY21688" fmla="*/ 3742165 h 7458372"/>
              <a:gd name="connsiteX21689" fmla="*/ 10046145 w 10505529"/>
              <a:gd name="connsiteY21689" fmla="*/ 3741367 h 7458372"/>
              <a:gd name="connsiteX21690" fmla="*/ 10049872 w 10505529"/>
              <a:gd name="connsiteY21690" fmla="*/ 3738970 h 7458372"/>
              <a:gd name="connsiteX21691" fmla="*/ 10052534 w 10505529"/>
              <a:gd name="connsiteY21691" fmla="*/ 3734711 h 7458372"/>
              <a:gd name="connsiteX21692" fmla="*/ 10053599 w 10505529"/>
              <a:gd name="connsiteY21692" fmla="*/ 3729253 h 7458372"/>
              <a:gd name="connsiteX21693" fmla="*/ 10052534 w 10505529"/>
              <a:gd name="connsiteY21693" fmla="*/ 3724061 h 7458372"/>
              <a:gd name="connsiteX21694" fmla="*/ 10049872 w 10505529"/>
              <a:gd name="connsiteY21694" fmla="*/ 3719802 h 7458372"/>
              <a:gd name="connsiteX21695" fmla="*/ 10045878 w 10505529"/>
              <a:gd name="connsiteY21695" fmla="*/ 3717139 h 7458372"/>
              <a:gd name="connsiteX21696" fmla="*/ 10040820 w 10505529"/>
              <a:gd name="connsiteY21696" fmla="*/ 3716208 h 7458372"/>
              <a:gd name="connsiteX21697" fmla="*/ 9823176 w 10505529"/>
              <a:gd name="connsiteY21697" fmla="*/ 3716208 h 7458372"/>
              <a:gd name="connsiteX21698" fmla="*/ 9813191 w 10505529"/>
              <a:gd name="connsiteY21698" fmla="*/ 3719802 h 7458372"/>
              <a:gd name="connsiteX21699" fmla="*/ 9809597 w 10505529"/>
              <a:gd name="connsiteY21699" fmla="*/ 3729253 h 7458372"/>
              <a:gd name="connsiteX21700" fmla="*/ 9813191 w 10505529"/>
              <a:gd name="connsiteY21700" fmla="*/ 3738705 h 7458372"/>
              <a:gd name="connsiteX21701" fmla="*/ 9823176 w 10505529"/>
              <a:gd name="connsiteY21701" fmla="*/ 3742165 h 7458372"/>
              <a:gd name="connsiteX21702" fmla="*/ 9828501 w 10505529"/>
              <a:gd name="connsiteY21702" fmla="*/ 3741367 h 7458372"/>
              <a:gd name="connsiteX21703" fmla="*/ 9832227 w 10505529"/>
              <a:gd name="connsiteY21703" fmla="*/ 3738970 h 7458372"/>
              <a:gd name="connsiteX21704" fmla="*/ 9834890 w 10505529"/>
              <a:gd name="connsiteY21704" fmla="*/ 3734711 h 7458372"/>
              <a:gd name="connsiteX21705" fmla="*/ 9835955 w 10505529"/>
              <a:gd name="connsiteY21705" fmla="*/ 3729253 h 7458372"/>
              <a:gd name="connsiteX21706" fmla="*/ 9834890 w 10505529"/>
              <a:gd name="connsiteY21706" fmla="*/ 3724061 h 7458372"/>
              <a:gd name="connsiteX21707" fmla="*/ 9832227 w 10505529"/>
              <a:gd name="connsiteY21707" fmla="*/ 3719802 h 7458372"/>
              <a:gd name="connsiteX21708" fmla="*/ 9828234 w 10505529"/>
              <a:gd name="connsiteY21708" fmla="*/ 3717139 h 7458372"/>
              <a:gd name="connsiteX21709" fmla="*/ 9823176 w 10505529"/>
              <a:gd name="connsiteY21709" fmla="*/ 3716208 h 7458372"/>
              <a:gd name="connsiteX21710" fmla="*/ 9605531 w 10505529"/>
              <a:gd name="connsiteY21710" fmla="*/ 3716208 h 7458372"/>
              <a:gd name="connsiteX21711" fmla="*/ 9595546 w 10505529"/>
              <a:gd name="connsiteY21711" fmla="*/ 3719802 h 7458372"/>
              <a:gd name="connsiteX21712" fmla="*/ 9591952 w 10505529"/>
              <a:gd name="connsiteY21712" fmla="*/ 3729253 h 7458372"/>
              <a:gd name="connsiteX21713" fmla="*/ 9595546 w 10505529"/>
              <a:gd name="connsiteY21713" fmla="*/ 3738705 h 7458372"/>
              <a:gd name="connsiteX21714" fmla="*/ 9605531 w 10505529"/>
              <a:gd name="connsiteY21714" fmla="*/ 3742165 h 7458372"/>
              <a:gd name="connsiteX21715" fmla="*/ 9610855 w 10505529"/>
              <a:gd name="connsiteY21715" fmla="*/ 3741367 h 7458372"/>
              <a:gd name="connsiteX21716" fmla="*/ 9614582 w 10505529"/>
              <a:gd name="connsiteY21716" fmla="*/ 3738970 h 7458372"/>
              <a:gd name="connsiteX21717" fmla="*/ 9617245 w 10505529"/>
              <a:gd name="connsiteY21717" fmla="*/ 3734711 h 7458372"/>
              <a:gd name="connsiteX21718" fmla="*/ 9618309 w 10505529"/>
              <a:gd name="connsiteY21718" fmla="*/ 3729253 h 7458372"/>
              <a:gd name="connsiteX21719" fmla="*/ 9617245 w 10505529"/>
              <a:gd name="connsiteY21719" fmla="*/ 3724061 h 7458372"/>
              <a:gd name="connsiteX21720" fmla="*/ 9614582 w 10505529"/>
              <a:gd name="connsiteY21720" fmla="*/ 3719802 h 7458372"/>
              <a:gd name="connsiteX21721" fmla="*/ 9610589 w 10505529"/>
              <a:gd name="connsiteY21721" fmla="*/ 3717139 h 7458372"/>
              <a:gd name="connsiteX21722" fmla="*/ 9605531 w 10505529"/>
              <a:gd name="connsiteY21722" fmla="*/ 3716208 h 7458372"/>
              <a:gd name="connsiteX21723" fmla="*/ 9387885 w 10505529"/>
              <a:gd name="connsiteY21723" fmla="*/ 3716208 h 7458372"/>
              <a:gd name="connsiteX21724" fmla="*/ 9377900 w 10505529"/>
              <a:gd name="connsiteY21724" fmla="*/ 3719802 h 7458372"/>
              <a:gd name="connsiteX21725" fmla="*/ 9374307 w 10505529"/>
              <a:gd name="connsiteY21725" fmla="*/ 3729253 h 7458372"/>
              <a:gd name="connsiteX21726" fmla="*/ 9377900 w 10505529"/>
              <a:gd name="connsiteY21726" fmla="*/ 3738705 h 7458372"/>
              <a:gd name="connsiteX21727" fmla="*/ 9387885 w 10505529"/>
              <a:gd name="connsiteY21727" fmla="*/ 3742165 h 7458372"/>
              <a:gd name="connsiteX21728" fmla="*/ 9393210 w 10505529"/>
              <a:gd name="connsiteY21728" fmla="*/ 3741367 h 7458372"/>
              <a:gd name="connsiteX21729" fmla="*/ 9396937 w 10505529"/>
              <a:gd name="connsiteY21729" fmla="*/ 3738970 h 7458372"/>
              <a:gd name="connsiteX21730" fmla="*/ 9399599 w 10505529"/>
              <a:gd name="connsiteY21730" fmla="*/ 3734711 h 7458372"/>
              <a:gd name="connsiteX21731" fmla="*/ 9400664 w 10505529"/>
              <a:gd name="connsiteY21731" fmla="*/ 3729253 h 7458372"/>
              <a:gd name="connsiteX21732" fmla="*/ 9399599 w 10505529"/>
              <a:gd name="connsiteY21732" fmla="*/ 3724061 h 7458372"/>
              <a:gd name="connsiteX21733" fmla="*/ 9396937 w 10505529"/>
              <a:gd name="connsiteY21733" fmla="*/ 3719802 h 7458372"/>
              <a:gd name="connsiteX21734" fmla="*/ 9392943 w 10505529"/>
              <a:gd name="connsiteY21734" fmla="*/ 3717139 h 7458372"/>
              <a:gd name="connsiteX21735" fmla="*/ 9387885 w 10505529"/>
              <a:gd name="connsiteY21735" fmla="*/ 3716208 h 7458372"/>
              <a:gd name="connsiteX21736" fmla="*/ 9170374 w 10505529"/>
              <a:gd name="connsiteY21736" fmla="*/ 3716208 h 7458372"/>
              <a:gd name="connsiteX21737" fmla="*/ 9160389 w 10505529"/>
              <a:gd name="connsiteY21737" fmla="*/ 3719802 h 7458372"/>
              <a:gd name="connsiteX21738" fmla="*/ 9156795 w 10505529"/>
              <a:gd name="connsiteY21738" fmla="*/ 3729253 h 7458372"/>
              <a:gd name="connsiteX21739" fmla="*/ 9160389 w 10505529"/>
              <a:gd name="connsiteY21739" fmla="*/ 3738705 h 7458372"/>
              <a:gd name="connsiteX21740" fmla="*/ 9170374 w 10505529"/>
              <a:gd name="connsiteY21740" fmla="*/ 3742165 h 7458372"/>
              <a:gd name="connsiteX21741" fmla="*/ 9175698 w 10505529"/>
              <a:gd name="connsiteY21741" fmla="*/ 3741367 h 7458372"/>
              <a:gd name="connsiteX21742" fmla="*/ 9179425 w 10505529"/>
              <a:gd name="connsiteY21742" fmla="*/ 3738970 h 7458372"/>
              <a:gd name="connsiteX21743" fmla="*/ 9182088 w 10505529"/>
              <a:gd name="connsiteY21743" fmla="*/ 3734711 h 7458372"/>
              <a:gd name="connsiteX21744" fmla="*/ 9183152 w 10505529"/>
              <a:gd name="connsiteY21744" fmla="*/ 3729253 h 7458372"/>
              <a:gd name="connsiteX21745" fmla="*/ 9182088 w 10505529"/>
              <a:gd name="connsiteY21745" fmla="*/ 3724061 h 7458372"/>
              <a:gd name="connsiteX21746" fmla="*/ 9179425 w 10505529"/>
              <a:gd name="connsiteY21746" fmla="*/ 3719802 h 7458372"/>
              <a:gd name="connsiteX21747" fmla="*/ 9175432 w 10505529"/>
              <a:gd name="connsiteY21747" fmla="*/ 3717139 h 7458372"/>
              <a:gd name="connsiteX21748" fmla="*/ 9170374 w 10505529"/>
              <a:gd name="connsiteY21748" fmla="*/ 3716208 h 7458372"/>
              <a:gd name="connsiteX21749" fmla="*/ 8952728 w 10505529"/>
              <a:gd name="connsiteY21749" fmla="*/ 3716208 h 7458372"/>
              <a:gd name="connsiteX21750" fmla="*/ 8942743 w 10505529"/>
              <a:gd name="connsiteY21750" fmla="*/ 3719802 h 7458372"/>
              <a:gd name="connsiteX21751" fmla="*/ 8939150 w 10505529"/>
              <a:gd name="connsiteY21751" fmla="*/ 3729253 h 7458372"/>
              <a:gd name="connsiteX21752" fmla="*/ 8942743 w 10505529"/>
              <a:gd name="connsiteY21752" fmla="*/ 3738705 h 7458372"/>
              <a:gd name="connsiteX21753" fmla="*/ 8952728 w 10505529"/>
              <a:gd name="connsiteY21753" fmla="*/ 3742165 h 7458372"/>
              <a:gd name="connsiteX21754" fmla="*/ 8958053 w 10505529"/>
              <a:gd name="connsiteY21754" fmla="*/ 3741367 h 7458372"/>
              <a:gd name="connsiteX21755" fmla="*/ 8961780 w 10505529"/>
              <a:gd name="connsiteY21755" fmla="*/ 3738970 h 7458372"/>
              <a:gd name="connsiteX21756" fmla="*/ 8964442 w 10505529"/>
              <a:gd name="connsiteY21756" fmla="*/ 3734711 h 7458372"/>
              <a:gd name="connsiteX21757" fmla="*/ 8965507 w 10505529"/>
              <a:gd name="connsiteY21757" fmla="*/ 3729253 h 7458372"/>
              <a:gd name="connsiteX21758" fmla="*/ 8964442 w 10505529"/>
              <a:gd name="connsiteY21758" fmla="*/ 3724061 h 7458372"/>
              <a:gd name="connsiteX21759" fmla="*/ 8961780 w 10505529"/>
              <a:gd name="connsiteY21759" fmla="*/ 3719802 h 7458372"/>
              <a:gd name="connsiteX21760" fmla="*/ 8957786 w 10505529"/>
              <a:gd name="connsiteY21760" fmla="*/ 3717139 h 7458372"/>
              <a:gd name="connsiteX21761" fmla="*/ 8952728 w 10505529"/>
              <a:gd name="connsiteY21761" fmla="*/ 3716208 h 7458372"/>
              <a:gd name="connsiteX21762" fmla="*/ 8735083 w 10505529"/>
              <a:gd name="connsiteY21762" fmla="*/ 3716208 h 7458372"/>
              <a:gd name="connsiteX21763" fmla="*/ 8725098 w 10505529"/>
              <a:gd name="connsiteY21763" fmla="*/ 3719802 h 7458372"/>
              <a:gd name="connsiteX21764" fmla="*/ 8721504 w 10505529"/>
              <a:gd name="connsiteY21764" fmla="*/ 3729253 h 7458372"/>
              <a:gd name="connsiteX21765" fmla="*/ 8725098 w 10505529"/>
              <a:gd name="connsiteY21765" fmla="*/ 3738705 h 7458372"/>
              <a:gd name="connsiteX21766" fmla="*/ 8735083 w 10505529"/>
              <a:gd name="connsiteY21766" fmla="*/ 3742165 h 7458372"/>
              <a:gd name="connsiteX21767" fmla="*/ 8740407 w 10505529"/>
              <a:gd name="connsiteY21767" fmla="*/ 3741367 h 7458372"/>
              <a:gd name="connsiteX21768" fmla="*/ 8744134 w 10505529"/>
              <a:gd name="connsiteY21768" fmla="*/ 3738970 h 7458372"/>
              <a:gd name="connsiteX21769" fmla="*/ 8746797 w 10505529"/>
              <a:gd name="connsiteY21769" fmla="*/ 3734711 h 7458372"/>
              <a:gd name="connsiteX21770" fmla="*/ 8747862 w 10505529"/>
              <a:gd name="connsiteY21770" fmla="*/ 3729253 h 7458372"/>
              <a:gd name="connsiteX21771" fmla="*/ 8746797 w 10505529"/>
              <a:gd name="connsiteY21771" fmla="*/ 3724061 h 7458372"/>
              <a:gd name="connsiteX21772" fmla="*/ 8744134 w 10505529"/>
              <a:gd name="connsiteY21772" fmla="*/ 3719802 h 7458372"/>
              <a:gd name="connsiteX21773" fmla="*/ 8740141 w 10505529"/>
              <a:gd name="connsiteY21773" fmla="*/ 3717139 h 7458372"/>
              <a:gd name="connsiteX21774" fmla="*/ 8735083 w 10505529"/>
              <a:gd name="connsiteY21774" fmla="*/ 3716208 h 7458372"/>
              <a:gd name="connsiteX21775" fmla="*/ 8517438 w 10505529"/>
              <a:gd name="connsiteY21775" fmla="*/ 3716208 h 7458372"/>
              <a:gd name="connsiteX21776" fmla="*/ 8507453 w 10505529"/>
              <a:gd name="connsiteY21776" fmla="*/ 3719802 h 7458372"/>
              <a:gd name="connsiteX21777" fmla="*/ 8503860 w 10505529"/>
              <a:gd name="connsiteY21777" fmla="*/ 3729253 h 7458372"/>
              <a:gd name="connsiteX21778" fmla="*/ 8507453 w 10505529"/>
              <a:gd name="connsiteY21778" fmla="*/ 3738705 h 7458372"/>
              <a:gd name="connsiteX21779" fmla="*/ 8517438 w 10505529"/>
              <a:gd name="connsiteY21779" fmla="*/ 3742165 h 7458372"/>
              <a:gd name="connsiteX21780" fmla="*/ 8522763 w 10505529"/>
              <a:gd name="connsiteY21780" fmla="*/ 3741367 h 7458372"/>
              <a:gd name="connsiteX21781" fmla="*/ 8526490 w 10505529"/>
              <a:gd name="connsiteY21781" fmla="*/ 3738970 h 7458372"/>
              <a:gd name="connsiteX21782" fmla="*/ 8529152 w 10505529"/>
              <a:gd name="connsiteY21782" fmla="*/ 3734711 h 7458372"/>
              <a:gd name="connsiteX21783" fmla="*/ 8530084 w 10505529"/>
              <a:gd name="connsiteY21783" fmla="*/ 3729253 h 7458372"/>
              <a:gd name="connsiteX21784" fmla="*/ 8529152 w 10505529"/>
              <a:gd name="connsiteY21784" fmla="*/ 3724061 h 7458372"/>
              <a:gd name="connsiteX21785" fmla="*/ 8526490 w 10505529"/>
              <a:gd name="connsiteY21785" fmla="*/ 3719802 h 7458372"/>
              <a:gd name="connsiteX21786" fmla="*/ 8522496 w 10505529"/>
              <a:gd name="connsiteY21786" fmla="*/ 3717139 h 7458372"/>
              <a:gd name="connsiteX21787" fmla="*/ 8517438 w 10505529"/>
              <a:gd name="connsiteY21787" fmla="*/ 3716208 h 7458372"/>
              <a:gd name="connsiteX21788" fmla="*/ 8299793 w 10505529"/>
              <a:gd name="connsiteY21788" fmla="*/ 3716208 h 7458372"/>
              <a:gd name="connsiteX21789" fmla="*/ 8289809 w 10505529"/>
              <a:gd name="connsiteY21789" fmla="*/ 3719802 h 7458372"/>
              <a:gd name="connsiteX21790" fmla="*/ 8286215 w 10505529"/>
              <a:gd name="connsiteY21790" fmla="*/ 3729253 h 7458372"/>
              <a:gd name="connsiteX21791" fmla="*/ 8289809 w 10505529"/>
              <a:gd name="connsiteY21791" fmla="*/ 3738705 h 7458372"/>
              <a:gd name="connsiteX21792" fmla="*/ 8299793 w 10505529"/>
              <a:gd name="connsiteY21792" fmla="*/ 3742165 h 7458372"/>
              <a:gd name="connsiteX21793" fmla="*/ 8305118 w 10505529"/>
              <a:gd name="connsiteY21793" fmla="*/ 3741367 h 7458372"/>
              <a:gd name="connsiteX21794" fmla="*/ 8308844 w 10505529"/>
              <a:gd name="connsiteY21794" fmla="*/ 3738970 h 7458372"/>
              <a:gd name="connsiteX21795" fmla="*/ 8311507 w 10505529"/>
              <a:gd name="connsiteY21795" fmla="*/ 3734711 h 7458372"/>
              <a:gd name="connsiteX21796" fmla="*/ 8312439 w 10505529"/>
              <a:gd name="connsiteY21796" fmla="*/ 3729253 h 7458372"/>
              <a:gd name="connsiteX21797" fmla="*/ 8311507 w 10505529"/>
              <a:gd name="connsiteY21797" fmla="*/ 3724061 h 7458372"/>
              <a:gd name="connsiteX21798" fmla="*/ 8308844 w 10505529"/>
              <a:gd name="connsiteY21798" fmla="*/ 3719802 h 7458372"/>
              <a:gd name="connsiteX21799" fmla="*/ 8304851 w 10505529"/>
              <a:gd name="connsiteY21799" fmla="*/ 3717139 h 7458372"/>
              <a:gd name="connsiteX21800" fmla="*/ 8299793 w 10505529"/>
              <a:gd name="connsiteY21800" fmla="*/ 3716208 h 7458372"/>
              <a:gd name="connsiteX21801" fmla="*/ 8082281 w 10505529"/>
              <a:gd name="connsiteY21801" fmla="*/ 3716208 h 7458372"/>
              <a:gd name="connsiteX21802" fmla="*/ 8072297 w 10505529"/>
              <a:gd name="connsiteY21802" fmla="*/ 3719802 h 7458372"/>
              <a:gd name="connsiteX21803" fmla="*/ 8068703 w 10505529"/>
              <a:gd name="connsiteY21803" fmla="*/ 3729253 h 7458372"/>
              <a:gd name="connsiteX21804" fmla="*/ 8072297 w 10505529"/>
              <a:gd name="connsiteY21804" fmla="*/ 3738705 h 7458372"/>
              <a:gd name="connsiteX21805" fmla="*/ 8082281 w 10505529"/>
              <a:gd name="connsiteY21805" fmla="*/ 3742165 h 7458372"/>
              <a:gd name="connsiteX21806" fmla="*/ 8087605 w 10505529"/>
              <a:gd name="connsiteY21806" fmla="*/ 3741367 h 7458372"/>
              <a:gd name="connsiteX21807" fmla="*/ 8091332 w 10505529"/>
              <a:gd name="connsiteY21807" fmla="*/ 3738970 h 7458372"/>
              <a:gd name="connsiteX21808" fmla="*/ 8093994 w 10505529"/>
              <a:gd name="connsiteY21808" fmla="*/ 3734711 h 7458372"/>
              <a:gd name="connsiteX21809" fmla="*/ 8094926 w 10505529"/>
              <a:gd name="connsiteY21809" fmla="*/ 3729253 h 7458372"/>
              <a:gd name="connsiteX21810" fmla="*/ 8093994 w 10505529"/>
              <a:gd name="connsiteY21810" fmla="*/ 3724061 h 7458372"/>
              <a:gd name="connsiteX21811" fmla="*/ 8091332 w 10505529"/>
              <a:gd name="connsiteY21811" fmla="*/ 3719802 h 7458372"/>
              <a:gd name="connsiteX21812" fmla="*/ 8087338 w 10505529"/>
              <a:gd name="connsiteY21812" fmla="*/ 3717139 h 7458372"/>
              <a:gd name="connsiteX21813" fmla="*/ 8082281 w 10505529"/>
              <a:gd name="connsiteY21813" fmla="*/ 3716208 h 7458372"/>
              <a:gd name="connsiteX21814" fmla="*/ 7864636 w 10505529"/>
              <a:gd name="connsiteY21814" fmla="*/ 3716208 h 7458372"/>
              <a:gd name="connsiteX21815" fmla="*/ 7854652 w 10505529"/>
              <a:gd name="connsiteY21815" fmla="*/ 3719802 h 7458372"/>
              <a:gd name="connsiteX21816" fmla="*/ 7851058 w 10505529"/>
              <a:gd name="connsiteY21816" fmla="*/ 3729253 h 7458372"/>
              <a:gd name="connsiteX21817" fmla="*/ 7854652 w 10505529"/>
              <a:gd name="connsiteY21817" fmla="*/ 3738705 h 7458372"/>
              <a:gd name="connsiteX21818" fmla="*/ 7864636 w 10505529"/>
              <a:gd name="connsiteY21818" fmla="*/ 3742165 h 7458372"/>
              <a:gd name="connsiteX21819" fmla="*/ 7869961 w 10505529"/>
              <a:gd name="connsiteY21819" fmla="*/ 3741367 h 7458372"/>
              <a:gd name="connsiteX21820" fmla="*/ 7873687 w 10505529"/>
              <a:gd name="connsiteY21820" fmla="*/ 3738970 h 7458372"/>
              <a:gd name="connsiteX21821" fmla="*/ 7876350 w 10505529"/>
              <a:gd name="connsiteY21821" fmla="*/ 3734711 h 7458372"/>
              <a:gd name="connsiteX21822" fmla="*/ 7877282 w 10505529"/>
              <a:gd name="connsiteY21822" fmla="*/ 3729253 h 7458372"/>
              <a:gd name="connsiteX21823" fmla="*/ 7876350 w 10505529"/>
              <a:gd name="connsiteY21823" fmla="*/ 3724061 h 7458372"/>
              <a:gd name="connsiteX21824" fmla="*/ 7873687 w 10505529"/>
              <a:gd name="connsiteY21824" fmla="*/ 3719802 h 7458372"/>
              <a:gd name="connsiteX21825" fmla="*/ 7869694 w 10505529"/>
              <a:gd name="connsiteY21825" fmla="*/ 3717139 h 7458372"/>
              <a:gd name="connsiteX21826" fmla="*/ 7864636 w 10505529"/>
              <a:gd name="connsiteY21826" fmla="*/ 3716208 h 7458372"/>
              <a:gd name="connsiteX21827" fmla="*/ 7646991 w 10505529"/>
              <a:gd name="connsiteY21827" fmla="*/ 3716208 h 7458372"/>
              <a:gd name="connsiteX21828" fmla="*/ 7637007 w 10505529"/>
              <a:gd name="connsiteY21828" fmla="*/ 3719802 h 7458372"/>
              <a:gd name="connsiteX21829" fmla="*/ 7633413 w 10505529"/>
              <a:gd name="connsiteY21829" fmla="*/ 3729253 h 7458372"/>
              <a:gd name="connsiteX21830" fmla="*/ 7637007 w 10505529"/>
              <a:gd name="connsiteY21830" fmla="*/ 3738705 h 7458372"/>
              <a:gd name="connsiteX21831" fmla="*/ 7646991 w 10505529"/>
              <a:gd name="connsiteY21831" fmla="*/ 3742165 h 7458372"/>
              <a:gd name="connsiteX21832" fmla="*/ 7652315 w 10505529"/>
              <a:gd name="connsiteY21832" fmla="*/ 3741367 h 7458372"/>
              <a:gd name="connsiteX21833" fmla="*/ 7656042 w 10505529"/>
              <a:gd name="connsiteY21833" fmla="*/ 3738970 h 7458372"/>
              <a:gd name="connsiteX21834" fmla="*/ 7658705 w 10505529"/>
              <a:gd name="connsiteY21834" fmla="*/ 3734711 h 7458372"/>
              <a:gd name="connsiteX21835" fmla="*/ 7659769 w 10505529"/>
              <a:gd name="connsiteY21835" fmla="*/ 3729253 h 7458372"/>
              <a:gd name="connsiteX21836" fmla="*/ 7658705 w 10505529"/>
              <a:gd name="connsiteY21836" fmla="*/ 3724061 h 7458372"/>
              <a:gd name="connsiteX21837" fmla="*/ 7656042 w 10505529"/>
              <a:gd name="connsiteY21837" fmla="*/ 3719802 h 7458372"/>
              <a:gd name="connsiteX21838" fmla="*/ 7652049 w 10505529"/>
              <a:gd name="connsiteY21838" fmla="*/ 3717139 h 7458372"/>
              <a:gd name="connsiteX21839" fmla="*/ 7646991 w 10505529"/>
              <a:gd name="connsiteY21839" fmla="*/ 3716208 h 7458372"/>
              <a:gd name="connsiteX21840" fmla="*/ 7429345 w 10505529"/>
              <a:gd name="connsiteY21840" fmla="*/ 3716208 h 7458372"/>
              <a:gd name="connsiteX21841" fmla="*/ 7419361 w 10505529"/>
              <a:gd name="connsiteY21841" fmla="*/ 3719802 h 7458372"/>
              <a:gd name="connsiteX21842" fmla="*/ 7415768 w 10505529"/>
              <a:gd name="connsiteY21842" fmla="*/ 3729253 h 7458372"/>
              <a:gd name="connsiteX21843" fmla="*/ 7419361 w 10505529"/>
              <a:gd name="connsiteY21843" fmla="*/ 3738705 h 7458372"/>
              <a:gd name="connsiteX21844" fmla="*/ 7429345 w 10505529"/>
              <a:gd name="connsiteY21844" fmla="*/ 3742165 h 7458372"/>
              <a:gd name="connsiteX21845" fmla="*/ 7434670 w 10505529"/>
              <a:gd name="connsiteY21845" fmla="*/ 3741367 h 7458372"/>
              <a:gd name="connsiteX21846" fmla="*/ 7438397 w 10505529"/>
              <a:gd name="connsiteY21846" fmla="*/ 3738970 h 7458372"/>
              <a:gd name="connsiteX21847" fmla="*/ 7441059 w 10505529"/>
              <a:gd name="connsiteY21847" fmla="*/ 3734711 h 7458372"/>
              <a:gd name="connsiteX21848" fmla="*/ 7442124 w 10505529"/>
              <a:gd name="connsiteY21848" fmla="*/ 3729253 h 7458372"/>
              <a:gd name="connsiteX21849" fmla="*/ 7441059 w 10505529"/>
              <a:gd name="connsiteY21849" fmla="*/ 3724061 h 7458372"/>
              <a:gd name="connsiteX21850" fmla="*/ 7438397 w 10505529"/>
              <a:gd name="connsiteY21850" fmla="*/ 3719802 h 7458372"/>
              <a:gd name="connsiteX21851" fmla="*/ 7434403 w 10505529"/>
              <a:gd name="connsiteY21851" fmla="*/ 3717139 h 7458372"/>
              <a:gd name="connsiteX21852" fmla="*/ 7429345 w 10505529"/>
              <a:gd name="connsiteY21852" fmla="*/ 3716208 h 7458372"/>
              <a:gd name="connsiteX21853" fmla="*/ 7211701 w 10505529"/>
              <a:gd name="connsiteY21853" fmla="*/ 3716208 h 7458372"/>
              <a:gd name="connsiteX21854" fmla="*/ 7201717 w 10505529"/>
              <a:gd name="connsiteY21854" fmla="*/ 3719802 h 7458372"/>
              <a:gd name="connsiteX21855" fmla="*/ 7198123 w 10505529"/>
              <a:gd name="connsiteY21855" fmla="*/ 3729253 h 7458372"/>
              <a:gd name="connsiteX21856" fmla="*/ 7201717 w 10505529"/>
              <a:gd name="connsiteY21856" fmla="*/ 3738705 h 7458372"/>
              <a:gd name="connsiteX21857" fmla="*/ 7211701 w 10505529"/>
              <a:gd name="connsiteY21857" fmla="*/ 3742165 h 7458372"/>
              <a:gd name="connsiteX21858" fmla="*/ 7217026 w 10505529"/>
              <a:gd name="connsiteY21858" fmla="*/ 3741367 h 7458372"/>
              <a:gd name="connsiteX21859" fmla="*/ 7220752 w 10505529"/>
              <a:gd name="connsiteY21859" fmla="*/ 3738970 h 7458372"/>
              <a:gd name="connsiteX21860" fmla="*/ 7223415 w 10505529"/>
              <a:gd name="connsiteY21860" fmla="*/ 3734711 h 7458372"/>
              <a:gd name="connsiteX21861" fmla="*/ 7224480 w 10505529"/>
              <a:gd name="connsiteY21861" fmla="*/ 3729253 h 7458372"/>
              <a:gd name="connsiteX21862" fmla="*/ 7223415 w 10505529"/>
              <a:gd name="connsiteY21862" fmla="*/ 3724061 h 7458372"/>
              <a:gd name="connsiteX21863" fmla="*/ 7220752 w 10505529"/>
              <a:gd name="connsiteY21863" fmla="*/ 3719802 h 7458372"/>
              <a:gd name="connsiteX21864" fmla="*/ 7216759 w 10505529"/>
              <a:gd name="connsiteY21864" fmla="*/ 3717139 h 7458372"/>
              <a:gd name="connsiteX21865" fmla="*/ 7211701 w 10505529"/>
              <a:gd name="connsiteY21865" fmla="*/ 3716208 h 7458372"/>
              <a:gd name="connsiteX21866" fmla="*/ 6994056 w 10505529"/>
              <a:gd name="connsiteY21866" fmla="*/ 3716208 h 7458372"/>
              <a:gd name="connsiteX21867" fmla="*/ 6984072 w 10505529"/>
              <a:gd name="connsiteY21867" fmla="*/ 3719802 h 7458372"/>
              <a:gd name="connsiteX21868" fmla="*/ 6980478 w 10505529"/>
              <a:gd name="connsiteY21868" fmla="*/ 3729253 h 7458372"/>
              <a:gd name="connsiteX21869" fmla="*/ 6984072 w 10505529"/>
              <a:gd name="connsiteY21869" fmla="*/ 3738705 h 7458372"/>
              <a:gd name="connsiteX21870" fmla="*/ 6994056 w 10505529"/>
              <a:gd name="connsiteY21870" fmla="*/ 3742165 h 7458372"/>
              <a:gd name="connsiteX21871" fmla="*/ 6999380 w 10505529"/>
              <a:gd name="connsiteY21871" fmla="*/ 3741367 h 7458372"/>
              <a:gd name="connsiteX21872" fmla="*/ 7003107 w 10505529"/>
              <a:gd name="connsiteY21872" fmla="*/ 3738970 h 7458372"/>
              <a:gd name="connsiteX21873" fmla="*/ 7005769 w 10505529"/>
              <a:gd name="connsiteY21873" fmla="*/ 3734711 h 7458372"/>
              <a:gd name="connsiteX21874" fmla="*/ 7006834 w 10505529"/>
              <a:gd name="connsiteY21874" fmla="*/ 3729253 h 7458372"/>
              <a:gd name="connsiteX21875" fmla="*/ 7005769 w 10505529"/>
              <a:gd name="connsiteY21875" fmla="*/ 3724061 h 7458372"/>
              <a:gd name="connsiteX21876" fmla="*/ 7003107 w 10505529"/>
              <a:gd name="connsiteY21876" fmla="*/ 3719802 h 7458372"/>
              <a:gd name="connsiteX21877" fmla="*/ 6999113 w 10505529"/>
              <a:gd name="connsiteY21877" fmla="*/ 3717139 h 7458372"/>
              <a:gd name="connsiteX21878" fmla="*/ 6994056 w 10505529"/>
              <a:gd name="connsiteY21878" fmla="*/ 3716208 h 7458372"/>
              <a:gd name="connsiteX21879" fmla="*/ 6776544 w 10505529"/>
              <a:gd name="connsiteY21879" fmla="*/ 3716208 h 7458372"/>
              <a:gd name="connsiteX21880" fmla="*/ 6766560 w 10505529"/>
              <a:gd name="connsiteY21880" fmla="*/ 3719802 h 7458372"/>
              <a:gd name="connsiteX21881" fmla="*/ 6762966 w 10505529"/>
              <a:gd name="connsiteY21881" fmla="*/ 3729253 h 7458372"/>
              <a:gd name="connsiteX21882" fmla="*/ 6766560 w 10505529"/>
              <a:gd name="connsiteY21882" fmla="*/ 3738705 h 7458372"/>
              <a:gd name="connsiteX21883" fmla="*/ 6776544 w 10505529"/>
              <a:gd name="connsiteY21883" fmla="*/ 3742165 h 7458372"/>
              <a:gd name="connsiteX21884" fmla="*/ 6781869 w 10505529"/>
              <a:gd name="connsiteY21884" fmla="*/ 3741367 h 7458372"/>
              <a:gd name="connsiteX21885" fmla="*/ 6785595 w 10505529"/>
              <a:gd name="connsiteY21885" fmla="*/ 3738970 h 7458372"/>
              <a:gd name="connsiteX21886" fmla="*/ 6788258 w 10505529"/>
              <a:gd name="connsiteY21886" fmla="*/ 3734711 h 7458372"/>
              <a:gd name="connsiteX21887" fmla="*/ 6789323 w 10505529"/>
              <a:gd name="connsiteY21887" fmla="*/ 3729253 h 7458372"/>
              <a:gd name="connsiteX21888" fmla="*/ 6788258 w 10505529"/>
              <a:gd name="connsiteY21888" fmla="*/ 3724061 h 7458372"/>
              <a:gd name="connsiteX21889" fmla="*/ 6785595 w 10505529"/>
              <a:gd name="connsiteY21889" fmla="*/ 3719802 h 7458372"/>
              <a:gd name="connsiteX21890" fmla="*/ 6781602 w 10505529"/>
              <a:gd name="connsiteY21890" fmla="*/ 3717139 h 7458372"/>
              <a:gd name="connsiteX21891" fmla="*/ 6776544 w 10505529"/>
              <a:gd name="connsiteY21891" fmla="*/ 3716208 h 7458372"/>
              <a:gd name="connsiteX21892" fmla="*/ 6558899 w 10505529"/>
              <a:gd name="connsiteY21892" fmla="*/ 3716208 h 7458372"/>
              <a:gd name="connsiteX21893" fmla="*/ 6548915 w 10505529"/>
              <a:gd name="connsiteY21893" fmla="*/ 3719802 h 7458372"/>
              <a:gd name="connsiteX21894" fmla="*/ 6545321 w 10505529"/>
              <a:gd name="connsiteY21894" fmla="*/ 3729253 h 7458372"/>
              <a:gd name="connsiteX21895" fmla="*/ 6548915 w 10505529"/>
              <a:gd name="connsiteY21895" fmla="*/ 3738705 h 7458372"/>
              <a:gd name="connsiteX21896" fmla="*/ 6558899 w 10505529"/>
              <a:gd name="connsiteY21896" fmla="*/ 3742165 h 7458372"/>
              <a:gd name="connsiteX21897" fmla="*/ 6564223 w 10505529"/>
              <a:gd name="connsiteY21897" fmla="*/ 3741367 h 7458372"/>
              <a:gd name="connsiteX21898" fmla="*/ 6567950 w 10505529"/>
              <a:gd name="connsiteY21898" fmla="*/ 3738970 h 7458372"/>
              <a:gd name="connsiteX21899" fmla="*/ 6570612 w 10505529"/>
              <a:gd name="connsiteY21899" fmla="*/ 3734711 h 7458372"/>
              <a:gd name="connsiteX21900" fmla="*/ 6571677 w 10505529"/>
              <a:gd name="connsiteY21900" fmla="*/ 3729253 h 7458372"/>
              <a:gd name="connsiteX21901" fmla="*/ 6570612 w 10505529"/>
              <a:gd name="connsiteY21901" fmla="*/ 3724061 h 7458372"/>
              <a:gd name="connsiteX21902" fmla="*/ 6567950 w 10505529"/>
              <a:gd name="connsiteY21902" fmla="*/ 3719802 h 7458372"/>
              <a:gd name="connsiteX21903" fmla="*/ 6563956 w 10505529"/>
              <a:gd name="connsiteY21903" fmla="*/ 3717139 h 7458372"/>
              <a:gd name="connsiteX21904" fmla="*/ 6558899 w 10505529"/>
              <a:gd name="connsiteY21904" fmla="*/ 3716208 h 7458372"/>
              <a:gd name="connsiteX21905" fmla="*/ 6341253 w 10505529"/>
              <a:gd name="connsiteY21905" fmla="*/ 3716208 h 7458372"/>
              <a:gd name="connsiteX21906" fmla="*/ 6331270 w 10505529"/>
              <a:gd name="connsiteY21906" fmla="*/ 3719802 h 7458372"/>
              <a:gd name="connsiteX21907" fmla="*/ 6327675 w 10505529"/>
              <a:gd name="connsiteY21907" fmla="*/ 3729253 h 7458372"/>
              <a:gd name="connsiteX21908" fmla="*/ 6331270 w 10505529"/>
              <a:gd name="connsiteY21908" fmla="*/ 3738705 h 7458372"/>
              <a:gd name="connsiteX21909" fmla="*/ 6341253 w 10505529"/>
              <a:gd name="connsiteY21909" fmla="*/ 3742165 h 7458372"/>
              <a:gd name="connsiteX21910" fmla="*/ 6346578 w 10505529"/>
              <a:gd name="connsiteY21910" fmla="*/ 3741367 h 7458372"/>
              <a:gd name="connsiteX21911" fmla="*/ 6350305 w 10505529"/>
              <a:gd name="connsiteY21911" fmla="*/ 3738970 h 7458372"/>
              <a:gd name="connsiteX21912" fmla="*/ 6352968 w 10505529"/>
              <a:gd name="connsiteY21912" fmla="*/ 3734711 h 7458372"/>
              <a:gd name="connsiteX21913" fmla="*/ 6354033 w 10505529"/>
              <a:gd name="connsiteY21913" fmla="*/ 3729253 h 7458372"/>
              <a:gd name="connsiteX21914" fmla="*/ 6352968 w 10505529"/>
              <a:gd name="connsiteY21914" fmla="*/ 3724061 h 7458372"/>
              <a:gd name="connsiteX21915" fmla="*/ 6350305 w 10505529"/>
              <a:gd name="connsiteY21915" fmla="*/ 3719802 h 7458372"/>
              <a:gd name="connsiteX21916" fmla="*/ 6346312 w 10505529"/>
              <a:gd name="connsiteY21916" fmla="*/ 3717139 h 7458372"/>
              <a:gd name="connsiteX21917" fmla="*/ 6341253 w 10505529"/>
              <a:gd name="connsiteY21917" fmla="*/ 3716208 h 7458372"/>
              <a:gd name="connsiteX21918" fmla="*/ 6123608 w 10505529"/>
              <a:gd name="connsiteY21918" fmla="*/ 3716208 h 7458372"/>
              <a:gd name="connsiteX21919" fmla="*/ 6113624 w 10505529"/>
              <a:gd name="connsiteY21919" fmla="*/ 3719802 h 7458372"/>
              <a:gd name="connsiteX21920" fmla="*/ 6110030 w 10505529"/>
              <a:gd name="connsiteY21920" fmla="*/ 3729253 h 7458372"/>
              <a:gd name="connsiteX21921" fmla="*/ 6113624 w 10505529"/>
              <a:gd name="connsiteY21921" fmla="*/ 3738705 h 7458372"/>
              <a:gd name="connsiteX21922" fmla="*/ 6123608 w 10505529"/>
              <a:gd name="connsiteY21922" fmla="*/ 3742165 h 7458372"/>
              <a:gd name="connsiteX21923" fmla="*/ 6128932 w 10505529"/>
              <a:gd name="connsiteY21923" fmla="*/ 3741367 h 7458372"/>
              <a:gd name="connsiteX21924" fmla="*/ 6132659 w 10505529"/>
              <a:gd name="connsiteY21924" fmla="*/ 3738970 h 7458372"/>
              <a:gd name="connsiteX21925" fmla="*/ 6135322 w 10505529"/>
              <a:gd name="connsiteY21925" fmla="*/ 3734711 h 7458372"/>
              <a:gd name="connsiteX21926" fmla="*/ 6136387 w 10505529"/>
              <a:gd name="connsiteY21926" fmla="*/ 3729253 h 7458372"/>
              <a:gd name="connsiteX21927" fmla="*/ 6135322 w 10505529"/>
              <a:gd name="connsiteY21927" fmla="*/ 3724061 h 7458372"/>
              <a:gd name="connsiteX21928" fmla="*/ 6132659 w 10505529"/>
              <a:gd name="connsiteY21928" fmla="*/ 3719802 h 7458372"/>
              <a:gd name="connsiteX21929" fmla="*/ 6128666 w 10505529"/>
              <a:gd name="connsiteY21929" fmla="*/ 3717139 h 7458372"/>
              <a:gd name="connsiteX21930" fmla="*/ 6123608 w 10505529"/>
              <a:gd name="connsiteY21930" fmla="*/ 3716208 h 7458372"/>
              <a:gd name="connsiteX21931" fmla="*/ 5905963 w 10505529"/>
              <a:gd name="connsiteY21931" fmla="*/ 3716208 h 7458372"/>
              <a:gd name="connsiteX21932" fmla="*/ 5895979 w 10505529"/>
              <a:gd name="connsiteY21932" fmla="*/ 3719802 h 7458372"/>
              <a:gd name="connsiteX21933" fmla="*/ 5892385 w 10505529"/>
              <a:gd name="connsiteY21933" fmla="*/ 3729253 h 7458372"/>
              <a:gd name="connsiteX21934" fmla="*/ 5895979 w 10505529"/>
              <a:gd name="connsiteY21934" fmla="*/ 3738705 h 7458372"/>
              <a:gd name="connsiteX21935" fmla="*/ 5905963 w 10505529"/>
              <a:gd name="connsiteY21935" fmla="*/ 3742165 h 7458372"/>
              <a:gd name="connsiteX21936" fmla="*/ 5911287 w 10505529"/>
              <a:gd name="connsiteY21936" fmla="*/ 3741367 h 7458372"/>
              <a:gd name="connsiteX21937" fmla="*/ 5915014 w 10505529"/>
              <a:gd name="connsiteY21937" fmla="*/ 3738970 h 7458372"/>
              <a:gd name="connsiteX21938" fmla="*/ 5917677 w 10505529"/>
              <a:gd name="connsiteY21938" fmla="*/ 3734711 h 7458372"/>
              <a:gd name="connsiteX21939" fmla="*/ 5918742 w 10505529"/>
              <a:gd name="connsiteY21939" fmla="*/ 3729253 h 7458372"/>
              <a:gd name="connsiteX21940" fmla="*/ 5917677 w 10505529"/>
              <a:gd name="connsiteY21940" fmla="*/ 3724061 h 7458372"/>
              <a:gd name="connsiteX21941" fmla="*/ 5915014 w 10505529"/>
              <a:gd name="connsiteY21941" fmla="*/ 3719802 h 7458372"/>
              <a:gd name="connsiteX21942" fmla="*/ 5911021 w 10505529"/>
              <a:gd name="connsiteY21942" fmla="*/ 3717139 h 7458372"/>
              <a:gd name="connsiteX21943" fmla="*/ 5905963 w 10505529"/>
              <a:gd name="connsiteY21943" fmla="*/ 3716208 h 7458372"/>
              <a:gd name="connsiteX21944" fmla="*/ 5688451 w 10505529"/>
              <a:gd name="connsiteY21944" fmla="*/ 3716208 h 7458372"/>
              <a:gd name="connsiteX21945" fmla="*/ 5678467 w 10505529"/>
              <a:gd name="connsiteY21945" fmla="*/ 3719802 h 7458372"/>
              <a:gd name="connsiteX21946" fmla="*/ 5674873 w 10505529"/>
              <a:gd name="connsiteY21946" fmla="*/ 3729253 h 7458372"/>
              <a:gd name="connsiteX21947" fmla="*/ 5678467 w 10505529"/>
              <a:gd name="connsiteY21947" fmla="*/ 3738705 h 7458372"/>
              <a:gd name="connsiteX21948" fmla="*/ 5688451 w 10505529"/>
              <a:gd name="connsiteY21948" fmla="*/ 3742165 h 7458372"/>
              <a:gd name="connsiteX21949" fmla="*/ 5693775 w 10505529"/>
              <a:gd name="connsiteY21949" fmla="*/ 3741367 h 7458372"/>
              <a:gd name="connsiteX21950" fmla="*/ 5697502 w 10505529"/>
              <a:gd name="connsiteY21950" fmla="*/ 3738970 h 7458372"/>
              <a:gd name="connsiteX21951" fmla="*/ 5700165 w 10505529"/>
              <a:gd name="connsiteY21951" fmla="*/ 3734711 h 7458372"/>
              <a:gd name="connsiteX21952" fmla="*/ 5701230 w 10505529"/>
              <a:gd name="connsiteY21952" fmla="*/ 3729253 h 7458372"/>
              <a:gd name="connsiteX21953" fmla="*/ 5700165 w 10505529"/>
              <a:gd name="connsiteY21953" fmla="*/ 3724061 h 7458372"/>
              <a:gd name="connsiteX21954" fmla="*/ 5697502 w 10505529"/>
              <a:gd name="connsiteY21954" fmla="*/ 3719802 h 7458372"/>
              <a:gd name="connsiteX21955" fmla="*/ 5693509 w 10505529"/>
              <a:gd name="connsiteY21955" fmla="*/ 3717139 h 7458372"/>
              <a:gd name="connsiteX21956" fmla="*/ 5688451 w 10505529"/>
              <a:gd name="connsiteY21956" fmla="*/ 3716208 h 7458372"/>
              <a:gd name="connsiteX21957" fmla="*/ 5470806 w 10505529"/>
              <a:gd name="connsiteY21957" fmla="*/ 3716208 h 7458372"/>
              <a:gd name="connsiteX21958" fmla="*/ 5460822 w 10505529"/>
              <a:gd name="connsiteY21958" fmla="*/ 3719802 h 7458372"/>
              <a:gd name="connsiteX21959" fmla="*/ 5457228 w 10505529"/>
              <a:gd name="connsiteY21959" fmla="*/ 3729253 h 7458372"/>
              <a:gd name="connsiteX21960" fmla="*/ 5460822 w 10505529"/>
              <a:gd name="connsiteY21960" fmla="*/ 3738705 h 7458372"/>
              <a:gd name="connsiteX21961" fmla="*/ 5470806 w 10505529"/>
              <a:gd name="connsiteY21961" fmla="*/ 3742165 h 7458372"/>
              <a:gd name="connsiteX21962" fmla="*/ 5476130 w 10505529"/>
              <a:gd name="connsiteY21962" fmla="*/ 3741367 h 7458372"/>
              <a:gd name="connsiteX21963" fmla="*/ 5479857 w 10505529"/>
              <a:gd name="connsiteY21963" fmla="*/ 3738970 h 7458372"/>
              <a:gd name="connsiteX21964" fmla="*/ 5482520 w 10505529"/>
              <a:gd name="connsiteY21964" fmla="*/ 3734711 h 7458372"/>
              <a:gd name="connsiteX21965" fmla="*/ 5483585 w 10505529"/>
              <a:gd name="connsiteY21965" fmla="*/ 3729253 h 7458372"/>
              <a:gd name="connsiteX21966" fmla="*/ 5482520 w 10505529"/>
              <a:gd name="connsiteY21966" fmla="*/ 3724061 h 7458372"/>
              <a:gd name="connsiteX21967" fmla="*/ 5479857 w 10505529"/>
              <a:gd name="connsiteY21967" fmla="*/ 3719802 h 7458372"/>
              <a:gd name="connsiteX21968" fmla="*/ 5475864 w 10505529"/>
              <a:gd name="connsiteY21968" fmla="*/ 3717139 h 7458372"/>
              <a:gd name="connsiteX21969" fmla="*/ 5470806 w 10505529"/>
              <a:gd name="connsiteY21969" fmla="*/ 3716208 h 7458372"/>
              <a:gd name="connsiteX21970" fmla="*/ 5253160 w 10505529"/>
              <a:gd name="connsiteY21970" fmla="*/ 3716208 h 7458372"/>
              <a:gd name="connsiteX21971" fmla="*/ 5243177 w 10505529"/>
              <a:gd name="connsiteY21971" fmla="*/ 3719802 h 7458372"/>
              <a:gd name="connsiteX21972" fmla="*/ 5239583 w 10505529"/>
              <a:gd name="connsiteY21972" fmla="*/ 3729253 h 7458372"/>
              <a:gd name="connsiteX21973" fmla="*/ 5243177 w 10505529"/>
              <a:gd name="connsiteY21973" fmla="*/ 3738705 h 7458372"/>
              <a:gd name="connsiteX21974" fmla="*/ 5253160 w 10505529"/>
              <a:gd name="connsiteY21974" fmla="*/ 3742165 h 7458372"/>
              <a:gd name="connsiteX21975" fmla="*/ 5258485 w 10505529"/>
              <a:gd name="connsiteY21975" fmla="*/ 3741367 h 7458372"/>
              <a:gd name="connsiteX21976" fmla="*/ 5262212 w 10505529"/>
              <a:gd name="connsiteY21976" fmla="*/ 3738970 h 7458372"/>
              <a:gd name="connsiteX21977" fmla="*/ 5264875 w 10505529"/>
              <a:gd name="connsiteY21977" fmla="*/ 3734711 h 7458372"/>
              <a:gd name="connsiteX21978" fmla="*/ 5265939 w 10505529"/>
              <a:gd name="connsiteY21978" fmla="*/ 3729253 h 7458372"/>
              <a:gd name="connsiteX21979" fmla="*/ 5264875 w 10505529"/>
              <a:gd name="connsiteY21979" fmla="*/ 3724061 h 7458372"/>
              <a:gd name="connsiteX21980" fmla="*/ 5262212 w 10505529"/>
              <a:gd name="connsiteY21980" fmla="*/ 3719802 h 7458372"/>
              <a:gd name="connsiteX21981" fmla="*/ 5258219 w 10505529"/>
              <a:gd name="connsiteY21981" fmla="*/ 3717139 h 7458372"/>
              <a:gd name="connsiteX21982" fmla="*/ 5253160 w 10505529"/>
              <a:gd name="connsiteY21982" fmla="*/ 3716208 h 7458372"/>
              <a:gd name="connsiteX21983" fmla="*/ 5035515 w 10505529"/>
              <a:gd name="connsiteY21983" fmla="*/ 3716208 h 7458372"/>
              <a:gd name="connsiteX21984" fmla="*/ 5025532 w 10505529"/>
              <a:gd name="connsiteY21984" fmla="*/ 3719802 h 7458372"/>
              <a:gd name="connsiteX21985" fmla="*/ 5021938 w 10505529"/>
              <a:gd name="connsiteY21985" fmla="*/ 3729253 h 7458372"/>
              <a:gd name="connsiteX21986" fmla="*/ 5025532 w 10505529"/>
              <a:gd name="connsiteY21986" fmla="*/ 3738705 h 7458372"/>
              <a:gd name="connsiteX21987" fmla="*/ 5035515 w 10505529"/>
              <a:gd name="connsiteY21987" fmla="*/ 3742165 h 7458372"/>
              <a:gd name="connsiteX21988" fmla="*/ 5040840 w 10505529"/>
              <a:gd name="connsiteY21988" fmla="*/ 3741367 h 7458372"/>
              <a:gd name="connsiteX21989" fmla="*/ 5044567 w 10505529"/>
              <a:gd name="connsiteY21989" fmla="*/ 3738970 h 7458372"/>
              <a:gd name="connsiteX21990" fmla="*/ 5047230 w 10505529"/>
              <a:gd name="connsiteY21990" fmla="*/ 3734711 h 7458372"/>
              <a:gd name="connsiteX21991" fmla="*/ 5048294 w 10505529"/>
              <a:gd name="connsiteY21991" fmla="*/ 3729253 h 7458372"/>
              <a:gd name="connsiteX21992" fmla="*/ 5047230 w 10505529"/>
              <a:gd name="connsiteY21992" fmla="*/ 3724061 h 7458372"/>
              <a:gd name="connsiteX21993" fmla="*/ 5044567 w 10505529"/>
              <a:gd name="connsiteY21993" fmla="*/ 3719802 h 7458372"/>
              <a:gd name="connsiteX21994" fmla="*/ 5040574 w 10505529"/>
              <a:gd name="connsiteY21994" fmla="*/ 3717139 h 7458372"/>
              <a:gd name="connsiteX21995" fmla="*/ 5035515 w 10505529"/>
              <a:gd name="connsiteY21995" fmla="*/ 3716208 h 7458372"/>
              <a:gd name="connsiteX21996" fmla="*/ 4817870 w 10505529"/>
              <a:gd name="connsiteY21996" fmla="*/ 3716208 h 7458372"/>
              <a:gd name="connsiteX21997" fmla="*/ 4807887 w 10505529"/>
              <a:gd name="connsiteY21997" fmla="*/ 3719802 h 7458372"/>
              <a:gd name="connsiteX21998" fmla="*/ 4804293 w 10505529"/>
              <a:gd name="connsiteY21998" fmla="*/ 3729253 h 7458372"/>
              <a:gd name="connsiteX21999" fmla="*/ 4807887 w 10505529"/>
              <a:gd name="connsiteY21999" fmla="*/ 3738705 h 7458372"/>
              <a:gd name="connsiteX22000" fmla="*/ 4817870 w 10505529"/>
              <a:gd name="connsiteY22000" fmla="*/ 3742165 h 7458372"/>
              <a:gd name="connsiteX22001" fmla="*/ 4823195 w 10505529"/>
              <a:gd name="connsiteY22001" fmla="*/ 3741367 h 7458372"/>
              <a:gd name="connsiteX22002" fmla="*/ 4826922 w 10505529"/>
              <a:gd name="connsiteY22002" fmla="*/ 3738970 h 7458372"/>
              <a:gd name="connsiteX22003" fmla="*/ 4829585 w 10505529"/>
              <a:gd name="connsiteY22003" fmla="*/ 3734711 h 7458372"/>
              <a:gd name="connsiteX22004" fmla="*/ 4830650 w 10505529"/>
              <a:gd name="connsiteY22004" fmla="*/ 3729253 h 7458372"/>
              <a:gd name="connsiteX22005" fmla="*/ 4829585 w 10505529"/>
              <a:gd name="connsiteY22005" fmla="*/ 3724061 h 7458372"/>
              <a:gd name="connsiteX22006" fmla="*/ 4826922 w 10505529"/>
              <a:gd name="connsiteY22006" fmla="*/ 3719802 h 7458372"/>
              <a:gd name="connsiteX22007" fmla="*/ 4822929 w 10505529"/>
              <a:gd name="connsiteY22007" fmla="*/ 3717139 h 7458372"/>
              <a:gd name="connsiteX22008" fmla="*/ 4817870 w 10505529"/>
              <a:gd name="connsiteY22008" fmla="*/ 3716208 h 7458372"/>
              <a:gd name="connsiteX22009" fmla="*/ 4600226 w 10505529"/>
              <a:gd name="connsiteY22009" fmla="*/ 3716208 h 7458372"/>
              <a:gd name="connsiteX22010" fmla="*/ 4590242 w 10505529"/>
              <a:gd name="connsiteY22010" fmla="*/ 3719802 h 7458372"/>
              <a:gd name="connsiteX22011" fmla="*/ 4586648 w 10505529"/>
              <a:gd name="connsiteY22011" fmla="*/ 3729253 h 7458372"/>
              <a:gd name="connsiteX22012" fmla="*/ 4590242 w 10505529"/>
              <a:gd name="connsiteY22012" fmla="*/ 3738705 h 7458372"/>
              <a:gd name="connsiteX22013" fmla="*/ 4600226 w 10505529"/>
              <a:gd name="connsiteY22013" fmla="*/ 3742165 h 7458372"/>
              <a:gd name="connsiteX22014" fmla="*/ 4605550 w 10505529"/>
              <a:gd name="connsiteY22014" fmla="*/ 3741367 h 7458372"/>
              <a:gd name="connsiteX22015" fmla="*/ 4609277 w 10505529"/>
              <a:gd name="connsiteY22015" fmla="*/ 3738970 h 7458372"/>
              <a:gd name="connsiteX22016" fmla="*/ 4611940 w 10505529"/>
              <a:gd name="connsiteY22016" fmla="*/ 3734711 h 7458372"/>
              <a:gd name="connsiteX22017" fmla="*/ 4613005 w 10505529"/>
              <a:gd name="connsiteY22017" fmla="*/ 3729253 h 7458372"/>
              <a:gd name="connsiteX22018" fmla="*/ 4611940 w 10505529"/>
              <a:gd name="connsiteY22018" fmla="*/ 3724061 h 7458372"/>
              <a:gd name="connsiteX22019" fmla="*/ 4609277 w 10505529"/>
              <a:gd name="connsiteY22019" fmla="*/ 3719802 h 7458372"/>
              <a:gd name="connsiteX22020" fmla="*/ 4605284 w 10505529"/>
              <a:gd name="connsiteY22020" fmla="*/ 3717139 h 7458372"/>
              <a:gd name="connsiteX22021" fmla="*/ 4600226 w 10505529"/>
              <a:gd name="connsiteY22021" fmla="*/ 3716208 h 7458372"/>
              <a:gd name="connsiteX22022" fmla="*/ 4382713 w 10505529"/>
              <a:gd name="connsiteY22022" fmla="*/ 3716208 h 7458372"/>
              <a:gd name="connsiteX22023" fmla="*/ 4372730 w 10505529"/>
              <a:gd name="connsiteY22023" fmla="*/ 3719802 h 7458372"/>
              <a:gd name="connsiteX22024" fmla="*/ 4369136 w 10505529"/>
              <a:gd name="connsiteY22024" fmla="*/ 3729253 h 7458372"/>
              <a:gd name="connsiteX22025" fmla="*/ 4372730 w 10505529"/>
              <a:gd name="connsiteY22025" fmla="*/ 3738705 h 7458372"/>
              <a:gd name="connsiteX22026" fmla="*/ 4382713 w 10505529"/>
              <a:gd name="connsiteY22026" fmla="*/ 3742165 h 7458372"/>
              <a:gd name="connsiteX22027" fmla="*/ 4388038 w 10505529"/>
              <a:gd name="connsiteY22027" fmla="*/ 3741367 h 7458372"/>
              <a:gd name="connsiteX22028" fmla="*/ 4391765 w 10505529"/>
              <a:gd name="connsiteY22028" fmla="*/ 3738970 h 7458372"/>
              <a:gd name="connsiteX22029" fmla="*/ 4394428 w 10505529"/>
              <a:gd name="connsiteY22029" fmla="*/ 3734711 h 7458372"/>
              <a:gd name="connsiteX22030" fmla="*/ 4395493 w 10505529"/>
              <a:gd name="connsiteY22030" fmla="*/ 3729253 h 7458372"/>
              <a:gd name="connsiteX22031" fmla="*/ 4394428 w 10505529"/>
              <a:gd name="connsiteY22031" fmla="*/ 3724061 h 7458372"/>
              <a:gd name="connsiteX22032" fmla="*/ 4391765 w 10505529"/>
              <a:gd name="connsiteY22032" fmla="*/ 3719802 h 7458372"/>
              <a:gd name="connsiteX22033" fmla="*/ 4387772 w 10505529"/>
              <a:gd name="connsiteY22033" fmla="*/ 3717139 h 7458372"/>
              <a:gd name="connsiteX22034" fmla="*/ 4382713 w 10505529"/>
              <a:gd name="connsiteY22034" fmla="*/ 3716208 h 7458372"/>
              <a:gd name="connsiteX22035" fmla="*/ 4165068 w 10505529"/>
              <a:gd name="connsiteY22035" fmla="*/ 3716208 h 7458372"/>
              <a:gd name="connsiteX22036" fmla="*/ 4155084 w 10505529"/>
              <a:gd name="connsiteY22036" fmla="*/ 3719802 h 7458372"/>
              <a:gd name="connsiteX22037" fmla="*/ 4151490 w 10505529"/>
              <a:gd name="connsiteY22037" fmla="*/ 3729253 h 7458372"/>
              <a:gd name="connsiteX22038" fmla="*/ 4155084 w 10505529"/>
              <a:gd name="connsiteY22038" fmla="*/ 3738705 h 7458372"/>
              <a:gd name="connsiteX22039" fmla="*/ 4165068 w 10505529"/>
              <a:gd name="connsiteY22039" fmla="*/ 3742165 h 7458372"/>
              <a:gd name="connsiteX22040" fmla="*/ 4170392 w 10505529"/>
              <a:gd name="connsiteY22040" fmla="*/ 3741367 h 7458372"/>
              <a:gd name="connsiteX22041" fmla="*/ 4174119 w 10505529"/>
              <a:gd name="connsiteY22041" fmla="*/ 3738970 h 7458372"/>
              <a:gd name="connsiteX22042" fmla="*/ 4176782 w 10505529"/>
              <a:gd name="connsiteY22042" fmla="*/ 3734711 h 7458372"/>
              <a:gd name="connsiteX22043" fmla="*/ 4177847 w 10505529"/>
              <a:gd name="connsiteY22043" fmla="*/ 3729253 h 7458372"/>
              <a:gd name="connsiteX22044" fmla="*/ 4176782 w 10505529"/>
              <a:gd name="connsiteY22044" fmla="*/ 3724061 h 7458372"/>
              <a:gd name="connsiteX22045" fmla="*/ 4174119 w 10505529"/>
              <a:gd name="connsiteY22045" fmla="*/ 3719802 h 7458372"/>
              <a:gd name="connsiteX22046" fmla="*/ 4170126 w 10505529"/>
              <a:gd name="connsiteY22046" fmla="*/ 3717139 h 7458372"/>
              <a:gd name="connsiteX22047" fmla="*/ 4165068 w 10505529"/>
              <a:gd name="connsiteY22047" fmla="*/ 3716208 h 7458372"/>
              <a:gd name="connsiteX22048" fmla="*/ 3947628 w 10505529"/>
              <a:gd name="connsiteY22048" fmla="*/ 3716208 h 7458372"/>
              <a:gd name="connsiteX22049" fmla="*/ 3937645 w 10505529"/>
              <a:gd name="connsiteY22049" fmla="*/ 3719802 h 7458372"/>
              <a:gd name="connsiteX22050" fmla="*/ 3934050 w 10505529"/>
              <a:gd name="connsiteY22050" fmla="*/ 3729253 h 7458372"/>
              <a:gd name="connsiteX22051" fmla="*/ 3937645 w 10505529"/>
              <a:gd name="connsiteY22051" fmla="*/ 3738705 h 7458372"/>
              <a:gd name="connsiteX22052" fmla="*/ 3947628 w 10505529"/>
              <a:gd name="connsiteY22052" fmla="*/ 3742165 h 7458372"/>
              <a:gd name="connsiteX22053" fmla="*/ 3952955 w 10505529"/>
              <a:gd name="connsiteY22053" fmla="*/ 3741367 h 7458372"/>
              <a:gd name="connsiteX22054" fmla="*/ 3956682 w 10505529"/>
              <a:gd name="connsiteY22054" fmla="*/ 3738970 h 7458372"/>
              <a:gd name="connsiteX22055" fmla="*/ 3959345 w 10505529"/>
              <a:gd name="connsiteY22055" fmla="*/ 3734711 h 7458372"/>
              <a:gd name="connsiteX22056" fmla="*/ 3960410 w 10505529"/>
              <a:gd name="connsiteY22056" fmla="*/ 3729253 h 7458372"/>
              <a:gd name="connsiteX22057" fmla="*/ 3959345 w 10505529"/>
              <a:gd name="connsiteY22057" fmla="*/ 3724061 h 7458372"/>
              <a:gd name="connsiteX22058" fmla="*/ 3956682 w 10505529"/>
              <a:gd name="connsiteY22058" fmla="*/ 3719802 h 7458372"/>
              <a:gd name="connsiteX22059" fmla="*/ 3952688 w 10505529"/>
              <a:gd name="connsiteY22059" fmla="*/ 3717139 h 7458372"/>
              <a:gd name="connsiteX22060" fmla="*/ 3947628 w 10505529"/>
              <a:gd name="connsiteY22060" fmla="*/ 3716208 h 7458372"/>
              <a:gd name="connsiteX22061" fmla="*/ 3729973 w 10505529"/>
              <a:gd name="connsiteY22061" fmla="*/ 3716208 h 7458372"/>
              <a:gd name="connsiteX22062" fmla="*/ 3719987 w 10505529"/>
              <a:gd name="connsiteY22062" fmla="*/ 3719802 h 7458372"/>
              <a:gd name="connsiteX22063" fmla="*/ 3716395 w 10505529"/>
              <a:gd name="connsiteY22063" fmla="*/ 3729253 h 7458372"/>
              <a:gd name="connsiteX22064" fmla="*/ 3719987 w 10505529"/>
              <a:gd name="connsiteY22064" fmla="*/ 3738705 h 7458372"/>
              <a:gd name="connsiteX22065" fmla="*/ 3729973 w 10505529"/>
              <a:gd name="connsiteY22065" fmla="*/ 3742165 h 7458372"/>
              <a:gd name="connsiteX22066" fmla="*/ 3735298 w 10505529"/>
              <a:gd name="connsiteY22066" fmla="*/ 3741367 h 7458372"/>
              <a:gd name="connsiteX22067" fmla="*/ 3739026 w 10505529"/>
              <a:gd name="connsiteY22067" fmla="*/ 3738970 h 7458372"/>
              <a:gd name="connsiteX22068" fmla="*/ 3741689 w 10505529"/>
              <a:gd name="connsiteY22068" fmla="*/ 3734711 h 7458372"/>
              <a:gd name="connsiteX22069" fmla="*/ 3742753 w 10505529"/>
              <a:gd name="connsiteY22069" fmla="*/ 3729253 h 7458372"/>
              <a:gd name="connsiteX22070" fmla="*/ 3741689 w 10505529"/>
              <a:gd name="connsiteY22070" fmla="*/ 3724061 h 7458372"/>
              <a:gd name="connsiteX22071" fmla="*/ 3739026 w 10505529"/>
              <a:gd name="connsiteY22071" fmla="*/ 3719802 h 7458372"/>
              <a:gd name="connsiteX22072" fmla="*/ 3735033 w 10505529"/>
              <a:gd name="connsiteY22072" fmla="*/ 3717139 h 7458372"/>
              <a:gd name="connsiteX22073" fmla="*/ 3729973 w 10505529"/>
              <a:gd name="connsiteY22073" fmla="*/ 3716208 h 7458372"/>
              <a:gd name="connsiteX22074" fmla="*/ 3512318 w 10505529"/>
              <a:gd name="connsiteY22074" fmla="*/ 3716208 h 7458372"/>
              <a:gd name="connsiteX22075" fmla="*/ 3502330 w 10505529"/>
              <a:gd name="connsiteY22075" fmla="*/ 3719802 h 7458372"/>
              <a:gd name="connsiteX22076" fmla="*/ 3498737 w 10505529"/>
              <a:gd name="connsiteY22076" fmla="*/ 3729253 h 7458372"/>
              <a:gd name="connsiteX22077" fmla="*/ 3502330 w 10505529"/>
              <a:gd name="connsiteY22077" fmla="*/ 3738705 h 7458372"/>
              <a:gd name="connsiteX22078" fmla="*/ 3512318 w 10505529"/>
              <a:gd name="connsiteY22078" fmla="*/ 3742165 h 7458372"/>
              <a:gd name="connsiteX22079" fmla="*/ 3517643 w 10505529"/>
              <a:gd name="connsiteY22079" fmla="*/ 3741367 h 7458372"/>
              <a:gd name="connsiteX22080" fmla="*/ 3521370 w 10505529"/>
              <a:gd name="connsiteY22080" fmla="*/ 3738970 h 7458372"/>
              <a:gd name="connsiteX22081" fmla="*/ 3524033 w 10505529"/>
              <a:gd name="connsiteY22081" fmla="*/ 3734711 h 7458372"/>
              <a:gd name="connsiteX22082" fmla="*/ 3525098 w 10505529"/>
              <a:gd name="connsiteY22082" fmla="*/ 3729253 h 7458372"/>
              <a:gd name="connsiteX22083" fmla="*/ 3524033 w 10505529"/>
              <a:gd name="connsiteY22083" fmla="*/ 3724061 h 7458372"/>
              <a:gd name="connsiteX22084" fmla="*/ 3521370 w 10505529"/>
              <a:gd name="connsiteY22084" fmla="*/ 3719802 h 7458372"/>
              <a:gd name="connsiteX22085" fmla="*/ 3517377 w 10505529"/>
              <a:gd name="connsiteY22085" fmla="*/ 3717139 h 7458372"/>
              <a:gd name="connsiteX22086" fmla="*/ 3512318 w 10505529"/>
              <a:gd name="connsiteY22086" fmla="*/ 3716208 h 7458372"/>
              <a:gd name="connsiteX22087" fmla="*/ 3294795 w 10505529"/>
              <a:gd name="connsiteY22087" fmla="*/ 3716208 h 7458372"/>
              <a:gd name="connsiteX22088" fmla="*/ 3284810 w 10505529"/>
              <a:gd name="connsiteY22088" fmla="*/ 3719802 h 7458372"/>
              <a:gd name="connsiteX22089" fmla="*/ 3281216 w 10505529"/>
              <a:gd name="connsiteY22089" fmla="*/ 3729253 h 7458372"/>
              <a:gd name="connsiteX22090" fmla="*/ 3284810 w 10505529"/>
              <a:gd name="connsiteY22090" fmla="*/ 3738705 h 7458372"/>
              <a:gd name="connsiteX22091" fmla="*/ 3294795 w 10505529"/>
              <a:gd name="connsiteY22091" fmla="*/ 3742165 h 7458372"/>
              <a:gd name="connsiteX22092" fmla="*/ 3300121 w 10505529"/>
              <a:gd name="connsiteY22092" fmla="*/ 3741367 h 7458372"/>
              <a:gd name="connsiteX22093" fmla="*/ 3303848 w 10505529"/>
              <a:gd name="connsiteY22093" fmla="*/ 3738970 h 7458372"/>
              <a:gd name="connsiteX22094" fmla="*/ 3306511 w 10505529"/>
              <a:gd name="connsiteY22094" fmla="*/ 3734711 h 7458372"/>
              <a:gd name="connsiteX22095" fmla="*/ 3307575 w 10505529"/>
              <a:gd name="connsiteY22095" fmla="*/ 3729253 h 7458372"/>
              <a:gd name="connsiteX22096" fmla="*/ 3306511 w 10505529"/>
              <a:gd name="connsiteY22096" fmla="*/ 3724061 h 7458372"/>
              <a:gd name="connsiteX22097" fmla="*/ 3303848 w 10505529"/>
              <a:gd name="connsiteY22097" fmla="*/ 3719802 h 7458372"/>
              <a:gd name="connsiteX22098" fmla="*/ 3299855 w 10505529"/>
              <a:gd name="connsiteY22098" fmla="*/ 3717139 h 7458372"/>
              <a:gd name="connsiteX22099" fmla="*/ 3294795 w 10505529"/>
              <a:gd name="connsiteY22099" fmla="*/ 3716208 h 7458372"/>
              <a:gd name="connsiteX22100" fmla="*/ 3077272 w 10505529"/>
              <a:gd name="connsiteY22100" fmla="*/ 3716208 h 7458372"/>
              <a:gd name="connsiteX22101" fmla="*/ 3067289 w 10505529"/>
              <a:gd name="connsiteY22101" fmla="*/ 3719802 h 7458372"/>
              <a:gd name="connsiteX22102" fmla="*/ 3063559 w 10505529"/>
              <a:gd name="connsiteY22102" fmla="*/ 3729253 h 7458372"/>
              <a:gd name="connsiteX22103" fmla="*/ 3067155 w 10505529"/>
              <a:gd name="connsiteY22103" fmla="*/ 3738705 h 7458372"/>
              <a:gd name="connsiteX22104" fmla="*/ 3077139 w 10505529"/>
              <a:gd name="connsiteY22104" fmla="*/ 3742165 h 7458372"/>
              <a:gd name="connsiteX22105" fmla="*/ 3082597 w 10505529"/>
              <a:gd name="connsiteY22105" fmla="*/ 3741367 h 7458372"/>
              <a:gd name="connsiteX22106" fmla="*/ 3086325 w 10505529"/>
              <a:gd name="connsiteY22106" fmla="*/ 3738970 h 7458372"/>
              <a:gd name="connsiteX22107" fmla="*/ 3088987 w 10505529"/>
              <a:gd name="connsiteY22107" fmla="*/ 3734711 h 7458372"/>
              <a:gd name="connsiteX22108" fmla="*/ 3089920 w 10505529"/>
              <a:gd name="connsiteY22108" fmla="*/ 3729253 h 7458372"/>
              <a:gd name="connsiteX22109" fmla="*/ 3088987 w 10505529"/>
              <a:gd name="connsiteY22109" fmla="*/ 3724061 h 7458372"/>
              <a:gd name="connsiteX22110" fmla="*/ 3086325 w 10505529"/>
              <a:gd name="connsiteY22110" fmla="*/ 3719802 h 7458372"/>
              <a:gd name="connsiteX22111" fmla="*/ 3082332 w 10505529"/>
              <a:gd name="connsiteY22111" fmla="*/ 3717139 h 7458372"/>
              <a:gd name="connsiteX22112" fmla="*/ 3077272 w 10505529"/>
              <a:gd name="connsiteY22112" fmla="*/ 3716208 h 7458372"/>
              <a:gd name="connsiteX22113" fmla="*/ 2859484 w 10505529"/>
              <a:gd name="connsiteY22113" fmla="*/ 3716208 h 7458372"/>
              <a:gd name="connsiteX22114" fmla="*/ 2849498 w 10505529"/>
              <a:gd name="connsiteY22114" fmla="*/ 3719802 h 7458372"/>
              <a:gd name="connsiteX22115" fmla="*/ 2845902 w 10505529"/>
              <a:gd name="connsiteY22115" fmla="*/ 3729253 h 7458372"/>
              <a:gd name="connsiteX22116" fmla="*/ 2849498 w 10505529"/>
              <a:gd name="connsiteY22116" fmla="*/ 3738705 h 7458372"/>
              <a:gd name="connsiteX22117" fmla="*/ 2859484 w 10505529"/>
              <a:gd name="connsiteY22117" fmla="*/ 3742165 h 7458372"/>
              <a:gd name="connsiteX22118" fmla="*/ 2864809 w 10505529"/>
              <a:gd name="connsiteY22118" fmla="*/ 3741367 h 7458372"/>
              <a:gd name="connsiteX22119" fmla="*/ 2868536 w 10505529"/>
              <a:gd name="connsiteY22119" fmla="*/ 3738970 h 7458372"/>
              <a:gd name="connsiteX22120" fmla="*/ 2871199 w 10505529"/>
              <a:gd name="connsiteY22120" fmla="*/ 3734711 h 7458372"/>
              <a:gd name="connsiteX22121" fmla="*/ 2872130 w 10505529"/>
              <a:gd name="connsiteY22121" fmla="*/ 3729253 h 7458372"/>
              <a:gd name="connsiteX22122" fmla="*/ 2871199 w 10505529"/>
              <a:gd name="connsiteY22122" fmla="*/ 3724061 h 7458372"/>
              <a:gd name="connsiteX22123" fmla="*/ 2868536 w 10505529"/>
              <a:gd name="connsiteY22123" fmla="*/ 3719802 h 7458372"/>
              <a:gd name="connsiteX22124" fmla="*/ 2864543 w 10505529"/>
              <a:gd name="connsiteY22124" fmla="*/ 3717139 h 7458372"/>
              <a:gd name="connsiteX22125" fmla="*/ 2859484 w 10505529"/>
              <a:gd name="connsiteY22125" fmla="*/ 3716208 h 7458372"/>
              <a:gd name="connsiteX22126" fmla="*/ 2641828 w 10505529"/>
              <a:gd name="connsiteY22126" fmla="*/ 3716208 h 7458372"/>
              <a:gd name="connsiteX22127" fmla="*/ 2631845 w 10505529"/>
              <a:gd name="connsiteY22127" fmla="*/ 3719802 h 7458372"/>
              <a:gd name="connsiteX22128" fmla="*/ 2628250 w 10505529"/>
              <a:gd name="connsiteY22128" fmla="*/ 3729253 h 7458372"/>
              <a:gd name="connsiteX22129" fmla="*/ 2631845 w 10505529"/>
              <a:gd name="connsiteY22129" fmla="*/ 3738705 h 7458372"/>
              <a:gd name="connsiteX22130" fmla="*/ 2641828 w 10505529"/>
              <a:gd name="connsiteY22130" fmla="*/ 3742165 h 7458372"/>
              <a:gd name="connsiteX22131" fmla="*/ 2647153 w 10505529"/>
              <a:gd name="connsiteY22131" fmla="*/ 3741367 h 7458372"/>
              <a:gd name="connsiteX22132" fmla="*/ 2650880 w 10505529"/>
              <a:gd name="connsiteY22132" fmla="*/ 3738970 h 7458372"/>
              <a:gd name="connsiteX22133" fmla="*/ 2653543 w 10505529"/>
              <a:gd name="connsiteY22133" fmla="*/ 3734711 h 7458372"/>
              <a:gd name="connsiteX22134" fmla="*/ 2654474 w 10505529"/>
              <a:gd name="connsiteY22134" fmla="*/ 3729253 h 7458372"/>
              <a:gd name="connsiteX22135" fmla="*/ 2653543 w 10505529"/>
              <a:gd name="connsiteY22135" fmla="*/ 3724061 h 7458372"/>
              <a:gd name="connsiteX22136" fmla="*/ 2650880 w 10505529"/>
              <a:gd name="connsiteY22136" fmla="*/ 3719802 h 7458372"/>
              <a:gd name="connsiteX22137" fmla="*/ 2646887 w 10505529"/>
              <a:gd name="connsiteY22137" fmla="*/ 3717139 h 7458372"/>
              <a:gd name="connsiteX22138" fmla="*/ 2641828 w 10505529"/>
              <a:gd name="connsiteY22138" fmla="*/ 3716208 h 7458372"/>
              <a:gd name="connsiteX22139" fmla="*/ 2424172 w 10505529"/>
              <a:gd name="connsiteY22139" fmla="*/ 3716208 h 7458372"/>
              <a:gd name="connsiteX22140" fmla="*/ 2414189 w 10505529"/>
              <a:gd name="connsiteY22140" fmla="*/ 3719802 h 7458372"/>
              <a:gd name="connsiteX22141" fmla="*/ 2410594 w 10505529"/>
              <a:gd name="connsiteY22141" fmla="*/ 3729253 h 7458372"/>
              <a:gd name="connsiteX22142" fmla="*/ 2414189 w 10505529"/>
              <a:gd name="connsiteY22142" fmla="*/ 3738705 h 7458372"/>
              <a:gd name="connsiteX22143" fmla="*/ 2424172 w 10505529"/>
              <a:gd name="connsiteY22143" fmla="*/ 3742165 h 7458372"/>
              <a:gd name="connsiteX22144" fmla="*/ 2429497 w 10505529"/>
              <a:gd name="connsiteY22144" fmla="*/ 3741367 h 7458372"/>
              <a:gd name="connsiteX22145" fmla="*/ 2433224 w 10505529"/>
              <a:gd name="connsiteY22145" fmla="*/ 3738970 h 7458372"/>
              <a:gd name="connsiteX22146" fmla="*/ 2435887 w 10505529"/>
              <a:gd name="connsiteY22146" fmla="*/ 3734711 h 7458372"/>
              <a:gd name="connsiteX22147" fmla="*/ 2436818 w 10505529"/>
              <a:gd name="connsiteY22147" fmla="*/ 3729253 h 7458372"/>
              <a:gd name="connsiteX22148" fmla="*/ 2435887 w 10505529"/>
              <a:gd name="connsiteY22148" fmla="*/ 3724061 h 7458372"/>
              <a:gd name="connsiteX22149" fmla="*/ 2433224 w 10505529"/>
              <a:gd name="connsiteY22149" fmla="*/ 3719802 h 7458372"/>
              <a:gd name="connsiteX22150" fmla="*/ 2429231 w 10505529"/>
              <a:gd name="connsiteY22150" fmla="*/ 3717139 h 7458372"/>
              <a:gd name="connsiteX22151" fmla="*/ 2424172 w 10505529"/>
              <a:gd name="connsiteY22151" fmla="*/ 3716208 h 7458372"/>
              <a:gd name="connsiteX22152" fmla="*/ 2206516 w 10505529"/>
              <a:gd name="connsiteY22152" fmla="*/ 3716208 h 7458372"/>
              <a:gd name="connsiteX22153" fmla="*/ 2196533 w 10505529"/>
              <a:gd name="connsiteY22153" fmla="*/ 3719802 h 7458372"/>
              <a:gd name="connsiteX22154" fmla="*/ 2192938 w 10505529"/>
              <a:gd name="connsiteY22154" fmla="*/ 3729253 h 7458372"/>
              <a:gd name="connsiteX22155" fmla="*/ 2196533 w 10505529"/>
              <a:gd name="connsiteY22155" fmla="*/ 3738705 h 7458372"/>
              <a:gd name="connsiteX22156" fmla="*/ 2206516 w 10505529"/>
              <a:gd name="connsiteY22156" fmla="*/ 3742165 h 7458372"/>
              <a:gd name="connsiteX22157" fmla="*/ 2211841 w 10505529"/>
              <a:gd name="connsiteY22157" fmla="*/ 3741367 h 7458372"/>
              <a:gd name="connsiteX22158" fmla="*/ 2215568 w 10505529"/>
              <a:gd name="connsiteY22158" fmla="*/ 3738970 h 7458372"/>
              <a:gd name="connsiteX22159" fmla="*/ 2218231 w 10505529"/>
              <a:gd name="connsiteY22159" fmla="*/ 3734711 h 7458372"/>
              <a:gd name="connsiteX22160" fmla="*/ 2219162 w 10505529"/>
              <a:gd name="connsiteY22160" fmla="*/ 3729253 h 7458372"/>
              <a:gd name="connsiteX22161" fmla="*/ 2218231 w 10505529"/>
              <a:gd name="connsiteY22161" fmla="*/ 3724061 h 7458372"/>
              <a:gd name="connsiteX22162" fmla="*/ 2215568 w 10505529"/>
              <a:gd name="connsiteY22162" fmla="*/ 3719802 h 7458372"/>
              <a:gd name="connsiteX22163" fmla="*/ 2211575 w 10505529"/>
              <a:gd name="connsiteY22163" fmla="*/ 3717139 h 7458372"/>
              <a:gd name="connsiteX22164" fmla="*/ 2206516 w 10505529"/>
              <a:gd name="connsiteY22164" fmla="*/ 3716208 h 7458372"/>
              <a:gd name="connsiteX22165" fmla="*/ 1988993 w 10505529"/>
              <a:gd name="connsiteY22165" fmla="*/ 3716208 h 7458372"/>
              <a:gd name="connsiteX22166" fmla="*/ 1979010 w 10505529"/>
              <a:gd name="connsiteY22166" fmla="*/ 3719802 h 7458372"/>
              <a:gd name="connsiteX22167" fmla="*/ 1975416 w 10505529"/>
              <a:gd name="connsiteY22167" fmla="*/ 3729253 h 7458372"/>
              <a:gd name="connsiteX22168" fmla="*/ 1979010 w 10505529"/>
              <a:gd name="connsiteY22168" fmla="*/ 3738705 h 7458372"/>
              <a:gd name="connsiteX22169" fmla="*/ 1988993 w 10505529"/>
              <a:gd name="connsiteY22169" fmla="*/ 3742165 h 7458372"/>
              <a:gd name="connsiteX22170" fmla="*/ 1994318 w 10505529"/>
              <a:gd name="connsiteY22170" fmla="*/ 3741367 h 7458372"/>
              <a:gd name="connsiteX22171" fmla="*/ 1998046 w 10505529"/>
              <a:gd name="connsiteY22171" fmla="*/ 3738970 h 7458372"/>
              <a:gd name="connsiteX22172" fmla="*/ 2000709 w 10505529"/>
              <a:gd name="connsiteY22172" fmla="*/ 3734711 h 7458372"/>
              <a:gd name="connsiteX22173" fmla="*/ 2001639 w 10505529"/>
              <a:gd name="connsiteY22173" fmla="*/ 3729253 h 7458372"/>
              <a:gd name="connsiteX22174" fmla="*/ 2000709 w 10505529"/>
              <a:gd name="connsiteY22174" fmla="*/ 3724061 h 7458372"/>
              <a:gd name="connsiteX22175" fmla="*/ 1998046 w 10505529"/>
              <a:gd name="connsiteY22175" fmla="*/ 3719802 h 7458372"/>
              <a:gd name="connsiteX22176" fmla="*/ 1994052 w 10505529"/>
              <a:gd name="connsiteY22176" fmla="*/ 3717139 h 7458372"/>
              <a:gd name="connsiteX22177" fmla="*/ 1988993 w 10505529"/>
              <a:gd name="connsiteY22177" fmla="*/ 3716208 h 7458372"/>
              <a:gd name="connsiteX22178" fmla="*/ 1771356 w 10505529"/>
              <a:gd name="connsiteY22178" fmla="*/ 3716208 h 7458372"/>
              <a:gd name="connsiteX22179" fmla="*/ 1761374 w 10505529"/>
              <a:gd name="connsiteY22179" fmla="*/ 3719802 h 7458372"/>
              <a:gd name="connsiteX22180" fmla="*/ 1757780 w 10505529"/>
              <a:gd name="connsiteY22180" fmla="*/ 3729253 h 7458372"/>
              <a:gd name="connsiteX22181" fmla="*/ 1761374 w 10505529"/>
              <a:gd name="connsiteY22181" fmla="*/ 3738705 h 7458372"/>
              <a:gd name="connsiteX22182" fmla="*/ 1771356 w 10505529"/>
              <a:gd name="connsiteY22182" fmla="*/ 3742165 h 7458372"/>
              <a:gd name="connsiteX22183" fmla="*/ 1776681 w 10505529"/>
              <a:gd name="connsiteY22183" fmla="*/ 3741367 h 7458372"/>
              <a:gd name="connsiteX22184" fmla="*/ 1780407 w 10505529"/>
              <a:gd name="connsiteY22184" fmla="*/ 3738970 h 7458372"/>
              <a:gd name="connsiteX22185" fmla="*/ 1783070 w 10505529"/>
              <a:gd name="connsiteY22185" fmla="*/ 3734711 h 7458372"/>
              <a:gd name="connsiteX22186" fmla="*/ 1784135 w 10505529"/>
              <a:gd name="connsiteY22186" fmla="*/ 3729253 h 7458372"/>
              <a:gd name="connsiteX22187" fmla="*/ 1783070 w 10505529"/>
              <a:gd name="connsiteY22187" fmla="*/ 3724061 h 7458372"/>
              <a:gd name="connsiteX22188" fmla="*/ 1780407 w 10505529"/>
              <a:gd name="connsiteY22188" fmla="*/ 3719802 h 7458372"/>
              <a:gd name="connsiteX22189" fmla="*/ 1776415 w 10505529"/>
              <a:gd name="connsiteY22189" fmla="*/ 3717139 h 7458372"/>
              <a:gd name="connsiteX22190" fmla="*/ 1771356 w 10505529"/>
              <a:gd name="connsiteY22190" fmla="*/ 3716208 h 7458372"/>
              <a:gd name="connsiteX22191" fmla="*/ 1553716 w 10505529"/>
              <a:gd name="connsiteY22191" fmla="*/ 3716208 h 7458372"/>
              <a:gd name="connsiteX22192" fmla="*/ 1543733 w 10505529"/>
              <a:gd name="connsiteY22192" fmla="*/ 3719802 h 7458372"/>
              <a:gd name="connsiteX22193" fmla="*/ 1540138 w 10505529"/>
              <a:gd name="connsiteY22193" fmla="*/ 3729253 h 7458372"/>
              <a:gd name="connsiteX22194" fmla="*/ 1543733 w 10505529"/>
              <a:gd name="connsiteY22194" fmla="*/ 3738705 h 7458372"/>
              <a:gd name="connsiteX22195" fmla="*/ 1553716 w 10505529"/>
              <a:gd name="connsiteY22195" fmla="*/ 3742165 h 7458372"/>
              <a:gd name="connsiteX22196" fmla="*/ 1559041 w 10505529"/>
              <a:gd name="connsiteY22196" fmla="*/ 3741367 h 7458372"/>
              <a:gd name="connsiteX22197" fmla="*/ 1562768 w 10505529"/>
              <a:gd name="connsiteY22197" fmla="*/ 3738970 h 7458372"/>
              <a:gd name="connsiteX22198" fmla="*/ 1565431 w 10505529"/>
              <a:gd name="connsiteY22198" fmla="*/ 3734711 h 7458372"/>
              <a:gd name="connsiteX22199" fmla="*/ 1566496 w 10505529"/>
              <a:gd name="connsiteY22199" fmla="*/ 3729253 h 7458372"/>
              <a:gd name="connsiteX22200" fmla="*/ 1565431 w 10505529"/>
              <a:gd name="connsiteY22200" fmla="*/ 3724061 h 7458372"/>
              <a:gd name="connsiteX22201" fmla="*/ 1562768 w 10505529"/>
              <a:gd name="connsiteY22201" fmla="*/ 3719802 h 7458372"/>
              <a:gd name="connsiteX22202" fmla="*/ 1558775 w 10505529"/>
              <a:gd name="connsiteY22202" fmla="*/ 3717139 h 7458372"/>
              <a:gd name="connsiteX22203" fmla="*/ 1553716 w 10505529"/>
              <a:gd name="connsiteY22203" fmla="*/ 3716208 h 7458372"/>
              <a:gd name="connsiteX22204" fmla="*/ 1336072 w 10505529"/>
              <a:gd name="connsiteY22204" fmla="*/ 3716208 h 7458372"/>
              <a:gd name="connsiteX22205" fmla="*/ 1326089 w 10505529"/>
              <a:gd name="connsiteY22205" fmla="*/ 3719802 h 7458372"/>
              <a:gd name="connsiteX22206" fmla="*/ 1322494 w 10505529"/>
              <a:gd name="connsiteY22206" fmla="*/ 3729253 h 7458372"/>
              <a:gd name="connsiteX22207" fmla="*/ 1326089 w 10505529"/>
              <a:gd name="connsiteY22207" fmla="*/ 3738705 h 7458372"/>
              <a:gd name="connsiteX22208" fmla="*/ 1336072 w 10505529"/>
              <a:gd name="connsiteY22208" fmla="*/ 3742165 h 7458372"/>
              <a:gd name="connsiteX22209" fmla="*/ 1341398 w 10505529"/>
              <a:gd name="connsiteY22209" fmla="*/ 3741367 h 7458372"/>
              <a:gd name="connsiteX22210" fmla="*/ 1345126 w 10505529"/>
              <a:gd name="connsiteY22210" fmla="*/ 3738970 h 7458372"/>
              <a:gd name="connsiteX22211" fmla="*/ 1347788 w 10505529"/>
              <a:gd name="connsiteY22211" fmla="*/ 3734711 h 7458372"/>
              <a:gd name="connsiteX22212" fmla="*/ 1348854 w 10505529"/>
              <a:gd name="connsiteY22212" fmla="*/ 3729253 h 7458372"/>
              <a:gd name="connsiteX22213" fmla="*/ 1347788 w 10505529"/>
              <a:gd name="connsiteY22213" fmla="*/ 3724061 h 7458372"/>
              <a:gd name="connsiteX22214" fmla="*/ 1345126 w 10505529"/>
              <a:gd name="connsiteY22214" fmla="*/ 3719802 h 7458372"/>
              <a:gd name="connsiteX22215" fmla="*/ 1341131 w 10505529"/>
              <a:gd name="connsiteY22215" fmla="*/ 3717139 h 7458372"/>
              <a:gd name="connsiteX22216" fmla="*/ 1336072 w 10505529"/>
              <a:gd name="connsiteY22216" fmla="*/ 3716208 h 7458372"/>
              <a:gd name="connsiteX22217" fmla="*/ 1118560 w 10505529"/>
              <a:gd name="connsiteY22217" fmla="*/ 3716208 h 7458372"/>
              <a:gd name="connsiteX22218" fmla="*/ 1108575 w 10505529"/>
              <a:gd name="connsiteY22218" fmla="*/ 3719802 h 7458372"/>
              <a:gd name="connsiteX22219" fmla="*/ 1104848 w 10505529"/>
              <a:gd name="connsiteY22219" fmla="*/ 3729253 h 7458372"/>
              <a:gd name="connsiteX22220" fmla="*/ 1108442 w 10505529"/>
              <a:gd name="connsiteY22220" fmla="*/ 3738705 h 7458372"/>
              <a:gd name="connsiteX22221" fmla="*/ 1118427 w 10505529"/>
              <a:gd name="connsiteY22221" fmla="*/ 3742165 h 7458372"/>
              <a:gd name="connsiteX22222" fmla="*/ 1123884 w 10505529"/>
              <a:gd name="connsiteY22222" fmla="*/ 3741367 h 7458372"/>
              <a:gd name="connsiteX22223" fmla="*/ 1127613 w 10505529"/>
              <a:gd name="connsiteY22223" fmla="*/ 3738970 h 7458372"/>
              <a:gd name="connsiteX22224" fmla="*/ 1130277 w 10505529"/>
              <a:gd name="connsiteY22224" fmla="*/ 3734711 h 7458372"/>
              <a:gd name="connsiteX22225" fmla="*/ 1131342 w 10505529"/>
              <a:gd name="connsiteY22225" fmla="*/ 3729253 h 7458372"/>
              <a:gd name="connsiteX22226" fmla="*/ 1130277 w 10505529"/>
              <a:gd name="connsiteY22226" fmla="*/ 3724061 h 7458372"/>
              <a:gd name="connsiteX22227" fmla="*/ 1127613 w 10505529"/>
              <a:gd name="connsiteY22227" fmla="*/ 3719802 h 7458372"/>
              <a:gd name="connsiteX22228" fmla="*/ 1123618 w 10505529"/>
              <a:gd name="connsiteY22228" fmla="*/ 3717139 h 7458372"/>
              <a:gd name="connsiteX22229" fmla="*/ 1118560 w 10505529"/>
              <a:gd name="connsiteY22229" fmla="*/ 3716208 h 7458372"/>
              <a:gd name="connsiteX22230" fmla="*/ 901048 w 10505529"/>
              <a:gd name="connsiteY22230" fmla="*/ 3716208 h 7458372"/>
              <a:gd name="connsiteX22231" fmla="*/ 891064 w 10505529"/>
              <a:gd name="connsiteY22231" fmla="*/ 3719802 h 7458372"/>
              <a:gd name="connsiteX22232" fmla="*/ 887337 w 10505529"/>
              <a:gd name="connsiteY22232" fmla="*/ 3729253 h 7458372"/>
              <a:gd name="connsiteX22233" fmla="*/ 890931 w 10505529"/>
              <a:gd name="connsiteY22233" fmla="*/ 3738705 h 7458372"/>
              <a:gd name="connsiteX22234" fmla="*/ 900914 w 10505529"/>
              <a:gd name="connsiteY22234" fmla="*/ 3742165 h 7458372"/>
              <a:gd name="connsiteX22235" fmla="*/ 906372 w 10505529"/>
              <a:gd name="connsiteY22235" fmla="*/ 3741367 h 7458372"/>
              <a:gd name="connsiteX22236" fmla="*/ 910100 w 10505529"/>
              <a:gd name="connsiteY22236" fmla="*/ 3738970 h 7458372"/>
              <a:gd name="connsiteX22237" fmla="*/ 912762 w 10505529"/>
              <a:gd name="connsiteY22237" fmla="*/ 3734711 h 7458372"/>
              <a:gd name="connsiteX22238" fmla="*/ 913828 w 10505529"/>
              <a:gd name="connsiteY22238" fmla="*/ 3729253 h 7458372"/>
              <a:gd name="connsiteX22239" fmla="*/ 912762 w 10505529"/>
              <a:gd name="connsiteY22239" fmla="*/ 3724061 h 7458372"/>
              <a:gd name="connsiteX22240" fmla="*/ 910100 w 10505529"/>
              <a:gd name="connsiteY22240" fmla="*/ 3719802 h 7458372"/>
              <a:gd name="connsiteX22241" fmla="*/ 906106 w 10505529"/>
              <a:gd name="connsiteY22241" fmla="*/ 3717139 h 7458372"/>
              <a:gd name="connsiteX22242" fmla="*/ 901048 w 10505529"/>
              <a:gd name="connsiteY22242" fmla="*/ 3716208 h 7458372"/>
              <a:gd name="connsiteX22243" fmla="*/ 683273 w 10505529"/>
              <a:gd name="connsiteY22243" fmla="*/ 3716208 h 7458372"/>
              <a:gd name="connsiteX22244" fmla="*/ 673289 w 10505529"/>
              <a:gd name="connsiteY22244" fmla="*/ 3719802 h 7458372"/>
              <a:gd name="connsiteX22245" fmla="*/ 669695 w 10505529"/>
              <a:gd name="connsiteY22245" fmla="*/ 3729253 h 7458372"/>
              <a:gd name="connsiteX22246" fmla="*/ 673289 w 10505529"/>
              <a:gd name="connsiteY22246" fmla="*/ 3738705 h 7458372"/>
              <a:gd name="connsiteX22247" fmla="*/ 683273 w 10505529"/>
              <a:gd name="connsiteY22247" fmla="*/ 3742165 h 7458372"/>
              <a:gd name="connsiteX22248" fmla="*/ 688598 w 10505529"/>
              <a:gd name="connsiteY22248" fmla="*/ 3741367 h 7458372"/>
              <a:gd name="connsiteX22249" fmla="*/ 692325 w 10505529"/>
              <a:gd name="connsiteY22249" fmla="*/ 3738970 h 7458372"/>
              <a:gd name="connsiteX22250" fmla="*/ 694988 w 10505529"/>
              <a:gd name="connsiteY22250" fmla="*/ 3734711 h 7458372"/>
              <a:gd name="connsiteX22251" fmla="*/ 696053 w 10505529"/>
              <a:gd name="connsiteY22251" fmla="*/ 3729253 h 7458372"/>
              <a:gd name="connsiteX22252" fmla="*/ 694988 w 10505529"/>
              <a:gd name="connsiteY22252" fmla="*/ 3724061 h 7458372"/>
              <a:gd name="connsiteX22253" fmla="*/ 692325 w 10505529"/>
              <a:gd name="connsiteY22253" fmla="*/ 3719802 h 7458372"/>
              <a:gd name="connsiteX22254" fmla="*/ 688332 w 10505529"/>
              <a:gd name="connsiteY22254" fmla="*/ 3717139 h 7458372"/>
              <a:gd name="connsiteX22255" fmla="*/ 683273 w 10505529"/>
              <a:gd name="connsiteY22255" fmla="*/ 3716208 h 7458372"/>
              <a:gd name="connsiteX22256" fmla="*/ 465630 w 10505529"/>
              <a:gd name="connsiteY22256" fmla="*/ 3716208 h 7458372"/>
              <a:gd name="connsiteX22257" fmla="*/ 455647 w 10505529"/>
              <a:gd name="connsiteY22257" fmla="*/ 3719802 h 7458372"/>
              <a:gd name="connsiteX22258" fmla="*/ 452053 w 10505529"/>
              <a:gd name="connsiteY22258" fmla="*/ 3729253 h 7458372"/>
              <a:gd name="connsiteX22259" fmla="*/ 455647 w 10505529"/>
              <a:gd name="connsiteY22259" fmla="*/ 3738705 h 7458372"/>
              <a:gd name="connsiteX22260" fmla="*/ 465630 w 10505529"/>
              <a:gd name="connsiteY22260" fmla="*/ 3742165 h 7458372"/>
              <a:gd name="connsiteX22261" fmla="*/ 470955 w 10505529"/>
              <a:gd name="connsiteY22261" fmla="*/ 3741367 h 7458372"/>
              <a:gd name="connsiteX22262" fmla="*/ 474682 w 10505529"/>
              <a:gd name="connsiteY22262" fmla="*/ 3738970 h 7458372"/>
              <a:gd name="connsiteX22263" fmla="*/ 477345 w 10505529"/>
              <a:gd name="connsiteY22263" fmla="*/ 3734711 h 7458372"/>
              <a:gd name="connsiteX22264" fmla="*/ 478410 w 10505529"/>
              <a:gd name="connsiteY22264" fmla="*/ 3729253 h 7458372"/>
              <a:gd name="connsiteX22265" fmla="*/ 477345 w 10505529"/>
              <a:gd name="connsiteY22265" fmla="*/ 3724061 h 7458372"/>
              <a:gd name="connsiteX22266" fmla="*/ 474682 w 10505529"/>
              <a:gd name="connsiteY22266" fmla="*/ 3719802 h 7458372"/>
              <a:gd name="connsiteX22267" fmla="*/ 470689 w 10505529"/>
              <a:gd name="connsiteY22267" fmla="*/ 3717139 h 7458372"/>
              <a:gd name="connsiteX22268" fmla="*/ 465630 w 10505529"/>
              <a:gd name="connsiteY22268" fmla="*/ 3716208 h 7458372"/>
              <a:gd name="connsiteX22269" fmla="*/ 247987 w 10505529"/>
              <a:gd name="connsiteY22269" fmla="*/ 3716208 h 7458372"/>
              <a:gd name="connsiteX22270" fmla="*/ 238005 w 10505529"/>
              <a:gd name="connsiteY22270" fmla="*/ 3719802 h 7458372"/>
              <a:gd name="connsiteX22271" fmla="*/ 234411 w 10505529"/>
              <a:gd name="connsiteY22271" fmla="*/ 3729253 h 7458372"/>
              <a:gd name="connsiteX22272" fmla="*/ 238005 w 10505529"/>
              <a:gd name="connsiteY22272" fmla="*/ 3738705 h 7458372"/>
              <a:gd name="connsiteX22273" fmla="*/ 247987 w 10505529"/>
              <a:gd name="connsiteY22273" fmla="*/ 3742165 h 7458372"/>
              <a:gd name="connsiteX22274" fmla="*/ 253312 w 10505529"/>
              <a:gd name="connsiteY22274" fmla="*/ 3741367 h 7458372"/>
              <a:gd name="connsiteX22275" fmla="*/ 257039 w 10505529"/>
              <a:gd name="connsiteY22275" fmla="*/ 3738970 h 7458372"/>
              <a:gd name="connsiteX22276" fmla="*/ 259702 w 10505529"/>
              <a:gd name="connsiteY22276" fmla="*/ 3734711 h 7458372"/>
              <a:gd name="connsiteX22277" fmla="*/ 260767 w 10505529"/>
              <a:gd name="connsiteY22277" fmla="*/ 3729253 h 7458372"/>
              <a:gd name="connsiteX22278" fmla="*/ 259702 w 10505529"/>
              <a:gd name="connsiteY22278" fmla="*/ 3724061 h 7458372"/>
              <a:gd name="connsiteX22279" fmla="*/ 257039 w 10505529"/>
              <a:gd name="connsiteY22279" fmla="*/ 3719802 h 7458372"/>
              <a:gd name="connsiteX22280" fmla="*/ 253046 w 10505529"/>
              <a:gd name="connsiteY22280" fmla="*/ 3717139 h 7458372"/>
              <a:gd name="connsiteX22281" fmla="*/ 247987 w 10505529"/>
              <a:gd name="connsiteY22281" fmla="*/ 3716208 h 7458372"/>
              <a:gd name="connsiteX22282" fmla="*/ 30345 w 10505529"/>
              <a:gd name="connsiteY22282" fmla="*/ 3716208 h 7458372"/>
              <a:gd name="connsiteX22283" fmla="*/ 20362 w 10505529"/>
              <a:gd name="connsiteY22283" fmla="*/ 3719802 h 7458372"/>
              <a:gd name="connsiteX22284" fmla="*/ 16768 w 10505529"/>
              <a:gd name="connsiteY22284" fmla="*/ 3729253 h 7458372"/>
              <a:gd name="connsiteX22285" fmla="*/ 20362 w 10505529"/>
              <a:gd name="connsiteY22285" fmla="*/ 3738705 h 7458372"/>
              <a:gd name="connsiteX22286" fmla="*/ 30345 w 10505529"/>
              <a:gd name="connsiteY22286" fmla="*/ 3742165 h 7458372"/>
              <a:gd name="connsiteX22287" fmla="*/ 35670 w 10505529"/>
              <a:gd name="connsiteY22287" fmla="*/ 3741367 h 7458372"/>
              <a:gd name="connsiteX22288" fmla="*/ 39397 w 10505529"/>
              <a:gd name="connsiteY22288" fmla="*/ 3738970 h 7458372"/>
              <a:gd name="connsiteX22289" fmla="*/ 42060 w 10505529"/>
              <a:gd name="connsiteY22289" fmla="*/ 3734711 h 7458372"/>
              <a:gd name="connsiteX22290" fmla="*/ 42991 w 10505529"/>
              <a:gd name="connsiteY22290" fmla="*/ 3729253 h 7458372"/>
              <a:gd name="connsiteX22291" fmla="*/ 42060 w 10505529"/>
              <a:gd name="connsiteY22291" fmla="*/ 3724061 h 7458372"/>
              <a:gd name="connsiteX22292" fmla="*/ 39397 w 10505529"/>
              <a:gd name="connsiteY22292" fmla="*/ 3719802 h 7458372"/>
              <a:gd name="connsiteX22293" fmla="*/ 35404 w 10505529"/>
              <a:gd name="connsiteY22293" fmla="*/ 3717139 h 7458372"/>
              <a:gd name="connsiteX22294" fmla="*/ 30345 w 10505529"/>
              <a:gd name="connsiteY22294" fmla="*/ 3716208 h 7458372"/>
              <a:gd name="connsiteX22295" fmla="*/ 10475977 w 10505529"/>
              <a:gd name="connsiteY22295" fmla="*/ 3699567 h 7458372"/>
              <a:gd name="connsiteX22296" fmla="*/ 10487824 w 10505529"/>
              <a:gd name="connsiteY22296" fmla="*/ 3702096 h 7458372"/>
              <a:gd name="connsiteX22297" fmla="*/ 10497143 w 10505529"/>
              <a:gd name="connsiteY22297" fmla="*/ 3708486 h 7458372"/>
              <a:gd name="connsiteX22298" fmla="*/ 10503266 w 10505529"/>
              <a:gd name="connsiteY22298" fmla="*/ 3717937 h 7458372"/>
              <a:gd name="connsiteX22299" fmla="*/ 10505529 w 10505529"/>
              <a:gd name="connsiteY22299" fmla="*/ 3729385 h 7458372"/>
              <a:gd name="connsiteX22300" fmla="*/ 10503266 w 10505529"/>
              <a:gd name="connsiteY22300" fmla="*/ 3741100 h 7458372"/>
              <a:gd name="connsiteX22301" fmla="*/ 10497143 w 10505529"/>
              <a:gd name="connsiteY22301" fmla="*/ 3750419 h 7458372"/>
              <a:gd name="connsiteX22302" fmla="*/ 10487824 w 10505529"/>
              <a:gd name="connsiteY22302" fmla="*/ 3756675 h 7458372"/>
              <a:gd name="connsiteX22303" fmla="*/ 10475977 w 10505529"/>
              <a:gd name="connsiteY22303" fmla="*/ 3758938 h 7458372"/>
              <a:gd name="connsiteX22304" fmla="*/ 10454145 w 10505529"/>
              <a:gd name="connsiteY22304" fmla="*/ 3750419 h 7458372"/>
              <a:gd name="connsiteX22305" fmla="*/ 10445759 w 10505529"/>
              <a:gd name="connsiteY22305" fmla="*/ 3729253 h 7458372"/>
              <a:gd name="connsiteX22306" fmla="*/ 10454145 w 10505529"/>
              <a:gd name="connsiteY22306" fmla="*/ 3708220 h 7458372"/>
              <a:gd name="connsiteX22307" fmla="*/ 10475977 w 10505529"/>
              <a:gd name="connsiteY22307" fmla="*/ 3699567 h 7458372"/>
              <a:gd name="connsiteX22308" fmla="*/ 10258466 w 10505529"/>
              <a:gd name="connsiteY22308" fmla="*/ 3699567 h 7458372"/>
              <a:gd name="connsiteX22309" fmla="*/ 10270313 w 10505529"/>
              <a:gd name="connsiteY22309" fmla="*/ 3702096 h 7458372"/>
              <a:gd name="connsiteX22310" fmla="*/ 10279631 w 10505529"/>
              <a:gd name="connsiteY22310" fmla="*/ 3708486 h 7458372"/>
              <a:gd name="connsiteX22311" fmla="*/ 10285754 w 10505529"/>
              <a:gd name="connsiteY22311" fmla="*/ 3717937 h 7458372"/>
              <a:gd name="connsiteX22312" fmla="*/ 10288017 w 10505529"/>
              <a:gd name="connsiteY22312" fmla="*/ 3729385 h 7458372"/>
              <a:gd name="connsiteX22313" fmla="*/ 10285754 w 10505529"/>
              <a:gd name="connsiteY22313" fmla="*/ 3741100 h 7458372"/>
              <a:gd name="connsiteX22314" fmla="*/ 10279631 w 10505529"/>
              <a:gd name="connsiteY22314" fmla="*/ 3750419 h 7458372"/>
              <a:gd name="connsiteX22315" fmla="*/ 10270313 w 10505529"/>
              <a:gd name="connsiteY22315" fmla="*/ 3756675 h 7458372"/>
              <a:gd name="connsiteX22316" fmla="*/ 10258466 w 10505529"/>
              <a:gd name="connsiteY22316" fmla="*/ 3758938 h 7458372"/>
              <a:gd name="connsiteX22317" fmla="*/ 10236633 w 10505529"/>
              <a:gd name="connsiteY22317" fmla="*/ 3750419 h 7458372"/>
              <a:gd name="connsiteX22318" fmla="*/ 10228247 w 10505529"/>
              <a:gd name="connsiteY22318" fmla="*/ 3729253 h 7458372"/>
              <a:gd name="connsiteX22319" fmla="*/ 10236633 w 10505529"/>
              <a:gd name="connsiteY22319" fmla="*/ 3708220 h 7458372"/>
              <a:gd name="connsiteX22320" fmla="*/ 10258466 w 10505529"/>
              <a:gd name="connsiteY22320" fmla="*/ 3699567 h 7458372"/>
              <a:gd name="connsiteX22321" fmla="*/ 10040820 w 10505529"/>
              <a:gd name="connsiteY22321" fmla="*/ 3699567 h 7458372"/>
              <a:gd name="connsiteX22322" fmla="*/ 10052534 w 10505529"/>
              <a:gd name="connsiteY22322" fmla="*/ 3702096 h 7458372"/>
              <a:gd name="connsiteX22323" fmla="*/ 10061852 w 10505529"/>
              <a:gd name="connsiteY22323" fmla="*/ 3708486 h 7458372"/>
              <a:gd name="connsiteX22324" fmla="*/ 10067976 w 10505529"/>
              <a:gd name="connsiteY22324" fmla="*/ 3717937 h 7458372"/>
              <a:gd name="connsiteX22325" fmla="*/ 10070239 w 10505529"/>
              <a:gd name="connsiteY22325" fmla="*/ 3729385 h 7458372"/>
              <a:gd name="connsiteX22326" fmla="*/ 10067976 w 10505529"/>
              <a:gd name="connsiteY22326" fmla="*/ 3741100 h 7458372"/>
              <a:gd name="connsiteX22327" fmla="*/ 10061852 w 10505529"/>
              <a:gd name="connsiteY22327" fmla="*/ 3750419 h 7458372"/>
              <a:gd name="connsiteX22328" fmla="*/ 10052534 w 10505529"/>
              <a:gd name="connsiteY22328" fmla="*/ 3756675 h 7458372"/>
              <a:gd name="connsiteX22329" fmla="*/ 10040820 w 10505529"/>
              <a:gd name="connsiteY22329" fmla="*/ 3758938 h 7458372"/>
              <a:gd name="connsiteX22330" fmla="*/ 10018988 w 10505529"/>
              <a:gd name="connsiteY22330" fmla="*/ 3750419 h 7458372"/>
              <a:gd name="connsiteX22331" fmla="*/ 10010602 w 10505529"/>
              <a:gd name="connsiteY22331" fmla="*/ 3729253 h 7458372"/>
              <a:gd name="connsiteX22332" fmla="*/ 10018988 w 10505529"/>
              <a:gd name="connsiteY22332" fmla="*/ 3708220 h 7458372"/>
              <a:gd name="connsiteX22333" fmla="*/ 10040820 w 10505529"/>
              <a:gd name="connsiteY22333" fmla="*/ 3699567 h 7458372"/>
              <a:gd name="connsiteX22334" fmla="*/ 9823176 w 10505529"/>
              <a:gd name="connsiteY22334" fmla="*/ 3699567 h 7458372"/>
              <a:gd name="connsiteX22335" fmla="*/ 9834890 w 10505529"/>
              <a:gd name="connsiteY22335" fmla="*/ 3702096 h 7458372"/>
              <a:gd name="connsiteX22336" fmla="*/ 9844208 w 10505529"/>
              <a:gd name="connsiteY22336" fmla="*/ 3708486 h 7458372"/>
              <a:gd name="connsiteX22337" fmla="*/ 9850331 w 10505529"/>
              <a:gd name="connsiteY22337" fmla="*/ 3717937 h 7458372"/>
              <a:gd name="connsiteX22338" fmla="*/ 9852595 w 10505529"/>
              <a:gd name="connsiteY22338" fmla="*/ 3729385 h 7458372"/>
              <a:gd name="connsiteX22339" fmla="*/ 9850331 w 10505529"/>
              <a:gd name="connsiteY22339" fmla="*/ 3741100 h 7458372"/>
              <a:gd name="connsiteX22340" fmla="*/ 9844208 w 10505529"/>
              <a:gd name="connsiteY22340" fmla="*/ 3750419 h 7458372"/>
              <a:gd name="connsiteX22341" fmla="*/ 9834890 w 10505529"/>
              <a:gd name="connsiteY22341" fmla="*/ 3756675 h 7458372"/>
              <a:gd name="connsiteX22342" fmla="*/ 9823176 w 10505529"/>
              <a:gd name="connsiteY22342" fmla="*/ 3758938 h 7458372"/>
              <a:gd name="connsiteX22343" fmla="*/ 9801343 w 10505529"/>
              <a:gd name="connsiteY22343" fmla="*/ 3750419 h 7458372"/>
              <a:gd name="connsiteX22344" fmla="*/ 9792957 w 10505529"/>
              <a:gd name="connsiteY22344" fmla="*/ 3729253 h 7458372"/>
              <a:gd name="connsiteX22345" fmla="*/ 9801343 w 10505529"/>
              <a:gd name="connsiteY22345" fmla="*/ 3708220 h 7458372"/>
              <a:gd name="connsiteX22346" fmla="*/ 9823176 w 10505529"/>
              <a:gd name="connsiteY22346" fmla="*/ 3699567 h 7458372"/>
              <a:gd name="connsiteX22347" fmla="*/ 9605531 w 10505529"/>
              <a:gd name="connsiteY22347" fmla="*/ 3699567 h 7458372"/>
              <a:gd name="connsiteX22348" fmla="*/ 9617245 w 10505529"/>
              <a:gd name="connsiteY22348" fmla="*/ 3702096 h 7458372"/>
              <a:gd name="connsiteX22349" fmla="*/ 9626562 w 10505529"/>
              <a:gd name="connsiteY22349" fmla="*/ 3708486 h 7458372"/>
              <a:gd name="connsiteX22350" fmla="*/ 9632686 w 10505529"/>
              <a:gd name="connsiteY22350" fmla="*/ 3717937 h 7458372"/>
              <a:gd name="connsiteX22351" fmla="*/ 9634949 w 10505529"/>
              <a:gd name="connsiteY22351" fmla="*/ 3729385 h 7458372"/>
              <a:gd name="connsiteX22352" fmla="*/ 9632686 w 10505529"/>
              <a:gd name="connsiteY22352" fmla="*/ 3741100 h 7458372"/>
              <a:gd name="connsiteX22353" fmla="*/ 9626562 w 10505529"/>
              <a:gd name="connsiteY22353" fmla="*/ 3750419 h 7458372"/>
              <a:gd name="connsiteX22354" fmla="*/ 9617245 w 10505529"/>
              <a:gd name="connsiteY22354" fmla="*/ 3756675 h 7458372"/>
              <a:gd name="connsiteX22355" fmla="*/ 9605531 w 10505529"/>
              <a:gd name="connsiteY22355" fmla="*/ 3758938 h 7458372"/>
              <a:gd name="connsiteX22356" fmla="*/ 9583698 w 10505529"/>
              <a:gd name="connsiteY22356" fmla="*/ 3750419 h 7458372"/>
              <a:gd name="connsiteX22357" fmla="*/ 9575312 w 10505529"/>
              <a:gd name="connsiteY22357" fmla="*/ 3729253 h 7458372"/>
              <a:gd name="connsiteX22358" fmla="*/ 9583698 w 10505529"/>
              <a:gd name="connsiteY22358" fmla="*/ 3708220 h 7458372"/>
              <a:gd name="connsiteX22359" fmla="*/ 9605531 w 10505529"/>
              <a:gd name="connsiteY22359" fmla="*/ 3699567 h 7458372"/>
              <a:gd name="connsiteX22360" fmla="*/ 9387885 w 10505529"/>
              <a:gd name="connsiteY22360" fmla="*/ 3699567 h 7458372"/>
              <a:gd name="connsiteX22361" fmla="*/ 9399599 w 10505529"/>
              <a:gd name="connsiteY22361" fmla="*/ 3702096 h 7458372"/>
              <a:gd name="connsiteX22362" fmla="*/ 9408917 w 10505529"/>
              <a:gd name="connsiteY22362" fmla="*/ 3708486 h 7458372"/>
              <a:gd name="connsiteX22363" fmla="*/ 9415041 w 10505529"/>
              <a:gd name="connsiteY22363" fmla="*/ 3717937 h 7458372"/>
              <a:gd name="connsiteX22364" fmla="*/ 9417304 w 10505529"/>
              <a:gd name="connsiteY22364" fmla="*/ 3729385 h 7458372"/>
              <a:gd name="connsiteX22365" fmla="*/ 9415041 w 10505529"/>
              <a:gd name="connsiteY22365" fmla="*/ 3741100 h 7458372"/>
              <a:gd name="connsiteX22366" fmla="*/ 9408917 w 10505529"/>
              <a:gd name="connsiteY22366" fmla="*/ 3750419 h 7458372"/>
              <a:gd name="connsiteX22367" fmla="*/ 9399599 w 10505529"/>
              <a:gd name="connsiteY22367" fmla="*/ 3756675 h 7458372"/>
              <a:gd name="connsiteX22368" fmla="*/ 9387885 w 10505529"/>
              <a:gd name="connsiteY22368" fmla="*/ 3758938 h 7458372"/>
              <a:gd name="connsiteX22369" fmla="*/ 9366053 w 10505529"/>
              <a:gd name="connsiteY22369" fmla="*/ 3750419 h 7458372"/>
              <a:gd name="connsiteX22370" fmla="*/ 9357667 w 10505529"/>
              <a:gd name="connsiteY22370" fmla="*/ 3729253 h 7458372"/>
              <a:gd name="connsiteX22371" fmla="*/ 9366053 w 10505529"/>
              <a:gd name="connsiteY22371" fmla="*/ 3708220 h 7458372"/>
              <a:gd name="connsiteX22372" fmla="*/ 9387885 w 10505529"/>
              <a:gd name="connsiteY22372" fmla="*/ 3699567 h 7458372"/>
              <a:gd name="connsiteX22373" fmla="*/ 9170374 w 10505529"/>
              <a:gd name="connsiteY22373" fmla="*/ 3699567 h 7458372"/>
              <a:gd name="connsiteX22374" fmla="*/ 9182088 w 10505529"/>
              <a:gd name="connsiteY22374" fmla="*/ 3702096 h 7458372"/>
              <a:gd name="connsiteX22375" fmla="*/ 9191405 w 10505529"/>
              <a:gd name="connsiteY22375" fmla="*/ 3708486 h 7458372"/>
              <a:gd name="connsiteX22376" fmla="*/ 9197529 w 10505529"/>
              <a:gd name="connsiteY22376" fmla="*/ 3717937 h 7458372"/>
              <a:gd name="connsiteX22377" fmla="*/ 9199792 w 10505529"/>
              <a:gd name="connsiteY22377" fmla="*/ 3729385 h 7458372"/>
              <a:gd name="connsiteX22378" fmla="*/ 9197529 w 10505529"/>
              <a:gd name="connsiteY22378" fmla="*/ 3741100 h 7458372"/>
              <a:gd name="connsiteX22379" fmla="*/ 9191405 w 10505529"/>
              <a:gd name="connsiteY22379" fmla="*/ 3750419 h 7458372"/>
              <a:gd name="connsiteX22380" fmla="*/ 9182088 w 10505529"/>
              <a:gd name="connsiteY22380" fmla="*/ 3756675 h 7458372"/>
              <a:gd name="connsiteX22381" fmla="*/ 9170374 w 10505529"/>
              <a:gd name="connsiteY22381" fmla="*/ 3758938 h 7458372"/>
              <a:gd name="connsiteX22382" fmla="*/ 9148541 w 10505529"/>
              <a:gd name="connsiteY22382" fmla="*/ 3750419 h 7458372"/>
              <a:gd name="connsiteX22383" fmla="*/ 9140155 w 10505529"/>
              <a:gd name="connsiteY22383" fmla="*/ 3729253 h 7458372"/>
              <a:gd name="connsiteX22384" fmla="*/ 9148541 w 10505529"/>
              <a:gd name="connsiteY22384" fmla="*/ 3708220 h 7458372"/>
              <a:gd name="connsiteX22385" fmla="*/ 9170374 w 10505529"/>
              <a:gd name="connsiteY22385" fmla="*/ 3699567 h 7458372"/>
              <a:gd name="connsiteX22386" fmla="*/ 8952728 w 10505529"/>
              <a:gd name="connsiteY22386" fmla="*/ 3699567 h 7458372"/>
              <a:gd name="connsiteX22387" fmla="*/ 8964442 w 10505529"/>
              <a:gd name="connsiteY22387" fmla="*/ 3702096 h 7458372"/>
              <a:gd name="connsiteX22388" fmla="*/ 8973760 w 10505529"/>
              <a:gd name="connsiteY22388" fmla="*/ 3708486 h 7458372"/>
              <a:gd name="connsiteX22389" fmla="*/ 8979884 w 10505529"/>
              <a:gd name="connsiteY22389" fmla="*/ 3717937 h 7458372"/>
              <a:gd name="connsiteX22390" fmla="*/ 8982147 w 10505529"/>
              <a:gd name="connsiteY22390" fmla="*/ 3729385 h 7458372"/>
              <a:gd name="connsiteX22391" fmla="*/ 8979884 w 10505529"/>
              <a:gd name="connsiteY22391" fmla="*/ 3741100 h 7458372"/>
              <a:gd name="connsiteX22392" fmla="*/ 8973760 w 10505529"/>
              <a:gd name="connsiteY22392" fmla="*/ 3750419 h 7458372"/>
              <a:gd name="connsiteX22393" fmla="*/ 8964442 w 10505529"/>
              <a:gd name="connsiteY22393" fmla="*/ 3756675 h 7458372"/>
              <a:gd name="connsiteX22394" fmla="*/ 8952728 w 10505529"/>
              <a:gd name="connsiteY22394" fmla="*/ 3758938 h 7458372"/>
              <a:gd name="connsiteX22395" fmla="*/ 8930896 w 10505529"/>
              <a:gd name="connsiteY22395" fmla="*/ 3750419 h 7458372"/>
              <a:gd name="connsiteX22396" fmla="*/ 8922510 w 10505529"/>
              <a:gd name="connsiteY22396" fmla="*/ 3729253 h 7458372"/>
              <a:gd name="connsiteX22397" fmla="*/ 8930896 w 10505529"/>
              <a:gd name="connsiteY22397" fmla="*/ 3708220 h 7458372"/>
              <a:gd name="connsiteX22398" fmla="*/ 8952728 w 10505529"/>
              <a:gd name="connsiteY22398" fmla="*/ 3699567 h 7458372"/>
              <a:gd name="connsiteX22399" fmla="*/ 8735083 w 10505529"/>
              <a:gd name="connsiteY22399" fmla="*/ 3699567 h 7458372"/>
              <a:gd name="connsiteX22400" fmla="*/ 8746797 w 10505529"/>
              <a:gd name="connsiteY22400" fmla="*/ 3702096 h 7458372"/>
              <a:gd name="connsiteX22401" fmla="*/ 8756115 w 10505529"/>
              <a:gd name="connsiteY22401" fmla="*/ 3708486 h 7458372"/>
              <a:gd name="connsiteX22402" fmla="*/ 8762238 w 10505529"/>
              <a:gd name="connsiteY22402" fmla="*/ 3717937 h 7458372"/>
              <a:gd name="connsiteX22403" fmla="*/ 8764502 w 10505529"/>
              <a:gd name="connsiteY22403" fmla="*/ 3729385 h 7458372"/>
              <a:gd name="connsiteX22404" fmla="*/ 8762238 w 10505529"/>
              <a:gd name="connsiteY22404" fmla="*/ 3741100 h 7458372"/>
              <a:gd name="connsiteX22405" fmla="*/ 8756115 w 10505529"/>
              <a:gd name="connsiteY22405" fmla="*/ 3750419 h 7458372"/>
              <a:gd name="connsiteX22406" fmla="*/ 8746797 w 10505529"/>
              <a:gd name="connsiteY22406" fmla="*/ 3756675 h 7458372"/>
              <a:gd name="connsiteX22407" fmla="*/ 8735083 w 10505529"/>
              <a:gd name="connsiteY22407" fmla="*/ 3758938 h 7458372"/>
              <a:gd name="connsiteX22408" fmla="*/ 8713250 w 10505529"/>
              <a:gd name="connsiteY22408" fmla="*/ 3750419 h 7458372"/>
              <a:gd name="connsiteX22409" fmla="*/ 8704864 w 10505529"/>
              <a:gd name="connsiteY22409" fmla="*/ 3729253 h 7458372"/>
              <a:gd name="connsiteX22410" fmla="*/ 8713250 w 10505529"/>
              <a:gd name="connsiteY22410" fmla="*/ 3708220 h 7458372"/>
              <a:gd name="connsiteX22411" fmla="*/ 8735083 w 10505529"/>
              <a:gd name="connsiteY22411" fmla="*/ 3699567 h 7458372"/>
              <a:gd name="connsiteX22412" fmla="*/ 8517438 w 10505529"/>
              <a:gd name="connsiteY22412" fmla="*/ 3699567 h 7458372"/>
              <a:gd name="connsiteX22413" fmla="*/ 8529152 w 10505529"/>
              <a:gd name="connsiteY22413" fmla="*/ 3702096 h 7458372"/>
              <a:gd name="connsiteX22414" fmla="*/ 8538470 w 10505529"/>
              <a:gd name="connsiteY22414" fmla="*/ 3708486 h 7458372"/>
              <a:gd name="connsiteX22415" fmla="*/ 8544594 w 10505529"/>
              <a:gd name="connsiteY22415" fmla="*/ 3717937 h 7458372"/>
              <a:gd name="connsiteX22416" fmla="*/ 8546857 w 10505529"/>
              <a:gd name="connsiteY22416" fmla="*/ 3729385 h 7458372"/>
              <a:gd name="connsiteX22417" fmla="*/ 8544594 w 10505529"/>
              <a:gd name="connsiteY22417" fmla="*/ 3741100 h 7458372"/>
              <a:gd name="connsiteX22418" fmla="*/ 8538470 w 10505529"/>
              <a:gd name="connsiteY22418" fmla="*/ 3750419 h 7458372"/>
              <a:gd name="connsiteX22419" fmla="*/ 8529152 w 10505529"/>
              <a:gd name="connsiteY22419" fmla="*/ 3756675 h 7458372"/>
              <a:gd name="connsiteX22420" fmla="*/ 8517438 w 10505529"/>
              <a:gd name="connsiteY22420" fmla="*/ 3758938 h 7458372"/>
              <a:gd name="connsiteX22421" fmla="*/ 8495606 w 10505529"/>
              <a:gd name="connsiteY22421" fmla="*/ 3750419 h 7458372"/>
              <a:gd name="connsiteX22422" fmla="*/ 8487220 w 10505529"/>
              <a:gd name="connsiteY22422" fmla="*/ 3729253 h 7458372"/>
              <a:gd name="connsiteX22423" fmla="*/ 8495606 w 10505529"/>
              <a:gd name="connsiteY22423" fmla="*/ 3708220 h 7458372"/>
              <a:gd name="connsiteX22424" fmla="*/ 8517438 w 10505529"/>
              <a:gd name="connsiteY22424" fmla="*/ 3699567 h 7458372"/>
              <a:gd name="connsiteX22425" fmla="*/ 8299793 w 10505529"/>
              <a:gd name="connsiteY22425" fmla="*/ 3699567 h 7458372"/>
              <a:gd name="connsiteX22426" fmla="*/ 8311507 w 10505529"/>
              <a:gd name="connsiteY22426" fmla="*/ 3702096 h 7458372"/>
              <a:gd name="connsiteX22427" fmla="*/ 8320825 w 10505529"/>
              <a:gd name="connsiteY22427" fmla="*/ 3708486 h 7458372"/>
              <a:gd name="connsiteX22428" fmla="*/ 8326948 w 10505529"/>
              <a:gd name="connsiteY22428" fmla="*/ 3717937 h 7458372"/>
              <a:gd name="connsiteX22429" fmla="*/ 8329212 w 10505529"/>
              <a:gd name="connsiteY22429" fmla="*/ 3729385 h 7458372"/>
              <a:gd name="connsiteX22430" fmla="*/ 8326948 w 10505529"/>
              <a:gd name="connsiteY22430" fmla="*/ 3741100 h 7458372"/>
              <a:gd name="connsiteX22431" fmla="*/ 8320825 w 10505529"/>
              <a:gd name="connsiteY22431" fmla="*/ 3750419 h 7458372"/>
              <a:gd name="connsiteX22432" fmla="*/ 8311507 w 10505529"/>
              <a:gd name="connsiteY22432" fmla="*/ 3756675 h 7458372"/>
              <a:gd name="connsiteX22433" fmla="*/ 8299793 w 10505529"/>
              <a:gd name="connsiteY22433" fmla="*/ 3758938 h 7458372"/>
              <a:gd name="connsiteX22434" fmla="*/ 8277960 w 10505529"/>
              <a:gd name="connsiteY22434" fmla="*/ 3750419 h 7458372"/>
              <a:gd name="connsiteX22435" fmla="*/ 8269574 w 10505529"/>
              <a:gd name="connsiteY22435" fmla="*/ 3729253 h 7458372"/>
              <a:gd name="connsiteX22436" fmla="*/ 8277960 w 10505529"/>
              <a:gd name="connsiteY22436" fmla="*/ 3708220 h 7458372"/>
              <a:gd name="connsiteX22437" fmla="*/ 8299793 w 10505529"/>
              <a:gd name="connsiteY22437" fmla="*/ 3699567 h 7458372"/>
              <a:gd name="connsiteX22438" fmla="*/ 8082281 w 10505529"/>
              <a:gd name="connsiteY22438" fmla="*/ 3699567 h 7458372"/>
              <a:gd name="connsiteX22439" fmla="*/ 8094127 w 10505529"/>
              <a:gd name="connsiteY22439" fmla="*/ 3702096 h 7458372"/>
              <a:gd name="connsiteX22440" fmla="*/ 8103446 w 10505529"/>
              <a:gd name="connsiteY22440" fmla="*/ 3708486 h 7458372"/>
              <a:gd name="connsiteX22441" fmla="*/ 8109569 w 10505529"/>
              <a:gd name="connsiteY22441" fmla="*/ 3717937 h 7458372"/>
              <a:gd name="connsiteX22442" fmla="*/ 8111832 w 10505529"/>
              <a:gd name="connsiteY22442" fmla="*/ 3729385 h 7458372"/>
              <a:gd name="connsiteX22443" fmla="*/ 8109569 w 10505529"/>
              <a:gd name="connsiteY22443" fmla="*/ 3741100 h 7458372"/>
              <a:gd name="connsiteX22444" fmla="*/ 8103446 w 10505529"/>
              <a:gd name="connsiteY22444" fmla="*/ 3750419 h 7458372"/>
              <a:gd name="connsiteX22445" fmla="*/ 8094127 w 10505529"/>
              <a:gd name="connsiteY22445" fmla="*/ 3756675 h 7458372"/>
              <a:gd name="connsiteX22446" fmla="*/ 8082281 w 10505529"/>
              <a:gd name="connsiteY22446" fmla="*/ 3758938 h 7458372"/>
              <a:gd name="connsiteX22447" fmla="*/ 8060448 w 10505529"/>
              <a:gd name="connsiteY22447" fmla="*/ 3750419 h 7458372"/>
              <a:gd name="connsiteX22448" fmla="*/ 8052062 w 10505529"/>
              <a:gd name="connsiteY22448" fmla="*/ 3729253 h 7458372"/>
              <a:gd name="connsiteX22449" fmla="*/ 8060448 w 10505529"/>
              <a:gd name="connsiteY22449" fmla="*/ 3708220 h 7458372"/>
              <a:gd name="connsiteX22450" fmla="*/ 8082281 w 10505529"/>
              <a:gd name="connsiteY22450" fmla="*/ 3699567 h 7458372"/>
              <a:gd name="connsiteX22451" fmla="*/ 7864636 w 10505529"/>
              <a:gd name="connsiteY22451" fmla="*/ 3699567 h 7458372"/>
              <a:gd name="connsiteX22452" fmla="*/ 7876483 w 10505529"/>
              <a:gd name="connsiteY22452" fmla="*/ 3702096 h 7458372"/>
              <a:gd name="connsiteX22453" fmla="*/ 7885802 w 10505529"/>
              <a:gd name="connsiteY22453" fmla="*/ 3708486 h 7458372"/>
              <a:gd name="connsiteX22454" fmla="*/ 7891924 w 10505529"/>
              <a:gd name="connsiteY22454" fmla="*/ 3717937 h 7458372"/>
              <a:gd name="connsiteX22455" fmla="*/ 7894188 w 10505529"/>
              <a:gd name="connsiteY22455" fmla="*/ 3729385 h 7458372"/>
              <a:gd name="connsiteX22456" fmla="*/ 7891924 w 10505529"/>
              <a:gd name="connsiteY22456" fmla="*/ 3741100 h 7458372"/>
              <a:gd name="connsiteX22457" fmla="*/ 7885802 w 10505529"/>
              <a:gd name="connsiteY22457" fmla="*/ 3750419 h 7458372"/>
              <a:gd name="connsiteX22458" fmla="*/ 7876483 w 10505529"/>
              <a:gd name="connsiteY22458" fmla="*/ 3756675 h 7458372"/>
              <a:gd name="connsiteX22459" fmla="*/ 7864636 w 10505529"/>
              <a:gd name="connsiteY22459" fmla="*/ 3758938 h 7458372"/>
              <a:gd name="connsiteX22460" fmla="*/ 7842803 w 10505529"/>
              <a:gd name="connsiteY22460" fmla="*/ 3750419 h 7458372"/>
              <a:gd name="connsiteX22461" fmla="*/ 7834417 w 10505529"/>
              <a:gd name="connsiteY22461" fmla="*/ 3729253 h 7458372"/>
              <a:gd name="connsiteX22462" fmla="*/ 7842803 w 10505529"/>
              <a:gd name="connsiteY22462" fmla="*/ 3708220 h 7458372"/>
              <a:gd name="connsiteX22463" fmla="*/ 7864636 w 10505529"/>
              <a:gd name="connsiteY22463" fmla="*/ 3699567 h 7458372"/>
              <a:gd name="connsiteX22464" fmla="*/ 7646991 w 10505529"/>
              <a:gd name="connsiteY22464" fmla="*/ 3699567 h 7458372"/>
              <a:gd name="connsiteX22465" fmla="*/ 7658705 w 10505529"/>
              <a:gd name="connsiteY22465" fmla="*/ 3702096 h 7458372"/>
              <a:gd name="connsiteX22466" fmla="*/ 7668022 w 10505529"/>
              <a:gd name="connsiteY22466" fmla="*/ 3708486 h 7458372"/>
              <a:gd name="connsiteX22467" fmla="*/ 7674146 w 10505529"/>
              <a:gd name="connsiteY22467" fmla="*/ 3717937 h 7458372"/>
              <a:gd name="connsiteX22468" fmla="*/ 7676409 w 10505529"/>
              <a:gd name="connsiteY22468" fmla="*/ 3729385 h 7458372"/>
              <a:gd name="connsiteX22469" fmla="*/ 7674146 w 10505529"/>
              <a:gd name="connsiteY22469" fmla="*/ 3741100 h 7458372"/>
              <a:gd name="connsiteX22470" fmla="*/ 7668022 w 10505529"/>
              <a:gd name="connsiteY22470" fmla="*/ 3750419 h 7458372"/>
              <a:gd name="connsiteX22471" fmla="*/ 7658705 w 10505529"/>
              <a:gd name="connsiteY22471" fmla="*/ 3756675 h 7458372"/>
              <a:gd name="connsiteX22472" fmla="*/ 7646991 w 10505529"/>
              <a:gd name="connsiteY22472" fmla="*/ 3758938 h 7458372"/>
              <a:gd name="connsiteX22473" fmla="*/ 7625158 w 10505529"/>
              <a:gd name="connsiteY22473" fmla="*/ 3750419 h 7458372"/>
              <a:gd name="connsiteX22474" fmla="*/ 7616772 w 10505529"/>
              <a:gd name="connsiteY22474" fmla="*/ 3729253 h 7458372"/>
              <a:gd name="connsiteX22475" fmla="*/ 7625158 w 10505529"/>
              <a:gd name="connsiteY22475" fmla="*/ 3708220 h 7458372"/>
              <a:gd name="connsiteX22476" fmla="*/ 7646991 w 10505529"/>
              <a:gd name="connsiteY22476" fmla="*/ 3699567 h 7458372"/>
              <a:gd name="connsiteX22477" fmla="*/ 7429345 w 10505529"/>
              <a:gd name="connsiteY22477" fmla="*/ 3699567 h 7458372"/>
              <a:gd name="connsiteX22478" fmla="*/ 7441059 w 10505529"/>
              <a:gd name="connsiteY22478" fmla="*/ 3702096 h 7458372"/>
              <a:gd name="connsiteX22479" fmla="*/ 7450377 w 10505529"/>
              <a:gd name="connsiteY22479" fmla="*/ 3708486 h 7458372"/>
              <a:gd name="connsiteX22480" fmla="*/ 7456501 w 10505529"/>
              <a:gd name="connsiteY22480" fmla="*/ 3717937 h 7458372"/>
              <a:gd name="connsiteX22481" fmla="*/ 7458764 w 10505529"/>
              <a:gd name="connsiteY22481" fmla="*/ 3729385 h 7458372"/>
              <a:gd name="connsiteX22482" fmla="*/ 7456501 w 10505529"/>
              <a:gd name="connsiteY22482" fmla="*/ 3741100 h 7458372"/>
              <a:gd name="connsiteX22483" fmla="*/ 7450377 w 10505529"/>
              <a:gd name="connsiteY22483" fmla="*/ 3750419 h 7458372"/>
              <a:gd name="connsiteX22484" fmla="*/ 7441059 w 10505529"/>
              <a:gd name="connsiteY22484" fmla="*/ 3756675 h 7458372"/>
              <a:gd name="connsiteX22485" fmla="*/ 7429345 w 10505529"/>
              <a:gd name="connsiteY22485" fmla="*/ 3758938 h 7458372"/>
              <a:gd name="connsiteX22486" fmla="*/ 7407513 w 10505529"/>
              <a:gd name="connsiteY22486" fmla="*/ 3750419 h 7458372"/>
              <a:gd name="connsiteX22487" fmla="*/ 7399127 w 10505529"/>
              <a:gd name="connsiteY22487" fmla="*/ 3729253 h 7458372"/>
              <a:gd name="connsiteX22488" fmla="*/ 7407513 w 10505529"/>
              <a:gd name="connsiteY22488" fmla="*/ 3708220 h 7458372"/>
              <a:gd name="connsiteX22489" fmla="*/ 7429345 w 10505529"/>
              <a:gd name="connsiteY22489" fmla="*/ 3699567 h 7458372"/>
              <a:gd name="connsiteX22490" fmla="*/ 7211701 w 10505529"/>
              <a:gd name="connsiteY22490" fmla="*/ 3699567 h 7458372"/>
              <a:gd name="connsiteX22491" fmla="*/ 7223415 w 10505529"/>
              <a:gd name="connsiteY22491" fmla="*/ 3702096 h 7458372"/>
              <a:gd name="connsiteX22492" fmla="*/ 7232733 w 10505529"/>
              <a:gd name="connsiteY22492" fmla="*/ 3708486 h 7458372"/>
              <a:gd name="connsiteX22493" fmla="*/ 7238856 w 10505529"/>
              <a:gd name="connsiteY22493" fmla="*/ 3717937 h 7458372"/>
              <a:gd name="connsiteX22494" fmla="*/ 7241120 w 10505529"/>
              <a:gd name="connsiteY22494" fmla="*/ 3729385 h 7458372"/>
              <a:gd name="connsiteX22495" fmla="*/ 7238856 w 10505529"/>
              <a:gd name="connsiteY22495" fmla="*/ 3741100 h 7458372"/>
              <a:gd name="connsiteX22496" fmla="*/ 7232733 w 10505529"/>
              <a:gd name="connsiteY22496" fmla="*/ 3750419 h 7458372"/>
              <a:gd name="connsiteX22497" fmla="*/ 7223415 w 10505529"/>
              <a:gd name="connsiteY22497" fmla="*/ 3756675 h 7458372"/>
              <a:gd name="connsiteX22498" fmla="*/ 7211701 w 10505529"/>
              <a:gd name="connsiteY22498" fmla="*/ 3758938 h 7458372"/>
              <a:gd name="connsiteX22499" fmla="*/ 7189868 w 10505529"/>
              <a:gd name="connsiteY22499" fmla="*/ 3750419 h 7458372"/>
              <a:gd name="connsiteX22500" fmla="*/ 7181482 w 10505529"/>
              <a:gd name="connsiteY22500" fmla="*/ 3729253 h 7458372"/>
              <a:gd name="connsiteX22501" fmla="*/ 7189868 w 10505529"/>
              <a:gd name="connsiteY22501" fmla="*/ 3708220 h 7458372"/>
              <a:gd name="connsiteX22502" fmla="*/ 7211701 w 10505529"/>
              <a:gd name="connsiteY22502" fmla="*/ 3699567 h 7458372"/>
              <a:gd name="connsiteX22503" fmla="*/ 6994056 w 10505529"/>
              <a:gd name="connsiteY22503" fmla="*/ 3699567 h 7458372"/>
              <a:gd name="connsiteX22504" fmla="*/ 7005769 w 10505529"/>
              <a:gd name="connsiteY22504" fmla="*/ 3702096 h 7458372"/>
              <a:gd name="connsiteX22505" fmla="*/ 7015087 w 10505529"/>
              <a:gd name="connsiteY22505" fmla="*/ 3708486 h 7458372"/>
              <a:gd name="connsiteX22506" fmla="*/ 7021211 w 10505529"/>
              <a:gd name="connsiteY22506" fmla="*/ 3717937 h 7458372"/>
              <a:gd name="connsiteX22507" fmla="*/ 7023474 w 10505529"/>
              <a:gd name="connsiteY22507" fmla="*/ 3729385 h 7458372"/>
              <a:gd name="connsiteX22508" fmla="*/ 7021211 w 10505529"/>
              <a:gd name="connsiteY22508" fmla="*/ 3741100 h 7458372"/>
              <a:gd name="connsiteX22509" fmla="*/ 7015087 w 10505529"/>
              <a:gd name="connsiteY22509" fmla="*/ 3750419 h 7458372"/>
              <a:gd name="connsiteX22510" fmla="*/ 7005769 w 10505529"/>
              <a:gd name="connsiteY22510" fmla="*/ 3756675 h 7458372"/>
              <a:gd name="connsiteX22511" fmla="*/ 6994056 w 10505529"/>
              <a:gd name="connsiteY22511" fmla="*/ 3758938 h 7458372"/>
              <a:gd name="connsiteX22512" fmla="*/ 6972223 w 10505529"/>
              <a:gd name="connsiteY22512" fmla="*/ 3750419 h 7458372"/>
              <a:gd name="connsiteX22513" fmla="*/ 6963837 w 10505529"/>
              <a:gd name="connsiteY22513" fmla="*/ 3729253 h 7458372"/>
              <a:gd name="connsiteX22514" fmla="*/ 6972223 w 10505529"/>
              <a:gd name="connsiteY22514" fmla="*/ 3708220 h 7458372"/>
              <a:gd name="connsiteX22515" fmla="*/ 6994056 w 10505529"/>
              <a:gd name="connsiteY22515" fmla="*/ 3699567 h 7458372"/>
              <a:gd name="connsiteX22516" fmla="*/ 6776544 w 10505529"/>
              <a:gd name="connsiteY22516" fmla="*/ 3699567 h 7458372"/>
              <a:gd name="connsiteX22517" fmla="*/ 6788258 w 10505529"/>
              <a:gd name="connsiteY22517" fmla="*/ 3702096 h 7458372"/>
              <a:gd name="connsiteX22518" fmla="*/ 6797576 w 10505529"/>
              <a:gd name="connsiteY22518" fmla="*/ 3708486 h 7458372"/>
              <a:gd name="connsiteX22519" fmla="*/ 6803699 w 10505529"/>
              <a:gd name="connsiteY22519" fmla="*/ 3717937 h 7458372"/>
              <a:gd name="connsiteX22520" fmla="*/ 6805963 w 10505529"/>
              <a:gd name="connsiteY22520" fmla="*/ 3729385 h 7458372"/>
              <a:gd name="connsiteX22521" fmla="*/ 6803699 w 10505529"/>
              <a:gd name="connsiteY22521" fmla="*/ 3741100 h 7458372"/>
              <a:gd name="connsiteX22522" fmla="*/ 6797576 w 10505529"/>
              <a:gd name="connsiteY22522" fmla="*/ 3750419 h 7458372"/>
              <a:gd name="connsiteX22523" fmla="*/ 6788258 w 10505529"/>
              <a:gd name="connsiteY22523" fmla="*/ 3756675 h 7458372"/>
              <a:gd name="connsiteX22524" fmla="*/ 6776544 w 10505529"/>
              <a:gd name="connsiteY22524" fmla="*/ 3758938 h 7458372"/>
              <a:gd name="connsiteX22525" fmla="*/ 6754711 w 10505529"/>
              <a:gd name="connsiteY22525" fmla="*/ 3750419 h 7458372"/>
              <a:gd name="connsiteX22526" fmla="*/ 6746325 w 10505529"/>
              <a:gd name="connsiteY22526" fmla="*/ 3729253 h 7458372"/>
              <a:gd name="connsiteX22527" fmla="*/ 6754711 w 10505529"/>
              <a:gd name="connsiteY22527" fmla="*/ 3708220 h 7458372"/>
              <a:gd name="connsiteX22528" fmla="*/ 6776544 w 10505529"/>
              <a:gd name="connsiteY22528" fmla="*/ 3699567 h 7458372"/>
              <a:gd name="connsiteX22529" fmla="*/ 6558899 w 10505529"/>
              <a:gd name="connsiteY22529" fmla="*/ 3699567 h 7458372"/>
              <a:gd name="connsiteX22530" fmla="*/ 6570612 w 10505529"/>
              <a:gd name="connsiteY22530" fmla="*/ 3702096 h 7458372"/>
              <a:gd name="connsiteX22531" fmla="*/ 6579930 w 10505529"/>
              <a:gd name="connsiteY22531" fmla="*/ 3708486 h 7458372"/>
              <a:gd name="connsiteX22532" fmla="*/ 6586054 w 10505529"/>
              <a:gd name="connsiteY22532" fmla="*/ 3717937 h 7458372"/>
              <a:gd name="connsiteX22533" fmla="*/ 6588317 w 10505529"/>
              <a:gd name="connsiteY22533" fmla="*/ 3729385 h 7458372"/>
              <a:gd name="connsiteX22534" fmla="*/ 6586054 w 10505529"/>
              <a:gd name="connsiteY22534" fmla="*/ 3741100 h 7458372"/>
              <a:gd name="connsiteX22535" fmla="*/ 6579930 w 10505529"/>
              <a:gd name="connsiteY22535" fmla="*/ 3750419 h 7458372"/>
              <a:gd name="connsiteX22536" fmla="*/ 6570612 w 10505529"/>
              <a:gd name="connsiteY22536" fmla="*/ 3756675 h 7458372"/>
              <a:gd name="connsiteX22537" fmla="*/ 6558899 w 10505529"/>
              <a:gd name="connsiteY22537" fmla="*/ 3758938 h 7458372"/>
              <a:gd name="connsiteX22538" fmla="*/ 6537066 w 10505529"/>
              <a:gd name="connsiteY22538" fmla="*/ 3750419 h 7458372"/>
              <a:gd name="connsiteX22539" fmla="*/ 6528680 w 10505529"/>
              <a:gd name="connsiteY22539" fmla="*/ 3729253 h 7458372"/>
              <a:gd name="connsiteX22540" fmla="*/ 6537066 w 10505529"/>
              <a:gd name="connsiteY22540" fmla="*/ 3708220 h 7458372"/>
              <a:gd name="connsiteX22541" fmla="*/ 6558899 w 10505529"/>
              <a:gd name="connsiteY22541" fmla="*/ 3699567 h 7458372"/>
              <a:gd name="connsiteX22542" fmla="*/ 6341253 w 10505529"/>
              <a:gd name="connsiteY22542" fmla="*/ 3699567 h 7458372"/>
              <a:gd name="connsiteX22543" fmla="*/ 6352968 w 10505529"/>
              <a:gd name="connsiteY22543" fmla="*/ 3702096 h 7458372"/>
              <a:gd name="connsiteX22544" fmla="*/ 6362286 w 10505529"/>
              <a:gd name="connsiteY22544" fmla="*/ 3708486 h 7458372"/>
              <a:gd name="connsiteX22545" fmla="*/ 6368409 w 10505529"/>
              <a:gd name="connsiteY22545" fmla="*/ 3717937 h 7458372"/>
              <a:gd name="connsiteX22546" fmla="*/ 6370672 w 10505529"/>
              <a:gd name="connsiteY22546" fmla="*/ 3729385 h 7458372"/>
              <a:gd name="connsiteX22547" fmla="*/ 6368409 w 10505529"/>
              <a:gd name="connsiteY22547" fmla="*/ 3741100 h 7458372"/>
              <a:gd name="connsiteX22548" fmla="*/ 6362286 w 10505529"/>
              <a:gd name="connsiteY22548" fmla="*/ 3750419 h 7458372"/>
              <a:gd name="connsiteX22549" fmla="*/ 6352968 w 10505529"/>
              <a:gd name="connsiteY22549" fmla="*/ 3756675 h 7458372"/>
              <a:gd name="connsiteX22550" fmla="*/ 6341253 w 10505529"/>
              <a:gd name="connsiteY22550" fmla="*/ 3758938 h 7458372"/>
              <a:gd name="connsiteX22551" fmla="*/ 6319421 w 10505529"/>
              <a:gd name="connsiteY22551" fmla="*/ 3750419 h 7458372"/>
              <a:gd name="connsiteX22552" fmla="*/ 6311035 w 10505529"/>
              <a:gd name="connsiteY22552" fmla="*/ 3729253 h 7458372"/>
              <a:gd name="connsiteX22553" fmla="*/ 6319421 w 10505529"/>
              <a:gd name="connsiteY22553" fmla="*/ 3708220 h 7458372"/>
              <a:gd name="connsiteX22554" fmla="*/ 6341253 w 10505529"/>
              <a:gd name="connsiteY22554" fmla="*/ 3699567 h 7458372"/>
              <a:gd name="connsiteX22555" fmla="*/ 6123608 w 10505529"/>
              <a:gd name="connsiteY22555" fmla="*/ 3699567 h 7458372"/>
              <a:gd name="connsiteX22556" fmla="*/ 6135322 w 10505529"/>
              <a:gd name="connsiteY22556" fmla="*/ 3702096 h 7458372"/>
              <a:gd name="connsiteX22557" fmla="*/ 6144640 w 10505529"/>
              <a:gd name="connsiteY22557" fmla="*/ 3708486 h 7458372"/>
              <a:gd name="connsiteX22558" fmla="*/ 6150763 w 10505529"/>
              <a:gd name="connsiteY22558" fmla="*/ 3717937 h 7458372"/>
              <a:gd name="connsiteX22559" fmla="*/ 6153026 w 10505529"/>
              <a:gd name="connsiteY22559" fmla="*/ 3729385 h 7458372"/>
              <a:gd name="connsiteX22560" fmla="*/ 6150763 w 10505529"/>
              <a:gd name="connsiteY22560" fmla="*/ 3741100 h 7458372"/>
              <a:gd name="connsiteX22561" fmla="*/ 6144640 w 10505529"/>
              <a:gd name="connsiteY22561" fmla="*/ 3750419 h 7458372"/>
              <a:gd name="connsiteX22562" fmla="*/ 6135322 w 10505529"/>
              <a:gd name="connsiteY22562" fmla="*/ 3756675 h 7458372"/>
              <a:gd name="connsiteX22563" fmla="*/ 6123608 w 10505529"/>
              <a:gd name="connsiteY22563" fmla="*/ 3758938 h 7458372"/>
              <a:gd name="connsiteX22564" fmla="*/ 6101775 w 10505529"/>
              <a:gd name="connsiteY22564" fmla="*/ 3750419 h 7458372"/>
              <a:gd name="connsiteX22565" fmla="*/ 6093389 w 10505529"/>
              <a:gd name="connsiteY22565" fmla="*/ 3729253 h 7458372"/>
              <a:gd name="connsiteX22566" fmla="*/ 6101775 w 10505529"/>
              <a:gd name="connsiteY22566" fmla="*/ 3708220 h 7458372"/>
              <a:gd name="connsiteX22567" fmla="*/ 6123608 w 10505529"/>
              <a:gd name="connsiteY22567" fmla="*/ 3699567 h 7458372"/>
              <a:gd name="connsiteX22568" fmla="*/ 5905963 w 10505529"/>
              <a:gd name="connsiteY22568" fmla="*/ 3699567 h 7458372"/>
              <a:gd name="connsiteX22569" fmla="*/ 5917677 w 10505529"/>
              <a:gd name="connsiteY22569" fmla="*/ 3702096 h 7458372"/>
              <a:gd name="connsiteX22570" fmla="*/ 5926995 w 10505529"/>
              <a:gd name="connsiteY22570" fmla="*/ 3708486 h 7458372"/>
              <a:gd name="connsiteX22571" fmla="*/ 5933118 w 10505529"/>
              <a:gd name="connsiteY22571" fmla="*/ 3717937 h 7458372"/>
              <a:gd name="connsiteX22572" fmla="*/ 5935381 w 10505529"/>
              <a:gd name="connsiteY22572" fmla="*/ 3729385 h 7458372"/>
              <a:gd name="connsiteX22573" fmla="*/ 5933118 w 10505529"/>
              <a:gd name="connsiteY22573" fmla="*/ 3741100 h 7458372"/>
              <a:gd name="connsiteX22574" fmla="*/ 5926995 w 10505529"/>
              <a:gd name="connsiteY22574" fmla="*/ 3750419 h 7458372"/>
              <a:gd name="connsiteX22575" fmla="*/ 5917677 w 10505529"/>
              <a:gd name="connsiteY22575" fmla="*/ 3756675 h 7458372"/>
              <a:gd name="connsiteX22576" fmla="*/ 5905963 w 10505529"/>
              <a:gd name="connsiteY22576" fmla="*/ 3758938 h 7458372"/>
              <a:gd name="connsiteX22577" fmla="*/ 5884130 w 10505529"/>
              <a:gd name="connsiteY22577" fmla="*/ 3750419 h 7458372"/>
              <a:gd name="connsiteX22578" fmla="*/ 5875744 w 10505529"/>
              <a:gd name="connsiteY22578" fmla="*/ 3729253 h 7458372"/>
              <a:gd name="connsiteX22579" fmla="*/ 5884130 w 10505529"/>
              <a:gd name="connsiteY22579" fmla="*/ 3708220 h 7458372"/>
              <a:gd name="connsiteX22580" fmla="*/ 5905963 w 10505529"/>
              <a:gd name="connsiteY22580" fmla="*/ 3699567 h 7458372"/>
              <a:gd name="connsiteX22581" fmla="*/ 5688451 w 10505529"/>
              <a:gd name="connsiteY22581" fmla="*/ 3699567 h 7458372"/>
              <a:gd name="connsiteX22582" fmla="*/ 5700165 w 10505529"/>
              <a:gd name="connsiteY22582" fmla="*/ 3702096 h 7458372"/>
              <a:gd name="connsiteX22583" fmla="*/ 5709483 w 10505529"/>
              <a:gd name="connsiteY22583" fmla="*/ 3708486 h 7458372"/>
              <a:gd name="connsiteX22584" fmla="*/ 5715606 w 10505529"/>
              <a:gd name="connsiteY22584" fmla="*/ 3717937 h 7458372"/>
              <a:gd name="connsiteX22585" fmla="*/ 5717869 w 10505529"/>
              <a:gd name="connsiteY22585" fmla="*/ 3729385 h 7458372"/>
              <a:gd name="connsiteX22586" fmla="*/ 5715606 w 10505529"/>
              <a:gd name="connsiteY22586" fmla="*/ 3741100 h 7458372"/>
              <a:gd name="connsiteX22587" fmla="*/ 5709483 w 10505529"/>
              <a:gd name="connsiteY22587" fmla="*/ 3750419 h 7458372"/>
              <a:gd name="connsiteX22588" fmla="*/ 5700165 w 10505529"/>
              <a:gd name="connsiteY22588" fmla="*/ 3756675 h 7458372"/>
              <a:gd name="connsiteX22589" fmla="*/ 5688451 w 10505529"/>
              <a:gd name="connsiteY22589" fmla="*/ 3758938 h 7458372"/>
              <a:gd name="connsiteX22590" fmla="*/ 5666618 w 10505529"/>
              <a:gd name="connsiteY22590" fmla="*/ 3750419 h 7458372"/>
              <a:gd name="connsiteX22591" fmla="*/ 5658232 w 10505529"/>
              <a:gd name="connsiteY22591" fmla="*/ 3729253 h 7458372"/>
              <a:gd name="connsiteX22592" fmla="*/ 5666618 w 10505529"/>
              <a:gd name="connsiteY22592" fmla="*/ 3708220 h 7458372"/>
              <a:gd name="connsiteX22593" fmla="*/ 5688451 w 10505529"/>
              <a:gd name="connsiteY22593" fmla="*/ 3699567 h 7458372"/>
              <a:gd name="connsiteX22594" fmla="*/ 5470806 w 10505529"/>
              <a:gd name="connsiteY22594" fmla="*/ 3699567 h 7458372"/>
              <a:gd name="connsiteX22595" fmla="*/ 5482520 w 10505529"/>
              <a:gd name="connsiteY22595" fmla="*/ 3702096 h 7458372"/>
              <a:gd name="connsiteX22596" fmla="*/ 5491838 w 10505529"/>
              <a:gd name="connsiteY22596" fmla="*/ 3708486 h 7458372"/>
              <a:gd name="connsiteX22597" fmla="*/ 5497961 w 10505529"/>
              <a:gd name="connsiteY22597" fmla="*/ 3717937 h 7458372"/>
              <a:gd name="connsiteX22598" fmla="*/ 5500224 w 10505529"/>
              <a:gd name="connsiteY22598" fmla="*/ 3729385 h 7458372"/>
              <a:gd name="connsiteX22599" fmla="*/ 5497961 w 10505529"/>
              <a:gd name="connsiteY22599" fmla="*/ 3741100 h 7458372"/>
              <a:gd name="connsiteX22600" fmla="*/ 5491838 w 10505529"/>
              <a:gd name="connsiteY22600" fmla="*/ 3750419 h 7458372"/>
              <a:gd name="connsiteX22601" fmla="*/ 5482520 w 10505529"/>
              <a:gd name="connsiteY22601" fmla="*/ 3756675 h 7458372"/>
              <a:gd name="connsiteX22602" fmla="*/ 5470806 w 10505529"/>
              <a:gd name="connsiteY22602" fmla="*/ 3758938 h 7458372"/>
              <a:gd name="connsiteX22603" fmla="*/ 5448973 w 10505529"/>
              <a:gd name="connsiteY22603" fmla="*/ 3750419 h 7458372"/>
              <a:gd name="connsiteX22604" fmla="*/ 5440587 w 10505529"/>
              <a:gd name="connsiteY22604" fmla="*/ 3729253 h 7458372"/>
              <a:gd name="connsiteX22605" fmla="*/ 5448973 w 10505529"/>
              <a:gd name="connsiteY22605" fmla="*/ 3708220 h 7458372"/>
              <a:gd name="connsiteX22606" fmla="*/ 5470806 w 10505529"/>
              <a:gd name="connsiteY22606" fmla="*/ 3699567 h 7458372"/>
              <a:gd name="connsiteX22607" fmla="*/ 5253160 w 10505529"/>
              <a:gd name="connsiteY22607" fmla="*/ 3699567 h 7458372"/>
              <a:gd name="connsiteX22608" fmla="*/ 5264875 w 10505529"/>
              <a:gd name="connsiteY22608" fmla="*/ 3702096 h 7458372"/>
              <a:gd name="connsiteX22609" fmla="*/ 5274192 w 10505529"/>
              <a:gd name="connsiteY22609" fmla="*/ 3708486 h 7458372"/>
              <a:gd name="connsiteX22610" fmla="*/ 5280316 w 10505529"/>
              <a:gd name="connsiteY22610" fmla="*/ 3717937 h 7458372"/>
              <a:gd name="connsiteX22611" fmla="*/ 5282579 w 10505529"/>
              <a:gd name="connsiteY22611" fmla="*/ 3729385 h 7458372"/>
              <a:gd name="connsiteX22612" fmla="*/ 5280316 w 10505529"/>
              <a:gd name="connsiteY22612" fmla="*/ 3741100 h 7458372"/>
              <a:gd name="connsiteX22613" fmla="*/ 5274192 w 10505529"/>
              <a:gd name="connsiteY22613" fmla="*/ 3750419 h 7458372"/>
              <a:gd name="connsiteX22614" fmla="*/ 5264875 w 10505529"/>
              <a:gd name="connsiteY22614" fmla="*/ 3756675 h 7458372"/>
              <a:gd name="connsiteX22615" fmla="*/ 5253160 w 10505529"/>
              <a:gd name="connsiteY22615" fmla="*/ 3758938 h 7458372"/>
              <a:gd name="connsiteX22616" fmla="*/ 5231328 w 10505529"/>
              <a:gd name="connsiteY22616" fmla="*/ 3750419 h 7458372"/>
              <a:gd name="connsiteX22617" fmla="*/ 5222942 w 10505529"/>
              <a:gd name="connsiteY22617" fmla="*/ 3729253 h 7458372"/>
              <a:gd name="connsiteX22618" fmla="*/ 5231328 w 10505529"/>
              <a:gd name="connsiteY22618" fmla="*/ 3708220 h 7458372"/>
              <a:gd name="connsiteX22619" fmla="*/ 5253160 w 10505529"/>
              <a:gd name="connsiteY22619" fmla="*/ 3699567 h 7458372"/>
              <a:gd name="connsiteX22620" fmla="*/ 5035515 w 10505529"/>
              <a:gd name="connsiteY22620" fmla="*/ 3699567 h 7458372"/>
              <a:gd name="connsiteX22621" fmla="*/ 5047230 w 10505529"/>
              <a:gd name="connsiteY22621" fmla="*/ 3702096 h 7458372"/>
              <a:gd name="connsiteX22622" fmla="*/ 5056548 w 10505529"/>
              <a:gd name="connsiteY22622" fmla="*/ 3708486 h 7458372"/>
              <a:gd name="connsiteX22623" fmla="*/ 5062671 w 10505529"/>
              <a:gd name="connsiteY22623" fmla="*/ 3717937 h 7458372"/>
              <a:gd name="connsiteX22624" fmla="*/ 5064934 w 10505529"/>
              <a:gd name="connsiteY22624" fmla="*/ 3729385 h 7458372"/>
              <a:gd name="connsiteX22625" fmla="*/ 5062671 w 10505529"/>
              <a:gd name="connsiteY22625" fmla="*/ 3741100 h 7458372"/>
              <a:gd name="connsiteX22626" fmla="*/ 5056548 w 10505529"/>
              <a:gd name="connsiteY22626" fmla="*/ 3750419 h 7458372"/>
              <a:gd name="connsiteX22627" fmla="*/ 5047230 w 10505529"/>
              <a:gd name="connsiteY22627" fmla="*/ 3756675 h 7458372"/>
              <a:gd name="connsiteX22628" fmla="*/ 5035515 w 10505529"/>
              <a:gd name="connsiteY22628" fmla="*/ 3758938 h 7458372"/>
              <a:gd name="connsiteX22629" fmla="*/ 5013683 w 10505529"/>
              <a:gd name="connsiteY22629" fmla="*/ 3750419 h 7458372"/>
              <a:gd name="connsiteX22630" fmla="*/ 5005297 w 10505529"/>
              <a:gd name="connsiteY22630" fmla="*/ 3729253 h 7458372"/>
              <a:gd name="connsiteX22631" fmla="*/ 5013683 w 10505529"/>
              <a:gd name="connsiteY22631" fmla="*/ 3708220 h 7458372"/>
              <a:gd name="connsiteX22632" fmla="*/ 5035515 w 10505529"/>
              <a:gd name="connsiteY22632" fmla="*/ 3699567 h 7458372"/>
              <a:gd name="connsiteX22633" fmla="*/ 4817870 w 10505529"/>
              <a:gd name="connsiteY22633" fmla="*/ 3699567 h 7458372"/>
              <a:gd name="connsiteX22634" fmla="*/ 4829585 w 10505529"/>
              <a:gd name="connsiteY22634" fmla="*/ 3702096 h 7458372"/>
              <a:gd name="connsiteX22635" fmla="*/ 4838903 w 10505529"/>
              <a:gd name="connsiteY22635" fmla="*/ 3708486 h 7458372"/>
              <a:gd name="connsiteX22636" fmla="*/ 4845026 w 10505529"/>
              <a:gd name="connsiteY22636" fmla="*/ 3717937 h 7458372"/>
              <a:gd name="connsiteX22637" fmla="*/ 4847289 w 10505529"/>
              <a:gd name="connsiteY22637" fmla="*/ 3729385 h 7458372"/>
              <a:gd name="connsiteX22638" fmla="*/ 4845026 w 10505529"/>
              <a:gd name="connsiteY22638" fmla="*/ 3741100 h 7458372"/>
              <a:gd name="connsiteX22639" fmla="*/ 4838903 w 10505529"/>
              <a:gd name="connsiteY22639" fmla="*/ 3750419 h 7458372"/>
              <a:gd name="connsiteX22640" fmla="*/ 4829585 w 10505529"/>
              <a:gd name="connsiteY22640" fmla="*/ 3756675 h 7458372"/>
              <a:gd name="connsiteX22641" fmla="*/ 4817870 w 10505529"/>
              <a:gd name="connsiteY22641" fmla="*/ 3758938 h 7458372"/>
              <a:gd name="connsiteX22642" fmla="*/ 4796038 w 10505529"/>
              <a:gd name="connsiteY22642" fmla="*/ 3750419 h 7458372"/>
              <a:gd name="connsiteX22643" fmla="*/ 4787652 w 10505529"/>
              <a:gd name="connsiteY22643" fmla="*/ 3729253 h 7458372"/>
              <a:gd name="connsiteX22644" fmla="*/ 4796038 w 10505529"/>
              <a:gd name="connsiteY22644" fmla="*/ 3708220 h 7458372"/>
              <a:gd name="connsiteX22645" fmla="*/ 4817870 w 10505529"/>
              <a:gd name="connsiteY22645" fmla="*/ 3699567 h 7458372"/>
              <a:gd name="connsiteX22646" fmla="*/ 4600226 w 10505529"/>
              <a:gd name="connsiteY22646" fmla="*/ 3699567 h 7458372"/>
              <a:gd name="connsiteX22647" fmla="*/ 4612073 w 10505529"/>
              <a:gd name="connsiteY22647" fmla="*/ 3702096 h 7458372"/>
              <a:gd name="connsiteX22648" fmla="*/ 4621391 w 10505529"/>
              <a:gd name="connsiteY22648" fmla="*/ 3708486 h 7458372"/>
              <a:gd name="connsiteX22649" fmla="*/ 4627514 w 10505529"/>
              <a:gd name="connsiteY22649" fmla="*/ 3717937 h 7458372"/>
              <a:gd name="connsiteX22650" fmla="*/ 4629777 w 10505529"/>
              <a:gd name="connsiteY22650" fmla="*/ 3729385 h 7458372"/>
              <a:gd name="connsiteX22651" fmla="*/ 4627514 w 10505529"/>
              <a:gd name="connsiteY22651" fmla="*/ 3741100 h 7458372"/>
              <a:gd name="connsiteX22652" fmla="*/ 4621391 w 10505529"/>
              <a:gd name="connsiteY22652" fmla="*/ 3750419 h 7458372"/>
              <a:gd name="connsiteX22653" fmla="*/ 4612073 w 10505529"/>
              <a:gd name="connsiteY22653" fmla="*/ 3756675 h 7458372"/>
              <a:gd name="connsiteX22654" fmla="*/ 4600226 w 10505529"/>
              <a:gd name="connsiteY22654" fmla="*/ 3758938 h 7458372"/>
              <a:gd name="connsiteX22655" fmla="*/ 4578393 w 10505529"/>
              <a:gd name="connsiteY22655" fmla="*/ 3750419 h 7458372"/>
              <a:gd name="connsiteX22656" fmla="*/ 4570007 w 10505529"/>
              <a:gd name="connsiteY22656" fmla="*/ 3729253 h 7458372"/>
              <a:gd name="connsiteX22657" fmla="*/ 4578393 w 10505529"/>
              <a:gd name="connsiteY22657" fmla="*/ 3708220 h 7458372"/>
              <a:gd name="connsiteX22658" fmla="*/ 4600226 w 10505529"/>
              <a:gd name="connsiteY22658" fmla="*/ 3699567 h 7458372"/>
              <a:gd name="connsiteX22659" fmla="*/ 4382713 w 10505529"/>
              <a:gd name="connsiteY22659" fmla="*/ 3699567 h 7458372"/>
              <a:gd name="connsiteX22660" fmla="*/ 4394428 w 10505529"/>
              <a:gd name="connsiteY22660" fmla="*/ 3702096 h 7458372"/>
              <a:gd name="connsiteX22661" fmla="*/ 4403746 w 10505529"/>
              <a:gd name="connsiteY22661" fmla="*/ 3708486 h 7458372"/>
              <a:gd name="connsiteX22662" fmla="*/ 4409869 w 10505529"/>
              <a:gd name="connsiteY22662" fmla="*/ 3717937 h 7458372"/>
              <a:gd name="connsiteX22663" fmla="*/ 4412132 w 10505529"/>
              <a:gd name="connsiteY22663" fmla="*/ 3729385 h 7458372"/>
              <a:gd name="connsiteX22664" fmla="*/ 4409869 w 10505529"/>
              <a:gd name="connsiteY22664" fmla="*/ 3741100 h 7458372"/>
              <a:gd name="connsiteX22665" fmla="*/ 4403746 w 10505529"/>
              <a:gd name="connsiteY22665" fmla="*/ 3750419 h 7458372"/>
              <a:gd name="connsiteX22666" fmla="*/ 4394428 w 10505529"/>
              <a:gd name="connsiteY22666" fmla="*/ 3756675 h 7458372"/>
              <a:gd name="connsiteX22667" fmla="*/ 4382713 w 10505529"/>
              <a:gd name="connsiteY22667" fmla="*/ 3758938 h 7458372"/>
              <a:gd name="connsiteX22668" fmla="*/ 4360881 w 10505529"/>
              <a:gd name="connsiteY22668" fmla="*/ 3750419 h 7458372"/>
              <a:gd name="connsiteX22669" fmla="*/ 4352495 w 10505529"/>
              <a:gd name="connsiteY22669" fmla="*/ 3729253 h 7458372"/>
              <a:gd name="connsiteX22670" fmla="*/ 4360881 w 10505529"/>
              <a:gd name="connsiteY22670" fmla="*/ 3708220 h 7458372"/>
              <a:gd name="connsiteX22671" fmla="*/ 4382713 w 10505529"/>
              <a:gd name="connsiteY22671" fmla="*/ 3699567 h 7458372"/>
              <a:gd name="connsiteX22672" fmla="*/ 4165068 w 10505529"/>
              <a:gd name="connsiteY22672" fmla="*/ 3699567 h 7458372"/>
              <a:gd name="connsiteX22673" fmla="*/ 4176782 w 10505529"/>
              <a:gd name="connsiteY22673" fmla="*/ 3702096 h 7458372"/>
              <a:gd name="connsiteX22674" fmla="*/ 4186100 w 10505529"/>
              <a:gd name="connsiteY22674" fmla="*/ 3708486 h 7458372"/>
              <a:gd name="connsiteX22675" fmla="*/ 4192223 w 10505529"/>
              <a:gd name="connsiteY22675" fmla="*/ 3717937 h 7458372"/>
              <a:gd name="connsiteX22676" fmla="*/ 4194486 w 10505529"/>
              <a:gd name="connsiteY22676" fmla="*/ 3729385 h 7458372"/>
              <a:gd name="connsiteX22677" fmla="*/ 4192223 w 10505529"/>
              <a:gd name="connsiteY22677" fmla="*/ 3741100 h 7458372"/>
              <a:gd name="connsiteX22678" fmla="*/ 4186100 w 10505529"/>
              <a:gd name="connsiteY22678" fmla="*/ 3750419 h 7458372"/>
              <a:gd name="connsiteX22679" fmla="*/ 4176782 w 10505529"/>
              <a:gd name="connsiteY22679" fmla="*/ 3756675 h 7458372"/>
              <a:gd name="connsiteX22680" fmla="*/ 4165068 w 10505529"/>
              <a:gd name="connsiteY22680" fmla="*/ 3758938 h 7458372"/>
              <a:gd name="connsiteX22681" fmla="*/ 4143235 w 10505529"/>
              <a:gd name="connsiteY22681" fmla="*/ 3750419 h 7458372"/>
              <a:gd name="connsiteX22682" fmla="*/ 4134849 w 10505529"/>
              <a:gd name="connsiteY22682" fmla="*/ 3729253 h 7458372"/>
              <a:gd name="connsiteX22683" fmla="*/ 4143235 w 10505529"/>
              <a:gd name="connsiteY22683" fmla="*/ 3708220 h 7458372"/>
              <a:gd name="connsiteX22684" fmla="*/ 4165068 w 10505529"/>
              <a:gd name="connsiteY22684" fmla="*/ 3699567 h 7458372"/>
              <a:gd name="connsiteX22685" fmla="*/ 3947628 w 10505529"/>
              <a:gd name="connsiteY22685" fmla="*/ 3699567 h 7458372"/>
              <a:gd name="connsiteX22686" fmla="*/ 3959345 w 10505529"/>
              <a:gd name="connsiteY22686" fmla="*/ 3702096 h 7458372"/>
              <a:gd name="connsiteX22687" fmla="*/ 3968663 w 10505529"/>
              <a:gd name="connsiteY22687" fmla="*/ 3708486 h 7458372"/>
              <a:gd name="connsiteX22688" fmla="*/ 3974787 w 10505529"/>
              <a:gd name="connsiteY22688" fmla="*/ 3717937 h 7458372"/>
              <a:gd name="connsiteX22689" fmla="*/ 3977050 w 10505529"/>
              <a:gd name="connsiteY22689" fmla="*/ 3729385 h 7458372"/>
              <a:gd name="connsiteX22690" fmla="*/ 3974787 w 10505529"/>
              <a:gd name="connsiteY22690" fmla="*/ 3741100 h 7458372"/>
              <a:gd name="connsiteX22691" fmla="*/ 3968663 w 10505529"/>
              <a:gd name="connsiteY22691" fmla="*/ 3750419 h 7458372"/>
              <a:gd name="connsiteX22692" fmla="*/ 3959345 w 10505529"/>
              <a:gd name="connsiteY22692" fmla="*/ 3756675 h 7458372"/>
              <a:gd name="connsiteX22693" fmla="*/ 3947628 w 10505529"/>
              <a:gd name="connsiteY22693" fmla="*/ 3758938 h 7458372"/>
              <a:gd name="connsiteX22694" fmla="*/ 3925795 w 10505529"/>
              <a:gd name="connsiteY22694" fmla="*/ 3750419 h 7458372"/>
              <a:gd name="connsiteX22695" fmla="*/ 3917409 w 10505529"/>
              <a:gd name="connsiteY22695" fmla="*/ 3729253 h 7458372"/>
              <a:gd name="connsiteX22696" fmla="*/ 3925795 w 10505529"/>
              <a:gd name="connsiteY22696" fmla="*/ 3708220 h 7458372"/>
              <a:gd name="connsiteX22697" fmla="*/ 3947628 w 10505529"/>
              <a:gd name="connsiteY22697" fmla="*/ 3699567 h 7458372"/>
              <a:gd name="connsiteX22698" fmla="*/ 3729973 w 10505529"/>
              <a:gd name="connsiteY22698" fmla="*/ 3699567 h 7458372"/>
              <a:gd name="connsiteX22699" fmla="*/ 3741689 w 10505529"/>
              <a:gd name="connsiteY22699" fmla="*/ 3702096 h 7458372"/>
              <a:gd name="connsiteX22700" fmla="*/ 3751007 w 10505529"/>
              <a:gd name="connsiteY22700" fmla="*/ 3708486 h 7458372"/>
              <a:gd name="connsiteX22701" fmla="*/ 3757130 w 10505529"/>
              <a:gd name="connsiteY22701" fmla="*/ 3717937 h 7458372"/>
              <a:gd name="connsiteX22702" fmla="*/ 3759393 w 10505529"/>
              <a:gd name="connsiteY22702" fmla="*/ 3729385 h 7458372"/>
              <a:gd name="connsiteX22703" fmla="*/ 3757130 w 10505529"/>
              <a:gd name="connsiteY22703" fmla="*/ 3741100 h 7458372"/>
              <a:gd name="connsiteX22704" fmla="*/ 3751007 w 10505529"/>
              <a:gd name="connsiteY22704" fmla="*/ 3750419 h 7458372"/>
              <a:gd name="connsiteX22705" fmla="*/ 3741689 w 10505529"/>
              <a:gd name="connsiteY22705" fmla="*/ 3756675 h 7458372"/>
              <a:gd name="connsiteX22706" fmla="*/ 3729973 w 10505529"/>
              <a:gd name="connsiteY22706" fmla="*/ 3758938 h 7458372"/>
              <a:gd name="connsiteX22707" fmla="*/ 3708136 w 10505529"/>
              <a:gd name="connsiteY22707" fmla="*/ 3750419 h 7458372"/>
              <a:gd name="connsiteX22708" fmla="*/ 3699750 w 10505529"/>
              <a:gd name="connsiteY22708" fmla="*/ 3729253 h 7458372"/>
              <a:gd name="connsiteX22709" fmla="*/ 3708136 w 10505529"/>
              <a:gd name="connsiteY22709" fmla="*/ 3708220 h 7458372"/>
              <a:gd name="connsiteX22710" fmla="*/ 3729973 w 10505529"/>
              <a:gd name="connsiteY22710" fmla="*/ 3699567 h 7458372"/>
              <a:gd name="connsiteX22711" fmla="*/ 3512318 w 10505529"/>
              <a:gd name="connsiteY22711" fmla="*/ 3699567 h 7458372"/>
              <a:gd name="connsiteX22712" fmla="*/ 3524033 w 10505529"/>
              <a:gd name="connsiteY22712" fmla="*/ 3702096 h 7458372"/>
              <a:gd name="connsiteX22713" fmla="*/ 3533351 w 10505529"/>
              <a:gd name="connsiteY22713" fmla="*/ 3708486 h 7458372"/>
              <a:gd name="connsiteX22714" fmla="*/ 3539475 w 10505529"/>
              <a:gd name="connsiteY22714" fmla="*/ 3717937 h 7458372"/>
              <a:gd name="connsiteX22715" fmla="*/ 3541738 w 10505529"/>
              <a:gd name="connsiteY22715" fmla="*/ 3729385 h 7458372"/>
              <a:gd name="connsiteX22716" fmla="*/ 3539475 w 10505529"/>
              <a:gd name="connsiteY22716" fmla="*/ 3741100 h 7458372"/>
              <a:gd name="connsiteX22717" fmla="*/ 3533351 w 10505529"/>
              <a:gd name="connsiteY22717" fmla="*/ 3750419 h 7458372"/>
              <a:gd name="connsiteX22718" fmla="*/ 3524033 w 10505529"/>
              <a:gd name="connsiteY22718" fmla="*/ 3756675 h 7458372"/>
              <a:gd name="connsiteX22719" fmla="*/ 3512318 w 10505529"/>
              <a:gd name="connsiteY22719" fmla="*/ 3758938 h 7458372"/>
              <a:gd name="connsiteX22720" fmla="*/ 3490482 w 10505529"/>
              <a:gd name="connsiteY22720" fmla="*/ 3750419 h 7458372"/>
              <a:gd name="connsiteX22721" fmla="*/ 3482096 w 10505529"/>
              <a:gd name="connsiteY22721" fmla="*/ 3729253 h 7458372"/>
              <a:gd name="connsiteX22722" fmla="*/ 3490482 w 10505529"/>
              <a:gd name="connsiteY22722" fmla="*/ 3708220 h 7458372"/>
              <a:gd name="connsiteX22723" fmla="*/ 3512318 w 10505529"/>
              <a:gd name="connsiteY22723" fmla="*/ 3699567 h 7458372"/>
              <a:gd name="connsiteX22724" fmla="*/ 3294795 w 10505529"/>
              <a:gd name="connsiteY22724" fmla="*/ 3699567 h 7458372"/>
              <a:gd name="connsiteX22725" fmla="*/ 3306511 w 10505529"/>
              <a:gd name="connsiteY22725" fmla="*/ 3702096 h 7458372"/>
              <a:gd name="connsiteX22726" fmla="*/ 3315829 w 10505529"/>
              <a:gd name="connsiteY22726" fmla="*/ 3708486 h 7458372"/>
              <a:gd name="connsiteX22727" fmla="*/ 3321952 w 10505529"/>
              <a:gd name="connsiteY22727" fmla="*/ 3717937 h 7458372"/>
              <a:gd name="connsiteX22728" fmla="*/ 3324215 w 10505529"/>
              <a:gd name="connsiteY22728" fmla="*/ 3729385 h 7458372"/>
              <a:gd name="connsiteX22729" fmla="*/ 3321952 w 10505529"/>
              <a:gd name="connsiteY22729" fmla="*/ 3741100 h 7458372"/>
              <a:gd name="connsiteX22730" fmla="*/ 3315829 w 10505529"/>
              <a:gd name="connsiteY22730" fmla="*/ 3750419 h 7458372"/>
              <a:gd name="connsiteX22731" fmla="*/ 3306511 w 10505529"/>
              <a:gd name="connsiteY22731" fmla="*/ 3756675 h 7458372"/>
              <a:gd name="connsiteX22732" fmla="*/ 3294795 w 10505529"/>
              <a:gd name="connsiteY22732" fmla="*/ 3758938 h 7458372"/>
              <a:gd name="connsiteX22733" fmla="*/ 3272959 w 10505529"/>
              <a:gd name="connsiteY22733" fmla="*/ 3750419 h 7458372"/>
              <a:gd name="connsiteX22734" fmla="*/ 3264572 w 10505529"/>
              <a:gd name="connsiteY22734" fmla="*/ 3729253 h 7458372"/>
              <a:gd name="connsiteX22735" fmla="*/ 3272959 w 10505529"/>
              <a:gd name="connsiteY22735" fmla="*/ 3708220 h 7458372"/>
              <a:gd name="connsiteX22736" fmla="*/ 3294795 w 10505529"/>
              <a:gd name="connsiteY22736" fmla="*/ 3699567 h 7458372"/>
              <a:gd name="connsiteX22737" fmla="*/ 3077139 w 10505529"/>
              <a:gd name="connsiteY22737" fmla="*/ 3699567 h 7458372"/>
              <a:gd name="connsiteX22738" fmla="*/ 3088855 w 10505529"/>
              <a:gd name="connsiteY22738" fmla="*/ 3702096 h 7458372"/>
              <a:gd name="connsiteX22739" fmla="*/ 3098173 w 10505529"/>
              <a:gd name="connsiteY22739" fmla="*/ 3708486 h 7458372"/>
              <a:gd name="connsiteX22740" fmla="*/ 3104296 w 10505529"/>
              <a:gd name="connsiteY22740" fmla="*/ 3717937 h 7458372"/>
              <a:gd name="connsiteX22741" fmla="*/ 3106559 w 10505529"/>
              <a:gd name="connsiteY22741" fmla="*/ 3729385 h 7458372"/>
              <a:gd name="connsiteX22742" fmla="*/ 3104296 w 10505529"/>
              <a:gd name="connsiteY22742" fmla="*/ 3741100 h 7458372"/>
              <a:gd name="connsiteX22743" fmla="*/ 3098173 w 10505529"/>
              <a:gd name="connsiteY22743" fmla="*/ 3750419 h 7458372"/>
              <a:gd name="connsiteX22744" fmla="*/ 3088855 w 10505529"/>
              <a:gd name="connsiteY22744" fmla="*/ 3756675 h 7458372"/>
              <a:gd name="connsiteX22745" fmla="*/ 3077139 w 10505529"/>
              <a:gd name="connsiteY22745" fmla="*/ 3758938 h 7458372"/>
              <a:gd name="connsiteX22746" fmla="*/ 3055303 w 10505529"/>
              <a:gd name="connsiteY22746" fmla="*/ 3750419 h 7458372"/>
              <a:gd name="connsiteX22747" fmla="*/ 3046917 w 10505529"/>
              <a:gd name="connsiteY22747" fmla="*/ 3729253 h 7458372"/>
              <a:gd name="connsiteX22748" fmla="*/ 3055303 w 10505529"/>
              <a:gd name="connsiteY22748" fmla="*/ 3708220 h 7458372"/>
              <a:gd name="connsiteX22749" fmla="*/ 3077139 w 10505529"/>
              <a:gd name="connsiteY22749" fmla="*/ 3699567 h 7458372"/>
              <a:gd name="connsiteX22750" fmla="*/ 2859484 w 10505529"/>
              <a:gd name="connsiteY22750" fmla="*/ 3699567 h 7458372"/>
              <a:gd name="connsiteX22751" fmla="*/ 2871332 w 10505529"/>
              <a:gd name="connsiteY22751" fmla="*/ 3702096 h 7458372"/>
              <a:gd name="connsiteX22752" fmla="*/ 2880650 w 10505529"/>
              <a:gd name="connsiteY22752" fmla="*/ 3708486 h 7458372"/>
              <a:gd name="connsiteX22753" fmla="*/ 2886773 w 10505529"/>
              <a:gd name="connsiteY22753" fmla="*/ 3717937 h 7458372"/>
              <a:gd name="connsiteX22754" fmla="*/ 2889036 w 10505529"/>
              <a:gd name="connsiteY22754" fmla="*/ 3729385 h 7458372"/>
              <a:gd name="connsiteX22755" fmla="*/ 2886773 w 10505529"/>
              <a:gd name="connsiteY22755" fmla="*/ 3741100 h 7458372"/>
              <a:gd name="connsiteX22756" fmla="*/ 2880650 w 10505529"/>
              <a:gd name="connsiteY22756" fmla="*/ 3750419 h 7458372"/>
              <a:gd name="connsiteX22757" fmla="*/ 2871332 w 10505529"/>
              <a:gd name="connsiteY22757" fmla="*/ 3756675 h 7458372"/>
              <a:gd name="connsiteX22758" fmla="*/ 2859484 w 10505529"/>
              <a:gd name="connsiteY22758" fmla="*/ 3758938 h 7458372"/>
              <a:gd name="connsiteX22759" fmla="*/ 2837648 w 10505529"/>
              <a:gd name="connsiteY22759" fmla="*/ 3750419 h 7458372"/>
              <a:gd name="connsiteX22760" fmla="*/ 2829261 w 10505529"/>
              <a:gd name="connsiteY22760" fmla="*/ 3729253 h 7458372"/>
              <a:gd name="connsiteX22761" fmla="*/ 2837648 w 10505529"/>
              <a:gd name="connsiteY22761" fmla="*/ 3708220 h 7458372"/>
              <a:gd name="connsiteX22762" fmla="*/ 2859484 w 10505529"/>
              <a:gd name="connsiteY22762" fmla="*/ 3699567 h 7458372"/>
              <a:gd name="connsiteX22763" fmla="*/ 2641828 w 10505529"/>
              <a:gd name="connsiteY22763" fmla="*/ 3699567 h 7458372"/>
              <a:gd name="connsiteX22764" fmla="*/ 2653543 w 10505529"/>
              <a:gd name="connsiteY22764" fmla="*/ 3702096 h 7458372"/>
              <a:gd name="connsiteX22765" fmla="*/ 2662861 w 10505529"/>
              <a:gd name="connsiteY22765" fmla="*/ 3708486 h 7458372"/>
              <a:gd name="connsiteX22766" fmla="*/ 2668985 w 10505529"/>
              <a:gd name="connsiteY22766" fmla="*/ 3717937 h 7458372"/>
              <a:gd name="connsiteX22767" fmla="*/ 2671247 w 10505529"/>
              <a:gd name="connsiteY22767" fmla="*/ 3729385 h 7458372"/>
              <a:gd name="connsiteX22768" fmla="*/ 2668985 w 10505529"/>
              <a:gd name="connsiteY22768" fmla="*/ 3741100 h 7458372"/>
              <a:gd name="connsiteX22769" fmla="*/ 2662861 w 10505529"/>
              <a:gd name="connsiteY22769" fmla="*/ 3750419 h 7458372"/>
              <a:gd name="connsiteX22770" fmla="*/ 2653543 w 10505529"/>
              <a:gd name="connsiteY22770" fmla="*/ 3756675 h 7458372"/>
              <a:gd name="connsiteX22771" fmla="*/ 2641828 w 10505529"/>
              <a:gd name="connsiteY22771" fmla="*/ 3758938 h 7458372"/>
              <a:gd name="connsiteX22772" fmla="*/ 2619995 w 10505529"/>
              <a:gd name="connsiteY22772" fmla="*/ 3750419 h 7458372"/>
              <a:gd name="connsiteX22773" fmla="*/ 2611606 w 10505529"/>
              <a:gd name="connsiteY22773" fmla="*/ 3729253 h 7458372"/>
              <a:gd name="connsiteX22774" fmla="*/ 2619995 w 10505529"/>
              <a:gd name="connsiteY22774" fmla="*/ 3708220 h 7458372"/>
              <a:gd name="connsiteX22775" fmla="*/ 2641828 w 10505529"/>
              <a:gd name="connsiteY22775" fmla="*/ 3699567 h 7458372"/>
              <a:gd name="connsiteX22776" fmla="*/ 2424172 w 10505529"/>
              <a:gd name="connsiteY22776" fmla="*/ 3699567 h 7458372"/>
              <a:gd name="connsiteX22777" fmla="*/ 2435887 w 10505529"/>
              <a:gd name="connsiteY22777" fmla="*/ 3702096 h 7458372"/>
              <a:gd name="connsiteX22778" fmla="*/ 2445205 w 10505529"/>
              <a:gd name="connsiteY22778" fmla="*/ 3708486 h 7458372"/>
              <a:gd name="connsiteX22779" fmla="*/ 2451329 w 10505529"/>
              <a:gd name="connsiteY22779" fmla="*/ 3717937 h 7458372"/>
              <a:gd name="connsiteX22780" fmla="*/ 2453591 w 10505529"/>
              <a:gd name="connsiteY22780" fmla="*/ 3729385 h 7458372"/>
              <a:gd name="connsiteX22781" fmla="*/ 2451329 w 10505529"/>
              <a:gd name="connsiteY22781" fmla="*/ 3741100 h 7458372"/>
              <a:gd name="connsiteX22782" fmla="*/ 2445205 w 10505529"/>
              <a:gd name="connsiteY22782" fmla="*/ 3750419 h 7458372"/>
              <a:gd name="connsiteX22783" fmla="*/ 2435887 w 10505529"/>
              <a:gd name="connsiteY22783" fmla="*/ 3756675 h 7458372"/>
              <a:gd name="connsiteX22784" fmla="*/ 2424172 w 10505529"/>
              <a:gd name="connsiteY22784" fmla="*/ 3758938 h 7458372"/>
              <a:gd name="connsiteX22785" fmla="*/ 2402340 w 10505529"/>
              <a:gd name="connsiteY22785" fmla="*/ 3750419 h 7458372"/>
              <a:gd name="connsiteX22786" fmla="*/ 2393952 w 10505529"/>
              <a:gd name="connsiteY22786" fmla="*/ 3729253 h 7458372"/>
              <a:gd name="connsiteX22787" fmla="*/ 2402340 w 10505529"/>
              <a:gd name="connsiteY22787" fmla="*/ 3708220 h 7458372"/>
              <a:gd name="connsiteX22788" fmla="*/ 2424172 w 10505529"/>
              <a:gd name="connsiteY22788" fmla="*/ 3699567 h 7458372"/>
              <a:gd name="connsiteX22789" fmla="*/ 2206516 w 10505529"/>
              <a:gd name="connsiteY22789" fmla="*/ 3699567 h 7458372"/>
              <a:gd name="connsiteX22790" fmla="*/ 2218231 w 10505529"/>
              <a:gd name="connsiteY22790" fmla="*/ 3702096 h 7458372"/>
              <a:gd name="connsiteX22791" fmla="*/ 2227550 w 10505529"/>
              <a:gd name="connsiteY22791" fmla="*/ 3708486 h 7458372"/>
              <a:gd name="connsiteX22792" fmla="*/ 2233672 w 10505529"/>
              <a:gd name="connsiteY22792" fmla="*/ 3717937 h 7458372"/>
              <a:gd name="connsiteX22793" fmla="*/ 2235935 w 10505529"/>
              <a:gd name="connsiteY22793" fmla="*/ 3729385 h 7458372"/>
              <a:gd name="connsiteX22794" fmla="*/ 2233672 w 10505529"/>
              <a:gd name="connsiteY22794" fmla="*/ 3741100 h 7458372"/>
              <a:gd name="connsiteX22795" fmla="*/ 2227550 w 10505529"/>
              <a:gd name="connsiteY22795" fmla="*/ 3750419 h 7458372"/>
              <a:gd name="connsiteX22796" fmla="*/ 2218231 w 10505529"/>
              <a:gd name="connsiteY22796" fmla="*/ 3756675 h 7458372"/>
              <a:gd name="connsiteX22797" fmla="*/ 2206516 w 10505529"/>
              <a:gd name="connsiteY22797" fmla="*/ 3758938 h 7458372"/>
              <a:gd name="connsiteX22798" fmla="*/ 2184684 w 10505529"/>
              <a:gd name="connsiteY22798" fmla="*/ 3750419 h 7458372"/>
              <a:gd name="connsiteX22799" fmla="*/ 2176296 w 10505529"/>
              <a:gd name="connsiteY22799" fmla="*/ 3729253 h 7458372"/>
              <a:gd name="connsiteX22800" fmla="*/ 2184684 w 10505529"/>
              <a:gd name="connsiteY22800" fmla="*/ 3708220 h 7458372"/>
              <a:gd name="connsiteX22801" fmla="*/ 2206516 w 10505529"/>
              <a:gd name="connsiteY22801" fmla="*/ 3699567 h 7458372"/>
              <a:gd name="connsiteX22802" fmla="*/ 1988993 w 10505529"/>
              <a:gd name="connsiteY22802" fmla="*/ 3699567 h 7458372"/>
              <a:gd name="connsiteX22803" fmla="*/ 2000709 w 10505529"/>
              <a:gd name="connsiteY22803" fmla="*/ 3702096 h 7458372"/>
              <a:gd name="connsiteX22804" fmla="*/ 2010027 w 10505529"/>
              <a:gd name="connsiteY22804" fmla="*/ 3708486 h 7458372"/>
              <a:gd name="connsiteX22805" fmla="*/ 2016150 w 10505529"/>
              <a:gd name="connsiteY22805" fmla="*/ 3717937 h 7458372"/>
              <a:gd name="connsiteX22806" fmla="*/ 2018413 w 10505529"/>
              <a:gd name="connsiteY22806" fmla="*/ 3729385 h 7458372"/>
              <a:gd name="connsiteX22807" fmla="*/ 2016150 w 10505529"/>
              <a:gd name="connsiteY22807" fmla="*/ 3741100 h 7458372"/>
              <a:gd name="connsiteX22808" fmla="*/ 2010027 w 10505529"/>
              <a:gd name="connsiteY22808" fmla="*/ 3750419 h 7458372"/>
              <a:gd name="connsiteX22809" fmla="*/ 2000709 w 10505529"/>
              <a:gd name="connsiteY22809" fmla="*/ 3756675 h 7458372"/>
              <a:gd name="connsiteX22810" fmla="*/ 1988993 w 10505529"/>
              <a:gd name="connsiteY22810" fmla="*/ 3758938 h 7458372"/>
              <a:gd name="connsiteX22811" fmla="*/ 1967162 w 10505529"/>
              <a:gd name="connsiteY22811" fmla="*/ 3750419 h 7458372"/>
              <a:gd name="connsiteX22812" fmla="*/ 1958776 w 10505529"/>
              <a:gd name="connsiteY22812" fmla="*/ 3729253 h 7458372"/>
              <a:gd name="connsiteX22813" fmla="*/ 1967162 w 10505529"/>
              <a:gd name="connsiteY22813" fmla="*/ 3708220 h 7458372"/>
              <a:gd name="connsiteX22814" fmla="*/ 1988993 w 10505529"/>
              <a:gd name="connsiteY22814" fmla="*/ 3699567 h 7458372"/>
              <a:gd name="connsiteX22815" fmla="*/ 1771356 w 10505529"/>
              <a:gd name="connsiteY22815" fmla="*/ 3699567 h 7458372"/>
              <a:gd name="connsiteX22816" fmla="*/ 1783070 w 10505529"/>
              <a:gd name="connsiteY22816" fmla="*/ 3702096 h 7458372"/>
              <a:gd name="connsiteX22817" fmla="*/ 1792388 w 10505529"/>
              <a:gd name="connsiteY22817" fmla="*/ 3708486 h 7458372"/>
              <a:gd name="connsiteX22818" fmla="*/ 1798511 w 10505529"/>
              <a:gd name="connsiteY22818" fmla="*/ 3717937 h 7458372"/>
              <a:gd name="connsiteX22819" fmla="*/ 1800773 w 10505529"/>
              <a:gd name="connsiteY22819" fmla="*/ 3729385 h 7458372"/>
              <a:gd name="connsiteX22820" fmla="*/ 1798511 w 10505529"/>
              <a:gd name="connsiteY22820" fmla="*/ 3741100 h 7458372"/>
              <a:gd name="connsiteX22821" fmla="*/ 1792388 w 10505529"/>
              <a:gd name="connsiteY22821" fmla="*/ 3750419 h 7458372"/>
              <a:gd name="connsiteX22822" fmla="*/ 1783070 w 10505529"/>
              <a:gd name="connsiteY22822" fmla="*/ 3756675 h 7458372"/>
              <a:gd name="connsiteX22823" fmla="*/ 1771356 w 10505529"/>
              <a:gd name="connsiteY22823" fmla="*/ 3758938 h 7458372"/>
              <a:gd name="connsiteX22824" fmla="*/ 1749526 w 10505529"/>
              <a:gd name="connsiteY22824" fmla="*/ 3750419 h 7458372"/>
              <a:gd name="connsiteX22825" fmla="*/ 1741142 w 10505529"/>
              <a:gd name="connsiteY22825" fmla="*/ 3729253 h 7458372"/>
              <a:gd name="connsiteX22826" fmla="*/ 1749526 w 10505529"/>
              <a:gd name="connsiteY22826" fmla="*/ 3708220 h 7458372"/>
              <a:gd name="connsiteX22827" fmla="*/ 1771356 w 10505529"/>
              <a:gd name="connsiteY22827" fmla="*/ 3699567 h 7458372"/>
              <a:gd name="connsiteX22828" fmla="*/ 1553716 w 10505529"/>
              <a:gd name="connsiteY22828" fmla="*/ 3699567 h 7458372"/>
              <a:gd name="connsiteX22829" fmla="*/ 1565431 w 10505529"/>
              <a:gd name="connsiteY22829" fmla="*/ 3702096 h 7458372"/>
              <a:gd name="connsiteX22830" fmla="*/ 1574749 w 10505529"/>
              <a:gd name="connsiteY22830" fmla="*/ 3708486 h 7458372"/>
              <a:gd name="connsiteX22831" fmla="*/ 1580872 w 10505529"/>
              <a:gd name="connsiteY22831" fmla="*/ 3717937 h 7458372"/>
              <a:gd name="connsiteX22832" fmla="*/ 1583135 w 10505529"/>
              <a:gd name="connsiteY22832" fmla="*/ 3729385 h 7458372"/>
              <a:gd name="connsiteX22833" fmla="*/ 1580872 w 10505529"/>
              <a:gd name="connsiteY22833" fmla="*/ 3741100 h 7458372"/>
              <a:gd name="connsiteX22834" fmla="*/ 1574749 w 10505529"/>
              <a:gd name="connsiteY22834" fmla="*/ 3750419 h 7458372"/>
              <a:gd name="connsiteX22835" fmla="*/ 1565431 w 10505529"/>
              <a:gd name="connsiteY22835" fmla="*/ 3756675 h 7458372"/>
              <a:gd name="connsiteX22836" fmla="*/ 1553716 w 10505529"/>
              <a:gd name="connsiteY22836" fmla="*/ 3758938 h 7458372"/>
              <a:gd name="connsiteX22837" fmla="*/ 1531886 w 10505529"/>
              <a:gd name="connsiteY22837" fmla="*/ 3750419 h 7458372"/>
              <a:gd name="connsiteX22838" fmla="*/ 1523500 w 10505529"/>
              <a:gd name="connsiteY22838" fmla="*/ 3729253 h 7458372"/>
              <a:gd name="connsiteX22839" fmla="*/ 1531886 w 10505529"/>
              <a:gd name="connsiteY22839" fmla="*/ 3708220 h 7458372"/>
              <a:gd name="connsiteX22840" fmla="*/ 1553716 w 10505529"/>
              <a:gd name="connsiteY22840" fmla="*/ 3699567 h 7458372"/>
              <a:gd name="connsiteX22841" fmla="*/ 1336072 w 10505529"/>
              <a:gd name="connsiteY22841" fmla="*/ 3699567 h 7458372"/>
              <a:gd name="connsiteX22842" fmla="*/ 1347788 w 10505529"/>
              <a:gd name="connsiteY22842" fmla="*/ 3702096 h 7458372"/>
              <a:gd name="connsiteX22843" fmla="*/ 1357106 w 10505529"/>
              <a:gd name="connsiteY22843" fmla="*/ 3708486 h 7458372"/>
              <a:gd name="connsiteX22844" fmla="*/ 1363229 w 10505529"/>
              <a:gd name="connsiteY22844" fmla="*/ 3717937 h 7458372"/>
              <a:gd name="connsiteX22845" fmla="*/ 1365491 w 10505529"/>
              <a:gd name="connsiteY22845" fmla="*/ 3729385 h 7458372"/>
              <a:gd name="connsiteX22846" fmla="*/ 1363229 w 10505529"/>
              <a:gd name="connsiteY22846" fmla="*/ 3741100 h 7458372"/>
              <a:gd name="connsiteX22847" fmla="*/ 1357106 w 10505529"/>
              <a:gd name="connsiteY22847" fmla="*/ 3750419 h 7458372"/>
              <a:gd name="connsiteX22848" fmla="*/ 1347788 w 10505529"/>
              <a:gd name="connsiteY22848" fmla="*/ 3756675 h 7458372"/>
              <a:gd name="connsiteX22849" fmla="*/ 1336072 w 10505529"/>
              <a:gd name="connsiteY22849" fmla="*/ 3758938 h 7458372"/>
              <a:gd name="connsiteX22850" fmla="*/ 1314239 w 10505529"/>
              <a:gd name="connsiteY22850" fmla="*/ 3750419 h 7458372"/>
              <a:gd name="connsiteX22851" fmla="*/ 1305854 w 10505529"/>
              <a:gd name="connsiteY22851" fmla="*/ 3729253 h 7458372"/>
              <a:gd name="connsiteX22852" fmla="*/ 1314239 w 10505529"/>
              <a:gd name="connsiteY22852" fmla="*/ 3708220 h 7458372"/>
              <a:gd name="connsiteX22853" fmla="*/ 1336072 w 10505529"/>
              <a:gd name="connsiteY22853" fmla="*/ 3699567 h 7458372"/>
              <a:gd name="connsiteX22854" fmla="*/ 1118427 w 10505529"/>
              <a:gd name="connsiteY22854" fmla="*/ 3699567 h 7458372"/>
              <a:gd name="connsiteX22855" fmla="*/ 1130144 w 10505529"/>
              <a:gd name="connsiteY22855" fmla="*/ 3702096 h 7458372"/>
              <a:gd name="connsiteX22856" fmla="*/ 1139460 w 10505529"/>
              <a:gd name="connsiteY22856" fmla="*/ 3708486 h 7458372"/>
              <a:gd name="connsiteX22857" fmla="*/ 1145581 w 10505529"/>
              <a:gd name="connsiteY22857" fmla="*/ 3717937 h 7458372"/>
              <a:gd name="connsiteX22858" fmla="*/ 1147844 w 10505529"/>
              <a:gd name="connsiteY22858" fmla="*/ 3729385 h 7458372"/>
              <a:gd name="connsiteX22859" fmla="*/ 1145581 w 10505529"/>
              <a:gd name="connsiteY22859" fmla="*/ 3741100 h 7458372"/>
              <a:gd name="connsiteX22860" fmla="*/ 1139460 w 10505529"/>
              <a:gd name="connsiteY22860" fmla="*/ 3750419 h 7458372"/>
              <a:gd name="connsiteX22861" fmla="*/ 1130144 w 10505529"/>
              <a:gd name="connsiteY22861" fmla="*/ 3756675 h 7458372"/>
              <a:gd name="connsiteX22862" fmla="*/ 1118427 w 10505529"/>
              <a:gd name="connsiteY22862" fmla="*/ 3758938 h 7458372"/>
              <a:gd name="connsiteX22863" fmla="*/ 1096593 w 10505529"/>
              <a:gd name="connsiteY22863" fmla="*/ 3750419 h 7458372"/>
              <a:gd name="connsiteX22864" fmla="*/ 1088208 w 10505529"/>
              <a:gd name="connsiteY22864" fmla="*/ 3729253 h 7458372"/>
              <a:gd name="connsiteX22865" fmla="*/ 1096593 w 10505529"/>
              <a:gd name="connsiteY22865" fmla="*/ 3708220 h 7458372"/>
              <a:gd name="connsiteX22866" fmla="*/ 1118427 w 10505529"/>
              <a:gd name="connsiteY22866" fmla="*/ 3699567 h 7458372"/>
              <a:gd name="connsiteX22867" fmla="*/ 900914 w 10505529"/>
              <a:gd name="connsiteY22867" fmla="*/ 3699567 h 7458372"/>
              <a:gd name="connsiteX22868" fmla="*/ 912629 w 10505529"/>
              <a:gd name="connsiteY22868" fmla="*/ 3702096 h 7458372"/>
              <a:gd name="connsiteX22869" fmla="*/ 921948 w 10505529"/>
              <a:gd name="connsiteY22869" fmla="*/ 3708486 h 7458372"/>
              <a:gd name="connsiteX22870" fmla="*/ 928070 w 10505529"/>
              <a:gd name="connsiteY22870" fmla="*/ 3717937 h 7458372"/>
              <a:gd name="connsiteX22871" fmla="*/ 930333 w 10505529"/>
              <a:gd name="connsiteY22871" fmla="*/ 3729385 h 7458372"/>
              <a:gd name="connsiteX22872" fmla="*/ 928070 w 10505529"/>
              <a:gd name="connsiteY22872" fmla="*/ 3741100 h 7458372"/>
              <a:gd name="connsiteX22873" fmla="*/ 921948 w 10505529"/>
              <a:gd name="connsiteY22873" fmla="*/ 3750419 h 7458372"/>
              <a:gd name="connsiteX22874" fmla="*/ 912629 w 10505529"/>
              <a:gd name="connsiteY22874" fmla="*/ 3756675 h 7458372"/>
              <a:gd name="connsiteX22875" fmla="*/ 900914 w 10505529"/>
              <a:gd name="connsiteY22875" fmla="*/ 3758938 h 7458372"/>
              <a:gd name="connsiteX22876" fmla="*/ 879083 w 10505529"/>
              <a:gd name="connsiteY22876" fmla="*/ 3750419 h 7458372"/>
              <a:gd name="connsiteX22877" fmla="*/ 870698 w 10505529"/>
              <a:gd name="connsiteY22877" fmla="*/ 3729253 h 7458372"/>
              <a:gd name="connsiteX22878" fmla="*/ 879083 w 10505529"/>
              <a:gd name="connsiteY22878" fmla="*/ 3708220 h 7458372"/>
              <a:gd name="connsiteX22879" fmla="*/ 900914 w 10505529"/>
              <a:gd name="connsiteY22879" fmla="*/ 3699567 h 7458372"/>
              <a:gd name="connsiteX22880" fmla="*/ 683273 w 10505529"/>
              <a:gd name="connsiteY22880" fmla="*/ 3699567 h 7458372"/>
              <a:gd name="connsiteX22881" fmla="*/ 694988 w 10505529"/>
              <a:gd name="connsiteY22881" fmla="*/ 3702096 h 7458372"/>
              <a:gd name="connsiteX22882" fmla="*/ 704305 w 10505529"/>
              <a:gd name="connsiteY22882" fmla="*/ 3708486 h 7458372"/>
              <a:gd name="connsiteX22883" fmla="*/ 710428 w 10505529"/>
              <a:gd name="connsiteY22883" fmla="*/ 3717937 h 7458372"/>
              <a:gd name="connsiteX22884" fmla="*/ 712691 w 10505529"/>
              <a:gd name="connsiteY22884" fmla="*/ 3729385 h 7458372"/>
              <a:gd name="connsiteX22885" fmla="*/ 710428 w 10505529"/>
              <a:gd name="connsiteY22885" fmla="*/ 3741100 h 7458372"/>
              <a:gd name="connsiteX22886" fmla="*/ 704305 w 10505529"/>
              <a:gd name="connsiteY22886" fmla="*/ 3750419 h 7458372"/>
              <a:gd name="connsiteX22887" fmla="*/ 694988 w 10505529"/>
              <a:gd name="connsiteY22887" fmla="*/ 3756675 h 7458372"/>
              <a:gd name="connsiteX22888" fmla="*/ 683273 w 10505529"/>
              <a:gd name="connsiteY22888" fmla="*/ 3758938 h 7458372"/>
              <a:gd name="connsiteX22889" fmla="*/ 661441 w 10505529"/>
              <a:gd name="connsiteY22889" fmla="*/ 3750419 h 7458372"/>
              <a:gd name="connsiteX22890" fmla="*/ 653055 w 10505529"/>
              <a:gd name="connsiteY22890" fmla="*/ 3729253 h 7458372"/>
              <a:gd name="connsiteX22891" fmla="*/ 661441 w 10505529"/>
              <a:gd name="connsiteY22891" fmla="*/ 3708220 h 7458372"/>
              <a:gd name="connsiteX22892" fmla="*/ 683273 w 10505529"/>
              <a:gd name="connsiteY22892" fmla="*/ 3699567 h 7458372"/>
              <a:gd name="connsiteX22893" fmla="*/ 465630 w 10505529"/>
              <a:gd name="connsiteY22893" fmla="*/ 3699567 h 7458372"/>
              <a:gd name="connsiteX22894" fmla="*/ 477345 w 10505529"/>
              <a:gd name="connsiteY22894" fmla="*/ 3702096 h 7458372"/>
              <a:gd name="connsiteX22895" fmla="*/ 486663 w 10505529"/>
              <a:gd name="connsiteY22895" fmla="*/ 3708486 h 7458372"/>
              <a:gd name="connsiteX22896" fmla="*/ 492786 w 10505529"/>
              <a:gd name="connsiteY22896" fmla="*/ 3717937 h 7458372"/>
              <a:gd name="connsiteX22897" fmla="*/ 495049 w 10505529"/>
              <a:gd name="connsiteY22897" fmla="*/ 3729385 h 7458372"/>
              <a:gd name="connsiteX22898" fmla="*/ 492786 w 10505529"/>
              <a:gd name="connsiteY22898" fmla="*/ 3741100 h 7458372"/>
              <a:gd name="connsiteX22899" fmla="*/ 486663 w 10505529"/>
              <a:gd name="connsiteY22899" fmla="*/ 3750419 h 7458372"/>
              <a:gd name="connsiteX22900" fmla="*/ 477345 w 10505529"/>
              <a:gd name="connsiteY22900" fmla="*/ 3756675 h 7458372"/>
              <a:gd name="connsiteX22901" fmla="*/ 465630 w 10505529"/>
              <a:gd name="connsiteY22901" fmla="*/ 3758938 h 7458372"/>
              <a:gd name="connsiteX22902" fmla="*/ 443799 w 10505529"/>
              <a:gd name="connsiteY22902" fmla="*/ 3750419 h 7458372"/>
              <a:gd name="connsiteX22903" fmla="*/ 435413 w 10505529"/>
              <a:gd name="connsiteY22903" fmla="*/ 3729253 h 7458372"/>
              <a:gd name="connsiteX22904" fmla="*/ 443799 w 10505529"/>
              <a:gd name="connsiteY22904" fmla="*/ 3708220 h 7458372"/>
              <a:gd name="connsiteX22905" fmla="*/ 465630 w 10505529"/>
              <a:gd name="connsiteY22905" fmla="*/ 3699567 h 7458372"/>
              <a:gd name="connsiteX22906" fmla="*/ 247987 w 10505529"/>
              <a:gd name="connsiteY22906" fmla="*/ 3699567 h 7458372"/>
              <a:gd name="connsiteX22907" fmla="*/ 259702 w 10505529"/>
              <a:gd name="connsiteY22907" fmla="*/ 3702096 h 7458372"/>
              <a:gd name="connsiteX22908" fmla="*/ 269020 w 10505529"/>
              <a:gd name="connsiteY22908" fmla="*/ 3708486 h 7458372"/>
              <a:gd name="connsiteX22909" fmla="*/ 275143 w 10505529"/>
              <a:gd name="connsiteY22909" fmla="*/ 3717937 h 7458372"/>
              <a:gd name="connsiteX22910" fmla="*/ 277406 w 10505529"/>
              <a:gd name="connsiteY22910" fmla="*/ 3729385 h 7458372"/>
              <a:gd name="connsiteX22911" fmla="*/ 275143 w 10505529"/>
              <a:gd name="connsiteY22911" fmla="*/ 3741100 h 7458372"/>
              <a:gd name="connsiteX22912" fmla="*/ 269020 w 10505529"/>
              <a:gd name="connsiteY22912" fmla="*/ 3750419 h 7458372"/>
              <a:gd name="connsiteX22913" fmla="*/ 259702 w 10505529"/>
              <a:gd name="connsiteY22913" fmla="*/ 3756675 h 7458372"/>
              <a:gd name="connsiteX22914" fmla="*/ 247987 w 10505529"/>
              <a:gd name="connsiteY22914" fmla="*/ 3758938 h 7458372"/>
              <a:gd name="connsiteX22915" fmla="*/ 226157 w 10505529"/>
              <a:gd name="connsiteY22915" fmla="*/ 3750419 h 7458372"/>
              <a:gd name="connsiteX22916" fmla="*/ 217772 w 10505529"/>
              <a:gd name="connsiteY22916" fmla="*/ 3729253 h 7458372"/>
              <a:gd name="connsiteX22917" fmla="*/ 226157 w 10505529"/>
              <a:gd name="connsiteY22917" fmla="*/ 3708220 h 7458372"/>
              <a:gd name="connsiteX22918" fmla="*/ 247987 w 10505529"/>
              <a:gd name="connsiteY22918" fmla="*/ 3699567 h 7458372"/>
              <a:gd name="connsiteX22919" fmla="*/ 30345 w 10505529"/>
              <a:gd name="connsiteY22919" fmla="*/ 3699567 h 7458372"/>
              <a:gd name="connsiteX22920" fmla="*/ 42060 w 10505529"/>
              <a:gd name="connsiteY22920" fmla="*/ 3702096 h 7458372"/>
              <a:gd name="connsiteX22921" fmla="*/ 51378 w 10505529"/>
              <a:gd name="connsiteY22921" fmla="*/ 3708486 h 7458372"/>
              <a:gd name="connsiteX22922" fmla="*/ 57501 w 10505529"/>
              <a:gd name="connsiteY22922" fmla="*/ 3717937 h 7458372"/>
              <a:gd name="connsiteX22923" fmla="*/ 59764 w 10505529"/>
              <a:gd name="connsiteY22923" fmla="*/ 3729385 h 7458372"/>
              <a:gd name="connsiteX22924" fmla="*/ 57501 w 10505529"/>
              <a:gd name="connsiteY22924" fmla="*/ 3741100 h 7458372"/>
              <a:gd name="connsiteX22925" fmla="*/ 51378 w 10505529"/>
              <a:gd name="connsiteY22925" fmla="*/ 3750419 h 7458372"/>
              <a:gd name="connsiteX22926" fmla="*/ 42060 w 10505529"/>
              <a:gd name="connsiteY22926" fmla="*/ 3756675 h 7458372"/>
              <a:gd name="connsiteX22927" fmla="*/ 30345 w 10505529"/>
              <a:gd name="connsiteY22927" fmla="*/ 3758938 h 7458372"/>
              <a:gd name="connsiteX22928" fmla="*/ 8516 w 10505529"/>
              <a:gd name="connsiteY22928" fmla="*/ 3750419 h 7458372"/>
              <a:gd name="connsiteX22929" fmla="*/ 130 w 10505529"/>
              <a:gd name="connsiteY22929" fmla="*/ 3729253 h 7458372"/>
              <a:gd name="connsiteX22930" fmla="*/ 8516 w 10505529"/>
              <a:gd name="connsiteY22930" fmla="*/ 3708220 h 7458372"/>
              <a:gd name="connsiteX22931" fmla="*/ 30345 w 10505529"/>
              <a:gd name="connsiteY22931" fmla="*/ 3699567 h 7458372"/>
              <a:gd name="connsiteX22932" fmla="*/ 10475977 w 10505529"/>
              <a:gd name="connsiteY22932" fmla="*/ 3498563 h 7458372"/>
              <a:gd name="connsiteX22933" fmla="*/ 10465992 w 10505529"/>
              <a:gd name="connsiteY22933" fmla="*/ 3502157 h 7458372"/>
              <a:gd name="connsiteX22934" fmla="*/ 10462399 w 10505529"/>
              <a:gd name="connsiteY22934" fmla="*/ 3511608 h 7458372"/>
              <a:gd name="connsiteX22935" fmla="*/ 10465992 w 10505529"/>
              <a:gd name="connsiteY22935" fmla="*/ 3521059 h 7458372"/>
              <a:gd name="connsiteX22936" fmla="*/ 10475977 w 10505529"/>
              <a:gd name="connsiteY22936" fmla="*/ 3524520 h 7458372"/>
              <a:gd name="connsiteX22937" fmla="*/ 10481302 w 10505529"/>
              <a:gd name="connsiteY22937" fmla="*/ 3523722 h 7458372"/>
              <a:gd name="connsiteX22938" fmla="*/ 10485029 w 10505529"/>
              <a:gd name="connsiteY22938" fmla="*/ 3521325 h 7458372"/>
              <a:gd name="connsiteX22939" fmla="*/ 10487691 w 10505529"/>
              <a:gd name="connsiteY22939" fmla="*/ 3517066 h 7458372"/>
              <a:gd name="connsiteX22940" fmla="*/ 10488623 w 10505529"/>
              <a:gd name="connsiteY22940" fmla="*/ 3511608 h 7458372"/>
              <a:gd name="connsiteX22941" fmla="*/ 10487691 w 10505529"/>
              <a:gd name="connsiteY22941" fmla="*/ 3506416 h 7458372"/>
              <a:gd name="connsiteX22942" fmla="*/ 10485029 w 10505529"/>
              <a:gd name="connsiteY22942" fmla="*/ 3502157 h 7458372"/>
              <a:gd name="connsiteX22943" fmla="*/ 10481035 w 10505529"/>
              <a:gd name="connsiteY22943" fmla="*/ 3499495 h 7458372"/>
              <a:gd name="connsiteX22944" fmla="*/ 10475977 w 10505529"/>
              <a:gd name="connsiteY22944" fmla="*/ 3498563 h 7458372"/>
              <a:gd name="connsiteX22945" fmla="*/ 10258466 w 10505529"/>
              <a:gd name="connsiteY22945" fmla="*/ 3498563 h 7458372"/>
              <a:gd name="connsiteX22946" fmla="*/ 10248481 w 10505529"/>
              <a:gd name="connsiteY22946" fmla="*/ 3502157 h 7458372"/>
              <a:gd name="connsiteX22947" fmla="*/ 10244887 w 10505529"/>
              <a:gd name="connsiteY22947" fmla="*/ 3511608 h 7458372"/>
              <a:gd name="connsiteX22948" fmla="*/ 10248481 w 10505529"/>
              <a:gd name="connsiteY22948" fmla="*/ 3521059 h 7458372"/>
              <a:gd name="connsiteX22949" fmla="*/ 10258466 w 10505529"/>
              <a:gd name="connsiteY22949" fmla="*/ 3524520 h 7458372"/>
              <a:gd name="connsiteX22950" fmla="*/ 10263790 w 10505529"/>
              <a:gd name="connsiteY22950" fmla="*/ 3523722 h 7458372"/>
              <a:gd name="connsiteX22951" fmla="*/ 10267517 w 10505529"/>
              <a:gd name="connsiteY22951" fmla="*/ 3521325 h 7458372"/>
              <a:gd name="connsiteX22952" fmla="*/ 10270180 w 10505529"/>
              <a:gd name="connsiteY22952" fmla="*/ 3517066 h 7458372"/>
              <a:gd name="connsiteX22953" fmla="*/ 10271112 w 10505529"/>
              <a:gd name="connsiteY22953" fmla="*/ 3511608 h 7458372"/>
              <a:gd name="connsiteX22954" fmla="*/ 10270180 w 10505529"/>
              <a:gd name="connsiteY22954" fmla="*/ 3506416 h 7458372"/>
              <a:gd name="connsiteX22955" fmla="*/ 10267517 w 10505529"/>
              <a:gd name="connsiteY22955" fmla="*/ 3502157 h 7458372"/>
              <a:gd name="connsiteX22956" fmla="*/ 10263524 w 10505529"/>
              <a:gd name="connsiteY22956" fmla="*/ 3499495 h 7458372"/>
              <a:gd name="connsiteX22957" fmla="*/ 10258466 w 10505529"/>
              <a:gd name="connsiteY22957" fmla="*/ 3498563 h 7458372"/>
              <a:gd name="connsiteX22958" fmla="*/ 10040820 w 10505529"/>
              <a:gd name="connsiteY22958" fmla="*/ 3498563 h 7458372"/>
              <a:gd name="connsiteX22959" fmla="*/ 10030835 w 10505529"/>
              <a:gd name="connsiteY22959" fmla="*/ 3502157 h 7458372"/>
              <a:gd name="connsiteX22960" fmla="*/ 10027242 w 10505529"/>
              <a:gd name="connsiteY22960" fmla="*/ 3511608 h 7458372"/>
              <a:gd name="connsiteX22961" fmla="*/ 10030835 w 10505529"/>
              <a:gd name="connsiteY22961" fmla="*/ 3521059 h 7458372"/>
              <a:gd name="connsiteX22962" fmla="*/ 10040820 w 10505529"/>
              <a:gd name="connsiteY22962" fmla="*/ 3524520 h 7458372"/>
              <a:gd name="connsiteX22963" fmla="*/ 10046145 w 10505529"/>
              <a:gd name="connsiteY22963" fmla="*/ 3523722 h 7458372"/>
              <a:gd name="connsiteX22964" fmla="*/ 10049872 w 10505529"/>
              <a:gd name="connsiteY22964" fmla="*/ 3521325 h 7458372"/>
              <a:gd name="connsiteX22965" fmla="*/ 10052534 w 10505529"/>
              <a:gd name="connsiteY22965" fmla="*/ 3517066 h 7458372"/>
              <a:gd name="connsiteX22966" fmla="*/ 10053599 w 10505529"/>
              <a:gd name="connsiteY22966" fmla="*/ 3511608 h 7458372"/>
              <a:gd name="connsiteX22967" fmla="*/ 10052534 w 10505529"/>
              <a:gd name="connsiteY22967" fmla="*/ 3506416 h 7458372"/>
              <a:gd name="connsiteX22968" fmla="*/ 10049872 w 10505529"/>
              <a:gd name="connsiteY22968" fmla="*/ 3502157 h 7458372"/>
              <a:gd name="connsiteX22969" fmla="*/ 10045878 w 10505529"/>
              <a:gd name="connsiteY22969" fmla="*/ 3499495 h 7458372"/>
              <a:gd name="connsiteX22970" fmla="*/ 10040820 w 10505529"/>
              <a:gd name="connsiteY22970" fmla="*/ 3498563 h 7458372"/>
              <a:gd name="connsiteX22971" fmla="*/ 9823176 w 10505529"/>
              <a:gd name="connsiteY22971" fmla="*/ 3498563 h 7458372"/>
              <a:gd name="connsiteX22972" fmla="*/ 9813191 w 10505529"/>
              <a:gd name="connsiteY22972" fmla="*/ 3502157 h 7458372"/>
              <a:gd name="connsiteX22973" fmla="*/ 9809597 w 10505529"/>
              <a:gd name="connsiteY22973" fmla="*/ 3511608 h 7458372"/>
              <a:gd name="connsiteX22974" fmla="*/ 9813191 w 10505529"/>
              <a:gd name="connsiteY22974" fmla="*/ 3521059 h 7458372"/>
              <a:gd name="connsiteX22975" fmla="*/ 9823176 w 10505529"/>
              <a:gd name="connsiteY22975" fmla="*/ 3524520 h 7458372"/>
              <a:gd name="connsiteX22976" fmla="*/ 9828501 w 10505529"/>
              <a:gd name="connsiteY22976" fmla="*/ 3523722 h 7458372"/>
              <a:gd name="connsiteX22977" fmla="*/ 9832227 w 10505529"/>
              <a:gd name="connsiteY22977" fmla="*/ 3521325 h 7458372"/>
              <a:gd name="connsiteX22978" fmla="*/ 9834890 w 10505529"/>
              <a:gd name="connsiteY22978" fmla="*/ 3517066 h 7458372"/>
              <a:gd name="connsiteX22979" fmla="*/ 9835955 w 10505529"/>
              <a:gd name="connsiteY22979" fmla="*/ 3511608 h 7458372"/>
              <a:gd name="connsiteX22980" fmla="*/ 9834890 w 10505529"/>
              <a:gd name="connsiteY22980" fmla="*/ 3506416 h 7458372"/>
              <a:gd name="connsiteX22981" fmla="*/ 9832227 w 10505529"/>
              <a:gd name="connsiteY22981" fmla="*/ 3502157 h 7458372"/>
              <a:gd name="connsiteX22982" fmla="*/ 9828234 w 10505529"/>
              <a:gd name="connsiteY22982" fmla="*/ 3499495 h 7458372"/>
              <a:gd name="connsiteX22983" fmla="*/ 9823176 w 10505529"/>
              <a:gd name="connsiteY22983" fmla="*/ 3498563 h 7458372"/>
              <a:gd name="connsiteX22984" fmla="*/ 9605531 w 10505529"/>
              <a:gd name="connsiteY22984" fmla="*/ 3498563 h 7458372"/>
              <a:gd name="connsiteX22985" fmla="*/ 9595546 w 10505529"/>
              <a:gd name="connsiteY22985" fmla="*/ 3502157 h 7458372"/>
              <a:gd name="connsiteX22986" fmla="*/ 9591952 w 10505529"/>
              <a:gd name="connsiteY22986" fmla="*/ 3511608 h 7458372"/>
              <a:gd name="connsiteX22987" fmla="*/ 9595546 w 10505529"/>
              <a:gd name="connsiteY22987" fmla="*/ 3521059 h 7458372"/>
              <a:gd name="connsiteX22988" fmla="*/ 9605531 w 10505529"/>
              <a:gd name="connsiteY22988" fmla="*/ 3524520 h 7458372"/>
              <a:gd name="connsiteX22989" fmla="*/ 9610855 w 10505529"/>
              <a:gd name="connsiteY22989" fmla="*/ 3523722 h 7458372"/>
              <a:gd name="connsiteX22990" fmla="*/ 9614582 w 10505529"/>
              <a:gd name="connsiteY22990" fmla="*/ 3521325 h 7458372"/>
              <a:gd name="connsiteX22991" fmla="*/ 9617245 w 10505529"/>
              <a:gd name="connsiteY22991" fmla="*/ 3517066 h 7458372"/>
              <a:gd name="connsiteX22992" fmla="*/ 9618309 w 10505529"/>
              <a:gd name="connsiteY22992" fmla="*/ 3511608 h 7458372"/>
              <a:gd name="connsiteX22993" fmla="*/ 9617245 w 10505529"/>
              <a:gd name="connsiteY22993" fmla="*/ 3506416 h 7458372"/>
              <a:gd name="connsiteX22994" fmla="*/ 9614582 w 10505529"/>
              <a:gd name="connsiteY22994" fmla="*/ 3502157 h 7458372"/>
              <a:gd name="connsiteX22995" fmla="*/ 9610589 w 10505529"/>
              <a:gd name="connsiteY22995" fmla="*/ 3499495 h 7458372"/>
              <a:gd name="connsiteX22996" fmla="*/ 9605531 w 10505529"/>
              <a:gd name="connsiteY22996" fmla="*/ 3498563 h 7458372"/>
              <a:gd name="connsiteX22997" fmla="*/ 9387885 w 10505529"/>
              <a:gd name="connsiteY22997" fmla="*/ 3498563 h 7458372"/>
              <a:gd name="connsiteX22998" fmla="*/ 9377900 w 10505529"/>
              <a:gd name="connsiteY22998" fmla="*/ 3502157 h 7458372"/>
              <a:gd name="connsiteX22999" fmla="*/ 9374307 w 10505529"/>
              <a:gd name="connsiteY22999" fmla="*/ 3511608 h 7458372"/>
              <a:gd name="connsiteX23000" fmla="*/ 9377900 w 10505529"/>
              <a:gd name="connsiteY23000" fmla="*/ 3521059 h 7458372"/>
              <a:gd name="connsiteX23001" fmla="*/ 9387885 w 10505529"/>
              <a:gd name="connsiteY23001" fmla="*/ 3524520 h 7458372"/>
              <a:gd name="connsiteX23002" fmla="*/ 9393210 w 10505529"/>
              <a:gd name="connsiteY23002" fmla="*/ 3523722 h 7458372"/>
              <a:gd name="connsiteX23003" fmla="*/ 9396937 w 10505529"/>
              <a:gd name="connsiteY23003" fmla="*/ 3521325 h 7458372"/>
              <a:gd name="connsiteX23004" fmla="*/ 9399599 w 10505529"/>
              <a:gd name="connsiteY23004" fmla="*/ 3517066 h 7458372"/>
              <a:gd name="connsiteX23005" fmla="*/ 9400664 w 10505529"/>
              <a:gd name="connsiteY23005" fmla="*/ 3511608 h 7458372"/>
              <a:gd name="connsiteX23006" fmla="*/ 9399599 w 10505529"/>
              <a:gd name="connsiteY23006" fmla="*/ 3506416 h 7458372"/>
              <a:gd name="connsiteX23007" fmla="*/ 9396937 w 10505529"/>
              <a:gd name="connsiteY23007" fmla="*/ 3502157 h 7458372"/>
              <a:gd name="connsiteX23008" fmla="*/ 9392943 w 10505529"/>
              <a:gd name="connsiteY23008" fmla="*/ 3499495 h 7458372"/>
              <a:gd name="connsiteX23009" fmla="*/ 9387885 w 10505529"/>
              <a:gd name="connsiteY23009" fmla="*/ 3498563 h 7458372"/>
              <a:gd name="connsiteX23010" fmla="*/ 9170374 w 10505529"/>
              <a:gd name="connsiteY23010" fmla="*/ 3498563 h 7458372"/>
              <a:gd name="connsiteX23011" fmla="*/ 9160389 w 10505529"/>
              <a:gd name="connsiteY23011" fmla="*/ 3502157 h 7458372"/>
              <a:gd name="connsiteX23012" fmla="*/ 9156795 w 10505529"/>
              <a:gd name="connsiteY23012" fmla="*/ 3511608 h 7458372"/>
              <a:gd name="connsiteX23013" fmla="*/ 9160389 w 10505529"/>
              <a:gd name="connsiteY23013" fmla="*/ 3521059 h 7458372"/>
              <a:gd name="connsiteX23014" fmla="*/ 9170374 w 10505529"/>
              <a:gd name="connsiteY23014" fmla="*/ 3524520 h 7458372"/>
              <a:gd name="connsiteX23015" fmla="*/ 9175698 w 10505529"/>
              <a:gd name="connsiteY23015" fmla="*/ 3523722 h 7458372"/>
              <a:gd name="connsiteX23016" fmla="*/ 9179425 w 10505529"/>
              <a:gd name="connsiteY23016" fmla="*/ 3521325 h 7458372"/>
              <a:gd name="connsiteX23017" fmla="*/ 9182088 w 10505529"/>
              <a:gd name="connsiteY23017" fmla="*/ 3517066 h 7458372"/>
              <a:gd name="connsiteX23018" fmla="*/ 9183152 w 10505529"/>
              <a:gd name="connsiteY23018" fmla="*/ 3511608 h 7458372"/>
              <a:gd name="connsiteX23019" fmla="*/ 9182088 w 10505529"/>
              <a:gd name="connsiteY23019" fmla="*/ 3506416 h 7458372"/>
              <a:gd name="connsiteX23020" fmla="*/ 9179425 w 10505529"/>
              <a:gd name="connsiteY23020" fmla="*/ 3502157 h 7458372"/>
              <a:gd name="connsiteX23021" fmla="*/ 9175432 w 10505529"/>
              <a:gd name="connsiteY23021" fmla="*/ 3499495 h 7458372"/>
              <a:gd name="connsiteX23022" fmla="*/ 9170374 w 10505529"/>
              <a:gd name="connsiteY23022" fmla="*/ 3498563 h 7458372"/>
              <a:gd name="connsiteX23023" fmla="*/ 8952728 w 10505529"/>
              <a:gd name="connsiteY23023" fmla="*/ 3498563 h 7458372"/>
              <a:gd name="connsiteX23024" fmla="*/ 8942743 w 10505529"/>
              <a:gd name="connsiteY23024" fmla="*/ 3502157 h 7458372"/>
              <a:gd name="connsiteX23025" fmla="*/ 8939150 w 10505529"/>
              <a:gd name="connsiteY23025" fmla="*/ 3511608 h 7458372"/>
              <a:gd name="connsiteX23026" fmla="*/ 8942743 w 10505529"/>
              <a:gd name="connsiteY23026" fmla="*/ 3521059 h 7458372"/>
              <a:gd name="connsiteX23027" fmla="*/ 8952728 w 10505529"/>
              <a:gd name="connsiteY23027" fmla="*/ 3524520 h 7458372"/>
              <a:gd name="connsiteX23028" fmla="*/ 8958053 w 10505529"/>
              <a:gd name="connsiteY23028" fmla="*/ 3523722 h 7458372"/>
              <a:gd name="connsiteX23029" fmla="*/ 8961780 w 10505529"/>
              <a:gd name="connsiteY23029" fmla="*/ 3521325 h 7458372"/>
              <a:gd name="connsiteX23030" fmla="*/ 8964442 w 10505529"/>
              <a:gd name="connsiteY23030" fmla="*/ 3517066 h 7458372"/>
              <a:gd name="connsiteX23031" fmla="*/ 8965507 w 10505529"/>
              <a:gd name="connsiteY23031" fmla="*/ 3511608 h 7458372"/>
              <a:gd name="connsiteX23032" fmla="*/ 8964442 w 10505529"/>
              <a:gd name="connsiteY23032" fmla="*/ 3506416 h 7458372"/>
              <a:gd name="connsiteX23033" fmla="*/ 8961780 w 10505529"/>
              <a:gd name="connsiteY23033" fmla="*/ 3502157 h 7458372"/>
              <a:gd name="connsiteX23034" fmla="*/ 8957786 w 10505529"/>
              <a:gd name="connsiteY23034" fmla="*/ 3499495 h 7458372"/>
              <a:gd name="connsiteX23035" fmla="*/ 8952728 w 10505529"/>
              <a:gd name="connsiteY23035" fmla="*/ 3498563 h 7458372"/>
              <a:gd name="connsiteX23036" fmla="*/ 8735083 w 10505529"/>
              <a:gd name="connsiteY23036" fmla="*/ 3498563 h 7458372"/>
              <a:gd name="connsiteX23037" fmla="*/ 8725098 w 10505529"/>
              <a:gd name="connsiteY23037" fmla="*/ 3502157 h 7458372"/>
              <a:gd name="connsiteX23038" fmla="*/ 8721504 w 10505529"/>
              <a:gd name="connsiteY23038" fmla="*/ 3511608 h 7458372"/>
              <a:gd name="connsiteX23039" fmla="*/ 8725098 w 10505529"/>
              <a:gd name="connsiteY23039" fmla="*/ 3521059 h 7458372"/>
              <a:gd name="connsiteX23040" fmla="*/ 8735083 w 10505529"/>
              <a:gd name="connsiteY23040" fmla="*/ 3524520 h 7458372"/>
              <a:gd name="connsiteX23041" fmla="*/ 8740407 w 10505529"/>
              <a:gd name="connsiteY23041" fmla="*/ 3523722 h 7458372"/>
              <a:gd name="connsiteX23042" fmla="*/ 8744134 w 10505529"/>
              <a:gd name="connsiteY23042" fmla="*/ 3521325 h 7458372"/>
              <a:gd name="connsiteX23043" fmla="*/ 8746797 w 10505529"/>
              <a:gd name="connsiteY23043" fmla="*/ 3517066 h 7458372"/>
              <a:gd name="connsiteX23044" fmla="*/ 8747862 w 10505529"/>
              <a:gd name="connsiteY23044" fmla="*/ 3511608 h 7458372"/>
              <a:gd name="connsiteX23045" fmla="*/ 8746797 w 10505529"/>
              <a:gd name="connsiteY23045" fmla="*/ 3506416 h 7458372"/>
              <a:gd name="connsiteX23046" fmla="*/ 8744134 w 10505529"/>
              <a:gd name="connsiteY23046" fmla="*/ 3502157 h 7458372"/>
              <a:gd name="connsiteX23047" fmla="*/ 8740141 w 10505529"/>
              <a:gd name="connsiteY23047" fmla="*/ 3499495 h 7458372"/>
              <a:gd name="connsiteX23048" fmla="*/ 8735083 w 10505529"/>
              <a:gd name="connsiteY23048" fmla="*/ 3498563 h 7458372"/>
              <a:gd name="connsiteX23049" fmla="*/ 8517438 w 10505529"/>
              <a:gd name="connsiteY23049" fmla="*/ 3498563 h 7458372"/>
              <a:gd name="connsiteX23050" fmla="*/ 8507453 w 10505529"/>
              <a:gd name="connsiteY23050" fmla="*/ 3502157 h 7458372"/>
              <a:gd name="connsiteX23051" fmla="*/ 8503860 w 10505529"/>
              <a:gd name="connsiteY23051" fmla="*/ 3511608 h 7458372"/>
              <a:gd name="connsiteX23052" fmla="*/ 8507453 w 10505529"/>
              <a:gd name="connsiteY23052" fmla="*/ 3521059 h 7458372"/>
              <a:gd name="connsiteX23053" fmla="*/ 8517438 w 10505529"/>
              <a:gd name="connsiteY23053" fmla="*/ 3524520 h 7458372"/>
              <a:gd name="connsiteX23054" fmla="*/ 8522763 w 10505529"/>
              <a:gd name="connsiteY23054" fmla="*/ 3523722 h 7458372"/>
              <a:gd name="connsiteX23055" fmla="*/ 8526490 w 10505529"/>
              <a:gd name="connsiteY23055" fmla="*/ 3521325 h 7458372"/>
              <a:gd name="connsiteX23056" fmla="*/ 8529152 w 10505529"/>
              <a:gd name="connsiteY23056" fmla="*/ 3517066 h 7458372"/>
              <a:gd name="connsiteX23057" fmla="*/ 8530084 w 10505529"/>
              <a:gd name="connsiteY23057" fmla="*/ 3511608 h 7458372"/>
              <a:gd name="connsiteX23058" fmla="*/ 8529152 w 10505529"/>
              <a:gd name="connsiteY23058" fmla="*/ 3506416 h 7458372"/>
              <a:gd name="connsiteX23059" fmla="*/ 8526490 w 10505529"/>
              <a:gd name="connsiteY23059" fmla="*/ 3502157 h 7458372"/>
              <a:gd name="connsiteX23060" fmla="*/ 8522496 w 10505529"/>
              <a:gd name="connsiteY23060" fmla="*/ 3499495 h 7458372"/>
              <a:gd name="connsiteX23061" fmla="*/ 8517438 w 10505529"/>
              <a:gd name="connsiteY23061" fmla="*/ 3498563 h 7458372"/>
              <a:gd name="connsiteX23062" fmla="*/ 8299793 w 10505529"/>
              <a:gd name="connsiteY23062" fmla="*/ 3498563 h 7458372"/>
              <a:gd name="connsiteX23063" fmla="*/ 8289809 w 10505529"/>
              <a:gd name="connsiteY23063" fmla="*/ 3502157 h 7458372"/>
              <a:gd name="connsiteX23064" fmla="*/ 8286215 w 10505529"/>
              <a:gd name="connsiteY23064" fmla="*/ 3511608 h 7458372"/>
              <a:gd name="connsiteX23065" fmla="*/ 8289809 w 10505529"/>
              <a:gd name="connsiteY23065" fmla="*/ 3521059 h 7458372"/>
              <a:gd name="connsiteX23066" fmla="*/ 8299793 w 10505529"/>
              <a:gd name="connsiteY23066" fmla="*/ 3524520 h 7458372"/>
              <a:gd name="connsiteX23067" fmla="*/ 8305118 w 10505529"/>
              <a:gd name="connsiteY23067" fmla="*/ 3523722 h 7458372"/>
              <a:gd name="connsiteX23068" fmla="*/ 8308844 w 10505529"/>
              <a:gd name="connsiteY23068" fmla="*/ 3521325 h 7458372"/>
              <a:gd name="connsiteX23069" fmla="*/ 8311507 w 10505529"/>
              <a:gd name="connsiteY23069" fmla="*/ 3517066 h 7458372"/>
              <a:gd name="connsiteX23070" fmla="*/ 8312439 w 10505529"/>
              <a:gd name="connsiteY23070" fmla="*/ 3511608 h 7458372"/>
              <a:gd name="connsiteX23071" fmla="*/ 8311507 w 10505529"/>
              <a:gd name="connsiteY23071" fmla="*/ 3506416 h 7458372"/>
              <a:gd name="connsiteX23072" fmla="*/ 8308844 w 10505529"/>
              <a:gd name="connsiteY23072" fmla="*/ 3502157 h 7458372"/>
              <a:gd name="connsiteX23073" fmla="*/ 8304851 w 10505529"/>
              <a:gd name="connsiteY23073" fmla="*/ 3499495 h 7458372"/>
              <a:gd name="connsiteX23074" fmla="*/ 8299793 w 10505529"/>
              <a:gd name="connsiteY23074" fmla="*/ 3498563 h 7458372"/>
              <a:gd name="connsiteX23075" fmla="*/ 8082281 w 10505529"/>
              <a:gd name="connsiteY23075" fmla="*/ 3498563 h 7458372"/>
              <a:gd name="connsiteX23076" fmla="*/ 8072297 w 10505529"/>
              <a:gd name="connsiteY23076" fmla="*/ 3502157 h 7458372"/>
              <a:gd name="connsiteX23077" fmla="*/ 8068703 w 10505529"/>
              <a:gd name="connsiteY23077" fmla="*/ 3511608 h 7458372"/>
              <a:gd name="connsiteX23078" fmla="*/ 8072297 w 10505529"/>
              <a:gd name="connsiteY23078" fmla="*/ 3521059 h 7458372"/>
              <a:gd name="connsiteX23079" fmla="*/ 8082281 w 10505529"/>
              <a:gd name="connsiteY23079" fmla="*/ 3524520 h 7458372"/>
              <a:gd name="connsiteX23080" fmla="*/ 8087605 w 10505529"/>
              <a:gd name="connsiteY23080" fmla="*/ 3523722 h 7458372"/>
              <a:gd name="connsiteX23081" fmla="*/ 8091332 w 10505529"/>
              <a:gd name="connsiteY23081" fmla="*/ 3521325 h 7458372"/>
              <a:gd name="connsiteX23082" fmla="*/ 8093994 w 10505529"/>
              <a:gd name="connsiteY23082" fmla="*/ 3517066 h 7458372"/>
              <a:gd name="connsiteX23083" fmla="*/ 8094926 w 10505529"/>
              <a:gd name="connsiteY23083" fmla="*/ 3511608 h 7458372"/>
              <a:gd name="connsiteX23084" fmla="*/ 8093994 w 10505529"/>
              <a:gd name="connsiteY23084" fmla="*/ 3506416 h 7458372"/>
              <a:gd name="connsiteX23085" fmla="*/ 8091332 w 10505529"/>
              <a:gd name="connsiteY23085" fmla="*/ 3502157 h 7458372"/>
              <a:gd name="connsiteX23086" fmla="*/ 8087338 w 10505529"/>
              <a:gd name="connsiteY23086" fmla="*/ 3499495 h 7458372"/>
              <a:gd name="connsiteX23087" fmla="*/ 8082281 w 10505529"/>
              <a:gd name="connsiteY23087" fmla="*/ 3498563 h 7458372"/>
              <a:gd name="connsiteX23088" fmla="*/ 7864636 w 10505529"/>
              <a:gd name="connsiteY23088" fmla="*/ 3498563 h 7458372"/>
              <a:gd name="connsiteX23089" fmla="*/ 7854652 w 10505529"/>
              <a:gd name="connsiteY23089" fmla="*/ 3502157 h 7458372"/>
              <a:gd name="connsiteX23090" fmla="*/ 7851058 w 10505529"/>
              <a:gd name="connsiteY23090" fmla="*/ 3511608 h 7458372"/>
              <a:gd name="connsiteX23091" fmla="*/ 7854652 w 10505529"/>
              <a:gd name="connsiteY23091" fmla="*/ 3521059 h 7458372"/>
              <a:gd name="connsiteX23092" fmla="*/ 7864636 w 10505529"/>
              <a:gd name="connsiteY23092" fmla="*/ 3524520 h 7458372"/>
              <a:gd name="connsiteX23093" fmla="*/ 7869961 w 10505529"/>
              <a:gd name="connsiteY23093" fmla="*/ 3523722 h 7458372"/>
              <a:gd name="connsiteX23094" fmla="*/ 7873687 w 10505529"/>
              <a:gd name="connsiteY23094" fmla="*/ 3521325 h 7458372"/>
              <a:gd name="connsiteX23095" fmla="*/ 7876350 w 10505529"/>
              <a:gd name="connsiteY23095" fmla="*/ 3517066 h 7458372"/>
              <a:gd name="connsiteX23096" fmla="*/ 7877282 w 10505529"/>
              <a:gd name="connsiteY23096" fmla="*/ 3511608 h 7458372"/>
              <a:gd name="connsiteX23097" fmla="*/ 7876350 w 10505529"/>
              <a:gd name="connsiteY23097" fmla="*/ 3506416 h 7458372"/>
              <a:gd name="connsiteX23098" fmla="*/ 7873687 w 10505529"/>
              <a:gd name="connsiteY23098" fmla="*/ 3502157 h 7458372"/>
              <a:gd name="connsiteX23099" fmla="*/ 7869694 w 10505529"/>
              <a:gd name="connsiteY23099" fmla="*/ 3499495 h 7458372"/>
              <a:gd name="connsiteX23100" fmla="*/ 7864636 w 10505529"/>
              <a:gd name="connsiteY23100" fmla="*/ 3498563 h 7458372"/>
              <a:gd name="connsiteX23101" fmla="*/ 7646991 w 10505529"/>
              <a:gd name="connsiteY23101" fmla="*/ 3498563 h 7458372"/>
              <a:gd name="connsiteX23102" fmla="*/ 7637007 w 10505529"/>
              <a:gd name="connsiteY23102" fmla="*/ 3502157 h 7458372"/>
              <a:gd name="connsiteX23103" fmla="*/ 7633413 w 10505529"/>
              <a:gd name="connsiteY23103" fmla="*/ 3511608 h 7458372"/>
              <a:gd name="connsiteX23104" fmla="*/ 7637007 w 10505529"/>
              <a:gd name="connsiteY23104" fmla="*/ 3521059 h 7458372"/>
              <a:gd name="connsiteX23105" fmla="*/ 7646991 w 10505529"/>
              <a:gd name="connsiteY23105" fmla="*/ 3524520 h 7458372"/>
              <a:gd name="connsiteX23106" fmla="*/ 7652315 w 10505529"/>
              <a:gd name="connsiteY23106" fmla="*/ 3523722 h 7458372"/>
              <a:gd name="connsiteX23107" fmla="*/ 7656042 w 10505529"/>
              <a:gd name="connsiteY23107" fmla="*/ 3521325 h 7458372"/>
              <a:gd name="connsiteX23108" fmla="*/ 7658705 w 10505529"/>
              <a:gd name="connsiteY23108" fmla="*/ 3517066 h 7458372"/>
              <a:gd name="connsiteX23109" fmla="*/ 7659769 w 10505529"/>
              <a:gd name="connsiteY23109" fmla="*/ 3511608 h 7458372"/>
              <a:gd name="connsiteX23110" fmla="*/ 7658705 w 10505529"/>
              <a:gd name="connsiteY23110" fmla="*/ 3506416 h 7458372"/>
              <a:gd name="connsiteX23111" fmla="*/ 7656042 w 10505529"/>
              <a:gd name="connsiteY23111" fmla="*/ 3502157 h 7458372"/>
              <a:gd name="connsiteX23112" fmla="*/ 7652049 w 10505529"/>
              <a:gd name="connsiteY23112" fmla="*/ 3499495 h 7458372"/>
              <a:gd name="connsiteX23113" fmla="*/ 7646991 w 10505529"/>
              <a:gd name="connsiteY23113" fmla="*/ 3498563 h 7458372"/>
              <a:gd name="connsiteX23114" fmla="*/ 7429345 w 10505529"/>
              <a:gd name="connsiteY23114" fmla="*/ 3498563 h 7458372"/>
              <a:gd name="connsiteX23115" fmla="*/ 7419361 w 10505529"/>
              <a:gd name="connsiteY23115" fmla="*/ 3502157 h 7458372"/>
              <a:gd name="connsiteX23116" fmla="*/ 7415768 w 10505529"/>
              <a:gd name="connsiteY23116" fmla="*/ 3511608 h 7458372"/>
              <a:gd name="connsiteX23117" fmla="*/ 7419361 w 10505529"/>
              <a:gd name="connsiteY23117" fmla="*/ 3521059 h 7458372"/>
              <a:gd name="connsiteX23118" fmla="*/ 7429345 w 10505529"/>
              <a:gd name="connsiteY23118" fmla="*/ 3524520 h 7458372"/>
              <a:gd name="connsiteX23119" fmla="*/ 7434670 w 10505529"/>
              <a:gd name="connsiteY23119" fmla="*/ 3523722 h 7458372"/>
              <a:gd name="connsiteX23120" fmla="*/ 7438397 w 10505529"/>
              <a:gd name="connsiteY23120" fmla="*/ 3521325 h 7458372"/>
              <a:gd name="connsiteX23121" fmla="*/ 7441059 w 10505529"/>
              <a:gd name="connsiteY23121" fmla="*/ 3517066 h 7458372"/>
              <a:gd name="connsiteX23122" fmla="*/ 7442124 w 10505529"/>
              <a:gd name="connsiteY23122" fmla="*/ 3511608 h 7458372"/>
              <a:gd name="connsiteX23123" fmla="*/ 7441059 w 10505529"/>
              <a:gd name="connsiteY23123" fmla="*/ 3506416 h 7458372"/>
              <a:gd name="connsiteX23124" fmla="*/ 7438397 w 10505529"/>
              <a:gd name="connsiteY23124" fmla="*/ 3502157 h 7458372"/>
              <a:gd name="connsiteX23125" fmla="*/ 7434403 w 10505529"/>
              <a:gd name="connsiteY23125" fmla="*/ 3499495 h 7458372"/>
              <a:gd name="connsiteX23126" fmla="*/ 7429345 w 10505529"/>
              <a:gd name="connsiteY23126" fmla="*/ 3498563 h 7458372"/>
              <a:gd name="connsiteX23127" fmla="*/ 7211701 w 10505529"/>
              <a:gd name="connsiteY23127" fmla="*/ 3498563 h 7458372"/>
              <a:gd name="connsiteX23128" fmla="*/ 7201717 w 10505529"/>
              <a:gd name="connsiteY23128" fmla="*/ 3502157 h 7458372"/>
              <a:gd name="connsiteX23129" fmla="*/ 7198123 w 10505529"/>
              <a:gd name="connsiteY23129" fmla="*/ 3511608 h 7458372"/>
              <a:gd name="connsiteX23130" fmla="*/ 7201717 w 10505529"/>
              <a:gd name="connsiteY23130" fmla="*/ 3521059 h 7458372"/>
              <a:gd name="connsiteX23131" fmla="*/ 7211701 w 10505529"/>
              <a:gd name="connsiteY23131" fmla="*/ 3524520 h 7458372"/>
              <a:gd name="connsiteX23132" fmla="*/ 7217026 w 10505529"/>
              <a:gd name="connsiteY23132" fmla="*/ 3523722 h 7458372"/>
              <a:gd name="connsiteX23133" fmla="*/ 7220752 w 10505529"/>
              <a:gd name="connsiteY23133" fmla="*/ 3521325 h 7458372"/>
              <a:gd name="connsiteX23134" fmla="*/ 7223415 w 10505529"/>
              <a:gd name="connsiteY23134" fmla="*/ 3517066 h 7458372"/>
              <a:gd name="connsiteX23135" fmla="*/ 7224480 w 10505529"/>
              <a:gd name="connsiteY23135" fmla="*/ 3511608 h 7458372"/>
              <a:gd name="connsiteX23136" fmla="*/ 7223415 w 10505529"/>
              <a:gd name="connsiteY23136" fmla="*/ 3506416 h 7458372"/>
              <a:gd name="connsiteX23137" fmla="*/ 7220752 w 10505529"/>
              <a:gd name="connsiteY23137" fmla="*/ 3502157 h 7458372"/>
              <a:gd name="connsiteX23138" fmla="*/ 7216759 w 10505529"/>
              <a:gd name="connsiteY23138" fmla="*/ 3499495 h 7458372"/>
              <a:gd name="connsiteX23139" fmla="*/ 7211701 w 10505529"/>
              <a:gd name="connsiteY23139" fmla="*/ 3498563 h 7458372"/>
              <a:gd name="connsiteX23140" fmla="*/ 6994056 w 10505529"/>
              <a:gd name="connsiteY23140" fmla="*/ 3498563 h 7458372"/>
              <a:gd name="connsiteX23141" fmla="*/ 6984072 w 10505529"/>
              <a:gd name="connsiteY23141" fmla="*/ 3502157 h 7458372"/>
              <a:gd name="connsiteX23142" fmla="*/ 6980478 w 10505529"/>
              <a:gd name="connsiteY23142" fmla="*/ 3511608 h 7458372"/>
              <a:gd name="connsiteX23143" fmla="*/ 6984072 w 10505529"/>
              <a:gd name="connsiteY23143" fmla="*/ 3521059 h 7458372"/>
              <a:gd name="connsiteX23144" fmla="*/ 6994056 w 10505529"/>
              <a:gd name="connsiteY23144" fmla="*/ 3524520 h 7458372"/>
              <a:gd name="connsiteX23145" fmla="*/ 6999380 w 10505529"/>
              <a:gd name="connsiteY23145" fmla="*/ 3523722 h 7458372"/>
              <a:gd name="connsiteX23146" fmla="*/ 7003107 w 10505529"/>
              <a:gd name="connsiteY23146" fmla="*/ 3521325 h 7458372"/>
              <a:gd name="connsiteX23147" fmla="*/ 7005769 w 10505529"/>
              <a:gd name="connsiteY23147" fmla="*/ 3517066 h 7458372"/>
              <a:gd name="connsiteX23148" fmla="*/ 7006834 w 10505529"/>
              <a:gd name="connsiteY23148" fmla="*/ 3511608 h 7458372"/>
              <a:gd name="connsiteX23149" fmla="*/ 7005769 w 10505529"/>
              <a:gd name="connsiteY23149" fmla="*/ 3506416 h 7458372"/>
              <a:gd name="connsiteX23150" fmla="*/ 7003107 w 10505529"/>
              <a:gd name="connsiteY23150" fmla="*/ 3502157 h 7458372"/>
              <a:gd name="connsiteX23151" fmla="*/ 6999113 w 10505529"/>
              <a:gd name="connsiteY23151" fmla="*/ 3499495 h 7458372"/>
              <a:gd name="connsiteX23152" fmla="*/ 6994056 w 10505529"/>
              <a:gd name="connsiteY23152" fmla="*/ 3498563 h 7458372"/>
              <a:gd name="connsiteX23153" fmla="*/ 6776544 w 10505529"/>
              <a:gd name="connsiteY23153" fmla="*/ 3498563 h 7458372"/>
              <a:gd name="connsiteX23154" fmla="*/ 6766560 w 10505529"/>
              <a:gd name="connsiteY23154" fmla="*/ 3502157 h 7458372"/>
              <a:gd name="connsiteX23155" fmla="*/ 6762966 w 10505529"/>
              <a:gd name="connsiteY23155" fmla="*/ 3511608 h 7458372"/>
              <a:gd name="connsiteX23156" fmla="*/ 6766560 w 10505529"/>
              <a:gd name="connsiteY23156" fmla="*/ 3521059 h 7458372"/>
              <a:gd name="connsiteX23157" fmla="*/ 6776544 w 10505529"/>
              <a:gd name="connsiteY23157" fmla="*/ 3524520 h 7458372"/>
              <a:gd name="connsiteX23158" fmla="*/ 6781869 w 10505529"/>
              <a:gd name="connsiteY23158" fmla="*/ 3523722 h 7458372"/>
              <a:gd name="connsiteX23159" fmla="*/ 6785595 w 10505529"/>
              <a:gd name="connsiteY23159" fmla="*/ 3521325 h 7458372"/>
              <a:gd name="connsiteX23160" fmla="*/ 6788258 w 10505529"/>
              <a:gd name="connsiteY23160" fmla="*/ 3517066 h 7458372"/>
              <a:gd name="connsiteX23161" fmla="*/ 6789323 w 10505529"/>
              <a:gd name="connsiteY23161" fmla="*/ 3511608 h 7458372"/>
              <a:gd name="connsiteX23162" fmla="*/ 6788258 w 10505529"/>
              <a:gd name="connsiteY23162" fmla="*/ 3506416 h 7458372"/>
              <a:gd name="connsiteX23163" fmla="*/ 6785595 w 10505529"/>
              <a:gd name="connsiteY23163" fmla="*/ 3502157 h 7458372"/>
              <a:gd name="connsiteX23164" fmla="*/ 6781602 w 10505529"/>
              <a:gd name="connsiteY23164" fmla="*/ 3499495 h 7458372"/>
              <a:gd name="connsiteX23165" fmla="*/ 6776544 w 10505529"/>
              <a:gd name="connsiteY23165" fmla="*/ 3498563 h 7458372"/>
              <a:gd name="connsiteX23166" fmla="*/ 6558899 w 10505529"/>
              <a:gd name="connsiteY23166" fmla="*/ 3498563 h 7458372"/>
              <a:gd name="connsiteX23167" fmla="*/ 6548915 w 10505529"/>
              <a:gd name="connsiteY23167" fmla="*/ 3502157 h 7458372"/>
              <a:gd name="connsiteX23168" fmla="*/ 6545321 w 10505529"/>
              <a:gd name="connsiteY23168" fmla="*/ 3511608 h 7458372"/>
              <a:gd name="connsiteX23169" fmla="*/ 6548915 w 10505529"/>
              <a:gd name="connsiteY23169" fmla="*/ 3521059 h 7458372"/>
              <a:gd name="connsiteX23170" fmla="*/ 6558899 w 10505529"/>
              <a:gd name="connsiteY23170" fmla="*/ 3524520 h 7458372"/>
              <a:gd name="connsiteX23171" fmla="*/ 6564223 w 10505529"/>
              <a:gd name="connsiteY23171" fmla="*/ 3523722 h 7458372"/>
              <a:gd name="connsiteX23172" fmla="*/ 6567950 w 10505529"/>
              <a:gd name="connsiteY23172" fmla="*/ 3521325 h 7458372"/>
              <a:gd name="connsiteX23173" fmla="*/ 6570612 w 10505529"/>
              <a:gd name="connsiteY23173" fmla="*/ 3517066 h 7458372"/>
              <a:gd name="connsiteX23174" fmla="*/ 6571677 w 10505529"/>
              <a:gd name="connsiteY23174" fmla="*/ 3511608 h 7458372"/>
              <a:gd name="connsiteX23175" fmla="*/ 6570612 w 10505529"/>
              <a:gd name="connsiteY23175" fmla="*/ 3506416 h 7458372"/>
              <a:gd name="connsiteX23176" fmla="*/ 6567950 w 10505529"/>
              <a:gd name="connsiteY23176" fmla="*/ 3502157 h 7458372"/>
              <a:gd name="connsiteX23177" fmla="*/ 6563956 w 10505529"/>
              <a:gd name="connsiteY23177" fmla="*/ 3499495 h 7458372"/>
              <a:gd name="connsiteX23178" fmla="*/ 6558899 w 10505529"/>
              <a:gd name="connsiteY23178" fmla="*/ 3498563 h 7458372"/>
              <a:gd name="connsiteX23179" fmla="*/ 6341253 w 10505529"/>
              <a:gd name="connsiteY23179" fmla="*/ 3498563 h 7458372"/>
              <a:gd name="connsiteX23180" fmla="*/ 6331270 w 10505529"/>
              <a:gd name="connsiteY23180" fmla="*/ 3502157 h 7458372"/>
              <a:gd name="connsiteX23181" fmla="*/ 6327675 w 10505529"/>
              <a:gd name="connsiteY23181" fmla="*/ 3511608 h 7458372"/>
              <a:gd name="connsiteX23182" fmla="*/ 6331270 w 10505529"/>
              <a:gd name="connsiteY23182" fmla="*/ 3521059 h 7458372"/>
              <a:gd name="connsiteX23183" fmla="*/ 6341253 w 10505529"/>
              <a:gd name="connsiteY23183" fmla="*/ 3524520 h 7458372"/>
              <a:gd name="connsiteX23184" fmla="*/ 6346578 w 10505529"/>
              <a:gd name="connsiteY23184" fmla="*/ 3523722 h 7458372"/>
              <a:gd name="connsiteX23185" fmla="*/ 6350305 w 10505529"/>
              <a:gd name="connsiteY23185" fmla="*/ 3521325 h 7458372"/>
              <a:gd name="connsiteX23186" fmla="*/ 6352968 w 10505529"/>
              <a:gd name="connsiteY23186" fmla="*/ 3517066 h 7458372"/>
              <a:gd name="connsiteX23187" fmla="*/ 6354033 w 10505529"/>
              <a:gd name="connsiteY23187" fmla="*/ 3511608 h 7458372"/>
              <a:gd name="connsiteX23188" fmla="*/ 6352968 w 10505529"/>
              <a:gd name="connsiteY23188" fmla="*/ 3506416 h 7458372"/>
              <a:gd name="connsiteX23189" fmla="*/ 6350305 w 10505529"/>
              <a:gd name="connsiteY23189" fmla="*/ 3502157 h 7458372"/>
              <a:gd name="connsiteX23190" fmla="*/ 6346312 w 10505529"/>
              <a:gd name="connsiteY23190" fmla="*/ 3499495 h 7458372"/>
              <a:gd name="connsiteX23191" fmla="*/ 6341253 w 10505529"/>
              <a:gd name="connsiteY23191" fmla="*/ 3498563 h 7458372"/>
              <a:gd name="connsiteX23192" fmla="*/ 6123608 w 10505529"/>
              <a:gd name="connsiteY23192" fmla="*/ 3498563 h 7458372"/>
              <a:gd name="connsiteX23193" fmla="*/ 6113624 w 10505529"/>
              <a:gd name="connsiteY23193" fmla="*/ 3502157 h 7458372"/>
              <a:gd name="connsiteX23194" fmla="*/ 6110030 w 10505529"/>
              <a:gd name="connsiteY23194" fmla="*/ 3511608 h 7458372"/>
              <a:gd name="connsiteX23195" fmla="*/ 6113624 w 10505529"/>
              <a:gd name="connsiteY23195" fmla="*/ 3521059 h 7458372"/>
              <a:gd name="connsiteX23196" fmla="*/ 6123608 w 10505529"/>
              <a:gd name="connsiteY23196" fmla="*/ 3524520 h 7458372"/>
              <a:gd name="connsiteX23197" fmla="*/ 6128932 w 10505529"/>
              <a:gd name="connsiteY23197" fmla="*/ 3523722 h 7458372"/>
              <a:gd name="connsiteX23198" fmla="*/ 6132659 w 10505529"/>
              <a:gd name="connsiteY23198" fmla="*/ 3521325 h 7458372"/>
              <a:gd name="connsiteX23199" fmla="*/ 6135322 w 10505529"/>
              <a:gd name="connsiteY23199" fmla="*/ 3517066 h 7458372"/>
              <a:gd name="connsiteX23200" fmla="*/ 6136387 w 10505529"/>
              <a:gd name="connsiteY23200" fmla="*/ 3511608 h 7458372"/>
              <a:gd name="connsiteX23201" fmla="*/ 6135322 w 10505529"/>
              <a:gd name="connsiteY23201" fmla="*/ 3506416 h 7458372"/>
              <a:gd name="connsiteX23202" fmla="*/ 6132659 w 10505529"/>
              <a:gd name="connsiteY23202" fmla="*/ 3502157 h 7458372"/>
              <a:gd name="connsiteX23203" fmla="*/ 6128666 w 10505529"/>
              <a:gd name="connsiteY23203" fmla="*/ 3499495 h 7458372"/>
              <a:gd name="connsiteX23204" fmla="*/ 6123608 w 10505529"/>
              <a:gd name="connsiteY23204" fmla="*/ 3498563 h 7458372"/>
              <a:gd name="connsiteX23205" fmla="*/ 5905963 w 10505529"/>
              <a:gd name="connsiteY23205" fmla="*/ 3498563 h 7458372"/>
              <a:gd name="connsiteX23206" fmla="*/ 5895979 w 10505529"/>
              <a:gd name="connsiteY23206" fmla="*/ 3502157 h 7458372"/>
              <a:gd name="connsiteX23207" fmla="*/ 5892385 w 10505529"/>
              <a:gd name="connsiteY23207" fmla="*/ 3511608 h 7458372"/>
              <a:gd name="connsiteX23208" fmla="*/ 5895979 w 10505529"/>
              <a:gd name="connsiteY23208" fmla="*/ 3521059 h 7458372"/>
              <a:gd name="connsiteX23209" fmla="*/ 5905963 w 10505529"/>
              <a:gd name="connsiteY23209" fmla="*/ 3524520 h 7458372"/>
              <a:gd name="connsiteX23210" fmla="*/ 5911287 w 10505529"/>
              <a:gd name="connsiteY23210" fmla="*/ 3523722 h 7458372"/>
              <a:gd name="connsiteX23211" fmla="*/ 5915014 w 10505529"/>
              <a:gd name="connsiteY23211" fmla="*/ 3521325 h 7458372"/>
              <a:gd name="connsiteX23212" fmla="*/ 5917677 w 10505529"/>
              <a:gd name="connsiteY23212" fmla="*/ 3517066 h 7458372"/>
              <a:gd name="connsiteX23213" fmla="*/ 5918742 w 10505529"/>
              <a:gd name="connsiteY23213" fmla="*/ 3511608 h 7458372"/>
              <a:gd name="connsiteX23214" fmla="*/ 5917677 w 10505529"/>
              <a:gd name="connsiteY23214" fmla="*/ 3506416 h 7458372"/>
              <a:gd name="connsiteX23215" fmla="*/ 5915014 w 10505529"/>
              <a:gd name="connsiteY23215" fmla="*/ 3502157 h 7458372"/>
              <a:gd name="connsiteX23216" fmla="*/ 5911021 w 10505529"/>
              <a:gd name="connsiteY23216" fmla="*/ 3499495 h 7458372"/>
              <a:gd name="connsiteX23217" fmla="*/ 5905963 w 10505529"/>
              <a:gd name="connsiteY23217" fmla="*/ 3498563 h 7458372"/>
              <a:gd name="connsiteX23218" fmla="*/ 5688451 w 10505529"/>
              <a:gd name="connsiteY23218" fmla="*/ 3498563 h 7458372"/>
              <a:gd name="connsiteX23219" fmla="*/ 5678467 w 10505529"/>
              <a:gd name="connsiteY23219" fmla="*/ 3502157 h 7458372"/>
              <a:gd name="connsiteX23220" fmla="*/ 5674873 w 10505529"/>
              <a:gd name="connsiteY23220" fmla="*/ 3511608 h 7458372"/>
              <a:gd name="connsiteX23221" fmla="*/ 5678467 w 10505529"/>
              <a:gd name="connsiteY23221" fmla="*/ 3521059 h 7458372"/>
              <a:gd name="connsiteX23222" fmla="*/ 5688451 w 10505529"/>
              <a:gd name="connsiteY23222" fmla="*/ 3524520 h 7458372"/>
              <a:gd name="connsiteX23223" fmla="*/ 5693775 w 10505529"/>
              <a:gd name="connsiteY23223" fmla="*/ 3523722 h 7458372"/>
              <a:gd name="connsiteX23224" fmla="*/ 5697502 w 10505529"/>
              <a:gd name="connsiteY23224" fmla="*/ 3521325 h 7458372"/>
              <a:gd name="connsiteX23225" fmla="*/ 5700165 w 10505529"/>
              <a:gd name="connsiteY23225" fmla="*/ 3517066 h 7458372"/>
              <a:gd name="connsiteX23226" fmla="*/ 5701230 w 10505529"/>
              <a:gd name="connsiteY23226" fmla="*/ 3511608 h 7458372"/>
              <a:gd name="connsiteX23227" fmla="*/ 5700165 w 10505529"/>
              <a:gd name="connsiteY23227" fmla="*/ 3506416 h 7458372"/>
              <a:gd name="connsiteX23228" fmla="*/ 5697502 w 10505529"/>
              <a:gd name="connsiteY23228" fmla="*/ 3502157 h 7458372"/>
              <a:gd name="connsiteX23229" fmla="*/ 5693509 w 10505529"/>
              <a:gd name="connsiteY23229" fmla="*/ 3499495 h 7458372"/>
              <a:gd name="connsiteX23230" fmla="*/ 5688451 w 10505529"/>
              <a:gd name="connsiteY23230" fmla="*/ 3498563 h 7458372"/>
              <a:gd name="connsiteX23231" fmla="*/ 5470806 w 10505529"/>
              <a:gd name="connsiteY23231" fmla="*/ 3498563 h 7458372"/>
              <a:gd name="connsiteX23232" fmla="*/ 5460822 w 10505529"/>
              <a:gd name="connsiteY23232" fmla="*/ 3502157 h 7458372"/>
              <a:gd name="connsiteX23233" fmla="*/ 5457228 w 10505529"/>
              <a:gd name="connsiteY23233" fmla="*/ 3511608 h 7458372"/>
              <a:gd name="connsiteX23234" fmla="*/ 5460822 w 10505529"/>
              <a:gd name="connsiteY23234" fmla="*/ 3521059 h 7458372"/>
              <a:gd name="connsiteX23235" fmla="*/ 5470806 w 10505529"/>
              <a:gd name="connsiteY23235" fmla="*/ 3524520 h 7458372"/>
              <a:gd name="connsiteX23236" fmla="*/ 5476130 w 10505529"/>
              <a:gd name="connsiteY23236" fmla="*/ 3523722 h 7458372"/>
              <a:gd name="connsiteX23237" fmla="*/ 5479857 w 10505529"/>
              <a:gd name="connsiteY23237" fmla="*/ 3521325 h 7458372"/>
              <a:gd name="connsiteX23238" fmla="*/ 5482520 w 10505529"/>
              <a:gd name="connsiteY23238" fmla="*/ 3517066 h 7458372"/>
              <a:gd name="connsiteX23239" fmla="*/ 5483585 w 10505529"/>
              <a:gd name="connsiteY23239" fmla="*/ 3511608 h 7458372"/>
              <a:gd name="connsiteX23240" fmla="*/ 5482520 w 10505529"/>
              <a:gd name="connsiteY23240" fmla="*/ 3506416 h 7458372"/>
              <a:gd name="connsiteX23241" fmla="*/ 5479857 w 10505529"/>
              <a:gd name="connsiteY23241" fmla="*/ 3502157 h 7458372"/>
              <a:gd name="connsiteX23242" fmla="*/ 5475864 w 10505529"/>
              <a:gd name="connsiteY23242" fmla="*/ 3499495 h 7458372"/>
              <a:gd name="connsiteX23243" fmla="*/ 5470806 w 10505529"/>
              <a:gd name="connsiteY23243" fmla="*/ 3498563 h 7458372"/>
              <a:gd name="connsiteX23244" fmla="*/ 5253160 w 10505529"/>
              <a:gd name="connsiteY23244" fmla="*/ 3498563 h 7458372"/>
              <a:gd name="connsiteX23245" fmla="*/ 5243177 w 10505529"/>
              <a:gd name="connsiteY23245" fmla="*/ 3502157 h 7458372"/>
              <a:gd name="connsiteX23246" fmla="*/ 5239583 w 10505529"/>
              <a:gd name="connsiteY23246" fmla="*/ 3511608 h 7458372"/>
              <a:gd name="connsiteX23247" fmla="*/ 5243177 w 10505529"/>
              <a:gd name="connsiteY23247" fmla="*/ 3521059 h 7458372"/>
              <a:gd name="connsiteX23248" fmla="*/ 5253160 w 10505529"/>
              <a:gd name="connsiteY23248" fmla="*/ 3524520 h 7458372"/>
              <a:gd name="connsiteX23249" fmla="*/ 5258485 w 10505529"/>
              <a:gd name="connsiteY23249" fmla="*/ 3523722 h 7458372"/>
              <a:gd name="connsiteX23250" fmla="*/ 5262212 w 10505529"/>
              <a:gd name="connsiteY23250" fmla="*/ 3521325 h 7458372"/>
              <a:gd name="connsiteX23251" fmla="*/ 5264875 w 10505529"/>
              <a:gd name="connsiteY23251" fmla="*/ 3517066 h 7458372"/>
              <a:gd name="connsiteX23252" fmla="*/ 5265939 w 10505529"/>
              <a:gd name="connsiteY23252" fmla="*/ 3511608 h 7458372"/>
              <a:gd name="connsiteX23253" fmla="*/ 5264875 w 10505529"/>
              <a:gd name="connsiteY23253" fmla="*/ 3506416 h 7458372"/>
              <a:gd name="connsiteX23254" fmla="*/ 5262212 w 10505529"/>
              <a:gd name="connsiteY23254" fmla="*/ 3502157 h 7458372"/>
              <a:gd name="connsiteX23255" fmla="*/ 5258219 w 10505529"/>
              <a:gd name="connsiteY23255" fmla="*/ 3499495 h 7458372"/>
              <a:gd name="connsiteX23256" fmla="*/ 5253160 w 10505529"/>
              <a:gd name="connsiteY23256" fmla="*/ 3498563 h 7458372"/>
              <a:gd name="connsiteX23257" fmla="*/ 5035515 w 10505529"/>
              <a:gd name="connsiteY23257" fmla="*/ 3498563 h 7458372"/>
              <a:gd name="connsiteX23258" fmla="*/ 5025532 w 10505529"/>
              <a:gd name="connsiteY23258" fmla="*/ 3502157 h 7458372"/>
              <a:gd name="connsiteX23259" fmla="*/ 5021938 w 10505529"/>
              <a:gd name="connsiteY23259" fmla="*/ 3511608 h 7458372"/>
              <a:gd name="connsiteX23260" fmla="*/ 5025532 w 10505529"/>
              <a:gd name="connsiteY23260" fmla="*/ 3521059 h 7458372"/>
              <a:gd name="connsiteX23261" fmla="*/ 5035515 w 10505529"/>
              <a:gd name="connsiteY23261" fmla="*/ 3524520 h 7458372"/>
              <a:gd name="connsiteX23262" fmla="*/ 5040840 w 10505529"/>
              <a:gd name="connsiteY23262" fmla="*/ 3523722 h 7458372"/>
              <a:gd name="connsiteX23263" fmla="*/ 5044567 w 10505529"/>
              <a:gd name="connsiteY23263" fmla="*/ 3521325 h 7458372"/>
              <a:gd name="connsiteX23264" fmla="*/ 5047230 w 10505529"/>
              <a:gd name="connsiteY23264" fmla="*/ 3517066 h 7458372"/>
              <a:gd name="connsiteX23265" fmla="*/ 5048294 w 10505529"/>
              <a:gd name="connsiteY23265" fmla="*/ 3511608 h 7458372"/>
              <a:gd name="connsiteX23266" fmla="*/ 5047230 w 10505529"/>
              <a:gd name="connsiteY23266" fmla="*/ 3506416 h 7458372"/>
              <a:gd name="connsiteX23267" fmla="*/ 5044567 w 10505529"/>
              <a:gd name="connsiteY23267" fmla="*/ 3502157 h 7458372"/>
              <a:gd name="connsiteX23268" fmla="*/ 5040574 w 10505529"/>
              <a:gd name="connsiteY23268" fmla="*/ 3499495 h 7458372"/>
              <a:gd name="connsiteX23269" fmla="*/ 5035515 w 10505529"/>
              <a:gd name="connsiteY23269" fmla="*/ 3498563 h 7458372"/>
              <a:gd name="connsiteX23270" fmla="*/ 4817870 w 10505529"/>
              <a:gd name="connsiteY23270" fmla="*/ 3498563 h 7458372"/>
              <a:gd name="connsiteX23271" fmla="*/ 4807887 w 10505529"/>
              <a:gd name="connsiteY23271" fmla="*/ 3502157 h 7458372"/>
              <a:gd name="connsiteX23272" fmla="*/ 4804293 w 10505529"/>
              <a:gd name="connsiteY23272" fmla="*/ 3511608 h 7458372"/>
              <a:gd name="connsiteX23273" fmla="*/ 4807887 w 10505529"/>
              <a:gd name="connsiteY23273" fmla="*/ 3521059 h 7458372"/>
              <a:gd name="connsiteX23274" fmla="*/ 4817870 w 10505529"/>
              <a:gd name="connsiteY23274" fmla="*/ 3524520 h 7458372"/>
              <a:gd name="connsiteX23275" fmla="*/ 4823195 w 10505529"/>
              <a:gd name="connsiteY23275" fmla="*/ 3523722 h 7458372"/>
              <a:gd name="connsiteX23276" fmla="*/ 4826922 w 10505529"/>
              <a:gd name="connsiteY23276" fmla="*/ 3521325 h 7458372"/>
              <a:gd name="connsiteX23277" fmla="*/ 4829585 w 10505529"/>
              <a:gd name="connsiteY23277" fmla="*/ 3517066 h 7458372"/>
              <a:gd name="connsiteX23278" fmla="*/ 4830650 w 10505529"/>
              <a:gd name="connsiteY23278" fmla="*/ 3511608 h 7458372"/>
              <a:gd name="connsiteX23279" fmla="*/ 4829585 w 10505529"/>
              <a:gd name="connsiteY23279" fmla="*/ 3506416 h 7458372"/>
              <a:gd name="connsiteX23280" fmla="*/ 4826922 w 10505529"/>
              <a:gd name="connsiteY23280" fmla="*/ 3502157 h 7458372"/>
              <a:gd name="connsiteX23281" fmla="*/ 4822929 w 10505529"/>
              <a:gd name="connsiteY23281" fmla="*/ 3499495 h 7458372"/>
              <a:gd name="connsiteX23282" fmla="*/ 4817870 w 10505529"/>
              <a:gd name="connsiteY23282" fmla="*/ 3498563 h 7458372"/>
              <a:gd name="connsiteX23283" fmla="*/ 4600226 w 10505529"/>
              <a:gd name="connsiteY23283" fmla="*/ 3498563 h 7458372"/>
              <a:gd name="connsiteX23284" fmla="*/ 4590242 w 10505529"/>
              <a:gd name="connsiteY23284" fmla="*/ 3502157 h 7458372"/>
              <a:gd name="connsiteX23285" fmla="*/ 4586648 w 10505529"/>
              <a:gd name="connsiteY23285" fmla="*/ 3511608 h 7458372"/>
              <a:gd name="connsiteX23286" fmla="*/ 4590242 w 10505529"/>
              <a:gd name="connsiteY23286" fmla="*/ 3521059 h 7458372"/>
              <a:gd name="connsiteX23287" fmla="*/ 4600226 w 10505529"/>
              <a:gd name="connsiteY23287" fmla="*/ 3524520 h 7458372"/>
              <a:gd name="connsiteX23288" fmla="*/ 4605550 w 10505529"/>
              <a:gd name="connsiteY23288" fmla="*/ 3523722 h 7458372"/>
              <a:gd name="connsiteX23289" fmla="*/ 4609277 w 10505529"/>
              <a:gd name="connsiteY23289" fmla="*/ 3521325 h 7458372"/>
              <a:gd name="connsiteX23290" fmla="*/ 4611940 w 10505529"/>
              <a:gd name="connsiteY23290" fmla="*/ 3517066 h 7458372"/>
              <a:gd name="connsiteX23291" fmla="*/ 4613005 w 10505529"/>
              <a:gd name="connsiteY23291" fmla="*/ 3511608 h 7458372"/>
              <a:gd name="connsiteX23292" fmla="*/ 4611940 w 10505529"/>
              <a:gd name="connsiteY23292" fmla="*/ 3506416 h 7458372"/>
              <a:gd name="connsiteX23293" fmla="*/ 4609277 w 10505529"/>
              <a:gd name="connsiteY23293" fmla="*/ 3502157 h 7458372"/>
              <a:gd name="connsiteX23294" fmla="*/ 4605284 w 10505529"/>
              <a:gd name="connsiteY23294" fmla="*/ 3499495 h 7458372"/>
              <a:gd name="connsiteX23295" fmla="*/ 4600226 w 10505529"/>
              <a:gd name="connsiteY23295" fmla="*/ 3498563 h 7458372"/>
              <a:gd name="connsiteX23296" fmla="*/ 4382713 w 10505529"/>
              <a:gd name="connsiteY23296" fmla="*/ 3498563 h 7458372"/>
              <a:gd name="connsiteX23297" fmla="*/ 4372730 w 10505529"/>
              <a:gd name="connsiteY23297" fmla="*/ 3502157 h 7458372"/>
              <a:gd name="connsiteX23298" fmla="*/ 4369136 w 10505529"/>
              <a:gd name="connsiteY23298" fmla="*/ 3511608 h 7458372"/>
              <a:gd name="connsiteX23299" fmla="*/ 4372730 w 10505529"/>
              <a:gd name="connsiteY23299" fmla="*/ 3521059 h 7458372"/>
              <a:gd name="connsiteX23300" fmla="*/ 4382713 w 10505529"/>
              <a:gd name="connsiteY23300" fmla="*/ 3524520 h 7458372"/>
              <a:gd name="connsiteX23301" fmla="*/ 4388038 w 10505529"/>
              <a:gd name="connsiteY23301" fmla="*/ 3523722 h 7458372"/>
              <a:gd name="connsiteX23302" fmla="*/ 4391765 w 10505529"/>
              <a:gd name="connsiteY23302" fmla="*/ 3521325 h 7458372"/>
              <a:gd name="connsiteX23303" fmla="*/ 4394428 w 10505529"/>
              <a:gd name="connsiteY23303" fmla="*/ 3517066 h 7458372"/>
              <a:gd name="connsiteX23304" fmla="*/ 4395493 w 10505529"/>
              <a:gd name="connsiteY23304" fmla="*/ 3511608 h 7458372"/>
              <a:gd name="connsiteX23305" fmla="*/ 4394428 w 10505529"/>
              <a:gd name="connsiteY23305" fmla="*/ 3506416 h 7458372"/>
              <a:gd name="connsiteX23306" fmla="*/ 4391765 w 10505529"/>
              <a:gd name="connsiteY23306" fmla="*/ 3502157 h 7458372"/>
              <a:gd name="connsiteX23307" fmla="*/ 4387772 w 10505529"/>
              <a:gd name="connsiteY23307" fmla="*/ 3499495 h 7458372"/>
              <a:gd name="connsiteX23308" fmla="*/ 4382713 w 10505529"/>
              <a:gd name="connsiteY23308" fmla="*/ 3498563 h 7458372"/>
              <a:gd name="connsiteX23309" fmla="*/ 4165068 w 10505529"/>
              <a:gd name="connsiteY23309" fmla="*/ 3498563 h 7458372"/>
              <a:gd name="connsiteX23310" fmla="*/ 4155084 w 10505529"/>
              <a:gd name="connsiteY23310" fmla="*/ 3502157 h 7458372"/>
              <a:gd name="connsiteX23311" fmla="*/ 4151490 w 10505529"/>
              <a:gd name="connsiteY23311" fmla="*/ 3511608 h 7458372"/>
              <a:gd name="connsiteX23312" fmla="*/ 4155084 w 10505529"/>
              <a:gd name="connsiteY23312" fmla="*/ 3521059 h 7458372"/>
              <a:gd name="connsiteX23313" fmla="*/ 4165068 w 10505529"/>
              <a:gd name="connsiteY23313" fmla="*/ 3524520 h 7458372"/>
              <a:gd name="connsiteX23314" fmla="*/ 4170392 w 10505529"/>
              <a:gd name="connsiteY23314" fmla="*/ 3523722 h 7458372"/>
              <a:gd name="connsiteX23315" fmla="*/ 4174119 w 10505529"/>
              <a:gd name="connsiteY23315" fmla="*/ 3521325 h 7458372"/>
              <a:gd name="connsiteX23316" fmla="*/ 4176782 w 10505529"/>
              <a:gd name="connsiteY23316" fmla="*/ 3517066 h 7458372"/>
              <a:gd name="connsiteX23317" fmla="*/ 4177847 w 10505529"/>
              <a:gd name="connsiteY23317" fmla="*/ 3511608 h 7458372"/>
              <a:gd name="connsiteX23318" fmla="*/ 4176782 w 10505529"/>
              <a:gd name="connsiteY23318" fmla="*/ 3506416 h 7458372"/>
              <a:gd name="connsiteX23319" fmla="*/ 4174119 w 10505529"/>
              <a:gd name="connsiteY23319" fmla="*/ 3502157 h 7458372"/>
              <a:gd name="connsiteX23320" fmla="*/ 4170126 w 10505529"/>
              <a:gd name="connsiteY23320" fmla="*/ 3499495 h 7458372"/>
              <a:gd name="connsiteX23321" fmla="*/ 4165068 w 10505529"/>
              <a:gd name="connsiteY23321" fmla="*/ 3498563 h 7458372"/>
              <a:gd name="connsiteX23322" fmla="*/ 3947617 w 10505529"/>
              <a:gd name="connsiteY23322" fmla="*/ 3498563 h 7458372"/>
              <a:gd name="connsiteX23323" fmla="*/ 3937633 w 10505529"/>
              <a:gd name="connsiteY23323" fmla="*/ 3502157 h 7458372"/>
              <a:gd name="connsiteX23324" fmla="*/ 3934039 w 10505529"/>
              <a:gd name="connsiteY23324" fmla="*/ 3511608 h 7458372"/>
              <a:gd name="connsiteX23325" fmla="*/ 3937633 w 10505529"/>
              <a:gd name="connsiteY23325" fmla="*/ 3521059 h 7458372"/>
              <a:gd name="connsiteX23326" fmla="*/ 3947617 w 10505529"/>
              <a:gd name="connsiteY23326" fmla="*/ 3524520 h 7458372"/>
              <a:gd name="connsiteX23327" fmla="*/ 3952944 w 10505529"/>
              <a:gd name="connsiteY23327" fmla="*/ 3523722 h 7458372"/>
              <a:gd name="connsiteX23328" fmla="*/ 3956670 w 10505529"/>
              <a:gd name="connsiteY23328" fmla="*/ 3521325 h 7458372"/>
              <a:gd name="connsiteX23329" fmla="*/ 3959333 w 10505529"/>
              <a:gd name="connsiteY23329" fmla="*/ 3517066 h 7458372"/>
              <a:gd name="connsiteX23330" fmla="*/ 3960398 w 10505529"/>
              <a:gd name="connsiteY23330" fmla="*/ 3511608 h 7458372"/>
              <a:gd name="connsiteX23331" fmla="*/ 3959333 w 10505529"/>
              <a:gd name="connsiteY23331" fmla="*/ 3506416 h 7458372"/>
              <a:gd name="connsiteX23332" fmla="*/ 3956670 w 10505529"/>
              <a:gd name="connsiteY23332" fmla="*/ 3502157 h 7458372"/>
              <a:gd name="connsiteX23333" fmla="*/ 3952676 w 10505529"/>
              <a:gd name="connsiteY23333" fmla="*/ 3499495 h 7458372"/>
              <a:gd name="connsiteX23334" fmla="*/ 3947617 w 10505529"/>
              <a:gd name="connsiteY23334" fmla="*/ 3498563 h 7458372"/>
              <a:gd name="connsiteX23335" fmla="*/ 3729962 w 10505529"/>
              <a:gd name="connsiteY23335" fmla="*/ 3498563 h 7458372"/>
              <a:gd name="connsiteX23336" fmla="*/ 3719976 w 10505529"/>
              <a:gd name="connsiteY23336" fmla="*/ 3502157 h 7458372"/>
              <a:gd name="connsiteX23337" fmla="*/ 3716384 w 10505529"/>
              <a:gd name="connsiteY23337" fmla="*/ 3511608 h 7458372"/>
              <a:gd name="connsiteX23338" fmla="*/ 3719976 w 10505529"/>
              <a:gd name="connsiteY23338" fmla="*/ 3521059 h 7458372"/>
              <a:gd name="connsiteX23339" fmla="*/ 3729962 w 10505529"/>
              <a:gd name="connsiteY23339" fmla="*/ 3524520 h 7458372"/>
              <a:gd name="connsiteX23340" fmla="*/ 3735287 w 10505529"/>
              <a:gd name="connsiteY23340" fmla="*/ 3523722 h 7458372"/>
              <a:gd name="connsiteX23341" fmla="*/ 3739014 w 10505529"/>
              <a:gd name="connsiteY23341" fmla="*/ 3521325 h 7458372"/>
              <a:gd name="connsiteX23342" fmla="*/ 3741678 w 10505529"/>
              <a:gd name="connsiteY23342" fmla="*/ 3517066 h 7458372"/>
              <a:gd name="connsiteX23343" fmla="*/ 3742742 w 10505529"/>
              <a:gd name="connsiteY23343" fmla="*/ 3511608 h 7458372"/>
              <a:gd name="connsiteX23344" fmla="*/ 3741678 w 10505529"/>
              <a:gd name="connsiteY23344" fmla="*/ 3506416 h 7458372"/>
              <a:gd name="connsiteX23345" fmla="*/ 3739014 w 10505529"/>
              <a:gd name="connsiteY23345" fmla="*/ 3502157 h 7458372"/>
              <a:gd name="connsiteX23346" fmla="*/ 3735021 w 10505529"/>
              <a:gd name="connsiteY23346" fmla="*/ 3499495 h 7458372"/>
              <a:gd name="connsiteX23347" fmla="*/ 3729962 w 10505529"/>
              <a:gd name="connsiteY23347" fmla="*/ 3498563 h 7458372"/>
              <a:gd name="connsiteX23348" fmla="*/ 3512307 w 10505529"/>
              <a:gd name="connsiteY23348" fmla="*/ 3498563 h 7458372"/>
              <a:gd name="connsiteX23349" fmla="*/ 3502320 w 10505529"/>
              <a:gd name="connsiteY23349" fmla="*/ 3502157 h 7458372"/>
              <a:gd name="connsiteX23350" fmla="*/ 3498727 w 10505529"/>
              <a:gd name="connsiteY23350" fmla="*/ 3511608 h 7458372"/>
              <a:gd name="connsiteX23351" fmla="*/ 3502320 w 10505529"/>
              <a:gd name="connsiteY23351" fmla="*/ 3521059 h 7458372"/>
              <a:gd name="connsiteX23352" fmla="*/ 3512307 w 10505529"/>
              <a:gd name="connsiteY23352" fmla="*/ 3524520 h 7458372"/>
              <a:gd name="connsiteX23353" fmla="*/ 3517632 w 10505529"/>
              <a:gd name="connsiteY23353" fmla="*/ 3523722 h 7458372"/>
              <a:gd name="connsiteX23354" fmla="*/ 3521360 w 10505529"/>
              <a:gd name="connsiteY23354" fmla="*/ 3521325 h 7458372"/>
              <a:gd name="connsiteX23355" fmla="*/ 3524023 w 10505529"/>
              <a:gd name="connsiteY23355" fmla="*/ 3517066 h 7458372"/>
              <a:gd name="connsiteX23356" fmla="*/ 3525088 w 10505529"/>
              <a:gd name="connsiteY23356" fmla="*/ 3511608 h 7458372"/>
              <a:gd name="connsiteX23357" fmla="*/ 3524023 w 10505529"/>
              <a:gd name="connsiteY23357" fmla="*/ 3506416 h 7458372"/>
              <a:gd name="connsiteX23358" fmla="*/ 3521360 w 10505529"/>
              <a:gd name="connsiteY23358" fmla="*/ 3502157 h 7458372"/>
              <a:gd name="connsiteX23359" fmla="*/ 3517367 w 10505529"/>
              <a:gd name="connsiteY23359" fmla="*/ 3499495 h 7458372"/>
              <a:gd name="connsiteX23360" fmla="*/ 3512307 w 10505529"/>
              <a:gd name="connsiteY23360" fmla="*/ 3498563 h 7458372"/>
              <a:gd name="connsiteX23361" fmla="*/ 3294785 w 10505529"/>
              <a:gd name="connsiteY23361" fmla="*/ 3498563 h 7458372"/>
              <a:gd name="connsiteX23362" fmla="*/ 3284800 w 10505529"/>
              <a:gd name="connsiteY23362" fmla="*/ 3502157 h 7458372"/>
              <a:gd name="connsiteX23363" fmla="*/ 3281206 w 10505529"/>
              <a:gd name="connsiteY23363" fmla="*/ 3511608 h 7458372"/>
              <a:gd name="connsiteX23364" fmla="*/ 3284800 w 10505529"/>
              <a:gd name="connsiteY23364" fmla="*/ 3521059 h 7458372"/>
              <a:gd name="connsiteX23365" fmla="*/ 3294785 w 10505529"/>
              <a:gd name="connsiteY23365" fmla="*/ 3524520 h 7458372"/>
              <a:gd name="connsiteX23366" fmla="*/ 3300111 w 10505529"/>
              <a:gd name="connsiteY23366" fmla="*/ 3523722 h 7458372"/>
              <a:gd name="connsiteX23367" fmla="*/ 3303838 w 10505529"/>
              <a:gd name="connsiteY23367" fmla="*/ 3521325 h 7458372"/>
              <a:gd name="connsiteX23368" fmla="*/ 3306501 w 10505529"/>
              <a:gd name="connsiteY23368" fmla="*/ 3517066 h 7458372"/>
              <a:gd name="connsiteX23369" fmla="*/ 3307565 w 10505529"/>
              <a:gd name="connsiteY23369" fmla="*/ 3511608 h 7458372"/>
              <a:gd name="connsiteX23370" fmla="*/ 3306501 w 10505529"/>
              <a:gd name="connsiteY23370" fmla="*/ 3506416 h 7458372"/>
              <a:gd name="connsiteX23371" fmla="*/ 3303838 w 10505529"/>
              <a:gd name="connsiteY23371" fmla="*/ 3502157 h 7458372"/>
              <a:gd name="connsiteX23372" fmla="*/ 3299845 w 10505529"/>
              <a:gd name="connsiteY23372" fmla="*/ 3499495 h 7458372"/>
              <a:gd name="connsiteX23373" fmla="*/ 3294785 w 10505529"/>
              <a:gd name="connsiteY23373" fmla="*/ 3498563 h 7458372"/>
              <a:gd name="connsiteX23374" fmla="*/ 3077263 w 10505529"/>
              <a:gd name="connsiteY23374" fmla="*/ 3498563 h 7458372"/>
              <a:gd name="connsiteX23375" fmla="*/ 3067280 w 10505529"/>
              <a:gd name="connsiteY23375" fmla="*/ 3502157 h 7458372"/>
              <a:gd name="connsiteX23376" fmla="*/ 3063551 w 10505529"/>
              <a:gd name="connsiteY23376" fmla="*/ 3511608 h 7458372"/>
              <a:gd name="connsiteX23377" fmla="*/ 3067146 w 10505529"/>
              <a:gd name="connsiteY23377" fmla="*/ 3521059 h 7458372"/>
              <a:gd name="connsiteX23378" fmla="*/ 3077130 w 10505529"/>
              <a:gd name="connsiteY23378" fmla="*/ 3524520 h 7458372"/>
              <a:gd name="connsiteX23379" fmla="*/ 3082588 w 10505529"/>
              <a:gd name="connsiteY23379" fmla="*/ 3523722 h 7458372"/>
              <a:gd name="connsiteX23380" fmla="*/ 3086316 w 10505529"/>
              <a:gd name="connsiteY23380" fmla="*/ 3521325 h 7458372"/>
              <a:gd name="connsiteX23381" fmla="*/ 3088978 w 10505529"/>
              <a:gd name="connsiteY23381" fmla="*/ 3517066 h 7458372"/>
              <a:gd name="connsiteX23382" fmla="*/ 3089910 w 10505529"/>
              <a:gd name="connsiteY23382" fmla="*/ 3511608 h 7458372"/>
              <a:gd name="connsiteX23383" fmla="*/ 3088978 w 10505529"/>
              <a:gd name="connsiteY23383" fmla="*/ 3506416 h 7458372"/>
              <a:gd name="connsiteX23384" fmla="*/ 3086316 w 10505529"/>
              <a:gd name="connsiteY23384" fmla="*/ 3502157 h 7458372"/>
              <a:gd name="connsiteX23385" fmla="*/ 3082323 w 10505529"/>
              <a:gd name="connsiteY23385" fmla="*/ 3499495 h 7458372"/>
              <a:gd name="connsiteX23386" fmla="*/ 3077263 w 10505529"/>
              <a:gd name="connsiteY23386" fmla="*/ 3498563 h 7458372"/>
              <a:gd name="connsiteX23387" fmla="*/ 2859475 w 10505529"/>
              <a:gd name="connsiteY23387" fmla="*/ 3498563 h 7458372"/>
              <a:gd name="connsiteX23388" fmla="*/ 2849489 w 10505529"/>
              <a:gd name="connsiteY23388" fmla="*/ 3502157 h 7458372"/>
              <a:gd name="connsiteX23389" fmla="*/ 2845893 w 10505529"/>
              <a:gd name="connsiteY23389" fmla="*/ 3511608 h 7458372"/>
              <a:gd name="connsiteX23390" fmla="*/ 2849489 w 10505529"/>
              <a:gd name="connsiteY23390" fmla="*/ 3521059 h 7458372"/>
              <a:gd name="connsiteX23391" fmla="*/ 2859475 w 10505529"/>
              <a:gd name="connsiteY23391" fmla="*/ 3524520 h 7458372"/>
              <a:gd name="connsiteX23392" fmla="*/ 2864800 w 10505529"/>
              <a:gd name="connsiteY23392" fmla="*/ 3523722 h 7458372"/>
              <a:gd name="connsiteX23393" fmla="*/ 2868527 w 10505529"/>
              <a:gd name="connsiteY23393" fmla="*/ 3521325 h 7458372"/>
              <a:gd name="connsiteX23394" fmla="*/ 2871190 w 10505529"/>
              <a:gd name="connsiteY23394" fmla="*/ 3517066 h 7458372"/>
              <a:gd name="connsiteX23395" fmla="*/ 2872121 w 10505529"/>
              <a:gd name="connsiteY23395" fmla="*/ 3511608 h 7458372"/>
              <a:gd name="connsiteX23396" fmla="*/ 2871190 w 10505529"/>
              <a:gd name="connsiteY23396" fmla="*/ 3506416 h 7458372"/>
              <a:gd name="connsiteX23397" fmla="*/ 2868527 w 10505529"/>
              <a:gd name="connsiteY23397" fmla="*/ 3502157 h 7458372"/>
              <a:gd name="connsiteX23398" fmla="*/ 2864534 w 10505529"/>
              <a:gd name="connsiteY23398" fmla="*/ 3499495 h 7458372"/>
              <a:gd name="connsiteX23399" fmla="*/ 2859475 w 10505529"/>
              <a:gd name="connsiteY23399" fmla="*/ 3498563 h 7458372"/>
              <a:gd name="connsiteX23400" fmla="*/ 2641820 w 10505529"/>
              <a:gd name="connsiteY23400" fmla="*/ 3498563 h 7458372"/>
              <a:gd name="connsiteX23401" fmla="*/ 2631837 w 10505529"/>
              <a:gd name="connsiteY23401" fmla="*/ 3502157 h 7458372"/>
              <a:gd name="connsiteX23402" fmla="*/ 2628242 w 10505529"/>
              <a:gd name="connsiteY23402" fmla="*/ 3511608 h 7458372"/>
              <a:gd name="connsiteX23403" fmla="*/ 2631837 w 10505529"/>
              <a:gd name="connsiteY23403" fmla="*/ 3521059 h 7458372"/>
              <a:gd name="connsiteX23404" fmla="*/ 2641820 w 10505529"/>
              <a:gd name="connsiteY23404" fmla="*/ 3524520 h 7458372"/>
              <a:gd name="connsiteX23405" fmla="*/ 2647145 w 10505529"/>
              <a:gd name="connsiteY23405" fmla="*/ 3523722 h 7458372"/>
              <a:gd name="connsiteX23406" fmla="*/ 2650872 w 10505529"/>
              <a:gd name="connsiteY23406" fmla="*/ 3521325 h 7458372"/>
              <a:gd name="connsiteX23407" fmla="*/ 2653535 w 10505529"/>
              <a:gd name="connsiteY23407" fmla="*/ 3517066 h 7458372"/>
              <a:gd name="connsiteX23408" fmla="*/ 2654466 w 10505529"/>
              <a:gd name="connsiteY23408" fmla="*/ 3511608 h 7458372"/>
              <a:gd name="connsiteX23409" fmla="*/ 2653535 w 10505529"/>
              <a:gd name="connsiteY23409" fmla="*/ 3506416 h 7458372"/>
              <a:gd name="connsiteX23410" fmla="*/ 2650872 w 10505529"/>
              <a:gd name="connsiteY23410" fmla="*/ 3502157 h 7458372"/>
              <a:gd name="connsiteX23411" fmla="*/ 2646879 w 10505529"/>
              <a:gd name="connsiteY23411" fmla="*/ 3499495 h 7458372"/>
              <a:gd name="connsiteX23412" fmla="*/ 2641820 w 10505529"/>
              <a:gd name="connsiteY23412" fmla="*/ 3498563 h 7458372"/>
              <a:gd name="connsiteX23413" fmla="*/ 2424164 w 10505529"/>
              <a:gd name="connsiteY23413" fmla="*/ 3498563 h 7458372"/>
              <a:gd name="connsiteX23414" fmla="*/ 2414181 w 10505529"/>
              <a:gd name="connsiteY23414" fmla="*/ 3502157 h 7458372"/>
              <a:gd name="connsiteX23415" fmla="*/ 2410587 w 10505529"/>
              <a:gd name="connsiteY23415" fmla="*/ 3511608 h 7458372"/>
              <a:gd name="connsiteX23416" fmla="*/ 2414181 w 10505529"/>
              <a:gd name="connsiteY23416" fmla="*/ 3521059 h 7458372"/>
              <a:gd name="connsiteX23417" fmla="*/ 2424164 w 10505529"/>
              <a:gd name="connsiteY23417" fmla="*/ 3524520 h 7458372"/>
              <a:gd name="connsiteX23418" fmla="*/ 2429490 w 10505529"/>
              <a:gd name="connsiteY23418" fmla="*/ 3523722 h 7458372"/>
              <a:gd name="connsiteX23419" fmla="*/ 2433217 w 10505529"/>
              <a:gd name="connsiteY23419" fmla="*/ 3521325 h 7458372"/>
              <a:gd name="connsiteX23420" fmla="*/ 2435880 w 10505529"/>
              <a:gd name="connsiteY23420" fmla="*/ 3517066 h 7458372"/>
              <a:gd name="connsiteX23421" fmla="*/ 2436811 w 10505529"/>
              <a:gd name="connsiteY23421" fmla="*/ 3511608 h 7458372"/>
              <a:gd name="connsiteX23422" fmla="*/ 2435880 w 10505529"/>
              <a:gd name="connsiteY23422" fmla="*/ 3506416 h 7458372"/>
              <a:gd name="connsiteX23423" fmla="*/ 2433217 w 10505529"/>
              <a:gd name="connsiteY23423" fmla="*/ 3502157 h 7458372"/>
              <a:gd name="connsiteX23424" fmla="*/ 2429224 w 10505529"/>
              <a:gd name="connsiteY23424" fmla="*/ 3499495 h 7458372"/>
              <a:gd name="connsiteX23425" fmla="*/ 2424164 w 10505529"/>
              <a:gd name="connsiteY23425" fmla="*/ 3498563 h 7458372"/>
              <a:gd name="connsiteX23426" fmla="*/ 2206509 w 10505529"/>
              <a:gd name="connsiteY23426" fmla="*/ 3498563 h 7458372"/>
              <a:gd name="connsiteX23427" fmla="*/ 2196526 w 10505529"/>
              <a:gd name="connsiteY23427" fmla="*/ 3502157 h 7458372"/>
              <a:gd name="connsiteX23428" fmla="*/ 2192932 w 10505529"/>
              <a:gd name="connsiteY23428" fmla="*/ 3511608 h 7458372"/>
              <a:gd name="connsiteX23429" fmla="*/ 2196526 w 10505529"/>
              <a:gd name="connsiteY23429" fmla="*/ 3521059 h 7458372"/>
              <a:gd name="connsiteX23430" fmla="*/ 2206509 w 10505529"/>
              <a:gd name="connsiteY23430" fmla="*/ 3524520 h 7458372"/>
              <a:gd name="connsiteX23431" fmla="*/ 2211834 w 10505529"/>
              <a:gd name="connsiteY23431" fmla="*/ 3523722 h 7458372"/>
              <a:gd name="connsiteX23432" fmla="*/ 2215561 w 10505529"/>
              <a:gd name="connsiteY23432" fmla="*/ 3521325 h 7458372"/>
              <a:gd name="connsiteX23433" fmla="*/ 2218224 w 10505529"/>
              <a:gd name="connsiteY23433" fmla="*/ 3517066 h 7458372"/>
              <a:gd name="connsiteX23434" fmla="*/ 2219156 w 10505529"/>
              <a:gd name="connsiteY23434" fmla="*/ 3511608 h 7458372"/>
              <a:gd name="connsiteX23435" fmla="*/ 2218224 w 10505529"/>
              <a:gd name="connsiteY23435" fmla="*/ 3506416 h 7458372"/>
              <a:gd name="connsiteX23436" fmla="*/ 2215561 w 10505529"/>
              <a:gd name="connsiteY23436" fmla="*/ 3502157 h 7458372"/>
              <a:gd name="connsiteX23437" fmla="*/ 2211568 w 10505529"/>
              <a:gd name="connsiteY23437" fmla="*/ 3499495 h 7458372"/>
              <a:gd name="connsiteX23438" fmla="*/ 2206509 w 10505529"/>
              <a:gd name="connsiteY23438" fmla="*/ 3498563 h 7458372"/>
              <a:gd name="connsiteX23439" fmla="*/ 1988987 w 10505529"/>
              <a:gd name="connsiteY23439" fmla="*/ 3498563 h 7458372"/>
              <a:gd name="connsiteX23440" fmla="*/ 1979004 w 10505529"/>
              <a:gd name="connsiteY23440" fmla="*/ 3502157 h 7458372"/>
              <a:gd name="connsiteX23441" fmla="*/ 1975410 w 10505529"/>
              <a:gd name="connsiteY23441" fmla="*/ 3511608 h 7458372"/>
              <a:gd name="connsiteX23442" fmla="*/ 1979004 w 10505529"/>
              <a:gd name="connsiteY23442" fmla="*/ 3521059 h 7458372"/>
              <a:gd name="connsiteX23443" fmla="*/ 1988987 w 10505529"/>
              <a:gd name="connsiteY23443" fmla="*/ 3524520 h 7458372"/>
              <a:gd name="connsiteX23444" fmla="*/ 1994312 w 10505529"/>
              <a:gd name="connsiteY23444" fmla="*/ 3523722 h 7458372"/>
              <a:gd name="connsiteX23445" fmla="*/ 1998039 w 10505529"/>
              <a:gd name="connsiteY23445" fmla="*/ 3521325 h 7458372"/>
              <a:gd name="connsiteX23446" fmla="*/ 2000702 w 10505529"/>
              <a:gd name="connsiteY23446" fmla="*/ 3517066 h 7458372"/>
              <a:gd name="connsiteX23447" fmla="*/ 2001633 w 10505529"/>
              <a:gd name="connsiteY23447" fmla="*/ 3511608 h 7458372"/>
              <a:gd name="connsiteX23448" fmla="*/ 2000702 w 10505529"/>
              <a:gd name="connsiteY23448" fmla="*/ 3506416 h 7458372"/>
              <a:gd name="connsiteX23449" fmla="*/ 1998039 w 10505529"/>
              <a:gd name="connsiteY23449" fmla="*/ 3502157 h 7458372"/>
              <a:gd name="connsiteX23450" fmla="*/ 1994046 w 10505529"/>
              <a:gd name="connsiteY23450" fmla="*/ 3499495 h 7458372"/>
              <a:gd name="connsiteX23451" fmla="*/ 1988987 w 10505529"/>
              <a:gd name="connsiteY23451" fmla="*/ 3498563 h 7458372"/>
              <a:gd name="connsiteX23452" fmla="*/ 1771349 w 10505529"/>
              <a:gd name="connsiteY23452" fmla="*/ 3498563 h 7458372"/>
              <a:gd name="connsiteX23453" fmla="*/ 1761367 w 10505529"/>
              <a:gd name="connsiteY23453" fmla="*/ 3502157 h 7458372"/>
              <a:gd name="connsiteX23454" fmla="*/ 1757773 w 10505529"/>
              <a:gd name="connsiteY23454" fmla="*/ 3511608 h 7458372"/>
              <a:gd name="connsiteX23455" fmla="*/ 1761367 w 10505529"/>
              <a:gd name="connsiteY23455" fmla="*/ 3521059 h 7458372"/>
              <a:gd name="connsiteX23456" fmla="*/ 1771349 w 10505529"/>
              <a:gd name="connsiteY23456" fmla="*/ 3524520 h 7458372"/>
              <a:gd name="connsiteX23457" fmla="*/ 1776674 w 10505529"/>
              <a:gd name="connsiteY23457" fmla="*/ 3523722 h 7458372"/>
              <a:gd name="connsiteX23458" fmla="*/ 1780401 w 10505529"/>
              <a:gd name="connsiteY23458" fmla="*/ 3521325 h 7458372"/>
              <a:gd name="connsiteX23459" fmla="*/ 1783063 w 10505529"/>
              <a:gd name="connsiteY23459" fmla="*/ 3517066 h 7458372"/>
              <a:gd name="connsiteX23460" fmla="*/ 1784129 w 10505529"/>
              <a:gd name="connsiteY23460" fmla="*/ 3511608 h 7458372"/>
              <a:gd name="connsiteX23461" fmla="*/ 1783063 w 10505529"/>
              <a:gd name="connsiteY23461" fmla="*/ 3506416 h 7458372"/>
              <a:gd name="connsiteX23462" fmla="*/ 1780401 w 10505529"/>
              <a:gd name="connsiteY23462" fmla="*/ 3502157 h 7458372"/>
              <a:gd name="connsiteX23463" fmla="*/ 1776408 w 10505529"/>
              <a:gd name="connsiteY23463" fmla="*/ 3499495 h 7458372"/>
              <a:gd name="connsiteX23464" fmla="*/ 1771349 w 10505529"/>
              <a:gd name="connsiteY23464" fmla="*/ 3498563 h 7458372"/>
              <a:gd name="connsiteX23465" fmla="*/ 1553709 w 10505529"/>
              <a:gd name="connsiteY23465" fmla="*/ 3498563 h 7458372"/>
              <a:gd name="connsiteX23466" fmla="*/ 1543726 w 10505529"/>
              <a:gd name="connsiteY23466" fmla="*/ 3502157 h 7458372"/>
              <a:gd name="connsiteX23467" fmla="*/ 1540131 w 10505529"/>
              <a:gd name="connsiteY23467" fmla="*/ 3511608 h 7458372"/>
              <a:gd name="connsiteX23468" fmla="*/ 1543726 w 10505529"/>
              <a:gd name="connsiteY23468" fmla="*/ 3521059 h 7458372"/>
              <a:gd name="connsiteX23469" fmla="*/ 1553709 w 10505529"/>
              <a:gd name="connsiteY23469" fmla="*/ 3524520 h 7458372"/>
              <a:gd name="connsiteX23470" fmla="*/ 1559034 w 10505529"/>
              <a:gd name="connsiteY23470" fmla="*/ 3523722 h 7458372"/>
              <a:gd name="connsiteX23471" fmla="*/ 1562761 w 10505529"/>
              <a:gd name="connsiteY23471" fmla="*/ 3521325 h 7458372"/>
              <a:gd name="connsiteX23472" fmla="*/ 1565424 w 10505529"/>
              <a:gd name="connsiteY23472" fmla="*/ 3517066 h 7458372"/>
              <a:gd name="connsiteX23473" fmla="*/ 1566489 w 10505529"/>
              <a:gd name="connsiteY23473" fmla="*/ 3511608 h 7458372"/>
              <a:gd name="connsiteX23474" fmla="*/ 1565424 w 10505529"/>
              <a:gd name="connsiteY23474" fmla="*/ 3506416 h 7458372"/>
              <a:gd name="connsiteX23475" fmla="*/ 1562761 w 10505529"/>
              <a:gd name="connsiteY23475" fmla="*/ 3502157 h 7458372"/>
              <a:gd name="connsiteX23476" fmla="*/ 1558768 w 10505529"/>
              <a:gd name="connsiteY23476" fmla="*/ 3499495 h 7458372"/>
              <a:gd name="connsiteX23477" fmla="*/ 1553709 w 10505529"/>
              <a:gd name="connsiteY23477" fmla="*/ 3498563 h 7458372"/>
              <a:gd name="connsiteX23478" fmla="*/ 1336065 w 10505529"/>
              <a:gd name="connsiteY23478" fmla="*/ 3498563 h 7458372"/>
              <a:gd name="connsiteX23479" fmla="*/ 1326082 w 10505529"/>
              <a:gd name="connsiteY23479" fmla="*/ 3502157 h 7458372"/>
              <a:gd name="connsiteX23480" fmla="*/ 1322487 w 10505529"/>
              <a:gd name="connsiteY23480" fmla="*/ 3511608 h 7458372"/>
              <a:gd name="connsiteX23481" fmla="*/ 1326082 w 10505529"/>
              <a:gd name="connsiteY23481" fmla="*/ 3521059 h 7458372"/>
              <a:gd name="connsiteX23482" fmla="*/ 1336065 w 10505529"/>
              <a:gd name="connsiteY23482" fmla="*/ 3524520 h 7458372"/>
              <a:gd name="connsiteX23483" fmla="*/ 1341391 w 10505529"/>
              <a:gd name="connsiteY23483" fmla="*/ 3523722 h 7458372"/>
              <a:gd name="connsiteX23484" fmla="*/ 1345118 w 10505529"/>
              <a:gd name="connsiteY23484" fmla="*/ 3521325 h 7458372"/>
              <a:gd name="connsiteX23485" fmla="*/ 1347781 w 10505529"/>
              <a:gd name="connsiteY23485" fmla="*/ 3517066 h 7458372"/>
              <a:gd name="connsiteX23486" fmla="*/ 1348847 w 10505529"/>
              <a:gd name="connsiteY23486" fmla="*/ 3511608 h 7458372"/>
              <a:gd name="connsiteX23487" fmla="*/ 1347781 w 10505529"/>
              <a:gd name="connsiteY23487" fmla="*/ 3506416 h 7458372"/>
              <a:gd name="connsiteX23488" fmla="*/ 1345118 w 10505529"/>
              <a:gd name="connsiteY23488" fmla="*/ 3502157 h 7458372"/>
              <a:gd name="connsiteX23489" fmla="*/ 1341124 w 10505529"/>
              <a:gd name="connsiteY23489" fmla="*/ 3499495 h 7458372"/>
              <a:gd name="connsiteX23490" fmla="*/ 1336065 w 10505529"/>
              <a:gd name="connsiteY23490" fmla="*/ 3498563 h 7458372"/>
              <a:gd name="connsiteX23491" fmla="*/ 1118553 w 10505529"/>
              <a:gd name="connsiteY23491" fmla="*/ 3498563 h 7458372"/>
              <a:gd name="connsiteX23492" fmla="*/ 1108568 w 10505529"/>
              <a:gd name="connsiteY23492" fmla="*/ 3502157 h 7458372"/>
              <a:gd name="connsiteX23493" fmla="*/ 1104841 w 10505529"/>
              <a:gd name="connsiteY23493" fmla="*/ 3511608 h 7458372"/>
              <a:gd name="connsiteX23494" fmla="*/ 1108436 w 10505529"/>
              <a:gd name="connsiteY23494" fmla="*/ 3521059 h 7458372"/>
              <a:gd name="connsiteX23495" fmla="*/ 1118420 w 10505529"/>
              <a:gd name="connsiteY23495" fmla="*/ 3524520 h 7458372"/>
              <a:gd name="connsiteX23496" fmla="*/ 1123877 w 10505529"/>
              <a:gd name="connsiteY23496" fmla="*/ 3523722 h 7458372"/>
              <a:gd name="connsiteX23497" fmla="*/ 1127606 w 10505529"/>
              <a:gd name="connsiteY23497" fmla="*/ 3521325 h 7458372"/>
              <a:gd name="connsiteX23498" fmla="*/ 1130270 w 10505529"/>
              <a:gd name="connsiteY23498" fmla="*/ 3517066 h 7458372"/>
              <a:gd name="connsiteX23499" fmla="*/ 1131335 w 10505529"/>
              <a:gd name="connsiteY23499" fmla="*/ 3511608 h 7458372"/>
              <a:gd name="connsiteX23500" fmla="*/ 1130270 w 10505529"/>
              <a:gd name="connsiteY23500" fmla="*/ 3506416 h 7458372"/>
              <a:gd name="connsiteX23501" fmla="*/ 1127606 w 10505529"/>
              <a:gd name="connsiteY23501" fmla="*/ 3502157 h 7458372"/>
              <a:gd name="connsiteX23502" fmla="*/ 1123611 w 10505529"/>
              <a:gd name="connsiteY23502" fmla="*/ 3499495 h 7458372"/>
              <a:gd name="connsiteX23503" fmla="*/ 1118553 w 10505529"/>
              <a:gd name="connsiteY23503" fmla="*/ 3498563 h 7458372"/>
              <a:gd name="connsiteX23504" fmla="*/ 901041 w 10505529"/>
              <a:gd name="connsiteY23504" fmla="*/ 3498563 h 7458372"/>
              <a:gd name="connsiteX23505" fmla="*/ 891057 w 10505529"/>
              <a:gd name="connsiteY23505" fmla="*/ 3502157 h 7458372"/>
              <a:gd name="connsiteX23506" fmla="*/ 887330 w 10505529"/>
              <a:gd name="connsiteY23506" fmla="*/ 3511608 h 7458372"/>
              <a:gd name="connsiteX23507" fmla="*/ 890924 w 10505529"/>
              <a:gd name="connsiteY23507" fmla="*/ 3521059 h 7458372"/>
              <a:gd name="connsiteX23508" fmla="*/ 900907 w 10505529"/>
              <a:gd name="connsiteY23508" fmla="*/ 3524520 h 7458372"/>
              <a:gd name="connsiteX23509" fmla="*/ 906365 w 10505529"/>
              <a:gd name="connsiteY23509" fmla="*/ 3523722 h 7458372"/>
              <a:gd name="connsiteX23510" fmla="*/ 910093 w 10505529"/>
              <a:gd name="connsiteY23510" fmla="*/ 3521325 h 7458372"/>
              <a:gd name="connsiteX23511" fmla="*/ 912755 w 10505529"/>
              <a:gd name="connsiteY23511" fmla="*/ 3517066 h 7458372"/>
              <a:gd name="connsiteX23512" fmla="*/ 913821 w 10505529"/>
              <a:gd name="connsiteY23512" fmla="*/ 3511608 h 7458372"/>
              <a:gd name="connsiteX23513" fmla="*/ 912755 w 10505529"/>
              <a:gd name="connsiteY23513" fmla="*/ 3506416 h 7458372"/>
              <a:gd name="connsiteX23514" fmla="*/ 910093 w 10505529"/>
              <a:gd name="connsiteY23514" fmla="*/ 3502157 h 7458372"/>
              <a:gd name="connsiteX23515" fmla="*/ 906099 w 10505529"/>
              <a:gd name="connsiteY23515" fmla="*/ 3499495 h 7458372"/>
              <a:gd name="connsiteX23516" fmla="*/ 901041 w 10505529"/>
              <a:gd name="connsiteY23516" fmla="*/ 3498563 h 7458372"/>
              <a:gd name="connsiteX23517" fmla="*/ 683265 w 10505529"/>
              <a:gd name="connsiteY23517" fmla="*/ 3498563 h 7458372"/>
              <a:gd name="connsiteX23518" fmla="*/ 673282 w 10505529"/>
              <a:gd name="connsiteY23518" fmla="*/ 3502157 h 7458372"/>
              <a:gd name="connsiteX23519" fmla="*/ 669688 w 10505529"/>
              <a:gd name="connsiteY23519" fmla="*/ 3511608 h 7458372"/>
              <a:gd name="connsiteX23520" fmla="*/ 673282 w 10505529"/>
              <a:gd name="connsiteY23520" fmla="*/ 3521059 h 7458372"/>
              <a:gd name="connsiteX23521" fmla="*/ 683265 w 10505529"/>
              <a:gd name="connsiteY23521" fmla="*/ 3524520 h 7458372"/>
              <a:gd name="connsiteX23522" fmla="*/ 688591 w 10505529"/>
              <a:gd name="connsiteY23522" fmla="*/ 3523722 h 7458372"/>
              <a:gd name="connsiteX23523" fmla="*/ 692318 w 10505529"/>
              <a:gd name="connsiteY23523" fmla="*/ 3521325 h 7458372"/>
              <a:gd name="connsiteX23524" fmla="*/ 694981 w 10505529"/>
              <a:gd name="connsiteY23524" fmla="*/ 3517066 h 7458372"/>
              <a:gd name="connsiteX23525" fmla="*/ 696046 w 10505529"/>
              <a:gd name="connsiteY23525" fmla="*/ 3511608 h 7458372"/>
              <a:gd name="connsiteX23526" fmla="*/ 694981 w 10505529"/>
              <a:gd name="connsiteY23526" fmla="*/ 3506416 h 7458372"/>
              <a:gd name="connsiteX23527" fmla="*/ 692318 w 10505529"/>
              <a:gd name="connsiteY23527" fmla="*/ 3502157 h 7458372"/>
              <a:gd name="connsiteX23528" fmla="*/ 688325 w 10505529"/>
              <a:gd name="connsiteY23528" fmla="*/ 3499495 h 7458372"/>
              <a:gd name="connsiteX23529" fmla="*/ 683265 w 10505529"/>
              <a:gd name="connsiteY23529" fmla="*/ 3498563 h 7458372"/>
              <a:gd name="connsiteX23530" fmla="*/ 465623 w 10505529"/>
              <a:gd name="connsiteY23530" fmla="*/ 3498563 h 7458372"/>
              <a:gd name="connsiteX23531" fmla="*/ 455640 w 10505529"/>
              <a:gd name="connsiteY23531" fmla="*/ 3502157 h 7458372"/>
              <a:gd name="connsiteX23532" fmla="*/ 452046 w 10505529"/>
              <a:gd name="connsiteY23532" fmla="*/ 3511608 h 7458372"/>
              <a:gd name="connsiteX23533" fmla="*/ 455640 w 10505529"/>
              <a:gd name="connsiteY23533" fmla="*/ 3521059 h 7458372"/>
              <a:gd name="connsiteX23534" fmla="*/ 465623 w 10505529"/>
              <a:gd name="connsiteY23534" fmla="*/ 3524520 h 7458372"/>
              <a:gd name="connsiteX23535" fmla="*/ 470948 w 10505529"/>
              <a:gd name="connsiteY23535" fmla="*/ 3523722 h 7458372"/>
              <a:gd name="connsiteX23536" fmla="*/ 474675 w 10505529"/>
              <a:gd name="connsiteY23536" fmla="*/ 3521325 h 7458372"/>
              <a:gd name="connsiteX23537" fmla="*/ 477338 w 10505529"/>
              <a:gd name="connsiteY23537" fmla="*/ 3517066 h 7458372"/>
              <a:gd name="connsiteX23538" fmla="*/ 478403 w 10505529"/>
              <a:gd name="connsiteY23538" fmla="*/ 3511608 h 7458372"/>
              <a:gd name="connsiteX23539" fmla="*/ 477338 w 10505529"/>
              <a:gd name="connsiteY23539" fmla="*/ 3506416 h 7458372"/>
              <a:gd name="connsiteX23540" fmla="*/ 474675 w 10505529"/>
              <a:gd name="connsiteY23540" fmla="*/ 3502157 h 7458372"/>
              <a:gd name="connsiteX23541" fmla="*/ 470682 w 10505529"/>
              <a:gd name="connsiteY23541" fmla="*/ 3499495 h 7458372"/>
              <a:gd name="connsiteX23542" fmla="*/ 465623 w 10505529"/>
              <a:gd name="connsiteY23542" fmla="*/ 3498563 h 7458372"/>
              <a:gd name="connsiteX23543" fmla="*/ 247980 w 10505529"/>
              <a:gd name="connsiteY23543" fmla="*/ 3498563 h 7458372"/>
              <a:gd name="connsiteX23544" fmla="*/ 237997 w 10505529"/>
              <a:gd name="connsiteY23544" fmla="*/ 3502157 h 7458372"/>
              <a:gd name="connsiteX23545" fmla="*/ 234404 w 10505529"/>
              <a:gd name="connsiteY23545" fmla="*/ 3511608 h 7458372"/>
              <a:gd name="connsiteX23546" fmla="*/ 237997 w 10505529"/>
              <a:gd name="connsiteY23546" fmla="*/ 3521059 h 7458372"/>
              <a:gd name="connsiteX23547" fmla="*/ 247980 w 10505529"/>
              <a:gd name="connsiteY23547" fmla="*/ 3524520 h 7458372"/>
              <a:gd name="connsiteX23548" fmla="*/ 253305 w 10505529"/>
              <a:gd name="connsiteY23548" fmla="*/ 3523722 h 7458372"/>
              <a:gd name="connsiteX23549" fmla="*/ 257032 w 10505529"/>
              <a:gd name="connsiteY23549" fmla="*/ 3521325 h 7458372"/>
              <a:gd name="connsiteX23550" fmla="*/ 259695 w 10505529"/>
              <a:gd name="connsiteY23550" fmla="*/ 3517066 h 7458372"/>
              <a:gd name="connsiteX23551" fmla="*/ 260760 w 10505529"/>
              <a:gd name="connsiteY23551" fmla="*/ 3511608 h 7458372"/>
              <a:gd name="connsiteX23552" fmla="*/ 259695 w 10505529"/>
              <a:gd name="connsiteY23552" fmla="*/ 3506416 h 7458372"/>
              <a:gd name="connsiteX23553" fmla="*/ 257032 w 10505529"/>
              <a:gd name="connsiteY23553" fmla="*/ 3502157 h 7458372"/>
              <a:gd name="connsiteX23554" fmla="*/ 253039 w 10505529"/>
              <a:gd name="connsiteY23554" fmla="*/ 3499495 h 7458372"/>
              <a:gd name="connsiteX23555" fmla="*/ 247980 w 10505529"/>
              <a:gd name="connsiteY23555" fmla="*/ 3498563 h 7458372"/>
              <a:gd name="connsiteX23556" fmla="*/ 30337 w 10505529"/>
              <a:gd name="connsiteY23556" fmla="*/ 3498563 h 7458372"/>
              <a:gd name="connsiteX23557" fmla="*/ 20354 w 10505529"/>
              <a:gd name="connsiteY23557" fmla="*/ 3502157 h 7458372"/>
              <a:gd name="connsiteX23558" fmla="*/ 16761 w 10505529"/>
              <a:gd name="connsiteY23558" fmla="*/ 3511608 h 7458372"/>
              <a:gd name="connsiteX23559" fmla="*/ 20354 w 10505529"/>
              <a:gd name="connsiteY23559" fmla="*/ 3521059 h 7458372"/>
              <a:gd name="connsiteX23560" fmla="*/ 30337 w 10505529"/>
              <a:gd name="connsiteY23560" fmla="*/ 3524520 h 7458372"/>
              <a:gd name="connsiteX23561" fmla="*/ 35662 w 10505529"/>
              <a:gd name="connsiteY23561" fmla="*/ 3523722 h 7458372"/>
              <a:gd name="connsiteX23562" fmla="*/ 39389 w 10505529"/>
              <a:gd name="connsiteY23562" fmla="*/ 3521325 h 7458372"/>
              <a:gd name="connsiteX23563" fmla="*/ 42053 w 10505529"/>
              <a:gd name="connsiteY23563" fmla="*/ 3517066 h 7458372"/>
              <a:gd name="connsiteX23564" fmla="*/ 42984 w 10505529"/>
              <a:gd name="connsiteY23564" fmla="*/ 3511608 h 7458372"/>
              <a:gd name="connsiteX23565" fmla="*/ 42053 w 10505529"/>
              <a:gd name="connsiteY23565" fmla="*/ 3506416 h 7458372"/>
              <a:gd name="connsiteX23566" fmla="*/ 39389 w 10505529"/>
              <a:gd name="connsiteY23566" fmla="*/ 3502157 h 7458372"/>
              <a:gd name="connsiteX23567" fmla="*/ 35397 w 10505529"/>
              <a:gd name="connsiteY23567" fmla="*/ 3499495 h 7458372"/>
              <a:gd name="connsiteX23568" fmla="*/ 30337 w 10505529"/>
              <a:gd name="connsiteY23568" fmla="*/ 3498563 h 7458372"/>
              <a:gd name="connsiteX23569" fmla="*/ 10475977 w 10505529"/>
              <a:gd name="connsiteY23569" fmla="*/ 3481923 h 7458372"/>
              <a:gd name="connsiteX23570" fmla="*/ 10487824 w 10505529"/>
              <a:gd name="connsiteY23570" fmla="*/ 3484451 h 7458372"/>
              <a:gd name="connsiteX23571" fmla="*/ 10497143 w 10505529"/>
              <a:gd name="connsiteY23571" fmla="*/ 3490842 h 7458372"/>
              <a:gd name="connsiteX23572" fmla="*/ 10503266 w 10505529"/>
              <a:gd name="connsiteY23572" fmla="*/ 3500292 h 7458372"/>
              <a:gd name="connsiteX23573" fmla="*/ 10505529 w 10505529"/>
              <a:gd name="connsiteY23573" fmla="*/ 3511741 h 7458372"/>
              <a:gd name="connsiteX23574" fmla="*/ 10503266 w 10505529"/>
              <a:gd name="connsiteY23574" fmla="*/ 3523456 h 7458372"/>
              <a:gd name="connsiteX23575" fmla="*/ 10497143 w 10505529"/>
              <a:gd name="connsiteY23575" fmla="*/ 3532774 h 7458372"/>
              <a:gd name="connsiteX23576" fmla="*/ 10487824 w 10505529"/>
              <a:gd name="connsiteY23576" fmla="*/ 3539030 h 7458372"/>
              <a:gd name="connsiteX23577" fmla="*/ 10475977 w 10505529"/>
              <a:gd name="connsiteY23577" fmla="*/ 3541293 h 7458372"/>
              <a:gd name="connsiteX23578" fmla="*/ 10454145 w 10505529"/>
              <a:gd name="connsiteY23578" fmla="*/ 3532774 h 7458372"/>
              <a:gd name="connsiteX23579" fmla="*/ 10445759 w 10505529"/>
              <a:gd name="connsiteY23579" fmla="*/ 3511608 h 7458372"/>
              <a:gd name="connsiteX23580" fmla="*/ 10454145 w 10505529"/>
              <a:gd name="connsiteY23580" fmla="*/ 3490575 h 7458372"/>
              <a:gd name="connsiteX23581" fmla="*/ 10475977 w 10505529"/>
              <a:gd name="connsiteY23581" fmla="*/ 3481923 h 7458372"/>
              <a:gd name="connsiteX23582" fmla="*/ 10258466 w 10505529"/>
              <a:gd name="connsiteY23582" fmla="*/ 3481923 h 7458372"/>
              <a:gd name="connsiteX23583" fmla="*/ 10270313 w 10505529"/>
              <a:gd name="connsiteY23583" fmla="*/ 3484451 h 7458372"/>
              <a:gd name="connsiteX23584" fmla="*/ 10279631 w 10505529"/>
              <a:gd name="connsiteY23584" fmla="*/ 3490842 h 7458372"/>
              <a:gd name="connsiteX23585" fmla="*/ 10285754 w 10505529"/>
              <a:gd name="connsiteY23585" fmla="*/ 3500292 h 7458372"/>
              <a:gd name="connsiteX23586" fmla="*/ 10288017 w 10505529"/>
              <a:gd name="connsiteY23586" fmla="*/ 3511741 h 7458372"/>
              <a:gd name="connsiteX23587" fmla="*/ 10285754 w 10505529"/>
              <a:gd name="connsiteY23587" fmla="*/ 3523456 h 7458372"/>
              <a:gd name="connsiteX23588" fmla="*/ 10279631 w 10505529"/>
              <a:gd name="connsiteY23588" fmla="*/ 3532774 h 7458372"/>
              <a:gd name="connsiteX23589" fmla="*/ 10270313 w 10505529"/>
              <a:gd name="connsiteY23589" fmla="*/ 3539030 h 7458372"/>
              <a:gd name="connsiteX23590" fmla="*/ 10258466 w 10505529"/>
              <a:gd name="connsiteY23590" fmla="*/ 3541293 h 7458372"/>
              <a:gd name="connsiteX23591" fmla="*/ 10236633 w 10505529"/>
              <a:gd name="connsiteY23591" fmla="*/ 3532774 h 7458372"/>
              <a:gd name="connsiteX23592" fmla="*/ 10228247 w 10505529"/>
              <a:gd name="connsiteY23592" fmla="*/ 3511608 h 7458372"/>
              <a:gd name="connsiteX23593" fmla="*/ 10236633 w 10505529"/>
              <a:gd name="connsiteY23593" fmla="*/ 3490575 h 7458372"/>
              <a:gd name="connsiteX23594" fmla="*/ 10258466 w 10505529"/>
              <a:gd name="connsiteY23594" fmla="*/ 3481923 h 7458372"/>
              <a:gd name="connsiteX23595" fmla="*/ 10040820 w 10505529"/>
              <a:gd name="connsiteY23595" fmla="*/ 3481923 h 7458372"/>
              <a:gd name="connsiteX23596" fmla="*/ 10052534 w 10505529"/>
              <a:gd name="connsiteY23596" fmla="*/ 3484451 h 7458372"/>
              <a:gd name="connsiteX23597" fmla="*/ 10061852 w 10505529"/>
              <a:gd name="connsiteY23597" fmla="*/ 3490842 h 7458372"/>
              <a:gd name="connsiteX23598" fmla="*/ 10067976 w 10505529"/>
              <a:gd name="connsiteY23598" fmla="*/ 3500292 h 7458372"/>
              <a:gd name="connsiteX23599" fmla="*/ 10070239 w 10505529"/>
              <a:gd name="connsiteY23599" fmla="*/ 3511741 h 7458372"/>
              <a:gd name="connsiteX23600" fmla="*/ 10067976 w 10505529"/>
              <a:gd name="connsiteY23600" fmla="*/ 3523456 h 7458372"/>
              <a:gd name="connsiteX23601" fmla="*/ 10061852 w 10505529"/>
              <a:gd name="connsiteY23601" fmla="*/ 3532774 h 7458372"/>
              <a:gd name="connsiteX23602" fmla="*/ 10052534 w 10505529"/>
              <a:gd name="connsiteY23602" fmla="*/ 3539030 h 7458372"/>
              <a:gd name="connsiteX23603" fmla="*/ 10040820 w 10505529"/>
              <a:gd name="connsiteY23603" fmla="*/ 3541293 h 7458372"/>
              <a:gd name="connsiteX23604" fmla="*/ 10018988 w 10505529"/>
              <a:gd name="connsiteY23604" fmla="*/ 3532774 h 7458372"/>
              <a:gd name="connsiteX23605" fmla="*/ 10010602 w 10505529"/>
              <a:gd name="connsiteY23605" fmla="*/ 3511608 h 7458372"/>
              <a:gd name="connsiteX23606" fmla="*/ 10018988 w 10505529"/>
              <a:gd name="connsiteY23606" fmla="*/ 3490575 h 7458372"/>
              <a:gd name="connsiteX23607" fmla="*/ 10040820 w 10505529"/>
              <a:gd name="connsiteY23607" fmla="*/ 3481923 h 7458372"/>
              <a:gd name="connsiteX23608" fmla="*/ 9823176 w 10505529"/>
              <a:gd name="connsiteY23608" fmla="*/ 3481923 h 7458372"/>
              <a:gd name="connsiteX23609" fmla="*/ 9834890 w 10505529"/>
              <a:gd name="connsiteY23609" fmla="*/ 3484451 h 7458372"/>
              <a:gd name="connsiteX23610" fmla="*/ 9844208 w 10505529"/>
              <a:gd name="connsiteY23610" fmla="*/ 3490842 h 7458372"/>
              <a:gd name="connsiteX23611" fmla="*/ 9850331 w 10505529"/>
              <a:gd name="connsiteY23611" fmla="*/ 3500292 h 7458372"/>
              <a:gd name="connsiteX23612" fmla="*/ 9852595 w 10505529"/>
              <a:gd name="connsiteY23612" fmla="*/ 3511741 h 7458372"/>
              <a:gd name="connsiteX23613" fmla="*/ 9850331 w 10505529"/>
              <a:gd name="connsiteY23613" fmla="*/ 3523456 h 7458372"/>
              <a:gd name="connsiteX23614" fmla="*/ 9844208 w 10505529"/>
              <a:gd name="connsiteY23614" fmla="*/ 3532774 h 7458372"/>
              <a:gd name="connsiteX23615" fmla="*/ 9834890 w 10505529"/>
              <a:gd name="connsiteY23615" fmla="*/ 3539030 h 7458372"/>
              <a:gd name="connsiteX23616" fmla="*/ 9823176 w 10505529"/>
              <a:gd name="connsiteY23616" fmla="*/ 3541293 h 7458372"/>
              <a:gd name="connsiteX23617" fmla="*/ 9801343 w 10505529"/>
              <a:gd name="connsiteY23617" fmla="*/ 3532774 h 7458372"/>
              <a:gd name="connsiteX23618" fmla="*/ 9792957 w 10505529"/>
              <a:gd name="connsiteY23618" fmla="*/ 3511608 h 7458372"/>
              <a:gd name="connsiteX23619" fmla="*/ 9801343 w 10505529"/>
              <a:gd name="connsiteY23619" fmla="*/ 3490575 h 7458372"/>
              <a:gd name="connsiteX23620" fmla="*/ 9823176 w 10505529"/>
              <a:gd name="connsiteY23620" fmla="*/ 3481923 h 7458372"/>
              <a:gd name="connsiteX23621" fmla="*/ 9605531 w 10505529"/>
              <a:gd name="connsiteY23621" fmla="*/ 3481923 h 7458372"/>
              <a:gd name="connsiteX23622" fmla="*/ 9617245 w 10505529"/>
              <a:gd name="connsiteY23622" fmla="*/ 3484451 h 7458372"/>
              <a:gd name="connsiteX23623" fmla="*/ 9626562 w 10505529"/>
              <a:gd name="connsiteY23623" fmla="*/ 3490842 h 7458372"/>
              <a:gd name="connsiteX23624" fmla="*/ 9632686 w 10505529"/>
              <a:gd name="connsiteY23624" fmla="*/ 3500292 h 7458372"/>
              <a:gd name="connsiteX23625" fmla="*/ 9634949 w 10505529"/>
              <a:gd name="connsiteY23625" fmla="*/ 3511741 h 7458372"/>
              <a:gd name="connsiteX23626" fmla="*/ 9632686 w 10505529"/>
              <a:gd name="connsiteY23626" fmla="*/ 3523456 h 7458372"/>
              <a:gd name="connsiteX23627" fmla="*/ 9626562 w 10505529"/>
              <a:gd name="connsiteY23627" fmla="*/ 3532774 h 7458372"/>
              <a:gd name="connsiteX23628" fmla="*/ 9617245 w 10505529"/>
              <a:gd name="connsiteY23628" fmla="*/ 3539030 h 7458372"/>
              <a:gd name="connsiteX23629" fmla="*/ 9605531 w 10505529"/>
              <a:gd name="connsiteY23629" fmla="*/ 3541293 h 7458372"/>
              <a:gd name="connsiteX23630" fmla="*/ 9583698 w 10505529"/>
              <a:gd name="connsiteY23630" fmla="*/ 3532774 h 7458372"/>
              <a:gd name="connsiteX23631" fmla="*/ 9575312 w 10505529"/>
              <a:gd name="connsiteY23631" fmla="*/ 3511608 h 7458372"/>
              <a:gd name="connsiteX23632" fmla="*/ 9583698 w 10505529"/>
              <a:gd name="connsiteY23632" fmla="*/ 3490575 h 7458372"/>
              <a:gd name="connsiteX23633" fmla="*/ 9605531 w 10505529"/>
              <a:gd name="connsiteY23633" fmla="*/ 3481923 h 7458372"/>
              <a:gd name="connsiteX23634" fmla="*/ 9387885 w 10505529"/>
              <a:gd name="connsiteY23634" fmla="*/ 3481923 h 7458372"/>
              <a:gd name="connsiteX23635" fmla="*/ 9399599 w 10505529"/>
              <a:gd name="connsiteY23635" fmla="*/ 3484451 h 7458372"/>
              <a:gd name="connsiteX23636" fmla="*/ 9408917 w 10505529"/>
              <a:gd name="connsiteY23636" fmla="*/ 3490842 h 7458372"/>
              <a:gd name="connsiteX23637" fmla="*/ 9415041 w 10505529"/>
              <a:gd name="connsiteY23637" fmla="*/ 3500292 h 7458372"/>
              <a:gd name="connsiteX23638" fmla="*/ 9417304 w 10505529"/>
              <a:gd name="connsiteY23638" fmla="*/ 3511741 h 7458372"/>
              <a:gd name="connsiteX23639" fmla="*/ 9415041 w 10505529"/>
              <a:gd name="connsiteY23639" fmla="*/ 3523456 h 7458372"/>
              <a:gd name="connsiteX23640" fmla="*/ 9408917 w 10505529"/>
              <a:gd name="connsiteY23640" fmla="*/ 3532774 h 7458372"/>
              <a:gd name="connsiteX23641" fmla="*/ 9399599 w 10505529"/>
              <a:gd name="connsiteY23641" fmla="*/ 3539030 h 7458372"/>
              <a:gd name="connsiteX23642" fmla="*/ 9387885 w 10505529"/>
              <a:gd name="connsiteY23642" fmla="*/ 3541293 h 7458372"/>
              <a:gd name="connsiteX23643" fmla="*/ 9366053 w 10505529"/>
              <a:gd name="connsiteY23643" fmla="*/ 3532774 h 7458372"/>
              <a:gd name="connsiteX23644" fmla="*/ 9357667 w 10505529"/>
              <a:gd name="connsiteY23644" fmla="*/ 3511608 h 7458372"/>
              <a:gd name="connsiteX23645" fmla="*/ 9366053 w 10505529"/>
              <a:gd name="connsiteY23645" fmla="*/ 3490575 h 7458372"/>
              <a:gd name="connsiteX23646" fmla="*/ 9387885 w 10505529"/>
              <a:gd name="connsiteY23646" fmla="*/ 3481923 h 7458372"/>
              <a:gd name="connsiteX23647" fmla="*/ 9170374 w 10505529"/>
              <a:gd name="connsiteY23647" fmla="*/ 3481923 h 7458372"/>
              <a:gd name="connsiteX23648" fmla="*/ 9182088 w 10505529"/>
              <a:gd name="connsiteY23648" fmla="*/ 3484451 h 7458372"/>
              <a:gd name="connsiteX23649" fmla="*/ 9191405 w 10505529"/>
              <a:gd name="connsiteY23649" fmla="*/ 3490842 h 7458372"/>
              <a:gd name="connsiteX23650" fmla="*/ 9197529 w 10505529"/>
              <a:gd name="connsiteY23650" fmla="*/ 3500292 h 7458372"/>
              <a:gd name="connsiteX23651" fmla="*/ 9199792 w 10505529"/>
              <a:gd name="connsiteY23651" fmla="*/ 3511741 h 7458372"/>
              <a:gd name="connsiteX23652" fmla="*/ 9197529 w 10505529"/>
              <a:gd name="connsiteY23652" fmla="*/ 3523456 h 7458372"/>
              <a:gd name="connsiteX23653" fmla="*/ 9191405 w 10505529"/>
              <a:gd name="connsiteY23653" fmla="*/ 3532774 h 7458372"/>
              <a:gd name="connsiteX23654" fmla="*/ 9182088 w 10505529"/>
              <a:gd name="connsiteY23654" fmla="*/ 3539030 h 7458372"/>
              <a:gd name="connsiteX23655" fmla="*/ 9170374 w 10505529"/>
              <a:gd name="connsiteY23655" fmla="*/ 3541293 h 7458372"/>
              <a:gd name="connsiteX23656" fmla="*/ 9148541 w 10505529"/>
              <a:gd name="connsiteY23656" fmla="*/ 3532774 h 7458372"/>
              <a:gd name="connsiteX23657" fmla="*/ 9140155 w 10505529"/>
              <a:gd name="connsiteY23657" fmla="*/ 3511608 h 7458372"/>
              <a:gd name="connsiteX23658" fmla="*/ 9148541 w 10505529"/>
              <a:gd name="connsiteY23658" fmla="*/ 3490575 h 7458372"/>
              <a:gd name="connsiteX23659" fmla="*/ 9170374 w 10505529"/>
              <a:gd name="connsiteY23659" fmla="*/ 3481923 h 7458372"/>
              <a:gd name="connsiteX23660" fmla="*/ 8952728 w 10505529"/>
              <a:gd name="connsiteY23660" fmla="*/ 3481923 h 7458372"/>
              <a:gd name="connsiteX23661" fmla="*/ 8964442 w 10505529"/>
              <a:gd name="connsiteY23661" fmla="*/ 3484451 h 7458372"/>
              <a:gd name="connsiteX23662" fmla="*/ 8973760 w 10505529"/>
              <a:gd name="connsiteY23662" fmla="*/ 3490842 h 7458372"/>
              <a:gd name="connsiteX23663" fmla="*/ 8979884 w 10505529"/>
              <a:gd name="connsiteY23663" fmla="*/ 3500292 h 7458372"/>
              <a:gd name="connsiteX23664" fmla="*/ 8982147 w 10505529"/>
              <a:gd name="connsiteY23664" fmla="*/ 3511741 h 7458372"/>
              <a:gd name="connsiteX23665" fmla="*/ 8979884 w 10505529"/>
              <a:gd name="connsiteY23665" fmla="*/ 3523456 h 7458372"/>
              <a:gd name="connsiteX23666" fmla="*/ 8973760 w 10505529"/>
              <a:gd name="connsiteY23666" fmla="*/ 3532774 h 7458372"/>
              <a:gd name="connsiteX23667" fmla="*/ 8964442 w 10505529"/>
              <a:gd name="connsiteY23667" fmla="*/ 3539030 h 7458372"/>
              <a:gd name="connsiteX23668" fmla="*/ 8952728 w 10505529"/>
              <a:gd name="connsiteY23668" fmla="*/ 3541293 h 7458372"/>
              <a:gd name="connsiteX23669" fmla="*/ 8930896 w 10505529"/>
              <a:gd name="connsiteY23669" fmla="*/ 3532774 h 7458372"/>
              <a:gd name="connsiteX23670" fmla="*/ 8922510 w 10505529"/>
              <a:gd name="connsiteY23670" fmla="*/ 3511608 h 7458372"/>
              <a:gd name="connsiteX23671" fmla="*/ 8930896 w 10505529"/>
              <a:gd name="connsiteY23671" fmla="*/ 3490575 h 7458372"/>
              <a:gd name="connsiteX23672" fmla="*/ 8952728 w 10505529"/>
              <a:gd name="connsiteY23672" fmla="*/ 3481923 h 7458372"/>
              <a:gd name="connsiteX23673" fmla="*/ 8735083 w 10505529"/>
              <a:gd name="connsiteY23673" fmla="*/ 3481923 h 7458372"/>
              <a:gd name="connsiteX23674" fmla="*/ 8746797 w 10505529"/>
              <a:gd name="connsiteY23674" fmla="*/ 3484451 h 7458372"/>
              <a:gd name="connsiteX23675" fmla="*/ 8756115 w 10505529"/>
              <a:gd name="connsiteY23675" fmla="*/ 3490842 h 7458372"/>
              <a:gd name="connsiteX23676" fmla="*/ 8762238 w 10505529"/>
              <a:gd name="connsiteY23676" fmla="*/ 3500292 h 7458372"/>
              <a:gd name="connsiteX23677" fmla="*/ 8764502 w 10505529"/>
              <a:gd name="connsiteY23677" fmla="*/ 3511741 h 7458372"/>
              <a:gd name="connsiteX23678" fmla="*/ 8762238 w 10505529"/>
              <a:gd name="connsiteY23678" fmla="*/ 3523456 h 7458372"/>
              <a:gd name="connsiteX23679" fmla="*/ 8756115 w 10505529"/>
              <a:gd name="connsiteY23679" fmla="*/ 3532774 h 7458372"/>
              <a:gd name="connsiteX23680" fmla="*/ 8746797 w 10505529"/>
              <a:gd name="connsiteY23680" fmla="*/ 3539030 h 7458372"/>
              <a:gd name="connsiteX23681" fmla="*/ 8735083 w 10505529"/>
              <a:gd name="connsiteY23681" fmla="*/ 3541293 h 7458372"/>
              <a:gd name="connsiteX23682" fmla="*/ 8713250 w 10505529"/>
              <a:gd name="connsiteY23682" fmla="*/ 3532774 h 7458372"/>
              <a:gd name="connsiteX23683" fmla="*/ 8704864 w 10505529"/>
              <a:gd name="connsiteY23683" fmla="*/ 3511608 h 7458372"/>
              <a:gd name="connsiteX23684" fmla="*/ 8713250 w 10505529"/>
              <a:gd name="connsiteY23684" fmla="*/ 3490575 h 7458372"/>
              <a:gd name="connsiteX23685" fmla="*/ 8735083 w 10505529"/>
              <a:gd name="connsiteY23685" fmla="*/ 3481923 h 7458372"/>
              <a:gd name="connsiteX23686" fmla="*/ 8517438 w 10505529"/>
              <a:gd name="connsiteY23686" fmla="*/ 3481923 h 7458372"/>
              <a:gd name="connsiteX23687" fmla="*/ 8529152 w 10505529"/>
              <a:gd name="connsiteY23687" fmla="*/ 3484451 h 7458372"/>
              <a:gd name="connsiteX23688" fmla="*/ 8538470 w 10505529"/>
              <a:gd name="connsiteY23688" fmla="*/ 3490842 h 7458372"/>
              <a:gd name="connsiteX23689" fmla="*/ 8544594 w 10505529"/>
              <a:gd name="connsiteY23689" fmla="*/ 3500292 h 7458372"/>
              <a:gd name="connsiteX23690" fmla="*/ 8546857 w 10505529"/>
              <a:gd name="connsiteY23690" fmla="*/ 3511741 h 7458372"/>
              <a:gd name="connsiteX23691" fmla="*/ 8544594 w 10505529"/>
              <a:gd name="connsiteY23691" fmla="*/ 3523456 h 7458372"/>
              <a:gd name="connsiteX23692" fmla="*/ 8538470 w 10505529"/>
              <a:gd name="connsiteY23692" fmla="*/ 3532774 h 7458372"/>
              <a:gd name="connsiteX23693" fmla="*/ 8529152 w 10505529"/>
              <a:gd name="connsiteY23693" fmla="*/ 3539030 h 7458372"/>
              <a:gd name="connsiteX23694" fmla="*/ 8517438 w 10505529"/>
              <a:gd name="connsiteY23694" fmla="*/ 3541293 h 7458372"/>
              <a:gd name="connsiteX23695" fmla="*/ 8495606 w 10505529"/>
              <a:gd name="connsiteY23695" fmla="*/ 3532774 h 7458372"/>
              <a:gd name="connsiteX23696" fmla="*/ 8487220 w 10505529"/>
              <a:gd name="connsiteY23696" fmla="*/ 3511608 h 7458372"/>
              <a:gd name="connsiteX23697" fmla="*/ 8495606 w 10505529"/>
              <a:gd name="connsiteY23697" fmla="*/ 3490575 h 7458372"/>
              <a:gd name="connsiteX23698" fmla="*/ 8517438 w 10505529"/>
              <a:gd name="connsiteY23698" fmla="*/ 3481923 h 7458372"/>
              <a:gd name="connsiteX23699" fmla="*/ 8299793 w 10505529"/>
              <a:gd name="connsiteY23699" fmla="*/ 3481923 h 7458372"/>
              <a:gd name="connsiteX23700" fmla="*/ 8311507 w 10505529"/>
              <a:gd name="connsiteY23700" fmla="*/ 3484451 h 7458372"/>
              <a:gd name="connsiteX23701" fmla="*/ 8320825 w 10505529"/>
              <a:gd name="connsiteY23701" fmla="*/ 3490842 h 7458372"/>
              <a:gd name="connsiteX23702" fmla="*/ 8326948 w 10505529"/>
              <a:gd name="connsiteY23702" fmla="*/ 3500292 h 7458372"/>
              <a:gd name="connsiteX23703" fmla="*/ 8329212 w 10505529"/>
              <a:gd name="connsiteY23703" fmla="*/ 3511741 h 7458372"/>
              <a:gd name="connsiteX23704" fmla="*/ 8326948 w 10505529"/>
              <a:gd name="connsiteY23704" fmla="*/ 3523456 h 7458372"/>
              <a:gd name="connsiteX23705" fmla="*/ 8320825 w 10505529"/>
              <a:gd name="connsiteY23705" fmla="*/ 3532774 h 7458372"/>
              <a:gd name="connsiteX23706" fmla="*/ 8311507 w 10505529"/>
              <a:gd name="connsiteY23706" fmla="*/ 3539030 h 7458372"/>
              <a:gd name="connsiteX23707" fmla="*/ 8299793 w 10505529"/>
              <a:gd name="connsiteY23707" fmla="*/ 3541293 h 7458372"/>
              <a:gd name="connsiteX23708" fmla="*/ 8277960 w 10505529"/>
              <a:gd name="connsiteY23708" fmla="*/ 3532774 h 7458372"/>
              <a:gd name="connsiteX23709" fmla="*/ 8269574 w 10505529"/>
              <a:gd name="connsiteY23709" fmla="*/ 3511608 h 7458372"/>
              <a:gd name="connsiteX23710" fmla="*/ 8277960 w 10505529"/>
              <a:gd name="connsiteY23710" fmla="*/ 3490575 h 7458372"/>
              <a:gd name="connsiteX23711" fmla="*/ 8299793 w 10505529"/>
              <a:gd name="connsiteY23711" fmla="*/ 3481923 h 7458372"/>
              <a:gd name="connsiteX23712" fmla="*/ 8082281 w 10505529"/>
              <a:gd name="connsiteY23712" fmla="*/ 3481923 h 7458372"/>
              <a:gd name="connsiteX23713" fmla="*/ 8094127 w 10505529"/>
              <a:gd name="connsiteY23713" fmla="*/ 3484451 h 7458372"/>
              <a:gd name="connsiteX23714" fmla="*/ 8103446 w 10505529"/>
              <a:gd name="connsiteY23714" fmla="*/ 3490842 h 7458372"/>
              <a:gd name="connsiteX23715" fmla="*/ 8109569 w 10505529"/>
              <a:gd name="connsiteY23715" fmla="*/ 3500292 h 7458372"/>
              <a:gd name="connsiteX23716" fmla="*/ 8111832 w 10505529"/>
              <a:gd name="connsiteY23716" fmla="*/ 3511741 h 7458372"/>
              <a:gd name="connsiteX23717" fmla="*/ 8109569 w 10505529"/>
              <a:gd name="connsiteY23717" fmla="*/ 3523456 h 7458372"/>
              <a:gd name="connsiteX23718" fmla="*/ 8103446 w 10505529"/>
              <a:gd name="connsiteY23718" fmla="*/ 3532774 h 7458372"/>
              <a:gd name="connsiteX23719" fmla="*/ 8094127 w 10505529"/>
              <a:gd name="connsiteY23719" fmla="*/ 3539030 h 7458372"/>
              <a:gd name="connsiteX23720" fmla="*/ 8082281 w 10505529"/>
              <a:gd name="connsiteY23720" fmla="*/ 3541293 h 7458372"/>
              <a:gd name="connsiteX23721" fmla="*/ 8060448 w 10505529"/>
              <a:gd name="connsiteY23721" fmla="*/ 3532774 h 7458372"/>
              <a:gd name="connsiteX23722" fmla="*/ 8052062 w 10505529"/>
              <a:gd name="connsiteY23722" fmla="*/ 3511608 h 7458372"/>
              <a:gd name="connsiteX23723" fmla="*/ 8060448 w 10505529"/>
              <a:gd name="connsiteY23723" fmla="*/ 3490575 h 7458372"/>
              <a:gd name="connsiteX23724" fmla="*/ 8082281 w 10505529"/>
              <a:gd name="connsiteY23724" fmla="*/ 3481923 h 7458372"/>
              <a:gd name="connsiteX23725" fmla="*/ 7864636 w 10505529"/>
              <a:gd name="connsiteY23725" fmla="*/ 3481923 h 7458372"/>
              <a:gd name="connsiteX23726" fmla="*/ 7876483 w 10505529"/>
              <a:gd name="connsiteY23726" fmla="*/ 3484451 h 7458372"/>
              <a:gd name="connsiteX23727" fmla="*/ 7885802 w 10505529"/>
              <a:gd name="connsiteY23727" fmla="*/ 3490842 h 7458372"/>
              <a:gd name="connsiteX23728" fmla="*/ 7891924 w 10505529"/>
              <a:gd name="connsiteY23728" fmla="*/ 3500292 h 7458372"/>
              <a:gd name="connsiteX23729" fmla="*/ 7894188 w 10505529"/>
              <a:gd name="connsiteY23729" fmla="*/ 3511741 h 7458372"/>
              <a:gd name="connsiteX23730" fmla="*/ 7891924 w 10505529"/>
              <a:gd name="connsiteY23730" fmla="*/ 3523456 h 7458372"/>
              <a:gd name="connsiteX23731" fmla="*/ 7885802 w 10505529"/>
              <a:gd name="connsiteY23731" fmla="*/ 3532774 h 7458372"/>
              <a:gd name="connsiteX23732" fmla="*/ 7876483 w 10505529"/>
              <a:gd name="connsiteY23732" fmla="*/ 3539030 h 7458372"/>
              <a:gd name="connsiteX23733" fmla="*/ 7864636 w 10505529"/>
              <a:gd name="connsiteY23733" fmla="*/ 3541293 h 7458372"/>
              <a:gd name="connsiteX23734" fmla="*/ 7842803 w 10505529"/>
              <a:gd name="connsiteY23734" fmla="*/ 3532774 h 7458372"/>
              <a:gd name="connsiteX23735" fmla="*/ 7834417 w 10505529"/>
              <a:gd name="connsiteY23735" fmla="*/ 3511608 h 7458372"/>
              <a:gd name="connsiteX23736" fmla="*/ 7842803 w 10505529"/>
              <a:gd name="connsiteY23736" fmla="*/ 3490575 h 7458372"/>
              <a:gd name="connsiteX23737" fmla="*/ 7864636 w 10505529"/>
              <a:gd name="connsiteY23737" fmla="*/ 3481923 h 7458372"/>
              <a:gd name="connsiteX23738" fmla="*/ 7646991 w 10505529"/>
              <a:gd name="connsiteY23738" fmla="*/ 3481923 h 7458372"/>
              <a:gd name="connsiteX23739" fmla="*/ 7658705 w 10505529"/>
              <a:gd name="connsiteY23739" fmla="*/ 3484451 h 7458372"/>
              <a:gd name="connsiteX23740" fmla="*/ 7668022 w 10505529"/>
              <a:gd name="connsiteY23740" fmla="*/ 3490842 h 7458372"/>
              <a:gd name="connsiteX23741" fmla="*/ 7674146 w 10505529"/>
              <a:gd name="connsiteY23741" fmla="*/ 3500292 h 7458372"/>
              <a:gd name="connsiteX23742" fmla="*/ 7676409 w 10505529"/>
              <a:gd name="connsiteY23742" fmla="*/ 3511741 h 7458372"/>
              <a:gd name="connsiteX23743" fmla="*/ 7674146 w 10505529"/>
              <a:gd name="connsiteY23743" fmla="*/ 3523456 h 7458372"/>
              <a:gd name="connsiteX23744" fmla="*/ 7668022 w 10505529"/>
              <a:gd name="connsiteY23744" fmla="*/ 3532774 h 7458372"/>
              <a:gd name="connsiteX23745" fmla="*/ 7658705 w 10505529"/>
              <a:gd name="connsiteY23745" fmla="*/ 3539030 h 7458372"/>
              <a:gd name="connsiteX23746" fmla="*/ 7646991 w 10505529"/>
              <a:gd name="connsiteY23746" fmla="*/ 3541293 h 7458372"/>
              <a:gd name="connsiteX23747" fmla="*/ 7625158 w 10505529"/>
              <a:gd name="connsiteY23747" fmla="*/ 3532774 h 7458372"/>
              <a:gd name="connsiteX23748" fmla="*/ 7616772 w 10505529"/>
              <a:gd name="connsiteY23748" fmla="*/ 3511608 h 7458372"/>
              <a:gd name="connsiteX23749" fmla="*/ 7625158 w 10505529"/>
              <a:gd name="connsiteY23749" fmla="*/ 3490575 h 7458372"/>
              <a:gd name="connsiteX23750" fmla="*/ 7646991 w 10505529"/>
              <a:gd name="connsiteY23750" fmla="*/ 3481923 h 7458372"/>
              <a:gd name="connsiteX23751" fmla="*/ 7429345 w 10505529"/>
              <a:gd name="connsiteY23751" fmla="*/ 3481923 h 7458372"/>
              <a:gd name="connsiteX23752" fmla="*/ 7441059 w 10505529"/>
              <a:gd name="connsiteY23752" fmla="*/ 3484451 h 7458372"/>
              <a:gd name="connsiteX23753" fmla="*/ 7450377 w 10505529"/>
              <a:gd name="connsiteY23753" fmla="*/ 3490842 h 7458372"/>
              <a:gd name="connsiteX23754" fmla="*/ 7456501 w 10505529"/>
              <a:gd name="connsiteY23754" fmla="*/ 3500292 h 7458372"/>
              <a:gd name="connsiteX23755" fmla="*/ 7458764 w 10505529"/>
              <a:gd name="connsiteY23755" fmla="*/ 3511741 h 7458372"/>
              <a:gd name="connsiteX23756" fmla="*/ 7456501 w 10505529"/>
              <a:gd name="connsiteY23756" fmla="*/ 3523456 h 7458372"/>
              <a:gd name="connsiteX23757" fmla="*/ 7450377 w 10505529"/>
              <a:gd name="connsiteY23757" fmla="*/ 3532774 h 7458372"/>
              <a:gd name="connsiteX23758" fmla="*/ 7441059 w 10505529"/>
              <a:gd name="connsiteY23758" fmla="*/ 3539030 h 7458372"/>
              <a:gd name="connsiteX23759" fmla="*/ 7429345 w 10505529"/>
              <a:gd name="connsiteY23759" fmla="*/ 3541293 h 7458372"/>
              <a:gd name="connsiteX23760" fmla="*/ 7407513 w 10505529"/>
              <a:gd name="connsiteY23760" fmla="*/ 3532774 h 7458372"/>
              <a:gd name="connsiteX23761" fmla="*/ 7399127 w 10505529"/>
              <a:gd name="connsiteY23761" fmla="*/ 3511608 h 7458372"/>
              <a:gd name="connsiteX23762" fmla="*/ 7407513 w 10505529"/>
              <a:gd name="connsiteY23762" fmla="*/ 3490575 h 7458372"/>
              <a:gd name="connsiteX23763" fmla="*/ 7429345 w 10505529"/>
              <a:gd name="connsiteY23763" fmla="*/ 3481923 h 7458372"/>
              <a:gd name="connsiteX23764" fmla="*/ 7211701 w 10505529"/>
              <a:gd name="connsiteY23764" fmla="*/ 3481923 h 7458372"/>
              <a:gd name="connsiteX23765" fmla="*/ 7223415 w 10505529"/>
              <a:gd name="connsiteY23765" fmla="*/ 3484451 h 7458372"/>
              <a:gd name="connsiteX23766" fmla="*/ 7232733 w 10505529"/>
              <a:gd name="connsiteY23766" fmla="*/ 3490842 h 7458372"/>
              <a:gd name="connsiteX23767" fmla="*/ 7238856 w 10505529"/>
              <a:gd name="connsiteY23767" fmla="*/ 3500292 h 7458372"/>
              <a:gd name="connsiteX23768" fmla="*/ 7241120 w 10505529"/>
              <a:gd name="connsiteY23768" fmla="*/ 3511741 h 7458372"/>
              <a:gd name="connsiteX23769" fmla="*/ 7238856 w 10505529"/>
              <a:gd name="connsiteY23769" fmla="*/ 3523456 h 7458372"/>
              <a:gd name="connsiteX23770" fmla="*/ 7232733 w 10505529"/>
              <a:gd name="connsiteY23770" fmla="*/ 3532774 h 7458372"/>
              <a:gd name="connsiteX23771" fmla="*/ 7223415 w 10505529"/>
              <a:gd name="connsiteY23771" fmla="*/ 3539030 h 7458372"/>
              <a:gd name="connsiteX23772" fmla="*/ 7211701 w 10505529"/>
              <a:gd name="connsiteY23772" fmla="*/ 3541293 h 7458372"/>
              <a:gd name="connsiteX23773" fmla="*/ 7189868 w 10505529"/>
              <a:gd name="connsiteY23773" fmla="*/ 3532774 h 7458372"/>
              <a:gd name="connsiteX23774" fmla="*/ 7181482 w 10505529"/>
              <a:gd name="connsiteY23774" fmla="*/ 3511608 h 7458372"/>
              <a:gd name="connsiteX23775" fmla="*/ 7189868 w 10505529"/>
              <a:gd name="connsiteY23775" fmla="*/ 3490575 h 7458372"/>
              <a:gd name="connsiteX23776" fmla="*/ 7211701 w 10505529"/>
              <a:gd name="connsiteY23776" fmla="*/ 3481923 h 7458372"/>
              <a:gd name="connsiteX23777" fmla="*/ 6994056 w 10505529"/>
              <a:gd name="connsiteY23777" fmla="*/ 3481923 h 7458372"/>
              <a:gd name="connsiteX23778" fmla="*/ 7005769 w 10505529"/>
              <a:gd name="connsiteY23778" fmla="*/ 3484451 h 7458372"/>
              <a:gd name="connsiteX23779" fmla="*/ 7015087 w 10505529"/>
              <a:gd name="connsiteY23779" fmla="*/ 3490842 h 7458372"/>
              <a:gd name="connsiteX23780" fmla="*/ 7021211 w 10505529"/>
              <a:gd name="connsiteY23780" fmla="*/ 3500292 h 7458372"/>
              <a:gd name="connsiteX23781" fmla="*/ 7023474 w 10505529"/>
              <a:gd name="connsiteY23781" fmla="*/ 3511741 h 7458372"/>
              <a:gd name="connsiteX23782" fmla="*/ 7021211 w 10505529"/>
              <a:gd name="connsiteY23782" fmla="*/ 3523456 h 7458372"/>
              <a:gd name="connsiteX23783" fmla="*/ 7015087 w 10505529"/>
              <a:gd name="connsiteY23783" fmla="*/ 3532774 h 7458372"/>
              <a:gd name="connsiteX23784" fmla="*/ 7005769 w 10505529"/>
              <a:gd name="connsiteY23784" fmla="*/ 3539030 h 7458372"/>
              <a:gd name="connsiteX23785" fmla="*/ 6994056 w 10505529"/>
              <a:gd name="connsiteY23785" fmla="*/ 3541293 h 7458372"/>
              <a:gd name="connsiteX23786" fmla="*/ 6972223 w 10505529"/>
              <a:gd name="connsiteY23786" fmla="*/ 3532774 h 7458372"/>
              <a:gd name="connsiteX23787" fmla="*/ 6963837 w 10505529"/>
              <a:gd name="connsiteY23787" fmla="*/ 3511608 h 7458372"/>
              <a:gd name="connsiteX23788" fmla="*/ 6972223 w 10505529"/>
              <a:gd name="connsiteY23788" fmla="*/ 3490575 h 7458372"/>
              <a:gd name="connsiteX23789" fmla="*/ 6994056 w 10505529"/>
              <a:gd name="connsiteY23789" fmla="*/ 3481923 h 7458372"/>
              <a:gd name="connsiteX23790" fmla="*/ 6776544 w 10505529"/>
              <a:gd name="connsiteY23790" fmla="*/ 3481923 h 7458372"/>
              <a:gd name="connsiteX23791" fmla="*/ 6788258 w 10505529"/>
              <a:gd name="connsiteY23791" fmla="*/ 3484451 h 7458372"/>
              <a:gd name="connsiteX23792" fmla="*/ 6797576 w 10505529"/>
              <a:gd name="connsiteY23792" fmla="*/ 3490842 h 7458372"/>
              <a:gd name="connsiteX23793" fmla="*/ 6803699 w 10505529"/>
              <a:gd name="connsiteY23793" fmla="*/ 3500292 h 7458372"/>
              <a:gd name="connsiteX23794" fmla="*/ 6805963 w 10505529"/>
              <a:gd name="connsiteY23794" fmla="*/ 3511741 h 7458372"/>
              <a:gd name="connsiteX23795" fmla="*/ 6803699 w 10505529"/>
              <a:gd name="connsiteY23795" fmla="*/ 3523456 h 7458372"/>
              <a:gd name="connsiteX23796" fmla="*/ 6797576 w 10505529"/>
              <a:gd name="connsiteY23796" fmla="*/ 3532774 h 7458372"/>
              <a:gd name="connsiteX23797" fmla="*/ 6788258 w 10505529"/>
              <a:gd name="connsiteY23797" fmla="*/ 3539030 h 7458372"/>
              <a:gd name="connsiteX23798" fmla="*/ 6776544 w 10505529"/>
              <a:gd name="connsiteY23798" fmla="*/ 3541293 h 7458372"/>
              <a:gd name="connsiteX23799" fmla="*/ 6754711 w 10505529"/>
              <a:gd name="connsiteY23799" fmla="*/ 3532774 h 7458372"/>
              <a:gd name="connsiteX23800" fmla="*/ 6746325 w 10505529"/>
              <a:gd name="connsiteY23800" fmla="*/ 3511608 h 7458372"/>
              <a:gd name="connsiteX23801" fmla="*/ 6754711 w 10505529"/>
              <a:gd name="connsiteY23801" fmla="*/ 3490575 h 7458372"/>
              <a:gd name="connsiteX23802" fmla="*/ 6776544 w 10505529"/>
              <a:gd name="connsiteY23802" fmla="*/ 3481923 h 7458372"/>
              <a:gd name="connsiteX23803" fmla="*/ 6558899 w 10505529"/>
              <a:gd name="connsiteY23803" fmla="*/ 3481923 h 7458372"/>
              <a:gd name="connsiteX23804" fmla="*/ 6570612 w 10505529"/>
              <a:gd name="connsiteY23804" fmla="*/ 3484451 h 7458372"/>
              <a:gd name="connsiteX23805" fmla="*/ 6579930 w 10505529"/>
              <a:gd name="connsiteY23805" fmla="*/ 3490842 h 7458372"/>
              <a:gd name="connsiteX23806" fmla="*/ 6586054 w 10505529"/>
              <a:gd name="connsiteY23806" fmla="*/ 3500292 h 7458372"/>
              <a:gd name="connsiteX23807" fmla="*/ 6588317 w 10505529"/>
              <a:gd name="connsiteY23807" fmla="*/ 3511741 h 7458372"/>
              <a:gd name="connsiteX23808" fmla="*/ 6586054 w 10505529"/>
              <a:gd name="connsiteY23808" fmla="*/ 3523456 h 7458372"/>
              <a:gd name="connsiteX23809" fmla="*/ 6579930 w 10505529"/>
              <a:gd name="connsiteY23809" fmla="*/ 3532774 h 7458372"/>
              <a:gd name="connsiteX23810" fmla="*/ 6570612 w 10505529"/>
              <a:gd name="connsiteY23810" fmla="*/ 3539030 h 7458372"/>
              <a:gd name="connsiteX23811" fmla="*/ 6558899 w 10505529"/>
              <a:gd name="connsiteY23811" fmla="*/ 3541293 h 7458372"/>
              <a:gd name="connsiteX23812" fmla="*/ 6537066 w 10505529"/>
              <a:gd name="connsiteY23812" fmla="*/ 3532774 h 7458372"/>
              <a:gd name="connsiteX23813" fmla="*/ 6528680 w 10505529"/>
              <a:gd name="connsiteY23813" fmla="*/ 3511608 h 7458372"/>
              <a:gd name="connsiteX23814" fmla="*/ 6537066 w 10505529"/>
              <a:gd name="connsiteY23814" fmla="*/ 3490575 h 7458372"/>
              <a:gd name="connsiteX23815" fmla="*/ 6558899 w 10505529"/>
              <a:gd name="connsiteY23815" fmla="*/ 3481923 h 7458372"/>
              <a:gd name="connsiteX23816" fmla="*/ 6341253 w 10505529"/>
              <a:gd name="connsiteY23816" fmla="*/ 3481923 h 7458372"/>
              <a:gd name="connsiteX23817" fmla="*/ 6352968 w 10505529"/>
              <a:gd name="connsiteY23817" fmla="*/ 3484451 h 7458372"/>
              <a:gd name="connsiteX23818" fmla="*/ 6362286 w 10505529"/>
              <a:gd name="connsiteY23818" fmla="*/ 3490842 h 7458372"/>
              <a:gd name="connsiteX23819" fmla="*/ 6368409 w 10505529"/>
              <a:gd name="connsiteY23819" fmla="*/ 3500292 h 7458372"/>
              <a:gd name="connsiteX23820" fmla="*/ 6370672 w 10505529"/>
              <a:gd name="connsiteY23820" fmla="*/ 3511741 h 7458372"/>
              <a:gd name="connsiteX23821" fmla="*/ 6368409 w 10505529"/>
              <a:gd name="connsiteY23821" fmla="*/ 3523456 h 7458372"/>
              <a:gd name="connsiteX23822" fmla="*/ 6362286 w 10505529"/>
              <a:gd name="connsiteY23822" fmla="*/ 3532774 h 7458372"/>
              <a:gd name="connsiteX23823" fmla="*/ 6352968 w 10505529"/>
              <a:gd name="connsiteY23823" fmla="*/ 3539030 h 7458372"/>
              <a:gd name="connsiteX23824" fmla="*/ 6341253 w 10505529"/>
              <a:gd name="connsiteY23824" fmla="*/ 3541293 h 7458372"/>
              <a:gd name="connsiteX23825" fmla="*/ 6319421 w 10505529"/>
              <a:gd name="connsiteY23825" fmla="*/ 3532774 h 7458372"/>
              <a:gd name="connsiteX23826" fmla="*/ 6311035 w 10505529"/>
              <a:gd name="connsiteY23826" fmla="*/ 3511608 h 7458372"/>
              <a:gd name="connsiteX23827" fmla="*/ 6319421 w 10505529"/>
              <a:gd name="connsiteY23827" fmla="*/ 3490575 h 7458372"/>
              <a:gd name="connsiteX23828" fmla="*/ 6341253 w 10505529"/>
              <a:gd name="connsiteY23828" fmla="*/ 3481923 h 7458372"/>
              <a:gd name="connsiteX23829" fmla="*/ 6123608 w 10505529"/>
              <a:gd name="connsiteY23829" fmla="*/ 3481923 h 7458372"/>
              <a:gd name="connsiteX23830" fmla="*/ 6135322 w 10505529"/>
              <a:gd name="connsiteY23830" fmla="*/ 3484451 h 7458372"/>
              <a:gd name="connsiteX23831" fmla="*/ 6144640 w 10505529"/>
              <a:gd name="connsiteY23831" fmla="*/ 3490842 h 7458372"/>
              <a:gd name="connsiteX23832" fmla="*/ 6150763 w 10505529"/>
              <a:gd name="connsiteY23832" fmla="*/ 3500292 h 7458372"/>
              <a:gd name="connsiteX23833" fmla="*/ 6153026 w 10505529"/>
              <a:gd name="connsiteY23833" fmla="*/ 3511741 h 7458372"/>
              <a:gd name="connsiteX23834" fmla="*/ 6150763 w 10505529"/>
              <a:gd name="connsiteY23834" fmla="*/ 3523456 h 7458372"/>
              <a:gd name="connsiteX23835" fmla="*/ 6144640 w 10505529"/>
              <a:gd name="connsiteY23835" fmla="*/ 3532774 h 7458372"/>
              <a:gd name="connsiteX23836" fmla="*/ 6135322 w 10505529"/>
              <a:gd name="connsiteY23836" fmla="*/ 3539030 h 7458372"/>
              <a:gd name="connsiteX23837" fmla="*/ 6123608 w 10505529"/>
              <a:gd name="connsiteY23837" fmla="*/ 3541293 h 7458372"/>
              <a:gd name="connsiteX23838" fmla="*/ 6101775 w 10505529"/>
              <a:gd name="connsiteY23838" fmla="*/ 3532774 h 7458372"/>
              <a:gd name="connsiteX23839" fmla="*/ 6093389 w 10505529"/>
              <a:gd name="connsiteY23839" fmla="*/ 3511608 h 7458372"/>
              <a:gd name="connsiteX23840" fmla="*/ 6101775 w 10505529"/>
              <a:gd name="connsiteY23840" fmla="*/ 3490575 h 7458372"/>
              <a:gd name="connsiteX23841" fmla="*/ 6123608 w 10505529"/>
              <a:gd name="connsiteY23841" fmla="*/ 3481923 h 7458372"/>
              <a:gd name="connsiteX23842" fmla="*/ 5905963 w 10505529"/>
              <a:gd name="connsiteY23842" fmla="*/ 3481923 h 7458372"/>
              <a:gd name="connsiteX23843" fmla="*/ 5917677 w 10505529"/>
              <a:gd name="connsiteY23843" fmla="*/ 3484451 h 7458372"/>
              <a:gd name="connsiteX23844" fmla="*/ 5926995 w 10505529"/>
              <a:gd name="connsiteY23844" fmla="*/ 3490842 h 7458372"/>
              <a:gd name="connsiteX23845" fmla="*/ 5933118 w 10505529"/>
              <a:gd name="connsiteY23845" fmla="*/ 3500292 h 7458372"/>
              <a:gd name="connsiteX23846" fmla="*/ 5935381 w 10505529"/>
              <a:gd name="connsiteY23846" fmla="*/ 3511741 h 7458372"/>
              <a:gd name="connsiteX23847" fmla="*/ 5933118 w 10505529"/>
              <a:gd name="connsiteY23847" fmla="*/ 3523456 h 7458372"/>
              <a:gd name="connsiteX23848" fmla="*/ 5926995 w 10505529"/>
              <a:gd name="connsiteY23848" fmla="*/ 3532774 h 7458372"/>
              <a:gd name="connsiteX23849" fmla="*/ 5917677 w 10505529"/>
              <a:gd name="connsiteY23849" fmla="*/ 3539030 h 7458372"/>
              <a:gd name="connsiteX23850" fmla="*/ 5905963 w 10505529"/>
              <a:gd name="connsiteY23850" fmla="*/ 3541293 h 7458372"/>
              <a:gd name="connsiteX23851" fmla="*/ 5884130 w 10505529"/>
              <a:gd name="connsiteY23851" fmla="*/ 3532774 h 7458372"/>
              <a:gd name="connsiteX23852" fmla="*/ 5875744 w 10505529"/>
              <a:gd name="connsiteY23852" fmla="*/ 3511608 h 7458372"/>
              <a:gd name="connsiteX23853" fmla="*/ 5884130 w 10505529"/>
              <a:gd name="connsiteY23853" fmla="*/ 3490575 h 7458372"/>
              <a:gd name="connsiteX23854" fmla="*/ 5905963 w 10505529"/>
              <a:gd name="connsiteY23854" fmla="*/ 3481923 h 7458372"/>
              <a:gd name="connsiteX23855" fmla="*/ 5688451 w 10505529"/>
              <a:gd name="connsiteY23855" fmla="*/ 3481923 h 7458372"/>
              <a:gd name="connsiteX23856" fmla="*/ 5700165 w 10505529"/>
              <a:gd name="connsiteY23856" fmla="*/ 3484451 h 7458372"/>
              <a:gd name="connsiteX23857" fmla="*/ 5709483 w 10505529"/>
              <a:gd name="connsiteY23857" fmla="*/ 3490842 h 7458372"/>
              <a:gd name="connsiteX23858" fmla="*/ 5715606 w 10505529"/>
              <a:gd name="connsiteY23858" fmla="*/ 3500292 h 7458372"/>
              <a:gd name="connsiteX23859" fmla="*/ 5717869 w 10505529"/>
              <a:gd name="connsiteY23859" fmla="*/ 3511741 h 7458372"/>
              <a:gd name="connsiteX23860" fmla="*/ 5715606 w 10505529"/>
              <a:gd name="connsiteY23860" fmla="*/ 3523456 h 7458372"/>
              <a:gd name="connsiteX23861" fmla="*/ 5709483 w 10505529"/>
              <a:gd name="connsiteY23861" fmla="*/ 3532774 h 7458372"/>
              <a:gd name="connsiteX23862" fmla="*/ 5700165 w 10505529"/>
              <a:gd name="connsiteY23862" fmla="*/ 3539030 h 7458372"/>
              <a:gd name="connsiteX23863" fmla="*/ 5688451 w 10505529"/>
              <a:gd name="connsiteY23863" fmla="*/ 3541293 h 7458372"/>
              <a:gd name="connsiteX23864" fmla="*/ 5666618 w 10505529"/>
              <a:gd name="connsiteY23864" fmla="*/ 3532774 h 7458372"/>
              <a:gd name="connsiteX23865" fmla="*/ 5658232 w 10505529"/>
              <a:gd name="connsiteY23865" fmla="*/ 3511608 h 7458372"/>
              <a:gd name="connsiteX23866" fmla="*/ 5666618 w 10505529"/>
              <a:gd name="connsiteY23866" fmla="*/ 3490575 h 7458372"/>
              <a:gd name="connsiteX23867" fmla="*/ 5688451 w 10505529"/>
              <a:gd name="connsiteY23867" fmla="*/ 3481923 h 7458372"/>
              <a:gd name="connsiteX23868" fmla="*/ 5470806 w 10505529"/>
              <a:gd name="connsiteY23868" fmla="*/ 3481923 h 7458372"/>
              <a:gd name="connsiteX23869" fmla="*/ 5482520 w 10505529"/>
              <a:gd name="connsiteY23869" fmla="*/ 3484451 h 7458372"/>
              <a:gd name="connsiteX23870" fmla="*/ 5491838 w 10505529"/>
              <a:gd name="connsiteY23870" fmla="*/ 3490842 h 7458372"/>
              <a:gd name="connsiteX23871" fmla="*/ 5497961 w 10505529"/>
              <a:gd name="connsiteY23871" fmla="*/ 3500292 h 7458372"/>
              <a:gd name="connsiteX23872" fmla="*/ 5500224 w 10505529"/>
              <a:gd name="connsiteY23872" fmla="*/ 3511741 h 7458372"/>
              <a:gd name="connsiteX23873" fmla="*/ 5497961 w 10505529"/>
              <a:gd name="connsiteY23873" fmla="*/ 3523456 h 7458372"/>
              <a:gd name="connsiteX23874" fmla="*/ 5491838 w 10505529"/>
              <a:gd name="connsiteY23874" fmla="*/ 3532774 h 7458372"/>
              <a:gd name="connsiteX23875" fmla="*/ 5482520 w 10505529"/>
              <a:gd name="connsiteY23875" fmla="*/ 3539030 h 7458372"/>
              <a:gd name="connsiteX23876" fmla="*/ 5470806 w 10505529"/>
              <a:gd name="connsiteY23876" fmla="*/ 3541293 h 7458372"/>
              <a:gd name="connsiteX23877" fmla="*/ 5448973 w 10505529"/>
              <a:gd name="connsiteY23877" fmla="*/ 3532774 h 7458372"/>
              <a:gd name="connsiteX23878" fmla="*/ 5440587 w 10505529"/>
              <a:gd name="connsiteY23878" fmla="*/ 3511608 h 7458372"/>
              <a:gd name="connsiteX23879" fmla="*/ 5448973 w 10505529"/>
              <a:gd name="connsiteY23879" fmla="*/ 3490575 h 7458372"/>
              <a:gd name="connsiteX23880" fmla="*/ 5470806 w 10505529"/>
              <a:gd name="connsiteY23880" fmla="*/ 3481923 h 7458372"/>
              <a:gd name="connsiteX23881" fmla="*/ 5253160 w 10505529"/>
              <a:gd name="connsiteY23881" fmla="*/ 3481923 h 7458372"/>
              <a:gd name="connsiteX23882" fmla="*/ 5264875 w 10505529"/>
              <a:gd name="connsiteY23882" fmla="*/ 3484451 h 7458372"/>
              <a:gd name="connsiteX23883" fmla="*/ 5274192 w 10505529"/>
              <a:gd name="connsiteY23883" fmla="*/ 3490842 h 7458372"/>
              <a:gd name="connsiteX23884" fmla="*/ 5280316 w 10505529"/>
              <a:gd name="connsiteY23884" fmla="*/ 3500292 h 7458372"/>
              <a:gd name="connsiteX23885" fmla="*/ 5282579 w 10505529"/>
              <a:gd name="connsiteY23885" fmla="*/ 3511741 h 7458372"/>
              <a:gd name="connsiteX23886" fmla="*/ 5280316 w 10505529"/>
              <a:gd name="connsiteY23886" fmla="*/ 3523456 h 7458372"/>
              <a:gd name="connsiteX23887" fmla="*/ 5274192 w 10505529"/>
              <a:gd name="connsiteY23887" fmla="*/ 3532774 h 7458372"/>
              <a:gd name="connsiteX23888" fmla="*/ 5264875 w 10505529"/>
              <a:gd name="connsiteY23888" fmla="*/ 3539030 h 7458372"/>
              <a:gd name="connsiteX23889" fmla="*/ 5253160 w 10505529"/>
              <a:gd name="connsiteY23889" fmla="*/ 3541293 h 7458372"/>
              <a:gd name="connsiteX23890" fmla="*/ 5231328 w 10505529"/>
              <a:gd name="connsiteY23890" fmla="*/ 3532774 h 7458372"/>
              <a:gd name="connsiteX23891" fmla="*/ 5222942 w 10505529"/>
              <a:gd name="connsiteY23891" fmla="*/ 3511608 h 7458372"/>
              <a:gd name="connsiteX23892" fmla="*/ 5231328 w 10505529"/>
              <a:gd name="connsiteY23892" fmla="*/ 3490575 h 7458372"/>
              <a:gd name="connsiteX23893" fmla="*/ 5253160 w 10505529"/>
              <a:gd name="connsiteY23893" fmla="*/ 3481923 h 7458372"/>
              <a:gd name="connsiteX23894" fmla="*/ 5035515 w 10505529"/>
              <a:gd name="connsiteY23894" fmla="*/ 3481923 h 7458372"/>
              <a:gd name="connsiteX23895" fmla="*/ 5047230 w 10505529"/>
              <a:gd name="connsiteY23895" fmla="*/ 3484451 h 7458372"/>
              <a:gd name="connsiteX23896" fmla="*/ 5056548 w 10505529"/>
              <a:gd name="connsiteY23896" fmla="*/ 3490842 h 7458372"/>
              <a:gd name="connsiteX23897" fmla="*/ 5062671 w 10505529"/>
              <a:gd name="connsiteY23897" fmla="*/ 3500292 h 7458372"/>
              <a:gd name="connsiteX23898" fmla="*/ 5064934 w 10505529"/>
              <a:gd name="connsiteY23898" fmla="*/ 3511741 h 7458372"/>
              <a:gd name="connsiteX23899" fmla="*/ 5062671 w 10505529"/>
              <a:gd name="connsiteY23899" fmla="*/ 3523456 h 7458372"/>
              <a:gd name="connsiteX23900" fmla="*/ 5056548 w 10505529"/>
              <a:gd name="connsiteY23900" fmla="*/ 3532774 h 7458372"/>
              <a:gd name="connsiteX23901" fmla="*/ 5047230 w 10505529"/>
              <a:gd name="connsiteY23901" fmla="*/ 3539030 h 7458372"/>
              <a:gd name="connsiteX23902" fmla="*/ 5035515 w 10505529"/>
              <a:gd name="connsiteY23902" fmla="*/ 3541293 h 7458372"/>
              <a:gd name="connsiteX23903" fmla="*/ 5013683 w 10505529"/>
              <a:gd name="connsiteY23903" fmla="*/ 3532774 h 7458372"/>
              <a:gd name="connsiteX23904" fmla="*/ 5005297 w 10505529"/>
              <a:gd name="connsiteY23904" fmla="*/ 3511608 h 7458372"/>
              <a:gd name="connsiteX23905" fmla="*/ 5013683 w 10505529"/>
              <a:gd name="connsiteY23905" fmla="*/ 3490575 h 7458372"/>
              <a:gd name="connsiteX23906" fmla="*/ 5035515 w 10505529"/>
              <a:gd name="connsiteY23906" fmla="*/ 3481923 h 7458372"/>
              <a:gd name="connsiteX23907" fmla="*/ 4817870 w 10505529"/>
              <a:gd name="connsiteY23907" fmla="*/ 3481923 h 7458372"/>
              <a:gd name="connsiteX23908" fmla="*/ 4829585 w 10505529"/>
              <a:gd name="connsiteY23908" fmla="*/ 3484451 h 7458372"/>
              <a:gd name="connsiteX23909" fmla="*/ 4838903 w 10505529"/>
              <a:gd name="connsiteY23909" fmla="*/ 3490842 h 7458372"/>
              <a:gd name="connsiteX23910" fmla="*/ 4845026 w 10505529"/>
              <a:gd name="connsiteY23910" fmla="*/ 3500292 h 7458372"/>
              <a:gd name="connsiteX23911" fmla="*/ 4847289 w 10505529"/>
              <a:gd name="connsiteY23911" fmla="*/ 3511741 h 7458372"/>
              <a:gd name="connsiteX23912" fmla="*/ 4845026 w 10505529"/>
              <a:gd name="connsiteY23912" fmla="*/ 3523456 h 7458372"/>
              <a:gd name="connsiteX23913" fmla="*/ 4838903 w 10505529"/>
              <a:gd name="connsiteY23913" fmla="*/ 3532774 h 7458372"/>
              <a:gd name="connsiteX23914" fmla="*/ 4829585 w 10505529"/>
              <a:gd name="connsiteY23914" fmla="*/ 3539030 h 7458372"/>
              <a:gd name="connsiteX23915" fmla="*/ 4817870 w 10505529"/>
              <a:gd name="connsiteY23915" fmla="*/ 3541293 h 7458372"/>
              <a:gd name="connsiteX23916" fmla="*/ 4796038 w 10505529"/>
              <a:gd name="connsiteY23916" fmla="*/ 3532774 h 7458372"/>
              <a:gd name="connsiteX23917" fmla="*/ 4787652 w 10505529"/>
              <a:gd name="connsiteY23917" fmla="*/ 3511608 h 7458372"/>
              <a:gd name="connsiteX23918" fmla="*/ 4796038 w 10505529"/>
              <a:gd name="connsiteY23918" fmla="*/ 3490575 h 7458372"/>
              <a:gd name="connsiteX23919" fmla="*/ 4817870 w 10505529"/>
              <a:gd name="connsiteY23919" fmla="*/ 3481923 h 7458372"/>
              <a:gd name="connsiteX23920" fmla="*/ 4600226 w 10505529"/>
              <a:gd name="connsiteY23920" fmla="*/ 3481923 h 7458372"/>
              <a:gd name="connsiteX23921" fmla="*/ 4612073 w 10505529"/>
              <a:gd name="connsiteY23921" fmla="*/ 3484451 h 7458372"/>
              <a:gd name="connsiteX23922" fmla="*/ 4621391 w 10505529"/>
              <a:gd name="connsiteY23922" fmla="*/ 3490842 h 7458372"/>
              <a:gd name="connsiteX23923" fmla="*/ 4627514 w 10505529"/>
              <a:gd name="connsiteY23923" fmla="*/ 3500292 h 7458372"/>
              <a:gd name="connsiteX23924" fmla="*/ 4629777 w 10505529"/>
              <a:gd name="connsiteY23924" fmla="*/ 3511741 h 7458372"/>
              <a:gd name="connsiteX23925" fmla="*/ 4627514 w 10505529"/>
              <a:gd name="connsiteY23925" fmla="*/ 3523456 h 7458372"/>
              <a:gd name="connsiteX23926" fmla="*/ 4621391 w 10505529"/>
              <a:gd name="connsiteY23926" fmla="*/ 3532774 h 7458372"/>
              <a:gd name="connsiteX23927" fmla="*/ 4612073 w 10505529"/>
              <a:gd name="connsiteY23927" fmla="*/ 3539030 h 7458372"/>
              <a:gd name="connsiteX23928" fmla="*/ 4600226 w 10505529"/>
              <a:gd name="connsiteY23928" fmla="*/ 3541293 h 7458372"/>
              <a:gd name="connsiteX23929" fmla="*/ 4578393 w 10505529"/>
              <a:gd name="connsiteY23929" fmla="*/ 3532774 h 7458372"/>
              <a:gd name="connsiteX23930" fmla="*/ 4570007 w 10505529"/>
              <a:gd name="connsiteY23930" fmla="*/ 3511608 h 7458372"/>
              <a:gd name="connsiteX23931" fmla="*/ 4578393 w 10505529"/>
              <a:gd name="connsiteY23931" fmla="*/ 3490575 h 7458372"/>
              <a:gd name="connsiteX23932" fmla="*/ 4600226 w 10505529"/>
              <a:gd name="connsiteY23932" fmla="*/ 3481923 h 7458372"/>
              <a:gd name="connsiteX23933" fmla="*/ 4382713 w 10505529"/>
              <a:gd name="connsiteY23933" fmla="*/ 3481923 h 7458372"/>
              <a:gd name="connsiteX23934" fmla="*/ 4394428 w 10505529"/>
              <a:gd name="connsiteY23934" fmla="*/ 3484451 h 7458372"/>
              <a:gd name="connsiteX23935" fmla="*/ 4403746 w 10505529"/>
              <a:gd name="connsiteY23935" fmla="*/ 3490842 h 7458372"/>
              <a:gd name="connsiteX23936" fmla="*/ 4409869 w 10505529"/>
              <a:gd name="connsiteY23936" fmla="*/ 3500292 h 7458372"/>
              <a:gd name="connsiteX23937" fmla="*/ 4412132 w 10505529"/>
              <a:gd name="connsiteY23937" fmla="*/ 3511741 h 7458372"/>
              <a:gd name="connsiteX23938" fmla="*/ 4409869 w 10505529"/>
              <a:gd name="connsiteY23938" fmla="*/ 3523456 h 7458372"/>
              <a:gd name="connsiteX23939" fmla="*/ 4403746 w 10505529"/>
              <a:gd name="connsiteY23939" fmla="*/ 3532774 h 7458372"/>
              <a:gd name="connsiteX23940" fmla="*/ 4394428 w 10505529"/>
              <a:gd name="connsiteY23940" fmla="*/ 3539030 h 7458372"/>
              <a:gd name="connsiteX23941" fmla="*/ 4382713 w 10505529"/>
              <a:gd name="connsiteY23941" fmla="*/ 3541293 h 7458372"/>
              <a:gd name="connsiteX23942" fmla="*/ 4360881 w 10505529"/>
              <a:gd name="connsiteY23942" fmla="*/ 3532774 h 7458372"/>
              <a:gd name="connsiteX23943" fmla="*/ 4352495 w 10505529"/>
              <a:gd name="connsiteY23943" fmla="*/ 3511608 h 7458372"/>
              <a:gd name="connsiteX23944" fmla="*/ 4360881 w 10505529"/>
              <a:gd name="connsiteY23944" fmla="*/ 3490575 h 7458372"/>
              <a:gd name="connsiteX23945" fmla="*/ 4382713 w 10505529"/>
              <a:gd name="connsiteY23945" fmla="*/ 3481923 h 7458372"/>
              <a:gd name="connsiteX23946" fmla="*/ 4165068 w 10505529"/>
              <a:gd name="connsiteY23946" fmla="*/ 3481923 h 7458372"/>
              <a:gd name="connsiteX23947" fmla="*/ 4176782 w 10505529"/>
              <a:gd name="connsiteY23947" fmla="*/ 3484451 h 7458372"/>
              <a:gd name="connsiteX23948" fmla="*/ 4186100 w 10505529"/>
              <a:gd name="connsiteY23948" fmla="*/ 3490842 h 7458372"/>
              <a:gd name="connsiteX23949" fmla="*/ 4192223 w 10505529"/>
              <a:gd name="connsiteY23949" fmla="*/ 3500292 h 7458372"/>
              <a:gd name="connsiteX23950" fmla="*/ 4194486 w 10505529"/>
              <a:gd name="connsiteY23950" fmla="*/ 3511741 h 7458372"/>
              <a:gd name="connsiteX23951" fmla="*/ 4192223 w 10505529"/>
              <a:gd name="connsiteY23951" fmla="*/ 3523456 h 7458372"/>
              <a:gd name="connsiteX23952" fmla="*/ 4186100 w 10505529"/>
              <a:gd name="connsiteY23952" fmla="*/ 3532774 h 7458372"/>
              <a:gd name="connsiteX23953" fmla="*/ 4176782 w 10505529"/>
              <a:gd name="connsiteY23953" fmla="*/ 3539030 h 7458372"/>
              <a:gd name="connsiteX23954" fmla="*/ 4165068 w 10505529"/>
              <a:gd name="connsiteY23954" fmla="*/ 3541293 h 7458372"/>
              <a:gd name="connsiteX23955" fmla="*/ 4143235 w 10505529"/>
              <a:gd name="connsiteY23955" fmla="*/ 3532774 h 7458372"/>
              <a:gd name="connsiteX23956" fmla="*/ 4134849 w 10505529"/>
              <a:gd name="connsiteY23956" fmla="*/ 3511608 h 7458372"/>
              <a:gd name="connsiteX23957" fmla="*/ 4143235 w 10505529"/>
              <a:gd name="connsiteY23957" fmla="*/ 3490575 h 7458372"/>
              <a:gd name="connsiteX23958" fmla="*/ 4165068 w 10505529"/>
              <a:gd name="connsiteY23958" fmla="*/ 3481923 h 7458372"/>
              <a:gd name="connsiteX23959" fmla="*/ 3947617 w 10505529"/>
              <a:gd name="connsiteY23959" fmla="*/ 3481923 h 7458372"/>
              <a:gd name="connsiteX23960" fmla="*/ 3959333 w 10505529"/>
              <a:gd name="connsiteY23960" fmla="*/ 3484451 h 7458372"/>
              <a:gd name="connsiteX23961" fmla="*/ 3968651 w 10505529"/>
              <a:gd name="connsiteY23961" fmla="*/ 3490842 h 7458372"/>
              <a:gd name="connsiteX23962" fmla="*/ 3974775 w 10505529"/>
              <a:gd name="connsiteY23962" fmla="*/ 3500292 h 7458372"/>
              <a:gd name="connsiteX23963" fmla="*/ 3977038 w 10505529"/>
              <a:gd name="connsiteY23963" fmla="*/ 3511741 h 7458372"/>
              <a:gd name="connsiteX23964" fmla="*/ 3974775 w 10505529"/>
              <a:gd name="connsiteY23964" fmla="*/ 3523456 h 7458372"/>
              <a:gd name="connsiteX23965" fmla="*/ 3968651 w 10505529"/>
              <a:gd name="connsiteY23965" fmla="*/ 3532774 h 7458372"/>
              <a:gd name="connsiteX23966" fmla="*/ 3959333 w 10505529"/>
              <a:gd name="connsiteY23966" fmla="*/ 3539030 h 7458372"/>
              <a:gd name="connsiteX23967" fmla="*/ 3947617 w 10505529"/>
              <a:gd name="connsiteY23967" fmla="*/ 3541293 h 7458372"/>
              <a:gd name="connsiteX23968" fmla="*/ 3925784 w 10505529"/>
              <a:gd name="connsiteY23968" fmla="*/ 3532774 h 7458372"/>
              <a:gd name="connsiteX23969" fmla="*/ 3917397 w 10505529"/>
              <a:gd name="connsiteY23969" fmla="*/ 3511608 h 7458372"/>
              <a:gd name="connsiteX23970" fmla="*/ 3925784 w 10505529"/>
              <a:gd name="connsiteY23970" fmla="*/ 3490575 h 7458372"/>
              <a:gd name="connsiteX23971" fmla="*/ 3947617 w 10505529"/>
              <a:gd name="connsiteY23971" fmla="*/ 3481923 h 7458372"/>
              <a:gd name="connsiteX23972" fmla="*/ 3729962 w 10505529"/>
              <a:gd name="connsiteY23972" fmla="*/ 3481923 h 7458372"/>
              <a:gd name="connsiteX23973" fmla="*/ 3741678 w 10505529"/>
              <a:gd name="connsiteY23973" fmla="*/ 3484451 h 7458372"/>
              <a:gd name="connsiteX23974" fmla="*/ 3750996 w 10505529"/>
              <a:gd name="connsiteY23974" fmla="*/ 3490842 h 7458372"/>
              <a:gd name="connsiteX23975" fmla="*/ 3757119 w 10505529"/>
              <a:gd name="connsiteY23975" fmla="*/ 3500292 h 7458372"/>
              <a:gd name="connsiteX23976" fmla="*/ 3759382 w 10505529"/>
              <a:gd name="connsiteY23976" fmla="*/ 3511741 h 7458372"/>
              <a:gd name="connsiteX23977" fmla="*/ 3757119 w 10505529"/>
              <a:gd name="connsiteY23977" fmla="*/ 3523456 h 7458372"/>
              <a:gd name="connsiteX23978" fmla="*/ 3750996 w 10505529"/>
              <a:gd name="connsiteY23978" fmla="*/ 3532774 h 7458372"/>
              <a:gd name="connsiteX23979" fmla="*/ 3741678 w 10505529"/>
              <a:gd name="connsiteY23979" fmla="*/ 3539030 h 7458372"/>
              <a:gd name="connsiteX23980" fmla="*/ 3729962 w 10505529"/>
              <a:gd name="connsiteY23980" fmla="*/ 3541293 h 7458372"/>
              <a:gd name="connsiteX23981" fmla="*/ 3708126 w 10505529"/>
              <a:gd name="connsiteY23981" fmla="*/ 3532774 h 7458372"/>
              <a:gd name="connsiteX23982" fmla="*/ 3699739 w 10505529"/>
              <a:gd name="connsiteY23982" fmla="*/ 3511608 h 7458372"/>
              <a:gd name="connsiteX23983" fmla="*/ 3708126 w 10505529"/>
              <a:gd name="connsiteY23983" fmla="*/ 3490575 h 7458372"/>
              <a:gd name="connsiteX23984" fmla="*/ 3729962 w 10505529"/>
              <a:gd name="connsiteY23984" fmla="*/ 3481923 h 7458372"/>
              <a:gd name="connsiteX23985" fmla="*/ 3512307 w 10505529"/>
              <a:gd name="connsiteY23985" fmla="*/ 3481923 h 7458372"/>
              <a:gd name="connsiteX23986" fmla="*/ 3524023 w 10505529"/>
              <a:gd name="connsiteY23986" fmla="*/ 3484451 h 7458372"/>
              <a:gd name="connsiteX23987" fmla="*/ 3533341 w 10505529"/>
              <a:gd name="connsiteY23987" fmla="*/ 3490842 h 7458372"/>
              <a:gd name="connsiteX23988" fmla="*/ 3539464 w 10505529"/>
              <a:gd name="connsiteY23988" fmla="*/ 3500292 h 7458372"/>
              <a:gd name="connsiteX23989" fmla="*/ 3541727 w 10505529"/>
              <a:gd name="connsiteY23989" fmla="*/ 3511741 h 7458372"/>
              <a:gd name="connsiteX23990" fmla="*/ 3539464 w 10505529"/>
              <a:gd name="connsiteY23990" fmla="*/ 3523456 h 7458372"/>
              <a:gd name="connsiteX23991" fmla="*/ 3533341 w 10505529"/>
              <a:gd name="connsiteY23991" fmla="*/ 3532774 h 7458372"/>
              <a:gd name="connsiteX23992" fmla="*/ 3524023 w 10505529"/>
              <a:gd name="connsiteY23992" fmla="*/ 3539030 h 7458372"/>
              <a:gd name="connsiteX23993" fmla="*/ 3512307 w 10505529"/>
              <a:gd name="connsiteY23993" fmla="*/ 3541293 h 7458372"/>
              <a:gd name="connsiteX23994" fmla="*/ 3490472 w 10505529"/>
              <a:gd name="connsiteY23994" fmla="*/ 3532774 h 7458372"/>
              <a:gd name="connsiteX23995" fmla="*/ 3482086 w 10505529"/>
              <a:gd name="connsiteY23995" fmla="*/ 3511608 h 7458372"/>
              <a:gd name="connsiteX23996" fmla="*/ 3490472 w 10505529"/>
              <a:gd name="connsiteY23996" fmla="*/ 3490575 h 7458372"/>
              <a:gd name="connsiteX23997" fmla="*/ 3512307 w 10505529"/>
              <a:gd name="connsiteY23997" fmla="*/ 3481923 h 7458372"/>
              <a:gd name="connsiteX23998" fmla="*/ 3294785 w 10505529"/>
              <a:gd name="connsiteY23998" fmla="*/ 3481923 h 7458372"/>
              <a:gd name="connsiteX23999" fmla="*/ 3306501 w 10505529"/>
              <a:gd name="connsiteY23999" fmla="*/ 3484451 h 7458372"/>
              <a:gd name="connsiteX24000" fmla="*/ 3315819 w 10505529"/>
              <a:gd name="connsiteY24000" fmla="*/ 3490842 h 7458372"/>
              <a:gd name="connsiteX24001" fmla="*/ 3321942 w 10505529"/>
              <a:gd name="connsiteY24001" fmla="*/ 3500292 h 7458372"/>
              <a:gd name="connsiteX24002" fmla="*/ 3324205 w 10505529"/>
              <a:gd name="connsiteY24002" fmla="*/ 3511741 h 7458372"/>
              <a:gd name="connsiteX24003" fmla="*/ 3321942 w 10505529"/>
              <a:gd name="connsiteY24003" fmla="*/ 3523456 h 7458372"/>
              <a:gd name="connsiteX24004" fmla="*/ 3315819 w 10505529"/>
              <a:gd name="connsiteY24004" fmla="*/ 3532774 h 7458372"/>
              <a:gd name="connsiteX24005" fmla="*/ 3306501 w 10505529"/>
              <a:gd name="connsiteY24005" fmla="*/ 3539030 h 7458372"/>
              <a:gd name="connsiteX24006" fmla="*/ 3294785 w 10505529"/>
              <a:gd name="connsiteY24006" fmla="*/ 3541293 h 7458372"/>
              <a:gd name="connsiteX24007" fmla="*/ 3272950 w 10505529"/>
              <a:gd name="connsiteY24007" fmla="*/ 3532774 h 7458372"/>
              <a:gd name="connsiteX24008" fmla="*/ 3264562 w 10505529"/>
              <a:gd name="connsiteY24008" fmla="*/ 3511608 h 7458372"/>
              <a:gd name="connsiteX24009" fmla="*/ 3272950 w 10505529"/>
              <a:gd name="connsiteY24009" fmla="*/ 3490575 h 7458372"/>
              <a:gd name="connsiteX24010" fmla="*/ 3294785 w 10505529"/>
              <a:gd name="connsiteY24010" fmla="*/ 3481923 h 7458372"/>
              <a:gd name="connsiteX24011" fmla="*/ 3077130 w 10505529"/>
              <a:gd name="connsiteY24011" fmla="*/ 3481923 h 7458372"/>
              <a:gd name="connsiteX24012" fmla="*/ 3088845 w 10505529"/>
              <a:gd name="connsiteY24012" fmla="*/ 3484451 h 7458372"/>
              <a:gd name="connsiteX24013" fmla="*/ 3098163 w 10505529"/>
              <a:gd name="connsiteY24013" fmla="*/ 3490842 h 7458372"/>
              <a:gd name="connsiteX24014" fmla="*/ 3104287 w 10505529"/>
              <a:gd name="connsiteY24014" fmla="*/ 3500292 h 7458372"/>
              <a:gd name="connsiteX24015" fmla="*/ 3106550 w 10505529"/>
              <a:gd name="connsiteY24015" fmla="*/ 3511741 h 7458372"/>
              <a:gd name="connsiteX24016" fmla="*/ 3104287 w 10505529"/>
              <a:gd name="connsiteY24016" fmla="*/ 3523456 h 7458372"/>
              <a:gd name="connsiteX24017" fmla="*/ 3098163 w 10505529"/>
              <a:gd name="connsiteY24017" fmla="*/ 3532774 h 7458372"/>
              <a:gd name="connsiteX24018" fmla="*/ 3088845 w 10505529"/>
              <a:gd name="connsiteY24018" fmla="*/ 3539030 h 7458372"/>
              <a:gd name="connsiteX24019" fmla="*/ 3077130 w 10505529"/>
              <a:gd name="connsiteY24019" fmla="*/ 3541293 h 7458372"/>
              <a:gd name="connsiteX24020" fmla="*/ 3055294 w 10505529"/>
              <a:gd name="connsiteY24020" fmla="*/ 3532774 h 7458372"/>
              <a:gd name="connsiteX24021" fmla="*/ 3046908 w 10505529"/>
              <a:gd name="connsiteY24021" fmla="*/ 3511608 h 7458372"/>
              <a:gd name="connsiteX24022" fmla="*/ 3055294 w 10505529"/>
              <a:gd name="connsiteY24022" fmla="*/ 3490575 h 7458372"/>
              <a:gd name="connsiteX24023" fmla="*/ 3077130 w 10505529"/>
              <a:gd name="connsiteY24023" fmla="*/ 3481923 h 7458372"/>
              <a:gd name="connsiteX24024" fmla="*/ 2859475 w 10505529"/>
              <a:gd name="connsiteY24024" fmla="*/ 3481923 h 7458372"/>
              <a:gd name="connsiteX24025" fmla="*/ 2871323 w 10505529"/>
              <a:gd name="connsiteY24025" fmla="*/ 3484451 h 7458372"/>
              <a:gd name="connsiteX24026" fmla="*/ 2880641 w 10505529"/>
              <a:gd name="connsiteY24026" fmla="*/ 3490842 h 7458372"/>
              <a:gd name="connsiteX24027" fmla="*/ 2886765 w 10505529"/>
              <a:gd name="connsiteY24027" fmla="*/ 3500292 h 7458372"/>
              <a:gd name="connsiteX24028" fmla="*/ 2889028 w 10505529"/>
              <a:gd name="connsiteY24028" fmla="*/ 3511741 h 7458372"/>
              <a:gd name="connsiteX24029" fmla="*/ 2886765 w 10505529"/>
              <a:gd name="connsiteY24029" fmla="*/ 3523456 h 7458372"/>
              <a:gd name="connsiteX24030" fmla="*/ 2880641 w 10505529"/>
              <a:gd name="connsiteY24030" fmla="*/ 3532774 h 7458372"/>
              <a:gd name="connsiteX24031" fmla="*/ 2871323 w 10505529"/>
              <a:gd name="connsiteY24031" fmla="*/ 3539030 h 7458372"/>
              <a:gd name="connsiteX24032" fmla="*/ 2859475 w 10505529"/>
              <a:gd name="connsiteY24032" fmla="*/ 3541293 h 7458372"/>
              <a:gd name="connsiteX24033" fmla="*/ 2837640 w 10505529"/>
              <a:gd name="connsiteY24033" fmla="*/ 3532774 h 7458372"/>
              <a:gd name="connsiteX24034" fmla="*/ 2829253 w 10505529"/>
              <a:gd name="connsiteY24034" fmla="*/ 3511608 h 7458372"/>
              <a:gd name="connsiteX24035" fmla="*/ 2837640 w 10505529"/>
              <a:gd name="connsiteY24035" fmla="*/ 3490575 h 7458372"/>
              <a:gd name="connsiteX24036" fmla="*/ 2859475 w 10505529"/>
              <a:gd name="connsiteY24036" fmla="*/ 3481923 h 7458372"/>
              <a:gd name="connsiteX24037" fmla="*/ 2641820 w 10505529"/>
              <a:gd name="connsiteY24037" fmla="*/ 3481923 h 7458372"/>
              <a:gd name="connsiteX24038" fmla="*/ 2653535 w 10505529"/>
              <a:gd name="connsiteY24038" fmla="*/ 3484451 h 7458372"/>
              <a:gd name="connsiteX24039" fmla="*/ 2662853 w 10505529"/>
              <a:gd name="connsiteY24039" fmla="*/ 3490842 h 7458372"/>
              <a:gd name="connsiteX24040" fmla="*/ 2668976 w 10505529"/>
              <a:gd name="connsiteY24040" fmla="*/ 3500292 h 7458372"/>
              <a:gd name="connsiteX24041" fmla="*/ 2671239 w 10505529"/>
              <a:gd name="connsiteY24041" fmla="*/ 3511741 h 7458372"/>
              <a:gd name="connsiteX24042" fmla="*/ 2668976 w 10505529"/>
              <a:gd name="connsiteY24042" fmla="*/ 3523456 h 7458372"/>
              <a:gd name="connsiteX24043" fmla="*/ 2662853 w 10505529"/>
              <a:gd name="connsiteY24043" fmla="*/ 3532774 h 7458372"/>
              <a:gd name="connsiteX24044" fmla="*/ 2653535 w 10505529"/>
              <a:gd name="connsiteY24044" fmla="*/ 3539030 h 7458372"/>
              <a:gd name="connsiteX24045" fmla="*/ 2641820 w 10505529"/>
              <a:gd name="connsiteY24045" fmla="*/ 3541293 h 7458372"/>
              <a:gd name="connsiteX24046" fmla="*/ 2619987 w 10505529"/>
              <a:gd name="connsiteY24046" fmla="*/ 3532774 h 7458372"/>
              <a:gd name="connsiteX24047" fmla="*/ 2611599 w 10505529"/>
              <a:gd name="connsiteY24047" fmla="*/ 3511608 h 7458372"/>
              <a:gd name="connsiteX24048" fmla="*/ 2619987 w 10505529"/>
              <a:gd name="connsiteY24048" fmla="*/ 3490575 h 7458372"/>
              <a:gd name="connsiteX24049" fmla="*/ 2641820 w 10505529"/>
              <a:gd name="connsiteY24049" fmla="*/ 3481923 h 7458372"/>
              <a:gd name="connsiteX24050" fmla="*/ 2424164 w 10505529"/>
              <a:gd name="connsiteY24050" fmla="*/ 3481923 h 7458372"/>
              <a:gd name="connsiteX24051" fmla="*/ 2435880 w 10505529"/>
              <a:gd name="connsiteY24051" fmla="*/ 3484451 h 7458372"/>
              <a:gd name="connsiteX24052" fmla="*/ 2445198 w 10505529"/>
              <a:gd name="connsiteY24052" fmla="*/ 3490842 h 7458372"/>
              <a:gd name="connsiteX24053" fmla="*/ 2451321 w 10505529"/>
              <a:gd name="connsiteY24053" fmla="*/ 3500292 h 7458372"/>
              <a:gd name="connsiteX24054" fmla="*/ 2453584 w 10505529"/>
              <a:gd name="connsiteY24054" fmla="*/ 3511741 h 7458372"/>
              <a:gd name="connsiteX24055" fmla="*/ 2451321 w 10505529"/>
              <a:gd name="connsiteY24055" fmla="*/ 3523456 h 7458372"/>
              <a:gd name="connsiteX24056" fmla="*/ 2445198 w 10505529"/>
              <a:gd name="connsiteY24056" fmla="*/ 3532774 h 7458372"/>
              <a:gd name="connsiteX24057" fmla="*/ 2435880 w 10505529"/>
              <a:gd name="connsiteY24057" fmla="*/ 3539030 h 7458372"/>
              <a:gd name="connsiteX24058" fmla="*/ 2424164 w 10505529"/>
              <a:gd name="connsiteY24058" fmla="*/ 3541293 h 7458372"/>
              <a:gd name="connsiteX24059" fmla="*/ 2402332 w 10505529"/>
              <a:gd name="connsiteY24059" fmla="*/ 3532774 h 7458372"/>
              <a:gd name="connsiteX24060" fmla="*/ 2393944 w 10505529"/>
              <a:gd name="connsiteY24060" fmla="*/ 3511608 h 7458372"/>
              <a:gd name="connsiteX24061" fmla="*/ 2402332 w 10505529"/>
              <a:gd name="connsiteY24061" fmla="*/ 3490575 h 7458372"/>
              <a:gd name="connsiteX24062" fmla="*/ 2424164 w 10505529"/>
              <a:gd name="connsiteY24062" fmla="*/ 3481923 h 7458372"/>
              <a:gd name="connsiteX24063" fmla="*/ 2206509 w 10505529"/>
              <a:gd name="connsiteY24063" fmla="*/ 3481923 h 7458372"/>
              <a:gd name="connsiteX24064" fmla="*/ 2218224 w 10505529"/>
              <a:gd name="connsiteY24064" fmla="*/ 3484451 h 7458372"/>
              <a:gd name="connsiteX24065" fmla="*/ 2227543 w 10505529"/>
              <a:gd name="connsiteY24065" fmla="*/ 3490842 h 7458372"/>
              <a:gd name="connsiteX24066" fmla="*/ 2233666 w 10505529"/>
              <a:gd name="connsiteY24066" fmla="*/ 3500292 h 7458372"/>
              <a:gd name="connsiteX24067" fmla="*/ 2235929 w 10505529"/>
              <a:gd name="connsiteY24067" fmla="*/ 3511741 h 7458372"/>
              <a:gd name="connsiteX24068" fmla="*/ 2233666 w 10505529"/>
              <a:gd name="connsiteY24068" fmla="*/ 3523456 h 7458372"/>
              <a:gd name="connsiteX24069" fmla="*/ 2227543 w 10505529"/>
              <a:gd name="connsiteY24069" fmla="*/ 3532774 h 7458372"/>
              <a:gd name="connsiteX24070" fmla="*/ 2218224 w 10505529"/>
              <a:gd name="connsiteY24070" fmla="*/ 3539030 h 7458372"/>
              <a:gd name="connsiteX24071" fmla="*/ 2206509 w 10505529"/>
              <a:gd name="connsiteY24071" fmla="*/ 3541293 h 7458372"/>
              <a:gd name="connsiteX24072" fmla="*/ 2184677 w 10505529"/>
              <a:gd name="connsiteY24072" fmla="*/ 3532774 h 7458372"/>
              <a:gd name="connsiteX24073" fmla="*/ 2176289 w 10505529"/>
              <a:gd name="connsiteY24073" fmla="*/ 3511608 h 7458372"/>
              <a:gd name="connsiteX24074" fmla="*/ 2184677 w 10505529"/>
              <a:gd name="connsiteY24074" fmla="*/ 3490575 h 7458372"/>
              <a:gd name="connsiteX24075" fmla="*/ 2206509 w 10505529"/>
              <a:gd name="connsiteY24075" fmla="*/ 3481923 h 7458372"/>
              <a:gd name="connsiteX24076" fmla="*/ 1988987 w 10505529"/>
              <a:gd name="connsiteY24076" fmla="*/ 3481923 h 7458372"/>
              <a:gd name="connsiteX24077" fmla="*/ 2000702 w 10505529"/>
              <a:gd name="connsiteY24077" fmla="*/ 3484451 h 7458372"/>
              <a:gd name="connsiteX24078" fmla="*/ 2010020 w 10505529"/>
              <a:gd name="connsiteY24078" fmla="*/ 3490842 h 7458372"/>
              <a:gd name="connsiteX24079" fmla="*/ 2016144 w 10505529"/>
              <a:gd name="connsiteY24079" fmla="*/ 3500292 h 7458372"/>
              <a:gd name="connsiteX24080" fmla="*/ 2018407 w 10505529"/>
              <a:gd name="connsiteY24080" fmla="*/ 3511741 h 7458372"/>
              <a:gd name="connsiteX24081" fmla="*/ 2016144 w 10505529"/>
              <a:gd name="connsiteY24081" fmla="*/ 3523456 h 7458372"/>
              <a:gd name="connsiteX24082" fmla="*/ 2010020 w 10505529"/>
              <a:gd name="connsiteY24082" fmla="*/ 3532774 h 7458372"/>
              <a:gd name="connsiteX24083" fmla="*/ 2000702 w 10505529"/>
              <a:gd name="connsiteY24083" fmla="*/ 3539030 h 7458372"/>
              <a:gd name="connsiteX24084" fmla="*/ 1988987 w 10505529"/>
              <a:gd name="connsiteY24084" fmla="*/ 3541293 h 7458372"/>
              <a:gd name="connsiteX24085" fmla="*/ 1967156 w 10505529"/>
              <a:gd name="connsiteY24085" fmla="*/ 3532774 h 7458372"/>
              <a:gd name="connsiteX24086" fmla="*/ 1958770 w 10505529"/>
              <a:gd name="connsiteY24086" fmla="*/ 3511608 h 7458372"/>
              <a:gd name="connsiteX24087" fmla="*/ 1967156 w 10505529"/>
              <a:gd name="connsiteY24087" fmla="*/ 3490575 h 7458372"/>
              <a:gd name="connsiteX24088" fmla="*/ 1988987 w 10505529"/>
              <a:gd name="connsiteY24088" fmla="*/ 3481923 h 7458372"/>
              <a:gd name="connsiteX24089" fmla="*/ 1771349 w 10505529"/>
              <a:gd name="connsiteY24089" fmla="*/ 3481923 h 7458372"/>
              <a:gd name="connsiteX24090" fmla="*/ 1783063 w 10505529"/>
              <a:gd name="connsiteY24090" fmla="*/ 3484451 h 7458372"/>
              <a:gd name="connsiteX24091" fmla="*/ 1792381 w 10505529"/>
              <a:gd name="connsiteY24091" fmla="*/ 3490842 h 7458372"/>
              <a:gd name="connsiteX24092" fmla="*/ 1798505 w 10505529"/>
              <a:gd name="connsiteY24092" fmla="*/ 3500292 h 7458372"/>
              <a:gd name="connsiteX24093" fmla="*/ 1800767 w 10505529"/>
              <a:gd name="connsiteY24093" fmla="*/ 3511741 h 7458372"/>
              <a:gd name="connsiteX24094" fmla="*/ 1798505 w 10505529"/>
              <a:gd name="connsiteY24094" fmla="*/ 3523456 h 7458372"/>
              <a:gd name="connsiteX24095" fmla="*/ 1792381 w 10505529"/>
              <a:gd name="connsiteY24095" fmla="*/ 3532774 h 7458372"/>
              <a:gd name="connsiteX24096" fmla="*/ 1783063 w 10505529"/>
              <a:gd name="connsiteY24096" fmla="*/ 3539030 h 7458372"/>
              <a:gd name="connsiteX24097" fmla="*/ 1771349 w 10505529"/>
              <a:gd name="connsiteY24097" fmla="*/ 3541293 h 7458372"/>
              <a:gd name="connsiteX24098" fmla="*/ 1749519 w 10505529"/>
              <a:gd name="connsiteY24098" fmla="*/ 3532774 h 7458372"/>
              <a:gd name="connsiteX24099" fmla="*/ 1741135 w 10505529"/>
              <a:gd name="connsiteY24099" fmla="*/ 3511608 h 7458372"/>
              <a:gd name="connsiteX24100" fmla="*/ 1749519 w 10505529"/>
              <a:gd name="connsiteY24100" fmla="*/ 3490575 h 7458372"/>
              <a:gd name="connsiteX24101" fmla="*/ 1771349 w 10505529"/>
              <a:gd name="connsiteY24101" fmla="*/ 3481923 h 7458372"/>
              <a:gd name="connsiteX24102" fmla="*/ 1553709 w 10505529"/>
              <a:gd name="connsiteY24102" fmla="*/ 3481923 h 7458372"/>
              <a:gd name="connsiteX24103" fmla="*/ 1565424 w 10505529"/>
              <a:gd name="connsiteY24103" fmla="*/ 3484451 h 7458372"/>
              <a:gd name="connsiteX24104" fmla="*/ 1574742 w 10505529"/>
              <a:gd name="connsiteY24104" fmla="*/ 3490842 h 7458372"/>
              <a:gd name="connsiteX24105" fmla="*/ 1580865 w 10505529"/>
              <a:gd name="connsiteY24105" fmla="*/ 3500292 h 7458372"/>
              <a:gd name="connsiteX24106" fmla="*/ 1583128 w 10505529"/>
              <a:gd name="connsiteY24106" fmla="*/ 3511741 h 7458372"/>
              <a:gd name="connsiteX24107" fmla="*/ 1580865 w 10505529"/>
              <a:gd name="connsiteY24107" fmla="*/ 3523456 h 7458372"/>
              <a:gd name="connsiteX24108" fmla="*/ 1574742 w 10505529"/>
              <a:gd name="connsiteY24108" fmla="*/ 3532774 h 7458372"/>
              <a:gd name="connsiteX24109" fmla="*/ 1565424 w 10505529"/>
              <a:gd name="connsiteY24109" fmla="*/ 3539030 h 7458372"/>
              <a:gd name="connsiteX24110" fmla="*/ 1553709 w 10505529"/>
              <a:gd name="connsiteY24110" fmla="*/ 3541293 h 7458372"/>
              <a:gd name="connsiteX24111" fmla="*/ 1531878 w 10505529"/>
              <a:gd name="connsiteY24111" fmla="*/ 3532774 h 7458372"/>
              <a:gd name="connsiteX24112" fmla="*/ 1523493 w 10505529"/>
              <a:gd name="connsiteY24112" fmla="*/ 3511608 h 7458372"/>
              <a:gd name="connsiteX24113" fmla="*/ 1531878 w 10505529"/>
              <a:gd name="connsiteY24113" fmla="*/ 3490575 h 7458372"/>
              <a:gd name="connsiteX24114" fmla="*/ 1553709 w 10505529"/>
              <a:gd name="connsiteY24114" fmla="*/ 3481923 h 7458372"/>
              <a:gd name="connsiteX24115" fmla="*/ 1336065 w 10505529"/>
              <a:gd name="connsiteY24115" fmla="*/ 3481923 h 7458372"/>
              <a:gd name="connsiteX24116" fmla="*/ 1347781 w 10505529"/>
              <a:gd name="connsiteY24116" fmla="*/ 3484451 h 7458372"/>
              <a:gd name="connsiteX24117" fmla="*/ 1357099 w 10505529"/>
              <a:gd name="connsiteY24117" fmla="*/ 3490842 h 7458372"/>
              <a:gd name="connsiteX24118" fmla="*/ 1363222 w 10505529"/>
              <a:gd name="connsiteY24118" fmla="*/ 3500292 h 7458372"/>
              <a:gd name="connsiteX24119" fmla="*/ 1365484 w 10505529"/>
              <a:gd name="connsiteY24119" fmla="*/ 3511741 h 7458372"/>
              <a:gd name="connsiteX24120" fmla="*/ 1363222 w 10505529"/>
              <a:gd name="connsiteY24120" fmla="*/ 3523456 h 7458372"/>
              <a:gd name="connsiteX24121" fmla="*/ 1357099 w 10505529"/>
              <a:gd name="connsiteY24121" fmla="*/ 3532774 h 7458372"/>
              <a:gd name="connsiteX24122" fmla="*/ 1347781 w 10505529"/>
              <a:gd name="connsiteY24122" fmla="*/ 3539030 h 7458372"/>
              <a:gd name="connsiteX24123" fmla="*/ 1336065 w 10505529"/>
              <a:gd name="connsiteY24123" fmla="*/ 3541293 h 7458372"/>
              <a:gd name="connsiteX24124" fmla="*/ 1314232 w 10505529"/>
              <a:gd name="connsiteY24124" fmla="*/ 3532774 h 7458372"/>
              <a:gd name="connsiteX24125" fmla="*/ 1305847 w 10505529"/>
              <a:gd name="connsiteY24125" fmla="*/ 3511608 h 7458372"/>
              <a:gd name="connsiteX24126" fmla="*/ 1314232 w 10505529"/>
              <a:gd name="connsiteY24126" fmla="*/ 3490575 h 7458372"/>
              <a:gd name="connsiteX24127" fmla="*/ 1336065 w 10505529"/>
              <a:gd name="connsiteY24127" fmla="*/ 3481923 h 7458372"/>
              <a:gd name="connsiteX24128" fmla="*/ 1118420 w 10505529"/>
              <a:gd name="connsiteY24128" fmla="*/ 3481923 h 7458372"/>
              <a:gd name="connsiteX24129" fmla="*/ 1130137 w 10505529"/>
              <a:gd name="connsiteY24129" fmla="*/ 3484451 h 7458372"/>
              <a:gd name="connsiteX24130" fmla="*/ 1139453 w 10505529"/>
              <a:gd name="connsiteY24130" fmla="*/ 3490842 h 7458372"/>
              <a:gd name="connsiteX24131" fmla="*/ 1145574 w 10505529"/>
              <a:gd name="connsiteY24131" fmla="*/ 3500292 h 7458372"/>
              <a:gd name="connsiteX24132" fmla="*/ 1147837 w 10505529"/>
              <a:gd name="connsiteY24132" fmla="*/ 3511741 h 7458372"/>
              <a:gd name="connsiteX24133" fmla="*/ 1145574 w 10505529"/>
              <a:gd name="connsiteY24133" fmla="*/ 3523456 h 7458372"/>
              <a:gd name="connsiteX24134" fmla="*/ 1139453 w 10505529"/>
              <a:gd name="connsiteY24134" fmla="*/ 3532774 h 7458372"/>
              <a:gd name="connsiteX24135" fmla="*/ 1130137 w 10505529"/>
              <a:gd name="connsiteY24135" fmla="*/ 3539030 h 7458372"/>
              <a:gd name="connsiteX24136" fmla="*/ 1118420 w 10505529"/>
              <a:gd name="connsiteY24136" fmla="*/ 3541293 h 7458372"/>
              <a:gd name="connsiteX24137" fmla="*/ 1096586 w 10505529"/>
              <a:gd name="connsiteY24137" fmla="*/ 3532774 h 7458372"/>
              <a:gd name="connsiteX24138" fmla="*/ 1088201 w 10505529"/>
              <a:gd name="connsiteY24138" fmla="*/ 3511608 h 7458372"/>
              <a:gd name="connsiteX24139" fmla="*/ 1096586 w 10505529"/>
              <a:gd name="connsiteY24139" fmla="*/ 3490575 h 7458372"/>
              <a:gd name="connsiteX24140" fmla="*/ 1118420 w 10505529"/>
              <a:gd name="connsiteY24140" fmla="*/ 3481923 h 7458372"/>
              <a:gd name="connsiteX24141" fmla="*/ 900907 w 10505529"/>
              <a:gd name="connsiteY24141" fmla="*/ 3481923 h 7458372"/>
              <a:gd name="connsiteX24142" fmla="*/ 912622 w 10505529"/>
              <a:gd name="connsiteY24142" fmla="*/ 3484451 h 7458372"/>
              <a:gd name="connsiteX24143" fmla="*/ 921941 w 10505529"/>
              <a:gd name="connsiteY24143" fmla="*/ 3490842 h 7458372"/>
              <a:gd name="connsiteX24144" fmla="*/ 928063 w 10505529"/>
              <a:gd name="connsiteY24144" fmla="*/ 3500292 h 7458372"/>
              <a:gd name="connsiteX24145" fmla="*/ 930326 w 10505529"/>
              <a:gd name="connsiteY24145" fmla="*/ 3511741 h 7458372"/>
              <a:gd name="connsiteX24146" fmla="*/ 928063 w 10505529"/>
              <a:gd name="connsiteY24146" fmla="*/ 3523456 h 7458372"/>
              <a:gd name="connsiteX24147" fmla="*/ 921941 w 10505529"/>
              <a:gd name="connsiteY24147" fmla="*/ 3532774 h 7458372"/>
              <a:gd name="connsiteX24148" fmla="*/ 912622 w 10505529"/>
              <a:gd name="connsiteY24148" fmla="*/ 3539030 h 7458372"/>
              <a:gd name="connsiteX24149" fmla="*/ 900907 w 10505529"/>
              <a:gd name="connsiteY24149" fmla="*/ 3541293 h 7458372"/>
              <a:gd name="connsiteX24150" fmla="*/ 879076 w 10505529"/>
              <a:gd name="connsiteY24150" fmla="*/ 3532774 h 7458372"/>
              <a:gd name="connsiteX24151" fmla="*/ 870691 w 10505529"/>
              <a:gd name="connsiteY24151" fmla="*/ 3511608 h 7458372"/>
              <a:gd name="connsiteX24152" fmla="*/ 879076 w 10505529"/>
              <a:gd name="connsiteY24152" fmla="*/ 3490575 h 7458372"/>
              <a:gd name="connsiteX24153" fmla="*/ 900907 w 10505529"/>
              <a:gd name="connsiteY24153" fmla="*/ 3481923 h 7458372"/>
              <a:gd name="connsiteX24154" fmla="*/ 683265 w 10505529"/>
              <a:gd name="connsiteY24154" fmla="*/ 3481923 h 7458372"/>
              <a:gd name="connsiteX24155" fmla="*/ 694981 w 10505529"/>
              <a:gd name="connsiteY24155" fmla="*/ 3484451 h 7458372"/>
              <a:gd name="connsiteX24156" fmla="*/ 704298 w 10505529"/>
              <a:gd name="connsiteY24156" fmla="*/ 3490842 h 7458372"/>
              <a:gd name="connsiteX24157" fmla="*/ 710421 w 10505529"/>
              <a:gd name="connsiteY24157" fmla="*/ 3500292 h 7458372"/>
              <a:gd name="connsiteX24158" fmla="*/ 712684 w 10505529"/>
              <a:gd name="connsiteY24158" fmla="*/ 3511741 h 7458372"/>
              <a:gd name="connsiteX24159" fmla="*/ 710421 w 10505529"/>
              <a:gd name="connsiteY24159" fmla="*/ 3523456 h 7458372"/>
              <a:gd name="connsiteX24160" fmla="*/ 704298 w 10505529"/>
              <a:gd name="connsiteY24160" fmla="*/ 3532774 h 7458372"/>
              <a:gd name="connsiteX24161" fmla="*/ 694981 w 10505529"/>
              <a:gd name="connsiteY24161" fmla="*/ 3539030 h 7458372"/>
              <a:gd name="connsiteX24162" fmla="*/ 683265 w 10505529"/>
              <a:gd name="connsiteY24162" fmla="*/ 3541293 h 7458372"/>
              <a:gd name="connsiteX24163" fmla="*/ 661434 w 10505529"/>
              <a:gd name="connsiteY24163" fmla="*/ 3532774 h 7458372"/>
              <a:gd name="connsiteX24164" fmla="*/ 653048 w 10505529"/>
              <a:gd name="connsiteY24164" fmla="*/ 3511608 h 7458372"/>
              <a:gd name="connsiteX24165" fmla="*/ 661434 w 10505529"/>
              <a:gd name="connsiteY24165" fmla="*/ 3490575 h 7458372"/>
              <a:gd name="connsiteX24166" fmla="*/ 683265 w 10505529"/>
              <a:gd name="connsiteY24166" fmla="*/ 3481923 h 7458372"/>
              <a:gd name="connsiteX24167" fmla="*/ 465623 w 10505529"/>
              <a:gd name="connsiteY24167" fmla="*/ 3481923 h 7458372"/>
              <a:gd name="connsiteX24168" fmla="*/ 477338 w 10505529"/>
              <a:gd name="connsiteY24168" fmla="*/ 3484451 h 7458372"/>
              <a:gd name="connsiteX24169" fmla="*/ 486656 w 10505529"/>
              <a:gd name="connsiteY24169" fmla="*/ 3490842 h 7458372"/>
              <a:gd name="connsiteX24170" fmla="*/ 492779 w 10505529"/>
              <a:gd name="connsiteY24170" fmla="*/ 3500292 h 7458372"/>
              <a:gd name="connsiteX24171" fmla="*/ 495042 w 10505529"/>
              <a:gd name="connsiteY24171" fmla="*/ 3511741 h 7458372"/>
              <a:gd name="connsiteX24172" fmla="*/ 492779 w 10505529"/>
              <a:gd name="connsiteY24172" fmla="*/ 3523456 h 7458372"/>
              <a:gd name="connsiteX24173" fmla="*/ 486656 w 10505529"/>
              <a:gd name="connsiteY24173" fmla="*/ 3532774 h 7458372"/>
              <a:gd name="connsiteX24174" fmla="*/ 477338 w 10505529"/>
              <a:gd name="connsiteY24174" fmla="*/ 3539030 h 7458372"/>
              <a:gd name="connsiteX24175" fmla="*/ 465623 w 10505529"/>
              <a:gd name="connsiteY24175" fmla="*/ 3541293 h 7458372"/>
              <a:gd name="connsiteX24176" fmla="*/ 443792 w 10505529"/>
              <a:gd name="connsiteY24176" fmla="*/ 3532774 h 7458372"/>
              <a:gd name="connsiteX24177" fmla="*/ 435406 w 10505529"/>
              <a:gd name="connsiteY24177" fmla="*/ 3511608 h 7458372"/>
              <a:gd name="connsiteX24178" fmla="*/ 443792 w 10505529"/>
              <a:gd name="connsiteY24178" fmla="*/ 3490575 h 7458372"/>
              <a:gd name="connsiteX24179" fmla="*/ 465623 w 10505529"/>
              <a:gd name="connsiteY24179" fmla="*/ 3481923 h 7458372"/>
              <a:gd name="connsiteX24180" fmla="*/ 247980 w 10505529"/>
              <a:gd name="connsiteY24180" fmla="*/ 3481923 h 7458372"/>
              <a:gd name="connsiteX24181" fmla="*/ 259695 w 10505529"/>
              <a:gd name="connsiteY24181" fmla="*/ 3484451 h 7458372"/>
              <a:gd name="connsiteX24182" fmla="*/ 269013 w 10505529"/>
              <a:gd name="connsiteY24182" fmla="*/ 3490842 h 7458372"/>
              <a:gd name="connsiteX24183" fmla="*/ 275136 w 10505529"/>
              <a:gd name="connsiteY24183" fmla="*/ 3500292 h 7458372"/>
              <a:gd name="connsiteX24184" fmla="*/ 277399 w 10505529"/>
              <a:gd name="connsiteY24184" fmla="*/ 3511741 h 7458372"/>
              <a:gd name="connsiteX24185" fmla="*/ 275136 w 10505529"/>
              <a:gd name="connsiteY24185" fmla="*/ 3523456 h 7458372"/>
              <a:gd name="connsiteX24186" fmla="*/ 269013 w 10505529"/>
              <a:gd name="connsiteY24186" fmla="*/ 3532774 h 7458372"/>
              <a:gd name="connsiteX24187" fmla="*/ 259695 w 10505529"/>
              <a:gd name="connsiteY24187" fmla="*/ 3539030 h 7458372"/>
              <a:gd name="connsiteX24188" fmla="*/ 247980 w 10505529"/>
              <a:gd name="connsiteY24188" fmla="*/ 3541293 h 7458372"/>
              <a:gd name="connsiteX24189" fmla="*/ 226150 w 10505529"/>
              <a:gd name="connsiteY24189" fmla="*/ 3532774 h 7458372"/>
              <a:gd name="connsiteX24190" fmla="*/ 217764 w 10505529"/>
              <a:gd name="connsiteY24190" fmla="*/ 3511608 h 7458372"/>
              <a:gd name="connsiteX24191" fmla="*/ 226150 w 10505529"/>
              <a:gd name="connsiteY24191" fmla="*/ 3490575 h 7458372"/>
              <a:gd name="connsiteX24192" fmla="*/ 247980 w 10505529"/>
              <a:gd name="connsiteY24192" fmla="*/ 3481923 h 7458372"/>
              <a:gd name="connsiteX24193" fmla="*/ 30337 w 10505529"/>
              <a:gd name="connsiteY24193" fmla="*/ 3481923 h 7458372"/>
              <a:gd name="connsiteX24194" fmla="*/ 42053 w 10505529"/>
              <a:gd name="connsiteY24194" fmla="*/ 3484451 h 7458372"/>
              <a:gd name="connsiteX24195" fmla="*/ 51371 w 10505529"/>
              <a:gd name="connsiteY24195" fmla="*/ 3490842 h 7458372"/>
              <a:gd name="connsiteX24196" fmla="*/ 57494 w 10505529"/>
              <a:gd name="connsiteY24196" fmla="*/ 3500292 h 7458372"/>
              <a:gd name="connsiteX24197" fmla="*/ 59757 w 10505529"/>
              <a:gd name="connsiteY24197" fmla="*/ 3511741 h 7458372"/>
              <a:gd name="connsiteX24198" fmla="*/ 57494 w 10505529"/>
              <a:gd name="connsiteY24198" fmla="*/ 3523456 h 7458372"/>
              <a:gd name="connsiteX24199" fmla="*/ 51371 w 10505529"/>
              <a:gd name="connsiteY24199" fmla="*/ 3532774 h 7458372"/>
              <a:gd name="connsiteX24200" fmla="*/ 42053 w 10505529"/>
              <a:gd name="connsiteY24200" fmla="*/ 3539030 h 7458372"/>
              <a:gd name="connsiteX24201" fmla="*/ 30337 w 10505529"/>
              <a:gd name="connsiteY24201" fmla="*/ 3541293 h 7458372"/>
              <a:gd name="connsiteX24202" fmla="*/ 8508 w 10505529"/>
              <a:gd name="connsiteY24202" fmla="*/ 3532774 h 7458372"/>
              <a:gd name="connsiteX24203" fmla="*/ 122 w 10505529"/>
              <a:gd name="connsiteY24203" fmla="*/ 3511608 h 7458372"/>
              <a:gd name="connsiteX24204" fmla="*/ 8508 w 10505529"/>
              <a:gd name="connsiteY24204" fmla="*/ 3490575 h 7458372"/>
              <a:gd name="connsiteX24205" fmla="*/ 30337 w 10505529"/>
              <a:gd name="connsiteY24205" fmla="*/ 3481923 h 7458372"/>
              <a:gd name="connsiteX24206" fmla="*/ 10475977 w 10505529"/>
              <a:gd name="connsiteY24206" fmla="*/ 3280919 h 7458372"/>
              <a:gd name="connsiteX24207" fmla="*/ 10465992 w 10505529"/>
              <a:gd name="connsiteY24207" fmla="*/ 3284512 h 7458372"/>
              <a:gd name="connsiteX24208" fmla="*/ 10462399 w 10505529"/>
              <a:gd name="connsiteY24208" fmla="*/ 3293962 h 7458372"/>
              <a:gd name="connsiteX24209" fmla="*/ 10465992 w 10505529"/>
              <a:gd name="connsiteY24209" fmla="*/ 3303414 h 7458372"/>
              <a:gd name="connsiteX24210" fmla="*/ 10475977 w 10505529"/>
              <a:gd name="connsiteY24210" fmla="*/ 3306875 h 7458372"/>
              <a:gd name="connsiteX24211" fmla="*/ 10481302 w 10505529"/>
              <a:gd name="connsiteY24211" fmla="*/ 3305943 h 7458372"/>
              <a:gd name="connsiteX24212" fmla="*/ 10485029 w 10505529"/>
              <a:gd name="connsiteY24212" fmla="*/ 3303547 h 7458372"/>
              <a:gd name="connsiteX24213" fmla="*/ 10487691 w 10505529"/>
              <a:gd name="connsiteY24213" fmla="*/ 3299421 h 7458372"/>
              <a:gd name="connsiteX24214" fmla="*/ 10488623 w 10505529"/>
              <a:gd name="connsiteY24214" fmla="*/ 3293962 h 7458372"/>
              <a:gd name="connsiteX24215" fmla="*/ 10487691 w 10505529"/>
              <a:gd name="connsiteY24215" fmla="*/ 3288772 h 7458372"/>
              <a:gd name="connsiteX24216" fmla="*/ 10485029 w 10505529"/>
              <a:gd name="connsiteY24216" fmla="*/ 3284512 h 7458372"/>
              <a:gd name="connsiteX24217" fmla="*/ 10481035 w 10505529"/>
              <a:gd name="connsiteY24217" fmla="*/ 3281849 h 7458372"/>
              <a:gd name="connsiteX24218" fmla="*/ 10475977 w 10505529"/>
              <a:gd name="connsiteY24218" fmla="*/ 3280919 h 7458372"/>
              <a:gd name="connsiteX24219" fmla="*/ 10258466 w 10505529"/>
              <a:gd name="connsiteY24219" fmla="*/ 3280919 h 7458372"/>
              <a:gd name="connsiteX24220" fmla="*/ 10248481 w 10505529"/>
              <a:gd name="connsiteY24220" fmla="*/ 3284512 h 7458372"/>
              <a:gd name="connsiteX24221" fmla="*/ 10244887 w 10505529"/>
              <a:gd name="connsiteY24221" fmla="*/ 3293962 h 7458372"/>
              <a:gd name="connsiteX24222" fmla="*/ 10248481 w 10505529"/>
              <a:gd name="connsiteY24222" fmla="*/ 3303414 h 7458372"/>
              <a:gd name="connsiteX24223" fmla="*/ 10258466 w 10505529"/>
              <a:gd name="connsiteY24223" fmla="*/ 3306875 h 7458372"/>
              <a:gd name="connsiteX24224" fmla="*/ 10263790 w 10505529"/>
              <a:gd name="connsiteY24224" fmla="*/ 3305943 h 7458372"/>
              <a:gd name="connsiteX24225" fmla="*/ 10267517 w 10505529"/>
              <a:gd name="connsiteY24225" fmla="*/ 3303547 h 7458372"/>
              <a:gd name="connsiteX24226" fmla="*/ 10270180 w 10505529"/>
              <a:gd name="connsiteY24226" fmla="*/ 3299421 h 7458372"/>
              <a:gd name="connsiteX24227" fmla="*/ 10271112 w 10505529"/>
              <a:gd name="connsiteY24227" fmla="*/ 3293962 h 7458372"/>
              <a:gd name="connsiteX24228" fmla="*/ 10270180 w 10505529"/>
              <a:gd name="connsiteY24228" fmla="*/ 3288772 h 7458372"/>
              <a:gd name="connsiteX24229" fmla="*/ 10267517 w 10505529"/>
              <a:gd name="connsiteY24229" fmla="*/ 3284512 h 7458372"/>
              <a:gd name="connsiteX24230" fmla="*/ 10263524 w 10505529"/>
              <a:gd name="connsiteY24230" fmla="*/ 3281849 h 7458372"/>
              <a:gd name="connsiteX24231" fmla="*/ 10258466 w 10505529"/>
              <a:gd name="connsiteY24231" fmla="*/ 3280919 h 7458372"/>
              <a:gd name="connsiteX24232" fmla="*/ 10040820 w 10505529"/>
              <a:gd name="connsiteY24232" fmla="*/ 3280919 h 7458372"/>
              <a:gd name="connsiteX24233" fmla="*/ 10030835 w 10505529"/>
              <a:gd name="connsiteY24233" fmla="*/ 3284512 h 7458372"/>
              <a:gd name="connsiteX24234" fmla="*/ 10027242 w 10505529"/>
              <a:gd name="connsiteY24234" fmla="*/ 3293962 h 7458372"/>
              <a:gd name="connsiteX24235" fmla="*/ 10030835 w 10505529"/>
              <a:gd name="connsiteY24235" fmla="*/ 3303414 h 7458372"/>
              <a:gd name="connsiteX24236" fmla="*/ 10040820 w 10505529"/>
              <a:gd name="connsiteY24236" fmla="*/ 3306875 h 7458372"/>
              <a:gd name="connsiteX24237" fmla="*/ 10046145 w 10505529"/>
              <a:gd name="connsiteY24237" fmla="*/ 3305943 h 7458372"/>
              <a:gd name="connsiteX24238" fmla="*/ 10049872 w 10505529"/>
              <a:gd name="connsiteY24238" fmla="*/ 3303547 h 7458372"/>
              <a:gd name="connsiteX24239" fmla="*/ 10052534 w 10505529"/>
              <a:gd name="connsiteY24239" fmla="*/ 3299421 h 7458372"/>
              <a:gd name="connsiteX24240" fmla="*/ 10053599 w 10505529"/>
              <a:gd name="connsiteY24240" fmla="*/ 3293962 h 7458372"/>
              <a:gd name="connsiteX24241" fmla="*/ 10052534 w 10505529"/>
              <a:gd name="connsiteY24241" fmla="*/ 3288772 h 7458372"/>
              <a:gd name="connsiteX24242" fmla="*/ 10049872 w 10505529"/>
              <a:gd name="connsiteY24242" fmla="*/ 3284512 h 7458372"/>
              <a:gd name="connsiteX24243" fmla="*/ 10045878 w 10505529"/>
              <a:gd name="connsiteY24243" fmla="*/ 3281849 h 7458372"/>
              <a:gd name="connsiteX24244" fmla="*/ 10040820 w 10505529"/>
              <a:gd name="connsiteY24244" fmla="*/ 3280919 h 7458372"/>
              <a:gd name="connsiteX24245" fmla="*/ 9823176 w 10505529"/>
              <a:gd name="connsiteY24245" fmla="*/ 3280919 h 7458372"/>
              <a:gd name="connsiteX24246" fmla="*/ 9813191 w 10505529"/>
              <a:gd name="connsiteY24246" fmla="*/ 3284512 h 7458372"/>
              <a:gd name="connsiteX24247" fmla="*/ 9809597 w 10505529"/>
              <a:gd name="connsiteY24247" fmla="*/ 3293962 h 7458372"/>
              <a:gd name="connsiteX24248" fmla="*/ 9813191 w 10505529"/>
              <a:gd name="connsiteY24248" fmla="*/ 3303414 h 7458372"/>
              <a:gd name="connsiteX24249" fmla="*/ 9823176 w 10505529"/>
              <a:gd name="connsiteY24249" fmla="*/ 3306875 h 7458372"/>
              <a:gd name="connsiteX24250" fmla="*/ 9828501 w 10505529"/>
              <a:gd name="connsiteY24250" fmla="*/ 3305943 h 7458372"/>
              <a:gd name="connsiteX24251" fmla="*/ 9832227 w 10505529"/>
              <a:gd name="connsiteY24251" fmla="*/ 3303547 h 7458372"/>
              <a:gd name="connsiteX24252" fmla="*/ 9834890 w 10505529"/>
              <a:gd name="connsiteY24252" fmla="*/ 3299421 h 7458372"/>
              <a:gd name="connsiteX24253" fmla="*/ 9835955 w 10505529"/>
              <a:gd name="connsiteY24253" fmla="*/ 3293962 h 7458372"/>
              <a:gd name="connsiteX24254" fmla="*/ 9834890 w 10505529"/>
              <a:gd name="connsiteY24254" fmla="*/ 3288772 h 7458372"/>
              <a:gd name="connsiteX24255" fmla="*/ 9832227 w 10505529"/>
              <a:gd name="connsiteY24255" fmla="*/ 3284512 h 7458372"/>
              <a:gd name="connsiteX24256" fmla="*/ 9828234 w 10505529"/>
              <a:gd name="connsiteY24256" fmla="*/ 3281849 h 7458372"/>
              <a:gd name="connsiteX24257" fmla="*/ 9823176 w 10505529"/>
              <a:gd name="connsiteY24257" fmla="*/ 3280919 h 7458372"/>
              <a:gd name="connsiteX24258" fmla="*/ 9605531 w 10505529"/>
              <a:gd name="connsiteY24258" fmla="*/ 3280919 h 7458372"/>
              <a:gd name="connsiteX24259" fmla="*/ 9595546 w 10505529"/>
              <a:gd name="connsiteY24259" fmla="*/ 3284512 h 7458372"/>
              <a:gd name="connsiteX24260" fmla="*/ 9591952 w 10505529"/>
              <a:gd name="connsiteY24260" fmla="*/ 3293962 h 7458372"/>
              <a:gd name="connsiteX24261" fmla="*/ 9595546 w 10505529"/>
              <a:gd name="connsiteY24261" fmla="*/ 3303414 h 7458372"/>
              <a:gd name="connsiteX24262" fmla="*/ 9605531 w 10505529"/>
              <a:gd name="connsiteY24262" fmla="*/ 3306875 h 7458372"/>
              <a:gd name="connsiteX24263" fmla="*/ 9610855 w 10505529"/>
              <a:gd name="connsiteY24263" fmla="*/ 3305943 h 7458372"/>
              <a:gd name="connsiteX24264" fmla="*/ 9614582 w 10505529"/>
              <a:gd name="connsiteY24264" fmla="*/ 3303547 h 7458372"/>
              <a:gd name="connsiteX24265" fmla="*/ 9617245 w 10505529"/>
              <a:gd name="connsiteY24265" fmla="*/ 3299421 h 7458372"/>
              <a:gd name="connsiteX24266" fmla="*/ 9618309 w 10505529"/>
              <a:gd name="connsiteY24266" fmla="*/ 3293962 h 7458372"/>
              <a:gd name="connsiteX24267" fmla="*/ 9617245 w 10505529"/>
              <a:gd name="connsiteY24267" fmla="*/ 3288772 h 7458372"/>
              <a:gd name="connsiteX24268" fmla="*/ 9614582 w 10505529"/>
              <a:gd name="connsiteY24268" fmla="*/ 3284512 h 7458372"/>
              <a:gd name="connsiteX24269" fmla="*/ 9610589 w 10505529"/>
              <a:gd name="connsiteY24269" fmla="*/ 3281849 h 7458372"/>
              <a:gd name="connsiteX24270" fmla="*/ 9605531 w 10505529"/>
              <a:gd name="connsiteY24270" fmla="*/ 3280919 h 7458372"/>
              <a:gd name="connsiteX24271" fmla="*/ 9387885 w 10505529"/>
              <a:gd name="connsiteY24271" fmla="*/ 3280919 h 7458372"/>
              <a:gd name="connsiteX24272" fmla="*/ 9377900 w 10505529"/>
              <a:gd name="connsiteY24272" fmla="*/ 3284512 h 7458372"/>
              <a:gd name="connsiteX24273" fmla="*/ 9374307 w 10505529"/>
              <a:gd name="connsiteY24273" fmla="*/ 3293962 h 7458372"/>
              <a:gd name="connsiteX24274" fmla="*/ 9377900 w 10505529"/>
              <a:gd name="connsiteY24274" fmla="*/ 3303414 h 7458372"/>
              <a:gd name="connsiteX24275" fmla="*/ 9387885 w 10505529"/>
              <a:gd name="connsiteY24275" fmla="*/ 3306875 h 7458372"/>
              <a:gd name="connsiteX24276" fmla="*/ 9393210 w 10505529"/>
              <a:gd name="connsiteY24276" fmla="*/ 3305943 h 7458372"/>
              <a:gd name="connsiteX24277" fmla="*/ 9396937 w 10505529"/>
              <a:gd name="connsiteY24277" fmla="*/ 3303547 h 7458372"/>
              <a:gd name="connsiteX24278" fmla="*/ 9399599 w 10505529"/>
              <a:gd name="connsiteY24278" fmla="*/ 3299421 h 7458372"/>
              <a:gd name="connsiteX24279" fmla="*/ 9400664 w 10505529"/>
              <a:gd name="connsiteY24279" fmla="*/ 3293962 h 7458372"/>
              <a:gd name="connsiteX24280" fmla="*/ 9399599 w 10505529"/>
              <a:gd name="connsiteY24280" fmla="*/ 3288772 h 7458372"/>
              <a:gd name="connsiteX24281" fmla="*/ 9396937 w 10505529"/>
              <a:gd name="connsiteY24281" fmla="*/ 3284512 h 7458372"/>
              <a:gd name="connsiteX24282" fmla="*/ 9392943 w 10505529"/>
              <a:gd name="connsiteY24282" fmla="*/ 3281849 h 7458372"/>
              <a:gd name="connsiteX24283" fmla="*/ 9387885 w 10505529"/>
              <a:gd name="connsiteY24283" fmla="*/ 3280919 h 7458372"/>
              <a:gd name="connsiteX24284" fmla="*/ 9170374 w 10505529"/>
              <a:gd name="connsiteY24284" fmla="*/ 3280919 h 7458372"/>
              <a:gd name="connsiteX24285" fmla="*/ 9160389 w 10505529"/>
              <a:gd name="connsiteY24285" fmla="*/ 3284512 h 7458372"/>
              <a:gd name="connsiteX24286" fmla="*/ 9156795 w 10505529"/>
              <a:gd name="connsiteY24286" fmla="*/ 3293962 h 7458372"/>
              <a:gd name="connsiteX24287" fmla="*/ 9160389 w 10505529"/>
              <a:gd name="connsiteY24287" fmla="*/ 3303414 h 7458372"/>
              <a:gd name="connsiteX24288" fmla="*/ 9170374 w 10505529"/>
              <a:gd name="connsiteY24288" fmla="*/ 3306875 h 7458372"/>
              <a:gd name="connsiteX24289" fmla="*/ 9175698 w 10505529"/>
              <a:gd name="connsiteY24289" fmla="*/ 3305943 h 7458372"/>
              <a:gd name="connsiteX24290" fmla="*/ 9179425 w 10505529"/>
              <a:gd name="connsiteY24290" fmla="*/ 3303547 h 7458372"/>
              <a:gd name="connsiteX24291" fmla="*/ 9182088 w 10505529"/>
              <a:gd name="connsiteY24291" fmla="*/ 3299421 h 7458372"/>
              <a:gd name="connsiteX24292" fmla="*/ 9183152 w 10505529"/>
              <a:gd name="connsiteY24292" fmla="*/ 3293962 h 7458372"/>
              <a:gd name="connsiteX24293" fmla="*/ 9182088 w 10505529"/>
              <a:gd name="connsiteY24293" fmla="*/ 3288772 h 7458372"/>
              <a:gd name="connsiteX24294" fmla="*/ 9179425 w 10505529"/>
              <a:gd name="connsiteY24294" fmla="*/ 3284512 h 7458372"/>
              <a:gd name="connsiteX24295" fmla="*/ 9175432 w 10505529"/>
              <a:gd name="connsiteY24295" fmla="*/ 3281849 h 7458372"/>
              <a:gd name="connsiteX24296" fmla="*/ 9170374 w 10505529"/>
              <a:gd name="connsiteY24296" fmla="*/ 3280919 h 7458372"/>
              <a:gd name="connsiteX24297" fmla="*/ 8952728 w 10505529"/>
              <a:gd name="connsiteY24297" fmla="*/ 3280919 h 7458372"/>
              <a:gd name="connsiteX24298" fmla="*/ 8942743 w 10505529"/>
              <a:gd name="connsiteY24298" fmla="*/ 3284512 h 7458372"/>
              <a:gd name="connsiteX24299" fmla="*/ 8939150 w 10505529"/>
              <a:gd name="connsiteY24299" fmla="*/ 3293962 h 7458372"/>
              <a:gd name="connsiteX24300" fmla="*/ 8942743 w 10505529"/>
              <a:gd name="connsiteY24300" fmla="*/ 3303414 h 7458372"/>
              <a:gd name="connsiteX24301" fmla="*/ 8952728 w 10505529"/>
              <a:gd name="connsiteY24301" fmla="*/ 3306875 h 7458372"/>
              <a:gd name="connsiteX24302" fmla="*/ 8958053 w 10505529"/>
              <a:gd name="connsiteY24302" fmla="*/ 3305943 h 7458372"/>
              <a:gd name="connsiteX24303" fmla="*/ 8961780 w 10505529"/>
              <a:gd name="connsiteY24303" fmla="*/ 3303547 h 7458372"/>
              <a:gd name="connsiteX24304" fmla="*/ 8964442 w 10505529"/>
              <a:gd name="connsiteY24304" fmla="*/ 3299421 h 7458372"/>
              <a:gd name="connsiteX24305" fmla="*/ 8965507 w 10505529"/>
              <a:gd name="connsiteY24305" fmla="*/ 3293962 h 7458372"/>
              <a:gd name="connsiteX24306" fmla="*/ 8964442 w 10505529"/>
              <a:gd name="connsiteY24306" fmla="*/ 3288772 h 7458372"/>
              <a:gd name="connsiteX24307" fmla="*/ 8961780 w 10505529"/>
              <a:gd name="connsiteY24307" fmla="*/ 3284512 h 7458372"/>
              <a:gd name="connsiteX24308" fmla="*/ 8957786 w 10505529"/>
              <a:gd name="connsiteY24308" fmla="*/ 3281849 h 7458372"/>
              <a:gd name="connsiteX24309" fmla="*/ 8952728 w 10505529"/>
              <a:gd name="connsiteY24309" fmla="*/ 3280919 h 7458372"/>
              <a:gd name="connsiteX24310" fmla="*/ 8735083 w 10505529"/>
              <a:gd name="connsiteY24310" fmla="*/ 3280919 h 7458372"/>
              <a:gd name="connsiteX24311" fmla="*/ 8725098 w 10505529"/>
              <a:gd name="connsiteY24311" fmla="*/ 3284512 h 7458372"/>
              <a:gd name="connsiteX24312" fmla="*/ 8721504 w 10505529"/>
              <a:gd name="connsiteY24312" fmla="*/ 3293962 h 7458372"/>
              <a:gd name="connsiteX24313" fmla="*/ 8725098 w 10505529"/>
              <a:gd name="connsiteY24313" fmla="*/ 3303414 h 7458372"/>
              <a:gd name="connsiteX24314" fmla="*/ 8735083 w 10505529"/>
              <a:gd name="connsiteY24314" fmla="*/ 3306875 h 7458372"/>
              <a:gd name="connsiteX24315" fmla="*/ 8740407 w 10505529"/>
              <a:gd name="connsiteY24315" fmla="*/ 3305943 h 7458372"/>
              <a:gd name="connsiteX24316" fmla="*/ 8744134 w 10505529"/>
              <a:gd name="connsiteY24316" fmla="*/ 3303547 h 7458372"/>
              <a:gd name="connsiteX24317" fmla="*/ 8746797 w 10505529"/>
              <a:gd name="connsiteY24317" fmla="*/ 3299421 h 7458372"/>
              <a:gd name="connsiteX24318" fmla="*/ 8747862 w 10505529"/>
              <a:gd name="connsiteY24318" fmla="*/ 3293962 h 7458372"/>
              <a:gd name="connsiteX24319" fmla="*/ 8746797 w 10505529"/>
              <a:gd name="connsiteY24319" fmla="*/ 3288772 h 7458372"/>
              <a:gd name="connsiteX24320" fmla="*/ 8744134 w 10505529"/>
              <a:gd name="connsiteY24320" fmla="*/ 3284512 h 7458372"/>
              <a:gd name="connsiteX24321" fmla="*/ 8740141 w 10505529"/>
              <a:gd name="connsiteY24321" fmla="*/ 3281849 h 7458372"/>
              <a:gd name="connsiteX24322" fmla="*/ 8735083 w 10505529"/>
              <a:gd name="connsiteY24322" fmla="*/ 3280919 h 7458372"/>
              <a:gd name="connsiteX24323" fmla="*/ 8517438 w 10505529"/>
              <a:gd name="connsiteY24323" fmla="*/ 3280919 h 7458372"/>
              <a:gd name="connsiteX24324" fmla="*/ 8507453 w 10505529"/>
              <a:gd name="connsiteY24324" fmla="*/ 3284512 h 7458372"/>
              <a:gd name="connsiteX24325" fmla="*/ 8503860 w 10505529"/>
              <a:gd name="connsiteY24325" fmla="*/ 3293962 h 7458372"/>
              <a:gd name="connsiteX24326" fmla="*/ 8507453 w 10505529"/>
              <a:gd name="connsiteY24326" fmla="*/ 3303414 h 7458372"/>
              <a:gd name="connsiteX24327" fmla="*/ 8517438 w 10505529"/>
              <a:gd name="connsiteY24327" fmla="*/ 3306875 h 7458372"/>
              <a:gd name="connsiteX24328" fmla="*/ 8522763 w 10505529"/>
              <a:gd name="connsiteY24328" fmla="*/ 3305943 h 7458372"/>
              <a:gd name="connsiteX24329" fmla="*/ 8526490 w 10505529"/>
              <a:gd name="connsiteY24329" fmla="*/ 3303547 h 7458372"/>
              <a:gd name="connsiteX24330" fmla="*/ 8529152 w 10505529"/>
              <a:gd name="connsiteY24330" fmla="*/ 3299421 h 7458372"/>
              <a:gd name="connsiteX24331" fmla="*/ 8530084 w 10505529"/>
              <a:gd name="connsiteY24331" fmla="*/ 3293962 h 7458372"/>
              <a:gd name="connsiteX24332" fmla="*/ 8529152 w 10505529"/>
              <a:gd name="connsiteY24332" fmla="*/ 3288772 h 7458372"/>
              <a:gd name="connsiteX24333" fmla="*/ 8526490 w 10505529"/>
              <a:gd name="connsiteY24333" fmla="*/ 3284512 h 7458372"/>
              <a:gd name="connsiteX24334" fmla="*/ 8522496 w 10505529"/>
              <a:gd name="connsiteY24334" fmla="*/ 3281849 h 7458372"/>
              <a:gd name="connsiteX24335" fmla="*/ 8517438 w 10505529"/>
              <a:gd name="connsiteY24335" fmla="*/ 3280919 h 7458372"/>
              <a:gd name="connsiteX24336" fmla="*/ 8299793 w 10505529"/>
              <a:gd name="connsiteY24336" fmla="*/ 3280919 h 7458372"/>
              <a:gd name="connsiteX24337" fmla="*/ 8289809 w 10505529"/>
              <a:gd name="connsiteY24337" fmla="*/ 3284512 h 7458372"/>
              <a:gd name="connsiteX24338" fmla="*/ 8286215 w 10505529"/>
              <a:gd name="connsiteY24338" fmla="*/ 3293962 h 7458372"/>
              <a:gd name="connsiteX24339" fmla="*/ 8289809 w 10505529"/>
              <a:gd name="connsiteY24339" fmla="*/ 3303414 h 7458372"/>
              <a:gd name="connsiteX24340" fmla="*/ 8299793 w 10505529"/>
              <a:gd name="connsiteY24340" fmla="*/ 3306875 h 7458372"/>
              <a:gd name="connsiteX24341" fmla="*/ 8305118 w 10505529"/>
              <a:gd name="connsiteY24341" fmla="*/ 3305943 h 7458372"/>
              <a:gd name="connsiteX24342" fmla="*/ 8308844 w 10505529"/>
              <a:gd name="connsiteY24342" fmla="*/ 3303547 h 7458372"/>
              <a:gd name="connsiteX24343" fmla="*/ 8311507 w 10505529"/>
              <a:gd name="connsiteY24343" fmla="*/ 3299421 h 7458372"/>
              <a:gd name="connsiteX24344" fmla="*/ 8312439 w 10505529"/>
              <a:gd name="connsiteY24344" fmla="*/ 3293962 h 7458372"/>
              <a:gd name="connsiteX24345" fmla="*/ 8311507 w 10505529"/>
              <a:gd name="connsiteY24345" fmla="*/ 3288772 h 7458372"/>
              <a:gd name="connsiteX24346" fmla="*/ 8308844 w 10505529"/>
              <a:gd name="connsiteY24346" fmla="*/ 3284512 h 7458372"/>
              <a:gd name="connsiteX24347" fmla="*/ 8304851 w 10505529"/>
              <a:gd name="connsiteY24347" fmla="*/ 3281849 h 7458372"/>
              <a:gd name="connsiteX24348" fmla="*/ 8299793 w 10505529"/>
              <a:gd name="connsiteY24348" fmla="*/ 3280919 h 7458372"/>
              <a:gd name="connsiteX24349" fmla="*/ 8082281 w 10505529"/>
              <a:gd name="connsiteY24349" fmla="*/ 3280919 h 7458372"/>
              <a:gd name="connsiteX24350" fmla="*/ 8072297 w 10505529"/>
              <a:gd name="connsiteY24350" fmla="*/ 3284512 h 7458372"/>
              <a:gd name="connsiteX24351" fmla="*/ 8068703 w 10505529"/>
              <a:gd name="connsiteY24351" fmla="*/ 3293962 h 7458372"/>
              <a:gd name="connsiteX24352" fmla="*/ 8072297 w 10505529"/>
              <a:gd name="connsiteY24352" fmla="*/ 3303414 h 7458372"/>
              <a:gd name="connsiteX24353" fmla="*/ 8082281 w 10505529"/>
              <a:gd name="connsiteY24353" fmla="*/ 3306875 h 7458372"/>
              <a:gd name="connsiteX24354" fmla="*/ 8087605 w 10505529"/>
              <a:gd name="connsiteY24354" fmla="*/ 3305943 h 7458372"/>
              <a:gd name="connsiteX24355" fmla="*/ 8091332 w 10505529"/>
              <a:gd name="connsiteY24355" fmla="*/ 3303547 h 7458372"/>
              <a:gd name="connsiteX24356" fmla="*/ 8093994 w 10505529"/>
              <a:gd name="connsiteY24356" fmla="*/ 3299421 h 7458372"/>
              <a:gd name="connsiteX24357" fmla="*/ 8094926 w 10505529"/>
              <a:gd name="connsiteY24357" fmla="*/ 3293962 h 7458372"/>
              <a:gd name="connsiteX24358" fmla="*/ 8093994 w 10505529"/>
              <a:gd name="connsiteY24358" fmla="*/ 3288772 h 7458372"/>
              <a:gd name="connsiteX24359" fmla="*/ 8091332 w 10505529"/>
              <a:gd name="connsiteY24359" fmla="*/ 3284512 h 7458372"/>
              <a:gd name="connsiteX24360" fmla="*/ 8087338 w 10505529"/>
              <a:gd name="connsiteY24360" fmla="*/ 3281849 h 7458372"/>
              <a:gd name="connsiteX24361" fmla="*/ 8082281 w 10505529"/>
              <a:gd name="connsiteY24361" fmla="*/ 3280919 h 7458372"/>
              <a:gd name="connsiteX24362" fmla="*/ 7864636 w 10505529"/>
              <a:gd name="connsiteY24362" fmla="*/ 3280919 h 7458372"/>
              <a:gd name="connsiteX24363" fmla="*/ 7854652 w 10505529"/>
              <a:gd name="connsiteY24363" fmla="*/ 3284512 h 7458372"/>
              <a:gd name="connsiteX24364" fmla="*/ 7851058 w 10505529"/>
              <a:gd name="connsiteY24364" fmla="*/ 3293962 h 7458372"/>
              <a:gd name="connsiteX24365" fmla="*/ 7854652 w 10505529"/>
              <a:gd name="connsiteY24365" fmla="*/ 3303414 h 7458372"/>
              <a:gd name="connsiteX24366" fmla="*/ 7864636 w 10505529"/>
              <a:gd name="connsiteY24366" fmla="*/ 3306875 h 7458372"/>
              <a:gd name="connsiteX24367" fmla="*/ 7869961 w 10505529"/>
              <a:gd name="connsiteY24367" fmla="*/ 3305943 h 7458372"/>
              <a:gd name="connsiteX24368" fmla="*/ 7873687 w 10505529"/>
              <a:gd name="connsiteY24368" fmla="*/ 3303547 h 7458372"/>
              <a:gd name="connsiteX24369" fmla="*/ 7876350 w 10505529"/>
              <a:gd name="connsiteY24369" fmla="*/ 3299421 h 7458372"/>
              <a:gd name="connsiteX24370" fmla="*/ 7877282 w 10505529"/>
              <a:gd name="connsiteY24370" fmla="*/ 3293962 h 7458372"/>
              <a:gd name="connsiteX24371" fmla="*/ 7876350 w 10505529"/>
              <a:gd name="connsiteY24371" fmla="*/ 3288772 h 7458372"/>
              <a:gd name="connsiteX24372" fmla="*/ 7873687 w 10505529"/>
              <a:gd name="connsiteY24372" fmla="*/ 3284512 h 7458372"/>
              <a:gd name="connsiteX24373" fmla="*/ 7869694 w 10505529"/>
              <a:gd name="connsiteY24373" fmla="*/ 3281849 h 7458372"/>
              <a:gd name="connsiteX24374" fmla="*/ 7864636 w 10505529"/>
              <a:gd name="connsiteY24374" fmla="*/ 3280919 h 7458372"/>
              <a:gd name="connsiteX24375" fmla="*/ 7646991 w 10505529"/>
              <a:gd name="connsiteY24375" fmla="*/ 3280919 h 7458372"/>
              <a:gd name="connsiteX24376" fmla="*/ 7637007 w 10505529"/>
              <a:gd name="connsiteY24376" fmla="*/ 3284512 h 7458372"/>
              <a:gd name="connsiteX24377" fmla="*/ 7633413 w 10505529"/>
              <a:gd name="connsiteY24377" fmla="*/ 3293962 h 7458372"/>
              <a:gd name="connsiteX24378" fmla="*/ 7637007 w 10505529"/>
              <a:gd name="connsiteY24378" fmla="*/ 3303414 h 7458372"/>
              <a:gd name="connsiteX24379" fmla="*/ 7646991 w 10505529"/>
              <a:gd name="connsiteY24379" fmla="*/ 3306875 h 7458372"/>
              <a:gd name="connsiteX24380" fmla="*/ 7652315 w 10505529"/>
              <a:gd name="connsiteY24380" fmla="*/ 3305943 h 7458372"/>
              <a:gd name="connsiteX24381" fmla="*/ 7656042 w 10505529"/>
              <a:gd name="connsiteY24381" fmla="*/ 3303547 h 7458372"/>
              <a:gd name="connsiteX24382" fmla="*/ 7658705 w 10505529"/>
              <a:gd name="connsiteY24382" fmla="*/ 3299421 h 7458372"/>
              <a:gd name="connsiteX24383" fmla="*/ 7659769 w 10505529"/>
              <a:gd name="connsiteY24383" fmla="*/ 3293962 h 7458372"/>
              <a:gd name="connsiteX24384" fmla="*/ 7658705 w 10505529"/>
              <a:gd name="connsiteY24384" fmla="*/ 3288772 h 7458372"/>
              <a:gd name="connsiteX24385" fmla="*/ 7656042 w 10505529"/>
              <a:gd name="connsiteY24385" fmla="*/ 3284512 h 7458372"/>
              <a:gd name="connsiteX24386" fmla="*/ 7652049 w 10505529"/>
              <a:gd name="connsiteY24386" fmla="*/ 3281849 h 7458372"/>
              <a:gd name="connsiteX24387" fmla="*/ 7646991 w 10505529"/>
              <a:gd name="connsiteY24387" fmla="*/ 3280919 h 7458372"/>
              <a:gd name="connsiteX24388" fmla="*/ 7429345 w 10505529"/>
              <a:gd name="connsiteY24388" fmla="*/ 3280919 h 7458372"/>
              <a:gd name="connsiteX24389" fmla="*/ 7419361 w 10505529"/>
              <a:gd name="connsiteY24389" fmla="*/ 3284512 h 7458372"/>
              <a:gd name="connsiteX24390" fmla="*/ 7415768 w 10505529"/>
              <a:gd name="connsiteY24390" fmla="*/ 3293962 h 7458372"/>
              <a:gd name="connsiteX24391" fmla="*/ 7419361 w 10505529"/>
              <a:gd name="connsiteY24391" fmla="*/ 3303414 h 7458372"/>
              <a:gd name="connsiteX24392" fmla="*/ 7429345 w 10505529"/>
              <a:gd name="connsiteY24392" fmla="*/ 3306875 h 7458372"/>
              <a:gd name="connsiteX24393" fmla="*/ 7434670 w 10505529"/>
              <a:gd name="connsiteY24393" fmla="*/ 3305943 h 7458372"/>
              <a:gd name="connsiteX24394" fmla="*/ 7438397 w 10505529"/>
              <a:gd name="connsiteY24394" fmla="*/ 3303547 h 7458372"/>
              <a:gd name="connsiteX24395" fmla="*/ 7441059 w 10505529"/>
              <a:gd name="connsiteY24395" fmla="*/ 3299421 h 7458372"/>
              <a:gd name="connsiteX24396" fmla="*/ 7442124 w 10505529"/>
              <a:gd name="connsiteY24396" fmla="*/ 3293962 h 7458372"/>
              <a:gd name="connsiteX24397" fmla="*/ 7441059 w 10505529"/>
              <a:gd name="connsiteY24397" fmla="*/ 3288772 h 7458372"/>
              <a:gd name="connsiteX24398" fmla="*/ 7438397 w 10505529"/>
              <a:gd name="connsiteY24398" fmla="*/ 3284512 h 7458372"/>
              <a:gd name="connsiteX24399" fmla="*/ 7434403 w 10505529"/>
              <a:gd name="connsiteY24399" fmla="*/ 3281849 h 7458372"/>
              <a:gd name="connsiteX24400" fmla="*/ 7429345 w 10505529"/>
              <a:gd name="connsiteY24400" fmla="*/ 3280919 h 7458372"/>
              <a:gd name="connsiteX24401" fmla="*/ 7211701 w 10505529"/>
              <a:gd name="connsiteY24401" fmla="*/ 3280919 h 7458372"/>
              <a:gd name="connsiteX24402" fmla="*/ 7201717 w 10505529"/>
              <a:gd name="connsiteY24402" fmla="*/ 3284512 h 7458372"/>
              <a:gd name="connsiteX24403" fmla="*/ 7198123 w 10505529"/>
              <a:gd name="connsiteY24403" fmla="*/ 3293962 h 7458372"/>
              <a:gd name="connsiteX24404" fmla="*/ 7201717 w 10505529"/>
              <a:gd name="connsiteY24404" fmla="*/ 3303414 h 7458372"/>
              <a:gd name="connsiteX24405" fmla="*/ 7211701 w 10505529"/>
              <a:gd name="connsiteY24405" fmla="*/ 3306875 h 7458372"/>
              <a:gd name="connsiteX24406" fmla="*/ 7217026 w 10505529"/>
              <a:gd name="connsiteY24406" fmla="*/ 3305943 h 7458372"/>
              <a:gd name="connsiteX24407" fmla="*/ 7220752 w 10505529"/>
              <a:gd name="connsiteY24407" fmla="*/ 3303547 h 7458372"/>
              <a:gd name="connsiteX24408" fmla="*/ 7223415 w 10505529"/>
              <a:gd name="connsiteY24408" fmla="*/ 3299421 h 7458372"/>
              <a:gd name="connsiteX24409" fmla="*/ 7224480 w 10505529"/>
              <a:gd name="connsiteY24409" fmla="*/ 3293962 h 7458372"/>
              <a:gd name="connsiteX24410" fmla="*/ 7223415 w 10505529"/>
              <a:gd name="connsiteY24410" fmla="*/ 3288772 h 7458372"/>
              <a:gd name="connsiteX24411" fmla="*/ 7220752 w 10505529"/>
              <a:gd name="connsiteY24411" fmla="*/ 3284512 h 7458372"/>
              <a:gd name="connsiteX24412" fmla="*/ 7216759 w 10505529"/>
              <a:gd name="connsiteY24412" fmla="*/ 3281849 h 7458372"/>
              <a:gd name="connsiteX24413" fmla="*/ 7211701 w 10505529"/>
              <a:gd name="connsiteY24413" fmla="*/ 3280919 h 7458372"/>
              <a:gd name="connsiteX24414" fmla="*/ 6994056 w 10505529"/>
              <a:gd name="connsiteY24414" fmla="*/ 3280919 h 7458372"/>
              <a:gd name="connsiteX24415" fmla="*/ 6984072 w 10505529"/>
              <a:gd name="connsiteY24415" fmla="*/ 3284512 h 7458372"/>
              <a:gd name="connsiteX24416" fmla="*/ 6980478 w 10505529"/>
              <a:gd name="connsiteY24416" fmla="*/ 3293962 h 7458372"/>
              <a:gd name="connsiteX24417" fmla="*/ 6984072 w 10505529"/>
              <a:gd name="connsiteY24417" fmla="*/ 3303414 h 7458372"/>
              <a:gd name="connsiteX24418" fmla="*/ 6994056 w 10505529"/>
              <a:gd name="connsiteY24418" fmla="*/ 3306875 h 7458372"/>
              <a:gd name="connsiteX24419" fmla="*/ 6999380 w 10505529"/>
              <a:gd name="connsiteY24419" fmla="*/ 3305943 h 7458372"/>
              <a:gd name="connsiteX24420" fmla="*/ 7003107 w 10505529"/>
              <a:gd name="connsiteY24420" fmla="*/ 3303547 h 7458372"/>
              <a:gd name="connsiteX24421" fmla="*/ 7005769 w 10505529"/>
              <a:gd name="connsiteY24421" fmla="*/ 3299421 h 7458372"/>
              <a:gd name="connsiteX24422" fmla="*/ 7006834 w 10505529"/>
              <a:gd name="connsiteY24422" fmla="*/ 3293962 h 7458372"/>
              <a:gd name="connsiteX24423" fmla="*/ 7005769 w 10505529"/>
              <a:gd name="connsiteY24423" fmla="*/ 3288772 h 7458372"/>
              <a:gd name="connsiteX24424" fmla="*/ 7003107 w 10505529"/>
              <a:gd name="connsiteY24424" fmla="*/ 3284512 h 7458372"/>
              <a:gd name="connsiteX24425" fmla="*/ 6999113 w 10505529"/>
              <a:gd name="connsiteY24425" fmla="*/ 3281849 h 7458372"/>
              <a:gd name="connsiteX24426" fmla="*/ 6994056 w 10505529"/>
              <a:gd name="connsiteY24426" fmla="*/ 3280919 h 7458372"/>
              <a:gd name="connsiteX24427" fmla="*/ 6776544 w 10505529"/>
              <a:gd name="connsiteY24427" fmla="*/ 3280919 h 7458372"/>
              <a:gd name="connsiteX24428" fmla="*/ 6766560 w 10505529"/>
              <a:gd name="connsiteY24428" fmla="*/ 3284512 h 7458372"/>
              <a:gd name="connsiteX24429" fmla="*/ 6762966 w 10505529"/>
              <a:gd name="connsiteY24429" fmla="*/ 3293962 h 7458372"/>
              <a:gd name="connsiteX24430" fmla="*/ 6766560 w 10505529"/>
              <a:gd name="connsiteY24430" fmla="*/ 3303414 h 7458372"/>
              <a:gd name="connsiteX24431" fmla="*/ 6776544 w 10505529"/>
              <a:gd name="connsiteY24431" fmla="*/ 3306875 h 7458372"/>
              <a:gd name="connsiteX24432" fmla="*/ 6781869 w 10505529"/>
              <a:gd name="connsiteY24432" fmla="*/ 3305943 h 7458372"/>
              <a:gd name="connsiteX24433" fmla="*/ 6785595 w 10505529"/>
              <a:gd name="connsiteY24433" fmla="*/ 3303547 h 7458372"/>
              <a:gd name="connsiteX24434" fmla="*/ 6788258 w 10505529"/>
              <a:gd name="connsiteY24434" fmla="*/ 3299421 h 7458372"/>
              <a:gd name="connsiteX24435" fmla="*/ 6789323 w 10505529"/>
              <a:gd name="connsiteY24435" fmla="*/ 3293962 h 7458372"/>
              <a:gd name="connsiteX24436" fmla="*/ 6788258 w 10505529"/>
              <a:gd name="connsiteY24436" fmla="*/ 3288772 h 7458372"/>
              <a:gd name="connsiteX24437" fmla="*/ 6785595 w 10505529"/>
              <a:gd name="connsiteY24437" fmla="*/ 3284512 h 7458372"/>
              <a:gd name="connsiteX24438" fmla="*/ 6781602 w 10505529"/>
              <a:gd name="connsiteY24438" fmla="*/ 3281849 h 7458372"/>
              <a:gd name="connsiteX24439" fmla="*/ 6776544 w 10505529"/>
              <a:gd name="connsiteY24439" fmla="*/ 3280919 h 7458372"/>
              <a:gd name="connsiteX24440" fmla="*/ 6558899 w 10505529"/>
              <a:gd name="connsiteY24440" fmla="*/ 3280919 h 7458372"/>
              <a:gd name="connsiteX24441" fmla="*/ 6548915 w 10505529"/>
              <a:gd name="connsiteY24441" fmla="*/ 3284512 h 7458372"/>
              <a:gd name="connsiteX24442" fmla="*/ 6545321 w 10505529"/>
              <a:gd name="connsiteY24442" fmla="*/ 3293962 h 7458372"/>
              <a:gd name="connsiteX24443" fmla="*/ 6548915 w 10505529"/>
              <a:gd name="connsiteY24443" fmla="*/ 3303414 h 7458372"/>
              <a:gd name="connsiteX24444" fmla="*/ 6558899 w 10505529"/>
              <a:gd name="connsiteY24444" fmla="*/ 3306875 h 7458372"/>
              <a:gd name="connsiteX24445" fmla="*/ 6564223 w 10505529"/>
              <a:gd name="connsiteY24445" fmla="*/ 3305943 h 7458372"/>
              <a:gd name="connsiteX24446" fmla="*/ 6567950 w 10505529"/>
              <a:gd name="connsiteY24446" fmla="*/ 3303547 h 7458372"/>
              <a:gd name="connsiteX24447" fmla="*/ 6570612 w 10505529"/>
              <a:gd name="connsiteY24447" fmla="*/ 3299421 h 7458372"/>
              <a:gd name="connsiteX24448" fmla="*/ 6571677 w 10505529"/>
              <a:gd name="connsiteY24448" fmla="*/ 3293962 h 7458372"/>
              <a:gd name="connsiteX24449" fmla="*/ 6570612 w 10505529"/>
              <a:gd name="connsiteY24449" fmla="*/ 3288772 h 7458372"/>
              <a:gd name="connsiteX24450" fmla="*/ 6567950 w 10505529"/>
              <a:gd name="connsiteY24450" fmla="*/ 3284512 h 7458372"/>
              <a:gd name="connsiteX24451" fmla="*/ 6563956 w 10505529"/>
              <a:gd name="connsiteY24451" fmla="*/ 3281849 h 7458372"/>
              <a:gd name="connsiteX24452" fmla="*/ 6558899 w 10505529"/>
              <a:gd name="connsiteY24452" fmla="*/ 3280919 h 7458372"/>
              <a:gd name="connsiteX24453" fmla="*/ 6341253 w 10505529"/>
              <a:gd name="connsiteY24453" fmla="*/ 3280919 h 7458372"/>
              <a:gd name="connsiteX24454" fmla="*/ 6331270 w 10505529"/>
              <a:gd name="connsiteY24454" fmla="*/ 3284512 h 7458372"/>
              <a:gd name="connsiteX24455" fmla="*/ 6327675 w 10505529"/>
              <a:gd name="connsiteY24455" fmla="*/ 3293962 h 7458372"/>
              <a:gd name="connsiteX24456" fmla="*/ 6331270 w 10505529"/>
              <a:gd name="connsiteY24456" fmla="*/ 3303414 h 7458372"/>
              <a:gd name="connsiteX24457" fmla="*/ 6341253 w 10505529"/>
              <a:gd name="connsiteY24457" fmla="*/ 3306875 h 7458372"/>
              <a:gd name="connsiteX24458" fmla="*/ 6346578 w 10505529"/>
              <a:gd name="connsiteY24458" fmla="*/ 3305943 h 7458372"/>
              <a:gd name="connsiteX24459" fmla="*/ 6350305 w 10505529"/>
              <a:gd name="connsiteY24459" fmla="*/ 3303547 h 7458372"/>
              <a:gd name="connsiteX24460" fmla="*/ 6352968 w 10505529"/>
              <a:gd name="connsiteY24460" fmla="*/ 3299421 h 7458372"/>
              <a:gd name="connsiteX24461" fmla="*/ 6354033 w 10505529"/>
              <a:gd name="connsiteY24461" fmla="*/ 3293962 h 7458372"/>
              <a:gd name="connsiteX24462" fmla="*/ 6352968 w 10505529"/>
              <a:gd name="connsiteY24462" fmla="*/ 3288772 h 7458372"/>
              <a:gd name="connsiteX24463" fmla="*/ 6350305 w 10505529"/>
              <a:gd name="connsiteY24463" fmla="*/ 3284512 h 7458372"/>
              <a:gd name="connsiteX24464" fmla="*/ 6346312 w 10505529"/>
              <a:gd name="connsiteY24464" fmla="*/ 3281849 h 7458372"/>
              <a:gd name="connsiteX24465" fmla="*/ 6341253 w 10505529"/>
              <a:gd name="connsiteY24465" fmla="*/ 3280919 h 7458372"/>
              <a:gd name="connsiteX24466" fmla="*/ 6123608 w 10505529"/>
              <a:gd name="connsiteY24466" fmla="*/ 3280919 h 7458372"/>
              <a:gd name="connsiteX24467" fmla="*/ 6113624 w 10505529"/>
              <a:gd name="connsiteY24467" fmla="*/ 3284512 h 7458372"/>
              <a:gd name="connsiteX24468" fmla="*/ 6110030 w 10505529"/>
              <a:gd name="connsiteY24468" fmla="*/ 3293962 h 7458372"/>
              <a:gd name="connsiteX24469" fmla="*/ 6113624 w 10505529"/>
              <a:gd name="connsiteY24469" fmla="*/ 3303414 h 7458372"/>
              <a:gd name="connsiteX24470" fmla="*/ 6123608 w 10505529"/>
              <a:gd name="connsiteY24470" fmla="*/ 3306875 h 7458372"/>
              <a:gd name="connsiteX24471" fmla="*/ 6128932 w 10505529"/>
              <a:gd name="connsiteY24471" fmla="*/ 3305943 h 7458372"/>
              <a:gd name="connsiteX24472" fmla="*/ 6132659 w 10505529"/>
              <a:gd name="connsiteY24472" fmla="*/ 3303547 h 7458372"/>
              <a:gd name="connsiteX24473" fmla="*/ 6135322 w 10505529"/>
              <a:gd name="connsiteY24473" fmla="*/ 3299421 h 7458372"/>
              <a:gd name="connsiteX24474" fmla="*/ 6136387 w 10505529"/>
              <a:gd name="connsiteY24474" fmla="*/ 3293962 h 7458372"/>
              <a:gd name="connsiteX24475" fmla="*/ 6135322 w 10505529"/>
              <a:gd name="connsiteY24475" fmla="*/ 3288772 h 7458372"/>
              <a:gd name="connsiteX24476" fmla="*/ 6132659 w 10505529"/>
              <a:gd name="connsiteY24476" fmla="*/ 3284512 h 7458372"/>
              <a:gd name="connsiteX24477" fmla="*/ 6128666 w 10505529"/>
              <a:gd name="connsiteY24477" fmla="*/ 3281849 h 7458372"/>
              <a:gd name="connsiteX24478" fmla="*/ 6123608 w 10505529"/>
              <a:gd name="connsiteY24478" fmla="*/ 3280919 h 7458372"/>
              <a:gd name="connsiteX24479" fmla="*/ 5905963 w 10505529"/>
              <a:gd name="connsiteY24479" fmla="*/ 3280919 h 7458372"/>
              <a:gd name="connsiteX24480" fmla="*/ 5895979 w 10505529"/>
              <a:gd name="connsiteY24480" fmla="*/ 3284512 h 7458372"/>
              <a:gd name="connsiteX24481" fmla="*/ 5892385 w 10505529"/>
              <a:gd name="connsiteY24481" fmla="*/ 3293962 h 7458372"/>
              <a:gd name="connsiteX24482" fmla="*/ 5895979 w 10505529"/>
              <a:gd name="connsiteY24482" fmla="*/ 3303414 h 7458372"/>
              <a:gd name="connsiteX24483" fmla="*/ 5905963 w 10505529"/>
              <a:gd name="connsiteY24483" fmla="*/ 3306875 h 7458372"/>
              <a:gd name="connsiteX24484" fmla="*/ 5911287 w 10505529"/>
              <a:gd name="connsiteY24484" fmla="*/ 3305943 h 7458372"/>
              <a:gd name="connsiteX24485" fmla="*/ 5915014 w 10505529"/>
              <a:gd name="connsiteY24485" fmla="*/ 3303547 h 7458372"/>
              <a:gd name="connsiteX24486" fmla="*/ 5917677 w 10505529"/>
              <a:gd name="connsiteY24486" fmla="*/ 3299421 h 7458372"/>
              <a:gd name="connsiteX24487" fmla="*/ 5918742 w 10505529"/>
              <a:gd name="connsiteY24487" fmla="*/ 3293962 h 7458372"/>
              <a:gd name="connsiteX24488" fmla="*/ 5917677 w 10505529"/>
              <a:gd name="connsiteY24488" fmla="*/ 3288772 h 7458372"/>
              <a:gd name="connsiteX24489" fmla="*/ 5915014 w 10505529"/>
              <a:gd name="connsiteY24489" fmla="*/ 3284512 h 7458372"/>
              <a:gd name="connsiteX24490" fmla="*/ 5911021 w 10505529"/>
              <a:gd name="connsiteY24490" fmla="*/ 3281849 h 7458372"/>
              <a:gd name="connsiteX24491" fmla="*/ 5905963 w 10505529"/>
              <a:gd name="connsiteY24491" fmla="*/ 3280919 h 7458372"/>
              <a:gd name="connsiteX24492" fmla="*/ 5688451 w 10505529"/>
              <a:gd name="connsiteY24492" fmla="*/ 3280919 h 7458372"/>
              <a:gd name="connsiteX24493" fmla="*/ 5678467 w 10505529"/>
              <a:gd name="connsiteY24493" fmla="*/ 3284512 h 7458372"/>
              <a:gd name="connsiteX24494" fmla="*/ 5674873 w 10505529"/>
              <a:gd name="connsiteY24494" fmla="*/ 3293962 h 7458372"/>
              <a:gd name="connsiteX24495" fmla="*/ 5678467 w 10505529"/>
              <a:gd name="connsiteY24495" fmla="*/ 3303414 h 7458372"/>
              <a:gd name="connsiteX24496" fmla="*/ 5688451 w 10505529"/>
              <a:gd name="connsiteY24496" fmla="*/ 3306875 h 7458372"/>
              <a:gd name="connsiteX24497" fmla="*/ 5693775 w 10505529"/>
              <a:gd name="connsiteY24497" fmla="*/ 3305943 h 7458372"/>
              <a:gd name="connsiteX24498" fmla="*/ 5697502 w 10505529"/>
              <a:gd name="connsiteY24498" fmla="*/ 3303547 h 7458372"/>
              <a:gd name="connsiteX24499" fmla="*/ 5700165 w 10505529"/>
              <a:gd name="connsiteY24499" fmla="*/ 3299421 h 7458372"/>
              <a:gd name="connsiteX24500" fmla="*/ 5701230 w 10505529"/>
              <a:gd name="connsiteY24500" fmla="*/ 3293962 h 7458372"/>
              <a:gd name="connsiteX24501" fmla="*/ 5700165 w 10505529"/>
              <a:gd name="connsiteY24501" fmla="*/ 3288772 h 7458372"/>
              <a:gd name="connsiteX24502" fmla="*/ 5697502 w 10505529"/>
              <a:gd name="connsiteY24502" fmla="*/ 3284512 h 7458372"/>
              <a:gd name="connsiteX24503" fmla="*/ 5693509 w 10505529"/>
              <a:gd name="connsiteY24503" fmla="*/ 3281849 h 7458372"/>
              <a:gd name="connsiteX24504" fmla="*/ 5688451 w 10505529"/>
              <a:gd name="connsiteY24504" fmla="*/ 3280919 h 7458372"/>
              <a:gd name="connsiteX24505" fmla="*/ 5470806 w 10505529"/>
              <a:gd name="connsiteY24505" fmla="*/ 3280919 h 7458372"/>
              <a:gd name="connsiteX24506" fmla="*/ 5460822 w 10505529"/>
              <a:gd name="connsiteY24506" fmla="*/ 3284512 h 7458372"/>
              <a:gd name="connsiteX24507" fmla="*/ 5457228 w 10505529"/>
              <a:gd name="connsiteY24507" fmla="*/ 3293962 h 7458372"/>
              <a:gd name="connsiteX24508" fmla="*/ 5460822 w 10505529"/>
              <a:gd name="connsiteY24508" fmla="*/ 3303414 h 7458372"/>
              <a:gd name="connsiteX24509" fmla="*/ 5470806 w 10505529"/>
              <a:gd name="connsiteY24509" fmla="*/ 3306875 h 7458372"/>
              <a:gd name="connsiteX24510" fmla="*/ 5476130 w 10505529"/>
              <a:gd name="connsiteY24510" fmla="*/ 3305943 h 7458372"/>
              <a:gd name="connsiteX24511" fmla="*/ 5479857 w 10505529"/>
              <a:gd name="connsiteY24511" fmla="*/ 3303547 h 7458372"/>
              <a:gd name="connsiteX24512" fmla="*/ 5482520 w 10505529"/>
              <a:gd name="connsiteY24512" fmla="*/ 3299421 h 7458372"/>
              <a:gd name="connsiteX24513" fmla="*/ 5483585 w 10505529"/>
              <a:gd name="connsiteY24513" fmla="*/ 3293962 h 7458372"/>
              <a:gd name="connsiteX24514" fmla="*/ 5482520 w 10505529"/>
              <a:gd name="connsiteY24514" fmla="*/ 3288772 h 7458372"/>
              <a:gd name="connsiteX24515" fmla="*/ 5479857 w 10505529"/>
              <a:gd name="connsiteY24515" fmla="*/ 3284512 h 7458372"/>
              <a:gd name="connsiteX24516" fmla="*/ 5475864 w 10505529"/>
              <a:gd name="connsiteY24516" fmla="*/ 3281849 h 7458372"/>
              <a:gd name="connsiteX24517" fmla="*/ 5470806 w 10505529"/>
              <a:gd name="connsiteY24517" fmla="*/ 3280919 h 7458372"/>
              <a:gd name="connsiteX24518" fmla="*/ 5253160 w 10505529"/>
              <a:gd name="connsiteY24518" fmla="*/ 3280919 h 7458372"/>
              <a:gd name="connsiteX24519" fmla="*/ 5243177 w 10505529"/>
              <a:gd name="connsiteY24519" fmla="*/ 3284512 h 7458372"/>
              <a:gd name="connsiteX24520" fmla="*/ 5239583 w 10505529"/>
              <a:gd name="connsiteY24520" fmla="*/ 3293962 h 7458372"/>
              <a:gd name="connsiteX24521" fmla="*/ 5243177 w 10505529"/>
              <a:gd name="connsiteY24521" fmla="*/ 3303414 h 7458372"/>
              <a:gd name="connsiteX24522" fmla="*/ 5253160 w 10505529"/>
              <a:gd name="connsiteY24522" fmla="*/ 3306875 h 7458372"/>
              <a:gd name="connsiteX24523" fmla="*/ 5258485 w 10505529"/>
              <a:gd name="connsiteY24523" fmla="*/ 3305943 h 7458372"/>
              <a:gd name="connsiteX24524" fmla="*/ 5262212 w 10505529"/>
              <a:gd name="connsiteY24524" fmla="*/ 3303547 h 7458372"/>
              <a:gd name="connsiteX24525" fmla="*/ 5264875 w 10505529"/>
              <a:gd name="connsiteY24525" fmla="*/ 3299421 h 7458372"/>
              <a:gd name="connsiteX24526" fmla="*/ 5265939 w 10505529"/>
              <a:gd name="connsiteY24526" fmla="*/ 3293962 h 7458372"/>
              <a:gd name="connsiteX24527" fmla="*/ 5264875 w 10505529"/>
              <a:gd name="connsiteY24527" fmla="*/ 3288772 h 7458372"/>
              <a:gd name="connsiteX24528" fmla="*/ 5262212 w 10505529"/>
              <a:gd name="connsiteY24528" fmla="*/ 3284512 h 7458372"/>
              <a:gd name="connsiteX24529" fmla="*/ 5258219 w 10505529"/>
              <a:gd name="connsiteY24529" fmla="*/ 3281849 h 7458372"/>
              <a:gd name="connsiteX24530" fmla="*/ 5253160 w 10505529"/>
              <a:gd name="connsiteY24530" fmla="*/ 3280919 h 7458372"/>
              <a:gd name="connsiteX24531" fmla="*/ 5035515 w 10505529"/>
              <a:gd name="connsiteY24531" fmla="*/ 3280919 h 7458372"/>
              <a:gd name="connsiteX24532" fmla="*/ 5025532 w 10505529"/>
              <a:gd name="connsiteY24532" fmla="*/ 3284512 h 7458372"/>
              <a:gd name="connsiteX24533" fmla="*/ 5021938 w 10505529"/>
              <a:gd name="connsiteY24533" fmla="*/ 3293962 h 7458372"/>
              <a:gd name="connsiteX24534" fmla="*/ 5025532 w 10505529"/>
              <a:gd name="connsiteY24534" fmla="*/ 3303414 h 7458372"/>
              <a:gd name="connsiteX24535" fmla="*/ 5035515 w 10505529"/>
              <a:gd name="connsiteY24535" fmla="*/ 3306875 h 7458372"/>
              <a:gd name="connsiteX24536" fmla="*/ 5040840 w 10505529"/>
              <a:gd name="connsiteY24536" fmla="*/ 3305943 h 7458372"/>
              <a:gd name="connsiteX24537" fmla="*/ 5044567 w 10505529"/>
              <a:gd name="connsiteY24537" fmla="*/ 3303547 h 7458372"/>
              <a:gd name="connsiteX24538" fmla="*/ 5047230 w 10505529"/>
              <a:gd name="connsiteY24538" fmla="*/ 3299421 h 7458372"/>
              <a:gd name="connsiteX24539" fmla="*/ 5048294 w 10505529"/>
              <a:gd name="connsiteY24539" fmla="*/ 3293962 h 7458372"/>
              <a:gd name="connsiteX24540" fmla="*/ 5047230 w 10505529"/>
              <a:gd name="connsiteY24540" fmla="*/ 3288772 h 7458372"/>
              <a:gd name="connsiteX24541" fmla="*/ 5044567 w 10505529"/>
              <a:gd name="connsiteY24541" fmla="*/ 3284512 h 7458372"/>
              <a:gd name="connsiteX24542" fmla="*/ 5040574 w 10505529"/>
              <a:gd name="connsiteY24542" fmla="*/ 3281849 h 7458372"/>
              <a:gd name="connsiteX24543" fmla="*/ 5035515 w 10505529"/>
              <a:gd name="connsiteY24543" fmla="*/ 3280919 h 7458372"/>
              <a:gd name="connsiteX24544" fmla="*/ 4817870 w 10505529"/>
              <a:gd name="connsiteY24544" fmla="*/ 3280919 h 7458372"/>
              <a:gd name="connsiteX24545" fmla="*/ 4807887 w 10505529"/>
              <a:gd name="connsiteY24545" fmla="*/ 3284512 h 7458372"/>
              <a:gd name="connsiteX24546" fmla="*/ 4804293 w 10505529"/>
              <a:gd name="connsiteY24546" fmla="*/ 3293962 h 7458372"/>
              <a:gd name="connsiteX24547" fmla="*/ 4807887 w 10505529"/>
              <a:gd name="connsiteY24547" fmla="*/ 3303414 h 7458372"/>
              <a:gd name="connsiteX24548" fmla="*/ 4817870 w 10505529"/>
              <a:gd name="connsiteY24548" fmla="*/ 3306875 h 7458372"/>
              <a:gd name="connsiteX24549" fmla="*/ 4823195 w 10505529"/>
              <a:gd name="connsiteY24549" fmla="*/ 3305943 h 7458372"/>
              <a:gd name="connsiteX24550" fmla="*/ 4826922 w 10505529"/>
              <a:gd name="connsiteY24550" fmla="*/ 3303547 h 7458372"/>
              <a:gd name="connsiteX24551" fmla="*/ 4829585 w 10505529"/>
              <a:gd name="connsiteY24551" fmla="*/ 3299421 h 7458372"/>
              <a:gd name="connsiteX24552" fmla="*/ 4830650 w 10505529"/>
              <a:gd name="connsiteY24552" fmla="*/ 3293962 h 7458372"/>
              <a:gd name="connsiteX24553" fmla="*/ 4829585 w 10505529"/>
              <a:gd name="connsiteY24553" fmla="*/ 3288772 h 7458372"/>
              <a:gd name="connsiteX24554" fmla="*/ 4826922 w 10505529"/>
              <a:gd name="connsiteY24554" fmla="*/ 3284512 h 7458372"/>
              <a:gd name="connsiteX24555" fmla="*/ 4822929 w 10505529"/>
              <a:gd name="connsiteY24555" fmla="*/ 3281849 h 7458372"/>
              <a:gd name="connsiteX24556" fmla="*/ 4817870 w 10505529"/>
              <a:gd name="connsiteY24556" fmla="*/ 3280919 h 7458372"/>
              <a:gd name="connsiteX24557" fmla="*/ 4600226 w 10505529"/>
              <a:gd name="connsiteY24557" fmla="*/ 3280919 h 7458372"/>
              <a:gd name="connsiteX24558" fmla="*/ 4590242 w 10505529"/>
              <a:gd name="connsiteY24558" fmla="*/ 3284512 h 7458372"/>
              <a:gd name="connsiteX24559" fmla="*/ 4586648 w 10505529"/>
              <a:gd name="connsiteY24559" fmla="*/ 3293962 h 7458372"/>
              <a:gd name="connsiteX24560" fmla="*/ 4590242 w 10505529"/>
              <a:gd name="connsiteY24560" fmla="*/ 3303414 h 7458372"/>
              <a:gd name="connsiteX24561" fmla="*/ 4600226 w 10505529"/>
              <a:gd name="connsiteY24561" fmla="*/ 3306875 h 7458372"/>
              <a:gd name="connsiteX24562" fmla="*/ 4605550 w 10505529"/>
              <a:gd name="connsiteY24562" fmla="*/ 3305943 h 7458372"/>
              <a:gd name="connsiteX24563" fmla="*/ 4609277 w 10505529"/>
              <a:gd name="connsiteY24563" fmla="*/ 3303547 h 7458372"/>
              <a:gd name="connsiteX24564" fmla="*/ 4611940 w 10505529"/>
              <a:gd name="connsiteY24564" fmla="*/ 3299421 h 7458372"/>
              <a:gd name="connsiteX24565" fmla="*/ 4613005 w 10505529"/>
              <a:gd name="connsiteY24565" fmla="*/ 3293962 h 7458372"/>
              <a:gd name="connsiteX24566" fmla="*/ 4611940 w 10505529"/>
              <a:gd name="connsiteY24566" fmla="*/ 3288772 h 7458372"/>
              <a:gd name="connsiteX24567" fmla="*/ 4609277 w 10505529"/>
              <a:gd name="connsiteY24567" fmla="*/ 3284512 h 7458372"/>
              <a:gd name="connsiteX24568" fmla="*/ 4605284 w 10505529"/>
              <a:gd name="connsiteY24568" fmla="*/ 3281849 h 7458372"/>
              <a:gd name="connsiteX24569" fmla="*/ 4600226 w 10505529"/>
              <a:gd name="connsiteY24569" fmla="*/ 3280919 h 7458372"/>
              <a:gd name="connsiteX24570" fmla="*/ 4382713 w 10505529"/>
              <a:gd name="connsiteY24570" fmla="*/ 3280919 h 7458372"/>
              <a:gd name="connsiteX24571" fmla="*/ 4372730 w 10505529"/>
              <a:gd name="connsiteY24571" fmla="*/ 3284512 h 7458372"/>
              <a:gd name="connsiteX24572" fmla="*/ 4369136 w 10505529"/>
              <a:gd name="connsiteY24572" fmla="*/ 3293962 h 7458372"/>
              <a:gd name="connsiteX24573" fmla="*/ 4372730 w 10505529"/>
              <a:gd name="connsiteY24573" fmla="*/ 3303414 h 7458372"/>
              <a:gd name="connsiteX24574" fmla="*/ 4382713 w 10505529"/>
              <a:gd name="connsiteY24574" fmla="*/ 3306875 h 7458372"/>
              <a:gd name="connsiteX24575" fmla="*/ 4388038 w 10505529"/>
              <a:gd name="connsiteY24575" fmla="*/ 3305943 h 7458372"/>
              <a:gd name="connsiteX24576" fmla="*/ 4391765 w 10505529"/>
              <a:gd name="connsiteY24576" fmla="*/ 3303547 h 7458372"/>
              <a:gd name="connsiteX24577" fmla="*/ 4394428 w 10505529"/>
              <a:gd name="connsiteY24577" fmla="*/ 3299421 h 7458372"/>
              <a:gd name="connsiteX24578" fmla="*/ 4395493 w 10505529"/>
              <a:gd name="connsiteY24578" fmla="*/ 3293962 h 7458372"/>
              <a:gd name="connsiteX24579" fmla="*/ 4394428 w 10505529"/>
              <a:gd name="connsiteY24579" fmla="*/ 3288772 h 7458372"/>
              <a:gd name="connsiteX24580" fmla="*/ 4391765 w 10505529"/>
              <a:gd name="connsiteY24580" fmla="*/ 3284512 h 7458372"/>
              <a:gd name="connsiteX24581" fmla="*/ 4387772 w 10505529"/>
              <a:gd name="connsiteY24581" fmla="*/ 3281849 h 7458372"/>
              <a:gd name="connsiteX24582" fmla="*/ 4382713 w 10505529"/>
              <a:gd name="connsiteY24582" fmla="*/ 3280919 h 7458372"/>
              <a:gd name="connsiteX24583" fmla="*/ 4165068 w 10505529"/>
              <a:gd name="connsiteY24583" fmla="*/ 3280919 h 7458372"/>
              <a:gd name="connsiteX24584" fmla="*/ 4155084 w 10505529"/>
              <a:gd name="connsiteY24584" fmla="*/ 3284512 h 7458372"/>
              <a:gd name="connsiteX24585" fmla="*/ 4151490 w 10505529"/>
              <a:gd name="connsiteY24585" fmla="*/ 3293962 h 7458372"/>
              <a:gd name="connsiteX24586" fmla="*/ 4155084 w 10505529"/>
              <a:gd name="connsiteY24586" fmla="*/ 3303414 h 7458372"/>
              <a:gd name="connsiteX24587" fmla="*/ 4165068 w 10505529"/>
              <a:gd name="connsiteY24587" fmla="*/ 3306875 h 7458372"/>
              <a:gd name="connsiteX24588" fmla="*/ 4170392 w 10505529"/>
              <a:gd name="connsiteY24588" fmla="*/ 3305943 h 7458372"/>
              <a:gd name="connsiteX24589" fmla="*/ 4174119 w 10505529"/>
              <a:gd name="connsiteY24589" fmla="*/ 3303547 h 7458372"/>
              <a:gd name="connsiteX24590" fmla="*/ 4176782 w 10505529"/>
              <a:gd name="connsiteY24590" fmla="*/ 3299421 h 7458372"/>
              <a:gd name="connsiteX24591" fmla="*/ 4177847 w 10505529"/>
              <a:gd name="connsiteY24591" fmla="*/ 3293962 h 7458372"/>
              <a:gd name="connsiteX24592" fmla="*/ 4176782 w 10505529"/>
              <a:gd name="connsiteY24592" fmla="*/ 3288772 h 7458372"/>
              <a:gd name="connsiteX24593" fmla="*/ 4174119 w 10505529"/>
              <a:gd name="connsiteY24593" fmla="*/ 3284512 h 7458372"/>
              <a:gd name="connsiteX24594" fmla="*/ 4170126 w 10505529"/>
              <a:gd name="connsiteY24594" fmla="*/ 3281849 h 7458372"/>
              <a:gd name="connsiteX24595" fmla="*/ 4165068 w 10505529"/>
              <a:gd name="connsiteY24595" fmla="*/ 3280919 h 7458372"/>
              <a:gd name="connsiteX24596" fmla="*/ 3947605 w 10505529"/>
              <a:gd name="connsiteY24596" fmla="*/ 3280919 h 7458372"/>
              <a:gd name="connsiteX24597" fmla="*/ 3937622 w 10505529"/>
              <a:gd name="connsiteY24597" fmla="*/ 3284512 h 7458372"/>
              <a:gd name="connsiteX24598" fmla="*/ 3934027 w 10505529"/>
              <a:gd name="connsiteY24598" fmla="*/ 3293962 h 7458372"/>
              <a:gd name="connsiteX24599" fmla="*/ 3937622 w 10505529"/>
              <a:gd name="connsiteY24599" fmla="*/ 3303414 h 7458372"/>
              <a:gd name="connsiteX24600" fmla="*/ 3947605 w 10505529"/>
              <a:gd name="connsiteY24600" fmla="*/ 3306875 h 7458372"/>
              <a:gd name="connsiteX24601" fmla="*/ 3952932 w 10505529"/>
              <a:gd name="connsiteY24601" fmla="*/ 3305943 h 7458372"/>
              <a:gd name="connsiteX24602" fmla="*/ 3956658 w 10505529"/>
              <a:gd name="connsiteY24602" fmla="*/ 3303547 h 7458372"/>
              <a:gd name="connsiteX24603" fmla="*/ 3959321 w 10505529"/>
              <a:gd name="connsiteY24603" fmla="*/ 3299421 h 7458372"/>
              <a:gd name="connsiteX24604" fmla="*/ 3960386 w 10505529"/>
              <a:gd name="connsiteY24604" fmla="*/ 3293962 h 7458372"/>
              <a:gd name="connsiteX24605" fmla="*/ 3959321 w 10505529"/>
              <a:gd name="connsiteY24605" fmla="*/ 3288772 h 7458372"/>
              <a:gd name="connsiteX24606" fmla="*/ 3956658 w 10505529"/>
              <a:gd name="connsiteY24606" fmla="*/ 3284512 h 7458372"/>
              <a:gd name="connsiteX24607" fmla="*/ 3952664 w 10505529"/>
              <a:gd name="connsiteY24607" fmla="*/ 3281849 h 7458372"/>
              <a:gd name="connsiteX24608" fmla="*/ 3947605 w 10505529"/>
              <a:gd name="connsiteY24608" fmla="*/ 3280919 h 7458372"/>
              <a:gd name="connsiteX24609" fmla="*/ 3729951 w 10505529"/>
              <a:gd name="connsiteY24609" fmla="*/ 3280919 h 7458372"/>
              <a:gd name="connsiteX24610" fmla="*/ 3719965 w 10505529"/>
              <a:gd name="connsiteY24610" fmla="*/ 3284512 h 7458372"/>
              <a:gd name="connsiteX24611" fmla="*/ 3716373 w 10505529"/>
              <a:gd name="connsiteY24611" fmla="*/ 3293962 h 7458372"/>
              <a:gd name="connsiteX24612" fmla="*/ 3719965 w 10505529"/>
              <a:gd name="connsiteY24612" fmla="*/ 3303414 h 7458372"/>
              <a:gd name="connsiteX24613" fmla="*/ 3729951 w 10505529"/>
              <a:gd name="connsiteY24613" fmla="*/ 3306875 h 7458372"/>
              <a:gd name="connsiteX24614" fmla="*/ 3735276 w 10505529"/>
              <a:gd name="connsiteY24614" fmla="*/ 3305943 h 7458372"/>
              <a:gd name="connsiteX24615" fmla="*/ 3739003 w 10505529"/>
              <a:gd name="connsiteY24615" fmla="*/ 3303547 h 7458372"/>
              <a:gd name="connsiteX24616" fmla="*/ 3741666 w 10505529"/>
              <a:gd name="connsiteY24616" fmla="*/ 3299421 h 7458372"/>
              <a:gd name="connsiteX24617" fmla="*/ 3742731 w 10505529"/>
              <a:gd name="connsiteY24617" fmla="*/ 3293962 h 7458372"/>
              <a:gd name="connsiteX24618" fmla="*/ 3741666 w 10505529"/>
              <a:gd name="connsiteY24618" fmla="*/ 3288772 h 7458372"/>
              <a:gd name="connsiteX24619" fmla="*/ 3739003 w 10505529"/>
              <a:gd name="connsiteY24619" fmla="*/ 3284512 h 7458372"/>
              <a:gd name="connsiteX24620" fmla="*/ 3735010 w 10505529"/>
              <a:gd name="connsiteY24620" fmla="*/ 3281849 h 7458372"/>
              <a:gd name="connsiteX24621" fmla="*/ 3729951 w 10505529"/>
              <a:gd name="connsiteY24621" fmla="*/ 3280919 h 7458372"/>
              <a:gd name="connsiteX24622" fmla="*/ 3512297 w 10505529"/>
              <a:gd name="connsiteY24622" fmla="*/ 3280919 h 7458372"/>
              <a:gd name="connsiteX24623" fmla="*/ 3502310 w 10505529"/>
              <a:gd name="connsiteY24623" fmla="*/ 3284512 h 7458372"/>
              <a:gd name="connsiteX24624" fmla="*/ 3498717 w 10505529"/>
              <a:gd name="connsiteY24624" fmla="*/ 3293962 h 7458372"/>
              <a:gd name="connsiteX24625" fmla="*/ 3502310 w 10505529"/>
              <a:gd name="connsiteY24625" fmla="*/ 3303414 h 7458372"/>
              <a:gd name="connsiteX24626" fmla="*/ 3512297 w 10505529"/>
              <a:gd name="connsiteY24626" fmla="*/ 3306875 h 7458372"/>
              <a:gd name="connsiteX24627" fmla="*/ 3517622 w 10505529"/>
              <a:gd name="connsiteY24627" fmla="*/ 3305943 h 7458372"/>
              <a:gd name="connsiteX24628" fmla="*/ 3521349 w 10505529"/>
              <a:gd name="connsiteY24628" fmla="*/ 3303547 h 7458372"/>
              <a:gd name="connsiteX24629" fmla="*/ 3524012 w 10505529"/>
              <a:gd name="connsiteY24629" fmla="*/ 3299421 h 7458372"/>
              <a:gd name="connsiteX24630" fmla="*/ 3525077 w 10505529"/>
              <a:gd name="connsiteY24630" fmla="*/ 3293962 h 7458372"/>
              <a:gd name="connsiteX24631" fmla="*/ 3524012 w 10505529"/>
              <a:gd name="connsiteY24631" fmla="*/ 3288772 h 7458372"/>
              <a:gd name="connsiteX24632" fmla="*/ 3521349 w 10505529"/>
              <a:gd name="connsiteY24632" fmla="*/ 3284512 h 7458372"/>
              <a:gd name="connsiteX24633" fmla="*/ 3517356 w 10505529"/>
              <a:gd name="connsiteY24633" fmla="*/ 3281849 h 7458372"/>
              <a:gd name="connsiteX24634" fmla="*/ 3512297 w 10505529"/>
              <a:gd name="connsiteY24634" fmla="*/ 3280919 h 7458372"/>
              <a:gd name="connsiteX24635" fmla="*/ 3294775 w 10505529"/>
              <a:gd name="connsiteY24635" fmla="*/ 3280919 h 7458372"/>
              <a:gd name="connsiteX24636" fmla="*/ 3284790 w 10505529"/>
              <a:gd name="connsiteY24636" fmla="*/ 3284512 h 7458372"/>
              <a:gd name="connsiteX24637" fmla="*/ 3281196 w 10505529"/>
              <a:gd name="connsiteY24637" fmla="*/ 3293962 h 7458372"/>
              <a:gd name="connsiteX24638" fmla="*/ 3284790 w 10505529"/>
              <a:gd name="connsiteY24638" fmla="*/ 3303414 h 7458372"/>
              <a:gd name="connsiteX24639" fmla="*/ 3294775 w 10505529"/>
              <a:gd name="connsiteY24639" fmla="*/ 3306875 h 7458372"/>
              <a:gd name="connsiteX24640" fmla="*/ 3300101 w 10505529"/>
              <a:gd name="connsiteY24640" fmla="*/ 3305943 h 7458372"/>
              <a:gd name="connsiteX24641" fmla="*/ 3303828 w 10505529"/>
              <a:gd name="connsiteY24641" fmla="*/ 3303547 h 7458372"/>
              <a:gd name="connsiteX24642" fmla="*/ 3306491 w 10505529"/>
              <a:gd name="connsiteY24642" fmla="*/ 3299421 h 7458372"/>
              <a:gd name="connsiteX24643" fmla="*/ 3307555 w 10505529"/>
              <a:gd name="connsiteY24643" fmla="*/ 3293962 h 7458372"/>
              <a:gd name="connsiteX24644" fmla="*/ 3306491 w 10505529"/>
              <a:gd name="connsiteY24644" fmla="*/ 3288772 h 7458372"/>
              <a:gd name="connsiteX24645" fmla="*/ 3303828 w 10505529"/>
              <a:gd name="connsiteY24645" fmla="*/ 3284512 h 7458372"/>
              <a:gd name="connsiteX24646" fmla="*/ 3299835 w 10505529"/>
              <a:gd name="connsiteY24646" fmla="*/ 3281849 h 7458372"/>
              <a:gd name="connsiteX24647" fmla="*/ 3294775 w 10505529"/>
              <a:gd name="connsiteY24647" fmla="*/ 3280919 h 7458372"/>
              <a:gd name="connsiteX24648" fmla="*/ 3077254 w 10505529"/>
              <a:gd name="connsiteY24648" fmla="*/ 3280919 h 7458372"/>
              <a:gd name="connsiteX24649" fmla="*/ 3067271 w 10505529"/>
              <a:gd name="connsiteY24649" fmla="*/ 3284512 h 7458372"/>
              <a:gd name="connsiteX24650" fmla="*/ 3063541 w 10505529"/>
              <a:gd name="connsiteY24650" fmla="*/ 3293962 h 7458372"/>
              <a:gd name="connsiteX24651" fmla="*/ 3067136 w 10505529"/>
              <a:gd name="connsiteY24651" fmla="*/ 3303414 h 7458372"/>
              <a:gd name="connsiteX24652" fmla="*/ 3077120 w 10505529"/>
              <a:gd name="connsiteY24652" fmla="*/ 3306875 h 7458372"/>
              <a:gd name="connsiteX24653" fmla="*/ 3082579 w 10505529"/>
              <a:gd name="connsiteY24653" fmla="*/ 3305943 h 7458372"/>
              <a:gd name="connsiteX24654" fmla="*/ 3086306 w 10505529"/>
              <a:gd name="connsiteY24654" fmla="*/ 3303547 h 7458372"/>
              <a:gd name="connsiteX24655" fmla="*/ 3088969 w 10505529"/>
              <a:gd name="connsiteY24655" fmla="*/ 3299421 h 7458372"/>
              <a:gd name="connsiteX24656" fmla="*/ 3089901 w 10505529"/>
              <a:gd name="connsiteY24656" fmla="*/ 3293962 h 7458372"/>
              <a:gd name="connsiteX24657" fmla="*/ 3088969 w 10505529"/>
              <a:gd name="connsiteY24657" fmla="*/ 3288772 h 7458372"/>
              <a:gd name="connsiteX24658" fmla="*/ 3086306 w 10505529"/>
              <a:gd name="connsiteY24658" fmla="*/ 3284512 h 7458372"/>
              <a:gd name="connsiteX24659" fmla="*/ 3082313 w 10505529"/>
              <a:gd name="connsiteY24659" fmla="*/ 3281849 h 7458372"/>
              <a:gd name="connsiteX24660" fmla="*/ 3077254 w 10505529"/>
              <a:gd name="connsiteY24660" fmla="*/ 3280919 h 7458372"/>
              <a:gd name="connsiteX24661" fmla="*/ 2859466 w 10505529"/>
              <a:gd name="connsiteY24661" fmla="*/ 3280919 h 7458372"/>
              <a:gd name="connsiteX24662" fmla="*/ 2849480 w 10505529"/>
              <a:gd name="connsiteY24662" fmla="*/ 3284512 h 7458372"/>
              <a:gd name="connsiteX24663" fmla="*/ 2845885 w 10505529"/>
              <a:gd name="connsiteY24663" fmla="*/ 3293962 h 7458372"/>
              <a:gd name="connsiteX24664" fmla="*/ 2849480 w 10505529"/>
              <a:gd name="connsiteY24664" fmla="*/ 3303414 h 7458372"/>
              <a:gd name="connsiteX24665" fmla="*/ 2859466 w 10505529"/>
              <a:gd name="connsiteY24665" fmla="*/ 3306875 h 7458372"/>
              <a:gd name="connsiteX24666" fmla="*/ 2864791 w 10505529"/>
              <a:gd name="connsiteY24666" fmla="*/ 3305943 h 7458372"/>
              <a:gd name="connsiteX24667" fmla="*/ 2868518 w 10505529"/>
              <a:gd name="connsiteY24667" fmla="*/ 3303547 h 7458372"/>
              <a:gd name="connsiteX24668" fmla="*/ 2871181 w 10505529"/>
              <a:gd name="connsiteY24668" fmla="*/ 3299421 h 7458372"/>
              <a:gd name="connsiteX24669" fmla="*/ 2872112 w 10505529"/>
              <a:gd name="connsiteY24669" fmla="*/ 3293962 h 7458372"/>
              <a:gd name="connsiteX24670" fmla="*/ 2871181 w 10505529"/>
              <a:gd name="connsiteY24670" fmla="*/ 3288772 h 7458372"/>
              <a:gd name="connsiteX24671" fmla="*/ 2868518 w 10505529"/>
              <a:gd name="connsiteY24671" fmla="*/ 3284512 h 7458372"/>
              <a:gd name="connsiteX24672" fmla="*/ 2864526 w 10505529"/>
              <a:gd name="connsiteY24672" fmla="*/ 3281849 h 7458372"/>
              <a:gd name="connsiteX24673" fmla="*/ 2859466 w 10505529"/>
              <a:gd name="connsiteY24673" fmla="*/ 3280919 h 7458372"/>
              <a:gd name="connsiteX24674" fmla="*/ 2641812 w 10505529"/>
              <a:gd name="connsiteY24674" fmla="*/ 3280919 h 7458372"/>
              <a:gd name="connsiteX24675" fmla="*/ 2631829 w 10505529"/>
              <a:gd name="connsiteY24675" fmla="*/ 3284512 h 7458372"/>
              <a:gd name="connsiteX24676" fmla="*/ 2628234 w 10505529"/>
              <a:gd name="connsiteY24676" fmla="*/ 3293962 h 7458372"/>
              <a:gd name="connsiteX24677" fmla="*/ 2631829 w 10505529"/>
              <a:gd name="connsiteY24677" fmla="*/ 3303414 h 7458372"/>
              <a:gd name="connsiteX24678" fmla="*/ 2641812 w 10505529"/>
              <a:gd name="connsiteY24678" fmla="*/ 3306875 h 7458372"/>
              <a:gd name="connsiteX24679" fmla="*/ 2647137 w 10505529"/>
              <a:gd name="connsiteY24679" fmla="*/ 3305943 h 7458372"/>
              <a:gd name="connsiteX24680" fmla="*/ 2650864 w 10505529"/>
              <a:gd name="connsiteY24680" fmla="*/ 3303547 h 7458372"/>
              <a:gd name="connsiteX24681" fmla="*/ 2653527 w 10505529"/>
              <a:gd name="connsiteY24681" fmla="*/ 3299421 h 7458372"/>
              <a:gd name="connsiteX24682" fmla="*/ 2654458 w 10505529"/>
              <a:gd name="connsiteY24682" fmla="*/ 3293962 h 7458372"/>
              <a:gd name="connsiteX24683" fmla="*/ 2653527 w 10505529"/>
              <a:gd name="connsiteY24683" fmla="*/ 3288772 h 7458372"/>
              <a:gd name="connsiteX24684" fmla="*/ 2650864 w 10505529"/>
              <a:gd name="connsiteY24684" fmla="*/ 3284512 h 7458372"/>
              <a:gd name="connsiteX24685" fmla="*/ 2646871 w 10505529"/>
              <a:gd name="connsiteY24685" fmla="*/ 3281849 h 7458372"/>
              <a:gd name="connsiteX24686" fmla="*/ 2641812 w 10505529"/>
              <a:gd name="connsiteY24686" fmla="*/ 3280919 h 7458372"/>
              <a:gd name="connsiteX24687" fmla="*/ 2424157 w 10505529"/>
              <a:gd name="connsiteY24687" fmla="*/ 3280919 h 7458372"/>
              <a:gd name="connsiteX24688" fmla="*/ 2414174 w 10505529"/>
              <a:gd name="connsiteY24688" fmla="*/ 3284512 h 7458372"/>
              <a:gd name="connsiteX24689" fmla="*/ 2410580 w 10505529"/>
              <a:gd name="connsiteY24689" fmla="*/ 3293962 h 7458372"/>
              <a:gd name="connsiteX24690" fmla="*/ 2414174 w 10505529"/>
              <a:gd name="connsiteY24690" fmla="*/ 3303414 h 7458372"/>
              <a:gd name="connsiteX24691" fmla="*/ 2424157 w 10505529"/>
              <a:gd name="connsiteY24691" fmla="*/ 3306875 h 7458372"/>
              <a:gd name="connsiteX24692" fmla="*/ 2429482 w 10505529"/>
              <a:gd name="connsiteY24692" fmla="*/ 3305943 h 7458372"/>
              <a:gd name="connsiteX24693" fmla="*/ 2433209 w 10505529"/>
              <a:gd name="connsiteY24693" fmla="*/ 3303547 h 7458372"/>
              <a:gd name="connsiteX24694" fmla="*/ 2435872 w 10505529"/>
              <a:gd name="connsiteY24694" fmla="*/ 3299421 h 7458372"/>
              <a:gd name="connsiteX24695" fmla="*/ 2436803 w 10505529"/>
              <a:gd name="connsiteY24695" fmla="*/ 3293962 h 7458372"/>
              <a:gd name="connsiteX24696" fmla="*/ 2435872 w 10505529"/>
              <a:gd name="connsiteY24696" fmla="*/ 3288772 h 7458372"/>
              <a:gd name="connsiteX24697" fmla="*/ 2433209 w 10505529"/>
              <a:gd name="connsiteY24697" fmla="*/ 3284512 h 7458372"/>
              <a:gd name="connsiteX24698" fmla="*/ 2429216 w 10505529"/>
              <a:gd name="connsiteY24698" fmla="*/ 3281849 h 7458372"/>
              <a:gd name="connsiteX24699" fmla="*/ 2424157 w 10505529"/>
              <a:gd name="connsiteY24699" fmla="*/ 3280919 h 7458372"/>
              <a:gd name="connsiteX24700" fmla="*/ 2206503 w 10505529"/>
              <a:gd name="connsiteY24700" fmla="*/ 3280919 h 7458372"/>
              <a:gd name="connsiteX24701" fmla="*/ 2196519 w 10505529"/>
              <a:gd name="connsiteY24701" fmla="*/ 3284512 h 7458372"/>
              <a:gd name="connsiteX24702" fmla="*/ 2192925 w 10505529"/>
              <a:gd name="connsiteY24702" fmla="*/ 3293962 h 7458372"/>
              <a:gd name="connsiteX24703" fmla="*/ 2196519 w 10505529"/>
              <a:gd name="connsiteY24703" fmla="*/ 3303414 h 7458372"/>
              <a:gd name="connsiteX24704" fmla="*/ 2206503 w 10505529"/>
              <a:gd name="connsiteY24704" fmla="*/ 3306875 h 7458372"/>
              <a:gd name="connsiteX24705" fmla="*/ 2211828 w 10505529"/>
              <a:gd name="connsiteY24705" fmla="*/ 3305943 h 7458372"/>
              <a:gd name="connsiteX24706" fmla="*/ 2215554 w 10505529"/>
              <a:gd name="connsiteY24706" fmla="*/ 3303547 h 7458372"/>
              <a:gd name="connsiteX24707" fmla="*/ 2218218 w 10505529"/>
              <a:gd name="connsiteY24707" fmla="*/ 3299421 h 7458372"/>
              <a:gd name="connsiteX24708" fmla="*/ 2219149 w 10505529"/>
              <a:gd name="connsiteY24708" fmla="*/ 3293962 h 7458372"/>
              <a:gd name="connsiteX24709" fmla="*/ 2218218 w 10505529"/>
              <a:gd name="connsiteY24709" fmla="*/ 3288772 h 7458372"/>
              <a:gd name="connsiteX24710" fmla="*/ 2215554 w 10505529"/>
              <a:gd name="connsiteY24710" fmla="*/ 3284512 h 7458372"/>
              <a:gd name="connsiteX24711" fmla="*/ 2211561 w 10505529"/>
              <a:gd name="connsiteY24711" fmla="*/ 3281849 h 7458372"/>
              <a:gd name="connsiteX24712" fmla="*/ 2206503 w 10505529"/>
              <a:gd name="connsiteY24712" fmla="*/ 3280919 h 7458372"/>
              <a:gd name="connsiteX24713" fmla="*/ 1988981 w 10505529"/>
              <a:gd name="connsiteY24713" fmla="*/ 3280919 h 7458372"/>
              <a:gd name="connsiteX24714" fmla="*/ 1978998 w 10505529"/>
              <a:gd name="connsiteY24714" fmla="*/ 3284512 h 7458372"/>
              <a:gd name="connsiteX24715" fmla="*/ 1975404 w 10505529"/>
              <a:gd name="connsiteY24715" fmla="*/ 3293962 h 7458372"/>
              <a:gd name="connsiteX24716" fmla="*/ 1978998 w 10505529"/>
              <a:gd name="connsiteY24716" fmla="*/ 3303414 h 7458372"/>
              <a:gd name="connsiteX24717" fmla="*/ 1988981 w 10505529"/>
              <a:gd name="connsiteY24717" fmla="*/ 3306875 h 7458372"/>
              <a:gd name="connsiteX24718" fmla="*/ 1994306 w 10505529"/>
              <a:gd name="connsiteY24718" fmla="*/ 3305943 h 7458372"/>
              <a:gd name="connsiteX24719" fmla="*/ 1998033 w 10505529"/>
              <a:gd name="connsiteY24719" fmla="*/ 3303547 h 7458372"/>
              <a:gd name="connsiteX24720" fmla="*/ 2000696 w 10505529"/>
              <a:gd name="connsiteY24720" fmla="*/ 3299421 h 7458372"/>
              <a:gd name="connsiteX24721" fmla="*/ 2001627 w 10505529"/>
              <a:gd name="connsiteY24721" fmla="*/ 3293962 h 7458372"/>
              <a:gd name="connsiteX24722" fmla="*/ 2000696 w 10505529"/>
              <a:gd name="connsiteY24722" fmla="*/ 3288772 h 7458372"/>
              <a:gd name="connsiteX24723" fmla="*/ 1998033 w 10505529"/>
              <a:gd name="connsiteY24723" fmla="*/ 3284512 h 7458372"/>
              <a:gd name="connsiteX24724" fmla="*/ 1994040 w 10505529"/>
              <a:gd name="connsiteY24724" fmla="*/ 3281849 h 7458372"/>
              <a:gd name="connsiteX24725" fmla="*/ 1988981 w 10505529"/>
              <a:gd name="connsiteY24725" fmla="*/ 3280919 h 7458372"/>
              <a:gd name="connsiteX24726" fmla="*/ 1771343 w 10505529"/>
              <a:gd name="connsiteY24726" fmla="*/ 3280919 h 7458372"/>
              <a:gd name="connsiteX24727" fmla="*/ 1761360 w 10505529"/>
              <a:gd name="connsiteY24727" fmla="*/ 3284512 h 7458372"/>
              <a:gd name="connsiteX24728" fmla="*/ 1757766 w 10505529"/>
              <a:gd name="connsiteY24728" fmla="*/ 3293962 h 7458372"/>
              <a:gd name="connsiteX24729" fmla="*/ 1761360 w 10505529"/>
              <a:gd name="connsiteY24729" fmla="*/ 3303414 h 7458372"/>
              <a:gd name="connsiteX24730" fmla="*/ 1771343 w 10505529"/>
              <a:gd name="connsiteY24730" fmla="*/ 3306875 h 7458372"/>
              <a:gd name="connsiteX24731" fmla="*/ 1776668 w 10505529"/>
              <a:gd name="connsiteY24731" fmla="*/ 3305943 h 7458372"/>
              <a:gd name="connsiteX24732" fmla="*/ 1780394 w 10505529"/>
              <a:gd name="connsiteY24732" fmla="*/ 3303547 h 7458372"/>
              <a:gd name="connsiteX24733" fmla="*/ 1783057 w 10505529"/>
              <a:gd name="connsiteY24733" fmla="*/ 3299421 h 7458372"/>
              <a:gd name="connsiteX24734" fmla="*/ 1784122 w 10505529"/>
              <a:gd name="connsiteY24734" fmla="*/ 3293962 h 7458372"/>
              <a:gd name="connsiteX24735" fmla="*/ 1783057 w 10505529"/>
              <a:gd name="connsiteY24735" fmla="*/ 3288772 h 7458372"/>
              <a:gd name="connsiteX24736" fmla="*/ 1780394 w 10505529"/>
              <a:gd name="connsiteY24736" fmla="*/ 3284512 h 7458372"/>
              <a:gd name="connsiteX24737" fmla="*/ 1776402 w 10505529"/>
              <a:gd name="connsiteY24737" fmla="*/ 3281849 h 7458372"/>
              <a:gd name="connsiteX24738" fmla="*/ 1771343 w 10505529"/>
              <a:gd name="connsiteY24738" fmla="*/ 3280919 h 7458372"/>
              <a:gd name="connsiteX24739" fmla="*/ 1553702 w 10505529"/>
              <a:gd name="connsiteY24739" fmla="*/ 3280919 h 7458372"/>
              <a:gd name="connsiteX24740" fmla="*/ 1543719 w 10505529"/>
              <a:gd name="connsiteY24740" fmla="*/ 3284512 h 7458372"/>
              <a:gd name="connsiteX24741" fmla="*/ 1540125 w 10505529"/>
              <a:gd name="connsiteY24741" fmla="*/ 3293962 h 7458372"/>
              <a:gd name="connsiteX24742" fmla="*/ 1543719 w 10505529"/>
              <a:gd name="connsiteY24742" fmla="*/ 3303414 h 7458372"/>
              <a:gd name="connsiteX24743" fmla="*/ 1553702 w 10505529"/>
              <a:gd name="connsiteY24743" fmla="*/ 3306875 h 7458372"/>
              <a:gd name="connsiteX24744" fmla="*/ 1559027 w 10505529"/>
              <a:gd name="connsiteY24744" fmla="*/ 3305943 h 7458372"/>
              <a:gd name="connsiteX24745" fmla="*/ 1562754 w 10505529"/>
              <a:gd name="connsiteY24745" fmla="*/ 3303547 h 7458372"/>
              <a:gd name="connsiteX24746" fmla="*/ 1565417 w 10505529"/>
              <a:gd name="connsiteY24746" fmla="*/ 3299421 h 7458372"/>
              <a:gd name="connsiteX24747" fmla="*/ 1566482 w 10505529"/>
              <a:gd name="connsiteY24747" fmla="*/ 3293962 h 7458372"/>
              <a:gd name="connsiteX24748" fmla="*/ 1565417 w 10505529"/>
              <a:gd name="connsiteY24748" fmla="*/ 3288772 h 7458372"/>
              <a:gd name="connsiteX24749" fmla="*/ 1562754 w 10505529"/>
              <a:gd name="connsiteY24749" fmla="*/ 3284512 h 7458372"/>
              <a:gd name="connsiteX24750" fmla="*/ 1558761 w 10505529"/>
              <a:gd name="connsiteY24750" fmla="*/ 3281849 h 7458372"/>
              <a:gd name="connsiteX24751" fmla="*/ 1553702 w 10505529"/>
              <a:gd name="connsiteY24751" fmla="*/ 3280919 h 7458372"/>
              <a:gd name="connsiteX24752" fmla="*/ 1336057 w 10505529"/>
              <a:gd name="connsiteY24752" fmla="*/ 3280919 h 7458372"/>
              <a:gd name="connsiteX24753" fmla="*/ 1326075 w 10505529"/>
              <a:gd name="connsiteY24753" fmla="*/ 3284512 h 7458372"/>
              <a:gd name="connsiteX24754" fmla="*/ 1322480 w 10505529"/>
              <a:gd name="connsiteY24754" fmla="*/ 3293962 h 7458372"/>
              <a:gd name="connsiteX24755" fmla="*/ 1326075 w 10505529"/>
              <a:gd name="connsiteY24755" fmla="*/ 3303414 h 7458372"/>
              <a:gd name="connsiteX24756" fmla="*/ 1336057 w 10505529"/>
              <a:gd name="connsiteY24756" fmla="*/ 3306875 h 7458372"/>
              <a:gd name="connsiteX24757" fmla="*/ 1341384 w 10505529"/>
              <a:gd name="connsiteY24757" fmla="*/ 3305943 h 7458372"/>
              <a:gd name="connsiteX24758" fmla="*/ 1345111 w 10505529"/>
              <a:gd name="connsiteY24758" fmla="*/ 3303547 h 7458372"/>
              <a:gd name="connsiteX24759" fmla="*/ 1347774 w 10505529"/>
              <a:gd name="connsiteY24759" fmla="*/ 3299421 h 7458372"/>
              <a:gd name="connsiteX24760" fmla="*/ 1348840 w 10505529"/>
              <a:gd name="connsiteY24760" fmla="*/ 3293962 h 7458372"/>
              <a:gd name="connsiteX24761" fmla="*/ 1347774 w 10505529"/>
              <a:gd name="connsiteY24761" fmla="*/ 3288772 h 7458372"/>
              <a:gd name="connsiteX24762" fmla="*/ 1345111 w 10505529"/>
              <a:gd name="connsiteY24762" fmla="*/ 3284512 h 7458372"/>
              <a:gd name="connsiteX24763" fmla="*/ 1341117 w 10505529"/>
              <a:gd name="connsiteY24763" fmla="*/ 3281849 h 7458372"/>
              <a:gd name="connsiteX24764" fmla="*/ 1336057 w 10505529"/>
              <a:gd name="connsiteY24764" fmla="*/ 3280919 h 7458372"/>
              <a:gd name="connsiteX24765" fmla="*/ 1118546 w 10505529"/>
              <a:gd name="connsiteY24765" fmla="*/ 3280919 h 7458372"/>
              <a:gd name="connsiteX24766" fmla="*/ 1108561 w 10505529"/>
              <a:gd name="connsiteY24766" fmla="*/ 3284512 h 7458372"/>
              <a:gd name="connsiteX24767" fmla="*/ 1104834 w 10505529"/>
              <a:gd name="connsiteY24767" fmla="*/ 3293962 h 7458372"/>
              <a:gd name="connsiteX24768" fmla="*/ 1108429 w 10505529"/>
              <a:gd name="connsiteY24768" fmla="*/ 3303414 h 7458372"/>
              <a:gd name="connsiteX24769" fmla="*/ 1118413 w 10505529"/>
              <a:gd name="connsiteY24769" fmla="*/ 3306875 h 7458372"/>
              <a:gd name="connsiteX24770" fmla="*/ 1123870 w 10505529"/>
              <a:gd name="connsiteY24770" fmla="*/ 3305943 h 7458372"/>
              <a:gd name="connsiteX24771" fmla="*/ 1127599 w 10505529"/>
              <a:gd name="connsiteY24771" fmla="*/ 3303547 h 7458372"/>
              <a:gd name="connsiteX24772" fmla="*/ 1130262 w 10505529"/>
              <a:gd name="connsiteY24772" fmla="*/ 3299421 h 7458372"/>
              <a:gd name="connsiteX24773" fmla="*/ 1131328 w 10505529"/>
              <a:gd name="connsiteY24773" fmla="*/ 3293962 h 7458372"/>
              <a:gd name="connsiteX24774" fmla="*/ 1130262 w 10505529"/>
              <a:gd name="connsiteY24774" fmla="*/ 3288772 h 7458372"/>
              <a:gd name="connsiteX24775" fmla="*/ 1127599 w 10505529"/>
              <a:gd name="connsiteY24775" fmla="*/ 3284512 h 7458372"/>
              <a:gd name="connsiteX24776" fmla="*/ 1123604 w 10505529"/>
              <a:gd name="connsiteY24776" fmla="*/ 3281849 h 7458372"/>
              <a:gd name="connsiteX24777" fmla="*/ 1118546 w 10505529"/>
              <a:gd name="connsiteY24777" fmla="*/ 3280919 h 7458372"/>
              <a:gd name="connsiteX24778" fmla="*/ 901034 w 10505529"/>
              <a:gd name="connsiteY24778" fmla="*/ 3280919 h 7458372"/>
              <a:gd name="connsiteX24779" fmla="*/ 891050 w 10505529"/>
              <a:gd name="connsiteY24779" fmla="*/ 3284512 h 7458372"/>
              <a:gd name="connsiteX24780" fmla="*/ 887323 w 10505529"/>
              <a:gd name="connsiteY24780" fmla="*/ 3293962 h 7458372"/>
              <a:gd name="connsiteX24781" fmla="*/ 890917 w 10505529"/>
              <a:gd name="connsiteY24781" fmla="*/ 3303414 h 7458372"/>
              <a:gd name="connsiteX24782" fmla="*/ 900900 w 10505529"/>
              <a:gd name="connsiteY24782" fmla="*/ 3306875 h 7458372"/>
              <a:gd name="connsiteX24783" fmla="*/ 906358 w 10505529"/>
              <a:gd name="connsiteY24783" fmla="*/ 3305943 h 7458372"/>
              <a:gd name="connsiteX24784" fmla="*/ 910086 w 10505529"/>
              <a:gd name="connsiteY24784" fmla="*/ 3303547 h 7458372"/>
              <a:gd name="connsiteX24785" fmla="*/ 912748 w 10505529"/>
              <a:gd name="connsiteY24785" fmla="*/ 3299421 h 7458372"/>
              <a:gd name="connsiteX24786" fmla="*/ 913814 w 10505529"/>
              <a:gd name="connsiteY24786" fmla="*/ 3293962 h 7458372"/>
              <a:gd name="connsiteX24787" fmla="*/ 912748 w 10505529"/>
              <a:gd name="connsiteY24787" fmla="*/ 3288772 h 7458372"/>
              <a:gd name="connsiteX24788" fmla="*/ 910086 w 10505529"/>
              <a:gd name="connsiteY24788" fmla="*/ 3284512 h 7458372"/>
              <a:gd name="connsiteX24789" fmla="*/ 906092 w 10505529"/>
              <a:gd name="connsiteY24789" fmla="*/ 3281849 h 7458372"/>
              <a:gd name="connsiteX24790" fmla="*/ 901034 w 10505529"/>
              <a:gd name="connsiteY24790" fmla="*/ 3280919 h 7458372"/>
              <a:gd name="connsiteX24791" fmla="*/ 683258 w 10505529"/>
              <a:gd name="connsiteY24791" fmla="*/ 3280919 h 7458372"/>
              <a:gd name="connsiteX24792" fmla="*/ 673275 w 10505529"/>
              <a:gd name="connsiteY24792" fmla="*/ 3284512 h 7458372"/>
              <a:gd name="connsiteX24793" fmla="*/ 669681 w 10505529"/>
              <a:gd name="connsiteY24793" fmla="*/ 3293962 h 7458372"/>
              <a:gd name="connsiteX24794" fmla="*/ 673275 w 10505529"/>
              <a:gd name="connsiteY24794" fmla="*/ 3303414 h 7458372"/>
              <a:gd name="connsiteX24795" fmla="*/ 683258 w 10505529"/>
              <a:gd name="connsiteY24795" fmla="*/ 3306875 h 7458372"/>
              <a:gd name="connsiteX24796" fmla="*/ 688584 w 10505529"/>
              <a:gd name="connsiteY24796" fmla="*/ 3305943 h 7458372"/>
              <a:gd name="connsiteX24797" fmla="*/ 692310 w 10505529"/>
              <a:gd name="connsiteY24797" fmla="*/ 3303547 h 7458372"/>
              <a:gd name="connsiteX24798" fmla="*/ 694974 w 10505529"/>
              <a:gd name="connsiteY24798" fmla="*/ 3299421 h 7458372"/>
              <a:gd name="connsiteX24799" fmla="*/ 696039 w 10505529"/>
              <a:gd name="connsiteY24799" fmla="*/ 3293962 h 7458372"/>
              <a:gd name="connsiteX24800" fmla="*/ 694974 w 10505529"/>
              <a:gd name="connsiteY24800" fmla="*/ 3288772 h 7458372"/>
              <a:gd name="connsiteX24801" fmla="*/ 692310 w 10505529"/>
              <a:gd name="connsiteY24801" fmla="*/ 3284512 h 7458372"/>
              <a:gd name="connsiteX24802" fmla="*/ 688317 w 10505529"/>
              <a:gd name="connsiteY24802" fmla="*/ 3281849 h 7458372"/>
              <a:gd name="connsiteX24803" fmla="*/ 683258 w 10505529"/>
              <a:gd name="connsiteY24803" fmla="*/ 3280919 h 7458372"/>
              <a:gd name="connsiteX24804" fmla="*/ 465615 w 10505529"/>
              <a:gd name="connsiteY24804" fmla="*/ 3280919 h 7458372"/>
              <a:gd name="connsiteX24805" fmla="*/ 455632 w 10505529"/>
              <a:gd name="connsiteY24805" fmla="*/ 3284512 h 7458372"/>
              <a:gd name="connsiteX24806" fmla="*/ 452038 w 10505529"/>
              <a:gd name="connsiteY24806" fmla="*/ 3293962 h 7458372"/>
              <a:gd name="connsiteX24807" fmla="*/ 455632 w 10505529"/>
              <a:gd name="connsiteY24807" fmla="*/ 3303414 h 7458372"/>
              <a:gd name="connsiteX24808" fmla="*/ 465615 w 10505529"/>
              <a:gd name="connsiteY24808" fmla="*/ 3306875 h 7458372"/>
              <a:gd name="connsiteX24809" fmla="*/ 470941 w 10505529"/>
              <a:gd name="connsiteY24809" fmla="*/ 3305943 h 7458372"/>
              <a:gd name="connsiteX24810" fmla="*/ 474668 w 10505529"/>
              <a:gd name="connsiteY24810" fmla="*/ 3303547 h 7458372"/>
              <a:gd name="connsiteX24811" fmla="*/ 477331 w 10505529"/>
              <a:gd name="connsiteY24811" fmla="*/ 3299421 h 7458372"/>
              <a:gd name="connsiteX24812" fmla="*/ 478396 w 10505529"/>
              <a:gd name="connsiteY24812" fmla="*/ 3293962 h 7458372"/>
              <a:gd name="connsiteX24813" fmla="*/ 477331 w 10505529"/>
              <a:gd name="connsiteY24813" fmla="*/ 3288772 h 7458372"/>
              <a:gd name="connsiteX24814" fmla="*/ 474668 w 10505529"/>
              <a:gd name="connsiteY24814" fmla="*/ 3284512 h 7458372"/>
              <a:gd name="connsiteX24815" fmla="*/ 470675 w 10505529"/>
              <a:gd name="connsiteY24815" fmla="*/ 3281849 h 7458372"/>
              <a:gd name="connsiteX24816" fmla="*/ 465615 w 10505529"/>
              <a:gd name="connsiteY24816" fmla="*/ 3280919 h 7458372"/>
              <a:gd name="connsiteX24817" fmla="*/ 247973 w 10505529"/>
              <a:gd name="connsiteY24817" fmla="*/ 3280919 h 7458372"/>
              <a:gd name="connsiteX24818" fmla="*/ 237990 w 10505529"/>
              <a:gd name="connsiteY24818" fmla="*/ 3284512 h 7458372"/>
              <a:gd name="connsiteX24819" fmla="*/ 234396 w 10505529"/>
              <a:gd name="connsiteY24819" fmla="*/ 3293962 h 7458372"/>
              <a:gd name="connsiteX24820" fmla="*/ 237990 w 10505529"/>
              <a:gd name="connsiteY24820" fmla="*/ 3303414 h 7458372"/>
              <a:gd name="connsiteX24821" fmla="*/ 247973 w 10505529"/>
              <a:gd name="connsiteY24821" fmla="*/ 3306875 h 7458372"/>
              <a:gd name="connsiteX24822" fmla="*/ 253298 w 10505529"/>
              <a:gd name="connsiteY24822" fmla="*/ 3305943 h 7458372"/>
              <a:gd name="connsiteX24823" fmla="*/ 257024 w 10505529"/>
              <a:gd name="connsiteY24823" fmla="*/ 3303547 h 7458372"/>
              <a:gd name="connsiteX24824" fmla="*/ 259687 w 10505529"/>
              <a:gd name="connsiteY24824" fmla="*/ 3299421 h 7458372"/>
              <a:gd name="connsiteX24825" fmla="*/ 260752 w 10505529"/>
              <a:gd name="connsiteY24825" fmla="*/ 3293962 h 7458372"/>
              <a:gd name="connsiteX24826" fmla="*/ 259687 w 10505529"/>
              <a:gd name="connsiteY24826" fmla="*/ 3288772 h 7458372"/>
              <a:gd name="connsiteX24827" fmla="*/ 257024 w 10505529"/>
              <a:gd name="connsiteY24827" fmla="*/ 3284512 h 7458372"/>
              <a:gd name="connsiteX24828" fmla="*/ 253032 w 10505529"/>
              <a:gd name="connsiteY24828" fmla="*/ 3281849 h 7458372"/>
              <a:gd name="connsiteX24829" fmla="*/ 247973 w 10505529"/>
              <a:gd name="connsiteY24829" fmla="*/ 3280919 h 7458372"/>
              <a:gd name="connsiteX24830" fmla="*/ 30330 w 10505529"/>
              <a:gd name="connsiteY24830" fmla="*/ 3280919 h 7458372"/>
              <a:gd name="connsiteX24831" fmla="*/ 20347 w 10505529"/>
              <a:gd name="connsiteY24831" fmla="*/ 3284512 h 7458372"/>
              <a:gd name="connsiteX24832" fmla="*/ 16753 w 10505529"/>
              <a:gd name="connsiteY24832" fmla="*/ 3293962 h 7458372"/>
              <a:gd name="connsiteX24833" fmla="*/ 20347 w 10505529"/>
              <a:gd name="connsiteY24833" fmla="*/ 3303414 h 7458372"/>
              <a:gd name="connsiteX24834" fmla="*/ 30330 w 10505529"/>
              <a:gd name="connsiteY24834" fmla="*/ 3306875 h 7458372"/>
              <a:gd name="connsiteX24835" fmla="*/ 35655 w 10505529"/>
              <a:gd name="connsiteY24835" fmla="*/ 3305943 h 7458372"/>
              <a:gd name="connsiteX24836" fmla="*/ 39382 w 10505529"/>
              <a:gd name="connsiteY24836" fmla="*/ 3303547 h 7458372"/>
              <a:gd name="connsiteX24837" fmla="*/ 42045 w 10505529"/>
              <a:gd name="connsiteY24837" fmla="*/ 3299421 h 7458372"/>
              <a:gd name="connsiteX24838" fmla="*/ 42976 w 10505529"/>
              <a:gd name="connsiteY24838" fmla="*/ 3293962 h 7458372"/>
              <a:gd name="connsiteX24839" fmla="*/ 42045 w 10505529"/>
              <a:gd name="connsiteY24839" fmla="*/ 3288772 h 7458372"/>
              <a:gd name="connsiteX24840" fmla="*/ 39382 w 10505529"/>
              <a:gd name="connsiteY24840" fmla="*/ 3284512 h 7458372"/>
              <a:gd name="connsiteX24841" fmla="*/ 35389 w 10505529"/>
              <a:gd name="connsiteY24841" fmla="*/ 3281849 h 7458372"/>
              <a:gd name="connsiteX24842" fmla="*/ 30330 w 10505529"/>
              <a:gd name="connsiteY24842" fmla="*/ 3280919 h 7458372"/>
              <a:gd name="connsiteX24843" fmla="*/ 10475977 w 10505529"/>
              <a:gd name="connsiteY24843" fmla="*/ 3264278 h 7458372"/>
              <a:gd name="connsiteX24844" fmla="*/ 10487824 w 10505529"/>
              <a:gd name="connsiteY24844" fmla="*/ 3266807 h 7458372"/>
              <a:gd name="connsiteX24845" fmla="*/ 10497143 w 10505529"/>
              <a:gd name="connsiteY24845" fmla="*/ 3273196 h 7458372"/>
              <a:gd name="connsiteX24846" fmla="*/ 10503266 w 10505529"/>
              <a:gd name="connsiteY24846" fmla="*/ 3282648 h 7458372"/>
              <a:gd name="connsiteX24847" fmla="*/ 10505529 w 10505529"/>
              <a:gd name="connsiteY24847" fmla="*/ 3294096 h 7458372"/>
              <a:gd name="connsiteX24848" fmla="*/ 10503266 w 10505529"/>
              <a:gd name="connsiteY24848" fmla="*/ 3305811 h 7458372"/>
              <a:gd name="connsiteX24849" fmla="*/ 10497143 w 10505529"/>
              <a:gd name="connsiteY24849" fmla="*/ 3315129 h 7458372"/>
              <a:gd name="connsiteX24850" fmla="*/ 10487824 w 10505529"/>
              <a:gd name="connsiteY24850" fmla="*/ 3321385 h 7458372"/>
              <a:gd name="connsiteX24851" fmla="*/ 10475977 w 10505529"/>
              <a:gd name="connsiteY24851" fmla="*/ 3323648 h 7458372"/>
              <a:gd name="connsiteX24852" fmla="*/ 10454145 w 10505529"/>
              <a:gd name="connsiteY24852" fmla="*/ 3315129 h 7458372"/>
              <a:gd name="connsiteX24853" fmla="*/ 10445759 w 10505529"/>
              <a:gd name="connsiteY24853" fmla="*/ 3293962 h 7458372"/>
              <a:gd name="connsiteX24854" fmla="*/ 10454145 w 10505529"/>
              <a:gd name="connsiteY24854" fmla="*/ 3272931 h 7458372"/>
              <a:gd name="connsiteX24855" fmla="*/ 10475977 w 10505529"/>
              <a:gd name="connsiteY24855" fmla="*/ 3264278 h 7458372"/>
              <a:gd name="connsiteX24856" fmla="*/ 10258466 w 10505529"/>
              <a:gd name="connsiteY24856" fmla="*/ 3264278 h 7458372"/>
              <a:gd name="connsiteX24857" fmla="*/ 10270313 w 10505529"/>
              <a:gd name="connsiteY24857" fmla="*/ 3266807 h 7458372"/>
              <a:gd name="connsiteX24858" fmla="*/ 10279631 w 10505529"/>
              <a:gd name="connsiteY24858" fmla="*/ 3273196 h 7458372"/>
              <a:gd name="connsiteX24859" fmla="*/ 10285754 w 10505529"/>
              <a:gd name="connsiteY24859" fmla="*/ 3282648 h 7458372"/>
              <a:gd name="connsiteX24860" fmla="*/ 10288017 w 10505529"/>
              <a:gd name="connsiteY24860" fmla="*/ 3294096 h 7458372"/>
              <a:gd name="connsiteX24861" fmla="*/ 10285754 w 10505529"/>
              <a:gd name="connsiteY24861" fmla="*/ 3305811 h 7458372"/>
              <a:gd name="connsiteX24862" fmla="*/ 10279631 w 10505529"/>
              <a:gd name="connsiteY24862" fmla="*/ 3315129 h 7458372"/>
              <a:gd name="connsiteX24863" fmla="*/ 10270313 w 10505529"/>
              <a:gd name="connsiteY24863" fmla="*/ 3321385 h 7458372"/>
              <a:gd name="connsiteX24864" fmla="*/ 10258466 w 10505529"/>
              <a:gd name="connsiteY24864" fmla="*/ 3323648 h 7458372"/>
              <a:gd name="connsiteX24865" fmla="*/ 10236633 w 10505529"/>
              <a:gd name="connsiteY24865" fmla="*/ 3315129 h 7458372"/>
              <a:gd name="connsiteX24866" fmla="*/ 10228247 w 10505529"/>
              <a:gd name="connsiteY24866" fmla="*/ 3293962 h 7458372"/>
              <a:gd name="connsiteX24867" fmla="*/ 10236633 w 10505529"/>
              <a:gd name="connsiteY24867" fmla="*/ 3272931 h 7458372"/>
              <a:gd name="connsiteX24868" fmla="*/ 10258466 w 10505529"/>
              <a:gd name="connsiteY24868" fmla="*/ 3264278 h 7458372"/>
              <a:gd name="connsiteX24869" fmla="*/ 10040820 w 10505529"/>
              <a:gd name="connsiteY24869" fmla="*/ 3264278 h 7458372"/>
              <a:gd name="connsiteX24870" fmla="*/ 10052534 w 10505529"/>
              <a:gd name="connsiteY24870" fmla="*/ 3266807 h 7458372"/>
              <a:gd name="connsiteX24871" fmla="*/ 10061852 w 10505529"/>
              <a:gd name="connsiteY24871" fmla="*/ 3273196 h 7458372"/>
              <a:gd name="connsiteX24872" fmla="*/ 10067976 w 10505529"/>
              <a:gd name="connsiteY24872" fmla="*/ 3282648 h 7458372"/>
              <a:gd name="connsiteX24873" fmla="*/ 10070239 w 10505529"/>
              <a:gd name="connsiteY24873" fmla="*/ 3294096 h 7458372"/>
              <a:gd name="connsiteX24874" fmla="*/ 10067976 w 10505529"/>
              <a:gd name="connsiteY24874" fmla="*/ 3305811 h 7458372"/>
              <a:gd name="connsiteX24875" fmla="*/ 10061852 w 10505529"/>
              <a:gd name="connsiteY24875" fmla="*/ 3315129 h 7458372"/>
              <a:gd name="connsiteX24876" fmla="*/ 10052534 w 10505529"/>
              <a:gd name="connsiteY24876" fmla="*/ 3321385 h 7458372"/>
              <a:gd name="connsiteX24877" fmla="*/ 10040820 w 10505529"/>
              <a:gd name="connsiteY24877" fmla="*/ 3323648 h 7458372"/>
              <a:gd name="connsiteX24878" fmla="*/ 10018988 w 10505529"/>
              <a:gd name="connsiteY24878" fmla="*/ 3315129 h 7458372"/>
              <a:gd name="connsiteX24879" fmla="*/ 10010602 w 10505529"/>
              <a:gd name="connsiteY24879" fmla="*/ 3293962 h 7458372"/>
              <a:gd name="connsiteX24880" fmla="*/ 10018988 w 10505529"/>
              <a:gd name="connsiteY24880" fmla="*/ 3272931 h 7458372"/>
              <a:gd name="connsiteX24881" fmla="*/ 10040820 w 10505529"/>
              <a:gd name="connsiteY24881" fmla="*/ 3264278 h 7458372"/>
              <a:gd name="connsiteX24882" fmla="*/ 9823176 w 10505529"/>
              <a:gd name="connsiteY24882" fmla="*/ 3264278 h 7458372"/>
              <a:gd name="connsiteX24883" fmla="*/ 9834890 w 10505529"/>
              <a:gd name="connsiteY24883" fmla="*/ 3266807 h 7458372"/>
              <a:gd name="connsiteX24884" fmla="*/ 9844208 w 10505529"/>
              <a:gd name="connsiteY24884" fmla="*/ 3273196 h 7458372"/>
              <a:gd name="connsiteX24885" fmla="*/ 9850331 w 10505529"/>
              <a:gd name="connsiteY24885" fmla="*/ 3282648 h 7458372"/>
              <a:gd name="connsiteX24886" fmla="*/ 9852595 w 10505529"/>
              <a:gd name="connsiteY24886" fmla="*/ 3294096 h 7458372"/>
              <a:gd name="connsiteX24887" fmla="*/ 9850331 w 10505529"/>
              <a:gd name="connsiteY24887" fmla="*/ 3305811 h 7458372"/>
              <a:gd name="connsiteX24888" fmla="*/ 9844208 w 10505529"/>
              <a:gd name="connsiteY24888" fmla="*/ 3315129 h 7458372"/>
              <a:gd name="connsiteX24889" fmla="*/ 9834890 w 10505529"/>
              <a:gd name="connsiteY24889" fmla="*/ 3321385 h 7458372"/>
              <a:gd name="connsiteX24890" fmla="*/ 9823176 w 10505529"/>
              <a:gd name="connsiteY24890" fmla="*/ 3323648 h 7458372"/>
              <a:gd name="connsiteX24891" fmla="*/ 9801343 w 10505529"/>
              <a:gd name="connsiteY24891" fmla="*/ 3315129 h 7458372"/>
              <a:gd name="connsiteX24892" fmla="*/ 9792957 w 10505529"/>
              <a:gd name="connsiteY24892" fmla="*/ 3293962 h 7458372"/>
              <a:gd name="connsiteX24893" fmla="*/ 9801343 w 10505529"/>
              <a:gd name="connsiteY24893" fmla="*/ 3272931 h 7458372"/>
              <a:gd name="connsiteX24894" fmla="*/ 9823176 w 10505529"/>
              <a:gd name="connsiteY24894" fmla="*/ 3264278 h 7458372"/>
              <a:gd name="connsiteX24895" fmla="*/ 9605531 w 10505529"/>
              <a:gd name="connsiteY24895" fmla="*/ 3264278 h 7458372"/>
              <a:gd name="connsiteX24896" fmla="*/ 9617245 w 10505529"/>
              <a:gd name="connsiteY24896" fmla="*/ 3266807 h 7458372"/>
              <a:gd name="connsiteX24897" fmla="*/ 9626562 w 10505529"/>
              <a:gd name="connsiteY24897" fmla="*/ 3273196 h 7458372"/>
              <a:gd name="connsiteX24898" fmla="*/ 9632686 w 10505529"/>
              <a:gd name="connsiteY24898" fmla="*/ 3282648 h 7458372"/>
              <a:gd name="connsiteX24899" fmla="*/ 9634949 w 10505529"/>
              <a:gd name="connsiteY24899" fmla="*/ 3294096 h 7458372"/>
              <a:gd name="connsiteX24900" fmla="*/ 9632686 w 10505529"/>
              <a:gd name="connsiteY24900" fmla="*/ 3305811 h 7458372"/>
              <a:gd name="connsiteX24901" fmla="*/ 9626562 w 10505529"/>
              <a:gd name="connsiteY24901" fmla="*/ 3315129 h 7458372"/>
              <a:gd name="connsiteX24902" fmla="*/ 9617245 w 10505529"/>
              <a:gd name="connsiteY24902" fmla="*/ 3321385 h 7458372"/>
              <a:gd name="connsiteX24903" fmla="*/ 9605531 w 10505529"/>
              <a:gd name="connsiteY24903" fmla="*/ 3323648 h 7458372"/>
              <a:gd name="connsiteX24904" fmla="*/ 9583698 w 10505529"/>
              <a:gd name="connsiteY24904" fmla="*/ 3315129 h 7458372"/>
              <a:gd name="connsiteX24905" fmla="*/ 9575312 w 10505529"/>
              <a:gd name="connsiteY24905" fmla="*/ 3293962 h 7458372"/>
              <a:gd name="connsiteX24906" fmla="*/ 9583698 w 10505529"/>
              <a:gd name="connsiteY24906" fmla="*/ 3272931 h 7458372"/>
              <a:gd name="connsiteX24907" fmla="*/ 9605531 w 10505529"/>
              <a:gd name="connsiteY24907" fmla="*/ 3264278 h 7458372"/>
              <a:gd name="connsiteX24908" fmla="*/ 9387885 w 10505529"/>
              <a:gd name="connsiteY24908" fmla="*/ 3264278 h 7458372"/>
              <a:gd name="connsiteX24909" fmla="*/ 9399599 w 10505529"/>
              <a:gd name="connsiteY24909" fmla="*/ 3266807 h 7458372"/>
              <a:gd name="connsiteX24910" fmla="*/ 9408917 w 10505529"/>
              <a:gd name="connsiteY24910" fmla="*/ 3273196 h 7458372"/>
              <a:gd name="connsiteX24911" fmla="*/ 9415041 w 10505529"/>
              <a:gd name="connsiteY24911" fmla="*/ 3282648 h 7458372"/>
              <a:gd name="connsiteX24912" fmla="*/ 9417304 w 10505529"/>
              <a:gd name="connsiteY24912" fmla="*/ 3294096 h 7458372"/>
              <a:gd name="connsiteX24913" fmla="*/ 9415041 w 10505529"/>
              <a:gd name="connsiteY24913" fmla="*/ 3305811 h 7458372"/>
              <a:gd name="connsiteX24914" fmla="*/ 9408917 w 10505529"/>
              <a:gd name="connsiteY24914" fmla="*/ 3315129 h 7458372"/>
              <a:gd name="connsiteX24915" fmla="*/ 9399599 w 10505529"/>
              <a:gd name="connsiteY24915" fmla="*/ 3321385 h 7458372"/>
              <a:gd name="connsiteX24916" fmla="*/ 9387885 w 10505529"/>
              <a:gd name="connsiteY24916" fmla="*/ 3323648 h 7458372"/>
              <a:gd name="connsiteX24917" fmla="*/ 9366053 w 10505529"/>
              <a:gd name="connsiteY24917" fmla="*/ 3315129 h 7458372"/>
              <a:gd name="connsiteX24918" fmla="*/ 9357667 w 10505529"/>
              <a:gd name="connsiteY24918" fmla="*/ 3293962 h 7458372"/>
              <a:gd name="connsiteX24919" fmla="*/ 9366053 w 10505529"/>
              <a:gd name="connsiteY24919" fmla="*/ 3272931 h 7458372"/>
              <a:gd name="connsiteX24920" fmla="*/ 9387885 w 10505529"/>
              <a:gd name="connsiteY24920" fmla="*/ 3264278 h 7458372"/>
              <a:gd name="connsiteX24921" fmla="*/ 9170374 w 10505529"/>
              <a:gd name="connsiteY24921" fmla="*/ 3264278 h 7458372"/>
              <a:gd name="connsiteX24922" fmla="*/ 9182088 w 10505529"/>
              <a:gd name="connsiteY24922" fmla="*/ 3266807 h 7458372"/>
              <a:gd name="connsiteX24923" fmla="*/ 9191405 w 10505529"/>
              <a:gd name="connsiteY24923" fmla="*/ 3273196 h 7458372"/>
              <a:gd name="connsiteX24924" fmla="*/ 9197529 w 10505529"/>
              <a:gd name="connsiteY24924" fmla="*/ 3282648 h 7458372"/>
              <a:gd name="connsiteX24925" fmla="*/ 9199792 w 10505529"/>
              <a:gd name="connsiteY24925" fmla="*/ 3294096 h 7458372"/>
              <a:gd name="connsiteX24926" fmla="*/ 9197529 w 10505529"/>
              <a:gd name="connsiteY24926" fmla="*/ 3305811 h 7458372"/>
              <a:gd name="connsiteX24927" fmla="*/ 9191405 w 10505529"/>
              <a:gd name="connsiteY24927" fmla="*/ 3315129 h 7458372"/>
              <a:gd name="connsiteX24928" fmla="*/ 9182088 w 10505529"/>
              <a:gd name="connsiteY24928" fmla="*/ 3321385 h 7458372"/>
              <a:gd name="connsiteX24929" fmla="*/ 9170374 w 10505529"/>
              <a:gd name="connsiteY24929" fmla="*/ 3323648 h 7458372"/>
              <a:gd name="connsiteX24930" fmla="*/ 9148541 w 10505529"/>
              <a:gd name="connsiteY24930" fmla="*/ 3315129 h 7458372"/>
              <a:gd name="connsiteX24931" fmla="*/ 9140155 w 10505529"/>
              <a:gd name="connsiteY24931" fmla="*/ 3293962 h 7458372"/>
              <a:gd name="connsiteX24932" fmla="*/ 9148541 w 10505529"/>
              <a:gd name="connsiteY24932" fmla="*/ 3272931 h 7458372"/>
              <a:gd name="connsiteX24933" fmla="*/ 9170374 w 10505529"/>
              <a:gd name="connsiteY24933" fmla="*/ 3264278 h 7458372"/>
              <a:gd name="connsiteX24934" fmla="*/ 8952728 w 10505529"/>
              <a:gd name="connsiteY24934" fmla="*/ 3264278 h 7458372"/>
              <a:gd name="connsiteX24935" fmla="*/ 8964442 w 10505529"/>
              <a:gd name="connsiteY24935" fmla="*/ 3266807 h 7458372"/>
              <a:gd name="connsiteX24936" fmla="*/ 8973760 w 10505529"/>
              <a:gd name="connsiteY24936" fmla="*/ 3273196 h 7458372"/>
              <a:gd name="connsiteX24937" fmla="*/ 8979884 w 10505529"/>
              <a:gd name="connsiteY24937" fmla="*/ 3282648 h 7458372"/>
              <a:gd name="connsiteX24938" fmla="*/ 8982147 w 10505529"/>
              <a:gd name="connsiteY24938" fmla="*/ 3294096 h 7458372"/>
              <a:gd name="connsiteX24939" fmla="*/ 8979884 w 10505529"/>
              <a:gd name="connsiteY24939" fmla="*/ 3305811 h 7458372"/>
              <a:gd name="connsiteX24940" fmla="*/ 8973760 w 10505529"/>
              <a:gd name="connsiteY24940" fmla="*/ 3315129 h 7458372"/>
              <a:gd name="connsiteX24941" fmla="*/ 8964442 w 10505529"/>
              <a:gd name="connsiteY24941" fmla="*/ 3321385 h 7458372"/>
              <a:gd name="connsiteX24942" fmla="*/ 8952728 w 10505529"/>
              <a:gd name="connsiteY24942" fmla="*/ 3323648 h 7458372"/>
              <a:gd name="connsiteX24943" fmla="*/ 8930896 w 10505529"/>
              <a:gd name="connsiteY24943" fmla="*/ 3315129 h 7458372"/>
              <a:gd name="connsiteX24944" fmla="*/ 8922510 w 10505529"/>
              <a:gd name="connsiteY24944" fmla="*/ 3293962 h 7458372"/>
              <a:gd name="connsiteX24945" fmla="*/ 8930896 w 10505529"/>
              <a:gd name="connsiteY24945" fmla="*/ 3272931 h 7458372"/>
              <a:gd name="connsiteX24946" fmla="*/ 8952728 w 10505529"/>
              <a:gd name="connsiteY24946" fmla="*/ 3264278 h 7458372"/>
              <a:gd name="connsiteX24947" fmla="*/ 8735083 w 10505529"/>
              <a:gd name="connsiteY24947" fmla="*/ 3264278 h 7458372"/>
              <a:gd name="connsiteX24948" fmla="*/ 8746797 w 10505529"/>
              <a:gd name="connsiteY24948" fmla="*/ 3266807 h 7458372"/>
              <a:gd name="connsiteX24949" fmla="*/ 8756115 w 10505529"/>
              <a:gd name="connsiteY24949" fmla="*/ 3273196 h 7458372"/>
              <a:gd name="connsiteX24950" fmla="*/ 8762238 w 10505529"/>
              <a:gd name="connsiteY24950" fmla="*/ 3282648 h 7458372"/>
              <a:gd name="connsiteX24951" fmla="*/ 8764502 w 10505529"/>
              <a:gd name="connsiteY24951" fmla="*/ 3294096 h 7458372"/>
              <a:gd name="connsiteX24952" fmla="*/ 8762238 w 10505529"/>
              <a:gd name="connsiteY24952" fmla="*/ 3305811 h 7458372"/>
              <a:gd name="connsiteX24953" fmla="*/ 8756115 w 10505529"/>
              <a:gd name="connsiteY24953" fmla="*/ 3315129 h 7458372"/>
              <a:gd name="connsiteX24954" fmla="*/ 8746797 w 10505529"/>
              <a:gd name="connsiteY24954" fmla="*/ 3321385 h 7458372"/>
              <a:gd name="connsiteX24955" fmla="*/ 8735083 w 10505529"/>
              <a:gd name="connsiteY24955" fmla="*/ 3323648 h 7458372"/>
              <a:gd name="connsiteX24956" fmla="*/ 8713250 w 10505529"/>
              <a:gd name="connsiteY24956" fmla="*/ 3315129 h 7458372"/>
              <a:gd name="connsiteX24957" fmla="*/ 8704864 w 10505529"/>
              <a:gd name="connsiteY24957" fmla="*/ 3293962 h 7458372"/>
              <a:gd name="connsiteX24958" fmla="*/ 8713250 w 10505529"/>
              <a:gd name="connsiteY24958" fmla="*/ 3272931 h 7458372"/>
              <a:gd name="connsiteX24959" fmla="*/ 8735083 w 10505529"/>
              <a:gd name="connsiteY24959" fmla="*/ 3264278 h 7458372"/>
              <a:gd name="connsiteX24960" fmla="*/ 8517438 w 10505529"/>
              <a:gd name="connsiteY24960" fmla="*/ 3264278 h 7458372"/>
              <a:gd name="connsiteX24961" fmla="*/ 8529152 w 10505529"/>
              <a:gd name="connsiteY24961" fmla="*/ 3266807 h 7458372"/>
              <a:gd name="connsiteX24962" fmla="*/ 8538470 w 10505529"/>
              <a:gd name="connsiteY24962" fmla="*/ 3273196 h 7458372"/>
              <a:gd name="connsiteX24963" fmla="*/ 8544594 w 10505529"/>
              <a:gd name="connsiteY24963" fmla="*/ 3282648 h 7458372"/>
              <a:gd name="connsiteX24964" fmla="*/ 8546857 w 10505529"/>
              <a:gd name="connsiteY24964" fmla="*/ 3294096 h 7458372"/>
              <a:gd name="connsiteX24965" fmla="*/ 8544594 w 10505529"/>
              <a:gd name="connsiteY24965" fmla="*/ 3305811 h 7458372"/>
              <a:gd name="connsiteX24966" fmla="*/ 8538470 w 10505529"/>
              <a:gd name="connsiteY24966" fmla="*/ 3315129 h 7458372"/>
              <a:gd name="connsiteX24967" fmla="*/ 8529152 w 10505529"/>
              <a:gd name="connsiteY24967" fmla="*/ 3321385 h 7458372"/>
              <a:gd name="connsiteX24968" fmla="*/ 8517438 w 10505529"/>
              <a:gd name="connsiteY24968" fmla="*/ 3323648 h 7458372"/>
              <a:gd name="connsiteX24969" fmla="*/ 8495606 w 10505529"/>
              <a:gd name="connsiteY24969" fmla="*/ 3315129 h 7458372"/>
              <a:gd name="connsiteX24970" fmla="*/ 8487220 w 10505529"/>
              <a:gd name="connsiteY24970" fmla="*/ 3293962 h 7458372"/>
              <a:gd name="connsiteX24971" fmla="*/ 8495606 w 10505529"/>
              <a:gd name="connsiteY24971" fmla="*/ 3272931 h 7458372"/>
              <a:gd name="connsiteX24972" fmla="*/ 8517438 w 10505529"/>
              <a:gd name="connsiteY24972" fmla="*/ 3264278 h 7458372"/>
              <a:gd name="connsiteX24973" fmla="*/ 8299793 w 10505529"/>
              <a:gd name="connsiteY24973" fmla="*/ 3264278 h 7458372"/>
              <a:gd name="connsiteX24974" fmla="*/ 8311507 w 10505529"/>
              <a:gd name="connsiteY24974" fmla="*/ 3266807 h 7458372"/>
              <a:gd name="connsiteX24975" fmla="*/ 8320825 w 10505529"/>
              <a:gd name="connsiteY24975" fmla="*/ 3273196 h 7458372"/>
              <a:gd name="connsiteX24976" fmla="*/ 8326948 w 10505529"/>
              <a:gd name="connsiteY24976" fmla="*/ 3282648 h 7458372"/>
              <a:gd name="connsiteX24977" fmla="*/ 8329212 w 10505529"/>
              <a:gd name="connsiteY24977" fmla="*/ 3294096 h 7458372"/>
              <a:gd name="connsiteX24978" fmla="*/ 8326948 w 10505529"/>
              <a:gd name="connsiteY24978" fmla="*/ 3305811 h 7458372"/>
              <a:gd name="connsiteX24979" fmla="*/ 8320825 w 10505529"/>
              <a:gd name="connsiteY24979" fmla="*/ 3315129 h 7458372"/>
              <a:gd name="connsiteX24980" fmla="*/ 8311507 w 10505529"/>
              <a:gd name="connsiteY24980" fmla="*/ 3321385 h 7458372"/>
              <a:gd name="connsiteX24981" fmla="*/ 8299793 w 10505529"/>
              <a:gd name="connsiteY24981" fmla="*/ 3323648 h 7458372"/>
              <a:gd name="connsiteX24982" fmla="*/ 8277960 w 10505529"/>
              <a:gd name="connsiteY24982" fmla="*/ 3315129 h 7458372"/>
              <a:gd name="connsiteX24983" fmla="*/ 8269574 w 10505529"/>
              <a:gd name="connsiteY24983" fmla="*/ 3293962 h 7458372"/>
              <a:gd name="connsiteX24984" fmla="*/ 8277960 w 10505529"/>
              <a:gd name="connsiteY24984" fmla="*/ 3272931 h 7458372"/>
              <a:gd name="connsiteX24985" fmla="*/ 8299793 w 10505529"/>
              <a:gd name="connsiteY24985" fmla="*/ 3264278 h 7458372"/>
              <a:gd name="connsiteX24986" fmla="*/ 8082281 w 10505529"/>
              <a:gd name="connsiteY24986" fmla="*/ 3264278 h 7458372"/>
              <a:gd name="connsiteX24987" fmla="*/ 8094127 w 10505529"/>
              <a:gd name="connsiteY24987" fmla="*/ 3266807 h 7458372"/>
              <a:gd name="connsiteX24988" fmla="*/ 8103446 w 10505529"/>
              <a:gd name="connsiteY24988" fmla="*/ 3273196 h 7458372"/>
              <a:gd name="connsiteX24989" fmla="*/ 8109569 w 10505529"/>
              <a:gd name="connsiteY24989" fmla="*/ 3282648 h 7458372"/>
              <a:gd name="connsiteX24990" fmla="*/ 8111832 w 10505529"/>
              <a:gd name="connsiteY24990" fmla="*/ 3294096 h 7458372"/>
              <a:gd name="connsiteX24991" fmla="*/ 8109569 w 10505529"/>
              <a:gd name="connsiteY24991" fmla="*/ 3305811 h 7458372"/>
              <a:gd name="connsiteX24992" fmla="*/ 8103446 w 10505529"/>
              <a:gd name="connsiteY24992" fmla="*/ 3315129 h 7458372"/>
              <a:gd name="connsiteX24993" fmla="*/ 8094127 w 10505529"/>
              <a:gd name="connsiteY24993" fmla="*/ 3321385 h 7458372"/>
              <a:gd name="connsiteX24994" fmla="*/ 8082281 w 10505529"/>
              <a:gd name="connsiteY24994" fmla="*/ 3323648 h 7458372"/>
              <a:gd name="connsiteX24995" fmla="*/ 8060448 w 10505529"/>
              <a:gd name="connsiteY24995" fmla="*/ 3315129 h 7458372"/>
              <a:gd name="connsiteX24996" fmla="*/ 8052062 w 10505529"/>
              <a:gd name="connsiteY24996" fmla="*/ 3293962 h 7458372"/>
              <a:gd name="connsiteX24997" fmla="*/ 8060448 w 10505529"/>
              <a:gd name="connsiteY24997" fmla="*/ 3272931 h 7458372"/>
              <a:gd name="connsiteX24998" fmla="*/ 8082281 w 10505529"/>
              <a:gd name="connsiteY24998" fmla="*/ 3264278 h 7458372"/>
              <a:gd name="connsiteX24999" fmla="*/ 7864636 w 10505529"/>
              <a:gd name="connsiteY24999" fmla="*/ 3264278 h 7458372"/>
              <a:gd name="connsiteX25000" fmla="*/ 7876483 w 10505529"/>
              <a:gd name="connsiteY25000" fmla="*/ 3266807 h 7458372"/>
              <a:gd name="connsiteX25001" fmla="*/ 7885802 w 10505529"/>
              <a:gd name="connsiteY25001" fmla="*/ 3273196 h 7458372"/>
              <a:gd name="connsiteX25002" fmla="*/ 7891924 w 10505529"/>
              <a:gd name="connsiteY25002" fmla="*/ 3282648 h 7458372"/>
              <a:gd name="connsiteX25003" fmla="*/ 7894188 w 10505529"/>
              <a:gd name="connsiteY25003" fmla="*/ 3294096 h 7458372"/>
              <a:gd name="connsiteX25004" fmla="*/ 7891924 w 10505529"/>
              <a:gd name="connsiteY25004" fmla="*/ 3305811 h 7458372"/>
              <a:gd name="connsiteX25005" fmla="*/ 7885802 w 10505529"/>
              <a:gd name="connsiteY25005" fmla="*/ 3315129 h 7458372"/>
              <a:gd name="connsiteX25006" fmla="*/ 7876483 w 10505529"/>
              <a:gd name="connsiteY25006" fmla="*/ 3321385 h 7458372"/>
              <a:gd name="connsiteX25007" fmla="*/ 7864636 w 10505529"/>
              <a:gd name="connsiteY25007" fmla="*/ 3323648 h 7458372"/>
              <a:gd name="connsiteX25008" fmla="*/ 7842803 w 10505529"/>
              <a:gd name="connsiteY25008" fmla="*/ 3315129 h 7458372"/>
              <a:gd name="connsiteX25009" fmla="*/ 7834417 w 10505529"/>
              <a:gd name="connsiteY25009" fmla="*/ 3293962 h 7458372"/>
              <a:gd name="connsiteX25010" fmla="*/ 7842803 w 10505529"/>
              <a:gd name="connsiteY25010" fmla="*/ 3272931 h 7458372"/>
              <a:gd name="connsiteX25011" fmla="*/ 7864636 w 10505529"/>
              <a:gd name="connsiteY25011" fmla="*/ 3264278 h 7458372"/>
              <a:gd name="connsiteX25012" fmla="*/ 7646991 w 10505529"/>
              <a:gd name="connsiteY25012" fmla="*/ 3264278 h 7458372"/>
              <a:gd name="connsiteX25013" fmla="*/ 7658705 w 10505529"/>
              <a:gd name="connsiteY25013" fmla="*/ 3266807 h 7458372"/>
              <a:gd name="connsiteX25014" fmla="*/ 7668022 w 10505529"/>
              <a:gd name="connsiteY25014" fmla="*/ 3273196 h 7458372"/>
              <a:gd name="connsiteX25015" fmla="*/ 7674146 w 10505529"/>
              <a:gd name="connsiteY25015" fmla="*/ 3282648 h 7458372"/>
              <a:gd name="connsiteX25016" fmla="*/ 7676409 w 10505529"/>
              <a:gd name="connsiteY25016" fmla="*/ 3294096 h 7458372"/>
              <a:gd name="connsiteX25017" fmla="*/ 7674146 w 10505529"/>
              <a:gd name="connsiteY25017" fmla="*/ 3305811 h 7458372"/>
              <a:gd name="connsiteX25018" fmla="*/ 7668022 w 10505529"/>
              <a:gd name="connsiteY25018" fmla="*/ 3315129 h 7458372"/>
              <a:gd name="connsiteX25019" fmla="*/ 7658705 w 10505529"/>
              <a:gd name="connsiteY25019" fmla="*/ 3321385 h 7458372"/>
              <a:gd name="connsiteX25020" fmla="*/ 7646991 w 10505529"/>
              <a:gd name="connsiteY25020" fmla="*/ 3323648 h 7458372"/>
              <a:gd name="connsiteX25021" fmla="*/ 7625158 w 10505529"/>
              <a:gd name="connsiteY25021" fmla="*/ 3315129 h 7458372"/>
              <a:gd name="connsiteX25022" fmla="*/ 7616772 w 10505529"/>
              <a:gd name="connsiteY25022" fmla="*/ 3293962 h 7458372"/>
              <a:gd name="connsiteX25023" fmla="*/ 7625158 w 10505529"/>
              <a:gd name="connsiteY25023" fmla="*/ 3272931 h 7458372"/>
              <a:gd name="connsiteX25024" fmla="*/ 7646991 w 10505529"/>
              <a:gd name="connsiteY25024" fmla="*/ 3264278 h 7458372"/>
              <a:gd name="connsiteX25025" fmla="*/ 7429345 w 10505529"/>
              <a:gd name="connsiteY25025" fmla="*/ 3264278 h 7458372"/>
              <a:gd name="connsiteX25026" fmla="*/ 7441059 w 10505529"/>
              <a:gd name="connsiteY25026" fmla="*/ 3266807 h 7458372"/>
              <a:gd name="connsiteX25027" fmla="*/ 7450377 w 10505529"/>
              <a:gd name="connsiteY25027" fmla="*/ 3273196 h 7458372"/>
              <a:gd name="connsiteX25028" fmla="*/ 7456501 w 10505529"/>
              <a:gd name="connsiteY25028" fmla="*/ 3282648 h 7458372"/>
              <a:gd name="connsiteX25029" fmla="*/ 7458764 w 10505529"/>
              <a:gd name="connsiteY25029" fmla="*/ 3294096 h 7458372"/>
              <a:gd name="connsiteX25030" fmla="*/ 7456501 w 10505529"/>
              <a:gd name="connsiteY25030" fmla="*/ 3305811 h 7458372"/>
              <a:gd name="connsiteX25031" fmla="*/ 7450377 w 10505529"/>
              <a:gd name="connsiteY25031" fmla="*/ 3315129 h 7458372"/>
              <a:gd name="connsiteX25032" fmla="*/ 7441059 w 10505529"/>
              <a:gd name="connsiteY25032" fmla="*/ 3321385 h 7458372"/>
              <a:gd name="connsiteX25033" fmla="*/ 7429345 w 10505529"/>
              <a:gd name="connsiteY25033" fmla="*/ 3323648 h 7458372"/>
              <a:gd name="connsiteX25034" fmla="*/ 7407513 w 10505529"/>
              <a:gd name="connsiteY25034" fmla="*/ 3315129 h 7458372"/>
              <a:gd name="connsiteX25035" fmla="*/ 7399127 w 10505529"/>
              <a:gd name="connsiteY25035" fmla="*/ 3293962 h 7458372"/>
              <a:gd name="connsiteX25036" fmla="*/ 7407513 w 10505529"/>
              <a:gd name="connsiteY25036" fmla="*/ 3272931 h 7458372"/>
              <a:gd name="connsiteX25037" fmla="*/ 7429345 w 10505529"/>
              <a:gd name="connsiteY25037" fmla="*/ 3264278 h 7458372"/>
              <a:gd name="connsiteX25038" fmla="*/ 7211701 w 10505529"/>
              <a:gd name="connsiteY25038" fmla="*/ 3264278 h 7458372"/>
              <a:gd name="connsiteX25039" fmla="*/ 7223415 w 10505529"/>
              <a:gd name="connsiteY25039" fmla="*/ 3266807 h 7458372"/>
              <a:gd name="connsiteX25040" fmla="*/ 7232733 w 10505529"/>
              <a:gd name="connsiteY25040" fmla="*/ 3273196 h 7458372"/>
              <a:gd name="connsiteX25041" fmla="*/ 7238856 w 10505529"/>
              <a:gd name="connsiteY25041" fmla="*/ 3282648 h 7458372"/>
              <a:gd name="connsiteX25042" fmla="*/ 7241120 w 10505529"/>
              <a:gd name="connsiteY25042" fmla="*/ 3294096 h 7458372"/>
              <a:gd name="connsiteX25043" fmla="*/ 7238856 w 10505529"/>
              <a:gd name="connsiteY25043" fmla="*/ 3305811 h 7458372"/>
              <a:gd name="connsiteX25044" fmla="*/ 7232733 w 10505529"/>
              <a:gd name="connsiteY25044" fmla="*/ 3315129 h 7458372"/>
              <a:gd name="connsiteX25045" fmla="*/ 7223415 w 10505529"/>
              <a:gd name="connsiteY25045" fmla="*/ 3321385 h 7458372"/>
              <a:gd name="connsiteX25046" fmla="*/ 7211701 w 10505529"/>
              <a:gd name="connsiteY25046" fmla="*/ 3323648 h 7458372"/>
              <a:gd name="connsiteX25047" fmla="*/ 7189868 w 10505529"/>
              <a:gd name="connsiteY25047" fmla="*/ 3315129 h 7458372"/>
              <a:gd name="connsiteX25048" fmla="*/ 7181482 w 10505529"/>
              <a:gd name="connsiteY25048" fmla="*/ 3293962 h 7458372"/>
              <a:gd name="connsiteX25049" fmla="*/ 7189868 w 10505529"/>
              <a:gd name="connsiteY25049" fmla="*/ 3272931 h 7458372"/>
              <a:gd name="connsiteX25050" fmla="*/ 7211701 w 10505529"/>
              <a:gd name="connsiteY25050" fmla="*/ 3264278 h 7458372"/>
              <a:gd name="connsiteX25051" fmla="*/ 6994056 w 10505529"/>
              <a:gd name="connsiteY25051" fmla="*/ 3264278 h 7458372"/>
              <a:gd name="connsiteX25052" fmla="*/ 7005769 w 10505529"/>
              <a:gd name="connsiteY25052" fmla="*/ 3266807 h 7458372"/>
              <a:gd name="connsiteX25053" fmla="*/ 7015087 w 10505529"/>
              <a:gd name="connsiteY25053" fmla="*/ 3273196 h 7458372"/>
              <a:gd name="connsiteX25054" fmla="*/ 7021211 w 10505529"/>
              <a:gd name="connsiteY25054" fmla="*/ 3282648 h 7458372"/>
              <a:gd name="connsiteX25055" fmla="*/ 7023474 w 10505529"/>
              <a:gd name="connsiteY25055" fmla="*/ 3294096 h 7458372"/>
              <a:gd name="connsiteX25056" fmla="*/ 7021211 w 10505529"/>
              <a:gd name="connsiteY25056" fmla="*/ 3305811 h 7458372"/>
              <a:gd name="connsiteX25057" fmla="*/ 7015087 w 10505529"/>
              <a:gd name="connsiteY25057" fmla="*/ 3315129 h 7458372"/>
              <a:gd name="connsiteX25058" fmla="*/ 7005769 w 10505529"/>
              <a:gd name="connsiteY25058" fmla="*/ 3321385 h 7458372"/>
              <a:gd name="connsiteX25059" fmla="*/ 6994056 w 10505529"/>
              <a:gd name="connsiteY25059" fmla="*/ 3323648 h 7458372"/>
              <a:gd name="connsiteX25060" fmla="*/ 6972223 w 10505529"/>
              <a:gd name="connsiteY25060" fmla="*/ 3315129 h 7458372"/>
              <a:gd name="connsiteX25061" fmla="*/ 6963837 w 10505529"/>
              <a:gd name="connsiteY25061" fmla="*/ 3293962 h 7458372"/>
              <a:gd name="connsiteX25062" fmla="*/ 6972223 w 10505529"/>
              <a:gd name="connsiteY25062" fmla="*/ 3272931 h 7458372"/>
              <a:gd name="connsiteX25063" fmla="*/ 6994056 w 10505529"/>
              <a:gd name="connsiteY25063" fmla="*/ 3264278 h 7458372"/>
              <a:gd name="connsiteX25064" fmla="*/ 6776544 w 10505529"/>
              <a:gd name="connsiteY25064" fmla="*/ 3264278 h 7458372"/>
              <a:gd name="connsiteX25065" fmla="*/ 6788258 w 10505529"/>
              <a:gd name="connsiteY25065" fmla="*/ 3266807 h 7458372"/>
              <a:gd name="connsiteX25066" fmla="*/ 6797576 w 10505529"/>
              <a:gd name="connsiteY25066" fmla="*/ 3273196 h 7458372"/>
              <a:gd name="connsiteX25067" fmla="*/ 6803699 w 10505529"/>
              <a:gd name="connsiteY25067" fmla="*/ 3282648 h 7458372"/>
              <a:gd name="connsiteX25068" fmla="*/ 6805963 w 10505529"/>
              <a:gd name="connsiteY25068" fmla="*/ 3294096 h 7458372"/>
              <a:gd name="connsiteX25069" fmla="*/ 6803699 w 10505529"/>
              <a:gd name="connsiteY25069" fmla="*/ 3305811 h 7458372"/>
              <a:gd name="connsiteX25070" fmla="*/ 6797576 w 10505529"/>
              <a:gd name="connsiteY25070" fmla="*/ 3315129 h 7458372"/>
              <a:gd name="connsiteX25071" fmla="*/ 6788258 w 10505529"/>
              <a:gd name="connsiteY25071" fmla="*/ 3321385 h 7458372"/>
              <a:gd name="connsiteX25072" fmla="*/ 6776544 w 10505529"/>
              <a:gd name="connsiteY25072" fmla="*/ 3323648 h 7458372"/>
              <a:gd name="connsiteX25073" fmla="*/ 6754711 w 10505529"/>
              <a:gd name="connsiteY25073" fmla="*/ 3315129 h 7458372"/>
              <a:gd name="connsiteX25074" fmla="*/ 6746325 w 10505529"/>
              <a:gd name="connsiteY25074" fmla="*/ 3293962 h 7458372"/>
              <a:gd name="connsiteX25075" fmla="*/ 6754711 w 10505529"/>
              <a:gd name="connsiteY25075" fmla="*/ 3272931 h 7458372"/>
              <a:gd name="connsiteX25076" fmla="*/ 6776544 w 10505529"/>
              <a:gd name="connsiteY25076" fmla="*/ 3264278 h 7458372"/>
              <a:gd name="connsiteX25077" fmla="*/ 6558899 w 10505529"/>
              <a:gd name="connsiteY25077" fmla="*/ 3264278 h 7458372"/>
              <a:gd name="connsiteX25078" fmla="*/ 6570612 w 10505529"/>
              <a:gd name="connsiteY25078" fmla="*/ 3266807 h 7458372"/>
              <a:gd name="connsiteX25079" fmla="*/ 6579930 w 10505529"/>
              <a:gd name="connsiteY25079" fmla="*/ 3273196 h 7458372"/>
              <a:gd name="connsiteX25080" fmla="*/ 6586054 w 10505529"/>
              <a:gd name="connsiteY25080" fmla="*/ 3282648 h 7458372"/>
              <a:gd name="connsiteX25081" fmla="*/ 6588317 w 10505529"/>
              <a:gd name="connsiteY25081" fmla="*/ 3294096 h 7458372"/>
              <a:gd name="connsiteX25082" fmla="*/ 6586054 w 10505529"/>
              <a:gd name="connsiteY25082" fmla="*/ 3305811 h 7458372"/>
              <a:gd name="connsiteX25083" fmla="*/ 6579930 w 10505529"/>
              <a:gd name="connsiteY25083" fmla="*/ 3315129 h 7458372"/>
              <a:gd name="connsiteX25084" fmla="*/ 6570612 w 10505529"/>
              <a:gd name="connsiteY25084" fmla="*/ 3321385 h 7458372"/>
              <a:gd name="connsiteX25085" fmla="*/ 6558899 w 10505529"/>
              <a:gd name="connsiteY25085" fmla="*/ 3323648 h 7458372"/>
              <a:gd name="connsiteX25086" fmla="*/ 6537066 w 10505529"/>
              <a:gd name="connsiteY25086" fmla="*/ 3315129 h 7458372"/>
              <a:gd name="connsiteX25087" fmla="*/ 6528680 w 10505529"/>
              <a:gd name="connsiteY25087" fmla="*/ 3293962 h 7458372"/>
              <a:gd name="connsiteX25088" fmla="*/ 6537066 w 10505529"/>
              <a:gd name="connsiteY25088" fmla="*/ 3272931 h 7458372"/>
              <a:gd name="connsiteX25089" fmla="*/ 6558899 w 10505529"/>
              <a:gd name="connsiteY25089" fmla="*/ 3264278 h 7458372"/>
              <a:gd name="connsiteX25090" fmla="*/ 6341253 w 10505529"/>
              <a:gd name="connsiteY25090" fmla="*/ 3264278 h 7458372"/>
              <a:gd name="connsiteX25091" fmla="*/ 6352968 w 10505529"/>
              <a:gd name="connsiteY25091" fmla="*/ 3266807 h 7458372"/>
              <a:gd name="connsiteX25092" fmla="*/ 6362286 w 10505529"/>
              <a:gd name="connsiteY25092" fmla="*/ 3273196 h 7458372"/>
              <a:gd name="connsiteX25093" fmla="*/ 6368409 w 10505529"/>
              <a:gd name="connsiteY25093" fmla="*/ 3282648 h 7458372"/>
              <a:gd name="connsiteX25094" fmla="*/ 6370672 w 10505529"/>
              <a:gd name="connsiteY25094" fmla="*/ 3294096 h 7458372"/>
              <a:gd name="connsiteX25095" fmla="*/ 6368409 w 10505529"/>
              <a:gd name="connsiteY25095" fmla="*/ 3305811 h 7458372"/>
              <a:gd name="connsiteX25096" fmla="*/ 6362286 w 10505529"/>
              <a:gd name="connsiteY25096" fmla="*/ 3315129 h 7458372"/>
              <a:gd name="connsiteX25097" fmla="*/ 6352968 w 10505529"/>
              <a:gd name="connsiteY25097" fmla="*/ 3321385 h 7458372"/>
              <a:gd name="connsiteX25098" fmla="*/ 6341253 w 10505529"/>
              <a:gd name="connsiteY25098" fmla="*/ 3323648 h 7458372"/>
              <a:gd name="connsiteX25099" fmla="*/ 6319421 w 10505529"/>
              <a:gd name="connsiteY25099" fmla="*/ 3315129 h 7458372"/>
              <a:gd name="connsiteX25100" fmla="*/ 6311035 w 10505529"/>
              <a:gd name="connsiteY25100" fmla="*/ 3293962 h 7458372"/>
              <a:gd name="connsiteX25101" fmla="*/ 6319421 w 10505529"/>
              <a:gd name="connsiteY25101" fmla="*/ 3272931 h 7458372"/>
              <a:gd name="connsiteX25102" fmla="*/ 6341253 w 10505529"/>
              <a:gd name="connsiteY25102" fmla="*/ 3264278 h 7458372"/>
              <a:gd name="connsiteX25103" fmla="*/ 6123608 w 10505529"/>
              <a:gd name="connsiteY25103" fmla="*/ 3264278 h 7458372"/>
              <a:gd name="connsiteX25104" fmla="*/ 6135322 w 10505529"/>
              <a:gd name="connsiteY25104" fmla="*/ 3266807 h 7458372"/>
              <a:gd name="connsiteX25105" fmla="*/ 6144640 w 10505529"/>
              <a:gd name="connsiteY25105" fmla="*/ 3273196 h 7458372"/>
              <a:gd name="connsiteX25106" fmla="*/ 6150763 w 10505529"/>
              <a:gd name="connsiteY25106" fmla="*/ 3282648 h 7458372"/>
              <a:gd name="connsiteX25107" fmla="*/ 6153026 w 10505529"/>
              <a:gd name="connsiteY25107" fmla="*/ 3294096 h 7458372"/>
              <a:gd name="connsiteX25108" fmla="*/ 6150763 w 10505529"/>
              <a:gd name="connsiteY25108" fmla="*/ 3305811 h 7458372"/>
              <a:gd name="connsiteX25109" fmla="*/ 6144640 w 10505529"/>
              <a:gd name="connsiteY25109" fmla="*/ 3315129 h 7458372"/>
              <a:gd name="connsiteX25110" fmla="*/ 6135322 w 10505529"/>
              <a:gd name="connsiteY25110" fmla="*/ 3321385 h 7458372"/>
              <a:gd name="connsiteX25111" fmla="*/ 6123608 w 10505529"/>
              <a:gd name="connsiteY25111" fmla="*/ 3323648 h 7458372"/>
              <a:gd name="connsiteX25112" fmla="*/ 6101775 w 10505529"/>
              <a:gd name="connsiteY25112" fmla="*/ 3315129 h 7458372"/>
              <a:gd name="connsiteX25113" fmla="*/ 6093389 w 10505529"/>
              <a:gd name="connsiteY25113" fmla="*/ 3293962 h 7458372"/>
              <a:gd name="connsiteX25114" fmla="*/ 6101775 w 10505529"/>
              <a:gd name="connsiteY25114" fmla="*/ 3272931 h 7458372"/>
              <a:gd name="connsiteX25115" fmla="*/ 6123608 w 10505529"/>
              <a:gd name="connsiteY25115" fmla="*/ 3264278 h 7458372"/>
              <a:gd name="connsiteX25116" fmla="*/ 5905963 w 10505529"/>
              <a:gd name="connsiteY25116" fmla="*/ 3264278 h 7458372"/>
              <a:gd name="connsiteX25117" fmla="*/ 5917677 w 10505529"/>
              <a:gd name="connsiteY25117" fmla="*/ 3266807 h 7458372"/>
              <a:gd name="connsiteX25118" fmla="*/ 5926995 w 10505529"/>
              <a:gd name="connsiteY25118" fmla="*/ 3273196 h 7458372"/>
              <a:gd name="connsiteX25119" fmla="*/ 5933118 w 10505529"/>
              <a:gd name="connsiteY25119" fmla="*/ 3282648 h 7458372"/>
              <a:gd name="connsiteX25120" fmla="*/ 5935381 w 10505529"/>
              <a:gd name="connsiteY25120" fmla="*/ 3294096 h 7458372"/>
              <a:gd name="connsiteX25121" fmla="*/ 5933118 w 10505529"/>
              <a:gd name="connsiteY25121" fmla="*/ 3305811 h 7458372"/>
              <a:gd name="connsiteX25122" fmla="*/ 5926995 w 10505529"/>
              <a:gd name="connsiteY25122" fmla="*/ 3315129 h 7458372"/>
              <a:gd name="connsiteX25123" fmla="*/ 5917677 w 10505529"/>
              <a:gd name="connsiteY25123" fmla="*/ 3321385 h 7458372"/>
              <a:gd name="connsiteX25124" fmla="*/ 5905963 w 10505529"/>
              <a:gd name="connsiteY25124" fmla="*/ 3323648 h 7458372"/>
              <a:gd name="connsiteX25125" fmla="*/ 5884130 w 10505529"/>
              <a:gd name="connsiteY25125" fmla="*/ 3315129 h 7458372"/>
              <a:gd name="connsiteX25126" fmla="*/ 5875744 w 10505529"/>
              <a:gd name="connsiteY25126" fmla="*/ 3293962 h 7458372"/>
              <a:gd name="connsiteX25127" fmla="*/ 5884130 w 10505529"/>
              <a:gd name="connsiteY25127" fmla="*/ 3272931 h 7458372"/>
              <a:gd name="connsiteX25128" fmla="*/ 5905963 w 10505529"/>
              <a:gd name="connsiteY25128" fmla="*/ 3264278 h 7458372"/>
              <a:gd name="connsiteX25129" fmla="*/ 5688451 w 10505529"/>
              <a:gd name="connsiteY25129" fmla="*/ 3264278 h 7458372"/>
              <a:gd name="connsiteX25130" fmla="*/ 5700165 w 10505529"/>
              <a:gd name="connsiteY25130" fmla="*/ 3266807 h 7458372"/>
              <a:gd name="connsiteX25131" fmla="*/ 5709483 w 10505529"/>
              <a:gd name="connsiteY25131" fmla="*/ 3273196 h 7458372"/>
              <a:gd name="connsiteX25132" fmla="*/ 5715606 w 10505529"/>
              <a:gd name="connsiteY25132" fmla="*/ 3282648 h 7458372"/>
              <a:gd name="connsiteX25133" fmla="*/ 5717869 w 10505529"/>
              <a:gd name="connsiteY25133" fmla="*/ 3294096 h 7458372"/>
              <a:gd name="connsiteX25134" fmla="*/ 5715606 w 10505529"/>
              <a:gd name="connsiteY25134" fmla="*/ 3305811 h 7458372"/>
              <a:gd name="connsiteX25135" fmla="*/ 5709483 w 10505529"/>
              <a:gd name="connsiteY25135" fmla="*/ 3315129 h 7458372"/>
              <a:gd name="connsiteX25136" fmla="*/ 5700165 w 10505529"/>
              <a:gd name="connsiteY25136" fmla="*/ 3321385 h 7458372"/>
              <a:gd name="connsiteX25137" fmla="*/ 5688451 w 10505529"/>
              <a:gd name="connsiteY25137" fmla="*/ 3323648 h 7458372"/>
              <a:gd name="connsiteX25138" fmla="*/ 5666618 w 10505529"/>
              <a:gd name="connsiteY25138" fmla="*/ 3315129 h 7458372"/>
              <a:gd name="connsiteX25139" fmla="*/ 5658232 w 10505529"/>
              <a:gd name="connsiteY25139" fmla="*/ 3293962 h 7458372"/>
              <a:gd name="connsiteX25140" fmla="*/ 5666618 w 10505529"/>
              <a:gd name="connsiteY25140" fmla="*/ 3272931 h 7458372"/>
              <a:gd name="connsiteX25141" fmla="*/ 5688451 w 10505529"/>
              <a:gd name="connsiteY25141" fmla="*/ 3264278 h 7458372"/>
              <a:gd name="connsiteX25142" fmla="*/ 5470806 w 10505529"/>
              <a:gd name="connsiteY25142" fmla="*/ 3264278 h 7458372"/>
              <a:gd name="connsiteX25143" fmla="*/ 5482520 w 10505529"/>
              <a:gd name="connsiteY25143" fmla="*/ 3266807 h 7458372"/>
              <a:gd name="connsiteX25144" fmla="*/ 5491838 w 10505529"/>
              <a:gd name="connsiteY25144" fmla="*/ 3273196 h 7458372"/>
              <a:gd name="connsiteX25145" fmla="*/ 5497961 w 10505529"/>
              <a:gd name="connsiteY25145" fmla="*/ 3282648 h 7458372"/>
              <a:gd name="connsiteX25146" fmla="*/ 5500224 w 10505529"/>
              <a:gd name="connsiteY25146" fmla="*/ 3294096 h 7458372"/>
              <a:gd name="connsiteX25147" fmla="*/ 5497961 w 10505529"/>
              <a:gd name="connsiteY25147" fmla="*/ 3305811 h 7458372"/>
              <a:gd name="connsiteX25148" fmla="*/ 5491838 w 10505529"/>
              <a:gd name="connsiteY25148" fmla="*/ 3315129 h 7458372"/>
              <a:gd name="connsiteX25149" fmla="*/ 5482520 w 10505529"/>
              <a:gd name="connsiteY25149" fmla="*/ 3321385 h 7458372"/>
              <a:gd name="connsiteX25150" fmla="*/ 5470806 w 10505529"/>
              <a:gd name="connsiteY25150" fmla="*/ 3323648 h 7458372"/>
              <a:gd name="connsiteX25151" fmla="*/ 5448973 w 10505529"/>
              <a:gd name="connsiteY25151" fmla="*/ 3315129 h 7458372"/>
              <a:gd name="connsiteX25152" fmla="*/ 5440587 w 10505529"/>
              <a:gd name="connsiteY25152" fmla="*/ 3293962 h 7458372"/>
              <a:gd name="connsiteX25153" fmla="*/ 5448973 w 10505529"/>
              <a:gd name="connsiteY25153" fmla="*/ 3272931 h 7458372"/>
              <a:gd name="connsiteX25154" fmla="*/ 5470806 w 10505529"/>
              <a:gd name="connsiteY25154" fmla="*/ 3264278 h 7458372"/>
              <a:gd name="connsiteX25155" fmla="*/ 5253160 w 10505529"/>
              <a:gd name="connsiteY25155" fmla="*/ 3264278 h 7458372"/>
              <a:gd name="connsiteX25156" fmla="*/ 5264875 w 10505529"/>
              <a:gd name="connsiteY25156" fmla="*/ 3266807 h 7458372"/>
              <a:gd name="connsiteX25157" fmla="*/ 5274192 w 10505529"/>
              <a:gd name="connsiteY25157" fmla="*/ 3273196 h 7458372"/>
              <a:gd name="connsiteX25158" fmla="*/ 5280316 w 10505529"/>
              <a:gd name="connsiteY25158" fmla="*/ 3282648 h 7458372"/>
              <a:gd name="connsiteX25159" fmla="*/ 5282579 w 10505529"/>
              <a:gd name="connsiteY25159" fmla="*/ 3294096 h 7458372"/>
              <a:gd name="connsiteX25160" fmla="*/ 5280316 w 10505529"/>
              <a:gd name="connsiteY25160" fmla="*/ 3305811 h 7458372"/>
              <a:gd name="connsiteX25161" fmla="*/ 5274192 w 10505529"/>
              <a:gd name="connsiteY25161" fmla="*/ 3315129 h 7458372"/>
              <a:gd name="connsiteX25162" fmla="*/ 5264875 w 10505529"/>
              <a:gd name="connsiteY25162" fmla="*/ 3321385 h 7458372"/>
              <a:gd name="connsiteX25163" fmla="*/ 5253160 w 10505529"/>
              <a:gd name="connsiteY25163" fmla="*/ 3323648 h 7458372"/>
              <a:gd name="connsiteX25164" fmla="*/ 5231328 w 10505529"/>
              <a:gd name="connsiteY25164" fmla="*/ 3315129 h 7458372"/>
              <a:gd name="connsiteX25165" fmla="*/ 5222942 w 10505529"/>
              <a:gd name="connsiteY25165" fmla="*/ 3293962 h 7458372"/>
              <a:gd name="connsiteX25166" fmla="*/ 5231328 w 10505529"/>
              <a:gd name="connsiteY25166" fmla="*/ 3272931 h 7458372"/>
              <a:gd name="connsiteX25167" fmla="*/ 5253160 w 10505529"/>
              <a:gd name="connsiteY25167" fmla="*/ 3264278 h 7458372"/>
              <a:gd name="connsiteX25168" fmla="*/ 5035515 w 10505529"/>
              <a:gd name="connsiteY25168" fmla="*/ 3264278 h 7458372"/>
              <a:gd name="connsiteX25169" fmla="*/ 5047230 w 10505529"/>
              <a:gd name="connsiteY25169" fmla="*/ 3266807 h 7458372"/>
              <a:gd name="connsiteX25170" fmla="*/ 5056548 w 10505529"/>
              <a:gd name="connsiteY25170" fmla="*/ 3273196 h 7458372"/>
              <a:gd name="connsiteX25171" fmla="*/ 5062671 w 10505529"/>
              <a:gd name="connsiteY25171" fmla="*/ 3282648 h 7458372"/>
              <a:gd name="connsiteX25172" fmla="*/ 5064934 w 10505529"/>
              <a:gd name="connsiteY25172" fmla="*/ 3294096 h 7458372"/>
              <a:gd name="connsiteX25173" fmla="*/ 5062671 w 10505529"/>
              <a:gd name="connsiteY25173" fmla="*/ 3305811 h 7458372"/>
              <a:gd name="connsiteX25174" fmla="*/ 5056548 w 10505529"/>
              <a:gd name="connsiteY25174" fmla="*/ 3315129 h 7458372"/>
              <a:gd name="connsiteX25175" fmla="*/ 5047230 w 10505529"/>
              <a:gd name="connsiteY25175" fmla="*/ 3321385 h 7458372"/>
              <a:gd name="connsiteX25176" fmla="*/ 5035515 w 10505529"/>
              <a:gd name="connsiteY25176" fmla="*/ 3323648 h 7458372"/>
              <a:gd name="connsiteX25177" fmla="*/ 5013683 w 10505529"/>
              <a:gd name="connsiteY25177" fmla="*/ 3315129 h 7458372"/>
              <a:gd name="connsiteX25178" fmla="*/ 5005297 w 10505529"/>
              <a:gd name="connsiteY25178" fmla="*/ 3293962 h 7458372"/>
              <a:gd name="connsiteX25179" fmla="*/ 5013683 w 10505529"/>
              <a:gd name="connsiteY25179" fmla="*/ 3272931 h 7458372"/>
              <a:gd name="connsiteX25180" fmla="*/ 5035515 w 10505529"/>
              <a:gd name="connsiteY25180" fmla="*/ 3264278 h 7458372"/>
              <a:gd name="connsiteX25181" fmla="*/ 4817870 w 10505529"/>
              <a:gd name="connsiteY25181" fmla="*/ 3264278 h 7458372"/>
              <a:gd name="connsiteX25182" fmla="*/ 4829585 w 10505529"/>
              <a:gd name="connsiteY25182" fmla="*/ 3266807 h 7458372"/>
              <a:gd name="connsiteX25183" fmla="*/ 4838903 w 10505529"/>
              <a:gd name="connsiteY25183" fmla="*/ 3273196 h 7458372"/>
              <a:gd name="connsiteX25184" fmla="*/ 4845026 w 10505529"/>
              <a:gd name="connsiteY25184" fmla="*/ 3282648 h 7458372"/>
              <a:gd name="connsiteX25185" fmla="*/ 4847289 w 10505529"/>
              <a:gd name="connsiteY25185" fmla="*/ 3294096 h 7458372"/>
              <a:gd name="connsiteX25186" fmla="*/ 4845026 w 10505529"/>
              <a:gd name="connsiteY25186" fmla="*/ 3305811 h 7458372"/>
              <a:gd name="connsiteX25187" fmla="*/ 4838903 w 10505529"/>
              <a:gd name="connsiteY25187" fmla="*/ 3315129 h 7458372"/>
              <a:gd name="connsiteX25188" fmla="*/ 4829585 w 10505529"/>
              <a:gd name="connsiteY25188" fmla="*/ 3321385 h 7458372"/>
              <a:gd name="connsiteX25189" fmla="*/ 4817870 w 10505529"/>
              <a:gd name="connsiteY25189" fmla="*/ 3323648 h 7458372"/>
              <a:gd name="connsiteX25190" fmla="*/ 4796038 w 10505529"/>
              <a:gd name="connsiteY25190" fmla="*/ 3315129 h 7458372"/>
              <a:gd name="connsiteX25191" fmla="*/ 4787652 w 10505529"/>
              <a:gd name="connsiteY25191" fmla="*/ 3293962 h 7458372"/>
              <a:gd name="connsiteX25192" fmla="*/ 4796038 w 10505529"/>
              <a:gd name="connsiteY25192" fmla="*/ 3272931 h 7458372"/>
              <a:gd name="connsiteX25193" fmla="*/ 4817870 w 10505529"/>
              <a:gd name="connsiteY25193" fmla="*/ 3264278 h 7458372"/>
              <a:gd name="connsiteX25194" fmla="*/ 4600226 w 10505529"/>
              <a:gd name="connsiteY25194" fmla="*/ 3264278 h 7458372"/>
              <a:gd name="connsiteX25195" fmla="*/ 4612073 w 10505529"/>
              <a:gd name="connsiteY25195" fmla="*/ 3266807 h 7458372"/>
              <a:gd name="connsiteX25196" fmla="*/ 4621391 w 10505529"/>
              <a:gd name="connsiteY25196" fmla="*/ 3273196 h 7458372"/>
              <a:gd name="connsiteX25197" fmla="*/ 4627514 w 10505529"/>
              <a:gd name="connsiteY25197" fmla="*/ 3282648 h 7458372"/>
              <a:gd name="connsiteX25198" fmla="*/ 4629777 w 10505529"/>
              <a:gd name="connsiteY25198" fmla="*/ 3294096 h 7458372"/>
              <a:gd name="connsiteX25199" fmla="*/ 4627514 w 10505529"/>
              <a:gd name="connsiteY25199" fmla="*/ 3305811 h 7458372"/>
              <a:gd name="connsiteX25200" fmla="*/ 4621391 w 10505529"/>
              <a:gd name="connsiteY25200" fmla="*/ 3315129 h 7458372"/>
              <a:gd name="connsiteX25201" fmla="*/ 4612073 w 10505529"/>
              <a:gd name="connsiteY25201" fmla="*/ 3321385 h 7458372"/>
              <a:gd name="connsiteX25202" fmla="*/ 4600226 w 10505529"/>
              <a:gd name="connsiteY25202" fmla="*/ 3323648 h 7458372"/>
              <a:gd name="connsiteX25203" fmla="*/ 4578393 w 10505529"/>
              <a:gd name="connsiteY25203" fmla="*/ 3315129 h 7458372"/>
              <a:gd name="connsiteX25204" fmla="*/ 4570007 w 10505529"/>
              <a:gd name="connsiteY25204" fmla="*/ 3293962 h 7458372"/>
              <a:gd name="connsiteX25205" fmla="*/ 4578393 w 10505529"/>
              <a:gd name="connsiteY25205" fmla="*/ 3272931 h 7458372"/>
              <a:gd name="connsiteX25206" fmla="*/ 4600226 w 10505529"/>
              <a:gd name="connsiteY25206" fmla="*/ 3264278 h 7458372"/>
              <a:gd name="connsiteX25207" fmla="*/ 4382713 w 10505529"/>
              <a:gd name="connsiteY25207" fmla="*/ 3264278 h 7458372"/>
              <a:gd name="connsiteX25208" fmla="*/ 4394428 w 10505529"/>
              <a:gd name="connsiteY25208" fmla="*/ 3266807 h 7458372"/>
              <a:gd name="connsiteX25209" fmla="*/ 4403746 w 10505529"/>
              <a:gd name="connsiteY25209" fmla="*/ 3273196 h 7458372"/>
              <a:gd name="connsiteX25210" fmla="*/ 4409869 w 10505529"/>
              <a:gd name="connsiteY25210" fmla="*/ 3282648 h 7458372"/>
              <a:gd name="connsiteX25211" fmla="*/ 4412132 w 10505529"/>
              <a:gd name="connsiteY25211" fmla="*/ 3294096 h 7458372"/>
              <a:gd name="connsiteX25212" fmla="*/ 4409869 w 10505529"/>
              <a:gd name="connsiteY25212" fmla="*/ 3305811 h 7458372"/>
              <a:gd name="connsiteX25213" fmla="*/ 4403746 w 10505529"/>
              <a:gd name="connsiteY25213" fmla="*/ 3315129 h 7458372"/>
              <a:gd name="connsiteX25214" fmla="*/ 4394428 w 10505529"/>
              <a:gd name="connsiteY25214" fmla="*/ 3321385 h 7458372"/>
              <a:gd name="connsiteX25215" fmla="*/ 4382713 w 10505529"/>
              <a:gd name="connsiteY25215" fmla="*/ 3323648 h 7458372"/>
              <a:gd name="connsiteX25216" fmla="*/ 4360881 w 10505529"/>
              <a:gd name="connsiteY25216" fmla="*/ 3315129 h 7458372"/>
              <a:gd name="connsiteX25217" fmla="*/ 4352495 w 10505529"/>
              <a:gd name="connsiteY25217" fmla="*/ 3293962 h 7458372"/>
              <a:gd name="connsiteX25218" fmla="*/ 4360881 w 10505529"/>
              <a:gd name="connsiteY25218" fmla="*/ 3272931 h 7458372"/>
              <a:gd name="connsiteX25219" fmla="*/ 4382713 w 10505529"/>
              <a:gd name="connsiteY25219" fmla="*/ 3264278 h 7458372"/>
              <a:gd name="connsiteX25220" fmla="*/ 4165068 w 10505529"/>
              <a:gd name="connsiteY25220" fmla="*/ 3264278 h 7458372"/>
              <a:gd name="connsiteX25221" fmla="*/ 4176782 w 10505529"/>
              <a:gd name="connsiteY25221" fmla="*/ 3266807 h 7458372"/>
              <a:gd name="connsiteX25222" fmla="*/ 4186100 w 10505529"/>
              <a:gd name="connsiteY25222" fmla="*/ 3273196 h 7458372"/>
              <a:gd name="connsiteX25223" fmla="*/ 4192223 w 10505529"/>
              <a:gd name="connsiteY25223" fmla="*/ 3282648 h 7458372"/>
              <a:gd name="connsiteX25224" fmla="*/ 4194486 w 10505529"/>
              <a:gd name="connsiteY25224" fmla="*/ 3294096 h 7458372"/>
              <a:gd name="connsiteX25225" fmla="*/ 4192223 w 10505529"/>
              <a:gd name="connsiteY25225" fmla="*/ 3305811 h 7458372"/>
              <a:gd name="connsiteX25226" fmla="*/ 4186100 w 10505529"/>
              <a:gd name="connsiteY25226" fmla="*/ 3315129 h 7458372"/>
              <a:gd name="connsiteX25227" fmla="*/ 4176782 w 10505529"/>
              <a:gd name="connsiteY25227" fmla="*/ 3321385 h 7458372"/>
              <a:gd name="connsiteX25228" fmla="*/ 4165068 w 10505529"/>
              <a:gd name="connsiteY25228" fmla="*/ 3323648 h 7458372"/>
              <a:gd name="connsiteX25229" fmla="*/ 4143235 w 10505529"/>
              <a:gd name="connsiteY25229" fmla="*/ 3315129 h 7458372"/>
              <a:gd name="connsiteX25230" fmla="*/ 4134849 w 10505529"/>
              <a:gd name="connsiteY25230" fmla="*/ 3293962 h 7458372"/>
              <a:gd name="connsiteX25231" fmla="*/ 4143235 w 10505529"/>
              <a:gd name="connsiteY25231" fmla="*/ 3272931 h 7458372"/>
              <a:gd name="connsiteX25232" fmla="*/ 4165068 w 10505529"/>
              <a:gd name="connsiteY25232" fmla="*/ 3264278 h 7458372"/>
              <a:gd name="connsiteX25233" fmla="*/ 3947605 w 10505529"/>
              <a:gd name="connsiteY25233" fmla="*/ 3264278 h 7458372"/>
              <a:gd name="connsiteX25234" fmla="*/ 3959321 w 10505529"/>
              <a:gd name="connsiteY25234" fmla="*/ 3266807 h 7458372"/>
              <a:gd name="connsiteX25235" fmla="*/ 3968639 w 10505529"/>
              <a:gd name="connsiteY25235" fmla="*/ 3273196 h 7458372"/>
              <a:gd name="connsiteX25236" fmla="*/ 3974763 w 10505529"/>
              <a:gd name="connsiteY25236" fmla="*/ 3282648 h 7458372"/>
              <a:gd name="connsiteX25237" fmla="*/ 3977027 w 10505529"/>
              <a:gd name="connsiteY25237" fmla="*/ 3294096 h 7458372"/>
              <a:gd name="connsiteX25238" fmla="*/ 3974763 w 10505529"/>
              <a:gd name="connsiteY25238" fmla="*/ 3305811 h 7458372"/>
              <a:gd name="connsiteX25239" fmla="*/ 3968639 w 10505529"/>
              <a:gd name="connsiteY25239" fmla="*/ 3315129 h 7458372"/>
              <a:gd name="connsiteX25240" fmla="*/ 3959321 w 10505529"/>
              <a:gd name="connsiteY25240" fmla="*/ 3321385 h 7458372"/>
              <a:gd name="connsiteX25241" fmla="*/ 3947605 w 10505529"/>
              <a:gd name="connsiteY25241" fmla="*/ 3323648 h 7458372"/>
              <a:gd name="connsiteX25242" fmla="*/ 3925772 w 10505529"/>
              <a:gd name="connsiteY25242" fmla="*/ 3315129 h 7458372"/>
              <a:gd name="connsiteX25243" fmla="*/ 3917386 w 10505529"/>
              <a:gd name="connsiteY25243" fmla="*/ 3293962 h 7458372"/>
              <a:gd name="connsiteX25244" fmla="*/ 3925772 w 10505529"/>
              <a:gd name="connsiteY25244" fmla="*/ 3272931 h 7458372"/>
              <a:gd name="connsiteX25245" fmla="*/ 3947605 w 10505529"/>
              <a:gd name="connsiteY25245" fmla="*/ 3264278 h 7458372"/>
              <a:gd name="connsiteX25246" fmla="*/ 3729951 w 10505529"/>
              <a:gd name="connsiteY25246" fmla="*/ 3264278 h 7458372"/>
              <a:gd name="connsiteX25247" fmla="*/ 3741666 w 10505529"/>
              <a:gd name="connsiteY25247" fmla="*/ 3266807 h 7458372"/>
              <a:gd name="connsiteX25248" fmla="*/ 3750985 w 10505529"/>
              <a:gd name="connsiteY25248" fmla="*/ 3273196 h 7458372"/>
              <a:gd name="connsiteX25249" fmla="*/ 3757108 w 10505529"/>
              <a:gd name="connsiteY25249" fmla="*/ 3282648 h 7458372"/>
              <a:gd name="connsiteX25250" fmla="*/ 3759371 w 10505529"/>
              <a:gd name="connsiteY25250" fmla="*/ 3294096 h 7458372"/>
              <a:gd name="connsiteX25251" fmla="*/ 3757108 w 10505529"/>
              <a:gd name="connsiteY25251" fmla="*/ 3305811 h 7458372"/>
              <a:gd name="connsiteX25252" fmla="*/ 3750985 w 10505529"/>
              <a:gd name="connsiteY25252" fmla="*/ 3315129 h 7458372"/>
              <a:gd name="connsiteX25253" fmla="*/ 3741666 w 10505529"/>
              <a:gd name="connsiteY25253" fmla="*/ 3321385 h 7458372"/>
              <a:gd name="connsiteX25254" fmla="*/ 3729951 w 10505529"/>
              <a:gd name="connsiteY25254" fmla="*/ 3323648 h 7458372"/>
              <a:gd name="connsiteX25255" fmla="*/ 3708115 w 10505529"/>
              <a:gd name="connsiteY25255" fmla="*/ 3315129 h 7458372"/>
              <a:gd name="connsiteX25256" fmla="*/ 3699728 w 10505529"/>
              <a:gd name="connsiteY25256" fmla="*/ 3293962 h 7458372"/>
              <a:gd name="connsiteX25257" fmla="*/ 3708115 w 10505529"/>
              <a:gd name="connsiteY25257" fmla="*/ 3272931 h 7458372"/>
              <a:gd name="connsiteX25258" fmla="*/ 3729951 w 10505529"/>
              <a:gd name="connsiteY25258" fmla="*/ 3264278 h 7458372"/>
              <a:gd name="connsiteX25259" fmla="*/ 3512297 w 10505529"/>
              <a:gd name="connsiteY25259" fmla="*/ 3264278 h 7458372"/>
              <a:gd name="connsiteX25260" fmla="*/ 3524012 w 10505529"/>
              <a:gd name="connsiteY25260" fmla="*/ 3266807 h 7458372"/>
              <a:gd name="connsiteX25261" fmla="*/ 3533330 w 10505529"/>
              <a:gd name="connsiteY25261" fmla="*/ 3273196 h 7458372"/>
              <a:gd name="connsiteX25262" fmla="*/ 3539453 w 10505529"/>
              <a:gd name="connsiteY25262" fmla="*/ 3282648 h 7458372"/>
              <a:gd name="connsiteX25263" fmla="*/ 3541716 w 10505529"/>
              <a:gd name="connsiteY25263" fmla="*/ 3294096 h 7458372"/>
              <a:gd name="connsiteX25264" fmla="*/ 3539453 w 10505529"/>
              <a:gd name="connsiteY25264" fmla="*/ 3305811 h 7458372"/>
              <a:gd name="connsiteX25265" fmla="*/ 3533330 w 10505529"/>
              <a:gd name="connsiteY25265" fmla="*/ 3315129 h 7458372"/>
              <a:gd name="connsiteX25266" fmla="*/ 3524012 w 10505529"/>
              <a:gd name="connsiteY25266" fmla="*/ 3321385 h 7458372"/>
              <a:gd name="connsiteX25267" fmla="*/ 3512297 w 10505529"/>
              <a:gd name="connsiteY25267" fmla="*/ 3323648 h 7458372"/>
              <a:gd name="connsiteX25268" fmla="*/ 3490462 w 10505529"/>
              <a:gd name="connsiteY25268" fmla="*/ 3315129 h 7458372"/>
              <a:gd name="connsiteX25269" fmla="*/ 3482075 w 10505529"/>
              <a:gd name="connsiteY25269" fmla="*/ 3293962 h 7458372"/>
              <a:gd name="connsiteX25270" fmla="*/ 3490462 w 10505529"/>
              <a:gd name="connsiteY25270" fmla="*/ 3272931 h 7458372"/>
              <a:gd name="connsiteX25271" fmla="*/ 3512297 w 10505529"/>
              <a:gd name="connsiteY25271" fmla="*/ 3264278 h 7458372"/>
              <a:gd name="connsiteX25272" fmla="*/ 3294775 w 10505529"/>
              <a:gd name="connsiteY25272" fmla="*/ 3264278 h 7458372"/>
              <a:gd name="connsiteX25273" fmla="*/ 3306491 w 10505529"/>
              <a:gd name="connsiteY25273" fmla="*/ 3266807 h 7458372"/>
              <a:gd name="connsiteX25274" fmla="*/ 3315809 w 10505529"/>
              <a:gd name="connsiteY25274" fmla="*/ 3273196 h 7458372"/>
              <a:gd name="connsiteX25275" fmla="*/ 3321932 w 10505529"/>
              <a:gd name="connsiteY25275" fmla="*/ 3282648 h 7458372"/>
              <a:gd name="connsiteX25276" fmla="*/ 3324195 w 10505529"/>
              <a:gd name="connsiteY25276" fmla="*/ 3294096 h 7458372"/>
              <a:gd name="connsiteX25277" fmla="*/ 3321932 w 10505529"/>
              <a:gd name="connsiteY25277" fmla="*/ 3305811 h 7458372"/>
              <a:gd name="connsiteX25278" fmla="*/ 3315809 w 10505529"/>
              <a:gd name="connsiteY25278" fmla="*/ 3315129 h 7458372"/>
              <a:gd name="connsiteX25279" fmla="*/ 3306491 w 10505529"/>
              <a:gd name="connsiteY25279" fmla="*/ 3321385 h 7458372"/>
              <a:gd name="connsiteX25280" fmla="*/ 3294775 w 10505529"/>
              <a:gd name="connsiteY25280" fmla="*/ 3323648 h 7458372"/>
              <a:gd name="connsiteX25281" fmla="*/ 3272940 w 10505529"/>
              <a:gd name="connsiteY25281" fmla="*/ 3315129 h 7458372"/>
              <a:gd name="connsiteX25282" fmla="*/ 3264553 w 10505529"/>
              <a:gd name="connsiteY25282" fmla="*/ 3293962 h 7458372"/>
              <a:gd name="connsiteX25283" fmla="*/ 3272940 w 10505529"/>
              <a:gd name="connsiteY25283" fmla="*/ 3272931 h 7458372"/>
              <a:gd name="connsiteX25284" fmla="*/ 3294775 w 10505529"/>
              <a:gd name="connsiteY25284" fmla="*/ 3264278 h 7458372"/>
              <a:gd name="connsiteX25285" fmla="*/ 3077120 w 10505529"/>
              <a:gd name="connsiteY25285" fmla="*/ 3264278 h 7458372"/>
              <a:gd name="connsiteX25286" fmla="*/ 3088836 w 10505529"/>
              <a:gd name="connsiteY25286" fmla="*/ 3266807 h 7458372"/>
              <a:gd name="connsiteX25287" fmla="*/ 3098154 w 10505529"/>
              <a:gd name="connsiteY25287" fmla="*/ 3273196 h 7458372"/>
              <a:gd name="connsiteX25288" fmla="*/ 3104277 w 10505529"/>
              <a:gd name="connsiteY25288" fmla="*/ 3282648 h 7458372"/>
              <a:gd name="connsiteX25289" fmla="*/ 3106540 w 10505529"/>
              <a:gd name="connsiteY25289" fmla="*/ 3294096 h 7458372"/>
              <a:gd name="connsiteX25290" fmla="*/ 3104277 w 10505529"/>
              <a:gd name="connsiteY25290" fmla="*/ 3305811 h 7458372"/>
              <a:gd name="connsiteX25291" fmla="*/ 3098154 w 10505529"/>
              <a:gd name="connsiteY25291" fmla="*/ 3315129 h 7458372"/>
              <a:gd name="connsiteX25292" fmla="*/ 3088836 w 10505529"/>
              <a:gd name="connsiteY25292" fmla="*/ 3321385 h 7458372"/>
              <a:gd name="connsiteX25293" fmla="*/ 3077120 w 10505529"/>
              <a:gd name="connsiteY25293" fmla="*/ 3323648 h 7458372"/>
              <a:gd name="connsiteX25294" fmla="*/ 3055285 w 10505529"/>
              <a:gd name="connsiteY25294" fmla="*/ 3315129 h 7458372"/>
              <a:gd name="connsiteX25295" fmla="*/ 3046899 w 10505529"/>
              <a:gd name="connsiteY25295" fmla="*/ 3293962 h 7458372"/>
              <a:gd name="connsiteX25296" fmla="*/ 3055285 w 10505529"/>
              <a:gd name="connsiteY25296" fmla="*/ 3272931 h 7458372"/>
              <a:gd name="connsiteX25297" fmla="*/ 3077120 w 10505529"/>
              <a:gd name="connsiteY25297" fmla="*/ 3264278 h 7458372"/>
              <a:gd name="connsiteX25298" fmla="*/ 2859466 w 10505529"/>
              <a:gd name="connsiteY25298" fmla="*/ 3264278 h 7458372"/>
              <a:gd name="connsiteX25299" fmla="*/ 2871315 w 10505529"/>
              <a:gd name="connsiteY25299" fmla="*/ 3266807 h 7458372"/>
              <a:gd name="connsiteX25300" fmla="*/ 2880633 w 10505529"/>
              <a:gd name="connsiteY25300" fmla="*/ 3273196 h 7458372"/>
              <a:gd name="connsiteX25301" fmla="*/ 2886756 w 10505529"/>
              <a:gd name="connsiteY25301" fmla="*/ 3282648 h 7458372"/>
              <a:gd name="connsiteX25302" fmla="*/ 2889019 w 10505529"/>
              <a:gd name="connsiteY25302" fmla="*/ 3294096 h 7458372"/>
              <a:gd name="connsiteX25303" fmla="*/ 2886756 w 10505529"/>
              <a:gd name="connsiteY25303" fmla="*/ 3305811 h 7458372"/>
              <a:gd name="connsiteX25304" fmla="*/ 2880633 w 10505529"/>
              <a:gd name="connsiteY25304" fmla="*/ 3315129 h 7458372"/>
              <a:gd name="connsiteX25305" fmla="*/ 2871315 w 10505529"/>
              <a:gd name="connsiteY25305" fmla="*/ 3321385 h 7458372"/>
              <a:gd name="connsiteX25306" fmla="*/ 2859466 w 10505529"/>
              <a:gd name="connsiteY25306" fmla="*/ 3323648 h 7458372"/>
              <a:gd name="connsiteX25307" fmla="*/ 2837631 w 10505529"/>
              <a:gd name="connsiteY25307" fmla="*/ 3315129 h 7458372"/>
              <a:gd name="connsiteX25308" fmla="*/ 2829244 w 10505529"/>
              <a:gd name="connsiteY25308" fmla="*/ 3293962 h 7458372"/>
              <a:gd name="connsiteX25309" fmla="*/ 2837631 w 10505529"/>
              <a:gd name="connsiteY25309" fmla="*/ 3272931 h 7458372"/>
              <a:gd name="connsiteX25310" fmla="*/ 2859466 w 10505529"/>
              <a:gd name="connsiteY25310" fmla="*/ 3264278 h 7458372"/>
              <a:gd name="connsiteX25311" fmla="*/ 2641812 w 10505529"/>
              <a:gd name="connsiteY25311" fmla="*/ 3264278 h 7458372"/>
              <a:gd name="connsiteX25312" fmla="*/ 2653527 w 10505529"/>
              <a:gd name="connsiteY25312" fmla="*/ 3266807 h 7458372"/>
              <a:gd name="connsiteX25313" fmla="*/ 2662845 w 10505529"/>
              <a:gd name="connsiteY25313" fmla="*/ 3273196 h 7458372"/>
              <a:gd name="connsiteX25314" fmla="*/ 2668968 w 10505529"/>
              <a:gd name="connsiteY25314" fmla="*/ 3282648 h 7458372"/>
              <a:gd name="connsiteX25315" fmla="*/ 2671231 w 10505529"/>
              <a:gd name="connsiteY25315" fmla="*/ 3294096 h 7458372"/>
              <a:gd name="connsiteX25316" fmla="*/ 2668968 w 10505529"/>
              <a:gd name="connsiteY25316" fmla="*/ 3305811 h 7458372"/>
              <a:gd name="connsiteX25317" fmla="*/ 2662845 w 10505529"/>
              <a:gd name="connsiteY25317" fmla="*/ 3315129 h 7458372"/>
              <a:gd name="connsiteX25318" fmla="*/ 2653527 w 10505529"/>
              <a:gd name="connsiteY25318" fmla="*/ 3321385 h 7458372"/>
              <a:gd name="connsiteX25319" fmla="*/ 2641812 w 10505529"/>
              <a:gd name="connsiteY25319" fmla="*/ 3323648 h 7458372"/>
              <a:gd name="connsiteX25320" fmla="*/ 2619979 w 10505529"/>
              <a:gd name="connsiteY25320" fmla="*/ 3315129 h 7458372"/>
              <a:gd name="connsiteX25321" fmla="*/ 2611591 w 10505529"/>
              <a:gd name="connsiteY25321" fmla="*/ 3293962 h 7458372"/>
              <a:gd name="connsiteX25322" fmla="*/ 2619979 w 10505529"/>
              <a:gd name="connsiteY25322" fmla="*/ 3272931 h 7458372"/>
              <a:gd name="connsiteX25323" fmla="*/ 2641812 w 10505529"/>
              <a:gd name="connsiteY25323" fmla="*/ 3264278 h 7458372"/>
              <a:gd name="connsiteX25324" fmla="*/ 2424157 w 10505529"/>
              <a:gd name="connsiteY25324" fmla="*/ 3264278 h 7458372"/>
              <a:gd name="connsiteX25325" fmla="*/ 2435872 w 10505529"/>
              <a:gd name="connsiteY25325" fmla="*/ 3266807 h 7458372"/>
              <a:gd name="connsiteX25326" fmla="*/ 2445190 w 10505529"/>
              <a:gd name="connsiteY25326" fmla="*/ 3273196 h 7458372"/>
              <a:gd name="connsiteX25327" fmla="*/ 2451314 w 10505529"/>
              <a:gd name="connsiteY25327" fmla="*/ 3282648 h 7458372"/>
              <a:gd name="connsiteX25328" fmla="*/ 2453577 w 10505529"/>
              <a:gd name="connsiteY25328" fmla="*/ 3294096 h 7458372"/>
              <a:gd name="connsiteX25329" fmla="*/ 2451314 w 10505529"/>
              <a:gd name="connsiteY25329" fmla="*/ 3305811 h 7458372"/>
              <a:gd name="connsiteX25330" fmla="*/ 2445190 w 10505529"/>
              <a:gd name="connsiteY25330" fmla="*/ 3315129 h 7458372"/>
              <a:gd name="connsiteX25331" fmla="*/ 2435872 w 10505529"/>
              <a:gd name="connsiteY25331" fmla="*/ 3321385 h 7458372"/>
              <a:gd name="connsiteX25332" fmla="*/ 2424157 w 10505529"/>
              <a:gd name="connsiteY25332" fmla="*/ 3323648 h 7458372"/>
              <a:gd name="connsiteX25333" fmla="*/ 2402325 w 10505529"/>
              <a:gd name="connsiteY25333" fmla="*/ 3315129 h 7458372"/>
              <a:gd name="connsiteX25334" fmla="*/ 2393937 w 10505529"/>
              <a:gd name="connsiteY25334" fmla="*/ 3293962 h 7458372"/>
              <a:gd name="connsiteX25335" fmla="*/ 2402325 w 10505529"/>
              <a:gd name="connsiteY25335" fmla="*/ 3272931 h 7458372"/>
              <a:gd name="connsiteX25336" fmla="*/ 2424157 w 10505529"/>
              <a:gd name="connsiteY25336" fmla="*/ 3264278 h 7458372"/>
              <a:gd name="connsiteX25337" fmla="*/ 2206503 w 10505529"/>
              <a:gd name="connsiteY25337" fmla="*/ 3264278 h 7458372"/>
              <a:gd name="connsiteX25338" fmla="*/ 2218218 w 10505529"/>
              <a:gd name="connsiteY25338" fmla="*/ 3266807 h 7458372"/>
              <a:gd name="connsiteX25339" fmla="*/ 2227536 w 10505529"/>
              <a:gd name="connsiteY25339" fmla="*/ 3273196 h 7458372"/>
              <a:gd name="connsiteX25340" fmla="*/ 2233659 w 10505529"/>
              <a:gd name="connsiteY25340" fmla="*/ 3282648 h 7458372"/>
              <a:gd name="connsiteX25341" fmla="*/ 2235922 w 10505529"/>
              <a:gd name="connsiteY25341" fmla="*/ 3294096 h 7458372"/>
              <a:gd name="connsiteX25342" fmla="*/ 2233659 w 10505529"/>
              <a:gd name="connsiteY25342" fmla="*/ 3305811 h 7458372"/>
              <a:gd name="connsiteX25343" fmla="*/ 2227536 w 10505529"/>
              <a:gd name="connsiteY25343" fmla="*/ 3315129 h 7458372"/>
              <a:gd name="connsiteX25344" fmla="*/ 2218218 w 10505529"/>
              <a:gd name="connsiteY25344" fmla="*/ 3321385 h 7458372"/>
              <a:gd name="connsiteX25345" fmla="*/ 2206503 w 10505529"/>
              <a:gd name="connsiteY25345" fmla="*/ 3323648 h 7458372"/>
              <a:gd name="connsiteX25346" fmla="*/ 2184670 w 10505529"/>
              <a:gd name="connsiteY25346" fmla="*/ 3315129 h 7458372"/>
              <a:gd name="connsiteX25347" fmla="*/ 2176283 w 10505529"/>
              <a:gd name="connsiteY25347" fmla="*/ 3293962 h 7458372"/>
              <a:gd name="connsiteX25348" fmla="*/ 2184670 w 10505529"/>
              <a:gd name="connsiteY25348" fmla="*/ 3272931 h 7458372"/>
              <a:gd name="connsiteX25349" fmla="*/ 2206503 w 10505529"/>
              <a:gd name="connsiteY25349" fmla="*/ 3264278 h 7458372"/>
              <a:gd name="connsiteX25350" fmla="*/ 1988981 w 10505529"/>
              <a:gd name="connsiteY25350" fmla="*/ 3264278 h 7458372"/>
              <a:gd name="connsiteX25351" fmla="*/ 2000696 w 10505529"/>
              <a:gd name="connsiteY25351" fmla="*/ 3266807 h 7458372"/>
              <a:gd name="connsiteX25352" fmla="*/ 2010014 w 10505529"/>
              <a:gd name="connsiteY25352" fmla="*/ 3273196 h 7458372"/>
              <a:gd name="connsiteX25353" fmla="*/ 2016137 w 10505529"/>
              <a:gd name="connsiteY25353" fmla="*/ 3282648 h 7458372"/>
              <a:gd name="connsiteX25354" fmla="*/ 2018400 w 10505529"/>
              <a:gd name="connsiteY25354" fmla="*/ 3294096 h 7458372"/>
              <a:gd name="connsiteX25355" fmla="*/ 2016137 w 10505529"/>
              <a:gd name="connsiteY25355" fmla="*/ 3305811 h 7458372"/>
              <a:gd name="connsiteX25356" fmla="*/ 2010014 w 10505529"/>
              <a:gd name="connsiteY25356" fmla="*/ 3315129 h 7458372"/>
              <a:gd name="connsiteX25357" fmla="*/ 2000696 w 10505529"/>
              <a:gd name="connsiteY25357" fmla="*/ 3321385 h 7458372"/>
              <a:gd name="connsiteX25358" fmla="*/ 1988981 w 10505529"/>
              <a:gd name="connsiteY25358" fmla="*/ 3323648 h 7458372"/>
              <a:gd name="connsiteX25359" fmla="*/ 1967150 w 10505529"/>
              <a:gd name="connsiteY25359" fmla="*/ 3315129 h 7458372"/>
              <a:gd name="connsiteX25360" fmla="*/ 1958763 w 10505529"/>
              <a:gd name="connsiteY25360" fmla="*/ 3293962 h 7458372"/>
              <a:gd name="connsiteX25361" fmla="*/ 1967150 w 10505529"/>
              <a:gd name="connsiteY25361" fmla="*/ 3272931 h 7458372"/>
              <a:gd name="connsiteX25362" fmla="*/ 1988981 w 10505529"/>
              <a:gd name="connsiteY25362" fmla="*/ 3264278 h 7458372"/>
              <a:gd name="connsiteX25363" fmla="*/ 1771343 w 10505529"/>
              <a:gd name="connsiteY25363" fmla="*/ 3264278 h 7458372"/>
              <a:gd name="connsiteX25364" fmla="*/ 1783057 w 10505529"/>
              <a:gd name="connsiteY25364" fmla="*/ 3266807 h 7458372"/>
              <a:gd name="connsiteX25365" fmla="*/ 1792375 w 10505529"/>
              <a:gd name="connsiteY25365" fmla="*/ 3273196 h 7458372"/>
              <a:gd name="connsiteX25366" fmla="*/ 1798498 w 10505529"/>
              <a:gd name="connsiteY25366" fmla="*/ 3282648 h 7458372"/>
              <a:gd name="connsiteX25367" fmla="*/ 1800760 w 10505529"/>
              <a:gd name="connsiteY25367" fmla="*/ 3294096 h 7458372"/>
              <a:gd name="connsiteX25368" fmla="*/ 1798498 w 10505529"/>
              <a:gd name="connsiteY25368" fmla="*/ 3305811 h 7458372"/>
              <a:gd name="connsiteX25369" fmla="*/ 1792375 w 10505529"/>
              <a:gd name="connsiteY25369" fmla="*/ 3315129 h 7458372"/>
              <a:gd name="connsiteX25370" fmla="*/ 1783057 w 10505529"/>
              <a:gd name="connsiteY25370" fmla="*/ 3321385 h 7458372"/>
              <a:gd name="connsiteX25371" fmla="*/ 1771343 w 10505529"/>
              <a:gd name="connsiteY25371" fmla="*/ 3323648 h 7458372"/>
              <a:gd name="connsiteX25372" fmla="*/ 1749513 w 10505529"/>
              <a:gd name="connsiteY25372" fmla="*/ 3315129 h 7458372"/>
              <a:gd name="connsiteX25373" fmla="*/ 1741128 w 10505529"/>
              <a:gd name="connsiteY25373" fmla="*/ 3293962 h 7458372"/>
              <a:gd name="connsiteX25374" fmla="*/ 1749513 w 10505529"/>
              <a:gd name="connsiteY25374" fmla="*/ 3272931 h 7458372"/>
              <a:gd name="connsiteX25375" fmla="*/ 1771343 w 10505529"/>
              <a:gd name="connsiteY25375" fmla="*/ 3264278 h 7458372"/>
              <a:gd name="connsiteX25376" fmla="*/ 1553702 w 10505529"/>
              <a:gd name="connsiteY25376" fmla="*/ 3264278 h 7458372"/>
              <a:gd name="connsiteX25377" fmla="*/ 1565417 w 10505529"/>
              <a:gd name="connsiteY25377" fmla="*/ 3266807 h 7458372"/>
              <a:gd name="connsiteX25378" fmla="*/ 1574735 w 10505529"/>
              <a:gd name="connsiteY25378" fmla="*/ 3273196 h 7458372"/>
              <a:gd name="connsiteX25379" fmla="*/ 1580858 w 10505529"/>
              <a:gd name="connsiteY25379" fmla="*/ 3282648 h 7458372"/>
              <a:gd name="connsiteX25380" fmla="*/ 1583121 w 10505529"/>
              <a:gd name="connsiteY25380" fmla="*/ 3294096 h 7458372"/>
              <a:gd name="connsiteX25381" fmla="*/ 1580858 w 10505529"/>
              <a:gd name="connsiteY25381" fmla="*/ 3305811 h 7458372"/>
              <a:gd name="connsiteX25382" fmla="*/ 1574735 w 10505529"/>
              <a:gd name="connsiteY25382" fmla="*/ 3315129 h 7458372"/>
              <a:gd name="connsiteX25383" fmla="*/ 1565417 w 10505529"/>
              <a:gd name="connsiteY25383" fmla="*/ 3321385 h 7458372"/>
              <a:gd name="connsiteX25384" fmla="*/ 1553702 w 10505529"/>
              <a:gd name="connsiteY25384" fmla="*/ 3323648 h 7458372"/>
              <a:gd name="connsiteX25385" fmla="*/ 1531871 w 10505529"/>
              <a:gd name="connsiteY25385" fmla="*/ 3315129 h 7458372"/>
              <a:gd name="connsiteX25386" fmla="*/ 1523486 w 10505529"/>
              <a:gd name="connsiteY25386" fmla="*/ 3293962 h 7458372"/>
              <a:gd name="connsiteX25387" fmla="*/ 1531871 w 10505529"/>
              <a:gd name="connsiteY25387" fmla="*/ 3272931 h 7458372"/>
              <a:gd name="connsiteX25388" fmla="*/ 1553702 w 10505529"/>
              <a:gd name="connsiteY25388" fmla="*/ 3264278 h 7458372"/>
              <a:gd name="connsiteX25389" fmla="*/ 1336057 w 10505529"/>
              <a:gd name="connsiteY25389" fmla="*/ 3264278 h 7458372"/>
              <a:gd name="connsiteX25390" fmla="*/ 1347774 w 10505529"/>
              <a:gd name="connsiteY25390" fmla="*/ 3266807 h 7458372"/>
              <a:gd name="connsiteX25391" fmla="*/ 1357092 w 10505529"/>
              <a:gd name="connsiteY25391" fmla="*/ 3273196 h 7458372"/>
              <a:gd name="connsiteX25392" fmla="*/ 1363214 w 10505529"/>
              <a:gd name="connsiteY25392" fmla="*/ 3282648 h 7458372"/>
              <a:gd name="connsiteX25393" fmla="*/ 1365477 w 10505529"/>
              <a:gd name="connsiteY25393" fmla="*/ 3294096 h 7458372"/>
              <a:gd name="connsiteX25394" fmla="*/ 1363214 w 10505529"/>
              <a:gd name="connsiteY25394" fmla="*/ 3305811 h 7458372"/>
              <a:gd name="connsiteX25395" fmla="*/ 1357092 w 10505529"/>
              <a:gd name="connsiteY25395" fmla="*/ 3315129 h 7458372"/>
              <a:gd name="connsiteX25396" fmla="*/ 1347774 w 10505529"/>
              <a:gd name="connsiteY25396" fmla="*/ 3321385 h 7458372"/>
              <a:gd name="connsiteX25397" fmla="*/ 1336057 w 10505529"/>
              <a:gd name="connsiteY25397" fmla="*/ 3323648 h 7458372"/>
              <a:gd name="connsiteX25398" fmla="*/ 1314226 w 10505529"/>
              <a:gd name="connsiteY25398" fmla="*/ 3315129 h 7458372"/>
              <a:gd name="connsiteX25399" fmla="*/ 1305840 w 10505529"/>
              <a:gd name="connsiteY25399" fmla="*/ 3293962 h 7458372"/>
              <a:gd name="connsiteX25400" fmla="*/ 1314226 w 10505529"/>
              <a:gd name="connsiteY25400" fmla="*/ 3272931 h 7458372"/>
              <a:gd name="connsiteX25401" fmla="*/ 1336057 w 10505529"/>
              <a:gd name="connsiteY25401" fmla="*/ 3264278 h 7458372"/>
              <a:gd name="connsiteX25402" fmla="*/ 1118413 w 10505529"/>
              <a:gd name="connsiteY25402" fmla="*/ 3264278 h 7458372"/>
              <a:gd name="connsiteX25403" fmla="*/ 1130130 w 10505529"/>
              <a:gd name="connsiteY25403" fmla="*/ 3266807 h 7458372"/>
              <a:gd name="connsiteX25404" fmla="*/ 1139446 w 10505529"/>
              <a:gd name="connsiteY25404" fmla="*/ 3273196 h 7458372"/>
              <a:gd name="connsiteX25405" fmla="*/ 1145567 w 10505529"/>
              <a:gd name="connsiteY25405" fmla="*/ 3282648 h 7458372"/>
              <a:gd name="connsiteX25406" fmla="*/ 1147830 w 10505529"/>
              <a:gd name="connsiteY25406" fmla="*/ 3294096 h 7458372"/>
              <a:gd name="connsiteX25407" fmla="*/ 1145567 w 10505529"/>
              <a:gd name="connsiteY25407" fmla="*/ 3305811 h 7458372"/>
              <a:gd name="connsiteX25408" fmla="*/ 1139446 w 10505529"/>
              <a:gd name="connsiteY25408" fmla="*/ 3315129 h 7458372"/>
              <a:gd name="connsiteX25409" fmla="*/ 1130130 w 10505529"/>
              <a:gd name="connsiteY25409" fmla="*/ 3321385 h 7458372"/>
              <a:gd name="connsiteX25410" fmla="*/ 1118413 w 10505529"/>
              <a:gd name="connsiteY25410" fmla="*/ 3323648 h 7458372"/>
              <a:gd name="connsiteX25411" fmla="*/ 1096579 w 10505529"/>
              <a:gd name="connsiteY25411" fmla="*/ 3315129 h 7458372"/>
              <a:gd name="connsiteX25412" fmla="*/ 1088194 w 10505529"/>
              <a:gd name="connsiteY25412" fmla="*/ 3293962 h 7458372"/>
              <a:gd name="connsiteX25413" fmla="*/ 1096579 w 10505529"/>
              <a:gd name="connsiteY25413" fmla="*/ 3272931 h 7458372"/>
              <a:gd name="connsiteX25414" fmla="*/ 1118413 w 10505529"/>
              <a:gd name="connsiteY25414" fmla="*/ 3264278 h 7458372"/>
              <a:gd name="connsiteX25415" fmla="*/ 900900 w 10505529"/>
              <a:gd name="connsiteY25415" fmla="*/ 3264278 h 7458372"/>
              <a:gd name="connsiteX25416" fmla="*/ 912615 w 10505529"/>
              <a:gd name="connsiteY25416" fmla="*/ 3266807 h 7458372"/>
              <a:gd name="connsiteX25417" fmla="*/ 921934 w 10505529"/>
              <a:gd name="connsiteY25417" fmla="*/ 3273196 h 7458372"/>
              <a:gd name="connsiteX25418" fmla="*/ 928056 w 10505529"/>
              <a:gd name="connsiteY25418" fmla="*/ 3282648 h 7458372"/>
              <a:gd name="connsiteX25419" fmla="*/ 930319 w 10505529"/>
              <a:gd name="connsiteY25419" fmla="*/ 3294096 h 7458372"/>
              <a:gd name="connsiteX25420" fmla="*/ 928056 w 10505529"/>
              <a:gd name="connsiteY25420" fmla="*/ 3305811 h 7458372"/>
              <a:gd name="connsiteX25421" fmla="*/ 921934 w 10505529"/>
              <a:gd name="connsiteY25421" fmla="*/ 3315129 h 7458372"/>
              <a:gd name="connsiteX25422" fmla="*/ 912615 w 10505529"/>
              <a:gd name="connsiteY25422" fmla="*/ 3321385 h 7458372"/>
              <a:gd name="connsiteX25423" fmla="*/ 900900 w 10505529"/>
              <a:gd name="connsiteY25423" fmla="*/ 3323648 h 7458372"/>
              <a:gd name="connsiteX25424" fmla="*/ 879069 w 10505529"/>
              <a:gd name="connsiteY25424" fmla="*/ 3315129 h 7458372"/>
              <a:gd name="connsiteX25425" fmla="*/ 870684 w 10505529"/>
              <a:gd name="connsiteY25425" fmla="*/ 3293962 h 7458372"/>
              <a:gd name="connsiteX25426" fmla="*/ 879069 w 10505529"/>
              <a:gd name="connsiteY25426" fmla="*/ 3272931 h 7458372"/>
              <a:gd name="connsiteX25427" fmla="*/ 900900 w 10505529"/>
              <a:gd name="connsiteY25427" fmla="*/ 3264278 h 7458372"/>
              <a:gd name="connsiteX25428" fmla="*/ 683258 w 10505529"/>
              <a:gd name="connsiteY25428" fmla="*/ 3264278 h 7458372"/>
              <a:gd name="connsiteX25429" fmla="*/ 694974 w 10505529"/>
              <a:gd name="connsiteY25429" fmla="*/ 3266807 h 7458372"/>
              <a:gd name="connsiteX25430" fmla="*/ 704291 w 10505529"/>
              <a:gd name="connsiteY25430" fmla="*/ 3273196 h 7458372"/>
              <a:gd name="connsiteX25431" fmla="*/ 710414 w 10505529"/>
              <a:gd name="connsiteY25431" fmla="*/ 3282648 h 7458372"/>
              <a:gd name="connsiteX25432" fmla="*/ 712677 w 10505529"/>
              <a:gd name="connsiteY25432" fmla="*/ 3294096 h 7458372"/>
              <a:gd name="connsiteX25433" fmla="*/ 710414 w 10505529"/>
              <a:gd name="connsiteY25433" fmla="*/ 3305811 h 7458372"/>
              <a:gd name="connsiteX25434" fmla="*/ 704291 w 10505529"/>
              <a:gd name="connsiteY25434" fmla="*/ 3315129 h 7458372"/>
              <a:gd name="connsiteX25435" fmla="*/ 694974 w 10505529"/>
              <a:gd name="connsiteY25435" fmla="*/ 3321385 h 7458372"/>
              <a:gd name="connsiteX25436" fmla="*/ 683258 w 10505529"/>
              <a:gd name="connsiteY25436" fmla="*/ 3323648 h 7458372"/>
              <a:gd name="connsiteX25437" fmla="*/ 661427 w 10505529"/>
              <a:gd name="connsiteY25437" fmla="*/ 3315129 h 7458372"/>
              <a:gd name="connsiteX25438" fmla="*/ 653041 w 10505529"/>
              <a:gd name="connsiteY25438" fmla="*/ 3293962 h 7458372"/>
              <a:gd name="connsiteX25439" fmla="*/ 661427 w 10505529"/>
              <a:gd name="connsiteY25439" fmla="*/ 3272931 h 7458372"/>
              <a:gd name="connsiteX25440" fmla="*/ 683258 w 10505529"/>
              <a:gd name="connsiteY25440" fmla="*/ 3264278 h 7458372"/>
              <a:gd name="connsiteX25441" fmla="*/ 465615 w 10505529"/>
              <a:gd name="connsiteY25441" fmla="*/ 3264278 h 7458372"/>
              <a:gd name="connsiteX25442" fmla="*/ 477331 w 10505529"/>
              <a:gd name="connsiteY25442" fmla="*/ 3266807 h 7458372"/>
              <a:gd name="connsiteX25443" fmla="*/ 486649 w 10505529"/>
              <a:gd name="connsiteY25443" fmla="*/ 3273196 h 7458372"/>
              <a:gd name="connsiteX25444" fmla="*/ 492772 w 10505529"/>
              <a:gd name="connsiteY25444" fmla="*/ 3282648 h 7458372"/>
              <a:gd name="connsiteX25445" fmla="*/ 495035 w 10505529"/>
              <a:gd name="connsiteY25445" fmla="*/ 3294096 h 7458372"/>
              <a:gd name="connsiteX25446" fmla="*/ 492772 w 10505529"/>
              <a:gd name="connsiteY25446" fmla="*/ 3305811 h 7458372"/>
              <a:gd name="connsiteX25447" fmla="*/ 486649 w 10505529"/>
              <a:gd name="connsiteY25447" fmla="*/ 3315129 h 7458372"/>
              <a:gd name="connsiteX25448" fmla="*/ 477331 w 10505529"/>
              <a:gd name="connsiteY25448" fmla="*/ 3321385 h 7458372"/>
              <a:gd name="connsiteX25449" fmla="*/ 465615 w 10505529"/>
              <a:gd name="connsiteY25449" fmla="*/ 3323648 h 7458372"/>
              <a:gd name="connsiteX25450" fmla="*/ 443784 w 10505529"/>
              <a:gd name="connsiteY25450" fmla="*/ 3315129 h 7458372"/>
              <a:gd name="connsiteX25451" fmla="*/ 435398 w 10505529"/>
              <a:gd name="connsiteY25451" fmla="*/ 3293962 h 7458372"/>
              <a:gd name="connsiteX25452" fmla="*/ 443784 w 10505529"/>
              <a:gd name="connsiteY25452" fmla="*/ 3272931 h 7458372"/>
              <a:gd name="connsiteX25453" fmla="*/ 465615 w 10505529"/>
              <a:gd name="connsiteY25453" fmla="*/ 3264278 h 7458372"/>
              <a:gd name="connsiteX25454" fmla="*/ 247973 w 10505529"/>
              <a:gd name="connsiteY25454" fmla="*/ 3264278 h 7458372"/>
              <a:gd name="connsiteX25455" fmla="*/ 259687 w 10505529"/>
              <a:gd name="connsiteY25455" fmla="*/ 3266807 h 7458372"/>
              <a:gd name="connsiteX25456" fmla="*/ 269006 w 10505529"/>
              <a:gd name="connsiteY25456" fmla="*/ 3273196 h 7458372"/>
              <a:gd name="connsiteX25457" fmla="*/ 275129 w 10505529"/>
              <a:gd name="connsiteY25457" fmla="*/ 3282648 h 7458372"/>
              <a:gd name="connsiteX25458" fmla="*/ 277392 w 10505529"/>
              <a:gd name="connsiteY25458" fmla="*/ 3294096 h 7458372"/>
              <a:gd name="connsiteX25459" fmla="*/ 275129 w 10505529"/>
              <a:gd name="connsiteY25459" fmla="*/ 3305811 h 7458372"/>
              <a:gd name="connsiteX25460" fmla="*/ 269006 w 10505529"/>
              <a:gd name="connsiteY25460" fmla="*/ 3315129 h 7458372"/>
              <a:gd name="connsiteX25461" fmla="*/ 259687 w 10505529"/>
              <a:gd name="connsiteY25461" fmla="*/ 3321385 h 7458372"/>
              <a:gd name="connsiteX25462" fmla="*/ 247973 w 10505529"/>
              <a:gd name="connsiteY25462" fmla="*/ 3323648 h 7458372"/>
              <a:gd name="connsiteX25463" fmla="*/ 226142 w 10505529"/>
              <a:gd name="connsiteY25463" fmla="*/ 3315129 h 7458372"/>
              <a:gd name="connsiteX25464" fmla="*/ 217757 w 10505529"/>
              <a:gd name="connsiteY25464" fmla="*/ 3293962 h 7458372"/>
              <a:gd name="connsiteX25465" fmla="*/ 226142 w 10505529"/>
              <a:gd name="connsiteY25465" fmla="*/ 3272931 h 7458372"/>
              <a:gd name="connsiteX25466" fmla="*/ 247973 w 10505529"/>
              <a:gd name="connsiteY25466" fmla="*/ 3264278 h 7458372"/>
              <a:gd name="connsiteX25467" fmla="*/ 30330 w 10505529"/>
              <a:gd name="connsiteY25467" fmla="*/ 3264278 h 7458372"/>
              <a:gd name="connsiteX25468" fmla="*/ 42045 w 10505529"/>
              <a:gd name="connsiteY25468" fmla="*/ 3266807 h 7458372"/>
              <a:gd name="connsiteX25469" fmla="*/ 51363 w 10505529"/>
              <a:gd name="connsiteY25469" fmla="*/ 3273196 h 7458372"/>
              <a:gd name="connsiteX25470" fmla="*/ 57486 w 10505529"/>
              <a:gd name="connsiteY25470" fmla="*/ 3282648 h 7458372"/>
              <a:gd name="connsiteX25471" fmla="*/ 59749 w 10505529"/>
              <a:gd name="connsiteY25471" fmla="*/ 3294096 h 7458372"/>
              <a:gd name="connsiteX25472" fmla="*/ 57486 w 10505529"/>
              <a:gd name="connsiteY25472" fmla="*/ 3305811 h 7458372"/>
              <a:gd name="connsiteX25473" fmla="*/ 51363 w 10505529"/>
              <a:gd name="connsiteY25473" fmla="*/ 3315129 h 7458372"/>
              <a:gd name="connsiteX25474" fmla="*/ 42045 w 10505529"/>
              <a:gd name="connsiteY25474" fmla="*/ 3321385 h 7458372"/>
              <a:gd name="connsiteX25475" fmla="*/ 30330 w 10505529"/>
              <a:gd name="connsiteY25475" fmla="*/ 3323648 h 7458372"/>
              <a:gd name="connsiteX25476" fmla="*/ 8501 w 10505529"/>
              <a:gd name="connsiteY25476" fmla="*/ 3315129 h 7458372"/>
              <a:gd name="connsiteX25477" fmla="*/ 115 w 10505529"/>
              <a:gd name="connsiteY25477" fmla="*/ 3293962 h 7458372"/>
              <a:gd name="connsiteX25478" fmla="*/ 8501 w 10505529"/>
              <a:gd name="connsiteY25478" fmla="*/ 3272931 h 7458372"/>
              <a:gd name="connsiteX25479" fmla="*/ 30330 w 10505529"/>
              <a:gd name="connsiteY25479" fmla="*/ 3264278 h 7458372"/>
              <a:gd name="connsiteX25480" fmla="*/ 10475977 w 10505529"/>
              <a:gd name="connsiteY25480" fmla="*/ 3063272 h 7458372"/>
              <a:gd name="connsiteX25481" fmla="*/ 10465992 w 10505529"/>
              <a:gd name="connsiteY25481" fmla="*/ 3066867 h 7458372"/>
              <a:gd name="connsiteX25482" fmla="*/ 10462399 w 10505529"/>
              <a:gd name="connsiteY25482" fmla="*/ 3076318 h 7458372"/>
              <a:gd name="connsiteX25483" fmla="*/ 10465992 w 10505529"/>
              <a:gd name="connsiteY25483" fmla="*/ 3085769 h 7458372"/>
              <a:gd name="connsiteX25484" fmla="*/ 10475977 w 10505529"/>
              <a:gd name="connsiteY25484" fmla="*/ 3089230 h 7458372"/>
              <a:gd name="connsiteX25485" fmla="*/ 10481302 w 10505529"/>
              <a:gd name="connsiteY25485" fmla="*/ 3088298 h 7458372"/>
              <a:gd name="connsiteX25486" fmla="*/ 10485029 w 10505529"/>
              <a:gd name="connsiteY25486" fmla="*/ 3085902 h 7458372"/>
              <a:gd name="connsiteX25487" fmla="*/ 10487691 w 10505529"/>
              <a:gd name="connsiteY25487" fmla="*/ 3081776 h 7458372"/>
              <a:gd name="connsiteX25488" fmla="*/ 10488623 w 10505529"/>
              <a:gd name="connsiteY25488" fmla="*/ 3076318 h 7458372"/>
              <a:gd name="connsiteX25489" fmla="*/ 10487691 w 10505529"/>
              <a:gd name="connsiteY25489" fmla="*/ 3071126 h 7458372"/>
              <a:gd name="connsiteX25490" fmla="*/ 10485029 w 10505529"/>
              <a:gd name="connsiteY25490" fmla="*/ 3066867 h 7458372"/>
              <a:gd name="connsiteX25491" fmla="*/ 10481035 w 10505529"/>
              <a:gd name="connsiteY25491" fmla="*/ 3064204 h 7458372"/>
              <a:gd name="connsiteX25492" fmla="*/ 10475977 w 10505529"/>
              <a:gd name="connsiteY25492" fmla="*/ 3063272 h 7458372"/>
              <a:gd name="connsiteX25493" fmla="*/ 10258466 w 10505529"/>
              <a:gd name="connsiteY25493" fmla="*/ 3063272 h 7458372"/>
              <a:gd name="connsiteX25494" fmla="*/ 10248481 w 10505529"/>
              <a:gd name="connsiteY25494" fmla="*/ 3066867 h 7458372"/>
              <a:gd name="connsiteX25495" fmla="*/ 10244887 w 10505529"/>
              <a:gd name="connsiteY25495" fmla="*/ 3076318 h 7458372"/>
              <a:gd name="connsiteX25496" fmla="*/ 10248481 w 10505529"/>
              <a:gd name="connsiteY25496" fmla="*/ 3085769 h 7458372"/>
              <a:gd name="connsiteX25497" fmla="*/ 10258466 w 10505529"/>
              <a:gd name="connsiteY25497" fmla="*/ 3089230 h 7458372"/>
              <a:gd name="connsiteX25498" fmla="*/ 10263790 w 10505529"/>
              <a:gd name="connsiteY25498" fmla="*/ 3088298 h 7458372"/>
              <a:gd name="connsiteX25499" fmla="*/ 10267517 w 10505529"/>
              <a:gd name="connsiteY25499" fmla="*/ 3085902 h 7458372"/>
              <a:gd name="connsiteX25500" fmla="*/ 10270180 w 10505529"/>
              <a:gd name="connsiteY25500" fmla="*/ 3081776 h 7458372"/>
              <a:gd name="connsiteX25501" fmla="*/ 10271112 w 10505529"/>
              <a:gd name="connsiteY25501" fmla="*/ 3076318 h 7458372"/>
              <a:gd name="connsiteX25502" fmla="*/ 10270180 w 10505529"/>
              <a:gd name="connsiteY25502" fmla="*/ 3071126 h 7458372"/>
              <a:gd name="connsiteX25503" fmla="*/ 10267517 w 10505529"/>
              <a:gd name="connsiteY25503" fmla="*/ 3066867 h 7458372"/>
              <a:gd name="connsiteX25504" fmla="*/ 10263524 w 10505529"/>
              <a:gd name="connsiteY25504" fmla="*/ 3064204 h 7458372"/>
              <a:gd name="connsiteX25505" fmla="*/ 10258466 w 10505529"/>
              <a:gd name="connsiteY25505" fmla="*/ 3063272 h 7458372"/>
              <a:gd name="connsiteX25506" fmla="*/ 10040820 w 10505529"/>
              <a:gd name="connsiteY25506" fmla="*/ 3063272 h 7458372"/>
              <a:gd name="connsiteX25507" fmla="*/ 10030835 w 10505529"/>
              <a:gd name="connsiteY25507" fmla="*/ 3066867 h 7458372"/>
              <a:gd name="connsiteX25508" fmla="*/ 10027242 w 10505529"/>
              <a:gd name="connsiteY25508" fmla="*/ 3076318 h 7458372"/>
              <a:gd name="connsiteX25509" fmla="*/ 10030835 w 10505529"/>
              <a:gd name="connsiteY25509" fmla="*/ 3085769 h 7458372"/>
              <a:gd name="connsiteX25510" fmla="*/ 10040820 w 10505529"/>
              <a:gd name="connsiteY25510" fmla="*/ 3089230 h 7458372"/>
              <a:gd name="connsiteX25511" fmla="*/ 10046145 w 10505529"/>
              <a:gd name="connsiteY25511" fmla="*/ 3088298 h 7458372"/>
              <a:gd name="connsiteX25512" fmla="*/ 10049872 w 10505529"/>
              <a:gd name="connsiteY25512" fmla="*/ 3085902 h 7458372"/>
              <a:gd name="connsiteX25513" fmla="*/ 10052534 w 10505529"/>
              <a:gd name="connsiteY25513" fmla="*/ 3081776 h 7458372"/>
              <a:gd name="connsiteX25514" fmla="*/ 10053599 w 10505529"/>
              <a:gd name="connsiteY25514" fmla="*/ 3076318 h 7458372"/>
              <a:gd name="connsiteX25515" fmla="*/ 10052534 w 10505529"/>
              <a:gd name="connsiteY25515" fmla="*/ 3071126 h 7458372"/>
              <a:gd name="connsiteX25516" fmla="*/ 10049872 w 10505529"/>
              <a:gd name="connsiteY25516" fmla="*/ 3066867 h 7458372"/>
              <a:gd name="connsiteX25517" fmla="*/ 10045878 w 10505529"/>
              <a:gd name="connsiteY25517" fmla="*/ 3064204 h 7458372"/>
              <a:gd name="connsiteX25518" fmla="*/ 10040820 w 10505529"/>
              <a:gd name="connsiteY25518" fmla="*/ 3063272 h 7458372"/>
              <a:gd name="connsiteX25519" fmla="*/ 9823176 w 10505529"/>
              <a:gd name="connsiteY25519" fmla="*/ 3063272 h 7458372"/>
              <a:gd name="connsiteX25520" fmla="*/ 9813191 w 10505529"/>
              <a:gd name="connsiteY25520" fmla="*/ 3066867 h 7458372"/>
              <a:gd name="connsiteX25521" fmla="*/ 9809597 w 10505529"/>
              <a:gd name="connsiteY25521" fmla="*/ 3076318 h 7458372"/>
              <a:gd name="connsiteX25522" fmla="*/ 9813191 w 10505529"/>
              <a:gd name="connsiteY25522" fmla="*/ 3085769 h 7458372"/>
              <a:gd name="connsiteX25523" fmla="*/ 9823176 w 10505529"/>
              <a:gd name="connsiteY25523" fmla="*/ 3089230 h 7458372"/>
              <a:gd name="connsiteX25524" fmla="*/ 9828501 w 10505529"/>
              <a:gd name="connsiteY25524" fmla="*/ 3088298 h 7458372"/>
              <a:gd name="connsiteX25525" fmla="*/ 9832227 w 10505529"/>
              <a:gd name="connsiteY25525" fmla="*/ 3085902 h 7458372"/>
              <a:gd name="connsiteX25526" fmla="*/ 9834890 w 10505529"/>
              <a:gd name="connsiteY25526" fmla="*/ 3081776 h 7458372"/>
              <a:gd name="connsiteX25527" fmla="*/ 9835955 w 10505529"/>
              <a:gd name="connsiteY25527" fmla="*/ 3076318 h 7458372"/>
              <a:gd name="connsiteX25528" fmla="*/ 9834890 w 10505529"/>
              <a:gd name="connsiteY25528" fmla="*/ 3071126 h 7458372"/>
              <a:gd name="connsiteX25529" fmla="*/ 9832227 w 10505529"/>
              <a:gd name="connsiteY25529" fmla="*/ 3066867 h 7458372"/>
              <a:gd name="connsiteX25530" fmla="*/ 9828234 w 10505529"/>
              <a:gd name="connsiteY25530" fmla="*/ 3064204 h 7458372"/>
              <a:gd name="connsiteX25531" fmla="*/ 9823176 w 10505529"/>
              <a:gd name="connsiteY25531" fmla="*/ 3063272 h 7458372"/>
              <a:gd name="connsiteX25532" fmla="*/ 9605531 w 10505529"/>
              <a:gd name="connsiteY25532" fmla="*/ 3063272 h 7458372"/>
              <a:gd name="connsiteX25533" fmla="*/ 9595546 w 10505529"/>
              <a:gd name="connsiteY25533" fmla="*/ 3066867 h 7458372"/>
              <a:gd name="connsiteX25534" fmla="*/ 9591952 w 10505529"/>
              <a:gd name="connsiteY25534" fmla="*/ 3076318 h 7458372"/>
              <a:gd name="connsiteX25535" fmla="*/ 9595546 w 10505529"/>
              <a:gd name="connsiteY25535" fmla="*/ 3085769 h 7458372"/>
              <a:gd name="connsiteX25536" fmla="*/ 9605531 w 10505529"/>
              <a:gd name="connsiteY25536" fmla="*/ 3089230 h 7458372"/>
              <a:gd name="connsiteX25537" fmla="*/ 9610855 w 10505529"/>
              <a:gd name="connsiteY25537" fmla="*/ 3088298 h 7458372"/>
              <a:gd name="connsiteX25538" fmla="*/ 9614582 w 10505529"/>
              <a:gd name="connsiteY25538" fmla="*/ 3085902 h 7458372"/>
              <a:gd name="connsiteX25539" fmla="*/ 9617245 w 10505529"/>
              <a:gd name="connsiteY25539" fmla="*/ 3081776 h 7458372"/>
              <a:gd name="connsiteX25540" fmla="*/ 9618309 w 10505529"/>
              <a:gd name="connsiteY25540" fmla="*/ 3076318 h 7458372"/>
              <a:gd name="connsiteX25541" fmla="*/ 9617245 w 10505529"/>
              <a:gd name="connsiteY25541" fmla="*/ 3071126 h 7458372"/>
              <a:gd name="connsiteX25542" fmla="*/ 9614582 w 10505529"/>
              <a:gd name="connsiteY25542" fmla="*/ 3066867 h 7458372"/>
              <a:gd name="connsiteX25543" fmla="*/ 9610589 w 10505529"/>
              <a:gd name="connsiteY25543" fmla="*/ 3064204 h 7458372"/>
              <a:gd name="connsiteX25544" fmla="*/ 9605531 w 10505529"/>
              <a:gd name="connsiteY25544" fmla="*/ 3063272 h 7458372"/>
              <a:gd name="connsiteX25545" fmla="*/ 9387885 w 10505529"/>
              <a:gd name="connsiteY25545" fmla="*/ 3063272 h 7458372"/>
              <a:gd name="connsiteX25546" fmla="*/ 9377900 w 10505529"/>
              <a:gd name="connsiteY25546" fmla="*/ 3066867 h 7458372"/>
              <a:gd name="connsiteX25547" fmla="*/ 9374307 w 10505529"/>
              <a:gd name="connsiteY25547" fmla="*/ 3076318 h 7458372"/>
              <a:gd name="connsiteX25548" fmla="*/ 9377900 w 10505529"/>
              <a:gd name="connsiteY25548" fmla="*/ 3085769 h 7458372"/>
              <a:gd name="connsiteX25549" fmla="*/ 9387885 w 10505529"/>
              <a:gd name="connsiteY25549" fmla="*/ 3089230 h 7458372"/>
              <a:gd name="connsiteX25550" fmla="*/ 9393210 w 10505529"/>
              <a:gd name="connsiteY25550" fmla="*/ 3088298 h 7458372"/>
              <a:gd name="connsiteX25551" fmla="*/ 9396937 w 10505529"/>
              <a:gd name="connsiteY25551" fmla="*/ 3085902 h 7458372"/>
              <a:gd name="connsiteX25552" fmla="*/ 9399599 w 10505529"/>
              <a:gd name="connsiteY25552" fmla="*/ 3081776 h 7458372"/>
              <a:gd name="connsiteX25553" fmla="*/ 9400664 w 10505529"/>
              <a:gd name="connsiteY25553" fmla="*/ 3076318 h 7458372"/>
              <a:gd name="connsiteX25554" fmla="*/ 9399599 w 10505529"/>
              <a:gd name="connsiteY25554" fmla="*/ 3071126 h 7458372"/>
              <a:gd name="connsiteX25555" fmla="*/ 9396937 w 10505529"/>
              <a:gd name="connsiteY25555" fmla="*/ 3066867 h 7458372"/>
              <a:gd name="connsiteX25556" fmla="*/ 9392943 w 10505529"/>
              <a:gd name="connsiteY25556" fmla="*/ 3064204 h 7458372"/>
              <a:gd name="connsiteX25557" fmla="*/ 9387885 w 10505529"/>
              <a:gd name="connsiteY25557" fmla="*/ 3063272 h 7458372"/>
              <a:gd name="connsiteX25558" fmla="*/ 9170374 w 10505529"/>
              <a:gd name="connsiteY25558" fmla="*/ 3063272 h 7458372"/>
              <a:gd name="connsiteX25559" fmla="*/ 9160389 w 10505529"/>
              <a:gd name="connsiteY25559" fmla="*/ 3066867 h 7458372"/>
              <a:gd name="connsiteX25560" fmla="*/ 9156795 w 10505529"/>
              <a:gd name="connsiteY25560" fmla="*/ 3076318 h 7458372"/>
              <a:gd name="connsiteX25561" fmla="*/ 9160389 w 10505529"/>
              <a:gd name="connsiteY25561" fmla="*/ 3085769 h 7458372"/>
              <a:gd name="connsiteX25562" fmla="*/ 9170374 w 10505529"/>
              <a:gd name="connsiteY25562" fmla="*/ 3089230 h 7458372"/>
              <a:gd name="connsiteX25563" fmla="*/ 9175698 w 10505529"/>
              <a:gd name="connsiteY25563" fmla="*/ 3088298 h 7458372"/>
              <a:gd name="connsiteX25564" fmla="*/ 9179425 w 10505529"/>
              <a:gd name="connsiteY25564" fmla="*/ 3085902 h 7458372"/>
              <a:gd name="connsiteX25565" fmla="*/ 9182088 w 10505529"/>
              <a:gd name="connsiteY25565" fmla="*/ 3081776 h 7458372"/>
              <a:gd name="connsiteX25566" fmla="*/ 9183152 w 10505529"/>
              <a:gd name="connsiteY25566" fmla="*/ 3076318 h 7458372"/>
              <a:gd name="connsiteX25567" fmla="*/ 9182088 w 10505529"/>
              <a:gd name="connsiteY25567" fmla="*/ 3071126 h 7458372"/>
              <a:gd name="connsiteX25568" fmla="*/ 9179425 w 10505529"/>
              <a:gd name="connsiteY25568" fmla="*/ 3066867 h 7458372"/>
              <a:gd name="connsiteX25569" fmla="*/ 9175432 w 10505529"/>
              <a:gd name="connsiteY25569" fmla="*/ 3064204 h 7458372"/>
              <a:gd name="connsiteX25570" fmla="*/ 9170374 w 10505529"/>
              <a:gd name="connsiteY25570" fmla="*/ 3063272 h 7458372"/>
              <a:gd name="connsiteX25571" fmla="*/ 8952728 w 10505529"/>
              <a:gd name="connsiteY25571" fmla="*/ 3063272 h 7458372"/>
              <a:gd name="connsiteX25572" fmla="*/ 8942743 w 10505529"/>
              <a:gd name="connsiteY25572" fmla="*/ 3066867 h 7458372"/>
              <a:gd name="connsiteX25573" fmla="*/ 8939150 w 10505529"/>
              <a:gd name="connsiteY25573" fmla="*/ 3076318 h 7458372"/>
              <a:gd name="connsiteX25574" fmla="*/ 8942743 w 10505529"/>
              <a:gd name="connsiteY25574" fmla="*/ 3085769 h 7458372"/>
              <a:gd name="connsiteX25575" fmla="*/ 8952728 w 10505529"/>
              <a:gd name="connsiteY25575" fmla="*/ 3089230 h 7458372"/>
              <a:gd name="connsiteX25576" fmla="*/ 8958053 w 10505529"/>
              <a:gd name="connsiteY25576" fmla="*/ 3088298 h 7458372"/>
              <a:gd name="connsiteX25577" fmla="*/ 8961780 w 10505529"/>
              <a:gd name="connsiteY25577" fmla="*/ 3085902 h 7458372"/>
              <a:gd name="connsiteX25578" fmla="*/ 8964442 w 10505529"/>
              <a:gd name="connsiteY25578" fmla="*/ 3081776 h 7458372"/>
              <a:gd name="connsiteX25579" fmla="*/ 8965507 w 10505529"/>
              <a:gd name="connsiteY25579" fmla="*/ 3076318 h 7458372"/>
              <a:gd name="connsiteX25580" fmla="*/ 8964442 w 10505529"/>
              <a:gd name="connsiteY25580" fmla="*/ 3071126 h 7458372"/>
              <a:gd name="connsiteX25581" fmla="*/ 8961780 w 10505529"/>
              <a:gd name="connsiteY25581" fmla="*/ 3066867 h 7458372"/>
              <a:gd name="connsiteX25582" fmla="*/ 8957786 w 10505529"/>
              <a:gd name="connsiteY25582" fmla="*/ 3064204 h 7458372"/>
              <a:gd name="connsiteX25583" fmla="*/ 8952728 w 10505529"/>
              <a:gd name="connsiteY25583" fmla="*/ 3063272 h 7458372"/>
              <a:gd name="connsiteX25584" fmla="*/ 8735083 w 10505529"/>
              <a:gd name="connsiteY25584" fmla="*/ 3063272 h 7458372"/>
              <a:gd name="connsiteX25585" fmla="*/ 8725098 w 10505529"/>
              <a:gd name="connsiteY25585" fmla="*/ 3066867 h 7458372"/>
              <a:gd name="connsiteX25586" fmla="*/ 8721504 w 10505529"/>
              <a:gd name="connsiteY25586" fmla="*/ 3076318 h 7458372"/>
              <a:gd name="connsiteX25587" fmla="*/ 8725098 w 10505529"/>
              <a:gd name="connsiteY25587" fmla="*/ 3085769 h 7458372"/>
              <a:gd name="connsiteX25588" fmla="*/ 8735083 w 10505529"/>
              <a:gd name="connsiteY25588" fmla="*/ 3089230 h 7458372"/>
              <a:gd name="connsiteX25589" fmla="*/ 8740407 w 10505529"/>
              <a:gd name="connsiteY25589" fmla="*/ 3088298 h 7458372"/>
              <a:gd name="connsiteX25590" fmla="*/ 8744134 w 10505529"/>
              <a:gd name="connsiteY25590" fmla="*/ 3085902 h 7458372"/>
              <a:gd name="connsiteX25591" fmla="*/ 8746797 w 10505529"/>
              <a:gd name="connsiteY25591" fmla="*/ 3081776 h 7458372"/>
              <a:gd name="connsiteX25592" fmla="*/ 8747862 w 10505529"/>
              <a:gd name="connsiteY25592" fmla="*/ 3076318 h 7458372"/>
              <a:gd name="connsiteX25593" fmla="*/ 8746797 w 10505529"/>
              <a:gd name="connsiteY25593" fmla="*/ 3071126 h 7458372"/>
              <a:gd name="connsiteX25594" fmla="*/ 8744134 w 10505529"/>
              <a:gd name="connsiteY25594" fmla="*/ 3066867 h 7458372"/>
              <a:gd name="connsiteX25595" fmla="*/ 8740141 w 10505529"/>
              <a:gd name="connsiteY25595" fmla="*/ 3064204 h 7458372"/>
              <a:gd name="connsiteX25596" fmla="*/ 8735083 w 10505529"/>
              <a:gd name="connsiteY25596" fmla="*/ 3063272 h 7458372"/>
              <a:gd name="connsiteX25597" fmla="*/ 8517438 w 10505529"/>
              <a:gd name="connsiteY25597" fmla="*/ 3063272 h 7458372"/>
              <a:gd name="connsiteX25598" fmla="*/ 8507453 w 10505529"/>
              <a:gd name="connsiteY25598" fmla="*/ 3066867 h 7458372"/>
              <a:gd name="connsiteX25599" fmla="*/ 8503860 w 10505529"/>
              <a:gd name="connsiteY25599" fmla="*/ 3076318 h 7458372"/>
              <a:gd name="connsiteX25600" fmla="*/ 8507453 w 10505529"/>
              <a:gd name="connsiteY25600" fmla="*/ 3085769 h 7458372"/>
              <a:gd name="connsiteX25601" fmla="*/ 8517438 w 10505529"/>
              <a:gd name="connsiteY25601" fmla="*/ 3089230 h 7458372"/>
              <a:gd name="connsiteX25602" fmla="*/ 8522763 w 10505529"/>
              <a:gd name="connsiteY25602" fmla="*/ 3088298 h 7458372"/>
              <a:gd name="connsiteX25603" fmla="*/ 8526490 w 10505529"/>
              <a:gd name="connsiteY25603" fmla="*/ 3085902 h 7458372"/>
              <a:gd name="connsiteX25604" fmla="*/ 8529152 w 10505529"/>
              <a:gd name="connsiteY25604" fmla="*/ 3081776 h 7458372"/>
              <a:gd name="connsiteX25605" fmla="*/ 8530084 w 10505529"/>
              <a:gd name="connsiteY25605" fmla="*/ 3076318 h 7458372"/>
              <a:gd name="connsiteX25606" fmla="*/ 8529152 w 10505529"/>
              <a:gd name="connsiteY25606" fmla="*/ 3071126 h 7458372"/>
              <a:gd name="connsiteX25607" fmla="*/ 8526490 w 10505529"/>
              <a:gd name="connsiteY25607" fmla="*/ 3066867 h 7458372"/>
              <a:gd name="connsiteX25608" fmla="*/ 8522496 w 10505529"/>
              <a:gd name="connsiteY25608" fmla="*/ 3064204 h 7458372"/>
              <a:gd name="connsiteX25609" fmla="*/ 8517438 w 10505529"/>
              <a:gd name="connsiteY25609" fmla="*/ 3063272 h 7458372"/>
              <a:gd name="connsiteX25610" fmla="*/ 8299793 w 10505529"/>
              <a:gd name="connsiteY25610" fmla="*/ 3063272 h 7458372"/>
              <a:gd name="connsiteX25611" fmla="*/ 8289809 w 10505529"/>
              <a:gd name="connsiteY25611" fmla="*/ 3066867 h 7458372"/>
              <a:gd name="connsiteX25612" fmla="*/ 8286215 w 10505529"/>
              <a:gd name="connsiteY25612" fmla="*/ 3076318 h 7458372"/>
              <a:gd name="connsiteX25613" fmla="*/ 8289809 w 10505529"/>
              <a:gd name="connsiteY25613" fmla="*/ 3085769 h 7458372"/>
              <a:gd name="connsiteX25614" fmla="*/ 8299793 w 10505529"/>
              <a:gd name="connsiteY25614" fmla="*/ 3089230 h 7458372"/>
              <a:gd name="connsiteX25615" fmla="*/ 8305118 w 10505529"/>
              <a:gd name="connsiteY25615" fmla="*/ 3088298 h 7458372"/>
              <a:gd name="connsiteX25616" fmla="*/ 8308844 w 10505529"/>
              <a:gd name="connsiteY25616" fmla="*/ 3085902 h 7458372"/>
              <a:gd name="connsiteX25617" fmla="*/ 8311507 w 10505529"/>
              <a:gd name="connsiteY25617" fmla="*/ 3081776 h 7458372"/>
              <a:gd name="connsiteX25618" fmla="*/ 8312439 w 10505529"/>
              <a:gd name="connsiteY25618" fmla="*/ 3076318 h 7458372"/>
              <a:gd name="connsiteX25619" fmla="*/ 8311507 w 10505529"/>
              <a:gd name="connsiteY25619" fmla="*/ 3071126 h 7458372"/>
              <a:gd name="connsiteX25620" fmla="*/ 8308844 w 10505529"/>
              <a:gd name="connsiteY25620" fmla="*/ 3066867 h 7458372"/>
              <a:gd name="connsiteX25621" fmla="*/ 8304851 w 10505529"/>
              <a:gd name="connsiteY25621" fmla="*/ 3064204 h 7458372"/>
              <a:gd name="connsiteX25622" fmla="*/ 8299793 w 10505529"/>
              <a:gd name="connsiteY25622" fmla="*/ 3063272 h 7458372"/>
              <a:gd name="connsiteX25623" fmla="*/ 8082281 w 10505529"/>
              <a:gd name="connsiteY25623" fmla="*/ 3063272 h 7458372"/>
              <a:gd name="connsiteX25624" fmla="*/ 8072297 w 10505529"/>
              <a:gd name="connsiteY25624" fmla="*/ 3066867 h 7458372"/>
              <a:gd name="connsiteX25625" fmla="*/ 8068703 w 10505529"/>
              <a:gd name="connsiteY25625" fmla="*/ 3076318 h 7458372"/>
              <a:gd name="connsiteX25626" fmla="*/ 8072297 w 10505529"/>
              <a:gd name="connsiteY25626" fmla="*/ 3085769 h 7458372"/>
              <a:gd name="connsiteX25627" fmla="*/ 8082281 w 10505529"/>
              <a:gd name="connsiteY25627" fmla="*/ 3089230 h 7458372"/>
              <a:gd name="connsiteX25628" fmla="*/ 8087605 w 10505529"/>
              <a:gd name="connsiteY25628" fmla="*/ 3088298 h 7458372"/>
              <a:gd name="connsiteX25629" fmla="*/ 8091332 w 10505529"/>
              <a:gd name="connsiteY25629" fmla="*/ 3085902 h 7458372"/>
              <a:gd name="connsiteX25630" fmla="*/ 8093994 w 10505529"/>
              <a:gd name="connsiteY25630" fmla="*/ 3081776 h 7458372"/>
              <a:gd name="connsiteX25631" fmla="*/ 8094926 w 10505529"/>
              <a:gd name="connsiteY25631" fmla="*/ 3076318 h 7458372"/>
              <a:gd name="connsiteX25632" fmla="*/ 8093994 w 10505529"/>
              <a:gd name="connsiteY25632" fmla="*/ 3071126 h 7458372"/>
              <a:gd name="connsiteX25633" fmla="*/ 8091332 w 10505529"/>
              <a:gd name="connsiteY25633" fmla="*/ 3066867 h 7458372"/>
              <a:gd name="connsiteX25634" fmla="*/ 8087338 w 10505529"/>
              <a:gd name="connsiteY25634" fmla="*/ 3064204 h 7458372"/>
              <a:gd name="connsiteX25635" fmla="*/ 8082281 w 10505529"/>
              <a:gd name="connsiteY25635" fmla="*/ 3063272 h 7458372"/>
              <a:gd name="connsiteX25636" fmla="*/ 7864636 w 10505529"/>
              <a:gd name="connsiteY25636" fmla="*/ 3063272 h 7458372"/>
              <a:gd name="connsiteX25637" fmla="*/ 7854652 w 10505529"/>
              <a:gd name="connsiteY25637" fmla="*/ 3066867 h 7458372"/>
              <a:gd name="connsiteX25638" fmla="*/ 7851058 w 10505529"/>
              <a:gd name="connsiteY25638" fmla="*/ 3076318 h 7458372"/>
              <a:gd name="connsiteX25639" fmla="*/ 7854652 w 10505529"/>
              <a:gd name="connsiteY25639" fmla="*/ 3085769 h 7458372"/>
              <a:gd name="connsiteX25640" fmla="*/ 7864636 w 10505529"/>
              <a:gd name="connsiteY25640" fmla="*/ 3089230 h 7458372"/>
              <a:gd name="connsiteX25641" fmla="*/ 7869961 w 10505529"/>
              <a:gd name="connsiteY25641" fmla="*/ 3088298 h 7458372"/>
              <a:gd name="connsiteX25642" fmla="*/ 7873687 w 10505529"/>
              <a:gd name="connsiteY25642" fmla="*/ 3085902 h 7458372"/>
              <a:gd name="connsiteX25643" fmla="*/ 7876350 w 10505529"/>
              <a:gd name="connsiteY25643" fmla="*/ 3081776 h 7458372"/>
              <a:gd name="connsiteX25644" fmla="*/ 7877282 w 10505529"/>
              <a:gd name="connsiteY25644" fmla="*/ 3076318 h 7458372"/>
              <a:gd name="connsiteX25645" fmla="*/ 7876350 w 10505529"/>
              <a:gd name="connsiteY25645" fmla="*/ 3071126 h 7458372"/>
              <a:gd name="connsiteX25646" fmla="*/ 7873687 w 10505529"/>
              <a:gd name="connsiteY25646" fmla="*/ 3066867 h 7458372"/>
              <a:gd name="connsiteX25647" fmla="*/ 7869694 w 10505529"/>
              <a:gd name="connsiteY25647" fmla="*/ 3064204 h 7458372"/>
              <a:gd name="connsiteX25648" fmla="*/ 7864636 w 10505529"/>
              <a:gd name="connsiteY25648" fmla="*/ 3063272 h 7458372"/>
              <a:gd name="connsiteX25649" fmla="*/ 7646991 w 10505529"/>
              <a:gd name="connsiteY25649" fmla="*/ 3063272 h 7458372"/>
              <a:gd name="connsiteX25650" fmla="*/ 7637007 w 10505529"/>
              <a:gd name="connsiteY25650" fmla="*/ 3066867 h 7458372"/>
              <a:gd name="connsiteX25651" fmla="*/ 7633413 w 10505529"/>
              <a:gd name="connsiteY25651" fmla="*/ 3076318 h 7458372"/>
              <a:gd name="connsiteX25652" fmla="*/ 7637007 w 10505529"/>
              <a:gd name="connsiteY25652" fmla="*/ 3085769 h 7458372"/>
              <a:gd name="connsiteX25653" fmla="*/ 7646991 w 10505529"/>
              <a:gd name="connsiteY25653" fmla="*/ 3089230 h 7458372"/>
              <a:gd name="connsiteX25654" fmla="*/ 7652315 w 10505529"/>
              <a:gd name="connsiteY25654" fmla="*/ 3088298 h 7458372"/>
              <a:gd name="connsiteX25655" fmla="*/ 7656042 w 10505529"/>
              <a:gd name="connsiteY25655" fmla="*/ 3085902 h 7458372"/>
              <a:gd name="connsiteX25656" fmla="*/ 7658705 w 10505529"/>
              <a:gd name="connsiteY25656" fmla="*/ 3081776 h 7458372"/>
              <a:gd name="connsiteX25657" fmla="*/ 7659769 w 10505529"/>
              <a:gd name="connsiteY25657" fmla="*/ 3076318 h 7458372"/>
              <a:gd name="connsiteX25658" fmla="*/ 7658705 w 10505529"/>
              <a:gd name="connsiteY25658" fmla="*/ 3071126 h 7458372"/>
              <a:gd name="connsiteX25659" fmla="*/ 7656042 w 10505529"/>
              <a:gd name="connsiteY25659" fmla="*/ 3066867 h 7458372"/>
              <a:gd name="connsiteX25660" fmla="*/ 7652049 w 10505529"/>
              <a:gd name="connsiteY25660" fmla="*/ 3064204 h 7458372"/>
              <a:gd name="connsiteX25661" fmla="*/ 7646991 w 10505529"/>
              <a:gd name="connsiteY25661" fmla="*/ 3063272 h 7458372"/>
              <a:gd name="connsiteX25662" fmla="*/ 7429345 w 10505529"/>
              <a:gd name="connsiteY25662" fmla="*/ 3063272 h 7458372"/>
              <a:gd name="connsiteX25663" fmla="*/ 7419361 w 10505529"/>
              <a:gd name="connsiteY25663" fmla="*/ 3066867 h 7458372"/>
              <a:gd name="connsiteX25664" fmla="*/ 7415768 w 10505529"/>
              <a:gd name="connsiteY25664" fmla="*/ 3076318 h 7458372"/>
              <a:gd name="connsiteX25665" fmla="*/ 7419361 w 10505529"/>
              <a:gd name="connsiteY25665" fmla="*/ 3085769 h 7458372"/>
              <a:gd name="connsiteX25666" fmla="*/ 7429345 w 10505529"/>
              <a:gd name="connsiteY25666" fmla="*/ 3089230 h 7458372"/>
              <a:gd name="connsiteX25667" fmla="*/ 7434670 w 10505529"/>
              <a:gd name="connsiteY25667" fmla="*/ 3088298 h 7458372"/>
              <a:gd name="connsiteX25668" fmla="*/ 7438397 w 10505529"/>
              <a:gd name="connsiteY25668" fmla="*/ 3085902 h 7458372"/>
              <a:gd name="connsiteX25669" fmla="*/ 7441059 w 10505529"/>
              <a:gd name="connsiteY25669" fmla="*/ 3081776 h 7458372"/>
              <a:gd name="connsiteX25670" fmla="*/ 7442124 w 10505529"/>
              <a:gd name="connsiteY25670" fmla="*/ 3076318 h 7458372"/>
              <a:gd name="connsiteX25671" fmla="*/ 7441059 w 10505529"/>
              <a:gd name="connsiteY25671" fmla="*/ 3071126 h 7458372"/>
              <a:gd name="connsiteX25672" fmla="*/ 7438397 w 10505529"/>
              <a:gd name="connsiteY25672" fmla="*/ 3066867 h 7458372"/>
              <a:gd name="connsiteX25673" fmla="*/ 7434403 w 10505529"/>
              <a:gd name="connsiteY25673" fmla="*/ 3064204 h 7458372"/>
              <a:gd name="connsiteX25674" fmla="*/ 7429345 w 10505529"/>
              <a:gd name="connsiteY25674" fmla="*/ 3063272 h 7458372"/>
              <a:gd name="connsiteX25675" fmla="*/ 7211701 w 10505529"/>
              <a:gd name="connsiteY25675" fmla="*/ 3063272 h 7458372"/>
              <a:gd name="connsiteX25676" fmla="*/ 7201717 w 10505529"/>
              <a:gd name="connsiteY25676" fmla="*/ 3066867 h 7458372"/>
              <a:gd name="connsiteX25677" fmla="*/ 7198123 w 10505529"/>
              <a:gd name="connsiteY25677" fmla="*/ 3076318 h 7458372"/>
              <a:gd name="connsiteX25678" fmla="*/ 7201717 w 10505529"/>
              <a:gd name="connsiteY25678" fmla="*/ 3085769 h 7458372"/>
              <a:gd name="connsiteX25679" fmla="*/ 7211701 w 10505529"/>
              <a:gd name="connsiteY25679" fmla="*/ 3089230 h 7458372"/>
              <a:gd name="connsiteX25680" fmla="*/ 7217026 w 10505529"/>
              <a:gd name="connsiteY25680" fmla="*/ 3088298 h 7458372"/>
              <a:gd name="connsiteX25681" fmla="*/ 7220752 w 10505529"/>
              <a:gd name="connsiteY25681" fmla="*/ 3085902 h 7458372"/>
              <a:gd name="connsiteX25682" fmla="*/ 7223415 w 10505529"/>
              <a:gd name="connsiteY25682" fmla="*/ 3081776 h 7458372"/>
              <a:gd name="connsiteX25683" fmla="*/ 7224480 w 10505529"/>
              <a:gd name="connsiteY25683" fmla="*/ 3076318 h 7458372"/>
              <a:gd name="connsiteX25684" fmla="*/ 7223415 w 10505529"/>
              <a:gd name="connsiteY25684" fmla="*/ 3071126 h 7458372"/>
              <a:gd name="connsiteX25685" fmla="*/ 7220752 w 10505529"/>
              <a:gd name="connsiteY25685" fmla="*/ 3066867 h 7458372"/>
              <a:gd name="connsiteX25686" fmla="*/ 7216759 w 10505529"/>
              <a:gd name="connsiteY25686" fmla="*/ 3064204 h 7458372"/>
              <a:gd name="connsiteX25687" fmla="*/ 7211701 w 10505529"/>
              <a:gd name="connsiteY25687" fmla="*/ 3063272 h 7458372"/>
              <a:gd name="connsiteX25688" fmla="*/ 6994056 w 10505529"/>
              <a:gd name="connsiteY25688" fmla="*/ 3063272 h 7458372"/>
              <a:gd name="connsiteX25689" fmla="*/ 6984072 w 10505529"/>
              <a:gd name="connsiteY25689" fmla="*/ 3066867 h 7458372"/>
              <a:gd name="connsiteX25690" fmla="*/ 6980478 w 10505529"/>
              <a:gd name="connsiteY25690" fmla="*/ 3076318 h 7458372"/>
              <a:gd name="connsiteX25691" fmla="*/ 6984072 w 10505529"/>
              <a:gd name="connsiteY25691" fmla="*/ 3085769 h 7458372"/>
              <a:gd name="connsiteX25692" fmla="*/ 6994056 w 10505529"/>
              <a:gd name="connsiteY25692" fmla="*/ 3089230 h 7458372"/>
              <a:gd name="connsiteX25693" fmla="*/ 6999380 w 10505529"/>
              <a:gd name="connsiteY25693" fmla="*/ 3088298 h 7458372"/>
              <a:gd name="connsiteX25694" fmla="*/ 7003107 w 10505529"/>
              <a:gd name="connsiteY25694" fmla="*/ 3085902 h 7458372"/>
              <a:gd name="connsiteX25695" fmla="*/ 7005769 w 10505529"/>
              <a:gd name="connsiteY25695" fmla="*/ 3081776 h 7458372"/>
              <a:gd name="connsiteX25696" fmla="*/ 7006834 w 10505529"/>
              <a:gd name="connsiteY25696" fmla="*/ 3076318 h 7458372"/>
              <a:gd name="connsiteX25697" fmla="*/ 7005769 w 10505529"/>
              <a:gd name="connsiteY25697" fmla="*/ 3071126 h 7458372"/>
              <a:gd name="connsiteX25698" fmla="*/ 7003107 w 10505529"/>
              <a:gd name="connsiteY25698" fmla="*/ 3066867 h 7458372"/>
              <a:gd name="connsiteX25699" fmla="*/ 6999113 w 10505529"/>
              <a:gd name="connsiteY25699" fmla="*/ 3064204 h 7458372"/>
              <a:gd name="connsiteX25700" fmla="*/ 6994056 w 10505529"/>
              <a:gd name="connsiteY25700" fmla="*/ 3063272 h 7458372"/>
              <a:gd name="connsiteX25701" fmla="*/ 6776544 w 10505529"/>
              <a:gd name="connsiteY25701" fmla="*/ 3063272 h 7458372"/>
              <a:gd name="connsiteX25702" fmla="*/ 6766560 w 10505529"/>
              <a:gd name="connsiteY25702" fmla="*/ 3066867 h 7458372"/>
              <a:gd name="connsiteX25703" fmla="*/ 6762966 w 10505529"/>
              <a:gd name="connsiteY25703" fmla="*/ 3076318 h 7458372"/>
              <a:gd name="connsiteX25704" fmla="*/ 6766560 w 10505529"/>
              <a:gd name="connsiteY25704" fmla="*/ 3085769 h 7458372"/>
              <a:gd name="connsiteX25705" fmla="*/ 6776544 w 10505529"/>
              <a:gd name="connsiteY25705" fmla="*/ 3089230 h 7458372"/>
              <a:gd name="connsiteX25706" fmla="*/ 6781869 w 10505529"/>
              <a:gd name="connsiteY25706" fmla="*/ 3088298 h 7458372"/>
              <a:gd name="connsiteX25707" fmla="*/ 6785595 w 10505529"/>
              <a:gd name="connsiteY25707" fmla="*/ 3085902 h 7458372"/>
              <a:gd name="connsiteX25708" fmla="*/ 6788258 w 10505529"/>
              <a:gd name="connsiteY25708" fmla="*/ 3081776 h 7458372"/>
              <a:gd name="connsiteX25709" fmla="*/ 6789323 w 10505529"/>
              <a:gd name="connsiteY25709" fmla="*/ 3076318 h 7458372"/>
              <a:gd name="connsiteX25710" fmla="*/ 6788258 w 10505529"/>
              <a:gd name="connsiteY25710" fmla="*/ 3071126 h 7458372"/>
              <a:gd name="connsiteX25711" fmla="*/ 6785595 w 10505529"/>
              <a:gd name="connsiteY25711" fmla="*/ 3066867 h 7458372"/>
              <a:gd name="connsiteX25712" fmla="*/ 6781602 w 10505529"/>
              <a:gd name="connsiteY25712" fmla="*/ 3064204 h 7458372"/>
              <a:gd name="connsiteX25713" fmla="*/ 6776544 w 10505529"/>
              <a:gd name="connsiteY25713" fmla="*/ 3063272 h 7458372"/>
              <a:gd name="connsiteX25714" fmla="*/ 6558899 w 10505529"/>
              <a:gd name="connsiteY25714" fmla="*/ 3063272 h 7458372"/>
              <a:gd name="connsiteX25715" fmla="*/ 6548915 w 10505529"/>
              <a:gd name="connsiteY25715" fmla="*/ 3066867 h 7458372"/>
              <a:gd name="connsiteX25716" fmla="*/ 6545321 w 10505529"/>
              <a:gd name="connsiteY25716" fmla="*/ 3076318 h 7458372"/>
              <a:gd name="connsiteX25717" fmla="*/ 6548915 w 10505529"/>
              <a:gd name="connsiteY25717" fmla="*/ 3085769 h 7458372"/>
              <a:gd name="connsiteX25718" fmla="*/ 6558899 w 10505529"/>
              <a:gd name="connsiteY25718" fmla="*/ 3089230 h 7458372"/>
              <a:gd name="connsiteX25719" fmla="*/ 6564223 w 10505529"/>
              <a:gd name="connsiteY25719" fmla="*/ 3088298 h 7458372"/>
              <a:gd name="connsiteX25720" fmla="*/ 6567950 w 10505529"/>
              <a:gd name="connsiteY25720" fmla="*/ 3085902 h 7458372"/>
              <a:gd name="connsiteX25721" fmla="*/ 6570612 w 10505529"/>
              <a:gd name="connsiteY25721" fmla="*/ 3081776 h 7458372"/>
              <a:gd name="connsiteX25722" fmla="*/ 6571677 w 10505529"/>
              <a:gd name="connsiteY25722" fmla="*/ 3076318 h 7458372"/>
              <a:gd name="connsiteX25723" fmla="*/ 6570612 w 10505529"/>
              <a:gd name="connsiteY25723" fmla="*/ 3071126 h 7458372"/>
              <a:gd name="connsiteX25724" fmla="*/ 6567950 w 10505529"/>
              <a:gd name="connsiteY25724" fmla="*/ 3066867 h 7458372"/>
              <a:gd name="connsiteX25725" fmla="*/ 6563956 w 10505529"/>
              <a:gd name="connsiteY25725" fmla="*/ 3064204 h 7458372"/>
              <a:gd name="connsiteX25726" fmla="*/ 6558899 w 10505529"/>
              <a:gd name="connsiteY25726" fmla="*/ 3063272 h 7458372"/>
              <a:gd name="connsiteX25727" fmla="*/ 6341253 w 10505529"/>
              <a:gd name="connsiteY25727" fmla="*/ 3063272 h 7458372"/>
              <a:gd name="connsiteX25728" fmla="*/ 6331270 w 10505529"/>
              <a:gd name="connsiteY25728" fmla="*/ 3066867 h 7458372"/>
              <a:gd name="connsiteX25729" fmla="*/ 6327675 w 10505529"/>
              <a:gd name="connsiteY25729" fmla="*/ 3076318 h 7458372"/>
              <a:gd name="connsiteX25730" fmla="*/ 6331270 w 10505529"/>
              <a:gd name="connsiteY25730" fmla="*/ 3085769 h 7458372"/>
              <a:gd name="connsiteX25731" fmla="*/ 6341253 w 10505529"/>
              <a:gd name="connsiteY25731" fmla="*/ 3089230 h 7458372"/>
              <a:gd name="connsiteX25732" fmla="*/ 6346578 w 10505529"/>
              <a:gd name="connsiteY25732" fmla="*/ 3088298 h 7458372"/>
              <a:gd name="connsiteX25733" fmla="*/ 6350305 w 10505529"/>
              <a:gd name="connsiteY25733" fmla="*/ 3085902 h 7458372"/>
              <a:gd name="connsiteX25734" fmla="*/ 6352968 w 10505529"/>
              <a:gd name="connsiteY25734" fmla="*/ 3081776 h 7458372"/>
              <a:gd name="connsiteX25735" fmla="*/ 6354033 w 10505529"/>
              <a:gd name="connsiteY25735" fmla="*/ 3076318 h 7458372"/>
              <a:gd name="connsiteX25736" fmla="*/ 6352968 w 10505529"/>
              <a:gd name="connsiteY25736" fmla="*/ 3071126 h 7458372"/>
              <a:gd name="connsiteX25737" fmla="*/ 6350305 w 10505529"/>
              <a:gd name="connsiteY25737" fmla="*/ 3066867 h 7458372"/>
              <a:gd name="connsiteX25738" fmla="*/ 6346312 w 10505529"/>
              <a:gd name="connsiteY25738" fmla="*/ 3064204 h 7458372"/>
              <a:gd name="connsiteX25739" fmla="*/ 6341253 w 10505529"/>
              <a:gd name="connsiteY25739" fmla="*/ 3063272 h 7458372"/>
              <a:gd name="connsiteX25740" fmla="*/ 6123608 w 10505529"/>
              <a:gd name="connsiteY25740" fmla="*/ 3063272 h 7458372"/>
              <a:gd name="connsiteX25741" fmla="*/ 6113624 w 10505529"/>
              <a:gd name="connsiteY25741" fmla="*/ 3066867 h 7458372"/>
              <a:gd name="connsiteX25742" fmla="*/ 6110030 w 10505529"/>
              <a:gd name="connsiteY25742" fmla="*/ 3076318 h 7458372"/>
              <a:gd name="connsiteX25743" fmla="*/ 6113624 w 10505529"/>
              <a:gd name="connsiteY25743" fmla="*/ 3085769 h 7458372"/>
              <a:gd name="connsiteX25744" fmla="*/ 6123608 w 10505529"/>
              <a:gd name="connsiteY25744" fmla="*/ 3089230 h 7458372"/>
              <a:gd name="connsiteX25745" fmla="*/ 6128932 w 10505529"/>
              <a:gd name="connsiteY25745" fmla="*/ 3088298 h 7458372"/>
              <a:gd name="connsiteX25746" fmla="*/ 6132659 w 10505529"/>
              <a:gd name="connsiteY25746" fmla="*/ 3085902 h 7458372"/>
              <a:gd name="connsiteX25747" fmla="*/ 6135322 w 10505529"/>
              <a:gd name="connsiteY25747" fmla="*/ 3081776 h 7458372"/>
              <a:gd name="connsiteX25748" fmla="*/ 6136387 w 10505529"/>
              <a:gd name="connsiteY25748" fmla="*/ 3076318 h 7458372"/>
              <a:gd name="connsiteX25749" fmla="*/ 6135322 w 10505529"/>
              <a:gd name="connsiteY25749" fmla="*/ 3071126 h 7458372"/>
              <a:gd name="connsiteX25750" fmla="*/ 6132659 w 10505529"/>
              <a:gd name="connsiteY25750" fmla="*/ 3066867 h 7458372"/>
              <a:gd name="connsiteX25751" fmla="*/ 6128666 w 10505529"/>
              <a:gd name="connsiteY25751" fmla="*/ 3064204 h 7458372"/>
              <a:gd name="connsiteX25752" fmla="*/ 6123608 w 10505529"/>
              <a:gd name="connsiteY25752" fmla="*/ 3063272 h 7458372"/>
              <a:gd name="connsiteX25753" fmla="*/ 5905963 w 10505529"/>
              <a:gd name="connsiteY25753" fmla="*/ 3063272 h 7458372"/>
              <a:gd name="connsiteX25754" fmla="*/ 5895979 w 10505529"/>
              <a:gd name="connsiteY25754" fmla="*/ 3066867 h 7458372"/>
              <a:gd name="connsiteX25755" fmla="*/ 5892385 w 10505529"/>
              <a:gd name="connsiteY25755" fmla="*/ 3076318 h 7458372"/>
              <a:gd name="connsiteX25756" fmla="*/ 5895979 w 10505529"/>
              <a:gd name="connsiteY25756" fmla="*/ 3085769 h 7458372"/>
              <a:gd name="connsiteX25757" fmla="*/ 5905963 w 10505529"/>
              <a:gd name="connsiteY25757" fmla="*/ 3089230 h 7458372"/>
              <a:gd name="connsiteX25758" fmla="*/ 5911287 w 10505529"/>
              <a:gd name="connsiteY25758" fmla="*/ 3088298 h 7458372"/>
              <a:gd name="connsiteX25759" fmla="*/ 5915014 w 10505529"/>
              <a:gd name="connsiteY25759" fmla="*/ 3085902 h 7458372"/>
              <a:gd name="connsiteX25760" fmla="*/ 5917677 w 10505529"/>
              <a:gd name="connsiteY25760" fmla="*/ 3081776 h 7458372"/>
              <a:gd name="connsiteX25761" fmla="*/ 5918742 w 10505529"/>
              <a:gd name="connsiteY25761" fmla="*/ 3076318 h 7458372"/>
              <a:gd name="connsiteX25762" fmla="*/ 5917677 w 10505529"/>
              <a:gd name="connsiteY25762" fmla="*/ 3071126 h 7458372"/>
              <a:gd name="connsiteX25763" fmla="*/ 5915014 w 10505529"/>
              <a:gd name="connsiteY25763" fmla="*/ 3066867 h 7458372"/>
              <a:gd name="connsiteX25764" fmla="*/ 5911021 w 10505529"/>
              <a:gd name="connsiteY25764" fmla="*/ 3064204 h 7458372"/>
              <a:gd name="connsiteX25765" fmla="*/ 5905963 w 10505529"/>
              <a:gd name="connsiteY25765" fmla="*/ 3063272 h 7458372"/>
              <a:gd name="connsiteX25766" fmla="*/ 5688451 w 10505529"/>
              <a:gd name="connsiteY25766" fmla="*/ 3063272 h 7458372"/>
              <a:gd name="connsiteX25767" fmla="*/ 5678467 w 10505529"/>
              <a:gd name="connsiteY25767" fmla="*/ 3066867 h 7458372"/>
              <a:gd name="connsiteX25768" fmla="*/ 5674873 w 10505529"/>
              <a:gd name="connsiteY25768" fmla="*/ 3076318 h 7458372"/>
              <a:gd name="connsiteX25769" fmla="*/ 5678467 w 10505529"/>
              <a:gd name="connsiteY25769" fmla="*/ 3085769 h 7458372"/>
              <a:gd name="connsiteX25770" fmla="*/ 5688451 w 10505529"/>
              <a:gd name="connsiteY25770" fmla="*/ 3089230 h 7458372"/>
              <a:gd name="connsiteX25771" fmla="*/ 5693775 w 10505529"/>
              <a:gd name="connsiteY25771" fmla="*/ 3088298 h 7458372"/>
              <a:gd name="connsiteX25772" fmla="*/ 5697502 w 10505529"/>
              <a:gd name="connsiteY25772" fmla="*/ 3085902 h 7458372"/>
              <a:gd name="connsiteX25773" fmla="*/ 5700165 w 10505529"/>
              <a:gd name="connsiteY25773" fmla="*/ 3081776 h 7458372"/>
              <a:gd name="connsiteX25774" fmla="*/ 5701230 w 10505529"/>
              <a:gd name="connsiteY25774" fmla="*/ 3076318 h 7458372"/>
              <a:gd name="connsiteX25775" fmla="*/ 5700165 w 10505529"/>
              <a:gd name="connsiteY25775" fmla="*/ 3071126 h 7458372"/>
              <a:gd name="connsiteX25776" fmla="*/ 5697502 w 10505529"/>
              <a:gd name="connsiteY25776" fmla="*/ 3066867 h 7458372"/>
              <a:gd name="connsiteX25777" fmla="*/ 5693509 w 10505529"/>
              <a:gd name="connsiteY25777" fmla="*/ 3064204 h 7458372"/>
              <a:gd name="connsiteX25778" fmla="*/ 5688451 w 10505529"/>
              <a:gd name="connsiteY25778" fmla="*/ 3063272 h 7458372"/>
              <a:gd name="connsiteX25779" fmla="*/ 5470806 w 10505529"/>
              <a:gd name="connsiteY25779" fmla="*/ 3063272 h 7458372"/>
              <a:gd name="connsiteX25780" fmla="*/ 5460822 w 10505529"/>
              <a:gd name="connsiteY25780" fmla="*/ 3066867 h 7458372"/>
              <a:gd name="connsiteX25781" fmla="*/ 5457228 w 10505529"/>
              <a:gd name="connsiteY25781" fmla="*/ 3076318 h 7458372"/>
              <a:gd name="connsiteX25782" fmla="*/ 5460822 w 10505529"/>
              <a:gd name="connsiteY25782" fmla="*/ 3085769 h 7458372"/>
              <a:gd name="connsiteX25783" fmla="*/ 5470806 w 10505529"/>
              <a:gd name="connsiteY25783" fmla="*/ 3089230 h 7458372"/>
              <a:gd name="connsiteX25784" fmla="*/ 5476130 w 10505529"/>
              <a:gd name="connsiteY25784" fmla="*/ 3088298 h 7458372"/>
              <a:gd name="connsiteX25785" fmla="*/ 5479857 w 10505529"/>
              <a:gd name="connsiteY25785" fmla="*/ 3085902 h 7458372"/>
              <a:gd name="connsiteX25786" fmla="*/ 5482520 w 10505529"/>
              <a:gd name="connsiteY25786" fmla="*/ 3081776 h 7458372"/>
              <a:gd name="connsiteX25787" fmla="*/ 5483585 w 10505529"/>
              <a:gd name="connsiteY25787" fmla="*/ 3076318 h 7458372"/>
              <a:gd name="connsiteX25788" fmla="*/ 5482520 w 10505529"/>
              <a:gd name="connsiteY25788" fmla="*/ 3071126 h 7458372"/>
              <a:gd name="connsiteX25789" fmla="*/ 5479857 w 10505529"/>
              <a:gd name="connsiteY25789" fmla="*/ 3066867 h 7458372"/>
              <a:gd name="connsiteX25790" fmla="*/ 5475864 w 10505529"/>
              <a:gd name="connsiteY25790" fmla="*/ 3064204 h 7458372"/>
              <a:gd name="connsiteX25791" fmla="*/ 5470806 w 10505529"/>
              <a:gd name="connsiteY25791" fmla="*/ 3063272 h 7458372"/>
              <a:gd name="connsiteX25792" fmla="*/ 5253160 w 10505529"/>
              <a:gd name="connsiteY25792" fmla="*/ 3063272 h 7458372"/>
              <a:gd name="connsiteX25793" fmla="*/ 5243177 w 10505529"/>
              <a:gd name="connsiteY25793" fmla="*/ 3066867 h 7458372"/>
              <a:gd name="connsiteX25794" fmla="*/ 5239583 w 10505529"/>
              <a:gd name="connsiteY25794" fmla="*/ 3076318 h 7458372"/>
              <a:gd name="connsiteX25795" fmla="*/ 5243177 w 10505529"/>
              <a:gd name="connsiteY25795" fmla="*/ 3085769 h 7458372"/>
              <a:gd name="connsiteX25796" fmla="*/ 5253160 w 10505529"/>
              <a:gd name="connsiteY25796" fmla="*/ 3089230 h 7458372"/>
              <a:gd name="connsiteX25797" fmla="*/ 5258485 w 10505529"/>
              <a:gd name="connsiteY25797" fmla="*/ 3088298 h 7458372"/>
              <a:gd name="connsiteX25798" fmla="*/ 5262212 w 10505529"/>
              <a:gd name="connsiteY25798" fmla="*/ 3085902 h 7458372"/>
              <a:gd name="connsiteX25799" fmla="*/ 5264875 w 10505529"/>
              <a:gd name="connsiteY25799" fmla="*/ 3081776 h 7458372"/>
              <a:gd name="connsiteX25800" fmla="*/ 5265939 w 10505529"/>
              <a:gd name="connsiteY25800" fmla="*/ 3076318 h 7458372"/>
              <a:gd name="connsiteX25801" fmla="*/ 5264875 w 10505529"/>
              <a:gd name="connsiteY25801" fmla="*/ 3071126 h 7458372"/>
              <a:gd name="connsiteX25802" fmla="*/ 5262212 w 10505529"/>
              <a:gd name="connsiteY25802" fmla="*/ 3066867 h 7458372"/>
              <a:gd name="connsiteX25803" fmla="*/ 5258219 w 10505529"/>
              <a:gd name="connsiteY25803" fmla="*/ 3064204 h 7458372"/>
              <a:gd name="connsiteX25804" fmla="*/ 5253160 w 10505529"/>
              <a:gd name="connsiteY25804" fmla="*/ 3063272 h 7458372"/>
              <a:gd name="connsiteX25805" fmla="*/ 5035515 w 10505529"/>
              <a:gd name="connsiteY25805" fmla="*/ 3063272 h 7458372"/>
              <a:gd name="connsiteX25806" fmla="*/ 5025532 w 10505529"/>
              <a:gd name="connsiteY25806" fmla="*/ 3066867 h 7458372"/>
              <a:gd name="connsiteX25807" fmla="*/ 5021938 w 10505529"/>
              <a:gd name="connsiteY25807" fmla="*/ 3076318 h 7458372"/>
              <a:gd name="connsiteX25808" fmla="*/ 5025532 w 10505529"/>
              <a:gd name="connsiteY25808" fmla="*/ 3085769 h 7458372"/>
              <a:gd name="connsiteX25809" fmla="*/ 5035515 w 10505529"/>
              <a:gd name="connsiteY25809" fmla="*/ 3089230 h 7458372"/>
              <a:gd name="connsiteX25810" fmla="*/ 5040840 w 10505529"/>
              <a:gd name="connsiteY25810" fmla="*/ 3088298 h 7458372"/>
              <a:gd name="connsiteX25811" fmla="*/ 5044567 w 10505529"/>
              <a:gd name="connsiteY25811" fmla="*/ 3085902 h 7458372"/>
              <a:gd name="connsiteX25812" fmla="*/ 5047230 w 10505529"/>
              <a:gd name="connsiteY25812" fmla="*/ 3081776 h 7458372"/>
              <a:gd name="connsiteX25813" fmla="*/ 5048294 w 10505529"/>
              <a:gd name="connsiteY25813" fmla="*/ 3076318 h 7458372"/>
              <a:gd name="connsiteX25814" fmla="*/ 5047230 w 10505529"/>
              <a:gd name="connsiteY25814" fmla="*/ 3071126 h 7458372"/>
              <a:gd name="connsiteX25815" fmla="*/ 5044567 w 10505529"/>
              <a:gd name="connsiteY25815" fmla="*/ 3066867 h 7458372"/>
              <a:gd name="connsiteX25816" fmla="*/ 5040574 w 10505529"/>
              <a:gd name="connsiteY25816" fmla="*/ 3064204 h 7458372"/>
              <a:gd name="connsiteX25817" fmla="*/ 5035515 w 10505529"/>
              <a:gd name="connsiteY25817" fmla="*/ 3063272 h 7458372"/>
              <a:gd name="connsiteX25818" fmla="*/ 4817870 w 10505529"/>
              <a:gd name="connsiteY25818" fmla="*/ 3063272 h 7458372"/>
              <a:gd name="connsiteX25819" fmla="*/ 4807887 w 10505529"/>
              <a:gd name="connsiteY25819" fmla="*/ 3066867 h 7458372"/>
              <a:gd name="connsiteX25820" fmla="*/ 4804293 w 10505529"/>
              <a:gd name="connsiteY25820" fmla="*/ 3076318 h 7458372"/>
              <a:gd name="connsiteX25821" fmla="*/ 4807887 w 10505529"/>
              <a:gd name="connsiteY25821" fmla="*/ 3085769 h 7458372"/>
              <a:gd name="connsiteX25822" fmla="*/ 4817870 w 10505529"/>
              <a:gd name="connsiteY25822" fmla="*/ 3089230 h 7458372"/>
              <a:gd name="connsiteX25823" fmla="*/ 4823195 w 10505529"/>
              <a:gd name="connsiteY25823" fmla="*/ 3088298 h 7458372"/>
              <a:gd name="connsiteX25824" fmla="*/ 4826922 w 10505529"/>
              <a:gd name="connsiteY25824" fmla="*/ 3085902 h 7458372"/>
              <a:gd name="connsiteX25825" fmla="*/ 4829585 w 10505529"/>
              <a:gd name="connsiteY25825" fmla="*/ 3081776 h 7458372"/>
              <a:gd name="connsiteX25826" fmla="*/ 4830650 w 10505529"/>
              <a:gd name="connsiteY25826" fmla="*/ 3076318 h 7458372"/>
              <a:gd name="connsiteX25827" fmla="*/ 4829585 w 10505529"/>
              <a:gd name="connsiteY25827" fmla="*/ 3071126 h 7458372"/>
              <a:gd name="connsiteX25828" fmla="*/ 4826922 w 10505529"/>
              <a:gd name="connsiteY25828" fmla="*/ 3066867 h 7458372"/>
              <a:gd name="connsiteX25829" fmla="*/ 4822929 w 10505529"/>
              <a:gd name="connsiteY25829" fmla="*/ 3064204 h 7458372"/>
              <a:gd name="connsiteX25830" fmla="*/ 4817870 w 10505529"/>
              <a:gd name="connsiteY25830" fmla="*/ 3063272 h 7458372"/>
              <a:gd name="connsiteX25831" fmla="*/ 4600226 w 10505529"/>
              <a:gd name="connsiteY25831" fmla="*/ 3063272 h 7458372"/>
              <a:gd name="connsiteX25832" fmla="*/ 4590242 w 10505529"/>
              <a:gd name="connsiteY25832" fmla="*/ 3066867 h 7458372"/>
              <a:gd name="connsiteX25833" fmla="*/ 4586648 w 10505529"/>
              <a:gd name="connsiteY25833" fmla="*/ 3076318 h 7458372"/>
              <a:gd name="connsiteX25834" fmla="*/ 4590242 w 10505529"/>
              <a:gd name="connsiteY25834" fmla="*/ 3085769 h 7458372"/>
              <a:gd name="connsiteX25835" fmla="*/ 4600226 w 10505529"/>
              <a:gd name="connsiteY25835" fmla="*/ 3089230 h 7458372"/>
              <a:gd name="connsiteX25836" fmla="*/ 4605550 w 10505529"/>
              <a:gd name="connsiteY25836" fmla="*/ 3088298 h 7458372"/>
              <a:gd name="connsiteX25837" fmla="*/ 4609277 w 10505529"/>
              <a:gd name="connsiteY25837" fmla="*/ 3085902 h 7458372"/>
              <a:gd name="connsiteX25838" fmla="*/ 4611940 w 10505529"/>
              <a:gd name="connsiteY25838" fmla="*/ 3081776 h 7458372"/>
              <a:gd name="connsiteX25839" fmla="*/ 4613005 w 10505529"/>
              <a:gd name="connsiteY25839" fmla="*/ 3076318 h 7458372"/>
              <a:gd name="connsiteX25840" fmla="*/ 4611940 w 10505529"/>
              <a:gd name="connsiteY25840" fmla="*/ 3071126 h 7458372"/>
              <a:gd name="connsiteX25841" fmla="*/ 4609277 w 10505529"/>
              <a:gd name="connsiteY25841" fmla="*/ 3066867 h 7458372"/>
              <a:gd name="connsiteX25842" fmla="*/ 4605284 w 10505529"/>
              <a:gd name="connsiteY25842" fmla="*/ 3064204 h 7458372"/>
              <a:gd name="connsiteX25843" fmla="*/ 4600226 w 10505529"/>
              <a:gd name="connsiteY25843" fmla="*/ 3063272 h 7458372"/>
              <a:gd name="connsiteX25844" fmla="*/ 4382713 w 10505529"/>
              <a:gd name="connsiteY25844" fmla="*/ 3063272 h 7458372"/>
              <a:gd name="connsiteX25845" fmla="*/ 4372730 w 10505529"/>
              <a:gd name="connsiteY25845" fmla="*/ 3066867 h 7458372"/>
              <a:gd name="connsiteX25846" fmla="*/ 4369136 w 10505529"/>
              <a:gd name="connsiteY25846" fmla="*/ 3076318 h 7458372"/>
              <a:gd name="connsiteX25847" fmla="*/ 4372730 w 10505529"/>
              <a:gd name="connsiteY25847" fmla="*/ 3085769 h 7458372"/>
              <a:gd name="connsiteX25848" fmla="*/ 4382713 w 10505529"/>
              <a:gd name="connsiteY25848" fmla="*/ 3089230 h 7458372"/>
              <a:gd name="connsiteX25849" fmla="*/ 4388038 w 10505529"/>
              <a:gd name="connsiteY25849" fmla="*/ 3088298 h 7458372"/>
              <a:gd name="connsiteX25850" fmla="*/ 4391765 w 10505529"/>
              <a:gd name="connsiteY25850" fmla="*/ 3085902 h 7458372"/>
              <a:gd name="connsiteX25851" fmla="*/ 4394428 w 10505529"/>
              <a:gd name="connsiteY25851" fmla="*/ 3081776 h 7458372"/>
              <a:gd name="connsiteX25852" fmla="*/ 4395493 w 10505529"/>
              <a:gd name="connsiteY25852" fmla="*/ 3076318 h 7458372"/>
              <a:gd name="connsiteX25853" fmla="*/ 4394428 w 10505529"/>
              <a:gd name="connsiteY25853" fmla="*/ 3071126 h 7458372"/>
              <a:gd name="connsiteX25854" fmla="*/ 4391765 w 10505529"/>
              <a:gd name="connsiteY25854" fmla="*/ 3066867 h 7458372"/>
              <a:gd name="connsiteX25855" fmla="*/ 4387772 w 10505529"/>
              <a:gd name="connsiteY25855" fmla="*/ 3064204 h 7458372"/>
              <a:gd name="connsiteX25856" fmla="*/ 4382713 w 10505529"/>
              <a:gd name="connsiteY25856" fmla="*/ 3063272 h 7458372"/>
              <a:gd name="connsiteX25857" fmla="*/ 4165068 w 10505529"/>
              <a:gd name="connsiteY25857" fmla="*/ 3063272 h 7458372"/>
              <a:gd name="connsiteX25858" fmla="*/ 4155084 w 10505529"/>
              <a:gd name="connsiteY25858" fmla="*/ 3066867 h 7458372"/>
              <a:gd name="connsiteX25859" fmla="*/ 4151490 w 10505529"/>
              <a:gd name="connsiteY25859" fmla="*/ 3076318 h 7458372"/>
              <a:gd name="connsiteX25860" fmla="*/ 4155084 w 10505529"/>
              <a:gd name="connsiteY25860" fmla="*/ 3085769 h 7458372"/>
              <a:gd name="connsiteX25861" fmla="*/ 4165068 w 10505529"/>
              <a:gd name="connsiteY25861" fmla="*/ 3089230 h 7458372"/>
              <a:gd name="connsiteX25862" fmla="*/ 4170392 w 10505529"/>
              <a:gd name="connsiteY25862" fmla="*/ 3088298 h 7458372"/>
              <a:gd name="connsiteX25863" fmla="*/ 4174119 w 10505529"/>
              <a:gd name="connsiteY25863" fmla="*/ 3085902 h 7458372"/>
              <a:gd name="connsiteX25864" fmla="*/ 4176782 w 10505529"/>
              <a:gd name="connsiteY25864" fmla="*/ 3081776 h 7458372"/>
              <a:gd name="connsiteX25865" fmla="*/ 4177847 w 10505529"/>
              <a:gd name="connsiteY25865" fmla="*/ 3076318 h 7458372"/>
              <a:gd name="connsiteX25866" fmla="*/ 4176782 w 10505529"/>
              <a:gd name="connsiteY25866" fmla="*/ 3071126 h 7458372"/>
              <a:gd name="connsiteX25867" fmla="*/ 4174119 w 10505529"/>
              <a:gd name="connsiteY25867" fmla="*/ 3066867 h 7458372"/>
              <a:gd name="connsiteX25868" fmla="*/ 4170126 w 10505529"/>
              <a:gd name="connsiteY25868" fmla="*/ 3064204 h 7458372"/>
              <a:gd name="connsiteX25869" fmla="*/ 4165068 w 10505529"/>
              <a:gd name="connsiteY25869" fmla="*/ 3063272 h 7458372"/>
              <a:gd name="connsiteX25870" fmla="*/ 3947593 w 10505529"/>
              <a:gd name="connsiteY25870" fmla="*/ 3063272 h 7458372"/>
              <a:gd name="connsiteX25871" fmla="*/ 3937610 w 10505529"/>
              <a:gd name="connsiteY25871" fmla="*/ 3066867 h 7458372"/>
              <a:gd name="connsiteX25872" fmla="*/ 3934015 w 10505529"/>
              <a:gd name="connsiteY25872" fmla="*/ 3076318 h 7458372"/>
              <a:gd name="connsiteX25873" fmla="*/ 3937610 w 10505529"/>
              <a:gd name="connsiteY25873" fmla="*/ 3085769 h 7458372"/>
              <a:gd name="connsiteX25874" fmla="*/ 3947593 w 10505529"/>
              <a:gd name="connsiteY25874" fmla="*/ 3089230 h 7458372"/>
              <a:gd name="connsiteX25875" fmla="*/ 3952920 w 10505529"/>
              <a:gd name="connsiteY25875" fmla="*/ 3088298 h 7458372"/>
              <a:gd name="connsiteX25876" fmla="*/ 3956646 w 10505529"/>
              <a:gd name="connsiteY25876" fmla="*/ 3085902 h 7458372"/>
              <a:gd name="connsiteX25877" fmla="*/ 3959309 w 10505529"/>
              <a:gd name="connsiteY25877" fmla="*/ 3081776 h 7458372"/>
              <a:gd name="connsiteX25878" fmla="*/ 3960374 w 10505529"/>
              <a:gd name="connsiteY25878" fmla="*/ 3076318 h 7458372"/>
              <a:gd name="connsiteX25879" fmla="*/ 3959309 w 10505529"/>
              <a:gd name="connsiteY25879" fmla="*/ 3071126 h 7458372"/>
              <a:gd name="connsiteX25880" fmla="*/ 3956646 w 10505529"/>
              <a:gd name="connsiteY25880" fmla="*/ 3066867 h 7458372"/>
              <a:gd name="connsiteX25881" fmla="*/ 3952653 w 10505529"/>
              <a:gd name="connsiteY25881" fmla="*/ 3064204 h 7458372"/>
              <a:gd name="connsiteX25882" fmla="*/ 3947593 w 10505529"/>
              <a:gd name="connsiteY25882" fmla="*/ 3063272 h 7458372"/>
              <a:gd name="connsiteX25883" fmla="*/ 3729940 w 10505529"/>
              <a:gd name="connsiteY25883" fmla="*/ 3063272 h 7458372"/>
              <a:gd name="connsiteX25884" fmla="*/ 3719954 w 10505529"/>
              <a:gd name="connsiteY25884" fmla="*/ 3066867 h 7458372"/>
              <a:gd name="connsiteX25885" fmla="*/ 3716362 w 10505529"/>
              <a:gd name="connsiteY25885" fmla="*/ 3076318 h 7458372"/>
              <a:gd name="connsiteX25886" fmla="*/ 3719954 w 10505529"/>
              <a:gd name="connsiteY25886" fmla="*/ 3085769 h 7458372"/>
              <a:gd name="connsiteX25887" fmla="*/ 3729940 w 10505529"/>
              <a:gd name="connsiteY25887" fmla="*/ 3089230 h 7458372"/>
              <a:gd name="connsiteX25888" fmla="*/ 3735265 w 10505529"/>
              <a:gd name="connsiteY25888" fmla="*/ 3088298 h 7458372"/>
              <a:gd name="connsiteX25889" fmla="*/ 3738992 w 10505529"/>
              <a:gd name="connsiteY25889" fmla="*/ 3085902 h 7458372"/>
              <a:gd name="connsiteX25890" fmla="*/ 3741655 w 10505529"/>
              <a:gd name="connsiteY25890" fmla="*/ 3081776 h 7458372"/>
              <a:gd name="connsiteX25891" fmla="*/ 3742720 w 10505529"/>
              <a:gd name="connsiteY25891" fmla="*/ 3076318 h 7458372"/>
              <a:gd name="connsiteX25892" fmla="*/ 3741655 w 10505529"/>
              <a:gd name="connsiteY25892" fmla="*/ 3071126 h 7458372"/>
              <a:gd name="connsiteX25893" fmla="*/ 3738992 w 10505529"/>
              <a:gd name="connsiteY25893" fmla="*/ 3066867 h 7458372"/>
              <a:gd name="connsiteX25894" fmla="*/ 3734999 w 10505529"/>
              <a:gd name="connsiteY25894" fmla="*/ 3064204 h 7458372"/>
              <a:gd name="connsiteX25895" fmla="*/ 3729940 w 10505529"/>
              <a:gd name="connsiteY25895" fmla="*/ 3063272 h 7458372"/>
              <a:gd name="connsiteX25896" fmla="*/ 3512286 w 10505529"/>
              <a:gd name="connsiteY25896" fmla="*/ 3063272 h 7458372"/>
              <a:gd name="connsiteX25897" fmla="*/ 3502299 w 10505529"/>
              <a:gd name="connsiteY25897" fmla="*/ 3066867 h 7458372"/>
              <a:gd name="connsiteX25898" fmla="*/ 3498706 w 10505529"/>
              <a:gd name="connsiteY25898" fmla="*/ 3076318 h 7458372"/>
              <a:gd name="connsiteX25899" fmla="*/ 3502299 w 10505529"/>
              <a:gd name="connsiteY25899" fmla="*/ 3085769 h 7458372"/>
              <a:gd name="connsiteX25900" fmla="*/ 3512286 w 10505529"/>
              <a:gd name="connsiteY25900" fmla="*/ 3089230 h 7458372"/>
              <a:gd name="connsiteX25901" fmla="*/ 3517611 w 10505529"/>
              <a:gd name="connsiteY25901" fmla="*/ 3088298 h 7458372"/>
              <a:gd name="connsiteX25902" fmla="*/ 3521339 w 10505529"/>
              <a:gd name="connsiteY25902" fmla="*/ 3085902 h 7458372"/>
              <a:gd name="connsiteX25903" fmla="*/ 3524002 w 10505529"/>
              <a:gd name="connsiteY25903" fmla="*/ 3081776 h 7458372"/>
              <a:gd name="connsiteX25904" fmla="*/ 3525067 w 10505529"/>
              <a:gd name="connsiteY25904" fmla="*/ 3076318 h 7458372"/>
              <a:gd name="connsiteX25905" fmla="*/ 3524002 w 10505529"/>
              <a:gd name="connsiteY25905" fmla="*/ 3071126 h 7458372"/>
              <a:gd name="connsiteX25906" fmla="*/ 3521339 w 10505529"/>
              <a:gd name="connsiteY25906" fmla="*/ 3066867 h 7458372"/>
              <a:gd name="connsiteX25907" fmla="*/ 3517346 w 10505529"/>
              <a:gd name="connsiteY25907" fmla="*/ 3064204 h 7458372"/>
              <a:gd name="connsiteX25908" fmla="*/ 3512286 w 10505529"/>
              <a:gd name="connsiteY25908" fmla="*/ 3063272 h 7458372"/>
              <a:gd name="connsiteX25909" fmla="*/ 3294765 w 10505529"/>
              <a:gd name="connsiteY25909" fmla="*/ 3063272 h 7458372"/>
              <a:gd name="connsiteX25910" fmla="*/ 3284780 w 10505529"/>
              <a:gd name="connsiteY25910" fmla="*/ 3066867 h 7458372"/>
              <a:gd name="connsiteX25911" fmla="*/ 3281186 w 10505529"/>
              <a:gd name="connsiteY25911" fmla="*/ 3076318 h 7458372"/>
              <a:gd name="connsiteX25912" fmla="*/ 3284780 w 10505529"/>
              <a:gd name="connsiteY25912" fmla="*/ 3085769 h 7458372"/>
              <a:gd name="connsiteX25913" fmla="*/ 3294765 w 10505529"/>
              <a:gd name="connsiteY25913" fmla="*/ 3089230 h 7458372"/>
              <a:gd name="connsiteX25914" fmla="*/ 3300091 w 10505529"/>
              <a:gd name="connsiteY25914" fmla="*/ 3088298 h 7458372"/>
              <a:gd name="connsiteX25915" fmla="*/ 3303818 w 10505529"/>
              <a:gd name="connsiteY25915" fmla="*/ 3085902 h 7458372"/>
              <a:gd name="connsiteX25916" fmla="*/ 3306481 w 10505529"/>
              <a:gd name="connsiteY25916" fmla="*/ 3081776 h 7458372"/>
              <a:gd name="connsiteX25917" fmla="*/ 3307545 w 10505529"/>
              <a:gd name="connsiteY25917" fmla="*/ 3076318 h 7458372"/>
              <a:gd name="connsiteX25918" fmla="*/ 3306481 w 10505529"/>
              <a:gd name="connsiteY25918" fmla="*/ 3071126 h 7458372"/>
              <a:gd name="connsiteX25919" fmla="*/ 3303818 w 10505529"/>
              <a:gd name="connsiteY25919" fmla="*/ 3066867 h 7458372"/>
              <a:gd name="connsiteX25920" fmla="*/ 3299825 w 10505529"/>
              <a:gd name="connsiteY25920" fmla="*/ 3064204 h 7458372"/>
              <a:gd name="connsiteX25921" fmla="*/ 3294765 w 10505529"/>
              <a:gd name="connsiteY25921" fmla="*/ 3063272 h 7458372"/>
              <a:gd name="connsiteX25922" fmla="*/ 3077245 w 10505529"/>
              <a:gd name="connsiteY25922" fmla="*/ 3063272 h 7458372"/>
              <a:gd name="connsiteX25923" fmla="*/ 3067262 w 10505529"/>
              <a:gd name="connsiteY25923" fmla="*/ 3066867 h 7458372"/>
              <a:gd name="connsiteX25924" fmla="*/ 3063532 w 10505529"/>
              <a:gd name="connsiteY25924" fmla="*/ 3076318 h 7458372"/>
              <a:gd name="connsiteX25925" fmla="*/ 3067127 w 10505529"/>
              <a:gd name="connsiteY25925" fmla="*/ 3085769 h 7458372"/>
              <a:gd name="connsiteX25926" fmla="*/ 3077111 w 10505529"/>
              <a:gd name="connsiteY25926" fmla="*/ 3089230 h 7458372"/>
              <a:gd name="connsiteX25927" fmla="*/ 3082569 w 10505529"/>
              <a:gd name="connsiteY25927" fmla="*/ 3088298 h 7458372"/>
              <a:gd name="connsiteX25928" fmla="*/ 3086297 w 10505529"/>
              <a:gd name="connsiteY25928" fmla="*/ 3085902 h 7458372"/>
              <a:gd name="connsiteX25929" fmla="*/ 3088959 w 10505529"/>
              <a:gd name="connsiteY25929" fmla="*/ 3081776 h 7458372"/>
              <a:gd name="connsiteX25930" fmla="*/ 3089892 w 10505529"/>
              <a:gd name="connsiteY25930" fmla="*/ 3076318 h 7458372"/>
              <a:gd name="connsiteX25931" fmla="*/ 3088959 w 10505529"/>
              <a:gd name="connsiteY25931" fmla="*/ 3071126 h 7458372"/>
              <a:gd name="connsiteX25932" fmla="*/ 3086297 w 10505529"/>
              <a:gd name="connsiteY25932" fmla="*/ 3066867 h 7458372"/>
              <a:gd name="connsiteX25933" fmla="*/ 3082304 w 10505529"/>
              <a:gd name="connsiteY25933" fmla="*/ 3064204 h 7458372"/>
              <a:gd name="connsiteX25934" fmla="*/ 3077245 w 10505529"/>
              <a:gd name="connsiteY25934" fmla="*/ 3063272 h 7458372"/>
              <a:gd name="connsiteX25935" fmla="*/ 2859458 w 10505529"/>
              <a:gd name="connsiteY25935" fmla="*/ 3063272 h 7458372"/>
              <a:gd name="connsiteX25936" fmla="*/ 2849472 w 10505529"/>
              <a:gd name="connsiteY25936" fmla="*/ 3066867 h 7458372"/>
              <a:gd name="connsiteX25937" fmla="*/ 2845877 w 10505529"/>
              <a:gd name="connsiteY25937" fmla="*/ 3076318 h 7458372"/>
              <a:gd name="connsiteX25938" fmla="*/ 2849472 w 10505529"/>
              <a:gd name="connsiteY25938" fmla="*/ 3085769 h 7458372"/>
              <a:gd name="connsiteX25939" fmla="*/ 2859458 w 10505529"/>
              <a:gd name="connsiteY25939" fmla="*/ 3089230 h 7458372"/>
              <a:gd name="connsiteX25940" fmla="*/ 2864783 w 10505529"/>
              <a:gd name="connsiteY25940" fmla="*/ 3088298 h 7458372"/>
              <a:gd name="connsiteX25941" fmla="*/ 2868510 w 10505529"/>
              <a:gd name="connsiteY25941" fmla="*/ 3085902 h 7458372"/>
              <a:gd name="connsiteX25942" fmla="*/ 2871173 w 10505529"/>
              <a:gd name="connsiteY25942" fmla="*/ 3081776 h 7458372"/>
              <a:gd name="connsiteX25943" fmla="*/ 2872104 w 10505529"/>
              <a:gd name="connsiteY25943" fmla="*/ 3076318 h 7458372"/>
              <a:gd name="connsiteX25944" fmla="*/ 2871173 w 10505529"/>
              <a:gd name="connsiteY25944" fmla="*/ 3071126 h 7458372"/>
              <a:gd name="connsiteX25945" fmla="*/ 2868510 w 10505529"/>
              <a:gd name="connsiteY25945" fmla="*/ 3066867 h 7458372"/>
              <a:gd name="connsiteX25946" fmla="*/ 2864517 w 10505529"/>
              <a:gd name="connsiteY25946" fmla="*/ 3064204 h 7458372"/>
              <a:gd name="connsiteX25947" fmla="*/ 2859458 w 10505529"/>
              <a:gd name="connsiteY25947" fmla="*/ 3063272 h 7458372"/>
              <a:gd name="connsiteX25948" fmla="*/ 2641803 w 10505529"/>
              <a:gd name="connsiteY25948" fmla="*/ 3063272 h 7458372"/>
              <a:gd name="connsiteX25949" fmla="*/ 2631821 w 10505529"/>
              <a:gd name="connsiteY25949" fmla="*/ 3066867 h 7458372"/>
              <a:gd name="connsiteX25950" fmla="*/ 2628226 w 10505529"/>
              <a:gd name="connsiteY25950" fmla="*/ 3076318 h 7458372"/>
              <a:gd name="connsiteX25951" fmla="*/ 2631821 w 10505529"/>
              <a:gd name="connsiteY25951" fmla="*/ 3085769 h 7458372"/>
              <a:gd name="connsiteX25952" fmla="*/ 2641803 w 10505529"/>
              <a:gd name="connsiteY25952" fmla="*/ 3089230 h 7458372"/>
              <a:gd name="connsiteX25953" fmla="*/ 2647129 w 10505529"/>
              <a:gd name="connsiteY25953" fmla="*/ 3088298 h 7458372"/>
              <a:gd name="connsiteX25954" fmla="*/ 2650856 w 10505529"/>
              <a:gd name="connsiteY25954" fmla="*/ 3085902 h 7458372"/>
              <a:gd name="connsiteX25955" fmla="*/ 2653519 w 10505529"/>
              <a:gd name="connsiteY25955" fmla="*/ 3081776 h 7458372"/>
              <a:gd name="connsiteX25956" fmla="*/ 2654450 w 10505529"/>
              <a:gd name="connsiteY25956" fmla="*/ 3076318 h 7458372"/>
              <a:gd name="connsiteX25957" fmla="*/ 2653519 w 10505529"/>
              <a:gd name="connsiteY25957" fmla="*/ 3071126 h 7458372"/>
              <a:gd name="connsiteX25958" fmla="*/ 2650856 w 10505529"/>
              <a:gd name="connsiteY25958" fmla="*/ 3066867 h 7458372"/>
              <a:gd name="connsiteX25959" fmla="*/ 2646863 w 10505529"/>
              <a:gd name="connsiteY25959" fmla="*/ 3064204 h 7458372"/>
              <a:gd name="connsiteX25960" fmla="*/ 2641803 w 10505529"/>
              <a:gd name="connsiteY25960" fmla="*/ 3063272 h 7458372"/>
              <a:gd name="connsiteX25961" fmla="*/ 2424149 w 10505529"/>
              <a:gd name="connsiteY25961" fmla="*/ 3063272 h 7458372"/>
              <a:gd name="connsiteX25962" fmla="*/ 2414166 w 10505529"/>
              <a:gd name="connsiteY25962" fmla="*/ 3066867 h 7458372"/>
              <a:gd name="connsiteX25963" fmla="*/ 2410572 w 10505529"/>
              <a:gd name="connsiteY25963" fmla="*/ 3076318 h 7458372"/>
              <a:gd name="connsiteX25964" fmla="*/ 2414166 w 10505529"/>
              <a:gd name="connsiteY25964" fmla="*/ 3085769 h 7458372"/>
              <a:gd name="connsiteX25965" fmla="*/ 2424149 w 10505529"/>
              <a:gd name="connsiteY25965" fmla="*/ 3089230 h 7458372"/>
              <a:gd name="connsiteX25966" fmla="*/ 2429475 w 10505529"/>
              <a:gd name="connsiteY25966" fmla="*/ 3088298 h 7458372"/>
              <a:gd name="connsiteX25967" fmla="*/ 2433202 w 10505529"/>
              <a:gd name="connsiteY25967" fmla="*/ 3085902 h 7458372"/>
              <a:gd name="connsiteX25968" fmla="*/ 2435865 w 10505529"/>
              <a:gd name="connsiteY25968" fmla="*/ 3081776 h 7458372"/>
              <a:gd name="connsiteX25969" fmla="*/ 2436796 w 10505529"/>
              <a:gd name="connsiteY25969" fmla="*/ 3076318 h 7458372"/>
              <a:gd name="connsiteX25970" fmla="*/ 2435865 w 10505529"/>
              <a:gd name="connsiteY25970" fmla="*/ 3071126 h 7458372"/>
              <a:gd name="connsiteX25971" fmla="*/ 2433202 w 10505529"/>
              <a:gd name="connsiteY25971" fmla="*/ 3066867 h 7458372"/>
              <a:gd name="connsiteX25972" fmla="*/ 2429209 w 10505529"/>
              <a:gd name="connsiteY25972" fmla="*/ 3064204 h 7458372"/>
              <a:gd name="connsiteX25973" fmla="*/ 2424149 w 10505529"/>
              <a:gd name="connsiteY25973" fmla="*/ 3063272 h 7458372"/>
              <a:gd name="connsiteX25974" fmla="*/ 2206496 w 10505529"/>
              <a:gd name="connsiteY25974" fmla="*/ 3063272 h 7458372"/>
              <a:gd name="connsiteX25975" fmla="*/ 2196512 w 10505529"/>
              <a:gd name="connsiteY25975" fmla="*/ 3066867 h 7458372"/>
              <a:gd name="connsiteX25976" fmla="*/ 2192918 w 10505529"/>
              <a:gd name="connsiteY25976" fmla="*/ 3076318 h 7458372"/>
              <a:gd name="connsiteX25977" fmla="*/ 2196512 w 10505529"/>
              <a:gd name="connsiteY25977" fmla="*/ 3085769 h 7458372"/>
              <a:gd name="connsiteX25978" fmla="*/ 2206496 w 10505529"/>
              <a:gd name="connsiteY25978" fmla="*/ 3089230 h 7458372"/>
              <a:gd name="connsiteX25979" fmla="*/ 2211821 w 10505529"/>
              <a:gd name="connsiteY25979" fmla="*/ 3088298 h 7458372"/>
              <a:gd name="connsiteX25980" fmla="*/ 2215548 w 10505529"/>
              <a:gd name="connsiteY25980" fmla="*/ 3085902 h 7458372"/>
              <a:gd name="connsiteX25981" fmla="*/ 2218211 w 10505529"/>
              <a:gd name="connsiteY25981" fmla="*/ 3081776 h 7458372"/>
              <a:gd name="connsiteX25982" fmla="*/ 2219142 w 10505529"/>
              <a:gd name="connsiteY25982" fmla="*/ 3076318 h 7458372"/>
              <a:gd name="connsiteX25983" fmla="*/ 2218211 w 10505529"/>
              <a:gd name="connsiteY25983" fmla="*/ 3071126 h 7458372"/>
              <a:gd name="connsiteX25984" fmla="*/ 2215548 w 10505529"/>
              <a:gd name="connsiteY25984" fmla="*/ 3066867 h 7458372"/>
              <a:gd name="connsiteX25985" fmla="*/ 2211555 w 10505529"/>
              <a:gd name="connsiteY25985" fmla="*/ 3064204 h 7458372"/>
              <a:gd name="connsiteX25986" fmla="*/ 2206496 w 10505529"/>
              <a:gd name="connsiteY25986" fmla="*/ 3063272 h 7458372"/>
              <a:gd name="connsiteX25987" fmla="*/ 1988975 w 10505529"/>
              <a:gd name="connsiteY25987" fmla="*/ 3063272 h 7458372"/>
              <a:gd name="connsiteX25988" fmla="*/ 1978992 w 10505529"/>
              <a:gd name="connsiteY25988" fmla="*/ 3066867 h 7458372"/>
              <a:gd name="connsiteX25989" fmla="*/ 1975397 w 10505529"/>
              <a:gd name="connsiteY25989" fmla="*/ 3076318 h 7458372"/>
              <a:gd name="connsiteX25990" fmla="*/ 1978992 w 10505529"/>
              <a:gd name="connsiteY25990" fmla="*/ 3085769 h 7458372"/>
              <a:gd name="connsiteX25991" fmla="*/ 1988975 w 10505529"/>
              <a:gd name="connsiteY25991" fmla="*/ 3089230 h 7458372"/>
              <a:gd name="connsiteX25992" fmla="*/ 1994299 w 10505529"/>
              <a:gd name="connsiteY25992" fmla="*/ 3088298 h 7458372"/>
              <a:gd name="connsiteX25993" fmla="*/ 1998027 w 10505529"/>
              <a:gd name="connsiteY25993" fmla="*/ 3085902 h 7458372"/>
              <a:gd name="connsiteX25994" fmla="*/ 2000690 w 10505529"/>
              <a:gd name="connsiteY25994" fmla="*/ 3081776 h 7458372"/>
              <a:gd name="connsiteX25995" fmla="*/ 2001620 w 10505529"/>
              <a:gd name="connsiteY25995" fmla="*/ 3076318 h 7458372"/>
              <a:gd name="connsiteX25996" fmla="*/ 2000690 w 10505529"/>
              <a:gd name="connsiteY25996" fmla="*/ 3071126 h 7458372"/>
              <a:gd name="connsiteX25997" fmla="*/ 1998027 w 10505529"/>
              <a:gd name="connsiteY25997" fmla="*/ 3066867 h 7458372"/>
              <a:gd name="connsiteX25998" fmla="*/ 1994033 w 10505529"/>
              <a:gd name="connsiteY25998" fmla="*/ 3064204 h 7458372"/>
              <a:gd name="connsiteX25999" fmla="*/ 1988975 w 10505529"/>
              <a:gd name="connsiteY25999" fmla="*/ 3063272 h 7458372"/>
              <a:gd name="connsiteX26000" fmla="*/ 1771336 w 10505529"/>
              <a:gd name="connsiteY26000" fmla="*/ 3063272 h 7458372"/>
              <a:gd name="connsiteX26001" fmla="*/ 1761353 w 10505529"/>
              <a:gd name="connsiteY26001" fmla="*/ 3066867 h 7458372"/>
              <a:gd name="connsiteX26002" fmla="*/ 1757759 w 10505529"/>
              <a:gd name="connsiteY26002" fmla="*/ 3076318 h 7458372"/>
              <a:gd name="connsiteX26003" fmla="*/ 1761353 w 10505529"/>
              <a:gd name="connsiteY26003" fmla="*/ 3085769 h 7458372"/>
              <a:gd name="connsiteX26004" fmla="*/ 1771336 w 10505529"/>
              <a:gd name="connsiteY26004" fmla="*/ 3089230 h 7458372"/>
              <a:gd name="connsiteX26005" fmla="*/ 1776661 w 10505529"/>
              <a:gd name="connsiteY26005" fmla="*/ 3088298 h 7458372"/>
              <a:gd name="connsiteX26006" fmla="*/ 1780388 w 10505529"/>
              <a:gd name="connsiteY26006" fmla="*/ 3085902 h 7458372"/>
              <a:gd name="connsiteX26007" fmla="*/ 1783050 w 10505529"/>
              <a:gd name="connsiteY26007" fmla="*/ 3081776 h 7458372"/>
              <a:gd name="connsiteX26008" fmla="*/ 1784115 w 10505529"/>
              <a:gd name="connsiteY26008" fmla="*/ 3076318 h 7458372"/>
              <a:gd name="connsiteX26009" fmla="*/ 1783050 w 10505529"/>
              <a:gd name="connsiteY26009" fmla="*/ 3071126 h 7458372"/>
              <a:gd name="connsiteX26010" fmla="*/ 1780388 w 10505529"/>
              <a:gd name="connsiteY26010" fmla="*/ 3066867 h 7458372"/>
              <a:gd name="connsiteX26011" fmla="*/ 1776395 w 10505529"/>
              <a:gd name="connsiteY26011" fmla="*/ 3064204 h 7458372"/>
              <a:gd name="connsiteX26012" fmla="*/ 1771336 w 10505529"/>
              <a:gd name="connsiteY26012" fmla="*/ 3063272 h 7458372"/>
              <a:gd name="connsiteX26013" fmla="*/ 1553695 w 10505529"/>
              <a:gd name="connsiteY26013" fmla="*/ 3063272 h 7458372"/>
              <a:gd name="connsiteX26014" fmla="*/ 1543712 w 10505529"/>
              <a:gd name="connsiteY26014" fmla="*/ 3066867 h 7458372"/>
              <a:gd name="connsiteX26015" fmla="*/ 1540118 w 10505529"/>
              <a:gd name="connsiteY26015" fmla="*/ 3076318 h 7458372"/>
              <a:gd name="connsiteX26016" fmla="*/ 1543712 w 10505529"/>
              <a:gd name="connsiteY26016" fmla="*/ 3085769 h 7458372"/>
              <a:gd name="connsiteX26017" fmla="*/ 1553695 w 10505529"/>
              <a:gd name="connsiteY26017" fmla="*/ 3089230 h 7458372"/>
              <a:gd name="connsiteX26018" fmla="*/ 1559020 w 10505529"/>
              <a:gd name="connsiteY26018" fmla="*/ 3088298 h 7458372"/>
              <a:gd name="connsiteX26019" fmla="*/ 1562747 w 10505529"/>
              <a:gd name="connsiteY26019" fmla="*/ 3085902 h 7458372"/>
              <a:gd name="connsiteX26020" fmla="*/ 1565410 w 10505529"/>
              <a:gd name="connsiteY26020" fmla="*/ 3081776 h 7458372"/>
              <a:gd name="connsiteX26021" fmla="*/ 1566475 w 10505529"/>
              <a:gd name="connsiteY26021" fmla="*/ 3076318 h 7458372"/>
              <a:gd name="connsiteX26022" fmla="*/ 1565410 w 10505529"/>
              <a:gd name="connsiteY26022" fmla="*/ 3071126 h 7458372"/>
              <a:gd name="connsiteX26023" fmla="*/ 1562747 w 10505529"/>
              <a:gd name="connsiteY26023" fmla="*/ 3066867 h 7458372"/>
              <a:gd name="connsiteX26024" fmla="*/ 1558754 w 10505529"/>
              <a:gd name="connsiteY26024" fmla="*/ 3064204 h 7458372"/>
              <a:gd name="connsiteX26025" fmla="*/ 1553695 w 10505529"/>
              <a:gd name="connsiteY26025" fmla="*/ 3063272 h 7458372"/>
              <a:gd name="connsiteX26026" fmla="*/ 1336051 w 10505529"/>
              <a:gd name="connsiteY26026" fmla="*/ 3063272 h 7458372"/>
              <a:gd name="connsiteX26027" fmla="*/ 1326068 w 10505529"/>
              <a:gd name="connsiteY26027" fmla="*/ 3066867 h 7458372"/>
              <a:gd name="connsiteX26028" fmla="*/ 1322473 w 10505529"/>
              <a:gd name="connsiteY26028" fmla="*/ 3076318 h 7458372"/>
              <a:gd name="connsiteX26029" fmla="*/ 1326068 w 10505529"/>
              <a:gd name="connsiteY26029" fmla="*/ 3085769 h 7458372"/>
              <a:gd name="connsiteX26030" fmla="*/ 1336051 w 10505529"/>
              <a:gd name="connsiteY26030" fmla="*/ 3089230 h 7458372"/>
              <a:gd name="connsiteX26031" fmla="*/ 1341377 w 10505529"/>
              <a:gd name="connsiteY26031" fmla="*/ 3088298 h 7458372"/>
              <a:gd name="connsiteX26032" fmla="*/ 1345104 w 10505529"/>
              <a:gd name="connsiteY26032" fmla="*/ 3085902 h 7458372"/>
              <a:gd name="connsiteX26033" fmla="*/ 1347767 w 10505529"/>
              <a:gd name="connsiteY26033" fmla="*/ 3081776 h 7458372"/>
              <a:gd name="connsiteX26034" fmla="*/ 1348833 w 10505529"/>
              <a:gd name="connsiteY26034" fmla="*/ 3076318 h 7458372"/>
              <a:gd name="connsiteX26035" fmla="*/ 1347767 w 10505529"/>
              <a:gd name="connsiteY26035" fmla="*/ 3071126 h 7458372"/>
              <a:gd name="connsiteX26036" fmla="*/ 1345104 w 10505529"/>
              <a:gd name="connsiteY26036" fmla="*/ 3066867 h 7458372"/>
              <a:gd name="connsiteX26037" fmla="*/ 1341110 w 10505529"/>
              <a:gd name="connsiteY26037" fmla="*/ 3064204 h 7458372"/>
              <a:gd name="connsiteX26038" fmla="*/ 1336051 w 10505529"/>
              <a:gd name="connsiteY26038" fmla="*/ 3063272 h 7458372"/>
              <a:gd name="connsiteX26039" fmla="*/ 1118539 w 10505529"/>
              <a:gd name="connsiteY26039" fmla="*/ 3063272 h 7458372"/>
              <a:gd name="connsiteX26040" fmla="*/ 1108554 w 10505529"/>
              <a:gd name="connsiteY26040" fmla="*/ 3066867 h 7458372"/>
              <a:gd name="connsiteX26041" fmla="*/ 1104827 w 10505529"/>
              <a:gd name="connsiteY26041" fmla="*/ 3076318 h 7458372"/>
              <a:gd name="connsiteX26042" fmla="*/ 1108422 w 10505529"/>
              <a:gd name="connsiteY26042" fmla="*/ 3085769 h 7458372"/>
              <a:gd name="connsiteX26043" fmla="*/ 1118406 w 10505529"/>
              <a:gd name="connsiteY26043" fmla="*/ 3089230 h 7458372"/>
              <a:gd name="connsiteX26044" fmla="*/ 1123863 w 10505529"/>
              <a:gd name="connsiteY26044" fmla="*/ 3088298 h 7458372"/>
              <a:gd name="connsiteX26045" fmla="*/ 1127592 w 10505529"/>
              <a:gd name="connsiteY26045" fmla="*/ 3085902 h 7458372"/>
              <a:gd name="connsiteX26046" fmla="*/ 1130255 w 10505529"/>
              <a:gd name="connsiteY26046" fmla="*/ 3081776 h 7458372"/>
              <a:gd name="connsiteX26047" fmla="*/ 1131321 w 10505529"/>
              <a:gd name="connsiteY26047" fmla="*/ 3076318 h 7458372"/>
              <a:gd name="connsiteX26048" fmla="*/ 1130255 w 10505529"/>
              <a:gd name="connsiteY26048" fmla="*/ 3071126 h 7458372"/>
              <a:gd name="connsiteX26049" fmla="*/ 1127592 w 10505529"/>
              <a:gd name="connsiteY26049" fmla="*/ 3066867 h 7458372"/>
              <a:gd name="connsiteX26050" fmla="*/ 1123597 w 10505529"/>
              <a:gd name="connsiteY26050" fmla="*/ 3064204 h 7458372"/>
              <a:gd name="connsiteX26051" fmla="*/ 1118539 w 10505529"/>
              <a:gd name="connsiteY26051" fmla="*/ 3063272 h 7458372"/>
              <a:gd name="connsiteX26052" fmla="*/ 901027 w 10505529"/>
              <a:gd name="connsiteY26052" fmla="*/ 3063272 h 7458372"/>
              <a:gd name="connsiteX26053" fmla="*/ 891043 w 10505529"/>
              <a:gd name="connsiteY26053" fmla="*/ 3066867 h 7458372"/>
              <a:gd name="connsiteX26054" fmla="*/ 887316 w 10505529"/>
              <a:gd name="connsiteY26054" fmla="*/ 3076318 h 7458372"/>
              <a:gd name="connsiteX26055" fmla="*/ 890910 w 10505529"/>
              <a:gd name="connsiteY26055" fmla="*/ 3085769 h 7458372"/>
              <a:gd name="connsiteX26056" fmla="*/ 900893 w 10505529"/>
              <a:gd name="connsiteY26056" fmla="*/ 3089230 h 7458372"/>
              <a:gd name="connsiteX26057" fmla="*/ 906351 w 10505529"/>
              <a:gd name="connsiteY26057" fmla="*/ 3088298 h 7458372"/>
              <a:gd name="connsiteX26058" fmla="*/ 910080 w 10505529"/>
              <a:gd name="connsiteY26058" fmla="*/ 3085902 h 7458372"/>
              <a:gd name="connsiteX26059" fmla="*/ 912741 w 10505529"/>
              <a:gd name="connsiteY26059" fmla="*/ 3081776 h 7458372"/>
              <a:gd name="connsiteX26060" fmla="*/ 913807 w 10505529"/>
              <a:gd name="connsiteY26060" fmla="*/ 3076318 h 7458372"/>
              <a:gd name="connsiteX26061" fmla="*/ 912741 w 10505529"/>
              <a:gd name="connsiteY26061" fmla="*/ 3071126 h 7458372"/>
              <a:gd name="connsiteX26062" fmla="*/ 910080 w 10505529"/>
              <a:gd name="connsiteY26062" fmla="*/ 3066867 h 7458372"/>
              <a:gd name="connsiteX26063" fmla="*/ 906085 w 10505529"/>
              <a:gd name="connsiteY26063" fmla="*/ 3064204 h 7458372"/>
              <a:gd name="connsiteX26064" fmla="*/ 901027 w 10505529"/>
              <a:gd name="connsiteY26064" fmla="*/ 3063272 h 7458372"/>
              <a:gd name="connsiteX26065" fmla="*/ 683251 w 10505529"/>
              <a:gd name="connsiteY26065" fmla="*/ 3063272 h 7458372"/>
              <a:gd name="connsiteX26066" fmla="*/ 673268 w 10505529"/>
              <a:gd name="connsiteY26066" fmla="*/ 3066867 h 7458372"/>
              <a:gd name="connsiteX26067" fmla="*/ 669674 w 10505529"/>
              <a:gd name="connsiteY26067" fmla="*/ 3076318 h 7458372"/>
              <a:gd name="connsiteX26068" fmla="*/ 673268 w 10505529"/>
              <a:gd name="connsiteY26068" fmla="*/ 3085769 h 7458372"/>
              <a:gd name="connsiteX26069" fmla="*/ 683251 w 10505529"/>
              <a:gd name="connsiteY26069" fmla="*/ 3089230 h 7458372"/>
              <a:gd name="connsiteX26070" fmla="*/ 688576 w 10505529"/>
              <a:gd name="connsiteY26070" fmla="*/ 3088298 h 7458372"/>
              <a:gd name="connsiteX26071" fmla="*/ 692303 w 10505529"/>
              <a:gd name="connsiteY26071" fmla="*/ 3085902 h 7458372"/>
              <a:gd name="connsiteX26072" fmla="*/ 694966 w 10505529"/>
              <a:gd name="connsiteY26072" fmla="*/ 3081776 h 7458372"/>
              <a:gd name="connsiteX26073" fmla="*/ 696031 w 10505529"/>
              <a:gd name="connsiteY26073" fmla="*/ 3076318 h 7458372"/>
              <a:gd name="connsiteX26074" fmla="*/ 694966 w 10505529"/>
              <a:gd name="connsiteY26074" fmla="*/ 3071126 h 7458372"/>
              <a:gd name="connsiteX26075" fmla="*/ 692303 w 10505529"/>
              <a:gd name="connsiteY26075" fmla="*/ 3066867 h 7458372"/>
              <a:gd name="connsiteX26076" fmla="*/ 688310 w 10505529"/>
              <a:gd name="connsiteY26076" fmla="*/ 3064204 h 7458372"/>
              <a:gd name="connsiteX26077" fmla="*/ 683251 w 10505529"/>
              <a:gd name="connsiteY26077" fmla="*/ 3063272 h 7458372"/>
              <a:gd name="connsiteX26078" fmla="*/ 465608 w 10505529"/>
              <a:gd name="connsiteY26078" fmla="*/ 3063272 h 7458372"/>
              <a:gd name="connsiteX26079" fmla="*/ 455625 w 10505529"/>
              <a:gd name="connsiteY26079" fmla="*/ 3066867 h 7458372"/>
              <a:gd name="connsiteX26080" fmla="*/ 452031 w 10505529"/>
              <a:gd name="connsiteY26080" fmla="*/ 3076318 h 7458372"/>
              <a:gd name="connsiteX26081" fmla="*/ 455625 w 10505529"/>
              <a:gd name="connsiteY26081" fmla="*/ 3085769 h 7458372"/>
              <a:gd name="connsiteX26082" fmla="*/ 465608 w 10505529"/>
              <a:gd name="connsiteY26082" fmla="*/ 3089230 h 7458372"/>
              <a:gd name="connsiteX26083" fmla="*/ 470933 w 10505529"/>
              <a:gd name="connsiteY26083" fmla="*/ 3088298 h 7458372"/>
              <a:gd name="connsiteX26084" fmla="*/ 474660 w 10505529"/>
              <a:gd name="connsiteY26084" fmla="*/ 3085902 h 7458372"/>
              <a:gd name="connsiteX26085" fmla="*/ 477324 w 10505529"/>
              <a:gd name="connsiteY26085" fmla="*/ 3081776 h 7458372"/>
              <a:gd name="connsiteX26086" fmla="*/ 478388 w 10505529"/>
              <a:gd name="connsiteY26086" fmla="*/ 3076318 h 7458372"/>
              <a:gd name="connsiteX26087" fmla="*/ 477324 w 10505529"/>
              <a:gd name="connsiteY26087" fmla="*/ 3071126 h 7458372"/>
              <a:gd name="connsiteX26088" fmla="*/ 474660 w 10505529"/>
              <a:gd name="connsiteY26088" fmla="*/ 3066867 h 7458372"/>
              <a:gd name="connsiteX26089" fmla="*/ 470668 w 10505529"/>
              <a:gd name="connsiteY26089" fmla="*/ 3064204 h 7458372"/>
              <a:gd name="connsiteX26090" fmla="*/ 465608 w 10505529"/>
              <a:gd name="connsiteY26090" fmla="*/ 3063272 h 7458372"/>
              <a:gd name="connsiteX26091" fmla="*/ 247965 w 10505529"/>
              <a:gd name="connsiteY26091" fmla="*/ 3063272 h 7458372"/>
              <a:gd name="connsiteX26092" fmla="*/ 237983 w 10505529"/>
              <a:gd name="connsiteY26092" fmla="*/ 3066867 h 7458372"/>
              <a:gd name="connsiteX26093" fmla="*/ 234389 w 10505529"/>
              <a:gd name="connsiteY26093" fmla="*/ 3076318 h 7458372"/>
              <a:gd name="connsiteX26094" fmla="*/ 237983 w 10505529"/>
              <a:gd name="connsiteY26094" fmla="*/ 3085769 h 7458372"/>
              <a:gd name="connsiteX26095" fmla="*/ 247965 w 10505529"/>
              <a:gd name="connsiteY26095" fmla="*/ 3089230 h 7458372"/>
              <a:gd name="connsiteX26096" fmla="*/ 253290 w 10505529"/>
              <a:gd name="connsiteY26096" fmla="*/ 3088298 h 7458372"/>
              <a:gd name="connsiteX26097" fmla="*/ 257017 w 10505529"/>
              <a:gd name="connsiteY26097" fmla="*/ 3085902 h 7458372"/>
              <a:gd name="connsiteX26098" fmla="*/ 259680 w 10505529"/>
              <a:gd name="connsiteY26098" fmla="*/ 3081776 h 7458372"/>
              <a:gd name="connsiteX26099" fmla="*/ 260745 w 10505529"/>
              <a:gd name="connsiteY26099" fmla="*/ 3076318 h 7458372"/>
              <a:gd name="connsiteX26100" fmla="*/ 259680 w 10505529"/>
              <a:gd name="connsiteY26100" fmla="*/ 3071126 h 7458372"/>
              <a:gd name="connsiteX26101" fmla="*/ 257017 w 10505529"/>
              <a:gd name="connsiteY26101" fmla="*/ 3066867 h 7458372"/>
              <a:gd name="connsiteX26102" fmla="*/ 253024 w 10505529"/>
              <a:gd name="connsiteY26102" fmla="*/ 3064204 h 7458372"/>
              <a:gd name="connsiteX26103" fmla="*/ 247965 w 10505529"/>
              <a:gd name="connsiteY26103" fmla="*/ 3063272 h 7458372"/>
              <a:gd name="connsiteX26104" fmla="*/ 30322 w 10505529"/>
              <a:gd name="connsiteY26104" fmla="*/ 3063272 h 7458372"/>
              <a:gd name="connsiteX26105" fmla="*/ 20339 w 10505529"/>
              <a:gd name="connsiteY26105" fmla="*/ 3066867 h 7458372"/>
              <a:gd name="connsiteX26106" fmla="*/ 16745 w 10505529"/>
              <a:gd name="connsiteY26106" fmla="*/ 3076318 h 7458372"/>
              <a:gd name="connsiteX26107" fmla="*/ 20339 w 10505529"/>
              <a:gd name="connsiteY26107" fmla="*/ 3085769 h 7458372"/>
              <a:gd name="connsiteX26108" fmla="*/ 30322 w 10505529"/>
              <a:gd name="connsiteY26108" fmla="*/ 3089230 h 7458372"/>
              <a:gd name="connsiteX26109" fmla="*/ 35647 w 10505529"/>
              <a:gd name="connsiteY26109" fmla="*/ 3088298 h 7458372"/>
              <a:gd name="connsiteX26110" fmla="*/ 39374 w 10505529"/>
              <a:gd name="connsiteY26110" fmla="*/ 3085902 h 7458372"/>
              <a:gd name="connsiteX26111" fmla="*/ 42038 w 10505529"/>
              <a:gd name="connsiteY26111" fmla="*/ 3081776 h 7458372"/>
              <a:gd name="connsiteX26112" fmla="*/ 42969 w 10505529"/>
              <a:gd name="connsiteY26112" fmla="*/ 3076318 h 7458372"/>
              <a:gd name="connsiteX26113" fmla="*/ 42038 w 10505529"/>
              <a:gd name="connsiteY26113" fmla="*/ 3071126 h 7458372"/>
              <a:gd name="connsiteX26114" fmla="*/ 39374 w 10505529"/>
              <a:gd name="connsiteY26114" fmla="*/ 3066867 h 7458372"/>
              <a:gd name="connsiteX26115" fmla="*/ 35381 w 10505529"/>
              <a:gd name="connsiteY26115" fmla="*/ 3064204 h 7458372"/>
              <a:gd name="connsiteX26116" fmla="*/ 30322 w 10505529"/>
              <a:gd name="connsiteY26116" fmla="*/ 3063272 h 7458372"/>
              <a:gd name="connsiteX26117" fmla="*/ 10475977 w 10505529"/>
              <a:gd name="connsiteY26117" fmla="*/ 3046633 h 7458372"/>
              <a:gd name="connsiteX26118" fmla="*/ 10487824 w 10505529"/>
              <a:gd name="connsiteY26118" fmla="*/ 3049161 h 7458372"/>
              <a:gd name="connsiteX26119" fmla="*/ 10497143 w 10505529"/>
              <a:gd name="connsiteY26119" fmla="*/ 3055552 h 7458372"/>
              <a:gd name="connsiteX26120" fmla="*/ 10503266 w 10505529"/>
              <a:gd name="connsiteY26120" fmla="*/ 3065002 h 7458372"/>
              <a:gd name="connsiteX26121" fmla="*/ 10505529 w 10505529"/>
              <a:gd name="connsiteY26121" fmla="*/ 3076451 h 7458372"/>
              <a:gd name="connsiteX26122" fmla="*/ 10503266 w 10505529"/>
              <a:gd name="connsiteY26122" fmla="*/ 3088165 h 7458372"/>
              <a:gd name="connsiteX26123" fmla="*/ 10497143 w 10505529"/>
              <a:gd name="connsiteY26123" fmla="*/ 3097485 h 7458372"/>
              <a:gd name="connsiteX26124" fmla="*/ 10487824 w 10505529"/>
              <a:gd name="connsiteY26124" fmla="*/ 3103740 h 7458372"/>
              <a:gd name="connsiteX26125" fmla="*/ 10475977 w 10505529"/>
              <a:gd name="connsiteY26125" fmla="*/ 3106003 h 7458372"/>
              <a:gd name="connsiteX26126" fmla="*/ 10454145 w 10505529"/>
              <a:gd name="connsiteY26126" fmla="*/ 3097485 h 7458372"/>
              <a:gd name="connsiteX26127" fmla="*/ 10445759 w 10505529"/>
              <a:gd name="connsiteY26127" fmla="*/ 3076318 h 7458372"/>
              <a:gd name="connsiteX26128" fmla="*/ 10454145 w 10505529"/>
              <a:gd name="connsiteY26128" fmla="*/ 3055286 h 7458372"/>
              <a:gd name="connsiteX26129" fmla="*/ 10475977 w 10505529"/>
              <a:gd name="connsiteY26129" fmla="*/ 3046633 h 7458372"/>
              <a:gd name="connsiteX26130" fmla="*/ 10258466 w 10505529"/>
              <a:gd name="connsiteY26130" fmla="*/ 3046633 h 7458372"/>
              <a:gd name="connsiteX26131" fmla="*/ 10270313 w 10505529"/>
              <a:gd name="connsiteY26131" fmla="*/ 3049161 h 7458372"/>
              <a:gd name="connsiteX26132" fmla="*/ 10279631 w 10505529"/>
              <a:gd name="connsiteY26132" fmla="*/ 3055552 h 7458372"/>
              <a:gd name="connsiteX26133" fmla="*/ 10285754 w 10505529"/>
              <a:gd name="connsiteY26133" fmla="*/ 3065002 h 7458372"/>
              <a:gd name="connsiteX26134" fmla="*/ 10288017 w 10505529"/>
              <a:gd name="connsiteY26134" fmla="*/ 3076451 h 7458372"/>
              <a:gd name="connsiteX26135" fmla="*/ 10285754 w 10505529"/>
              <a:gd name="connsiteY26135" fmla="*/ 3088165 h 7458372"/>
              <a:gd name="connsiteX26136" fmla="*/ 10279631 w 10505529"/>
              <a:gd name="connsiteY26136" fmla="*/ 3097485 h 7458372"/>
              <a:gd name="connsiteX26137" fmla="*/ 10270313 w 10505529"/>
              <a:gd name="connsiteY26137" fmla="*/ 3103740 h 7458372"/>
              <a:gd name="connsiteX26138" fmla="*/ 10258466 w 10505529"/>
              <a:gd name="connsiteY26138" fmla="*/ 3106003 h 7458372"/>
              <a:gd name="connsiteX26139" fmla="*/ 10236633 w 10505529"/>
              <a:gd name="connsiteY26139" fmla="*/ 3097485 h 7458372"/>
              <a:gd name="connsiteX26140" fmla="*/ 10228247 w 10505529"/>
              <a:gd name="connsiteY26140" fmla="*/ 3076318 h 7458372"/>
              <a:gd name="connsiteX26141" fmla="*/ 10236633 w 10505529"/>
              <a:gd name="connsiteY26141" fmla="*/ 3055286 h 7458372"/>
              <a:gd name="connsiteX26142" fmla="*/ 10258466 w 10505529"/>
              <a:gd name="connsiteY26142" fmla="*/ 3046633 h 7458372"/>
              <a:gd name="connsiteX26143" fmla="*/ 10040820 w 10505529"/>
              <a:gd name="connsiteY26143" fmla="*/ 3046633 h 7458372"/>
              <a:gd name="connsiteX26144" fmla="*/ 10052534 w 10505529"/>
              <a:gd name="connsiteY26144" fmla="*/ 3049161 h 7458372"/>
              <a:gd name="connsiteX26145" fmla="*/ 10061852 w 10505529"/>
              <a:gd name="connsiteY26145" fmla="*/ 3055552 h 7458372"/>
              <a:gd name="connsiteX26146" fmla="*/ 10067976 w 10505529"/>
              <a:gd name="connsiteY26146" fmla="*/ 3065002 h 7458372"/>
              <a:gd name="connsiteX26147" fmla="*/ 10070239 w 10505529"/>
              <a:gd name="connsiteY26147" fmla="*/ 3076451 h 7458372"/>
              <a:gd name="connsiteX26148" fmla="*/ 10067976 w 10505529"/>
              <a:gd name="connsiteY26148" fmla="*/ 3088165 h 7458372"/>
              <a:gd name="connsiteX26149" fmla="*/ 10061852 w 10505529"/>
              <a:gd name="connsiteY26149" fmla="*/ 3097485 h 7458372"/>
              <a:gd name="connsiteX26150" fmla="*/ 10052534 w 10505529"/>
              <a:gd name="connsiteY26150" fmla="*/ 3103740 h 7458372"/>
              <a:gd name="connsiteX26151" fmla="*/ 10040820 w 10505529"/>
              <a:gd name="connsiteY26151" fmla="*/ 3106003 h 7458372"/>
              <a:gd name="connsiteX26152" fmla="*/ 10018988 w 10505529"/>
              <a:gd name="connsiteY26152" fmla="*/ 3097485 h 7458372"/>
              <a:gd name="connsiteX26153" fmla="*/ 10010602 w 10505529"/>
              <a:gd name="connsiteY26153" fmla="*/ 3076318 h 7458372"/>
              <a:gd name="connsiteX26154" fmla="*/ 10018988 w 10505529"/>
              <a:gd name="connsiteY26154" fmla="*/ 3055286 h 7458372"/>
              <a:gd name="connsiteX26155" fmla="*/ 10040820 w 10505529"/>
              <a:gd name="connsiteY26155" fmla="*/ 3046633 h 7458372"/>
              <a:gd name="connsiteX26156" fmla="*/ 9823176 w 10505529"/>
              <a:gd name="connsiteY26156" fmla="*/ 3046633 h 7458372"/>
              <a:gd name="connsiteX26157" fmla="*/ 9834890 w 10505529"/>
              <a:gd name="connsiteY26157" fmla="*/ 3049161 h 7458372"/>
              <a:gd name="connsiteX26158" fmla="*/ 9844208 w 10505529"/>
              <a:gd name="connsiteY26158" fmla="*/ 3055552 h 7458372"/>
              <a:gd name="connsiteX26159" fmla="*/ 9850331 w 10505529"/>
              <a:gd name="connsiteY26159" fmla="*/ 3065002 h 7458372"/>
              <a:gd name="connsiteX26160" fmla="*/ 9852595 w 10505529"/>
              <a:gd name="connsiteY26160" fmla="*/ 3076451 h 7458372"/>
              <a:gd name="connsiteX26161" fmla="*/ 9850331 w 10505529"/>
              <a:gd name="connsiteY26161" fmla="*/ 3088165 h 7458372"/>
              <a:gd name="connsiteX26162" fmla="*/ 9844208 w 10505529"/>
              <a:gd name="connsiteY26162" fmla="*/ 3097485 h 7458372"/>
              <a:gd name="connsiteX26163" fmla="*/ 9834890 w 10505529"/>
              <a:gd name="connsiteY26163" fmla="*/ 3103740 h 7458372"/>
              <a:gd name="connsiteX26164" fmla="*/ 9823176 w 10505529"/>
              <a:gd name="connsiteY26164" fmla="*/ 3106003 h 7458372"/>
              <a:gd name="connsiteX26165" fmla="*/ 9801343 w 10505529"/>
              <a:gd name="connsiteY26165" fmla="*/ 3097485 h 7458372"/>
              <a:gd name="connsiteX26166" fmla="*/ 9792957 w 10505529"/>
              <a:gd name="connsiteY26166" fmla="*/ 3076318 h 7458372"/>
              <a:gd name="connsiteX26167" fmla="*/ 9801343 w 10505529"/>
              <a:gd name="connsiteY26167" fmla="*/ 3055286 h 7458372"/>
              <a:gd name="connsiteX26168" fmla="*/ 9823176 w 10505529"/>
              <a:gd name="connsiteY26168" fmla="*/ 3046633 h 7458372"/>
              <a:gd name="connsiteX26169" fmla="*/ 9605531 w 10505529"/>
              <a:gd name="connsiteY26169" fmla="*/ 3046633 h 7458372"/>
              <a:gd name="connsiteX26170" fmla="*/ 9617245 w 10505529"/>
              <a:gd name="connsiteY26170" fmla="*/ 3049161 h 7458372"/>
              <a:gd name="connsiteX26171" fmla="*/ 9626562 w 10505529"/>
              <a:gd name="connsiteY26171" fmla="*/ 3055552 h 7458372"/>
              <a:gd name="connsiteX26172" fmla="*/ 9632686 w 10505529"/>
              <a:gd name="connsiteY26172" fmla="*/ 3065002 h 7458372"/>
              <a:gd name="connsiteX26173" fmla="*/ 9634949 w 10505529"/>
              <a:gd name="connsiteY26173" fmla="*/ 3076451 h 7458372"/>
              <a:gd name="connsiteX26174" fmla="*/ 9632686 w 10505529"/>
              <a:gd name="connsiteY26174" fmla="*/ 3088165 h 7458372"/>
              <a:gd name="connsiteX26175" fmla="*/ 9626562 w 10505529"/>
              <a:gd name="connsiteY26175" fmla="*/ 3097485 h 7458372"/>
              <a:gd name="connsiteX26176" fmla="*/ 9617245 w 10505529"/>
              <a:gd name="connsiteY26176" fmla="*/ 3103740 h 7458372"/>
              <a:gd name="connsiteX26177" fmla="*/ 9605531 w 10505529"/>
              <a:gd name="connsiteY26177" fmla="*/ 3106003 h 7458372"/>
              <a:gd name="connsiteX26178" fmla="*/ 9583698 w 10505529"/>
              <a:gd name="connsiteY26178" fmla="*/ 3097485 h 7458372"/>
              <a:gd name="connsiteX26179" fmla="*/ 9575312 w 10505529"/>
              <a:gd name="connsiteY26179" fmla="*/ 3076318 h 7458372"/>
              <a:gd name="connsiteX26180" fmla="*/ 9583698 w 10505529"/>
              <a:gd name="connsiteY26180" fmla="*/ 3055286 h 7458372"/>
              <a:gd name="connsiteX26181" fmla="*/ 9605531 w 10505529"/>
              <a:gd name="connsiteY26181" fmla="*/ 3046633 h 7458372"/>
              <a:gd name="connsiteX26182" fmla="*/ 9387885 w 10505529"/>
              <a:gd name="connsiteY26182" fmla="*/ 3046633 h 7458372"/>
              <a:gd name="connsiteX26183" fmla="*/ 9399599 w 10505529"/>
              <a:gd name="connsiteY26183" fmla="*/ 3049161 h 7458372"/>
              <a:gd name="connsiteX26184" fmla="*/ 9408917 w 10505529"/>
              <a:gd name="connsiteY26184" fmla="*/ 3055552 h 7458372"/>
              <a:gd name="connsiteX26185" fmla="*/ 9415041 w 10505529"/>
              <a:gd name="connsiteY26185" fmla="*/ 3065002 h 7458372"/>
              <a:gd name="connsiteX26186" fmla="*/ 9417304 w 10505529"/>
              <a:gd name="connsiteY26186" fmla="*/ 3076451 h 7458372"/>
              <a:gd name="connsiteX26187" fmla="*/ 9415041 w 10505529"/>
              <a:gd name="connsiteY26187" fmla="*/ 3088165 h 7458372"/>
              <a:gd name="connsiteX26188" fmla="*/ 9408917 w 10505529"/>
              <a:gd name="connsiteY26188" fmla="*/ 3097485 h 7458372"/>
              <a:gd name="connsiteX26189" fmla="*/ 9399599 w 10505529"/>
              <a:gd name="connsiteY26189" fmla="*/ 3103740 h 7458372"/>
              <a:gd name="connsiteX26190" fmla="*/ 9387885 w 10505529"/>
              <a:gd name="connsiteY26190" fmla="*/ 3106003 h 7458372"/>
              <a:gd name="connsiteX26191" fmla="*/ 9366053 w 10505529"/>
              <a:gd name="connsiteY26191" fmla="*/ 3097485 h 7458372"/>
              <a:gd name="connsiteX26192" fmla="*/ 9357667 w 10505529"/>
              <a:gd name="connsiteY26192" fmla="*/ 3076318 h 7458372"/>
              <a:gd name="connsiteX26193" fmla="*/ 9366053 w 10505529"/>
              <a:gd name="connsiteY26193" fmla="*/ 3055286 h 7458372"/>
              <a:gd name="connsiteX26194" fmla="*/ 9387885 w 10505529"/>
              <a:gd name="connsiteY26194" fmla="*/ 3046633 h 7458372"/>
              <a:gd name="connsiteX26195" fmla="*/ 9170374 w 10505529"/>
              <a:gd name="connsiteY26195" fmla="*/ 3046633 h 7458372"/>
              <a:gd name="connsiteX26196" fmla="*/ 9182088 w 10505529"/>
              <a:gd name="connsiteY26196" fmla="*/ 3049161 h 7458372"/>
              <a:gd name="connsiteX26197" fmla="*/ 9191405 w 10505529"/>
              <a:gd name="connsiteY26197" fmla="*/ 3055552 h 7458372"/>
              <a:gd name="connsiteX26198" fmla="*/ 9197529 w 10505529"/>
              <a:gd name="connsiteY26198" fmla="*/ 3065002 h 7458372"/>
              <a:gd name="connsiteX26199" fmla="*/ 9199792 w 10505529"/>
              <a:gd name="connsiteY26199" fmla="*/ 3076451 h 7458372"/>
              <a:gd name="connsiteX26200" fmla="*/ 9197529 w 10505529"/>
              <a:gd name="connsiteY26200" fmla="*/ 3088165 h 7458372"/>
              <a:gd name="connsiteX26201" fmla="*/ 9191405 w 10505529"/>
              <a:gd name="connsiteY26201" fmla="*/ 3097485 h 7458372"/>
              <a:gd name="connsiteX26202" fmla="*/ 9182088 w 10505529"/>
              <a:gd name="connsiteY26202" fmla="*/ 3103740 h 7458372"/>
              <a:gd name="connsiteX26203" fmla="*/ 9170374 w 10505529"/>
              <a:gd name="connsiteY26203" fmla="*/ 3106003 h 7458372"/>
              <a:gd name="connsiteX26204" fmla="*/ 9148541 w 10505529"/>
              <a:gd name="connsiteY26204" fmla="*/ 3097485 h 7458372"/>
              <a:gd name="connsiteX26205" fmla="*/ 9140155 w 10505529"/>
              <a:gd name="connsiteY26205" fmla="*/ 3076318 h 7458372"/>
              <a:gd name="connsiteX26206" fmla="*/ 9148541 w 10505529"/>
              <a:gd name="connsiteY26206" fmla="*/ 3055286 h 7458372"/>
              <a:gd name="connsiteX26207" fmla="*/ 9170374 w 10505529"/>
              <a:gd name="connsiteY26207" fmla="*/ 3046633 h 7458372"/>
              <a:gd name="connsiteX26208" fmla="*/ 8952728 w 10505529"/>
              <a:gd name="connsiteY26208" fmla="*/ 3046633 h 7458372"/>
              <a:gd name="connsiteX26209" fmla="*/ 8964442 w 10505529"/>
              <a:gd name="connsiteY26209" fmla="*/ 3049161 h 7458372"/>
              <a:gd name="connsiteX26210" fmla="*/ 8973760 w 10505529"/>
              <a:gd name="connsiteY26210" fmla="*/ 3055552 h 7458372"/>
              <a:gd name="connsiteX26211" fmla="*/ 8979884 w 10505529"/>
              <a:gd name="connsiteY26211" fmla="*/ 3065002 h 7458372"/>
              <a:gd name="connsiteX26212" fmla="*/ 8982147 w 10505529"/>
              <a:gd name="connsiteY26212" fmla="*/ 3076451 h 7458372"/>
              <a:gd name="connsiteX26213" fmla="*/ 8979884 w 10505529"/>
              <a:gd name="connsiteY26213" fmla="*/ 3088165 h 7458372"/>
              <a:gd name="connsiteX26214" fmla="*/ 8973760 w 10505529"/>
              <a:gd name="connsiteY26214" fmla="*/ 3097485 h 7458372"/>
              <a:gd name="connsiteX26215" fmla="*/ 8964442 w 10505529"/>
              <a:gd name="connsiteY26215" fmla="*/ 3103740 h 7458372"/>
              <a:gd name="connsiteX26216" fmla="*/ 8952728 w 10505529"/>
              <a:gd name="connsiteY26216" fmla="*/ 3106003 h 7458372"/>
              <a:gd name="connsiteX26217" fmla="*/ 8930896 w 10505529"/>
              <a:gd name="connsiteY26217" fmla="*/ 3097485 h 7458372"/>
              <a:gd name="connsiteX26218" fmla="*/ 8922510 w 10505529"/>
              <a:gd name="connsiteY26218" fmla="*/ 3076318 h 7458372"/>
              <a:gd name="connsiteX26219" fmla="*/ 8930896 w 10505529"/>
              <a:gd name="connsiteY26219" fmla="*/ 3055286 h 7458372"/>
              <a:gd name="connsiteX26220" fmla="*/ 8952728 w 10505529"/>
              <a:gd name="connsiteY26220" fmla="*/ 3046633 h 7458372"/>
              <a:gd name="connsiteX26221" fmla="*/ 8735083 w 10505529"/>
              <a:gd name="connsiteY26221" fmla="*/ 3046633 h 7458372"/>
              <a:gd name="connsiteX26222" fmla="*/ 8746797 w 10505529"/>
              <a:gd name="connsiteY26222" fmla="*/ 3049161 h 7458372"/>
              <a:gd name="connsiteX26223" fmla="*/ 8756115 w 10505529"/>
              <a:gd name="connsiteY26223" fmla="*/ 3055552 h 7458372"/>
              <a:gd name="connsiteX26224" fmla="*/ 8762238 w 10505529"/>
              <a:gd name="connsiteY26224" fmla="*/ 3065002 h 7458372"/>
              <a:gd name="connsiteX26225" fmla="*/ 8764502 w 10505529"/>
              <a:gd name="connsiteY26225" fmla="*/ 3076451 h 7458372"/>
              <a:gd name="connsiteX26226" fmla="*/ 8762238 w 10505529"/>
              <a:gd name="connsiteY26226" fmla="*/ 3088165 h 7458372"/>
              <a:gd name="connsiteX26227" fmla="*/ 8756115 w 10505529"/>
              <a:gd name="connsiteY26227" fmla="*/ 3097485 h 7458372"/>
              <a:gd name="connsiteX26228" fmla="*/ 8746797 w 10505529"/>
              <a:gd name="connsiteY26228" fmla="*/ 3103740 h 7458372"/>
              <a:gd name="connsiteX26229" fmla="*/ 8735083 w 10505529"/>
              <a:gd name="connsiteY26229" fmla="*/ 3106003 h 7458372"/>
              <a:gd name="connsiteX26230" fmla="*/ 8713250 w 10505529"/>
              <a:gd name="connsiteY26230" fmla="*/ 3097485 h 7458372"/>
              <a:gd name="connsiteX26231" fmla="*/ 8704864 w 10505529"/>
              <a:gd name="connsiteY26231" fmla="*/ 3076318 h 7458372"/>
              <a:gd name="connsiteX26232" fmla="*/ 8713250 w 10505529"/>
              <a:gd name="connsiteY26232" fmla="*/ 3055286 h 7458372"/>
              <a:gd name="connsiteX26233" fmla="*/ 8735083 w 10505529"/>
              <a:gd name="connsiteY26233" fmla="*/ 3046633 h 7458372"/>
              <a:gd name="connsiteX26234" fmla="*/ 8517438 w 10505529"/>
              <a:gd name="connsiteY26234" fmla="*/ 3046633 h 7458372"/>
              <a:gd name="connsiteX26235" fmla="*/ 8529152 w 10505529"/>
              <a:gd name="connsiteY26235" fmla="*/ 3049161 h 7458372"/>
              <a:gd name="connsiteX26236" fmla="*/ 8538470 w 10505529"/>
              <a:gd name="connsiteY26236" fmla="*/ 3055552 h 7458372"/>
              <a:gd name="connsiteX26237" fmla="*/ 8544594 w 10505529"/>
              <a:gd name="connsiteY26237" fmla="*/ 3065002 h 7458372"/>
              <a:gd name="connsiteX26238" fmla="*/ 8546857 w 10505529"/>
              <a:gd name="connsiteY26238" fmla="*/ 3076451 h 7458372"/>
              <a:gd name="connsiteX26239" fmla="*/ 8544594 w 10505529"/>
              <a:gd name="connsiteY26239" fmla="*/ 3088165 h 7458372"/>
              <a:gd name="connsiteX26240" fmla="*/ 8538470 w 10505529"/>
              <a:gd name="connsiteY26240" fmla="*/ 3097485 h 7458372"/>
              <a:gd name="connsiteX26241" fmla="*/ 8529152 w 10505529"/>
              <a:gd name="connsiteY26241" fmla="*/ 3103740 h 7458372"/>
              <a:gd name="connsiteX26242" fmla="*/ 8517438 w 10505529"/>
              <a:gd name="connsiteY26242" fmla="*/ 3106003 h 7458372"/>
              <a:gd name="connsiteX26243" fmla="*/ 8495606 w 10505529"/>
              <a:gd name="connsiteY26243" fmla="*/ 3097485 h 7458372"/>
              <a:gd name="connsiteX26244" fmla="*/ 8487220 w 10505529"/>
              <a:gd name="connsiteY26244" fmla="*/ 3076318 h 7458372"/>
              <a:gd name="connsiteX26245" fmla="*/ 8495606 w 10505529"/>
              <a:gd name="connsiteY26245" fmla="*/ 3055286 h 7458372"/>
              <a:gd name="connsiteX26246" fmla="*/ 8517438 w 10505529"/>
              <a:gd name="connsiteY26246" fmla="*/ 3046633 h 7458372"/>
              <a:gd name="connsiteX26247" fmla="*/ 8299793 w 10505529"/>
              <a:gd name="connsiteY26247" fmla="*/ 3046633 h 7458372"/>
              <a:gd name="connsiteX26248" fmla="*/ 8311507 w 10505529"/>
              <a:gd name="connsiteY26248" fmla="*/ 3049161 h 7458372"/>
              <a:gd name="connsiteX26249" fmla="*/ 8320825 w 10505529"/>
              <a:gd name="connsiteY26249" fmla="*/ 3055552 h 7458372"/>
              <a:gd name="connsiteX26250" fmla="*/ 8326948 w 10505529"/>
              <a:gd name="connsiteY26250" fmla="*/ 3065002 h 7458372"/>
              <a:gd name="connsiteX26251" fmla="*/ 8329212 w 10505529"/>
              <a:gd name="connsiteY26251" fmla="*/ 3076451 h 7458372"/>
              <a:gd name="connsiteX26252" fmla="*/ 8326948 w 10505529"/>
              <a:gd name="connsiteY26252" fmla="*/ 3088165 h 7458372"/>
              <a:gd name="connsiteX26253" fmla="*/ 8320825 w 10505529"/>
              <a:gd name="connsiteY26253" fmla="*/ 3097485 h 7458372"/>
              <a:gd name="connsiteX26254" fmla="*/ 8311507 w 10505529"/>
              <a:gd name="connsiteY26254" fmla="*/ 3103740 h 7458372"/>
              <a:gd name="connsiteX26255" fmla="*/ 8299793 w 10505529"/>
              <a:gd name="connsiteY26255" fmla="*/ 3106003 h 7458372"/>
              <a:gd name="connsiteX26256" fmla="*/ 8277960 w 10505529"/>
              <a:gd name="connsiteY26256" fmla="*/ 3097485 h 7458372"/>
              <a:gd name="connsiteX26257" fmla="*/ 8269574 w 10505529"/>
              <a:gd name="connsiteY26257" fmla="*/ 3076318 h 7458372"/>
              <a:gd name="connsiteX26258" fmla="*/ 8277960 w 10505529"/>
              <a:gd name="connsiteY26258" fmla="*/ 3055286 h 7458372"/>
              <a:gd name="connsiteX26259" fmla="*/ 8299793 w 10505529"/>
              <a:gd name="connsiteY26259" fmla="*/ 3046633 h 7458372"/>
              <a:gd name="connsiteX26260" fmla="*/ 8082281 w 10505529"/>
              <a:gd name="connsiteY26260" fmla="*/ 3046633 h 7458372"/>
              <a:gd name="connsiteX26261" fmla="*/ 8094127 w 10505529"/>
              <a:gd name="connsiteY26261" fmla="*/ 3049161 h 7458372"/>
              <a:gd name="connsiteX26262" fmla="*/ 8103446 w 10505529"/>
              <a:gd name="connsiteY26262" fmla="*/ 3055552 h 7458372"/>
              <a:gd name="connsiteX26263" fmla="*/ 8109569 w 10505529"/>
              <a:gd name="connsiteY26263" fmla="*/ 3065002 h 7458372"/>
              <a:gd name="connsiteX26264" fmla="*/ 8111832 w 10505529"/>
              <a:gd name="connsiteY26264" fmla="*/ 3076451 h 7458372"/>
              <a:gd name="connsiteX26265" fmla="*/ 8109569 w 10505529"/>
              <a:gd name="connsiteY26265" fmla="*/ 3088165 h 7458372"/>
              <a:gd name="connsiteX26266" fmla="*/ 8103446 w 10505529"/>
              <a:gd name="connsiteY26266" fmla="*/ 3097485 h 7458372"/>
              <a:gd name="connsiteX26267" fmla="*/ 8094127 w 10505529"/>
              <a:gd name="connsiteY26267" fmla="*/ 3103740 h 7458372"/>
              <a:gd name="connsiteX26268" fmla="*/ 8082281 w 10505529"/>
              <a:gd name="connsiteY26268" fmla="*/ 3106003 h 7458372"/>
              <a:gd name="connsiteX26269" fmla="*/ 8060448 w 10505529"/>
              <a:gd name="connsiteY26269" fmla="*/ 3097485 h 7458372"/>
              <a:gd name="connsiteX26270" fmla="*/ 8052062 w 10505529"/>
              <a:gd name="connsiteY26270" fmla="*/ 3076318 h 7458372"/>
              <a:gd name="connsiteX26271" fmla="*/ 8060448 w 10505529"/>
              <a:gd name="connsiteY26271" fmla="*/ 3055286 h 7458372"/>
              <a:gd name="connsiteX26272" fmla="*/ 8082281 w 10505529"/>
              <a:gd name="connsiteY26272" fmla="*/ 3046633 h 7458372"/>
              <a:gd name="connsiteX26273" fmla="*/ 7864636 w 10505529"/>
              <a:gd name="connsiteY26273" fmla="*/ 3046633 h 7458372"/>
              <a:gd name="connsiteX26274" fmla="*/ 7876483 w 10505529"/>
              <a:gd name="connsiteY26274" fmla="*/ 3049161 h 7458372"/>
              <a:gd name="connsiteX26275" fmla="*/ 7885802 w 10505529"/>
              <a:gd name="connsiteY26275" fmla="*/ 3055552 h 7458372"/>
              <a:gd name="connsiteX26276" fmla="*/ 7891924 w 10505529"/>
              <a:gd name="connsiteY26276" fmla="*/ 3065002 h 7458372"/>
              <a:gd name="connsiteX26277" fmla="*/ 7894188 w 10505529"/>
              <a:gd name="connsiteY26277" fmla="*/ 3076451 h 7458372"/>
              <a:gd name="connsiteX26278" fmla="*/ 7891924 w 10505529"/>
              <a:gd name="connsiteY26278" fmla="*/ 3088165 h 7458372"/>
              <a:gd name="connsiteX26279" fmla="*/ 7885802 w 10505529"/>
              <a:gd name="connsiteY26279" fmla="*/ 3097485 h 7458372"/>
              <a:gd name="connsiteX26280" fmla="*/ 7876483 w 10505529"/>
              <a:gd name="connsiteY26280" fmla="*/ 3103740 h 7458372"/>
              <a:gd name="connsiteX26281" fmla="*/ 7864636 w 10505529"/>
              <a:gd name="connsiteY26281" fmla="*/ 3106003 h 7458372"/>
              <a:gd name="connsiteX26282" fmla="*/ 7842803 w 10505529"/>
              <a:gd name="connsiteY26282" fmla="*/ 3097485 h 7458372"/>
              <a:gd name="connsiteX26283" fmla="*/ 7834417 w 10505529"/>
              <a:gd name="connsiteY26283" fmla="*/ 3076318 h 7458372"/>
              <a:gd name="connsiteX26284" fmla="*/ 7842803 w 10505529"/>
              <a:gd name="connsiteY26284" fmla="*/ 3055286 h 7458372"/>
              <a:gd name="connsiteX26285" fmla="*/ 7864636 w 10505529"/>
              <a:gd name="connsiteY26285" fmla="*/ 3046633 h 7458372"/>
              <a:gd name="connsiteX26286" fmla="*/ 7646991 w 10505529"/>
              <a:gd name="connsiteY26286" fmla="*/ 3046633 h 7458372"/>
              <a:gd name="connsiteX26287" fmla="*/ 7658705 w 10505529"/>
              <a:gd name="connsiteY26287" fmla="*/ 3049161 h 7458372"/>
              <a:gd name="connsiteX26288" fmla="*/ 7668022 w 10505529"/>
              <a:gd name="connsiteY26288" fmla="*/ 3055552 h 7458372"/>
              <a:gd name="connsiteX26289" fmla="*/ 7674146 w 10505529"/>
              <a:gd name="connsiteY26289" fmla="*/ 3065002 h 7458372"/>
              <a:gd name="connsiteX26290" fmla="*/ 7676409 w 10505529"/>
              <a:gd name="connsiteY26290" fmla="*/ 3076451 h 7458372"/>
              <a:gd name="connsiteX26291" fmla="*/ 7674146 w 10505529"/>
              <a:gd name="connsiteY26291" fmla="*/ 3088165 h 7458372"/>
              <a:gd name="connsiteX26292" fmla="*/ 7668022 w 10505529"/>
              <a:gd name="connsiteY26292" fmla="*/ 3097485 h 7458372"/>
              <a:gd name="connsiteX26293" fmla="*/ 7658705 w 10505529"/>
              <a:gd name="connsiteY26293" fmla="*/ 3103740 h 7458372"/>
              <a:gd name="connsiteX26294" fmla="*/ 7646991 w 10505529"/>
              <a:gd name="connsiteY26294" fmla="*/ 3106003 h 7458372"/>
              <a:gd name="connsiteX26295" fmla="*/ 7625158 w 10505529"/>
              <a:gd name="connsiteY26295" fmla="*/ 3097485 h 7458372"/>
              <a:gd name="connsiteX26296" fmla="*/ 7616772 w 10505529"/>
              <a:gd name="connsiteY26296" fmla="*/ 3076318 h 7458372"/>
              <a:gd name="connsiteX26297" fmla="*/ 7625158 w 10505529"/>
              <a:gd name="connsiteY26297" fmla="*/ 3055286 h 7458372"/>
              <a:gd name="connsiteX26298" fmla="*/ 7646991 w 10505529"/>
              <a:gd name="connsiteY26298" fmla="*/ 3046633 h 7458372"/>
              <a:gd name="connsiteX26299" fmla="*/ 7429345 w 10505529"/>
              <a:gd name="connsiteY26299" fmla="*/ 3046633 h 7458372"/>
              <a:gd name="connsiteX26300" fmla="*/ 7441059 w 10505529"/>
              <a:gd name="connsiteY26300" fmla="*/ 3049161 h 7458372"/>
              <a:gd name="connsiteX26301" fmla="*/ 7450377 w 10505529"/>
              <a:gd name="connsiteY26301" fmla="*/ 3055552 h 7458372"/>
              <a:gd name="connsiteX26302" fmla="*/ 7456501 w 10505529"/>
              <a:gd name="connsiteY26302" fmla="*/ 3065002 h 7458372"/>
              <a:gd name="connsiteX26303" fmla="*/ 7458764 w 10505529"/>
              <a:gd name="connsiteY26303" fmla="*/ 3076451 h 7458372"/>
              <a:gd name="connsiteX26304" fmla="*/ 7456501 w 10505529"/>
              <a:gd name="connsiteY26304" fmla="*/ 3088165 h 7458372"/>
              <a:gd name="connsiteX26305" fmla="*/ 7450377 w 10505529"/>
              <a:gd name="connsiteY26305" fmla="*/ 3097485 h 7458372"/>
              <a:gd name="connsiteX26306" fmla="*/ 7441059 w 10505529"/>
              <a:gd name="connsiteY26306" fmla="*/ 3103740 h 7458372"/>
              <a:gd name="connsiteX26307" fmla="*/ 7429345 w 10505529"/>
              <a:gd name="connsiteY26307" fmla="*/ 3106003 h 7458372"/>
              <a:gd name="connsiteX26308" fmla="*/ 7407513 w 10505529"/>
              <a:gd name="connsiteY26308" fmla="*/ 3097485 h 7458372"/>
              <a:gd name="connsiteX26309" fmla="*/ 7399127 w 10505529"/>
              <a:gd name="connsiteY26309" fmla="*/ 3076318 h 7458372"/>
              <a:gd name="connsiteX26310" fmla="*/ 7407513 w 10505529"/>
              <a:gd name="connsiteY26310" fmla="*/ 3055286 h 7458372"/>
              <a:gd name="connsiteX26311" fmla="*/ 7429345 w 10505529"/>
              <a:gd name="connsiteY26311" fmla="*/ 3046633 h 7458372"/>
              <a:gd name="connsiteX26312" fmla="*/ 7211701 w 10505529"/>
              <a:gd name="connsiteY26312" fmla="*/ 3046633 h 7458372"/>
              <a:gd name="connsiteX26313" fmla="*/ 7223415 w 10505529"/>
              <a:gd name="connsiteY26313" fmla="*/ 3049161 h 7458372"/>
              <a:gd name="connsiteX26314" fmla="*/ 7232733 w 10505529"/>
              <a:gd name="connsiteY26314" fmla="*/ 3055552 h 7458372"/>
              <a:gd name="connsiteX26315" fmla="*/ 7238856 w 10505529"/>
              <a:gd name="connsiteY26315" fmla="*/ 3065002 h 7458372"/>
              <a:gd name="connsiteX26316" fmla="*/ 7241120 w 10505529"/>
              <a:gd name="connsiteY26316" fmla="*/ 3076451 h 7458372"/>
              <a:gd name="connsiteX26317" fmla="*/ 7238856 w 10505529"/>
              <a:gd name="connsiteY26317" fmla="*/ 3088165 h 7458372"/>
              <a:gd name="connsiteX26318" fmla="*/ 7232733 w 10505529"/>
              <a:gd name="connsiteY26318" fmla="*/ 3097485 h 7458372"/>
              <a:gd name="connsiteX26319" fmla="*/ 7223415 w 10505529"/>
              <a:gd name="connsiteY26319" fmla="*/ 3103740 h 7458372"/>
              <a:gd name="connsiteX26320" fmla="*/ 7211701 w 10505529"/>
              <a:gd name="connsiteY26320" fmla="*/ 3106003 h 7458372"/>
              <a:gd name="connsiteX26321" fmla="*/ 7189868 w 10505529"/>
              <a:gd name="connsiteY26321" fmla="*/ 3097485 h 7458372"/>
              <a:gd name="connsiteX26322" fmla="*/ 7181482 w 10505529"/>
              <a:gd name="connsiteY26322" fmla="*/ 3076318 h 7458372"/>
              <a:gd name="connsiteX26323" fmla="*/ 7189868 w 10505529"/>
              <a:gd name="connsiteY26323" fmla="*/ 3055286 h 7458372"/>
              <a:gd name="connsiteX26324" fmla="*/ 7211701 w 10505529"/>
              <a:gd name="connsiteY26324" fmla="*/ 3046633 h 7458372"/>
              <a:gd name="connsiteX26325" fmla="*/ 6994056 w 10505529"/>
              <a:gd name="connsiteY26325" fmla="*/ 3046633 h 7458372"/>
              <a:gd name="connsiteX26326" fmla="*/ 7005769 w 10505529"/>
              <a:gd name="connsiteY26326" fmla="*/ 3049161 h 7458372"/>
              <a:gd name="connsiteX26327" fmla="*/ 7015087 w 10505529"/>
              <a:gd name="connsiteY26327" fmla="*/ 3055552 h 7458372"/>
              <a:gd name="connsiteX26328" fmla="*/ 7021211 w 10505529"/>
              <a:gd name="connsiteY26328" fmla="*/ 3065002 h 7458372"/>
              <a:gd name="connsiteX26329" fmla="*/ 7023474 w 10505529"/>
              <a:gd name="connsiteY26329" fmla="*/ 3076451 h 7458372"/>
              <a:gd name="connsiteX26330" fmla="*/ 7021211 w 10505529"/>
              <a:gd name="connsiteY26330" fmla="*/ 3088165 h 7458372"/>
              <a:gd name="connsiteX26331" fmla="*/ 7015087 w 10505529"/>
              <a:gd name="connsiteY26331" fmla="*/ 3097485 h 7458372"/>
              <a:gd name="connsiteX26332" fmla="*/ 7005769 w 10505529"/>
              <a:gd name="connsiteY26332" fmla="*/ 3103740 h 7458372"/>
              <a:gd name="connsiteX26333" fmla="*/ 6994056 w 10505529"/>
              <a:gd name="connsiteY26333" fmla="*/ 3106003 h 7458372"/>
              <a:gd name="connsiteX26334" fmla="*/ 6972223 w 10505529"/>
              <a:gd name="connsiteY26334" fmla="*/ 3097485 h 7458372"/>
              <a:gd name="connsiteX26335" fmla="*/ 6963837 w 10505529"/>
              <a:gd name="connsiteY26335" fmla="*/ 3076318 h 7458372"/>
              <a:gd name="connsiteX26336" fmla="*/ 6972223 w 10505529"/>
              <a:gd name="connsiteY26336" fmla="*/ 3055286 h 7458372"/>
              <a:gd name="connsiteX26337" fmla="*/ 6994056 w 10505529"/>
              <a:gd name="connsiteY26337" fmla="*/ 3046633 h 7458372"/>
              <a:gd name="connsiteX26338" fmla="*/ 6776544 w 10505529"/>
              <a:gd name="connsiteY26338" fmla="*/ 3046633 h 7458372"/>
              <a:gd name="connsiteX26339" fmla="*/ 6788258 w 10505529"/>
              <a:gd name="connsiteY26339" fmla="*/ 3049161 h 7458372"/>
              <a:gd name="connsiteX26340" fmla="*/ 6797576 w 10505529"/>
              <a:gd name="connsiteY26340" fmla="*/ 3055552 h 7458372"/>
              <a:gd name="connsiteX26341" fmla="*/ 6803699 w 10505529"/>
              <a:gd name="connsiteY26341" fmla="*/ 3065002 h 7458372"/>
              <a:gd name="connsiteX26342" fmla="*/ 6805963 w 10505529"/>
              <a:gd name="connsiteY26342" fmla="*/ 3076451 h 7458372"/>
              <a:gd name="connsiteX26343" fmla="*/ 6803699 w 10505529"/>
              <a:gd name="connsiteY26343" fmla="*/ 3088165 h 7458372"/>
              <a:gd name="connsiteX26344" fmla="*/ 6797576 w 10505529"/>
              <a:gd name="connsiteY26344" fmla="*/ 3097485 h 7458372"/>
              <a:gd name="connsiteX26345" fmla="*/ 6788258 w 10505529"/>
              <a:gd name="connsiteY26345" fmla="*/ 3103740 h 7458372"/>
              <a:gd name="connsiteX26346" fmla="*/ 6776544 w 10505529"/>
              <a:gd name="connsiteY26346" fmla="*/ 3106003 h 7458372"/>
              <a:gd name="connsiteX26347" fmla="*/ 6754711 w 10505529"/>
              <a:gd name="connsiteY26347" fmla="*/ 3097485 h 7458372"/>
              <a:gd name="connsiteX26348" fmla="*/ 6746325 w 10505529"/>
              <a:gd name="connsiteY26348" fmla="*/ 3076318 h 7458372"/>
              <a:gd name="connsiteX26349" fmla="*/ 6754711 w 10505529"/>
              <a:gd name="connsiteY26349" fmla="*/ 3055286 h 7458372"/>
              <a:gd name="connsiteX26350" fmla="*/ 6776544 w 10505529"/>
              <a:gd name="connsiteY26350" fmla="*/ 3046633 h 7458372"/>
              <a:gd name="connsiteX26351" fmla="*/ 6558899 w 10505529"/>
              <a:gd name="connsiteY26351" fmla="*/ 3046633 h 7458372"/>
              <a:gd name="connsiteX26352" fmla="*/ 6570612 w 10505529"/>
              <a:gd name="connsiteY26352" fmla="*/ 3049161 h 7458372"/>
              <a:gd name="connsiteX26353" fmla="*/ 6579930 w 10505529"/>
              <a:gd name="connsiteY26353" fmla="*/ 3055552 h 7458372"/>
              <a:gd name="connsiteX26354" fmla="*/ 6586054 w 10505529"/>
              <a:gd name="connsiteY26354" fmla="*/ 3065002 h 7458372"/>
              <a:gd name="connsiteX26355" fmla="*/ 6588317 w 10505529"/>
              <a:gd name="connsiteY26355" fmla="*/ 3076451 h 7458372"/>
              <a:gd name="connsiteX26356" fmla="*/ 6586054 w 10505529"/>
              <a:gd name="connsiteY26356" fmla="*/ 3088165 h 7458372"/>
              <a:gd name="connsiteX26357" fmla="*/ 6579930 w 10505529"/>
              <a:gd name="connsiteY26357" fmla="*/ 3097485 h 7458372"/>
              <a:gd name="connsiteX26358" fmla="*/ 6570612 w 10505529"/>
              <a:gd name="connsiteY26358" fmla="*/ 3103740 h 7458372"/>
              <a:gd name="connsiteX26359" fmla="*/ 6558899 w 10505529"/>
              <a:gd name="connsiteY26359" fmla="*/ 3106003 h 7458372"/>
              <a:gd name="connsiteX26360" fmla="*/ 6537066 w 10505529"/>
              <a:gd name="connsiteY26360" fmla="*/ 3097485 h 7458372"/>
              <a:gd name="connsiteX26361" fmla="*/ 6528680 w 10505529"/>
              <a:gd name="connsiteY26361" fmla="*/ 3076318 h 7458372"/>
              <a:gd name="connsiteX26362" fmla="*/ 6537066 w 10505529"/>
              <a:gd name="connsiteY26362" fmla="*/ 3055286 h 7458372"/>
              <a:gd name="connsiteX26363" fmla="*/ 6558899 w 10505529"/>
              <a:gd name="connsiteY26363" fmla="*/ 3046633 h 7458372"/>
              <a:gd name="connsiteX26364" fmla="*/ 6341253 w 10505529"/>
              <a:gd name="connsiteY26364" fmla="*/ 3046633 h 7458372"/>
              <a:gd name="connsiteX26365" fmla="*/ 6352968 w 10505529"/>
              <a:gd name="connsiteY26365" fmla="*/ 3049161 h 7458372"/>
              <a:gd name="connsiteX26366" fmla="*/ 6362286 w 10505529"/>
              <a:gd name="connsiteY26366" fmla="*/ 3055552 h 7458372"/>
              <a:gd name="connsiteX26367" fmla="*/ 6368409 w 10505529"/>
              <a:gd name="connsiteY26367" fmla="*/ 3065002 h 7458372"/>
              <a:gd name="connsiteX26368" fmla="*/ 6370672 w 10505529"/>
              <a:gd name="connsiteY26368" fmla="*/ 3076451 h 7458372"/>
              <a:gd name="connsiteX26369" fmla="*/ 6368409 w 10505529"/>
              <a:gd name="connsiteY26369" fmla="*/ 3088165 h 7458372"/>
              <a:gd name="connsiteX26370" fmla="*/ 6362286 w 10505529"/>
              <a:gd name="connsiteY26370" fmla="*/ 3097485 h 7458372"/>
              <a:gd name="connsiteX26371" fmla="*/ 6352968 w 10505529"/>
              <a:gd name="connsiteY26371" fmla="*/ 3103740 h 7458372"/>
              <a:gd name="connsiteX26372" fmla="*/ 6341253 w 10505529"/>
              <a:gd name="connsiteY26372" fmla="*/ 3106003 h 7458372"/>
              <a:gd name="connsiteX26373" fmla="*/ 6319421 w 10505529"/>
              <a:gd name="connsiteY26373" fmla="*/ 3097485 h 7458372"/>
              <a:gd name="connsiteX26374" fmla="*/ 6311035 w 10505529"/>
              <a:gd name="connsiteY26374" fmla="*/ 3076318 h 7458372"/>
              <a:gd name="connsiteX26375" fmla="*/ 6319421 w 10505529"/>
              <a:gd name="connsiteY26375" fmla="*/ 3055286 h 7458372"/>
              <a:gd name="connsiteX26376" fmla="*/ 6341253 w 10505529"/>
              <a:gd name="connsiteY26376" fmla="*/ 3046633 h 7458372"/>
              <a:gd name="connsiteX26377" fmla="*/ 6123608 w 10505529"/>
              <a:gd name="connsiteY26377" fmla="*/ 3046633 h 7458372"/>
              <a:gd name="connsiteX26378" fmla="*/ 6135322 w 10505529"/>
              <a:gd name="connsiteY26378" fmla="*/ 3049161 h 7458372"/>
              <a:gd name="connsiteX26379" fmla="*/ 6144640 w 10505529"/>
              <a:gd name="connsiteY26379" fmla="*/ 3055552 h 7458372"/>
              <a:gd name="connsiteX26380" fmla="*/ 6150763 w 10505529"/>
              <a:gd name="connsiteY26380" fmla="*/ 3065002 h 7458372"/>
              <a:gd name="connsiteX26381" fmla="*/ 6153026 w 10505529"/>
              <a:gd name="connsiteY26381" fmla="*/ 3076451 h 7458372"/>
              <a:gd name="connsiteX26382" fmla="*/ 6150763 w 10505529"/>
              <a:gd name="connsiteY26382" fmla="*/ 3088165 h 7458372"/>
              <a:gd name="connsiteX26383" fmla="*/ 6144640 w 10505529"/>
              <a:gd name="connsiteY26383" fmla="*/ 3097485 h 7458372"/>
              <a:gd name="connsiteX26384" fmla="*/ 6135322 w 10505529"/>
              <a:gd name="connsiteY26384" fmla="*/ 3103740 h 7458372"/>
              <a:gd name="connsiteX26385" fmla="*/ 6123608 w 10505529"/>
              <a:gd name="connsiteY26385" fmla="*/ 3106003 h 7458372"/>
              <a:gd name="connsiteX26386" fmla="*/ 6101775 w 10505529"/>
              <a:gd name="connsiteY26386" fmla="*/ 3097485 h 7458372"/>
              <a:gd name="connsiteX26387" fmla="*/ 6093389 w 10505529"/>
              <a:gd name="connsiteY26387" fmla="*/ 3076318 h 7458372"/>
              <a:gd name="connsiteX26388" fmla="*/ 6101775 w 10505529"/>
              <a:gd name="connsiteY26388" fmla="*/ 3055286 h 7458372"/>
              <a:gd name="connsiteX26389" fmla="*/ 6123608 w 10505529"/>
              <a:gd name="connsiteY26389" fmla="*/ 3046633 h 7458372"/>
              <a:gd name="connsiteX26390" fmla="*/ 5905963 w 10505529"/>
              <a:gd name="connsiteY26390" fmla="*/ 3046633 h 7458372"/>
              <a:gd name="connsiteX26391" fmla="*/ 5917677 w 10505529"/>
              <a:gd name="connsiteY26391" fmla="*/ 3049161 h 7458372"/>
              <a:gd name="connsiteX26392" fmla="*/ 5926995 w 10505529"/>
              <a:gd name="connsiteY26392" fmla="*/ 3055552 h 7458372"/>
              <a:gd name="connsiteX26393" fmla="*/ 5933118 w 10505529"/>
              <a:gd name="connsiteY26393" fmla="*/ 3065002 h 7458372"/>
              <a:gd name="connsiteX26394" fmla="*/ 5935381 w 10505529"/>
              <a:gd name="connsiteY26394" fmla="*/ 3076451 h 7458372"/>
              <a:gd name="connsiteX26395" fmla="*/ 5933118 w 10505529"/>
              <a:gd name="connsiteY26395" fmla="*/ 3088165 h 7458372"/>
              <a:gd name="connsiteX26396" fmla="*/ 5926995 w 10505529"/>
              <a:gd name="connsiteY26396" fmla="*/ 3097485 h 7458372"/>
              <a:gd name="connsiteX26397" fmla="*/ 5917677 w 10505529"/>
              <a:gd name="connsiteY26397" fmla="*/ 3103740 h 7458372"/>
              <a:gd name="connsiteX26398" fmla="*/ 5905963 w 10505529"/>
              <a:gd name="connsiteY26398" fmla="*/ 3106003 h 7458372"/>
              <a:gd name="connsiteX26399" fmla="*/ 5884130 w 10505529"/>
              <a:gd name="connsiteY26399" fmla="*/ 3097485 h 7458372"/>
              <a:gd name="connsiteX26400" fmla="*/ 5875744 w 10505529"/>
              <a:gd name="connsiteY26400" fmla="*/ 3076318 h 7458372"/>
              <a:gd name="connsiteX26401" fmla="*/ 5884130 w 10505529"/>
              <a:gd name="connsiteY26401" fmla="*/ 3055286 h 7458372"/>
              <a:gd name="connsiteX26402" fmla="*/ 5905963 w 10505529"/>
              <a:gd name="connsiteY26402" fmla="*/ 3046633 h 7458372"/>
              <a:gd name="connsiteX26403" fmla="*/ 5688451 w 10505529"/>
              <a:gd name="connsiteY26403" fmla="*/ 3046633 h 7458372"/>
              <a:gd name="connsiteX26404" fmla="*/ 5700165 w 10505529"/>
              <a:gd name="connsiteY26404" fmla="*/ 3049161 h 7458372"/>
              <a:gd name="connsiteX26405" fmla="*/ 5709483 w 10505529"/>
              <a:gd name="connsiteY26405" fmla="*/ 3055552 h 7458372"/>
              <a:gd name="connsiteX26406" fmla="*/ 5715606 w 10505529"/>
              <a:gd name="connsiteY26406" fmla="*/ 3065002 h 7458372"/>
              <a:gd name="connsiteX26407" fmla="*/ 5717869 w 10505529"/>
              <a:gd name="connsiteY26407" fmla="*/ 3076451 h 7458372"/>
              <a:gd name="connsiteX26408" fmla="*/ 5715606 w 10505529"/>
              <a:gd name="connsiteY26408" fmla="*/ 3088165 h 7458372"/>
              <a:gd name="connsiteX26409" fmla="*/ 5709483 w 10505529"/>
              <a:gd name="connsiteY26409" fmla="*/ 3097485 h 7458372"/>
              <a:gd name="connsiteX26410" fmla="*/ 5700165 w 10505529"/>
              <a:gd name="connsiteY26410" fmla="*/ 3103740 h 7458372"/>
              <a:gd name="connsiteX26411" fmla="*/ 5688451 w 10505529"/>
              <a:gd name="connsiteY26411" fmla="*/ 3106003 h 7458372"/>
              <a:gd name="connsiteX26412" fmla="*/ 5666618 w 10505529"/>
              <a:gd name="connsiteY26412" fmla="*/ 3097485 h 7458372"/>
              <a:gd name="connsiteX26413" fmla="*/ 5658232 w 10505529"/>
              <a:gd name="connsiteY26413" fmla="*/ 3076318 h 7458372"/>
              <a:gd name="connsiteX26414" fmla="*/ 5666618 w 10505529"/>
              <a:gd name="connsiteY26414" fmla="*/ 3055286 h 7458372"/>
              <a:gd name="connsiteX26415" fmla="*/ 5688451 w 10505529"/>
              <a:gd name="connsiteY26415" fmla="*/ 3046633 h 7458372"/>
              <a:gd name="connsiteX26416" fmla="*/ 5470806 w 10505529"/>
              <a:gd name="connsiteY26416" fmla="*/ 3046633 h 7458372"/>
              <a:gd name="connsiteX26417" fmla="*/ 5482520 w 10505529"/>
              <a:gd name="connsiteY26417" fmla="*/ 3049161 h 7458372"/>
              <a:gd name="connsiteX26418" fmla="*/ 5491838 w 10505529"/>
              <a:gd name="connsiteY26418" fmla="*/ 3055552 h 7458372"/>
              <a:gd name="connsiteX26419" fmla="*/ 5497961 w 10505529"/>
              <a:gd name="connsiteY26419" fmla="*/ 3065002 h 7458372"/>
              <a:gd name="connsiteX26420" fmla="*/ 5500224 w 10505529"/>
              <a:gd name="connsiteY26420" fmla="*/ 3076451 h 7458372"/>
              <a:gd name="connsiteX26421" fmla="*/ 5497961 w 10505529"/>
              <a:gd name="connsiteY26421" fmla="*/ 3088165 h 7458372"/>
              <a:gd name="connsiteX26422" fmla="*/ 5491838 w 10505529"/>
              <a:gd name="connsiteY26422" fmla="*/ 3097485 h 7458372"/>
              <a:gd name="connsiteX26423" fmla="*/ 5482520 w 10505529"/>
              <a:gd name="connsiteY26423" fmla="*/ 3103740 h 7458372"/>
              <a:gd name="connsiteX26424" fmla="*/ 5470806 w 10505529"/>
              <a:gd name="connsiteY26424" fmla="*/ 3106003 h 7458372"/>
              <a:gd name="connsiteX26425" fmla="*/ 5448973 w 10505529"/>
              <a:gd name="connsiteY26425" fmla="*/ 3097485 h 7458372"/>
              <a:gd name="connsiteX26426" fmla="*/ 5440587 w 10505529"/>
              <a:gd name="connsiteY26426" fmla="*/ 3076318 h 7458372"/>
              <a:gd name="connsiteX26427" fmla="*/ 5448973 w 10505529"/>
              <a:gd name="connsiteY26427" fmla="*/ 3055286 h 7458372"/>
              <a:gd name="connsiteX26428" fmla="*/ 5470806 w 10505529"/>
              <a:gd name="connsiteY26428" fmla="*/ 3046633 h 7458372"/>
              <a:gd name="connsiteX26429" fmla="*/ 5253160 w 10505529"/>
              <a:gd name="connsiteY26429" fmla="*/ 3046633 h 7458372"/>
              <a:gd name="connsiteX26430" fmla="*/ 5264875 w 10505529"/>
              <a:gd name="connsiteY26430" fmla="*/ 3049161 h 7458372"/>
              <a:gd name="connsiteX26431" fmla="*/ 5274192 w 10505529"/>
              <a:gd name="connsiteY26431" fmla="*/ 3055552 h 7458372"/>
              <a:gd name="connsiteX26432" fmla="*/ 5280316 w 10505529"/>
              <a:gd name="connsiteY26432" fmla="*/ 3065002 h 7458372"/>
              <a:gd name="connsiteX26433" fmla="*/ 5282579 w 10505529"/>
              <a:gd name="connsiteY26433" fmla="*/ 3076451 h 7458372"/>
              <a:gd name="connsiteX26434" fmla="*/ 5280316 w 10505529"/>
              <a:gd name="connsiteY26434" fmla="*/ 3088165 h 7458372"/>
              <a:gd name="connsiteX26435" fmla="*/ 5274192 w 10505529"/>
              <a:gd name="connsiteY26435" fmla="*/ 3097485 h 7458372"/>
              <a:gd name="connsiteX26436" fmla="*/ 5264875 w 10505529"/>
              <a:gd name="connsiteY26436" fmla="*/ 3103740 h 7458372"/>
              <a:gd name="connsiteX26437" fmla="*/ 5253160 w 10505529"/>
              <a:gd name="connsiteY26437" fmla="*/ 3106003 h 7458372"/>
              <a:gd name="connsiteX26438" fmla="*/ 5231328 w 10505529"/>
              <a:gd name="connsiteY26438" fmla="*/ 3097485 h 7458372"/>
              <a:gd name="connsiteX26439" fmla="*/ 5222942 w 10505529"/>
              <a:gd name="connsiteY26439" fmla="*/ 3076318 h 7458372"/>
              <a:gd name="connsiteX26440" fmla="*/ 5231328 w 10505529"/>
              <a:gd name="connsiteY26440" fmla="*/ 3055286 h 7458372"/>
              <a:gd name="connsiteX26441" fmla="*/ 5253160 w 10505529"/>
              <a:gd name="connsiteY26441" fmla="*/ 3046633 h 7458372"/>
              <a:gd name="connsiteX26442" fmla="*/ 5035515 w 10505529"/>
              <a:gd name="connsiteY26442" fmla="*/ 3046633 h 7458372"/>
              <a:gd name="connsiteX26443" fmla="*/ 5047230 w 10505529"/>
              <a:gd name="connsiteY26443" fmla="*/ 3049161 h 7458372"/>
              <a:gd name="connsiteX26444" fmla="*/ 5056548 w 10505529"/>
              <a:gd name="connsiteY26444" fmla="*/ 3055552 h 7458372"/>
              <a:gd name="connsiteX26445" fmla="*/ 5062671 w 10505529"/>
              <a:gd name="connsiteY26445" fmla="*/ 3065002 h 7458372"/>
              <a:gd name="connsiteX26446" fmla="*/ 5064934 w 10505529"/>
              <a:gd name="connsiteY26446" fmla="*/ 3076451 h 7458372"/>
              <a:gd name="connsiteX26447" fmla="*/ 5062671 w 10505529"/>
              <a:gd name="connsiteY26447" fmla="*/ 3088165 h 7458372"/>
              <a:gd name="connsiteX26448" fmla="*/ 5056548 w 10505529"/>
              <a:gd name="connsiteY26448" fmla="*/ 3097485 h 7458372"/>
              <a:gd name="connsiteX26449" fmla="*/ 5047230 w 10505529"/>
              <a:gd name="connsiteY26449" fmla="*/ 3103740 h 7458372"/>
              <a:gd name="connsiteX26450" fmla="*/ 5035515 w 10505529"/>
              <a:gd name="connsiteY26450" fmla="*/ 3106003 h 7458372"/>
              <a:gd name="connsiteX26451" fmla="*/ 5013683 w 10505529"/>
              <a:gd name="connsiteY26451" fmla="*/ 3097485 h 7458372"/>
              <a:gd name="connsiteX26452" fmla="*/ 5005297 w 10505529"/>
              <a:gd name="connsiteY26452" fmla="*/ 3076318 h 7458372"/>
              <a:gd name="connsiteX26453" fmla="*/ 5013683 w 10505529"/>
              <a:gd name="connsiteY26453" fmla="*/ 3055286 h 7458372"/>
              <a:gd name="connsiteX26454" fmla="*/ 5035515 w 10505529"/>
              <a:gd name="connsiteY26454" fmla="*/ 3046633 h 7458372"/>
              <a:gd name="connsiteX26455" fmla="*/ 4817870 w 10505529"/>
              <a:gd name="connsiteY26455" fmla="*/ 3046633 h 7458372"/>
              <a:gd name="connsiteX26456" fmla="*/ 4829585 w 10505529"/>
              <a:gd name="connsiteY26456" fmla="*/ 3049161 h 7458372"/>
              <a:gd name="connsiteX26457" fmla="*/ 4838903 w 10505529"/>
              <a:gd name="connsiteY26457" fmla="*/ 3055552 h 7458372"/>
              <a:gd name="connsiteX26458" fmla="*/ 4845026 w 10505529"/>
              <a:gd name="connsiteY26458" fmla="*/ 3065002 h 7458372"/>
              <a:gd name="connsiteX26459" fmla="*/ 4847289 w 10505529"/>
              <a:gd name="connsiteY26459" fmla="*/ 3076451 h 7458372"/>
              <a:gd name="connsiteX26460" fmla="*/ 4845026 w 10505529"/>
              <a:gd name="connsiteY26460" fmla="*/ 3088165 h 7458372"/>
              <a:gd name="connsiteX26461" fmla="*/ 4838903 w 10505529"/>
              <a:gd name="connsiteY26461" fmla="*/ 3097485 h 7458372"/>
              <a:gd name="connsiteX26462" fmla="*/ 4829585 w 10505529"/>
              <a:gd name="connsiteY26462" fmla="*/ 3103740 h 7458372"/>
              <a:gd name="connsiteX26463" fmla="*/ 4817870 w 10505529"/>
              <a:gd name="connsiteY26463" fmla="*/ 3106003 h 7458372"/>
              <a:gd name="connsiteX26464" fmla="*/ 4796038 w 10505529"/>
              <a:gd name="connsiteY26464" fmla="*/ 3097485 h 7458372"/>
              <a:gd name="connsiteX26465" fmla="*/ 4787652 w 10505529"/>
              <a:gd name="connsiteY26465" fmla="*/ 3076318 h 7458372"/>
              <a:gd name="connsiteX26466" fmla="*/ 4796038 w 10505529"/>
              <a:gd name="connsiteY26466" fmla="*/ 3055286 h 7458372"/>
              <a:gd name="connsiteX26467" fmla="*/ 4817870 w 10505529"/>
              <a:gd name="connsiteY26467" fmla="*/ 3046633 h 7458372"/>
              <a:gd name="connsiteX26468" fmla="*/ 4600226 w 10505529"/>
              <a:gd name="connsiteY26468" fmla="*/ 3046633 h 7458372"/>
              <a:gd name="connsiteX26469" fmla="*/ 4612073 w 10505529"/>
              <a:gd name="connsiteY26469" fmla="*/ 3049161 h 7458372"/>
              <a:gd name="connsiteX26470" fmla="*/ 4621391 w 10505529"/>
              <a:gd name="connsiteY26470" fmla="*/ 3055552 h 7458372"/>
              <a:gd name="connsiteX26471" fmla="*/ 4627514 w 10505529"/>
              <a:gd name="connsiteY26471" fmla="*/ 3065002 h 7458372"/>
              <a:gd name="connsiteX26472" fmla="*/ 4629777 w 10505529"/>
              <a:gd name="connsiteY26472" fmla="*/ 3076451 h 7458372"/>
              <a:gd name="connsiteX26473" fmla="*/ 4627514 w 10505529"/>
              <a:gd name="connsiteY26473" fmla="*/ 3088165 h 7458372"/>
              <a:gd name="connsiteX26474" fmla="*/ 4621391 w 10505529"/>
              <a:gd name="connsiteY26474" fmla="*/ 3097485 h 7458372"/>
              <a:gd name="connsiteX26475" fmla="*/ 4612073 w 10505529"/>
              <a:gd name="connsiteY26475" fmla="*/ 3103740 h 7458372"/>
              <a:gd name="connsiteX26476" fmla="*/ 4600226 w 10505529"/>
              <a:gd name="connsiteY26476" fmla="*/ 3106003 h 7458372"/>
              <a:gd name="connsiteX26477" fmla="*/ 4578393 w 10505529"/>
              <a:gd name="connsiteY26477" fmla="*/ 3097485 h 7458372"/>
              <a:gd name="connsiteX26478" fmla="*/ 4570007 w 10505529"/>
              <a:gd name="connsiteY26478" fmla="*/ 3076318 h 7458372"/>
              <a:gd name="connsiteX26479" fmla="*/ 4578393 w 10505529"/>
              <a:gd name="connsiteY26479" fmla="*/ 3055286 h 7458372"/>
              <a:gd name="connsiteX26480" fmla="*/ 4600226 w 10505529"/>
              <a:gd name="connsiteY26480" fmla="*/ 3046633 h 7458372"/>
              <a:gd name="connsiteX26481" fmla="*/ 4382713 w 10505529"/>
              <a:gd name="connsiteY26481" fmla="*/ 3046633 h 7458372"/>
              <a:gd name="connsiteX26482" fmla="*/ 4394428 w 10505529"/>
              <a:gd name="connsiteY26482" fmla="*/ 3049161 h 7458372"/>
              <a:gd name="connsiteX26483" fmla="*/ 4403746 w 10505529"/>
              <a:gd name="connsiteY26483" fmla="*/ 3055552 h 7458372"/>
              <a:gd name="connsiteX26484" fmla="*/ 4409869 w 10505529"/>
              <a:gd name="connsiteY26484" fmla="*/ 3065002 h 7458372"/>
              <a:gd name="connsiteX26485" fmla="*/ 4412132 w 10505529"/>
              <a:gd name="connsiteY26485" fmla="*/ 3076451 h 7458372"/>
              <a:gd name="connsiteX26486" fmla="*/ 4409869 w 10505529"/>
              <a:gd name="connsiteY26486" fmla="*/ 3088165 h 7458372"/>
              <a:gd name="connsiteX26487" fmla="*/ 4403746 w 10505529"/>
              <a:gd name="connsiteY26487" fmla="*/ 3097485 h 7458372"/>
              <a:gd name="connsiteX26488" fmla="*/ 4394428 w 10505529"/>
              <a:gd name="connsiteY26488" fmla="*/ 3103740 h 7458372"/>
              <a:gd name="connsiteX26489" fmla="*/ 4382713 w 10505529"/>
              <a:gd name="connsiteY26489" fmla="*/ 3106003 h 7458372"/>
              <a:gd name="connsiteX26490" fmla="*/ 4360881 w 10505529"/>
              <a:gd name="connsiteY26490" fmla="*/ 3097485 h 7458372"/>
              <a:gd name="connsiteX26491" fmla="*/ 4352495 w 10505529"/>
              <a:gd name="connsiteY26491" fmla="*/ 3076318 h 7458372"/>
              <a:gd name="connsiteX26492" fmla="*/ 4360881 w 10505529"/>
              <a:gd name="connsiteY26492" fmla="*/ 3055286 h 7458372"/>
              <a:gd name="connsiteX26493" fmla="*/ 4382713 w 10505529"/>
              <a:gd name="connsiteY26493" fmla="*/ 3046633 h 7458372"/>
              <a:gd name="connsiteX26494" fmla="*/ 4165068 w 10505529"/>
              <a:gd name="connsiteY26494" fmla="*/ 3046633 h 7458372"/>
              <a:gd name="connsiteX26495" fmla="*/ 4176782 w 10505529"/>
              <a:gd name="connsiteY26495" fmla="*/ 3049161 h 7458372"/>
              <a:gd name="connsiteX26496" fmla="*/ 4186100 w 10505529"/>
              <a:gd name="connsiteY26496" fmla="*/ 3055552 h 7458372"/>
              <a:gd name="connsiteX26497" fmla="*/ 4192223 w 10505529"/>
              <a:gd name="connsiteY26497" fmla="*/ 3065002 h 7458372"/>
              <a:gd name="connsiteX26498" fmla="*/ 4194486 w 10505529"/>
              <a:gd name="connsiteY26498" fmla="*/ 3076451 h 7458372"/>
              <a:gd name="connsiteX26499" fmla="*/ 4192223 w 10505529"/>
              <a:gd name="connsiteY26499" fmla="*/ 3088165 h 7458372"/>
              <a:gd name="connsiteX26500" fmla="*/ 4186100 w 10505529"/>
              <a:gd name="connsiteY26500" fmla="*/ 3097485 h 7458372"/>
              <a:gd name="connsiteX26501" fmla="*/ 4176782 w 10505529"/>
              <a:gd name="connsiteY26501" fmla="*/ 3103740 h 7458372"/>
              <a:gd name="connsiteX26502" fmla="*/ 4165068 w 10505529"/>
              <a:gd name="connsiteY26502" fmla="*/ 3106003 h 7458372"/>
              <a:gd name="connsiteX26503" fmla="*/ 4143235 w 10505529"/>
              <a:gd name="connsiteY26503" fmla="*/ 3097485 h 7458372"/>
              <a:gd name="connsiteX26504" fmla="*/ 4134849 w 10505529"/>
              <a:gd name="connsiteY26504" fmla="*/ 3076318 h 7458372"/>
              <a:gd name="connsiteX26505" fmla="*/ 4143235 w 10505529"/>
              <a:gd name="connsiteY26505" fmla="*/ 3055286 h 7458372"/>
              <a:gd name="connsiteX26506" fmla="*/ 4165068 w 10505529"/>
              <a:gd name="connsiteY26506" fmla="*/ 3046633 h 7458372"/>
              <a:gd name="connsiteX26507" fmla="*/ 3947593 w 10505529"/>
              <a:gd name="connsiteY26507" fmla="*/ 3046633 h 7458372"/>
              <a:gd name="connsiteX26508" fmla="*/ 3959309 w 10505529"/>
              <a:gd name="connsiteY26508" fmla="*/ 3049161 h 7458372"/>
              <a:gd name="connsiteX26509" fmla="*/ 3968627 w 10505529"/>
              <a:gd name="connsiteY26509" fmla="*/ 3055552 h 7458372"/>
              <a:gd name="connsiteX26510" fmla="*/ 3974751 w 10505529"/>
              <a:gd name="connsiteY26510" fmla="*/ 3065002 h 7458372"/>
              <a:gd name="connsiteX26511" fmla="*/ 3977015 w 10505529"/>
              <a:gd name="connsiteY26511" fmla="*/ 3076451 h 7458372"/>
              <a:gd name="connsiteX26512" fmla="*/ 3974751 w 10505529"/>
              <a:gd name="connsiteY26512" fmla="*/ 3088165 h 7458372"/>
              <a:gd name="connsiteX26513" fmla="*/ 3968627 w 10505529"/>
              <a:gd name="connsiteY26513" fmla="*/ 3097485 h 7458372"/>
              <a:gd name="connsiteX26514" fmla="*/ 3959309 w 10505529"/>
              <a:gd name="connsiteY26514" fmla="*/ 3103740 h 7458372"/>
              <a:gd name="connsiteX26515" fmla="*/ 3947593 w 10505529"/>
              <a:gd name="connsiteY26515" fmla="*/ 3106003 h 7458372"/>
              <a:gd name="connsiteX26516" fmla="*/ 3925761 w 10505529"/>
              <a:gd name="connsiteY26516" fmla="*/ 3097485 h 7458372"/>
              <a:gd name="connsiteX26517" fmla="*/ 3917374 w 10505529"/>
              <a:gd name="connsiteY26517" fmla="*/ 3076318 h 7458372"/>
              <a:gd name="connsiteX26518" fmla="*/ 3925761 w 10505529"/>
              <a:gd name="connsiteY26518" fmla="*/ 3055286 h 7458372"/>
              <a:gd name="connsiteX26519" fmla="*/ 3947593 w 10505529"/>
              <a:gd name="connsiteY26519" fmla="*/ 3046633 h 7458372"/>
              <a:gd name="connsiteX26520" fmla="*/ 3729940 w 10505529"/>
              <a:gd name="connsiteY26520" fmla="*/ 3046633 h 7458372"/>
              <a:gd name="connsiteX26521" fmla="*/ 3741655 w 10505529"/>
              <a:gd name="connsiteY26521" fmla="*/ 3049161 h 7458372"/>
              <a:gd name="connsiteX26522" fmla="*/ 3750974 w 10505529"/>
              <a:gd name="connsiteY26522" fmla="*/ 3055552 h 7458372"/>
              <a:gd name="connsiteX26523" fmla="*/ 3757096 w 10505529"/>
              <a:gd name="connsiteY26523" fmla="*/ 3065002 h 7458372"/>
              <a:gd name="connsiteX26524" fmla="*/ 3759359 w 10505529"/>
              <a:gd name="connsiteY26524" fmla="*/ 3076451 h 7458372"/>
              <a:gd name="connsiteX26525" fmla="*/ 3757096 w 10505529"/>
              <a:gd name="connsiteY26525" fmla="*/ 3088165 h 7458372"/>
              <a:gd name="connsiteX26526" fmla="*/ 3750974 w 10505529"/>
              <a:gd name="connsiteY26526" fmla="*/ 3097485 h 7458372"/>
              <a:gd name="connsiteX26527" fmla="*/ 3741655 w 10505529"/>
              <a:gd name="connsiteY26527" fmla="*/ 3103740 h 7458372"/>
              <a:gd name="connsiteX26528" fmla="*/ 3729940 w 10505529"/>
              <a:gd name="connsiteY26528" fmla="*/ 3106003 h 7458372"/>
              <a:gd name="connsiteX26529" fmla="*/ 3708104 w 10505529"/>
              <a:gd name="connsiteY26529" fmla="*/ 3097485 h 7458372"/>
              <a:gd name="connsiteX26530" fmla="*/ 3699718 w 10505529"/>
              <a:gd name="connsiteY26530" fmla="*/ 3076318 h 7458372"/>
              <a:gd name="connsiteX26531" fmla="*/ 3708104 w 10505529"/>
              <a:gd name="connsiteY26531" fmla="*/ 3055286 h 7458372"/>
              <a:gd name="connsiteX26532" fmla="*/ 3729940 w 10505529"/>
              <a:gd name="connsiteY26532" fmla="*/ 3046633 h 7458372"/>
              <a:gd name="connsiteX26533" fmla="*/ 3512286 w 10505529"/>
              <a:gd name="connsiteY26533" fmla="*/ 3046633 h 7458372"/>
              <a:gd name="connsiteX26534" fmla="*/ 3524002 w 10505529"/>
              <a:gd name="connsiteY26534" fmla="*/ 3049161 h 7458372"/>
              <a:gd name="connsiteX26535" fmla="*/ 3533320 w 10505529"/>
              <a:gd name="connsiteY26535" fmla="*/ 3055552 h 7458372"/>
              <a:gd name="connsiteX26536" fmla="*/ 3539443 w 10505529"/>
              <a:gd name="connsiteY26536" fmla="*/ 3065002 h 7458372"/>
              <a:gd name="connsiteX26537" fmla="*/ 3541706 w 10505529"/>
              <a:gd name="connsiteY26537" fmla="*/ 3076451 h 7458372"/>
              <a:gd name="connsiteX26538" fmla="*/ 3539443 w 10505529"/>
              <a:gd name="connsiteY26538" fmla="*/ 3088165 h 7458372"/>
              <a:gd name="connsiteX26539" fmla="*/ 3533320 w 10505529"/>
              <a:gd name="connsiteY26539" fmla="*/ 3097485 h 7458372"/>
              <a:gd name="connsiteX26540" fmla="*/ 3524002 w 10505529"/>
              <a:gd name="connsiteY26540" fmla="*/ 3103740 h 7458372"/>
              <a:gd name="connsiteX26541" fmla="*/ 3512286 w 10505529"/>
              <a:gd name="connsiteY26541" fmla="*/ 3106003 h 7458372"/>
              <a:gd name="connsiteX26542" fmla="*/ 3490452 w 10505529"/>
              <a:gd name="connsiteY26542" fmla="*/ 3097485 h 7458372"/>
              <a:gd name="connsiteX26543" fmla="*/ 3482065 w 10505529"/>
              <a:gd name="connsiteY26543" fmla="*/ 3076318 h 7458372"/>
              <a:gd name="connsiteX26544" fmla="*/ 3490452 w 10505529"/>
              <a:gd name="connsiteY26544" fmla="*/ 3055286 h 7458372"/>
              <a:gd name="connsiteX26545" fmla="*/ 3512286 w 10505529"/>
              <a:gd name="connsiteY26545" fmla="*/ 3046633 h 7458372"/>
              <a:gd name="connsiteX26546" fmla="*/ 3294765 w 10505529"/>
              <a:gd name="connsiteY26546" fmla="*/ 3046633 h 7458372"/>
              <a:gd name="connsiteX26547" fmla="*/ 3306481 w 10505529"/>
              <a:gd name="connsiteY26547" fmla="*/ 3049161 h 7458372"/>
              <a:gd name="connsiteX26548" fmla="*/ 3315799 w 10505529"/>
              <a:gd name="connsiteY26548" fmla="*/ 3055552 h 7458372"/>
              <a:gd name="connsiteX26549" fmla="*/ 3321922 w 10505529"/>
              <a:gd name="connsiteY26549" fmla="*/ 3065002 h 7458372"/>
              <a:gd name="connsiteX26550" fmla="*/ 3324185 w 10505529"/>
              <a:gd name="connsiteY26550" fmla="*/ 3076451 h 7458372"/>
              <a:gd name="connsiteX26551" fmla="*/ 3321922 w 10505529"/>
              <a:gd name="connsiteY26551" fmla="*/ 3088165 h 7458372"/>
              <a:gd name="connsiteX26552" fmla="*/ 3315799 w 10505529"/>
              <a:gd name="connsiteY26552" fmla="*/ 3097485 h 7458372"/>
              <a:gd name="connsiteX26553" fmla="*/ 3306481 w 10505529"/>
              <a:gd name="connsiteY26553" fmla="*/ 3103740 h 7458372"/>
              <a:gd name="connsiteX26554" fmla="*/ 3294765 w 10505529"/>
              <a:gd name="connsiteY26554" fmla="*/ 3106003 h 7458372"/>
              <a:gd name="connsiteX26555" fmla="*/ 3272930 w 10505529"/>
              <a:gd name="connsiteY26555" fmla="*/ 3097485 h 7458372"/>
              <a:gd name="connsiteX26556" fmla="*/ 3264543 w 10505529"/>
              <a:gd name="connsiteY26556" fmla="*/ 3076318 h 7458372"/>
              <a:gd name="connsiteX26557" fmla="*/ 3272930 w 10505529"/>
              <a:gd name="connsiteY26557" fmla="*/ 3055286 h 7458372"/>
              <a:gd name="connsiteX26558" fmla="*/ 3294765 w 10505529"/>
              <a:gd name="connsiteY26558" fmla="*/ 3046633 h 7458372"/>
              <a:gd name="connsiteX26559" fmla="*/ 3077111 w 10505529"/>
              <a:gd name="connsiteY26559" fmla="*/ 3046633 h 7458372"/>
              <a:gd name="connsiteX26560" fmla="*/ 3088827 w 10505529"/>
              <a:gd name="connsiteY26560" fmla="*/ 3049161 h 7458372"/>
              <a:gd name="connsiteX26561" fmla="*/ 3098145 w 10505529"/>
              <a:gd name="connsiteY26561" fmla="*/ 3055552 h 7458372"/>
              <a:gd name="connsiteX26562" fmla="*/ 3104268 w 10505529"/>
              <a:gd name="connsiteY26562" fmla="*/ 3065002 h 7458372"/>
              <a:gd name="connsiteX26563" fmla="*/ 3106531 w 10505529"/>
              <a:gd name="connsiteY26563" fmla="*/ 3076451 h 7458372"/>
              <a:gd name="connsiteX26564" fmla="*/ 3104268 w 10505529"/>
              <a:gd name="connsiteY26564" fmla="*/ 3088165 h 7458372"/>
              <a:gd name="connsiteX26565" fmla="*/ 3098145 w 10505529"/>
              <a:gd name="connsiteY26565" fmla="*/ 3097485 h 7458372"/>
              <a:gd name="connsiteX26566" fmla="*/ 3088827 w 10505529"/>
              <a:gd name="connsiteY26566" fmla="*/ 3103740 h 7458372"/>
              <a:gd name="connsiteX26567" fmla="*/ 3077111 w 10505529"/>
              <a:gd name="connsiteY26567" fmla="*/ 3106003 h 7458372"/>
              <a:gd name="connsiteX26568" fmla="*/ 3055276 w 10505529"/>
              <a:gd name="connsiteY26568" fmla="*/ 3097485 h 7458372"/>
              <a:gd name="connsiteX26569" fmla="*/ 3046890 w 10505529"/>
              <a:gd name="connsiteY26569" fmla="*/ 3076318 h 7458372"/>
              <a:gd name="connsiteX26570" fmla="*/ 3055276 w 10505529"/>
              <a:gd name="connsiteY26570" fmla="*/ 3055286 h 7458372"/>
              <a:gd name="connsiteX26571" fmla="*/ 3077111 w 10505529"/>
              <a:gd name="connsiteY26571" fmla="*/ 3046633 h 7458372"/>
              <a:gd name="connsiteX26572" fmla="*/ 2859458 w 10505529"/>
              <a:gd name="connsiteY26572" fmla="*/ 3046633 h 7458372"/>
              <a:gd name="connsiteX26573" fmla="*/ 2871306 w 10505529"/>
              <a:gd name="connsiteY26573" fmla="*/ 3049161 h 7458372"/>
              <a:gd name="connsiteX26574" fmla="*/ 2880624 w 10505529"/>
              <a:gd name="connsiteY26574" fmla="*/ 3055552 h 7458372"/>
              <a:gd name="connsiteX26575" fmla="*/ 2886747 w 10505529"/>
              <a:gd name="connsiteY26575" fmla="*/ 3065002 h 7458372"/>
              <a:gd name="connsiteX26576" fmla="*/ 2889010 w 10505529"/>
              <a:gd name="connsiteY26576" fmla="*/ 3076451 h 7458372"/>
              <a:gd name="connsiteX26577" fmla="*/ 2886747 w 10505529"/>
              <a:gd name="connsiteY26577" fmla="*/ 3088165 h 7458372"/>
              <a:gd name="connsiteX26578" fmla="*/ 2880624 w 10505529"/>
              <a:gd name="connsiteY26578" fmla="*/ 3097485 h 7458372"/>
              <a:gd name="connsiteX26579" fmla="*/ 2871306 w 10505529"/>
              <a:gd name="connsiteY26579" fmla="*/ 3103740 h 7458372"/>
              <a:gd name="connsiteX26580" fmla="*/ 2859458 w 10505529"/>
              <a:gd name="connsiteY26580" fmla="*/ 3106003 h 7458372"/>
              <a:gd name="connsiteX26581" fmla="*/ 2837623 w 10505529"/>
              <a:gd name="connsiteY26581" fmla="*/ 3097485 h 7458372"/>
              <a:gd name="connsiteX26582" fmla="*/ 2829236 w 10505529"/>
              <a:gd name="connsiteY26582" fmla="*/ 3076318 h 7458372"/>
              <a:gd name="connsiteX26583" fmla="*/ 2837623 w 10505529"/>
              <a:gd name="connsiteY26583" fmla="*/ 3055286 h 7458372"/>
              <a:gd name="connsiteX26584" fmla="*/ 2859458 w 10505529"/>
              <a:gd name="connsiteY26584" fmla="*/ 3046633 h 7458372"/>
              <a:gd name="connsiteX26585" fmla="*/ 2641803 w 10505529"/>
              <a:gd name="connsiteY26585" fmla="*/ 3046633 h 7458372"/>
              <a:gd name="connsiteX26586" fmla="*/ 2653519 w 10505529"/>
              <a:gd name="connsiteY26586" fmla="*/ 3049161 h 7458372"/>
              <a:gd name="connsiteX26587" fmla="*/ 2662837 w 10505529"/>
              <a:gd name="connsiteY26587" fmla="*/ 3055552 h 7458372"/>
              <a:gd name="connsiteX26588" fmla="*/ 2668960 w 10505529"/>
              <a:gd name="connsiteY26588" fmla="*/ 3065002 h 7458372"/>
              <a:gd name="connsiteX26589" fmla="*/ 2671223 w 10505529"/>
              <a:gd name="connsiteY26589" fmla="*/ 3076451 h 7458372"/>
              <a:gd name="connsiteX26590" fmla="*/ 2668960 w 10505529"/>
              <a:gd name="connsiteY26590" fmla="*/ 3088165 h 7458372"/>
              <a:gd name="connsiteX26591" fmla="*/ 2662837 w 10505529"/>
              <a:gd name="connsiteY26591" fmla="*/ 3097485 h 7458372"/>
              <a:gd name="connsiteX26592" fmla="*/ 2653519 w 10505529"/>
              <a:gd name="connsiteY26592" fmla="*/ 3103740 h 7458372"/>
              <a:gd name="connsiteX26593" fmla="*/ 2641803 w 10505529"/>
              <a:gd name="connsiteY26593" fmla="*/ 3106003 h 7458372"/>
              <a:gd name="connsiteX26594" fmla="*/ 2619971 w 10505529"/>
              <a:gd name="connsiteY26594" fmla="*/ 3097485 h 7458372"/>
              <a:gd name="connsiteX26595" fmla="*/ 2611583 w 10505529"/>
              <a:gd name="connsiteY26595" fmla="*/ 3076318 h 7458372"/>
              <a:gd name="connsiteX26596" fmla="*/ 2619971 w 10505529"/>
              <a:gd name="connsiteY26596" fmla="*/ 3055286 h 7458372"/>
              <a:gd name="connsiteX26597" fmla="*/ 2641803 w 10505529"/>
              <a:gd name="connsiteY26597" fmla="*/ 3046633 h 7458372"/>
              <a:gd name="connsiteX26598" fmla="*/ 2424149 w 10505529"/>
              <a:gd name="connsiteY26598" fmla="*/ 3046633 h 7458372"/>
              <a:gd name="connsiteX26599" fmla="*/ 2435865 w 10505529"/>
              <a:gd name="connsiteY26599" fmla="*/ 3049161 h 7458372"/>
              <a:gd name="connsiteX26600" fmla="*/ 2445183 w 10505529"/>
              <a:gd name="connsiteY26600" fmla="*/ 3055552 h 7458372"/>
              <a:gd name="connsiteX26601" fmla="*/ 2451306 w 10505529"/>
              <a:gd name="connsiteY26601" fmla="*/ 3065002 h 7458372"/>
              <a:gd name="connsiteX26602" fmla="*/ 2453569 w 10505529"/>
              <a:gd name="connsiteY26602" fmla="*/ 3076451 h 7458372"/>
              <a:gd name="connsiteX26603" fmla="*/ 2451306 w 10505529"/>
              <a:gd name="connsiteY26603" fmla="*/ 3088165 h 7458372"/>
              <a:gd name="connsiteX26604" fmla="*/ 2445183 w 10505529"/>
              <a:gd name="connsiteY26604" fmla="*/ 3097485 h 7458372"/>
              <a:gd name="connsiteX26605" fmla="*/ 2435865 w 10505529"/>
              <a:gd name="connsiteY26605" fmla="*/ 3103740 h 7458372"/>
              <a:gd name="connsiteX26606" fmla="*/ 2424149 w 10505529"/>
              <a:gd name="connsiteY26606" fmla="*/ 3106003 h 7458372"/>
              <a:gd name="connsiteX26607" fmla="*/ 2402317 w 10505529"/>
              <a:gd name="connsiteY26607" fmla="*/ 3097485 h 7458372"/>
              <a:gd name="connsiteX26608" fmla="*/ 2393929 w 10505529"/>
              <a:gd name="connsiteY26608" fmla="*/ 3076318 h 7458372"/>
              <a:gd name="connsiteX26609" fmla="*/ 2402317 w 10505529"/>
              <a:gd name="connsiteY26609" fmla="*/ 3055286 h 7458372"/>
              <a:gd name="connsiteX26610" fmla="*/ 2424149 w 10505529"/>
              <a:gd name="connsiteY26610" fmla="*/ 3046633 h 7458372"/>
              <a:gd name="connsiteX26611" fmla="*/ 2206496 w 10505529"/>
              <a:gd name="connsiteY26611" fmla="*/ 3046633 h 7458372"/>
              <a:gd name="connsiteX26612" fmla="*/ 2218211 w 10505529"/>
              <a:gd name="connsiteY26612" fmla="*/ 3049161 h 7458372"/>
              <a:gd name="connsiteX26613" fmla="*/ 2227529 w 10505529"/>
              <a:gd name="connsiteY26613" fmla="*/ 3055552 h 7458372"/>
              <a:gd name="connsiteX26614" fmla="*/ 2233652 w 10505529"/>
              <a:gd name="connsiteY26614" fmla="*/ 3065002 h 7458372"/>
              <a:gd name="connsiteX26615" fmla="*/ 2235915 w 10505529"/>
              <a:gd name="connsiteY26615" fmla="*/ 3076451 h 7458372"/>
              <a:gd name="connsiteX26616" fmla="*/ 2233652 w 10505529"/>
              <a:gd name="connsiteY26616" fmla="*/ 3088165 h 7458372"/>
              <a:gd name="connsiteX26617" fmla="*/ 2227529 w 10505529"/>
              <a:gd name="connsiteY26617" fmla="*/ 3097485 h 7458372"/>
              <a:gd name="connsiteX26618" fmla="*/ 2218211 w 10505529"/>
              <a:gd name="connsiteY26618" fmla="*/ 3103740 h 7458372"/>
              <a:gd name="connsiteX26619" fmla="*/ 2206496 w 10505529"/>
              <a:gd name="connsiteY26619" fmla="*/ 3106003 h 7458372"/>
              <a:gd name="connsiteX26620" fmla="*/ 2184663 w 10505529"/>
              <a:gd name="connsiteY26620" fmla="*/ 3097485 h 7458372"/>
              <a:gd name="connsiteX26621" fmla="*/ 2176276 w 10505529"/>
              <a:gd name="connsiteY26621" fmla="*/ 3076318 h 7458372"/>
              <a:gd name="connsiteX26622" fmla="*/ 2184663 w 10505529"/>
              <a:gd name="connsiteY26622" fmla="*/ 3055286 h 7458372"/>
              <a:gd name="connsiteX26623" fmla="*/ 2206496 w 10505529"/>
              <a:gd name="connsiteY26623" fmla="*/ 3046633 h 7458372"/>
              <a:gd name="connsiteX26624" fmla="*/ 1988975 w 10505529"/>
              <a:gd name="connsiteY26624" fmla="*/ 3046633 h 7458372"/>
              <a:gd name="connsiteX26625" fmla="*/ 2000690 w 10505529"/>
              <a:gd name="connsiteY26625" fmla="*/ 3049161 h 7458372"/>
              <a:gd name="connsiteX26626" fmla="*/ 2010008 w 10505529"/>
              <a:gd name="connsiteY26626" fmla="*/ 3055552 h 7458372"/>
              <a:gd name="connsiteX26627" fmla="*/ 2016131 w 10505529"/>
              <a:gd name="connsiteY26627" fmla="*/ 3065002 h 7458372"/>
              <a:gd name="connsiteX26628" fmla="*/ 2018394 w 10505529"/>
              <a:gd name="connsiteY26628" fmla="*/ 3076451 h 7458372"/>
              <a:gd name="connsiteX26629" fmla="*/ 2016131 w 10505529"/>
              <a:gd name="connsiteY26629" fmla="*/ 3088165 h 7458372"/>
              <a:gd name="connsiteX26630" fmla="*/ 2010008 w 10505529"/>
              <a:gd name="connsiteY26630" fmla="*/ 3097485 h 7458372"/>
              <a:gd name="connsiteX26631" fmla="*/ 2000690 w 10505529"/>
              <a:gd name="connsiteY26631" fmla="*/ 3103740 h 7458372"/>
              <a:gd name="connsiteX26632" fmla="*/ 1988975 w 10505529"/>
              <a:gd name="connsiteY26632" fmla="*/ 3106003 h 7458372"/>
              <a:gd name="connsiteX26633" fmla="*/ 1967143 w 10505529"/>
              <a:gd name="connsiteY26633" fmla="*/ 3097485 h 7458372"/>
              <a:gd name="connsiteX26634" fmla="*/ 1958757 w 10505529"/>
              <a:gd name="connsiteY26634" fmla="*/ 3076318 h 7458372"/>
              <a:gd name="connsiteX26635" fmla="*/ 1967143 w 10505529"/>
              <a:gd name="connsiteY26635" fmla="*/ 3055286 h 7458372"/>
              <a:gd name="connsiteX26636" fmla="*/ 1988975 w 10505529"/>
              <a:gd name="connsiteY26636" fmla="*/ 3046633 h 7458372"/>
              <a:gd name="connsiteX26637" fmla="*/ 1771336 w 10505529"/>
              <a:gd name="connsiteY26637" fmla="*/ 3046633 h 7458372"/>
              <a:gd name="connsiteX26638" fmla="*/ 1783050 w 10505529"/>
              <a:gd name="connsiteY26638" fmla="*/ 3049161 h 7458372"/>
              <a:gd name="connsiteX26639" fmla="*/ 1792368 w 10505529"/>
              <a:gd name="connsiteY26639" fmla="*/ 3055552 h 7458372"/>
              <a:gd name="connsiteX26640" fmla="*/ 1798491 w 10505529"/>
              <a:gd name="connsiteY26640" fmla="*/ 3065002 h 7458372"/>
              <a:gd name="connsiteX26641" fmla="*/ 1800754 w 10505529"/>
              <a:gd name="connsiteY26641" fmla="*/ 3076451 h 7458372"/>
              <a:gd name="connsiteX26642" fmla="*/ 1798491 w 10505529"/>
              <a:gd name="connsiteY26642" fmla="*/ 3088165 h 7458372"/>
              <a:gd name="connsiteX26643" fmla="*/ 1792368 w 10505529"/>
              <a:gd name="connsiteY26643" fmla="*/ 3097485 h 7458372"/>
              <a:gd name="connsiteX26644" fmla="*/ 1783050 w 10505529"/>
              <a:gd name="connsiteY26644" fmla="*/ 3103740 h 7458372"/>
              <a:gd name="connsiteX26645" fmla="*/ 1771336 w 10505529"/>
              <a:gd name="connsiteY26645" fmla="*/ 3106003 h 7458372"/>
              <a:gd name="connsiteX26646" fmla="*/ 1749506 w 10505529"/>
              <a:gd name="connsiteY26646" fmla="*/ 3097485 h 7458372"/>
              <a:gd name="connsiteX26647" fmla="*/ 1741121 w 10505529"/>
              <a:gd name="connsiteY26647" fmla="*/ 3076318 h 7458372"/>
              <a:gd name="connsiteX26648" fmla="*/ 1749506 w 10505529"/>
              <a:gd name="connsiteY26648" fmla="*/ 3055286 h 7458372"/>
              <a:gd name="connsiteX26649" fmla="*/ 1771336 w 10505529"/>
              <a:gd name="connsiteY26649" fmla="*/ 3046633 h 7458372"/>
              <a:gd name="connsiteX26650" fmla="*/ 1553695 w 10505529"/>
              <a:gd name="connsiteY26650" fmla="*/ 3046633 h 7458372"/>
              <a:gd name="connsiteX26651" fmla="*/ 1565410 w 10505529"/>
              <a:gd name="connsiteY26651" fmla="*/ 3049161 h 7458372"/>
              <a:gd name="connsiteX26652" fmla="*/ 1574728 w 10505529"/>
              <a:gd name="connsiteY26652" fmla="*/ 3055552 h 7458372"/>
              <a:gd name="connsiteX26653" fmla="*/ 1580851 w 10505529"/>
              <a:gd name="connsiteY26653" fmla="*/ 3065002 h 7458372"/>
              <a:gd name="connsiteX26654" fmla="*/ 1583114 w 10505529"/>
              <a:gd name="connsiteY26654" fmla="*/ 3076451 h 7458372"/>
              <a:gd name="connsiteX26655" fmla="*/ 1580851 w 10505529"/>
              <a:gd name="connsiteY26655" fmla="*/ 3088165 h 7458372"/>
              <a:gd name="connsiteX26656" fmla="*/ 1574728 w 10505529"/>
              <a:gd name="connsiteY26656" fmla="*/ 3097485 h 7458372"/>
              <a:gd name="connsiteX26657" fmla="*/ 1565410 w 10505529"/>
              <a:gd name="connsiteY26657" fmla="*/ 3103740 h 7458372"/>
              <a:gd name="connsiteX26658" fmla="*/ 1553695 w 10505529"/>
              <a:gd name="connsiteY26658" fmla="*/ 3106003 h 7458372"/>
              <a:gd name="connsiteX26659" fmla="*/ 1531864 w 10505529"/>
              <a:gd name="connsiteY26659" fmla="*/ 3097485 h 7458372"/>
              <a:gd name="connsiteX26660" fmla="*/ 1523479 w 10505529"/>
              <a:gd name="connsiteY26660" fmla="*/ 3076318 h 7458372"/>
              <a:gd name="connsiteX26661" fmla="*/ 1531864 w 10505529"/>
              <a:gd name="connsiteY26661" fmla="*/ 3055286 h 7458372"/>
              <a:gd name="connsiteX26662" fmla="*/ 1553695 w 10505529"/>
              <a:gd name="connsiteY26662" fmla="*/ 3046633 h 7458372"/>
              <a:gd name="connsiteX26663" fmla="*/ 1336051 w 10505529"/>
              <a:gd name="connsiteY26663" fmla="*/ 3046633 h 7458372"/>
              <a:gd name="connsiteX26664" fmla="*/ 1347767 w 10505529"/>
              <a:gd name="connsiteY26664" fmla="*/ 3049161 h 7458372"/>
              <a:gd name="connsiteX26665" fmla="*/ 1357085 w 10505529"/>
              <a:gd name="connsiteY26665" fmla="*/ 3055552 h 7458372"/>
              <a:gd name="connsiteX26666" fmla="*/ 1363207 w 10505529"/>
              <a:gd name="connsiteY26666" fmla="*/ 3065002 h 7458372"/>
              <a:gd name="connsiteX26667" fmla="*/ 1365470 w 10505529"/>
              <a:gd name="connsiteY26667" fmla="*/ 3076451 h 7458372"/>
              <a:gd name="connsiteX26668" fmla="*/ 1363207 w 10505529"/>
              <a:gd name="connsiteY26668" fmla="*/ 3088165 h 7458372"/>
              <a:gd name="connsiteX26669" fmla="*/ 1357085 w 10505529"/>
              <a:gd name="connsiteY26669" fmla="*/ 3097485 h 7458372"/>
              <a:gd name="connsiteX26670" fmla="*/ 1347767 w 10505529"/>
              <a:gd name="connsiteY26670" fmla="*/ 3103740 h 7458372"/>
              <a:gd name="connsiteX26671" fmla="*/ 1336051 w 10505529"/>
              <a:gd name="connsiteY26671" fmla="*/ 3106003 h 7458372"/>
              <a:gd name="connsiteX26672" fmla="*/ 1314219 w 10505529"/>
              <a:gd name="connsiteY26672" fmla="*/ 3097485 h 7458372"/>
              <a:gd name="connsiteX26673" fmla="*/ 1305833 w 10505529"/>
              <a:gd name="connsiteY26673" fmla="*/ 3076318 h 7458372"/>
              <a:gd name="connsiteX26674" fmla="*/ 1314219 w 10505529"/>
              <a:gd name="connsiteY26674" fmla="*/ 3055286 h 7458372"/>
              <a:gd name="connsiteX26675" fmla="*/ 1336051 w 10505529"/>
              <a:gd name="connsiteY26675" fmla="*/ 3046633 h 7458372"/>
              <a:gd name="connsiteX26676" fmla="*/ 1118406 w 10505529"/>
              <a:gd name="connsiteY26676" fmla="*/ 3046633 h 7458372"/>
              <a:gd name="connsiteX26677" fmla="*/ 1130123 w 10505529"/>
              <a:gd name="connsiteY26677" fmla="*/ 3049161 h 7458372"/>
              <a:gd name="connsiteX26678" fmla="*/ 1139439 w 10505529"/>
              <a:gd name="connsiteY26678" fmla="*/ 3055552 h 7458372"/>
              <a:gd name="connsiteX26679" fmla="*/ 1145560 w 10505529"/>
              <a:gd name="connsiteY26679" fmla="*/ 3065002 h 7458372"/>
              <a:gd name="connsiteX26680" fmla="*/ 1147824 w 10505529"/>
              <a:gd name="connsiteY26680" fmla="*/ 3076451 h 7458372"/>
              <a:gd name="connsiteX26681" fmla="*/ 1145560 w 10505529"/>
              <a:gd name="connsiteY26681" fmla="*/ 3088165 h 7458372"/>
              <a:gd name="connsiteX26682" fmla="*/ 1139439 w 10505529"/>
              <a:gd name="connsiteY26682" fmla="*/ 3097485 h 7458372"/>
              <a:gd name="connsiteX26683" fmla="*/ 1130123 w 10505529"/>
              <a:gd name="connsiteY26683" fmla="*/ 3103740 h 7458372"/>
              <a:gd name="connsiteX26684" fmla="*/ 1118406 w 10505529"/>
              <a:gd name="connsiteY26684" fmla="*/ 3106003 h 7458372"/>
              <a:gd name="connsiteX26685" fmla="*/ 1096572 w 10505529"/>
              <a:gd name="connsiteY26685" fmla="*/ 3097485 h 7458372"/>
              <a:gd name="connsiteX26686" fmla="*/ 1088187 w 10505529"/>
              <a:gd name="connsiteY26686" fmla="*/ 3076318 h 7458372"/>
              <a:gd name="connsiteX26687" fmla="*/ 1096572 w 10505529"/>
              <a:gd name="connsiteY26687" fmla="*/ 3055286 h 7458372"/>
              <a:gd name="connsiteX26688" fmla="*/ 1118406 w 10505529"/>
              <a:gd name="connsiteY26688" fmla="*/ 3046633 h 7458372"/>
              <a:gd name="connsiteX26689" fmla="*/ 900893 w 10505529"/>
              <a:gd name="connsiteY26689" fmla="*/ 3046633 h 7458372"/>
              <a:gd name="connsiteX26690" fmla="*/ 912608 w 10505529"/>
              <a:gd name="connsiteY26690" fmla="*/ 3049161 h 7458372"/>
              <a:gd name="connsiteX26691" fmla="*/ 921927 w 10505529"/>
              <a:gd name="connsiteY26691" fmla="*/ 3055552 h 7458372"/>
              <a:gd name="connsiteX26692" fmla="*/ 928049 w 10505529"/>
              <a:gd name="connsiteY26692" fmla="*/ 3065002 h 7458372"/>
              <a:gd name="connsiteX26693" fmla="*/ 930312 w 10505529"/>
              <a:gd name="connsiteY26693" fmla="*/ 3076451 h 7458372"/>
              <a:gd name="connsiteX26694" fmla="*/ 928049 w 10505529"/>
              <a:gd name="connsiteY26694" fmla="*/ 3088165 h 7458372"/>
              <a:gd name="connsiteX26695" fmla="*/ 921927 w 10505529"/>
              <a:gd name="connsiteY26695" fmla="*/ 3097485 h 7458372"/>
              <a:gd name="connsiteX26696" fmla="*/ 912608 w 10505529"/>
              <a:gd name="connsiteY26696" fmla="*/ 3103740 h 7458372"/>
              <a:gd name="connsiteX26697" fmla="*/ 900893 w 10505529"/>
              <a:gd name="connsiteY26697" fmla="*/ 3106003 h 7458372"/>
              <a:gd name="connsiteX26698" fmla="*/ 879062 w 10505529"/>
              <a:gd name="connsiteY26698" fmla="*/ 3097485 h 7458372"/>
              <a:gd name="connsiteX26699" fmla="*/ 870677 w 10505529"/>
              <a:gd name="connsiteY26699" fmla="*/ 3076318 h 7458372"/>
              <a:gd name="connsiteX26700" fmla="*/ 879062 w 10505529"/>
              <a:gd name="connsiteY26700" fmla="*/ 3055286 h 7458372"/>
              <a:gd name="connsiteX26701" fmla="*/ 900893 w 10505529"/>
              <a:gd name="connsiteY26701" fmla="*/ 3046633 h 7458372"/>
              <a:gd name="connsiteX26702" fmla="*/ 683251 w 10505529"/>
              <a:gd name="connsiteY26702" fmla="*/ 3046633 h 7458372"/>
              <a:gd name="connsiteX26703" fmla="*/ 694966 w 10505529"/>
              <a:gd name="connsiteY26703" fmla="*/ 3049161 h 7458372"/>
              <a:gd name="connsiteX26704" fmla="*/ 704284 w 10505529"/>
              <a:gd name="connsiteY26704" fmla="*/ 3055552 h 7458372"/>
              <a:gd name="connsiteX26705" fmla="*/ 710407 w 10505529"/>
              <a:gd name="connsiteY26705" fmla="*/ 3065002 h 7458372"/>
              <a:gd name="connsiteX26706" fmla="*/ 712670 w 10505529"/>
              <a:gd name="connsiteY26706" fmla="*/ 3076451 h 7458372"/>
              <a:gd name="connsiteX26707" fmla="*/ 710407 w 10505529"/>
              <a:gd name="connsiteY26707" fmla="*/ 3088165 h 7458372"/>
              <a:gd name="connsiteX26708" fmla="*/ 704284 w 10505529"/>
              <a:gd name="connsiteY26708" fmla="*/ 3097485 h 7458372"/>
              <a:gd name="connsiteX26709" fmla="*/ 694966 w 10505529"/>
              <a:gd name="connsiteY26709" fmla="*/ 3103740 h 7458372"/>
              <a:gd name="connsiteX26710" fmla="*/ 683251 w 10505529"/>
              <a:gd name="connsiteY26710" fmla="*/ 3106003 h 7458372"/>
              <a:gd name="connsiteX26711" fmla="*/ 661420 w 10505529"/>
              <a:gd name="connsiteY26711" fmla="*/ 3097485 h 7458372"/>
              <a:gd name="connsiteX26712" fmla="*/ 653034 w 10505529"/>
              <a:gd name="connsiteY26712" fmla="*/ 3076318 h 7458372"/>
              <a:gd name="connsiteX26713" fmla="*/ 661420 w 10505529"/>
              <a:gd name="connsiteY26713" fmla="*/ 3055286 h 7458372"/>
              <a:gd name="connsiteX26714" fmla="*/ 683251 w 10505529"/>
              <a:gd name="connsiteY26714" fmla="*/ 3046633 h 7458372"/>
              <a:gd name="connsiteX26715" fmla="*/ 465608 w 10505529"/>
              <a:gd name="connsiteY26715" fmla="*/ 3046633 h 7458372"/>
              <a:gd name="connsiteX26716" fmla="*/ 477324 w 10505529"/>
              <a:gd name="connsiteY26716" fmla="*/ 3049161 h 7458372"/>
              <a:gd name="connsiteX26717" fmla="*/ 486641 w 10505529"/>
              <a:gd name="connsiteY26717" fmla="*/ 3055552 h 7458372"/>
              <a:gd name="connsiteX26718" fmla="*/ 492764 w 10505529"/>
              <a:gd name="connsiteY26718" fmla="*/ 3065002 h 7458372"/>
              <a:gd name="connsiteX26719" fmla="*/ 495027 w 10505529"/>
              <a:gd name="connsiteY26719" fmla="*/ 3076451 h 7458372"/>
              <a:gd name="connsiteX26720" fmla="*/ 492764 w 10505529"/>
              <a:gd name="connsiteY26720" fmla="*/ 3088165 h 7458372"/>
              <a:gd name="connsiteX26721" fmla="*/ 486641 w 10505529"/>
              <a:gd name="connsiteY26721" fmla="*/ 3097485 h 7458372"/>
              <a:gd name="connsiteX26722" fmla="*/ 477324 w 10505529"/>
              <a:gd name="connsiteY26722" fmla="*/ 3103740 h 7458372"/>
              <a:gd name="connsiteX26723" fmla="*/ 465608 w 10505529"/>
              <a:gd name="connsiteY26723" fmla="*/ 3106003 h 7458372"/>
              <a:gd name="connsiteX26724" fmla="*/ 443777 w 10505529"/>
              <a:gd name="connsiteY26724" fmla="*/ 3097485 h 7458372"/>
              <a:gd name="connsiteX26725" fmla="*/ 435391 w 10505529"/>
              <a:gd name="connsiteY26725" fmla="*/ 3076318 h 7458372"/>
              <a:gd name="connsiteX26726" fmla="*/ 443777 w 10505529"/>
              <a:gd name="connsiteY26726" fmla="*/ 3055286 h 7458372"/>
              <a:gd name="connsiteX26727" fmla="*/ 465608 w 10505529"/>
              <a:gd name="connsiteY26727" fmla="*/ 3046633 h 7458372"/>
              <a:gd name="connsiteX26728" fmla="*/ 247965 w 10505529"/>
              <a:gd name="connsiteY26728" fmla="*/ 3046633 h 7458372"/>
              <a:gd name="connsiteX26729" fmla="*/ 259680 w 10505529"/>
              <a:gd name="connsiteY26729" fmla="*/ 3049161 h 7458372"/>
              <a:gd name="connsiteX26730" fmla="*/ 268998 w 10505529"/>
              <a:gd name="connsiteY26730" fmla="*/ 3055552 h 7458372"/>
              <a:gd name="connsiteX26731" fmla="*/ 275121 w 10505529"/>
              <a:gd name="connsiteY26731" fmla="*/ 3065002 h 7458372"/>
              <a:gd name="connsiteX26732" fmla="*/ 277384 w 10505529"/>
              <a:gd name="connsiteY26732" fmla="*/ 3076451 h 7458372"/>
              <a:gd name="connsiteX26733" fmla="*/ 275121 w 10505529"/>
              <a:gd name="connsiteY26733" fmla="*/ 3088165 h 7458372"/>
              <a:gd name="connsiteX26734" fmla="*/ 268998 w 10505529"/>
              <a:gd name="connsiteY26734" fmla="*/ 3097485 h 7458372"/>
              <a:gd name="connsiteX26735" fmla="*/ 259680 w 10505529"/>
              <a:gd name="connsiteY26735" fmla="*/ 3103740 h 7458372"/>
              <a:gd name="connsiteX26736" fmla="*/ 247965 w 10505529"/>
              <a:gd name="connsiteY26736" fmla="*/ 3106003 h 7458372"/>
              <a:gd name="connsiteX26737" fmla="*/ 226135 w 10505529"/>
              <a:gd name="connsiteY26737" fmla="*/ 3097485 h 7458372"/>
              <a:gd name="connsiteX26738" fmla="*/ 217749 w 10505529"/>
              <a:gd name="connsiteY26738" fmla="*/ 3076318 h 7458372"/>
              <a:gd name="connsiteX26739" fmla="*/ 226135 w 10505529"/>
              <a:gd name="connsiteY26739" fmla="*/ 3055286 h 7458372"/>
              <a:gd name="connsiteX26740" fmla="*/ 247965 w 10505529"/>
              <a:gd name="connsiteY26740" fmla="*/ 3046633 h 7458372"/>
              <a:gd name="connsiteX26741" fmla="*/ 30322 w 10505529"/>
              <a:gd name="connsiteY26741" fmla="*/ 3046633 h 7458372"/>
              <a:gd name="connsiteX26742" fmla="*/ 42038 w 10505529"/>
              <a:gd name="connsiteY26742" fmla="*/ 3049161 h 7458372"/>
              <a:gd name="connsiteX26743" fmla="*/ 51356 w 10505529"/>
              <a:gd name="connsiteY26743" fmla="*/ 3055552 h 7458372"/>
              <a:gd name="connsiteX26744" fmla="*/ 57479 w 10505529"/>
              <a:gd name="connsiteY26744" fmla="*/ 3065002 h 7458372"/>
              <a:gd name="connsiteX26745" fmla="*/ 59742 w 10505529"/>
              <a:gd name="connsiteY26745" fmla="*/ 3076451 h 7458372"/>
              <a:gd name="connsiteX26746" fmla="*/ 57479 w 10505529"/>
              <a:gd name="connsiteY26746" fmla="*/ 3088165 h 7458372"/>
              <a:gd name="connsiteX26747" fmla="*/ 51356 w 10505529"/>
              <a:gd name="connsiteY26747" fmla="*/ 3097485 h 7458372"/>
              <a:gd name="connsiteX26748" fmla="*/ 42038 w 10505529"/>
              <a:gd name="connsiteY26748" fmla="*/ 3103740 h 7458372"/>
              <a:gd name="connsiteX26749" fmla="*/ 30322 w 10505529"/>
              <a:gd name="connsiteY26749" fmla="*/ 3106003 h 7458372"/>
              <a:gd name="connsiteX26750" fmla="*/ 8493 w 10505529"/>
              <a:gd name="connsiteY26750" fmla="*/ 3097485 h 7458372"/>
              <a:gd name="connsiteX26751" fmla="*/ 107 w 10505529"/>
              <a:gd name="connsiteY26751" fmla="*/ 3076318 h 7458372"/>
              <a:gd name="connsiteX26752" fmla="*/ 8493 w 10505529"/>
              <a:gd name="connsiteY26752" fmla="*/ 3055286 h 7458372"/>
              <a:gd name="connsiteX26753" fmla="*/ 30322 w 10505529"/>
              <a:gd name="connsiteY26753" fmla="*/ 3046633 h 7458372"/>
              <a:gd name="connsiteX26754" fmla="*/ 10475977 w 10505529"/>
              <a:gd name="connsiteY26754" fmla="*/ 2845761 h 7458372"/>
              <a:gd name="connsiteX26755" fmla="*/ 10465992 w 10505529"/>
              <a:gd name="connsiteY26755" fmla="*/ 2849355 h 7458372"/>
              <a:gd name="connsiteX26756" fmla="*/ 10462399 w 10505529"/>
              <a:gd name="connsiteY26756" fmla="*/ 2858806 h 7458372"/>
              <a:gd name="connsiteX26757" fmla="*/ 10465992 w 10505529"/>
              <a:gd name="connsiteY26757" fmla="*/ 2868257 h 7458372"/>
              <a:gd name="connsiteX26758" fmla="*/ 10475977 w 10505529"/>
              <a:gd name="connsiteY26758" fmla="*/ 2871718 h 7458372"/>
              <a:gd name="connsiteX26759" fmla="*/ 10481302 w 10505529"/>
              <a:gd name="connsiteY26759" fmla="*/ 2870787 h 7458372"/>
              <a:gd name="connsiteX26760" fmla="*/ 10485029 w 10505529"/>
              <a:gd name="connsiteY26760" fmla="*/ 2868390 h 7458372"/>
              <a:gd name="connsiteX26761" fmla="*/ 10487691 w 10505529"/>
              <a:gd name="connsiteY26761" fmla="*/ 2864264 h 7458372"/>
              <a:gd name="connsiteX26762" fmla="*/ 10488623 w 10505529"/>
              <a:gd name="connsiteY26762" fmla="*/ 2858806 h 7458372"/>
              <a:gd name="connsiteX26763" fmla="*/ 10487691 w 10505529"/>
              <a:gd name="connsiteY26763" fmla="*/ 2853614 h 7458372"/>
              <a:gd name="connsiteX26764" fmla="*/ 10485029 w 10505529"/>
              <a:gd name="connsiteY26764" fmla="*/ 2849355 h 7458372"/>
              <a:gd name="connsiteX26765" fmla="*/ 10481035 w 10505529"/>
              <a:gd name="connsiteY26765" fmla="*/ 2846692 h 7458372"/>
              <a:gd name="connsiteX26766" fmla="*/ 10475977 w 10505529"/>
              <a:gd name="connsiteY26766" fmla="*/ 2845761 h 7458372"/>
              <a:gd name="connsiteX26767" fmla="*/ 10258466 w 10505529"/>
              <a:gd name="connsiteY26767" fmla="*/ 2845761 h 7458372"/>
              <a:gd name="connsiteX26768" fmla="*/ 10248481 w 10505529"/>
              <a:gd name="connsiteY26768" fmla="*/ 2849355 h 7458372"/>
              <a:gd name="connsiteX26769" fmla="*/ 10244887 w 10505529"/>
              <a:gd name="connsiteY26769" fmla="*/ 2858806 h 7458372"/>
              <a:gd name="connsiteX26770" fmla="*/ 10248481 w 10505529"/>
              <a:gd name="connsiteY26770" fmla="*/ 2868257 h 7458372"/>
              <a:gd name="connsiteX26771" fmla="*/ 10258466 w 10505529"/>
              <a:gd name="connsiteY26771" fmla="*/ 2871718 h 7458372"/>
              <a:gd name="connsiteX26772" fmla="*/ 10263790 w 10505529"/>
              <a:gd name="connsiteY26772" fmla="*/ 2870787 h 7458372"/>
              <a:gd name="connsiteX26773" fmla="*/ 10267517 w 10505529"/>
              <a:gd name="connsiteY26773" fmla="*/ 2868390 h 7458372"/>
              <a:gd name="connsiteX26774" fmla="*/ 10270180 w 10505529"/>
              <a:gd name="connsiteY26774" fmla="*/ 2864264 h 7458372"/>
              <a:gd name="connsiteX26775" fmla="*/ 10271112 w 10505529"/>
              <a:gd name="connsiteY26775" fmla="*/ 2858806 h 7458372"/>
              <a:gd name="connsiteX26776" fmla="*/ 10270180 w 10505529"/>
              <a:gd name="connsiteY26776" fmla="*/ 2853614 h 7458372"/>
              <a:gd name="connsiteX26777" fmla="*/ 10267517 w 10505529"/>
              <a:gd name="connsiteY26777" fmla="*/ 2849355 h 7458372"/>
              <a:gd name="connsiteX26778" fmla="*/ 10263524 w 10505529"/>
              <a:gd name="connsiteY26778" fmla="*/ 2846692 h 7458372"/>
              <a:gd name="connsiteX26779" fmla="*/ 10258466 w 10505529"/>
              <a:gd name="connsiteY26779" fmla="*/ 2845761 h 7458372"/>
              <a:gd name="connsiteX26780" fmla="*/ 10040820 w 10505529"/>
              <a:gd name="connsiteY26780" fmla="*/ 2845761 h 7458372"/>
              <a:gd name="connsiteX26781" fmla="*/ 10030835 w 10505529"/>
              <a:gd name="connsiteY26781" fmla="*/ 2849355 h 7458372"/>
              <a:gd name="connsiteX26782" fmla="*/ 10027242 w 10505529"/>
              <a:gd name="connsiteY26782" fmla="*/ 2858806 h 7458372"/>
              <a:gd name="connsiteX26783" fmla="*/ 10030835 w 10505529"/>
              <a:gd name="connsiteY26783" fmla="*/ 2868257 h 7458372"/>
              <a:gd name="connsiteX26784" fmla="*/ 10040820 w 10505529"/>
              <a:gd name="connsiteY26784" fmla="*/ 2871718 h 7458372"/>
              <a:gd name="connsiteX26785" fmla="*/ 10046145 w 10505529"/>
              <a:gd name="connsiteY26785" fmla="*/ 2870787 h 7458372"/>
              <a:gd name="connsiteX26786" fmla="*/ 10049872 w 10505529"/>
              <a:gd name="connsiteY26786" fmla="*/ 2868390 h 7458372"/>
              <a:gd name="connsiteX26787" fmla="*/ 10052534 w 10505529"/>
              <a:gd name="connsiteY26787" fmla="*/ 2864264 h 7458372"/>
              <a:gd name="connsiteX26788" fmla="*/ 10053599 w 10505529"/>
              <a:gd name="connsiteY26788" fmla="*/ 2858806 h 7458372"/>
              <a:gd name="connsiteX26789" fmla="*/ 10052534 w 10505529"/>
              <a:gd name="connsiteY26789" fmla="*/ 2853614 h 7458372"/>
              <a:gd name="connsiteX26790" fmla="*/ 10049872 w 10505529"/>
              <a:gd name="connsiteY26790" fmla="*/ 2849355 h 7458372"/>
              <a:gd name="connsiteX26791" fmla="*/ 10045878 w 10505529"/>
              <a:gd name="connsiteY26791" fmla="*/ 2846692 h 7458372"/>
              <a:gd name="connsiteX26792" fmla="*/ 10040820 w 10505529"/>
              <a:gd name="connsiteY26792" fmla="*/ 2845761 h 7458372"/>
              <a:gd name="connsiteX26793" fmla="*/ 9823176 w 10505529"/>
              <a:gd name="connsiteY26793" fmla="*/ 2845761 h 7458372"/>
              <a:gd name="connsiteX26794" fmla="*/ 9813191 w 10505529"/>
              <a:gd name="connsiteY26794" fmla="*/ 2849355 h 7458372"/>
              <a:gd name="connsiteX26795" fmla="*/ 9809597 w 10505529"/>
              <a:gd name="connsiteY26795" fmla="*/ 2858806 h 7458372"/>
              <a:gd name="connsiteX26796" fmla="*/ 9813191 w 10505529"/>
              <a:gd name="connsiteY26796" fmla="*/ 2868257 h 7458372"/>
              <a:gd name="connsiteX26797" fmla="*/ 9823176 w 10505529"/>
              <a:gd name="connsiteY26797" fmla="*/ 2871718 h 7458372"/>
              <a:gd name="connsiteX26798" fmla="*/ 9828501 w 10505529"/>
              <a:gd name="connsiteY26798" fmla="*/ 2870787 h 7458372"/>
              <a:gd name="connsiteX26799" fmla="*/ 9832227 w 10505529"/>
              <a:gd name="connsiteY26799" fmla="*/ 2868390 h 7458372"/>
              <a:gd name="connsiteX26800" fmla="*/ 9834890 w 10505529"/>
              <a:gd name="connsiteY26800" fmla="*/ 2864264 h 7458372"/>
              <a:gd name="connsiteX26801" fmla="*/ 9835955 w 10505529"/>
              <a:gd name="connsiteY26801" fmla="*/ 2858806 h 7458372"/>
              <a:gd name="connsiteX26802" fmla="*/ 9834890 w 10505529"/>
              <a:gd name="connsiteY26802" fmla="*/ 2853614 h 7458372"/>
              <a:gd name="connsiteX26803" fmla="*/ 9832227 w 10505529"/>
              <a:gd name="connsiteY26803" fmla="*/ 2849355 h 7458372"/>
              <a:gd name="connsiteX26804" fmla="*/ 9828234 w 10505529"/>
              <a:gd name="connsiteY26804" fmla="*/ 2846692 h 7458372"/>
              <a:gd name="connsiteX26805" fmla="*/ 9823176 w 10505529"/>
              <a:gd name="connsiteY26805" fmla="*/ 2845761 h 7458372"/>
              <a:gd name="connsiteX26806" fmla="*/ 9605531 w 10505529"/>
              <a:gd name="connsiteY26806" fmla="*/ 2845761 h 7458372"/>
              <a:gd name="connsiteX26807" fmla="*/ 9595546 w 10505529"/>
              <a:gd name="connsiteY26807" fmla="*/ 2849355 h 7458372"/>
              <a:gd name="connsiteX26808" fmla="*/ 9591952 w 10505529"/>
              <a:gd name="connsiteY26808" fmla="*/ 2858806 h 7458372"/>
              <a:gd name="connsiteX26809" fmla="*/ 9595546 w 10505529"/>
              <a:gd name="connsiteY26809" fmla="*/ 2868257 h 7458372"/>
              <a:gd name="connsiteX26810" fmla="*/ 9605531 w 10505529"/>
              <a:gd name="connsiteY26810" fmla="*/ 2871718 h 7458372"/>
              <a:gd name="connsiteX26811" fmla="*/ 9610855 w 10505529"/>
              <a:gd name="connsiteY26811" fmla="*/ 2870787 h 7458372"/>
              <a:gd name="connsiteX26812" fmla="*/ 9614582 w 10505529"/>
              <a:gd name="connsiteY26812" fmla="*/ 2868390 h 7458372"/>
              <a:gd name="connsiteX26813" fmla="*/ 9617245 w 10505529"/>
              <a:gd name="connsiteY26813" fmla="*/ 2864264 h 7458372"/>
              <a:gd name="connsiteX26814" fmla="*/ 9618309 w 10505529"/>
              <a:gd name="connsiteY26814" fmla="*/ 2858806 h 7458372"/>
              <a:gd name="connsiteX26815" fmla="*/ 9617245 w 10505529"/>
              <a:gd name="connsiteY26815" fmla="*/ 2853614 h 7458372"/>
              <a:gd name="connsiteX26816" fmla="*/ 9614582 w 10505529"/>
              <a:gd name="connsiteY26816" fmla="*/ 2849355 h 7458372"/>
              <a:gd name="connsiteX26817" fmla="*/ 9610589 w 10505529"/>
              <a:gd name="connsiteY26817" fmla="*/ 2846692 h 7458372"/>
              <a:gd name="connsiteX26818" fmla="*/ 9605531 w 10505529"/>
              <a:gd name="connsiteY26818" fmla="*/ 2845761 h 7458372"/>
              <a:gd name="connsiteX26819" fmla="*/ 9387885 w 10505529"/>
              <a:gd name="connsiteY26819" fmla="*/ 2845761 h 7458372"/>
              <a:gd name="connsiteX26820" fmla="*/ 9377900 w 10505529"/>
              <a:gd name="connsiteY26820" fmla="*/ 2849355 h 7458372"/>
              <a:gd name="connsiteX26821" fmla="*/ 9374307 w 10505529"/>
              <a:gd name="connsiteY26821" fmla="*/ 2858806 h 7458372"/>
              <a:gd name="connsiteX26822" fmla="*/ 9377900 w 10505529"/>
              <a:gd name="connsiteY26822" fmla="*/ 2868257 h 7458372"/>
              <a:gd name="connsiteX26823" fmla="*/ 9387885 w 10505529"/>
              <a:gd name="connsiteY26823" fmla="*/ 2871718 h 7458372"/>
              <a:gd name="connsiteX26824" fmla="*/ 9393210 w 10505529"/>
              <a:gd name="connsiteY26824" fmla="*/ 2870787 h 7458372"/>
              <a:gd name="connsiteX26825" fmla="*/ 9396937 w 10505529"/>
              <a:gd name="connsiteY26825" fmla="*/ 2868390 h 7458372"/>
              <a:gd name="connsiteX26826" fmla="*/ 9399599 w 10505529"/>
              <a:gd name="connsiteY26826" fmla="*/ 2864264 h 7458372"/>
              <a:gd name="connsiteX26827" fmla="*/ 9400664 w 10505529"/>
              <a:gd name="connsiteY26827" fmla="*/ 2858806 h 7458372"/>
              <a:gd name="connsiteX26828" fmla="*/ 9399599 w 10505529"/>
              <a:gd name="connsiteY26828" fmla="*/ 2853614 h 7458372"/>
              <a:gd name="connsiteX26829" fmla="*/ 9396937 w 10505529"/>
              <a:gd name="connsiteY26829" fmla="*/ 2849355 h 7458372"/>
              <a:gd name="connsiteX26830" fmla="*/ 9392943 w 10505529"/>
              <a:gd name="connsiteY26830" fmla="*/ 2846692 h 7458372"/>
              <a:gd name="connsiteX26831" fmla="*/ 9387885 w 10505529"/>
              <a:gd name="connsiteY26831" fmla="*/ 2845761 h 7458372"/>
              <a:gd name="connsiteX26832" fmla="*/ 9170374 w 10505529"/>
              <a:gd name="connsiteY26832" fmla="*/ 2845761 h 7458372"/>
              <a:gd name="connsiteX26833" fmla="*/ 9160389 w 10505529"/>
              <a:gd name="connsiteY26833" fmla="*/ 2849355 h 7458372"/>
              <a:gd name="connsiteX26834" fmla="*/ 9156795 w 10505529"/>
              <a:gd name="connsiteY26834" fmla="*/ 2858806 h 7458372"/>
              <a:gd name="connsiteX26835" fmla="*/ 9160389 w 10505529"/>
              <a:gd name="connsiteY26835" fmla="*/ 2868257 h 7458372"/>
              <a:gd name="connsiteX26836" fmla="*/ 9170374 w 10505529"/>
              <a:gd name="connsiteY26836" fmla="*/ 2871718 h 7458372"/>
              <a:gd name="connsiteX26837" fmla="*/ 9175698 w 10505529"/>
              <a:gd name="connsiteY26837" fmla="*/ 2870787 h 7458372"/>
              <a:gd name="connsiteX26838" fmla="*/ 9179425 w 10505529"/>
              <a:gd name="connsiteY26838" fmla="*/ 2868390 h 7458372"/>
              <a:gd name="connsiteX26839" fmla="*/ 9182088 w 10505529"/>
              <a:gd name="connsiteY26839" fmla="*/ 2864264 h 7458372"/>
              <a:gd name="connsiteX26840" fmla="*/ 9183152 w 10505529"/>
              <a:gd name="connsiteY26840" fmla="*/ 2858806 h 7458372"/>
              <a:gd name="connsiteX26841" fmla="*/ 9182088 w 10505529"/>
              <a:gd name="connsiteY26841" fmla="*/ 2853614 h 7458372"/>
              <a:gd name="connsiteX26842" fmla="*/ 9179425 w 10505529"/>
              <a:gd name="connsiteY26842" fmla="*/ 2849355 h 7458372"/>
              <a:gd name="connsiteX26843" fmla="*/ 9175432 w 10505529"/>
              <a:gd name="connsiteY26843" fmla="*/ 2846692 h 7458372"/>
              <a:gd name="connsiteX26844" fmla="*/ 9170374 w 10505529"/>
              <a:gd name="connsiteY26844" fmla="*/ 2845761 h 7458372"/>
              <a:gd name="connsiteX26845" fmla="*/ 8952728 w 10505529"/>
              <a:gd name="connsiteY26845" fmla="*/ 2845761 h 7458372"/>
              <a:gd name="connsiteX26846" fmla="*/ 8942743 w 10505529"/>
              <a:gd name="connsiteY26846" fmla="*/ 2849355 h 7458372"/>
              <a:gd name="connsiteX26847" fmla="*/ 8939150 w 10505529"/>
              <a:gd name="connsiteY26847" fmla="*/ 2858806 h 7458372"/>
              <a:gd name="connsiteX26848" fmla="*/ 8942743 w 10505529"/>
              <a:gd name="connsiteY26848" fmla="*/ 2868257 h 7458372"/>
              <a:gd name="connsiteX26849" fmla="*/ 8952728 w 10505529"/>
              <a:gd name="connsiteY26849" fmla="*/ 2871718 h 7458372"/>
              <a:gd name="connsiteX26850" fmla="*/ 8958053 w 10505529"/>
              <a:gd name="connsiteY26850" fmla="*/ 2870787 h 7458372"/>
              <a:gd name="connsiteX26851" fmla="*/ 8961780 w 10505529"/>
              <a:gd name="connsiteY26851" fmla="*/ 2868390 h 7458372"/>
              <a:gd name="connsiteX26852" fmla="*/ 8964442 w 10505529"/>
              <a:gd name="connsiteY26852" fmla="*/ 2864264 h 7458372"/>
              <a:gd name="connsiteX26853" fmla="*/ 8965507 w 10505529"/>
              <a:gd name="connsiteY26853" fmla="*/ 2858806 h 7458372"/>
              <a:gd name="connsiteX26854" fmla="*/ 8964442 w 10505529"/>
              <a:gd name="connsiteY26854" fmla="*/ 2853614 h 7458372"/>
              <a:gd name="connsiteX26855" fmla="*/ 8961780 w 10505529"/>
              <a:gd name="connsiteY26855" fmla="*/ 2849355 h 7458372"/>
              <a:gd name="connsiteX26856" fmla="*/ 8957786 w 10505529"/>
              <a:gd name="connsiteY26856" fmla="*/ 2846692 h 7458372"/>
              <a:gd name="connsiteX26857" fmla="*/ 8952728 w 10505529"/>
              <a:gd name="connsiteY26857" fmla="*/ 2845761 h 7458372"/>
              <a:gd name="connsiteX26858" fmla="*/ 8735083 w 10505529"/>
              <a:gd name="connsiteY26858" fmla="*/ 2845761 h 7458372"/>
              <a:gd name="connsiteX26859" fmla="*/ 8725098 w 10505529"/>
              <a:gd name="connsiteY26859" fmla="*/ 2849355 h 7458372"/>
              <a:gd name="connsiteX26860" fmla="*/ 8721504 w 10505529"/>
              <a:gd name="connsiteY26860" fmla="*/ 2858806 h 7458372"/>
              <a:gd name="connsiteX26861" fmla="*/ 8725098 w 10505529"/>
              <a:gd name="connsiteY26861" fmla="*/ 2868257 h 7458372"/>
              <a:gd name="connsiteX26862" fmla="*/ 8735083 w 10505529"/>
              <a:gd name="connsiteY26862" fmla="*/ 2871718 h 7458372"/>
              <a:gd name="connsiteX26863" fmla="*/ 8740407 w 10505529"/>
              <a:gd name="connsiteY26863" fmla="*/ 2870787 h 7458372"/>
              <a:gd name="connsiteX26864" fmla="*/ 8744134 w 10505529"/>
              <a:gd name="connsiteY26864" fmla="*/ 2868390 h 7458372"/>
              <a:gd name="connsiteX26865" fmla="*/ 8746797 w 10505529"/>
              <a:gd name="connsiteY26865" fmla="*/ 2864264 h 7458372"/>
              <a:gd name="connsiteX26866" fmla="*/ 8747862 w 10505529"/>
              <a:gd name="connsiteY26866" fmla="*/ 2858806 h 7458372"/>
              <a:gd name="connsiteX26867" fmla="*/ 8746797 w 10505529"/>
              <a:gd name="connsiteY26867" fmla="*/ 2853614 h 7458372"/>
              <a:gd name="connsiteX26868" fmla="*/ 8744134 w 10505529"/>
              <a:gd name="connsiteY26868" fmla="*/ 2849355 h 7458372"/>
              <a:gd name="connsiteX26869" fmla="*/ 8740141 w 10505529"/>
              <a:gd name="connsiteY26869" fmla="*/ 2846692 h 7458372"/>
              <a:gd name="connsiteX26870" fmla="*/ 8735083 w 10505529"/>
              <a:gd name="connsiteY26870" fmla="*/ 2845761 h 7458372"/>
              <a:gd name="connsiteX26871" fmla="*/ 8517438 w 10505529"/>
              <a:gd name="connsiteY26871" fmla="*/ 2845761 h 7458372"/>
              <a:gd name="connsiteX26872" fmla="*/ 8507453 w 10505529"/>
              <a:gd name="connsiteY26872" fmla="*/ 2849355 h 7458372"/>
              <a:gd name="connsiteX26873" fmla="*/ 8503860 w 10505529"/>
              <a:gd name="connsiteY26873" fmla="*/ 2858806 h 7458372"/>
              <a:gd name="connsiteX26874" fmla="*/ 8507453 w 10505529"/>
              <a:gd name="connsiteY26874" fmla="*/ 2868257 h 7458372"/>
              <a:gd name="connsiteX26875" fmla="*/ 8517438 w 10505529"/>
              <a:gd name="connsiteY26875" fmla="*/ 2871718 h 7458372"/>
              <a:gd name="connsiteX26876" fmla="*/ 8522763 w 10505529"/>
              <a:gd name="connsiteY26876" fmla="*/ 2870787 h 7458372"/>
              <a:gd name="connsiteX26877" fmla="*/ 8526490 w 10505529"/>
              <a:gd name="connsiteY26877" fmla="*/ 2868390 h 7458372"/>
              <a:gd name="connsiteX26878" fmla="*/ 8529152 w 10505529"/>
              <a:gd name="connsiteY26878" fmla="*/ 2864264 h 7458372"/>
              <a:gd name="connsiteX26879" fmla="*/ 8530084 w 10505529"/>
              <a:gd name="connsiteY26879" fmla="*/ 2858806 h 7458372"/>
              <a:gd name="connsiteX26880" fmla="*/ 8529152 w 10505529"/>
              <a:gd name="connsiteY26880" fmla="*/ 2853614 h 7458372"/>
              <a:gd name="connsiteX26881" fmla="*/ 8526490 w 10505529"/>
              <a:gd name="connsiteY26881" fmla="*/ 2849355 h 7458372"/>
              <a:gd name="connsiteX26882" fmla="*/ 8522496 w 10505529"/>
              <a:gd name="connsiteY26882" fmla="*/ 2846692 h 7458372"/>
              <a:gd name="connsiteX26883" fmla="*/ 8517438 w 10505529"/>
              <a:gd name="connsiteY26883" fmla="*/ 2845761 h 7458372"/>
              <a:gd name="connsiteX26884" fmla="*/ 8299793 w 10505529"/>
              <a:gd name="connsiteY26884" fmla="*/ 2845761 h 7458372"/>
              <a:gd name="connsiteX26885" fmla="*/ 8289809 w 10505529"/>
              <a:gd name="connsiteY26885" fmla="*/ 2849355 h 7458372"/>
              <a:gd name="connsiteX26886" fmla="*/ 8286215 w 10505529"/>
              <a:gd name="connsiteY26886" fmla="*/ 2858806 h 7458372"/>
              <a:gd name="connsiteX26887" fmla="*/ 8289809 w 10505529"/>
              <a:gd name="connsiteY26887" fmla="*/ 2868257 h 7458372"/>
              <a:gd name="connsiteX26888" fmla="*/ 8299793 w 10505529"/>
              <a:gd name="connsiteY26888" fmla="*/ 2871718 h 7458372"/>
              <a:gd name="connsiteX26889" fmla="*/ 8305118 w 10505529"/>
              <a:gd name="connsiteY26889" fmla="*/ 2870787 h 7458372"/>
              <a:gd name="connsiteX26890" fmla="*/ 8308844 w 10505529"/>
              <a:gd name="connsiteY26890" fmla="*/ 2868390 h 7458372"/>
              <a:gd name="connsiteX26891" fmla="*/ 8311507 w 10505529"/>
              <a:gd name="connsiteY26891" fmla="*/ 2864264 h 7458372"/>
              <a:gd name="connsiteX26892" fmla="*/ 8312439 w 10505529"/>
              <a:gd name="connsiteY26892" fmla="*/ 2858806 h 7458372"/>
              <a:gd name="connsiteX26893" fmla="*/ 8311507 w 10505529"/>
              <a:gd name="connsiteY26893" fmla="*/ 2853614 h 7458372"/>
              <a:gd name="connsiteX26894" fmla="*/ 8308844 w 10505529"/>
              <a:gd name="connsiteY26894" fmla="*/ 2849355 h 7458372"/>
              <a:gd name="connsiteX26895" fmla="*/ 8304851 w 10505529"/>
              <a:gd name="connsiteY26895" fmla="*/ 2846692 h 7458372"/>
              <a:gd name="connsiteX26896" fmla="*/ 8299793 w 10505529"/>
              <a:gd name="connsiteY26896" fmla="*/ 2845761 h 7458372"/>
              <a:gd name="connsiteX26897" fmla="*/ 8082281 w 10505529"/>
              <a:gd name="connsiteY26897" fmla="*/ 2845761 h 7458372"/>
              <a:gd name="connsiteX26898" fmla="*/ 8072297 w 10505529"/>
              <a:gd name="connsiteY26898" fmla="*/ 2849355 h 7458372"/>
              <a:gd name="connsiteX26899" fmla="*/ 8068703 w 10505529"/>
              <a:gd name="connsiteY26899" fmla="*/ 2858806 h 7458372"/>
              <a:gd name="connsiteX26900" fmla="*/ 8072297 w 10505529"/>
              <a:gd name="connsiteY26900" fmla="*/ 2868257 h 7458372"/>
              <a:gd name="connsiteX26901" fmla="*/ 8082281 w 10505529"/>
              <a:gd name="connsiteY26901" fmla="*/ 2871718 h 7458372"/>
              <a:gd name="connsiteX26902" fmla="*/ 8087605 w 10505529"/>
              <a:gd name="connsiteY26902" fmla="*/ 2870787 h 7458372"/>
              <a:gd name="connsiteX26903" fmla="*/ 8091332 w 10505529"/>
              <a:gd name="connsiteY26903" fmla="*/ 2868390 h 7458372"/>
              <a:gd name="connsiteX26904" fmla="*/ 8093994 w 10505529"/>
              <a:gd name="connsiteY26904" fmla="*/ 2864264 h 7458372"/>
              <a:gd name="connsiteX26905" fmla="*/ 8094926 w 10505529"/>
              <a:gd name="connsiteY26905" fmla="*/ 2858806 h 7458372"/>
              <a:gd name="connsiteX26906" fmla="*/ 8093994 w 10505529"/>
              <a:gd name="connsiteY26906" fmla="*/ 2853614 h 7458372"/>
              <a:gd name="connsiteX26907" fmla="*/ 8091332 w 10505529"/>
              <a:gd name="connsiteY26907" fmla="*/ 2849355 h 7458372"/>
              <a:gd name="connsiteX26908" fmla="*/ 8087338 w 10505529"/>
              <a:gd name="connsiteY26908" fmla="*/ 2846692 h 7458372"/>
              <a:gd name="connsiteX26909" fmla="*/ 8082281 w 10505529"/>
              <a:gd name="connsiteY26909" fmla="*/ 2845761 h 7458372"/>
              <a:gd name="connsiteX26910" fmla="*/ 7864636 w 10505529"/>
              <a:gd name="connsiteY26910" fmla="*/ 2845761 h 7458372"/>
              <a:gd name="connsiteX26911" fmla="*/ 7854652 w 10505529"/>
              <a:gd name="connsiteY26911" fmla="*/ 2849355 h 7458372"/>
              <a:gd name="connsiteX26912" fmla="*/ 7851058 w 10505529"/>
              <a:gd name="connsiteY26912" fmla="*/ 2858806 h 7458372"/>
              <a:gd name="connsiteX26913" fmla="*/ 7854652 w 10505529"/>
              <a:gd name="connsiteY26913" fmla="*/ 2868257 h 7458372"/>
              <a:gd name="connsiteX26914" fmla="*/ 7864636 w 10505529"/>
              <a:gd name="connsiteY26914" fmla="*/ 2871718 h 7458372"/>
              <a:gd name="connsiteX26915" fmla="*/ 7869961 w 10505529"/>
              <a:gd name="connsiteY26915" fmla="*/ 2870787 h 7458372"/>
              <a:gd name="connsiteX26916" fmla="*/ 7873687 w 10505529"/>
              <a:gd name="connsiteY26916" fmla="*/ 2868390 h 7458372"/>
              <a:gd name="connsiteX26917" fmla="*/ 7876350 w 10505529"/>
              <a:gd name="connsiteY26917" fmla="*/ 2864264 h 7458372"/>
              <a:gd name="connsiteX26918" fmla="*/ 7877282 w 10505529"/>
              <a:gd name="connsiteY26918" fmla="*/ 2858806 h 7458372"/>
              <a:gd name="connsiteX26919" fmla="*/ 7876350 w 10505529"/>
              <a:gd name="connsiteY26919" fmla="*/ 2853614 h 7458372"/>
              <a:gd name="connsiteX26920" fmla="*/ 7873687 w 10505529"/>
              <a:gd name="connsiteY26920" fmla="*/ 2849355 h 7458372"/>
              <a:gd name="connsiteX26921" fmla="*/ 7869694 w 10505529"/>
              <a:gd name="connsiteY26921" fmla="*/ 2846692 h 7458372"/>
              <a:gd name="connsiteX26922" fmla="*/ 7864636 w 10505529"/>
              <a:gd name="connsiteY26922" fmla="*/ 2845761 h 7458372"/>
              <a:gd name="connsiteX26923" fmla="*/ 7646991 w 10505529"/>
              <a:gd name="connsiteY26923" fmla="*/ 2845761 h 7458372"/>
              <a:gd name="connsiteX26924" fmla="*/ 7637007 w 10505529"/>
              <a:gd name="connsiteY26924" fmla="*/ 2849355 h 7458372"/>
              <a:gd name="connsiteX26925" fmla="*/ 7633413 w 10505529"/>
              <a:gd name="connsiteY26925" fmla="*/ 2858806 h 7458372"/>
              <a:gd name="connsiteX26926" fmla="*/ 7637007 w 10505529"/>
              <a:gd name="connsiteY26926" fmla="*/ 2868257 h 7458372"/>
              <a:gd name="connsiteX26927" fmla="*/ 7646991 w 10505529"/>
              <a:gd name="connsiteY26927" fmla="*/ 2871718 h 7458372"/>
              <a:gd name="connsiteX26928" fmla="*/ 7652315 w 10505529"/>
              <a:gd name="connsiteY26928" fmla="*/ 2870787 h 7458372"/>
              <a:gd name="connsiteX26929" fmla="*/ 7656042 w 10505529"/>
              <a:gd name="connsiteY26929" fmla="*/ 2868390 h 7458372"/>
              <a:gd name="connsiteX26930" fmla="*/ 7658705 w 10505529"/>
              <a:gd name="connsiteY26930" fmla="*/ 2864264 h 7458372"/>
              <a:gd name="connsiteX26931" fmla="*/ 7659769 w 10505529"/>
              <a:gd name="connsiteY26931" fmla="*/ 2858806 h 7458372"/>
              <a:gd name="connsiteX26932" fmla="*/ 7658705 w 10505529"/>
              <a:gd name="connsiteY26932" fmla="*/ 2853614 h 7458372"/>
              <a:gd name="connsiteX26933" fmla="*/ 7656042 w 10505529"/>
              <a:gd name="connsiteY26933" fmla="*/ 2849355 h 7458372"/>
              <a:gd name="connsiteX26934" fmla="*/ 7652049 w 10505529"/>
              <a:gd name="connsiteY26934" fmla="*/ 2846692 h 7458372"/>
              <a:gd name="connsiteX26935" fmla="*/ 7646991 w 10505529"/>
              <a:gd name="connsiteY26935" fmla="*/ 2845761 h 7458372"/>
              <a:gd name="connsiteX26936" fmla="*/ 7429345 w 10505529"/>
              <a:gd name="connsiteY26936" fmla="*/ 2845761 h 7458372"/>
              <a:gd name="connsiteX26937" fmla="*/ 7419361 w 10505529"/>
              <a:gd name="connsiteY26937" fmla="*/ 2849355 h 7458372"/>
              <a:gd name="connsiteX26938" fmla="*/ 7415768 w 10505529"/>
              <a:gd name="connsiteY26938" fmla="*/ 2858806 h 7458372"/>
              <a:gd name="connsiteX26939" fmla="*/ 7419361 w 10505529"/>
              <a:gd name="connsiteY26939" fmla="*/ 2868257 h 7458372"/>
              <a:gd name="connsiteX26940" fmla="*/ 7429345 w 10505529"/>
              <a:gd name="connsiteY26940" fmla="*/ 2871718 h 7458372"/>
              <a:gd name="connsiteX26941" fmla="*/ 7434670 w 10505529"/>
              <a:gd name="connsiteY26941" fmla="*/ 2870787 h 7458372"/>
              <a:gd name="connsiteX26942" fmla="*/ 7438397 w 10505529"/>
              <a:gd name="connsiteY26942" fmla="*/ 2868390 h 7458372"/>
              <a:gd name="connsiteX26943" fmla="*/ 7441059 w 10505529"/>
              <a:gd name="connsiteY26943" fmla="*/ 2864264 h 7458372"/>
              <a:gd name="connsiteX26944" fmla="*/ 7442124 w 10505529"/>
              <a:gd name="connsiteY26944" fmla="*/ 2858806 h 7458372"/>
              <a:gd name="connsiteX26945" fmla="*/ 7441059 w 10505529"/>
              <a:gd name="connsiteY26945" fmla="*/ 2853614 h 7458372"/>
              <a:gd name="connsiteX26946" fmla="*/ 7438397 w 10505529"/>
              <a:gd name="connsiteY26946" fmla="*/ 2849355 h 7458372"/>
              <a:gd name="connsiteX26947" fmla="*/ 7434403 w 10505529"/>
              <a:gd name="connsiteY26947" fmla="*/ 2846692 h 7458372"/>
              <a:gd name="connsiteX26948" fmla="*/ 7429345 w 10505529"/>
              <a:gd name="connsiteY26948" fmla="*/ 2845761 h 7458372"/>
              <a:gd name="connsiteX26949" fmla="*/ 7211701 w 10505529"/>
              <a:gd name="connsiteY26949" fmla="*/ 2845761 h 7458372"/>
              <a:gd name="connsiteX26950" fmla="*/ 7201717 w 10505529"/>
              <a:gd name="connsiteY26950" fmla="*/ 2849355 h 7458372"/>
              <a:gd name="connsiteX26951" fmla="*/ 7198123 w 10505529"/>
              <a:gd name="connsiteY26951" fmla="*/ 2858806 h 7458372"/>
              <a:gd name="connsiteX26952" fmla="*/ 7201717 w 10505529"/>
              <a:gd name="connsiteY26952" fmla="*/ 2868257 h 7458372"/>
              <a:gd name="connsiteX26953" fmla="*/ 7211701 w 10505529"/>
              <a:gd name="connsiteY26953" fmla="*/ 2871718 h 7458372"/>
              <a:gd name="connsiteX26954" fmla="*/ 7217026 w 10505529"/>
              <a:gd name="connsiteY26954" fmla="*/ 2870787 h 7458372"/>
              <a:gd name="connsiteX26955" fmla="*/ 7220752 w 10505529"/>
              <a:gd name="connsiteY26955" fmla="*/ 2868390 h 7458372"/>
              <a:gd name="connsiteX26956" fmla="*/ 7223415 w 10505529"/>
              <a:gd name="connsiteY26956" fmla="*/ 2864264 h 7458372"/>
              <a:gd name="connsiteX26957" fmla="*/ 7224480 w 10505529"/>
              <a:gd name="connsiteY26957" fmla="*/ 2858806 h 7458372"/>
              <a:gd name="connsiteX26958" fmla="*/ 7223415 w 10505529"/>
              <a:gd name="connsiteY26958" fmla="*/ 2853614 h 7458372"/>
              <a:gd name="connsiteX26959" fmla="*/ 7220752 w 10505529"/>
              <a:gd name="connsiteY26959" fmla="*/ 2849355 h 7458372"/>
              <a:gd name="connsiteX26960" fmla="*/ 7216759 w 10505529"/>
              <a:gd name="connsiteY26960" fmla="*/ 2846692 h 7458372"/>
              <a:gd name="connsiteX26961" fmla="*/ 7211701 w 10505529"/>
              <a:gd name="connsiteY26961" fmla="*/ 2845761 h 7458372"/>
              <a:gd name="connsiteX26962" fmla="*/ 6994056 w 10505529"/>
              <a:gd name="connsiteY26962" fmla="*/ 2845761 h 7458372"/>
              <a:gd name="connsiteX26963" fmla="*/ 6984072 w 10505529"/>
              <a:gd name="connsiteY26963" fmla="*/ 2849355 h 7458372"/>
              <a:gd name="connsiteX26964" fmla="*/ 6980478 w 10505529"/>
              <a:gd name="connsiteY26964" fmla="*/ 2858806 h 7458372"/>
              <a:gd name="connsiteX26965" fmla="*/ 6984072 w 10505529"/>
              <a:gd name="connsiteY26965" fmla="*/ 2868257 h 7458372"/>
              <a:gd name="connsiteX26966" fmla="*/ 6994056 w 10505529"/>
              <a:gd name="connsiteY26966" fmla="*/ 2871718 h 7458372"/>
              <a:gd name="connsiteX26967" fmla="*/ 6999380 w 10505529"/>
              <a:gd name="connsiteY26967" fmla="*/ 2870787 h 7458372"/>
              <a:gd name="connsiteX26968" fmla="*/ 7003107 w 10505529"/>
              <a:gd name="connsiteY26968" fmla="*/ 2868390 h 7458372"/>
              <a:gd name="connsiteX26969" fmla="*/ 7005769 w 10505529"/>
              <a:gd name="connsiteY26969" fmla="*/ 2864264 h 7458372"/>
              <a:gd name="connsiteX26970" fmla="*/ 7006834 w 10505529"/>
              <a:gd name="connsiteY26970" fmla="*/ 2858806 h 7458372"/>
              <a:gd name="connsiteX26971" fmla="*/ 7005769 w 10505529"/>
              <a:gd name="connsiteY26971" fmla="*/ 2853614 h 7458372"/>
              <a:gd name="connsiteX26972" fmla="*/ 7003107 w 10505529"/>
              <a:gd name="connsiteY26972" fmla="*/ 2849355 h 7458372"/>
              <a:gd name="connsiteX26973" fmla="*/ 6999113 w 10505529"/>
              <a:gd name="connsiteY26973" fmla="*/ 2846692 h 7458372"/>
              <a:gd name="connsiteX26974" fmla="*/ 6994056 w 10505529"/>
              <a:gd name="connsiteY26974" fmla="*/ 2845761 h 7458372"/>
              <a:gd name="connsiteX26975" fmla="*/ 6776544 w 10505529"/>
              <a:gd name="connsiteY26975" fmla="*/ 2845761 h 7458372"/>
              <a:gd name="connsiteX26976" fmla="*/ 6766560 w 10505529"/>
              <a:gd name="connsiteY26976" fmla="*/ 2849355 h 7458372"/>
              <a:gd name="connsiteX26977" fmla="*/ 6762966 w 10505529"/>
              <a:gd name="connsiteY26977" fmla="*/ 2858806 h 7458372"/>
              <a:gd name="connsiteX26978" fmla="*/ 6766560 w 10505529"/>
              <a:gd name="connsiteY26978" fmla="*/ 2868257 h 7458372"/>
              <a:gd name="connsiteX26979" fmla="*/ 6776544 w 10505529"/>
              <a:gd name="connsiteY26979" fmla="*/ 2871718 h 7458372"/>
              <a:gd name="connsiteX26980" fmla="*/ 6781869 w 10505529"/>
              <a:gd name="connsiteY26980" fmla="*/ 2870787 h 7458372"/>
              <a:gd name="connsiteX26981" fmla="*/ 6785595 w 10505529"/>
              <a:gd name="connsiteY26981" fmla="*/ 2868390 h 7458372"/>
              <a:gd name="connsiteX26982" fmla="*/ 6788258 w 10505529"/>
              <a:gd name="connsiteY26982" fmla="*/ 2864264 h 7458372"/>
              <a:gd name="connsiteX26983" fmla="*/ 6789323 w 10505529"/>
              <a:gd name="connsiteY26983" fmla="*/ 2858806 h 7458372"/>
              <a:gd name="connsiteX26984" fmla="*/ 6788258 w 10505529"/>
              <a:gd name="connsiteY26984" fmla="*/ 2853614 h 7458372"/>
              <a:gd name="connsiteX26985" fmla="*/ 6785595 w 10505529"/>
              <a:gd name="connsiteY26985" fmla="*/ 2849355 h 7458372"/>
              <a:gd name="connsiteX26986" fmla="*/ 6781602 w 10505529"/>
              <a:gd name="connsiteY26986" fmla="*/ 2846692 h 7458372"/>
              <a:gd name="connsiteX26987" fmla="*/ 6776544 w 10505529"/>
              <a:gd name="connsiteY26987" fmla="*/ 2845761 h 7458372"/>
              <a:gd name="connsiteX26988" fmla="*/ 6558899 w 10505529"/>
              <a:gd name="connsiteY26988" fmla="*/ 2845761 h 7458372"/>
              <a:gd name="connsiteX26989" fmla="*/ 6548915 w 10505529"/>
              <a:gd name="connsiteY26989" fmla="*/ 2849355 h 7458372"/>
              <a:gd name="connsiteX26990" fmla="*/ 6545321 w 10505529"/>
              <a:gd name="connsiteY26990" fmla="*/ 2858806 h 7458372"/>
              <a:gd name="connsiteX26991" fmla="*/ 6548915 w 10505529"/>
              <a:gd name="connsiteY26991" fmla="*/ 2868257 h 7458372"/>
              <a:gd name="connsiteX26992" fmla="*/ 6558899 w 10505529"/>
              <a:gd name="connsiteY26992" fmla="*/ 2871718 h 7458372"/>
              <a:gd name="connsiteX26993" fmla="*/ 6564223 w 10505529"/>
              <a:gd name="connsiteY26993" fmla="*/ 2870787 h 7458372"/>
              <a:gd name="connsiteX26994" fmla="*/ 6567950 w 10505529"/>
              <a:gd name="connsiteY26994" fmla="*/ 2868390 h 7458372"/>
              <a:gd name="connsiteX26995" fmla="*/ 6570612 w 10505529"/>
              <a:gd name="connsiteY26995" fmla="*/ 2864264 h 7458372"/>
              <a:gd name="connsiteX26996" fmla="*/ 6571677 w 10505529"/>
              <a:gd name="connsiteY26996" fmla="*/ 2858806 h 7458372"/>
              <a:gd name="connsiteX26997" fmla="*/ 6570612 w 10505529"/>
              <a:gd name="connsiteY26997" fmla="*/ 2853614 h 7458372"/>
              <a:gd name="connsiteX26998" fmla="*/ 6567950 w 10505529"/>
              <a:gd name="connsiteY26998" fmla="*/ 2849355 h 7458372"/>
              <a:gd name="connsiteX26999" fmla="*/ 6563956 w 10505529"/>
              <a:gd name="connsiteY26999" fmla="*/ 2846692 h 7458372"/>
              <a:gd name="connsiteX27000" fmla="*/ 6558899 w 10505529"/>
              <a:gd name="connsiteY27000" fmla="*/ 2845761 h 7458372"/>
              <a:gd name="connsiteX27001" fmla="*/ 6341253 w 10505529"/>
              <a:gd name="connsiteY27001" fmla="*/ 2845761 h 7458372"/>
              <a:gd name="connsiteX27002" fmla="*/ 6331270 w 10505529"/>
              <a:gd name="connsiteY27002" fmla="*/ 2849355 h 7458372"/>
              <a:gd name="connsiteX27003" fmla="*/ 6327675 w 10505529"/>
              <a:gd name="connsiteY27003" fmla="*/ 2858806 h 7458372"/>
              <a:gd name="connsiteX27004" fmla="*/ 6331270 w 10505529"/>
              <a:gd name="connsiteY27004" fmla="*/ 2868257 h 7458372"/>
              <a:gd name="connsiteX27005" fmla="*/ 6341253 w 10505529"/>
              <a:gd name="connsiteY27005" fmla="*/ 2871718 h 7458372"/>
              <a:gd name="connsiteX27006" fmla="*/ 6346578 w 10505529"/>
              <a:gd name="connsiteY27006" fmla="*/ 2870787 h 7458372"/>
              <a:gd name="connsiteX27007" fmla="*/ 6350305 w 10505529"/>
              <a:gd name="connsiteY27007" fmla="*/ 2868390 h 7458372"/>
              <a:gd name="connsiteX27008" fmla="*/ 6352968 w 10505529"/>
              <a:gd name="connsiteY27008" fmla="*/ 2864264 h 7458372"/>
              <a:gd name="connsiteX27009" fmla="*/ 6354033 w 10505529"/>
              <a:gd name="connsiteY27009" fmla="*/ 2858806 h 7458372"/>
              <a:gd name="connsiteX27010" fmla="*/ 6352968 w 10505529"/>
              <a:gd name="connsiteY27010" fmla="*/ 2853614 h 7458372"/>
              <a:gd name="connsiteX27011" fmla="*/ 6350305 w 10505529"/>
              <a:gd name="connsiteY27011" fmla="*/ 2849355 h 7458372"/>
              <a:gd name="connsiteX27012" fmla="*/ 6346312 w 10505529"/>
              <a:gd name="connsiteY27012" fmla="*/ 2846692 h 7458372"/>
              <a:gd name="connsiteX27013" fmla="*/ 6341253 w 10505529"/>
              <a:gd name="connsiteY27013" fmla="*/ 2845761 h 7458372"/>
              <a:gd name="connsiteX27014" fmla="*/ 6123608 w 10505529"/>
              <a:gd name="connsiteY27014" fmla="*/ 2845761 h 7458372"/>
              <a:gd name="connsiteX27015" fmla="*/ 6113624 w 10505529"/>
              <a:gd name="connsiteY27015" fmla="*/ 2849355 h 7458372"/>
              <a:gd name="connsiteX27016" fmla="*/ 6110030 w 10505529"/>
              <a:gd name="connsiteY27016" fmla="*/ 2858806 h 7458372"/>
              <a:gd name="connsiteX27017" fmla="*/ 6113624 w 10505529"/>
              <a:gd name="connsiteY27017" fmla="*/ 2868257 h 7458372"/>
              <a:gd name="connsiteX27018" fmla="*/ 6123608 w 10505529"/>
              <a:gd name="connsiteY27018" fmla="*/ 2871718 h 7458372"/>
              <a:gd name="connsiteX27019" fmla="*/ 6128932 w 10505529"/>
              <a:gd name="connsiteY27019" fmla="*/ 2870787 h 7458372"/>
              <a:gd name="connsiteX27020" fmla="*/ 6132659 w 10505529"/>
              <a:gd name="connsiteY27020" fmla="*/ 2868390 h 7458372"/>
              <a:gd name="connsiteX27021" fmla="*/ 6135322 w 10505529"/>
              <a:gd name="connsiteY27021" fmla="*/ 2864264 h 7458372"/>
              <a:gd name="connsiteX27022" fmla="*/ 6136387 w 10505529"/>
              <a:gd name="connsiteY27022" fmla="*/ 2858806 h 7458372"/>
              <a:gd name="connsiteX27023" fmla="*/ 6135322 w 10505529"/>
              <a:gd name="connsiteY27023" fmla="*/ 2853614 h 7458372"/>
              <a:gd name="connsiteX27024" fmla="*/ 6132659 w 10505529"/>
              <a:gd name="connsiteY27024" fmla="*/ 2849355 h 7458372"/>
              <a:gd name="connsiteX27025" fmla="*/ 6128666 w 10505529"/>
              <a:gd name="connsiteY27025" fmla="*/ 2846692 h 7458372"/>
              <a:gd name="connsiteX27026" fmla="*/ 6123608 w 10505529"/>
              <a:gd name="connsiteY27026" fmla="*/ 2845761 h 7458372"/>
              <a:gd name="connsiteX27027" fmla="*/ 5905963 w 10505529"/>
              <a:gd name="connsiteY27027" fmla="*/ 2845761 h 7458372"/>
              <a:gd name="connsiteX27028" fmla="*/ 5895979 w 10505529"/>
              <a:gd name="connsiteY27028" fmla="*/ 2849355 h 7458372"/>
              <a:gd name="connsiteX27029" fmla="*/ 5892385 w 10505529"/>
              <a:gd name="connsiteY27029" fmla="*/ 2858806 h 7458372"/>
              <a:gd name="connsiteX27030" fmla="*/ 5895979 w 10505529"/>
              <a:gd name="connsiteY27030" fmla="*/ 2868257 h 7458372"/>
              <a:gd name="connsiteX27031" fmla="*/ 5905963 w 10505529"/>
              <a:gd name="connsiteY27031" fmla="*/ 2871718 h 7458372"/>
              <a:gd name="connsiteX27032" fmla="*/ 5911287 w 10505529"/>
              <a:gd name="connsiteY27032" fmla="*/ 2870787 h 7458372"/>
              <a:gd name="connsiteX27033" fmla="*/ 5915014 w 10505529"/>
              <a:gd name="connsiteY27033" fmla="*/ 2868390 h 7458372"/>
              <a:gd name="connsiteX27034" fmla="*/ 5917677 w 10505529"/>
              <a:gd name="connsiteY27034" fmla="*/ 2864264 h 7458372"/>
              <a:gd name="connsiteX27035" fmla="*/ 5918742 w 10505529"/>
              <a:gd name="connsiteY27035" fmla="*/ 2858806 h 7458372"/>
              <a:gd name="connsiteX27036" fmla="*/ 5917677 w 10505529"/>
              <a:gd name="connsiteY27036" fmla="*/ 2853614 h 7458372"/>
              <a:gd name="connsiteX27037" fmla="*/ 5915014 w 10505529"/>
              <a:gd name="connsiteY27037" fmla="*/ 2849355 h 7458372"/>
              <a:gd name="connsiteX27038" fmla="*/ 5911021 w 10505529"/>
              <a:gd name="connsiteY27038" fmla="*/ 2846692 h 7458372"/>
              <a:gd name="connsiteX27039" fmla="*/ 5905963 w 10505529"/>
              <a:gd name="connsiteY27039" fmla="*/ 2845761 h 7458372"/>
              <a:gd name="connsiteX27040" fmla="*/ 5688451 w 10505529"/>
              <a:gd name="connsiteY27040" fmla="*/ 2845761 h 7458372"/>
              <a:gd name="connsiteX27041" fmla="*/ 5678467 w 10505529"/>
              <a:gd name="connsiteY27041" fmla="*/ 2849355 h 7458372"/>
              <a:gd name="connsiteX27042" fmla="*/ 5674873 w 10505529"/>
              <a:gd name="connsiteY27042" fmla="*/ 2858806 h 7458372"/>
              <a:gd name="connsiteX27043" fmla="*/ 5678467 w 10505529"/>
              <a:gd name="connsiteY27043" fmla="*/ 2868257 h 7458372"/>
              <a:gd name="connsiteX27044" fmla="*/ 5688451 w 10505529"/>
              <a:gd name="connsiteY27044" fmla="*/ 2871718 h 7458372"/>
              <a:gd name="connsiteX27045" fmla="*/ 5693775 w 10505529"/>
              <a:gd name="connsiteY27045" fmla="*/ 2870787 h 7458372"/>
              <a:gd name="connsiteX27046" fmla="*/ 5697502 w 10505529"/>
              <a:gd name="connsiteY27046" fmla="*/ 2868390 h 7458372"/>
              <a:gd name="connsiteX27047" fmla="*/ 5700165 w 10505529"/>
              <a:gd name="connsiteY27047" fmla="*/ 2864264 h 7458372"/>
              <a:gd name="connsiteX27048" fmla="*/ 5701230 w 10505529"/>
              <a:gd name="connsiteY27048" fmla="*/ 2858806 h 7458372"/>
              <a:gd name="connsiteX27049" fmla="*/ 5700165 w 10505529"/>
              <a:gd name="connsiteY27049" fmla="*/ 2853614 h 7458372"/>
              <a:gd name="connsiteX27050" fmla="*/ 5697502 w 10505529"/>
              <a:gd name="connsiteY27050" fmla="*/ 2849355 h 7458372"/>
              <a:gd name="connsiteX27051" fmla="*/ 5693509 w 10505529"/>
              <a:gd name="connsiteY27051" fmla="*/ 2846692 h 7458372"/>
              <a:gd name="connsiteX27052" fmla="*/ 5688451 w 10505529"/>
              <a:gd name="connsiteY27052" fmla="*/ 2845761 h 7458372"/>
              <a:gd name="connsiteX27053" fmla="*/ 5470806 w 10505529"/>
              <a:gd name="connsiteY27053" fmla="*/ 2845761 h 7458372"/>
              <a:gd name="connsiteX27054" fmla="*/ 5460822 w 10505529"/>
              <a:gd name="connsiteY27054" fmla="*/ 2849355 h 7458372"/>
              <a:gd name="connsiteX27055" fmla="*/ 5457228 w 10505529"/>
              <a:gd name="connsiteY27055" fmla="*/ 2858806 h 7458372"/>
              <a:gd name="connsiteX27056" fmla="*/ 5460822 w 10505529"/>
              <a:gd name="connsiteY27056" fmla="*/ 2868257 h 7458372"/>
              <a:gd name="connsiteX27057" fmla="*/ 5470806 w 10505529"/>
              <a:gd name="connsiteY27057" fmla="*/ 2871718 h 7458372"/>
              <a:gd name="connsiteX27058" fmla="*/ 5476130 w 10505529"/>
              <a:gd name="connsiteY27058" fmla="*/ 2870787 h 7458372"/>
              <a:gd name="connsiteX27059" fmla="*/ 5479857 w 10505529"/>
              <a:gd name="connsiteY27059" fmla="*/ 2868390 h 7458372"/>
              <a:gd name="connsiteX27060" fmla="*/ 5482520 w 10505529"/>
              <a:gd name="connsiteY27060" fmla="*/ 2864264 h 7458372"/>
              <a:gd name="connsiteX27061" fmla="*/ 5483585 w 10505529"/>
              <a:gd name="connsiteY27061" fmla="*/ 2858806 h 7458372"/>
              <a:gd name="connsiteX27062" fmla="*/ 5482520 w 10505529"/>
              <a:gd name="connsiteY27062" fmla="*/ 2853614 h 7458372"/>
              <a:gd name="connsiteX27063" fmla="*/ 5479857 w 10505529"/>
              <a:gd name="connsiteY27063" fmla="*/ 2849355 h 7458372"/>
              <a:gd name="connsiteX27064" fmla="*/ 5475864 w 10505529"/>
              <a:gd name="connsiteY27064" fmla="*/ 2846692 h 7458372"/>
              <a:gd name="connsiteX27065" fmla="*/ 5470806 w 10505529"/>
              <a:gd name="connsiteY27065" fmla="*/ 2845761 h 7458372"/>
              <a:gd name="connsiteX27066" fmla="*/ 5253160 w 10505529"/>
              <a:gd name="connsiteY27066" fmla="*/ 2845761 h 7458372"/>
              <a:gd name="connsiteX27067" fmla="*/ 5243177 w 10505529"/>
              <a:gd name="connsiteY27067" fmla="*/ 2849355 h 7458372"/>
              <a:gd name="connsiteX27068" fmla="*/ 5239583 w 10505529"/>
              <a:gd name="connsiteY27068" fmla="*/ 2858806 h 7458372"/>
              <a:gd name="connsiteX27069" fmla="*/ 5243177 w 10505529"/>
              <a:gd name="connsiteY27069" fmla="*/ 2868257 h 7458372"/>
              <a:gd name="connsiteX27070" fmla="*/ 5253160 w 10505529"/>
              <a:gd name="connsiteY27070" fmla="*/ 2871718 h 7458372"/>
              <a:gd name="connsiteX27071" fmla="*/ 5258485 w 10505529"/>
              <a:gd name="connsiteY27071" fmla="*/ 2870787 h 7458372"/>
              <a:gd name="connsiteX27072" fmla="*/ 5262212 w 10505529"/>
              <a:gd name="connsiteY27072" fmla="*/ 2868390 h 7458372"/>
              <a:gd name="connsiteX27073" fmla="*/ 5264875 w 10505529"/>
              <a:gd name="connsiteY27073" fmla="*/ 2864264 h 7458372"/>
              <a:gd name="connsiteX27074" fmla="*/ 5265939 w 10505529"/>
              <a:gd name="connsiteY27074" fmla="*/ 2858806 h 7458372"/>
              <a:gd name="connsiteX27075" fmla="*/ 5264875 w 10505529"/>
              <a:gd name="connsiteY27075" fmla="*/ 2853614 h 7458372"/>
              <a:gd name="connsiteX27076" fmla="*/ 5262212 w 10505529"/>
              <a:gd name="connsiteY27076" fmla="*/ 2849355 h 7458372"/>
              <a:gd name="connsiteX27077" fmla="*/ 5258219 w 10505529"/>
              <a:gd name="connsiteY27077" fmla="*/ 2846692 h 7458372"/>
              <a:gd name="connsiteX27078" fmla="*/ 5253160 w 10505529"/>
              <a:gd name="connsiteY27078" fmla="*/ 2845761 h 7458372"/>
              <a:gd name="connsiteX27079" fmla="*/ 5035515 w 10505529"/>
              <a:gd name="connsiteY27079" fmla="*/ 2845761 h 7458372"/>
              <a:gd name="connsiteX27080" fmla="*/ 5025532 w 10505529"/>
              <a:gd name="connsiteY27080" fmla="*/ 2849355 h 7458372"/>
              <a:gd name="connsiteX27081" fmla="*/ 5021938 w 10505529"/>
              <a:gd name="connsiteY27081" fmla="*/ 2858806 h 7458372"/>
              <a:gd name="connsiteX27082" fmla="*/ 5025532 w 10505529"/>
              <a:gd name="connsiteY27082" fmla="*/ 2868257 h 7458372"/>
              <a:gd name="connsiteX27083" fmla="*/ 5035515 w 10505529"/>
              <a:gd name="connsiteY27083" fmla="*/ 2871718 h 7458372"/>
              <a:gd name="connsiteX27084" fmla="*/ 5040840 w 10505529"/>
              <a:gd name="connsiteY27084" fmla="*/ 2870787 h 7458372"/>
              <a:gd name="connsiteX27085" fmla="*/ 5044567 w 10505529"/>
              <a:gd name="connsiteY27085" fmla="*/ 2868390 h 7458372"/>
              <a:gd name="connsiteX27086" fmla="*/ 5047230 w 10505529"/>
              <a:gd name="connsiteY27086" fmla="*/ 2864264 h 7458372"/>
              <a:gd name="connsiteX27087" fmla="*/ 5048294 w 10505529"/>
              <a:gd name="connsiteY27087" fmla="*/ 2858806 h 7458372"/>
              <a:gd name="connsiteX27088" fmla="*/ 5047230 w 10505529"/>
              <a:gd name="connsiteY27088" fmla="*/ 2853614 h 7458372"/>
              <a:gd name="connsiteX27089" fmla="*/ 5044567 w 10505529"/>
              <a:gd name="connsiteY27089" fmla="*/ 2849355 h 7458372"/>
              <a:gd name="connsiteX27090" fmla="*/ 5040574 w 10505529"/>
              <a:gd name="connsiteY27090" fmla="*/ 2846692 h 7458372"/>
              <a:gd name="connsiteX27091" fmla="*/ 5035515 w 10505529"/>
              <a:gd name="connsiteY27091" fmla="*/ 2845761 h 7458372"/>
              <a:gd name="connsiteX27092" fmla="*/ 4817870 w 10505529"/>
              <a:gd name="connsiteY27092" fmla="*/ 2845761 h 7458372"/>
              <a:gd name="connsiteX27093" fmla="*/ 4807887 w 10505529"/>
              <a:gd name="connsiteY27093" fmla="*/ 2849355 h 7458372"/>
              <a:gd name="connsiteX27094" fmla="*/ 4804293 w 10505529"/>
              <a:gd name="connsiteY27094" fmla="*/ 2858806 h 7458372"/>
              <a:gd name="connsiteX27095" fmla="*/ 4807887 w 10505529"/>
              <a:gd name="connsiteY27095" fmla="*/ 2868257 h 7458372"/>
              <a:gd name="connsiteX27096" fmla="*/ 4817870 w 10505529"/>
              <a:gd name="connsiteY27096" fmla="*/ 2871718 h 7458372"/>
              <a:gd name="connsiteX27097" fmla="*/ 4823195 w 10505529"/>
              <a:gd name="connsiteY27097" fmla="*/ 2870787 h 7458372"/>
              <a:gd name="connsiteX27098" fmla="*/ 4826922 w 10505529"/>
              <a:gd name="connsiteY27098" fmla="*/ 2868390 h 7458372"/>
              <a:gd name="connsiteX27099" fmla="*/ 4829585 w 10505529"/>
              <a:gd name="connsiteY27099" fmla="*/ 2864264 h 7458372"/>
              <a:gd name="connsiteX27100" fmla="*/ 4830650 w 10505529"/>
              <a:gd name="connsiteY27100" fmla="*/ 2858806 h 7458372"/>
              <a:gd name="connsiteX27101" fmla="*/ 4829585 w 10505529"/>
              <a:gd name="connsiteY27101" fmla="*/ 2853614 h 7458372"/>
              <a:gd name="connsiteX27102" fmla="*/ 4826922 w 10505529"/>
              <a:gd name="connsiteY27102" fmla="*/ 2849355 h 7458372"/>
              <a:gd name="connsiteX27103" fmla="*/ 4822929 w 10505529"/>
              <a:gd name="connsiteY27103" fmla="*/ 2846692 h 7458372"/>
              <a:gd name="connsiteX27104" fmla="*/ 4817870 w 10505529"/>
              <a:gd name="connsiteY27104" fmla="*/ 2845761 h 7458372"/>
              <a:gd name="connsiteX27105" fmla="*/ 4600226 w 10505529"/>
              <a:gd name="connsiteY27105" fmla="*/ 2845761 h 7458372"/>
              <a:gd name="connsiteX27106" fmla="*/ 4590242 w 10505529"/>
              <a:gd name="connsiteY27106" fmla="*/ 2849355 h 7458372"/>
              <a:gd name="connsiteX27107" fmla="*/ 4586648 w 10505529"/>
              <a:gd name="connsiteY27107" fmla="*/ 2858806 h 7458372"/>
              <a:gd name="connsiteX27108" fmla="*/ 4590242 w 10505529"/>
              <a:gd name="connsiteY27108" fmla="*/ 2868257 h 7458372"/>
              <a:gd name="connsiteX27109" fmla="*/ 4600226 w 10505529"/>
              <a:gd name="connsiteY27109" fmla="*/ 2871718 h 7458372"/>
              <a:gd name="connsiteX27110" fmla="*/ 4605550 w 10505529"/>
              <a:gd name="connsiteY27110" fmla="*/ 2870787 h 7458372"/>
              <a:gd name="connsiteX27111" fmla="*/ 4609277 w 10505529"/>
              <a:gd name="connsiteY27111" fmla="*/ 2868390 h 7458372"/>
              <a:gd name="connsiteX27112" fmla="*/ 4611940 w 10505529"/>
              <a:gd name="connsiteY27112" fmla="*/ 2864264 h 7458372"/>
              <a:gd name="connsiteX27113" fmla="*/ 4613005 w 10505529"/>
              <a:gd name="connsiteY27113" fmla="*/ 2858806 h 7458372"/>
              <a:gd name="connsiteX27114" fmla="*/ 4611940 w 10505529"/>
              <a:gd name="connsiteY27114" fmla="*/ 2853614 h 7458372"/>
              <a:gd name="connsiteX27115" fmla="*/ 4609277 w 10505529"/>
              <a:gd name="connsiteY27115" fmla="*/ 2849355 h 7458372"/>
              <a:gd name="connsiteX27116" fmla="*/ 4605284 w 10505529"/>
              <a:gd name="connsiteY27116" fmla="*/ 2846692 h 7458372"/>
              <a:gd name="connsiteX27117" fmla="*/ 4600226 w 10505529"/>
              <a:gd name="connsiteY27117" fmla="*/ 2845761 h 7458372"/>
              <a:gd name="connsiteX27118" fmla="*/ 4382713 w 10505529"/>
              <a:gd name="connsiteY27118" fmla="*/ 2845761 h 7458372"/>
              <a:gd name="connsiteX27119" fmla="*/ 4372730 w 10505529"/>
              <a:gd name="connsiteY27119" fmla="*/ 2849355 h 7458372"/>
              <a:gd name="connsiteX27120" fmla="*/ 4369136 w 10505529"/>
              <a:gd name="connsiteY27120" fmla="*/ 2858806 h 7458372"/>
              <a:gd name="connsiteX27121" fmla="*/ 4372730 w 10505529"/>
              <a:gd name="connsiteY27121" fmla="*/ 2868257 h 7458372"/>
              <a:gd name="connsiteX27122" fmla="*/ 4382713 w 10505529"/>
              <a:gd name="connsiteY27122" fmla="*/ 2871718 h 7458372"/>
              <a:gd name="connsiteX27123" fmla="*/ 4388038 w 10505529"/>
              <a:gd name="connsiteY27123" fmla="*/ 2870787 h 7458372"/>
              <a:gd name="connsiteX27124" fmla="*/ 4391765 w 10505529"/>
              <a:gd name="connsiteY27124" fmla="*/ 2868390 h 7458372"/>
              <a:gd name="connsiteX27125" fmla="*/ 4394428 w 10505529"/>
              <a:gd name="connsiteY27125" fmla="*/ 2864264 h 7458372"/>
              <a:gd name="connsiteX27126" fmla="*/ 4395493 w 10505529"/>
              <a:gd name="connsiteY27126" fmla="*/ 2858806 h 7458372"/>
              <a:gd name="connsiteX27127" fmla="*/ 4394428 w 10505529"/>
              <a:gd name="connsiteY27127" fmla="*/ 2853614 h 7458372"/>
              <a:gd name="connsiteX27128" fmla="*/ 4391765 w 10505529"/>
              <a:gd name="connsiteY27128" fmla="*/ 2849355 h 7458372"/>
              <a:gd name="connsiteX27129" fmla="*/ 4387772 w 10505529"/>
              <a:gd name="connsiteY27129" fmla="*/ 2846692 h 7458372"/>
              <a:gd name="connsiteX27130" fmla="*/ 4382713 w 10505529"/>
              <a:gd name="connsiteY27130" fmla="*/ 2845761 h 7458372"/>
              <a:gd name="connsiteX27131" fmla="*/ 4165068 w 10505529"/>
              <a:gd name="connsiteY27131" fmla="*/ 2845761 h 7458372"/>
              <a:gd name="connsiteX27132" fmla="*/ 4155084 w 10505529"/>
              <a:gd name="connsiteY27132" fmla="*/ 2849355 h 7458372"/>
              <a:gd name="connsiteX27133" fmla="*/ 4151490 w 10505529"/>
              <a:gd name="connsiteY27133" fmla="*/ 2858806 h 7458372"/>
              <a:gd name="connsiteX27134" fmla="*/ 4155084 w 10505529"/>
              <a:gd name="connsiteY27134" fmla="*/ 2868257 h 7458372"/>
              <a:gd name="connsiteX27135" fmla="*/ 4165068 w 10505529"/>
              <a:gd name="connsiteY27135" fmla="*/ 2871718 h 7458372"/>
              <a:gd name="connsiteX27136" fmla="*/ 4170392 w 10505529"/>
              <a:gd name="connsiteY27136" fmla="*/ 2870787 h 7458372"/>
              <a:gd name="connsiteX27137" fmla="*/ 4174119 w 10505529"/>
              <a:gd name="connsiteY27137" fmla="*/ 2868390 h 7458372"/>
              <a:gd name="connsiteX27138" fmla="*/ 4176782 w 10505529"/>
              <a:gd name="connsiteY27138" fmla="*/ 2864264 h 7458372"/>
              <a:gd name="connsiteX27139" fmla="*/ 4177847 w 10505529"/>
              <a:gd name="connsiteY27139" fmla="*/ 2858806 h 7458372"/>
              <a:gd name="connsiteX27140" fmla="*/ 4176782 w 10505529"/>
              <a:gd name="connsiteY27140" fmla="*/ 2853614 h 7458372"/>
              <a:gd name="connsiteX27141" fmla="*/ 4174119 w 10505529"/>
              <a:gd name="connsiteY27141" fmla="*/ 2849355 h 7458372"/>
              <a:gd name="connsiteX27142" fmla="*/ 4170126 w 10505529"/>
              <a:gd name="connsiteY27142" fmla="*/ 2846692 h 7458372"/>
              <a:gd name="connsiteX27143" fmla="*/ 4165068 w 10505529"/>
              <a:gd name="connsiteY27143" fmla="*/ 2845761 h 7458372"/>
              <a:gd name="connsiteX27144" fmla="*/ 3947582 w 10505529"/>
              <a:gd name="connsiteY27144" fmla="*/ 2845761 h 7458372"/>
              <a:gd name="connsiteX27145" fmla="*/ 3937598 w 10505529"/>
              <a:gd name="connsiteY27145" fmla="*/ 2849355 h 7458372"/>
              <a:gd name="connsiteX27146" fmla="*/ 3934004 w 10505529"/>
              <a:gd name="connsiteY27146" fmla="*/ 2858806 h 7458372"/>
              <a:gd name="connsiteX27147" fmla="*/ 3937598 w 10505529"/>
              <a:gd name="connsiteY27147" fmla="*/ 2868257 h 7458372"/>
              <a:gd name="connsiteX27148" fmla="*/ 3947582 w 10505529"/>
              <a:gd name="connsiteY27148" fmla="*/ 2871718 h 7458372"/>
              <a:gd name="connsiteX27149" fmla="*/ 3952908 w 10505529"/>
              <a:gd name="connsiteY27149" fmla="*/ 2870787 h 7458372"/>
              <a:gd name="connsiteX27150" fmla="*/ 3956634 w 10505529"/>
              <a:gd name="connsiteY27150" fmla="*/ 2868390 h 7458372"/>
              <a:gd name="connsiteX27151" fmla="*/ 3959298 w 10505529"/>
              <a:gd name="connsiteY27151" fmla="*/ 2864264 h 7458372"/>
              <a:gd name="connsiteX27152" fmla="*/ 3960363 w 10505529"/>
              <a:gd name="connsiteY27152" fmla="*/ 2858806 h 7458372"/>
              <a:gd name="connsiteX27153" fmla="*/ 3959298 w 10505529"/>
              <a:gd name="connsiteY27153" fmla="*/ 2853614 h 7458372"/>
              <a:gd name="connsiteX27154" fmla="*/ 3956634 w 10505529"/>
              <a:gd name="connsiteY27154" fmla="*/ 2849355 h 7458372"/>
              <a:gd name="connsiteX27155" fmla="*/ 3952641 w 10505529"/>
              <a:gd name="connsiteY27155" fmla="*/ 2846692 h 7458372"/>
              <a:gd name="connsiteX27156" fmla="*/ 3947582 w 10505529"/>
              <a:gd name="connsiteY27156" fmla="*/ 2845761 h 7458372"/>
              <a:gd name="connsiteX27157" fmla="*/ 3729929 w 10505529"/>
              <a:gd name="connsiteY27157" fmla="*/ 2845761 h 7458372"/>
              <a:gd name="connsiteX27158" fmla="*/ 3719943 w 10505529"/>
              <a:gd name="connsiteY27158" fmla="*/ 2849355 h 7458372"/>
              <a:gd name="connsiteX27159" fmla="*/ 3716351 w 10505529"/>
              <a:gd name="connsiteY27159" fmla="*/ 2858806 h 7458372"/>
              <a:gd name="connsiteX27160" fmla="*/ 3719943 w 10505529"/>
              <a:gd name="connsiteY27160" fmla="*/ 2868257 h 7458372"/>
              <a:gd name="connsiteX27161" fmla="*/ 3729929 w 10505529"/>
              <a:gd name="connsiteY27161" fmla="*/ 2871718 h 7458372"/>
              <a:gd name="connsiteX27162" fmla="*/ 3735254 w 10505529"/>
              <a:gd name="connsiteY27162" fmla="*/ 2870787 h 7458372"/>
              <a:gd name="connsiteX27163" fmla="*/ 3738981 w 10505529"/>
              <a:gd name="connsiteY27163" fmla="*/ 2868390 h 7458372"/>
              <a:gd name="connsiteX27164" fmla="*/ 3741644 w 10505529"/>
              <a:gd name="connsiteY27164" fmla="*/ 2864264 h 7458372"/>
              <a:gd name="connsiteX27165" fmla="*/ 3742709 w 10505529"/>
              <a:gd name="connsiteY27165" fmla="*/ 2858806 h 7458372"/>
              <a:gd name="connsiteX27166" fmla="*/ 3741644 w 10505529"/>
              <a:gd name="connsiteY27166" fmla="*/ 2853614 h 7458372"/>
              <a:gd name="connsiteX27167" fmla="*/ 3738981 w 10505529"/>
              <a:gd name="connsiteY27167" fmla="*/ 2849355 h 7458372"/>
              <a:gd name="connsiteX27168" fmla="*/ 3734988 w 10505529"/>
              <a:gd name="connsiteY27168" fmla="*/ 2846692 h 7458372"/>
              <a:gd name="connsiteX27169" fmla="*/ 3729929 w 10505529"/>
              <a:gd name="connsiteY27169" fmla="*/ 2845761 h 7458372"/>
              <a:gd name="connsiteX27170" fmla="*/ 3512276 w 10505529"/>
              <a:gd name="connsiteY27170" fmla="*/ 2845761 h 7458372"/>
              <a:gd name="connsiteX27171" fmla="*/ 3502289 w 10505529"/>
              <a:gd name="connsiteY27171" fmla="*/ 2849355 h 7458372"/>
              <a:gd name="connsiteX27172" fmla="*/ 3498696 w 10505529"/>
              <a:gd name="connsiteY27172" fmla="*/ 2858806 h 7458372"/>
              <a:gd name="connsiteX27173" fmla="*/ 3502289 w 10505529"/>
              <a:gd name="connsiteY27173" fmla="*/ 2868257 h 7458372"/>
              <a:gd name="connsiteX27174" fmla="*/ 3512276 w 10505529"/>
              <a:gd name="connsiteY27174" fmla="*/ 2871718 h 7458372"/>
              <a:gd name="connsiteX27175" fmla="*/ 3517600 w 10505529"/>
              <a:gd name="connsiteY27175" fmla="*/ 2870787 h 7458372"/>
              <a:gd name="connsiteX27176" fmla="*/ 3521328 w 10505529"/>
              <a:gd name="connsiteY27176" fmla="*/ 2868390 h 7458372"/>
              <a:gd name="connsiteX27177" fmla="*/ 3523991 w 10505529"/>
              <a:gd name="connsiteY27177" fmla="*/ 2864264 h 7458372"/>
              <a:gd name="connsiteX27178" fmla="*/ 3525056 w 10505529"/>
              <a:gd name="connsiteY27178" fmla="*/ 2858806 h 7458372"/>
              <a:gd name="connsiteX27179" fmla="*/ 3523991 w 10505529"/>
              <a:gd name="connsiteY27179" fmla="*/ 2853614 h 7458372"/>
              <a:gd name="connsiteX27180" fmla="*/ 3521328 w 10505529"/>
              <a:gd name="connsiteY27180" fmla="*/ 2849355 h 7458372"/>
              <a:gd name="connsiteX27181" fmla="*/ 3517335 w 10505529"/>
              <a:gd name="connsiteY27181" fmla="*/ 2846692 h 7458372"/>
              <a:gd name="connsiteX27182" fmla="*/ 3512276 w 10505529"/>
              <a:gd name="connsiteY27182" fmla="*/ 2845761 h 7458372"/>
              <a:gd name="connsiteX27183" fmla="*/ 3294755 w 10505529"/>
              <a:gd name="connsiteY27183" fmla="*/ 2845761 h 7458372"/>
              <a:gd name="connsiteX27184" fmla="*/ 3284771 w 10505529"/>
              <a:gd name="connsiteY27184" fmla="*/ 2849355 h 7458372"/>
              <a:gd name="connsiteX27185" fmla="*/ 3281177 w 10505529"/>
              <a:gd name="connsiteY27185" fmla="*/ 2858806 h 7458372"/>
              <a:gd name="connsiteX27186" fmla="*/ 3284771 w 10505529"/>
              <a:gd name="connsiteY27186" fmla="*/ 2868257 h 7458372"/>
              <a:gd name="connsiteX27187" fmla="*/ 3294755 w 10505529"/>
              <a:gd name="connsiteY27187" fmla="*/ 2871718 h 7458372"/>
              <a:gd name="connsiteX27188" fmla="*/ 3300081 w 10505529"/>
              <a:gd name="connsiteY27188" fmla="*/ 2870787 h 7458372"/>
              <a:gd name="connsiteX27189" fmla="*/ 3303808 w 10505529"/>
              <a:gd name="connsiteY27189" fmla="*/ 2868390 h 7458372"/>
              <a:gd name="connsiteX27190" fmla="*/ 3306471 w 10505529"/>
              <a:gd name="connsiteY27190" fmla="*/ 2864264 h 7458372"/>
              <a:gd name="connsiteX27191" fmla="*/ 3307535 w 10505529"/>
              <a:gd name="connsiteY27191" fmla="*/ 2858806 h 7458372"/>
              <a:gd name="connsiteX27192" fmla="*/ 3306471 w 10505529"/>
              <a:gd name="connsiteY27192" fmla="*/ 2853614 h 7458372"/>
              <a:gd name="connsiteX27193" fmla="*/ 3303808 w 10505529"/>
              <a:gd name="connsiteY27193" fmla="*/ 2849355 h 7458372"/>
              <a:gd name="connsiteX27194" fmla="*/ 3299815 w 10505529"/>
              <a:gd name="connsiteY27194" fmla="*/ 2846692 h 7458372"/>
              <a:gd name="connsiteX27195" fmla="*/ 3294755 w 10505529"/>
              <a:gd name="connsiteY27195" fmla="*/ 2845761 h 7458372"/>
              <a:gd name="connsiteX27196" fmla="*/ 3077235 w 10505529"/>
              <a:gd name="connsiteY27196" fmla="*/ 2845761 h 7458372"/>
              <a:gd name="connsiteX27197" fmla="*/ 3067252 w 10505529"/>
              <a:gd name="connsiteY27197" fmla="*/ 2849355 h 7458372"/>
              <a:gd name="connsiteX27198" fmla="*/ 3063523 w 10505529"/>
              <a:gd name="connsiteY27198" fmla="*/ 2858806 h 7458372"/>
              <a:gd name="connsiteX27199" fmla="*/ 3067118 w 10505529"/>
              <a:gd name="connsiteY27199" fmla="*/ 2868257 h 7458372"/>
              <a:gd name="connsiteX27200" fmla="*/ 3077102 w 10505529"/>
              <a:gd name="connsiteY27200" fmla="*/ 2871718 h 7458372"/>
              <a:gd name="connsiteX27201" fmla="*/ 3082560 w 10505529"/>
              <a:gd name="connsiteY27201" fmla="*/ 2870787 h 7458372"/>
              <a:gd name="connsiteX27202" fmla="*/ 3086288 w 10505529"/>
              <a:gd name="connsiteY27202" fmla="*/ 2868390 h 7458372"/>
              <a:gd name="connsiteX27203" fmla="*/ 3088950 w 10505529"/>
              <a:gd name="connsiteY27203" fmla="*/ 2864264 h 7458372"/>
              <a:gd name="connsiteX27204" fmla="*/ 3089883 w 10505529"/>
              <a:gd name="connsiteY27204" fmla="*/ 2858806 h 7458372"/>
              <a:gd name="connsiteX27205" fmla="*/ 3088950 w 10505529"/>
              <a:gd name="connsiteY27205" fmla="*/ 2853614 h 7458372"/>
              <a:gd name="connsiteX27206" fmla="*/ 3086288 w 10505529"/>
              <a:gd name="connsiteY27206" fmla="*/ 2849355 h 7458372"/>
              <a:gd name="connsiteX27207" fmla="*/ 3082295 w 10505529"/>
              <a:gd name="connsiteY27207" fmla="*/ 2846692 h 7458372"/>
              <a:gd name="connsiteX27208" fmla="*/ 3077235 w 10505529"/>
              <a:gd name="connsiteY27208" fmla="*/ 2845761 h 7458372"/>
              <a:gd name="connsiteX27209" fmla="*/ 2859449 w 10505529"/>
              <a:gd name="connsiteY27209" fmla="*/ 2845761 h 7458372"/>
              <a:gd name="connsiteX27210" fmla="*/ 2849463 w 10505529"/>
              <a:gd name="connsiteY27210" fmla="*/ 2849355 h 7458372"/>
              <a:gd name="connsiteX27211" fmla="*/ 2845868 w 10505529"/>
              <a:gd name="connsiteY27211" fmla="*/ 2858806 h 7458372"/>
              <a:gd name="connsiteX27212" fmla="*/ 2849463 w 10505529"/>
              <a:gd name="connsiteY27212" fmla="*/ 2868257 h 7458372"/>
              <a:gd name="connsiteX27213" fmla="*/ 2859449 w 10505529"/>
              <a:gd name="connsiteY27213" fmla="*/ 2871718 h 7458372"/>
              <a:gd name="connsiteX27214" fmla="*/ 2864774 w 10505529"/>
              <a:gd name="connsiteY27214" fmla="*/ 2870787 h 7458372"/>
              <a:gd name="connsiteX27215" fmla="*/ 2868501 w 10505529"/>
              <a:gd name="connsiteY27215" fmla="*/ 2868390 h 7458372"/>
              <a:gd name="connsiteX27216" fmla="*/ 2871164 w 10505529"/>
              <a:gd name="connsiteY27216" fmla="*/ 2864264 h 7458372"/>
              <a:gd name="connsiteX27217" fmla="*/ 2872095 w 10505529"/>
              <a:gd name="connsiteY27217" fmla="*/ 2858806 h 7458372"/>
              <a:gd name="connsiteX27218" fmla="*/ 2871164 w 10505529"/>
              <a:gd name="connsiteY27218" fmla="*/ 2853614 h 7458372"/>
              <a:gd name="connsiteX27219" fmla="*/ 2868501 w 10505529"/>
              <a:gd name="connsiteY27219" fmla="*/ 2849355 h 7458372"/>
              <a:gd name="connsiteX27220" fmla="*/ 2864508 w 10505529"/>
              <a:gd name="connsiteY27220" fmla="*/ 2846692 h 7458372"/>
              <a:gd name="connsiteX27221" fmla="*/ 2859449 w 10505529"/>
              <a:gd name="connsiteY27221" fmla="*/ 2845761 h 7458372"/>
              <a:gd name="connsiteX27222" fmla="*/ 2641795 w 10505529"/>
              <a:gd name="connsiteY27222" fmla="*/ 2845761 h 7458372"/>
              <a:gd name="connsiteX27223" fmla="*/ 2631812 w 10505529"/>
              <a:gd name="connsiteY27223" fmla="*/ 2849355 h 7458372"/>
              <a:gd name="connsiteX27224" fmla="*/ 2628218 w 10505529"/>
              <a:gd name="connsiteY27224" fmla="*/ 2858806 h 7458372"/>
              <a:gd name="connsiteX27225" fmla="*/ 2631812 w 10505529"/>
              <a:gd name="connsiteY27225" fmla="*/ 2868257 h 7458372"/>
              <a:gd name="connsiteX27226" fmla="*/ 2641795 w 10505529"/>
              <a:gd name="connsiteY27226" fmla="*/ 2871718 h 7458372"/>
              <a:gd name="connsiteX27227" fmla="*/ 2647121 w 10505529"/>
              <a:gd name="connsiteY27227" fmla="*/ 2870787 h 7458372"/>
              <a:gd name="connsiteX27228" fmla="*/ 2650848 w 10505529"/>
              <a:gd name="connsiteY27228" fmla="*/ 2868390 h 7458372"/>
              <a:gd name="connsiteX27229" fmla="*/ 2653511 w 10505529"/>
              <a:gd name="connsiteY27229" fmla="*/ 2864264 h 7458372"/>
              <a:gd name="connsiteX27230" fmla="*/ 2654441 w 10505529"/>
              <a:gd name="connsiteY27230" fmla="*/ 2858806 h 7458372"/>
              <a:gd name="connsiteX27231" fmla="*/ 2653511 w 10505529"/>
              <a:gd name="connsiteY27231" fmla="*/ 2853614 h 7458372"/>
              <a:gd name="connsiteX27232" fmla="*/ 2650848 w 10505529"/>
              <a:gd name="connsiteY27232" fmla="*/ 2849355 h 7458372"/>
              <a:gd name="connsiteX27233" fmla="*/ 2646855 w 10505529"/>
              <a:gd name="connsiteY27233" fmla="*/ 2846692 h 7458372"/>
              <a:gd name="connsiteX27234" fmla="*/ 2641795 w 10505529"/>
              <a:gd name="connsiteY27234" fmla="*/ 2845761 h 7458372"/>
              <a:gd name="connsiteX27235" fmla="*/ 2424142 w 10505529"/>
              <a:gd name="connsiteY27235" fmla="*/ 2845761 h 7458372"/>
              <a:gd name="connsiteX27236" fmla="*/ 2414159 w 10505529"/>
              <a:gd name="connsiteY27236" fmla="*/ 2849355 h 7458372"/>
              <a:gd name="connsiteX27237" fmla="*/ 2410565 w 10505529"/>
              <a:gd name="connsiteY27237" fmla="*/ 2858806 h 7458372"/>
              <a:gd name="connsiteX27238" fmla="*/ 2414159 w 10505529"/>
              <a:gd name="connsiteY27238" fmla="*/ 2868257 h 7458372"/>
              <a:gd name="connsiteX27239" fmla="*/ 2424142 w 10505529"/>
              <a:gd name="connsiteY27239" fmla="*/ 2871718 h 7458372"/>
              <a:gd name="connsiteX27240" fmla="*/ 2429467 w 10505529"/>
              <a:gd name="connsiteY27240" fmla="*/ 2870787 h 7458372"/>
              <a:gd name="connsiteX27241" fmla="*/ 2433194 w 10505529"/>
              <a:gd name="connsiteY27241" fmla="*/ 2868390 h 7458372"/>
              <a:gd name="connsiteX27242" fmla="*/ 2435857 w 10505529"/>
              <a:gd name="connsiteY27242" fmla="*/ 2864264 h 7458372"/>
              <a:gd name="connsiteX27243" fmla="*/ 2436789 w 10505529"/>
              <a:gd name="connsiteY27243" fmla="*/ 2858806 h 7458372"/>
              <a:gd name="connsiteX27244" fmla="*/ 2435857 w 10505529"/>
              <a:gd name="connsiteY27244" fmla="*/ 2853614 h 7458372"/>
              <a:gd name="connsiteX27245" fmla="*/ 2433194 w 10505529"/>
              <a:gd name="connsiteY27245" fmla="*/ 2849355 h 7458372"/>
              <a:gd name="connsiteX27246" fmla="*/ 2429201 w 10505529"/>
              <a:gd name="connsiteY27246" fmla="*/ 2846692 h 7458372"/>
              <a:gd name="connsiteX27247" fmla="*/ 2424142 w 10505529"/>
              <a:gd name="connsiteY27247" fmla="*/ 2845761 h 7458372"/>
              <a:gd name="connsiteX27248" fmla="*/ 2206489 w 10505529"/>
              <a:gd name="connsiteY27248" fmla="*/ 2845761 h 7458372"/>
              <a:gd name="connsiteX27249" fmla="*/ 2196505 w 10505529"/>
              <a:gd name="connsiteY27249" fmla="*/ 2849355 h 7458372"/>
              <a:gd name="connsiteX27250" fmla="*/ 2192911 w 10505529"/>
              <a:gd name="connsiteY27250" fmla="*/ 2858806 h 7458372"/>
              <a:gd name="connsiteX27251" fmla="*/ 2196505 w 10505529"/>
              <a:gd name="connsiteY27251" fmla="*/ 2868257 h 7458372"/>
              <a:gd name="connsiteX27252" fmla="*/ 2206489 w 10505529"/>
              <a:gd name="connsiteY27252" fmla="*/ 2871718 h 7458372"/>
              <a:gd name="connsiteX27253" fmla="*/ 2211814 w 10505529"/>
              <a:gd name="connsiteY27253" fmla="*/ 2870787 h 7458372"/>
              <a:gd name="connsiteX27254" fmla="*/ 2215541 w 10505529"/>
              <a:gd name="connsiteY27254" fmla="*/ 2868390 h 7458372"/>
              <a:gd name="connsiteX27255" fmla="*/ 2218204 w 10505529"/>
              <a:gd name="connsiteY27255" fmla="*/ 2864264 h 7458372"/>
              <a:gd name="connsiteX27256" fmla="*/ 2219135 w 10505529"/>
              <a:gd name="connsiteY27256" fmla="*/ 2858806 h 7458372"/>
              <a:gd name="connsiteX27257" fmla="*/ 2218204 w 10505529"/>
              <a:gd name="connsiteY27257" fmla="*/ 2853614 h 7458372"/>
              <a:gd name="connsiteX27258" fmla="*/ 2215541 w 10505529"/>
              <a:gd name="connsiteY27258" fmla="*/ 2849355 h 7458372"/>
              <a:gd name="connsiteX27259" fmla="*/ 2211548 w 10505529"/>
              <a:gd name="connsiteY27259" fmla="*/ 2846692 h 7458372"/>
              <a:gd name="connsiteX27260" fmla="*/ 2206489 w 10505529"/>
              <a:gd name="connsiteY27260" fmla="*/ 2845761 h 7458372"/>
              <a:gd name="connsiteX27261" fmla="*/ 1988968 w 10505529"/>
              <a:gd name="connsiteY27261" fmla="*/ 2845761 h 7458372"/>
              <a:gd name="connsiteX27262" fmla="*/ 1978985 w 10505529"/>
              <a:gd name="connsiteY27262" fmla="*/ 2849355 h 7458372"/>
              <a:gd name="connsiteX27263" fmla="*/ 1975391 w 10505529"/>
              <a:gd name="connsiteY27263" fmla="*/ 2858806 h 7458372"/>
              <a:gd name="connsiteX27264" fmla="*/ 1978985 w 10505529"/>
              <a:gd name="connsiteY27264" fmla="*/ 2868257 h 7458372"/>
              <a:gd name="connsiteX27265" fmla="*/ 1988968 w 10505529"/>
              <a:gd name="connsiteY27265" fmla="*/ 2871718 h 7458372"/>
              <a:gd name="connsiteX27266" fmla="*/ 1994293 w 10505529"/>
              <a:gd name="connsiteY27266" fmla="*/ 2870787 h 7458372"/>
              <a:gd name="connsiteX27267" fmla="*/ 1998021 w 10505529"/>
              <a:gd name="connsiteY27267" fmla="*/ 2868390 h 7458372"/>
              <a:gd name="connsiteX27268" fmla="*/ 2000684 w 10505529"/>
              <a:gd name="connsiteY27268" fmla="*/ 2864264 h 7458372"/>
              <a:gd name="connsiteX27269" fmla="*/ 2001614 w 10505529"/>
              <a:gd name="connsiteY27269" fmla="*/ 2858806 h 7458372"/>
              <a:gd name="connsiteX27270" fmla="*/ 2000684 w 10505529"/>
              <a:gd name="connsiteY27270" fmla="*/ 2853614 h 7458372"/>
              <a:gd name="connsiteX27271" fmla="*/ 1998021 w 10505529"/>
              <a:gd name="connsiteY27271" fmla="*/ 2849355 h 7458372"/>
              <a:gd name="connsiteX27272" fmla="*/ 1994027 w 10505529"/>
              <a:gd name="connsiteY27272" fmla="*/ 2846692 h 7458372"/>
              <a:gd name="connsiteX27273" fmla="*/ 1988968 w 10505529"/>
              <a:gd name="connsiteY27273" fmla="*/ 2845761 h 7458372"/>
              <a:gd name="connsiteX27274" fmla="*/ 1771329 w 10505529"/>
              <a:gd name="connsiteY27274" fmla="*/ 2845761 h 7458372"/>
              <a:gd name="connsiteX27275" fmla="*/ 1761347 w 10505529"/>
              <a:gd name="connsiteY27275" fmla="*/ 2849355 h 7458372"/>
              <a:gd name="connsiteX27276" fmla="*/ 1757753 w 10505529"/>
              <a:gd name="connsiteY27276" fmla="*/ 2858806 h 7458372"/>
              <a:gd name="connsiteX27277" fmla="*/ 1761347 w 10505529"/>
              <a:gd name="connsiteY27277" fmla="*/ 2868257 h 7458372"/>
              <a:gd name="connsiteX27278" fmla="*/ 1771329 w 10505529"/>
              <a:gd name="connsiteY27278" fmla="*/ 2871718 h 7458372"/>
              <a:gd name="connsiteX27279" fmla="*/ 1776654 w 10505529"/>
              <a:gd name="connsiteY27279" fmla="*/ 2870787 h 7458372"/>
              <a:gd name="connsiteX27280" fmla="*/ 1780381 w 10505529"/>
              <a:gd name="connsiteY27280" fmla="*/ 2868390 h 7458372"/>
              <a:gd name="connsiteX27281" fmla="*/ 1783044 w 10505529"/>
              <a:gd name="connsiteY27281" fmla="*/ 2864264 h 7458372"/>
              <a:gd name="connsiteX27282" fmla="*/ 1784109 w 10505529"/>
              <a:gd name="connsiteY27282" fmla="*/ 2858806 h 7458372"/>
              <a:gd name="connsiteX27283" fmla="*/ 1783044 w 10505529"/>
              <a:gd name="connsiteY27283" fmla="*/ 2853614 h 7458372"/>
              <a:gd name="connsiteX27284" fmla="*/ 1780381 w 10505529"/>
              <a:gd name="connsiteY27284" fmla="*/ 2849355 h 7458372"/>
              <a:gd name="connsiteX27285" fmla="*/ 1776388 w 10505529"/>
              <a:gd name="connsiteY27285" fmla="*/ 2846692 h 7458372"/>
              <a:gd name="connsiteX27286" fmla="*/ 1771329 w 10505529"/>
              <a:gd name="connsiteY27286" fmla="*/ 2845761 h 7458372"/>
              <a:gd name="connsiteX27287" fmla="*/ 1553688 w 10505529"/>
              <a:gd name="connsiteY27287" fmla="*/ 2845761 h 7458372"/>
              <a:gd name="connsiteX27288" fmla="*/ 1543705 w 10505529"/>
              <a:gd name="connsiteY27288" fmla="*/ 2849355 h 7458372"/>
              <a:gd name="connsiteX27289" fmla="*/ 1540111 w 10505529"/>
              <a:gd name="connsiteY27289" fmla="*/ 2858806 h 7458372"/>
              <a:gd name="connsiteX27290" fmla="*/ 1543705 w 10505529"/>
              <a:gd name="connsiteY27290" fmla="*/ 2868257 h 7458372"/>
              <a:gd name="connsiteX27291" fmla="*/ 1553688 w 10505529"/>
              <a:gd name="connsiteY27291" fmla="*/ 2871718 h 7458372"/>
              <a:gd name="connsiteX27292" fmla="*/ 1559013 w 10505529"/>
              <a:gd name="connsiteY27292" fmla="*/ 2870787 h 7458372"/>
              <a:gd name="connsiteX27293" fmla="*/ 1562740 w 10505529"/>
              <a:gd name="connsiteY27293" fmla="*/ 2868390 h 7458372"/>
              <a:gd name="connsiteX27294" fmla="*/ 1565403 w 10505529"/>
              <a:gd name="connsiteY27294" fmla="*/ 2864264 h 7458372"/>
              <a:gd name="connsiteX27295" fmla="*/ 1566468 w 10505529"/>
              <a:gd name="connsiteY27295" fmla="*/ 2858806 h 7458372"/>
              <a:gd name="connsiteX27296" fmla="*/ 1565403 w 10505529"/>
              <a:gd name="connsiteY27296" fmla="*/ 2853614 h 7458372"/>
              <a:gd name="connsiteX27297" fmla="*/ 1562740 w 10505529"/>
              <a:gd name="connsiteY27297" fmla="*/ 2849355 h 7458372"/>
              <a:gd name="connsiteX27298" fmla="*/ 1558747 w 10505529"/>
              <a:gd name="connsiteY27298" fmla="*/ 2846692 h 7458372"/>
              <a:gd name="connsiteX27299" fmla="*/ 1553688 w 10505529"/>
              <a:gd name="connsiteY27299" fmla="*/ 2845761 h 7458372"/>
              <a:gd name="connsiteX27300" fmla="*/ 1336044 w 10505529"/>
              <a:gd name="connsiteY27300" fmla="*/ 2845761 h 7458372"/>
              <a:gd name="connsiteX27301" fmla="*/ 1326061 w 10505529"/>
              <a:gd name="connsiteY27301" fmla="*/ 2849355 h 7458372"/>
              <a:gd name="connsiteX27302" fmla="*/ 1322466 w 10505529"/>
              <a:gd name="connsiteY27302" fmla="*/ 2858806 h 7458372"/>
              <a:gd name="connsiteX27303" fmla="*/ 1326061 w 10505529"/>
              <a:gd name="connsiteY27303" fmla="*/ 2868257 h 7458372"/>
              <a:gd name="connsiteX27304" fmla="*/ 1336044 w 10505529"/>
              <a:gd name="connsiteY27304" fmla="*/ 2871718 h 7458372"/>
              <a:gd name="connsiteX27305" fmla="*/ 1341370 w 10505529"/>
              <a:gd name="connsiteY27305" fmla="*/ 2870787 h 7458372"/>
              <a:gd name="connsiteX27306" fmla="*/ 1345097 w 10505529"/>
              <a:gd name="connsiteY27306" fmla="*/ 2868390 h 7458372"/>
              <a:gd name="connsiteX27307" fmla="*/ 1347760 w 10505529"/>
              <a:gd name="connsiteY27307" fmla="*/ 2864264 h 7458372"/>
              <a:gd name="connsiteX27308" fmla="*/ 1348826 w 10505529"/>
              <a:gd name="connsiteY27308" fmla="*/ 2858806 h 7458372"/>
              <a:gd name="connsiteX27309" fmla="*/ 1347760 w 10505529"/>
              <a:gd name="connsiteY27309" fmla="*/ 2853614 h 7458372"/>
              <a:gd name="connsiteX27310" fmla="*/ 1345097 w 10505529"/>
              <a:gd name="connsiteY27310" fmla="*/ 2849355 h 7458372"/>
              <a:gd name="connsiteX27311" fmla="*/ 1341103 w 10505529"/>
              <a:gd name="connsiteY27311" fmla="*/ 2846692 h 7458372"/>
              <a:gd name="connsiteX27312" fmla="*/ 1336044 w 10505529"/>
              <a:gd name="connsiteY27312" fmla="*/ 2845761 h 7458372"/>
              <a:gd name="connsiteX27313" fmla="*/ 1118532 w 10505529"/>
              <a:gd name="connsiteY27313" fmla="*/ 2845761 h 7458372"/>
              <a:gd name="connsiteX27314" fmla="*/ 1108547 w 10505529"/>
              <a:gd name="connsiteY27314" fmla="*/ 2849355 h 7458372"/>
              <a:gd name="connsiteX27315" fmla="*/ 1104820 w 10505529"/>
              <a:gd name="connsiteY27315" fmla="*/ 2858806 h 7458372"/>
              <a:gd name="connsiteX27316" fmla="*/ 1108415 w 10505529"/>
              <a:gd name="connsiteY27316" fmla="*/ 2868257 h 7458372"/>
              <a:gd name="connsiteX27317" fmla="*/ 1118399 w 10505529"/>
              <a:gd name="connsiteY27317" fmla="*/ 2871718 h 7458372"/>
              <a:gd name="connsiteX27318" fmla="*/ 1123856 w 10505529"/>
              <a:gd name="connsiteY27318" fmla="*/ 2870787 h 7458372"/>
              <a:gd name="connsiteX27319" fmla="*/ 1127585 w 10505529"/>
              <a:gd name="connsiteY27319" fmla="*/ 2868390 h 7458372"/>
              <a:gd name="connsiteX27320" fmla="*/ 1130248 w 10505529"/>
              <a:gd name="connsiteY27320" fmla="*/ 2864264 h 7458372"/>
              <a:gd name="connsiteX27321" fmla="*/ 1131314 w 10505529"/>
              <a:gd name="connsiteY27321" fmla="*/ 2858806 h 7458372"/>
              <a:gd name="connsiteX27322" fmla="*/ 1130248 w 10505529"/>
              <a:gd name="connsiteY27322" fmla="*/ 2853614 h 7458372"/>
              <a:gd name="connsiteX27323" fmla="*/ 1127585 w 10505529"/>
              <a:gd name="connsiteY27323" fmla="*/ 2849355 h 7458372"/>
              <a:gd name="connsiteX27324" fmla="*/ 1123590 w 10505529"/>
              <a:gd name="connsiteY27324" fmla="*/ 2846692 h 7458372"/>
              <a:gd name="connsiteX27325" fmla="*/ 1118532 w 10505529"/>
              <a:gd name="connsiteY27325" fmla="*/ 2845761 h 7458372"/>
              <a:gd name="connsiteX27326" fmla="*/ 901020 w 10505529"/>
              <a:gd name="connsiteY27326" fmla="*/ 2845761 h 7458372"/>
              <a:gd name="connsiteX27327" fmla="*/ 891036 w 10505529"/>
              <a:gd name="connsiteY27327" fmla="*/ 2849355 h 7458372"/>
              <a:gd name="connsiteX27328" fmla="*/ 887309 w 10505529"/>
              <a:gd name="connsiteY27328" fmla="*/ 2858806 h 7458372"/>
              <a:gd name="connsiteX27329" fmla="*/ 890903 w 10505529"/>
              <a:gd name="connsiteY27329" fmla="*/ 2868257 h 7458372"/>
              <a:gd name="connsiteX27330" fmla="*/ 900886 w 10505529"/>
              <a:gd name="connsiteY27330" fmla="*/ 2871718 h 7458372"/>
              <a:gd name="connsiteX27331" fmla="*/ 906345 w 10505529"/>
              <a:gd name="connsiteY27331" fmla="*/ 2870787 h 7458372"/>
              <a:gd name="connsiteX27332" fmla="*/ 910073 w 10505529"/>
              <a:gd name="connsiteY27332" fmla="*/ 2868390 h 7458372"/>
              <a:gd name="connsiteX27333" fmla="*/ 912735 w 10505529"/>
              <a:gd name="connsiteY27333" fmla="*/ 2864264 h 7458372"/>
              <a:gd name="connsiteX27334" fmla="*/ 913800 w 10505529"/>
              <a:gd name="connsiteY27334" fmla="*/ 2858806 h 7458372"/>
              <a:gd name="connsiteX27335" fmla="*/ 912735 w 10505529"/>
              <a:gd name="connsiteY27335" fmla="*/ 2853614 h 7458372"/>
              <a:gd name="connsiteX27336" fmla="*/ 910073 w 10505529"/>
              <a:gd name="connsiteY27336" fmla="*/ 2849355 h 7458372"/>
              <a:gd name="connsiteX27337" fmla="*/ 906078 w 10505529"/>
              <a:gd name="connsiteY27337" fmla="*/ 2846692 h 7458372"/>
              <a:gd name="connsiteX27338" fmla="*/ 901020 w 10505529"/>
              <a:gd name="connsiteY27338" fmla="*/ 2845761 h 7458372"/>
              <a:gd name="connsiteX27339" fmla="*/ 683244 w 10505529"/>
              <a:gd name="connsiteY27339" fmla="*/ 2845761 h 7458372"/>
              <a:gd name="connsiteX27340" fmla="*/ 673261 w 10505529"/>
              <a:gd name="connsiteY27340" fmla="*/ 2849355 h 7458372"/>
              <a:gd name="connsiteX27341" fmla="*/ 669667 w 10505529"/>
              <a:gd name="connsiteY27341" fmla="*/ 2858806 h 7458372"/>
              <a:gd name="connsiteX27342" fmla="*/ 673261 w 10505529"/>
              <a:gd name="connsiteY27342" fmla="*/ 2868257 h 7458372"/>
              <a:gd name="connsiteX27343" fmla="*/ 683244 w 10505529"/>
              <a:gd name="connsiteY27343" fmla="*/ 2871718 h 7458372"/>
              <a:gd name="connsiteX27344" fmla="*/ 688569 w 10505529"/>
              <a:gd name="connsiteY27344" fmla="*/ 2870787 h 7458372"/>
              <a:gd name="connsiteX27345" fmla="*/ 692296 w 10505529"/>
              <a:gd name="connsiteY27345" fmla="*/ 2868390 h 7458372"/>
              <a:gd name="connsiteX27346" fmla="*/ 694959 w 10505529"/>
              <a:gd name="connsiteY27346" fmla="*/ 2864264 h 7458372"/>
              <a:gd name="connsiteX27347" fmla="*/ 696024 w 10505529"/>
              <a:gd name="connsiteY27347" fmla="*/ 2858806 h 7458372"/>
              <a:gd name="connsiteX27348" fmla="*/ 694959 w 10505529"/>
              <a:gd name="connsiteY27348" fmla="*/ 2853614 h 7458372"/>
              <a:gd name="connsiteX27349" fmla="*/ 692296 w 10505529"/>
              <a:gd name="connsiteY27349" fmla="*/ 2849355 h 7458372"/>
              <a:gd name="connsiteX27350" fmla="*/ 688303 w 10505529"/>
              <a:gd name="connsiteY27350" fmla="*/ 2846692 h 7458372"/>
              <a:gd name="connsiteX27351" fmla="*/ 683244 w 10505529"/>
              <a:gd name="connsiteY27351" fmla="*/ 2845761 h 7458372"/>
              <a:gd name="connsiteX27352" fmla="*/ 465601 w 10505529"/>
              <a:gd name="connsiteY27352" fmla="*/ 2845761 h 7458372"/>
              <a:gd name="connsiteX27353" fmla="*/ 455618 w 10505529"/>
              <a:gd name="connsiteY27353" fmla="*/ 2849355 h 7458372"/>
              <a:gd name="connsiteX27354" fmla="*/ 452024 w 10505529"/>
              <a:gd name="connsiteY27354" fmla="*/ 2858806 h 7458372"/>
              <a:gd name="connsiteX27355" fmla="*/ 455618 w 10505529"/>
              <a:gd name="connsiteY27355" fmla="*/ 2868257 h 7458372"/>
              <a:gd name="connsiteX27356" fmla="*/ 465601 w 10505529"/>
              <a:gd name="connsiteY27356" fmla="*/ 2871718 h 7458372"/>
              <a:gd name="connsiteX27357" fmla="*/ 470926 w 10505529"/>
              <a:gd name="connsiteY27357" fmla="*/ 2870787 h 7458372"/>
              <a:gd name="connsiteX27358" fmla="*/ 474653 w 10505529"/>
              <a:gd name="connsiteY27358" fmla="*/ 2868390 h 7458372"/>
              <a:gd name="connsiteX27359" fmla="*/ 477316 w 10505529"/>
              <a:gd name="connsiteY27359" fmla="*/ 2864264 h 7458372"/>
              <a:gd name="connsiteX27360" fmla="*/ 478381 w 10505529"/>
              <a:gd name="connsiteY27360" fmla="*/ 2858806 h 7458372"/>
              <a:gd name="connsiteX27361" fmla="*/ 477316 w 10505529"/>
              <a:gd name="connsiteY27361" fmla="*/ 2853614 h 7458372"/>
              <a:gd name="connsiteX27362" fmla="*/ 474653 w 10505529"/>
              <a:gd name="connsiteY27362" fmla="*/ 2849355 h 7458372"/>
              <a:gd name="connsiteX27363" fmla="*/ 470660 w 10505529"/>
              <a:gd name="connsiteY27363" fmla="*/ 2846692 h 7458372"/>
              <a:gd name="connsiteX27364" fmla="*/ 465601 w 10505529"/>
              <a:gd name="connsiteY27364" fmla="*/ 2845761 h 7458372"/>
              <a:gd name="connsiteX27365" fmla="*/ 247958 w 10505529"/>
              <a:gd name="connsiteY27365" fmla="*/ 2845761 h 7458372"/>
              <a:gd name="connsiteX27366" fmla="*/ 237975 w 10505529"/>
              <a:gd name="connsiteY27366" fmla="*/ 2849355 h 7458372"/>
              <a:gd name="connsiteX27367" fmla="*/ 234381 w 10505529"/>
              <a:gd name="connsiteY27367" fmla="*/ 2858806 h 7458372"/>
              <a:gd name="connsiteX27368" fmla="*/ 237975 w 10505529"/>
              <a:gd name="connsiteY27368" fmla="*/ 2868257 h 7458372"/>
              <a:gd name="connsiteX27369" fmla="*/ 247958 w 10505529"/>
              <a:gd name="connsiteY27369" fmla="*/ 2871718 h 7458372"/>
              <a:gd name="connsiteX27370" fmla="*/ 253283 w 10505529"/>
              <a:gd name="connsiteY27370" fmla="*/ 2870787 h 7458372"/>
              <a:gd name="connsiteX27371" fmla="*/ 257010 w 10505529"/>
              <a:gd name="connsiteY27371" fmla="*/ 2868390 h 7458372"/>
              <a:gd name="connsiteX27372" fmla="*/ 259673 w 10505529"/>
              <a:gd name="connsiteY27372" fmla="*/ 2864264 h 7458372"/>
              <a:gd name="connsiteX27373" fmla="*/ 260738 w 10505529"/>
              <a:gd name="connsiteY27373" fmla="*/ 2858806 h 7458372"/>
              <a:gd name="connsiteX27374" fmla="*/ 259673 w 10505529"/>
              <a:gd name="connsiteY27374" fmla="*/ 2853614 h 7458372"/>
              <a:gd name="connsiteX27375" fmla="*/ 257010 w 10505529"/>
              <a:gd name="connsiteY27375" fmla="*/ 2849355 h 7458372"/>
              <a:gd name="connsiteX27376" fmla="*/ 253017 w 10505529"/>
              <a:gd name="connsiteY27376" fmla="*/ 2846692 h 7458372"/>
              <a:gd name="connsiteX27377" fmla="*/ 247958 w 10505529"/>
              <a:gd name="connsiteY27377" fmla="*/ 2845761 h 7458372"/>
              <a:gd name="connsiteX27378" fmla="*/ 30315 w 10505529"/>
              <a:gd name="connsiteY27378" fmla="*/ 2845761 h 7458372"/>
              <a:gd name="connsiteX27379" fmla="*/ 20332 w 10505529"/>
              <a:gd name="connsiteY27379" fmla="*/ 2849355 h 7458372"/>
              <a:gd name="connsiteX27380" fmla="*/ 16738 w 10505529"/>
              <a:gd name="connsiteY27380" fmla="*/ 2858806 h 7458372"/>
              <a:gd name="connsiteX27381" fmla="*/ 20332 w 10505529"/>
              <a:gd name="connsiteY27381" fmla="*/ 2868257 h 7458372"/>
              <a:gd name="connsiteX27382" fmla="*/ 30315 w 10505529"/>
              <a:gd name="connsiteY27382" fmla="*/ 2871718 h 7458372"/>
              <a:gd name="connsiteX27383" fmla="*/ 35640 w 10505529"/>
              <a:gd name="connsiteY27383" fmla="*/ 2870787 h 7458372"/>
              <a:gd name="connsiteX27384" fmla="*/ 39367 w 10505529"/>
              <a:gd name="connsiteY27384" fmla="*/ 2868390 h 7458372"/>
              <a:gd name="connsiteX27385" fmla="*/ 42030 w 10505529"/>
              <a:gd name="connsiteY27385" fmla="*/ 2864264 h 7458372"/>
              <a:gd name="connsiteX27386" fmla="*/ 42961 w 10505529"/>
              <a:gd name="connsiteY27386" fmla="*/ 2858806 h 7458372"/>
              <a:gd name="connsiteX27387" fmla="*/ 42030 w 10505529"/>
              <a:gd name="connsiteY27387" fmla="*/ 2853614 h 7458372"/>
              <a:gd name="connsiteX27388" fmla="*/ 39367 w 10505529"/>
              <a:gd name="connsiteY27388" fmla="*/ 2849355 h 7458372"/>
              <a:gd name="connsiteX27389" fmla="*/ 35374 w 10505529"/>
              <a:gd name="connsiteY27389" fmla="*/ 2846692 h 7458372"/>
              <a:gd name="connsiteX27390" fmla="*/ 30315 w 10505529"/>
              <a:gd name="connsiteY27390" fmla="*/ 2845761 h 7458372"/>
              <a:gd name="connsiteX27391" fmla="*/ 10475977 w 10505529"/>
              <a:gd name="connsiteY27391" fmla="*/ 2828988 h 7458372"/>
              <a:gd name="connsiteX27392" fmla="*/ 10487824 w 10505529"/>
              <a:gd name="connsiteY27392" fmla="*/ 2831516 h 7458372"/>
              <a:gd name="connsiteX27393" fmla="*/ 10497143 w 10505529"/>
              <a:gd name="connsiteY27393" fmla="*/ 2837906 h 7458372"/>
              <a:gd name="connsiteX27394" fmla="*/ 10503266 w 10505529"/>
              <a:gd name="connsiteY27394" fmla="*/ 2847357 h 7458372"/>
              <a:gd name="connsiteX27395" fmla="*/ 10505529 w 10505529"/>
              <a:gd name="connsiteY27395" fmla="*/ 2858806 h 7458372"/>
              <a:gd name="connsiteX27396" fmla="*/ 10503266 w 10505529"/>
              <a:gd name="connsiteY27396" fmla="*/ 2870520 h 7458372"/>
              <a:gd name="connsiteX27397" fmla="*/ 10497143 w 10505529"/>
              <a:gd name="connsiteY27397" fmla="*/ 2879838 h 7458372"/>
              <a:gd name="connsiteX27398" fmla="*/ 10487824 w 10505529"/>
              <a:gd name="connsiteY27398" fmla="*/ 2886095 h 7458372"/>
              <a:gd name="connsiteX27399" fmla="*/ 10475977 w 10505529"/>
              <a:gd name="connsiteY27399" fmla="*/ 2888359 h 7458372"/>
              <a:gd name="connsiteX27400" fmla="*/ 10454145 w 10505529"/>
              <a:gd name="connsiteY27400" fmla="*/ 2879838 h 7458372"/>
              <a:gd name="connsiteX27401" fmla="*/ 10445759 w 10505529"/>
              <a:gd name="connsiteY27401" fmla="*/ 2858673 h 7458372"/>
              <a:gd name="connsiteX27402" fmla="*/ 10454145 w 10505529"/>
              <a:gd name="connsiteY27402" fmla="*/ 2837640 h 7458372"/>
              <a:gd name="connsiteX27403" fmla="*/ 10475977 w 10505529"/>
              <a:gd name="connsiteY27403" fmla="*/ 2828988 h 7458372"/>
              <a:gd name="connsiteX27404" fmla="*/ 10258466 w 10505529"/>
              <a:gd name="connsiteY27404" fmla="*/ 2828988 h 7458372"/>
              <a:gd name="connsiteX27405" fmla="*/ 10270313 w 10505529"/>
              <a:gd name="connsiteY27405" fmla="*/ 2831516 h 7458372"/>
              <a:gd name="connsiteX27406" fmla="*/ 10279631 w 10505529"/>
              <a:gd name="connsiteY27406" fmla="*/ 2837906 h 7458372"/>
              <a:gd name="connsiteX27407" fmla="*/ 10285754 w 10505529"/>
              <a:gd name="connsiteY27407" fmla="*/ 2847357 h 7458372"/>
              <a:gd name="connsiteX27408" fmla="*/ 10288017 w 10505529"/>
              <a:gd name="connsiteY27408" fmla="*/ 2858806 h 7458372"/>
              <a:gd name="connsiteX27409" fmla="*/ 10285754 w 10505529"/>
              <a:gd name="connsiteY27409" fmla="*/ 2870520 h 7458372"/>
              <a:gd name="connsiteX27410" fmla="*/ 10279631 w 10505529"/>
              <a:gd name="connsiteY27410" fmla="*/ 2879838 h 7458372"/>
              <a:gd name="connsiteX27411" fmla="*/ 10270313 w 10505529"/>
              <a:gd name="connsiteY27411" fmla="*/ 2886095 h 7458372"/>
              <a:gd name="connsiteX27412" fmla="*/ 10258466 w 10505529"/>
              <a:gd name="connsiteY27412" fmla="*/ 2888359 h 7458372"/>
              <a:gd name="connsiteX27413" fmla="*/ 10236633 w 10505529"/>
              <a:gd name="connsiteY27413" fmla="*/ 2879838 h 7458372"/>
              <a:gd name="connsiteX27414" fmla="*/ 10228247 w 10505529"/>
              <a:gd name="connsiteY27414" fmla="*/ 2858673 h 7458372"/>
              <a:gd name="connsiteX27415" fmla="*/ 10236633 w 10505529"/>
              <a:gd name="connsiteY27415" fmla="*/ 2837640 h 7458372"/>
              <a:gd name="connsiteX27416" fmla="*/ 10258466 w 10505529"/>
              <a:gd name="connsiteY27416" fmla="*/ 2828988 h 7458372"/>
              <a:gd name="connsiteX27417" fmla="*/ 10040820 w 10505529"/>
              <a:gd name="connsiteY27417" fmla="*/ 2828988 h 7458372"/>
              <a:gd name="connsiteX27418" fmla="*/ 10052534 w 10505529"/>
              <a:gd name="connsiteY27418" fmla="*/ 2831516 h 7458372"/>
              <a:gd name="connsiteX27419" fmla="*/ 10061852 w 10505529"/>
              <a:gd name="connsiteY27419" fmla="*/ 2837906 h 7458372"/>
              <a:gd name="connsiteX27420" fmla="*/ 10067976 w 10505529"/>
              <a:gd name="connsiteY27420" fmla="*/ 2847357 h 7458372"/>
              <a:gd name="connsiteX27421" fmla="*/ 10070239 w 10505529"/>
              <a:gd name="connsiteY27421" fmla="*/ 2858806 h 7458372"/>
              <a:gd name="connsiteX27422" fmla="*/ 10067976 w 10505529"/>
              <a:gd name="connsiteY27422" fmla="*/ 2870520 h 7458372"/>
              <a:gd name="connsiteX27423" fmla="*/ 10061852 w 10505529"/>
              <a:gd name="connsiteY27423" fmla="*/ 2879838 h 7458372"/>
              <a:gd name="connsiteX27424" fmla="*/ 10052534 w 10505529"/>
              <a:gd name="connsiteY27424" fmla="*/ 2886095 h 7458372"/>
              <a:gd name="connsiteX27425" fmla="*/ 10040820 w 10505529"/>
              <a:gd name="connsiteY27425" fmla="*/ 2888359 h 7458372"/>
              <a:gd name="connsiteX27426" fmla="*/ 10018988 w 10505529"/>
              <a:gd name="connsiteY27426" fmla="*/ 2879838 h 7458372"/>
              <a:gd name="connsiteX27427" fmla="*/ 10010602 w 10505529"/>
              <a:gd name="connsiteY27427" fmla="*/ 2858673 h 7458372"/>
              <a:gd name="connsiteX27428" fmla="*/ 10018988 w 10505529"/>
              <a:gd name="connsiteY27428" fmla="*/ 2837640 h 7458372"/>
              <a:gd name="connsiteX27429" fmla="*/ 10040820 w 10505529"/>
              <a:gd name="connsiteY27429" fmla="*/ 2828988 h 7458372"/>
              <a:gd name="connsiteX27430" fmla="*/ 9823176 w 10505529"/>
              <a:gd name="connsiteY27430" fmla="*/ 2828988 h 7458372"/>
              <a:gd name="connsiteX27431" fmla="*/ 9834890 w 10505529"/>
              <a:gd name="connsiteY27431" fmla="*/ 2831516 h 7458372"/>
              <a:gd name="connsiteX27432" fmla="*/ 9844208 w 10505529"/>
              <a:gd name="connsiteY27432" fmla="*/ 2837906 h 7458372"/>
              <a:gd name="connsiteX27433" fmla="*/ 9850331 w 10505529"/>
              <a:gd name="connsiteY27433" fmla="*/ 2847357 h 7458372"/>
              <a:gd name="connsiteX27434" fmla="*/ 9852595 w 10505529"/>
              <a:gd name="connsiteY27434" fmla="*/ 2858806 h 7458372"/>
              <a:gd name="connsiteX27435" fmla="*/ 9850331 w 10505529"/>
              <a:gd name="connsiteY27435" fmla="*/ 2870520 h 7458372"/>
              <a:gd name="connsiteX27436" fmla="*/ 9844208 w 10505529"/>
              <a:gd name="connsiteY27436" fmla="*/ 2879838 h 7458372"/>
              <a:gd name="connsiteX27437" fmla="*/ 9834890 w 10505529"/>
              <a:gd name="connsiteY27437" fmla="*/ 2886095 h 7458372"/>
              <a:gd name="connsiteX27438" fmla="*/ 9823176 w 10505529"/>
              <a:gd name="connsiteY27438" fmla="*/ 2888359 h 7458372"/>
              <a:gd name="connsiteX27439" fmla="*/ 9801343 w 10505529"/>
              <a:gd name="connsiteY27439" fmla="*/ 2879838 h 7458372"/>
              <a:gd name="connsiteX27440" fmla="*/ 9792957 w 10505529"/>
              <a:gd name="connsiteY27440" fmla="*/ 2858673 h 7458372"/>
              <a:gd name="connsiteX27441" fmla="*/ 9801343 w 10505529"/>
              <a:gd name="connsiteY27441" fmla="*/ 2837640 h 7458372"/>
              <a:gd name="connsiteX27442" fmla="*/ 9823176 w 10505529"/>
              <a:gd name="connsiteY27442" fmla="*/ 2828988 h 7458372"/>
              <a:gd name="connsiteX27443" fmla="*/ 9605531 w 10505529"/>
              <a:gd name="connsiteY27443" fmla="*/ 2828988 h 7458372"/>
              <a:gd name="connsiteX27444" fmla="*/ 9617245 w 10505529"/>
              <a:gd name="connsiteY27444" fmla="*/ 2831516 h 7458372"/>
              <a:gd name="connsiteX27445" fmla="*/ 9626562 w 10505529"/>
              <a:gd name="connsiteY27445" fmla="*/ 2837906 h 7458372"/>
              <a:gd name="connsiteX27446" fmla="*/ 9632686 w 10505529"/>
              <a:gd name="connsiteY27446" fmla="*/ 2847357 h 7458372"/>
              <a:gd name="connsiteX27447" fmla="*/ 9634949 w 10505529"/>
              <a:gd name="connsiteY27447" fmla="*/ 2858806 h 7458372"/>
              <a:gd name="connsiteX27448" fmla="*/ 9632686 w 10505529"/>
              <a:gd name="connsiteY27448" fmla="*/ 2870520 h 7458372"/>
              <a:gd name="connsiteX27449" fmla="*/ 9626562 w 10505529"/>
              <a:gd name="connsiteY27449" fmla="*/ 2879838 h 7458372"/>
              <a:gd name="connsiteX27450" fmla="*/ 9617245 w 10505529"/>
              <a:gd name="connsiteY27450" fmla="*/ 2886095 h 7458372"/>
              <a:gd name="connsiteX27451" fmla="*/ 9605531 w 10505529"/>
              <a:gd name="connsiteY27451" fmla="*/ 2888359 h 7458372"/>
              <a:gd name="connsiteX27452" fmla="*/ 9583698 w 10505529"/>
              <a:gd name="connsiteY27452" fmla="*/ 2879838 h 7458372"/>
              <a:gd name="connsiteX27453" fmla="*/ 9575312 w 10505529"/>
              <a:gd name="connsiteY27453" fmla="*/ 2858673 h 7458372"/>
              <a:gd name="connsiteX27454" fmla="*/ 9583698 w 10505529"/>
              <a:gd name="connsiteY27454" fmla="*/ 2837640 h 7458372"/>
              <a:gd name="connsiteX27455" fmla="*/ 9605531 w 10505529"/>
              <a:gd name="connsiteY27455" fmla="*/ 2828988 h 7458372"/>
              <a:gd name="connsiteX27456" fmla="*/ 9387885 w 10505529"/>
              <a:gd name="connsiteY27456" fmla="*/ 2828988 h 7458372"/>
              <a:gd name="connsiteX27457" fmla="*/ 9399599 w 10505529"/>
              <a:gd name="connsiteY27457" fmla="*/ 2831516 h 7458372"/>
              <a:gd name="connsiteX27458" fmla="*/ 9408917 w 10505529"/>
              <a:gd name="connsiteY27458" fmla="*/ 2837906 h 7458372"/>
              <a:gd name="connsiteX27459" fmla="*/ 9415041 w 10505529"/>
              <a:gd name="connsiteY27459" fmla="*/ 2847357 h 7458372"/>
              <a:gd name="connsiteX27460" fmla="*/ 9417304 w 10505529"/>
              <a:gd name="connsiteY27460" fmla="*/ 2858806 h 7458372"/>
              <a:gd name="connsiteX27461" fmla="*/ 9415041 w 10505529"/>
              <a:gd name="connsiteY27461" fmla="*/ 2870520 h 7458372"/>
              <a:gd name="connsiteX27462" fmla="*/ 9408917 w 10505529"/>
              <a:gd name="connsiteY27462" fmla="*/ 2879838 h 7458372"/>
              <a:gd name="connsiteX27463" fmla="*/ 9399599 w 10505529"/>
              <a:gd name="connsiteY27463" fmla="*/ 2886095 h 7458372"/>
              <a:gd name="connsiteX27464" fmla="*/ 9387885 w 10505529"/>
              <a:gd name="connsiteY27464" fmla="*/ 2888359 h 7458372"/>
              <a:gd name="connsiteX27465" fmla="*/ 9366053 w 10505529"/>
              <a:gd name="connsiteY27465" fmla="*/ 2879838 h 7458372"/>
              <a:gd name="connsiteX27466" fmla="*/ 9357667 w 10505529"/>
              <a:gd name="connsiteY27466" fmla="*/ 2858673 h 7458372"/>
              <a:gd name="connsiteX27467" fmla="*/ 9366053 w 10505529"/>
              <a:gd name="connsiteY27467" fmla="*/ 2837640 h 7458372"/>
              <a:gd name="connsiteX27468" fmla="*/ 9387885 w 10505529"/>
              <a:gd name="connsiteY27468" fmla="*/ 2828988 h 7458372"/>
              <a:gd name="connsiteX27469" fmla="*/ 9170374 w 10505529"/>
              <a:gd name="connsiteY27469" fmla="*/ 2828988 h 7458372"/>
              <a:gd name="connsiteX27470" fmla="*/ 9182088 w 10505529"/>
              <a:gd name="connsiteY27470" fmla="*/ 2831516 h 7458372"/>
              <a:gd name="connsiteX27471" fmla="*/ 9191405 w 10505529"/>
              <a:gd name="connsiteY27471" fmla="*/ 2837906 h 7458372"/>
              <a:gd name="connsiteX27472" fmla="*/ 9197529 w 10505529"/>
              <a:gd name="connsiteY27472" fmla="*/ 2847357 h 7458372"/>
              <a:gd name="connsiteX27473" fmla="*/ 9199792 w 10505529"/>
              <a:gd name="connsiteY27473" fmla="*/ 2858806 h 7458372"/>
              <a:gd name="connsiteX27474" fmla="*/ 9197529 w 10505529"/>
              <a:gd name="connsiteY27474" fmla="*/ 2870520 h 7458372"/>
              <a:gd name="connsiteX27475" fmla="*/ 9191405 w 10505529"/>
              <a:gd name="connsiteY27475" fmla="*/ 2879838 h 7458372"/>
              <a:gd name="connsiteX27476" fmla="*/ 9182088 w 10505529"/>
              <a:gd name="connsiteY27476" fmla="*/ 2886095 h 7458372"/>
              <a:gd name="connsiteX27477" fmla="*/ 9170374 w 10505529"/>
              <a:gd name="connsiteY27477" fmla="*/ 2888359 h 7458372"/>
              <a:gd name="connsiteX27478" fmla="*/ 9148541 w 10505529"/>
              <a:gd name="connsiteY27478" fmla="*/ 2879838 h 7458372"/>
              <a:gd name="connsiteX27479" fmla="*/ 9140155 w 10505529"/>
              <a:gd name="connsiteY27479" fmla="*/ 2858673 h 7458372"/>
              <a:gd name="connsiteX27480" fmla="*/ 9148541 w 10505529"/>
              <a:gd name="connsiteY27480" fmla="*/ 2837640 h 7458372"/>
              <a:gd name="connsiteX27481" fmla="*/ 9170374 w 10505529"/>
              <a:gd name="connsiteY27481" fmla="*/ 2828988 h 7458372"/>
              <a:gd name="connsiteX27482" fmla="*/ 8952728 w 10505529"/>
              <a:gd name="connsiteY27482" fmla="*/ 2828988 h 7458372"/>
              <a:gd name="connsiteX27483" fmla="*/ 8964442 w 10505529"/>
              <a:gd name="connsiteY27483" fmla="*/ 2831516 h 7458372"/>
              <a:gd name="connsiteX27484" fmla="*/ 8973760 w 10505529"/>
              <a:gd name="connsiteY27484" fmla="*/ 2837906 h 7458372"/>
              <a:gd name="connsiteX27485" fmla="*/ 8979884 w 10505529"/>
              <a:gd name="connsiteY27485" fmla="*/ 2847357 h 7458372"/>
              <a:gd name="connsiteX27486" fmla="*/ 8982147 w 10505529"/>
              <a:gd name="connsiteY27486" fmla="*/ 2858806 h 7458372"/>
              <a:gd name="connsiteX27487" fmla="*/ 8979884 w 10505529"/>
              <a:gd name="connsiteY27487" fmla="*/ 2870520 h 7458372"/>
              <a:gd name="connsiteX27488" fmla="*/ 8973760 w 10505529"/>
              <a:gd name="connsiteY27488" fmla="*/ 2879838 h 7458372"/>
              <a:gd name="connsiteX27489" fmla="*/ 8964442 w 10505529"/>
              <a:gd name="connsiteY27489" fmla="*/ 2886095 h 7458372"/>
              <a:gd name="connsiteX27490" fmla="*/ 8952728 w 10505529"/>
              <a:gd name="connsiteY27490" fmla="*/ 2888359 h 7458372"/>
              <a:gd name="connsiteX27491" fmla="*/ 8930896 w 10505529"/>
              <a:gd name="connsiteY27491" fmla="*/ 2879838 h 7458372"/>
              <a:gd name="connsiteX27492" fmla="*/ 8922510 w 10505529"/>
              <a:gd name="connsiteY27492" fmla="*/ 2858673 h 7458372"/>
              <a:gd name="connsiteX27493" fmla="*/ 8930896 w 10505529"/>
              <a:gd name="connsiteY27493" fmla="*/ 2837640 h 7458372"/>
              <a:gd name="connsiteX27494" fmla="*/ 8952728 w 10505529"/>
              <a:gd name="connsiteY27494" fmla="*/ 2828988 h 7458372"/>
              <a:gd name="connsiteX27495" fmla="*/ 8735083 w 10505529"/>
              <a:gd name="connsiteY27495" fmla="*/ 2828988 h 7458372"/>
              <a:gd name="connsiteX27496" fmla="*/ 8746797 w 10505529"/>
              <a:gd name="connsiteY27496" fmla="*/ 2831516 h 7458372"/>
              <a:gd name="connsiteX27497" fmla="*/ 8756115 w 10505529"/>
              <a:gd name="connsiteY27497" fmla="*/ 2837906 h 7458372"/>
              <a:gd name="connsiteX27498" fmla="*/ 8762238 w 10505529"/>
              <a:gd name="connsiteY27498" fmla="*/ 2847357 h 7458372"/>
              <a:gd name="connsiteX27499" fmla="*/ 8764502 w 10505529"/>
              <a:gd name="connsiteY27499" fmla="*/ 2858806 h 7458372"/>
              <a:gd name="connsiteX27500" fmla="*/ 8762238 w 10505529"/>
              <a:gd name="connsiteY27500" fmla="*/ 2870520 h 7458372"/>
              <a:gd name="connsiteX27501" fmla="*/ 8756115 w 10505529"/>
              <a:gd name="connsiteY27501" fmla="*/ 2879838 h 7458372"/>
              <a:gd name="connsiteX27502" fmla="*/ 8746797 w 10505529"/>
              <a:gd name="connsiteY27502" fmla="*/ 2886095 h 7458372"/>
              <a:gd name="connsiteX27503" fmla="*/ 8735083 w 10505529"/>
              <a:gd name="connsiteY27503" fmla="*/ 2888359 h 7458372"/>
              <a:gd name="connsiteX27504" fmla="*/ 8713250 w 10505529"/>
              <a:gd name="connsiteY27504" fmla="*/ 2879838 h 7458372"/>
              <a:gd name="connsiteX27505" fmla="*/ 8704864 w 10505529"/>
              <a:gd name="connsiteY27505" fmla="*/ 2858673 h 7458372"/>
              <a:gd name="connsiteX27506" fmla="*/ 8713250 w 10505529"/>
              <a:gd name="connsiteY27506" fmla="*/ 2837640 h 7458372"/>
              <a:gd name="connsiteX27507" fmla="*/ 8735083 w 10505529"/>
              <a:gd name="connsiteY27507" fmla="*/ 2828988 h 7458372"/>
              <a:gd name="connsiteX27508" fmla="*/ 8517438 w 10505529"/>
              <a:gd name="connsiteY27508" fmla="*/ 2828988 h 7458372"/>
              <a:gd name="connsiteX27509" fmla="*/ 8529152 w 10505529"/>
              <a:gd name="connsiteY27509" fmla="*/ 2831516 h 7458372"/>
              <a:gd name="connsiteX27510" fmla="*/ 8538470 w 10505529"/>
              <a:gd name="connsiteY27510" fmla="*/ 2837906 h 7458372"/>
              <a:gd name="connsiteX27511" fmla="*/ 8544594 w 10505529"/>
              <a:gd name="connsiteY27511" fmla="*/ 2847357 h 7458372"/>
              <a:gd name="connsiteX27512" fmla="*/ 8546857 w 10505529"/>
              <a:gd name="connsiteY27512" fmla="*/ 2858806 h 7458372"/>
              <a:gd name="connsiteX27513" fmla="*/ 8544594 w 10505529"/>
              <a:gd name="connsiteY27513" fmla="*/ 2870520 h 7458372"/>
              <a:gd name="connsiteX27514" fmla="*/ 8538470 w 10505529"/>
              <a:gd name="connsiteY27514" fmla="*/ 2879838 h 7458372"/>
              <a:gd name="connsiteX27515" fmla="*/ 8529152 w 10505529"/>
              <a:gd name="connsiteY27515" fmla="*/ 2886095 h 7458372"/>
              <a:gd name="connsiteX27516" fmla="*/ 8517438 w 10505529"/>
              <a:gd name="connsiteY27516" fmla="*/ 2888359 h 7458372"/>
              <a:gd name="connsiteX27517" fmla="*/ 8495606 w 10505529"/>
              <a:gd name="connsiteY27517" fmla="*/ 2879838 h 7458372"/>
              <a:gd name="connsiteX27518" fmla="*/ 8487220 w 10505529"/>
              <a:gd name="connsiteY27518" fmla="*/ 2858673 h 7458372"/>
              <a:gd name="connsiteX27519" fmla="*/ 8495606 w 10505529"/>
              <a:gd name="connsiteY27519" fmla="*/ 2837640 h 7458372"/>
              <a:gd name="connsiteX27520" fmla="*/ 8517438 w 10505529"/>
              <a:gd name="connsiteY27520" fmla="*/ 2828988 h 7458372"/>
              <a:gd name="connsiteX27521" fmla="*/ 8299793 w 10505529"/>
              <a:gd name="connsiteY27521" fmla="*/ 2828988 h 7458372"/>
              <a:gd name="connsiteX27522" fmla="*/ 8311507 w 10505529"/>
              <a:gd name="connsiteY27522" fmla="*/ 2831516 h 7458372"/>
              <a:gd name="connsiteX27523" fmla="*/ 8320825 w 10505529"/>
              <a:gd name="connsiteY27523" fmla="*/ 2837906 h 7458372"/>
              <a:gd name="connsiteX27524" fmla="*/ 8326948 w 10505529"/>
              <a:gd name="connsiteY27524" fmla="*/ 2847357 h 7458372"/>
              <a:gd name="connsiteX27525" fmla="*/ 8329212 w 10505529"/>
              <a:gd name="connsiteY27525" fmla="*/ 2858806 h 7458372"/>
              <a:gd name="connsiteX27526" fmla="*/ 8326948 w 10505529"/>
              <a:gd name="connsiteY27526" fmla="*/ 2870520 h 7458372"/>
              <a:gd name="connsiteX27527" fmla="*/ 8320825 w 10505529"/>
              <a:gd name="connsiteY27527" fmla="*/ 2879838 h 7458372"/>
              <a:gd name="connsiteX27528" fmla="*/ 8311507 w 10505529"/>
              <a:gd name="connsiteY27528" fmla="*/ 2886095 h 7458372"/>
              <a:gd name="connsiteX27529" fmla="*/ 8299793 w 10505529"/>
              <a:gd name="connsiteY27529" fmla="*/ 2888359 h 7458372"/>
              <a:gd name="connsiteX27530" fmla="*/ 8277960 w 10505529"/>
              <a:gd name="connsiteY27530" fmla="*/ 2879838 h 7458372"/>
              <a:gd name="connsiteX27531" fmla="*/ 8269574 w 10505529"/>
              <a:gd name="connsiteY27531" fmla="*/ 2858673 h 7458372"/>
              <a:gd name="connsiteX27532" fmla="*/ 8277960 w 10505529"/>
              <a:gd name="connsiteY27532" fmla="*/ 2837640 h 7458372"/>
              <a:gd name="connsiteX27533" fmla="*/ 8299793 w 10505529"/>
              <a:gd name="connsiteY27533" fmla="*/ 2828988 h 7458372"/>
              <a:gd name="connsiteX27534" fmla="*/ 8082281 w 10505529"/>
              <a:gd name="connsiteY27534" fmla="*/ 2828988 h 7458372"/>
              <a:gd name="connsiteX27535" fmla="*/ 8094127 w 10505529"/>
              <a:gd name="connsiteY27535" fmla="*/ 2831516 h 7458372"/>
              <a:gd name="connsiteX27536" fmla="*/ 8103446 w 10505529"/>
              <a:gd name="connsiteY27536" fmla="*/ 2837906 h 7458372"/>
              <a:gd name="connsiteX27537" fmla="*/ 8109569 w 10505529"/>
              <a:gd name="connsiteY27537" fmla="*/ 2847357 h 7458372"/>
              <a:gd name="connsiteX27538" fmla="*/ 8111832 w 10505529"/>
              <a:gd name="connsiteY27538" fmla="*/ 2858806 h 7458372"/>
              <a:gd name="connsiteX27539" fmla="*/ 8109569 w 10505529"/>
              <a:gd name="connsiteY27539" fmla="*/ 2870520 h 7458372"/>
              <a:gd name="connsiteX27540" fmla="*/ 8103446 w 10505529"/>
              <a:gd name="connsiteY27540" fmla="*/ 2879838 h 7458372"/>
              <a:gd name="connsiteX27541" fmla="*/ 8094127 w 10505529"/>
              <a:gd name="connsiteY27541" fmla="*/ 2886095 h 7458372"/>
              <a:gd name="connsiteX27542" fmla="*/ 8082281 w 10505529"/>
              <a:gd name="connsiteY27542" fmla="*/ 2888359 h 7458372"/>
              <a:gd name="connsiteX27543" fmla="*/ 8060448 w 10505529"/>
              <a:gd name="connsiteY27543" fmla="*/ 2879838 h 7458372"/>
              <a:gd name="connsiteX27544" fmla="*/ 8052062 w 10505529"/>
              <a:gd name="connsiteY27544" fmla="*/ 2858673 h 7458372"/>
              <a:gd name="connsiteX27545" fmla="*/ 8060448 w 10505529"/>
              <a:gd name="connsiteY27545" fmla="*/ 2837640 h 7458372"/>
              <a:gd name="connsiteX27546" fmla="*/ 8082281 w 10505529"/>
              <a:gd name="connsiteY27546" fmla="*/ 2828988 h 7458372"/>
              <a:gd name="connsiteX27547" fmla="*/ 7864636 w 10505529"/>
              <a:gd name="connsiteY27547" fmla="*/ 2828988 h 7458372"/>
              <a:gd name="connsiteX27548" fmla="*/ 7876483 w 10505529"/>
              <a:gd name="connsiteY27548" fmla="*/ 2831516 h 7458372"/>
              <a:gd name="connsiteX27549" fmla="*/ 7885802 w 10505529"/>
              <a:gd name="connsiteY27549" fmla="*/ 2837906 h 7458372"/>
              <a:gd name="connsiteX27550" fmla="*/ 7891924 w 10505529"/>
              <a:gd name="connsiteY27550" fmla="*/ 2847357 h 7458372"/>
              <a:gd name="connsiteX27551" fmla="*/ 7894188 w 10505529"/>
              <a:gd name="connsiteY27551" fmla="*/ 2858806 h 7458372"/>
              <a:gd name="connsiteX27552" fmla="*/ 7891924 w 10505529"/>
              <a:gd name="connsiteY27552" fmla="*/ 2870520 h 7458372"/>
              <a:gd name="connsiteX27553" fmla="*/ 7885802 w 10505529"/>
              <a:gd name="connsiteY27553" fmla="*/ 2879838 h 7458372"/>
              <a:gd name="connsiteX27554" fmla="*/ 7876483 w 10505529"/>
              <a:gd name="connsiteY27554" fmla="*/ 2886095 h 7458372"/>
              <a:gd name="connsiteX27555" fmla="*/ 7864636 w 10505529"/>
              <a:gd name="connsiteY27555" fmla="*/ 2888359 h 7458372"/>
              <a:gd name="connsiteX27556" fmla="*/ 7842803 w 10505529"/>
              <a:gd name="connsiteY27556" fmla="*/ 2879838 h 7458372"/>
              <a:gd name="connsiteX27557" fmla="*/ 7834417 w 10505529"/>
              <a:gd name="connsiteY27557" fmla="*/ 2858673 h 7458372"/>
              <a:gd name="connsiteX27558" fmla="*/ 7842803 w 10505529"/>
              <a:gd name="connsiteY27558" fmla="*/ 2837640 h 7458372"/>
              <a:gd name="connsiteX27559" fmla="*/ 7864636 w 10505529"/>
              <a:gd name="connsiteY27559" fmla="*/ 2828988 h 7458372"/>
              <a:gd name="connsiteX27560" fmla="*/ 7646991 w 10505529"/>
              <a:gd name="connsiteY27560" fmla="*/ 2828988 h 7458372"/>
              <a:gd name="connsiteX27561" fmla="*/ 7658705 w 10505529"/>
              <a:gd name="connsiteY27561" fmla="*/ 2831516 h 7458372"/>
              <a:gd name="connsiteX27562" fmla="*/ 7668022 w 10505529"/>
              <a:gd name="connsiteY27562" fmla="*/ 2837906 h 7458372"/>
              <a:gd name="connsiteX27563" fmla="*/ 7674146 w 10505529"/>
              <a:gd name="connsiteY27563" fmla="*/ 2847357 h 7458372"/>
              <a:gd name="connsiteX27564" fmla="*/ 7676409 w 10505529"/>
              <a:gd name="connsiteY27564" fmla="*/ 2858806 h 7458372"/>
              <a:gd name="connsiteX27565" fmla="*/ 7674146 w 10505529"/>
              <a:gd name="connsiteY27565" fmla="*/ 2870520 h 7458372"/>
              <a:gd name="connsiteX27566" fmla="*/ 7668022 w 10505529"/>
              <a:gd name="connsiteY27566" fmla="*/ 2879838 h 7458372"/>
              <a:gd name="connsiteX27567" fmla="*/ 7658705 w 10505529"/>
              <a:gd name="connsiteY27567" fmla="*/ 2886095 h 7458372"/>
              <a:gd name="connsiteX27568" fmla="*/ 7646991 w 10505529"/>
              <a:gd name="connsiteY27568" fmla="*/ 2888359 h 7458372"/>
              <a:gd name="connsiteX27569" fmla="*/ 7625158 w 10505529"/>
              <a:gd name="connsiteY27569" fmla="*/ 2879838 h 7458372"/>
              <a:gd name="connsiteX27570" fmla="*/ 7616772 w 10505529"/>
              <a:gd name="connsiteY27570" fmla="*/ 2858673 h 7458372"/>
              <a:gd name="connsiteX27571" fmla="*/ 7625158 w 10505529"/>
              <a:gd name="connsiteY27571" fmla="*/ 2837640 h 7458372"/>
              <a:gd name="connsiteX27572" fmla="*/ 7646991 w 10505529"/>
              <a:gd name="connsiteY27572" fmla="*/ 2828988 h 7458372"/>
              <a:gd name="connsiteX27573" fmla="*/ 7429345 w 10505529"/>
              <a:gd name="connsiteY27573" fmla="*/ 2828988 h 7458372"/>
              <a:gd name="connsiteX27574" fmla="*/ 7441059 w 10505529"/>
              <a:gd name="connsiteY27574" fmla="*/ 2831516 h 7458372"/>
              <a:gd name="connsiteX27575" fmla="*/ 7450377 w 10505529"/>
              <a:gd name="connsiteY27575" fmla="*/ 2837906 h 7458372"/>
              <a:gd name="connsiteX27576" fmla="*/ 7456501 w 10505529"/>
              <a:gd name="connsiteY27576" fmla="*/ 2847357 h 7458372"/>
              <a:gd name="connsiteX27577" fmla="*/ 7458764 w 10505529"/>
              <a:gd name="connsiteY27577" fmla="*/ 2858806 h 7458372"/>
              <a:gd name="connsiteX27578" fmla="*/ 7456501 w 10505529"/>
              <a:gd name="connsiteY27578" fmla="*/ 2870520 h 7458372"/>
              <a:gd name="connsiteX27579" fmla="*/ 7450377 w 10505529"/>
              <a:gd name="connsiteY27579" fmla="*/ 2879838 h 7458372"/>
              <a:gd name="connsiteX27580" fmla="*/ 7441059 w 10505529"/>
              <a:gd name="connsiteY27580" fmla="*/ 2886095 h 7458372"/>
              <a:gd name="connsiteX27581" fmla="*/ 7429345 w 10505529"/>
              <a:gd name="connsiteY27581" fmla="*/ 2888359 h 7458372"/>
              <a:gd name="connsiteX27582" fmla="*/ 7407513 w 10505529"/>
              <a:gd name="connsiteY27582" fmla="*/ 2879838 h 7458372"/>
              <a:gd name="connsiteX27583" fmla="*/ 7399127 w 10505529"/>
              <a:gd name="connsiteY27583" fmla="*/ 2858673 h 7458372"/>
              <a:gd name="connsiteX27584" fmla="*/ 7407513 w 10505529"/>
              <a:gd name="connsiteY27584" fmla="*/ 2837640 h 7458372"/>
              <a:gd name="connsiteX27585" fmla="*/ 7429345 w 10505529"/>
              <a:gd name="connsiteY27585" fmla="*/ 2828988 h 7458372"/>
              <a:gd name="connsiteX27586" fmla="*/ 7211701 w 10505529"/>
              <a:gd name="connsiteY27586" fmla="*/ 2828988 h 7458372"/>
              <a:gd name="connsiteX27587" fmla="*/ 7223415 w 10505529"/>
              <a:gd name="connsiteY27587" fmla="*/ 2831516 h 7458372"/>
              <a:gd name="connsiteX27588" fmla="*/ 7232733 w 10505529"/>
              <a:gd name="connsiteY27588" fmla="*/ 2837906 h 7458372"/>
              <a:gd name="connsiteX27589" fmla="*/ 7238856 w 10505529"/>
              <a:gd name="connsiteY27589" fmla="*/ 2847357 h 7458372"/>
              <a:gd name="connsiteX27590" fmla="*/ 7241120 w 10505529"/>
              <a:gd name="connsiteY27590" fmla="*/ 2858806 h 7458372"/>
              <a:gd name="connsiteX27591" fmla="*/ 7238856 w 10505529"/>
              <a:gd name="connsiteY27591" fmla="*/ 2870520 h 7458372"/>
              <a:gd name="connsiteX27592" fmla="*/ 7232733 w 10505529"/>
              <a:gd name="connsiteY27592" fmla="*/ 2879838 h 7458372"/>
              <a:gd name="connsiteX27593" fmla="*/ 7223415 w 10505529"/>
              <a:gd name="connsiteY27593" fmla="*/ 2886095 h 7458372"/>
              <a:gd name="connsiteX27594" fmla="*/ 7211701 w 10505529"/>
              <a:gd name="connsiteY27594" fmla="*/ 2888359 h 7458372"/>
              <a:gd name="connsiteX27595" fmla="*/ 7189868 w 10505529"/>
              <a:gd name="connsiteY27595" fmla="*/ 2879838 h 7458372"/>
              <a:gd name="connsiteX27596" fmla="*/ 7181482 w 10505529"/>
              <a:gd name="connsiteY27596" fmla="*/ 2858673 h 7458372"/>
              <a:gd name="connsiteX27597" fmla="*/ 7189868 w 10505529"/>
              <a:gd name="connsiteY27597" fmla="*/ 2837640 h 7458372"/>
              <a:gd name="connsiteX27598" fmla="*/ 7211701 w 10505529"/>
              <a:gd name="connsiteY27598" fmla="*/ 2828988 h 7458372"/>
              <a:gd name="connsiteX27599" fmla="*/ 6994056 w 10505529"/>
              <a:gd name="connsiteY27599" fmla="*/ 2828988 h 7458372"/>
              <a:gd name="connsiteX27600" fmla="*/ 7005769 w 10505529"/>
              <a:gd name="connsiteY27600" fmla="*/ 2831516 h 7458372"/>
              <a:gd name="connsiteX27601" fmla="*/ 7015087 w 10505529"/>
              <a:gd name="connsiteY27601" fmla="*/ 2837906 h 7458372"/>
              <a:gd name="connsiteX27602" fmla="*/ 7021211 w 10505529"/>
              <a:gd name="connsiteY27602" fmla="*/ 2847357 h 7458372"/>
              <a:gd name="connsiteX27603" fmla="*/ 7023474 w 10505529"/>
              <a:gd name="connsiteY27603" fmla="*/ 2858806 h 7458372"/>
              <a:gd name="connsiteX27604" fmla="*/ 7021211 w 10505529"/>
              <a:gd name="connsiteY27604" fmla="*/ 2870520 h 7458372"/>
              <a:gd name="connsiteX27605" fmla="*/ 7015087 w 10505529"/>
              <a:gd name="connsiteY27605" fmla="*/ 2879838 h 7458372"/>
              <a:gd name="connsiteX27606" fmla="*/ 7005769 w 10505529"/>
              <a:gd name="connsiteY27606" fmla="*/ 2886095 h 7458372"/>
              <a:gd name="connsiteX27607" fmla="*/ 6994056 w 10505529"/>
              <a:gd name="connsiteY27607" fmla="*/ 2888359 h 7458372"/>
              <a:gd name="connsiteX27608" fmla="*/ 6972223 w 10505529"/>
              <a:gd name="connsiteY27608" fmla="*/ 2879838 h 7458372"/>
              <a:gd name="connsiteX27609" fmla="*/ 6963837 w 10505529"/>
              <a:gd name="connsiteY27609" fmla="*/ 2858673 h 7458372"/>
              <a:gd name="connsiteX27610" fmla="*/ 6972223 w 10505529"/>
              <a:gd name="connsiteY27610" fmla="*/ 2837640 h 7458372"/>
              <a:gd name="connsiteX27611" fmla="*/ 6994056 w 10505529"/>
              <a:gd name="connsiteY27611" fmla="*/ 2828988 h 7458372"/>
              <a:gd name="connsiteX27612" fmla="*/ 6776544 w 10505529"/>
              <a:gd name="connsiteY27612" fmla="*/ 2828988 h 7458372"/>
              <a:gd name="connsiteX27613" fmla="*/ 6788258 w 10505529"/>
              <a:gd name="connsiteY27613" fmla="*/ 2831516 h 7458372"/>
              <a:gd name="connsiteX27614" fmla="*/ 6797576 w 10505529"/>
              <a:gd name="connsiteY27614" fmla="*/ 2837906 h 7458372"/>
              <a:gd name="connsiteX27615" fmla="*/ 6803699 w 10505529"/>
              <a:gd name="connsiteY27615" fmla="*/ 2847357 h 7458372"/>
              <a:gd name="connsiteX27616" fmla="*/ 6805963 w 10505529"/>
              <a:gd name="connsiteY27616" fmla="*/ 2858806 h 7458372"/>
              <a:gd name="connsiteX27617" fmla="*/ 6803699 w 10505529"/>
              <a:gd name="connsiteY27617" fmla="*/ 2870520 h 7458372"/>
              <a:gd name="connsiteX27618" fmla="*/ 6797576 w 10505529"/>
              <a:gd name="connsiteY27618" fmla="*/ 2879838 h 7458372"/>
              <a:gd name="connsiteX27619" fmla="*/ 6788258 w 10505529"/>
              <a:gd name="connsiteY27619" fmla="*/ 2886095 h 7458372"/>
              <a:gd name="connsiteX27620" fmla="*/ 6776544 w 10505529"/>
              <a:gd name="connsiteY27620" fmla="*/ 2888359 h 7458372"/>
              <a:gd name="connsiteX27621" fmla="*/ 6754711 w 10505529"/>
              <a:gd name="connsiteY27621" fmla="*/ 2879838 h 7458372"/>
              <a:gd name="connsiteX27622" fmla="*/ 6746325 w 10505529"/>
              <a:gd name="connsiteY27622" fmla="*/ 2858673 h 7458372"/>
              <a:gd name="connsiteX27623" fmla="*/ 6754711 w 10505529"/>
              <a:gd name="connsiteY27623" fmla="*/ 2837640 h 7458372"/>
              <a:gd name="connsiteX27624" fmla="*/ 6776544 w 10505529"/>
              <a:gd name="connsiteY27624" fmla="*/ 2828988 h 7458372"/>
              <a:gd name="connsiteX27625" fmla="*/ 6558899 w 10505529"/>
              <a:gd name="connsiteY27625" fmla="*/ 2828988 h 7458372"/>
              <a:gd name="connsiteX27626" fmla="*/ 6570612 w 10505529"/>
              <a:gd name="connsiteY27626" fmla="*/ 2831516 h 7458372"/>
              <a:gd name="connsiteX27627" fmla="*/ 6579930 w 10505529"/>
              <a:gd name="connsiteY27627" fmla="*/ 2837906 h 7458372"/>
              <a:gd name="connsiteX27628" fmla="*/ 6586054 w 10505529"/>
              <a:gd name="connsiteY27628" fmla="*/ 2847357 h 7458372"/>
              <a:gd name="connsiteX27629" fmla="*/ 6588317 w 10505529"/>
              <a:gd name="connsiteY27629" fmla="*/ 2858806 h 7458372"/>
              <a:gd name="connsiteX27630" fmla="*/ 6586054 w 10505529"/>
              <a:gd name="connsiteY27630" fmla="*/ 2870520 h 7458372"/>
              <a:gd name="connsiteX27631" fmla="*/ 6579930 w 10505529"/>
              <a:gd name="connsiteY27631" fmla="*/ 2879838 h 7458372"/>
              <a:gd name="connsiteX27632" fmla="*/ 6570612 w 10505529"/>
              <a:gd name="connsiteY27632" fmla="*/ 2886095 h 7458372"/>
              <a:gd name="connsiteX27633" fmla="*/ 6558899 w 10505529"/>
              <a:gd name="connsiteY27633" fmla="*/ 2888359 h 7458372"/>
              <a:gd name="connsiteX27634" fmla="*/ 6537066 w 10505529"/>
              <a:gd name="connsiteY27634" fmla="*/ 2879838 h 7458372"/>
              <a:gd name="connsiteX27635" fmla="*/ 6528680 w 10505529"/>
              <a:gd name="connsiteY27635" fmla="*/ 2858673 h 7458372"/>
              <a:gd name="connsiteX27636" fmla="*/ 6537066 w 10505529"/>
              <a:gd name="connsiteY27636" fmla="*/ 2837640 h 7458372"/>
              <a:gd name="connsiteX27637" fmla="*/ 6558899 w 10505529"/>
              <a:gd name="connsiteY27637" fmla="*/ 2828988 h 7458372"/>
              <a:gd name="connsiteX27638" fmla="*/ 6341253 w 10505529"/>
              <a:gd name="connsiteY27638" fmla="*/ 2828988 h 7458372"/>
              <a:gd name="connsiteX27639" fmla="*/ 6352968 w 10505529"/>
              <a:gd name="connsiteY27639" fmla="*/ 2831516 h 7458372"/>
              <a:gd name="connsiteX27640" fmla="*/ 6362286 w 10505529"/>
              <a:gd name="connsiteY27640" fmla="*/ 2837906 h 7458372"/>
              <a:gd name="connsiteX27641" fmla="*/ 6368409 w 10505529"/>
              <a:gd name="connsiteY27641" fmla="*/ 2847357 h 7458372"/>
              <a:gd name="connsiteX27642" fmla="*/ 6370672 w 10505529"/>
              <a:gd name="connsiteY27642" fmla="*/ 2858806 h 7458372"/>
              <a:gd name="connsiteX27643" fmla="*/ 6368409 w 10505529"/>
              <a:gd name="connsiteY27643" fmla="*/ 2870520 h 7458372"/>
              <a:gd name="connsiteX27644" fmla="*/ 6362286 w 10505529"/>
              <a:gd name="connsiteY27644" fmla="*/ 2879838 h 7458372"/>
              <a:gd name="connsiteX27645" fmla="*/ 6352968 w 10505529"/>
              <a:gd name="connsiteY27645" fmla="*/ 2886095 h 7458372"/>
              <a:gd name="connsiteX27646" fmla="*/ 6341253 w 10505529"/>
              <a:gd name="connsiteY27646" fmla="*/ 2888359 h 7458372"/>
              <a:gd name="connsiteX27647" fmla="*/ 6319421 w 10505529"/>
              <a:gd name="connsiteY27647" fmla="*/ 2879838 h 7458372"/>
              <a:gd name="connsiteX27648" fmla="*/ 6311035 w 10505529"/>
              <a:gd name="connsiteY27648" fmla="*/ 2858673 h 7458372"/>
              <a:gd name="connsiteX27649" fmla="*/ 6319421 w 10505529"/>
              <a:gd name="connsiteY27649" fmla="*/ 2837640 h 7458372"/>
              <a:gd name="connsiteX27650" fmla="*/ 6341253 w 10505529"/>
              <a:gd name="connsiteY27650" fmla="*/ 2828988 h 7458372"/>
              <a:gd name="connsiteX27651" fmla="*/ 6123608 w 10505529"/>
              <a:gd name="connsiteY27651" fmla="*/ 2828988 h 7458372"/>
              <a:gd name="connsiteX27652" fmla="*/ 6135322 w 10505529"/>
              <a:gd name="connsiteY27652" fmla="*/ 2831516 h 7458372"/>
              <a:gd name="connsiteX27653" fmla="*/ 6144640 w 10505529"/>
              <a:gd name="connsiteY27653" fmla="*/ 2837906 h 7458372"/>
              <a:gd name="connsiteX27654" fmla="*/ 6150763 w 10505529"/>
              <a:gd name="connsiteY27654" fmla="*/ 2847357 h 7458372"/>
              <a:gd name="connsiteX27655" fmla="*/ 6153026 w 10505529"/>
              <a:gd name="connsiteY27655" fmla="*/ 2858806 h 7458372"/>
              <a:gd name="connsiteX27656" fmla="*/ 6150763 w 10505529"/>
              <a:gd name="connsiteY27656" fmla="*/ 2870520 h 7458372"/>
              <a:gd name="connsiteX27657" fmla="*/ 6144640 w 10505529"/>
              <a:gd name="connsiteY27657" fmla="*/ 2879838 h 7458372"/>
              <a:gd name="connsiteX27658" fmla="*/ 6135322 w 10505529"/>
              <a:gd name="connsiteY27658" fmla="*/ 2886095 h 7458372"/>
              <a:gd name="connsiteX27659" fmla="*/ 6123608 w 10505529"/>
              <a:gd name="connsiteY27659" fmla="*/ 2888359 h 7458372"/>
              <a:gd name="connsiteX27660" fmla="*/ 6101775 w 10505529"/>
              <a:gd name="connsiteY27660" fmla="*/ 2879838 h 7458372"/>
              <a:gd name="connsiteX27661" fmla="*/ 6093389 w 10505529"/>
              <a:gd name="connsiteY27661" fmla="*/ 2858673 h 7458372"/>
              <a:gd name="connsiteX27662" fmla="*/ 6101775 w 10505529"/>
              <a:gd name="connsiteY27662" fmla="*/ 2837640 h 7458372"/>
              <a:gd name="connsiteX27663" fmla="*/ 6123608 w 10505529"/>
              <a:gd name="connsiteY27663" fmla="*/ 2828988 h 7458372"/>
              <a:gd name="connsiteX27664" fmla="*/ 5905963 w 10505529"/>
              <a:gd name="connsiteY27664" fmla="*/ 2828988 h 7458372"/>
              <a:gd name="connsiteX27665" fmla="*/ 5917677 w 10505529"/>
              <a:gd name="connsiteY27665" fmla="*/ 2831516 h 7458372"/>
              <a:gd name="connsiteX27666" fmla="*/ 5926995 w 10505529"/>
              <a:gd name="connsiteY27666" fmla="*/ 2837906 h 7458372"/>
              <a:gd name="connsiteX27667" fmla="*/ 5933118 w 10505529"/>
              <a:gd name="connsiteY27667" fmla="*/ 2847357 h 7458372"/>
              <a:gd name="connsiteX27668" fmla="*/ 5935381 w 10505529"/>
              <a:gd name="connsiteY27668" fmla="*/ 2858806 h 7458372"/>
              <a:gd name="connsiteX27669" fmla="*/ 5933118 w 10505529"/>
              <a:gd name="connsiteY27669" fmla="*/ 2870520 h 7458372"/>
              <a:gd name="connsiteX27670" fmla="*/ 5926995 w 10505529"/>
              <a:gd name="connsiteY27670" fmla="*/ 2879838 h 7458372"/>
              <a:gd name="connsiteX27671" fmla="*/ 5917677 w 10505529"/>
              <a:gd name="connsiteY27671" fmla="*/ 2886095 h 7458372"/>
              <a:gd name="connsiteX27672" fmla="*/ 5905963 w 10505529"/>
              <a:gd name="connsiteY27672" fmla="*/ 2888359 h 7458372"/>
              <a:gd name="connsiteX27673" fmla="*/ 5884130 w 10505529"/>
              <a:gd name="connsiteY27673" fmla="*/ 2879838 h 7458372"/>
              <a:gd name="connsiteX27674" fmla="*/ 5875744 w 10505529"/>
              <a:gd name="connsiteY27674" fmla="*/ 2858673 h 7458372"/>
              <a:gd name="connsiteX27675" fmla="*/ 5884130 w 10505529"/>
              <a:gd name="connsiteY27675" fmla="*/ 2837640 h 7458372"/>
              <a:gd name="connsiteX27676" fmla="*/ 5905963 w 10505529"/>
              <a:gd name="connsiteY27676" fmla="*/ 2828988 h 7458372"/>
              <a:gd name="connsiteX27677" fmla="*/ 5688451 w 10505529"/>
              <a:gd name="connsiteY27677" fmla="*/ 2828988 h 7458372"/>
              <a:gd name="connsiteX27678" fmla="*/ 5700165 w 10505529"/>
              <a:gd name="connsiteY27678" fmla="*/ 2831516 h 7458372"/>
              <a:gd name="connsiteX27679" fmla="*/ 5709483 w 10505529"/>
              <a:gd name="connsiteY27679" fmla="*/ 2837906 h 7458372"/>
              <a:gd name="connsiteX27680" fmla="*/ 5715606 w 10505529"/>
              <a:gd name="connsiteY27680" fmla="*/ 2847357 h 7458372"/>
              <a:gd name="connsiteX27681" fmla="*/ 5717869 w 10505529"/>
              <a:gd name="connsiteY27681" fmla="*/ 2858806 h 7458372"/>
              <a:gd name="connsiteX27682" fmla="*/ 5715606 w 10505529"/>
              <a:gd name="connsiteY27682" fmla="*/ 2870520 h 7458372"/>
              <a:gd name="connsiteX27683" fmla="*/ 5709483 w 10505529"/>
              <a:gd name="connsiteY27683" fmla="*/ 2879838 h 7458372"/>
              <a:gd name="connsiteX27684" fmla="*/ 5700165 w 10505529"/>
              <a:gd name="connsiteY27684" fmla="*/ 2886095 h 7458372"/>
              <a:gd name="connsiteX27685" fmla="*/ 5688451 w 10505529"/>
              <a:gd name="connsiteY27685" fmla="*/ 2888359 h 7458372"/>
              <a:gd name="connsiteX27686" fmla="*/ 5666618 w 10505529"/>
              <a:gd name="connsiteY27686" fmla="*/ 2879838 h 7458372"/>
              <a:gd name="connsiteX27687" fmla="*/ 5658232 w 10505529"/>
              <a:gd name="connsiteY27687" fmla="*/ 2858673 h 7458372"/>
              <a:gd name="connsiteX27688" fmla="*/ 5666618 w 10505529"/>
              <a:gd name="connsiteY27688" fmla="*/ 2837640 h 7458372"/>
              <a:gd name="connsiteX27689" fmla="*/ 5688451 w 10505529"/>
              <a:gd name="connsiteY27689" fmla="*/ 2828988 h 7458372"/>
              <a:gd name="connsiteX27690" fmla="*/ 5470806 w 10505529"/>
              <a:gd name="connsiteY27690" fmla="*/ 2828988 h 7458372"/>
              <a:gd name="connsiteX27691" fmla="*/ 5482520 w 10505529"/>
              <a:gd name="connsiteY27691" fmla="*/ 2831516 h 7458372"/>
              <a:gd name="connsiteX27692" fmla="*/ 5491838 w 10505529"/>
              <a:gd name="connsiteY27692" fmla="*/ 2837906 h 7458372"/>
              <a:gd name="connsiteX27693" fmla="*/ 5497961 w 10505529"/>
              <a:gd name="connsiteY27693" fmla="*/ 2847357 h 7458372"/>
              <a:gd name="connsiteX27694" fmla="*/ 5500224 w 10505529"/>
              <a:gd name="connsiteY27694" fmla="*/ 2858806 h 7458372"/>
              <a:gd name="connsiteX27695" fmla="*/ 5497961 w 10505529"/>
              <a:gd name="connsiteY27695" fmla="*/ 2870520 h 7458372"/>
              <a:gd name="connsiteX27696" fmla="*/ 5491838 w 10505529"/>
              <a:gd name="connsiteY27696" fmla="*/ 2879838 h 7458372"/>
              <a:gd name="connsiteX27697" fmla="*/ 5482520 w 10505529"/>
              <a:gd name="connsiteY27697" fmla="*/ 2886095 h 7458372"/>
              <a:gd name="connsiteX27698" fmla="*/ 5470806 w 10505529"/>
              <a:gd name="connsiteY27698" fmla="*/ 2888359 h 7458372"/>
              <a:gd name="connsiteX27699" fmla="*/ 5448973 w 10505529"/>
              <a:gd name="connsiteY27699" fmla="*/ 2879838 h 7458372"/>
              <a:gd name="connsiteX27700" fmla="*/ 5440587 w 10505529"/>
              <a:gd name="connsiteY27700" fmla="*/ 2858673 h 7458372"/>
              <a:gd name="connsiteX27701" fmla="*/ 5448973 w 10505529"/>
              <a:gd name="connsiteY27701" fmla="*/ 2837640 h 7458372"/>
              <a:gd name="connsiteX27702" fmla="*/ 5470806 w 10505529"/>
              <a:gd name="connsiteY27702" fmla="*/ 2828988 h 7458372"/>
              <a:gd name="connsiteX27703" fmla="*/ 5253160 w 10505529"/>
              <a:gd name="connsiteY27703" fmla="*/ 2828988 h 7458372"/>
              <a:gd name="connsiteX27704" fmla="*/ 5264875 w 10505529"/>
              <a:gd name="connsiteY27704" fmla="*/ 2831516 h 7458372"/>
              <a:gd name="connsiteX27705" fmla="*/ 5274192 w 10505529"/>
              <a:gd name="connsiteY27705" fmla="*/ 2837906 h 7458372"/>
              <a:gd name="connsiteX27706" fmla="*/ 5280316 w 10505529"/>
              <a:gd name="connsiteY27706" fmla="*/ 2847357 h 7458372"/>
              <a:gd name="connsiteX27707" fmla="*/ 5282579 w 10505529"/>
              <a:gd name="connsiteY27707" fmla="*/ 2858806 h 7458372"/>
              <a:gd name="connsiteX27708" fmla="*/ 5280316 w 10505529"/>
              <a:gd name="connsiteY27708" fmla="*/ 2870520 h 7458372"/>
              <a:gd name="connsiteX27709" fmla="*/ 5274192 w 10505529"/>
              <a:gd name="connsiteY27709" fmla="*/ 2879838 h 7458372"/>
              <a:gd name="connsiteX27710" fmla="*/ 5264875 w 10505529"/>
              <a:gd name="connsiteY27710" fmla="*/ 2886095 h 7458372"/>
              <a:gd name="connsiteX27711" fmla="*/ 5253160 w 10505529"/>
              <a:gd name="connsiteY27711" fmla="*/ 2888359 h 7458372"/>
              <a:gd name="connsiteX27712" fmla="*/ 5231328 w 10505529"/>
              <a:gd name="connsiteY27712" fmla="*/ 2879838 h 7458372"/>
              <a:gd name="connsiteX27713" fmla="*/ 5222942 w 10505529"/>
              <a:gd name="connsiteY27713" fmla="*/ 2858673 h 7458372"/>
              <a:gd name="connsiteX27714" fmla="*/ 5231328 w 10505529"/>
              <a:gd name="connsiteY27714" fmla="*/ 2837640 h 7458372"/>
              <a:gd name="connsiteX27715" fmla="*/ 5253160 w 10505529"/>
              <a:gd name="connsiteY27715" fmla="*/ 2828988 h 7458372"/>
              <a:gd name="connsiteX27716" fmla="*/ 5035515 w 10505529"/>
              <a:gd name="connsiteY27716" fmla="*/ 2828988 h 7458372"/>
              <a:gd name="connsiteX27717" fmla="*/ 5047230 w 10505529"/>
              <a:gd name="connsiteY27717" fmla="*/ 2831516 h 7458372"/>
              <a:gd name="connsiteX27718" fmla="*/ 5056548 w 10505529"/>
              <a:gd name="connsiteY27718" fmla="*/ 2837906 h 7458372"/>
              <a:gd name="connsiteX27719" fmla="*/ 5062671 w 10505529"/>
              <a:gd name="connsiteY27719" fmla="*/ 2847357 h 7458372"/>
              <a:gd name="connsiteX27720" fmla="*/ 5064934 w 10505529"/>
              <a:gd name="connsiteY27720" fmla="*/ 2858806 h 7458372"/>
              <a:gd name="connsiteX27721" fmla="*/ 5062671 w 10505529"/>
              <a:gd name="connsiteY27721" fmla="*/ 2870520 h 7458372"/>
              <a:gd name="connsiteX27722" fmla="*/ 5056548 w 10505529"/>
              <a:gd name="connsiteY27722" fmla="*/ 2879838 h 7458372"/>
              <a:gd name="connsiteX27723" fmla="*/ 5047230 w 10505529"/>
              <a:gd name="connsiteY27723" fmla="*/ 2886095 h 7458372"/>
              <a:gd name="connsiteX27724" fmla="*/ 5035515 w 10505529"/>
              <a:gd name="connsiteY27724" fmla="*/ 2888359 h 7458372"/>
              <a:gd name="connsiteX27725" fmla="*/ 5013683 w 10505529"/>
              <a:gd name="connsiteY27725" fmla="*/ 2879838 h 7458372"/>
              <a:gd name="connsiteX27726" fmla="*/ 5005297 w 10505529"/>
              <a:gd name="connsiteY27726" fmla="*/ 2858673 h 7458372"/>
              <a:gd name="connsiteX27727" fmla="*/ 5013683 w 10505529"/>
              <a:gd name="connsiteY27727" fmla="*/ 2837640 h 7458372"/>
              <a:gd name="connsiteX27728" fmla="*/ 5035515 w 10505529"/>
              <a:gd name="connsiteY27728" fmla="*/ 2828988 h 7458372"/>
              <a:gd name="connsiteX27729" fmla="*/ 4817870 w 10505529"/>
              <a:gd name="connsiteY27729" fmla="*/ 2828988 h 7458372"/>
              <a:gd name="connsiteX27730" fmla="*/ 4829585 w 10505529"/>
              <a:gd name="connsiteY27730" fmla="*/ 2831516 h 7458372"/>
              <a:gd name="connsiteX27731" fmla="*/ 4838903 w 10505529"/>
              <a:gd name="connsiteY27731" fmla="*/ 2837906 h 7458372"/>
              <a:gd name="connsiteX27732" fmla="*/ 4845026 w 10505529"/>
              <a:gd name="connsiteY27732" fmla="*/ 2847357 h 7458372"/>
              <a:gd name="connsiteX27733" fmla="*/ 4847289 w 10505529"/>
              <a:gd name="connsiteY27733" fmla="*/ 2858806 h 7458372"/>
              <a:gd name="connsiteX27734" fmla="*/ 4845026 w 10505529"/>
              <a:gd name="connsiteY27734" fmla="*/ 2870520 h 7458372"/>
              <a:gd name="connsiteX27735" fmla="*/ 4838903 w 10505529"/>
              <a:gd name="connsiteY27735" fmla="*/ 2879838 h 7458372"/>
              <a:gd name="connsiteX27736" fmla="*/ 4829585 w 10505529"/>
              <a:gd name="connsiteY27736" fmla="*/ 2886095 h 7458372"/>
              <a:gd name="connsiteX27737" fmla="*/ 4817870 w 10505529"/>
              <a:gd name="connsiteY27737" fmla="*/ 2888359 h 7458372"/>
              <a:gd name="connsiteX27738" fmla="*/ 4796038 w 10505529"/>
              <a:gd name="connsiteY27738" fmla="*/ 2879838 h 7458372"/>
              <a:gd name="connsiteX27739" fmla="*/ 4787652 w 10505529"/>
              <a:gd name="connsiteY27739" fmla="*/ 2858673 h 7458372"/>
              <a:gd name="connsiteX27740" fmla="*/ 4796038 w 10505529"/>
              <a:gd name="connsiteY27740" fmla="*/ 2837640 h 7458372"/>
              <a:gd name="connsiteX27741" fmla="*/ 4817870 w 10505529"/>
              <a:gd name="connsiteY27741" fmla="*/ 2828988 h 7458372"/>
              <a:gd name="connsiteX27742" fmla="*/ 4600226 w 10505529"/>
              <a:gd name="connsiteY27742" fmla="*/ 2828988 h 7458372"/>
              <a:gd name="connsiteX27743" fmla="*/ 4612073 w 10505529"/>
              <a:gd name="connsiteY27743" fmla="*/ 2831516 h 7458372"/>
              <a:gd name="connsiteX27744" fmla="*/ 4621391 w 10505529"/>
              <a:gd name="connsiteY27744" fmla="*/ 2837906 h 7458372"/>
              <a:gd name="connsiteX27745" fmla="*/ 4627514 w 10505529"/>
              <a:gd name="connsiteY27745" fmla="*/ 2847357 h 7458372"/>
              <a:gd name="connsiteX27746" fmla="*/ 4629777 w 10505529"/>
              <a:gd name="connsiteY27746" fmla="*/ 2858806 h 7458372"/>
              <a:gd name="connsiteX27747" fmla="*/ 4627514 w 10505529"/>
              <a:gd name="connsiteY27747" fmla="*/ 2870520 h 7458372"/>
              <a:gd name="connsiteX27748" fmla="*/ 4621391 w 10505529"/>
              <a:gd name="connsiteY27748" fmla="*/ 2879838 h 7458372"/>
              <a:gd name="connsiteX27749" fmla="*/ 4612073 w 10505529"/>
              <a:gd name="connsiteY27749" fmla="*/ 2886095 h 7458372"/>
              <a:gd name="connsiteX27750" fmla="*/ 4600226 w 10505529"/>
              <a:gd name="connsiteY27750" fmla="*/ 2888359 h 7458372"/>
              <a:gd name="connsiteX27751" fmla="*/ 4578393 w 10505529"/>
              <a:gd name="connsiteY27751" fmla="*/ 2879838 h 7458372"/>
              <a:gd name="connsiteX27752" fmla="*/ 4570007 w 10505529"/>
              <a:gd name="connsiteY27752" fmla="*/ 2858673 h 7458372"/>
              <a:gd name="connsiteX27753" fmla="*/ 4578393 w 10505529"/>
              <a:gd name="connsiteY27753" fmla="*/ 2837640 h 7458372"/>
              <a:gd name="connsiteX27754" fmla="*/ 4600226 w 10505529"/>
              <a:gd name="connsiteY27754" fmla="*/ 2828988 h 7458372"/>
              <a:gd name="connsiteX27755" fmla="*/ 4382713 w 10505529"/>
              <a:gd name="connsiteY27755" fmla="*/ 2828988 h 7458372"/>
              <a:gd name="connsiteX27756" fmla="*/ 4394428 w 10505529"/>
              <a:gd name="connsiteY27756" fmla="*/ 2831516 h 7458372"/>
              <a:gd name="connsiteX27757" fmla="*/ 4403746 w 10505529"/>
              <a:gd name="connsiteY27757" fmla="*/ 2837906 h 7458372"/>
              <a:gd name="connsiteX27758" fmla="*/ 4409869 w 10505529"/>
              <a:gd name="connsiteY27758" fmla="*/ 2847357 h 7458372"/>
              <a:gd name="connsiteX27759" fmla="*/ 4412132 w 10505529"/>
              <a:gd name="connsiteY27759" fmla="*/ 2858806 h 7458372"/>
              <a:gd name="connsiteX27760" fmla="*/ 4409869 w 10505529"/>
              <a:gd name="connsiteY27760" fmla="*/ 2870520 h 7458372"/>
              <a:gd name="connsiteX27761" fmla="*/ 4403746 w 10505529"/>
              <a:gd name="connsiteY27761" fmla="*/ 2879838 h 7458372"/>
              <a:gd name="connsiteX27762" fmla="*/ 4394428 w 10505529"/>
              <a:gd name="connsiteY27762" fmla="*/ 2886095 h 7458372"/>
              <a:gd name="connsiteX27763" fmla="*/ 4382713 w 10505529"/>
              <a:gd name="connsiteY27763" fmla="*/ 2888359 h 7458372"/>
              <a:gd name="connsiteX27764" fmla="*/ 4360881 w 10505529"/>
              <a:gd name="connsiteY27764" fmla="*/ 2879838 h 7458372"/>
              <a:gd name="connsiteX27765" fmla="*/ 4352495 w 10505529"/>
              <a:gd name="connsiteY27765" fmla="*/ 2858673 h 7458372"/>
              <a:gd name="connsiteX27766" fmla="*/ 4360881 w 10505529"/>
              <a:gd name="connsiteY27766" fmla="*/ 2837640 h 7458372"/>
              <a:gd name="connsiteX27767" fmla="*/ 4382713 w 10505529"/>
              <a:gd name="connsiteY27767" fmla="*/ 2828988 h 7458372"/>
              <a:gd name="connsiteX27768" fmla="*/ 4165068 w 10505529"/>
              <a:gd name="connsiteY27768" fmla="*/ 2828988 h 7458372"/>
              <a:gd name="connsiteX27769" fmla="*/ 4176782 w 10505529"/>
              <a:gd name="connsiteY27769" fmla="*/ 2831516 h 7458372"/>
              <a:gd name="connsiteX27770" fmla="*/ 4186100 w 10505529"/>
              <a:gd name="connsiteY27770" fmla="*/ 2837906 h 7458372"/>
              <a:gd name="connsiteX27771" fmla="*/ 4192223 w 10505529"/>
              <a:gd name="connsiteY27771" fmla="*/ 2847357 h 7458372"/>
              <a:gd name="connsiteX27772" fmla="*/ 4194486 w 10505529"/>
              <a:gd name="connsiteY27772" fmla="*/ 2858806 h 7458372"/>
              <a:gd name="connsiteX27773" fmla="*/ 4192223 w 10505529"/>
              <a:gd name="connsiteY27773" fmla="*/ 2870520 h 7458372"/>
              <a:gd name="connsiteX27774" fmla="*/ 4186100 w 10505529"/>
              <a:gd name="connsiteY27774" fmla="*/ 2879838 h 7458372"/>
              <a:gd name="connsiteX27775" fmla="*/ 4176782 w 10505529"/>
              <a:gd name="connsiteY27775" fmla="*/ 2886095 h 7458372"/>
              <a:gd name="connsiteX27776" fmla="*/ 4165068 w 10505529"/>
              <a:gd name="connsiteY27776" fmla="*/ 2888359 h 7458372"/>
              <a:gd name="connsiteX27777" fmla="*/ 4143235 w 10505529"/>
              <a:gd name="connsiteY27777" fmla="*/ 2879838 h 7458372"/>
              <a:gd name="connsiteX27778" fmla="*/ 4134849 w 10505529"/>
              <a:gd name="connsiteY27778" fmla="*/ 2858673 h 7458372"/>
              <a:gd name="connsiteX27779" fmla="*/ 4143235 w 10505529"/>
              <a:gd name="connsiteY27779" fmla="*/ 2837640 h 7458372"/>
              <a:gd name="connsiteX27780" fmla="*/ 4165068 w 10505529"/>
              <a:gd name="connsiteY27780" fmla="*/ 2828988 h 7458372"/>
              <a:gd name="connsiteX27781" fmla="*/ 3947582 w 10505529"/>
              <a:gd name="connsiteY27781" fmla="*/ 2828988 h 7458372"/>
              <a:gd name="connsiteX27782" fmla="*/ 3959298 w 10505529"/>
              <a:gd name="connsiteY27782" fmla="*/ 2831516 h 7458372"/>
              <a:gd name="connsiteX27783" fmla="*/ 3968616 w 10505529"/>
              <a:gd name="connsiteY27783" fmla="*/ 2837906 h 7458372"/>
              <a:gd name="connsiteX27784" fmla="*/ 3974739 w 10505529"/>
              <a:gd name="connsiteY27784" fmla="*/ 2847357 h 7458372"/>
              <a:gd name="connsiteX27785" fmla="*/ 3977003 w 10505529"/>
              <a:gd name="connsiteY27785" fmla="*/ 2858806 h 7458372"/>
              <a:gd name="connsiteX27786" fmla="*/ 3974739 w 10505529"/>
              <a:gd name="connsiteY27786" fmla="*/ 2870520 h 7458372"/>
              <a:gd name="connsiteX27787" fmla="*/ 3968616 w 10505529"/>
              <a:gd name="connsiteY27787" fmla="*/ 2879838 h 7458372"/>
              <a:gd name="connsiteX27788" fmla="*/ 3959298 w 10505529"/>
              <a:gd name="connsiteY27788" fmla="*/ 2886095 h 7458372"/>
              <a:gd name="connsiteX27789" fmla="*/ 3947582 w 10505529"/>
              <a:gd name="connsiteY27789" fmla="*/ 2888359 h 7458372"/>
              <a:gd name="connsiteX27790" fmla="*/ 3925749 w 10505529"/>
              <a:gd name="connsiteY27790" fmla="*/ 2879838 h 7458372"/>
              <a:gd name="connsiteX27791" fmla="*/ 3917363 w 10505529"/>
              <a:gd name="connsiteY27791" fmla="*/ 2858673 h 7458372"/>
              <a:gd name="connsiteX27792" fmla="*/ 3925749 w 10505529"/>
              <a:gd name="connsiteY27792" fmla="*/ 2837640 h 7458372"/>
              <a:gd name="connsiteX27793" fmla="*/ 3947582 w 10505529"/>
              <a:gd name="connsiteY27793" fmla="*/ 2828988 h 7458372"/>
              <a:gd name="connsiteX27794" fmla="*/ 3729929 w 10505529"/>
              <a:gd name="connsiteY27794" fmla="*/ 2828988 h 7458372"/>
              <a:gd name="connsiteX27795" fmla="*/ 3741644 w 10505529"/>
              <a:gd name="connsiteY27795" fmla="*/ 2831516 h 7458372"/>
              <a:gd name="connsiteX27796" fmla="*/ 3750963 w 10505529"/>
              <a:gd name="connsiteY27796" fmla="*/ 2837906 h 7458372"/>
              <a:gd name="connsiteX27797" fmla="*/ 3757085 w 10505529"/>
              <a:gd name="connsiteY27797" fmla="*/ 2847357 h 7458372"/>
              <a:gd name="connsiteX27798" fmla="*/ 3759348 w 10505529"/>
              <a:gd name="connsiteY27798" fmla="*/ 2858806 h 7458372"/>
              <a:gd name="connsiteX27799" fmla="*/ 3757085 w 10505529"/>
              <a:gd name="connsiteY27799" fmla="*/ 2870520 h 7458372"/>
              <a:gd name="connsiteX27800" fmla="*/ 3750963 w 10505529"/>
              <a:gd name="connsiteY27800" fmla="*/ 2879838 h 7458372"/>
              <a:gd name="connsiteX27801" fmla="*/ 3741644 w 10505529"/>
              <a:gd name="connsiteY27801" fmla="*/ 2886095 h 7458372"/>
              <a:gd name="connsiteX27802" fmla="*/ 3729929 w 10505529"/>
              <a:gd name="connsiteY27802" fmla="*/ 2888359 h 7458372"/>
              <a:gd name="connsiteX27803" fmla="*/ 3708093 w 10505529"/>
              <a:gd name="connsiteY27803" fmla="*/ 2879838 h 7458372"/>
              <a:gd name="connsiteX27804" fmla="*/ 3699707 w 10505529"/>
              <a:gd name="connsiteY27804" fmla="*/ 2858673 h 7458372"/>
              <a:gd name="connsiteX27805" fmla="*/ 3708093 w 10505529"/>
              <a:gd name="connsiteY27805" fmla="*/ 2837640 h 7458372"/>
              <a:gd name="connsiteX27806" fmla="*/ 3729929 w 10505529"/>
              <a:gd name="connsiteY27806" fmla="*/ 2828988 h 7458372"/>
              <a:gd name="connsiteX27807" fmla="*/ 3512276 w 10505529"/>
              <a:gd name="connsiteY27807" fmla="*/ 2828988 h 7458372"/>
              <a:gd name="connsiteX27808" fmla="*/ 3523991 w 10505529"/>
              <a:gd name="connsiteY27808" fmla="*/ 2831516 h 7458372"/>
              <a:gd name="connsiteX27809" fmla="*/ 3533309 w 10505529"/>
              <a:gd name="connsiteY27809" fmla="*/ 2837906 h 7458372"/>
              <a:gd name="connsiteX27810" fmla="*/ 3539432 w 10505529"/>
              <a:gd name="connsiteY27810" fmla="*/ 2847357 h 7458372"/>
              <a:gd name="connsiteX27811" fmla="*/ 3541695 w 10505529"/>
              <a:gd name="connsiteY27811" fmla="*/ 2858806 h 7458372"/>
              <a:gd name="connsiteX27812" fmla="*/ 3539432 w 10505529"/>
              <a:gd name="connsiteY27812" fmla="*/ 2870520 h 7458372"/>
              <a:gd name="connsiteX27813" fmla="*/ 3533309 w 10505529"/>
              <a:gd name="connsiteY27813" fmla="*/ 2879838 h 7458372"/>
              <a:gd name="connsiteX27814" fmla="*/ 3523991 w 10505529"/>
              <a:gd name="connsiteY27814" fmla="*/ 2886095 h 7458372"/>
              <a:gd name="connsiteX27815" fmla="*/ 3512276 w 10505529"/>
              <a:gd name="connsiteY27815" fmla="*/ 2888359 h 7458372"/>
              <a:gd name="connsiteX27816" fmla="*/ 3490441 w 10505529"/>
              <a:gd name="connsiteY27816" fmla="*/ 2879838 h 7458372"/>
              <a:gd name="connsiteX27817" fmla="*/ 3482055 w 10505529"/>
              <a:gd name="connsiteY27817" fmla="*/ 2858673 h 7458372"/>
              <a:gd name="connsiteX27818" fmla="*/ 3490441 w 10505529"/>
              <a:gd name="connsiteY27818" fmla="*/ 2837640 h 7458372"/>
              <a:gd name="connsiteX27819" fmla="*/ 3512276 w 10505529"/>
              <a:gd name="connsiteY27819" fmla="*/ 2828988 h 7458372"/>
              <a:gd name="connsiteX27820" fmla="*/ 3294755 w 10505529"/>
              <a:gd name="connsiteY27820" fmla="*/ 2828988 h 7458372"/>
              <a:gd name="connsiteX27821" fmla="*/ 3306471 w 10505529"/>
              <a:gd name="connsiteY27821" fmla="*/ 2831516 h 7458372"/>
              <a:gd name="connsiteX27822" fmla="*/ 3315789 w 10505529"/>
              <a:gd name="connsiteY27822" fmla="*/ 2837906 h 7458372"/>
              <a:gd name="connsiteX27823" fmla="*/ 3321912 w 10505529"/>
              <a:gd name="connsiteY27823" fmla="*/ 2847357 h 7458372"/>
              <a:gd name="connsiteX27824" fmla="*/ 3324175 w 10505529"/>
              <a:gd name="connsiteY27824" fmla="*/ 2858806 h 7458372"/>
              <a:gd name="connsiteX27825" fmla="*/ 3321912 w 10505529"/>
              <a:gd name="connsiteY27825" fmla="*/ 2870520 h 7458372"/>
              <a:gd name="connsiteX27826" fmla="*/ 3315789 w 10505529"/>
              <a:gd name="connsiteY27826" fmla="*/ 2879838 h 7458372"/>
              <a:gd name="connsiteX27827" fmla="*/ 3306471 w 10505529"/>
              <a:gd name="connsiteY27827" fmla="*/ 2886095 h 7458372"/>
              <a:gd name="connsiteX27828" fmla="*/ 3294755 w 10505529"/>
              <a:gd name="connsiteY27828" fmla="*/ 2888359 h 7458372"/>
              <a:gd name="connsiteX27829" fmla="*/ 3272920 w 10505529"/>
              <a:gd name="connsiteY27829" fmla="*/ 2879838 h 7458372"/>
              <a:gd name="connsiteX27830" fmla="*/ 3264534 w 10505529"/>
              <a:gd name="connsiteY27830" fmla="*/ 2858673 h 7458372"/>
              <a:gd name="connsiteX27831" fmla="*/ 3272920 w 10505529"/>
              <a:gd name="connsiteY27831" fmla="*/ 2837640 h 7458372"/>
              <a:gd name="connsiteX27832" fmla="*/ 3294755 w 10505529"/>
              <a:gd name="connsiteY27832" fmla="*/ 2828988 h 7458372"/>
              <a:gd name="connsiteX27833" fmla="*/ 3077102 w 10505529"/>
              <a:gd name="connsiteY27833" fmla="*/ 2828988 h 7458372"/>
              <a:gd name="connsiteX27834" fmla="*/ 3088817 w 10505529"/>
              <a:gd name="connsiteY27834" fmla="*/ 2831516 h 7458372"/>
              <a:gd name="connsiteX27835" fmla="*/ 3098135 w 10505529"/>
              <a:gd name="connsiteY27835" fmla="*/ 2837906 h 7458372"/>
              <a:gd name="connsiteX27836" fmla="*/ 3104259 w 10505529"/>
              <a:gd name="connsiteY27836" fmla="*/ 2847357 h 7458372"/>
              <a:gd name="connsiteX27837" fmla="*/ 3106522 w 10505529"/>
              <a:gd name="connsiteY27837" fmla="*/ 2858806 h 7458372"/>
              <a:gd name="connsiteX27838" fmla="*/ 3104259 w 10505529"/>
              <a:gd name="connsiteY27838" fmla="*/ 2870520 h 7458372"/>
              <a:gd name="connsiteX27839" fmla="*/ 3098135 w 10505529"/>
              <a:gd name="connsiteY27839" fmla="*/ 2879838 h 7458372"/>
              <a:gd name="connsiteX27840" fmla="*/ 3088817 w 10505529"/>
              <a:gd name="connsiteY27840" fmla="*/ 2886095 h 7458372"/>
              <a:gd name="connsiteX27841" fmla="*/ 3077102 w 10505529"/>
              <a:gd name="connsiteY27841" fmla="*/ 2888359 h 7458372"/>
              <a:gd name="connsiteX27842" fmla="*/ 3055267 w 10505529"/>
              <a:gd name="connsiteY27842" fmla="*/ 2879838 h 7458372"/>
              <a:gd name="connsiteX27843" fmla="*/ 3046881 w 10505529"/>
              <a:gd name="connsiteY27843" fmla="*/ 2858673 h 7458372"/>
              <a:gd name="connsiteX27844" fmla="*/ 3055267 w 10505529"/>
              <a:gd name="connsiteY27844" fmla="*/ 2837640 h 7458372"/>
              <a:gd name="connsiteX27845" fmla="*/ 3077102 w 10505529"/>
              <a:gd name="connsiteY27845" fmla="*/ 2828988 h 7458372"/>
              <a:gd name="connsiteX27846" fmla="*/ 2859449 w 10505529"/>
              <a:gd name="connsiteY27846" fmla="*/ 2828988 h 7458372"/>
              <a:gd name="connsiteX27847" fmla="*/ 2871297 w 10505529"/>
              <a:gd name="connsiteY27847" fmla="*/ 2831516 h 7458372"/>
              <a:gd name="connsiteX27848" fmla="*/ 2880615 w 10505529"/>
              <a:gd name="connsiteY27848" fmla="*/ 2837906 h 7458372"/>
              <a:gd name="connsiteX27849" fmla="*/ 2886739 w 10505529"/>
              <a:gd name="connsiteY27849" fmla="*/ 2847357 h 7458372"/>
              <a:gd name="connsiteX27850" fmla="*/ 2889002 w 10505529"/>
              <a:gd name="connsiteY27850" fmla="*/ 2858806 h 7458372"/>
              <a:gd name="connsiteX27851" fmla="*/ 2886739 w 10505529"/>
              <a:gd name="connsiteY27851" fmla="*/ 2870520 h 7458372"/>
              <a:gd name="connsiteX27852" fmla="*/ 2880615 w 10505529"/>
              <a:gd name="connsiteY27852" fmla="*/ 2879838 h 7458372"/>
              <a:gd name="connsiteX27853" fmla="*/ 2871297 w 10505529"/>
              <a:gd name="connsiteY27853" fmla="*/ 2886095 h 7458372"/>
              <a:gd name="connsiteX27854" fmla="*/ 2859449 w 10505529"/>
              <a:gd name="connsiteY27854" fmla="*/ 2888359 h 7458372"/>
              <a:gd name="connsiteX27855" fmla="*/ 2837615 w 10505529"/>
              <a:gd name="connsiteY27855" fmla="*/ 2879838 h 7458372"/>
              <a:gd name="connsiteX27856" fmla="*/ 2829228 w 10505529"/>
              <a:gd name="connsiteY27856" fmla="*/ 2858673 h 7458372"/>
              <a:gd name="connsiteX27857" fmla="*/ 2837615 w 10505529"/>
              <a:gd name="connsiteY27857" fmla="*/ 2837640 h 7458372"/>
              <a:gd name="connsiteX27858" fmla="*/ 2859449 w 10505529"/>
              <a:gd name="connsiteY27858" fmla="*/ 2828988 h 7458372"/>
              <a:gd name="connsiteX27859" fmla="*/ 2641795 w 10505529"/>
              <a:gd name="connsiteY27859" fmla="*/ 2828988 h 7458372"/>
              <a:gd name="connsiteX27860" fmla="*/ 2653511 w 10505529"/>
              <a:gd name="connsiteY27860" fmla="*/ 2831516 h 7458372"/>
              <a:gd name="connsiteX27861" fmla="*/ 2662829 w 10505529"/>
              <a:gd name="connsiteY27861" fmla="*/ 2837906 h 7458372"/>
              <a:gd name="connsiteX27862" fmla="*/ 2668952 w 10505529"/>
              <a:gd name="connsiteY27862" fmla="*/ 2847357 h 7458372"/>
              <a:gd name="connsiteX27863" fmla="*/ 2671215 w 10505529"/>
              <a:gd name="connsiteY27863" fmla="*/ 2858806 h 7458372"/>
              <a:gd name="connsiteX27864" fmla="*/ 2668952 w 10505529"/>
              <a:gd name="connsiteY27864" fmla="*/ 2870520 h 7458372"/>
              <a:gd name="connsiteX27865" fmla="*/ 2662829 w 10505529"/>
              <a:gd name="connsiteY27865" fmla="*/ 2879838 h 7458372"/>
              <a:gd name="connsiteX27866" fmla="*/ 2653511 w 10505529"/>
              <a:gd name="connsiteY27866" fmla="*/ 2886095 h 7458372"/>
              <a:gd name="connsiteX27867" fmla="*/ 2641795 w 10505529"/>
              <a:gd name="connsiteY27867" fmla="*/ 2888359 h 7458372"/>
              <a:gd name="connsiteX27868" fmla="*/ 2619963 w 10505529"/>
              <a:gd name="connsiteY27868" fmla="*/ 2879838 h 7458372"/>
              <a:gd name="connsiteX27869" fmla="*/ 2611575 w 10505529"/>
              <a:gd name="connsiteY27869" fmla="*/ 2858673 h 7458372"/>
              <a:gd name="connsiteX27870" fmla="*/ 2619963 w 10505529"/>
              <a:gd name="connsiteY27870" fmla="*/ 2837640 h 7458372"/>
              <a:gd name="connsiteX27871" fmla="*/ 2641795 w 10505529"/>
              <a:gd name="connsiteY27871" fmla="*/ 2828988 h 7458372"/>
              <a:gd name="connsiteX27872" fmla="*/ 2424142 w 10505529"/>
              <a:gd name="connsiteY27872" fmla="*/ 2828988 h 7458372"/>
              <a:gd name="connsiteX27873" fmla="*/ 2435857 w 10505529"/>
              <a:gd name="connsiteY27873" fmla="*/ 2831516 h 7458372"/>
              <a:gd name="connsiteX27874" fmla="*/ 2445175 w 10505529"/>
              <a:gd name="connsiteY27874" fmla="*/ 2837906 h 7458372"/>
              <a:gd name="connsiteX27875" fmla="*/ 2451299 w 10505529"/>
              <a:gd name="connsiteY27875" fmla="*/ 2847357 h 7458372"/>
              <a:gd name="connsiteX27876" fmla="*/ 2453562 w 10505529"/>
              <a:gd name="connsiteY27876" fmla="*/ 2858806 h 7458372"/>
              <a:gd name="connsiteX27877" fmla="*/ 2451299 w 10505529"/>
              <a:gd name="connsiteY27877" fmla="*/ 2870520 h 7458372"/>
              <a:gd name="connsiteX27878" fmla="*/ 2445175 w 10505529"/>
              <a:gd name="connsiteY27878" fmla="*/ 2879838 h 7458372"/>
              <a:gd name="connsiteX27879" fmla="*/ 2435857 w 10505529"/>
              <a:gd name="connsiteY27879" fmla="*/ 2886095 h 7458372"/>
              <a:gd name="connsiteX27880" fmla="*/ 2424142 w 10505529"/>
              <a:gd name="connsiteY27880" fmla="*/ 2888359 h 7458372"/>
              <a:gd name="connsiteX27881" fmla="*/ 2402310 w 10505529"/>
              <a:gd name="connsiteY27881" fmla="*/ 2879838 h 7458372"/>
              <a:gd name="connsiteX27882" fmla="*/ 2393922 w 10505529"/>
              <a:gd name="connsiteY27882" fmla="*/ 2858673 h 7458372"/>
              <a:gd name="connsiteX27883" fmla="*/ 2402310 w 10505529"/>
              <a:gd name="connsiteY27883" fmla="*/ 2837640 h 7458372"/>
              <a:gd name="connsiteX27884" fmla="*/ 2424142 w 10505529"/>
              <a:gd name="connsiteY27884" fmla="*/ 2828988 h 7458372"/>
              <a:gd name="connsiteX27885" fmla="*/ 2206489 w 10505529"/>
              <a:gd name="connsiteY27885" fmla="*/ 2828988 h 7458372"/>
              <a:gd name="connsiteX27886" fmla="*/ 2218204 w 10505529"/>
              <a:gd name="connsiteY27886" fmla="*/ 2831516 h 7458372"/>
              <a:gd name="connsiteX27887" fmla="*/ 2227523 w 10505529"/>
              <a:gd name="connsiteY27887" fmla="*/ 2837906 h 7458372"/>
              <a:gd name="connsiteX27888" fmla="*/ 2233645 w 10505529"/>
              <a:gd name="connsiteY27888" fmla="*/ 2847357 h 7458372"/>
              <a:gd name="connsiteX27889" fmla="*/ 2235908 w 10505529"/>
              <a:gd name="connsiteY27889" fmla="*/ 2858806 h 7458372"/>
              <a:gd name="connsiteX27890" fmla="*/ 2233645 w 10505529"/>
              <a:gd name="connsiteY27890" fmla="*/ 2870520 h 7458372"/>
              <a:gd name="connsiteX27891" fmla="*/ 2227523 w 10505529"/>
              <a:gd name="connsiteY27891" fmla="*/ 2879838 h 7458372"/>
              <a:gd name="connsiteX27892" fmla="*/ 2218204 w 10505529"/>
              <a:gd name="connsiteY27892" fmla="*/ 2886095 h 7458372"/>
              <a:gd name="connsiteX27893" fmla="*/ 2206489 w 10505529"/>
              <a:gd name="connsiteY27893" fmla="*/ 2888359 h 7458372"/>
              <a:gd name="connsiteX27894" fmla="*/ 2184656 w 10505529"/>
              <a:gd name="connsiteY27894" fmla="*/ 2879838 h 7458372"/>
              <a:gd name="connsiteX27895" fmla="*/ 2176270 w 10505529"/>
              <a:gd name="connsiteY27895" fmla="*/ 2858673 h 7458372"/>
              <a:gd name="connsiteX27896" fmla="*/ 2184656 w 10505529"/>
              <a:gd name="connsiteY27896" fmla="*/ 2837640 h 7458372"/>
              <a:gd name="connsiteX27897" fmla="*/ 2206489 w 10505529"/>
              <a:gd name="connsiteY27897" fmla="*/ 2828988 h 7458372"/>
              <a:gd name="connsiteX27898" fmla="*/ 1988968 w 10505529"/>
              <a:gd name="connsiteY27898" fmla="*/ 2828988 h 7458372"/>
              <a:gd name="connsiteX27899" fmla="*/ 2000684 w 10505529"/>
              <a:gd name="connsiteY27899" fmla="*/ 2831516 h 7458372"/>
              <a:gd name="connsiteX27900" fmla="*/ 2010002 w 10505529"/>
              <a:gd name="connsiteY27900" fmla="*/ 2837906 h 7458372"/>
              <a:gd name="connsiteX27901" fmla="*/ 2016125 w 10505529"/>
              <a:gd name="connsiteY27901" fmla="*/ 2847357 h 7458372"/>
              <a:gd name="connsiteX27902" fmla="*/ 2018388 w 10505529"/>
              <a:gd name="connsiteY27902" fmla="*/ 2858806 h 7458372"/>
              <a:gd name="connsiteX27903" fmla="*/ 2016125 w 10505529"/>
              <a:gd name="connsiteY27903" fmla="*/ 2870520 h 7458372"/>
              <a:gd name="connsiteX27904" fmla="*/ 2010002 w 10505529"/>
              <a:gd name="connsiteY27904" fmla="*/ 2879838 h 7458372"/>
              <a:gd name="connsiteX27905" fmla="*/ 2000684 w 10505529"/>
              <a:gd name="connsiteY27905" fmla="*/ 2886095 h 7458372"/>
              <a:gd name="connsiteX27906" fmla="*/ 1988968 w 10505529"/>
              <a:gd name="connsiteY27906" fmla="*/ 2888359 h 7458372"/>
              <a:gd name="connsiteX27907" fmla="*/ 1967137 w 10505529"/>
              <a:gd name="connsiteY27907" fmla="*/ 2879838 h 7458372"/>
              <a:gd name="connsiteX27908" fmla="*/ 1958751 w 10505529"/>
              <a:gd name="connsiteY27908" fmla="*/ 2858673 h 7458372"/>
              <a:gd name="connsiteX27909" fmla="*/ 1967137 w 10505529"/>
              <a:gd name="connsiteY27909" fmla="*/ 2837640 h 7458372"/>
              <a:gd name="connsiteX27910" fmla="*/ 1988968 w 10505529"/>
              <a:gd name="connsiteY27910" fmla="*/ 2828988 h 7458372"/>
              <a:gd name="connsiteX27911" fmla="*/ 1771329 w 10505529"/>
              <a:gd name="connsiteY27911" fmla="*/ 2828988 h 7458372"/>
              <a:gd name="connsiteX27912" fmla="*/ 1783044 w 10505529"/>
              <a:gd name="connsiteY27912" fmla="*/ 2831516 h 7458372"/>
              <a:gd name="connsiteX27913" fmla="*/ 1792362 w 10505529"/>
              <a:gd name="connsiteY27913" fmla="*/ 2837906 h 7458372"/>
              <a:gd name="connsiteX27914" fmla="*/ 1798485 w 10505529"/>
              <a:gd name="connsiteY27914" fmla="*/ 2847357 h 7458372"/>
              <a:gd name="connsiteX27915" fmla="*/ 1800747 w 10505529"/>
              <a:gd name="connsiteY27915" fmla="*/ 2858806 h 7458372"/>
              <a:gd name="connsiteX27916" fmla="*/ 1798485 w 10505529"/>
              <a:gd name="connsiteY27916" fmla="*/ 2870520 h 7458372"/>
              <a:gd name="connsiteX27917" fmla="*/ 1792362 w 10505529"/>
              <a:gd name="connsiteY27917" fmla="*/ 2879838 h 7458372"/>
              <a:gd name="connsiteX27918" fmla="*/ 1783044 w 10505529"/>
              <a:gd name="connsiteY27918" fmla="*/ 2886095 h 7458372"/>
              <a:gd name="connsiteX27919" fmla="*/ 1771329 w 10505529"/>
              <a:gd name="connsiteY27919" fmla="*/ 2888359 h 7458372"/>
              <a:gd name="connsiteX27920" fmla="*/ 1749499 w 10505529"/>
              <a:gd name="connsiteY27920" fmla="*/ 2879838 h 7458372"/>
              <a:gd name="connsiteX27921" fmla="*/ 1741115 w 10505529"/>
              <a:gd name="connsiteY27921" fmla="*/ 2858673 h 7458372"/>
              <a:gd name="connsiteX27922" fmla="*/ 1749499 w 10505529"/>
              <a:gd name="connsiteY27922" fmla="*/ 2837640 h 7458372"/>
              <a:gd name="connsiteX27923" fmla="*/ 1771329 w 10505529"/>
              <a:gd name="connsiteY27923" fmla="*/ 2828988 h 7458372"/>
              <a:gd name="connsiteX27924" fmla="*/ 1553688 w 10505529"/>
              <a:gd name="connsiteY27924" fmla="*/ 2828988 h 7458372"/>
              <a:gd name="connsiteX27925" fmla="*/ 1565403 w 10505529"/>
              <a:gd name="connsiteY27925" fmla="*/ 2831516 h 7458372"/>
              <a:gd name="connsiteX27926" fmla="*/ 1574722 w 10505529"/>
              <a:gd name="connsiteY27926" fmla="*/ 2837906 h 7458372"/>
              <a:gd name="connsiteX27927" fmla="*/ 1580844 w 10505529"/>
              <a:gd name="connsiteY27927" fmla="*/ 2847357 h 7458372"/>
              <a:gd name="connsiteX27928" fmla="*/ 1583107 w 10505529"/>
              <a:gd name="connsiteY27928" fmla="*/ 2858806 h 7458372"/>
              <a:gd name="connsiteX27929" fmla="*/ 1580844 w 10505529"/>
              <a:gd name="connsiteY27929" fmla="*/ 2870520 h 7458372"/>
              <a:gd name="connsiteX27930" fmla="*/ 1574722 w 10505529"/>
              <a:gd name="connsiteY27930" fmla="*/ 2879838 h 7458372"/>
              <a:gd name="connsiteX27931" fmla="*/ 1565403 w 10505529"/>
              <a:gd name="connsiteY27931" fmla="*/ 2886095 h 7458372"/>
              <a:gd name="connsiteX27932" fmla="*/ 1553688 w 10505529"/>
              <a:gd name="connsiteY27932" fmla="*/ 2888359 h 7458372"/>
              <a:gd name="connsiteX27933" fmla="*/ 1531857 w 10505529"/>
              <a:gd name="connsiteY27933" fmla="*/ 2879838 h 7458372"/>
              <a:gd name="connsiteX27934" fmla="*/ 1523472 w 10505529"/>
              <a:gd name="connsiteY27934" fmla="*/ 2858673 h 7458372"/>
              <a:gd name="connsiteX27935" fmla="*/ 1531857 w 10505529"/>
              <a:gd name="connsiteY27935" fmla="*/ 2837640 h 7458372"/>
              <a:gd name="connsiteX27936" fmla="*/ 1553688 w 10505529"/>
              <a:gd name="connsiteY27936" fmla="*/ 2828988 h 7458372"/>
              <a:gd name="connsiteX27937" fmla="*/ 1336044 w 10505529"/>
              <a:gd name="connsiteY27937" fmla="*/ 2828988 h 7458372"/>
              <a:gd name="connsiteX27938" fmla="*/ 1347760 w 10505529"/>
              <a:gd name="connsiteY27938" fmla="*/ 2831516 h 7458372"/>
              <a:gd name="connsiteX27939" fmla="*/ 1357078 w 10505529"/>
              <a:gd name="connsiteY27939" fmla="*/ 2837906 h 7458372"/>
              <a:gd name="connsiteX27940" fmla="*/ 1363200 w 10505529"/>
              <a:gd name="connsiteY27940" fmla="*/ 2847357 h 7458372"/>
              <a:gd name="connsiteX27941" fmla="*/ 1365463 w 10505529"/>
              <a:gd name="connsiteY27941" fmla="*/ 2858806 h 7458372"/>
              <a:gd name="connsiteX27942" fmla="*/ 1363200 w 10505529"/>
              <a:gd name="connsiteY27942" fmla="*/ 2870520 h 7458372"/>
              <a:gd name="connsiteX27943" fmla="*/ 1357078 w 10505529"/>
              <a:gd name="connsiteY27943" fmla="*/ 2879838 h 7458372"/>
              <a:gd name="connsiteX27944" fmla="*/ 1347760 w 10505529"/>
              <a:gd name="connsiteY27944" fmla="*/ 2886095 h 7458372"/>
              <a:gd name="connsiteX27945" fmla="*/ 1336044 w 10505529"/>
              <a:gd name="connsiteY27945" fmla="*/ 2888359 h 7458372"/>
              <a:gd name="connsiteX27946" fmla="*/ 1314212 w 10505529"/>
              <a:gd name="connsiteY27946" fmla="*/ 2879838 h 7458372"/>
              <a:gd name="connsiteX27947" fmla="*/ 1305826 w 10505529"/>
              <a:gd name="connsiteY27947" fmla="*/ 2858673 h 7458372"/>
              <a:gd name="connsiteX27948" fmla="*/ 1314212 w 10505529"/>
              <a:gd name="connsiteY27948" fmla="*/ 2837640 h 7458372"/>
              <a:gd name="connsiteX27949" fmla="*/ 1336044 w 10505529"/>
              <a:gd name="connsiteY27949" fmla="*/ 2828988 h 7458372"/>
              <a:gd name="connsiteX27950" fmla="*/ 1118399 w 10505529"/>
              <a:gd name="connsiteY27950" fmla="*/ 2828988 h 7458372"/>
              <a:gd name="connsiteX27951" fmla="*/ 1130116 w 10505529"/>
              <a:gd name="connsiteY27951" fmla="*/ 2831516 h 7458372"/>
              <a:gd name="connsiteX27952" fmla="*/ 1139433 w 10505529"/>
              <a:gd name="connsiteY27952" fmla="*/ 2837906 h 7458372"/>
              <a:gd name="connsiteX27953" fmla="*/ 1145553 w 10505529"/>
              <a:gd name="connsiteY27953" fmla="*/ 2847357 h 7458372"/>
              <a:gd name="connsiteX27954" fmla="*/ 1147817 w 10505529"/>
              <a:gd name="connsiteY27954" fmla="*/ 2858806 h 7458372"/>
              <a:gd name="connsiteX27955" fmla="*/ 1145553 w 10505529"/>
              <a:gd name="connsiteY27955" fmla="*/ 2870520 h 7458372"/>
              <a:gd name="connsiteX27956" fmla="*/ 1139433 w 10505529"/>
              <a:gd name="connsiteY27956" fmla="*/ 2879838 h 7458372"/>
              <a:gd name="connsiteX27957" fmla="*/ 1130116 w 10505529"/>
              <a:gd name="connsiteY27957" fmla="*/ 2886095 h 7458372"/>
              <a:gd name="connsiteX27958" fmla="*/ 1118399 w 10505529"/>
              <a:gd name="connsiteY27958" fmla="*/ 2888359 h 7458372"/>
              <a:gd name="connsiteX27959" fmla="*/ 1096565 w 10505529"/>
              <a:gd name="connsiteY27959" fmla="*/ 2879838 h 7458372"/>
              <a:gd name="connsiteX27960" fmla="*/ 1088180 w 10505529"/>
              <a:gd name="connsiteY27960" fmla="*/ 2858673 h 7458372"/>
              <a:gd name="connsiteX27961" fmla="*/ 1096565 w 10505529"/>
              <a:gd name="connsiteY27961" fmla="*/ 2837640 h 7458372"/>
              <a:gd name="connsiteX27962" fmla="*/ 1118399 w 10505529"/>
              <a:gd name="connsiteY27962" fmla="*/ 2828988 h 7458372"/>
              <a:gd name="connsiteX27963" fmla="*/ 900886 w 10505529"/>
              <a:gd name="connsiteY27963" fmla="*/ 2828988 h 7458372"/>
              <a:gd name="connsiteX27964" fmla="*/ 912601 w 10505529"/>
              <a:gd name="connsiteY27964" fmla="*/ 2831516 h 7458372"/>
              <a:gd name="connsiteX27965" fmla="*/ 921920 w 10505529"/>
              <a:gd name="connsiteY27965" fmla="*/ 2837906 h 7458372"/>
              <a:gd name="connsiteX27966" fmla="*/ 928042 w 10505529"/>
              <a:gd name="connsiteY27966" fmla="*/ 2847357 h 7458372"/>
              <a:gd name="connsiteX27967" fmla="*/ 930305 w 10505529"/>
              <a:gd name="connsiteY27967" fmla="*/ 2858806 h 7458372"/>
              <a:gd name="connsiteX27968" fmla="*/ 928042 w 10505529"/>
              <a:gd name="connsiteY27968" fmla="*/ 2870520 h 7458372"/>
              <a:gd name="connsiteX27969" fmla="*/ 921920 w 10505529"/>
              <a:gd name="connsiteY27969" fmla="*/ 2879838 h 7458372"/>
              <a:gd name="connsiteX27970" fmla="*/ 912601 w 10505529"/>
              <a:gd name="connsiteY27970" fmla="*/ 2886095 h 7458372"/>
              <a:gd name="connsiteX27971" fmla="*/ 900886 w 10505529"/>
              <a:gd name="connsiteY27971" fmla="*/ 2888359 h 7458372"/>
              <a:gd name="connsiteX27972" fmla="*/ 879056 w 10505529"/>
              <a:gd name="connsiteY27972" fmla="*/ 2879838 h 7458372"/>
              <a:gd name="connsiteX27973" fmla="*/ 870670 w 10505529"/>
              <a:gd name="connsiteY27973" fmla="*/ 2858673 h 7458372"/>
              <a:gd name="connsiteX27974" fmla="*/ 879056 w 10505529"/>
              <a:gd name="connsiteY27974" fmla="*/ 2837640 h 7458372"/>
              <a:gd name="connsiteX27975" fmla="*/ 900886 w 10505529"/>
              <a:gd name="connsiteY27975" fmla="*/ 2828988 h 7458372"/>
              <a:gd name="connsiteX27976" fmla="*/ 683244 w 10505529"/>
              <a:gd name="connsiteY27976" fmla="*/ 2828988 h 7458372"/>
              <a:gd name="connsiteX27977" fmla="*/ 694959 w 10505529"/>
              <a:gd name="connsiteY27977" fmla="*/ 2831516 h 7458372"/>
              <a:gd name="connsiteX27978" fmla="*/ 704277 w 10505529"/>
              <a:gd name="connsiteY27978" fmla="*/ 2837906 h 7458372"/>
              <a:gd name="connsiteX27979" fmla="*/ 710400 w 10505529"/>
              <a:gd name="connsiteY27979" fmla="*/ 2847357 h 7458372"/>
              <a:gd name="connsiteX27980" fmla="*/ 712663 w 10505529"/>
              <a:gd name="connsiteY27980" fmla="*/ 2858806 h 7458372"/>
              <a:gd name="connsiteX27981" fmla="*/ 710400 w 10505529"/>
              <a:gd name="connsiteY27981" fmla="*/ 2870520 h 7458372"/>
              <a:gd name="connsiteX27982" fmla="*/ 704277 w 10505529"/>
              <a:gd name="connsiteY27982" fmla="*/ 2879838 h 7458372"/>
              <a:gd name="connsiteX27983" fmla="*/ 694959 w 10505529"/>
              <a:gd name="connsiteY27983" fmla="*/ 2886095 h 7458372"/>
              <a:gd name="connsiteX27984" fmla="*/ 683244 w 10505529"/>
              <a:gd name="connsiteY27984" fmla="*/ 2888359 h 7458372"/>
              <a:gd name="connsiteX27985" fmla="*/ 661413 w 10505529"/>
              <a:gd name="connsiteY27985" fmla="*/ 2879838 h 7458372"/>
              <a:gd name="connsiteX27986" fmla="*/ 653027 w 10505529"/>
              <a:gd name="connsiteY27986" fmla="*/ 2858673 h 7458372"/>
              <a:gd name="connsiteX27987" fmla="*/ 661413 w 10505529"/>
              <a:gd name="connsiteY27987" fmla="*/ 2837640 h 7458372"/>
              <a:gd name="connsiteX27988" fmla="*/ 683244 w 10505529"/>
              <a:gd name="connsiteY27988" fmla="*/ 2828988 h 7458372"/>
              <a:gd name="connsiteX27989" fmla="*/ 465601 w 10505529"/>
              <a:gd name="connsiteY27989" fmla="*/ 2828988 h 7458372"/>
              <a:gd name="connsiteX27990" fmla="*/ 477316 w 10505529"/>
              <a:gd name="connsiteY27990" fmla="*/ 2831516 h 7458372"/>
              <a:gd name="connsiteX27991" fmla="*/ 486634 w 10505529"/>
              <a:gd name="connsiteY27991" fmla="*/ 2837906 h 7458372"/>
              <a:gd name="connsiteX27992" fmla="*/ 492757 w 10505529"/>
              <a:gd name="connsiteY27992" fmla="*/ 2847357 h 7458372"/>
              <a:gd name="connsiteX27993" fmla="*/ 495020 w 10505529"/>
              <a:gd name="connsiteY27993" fmla="*/ 2858806 h 7458372"/>
              <a:gd name="connsiteX27994" fmla="*/ 492757 w 10505529"/>
              <a:gd name="connsiteY27994" fmla="*/ 2870520 h 7458372"/>
              <a:gd name="connsiteX27995" fmla="*/ 486634 w 10505529"/>
              <a:gd name="connsiteY27995" fmla="*/ 2879838 h 7458372"/>
              <a:gd name="connsiteX27996" fmla="*/ 477316 w 10505529"/>
              <a:gd name="connsiteY27996" fmla="*/ 2886095 h 7458372"/>
              <a:gd name="connsiteX27997" fmla="*/ 465601 w 10505529"/>
              <a:gd name="connsiteY27997" fmla="*/ 2888359 h 7458372"/>
              <a:gd name="connsiteX27998" fmla="*/ 443770 w 10505529"/>
              <a:gd name="connsiteY27998" fmla="*/ 2879838 h 7458372"/>
              <a:gd name="connsiteX27999" fmla="*/ 435384 w 10505529"/>
              <a:gd name="connsiteY27999" fmla="*/ 2858673 h 7458372"/>
              <a:gd name="connsiteX28000" fmla="*/ 443770 w 10505529"/>
              <a:gd name="connsiteY28000" fmla="*/ 2837640 h 7458372"/>
              <a:gd name="connsiteX28001" fmla="*/ 465601 w 10505529"/>
              <a:gd name="connsiteY28001" fmla="*/ 2828988 h 7458372"/>
              <a:gd name="connsiteX28002" fmla="*/ 247958 w 10505529"/>
              <a:gd name="connsiteY28002" fmla="*/ 2828988 h 7458372"/>
              <a:gd name="connsiteX28003" fmla="*/ 259673 w 10505529"/>
              <a:gd name="connsiteY28003" fmla="*/ 2831516 h 7458372"/>
              <a:gd name="connsiteX28004" fmla="*/ 268991 w 10505529"/>
              <a:gd name="connsiteY28004" fmla="*/ 2837906 h 7458372"/>
              <a:gd name="connsiteX28005" fmla="*/ 275114 w 10505529"/>
              <a:gd name="connsiteY28005" fmla="*/ 2847357 h 7458372"/>
              <a:gd name="connsiteX28006" fmla="*/ 277377 w 10505529"/>
              <a:gd name="connsiteY28006" fmla="*/ 2858806 h 7458372"/>
              <a:gd name="connsiteX28007" fmla="*/ 275114 w 10505529"/>
              <a:gd name="connsiteY28007" fmla="*/ 2870520 h 7458372"/>
              <a:gd name="connsiteX28008" fmla="*/ 268991 w 10505529"/>
              <a:gd name="connsiteY28008" fmla="*/ 2879838 h 7458372"/>
              <a:gd name="connsiteX28009" fmla="*/ 259673 w 10505529"/>
              <a:gd name="connsiteY28009" fmla="*/ 2886095 h 7458372"/>
              <a:gd name="connsiteX28010" fmla="*/ 247958 w 10505529"/>
              <a:gd name="connsiteY28010" fmla="*/ 2888359 h 7458372"/>
              <a:gd name="connsiteX28011" fmla="*/ 226127 w 10505529"/>
              <a:gd name="connsiteY28011" fmla="*/ 2879838 h 7458372"/>
              <a:gd name="connsiteX28012" fmla="*/ 217742 w 10505529"/>
              <a:gd name="connsiteY28012" fmla="*/ 2858673 h 7458372"/>
              <a:gd name="connsiteX28013" fmla="*/ 226127 w 10505529"/>
              <a:gd name="connsiteY28013" fmla="*/ 2837640 h 7458372"/>
              <a:gd name="connsiteX28014" fmla="*/ 247958 w 10505529"/>
              <a:gd name="connsiteY28014" fmla="*/ 2828988 h 7458372"/>
              <a:gd name="connsiteX28015" fmla="*/ 30315 w 10505529"/>
              <a:gd name="connsiteY28015" fmla="*/ 2828988 h 7458372"/>
              <a:gd name="connsiteX28016" fmla="*/ 42030 w 10505529"/>
              <a:gd name="connsiteY28016" fmla="*/ 2831516 h 7458372"/>
              <a:gd name="connsiteX28017" fmla="*/ 51348 w 10505529"/>
              <a:gd name="connsiteY28017" fmla="*/ 2837906 h 7458372"/>
              <a:gd name="connsiteX28018" fmla="*/ 57471 w 10505529"/>
              <a:gd name="connsiteY28018" fmla="*/ 2847357 h 7458372"/>
              <a:gd name="connsiteX28019" fmla="*/ 59734 w 10505529"/>
              <a:gd name="connsiteY28019" fmla="*/ 2858806 h 7458372"/>
              <a:gd name="connsiteX28020" fmla="*/ 57471 w 10505529"/>
              <a:gd name="connsiteY28020" fmla="*/ 2870520 h 7458372"/>
              <a:gd name="connsiteX28021" fmla="*/ 51348 w 10505529"/>
              <a:gd name="connsiteY28021" fmla="*/ 2879838 h 7458372"/>
              <a:gd name="connsiteX28022" fmla="*/ 42030 w 10505529"/>
              <a:gd name="connsiteY28022" fmla="*/ 2886095 h 7458372"/>
              <a:gd name="connsiteX28023" fmla="*/ 30315 w 10505529"/>
              <a:gd name="connsiteY28023" fmla="*/ 2888359 h 7458372"/>
              <a:gd name="connsiteX28024" fmla="*/ 8485 w 10505529"/>
              <a:gd name="connsiteY28024" fmla="*/ 2879838 h 7458372"/>
              <a:gd name="connsiteX28025" fmla="*/ 99 w 10505529"/>
              <a:gd name="connsiteY28025" fmla="*/ 2858673 h 7458372"/>
              <a:gd name="connsiteX28026" fmla="*/ 8485 w 10505529"/>
              <a:gd name="connsiteY28026" fmla="*/ 2837640 h 7458372"/>
              <a:gd name="connsiteX28027" fmla="*/ 30315 w 10505529"/>
              <a:gd name="connsiteY28027" fmla="*/ 2828988 h 7458372"/>
              <a:gd name="connsiteX28028" fmla="*/ 10475977 w 10505529"/>
              <a:gd name="connsiteY28028" fmla="*/ 2628116 h 7458372"/>
              <a:gd name="connsiteX28029" fmla="*/ 10465992 w 10505529"/>
              <a:gd name="connsiteY28029" fmla="*/ 2631711 h 7458372"/>
              <a:gd name="connsiteX28030" fmla="*/ 10462399 w 10505529"/>
              <a:gd name="connsiteY28030" fmla="*/ 2641161 h 7458372"/>
              <a:gd name="connsiteX28031" fmla="*/ 10465992 w 10505529"/>
              <a:gd name="connsiteY28031" fmla="*/ 2650612 h 7458372"/>
              <a:gd name="connsiteX28032" fmla="*/ 10475977 w 10505529"/>
              <a:gd name="connsiteY28032" fmla="*/ 2654073 h 7458372"/>
              <a:gd name="connsiteX28033" fmla="*/ 10481302 w 10505529"/>
              <a:gd name="connsiteY28033" fmla="*/ 2653141 h 7458372"/>
              <a:gd name="connsiteX28034" fmla="*/ 10485029 w 10505529"/>
              <a:gd name="connsiteY28034" fmla="*/ 2650745 h 7458372"/>
              <a:gd name="connsiteX28035" fmla="*/ 10487691 w 10505529"/>
              <a:gd name="connsiteY28035" fmla="*/ 2646486 h 7458372"/>
              <a:gd name="connsiteX28036" fmla="*/ 10488623 w 10505529"/>
              <a:gd name="connsiteY28036" fmla="*/ 2641028 h 7458372"/>
              <a:gd name="connsiteX28037" fmla="*/ 10487691 w 10505529"/>
              <a:gd name="connsiteY28037" fmla="*/ 2635836 h 7458372"/>
              <a:gd name="connsiteX28038" fmla="*/ 10485029 w 10505529"/>
              <a:gd name="connsiteY28038" fmla="*/ 2631711 h 7458372"/>
              <a:gd name="connsiteX28039" fmla="*/ 10481035 w 10505529"/>
              <a:gd name="connsiteY28039" fmla="*/ 2629047 h 7458372"/>
              <a:gd name="connsiteX28040" fmla="*/ 10475977 w 10505529"/>
              <a:gd name="connsiteY28040" fmla="*/ 2628116 h 7458372"/>
              <a:gd name="connsiteX28041" fmla="*/ 10258466 w 10505529"/>
              <a:gd name="connsiteY28041" fmla="*/ 2628116 h 7458372"/>
              <a:gd name="connsiteX28042" fmla="*/ 10248481 w 10505529"/>
              <a:gd name="connsiteY28042" fmla="*/ 2631711 h 7458372"/>
              <a:gd name="connsiteX28043" fmla="*/ 10244887 w 10505529"/>
              <a:gd name="connsiteY28043" fmla="*/ 2641161 h 7458372"/>
              <a:gd name="connsiteX28044" fmla="*/ 10248481 w 10505529"/>
              <a:gd name="connsiteY28044" fmla="*/ 2650612 h 7458372"/>
              <a:gd name="connsiteX28045" fmla="*/ 10258466 w 10505529"/>
              <a:gd name="connsiteY28045" fmla="*/ 2654073 h 7458372"/>
              <a:gd name="connsiteX28046" fmla="*/ 10263790 w 10505529"/>
              <a:gd name="connsiteY28046" fmla="*/ 2653141 h 7458372"/>
              <a:gd name="connsiteX28047" fmla="*/ 10267517 w 10505529"/>
              <a:gd name="connsiteY28047" fmla="*/ 2650745 h 7458372"/>
              <a:gd name="connsiteX28048" fmla="*/ 10270180 w 10505529"/>
              <a:gd name="connsiteY28048" fmla="*/ 2646486 h 7458372"/>
              <a:gd name="connsiteX28049" fmla="*/ 10271112 w 10505529"/>
              <a:gd name="connsiteY28049" fmla="*/ 2641028 h 7458372"/>
              <a:gd name="connsiteX28050" fmla="*/ 10270180 w 10505529"/>
              <a:gd name="connsiteY28050" fmla="*/ 2635836 h 7458372"/>
              <a:gd name="connsiteX28051" fmla="*/ 10267517 w 10505529"/>
              <a:gd name="connsiteY28051" fmla="*/ 2631711 h 7458372"/>
              <a:gd name="connsiteX28052" fmla="*/ 10263524 w 10505529"/>
              <a:gd name="connsiteY28052" fmla="*/ 2629047 h 7458372"/>
              <a:gd name="connsiteX28053" fmla="*/ 10258466 w 10505529"/>
              <a:gd name="connsiteY28053" fmla="*/ 2628116 h 7458372"/>
              <a:gd name="connsiteX28054" fmla="*/ 10040820 w 10505529"/>
              <a:gd name="connsiteY28054" fmla="*/ 2628116 h 7458372"/>
              <a:gd name="connsiteX28055" fmla="*/ 10030835 w 10505529"/>
              <a:gd name="connsiteY28055" fmla="*/ 2631711 h 7458372"/>
              <a:gd name="connsiteX28056" fmla="*/ 10027242 w 10505529"/>
              <a:gd name="connsiteY28056" fmla="*/ 2641161 h 7458372"/>
              <a:gd name="connsiteX28057" fmla="*/ 10030835 w 10505529"/>
              <a:gd name="connsiteY28057" fmla="*/ 2650612 h 7458372"/>
              <a:gd name="connsiteX28058" fmla="*/ 10040820 w 10505529"/>
              <a:gd name="connsiteY28058" fmla="*/ 2654073 h 7458372"/>
              <a:gd name="connsiteX28059" fmla="*/ 10046145 w 10505529"/>
              <a:gd name="connsiteY28059" fmla="*/ 2653141 h 7458372"/>
              <a:gd name="connsiteX28060" fmla="*/ 10049872 w 10505529"/>
              <a:gd name="connsiteY28060" fmla="*/ 2650745 h 7458372"/>
              <a:gd name="connsiteX28061" fmla="*/ 10052534 w 10505529"/>
              <a:gd name="connsiteY28061" fmla="*/ 2646486 h 7458372"/>
              <a:gd name="connsiteX28062" fmla="*/ 10053599 w 10505529"/>
              <a:gd name="connsiteY28062" fmla="*/ 2641028 h 7458372"/>
              <a:gd name="connsiteX28063" fmla="*/ 10052534 w 10505529"/>
              <a:gd name="connsiteY28063" fmla="*/ 2635836 h 7458372"/>
              <a:gd name="connsiteX28064" fmla="*/ 10049872 w 10505529"/>
              <a:gd name="connsiteY28064" fmla="*/ 2631711 h 7458372"/>
              <a:gd name="connsiteX28065" fmla="*/ 10045878 w 10505529"/>
              <a:gd name="connsiteY28065" fmla="*/ 2629047 h 7458372"/>
              <a:gd name="connsiteX28066" fmla="*/ 10040820 w 10505529"/>
              <a:gd name="connsiteY28066" fmla="*/ 2628116 h 7458372"/>
              <a:gd name="connsiteX28067" fmla="*/ 9823176 w 10505529"/>
              <a:gd name="connsiteY28067" fmla="*/ 2628116 h 7458372"/>
              <a:gd name="connsiteX28068" fmla="*/ 9813191 w 10505529"/>
              <a:gd name="connsiteY28068" fmla="*/ 2631711 h 7458372"/>
              <a:gd name="connsiteX28069" fmla="*/ 9809597 w 10505529"/>
              <a:gd name="connsiteY28069" fmla="*/ 2641161 h 7458372"/>
              <a:gd name="connsiteX28070" fmla="*/ 9813191 w 10505529"/>
              <a:gd name="connsiteY28070" fmla="*/ 2650612 h 7458372"/>
              <a:gd name="connsiteX28071" fmla="*/ 9823176 w 10505529"/>
              <a:gd name="connsiteY28071" fmla="*/ 2654073 h 7458372"/>
              <a:gd name="connsiteX28072" fmla="*/ 9828501 w 10505529"/>
              <a:gd name="connsiteY28072" fmla="*/ 2653141 h 7458372"/>
              <a:gd name="connsiteX28073" fmla="*/ 9832227 w 10505529"/>
              <a:gd name="connsiteY28073" fmla="*/ 2650745 h 7458372"/>
              <a:gd name="connsiteX28074" fmla="*/ 9834890 w 10505529"/>
              <a:gd name="connsiteY28074" fmla="*/ 2646486 h 7458372"/>
              <a:gd name="connsiteX28075" fmla="*/ 9835955 w 10505529"/>
              <a:gd name="connsiteY28075" fmla="*/ 2641028 h 7458372"/>
              <a:gd name="connsiteX28076" fmla="*/ 9834890 w 10505529"/>
              <a:gd name="connsiteY28076" fmla="*/ 2635836 h 7458372"/>
              <a:gd name="connsiteX28077" fmla="*/ 9832227 w 10505529"/>
              <a:gd name="connsiteY28077" fmla="*/ 2631711 h 7458372"/>
              <a:gd name="connsiteX28078" fmla="*/ 9828234 w 10505529"/>
              <a:gd name="connsiteY28078" fmla="*/ 2629047 h 7458372"/>
              <a:gd name="connsiteX28079" fmla="*/ 9823176 w 10505529"/>
              <a:gd name="connsiteY28079" fmla="*/ 2628116 h 7458372"/>
              <a:gd name="connsiteX28080" fmla="*/ 9605531 w 10505529"/>
              <a:gd name="connsiteY28080" fmla="*/ 2628116 h 7458372"/>
              <a:gd name="connsiteX28081" fmla="*/ 9595546 w 10505529"/>
              <a:gd name="connsiteY28081" fmla="*/ 2631711 h 7458372"/>
              <a:gd name="connsiteX28082" fmla="*/ 9591952 w 10505529"/>
              <a:gd name="connsiteY28082" fmla="*/ 2641161 h 7458372"/>
              <a:gd name="connsiteX28083" fmla="*/ 9595546 w 10505529"/>
              <a:gd name="connsiteY28083" fmla="*/ 2650612 h 7458372"/>
              <a:gd name="connsiteX28084" fmla="*/ 9605531 w 10505529"/>
              <a:gd name="connsiteY28084" fmla="*/ 2654073 h 7458372"/>
              <a:gd name="connsiteX28085" fmla="*/ 9610855 w 10505529"/>
              <a:gd name="connsiteY28085" fmla="*/ 2653141 h 7458372"/>
              <a:gd name="connsiteX28086" fmla="*/ 9614582 w 10505529"/>
              <a:gd name="connsiteY28086" fmla="*/ 2650745 h 7458372"/>
              <a:gd name="connsiteX28087" fmla="*/ 9617245 w 10505529"/>
              <a:gd name="connsiteY28087" fmla="*/ 2646486 h 7458372"/>
              <a:gd name="connsiteX28088" fmla="*/ 9618309 w 10505529"/>
              <a:gd name="connsiteY28088" fmla="*/ 2641028 h 7458372"/>
              <a:gd name="connsiteX28089" fmla="*/ 9617245 w 10505529"/>
              <a:gd name="connsiteY28089" fmla="*/ 2635836 h 7458372"/>
              <a:gd name="connsiteX28090" fmla="*/ 9614582 w 10505529"/>
              <a:gd name="connsiteY28090" fmla="*/ 2631711 h 7458372"/>
              <a:gd name="connsiteX28091" fmla="*/ 9610589 w 10505529"/>
              <a:gd name="connsiteY28091" fmla="*/ 2629047 h 7458372"/>
              <a:gd name="connsiteX28092" fmla="*/ 9605531 w 10505529"/>
              <a:gd name="connsiteY28092" fmla="*/ 2628116 h 7458372"/>
              <a:gd name="connsiteX28093" fmla="*/ 9387885 w 10505529"/>
              <a:gd name="connsiteY28093" fmla="*/ 2628116 h 7458372"/>
              <a:gd name="connsiteX28094" fmla="*/ 9377900 w 10505529"/>
              <a:gd name="connsiteY28094" fmla="*/ 2631711 h 7458372"/>
              <a:gd name="connsiteX28095" fmla="*/ 9374307 w 10505529"/>
              <a:gd name="connsiteY28095" fmla="*/ 2641161 h 7458372"/>
              <a:gd name="connsiteX28096" fmla="*/ 9377900 w 10505529"/>
              <a:gd name="connsiteY28096" fmla="*/ 2650612 h 7458372"/>
              <a:gd name="connsiteX28097" fmla="*/ 9387885 w 10505529"/>
              <a:gd name="connsiteY28097" fmla="*/ 2654073 h 7458372"/>
              <a:gd name="connsiteX28098" fmla="*/ 9393210 w 10505529"/>
              <a:gd name="connsiteY28098" fmla="*/ 2653141 h 7458372"/>
              <a:gd name="connsiteX28099" fmla="*/ 9396937 w 10505529"/>
              <a:gd name="connsiteY28099" fmla="*/ 2650745 h 7458372"/>
              <a:gd name="connsiteX28100" fmla="*/ 9399599 w 10505529"/>
              <a:gd name="connsiteY28100" fmla="*/ 2646486 h 7458372"/>
              <a:gd name="connsiteX28101" fmla="*/ 9400664 w 10505529"/>
              <a:gd name="connsiteY28101" fmla="*/ 2641028 h 7458372"/>
              <a:gd name="connsiteX28102" fmla="*/ 9399599 w 10505529"/>
              <a:gd name="connsiteY28102" fmla="*/ 2635836 h 7458372"/>
              <a:gd name="connsiteX28103" fmla="*/ 9396937 w 10505529"/>
              <a:gd name="connsiteY28103" fmla="*/ 2631711 h 7458372"/>
              <a:gd name="connsiteX28104" fmla="*/ 9392943 w 10505529"/>
              <a:gd name="connsiteY28104" fmla="*/ 2629047 h 7458372"/>
              <a:gd name="connsiteX28105" fmla="*/ 9387885 w 10505529"/>
              <a:gd name="connsiteY28105" fmla="*/ 2628116 h 7458372"/>
              <a:gd name="connsiteX28106" fmla="*/ 9170374 w 10505529"/>
              <a:gd name="connsiteY28106" fmla="*/ 2628116 h 7458372"/>
              <a:gd name="connsiteX28107" fmla="*/ 9160389 w 10505529"/>
              <a:gd name="connsiteY28107" fmla="*/ 2631711 h 7458372"/>
              <a:gd name="connsiteX28108" fmla="*/ 9156795 w 10505529"/>
              <a:gd name="connsiteY28108" fmla="*/ 2641161 h 7458372"/>
              <a:gd name="connsiteX28109" fmla="*/ 9160389 w 10505529"/>
              <a:gd name="connsiteY28109" fmla="*/ 2650612 h 7458372"/>
              <a:gd name="connsiteX28110" fmla="*/ 9170374 w 10505529"/>
              <a:gd name="connsiteY28110" fmla="*/ 2654073 h 7458372"/>
              <a:gd name="connsiteX28111" fmla="*/ 9175698 w 10505529"/>
              <a:gd name="connsiteY28111" fmla="*/ 2653141 h 7458372"/>
              <a:gd name="connsiteX28112" fmla="*/ 9179425 w 10505529"/>
              <a:gd name="connsiteY28112" fmla="*/ 2650745 h 7458372"/>
              <a:gd name="connsiteX28113" fmla="*/ 9182088 w 10505529"/>
              <a:gd name="connsiteY28113" fmla="*/ 2646486 h 7458372"/>
              <a:gd name="connsiteX28114" fmla="*/ 9183152 w 10505529"/>
              <a:gd name="connsiteY28114" fmla="*/ 2641028 h 7458372"/>
              <a:gd name="connsiteX28115" fmla="*/ 9182088 w 10505529"/>
              <a:gd name="connsiteY28115" fmla="*/ 2635836 h 7458372"/>
              <a:gd name="connsiteX28116" fmla="*/ 9179425 w 10505529"/>
              <a:gd name="connsiteY28116" fmla="*/ 2631711 h 7458372"/>
              <a:gd name="connsiteX28117" fmla="*/ 9175432 w 10505529"/>
              <a:gd name="connsiteY28117" fmla="*/ 2629047 h 7458372"/>
              <a:gd name="connsiteX28118" fmla="*/ 9170374 w 10505529"/>
              <a:gd name="connsiteY28118" fmla="*/ 2628116 h 7458372"/>
              <a:gd name="connsiteX28119" fmla="*/ 8952728 w 10505529"/>
              <a:gd name="connsiteY28119" fmla="*/ 2628116 h 7458372"/>
              <a:gd name="connsiteX28120" fmla="*/ 8942743 w 10505529"/>
              <a:gd name="connsiteY28120" fmla="*/ 2631711 h 7458372"/>
              <a:gd name="connsiteX28121" fmla="*/ 8939150 w 10505529"/>
              <a:gd name="connsiteY28121" fmla="*/ 2641161 h 7458372"/>
              <a:gd name="connsiteX28122" fmla="*/ 8942743 w 10505529"/>
              <a:gd name="connsiteY28122" fmla="*/ 2650612 h 7458372"/>
              <a:gd name="connsiteX28123" fmla="*/ 8952728 w 10505529"/>
              <a:gd name="connsiteY28123" fmla="*/ 2654073 h 7458372"/>
              <a:gd name="connsiteX28124" fmla="*/ 8958053 w 10505529"/>
              <a:gd name="connsiteY28124" fmla="*/ 2653141 h 7458372"/>
              <a:gd name="connsiteX28125" fmla="*/ 8961780 w 10505529"/>
              <a:gd name="connsiteY28125" fmla="*/ 2650745 h 7458372"/>
              <a:gd name="connsiteX28126" fmla="*/ 8964442 w 10505529"/>
              <a:gd name="connsiteY28126" fmla="*/ 2646486 h 7458372"/>
              <a:gd name="connsiteX28127" fmla="*/ 8965507 w 10505529"/>
              <a:gd name="connsiteY28127" fmla="*/ 2641028 h 7458372"/>
              <a:gd name="connsiteX28128" fmla="*/ 8964442 w 10505529"/>
              <a:gd name="connsiteY28128" fmla="*/ 2635836 h 7458372"/>
              <a:gd name="connsiteX28129" fmla="*/ 8961780 w 10505529"/>
              <a:gd name="connsiteY28129" fmla="*/ 2631711 h 7458372"/>
              <a:gd name="connsiteX28130" fmla="*/ 8957786 w 10505529"/>
              <a:gd name="connsiteY28130" fmla="*/ 2629047 h 7458372"/>
              <a:gd name="connsiteX28131" fmla="*/ 8952728 w 10505529"/>
              <a:gd name="connsiteY28131" fmla="*/ 2628116 h 7458372"/>
              <a:gd name="connsiteX28132" fmla="*/ 8735083 w 10505529"/>
              <a:gd name="connsiteY28132" fmla="*/ 2628116 h 7458372"/>
              <a:gd name="connsiteX28133" fmla="*/ 8725098 w 10505529"/>
              <a:gd name="connsiteY28133" fmla="*/ 2631711 h 7458372"/>
              <a:gd name="connsiteX28134" fmla="*/ 8721504 w 10505529"/>
              <a:gd name="connsiteY28134" fmla="*/ 2641161 h 7458372"/>
              <a:gd name="connsiteX28135" fmla="*/ 8725098 w 10505529"/>
              <a:gd name="connsiteY28135" fmla="*/ 2650612 h 7458372"/>
              <a:gd name="connsiteX28136" fmla="*/ 8735083 w 10505529"/>
              <a:gd name="connsiteY28136" fmla="*/ 2654073 h 7458372"/>
              <a:gd name="connsiteX28137" fmla="*/ 8740407 w 10505529"/>
              <a:gd name="connsiteY28137" fmla="*/ 2653141 h 7458372"/>
              <a:gd name="connsiteX28138" fmla="*/ 8744134 w 10505529"/>
              <a:gd name="connsiteY28138" fmla="*/ 2650745 h 7458372"/>
              <a:gd name="connsiteX28139" fmla="*/ 8746797 w 10505529"/>
              <a:gd name="connsiteY28139" fmla="*/ 2646486 h 7458372"/>
              <a:gd name="connsiteX28140" fmla="*/ 8747862 w 10505529"/>
              <a:gd name="connsiteY28140" fmla="*/ 2641028 h 7458372"/>
              <a:gd name="connsiteX28141" fmla="*/ 8746797 w 10505529"/>
              <a:gd name="connsiteY28141" fmla="*/ 2635836 h 7458372"/>
              <a:gd name="connsiteX28142" fmla="*/ 8744134 w 10505529"/>
              <a:gd name="connsiteY28142" fmla="*/ 2631711 h 7458372"/>
              <a:gd name="connsiteX28143" fmla="*/ 8740141 w 10505529"/>
              <a:gd name="connsiteY28143" fmla="*/ 2629047 h 7458372"/>
              <a:gd name="connsiteX28144" fmla="*/ 8735083 w 10505529"/>
              <a:gd name="connsiteY28144" fmla="*/ 2628116 h 7458372"/>
              <a:gd name="connsiteX28145" fmla="*/ 8517438 w 10505529"/>
              <a:gd name="connsiteY28145" fmla="*/ 2628116 h 7458372"/>
              <a:gd name="connsiteX28146" fmla="*/ 8507453 w 10505529"/>
              <a:gd name="connsiteY28146" fmla="*/ 2631711 h 7458372"/>
              <a:gd name="connsiteX28147" fmla="*/ 8503860 w 10505529"/>
              <a:gd name="connsiteY28147" fmla="*/ 2641161 h 7458372"/>
              <a:gd name="connsiteX28148" fmla="*/ 8507453 w 10505529"/>
              <a:gd name="connsiteY28148" fmla="*/ 2650612 h 7458372"/>
              <a:gd name="connsiteX28149" fmla="*/ 8517438 w 10505529"/>
              <a:gd name="connsiteY28149" fmla="*/ 2654073 h 7458372"/>
              <a:gd name="connsiteX28150" fmla="*/ 8522763 w 10505529"/>
              <a:gd name="connsiteY28150" fmla="*/ 2653141 h 7458372"/>
              <a:gd name="connsiteX28151" fmla="*/ 8526490 w 10505529"/>
              <a:gd name="connsiteY28151" fmla="*/ 2650745 h 7458372"/>
              <a:gd name="connsiteX28152" fmla="*/ 8529152 w 10505529"/>
              <a:gd name="connsiteY28152" fmla="*/ 2646486 h 7458372"/>
              <a:gd name="connsiteX28153" fmla="*/ 8530084 w 10505529"/>
              <a:gd name="connsiteY28153" fmla="*/ 2641028 h 7458372"/>
              <a:gd name="connsiteX28154" fmla="*/ 8529152 w 10505529"/>
              <a:gd name="connsiteY28154" fmla="*/ 2635836 h 7458372"/>
              <a:gd name="connsiteX28155" fmla="*/ 8526490 w 10505529"/>
              <a:gd name="connsiteY28155" fmla="*/ 2631711 h 7458372"/>
              <a:gd name="connsiteX28156" fmla="*/ 8522496 w 10505529"/>
              <a:gd name="connsiteY28156" fmla="*/ 2629047 h 7458372"/>
              <a:gd name="connsiteX28157" fmla="*/ 8517438 w 10505529"/>
              <a:gd name="connsiteY28157" fmla="*/ 2628116 h 7458372"/>
              <a:gd name="connsiteX28158" fmla="*/ 8299793 w 10505529"/>
              <a:gd name="connsiteY28158" fmla="*/ 2628116 h 7458372"/>
              <a:gd name="connsiteX28159" fmla="*/ 8289809 w 10505529"/>
              <a:gd name="connsiteY28159" fmla="*/ 2631711 h 7458372"/>
              <a:gd name="connsiteX28160" fmla="*/ 8286215 w 10505529"/>
              <a:gd name="connsiteY28160" fmla="*/ 2641161 h 7458372"/>
              <a:gd name="connsiteX28161" fmla="*/ 8289809 w 10505529"/>
              <a:gd name="connsiteY28161" fmla="*/ 2650612 h 7458372"/>
              <a:gd name="connsiteX28162" fmla="*/ 8299793 w 10505529"/>
              <a:gd name="connsiteY28162" fmla="*/ 2654073 h 7458372"/>
              <a:gd name="connsiteX28163" fmla="*/ 8305118 w 10505529"/>
              <a:gd name="connsiteY28163" fmla="*/ 2653141 h 7458372"/>
              <a:gd name="connsiteX28164" fmla="*/ 8308844 w 10505529"/>
              <a:gd name="connsiteY28164" fmla="*/ 2650745 h 7458372"/>
              <a:gd name="connsiteX28165" fmla="*/ 8311507 w 10505529"/>
              <a:gd name="connsiteY28165" fmla="*/ 2646486 h 7458372"/>
              <a:gd name="connsiteX28166" fmla="*/ 8312439 w 10505529"/>
              <a:gd name="connsiteY28166" fmla="*/ 2641028 h 7458372"/>
              <a:gd name="connsiteX28167" fmla="*/ 8311507 w 10505529"/>
              <a:gd name="connsiteY28167" fmla="*/ 2635836 h 7458372"/>
              <a:gd name="connsiteX28168" fmla="*/ 8308844 w 10505529"/>
              <a:gd name="connsiteY28168" fmla="*/ 2631711 h 7458372"/>
              <a:gd name="connsiteX28169" fmla="*/ 8304851 w 10505529"/>
              <a:gd name="connsiteY28169" fmla="*/ 2629047 h 7458372"/>
              <a:gd name="connsiteX28170" fmla="*/ 8299793 w 10505529"/>
              <a:gd name="connsiteY28170" fmla="*/ 2628116 h 7458372"/>
              <a:gd name="connsiteX28171" fmla="*/ 8082281 w 10505529"/>
              <a:gd name="connsiteY28171" fmla="*/ 2628116 h 7458372"/>
              <a:gd name="connsiteX28172" fmla="*/ 8072297 w 10505529"/>
              <a:gd name="connsiteY28172" fmla="*/ 2631711 h 7458372"/>
              <a:gd name="connsiteX28173" fmla="*/ 8068703 w 10505529"/>
              <a:gd name="connsiteY28173" fmla="*/ 2641161 h 7458372"/>
              <a:gd name="connsiteX28174" fmla="*/ 8072297 w 10505529"/>
              <a:gd name="connsiteY28174" fmla="*/ 2650612 h 7458372"/>
              <a:gd name="connsiteX28175" fmla="*/ 8082281 w 10505529"/>
              <a:gd name="connsiteY28175" fmla="*/ 2654073 h 7458372"/>
              <a:gd name="connsiteX28176" fmla="*/ 8087605 w 10505529"/>
              <a:gd name="connsiteY28176" fmla="*/ 2653141 h 7458372"/>
              <a:gd name="connsiteX28177" fmla="*/ 8091332 w 10505529"/>
              <a:gd name="connsiteY28177" fmla="*/ 2650745 h 7458372"/>
              <a:gd name="connsiteX28178" fmla="*/ 8093994 w 10505529"/>
              <a:gd name="connsiteY28178" fmla="*/ 2646486 h 7458372"/>
              <a:gd name="connsiteX28179" fmla="*/ 8094926 w 10505529"/>
              <a:gd name="connsiteY28179" fmla="*/ 2641028 h 7458372"/>
              <a:gd name="connsiteX28180" fmla="*/ 8093994 w 10505529"/>
              <a:gd name="connsiteY28180" fmla="*/ 2635836 h 7458372"/>
              <a:gd name="connsiteX28181" fmla="*/ 8091332 w 10505529"/>
              <a:gd name="connsiteY28181" fmla="*/ 2631711 h 7458372"/>
              <a:gd name="connsiteX28182" fmla="*/ 8087338 w 10505529"/>
              <a:gd name="connsiteY28182" fmla="*/ 2629047 h 7458372"/>
              <a:gd name="connsiteX28183" fmla="*/ 8082281 w 10505529"/>
              <a:gd name="connsiteY28183" fmla="*/ 2628116 h 7458372"/>
              <a:gd name="connsiteX28184" fmla="*/ 7864636 w 10505529"/>
              <a:gd name="connsiteY28184" fmla="*/ 2628116 h 7458372"/>
              <a:gd name="connsiteX28185" fmla="*/ 7854652 w 10505529"/>
              <a:gd name="connsiteY28185" fmla="*/ 2631711 h 7458372"/>
              <a:gd name="connsiteX28186" fmla="*/ 7851058 w 10505529"/>
              <a:gd name="connsiteY28186" fmla="*/ 2641161 h 7458372"/>
              <a:gd name="connsiteX28187" fmla="*/ 7854652 w 10505529"/>
              <a:gd name="connsiteY28187" fmla="*/ 2650612 h 7458372"/>
              <a:gd name="connsiteX28188" fmla="*/ 7864636 w 10505529"/>
              <a:gd name="connsiteY28188" fmla="*/ 2654073 h 7458372"/>
              <a:gd name="connsiteX28189" fmla="*/ 7869961 w 10505529"/>
              <a:gd name="connsiteY28189" fmla="*/ 2653141 h 7458372"/>
              <a:gd name="connsiteX28190" fmla="*/ 7873687 w 10505529"/>
              <a:gd name="connsiteY28190" fmla="*/ 2650745 h 7458372"/>
              <a:gd name="connsiteX28191" fmla="*/ 7876350 w 10505529"/>
              <a:gd name="connsiteY28191" fmla="*/ 2646486 h 7458372"/>
              <a:gd name="connsiteX28192" fmla="*/ 7877282 w 10505529"/>
              <a:gd name="connsiteY28192" fmla="*/ 2641028 h 7458372"/>
              <a:gd name="connsiteX28193" fmla="*/ 7876350 w 10505529"/>
              <a:gd name="connsiteY28193" fmla="*/ 2635836 h 7458372"/>
              <a:gd name="connsiteX28194" fmla="*/ 7873687 w 10505529"/>
              <a:gd name="connsiteY28194" fmla="*/ 2631711 h 7458372"/>
              <a:gd name="connsiteX28195" fmla="*/ 7869694 w 10505529"/>
              <a:gd name="connsiteY28195" fmla="*/ 2629047 h 7458372"/>
              <a:gd name="connsiteX28196" fmla="*/ 7864636 w 10505529"/>
              <a:gd name="connsiteY28196" fmla="*/ 2628116 h 7458372"/>
              <a:gd name="connsiteX28197" fmla="*/ 7646991 w 10505529"/>
              <a:gd name="connsiteY28197" fmla="*/ 2628116 h 7458372"/>
              <a:gd name="connsiteX28198" fmla="*/ 7637007 w 10505529"/>
              <a:gd name="connsiteY28198" fmla="*/ 2631711 h 7458372"/>
              <a:gd name="connsiteX28199" fmla="*/ 7633413 w 10505529"/>
              <a:gd name="connsiteY28199" fmla="*/ 2641161 h 7458372"/>
              <a:gd name="connsiteX28200" fmla="*/ 7637007 w 10505529"/>
              <a:gd name="connsiteY28200" fmla="*/ 2650612 h 7458372"/>
              <a:gd name="connsiteX28201" fmla="*/ 7646991 w 10505529"/>
              <a:gd name="connsiteY28201" fmla="*/ 2654073 h 7458372"/>
              <a:gd name="connsiteX28202" fmla="*/ 7652315 w 10505529"/>
              <a:gd name="connsiteY28202" fmla="*/ 2653141 h 7458372"/>
              <a:gd name="connsiteX28203" fmla="*/ 7656042 w 10505529"/>
              <a:gd name="connsiteY28203" fmla="*/ 2650745 h 7458372"/>
              <a:gd name="connsiteX28204" fmla="*/ 7658705 w 10505529"/>
              <a:gd name="connsiteY28204" fmla="*/ 2646486 h 7458372"/>
              <a:gd name="connsiteX28205" fmla="*/ 7659769 w 10505529"/>
              <a:gd name="connsiteY28205" fmla="*/ 2641028 h 7458372"/>
              <a:gd name="connsiteX28206" fmla="*/ 7658705 w 10505529"/>
              <a:gd name="connsiteY28206" fmla="*/ 2635836 h 7458372"/>
              <a:gd name="connsiteX28207" fmla="*/ 7656042 w 10505529"/>
              <a:gd name="connsiteY28207" fmla="*/ 2631711 h 7458372"/>
              <a:gd name="connsiteX28208" fmla="*/ 7652049 w 10505529"/>
              <a:gd name="connsiteY28208" fmla="*/ 2629047 h 7458372"/>
              <a:gd name="connsiteX28209" fmla="*/ 7646991 w 10505529"/>
              <a:gd name="connsiteY28209" fmla="*/ 2628116 h 7458372"/>
              <a:gd name="connsiteX28210" fmla="*/ 7429345 w 10505529"/>
              <a:gd name="connsiteY28210" fmla="*/ 2628116 h 7458372"/>
              <a:gd name="connsiteX28211" fmla="*/ 7419361 w 10505529"/>
              <a:gd name="connsiteY28211" fmla="*/ 2631711 h 7458372"/>
              <a:gd name="connsiteX28212" fmla="*/ 7415768 w 10505529"/>
              <a:gd name="connsiteY28212" fmla="*/ 2641161 h 7458372"/>
              <a:gd name="connsiteX28213" fmla="*/ 7419361 w 10505529"/>
              <a:gd name="connsiteY28213" fmla="*/ 2650612 h 7458372"/>
              <a:gd name="connsiteX28214" fmla="*/ 7429345 w 10505529"/>
              <a:gd name="connsiteY28214" fmla="*/ 2654073 h 7458372"/>
              <a:gd name="connsiteX28215" fmla="*/ 7434670 w 10505529"/>
              <a:gd name="connsiteY28215" fmla="*/ 2653141 h 7458372"/>
              <a:gd name="connsiteX28216" fmla="*/ 7438397 w 10505529"/>
              <a:gd name="connsiteY28216" fmla="*/ 2650745 h 7458372"/>
              <a:gd name="connsiteX28217" fmla="*/ 7441059 w 10505529"/>
              <a:gd name="connsiteY28217" fmla="*/ 2646486 h 7458372"/>
              <a:gd name="connsiteX28218" fmla="*/ 7442124 w 10505529"/>
              <a:gd name="connsiteY28218" fmla="*/ 2641028 h 7458372"/>
              <a:gd name="connsiteX28219" fmla="*/ 7441059 w 10505529"/>
              <a:gd name="connsiteY28219" fmla="*/ 2635836 h 7458372"/>
              <a:gd name="connsiteX28220" fmla="*/ 7438397 w 10505529"/>
              <a:gd name="connsiteY28220" fmla="*/ 2631711 h 7458372"/>
              <a:gd name="connsiteX28221" fmla="*/ 7434403 w 10505529"/>
              <a:gd name="connsiteY28221" fmla="*/ 2629047 h 7458372"/>
              <a:gd name="connsiteX28222" fmla="*/ 7429345 w 10505529"/>
              <a:gd name="connsiteY28222" fmla="*/ 2628116 h 7458372"/>
              <a:gd name="connsiteX28223" fmla="*/ 7211701 w 10505529"/>
              <a:gd name="connsiteY28223" fmla="*/ 2628116 h 7458372"/>
              <a:gd name="connsiteX28224" fmla="*/ 7201717 w 10505529"/>
              <a:gd name="connsiteY28224" fmla="*/ 2631711 h 7458372"/>
              <a:gd name="connsiteX28225" fmla="*/ 7198123 w 10505529"/>
              <a:gd name="connsiteY28225" fmla="*/ 2641161 h 7458372"/>
              <a:gd name="connsiteX28226" fmla="*/ 7201717 w 10505529"/>
              <a:gd name="connsiteY28226" fmla="*/ 2650612 h 7458372"/>
              <a:gd name="connsiteX28227" fmla="*/ 7211701 w 10505529"/>
              <a:gd name="connsiteY28227" fmla="*/ 2654073 h 7458372"/>
              <a:gd name="connsiteX28228" fmla="*/ 7217026 w 10505529"/>
              <a:gd name="connsiteY28228" fmla="*/ 2653141 h 7458372"/>
              <a:gd name="connsiteX28229" fmla="*/ 7220752 w 10505529"/>
              <a:gd name="connsiteY28229" fmla="*/ 2650745 h 7458372"/>
              <a:gd name="connsiteX28230" fmla="*/ 7223415 w 10505529"/>
              <a:gd name="connsiteY28230" fmla="*/ 2646486 h 7458372"/>
              <a:gd name="connsiteX28231" fmla="*/ 7224480 w 10505529"/>
              <a:gd name="connsiteY28231" fmla="*/ 2641028 h 7458372"/>
              <a:gd name="connsiteX28232" fmla="*/ 7223415 w 10505529"/>
              <a:gd name="connsiteY28232" fmla="*/ 2635836 h 7458372"/>
              <a:gd name="connsiteX28233" fmla="*/ 7220752 w 10505529"/>
              <a:gd name="connsiteY28233" fmla="*/ 2631711 h 7458372"/>
              <a:gd name="connsiteX28234" fmla="*/ 7216759 w 10505529"/>
              <a:gd name="connsiteY28234" fmla="*/ 2629047 h 7458372"/>
              <a:gd name="connsiteX28235" fmla="*/ 7211701 w 10505529"/>
              <a:gd name="connsiteY28235" fmla="*/ 2628116 h 7458372"/>
              <a:gd name="connsiteX28236" fmla="*/ 6994056 w 10505529"/>
              <a:gd name="connsiteY28236" fmla="*/ 2628116 h 7458372"/>
              <a:gd name="connsiteX28237" fmla="*/ 6984072 w 10505529"/>
              <a:gd name="connsiteY28237" fmla="*/ 2631711 h 7458372"/>
              <a:gd name="connsiteX28238" fmla="*/ 6980478 w 10505529"/>
              <a:gd name="connsiteY28238" fmla="*/ 2641161 h 7458372"/>
              <a:gd name="connsiteX28239" fmla="*/ 6984072 w 10505529"/>
              <a:gd name="connsiteY28239" fmla="*/ 2650612 h 7458372"/>
              <a:gd name="connsiteX28240" fmla="*/ 6994056 w 10505529"/>
              <a:gd name="connsiteY28240" fmla="*/ 2654073 h 7458372"/>
              <a:gd name="connsiteX28241" fmla="*/ 6999380 w 10505529"/>
              <a:gd name="connsiteY28241" fmla="*/ 2653141 h 7458372"/>
              <a:gd name="connsiteX28242" fmla="*/ 7003107 w 10505529"/>
              <a:gd name="connsiteY28242" fmla="*/ 2650745 h 7458372"/>
              <a:gd name="connsiteX28243" fmla="*/ 7005769 w 10505529"/>
              <a:gd name="connsiteY28243" fmla="*/ 2646486 h 7458372"/>
              <a:gd name="connsiteX28244" fmla="*/ 7006834 w 10505529"/>
              <a:gd name="connsiteY28244" fmla="*/ 2641028 h 7458372"/>
              <a:gd name="connsiteX28245" fmla="*/ 7005769 w 10505529"/>
              <a:gd name="connsiteY28245" fmla="*/ 2635836 h 7458372"/>
              <a:gd name="connsiteX28246" fmla="*/ 7003107 w 10505529"/>
              <a:gd name="connsiteY28246" fmla="*/ 2631711 h 7458372"/>
              <a:gd name="connsiteX28247" fmla="*/ 6999113 w 10505529"/>
              <a:gd name="connsiteY28247" fmla="*/ 2629047 h 7458372"/>
              <a:gd name="connsiteX28248" fmla="*/ 6994056 w 10505529"/>
              <a:gd name="connsiteY28248" fmla="*/ 2628116 h 7458372"/>
              <a:gd name="connsiteX28249" fmla="*/ 6776544 w 10505529"/>
              <a:gd name="connsiteY28249" fmla="*/ 2628116 h 7458372"/>
              <a:gd name="connsiteX28250" fmla="*/ 6766560 w 10505529"/>
              <a:gd name="connsiteY28250" fmla="*/ 2631711 h 7458372"/>
              <a:gd name="connsiteX28251" fmla="*/ 6762966 w 10505529"/>
              <a:gd name="connsiteY28251" fmla="*/ 2641161 h 7458372"/>
              <a:gd name="connsiteX28252" fmla="*/ 6766560 w 10505529"/>
              <a:gd name="connsiteY28252" fmla="*/ 2650612 h 7458372"/>
              <a:gd name="connsiteX28253" fmla="*/ 6776544 w 10505529"/>
              <a:gd name="connsiteY28253" fmla="*/ 2654073 h 7458372"/>
              <a:gd name="connsiteX28254" fmla="*/ 6781869 w 10505529"/>
              <a:gd name="connsiteY28254" fmla="*/ 2653141 h 7458372"/>
              <a:gd name="connsiteX28255" fmla="*/ 6785595 w 10505529"/>
              <a:gd name="connsiteY28255" fmla="*/ 2650745 h 7458372"/>
              <a:gd name="connsiteX28256" fmla="*/ 6788258 w 10505529"/>
              <a:gd name="connsiteY28256" fmla="*/ 2646486 h 7458372"/>
              <a:gd name="connsiteX28257" fmla="*/ 6789323 w 10505529"/>
              <a:gd name="connsiteY28257" fmla="*/ 2641028 h 7458372"/>
              <a:gd name="connsiteX28258" fmla="*/ 6788258 w 10505529"/>
              <a:gd name="connsiteY28258" fmla="*/ 2635836 h 7458372"/>
              <a:gd name="connsiteX28259" fmla="*/ 6785595 w 10505529"/>
              <a:gd name="connsiteY28259" fmla="*/ 2631711 h 7458372"/>
              <a:gd name="connsiteX28260" fmla="*/ 6781602 w 10505529"/>
              <a:gd name="connsiteY28260" fmla="*/ 2629047 h 7458372"/>
              <a:gd name="connsiteX28261" fmla="*/ 6776544 w 10505529"/>
              <a:gd name="connsiteY28261" fmla="*/ 2628116 h 7458372"/>
              <a:gd name="connsiteX28262" fmla="*/ 6558899 w 10505529"/>
              <a:gd name="connsiteY28262" fmla="*/ 2628116 h 7458372"/>
              <a:gd name="connsiteX28263" fmla="*/ 6548915 w 10505529"/>
              <a:gd name="connsiteY28263" fmla="*/ 2631711 h 7458372"/>
              <a:gd name="connsiteX28264" fmla="*/ 6545321 w 10505529"/>
              <a:gd name="connsiteY28264" fmla="*/ 2641161 h 7458372"/>
              <a:gd name="connsiteX28265" fmla="*/ 6548915 w 10505529"/>
              <a:gd name="connsiteY28265" fmla="*/ 2650612 h 7458372"/>
              <a:gd name="connsiteX28266" fmla="*/ 6558899 w 10505529"/>
              <a:gd name="connsiteY28266" fmla="*/ 2654073 h 7458372"/>
              <a:gd name="connsiteX28267" fmla="*/ 6564223 w 10505529"/>
              <a:gd name="connsiteY28267" fmla="*/ 2653141 h 7458372"/>
              <a:gd name="connsiteX28268" fmla="*/ 6567950 w 10505529"/>
              <a:gd name="connsiteY28268" fmla="*/ 2650745 h 7458372"/>
              <a:gd name="connsiteX28269" fmla="*/ 6570612 w 10505529"/>
              <a:gd name="connsiteY28269" fmla="*/ 2646486 h 7458372"/>
              <a:gd name="connsiteX28270" fmla="*/ 6571677 w 10505529"/>
              <a:gd name="connsiteY28270" fmla="*/ 2641028 h 7458372"/>
              <a:gd name="connsiteX28271" fmla="*/ 6570612 w 10505529"/>
              <a:gd name="connsiteY28271" fmla="*/ 2635836 h 7458372"/>
              <a:gd name="connsiteX28272" fmla="*/ 6567950 w 10505529"/>
              <a:gd name="connsiteY28272" fmla="*/ 2631711 h 7458372"/>
              <a:gd name="connsiteX28273" fmla="*/ 6563956 w 10505529"/>
              <a:gd name="connsiteY28273" fmla="*/ 2629047 h 7458372"/>
              <a:gd name="connsiteX28274" fmla="*/ 6558899 w 10505529"/>
              <a:gd name="connsiteY28274" fmla="*/ 2628116 h 7458372"/>
              <a:gd name="connsiteX28275" fmla="*/ 6341253 w 10505529"/>
              <a:gd name="connsiteY28275" fmla="*/ 2628116 h 7458372"/>
              <a:gd name="connsiteX28276" fmla="*/ 6331270 w 10505529"/>
              <a:gd name="connsiteY28276" fmla="*/ 2631711 h 7458372"/>
              <a:gd name="connsiteX28277" fmla="*/ 6327675 w 10505529"/>
              <a:gd name="connsiteY28277" fmla="*/ 2641161 h 7458372"/>
              <a:gd name="connsiteX28278" fmla="*/ 6331270 w 10505529"/>
              <a:gd name="connsiteY28278" fmla="*/ 2650612 h 7458372"/>
              <a:gd name="connsiteX28279" fmla="*/ 6341253 w 10505529"/>
              <a:gd name="connsiteY28279" fmla="*/ 2654073 h 7458372"/>
              <a:gd name="connsiteX28280" fmla="*/ 6346578 w 10505529"/>
              <a:gd name="connsiteY28280" fmla="*/ 2653141 h 7458372"/>
              <a:gd name="connsiteX28281" fmla="*/ 6350305 w 10505529"/>
              <a:gd name="connsiteY28281" fmla="*/ 2650745 h 7458372"/>
              <a:gd name="connsiteX28282" fmla="*/ 6352968 w 10505529"/>
              <a:gd name="connsiteY28282" fmla="*/ 2646486 h 7458372"/>
              <a:gd name="connsiteX28283" fmla="*/ 6354033 w 10505529"/>
              <a:gd name="connsiteY28283" fmla="*/ 2641028 h 7458372"/>
              <a:gd name="connsiteX28284" fmla="*/ 6352968 w 10505529"/>
              <a:gd name="connsiteY28284" fmla="*/ 2635836 h 7458372"/>
              <a:gd name="connsiteX28285" fmla="*/ 6350305 w 10505529"/>
              <a:gd name="connsiteY28285" fmla="*/ 2631711 h 7458372"/>
              <a:gd name="connsiteX28286" fmla="*/ 6346312 w 10505529"/>
              <a:gd name="connsiteY28286" fmla="*/ 2629047 h 7458372"/>
              <a:gd name="connsiteX28287" fmla="*/ 6341253 w 10505529"/>
              <a:gd name="connsiteY28287" fmla="*/ 2628116 h 7458372"/>
              <a:gd name="connsiteX28288" fmla="*/ 6123608 w 10505529"/>
              <a:gd name="connsiteY28288" fmla="*/ 2628116 h 7458372"/>
              <a:gd name="connsiteX28289" fmla="*/ 6113624 w 10505529"/>
              <a:gd name="connsiteY28289" fmla="*/ 2631711 h 7458372"/>
              <a:gd name="connsiteX28290" fmla="*/ 6110030 w 10505529"/>
              <a:gd name="connsiteY28290" fmla="*/ 2641161 h 7458372"/>
              <a:gd name="connsiteX28291" fmla="*/ 6113624 w 10505529"/>
              <a:gd name="connsiteY28291" fmla="*/ 2650612 h 7458372"/>
              <a:gd name="connsiteX28292" fmla="*/ 6123608 w 10505529"/>
              <a:gd name="connsiteY28292" fmla="*/ 2654073 h 7458372"/>
              <a:gd name="connsiteX28293" fmla="*/ 6128932 w 10505529"/>
              <a:gd name="connsiteY28293" fmla="*/ 2653141 h 7458372"/>
              <a:gd name="connsiteX28294" fmla="*/ 6132659 w 10505529"/>
              <a:gd name="connsiteY28294" fmla="*/ 2650745 h 7458372"/>
              <a:gd name="connsiteX28295" fmla="*/ 6135322 w 10505529"/>
              <a:gd name="connsiteY28295" fmla="*/ 2646486 h 7458372"/>
              <a:gd name="connsiteX28296" fmla="*/ 6136387 w 10505529"/>
              <a:gd name="connsiteY28296" fmla="*/ 2641028 h 7458372"/>
              <a:gd name="connsiteX28297" fmla="*/ 6135322 w 10505529"/>
              <a:gd name="connsiteY28297" fmla="*/ 2635836 h 7458372"/>
              <a:gd name="connsiteX28298" fmla="*/ 6132659 w 10505529"/>
              <a:gd name="connsiteY28298" fmla="*/ 2631711 h 7458372"/>
              <a:gd name="connsiteX28299" fmla="*/ 6128666 w 10505529"/>
              <a:gd name="connsiteY28299" fmla="*/ 2629047 h 7458372"/>
              <a:gd name="connsiteX28300" fmla="*/ 6123608 w 10505529"/>
              <a:gd name="connsiteY28300" fmla="*/ 2628116 h 7458372"/>
              <a:gd name="connsiteX28301" fmla="*/ 5905963 w 10505529"/>
              <a:gd name="connsiteY28301" fmla="*/ 2628116 h 7458372"/>
              <a:gd name="connsiteX28302" fmla="*/ 5895979 w 10505529"/>
              <a:gd name="connsiteY28302" fmla="*/ 2631711 h 7458372"/>
              <a:gd name="connsiteX28303" fmla="*/ 5892385 w 10505529"/>
              <a:gd name="connsiteY28303" fmla="*/ 2641161 h 7458372"/>
              <a:gd name="connsiteX28304" fmla="*/ 5895979 w 10505529"/>
              <a:gd name="connsiteY28304" fmla="*/ 2650612 h 7458372"/>
              <a:gd name="connsiteX28305" fmla="*/ 5905963 w 10505529"/>
              <a:gd name="connsiteY28305" fmla="*/ 2654073 h 7458372"/>
              <a:gd name="connsiteX28306" fmla="*/ 5911287 w 10505529"/>
              <a:gd name="connsiteY28306" fmla="*/ 2653141 h 7458372"/>
              <a:gd name="connsiteX28307" fmla="*/ 5915014 w 10505529"/>
              <a:gd name="connsiteY28307" fmla="*/ 2650745 h 7458372"/>
              <a:gd name="connsiteX28308" fmla="*/ 5917677 w 10505529"/>
              <a:gd name="connsiteY28308" fmla="*/ 2646486 h 7458372"/>
              <a:gd name="connsiteX28309" fmla="*/ 5918742 w 10505529"/>
              <a:gd name="connsiteY28309" fmla="*/ 2641028 h 7458372"/>
              <a:gd name="connsiteX28310" fmla="*/ 5917677 w 10505529"/>
              <a:gd name="connsiteY28310" fmla="*/ 2635836 h 7458372"/>
              <a:gd name="connsiteX28311" fmla="*/ 5915014 w 10505529"/>
              <a:gd name="connsiteY28311" fmla="*/ 2631711 h 7458372"/>
              <a:gd name="connsiteX28312" fmla="*/ 5911021 w 10505529"/>
              <a:gd name="connsiteY28312" fmla="*/ 2629047 h 7458372"/>
              <a:gd name="connsiteX28313" fmla="*/ 5905963 w 10505529"/>
              <a:gd name="connsiteY28313" fmla="*/ 2628116 h 7458372"/>
              <a:gd name="connsiteX28314" fmla="*/ 5688451 w 10505529"/>
              <a:gd name="connsiteY28314" fmla="*/ 2628116 h 7458372"/>
              <a:gd name="connsiteX28315" fmla="*/ 5678467 w 10505529"/>
              <a:gd name="connsiteY28315" fmla="*/ 2631711 h 7458372"/>
              <a:gd name="connsiteX28316" fmla="*/ 5674873 w 10505529"/>
              <a:gd name="connsiteY28316" fmla="*/ 2641161 h 7458372"/>
              <a:gd name="connsiteX28317" fmla="*/ 5678467 w 10505529"/>
              <a:gd name="connsiteY28317" fmla="*/ 2650612 h 7458372"/>
              <a:gd name="connsiteX28318" fmla="*/ 5688451 w 10505529"/>
              <a:gd name="connsiteY28318" fmla="*/ 2654073 h 7458372"/>
              <a:gd name="connsiteX28319" fmla="*/ 5693775 w 10505529"/>
              <a:gd name="connsiteY28319" fmla="*/ 2653141 h 7458372"/>
              <a:gd name="connsiteX28320" fmla="*/ 5697502 w 10505529"/>
              <a:gd name="connsiteY28320" fmla="*/ 2650745 h 7458372"/>
              <a:gd name="connsiteX28321" fmla="*/ 5700165 w 10505529"/>
              <a:gd name="connsiteY28321" fmla="*/ 2646486 h 7458372"/>
              <a:gd name="connsiteX28322" fmla="*/ 5701230 w 10505529"/>
              <a:gd name="connsiteY28322" fmla="*/ 2641028 h 7458372"/>
              <a:gd name="connsiteX28323" fmla="*/ 5700165 w 10505529"/>
              <a:gd name="connsiteY28323" fmla="*/ 2635836 h 7458372"/>
              <a:gd name="connsiteX28324" fmla="*/ 5697502 w 10505529"/>
              <a:gd name="connsiteY28324" fmla="*/ 2631711 h 7458372"/>
              <a:gd name="connsiteX28325" fmla="*/ 5693509 w 10505529"/>
              <a:gd name="connsiteY28325" fmla="*/ 2629047 h 7458372"/>
              <a:gd name="connsiteX28326" fmla="*/ 5688451 w 10505529"/>
              <a:gd name="connsiteY28326" fmla="*/ 2628116 h 7458372"/>
              <a:gd name="connsiteX28327" fmla="*/ 5470806 w 10505529"/>
              <a:gd name="connsiteY28327" fmla="*/ 2628116 h 7458372"/>
              <a:gd name="connsiteX28328" fmla="*/ 5460822 w 10505529"/>
              <a:gd name="connsiteY28328" fmla="*/ 2631711 h 7458372"/>
              <a:gd name="connsiteX28329" fmla="*/ 5457228 w 10505529"/>
              <a:gd name="connsiteY28329" fmla="*/ 2641161 h 7458372"/>
              <a:gd name="connsiteX28330" fmla="*/ 5460822 w 10505529"/>
              <a:gd name="connsiteY28330" fmla="*/ 2650612 h 7458372"/>
              <a:gd name="connsiteX28331" fmla="*/ 5470806 w 10505529"/>
              <a:gd name="connsiteY28331" fmla="*/ 2654073 h 7458372"/>
              <a:gd name="connsiteX28332" fmla="*/ 5476130 w 10505529"/>
              <a:gd name="connsiteY28332" fmla="*/ 2653141 h 7458372"/>
              <a:gd name="connsiteX28333" fmla="*/ 5479857 w 10505529"/>
              <a:gd name="connsiteY28333" fmla="*/ 2650745 h 7458372"/>
              <a:gd name="connsiteX28334" fmla="*/ 5482520 w 10505529"/>
              <a:gd name="connsiteY28334" fmla="*/ 2646486 h 7458372"/>
              <a:gd name="connsiteX28335" fmla="*/ 5483585 w 10505529"/>
              <a:gd name="connsiteY28335" fmla="*/ 2641028 h 7458372"/>
              <a:gd name="connsiteX28336" fmla="*/ 5482520 w 10505529"/>
              <a:gd name="connsiteY28336" fmla="*/ 2635836 h 7458372"/>
              <a:gd name="connsiteX28337" fmla="*/ 5479857 w 10505529"/>
              <a:gd name="connsiteY28337" fmla="*/ 2631711 h 7458372"/>
              <a:gd name="connsiteX28338" fmla="*/ 5475864 w 10505529"/>
              <a:gd name="connsiteY28338" fmla="*/ 2629047 h 7458372"/>
              <a:gd name="connsiteX28339" fmla="*/ 5470806 w 10505529"/>
              <a:gd name="connsiteY28339" fmla="*/ 2628116 h 7458372"/>
              <a:gd name="connsiteX28340" fmla="*/ 5253160 w 10505529"/>
              <a:gd name="connsiteY28340" fmla="*/ 2628116 h 7458372"/>
              <a:gd name="connsiteX28341" fmla="*/ 5243177 w 10505529"/>
              <a:gd name="connsiteY28341" fmla="*/ 2631711 h 7458372"/>
              <a:gd name="connsiteX28342" fmla="*/ 5239583 w 10505529"/>
              <a:gd name="connsiteY28342" fmla="*/ 2641161 h 7458372"/>
              <a:gd name="connsiteX28343" fmla="*/ 5243177 w 10505529"/>
              <a:gd name="connsiteY28343" fmla="*/ 2650612 h 7458372"/>
              <a:gd name="connsiteX28344" fmla="*/ 5253160 w 10505529"/>
              <a:gd name="connsiteY28344" fmla="*/ 2654073 h 7458372"/>
              <a:gd name="connsiteX28345" fmla="*/ 5258485 w 10505529"/>
              <a:gd name="connsiteY28345" fmla="*/ 2653141 h 7458372"/>
              <a:gd name="connsiteX28346" fmla="*/ 5262212 w 10505529"/>
              <a:gd name="connsiteY28346" fmla="*/ 2650745 h 7458372"/>
              <a:gd name="connsiteX28347" fmla="*/ 5264875 w 10505529"/>
              <a:gd name="connsiteY28347" fmla="*/ 2646486 h 7458372"/>
              <a:gd name="connsiteX28348" fmla="*/ 5265939 w 10505529"/>
              <a:gd name="connsiteY28348" fmla="*/ 2641028 h 7458372"/>
              <a:gd name="connsiteX28349" fmla="*/ 5264875 w 10505529"/>
              <a:gd name="connsiteY28349" fmla="*/ 2635836 h 7458372"/>
              <a:gd name="connsiteX28350" fmla="*/ 5262212 w 10505529"/>
              <a:gd name="connsiteY28350" fmla="*/ 2631711 h 7458372"/>
              <a:gd name="connsiteX28351" fmla="*/ 5258219 w 10505529"/>
              <a:gd name="connsiteY28351" fmla="*/ 2629047 h 7458372"/>
              <a:gd name="connsiteX28352" fmla="*/ 5253160 w 10505529"/>
              <a:gd name="connsiteY28352" fmla="*/ 2628116 h 7458372"/>
              <a:gd name="connsiteX28353" fmla="*/ 5035515 w 10505529"/>
              <a:gd name="connsiteY28353" fmla="*/ 2628116 h 7458372"/>
              <a:gd name="connsiteX28354" fmla="*/ 5025532 w 10505529"/>
              <a:gd name="connsiteY28354" fmla="*/ 2631711 h 7458372"/>
              <a:gd name="connsiteX28355" fmla="*/ 5021938 w 10505529"/>
              <a:gd name="connsiteY28355" fmla="*/ 2641161 h 7458372"/>
              <a:gd name="connsiteX28356" fmla="*/ 5025532 w 10505529"/>
              <a:gd name="connsiteY28356" fmla="*/ 2650612 h 7458372"/>
              <a:gd name="connsiteX28357" fmla="*/ 5035515 w 10505529"/>
              <a:gd name="connsiteY28357" fmla="*/ 2654073 h 7458372"/>
              <a:gd name="connsiteX28358" fmla="*/ 5040840 w 10505529"/>
              <a:gd name="connsiteY28358" fmla="*/ 2653141 h 7458372"/>
              <a:gd name="connsiteX28359" fmla="*/ 5044567 w 10505529"/>
              <a:gd name="connsiteY28359" fmla="*/ 2650745 h 7458372"/>
              <a:gd name="connsiteX28360" fmla="*/ 5047230 w 10505529"/>
              <a:gd name="connsiteY28360" fmla="*/ 2646486 h 7458372"/>
              <a:gd name="connsiteX28361" fmla="*/ 5048294 w 10505529"/>
              <a:gd name="connsiteY28361" fmla="*/ 2641028 h 7458372"/>
              <a:gd name="connsiteX28362" fmla="*/ 5047230 w 10505529"/>
              <a:gd name="connsiteY28362" fmla="*/ 2635836 h 7458372"/>
              <a:gd name="connsiteX28363" fmla="*/ 5044567 w 10505529"/>
              <a:gd name="connsiteY28363" fmla="*/ 2631711 h 7458372"/>
              <a:gd name="connsiteX28364" fmla="*/ 5040574 w 10505529"/>
              <a:gd name="connsiteY28364" fmla="*/ 2629047 h 7458372"/>
              <a:gd name="connsiteX28365" fmla="*/ 5035515 w 10505529"/>
              <a:gd name="connsiteY28365" fmla="*/ 2628116 h 7458372"/>
              <a:gd name="connsiteX28366" fmla="*/ 4817870 w 10505529"/>
              <a:gd name="connsiteY28366" fmla="*/ 2628116 h 7458372"/>
              <a:gd name="connsiteX28367" fmla="*/ 4807887 w 10505529"/>
              <a:gd name="connsiteY28367" fmla="*/ 2631711 h 7458372"/>
              <a:gd name="connsiteX28368" fmla="*/ 4804293 w 10505529"/>
              <a:gd name="connsiteY28368" fmla="*/ 2641161 h 7458372"/>
              <a:gd name="connsiteX28369" fmla="*/ 4807887 w 10505529"/>
              <a:gd name="connsiteY28369" fmla="*/ 2650612 h 7458372"/>
              <a:gd name="connsiteX28370" fmla="*/ 4817870 w 10505529"/>
              <a:gd name="connsiteY28370" fmla="*/ 2654073 h 7458372"/>
              <a:gd name="connsiteX28371" fmla="*/ 4823195 w 10505529"/>
              <a:gd name="connsiteY28371" fmla="*/ 2653141 h 7458372"/>
              <a:gd name="connsiteX28372" fmla="*/ 4826922 w 10505529"/>
              <a:gd name="connsiteY28372" fmla="*/ 2650745 h 7458372"/>
              <a:gd name="connsiteX28373" fmla="*/ 4829585 w 10505529"/>
              <a:gd name="connsiteY28373" fmla="*/ 2646486 h 7458372"/>
              <a:gd name="connsiteX28374" fmla="*/ 4830650 w 10505529"/>
              <a:gd name="connsiteY28374" fmla="*/ 2641028 h 7458372"/>
              <a:gd name="connsiteX28375" fmla="*/ 4829585 w 10505529"/>
              <a:gd name="connsiteY28375" fmla="*/ 2635836 h 7458372"/>
              <a:gd name="connsiteX28376" fmla="*/ 4826922 w 10505529"/>
              <a:gd name="connsiteY28376" fmla="*/ 2631711 h 7458372"/>
              <a:gd name="connsiteX28377" fmla="*/ 4822929 w 10505529"/>
              <a:gd name="connsiteY28377" fmla="*/ 2629047 h 7458372"/>
              <a:gd name="connsiteX28378" fmla="*/ 4817870 w 10505529"/>
              <a:gd name="connsiteY28378" fmla="*/ 2628116 h 7458372"/>
              <a:gd name="connsiteX28379" fmla="*/ 4600226 w 10505529"/>
              <a:gd name="connsiteY28379" fmla="*/ 2628116 h 7458372"/>
              <a:gd name="connsiteX28380" fmla="*/ 4590242 w 10505529"/>
              <a:gd name="connsiteY28380" fmla="*/ 2631711 h 7458372"/>
              <a:gd name="connsiteX28381" fmla="*/ 4586648 w 10505529"/>
              <a:gd name="connsiteY28381" fmla="*/ 2641161 h 7458372"/>
              <a:gd name="connsiteX28382" fmla="*/ 4590242 w 10505529"/>
              <a:gd name="connsiteY28382" fmla="*/ 2650612 h 7458372"/>
              <a:gd name="connsiteX28383" fmla="*/ 4600226 w 10505529"/>
              <a:gd name="connsiteY28383" fmla="*/ 2654073 h 7458372"/>
              <a:gd name="connsiteX28384" fmla="*/ 4605550 w 10505529"/>
              <a:gd name="connsiteY28384" fmla="*/ 2653141 h 7458372"/>
              <a:gd name="connsiteX28385" fmla="*/ 4609277 w 10505529"/>
              <a:gd name="connsiteY28385" fmla="*/ 2650745 h 7458372"/>
              <a:gd name="connsiteX28386" fmla="*/ 4611940 w 10505529"/>
              <a:gd name="connsiteY28386" fmla="*/ 2646486 h 7458372"/>
              <a:gd name="connsiteX28387" fmla="*/ 4613005 w 10505529"/>
              <a:gd name="connsiteY28387" fmla="*/ 2641028 h 7458372"/>
              <a:gd name="connsiteX28388" fmla="*/ 4611940 w 10505529"/>
              <a:gd name="connsiteY28388" fmla="*/ 2635836 h 7458372"/>
              <a:gd name="connsiteX28389" fmla="*/ 4609277 w 10505529"/>
              <a:gd name="connsiteY28389" fmla="*/ 2631711 h 7458372"/>
              <a:gd name="connsiteX28390" fmla="*/ 4605284 w 10505529"/>
              <a:gd name="connsiteY28390" fmla="*/ 2629047 h 7458372"/>
              <a:gd name="connsiteX28391" fmla="*/ 4600226 w 10505529"/>
              <a:gd name="connsiteY28391" fmla="*/ 2628116 h 7458372"/>
              <a:gd name="connsiteX28392" fmla="*/ 4382713 w 10505529"/>
              <a:gd name="connsiteY28392" fmla="*/ 2628116 h 7458372"/>
              <a:gd name="connsiteX28393" fmla="*/ 4372730 w 10505529"/>
              <a:gd name="connsiteY28393" fmla="*/ 2631711 h 7458372"/>
              <a:gd name="connsiteX28394" fmla="*/ 4369136 w 10505529"/>
              <a:gd name="connsiteY28394" fmla="*/ 2641161 h 7458372"/>
              <a:gd name="connsiteX28395" fmla="*/ 4372730 w 10505529"/>
              <a:gd name="connsiteY28395" fmla="*/ 2650612 h 7458372"/>
              <a:gd name="connsiteX28396" fmla="*/ 4382713 w 10505529"/>
              <a:gd name="connsiteY28396" fmla="*/ 2654073 h 7458372"/>
              <a:gd name="connsiteX28397" fmla="*/ 4388038 w 10505529"/>
              <a:gd name="connsiteY28397" fmla="*/ 2653141 h 7458372"/>
              <a:gd name="connsiteX28398" fmla="*/ 4391765 w 10505529"/>
              <a:gd name="connsiteY28398" fmla="*/ 2650745 h 7458372"/>
              <a:gd name="connsiteX28399" fmla="*/ 4394428 w 10505529"/>
              <a:gd name="connsiteY28399" fmla="*/ 2646486 h 7458372"/>
              <a:gd name="connsiteX28400" fmla="*/ 4395493 w 10505529"/>
              <a:gd name="connsiteY28400" fmla="*/ 2641028 h 7458372"/>
              <a:gd name="connsiteX28401" fmla="*/ 4394428 w 10505529"/>
              <a:gd name="connsiteY28401" fmla="*/ 2635836 h 7458372"/>
              <a:gd name="connsiteX28402" fmla="*/ 4391765 w 10505529"/>
              <a:gd name="connsiteY28402" fmla="*/ 2631711 h 7458372"/>
              <a:gd name="connsiteX28403" fmla="*/ 4387772 w 10505529"/>
              <a:gd name="connsiteY28403" fmla="*/ 2629047 h 7458372"/>
              <a:gd name="connsiteX28404" fmla="*/ 4382713 w 10505529"/>
              <a:gd name="connsiteY28404" fmla="*/ 2628116 h 7458372"/>
              <a:gd name="connsiteX28405" fmla="*/ 4165068 w 10505529"/>
              <a:gd name="connsiteY28405" fmla="*/ 2628116 h 7458372"/>
              <a:gd name="connsiteX28406" fmla="*/ 4155084 w 10505529"/>
              <a:gd name="connsiteY28406" fmla="*/ 2631711 h 7458372"/>
              <a:gd name="connsiteX28407" fmla="*/ 4151490 w 10505529"/>
              <a:gd name="connsiteY28407" fmla="*/ 2641161 h 7458372"/>
              <a:gd name="connsiteX28408" fmla="*/ 4155084 w 10505529"/>
              <a:gd name="connsiteY28408" fmla="*/ 2650612 h 7458372"/>
              <a:gd name="connsiteX28409" fmla="*/ 4165068 w 10505529"/>
              <a:gd name="connsiteY28409" fmla="*/ 2654073 h 7458372"/>
              <a:gd name="connsiteX28410" fmla="*/ 4170392 w 10505529"/>
              <a:gd name="connsiteY28410" fmla="*/ 2653141 h 7458372"/>
              <a:gd name="connsiteX28411" fmla="*/ 4174119 w 10505529"/>
              <a:gd name="connsiteY28411" fmla="*/ 2650745 h 7458372"/>
              <a:gd name="connsiteX28412" fmla="*/ 4176782 w 10505529"/>
              <a:gd name="connsiteY28412" fmla="*/ 2646486 h 7458372"/>
              <a:gd name="connsiteX28413" fmla="*/ 4177847 w 10505529"/>
              <a:gd name="connsiteY28413" fmla="*/ 2641028 h 7458372"/>
              <a:gd name="connsiteX28414" fmla="*/ 4176782 w 10505529"/>
              <a:gd name="connsiteY28414" fmla="*/ 2635836 h 7458372"/>
              <a:gd name="connsiteX28415" fmla="*/ 4174119 w 10505529"/>
              <a:gd name="connsiteY28415" fmla="*/ 2631711 h 7458372"/>
              <a:gd name="connsiteX28416" fmla="*/ 4170126 w 10505529"/>
              <a:gd name="connsiteY28416" fmla="*/ 2629047 h 7458372"/>
              <a:gd name="connsiteX28417" fmla="*/ 4165068 w 10505529"/>
              <a:gd name="connsiteY28417" fmla="*/ 2628116 h 7458372"/>
              <a:gd name="connsiteX28418" fmla="*/ 3947570 w 10505529"/>
              <a:gd name="connsiteY28418" fmla="*/ 2628116 h 7458372"/>
              <a:gd name="connsiteX28419" fmla="*/ 3937587 w 10505529"/>
              <a:gd name="connsiteY28419" fmla="*/ 2631711 h 7458372"/>
              <a:gd name="connsiteX28420" fmla="*/ 3933992 w 10505529"/>
              <a:gd name="connsiteY28420" fmla="*/ 2641161 h 7458372"/>
              <a:gd name="connsiteX28421" fmla="*/ 3937587 w 10505529"/>
              <a:gd name="connsiteY28421" fmla="*/ 2650612 h 7458372"/>
              <a:gd name="connsiteX28422" fmla="*/ 3947570 w 10505529"/>
              <a:gd name="connsiteY28422" fmla="*/ 2654073 h 7458372"/>
              <a:gd name="connsiteX28423" fmla="*/ 3952896 w 10505529"/>
              <a:gd name="connsiteY28423" fmla="*/ 2653141 h 7458372"/>
              <a:gd name="connsiteX28424" fmla="*/ 3956623 w 10505529"/>
              <a:gd name="connsiteY28424" fmla="*/ 2650745 h 7458372"/>
              <a:gd name="connsiteX28425" fmla="*/ 3959286 w 10505529"/>
              <a:gd name="connsiteY28425" fmla="*/ 2646486 h 7458372"/>
              <a:gd name="connsiteX28426" fmla="*/ 3960351 w 10505529"/>
              <a:gd name="connsiteY28426" fmla="*/ 2641028 h 7458372"/>
              <a:gd name="connsiteX28427" fmla="*/ 3959286 w 10505529"/>
              <a:gd name="connsiteY28427" fmla="*/ 2635836 h 7458372"/>
              <a:gd name="connsiteX28428" fmla="*/ 3956623 w 10505529"/>
              <a:gd name="connsiteY28428" fmla="*/ 2631711 h 7458372"/>
              <a:gd name="connsiteX28429" fmla="*/ 3952629 w 10505529"/>
              <a:gd name="connsiteY28429" fmla="*/ 2629047 h 7458372"/>
              <a:gd name="connsiteX28430" fmla="*/ 3947570 w 10505529"/>
              <a:gd name="connsiteY28430" fmla="*/ 2628116 h 7458372"/>
              <a:gd name="connsiteX28431" fmla="*/ 3729918 w 10505529"/>
              <a:gd name="connsiteY28431" fmla="*/ 2628116 h 7458372"/>
              <a:gd name="connsiteX28432" fmla="*/ 3719932 w 10505529"/>
              <a:gd name="connsiteY28432" fmla="*/ 2631711 h 7458372"/>
              <a:gd name="connsiteX28433" fmla="*/ 3716340 w 10505529"/>
              <a:gd name="connsiteY28433" fmla="*/ 2641161 h 7458372"/>
              <a:gd name="connsiteX28434" fmla="*/ 3719932 w 10505529"/>
              <a:gd name="connsiteY28434" fmla="*/ 2650612 h 7458372"/>
              <a:gd name="connsiteX28435" fmla="*/ 3729918 w 10505529"/>
              <a:gd name="connsiteY28435" fmla="*/ 2654073 h 7458372"/>
              <a:gd name="connsiteX28436" fmla="*/ 3735243 w 10505529"/>
              <a:gd name="connsiteY28436" fmla="*/ 2653141 h 7458372"/>
              <a:gd name="connsiteX28437" fmla="*/ 3738970 w 10505529"/>
              <a:gd name="connsiteY28437" fmla="*/ 2650745 h 7458372"/>
              <a:gd name="connsiteX28438" fmla="*/ 3741633 w 10505529"/>
              <a:gd name="connsiteY28438" fmla="*/ 2646486 h 7458372"/>
              <a:gd name="connsiteX28439" fmla="*/ 3742697 w 10505529"/>
              <a:gd name="connsiteY28439" fmla="*/ 2641028 h 7458372"/>
              <a:gd name="connsiteX28440" fmla="*/ 3741633 w 10505529"/>
              <a:gd name="connsiteY28440" fmla="*/ 2635836 h 7458372"/>
              <a:gd name="connsiteX28441" fmla="*/ 3738970 w 10505529"/>
              <a:gd name="connsiteY28441" fmla="*/ 2631711 h 7458372"/>
              <a:gd name="connsiteX28442" fmla="*/ 3734977 w 10505529"/>
              <a:gd name="connsiteY28442" fmla="*/ 2629047 h 7458372"/>
              <a:gd name="connsiteX28443" fmla="*/ 3729918 w 10505529"/>
              <a:gd name="connsiteY28443" fmla="*/ 2628116 h 7458372"/>
              <a:gd name="connsiteX28444" fmla="*/ 3512265 w 10505529"/>
              <a:gd name="connsiteY28444" fmla="*/ 2628116 h 7458372"/>
              <a:gd name="connsiteX28445" fmla="*/ 3502279 w 10505529"/>
              <a:gd name="connsiteY28445" fmla="*/ 2631711 h 7458372"/>
              <a:gd name="connsiteX28446" fmla="*/ 3498686 w 10505529"/>
              <a:gd name="connsiteY28446" fmla="*/ 2641161 h 7458372"/>
              <a:gd name="connsiteX28447" fmla="*/ 3502279 w 10505529"/>
              <a:gd name="connsiteY28447" fmla="*/ 2650612 h 7458372"/>
              <a:gd name="connsiteX28448" fmla="*/ 3512265 w 10505529"/>
              <a:gd name="connsiteY28448" fmla="*/ 2654073 h 7458372"/>
              <a:gd name="connsiteX28449" fmla="*/ 3517590 w 10505529"/>
              <a:gd name="connsiteY28449" fmla="*/ 2653141 h 7458372"/>
              <a:gd name="connsiteX28450" fmla="*/ 3521317 w 10505529"/>
              <a:gd name="connsiteY28450" fmla="*/ 2650745 h 7458372"/>
              <a:gd name="connsiteX28451" fmla="*/ 3523981 w 10505529"/>
              <a:gd name="connsiteY28451" fmla="*/ 2646486 h 7458372"/>
              <a:gd name="connsiteX28452" fmla="*/ 3525046 w 10505529"/>
              <a:gd name="connsiteY28452" fmla="*/ 2641028 h 7458372"/>
              <a:gd name="connsiteX28453" fmla="*/ 3523981 w 10505529"/>
              <a:gd name="connsiteY28453" fmla="*/ 2635836 h 7458372"/>
              <a:gd name="connsiteX28454" fmla="*/ 3521317 w 10505529"/>
              <a:gd name="connsiteY28454" fmla="*/ 2631711 h 7458372"/>
              <a:gd name="connsiteX28455" fmla="*/ 3517324 w 10505529"/>
              <a:gd name="connsiteY28455" fmla="*/ 2629047 h 7458372"/>
              <a:gd name="connsiteX28456" fmla="*/ 3512265 w 10505529"/>
              <a:gd name="connsiteY28456" fmla="*/ 2628116 h 7458372"/>
              <a:gd name="connsiteX28457" fmla="*/ 3294745 w 10505529"/>
              <a:gd name="connsiteY28457" fmla="*/ 2628116 h 7458372"/>
              <a:gd name="connsiteX28458" fmla="*/ 3284761 w 10505529"/>
              <a:gd name="connsiteY28458" fmla="*/ 2631711 h 7458372"/>
              <a:gd name="connsiteX28459" fmla="*/ 3281167 w 10505529"/>
              <a:gd name="connsiteY28459" fmla="*/ 2641161 h 7458372"/>
              <a:gd name="connsiteX28460" fmla="*/ 3284761 w 10505529"/>
              <a:gd name="connsiteY28460" fmla="*/ 2650612 h 7458372"/>
              <a:gd name="connsiteX28461" fmla="*/ 3294745 w 10505529"/>
              <a:gd name="connsiteY28461" fmla="*/ 2654073 h 7458372"/>
              <a:gd name="connsiteX28462" fmla="*/ 3300071 w 10505529"/>
              <a:gd name="connsiteY28462" fmla="*/ 2653141 h 7458372"/>
              <a:gd name="connsiteX28463" fmla="*/ 3303798 w 10505529"/>
              <a:gd name="connsiteY28463" fmla="*/ 2650745 h 7458372"/>
              <a:gd name="connsiteX28464" fmla="*/ 3306461 w 10505529"/>
              <a:gd name="connsiteY28464" fmla="*/ 2646486 h 7458372"/>
              <a:gd name="connsiteX28465" fmla="*/ 3307525 w 10505529"/>
              <a:gd name="connsiteY28465" fmla="*/ 2641028 h 7458372"/>
              <a:gd name="connsiteX28466" fmla="*/ 3306461 w 10505529"/>
              <a:gd name="connsiteY28466" fmla="*/ 2635836 h 7458372"/>
              <a:gd name="connsiteX28467" fmla="*/ 3303798 w 10505529"/>
              <a:gd name="connsiteY28467" fmla="*/ 2631711 h 7458372"/>
              <a:gd name="connsiteX28468" fmla="*/ 3299805 w 10505529"/>
              <a:gd name="connsiteY28468" fmla="*/ 2629047 h 7458372"/>
              <a:gd name="connsiteX28469" fmla="*/ 3294745 w 10505529"/>
              <a:gd name="connsiteY28469" fmla="*/ 2628116 h 7458372"/>
              <a:gd name="connsiteX28470" fmla="*/ 3077226 w 10505529"/>
              <a:gd name="connsiteY28470" fmla="*/ 2628116 h 7458372"/>
              <a:gd name="connsiteX28471" fmla="*/ 3067243 w 10505529"/>
              <a:gd name="connsiteY28471" fmla="*/ 2631711 h 7458372"/>
              <a:gd name="connsiteX28472" fmla="*/ 3063514 w 10505529"/>
              <a:gd name="connsiteY28472" fmla="*/ 2641161 h 7458372"/>
              <a:gd name="connsiteX28473" fmla="*/ 3067108 w 10505529"/>
              <a:gd name="connsiteY28473" fmla="*/ 2650612 h 7458372"/>
              <a:gd name="connsiteX28474" fmla="*/ 3077093 w 10505529"/>
              <a:gd name="connsiteY28474" fmla="*/ 2654073 h 7458372"/>
              <a:gd name="connsiteX28475" fmla="*/ 3082551 w 10505529"/>
              <a:gd name="connsiteY28475" fmla="*/ 2653141 h 7458372"/>
              <a:gd name="connsiteX28476" fmla="*/ 3086278 w 10505529"/>
              <a:gd name="connsiteY28476" fmla="*/ 2650745 h 7458372"/>
              <a:gd name="connsiteX28477" fmla="*/ 3088941 w 10505529"/>
              <a:gd name="connsiteY28477" fmla="*/ 2646486 h 7458372"/>
              <a:gd name="connsiteX28478" fmla="*/ 3089873 w 10505529"/>
              <a:gd name="connsiteY28478" fmla="*/ 2641028 h 7458372"/>
              <a:gd name="connsiteX28479" fmla="*/ 3088941 w 10505529"/>
              <a:gd name="connsiteY28479" fmla="*/ 2635836 h 7458372"/>
              <a:gd name="connsiteX28480" fmla="*/ 3086278 w 10505529"/>
              <a:gd name="connsiteY28480" fmla="*/ 2631711 h 7458372"/>
              <a:gd name="connsiteX28481" fmla="*/ 3082285 w 10505529"/>
              <a:gd name="connsiteY28481" fmla="*/ 2629047 h 7458372"/>
              <a:gd name="connsiteX28482" fmla="*/ 3077226 w 10505529"/>
              <a:gd name="connsiteY28482" fmla="*/ 2628116 h 7458372"/>
              <a:gd name="connsiteX28483" fmla="*/ 2859440 w 10505529"/>
              <a:gd name="connsiteY28483" fmla="*/ 2628116 h 7458372"/>
              <a:gd name="connsiteX28484" fmla="*/ 2849455 w 10505529"/>
              <a:gd name="connsiteY28484" fmla="*/ 2631711 h 7458372"/>
              <a:gd name="connsiteX28485" fmla="*/ 2845860 w 10505529"/>
              <a:gd name="connsiteY28485" fmla="*/ 2641161 h 7458372"/>
              <a:gd name="connsiteX28486" fmla="*/ 2849455 w 10505529"/>
              <a:gd name="connsiteY28486" fmla="*/ 2650612 h 7458372"/>
              <a:gd name="connsiteX28487" fmla="*/ 2859440 w 10505529"/>
              <a:gd name="connsiteY28487" fmla="*/ 2654073 h 7458372"/>
              <a:gd name="connsiteX28488" fmla="*/ 2864765 w 10505529"/>
              <a:gd name="connsiteY28488" fmla="*/ 2653141 h 7458372"/>
              <a:gd name="connsiteX28489" fmla="*/ 2868492 w 10505529"/>
              <a:gd name="connsiteY28489" fmla="*/ 2650745 h 7458372"/>
              <a:gd name="connsiteX28490" fmla="*/ 2871155 w 10505529"/>
              <a:gd name="connsiteY28490" fmla="*/ 2646486 h 7458372"/>
              <a:gd name="connsiteX28491" fmla="*/ 2872086 w 10505529"/>
              <a:gd name="connsiteY28491" fmla="*/ 2641028 h 7458372"/>
              <a:gd name="connsiteX28492" fmla="*/ 2871155 w 10505529"/>
              <a:gd name="connsiteY28492" fmla="*/ 2635836 h 7458372"/>
              <a:gd name="connsiteX28493" fmla="*/ 2868492 w 10505529"/>
              <a:gd name="connsiteY28493" fmla="*/ 2631711 h 7458372"/>
              <a:gd name="connsiteX28494" fmla="*/ 2864500 w 10505529"/>
              <a:gd name="connsiteY28494" fmla="*/ 2629047 h 7458372"/>
              <a:gd name="connsiteX28495" fmla="*/ 2859440 w 10505529"/>
              <a:gd name="connsiteY28495" fmla="*/ 2628116 h 7458372"/>
              <a:gd name="connsiteX28496" fmla="*/ 2641787 w 10505529"/>
              <a:gd name="connsiteY28496" fmla="*/ 2628116 h 7458372"/>
              <a:gd name="connsiteX28497" fmla="*/ 2631804 w 10505529"/>
              <a:gd name="connsiteY28497" fmla="*/ 2631711 h 7458372"/>
              <a:gd name="connsiteX28498" fmla="*/ 2628210 w 10505529"/>
              <a:gd name="connsiteY28498" fmla="*/ 2641161 h 7458372"/>
              <a:gd name="connsiteX28499" fmla="*/ 2631804 w 10505529"/>
              <a:gd name="connsiteY28499" fmla="*/ 2650612 h 7458372"/>
              <a:gd name="connsiteX28500" fmla="*/ 2641787 w 10505529"/>
              <a:gd name="connsiteY28500" fmla="*/ 2654073 h 7458372"/>
              <a:gd name="connsiteX28501" fmla="*/ 2647113 w 10505529"/>
              <a:gd name="connsiteY28501" fmla="*/ 2653141 h 7458372"/>
              <a:gd name="connsiteX28502" fmla="*/ 2650840 w 10505529"/>
              <a:gd name="connsiteY28502" fmla="*/ 2650745 h 7458372"/>
              <a:gd name="connsiteX28503" fmla="*/ 2653503 w 10505529"/>
              <a:gd name="connsiteY28503" fmla="*/ 2646486 h 7458372"/>
              <a:gd name="connsiteX28504" fmla="*/ 2654433 w 10505529"/>
              <a:gd name="connsiteY28504" fmla="*/ 2641028 h 7458372"/>
              <a:gd name="connsiteX28505" fmla="*/ 2653503 w 10505529"/>
              <a:gd name="connsiteY28505" fmla="*/ 2635836 h 7458372"/>
              <a:gd name="connsiteX28506" fmla="*/ 2650840 w 10505529"/>
              <a:gd name="connsiteY28506" fmla="*/ 2631711 h 7458372"/>
              <a:gd name="connsiteX28507" fmla="*/ 2646847 w 10505529"/>
              <a:gd name="connsiteY28507" fmla="*/ 2629047 h 7458372"/>
              <a:gd name="connsiteX28508" fmla="*/ 2641787 w 10505529"/>
              <a:gd name="connsiteY28508" fmla="*/ 2628116 h 7458372"/>
              <a:gd name="connsiteX28509" fmla="*/ 2424134 w 10505529"/>
              <a:gd name="connsiteY28509" fmla="*/ 2628116 h 7458372"/>
              <a:gd name="connsiteX28510" fmla="*/ 2414151 w 10505529"/>
              <a:gd name="connsiteY28510" fmla="*/ 2631711 h 7458372"/>
              <a:gd name="connsiteX28511" fmla="*/ 2410557 w 10505529"/>
              <a:gd name="connsiteY28511" fmla="*/ 2641161 h 7458372"/>
              <a:gd name="connsiteX28512" fmla="*/ 2414151 w 10505529"/>
              <a:gd name="connsiteY28512" fmla="*/ 2650612 h 7458372"/>
              <a:gd name="connsiteX28513" fmla="*/ 2424134 w 10505529"/>
              <a:gd name="connsiteY28513" fmla="*/ 2654073 h 7458372"/>
              <a:gd name="connsiteX28514" fmla="*/ 2429460 w 10505529"/>
              <a:gd name="connsiteY28514" fmla="*/ 2653141 h 7458372"/>
              <a:gd name="connsiteX28515" fmla="*/ 2433187 w 10505529"/>
              <a:gd name="connsiteY28515" fmla="*/ 2650745 h 7458372"/>
              <a:gd name="connsiteX28516" fmla="*/ 2435850 w 10505529"/>
              <a:gd name="connsiteY28516" fmla="*/ 2646486 h 7458372"/>
              <a:gd name="connsiteX28517" fmla="*/ 2436781 w 10505529"/>
              <a:gd name="connsiteY28517" fmla="*/ 2641028 h 7458372"/>
              <a:gd name="connsiteX28518" fmla="*/ 2435850 w 10505529"/>
              <a:gd name="connsiteY28518" fmla="*/ 2635836 h 7458372"/>
              <a:gd name="connsiteX28519" fmla="*/ 2433187 w 10505529"/>
              <a:gd name="connsiteY28519" fmla="*/ 2631711 h 7458372"/>
              <a:gd name="connsiteX28520" fmla="*/ 2429194 w 10505529"/>
              <a:gd name="connsiteY28520" fmla="*/ 2629047 h 7458372"/>
              <a:gd name="connsiteX28521" fmla="*/ 2424134 w 10505529"/>
              <a:gd name="connsiteY28521" fmla="*/ 2628116 h 7458372"/>
              <a:gd name="connsiteX28522" fmla="*/ 2206482 w 10505529"/>
              <a:gd name="connsiteY28522" fmla="*/ 2628116 h 7458372"/>
              <a:gd name="connsiteX28523" fmla="*/ 2196499 w 10505529"/>
              <a:gd name="connsiteY28523" fmla="*/ 2631711 h 7458372"/>
              <a:gd name="connsiteX28524" fmla="*/ 2192904 w 10505529"/>
              <a:gd name="connsiteY28524" fmla="*/ 2641161 h 7458372"/>
              <a:gd name="connsiteX28525" fmla="*/ 2196499 w 10505529"/>
              <a:gd name="connsiteY28525" fmla="*/ 2650612 h 7458372"/>
              <a:gd name="connsiteX28526" fmla="*/ 2206482 w 10505529"/>
              <a:gd name="connsiteY28526" fmla="*/ 2654073 h 7458372"/>
              <a:gd name="connsiteX28527" fmla="*/ 2211807 w 10505529"/>
              <a:gd name="connsiteY28527" fmla="*/ 2653141 h 7458372"/>
              <a:gd name="connsiteX28528" fmla="*/ 2215534 w 10505529"/>
              <a:gd name="connsiteY28528" fmla="*/ 2650745 h 7458372"/>
              <a:gd name="connsiteX28529" fmla="*/ 2218197 w 10505529"/>
              <a:gd name="connsiteY28529" fmla="*/ 2646486 h 7458372"/>
              <a:gd name="connsiteX28530" fmla="*/ 2219128 w 10505529"/>
              <a:gd name="connsiteY28530" fmla="*/ 2641028 h 7458372"/>
              <a:gd name="connsiteX28531" fmla="*/ 2218197 w 10505529"/>
              <a:gd name="connsiteY28531" fmla="*/ 2635836 h 7458372"/>
              <a:gd name="connsiteX28532" fmla="*/ 2215534 w 10505529"/>
              <a:gd name="connsiteY28532" fmla="*/ 2631711 h 7458372"/>
              <a:gd name="connsiteX28533" fmla="*/ 2211541 w 10505529"/>
              <a:gd name="connsiteY28533" fmla="*/ 2629047 h 7458372"/>
              <a:gd name="connsiteX28534" fmla="*/ 2206482 w 10505529"/>
              <a:gd name="connsiteY28534" fmla="*/ 2628116 h 7458372"/>
              <a:gd name="connsiteX28535" fmla="*/ 1988962 w 10505529"/>
              <a:gd name="connsiteY28535" fmla="*/ 2628116 h 7458372"/>
              <a:gd name="connsiteX28536" fmla="*/ 1978979 w 10505529"/>
              <a:gd name="connsiteY28536" fmla="*/ 2631711 h 7458372"/>
              <a:gd name="connsiteX28537" fmla="*/ 1975385 w 10505529"/>
              <a:gd name="connsiteY28537" fmla="*/ 2641161 h 7458372"/>
              <a:gd name="connsiteX28538" fmla="*/ 1978979 w 10505529"/>
              <a:gd name="connsiteY28538" fmla="*/ 2650612 h 7458372"/>
              <a:gd name="connsiteX28539" fmla="*/ 1988962 w 10505529"/>
              <a:gd name="connsiteY28539" fmla="*/ 2654073 h 7458372"/>
              <a:gd name="connsiteX28540" fmla="*/ 1994287 w 10505529"/>
              <a:gd name="connsiteY28540" fmla="*/ 2653141 h 7458372"/>
              <a:gd name="connsiteX28541" fmla="*/ 1998015 w 10505529"/>
              <a:gd name="connsiteY28541" fmla="*/ 2650745 h 7458372"/>
              <a:gd name="connsiteX28542" fmla="*/ 2000678 w 10505529"/>
              <a:gd name="connsiteY28542" fmla="*/ 2646486 h 7458372"/>
              <a:gd name="connsiteX28543" fmla="*/ 2001608 w 10505529"/>
              <a:gd name="connsiteY28543" fmla="*/ 2641028 h 7458372"/>
              <a:gd name="connsiteX28544" fmla="*/ 2000678 w 10505529"/>
              <a:gd name="connsiteY28544" fmla="*/ 2635836 h 7458372"/>
              <a:gd name="connsiteX28545" fmla="*/ 1998015 w 10505529"/>
              <a:gd name="connsiteY28545" fmla="*/ 2631711 h 7458372"/>
              <a:gd name="connsiteX28546" fmla="*/ 1994021 w 10505529"/>
              <a:gd name="connsiteY28546" fmla="*/ 2629047 h 7458372"/>
              <a:gd name="connsiteX28547" fmla="*/ 1988962 w 10505529"/>
              <a:gd name="connsiteY28547" fmla="*/ 2628116 h 7458372"/>
              <a:gd name="connsiteX28548" fmla="*/ 1771323 w 10505529"/>
              <a:gd name="connsiteY28548" fmla="*/ 2628116 h 7458372"/>
              <a:gd name="connsiteX28549" fmla="*/ 1761340 w 10505529"/>
              <a:gd name="connsiteY28549" fmla="*/ 2631711 h 7458372"/>
              <a:gd name="connsiteX28550" fmla="*/ 1757746 w 10505529"/>
              <a:gd name="connsiteY28550" fmla="*/ 2641161 h 7458372"/>
              <a:gd name="connsiteX28551" fmla="*/ 1761340 w 10505529"/>
              <a:gd name="connsiteY28551" fmla="*/ 2650612 h 7458372"/>
              <a:gd name="connsiteX28552" fmla="*/ 1771323 w 10505529"/>
              <a:gd name="connsiteY28552" fmla="*/ 2654073 h 7458372"/>
              <a:gd name="connsiteX28553" fmla="*/ 1776648 w 10505529"/>
              <a:gd name="connsiteY28553" fmla="*/ 2653141 h 7458372"/>
              <a:gd name="connsiteX28554" fmla="*/ 1780374 w 10505529"/>
              <a:gd name="connsiteY28554" fmla="*/ 2650745 h 7458372"/>
              <a:gd name="connsiteX28555" fmla="*/ 1783037 w 10505529"/>
              <a:gd name="connsiteY28555" fmla="*/ 2646486 h 7458372"/>
              <a:gd name="connsiteX28556" fmla="*/ 1784102 w 10505529"/>
              <a:gd name="connsiteY28556" fmla="*/ 2641028 h 7458372"/>
              <a:gd name="connsiteX28557" fmla="*/ 1783037 w 10505529"/>
              <a:gd name="connsiteY28557" fmla="*/ 2635836 h 7458372"/>
              <a:gd name="connsiteX28558" fmla="*/ 1780374 w 10505529"/>
              <a:gd name="connsiteY28558" fmla="*/ 2631711 h 7458372"/>
              <a:gd name="connsiteX28559" fmla="*/ 1776382 w 10505529"/>
              <a:gd name="connsiteY28559" fmla="*/ 2629047 h 7458372"/>
              <a:gd name="connsiteX28560" fmla="*/ 1771323 w 10505529"/>
              <a:gd name="connsiteY28560" fmla="*/ 2628116 h 7458372"/>
              <a:gd name="connsiteX28561" fmla="*/ 1553681 w 10505529"/>
              <a:gd name="connsiteY28561" fmla="*/ 2628116 h 7458372"/>
              <a:gd name="connsiteX28562" fmla="*/ 1543698 w 10505529"/>
              <a:gd name="connsiteY28562" fmla="*/ 2631711 h 7458372"/>
              <a:gd name="connsiteX28563" fmla="*/ 1540104 w 10505529"/>
              <a:gd name="connsiteY28563" fmla="*/ 2641161 h 7458372"/>
              <a:gd name="connsiteX28564" fmla="*/ 1543698 w 10505529"/>
              <a:gd name="connsiteY28564" fmla="*/ 2650612 h 7458372"/>
              <a:gd name="connsiteX28565" fmla="*/ 1553681 w 10505529"/>
              <a:gd name="connsiteY28565" fmla="*/ 2654073 h 7458372"/>
              <a:gd name="connsiteX28566" fmla="*/ 1559006 w 10505529"/>
              <a:gd name="connsiteY28566" fmla="*/ 2653141 h 7458372"/>
              <a:gd name="connsiteX28567" fmla="*/ 1562733 w 10505529"/>
              <a:gd name="connsiteY28567" fmla="*/ 2650745 h 7458372"/>
              <a:gd name="connsiteX28568" fmla="*/ 1565396 w 10505529"/>
              <a:gd name="connsiteY28568" fmla="*/ 2646486 h 7458372"/>
              <a:gd name="connsiteX28569" fmla="*/ 1566461 w 10505529"/>
              <a:gd name="connsiteY28569" fmla="*/ 2641028 h 7458372"/>
              <a:gd name="connsiteX28570" fmla="*/ 1565396 w 10505529"/>
              <a:gd name="connsiteY28570" fmla="*/ 2635836 h 7458372"/>
              <a:gd name="connsiteX28571" fmla="*/ 1562733 w 10505529"/>
              <a:gd name="connsiteY28571" fmla="*/ 2631711 h 7458372"/>
              <a:gd name="connsiteX28572" fmla="*/ 1558740 w 10505529"/>
              <a:gd name="connsiteY28572" fmla="*/ 2629047 h 7458372"/>
              <a:gd name="connsiteX28573" fmla="*/ 1553681 w 10505529"/>
              <a:gd name="connsiteY28573" fmla="*/ 2628116 h 7458372"/>
              <a:gd name="connsiteX28574" fmla="*/ 1336036 w 10505529"/>
              <a:gd name="connsiteY28574" fmla="*/ 2628116 h 7458372"/>
              <a:gd name="connsiteX28575" fmla="*/ 1326054 w 10505529"/>
              <a:gd name="connsiteY28575" fmla="*/ 2631711 h 7458372"/>
              <a:gd name="connsiteX28576" fmla="*/ 1322459 w 10505529"/>
              <a:gd name="connsiteY28576" fmla="*/ 2641161 h 7458372"/>
              <a:gd name="connsiteX28577" fmla="*/ 1326054 w 10505529"/>
              <a:gd name="connsiteY28577" fmla="*/ 2650612 h 7458372"/>
              <a:gd name="connsiteX28578" fmla="*/ 1336036 w 10505529"/>
              <a:gd name="connsiteY28578" fmla="*/ 2654073 h 7458372"/>
              <a:gd name="connsiteX28579" fmla="*/ 1341363 w 10505529"/>
              <a:gd name="connsiteY28579" fmla="*/ 2653141 h 7458372"/>
              <a:gd name="connsiteX28580" fmla="*/ 1345090 w 10505529"/>
              <a:gd name="connsiteY28580" fmla="*/ 2650745 h 7458372"/>
              <a:gd name="connsiteX28581" fmla="*/ 1347753 w 10505529"/>
              <a:gd name="connsiteY28581" fmla="*/ 2646486 h 7458372"/>
              <a:gd name="connsiteX28582" fmla="*/ 1348818 w 10505529"/>
              <a:gd name="connsiteY28582" fmla="*/ 2641028 h 7458372"/>
              <a:gd name="connsiteX28583" fmla="*/ 1347753 w 10505529"/>
              <a:gd name="connsiteY28583" fmla="*/ 2635836 h 7458372"/>
              <a:gd name="connsiteX28584" fmla="*/ 1345090 w 10505529"/>
              <a:gd name="connsiteY28584" fmla="*/ 2631711 h 7458372"/>
              <a:gd name="connsiteX28585" fmla="*/ 1341096 w 10505529"/>
              <a:gd name="connsiteY28585" fmla="*/ 2629047 h 7458372"/>
              <a:gd name="connsiteX28586" fmla="*/ 1336036 w 10505529"/>
              <a:gd name="connsiteY28586" fmla="*/ 2628116 h 7458372"/>
              <a:gd name="connsiteX28587" fmla="*/ 1118525 w 10505529"/>
              <a:gd name="connsiteY28587" fmla="*/ 2628116 h 7458372"/>
              <a:gd name="connsiteX28588" fmla="*/ 1108541 w 10505529"/>
              <a:gd name="connsiteY28588" fmla="*/ 2631711 h 7458372"/>
              <a:gd name="connsiteX28589" fmla="*/ 1104814 w 10505529"/>
              <a:gd name="connsiteY28589" fmla="*/ 2641161 h 7458372"/>
              <a:gd name="connsiteX28590" fmla="*/ 1108408 w 10505529"/>
              <a:gd name="connsiteY28590" fmla="*/ 2650612 h 7458372"/>
              <a:gd name="connsiteX28591" fmla="*/ 1118392 w 10505529"/>
              <a:gd name="connsiteY28591" fmla="*/ 2654073 h 7458372"/>
              <a:gd name="connsiteX28592" fmla="*/ 1123849 w 10505529"/>
              <a:gd name="connsiteY28592" fmla="*/ 2653141 h 7458372"/>
              <a:gd name="connsiteX28593" fmla="*/ 1127578 w 10505529"/>
              <a:gd name="connsiteY28593" fmla="*/ 2650745 h 7458372"/>
              <a:gd name="connsiteX28594" fmla="*/ 1130241 w 10505529"/>
              <a:gd name="connsiteY28594" fmla="*/ 2646486 h 7458372"/>
              <a:gd name="connsiteX28595" fmla="*/ 1131307 w 10505529"/>
              <a:gd name="connsiteY28595" fmla="*/ 2641028 h 7458372"/>
              <a:gd name="connsiteX28596" fmla="*/ 1130241 w 10505529"/>
              <a:gd name="connsiteY28596" fmla="*/ 2635836 h 7458372"/>
              <a:gd name="connsiteX28597" fmla="*/ 1127578 w 10505529"/>
              <a:gd name="connsiteY28597" fmla="*/ 2631711 h 7458372"/>
              <a:gd name="connsiteX28598" fmla="*/ 1123583 w 10505529"/>
              <a:gd name="connsiteY28598" fmla="*/ 2629047 h 7458372"/>
              <a:gd name="connsiteX28599" fmla="*/ 1118525 w 10505529"/>
              <a:gd name="connsiteY28599" fmla="*/ 2628116 h 7458372"/>
              <a:gd name="connsiteX28600" fmla="*/ 901013 w 10505529"/>
              <a:gd name="connsiteY28600" fmla="*/ 2628116 h 7458372"/>
              <a:gd name="connsiteX28601" fmla="*/ 891029 w 10505529"/>
              <a:gd name="connsiteY28601" fmla="*/ 2631711 h 7458372"/>
              <a:gd name="connsiteX28602" fmla="*/ 887302 w 10505529"/>
              <a:gd name="connsiteY28602" fmla="*/ 2641161 h 7458372"/>
              <a:gd name="connsiteX28603" fmla="*/ 890896 w 10505529"/>
              <a:gd name="connsiteY28603" fmla="*/ 2650612 h 7458372"/>
              <a:gd name="connsiteX28604" fmla="*/ 900879 w 10505529"/>
              <a:gd name="connsiteY28604" fmla="*/ 2654073 h 7458372"/>
              <a:gd name="connsiteX28605" fmla="*/ 906338 w 10505529"/>
              <a:gd name="connsiteY28605" fmla="*/ 2653141 h 7458372"/>
              <a:gd name="connsiteX28606" fmla="*/ 910066 w 10505529"/>
              <a:gd name="connsiteY28606" fmla="*/ 2650745 h 7458372"/>
              <a:gd name="connsiteX28607" fmla="*/ 912728 w 10505529"/>
              <a:gd name="connsiteY28607" fmla="*/ 2646486 h 7458372"/>
              <a:gd name="connsiteX28608" fmla="*/ 913793 w 10505529"/>
              <a:gd name="connsiteY28608" fmla="*/ 2641028 h 7458372"/>
              <a:gd name="connsiteX28609" fmla="*/ 912728 w 10505529"/>
              <a:gd name="connsiteY28609" fmla="*/ 2635836 h 7458372"/>
              <a:gd name="connsiteX28610" fmla="*/ 910066 w 10505529"/>
              <a:gd name="connsiteY28610" fmla="*/ 2631711 h 7458372"/>
              <a:gd name="connsiteX28611" fmla="*/ 906072 w 10505529"/>
              <a:gd name="connsiteY28611" fmla="*/ 2629047 h 7458372"/>
              <a:gd name="connsiteX28612" fmla="*/ 901013 w 10505529"/>
              <a:gd name="connsiteY28612" fmla="*/ 2628116 h 7458372"/>
              <a:gd name="connsiteX28613" fmla="*/ 683237 w 10505529"/>
              <a:gd name="connsiteY28613" fmla="*/ 2628116 h 7458372"/>
              <a:gd name="connsiteX28614" fmla="*/ 673254 w 10505529"/>
              <a:gd name="connsiteY28614" fmla="*/ 2631711 h 7458372"/>
              <a:gd name="connsiteX28615" fmla="*/ 669660 w 10505529"/>
              <a:gd name="connsiteY28615" fmla="*/ 2641161 h 7458372"/>
              <a:gd name="connsiteX28616" fmla="*/ 673254 w 10505529"/>
              <a:gd name="connsiteY28616" fmla="*/ 2650612 h 7458372"/>
              <a:gd name="connsiteX28617" fmla="*/ 683237 w 10505529"/>
              <a:gd name="connsiteY28617" fmla="*/ 2654073 h 7458372"/>
              <a:gd name="connsiteX28618" fmla="*/ 688562 w 10505529"/>
              <a:gd name="connsiteY28618" fmla="*/ 2653141 h 7458372"/>
              <a:gd name="connsiteX28619" fmla="*/ 692289 w 10505529"/>
              <a:gd name="connsiteY28619" fmla="*/ 2650745 h 7458372"/>
              <a:gd name="connsiteX28620" fmla="*/ 694952 w 10505529"/>
              <a:gd name="connsiteY28620" fmla="*/ 2646486 h 7458372"/>
              <a:gd name="connsiteX28621" fmla="*/ 696017 w 10505529"/>
              <a:gd name="connsiteY28621" fmla="*/ 2641028 h 7458372"/>
              <a:gd name="connsiteX28622" fmla="*/ 694952 w 10505529"/>
              <a:gd name="connsiteY28622" fmla="*/ 2635836 h 7458372"/>
              <a:gd name="connsiteX28623" fmla="*/ 692289 w 10505529"/>
              <a:gd name="connsiteY28623" fmla="*/ 2631711 h 7458372"/>
              <a:gd name="connsiteX28624" fmla="*/ 688296 w 10505529"/>
              <a:gd name="connsiteY28624" fmla="*/ 2629047 h 7458372"/>
              <a:gd name="connsiteX28625" fmla="*/ 683237 w 10505529"/>
              <a:gd name="connsiteY28625" fmla="*/ 2628116 h 7458372"/>
              <a:gd name="connsiteX28626" fmla="*/ 465594 w 10505529"/>
              <a:gd name="connsiteY28626" fmla="*/ 2628116 h 7458372"/>
              <a:gd name="connsiteX28627" fmla="*/ 455611 w 10505529"/>
              <a:gd name="connsiteY28627" fmla="*/ 2631711 h 7458372"/>
              <a:gd name="connsiteX28628" fmla="*/ 452017 w 10505529"/>
              <a:gd name="connsiteY28628" fmla="*/ 2641161 h 7458372"/>
              <a:gd name="connsiteX28629" fmla="*/ 455611 w 10505529"/>
              <a:gd name="connsiteY28629" fmla="*/ 2650612 h 7458372"/>
              <a:gd name="connsiteX28630" fmla="*/ 465594 w 10505529"/>
              <a:gd name="connsiteY28630" fmla="*/ 2654073 h 7458372"/>
              <a:gd name="connsiteX28631" fmla="*/ 470919 w 10505529"/>
              <a:gd name="connsiteY28631" fmla="*/ 2653141 h 7458372"/>
              <a:gd name="connsiteX28632" fmla="*/ 474646 w 10505529"/>
              <a:gd name="connsiteY28632" fmla="*/ 2650745 h 7458372"/>
              <a:gd name="connsiteX28633" fmla="*/ 477309 w 10505529"/>
              <a:gd name="connsiteY28633" fmla="*/ 2646486 h 7458372"/>
              <a:gd name="connsiteX28634" fmla="*/ 478374 w 10505529"/>
              <a:gd name="connsiteY28634" fmla="*/ 2641028 h 7458372"/>
              <a:gd name="connsiteX28635" fmla="*/ 477309 w 10505529"/>
              <a:gd name="connsiteY28635" fmla="*/ 2635836 h 7458372"/>
              <a:gd name="connsiteX28636" fmla="*/ 474646 w 10505529"/>
              <a:gd name="connsiteY28636" fmla="*/ 2631711 h 7458372"/>
              <a:gd name="connsiteX28637" fmla="*/ 470653 w 10505529"/>
              <a:gd name="connsiteY28637" fmla="*/ 2629047 h 7458372"/>
              <a:gd name="connsiteX28638" fmla="*/ 465594 w 10505529"/>
              <a:gd name="connsiteY28638" fmla="*/ 2628116 h 7458372"/>
              <a:gd name="connsiteX28639" fmla="*/ 247951 w 10505529"/>
              <a:gd name="connsiteY28639" fmla="*/ 2628116 h 7458372"/>
              <a:gd name="connsiteX28640" fmla="*/ 237968 w 10505529"/>
              <a:gd name="connsiteY28640" fmla="*/ 2631711 h 7458372"/>
              <a:gd name="connsiteX28641" fmla="*/ 234374 w 10505529"/>
              <a:gd name="connsiteY28641" fmla="*/ 2641161 h 7458372"/>
              <a:gd name="connsiteX28642" fmla="*/ 237968 w 10505529"/>
              <a:gd name="connsiteY28642" fmla="*/ 2650612 h 7458372"/>
              <a:gd name="connsiteX28643" fmla="*/ 247951 w 10505529"/>
              <a:gd name="connsiteY28643" fmla="*/ 2654073 h 7458372"/>
              <a:gd name="connsiteX28644" fmla="*/ 253275 w 10505529"/>
              <a:gd name="connsiteY28644" fmla="*/ 2653141 h 7458372"/>
              <a:gd name="connsiteX28645" fmla="*/ 257002 w 10505529"/>
              <a:gd name="connsiteY28645" fmla="*/ 2650745 h 7458372"/>
              <a:gd name="connsiteX28646" fmla="*/ 259665 w 10505529"/>
              <a:gd name="connsiteY28646" fmla="*/ 2646486 h 7458372"/>
              <a:gd name="connsiteX28647" fmla="*/ 260730 w 10505529"/>
              <a:gd name="connsiteY28647" fmla="*/ 2641028 h 7458372"/>
              <a:gd name="connsiteX28648" fmla="*/ 259665 w 10505529"/>
              <a:gd name="connsiteY28648" fmla="*/ 2635836 h 7458372"/>
              <a:gd name="connsiteX28649" fmla="*/ 257002 w 10505529"/>
              <a:gd name="connsiteY28649" fmla="*/ 2631711 h 7458372"/>
              <a:gd name="connsiteX28650" fmla="*/ 253009 w 10505529"/>
              <a:gd name="connsiteY28650" fmla="*/ 2629047 h 7458372"/>
              <a:gd name="connsiteX28651" fmla="*/ 247951 w 10505529"/>
              <a:gd name="connsiteY28651" fmla="*/ 2628116 h 7458372"/>
              <a:gd name="connsiteX28652" fmla="*/ 30307 w 10505529"/>
              <a:gd name="connsiteY28652" fmla="*/ 2628116 h 7458372"/>
              <a:gd name="connsiteX28653" fmla="*/ 20324 w 10505529"/>
              <a:gd name="connsiteY28653" fmla="*/ 2631711 h 7458372"/>
              <a:gd name="connsiteX28654" fmla="*/ 16730 w 10505529"/>
              <a:gd name="connsiteY28654" fmla="*/ 2641161 h 7458372"/>
              <a:gd name="connsiteX28655" fmla="*/ 20324 w 10505529"/>
              <a:gd name="connsiteY28655" fmla="*/ 2650612 h 7458372"/>
              <a:gd name="connsiteX28656" fmla="*/ 30307 w 10505529"/>
              <a:gd name="connsiteY28656" fmla="*/ 2654073 h 7458372"/>
              <a:gd name="connsiteX28657" fmla="*/ 35632 w 10505529"/>
              <a:gd name="connsiteY28657" fmla="*/ 2653141 h 7458372"/>
              <a:gd name="connsiteX28658" fmla="*/ 39359 w 10505529"/>
              <a:gd name="connsiteY28658" fmla="*/ 2650745 h 7458372"/>
              <a:gd name="connsiteX28659" fmla="*/ 42023 w 10505529"/>
              <a:gd name="connsiteY28659" fmla="*/ 2646486 h 7458372"/>
              <a:gd name="connsiteX28660" fmla="*/ 42954 w 10505529"/>
              <a:gd name="connsiteY28660" fmla="*/ 2641028 h 7458372"/>
              <a:gd name="connsiteX28661" fmla="*/ 42023 w 10505529"/>
              <a:gd name="connsiteY28661" fmla="*/ 2635836 h 7458372"/>
              <a:gd name="connsiteX28662" fmla="*/ 39359 w 10505529"/>
              <a:gd name="connsiteY28662" fmla="*/ 2631711 h 7458372"/>
              <a:gd name="connsiteX28663" fmla="*/ 35366 w 10505529"/>
              <a:gd name="connsiteY28663" fmla="*/ 2629047 h 7458372"/>
              <a:gd name="connsiteX28664" fmla="*/ 30307 w 10505529"/>
              <a:gd name="connsiteY28664" fmla="*/ 2628116 h 7458372"/>
              <a:gd name="connsiteX28665" fmla="*/ 10475977 w 10505529"/>
              <a:gd name="connsiteY28665" fmla="*/ 2611475 h 7458372"/>
              <a:gd name="connsiteX28666" fmla="*/ 10487824 w 10505529"/>
              <a:gd name="connsiteY28666" fmla="*/ 2614137 h 7458372"/>
              <a:gd name="connsiteX28667" fmla="*/ 10497143 w 10505529"/>
              <a:gd name="connsiteY28667" fmla="*/ 2620528 h 7458372"/>
              <a:gd name="connsiteX28668" fmla="*/ 10503266 w 10505529"/>
              <a:gd name="connsiteY28668" fmla="*/ 2629846 h 7458372"/>
              <a:gd name="connsiteX28669" fmla="*/ 10505529 w 10505529"/>
              <a:gd name="connsiteY28669" fmla="*/ 2641294 h 7458372"/>
              <a:gd name="connsiteX28670" fmla="*/ 10503266 w 10505529"/>
              <a:gd name="connsiteY28670" fmla="*/ 2653009 h 7458372"/>
              <a:gd name="connsiteX28671" fmla="*/ 10497143 w 10505529"/>
              <a:gd name="connsiteY28671" fmla="*/ 2662328 h 7458372"/>
              <a:gd name="connsiteX28672" fmla="*/ 10487824 w 10505529"/>
              <a:gd name="connsiteY28672" fmla="*/ 2668583 h 7458372"/>
              <a:gd name="connsiteX28673" fmla="*/ 10475977 w 10505529"/>
              <a:gd name="connsiteY28673" fmla="*/ 2670846 h 7458372"/>
              <a:gd name="connsiteX28674" fmla="*/ 10454145 w 10505529"/>
              <a:gd name="connsiteY28674" fmla="*/ 2662328 h 7458372"/>
              <a:gd name="connsiteX28675" fmla="*/ 10445759 w 10505529"/>
              <a:gd name="connsiteY28675" fmla="*/ 2641161 h 7458372"/>
              <a:gd name="connsiteX28676" fmla="*/ 10454145 w 10505529"/>
              <a:gd name="connsiteY28676" fmla="*/ 2620128 h 7458372"/>
              <a:gd name="connsiteX28677" fmla="*/ 10475977 w 10505529"/>
              <a:gd name="connsiteY28677" fmla="*/ 2611475 h 7458372"/>
              <a:gd name="connsiteX28678" fmla="*/ 10258466 w 10505529"/>
              <a:gd name="connsiteY28678" fmla="*/ 2611475 h 7458372"/>
              <a:gd name="connsiteX28679" fmla="*/ 10270313 w 10505529"/>
              <a:gd name="connsiteY28679" fmla="*/ 2614137 h 7458372"/>
              <a:gd name="connsiteX28680" fmla="*/ 10279631 w 10505529"/>
              <a:gd name="connsiteY28680" fmla="*/ 2620528 h 7458372"/>
              <a:gd name="connsiteX28681" fmla="*/ 10285754 w 10505529"/>
              <a:gd name="connsiteY28681" fmla="*/ 2629846 h 7458372"/>
              <a:gd name="connsiteX28682" fmla="*/ 10288017 w 10505529"/>
              <a:gd name="connsiteY28682" fmla="*/ 2641294 h 7458372"/>
              <a:gd name="connsiteX28683" fmla="*/ 10285754 w 10505529"/>
              <a:gd name="connsiteY28683" fmla="*/ 2653009 h 7458372"/>
              <a:gd name="connsiteX28684" fmla="*/ 10279631 w 10505529"/>
              <a:gd name="connsiteY28684" fmla="*/ 2662328 h 7458372"/>
              <a:gd name="connsiteX28685" fmla="*/ 10270313 w 10505529"/>
              <a:gd name="connsiteY28685" fmla="*/ 2668583 h 7458372"/>
              <a:gd name="connsiteX28686" fmla="*/ 10258466 w 10505529"/>
              <a:gd name="connsiteY28686" fmla="*/ 2670846 h 7458372"/>
              <a:gd name="connsiteX28687" fmla="*/ 10236633 w 10505529"/>
              <a:gd name="connsiteY28687" fmla="*/ 2662328 h 7458372"/>
              <a:gd name="connsiteX28688" fmla="*/ 10228247 w 10505529"/>
              <a:gd name="connsiteY28688" fmla="*/ 2641161 h 7458372"/>
              <a:gd name="connsiteX28689" fmla="*/ 10236633 w 10505529"/>
              <a:gd name="connsiteY28689" fmla="*/ 2620128 h 7458372"/>
              <a:gd name="connsiteX28690" fmla="*/ 10258466 w 10505529"/>
              <a:gd name="connsiteY28690" fmla="*/ 2611475 h 7458372"/>
              <a:gd name="connsiteX28691" fmla="*/ 10040820 w 10505529"/>
              <a:gd name="connsiteY28691" fmla="*/ 2611475 h 7458372"/>
              <a:gd name="connsiteX28692" fmla="*/ 10052534 w 10505529"/>
              <a:gd name="connsiteY28692" fmla="*/ 2614137 h 7458372"/>
              <a:gd name="connsiteX28693" fmla="*/ 10061852 w 10505529"/>
              <a:gd name="connsiteY28693" fmla="*/ 2620528 h 7458372"/>
              <a:gd name="connsiteX28694" fmla="*/ 10067976 w 10505529"/>
              <a:gd name="connsiteY28694" fmla="*/ 2629846 h 7458372"/>
              <a:gd name="connsiteX28695" fmla="*/ 10070239 w 10505529"/>
              <a:gd name="connsiteY28695" fmla="*/ 2641294 h 7458372"/>
              <a:gd name="connsiteX28696" fmla="*/ 10067976 w 10505529"/>
              <a:gd name="connsiteY28696" fmla="*/ 2653009 h 7458372"/>
              <a:gd name="connsiteX28697" fmla="*/ 10061852 w 10505529"/>
              <a:gd name="connsiteY28697" fmla="*/ 2662328 h 7458372"/>
              <a:gd name="connsiteX28698" fmla="*/ 10052534 w 10505529"/>
              <a:gd name="connsiteY28698" fmla="*/ 2668583 h 7458372"/>
              <a:gd name="connsiteX28699" fmla="*/ 10040820 w 10505529"/>
              <a:gd name="connsiteY28699" fmla="*/ 2670846 h 7458372"/>
              <a:gd name="connsiteX28700" fmla="*/ 10018988 w 10505529"/>
              <a:gd name="connsiteY28700" fmla="*/ 2662328 h 7458372"/>
              <a:gd name="connsiteX28701" fmla="*/ 10010602 w 10505529"/>
              <a:gd name="connsiteY28701" fmla="*/ 2641161 h 7458372"/>
              <a:gd name="connsiteX28702" fmla="*/ 10018988 w 10505529"/>
              <a:gd name="connsiteY28702" fmla="*/ 2620128 h 7458372"/>
              <a:gd name="connsiteX28703" fmla="*/ 10040820 w 10505529"/>
              <a:gd name="connsiteY28703" fmla="*/ 2611475 h 7458372"/>
              <a:gd name="connsiteX28704" fmla="*/ 9823176 w 10505529"/>
              <a:gd name="connsiteY28704" fmla="*/ 2611475 h 7458372"/>
              <a:gd name="connsiteX28705" fmla="*/ 9834890 w 10505529"/>
              <a:gd name="connsiteY28705" fmla="*/ 2614137 h 7458372"/>
              <a:gd name="connsiteX28706" fmla="*/ 9844208 w 10505529"/>
              <a:gd name="connsiteY28706" fmla="*/ 2620528 h 7458372"/>
              <a:gd name="connsiteX28707" fmla="*/ 9850331 w 10505529"/>
              <a:gd name="connsiteY28707" fmla="*/ 2629846 h 7458372"/>
              <a:gd name="connsiteX28708" fmla="*/ 9852595 w 10505529"/>
              <a:gd name="connsiteY28708" fmla="*/ 2641294 h 7458372"/>
              <a:gd name="connsiteX28709" fmla="*/ 9850331 w 10505529"/>
              <a:gd name="connsiteY28709" fmla="*/ 2653009 h 7458372"/>
              <a:gd name="connsiteX28710" fmla="*/ 9844208 w 10505529"/>
              <a:gd name="connsiteY28710" fmla="*/ 2662328 h 7458372"/>
              <a:gd name="connsiteX28711" fmla="*/ 9834890 w 10505529"/>
              <a:gd name="connsiteY28711" fmla="*/ 2668583 h 7458372"/>
              <a:gd name="connsiteX28712" fmla="*/ 9823176 w 10505529"/>
              <a:gd name="connsiteY28712" fmla="*/ 2670846 h 7458372"/>
              <a:gd name="connsiteX28713" fmla="*/ 9801343 w 10505529"/>
              <a:gd name="connsiteY28713" fmla="*/ 2662328 h 7458372"/>
              <a:gd name="connsiteX28714" fmla="*/ 9792957 w 10505529"/>
              <a:gd name="connsiteY28714" fmla="*/ 2641161 h 7458372"/>
              <a:gd name="connsiteX28715" fmla="*/ 9801343 w 10505529"/>
              <a:gd name="connsiteY28715" fmla="*/ 2620128 h 7458372"/>
              <a:gd name="connsiteX28716" fmla="*/ 9823176 w 10505529"/>
              <a:gd name="connsiteY28716" fmla="*/ 2611475 h 7458372"/>
              <a:gd name="connsiteX28717" fmla="*/ 9605531 w 10505529"/>
              <a:gd name="connsiteY28717" fmla="*/ 2611475 h 7458372"/>
              <a:gd name="connsiteX28718" fmla="*/ 9617245 w 10505529"/>
              <a:gd name="connsiteY28718" fmla="*/ 2614137 h 7458372"/>
              <a:gd name="connsiteX28719" fmla="*/ 9626562 w 10505529"/>
              <a:gd name="connsiteY28719" fmla="*/ 2620528 h 7458372"/>
              <a:gd name="connsiteX28720" fmla="*/ 9632686 w 10505529"/>
              <a:gd name="connsiteY28720" fmla="*/ 2629846 h 7458372"/>
              <a:gd name="connsiteX28721" fmla="*/ 9634949 w 10505529"/>
              <a:gd name="connsiteY28721" fmla="*/ 2641294 h 7458372"/>
              <a:gd name="connsiteX28722" fmla="*/ 9632686 w 10505529"/>
              <a:gd name="connsiteY28722" fmla="*/ 2653009 h 7458372"/>
              <a:gd name="connsiteX28723" fmla="*/ 9626562 w 10505529"/>
              <a:gd name="connsiteY28723" fmla="*/ 2662328 h 7458372"/>
              <a:gd name="connsiteX28724" fmla="*/ 9617245 w 10505529"/>
              <a:gd name="connsiteY28724" fmla="*/ 2668583 h 7458372"/>
              <a:gd name="connsiteX28725" fmla="*/ 9605531 w 10505529"/>
              <a:gd name="connsiteY28725" fmla="*/ 2670846 h 7458372"/>
              <a:gd name="connsiteX28726" fmla="*/ 9583698 w 10505529"/>
              <a:gd name="connsiteY28726" fmla="*/ 2662328 h 7458372"/>
              <a:gd name="connsiteX28727" fmla="*/ 9575312 w 10505529"/>
              <a:gd name="connsiteY28727" fmla="*/ 2641161 h 7458372"/>
              <a:gd name="connsiteX28728" fmla="*/ 9583698 w 10505529"/>
              <a:gd name="connsiteY28728" fmla="*/ 2620128 h 7458372"/>
              <a:gd name="connsiteX28729" fmla="*/ 9605531 w 10505529"/>
              <a:gd name="connsiteY28729" fmla="*/ 2611475 h 7458372"/>
              <a:gd name="connsiteX28730" fmla="*/ 9387885 w 10505529"/>
              <a:gd name="connsiteY28730" fmla="*/ 2611475 h 7458372"/>
              <a:gd name="connsiteX28731" fmla="*/ 9399599 w 10505529"/>
              <a:gd name="connsiteY28731" fmla="*/ 2614137 h 7458372"/>
              <a:gd name="connsiteX28732" fmla="*/ 9408917 w 10505529"/>
              <a:gd name="connsiteY28732" fmla="*/ 2620528 h 7458372"/>
              <a:gd name="connsiteX28733" fmla="*/ 9415041 w 10505529"/>
              <a:gd name="connsiteY28733" fmla="*/ 2629846 h 7458372"/>
              <a:gd name="connsiteX28734" fmla="*/ 9417304 w 10505529"/>
              <a:gd name="connsiteY28734" fmla="*/ 2641294 h 7458372"/>
              <a:gd name="connsiteX28735" fmla="*/ 9415041 w 10505529"/>
              <a:gd name="connsiteY28735" fmla="*/ 2653009 h 7458372"/>
              <a:gd name="connsiteX28736" fmla="*/ 9408917 w 10505529"/>
              <a:gd name="connsiteY28736" fmla="*/ 2662328 h 7458372"/>
              <a:gd name="connsiteX28737" fmla="*/ 9399599 w 10505529"/>
              <a:gd name="connsiteY28737" fmla="*/ 2668583 h 7458372"/>
              <a:gd name="connsiteX28738" fmla="*/ 9387885 w 10505529"/>
              <a:gd name="connsiteY28738" fmla="*/ 2670846 h 7458372"/>
              <a:gd name="connsiteX28739" fmla="*/ 9366053 w 10505529"/>
              <a:gd name="connsiteY28739" fmla="*/ 2662328 h 7458372"/>
              <a:gd name="connsiteX28740" fmla="*/ 9357667 w 10505529"/>
              <a:gd name="connsiteY28740" fmla="*/ 2641161 h 7458372"/>
              <a:gd name="connsiteX28741" fmla="*/ 9366053 w 10505529"/>
              <a:gd name="connsiteY28741" fmla="*/ 2620128 h 7458372"/>
              <a:gd name="connsiteX28742" fmla="*/ 9387885 w 10505529"/>
              <a:gd name="connsiteY28742" fmla="*/ 2611475 h 7458372"/>
              <a:gd name="connsiteX28743" fmla="*/ 9170374 w 10505529"/>
              <a:gd name="connsiteY28743" fmla="*/ 2611475 h 7458372"/>
              <a:gd name="connsiteX28744" fmla="*/ 9182088 w 10505529"/>
              <a:gd name="connsiteY28744" fmla="*/ 2614137 h 7458372"/>
              <a:gd name="connsiteX28745" fmla="*/ 9191405 w 10505529"/>
              <a:gd name="connsiteY28745" fmla="*/ 2620528 h 7458372"/>
              <a:gd name="connsiteX28746" fmla="*/ 9197529 w 10505529"/>
              <a:gd name="connsiteY28746" fmla="*/ 2629846 h 7458372"/>
              <a:gd name="connsiteX28747" fmla="*/ 9199792 w 10505529"/>
              <a:gd name="connsiteY28747" fmla="*/ 2641294 h 7458372"/>
              <a:gd name="connsiteX28748" fmla="*/ 9197529 w 10505529"/>
              <a:gd name="connsiteY28748" fmla="*/ 2653009 h 7458372"/>
              <a:gd name="connsiteX28749" fmla="*/ 9191405 w 10505529"/>
              <a:gd name="connsiteY28749" fmla="*/ 2662328 h 7458372"/>
              <a:gd name="connsiteX28750" fmla="*/ 9182088 w 10505529"/>
              <a:gd name="connsiteY28750" fmla="*/ 2668583 h 7458372"/>
              <a:gd name="connsiteX28751" fmla="*/ 9170374 w 10505529"/>
              <a:gd name="connsiteY28751" fmla="*/ 2670846 h 7458372"/>
              <a:gd name="connsiteX28752" fmla="*/ 9148541 w 10505529"/>
              <a:gd name="connsiteY28752" fmla="*/ 2662328 h 7458372"/>
              <a:gd name="connsiteX28753" fmla="*/ 9140155 w 10505529"/>
              <a:gd name="connsiteY28753" fmla="*/ 2641161 h 7458372"/>
              <a:gd name="connsiteX28754" fmla="*/ 9148541 w 10505529"/>
              <a:gd name="connsiteY28754" fmla="*/ 2620128 h 7458372"/>
              <a:gd name="connsiteX28755" fmla="*/ 9170374 w 10505529"/>
              <a:gd name="connsiteY28755" fmla="*/ 2611475 h 7458372"/>
              <a:gd name="connsiteX28756" fmla="*/ 8952728 w 10505529"/>
              <a:gd name="connsiteY28756" fmla="*/ 2611475 h 7458372"/>
              <a:gd name="connsiteX28757" fmla="*/ 8964442 w 10505529"/>
              <a:gd name="connsiteY28757" fmla="*/ 2614137 h 7458372"/>
              <a:gd name="connsiteX28758" fmla="*/ 8973760 w 10505529"/>
              <a:gd name="connsiteY28758" fmla="*/ 2620528 h 7458372"/>
              <a:gd name="connsiteX28759" fmla="*/ 8979884 w 10505529"/>
              <a:gd name="connsiteY28759" fmla="*/ 2629846 h 7458372"/>
              <a:gd name="connsiteX28760" fmla="*/ 8982147 w 10505529"/>
              <a:gd name="connsiteY28760" fmla="*/ 2641294 h 7458372"/>
              <a:gd name="connsiteX28761" fmla="*/ 8979884 w 10505529"/>
              <a:gd name="connsiteY28761" fmla="*/ 2653009 h 7458372"/>
              <a:gd name="connsiteX28762" fmla="*/ 8973760 w 10505529"/>
              <a:gd name="connsiteY28762" fmla="*/ 2662328 h 7458372"/>
              <a:gd name="connsiteX28763" fmla="*/ 8964442 w 10505529"/>
              <a:gd name="connsiteY28763" fmla="*/ 2668583 h 7458372"/>
              <a:gd name="connsiteX28764" fmla="*/ 8952728 w 10505529"/>
              <a:gd name="connsiteY28764" fmla="*/ 2670846 h 7458372"/>
              <a:gd name="connsiteX28765" fmla="*/ 8930896 w 10505529"/>
              <a:gd name="connsiteY28765" fmla="*/ 2662328 h 7458372"/>
              <a:gd name="connsiteX28766" fmla="*/ 8922510 w 10505529"/>
              <a:gd name="connsiteY28766" fmla="*/ 2641161 h 7458372"/>
              <a:gd name="connsiteX28767" fmla="*/ 8930896 w 10505529"/>
              <a:gd name="connsiteY28767" fmla="*/ 2620128 h 7458372"/>
              <a:gd name="connsiteX28768" fmla="*/ 8952728 w 10505529"/>
              <a:gd name="connsiteY28768" fmla="*/ 2611475 h 7458372"/>
              <a:gd name="connsiteX28769" fmla="*/ 8735083 w 10505529"/>
              <a:gd name="connsiteY28769" fmla="*/ 2611475 h 7458372"/>
              <a:gd name="connsiteX28770" fmla="*/ 8746797 w 10505529"/>
              <a:gd name="connsiteY28770" fmla="*/ 2614137 h 7458372"/>
              <a:gd name="connsiteX28771" fmla="*/ 8756115 w 10505529"/>
              <a:gd name="connsiteY28771" fmla="*/ 2620528 h 7458372"/>
              <a:gd name="connsiteX28772" fmla="*/ 8762238 w 10505529"/>
              <a:gd name="connsiteY28772" fmla="*/ 2629846 h 7458372"/>
              <a:gd name="connsiteX28773" fmla="*/ 8764502 w 10505529"/>
              <a:gd name="connsiteY28773" fmla="*/ 2641294 h 7458372"/>
              <a:gd name="connsiteX28774" fmla="*/ 8762238 w 10505529"/>
              <a:gd name="connsiteY28774" fmla="*/ 2653009 h 7458372"/>
              <a:gd name="connsiteX28775" fmla="*/ 8756115 w 10505529"/>
              <a:gd name="connsiteY28775" fmla="*/ 2662328 h 7458372"/>
              <a:gd name="connsiteX28776" fmla="*/ 8746797 w 10505529"/>
              <a:gd name="connsiteY28776" fmla="*/ 2668583 h 7458372"/>
              <a:gd name="connsiteX28777" fmla="*/ 8735083 w 10505529"/>
              <a:gd name="connsiteY28777" fmla="*/ 2670846 h 7458372"/>
              <a:gd name="connsiteX28778" fmla="*/ 8713250 w 10505529"/>
              <a:gd name="connsiteY28778" fmla="*/ 2662328 h 7458372"/>
              <a:gd name="connsiteX28779" fmla="*/ 8704864 w 10505529"/>
              <a:gd name="connsiteY28779" fmla="*/ 2641161 h 7458372"/>
              <a:gd name="connsiteX28780" fmla="*/ 8713250 w 10505529"/>
              <a:gd name="connsiteY28780" fmla="*/ 2620128 h 7458372"/>
              <a:gd name="connsiteX28781" fmla="*/ 8735083 w 10505529"/>
              <a:gd name="connsiteY28781" fmla="*/ 2611475 h 7458372"/>
              <a:gd name="connsiteX28782" fmla="*/ 8517438 w 10505529"/>
              <a:gd name="connsiteY28782" fmla="*/ 2611475 h 7458372"/>
              <a:gd name="connsiteX28783" fmla="*/ 8529152 w 10505529"/>
              <a:gd name="connsiteY28783" fmla="*/ 2614137 h 7458372"/>
              <a:gd name="connsiteX28784" fmla="*/ 8538470 w 10505529"/>
              <a:gd name="connsiteY28784" fmla="*/ 2620528 h 7458372"/>
              <a:gd name="connsiteX28785" fmla="*/ 8544594 w 10505529"/>
              <a:gd name="connsiteY28785" fmla="*/ 2629846 h 7458372"/>
              <a:gd name="connsiteX28786" fmla="*/ 8546857 w 10505529"/>
              <a:gd name="connsiteY28786" fmla="*/ 2641294 h 7458372"/>
              <a:gd name="connsiteX28787" fmla="*/ 8544594 w 10505529"/>
              <a:gd name="connsiteY28787" fmla="*/ 2653009 h 7458372"/>
              <a:gd name="connsiteX28788" fmla="*/ 8538470 w 10505529"/>
              <a:gd name="connsiteY28788" fmla="*/ 2662328 h 7458372"/>
              <a:gd name="connsiteX28789" fmla="*/ 8529152 w 10505529"/>
              <a:gd name="connsiteY28789" fmla="*/ 2668583 h 7458372"/>
              <a:gd name="connsiteX28790" fmla="*/ 8517438 w 10505529"/>
              <a:gd name="connsiteY28790" fmla="*/ 2670846 h 7458372"/>
              <a:gd name="connsiteX28791" fmla="*/ 8495606 w 10505529"/>
              <a:gd name="connsiteY28791" fmla="*/ 2662328 h 7458372"/>
              <a:gd name="connsiteX28792" fmla="*/ 8487220 w 10505529"/>
              <a:gd name="connsiteY28792" fmla="*/ 2641161 h 7458372"/>
              <a:gd name="connsiteX28793" fmla="*/ 8495606 w 10505529"/>
              <a:gd name="connsiteY28793" fmla="*/ 2620128 h 7458372"/>
              <a:gd name="connsiteX28794" fmla="*/ 8517438 w 10505529"/>
              <a:gd name="connsiteY28794" fmla="*/ 2611475 h 7458372"/>
              <a:gd name="connsiteX28795" fmla="*/ 8299793 w 10505529"/>
              <a:gd name="connsiteY28795" fmla="*/ 2611475 h 7458372"/>
              <a:gd name="connsiteX28796" fmla="*/ 8311507 w 10505529"/>
              <a:gd name="connsiteY28796" fmla="*/ 2614137 h 7458372"/>
              <a:gd name="connsiteX28797" fmla="*/ 8320825 w 10505529"/>
              <a:gd name="connsiteY28797" fmla="*/ 2620528 h 7458372"/>
              <a:gd name="connsiteX28798" fmla="*/ 8326948 w 10505529"/>
              <a:gd name="connsiteY28798" fmla="*/ 2629846 h 7458372"/>
              <a:gd name="connsiteX28799" fmla="*/ 8329212 w 10505529"/>
              <a:gd name="connsiteY28799" fmla="*/ 2641294 h 7458372"/>
              <a:gd name="connsiteX28800" fmla="*/ 8326948 w 10505529"/>
              <a:gd name="connsiteY28800" fmla="*/ 2653009 h 7458372"/>
              <a:gd name="connsiteX28801" fmla="*/ 8320825 w 10505529"/>
              <a:gd name="connsiteY28801" fmla="*/ 2662328 h 7458372"/>
              <a:gd name="connsiteX28802" fmla="*/ 8311507 w 10505529"/>
              <a:gd name="connsiteY28802" fmla="*/ 2668583 h 7458372"/>
              <a:gd name="connsiteX28803" fmla="*/ 8299793 w 10505529"/>
              <a:gd name="connsiteY28803" fmla="*/ 2670846 h 7458372"/>
              <a:gd name="connsiteX28804" fmla="*/ 8277960 w 10505529"/>
              <a:gd name="connsiteY28804" fmla="*/ 2662328 h 7458372"/>
              <a:gd name="connsiteX28805" fmla="*/ 8269574 w 10505529"/>
              <a:gd name="connsiteY28805" fmla="*/ 2641161 h 7458372"/>
              <a:gd name="connsiteX28806" fmla="*/ 8277960 w 10505529"/>
              <a:gd name="connsiteY28806" fmla="*/ 2620128 h 7458372"/>
              <a:gd name="connsiteX28807" fmla="*/ 8299793 w 10505529"/>
              <a:gd name="connsiteY28807" fmla="*/ 2611475 h 7458372"/>
              <a:gd name="connsiteX28808" fmla="*/ 8082281 w 10505529"/>
              <a:gd name="connsiteY28808" fmla="*/ 2611475 h 7458372"/>
              <a:gd name="connsiteX28809" fmla="*/ 8094127 w 10505529"/>
              <a:gd name="connsiteY28809" fmla="*/ 2614137 h 7458372"/>
              <a:gd name="connsiteX28810" fmla="*/ 8103446 w 10505529"/>
              <a:gd name="connsiteY28810" fmla="*/ 2620528 h 7458372"/>
              <a:gd name="connsiteX28811" fmla="*/ 8109569 w 10505529"/>
              <a:gd name="connsiteY28811" fmla="*/ 2629846 h 7458372"/>
              <a:gd name="connsiteX28812" fmla="*/ 8111832 w 10505529"/>
              <a:gd name="connsiteY28812" fmla="*/ 2641294 h 7458372"/>
              <a:gd name="connsiteX28813" fmla="*/ 8109569 w 10505529"/>
              <a:gd name="connsiteY28813" fmla="*/ 2653009 h 7458372"/>
              <a:gd name="connsiteX28814" fmla="*/ 8103446 w 10505529"/>
              <a:gd name="connsiteY28814" fmla="*/ 2662328 h 7458372"/>
              <a:gd name="connsiteX28815" fmla="*/ 8094127 w 10505529"/>
              <a:gd name="connsiteY28815" fmla="*/ 2668583 h 7458372"/>
              <a:gd name="connsiteX28816" fmla="*/ 8082281 w 10505529"/>
              <a:gd name="connsiteY28816" fmla="*/ 2670846 h 7458372"/>
              <a:gd name="connsiteX28817" fmla="*/ 8060448 w 10505529"/>
              <a:gd name="connsiteY28817" fmla="*/ 2662328 h 7458372"/>
              <a:gd name="connsiteX28818" fmla="*/ 8052062 w 10505529"/>
              <a:gd name="connsiteY28818" fmla="*/ 2641161 h 7458372"/>
              <a:gd name="connsiteX28819" fmla="*/ 8060448 w 10505529"/>
              <a:gd name="connsiteY28819" fmla="*/ 2620128 h 7458372"/>
              <a:gd name="connsiteX28820" fmla="*/ 8082281 w 10505529"/>
              <a:gd name="connsiteY28820" fmla="*/ 2611475 h 7458372"/>
              <a:gd name="connsiteX28821" fmla="*/ 7864636 w 10505529"/>
              <a:gd name="connsiteY28821" fmla="*/ 2611475 h 7458372"/>
              <a:gd name="connsiteX28822" fmla="*/ 7876483 w 10505529"/>
              <a:gd name="connsiteY28822" fmla="*/ 2614137 h 7458372"/>
              <a:gd name="connsiteX28823" fmla="*/ 7885802 w 10505529"/>
              <a:gd name="connsiteY28823" fmla="*/ 2620528 h 7458372"/>
              <a:gd name="connsiteX28824" fmla="*/ 7891924 w 10505529"/>
              <a:gd name="connsiteY28824" fmla="*/ 2629846 h 7458372"/>
              <a:gd name="connsiteX28825" fmla="*/ 7894188 w 10505529"/>
              <a:gd name="connsiteY28825" fmla="*/ 2641294 h 7458372"/>
              <a:gd name="connsiteX28826" fmla="*/ 7891924 w 10505529"/>
              <a:gd name="connsiteY28826" fmla="*/ 2653009 h 7458372"/>
              <a:gd name="connsiteX28827" fmla="*/ 7885802 w 10505529"/>
              <a:gd name="connsiteY28827" fmla="*/ 2662328 h 7458372"/>
              <a:gd name="connsiteX28828" fmla="*/ 7876483 w 10505529"/>
              <a:gd name="connsiteY28828" fmla="*/ 2668583 h 7458372"/>
              <a:gd name="connsiteX28829" fmla="*/ 7864636 w 10505529"/>
              <a:gd name="connsiteY28829" fmla="*/ 2670846 h 7458372"/>
              <a:gd name="connsiteX28830" fmla="*/ 7842803 w 10505529"/>
              <a:gd name="connsiteY28830" fmla="*/ 2662328 h 7458372"/>
              <a:gd name="connsiteX28831" fmla="*/ 7834417 w 10505529"/>
              <a:gd name="connsiteY28831" fmla="*/ 2641161 h 7458372"/>
              <a:gd name="connsiteX28832" fmla="*/ 7842803 w 10505529"/>
              <a:gd name="connsiteY28832" fmla="*/ 2620128 h 7458372"/>
              <a:gd name="connsiteX28833" fmla="*/ 7864636 w 10505529"/>
              <a:gd name="connsiteY28833" fmla="*/ 2611475 h 7458372"/>
              <a:gd name="connsiteX28834" fmla="*/ 7646991 w 10505529"/>
              <a:gd name="connsiteY28834" fmla="*/ 2611475 h 7458372"/>
              <a:gd name="connsiteX28835" fmla="*/ 7658705 w 10505529"/>
              <a:gd name="connsiteY28835" fmla="*/ 2614137 h 7458372"/>
              <a:gd name="connsiteX28836" fmla="*/ 7668022 w 10505529"/>
              <a:gd name="connsiteY28836" fmla="*/ 2620528 h 7458372"/>
              <a:gd name="connsiteX28837" fmla="*/ 7674146 w 10505529"/>
              <a:gd name="connsiteY28837" fmla="*/ 2629846 h 7458372"/>
              <a:gd name="connsiteX28838" fmla="*/ 7676409 w 10505529"/>
              <a:gd name="connsiteY28838" fmla="*/ 2641294 h 7458372"/>
              <a:gd name="connsiteX28839" fmla="*/ 7674146 w 10505529"/>
              <a:gd name="connsiteY28839" fmla="*/ 2653009 h 7458372"/>
              <a:gd name="connsiteX28840" fmla="*/ 7668022 w 10505529"/>
              <a:gd name="connsiteY28840" fmla="*/ 2662328 h 7458372"/>
              <a:gd name="connsiteX28841" fmla="*/ 7658705 w 10505529"/>
              <a:gd name="connsiteY28841" fmla="*/ 2668583 h 7458372"/>
              <a:gd name="connsiteX28842" fmla="*/ 7646991 w 10505529"/>
              <a:gd name="connsiteY28842" fmla="*/ 2670846 h 7458372"/>
              <a:gd name="connsiteX28843" fmla="*/ 7625158 w 10505529"/>
              <a:gd name="connsiteY28843" fmla="*/ 2662328 h 7458372"/>
              <a:gd name="connsiteX28844" fmla="*/ 7616772 w 10505529"/>
              <a:gd name="connsiteY28844" fmla="*/ 2641161 h 7458372"/>
              <a:gd name="connsiteX28845" fmla="*/ 7625158 w 10505529"/>
              <a:gd name="connsiteY28845" fmla="*/ 2620128 h 7458372"/>
              <a:gd name="connsiteX28846" fmla="*/ 7646991 w 10505529"/>
              <a:gd name="connsiteY28846" fmla="*/ 2611475 h 7458372"/>
              <a:gd name="connsiteX28847" fmla="*/ 7429345 w 10505529"/>
              <a:gd name="connsiteY28847" fmla="*/ 2611475 h 7458372"/>
              <a:gd name="connsiteX28848" fmla="*/ 7441059 w 10505529"/>
              <a:gd name="connsiteY28848" fmla="*/ 2614137 h 7458372"/>
              <a:gd name="connsiteX28849" fmla="*/ 7450377 w 10505529"/>
              <a:gd name="connsiteY28849" fmla="*/ 2620528 h 7458372"/>
              <a:gd name="connsiteX28850" fmla="*/ 7456501 w 10505529"/>
              <a:gd name="connsiteY28850" fmla="*/ 2629846 h 7458372"/>
              <a:gd name="connsiteX28851" fmla="*/ 7458764 w 10505529"/>
              <a:gd name="connsiteY28851" fmla="*/ 2641294 h 7458372"/>
              <a:gd name="connsiteX28852" fmla="*/ 7456501 w 10505529"/>
              <a:gd name="connsiteY28852" fmla="*/ 2653009 h 7458372"/>
              <a:gd name="connsiteX28853" fmla="*/ 7450377 w 10505529"/>
              <a:gd name="connsiteY28853" fmla="*/ 2662328 h 7458372"/>
              <a:gd name="connsiteX28854" fmla="*/ 7441059 w 10505529"/>
              <a:gd name="connsiteY28854" fmla="*/ 2668583 h 7458372"/>
              <a:gd name="connsiteX28855" fmla="*/ 7429345 w 10505529"/>
              <a:gd name="connsiteY28855" fmla="*/ 2670846 h 7458372"/>
              <a:gd name="connsiteX28856" fmla="*/ 7407513 w 10505529"/>
              <a:gd name="connsiteY28856" fmla="*/ 2662328 h 7458372"/>
              <a:gd name="connsiteX28857" fmla="*/ 7399127 w 10505529"/>
              <a:gd name="connsiteY28857" fmla="*/ 2641161 h 7458372"/>
              <a:gd name="connsiteX28858" fmla="*/ 7407513 w 10505529"/>
              <a:gd name="connsiteY28858" fmla="*/ 2620128 h 7458372"/>
              <a:gd name="connsiteX28859" fmla="*/ 7429345 w 10505529"/>
              <a:gd name="connsiteY28859" fmla="*/ 2611475 h 7458372"/>
              <a:gd name="connsiteX28860" fmla="*/ 7211701 w 10505529"/>
              <a:gd name="connsiteY28860" fmla="*/ 2611475 h 7458372"/>
              <a:gd name="connsiteX28861" fmla="*/ 7223415 w 10505529"/>
              <a:gd name="connsiteY28861" fmla="*/ 2614137 h 7458372"/>
              <a:gd name="connsiteX28862" fmla="*/ 7232733 w 10505529"/>
              <a:gd name="connsiteY28862" fmla="*/ 2620528 h 7458372"/>
              <a:gd name="connsiteX28863" fmla="*/ 7238856 w 10505529"/>
              <a:gd name="connsiteY28863" fmla="*/ 2629846 h 7458372"/>
              <a:gd name="connsiteX28864" fmla="*/ 7241120 w 10505529"/>
              <a:gd name="connsiteY28864" fmla="*/ 2641294 h 7458372"/>
              <a:gd name="connsiteX28865" fmla="*/ 7238856 w 10505529"/>
              <a:gd name="connsiteY28865" fmla="*/ 2653009 h 7458372"/>
              <a:gd name="connsiteX28866" fmla="*/ 7232733 w 10505529"/>
              <a:gd name="connsiteY28866" fmla="*/ 2662328 h 7458372"/>
              <a:gd name="connsiteX28867" fmla="*/ 7223415 w 10505529"/>
              <a:gd name="connsiteY28867" fmla="*/ 2668583 h 7458372"/>
              <a:gd name="connsiteX28868" fmla="*/ 7211701 w 10505529"/>
              <a:gd name="connsiteY28868" fmla="*/ 2670846 h 7458372"/>
              <a:gd name="connsiteX28869" fmla="*/ 7189868 w 10505529"/>
              <a:gd name="connsiteY28869" fmla="*/ 2662328 h 7458372"/>
              <a:gd name="connsiteX28870" fmla="*/ 7181482 w 10505529"/>
              <a:gd name="connsiteY28870" fmla="*/ 2641161 h 7458372"/>
              <a:gd name="connsiteX28871" fmla="*/ 7189868 w 10505529"/>
              <a:gd name="connsiteY28871" fmla="*/ 2620128 h 7458372"/>
              <a:gd name="connsiteX28872" fmla="*/ 7211701 w 10505529"/>
              <a:gd name="connsiteY28872" fmla="*/ 2611475 h 7458372"/>
              <a:gd name="connsiteX28873" fmla="*/ 6994056 w 10505529"/>
              <a:gd name="connsiteY28873" fmla="*/ 2611475 h 7458372"/>
              <a:gd name="connsiteX28874" fmla="*/ 7005769 w 10505529"/>
              <a:gd name="connsiteY28874" fmla="*/ 2614137 h 7458372"/>
              <a:gd name="connsiteX28875" fmla="*/ 7015087 w 10505529"/>
              <a:gd name="connsiteY28875" fmla="*/ 2620528 h 7458372"/>
              <a:gd name="connsiteX28876" fmla="*/ 7021211 w 10505529"/>
              <a:gd name="connsiteY28876" fmla="*/ 2629846 h 7458372"/>
              <a:gd name="connsiteX28877" fmla="*/ 7023474 w 10505529"/>
              <a:gd name="connsiteY28877" fmla="*/ 2641294 h 7458372"/>
              <a:gd name="connsiteX28878" fmla="*/ 7021211 w 10505529"/>
              <a:gd name="connsiteY28878" fmla="*/ 2653009 h 7458372"/>
              <a:gd name="connsiteX28879" fmla="*/ 7015087 w 10505529"/>
              <a:gd name="connsiteY28879" fmla="*/ 2662328 h 7458372"/>
              <a:gd name="connsiteX28880" fmla="*/ 7005769 w 10505529"/>
              <a:gd name="connsiteY28880" fmla="*/ 2668583 h 7458372"/>
              <a:gd name="connsiteX28881" fmla="*/ 6994056 w 10505529"/>
              <a:gd name="connsiteY28881" fmla="*/ 2670846 h 7458372"/>
              <a:gd name="connsiteX28882" fmla="*/ 6972223 w 10505529"/>
              <a:gd name="connsiteY28882" fmla="*/ 2662328 h 7458372"/>
              <a:gd name="connsiteX28883" fmla="*/ 6963837 w 10505529"/>
              <a:gd name="connsiteY28883" fmla="*/ 2641161 h 7458372"/>
              <a:gd name="connsiteX28884" fmla="*/ 6972223 w 10505529"/>
              <a:gd name="connsiteY28884" fmla="*/ 2620128 h 7458372"/>
              <a:gd name="connsiteX28885" fmla="*/ 6994056 w 10505529"/>
              <a:gd name="connsiteY28885" fmla="*/ 2611475 h 7458372"/>
              <a:gd name="connsiteX28886" fmla="*/ 6776544 w 10505529"/>
              <a:gd name="connsiteY28886" fmla="*/ 2611475 h 7458372"/>
              <a:gd name="connsiteX28887" fmla="*/ 6788258 w 10505529"/>
              <a:gd name="connsiteY28887" fmla="*/ 2614137 h 7458372"/>
              <a:gd name="connsiteX28888" fmla="*/ 6797576 w 10505529"/>
              <a:gd name="connsiteY28888" fmla="*/ 2620528 h 7458372"/>
              <a:gd name="connsiteX28889" fmla="*/ 6803699 w 10505529"/>
              <a:gd name="connsiteY28889" fmla="*/ 2629846 h 7458372"/>
              <a:gd name="connsiteX28890" fmla="*/ 6805963 w 10505529"/>
              <a:gd name="connsiteY28890" fmla="*/ 2641294 h 7458372"/>
              <a:gd name="connsiteX28891" fmla="*/ 6803699 w 10505529"/>
              <a:gd name="connsiteY28891" fmla="*/ 2653009 h 7458372"/>
              <a:gd name="connsiteX28892" fmla="*/ 6797576 w 10505529"/>
              <a:gd name="connsiteY28892" fmla="*/ 2662328 h 7458372"/>
              <a:gd name="connsiteX28893" fmla="*/ 6788258 w 10505529"/>
              <a:gd name="connsiteY28893" fmla="*/ 2668583 h 7458372"/>
              <a:gd name="connsiteX28894" fmla="*/ 6776544 w 10505529"/>
              <a:gd name="connsiteY28894" fmla="*/ 2670846 h 7458372"/>
              <a:gd name="connsiteX28895" fmla="*/ 6754711 w 10505529"/>
              <a:gd name="connsiteY28895" fmla="*/ 2662328 h 7458372"/>
              <a:gd name="connsiteX28896" fmla="*/ 6746325 w 10505529"/>
              <a:gd name="connsiteY28896" fmla="*/ 2641161 h 7458372"/>
              <a:gd name="connsiteX28897" fmla="*/ 6754711 w 10505529"/>
              <a:gd name="connsiteY28897" fmla="*/ 2620128 h 7458372"/>
              <a:gd name="connsiteX28898" fmla="*/ 6776544 w 10505529"/>
              <a:gd name="connsiteY28898" fmla="*/ 2611475 h 7458372"/>
              <a:gd name="connsiteX28899" fmla="*/ 6558899 w 10505529"/>
              <a:gd name="connsiteY28899" fmla="*/ 2611475 h 7458372"/>
              <a:gd name="connsiteX28900" fmla="*/ 6570612 w 10505529"/>
              <a:gd name="connsiteY28900" fmla="*/ 2614137 h 7458372"/>
              <a:gd name="connsiteX28901" fmla="*/ 6579930 w 10505529"/>
              <a:gd name="connsiteY28901" fmla="*/ 2620528 h 7458372"/>
              <a:gd name="connsiteX28902" fmla="*/ 6586054 w 10505529"/>
              <a:gd name="connsiteY28902" fmla="*/ 2629846 h 7458372"/>
              <a:gd name="connsiteX28903" fmla="*/ 6588317 w 10505529"/>
              <a:gd name="connsiteY28903" fmla="*/ 2641294 h 7458372"/>
              <a:gd name="connsiteX28904" fmla="*/ 6586054 w 10505529"/>
              <a:gd name="connsiteY28904" fmla="*/ 2653009 h 7458372"/>
              <a:gd name="connsiteX28905" fmla="*/ 6579930 w 10505529"/>
              <a:gd name="connsiteY28905" fmla="*/ 2662328 h 7458372"/>
              <a:gd name="connsiteX28906" fmla="*/ 6570612 w 10505529"/>
              <a:gd name="connsiteY28906" fmla="*/ 2668583 h 7458372"/>
              <a:gd name="connsiteX28907" fmla="*/ 6558899 w 10505529"/>
              <a:gd name="connsiteY28907" fmla="*/ 2670846 h 7458372"/>
              <a:gd name="connsiteX28908" fmla="*/ 6537066 w 10505529"/>
              <a:gd name="connsiteY28908" fmla="*/ 2662328 h 7458372"/>
              <a:gd name="connsiteX28909" fmla="*/ 6528680 w 10505529"/>
              <a:gd name="connsiteY28909" fmla="*/ 2641161 h 7458372"/>
              <a:gd name="connsiteX28910" fmla="*/ 6537066 w 10505529"/>
              <a:gd name="connsiteY28910" fmla="*/ 2620128 h 7458372"/>
              <a:gd name="connsiteX28911" fmla="*/ 6558899 w 10505529"/>
              <a:gd name="connsiteY28911" fmla="*/ 2611475 h 7458372"/>
              <a:gd name="connsiteX28912" fmla="*/ 6341253 w 10505529"/>
              <a:gd name="connsiteY28912" fmla="*/ 2611475 h 7458372"/>
              <a:gd name="connsiteX28913" fmla="*/ 6352968 w 10505529"/>
              <a:gd name="connsiteY28913" fmla="*/ 2614137 h 7458372"/>
              <a:gd name="connsiteX28914" fmla="*/ 6362286 w 10505529"/>
              <a:gd name="connsiteY28914" fmla="*/ 2620528 h 7458372"/>
              <a:gd name="connsiteX28915" fmla="*/ 6368409 w 10505529"/>
              <a:gd name="connsiteY28915" fmla="*/ 2629846 h 7458372"/>
              <a:gd name="connsiteX28916" fmla="*/ 6370672 w 10505529"/>
              <a:gd name="connsiteY28916" fmla="*/ 2641294 h 7458372"/>
              <a:gd name="connsiteX28917" fmla="*/ 6368409 w 10505529"/>
              <a:gd name="connsiteY28917" fmla="*/ 2653009 h 7458372"/>
              <a:gd name="connsiteX28918" fmla="*/ 6362286 w 10505529"/>
              <a:gd name="connsiteY28918" fmla="*/ 2662328 h 7458372"/>
              <a:gd name="connsiteX28919" fmla="*/ 6352968 w 10505529"/>
              <a:gd name="connsiteY28919" fmla="*/ 2668583 h 7458372"/>
              <a:gd name="connsiteX28920" fmla="*/ 6341253 w 10505529"/>
              <a:gd name="connsiteY28920" fmla="*/ 2670846 h 7458372"/>
              <a:gd name="connsiteX28921" fmla="*/ 6319421 w 10505529"/>
              <a:gd name="connsiteY28921" fmla="*/ 2662328 h 7458372"/>
              <a:gd name="connsiteX28922" fmla="*/ 6311035 w 10505529"/>
              <a:gd name="connsiteY28922" fmla="*/ 2641161 h 7458372"/>
              <a:gd name="connsiteX28923" fmla="*/ 6319421 w 10505529"/>
              <a:gd name="connsiteY28923" fmla="*/ 2620128 h 7458372"/>
              <a:gd name="connsiteX28924" fmla="*/ 6341253 w 10505529"/>
              <a:gd name="connsiteY28924" fmla="*/ 2611475 h 7458372"/>
              <a:gd name="connsiteX28925" fmla="*/ 6123608 w 10505529"/>
              <a:gd name="connsiteY28925" fmla="*/ 2611475 h 7458372"/>
              <a:gd name="connsiteX28926" fmla="*/ 6135322 w 10505529"/>
              <a:gd name="connsiteY28926" fmla="*/ 2614137 h 7458372"/>
              <a:gd name="connsiteX28927" fmla="*/ 6144640 w 10505529"/>
              <a:gd name="connsiteY28927" fmla="*/ 2620528 h 7458372"/>
              <a:gd name="connsiteX28928" fmla="*/ 6150763 w 10505529"/>
              <a:gd name="connsiteY28928" fmla="*/ 2629846 h 7458372"/>
              <a:gd name="connsiteX28929" fmla="*/ 6153026 w 10505529"/>
              <a:gd name="connsiteY28929" fmla="*/ 2641294 h 7458372"/>
              <a:gd name="connsiteX28930" fmla="*/ 6150763 w 10505529"/>
              <a:gd name="connsiteY28930" fmla="*/ 2653009 h 7458372"/>
              <a:gd name="connsiteX28931" fmla="*/ 6144640 w 10505529"/>
              <a:gd name="connsiteY28931" fmla="*/ 2662328 h 7458372"/>
              <a:gd name="connsiteX28932" fmla="*/ 6135322 w 10505529"/>
              <a:gd name="connsiteY28932" fmla="*/ 2668583 h 7458372"/>
              <a:gd name="connsiteX28933" fmla="*/ 6123608 w 10505529"/>
              <a:gd name="connsiteY28933" fmla="*/ 2670846 h 7458372"/>
              <a:gd name="connsiteX28934" fmla="*/ 6101775 w 10505529"/>
              <a:gd name="connsiteY28934" fmla="*/ 2662328 h 7458372"/>
              <a:gd name="connsiteX28935" fmla="*/ 6093389 w 10505529"/>
              <a:gd name="connsiteY28935" fmla="*/ 2641161 h 7458372"/>
              <a:gd name="connsiteX28936" fmla="*/ 6101775 w 10505529"/>
              <a:gd name="connsiteY28936" fmla="*/ 2620128 h 7458372"/>
              <a:gd name="connsiteX28937" fmla="*/ 6123608 w 10505529"/>
              <a:gd name="connsiteY28937" fmla="*/ 2611475 h 7458372"/>
              <a:gd name="connsiteX28938" fmla="*/ 5905963 w 10505529"/>
              <a:gd name="connsiteY28938" fmla="*/ 2611475 h 7458372"/>
              <a:gd name="connsiteX28939" fmla="*/ 5917677 w 10505529"/>
              <a:gd name="connsiteY28939" fmla="*/ 2614137 h 7458372"/>
              <a:gd name="connsiteX28940" fmla="*/ 5926995 w 10505529"/>
              <a:gd name="connsiteY28940" fmla="*/ 2620528 h 7458372"/>
              <a:gd name="connsiteX28941" fmla="*/ 5933118 w 10505529"/>
              <a:gd name="connsiteY28941" fmla="*/ 2629846 h 7458372"/>
              <a:gd name="connsiteX28942" fmla="*/ 5935381 w 10505529"/>
              <a:gd name="connsiteY28942" fmla="*/ 2641294 h 7458372"/>
              <a:gd name="connsiteX28943" fmla="*/ 5933118 w 10505529"/>
              <a:gd name="connsiteY28943" fmla="*/ 2653009 h 7458372"/>
              <a:gd name="connsiteX28944" fmla="*/ 5926995 w 10505529"/>
              <a:gd name="connsiteY28944" fmla="*/ 2662328 h 7458372"/>
              <a:gd name="connsiteX28945" fmla="*/ 5917677 w 10505529"/>
              <a:gd name="connsiteY28945" fmla="*/ 2668583 h 7458372"/>
              <a:gd name="connsiteX28946" fmla="*/ 5905963 w 10505529"/>
              <a:gd name="connsiteY28946" fmla="*/ 2670846 h 7458372"/>
              <a:gd name="connsiteX28947" fmla="*/ 5884130 w 10505529"/>
              <a:gd name="connsiteY28947" fmla="*/ 2662328 h 7458372"/>
              <a:gd name="connsiteX28948" fmla="*/ 5875744 w 10505529"/>
              <a:gd name="connsiteY28948" fmla="*/ 2641161 h 7458372"/>
              <a:gd name="connsiteX28949" fmla="*/ 5884130 w 10505529"/>
              <a:gd name="connsiteY28949" fmla="*/ 2620128 h 7458372"/>
              <a:gd name="connsiteX28950" fmla="*/ 5905963 w 10505529"/>
              <a:gd name="connsiteY28950" fmla="*/ 2611475 h 7458372"/>
              <a:gd name="connsiteX28951" fmla="*/ 5688451 w 10505529"/>
              <a:gd name="connsiteY28951" fmla="*/ 2611475 h 7458372"/>
              <a:gd name="connsiteX28952" fmla="*/ 5700165 w 10505529"/>
              <a:gd name="connsiteY28952" fmla="*/ 2614137 h 7458372"/>
              <a:gd name="connsiteX28953" fmla="*/ 5709483 w 10505529"/>
              <a:gd name="connsiteY28953" fmla="*/ 2620528 h 7458372"/>
              <a:gd name="connsiteX28954" fmla="*/ 5715606 w 10505529"/>
              <a:gd name="connsiteY28954" fmla="*/ 2629846 h 7458372"/>
              <a:gd name="connsiteX28955" fmla="*/ 5717869 w 10505529"/>
              <a:gd name="connsiteY28955" fmla="*/ 2641294 h 7458372"/>
              <a:gd name="connsiteX28956" fmla="*/ 5715606 w 10505529"/>
              <a:gd name="connsiteY28956" fmla="*/ 2653009 h 7458372"/>
              <a:gd name="connsiteX28957" fmla="*/ 5709483 w 10505529"/>
              <a:gd name="connsiteY28957" fmla="*/ 2662328 h 7458372"/>
              <a:gd name="connsiteX28958" fmla="*/ 5700165 w 10505529"/>
              <a:gd name="connsiteY28958" fmla="*/ 2668583 h 7458372"/>
              <a:gd name="connsiteX28959" fmla="*/ 5688451 w 10505529"/>
              <a:gd name="connsiteY28959" fmla="*/ 2670846 h 7458372"/>
              <a:gd name="connsiteX28960" fmla="*/ 5666618 w 10505529"/>
              <a:gd name="connsiteY28960" fmla="*/ 2662328 h 7458372"/>
              <a:gd name="connsiteX28961" fmla="*/ 5658232 w 10505529"/>
              <a:gd name="connsiteY28961" fmla="*/ 2641161 h 7458372"/>
              <a:gd name="connsiteX28962" fmla="*/ 5666618 w 10505529"/>
              <a:gd name="connsiteY28962" fmla="*/ 2620128 h 7458372"/>
              <a:gd name="connsiteX28963" fmla="*/ 5688451 w 10505529"/>
              <a:gd name="connsiteY28963" fmla="*/ 2611475 h 7458372"/>
              <a:gd name="connsiteX28964" fmla="*/ 5470806 w 10505529"/>
              <a:gd name="connsiteY28964" fmla="*/ 2611475 h 7458372"/>
              <a:gd name="connsiteX28965" fmla="*/ 5482520 w 10505529"/>
              <a:gd name="connsiteY28965" fmla="*/ 2614137 h 7458372"/>
              <a:gd name="connsiteX28966" fmla="*/ 5491838 w 10505529"/>
              <a:gd name="connsiteY28966" fmla="*/ 2620528 h 7458372"/>
              <a:gd name="connsiteX28967" fmla="*/ 5497961 w 10505529"/>
              <a:gd name="connsiteY28967" fmla="*/ 2629846 h 7458372"/>
              <a:gd name="connsiteX28968" fmla="*/ 5500224 w 10505529"/>
              <a:gd name="connsiteY28968" fmla="*/ 2641294 h 7458372"/>
              <a:gd name="connsiteX28969" fmla="*/ 5497961 w 10505529"/>
              <a:gd name="connsiteY28969" fmla="*/ 2653009 h 7458372"/>
              <a:gd name="connsiteX28970" fmla="*/ 5491838 w 10505529"/>
              <a:gd name="connsiteY28970" fmla="*/ 2662328 h 7458372"/>
              <a:gd name="connsiteX28971" fmla="*/ 5482520 w 10505529"/>
              <a:gd name="connsiteY28971" fmla="*/ 2668583 h 7458372"/>
              <a:gd name="connsiteX28972" fmla="*/ 5470806 w 10505529"/>
              <a:gd name="connsiteY28972" fmla="*/ 2670846 h 7458372"/>
              <a:gd name="connsiteX28973" fmla="*/ 5448973 w 10505529"/>
              <a:gd name="connsiteY28973" fmla="*/ 2662328 h 7458372"/>
              <a:gd name="connsiteX28974" fmla="*/ 5440587 w 10505529"/>
              <a:gd name="connsiteY28974" fmla="*/ 2641161 h 7458372"/>
              <a:gd name="connsiteX28975" fmla="*/ 5448973 w 10505529"/>
              <a:gd name="connsiteY28975" fmla="*/ 2620128 h 7458372"/>
              <a:gd name="connsiteX28976" fmla="*/ 5470806 w 10505529"/>
              <a:gd name="connsiteY28976" fmla="*/ 2611475 h 7458372"/>
              <a:gd name="connsiteX28977" fmla="*/ 5253160 w 10505529"/>
              <a:gd name="connsiteY28977" fmla="*/ 2611475 h 7458372"/>
              <a:gd name="connsiteX28978" fmla="*/ 5264875 w 10505529"/>
              <a:gd name="connsiteY28978" fmla="*/ 2614137 h 7458372"/>
              <a:gd name="connsiteX28979" fmla="*/ 5274192 w 10505529"/>
              <a:gd name="connsiteY28979" fmla="*/ 2620528 h 7458372"/>
              <a:gd name="connsiteX28980" fmla="*/ 5280316 w 10505529"/>
              <a:gd name="connsiteY28980" fmla="*/ 2629846 h 7458372"/>
              <a:gd name="connsiteX28981" fmla="*/ 5282579 w 10505529"/>
              <a:gd name="connsiteY28981" fmla="*/ 2641294 h 7458372"/>
              <a:gd name="connsiteX28982" fmla="*/ 5280316 w 10505529"/>
              <a:gd name="connsiteY28982" fmla="*/ 2653009 h 7458372"/>
              <a:gd name="connsiteX28983" fmla="*/ 5274192 w 10505529"/>
              <a:gd name="connsiteY28983" fmla="*/ 2662328 h 7458372"/>
              <a:gd name="connsiteX28984" fmla="*/ 5264875 w 10505529"/>
              <a:gd name="connsiteY28984" fmla="*/ 2668583 h 7458372"/>
              <a:gd name="connsiteX28985" fmla="*/ 5253160 w 10505529"/>
              <a:gd name="connsiteY28985" fmla="*/ 2670846 h 7458372"/>
              <a:gd name="connsiteX28986" fmla="*/ 5231328 w 10505529"/>
              <a:gd name="connsiteY28986" fmla="*/ 2662328 h 7458372"/>
              <a:gd name="connsiteX28987" fmla="*/ 5222942 w 10505529"/>
              <a:gd name="connsiteY28987" fmla="*/ 2641161 h 7458372"/>
              <a:gd name="connsiteX28988" fmla="*/ 5231328 w 10505529"/>
              <a:gd name="connsiteY28988" fmla="*/ 2620128 h 7458372"/>
              <a:gd name="connsiteX28989" fmla="*/ 5253160 w 10505529"/>
              <a:gd name="connsiteY28989" fmla="*/ 2611475 h 7458372"/>
              <a:gd name="connsiteX28990" fmla="*/ 5035515 w 10505529"/>
              <a:gd name="connsiteY28990" fmla="*/ 2611475 h 7458372"/>
              <a:gd name="connsiteX28991" fmla="*/ 5047230 w 10505529"/>
              <a:gd name="connsiteY28991" fmla="*/ 2614137 h 7458372"/>
              <a:gd name="connsiteX28992" fmla="*/ 5056548 w 10505529"/>
              <a:gd name="connsiteY28992" fmla="*/ 2620528 h 7458372"/>
              <a:gd name="connsiteX28993" fmla="*/ 5062671 w 10505529"/>
              <a:gd name="connsiteY28993" fmla="*/ 2629846 h 7458372"/>
              <a:gd name="connsiteX28994" fmla="*/ 5064934 w 10505529"/>
              <a:gd name="connsiteY28994" fmla="*/ 2641294 h 7458372"/>
              <a:gd name="connsiteX28995" fmla="*/ 5062671 w 10505529"/>
              <a:gd name="connsiteY28995" fmla="*/ 2653009 h 7458372"/>
              <a:gd name="connsiteX28996" fmla="*/ 5056548 w 10505529"/>
              <a:gd name="connsiteY28996" fmla="*/ 2662328 h 7458372"/>
              <a:gd name="connsiteX28997" fmla="*/ 5047230 w 10505529"/>
              <a:gd name="connsiteY28997" fmla="*/ 2668583 h 7458372"/>
              <a:gd name="connsiteX28998" fmla="*/ 5035515 w 10505529"/>
              <a:gd name="connsiteY28998" fmla="*/ 2670846 h 7458372"/>
              <a:gd name="connsiteX28999" fmla="*/ 5013683 w 10505529"/>
              <a:gd name="connsiteY28999" fmla="*/ 2662328 h 7458372"/>
              <a:gd name="connsiteX29000" fmla="*/ 5005297 w 10505529"/>
              <a:gd name="connsiteY29000" fmla="*/ 2641161 h 7458372"/>
              <a:gd name="connsiteX29001" fmla="*/ 5013683 w 10505529"/>
              <a:gd name="connsiteY29001" fmla="*/ 2620128 h 7458372"/>
              <a:gd name="connsiteX29002" fmla="*/ 5035515 w 10505529"/>
              <a:gd name="connsiteY29002" fmla="*/ 2611475 h 7458372"/>
              <a:gd name="connsiteX29003" fmla="*/ 4817870 w 10505529"/>
              <a:gd name="connsiteY29003" fmla="*/ 2611475 h 7458372"/>
              <a:gd name="connsiteX29004" fmla="*/ 4829585 w 10505529"/>
              <a:gd name="connsiteY29004" fmla="*/ 2614137 h 7458372"/>
              <a:gd name="connsiteX29005" fmla="*/ 4838903 w 10505529"/>
              <a:gd name="connsiteY29005" fmla="*/ 2620528 h 7458372"/>
              <a:gd name="connsiteX29006" fmla="*/ 4845026 w 10505529"/>
              <a:gd name="connsiteY29006" fmla="*/ 2629846 h 7458372"/>
              <a:gd name="connsiteX29007" fmla="*/ 4847289 w 10505529"/>
              <a:gd name="connsiteY29007" fmla="*/ 2641294 h 7458372"/>
              <a:gd name="connsiteX29008" fmla="*/ 4845026 w 10505529"/>
              <a:gd name="connsiteY29008" fmla="*/ 2653009 h 7458372"/>
              <a:gd name="connsiteX29009" fmla="*/ 4838903 w 10505529"/>
              <a:gd name="connsiteY29009" fmla="*/ 2662328 h 7458372"/>
              <a:gd name="connsiteX29010" fmla="*/ 4829585 w 10505529"/>
              <a:gd name="connsiteY29010" fmla="*/ 2668583 h 7458372"/>
              <a:gd name="connsiteX29011" fmla="*/ 4817870 w 10505529"/>
              <a:gd name="connsiteY29011" fmla="*/ 2670846 h 7458372"/>
              <a:gd name="connsiteX29012" fmla="*/ 4796038 w 10505529"/>
              <a:gd name="connsiteY29012" fmla="*/ 2662328 h 7458372"/>
              <a:gd name="connsiteX29013" fmla="*/ 4787652 w 10505529"/>
              <a:gd name="connsiteY29013" fmla="*/ 2641161 h 7458372"/>
              <a:gd name="connsiteX29014" fmla="*/ 4796038 w 10505529"/>
              <a:gd name="connsiteY29014" fmla="*/ 2620128 h 7458372"/>
              <a:gd name="connsiteX29015" fmla="*/ 4817870 w 10505529"/>
              <a:gd name="connsiteY29015" fmla="*/ 2611475 h 7458372"/>
              <a:gd name="connsiteX29016" fmla="*/ 4600226 w 10505529"/>
              <a:gd name="connsiteY29016" fmla="*/ 2611475 h 7458372"/>
              <a:gd name="connsiteX29017" fmla="*/ 4612073 w 10505529"/>
              <a:gd name="connsiteY29017" fmla="*/ 2614137 h 7458372"/>
              <a:gd name="connsiteX29018" fmla="*/ 4621391 w 10505529"/>
              <a:gd name="connsiteY29018" fmla="*/ 2620528 h 7458372"/>
              <a:gd name="connsiteX29019" fmla="*/ 4627514 w 10505529"/>
              <a:gd name="connsiteY29019" fmla="*/ 2629846 h 7458372"/>
              <a:gd name="connsiteX29020" fmla="*/ 4629777 w 10505529"/>
              <a:gd name="connsiteY29020" fmla="*/ 2641294 h 7458372"/>
              <a:gd name="connsiteX29021" fmla="*/ 4627514 w 10505529"/>
              <a:gd name="connsiteY29021" fmla="*/ 2653009 h 7458372"/>
              <a:gd name="connsiteX29022" fmla="*/ 4621391 w 10505529"/>
              <a:gd name="connsiteY29022" fmla="*/ 2662328 h 7458372"/>
              <a:gd name="connsiteX29023" fmla="*/ 4612073 w 10505529"/>
              <a:gd name="connsiteY29023" fmla="*/ 2668583 h 7458372"/>
              <a:gd name="connsiteX29024" fmla="*/ 4600226 w 10505529"/>
              <a:gd name="connsiteY29024" fmla="*/ 2670846 h 7458372"/>
              <a:gd name="connsiteX29025" fmla="*/ 4578393 w 10505529"/>
              <a:gd name="connsiteY29025" fmla="*/ 2662328 h 7458372"/>
              <a:gd name="connsiteX29026" fmla="*/ 4570007 w 10505529"/>
              <a:gd name="connsiteY29026" fmla="*/ 2641161 h 7458372"/>
              <a:gd name="connsiteX29027" fmla="*/ 4578393 w 10505529"/>
              <a:gd name="connsiteY29027" fmla="*/ 2620128 h 7458372"/>
              <a:gd name="connsiteX29028" fmla="*/ 4600226 w 10505529"/>
              <a:gd name="connsiteY29028" fmla="*/ 2611475 h 7458372"/>
              <a:gd name="connsiteX29029" fmla="*/ 4382713 w 10505529"/>
              <a:gd name="connsiteY29029" fmla="*/ 2611475 h 7458372"/>
              <a:gd name="connsiteX29030" fmla="*/ 4394428 w 10505529"/>
              <a:gd name="connsiteY29030" fmla="*/ 2614137 h 7458372"/>
              <a:gd name="connsiteX29031" fmla="*/ 4403746 w 10505529"/>
              <a:gd name="connsiteY29031" fmla="*/ 2620528 h 7458372"/>
              <a:gd name="connsiteX29032" fmla="*/ 4409869 w 10505529"/>
              <a:gd name="connsiteY29032" fmla="*/ 2629846 h 7458372"/>
              <a:gd name="connsiteX29033" fmla="*/ 4412132 w 10505529"/>
              <a:gd name="connsiteY29033" fmla="*/ 2641294 h 7458372"/>
              <a:gd name="connsiteX29034" fmla="*/ 4409869 w 10505529"/>
              <a:gd name="connsiteY29034" fmla="*/ 2653009 h 7458372"/>
              <a:gd name="connsiteX29035" fmla="*/ 4403746 w 10505529"/>
              <a:gd name="connsiteY29035" fmla="*/ 2662328 h 7458372"/>
              <a:gd name="connsiteX29036" fmla="*/ 4394428 w 10505529"/>
              <a:gd name="connsiteY29036" fmla="*/ 2668583 h 7458372"/>
              <a:gd name="connsiteX29037" fmla="*/ 4382713 w 10505529"/>
              <a:gd name="connsiteY29037" fmla="*/ 2670846 h 7458372"/>
              <a:gd name="connsiteX29038" fmla="*/ 4360881 w 10505529"/>
              <a:gd name="connsiteY29038" fmla="*/ 2662328 h 7458372"/>
              <a:gd name="connsiteX29039" fmla="*/ 4352495 w 10505529"/>
              <a:gd name="connsiteY29039" fmla="*/ 2641161 h 7458372"/>
              <a:gd name="connsiteX29040" fmla="*/ 4360881 w 10505529"/>
              <a:gd name="connsiteY29040" fmla="*/ 2620128 h 7458372"/>
              <a:gd name="connsiteX29041" fmla="*/ 4382713 w 10505529"/>
              <a:gd name="connsiteY29041" fmla="*/ 2611475 h 7458372"/>
              <a:gd name="connsiteX29042" fmla="*/ 4165068 w 10505529"/>
              <a:gd name="connsiteY29042" fmla="*/ 2611475 h 7458372"/>
              <a:gd name="connsiteX29043" fmla="*/ 4176782 w 10505529"/>
              <a:gd name="connsiteY29043" fmla="*/ 2614137 h 7458372"/>
              <a:gd name="connsiteX29044" fmla="*/ 4186100 w 10505529"/>
              <a:gd name="connsiteY29044" fmla="*/ 2620528 h 7458372"/>
              <a:gd name="connsiteX29045" fmla="*/ 4192223 w 10505529"/>
              <a:gd name="connsiteY29045" fmla="*/ 2629846 h 7458372"/>
              <a:gd name="connsiteX29046" fmla="*/ 4194486 w 10505529"/>
              <a:gd name="connsiteY29046" fmla="*/ 2641294 h 7458372"/>
              <a:gd name="connsiteX29047" fmla="*/ 4192223 w 10505529"/>
              <a:gd name="connsiteY29047" fmla="*/ 2653009 h 7458372"/>
              <a:gd name="connsiteX29048" fmla="*/ 4186100 w 10505529"/>
              <a:gd name="connsiteY29048" fmla="*/ 2662328 h 7458372"/>
              <a:gd name="connsiteX29049" fmla="*/ 4176782 w 10505529"/>
              <a:gd name="connsiteY29049" fmla="*/ 2668583 h 7458372"/>
              <a:gd name="connsiteX29050" fmla="*/ 4165068 w 10505529"/>
              <a:gd name="connsiteY29050" fmla="*/ 2670846 h 7458372"/>
              <a:gd name="connsiteX29051" fmla="*/ 4143235 w 10505529"/>
              <a:gd name="connsiteY29051" fmla="*/ 2662328 h 7458372"/>
              <a:gd name="connsiteX29052" fmla="*/ 4134849 w 10505529"/>
              <a:gd name="connsiteY29052" fmla="*/ 2641161 h 7458372"/>
              <a:gd name="connsiteX29053" fmla="*/ 4143235 w 10505529"/>
              <a:gd name="connsiteY29053" fmla="*/ 2620128 h 7458372"/>
              <a:gd name="connsiteX29054" fmla="*/ 4165068 w 10505529"/>
              <a:gd name="connsiteY29054" fmla="*/ 2611475 h 7458372"/>
              <a:gd name="connsiteX29055" fmla="*/ 3947570 w 10505529"/>
              <a:gd name="connsiteY29055" fmla="*/ 2611475 h 7458372"/>
              <a:gd name="connsiteX29056" fmla="*/ 3959286 w 10505529"/>
              <a:gd name="connsiteY29056" fmla="*/ 2614137 h 7458372"/>
              <a:gd name="connsiteX29057" fmla="*/ 3968604 w 10505529"/>
              <a:gd name="connsiteY29057" fmla="*/ 2620528 h 7458372"/>
              <a:gd name="connsiteX29058" fmla="*/ 3974728 w 10505529"/>
              <a:gd name="connsiteY29058" fmla="*/ 2629846 h 7458372"/>
              <a:gd name="connsiteX29059" fmla="*/ 3976991 w 10505529"/>
              <a:gd name="connsiteY29059" fmla="*/ 2641294 h 7458372"/>
              <a:gd name="connsiteX29060" fmla="*/ 3974728 w 10505529"/>
              <a:gd name="connsiteY29060" fmla="*/ 2653009 h 7458372"/>
              <a:gd name="connsiteX29061" fmla="*/ 3968604 w 10505529"/>
              <a:gd name="connsiteY29061" fmla="*/ 2662328 h 7458372"/>
              <a:gd name="connsiteX29062" fmla="*/ 3959286 w 10505529"/>
              <a:gd name="connsiteY29062" fmla="*/ 2668583 h 7458372"/>
              <a:gd name="connsiteX29063" fmla="*/ 3947570 w 10505529"/>
              <a:gd name="connsiteY29063" fmla="*/ 2670846 h 7458372"/>
              <a:gd name="connsiteX29064" fmla="*/ 3925738 w 10505529"/>
              <a:gd name="connsiteY29064" fmla="*/ 2662328 h 7458372"/>
              <a:gd name="connsiteX29065" fmla="*/ 3917351 w 10505529"/>
              <a:gd name="connsiteY29065" fmla="*/ 2641161 h 7458372"/>
              <a:gd name="connsiteX29066" fmla="*/ 3925738 w 10505529"/>
              <a:gd name="connsiteY29066" fmla="*/ 2620128 h 7458372"/>
              <a:gd name="connsiteX29067" fmla="*/ 3947570 w 10505529"/>
              <a:gd name="connsiteY29067" fmla="*/ 2611475 h 7458372"/>
              <a:gd name="connsiteX29068" fmla="*/ 3729918 w 10505529"/>
              <a:gd name="connsiteY29068" fmla="*/ 2611475 h 7458372"/>
              <a:gd name="connsiteX29069" fmla="*/ 3741633 w 10505529"/>
              <a:gd name="connsiteY29069" fmla="*/ 2614137 h 7458372"/>
              <a:gd name="connsiteX29070" fmla="*/ 3750951 w 10505529"/>
              <a:gd name="connsiteY29070" fmla="*/ 2620528 h 7458372"/>
              <a:gd name="connsiteX29071" fmla="*/ 3757074 w 10505529"/>
              <a:gd name="connsiteY29071" fmla="*/ 2629846 h 7458372"/>
              <a:gd name="connsiteX29072" fmla="*/ 3759337 w 10505529"/>
              <a:gd name="connsiteY29072" fmla="*/ 2641294 h 7458372"/>
              <a:gd name="connsiteX29073" fmla="*/ 3757074 w 10505529"/>
              <a:gd name="connsiteY29073" fmla="*/ 2653009 h 7458372"/>
              <a:gd name="connsiteX29074" fmla="*/ 3750951 w 10505529"/>
              <a:gd name="connsiteY29074" fmla="*/ 2662328 h 7458372"/>
              <a:gd name="connsiteX29075" fmla="*/ 3741633 w 10505529"/>
              <a:gd name="connsiteY29075" fmla="*/ 2668583 h 7458372"/>
              <a:gd name="connsiteX29076" fmla="*/ 3729918 w 10505529"/>
              <a:gd name="connsiteY29076" fmla="*/ 2670846 h 7458372"/>
              <a:gd name="connsiteX29077" fmla="*/ 3708082 w 10505529"/>
              <a:gd name="connsiteY29077" fmla="*/ 2662328 h 7458372"/>
              <a:gd name="connsiteX29078" fmla="*/ 3699696 w 10505529"/>
              <a:gd name="connsiteY29078" fmla="*/ 2641161 h 7458372"/>
              <a:gd name="connsiteX29079" fmla="*/ 3708082 w 10505529"/>
              <a:gd name="connsiteY29079" fmla="*/ 2620128 h 7458372"/>
              <a:gd name="connsiteX29080" fmla="*/ 3729918 w 10505529"/>
              <a:gd name="connsiteY29080" fmla="*/ 2611475 h 7458372"/>
              <a:gd name="connsiteX29081" fmla="*/ 3512265 w 10505529"/>
              <a:gd name="connsiteY29081" fmla="*/ 2611475 h 7458372"/>
              <a:gd name="connsiteX29082" fmla="*/ 3523981 w 10505529"/>
              <a:gd name="connsiteY29082" fmla="*/ 2614137 h 7458372"/>
              <a:gd name="connsiteX29083" fmla="*/ 3533299 w 10505529"/>
              <a:gd name="connsiteY29083" fmla="*/ 2620528 h 7458372"/>
              <a:gd name="connsiteX29084" fmla="*/ 3539422 w 10505529"/>
              <a:gd name="connsiteY29084" fmla="*/ 2629846 h 7458372"/>
              <a:gd name="connsiteX29085" fmla="*/ 3541685 w 10505529"/>
              <a:gd name="connsiteY29085" fmla="*/ 2641294 h 7458372"/>
              <a:gd name="connsiteX29086" fmla="*/ 3539422 w 10505529"/>
              <a:gd name="connsiteY29086" fmla="*/ 2653009 h 7458372"/>
              <a:gd name="connsiteX29087" fmla="*/ 3533299 w 10505529"/>
              <a:gd name="connsiteY29087" fmla="*/ 2662328 h 7458372"/>
              <a:gd name="connsiteX29088" fmla="*/ 3523981 w 10505529"/>
              <a:gd name="connsiteY29088" fmla="*/ 2668583 h 7458372"/>
              <a:gd name="connsiteX29089" fmla="*/ 3512265 w 10505529"/>
              <a:gd name="connsiteY29089" fmla="*/ 2670846 h 7458372"/>
              <a:gd name="connsiteX29090" fmla="*/ 3490431 w 10505529"/>
              <a:gd name="connsiteY29090" fmla="*/ 2662328 h 7458372"/>
              <a:gd name="connsiteX29091" fmla="*/ 3482044 w 10505529"/>
              <a:gd name="connsiteY29091" fmla="*/ 2641161 h 7458372"/>
              <a:gd name="connsiteX29092" fmla="*/ 3490431 w 10505529"/>
              <a:gd name="connsiteY29092" fmla="*/ 2620128 h 7458372"/>
              <a:gd name="connsiteX29093" fmla="*/ 3512265 w 10505529"/>
              <a:gd name="connsiteY29093" fmla="*/ 2611475 h 7458372"/>
              <a:gd name="connsiteX29094" fmla="*/ 3294745 w 10505529"/>
              <a:gd name="connsiteY29094" fmla="*/ 2611475 h 7458372"/>
              <a:gd name="connsiteX29095" fmla="*/ 3306461 w 10505529"/>
              <a:gd name="connsiteY29095" fmla="*/ 2614137 h 7458372"/>
              <a:gd name="connsiteX29096" fmla="*/ 3315779 w 10505529"/>
              <a:gd name="connsiteY29096" fmla="*/ 2620528 h 7458372"/>
              <a:gd name="connsiteX29097" fmla="*/ 3321902 w 10505529"/>
              <a:gd name="connsiteY29097" fmla="*/ 2629846 h 7458372"/>
              <a:gd name="connsiteX29098" fmla="*/ 3324165 w 10505529"/>
              <a:gd name="connsiteY29098" fmla="*/ 2641294 h 7458372"/>
              <a:gd name="connsiteX29099" fmla="*/ 3321902 w 10505529"/>
              <a:gd name="connsiteY29099" fmla="*/ 2653009 h 7458372"/>
              <a:gd name="connsiteX29100" fmla="*/ 3315779 w 10505529"/>
              <a:gd name="connsiteY29100" fmla="*/ 2662328 h 7458372"/>
              <a:gd name="connsiteX29101" fmla="*/ 3306461 w 10505529"/>
              <a:gd name="connsiteY29101" fmla="*/ 2668583 h 7458372"/>
              <a:gd name="connsiteX29102" fmla="*/ 3294745 w 10505529"/>
              <a:gd name="connsiteY29102" fmla="*/ 2670846 h 7458372"/>
              <a:gd name="connsiteX29103" fmla="*/ 3272910 w 10505529"/>
              <a:gd name="connsiteY29103" fmla="*/ 2662328 h 7458372"/>
              <a:gd name="connsiteX29104" fmla="*/ 3264524 w 10505529"/>
              <a:gd name="connsiteY29104" fmla="*/ 2641161 h 7458372"/>
              <a:gd name="connsiteX29105" fmla="*/ 3272910 w 10505529"/>
              <a:gd name="connsiteY29105" fmla="*/ 2620128 h 7458372"/>
              <a:gd name="connsiteX29106" fmla="*/ 3294745 w 10505529"/>
              <a:gd name="connsiteY29106" fmla="*/ 2611475 h 7458372"/>
              <a:gd name="connsiteX29107" fmla="*/ 3077093 w 10505529"/>
              <a:gd name="connsiteY29107" fmla="*/ 2611475 h 7458372"/>
              <a:gd name="connsiteX29108" fmla="*/ 3088808 w 10505529"/>
              <a:gd name="connsiteY29108" fmla="*/ 2614137 h 7458372"/>
              <a:gd name="connsiteX29109" fmla="*/ 3098126 w 10505529"/>
              <a:gd name="connsiteY29109" fmla="*/ 2620528 h 7458372"/>
              <a:gd name="connsiteX29110" fmla="*/ 3104249 w 10505529"/>
              <a:gd name="connsiteY29110" fmla="*/ 2629846 h 7458372"/>
              <a:gd name="connsiteX29111" fmla="*/ 3106512 w 10505529"/>
              <a:gd name="connsiteY29111" fmla="*/ 2641294 h 7458372"/>
              <a:gd name="connsiteX29112" fmla="*/ 3104249 w 10505529"/>
              <a:gd name="connsiteY29112" fmla="*/ 2653009 h 7458372"/>
              <a:gd name="connsiteX29113" fmla="*/ 3098126 w 10505529"/>
              <a:gd name="connsiteY29113" fmla="*/ 2662328 h 7458372"/>
              <a:gd name="connsiteX29114" fmla="*/ 3088808 w 10505529"/>
              <a:gd name="connsiteY29114" fmla="*/ 2668583 h 7458372"/>
              <a:gd name="connsiteX29115" fmla="*/ 3077093 w 10505529"/>
              <a:gd name="connsiteY29115" fmla="*/ 2670846 h 7458372"/>
              <a:gd name="connsiteX29116" fmla="*/ 3055258 w 10505529"/>
              <a:gd name="connsiteY29116" fmla="*/ 2662328 h 7458372"/>
              <a:gd name="connsiteX29117" fmla="*/ 3046872 w 10505529"/>
              <a:gd name="connsiteY29117" fmla="*/ 2641161 h 7458372"/>
              <a:gd name="connsiteX29118" fmla="*/ 3055258 w 10505529"/>
              <a:gd name="connsiteY29118" fmla="*/ 2620128 h 7458372"/>
              <a:gd name="connsiteX29119" fmla="*/ 3077093 w 10505529"/>
              <a:gd name="connsiteY29119" fmla="*/ 2611475 h 7458372"/>
              <a:gd name="connsiteX29120" fmla="*/ 2859440 w 10505529"/>
              <a:gd name="connsiteY29120" fmla="*/ 2611475 h 7458372"/>
              <a:gd name="connsiteX29121" fmla="*/ 2871289 w 10505529"/>
              <a:gd name="connsiteY29121" fmla="*/ 2614137 h 7458372"/>
              <a:gd name="connsiteX29122" fmla="*/ 2880607 w 10505529"/>
              <a:gd name="connsiteY29122" fmla="*/ 2620528 h 7458372"/>
              <a:gd name="connsiteX29123" fmla="*/ 2886730 w 10505529"/>
              <a:gd name="connsiteY29123" fmla="*/ 2629846 h 7458372"/>
              <a:gd name="connsiteX29124" fmla="*/ 2888993 w 10505529"/>
              <a:gd name="connsiteY29124" fmla="*/ 2641294 h 7458372"/>
              <a:gd name="connsiteX29125" fmla="*/ 2886730 w 10505529"/>
              <a:gd name="connsiteY29125" fmla="*/ 2653009 h 7458372"/>
              <a:gd name="connsiteX29126" fmla="*/ 2880607 w 10505529"/>
              <a:gd name="connsiteY29126" fmla="*/ 2662328 h 7458372"/>
              <a:gd name="connsiteX29127" fmla="*/ 2871289 w 10505529"/>
              <a:gd name="connsiteY29127" fmla="*/ 2668583 h 7458372"/>
              <a:gd name="connsiteX29128" fmla="*/ 2859440 w 10505529"/>
              <a:gd name="connsiteY29128" fmla="*/ 2670846 h 7458372"/>
              <a:gd name="connsiteX29129" fmla="*/ 2837606 w 10505529"/>
              <a:gd name="connsiteY29129" fmla="*/ 2662328 h 7458372"/>
              <a:gd name="connsiteX29130" fmla="*/ 2829219 w 10505529"/>
              <a:gd name="connsiteY29130" fmla="*/ 2641161 h 7458372"/>
              <a:gd name="connsiteX29131" fmla="*/ 2837606 w 10505529"/>
              <a:gd name="connsiteY29131" fmla="*/ 2620128 h 7458372"/>
              <a:gd name="connsiteX29132" fmla="*/ 2859440 w 10505529"/>
              <a:gd name="connsiteY29132" fmla="*/ 2611475 h 7458372"/>
              <a:gd name="connsiteX29133" fmla="*/ 2641787 w 10505529"/>
              <a:gd name="connsiteY29133" fmla="*/ 2611475 h 7458372"/>
              <a:gd name="connsiteX29134" fmla="*/ 2653503 w 10505529"/>
              <a:gd name="connsiteY29134" fmla="*/ 2614137 h 7458372"/>
              <a:gd name="connsiteX29135" fmla="*/ 2662821 w 10505529"/>
              <a:gd name="connsiteY29135" fmla="*/ 2620528 h 7458372"/>
              <a:gd name="connsiteX29136" fmla="*/ 2668944 w 10505529"/>
              <a:gd name="connsiteY29136" fmla="*/ 2629846 h 7458372"/>
              <a:gd name="connsiteX29137" fmla="*/ 2671207 w 10505529"/>
              <a:gd name="connsiteY29137" fmla="*/ 2641294 h 7458372"/>
              <a:gd name="connsiteX29138" fmla="*/ 2668944 w 10505529"/>
              <a:gd name="connsiteY29138" fmla="*/ 2653009 h 7458372"/>
              <a:gd name="connsiteX29139" fmla="*/ 2662821 w 10505529"/>
              <a:gd name="connsiteY29139" fmla="*/ 2662328 h 7458372"/>
              <a:gd name="connsiteX29140" fmla="*/ 2653503 w 10505529"/>
              <a:gd name="connsiteY29140" fmla="*/ 2668583 h 7458372"/>
              <a:gd name="connsiteX29141" fmla="*/ 2641787 w 10505529"/>
              <a:gd name="connsiteY29141" fmla="*/ 2670846 h 7458372"/>
              <a:gd name="connsiteX29142" fmla="*/ 2619955 w 10505529"/>
              <a:gd name="connsiteY29142" fmla="*/ 2662328 h 7458372"/>
              <a:gd name="connsiteX29143" fmla="*/ 2611568 w 10505529"/>
              <a:gd name="connsiteY29143" fmla="*/ 2641161 h 7458372"/>
              <a:gd name="connsiteX29144" fmla="*/ 2619955 w 10505529"/>
              <a:gd name="connsiteY29144" fmla="*/ 2620128 h 7458372"/>
              <a:gd name="connsiteX29145" fmla="*/ 2641787 w 10505529"/>
              <a:gd name="connsiteY29145" fmla="*/ 2611475 h 7458372"/>
              <a:gd name="connsiteX29146" fmla="*/ 2424134 w 10505529"/>
              <a:gd name="connsiteY29146" fmla="*/ 2611475 h 7458372"/>
              <a:gd name="connsiteX29147" fmla="*/ 2435850 w 10505529"/>
              <a:gd name="connsiteY29147" fmla="*/ 2614137 h 7458372"/>
              <a:gd name="connsiteX29148" fmla="*/ 2445168 w 10505529"/>
              <a:gd name="connsiteY29148" fmla="*/ 2620528 h 7458372"/>
              <a:gd name="connsiteX29149" fmla="*/ 2451291 w 10505529"/>
              <a:gd name="connsiteY29149" fmla="*/ 2629846 h 7458372"/>
              <a:gd name="connsiteX29150" fmla="*/ 2453554 w 10505529"/>
              <a:gd name="connsiteY29150" fmla="*/ 2641294 h 7458372"/>
              <a:gd name="connsiteX29151" fmla="*/ 2451291 w 10505529"/>
              <a:gd name="connsiteY29151" fmla="*/ 2653009 h 7458372"/>
              <a:gd name="connsiteX29152" fmla="*/ 2445168 w 10505529"/>
              <a:gd name="connsiteY29152" fmla="*/ 2662328 h 7458372"/>
              <a:gd name="connsiteX29153" fmla="*/ 2435850 w 10505529"/>
              <a:gd name="connsiteY29153" fmla="*/ 2668583 h 7458372"/>
              <a:gd name="connsiteX29154" fmla="*/ 2424134 w 10505529"/>
              <a:gd name="connsiteY29154" fmla="*/ 2670846 h 7458372"/>
              <a:gd name="connsiteX29155" fmla="*/ 2402303 w 10505529"/>
              <a:gd name="connsiteY29155" fmla="*/ 2662328 h 7458372"/>
              <a:gd name="connsiteX29156" fmla="*/ 2393915 w 10505529"/>
              <a:gd name="connsiteY29156" fmla="*/ 2641161 h 7458372"/>
              <a:gd name="connsiteX29157" fmla="*/ 2402303 w 10505529"/>
              <a:gd name="connsiteY29157" fmla="*/ 2620128 h 7458372"/>
              <a:gd name="connsiteX29158" fmla="*/ 2424134 w 10505529"/>
              <a:gd name="connsiteY29158" fmla="*/ 2611475 h 7458372"/>
              <a:gd name="connsiteX29159" fmla="*/ 2206482 w 10505529"/>
              <a:gd name="connsiteY29159" fmla="*/ 2611475 h 7458372"/>
              <a:gd name="connsiteX29160" fmla="*/ 2218197 w 10505529"/>
              <a:gd name="connsiteY29160" fmla="*/ 2614137 h 7458372"/>
              <a:gd name="connsiteX29161" fmla="*/ 2227516 w 10505529"/>
              <a:gd name="connsiteY29161" fmla="*/ 2620528 h 7458372"/>
              <a:gd name="connsiteX29162" fmla="*/ 2233638 w 10505529"/>
              <a:gd name="connsiteY29162" fmla="*/ 2629846 h 7458372"/>
              <a:gd name="connsiteX29163" fmla="*/ 2235901 w 10505529"/>
              <a:gd name="connsiteY29163" fmla="*/ 2641294 h 7458372"/>
              <a:gd name="connsiteX29164" fmla="*/ 2233638 w 10505529"/>
              <a:gd name="connsiteY29164" fmla="*/ 2653009 h 7458372"/>
              <a:gd name="connsiteX29165" fmla="*/ 2227516 w 10505529"/>
              <a:gd name="connsiteY29165" fmla="*/ 2662328 h 7458372"/>
              <a:gd name="connsiteX29166" fmla="*/ 2218197 w 10505529"/>
              <a:gd name="connsiteY29166" fmla="*/ 2668583 h 7458372"/>
              <a:gd name="connsiteX29167" fmla="*/ 2206482 w 10505529"/>
              <a:gd name="connsiteY29167" fmla="*/ 2670846 h 7458372"/>
              <a:gd name="connsiteX29168" fmla="*/ 2184650 w 10505529"/>
              <a:gd name="connsiteY29168" fmla="*/ 2662328 h 7458372"/>
              <a:gd name="connsiteX29169" fmla="*/ 2176263 w 10505529"/>
              <a:gd name="connsiteY29169" fmla="*/ 2641161 h 7458372"/>
              <a:gd name="connsiteX29170" fmla="*/ 2184650 w 10505529"/>
              <a:gd name="connsiteY29170" fmla="*/ 2620128 h 7458372"/>
              <a:gd name="connsiteX29171" fmla="*/ 2206482 w 10505529"/>
              <a:gd name="connsiteY29171" fmla="*/ 2611475 h 7458372"/>
              <a:gd name="connsiteX29172" fmla="*/ 1988962 w 10505529"/>
              <a:gd name="connsiteY29172" fmla="*/ 2611475 h 7458372"/>
              <a:gd name="connsiteX29173" fmla="*/ 2000678 w 10505529"/>
              <a:gd name="connsiteY29173" fmla="*/ 2614137 h 7458372"/>
              <a:gd name="connsiteX29174" fmla="*/ 2009996 w 10505529"/>
              <a:gd name="connsiteY29174" fmla="*/ 2620528 h 7458372"/>
              <a:gd name="connsiteX29175" fmla="*/ 2016119 w 10505529"/>
              <a:gd name="connsiteY29175" fmla="*/ 2629846 h 7458372"/>
              <a:gd name="connsiteX29176" fmla="*/ 2018382 w 10505529"/>
              <a:gd name="connsiteY29176" fmla="*/ 2641294 h 7458372"/>
              <a:gd name="connsiteX29177" fmla="*/ 2016119 w 10505529"/>
              <a:gd name="connsiteY29177" fmla="*/ 2653009 h 7458372"/>
              <a:gd name="connsiteX29178" fmla="*/ 2009996 w 10505529"/>
              <a:gd name="connsiteY29178" fmla="*/ 2662328 h 7458372"/>
              <a:gd name="connsiteX29179" fmla="*/ 2000678 w 10505529"/>
              <a:gd name="connsiteY29179" fmla="*/ 2668583 h 7458372"/>
              <a:gd name="connsiteX29180" fmla="*/ 1988962 w 10505529"/>
              <a:gd name="connsiteY29180" fmla="*/ 2670846 h 7458372"/>
              <a:gd name="connsiteX29181" fmla="*/ 1967131 w 10505529"/>
              <a:gd name="connsiteY29181" fmla="*/ 2662328 h 7458372"/>
              <a:gd name="connsiteX29182" fmla="*/ 1958745 w 10505529"/>
              <a:gd name="connsiteY29182" fmla="*/ 2641161 h 7458372"/>
              <a:gd name="connsiteX29183" fmla="*/ 1967131 w 10505529"/>
              <a:gd name="connsiteY29183" fmla="*/ 2620128 h 7458372"/>
              <a:gd name="connsiteX29184" fmla="*/ 1988962 w 10505529"/>
              <a:gd name="connsiteY29184" fmla="*/ 2611475 h 7458372"/>
              <a:gd name="connsiteX29185" fmla="*/ 1771323 w 10505529"/>
              <a:gd name="connsiteY29185" fmla="*/ 2611475 h 7458372"/>
              <a:gd name="connsiteX29186" fmla="*/ 1783037 w 10505529"/>
              <a:gd name="connsiteY29186" fmla="*/ 2614137 h 7458372"/>
              <a:gd name="connsiteX29187" fmla="*/ 1792355 w 10505529"/>
              <a:gd name="connsiteY29187" fmla="*/ 2620528 h 7458372"/>
              <a:gd name="connsiteX29188" fmla="*/ 1798478 w 10505529"/>
              <a:gd name="connsiteY29188" fmla="*/ 2629846 h 7458372"/>
              <a:gd name="connsiteX29189" fmla="*/ 1800741 w 10505529"/>
              <a:gd name="connsiteY29189" fmla="*/ 2641294 h 7458372"/>
              <a:gd name="connsiteX29190" fmla="*/ 1798478 w 10505529"/>
              <a:gd name="connsiteY29190" fmla="*/ 2653009 h 7458372"/>
              <a:gd name="connsiteX29191" fmla="*/ 1792355 w 10505529"/>
              <a:gd name="connsiteY29191" fmla="*/ 2662328 h 7458372"/>
              <a:gd name="connsiteX29192" fmla="*/ 1783037 w 10505529"/>
              <a:gd name="connsiteY29192" fmla="*/ 2668583 h 7458372"/>
              <a:gd name="connsiteX29193" fmla="*/ 1771323 w 10505529"/>
              <a:gd name="connsiteY29193" fmla="*/ 2670846 h 7458372"/>
              <a:gd name="connsiteX29194" fmla="*/ 1749493 w 10505529"/>
              <a:gd name="connsiteY29194" fmla="*/ 2662328 h 7458372"/>
              <a:gd name="connsiteX29195" fmla="*/ 1741108 w 10505529"/>
              <a:gd name="connsiteY29195" fmla="*/ 2641161 h 7458372"/>
              <a:gd name="connsiteX29196" fmla="*/ 1749493 w 10505529"/>
              <a:gd name="connsiteY29196" fmla="*/ 2620128 h 7458372"/>
              <a:gd name="connsiteX29197" fmla="*/ 1771323 w 10505529"/>
              <a:gd name="connsiteY29197" fmla="*/ 2611475 h 7458372"/>
              <a:gd name="connsiteX29198" fmla="*/ 1553681 w 10505529"/>
              <a:gd name="connsiteY29198" fmla="*/ 2611475 h 7458372"/>
              <a:gd name="connsiteX29199" fmla="*/ 1565396 w 10505529"/>
              <a:gd name="connsiteY29199" fmla="*/ 2614137 h 7458372"/>
              <a:gd name="connsiteX29200" fmla="*/ 1574714 w 10505529"/>
              <a:gd name="connsiteY29200" fmla="*/ 2620528 h 7458372"/>
              <a:gd name="connsiteX29201" fmla="*/ 1580837 w 10505529"/>
              <a:gd name="connsiteY29201" fmla="*/ 2629846 h 7458372"/>
              <a:gd name="connsiteX29202" fmla="*/ 1583100 w 10505529"/>
              <a:gd name="connsiteY29202" fmla="*/ 2641294 h 7458372"/>
              <a:gd name="connsiteX29203" fmla="*/ 1580837 w 10505529"/>
              <a:gd name="connsiteY29203" fmla="*/ 2653009 h 7458372"/>
              <a:gd name="connsiteX29204" fmla="*/ 1574714 w 10505529"/>
              <a:gd name="connsiteY29204" fmla="*/ 2662328 h 7458372"/>
              <a:gd name="connsiteX29205" fmla="*/ 1565396 w 10505529"/>
              <a:gd name="connsiteY29205" fmla="*/ 2668583 h 7458372"/>
              <a:gd name="connsiteX29206" fmla="*/ 1553681 w 10505529"/>
              <a:gd name="connsiteY29206" fmla="*/ 2670846 h 7458372"/>
              <a:gd name="connsiteX29207" fmla="*/ 1531850 w 10505529"/>
              <a:gd name="connsiteY29207" fmla="*/ 2662328 h 7458372"/>
              <a:gd name="connsiteX29208" fmla="*/ 1523464 w 10505529"/>
              <a:gd name="connsiteY29208" fmla="*/ 2641161 h 7458372"/>
              <a:gd name="connsiteX29209" fmla="*/ 1531850 w 10505529"/>
              <a:gd name="connsiteY29209" fmla="*/ 2620128 h 7458372"/>
              <a:gd name="connsiteX29210" fmla="*/ 1553681 w 10505529"/>
              <a:gd name="connsiteY29210" fmla="*/ 2611475 h 7458372"/>
              <a:gd name="connsiteX29211" fmla="*/ 1336036 w 10505529"/>
              <a:gd name="connsiteY29211" fmla="*/ 2611475 h 7458372"/>
              <a:gd name="connsiteX29212" fmla="*/ 1347753 w 10505529"/>
              <a:gd name="connsiteY29212" fmla="*/ 2614137 h 7458372"/>
              <a:gd name="connsiteX29213" fmla="*/ 1357071 w 10505529"/>
              <a:gd name="connsiteY29213" fmla="*/ 2620528 h 7458372"/>
              <a:gd name="connsiteX29214" fmla="*/ 1363193 w 10505529"/>
              <a:gd name="connsiteY29214" fmla="*/ 2629846 h 7458372"/>
              <a:gd name="connsiteX29215" fmla="*/ 1365456 w 10505529"/>
              <a:gd name="connsiteY29215" fmla="*/ 2641294 h 7458372"/>
              <a:gd name="connsiteX29216" fmla="*/ 1363193 w 10505529"/>
              <a:gd name="connsiteY29216" fmla="*/ 2653009 h 7458372"/>
              <a:gd name="connsiteX29217" fmla="*/ 1357071 w 10505529"/>
              <a:gd name="connsiteY29217" fmla="*/ 2662328 h 7458372"/>
              <a:gd name="connsiteX29218" fmla="*/ 1347753 w 10505529"/>
              <a:gd name="connsiteY29218" fmla="*/ 2668583 h 7458372"/>
              <a:gd name="connsiteX29219" fmla="*/ 1336036 w 10505529"/>
              <a:gd name="connsiteY29219" fmla="*/ 2670846 h 7458372"/>
              <a:gd name="connsiteX29220" fmla="*/ 1314205 w 10505529"/>
              <a:gd name="connsiteY29220" fmla="*/ 2662328 h 7458372"/>
              <a:gd name="connsiteX29221" fmla="*/ 1305819 w 10505529"/>
              <a:gd name="connsiteY29221" fmla="*/ 2641161 h 7458372"/>
              <a:gd name="connsiteX29222" fmla="*/ 1314205 w 10505529"/>
              <a:gd name="connsiteY29222" fmla="*/ 2620128 h 7458372"/>
              <a:gd name="connsiteX29223" fmla="*/ 1336036 w 10505529"/>
              <a:gd name="connsiteY29223" fmla="*/ 2611475 h 7458372"/>
              <a:gd name="connsiteX29224" fmla="*/ 1118392 w 10505529"/>
              <a:gd name="connsiteY29224" fmla="*/ 2611475 h 7458372"/>
              <a:gd name="connsiteX29225" fmla="*/ 1130109 w 10505529"/>
              <a:gd name="connsiteY29225" fmla="*/ 2614137 h 7458372"/>
              <a:gd name="connsiteX29226" fmla="*/ 1139426 w 10505529"/>
              <a:gd name="connsiteY29226" fmla="*/ 2620528 h 7458372"/>
              <a:gd name="connsiteX29227" fmla="*/ 1145546 w 10505529"/>
              <a:gd name="connsiteY29227" fmla="*/ 2629846 h 7458372"/>
              <a:gd name="connsiteX29228" fmla="*/ 1147810 w 10505529"/>
              <a:gd name="connsiteY29228" fmla="*/ 2641294 h 7458372"/>
              <a:gd name="connsiteX29229" fmla="*/ 1145546 w 10505529"/>
              <a:gd name="connsiteY29229" fmla="*/ 2653009 h 7458372"/>
              <a:gd name="connsiteX29230" fmla="*/ 1139426 w 10505529"/>
              <a:gd name="connsiteY29230" fmla="*/ 2662328 h 7458372"/>
              <a:gd name="connsiteX29231" fmla="*/ 1130109 w 10505529"/>
              <a:gd name="connsiteY29231" fmla="*/ 2668583 h 7458372"/>
              <a:gd name="connsiteX29232" fmla="*/ 1118392 w 10505529"/>
              <a:gd name="connsiteY29232" fmla="*/ 2670846 h 7458372"/>
              <a:gd name="connsiteX29233" fmla="*/ 1096558 w 10505529"/>
              <a:gd name="connsiteY29233" fmla="*/ 2662328 h 7458372"/>
              <a:gd name="connsiteX29234" fmla="*/ 1088173 w 10505529"/>
              <a:gd name="connsiteY29234" fmla="*/ 2641161 h 7458372"/>
              <a:gd name="connsiteX29235" fmla="*/ 1096558 w 10505529"/>
              <a:gd name="connsiteY29235" fmla="*/ 2620128 h 7458372"/>
              <a:gd name="connsiteX29236" fmla="*/ 1118392 w 10505529"/>
              <a:gd name="connsiteY29236" fmla="*/ 2611475 h 7458372"/>
              <a:gd name="connsiteX29237" fmla="*/ 900879 w 10505529"/>
              <a:gd name="connsiteY29237" fmla="*/ 2611475 h 7458372"/>
              <a:gd name="connsiteX29238" fmla="*/ 912594 w 10505529"/>
              <a:gd name="connsiteY29238" fmla="*/ 2614137 h 7458372"/>
              <a:gd name="connsiteX29239" fmla="*/ 921913 w 10505529"/>
              <a:gd name="connsiteY29239" fmla="*/ 2620528 h 7458372"/>
              <a:gd name="connsiteX29240" fmla="*/ 928035 w 10505529"/>
              <a:gd name="connsiteY29240" fmla="*/ 2629846 h 7458372"/>
              <a:gd name="connsiteX29241" fmla="*/ 930299 w 10505529"/>
              <a:gd name="connsiteY29241" fmla="*/ 2641294 h 7458372"/>
              <a:gd name="connsiteX29242" fmla="*/ 928035 w 10505529"/>
              <a:gd name="connsiteY29242" fmla="*/ 2653009 h 7458372"/>
              <a:gd name="connsiteX29243" fmla="*/ 921913 w 10505529"/>
              <a:gd name="connsiteY29243" fmla="*/ 2662328 h 7458372"/>
              <a:gd name="connsiteX29244" fmla="*/ 912594 w 10505529"/>
              <a:gd name="connsiteY29244" fmla="*/ 2668583 h 7458372"/>
              <a:gd name="connsiteX29245" fmla="*/ 900879 w 10505529"/>
              <a:gd name="connsiteY29245" fmla="*/ 2670846 h 7458372"/>
              <a:gd name="connsiteX29246" fmla="*/ 879049 w 10505529"/>
              <a:gd name="connsiteY29246" fmla="*/ 2662328 h 7458372"/>
              <a:gd name="connsiteX29247" fmla="*/ 870663 w 10505529"/>
              <a:gd name="connsiteY29247" fmla="*/ 2641161 h 7458372"/>
              <a:gd name="connsiteX29248" fmla="*/ 879049 w 10505529"/>
              <a:gd name="connsiteY29248" fmla="*/ 2620128 h 7458372"/>
              <a:gd name="connsiteX29249" fmla="*/ 900879 w 10505529"/>
              <a:gd name="connsiteY29249" fmla="*/ 2611475 h 7458372"/>
              <a:gd name="connsiteX29250" fmla="*/ 683237 w 10505529"/>
              <a:gd name="connsiteY29250" fmla="*/ 2611475 h 7458372"/>
              <a:gd name="connsiteX29251" fmla="*/ 694952 w 10505529"/>
              <a:gd name="connsiteY29251" fmla="*/ 2614137 h 7458372"/>
              <a:gd name="connsiteX29252" fmla="*/ 704270 w 10505529"/>
              <a:gd name="connsiteY29252" fmla="*/ 2620528 h 7458372"/>
              <a:gd name="connsiteX29253" fmla="*/ 710393 w 10505529"/>
              <a:gd name="connsiteY29253" fmla="*/ 2629846 h 7458372"/>
              <a:gd name="connsiteX29254" fmla="*/ 712656 w 10505529"/>
              <a:gd name="connsiteY29254" fmla="*/ 2641294 h 7458372"/>
              <a:gd name="connsiteX29255" fmla="*/ 710393 w 10505529"/>
              <a:gd name="connsiteY29255" fmla="*/ 2653009 h 7458372"/>
              <a:gd name="connsiteX29256" fmla="*/ 704270 w 10505529"/>
              <a:gd name="connsiteY29256" fmla="*/ 2662328 h 7458372"/>
              <a:gd name="connsiteX29257" fmla="*/ 694952 w 10505529"/>
              <a:gd name="connsiteY29257" fmla="*/ 2668583 h 7458372"/>
              <a:gd name="connsiteX29258" fmla="*/ 683237 w 10505529"/>
              <a:gd name="connsiteY29258" fmla="*/ 2670846 h 7458372"/>
              <a:gd name="connsiteX29259" fmla="*/ 661405 w 10505529"/>
              <a:gd name="connsiteY29259" fmla="*/ 2662328 h 7458372"/>
              <a:gd name="connsiteX29260" fmla="*/ 653019 w 10505529"/>
              <a:gd name="connsiteY29260" fmla="*/ 2641161 h 7458372"/>
              <a:gd name="connsiteX29261" fmla="*/ 661405 w 10505529"/>
              <a:gd name="connsiteY29261" fmla="*/ 2620128 h 7458372"/>
              <a:gd name="connsiteX29262" fmla="*/ 683237 w 10505529"/>
              <a:gd name="connsiteY29262" fmla="*/ 2611475 h 7458372"/>
              <a:gd name="connsiteX29263" fmla="*/ 465594 w 10505529"/>
              <a:gd name="connsiteY29263" fmla="*/ 2611475 h 7458372"/>
              <a:gd name="connsiteX29264" fmla="*/ 477309 w 10505529"/>
              <a:gd name="connsiteY29264" fmla="*/ 2614137 h 7458372"/>
              <a:gd name="connsiteX29265" fmla="*/ 486627 w 10505529"/>
              <a:gd name="connsiteY29265" fmla="*/ 2620528 h 7458372"/>
              <a:gd name="connsiteX29266" fmla="*/ 492750 w 10505529"/>
              <a:gd name="connsiteY29266" fmla="*/ 2629846 h 7458372"/>
              <a:gd name="connsiteX29267" fmla="*/ 495013 w 10505529"/>
              <a:gd name="connsiteY29267" fmla="*/ 2641294 h 7458372"/>
              <a:gd name="connsiteX29268" fmla="*/ 492750 w 10505529"/>
              <a:gd name="connsiteY29268" fmla="*/ 2653009 h 7458372"/>
              <a:gd name="connsiteX29269" fmla="*/ 486627 w 10505529"/>
              <a:gd name="connsiteY29269" fmla="*/ 2662328 h 7458372"/>
              <a:gd name="connsiteX29270" fmla="*/ 477309 w 10505529"/>
              <a:gd name="connsiteY29270" fmla="*/ 2668583 h 7458372"/>
              <a:gd name="connsiteX29271" fmla="*/ 465594 w 10505529"/>
              <a:gd name="connsiteY29271" fmla="*/ 2670846 h 7458372"/>
              <a:gd name="connsiteX29272" fmla="*/ 443762 w 10505529"/>
              <a:gd name="connsiteY29272" fmla="*/ 2662328 h 7458372"/>
              <a:gd name="connsiteX29273" fmla="*/ 435377 w 10505529"/>
              <a:gd name="connsiteY29273" fmla="*/ 2641161 h 7458372"/>
              <a:gd name="connsiteX29274" fmla="*/ 443762 w 10505529"/>
              <a:gd name="connsiteY29274" fmla="*/ 2620128 h 7458372"/>
              <a:gd name="connsiteX29275" fmla="*/ 465594 w 10505529"/>
              <a:gd name="connsiteY29275" fmla="*/ 2611475 h 7458372"/>
              <a:gd name="connsiteX29276" fmla="*/ 247951 w 10505529"/>
              <a:gd name="connsiteY29276" fmla="*/ 2611475 h 7458372"/>
              <a:gd name="connsiteX29277" fmla="*/ 259665 w 10505529"/>
              <a:gd name="connsiteY29277" fmla="*/ 2614137 h 7458372"/>
              <a:gd name="connsiteX29278" fmla="*/ 268984 w 10505529"/>
              <a:gd name="connsiteY29278" fmla="*/ 2620528 h 7458372"/>
              <a:gd name="connsiteX29279" fmla="*/ 275107 w 10505529"/>
              <a:gd name="connsiteY29279" fmla="*/ 2629846 h 7458372"/>
              <a:gd name="connsiteX29280" fmla="*/ 277370 w 10505529"/>
              <a:gd name="connsiteY29280" fmla="*/ 2641294 h 7458372"/>
              <a:gd name="connsiteX29281" fmla="*/ 275107 w 10505529"/>
              <a:gd name="connsiteY29281" fmla="*/ 2653009 h 7458372"/>
              <a:gd name="connsiteX29282" fmla="*/ 268984 w 10505529"/>
              <a:gd name="connsiteY29282" fmla="*/ 2662328 h 7458372"/>
              <a:gd name="connsiteX29283" fmla="*/ 259665 w 10505529"/>
              <a:gd name="connsiteY29283" fmla="*/ 2668583 h 7458372"/>
              <a:gd name="connsiteX29284" fmla="*/ 247951 w 10505529"/>
              <a:gd name="connsiteY29284" fmla="*/ 2670846 h 7458372"/>
              <a:gd name="connsiteX29285" fmla="*/ 226120 w 10505529"/>
              <a:gd name="connsiteY29285" fmla="*/ 2662328 h 7458372"/>
              <a:gd name="connsiteX29286" fmla="*/ 217734 w 10505529"/>
              <a:gd name="connsiteY29286" fmla="*/ 2641161 h 7458372"/>
              <a:gd name="connsiteX29287" fmla="*/ 226120 w 10505529"/>
              <a:gd name="connsiteY29287" fmla="*/ 2620128 h 7458372"/>
              <a:gd name="connsiteX29288" fmla="*/ 247951 w 10505529"/>
              <a:gd name="connsiteY29288" fmla="*/ 2611475 h 7458372"/>
              <a:gd name="connsiteX29289" fmla="*/ 30307 w 10505529"/>
              <a:gd name="connsiteY29289" fmla="*/ 2611475 h 7458372"/>
              <a:gd name="connsiteX29290" fmla="*/ 42023 w 10505529"/>
              <a:gd name="connsiteY29290" fmla="*/ 2614137 h 7458372"/>
              <a:gd name="connsiteX29291" fmla="*/ 51341 w 10505529"/>
              <a:gd name="connsiteY29291" fmla="*/ 2620528 h 7458372"/>
              <a:gd name="connsiteX29292" fmla="*/ 57464 w 10505529"/>
              <a:gd name="connsiteY29292" fmla="*/ 2629846 h 7458372"/>
              <a:gd name="connsiteX29293" fmla="*/ 59727 w 10505529"/>
              <a:gd name="connsiteY29293" fmla="*/ 2641294 h 7458372"/>
              <a:gd name="connsiteX29294" fmla="*/ 57464 w 10505529"/>
              <a:gd name="connsiteY29294" fmla="*/ 2653009 h 7458372"/>
              <a:gd name="connsiteX29295" fmla="*/ 51341 w 10505529"/>
              <a:gd name="connsiteY29295" fmla="*/ 2662328 h 7458372"/>
              <a:gd name="connsiteX29296" fmla="*/ 42023 w 10505529"/>
              <a:gd name="connsiteY29296" fmla="*/ 2668583 h 7458372"/>
              <a:gd name="connsiteX29297" fmla="*/ 30307 w 10505529"/>
              <a:gd name="connsiteY29297" fmla="*/ 2670846 h 7458372"/>
              <a:gd name="connsiteX29298" fmla="*/ 8478 w 10505529"/>
              <a:gd name="connsiteY29298" fmla="*/ 2662328 h 7458372"/>
              <a:gd name="connsiteX29299" fmla="*/ 92 w 10505529"/>
              <a:gd name="connsiteY29299" fmla="*/ 2641161 h 7458372"/>
              <a:gd name="connsiteX29300" fmla="*/ 8478 w 10505529"/>
              <a:gd name="connsiteY29300" fmla="*/ 2620128 h 7458372"/>
              <a:gd name="connsiteX29301" fmla="*/ 30307 w 10505529"/>
              <a:gd name="connsiteY29301" fmla="*/ 2611475 h 7458372"/>
              <a:gd name="connsiteX29302" fmla="*/ 10475977 w 10505529"/>
              <a:gd name="connsiteY29302" fmla="*/ 2410471 h 7458372"/>
              <a:gd name="connsiteX29303" fmla="*/ 10465992 w 10505529"/>
              <a:gd name="connsiteY29303" fmla="*/ 2414065 h 7458372"/>
              <a:gd name="connsiteX29304" fmla="*/ 10462399 w 10505529"/>
              <a:gd name="connsiteY29304" fmla="*/ 2423515 h 7458372"/>
              <a:gd name="connsiteX29305" fmla="*/ 10465992 w 10505529"/>
              <a:gd name="connsiteY29305" fmla="*/ 2432967 h 7458372"/>
              <a:gd name="connsiteX29306" fmla="*/ 10475977 w 10505529"/>
              <a:gd name="connsiteY29306" fmla="*/ 2436428 h 7458372"/>
              <a:gd name="connsiteX29307" fmla="*/ 10481302 w 10505529"/>
              <a:gd name="connsiteY29307" fmla="*/ 2435496 h 7458372"/>
              <a:gd name="connsiteX29308" fmla="*/ 10485029 w 10505529"/>
              <a:gd name="connsiteY29308" fmla="*/ 2433101 h 7458372"/>
              <a:gd name="connsiteX29309" fmla="*/ 10487691 w 10505529"/>
              <a:gd name="connsiteY29309" fmla="*/ 2428974 h 7458372"/>
              <a:gd name="connsiteX29310" fmla="*/ 10488623 w 10505529"/>
              <a:gd name="connsiteY29310" fmla="*/ 2423515 h 7458372"/>
              <a:gd name="connsiteX29311" fmla="*/ 10487691 w 10505529"/>
              <a:gd name="connsiteY29311" fmla="*/ 2418324 h 7458372"/>
              <a:gd name="connsiteX29312" fmla="*/ 10485029 w 10505529"/>
              <a:gd name="connsiteY29312" fmla="*/ 2414065 h 7458372"/>
              <a:gd name="connsiteX29313" fmla="*/ 10481035 w 10505529"/>
              <a:gd name="connsiteY29313" fmla="*/ 2411402 h 7458372"/>
              <a:gd name="connsiteX29314" fmla="*/ 10475977 w 10505529"/>
              <a:gd name="connsiteY29314" fmla="*/ 2410471 h 7458372"/>
              <a:gd name="connsiteX29315" fmla="*/ 10258466 w 10505529"/>
              <a:gd name="connsiteY29315" fmla="*/ 2410471 h 7458372"/>
              <a:gd name="connsiteX29316" fmla="*/ 10248481 w 10505529"/>
              <a:gd name="connsiteY29316" fmla="*/ 2414065 h 7458372"/>
              <a:gd name="connsiteX29317" fmla="*/ 10244887 w 10505529"/>
              <a:gd name="connsiteY29317" fmla="*/ 2423515 h 7458372"/>
              <a:gd name="connsiteX29318" fmla="*/ 10248481 w 10505529"/>
              <a:gd name="connsiteY29318" fmla="*/ 2432967 h 7458372"/>
              <a:gd name="connsiteX29319" fmla="*/ 10258466 w 10505529"/>
              <a:gd name="connsiteY29319" fmla="*/ 2436428 h 7458372"/>
              <a:gd name="connsiteX29320" fmla="*/ 10263790 w 10505529"/>
              <a:gd name="connsiteY29320" fmla="*/ 2435496 h 7458372"/>
              <a:gd name="connsiteX29321" fmla="*/ 10267517 w 10505529"/>
              <a:gd name="connsiteY29321" fmla="*/ 2433101 h 7458372"/>
              <a:gd name="connsiteX29322" fmla="*/ 10270180 w 10505529"/>
              <a:gd name="connsiteY29322" fmla="*/ 2428974 h 7458372"/>
              <a:gd name="connsiteX29323" fmla="*/ 10271112 w 10505529"/>
              <a:gd name="connsiteY29323" fmla="*/ 2423515 h 7458372"/>
              <a:gd name="connsiteX29324" fmla="*/ 10270180 w 10505529"/>
              <a:gd name="connsiteY29324" fmla="*/ 2418324 h 7458372"/>
              <a:gd name="connsiteX29325" fmla="*/ 10267517 w 10505529"/>
              <a:gd name="connsiteY29325" fmla="*/ 2414065 h 7458372"/>
              <a:gd name="connsiteX29326" fmla="*/ 10263524 w 10505529"/>
              <a:gd name="connsiteY29326" fmla="*/ 2411402 h 7458372"/>
              <a:gd name="connsiteX29327" fmla="*/ 10258466 w 10505529"/>
              <a:gd name="connsiteY29327" fmla="*/ 2410471 h 7458372"/>
              <a:gd name="connsiteX29328" fmla="*/ 10040820 w 10505529"/>
              <a:gd name="connsiteY29328" fmla="*/ 2410471 h 7458372"/>
              <a:gd name="connsiteX29329" fmla="*/ 10030835 w 10505529"/>
              <a:gd name="connsiteY29329" fmla="*/ 2414065 h 7458372"/>
              <a:gd name="connsiteX29330" fmla="*/ 10027242 w 10505529"/>
              <a:gd name="connsiteY29330" fmla="*/ 2423515 h 7458372"/>
              <a:gd name="connsiteX29331" fmla="*/ 10030835 w 10505529"/>
              <a:gd name="connsiteY29331" fmla="*/ 2432967 h 7458372"/>
              <a:gd name="connsiteX29332" fmla="*/ 10040820 w 10505529"/>
              <a:gd name="connsiteY29332" fmla="*/ 2436428 h 7458372"/>
              <a:gd name="connsiteX29333" fmla="*/ 10046145 w 10505529"/>
              <a:gd name="connsiteY29333" fmla="*/ 2435496 h 7458372"/>
              <a:gd name="connsiteX29334" fmla="*/ 10049872 w 10505529"/>
              <a:gd name="connsiteY29334" fmla="*/ 2433101 h 7458372"/>
              <a:gd name="connsiteX29335" fmla="*/ 10052534 w 10505529"/>
              <a:gd name="connsiteY29335" fmla="*/ 2428974 h 7458372"/>
              <a:gd name="connsiteX29336" fmla="*/ 10053599 w 10505529"/>
              <a:gd name="connsiteY29336" fmla="*/ 2423515 h 7458372"/>
              <a:gd name="connsiteX29337" fmla="*/ 10052534 w 10505529"/>
              <a:gd name="connsiteY29337" fmla="*/ 2418324 h 7458372"/>
              <a:gd name="connsiteX29338" fmla="*/ 10049872 w 10505529"/>
              <a:gd name="connsiteY29338" fmla="*/ 2414065 h 7458372"/>
              <a:gd name="connsiteX29339" fmla="*/ 10045878 w 10505529"/>
              <a:gd name="connsiteY29339" fmla="*/ 2411402 h 7458372"/>
              <a:gd name="connsiteX29340" fmla="*/ 10040820 w 10505529"/>
              <a:gd name="connsiteY29340" fmla="*/ 2410471 h 7458372"/>
              <a:gd name="connsiteX29341" fmla="*/ 9823176 w 10505529"/>
              <a:gd name="connsiteY29341" fmla="*/ 2410471 h 7458372"/>
              <a:gd name="connsiteX29342" fmla="*/ 9813191 w 10505529"/>
              <a:gd name="connsiteY29342" fmla="*/ 2414065 h 7458372"/>
              <a:gd name="connsiteX29343" fmla="*/ 9809597 w 10505529"/>
              <a:gd name="connsiteY29343" fmla="*/ 2423515 h 7458372"/>
              <a:gd name="connsiteX29344" fmla="*/ 9813191 w 10505529"/>
              <a:gd name="connsiteY29344" fmla="*/ 2432967 h 7458372"/>
              <a:gd name="connsiteX29345" fmla="*/ 9823176 w 10505529"/>
              <a:gd name="connsiteY29345" fmla="*/ 2436428 h 7458372"/>
              <a:gd name="connsiteX29346" fmla="*/ 9828501 w 10505529"/>
              <a:gd name="connsiteY29346" fmla="*/ 2435496 h 7458372"/>
              <a:gd name="connsiteX29347" fmla="*/ 9832227 w 10505529"/>
              <a:gd name="connsiteY29347" fmla="*/ 2433101 h 7458372"/>
              <a:gd name="connsiteX29348" fmla="*/ 9834890 w 10505529"/>
              <a:gd name="connsiteY29348" fmla="*/ 2428974 h 7458372"/>
              <a:gd name="connsiteX29349" fmla="*/ 9835955 w 10505529"/>
              <a:gd name="connsiteY29349" fmla="*/ 2423515 h 7458372"/>
              <a:gd name="connsiteX29350" fmla="*/ 9834890 w 10505529"/>
              <a:gd name="connsiteY29350" fmla="*/ 2418324 h 7458372"/>
              <a:gd name="connsiteX29351" fmla="*/ 9832227 w 10505529"/>
              <a:gd name="connsiteY29351" fmla="*/ 2414065 h 7458372"/>
              <a:gd name="connsiteX29352" fmla="*/ 9828234 w 10505529"/>
              <a:gd name="connsiteY29352" fmla="*/ 2411402 h 7458372"/>
              <a:gd name="connsiteX29353" fmla="*/ 9823176 w 10505529"/>
              <a:gd name="connsiteY29353" fmla="*/ 2410471 h 7458372"/>
              <a:gd name="connsiteX29354" fmla="*/ 9605531 w 10505529"/>
              <a:gd name="connsiteY29354" fmla="*/ 2410471 h 7458372"/>
              <a:gd name="connsiteX29355" fmla="*/ 9595546 w 10505529"/>
              <a:gd name="connsiteY29355" fmla="*/ 2414065 h 7458372"/>
              <a:gd name="connsiteX29356" fmla="*/ 9591952 w 10505529"/>
              <a:gd name="connsiteY29356" fmla="*/ 2423515 h 7458372"/>
              <a:gd name="connsiteX29357" fmla="*/ 9595546 w 10505529"/>
              <a:gd name="connsiteY29357" fmla="*/ 2432967 h 7458372"/>
              <a:gd name="connsiteX29358" fmla="*/ 9605531 w 10505529"/>
              <a:gd name="connsiteY29358" fmla="*/ 2436428 h 7458372"/>
              <a:gd name="connsiteX29359" fmla="*/ 9610855 w 10505529"/>
              <a:gd name="connsiteY29359" fmla="*/ 2435496 h 7458372"/>
              <a:gd name="connsiteX29360" fmla="*/ 9614582 w 10505529"/>
              <a:gd name="connsiteY29360" fmla="*/ 2433101 h 7458372"/>
              <a:gd name="connsiteX29361" fmla="*/ 9617245 w 10505529"/>
              <a:gd name="connsiteY29361" fmla="*/ 2428974 h 7458372"/>
              <a:gd name="connsiteX29362" fmla="*/ 9618309 w 10505529"/>
              <a:gd name="connsiteY29362" fmla="*/ 2423515 h 7458372"/>
              <a:gd name="connsiteX29363" fmla="*/ 9617245 w 10505529"/>
              <a:gd name="connsiteY29363" fmla="*/ 2418324 h 7458372"/>
              <a:gd name="connsiteX29364" fmla="*/ 9614582 w 10505529"/>
              <a:gd name="connsiteY29364" fmla="*/ 2414065 h 7458372"/>
              <a:gd name="connsiteX29365" fmla="*/ 9610589 w 10505529"/>
              <a:gd name="connsiteY29365" fmla="*/ 2411402 h 7458372"/>
              <a:gd name="connsiteX29366" fmla="*/ 9605531 w 10505529"/>
              <a:gd name="connsiteY29366" fmla="*/ 2410471 h 7458372"/>
              <a:gd name="connsiteX29367" fmla="*/ 9387885 w 10505529"/>
              <a:gd name="connsiteY29367" fmla="*/ 2410471 h 7458372"/>
              <a:gd name="connsiteX29368" fmla="*/ 9377900 w 10505529"/>
              <a:gd name="connsiteY29368" fmla="*/ 2414065 h 7458372"/>
              <a:gd name="connsiteX29369" fmla="*/ 9374307 w 10505529"/>
              <a:gd name="connsiteY29369" fmla="*/ 2423515 h 7458372"/>
              <a:gd name="connsiteX29370" fmla="*/ 9377900 w 10505529"/>
              <a:gd name="connsiteY29370" fmla="*/ 2432967 h 7458372"/>
              <a:gd name="connsiteX29371" fmla="*/ 9387885 w 10505529"/>
              <a:gd name="connsiteY29371" fmla="*/ 2436428 h 7458372"/>
              <a:gd name="connsiteX29372" fmla="*/ 9393210 w 10505529"/>
              <a:gd name="connsiteY29372" fmla="*/ 2435496 h 7458372"/>
              <a:gd name="connsiteX29373" fmla="*/ 9396937 w 10505529"/>
              <a:gd name="connsiteY29373" fmla="*/ 2433101 h 7458372"/>
              <a:gd name="connsiteX29374" fmla="*/ 9399599 w 10505529"/>
              <a:gd name="connsiteY29374" fmla="*/ 2428974 h 7458372"/>
              <a:gd name="connsiteX29375" fmla="*/ 9400664 w 10505529"/>
              <a:gd name="connsiteY29375" fmla="*/ 2423515 h 7458372"/>
              <a:gd name="connsiteX29376" fmla="*/ 9399599 w 10505529"/>
              <a:gd name="connsiteY29376" fmla="*/ 2418324 h 7458372"/>
              <a:gd name="connsiteX29377" fmla="*/ 9396937 w 10505529"/>
              <a:gd name="connsiteY29377" fmla="*/ 2414065 h 7458372"/>
              <a:gd name="connsiteX29378" fmla="*/ 9392943 w 10505529"/>
              <a:gd name="connsiteY29378" fmla="*/ 2411402 h 7458372"/>
              <a:gd name="connsiteX29379" fmla="*/ 9387885 w 10505529"/>
              <a:gd name="connsiteY29379" fmla="*/ 2410471 h 7458372"/>
              <a:gd name="connsiteX29380" fmla="*/ 9170374 w 10505529"/>
              <a:gd name="connsiteY29380" fmla="*/ 2410471 h 7458372"/>
              <a:gd name="connsiteX29381" fmla="*/ 9160389 w 10505529"/>
              <a:gd name="connsiteY29381" fmla="*/ 2414065 h 7458372"/>
              <a:gd name="connsiteX29382" fmla="*/ 9156795 w 10505529"/>
              <a:gd name="connsiteY29382" fmla="*/ 2423515 h 7458372"/>
              <a:gd name="connsiteX29383" fmla="*/ 9160389 w 10505529"/>
              <a:gd name="connsiteY29383" fmla="*/ 2432967 h 7458372"/>
              <a:gd name="connsiteX29384" fmla="*/ 9170374 w 10505529"/>
              <a:gd name="connsiteY29384" fmla="*/ 2436428 h 7458372"/>
              <a:gd name="connsiteX29385" fmla="*/ 9175698 w 10505529"/>
              <a:gd name="connsiteY29385" fmla="*/ 2435496 h 7458372"/>
              <a:gd name="connsiteX29386" fmla="*/ 9179425 w 10505529"/>
              <a:gd name="connsiteY29386" fmla="*/ 2433101 h 7458372"/>
              <a:gd name="connsiteX29387" fmla="*/ 9182088 w 10505529"/>
              <a:gd name="connsiteY29387" fmla="*/ 2428974 h 7458372"/>
              <a:gd name="connsiteX29388" fmla="*/ 9183152 w 10505529"/>
              <a:gd name="connsiteY29388" fmla="*/ 2423515 h 7458372"/>
              <a:gd name="connsiteX29389" fmla="*/ 9182088 w 10505529"/>
              <a:gd name="connsiteY29389" fmla="*/ 2418324 h 7458372"/>
              <a:gd name="connsiteX29390" fmla="*/ 9179425 w 10505529"/>
              <a:gd name="connsiteY29390" fmla="*/ 2414065 h 7458372"/>
              <a:gd name="connsiteX29391" fmla="*/ 9175432 w 10505529"/>
              <a:gd name="connsiteY29391" fmla="*/ 2411402 h 7458372"/>
              <a:gd name="connsiteX29392" fmla="*/ 9170374 w 10505529"/>
              <a:gd name="connsiteY29392" fmla="*/ 2410471 h 7458372"/>
              <a:gd name="connsiteX29393" fmla="*/ 8952728 w 10505529"/>
              <a:gd name="connsiteY29393" fmla="*/ 2410471 h 7458372"/>
              <a:gd name="connsiteX29394" fmla="*/ 8942743 w 10505529"/>
              <a:gd name="connsiteY29394" fmla="*/ 2414065 h 7458372"/>
              <a:gd name="connsiteX29395" fmla="*/ 8939150 w 10505529"/>
              <a:gd name="connsiteY29395" fmla="*/ 2423515 h 7458372"/>
              <a:gd name="connsiteX29396" fmla="*/ 8942743 w 10505529"/>
              <a:gd name="connsiteY29396" fmla="*/ 2432967 h 7458372"/>
              <a:gd name="connsiteX29397" fmla="*/ 8952728 w 10505529"/>
              <a:gd name="connsiteY29397" fmla="*/ 2436428 h 7458372"/>
              <a:gd name="connsiteX29398" fmla="*/ 8958053 w 10505529"/>
              <a:gd name="connsiteY29398" fmla="*/ 2435496 h 7458372"/>
              <a:gd name="connsiteX29399" fmla="*/ 8961780 w 10505529"/>
              <a:gd name="connsiteY29399" fmla="*/ 2433101 h 7458372"/>
              <a:gd name="connsiteX29400" fmla="*/ 8964442 w 10505529"/>
              <a:gd name="connsiteY29400" fmla="*/ 2428974 h 7458372"/>
              <a:gd name="connsiteX29401" fmla="*/ 8965507 w 10505529"/>
              <a:gd name="connsiteY29401" fmla="*/ 2423515 h 7458372"/>
              <a:gd name="connsiteX29402" fmla="*/ 8964442 w 10505529"/>
              <a:gd name="connsiteY29402" fmla="*/ 2418324 h 7458372"/>
              <a:gd name="connsiteX29403" fmla="*/ 8961780 w 10505529"/>
              <a:gd name="connsiteY29403" fmla="*/ 2414065 h 7458372"/>
              <a:gd name="connsiteX29404" fmla="*/ 8957786 w 10505529"/>
              <a:gd name="connsiteY29404" fmla="*/ 2411402 h 7458372"/>
              <a:gd name="connsiteX29405" fmla="*/ 8952728 w 10505529"/>
              <a:gd name="connsiteY29405" fmla="*/ 2410471 h 7458372"/>
              <a:gd name="connsiteX29406" fmla="*/ 8735083 w 10505529"/>
              <a:gd name="connsiteY29406" fmla="*/ 2410471 h 7458372"/>
              <a:gd name="connsiteX29407" fmla="*/ 8725098 w 10505529"/>
              <a:gd name="connsiteY29407" fmla="*/ 2414065 h 7458372"/>
              <a:gd name="connsiteX29408" fmla="*/ 8721504 w 10505529"/>
              <a:gd name="connsiteY29408" fmla="*/ 2423515 h 7458372"/>
              <a:gd name="connsiteX29409" fmla="*/ 8725098 w 10505529"/>
              <a:gd name="connsiteY29409" fmla="*/ 2432967 h 7458372"/>
              <a:gd name="connsiteX29410" fmla="*/ 8735083 w 10505529"/>
              <a:gd name="connsiteY29410" fmla="*/ 2436428 h 7458372"/>
              <a:gd name="connsiteX29411" fmla="*/ 8740407 w 10505529"/>
              <a:gd name="connsiteY29411" fmla="*/ 2435496 h 7458372"/>
              <a:gd name="connsiteX29412" fmla="*/ 8744134 w 10505529"/>
              <a:gd name="connsiteY29412" fmla="*/ 2433101 h 7458372"/>
              <a:gd name="connsiteX29413" fmla="*/ 8746797 w 10505529"/>
              <a:gd name="connsiteY29413" fmla="*/ 2428974 h 7458372"/>
              <a:gd name="connsiteX29414" fmla="*/ 8747862 w 10505529"/>
              <a:gd name="connsiteY29414" fmla="*/ 2423515 h 7458372"/>
              <a:gd name="connsiteX29415" fmla="*/ 8746797 w 10505529"/>
              <a:gd name="connsiteY29415" fmla="*/ 2418324 h 7458372"/>
              <a:gd name="connsiteX29416" fmla="*/ 8744134 w 10505529"/>
              <a:gd name="connsiteY29416" fmla="*/ 2414065 h 7458372"/>
              <a:gd name="connsiteX29417" fmla="*/ 8740141 w 10505529"/>
              <a:gd name="connsiteY29417" fmla="*/ 2411402 h 7458372"/>
              <a:gd name="connsiteX29418" fmla="*/ 8735083 w 10505529"/>
              <a:gd name="connsiteY29418" fmla="*/ 2410471 h 7458372"/>
              <a:gd name="connsiteX29419" fmla="*/ 8517438 w 10505529"/>
              <a:gd name="connsiteY29419" fmla="*/ 2410471 h 7458372"/>
              <a:gd name="connsiteX29420" fmla="*/ 8507453 w 10505529"/>
              <a:gd name="connsiteY29420" fmla="*/ 2414065 h 7458372"/>
              <a:gd name="connsiteX29421" fmla="*/ 8503860 w 10505529"/>
              <a:gd name="connsiteY29421" fmla="*/ 2423515 h 7458372"/>
              <a:gd name="connsiteX29422" fmla="*/ 8507453 w 10505529"/>
              <a:gd name="connsiteY29422" fmla="*/ 2432967 h 7458372"/>
              <a:gd name="connsiteX29423" fmla="*/ 8517438 w 10505529"/>
              <a:gd name="connsiteY29423" fmla="*/ 2436428 h 7458372"/>
              <a:gd name="connsiteX29424" fmla="*/ 8522763 w 10505529"/>
              <a:gd name="connsiteY29424" fmla="*/ 2435496 h 7458372"/>
              <a:gd name="connsiteX29425" fmla="*/ 8526490 w 10505529"/>
              <a:gd name="connsiteY29425" fmla="*/ 2433101 h 7458372"/>
              <a:gd name="connsiteX29426" fmla="*/ 8529152 w 10505529"/>
              <a:gd name="connsiteY29426" fmla="*/ 2428974 h 7458372"/>
              <a:gd name="connsiteX29427" fmla="*/ 8530084 w 10505529"/>
              <a:gd name="connsiteY29427" fmla="*/ 2423515 h 7458372"/>
              <a:gd name="connsiteX29428" fmla="*/ 8529152 w 10505529"/>
              <a:gd name="connsiteY29428" fmla="*/ 2418324 h 7458372"/>
              <a:gd name="connsiteX29429" fmla="*/ 8526490 w 10505529"/>
              <a:gd name="connsiteY29429" fmla="*/ 2414065 h 7458372"/>
              <a:gd name="connsiteX29430" fmla="*/ 8522496 w 10505529"/>
              <a:gd name="connsiteY29430" fmla="*/ 2411402 h 7458372"/>
              <a:gd name="connsiteX29431" fmla="*/ 8517438 w 10505529"/>
              <a:gd name="connsiteY29431" fmla="*/ 2410471 h 7458372"/>
              <a:gd name="connsiteX29432" fmla="*/ 8299793 w 10505529"/>
              <a:gd name="connsiteY29432" fmla="*/ 2410471 h 7458372"/>
              <a:gd name="connsiteX29433" fmla="*/ 8289809 w 10505529"/>
              <a:gd name="connsiteY29433" fmla="*/ 2414065 h 7458372"/>
              <a:gd name="connsiteX29434" fmla="*/ 8286215 w 10505529"/>
              <a:gd name="connsiteY29434" fmla="*/ 2423515 h 7458372"/>
              <a:gd name="connsiteX29435" fmla="*/ 8289809 w 10505529"/>
              <a:gd name="connsiteY29435" fmla="*/ 2432967 h 7458372"/>
              <a:gd name="connsiteX29436" fmla="*/ 8299793 w 10505529"/>
              <a:gd name="connsiteY29436" fmla="*/ 2436428 h 7458372"/>
              <a:gd name="connsiteX29437" fmla="*/ 8305118 w 10505529"/>
              <a:gd name="connsiteY29437" fmla="*/ 2435496 h 7458372"/>
              <a:gd name="connsiteX29438" fmla="*/ 8308844 w 10505529"/>
              <a:gd name="connsiteY29438" fmla="*/ 2433101 h 7458372"/>
              <a:gd name="connsiteX29439" fmla="*/ 8311507 w 10505529"/>
              <a:gd name="connsiteY29439" fmla="*/ 2428974 h 7458372"/>
              <a:gd name="connsiteX29440" fmla="*/ 8312439 w 10505529"/>
              <a:gd name="connsiteY29440" fmla="*/ 2423515 h 7458372"/>
              <a:gd name="connsiteX29441" fmla="*/ 8311507 w 10505529"/>
              <a:gd name="connsiteY29441" fmla="*/ 2418324 h 7458372"/>
              <a:gd name="connsiteX29442" fmla="*/ 8308844 w 10505529"/>
              <a:gd name="connsiteY29442" fmla="*/ 2414065 h 7458372"/>
              <a:gd name="connsiteX29443" fmla="*/ 8304851 w 10505529"/>
              <a:gd name="connsiteY29443" fmla="*/ 2411402 h 7458372"/>
              <a:gd name="connsiteX29444" fmla="*/ 8299793 w 10505529"/>
              <a:gd name="connsiteY29444" fmla="*/ 2410471 h 7458372"/>
              <a:gd name="connsiteX29445" fmla="*/ 8082281 w 10505529"/>
              <a:gd name="connsiteY29445" fmla="*/ 2410471 h 7458372"/>
              <a:gd name="connsiteX29446" fmla="*/ 8072297 w 10505529"/>
              <a:gd name="connsiteY29446" fmla="*/ 2414065 h 7458372"/>
              <a:gd name="connsiteX29447" fmla="*/ 8068703 w 10505529"/>
              <a:gd name="connsiteY29447" fmla="*/ 2423515 h 7458372"/>
              <a:gd name="connsiteX29448" fmla="*/ 8072297 w 10505529"/>
              <a:gd name="connsiteY29448" fmla="*/ 2432967 h 7458372"/>
              <a:gd name="connsiteX29449" fmla="*/ 8082281 w 10505529"/>
              <a:gd name="connsiteY29449" fmla="*/ 2436428 h 7458372"/>
              <a:gd name="connsiteX29450" fmla="*/ 8087605 w 10505529"/>
              <a:gd name="connsiteY29450" fmla="*/ 2435496 h 7458372"/>
              <a:gd name="connsiteX29451" fmla="*/ 8091332 w 10505529"/>
              <a:gd name="connsiteY29451" fmla="*/ 2433101 h 7458372"/>
              <a:gd name="connsiteX29452" fmla="*/ 8093994 w 10505529"/>
              <a:gd name="connsiteY29452" fmla="*/ 2428974 h 7458372"/>
              <a:gd name="connsiteX29453" fmla="*/ 8094926 w 10505529"/>
              <a:gd name="connsiteY29453" fmla="*/ 2423515 h 7458372"/>
              <a:gd name="connsiteX29454" fmla="*/ 8093994 w 10505529"/>
              <a:gd name="connsiteY29454" fmla="*/ 2418324 h 7458372"/>
              <a:gd name="connsiteX29455" fmla="*/ 8091332 w 10505529"/>
              <a:gd name="connsiteY29455" fmla="*/ 2414065 h 7458372"/>
              <a:gd name="connsiteX29456" fmla="*/ 8087338 w 10505529"/>
              <a:gd name="connsiteY29456" fmla="*/ 2411402 h 7458372"/>
              <a:gd name="connsiteX29457" fmla="*/ 8082281 w 10505529"/>
              <a:gd name="connsiteY29457" fmla="*/ 2410471 h 7458372"/>
              <a:gd name="connsiteX29458" fmla="*/ 7864636 w 10505529"/>
              <a:gd name="connsiteY29458" fmla="*/ 2410471 h 7458372"/>
              <a:gd name="connsiteX29459" fmla="*/ 7854652 w 10505529"/>
              <a:gd name="connsiteY29459" fmla="*/ 2414065 h 7458372"/>
              <a:gd name="connsiteX29460" fmla="*/ 7851058 w 10505529"/>
              <a:gd name="connsiteY29460" fmla="*/ 2423515 h 7458372"/>
              <a:gd name="connsiteX29461" fmla="*/ 7854652 w 10505529"/>
              <a:gd name="connsiteY29461" fmla="*/ 2432967 h 7458372"/>
              <a:gd name="connsiteX29462" fmla="*/ 7864636 w 10505529"/>
              <a:gd name="connsiteY29462" fmla="*/ 2436428 h 7458372"/>
              <a:gd name="connsiteX29463" fmla="*/ 7869961 w 10505529"/>
              <a:gd name="connsiteY29463" fmla="*/ 2435496 h 7458372"/>
              <a:gd name="connsiteX29464" fmla="*/ 7873687 w 10505529"/>
              <a:gd name="connsiteY29464" fmla="*/ 2433101 h 7458372"/>
              <a:gd name="connsiteX29465" fmla="*/ 7876350 w 10505529"/>
              <a:gd name="connsiteY29465" fmla="*/ 2428974 h 7458372"/>
              <a:gd name="connsiteX29466" fmla="*/ 7877282 w 10505529"/>
              <a:gd name="connsiteY29466" fmla="*/ 2423515 h 7458372"/>
              <a:gd name="connsiteX29467" fmla="*/ 7876350 w 10505529"/>
              <a:gd name="connsiteY29467" fmla="*/ 2418324 h 7458372"/>
              <a:gd name="connsiteX29468" fmla="*/ 7873687 w 10505529"/>
              <a:gd name="connsiteY29468" fmla="*/ 2414065 h 7458372"/>
              <a:gd name="connsiteX29469" fmla="*/ 7869694 w 10505529"/>
              <a:gd name="connsiteY29469" fmla="*/ 2411402 h 7458372"/>
              <a:gd name="connsiteX29470" fmla="*/ 7864636 w 10505529"/>
              <a:gd name="connsiteY29470" fmla="*/ 2410471 h 7458372"/>
              <a:gd name="connsiteX29471" fmla="*/ 7646991 w 10505529"/>
              <a:gd name="connsiteY29471" fmla="*/ 2410471 h 7458372"/>
              <a:gd name="connsiteX29472" fmla="*/ 7637007 w 10505529"/>
              <a:gd name="connsiteY29472" fmla="*/ 2414065 h 7458372"/>
              <a:gd name="connsiteX29473" fmla="*/ 7633413 w 10505529"/>
              <a:gd name="connsiteY29473" fmla="*/ 2423515 h 7458372"/>
              <a:gd name="connsiteX29474" fmla="*/ 7637007 w 10505529"/>
              <a:gd name="connsiteY29474" fmla="*/ 2432967 h 7458372"/>
              <a:gd name="connsiteX29475" fmla="*/ 7646991 w 10505529"/>
              <a:gd name="connsiteY29475" fmla="*/ 2436428 h 7458372"/>
              <a:gd name="connsiteX29476" fmla="*/ 7652315 w 10505529"/>
              <a:gd name="connsiteY29476" fmla="*/ 2435496 h 7458372"/>
              <a:gd name="connsiteX29477" fmla="*/ 7656042 w 10505529"/>
              <a:gd name="connsiteY29477" fmla="*/ 2433101 h 7458372"/>
              <a:gd name="connsiteX29478" fmla="*/ 7658705 w 10505529"/>
              <a:gd name="connsiteY29478" fmla="*/ 2428974 h 7458372"/>
              <a:gd name="connsiteX29479" fmla="*/ 7659769 w 10505529"/>
              <a:gd name="connsiteY29479" fmla="*/ 2423515 h 7458372"/>
              <a:gd name="connsiteX29480" fmla="*/ 7658705 w 10505529"/>
              <a:gd name="connsiteY29480" fmla="*/ 2418324 h 7458372"/>
              <a:gd name="connsiteX29481" fmla="*/ 7656042 w 10505529"/>
              <a:gd name="connsiteY29481" fmla="*/ 2414065 h 7458372"/>
              <a:gd name="connsiteX29482" fmla="*/ 7652049 w 10505529"/>
              <a:gd name="connsiteY29482" fmla="*/ 2411402 h 7458372"/>
              <a:gd name="connsiteX29483" fmla="*/ 7646991 w 10505529"/>
              <a:gd name="connsiteY29483" fmla="*/ 2410471 h 7458372"/>
              <a:gd name="connsiteX29484" fmla="*/ 7429345 w 10505529"/>
              <a:gd name="connsiteY29484" fmla="*/ 2410471 h 7458372"/>
              <a:gd name="connsiteX29485" fmla="*/ 7419361 w 10505529"/>
              <a:gd name="connsiteY29485" fmla="*/ 2414065 h 7458372"/>
              <a:gd name="connsiteX29486" fmla="*/ 7415768 w 10505529"/>
              <a:gd name="connsiteY29486" fmla="*/ 2423515 h 7458372"/>
              <a:gd name="connsiteX29487" fmla="*/ 7419361 w 10505529"/>
              <a:gd name="connsiteY29487" fmla="*/ 2432967 h 7458372"/>
              <a:gd name="connsiteX29488" fmla="*/ 7429345 w 10505529"/>
              <a:gd name="connsiteY29488" fmla="*/ 2436428 h 7458372"/>
              <a:gd name="connsiteX29489" fmla="*/ 7434670 w 10505529"/>
              <a:gd name="connsiteY29489" fmla="*/ 2435496 h 7458372"/>
              <a:gd name="connsiteX29490" fmla="*/ 7438397 w 10505529"/>
              <a:gd name="connsiteY29490" fmla="*/ 2433101 h 7458372"/>
              <a:gd name="connsiteX29491" fmla="*/ 7441059 w 10505529"/>
              <a:gd name="connsiteY29491" fmla="*/ 2428974 h 7458372"/>
              <a:gd name="connsiteX29492" fmla="*/ 7442124 w 10505529"/>
              <a:gd name="connsiteY29492" fmla="*/ 2423515 h 7458372"/>
              <a:gd name="connsiteX29493" fmla="*/ 7441059 w 10505529"/>
              <a:gd name="connsiteY29493" fmla="*/ 2418324 h 7458372"/>
              <a:gd name="connsiteX29494" fmla="*/ 7438397 w 10505529"/>
              <a:gd name="connsiteY29494" fmla="*/ 2414065 h 7458372"/>
              <a:gd name="connsiteX29495" fmla="*/ 7434403 w 10505529"/>
              <a:gd name="connsiteY29495" fmla="*/ 2411402 h 7458372"/>
              <a:gd name="connsiteX29496" fmla="*/ 7429345 w 10505529"/>
              <a:gd name="connsiteY29496" fmla="*/ 2410471 h 7458372"/>
              <a:gd name="connsiteX29497" fmla="*/ 7211701 w 10505529"/>
              <a:gd name="connsiteY29497" fmla="*/ 2410471 h 7458372"/>
              <a:gd name="connsiteX29498" fmla="*/ 7201717 w 10505529"/>
              <a:gd name="connsiteY29498" fmla="*/ 2414065 h 7458372"/>
              <a:gd name="connsiteX29499" fmla="*/ 7198123 w 10505529"/>
              <a:gd name="connsiteY29499" fmla="*/ 2423515 h 7458372"/>
              <a:gd name="connsiteX29500" fmla="*/ 7201717 w 10505529"/>
              <a:gd name="connsiteY29500" fmla="*/ 2432967 h 7458372"/>
              <a:gd name="connsiteX29501" fmla="*/ 7211701 w 10505529"/>
              <a:gd name="connsiteY29501" fmla="*/ 2436428 h 7458372"/>
              <a:gd name="connsiteX29502" fmla="*/ 7217026 w 10505529"/>
              <a:gd name="connsiteY29502" fmla="*/ 2435496 h 7458372"/>
              <a:gd name="connsiteX29503" fmla="*/ 7220752 w 10505529"/>
              <a:gd name="connsiteY29503" fmla="*/ 2433101 h 7458372"/>
              <a:gd name="connsiteX29504" fmla="*/ 7223415 w 10505529"/>
              <a:gd name="connsiteY29504" fmla="*/ 2428974 h 7458372"/>
              <a:gd name="connsiteX29505" fmla="*/ 7224480 w 10505529"/>
              <a:gd name="connsiteY29505" fmla="*/ 2423515 h 7458372"/>
              <a:gd name="connsiteX29506" fmla="*/ 7223415 w 10505529"/>
              <a:gd name="connsiteY29506" fmla="*/ 2418324 h 7458372"/>
              <a:gd name="connsiteX29507" fmla="*/ 7220752 w 10505529"/>
              <a:gd name="connsiteY29507" fmla="*/ 2414065 h 7458372"/>
              <a:gd name="connsiteX29508" fmla="*/ 7216759 w 10505529"/>
              <a:gd name="connsiteY29508" fmla="*/ 2411402 h 7458372"/>
              <a:gd name="connsiteX29509" fmla="*/ 7211701 w 10505529"/>
              <a:gd name="connsiteY29509" fmla="*/ 2410471 h 7458372"/>
              <a:gd name="connsiteX29510" fmla="*/ 6994056 w 10505529"/>
              <a:gd name="connsiteY29510" fmla="*/ 2410471 h 7458372"/>
              <a:gd name="connsiteX29511" fmla="*/ 6984072 w 10505529"/>
              <a:gd name="connsiteY29511" fmla="*/ 2414065 h 7458372"/>
              <a:gd name="connsiteX29512" fmla="*/ 6980478 w 10505529"/>
              <a:gd name="connsiteY29512" fmla="*/ 2423515 h 7458372"/>
              <a:gd name="connsiteX29513" fmla="*/ 6984072 w 10505529"/>
              <a:gd name="connsiteY29513" fmla="*/ 2432967 h 7458372"/>
              <a:gd name="connsiteX29514" fmla="*/ 6994056 w 10505529"/>
              <a:gd name="connsiteY29514" fmla="*/ 2436428 h 7458372"/>
              <a:gd name="connsiteX29515" fmla="*/ 6999380 w 10505529"/>
              <a:gd name="connsiteY29515" fmla="*/ 2435496 h 7458372"/>
              <a:gd name="connsiteX29516" fmla="*/ 7003107 w 10505529"/>
              <a:gd name="connsiteY29516" fmla="*/ 2433101 h 7458372"/>
              <a:gd name="connsiteX29517" fmla="*/ 7005769 w 10505529"/>
              <a:gd name="connsiteY29517" fmla="*/ 2428974 h 7458372"/>
              <a:gd name="connsiteX29518" fmla="*/ 7006834 w 10505529"/>
              <a:gd name="connsiteY29518" fmla="*/ 2423515 h 7458372"/>
              <a:gd name="connsiteX29519" fmla="*/ 7005769 w 10505529"/>
              <a:gd name="connsiteY29519" fmla="*/ 2418324 h 7458372"/>
              <a:gd name="connsiteX29520" fmla="*/ 7003107 w 10505529"/>
              <a:gd name="connsiteY29520" fmla="*/ 2414065 h 7458372"/>
              <a:gd name="connsiteX29521" fmla="*/ 6999113 w 10505529"/>
              <a:gd name="connsiteY29521" fmla="*/ 2411402 h 7458372"/>
              <a:gd name="connsiteX29522" fmla="*/ 6994056 w 10505529"/>
              <a:gd name="connsiteY29522" fmla="*/ 2410471 h 7458372"/>
              <a:gd name="connsiteX29523" fmla="*/ 6776544 w 10505529"/>
              <a:gd name="connsiteY29523" fmla="*/ 2410471 h 7458372"/>
              <a:gd name="connsiteX29524" fmla="*/ 6766560 w 10505529"/>
              <a:gd name="connsiteY29524" fmla="*/ 2414065 h 7458372"/>
              <a:gd name="connsiteX29525" fmla="*/ 6762966 w 10505529"/>
              <a:gd name="connsiteY29525" fmla="*/ 2423515 h 7458372"/>
              <a:gd name="connsiteX29526" fmla="*/ 6766560 w 10505529"/>
              <a:gd name="connsiteY29526" fmla="*/ 2432967 h 7458372"/>
              <a:gd name="connsiteX29527" fmla="*/ 6776544 w 10505529"/>
              <a:gd name="connsiteY29527" fmla="*/ 2436428 h 7458372"/>
              <a:gd name="connsiteX29528" fmla="*/ 6781869 w 10505529"/>
              <a:gd name="connsiteY29528" fmla="*/ 2435496 h 7458372"/>
              <a:gd name="connsiteX29529" fmla="*/ 6785595 w 10505529"/>
              <a:gd name="connsiteY29529" fmla="*/ 2433101 h 7458372"/>
              <a:gd name="connsiteX29530" fmla="*/ 6788258 w 10505529"/>
              <a:gd name="connsiteY29530" fmla="*/ 2428974 h 7458372"/>
              <a:gd name="connsiteX29531" fmla="*/ 6789323 w 10505529"/>
              <a:gd name="connsiteY29531" fmla="*/ 2423515 h 7458372"/>
              <a:gd name="connsiteX29532" fmla="*/ 6788258 w 10505529"/>
              <a:gd name="connsiteY29532" fmla="*/ 2418324 h 7458372"/>
              <a:gd name="connsiteX29533" fmla="*/ 6785595 w 10505529"/>
              <a:gd name="connsiteY29533" fmla="*/ 2414065 h 7458372"/>
              <a:gd name="connsiteX29534" fmla="*/ 6781602 w 10505529"/>
              <a:gd name="connsiteY29534" fmla="*/ 2411402 h 7458372"/>
              <a:gd name="connsiteX29535" fmla="*/ 6776544 w 10505529"/>
              <a:gd name="connsiteY29535" fmla="*/ 2410471 h 7458372"/>
              <a:gd name="connsiteX29536" fmla="*/ 6558899 w 10505529"/>
              <a:gd name="connsiteY29536" fmla="*/ 2410471 h 7458372"/>
              <a:gd name="connsiteX29537" fmla="*/ 6548915 w 10505529"/>
              <a:gd name="connsiteY29537" fmla="*/ 2414065 h 7458372"/>
              <a:gd name="connsiteX29538" fmla="*/ 6545321 w 10505529"/>
              <a:gd name="connsiteY29538" fmla="*/ 2423515 h 7458372"/>
              <a:gd name="connsiteX29539" fmla="*/ 6548915 w 10505529"/>
              <a:gd name="connsiteY29539" fmla="*/ 2432967 h 7458372"/>
              <a:gd name="connsiteX29540" fmla="*/ 6558899 w 10505529"/>
              <a:gd name="connsiteY29540" fmla="*/ 2436428 h 7458372"/>
              <a:gd name="connsiteX29541" fmla="*/ 6564223 w 10505529"/>
              <a:gd name="connsiteY29541" fmla="*/ 2435496 h 7458372"/>
              <a:gd name="connsiteX29542" fmla="*/ 6567950 w 10505529"/>
              <a:gd name="connsiteY29542" fmla="*/ 2433101 h 7458372"/>
              <a:gd name="connsiteX29543" fmla="*/ 6570612 w 10505529"/>
              <a:gd name="connsiteY29543" fmla="*/ 2428974 h 7458372"/>
              <a:gd name="connsiteX29544" fmla="*/ 6571677 w 10505529"/>
              <a:gd name="connsiteY29544" fmla="*/ 2423515 h 7458372"/>
              <a:gd name="connsiteX29545" fmla="*/ 6570612 w 10505529"/>
              <a:gd name="connsiteY29545" fmla="*/ 2418324 h 7458372"/>
              <a:gd name="connsiteX29546" fmla="*/ 6567950 w 10505529"/>
              <a:gd name="connsiteY29546" fmla="*/ 2414065 h 7458372"/>
              <a:gd name="connsiteX29547" fmla="*/ 6563956 w 10505529"/>
              <a:gd name="connsiteY29547" fmla="*/ 2411402 h 7458372"/>
              <a:gd name="connsiteX29548" fmla="*/ 6558899 w 10505529"/>
              <a:gd name="connsiteY29548" fmla="*/ 2410471 h 7458372"/>
              <a:gd name="connsiteX29549" fmla="*/ 6341253 w 10505529"/>
              <a:gd name="connsiteY29549" fmla="*/ 2410471 h 7458372"/>
              <a:gd name="connsiteX29550" fmla="*/ 6331270 w 10505529"/>
              <a:gd name="connsiteY29550" fmla="*/ 2414065 h 7458372"/>
              <a:gd name="connsiteX29551" fmla="*/ 6327675 w 10505529"/>
              <a:gd name="connsiteY29551" fmla="*/ 2423515 h 7458372"/>
              <a:gd name="connsiteX29552" fmla="*/ 6331270 w 10505529"/>
              <a:gd name="connsiteY29552" fmla="*/ 2432967 h 7458372"/>
              <a:gd name="connsiteX29553" fmla="*/ 6341253 w 10505529"/>
              <a:gd name="connsiteY29553" fmla="*/ 2436428 h 7458372"/>
              <a:gd name="connsiteX29554" fmla="*/ 6346578 w 10505529"/>
              <a:gd name="connsiteY29554" fmla="*/ 2435496 h 7458372"/>
              <a:gd name="connsiteX29555" fmla="*/ 6350305 w 10505529"/>
              <a:gd name="connsiteY29555" fmla="*/ 2433101 h 7458372"/>
              <a:gd name="connsiteX29556" fmla="*/ 6352968 w 10505529"/>
              <a:gd name="connsiteY29556" fmla="*/ 2428974 h 7458372"/>
              <a:gd name="connsiteX29557" fmla="*/ 6354033 w 10505529"/>
              <a:gd name="connsiteY29557" fmla="*/ 2423515 h 7458372"/>
              <a:gd name="connsiteX29558" fmla="*/ 6352968 w 10505529"/>
              <a:gd name="connsiteY29558" fmla="*/ 2418324 h 7458372"/>
              <a:gd name="connsiteX29559" fmla="*/ 6350305 w 10505529"/>
              <a:gd name="connsiteY29559" fmla="*/ 2414065 h 7458372"/>
              <a:gd name="connsiteX29560" fmla="*/ 6346312 w 10505529"/>
              <a:gd name="connsiteY29560" fmla="*/ 2411402 h 7458372"/>
              <a:gd name="connsiteX29561" fmla="*/ 6341253 w 10505529"/>
              <a:gd name="connsiteY29561" fmla="*/ 2410471 h 7458372"/>
              <a:gd name="connsiteX29562" fmla="*/ 6123608 w 10505529"/>
              <a:gd name="connsiteY29562" fmla="*/ 2410471 h 7458372"/>
              <a:gd name="connsiteX29563" fmla="*/ 6113624 w 10505529"/>
              <a:gd name="connsiteY29563" fmla="*/ 2414065 h 7458372"/>
              <a:gd name="connsiteX29564" fmla="*/ 6110030 w 10505529"/>
              <a:gd name="connsiteY29564" fmla="*/ 2423515 h 7458372"/>
              <a:gd name="connsiteX29565" fmla="*/ 6113624 w 10505529"/>
              <a:gd name="connsiteY29565" fmla="*/ 2432967 h 7458372"/>
              <a:gd name="connsiteX29566" fmla="*/ 6123608 w 10505529"/>
              <a:gd name="connsiteY29566" fmla="*/ 2436428 h 7458372"/>
              <a:gd name="connsiteX29567" fmla="*/ 6128932 w 10505529"/>
              <a:gd name="connsiteY29567" fmla="*/ 2435496 h 7458372"/>
              <a:gd name="connsiteX29568" fmla="*/ 6132659 w 10505529"/>
              <a:gd name="connsiteY29568" fmla="*/ 2433101 h 7458372"/>
              <a:gd name="connsiteX29569" fmla="*/ 6135322 w 10505529"/>
              <a:gd name="connsiteY29569" fmla="*/ 2428974 h 7458372"/>
              <a:gd name="connsiteX29570" fmla="*/ 6136387 w 10505529"/>
              <a:gd name="connsiteY29570" fmla="*/ 2423515 h 7458372"/>
              <a:gd name="connsiteX29571" fmla="*/ 6135322 w 10505529"/>
              <a:gd name="connsiteY29571" fmla="*/ 2418324 h 7458372"/>
              <a:gd name="connsiteX29572" fmla="*/ 6132659 w 10505529"/>
              <a:gd name="connsiteY29572" fmla="*/ 2414065 h 7458372"/>
              <a:gd name="connsiteX29573" fmla="*/ 6128666 w 10505529"/>
              <a:gd name="connsiteY29573" fmla="*/ 2411402 h 7458372"/>
              <a:gd name="connsiteX29574" fmla="*/ 6123608 w 10505529"/>
              <a:gd name="connsiteY29574" fmla="*/ 2410471 h 7458372"/>
              <a:gd name="connsiteX29575" fmla="*/ 5905963 w 10505529"/>
              <a:gd name="connsiteY29575" fmla="*/ 2410471 h 7458372"/>
              <a:gd name="connsiteX29576" fmla="*/ 5895979 w 10505529"/>
              <a:gd name="connsiteY29576" fmla="*/ 2414065 h 7458372"/>
              <a:gd name="connsiteX29577" fmla="*/ 5892385 w 10505529"/>
              <a:gd name="connsiteY29577" fmla="*/ 2423515 h 7458372"/>
              <a:gd name="connsiteX29578" fmla="*/ 5895979 w 10505529"/>
              <a:gd name="connsiteY29578" fmla="*/ 2432967 h 7458372"/>
              <a:gd name="connsiteX29579" fmla="*/ 5905963 w 10505529"/>
              <a:gd name="connsiteY29579" fmla="*/ 2436428 h 7458372"/>
              <a:gd name="connsiteX29580" fmla="*/ 5911287 w 10505529"/>
              <a:gd name="connsiteY29580" fmla="*/ 2435496 h 7458372"/>
              <a:gd name="connsiteX29581" fmla="*/ 5915014 w 10505529"/>
              <a:gd name="connsiteY29581" fmla="*/ 2433101 h 7458372"/>
              <a:gd name="connsiteX29582" fmla="*/ 5917677 w 10505529"/>
              <a:gd name="connsiteY29582" fmla="*/ 2428974 h 7458372"/>
              <a:gd name="connsiteX29583" fmla="*/ 5918742 w 10505529"/>
              <a:gd name="connsiteY29583" fmla="*/ 2423515 h 7458372"/>
              <a:gd name="connsiteX29584" fmla="*/ 5917677 w 10505529"/>
              <a:gd name="connsiteY29584" fmla="*/ 2418324 h 7458372"/>
              <a:gd name="connsiteX29585" fmla="*/ 5915014 w 10505529"/>
              <a:gd name="connsiteY29585" fmla="*/ 2414065 h 7458372"/>
              <a:gd name="connsiteX29586" fmla="*/ 5911021 w 10505529"/>
              <a:gd name="connsiteY29586" fmla="*/ 2411402 h 7458372"/>
              <a:gd name="connsiteX29587" fmla="*/ 5905963 w 10505529"/>
              <a:gd name="connsiteY29587" fmla="*/ 2410471 h 7458372"/>
              <a:gd name="connsiteX29588" fmla="*/ 5688451 w 10505529"/>
              <a:gd name="connsiteY29588" fmla="*/ 2410471 h 7458372"/>
              <a:gd name="connsiteX29589" fmla="*/ 5678467 w 10505529"/>
              <a:gd name="connsiteY29589" fmla="*/ 2414065 h 7458372"/>
              <a:gd name="connsiteX29590" fmla="*/ 5674873 w 10505529"/>
              <a:gd name="connsiteY29590" fmla="*/ 2423515 h 7458372"/>
              <a:gd name="connsiteX29591" fmla="*/ 5678467 w 10505529"/>
              <a:gd name="connsiteY29591" fmla="*/ 2432967 h 7458372"/>
              <a:gd name="connsiteX29592" fmla="*/ 5688451 w 10505529"/>
              <a:gd name="connsiteY29592" fmla="*/ 2436428 h 7458372"/>
              <a:gd name="connsiteX29593" fmla="*/ 5693775 w 10505529"/>
              <a:gd name="connsiteY29593" fmla="*/ 2435496 h 7458372"/>
              <a:gd name="connsiteX29594" fmla="*/ 5697502 w 10505529"/>
              <a:gd name="connsiteY29594" fmla="*/ 2433101 h 7458372"/>
              <a:gd name="connsiteX29595" fmla="*/ 5700165 w 10505529"/>
              <a:gd name="connsiteY29595" fmla="*/ 2428974 h 7458372"/>
              <a:gd name="connsiteX29596" fmla="*/ 5701230 w 10505529"/>
              <a:gd name="connsiteY29596" fmla="*/ 2423515 h 7458372"/>
              <a:gd name="connsiteX29597" fmla="*/ 5700165 w 10505529"/>
              <a:gd name="connsiteY29597" fmla="*/ 2418324 h 7458372"/>
              <a:gd name="connsiteX29598" fmla="*/ 5697502 w 10505529"/>
              <a:gd name="connsiteY29598" fmla="*/ 2414065 h 7458372"/>
              <a:gd name="connsiteX29599" fmla="*/ 5693509 w 10505529"/>
              <a:gd name="connsiteY29599" fmla="*/ 2411402 h 7458372"/>
              <a:gd name="connsiteX29600" fmla="*/ 5688451 w 10505529"/>
              <a:gd name="connsiteY29600" fmla="*/ 2410471 h 7458372"/>
              <a:gd name="connsiteX29601" fmla="*/ 5470806 w 10505529"/>
              <a:gd name="connsiteY29601" fmla="*/ 2410471 h 7458372"/>
              <a:gd name="connsiteX29602" fmla="*/ 5460822 w 10505529"/>
              <a:gd name="connsiteY29602" fmla="*/ 2414065 h 7458372"/>
              <a:gd name="connsiteX29603" fmla="*/ 5457228 w 10505529"/>
              <a:gd name="connsiteY29603" fmla="*/ 2423515 h 7458372"/>
              <a:gd name="connsiteX29604" fmla="*/ 5460822 w 10505529"/>
              <a:gd name="connsiteY29604" fmla="*/ 2432967 h 7458372"/>
              <a:gd name="connsiteX29605" fmla="*/ 5470806 w 10505529"/>
              <a:gd name="connsiteY29605" fmla="*/ 2436428 h 7458372"/>
              <a:gd name="connsiteX29606" fmla="*/ 5476130 w 10505529"/>
              <a:gd name="connsiteY29606" fmla="*/ 2435496 h 7458372"/>
              <a:gd name="connsiteX29607" fmla="*/ 5479857 w 10505529"/>
              <a:gd name="connsiteY29607" fmla="*/ 2433101 h 7458372"/>
              <a:gd name="connsiteX29608" fmla="*/ 5482520 w 10505529"/>
              <a:gd name="connsiteY29608" fmla="*/ 2428974 h 7458372"/>
              <a:gd name="connsiteX29609" fmla="*/ 5483585 w 10505529"/>
              <a:gd name="connsiteY29609" fmla="*/ 2423515 h 7458372"/>
              <a:gd name="connsiteX29610" fmla="*/ 5482520 w 10505529"/>
              <a:gd name="connsiteY29610" fmla="*/ 2418324 h 7458372"/>
              <a:gd name="connsiteX29611" fmla="*/ 5479857 w 10505529"/>
              <a:gd name="connsiteY29611" fmla="*/ 2414065 h 7458372"/>
              <a:gd name="connsiteX29612" fmla="*/ 5475864 w 10505529"/>
              <a:gd name="connsiteY29612" fmla="*/ 2411402 h 7458372"/>
              <a:gd name="connsiteX29613" fmla="*/ 5470806 w 10505529"/>
              <a:gd name="connsiteY29613" fmla="*/ 2410471 h 7458372"/>
              <a:gd name="connsiteX29614" fmla="*/ 5253160 w 10505529"/>
              <a:gd name="connsiteY29614" fmla="*/ 2410471 h 7458372"/>
              <a:gd name="connsiteX29615" fmla="*/ 5243177 w 10505529"/>
              <a:gd name="connsiteY29615" fmla="*/ 2414065 h 7458372"/>
              <a:gd name="connsiteX29616" fmla="*/ 5239583 w 10505529"/>
              <a:gd name="connsiteY29616" fmla="*/ 2423515 h 7458372"/>
              <a:gd name="connsiteX29617" fmla="*/ 5243177 w 10505529"/>
              <a:gd name="connsiteY29617" fmla="*/ 2432967 h 7458372"/>
              <a:gd name="connsiteX29618" fmla="*/ 5253160 w 10505529"/>
              <a:gd name="connsiteY29618" fmla="*/ 2436428 h 7458372"/>
              <a:gd name="connsiteX29619" fmla="*/ 5258485 w 10505529"/>
              <a:gd name="connsiteY29619" fmla="*/ 2435496 h 7458372"/>
              <a:gd name="connsiteX29620" fmla="*/ 5262212 w 10505529"/>
              <a:gd name="connsiteY29620" fmla="*/ 2433101 h 7458372"/>
              <a:gd name="connsiteX29621" fmla="*/ 5264875 w 10505529"/>
              <a:gd name="connsiteY29621" fmla="*/ 2428974 h 7458372"/>
              <a:gd name="connsiteX29622" fmla="*/ 5265939 w 10505529"/>
              <a:gd name="connsiteY29622" fmla="*/ 2423515 h 7458372"/>
              <a:gd name="connsiteX29623" fmla="*/ 5264875 w 10505529"/>
              <a:gd name="connsiteY29623" fmla="*/ 2418324 h 7458372"/>
              <a:gd name="connsiteX29624" fmla="*/ 5262212 w 10505529"/>
              <a:gd name="connsiteY29624" fmla="*/ 2414065 h 7458372"/>
              <a:gd name="connsiteX29625" fmla="*/ 5258219 w 10505529"/>
              <a:gd name="connsiteY29625" fmla="*/ 2411402 h 7458372"/>
              <a:gd name="connsiteX29626" fmla="*/ 5253160 w 10505529"/>
              <a:gd name="connsiteY29626" fmla="*/ 2410471 h 7458372"/>
              <a:gd name="connsiteX29627" fmla="*/ 5035515 w 10505529"/>
              <a:gd name="connsiteY29627" fmla="*/ 2410471 h 7458372"/>
              <a:gd name="connsiteX29628" fmla="*/ 5025532 w 10505529"/>
              <a:gd name="connsiteY29628" fmla="*/ 2414065 h 7458372"/>
              <a:gd name="connsiteX29629" fmla="*/ 5021938 w 10505529"/>
              <a:gd name="connsiteY29629" fmla="*/ 2423515 h 7458372"/>
              <a:gd name="connsiteX29630" fmla="*/ 5025532 w 10505529"/>
              <a:gd name="connsiteY29630" fmla="*/ 2432967 h 7458372"/>
              <a:gd name="connsiteX29631" fmla="*/ 5035515 w 10505529"/>
              <a:gd name="connsiteY29631" fmla="*/ 2436428 h 7458372"/>
              <a:gd name="connsiteX29632" fmla="*/ 5040840 w 10505529"/>
              <a:gd name="connsiteY29632" fmla="*/ 2435496 h 7458372"/>
              <a:gd name="connsiteX29633" fmla="*/ 5044567 w 10505529"/>
              <a:gd name="connsiteY29633" fmla="*/ 2433101 h 7458372"/>
              <a:gd name="connsiteX29634" fmla="*/ 5047230 w 10505529"/>
              <a:gd name="connsiteY29634" fmla="*/ 2428974 h 7458372"/>
              <a:gd name="connsiteX29635" fmla="*/ 5048294 w 10505529"/>
              <a:gd name="connsiteY29635" fmla="*/ 2423515 h 7458372"/>
              <a:gd name="connsiteX29636" fmla="*/ 5047230 w 10505529"/>
              <a:gd name="connsiteY29636" fmla="*/ 2418324 h 7458372"/>
              <a:gd name="connsiteX29637" fmla="*/ 5044567 w 10505529"/>
              <a:gd name="connsiteY29637" fmla="*/ 2414065 h 7458372"/>
              <a:gd name="connsiteX29638" fmla="*/ 5040574 w 10505529"/>
              <a:gd name="connsiteY29638" fmla="*/ 2411402 h 7458372"/>
              <a:gd name="connsiteX29639" fmla="*/ 5035515 w 10505529"/>
              <a:gd name="connsiteY29639" fmla="*/ 2410471 h 7458372"/>
              <a:gd name="connsiteX29640" fmla="*/ 4817870 w 10505529"/>
              <a:gd name="connsiteY29640" fmla="*/ 2410471 h 7458372"/>
              <a:gd name="connsiteX29641" fmla="*/ 4807887 w 10505529"/>
              <a:gd name="connsiteY29641" fmla="*/ 2414065 h 7458372"/>
              <a:gd name="connsiteX29642" fmla="*/ 4804293 w 10505529"/>
              <a:gd name="connsiteY29642" fmla="*/ 2423515 h 7458372"/>
              <a:gd name="connsiteX29643" fmla="*/ 4807887 w 10505529"/>
              <a:gd name="connsiteY29643" fmla="*/ 2432967 h 7458372"/>
              <a:gd name="connsiteX29644" fmla="*/ 4817870 w 10505529"/>
              <a:gd name="connsiteY29644" fmla="*/ 2436428 h 7458372"/>
              <a:gd name="connsiteX29645" fmla="*/ 4823195 w 10505529"/>
              <a:gd name="connsiteY29645" fmla="*/ 2435496 h 7458372"/>
              <a:gd name="connsiteX29646" fmla="*/ 4826922 w 10505529"/>
              <a:gd name="connsiteY29646" fmla="*/ 2433101 h 7458372"/>
              <a:gd name="connsiteX29647" fmla="*/ 4829585 w 10505529"/>
              <a:gd name="connsiteY29647" fmla="*/ 2428974 h 7458372"/>
              <a:gd name="connsiteX29648" fmla="*/ 4830650 w 10505529"/>
              <a:gd name="connsiteY29648" fmla="*/ 2423515 h 7458372"/>
              <a:gd name="connsiteX29649" fmla="*/ 4829585 w 10505529"/>
              <a:gd name="connsiteY29649" fmla="*/ 2418324 h 7458372"/>
              <a:gd name="connsiteX29650" fmla="*/ 4826922 w 10505529"/>
              <a:gd name="connsiteY29650" fmla="*/ 2414065 h 7458372"/>
              <a:gd name="connsiteX29651" fmla="*/ 4822929 w 10505529"/>
              <a:gd name="connsiteY29651" fmla="*/ 2411402 h 7458372"/>
              <a:gd name="connsiteX29652" fmla="*/ 4817870 w 10505529"/>
              <a:gd name="connsiteY29652" fmla="*/ 2410471 h 7458372"/>
              <a:gd name="connsiteX29653" fmla="*/ 4600226 w 10505529"/>
              <a:gd name="connsiteY29653" fmla="*/ 2410471 h 7458372"/>
              <a:gd name="connsiteX29654" fmla="*/ 4590242 w 10505529"/>
              <a:gd name="connsiteY29654" fmla="*/ 2414065 h 7458372"/>
              <a:gd name="connsiteX29655" fmla="*/ 4586648 w 10505529"/>
              <a:gd name="connsiteY29655" fmla="*/ 2423515 h 7458372"/>
              <a:gd name="connsiteX29656" fmla="*/ 4590242 w 10505529"/>
              <a:gd name="connsiteY29656" fmla="*/ 2432967 h 7458372"/>
              <a:gd name="connsiteX29657" fmla="*/ 4600226 w 10505529"/>
              <a:gd name="connsiteY29657" fmla="*/ 2436428 h 7458372"/>
              <a:gd name="connsiteX29658" fmla="*/ 4605550 w 10505529"/>
              <a:gd name="connsiteY29658" fmla="*/ 2435496 h 7458372"/>
              <a:gd name="connsiteX29659" fmla="*/ 4609277 w 10505529"/>
              <a:gd name="connsiteY29659" fmla="*/ 2433101 h 7458372"/>
              <a:gd name="connsiteX29660" fmla="*/ 4611940 w 10505529"/>
              <a:gd name="connsiteY29660" fmla="*/ 2428974 h 7458372"/>
              <a:gd name="connsiteX29661" fmla="*/ 4613005 w 10505529"/>
              <a:gd name="connsiteY29661" fmla="*/ 2423515 h 7458372"/>
              <a:gd name="connsiteX29662" fmla="*/ 4611940 w 10505529"/>
              <a:gd name="connsiteY29662" fmla="*/ 2418324 h 7458372"/>
              <a:gd name="connsiteX29663" fmla="*/ 4609277 w 10505529"/>
              <a:gd name="connsiteY29663" fmla="*/ 2414065 h 7458372"/>
              <a:gd name="connsiteX29664" fmla="*/ 4605284 w 10505529"/>
              <a:gd name="connsiteY29664" fmla="*/ 2411402 h 7458372"/>
              <a:gd name="connsiteX29665" fmla="*/ 4600226 w 10505529"/>
              <a:gd name="connsiteY29665" fmla="*/ 2410471 h 7458372"/>
              <a:gd name="connsiteX29666" fmla="*/ 4382713 w 10505529"/>
              <a:gd name="connsiteY29666" fmla="*/ 2410471 h 7458372"/>
              <a:gd name="connsiteX29667" fmla="*/ 4372730 w 10505529"/>
              <a:gd name="connsiteY29667" fmla="*/ 2414065 h 7458372"/>
              <a:gd name="connsiteX29668" fmla="*/ 4369136 w 10505529"/>
              <a:gd name="connsiteY29668" fmla="*/ 2423515 h 7458372"/>
              <a:gd name="connsiteX29669" fmla="*/ 4372730 w 10505529"/>
              <a:gd name="connsiteY29669" fmla="*/ 2432967 h 7458372"/>
              <a:gd name="connsiteX29670" fmla="*/ 4382713 w 10505529"/>
              <a:gd name="connsiteY29670" fmla="*/ 2436428 h 7458372"/>
              <a:gd name="connsiteX29671" fmla="*/ 4388038 w 10505529"/>
              <a:gd name="connsiteY29671" fmla="*/ 2435496 h 7458372"/>
              <a:gd name="connsiteX29672" fmla="*/ 4391765 w 10505529"/>
              <a:gd name="connsiteY29672" fmla="*/ 2433101 h 7458372"/>
              <a:gd name="connsiteX29673" fmla="*/ 4394428 w 10505529"/>
              <a:gd name="connsiteY29673" fmla="*/ 2428974 h 7458372"/>
              <a:gd name="connsiteX29674" fmla="*/ 4395493 w 10505529"/>
              <a:gd name="connsiteY29674" fmla="*/ 2423515 h 7458372"/>
              <a:gd name="connsiteX29675" fmla="*/ 4394428 w 10505529"/>
              <a:gd name="connsiteY29675" fmla="*/ 2418324 h 7458372"/>
              <a:gd name="connsiteX29676" fmla="*/ 4391765 w 10505529"/>
              <a:gd name="connsiteY29676" fmla="*/ 2414065 h 7458372"/>
              <a:gd name="connsiteX29677" fmla="*/ 4387772 w 10505529"/>
              <a:gd name="connsiteY29677" fmla="*/ 2411402 h 7458372"/>
              <a:gd name="connsiteX29678" fmla="*/ 4382713 w 10505529"/>
              <a:gd name="connsiteY29678" fmla="*/ 2410471 h 7458372"/>
              <a:gd name="connsiteX29679" fmla="*/ 4165068 w 10505529"/>
              <a:gd name="connsiteY29679" fmla="*/ 2410471 h 7458372"/>
              <a:gd name="connsiteX29680" fmla="*/ 4155084 w 10505529"/>
              <a:gd name="connsiteY29680" fmla="*/ 2414065 h 7458372"/>
              <a:gd name="connsiteX29681" fmla="*/ 4151490 w 10505529"/>
              <a:gd name="connsiteY29681" fmla="*/ 2423515 h 7458372"/>
              <a:gd name="connsiteX29682" fmla="*/ 4155084 w 10505529"/>
              <a:gd name="connsiteY29682" fmla="*/ 2432967 h 7458372"/>
              <a:gd name="connsiteX29683" fmla="*/ 4165068 w 10505529"/>
              <a:gd name="connsiteY29683" fmla="*/ 2436428 h 7458372"/>
              <a:gd name="connsiteX29684" fmla="*/ 4170392 w 10505529"/>
              <a:gd name="connsiteY29684" fmla="*/ 2435496 h 7458372"/>
              <a:gd name="connsiteX29685" fmla="*/ 4174119 w 10505529"/>
              <a:gd name="connsiteY29685" fmla="*/ 2433101 h 7458372"/>
              <a:gd name="connsiteX29686" fmla="*/ 4176782 w 10505529"/>
              <a:gd name="connsiteY29686" fmla="*/ 2428974 h 7458372"/>
              <a:gd name="connsiteX29687" fmla="*/ 4177847 w 10505529"/>
              <a:gd name="connsiteY29687" fmla="*/ 2423515 h 7458372"/>
              <a:gd name="connsiteX29688" fmla="*/ 4176782 w 10505529"/>
              <a:gd name="connsiteY29688" fmla="*/ 2418324 h 7458372"/>
              <a:gd name="connsiteX29689" fmla="*/ 4174119 w 10505529"/>
              <a:gd name="connsiteY29689" fmla="*/ 2414065 h 7458372"/>
              <a:gd name="connsiteX29690" fmla="*/ 4170126 w 10505529"/>
              <a:gd name="connsiteY29690" fmla="*/ 2411402 h 7458372"/>
              <a:gd name="connsiteX29691" fmla="*/ 4165068 w 10505529"/>
              <a:gd name="connsiteY29691" fmla="*/ 2410471 h 7458372"/>
              <a:gd name="connsiteX29692" fmla="*/ 3947558 w 10505529"/>
              <a:gd name="connsiteY29692" fmla="*/ 2410471 h 7458372"/>
              <a:gd name="connsiteX29693" fmla="*/ 3937575 w 10505529"/>
              <a:gd name="connsiteY29693" fmla="*/ 2414065 h 7458372"/>
              <a:gd name="connsiteX29694" fmla="*/ 3933981 w 10505529"/>
              <a:gd name="connsiteY29694" fmla="*/ 2423515 h 7458372"/>
              <a:gd name="connsiteX29695" fmla="*/ 3937575 w 10505529"/>
              <a:gd name="connsiteY29695" fmla="*/ 2432967 h 7458372"/>
              <a:gd name="connsiteX29696" fmla="*/ 3947558 w 10505529"/>
              <a:gd name="connsiteY29696" fmla="*/ 2436428 h 7458372"/>
              <a:gd name="connsiteX29697" fmla="*/ 3952885 w 10505529"/>
              <a:gd name="connsiteY29697" fmla="*/ 2435496 h 7458372"/>
              <a:gd name="connsiteX29698" fmla="*/ 3956611 w 10505529"/>
              <a:gd name="connsiteY29698" fmla="*/ 2433101 h 7458372"/>
              <a:gd name="connsiteX29699" fmla="*/ 3959274 w 10505529"/>
              <a:gd name="connsiteY29699" fmla="*/ 2428974 h 7458372"/>
              <a:gd name="connsiteX29700" fmla="*/ 3960339 w 10505529"/>
              <a:gd name="connsiteY29700" fmla="*/ 2423515 h 7458372"/>
              <a:gd name="connsiteX29701" fmla="*/ 3959274 w 10505529"/>
              <a:gd name="connsiteY29701" fmla="*/ 2418324 h 7458372"/>
              <a:gd name="connsiteX29702" fmla="*/ 3956611 w 10505529"/>
              <a:gd name="connsiteY29702" fmla="*/ 2414065 h 7458372"/>
              <a:gd name="connsiteX29703" fmla="*/ 3952617 w 10505529"/>
              <a:gd name="connsiteY29703" fmla="*/ 2411402 h 7458372"/>
              <a:gd name="connsiteX29704" fmla="*/ 3947558 w 10505529"/>
              <a:gd name="connsiteY29704" fmla="*/ 2410471 h 7458372"/>
              <a:gd name="connsiteX29705" fmla="*/ 3729907 w 10505529"/>
              <a:gd name="connsiteY29705" fmla="*/ 2410471 h 7458372"/>
              <a:gd name="connsiteX29706" fmla="*/ 3719921 w 10505529"/>
              <a:gd name="connsiteY29706" fmla="*/ 2414065 h 7458372"/>
              <a:gd name="connsiteX29707" fmla="*/ 3716328 w 10505529"/>
              <a:gd name="connsiteY29707" fmla="*/ 2423515 h 7458372"/>
              <a:gd name="connsiteX29708" fmla="*/ 3719921 w 10505529"/>
              <a:gd name="connsiteY29708" fmla="*/ 2432967 h 7458372"/>
              <a:gd name="connsiteX29709" fmla="*/ 3729907 w 10505529"/>
              <a:gd name="connsiteY29709" fmla="*/ 2436428 h 7458372"/>
              <a:gd name="connsiteX29710" fmla="*/ 3735232 w 10505529"/>
              <a:gd name="connsiteY29710" fmla="*/ 2435496 h 7458372"/>
              <a:gd name="connsiteX29711" fmla="*/ 3738959 w 10505529"/>
              <a:gd name="connsiteY29711" fmla="*/ 2433101 h 7458372"/>
              <a:gd name="connsiteX29712" fmla="*/ 3741622 w 10505529"/>
              <a:gd name="connsiteY29712" fmla="*/ 2428974 h 7458372"/>
              <a:gd name="connsiteX29713" fmla="*/ 3742686 w 10505529"/>
              <a:gd name="connsiteY29713" fmla="*/ 2423515 h 7458372"/>
              <a:gd name="connsiteX29714" fmla="*/ 3741622 w 10505529"/>
              <a:gd name="connsiteY29714" fmla="*/ 2418324 h 7458372"/>
              <a:gd name="connsiteX29715" fmla="*/ 3738959 w 10505529"/>
              <a:gd name="connsiteY29715" fmla="*/ 2414065 h 7458372"/>
              <a:gd name="connsiteX29716" fmla="*/ 3734966 w 10505529"/>
              <a:gd name="connsiteY29716" fmla="*/ 2411402 h 7458372"/>
              <a:gd name="connsiteX29717" fmla="*/ 3729907 w 10505529"/>
              <a:gd name="connsiteY29717" fmla="*/ 2410471 h 7458372"/>
              <a:gd name="connsiteX29718" fmla="*/ 3512254 w 10505529"/>
              <a:gd name="connsiteY29718" fmla="*/ 2410471 h 7458372"/>
              <a:gd name="connsiteX29719" fmla="*/ 3502269 w 10505529"/>
              <a:gd name="connsiteY29719" fmla="*/ 2414065 h 7458372"/>
              <a:gd name="connsiteX29720" fmla="*/ 3498675 w 10505529"/>
              <a:gd name="connsiteY29720" fmla="*/ 2423515 h 7458372"/>
              <a:gd name="connsiteX29721" fmla="*/ 3502269 w 10505529"/>
              <a:gd name="connsiteY29721" fmla="*/ 2432967 h 7458372"/>
              <a:gd name="connsiteX29722" fmla="*/ 3512254 w 10505529"/>
              <a:gd name="connsiteY29722" fmla="*/ 2436428 h 7458372"/>
              <a:gd name="connsiteX29723" fmla="*/ 3517580 w 10505529"/>
              <a:gd name="connsiteY29723" fmla="*/ 2435496 h 7458372"/>
              <a:gd name="connsiteX29724" fmla="*/ 3521307 w 10505529"/>
              <a:gd name="connsiteY29724" fmla="*/ 2433101 h 7458372"/>
              <a:gd name="connsiteX29725" fmla="*/ 3523970 w 10505529"/>
              <a:gd name="connsiteY29725" fmla="*/ 2428974 h 7458372"/>
              <a:gd name="connsiteX29726" fmla="*/ 3525035 w 10505529"/>
              <a:gd name="connsiteY29726" fmla="*/ 2423515 h 7458372"/>
              <a:gd name="connsiteX29727" fmla="*/ 3523970 w 10505529"/>
              <a:gd name="connsiteY29727" fmla="*/ 2418324 h 7458372"/>
              <a:gd name="connsiteX29728" fmla="*/ 3521307 w 10505529"/>
              <a:gd name="connsiteY29728" fmla="*/ 2414065 h 7458372"/>
              <a:gd name="connsiteX29729" fmla="*/ 3517314 w 10505529"/>
              <a:gd name="connsiteY29729" fmla="*/ 2411402 h 7458372"/>
              <a:gd name="connsiteX29730" fmla="*/ 3512254 w 10505529"/>
              <a:gd name="connsiteY29730" fmla="*/ 2410471 h 7458372"/>
              <a:gd name="connsiteX29731" fmla="*/ 3294736 w 10505529"/>
              <a:gd name="connsiteY29731" fmla="*/ 2410471 h 7458372"/>
              <a:gd name="connsiteX29732" fmla="*/ 3284751 w 10505529"/>
              <a:gd name="connsiteY29732" fmla="*/ 2414065 h 7458372"/>
              <a:gd name="connsiteX29733" fmla="*/ 3281157 w 10505529"/>
              <a:gd name="connsiteY29733" fmla="*/ 2423515 h 7458372"/>
              <a:gd name="connsiteX29734" fmla="*/ 3284751 w 10505529"/>
              <a:gd name="connsiteY29734" fmla="*/ 2432967 h 7458372"/>
              <a:gd name="connsiteX29735" fmla="*/ 3294736 w 10505529"/>
              <a:gd name="connsiteY29735" fmla="*/ 2436428 h 7458372"/>
              <a:gd name="connsiteX29736" fmla="*/ 3300061 w 10505529"/>
              <a:gd name="connsiteY29736" fmla="*/ 2435496 h 7458372"/>
              <a:gd name="connsiteX29737" fmla="*/ 3303788 w 10505529"/>
              <a:gd name="connsiteY29737" fmla="*/ 2433101 h 7458372"/>
              <a:gd name="connsiteX29738" fmla="*/ 3306451 w 10505529"/>
              <a:gd name="connsiteY29738" fmla="*/ 2428974 h 7458372"/>
              <a:gd name="connsiteX29739" fmla="*/ 3307515 w 10505529"/>
              <a:gd name="connsiteY29739" fmla="*/ 2423515 h 7458372"/>
              <a:gd name="connsiteX29740" fmla="*/ 3306451 w 10505529"/>
              <a:gd name="connsiteY29740" fmla="*/ 2418324 h 7458372"/>
              <a:gd name="connsiteX29741" fmla="*/ 3303788 w 10505529"/>
              <a:gd name="connsiteY29741" fmla="*/ 2414065 h 7458372"/>
              <a:gd name="connsiteX29742" fmla="*/ 3299795 w 10505529"/>
              <a:gd name="connsiteY29742" fmla="*/ 2411402 h 7458372"/>
              <a:gd name="connsiteX29743" fmla="*/ 3294736 w 10505529"/>
              <a:gd name="connsiteY29743" fmla="*/ 2410471 h 7458372"/>
              <a:gd name="connsiteX29744" fmla="*/ 3077217 w 10505529"/>
              <a:gd name="connsiteY29744" fmla="*/ 2410471 h 7458372"/>
              <a:gd name="connsiteX29745" fmla="*/ 3067234 w 10505529"/>
              <a:gd name="connsiteY29745" fmla="*/ 2414065 h 7458372"/>
              <a:gd name="connsiteX29746" fmla="*/ 3063504 w 10505529"/>
              <a:gd name="connsiteY29746" fmla="*/ 2423515 h 7458372"/>
              <a:gd name="connsiteX29747" fmla="*/ 3067099 w 10505529"/>
              <a:gd name="connsiteY29747" fmla="*/ 2432967 h 7458372"/>
              <a:gd name="connsiteX29748" fmla="*/ 3077083 w 10505529"/>
              <a:gd name="connsiteY29748" fmla="*/ 2436428 h 7458372"/>
              <a:gd name="connsiteX29749" fmla="*/ 3082542 w 10505529"/>
              <a:gd name="connsiteY29749" fmla="*/ 2435496 h 7458372"/>
              <a:gd name="connsiteX29750" fmla="*/ 3086269 w 10505529"/>
              <a:gd name="connsiteY29750" fmla="*/ 2433101 h 7458372"/>
              <a:gd name="connsiteX29751" fmla="*/ 3088932 w 10505529"/>
              <a:gd name="connsiteY29751" fmla="*/ 2428974 h 7458372"/>
              <a:gd name="connsiteX29752" fmla="*/ 3089864 w 10505529"/>
              <a:gd name="connsiteY29752" fmla="*/ 2423515 h 7458372"/>
              <a:gd name="connsiteX29753" fmla="*/ 3088932 w 10505529"/>
              <a:gd name="connsiteY29753" fmla="*/ 2418324 h 7458372"/>
              <a:gd name="connsiteX29754" fmla="*/ 3086269 w 10505529"/>
              <a:gd name="connsiteY29754" fmla="*/ 2414065 h 7458372"/>
              <a:gd name="connsiteX29755" fmla="*/ 3082276 w 10505529"/>
              <a:gd name="connsiteY29755" fmla="*/ 2411402 h 7458372"/>
              <a:gd name="connsiteX29756" fmla="*/ 3077217 w 10505529"/>
              <a:gd name="connsiteY29756" fmla="*/ 2410471 h 7458372"/>
              <a:gd name="connsiteX29757" fmla="*/ 2859432 w 10505529"/>
              <a:gd name="connsiteY29757" fmla="*/ 2410471 h 7458372"/>
              <a:gd name="connsiteX29758" fmla="*/ 2849447 w 10505529"/>
              <a:gd name="connsiteY29758" fmla="*/ 2414065 h 7458372"/>
              <a:gd name="connsiteX29759" fmla="*/ 2845851 w 10505529"/>
              <a:gd name="connsiteY29759" fmla="*/ 2423515 h 7458372"/>
              <a:gd name="connsiteX29760" fmla="*/ 2849447 w 10505529"/>
              <a:gd name="connsiteY29760" fmla="*/ 2432967 h 7458372"/>
              <a:gd name="connsiteX29761" fmla="*/ 2859432 w 10505529"/>
              <a:gd name="connsiteY29761" fmla="*/ 2436428 h 7458372"/>
              <a:gd name="connsiteX29762" fmla="*/ 2864757 w 10505529"/>
              <a:gd name="connsiteY29762" fmla="*/ 2435496 h 7458372"/>
              <a:gd name="connsiteX29763" fmla="*/ 2868483 w 10505529"/>
              <a:gd name="connsiteY29763" fmla="*/ 2433101 h 7458372"/>
              <a:gd name="connsiteX29764" fmla="*/ 2871147 w 10505529"/>
              <a:gd name="connsiteY29764" fmla="*/ 2428974 h 7458372"/>
              <a:gd name="connsiteX29765" fmla="*/ 2872078 w 10505529"/>
              <a:gd name="connsiteY29765" fmla="*/ 2423515 h 7458372"/>
              <a:gd name="connsiteX29766" fmla="*/ 2871147 w 10505529"/>
              <a:gd name="connsiteY29766" fmla="*/ 2418324 h 7458372"/>
              <a:gd name="connsiteX29767" fmla="*/ 2868483 w 10505529"/>
              <a:gd name="connsiteY29767" fmla="*/ 2414065 h 7458372"/>
              <a:gd name="connsiteX29768" fmla="*/ 2864491 w 10505529"/>
              <a:gd name="connsiteY29768" fmla="*/ 2411402 h 7458372"/>
              <a:gd name="connsiteX29769" fmla="*/ 2859432 w 10505529"/>
              <a:gd name="connsiteY29769" fmla="*/ 2410471 h 7458372"/>
              <a:gd name="connsiteX29770" fmla="*/ 2641779 w 10505529"/>
              <a:gd name="connsiteY29770" fmla="*/ 2410471 h 7458372"/>
              <a:gd name="connsiteX29771" fmla="*/ 2631796 w 10505529"/>
              <a:gd name="connsiteY29771" fmla="*/ 2414065 h 7458372"/>
              <a:gd name="connsiteX29772" fmla="*/ 2628202 w 10505529"/>
              <a:gd name="connsiteY29772" fmla="*/ 2423515 h 7458372"/>
              <a:gd name="connsiteX29773" fmla="*/ 2631796 w 10505529"/>
              <a:gd name="connsiteY29773" fmla="*/ 2432967 h 7458372"/>
              <a:gd name="connsiteX29774" fmla="*/ 2641779 w 10505529"/>
              <a:gd name="connsiteY29774" fmla="*/ 2436428 h 7458372"/>
              <a:gd name="connsiteX29775" fmla="*/ 2647105 w 10505529"/>
              <a:gd name="connsiteY29775" fmla="*/ 2435496 h 7458372"/>
              <a:gd name="connsiteX29776" fmla="*/ 2650832 w 10505529"/>
              <a:gd name="connsiteY29776" fmla="*/ 2433101 h 7458372"/>
              <a:gd name="connsiteX29777" fmla="*/ 2653495 w 10505529"/>
              <a:gd name="connsiteY29777" fmla="*/ 2428974 h 7458372"/>
              <a:gd name="connsiteX29778" fmla="*/ 2654425 w 10505529"/>
              <a:gd name="connsiteY29778" fmla="*/ 2423515 h 7458372"/>
              <a:gd name="connsiteX29779" fmla="*/ 2653495 w 10505529"/>
              <a:gd name="connsiteY29779" fmla="*/ 2418324 h 7458372"/>
              <a:gd name="connsiteX29780" fmla="*/ 2650832 w 10505529"/>
              <a:gd name="connsiteY29780" fmla="*/ 2414065 h 7458372"/>
              <a:gd name="connsiteX29781" fmla="*/ 2646839 w 10505529"/>
              <a:gd name="connsiteY29781" fmla="*/ 2411402 h 7458372"/>
              <a:gd name="connsiteX29782" fmla="*/ 2641779 w 10505529"/>
              <a:gd name="connsiteY29782" fmla="*/ 2410471 h 7458372"/>
              <a:gd name="connsiteX29783" fmla="*/ 2424127 w 10505529"/>
              <a:gd name="connsiteY29783" fmla="*/ 2410471 h 7458372"/>
              <a:gd name="connsiteX29784" fmla="*/ 2414144 w 10505529"/>
              <a:gd name="connsiteY29784" fmla="*/ 2414065 h 7458372"/>
              <a:gd name="connsiteX29785" fmla="*/ 2410550 w 10505529"/>
              <a:gd name="connsiteY29785" fmla="*/ 2423515 h 7458372"/>
              <a:gd name="connsiteX29786" fmla="*/ 2414144 w 10505529"/>
              <a:gd name="connsiteY29786" fmla="*/ 2432967 h 7458372"/>
              <a:gd name="connsiteX29787" fmla="*/ 2424127 w 10505529"/>
              <a:gd name="connsiteY29787" fmla="*/ 2436428 h 7458372"/>
              <a:gd name="connsiteX29788" fmla="*/ 2429453 w 10505529"/>
              <a:gd name="connsiteY29788" fmla="*/ 2435496 h 7458372"/>
              <a:gd name="connsiteX29789" fmla="*/ 2433179 w 10505529"/>
              <a:gd name="connsiteY29789" fmla="*/ 2433101 h 7458372"/>
              <a:gd name="connsiteX29790" fmla="*/ 2435843 w 10505529"/>
              <a:gd name="connsiteY29790" fmla="*/ 2428974 h 7458372"/>
              <a:gd name="connsiteX29791" fmla="*/ 2436774 w 10505529"/>
              <a:gd name="connsiteY29791" fmla="*/ 2423515 h 7458372"/>
              <a:gd name="connsiteX29792" fmla="*/ 2435843 w 10505529"/>
              <a:gd name="connsiteY29792" fmla="*/ 2418324 h 7458372"/>
              <a:gd name="connsiteX29793" fmla="*/ 2433179 w 10505529"/>
              <a:gd name="connsiteY29793" fmla="*/ 2414065 h 7458372"/>
              <a:gd name="connsiteX29794" fmla="*/ 2429186 w 10505529"/>
              <a:gd name="connsiteY29794" fmla="*/ 2411402 h 7458372"/>
              <a:gd name="connsiteX29795" fmla="*/ 2424127 w 10505529"/>
              <a:gd name="connsiteY29795" fmla="*/ 2410471 h 7458372"/>
              <a:gd name="connsiteX29796" fmla="*/ 2206475 w 10505529"/>
              <a:gd name="connsiteY29796" fmla="*/ 2410471 h 7458372"/>
              <a:gd name="connsiteX29797" fmla="*/ 2196492 w 10505529"/>
              <a:gd name="connsiteY29797" fmla="*/ 2414065 h 7458372"/>
              <a:gd name="connsiteX29798" fmla="*/ 2192898 w 10505529"/>
              <a:gd name="connsiteY29798" fmla="*/ 2423515 h 7458372"/>
              <a:gd name="connsiteX29799" fmla="*/ 2196492 w 10505529"/>
              <a:gd name="connsiteY29799" fmla="*/ 2432967 h 7458372"/>
              <a:gd name="connsiteX29800" fmla="*/ 2206475 w 10505529"/>
              <a:gd name="connsiteY29800" fmla="*/ 2436428 h 7458372"/>
              <a:gd name="connsiteX29801" fmla="*/ 2211800 w 10505529"/>
              <a:gd name="connsiteY29801" fmla="*/ 2435496 h 7458372"/>
              <a:gd name="connsiteX29802" fmla="*/ 2215527 w 10505529"/>
              <a:gd name="connsiteY29802" fmla="*/ 2433101 h 7458372"/>
              <a:gd name="connsiteX29803" fmla="*/ 2218190 w 10505529"/>
              <a:gd name="connsiteY29803" fmla="*/ 2428974 h 7458372"/>
              <a:gd name="connsiteX29804" fmla="*/ 2219121 w 10505529"/>
              <a:gd name="connsiteY29804" fmla="*/ 2423515 h 7458372"/>
              <a:gd name="connsiteX29805" fmla="*/ 2218190 w 10505529"/>
              <a:gd name="connsiteY29805" fmla="*/ 2418324 h 7458372"/>
              <a:gd name="connsiteX29806" fmla="*/ 2215527 w 10505529"/>
              <a:gd name="connsiteY29806" fmla="*/ 2414065 h 7458372"/>
              <a:gd name="connsiteX29807" fmla="*/ 2211534 w 10505529"/>
              <a:gd name="connsiteY29807" fmla="*/ 2411402 h 7458372"/>
              <a:gd name="connsiteX29808" fmla="*/ 2206475 w 10505529"/>
              <a:gd name="connsiteY29808" fmla="*/ 2410471 h 7458372"/>
              <a:gd name="connsiteX29809" fmla="*/ 1988956 w 10505529"/>
              <a:gd name="connsiteY29809" fmla="*/ 2410471 h 7458372"/>
              <a:gd name="connsiteX29810" fmla="*/ 1978973 w 10505529"/>
              <a:gd name="connsiteY29810" fmla="*/ 2414065 h 7458372"/>
              <a:gd name="connsiteX29811" fmla="*/ 1975379 w 10505529"/>
              <a:gd name="connsiteY29811" fmla="*/ 2423515 h 7458372"/>
              <a:gd name="connsiteX29812" fmla="*/ 1978973 w 10505529"/>
              <a:gd name="connsiteY29812" fmla="*/ 2432967 h 7458372"/>
              <a:gd name="connsiteX29813" fmla="*/ 1988956 w 10505529"/>
              <a:gd name="connsiteY29813" fmla="*/ 2436428 h 7458372"/>
              <a:gd name="connsiteX29814" fmla="*/ 1994281 w 10505529"/>
              <a:gd name="connsiteY29814" fmla="*/ 2435496 h 7458372"/>
              <a:gd name="connsiteX29815" fmla="*/ 1998008 w 10505529"/>
              <a:gd name="connsiteY29815" fmla="*/ 2433101 h 7458372"/>
              <a:gd name="connsiteX29816" fmla="*/ 2000671 w 10505529"/>
              <a:gd name="connsiteY29816" fmla="*/ 2428974 h 7458372"/>
              <a:gd name="connsiteX29817" fmla="*/ 2001602 w 10505529"/>
              <a:gd name="connsiteY29817" fmla="*/ 2423515 h 7458372"/>
              <a:gd name="connsiteX29818" fmla="*/ 2000671 w 10505529"/>
              <a:gd name="connsiteY29818" fmla="*/ 2418324 h 7458372"/>
              <a:gd name="connsiteX29819" fmla="*/ 1998008 w 10505529"/>
              <a:gd name="connsiteY29819" fmla="*/ 2414065 h 7458372"/>
              <a:gd name="connsiteX29820" fmla="*/ 1994015 w 10505529"/>
              <a:gd name="connsiteY29820" fmla="*/ 2411402 h 7458372"/>
              <a:gd name="connsiteX29821" fmla="*/ 1988956 w 10505529"/>
              <a:gd name="connsiteY29821" fmla="*/ 2410471 h 7458372"/>
              <a:gd name="connsiteX29822" fmla="*/ 1771316 w 10505529"/>
              <a:gd name="connsiteY29822" fmla="*/ 2410471 h 7458372"/>
              <a:gd name="connsiteX29823" fmla="*/ 1761333 w 10505529"/>
              <a:gd name="connsiteY29823" fmla="*/ 2414065 h 7458372"/>
              <a:gd name="connsiteX29824" fmla="*/ 1757739 w 10505529"/>
              <a:gd name="connsiteY29824" fmla="*/ 2423515 h 7458372"/>
              <a:gd name="connsiteX29825" fmla="*/ 1761333 w 10505529"/>
              <a:gd name="connsiteY29825" fmla="*/ 2432967 h 7458372"/>
              <a:gd name="connsiteX29826" fmla="*/ 1771316 w 10505529"/>
              <a:gd name="connsiteY29826" fmla="*/ 2436428 h 7458372"/>
              <a:gd name="connsiteX29827" fmla="*/ 1776641 w 10505529"/>
              <a:gd name="connsiteY29827" fmla="*/ 2435496 h 7458372"/>
              <a:gd name="connsiteX29828" fmla="*/ 1780368 w 10505529"/>
              <a:gd name="connsiteY29828" fmla="*/ 2433101 h 7458372"/>
              <a:gd name="connsiteX29829" fmla="*/ 1783031 w 10505529"/>
              <a:gd name="connsiteY29829" fmla="*/ 2428974 h 7458372"/>
              <a:gd name="connsiteX29830" fmla="*/ 1784096 w 10505529"/>
              <a:gd name="connsiteY29830" fmla="*/ 2423515 h 7458372"/>
              <a:gd name="connsiteX29831" fmla="*/ 1783031 w 10505529"/>
              <a:gd name="connsiteY29831" fmla="*/ 2418324 h 7458372"/>
              <a:gd name="connsiteX29832" fmla="*/ 1780368 w 10505529"/>
              <a:gd name="connsiteY29832" fmla="*/ 2414065 h 7458372"/>
              <a:gd name="connsiteX29833" fmla="*/ 1776375 w 10505529"/>
              <a:gd name="connsiteY29833" fmla="*/ 2411402 h 7458372"/>
              <a:gd name="connsiteX29834" fmla="*/ 1771316 w 10505529"/>
              <a:gd name="connsiteY29834" fmla="*/ 2410471 h 7458372"/>
              <a:gd name="connsiteX29835" fmla="*/ 1553674 w 10505529"/>
              <a:gd name="connsiteY29835" fmla="*/ 2410471 h 7458372"/>
              <a:gd name="connsiteX29836" fmla="*/ 1543691 w 10505529"/>
              <a:gd name="connsiteY29836" fmla="*/ 2414065 h 7458372"/>
              <a:gd name="connsiteX29837" fmla="*/ 1540097 w 10505529"/>
              <a:gd name="connsiteY29837" fmla="*/ 2423515 h 7458372"/>
              <a:gd name="connsiteX29838" fmla="*/ 1543691 w 10505529"/>
              <a:gd name="connsiteY29838" fmla="*/ 2432967 h 7458372"/>
              <a:gd name="connsiteX29839" fmla="*/ 1553674 w 10505529"/>
              <a:gd name="connsiteY29839" fmla="*/ 2436428 h 7458372"/>
              <a:gd name="connsiteX29840" fmla="*/ 1558999 w 10505529"/>
              <a:gd name="connsiteY29840" fmla="*/ 2435496 h 7458372"/>
              <a:gd name="connsiteX29841" fmla="*/ 1562726 w 10505529"/>
              <a:gd name="connsiteY29841" fmla="*/ 2433101 h 7458372"/>
              <a:gd name="connsiteX29842" fmla="*/ 1565389 w 10505529"/>
              <a:gd name="connsiteY29842" fmla="*/ 2428974 h 7458372"/>
              <a:gd name="connsiteX29843" fmla="*/ 1566454 w 10505529"/>
              <a:gd name="connsiteY29843" fmla="*/ 2423515 h 7458372"/>
              <a:gd name="connsiteX29844" fmla="*/ 1565389 w 10505529"/>
              <a:gd name="connsiteY29844" fmla="*/ 2418324 h 7458372"/>
              <a:gd name="connsiteX29845" fmla="*/ 1562726 w 10505529"/>
              <a:gd name="connsiteY29845" fmla="*/ 2414065 h 7458372"/>
              <a:gd name="connsiteX29846" fmla="*/ 1558733 w 10505529"/>
              <a:gd name="connsiteY29846" fmla="*/ 2411402 h 7458372"/>
              <a:gd name="connsiteX29847" fmla="*/ 1553674 w 10505529"/>
              <a:gd name="connsiteY29847" fmla="*/ 2410471 h 7458372"/>
              <a:gd name="connsiteX29848" fmla="*/ 1336029 w 10505529"/>
              <a:gd name="connsiteY29848" fmla="*/ 2410471 h 7458372"/>
              <a:gd name="connsiteX29849" fmla="*/ 1326047 w 10505529"/>
              <a:gd name="connsiteY29849" fmla="*/ 2414065 h 7458372"/>
              <a:gd name="connsiteX29850" fmla="*/ 1322452 w 10505529"/>
              <a:gd name="connsiteY29850" fmla="*/ 2423515 h 7458372"/>
              <a:gd name="connsiteX29851" fmla="*/ 1326047 w 10505529"/>
              <a:gd name="connsiteY29851" fmla="*/ 2432967 h 7458372"/>
              <a:gd name="connsiteX29852" fmla="*/ 1336029 w 10505529"/>
              <a:gd name="connsiteY29852" fmla="*/ 2436428 h 7458372"/>
              <a:gd name="connsiteX29853" fmla="*/ 1341356 w 10505529"/>
              <a:gd name="connsiteY29853" fmla="*/ 2435496 h 7458372"/>
              <a:gd name="connsiteX29854" fmla="*/ 1345083 w 10505529"/>
              <a:gd name="connsiteY29854" fmla="*/ 2433101 h 7458372"/>
              <a:gd name="connsiteX29855" fmla="*/ 1347746 w 10505529"/>
              <a:gd name="connsiteY29855" fmla="*/ 2428974 h 7458372"/>
              <a:gd name="connsiteX29856" fmla="*/ 1348811 w 10505529"/>
              <a:gd name="connsiteY29856" fmla="*/ 2423515 h 7458372"/>
              <a:gd name="connsiteX29857" fmla="*/ 1347746 w 10505529"/>
              <a:gd name="connsiteY29857" fmla="*/ 2418324 h 7458372"/>
              <a:gd name="connsiteX29858" fmla="*/ 1345083 w 10505529"/>
              <a:gd name="connsiteY29858" fmla="*/ 2414065 h 7458372"/>
              <a:gd name="connsiteX29859" fmla="*/ 1341089 w 10505529"/>
              <a:gd name="connsiteY29859" fmla="*/ 2411402 h 7458372"/>
              <a:gd name="connsiteX29860" fmla="*/ 1336029 w 10505529"/>
              <a:gd name="connsiteY29860" fmla="*/ 2410471 h 7458372"/>
              <a:gd name="connsiteX29861" fmla="*/ 1118518 w 10505529"/>
              <a:gd name="connsiteY29861" fmla="*/ 2410471 h 7458372"/>
              <a:gd name="connsiteX29862" fmla="*/ 1108534 w 10505529"/>
              <a:gd name="connsiteY29862" fmla="*/ 2414065 h 7458372"/>
              <a:gd name="connsiteX29863" fmla="*/ 1104807 w 10505529"/>
              <a:gd name="connsiteY29863" fmla="*/ 2423515 h 7458372"/>
              <a:gd name="connsiteX29864" fmla="*/ 1108401 w 10505529"/>
              <a:gd name="connsiteY29864" fmla="*/ 2432967 h 7458372"/>
              <a:gd name="connsiteX29865" fmla="*/ 1118385 w 10505529"/>
              <a:gd name="connsiteY29865" fmla="*/ 2436428 h 7458372"/>
              <a:gd name="connsiteX29866" fmla="*/ 1123842 w 10505529"/>
              <a:gd name="connsiteY29866" fmla="*/ 2435496 h 7458372"/>
              <a:gd name="connsiteX29867" fmla="*/ 1127570 w 10505529"/>
              <a:gd name="connsiteY29867" fmla="*/ 2433101 h 7458372"/>
              <a:gd name="connsiteX29868" fmla="*/ 1130234 w 10505529"/>
              <a:gd name="connsiteY29868" fmla="*/ 2428974 h 7458372"/>
              <a:gd name="connsiteX29869" fmla="*/ 1131299 w 10505529"/>
              <a:gd name="connsiteY29869" fmla="*/ 2423515 h 7458372"/>
              <a:gd name="connsiteX29870" fmla="*/ 1130234 w 10505529"/>
              <a:gd name="connsiteY29870" fmla="*/ 2418324 h 7458372"/>
              <a:gd name="connsiteX29871" fmla="*/ 1127570 w 10505529"/>
              <a:gd name="connsiteY29871" fmla="*/ 2414065 h 7458372"/>
              <a:gd name="connsiteX29872" fmla="*/ 1123577 w 10505529"/>
              <a:gd name="connsiteY29872" fmla="*/ 2411402 h 7458372"/>
              <a:gd name="connsiteX29873" fmla="*/ 1118518 w 10505529"/>
              <a:gd name="connsiteY29873" fmla="*/ 2410471 h 7458372"/>
              <a:gd name="connsiteX29874" fmla="*/ 901007 w 10505529"/>
              <a:gd name="connsiteY29874" fmla="*/ 2410471 h 7458372"/>
              <a:gd name="connsiteX29875" fmla="*/ 891022 w 10505529"/>
              <a:gd name="connsiteY29875" fmla="*/ 2414065 h 7458372"/>
              <a:gd name="connsiteX29876" fmla="*/ 887295 w 10505529"/>
              <a:gd name="connsiteY29876" fmla="*/ 2423515 h 7458372"/>
              <a:gd name="connsiteX29877" fmla="*/ 890889 w 10505529"/>
              <a:gd name="connsiteY29877" fmla="*/ 2432967 h 7458372"/>
              <a:gd name="connsiteX29878" fmla="*/ 900873 w 10505529"/>
              <a:gd name="connsiteY29878" fmla="*/ 2436428 h 7458372"/>
              <a:gd name="connsiteX29879" fmla="*/ 906331 w 10505529"/>
              <a:gd name="connsiteY29879" fmla="*/ 2435496 h 7458372"/>
              <a:gd name="connsiteX29880" fmla="*/ 910059 w 10505529"/>
              <a:gd name="connsiteY29880" fmla="*/ 2433101 h 7458372"/>
              <a:gd name="connsiteX29881" fmla="*/ 912721 w 10505529"/>
              <a:gd name="connsiteY29881" fmla="*/ 2428974 h 7458372"/>
              <a:gd name="connsiteX29882" fmla="*/ 913786 w 10505529"/>
              <a:gd name="connsiteY29882" fmla="*/ 2423515 h 7458372"/>
              <a:gd name="connsiteX29883" fmla="*/ 912721 w 10505529"/>
              <a:gd name="connsiteY29883" fmla="*/ 2418324 h 7458372"/>
              <a:gd name="connsiteX29884" fmla="*/ 910059 w 10505529"/>
              <a:gd name="connsiteY29884" fmla="*/ 2414065 h 7458372"/>
              <a:gd name="connsiteX29885" fmla="*/ 906065 w 10505529"/>
              <a:gd name="connsiteY29885" fmla="*/ 2411402 h 7458372"/>
              <a:gd name="connsiteX29886" fmla="*/ 901007 w 10505529"/>
              <a:gd name="connsiteY29886" fmla="*/ 2410471 h 7458372"/>
              <a:gd name="connsiteX29887" fmla="*/ 683230 w 10505529"/>
              <a:gd name="connsiteY29887" fmla="*/ 2410471 h 7458372"/>
              <a:gd name="connsiteX29888" fmla="*/ 673247 w 10505529"/>
              <a:gd name="connsiteY29888" fmla="*/ 2414065 h 7458372"/>
              <a:gd name="connsiteX29889" fmla="*/ 669653 w 10505529"/>
              <a:gd name="connsiteY29889" fmla="*/ 2423515 h 7458372"/>
              <a:gd name="connsiteX29890" fmla="*/ 673247 w 10505529"/>
              <a:gd name="connsiteY29890" fmla="*/ 2432967 h 7458372"/>
              <a:gd name="connsiteX29891" fmla="*/ 683230 w 10505529"/>
              <a:gd name="connsiteY29891" fmla="*/ 2436428 h 7458372"/>
              <a:gd name="connsiteX29892" fmla="*/ 688555 w 10505529"/>
              <a:gd name="connsiteY29892" fmla="*/ 2435496 h 7458372"/>
              <a:gd name="connsiteX29893" fmla="*/ 692282 w 10505529"/>
              <a:gd name="connsiteY29893" fmla="*/ 2433101 h 7458372"/>
              <a:gd name="connsiteX29894" fmla="*/ 694945 w 10505529"/>
              <a:gd name="connsiteY29894" fmla="*/ 2428974 h 7458372"/>
              <a:gd name="connsiteX29895" fmla="*/ 696010 w 10505529"/>
              <a:gd name="connsiteY29895" fmla="*/ 2423515 h 7458372"/>
              <a:gd name="connsiteX29896" fmla="*/ 694945 w 10505529"/>
              <a:gd name="connsiteY29896" fmla="*/ 2418324 h 7458372"/>
              <a:gd name="connsiteX29897" fmla="*/ 692282 w 10505529"/>
              <a:gd name="connsiteY29897" fmla="*/ 2414065 h 7458372"/>
              <a:gd name="connsiteX29898" fmla="*/ 688289 w 10505529"/>
              <a:gd name="connsiteY29898" fmla="*/ 2411402 h 7458372"/>
              <a:gd name="connsiteX29899" fmla="*/ 683230 w 10505529"/>
              <a:gd name="connsiteY29899" fmla="*/ 2410471 h 7458372"/>
              <a:gd name="connsiteX29900" fmla="*/ 465586 w 10505529"/>
              <a:gd name="connsiteY29900" fmla="*/ 2410471 h 7458372"/>
              <a:gd name="connsiteX29901" fmla="*/ 455603 w 10505529"/>
              <a:gd name="connsiteY29901" fmla="*/ 2414065 h 7458372"/>
              <a:gd name="connsiteX29902" fmla="*/ 452009 w 10505529"/>
              <a:gd name="connsiteY29902" fmla="*/ 2423515 h 7458372"/>
              <a:gd name="connsiteX29903" fmla="*/ 455603 w 10505529"/>
              <a:gd name="connsiteY29903" fmla="*/ 2432967 h 7458372"/>
              <a:gd name="connsiteX29904" fmla="*/ 465586 w 10505529"/>
              <a:gd name="connsiteY29904" fmla="*/ 2436428 h 7458372"/>
              <a:gd name="connsiteX29905" fmla="*/ 470912 w 10505529"/>
              <a:gd name="connsiteY29905" fmla="*/ 2435496 h 7458372"/>
              <a:gd name="connsiteX29906" fmla="*/ 474639 w 10505529"/>
              <a:gd name="connsiteY29906" fmla="*/ 2433101 h 7458372"/>
              <a:gd name="connsiteX29907" fmla="*/ 477302 w 10505529"/>
              <a:gd name="connsiteY29907" fmla="*/ 2428974 h 7458372"/>
              <a:gd name="connsiteX29908" fmla="*/ 478367 w 10505529"/>
              <a:gd name="connsiteY29908" fmla="*/ 2423515 h 7458372"/>
              <a:gd name="connsiteX29909" fmla="*/ 477302 w 10505529"/>
              <a:gd name="connsiteY29909" fmla="*/ 2418324 h 7458372"/>
              <a:gd name="connsiteX29910" fmla="*/ 474639 w 10505529"/>
              <a:gd name="connsiteY29910" fmla="*/ 2414065 h 7458372"/>
              <a:gd name="connsiteX29911" fmla="*/ 470646 w 10505529"/>
              <a:gd name="connsiteY29911" fmla="*/ 2411402 h 7458372"/>
              <a:gd name="connsiteX29912" fmla="*/ 465586 w 10505529"/>
              <a:gd name="connsiteY29912" fmla="*/ 2410471 h 7458372"/>
              <a:gd name="connsiteX29913" fmla="*/ 247943 w 10505529"/>
              <a:gd name="connsiteY29913" fmla="*/ 2410471 h 7458372"/>
              <a:gd name="connsiteX29914" fmla="*/ 237960 w 10505529"/>
              <a:gd name="connsiteY29914" fmla="*/ 2414065 h 7458372"/>
              <a:gd name="connsiteX29915" fmla="*/ 234367 w 10505529"/>
              <a:gd name="connsiteY29915" fmla="*/ 2423515 h 7458372"/>
              <a:gd name="connsiteX29916" fmla="*/ 237960 w 10505529"/>
              <a:gd name="connsiteY29916" fmla="*/ 2432967 h 7458372"/>
              <a:gd name="connsiteX29917" fmla="*/ 247943 w 10505529"/>
              <a:gd name="connsiteY29917" fmla="*/ 2436428 h 7458372"/>
              <a:gd name="connsiteX29918" fmla="*/ 253268 w 10505529"/>
              <a:gd name="connsiteY29918" fmla="*/ 2435496 h 7458372"/>
              <a:gd name="connsiteX29919" fmla="*/ 256995 w 10505529"/>
              <a:gd name="connsiteY29919" fmla="*/ 2433101 h 7458372"/>
              <a:gd name="connsiteX29920" fmla="*/ 259658 w 10505529"/>
              <a:gd name="connsiteY29920" fmla="*/ 2428974 h 7458372"/>
              <a:gd name="connsiteX29921" fmla="*/ 260723 w 10505529"/>
              <a:gd name="connsiteY29921" fmla="*/ 2423515 h 7458372"/>
              <a:gd name="connsiteX29922" fmla="*/ 259658 w 10505529"/>
              <a:gd name="connsiteY29922" fmla="*/ 2418324 h 7458372"/>
              <a:gd name="connsiteX29923" fmla="*/ 256995 w 10505529"/>
              <a:gd name="connsiteY29923" fmla="*/ 2414065 h 7458372"/>
              <a:gd name="connsiteX29924" fmla="*/ 253002 w 10505529"/>
              <a:gd name="connsiteY29924" fmla="*/ 2411402 h 7458372"/>
              <a:gd name="connsiteX29925" fmla="*/ 247943 w 10505529"/>
              <a:gd name="connsiteY29925" fmla="*/ 2410471 h 7458372"/>
              <a:gd name="connsiteX29926" fmla="*/ 30300 w 10505529"/>
              <a:gd name="connsiteY29926" fmla="*/ 2410471 h 7458372"/>
              <a:gd name="connsiteX29927" fmla="*/ 20317 w 10505529"/>
              <a:gd name="connsiteY29927" fmla="*/ 2414065 h 7458372"/>
              <a:gd name="connsiteX29928" fmla="*/ 16723 w 10505529"/>
              <a:gd name="connsiteY29928" fmla="*/ 2423515 h 7458372"/>
              <a:gd name="connsiteX29929" fmla="*/ 20317 w 10505529"/>
              <a:gd name="connsiteY29929" fmla="*/ 2432967 h 7458372"/>
              <a:gd name="connsiteX29930" fmla="*/ 30300 w 10505529"/>
              <a:gd name="connsiteY29930" fmla="*/ 2436428 h 7458372"/>
              <a:gd name="connsiteX29931" fmla="*/ 35625 w 10505529"/>
              <a:gd name="connsiteY29931" fmla="*/ 2435496 h 7458372"/>
              <a:gd name="connsiteX29932" fmla="*/ 39352 w 10505529"/>
              <a:gd name="connsiteY29932" fmla="*/ 2433101 h 7458372"/>
              <a:gd name="connsiteX29933" fmla="*/ 42015 w 10505529"/>
              <a:gd name="connsiteY29933" fmla="*/ 2428974 h 7458372"/>
              <a:gd name="connsiteX29934" fmla="*/ 42946 w 10505529"/>
              <a:gd name="connsiteY29934" fmla="*/ 2423515 h 7458372"/>
              <a:gd name="connsiteX29935" fmla="*/ 42015 w 10505529"/>
              <a:gd name="connsiteY29935" fmla="*/ 2418324 h 7458372"/>
              <a:gd name="connsiteX29936" fmla="*/ 39352 w 10505529"/>
              <a:gd name="connsiteY29936" fmla="*/ 2414065 h 7458372"/>
              <a:gd name="connsiteX29937" fmla="*/ 35359 w 10505529"/>
              <a:gd name="connsiteY29937" fmla="*/ 2411402 h 7458372"/>
              <a:gd name="connsiteX29938" fmla="*/ 30300 w 10505529"/>
              <a:gd name="connsiteY29938" fmla="*/ 2410471 h 7458372"/>
              <a:gd name="connsiteX29939" fmla="*/ 10475977 w 10505529"/>
              <a:gd name="connsiteY29939" fmla="*/ 2393830 h 7458372"/>
              <a:gd name="connsiteX29940" fmla="*/ 10487824 w 10505529"/>
              <a:gd name="connsiteY29940" fmla="*/ 2396493 h 7458372"/>
              <a:gd name="connsiteX29941" fmla="*/ 10497143 w 10505529"/>
              <a:gd name="connsiteY29941" fmla="*/ 2402882 h 7458372"/>
              <a:gd name="connsiteX29942" fmla="*/ 10503266 w 10505529"/>
              <a:gd name="connsiteY29942" fmla="*/ 2412201 h 7458372"/>
              <a:gd name="connsiteX29943" fmla="*/ 10505529 w 10505529"/>
              <a:gd name="connsiteY29943" fmla="*/ 2423650 h 7458372"/>
              <a:gd name="connsiteX29944" fmla="*/ 10503266 w 10505529"/>
              <a:gd name="connsiteY29944" fmla="*/ 2435363 h 7458372"/>
              <a:gd name="connsiteX29945" fmla="*/ 10497143 w 10505529"/>
              <a:gd name="connsiteY29945" fmla="*/ 2444681 h 7458372"/>
              <a:gd name="connsiteX29946" fmla="*/ 10487824 w 10505529"/>
              <a:gd name="connsiteY29946" fmla="*/ 2450938 h 7458372"/>
              <a:gd name="connsiteX29947" fmla="*/ 10475977 w 10505529"/>
              <a:gd name="connsiteY29947" fmla="*/ 2453201 h 7458372"/>
              <a:gd name="connsiteX29948" fmla="*/ 10454145 w 10505529"/>
              <a:gd name="connsiteY29948" fmla="*/ 2444681 h 7458372"/>
              <a:gd name="connsiteX29949" fmla="*/ 10445759 w 10505529"/>
              <a:gd name="connsiteY29949" fmla="*/ 2423515 h 7458372"/>
              <a:gd name="connsiteX29950" fmla="*/ 10454145 w 10505529"/>
              <a:gd name="connsiteY29950" fmla="*/ 2402482 h 7458372"/>
              <a:gd name="connsiteX29951" fmla="*/ 10475977 w 10505529"/>
              <a:gd name="connsiteY29951" fmla="*/ 2393830 h 7458372"/>
              <a:gd name="connsiteX29952" fmla="*/ 10258466 w 10505529"/>
              <a:gd name="connsiteY29952" fmla="*/ 2393830 h 7458372"/>
              <a:gd name="connsiteX29953" fmla="*/ 10270313 w 10505529"/>
              <a:gd name="connsiteY29953" fmla="*/ 2396493 h 7458372"/>
              <a:gd name="connsiteX29954" fmla="*/ 10279631 w 10505529"/>
              <a:gd name="connsiteY29954" fmla="*/ 2402882 h 7458372"/>
              <a:gd name="connsiteX29955" fmla="*/ 10285754 w 10505529"/>
              <a:gd name="connsiteY29955" fmla="*/ 2412201 h 7458372"/>
              <a:gd name="connsiteX29956" fmla="*/ 10288017 w 10505529"/>
              <a:gd name="connsiteY29956" fmla="*/ 2423650 h 7458372"/>
              <a:gd name="connsiteX29957" fmla="*/ 10285754 w 10505529"/>
              <a:gd name="connsiteY29957" fmla="*/ 2435363 h 7458372"/>
              <a:gd name="connsiteX29958" fmla="*/ 10279631 w 10505529"/>
              <a:gd name="connsiteY29958" fmla="*/ 2444681 h 7458372"/>
              <a:gd name="connsiteX29959" fmla="*/ 10270313 w 10505529"/>
              <a:gd name="connsiteY29959" fmla="*/ 2450938 h 7458372"/>
              <a:gd name="connsiteX29960" fmla="*/ 10258466 w 10505529"/>
              <a:gd name="connsiteY29960" fmla="*/ 2453201 h 7458372"/>
              <a:gd name="connsiteX29961" fmla="*/ 10236633 w 10505529"/>
              <a:gd name="connsiteY29961" fmla="*/ 2444681 h 7458372"/>
              <a:gd name="connsiteX29962" fmla="*/ 10228247 w 10505529"/>
              <a:gd name="connsiteY29962" fmla="*/ 2423515 h 7458372"/>
              <a:gd name="connsiteX29963" fmla="*/ 10236633 w 10505529"/>
              <a:gd name="connsiteY29963" fmla="*/ 2402482 h 7458372"/>
              <a:gd name="connsiteX29964" fmla="*/ 10258466 w 10505529"/>
              <a:gd name="connsiteY29964" fmla="*/ 2393830 h 7458372"/>
              <a:gd name="connsiteX29965" fmla="*/ 10040820 w 10505529"/>
              <a:gd name="connsiteY29965" fmla="*/ 2393830 h 7458372"/>
              <a:gd name="connsiteX29966" fmla="*/ 10052534 w 10505529"/>
              <a:gd name="connsiteY29966" fmla="*/ 2396493 h 7458372"/>
              <a:gd name="connsiteX29967" fmla="*/ 10061852 w 10505529"/>
              <a:gd name="connsiteY29967" fmla="*/ 2402882 h 7458372"/>
              <a:gd name="connsiteX29968" fmla="*/ 10067976 w 10505529"/>
              <a:gd name="connsiteY29968" fmla="*/ 2412201 h 7458372"/>
              <a:gd name="connsiteX29969" fmla="*/ 10070239 w 10505529"/>
              <a:gd name="connsiteY29969" fmla="*/ 2423650 h 7458372"/>
              <a:gd name="connsiteX29970" fmla="*/ 10067976 w 10505529"/>
              <a:gd name="connsiteY29970" fmla="*/ 2435363 h 7458372"/>
              <a:gd name="connsiteX29971" fmla="*/ 10061852 w 10505529"/>
              <a:gd name="connsiteY29971" fmla="*/ 2444681 h 7458372"/>
              <a:gd name="connsiteX29972" fmla="*/ 10052534 w 10505529"/>
              <a:gd name="connsiteY29972" fmla="*/ 2450938 h 7458372"/>
              <a:gd name="connsiteX29973" fmla="*/ 10040820 w 10505529"/>
              <a:gd name="connsiteY29973" fmla="*/ 2453201 h 7458372"/>
              <a:gd name="connsiteX29974" fmla="*/ 10018988 w 10505529"/>
              <a:gd name="connsiteY29974" fmla="*/ 2444681 h 7458372"/>
              <a:gd name="connsiteX29975" fmla="*/ 10010602 w 10505529"/>
              <a:gd name="connsiteY29975" fmla="*/ 2423515 h 7458372"/>
              <a:gd name="connsiteX29976" fmla="*/ 10018988 w 10505529"/>
              <a:gd name="connsiteY29976" fmla="*/ 2402482 h 7458372"/>
              <a:gd name="connsiteX29977" fmla="*/ 10040820 w 10505529"/>
              <a:gd name="connsiteY29977" fmla="*/ 2393830 h 7458372"/>
              <a:gd name="connsiteX29978" fmla="*/ 9823176 w 10505529"/>
              <a:gd name="connsiteY29978" fmla="*/ 2393830 h 7458372"/>
              <a:gd name="connsiteX29979" fmla="*/ 9834890 w 10505529"/>
              <a:gd name="connsiteY29979" fmla="*/ 2396493 h 7458372"/>
              <a:gd name="connsiteX29980" fmla="*/ 9844208 w 10505529"/>
              <a:gd name="connsiteY29980" fmla="*/ 2402882 h 7458372"/>
              <a:gd name="connsiteX29981" fmla="*/ 9850331 w 10505529"/>
              <a:gd name="connsiteY29981" fmla="*/ 2412201 h 7458372"/>
              <a:gd name="connsiteX29982" fmla="*/ 9852595 w 10505529"/>
              <a:gd name="connsiteY29982" fmla="*/ 2423650 h 7458372"/>
              <a:gd name="connsiteX29983" fmla="*/ 9850331 w 10505529"/>
              <a:gd name="connsiteY29983" fmla="*/ 2435363 h 7458372"/>
              <a:gd name="connsiteX29984" fmla="*/ 9844208 w 10505529"/>
              <a:gd name="connsiteY29984" fmla="*/ 2444681 h 7458372"/>
              <a:gd name="connsiteX29985" fmla="*/ 9834890 w 10505529"/>
              <a:gd name="connsiteY29985" fmla="*/ 2450938 h 7458372"/>
              <a:gd name="connsiteX29986" fmla="*/ 9823176 w 10505529"/>
              <a:gd name="connsiteY29986" fmla="*/ 2453201 h 7458372"/>
              <a:gd name="connsiteX29987" fmla="*/ 9801343 w 10505529"/>
              <a:gd name="connsiteY29987" fmla="*/ 2444681 h 7458372"/>
              <a:gd name="connsiteX29988" fmla="*/ 9792957 w 10505529"/>
              <a:gd name="connsiteY29988" fmla="*/ 2423515 h 7458372"/>
              <a:gd name="connsiteX29989" fmla="*/ 9801343 w 10505529"/>
              <a:gd name="connsiteY29989" fmla="*/ 2402482 h 7458372"/>
              <a:gd name="connsiteX29990" fmla="*/ 9823176 w 10505529"/>
              <a:gd name="connsiteY29990" fmla="*/ 2393830 h 7458372"/>
              <a:gd name="connsiteX29991" fmla="*/ 9605531 w 10505529"/>
              <a:gd name="connsiteY29991" fmla="*/ 2393830 h 7458372"/>
              <a:gd name="connsiteX29992" fmla="*/ 9617245 w 10505529"/>
              <a:gd name="connsiteY29992" fmla="*/ 2396493 h 7458372"/>
              <a:gd name="connsiteX29993" fmla="*/ 9626562 w 10505529"/>
              <a:gd name="connsiteY29993" fmla="*/ 2402882 h 7458372"/>
              <a:gd name="connsiteX29994" fmla="*/ 9632686 w 10505529"/>
              <a:gd name="connsiteY29994" fmla="*/ 2412201 h 7458372"/>
              <a:gd name="connsiteX29995" fmla="*/ 9634949 w 10505529"/>
              <a:gd name="connsiteY29995" fmla="*/ 2423650 h 7458372"/>
              <a:gd name="connsiteX29996" fmla="*/ 9632686 w 10505529"/>
              <a:gd name="connsiteY29996" fmla="*/ 2435363 h 7458372"/>
              <a:gd name="connsiteX29997" fmla="*/ 9626562 w 10505529"/>
              <a:gd name="connsiteY29997" fmla="*/ 2444681 h 7458372"/>
              <a:gd name="connsiteX29998" fmla="*/ 9617245 w 10505529"/>
              <a:gd name="connsiteY29998" fmla="*/ 2450938 h 7458372"/>
              <a:gd name="connsiteX29999" fmla="*/ 9605531 w 10505529"/>
              <a:gd name="connsiteY29999" fmla="*/ 2453201 h 7458372"/>
              <a:gd name="connsiteX30000" fmla="*/ 9583698 w 10505529"/>
              <a:gd name="connsiteY30000" fmla="*/ 2444681 h 7458372"/>
              <a:gd name="connsiteX30001" fmla="*/ 9575312 w 10505529"/>
              <a:gd name="connsiteY30001" fmla="*/ 2423515 h 7458372"/>
              <a:gd name="connsiteX30002" fmla="*/ 9583698 w 10505529"/>
              <a:gd name="connsiteY30002" fmla="*/ 2402482 h 7458372"/>
              <a:gd name="connsiteX30003" fmla="*/ 9605531 w 10505529"/>
              <a:gd name="connsiteY30003" fmla="*/ 2393830 h 7458372"/>
              <a:gd name="connsiteX30004" fmla="*/ 9387885 w 10505529"/>
              <a:gd name="connsiteY30004" fmla="*/ 2393830 h 7458372"/>
              <a:gd name="connsiteX30005" fmla="*/ 9399599 w 10505529"/>
              <a:gd name="connsiteY30005" fmla="*/ 2396493 h 7458372"/>
              <a:gd name="connsiteX30006" fmla="*/ 9408917 w 10505529"/>
              <a:gd name="connsiteY30006" fmla="*/ 2402882 h 7458372"/>
              <a:gd name="connsiteX30007" fmla="*/ 9415041 w 10505529"/>
              <a:gd name="connsiteY30007" fmla="*/ 2412201 h 7458372"/>
              <a:gd name="connsiteX30008" fmla="*/ 9417304 w 10505529"/>
              <a:gd name="connsiteY30008" fmla="*/ 2423650 h 7458372"/>
              <a:gd name="connsiteX30009" fmla="*/ 9415041 w 10505529"/>
              <a:gd name="connsiteY30009" fmla="*/ 2435363 h 7458372"/>
              <a:gd name="connsiteX30010" fmla="*/ 9408917 w 10505529"/>
              <a:gd name="connsiteY30010" fmla="*/ 2444681 h 7458372"/>
              <a:gd name="connsiteX30011" fmla="*/ 9399599 w 10505529"/>
              <a:gd name="connsiteY30011" fmla="*/ 2450938 h 7458372"/>
              <a:gd name="connsiteX30012" fmla="*/ 9387885 w 10505529"/>
              <a:gd name="connsiteY30012" fmla="*/ 2453201 h 7458372"/>
              <a:gd name="connsiteX30013" fmla="*/ 9366053 w 10505529"/>
              <a:gd name="connsiteY30013" fmla="*/ 2444681 h 7458372"/>
              <a:gd name="connsiteX30014" fmla="*/ 9357667 w 10505529"/>
              <a:gd name="connsiteY30014" fmla="*/ 2423515 h 7458372"/>
              <a:gd name="connsiteX30015" fmla="*/ 9366053 w 10505529"/>
              <a:gd name="connsiteY30015" fmla="*/ 2402482 h 7458372"/>
              <a:gd name="connsiteX30016" fmla="*/ 9387885 w 10505529"/>
              <a:gd name="connsiteY30016" fmla="*/ 2393830 h 7458372"/>
              <a:gd name="connsiteX30017" fmla="*/ 9170374 w 10505529"/>
              <a:gd name="connsiteY30017" fmla="*/ 2393830 h 7458372"/>
              <a:gd name="connsiteX30018" fmla="*/ 9182088 w 10505529"/>
              <a:gd name="connsiteY30018" fmla="*/ 2396493 h 7458372"/>
              <a:gd name="connsiteX30019" fmla="*/ 9191405 w 10505529"/>
              <a:gd name="connsiteY30019" fmla="*/ 2402882 h 7458372"/>
              <a:gd name="connsiteX30020" fmla="*/ 9197529 w 10505529"/>
              <a:gd name="connsiteY30020" fmla="*/ 2412201 h 7458372"/>
              <a:gd name="connsiteX30021" fmla="*/ 9199792 w 10505529"/>
              <a:gd name="connsiteY30021" fmla="*/ 2423650 h 7458372"/>
              <a:gd name="connsiteX30022" fmla="*/ 9197529 w 10505529"/>
              <a:gd name="connsiteY30022" fmla="*/ 2435363 h 7458372"/>
              <a:gd name="connsiteX30023" fmla="*/ 9191405 w 10505529"/>
              <a:gd name="connsiteY30023" fmla="*/ 2444681 h 7458372"/>
              <a:gd name="connsiteX30024" fmla="*/ 9182088 w 10505529"/>
              <a:gd name="connsiteY30024" fmla="*/ 2450938 h 7458372"/>
              <a:gd name="connsiteX30025" fmla="*/ 9170374 w 10505529"/>
              <a:gd name="connsiteY30025" fmla="*/ 2453201 h 7458372"/>
              <a:gd name="connsiteX30026" fmla="*/ 9148541 w 10505529"/>
              <a:gd name="connsiteY30026" fmla="*/ 2444681 h 7458372"/>
              <a:gd name="connsiteX30027" fmla="*/ 9140155 w 10505529"/>
              <a:gd name="connsiteY30027" fmla="*/ 2423515 h 7458372"/>
              <a:gd name="connsiteX30028" fmla="*/ 9148541 w 10505529"/>
              <a:gd name="connsiteY30028" fmla="*/ 2402482 h 7458372"/>
              <a:gd name="connsiteX30029" fmla="*/ 9170374 w 10505529"/>
              <a:gd name="connsiteY30029" fmla="*/ 2393830 h 7458372"/>
              <a:gd name="connsiteX30030" fmla="*/ 8952728 w 10505529"/>
              <a:gd name="connsiteY30030" fmla="*/ 2393830 h 7458372"/>
              <a:gd name="connsiteX30031" fmla="*/ 8964442 w 10505529"/>
              <a:gd name="connsiteY30031" fmla="*/ 2396493 h 7458372"/>
              <a:gd name="connsiteX30032" fmla="*/ 8973760 w 10505529"/>
              <a:gd name="connsiteY30032" fmla="*/ 2402882 h 7458372"/>
              <a:gd name="connsiteX30033" fmla="*/ 8979884 w 10505529"/>
              <a:gd name="connsiteY30033" fmla="*/ 2412201 h 7458372"/>
              <a:gd name="connsiteX30034" fmla="*/ 8982147 w 10505529"/>
              <a:gd name="connsiteY30034" fmla="*/ 2423650 h 7458372"/>
              <a:gd name="connsiteX30035" fmla="*/ 8979884 w 10505529"/>
              <a:gd name="connsiteY30035" fmla="*/ 2435363 h 7458372"/>
              <a:gd name="connsiteX30036" fmla="*/ 8973760 w 10505529"/>
              <a:gd name="connsiteY30036" fmla="*/ 2444681 h 7458372"/>
              <a:gd name="connsiteX30037" fmla="*/ 8964442 w 10505529"/>
              <a:gd name="connsiteY30037" fmla="*/ 2450938 h 7458372"/>
              <a:gd name="connsiteX30038" fmla="*/ 8952728 w 10505529"/>
              <a:gd name="connsiteY30038" fmla="*/ 2453201 h 7458372"/>
              <a:gd name="connsiteX30039" fmla="*/ 8930896 w 10505529"/>
              <a:gd name="connsiteY30039" fmla="*/ 2444681 h 7458372"/>
              <a:gd name="connsiteX30040" fmla="*/ 8922510 w 10505529"/>
              <a:gd name="connsiteY30040" fmla="*/ 2423515 h 7458372"/>
              <a:gd name="connsiteX30041" fmla="*/ 8930896 w 10505529"/>
              <a:gd name="connsiteY30041" fmla="*/ 2402482 h 7458372"/>
              <a:gd name="connsiteX30042" fmla="*/ 8952728 w 10505529"/>
              <a:gd name="connsiteY30042" fmla="*/ 2393830 h 7458372"/>
              <a:gd name="connsiteX30043" fmla="*/ 8735083 w 10505529"/>
              <a:gd name="connsiteY30043" fmla="*/ 2393830 h 7458372"/>
              <a:gd name="connsiteX30044" fmla="*/ 8746797 w 10505529"/>
              <a:gd name="connsiteY30044" fmla="*/ 2396493 h 7458372"/>
              <a:gd name="connsiteX30045" fmla="*/ 8756115 w 10505529"/>
              <a:gd name="connsiteY30045" fmla="*/ 2402882 h 7458372"/>
              <a:gd name="connsiteX30046" fmla="*/ 8762238 w 10505529"/>
              <a:gd name="connsiteY30046" fmla="*/ 2412201 h 7458372"/>
              <a:gd name="connsiteX30047" fmla="*/ 8764502 w 10505529"/>
              <a:gd name="connsiteY30047" fmla="*/ 2423650 h 7458372"/>
              <a:gd name="connsiteX30048" fmla="*/ 8762238 w 10505529"/>
              <a:gd name="connsiteY30048" fmla="*/ 2435363 h 7458372"/>
              <a:gd name="connsiteX30049" fmla="*/ 8756115 w 10505529"/>
              <a:gd name="connsiteY30049" fmla="*/ 2444681 h 7458372"/>
              <a:gd name="connsiteX30050" fmla="*/ 8746797 w 10505529"/>
              <a:gd name="connsiteY30050" fmla="*/ 2450938 h 7458372"/>
              <a:gd name="connsiteX30051" fmla="*/ 8735083 w 10505529"/>
              <a:gd name="connsiteY30051" fmla="*/ 2453201 h 7458372"/>
              <a:gd name="connsiteX30052" fmla="*/ 8713250 w 10505529"/>
              <a:gd name="connsiteY30052" fmla="*/ 2444681 h 7458372"/>
              <a:gd name="connsiteX30053" fmla="*/ 8704864 w 10505529"/>
              <a:gd name="connsiteY30053" fmla="*/ 2423515 h 7458372"/>
              <a:gd name="connsiteX30054" fmla="*/ 8713250 w 10505529"/>
              <a:gd name="connsiteY30054" fmla="*/ 2402482 h 7458372"/>
              <a:gd name="connsiteX30055" fmla="*/ 8735083 w 10505529"/>
              <a:gd name="connsiteY30055" fmla="*/ 2393830 h 7458372"/>
              <a:gd name="connsiteX30056" fmla="*/ 8517438 w 10505529"/>
              <a:gd name="connsiteY30056" fmla="*/ 2393830 h 7458372"/>
              <a:gd name="connsiteX30057" fmla="*/ 8529152 w 10505529"/>
              <a:gd name="connsiteY30057" fmla="*/ 2396493 h 7458372"/>
              <a:gd name="connsiteX30058" fmla="*/ 8538470 w 10505529"/>
              <a:gd name="connsiteY30058" fmla="*/ 2402882 h 7458372"/>
              <a:gd name="connsiteX30059" fmla="*/ 8544594 w 10505529"/>
              <a:gd name="connsiteY30059" fmla="*/ 2412201 h 7458372"/>
              <a:gd name="connsiteX30060" fmla="*/ 8546857 w 10505529"/>
              <a:gd name="connsiteY30060" fmla="*/ 2423650 h 7458372"/>
              <a:gd name="connsiteX30061" fmla="*/ 8544594 w 10505529"/>
              <a:gd name="connsiteY30061" fmla="*/ 2435363 h 7458372"/>
              <a:gd name="connsiteX30062" fmla="*/ 8538470 w 10505529"/>
              <a:gd name="connsiteY30062" fmla="*/ 2444681 h 7458372"/>
              <a:gd name="connsiteX30063" fmla="*/ 8529152 w 10505529"/>
              <a:gd name="connsiteY30063" fmla="*/ 2450938 h 7458372"/>
              <a:gd name="connsiteX30064" fmla="*/ 8517438 w 10505529"/>
              <a:gd name="connsiteY30064" fmla="*/ 2453201 h 7458372"/>
              <a:gd name="connsiteX30065" fmla="*/ 8495606 w 10505529"/>
              <a:gd name="connsiteY30065" fmla="*/ 2444681 h 7458372"/>
              <a:gd name="connsiteX30066" fmla="*/ 8487220 w 10505529"/>
              <a:gd name="connsiteY30066" fmla="*/ 2423515 h 7458372"/>
              <a:gd name="connsiteX30067" fmla="*/ 8495606 w 10505529"/>
              <a:gd name="connsiteY30067" fmla="*/ 2402482 h 7458372"/>
              <a:gd name="connsiteX30068" fmla="*/ 8517438 w 10505529"/>
              <a:gd name="connsiteY30068" fmla="*/ 2393830 h 7458372"/>
              <a:gd name="connsiteX30069" fmla="*/ 8299793 w 10505529"/>
              <a:gd name="connsiteY30069" fmla="*/ 2393830 h 7458372"/>
              <a:gd name="connsiteX30070" fmla="*/ 8311507 w 10505529"/>
              <a:gd name="connsiteY30070" fmla="*/ 2396493 h 7458372"/>
              <a:gd name="connsiteX30071" fmla="*/ 8320825 w 10505529"/>
              <a:gd name="connsiteY30071" fmla="*/ 2402882 h 7458372"/>
              <a:gd name="connsiteX30072" fmla="*/ 8326948 w 10505529"/>
              <a:gd name="connsiteY30072" fmla="*/ 2412201 h 7458372"/>
              <a:gd name="connsiteX30073" fmla="*/ 8329212 w 10505529"/>
              <a:gd name="connsiteY30073" fmla="*/ 2423650 h 7458372"/>
              <a:gd name="connsiteX30074" fmla="*/ 8326948 w 10505529"/>
              <a:gd name="connsiteY30074" fmla="*/ 2435363 h 7458372"/>
              <a:gd name="connsiteX30075" fmla="*/ 8320825 w 10505529"/>
              <a:gd name="connsiteY30075" fmla="*/ 2444681 h 7458372"/>
              <a:gd name="connsiteX30076" fmla="*/ 8311507 w 10505529"/>
              <a:gd name="connsiteY30076" fmla="*/ 2450938 h 7458372"/>
              <a:gd name="connsiteX30077" fmla="*/ 8299793 w 10505529"/>
              <a:gd name="connsiteY30077" fmla="*/ 2453201 h 7458372"/>
              <a:gd name="connsiteX30078" fmla="*/ 8277960 w 10505529"/>
              <a:gd name="connsiteY30078" fmla="*/ 2444681 h 7458372"/>
              <a:gd name="connsiteX30079" fmla="*/ 8269574 w 10505529"/>
              <a:gd name="connsiteY30079" fmla="*/ 2423515 h 7458372"/>
              <a:gd name="connsiteX30080" fmla="*/ 8277960 w 10505529"/>
              <a:gd name="connsiteY30080" fmla="*/ 2402482 h 7458372"/>
              <a:gd name="connsiteX30081" fmla="*/ 8299793 w 10505529"/>
              <a:gd name="connsiteY30081" fmla="*/ 2393830 h 7458372"/>
              <a:gd name="connsiteX30082" fmla="*/ 8082281 w 10505529"/>
              <a:gd name="connsiteY30082" fmla="*/ 2393830 h 7458372"/>
              <a:gd name="connsiteX30083" fmla="*/ 8094127 w 10505529"/>
              <a:gd name="connsiteY30083" fmla="*/ 2396493 h 7458372"/>
              <a:gd name="connsiteX30084" fmla="*/ 8103446 w 10505529"/>
              <a:gd name="connsiteY30084" fmla="*/ 2402882 h 7458372"/>
              <a:gd name="connsiteX30085" fmla="*/ 8109569 w 10505529"/>
              <a:gd name="connsiteY30085" fmla="*/ 2412201 h 7458372"/>
              <a:gd name="connsiteX30086" fmla="*/ 8111832 w 10505529"/>
              <a:gd name="connsiteY30086" fmla="*/ 2423650 h 7458372"/>
              <a:gd name="connsiteX30087" fmla="*/ 8109569 w 10505529"/>
              <a:gd name="connsiteY30087" fmla="*/ 2435363 h 7458372"/>
              <a:gd name="connsiteX30088" fmla="*/ 8103446 w 10505529"/>
              <a:gd name="connsiteY30088" fmla="*/ 2444681 h 7458372"/>
              <a:gd name="connsiteX30089" fmla="*/ 8094127 w 10505529"/>
              <a:gd name="connsiteY30089" fmla="*/ 2450938 h 7458372"/>
              <a:gd name="connsiteX30090" fmla="*/ 8082281 w 10505529"/>
              <a:gd name="connsiteY30090" fmla="*/ 2453201 h 7458372"/>
              <a:gd name="connsiteX30091" fmla="*/ 8060448 w 10505529"/>
              <a:gd name="connsiteY30091" fmla="*/ 2444681 h 7458372"/>
              <a:gd name="connsiteX30092" fmla="*/ 8052062 w 10505529"/>
              <a:gd name="connsiteY30092" fmla="*/ 2423515 h 7458372"/>
              <a:gd name="connsiteX30093" fmla="*/ 8060448 w 10505529"/>
              <a:gd name="connsiteY30093" fmla="*/ 2402482 h 7458372"/>
              <a:gd name="connsiteX30094" fmla="*/ 8082281 w 10505529"/>
              <a:gd name="connsiteY30094" fmla="*/ 2393830 h 7458372"/>
              <a:gd name="connsiteX30095" fmla="*/ 7864636 w 10505529"/>
              <a:gd name="connsiteY30095" fmla="*/ 2393830 h 7458372"/>
              <a:gd name="connsiteX30096" fmla="*/ 7876483 w 10505529"/>
              <a:gd name="connsiteY30096" fmla="*/ 2396493 h 7458372"/>
              <a:gd name="connsiteX30097" fmla="*/ 7885802 w 10505529"/>
              <a:gd name="connsiteY30097" fmla="*/ 2402882 h 7458372"/>
              <a:gd name="connsiteX30098" fmla="*/ 7891924 w 10505529"/>
              <a:gd name="connsiteY30098" fmla="*/ 2412201 h 7458372"/>
              <a:gd name="connsiteX30099" fmla="*/ 7894188 w 10505529"/>
              <a:gd name="connsiteY30099" fmla="*/ 2423650 h 7458372"/>
              <a:gd name="connsiteX30100" fmla="*/ 7891924 w 10505529"/>
              <a:gd name="connsiteY30100" fmla="*/ 2435363 h 7458372"/>
              <a:gd name="connsiteX30101" fmla="*/ 7885802 w 10505529"/>
              <a:gd name="connsiteY30101" fmla="*/ 2444681 h 7458372"/>
              <a:gd name="connsiteX30102" fmla="*/ 7876483 w 10505529"/>
              <a:gd name="connsiteY30102" fmla="*/ 2450938 h 7458372"/>
              <a:gd name="connsiteX30103" fmla="*/ 7864636 w 10505529"/>
              <a:gd name="connsiteY30103" fmla="*/ 2453201 h 7458372"/>
              <a:gd name="connsiteX30104" fmla="*/ 7842803 w 10505529"/>
              <a:gd name="connsiteY30104" fmla="*/ 2444681 h 7458372"/>
              <a:gd name="connsiteX30105" fmla="*/ 7834417 w 10505529"/>
              <a:gd name="connsiteY30105" fmla="*/ 2423515 h 7458372"/>
              <a:gd name="connsiteX30106" fmla="*/ 7842803 w 10505529"/>
              <a:gd name="connsiteY30106" fmla="*/ 2402482 h 7458372"/>
              <a:gd name="connsiteX30107" fmla="*/ 7864636 w 10505529"/>
              <a:gd name="connsiteY30107" fmla="*/ 2393830 h 7458372"/>
              <a:gd name="connsiteX30108" fmla="*/ 7646991 w 10505529"/>
              <a:gd name="connsiteY30108" fmla="*/ 2393830 h 7458372"/>
              <a:gd name="connsiteX30109" fmla="*/ 7658705 w 10505529"/>
              <a:gd name="connsiteY30109" fmla="*/ 2396493 h 7458372"/>
              <a:gd name="connsiteX30110" fmla="*/ 7668022 w 10505529"/>
              <a:gd name="connsiteY30110" fmla="*/ 2402882 h 7458372"/>
              <a:gd name="connsiteX30111" fmla="*/ 7674146 w 10505529"/>
              <a:gd name="connsiteY30111" fmla="*/ 2412201 h 7458372"/>
              <a:gd name="connsiteX30112" fmla="*/ 7676409 w 10505529"/>
              <a:gd name="connsiteY30112" fmla="*/ 2423650 h 7458372"/>
              <a:gd name="connsiteX30113" fmla="*/ 7674146 w 10505529"/>
              <a:gd name="connsiteY30113" fmla="*/ 2435363 h 7458372"/>
              <a:gd name="connsiteX30114" fmla="*/ 7668022 w 10505529"/>
              <a:gd name="connsiteY30114" fmla="*/ 2444681 h 7458372"/>
              <a:gd name="connsiteX30115" fmla="*/ 7658705 w 10505529"/>
              <a:gd name="connsiteY30115" fmla="*/ 2450938 h 7458372"/>
              <a:gd name="connsiteX30116" fmla="*/ 7646991 w 10505529"/>
              <a:gd name="connsiteY30116" fmla="*/ 2453201 h 7458372"/>
              <a:gd name="connsiteX30117" fmla="*/ 7625158 w 10505529"/>
              <a:gd name="connsiteY30117" fmla="*/ 2444681 h 7458372"/>
              <a:gd name="connsiteX30118" fmla="*/ 7616772 w 10505529"/>
              <a:gd name="connsiteY30118" fmla="*/ 2423515 h 7458372"/>
              <a:gd name="connsiteX30119" fmla="*/ 7625158 w 10505529"/>
              <a:gd name="connsiteY30119" fmla="*/ 2402482 h 7458372"/>
              <a:gd name="connsiteX30120" fmla="*/ 7646991 w 10505529"/>
              <a:gd name="connsiteY30120" fmla="*/ 2393830 h 7458372"/>
              <a:gd name="connsiteX30121" fmla="*/ 7429345 w 10505529"/>
              <a:gd name="connsiteY30121" fmla="*/ 2393830 h 7458372"/>
              <a:gd name="connsiteX30122" fmla="*/ 7441059 w 10505529"/>
              <a:gd name="connsiteY30122" fmla="*/ 2396493 h 7458372"/>
              <a:gd name="connsiteX30123" fmla="*/ 7450377 w 10505529"/>
              <a:gd name="connsiteY30123" fmla="*/ 2402882 h 7458372"/>
              <a:gd name="connsiteX30124" fmla="*/ 7456501 w 10505529"/>
              <a:gd name="connsiteY30124" fmla="*/ 2412201 h 7458372"/>
              <a:gd name="connsiteX30125" fmla="*/ 7458764 w 10505529"/>
              <a:gd name="connsiteY30125" fmla="*/ 2423650 h 7458372"/>
              <a:gd name="connsiteX30126" fmla="*/ 7456501 w 10505529"/>
              <a:gd name="connsiteY30126" fmla="*/ 2435363 h 7458372"/>
              <a:gd name="connsiteX30127" fmla="*/ 7450377 w 10505529"/>
              <a:gd name="connsiteY30127" fmla="*/ 2444681 h 7458372"/>
              <a:gd name="connsiteX30128" fmla="*/ 7441059 w 10505529"/>
              <a:gd name="connsiteY30128" fmla="*/ 2450938 h 7458372"/>
              <a:gd name="connsiteX30129" fmla="*/ 7429345 w 10505529"/>
              <a:gd name="connsiteY30129" fmla="*/ 2453201 h 7458372"/>
              <a:gd name="connsiteX30130" fmla="*/ 7407513 w 10505529"/>
              <a:gd name="connsiteY30130" fmla="*/ 2444681 h 7458372"/>
              <a:gd name="connsiteX30131" fmla="*/ 7399127 w 10505529"/>
              <a:gd name="connsiteY30131" fmla="*/ 2423515 h 7458372"/>
              <a:gd name="connsiteX30132" fmla="*/ 7407513 w 10505529"/>
              <a:gd name="connsiteY30132" fmla="*/ 2402482 h 7458372"/>
              <a:gd name="connsiteX30133" fmla="*/ 7429345 w 10505529"/>
              <a:gd name="connsiteY30133" fmla="*/ 2393830 h 7458372"/>
              <a:gd name="connsiteX30134" fmla="*/ 7211701 w 10505529"/>
              <a:gd name="connsiteY30134" fmla="*/ 2393830 h 7458372"/>
              <a:gd name="connsiteX30135" fmla="*/ 7223415 w 10505529"/>
              <a:gd name="connsiteY30135" fmla="*/ 2396493 h 7458372"/>
              <a:gd name="connsiteX30136" fmla="*/ 7232733 w 10505529"/>
              <a:gd name="connsiteY30136" fmla="*/ 2402882 h 7458372"/>
              <a:gd name="connsiteX30137" fmla="*/ 7238856 w 10505529"/>
              <a:gd name="connsiteY30137" fmla="*/ 2412201 h 7458372"/>
              <a:gd name="connsiteX30138" fmla="*/ 7241120 w 10505529"/>
              <a:gd name="connsiteY30138" fmla="*/ 2423650 h 7458372"/>
              <a:gd name="connsiteX30139" fmla="*/ 7238856 w 10505529"/>
              <a:gd name="connsiteY30139" fmla="*/ 2435363 h 7458372"/>
              <a:gd name="connsiteX30140" fmla="*/ 7232733 w 10505529"/>
              <a:gd name="connsiteY30140" fmla="*/ 2444681 h 7458372"/>
              <a:gd name="connsiteX30141" fmla="*/ 7223415 w 10505529"/>
              <a:gd name="connsiteY30141" fmla="*/ 2450938 h 7458372"/>
              <a:gd name="connsiteX30142" fmla="*/ 7211701 w 10505529"/>
              <a:gd name="connsiteY30142" fmla="*/ 2453201 h 7458372"/>
              <a:gd name="connsiteX30143" fmla="*/ 7189868 w 10505529"/>
              <a:gd name="connsiteY30143" fmla="*/ 2444681 h 7458372"/>
              <a:gd name="connsiteX30144" fmla="*/ 7181482 w 10505529"/>
              <a:gd name="connsiteY30144" fmla="*/ 2423515 h 7458372"/>
              <a:gd name="connsiteX30145" fmla="*/ 7189868 w 10505529"/>
              <a:gd name="connsiteY30145" fmla="*/ 2402482 h 7458372"/>
              <a:gd name="connsiteX30146" fmla="*/ 7211701 w 10505529"/>
              <a:gd name="connsiteY30146" fmla="*/ 2393830 h 7458372"/>
              <a:gd name="connsiteX30147" fmla="*/ 6994056 w 10505529"/>
              <a:gd name="connsiteY30147" fmla="*/ 2393830 h 7458372"/>
              <a:gd name="connsiteX30148" fmla="*/ 7005769 w 10505529"/>
              <a:gd name="connsiteY30148" fmla="*/ 2396493 h 7458372"/>
              <a:gd name="connsiteX30149" fmla="*/ 7015087 w 10505529"/>
              <a:gd name="connsiteY30149" fmla="*/ 2402882 h 7458372"/>
              <a:gd name="connsiteX30150" fmla="*/ 7021211 w 10505529"/>
              <a:gd name="connsiteY30150" fmla="*/ 2412201 h 7458372"/>
              <a:gd name="connsiteX30151" fmla="*/ 7023474 w 10505529"/>
              <a:gd name="connsiteY30151" fmla="*/ 2423650 h 7458372"/>
              <a:gd name="connsiteX30152" fmla="*/ 7021211 w 10505529"/>
              <a:gd name="connsiteY30152" fmla="*/ 2435363 h 7458372"/>
              <a:gd name="connsiteX30153" fmla="*/ 7015087 w 10505529"/>
              <a:gd name="connsiteY30153" fmla="*/ 2444681 h 7458372"/>
              <a:gd name="connsiteX30154" fmla="*/ 7005769 w 10505529"/>
              <a:gd name="connsiteY30154" fmla="*/ 2450938 h 7458372"/>
              <a:gd name="connsiteX30155" fmla="*/ 6994056 w 10505529"/>
              <a:gd name="connsiteY30155" fmla="*/ 2453201 h 7458372"/>
              <a:gd name="connsiteX30156" fmla="*/ 6972223 w 10505529"/>
              <a:gd name="connsiteY30156" fmla="*/ 2444681 h 7458372"/>
              <a:gd name="connsiteX30157" fmla="*/ 6963837 w 10505529"/>
              <a:gd name="connsiteY30157" fmla="*/ 2423515 h 7458372"/>
              <a:gd name="connsiteX30158" fmla="*/ 6972223 w 10505529"/>
              <a:gd name="connsiteY30158" fmla="*/ 2402482 h 7458372"/>
              <a:gd name="connsiteX30159" fmla="*/ 6994056 w 10505529"/>
              <a:gd name="connsiteY30159" fmla="*/ 2393830 h 7458372"/>
              <a:gd name="connsiteX30160" fmla="*/ 6776544 w 10505529"/>
              <a:gd name="connsiteY30160" fmla="*/ 2393830 h 7458372"/>
              <a:gd name="connsiteX30161" fmla="*/ 6788258 w 10505529"/>
              <a:gd name="connsiteY30161" fmla="*/ 2396493 h 7458372"/>
              <a:gd name="connsiteX30162" fmla="*/ 6797576 w 10505529"/>
              <a:gd name="connsiteY30162" fmla="*/ 2402882 h 7458372"/>
              <a:gd name="connsiteX30163" fmla="*/ 6803699 w 10505529"/>
              <a:gd name="connsiteY30163" fmla="*/ 2412201 h 7458372"/>
              <a:gd name="connsiteX30164" fmla="*/ 6805963 w 10505529"/>
              <a:gd name="connsiteY30164" fmla="*/ 2423650 h 7458372"/>
              <a:gd name="connsiteX30165" fmla="*/ 6803699 w 10505529"/>
              <a:gd name="connsiteY30165" fmla="*/ 2435363 h 7458372"/>
              <a:gd name="connsiteX30166" fmla="*/ 6797576 w 10505529"/>
              <a:gd name="connsiteY30166" fmla="*/ 2444681 h 7458372"/>
              <a:gd name="connsiteX30167" fmla="*/ 6788258 w 10505529"/>
              <a:gd name="connsiteY30167" fmla="*/ 2450938 h 7458372"/>
              <a:gd name="connsiteX30168" fmla="*/ 6776544 w 10505529"/>
              <a:gd name="connsiteY30168" fmla="*/ 2453201 h 7458372"/>
              <a:gd name="connsiteX30169" fmla="*/ 6754711 w 10505529"/>
              <a:gd name="connsiteY30169" fmla="*/ 2444681 h 7458372"/>
              <a:gd name="connsiteX30170" fmla="*/ 6746325 w 10505529"/>
              <a:gd name="connsiteY30170" fmla="*/ 2423515 h 7458372"/>
              <a:gd name="connsiteX30171" fmla="*/ 6754711 w 10505529"/>
              <a:gd name="connsiteY30171" fmla="*/ 2402482 h 7458372"/>
              <a:gd name="connsiteX30172" fmla="*/ 6776544 w 10505529"/>
              <a:gd name="connsiteY30172" fmla="*/ 2393830 h 7458372"/>
              <a:gd name="connsiteX30173" fmla="*/ 6558899 w 10505529"/>
              <a:gd name="connsiteY30173" fmla="*/ 2393830 h 7458372"/>
              <a:gd name="connsiteX30174" fmla="*/ 6570612 w 10505529"/>
              <a:gd name="connsiteY30174" fmla="*/ 2396493 h 7458372"/>
              <a:gd name="connsiteX30175" fmla="*/ 6579930 w 10505529"/>
              <a:gd name="connsiteY30175" fmla="*/ 2402882 h 7458372"/>
              <a:gd name="connsiteX30176" fmla="*/ 6586054 w 10505529"/>
              <a:gd name="connsiteY30176" fmla="*/ 2412201 h 7458372"/>
              <a:gd name="connsiteX30177" fmla="*/ 6588317 w 10505529"/>
              <a:gd name="connsiteY30177" fmla="*/ 2423650 h 7458372"/>
              <a:gd name="connsiteX30178" fmla="*/ 6586054 w 10505529"/>
              <a:gd name="connsiteY30178" fmla="*/ 2435363 h 7458372"/>
              <a:gd name="connsiteX30179" fmla="*/ 6579930 w 10505529"/>
              <a:gd name="connsiteY30179" fmla="*/ 2444681 h 7458372"/>
              <a:gd name="connsiteX30180" fmla="*/ 6570612 w 10505529"/>
              <a:gd name="connsiteY30180" fmla="*/ 2450938 h 7458372"/>
              <a:gd name="connsiteX30181" fmla="*/ 6558899 w 10505529"/>
              <a:gd name="connsiteY30181" fmla="*/ 2453201 h 7458372"/>
              <a:gd name="connsiteX30182" fmla="*/ 6537066 w 10505529"/>
              <a:gd name="connsiteY30182" fmla="*/ 2444681 h 7458372"/>
              <a:gd name="connsiteX30183" fmla="*/ 6528680 w 10505529"/>
              <a:gd name="connsiteY30183" fmla="*/ 2423515 h 7458372"/>
              <a:gd name="connsiteX30184" fmla="*/ 6537066 w 10505529"/>
              <a:gd name="connsiteY30184" fmla="*/ 2402482 h 7458372"/>
              <a:gd name="connsiteX30185" fmla="*/ 6558899 w 10505529"/>
              <a:gd name="connsiteY30185" fmla="*/ 2393830 h 7458372"/>
              <a:gd name="connsiteX30186" fmla="*/ 6341253 w 10505529"/>
              <a:gd name="connsiteY30186" fmla="*/ 2393830 h 7458372"/>
              <a:gd name="connsiteX30187" fmla="*/ 6352968 w 10505529"/>
              <a:gd name="connsiteY30187" fmla="*/ 2396493 h 7458372"/>
              <a:gd name="connsiteX30188" fmla="*/ 6362286 w 10505529"/>
              <a:gd name="connsiteY30188" fmla="*/ 2402882 h 7458372"/>
              <a:gd name="connsiteX30189" fmla="*/ 6368409 w 10505529"/>
              <a:gd name="connsiteY30189" fmla="*/ 2412201 h 7458372"/>
              <a:gd name="connsiteX30190" fmla="*/ 6370672 w 10505529"/>
              <a:gd name="connsiteY30190" fmla="*/ 2423650 h 7458372"/>
              <a:gd name="connsiteX30191" fmla="*/ 6368409 w 10505529"/>
              <a:gd name="connsiteY30191" fmla="*/ 2435363 h 7458372"/>
              <a:gd name="connsiteX30192" fmla="*/ 6362286 w 10505529"/>
              <a:gd name="connsiteY30192" fmla="*/ 2444681 h 7458372"/>
              <a:gd name="connsiteX30193" fmla="*/ 6352968 w 10505529"/>
              <a:gd name="connsiteY30193" fmla="*/ 2450938 h 7458372"/>
              <a:gd name="connsiteX30194" fmla="*/ 6341253 w 10505529"/>
              <a:gd name="connsiteY30194" fmla="*/ 2453201 h 7458372"/>
              <a:gd name="connsiteX30195" fmla="*/ 6319421 w 10505529"/>
              <a:gd name="connsiteY30195" fmla="*/ 2444681 h 7458372"/>
              <a:gd name="connsiteX30196" fmla="*/ 6311035 w 10505529"/>
              <a:gd name="connsiteY30196" fmla="*/ 2423515 h 7458372"/>
              <a:gd name="connsiteX30197" fmla="*/ 6319421 w 10505529"/>
              <a:gd name="connsiteY30197" fmla="*/ 2402482 h 7458372"/>
              <a:gd name="connsiteX30198" fmla="*/ 6341253 w 10505529"/>
              <a:gd name="connsiteY30198" fmla="*/ 2393830 h 7458372"/>
              <a:gd name="connsiteX30199" fmla="*/ 6123608 w 10505529"/>
              <a:gd name="connsiteY30199" fmla="*/ 2393830 h 7458372"/>
              <a:gd name="connsiteX30200" fmla="*/ 6135322 w 10505529"/>
              <a:gd name="connsiteY30200" fmla="*/ 2396493 h 7458372"/>
              <a:gd name="connsiteX30201" fmla="*/ 6144640 w 10505529"/>
              <a:gd name="connsiteY30201" fmla="*/ 2402882 h 7458372"/>
              <a:gd name="connsiteX30202" fmla="*/ 6150763 w 10505529"/>
              <a:gd name="connsiteY30202" fmla="*/ 2412201 h 7458372"/>
              <a:gd name="connsiteX30203" fmla="*/ 6153026 w 10505529"/>
              <a:gd name="connsiteY30203" fmla="*/ 2423650 h 7458372"/>
              <a:gd name="connsiteX30204" fmla="*/ 6150763 w 10505529"/>
              <a:gd name="connsiteY30204" fmla="*/ 2435363 h 7458372"/>
              <a:gd name="connsiteX30205" fmla="*/ 6144640 w 10505529"/>
              <a:gd name="connsiteY30205" fmla="*/ 2444681 h 7458372"/>
              <a:gd name="connsiteX30206" fmla="*/ 6135322 w 10505529"/>
              <a:gd name="connsiteY30206" fmla="*/ 2450938 h 7458372"/>
              <a:gd name="connsiteX30207" fmla="*/ 6123608 w 10505529"/>
              <a:gd name="connsiteY30207" fmla="*/ 2453201 h 7458372"/>
              <a:gd name="connsiteX30208" fmla="*/ 6101775 w 10505529"/>
              <a:gd name="connsiteY30208" fmla="*/ 2444681 h 7458372"/>
              <a:gd name="connsiteX30209" fmla="*/ 6093389 w 10505529"/>
              <a:gd name="connsiteY30209" fmla="*/ 2423515 h 7458372"/>
              <a:gd name="connsiteX30210" fmla="*/ 6101775 w 10505529"/>
              <a:gd name="connsiteY30210" fmla="*/ 2402482 h 7458372"/>
              <a:gd name="connsiteX30211" fmla="*/ 6123608 w 10505529"/>
              <a:gd name="connsiteY30211" fmla="*/ 2393830 h 7458372"/>
              <a:gd name="connsiteX30212" fmla="*/ 5905963 w 10505529"/>
              <a:gd name="connsiteY30212" fmla="*/ 2393830 h 7458372"/>
              <a:gd name="connsiteX30213" fmla="*/ 5917677 w 10505529"/>
              <a:gd name="connsiteY30213" fmla="*/ 2396493 h 7458372"/>
              <a:gd name="connsiteX30214" fmla="*/ 5926995 w 10505529"/>
              <a:gd name="connsiteY30214" fmla="*/ 2402882 h 7458372"/>
              <a:gd name="connsiteX30215" fmla="*/ 5933118 w 10505529"/>
              <a:gd name="connsiteY30215" fmla="*/ 2412201 h 7458372"/>
              <a:gd name="connsiteX30216" fmla="*/ 5935381 w 10505529"/>
              <a:gd name="connsiteY30216" fmla="*/ 2423650 h 7458372"/>
              <a:gd name="connsiteX30217" fmla="*/ 5933118 w 10505529"/>
              <a:gd name="connsiteY30217" fmla="*/ 2435363 h 7458372"/>
              <a:gd name="connsiteX30218" fmla="*/ 5926995 w 10505529"/>
              <a:gd name="connsiteY30218" fmla="*/ 2444681 h 7458372"/>
              <a:gd name="connsiteX30219" fmla="*/ 5917677 w 10505529"/>
              <a:gd name="connsiteY30219" fmla="*/ 2450938 h 7458372"/>
              <a:gd name="connsiteX30220" fmla="*/ 5905963 w 10505529"/>
              <a:gd name="connsiteY30220" fmla="*/ 2453201 h 7458372"/>
              <a:gd name="connsiteX30221" fmla="*/ 5884130 w 10505529"/>
              <a:gd name="connsiteY30221" fmla="*/ 2444681 h 7458372"/>
              <a:gd name="connsiteX30222" fmla="*/ 5875744 w 10505529"/>
              <a:gd name="connsiteY30222" fmla="*/ 2423515 h 7458372"/>
              <a:gd name="connsiteX30223" fmla="*/ 5884130 w 10505529"/>
              <a:gd name="connsiteY30223" fmla="*/ 2402482 h 7458372"/>
              <a:gd name="connsiteX30224" fmla="*/ 5905963 w 10505529"/>
              <a:gd name="connsiteY30224" fmla="*/ 2393830 h 7458372"/>
              <a:gd name="connsiteX30225" fmla="*/ 5688451 w 10505529"/>
              <a:gd name="connsiteY30225" fmla="*/ 2393830 h 7458372"/>
              <a:gd name="connsiteX30226" fmla="*/ 5700165 w 10505529"/>
              <a:gd name="connsiteY30226" fmla="*/ 2396493 h 7458372"/>
              <a:gd name="connsiteX30227" fmla="*/ 5709483 w 10505529"/>
              <a:gd name="connsiteY30227" fmla="*/ 2402882 h 7458372"/>
              <a:gd name="connsiteX30228" fmla="*/ 5715606 w 10505529"/>
              <a:gd name="connsiteY30228" fmla="*/ 2412201 h 7458372"/>
              <a:gd name="connsiteX30229" fmla="*/ 5717869 w 10505529"/>
              <a:gd name="connsiteY30229" fmla="*/ 2423650 h 7458372"/>
              <a:gd name="connsiteX30230" fmla="*/ 5715606 w 10505529"/>
              <a:gd name="connsiteY30230" fmla="*/ 2435363 h 7458372"/>
              <a:gd name="connsiteX30231" fmla="*/ 5709483 w 10505529"/>
              <a:gd name="connsiteY30231" fmla="*/ 2444681 h 7458372"/>
              <a:gd name="connsiteX30232" fmla="*/ 5700165 w 10505529"/>
              <a:gd name="connsiteY30232" fmla="*/ 2450938 h 7458372"/>
              <a:gd name="connsiteX30233" fmla="*/ 5688451 w 10505529"/>
              <a:gd name="connsiteY30233" fmla="*/ 2453201 h 7458372"/>
              <a:gd name="connsiteX30234" fmla="*/ 5666618 w 10505529"/>
              <a:gd name="connsiteY30234" fmla="*/ 2444681 h 7458372"/>
              <a:gd name="connsiteX30235" fmla="*/ 5658232 w 10505529"/>
              <a:gd name="connsiteY30235" fmla="*/ 2423515 h 7458372"/>
              <a:gd name="connsiteX30236" fmla="*/ 5666618 w 10505529"/>
              <a:gd name="connsiteY30236" fmla="*/ 2402482 h 7458372"/>
              <a:gd name="connsiteX30237" fmla="*/ 5688451 w 10505529"/>
              <a:gd name="connsiteY30237" fmla="*/ 2393830 h 7458372"/>
              <a:gd name="connsiteX30238" fmla="*/ 5470806 w 10505529"/>
              <a:gd name="connsiteY30238" fmla="*/ 2393830 h 7458372"/>
              <a:gd name="connsiteX30239" fmla="*/ 5482520 w 10505529"/>
              <a:gd name="connsiteY30239" fmla="*/ 2396493 h 7458372"/>
              <a:gd name="connsiteX30240" fmla="*/ 5491838 w 10505529"/>
              <a:gd name="connsiteY30240" fmla="*/ 2402882 h 7458372"/>
              <a:gd name="connsiteX30241" fmla="*/ 5497961 w 10505529"/>
              <a:gd name="connsiteY30241" fmla="*/ 2412201 h 7458372"/>
              <a:gd name="connsiteX30242" fmla="*/ 5500224 w 10505529"/>
              <a:gd name="connsiteY30242" fmla="*/ 2423650 h 7458372"/>
              <a:gd name="connsiteX30243" fmla="*/ 5497961 w 10505529"/>
              <a:gd name="connsiteY30243" fmla="*/ 2435363 h 7458372"/>
              <a:gd name="connsiteX30244" fmla="*/ 5491838 w 10505529"/>
              <a:gd name="connsiteY30244" fmla="*/ 2444681 h 7458372"/>
              <a:gd name="connsiteX30245" fmla="*/ 5482520 w 10505529"/>
              <a:gd name="connsiteY30245" fmla="*/ 2450938 h 7458372"/>
              <a:gd name="connsiteX30246" fmla="*/ 5470806 w 10505529"/>
              <a:gd name="connsiteY30246" fmla="*/ 2453201 h 7458372"/>
              <a:gd name="connsiteX30247" fmla="*/ 5448973 w 10505529"/>
              <a:gd name="connsiteY30247" fmla="*/ 2444681 h 7458372"/>
              <a:gd name="connsiteX30248" fmla="*/ 5440587 w 10505529"/>
              <a:gd name="connsiteY30248" fmla="*/ 2423515 h 7458372"/>
              <a:gd name="connsiteX30249" fmla="*/ 5448973 w 10505529"/>
              <a:gd name="connsiteY30249" fmla="*/ 2402482 h 7458372"/>
              <a:gd name="connsiteX30250" fmla="*/ 5470806 w 10505529"/>
              <a:gd name="connsiteY30250" fmla="*/ 2393830 h 7458372"/>
              <a:gd name="connsiteX30251" fmla="*/ 5253160 w 10505529"/>
              <a:gd name="connsiteY30251" fmla="*/ 2393830 h 7458372"/>
              <a:gd name="connsiteX30252" fmla="*/ 5264875 w 10505529"/>
              <a:gd name="connsiteY30252" fmla="*/ 2396493 h 7458372"/>
              <a:gd name="connsiteX30253" fmla="*/ 5274192 w 10505529"/>
              <a:gd name="connsiteY30253" fmla="*/ 2402882 h 7458372"/>
              <a:gd name="connsiteX30254" fmla="*/ 5280316 w 10505529"/>
              <a:gd name="connsiteY30254" fmla="*/ 2412201 h 7458372"/>
              <a:gd name="connsiteX30255" fmla="*/ 5282579 w 10505529"/>
              <a:gd name="connsiteY30255" fmla="*/ 2423650 h 7458372"/>
              <a:gd name="connsiteX30256" fmla="*/ 5280316 w 10505529"/>
              <a:gd name="connsiteY30256" fmla="*/ 2435363 h 7458372"/>
              <a:gd name="connsiteX30257" fmla="*/ 5274192 w 10505529"/>
              <a:gd name="connsiteY30257" fmla="*/ 2444681 h 7458372"/>
              <a:gd name="connsiteX30258" fmla="*/ 5264875 w 10505529"/>
              <a:gd name="connsiteY30258" fmla="*/ 2450938 h 7458372"/>
              <a:gd name="connsiteX30259" fmla="*/ 5253160 w 10505529"/>
              <a:gd name="connsiteY30259" fmla="*/ 2453201 h 7458372"/>
              <a:gd name="connsiteX30260" fmla="*/ 5231328 w 10505529"/>
              <a:gd name="connsiteY30260" fmla="*/ 2444681 h 7458372"/>
              <a:gd name="connsiteX30261" fmla="*/ 5222942 w 10505529"/>
              <a:gd name="connsiteY30261" fmla="*/ 2423515 h 7458372"/>
              <a:gd name="connsiteX30262" fmla="*/ 5231328 w 10505529"/>
              <a:gd name="connsiteY30262" fmla="*/ 2402482 h 7458372"/>
              <a:gd name="connsiteX30263" fmla="*/ 5253160 w 10505529"/>
              <a:gd name="connsiteY30263" fmla="*/ 2393830 h 7458372"/>
              <a:gd name="connsiteX30264" fmla="*/ 5035515 w 10505529"/>
              <a:gd name="connsiteY30264" fmla="*/ 2393830 h 7458372"/>
              <a:gd name="connsiteX30265" fmla="*/ 5047230 w 10505529"/>
              <a:gd name="connsiteY30265" fmla="*/ 2396493 h 7458372"/>
              <a:gd name="connsiteX30266" fmla="*/ 5056548 w 10505529"/>
              <a:gd name="connsiteY30266" fmla="*/ 2402882 h 7458372"/>
              <a:gd name="connsiteX30267" fmla="*/ 5062671 w 10505529"/>
              <a:gd name="connsiteY30267" fmla="*/ 2412201 h 7458372"/>
              <a:gd name="connsiteX30268" fmla="*/ 5064934 w 10505529"/>
              <a:gd name="connsiteY30268" fmla="*/ 2423650 h 7458372"/>
              <a:gd name="connsiteX30269" fmla="*/ 5062671 w 10505529"/>
              <a:gd name="connsiteY30269" fmla="*/ 2435363 h 7458372"/>
              <a:gd name="connsiteX30270" fmla="*/ 5056548 w 10505529"/>
              <a:gd name="connsiteY30270" fmla="*/ 2444681 h 7458372"/>
              <a:gd name="connsiteX30271" fmla="*/ 5047230 w 10505529"/>
              <a:gd name="connsiteY30271" fmla="*/ 2450938 h 7458372"/>
              <a:gd name="connsiteX30272" fmla="*/ 5035515 w 10505529"/>
              <a:gd name="connsiteY30272" fmla="*/ 2453201 h 7458372"/>
              <a:gd name="connsiteX30273" fmla="*/ 5013683 w 10505529"/>
              <a:gd name="connsiteY30273" fmla="*/ 2444681 h 7458372"/>
              <a:gd name="connsiteX30274" fmla="*/ 5005297 w 10505529"/>
              <a:gd name="connsiteY30274" fmla="*/ 2423515 h 7458372"/>
              <a:gd name="connsiteX30275" fmla="*/ 5013683 w 10505529"/>
              <a:gd name="connsiteY30275" fmla="*/ 2402482 h 7458372"/>
              <a:gd name="connsiteX30276" fmla="*/ 5035515 w 10505529"/>
              <a:gd name="connsiteY30276" fmla="*/ 2393830 h 7458372"/>
              <a:gd name="connsiteX30277" fmla="*/ 4817870 w 10505529"/>
              <a:gd name="connsiteY30277" fmla="*/ 2393830 h 7458372"/>
              <a:gd name="connsiteX30278" fmla="*/ 4829585 w 10505529"/>
              <a:gd name="connsiteY30278" fmla="*/ 2396493 h 7458372"/>
              <a:gd name="connsiteX30279" fmla="*/ 4838903 w 10505529"/>
              <a:gd name="connsiteY30279" fmla="*/ 2402882 h 7458372"/>
              <a:gd name="connsiteX30280" fmla="*/ 4845026 w 10505529"/>
              <a:gd name="connsiteY30280" fmla="*/ 2412201 h 7458372"/>
              <a:gd name="connsiteX30281" fmla="*/ 4847289 w 10505529"/>
              <a:gd name="connsiteY30281" fmla="*/ 2423650 h 7458372"/>
              <a:gd name="connsiteX30282" fmla="*/ 4845026 w 10505529"/>
              <a:gd name="connsiteY30282" fmla="*/ 2435363 h 7458372"/>
              <a:gd name="connsiteX30283" fmla="*/ 4838903 w 10505529"/>
              <a:gd name="connsiteY30283" fmla="*/ 2444681 h 7458372"/>
              <a:gd name="connsiteX30284" fmla="*/ 4829585 w 10505529"/>
              <a:gd name="connsiteY30284" fmla="*/ 2450938 h 7458372"/>
              <a:gd name="connsiteX30285" fmla="*/ 4817870 w 10505529"/>
              <a:gd name="connsiteY30285" fmla="*/ 2453201 h 7458372"/>
              <a:gd name="connsiteX30286" fmla="*/ 4796038 w 10505529"/>
              <a:gd name="connsiteY30286" fmla="*/ 2444681 h 7458372"/>
              <a:gd name="connsiteX30287" fmla="*/ 4787652 w 10505529"/>
              <a:gd name="connsiteY30287" fmla="*/ 2423515 h 7458372"/>
              <a:gd name="connsiteX30288" fmla="*/ 4796038 w 10505529"/>
              <a:gd name="connsiteY30288" fmla="*/ 2402482 h 7458372"/>
              <a:gd name="connsiteX30289" fmla="*/ 4817870 w 10505529"/>
              <a:gd name="connsiteY30289" fmla="*/ 2393830 h 7458372"/>
              <a:gd name="connsiteX30290" fmla="*/ 4600226 w 10505529"/>
              <a:gd name="connsiteY30290" fmla="*/ 2393830 h 7458372"/>
              <a:gd name="connsiteX30291" fmla="*/ 4612073 w 10505529"/>
              <a:gd name="connsiteY30291" fmla="*/ 2396493 h 7458372"/>
              <a:gd name="connsiteX30292" fmla="*/ 4621391 w 10505529"/>
              <a:gd name="connsiteY30292" fmla="*/ 2402882 h 7458372"/>
              <a:gd name="connsiteX30293" fmla="*/ 4627514 w 10505529"/>
              <a:gd name="connsiteY30293" fmla="*/ 2412201 h 7458372"/>
              <a:gd name="connsiteX30294" fmla="*/ 4629777 w 10505529"/>
              <a:gd name="connsiteY30294" fmla="*/ 2423650 h 7458372"/>
              <a:gd name="connsiteX30295" fmla="*/ 4627514 w 10505529"/>
              <a:gd name="connsiteY30295" fmla="*/ 2435363 h 7458372"/>
              <a:gd name="connsiteX30296" fmla="*/ 4621391 w 10505529"/>
              <a:gd name="connsiteY30296" fmla="*/ 2444681 h 7458372"/>
              <a:gd name="connsiteX30297" fmla="*/ 4612073 w 10505529"/>
              <a:gd name="connsiteY30297" fmla="*/ 2450938 h 7458372"/>
              <a:gd name="connsiteX30298" fmla="*/ 4600226 w 10505529"/>
              <a:gd name="connsiteY30298" fmla="*/ 2453201 h 7458372"/>
              <a:gd name="connsiteX30299" fmla="*/ 4578393 w 10505529"/>
              <a:gd name="connsiteY30299" fmla="*/ 2444681 h 7458372"/>
              <a:gd name="connsiteX30300" fmla="*/ 4570007 w 10505529"/>
              <a:gd name="connsiteY30300" fmla="*/ 2423515 h 7458372"/>
              <a:gd name="connsiteX30301" fmla="*/ 4578393 w 10505529"/>
              <a:gd name="connsiteY30301" fmla="*/ 2402482 h 7458372"/>
              <a:gd name="connsiteX30302" fmla="*/ 4600226 w 10505529"/>
              <a:gd name="connsiteY30302" fmla="*/ 2393830 h 7458372"/>
              <a:gd name="connsiteX30303" fmla="*/ 4382713 w 10505529"/>
              <a:gd name="connsiteY30303" fmla="*/ 2393830 h 7458372"/>
              <a:gd name="connsiteX30304" fmla="*/ 4394428 w 10505529"/>
              <a:gd name="connsiteY30304" fmla="*/ 2396493 h 7458372"/>
              <a:gd name="connsiteX30305" fmla="*/ 4403746 w 10505529"/>
              <a:gd name="connsiteY30305" fmla="*/ 2402882 h 7458372"/>
              <a:gd name="connsiteX30306" fmla="*/ 4409869 w 10505529"/>
              <a:gd name="connsiteY30306" fmla="*/ 2412201 h 7458372"/>
              <a:gd name="connsiteX30307" fmla="*/ 4412132 w 10505529"/>
              <a:gd name="connsiteY30307" fmla="*/ 2423650 h 7458372"/>
              <a:gd name="connsiteX30308" fmla="*/ 4409869 w 10505529"/>
              <a:gd name="connsiteY30308" fmla="*/ 2435363 h 7458372"/>
              <a:gd name="connsiteX30309" fmla="*/ 4403746 w 10505529"/>
              <a:gd name="connsiteY30309" fmla="*/ 2444681 h 7458372"/>
              <a:gd name="connsiteX30310" fmla="*/ 4394428 w 10505529"/>
              <a:gd name="connsiteY30310" fmla="*/ 2450938 h 7458372"/>
              <a:gd name="connsiteX30311" fmla="*/ 4382713 w 10505529"/>
              <a:gd name="connsiteY30311" fmla="*/ 2453201 h 7458372"/>
              <a:gd name="connsiteX30312" fmla="*/ 4360881 w 10505529"/>
              <a:gd name="connsiteY30312" fmla="*/ 2444681 h 7458372"/>
              <a:gd name="connsiteX30313" fmla="*/ 4352495 w 10505529"/>
              <a:gd name="connsiteY30313" fmla="*/ 2423515 h 7458372"/>
              <a:gd name="connsiteX30314" fmla="*/ 4360881 w 10505529"/>
              <a:gd name="connsiteY30314" fmla="*/ 2402482 h 7458372"/>
              <a:gd name="connsiteX30315" fmla="*/ 4382713 w 10505529"/>
              <a:gd name="connsiteY30315" fmla="*/ 2393830 h 7458372"/>
              <a:gd name="connsiteX30316" fmla="*/ 4165068 w 10505529"/>
              <a:gd name="connsiteY30316" fmla="*/ 2393830 h 7458372"/>
              <a:gd name="connsiteX30317" fmla="*/ 4176782 w 10505529"/>
              <a:gd name="connsiteY30317" fmla="*/ 2396493 h 7458372"/>
              <a:gd name="connsiteX30318" fmla="*/ 4186100 w 10505529"/>
              <a:gd name="connsiteY30318" fmla="*/ 2402882 h 7458372"/>
              <a:gd name="connsiteX30319" fmla="*/ 4192223 w 10505529"/>
              <a:gd name="connsiteY30319" fmla="*/ 2412201 h 7458372"/>
              <a:gd name="connsiteX30320" fmla="*/ 4194486 w 10505529"/>
              <a:gd name="connsiteY30320" fmla="*/ 2423650 h 7458372"/>
              <a:gd name="connsiteX30321" fmla="*/ 4192223 w 10505529"/>
              <a:gd name="connsiteY30321" fmla="*/ 2435363 h 7458372"/>
              <a:gd name="connsiteX30322" fmla="*/ 4186100 w 10505529"/>
              <a:gd name="connsiteY30322" fmla="*/ 2444681 h 7458372"/>
              <a:gd name="connsiteX30323" fmla="*/ 4176782 w 10505529"/>
              <a:gd name="connsiteY30323" fmla="*/ 2450938 h 7458372"/>
              <a:gd name="connsiteX30324" fmla="*/ 4165068 w 10505529"/>
              <a:gd name="connsiteY30324" fmla="*/ 2453201 h 7458372"/>
              <a:gd name="connsiteX30325" fmla="*/ 4143235 w 10505529"/>
              <a:gd name="connsiteY30325" fmla="*/ 2444681 h 7458372"/>
              <a:gd name="connsiteX30326" fmla="*/ 4134849 w 10505529"/>
              <a:gd name="connsiteY30326" fmla="*/ 2423515 h 7458372"/>
              <a:gd name="connsiteX30327" fmla="*/ 4143235 w 10505529"/>
              <a:gd name="connsiteY30327" fmla="*/ 2402482 h 7458372"/>
              <a:gd name="connsiteX30328" fmla="*/ 4165068 w 10505529"/>
              <a:gd name="connsiteY30328" fmla="*/ 2393830 h 7458372"/>
              <a:gd name="connsiteX30329" fmla="*/ 3947558 w 10505529"/>
              <a:gd name="connsiteY30329" fmla="*/ 2393830 h 7458372"/>
              <a:gd name="connsiteX30330" fmla="*/ 3959274 w 10505529"/>
              <a:gd name="connsiteY30330" fmla="*/ 2396493 h 7458372"/>
              <a:gd name="connsiteX30331" fmla="*/ 3968592 w 10505529"/>
              <a:gd name="connsiteY30331" fmla="*/ 2402882 h 7458372"/>
              <a:gd name="connsiteX30332" fmla="*/ 3974716 w 10505529"/>
              <a:gd name="connsiteY30332" fmla="*/ 2412201 h 7458372"/>
              <a:gd name="connsiteX30333" fmla="*/ 3976979 w 10505529"/>
              <a:gd name="connsiteY30333" fmla="*/ 2423650 h 7458372"/>
              <a:gd name="connsiteX30334" fmla="*/ 3974716 w 10505529"/>
              <a:gd name="connsiteY30334" fmla="*/ 2435363 h 7458372"/>
              <a:gd name="connsiteX30335" fmla="*/ 3968592 w 10505529"/>
              <a:gd name="connsiteY30335" fmla="*/ 2444681 h 7458372"/>
              <a:gd name="connsiteX30336" fmla="*/ 3959274 w 10505529"/>
              <a:gd name="connsiteY30336" fmla="*/ 2450938 h 7458372"/>
              <a:gd name="connsiteX30337" fmla="*/ 3947558 w 10505529"/>
              <a:gd name="connsiteY30337" fmla="*/ 2453201 h 7458372"/>
              <a:gd name="connsiteX30338" fmla="*/ 3925726 w 10505529"/>
              <a:gd name="connsiteY30338" fmla="*/ 2444681 h 7458372"/>
              <a:gd name="connsiteX30339" fmla="*/ 3917340 w 10505529"/>
              <a:gd name="connsiteY30339" fmla="*/ 2423515 h 7458372"/>
              <a:gd name="connsiteX30340" fmla="*/ 3925726 w 10505529"/>
              <a:gd name="connsiteY30340" fmla="*/ 2402482 h 7458372"/>
              <a:gd name="connsiteX30341" fmla="*/ 3947558 w 10505529"/>
              <a:gd name="connsiteY30341" fmla="*/ 2393830 h 7458372"/>
              <a:gd name="connsiteX30342" fmla="*/ 3729907 w 10505529"/>
              <a:gd name="connsiteY30342" fmla="*/ 2393830 h 7458372"/>
              <a:gd name="connsiteX30343" fmla="*/ 3741622 w 10505529"/>
              <a:gd name="connsiteY30343" fmla="*/ 2396493 h 7458372"/>
              <a:gd name="connsiteX30344" fmla="*/ 3750940 w 10505529"/>
              <a:gd name="connsiteY30344" fmla="*/ 2402882 h 7458372"/>
              <a:gd name="connsiteX30345" fmla="*/ 3757063 w 10505529"/>
              <a:gd name="connsiteY30345" fmla="*/ 2412201 h 7458372"/>
              <a:gd name="connsiteX30346" fmla="*/ 3759326 w 10505529"/>
              <a:gd name="connsiteY30346" fmla="*/ 2423650 h 7458372"/>
              <a:gd name="connsiteX30347" fmla="*/ 3757063 w 10505529"/>
              <a:gd name="connsiteY30347" fmla="*/ 2435363 h 7458372"/>
              <a:gd name="connsiteX30348" fmla="*/ 3750940 w 10505529"/>
              <a:gd name="connsiteY30348" fmla="*/ 2444681 h 7458372"/>
              <a:gd name="connsiteX30349" fmla="*/ 3741622 w 10505529"/>
              <a:gd name="connsiteY30349" fmla="*/ 2450938 h 7458372"/>
              <a:gd name="connsiteX30350" fmla="*/ 3729907 w 10505529"/>
              <a:gd name="connsiteY30350" fmla="*/ 2453201 h 7458372"/>
              <a:gd name="connsiteX30351" fmla="*/ 3708072 w 10505529"/>
              <a:gd name="connsiteY30351" fmla="*/ 2444681 h 7458372"/>
              <a:gd name="connsiteX30352" fmla="*/ 3699685 w 10505529"/>
              <a:gd name="connsiteY30352" fmla="*/ 2423515 h 7458372"/>
              <a:gd name="connsiteX30353" fmla="*/ 3708072 w 10505529"/>
              <a:gd name="connsiteY30353" fmla="*/ 2402482 h 7458372"/>
              <a:gd name="connsiteX30354" fmla="*/ 3729907 w 10505529"/>
              <a:gd name="connsiteY30354" fmla="*/ 2393830 h 7458372"/>
              <a:gd name="connsiteX30355" fmla="*/ 3512254 w 10505529"/>
              <a:gd name="connsiteY30355" fmla="*/ 2393830 h 7458372"/>
              <a:gd name="connsiteX30356" fmla="*/ 3523970 w 10505529"/>
              <a:gd name="connsiteY30356" fmla="*/ 2396493 h 7458372"/>
              <a:gd name="connsiteX30357" fmla="*/ 3533288 w 10505529"/>
              <a:gd name="connsiteY30357" fmla="*/ 2402882 h 7458372"/>
              <a:gd name="connsiteX30358" fmla="*/ 3539411 w 10505529"/>
              <a:gd name="connsiteY30358" fmla="*/ 2412201 h 7458372"/>
              <a:gd name="connsiteX30359" fmla="*/ 3541674 w 10505529"/>
              <a:gd name="connsiteY30359" fmla="*/ 2423650 h 7458372"/>
              <a:gd name="connsiteX30360" fmla="*/ 3539411 w 10505529"/>
              <a:gd name="connsiteY30360" fmla="*/ 2435363 h 7458372"/>
              <a:gd name="connsiteX30361" fmla="*/ 3533288 w 10505529"/>
              <a:gd name="connsiteY30361" fmla="*/ 2444681 h 7458372"/>
              <a:gd name="connsiteX30362" fmla="*/ 3523970 w 10505529"/>
              <a:gd name="connsiteY30362" fmla="*/ 2450938 h 7458372"/>
              <a:gd name="connsiteX30363" fmla="*/ 3512254 w 10505529"/>
              <a:gd name="connsiteY30363" fmla="*/ 2453201 h 7458372"/>
              <a:gd name="connsiteX30364" fmla="*/ 3490421 w 10505529"/>
              <a:gd name="connsiteY30364" fmla="*/ 2444681 h 7458372"/>
              <a:gd name="connsiteX30365" fmla="*/ 3482034 w 10505529"/>
              <a:gd name="connsiteY30365" fmla="*/ 2423515 h 7458372"/>
              <a:gd name="connsiteX30366" fmla="*/ 3490421 w 10505529"/>
              <a:gd name="connsiteY30366" fmla="*/ 2402482 h 7458372"/>
              <a:gd name="connsiteX30367" fmla="*/ 3512254 w 10505529"/>
              <a:gd name="connsiteY30367" fmla="*/ 2393830 h 7458372"/>
              <a:gd name="connsiteX30368" fmla="*/ 3294736 w 10505529"/>
              <a:gd name="connsiteY30368" fmla="*/ 2393830 h 7458372"/>
              <a:gd name="connsiteX30369" fmla="*/ 3306451 w 10505529"/>
              <a:gd name="connsiteY30369" fmla="*/ 2396493 h 7458372"/>
              <a:gd name="connsiteX30370" fmla="*/ 3315769 w 10505529"/>
              <a:gd name="connsiteY30370" fmla="*/ 2402882 h 7458372"/>
              <a:gd name="connsiteX30371" fmla="*/ 3321892 w 10505529"/>
              <a:gd name="connsiteY30371" fmla="*/ 2412201 h 7458372"/>
              <a:gd name="connsiteX30372" fmla="*/ 3324155 w 10505529"/>
              <a:gd name="connsiteY30372" fmla="*/ 2423650 h 7458372"/>
              <a:gd name="connsiteX30373" fmla="*/ 3321892 w 10505529"/>
              <a:gd name="connsiteY30373" fmla="*/ 2435363 h 7458372"/>
              <a:gd name="connsiteX30374" fmla="*/ 3315769 w 10505529"/>
              <a:gd name="connsiteY30374" fmla="*/ 2444681 h 7458372"/>
              <a:gd name="connsiteX30375" fmla="*/ 3306451 w 10505529"/>
              <a:gd name="connsiteY30375" fmla="*/ 2450938 h 7458372"/>
              <a:gd name="connsiteX30376" fmla="*/ 3294736 w 10505529"/>
              <a:gd name="connsiteY30376" fmla="*/ 2453201 h 7458372"/>
              <a:gd name="connsiteX30377" fmla="*/ 3272901 w 10505529"/>
              <a:gd name="connsiteY30377" fmla="*/ 2444681 h 7458372"/>
              <a:gd name="connsiteX30378" fmla="*/ 3264514 w 10505529"/>
              <a:gd name="connsiteY30378" fmla="*/ 2423515 h 7458372"/>
              <a:gd name="connsiteX30379" fmla="*/ 3272901 w 10505529"/>
              <a:gd name="connsiteY30379" fmla="*/ 2402482 h 7458372"/>
              <a:gd name="connsiteX30380" fmla="*/ 3294736 w 10505529"/>
              <a:gd name="connsiteY30380" fmla="*/ 2393830 h 7458372"/>
              <a:gd name="connsiteX30381" fmla="*/ 3077083 w 10505529"/>
              <a:gd name="connsiteY30381" fmla="*/ 2393830 h 7458372"/>
              <a:gd name="connsiteX30382" fmla="*/ 3088799 w 10505529"/>
              <a:gd name="connsiteY30382" fmla="*/ 2396493 h 7458372"/>
              <a:gd name="connsiteX30383" fmla="*/ 3098117 w 10505529"/>
              <a:gd name="connsiteY30383" fmla="*/ 2402882 h 7458372"/>
              <a:gd name="connsiteX30384" fmla="*/ 3104240 w 10505529"/>
              <a:gd name="connsiteY30384" fmla="*/ 2412201 h 7458372"/>
              <a:gd name="connsiteX30385" fmla="*/ 3106503 w 10505529"/>
              <a:gd name="connsiteY30385" fmla="*/ 2423650 h 7458372"/>
              <a:gd name="connsiteX30386" fmla="*/ 3104240 w 10505529"/>
              <a:gd name="connsiteY30386" fmla="*/ 2435363 h 7458372"/>
              <a:gd name="connsiteX30387" fmla="*/ 3098117 w 10505529"/>
              <a:gd name="connsiteY30387" fmla="*/ 2444681 h 7458372"/>
              <a:gd name="connsiteX30388" fmla="*/ 3088799 w 10505529"/>
              <a:gd name="connsiteY30388" fmla="*/ 2450938 h 7458372"/>
              <a:gd name="connsiteX30389" fmla="*/ 3077083 w 10505529"/>
              <a:gd name="connsiteY30389" fmla="*/ 2453201 h 7458372"/>
              <a:gd name="connsiteX30390" fmla="*/ 3055249 w 10505529"/>
              <a:gd name="connsiteY30390" fmla="*/ 2444681 h 7458372"/>
              <a:gd name="connsiteX30391" fmla="*/ 3046863 w 10505529"/>
              <a:gd name="connsiteY30391" fmla="*/ 2423515 h 7458372"/>
              <a:gd name="connsiteX30392" fmla="*/ 3055249 w 10505529"/>
              <a:gd name="connsiteY30392" fmla="*/ 2402482 h 7458372"/>
              <a:gd name="connsiteX30393" fmla="*/ 3077083 w 10505529"/>
              <a:gd name="connsiteY30393" fmla="*/ 2393830 h 7458372"/>
              <a:gd name="connsiteX30394" fmla="*/ 2859432 w 10505529"/>
              <a:gd name="connsiteY30394" fmla="*/ 2393830 h 7458372"/>
              <a:gd name="connsiteX30395" fmla="*/ 2871280 w 10505529"/>
              <a:gd name="connsiteY30395" fmla="*/ 2396493 h 7458372"/>
              <a:gd name="connsiteX30396" fmla="*/ 2880598 w 10505529"/>
              <a:gd name="connsiteY30396" fmla="*/ 2402882 h 7458372"/>
              <a:gd name="connsiteX30397" fmla="*/ 2886721 w 10505529"/>
              <a:gd name="connsiteY30397" fmla="*/ 2412201 h 7458372"/>
              <a:gd name="connsiteX30398" fmla="*/ 2888984 w 10505529"/>
              <a:gd name="connsiteY30398" fmla="*/ 2423650 h 7458372"/>
              <a:gd name="connsiteX30399" fmla="*/ 2886721 w 10505529"/>
              <a:gd name="connsiteY30399" fmla="*/ 2435363 h 7458372"/>
              <a:gd name="connsiteX30400" fmla="*/ 2880598 w 10505529"/>
              <a:gd name="connsiteY30400" fmla="*/ 2444681 h 7458372"/>
              <a:gd name="connsiteX30401" fmla="*/ 2871280 w 10505529"/>
              <a:gd name="connsiteY30401" fmla="*/ 2450938 h 7458372"/>
              <a:gd name="connsiteX30402" fmla="*/ 2859432 w 10505529"/>
              <a:gd name="connsiteY30402" fmla="*/ 2453201 h 7458372"/>
              <a:gd name="connsiteX30403" fmla="*/ 2837598 w 10505529"/>
              <a:gd name="connsiteY30403" fmla="*/ 2444681 h 7458372"/>
              <a:gd name="connsiteX30404" fmla="*/ 2829211 w 10505529"/>
              <a:gd name="connsiteY30404" fmla="*/ 2423515 h 7458372"/>
              <a:gd name="connsiteX30405" fmla="*/ 2837598 w 10505529"/>
              <a:gd name="connsiteY30405" fmla="*/ 2402482 h 7458372"/>
              <a:gd name="connsiteX30406" fmla="*/ 2859432 w 10505529"/>
              <a:gd name="connsiteY30406" fmla="*/ 2393830 h 7458372"/>
              <a:gd name="connsiteX30407" fmla="*/ 2641779 w 10505529"/>
              <a:gd name="connsiteY30407" fmla="*/ 2393830 h 7458372"/>
              <a:gd name="connsiteX30408" fmla="*/ 2653495 w 10505529"/>
              <a:gd name="connsiteY30408" fmla="*/ 2396493 h 7458372"/>
              <a:gd name="connsiteX30409" fmla="*/ 2662813 w 10505529"/>
              <a:gd name="connsiteY30409" fmla="*/ 2402882 h 7458372"/>
              <a:gd name="connsiteX30410" fmla="*/ 2668936 w 10505529"/>
              <a:gd name="connsiteY30410" fmla="*/ 2412201 h 7458372"/>
              <a:gd name="connsiteX30411" fmla="*/ 2671199 w 10505529"/>
              <a:gd name="connsiteY30411" fmla="*/ 2423650 h 7458372"/>
              <a:gd name="connsiteX30412" fmla="*/ 2668936 w 10505529"/>
              <a:gd name="connsiteY30412" fmla="*/ 2435363 h 7458372"/>
              <a:gd name="connsiteX30413" fmla="*/ 2662813 w 10505529"/>
              <a:gd name="connsiteY30413" fmla="*/ 2444681 h 7458372"/>
              <a:gd name="connsiteX30414" fmla="*/ 2653495 w 10505529"/>
              <a:gd name="connsiteY30414" fmla="*/ 2450938 h 7458372"/>
              <a:gd name="connsiteX30415" fmla="*/ 2641779 w 10505529"/>
              <a:gd name="connsiteY30415" fmla="*/ 2453201 h 7458372"/>
              <a:gd name="connsiteX30416" fmla="*/ 2619947 w 10505529"/>
              <a:gd name="connsiteY30416" fmla="*/ 2444681 h 7458372"/>
              <a:gd name="connsiteX30417" fmla="*/ 2611560 w 10505529"/>
              <a:gd name="connsiteY30417" fmla="*/ 2423515 h 7458372"/>
              <a:gd name="connsiteX30418" fmla="*/ 2619947 w 10505529"/>
              <a:gd name="connsiteY30418" fmla="*/ 2402482 h 7458372"/>
              <a:gd name="connsiteX30419" fmla="*/ 2641779 w 10505529"/>
              <a:gd name="connsiteY30419" fmla="*/ 2393830 h 7458372"/>
              <a:gd name="connsiteX30420" fmla="*/ 2424127 w 10505529"/>
              <a:gd name="connsiteY30420" fmla="*/ 2393830 h 7458372"/>
              <a:gd name="connsiteX30421" fmla="*/ 2435843 w 10505529"/>
              <a:gd name="connsiteY30421" fmla="*/ 2396493 h 7458372"/>
              <a:gd name="connsiteX30422" fmla="*/ 2445161 w 10505529"/>
              <a:gd name="connsiteY30422" fmla="*/ 2402882 h 7458372"/>
              <a:gd name="connsiteX30423" fmla="*/ 2451284 w 10505529"/>
              <a:gd name="connsiteY30423" fmla="*/ 2412201 h 7458372"/>
              <a:gd name="connsiteX30424" fmla="*/ 2453547 w 10505529"/>
              <a:gd name="connsiteY30424" fmla="*/ 2423650 h 7458372"/>
              <a:gd name="connsiteX30425" fmla="*/ 2451284 w 10505529"/>
              <a:gd name="connsiteY30425" fmla="*/ 2435363 h 7458372"/>
              <a:gd name="connsiteX30426" fmla="*/ 2445161 w 10505529"/>
              <a:gd name="connsiteY30426" fmla="*/ 2444681 h 7458372"/>
              <a:gd name="connsiteX30427" fmla="*/ 2435843 w 10505529"/>
              <a:gd name="connsiteY30427" fmla="*/ 2450938 h 7458372"/>
              <a:gd name="connsiteX30428" fmla="*/ 2424127 w 10505529"/>
              <a:gd name="connsiteY30428" fmla="*/ 2453201 h 7458372"/>
              <a:gd name="connsiteX30429" fmla="*/ 2402295 w 10505529"/>
              <a:gd name="connsiteY30429" fmla="*/ 2444681 h 7458372"/>
              <a:gd name="connsiteX30430" fmla="*/ 2393908 w 10505529"/>
              <a:gd name="connsiteY30430" fmla="*/ 2423515 h 7458372"/>
              <a:gd name="connsiteX30431" fmla="*/ 2402295 w 10505529"/>
              <a:gd name="connsiteY30431" fmla="*/ 2402482 h 7458372"/>
              <a:gd name="connsiteX30432" fmla="*/ 2424127 w 10505529"/>
              <a:gd name="connsiteY30432" fmla="*/ 2393830 h 7458372"/>
              <a:gd name="connsiteX30433" fmla="*/ 2206475 w 10505529"/>
              <a:gd name="connsiteY30433" fmla="*/ 2393830 h 7458372"/>
              <a:gd name="connsiteX30434" fmla="*/ 2218190 w 10505529"/>
              <a:gd name="connsiteY30434" fmla="*/ 2396493 h 7458372"/>
              <a:gd name="connsiteX30435" fmla="*/ 2227509 w 10505529"/>
              <a:gd name="connsiteY30435" fmla="*/ 2402882 h 7458372"/>
              <a:gd name="connsiteX30436" fmla="*/ 2233632 w 10505529"/>
              <a:gd name="connsiteY30436" fmla="*/ 2412201 h 7458372"/>
              <a:gd name="connsiteX30437" fmla="*/ 2235895 w 10505529"/>
              <a:gd name="connsiteY30437" fmla="*/ 2423650 h 7458372"/>
              <a:gd name="connsiteX30438" fmla="*/ 2233632 w 10505529"/>
              <a:gd name="connsiteY30438" fmla="*/ 2435363 h 7458372"/>
              <a:gd name="connsiteX30439" fmla="*/ 2227509 w 10505529"/>
              <a:gd name="connsiteY30439" fmla="*/ 2444681 h 7458372"/>
              <a:gd name="connsiteX30440" fmla="*/ 2218190 w 10505529"/>
              <a:gd name="connsiteY30440" fmla="*/ 2450938 h 7458372"/>
              <a:gd name="connsiteX30441" fmla="*/ 2206475 w 10505529"/>
              <a:gd name="connsiteY30441" fmla="*/ 2453201 h 7458372"/>
              <a:gd name="connsiteX30442" fmla="*/ 2184643 w 10505529"/>
              <a:gd name="connsiteY30442" fmla="*/ 2444681 h 7458372"/>
              <a:gd name="connsiteX30443" fmla="*/ 2176256 w 10505529"/>
              <a:gd name="connsiteY30443" fmla="*/ 2423515 h 7458372"/>
              <a:gd name="connsiteX30444" fmla="*/ 2184643 w 10505529"/>
              <a:gd name="connsiteY30444" fmla="*/ 2402482 h 7458372"/>
              <a:gd name="connsiteX30445" fmla="*/ 2206475 w 10505529"/>
              <a:gd name="connsiteY30445" fmla="*/ 2393830 h 7458372"/>
              <a:gd name="connsiteX30446" fmla="*/ 1988956 w 10505529"/>
              <a:gd name="connsiteY30446" fmla="*/ 2393830 h 7458372"/>
              <a:gd name="connsiteX30447" fmla="*/ 2000671 w 10505529"/>
              <a:gd name="connsiteY30447" fmla="*/ 2396493 h 7458372"/>
              <a:gd name="connsiteX30448" fmla="*/ 2009989 w 10505529"/>
              <a:gd name="connsiteY30448" fmla="*/ 2402882 h 7458372"/>
              <a:gd name="connsiteX30449" fmla="*/ 2016113 w 10505529"/>
              <a:gd name="connsiteY30449" fmla="*/ 2412201 h 7458372"/>
              <a:gd name="connsiteX30450" fmla="*/ 2018376 w 10505529"/>
              <a:gd name="connsiteY30450" fmla="*/ 2423650 h 7458372"/>
              <a:gd name="connsiteX30451" fmla="*/ 2016113 w 10505529"/>
              <a:gd name="connsiteY30451" fmla="*/ 2435363 h 7458372"/>
              <a:gd name="connsiteX30452" fmla="*/ 2009989 w 10505529"/>
              <a:gd name="connsiteY30452" fmla="*/ 2444681 h 7458372"/>
              <a:gd name="connsiteX30453" fmla="*/ 2000671 w 10505529"/>
              <a:gd name="connsiteY30453" fmla="*/ 2450938 h 7458372"/>
              <a:gd name="connsiteX30454" fmla="*/ 1988956 w 10505529"/>
              <a:gd name="connsiteY30454" fmla="*/ 2453201 h 7458372"/>
              <a:gd name="connsiteX30455" fmla="*/ 1967125 w 10505529"/>
              <a:gd name="connsiteY30455" fmla="*/ 2444681 h 7458372"/>
              <a:gd name="connsiteX30456" fmla="*/ 1958739 w 10505529"/>
              <a:gd name="connsiteY30456" fmla="*/ 2423515 h 7458372"/>
              <a:gd name="connsiteX30457" fmla="*/ 1967125 w 10505529"/>
              <a:gd name="connsiteY30457" fmla="*/ 2402482 h 7458372"/>
              <a:gd name="connsiteX30458" fmla="*/ 1988956 w 10505529"/>
              <a:gd name="connsiteY30458" fmla="*/ 2393830 h 7458372"/>
              <a:gd name="connsiteX30459" fmla="*/ 1771316 w 10505529"/>
              <a:gd name="connsiteY30459" fmla="*/ 2393830 h 7458372"/>
              <a:gd name="connsiteX30460" fmla="*/ 1783031 w 10505529"/>
              <a:gd name="connsiteY30460" fmla="*/ 2396493 h 7458372"/>
              <a:gd name="connsiteX30461" fmla="*/ 1792348 w 10505529"/>
              <a:gd name="connsiteY30461" fmla="*/ 2402882 h 7458372"/>
              <a:gd name="connsiteX30462" fmla="*/ 1798472 w 10505529"/>
              <a:gd name="connsiteY30462" fmla="*/ 2412201 h 7458372"/>
              <a:gd name="connsiteX30463" fmla="*/ 1800734 w 10505529"/>
              <a:gd name="connsiteY30463" fmla="*/ 2423650 h 7458372"/>
              <a:gd name="connsiteX30464" fmla="*/ 1798472 w 10505529"/>
              <a:gd name="connsiteY30464" fmla="*/ 2435363 h 7458372"/>
              <a:gd name="connsiteX30465" fmla="*/ 1792348 w 10505529"/>
              <a:gd name="connsiteY30465" fmla="*/ 2444681 h 7458372"/>
              <a:gd name="connsiteX30466" fmla="*/ 1783031 w 10505529"/>
              <a:gd name="connsiteY30466" fmla="*/ 2450938 h 7458372"/>
              <a:gd name="connsiteX30467" fmla="*/ 1771316 w 10505529"/>
              <a:gd name="connsiteY30467" fmla="*/ 2453201 h 7458372"/>
              <a:gd name="connsiteX30468" fmla="*/ 1749486 w 10505529"/>
              <a:gd name="connsiteY30468" fmla="*/ 2444681 h 7458372"/>
              <a:gd name="connsiteX30469" fmla="*/ 1741101 w 10505529"/>
              <a:gd name="connsiteY30469" fmla="*/ 2423515 h 7458372"/>
              <a:gd name="connsiteX30470" fmla="*/ 1749486 w 10505529"/>
              <a:gd name="connsiteY30470" fmla="*/ 2402482 h 7458372"/>
              <a:gd name="connsiteX30471" fmla="*/ 1771316 w 10505529"/>
              <a:gd name="connsiteY30471" fmla="*/ 2393830 h 7458372"/>
              <a:gd name="connsiteX30472" fmla="*/ 1553674 w 10505529"/>
              <a:gd name="connsiteY30472" fmla="*/ 2393830 h 7458372"/>
              <a:gd name="connsiteX30473" fmla="*/ 1565389 w 10505529"/>
              <a:gd name="connsiteY30473" fmla="*/ 2396493 h 7458372"/>
              <a:gd name="connsiteX30474" fmla="*/ 1574707 w 10505529"/>
              <a:gd name="connsiteY30474" fmla="*/ 2402882 h 7458372"/>
              <a:gd name="connsiteX30475" fmla="*/ 1580831 w 10505529"/>
              <a:gd name="connsiteY30475" fmla="*/ 2412201 h 7458372"/>
              <a:gd name="connsiteX30476" fmla="*/ 1583094 w 10505529"/>
              <a:gd name="connsiteY30476" fmla="*/ 2423650 h 7458372"/>
              <a:gd name="connsiteX30477" fmla="*/ 1580831 w 10505529"/>
              <a:gd name="connsiteY30477" fmla="*/ 2435363 h 7458372"/>
              <a:gd name="connsiteX30478" fmla="*/ 1574707 w 10505529"/>
              <a:gd name="connsiteY30478" fmla="*/ 2444681 h 7458372"/>
              <a:gd name="connsiteX30479" fmla="*/ 1565389 w 10505529"/>
              <a:gd name="connsiteY30479" fmla="*/ 2450938 h 7458372"/>
              <a:gd name="connsiteX30480" fmla="*/ 1553674 w 10505529"/>
              <a:gd name="connsiteY30480" fmla="*/ 2453201 h 7458372"/>
              <a:gd name="connsiteX30481" fmla="*/ 1531843 w 10505529"/>
              <a:gd name="connsiteY30481" fmla="*/ 2444681 h 7458372"/>
              <a:gd name="connsiteX30482" fmla="*/ 1523457 w 10505529"/>
              <a:gd name="connsiteY30482" fmla="*/ 2423515 h 7458372"/>
              <a:gd name="connsiteX30483" fmla="*/ 1531843 w 10505529"/>
              <a:gd name="connsiteY30483" fmla="*/ 2402482 h 7458372"/>
              <a:gd name="connsiteX30484" fmla="*/ 1553674 w 10505529"/>
              <a:gd name="connsiteY30484" fmla="*/ 2393830 h 7458372"/>
              <a:gd name="connsiteX30485" fmla="*/ 1336029 w 10505529"/>
              <a:gd name="connsiteY30485" fmla="*/ 2393830 h 7458372"/>
              <a:gd name="connsiteX30486" fmla="*/ 1347746 w 10505529"/>
              <a:gd name="connsiteY30486" fmla="*/ 2396493 h 7458372"/>
              <a:gd name="connsiteX30487" fmla="*/ 1357064 w 10505529"/>
              <a:gd name="connsiteY30487" fmla="*/ 2402882 h 7458372"/>
              <a:gd name="connsiteX30488" fmla="*/ 1363186 w 10505529"/>
              <a:gd name="connsiteY30488" fmla="*/ 2412201 h 7458372"/>
              <a:gd name="connsiteX30489" fmla="*/ 1365449 w 10505529"/>
              <a:gd name="connsiteY30489" fmla="*/ 2423650 h 7458372"/>
              <a:gd name="connsiteX30490" fmla="*/ 1363186 w 10505529"/>
              <a:gd name="connsiteY30490" fmla="*/ 2435363 h 7458372"/>
              <a:gd name="connsiteX30491" fmla="*/ 1357064 w 10505529"/>
              <a:gd name="connsiteY30491" fmla="*/ 2444681 h 7458372"/>
              <a:gd name="connsiteX30492" fmla="*/ 1347746 w 10505529"/>
              <a:gd name="connsiteY30492" fmla="*/ 2450938 h 7458372"/>
              <a:gd name="connsiteX30493" fmla="*/ 1336029 w 10505529"/>
              <a:gd name="connsiteY30493" fmla="*/ 2453201 h 7458372"/>
              <a:gd name="connsiteX30494" fmla="*/ 1314198 w 10505529"/>
              <a:gd name="connsiteY30494" fmla="*/ 2444681 h 7458372"/>
              <a:gd name="connsiteX30495" fmla="*/ 1305812 w 10505529"/>
              <a:gd name="connsiteY30495" fmla="*/ 2423515 h 7458372"/>
              <a:gd name="connsiteX30496" fmla="*/ 1314198 w 10505529"/>
              <a:gd name="connsiteY30496" fmla="*/ 2402482 h 7458372"/>
              <a:gd name="connsiteX30497" fmla="*/ 1336029 w 10505529"/>
              <a:gd name="connsiteY30497" fmla="*/ 2393830 h 7458372"/>
              <a:gd name="connsiteX30498" fmla="*/ 1118385 w 10505529"/>
              <a:gd name="connsiteY30498" fmla="*/ 2393830 h 7458372"/>
              <a:gd name="connsiteX30499" fmla="*/ 1130102 w 10505529"/>
              <a:gd name="connsiteY30499" fmla="*/ 2396493 h 7458372"/>
              <a:gd name="connsiteX30500" fmla="*/ 1139419 w 10505529"/>
              <a:gd name="connsiteY30500" fmla="*/ 2402882 h 7458372"/>
              <a:gd name="connsiteX30501" fmla="*/ 1145540 w 10505529"/>
              <a:gd name="connsiteY30501" fmla="*/ 2412201 h 7458372"/>
              <a:gd name="connsiteX30502" fmla="*/ 1147803 w 10505529"/>
              <a:gd name="connsiteY30502" fmla="*/ 2423650 h 7458372"/>
              <a:gd name="connsiteX30503" fmla="*/ 1145540 w 10505529"/>
              <a:gd name="connsiteY30503" fmla="*/ 2435363 h 7458372"/>
              <a:gd name="connsiteX30504" fmla="*/ 1139419 w 10505529"/>
              <a:gd name="connsiteY30504" fmla="*/ 2444681 h 7458372"/>
              <a:gd name="connsiteX30505" fmla="*/ 1130102 w 10505529"/>
              <a:gd name="connsiteY30505" fmla="*/ 2450938 h 7458372"/>
              <a:gd name="connsiteX30506" fmla="*/ 1118385 w 10505529"/>
              <a:gd name="connsiteY30506" fmla="*/ 2453201 h 7458372"/>
              <a:gd name="connsiteX30507" fmla="*/ 1096552 w 10505529"/>
              <a:gd name="connsiteY30507" fmla="*/ 2444681 h 7458372"/>
              <a:gd name="connsiteX30508" fmla="*/ 1088167 w 10505529"/>
              <a:gd name="connsiteY30508" fmla="*/ 2423515 h 7458372"/>
              <a:gd name="connsiteX30509" fmla="*/ 1096552 w 10505529"/>
              <a:gd name="connsiteY30509" fmla="*/ 2402482 h 7458372"/>
              <a:gd name="connsiteX30510" fmla="*/ 1118385 w 10505529"/>
              <a:gd name="connsiteY30510" fmla="*/ 2393830 h 7458372"/>
              <a:gd name="connsiteX30511" fmla="*/ 900873 w 10505529"/>
              <a:gd name="connsiteY30511" fmla="*/ 2393830 h 7458372"/>
              <a:gd name="connsiteX30512" fmla="*/ 912588 w 10505529"/>
              <a:gd name="connsiteY30512" fmla="*/ 2396493 h 7458372"/>
              <a:gd name="connsiteX30513" fmla="*/ 921906 w 10505529"/>
              <a:gd name="connsiteY30513" fmla="*/ 2402882 h 7458372"/>
              <a:gd name="connsiteX30514" fmla="*/ 928028 w 10505529"/>
              <a:gd name="connsiteY30514" fmla="*/ 2412201 h 7458372"/>
              <a:gd name="connsiteX30515" fmla="*/ 930292 w 10505529"/>
              <a:gd name="connsiteY30515" fmla="*/ 2423650 h 7458372"/>
              <a:gd name="connsiteX30516" fmla="*/ 928028 w 10505529"/>
              <a:gd name="connsiteY30516" fmla="*/ 2435363 h 7458372"/>
              <a:gd name="connsiteX30517" fmla="*/ 921906 w 10505529"/>
              <a:gd name="connsiteY30517" fmla="*/ 2444681 h 7458372"/>
              <a:gd name="connsiteX30518" fmla="*/ 912588 w 10505529"/>
              <a:gd name="connsiteY30518" fmla="*/ 2450938 h 7458372"/>
              <a:gd name="connsiteX30519" fmla="*/ 900873 w 10505529"/>
              <a:gd name="connsiteY30519" fmla="*/ 2453201 h 7458372"/>
              <a:gd name="connsiteX30520" fmla="*/ 879042 w 10505529"/>
              <a:gd name="connsiteY30520" fmla="*/ 2444681 h 7458372"/>
              <a:gd name="connsiteX30521" fmla="*/ 870656 w 10505529"/>
              <a:gd name="connsiteY30521" fmla="*/ 2423515 h 7458372"/>
              <a:gd name="connsiteX30522" fmla="*/ 879042 w 10505529"/>
              <a:gd name="connsiteY30522" fmla="*/ 2402482 h 7458372"/>
              <a:gd name="connsiteX30523" fmla="*/ 900873 w 10505529"/>
              <a:gd name="connsiteY30523" fmla="*/ 2393830 h 7458372"/>
              <a:gd name="connsiteX30524" fmla="*/ 683230 w 10505529"/>
              <a:gd name="connsiteY30524" fmla="*/ 2393830 h 7458372"/>
              <a:gd name="connsiteX30525" fmla="*/ 694945 w 10505529"/>
              <a:gd name="connsiteY30525" fmla="*/ 2396493 h 7458372"/>
              <a:gd name="connsiteX30526" fmla="*/ 704263 w 10505529"/>
              <a:gd name="connsiteY30526" fmla="*/ 2402882 h 7458372"/>
              <a:gd name="connsiteX30527" fmla="*/ 710386 w 10505529"/>
              <a:gd name="connsiteY30527" fmla="*/ 2412201 h 7458372"/>
              <a:gd name="connsiteX30528" fmla="*/ 712649 w 10505529"/>
              <a:gd name="connsiteY30528" fmla="*/ 2423650 h 7458372"/>
              <a:gd name="connsiteX30529" fmla="*/ 710386 w 10505529"/>
              <a:gd name="connsiteY30529" fmla="*/ 2435363 h 7458372"/>
              <a:gd name="connsiteX30530" fmla="*/ 704263 w 10505529"/>
              <a:gd name="connsiteY30530" fmla="*/ 2444681 h 7458372"/>
              <a:gd name="connsiteX30531" fmla="*/ 694945 w 10505529"/>
              <a:gd name="connsiteY30531" fmla="*/ 2450938 h 7458372"/>
              <a:gd name="connsiteX30532" fmla="*/ 683230 w 10505529"/>
              <a:gd name="connsiteY30532" fmla="*/ 2453201 h 7458372"/>
              <a:gd name="connsiteX30533" fmla="*/ 661398 w 10505529"/>
              <a:gd name="connsiteY30533" fmla="*/ 2444681 h 7458372"/>
              <a:gd name="connsiteX30534" fmla="*/ 653012 w 10505529"/>
              <a:gd name="connsiteY30534" fmla="*/ 2423515 h 7458372"/>
              <a:gd name="connsiteX30535" fmla="*/ 661398 w 10505529"/>
              <a:gd name="connsiteY30535" fmla="*/ 2402482 h 7458372"/>
              <a:gd name="connsiteX30536" fmla="*/ 683230 w 10505529"/>
              <a:gd name="connsiteY30536" fmla="*/ 2393830 h 7458372"/>
              <a:gd name="connsiteX30537" fmla="*/ 465586 w 10505529"/>
              <a:gd name="connsiteY30537" fmla="*/ 2393830 h 7458372"/>
              <a:gd name="connsiteX30538" fmla="*/ 477302 w 10505529"/>
              <a:gd name="connsiteY30538" fmla="*/ 2396493 h 7458372"/>
              <a:gd name="connsiteX30539" fmla="*/ 486620 w 10505529"/>
              <a:gd name="connsiteY30539" fmla="*/ 2402882 h 7458372"/>
              <a:gd name="connsiteX30540" fmla="*/ 492743 w 10505529"/>
              <a:gd name="connsiteY30540" fmla="*/ 2412201 h 7458372"/>
              <a:gd name="connsiteX30541" fmla="*/ 495006 w 10505529"/>
              <a:gd name="connsiteY30541" fmla="*/ 2423650 h 7458372"/>
              <a:gd name="connsiteX30542" fmla="*/ 492743 w 10505529"/>
              <a:gd name="connsiteY30542" fmla="*/ 2435363 h 7458372"/>
              <a:gd name="connsiteX30543" fmla="*/ 486620 w 10505529"/>
              <a:gd name="connsiteY30543" fmla="*/ 2444681 h 7458372"/>
              <a:gd name="connsiteX30544" fmla="*/ 477302 w 10505529"/>
              <a:gd name="connsiteY30544" fmla="*/ 2450938 h 7458372"/>
              <a:gd name="connsiteX30545" fmla="*/ 465586 w 10505529"/>
              <a:gd name="connsiteY30545" fmla="*/ 2453201 h 7458372"/>
              <a:gd name="connsiteX30546" fmla="*/ 443755 w 10505529"/>
              <a:gd name="connsiteY30546" fmla="*/ 2444681 h 7458372"/>
              <a:gd name="connsiteX30547" fmla="*/ 435369 w 10505529"/>
              <a:gd name="connsiteY30547" fmla="*/ 2423515 h 7458372"/>
              <a:gd name="connsiteX30548" fmla="*/ 443755 w 10505529"/>
              <a:gd name="connsiteY30548" fmla="*/ 2402482 h 7458372"/>
              <a:gd name="connsiteX30549" fmla="*/ 465586 w 10505529"/>
              <a:gd name="connsiteY30549" fmla="*/ 2393830 h 7458372"/>
              <a:gd name="connsiteX30550" fmla="*/ 247943 w 10505529"/>
              <a:gd name="connsiteY30550" fmla="*/ 2393830 h 7458372"/>
              <a:gd name="connsiteX30551" fmla="*/ 259658 w 10505529"/>
              <a:gd name="connsiteY30551" fmla="*/ 2396493 h 7458372"/>
              <a:gd name="connsiteX30552" fmla="*/ 268976 w 10505529"/>
              <a:gd name="connsiteY30552" fmla="*/ 2402882 h 7458372"/>
              <a:gd name="connsiteX30553" fmla="*/ 275099 w 10505529"/>
              <a:gd name="connsiteY30553" fmla="*/ 2412201 h 7458372"/>
              <a:gd name="connsiteX30554" fmla="*/ 277362 w 10505529"/>
              <a:gd name="connsiteY30554" fmla="*/ 2423650 h 7458372"/>
              <a:gd name="connsiteX30555" fmla="*/ 275099 w 10505529"/>
              <a:gd name="connsiteY30555" fmla="*/ 2435363 h 7458372"/>
              <a:gd name="connsiteX30556" fmla="*/ 268976 w 10505529"/>
              <a:gd name="connsiteY30556" fmla="*/ 2444681 h 7458372"/>
              <a:gd name="connsiteX30557" fmla="*/ 259658 w 10505529"/>
              <a:gd name="connsiteY30557" fmla="*/ 2450938 h 7458372"/>
              <a:gd name="connsiteX30558" fmla="*/ 247943 w 10505529"/>
              <a:gd name="connsiteY30558" fmla="*/ 2453201 h 7458372"/>
              <a:gd name="connsiteX30559" fmla="*/ 226113 w 10505529"/>
              <a:gd name="connsiteY30559" fmla="*/ 2444681 h 7458372"/>
              <a:gd name="connsiteX30560" fmla="*/ 217727 w 10505529"/>
              <a:gd name="connsiteY30560" fmla="*/ 2423515 h 7458372"/>
              <a:gd name="connsiteX30561" fmla="*/ 226113 w 10505529"/>
              <a:gd name="connsiteY30561" fmla="*/ 2402482 h 7458372"/>
              <a:gd name="connsiteX30562" fmla="*/ 247943 w 10505529"/>
              <a:gd name="connsiteY30562" fmla="*/ 2393830 h 7458372"/>
              <a:gd name="connsiteX30563" fmla="*/ 30300 w 10505529"/>
              <a:gd name="connsiteY30563" fmla="*/ 2393830 h 7458372"/>
              <a:gd name="connsiteX30564" fmla="*/ 42015 w 10505529"/>
              <a:gd name="connsiteY30564" fmla="*/ 2396493 h 7458372"/>
              <a:gd name="connsiteX30565" fmla="*/ 51333 w 10505529"/>
              <a:gd name="connsiteY30565" fmla="*/ 2402882 h 7458372"/>
              <a:gd name="connsiteX30566" fmla="*/ 57456 w 10505529"/>
              <a:gd name="connsiteY30566" fmla="*/ 2412201 h 7458372"/>
              <a:gd name="connsiteX30567" fmla="*/ 59719 w 10505529"/>
              <a:gd name="connsiteY30567" fmla="*/ 2423650 h 7458372"/>
              <a:gd name="connsiteX30568" fmla="*/ 57456 w 10505529"/>
              <a:gd name="connsiteY30568" fmla="*/ 2435363 h 7458372"/>
              <a:gd name="connsiteX30569" fmla="*/ 51333 w 10505529"/>
              <a:gd name="connsiteY30569" fmla="*/ 2444681 h 7458372"/>
              <a:gd name="connsiteX30570" fmla="*/ 42015 w 10505529"/>
              <a:gd name="connsiteY30570" fmla="*/ 2450938 h 7458372"/>
              <a:gd name="connsiteX30571" fmla="*/ 30300 w 10505529"/>
              <a:gd name="connsiteY30571" fmla="*/ 2453201 h 7458372"/>
              <a:gd name="connsiteX30572" fmla="*/ 8470 w 10505529"/>
              <a:gd name="connsiteY30572" fmla="*/ 2444681 h 7458372"/>
              <a:gd name="connsiteX30573" fmla="*/ 84 w 10505529"/>
              <a:gd name="connsiteY30573" fmla="*/ 2423515 h 7458372"/>
              <a:gd name="connsiteX30574" fmla="*/ 8470 w 10505529"/>
              <a:gd name="connsiteY30574" fmla="*/ 2402482 h 7458372"/>
              <a:gd name="connsiteX30575" fmla="*/ 30300 w 10505529"/>
              <a:gd name="connsiteY30575" fmla="*/ 2393830 h 7458372"/>
              <a:gd name="connsiteX30576" fmla="*/ 10475977 w 10505529"/>
              <a:gd name="connsiteY30576" fmla="*/ 2192826 h 7458372"/>
              <a:gd name="connsiteX30577" fmla="*/ 10465992 w 10505529"/>
              <a:gd name="connsiteY30577" fmla="*/ 2196420 h 7458372"/>
              <a:gd name="connsiteX30578" fmla="*/ 10462399 w 10505529"/>
              <a:gd name="connsiteY30578" fmla="*/ 2205871 h 7458372"/>
              <a:gd name="connsiteX30579" fmla="*/ 10465992 w 10505529"/>
              <a:gd name="connsiteY30579" fmla="*/ 2215322 h 7458372"/>
              <a:gd name="connsiteX30580" fmla="*/ 10475977 w 10505529"/>
              <a:gd name="connsiteY30580" fmla="*/ 2218783 h 7458372"/>
              <a:gd name="connsiteX30581" fmla="*/ 10481302 w 10505529"/>
              <a:gd name="connsiteY30581" fmla="*/ 2217851 h 7458372"/>
              <a:gd name="connsiteX30582" fmla="*/ 10485029 w 10505529"/>
              <a:gd name="connsiteY30582" fmla="*/ 2215455 h 7458372"/>
              <a:gd name="connsiteX30583" fmla="*/ 10487691 w 10505529"/>
              <a:gd name="connsiteY30583" fmla="*/ 2211196 h 7458372"/>
              <a:gd name="connsiteX30584" fmla="*/ 10488623 w 10505529"/>
              <a:gd name="connsiteY30584" fmla="*/ 2205738 h 7458372"/>
              <a:gd name="connsiteX30585" fmla="*/ 10487691 w 10505529"/>
              <a:gd name="connsiteY30585" fmla="*/ 2200546 h 7458372"/>
              <a:gd name="connsiteX30586" fmla="*/ 10485029 w 10505529"/>
              <a:gd name="connsiteY30586" fmla="*/ 2196420 h 7458372"/>
              <a:gd name="connsiteX30587" fmla="*/ 10481035 w 10505529"/>
              <a:gd name="connsiteY30587" fmla="*/ 2193757 h 7458372"/>
              <a:gd name="connsiteX30588" fmla="*/ 10475977 w 10505529"/>
              <a:gd name="connsiteY30588" fmla="*/ 2192826 h 7458372"/>
              <a:gd name="connsiteX30589" fmla="*/ 10258466 w 10505529"/>
              <a:gd name="connsiteY30589" fmla="*/ 2192826 h 7458372"/>
              <a:gd name="connsiteX30590" fmla="*/ 10248481 w 10505529"/>
              <a:gd name="connsiteY30590" fmla="*/ 2196420 h 7458372"/>
              <a:gd name="connsiteX30591" fmla="*/ 10244887 w 10505529"/>
              <a:gd name="connsiteY30591" fmla="*/ 2205871 h 7458372"/>
              <a:gd name="connsiteX30592" fmla="*/ 10248481 w 10505529"/>
              <a:gd name="connsiteY30592" fmla="*/ 2215322 h 7458372"/>
              <a:gd name="connsiteX30593" fmla="*/ 10258466 w 10505529"/>
              <a:gd name="connsiteY30593" fmla="*/ 2218783 h 7458372"/>
              <a:gd name="connsiteX30594" fmla="*/ 10263790 w 10505529"/>
              <a:gd name="connsiteY30594" fmla="*/ 2217851 h 7458372"/>
              <a:gd name="connsiteX30595" fmla="*/ 10267517 w 10505529"/>
              <a:gd name="connsiteY30595" fmla="*/ 2215455 h 7458372"/>
              <a:gd name="connsiteX30596" fmla="*/ 10270180 w 10505529"/>
              <a:gd name="connsiteY30596" fmla="*/ 2211196 h 7458372"/>
              <a:gd name="connsiteX30597" fmla="*/ 10271112 w 10505529"/>
              <a:gd name="connsiteY30597" fmla="*/ 2205738 h 7458372"/>
              <a:gd name="connsiteX30598" fmla="*/ 10270180 w 10505529"/>
              <a:gd name="connsiteY30598" fmla="*/ 2200546 h 7458372"/>
              <a:gd name="connsiteX30599" fmla="*/ 10267517 w 10505529"/>
              <a:gd name="connsiteY30599" fmla="*/ 2196420 h 7458372"/>
              <a:gd name="connsiteX30600" fmla="*/ 10263524 w 10505529"/>
              <a:gd name="connsiteY30600" fmla="*/ 2193757 h 7458372"/>
              <a:gd name="connsiteX30601" fmla="*/ 10258466 w 10505529"/>
              <a:gd name="connsiteY30601" fmla="*/ 2192826 h 7458372"/>
              <a:gd name="connsiteX30602" fmla="*/ 10040820 w 10505529"/>
              <a:gd name="connsiteY30602" fmla="*/ 2192826 h 7458372"/>
              <a:gd name="connsiteX30603" fmla="*/ 10030835 w 10505529"/>
              <a:gd name="connsiteY30603" fmla="*/ 2196420 h 7458372"/>
              <a:gd name="connsiteX30604" fmla="*/ 10027242 w 10505529"/>
              <a:gd name="connsiteY30604" fmla="*/ 2205871 h 7458372"/>
              <a:gd name="connsiteX30605" fmla="*/ 10030835 w 10505529"/>
              <a:gd name="connsiteY30605" fmla="*/ 2215322 h 7458372"/>
              <a:gd name="connsiteX30606" fmla="*/ 10040820 w 10505529"/>
              <a:gd name="connsiteY30606" fmla="*/ 2218783 h 7458372"/>
              <a:gd name="connsiteX30607" fmla="*/ 10046145 w 10505529"/>
              <a:gd name="connsiteY30607" fmla="*/ 2217851 h 7458372"/>
              <a:gd name="connsiteX30608" fmla="*/ 10049872 w 10505529"/>
              <a:gd name="connsiteY30608" fmla="*/ 2215455 h 7458372"/>
              <a:gd name="connsiteX30609" fmla="*/ 10052534 w 10505529"/>
              <a:gd name="connsiteY30609" fmla="*/ 2211196 h 7458372"/>
              <a:gd name="connsiteX30610" fmla="*/ 10053599 w 10505529"/>
              <a:gd name="connsiteY30610" fmla="*/ 2205738 h 7458372"/>
              <a:gd name="connsiteX30611" fmla="*/ 10052534 w 10505529"/>
              <a:gd name="connsiteY30611" fmla="*/ 2200546 h 7458372"/>
              <a:gd name="connsiteX30612" fmla="*/ 10049872 w 10505529"/>
              <a:gd name="connsiteY30612" fmla="*/ 2196420 h 7458372"/>
              <a:gd name="connsiteX30613" fmla="*/ 10045878 w 10505529"/>
              <a:gd name="connsiteY30613" fmla="*/ 2193757 h 7458372"/>
              <a:gd name="connsiteX30614" fmla="*/ 10040820 w 10505529"/>
              <a:gd name="connsiteY30614" fmla="*/ 2192826 h 7458372"/>
              <a:gd name="connsiteX30615" fmla="*/ 9823176 w 10505529"/>
              <a:gd name="connsiteY30615" fmla="*/ 2192826 h 7458372"/>
              <a:gd name="connsiteX30616" fmla="*/ 9813191 w 10505529"/>
              <a:gd name="connsiteY30616" fmla="*/ 2196420 h 7458372"/>
              <a:gd name="connsiteX30617" fmla="*/ 9809597 w 10505529"/>
              <a:gd name="connsiteY30617" fmla="*/ 2205871 h 7458372"/>
              <a:gd name="connsiteX30618" fmla="*/ 9813191 w 10505529"/>
              <a:gd name="connsiteY30618" fmla="*/ 2215322 h 7458372"/>
              <a:gd name="connsiteX30619" fmla="*/ 9823176 w 10505529"/>
              <a:gd name="connsiteY30619" fmla="*/ 2218783 h 7458372"/>
              <a:gd name="connsiteX30620" fmla="*/ 9828501 w 10505529"/>
              <a:gd name="connsiteY30620" fmla="*/ 2217851 h 7458372"/>
              <a:gd name="connsiteX30621" fmla="*/ 9832227 w 10505529"/>
              <a:gd name="connsiteY30621" fmla="*/ 2215455 h 7458372"/>
              <a:gd name="connsiteX30622" fmla="*/ 9834890 w 10505529"/>
              <a:gd name="connsiteY30622" fmla="*/ 2211196 h 7458372"/>
              <a:gd name="connsiteX30623" fmla="*/ 9835955 w 10505529"/>
              <a:gd name="connsiteY30623" fmla="*/ 2205738 h 7458372"/>
              <a:gd name="connsiteX30624" fmla="*/ 9834890 w 10505529"/>
              <a:gd name="connsiteY30624" fmla="*/ 2200546 h 7458372"/>
              <a:gd name="connsiteX30625" fmla="*/ 9832227 w 10505529"/>
              <a:gd name="connsiteY30625" fmla="*/ 2196420 h 7458372"/>
              <a:gd name="connsiteX30626" fmla="*/ 9828234 w 10505529"/>
              <a:gd name="connsiteY30626" fmla="*/ 2193757 h 7458372"/>
              <a:gd name="connsiteX30627" fmla="*/ 9823176 w 10505529"/>
              <a:gd name="connsiteY30627" fmla="*/ 2192826 h 7458372"/>
              <a:gd name="connsiteX30628" fmla="*/ 9605531 w 10505529"/>
              <a:gd name="connsiteY30628" fmla="*/ 2192826 h 7458372"/>
              <a:gd name="connsiteX30629" fmla="*/ 9595546 w 10505529"/>
              <a:gd name="connsiteY30629" fmla="*/ 2196420 h 7458372"/>
              <a:gd name="connsiteX30630" fmla="*/ 9591952 w 10505529"/>
              <a:gd name="connsiteY30630" fmla="*/ 2205871 h 7458372"/>
              <a:gd name="connsiteX30631" fmla="*/ 9595546 w 10505529"/>
              <a:gd name="connsiteY30631" fmla="*/ 2215322 h 7458372"/>
              <a:gd name="connsiteX30632" fmla="*/ 9605531 w 10505529"/>
              <a:gd name="connsiteY30632" fmla="*/ 2218783 h 7458372"/>
              <a:gd name="connsiteX30633" fmla="*/ 9610855 w 10505529"/>
              <a:gd name="connsiteY30633" fmla="*/ 2217851 h 7458372"/>
              <a:gd name="connsiteX30634" fmla="*/ 9614582 w 10505529"/>
              <a:gd name="connsiteY30634" fmla="*/ 2215455 h 7458372"/>
              <a:gd name="connsiteX30635" fmla="*/ 9617245 w 10505529"/>
              <a:gd name="connsiteY30635" fmla="*/ 2211196 h 7458372"/>
              <a:gd name="connsiteX30636" fmla="*/ 9618309 w 10505529"/>
              <a:gd name="connsiteY30636" fmla="*/ 2205738 h 7458372"/>
              <a:gd name="connsiteX30637" fmla="*/ 9617245 w 10505529"/>
              <a:gd name="connsiteY30637" fmla="*/ 2200546 h 7458372"/>
              <a:gd name="connsiteX30638" fmla="*/ 9614582 w 10505529"/>
              <a:gd name="connsiteY30638" fmla="*/ 2196420 h 7458372"/>
              <a:gd name="connsiteX30639" fmla="*/ 9610589 w 10505529"/>
              <a:gd name="connsiteY30639" fmla="*/ 2193757 h 7458372"/>
              <a:gd name="connsiteX30640" fmla="*/ 9605531 w 10505529"/>
              <a:gd name="connsiteY30640" fmla="*/ 2192826 h 7458372"/>
              <a:gd name="connsiteX30641" fmla="*/ 9387885 w 10505529"/>
              <a:gd name="connsiteY30641" fmla="*/ 2192826 h 7458372"/>
              <a:gd name="connsiteX30642" fmla="*/ 9377900 w 10505529"/>
              <a:gd name="connsiteY30642" fmla="*/ 2196420 h 7458372"/>
              <a:gd name="connsiteX30643" fmla="*/ 9374307 w 10505529"/>
              <a:gd name="connsiteY30643" fmla="*/ 2205871 h 7458372"/>
              <a:gd name="connsiteX30644" fmla="*/ 9377900 w 10505529"/>
              <a:gd name="connsiteY30644" fmla="*/ 2215322 h 7458372"/>
              <a:gd name="connsiteX30645" fmla="*/ 9387885 w 10505529"/>
              <a:gd name="connsiteY30645" fmla="*/ 2218783 h 7458372"/>
              <a:gd name="connsiteX30646" fmla="*/ 9393210 w 10505529"/>
              <a:gd name="connsiteY30646" fmla="*/ 2217851 h 7458372"/>
              <a:gd name="connsiteX30647" fmla="*/ 9396937 w 10505529"/>
              <a:gd name="connsiteY30647" fmla="*/ 2215455 h 7458372"/>
              <a:gd name="connsiteX30648" fmla="*/ 9399599 w 10505529"/>
              <a:gd name="connsiteY30648" fmla="*/ 2211196 h 7458372"/>
              <a:gd name="connsiteX30649" fmla="*/ 9400664 w 10505529"/>
              <a:gd name="connsiteY30649" fmla="*/ 2205738 h 7458372"/>
              <a:gd name="connsiteX30650" fmla="*/ 9399599 w 10505529"/>
              <a:gd name="connsiteY30650" fmla="*/ 2200546 h 7458372"/>
              <a:gd name="connsiteX30651" fmla="*/ 9396937 w 10505529"/>
              <a:gd name="connsiteY30651" fmla="*/ 2196420 h 7458372"/>
              <a:gd name="connsiteX30652" fmla="*/ 9392943 w 10505529"/>
              <a:gd name="connsiteY30652" fmla="*/ 2193757 h 7458372"/>
              <a:gd name="connsiteX30653" fmla="*/ 9387885 w 10505529"/>
              <a:gd name="connsiteY30653" fmla="*/ 2192826 h 7458372"/>
              <a:gd name="connsiteX30654" fmla="*/ 9170374 w 10505529"/>
              <a:gd name="connsiteY30654" fmla="*/ 2192826 h 7458372"/>
              <a:gd name="connsiteX30655" fmla="*/ 9160389 w 10505529"/>
              <a:gd name="connsiteY30655" fmla="*/ 2196420 h 7458372"/>
              <a:gd name="connsiteX30656" fmla="*/ 9156795 w 10505529"/>
              <a:gd name="connsiteY30656" fmla="*/ 2205871 h 7458372"/>
              <a:gd name="connsiteX30657" fmla="*/ 9160389 w 10505529"/>
              <a:gd name="connsiteY30657" fmla="*/ 2215322 h 7458372"/>
              <a:gd name="connsiteX30658" fmla="*/ 9170374 w 10505529"/>
              <a:gd name="connsiteY30658" fmla="*/ 2218783 h 7458372"/>
              <a:gd name="connsiteX30659" fmla="*/ 9175698 w 10505529"/>
              <a:gd name="connsiteY30659" fmla="*/ 2217851 h 7458372"/>
              <a:gd name="connsiteX30660" fmla="*/ 9179425 w 10505529"/>
              <a:gd name="connsiteY30660" fmla="*/ 2215455 h 7458372"/>
              <a:gd name="connsiteX30661" fmla="*/ 9182088 w 10505529"/>
              <a:gd name="connsiteY30661" fmla="*/ 2211196 h 7458372"/>
              <a:gd name="connsiteX30662" fmla="*/ 9183152 w 10505529"/>
              <a:gd name="connsiteY30662" fmla="*/ 2205738 h 7458372"/>
              <a:gd name="connsiteX30663" fmla="*/ 9182088 w 10505529"/>
              <a:gd name="connsiteY30663" fmla="*/ 2200546 h 7458372"/>
              <a:gd name="connsiteX30664" fmla="*/ 9179425 w 10505529"/>
              <a:gd name="connsiteY30664" fmla="*/ 2196420 h 7458372"/>
              <a:gd name="connsiteX30665" fmla="*/ 9175432 w 10505529"/>
              <a:gd name="connsiteY30665" fmla="*/ 2193757 h 7458372"/>
              <a:gd name="connsiteX30666" fmla="*/ 9170374 w 10505529"/>
              <a:gd name="connsiteY30666" fmla="*/ 2192826 h 7458372"/>
              <a:gd name="connsiteX30667" fmla="*/ 8952728 w 10505529"/>
              <a:gd name="connsiteY30667" fmla="*/ 2192826 h 7458372"/>
              <a:gd name="connsiteX30668" fmla="*/ 8942743 w 10505529"/>
              <a:gd name="connsiteY30668" fmla="*/ 2196420 h 7458372"/>
              <a:gd name="connsiteX30669" fmla="*/ 8939150 w 10505529"/>
              <a:gd name="connsiteY30669" fmla="*/ 2205871 h 7458372"/>
              <a:gd name="connsiteX30670" fmla="*/ 8942743 w 10505529"/>
              <a:gd name="connsiteY30670" fmla="*/ 2215322 h 7458372"/>
              <a:gd name="connsiteX30671" fmla="*/ 8952728 w 10505529"/>
              <a:gd name="connsiteY30671" fmla="*/ 2218783 h 7458372"/>
              <a:gd name="connsiteX30672" fmla="*/ 8958053 w 10505529"/>
              <a:gd name="connsiteY30672" fmla="*/ 2217851 h 7458372"/>
              <a:gd name="connsiteX30673" fmla="*/ 8961780 w 10505529"/>
              <a:gd name="connsiteY30673" fmla="*/ 2215455 h 7458372"/>
              <a:gd name="connsiteX30674" fmla="*/ 8964442 w 10505529"/>
              <a:gd name="connsiteY30674" fmla="*/ 2211196 h 7458372"/>
              <a:gd name="connsiteX30675" fmla="*/ 8965507 w 10505529"/>
              <a:gd name="connsiteY30675" fmla="*/ 2205738 h 7458372"/>
              <a:gd name="connsiteX30676" fmla="*/ 8964442 w 10505529"/>
              <a:gd name="connsiteY30676" fmla="*/ 2200546 h 7458372"/>
              <a:gd name="connsiteX30677" fmla="*/ 8961780 w 10505529"/>
              <a:gd name="connsiteY30677" fmla="*/ 2196420 h 7458372"/>
              <a:gd name="connsiteX30678" fmla="*/ 8957786 w 10505529"/>
              <a:gd name="connsiteY30678" fmla="*/ 2193757 h 7458372"/>
              <a:gd name="connsiteX30679" fmla="*/ 8952728 w 10505529"/>
              <a:gd name="connsiteY30679" fmla="*/ 2192826 h 7458372"/>
              <a:gd name="connsiteX30680" fmla="*/ 8735083 w 10505529"/>
              <a:gd name="connsiteY30680" fmla="*/ 2192826 h 7458372"/>
              <a:gd name="connsiteX30681" fmla="*/ 8725098 w 10505529"/>
              <a:gd name="connsiteY30681" fmla="*/ 2196420 h 7458372"/>
              <a:gd name="connsiteX30682" fmla="*/ 8721504 w 10505529"/>
              <a:gd name="connsiteY30682" fmla="*/ 2205871 h 7458372"/>
              <a:gd name="connsiteX30683" fmla="*/ 8725098 w 10505529"/>
              <a:gd name="connsiteY30683" fmla="*/ 2215322 h 7458372"/>
              <a:gd name="connsiteX30684" fmla="*/ 8735083 w 10505529"/>
              <a:gd name="connsiteY30684" fmla="*/ 2218783 h 7458372"/>
              <a:gd name="connsiteX30685" fmla="*/ 8740407 w 10505529"/>
              <a:gd name="connsiteY30685" fmla="*/ 2217851 h 7458372"/>
              <a:gd name="connsiteX30686" fmla="*/ 8744134 w 10505529"/>
              <a:gd name="connsiteY30686" fmla="*/ 2215455 h 7458372"/>
              <a:gd name="connsiteX30687" fmla="*/ 8746797 w 10505529"/>
              <a:gd name="connsiteY30687" fmla="*/ 2211196 h 7458372"/>
              <a:gd name="connsiteX30688" fmla="*/ 8747862 w 10505529"/>
              <a:gd name="connsiteY30688" fmla="*/ 2205738 h 7458372"/>
              <a:gd name="connsiteX30689" fmla="*/ 8746797 w 10505529"/>
              <a:gd name="connsiteY30689" fmla="*/ 2200546 h 7458372"/>
              <a:gd name="connsiteX30690" fmla="*/ 8744134 w 10505529"/>
              <a:gd name="connsiteY30690" fmla="*/ 2196420 h 7458372"/>
              <a:gd name="connsiteX30691" fmla="*/ 8740141 w 10505529"/>
              <a:gd name="connsiteY30691" fmla="*/ 2193757 h 7458372"/>
              <a:gd name="connsiteX30692" fmla="*/ 8735083 w 10505529"/>
              <a:gd name="connsiteY30692" fmla="*/ 2192826 h 7458372"/>
              <a:gd name="connsiteX30693" fmla="*/ 8517438 w 10505529"/>
              <a:gd name="connsiteY30693" fmla="*/ 2192826 h 7458372"/>
              <a:gd name="connsiteX30694" fmla="*/ 8507453 w 10505529"/>
              <a:gd name="connsiteY30694" fmla="*/ 2196420 h 7458372"/>
              <a:gd name="connsiteX30695" fmla="*/ 8503860 w 10505529"/>
              <a:gd name="connsiteY30695" fmla="*/ 2205871 h 7458372"/>
              <a:gd name="connsiteX30696" fmla="*/ 8507453 w 10505529"/>
              <a:gd name="connsiteY30696" fmla="*/ 2215322 h 7458372"/>
              <a:gd name="connsiteX30697" fmla="*/ 8517438 w 10505529"/>
              <a:gd name="connsiteY30697" fmla="*/ 2218783 h 7458372"/>
              <a:gd name="connsiteX30698" fmla="*/ 8522763 w 10505529"/>
              <a:gd name="connsiteY30698" fmla="*/ 2217851 h 7458372"/>
              <a:gd name="connsiteX30699" fmla="*/ 8526490 w 10505529"/>
              <a:gd name="connsiteY30699" fmla="*/ 2215455 h 7458372"/>
              <a:gd name="connsiteX30700" fmla="*/ 8529152 w 10505529"/>
              <a:gd name="connsiteY30700" fmla="*/ 2211196 h 7458372"/>
              <a:gd name="connsiteX30701" fmla="*/ 8530084 w 10505529"/>
              <a:gd name="connsiteY30701" fmla="*/ 2205738 h 7458372"/>
              <a:gd name="connsiteX30702" fmla="*/ 8529152 w 10505529"/>
              <a:gd name="connsiteY30702" fmla="*/ 2200546 h 7458372"/>
              <a:gd name="connsiteX30703" fmla="*/ 8526490 w 10505529"/>
              <a:gd name="connsiteY30703" fmla="*/ 2196420 h 7458372"/>
              <a:gd name="connsiteX30704" fmla="*/ 8522496 w 10505529"/>
              <a:gd name="connsiteY30704" fmla="*/ 2193757 h 7458372"/>
              <a:gd name="connsiteX30705" fmla="*/ 8517438 w 10505529"/>
              <a:gd name="connsiteY30705" fmla="*/ 2192826 h 7458372"/>
              <a:gd name="connsiteX30706" fmla="*/ 8299793 w 10505529"/>
              <a:gd name="connsiteY30706" fmla="*/ 2192826 h 7458372"/>
              <a:gd name="connsiteX30707" fmla="*/ 8289809 w 10505529"/>
              <a:gd name="connsiteY30707" fmla="*/ 2196420 h 7458372"/>
              <a:gd name="connsiteX30708" fmla="*/ 8286215 w 10505529"/>
              <a:gd name="connsiteY30708" fmla="*/ 2205871 h 7458372"/>
              <a:gd name="connsiteX30709" fmla="*/ 8289809 w 10505529"/>
              <a:gd name="connsiteY30709" fmla="*/ 2215322 h 7458372"/>
              <a:gd name="connsiteX30710" fmla="*/ 8299793 w 10505529"/>
              <a:gd name="connsiteY30710" fmla="*/ 2218783 h 7458372"/>
              <a:gd name="connsiteX30711" fmla="*/ 8305118 w 10505529"/>
              <a:gd name="connsiteY30711" fmla="*/ 2217851 h 7458372"/>
              <a:gd name="connsiteX30712" fmla="*/ 8308844 w 10505529"/>
              <a:gd name="connsiteY30712" fmla="*/ 2215455 h 7458372"/>
              <a:gd name="connsiteX30713" fmla="*/ 8311507 w 10505529"/>
              <a:gd name="connsiteY30713" fmla="*/ 2211196 h 7458372"/>
              <a:gd name="connsiteX30714" fmla="*/ 8312439 w 10505529"/>
              <a:gd name="connsiteY30714" fmla="*/ 2205738 h 7458372"/>
              <a:gd name="connsiteX30715" fmla="*/ 8311507 w 10505529"/>
              <a:gd name="connsiteY30715" fmla="*/ 2200546 h 7458372"/>
              <a:gd name="connsiteX30716" fmla="*/ 8308844 w 10505529"/>
              <a:gd name="connsiteY30716" fmla="*/ 2196420 h 7458372"/>
              <a:gd name="connsiteX30717" fmla="*/ 8304851 w 10505529"/>
              <a:gd name="connsiteY30717" fmla="*/ 2193757 h 7458372"/>
              <a:gd name="connsiteX30718" fmla="*/ 8299793 w 10505529"/>
              <a:gd name="connsiteY30718" fmla="*/ 2192826 h 7458372"/>
              <a:gd name="connsiteX30719" fmla="*/ 8082281 w 10505529"/>
              <a:gd name="connsiteY30719" fmla="*/ 2192826 h 7458372"/>
              <a:gd name="connsiteX30720" fmla="*/ 8072297 w 10505529"/>
              <a:gd name="connsiteY30720" fmla="*/ 2196420 h 7458372"/>
              <a:gd name="connsiteX30721" fmla="*/ 8068703 w 10505529"/>
              <a:gd name="connsiteY30721" fmla="*/ 2205871 h 7458372"/>
              <a:gd name="connsiteX30722" fmla="*/ 8072297 w 10505529"/>
              <a:gd name="connsiteY30722" fmla="*/ 2215322 h 7458372"/>
              <a:gd name="connsiteX30723" fmla="*/ 8082281 w 10505529"/>
              <a:gd name="connsiteY30723" fmla="*/ 2218783 h 7458372"/>
              <a:gd name="connsiteX30724" fmla="*/ 8087605 w 10505529"/>
              <a:gd name="connsiteY30724" fmla="*/ 2217851 h 7458372"/>
              <a:gd name="connsiteX30725" fmla="*/ 8091332 w 10505529"/>
              <a:gd name="connsiteY30725" fmla="*/ 2215455 h 7458372"/>
              <a:gd name="connsiteX30726" fmla="*/ 8093994 w 10505529"/>
              <a:gd name="connsiteY30726" fmla="*/ 2211196 h 7458372"/>
              <a:gd name="connsiteX30727" fmla="*/ 8094926 w 10505529"/>
              <a:gd name="connsiteY30727" fmla="*/ 2205738 h 7458372"/>
              <a:gd name="connsiteX30728" fmla="*/ 8093994 w 10505529"/>
              <a:gd name="connsiteY30728" fmla="*/ 2200546 h 7458372"/>
              <a:gd name="connsiteX30729" fmla="*/ 8091332 w 10505529"/>
              <a:gd name="connsiteY30729" fmla="*/ 2196420 h 7458372"/>
              <a:gd name="connsiteX30730" fmla="*/ 8087338 w 10505529"/>
              <a:gd name="connsiteY30730" fmla="*/ 2193757 h 7458372"/>
              <a:gd name="connsiteX30731" fmla="*/ 8082281 w 10505529"/>
              <a:gd name="connsiteY30731" fmla="*/ 2192826 h 7458372"/>
              <a:gd name="connsiteX30732" fmla="*/ 7864636 w 10505529"/>
              <a:gd name="connsiteY30732" fmla="*/ 2192826 h 7458372"/>
              <a:gd name="connsiteX30733" fmla="*/ 7854652 w 10505529"/>
              <a:gd name="connsiteY30733" fmla="*/ 2196420 h 7458372"/>
              <a:gd name="connsiteX30734" fmla="*/ 7851058 w 10505529"/>
              <a:gd name="connsiteY30734" fmla="*/ 2205871 h 7458372"/>
              <a:gd name="connsiteX30735" fmla="*/ 7854652 w 10505529"/>
              <a:gd name="connsiteY30735" fmla="*/ 2215322 h 7458372"/>
              <a:gd name="connsiteX30736" fmla="*/ 7864636 w 10505529"/>
              <a:gd name="connsiteY30736" fmla="*/ 2218783 h 7458372"/>
              <a:gd name="connsiteX30737" fmla="*/ 7869961 w 10505529"/>
              <a:gd name="connsiteY30737" fmla="*/ 2217851 h 7458372"/>
              <a:gd name="connsiteX30738" fmla="*/ 7873687 w 10505529"/>
              <a:gd name="connsiteY30738" fmla="*/ 2215455 h 7458372"/>
              <a:gd name="connsiteX30739" fmla="*/ 7876350 w 10505529"/>
              <a:gd name="connsiteY30739" fmla="*/ 2211196 h 7458372"/>
              <a:gd name="connsiteX30740" fmla="*/ 7877282 w 10505529"/>
              <a:gd name="connsiteY30740" fmla="*/ 2205738 h 7458372"/>
              <a:gd name="connsiteX30741" fmla="*/ 7876350 w 10505529"/>
              <a:gd name="connsiteY30741" fmla="*/ 2200546 h 7458372"/>
              <a:gd name="connsiteX30742" fmla="*/ 7873687 w 10505529"/>
              <a:gd name="connsiteY30742" fmla="*/ 2196420 h 7458372"/>
              <a:gd name="connsiteX30743" fmla="*/ 7869694 w 10505529"/>
              <a:gd name="connsiteY30743" fmla="*/ 2193757 h 7458372"/>
              <a:gd name="connsiteX30744" fmla="*/ 7864636 w 10505529"/>
              <a:gd name="connsiteY30744" fmla="*/ 2192826 h 7458372"/>
              <a:gd name="connsiteX30745" fmla="*/ 7646991 w 10505529"/>
              <a:gd name="connsiteY30745" fmla="*/ 2192826 h 7458372"/>
              <a:gd name="connsiteX30746" fmla="*/ 7637007 w 10505529"/>
              <a:gd name="connsiteY30746" fmla="*/ 2196420 h 7458372"/>
              <a:gd name="connsiteX30747" fmla="*/ 7633413 w 10505529"/>
              <a:gd name="connsiteY30747" fmla="*/ 2205871 h 7458372"/>
              <a:gd name="connsiteX30748" fmla="*/ 7637007 w 10505529"/>
              <a:gd name="connsiteY30748" fmla="*/ 2215322 h 7458372"/>
              <a:gd name="connsiteX30749" fmla="*/ 7646991 w 10505529"/>
              <a:gd name="connsiteY30749" fmla="*/ 2218783 h 7458372"/>
              <a:gd name="connsiteX30750" fmla="*/ 7652315 w 10505529"/>
              <a:gd name="connsiteY30750" fmla="*/ 2217851 h 7458372"/>
              <a:gd name="connsiteX30751" fmla="*/ 7656042 w 10505529"/>
              <a:gd name="connsiteY30751" fmla="*/ 2215455 h 7458372"/>
              <a:gd name="connsiteX30752" fmla="*/ 7658705 w 10505529"/>
              <a:gd name="connsiteY30752" fmla="*/ 2211196 h 7458372"/>
              <a:gd name="connsiteX30753" fmla="*/ 7659769 w 10505529"/>
              <a:gd name="connsiteY30753" fmla="*/ 2205738 h 7458372"/>
              <a:gd name="connsiteX30754" fmla="*/ 7658705 w 10505529"/>
              <a:gd name="connsiteY30754" fmla="*/ 2200546 h 7458372"/>
              <a:gd name="connsiteX30755" fmla="*/ 7656042 w 10505529"/>
              <a:gd name="connsiteY30755" fmla="*/ 2196420 h 7458372"/>
              <a:gd name="connsiteX30756" fmla="*/ 7652049 w 10505529"/>
              <a:gd name="connsiteY30756" fmla="*/ 2193757 h 7458372"/>
              <a:gd name="connsiteX30757" fmla="*/ 7646991 w 10505529"/>
              <a:gd name="connsiteY30757" fmla="*/ 2192826 h 7458372"/>
              <a:gd name="connsiteX30758" fmla="*/ 7429345 w 10505529"/>
              <a:gd name="connsiteY30758" fmla="*/ 2192826 h 7458372"/>
              <a:gd name="connsiteX30759" fmla="*/ 7419361 w 10505529"/>
              <a:gd name="connsiteY30759" fmla="*/ 2196420 h 7458372"/>
              <a:gd name="connsiteX30760" fmla="*/ 7415768 w 10505529"/>
              <a:gd name="connsiteY30760" fmla="*/ 2205871 h 7458372"/>
              <a:gd name="connsiteX30761" fmla="*/ 7419361 w 10505529"/>
              <a:gd name="connsiteY30761" fmla="*/ 2215322 h 7458372"/>
              <a:gd name="connsiteX30762" fmla="*/ 7429345 w 10505529"/>
              <a:gd name="connsiteY30762" fmla="*/ 2218783 h 7458372"/>
              <a:gd name="connsiteX30763" fmla="*/ 7434670 w 10505529"/>
              <a:gd name="connsiteY30763" fmla="*/ 2217851 h 7458372"/>
              <a:gd name="connsiteX30764" fmla="*/ 7438397 w 10505529"/>
              <a:gd name="connsiteY30764" fmla="*/ 2215455 h 7458372"/>
              <a:gd name="connsiteX30765" fmla="*/ 7441059 w 10505529"/>
              <a:gd name="connsiteY30765" fmla="*/ 2211196 h 7458372"/>
              <a:gd name="connsiteX30766" fmla="*/ 7442124 w 10505529"/>
              <a:gd name="connsiteY30766" fmla="*/ 2205738 h 7458372"/>
              <a:gd name="connsiteX30767" fmla="*/ 7441059 w 10505529"/>
              <a:gd name="connsiteY30767" fmla="*/ 2200546 h 7458372"/>
              <a:gd name="connsiteX30768" fmla="*/ 7438397 w 10505529"/>
              <a:gd name="connsiteY30768" fmla="*/ 2196420 h 7458372"/>
              <a:gd name="connsiteX30769" fmla="*/ 7434403 w 10505529"/>
              <a:gd name="connsiteY30769" fmla="*/ 2193757 h 7458372"/>
              <a:gd name="connsiteX30770" fmla="*/ 7429345 w 10505529"/>
              <a:gd name="connsiteY30770" fmla="*/ 2192826 h 7458372"/>
              <a:gd name="connsiteX30771" fmla="*/ 7211701 w 10505529"/>
              <a:gd name="connsiteY30771" fmla="*/ 2192826 h 7458372"/>
              <a:gd name="connsiteX30772" fmla="*/ 7201717 w 10505529"/>
              <a:gd name="connsiteY30772" fmla="*/ 2196420 h 7458372"/>
              <a:gd name="connsiteX30773" fmla="*/ 7198123 w 10505529"/>
              <a:gd name="connsiteY30773" fmla="*/ 2205871 h 7458372"/>
              <a:gd name="connsiteX30774" fmla="*/ 7201717 w 10505529"/>
              <a:gd name="connsiteY30774" fmla="*/ 2215322 h 7458372"/>
              <a:gd name="connsiteX30775" fmla="*/ 7211701 w 10505529"/>
              <a:gd name="connsiteY30775" fmla="*/ 2218783 h 7458372"/>
              <a:gd name="connsiteX30776" fmla="*/ 7217026 w 10505529"/>
              <a:gd name="connsiteY30776" fmla="*/ 2217851 h 7458372"/>
              <a:gd name="connsiteX30777" fmla="*/ 7220752 w 10505529"/>
              <a:gd name="connsiteY30777" fmla="*/ 2215455 h 7458372"/>
              <a:gd name="connsiteX30778" fmla="*/ 7223415 w 10505529"/>
              <a:gd name="connsiteY30778" fmla="*/ 2211196 h 7458372"/>
              <a:gd name="connsiteX30779" fmla="*/ 7224480 w 10505529"/>
              <a:gd name="connsiteY30779" fmla="*/ 2205738 h 7458372"/>
              <a:gd name="connsiteX30780" fmla="*/ 7223415 w 10505529"/>
              <a:gd name="connsiteY30780" fmla="*/ 2200546 h 7458372"/>
              <a:gd name="connsiteX30781" fmla="*/ 7220752 w 10505529"/>
              <a:gd name="connsiteY30781" fmla="*/ 2196420 h 7458372"/>
              <a:gd name="connsiteX30782" fmla="*/ 7216759 w 10505529"/>
              <a:gd name="connsiteY30782" fmla="*/ 2193757 h 7458372"/>
              <a:gd name="connsiteX30783" fmla="*/ 7211701 w 10505529"/>
              <a:gd name="connsiteY30783" fmla="*/ 2192826 h 7458372"/>
              <a:gd name="connsiteX30784" fmla="*/ 6994056 w 10505529"/>
              <a:gd name="connsiteY30784" fmla="*/ 2192826 h 7458372"/>
              <a:gd name="connsiteX30785" fmla="*/ 6984072 w 10505529"/>
              <a:gd name="connsiteY30785" fmla="*/ 2196420 h 7458372"/>
              <a:gd name="connsiteX30786" fmla="*/ 6980478 w 10505529"/>
              <a:gd name="connsiteY30786" fmla="*/ 2205871 h 7458372"/>
              <a:gd name="connsiteX30787" fmla="*/ 6984072 w 10505529"/>
              <a:gd name="connsiteY30787" fmla="*/ 2215322 h 7458372"/>
              <a:gd name="connsiteX30788" fmla="*/ 6994056 w 10505529"/>
              <a:gd name="connsiteY30788" fmla="*/ 2218783 h 7458372"/>
              <a:gd name="connsiteX30789" fmla="*/ 6999380 w 10505529"/>
              <a:gd name="connsiteY30789" fmla="*/ 2217851 h 7458372"/>
              <a:gd name="connsiteX30790" fmla="*/ 7003107 w 10505529"/>
              <a:gd name="connsiteY30790" fmla="*/ 2215455 h 7458372"/>
              <a:gd name="connsiteX30791" fmla="*/ 7005769 w 10505529"/>
              <a:gd name="connsiteY30791" fmla="*/ 2211196 h 7458372"/>
              <a:gd name="connsiteX30792" fmla="*/ 7006834 w 10505529"/>
              <a:gd name="connsiteY30792" fmla="*/ 2205738 h 7458372"/>
              <a:gd name="connsiteX30793" fmla="*/ 7005769 w 10505529"/>
              <a:gd name="connsiteY30793" fmla="*/ 2200546 h 7458372"/>
              <a:gd name="connsiteX30794" fmla="*/ 7003107 w 10505529"/>
              <a:gd name="connsiteY30794" fmla="*/ 2196420 h 7458372"/>
              <a:gd name="connsiteX30795" fmla="*/ 6999113 w 10505529"/>
              <a:gd name="connsiteY30795" fmla="*/ 2193757 h 7458372"/>
              <a:gd name="connsiteX30796" fmla="*/ 6994056 w 10505529"/>
              <a:gd name="connsiteY30796" fmla="*/ 2192826 h 7458372"/>
              <a:gd name="connsiteX30797" fmla="*/ 6776544 w 10505529"/>
              <a:gd name="connsiteY30797" fmla="*/ 2192826 h 7458372"/>
              <a:gd name="connsiteX30798" fmla="*/ 6766560 w 10505529"/>
              <a:gd name="connsiteY30798" fmla="*/ 2196420 h 7458372"/>
              <a:gd name="connsiteX30799" fmla="*/ 6762966 w 10505529"/>
              <a:gd name="connsiteY30799" fmla="*/ 2205871 h 7458372"/>
              <a:gd name="connsiteX30800" fmla="*/ 6766560 w 10505529"/>
              <a:gd name="connsiteY30800" fmla="*/ 2215322 h 7458372"/>
              <a:gd name="connsiteX30801" fmla="*/ 6776544 w 10505529"/>
              <a:gd name="connsiteY30801" fmla="*/ 2218783 h 7458372"/>
              <a:gd name="connsiteX30802" fmla="*/ 6781869 w 10505529"/>
              <a:gd name="connsiteY30802" fmla="*/ 2217851 h 7458372"/>
              <a:gd name="connsiteX30803" fmla="*/ 6785595 w 10505529"/>
              <a:gd name="connsiteY30803" fmla="*/ 2215455 h 7458372"/>
              <a:gd name="connsiteX30804" fmla="*/ 6788258 w 10505529"/>
              <a:gd name="connsiteY30804" fmla="*/ 2211196 h 7458372"/>
              <a:gd name="connsiteX30805" fmla="*/ 6789323 w 10505529"/>
              <a:gd name="connsiteY30805" fmla="*/ 2205738 h 7458372"/>
              <a:gd name="connsiteX30806" fmla="*/ 6788258 w 10505529"/>
              <a:gd name="connsiteY30806" fmla="*/ 2200546 h 7458372"/>
              <a:gd name="connsiteX30807" fmla="*/ 6785595 w 10505529"/>
              <a:gd name="connsiteY30807" fmla="*/ 2196420 h 7458372"/>
              <a:gd name="connsiteX30808" fmla="*/ 6781602 w 10505529"/>
              <a:gd name="connsiteY30808" fmla="*/ 2193757 h 7458372"/>
              <a:gd name="connsiteX30809" fmla="*/ 6776544 w 10505529"/>
              <a:gd name="connsiteY30809" fmla="*/ 2192826 h 7458372"/>
              <a:gd name="connsiteX30810" fmla="*/ 6558899 w 10505529"/>
              <a:gd name="connsiteY30810" fmla="*/ 2192826 h 7458372"/>
              <a:gd name="connsiteX30811" fmla="*/ 6548915 w 10505529"/>
              <a:gd name="connsiteY30811" fmla="*/ 2196420 h 7458372"/>
              <a:gd name="connsiteX30812" fmla="*/ 6545321 w 10505529"/>
              <a:gd name="connsiteY30812" fmla="*/ 2205871 h 7458372"/>
              <a:gd name="connsiteX30813" fmla="*/ 6548915 w 10505529"/>
              <a:gd name="connsiteY30813" fmla="*/ 2215322 h 7458372"/>
              <a:gd name="connsiteX30814" fmla="*/ 6558899 w 10505529"/>
              <a:gd name="connsiteY30814" fmla="*/ 2218783 h 7458372"/>
              <a:gd name="connsiteX30815" fmla="*/ 6564223 w 10505529"/>
              <a:gd name="connsiteY30815" fmla="*/ 2217851 h 7458372"/>
              <a:gd name="connsiteX30816" fmla="*/ 6567950 w 10505529"/>
              <a:gd name="connsiteY30816" fmla="*/ 2215455 h 7458372"/>
              <a:gd name="connsiteX30817" fmla="*/ 6570612 w 10505529"/>
              <a:gd name="connsiteY30817" fmla="*/ 2211196 h 7458372"/>
              <a:gd name="connsiteX30818" fmla="*/ 6571677 w 10505529"/>
              <a:gd name="connsiteY30818" fmla="*/ 2205738 h 7458372"/>
              <a:gd name="connsiteX30819" fmla="*/ 6570612 w 10505529"/>
              <a:gd name="connsiteY30819" fmla="*/ 2200546 h 7458372"/>
              <a:gd name="connsiteX30820" fmla="*/ 6567950 w 10505529"/>
              <a:gd name="connsiteY30820" fmla="*/ 2196420 h 7458372"/>
              <a:gd name="connsiteX30821" fmla="*/ 6563956 w 10505529"/>
              <a:gd name="connsiteY30821" fmla="*/ 2193757 h 7458372"/>
              <a:gd name="connsiteX30822" fmla="*/ 6558899 w 10505529"/>
              <a:gd name="connsiteY30822" fmla="*/ 2192826 h 7458372"/>
              <a:gd name="connsiteX30823" fmla="*/ 6341253 w 10505529"/>
              <a:gd name="connsiteY30823" fmla="*/ 2192826 h 7458372"/>
              <a:gd name="connsiteX30824" fmla="*/ 6331270 w 10505529"/>
              <a:gd name="connsiteY30824" fmla="*/ 2196420 h 7458372"/>
              <a:gd name="connsiteX30825" fmla="*/ 6327675 w 10505529"/>
              <a:gd name="connsiteY30825" fmla="*/ 2205871 h 7458372"/>
              <a:gd name="connsiteX30826" fmla="*/ 6331270 w 10505529"/>
              <a:gd name="connsiteY30826" fmla="*/ 2215322 h 7458372"/>
              <a:gd name="connsiteX30827" fmla="*/ 6341253 w 10505529"/>
              <a:gd name="connsiteY30827" fmla="*/ 2218783 h 7458372"/>
              <a:gd name="connsiteX30828" fmla="*/ 6346578 w 10505529"/>
              <a:gd name="connsiteY30828" fmla="*/ 2217851 h 7458372"/>
              <a:gd name="connsiteX30829" fmla="*/ 6350305 w 10505529"/>
              <a:gd name="connsiteY30829" fmla="*/ 2215455 h 7458372"/>
              <a:gd name="connsiteX30830" fmla="*/ 6352968 w 10505529"/>
              <a:gd name="connsiteY30830" fmla="*/ 2211196 h 7458372"/>
              <a:gd name="connsiteX30831" fmla="*/ 6354033 w 10505529"/>
              <a:gd name="connsiteY30831" fmla="*/ 2205738 h 7458372"/>
              <a:gd name="connsiteX30832" fmla="*/ 6352968 w 10505529"/>
              <a:gd name="connsiteY30832" fmla="*/ 2200546 h 7458372"/>
              <a:gd name="connsiteX30833" fmla="*/ 6350305 w 10505529"/>
              <a:gd name="connsiteY30833" fmla="*/ 2196420 h 7458372"/>
              <a:gd name="connsiteX30834" fmla="*/ 6346312 w 10505529"/>
              <a:gd name="connsiteY30834" fmla="*/ 2193757 h 7458372"/>
              <a:gd name="connsiteX30835" fmla="*/ 6341253 w 10505529"/>
              <a:gd name="connsiteY30835" fmla="*/ 2192826 h 7458372"/>
              <a:gd name="connsiteX30836" fmla="*/ 6123608 w 10505529"/>
              <a:gd name="connsiteY30836" fmla="*/ 2192826 h 7458372"/>
              <a:gd name="connsiteX30837" fmla="*/ 6113624 w 10505529"/>
              <a:gd name="connsiteY30837" fmla="*/ 2196420 h 7458372"/>
              <a:gd name="connsiteX30838" fmla="*/ 6110030 w 10505529"/>
              <a:gd name="connsiteY30838" fmla="*/ 2205871 h 7458372"/>
              <a:gd name="connsiteX30839" fmla="*/ 6113624 w 10505529"/>
              <a:gd name="connsiteY30839" fmla="*/ 2215322 h 7458372"/>
              <a:gd name="connsiteX30840" fmla="*/ 6123608 w 10505529"/>
              <a:gd name="connsiteY30840" fmla="*/ 2218783 h 7458372"/>
              <a:gd name="connsiteX30841" fmla="*/ 6128932 w 10505529"/>
              <a:gd name="connsiteY30841" fmla="*/ 2217851 h 7458372"/>
              <a:gd name="connsiteX30842" fmla="*/ 6132659 w 10505529"/>
              <a:gd name="connsiteY30842" fmla="*/ 2215455 h 7458372"/>
              <a:gd name="connsiteX30843" fmla="*/ 6135322 w 10505529"/>
              <a:gd name="connsiteY30843" fmla="*/ 2211196 h 7458372"/>
              <a:gd name="connsiteX30844" fmla="*/ 6136387 w 10505529"/>
              <a:gd name="connsiteY30844" fmla="*/ 2205738 h 7458372"/>
              <a:gd name="connsiteX30845" fmla="*/ 6135322 w 10505529"/>
              <a:gd name="connsiteY30845" fmla="*/ 2200546 h 7458372"/>
              <a:gd name="connsiteX30846" fmla="*/ 6132659 w 10505529"/>
              <a:gd name="connsiteY30846" fmla="*/ 2196420 h 7458372"/>
              <a:gd name="connsiteX30847" fmla="*/ 6128666 w 10505529"/>
              <a:gd name="connsiteY30847" fmla="*/ 2193757 h 7458372"/>
              <a:gd name="connsiteX30848" fmla="*/ 6123608 w 10505529"/>
              <a:gd name="connsiteY30848" fmla="*/ 2192826 h 7458372"/>
              <a:gd name="connsiteX30849" fmla="*/ 5905963 w 10505529"/>
              <a:gd name="connsiteY30849" fmla="*/ 2192826 h 7458372"/>
              <a:gd name="connsiteX30850" fmla="*/ 5895979 w 10505529"/>
              <a:gd name="connsiteY30850" fmla="*/ 2196420 h 7458372"/>
              <a:gd name="connsiteX30851" fmla="*/ 5892385 w 10505529"/>
              <a:gd name="connsiteY30851" fmla="*/ 2205871 h 7458372"/>
              <a:gd name="connsiteX30852" fmla="*/ 5895979 w 10505529"/>
              <a:gd name="connsiteY30852" fmla="*/ 2215322 h 7458372"/>
              <a:gd name="connsiteX30853" fmla="*/ 5905963 w 10505529"/>
              <a:gd name="connsiteY30853" fmla="*/ 2218783 h 7458372"/>
              <a:gd name="connsiteX30854" fmla="*/ 5911287 w 10505529"/>
              <a:gd name="connsiteY30854" fmla="*/ 2217851 h 7458372"/>
              <a:gd name="connsiteX30855" fmla="*/ 5915014 w 10505529"/>
              <a:gd name="connsiteY30855" fmla="*/ 2215455 h 7458372"/>
              <a:gd name="connsiteX30856" fmla="*/ 5917677 w 10505529"/>
              <a:gd name="connsiteY30856" fmla="*/ 2211196 h 7458372"/>
              <a:gd name="connsiteX30857" fmla="*/ 5918742 w 10505529"/>
              <a:gd name="connsiteY30857" fmla="*/ 2205738 h 7458372"/>
              <a:gd name="connsiteX30858" fmla="*/ 5917677 w 10505529"/>
              <a:gd name="connsiteY30858" fmla="*/ 2200546 h 7458372"/>
              <a:gd name="connsiteX30859" fmla="*/ 5915014 w 10505529"/>
              <a:gd name="connsiteY30859" fmla="*/ 2196420 h 7458372"/>
              <a:gd name="connsiteX30860" fmla="*/ 5911021 w 10505529"/>
              <a:gd name="connsiteY30860" fmla="*/ 2193757 h 7458372"/>
              <a:gd name="connsiteX30861" fmla="*/ 5905963 w 10505529"/>
              <a:gd name="connsiteY30861" fmla="*/ 2192826 h 7458372"/>
              <a:gd name="connsiteX30862" fmla="*/ 5688451 w 10505529"/>
              <a:gd name="connsiteY30862" fmla="*/ 2192826 h 7458372"/>
              <a:gd name="connsiteX30863" fmla="*/ 5678467 w 10505529"/>
              <a:gd name="connsiteY30863" fmla="*/ 2196420 h 7458372"/>
              <a:gd name="connsiteX30864" fmla="*/ 5674873 w 10505529"/>
              <a:gd name="connsiteY30864" fmla="*/ 2205871 h 7458372"/>
              <a:gd name="connsiteX30865" fmla="*/ 5678467 w 10505529"/>
              <a:gd name="connsiteY30865" fmla="*/ 2215322 h 7458372"/>
              <a:gd name="connsiteX30866" fmla="*/ 5688451 w 10505529"/>
              <a:gd name="connsiteY30866" fmla="*/ 2218783 h 7458372"/>
              <a:gd name="connsiteX30867" fmla="*/ 5693775 w 10505529"/>
              <a:gd name="connsiteY30867" fmla="*/ 2217851 h 7458372"/>
              <a:gd name="connsiteX30868" fmla="*/ 5697502 w 10505529"/>
              <a:gd name="connsiteY30868" fmla="*/ 2215455 h 7458372"/>
              <a:gd name="connsiteX30869" fmla="*/ 5700165 w 10505529"/>
              <a:gd name="connsiteY30869" fmla="*/ 2211196 h 7458372"/>
              <a:gd name="connsiteX30870" fmla="*/ 5701230 w 10505529"/>
              <a:gd name="connsiteY30870" fmla="*/ 2205738 h 7458372"/>
              <a:gd name="connsiteX30871" fmla="*/ 5700165 w 10505529"/>
              <a:gd name="connsiteY30871" fmla="*/ 2200546 h 7458372"/>
              <a:gd name="connsiteX30872" fmla="*/ 5697502 w 10505529"/>
              <a:gd name="connsiteY30872" fmla="*/ 2196420 h 7458372"/>
              <a:gd name="connsiteX30873" fmla="*/ 5693509 w 10505529"/>
              <a:gd name="connsiteY30873" fmla="*/ 2193757 h 7458372"/>
              <a:gd name="connsiteX30874" fmla="*/ 5688451 w 10505529"/>
              <a:gd name="connsiteY30874" fmla="*/ 2192826 h 7458372"/>
              <a:gd name="connsiteX30875" fmla="*/ 5470806 w 10505529"/>
              <a:gd name="connsiteY30875" fmla="*/ 2192826 h 7458372"/>
              <a:gd name="connsiteX30876" fmla="*/ 5460822 w 10505529"/>
              <a:gd name="connsiteY30876" fmla="*/ 2196420 h 7458372"/>
              <a:gd name="connsiteX30877" fmla="*/ 5457228 w 10505529"/>
              <a:gd name="connsiteY30877" fmla="*/ 2205871 h 7458372"/>
              <a:gd name="connsiteX30878" fmla="*/ 5460822 w 10505529"/>
              <a:gd name="connsiteY30878" fmla="*/ 2215322 h 7458372"/>
              <a:gd name="connsiteX30879" fmla="*/ 5470806 w 10505529"/>
              <a:gd name="connsiteY30879" fmla="*/ 2218783 h 7458372"/>
              <a:gd name="connsiteX30880" fmla="*/ 5476130 w 10505529"/>
              <a:gd name="connsiteY30880" fmla="*/ 2217851 h 7458372"/>
              <a:gd name="connsiteX30881" fmla="*/ 5479857 w 10505529"/>
              <a:gd name="connsiteY30881" fmla="*/ 2215455 h 7458372"/>
              <a:gd name="connsiteX30882" fmla="*/ 5482520 w 10505529"/>
              <a:gd name="connsiteY30882" fmla="*/ 2211196 h 7458372"/>
              <a:gd name="connsiteX30883" fmla="*/ 5483585 w 10505529"/>
              <a:gd name="connsiteY30883" fmla="*/ 2205738 h 7458372"/>
              <a:gd name="connsiteX30884" fmla="*/ 5482520 w 10505529"/>
              <a:gd name="connsiteY30884" fmla="*/ 2200546 h 7458372"/>
              <a:gd name="connsiteX30885" fmla="*/ 5479857 w 10505529"/>
              <a:gd name="connsiteY30885" fmla="*/ 2196420 h 7458372"/>
              <a:gd name="connsiteX30886" fmla="*/ 5475864 w 10505529"/>
              <a:gd name="connsiteY30886" fmla="*/ 2193757 h 7458372"/>
              <a:gd name="connsiteX30887" fmla="*/ 5470806 w 10505529"/>
              <a:gd name="connsiteY30887" fmla="*/ 2192826 h 7458372"/>
              <a:gd name="connsiteX30888" fmla="*/ 5253160 w 10505529"/>
              <a:gd name="connsiteY30888" fmla="*/ 2192826 h 7458372"/>
              <a:gd name="connsiteX30889" fmla="*/ 5243177 w 10505529"/>
              <a:gd name="connsiteY30889" fmla="*/ 2196420 h 7458372"/>
              <a:gd name="connsiteX30890" fmla="*/ 5239583 w 10505529"/>
              <a:gd name="connsiteY30890" fmla="*/ 2205871 h 7458372"/>
              <a:gd name="connsiteX30891" fmla="*/ 5243177 w 10505529"/>
              <a:gd name="connsiteY30891" fmla="*/ 2215322 h 7458372"/>
              <a:gd name="connsiteX30892" fmla="*/ 5253160 w 10505529"/>
              <a:gd name="connsiteY30892" fmla="*/ 2218783 h 7458372"/>
              <a:gd name="connsiteX30893" fmla="*/ 5258485 w 10505529"/>
              <a:gd name="connsiteY30893" fmla="*/ 2217851 h 7458372"/>
              <a:gd name="connsiteX30894" fmla="*/ 5262212 w 10505529"/>
              <a:gd name="connsiteY30894" fmla="*/ 2215455 h 7458372"/>
              <a:gd name="connsiteX30895" fmla="*/ 5264875 w 10505529"/>
              <a:gd name="connsiteY30895" fmla="*/ 2211196 h 7458372"/>
              <a:gd name="connsiteX30896" fmla="*/ 5265939 w 10505529"/>
              <a:gd name="connsiteY30896" fmla="*/ 2205738 h 7458372"/>
              <a:gd name="connsiteX30897" fmla="*/ 5264875 w 10505529"/>
              <a:gd name="connsiteY30897" fmla="*/ 2200546 h 7458372"/>
              <a:gd name="connsiteX30898" fmla="*/ 5262212 w 10505529"/>
              <a:gd name="connsiteY30898" fmla="*/ 2196420 h 7458372"/>
              <a:gd name="connsiteX30899" fmla="*/ 5258219 w 10505529"/>
              <a:gd name="connsiteY30899" fmla="*/ 2193757 h 7458372"/>
              <a:gd name="connsiteX30900" fmla="*/ 5253160 w 10505529"/>
              <a:gd name="connsiteY30900" fmla="*/ 2192826 h 7458372"/>
              <a:gd name="connsiteX30901" fmla="*/ 5035515 w 10505529"/>
              <a:gd name="connsiteY30901" fmla="*/ 2192826 h 7458372"/>
              <a:gd name="connsiteX30902" fmla="*/ 5025532 w 10505529"/>
              <a:gd name="connsiteY30902" fmla="*/ 2196420 h 7458372"/>
              <a:gd name="connsiteX30903" fmla="*/ 5021938 w 10505529"/>
              <a:gd name="connsiteY30903" fmla="*/ 2205871 h 7458372"/>
              <a:gd name="connsiteX30904" fmla="*/ 5025532 w 10505529"/>
              <a:gd name="connsiteY30904" fmla="*/ 2215322 h 7458372"/>
              <a:gd name="connsiteX30905" fmla="*/ 5035515 w 10505529"/>
              <a:gd name="connsiteY30905" fmla="*/ 2218783 h 7458372"/>
              <a:gd name="connsiteX30906" fmla="*/ 5040840 w 10505529"/>
              <a:gd name="connsiteY30906" fmla="*/ 2217851 h 7458372"/>
              <a:gd name="connsiteX30907" fmla="*/ 5044567 w 10505529"/>
              <a:gd name="connsiteY30907" fmla="*/ 2215455 h 7458372"/>
              <a:gd name="connsiteX30908" fmla="*/ 5047230 w 10505529"/>
              <a:gd name="connsiteY30908" fmla="*/ 2211196 h 7458372"/>
              <a:gd name="connsiteX30909" fmla="*/ 5048294 w 10505529"/>
              <a:gd name="connsiteY30909" fmla="*/ 2205738 h 7458372"/>
              <a:gd name="connsiteX30910" fmla="*/ 5047230 w 10505529"/>
              <a:gd name="connsiteY30910" fmla="*/ 2200546 h 7458372"/>
              <a:gd name="connsiteX30911" fmla="*/ 5044567 w 10505529"/>
              <a:gd name="connsiteY30911" fmla="*/ 2196420 h 7458372"/>
              <a:gd name="connsiteX30912" fmla="*/ 5040574 w 10505529"/>
              <a:gd name="connsiteY30912" fmla="*/ 2193757 h 7458372"/>
              <a:gd name="connsiteX30913" fmla="*/ 5035515 w 10505529"/>
              <a:gd name="connsiteY30913" fmla="*/ 2192826 h 7458372"/>
              <a:gd name="connsiteX30914" fmla="*/ 4817870 w 10505529"/>
              <a:gd name="connsiteY30914" fmla="*/ 2192826 h 7458372"/>
              <a:gd name="connsiteX30915" fmla="*/ 4807887 w 10505529"/>
              <a:gd name="connsiteY30915" fmla="*/ 2196420 h 7458372"/>
              <a:gd name="connsiteX30916" fmla="*/ 4804293 w 10505529"/>
              <a:gd name="connsiteY30916" fmla="*/ 2205871 h 7458372"/>
              <a:gd name="connsiteX30917" fmla="*/ 4807887 w 10505529"/>
              <a:gd name="connsiteY30917" fmla="*/ 2215322 h 7458372"/>
              <a:gd name="connsiteX30918" fmla="*/ 4817870 w 10505529"/>
              <a:gd name="connsiteY30918" fmla="*/ 2218783 h 7458372"/>
              <a:gd name="connsiteX30919" fmla="*/ 4823195 w 10505529"/>
              <a:gd name="connsiteY30919" fmla="*/ 2217851 h 7458372"/>
              <a:gd name="connsiteX30920" fmla="*/ 4826922 w 10505529"/>
              <a:gd name="connsiteY30920" fmla="*/ 2215455 h 7458372"/>
              <a:gd name="connsiteX30921" fmla="*/ 4829585 w 10505529"/>
              <a:gd name="connsiteY30921" fmla="*/ 2211196 h 7458372"/>
              <a:gd name="connsiteX30922" fmla="*/ 4830650 w 10505529"/>
              <a:gd name="connsiteY30922" fmla="*/ 2205738 h 7458372"/>
              <a:gd name="connsiteX30923" fmla="*/ 4829585 w 10505529"/>
              <a:gd name="connsiteY30923" fmla="*/ 2200546 h 7458372"/>
              <a:gd name="connsiteX30924" fmla="*/ 4826922 w 10505529"/>
              <a:gd name="connsiteY30924" fmla="*/ 2196420 h 7458372"/>
              <a:gd name="connsiteX30925" fmla="*/ 4822929 w 10505529"/>
              <a:gd name="connsiteY30925" fmla="*/ 2193757 h 7458372"/>
              <a:gd name="connsiteX30926" fmla="*/ 4817870 w 10505529"/>
              <a:gd name="connsiteY30926" fmla="*/ 2192826 h 7458372"/>
              <a:gd name="connsiteX30927" fmla="*/ 4600226 w 10505529"/>
              <a:gd name="connsiteY30927" fmla="*/ 2192826 h 7458372"/>
              <a:gd name="connsiteX30928" fmla="*/ 4590242 w 10505529"/>
              <a:gd name="connsiteY30928" fmla="*/ 2196420 h 7458372"/>
              <a:gd name="connsiteX30929" fmla="*/ 4586648 w 10505529"/>
              <a:gd name="connsiteY30929" fmla="*/ 2205871 h 7458372"/>
              <a:gd name="connsiteX30930" fmla="*/ 4590242 w 10505529"/>
              <a:gd name="connsiteY30930" fmla="*/ 2215322 h 7458372"/>
              <a:gd name="connsiteX30931" fmla="*/ 4600226 w 10505529"/>
              <a:gd name="connsiteY30931" fmla="*/ 2218783 h 7458372"/>
              <a:gd name="connsiteX30932" fmla="*/ 4605550 w 10505529"/>
              <a:gd name="connsiteY30932" fmla="*/ 2217851 h 7458372"/>
              <a:gd name="connsiteX30933" fmla="*/ 4609277 w 10505529"/>
              <a:gd name="connsiteY30933" fmla="*/ 2215455 h 7458372"/>
              <a:gd name="connsiteX30934" fmla="*/ 4611940 w 10505529"/>
              <a:gd name="connsiteY30934" fmla="*/ 2211196 h 7458372"/>
              <a:gd name="connsiteX30935" fmla="*/ 4613005 w 10505529"/>
              <a:gd name="connsiteY30935" fmla="*/ 2205738 h 7458372"/>
              <a:gd name="connsiteX30936" fmla="*/ 4611940 w 10505529"/>
              <a:gd name="connsiteY30936" fmla="*/ 2200546 h 7458372"/>
              <a:gd name="connsiteX30937" fmla="*/ 4609277 w 10505529"/>
              <a:gd name="connsiteY30937" fmla="*/ 2196420 h 7458372"/>
              <a:gd name="connsiteX30938" fmla="*/ 4605284 w 10505529"/>
              <a:gd name="connsiteY30938" fmla="*/ 2193757 h 7458372"/>
              <a:gd name="connsiteX30939" fmla="*/ 4600226 w 10505529"/>
              <a:gd name="connsiteY30939" fmla="*/ 2192826 h 7458372"/>
              <a:gd name="connsiteX30940" fmla="*/ 4382713 w 10505529"/>
              <a:gd name="connsiteY30940" fmla="*/ 2192826 h 7458372"/>
              <a:gd name="connsiteX30941" fmla="*/ 4372730 w 10505529"/>
              <a:gd name="connsiteY30941" fmla="*/ 2196420 h 7458372"/>
              <a:gd name="connsiteX30942" fmla="*/ 4369136 w 10505529"/>
              <a:gd name="connsiteY30942" fmla="*/ 2205871 h 7458372"/>
              <a:gd name="connsiteX30943" fmla="*/ 4372730 w 10505529"/>
              <a:gd name="connsiteY30943" fmla="*/ 2215322 h 7458372"/>
              <a:gd name="connsiteX30944" fmla="*/ 4382713 w 10505529"/>
              <a:gd name="connsiteY30944" fmla="*/ 2218783 h 7458372"/>
              <a:gd name="connsiteX30945" fmla="*/ 4388038 w 10505529"/>
              <a:gd name="connsiteY30945" fmla="*/ 2217851 h 7458372"/>
              <a:gd name="connsiteX30946" fmla="*/ 4391765 w 10505529"/>
              <a:gd name="connsiteY30946" fmla="*/ 2215455 h 7458372"/>
              <a:gd name="connsiteX30947" fmla="*/ 4394428 w 10505529"/>
              <a:gd name="connsiteY30947" fmla="*/ 2211196 h 7458372"/>
              <a:gd name="connsiteX30948" fmla="*/ 4395493 w 10505529"/>
              <a:gd name="connsiteY30948" fmla="*/ 2205738 h 7458372"/>
              <a:gd name="connsiteX30949" fmla="*/ 4394428 w 10505529"/>
              <a:gd name="connsiteY30949" fmla="*/ 2200546 h 7458372"/>
              <a:gd name="connsiteX30950" fmla="*/ 4391765 w 10505529"/>
              <a:gd name="connsiteY30950" fmla="*/ 2196420 h 7458372"/>
              <a:gd name="connsiteX30951" fmla="*/ 4387772 w 10505529"/>
              <a:gd name="connsiteY30951" fmla="*/ 2193757 h 7458372"/>
              <a:gd name="connsiteX30952" fmla="*/ 4382713 w 10505529"/>
              <a:gd name="connsiteY30952" fmla="*/ 2192826 h 7458372"/>
              <a:gd name="connsiteX30953" fmla="*/ 4165068 w 10505529"/>
              <a:gd name="connsiteY30953" fmla="*/ 2192826 h 7458372"/>
              <a:gd name="connsiteX30954" fmla="*/ 4155084 w 10505529"/>
              <a:gd name="connsiteY30954" fmla="*/ 2196420 h 7458372"/>
              <a:gd name="connsiteX30955" fmla="*/ 4151490 w 10505529"/>
              <a:gd name="connsiteY30955" fmla="*/ 2205871 h 7458372"/>
              <a:gd name="connsiteX30956" fmla="*/ 4155084 w 10505529"/>
              <a:gd name="connsiteY30956" fmla="*/ 2215322 h 7458372"/>
              <a:gd name="connsiteX30957" fmla="*/ 4165068 w 10505529"/>
              <a:gd name="connsiteY30957" fmla="*/ 2218783 h 7458372"/>
              <a:gd name="connsiteX30958" fmla="*/ 4170392 w 10505529"/>
              <a:gd name="connsiteY30958" fmla="*/ 2217851 h 7458372"/>
              <a:gd name="connsiteX30959" fmla="*/ 4174119 w 10505529"/>
              <a:gd name="connsiteY30959" fmla="*/ 2215455 h 7458372"/>
              <a:gd name="connsiteX30960" fmla="*/ 4176782 w 10505529"/>
              <a:gd name="connsiteY30960" fmla="*/ 2211196 h 7458372"/>
              <a:gd name="connsiteX30961" fmla="*/ 4177847 w 10505529"/>
              <a:gd name="connsiteY30961" fmla="*/ 2205738 h 7458372"/>
              <a:gd name="connsiteX30962" fmla="*/ 4176782 w 10505529"/>
              <a:gd name="connsiteY30962" fmla="*/ 2200546 h 7458372"/>
              <a:gd name="connsiteX30963" fmla="*/ 4174119 w 10505529"/>
              <a:gd name="connsiteY30963" fmla="*/ 2196420 h 7458372"/>
              <a:gd name="connsiteX30964" fmla="*/ 4170126 w 10505529"/>
              <a:gd name="connsiteY30964" fmla="*/ 2193757 h 7458372"/>
              <a:gd name="connsiteX30965" fmla="*/ 4165068 w 10505529"/>
              <a:gd name="connsiteY30965" fmla="*/ 2192826 h 7458372"/>
              <a:gd name="connsiteX30966" fmla="*/ 3947547 w 10505529"/>
              <a:gd name="connsiteY30966" fmla="*/ 2192826 h 7458372"/>
              <a:gd name="connsiteX30967" fmla="*/ 3937564 w 10505529"/>
              <a:gd name="connsiteY30967" fmla="*/ 2196420 h 7458372"/>
              <a:gd name="connsiteX30968" fmla="*/ 3933969 w 10505529"/>
              <a:gd name="connsiteY30968" fmla="*/ 2205871 h 7458372"/>
              <a:gd name="connsiteX30969" fmla="*/ 3937564 w 10505529"/>
              <a:gd name="connsiteY30969" fmla="*/ 2215322 h 7458372"/>
              <a:gd name="connsiteX30970" fmla="*/ 3947547 w 10505529"/>
              <a:gd name="connsiteY30970" fmla="*/ 2218783 h 7458372"/>
              <a:gd name="connsiteX30971" fmla="*/ 3952873 w 10505529"/>
              <a:gd name="connsiteY30971" fmla="*/ 2217851 h 7458372"/>
              <a:gd name="connsiteX30972" fmla="*/ 3956600 w 10505529"/>
              <a:gd name="connsiteY30972" fmla="*/ 2215455 h 7458372"/>
              <a:gd name="connsiteX30973" fmla="*/ 3959262 w 10505529"/>
              <a:gd name="connsiteY30973" fmla="*/ 2211196 h 7458372"/>
              <a:gd name="connsiteX30974" fmla="*/ 3960327 w 10505529"/>
              <a:gd name="connsiteY30974" fmla="*/ 2205738 h 7458372"/>
              <a:gd name="connsiteX30975" fmla="*/ 3959262 w 10505529"/>
              <a:gd name="connsiteY30975" fmla="*/ 2200546 h 7458372"/>
              <a:gd name="connsiteX30976" fmla="*/ 3956600 w 10505529"/>
              <a:gd name="connsiteY30976" fmla="*/ 2196420 h 7458372"/>
              <a:gd name="connsiteX30977" fmla="*/ 3952605 w 10505529"/>
              <a:gd name="connsiteY30977" fmla="*/ 2193757 h 7458372"/>
              <a:gd name="connsiteX30978" fmla="*/ 3947547 w 10505529"/>
              <a:gd name="connsiteY30978" fmla="*/ 2192826 h 7458372"/>
              <a:gd name="connsiteX30979" fmla="*/ 3729896 w 10505529"/>
              <a:gd name="connsiteY30979" fmla="*/ 2192826 h 7458372"/>
              <a:gd name="connsiteX30980" fmla="*/ 3719910 w 10505529"/>
              <a:gd name="connsiteY30980" fmla="*/ 2196420 h 7458372"/>
              <a:gd name="connsiteX30981" fmla="*/ 3716317 w 10505529"/>
              <a:gd name="connsiteY30981" fmla="*/ 2205871 h 7458372"/>
              <a:gd name="connsiteX30982" fmla="*/ 3719910 w 10505529"/>
              <a:gd name="connsiteY30982" fmla="*/ 2215322 h 7458372"/>
              <a:gd name="connsiteX30983" fmla="*/ 3729896 w 10505529"/>
              <a:gd name="connsiteY30983" fmla="*/ 2218783 h 7458372"/>
              <a:gd name="connsiteX30984" fmla="*/ 3735221 w 10505529"/>
              <a:gd name="connsiteY30984" fmla="*/ 2217851 h 7458372"/>
              <a:gd name="connsiteX30985" fmla="*/ 3738947 w 10505529"/>
              <a:gd name="connsiteY30985" fmla="*/ 2215455 h 7458372"/>
              <a:gd name="connsiteX30986" fmla="*/ 3741611 w 10505529"/>
              <a:gd name="connsiteY30986" fmla="*/ 2211196 h 7458372"/>
              <a:gd name="connsiteX30987" fmla="*/ 3742675 w 10505529"/>
              <a:gd name="connsiteY30987" fmla="*/ 2205738 h 7458372"/>
              <a:gd name="connsiteX30988" fmla="*/ 3741611 w 10505529"/>
              <a:gd name="connsiteY30988" fmla="*/ 2200546 h 7458372"/>
              <a:gd name="connsiteX30989" fmla="*/ 3738947 w 10505529"/>
              <a:gd name="connsiteY30989" fmla="*/ 2196420 h 7458372"/>
              <a:gd name="connsiteX30990" fmla="*/ 3734955 w 10505529"/>
              <a:gd name="connsiteY30990" fmla="*/ 2193757 h 7458372"/>
              <a:gd name="connsiteX30991" fmla="*/ 3729896 w 10505529"/>
              <a:gd name="connsiteY30991" fmla="*/ 2192826 h 7458372"/>
              <a:gd name="connsiteX30992" fmla="*/ 3512244 w 10505529"/>
              <a:gd name="connsiteY30992" fmla="*/ 2192826 h 7458372"/>
              <a:gd name="connsiteX30993" fmla="*/ 3502258 w 10505529"/>
              <a:gd name="connsiteY30993" fmla="*/ 2196420 h 7458372"/>
              <a:gd name="connsiteX30994" fmla="*/ 3498665 w 10505529"/>
              <a:gd name="connsiteY30994" fmla="*/ 2205871 h 7458372"/>
              <a:gd name="connsiteX30995" fmla="*/ 3502258 w 10505529"/>
              <a:gd name="connsiteY30995" fmla="*/ 2215322 h 7458372"/>
              <a:gd name="connsiteX30996" fmla="*/ 3512244 w 10505529"/>
              <a:gd name="connsiteY30996" fmla="*/ 2218783 h 7458372"/>
              <a:gd name="connsiteX30997" fmla="*/ 3517569 w 10505529"/>
              <a:gd name="connsiteY30997" fmla="*/ 2217851 h 7458372"/>
              <a:gd name="connsiteX30998" fmla="*/ 3521296 w 10505529"/>
              <a:gd name="connsiteY30998" fmla="*/ 2215455 h 7458372"/>
              <a:gd name="connsiteX30999" fmla="*/ 3523959 w 10505529"/>
              <a:gd name="connsiteY30999" fmla="*/ 2211196 h 7458372"/>
              <a:gd name="connsiteX31000" fmla="*/ 3525025 w 10505529"/>
              <a:gd name="connsiteY31000" fmla="*/ 2205738 h 7458372"/>
              <a:gd name="connsiteX31001" fmla="*/ 3523959 w 10505529"/>
              <a:gd name="connsiteY31001" fmla="*/ 2200546 h 7458372"/>
              <a:gd name="connsiteX31002" fmla="*/ 3521296 w 10505529"/>
              <a:gd name="connsiteY31002" fmla="*/ 2196420 h 7458372"/>
              <a:gd name="connsiteX31003" fmla="*/ 3517303 w 10505529"/>
              <a:gd name="connsiteY31003" fmla="*/ 2193757 h 7458372"/>
              <a:gd name="connsiteX31004" fmla="*/ 3512244 w 10505529"/>
              <a:gd name="connsiteY31004" fmla="*/ 2192826 h 7458372"/>
              <a:gd name="connsiteX31005" fmla="*/ 3294726 w 10505529"/>
              <a:gd name="connsiteY31005" fmla="*/ 2192826 h 7458372"/>
              <a:gd name="connsiteX31006" fmla="*/ 3284741 w 10505529"/>
              <a:gd name="connsiteY31006" fmla="*/ 2196420 h 7458372"/>
              <a:gd name="connsiteX31007" fmla="*/ 3281147 w 10505529"/>
              <a:gd name="connsiteY31007" fmla="*/ 2205871 h 7458372"/>
              <a:gd name="connsiteX31008" fmla="*/ 3284741 w 10505529"/>
              <a:gd name="connsiteY31008" fmla="*/ 2215322 h 7458372"/>
              <a:gd name="connsiteX31009" fmla="*/ 3294726 w 10505529"/>
              <a:gd name="connsiteY31009" fmla="*/ 2218783 h 7458372"/>
              <a:gd name="connsiteX31010" fmla="*/ 3300051 w 10505529"/>
              <a:gd name="connsiteY31010" fmla="*/ 2217851 h 7458372"/>
              <a:gd name="connsiteX31011" fmla="*/ 3303778 w 10505529"/>
              <a:gd name="connsiteY31011" fmla="*/ 2215455 h 7458372"/>
              <a:gd name="connsiteX31012" fmla="*/ 3306441 w 10505529"/>
              <a:gd name="connsiteY31012" fmla="*/ 2211196 h 7458372"/>
              <a:gd name="connsiteX31013" fmla="*/ 3307505 w 10505529"/>
              <a:gd name="connsiteY31013" fmla="*/ 2205738 h 7458372"/>
              <a:gd name="connsiteX31014" fmla="*/ 3306441 w 10505529"/>
              <a:gd name="connsiteY31014" fmla="*/ 2200546 h 7458372"/>
              <a:gd name="connsiteX31015" fmla="*/ 3303778 w 10505529"/>
              <a:gd name="connsiteY31015" fmla="*/ 2196420 h 7458372"/>
              <a:gd name="connsiteX31016" fmla="*/ 3299785 w 10505529"/>
              <a:gd name="connsiteY31016" fmla="*/ 2193757 h 7458372"/>
              <a:gd name="connsiteX31017" fmla="*/ 3294726 w 10505529"/>
              <a:gd name="connsiteY31017" fmla="*/ 2192826 h 7458372"/>
              <a:gd name="connsiteX31018" fmla="*/ 3077207 w 10505529"/>
              <a:gd name="connsiteY31018" fmla="*/ 2192826 h 7458372"/>
              <a:gd name="connsiteX31019" fmla="*/ 3067224 w 10505529"/>
              <a:gd name="connsiteY31019" fmla="*/ 2196420 h 7458372"/>
              <a:gd name="connsiteX31020" fmla="*/ 3063495 w 10505529"/>
              <a:gd name="connsiteY31020" fmla="*/ 2205871 h 7458372"/>
              <a:gd name="connsiteX31021" fmla="*/ 3067090 w 10505529"/>
              <a:gd name="connsiteY31021" fmla="*/ 2215322 h 7458372"/>
              <a:gd name="connsiteX31022" fmla="*/ 3077074 w 10505529"/>
              <a:gd name="connsiteY31022" fmla="*/ 2218783 h 7458372"/>
              <a:gd name="connsiteX31023" fmla="*/ 3082532 w 10505529"/>
              <a:gd name="connsiteY31023" fmla="*/ 2217851 h 7458372"/>
              <a:gd name="connsiteX31024" fmla="*/ 3086260 w 10505529"/>
              <a:gd name="connsiteY31024" fmla="*/ 2215455 h 7458372"/>
              <a:gd name="connsiteX31025" fmla="*/ 3088922 w 10505529"/>
              <a:gd name="connsiteY31025" fmla="*/ 2211196 h 7458372"/>
              <a:gd name="connsiteX31026" fmla="*/ 3089855 w 10505529"/>
              <a:gd name="connsiteY31026" fmla="*/ 2205738 h 7458372"/>
              <a:gd name="connsiteX31027" fmla="*/ 3088922 w 10505529"/>
              <a:gd name="connsiteY31027" fmla="*/ 2200546 h 7458372"/>
              <a:gd name="connsiteX31028" fmla="*/ 3086260 w 10505529"/>
              <a:gd name="connsiteY31028" fmla="*/ 2196420 h 7458372"/>
              <a:gd name="connsiteX31029" fmla="*/ 3082267 w 10505529"/>
              <a:gd name="connsiteY31029" fmla="*/ 2193757 h 7458372"/>
              <a:gd name="connsiteX31030" fmla="*/ 3077207 w 10505529"/>
              <a:gd name="connsiteY31030" fmla="*/ 2192826 h 7458372"/>
              <a:gd name="connsiteX31031" fmla="*/ 2859423 w 10505529"/>
              <a:gd name="connsiteY31031" fmla="*/ 2192826 h 7458372"/>
              <a:gd name="connsiteX31032" fmla="*/ 2849438 w 10505529"/>
              <a:gd name="connsiteY31032" fmla="*/ 2196420 h 7458372"/>
              <a:gd name="connsiteX31033" fmla="*/ 2845843 w 10505529"/>
              <a:gd name="connsiteY31033" fmla="*/ 2205871 h 7458372"/>
              <a:gd name="connsiteX31034" fmla="*/ 2849438 w 10505529"/>
              <a:gd name="connsiteY31034" fmla="*/ 2215322 h 7458372"/>
              <a:gd name="connsiteX31035" fmla="*/ 2859423 w 10505529"/>
              <a:gd name="connsiteY31035" fmla="*/ 2218783 h 7458372"/>
              <a:gd name="connsiteX31036" fmla="*/ 2864748 w 10505529"/>
              <a:gd name="connsiteY31036" fmla="*/ 2217851 h 7458372"/>
              <a:gd name="connsiteX31037" fmla="*/ 2868475 w 10505529"/>
              <a:gd name="connsiteY31037" fmla="*/ 2215455 h 7458372"/>
              <a:gd name="connsiteX31038" fmla="*/ 2871138 w 10505529"/>
              <a:gd name="connsiteY31038" fmla="*/ 2211196 h 7458372"/>
              <a:gd name="connsiteX31039" fmla="*/ 2872069 w 10505529"/>
              <a:gd name="connsiteY31039" fmla="*/ 2205738 h 7458372"/>
              <a:gd name="connsiteX31040" fmla="*/ 2871138 w 10505529"/>
              <a:gd name="connsiteY31040" fmla="*/ 2200546 h 7458372"/>
              <a:gd name="connsiteX31041" fmla="*/ 2868475 w 10505529"/>
              <a:gd name="connsiteY31041" fmla="*/ 2196420 h 7458372"/>
              <a:gd name="connsiteX31042" fmla="*/ 2864482 w 10505529"/>
              <a:gd name="connsiteY31042" fmla="*/ 2193757 h 7458372"/>
              <a:gd name="connsiteX31043" fmla="*/ 2859423 w 10505529"/>
              <a:gd name="connsiteY31043" fmla="*/ 2192826 h 7458372"/>
              <a:gd name="connsiteX31044" fmla="*/ 2641771 w 10505529"/>
              <a:gd name="connsiteY31044" fmla="*/ 2192826 h 7458372"/>
              <a:gd name="connsiteX31045" fmla="*/ 2631788 w 10505529"/>
              <a:gd name="connsiteY31045" fmla="*/ 2196420 h 7458372"/>
              <a:gd name="connsiteX31046" fmla="*/ 2628194 w 10505529"/>
              <a:gd name="connsiteY31046" fmla="*/ 2205871 h 7458372"/>
              <a:gd name="connsiteX31047" fmla="*/ 2631788 w 10505529"/>
              <a:gd name="connsiteY31047" fmla="*/ 2215322 h 7458372"/>
              <a:gd name="connsiteX31048" fmla="*/ 2641771 w 10505529"/>
              <a:gd name="connsiteY31048" fmla="*/ 2218783 h 7458372"/>
              <a:gd name="connsiteX31049" fmla="*/ 2647097 w 10505529"/>
              <a:gd name="connsiteY31049" fmla="*/ 2217851 h 7458372"/>
              <a:gd name="connsiteX31050" fmla="*/ 2650824 w 10505529"/>
              <a:gd name="connsiteY31050" fmla="*/ 2215455 h 7458372"/>
              <a:gd name="connsiteX31051" fmla="*/ 2653487 w 10505529"/>
              <a:gd name="connsiteY31051" fmla="*/ 2211196 h 7458372"/>
              <a:gd name="connsiteX31052" fmla="*/ 2654417 w 10505529"/>
              <a:gd name="connsiteY31052" fmla="*/ 2205738 h 7458372"/>
              <a:gd name="connsiteX31053" fmla="*/ 2653487 w 10505529"/>
              <a:gd name="connsiteY31053" fmla="*/ 2200546 h 7458372"/>
              <a:gd name="connsiteX31054" fmla="*/ 2650824 w 10505529"/>
              <a:gd name="connsiteY31054" fmla="*/ 2196420 h 7458372"/>
              <a:gd name="connsiteX31055" fmla="*/ 2646831 w 10505529"/>
              <a:gd name="connsiteY31055" fmla="*/ 2193757 h 7458372"/>
              <a:gd name="connsiteX31056" fmla="*/ 2641771 w 10505529"/>
              <a:gd name="connsiteY31056" fmla="*/ 2192826 h 7458372"/>
              <a:gd name="connsiteX31057" fmla="*/ 2424120 w 10505529"/>
              <a:gd name="connsiteY31057" fmla="*/ 2192826 h 7458372"/>
              <a:gd name="connsiteX31058" fmla="*/ 2414137 w 10505529"/>
              <a:gd name="connsiteY31058" fmla="*/ 2196420 h 7458372"/>
              <a:gd name="connsiteX31059" fmla="*/ 2410542 w 10505529"/>
              <a:gd name="connsiteY31059" fmla="*/ 2205871 h 7458372"/>
              <a:gd name="connsiteX31060" fmla="*/ 2414137 w 10505529"/>
              <a:gd name="connsiteY31060" fmla="*/ 2215322 h 7458372"/>
              <a:gd name="connsiteX31061" fmla="*/ 2424120 w 10505529"/>
              <a:gd name="connsiteY31061" fmla="*/ 2218783 h 7458372"/>
              <a:gd name="connsiteX31062" fmla="*/ 2429445 w 10505529"/>
              <a:gd name="connsiteY31062" fmla="*/ 2217851 h 7458372"/>
              <a:gd name="connsiteX31063" fmla="*/ 2433172 w 10505529"/>
              <a:gd name="connsiteY31063" fmla="*/ 2215455 h 7458372"/>
              <a:gd name="connsiteX31064" fmla="*/ 2435835 w 10505529"/>
              <a:gd name="connsiteY31064" fmla="*/ 2211196 h 7458372"/>
              <a:gd name="connsiteX31065" fmla="*/ 2436766 w 10505529"/>
              <a:gd name="connsiteY31065" fmla="*/ 2205738 h 7458372"/>
              <a:gd name="connsiteX31066" fmla="*/ 2435835 w 10505529"/>
              <a:gd name="connsiteY31066" fmla="*/ 2200546 h 7458372"/>
              <a:gd name="connsiteX31067" fmla="*/ 2433172 w 10505529"/>
              <a:gd name="connsiteY31067" fmla="*/ 2196420 h 7458372"/>
              <a:gd name="connsiteX31068" fmla="*/ 2429179 w 10505529"/>
              <a:gd name="connsiteY31068" fmla="*/ 2193757 h 7458372"/>
              <a:gd name="connsiteX31069" fmla="*/ 2424120 w 10505529"/>
              <a:gd name="connsiteY31069" fmla="*/ 2192826 h 7458372"/>
              <a:gd name="connsiteX31070" fmla="*/ 2206469 w 10505529"/>
              <a:gd name="connsiteY31070" fmla="*/ 2192826 h 7458372"/>
              <a:gd name="connsiteX31071" fmla="*/ 2196485 w 10505529"/>
              <a:gd name="connsiteY31071" fmla="*/ 2196420 h 7458372"/>
              <a:gd name="connsiteX31072" fmla="*/ 2192891 w 10505529"/>
              <a:gd name="connsiteY31072" fmla="*/ 2205871 h 7458372"/>
              <a:gd name="connsiteX31073" fmla="*/ 2196485 w 10505529"/>
              <a:gd name="connsiteY31073" fmla="*/ 2215322 h 7458372"/>
              <a:gd name="connsiteX31074" fmla="*/ 2206469 w 10505529"/>
              <a:gd name="connsiteY31074" fmla="*/ 2218783 h 7458372"/>
              <a:gd name="connsiteX31075" fmla="*/ 2211793 w 10505529"/>
              <a:gd name="connsiteY31075" fmla="*/ 2217851 h 7458372"/>
              <a:gd name="connsiteX31076" fmla="*/ 2215520 w 10505529"/>
              <a:gd name="connsiteY31076" fmla="*/ 2215455 h 7458372"/>
              <a:gd name="connsiteX31077" fmla="*/ 2218183 w 10505529"/>
              <a:gd name="connsiteY31077" fmla="*/ 2211196 h 7458372"/>
              <a:gd name="connsiteX31078" fmla="*/ 2219115 w 10505529"/>
              <a:gd name="connsiteY31078" fmla="*/ 2205738 h 7458372"/>
              <a:gd name="connsiteX31079" fmla="*/ 2218183 w 10505529"/>
              <a:gd name="connsiteY31079" fmla="*/ 2200546 h 7458372"/>
              <a:gd name="connsiteX31080" fmla="*/ 2215520 w 10505529"/>
              <a:gd name="connsiteY31080" fmla="*/ 2196420 h 7458372"/>
              <a:gd name="connsiteX31081" fmla="*/ 2211527 w 10505529"/>
              <a:gd name="connsiteY31081" fmla="*/ 2193757 h 7458372"/>
              <a:gd name="connsiteX31082" fmla="*/ 2206469 w 10505529"/>
              <a:gd name="connsiteY31082" fmla="*/ 2192826 h 7458372"/>
              <a:gd name="connsiteX31083" fmla="*/ 1988950 w 10505529"/>
              <a:gd name="connsiteY31083" fmla="*/ 2192826 h 7458372"/>
              <a:gd name="connsiteX31084" fmla="*/ 1978967 w 10505529"/>
              <a:gd name="connsiteY31084" fmla="*/ 2196420 h 7458372"/>
              <a:gd name="connsiteX31085" fmla="*/ 1975373 w 10505529"/>
              <a:gd name="connsiteY31085" fmla="*/ 2205871 h 7458372"/>
              <a:gd name="connsiteX31086" fmla="*/ 1978967 w 10505529"/>
              <a:gd name="connsiteY31086" fmla="*/ 2215322 h 7458372"/>
              <a:gd name="connsiteX31087" fmla="*/ 1988950 w 10505529"/>
              <a:gd name="connsiteY31087" fmla="*/ 2218783 h 7458372"/>
              <a:gd name="connsiteX31088" fmla="*/ 1994275 w 10505529"/>
              <a:gd name="connsiteY31088" fmla="*/ 2217851 h 7458372"/>
              <a:gd name="connsiteX31089" fmla="*/ 1998002 w 10505529"/>
              <a:gd name="connsiteY31089" fmla="*/ 2215455 h 7458372"/>
              <a:gd name="connsiteX31090" fmla="*/ 2000665 w 10505529"/>
              <a:gd name="connsiteY31090" fmla="*/ 2211196 h 7458372"/>
              <a:gd name="connsiteX31091" fmla="*/ 2001596 w 10505529"/>
              <a:gd name="connsiteY31091" fmla="*/ 2205738 h 7458372"/>
              <a:gd name="connsiteX31092" fmla="*/ 2000665 w 10505529"/>
              <a:gd name="connsiteY31092" fmla="*/ 2200546 h 7458372"/>
              <a:gd name="connsiteX31093" fmla="*/ 1998002 w 10505529"/>
              <a:gd name="connsiteY31093" fmla="*/ 2196420 h 7458372"/>
              <a:gd name="connsiteX31094" fmla="*/ 1994009 w 10505529"/>
              <a:gd name="connsiteY31094" fmla="*/ 2193757 h 7458372"/>
              <a:gd name="connsiteX31095" fmla="*/ 1988950 w 10505529"/>
              <a:gd name="connsiteY31095" fmla="*/ 2192826 h 7458372"/>
              <a:gd name="connsiteX31096" fmla="*/ 1771309 w 10505529"/>
              <a:gd name="connsiteY31096" fmla="*/ 2192826 h 7458372"/>
              <a:gd name="connsiteX31097" fmla="*/ 1761327 w 10505529"/>
              <a:gd name="connsiteY31097" fmla="*/ 2196420 h 7458372"/>
              <a:gd name="connsiteX31098" fmla="*/ 1757733 w 10505529"/>
              <a:gd name="connsiteY31098" fmla="*/ 2205871 h 7458372"/>
              <a:gd name="connsiteX31099" fmla="*/ 1761327 w 10505529"/>
              <a:gd name="connsiteY31099" fmla="*/ 2215322 h 7458372"/>
              <a:gd name="connsiteX31100" fmla="*/ 1771309 w 10505529"/>
              <a:gd name="connsiteY31100" fmla="*/ 2218783 h 7458372"/>
              <a:gd name="connsiteX31101" fmla="*/ 1776634 w 10505529"/>
              <a:gd name="connsiteY31101" fmla="*/ 2217851 h 7458372"/>
              <a:gd name="connsiteX31102" fmla="*/ 1780361 w 10505529"/>
              <a:gd name="connsiteY31102" fmla="*/ 2215455 h 7458372"/>
              <a:gd name="connsiteX31103" fmla="*/ 1783024 w 10505529"/>
              <a:gd name="connsiteY31103" fmla="*/ 2211196 h 7458372"/>
              <a:gd name="connsiteX31104" fmla="*/ 1784089 w 10505529"/>
              <a:gd name="connsiteY31104" fmla="*/ 2205738 h 7458372"/>
              <a:gd name="connsiteX31105" fmla="*/ 1783024 w 10505529"/>
              <a:gd name="connsiteY31105" fmla="*/ 2200546 h 7458372"/>
              <a:gd name="connsiteX31106" fmla="*/ 1780361 w 10505529"/>
              <a:gd name="connsiteY31106" fmla="*/ 2196420 h 7458372"/>
              <a:gd name="connsiteX31107" fmla="*/ 1776369 w 10505529"/>
              <a:gd name="connsiteY31107" fmla="*/ 2193757 h 7458372"/>
              <a:gd name="connsiteX31108" fmla="*/ 1771309 w 10505529"/>
              <a:gd name="connsiteY31108" fmla="*/ 2192826 h 7458372"/>
              <a:gd name="connsiteX31109" fmla="*/ 1553668 w 10505529"/>
              <a:gd name="connsiteY31109" fmla="*/ 2192826 h 7458372"/>
              <a:gd name="connsiteX31110" fmla="*/ 1543684 w 10505529"/>
              <a:gd name="connsiteY31110" fmla="*/ 2196420 h 7458372"/>
              <a:gd name="connsiteX31111" fmla="*/ 1540090 w 10505529"/>
              <a:gd name="connsiteY31111" fmla="*/ 2205871 h 7458372"/>
              <a:gd name="connsiteX31112" fmla="*/ 1543684 w 10505529"/>
              <a:gd name="connsiteY31112" fmla="*/ 2215322 h 7458372"/>
              <a:gd name="connsiteX31113" fmla="*/ 1553668 w 10505529"/>
              <a:gd name="connsiteY31113" fmla="*/ 2218783 h 7458372"/>
              <a:gd name="connsiteX31114" fmla="*/ 1558992 w 10505529"/>
              <a:gd name="connsiteY31114" fmla="*/ 2217851 h 7458372"/>
              <a:gd name="connsiteX31115" fmla="*/ 1562719 w 10505529"/>
              <a:gd name="connsiteY31115" fmla="*/ 2215455 h 7458372"/>
              <a:gd name="connsiteX31116" fmla="*/ 1565382 w 10505529"/>
              <a:gd name="connsiteY31116" fmla="*/ 2211196 h 7458372"/>
              <a:gd name="connsiteX31117" fmla="*/ 1566447 w 10505529"/>
              <a:gd name="connsiteY31117" fmla="*/ 2205738 h 7458372"/>
              <a:gd name="connsiteX31118" fmla="*/ 1565382 w 10505529"/>
              <a:gd name="connsiteY31118" fmla="*/ 2200546 h 7458372"/>
              <a:gd name="connsiteX31119" fmla="*/ 1562719 w 10505529"/>
              <a:gd name="connsiteY31119" fmla="*/ 2196420 h 7458372"/>
              <a:gd name="connsiteX31120" fmla="*/ 1558726 w 10505529"/>
              <a:gd name="connsiteY31120" fmla="*/ 2193757 h 7458372"/>
              <a:gd name="connsiteX31121" fmla="*/ 1553668 w 10505529"/>
              <a:gd name="connsiteY31121" fmla="*/ 2192826 h 7458372"/>
              <a:gd name="connsiteX31122" fmla="*/ 1336023 w 10505529"/>
              <a:gd name="connsiteY31122" fmla="*/ 2192826 h 7458372"/>
              <a:gd name="connsiteX31123" fmla="*/ 1326040 w 10505529"/>
              <a:gd name="connsiteY31123" fmla="*/ 2196420 h 7458372"/>
              <a:gd name="connsiteX31124" fmla="*/ 1322445 w 10505529"/>
              <a:gd name="connsiteY31124" fmla="*/ 2205871 h 7458372"/>
              <a:gd name="connsiteX31125" fmla="*/ 1326040 w 10505529"/>
              <a:gd name="connsiteY31125" fmla="*/ 2215322 h 7458372"/>
              <a:gd name="connsiteX31126" fmla="*/ 1336023 w 10505529"/>
              <a:gd name="connsiteY31126" fmla="*/ 2218783 h 7458372"/>
              <a:gd name="connsiteX31127" fmla="*/ 1341349 w 10505529"/>
              <a:gd name="connsiteY31127" fmla="*/ 2217851 h 7458372"/>
              <a:gd name="connsiteX31128" fmla="*/ 1345076 w 10505529"/>
              <a:gd name="connsiteY31128" fmla="*/ 2215455 h 7458372"/>
              <a:gd name="connsiteX31129" fmla="*/ 1347739 w 10505529"/>
              <a:gd name="connsiteY31129" fmla="*/ 2211196 h 7458372"/>
              <a:gd name="connsiteX31130" fmla="*/ 1348804 w 10505529"/>
              <a:gd name="connsiteY31130" fmla="*/ 2205738 h 7458372"/>
              <a:gd name="connsiteX31131" fmla="*/ 1347739 w 10505529"/>
              <a:gd name="connsiteY31131" fmla="*/ 2200546 h 7458372"/>
              <a:gd name="connsiteX31132" fmla="*/ 1345076 w 10505529"/>
              <a:gd name="connsiteY31132" fmla="*/ 2196420 h 7458372"/>
              <a:gd name="connsiteX31133" fmla="*/ 1341082 w 10505529"/>
              <a:gd name="connsiteY31133" fmla="*/ 2193757 h 7458372"/>
              <a:gd name="connsiteX31134" fmla="*/ 1336023 w 10505529"/>
              <a:gd name="connsiteY31134" fmla="*/ 2192826 h 7458372"/>
              <a:gd name="connsiteX31135" fmla="*/ 1118511 w 10505529"/>
              <a:gd name="connsiteY31135" fmla="*/ 2192826 h 7458372"/>
              <a:gd name="connsiteX31136" fmla="*/ 1108527 w 10505529"/>
              <a:gd name="connsiteY31136" fmla="*/ 2196420 h 7458372"/>
              <a:gd name="connsiteX31137" fmla="*/ 1104800 w 10505529"/>
              <a:gd name="connsiteY31137" fmla="*/ 2205871 h 7458372"/>
              <a:gd name="connsiteX31138" fmla="*/ 1108394 w 10505529"/>
              <a:gd name="connsiteY31138" fmla="*/ 2215322 h 7458372"/>
              <a:gd name="connsiteX31139" fmla="*/ 1118378 w 10505529"/>
              <a:gd name="connsiteY31139" fmla="*/ 2218783 h 7458372"/>
              <a:gd name="connsiteX31140" fmla="*/ 1123836 w 10505529"/>
              <a:gd name="connsiteY31140" fmla="*/ 2217851 h 7458372"/>
              <a:gd name="connsiteX31141" fmla="*/ 1127563 w 10505529"/>
              <a:gd name="connsiteY31141" fmla="*/ 2215455 h 7458372"/>
              <a:gd name="connsiteX31142" fmla="*/ 1130227 w 10505529"/>
              <a:gd name="connsiteY31142" fmla="*/ 2211196 h 7458372"/>
              <a:gd name="connsiteX31143" fmla="*/ 1131292 w 10505529"/>
              <a:gd name="connsiteY31143" fmla="*/ 2205738 h 7458372"/>
              <a:gd name="connsiteX31144" fmla="*/ 1130227 w 10505529"/>
              <a:gd name="connsiteY31144" fmla="*/ 2200546 h 7458372"/>
              <a:gd name="connsiteX31145" fmla="*/ 1127563 w 10505529"/>
              <a:gd name="connsiteY31145" fmla="*/ 2196420 h 7458372"/>
              <a:gd name="connsiteX31146" fmla="*/ 1123569 w 10505529"/>
              <a:gd name="connsiteY31146" fmla="*/ 2193757 h 7458372"/>
              <a:gd name="connsiteX31147" fmla="*/ 1118511 w 10505529"/>
              <a:gd name="connsiteY31147" fmla="*/ 2192826 h 7458372"/>
              <a:gd name="connsiteX31148" fmla="*/ 901000 w 10505529"/>
              <a:gd name="connsiteY31148" fmla="*/ 2192826 h 7458372"/>
              <a:gd name="connsiteX31149" fmla="*/ 891015 w 10505529"/>
              <a:gd name="connsiteY31149" fmla="*/ 2196420 h 7458372"/>
              <a:gd name="connsiteX31150" fmla="*/ 887289 w 10505529"/>
              <a:gd name="connsiteY31150" fmla="*/ 2205871 h 7458372"/>
              <a:gd name="connsiteX31151" fmla="*/ 890882 w 10505529"/>
              <a:gd name="connsiteY31151" fmla="*/ 2215322 h 7458372"/>
              <a:gd name="connsiteX31152" fmla="*/ 900866 w 10505529"/>
              <a:gd name="connsiteY31152" fmla="*/ 2218783 h 7458372"/>
              <a:gd name="connsiteX31153" fmla="*/ 906324 w 10505529"/>
              <a:gd name="connsiteY31153" fmla="*/ 2217851 h 7458372"/>
              <a:gd name="connsiteX31154" fmla="*/ 910052 w 10505529"/>
              <a:gd name="connsiteY31154" fmla="*/ 2215455 h 7458372"/>
              <a:gd name="connsiteX31155" fmla="*/ 912714 w 10505529"/>
              <a:gd name="connsiteY31155" fmla="*/ 2211196 h 7458372"/>
              <a:gd name="connsiteX31156" fmla="*/ 913779 w 10505529"/>
              <a:gd name="connsiteY31156" fmla="*/ 2205738 h 7458372"/>
              <a:gd name="connsiteX31157" fmla="*/ 912714 w 10505529"/>
              <a:gd name="connsiteY31157" fmla="*/ 2200546 h 7458372"/>
              <a:gd name="connsiteX31158" fmla="*/ 910052 w 10505529"/>
              <a:gd name="connsiteY31158" fmla="*/ 2196420 h 7458372"/>
              <a:gd name="connsiteX31159" fmla="*/ 906058 w 10505529"/>
              <a:gd name="connsiteY31159" fmla="*/ 2193757 h 7458372"/>
              <a:gd name="connsiteX31160" fmla="*/ 901000 w 10505529"/>
              <a:gd name="connsiteY31160" fmla="*/ 2192826 h 7458372"/>
              <a:gd name="connsiteX31161" fmla="*/ 683223 w 10505529"/>
              <a:gd name="connsiteY31161" fmla="*/ 2192826 h 7458372"/>
              <a:gd name="connsiteX31162" fmla="*/ 673239 w 10505529"/>
              <a:gd name="connsiteY31162" fmla="*/ 2196420 h 7458372"/>
              <a:gd name="connsiteX31163" fmla="*/ 669646 w 10505529"/>
              <a:gd name="connsiteY31163" fmla="*/ 2205871 h 7458372"/>
              <a:gd name="connsiteX31164" fmla="*/ 673239 w 10505529"/>
              <a:gd name="connsiteY31164" fmla="*/ 2215322 h 7458372"/>
              <a:gd name="connsiteX31165" fmla="*/ 683223 w 10505529"/>
              <a:gd name="connsiteY31165" fmla="*/ 2218783 h 7458372"/>
              <a:gd name="connsiteX31166" fmla="*/ 688548 w 10505529"/>
              <a:gd name="connsiteY31166" fmla="*/ 2217851 h 7458372"/>
              <a:gd name="connsiteX31167" fmla="*/ 692275 w 10505529"/>
              <a:gd name="connsiteY31167" fmla="*/ 2215455 h 7458372"/>
              <a:gd name="connsiteX31168" fmla="*/ 694938 w 10505529"/>
              <a:gd name="connsiteY31168" fmla="*/ 2211196 h 7458372"/>
              <a:gd name="connsiteX31169" fmla="*/ 696003 w 10505529"/>
              <a:gd name="connsiteY31169" fmla="*/ 2205738 h 7458372"/>
              <a:gd name="connsiteX31170" fmla="*/ 694938 w 10505529"/>
              <a:gd name="connsiteY31170" fmla="*/ 2200546 h 7458372"/>
              <a:gd name="connsiteX31171" fmla="*/ 692275 w 10505529"/>
              <a:gd name="connsiteY31171" fmla="*/ 2196420 h 7458372"/>
              <a:gd name="connsiteX31172" fmla="*/ 688282 w 10505529"/>
              <a:gd name="connsiteY31172" fmla="*/ 2193757 h 7458372"/>
              <a:gd name="connsiteX31173" fmla="*/ 683223 w 10505529"/>
              <a:gd name="connsiteY31173" fmla="*/ 2192826 h 7458372"/>
              <a:gd name="connsiteX31174" fmla="*/ 465579 w 10505529"/>
              <a:gd name="connsiteY31174" fmla="*/ 2192826 h 7458372"/>
              <a:gd name="connsiteX31175" fmla="*/ 455596 w 10505529"/>
              <a:gd name="connsiteY31175" fmla="*/ 2196420 h 7458372"/>
              <a:gd name="connsiteX31176" fmla="*/ 452002 w 10505529"/>
              <a:gd name="connsiteY31176" fmla="*/ 2205871 h 7458372"/>
              <a:gd name="connsiteX31177" fmla="*/ 455596 w 10505529"/>
              <a:gd name="connsiteY31177" fmla="*/ 2215322 h 7458372"/>
              <a:gd name="connsiteX31178" fmla="*/ 465579 w 10505529"/>
              <a:gd name="connsiteY31178" fmla="*/ 2218783 h 7458372"/>
              <a:gd name="connsiteX31179" fmla="*/ 470904 w 10505529"/>
              <a:gd name="connsiteY31179" fmla="*/ 2217851 h 7458372"/>
              <a:gd name="connsiteX31180" fmla="*/ 474631 w 10505529"/>
              <a:gd name="connsiteY31180" fmla="*/ 2215455 h 7458372"/>
              <a:gd name="connsiteX31181" fmla="*/ 477295 w 10505529"/>
              <a:gd name="connsiteY31181" fmla="*/ 2211196 h 7458372"/>
              <a:gd name="connsiteX31182" fmla="*/ 478359 w 10505529"/>
              <a:gd name="connsiteY31182" fmla="*/ 2205738 h 7458372"/>
              <a:gd name="connsiteX31183" fmla="*/ 477295 w 10505529"/>
              <a:gd name="connsiteY31183" fmla="*/ 2200546 h 7458372"/>
              <a:gd name="connsiteX31184" fmla="*/ 474631 w 10505529"/>
              <a:gd name="connsiteY31184" fmla="*/ 2196420 h 7458372"/>
              <a:gd name="connsiteX31185" fmla="*/ 470638 w 10505529"/>
              <a:gd name="connsiteY31185" fmla="*/ 2193757 h 7458372"/>
              <a:gd name="connsiteX31186" fmla="*/ 465579 w 10505529"/>
              <a:gd name="connsiteY31186" fmla="*/ 2192826 h 7458372"/>
              <a:gd name="connsiteX31187" fmla="*/ 247936 w 10505529"/>
              <a:gd name="connsiteY31187" fmla="*/ 2192826 h 7458372"/>
              <a:gd name="connsiteX31188" fmla="*/ 237953 w 10505529"/>
              <a:gd name="connsiteY31188" fmla="*/ 2196420 h 7458372"/>
              <a:gd name="connsiteX31189" fmla="*/ 234359 w 10505529"/>
              <a:gd name="connsiteY31189" fmla="*/ 2205871 h 7458372"/>
              <a:gd name="connsiteX31190" fmla="*/ 237953 w 10505529"/>
              <a:gd name="connsiteY31190" fmla="*/ 2215322 h 7458372"/>
              <a:gd name="connsiteX31191" fmla="*/ 247936 w 10505529"/>
              <a:gd name="connsiteY31191" fmla="*/ 2218783 h 7458372"/>
              <a:gd name="connsiteX31192" fmla="*/ 253261 w 10505529"/>
              <a:gd name="connsiteY31192" fmla="*/ 2217851 h 7458372"/>
              <a:gd name="connsiteX31193" fmla="*/ 256988 w 10505529"/>
              <a:gd name="connsiteY31193" fmla="*/ 2215455 h 7458372"/>
              <a:gd name="connsiteX31194" fmla="*/ 259651 w 10505529"/>
              <a:gd name="connsiteY31194" fmla="*/ 2211196 h 7458372"/>
              <a:gd name="connsiteX31195" fmla="*/ 260716 w 10505529"/>
              <a:gd name="connsiteY31195" fmla="*/ 2205738 h 7458372"/>
              <a:gd name="connsiteX31196" fmla="*/ 259651 w 10505529"/>
              <a:gd name="connsiteY31196" fmla="*/ 2200546 h 7458372"/>
              <a:gd name="connsiteX31197" fmla="*/ 256988 w 10505529"/>
              <a:gd name="connsiteY31197" fmla="*/ 2196420 h 7458372"/>
              <a:gd name="connsiteX31198" fmla="*/ 252995 w 10505529"/>
              <a:gd name="connsiteY31198" fmla="*/ 2193757 h 7458372"/>
              <a:gd name="connsiteX31199" fmla="*/ 247936 w 10505529"/>
              <a:gd name="connsiteY31199" fmla="*/ 2192826 h 7458372"/>
              <a:gd name="connsiteX31200" fmla="*/ 30292 w 10505529"/>
              <a:gd name="connsiteY31200" fmla="*/ 2192826 h 7458372"/>
              <a:gd name="connsiteX31201" fmla="*/ 20309 w 10505529"/>
              <a:gd name="connsiteY31201" fmla="*/ 2196420 h 7458372"/>
              <a:gd name="connsiteX31202" fmla="*/ 16715 w 10505529"/>
              <a:gd name="connsiteY31202" fmla="*/ 2205871 h 7458372"/>
              <a:gd name="connsiteX31203" fmla="*/ 20309 w 10505529"/>
              <a:gd name="connsiteY31203" fmla="*/ 2215322 h 7458372"/>
              <a:gd name="connsiteX31204" fmla="*/ 30292 w 10505529"/>
              <a:gd name="connsiteY31204" fmla="*/ 2218783 h 7458372"/>
              <a:gd name="connsiteX31205" fmla="*/ 35617 w 10505529"/>
              <a:gd name="connsiteY31205" fmla="*/ 2217851 h 7458372"/>
              <a:gd name="connsiteX31206" fmla="*/ 39344 w 10505529"/>
              <a:gd name="connsiteY31206" fmla="*/ 2215455 h 7458372"/>
              <a:gd name="connsiteX31207" fmla="*/ 42008 w 10505529"/>
              <a:gd name="connsiteY31207" fmla="*/ 2211196 h 7458372"/>
              <a:gd name="connsiteX31208" fmla="*/ 42939 w 10505529"/>
              <a:gd name="connsiteY31208" fmla="*/ 2205738 h 7458372"/>
              <a:gd name="connsiteX31209" fmla="*/ 42008 w 10505529"/>
              <a:gd name="connsiteY31209" fmla="*/ 2200546 h 7458372"/>
              <a:gd name="connsiteX31210" fmla="*/ 39344 w 10505529"/>
              <a:gd name="connsiteY31210" fmla="*/ 2196420 h 7458372"/>
              <a:gd name="connsiteX31211" fmla="*/ 35351 w 10505529"/>
              <a:gd name="connsiteY31211" fmla="*/ 2193757 h 7458372"/>
              <a:gd name="connsiteX31212" fmla="*/ 30292 w 10505529"/>
              <a:gd name="connsiteY31212" fmla="*/ 2192826 h 7458372"/>
              <a:gd name="connsiteX31213" fmla="*/ 10475977 w 10505529"/>
              <a:gd name="connsiteY31213" fmla="*/ 2176186 h 7458372"/>
              <a:gd name="connsiteX31214" fmla="*/ 10487824 w 10505529"/>
              <a:gd name="connsiteY31214" fmla="*/ 2178848 h 7458372"/>
              <a:gd name="connsiteX31215" fmla="*/ 10497143 w 10505529"/>
              <a:gd name="connsiteY31215" fmla="*/ 2185238 h 7458372"/>
              <a:gd name="connsiteX31216" fmla="*/ 10503266 w 10505529"/>
              <a:gd name="connsiteY31216" fmla="*/ 2194555 h 7458372"/>
              <a:gd name="connsiteX31217" fmla="*/ 10505529 w 10505529"/>
              <a:gd name="connsiteY31217" fmla="*/ 2206004 h 7458372"/>
              <a:gd name="connsiteX31218" fmla="*/ 10503266 w 10505529"/>
              <a:gd name="connsiteY31218" fmla="*/ 2217718 h 7458372"/>
              <a:gd name="connsiteX31219" fmla="*/ 10497143 w 10505529"/>
              <a:gd name="connsiteY31219" fmla="*/ 2227037 h 7458372"/>
              <a:gd name="connsiteX31220" fmla="*/ 10487824 w 10505529"/>
              <a:gd name="connsiteY31220" fmla="*/ 2233293 h 7458372"/>
              <a:gd name="connsiteX31221" fmla="*/ 10475977 w 10505529"/>
              <a:gd name="connsiteY31221" fmla="*/ 2235556 h 7458372"/>
              <a:gd name="connsiteX31222" fmla="*/ 10454145 w 10505529"/>
              <a:gd name="connsiteY31222" fmla="*/ 2227037 h 7458372"/>
              <a:gd name="connsiteX31223" fmla="*/ 10445759 w 10505529"/>
              <a:gd name="connsiteY31223" fmla="*/ 2205871 h 7458372"/>
              <a:gd name="connsiteX31224" fmla="*/ 10454145 w 10505529"/>
              <a:gd name="connsiteY31224" fmla="*/ 2184838 h 7458372"/>
              <a:gd name="connsiteX31225" fmla="*/ 10475977 w 10505529"/>
              <a:gd name="connsiteY31225" fmla="*/ 2176186 h 7458372"/>
              <a:gd name="connsiteX31226" fmla="*/ 10258466 w 10505529"/>
              <a:gd name="connsiteY31226" fmla="*/ 2176186 h 7458372"/>
              <a:gd name="connsiteX31227" fmla="*/ 10270313 w 10505529"/>
              <a:gd name="connsiteY31227" fmla="*/ 2178848 h 7458372"/>
              <a:gd name="connsiteX31228" fmla="*/ 10279631 w 10505529"/>
              <a:gd name="connsiteY31228" fmla="*/ 2185238 h 7458372"/>
              <a:gd name="connsiteX31229" fmla="*/ 10285754 w 10505529"/>
              <a:gd name="connsiteY31229" fmla="*/ 2194555 h 7458372"/>
              <a:gd name="connsiteX31230" fmla="*/ 10288017 w 10505529"/>
              <a:gd name="connsiteY31230" fmla="*/ 2206004 h 7458372"/>
              <a:gd name="connsiteX31231" fmla="*/ 10285754 w 10505529"/>
              <a:gd name="connsiteY31231" fmla="*/ 2217718 h 7458372"/>
              <a:gd name="connsiteX31232" fmla="*/ 10279631 w 10505529"/>
              <a:gd name="connsiteY31232" fmla="*/ 2227037 h 7458372"/>
              <a:gd name="connsiteX31233" fmla="*/ 10270313 w 10505529"/>
              <a:gd name="connsiteY31233" fmla="*/ 2233293 h 7458372"/>
              <a:gd name="connsiteX31234" fmla="*/ 10258466 w 10505529"/>
              <a:gd name="connsiteY31234" fmla="*/ 2235556 h 7458372"/>
              <a:gd name="connsiteX31235" fmla="*/ 10236633 w 10505529"/>
              <a:gd name="connsiteY31235" fmla="*/ 2227037 h 7458372"/>
              <a:gd name="connsiteX31236" fmla="*/ 10228247 w 10505529"/>
              <a:gd name="connsiteY31236" fmla="*/ 2205871 h 7458372"/>
              <a:gd name="connsiteX31237" fmla="*/ 10236633 w 10505529"/>
              <a:gd name="connsiteY31237" fmla="*/ 2184838 h 7458372"/>
              <a:gd name="connsiteX31238" fmla="*/ 10258466 w 10505529"/>
              <a:gd name="connsiteY31238" fmla="*/ 2176186 h 7458372"/>
              <a:gd name="connsiteX31239" fmla="*/ 10040820 w 10505529"/>
              <a:gd name="connsiteY31239" fmla="*/ 2176186 h 7458372"/>
              <a:gd name="connsiteX31240" fmla="*/ 10052534 w 10505529"/>
              <a:gd name="connsiteY31240" fmla="*/ 2178848 h 7458372"/>
              <a:gd name="connsiteX31241" fmla="*/ 10061852 w 10505529"/>
              <a:gd name="connsiteY31241" fmla="*/ 2185238 h 7458372"/>
              <a:gd name="connsiteX31242" fmla="*/ 10067976 w 10505529"/>
              <a:gd name="connsiteY31242" fmla="*/ 2194555 h 7458372"/>
              <a:gd name="connsiteX31243" fmla="*/ 10070239 w 10505529"/>
              <a:gd name="connsiteY31243" fmla="*/ 2206004 h 7458372"/>
              <a:gd name="connsiteX31244" fmla="*/ 10067976 w 10505529"/>
              <a:gd name="connsiteY31244" fmla="*/ 2217718 h 7458372"/>
              <a:gd name="connsiteX31245" fmla="*/ 10061852 w 10505529"/>
              <a:gd name="connsiteY31245" fmla="*/ 2227037 h 7458372"/>
              <a:gd name="connsiteX31246" fmla="*/ 10052534 w 10505529"/>
              <a:gd name="connsiteY31246" fmla="*/ 2233293 h 7458372"/>
              <a:gd name="connsiteX31247" fmla="*/ 10040820 w 10505529"/>
              <a:gd name="connsiteY31247" fmla="*/ 2235556 h 7458372"/>
              <a:gd name="connsiteX31248" fmla="*/ 10018988 w 10505529"/>
              <a:gd name="connsiteY31248" fmla="*/ 2227037 h 7458372"/>
              <a:gd name="connsiteX31249" fmla="*/ 10010602 w 10505529"/>
              <a:gd name="connsiteY31249" fmla="*/ 2205871 h 7458372"/>
              <a:gd name="connsiteX31250" fmla="*/ 10018988 w 10505529"/>
              <a:gd name="connsiteY31250" fmla="*/ 2184838 h 7458372"/>
              <a:gd name="connsiteX31251" fmla="*/ 10040820 w 10505529"/>
              <a:gd name="connsiteY31251" fmla="*/ 2176186 h 7458372"/>
              <a:gd name="connsiteX31252" fmla="*/ 9823176 w 10505529"/>
              <a:gd name="connsiteY31252" fmla="*/ 2176186 h 7458372"/>
              <a:gd name="connsiteX31253" fmla="*/ 9834890 w 10505529"/>
              <a:gd name="connsiteY31253" fmla="*/ 2178848 h 7458372"/>
              <a:gd name="connsiteX31254" fmla="*/ 9844208 w 10505529"/>
              <a:gd name="connsiteY31254" fmla="*/ 2185238 h 7458372"/>
              <a:gd name="connsiteX31255" fmla="*/ 9850331 w 10505529"/>
              <a:gd name="connsiteY31255" fmla="*/ 2194555 h 7458372"/>
              <a:gd name="connsiteX31256" fmla="*/ 9852595 w 10505529"/>
              <a:gd name="connsiteY31256" fmla="*/ 2206004 h 7458372"/>
              <a:gd name="connsiteX31257" fmla="*/ 9850331 w 10505529"/>
              <a:gd name="connsiteY31257" fmla="*/ 2217718 h 7458372"/>
              <a:gd name="connsiteX31258" fmla="*/ 9844208 w 10505529"/>
              <a:gd name="connsiteY31258" fmla="*/ 2227037 h 7458372"/>
              <a:gd name="connsiteX31259" fmla="*/ 9834890 w 10505529"/>
              <a:gd name="connsiteY31259" fmla="*/ 2233293 h 7458372"/>
              <a:gd name="connsiteX31260" fmla="*/ 9823176 w 10505529"/>
              <a:gd name="connsiteY31260" fmla="*/ 2235556 h 7458372"/>
              <a:gd name="connsiteX31261" fmla="*/ 9801343 w 10505529"/>
              <a:gd name="connsiteY31261" fmla="*/ 2227037 h 7458372"/>
              <a:gd name="connsiteX31262" fmla="*/ 9792957 w 10505529"/>
              <a:gd name="connsiteY31262" fmla="*/ 2205871 h 7458372"/>
              <a:gd name="connsiteX31263" fmla="*/ 9801343 w 10505529"/>
              <a:gd name="connsiteY31263" fmla="*/ 2184838 h 7458372"/>
              <a:gd name="connsiteX31264" fmla="*/ 9823176 w 10505529"/>
              <a:gd name="connsiteY31264" fmla="*/ 2176186 h 7458372"/>
              <a:gd name="connsiteX31265" fmla="*/ 9605531 w 10505529"/>
              <a:gd name="connsiteY31265" fmla="*/ 2176186 h 7458372"/>
              <a:gd name="connsiteX31266" fmla="*/ 9617245 w 10505529"/>
              <a:gd name="connsiteY31266" fmla="*/ 2178848 h 7458372"/>
              <a:gd name="connsiteX31267" fmla="*/ 9626562 w 10505529"/>
              <a:gd name="connsiteY31267" fmla="*/ 2185238 h 7458372"/>
              <a:gd name="connsiteX31268" fmla="*/ 9632686 w 10505529"/>
              <a:gd name="connsiteY31268" fmla="*/ 2194555 h 7458372"/>
              <a:gd name="connsiteX31269" fmla="*/ 9634949 w 10505529"/>
              <a:gd name="connsiteY31269" fmla="*/ 2206004 h 7458372"/>
              <a:gd name="connsiteX31270" fmla="*/ 9632686 w 10505529"/>
              <a:gd name="connsiteY31270" fmla="*/ 2217718 h 7458372"/>
              <a:gd name="connsiteX31271" fmla="*/ 9626562 w 10505529"/>
              <a:gd name="connsiteY31271" fmla="*/ 2227037 h 7458372"/>
              <a:gd name="connsiteX31272" fmla="*/ 9617245 w 10505529"/>
              <a:gd name="connsiteY31272" fmla="*/ 2233293 h 7458372"/>
              <a:gd name="connsiteX31273" fmla="*/ 9605531 w 10505529"/>
              <a:gd name="connsiteY31273" fmla="*/ 2235556 h 7458372"/>
              <a:gd name="connsiteX31274" fmla="*/ 9583698 w 10505529"/>
              <a:gd name="connsiteY31274" fmla="*/ 2227037 h 7458372"/>
              <a:gd name="connsiteX31275" fmla="*/ 9575312 w 10505529"/>
              <a:gd name="connsiteY31275" fmla="*/ 2205871 h 7458372"/>
              <a:gd name="connsiteX31276" fmla="*/ 9583698 w 10505529"/>
              <a:gd name="connsiteY31276" fmla="*/ 2184838 h 7458372"/>
              <a:gd name="connsiteX31277" fmla="*/ 9605531 w 10505529"/>
              <a:gd name="connsiteY31277" fmla="*/ 2176186 h 7458372"/>
              <a:gd name="connsiteX31278" fmla="*/ 9387885 w 10505529"/>
              <a:gd name="connsiteY31278" fmla="*/ 2176186 h 7458372"/>
              <a:gd name="connsiteX31279" fmla="*/ 9399599 w 10505529"/>
              <a:gd name="connsiteY31279" fmla="*/ 2178848 h 7458372"/>
              <a:gd name="connsiteX31280" fmla="*/ 9408917 w 10505529"/>
              <a:gd name="connsiteY31280" fmla="*/ 2185238 h 7458372"/>
              <a:gd name="connsiteX31281" fmla="*/ 9415041 w 10505529"/>
              <a:gd name="connsiteY31281" fmla="*/ 2194555 h 7458372"/>
              <a:gd name="connsiteX31282" fmla="*/ 9417304 w 10505529"/>
              <a:gd name="connsiteY31282" fmla="*/ 2206004 h 7458372"/>
              <a:gd name="connsiteX31283" fmla="*/ 9415041 w 10505529"/>
              <a:gd name="connsiteY31283" fmla="*/ 2217718 h 7458372"/>
              <a:gd name="connsiteX31284" fmla="*/ 9408917 w 10505529"/>
              <a:gd name="connsiteY31284" fmla="*/ 2227037 h 7458372"/>
              <a:gd name="connsiteX31285" fmla="*/ 9399599 w 10505529"/>
              <a:gd name="connsiteY31285" fmla="*/ 2233293 h 7458372"/>
              <a:gd name="connsiteX31286" fmla="*/ 9387885 w 10505529"/>
              <a:gd name="connsiteY31286" fmla="*/ 2235556 h 7458372"/>
              <a:gd name="connsiteX31287" fmla="*/ 9366053 w 10505529"/>
              <a:gd name="connsiteY31287" fmla="*/ 2227037 h 7458372"/>
              <a:gd name="connsiteX31288" fmla="*/ 9357667 w 10505529"/>
              <a:gd name="connsiteY31288" fmla="*/ 2205871 h 7458372"/>
              <a:gd name="connsiteX31289" fmla="*/ 9366053 w 10505529"/>
              <a:gd name="connsiteY31289" fmla="*/ 2184838 h 7458372"/>
              <a:gd name="connsiteX31290" fmla="*/ 9387885 w 10505529"/>
              <a:gd name="connsiteY31290" fmla="*/ 2176186 h 7458372"/>
              <a:gd name="connsiteX31291" fmla="*/ 9170374 w 10505529"/>
              <a:gd name="connsiteY31291" fmla="*/ 2176186 h 7458372"/>
              <a:gd name="connsiteX31292" fmla="*/ 9182088 w 10505529"/>
              <a:gd name="connsiteY31292" fmla="*/ 2178848 h 7458372"/>
              <a:gd name="connsiteX31293" fmla="*/ 9191405 w 10505529"/>
              <a:gd name="connsiteY31293" fmla="*/ 2185238 h 7458372"/>
              <a:gd name="connsiteX31294" fmla="*/ 9197529 w 10505529"/>
              <a:gd name="connsiteY31294" fmla="*/ 2194555 h 7458372"/>
              <a:gd name="connsiteX31295" fmla="*/ 9199792 w 10505529"/>
              <a:gd name="connsiteY31295" fmla="*/ 2206004 h 7458372"/>
              <a:gd name="connsiteX31296" fmla="*/ 9197529 w 10505529"/>
              <a:gd name="connsiteY31296" fmla="*/ 2217718 h 7458372"/>
              <a:gd name="connsiteX31297" fmla="*/ 9191405 w 10505529"/>
              <a:gd name="connsiteY31297" fmla="*/ 2227037 h 7458372"/>
              <a:gd name="connsiteX31298" fmla="*/ 9182088 w 10505529"/>
              <a:gd name="connsiteY31298" fmla="*/ 2233293 h 7458372"/>
              <a:gd name="connsiteX31299" fmla="*/ 9170374 w 10505529"/>
              <a:gd name="connsiteY31299" fmla="*/ 2235556 h 7458372"/>
              <a:gd name="connsiteX31300" fmla="*/ 9148541 w 10505529"/>
              <a:gd name="connsiteY31300" fmla="*/ 2227037 h 7458372"/>
              <a:gd name="connsiteX31301" fmla="*/ 9140155 w 10505529"/>
              <a:gd name="connsiteY31301" fmla="*/ 2205871 h 7458372"/>
              <a:gd name="connsiteX31302" fmla="*/ 9148541 w 10505529"/>
              <a:gd name="connsiteY31302" fmla="*/ 2184838 h 7458372"/>
              <a:gd name="connsiteX31303" fmla="*/ 9170374 w 10505529"/>
              <a:gd name="connsiteY31303" fmla="*/ 2176186 h 7458372"/>
              <a:gd name="connsiteX31304" fmla="*/ 8952728 w 10505529"/>
              <a:gd name="connsiteY31304" fmla="*/ 2176186 h 7458372"/>
              <a:gd name="connsiteX31305" fmla="*/ 8964442 w 10505529"/>
              <a:gd name="connsiteY31305" fmla="*/ 2178848 h 7458372"/>
              <a:gd name="connsiteX31306" fmla="*/ 8973760 w 10505529"/>
              <a:gd name="connsiteY31306" fmla="*/ 2185238 h 7458372"/>
              <a:gd name="connsiteX31307" fmla="*/ 8979884 w 10505529"/>
              <a:gd name="connsiteY31307" fmla="*/ 2194555 h 7458372"/>
              <a:gd name="connsiteX31308" fmla="*/ 8982147 w 10505529"/>
              <a:gd name="connsiteY31308" fmla="*/ 2206004 h 7458372"/>
              <a:gd name="connsiteX31309" fmla="*/ 8979884 w 10505529"/>
              <a:gd name="connsiteY31309" fmla="*/ 2217718 h 7458372"/>
              <a:gd name="connsiteX31310" fmla="*/ 8973760 w 10505529"/>
              <a:gd name="connsiteY31310" fmla="*/ 2227037 h 7458372"/>
              <a:gd name="connsiteX31311" fmla="*/ 8964442 w 10505529"/>
              <a:gd name="connsiteY31311" fmla="*/ 2233293 h 7458372"/>
              <a:gd name="connsiteX31312" fmla="*/ 8952728 w 10505529"/>
              <a:gd name="connsiteY31312" fmla="*/ 2235556 h 7458372"/>
              <a:gd name="connsiteX31313" fmla="*/ 8930896 w 10505529"/>
              <a:gd name="connsiteY31313" fmla="*/ 2227037 h 7458372"/>
              <a:gd name="connsiteX31314" fmla="*/ 8922510 w 10505529"/>
              <a:gd name="connsiteY31314" fmla="*/ 2205871 h 7458372"/>
              <a:gd name="connsiteX31315" fmla="*/ 8930896 w 10505529"/>
              <a:gd name="connsiteY31315" fmla="*/ 2184838 h 7458372"/>
              <a:gd name="connsiteX31316" fmla="*/ 8952728 w 10505529"/>
              <a:gd name="connsiteY31316" fmla="*/ 2176186 h 7458372"/>
              <a:gd name="connsiteX31317" fmla="*/ 8735083 w 10505529"/>
              <a:gd name="connsiteY31317" fmla="*/ 2176186 h 7458372"/>
              <a:gd name="connsiteX31318" fmla="*/ 8746797 w 10505529"/>
              <a:gd name="connsiteY31318" fmla="*/ 2178848 h 7458372"/>
              <a:gd name="connsiteX31319" fmla="*/ 8756115 w 10505529"/>
              <a:gd name="connsiteY31319" fmla="*/ 2185238 h 7458372"/>
              <a:gd name="connsiteX31320" fmla="*/ 8762238 w 10505529"/>
              <a:gd name="connsiteY31320" fmla="*/ 2194555 h 7458372"/>
              <a:gd name="connsiteX31321" fmla="*/ 8764502 w 10505529"/>
              <a:gd name="connsiteY31321" fmla="*/ 2206004 h 7458372"/>
              <a:gd name="connsiteX31322" fmla="*/ 8762238 w 10505529"/>
              <a:gd name="connsiteY31322" fmla="*/ 2217718 h 7458372"/>
              <a:gd name="connsiteX31323" fmla="*/ 8756115 w 10505529"/>
              <a:gd name="connsiteY31323" fmla="*/ 2227037 h 7458372"/>
              <a:gd name="connsiteX31324" fmla="*/ 8746797 w 10505529"/>
              <a:gd name="connsiteY31324" fmla="*/ 2233293 h 7458372"/>
              <a:gd name="connsiteX31325" fmla="*/ 8735083 w 10505529"/>
              <a:gd name="connsiteY31325" fmla="*/ 2235556 h 7458372"/>
              <a:gd name="connsiteX31326" fmla="*/ 8713250 w 10505529"/>
              <a:gd name="connsiteY31326" fmla="*/ 2227037 h 7458372"/>
              <a:gd name="connsiteX31327" fmla="*/ 8704864 w 10505529"/>
              <a:gd name="connsiteY31327" fmla="*/ 2205871 h 7458372"/>
              <a:gd name="connsiteX31328" fmla="*/ 8713250 w 10505529"/>
              <a:gd name="connsiteY31328" fmla="*/ 2184838 h 7458372"/>
              <a:gd name="connsiteX31329" fmla="*/ 8735083 w 10505529"/>
              <a:gd name="connsiteY31329" fmla="*/ 2176186 h 7458372"/>
              <a:gd name="connsiteX31330" fmla="*/ 8517438 w 10505529"/>
              <a:gd name="connsiteY31330" fmla="*/ 2176186 h 7458372"/>
              <a:gd name="connsiteX31331" fmla="*/ 8529152 w 10505529"/>
              <a:gd name="connsiteY31331" fmla="*/ 2178848 h 7458372"/>
              <a:gd name="connsiteX31332" fmla="*/ 8538470 w 10505529"/>
              <a:gd name="connsiteY31332" fmla="*/ 2185238 h 7458372"/>
              <a:gd name="connsiteX31333" fmla="*/ 8544594 w 10505529"/>
              <a:gd name="connsiteY31333" fmla="*/ 2194555 h 7458372"/>
              <a:gd name="connsiteX31334" fmla="*/ 8546857 w 10505529"/>
              <a:gd name="connsiteY31334" fmla="*/ 2206004 h 7458372"/>
              <a:gd name="connsiteX31335" fmla="*/ 8544594 w 10505529"/>
              <a:gd name="connsiteY31335" fmla="*/ 2217718 h 7458372"/>
              <a:gd name="connsiteX31336" fmla="*/ 8538470 w 10505529"/>
              <a:gd name="connsiteY31336" fmla="*/ 2227037 h 7458372"/>
              <a:gd name="connsiteX31337" fmla="*/ 8529152 w 10505529"/>
              <a:gd name="connsiteY31337" fmla="*/ 2233293 h 7458372"/>
              <a:gd name="connsiteX31338" fmla="*/ 8517438 w 10505529"/>
              <a:gd name="connsiteY31338" fmla="*/ 2235556 h 7458372"/>
              <a:gd name="connsiteX31339" fmla="*/ 8495606 w 10505529"/>
              <a:gd name="connsiteY31339" fmla="*/ 2227037 h 7458372"/>
              <a:gd name="connsiteX31340" fmla="*/ 8487220 w 10505529"/>
              <a:gd name="connsiteY31340" fmla="*/ 2205871 h 7458372"/>
              <a:gd name="connsiteX31341" fmla="*/ 8495606 w 10505529"/>
              <a:gd name="connsiteY31341" fmla="*/ 2184838 h 7458372"/>
              <a:gd name="connsiteX31342" fmla="*/ 8517438 w 10505529"/>
              <a:gd name="connsiteY31342" fmla="*/ 2176186 h 7458372"/>
              <a:gd name="connsiteX31343" fmla="*/ 8299793 w 10505529"/>
              <a:gd name="connsiteY31343" fmla="*/ 2176186 h 7458372"/>
              <a:gd name="connsiteX31344" fmla="*/ 8311507 w 10505529"/>
              <a:gd name="connsiteY31344" fmla="*/ 2178848 h 7458372"/>
              <a:gd name="connsiteX31345" fmla="*/ 8320825 w 10505529"/>
              <a:gd name="connsiteY31345" fmla="*/ 2185238 h 7458372"/>
              <a:gd name="connsiteX31346" fmla="*/ 8326948 w 10505529"/>
              <a:gd name="connsiteY31346" fmla="*/ 2194555 h 7458372"/>
              <a:gd name="connsiteX31347" fmla="*/ 8329212 w 10505529"/>
              <a:gd name="connsiteY31347" fmla="*/ 2206004 h 7458372"/>
              <a:gd name="connsiteX31348" fmla="*/ 8326948 w 10505529"/>
              <a:gd name="connsiteY31348" fmla="*/ 2217718 h 7458372"/>
              <a:gd name="connsiteX31349" fmla="*/ 8320825 w 10505529"/>
              <a:gd name="connsiteY31349" fmla="*/ 2227037 h 7458372"/>
              <a:gd name="connsiteX31350" fmla="*/ 8311507 w 10505529"/>
              <a:gd name="connsiteY31350" fmla="*/ 2233293 h 7458372"/>
              <a:gd name="connsiteX31351" fmla="*/ 8299793 w 10505529"/>
              <a:gd name="connsiteY31351" fmla="*/ 2235556 h 7458372"/>
              <a:gd name="connsiteX31352" fmla="*/ 8277960 w 10505529"/>
              <a:gd name="connsiteY31352" fmla="*/ 2227037 h 7458372"/>
              <a:gd name="connsiteX31353" fmla="*/ 8269574 w 10505529"/>
              <a:gd name="connsiteY31353" fmla="*/ 2205871 h 7458372"/>
              <a:gd name="connsiteX31354" fmla="*/ 8277960 w 10505529"/>
              <a:gd name="connsiteY31354" fmla="*/ 2184838 h 7458372"/>
              <a:gd name="connsiteX31355" fmla="*/ 8299793 w 10505529"/>
              <a:gd name="connsiteY31355" fmla="*/ 2176186 h 7458372"/>
              <a:gd name="connsiteX31356" fmla="*/ 8082281 w 10505529"/>
              <a:gd name="connsiteY31356" fmla="*/ 2176186 h 7458372"/>
              <a:gd name="connsiteX31357" fmla="*/ 8094127 w 10505529"/>
              <a:gd name="connsiteY31357" fmla="*/ 2178848 h 7458372"/>
              <a:gd name="connsiteX31358" fmla="*/ 8103446 w 10505529"/>
              <a:gd name="connsiteY31358" fmla="*/ 2185238 h 7458372"/>
              <a:gd name="connsiteX31359" fmla="*/ 8109569 w 10505529"/>
              <a:gd name="connsiteY31359" fmla="*/ 2194555 h 7458372"/>
              <a:gd name="connsiteX31360" fmla="*/ 8111832 w 10505529"/>
              <a:gd name="connsiteY31360" fmla="*/ 2206004 h 7458372"/>
              <a:gd name="connsiteX31361" fmla="*/ 8109569 w 10505529"/>
              <a:gd name="connsiteY31361" fmla="*/ 2217718 h 7458372"/>
              <a:gd name="connsiteX31362" fmla="*/ 8103446 w 10505529"/>
              <a:gd name="connsiteY31362" fmla="*/ 2227037 h 7458372"/>
              <a:gd name="connsiteX31363" fmla="*/ 8094127 w 10505529"/>
              <a:gd name="connsiteY31363" fmla="*/ 2233293 h 7458372"/>
              <a:gd name="connsiteX31364" fmla="*/ 8082281 w 10505529"/>
              <a:gd name="connsiteY31364" fmla="*/ 2235556 h 7458372"/>
              <a:gd name="connsiteX31365" fmla="*/ 8060448 w 10505529"/>
              <a:gd name="connsiteY31365" fmla="*/ 2227037 h 7458372"/>
              <a:gd name="connsiteX31366" fmla="*/ 8052062 w 10505529"/>
              <a:gd name="connsiteY31366" fmla="*/ 2205871 h 7458372"/>
              <a:gd name="connsiteX31367" fmla="*/ 8060448 w 10505529"/>
              <a:gd name="connsiteY31367" fmla="*/ 2184838 h 7458372"/>
              <a:gd name="connsiteX31368" fmla="*/ 8082281 w 10505529"/>
              <a:gd name="connsiteY31368" fmla="*/ 2176186 h 7458372"/>
              <a:gd name="connsiteX31369" fmla="*/ 7864636 w 10505529"/>
              <a:gd name="connsiteY31369" fmla="*/ 2176186 h 7458372"/>
              <a:gd name="connsiteX31370" fmla="*/ 7876483 w 10505529"/>
              <a:gd name="connsiteY31370" fmla="*/ 2178848 h 7458372"/>
              <a:gd name="connsiteX31371" fmla="*/ 7885802 w 10505529"/>
              <a:gd name="connsiteY31371" fmla="*/ 2185238 h 7458372"/>
              <a:gd name="connsiteX31372" fmla="*/ 7891924 w 10505529"/>
              <a:gd name="connsiteY31372" fmla="*/ 2194555 h 7458372"/>
              <a:gd name="connsiteX31373" fmla="*/ 7894188 w 10505529"/>
              <a:gd name="connsiteY31373" fmla="*/ 2206004 h 7458372"/>
              <a:gd name="connsiteX31374" fmla="*/ 7891924 w 10505529"/>
              <a:gd name="connsiteY31374" fmla="*/ 2217718 h 7458372"/>
              <a:gd name="connsiteX31375" fmla="*/ 7885802 w 10505529"/>
              <a:gd name="connsiteY31375" fmla="*/ 2227037 h 7458372"/>
              <a:gd name="connsiteX31376" fmla="*/ 7876483 w 10505529"/>
              <a:gd name="connsiteY31376" fmla="*/ 2233293 h 7458372"/>
              <a:gd name="connsiteX31377" fmla="*/ 7864636 w 10505529"/>
              <a:gd name="connsiteY31377" fmla="*/ 2235556 h 7458372"/>
              <a:gd name="connsiteX31378" fmla="*/ 7842803 w 10505529"/>
              <a:gd name="connsiteY31378" fmla="*/ 2227037 h 7458372"/>
              <a:gd name="connsiteX31379" fmla="*/ 7834417 w 10505529"/>
              <a:gd name="connsiteY31379" fmla="*/ 2205871 h 7458372"/>
              <a:gd name="connsiteX31380" fmla="*/ 7842803 w 10505529"/>
              <a:gd name="connsiteY31380" fmla="*/ 2184838 h 7458372"/>
              <a:gd name="connsiteX31381" fmla="*/ 7864636 w 10505529"/>
              <a:gd name="connsiteY31381" fmla="*/ 2176186 h 7458372"/>
              <a:gd name="connsiteX31382" fmla="*/ 7646991 w 10505529"/>
              <a:gd name="connsiteY31382" fmla="*/ 2176186 h 7458372"/>
              <a:gd name="connsiteX31383" fmla="*/ 7658705 w 10505529"/>
              <a:gd name="connsiteY31383" fmla="*/ 2178848 h 7458372"/>
              <a:gd name="connsiteX31384" fmla="*/ 7668022 w 10505529"/>
              <a:gd name="connsiteY31384" fmla="*/ 2185238 h 7458372"/>
              <a:gd name="connsiteX31385" fmla="*/ 7674146 w 10505529"/>
              <a:gd name="connsiteY31385" fmla="*/ 2194555 h 7458372"/>
              <a:gd name="connsiteX31386" fmla="*/ 7676409 w 10505529"/>
              <a:gd name="connsiteY31386" fmla="*/ 2206004 h 7458372"/>
              <a:gd name="connsiteX31387" fmla="*/ 7674146 w 10505529"/>
              <a:gd name="connsiteY31387" fmla="*/ 2217718 h 7458372"/>
              <a:gd name="connsiteX31388" fmla="*/ 7668022 w 10505529"/>
              <a:gd name="connsiteY31388" fmla="*/ 2227037 h 7458372"/>
              <a:gd name="connsiteX31389" fmla="*/ 7658705 w 10505529"/>
              <a:gd name="connsiteY31389" fmla="*/ 2233293 h 7458372"/>
              <a:gd name="connsiteX31390" fmla="*/ 7646991 w 10505529"/>
              <a:gd name="connsiteY31390" fmla="*/ 2235556 h 7458372"/>
              <a:gd name="connsiteX31391" fmla="*/ 7625158 w 10505529"/>
              <a:gd name="connsiteY31391" fmla="*/ 2227037 h 7458372"/>
              <a:gd name="connsiteX31392" fmla="*/ 7616772 w 10505529"/>
              <a:gd name="connsiteY31392" fmla="*/ 2205871 h 7458372"/>
              <a:gd name="connsiteX31393" fmla="*/ 7625158 w 10505529"/>
              <a:gd name="connsiteY31393" fmla="*/ 2184838 h 7458372"/>
              <a:gd name="connsiteX31394" fmla="*/ 7646991 w 10505529"/>
              <a:gd name="connsiteY31394" fmla="*/ 2176186 h 7458372"/>
              <a:gd name="connsiteX31395" fmla="*/ 7429345 w 10505529"/>
              <a:gd name="connsiteY31395" fmla="*/ 2176186 h 7458372"/>
              <a:gd name="connsiteX31396" fmla="*/ 7441059 w 10505529"/>
              <a:gd name="connsiteY31396" fmla="*/ 2178848 h 7458372"/>
              <a:gd name="connsiteX31397" fmla="*/ 7450377 w 10505529"/>
              <a:gd name="connsiteY31397" fmla="*/ 2185238 h 7458372"/>
              <a:gd name="connsiteX31398" fmla="*/ 7456501 w 10505529"/>
              <a:gd name="connsiteY31398" fmla="*/ 2194555 h 7458372"/>
              <a:gd name="connsiteX31399" fmla="*/ 7458764 w 10505529"/>
              <a:gd name="connsiteY31399" fmla="*/ 2206004 h 7458372"/>
              <a:gd name="connsiteX31400" fmla="*/ 7456501 w 10505529"/>
              <a:gd name="connsiteY31400" fmla="*/ 2217718 h 7458372"/>
              <a:gd name="connsiteX31401" fmla="*/ 7450377 w 10505529"/>
              <a:gd name="connsiteY31401" fmla="*/ 2227037 h 7458372"/>
              <a:gd name="connsiteX31402" fmla="*/ 7441059 w 10505529"/>
              <a:gd name="connsiteY31402" fmla="*/ 2233293 h 7458372"/>
              <a:gd name="connsiteX31403" fmla="*/ 7429345 w 10505529"/>
              <a:gd name="connsiteY31403" fmla="*/ 2235556 h 7458372"/>
              <a:gd name="connsiteX31404" fmla="*/ 7407513 w 10505529"/>
              <a:gd name="connsiteY31404" fmla="*/ 2227037 h 7458372"/>
              <a:gd name="connsiteX31405" fmla="*/ 7399127 w 10505529"/>
              <a:gd name="connsiteY31405" fmla="*/ 2205871 h 7458372"/>
              <a:gd name="connsiteX31406" fmla="*/ 7407513 w 10505529"/>
              <a:gd name="connsiteY31406" fmla="*/ 2184838 h 7458372"/>
              <a:gd name="connsiteX31407" fmla="*/ 7429345 w 10505529"/>
              <a:gd name="connsiteY31407" fmla="*/ 2176186 h 7458372"/>
              <a:gd name="connsiteX31408" fmla="*/ 7211701 w 10505529"/>
              <a:gd name="connsiteY31408" fmla="*/ 2176186 h 7458372"/>
              <a:gd name="connsiteX31409" fmla="*/ 7223415 w 10505529"/>
              <a:gd name="connsiteY31409" fmla="*/ 2178848 h 7458372"/>
              <a:gd name="connsiteX31410" fmla="*/ 7232733 w 10505529"/>
              <a:gd name="connsiteY31410" fmla="*/ 2185238 h 7458372"/>
              <a:gd name="connsiteX31411" fmla="*/ 7238856 w 10505529"/>
              <a:gd name="connsiteY31411" fmla="*/ 2194555 h 7458372"/>
              <a:gd name="connsiteX31412" fmla="*/ 7241120 w 10505529"/>
              <a:gd name="connsiteY31412" fmla="*/ 2206004 h 7458372"/>
              <a:gd name="connsiteX31413" fmla="*/ 7238856 w 10505529"/>
              <a:gd name="connsiteY31413" fmla="*/ 2217718 h 7458372"/>
              <a:gd name="connsiteX31414" fmla="*/ 7232733 w 10505529"/>
              <a:gd name="connsiteY31414" fmla="*/ 2227037 h 7458372"/>
              <a:gd name="connsiteX31415" fmla="*/ 7223415 w 10505529"/>
              <a:gd name="connsiteY31415" fmla="*/ 2233293 h 7458372"/>
              <a:gd name="connsiteX31416" fmla="*/ 7211701 w 10505529"/>
              <a:gd name="connsiteY31416" fmla="*/ 2235556 h 7458372"/>
              <a:gd name="connsiteX31417" fmla="*/ 7189868 w 10505529"/>
              <a:gd name="connsiteY31417" fmla="*/ 2227037 h 7458372"/>
              <a:gd name="connsiteX31418" fmla="*/ 7181482 w 10505529"/>
              <a:gd name="connsiteY31418" fmla="*/ 2205871 h 7458372"/>
              <a:gd name="connsiteX31419" fmla="*/ 7189868 w 10505529"/>
              <a:gd name="connsiteY31419" fmla="*/ 2184838 h 7458372"/>
              <a:gd name="connsiteX31420" fmla="*/ 7211701 w 10505529"/>
              <a:gd name="connsiteY31420" fmla="*/ 2176186 h 7458372"/>
              <a:gd name="connsiteX31421" fmla="*/ 6994056 w 10505529"/>
              <a:gd name="connsiteY31421" fmla="*/ 2176186 h 7458372"/>
              <a:gd name="connsiteX31422" fmla="*/ 7005769 w 10505529"/>
              <a:gd name="connsiteY31422" fmla="*/ 2178848 h 7458372"/>
              <a:gd name="connsiteX31423" fmla="*/ 7015087 w 10505529"/>
              <a:gd name="connsiteY31423" fmla="*/ 2185238 h 7458372"/>
              <a:gd name="connsiteX31424" fmla="*/ 7021211 w 10505529"/>
              <a:gd name="connsiteY31424" fmla="*/ 2194555 h 7458372"/>
              <a:gd name="connsiteX31425" fmla="*/ 7023474 w 10505529"/>
              <a:gd name="connsiteY31425" fmla="*/ 2206004 h 7458372"/>
              <a:gd name="connsiteX31426" fmla="*/ 7021211 w 10505529"/>
              <a:gd name="connsiteY31426" fmla="*/ 2217718 h 7458372"/>
              <a:gd name="connsiteX31427" fmla="*/ 7015087 w 10505529"/>
              <a:gd name="connsiteY31427" fmla="*/ 2227037 h 7458372"/>
              <a:gd name="connsiteX31428" fmla="*/ 7005769 w 10505529"/>
              <a:gd name="connsiteY31428" fmla="*/ 2233293 h 7458372"/>
              <a:gd name="connsiteX31429" fmla="*/ 6994056 w 10505529"/>
              <a:gd name="connsiteY31429" fmla="*/ 2235556 h 7458372"/>
              <a:gd name="connsiteX31430" fmla="*/ 6972223 w 10505529"/>
              <a:gd name="connsiteY31430" fmla="*/ 2227037 h 7458372"/>
              <a:gd name="connsiteX31431" fmla="*/ 6963837 w 10505529"/>
              <a:gd name="connsiteY31431" fmla="*/ 2205871 h 7458372"/>
              <a:gd name="connsiteX31432" fmla="*/ 6972223 w 10505529"/>
              <a:gd name="connsiteY31432" fmla="*/ 2184838 h 7458372"/>
              <a:gd name="connsiteX31433" fmla="*/ 6994056 w 10505529"/>
              <a:gd name="connsiteY31433" fmla="*/ 2176186 h 7458372"/>
              <a:gd name="connsiteX31434" fmla="*/ 6776544 w 10505529"/>
              <a:gd name="connsiteY31434" fmla="*/ 2176186 h 7458372"/>
              <a:gd name="connsiteX31435" fmla="*/ 6788258 w 10505529"/>
              <a:gd name="connsiteY31435" fmla="*/ 2178848 h 7458372"/>
              <a:gd name="connsiteX31436" fmla="*/ 6797576 w 10505529"/>
              <a:gd name="connsiteY31436" fmla="*/ 2185238 h 7458372"/>
              <a:gd name="connsiteX31437" fmla="*/ 6803699 w 10505529"/>
              <a:gd name="connsiteY31437" fmla="*/ 2194555 h 7458372"/>
              <a:gd name="connsiteX31438" fmla="*/ 6805963 w 10505529"/>
              <a:gd name="connsiteY31438" fmla="*/ 2206004 h 7458372"/>
              <a:gd name="connsiteX31439" fmla="*/ 6803699 w 10505529"/>
              <a:gd name="connsiteY31439" fmla="*/ 2217718 h 7458372"/>
              <a:gd name="connsiteX31440" fmla="*/ 6797576 w 10505529"/>
              <a:gd name="connsiteY31440" fmla="*/ 2227037 h 7458372"/>
              <a:gd name="connsiteX31441" fmla="*/ 6788258 w 10505529"/>
              <a:gd name="connsiteY31441" fmla="*/ 2233293 h 7458372"/>
              <a:gd name="connsiteX31442" fmla="*/ 6776544 w 10505529"/>
              <a:gd name="connsiteY31442" fmla="*/ 2235556 h 7458372"/>
              <a:gd name="connsiteX31443" fmla="*/ 6754711 w 10505529"/>
              <a:gd name="connsiteY31443" fmla="*/ 2227037 h 7458372"/>
              <a:gd name="connsiteX31444" fmla="*/ 6746325 w 10505529"/>
              <a:gd name="connsiteY31444" fmla="*/ 2205871 h 7458372"/>
              <a:gd name="connsiteX31445" fmla="*/ 6754711 w 10505529"/>
              <a:gd name="connsiteY31445" fmla="*/ 2184838 h 7458372"/>
              <a:gd name="connsiteX31446" fmla="*/ 6776544 w 10505529"/>
              <a:gd name="connsiteY31446" fmla="*/ 2176186 h 7458372"/>
              <a:gd name="connsiteX31447" fmla="*/ 6558899 w 10505529"/>
              <a:gd name="connsiteY31447" fmla="*/ 2176186 h 7458372"/>
              <a:gd name="connsiteX31448" fmla="*/ 6570612 w 10505529"/>
              <a:gd name="connsiteY31448" fmla="*/ 2178848 h 7458372"/>
              <a:gd name="connsiteX31449" fmla="*/ 6579930 w 10505529"/>
              <a:gd name="connsiteY31449" fmla="*/ 2185238 h 7458372"/>
              <a:gd name="connsiteX31450" fmla="*/ 6586054 w 10505529"/>
              <a:gd name="connsiteY31450" fmla="*/ 2194555 h 7458372"/>
              <a:gd name="connsiteX31451" fmla="*/ 6588317 w 10505529"/>
              <a:gd name="connsiteY31451" fmla="*/ 2206004 h 7458372"/>
              <a:gd name="connsiteX31452" fmla="*/ 6586054 w 10505529"/>
              <a:gd name="connsiteY31452" fmla="*/ 2217718 h 7458372"/>
              <a:gd name="connsiteX31453" fmla="*/ 6579930 w 10505529"/>
              <a:gd name="connsiteY31453" fmla="*/ 2227037 h 7458372"/>
              <a:gd name="connsiteX31454" fmla="*/ 6570612 w 10505529"/>
              <a:gd name="connsiteY31454" fmla="*/ 2233293 h 7458372"/>
              <a:gd name="connsiteX31455" fmla="*/ 6558899 w 10505529"/>
              <a:gd name="connsiteY31455" fmla="*/ 2235556 h 7458372"/>
              <a:gd name="connsiteX31456" fmla="*/ 6537066 w 10505529"/>
              <a:gd name="connsiteY31456" fmla="*/ 2227037 h 7458372"/>
              <a:gd name="connsiteX31457" fmla="*/ 6528680 w 10505529"/>
              <a:gd name="connsiteY31457" fmla="*/ 2205871 h 7458372"/>
              <a:gd name="connsiteX31458" fmla="*/ 6537066 w 10505529"/>
              <a:gd name="connsiteY31458" fmla="*/ 2184838 h 7458372"/>
              <a:gd name="connsiteX31459" fmla="*/ 6558899 w 10505529"/>
              <a:gd name="connsiteY31459" fmla="*/ 2176186 h 7458372"/>
              <a:gd name="connsiteX31460" fmla="*/ 6341253 w 10505529"/>
              <a:gd name="connsiteY31460" fmla="*/ 2176186 h 7458372"/>
              <a:gd name="connsiteX31461" fmla="*/ 6352968 w 10505529"/>
              <a:gd name="connsiteY31461" fmla="*/ 2178848 h 7458372"/>
              <a:gd name="connsiteX31462" fmla="*/ 6362286 w 10505529"/>
              <a:gd name="connsiteY31462" fmla="*/ 2185238 h 7458372"/>
              <a:gd name="connsiteX31463" fmla="*/ 6368409 w 10505529"/>
              <a:gd name="connsiteY31463" fmla="*/ 2194555 h 7458372"/>
              <a:gd name="connsiteX31464" fmla="*/ 6370672 w 10505529"/>
              <a:gd name="connsiteY31464" fmla="*/ 2206004 h 7458372"/>
              <a:gd name="connsiteX31465" fmla="*/ 6368409 w 10505529"/>
              <a:gd name="connsiteY31465" fmla="*/ 2217718 h 7458372"/>
              <a:gd name="connsiteX31466" fmla="*/ 6362286 w 10505529"/>
              <a:gd name="connsiteY31466" fmla="*/ 2227037 h 7458372"/>
              <a:gd name="connsiteX31467" fmla="*/ 6352968 w 10505529"/>
              <a:gd name="connsiteY31467" fmla="*/ 2233293 h 7458372"/>
              <a:gd name="connsiteX31468" fmla="*/ 6341253 w 10505529"/>
              <a:gd name="connsiteY31468" fmla="*/ 2235556 h 7458372"/>
              <a:gd name="connsiteX31469" fmla="*/ 6319421 w 10505529"/>
              <a:gd name="connsiteY31469" fmla="*/ 2227037 h 7458372"/>
              <a:gd name="connsiteX31470" fmla="*/ 6311035 w 10505529"/>
              <a:gd name="connsiteY31470" fmla="*/ 2205871 h 7458372"/>
              <a:gd name="connsiteX31471" fmla="*/ 6319421 w 10505529"/>
              <a:gd name="connsiteY31471" fmla="*/ 2184838 h 7458372"/>
              <a:gd name="connsiteX31472" fmla="*/ 6341253 w 10505529"/>
              <a:gd name="connsiteY31472" fmla="*/ 2176186 h 7458372"/>
              <a:gd name="connsiteX31473" fmla="*/ 6123608 w 10505529"/>
              <a:gd name="connsiteY31473" fmla="*/ 2176186 h 7458372"/>
              <a:gd name="connsiteX31474" fmla="*/ 6135322 w 10505529"/>
              <a:gd name="connsiteY31474" fmla="*/ 2178848 h 7458372"/>
              <a:gd name="connsiteX31475" fmla="*/ 6144640 w 10505529"/>
              <a:gd name="connsiteY31475" fmla="*/ 2185238 h 7458372"/>
              <a:gd name="connsiteX31476" fmla="*/ 6150763 w 10505529"/>
              <a:gd name="connsiteY31476" fmla="*/ 2194555 h 7458372"/>
              <a:gd name="connsiteX31477" fmla="*/ 6153026 w 10505529"/>
              <a:gd name="connsiteY31477" fmla="*/ 2206004 h 7458372"/>
              <a:gd name="connsiteX31478" fmla="*/ 6150763 w 10505529"/>
              <a:gd name="connsiteY31478" fmla="*/ 2217718 h 7458372"/>
              <a:gd name="connsiteX31479" fmla="*/ 6144640 w 10505529"/>
              <a:gd name="connsiteY31479" fmla="*/ 2227037 h 7458372"/>
              <a:gd name="connsiteX31480" fmla="*/ 6135322 w 10505529"/>
              <a:gd name="connsiteY31480" fmla="*/ 2233293 h 7458372"/>
              <a:gd name="connsiteX31481" fmla="*/ 6123608 w 10505529"/>
              <a:gd name="connsiteY31481" fmla="*/ 2235556 h 7458372"/>
              <a:gd name="connsiteX31482" fmla="*/ 6101775 w 10505529"/>
              <a:gd name="connsiteY31482" fmla="*/ 2227037 h 7458372"/>
              <a:gd name="connsiteX31483" fmla="*/ 6093389 w 10505529"/>
              <a:gd name="connsiteY31483" fmla="*/ 2205871 h 7458372"/>
              <a:gd name="connsiteX31484" fmla="*/ 6101775 w 10505529"/>
              <a:gd name="connsiteY31484" fmla="*/ 2184838 h 7458372"/>
              <a:gd name="connsiteX31485" fmla="*/ 6123608 w 10505529"/>
              <a:gd name="connsiteY31485" fmla="*/ 2176186 h 7458372"/>
              <a:gd name="connsiteX31486" fmla="*/ 5905963 w 10505529"/>
              <a:gd name="connsiteY31486" fmla="*/ 2176186 h 7458372"/>
              <a:gd name="connsiteX31487" fmla="*/ 5917677 w 10505529"/>
              <a:gd name="connsiteY31487" fmla="*/ 2178848 h 7458372"/>
              <a:gd name="connsiteX31488" fmla="*/ 5926995 w 10505529"/>
              <a:gd name="connsiteY31488" fmla="*/ 2185238 h 7458372"/>
              <a:gd name="connsiteX31489" fmla="*/ 5933118 w 10505529"/>
              <a:gd name="connsiteY31489" fmla="*/ 2194555 h 7458372"/>
              <a:gd name="connsiteX31490" fmla="*/ 5935381 w 10505529"/>
              <a:gd name="connsiteY31490" fmla="*/ 2206004 h 7458372"/>
              <a:gd name="connsiteX31491" fmla="*/ 5933118 w 10505529"/>
              <a:gd name="connsiteY31491" fmla="*/ 2217718 h 7458372"/>
              <a:gd name="connsiteX31492" fmla="*/ 5926995 w 10505529"/>
              <a:gd name="connsiteY31492" fmla="*/ 2227037 h 7458372"/>
              <a:gd name="connsiteX31493" fmla="*/ 5917677 w 10505529"/>
              <a:gd name="connsiteY31493" fmla="*/ 2233293 h 7458372"/>
              <a:gd name="connsiteX31494" fmla="*/ 5905963 w 10505529"/>
              <a:gd name="connsiteY31494" fmla="*/ 2235556 h 7458372"/>
              <a:gd name="connsiteX31495" fmla="*/ 5884130 w 10505529"/>
              <a:gd name="connsiteY31495" fmla="*/ 2227037 h 7458372"/>
              <a:gd name="connsiteX31496" fmla="*/ 5875744 w 10505529"/>
              <a:gd name="connsiteY31496" fmla="*/ 2205871 h 7458372"/>
              <a:gd name="connsiteX31497" fmla="*/ 5884130 w 10505529"/>
              <a:gd name="connsiteY31497" fmla="*/ 2184838 h 7458372"/>
              <a:gd name="connsiteX31498" fmla="*/ 5905963 w 10505529"/>
              <a:gd name="connsiteY31498" fmla="*/ 2176186 h 7458372"/>
              <a:gd name="connsiteX31499" fmla="*/ 5688451 w 10505529"/>
              <a:gd name="connsiteY31499" fmla="*/ 2176186 h 7458372"/>
              <a:gd name="connsiteX31500" fmla="*/ 5700165 w 10505529"/>
              <a:gd name="connsiteY31500" fmla="*/ 2178848 h 7458372"/>
              <a:gd name="connsiteX31501" fmla="*/ 5709483 w 10505529"/>
              <a:gd name="connsiteY31501" fmla="*/ 2185238 h 7458372"/>
              <a:gd name="connsiteX31502" fmla="*/ 5715606 w 10505529"/>
              <a:gd name="connsiteY31502" fmla="*/ 2194555 h 7458372"/>
              <a:gd name="connsiteX31503" fmla="*/ 5717869 w 10505529"/>
              <a:gd name="connsiteY31503" fmla="*/ 2206004 h 7458372"/>
              <a:gd name="connsiteX31504" fmla="*/ 5715606 w 10505529"/>
              <a:gd name="connsiteY31504" fmla="*/ 2217718 h 7458372"/>
              <a:gd name="connsiteX31505" fmla="*/ 5709483 w 10505529"/>
              <a:gd name="connsiteY31505" fmla="*/ 2227037 h 7458372"/>
              <a:gd name="connsiteX31506" fmla="*/ 5700165 w 10505529"/>
              <a:gd name="connsiteY31506" fmla="*/ 2233293 h 7458372"/>
              <a:gd name="connsiteX31507" fmla="*/ 5688451 w 10505529"/>
              <a:gd name="connsiteY31507" fmla="*/ 2235556 h 7458372"/>
              <a:gd name="connsiteX31508" fmla="*/ 5666618 w 10505529"/>
              <a:gd name="connsiteY31508" fmla="*/ 2227037 h 7458372"/>
              <a:gd name="connsiteX31509" fmla="*/ 5658232 w 10505529"/>
              <a:gd name="connsiteY31509" fmla="*/ 2205871 h 7458372"/>
              <a:gd name="connsiteX31510" fmla="*/ 5666618 w 10505529"/>
              <a:gd name="connsiteY31510" fmla="*/ 2184838 h 7458372"/>
              <a:gd name="connsiteX31511" fmla="*/ 5688451 w 10505529"/>
              <a:gd name="connsiteY31511" fmla="*/ 2176186 h 7458372"/>
              <a:gd name="connsiteX31512" fmla="*/ 5470806 w 10505529"/>
              <a:gd name="connsiteY31512" fmla="*/ 2176186 h 7458372"/>
              <a:gd name="connsiteX31513" fmla="*/ 5482520 w 10505529"/>
              <a:gd name="connsiteY31513" fmla="*/ 2178848 h 7458372"/>
              <a:gd name="connsiteX31514" fmla="*/ 5491838 w 10505529"/>
              <a:gd name="connsiteY31514" fmla="*/ 2185238 h 7458372"/>
              <a:gd name="connsiteX31515" fmla="*/ 5497961 w 10505529"/>
              <a:gd name="connsiteY31515" fmla="*/ 2194555 h 7458372"/>
              <a:gd name="connsiteX31516" fmla="*/ 5500224 w 10505529"/>
              <a:gd name="connsiteY31516" fmla="*/ 2206004 h 7458372"/>
              <a:gd name="connsiteX31517" fmla="*/ 5497961 w 10505529"/>
              <a:gd name="connsiteY31517" fmla="*/ 2217718 h 7458372"/>
              <a:gd name="connsiteX31518" fmla="*/ 5491838 w 10505529"/>
              <a:gd name="connsiteY31518" fmla="*/ 2227037 h 7458372"/>
              <a:gd name="connsiteX31519" fmla="*/ 5482520 w 10505529"/>
              <a:gd name="connsiteY31519" fmla="*/ 2233293 h 7458372"/>
              <a:gd name="connsiteX31520" fmla="*/ 5470806 w 10505529"/>
              <a:gd name="connsiteY31520" fmla="*/ 2235556 h 7458372"/>
              <a:gd name="connsiteX31521" fmla="*/ 5448973 w 10505529"/>
              <a:gd name="connsiteY31521" fmla="*/ 2227037 h 7458372"/>
              <a:gd name="connsiteX31522" fmla="*/ 5440587 w 10505529"/>
              <a:gd name="connsiteY31522" fmla="*/ 2205871 h 7458372"/>
              <a:gd name="connsiteX31523" fmla="*/ 5448973 w 10505529"/>
              <a:gd name="connsiteY31523" fmla="*/ 2184838 h 7458372"/>
              <a:gd name="connsiteX31524" fmla="*/ 5470806 w 10505529"/>
              <a:gd name="connsiteY31524" fmla="*/ 2176186 h 7458372"/>
              <a:gd name="connsiteX31525" fmla="*/ 5253160 w 10505529"/>
              <a:gd name="connsiteY31525" fmla="*/ 2176186 h 7458372"/>
              <a:gd name="connsiteX31526" fmla="*/ 5264875 w 10505529"/>
              <a:gd name="connsiteY31526" fmla="*/ 2178848 h 7458372"/>
              <a:gd name="connsiteX31527" fmla="*/ 5274192 w 10505529"/>
              <a:gd name="connsiteY31527" fmla="*/ 2185238 h 7458372"/>
              <a:gd name="connsiteX31528" fmla="*/ 5280316 w 10505529"/>
              <a:gd name="connsiteY31528" fmla="*/ 2194555 h 7458372"/>
              <a:gd name="connsiteX31529" fmla="*/ 5282579 w 10505529"/>
              <a:gd name="connsiteY31529" fmla="*/ 2206004 h 7458372"/>
              <a:gd name="connsiteX31530" fmla="*/ 5280316 w 10505529"/>
              <a:gd name="connsiteY31530" fmla="*/ 2217718 h 7458372"/>
              <a:gd name="connsiteX31531" fmla="*/ 5274192 w 10505529"/>
              <a:gd name="connsiteY31531" fmla="*/ 2227037 h 7458372"/>
              <a:gd name="connsiteX31532" fmla="*/ 5264875 w 10505529"/>
              <a:gd name="connsiteY31532" fmla="*/ 2233293 h 7458372"/>
              <a:gd name="connsiteX31533" fmla="*/ 5253160 w 10505529"/>
              <a:gd name="connsiteY31533" fmla="*/ 2235556 h 7458372"/>
              <a:gd name="connsiteX31534" fmla="*/ 5231328 w 10505529"/>
              <a:gd name="connsiteY31534" fmla="*/ 2227037 h 7458372"/>
              <a:gd name="connsiteX31535" fmla="*/ 5222942 w 10505529"/>
              <a:gd name="connsiteY31535" fmla="*/ 2205871 h 7458372"/>
              <a:gd name="connsiteX31536" fmla="*/ 5231328 w 10505529"/>
              <a:gd name="connsiteY31536" fmla="*/ 2184838 h 7458372"/>
              <a:gd name="connsiteX31537" fmla="*/ 5253160 w 10505529"/>
              <a:gd name="connsiteY31537" fmla="*/ 2176186 h 7458372"/>
              <a:gd name="connsiteX31538" fmla="*/ 5035515 w 10505529"/>
              <a:gd name="connsiteY31538" fmla="*/ 2176186 h 7458372"/>
              <a:gd name="connsiteX31539" fmla="*/ 5047230 w 10505529"/>
              <a:gd name="connsiteY31539" fmla="*/ 2178848 h 7458372"/>
              <a:gd name="connsiteX31540" fmla="*/ 5056548 w 10505529"/>
              <a:gd name="connsiteY31540" fmla="*/ 2185238 h 7458372"/>
              <a:gd name="connsiteX31541" fmla="*/ 5062671 w 10505529"/>
              <a:gd name="connsiteY31541" fmla="*/ 2194555 h 7458372"/>
              <a:gd name="connsiteX31542" fmla="*/ 5064934 w 10505529"/>
              <a:gd name="connsiteY31542" fmla="*/ 2206004 h 7458372"/>
              <a:gd name="connsiteX31543" fmla="*/ 5062671 w 10505529"/>
              <a:gd name="connsiteY31543" fmla="*/ 2217718 h 7458372"/>
              <a:gd name="connsiteX31544" fmla="*/ 5056548 w 10505529"/>
              <a:gd name="connsiteY31544" fmla="*/ 2227037 h 7458372"/>
              <a:gd name="connsiteX31545" fmla="*/ 5047230 w 10505529"/>
              <a:gd name="connsiteY31545" fmla="*/ 2233293 h 7458372"/>
              <a:gd name="connsiteX31546" fmla="*/ 5035515 w 10505529"/>
              <a:gd name="connsiteY31546" fmla="*/ 2235556 h 7458372"/>
              <a:gd name="connsiteX31547" fmla="*/ 5013683 w 10505529"/>
              <a:gd name="connsiteY31547" fmla="*/ 2227037 h 7458372"/>
              <a:gd name="connsiteX31548" fmla="*/ 5005297 w 10505529"/>
              <a:gd name="connsiteY31548" fmla="*/ 2205871 h 7458372"/>
              <a:gd name="connsiteX31549" fmla="*/ 5013683 w 10505529"/>
              <a:gd name="connsiteY31549" fmla="*/ 2184838 h 7458372"/>
              <a:gd name="connsiteX31550" fmla="*/ 5035515 w 10505529"/>
              <a:gd name="connsiteY31550" fmla="*/ 2176186 h 7458372"/>
              <a:gd name="connsiteX31551" fmla="*/ 4817870 w 10505529"/>
              <a:gd name="connsiteY31551" fmla="*/ 2176186 h 7458372"/>
              <a:gd name="connsiteX31552" fmla="*/ 4829585 w 10505529"/>
              <a:gd name="connsiteY31552" fmla="*/ 2178848 h 7458372"/>
              <a:gd name="connsiteX31553" fmla="*/ 4838903 w 10505529"/>
              <a:gd name="connsiteY31553" fmla="*/ 2185238 h 7458372"/>
              <a:gd name="connsiteX31554" fmla="*/ 4845026 w 10505529"/>
              <a:gd name="connsiteY31554" fmla="*/ 2194555 h 7458372"/>
              <a:gd name="connsiteX31555" fmla="*/ 4847289 w 10505529"/>
              <a:gd name="connsiteY31555" fmla="*/ 2206004 h 7458372"/>
              <a:gd name="connsiteX31556" fmla="*/ 4845026 w 10505529"/>
              <a:gd name="connsiteY31556" fmla="*/ 2217718 h 7458372"/>
              <a:gd name="connsiteX31557" fmla="*/ 4838903 w 10505529"/>
              <a:gd name="connsiteY31557" fmla="*/ 2227037 h 7458372"/>
              <a:gd name="connsiteX31558" fmla="*/ 4829585 w 10505529"/>
              <a:gd name="connsiteY31558" fmla="*/ 2233293 h 7458372"/>
              <a:gd name="connsiteX31559" fmla="*/ 4817870 w 10505529"/>
              <a:gd name="connsiteY31559" fmla="*/ 2235556 h 7458372"/>
              <a:gd name="connsiteX31560" fmla="*/ 4796038 w 10505529"/>
              <a:gd name="connsiteY31560" fmla="*/ 2227037 h 7458372"/>
              <a:gd name="connsiteX31561" fmla="*/ 4787652 w 10505529"/>
              <a:gd name="connsiteY31561" fmla="*/ 2205871 h 7458372"/>
              <a:gd name="connsiteX31562" fmla="*/ 4796038 w 10505529"/>
              <a:gd name="connsiteY31562" fmla="*/ 2184838 h 7458372"/>
              <a:gd name="connsiteX31563" fmla="*/ 4817870 w 10505529"/>
              <a:gd name="connsiteY31563" fmla="*/ 2176186 h 7458372"/>
              <a:gd name="connsiteX31564" fmla="*/ 4600226 w 10505529"/>
              <a:gd name="connsiteY31564" fmla="*/ 2176186 h 7458372"/>
              <a:gd name="connsiteX31565" fmla="*/ 4612073 w 10505529"/>
              <a:gd name="connsiteY31565" fmla="*/ 2178848 h 7458372"/>
              <a:gd name="connsiteX31566" fmla="*/ 4621391 w 10505529"/>
              <a:gd name="connsiteY31566" fmla="*/ 2185238 h 7458372"/>
              <a:gd name="connsiteX31567" fmla="*/ 4627514 w 10505529"/>
              <a:gd name="connsiteY31567" fmla="*/ 2194555 h 7458372"/>
              <a:gd name="connsiteX31568" fmla="*/ 4629777 w 10505529"/>
              <a:gd name="connsiteY31568" fmla="*/ 2206004 h 7458372"/>
              <a:gd name="connsiteX31569" fmla="*/ 4627514 w 10505529"/>
              <a:gd name="connsiteY31569" fmla="*/ 2217718 h 7458372"/>
              <a:gd name="connsiteX31570" fmla="*/ 4621391 w 10505529"/>
              <a:gd name="connsiteY31570" fmla="*/ 2227037 h 7458372"/>
              <a:gd name="connsiteX31571" fmla="*/ 4612073 w 10505529"/>
              <a:gd name="connsiteY31571" fmla="*/ 2233293 h 7458372"/>
              <a:gd name="connsiteX31572" fmla="*/ 4600226 w 10505529"/>
              <a:gd name="connsiteY31572" fmla="*/ 2235556 h 7458372"/>
              <a:gd name="connsiteX31573" fmla="*/ 4578393 w 10505529"/>
              <a:gd name="connsiteY31573" fmla="*/ 2227037 h 7458372"/>
              <a:gd name="connsiteX31574" fmla="*/ 4570007 w 10505529"/>
              <a:gd name="connsiteY31574" fmla="*/ 2205871 h 7458372"/>
              <a:gd name="connsiteX31575" fmla="*/ 4578393 w 10505529"/>
              <a:gd name="connsiteY31575" fmla="*/ 2184838 h 7458372"/>
              <a:gd name="connsiteX31576" fmla="*/ 4600226 w 10505529"/>
              <a:gd name="connsiteY31576" fmla="*/ 2176186 h 7458372"/>
              <a:gd name="connsiteX31577" fmla="*/ 4382713 w 10505529"/>
              <a:gd name="connsiteY31577" fmla="*/ 2176186 h 7458372"/>
              <a:gd name="connsiteX31578" fmla="*/ 4394428 w 10505529"/>
              <a:gd name="connsiteY31578" fmla="*/ 2178848 h 7458372"/>
              <a:gd name="connsiteX31579" fmla="*/ 4403746 w 10505529"/>
              <a:gd name="connsiteY31579" fmla="*/ 2185238 h 7458372"/>
              <a:gd name="connsiteX31580" fmla="*/ 4409869 w 10505529"/>
              <a:gd name="connsiteY31580" fmla="*/ 2194555 h 7458372"/>
              <a:gd name="connsiteX31581" fmla="*/ 4412132 w 10505529"/>
              <a:gd name="connsiteY31581" fmla="*/ 2206004 h 7458372"/>
              <a:gd name="connsiteX31582" fmla="*/ 4409869 w 10505529"/>
              <a:gd name="connsiteY31582" fmla="*/ 2217718 h 7458372"/>
              <a:gd name="connsiteX31583" fmla="*/ 4403746 w 10505529"/>
              <a:gd name="connsiteY31583" fmla="*/ 2227037 h 7458372"/>
              <a:gd name="connsiteX31584" fmla="*/ 4394428 w 10505529"/>
              <a:gd name="connsiteY31584" fmla="*/ 2233293 h 7458372"/>
              <a:gd name="connsiteX31585" fmla="*/ 4382713 w 10505529"/>
              <a:gd name="connsiteY31585" fmla="*/ 2235556 h 7458372"/>
              <a:gd name="connsiteX31586" fmla="*/ 4360881 w 10505529"/>
              <a:gd name="connsiteY31586" fmla="*/ 2227037 h 7458372"/>
              <a:gd name="connsiteX31587" fmla="*/ 4352495 w 10505529"/>
              <a:gd name="connsiteY31587" fmla="*/ 2205871 h 7458372"/>
              <a:gd name="connsiteX31588" fmla="*/ 4360881 w 10505529"/>
              <a:gd name="connsiteY31588" fmla="*/ 2184838 h 7458372"/>
              <a:gd name="connsiteX31589" fmla="*/ 4382713 w 10505529"/>
              <a:gd name="connsiteY31589" fmla="*/ 2176186 h 7458372"/>
              <a:gd name="connsiteX31590" fmla="*/ 4165068 w 10505529"/>
              <a:gd name="connsiteY31590" fmla="*/ 2176186 h 7458372"/>
              <a:gd name="connsiteX31591" fmla="*/ 4176782 w 10505529"/>
              <a:gd name="connsiteY31591" fmla="*/ 2178848 h 7458372"/>
              <a:gd name="connsiteX31592" fmla="*/ 4186100 w 10505529"/>
              <a:gd name="connsiteY31592" fmla="*/ 2185238 h 7458372"/>
              <a:gd name="connsiteX31593" fmla="*/ 4192223 w 10505529"/>
              <a:gd name="connsiteY31593" fmla="*/ 2194555 h 7458372"/>
              <a:gd name="connsiteX31594" fmla="*/ 4194486 w 10505529"/>
              <a:gd name="connsiteY31594" fmla="*/ 2206004 h 7458372"/>
              <a:gd name="connsiteX31595" fmla="*/ 4192223 w 10505529"/>
              <a:gd name="connsiteY31595" fmla="*/ 2217718 h 7458372"/>
              <a:gd name="connsiteX31596" fmla="*/ 4186100 w 10505529"/>
              <a:gd name="connsiteY31596" fmla="*/ 2227037 h 7458372"/>
              <a:gd name="connsiteX31597" fmla="*/ 4176782 w 10505529"/>
              <a:gd name="connsiteY31597" fmla="*/ 2233293 h 7458372"/>
              <a:gd name="connsiteX31598" fmla="*/ 4165068 w 10505529"/>
              <a:gd name="connsiteY31598" fmla="*/ 2235556 h 7458372"/>
              <a:gd name="connsiteX31599" fmla="*/ 4143235 w 10505529"/>
              <a:gd name="connsiteY31599" fmla="*/ 2227037 h 7458372"/>
              <a:gd name="connsiteX31600" fmla="*/ 4134849 w 10505529"/>
              <a:gd name="connsiteY31600" fmla="*/ 2205871 h 7458372"/>
              <a:gd name="connsiteX31601" fmla="*/ 4143235 w 10505529"/>
              <a:gd name="connsiteY31601" fmla="*/ 2184838 h 7458372"/>
              <a:gd name="connsiteX31602" fmla="*/ 4165068 w 10505529"/>
              <a:gd name="connsiteY31602" fmla="*/ 2176186 h 7458372"/>
              <a:gd name="connsiteX31603" fmla="*/ 3947547 w 10505529"/>
              <a:gd name="connsiteY31603" fmla="*/ 2176186 h 7458372"/>
              <a:gd name="connsiteX31604" fmla="*/ 3959262 w 10505529"/>
              <a:gd name="connsiteY31604" fmla="*/ 2178848 h 7458372"/>
              <a:gd name="connsiteX31605" fmla="*/ 3968580 w 10505529"/>
              <a:gd name="connsiteY31605" fmla="*/ 2185238 h 7458372"/>
              <a:gd name="connsiteX31606" fmla="*/ 3974704 w 10505529"/>
              <a:gd name="connsiteY31606" fmla="*/ 2194555 h 7458372"/>
              <a:gd name="connsiteX31607" fmla="*/ 3976968 w 10505529"/>
              <a:gd name="connsiteY31607" fmla="*/ 2206004 h 7458372"/>
              <a:gd name="connsiteX31608" fmla="*/ 3974704 w 10505529"/>
              <a:gd name="connsiteY31608" fmla="*/ 2217718 h 7458372"/>
              <a:gd name="connsiteX31609" fmla="*/ 3968580 w 10505529"/>
              <a:gd name="connsiteY31609" fmla="*/ 2227037 h 7458372"/>
              <a:gd name="connsiteX31610" fmla="*/ 3959262 w 10505529"/>
              <a:gd name="connsiteY31610" fmla="*/ 2233293 h 7458372"/>
              <a:gd name="connsiteX31611" fmla="*/ 3947547 w 10505529"/>
              <a:gd name="connsiteY31611" fmla="*/ 2235556 h 7458372"/>
              <a:gd name="connsiteX31612" fmla="*/ 3925714 w 10505529"/>
              <a:gd name="connsiteY31612" fmla="*/ 2227037 h 7458372"/>
              <a:gd name="connsiteX31613" fmla="*/ 3917328 w 10505529"/>
              <a:gd name="connsiteY31613" fmla="*/ 2205871 h 7458372"/>
              <a:gd name="connsiteX31614" fmla="*/ 3925714 w 10505529"/>
              <a:gd name="connsiteY31614" fmla="*/ 2184838 h 7458372"/>
              <a:gd name="connsiteX31615" fmla="*/ 3947547 w 10505529"/>
              <a:gd name="connsiteY31615" fmla="*/ 2176186 h 7458372"/>
              <a:gd name="connsiteX31616" fmla="*/ 3729896 w 10505529"/>
              <a:gd name="connsiteY31616" fmla="*/ 2176186 h 7458372"/>
              <a:gd name="connsiteX31617" fmla="*/ 3741611 w 10505529"/>
              <a:gd name="connsiteY31617" fmla="*/ 2178848 h 7458372"/>
              <a:gd name="connsiteX31618" fmla="*/ 3750929 w 10505529"/>
              <a:gd name="connsiteY31618" fmla="*/ 2185238 h 7458372"/>
              <a:gd name="connsiteX31619" fmla="*/ 3757052 w 10505529"/>
              <a:gd name="connsiteY31619" fmla="*/ 2194555 h 7458372"/>
              <a:gd name="connsiteX31620" fmla="*/ 3759315 w 10505529"/>
              <a:gd name="connsiteY31620" fmla="*/ 2206004 h 7458372"/>
              <a:gd name="connsiteX31621" fmla="*/ 3757052 w 10505529"/>
              <a:gd name="connsiteY31621" fmla="*/ 2217718 h 7458372"/>
              <a:gd name="connsiteX31622" fmla="*/ 3750929 w 10505529"/>
              <a:gd name="connsiteY31622" fmla="*/ 2227037 h 7458372"/>
              <a:gd name="connsiteX31623" fmla="*/ 3741611 w 10505529"/>
              <a:gd name="connsiteY31623" fmla="*/ 2233293 h 7458372"/>
              <a:gd name="connsiteX31624" fmla="*/ 3729896 w 10505529"/>
              <a:gd name="connsiteY31624" fmla="*/ 2235556 h 7458372"/>
              <a:gd name="connsiteX31625" fmla="*/ 3708061 w 10505529"/>
              <a:gd name="connsiteY31625" fmla="*/ 2227037 h 7458372"/>
              <a:gd name="connsiteX31626" fmla="*/ 3699675 w 10505529"/>
              <a:gd name="connsiteY31626" fmla="*/ 2205871 h 7458372"/>
              <a:gd name="connsiteX31627" fmla="*/ 3708061 w 10505529"/>
              <a:gd name="connsiteY31627" fmla="*/ 2184838 h 7458372"/>
              <a:gd name="connsiteX31628" fmla="*/ 3729896 w 10505529"/>
              <a:gd name="connsiteY31628" fmla="*/ 2176186 h 7458372"/>
              <a:gd name="connsiteX31629" fmla="*/ 3512244 w 10505529"/>
              <a:gd name="connsiteY31629" fmla="*/ 2176186 h 7458372"/>
              <a:gd name="connsiteX31630" fmla="*/ 3523959 w 10505529"/>
              <a:gd name="connsiteY31630" fmla="*/ 2178848 h 7458372"/>
              <a:gd name="connsiteX31631" fmla="*/ 3533277 w 10505529"/>
              <a:gd name="connsiteY31631" fmla="*/ 2185238 h 7458372"/>
              <a:gd name="connsiteX31632" fmla="*/ 3539401 w 10505529"/>
              <a:gd name="connsiteY31632" fmla="*/ 2194555 h 7458372"/>
              <a:gd name="connsiteX31633" fmla="*/ 3541664 w 10505529"/>
              <a:gd name="connsiteY31633" fmla="*/ 2206004 h 7458372"/>
              <a:gd name="connsiteX31634" fmla="*/ 3539401 w 10505529"/>
              <a:gd name="connsiteY31634" fmla="*/ 2217718 h 7458372"/>
              <a:gd name="connsiteX31635" fmla="*/ 3533277 w 10505529"/>
              <a:gd name="connsiteY31635" fmla="*/ 2227037 h 7458372"/>
              <a:gd name="connsiteX31636" fmla="*/ 3523959 w 10505529"/>
              <a:gd name="connsiteY31636" fmla="*/ 2233293 h 7458372"/>
              <a:gd name="connsiteX31637" fmla="*/ 3512244 w 10505529"/>
              <a:gd name="connsiteY31637" fmla="*/ 2235556 h 7458372"/>
              <a:gd name="connsiteX31638" fmla="*/ 3490410 w 10505529"/>
              <a:gd name="connsiteY31638" fmla="*/ 2227037 h 7458372"/>
              <a:gd name="connsiteX31639" fmla="*/ 3482024 w 10505529"/>
              <a:gd name="connsiteY31639" fmla="*/ 2205871 h 7458372"/>
              <a:gd name="connsiteX31640" fmla="*/ 3490410 w 10505529"/>
              <a:gd name="connsiteY31640" fmla="*/ 2184838 h 7458372"/>
              <a:gd name="connsiteX31641" fmla="*/ 3512244 w 10505529"/>
              <a:gd name="connsiteY31641" fmla="*/ 2176186 h 7458372"/>
              <a:gd name="connsiteX31642" fmla="*/ 3294726 w 10505529"/>
              <a:gd name="connsiteY31642" fmla="*/ 2176186 h 7458372"/>
              <a:gd name="connsiteX31643" fmla="*/ 3306441 w 10505529"/>
              <a:gd name="connsiteY31643" fmla="*/ 2178848 h 7458372"/>
              <a:gd name="connsiteX31644" fmla="*/ 3315759 w 10505529"/>
              <a:gd name="connsiteY31644" fmla="*/ 2185238 h 7458372"/>
              <a:gd name="connsiteX31645" fmla="*/ 3321882 w 10505529"/>
              <a:gd name="connsiteY31645" fmla="*/ 2194555 h 7458372"/>
              <a:gd name="connsiteX31646" fmla="*/ 3324145 w 10505529"/>
              <a:gd name="connsiteY31646" fmla="*/ 2206004 h 7458372"/>
              <a:gd name="connsiteX31647" fmla="*/ 3321882 w 10505529"/>
              <a:gd name="connsiteY31647" fmla="*/ 2217718 h 7458372"/>
              <a:gd name="connsiteX31648" fmla="*/ 3315759 w 10505529"/>
              <a:gd name="connsiteY31648" fmla="*/ 2227037 h 7458372"/>
              <a:gd name="connsiteX31649" fmla="*/ 3306441 w 10505529"/>
              <a:gd name="connsiteY31649" fmla="*/ 2233293 h 7458372"/>
              <a:gd name="connsiteX31650" fmla="*/ 3294726 w 10505529"/>
              <a:gd name="connsiteY31650" fmla="*/ 2235556 h 7458372"/>
              <a:gd name="connsiteX31651" fmla="*/ 3272891 w 10505529"/>
              <a:gd name="connsiteY31651" fmla="*/ 2227037 h 7458372"/>
              <a:gd name="connsiteX31652" fmla="*/ 3264505 w 10505529"/>
              <a:gd name="connsiteY31652" fmla="*/ 2205871 h 7458372"/>
              <a:gd name="connsiteX31653" fmla="*/ 3272891 w 10505529"/>
              <a:gd name="connsiteY31653" fmla="*/ 2184838 h 7458372"/>
              <a:gd name="connsiteX31654" fmla="*/ 3294726 w 10505529"/>
              <a:gd name="connsiteY31654" fmla="*/ 2176186 h 7458372"/>
              <a:gd name="connsiteX31655" fmla="*/ 3077074 w 10505529"/>
              <a:gd name="connsiteY31655" fmla="*/ 2176186 h 7458372"/>
              <a:gd name="connsiteX31656" fmla="*/ 3088790 w 10505529"/>
              <a:gd name="connsiteY31656" fmla="*/ 2178848 h 7458372"/>
              <a:gd name="connsiteX31657" fmla="*/ 3098107 w 10505529"/>
              <a:gd name="connsiteY31657" fmla="*/ 2185238 h 7458372"/>
              <a:gd name="connsiteX31658" fmla="*/ 3104231 w 10505529"/>
              <a:gd name="connsiteY31658" fmla="*/ 2194555 h 7458372"/>
              <a:gd name="connsiteX31659" fmla="*/ 3106494 w 10505529"/>
              <a:gd name="connsiteY31659" fmla="*/ 2206004 h 7458372"/>
              <a:gd name="connsiteX31660" fmla="*/ 3104231 w 10505529"/>
              <a:gd name="connsiteY31660" fmla="*/ 2217718 h 7458372"/>
              <a:gd name="connsiteX31661" fmla="*/ 3098107 w 10505529"/>
              <a:gd name="connsiteY31661" fmla="*/ 2227037 h 7458372"/>
              <a:gd name="connsiteX31662" fmla="*/ 3088790 w 10505529"/>
              <a:gd name="connsiteY31662" fmla="*/ 2233293 h 7458372"/>
              <a:gd name="connsiteX31663" fmla="*/ 3077074 w 10505529"/>
              <a:gd name="connsiteY31663" fmla="*/ 2235556 h 7458372"/>
              <a:gd name="connsiteX31664" fmla="*/ 3055240 w 10505529"/>
              <a:gd name="connsiteY31664" fmla="*/ 2227037 h 7458372"/>
              <a:gd name="connsiteX31665" fmla="*/ 3046854 w 10505529"/>
              <a:gd name="connsiteY31665" fmla="*/ 2205871 h 7458372"/>
              <a:gd name="connsiteX31666" fmla="*/ 3055240 w 10505529"/>
              <a:gd name="connsiteY31666" fmla="*/ 2184838 h 7458372"/>
              <a:gd name="connsiteX31667" fmla="*/ 3077074 w 10505529"/>
              <a:gd name="connsiteY31667" fmla="*/ 2176186 h 7458372"/>
              <a:gd name="connsiteX31668" fmla="*/ 2859423 w 10505529"/>
              <a:gd name="connsiteY31668" fmla="*/ 2176186 h 7458372"/>
              <a:gd name="connsiteX31669" fmla="*/ 2871271 w 10505529"/>
              <a:gd name="connsiteY31669" fmla="*/ 2178848 h 7458372"/>
              <a:gd name="connsiteX31670" fmla="*/ 2880589 w 10505529"/>
              <a:gd name="connsiteY31670" fmla="*/ 2185238 h 7458372"/>
              <a:gd name="connsiteX31671" fmla="*/ 2886712 w 10505529"/>
              <a:gd name="connsiteY31671" fmla="*/ 2194555 h 7458372"/>
              <a:gd name="connsiteX31672" fmla="*/ 2888975 w 10505529"/>
              <a:gd name="connsiteY31672" fmla="*/ 2206004 h 7458372"/>
              <a:gd name="connsiteX31673" fmla="*/ 2886712 w 10505529"/>
              <a:gd name="connsiteY31673" fmla="*/ 2217718 h 7458372"/>
              <a:gd name="connsiteX31674" fmla="*/ 2880589 w 10505529"/>
              <a:gd name="connsiteY31674" fmla="*/ 2227037 h 7458372"/>
              <a:gd name="connsiteX31675" fmla="*/ 2871271 w 10505529"/>
              <a:gd name="connsiteY31675" fmla="*/ 2233293 h 7458372"/>
              <a:gd name="connsiteX31676" fmla="*/ 2859423 w 10505529"/>
              <a:gd name="connsiteY31676" fmla="*/ 2235556 h 7458372"/>
              <a:gd name="connsiteX31677" fmla="*/ 2837590 w 10505529"/>
              <a:gd name="connsiteY31677" fmla="*/ 2227037 h 7458372"/>
              <a:gd name="connsiteX31678" fmla="*/ 2829202 w 10505529"/>
              <a:gd name="connsiteY31678" fmla="*/ 2205871 h 7458372"/>
              <a:gd name="connsiteX31679" fmla="*/ 2837590 w 10505529"/>
              <a:gd name="connsiteY31679" fmla="*/ 2184838 h 7458372"/>
              <a:gd name="connsiteX31680" fmla="*/ 2859423 w 10505529"/>
              <a:gd name="connsiteY31680" fmla="*/ 2176186 h 7458372"/>
              <a:gd name="connsiteX31681" fmla="*/ 2641771 w 10505529"/>
              <a:gd name="connsiteY31681" fmla="*/ 2176186 h 7458372"/>
              <a:gd name="connsiteX31682" fmla="*/ 2653487 w 10505529"/>
              <a:gd name="connsiteY31682" fmla="*/ 2178848 h 7458372"/>
              <a:gd name="connsiteX31683" fmla="*/ 2662805 w 10505529"/>
              <a:gd name="connsiteY31683" fmla="*/ 2185238 h 7458372"/>
              <a:gd name="connsiteX31684" fmla="*/ 2668928 w 10505529"/>
              <a:gd name="connsiteY31684" fmla="*/ 2194555 h 7458372"/>
              <a:gd name="connsiteX31685" fmla="*/ 2671191 w 10505529"/>
              <a:gd name="connsiteY31685" fmla="*/ 2206004 h 7458372"/>
              <a:gd name="connsiteX31686" fmla="*/ 2668928 w 10505529"/>
              <a:gd name="connsiteY31686" fmla="*/ 2217718 h 7458372"/>
              <a:gd name="connsiteX31687" fmla="*/ 2662805 w 10505529"/>
              <a:gd name="connsiteY31687" fmla="*/ 2227037 h 7458372"/>
              <a:gd name="connsiteX31688" fmla="*/ 2653487 w 10505529"/>
              <a:gd name="connsiteY31688" fmla="*/ 2233293 h 7458372"/>
              <a:gd name="connsiteX31689" fmla="*/ 2641771 w 10505529"/>
              <a:gd name="connsiteY31689" fmla="*/ 2235556 h 7458372"/>
              <a:gd name="connsiteX31690" fmla="*/ 2619939 w 10505529"/>
              <a:gd name="connsiteY31690" fmla="*/ 2227037 h 7458372"/>
              <a:gd name="connsiteX31691" fmla="*/ 2611552 w 10505529"/>
              <a:gd name="connsiteY31691" fmla="*/ 2205871 h 7458372"/>
              <a:gd name="connsiteX31692" fmla="*/ 2619939 w 10505529"/>
              <a:gd name="connsiteY31692" fmla="*/ 2184838 h 7458372"/>
              <a:gd name="connsiteX31693" fmla="*/ 2641771 w 10505529"/>
              <a:gd name="connsiteY31693" fmla="*/ 2176186 h 7458372"/>
              <a:gd name="connsiteX31694" fmla="*/ 2424120 w 10505529"/>
              <a:gd name="connsiteY31694" fmla="*/ 2176186 h 7458372"/>
              <a:gd name="connsiteX31695" fmla="*/ 2435835 w 10505529"/>
              <a:gd name="connsiteY31695" fmla="*/ 2178848 h 7458372"/>
              <a:gd name="connsiteX31696" fmla="*/ 2445153 w 10505529"/>
              <a:gd name="connsiteY31696" fmla="*/ 2185238 h 7458372"/>
              <a:gd name="connsiteX31697" fmla="*/ 2451276 w 10505529"/>
              <a:gd name="connsiteY31697" fmla="*/ 2194555 h 7458372"/>
              <a:gd name="connsiteX31698" fmla="*/ 2453539 w 10505529"/>
              <a:gd name="connsiteY31698" fmla="*/ 2206004 h 7458372"/>
              <a:gd name="connsiteX31699" fmla="*/ 2451276 w 10505529"/>
              <a:gd name="connsiteY31699" fmla="*/ 2217718 h 7458372"/>
              <a:gd name="connsiteX31700" fmla="*/ 2445153 w 10505529"/>
              <a:gd name="connsiteY31700" fmla="*/ 2227037 h 7458372"/>
              <a:gd name="connsiteX31701" fmla="*/ 2435835 w 10505529"/>
              <a:gd name="connsiteY31701" fmla="*/ 2233293 h 7458372"/>
              <a:gd name="connsiteX31702" fmla="*/ 2424120 w 10505529"/>
              <a:gd name="connsiteY31702" fmla="*/ 2235556 h 7458372"/>
              <a:gd name="connsiteX31703" fmla="*/ 2402288 w 10505529"/>
              <a:gd name="connsiteY31703" fmla="*/ 2227037 h 7458372"/>
              <a:gd name="connsiteX31704" fmla="*/ 2393901 w 10505529"/>
              <a:gd name="connsiteY31704" fmla="*/ 2205871 h 7458372"/>
              <a:gd name="connsiteX31705" fmla="*/ 2402288 w 10505529"/>
              <a:gd name="connsiteY31705" fmla="*/ 2184838 h 7458372"/>
              <a:gd name="connsiteX31706" fmla="*/ 2424120 w 10505529"/>
              <a:gd name="connsiteY31706" fmla="*/ 2176186 h 7458372"/>
              <a:gd name="connsiteX31707" fmla="*/ 2206469 w 10505529"/>
              <a:gd name="connsiteY31707" fmla="*/ 2176186 h 7458372"/>
              <a:gd name="connsiteX31708" fmla="*/ 2218183 w 10505529"/>
              <a:gd name="connsiteY31708" fmla="*/ 2178848 h 7458372"/>
              <a:gd name="connsiteX31709" fmla="*/ 2227502 w 10505529"/>
              <a:gd name="connsiteY31709" fmla="*/ 2185238 h 7458372"/>
              <a:gd name="connsiteX31710" fmla="*/ 2233625 w 10505529"/>
              <a:gd name="connsiteY31710" fmla="*/ 2194555 h 7458372"/>
              <a:gd name="connsiteX31711" fmla="*/ 2235888 w 10505529"/>
              <a:gd name="connsiteY31711" fmla="*/ 2206004 h 7458372"/>
              <a:gd name="connsiteX31712" fmla="*/ 2233625 w 10505529"/>
              <a:gd name="connsiteY31712" fmla="*/ 2217718 h 7458372"/>
              <a:gd name="connsiteX31713" fmla="*/ 2227502 w 10505529"/>
              <a:gd name="connsiteY31713" fmla="*/ 2227037 h 7458372"/>
              <a:gd name="connsiteX31714" fmla="*/ 2218183 w 10505529"/>
              <a:gd name="connsiteY31714" fmla="*/ 2233293 h 7458372"/>
              <a:gd name="connsiteX31715" fmla="*/ 2206469 w 10505529"/>
              <a:gd name="connsiteY31715" fmla="*/ 2235556 h 7458372"/>
              <a:gd name="connsiteX31716" fmla="*/ 2184637 w 10505529"/>
              <a:gd name="connsiteY31716" fmla="*/ 2227037 h 7458372"/>
              <a:gd name="connsiteX31717" fmla="*/ 2176250 w 10505529"/>
              <a:gd name="connsiteY31717" fmla="*/ 2205871 h 7458372"/>
              <a:gd name="connsiteX31718" fmla="*/ 2184637 w 10505529"/>
              <a:gd name="connsiteY31718" fmla="*/ 2184838 h 7458372"/>
              <a:gd name="connsiteX31719" fmla="*/ 2206469 w 10505529"/>
              <a:gd name="connsiteY31719" fmla="*/ 2176186 h 7458372"/>
              <a:gd name="connsiteX31720" fmla="*/ 1988950 w 10505529"/>
              <a:gd name="connsiteY31720" fmla="*/ 2176186 h 7458372"/>
              <a:gd name="connsiteX31721" fmla="*/ 2000665 w 10505529"/>
              <a:gd name="connsiteY31721" fmla="*/ 2178848 h 7458372"/>
              <a:gd name="connsiteX31722" fmla="*/ 2009983 w 10505529"/>
              <a:gd name="connsiteY31722" fmla="*/ 2185238 h 7458372"/>
              <a:gd name="connsiteX31723" fmla="*/ 2016106 w 10505529"/>
              <a:gd name="connsiteY31723" fmla="*/ 2194555 h 7458372"/>
              <a:gd name="connsiteX31724" fmla="*/ 2018369 w 10505529"/>
              <a:gd name="connsiteY31724" fmla="*/ 2206004 h 7458372"/>
              <a:gd name="connsiteX31725" fmla="*/ 2016106 w 10505529"/>
              <a:gd name="connsiteY31725" fmla="*/ 2217718 h 7458372"/>
              <a:gd name="connsiteX31726" fmla="*/ 2009983 w 10505529"/>
              <a:gd name="connsiteY31726" fmla="*/ 2227037 h 7458372"/>
              <a:gd name="connsiteX31727" fmla="*/ 2000665 w 10505529"/>
              <a:gd name="connsiteY31727" fmla="*/ 2233293 h 7458372"/>
              <a:gd name="connsiteX31728" fmla="*/ 1988950 w 10505529"/>
              <a:gd name="connsiteY31728" fmla="*/ 2235556 h 7458372"/>
              <a:gd name="connsiteX31729" fmla="*/ 1967119 w 10505529"/>
              <a:gd name="connsiteY31729" fmla="*/ 2227037 h 7458372"/>
              <a:gd name="connsiteX31730" fmla="*/ 1958732 w 10505529"/>
              <a:gd name="connsiteY31730" fmla="*/ 2205871 h 7458372"/>
              <a:gd name="connsiteX31731" fmla="*/ 1967119 w 10505529"/>
              <a:gd name="connsiteY31731" fmla="*/ 2184838 h 7458372"/>
              <a:gd name="connsiteX31732" fmla="*/ 1988950 w 10505529"/>
              <a:gd name="connsiteY31732" fmla="*/ 2176186 h 7458372"/>
              <a:gd name="connsiteX31733" fmla="*/ 1771309 w 10505529"/>
              <a:gd name="connsiteY31733" fmla="*/ 2176186 h 7458372"/>
              <a:gd name="connsiteX31734" fmla="*/ 1783024 w 10505529"/>
              <a:gd name="connsiteY31734" fmla="*/ 2178848 h 7458372"/>
              <a:gd name="connsiteX31735" fmla="*/ 1792342 w 10505529"/>
              <a:gd name="connsiteY31735" fmla="*/ 2185238 h 7458372"/>
              <a:gd name="connsiteX31736" fmla="*/ 1798465 w 10505529"/>
              <a:gd name="connsiteY31736" fmla="*/ 2194555 h 7458372"/>
              <a:gd name="connsiteX31737" fmla="*/ 1800728 w 10505529"/>
              <a:gd name="connsiteY31737" fmla="*/ 2206004 h 7458372"/>
              <a:gd name="connsiteX31738" fmla="*/ 1798465 w 10505529"/>
              <a:gd name="connsiteY31738" fmla="*/ 2217718 h 7458372"/>
              <a:gd name="connsiteX31739" fmla="*/ 1792342 w 10505529"/>
              <a:gd name="connsiteY31739" fmla="*/ 2227037 h 7458372"/>
              <a:gd name="connsiteX31740" fmla="*/ 1783024 w 10505529"/>
              <a:gd name="connsiteY31740" fmla="*/ 2233293 h 7458372"/>
              <a:gd name="connsiteX31741" fmla="*/ 1771309 w 10505529"/>
              <a:gd name="connsiteY31741" fmla="*/ 2235556 h 7458372"/>
              <a:gd name="connsiteX31742" fmla="*/ 1749479 w 10505529"/>
              <a:gd name="connsiteY31742" fmla="*/ 2227037 h 7458372"/>
              <a:gd name="connsiteX31743" fmla="*/ 1741094 w 10505529"/>
              <a:gd name="connsiteY31743" fmla="*/ 2205871 h 7458372"/>
              <a:gd name="connsiteX31744" fmla="*/ 1749479 w 10505529"/>
              <a:gd name="connsiteY31744" fmla="*/ 2184838 h 7458372"/>
              <a:gd name="connsiteX31745" fmla="*/ 1771309 w 10505529"/>
              <a:gd name="connsiteY31745" fmla="*/ 2176186 h 7458372"/>
              <a:gd name="connsiteX31746" fmla="*/ 1553668 w 10505529"/>
              <a:gd name="connsiteY31746" fmla="*/ 2176186 h 7458372"/>
              <a:gd name="connsiteX31747" fmla="*/ 1565382 w 10505529"/>
              <a:gd name="connsiteY31747" fmla="*/ 2178848 h 7458372"/>
              <a:gd name="connsiteX31748" fmla="*/ 1574701 w 10505529"/>
              <a:gd name="connsiteY31748" fmla="*/ 2185238 h 7458372"/>
              <a:gd name="connsiteX31749" fmla="*/ 1580823 w 10505529"/>
              <a:gd name="connsiteY31749" fmla="*/ 2194555 h 7458372"/>
              <a:gd name="connsiteX31750" fmla="*/ 1583087 w 10505529"/>
              <a:gd name="connsiteY31750" fmla="*/ 2206004 h 7458372"/>
              <a:gd name="connsiteX31751" fmla="*/ 1580823 w 10505529"/>
              <a:gd name="connsiteY31751" fmla="*/ 2217718 h 7458372"/>
              <a:gd name="connsiteX31752" fmla="*/ 1574701 w 10505529"/>
              <a:gd name="connsiteY31752" fmla="*/ 2227037 h 7458372"/>
              <a:gd name="connsiteX31753" fmla="*/ 1565382 w 10505529"/>
              <a:gd name="connsiteY31753" fmla="*/ 2233293 h 7458372"/>
              <a:gd name="connsiteX31754" fmla="*/ 1553668 w 10505529"/>
              <a:gd name="connsiteY31754" fmla="*/ 2235556 h 7458372"/>
              <a:gd name="connsiteX31755" fmla="*/ 1531836 w 10505529"/>
              <a:gd name="connsiteY31755" fmla="*/ 2227037 h 7458372"/>
              <a:gd name="connsiteX31756" fmla="*/ 1523450 w 10505529"/>
              <a:gd name="connsiteY31756" fmla="*/ 2205871 h 7458372"/>
              <a:gd name="connsiteX31757" fmla="*/ 1531836 w 10505529"/>
              <a:gd name="connsiteY31757" fmla="*/ 2184838 h 7458372"/>
              <a:gd name="connsiteX31758" fmla="*/ 1553668 w 10505529"/>
              <a:gd name="connsiteY31758" fmla="*/ 2176186 h 7458372"/>
              <a:gd name="connsiteX31759" fmla="*/ 1336023 w 10505529"/>
              <a:gd name="connsiteY31759" fmla="*/ 2176186 h 7458372"/>
              <a:gd name="connsiteX31760" fmla="*/ 1347739 w 10505529"/>
              <a:gd name="connsiteY31760" fmla="*/ 2178848 h 7458372"/>
              <a:gd name="connsiteX31761" fmla="*/ 1357057 w 10505529"/>
              <a:gd name="connsiteY31761" fmla="*/ 2185238 h 7458372"/>
              <a:gd name="connsiteX31762" fmla="*/ 1363179 w 10505529"/>
              <a:gd name="connsiteY31762" fmla="*/ 2194555 h 7458372"/>
              <a:gd name="connsiteX31763" fmla="*/ 1365442 w 10505529"/>
              <a:gd name="connsiteY31763" fmla="*/ 2206004 h 7458372"/>
              <a:gd name="connsiteX31764" fmla="*/ 1363179 w 10505529"/>
              <a:gd name="connsiteY31764" fmla="*/ 2217718 h 7458372"/>
              <a:gd name="connsiteX31765" fmla="*/ 1357057 w 10505529"/>
              <a:gd name="connsiteY31765" fmla="*/ 2227037 h 7458372"/>
              <a:gd name="connsiteX31766" fmla="*/ 1347739 w 10505529"/>
              <a:gd name="connsiteY31766" fmla="*/ 2233293 h 7458372"/>
              <a:gd name="connsiteX31767" fmla="*/ 1336023 w 10505529"/>
              <a:gd name="connsiteY31767" fmla="*/ 2235556 h 7458372"/>
              <a:gd name="connsiteX31768" fmla="*/ 1314191 w 10505529"/>
              <a:gd name="connsiteY31768" fmla="*/ 2227037 h 7458372"/>
              <a:gd name="connsiteX31769" fmla="*/ 1305805 w 10505529"/>
              <a:gd name="connsiteY31769" fmla="*/ 2205871 h 7458372"/>
              <a:gd name="connsiteX31770" fmla="*/ 1314191 w 10505529"/>
              <a:gd name="connsiteY31770" fmla="*/ 2184838 h 7458372"/>
              <a:gd name="connsiteX31771" fmla="*/ 1336023 w 10505529"/>
              <a:gd name="connsiteY31771" fmla="*/ 2176186 h 7458372"/>
              <a:gd name="connsiteX31772" fmla="*/ 1118378 w 10505529"/>
              <a:gd name="connsiteY31772" fmla="*/ 2176186 h 7458372"/>
              <a:gd name="connsiteX31773" fmla="*/ 1130094 w 10505529"/>
              <a:gd name="connsiteY31773" fmla="*/ 2178848 h 7458372"/>
              <a:gd name="connsiteX31774" fmla="*/ 1139412 w 10505529"/>
              <a:gd name="connsiteY31774" fmla="*/ 2185238 h 7458372"/>
              <a:gd name="connsiteX31775" fmla="*/ 1145533 w 10505529"/>
              <a:gd name="connsiteY31775" fmla="*/ 2194555 h 7458372"/>
              <a:gd name="connsiteX31776" fmla="*/ 1147796 w 10505529"/>
              <a:gd name="connsiteY31776" fmla="*/ 2206004 h 7458372"/>
              <a:gd name="connsiteX31777" fmla="*/ 1145533 w 10505529"/>
              <a:gd name="connsiteY31777" fmla="*/ 2217718 h 7458372"/>
              <a:gd name="connsiteX31778" fmla="*/ 1139412 w 10505529"/>
              <a:gd name="connsiteY31778" fmla="*/ 2227037 h 7458372"/>
              <a:gd name="connsiteX31779" fmla="*/ 1130094 w 10505529"/>
              <a:gd name="connsiteY31779" fmla="*/ 2233293 h 7458372"/>
              <a:gd name="connsiteX31780" fmla="*/ 1118378 w 10505529"/>
              <a:gd name="connsiteY31780" fmla="*/ 2235556 h 7458372"/>
              <a:gd name="connsiteX31781" fmla="*/ 1096545 w 10505529"/>
              <a:gd name="connsiteY31781" fmla="*/ 2227037 h 7458372"/>
              <a:gd name="connsiteX31782" fmla="*/ 1088160 w 10505529"/>
              <a:gd name="connsiteY31782" fmla="*/ 2205871 h 7458372"/>
              <a:gd name="connsiteX31783" fmla="*/ 1096545 w 10505529"/>
              <a:gd name="connsiteY31783" fmla="*/ 2184838 h 7458372"/>
              <a:gd name="connsiteX31784" fmla="*/ 1118378 w 10505529"/>
              <a:gd name="connsiteY31784" fmla="*/ 2176186 h 7458372"/>
              <a:gd name="connsiteX31785" fmla="*/ 900866 w 10505529"/>
              <a:gd name="connsiteY31785" fmla="*/ 2176186 h 7458372"/>
              <a:gd name="connsiteX31786" fmla="*/ 912581 w 10505529"/>
              <a:gd name="connsiteY31786" fmla="*/ 2178848 h 7458372"/>
              <a:gd name="connsiteX31787" fmla="*/ 921899 w 10505529"/>
              <a:gd name="connsiteY31787" fmla="*/ 2185238 h 7458372"/>
              <a:gd name="connsiteX31788" fmla="*/ 928021 w 10505529"/>
              <a:gd name="connsiteY31788" fmla="*/ 2194555 h 7458372"/>
              <a:gd name="connsiteX31789" fmla="*/ 930285 w 10505529"/>
              <a:gd name="connsiteY31789" fmla="*/ 2206004 h 7458372"/>
              <a:gd name="connsiteX31790" fmla="*/ 928021 w 10505529"/>
              <a:gd name="connsiteY31790" fmla="*/ 2217718 h 7458372"/>
              <a:gd name="connsiteX31791" fmla="*/ 921899 w 10505529"/>
              <a:gd name="connsiteY31791" fmla="*/ 2227037 h 7458372"/>
              <a:gd name="connsiteX31792" fmla="*/ 912581 w 10505529"/>
              <a:gd name="connsiteY31792" fmla="*/ 2233293 h 7458372"/>
              <a:gd name="connsiteX31793" fmla="*/ 900866 w 10505529"/>
              <a:gd name="connsiteY31793" fmla="*/ 2235556 h 7458372"/>
              <a:gd name="connsiteX31794" fmla="*/ 879035 w 10505529"/>
              <a:gd name="connsiteY31794" fmla="*/ 2227037 h 7458372"/>
              <a:gd name="connsiteX31795" fmla="*/ 870649 w 10505529"/>
              <a:gd name="connsiteY31795" fmla="*/ 2205871 h 7458372"/>
              <a:gd name="connsiteX31796" fmla="*/ 879035 w 10505529"/>
              <a:gd name="connsiteY31796" fmla="*/ 2184838 h 7458372"/>
              <a:gd name="connsiteX31797" fmla="*/ 900866 w 10505529"/>
              <a:gd name="connsiteY31797" fmla="*/ 2176186 h 7458372"/>
              <a:gd name="connsiteX31798" fmla="*/ 683223 w 10505529"/>
              <a:gd name="connsiteY31798" fmla="*/ 2176186 h 7458372"/>
              <a:gd name="connsiteX31799" fmla="*/ 694938 w 10505529"/>
              <a:gd name="connsiteY31799" fmla="*/ 2178848 h 7458372"/>
              <a:gd name="connsiteX31800" fmla="*/ 704256 w 10505529"/>
              <a:gd name="connsiteY31800" fmla="*/ 2185238 h 7458372"/>
              <a:gd name="connsiteX31801" fmla="*/ 710378 w 10505529"/>
              <a:gd name="connsiteY31801" fmla="*/ 2194555 h 7458372"/>
              <a:gd name="connsiteX31802" fmla="*/ 712642 w 10505529"/>
              <a:gd name="connsiteY31802" fmla="*/ 2206004 h 7458372"/>
              <a:gd name="connsiteX31803" fmla="*/ 710378 w 10505529"/>
              <a:gd name="connsiteY31803" fmla="*/ 2217718 h 7458372"/>
              <a:gd name="connsiteX31804" fmla="*/ 704256 w 10505529"/>
              <a:gd name="connsiteY31804" fmla="*/ 2227037 h 7458372"/>
              <a:gd name="connsiteX31805" fmla="*/ 694938 w 10505529"/>
              <a:gd name="connsiteY31805" fmla="*/ 2233293 h 7458372"/>
              <a:gd name="connsiteX31806" fmla="*/ 683223 w 10505529"/>
              <a:gd name="connsiteY31806" fmla="*/ 2235556 h 7458372"/>
              <a:gd name="connsiteX31807" fmla="*/ 661391 w 10505529"/>
              <a:gd name="connsiteY31807" fmla="*/ 2227037 h 7458372"/>
              <a:gd name="connsiteX31808" fmla="*/ 653005 w 10505529"/>
              <a:gd name="connsiteY31808" fmla="*/ 2205871 h 7458372"/>
              <a:gd name="connsiteX31809" fmla="*/ 661391 w 10505529"/>
              <a:gd name="connsiteY31809" fmla="*/ 2184838 h 7458372"/>
              <a:gd name="connsiteX31810" fmla="*/ 683223 w 10505529"/>
              <a:gd name="connsiteY31810" fmla="*/ 2176186 h 7458372"/>
              <a:gd name="connsiteX31811" fmla="*/ 465579 w 10505529"/>
              <a:gd name="connsiteY31811" fmla="*/ 2176186 h 7458372"/>
              <a:gd name="connsiteX31812" fmla="*/ 477295 w 10505529"/>
              <a:gd name="connsiteY31812" fmla="*/ 2178848 h 7458372"/>
              <a:gd name="connsiteX31813" fmla="*/ 486612 w 10505529"/>
              <a:gd name="connsiteY31813" fmla="*/ 2185238 h 7458372"/>
              <a:gd name="connsiteX31814" fmla="*/ 492735 w 10505529"/>
              <a:gd name="connsiteY31814" fmla="*/ 2194555 h 7458372"/>
              <a:gd name="connsiteX31815" fmla="*/ 494998 w 10505529"/>
              <a:gd name="connsiteY31815" fmla="*/ 2206004 h 7458372"/>
              <a:gd name="connsiteX31816" fmla="*/ 492735 w 10505529"/>
              <a:gd name="connsiteY31816" fmla="*/ 2217718 h 7458372"/>
              <a:gd name="connsiteX31817" fmla="*/ 486612 w 10505529"/>
              <a:gd name="connsiteY31817" fmla="*/ 2227037 h 7458372"/>
              <a:gd name="connsiteX31818" fmla="*/ 477295 w 10505529"/>
              <a:gd name="connsiteY31818" fmla="*/ 2233293 h 7458372"/>
              <a:gd name="connsiteX31819" fmla="*/ 465579 w 10505529"/>
              <a:gd name="connsiteY31819" fmla="*/ 2235556 h 7458372"/>
              <a:gd name="connsiteX31820" fmla="*/ 443748 w 10505529"/>
              <a:gd name="connsiteY31820" fmla="*/ 2227037 h 7458372"/>
              <a:gd name="connsiteX31821" fmla="*/ 435362 w 10505529"/>
              <a:gd name="connsiteY31821" fmla="*/ 2205871 h 7458372"/>
              <a:gd name="connsiteX31822" fmla="*/ 443748 w 10505529"/>
              <a:gd name="connsiteY31822" fmla="*/ 2184838 h 7458372"/>
              <a:gd name="connsiteX31823" fmla="*/ 465579 w 10505529"/>
              <a:gd name="connsiteY31823" fmla="*/ 2176186 h 7458372"/>
              <a:gd name="connsiteX31824" fmla="*/ 247936 w 10505529"/>
              <a:gd name="connsiteY31824" fmla="*/ 2176186 h 7458372"/>
              <a:gd name="connsiteX31825" fmla="*/ 259651 w 10505529"/>
              <a:gd name="connsiteY31825" fmla="*/ 2178848 h 7458372"/>
              <a:gd name="connsiteX31826" fmla="*/ 268969 w 10505529"/>
              <a:gd name="connsiteY31826" fmla="*/ 2185238 h 7458372"/>
              <a:gd name="connsiteX31827" fmla="*/ 275092 w 10505529"/>
              <a:gd name="connsiteY31827" fmla="*/ 2194555 h 7458372"/>
              <a:gd name="connsiteX31828" fmla="*/ 277355 w 10505529"/>
              <a:gd name="connsiteY31828" fmla="*/ 2206004 h 7458372"/>
              <a:gd name="connsiteX31829" fmla="*/ 275092 w 10505529"/>
              <a:gd name="connsiteY31829" fmla="*/ 2217718 h 7458372"/>
              <a:gd name="connsiteX31830" fmla="*/ 268969 w 10505529"/>
              <a:gd name="connsiteY31830" fmla="*/ 2227037 h 7458372"/>
              <a:gd name="connsiteX31831" fmla="*/ 259651 w 10505529"/>
              <a:gd name="connsiteY31831" fmla="*/ 2233293 h 7458372"/>
              <a:gd name="connsiteX31832" fmla="*/ 247936 w 10505529"/>
              <a:gd name="connsiteY31832" fmla="*/ 2235556 h 7458372"/>
              <a:gd name="connsiteX31833" fmla="*/ 226105 w 10505529"/>
              <a:gd name="connsiteY31833" fmla="*/ 2227037 h 7458372"/>
              <a:gd name="connsiteX31834" fmla="*/ 217719 w 10505529"/>
              <a:gd name="connsiteY31834" fmla="*/ 2205871 h 7458372"/>
              <a:gd name="connsiteX31835" fmla="*/ 226105 w 10505529"/>
              <a:gd name="connsiteY31835" fmla="*/ 2184838 h 7458372"/>
              <a:gd name="connsiteX31836" fmla="*/ 247936 w 10505529"/>
              <a:gd name="connsiteY31836" fmla="*/ 2176186 h 7458372"/>
              <a:gd name="connsiteX31837" fmla="*/ 30292 w 10505529"/>
              <a:gd name="connsiteY31837" fmla="*/ 2176186 h 7458372"/>
              <a:gd name="connsiteX31838" fmla="*/ 42008 w 10505529"/>
              <a:gd name="connsiteY31838" fmla="*/ 2178848 h 7458372"/>
              <a:gd name="connsiteX31839" fmla="*/ 51326 w 10505529"/>
              <a:gd name="connsiteY31839" fmla="*/ 2185238 h 7458372"/>
              <a:gd name="connsiteX31840" fmla="*/ 57449 w 10505529"/>
              <a:gd name="connsiteY31840" fmla="*/ 2194555 h 7458372"/>
              <a:gd name="connsiteX31841" fmla="*/ 59712 w 10505529"/>
              <a:gd name="connsiteY31841" fmla="*/ 2206004 h 7458372"/>
              <a:gd name="connsiteX31842" fmla="*/ 57449 w 10505529"/>
              <a:gd name="connsiteY31842" fmla="*/ 2217718 h 7458372"/>
              <a:gd name="connsiteX31843" fmla="*/ 51326 w 10505529"/>
              <a:gd name="connsiteY31843" fmla="*/ 2227037 h 7458372"/>
              <a:gd name="connsiteX31844" fmla="*/ 42008 w 10505529"/>
              <a:gd name="connsiteY31844" fmla="*/ 2233293 h 7458372"/>
              <a:gd name="connsiteX31845" fmla="*/ 30292 w 10505529"/>
              <a:gd name="connsiteY31845" fmla="*/ 2235556 h 7458372"/>
              <a:gd name="connsiteX31846" fmla="*/ 8462 w 10505529"/>
              <a:gd name="connsiteY31846" fmla="*/ 2227037 h 7458372"/>
              <a:gd name="connsiteX31847" fmla="*/ 76 w 10505529"/>
              <a:gd name="connsiteY31847" fmla="*/ 2205871 h 7458372"/>
              <a:gd name="connsiteX31848" fmla="*/ 8462 w 10505529"/>
              <a:gd name="connsiteY31848" fmla="*/ 2184838 h 7458372"/>
              <a:gd name="connsiteX31849" fmla="*/ 30292 w 10505529"/>
              <a:gd name="connsiteY31849" fmla="*/ 2176186 h 7458372"/>
              <a:gd name="connsiteX31850" fmla="*/ 10475977 w 10505529"/>
              <a:gd name="connsiteY31850" fmla="*/ 1975188 h 7458372"/>
              <a:gd name="connsiteX31851" fmla="*/ 10465992 w 10505529"/>
              <a:gd name="connsiteY31851" fmla="*/ 1978785 h 7458372"/>
              <a:gd name="connsiteX31852" fmla="*/ 10462399 w 10505529"/>
              <a:gd name="connsiteY31852" fmla="*/ 1988232 h 7458372"/>
              <a:gd name="connsiteX31853" fmla="*/ 10465992 w 10505529"/>
              <a:gd name="connsiteY31853" fmla="*/ 1997689 h 7458372"/>
              <a:gd name="connsiteX31854" fmla="*/ 10475977 w 10505529"/>
              <a:gd name="connsiteY31854" fmla="*/ 2001146 h 7458372"/>
              <a:gd name="connsiteX31855" fmla="*/ 10481302 w 10505529"/>
              <a:gd name="connsiteY31855" fmla="*/ 2000210 h 7458372"/>
              <a:gd name="connsiteX31856" fmla="*/ 10485029 w 10505529"/>
              <a:gd name="connsiteY31856" fmla="*/ 1997817 h 7458372"/>
              <a:gd name="connsiteX31857" fmla="*/ 10487691 w 10505529"/>
              <a:gd name="connsiteY31857" fmla="*/ 1993688 h 7458372"/>
              <a:gd name="connsiteX31858" fmla="*/ 10488623 w 10505529"/>
              <a:gd name="connsiteY31858" fmla="*/ 1988232 h 7458372"/>
              <a:gd name="connsiteX31859" fmla="*/ 10487691 w 10505529"/>
              <a:gd name="connsiteY31859" fmla="*/ 1983046 h 7458372"/>
              <a:gd name="connsiteX31860" fmla="*/ 10485029 w 10505529"/>
              <a:gd name="connsiteY31860" fmla="*/ 1978785 h 7458372"/>
              <a:gd name="connsiteX31861" fmla="*/ 10481035 w 10505529"/>
              <a:gd name="connsiteY31861" fmla="*/ 1976116 h 7458372"/>
              <a:gd name="connsiteX31862" fmla="*/ 10475977 w 10505529"/>
              <a:gd name="connsiteY31862" fmla="*/ 1975188 h 7458372"/>
              <a:gd name="connsiteX31863" fmla="*/ 10258466 w 10505529"/>
              <a:gd name="connsiteY31863" fmla="*/ 1975188 h 7458372"/>
              <a:gd name="connsiteX31864" fmla="*/ 10248481 w 10505529"/>
              <a:gd name="connsiteY31864" fmla="*/ 1978785 h 7458372"/>
              <a:gd name="connsiteX31865" fmla="*/ 10244887 w 10505529"/>
              <a:gd name="connsiteY31865" fmla="*/ 1988237 h 7458372"/>
              <a:gd name="connsiteX31866" fmla="*/ 10248481 w 10505529"/>
              <a:gd name="connsiteY31866" fmla="*/ 1997689 h 7458372"/>
              <a:gd name="connsiteX31867" fmla="*/ 10258466 w 10505529"/>
              <a:gd name="connsiteY31867" fmla="*/ 2001146 h 7458372"/>
              <a:gd name="connsiteX31868" fmla="*/ 10263790 w 10505529"/>
              <a:gd name="connsiteY31868" fmla="*/ 2000210 h 7458372"/>
              <a:gd name="connsiteX31869" fmla="*/ 10267517 w 10505529"/>
              <a:gd name="connsiteY31869" fmla="*/ 1997817 h 7458372"/>
              <a:gd name="connsiteX31870" fmla="*/ 10270180 w 10505529"/>
              <a:gd name="connsiteY31870" fmla="*/ 1993688 h 7458372"/>
              <a:gd name="connsiteX31871" fmla="*/ 10271112 w 10505529"/>
              <a:gd name="connsiteY31871" fmla="*/ 1988237 h 7458372"/>
              <a:gd name="connsiteX31872" fmla="*/ 10270180 w 10505529"/>
              <a:gd name="connsiteY31872" fmla="*/ 1983046 h 7458372"/>
              <a:gd name="connsiteX31873" fmla="*/ 10267517 w 10505529"/>
              <a:gd name="connsiteY31873" fmla="*/ 1978785 h 7458372"/>
              <a:gd name="connsiteX31874" fmla="*/ 10263524 w 10505529"/>
              <a:gd name="connsiteY31874" fmla="*/ 1976116 h 7458372"/>
              <a:gd name="connsiteX31875" fmla="*/ 10258466 w 10505529"/>
              <a:gd name="connsiteY31875" fmla="*/ 1975188 h 7458372"/>
              <a:gd name="connsiteX31876" fmla="*/ 10040820 w 10505529"/>
              <a:gd name="connsiteY31876" fmla="*/ 1975188 h 7458372"/>
              <a:gd name="connsiteX31877" fmla="*/ 10030835 w 10505529"/>
              <a:gd name="connsiteY31877" fmla="*/ 1978785 h 7458372"/>
              <a:gd name="connsiteX31878" fmla="*/ 10027242 w 10505529"/>
              <a:gd name="connsiteY31878" fmla="*/ 1988237 h 7458372"/>
              <a:gd name="connsiteX31879" fmla="*/ 10030835 w 10505529"/>
              <a:gd name="connsiteY31879" fmla="*/ 1997689 h 7458372"/>
              <a:gd name="connsiteX31880" fmla="*/ 10040820 w 10505529"/>
              <a:gd name="connsiteY31880" fmla="*/ 2001146 h 7458372"/>
              <a:gd name="connsiteX31881" fmla="*/ 10046145 w 10505529"/>
              <a:gd name="connsiteY31881" fmla="*/ 2000210 h 7458372"/>
              <a:gd name="connsiteX31882" fmla="*/ 10049872 w 10505529"/>
              <a:gd name="connsiteY31882" fmla="*/ 1997817 h 7458372"/>
              <a:gd name="connsiteX31883" fmla="*/ 10052534 w 10505529"/>
              <a:gd name="connsiteY31883" fmla="*/ 1993688 h 7458372"/>
              <a:gd name="connsiteX31884" fmla="*/ 10053599 w 10505529"/>
              <a:gd name="connsiteY31884" fmla="*/ 1988237 h 7458372"/>
              <a:gd name="connsiteX31885" fmla="*/ 10052534 w 10505529"/>
              <a:gd name="connsiteY31885" fmla="*/ 1983046 h 7458372"/>
              <a:gd name="connsiteX31886" fmla="*/ 10049872 w 10505529"/>
              <a:gd name="connsiteY31886" fmla="*/ 1978785 h 7458372"/>
              <a:gd name="connsiteX31887" fmla="*/ 10045878 w 10505529"/>
              <a:gd name="connsiteY31887" fmla="*/ 1976116 h 7458372"/>
              <a:gd name="connsiteX31888" fmla="*/ 10040820 w 10505529"/>
              <a:gd name="connsiteY31888" fmla="*/ 1975188 h 7458372"/>
              <a:gd name="connsiteX31889" fmla="*/ 9823176 w 10505529"/>
              <a:gd name="connsiteY31889" fmla="*/ 1975188 h 7458372"/>
              <a:gd name="connsiteX31890" fmla="*/ 9813191 w 10505529"/>
              <a:gd name="connsiteY31890" fmla="*/ 1978785 h 7458372"/>
              <a:gd name="connsiteX31891" fmla="*/ 9809597 w 10505529"/>
              <a:gd name="connsiteY31891" fmla="*/ 1988237 h 7458372"/>
              <a:gd name="connsiteX31892" fmla="*/ 9813191 w 10505529"/>
              <a:gd name="connsiteY31892" fmla="*/ 1997689 h 7458372"/>
              <a:gd name="connsiteX31893" fmla="*/ 9823176 w 10505529"/>
              <a:gd name="connsiteY31893" fmla="*/ 2001146 h 7458372"/>
              <a:gd name="connsiteX31894" fmla="*/ 9828501 w 10505529"/>
              <a:gd name="connsiteY31894" fmla="*/ 2000210 h 7458372"/>
              <a:gd name="connsiteX31895" fmla="*/ 9832227 w 10505529"/>
              <a:gd name="connsiteY31895" fmla="*/ 1997817 h 7458372"/>
              <a:gd name="connsiteX31896" fmla="*/ 9834890 w 10505529"/>
              <a:gd name="connsiteY31896" fmla="*/ 1993688 h 7458372"/>
              <a:gd name="connsiteX31897" fmla="*/ 9835955 w 10505529"/>
              <a:gd name="connsiteY31897" fmla="*/ 1988237 h 7458372"/>
              <a:gd name="connsiteX31898" fmla="*/ 9834890 w 10505529"/>
              <a:gd name="connsiteY31898" fmla="*/ 1983046 h 7458372"/>
              <a:gd name="connsiteX31899" fmla="*/ 9832227 w 10505529"/>
              <a:gd name="connsiteY31899" fmla="*/ 1978785 h 7458372"/>
              <a:gd name="connsiteX31900" fmla="*/ 9828234 w 10505529"/>
              <a:gd name="connsiteY31900" fmla="*/ 1976116 h 7458372"/>
              <a:gd name="connsiteX31901" fmla="*/ 9823176 w 10505529"/>
              <a:gd name="connsiteY31901" fmla="*/ 1975188 h 7458372"/>
              <a:gd name="connsiteX31902" fmla="*/ 9605531 w 10505529"/>
              <a:gd name="connsiteY31902" fmla="*/ 1975188 h 7458372"/>
              <a:gd name="connsiteX31903" fmla="*/ 9595546 w 10505529"/>
              <a:gd name="connsiteY31903" fmla="*/ 1978785 h 7458372"/>
              <a:gd name="connsiteX31904" fmla="*/ 9591952 w 10505529"/>
              <a:gd name="connsiteY31904" fmla="*/ 1988237 h 7458372"/>
              <a:gd name="connsiteX31905" fmla="*/ 9595546 w 10505529"/>
              <a:gd name="connsiteY31905" fmla="*/ 1997689 h 7458372"/>
              <a:gd name="connsiteX31906" fmla="*/ 9605531 w 10505529"/>
              <a:gd name="connsiteY31906" fmla="*/ 2001146 h 7458372"/>
              <a:gd name="connsiteX31907" fmla="*/ 9610855 w 10505529"/>
              <a:gd name="connsiteY31907" fmla="*/ 2000210 h 7458372"/>
              <a:gd name="connsiteX31908" fmla="*/ 9614582 w 10505529"/>
              <a:gd name="connsiteY31908" fmla="*/ 1997817 h 7458372"/>
              <a:gd name="connsiteX31909" fmla="*/ 9617245 w 10505529"/>
              <a:gd name="connsiteY31909" fmla="*/ 1993688 h 7458372"/>
              <a:gd name="connsiteX31910" fmla="*/ 9618309 w 10505529"/>
              <a:gd name="connsiteY31910" fmla="*/ 1988237 h 7458372"/>
              <a:gd name="connsiteX31911" fmla="*/ 9617245 w 10505529"/>
              <a:gd name="connsiteY31911" fmla="*/ 1983046 h 7458372"/>
              <a:gd name="connsiteX31912" fmla="*/ 9614582 w 10505529"/>
              <a:gd name="connsiteY31912" fmla="*/ 1978785 h 7458372"/>
              <a:gd name="connsiteX31913" fmla="*/ 9610589 w 10505529"/>
              <a:gd name="connsiteY31913" fmla="*/ 1976116 h 7458372"/>
              <a:gd name="connsiteX31914" fmla="*/ 9605531 w 10505529"/>
              <a:gd name="connsiteY31914" fmla="*/ 1975188 h 7458372"/>
              <a:gd name="connsiteX31915" fmla="*/ 9387885 w 10505529"/>
              <a:gd name="connsiteY31915" fmla="*/ 1975188 h 7458372"/>
              <a:gd name="connsiteX31916" fmla="*/ 9377900 w 10505529"/>
              <a:gd name="connsiteY31916" fmla="*/ 1978785 h 7458372"/>
              <a:gd name="connsiteX31917" fmla="*/ 9374307 w 10505529"/>
              <a:gd name="connsiteY31917" fmla="*/ 1988237 h 7458372"/>
              <a:gd name="connsiteX31918" fmla="*/ 9377900 w 10505529"/>
              <a:gd name="connsiteY31918" fmla="*/ 1997689 h 7458372"/>
              <a:gd name="connsiteX31919" fmla="*/ 9387885 w 10505529"/>
              <a:gd name="connsiteY31919" fmla="*/ 2001146 h 7458372"/>
              <a:gd name="connsiteX31920" fmla="*/ 9393210 w 10505529"/>
              <a:gd name="connsiteY31920" fmla="*/ 2000210 h 7458372"/>
              <a:gd name="connsiteX31921" fmla="*/ 9396937 w 10505529"/>
              <a:gd name="connsiteY31921" fmla="*/ 1997817 h 7458372"/>
              <a:gd name="connsiteX31922" fmla="*/ 9399599 w 10505529"/>
              <a:gd name="connsiteY31922" fmla="*/ 1993688 h 7458372"/>
              <a:gd name="connsiteX31923" fmla="*/ 9400664 w 10505529"/>
              <a:gd name="connsiteY31923" fmla="*/ 1988237 h 7458372"/>
              <a:gd name="connsiteX31924" fmla="*/ 9399599 w 10505529"/>
              <a:gd name="connsiteY31924" fmla="*/ 1983046 h 7458372"/>
              <a:gd name="connsiteX31925" fmla="*/ 9396937 w 10505529"/>
              <a:gd name="connsiteY31925" fmla="*/ 1978785 h 7458372"/>
              <a:gd name="connsiteX31926" fmla="*/ 9392943 w 10505529"/>
              <a:gd name="connsiteY31926" fmla="*/ 1976116 h 7458372"/>
              <a:gd name="connsiteX31927" fmla="*/ 9387885 w 10505529"/>
              <a:gd name="connsiteY31927" fmla="*/ 1975188 h 7458372"/>
              <a:gd name="connsiteX31928" fmla="*/ 9170374 w 10505529"/>
              <a:gd name="connsiteY31928" fmla="*/ 1975188 h 7458372"/>
              <a:gd name="connsiteX31929" fmla="*/ 9160389 w 10505529"/>
              <a:gd name="connsiteY31929" fmla="*/ 1978785 h 7458372"/>
              <a:gd name="connsiteX31930" fmla="*/ 9156795 w 10505529"/>
              <a:gd name="connsiteY31930" fmla="*/ 1988237 h 7458372"/>
              <a:gd name="connsiteX31931" fmla="*/ 9160389 w 10505529"/>
              <a:gd name="connsiteY31931" fmla="*/ 1997689 h 7458372"/>
              <a:gd name="connsiteX31932" fmla="*/ 9170374 w 10505529"/>
              <a:gd name="connsiteY31932" fmla="*/ 2001146 h 7458372"/>
              <a:gd name="connsiteX31933" fmla="*/ 9175698 w 10505529"/>
              <a:gd name="connsiteY31933" fmla="*/ 2000210 h 7458372"/>
              <a:gd name="connsiteX31934" fmla="*/ 9179425 w 10505529"/>
              <a:gd name="connsiteY31934" fmla="*/ 1997817 h 7458372"/>
              <a:gd name="connsiteX31935" fmla="*/ 9182088 w 10505529"/>
              <a:gd name="connsiteY31935" fmla="*/ 1993688 h 7458372"/>
              <a:gd name="connsiteX31936" fmla="*/ 9183152 w 10505529"/>
              <a:gd name="connsiteY31936" fmla="*/ 1988237 h 7458372"/>
              <a:gd name="connsiteX31937" fmla="*/ 9182088 w 10505529"/>
              <a:gd name="connsiteY31937" fmla="*/ 1983046 h 7458372"/>
              <a:gd name="connsiteX31938" fmla="*/ 9179425 w 10505529"/>
              <a:gd name="connsiteY31938" fmla="*/ 1978785 h 7458372"/>
              <a:gd name="connsiteX31939" fmla="*/ 9175432 w 10505529"/>
              <a:gd name="connsiteY31939" fmla="*/ 1976116 h 7458372"/>
              <a:gd name="connsiteX31940" fmla="*/ 9170374 w 10505529"/>
              <a:gd name="connsiteY31940" fmla="*/ 1975188 h 7458372"/>
              <a:gd name="connsiteX31941" fmla="*/ 8952728 w 10505529"/>
              <a:gd name="connsiteY31941" fmla="*/ 1975188 h 7458372"/>
              <a:gd name="connsiteX31942" fmla="*/ 8942743 w 10505529"/>
              <a:gd name="connsiteY31942" fmla="*/ 1978785 h 7458372"/>
              <a:gd name="connsiteX31943" fmla="*/ 8939150 w 10505529"/>
              <a:gd name="connsiteY31943" fmla="*/ 1988237 h 7458372"/>
              <a:gd name="connsiteX31944" fmla="*/ 8942743 w 10505529"/>
              <a:gd name="connsiteY31944" fmla="*/ 1997689 h 7458372"/>
              <a:gd name="connsiteX31945" fmla="*/ 8952728 w 10505529"/>
              <a:gd name="connsiteY31945" fmla="*/ 2001146 h 7458372"/>
              <a:gd name="connsiteX31946" fmla="*/ 8958053 w 10505529"/>
              <a:gd name="connsiteY31946" fmla="*/ 2000210 h 7458372"/>
              <a:gd name="connsiteX31947" fmla="*/ 8961780 w 10505529"/>
              <a:gd name="connsiteY31947" fmla="*/ 1997817 h 7458372"/>
              <a:gd name="connsiteX31948" fmla="*/ 8964442 w 10505529"/>
              <a:gd name="connsiteY31948" fmla="*/ 1993688 h 7458372"/>
              <a:gd name="connsiteX31949" fmla="*/ 8965507 w 10505529"/>
              <a:gd name="connsiteY31949" fmla="*/ 1988237 h 7458372"/>
              <a:gd name="connsiteX31950" fmla="*/ 8964442 w 10505529"/>
              <a:gd name="connsiteY31950" fmla="*/ 1983046 h 7458372"/>
              <a:gd name="connsiteX31951" fmla="*/ 8961780 w 10505529"/>
              <a:gd name="connsiteY31951" fmla="*/ 1978785 h 7458372"/>
              <a:gd name="connsiteX31952" fmla="*/ 8957786 w 10505529"/>
              <a:gd name="connsiteY31952" fmla="*/ 1976116 h 7458372"/>
              <a:gd name="connsiteX31953" fmla="*/ 8952728 w 10505529"/>
              <a:gd name="connsiteY31953" fmla="*/ 1975188 h 7458372"/>
              <a:gd name="connsiteX31954" fmla="*/ 8735083 w 10505529"/>
              <a:gd name="connsiteY31954" fmla="*/ 1975188 h 7458372"/>
              <a:gd name="connsiteX31955" fmla="*/ 8725098 w 10505529"/>
              <a:gd name="connsiteY31955" fmla="*/ 1978785 h 7458372"/>
              <a:gd name="connsiteX31956" fmla="*/ 8721504 w 10505529"/>
              <a:gd name="connsiteY31956" fmla="*/ 1988237 h 7458372"/>
              <a:gd name="connsiteX31957" fmla="*/ 8725098 w 10505529"/>
              <a:gd name="connsiteY31957" fmla="*/ 1997689 h 7458372"/>
              <a:gd name="connsiteX31958" fmla="*/ 8735083 w 10505529"/>
              <a:gd name="connsiteY31958" fmla="*/ 2001146 h 7458372"/>
              <a:gd name="connsiteX31959" fmla="*/ 8740407 w 10505529"/>
              <a:gd name="connsiteY31959" fmla="*/ 2000210 h 7458372"/>
              <a:gd name="connsiteX31960" fmla="*/ 8744134 w 10505529"/>
              <a:gd name="connsiteY31960" fmla="*/ 1997817 h 7458372"/>
              <a:gd name="connsiteX31961" fmla="*/ 8746797 w 10505529"/>
              <a:gd name="connsiteY31961" fmla="*/ 1993688 h 7458372"/>
              <a:gd name="connsiteX31962" fmla="*/ 8747862 w 10505529"/>
              <a:gd name="connsiteY31962" fmla="*/ 1988237 h 7458372"/>
              <a:gd name="connsiteX31963" fmla="*/ 8746797 w 10505529"/>
              <a:gd name="connsiteY31963" fmla="*/ 1983046 h 7458372"/>
              <a:gd name="connsiteX31964" fmla="*/ 8744134 w 10505529"/>
              <a:gd name="connsiteY31964" fmla="*/ 1978785 h 7458372"/>
              <a:gd name="connsiteX31965" fmla="*/ 8740141 w 10505529"/>
              <a:gd name="connsiteY31965" fmla="*/ 1976116 h 7458372"/>
              <a:gd name="connsiteX31966" fmla="*/ 8735083 w 10505529"/>
              <a:gd name="connsiteY31966" fmla="*/ 1975188 h 7458372"/>
              <a:gd name="connsiteX31967" fmla="*/ 8517438 w 10505529"/>
              <a:gd name="connsiteY31967" fmla="*/ 1975188 h 7458372"/>
              <a:gd name="connsiteX31968" fmla="*/ 8507453 w 10505529"/>
              <a:gd name="connsiteY31968" fmla="*/ 1978785 h 7458372"/>
              <a:gd name="connsiteX31969" fmla="*/ 8503860 w 10505529"/>
              <a:gd name="connsiteY31969" fmla="*/ 1988237 h 7458372"/>
              <a:gd name="connsiteX31970" fmla="*/ 8507453 w 10505529"/>
              <a:gd name="connsiteY31970" fmla="*/ 1997689 h 7458372"/>
              <a:gd name="connsiteX31971" fmla="*/ 8517438 w 10505529"/>
              <a:gd name="connsiteY31971" fmla="*/ 2001146 h 7458372"/>
              <a:gd name="connsiteX31972" fmla="*/ 8522763 w 10505529"/>
              <a:gd name="connsiteY31972" fmla="*/ 2000210 h 7458372"/>
              <a:gd name="connsiteX31973" fmla="*/ 8526490 w 10505529"/>
              <a:gd name="connsiteY31973" fmla="*/ 1997817 h 7458372"/>
              <a:gd name="connsiteX31974" fmla="*/ 8529152 w 10505529"/>
              <a:gd name="connsiteY31974" fmla="*/ 1993688 h 7458372"/>
              <a:gd name="connsiteX31975" fmla="*/ 8530084 w 10505529"/>
              <a:gd name="connsiteY31975" fmla="*/ 1988237 h 7458372"/>
              <a:gd name="connsiteX31976" fmla="*/ 8529152 w 10505529"/>
              <a:gd name="connsiteY31976" fmla="*/ 1983046 h 7458372"/>
              <a:gd name="connsiteX31977" fmla="*/ 8526490 w 10505529"/>
              <a:gd name="connsiteY31977" fmla="*/ 1978785 h 7458372"/>
              <a:gd name="connsiteX31978" fmla="*/ 8522496 w 10505529"/>
              <a:gd name="connsiteY31978" fmla="*/ 1976116 h 7458372"/>
              <a:gd name="connsiteX31979" fmla="*/ 8517438 w 10505529"/>
              <a:gd name="connsiteY31979" fmla="*/ 1975188 h 7458372"/>
              <a:gd name="connsiteX31980" fmla="*/ 8299793 w 10505529"/>
              <a:gd name="connsiteY31980" fmla="*/ 1975188 h 7458372"/>
              <a:gd name="connsiteX31981" fmla="*/ 8289809 w 10505529"/>
              <a:gd name="connsiteY31981" fmla="*/ 1978785 h 7458372"/>
              <a:gd name="connsiteX31982" fmla="*/ 8286215 w 10505529"/>
              <a:gd name="connsiteY31982" fmla="*/ 1988237 h 7458372"/>
              <a:gd name="connsiteX31983" fmla="*/ 8289809 w 10505529"/>
              <a:gd name="connsiteY31983" fmla="*/ 1997689 h 7458372"/>
              <a:gd name="connsiteX31984" fmla="*/ 8299793 w 10505529"/>
              <a:gd name="connsiteY31984" fmla="*/ 2001146 h 7458372"/>
              <a:gd name="connsiteX31985" fmla="*/ 8305118 w 10505529"/>
              <a:gd name="connsiteY31985" fmla="*/ 2000210 h 7458372"/>
              <a:gd name="connsiteX31986" fmla="*/ 8308844 w 10505529"/>
              <a:gd name="connsiteY31986" fmla="*/ 1997817 h 7458372"/>
              <a:gd name="connsiteX31987" fmla="*/ 8311507 w 10505529"/>
              <a:gd name="connsiteY31987" fmla="*/ 1993688 h 7458372"/>
              <a:gd name="connsiteX31988" fmla="*/ 8312439 w 10505529"/>
              <a:gd name="connsiteY31988" fmla="*/ 1988237 h 7458372"/>
              <a:gd name="connsiteX31989" fmla="*/ 8311507 w 10505529"/>
              <a:gd name="connsiteY31989" fmla="*/ 1983046 h 7458372"/>
              <a:gd name="connsiteX31990" fmla="*/ 8308844 w 10505529"/>
              <a:gd name="connsiteY31990" fmla="*/ 1978785 h 7458372"/>
              <a:gd name="connsiteX31991" fmla="*/ 8304851 w 10505529"/>
              <a:gd name="connsiteY31991" fmla="*/ 1976116 h 7458372"/>
              <a:gd name="connsiteX31992" fmla="*/ 8299793 w 10505529"/>
              <a:gd name="connsiteY31992" fmla="*/ 1975188 h 7458372"/>
              <a:gd name="connsiteX31993" fmla="*/ 8082281 w 10505529"/>
              <a:gd name="connsiteY31993" fmla="*/ 1975188 h 7458372"/>
              <a:gd name="connsiteX31994" fmla="*/ 8072297 w 10505529"/>
              <a:gd name="connsiteY31994" fmla="*/ 1978785 h 7458372"/>
              <a:gd name="connsiteX31995" fmla="*/ 8068703 w 10505529"/>
              <a:gd name="connsiteY31995" fmla="*/ 1988237 h 7458372"/>
              <a:gd name="connsiteX31996" fmla="*/ 8072297 w 10505529"/>
              <a:gd name="connsiteY31996" fmla="*/ 1997689 h 7458372"/>
              <a:gd name="connsiteX31997" fmla="*/ 8082281 w 10505529"/>
              <a:gd name="connsiteY31997" fmla="*/ 2001146 h 7458372"/>
              <a:gd name="connsiteX31998" fmla="*/ 8087605 w 10505529"/>
              <a:gd name="connsiteY31998" fmla="*/ 2000210 h 7458372"/>
              <a:gd name="connsiteX31999" fmla="*/ 8091332 w 10505529"/>
              <a:gd name="connsiteY31999" fmla="*/ 1997817 h 7458372"/>
              <a:gd name="connsiteX32000" fmla="*/ 8093994 w 10505529"/>
              <a:gd name="connsiteY32000" fmla="*/ 1993688 h 7458372"/>
              <a:gd name="connsiteX32001" fmla="*/ 8094926 w 10505529"/>
              <a:gd name="connsiteY32001" fmla="*/ 1988237 h 7458372"/>
              <a:gd name="connsiteX32002" fmla="*/ 8093994 w 10505529"/>
              <a:gd name="connsiteY32002" fmla="*/ 1983046 h 7458372"/>
              <a:gd name="connsiteX32003" fmla="*/ 8091332 w 10505529"/>
              <a:gd name="connsiteY32003" fmla="*/ 1978785 h 7458372"/>
              <a:gd name="connsiteX32004" fmla="*/ 8087338 w 10505529"/>
              <a:gd name="connsiteY32004" fmla="*/ 1976116 h 7458372"/>
              <a:gd name="connsiteX32005" fmla="*/ 8082281 w 10505529"/>
              <a:gd name="connsiteY32005" fmla="*/ 1975188 h 7458372"/>
              <a:gd name="connsiteX32006" fmla="*/ 7864636 w 10505529"/>
              <a:gd name="connsiteY32006" fmla="*/ 1975188 h 7458372"/>
              <a:gd name="connsiteX32007" fmla="*/ 7854652 w 10505529"/>
              <a:gd name="connsiteY32007" fmla="*/ 1978785 h 7458372"/>
              <a:gd name="connsiteX32008" fmla="*/ 7851058 w 10505529"/>
              <a:gd name="connsiteY32008" fmla="*/ 1988237 h 7458372"/>
              <a:gd name="connsiteX32009" fmla="*/ 7854652 w 10505529"/>
              <a:gd name="connsiteY32009" fmla="*/ 1997689 h 7458372"/>
              <a:gd name="connsiteX32010" fmla="*/ 7864636 w 10505529"/>
              <a:gd name="connsiteY32010" fmla="*/ 2001146 h 7458372"/>
              <a:gd name="connsiteX32011" fmla="*/ 7869961 w 10505529"/>
              <a:gd name="connsiteY32011" fmla="*/ 2000210 h 7458372"/>
              <a:gd name="connsiteX32012" fmla="*/ 7873687 w 10505529"/>
              <a:gd name="connsiteY32012" fmla="*/ 1997817 h 7458372"/>
              <a:gd name="connsiteX32013" fmla="*/ 7876350 w 10505529"/>
              <a:gd name="connsiteY32013" fmla="*/ 1993688 h 7458372"/>
              <a:gd name="connsiteX32014" fmla="*/ 7877282 w 10505529"/>
              <a:gd name="connsiteY32014" fmla="*/ 1988237 h 7458372"/>
              <a:gd name="connsiteX32015" fmla="*/ 7876350 w 10505529"/>
              <a:gd name="connsiteY32015" fmla="*/ 1983046 h 7458372"/>
              <a:gd name="connsiteX32016" fmla="*/ 7873687 w 10505529"/>
              <a:gd name="connsiteY32016" fmla="*/ 1978785 h 7458372"/>
              <a:gd name="connsiteX32017" fmla="*/ 7869694 w 10505529"/>
              <a:gd name="connsiteY32017" fmla="*/ 1976116 h 7458372"/>
              <a:gd name="connsiteX32018" fmla="*/ 7864636 w 10505529"/>
              <a:gd name="connsiteY32018" fmla="*/ 1975188 h 7458372"/>
              <a:gd name="connsiteX32019" fmla="*/ 7646991 w 10505529"/>
              <a:gd name="connsiteY32019" fmla="*/ 1975188 h 7458372"/>
              <a:gd name="connsiteX32020" fmla="*/ 7637007 w 10505529"/>
              <a:gd name="connsiteY32020" fmla="*/ 1978785 h 7458372"/>
              <a:gd name="connsiteX32021" fmla="*/ 7633413 w 10505529"/>
              <a:gd name="connsiteY32021" fmla="*/ 1988237 h 7458372"/>
              <a:gd name="connsiteX32022" fmla="*/ 7637007 w 10505529"/>
              <a:gd name="connsiteY32022" fmla="*/ 1997689 h 7458372"/>
              <a:gd name="connsiteX32023" fmla="*/ 7646991 w 10505529"/>
              <a:gd name="connsiteY32023" fmla="*/ 2001146 h 7458372"/>
              <a:gd name="connsiteX32024" fmla="*/ 7652315 w 10505529"/>
              <a:gd name="connsiteY32024" fmla="*/ 2000210 h 7458372"/>
              <a:gd name="connsiteX32025" fmla="*/ 7656042 w 10505529"/>
              <a:gd name="connsiteY32025" fmla="*/ 1997817 h 7458372"/>
              <a:gd name="connsiteX32026" fmla="*/ 7658705 w 10505529"/>
              <a:gd name="connsiteY32026" fmla="*/ 1993688 h 7458372"/>
              <a:gd name="connsiteX32027" fmla="*/ 7659769 w 10505529"/>
              <a:gd name="connsiteY32027" fmla="*/ 1988237 h 7458372"/>
              <a:gd name="connsiteX32028" fmla="*/ 7658705 w 10505529"/>
              <a:gd name="connsiteY32028" fmla="*/ 1983046 h 7458372"/>
              <a:gd name="connsiteX32029" fmla="*/ 7656042 w 10505529"/>
              <a:gd name="connsiteY32029" fmla="*/ 1978785 h 7458372"/>
              <a:gd name="connsiteX32030" fmla="*/ 7652049 w 10505529"/>
              <a:gd name="connsiteY32030" fmla="*/ 1976116 h 7458372"/>
              <a:gd name="connsiteX32031" fmla="*/ 7646991 w 10505529"/>
              <a:gd name="connsiteY32031" fmla="*/ 1975188 h 7458372"/>
              <a:gd name="connsiteX32032" fmla="*/ 7429345 w 10505529"/>
              <a:gd name="connsiteY32032" fmla="*/ 1975188 h 7458372"/>
              <a:gd name="connsiteX32033" fmla="*/ 7419361 w 10505529"/>
              <a:gd name="connsiteY32033" fmla="*/ 1978785 h 7458372"/>
              <a:gd name="connsiteX32034" fmla="*/ 7415768 w 10505529"/>
              <a:gd name="connsiteY32034" fmla="*/ 1988237 h 7458372"/>
              <a:gd name="connsiteX32035" fmla="*/ 7419361 w 10505529"/>
              <a:gd name="connsiteY32035" fmla="*/ 1997689 h 7458372"/>
              <a:gd name="connsiteX32036" fmla="*/ 7429345 w 10505529"/>
              <a:gd name="connsiteY32036" fmla="*/ 2001146 h 7458372"/>
              <a:gd name="connsiteX32037" fmla="*/ 7434670 w 10505529"/>
              <a:gd name="connsiteY32037" fmla="*/ 2000210 h 7458372"/>
              <a:gd name="connsiteX32038" fmla="*/ 7438397 w 10505529"/>
              <a:gd name="connsiteY32038" fmla="*/ 1997817 h 7458372"/>
              <a:gd name="connsiteX32039" fmla="*/ 7441059 w 10505529"/>
              <a:gd name="connsiteY32039" fmla="*/ 1993688 h 7458372"/>
              <a:gd name="connsiteX32040" fmla="*/ 7442124 w 10505529"/>
              <a:gd name="connsiteY32040" fmla="*/ 1988237 h 7458372"/>
              <a:gd name="connsiteX32041" fmla="*/ 7441059 w 10505529"/>
              <a:gd name="connsiteY32041" fmla="*/ 1983046 h 7458372"/>
              <a:gd name="connsiteX32042" fmla="*/ 7438397 w 10505529"/>
              <a:gd name="connsiteY32042" fmla="*/ 1978785 h 7458372"/>
              <a:gd name="connsiteX32043" fmla="*/ 7434403 w 10505529"/>
              <a:gd name="connsiteY32043" fmla="*/ 1976116 h 7458372"/>
              <a:gd name="connsiteX32044" fmla="*/ 7429345 w 10505529"/>
              <a:gd name="connsiteY32044" fmla="*/ 1975188 h 7458372"/>
              <a:gd name="connsiteX32045" fmla="*/ 7211701 w 10505529"/>
              <a:gd name="connsiteY32045" fmla="*/ 1975188 h 7458372"/>
              <a:gd name="connsiteX32046" fmla="*/ 7201717 w 10505529"/>
              <a:gd name="connsiteY32046" fmla="*/ 1978785 h 7458372"/>
              <a:gd name="connsiteX32047" fmla="*/ 7198123 w 10505529"/>
              <a:gd name="connsiteY32047" fmla="*/ 1988237 h 7458372"/>
              <a:gd name="connsiteX32048" fmla="*/ 7201717 w 10505529"/>
              <a:gd name="connsiteY32048" fmla="*/ 1997689 h 7458372"/>
              <a:gd name="connsiteX32049" fmla="*/ 7211701 w 10505529"/>
              <a:gd name="connsiteY32049" fmla="*/ 2001146 h 7458372"/>
              <a:gd name="connsiteX32050" fmla="*/ 7217026 w 10505529"/>
              <a:gd name="connsiteY32050" fmla="*/ 2000210 h 7458372"/>
              <a:gd name="connsiteX32051" fmla="*/ 7220752 w 10505529"/>
              <a:gd name="connsiteY32051" fmla="*/ 1997817 h 7458372"/>
              <a:gd name="connsiteX32052" fmla="*/ 7223415 w 10505529"/>
              <a:gd name="connsiteY32052" fmla="*/ 1993688 h 7458372"/>
              <a:gd name="connsiteX32053" fmla="*/ 7224480 w 10505529"/>
              <a:gd name="connsiteY32053" fmla="*/ 1988237 h 7458372"/>
              <a:gd name="connsiteX32054" fmla="*/ 7223415 w 10505529"/>
              <a:gd name="connsiteY32054" fmla="*/ 1983046 h 7458372"/>
              <a:gd name="connsiteX32055" fmla="*/ 7220752 w 10505529"/>
              <a:gd name="connsiteY32055" fmla="*/ 1978785 h 7458372"/>
              <a:gd name="connsiteX32056" fmla="*/ 7216759 w 10505529"/>
              <a:gd name="connsiteY32056" fmla="*/ 1976116 h 7458372"/>
              <a:gd name="connsiteX32057" fmla="*/ 7211701 w 10505529"/>
              <a:gd name="connsiteY32057" fmla="*/ 1975188 h 7458372"/>
              <a:gd name="connsiteX32058" fmla="*/ 6994056 w 10505529"/>
              <a:gd name="connsiteY32058" fmla="*/ 1975188 h 7458372"/>
              <a:gd name="connsiteX32059" fmla="*/ 6984072 w 10505529"/>
              <a:gd name="connsiteY32059" fmla="*/ 1978785 h 7458372"/>
              <a:gd name="connsiteX32060" fmla="*/ 6980478 w 10505529"/>
              <a:gd name="connsiteY32060" fmla="*/ 1988237 h 7458372"/>
              <a:gd name="connsiteX32061" fmla="*/ 6984072 w 10505529"/>
              <a:gd name="connsiteY32061" fmla="*/ 1997689 h 7458372"/>
              <a:gd name="connsiteX32062" fmla="*/ 6994056 w 10505529"/>
              <a:gd name="connsiteY32062" fmla="*/ 2001146 h 7458372"/>
              <a:gd name="connsiteX32063" fmla="*/ 6999380 w 10505529"/>
              <a:gd name="connsiteY32063" fmla="*/ 2000210 h 7458372"/>
              <a:gd name="connsiteX32064" fmla="*/ 7003107 w 10505529"/>
              <a:gd name="connsiteY32064" fmla="*/ 1997817 h 7458372"/>
              <a:gd name="connsiteX32065" fmla="*/ 7005769 w 10505529"/>
              <a:gd name="connsiteY32065" fmla="*/ 1993688 h 7458372"/>
              <a:gd name="connsiteX32066" fmla="*/ 7006834 w 10505529"/>
              <a:gd name="connsiteY32066" fmla="*/ 1988237 h 7458372"/>
              <a:gd name="connsiteX32067" fmla="*/ 7005769 w 10505529"/>
              <a:gd name="connsiteY32067" fmla="*/ 1983046 h 7458372"/>
              <a:gd name="connsiteX32068" fmla="*/ 7003107 w 10505529"/>
              <a:gd name="connsiteY32068" fmla="*/ 1978785 h 7458372"/>
              <a:gd name="connsiteX32069" fmla="*/ 6999113 w 10505529"/>
              <a:gd name="connsiteY32069" fmla="*/ 1976116 h 7458372"/>
              <a:gd name="connsiteX32070" fmla="*/ 6994056 w 10505529"/>
              <a:gd name="connsiteY32070" fmla="*/ 1975188 h 7458372"/>
              <a:gd name="connsiteX32071" fmla="*/ 6776544 w 10505529"/>
              <a:gd name="connsiteY32071" fmla="*/ 1975188 h 7458372"/>
              <a:gd name="connsiteX32072" fmla="*/ 6766560 w 10505529"/>
              <a:gd name="connsiteY32072" fmla="*/ 1978785 h 7458372"/>
              <a:gd name="connsiteX32073" fmla="*/ 6762966 w 10505529"/>
              <a:gd name="connsiteY32073" fmla="*/ 1988237 h 7458372"/>
              <a:gd name="connsiteX32074" fmla="*/ 6766560 w 10505529"/>
              <a:gd name="connsiteY32074" fmla="*/ 1997689 h 7458372"/>
              <a:gd name="connsiteX32075" fmla="*/ 6776544 w 10505529"/>
              <a:gd name="connsiteY32075" fmla="*/ 2001146 h 7458372"/>
              <a:gd name="connsiteX32076" fmla="*/ 6781869 w 10505529"/>
              <a:gd name="connsiteY32076" fmla="*/ 2000210 h 7458372"/>
              <a:gd name="connsiteX32077" fmla="*/ 6785595 w 10505529"/>
              <a:gd name="connsiteY32077" fmla="*/ 1997817 h 7458372"/>
              <a:gd name="connsiteX32078" fmla="*/ 6788258 w 10505529"/>
              <a:gd name="connsiteY32078" fmla="*/ 1993688 h 7458372"/>
              <a:gd name="connsiteX32079" fmla="*/ 6789323 w 10505529"/>
              <a:gd name="connsiteY32079" fmla="*/ 1988237 h 7458372"/>
              <a:gd name="connsiteX32080" fmla="*/ 6788258 w 10505529"/>
              <a:gd name="connsiteY32080" fmla="*/ 1983046 h 7458372"/>
              <a:gd name="connsiteX32081" fmla="*/ 6785595 w 10505529"/>
              <a:gd name="connsiteY32081" fmla="*/ 1978785 h 7458372"/>
              <a:gd name="connsiteX32082" fmla="*/ 6781602 w 10505529"/>
              <a:gd name="connsiteY32082" fmla="*/ 1976116 h 7458372"/>
              <a:gd name="connsiteX32083" fmla="*/ 6776544 w 10505529"/>
              <a:gd name="connsiteY32083" fmla="*/ 1975188 h 7458372"/>
              <a:gd name="connsiteX32084" fmla="*/ 6558899 w 10505529"/>
              <a:gd name="connsiteY32084" fmla="*/ 1975188 h 7458372"/>
              <a:gd name="connsiteX32085" fmla="*/ 6548915 w 10505529"/>
              <a:gd name="connsiteY32085" fmla="*/ 1978785 h 7458372"/>
              <a:gd name="connsiteX32086" fmla="*/ 6545321 w 10505529"/>
              <a:gd name="connsiteY32086" fmla="*/ 1988237 h 7458372"/>
              <a:gd name="connsiteX32087" fmla="*/ 6548915 w 10505529"/>
              <a:gd name="connsiteY32087" fmla="*/ 1997689 h 7458372"/>
              <a:gd name="connsiteX32088" fmla="*/ 6558899 w 10505529"/>
              <a:gd name="connsiteY32088" fmla="*/ 2001146 h 7458372"/>
              <a:gd name="connsiteX32089" fmla="*/ 6564223 w 10505529"/>
              <a:gd name="connsiteY32089" fmla="*/ 2000210 h 7458372"/>
              <a:gd name="connsiteX32090" fmla="*/ 6567950 w 10505529"/>
              <a:gd name="connsiteY32090" fmla="*/ 1997817 h 7458372"/>
              <a:gd name="connsiteX32091" fmla="*/ 6570612 w 10505529"/>
              <a:gd name="connsiteY32091" fmla="*/ 1993688 h 7458372"/>
              <a:gd name="connsiteX32092" fmla="*/ 6571677 w 10505529"/>
              <a:gd name="connsiteY32092" fmla="*/ 1988237 h 7458372"/>
              <a:gd name="connsiteX32093" fmla="*/ 6570612 w 10505529"/>
              <a:gd name="connsiteY32093" fmla="*/ 1983046 h 7458372"/>
              <a:gd name="connsiteX32094" fmla="*/ 6567950 w 10505529"/>
              <a:gd name="connsiteY32094" fmla="*/ 1978785 h 7458372"/>
              <a:gd name="connsiteX32095" fmla="*/ 6563956 w 10505529"/>
              <a:gd name="connsiteY32095" fmla="*/ 1976116 h 7458372"/>
              <a:gd name="connsiteX32096" fmla="*/ 6558899 w 10505529"/>
              <a:gd name="connsiteY32096" fmla="*/ 1975188 h 7458372"/>
              <a:gd name="connsiteX32097" fmla="*/ 6341253 w 10505529"/>
              <a:gd name="connsiteY32097" fmla="*/ 1975188 h 7458372"/>
              <a:gd name="connsiteX32098" fmla="*/ 6331270 w 10505529"/>
              <a:gd name="connsiteY32098" fmla="*/ 1978785 h 7458372"/>
              <a:gd name="connsiteX32099" fmla="*/ 6327675 w 10505529"/>
              <a:gd name="connsiteY32099" fmla="*/ 1988237 h 7458372"/>
              <a:gd name="connsiteX32100" fmla="*/ 6331270 w 10505529"/>
              <a:gd name="connsiteY32100" fmla="*/ 1997689 h 7458372"/>
              <a:gd name="connsiteX32101" fmla="*/ 6341253 w 10505529"/>
              <a:gd name="connsiteY32101" fmla="*/ 2001146 h 7458372"/>
              <a:gd name="connsiteX32102" fmla="*/ 6346578 w 10505529"/>
              <a:gd name="connsiteY32102" fmla="*/ 2000210 h 7458372"/>
              <a:gd name="connsiteX32103" fmla="*/ 6350305 w 10505529"/>
              <a:gd name="connsiteY32103" fmla="*/ 1997817 h 7458372"/>
              <a:gd name="connsiteX32104" fmla="*/ 6352968 w 10505529"/>
              <a:gd name="connsiteY32104" fmla="*/ 1993688 h 7458372"/>
              <a:gd name="connsiteX32105" fmla="*/ 6354033 w 10505529"/>
              <a:gd name="connsiteY32105" fmla="*/ 1988237 h 7458372"/>
              <a:gd name="connsiteX32106" fmla="*/ 6352968 w 10505529"/>
              <a:gd name="connsiteY32106" fmla="*/ 1983046 h 7458372"/>
              <a:gd name="connsiteX32107" fmla="*/ 6350305 w 10505529"/>
              <a:gd name="connsiteY32107" fmla="*/ 1978785 h 7458372"/>
              <a:gd name="connsiteX32108" fmla="*/ 6346312 w 10505529"/>
              <a:gd name="connsiteY32108" fmla="*/ 1976116 h 7458372"/>
              <a:gd name="connsiteX32109" fmla="*/ 6341253 w 10505529"/>
              <a:gd name="connsiteY32109" fmla="*/ 1975188 h 7458372"/>
              <a:gd name="connsiteX32110" fmla="*/ 6123608 w 10505529"/>
              <a:gd name="connsiteY32110" fmla="*/ 1975188 h 7458372"/>
              <a:gd name="connsiteX32111" fmla="*/ 6113624 w 10505529"/>
              <a:gd name="connsiteY32111" fmla="*/ 1978785 h 7458372"/>
              <a:gd name="connsiteX32112" fmla="*/ 6110030 w 10505529"/>
              <a:gd name="connsiteY32112" fmla="*/ 1988237 h 7458372"/>
              <a:gd name="connsiteX32113" fmla="*/ 6113624 w 10505529"/>
              <a:gd name="connsiteY32113" fmla="*/ 1997689 h 7458372"/>
              <a:gd name="connsiteX32114" fmla="*/ 6123608 w 10505529"/>
              <a:gd name="connsiteY32114" fmla="*/ 2001146 h 7458372"/>
              <a:gd name="connsiteX32115" fmla="*/ 6128932 w 10505529"/>
              <a:gd name="connsiteY32115" fmla="*/ 2000210 h 7458372"/>
              <a:gd name="connsiteX32116" fmla="*/ 6132659 w 10505529"/>
              <a:gd name="connsiteY32116" fmla="*/ 1997817 h 7458372"/>
              <a:gd name="connsiteX32117" fmla="*/ 6135322 w 10505529"/>
              <a:gd name="connsiteY32117" fmla="*/ 1993688 h 7458372"/>
              <a:gd name="connsiteX32118" fmla="*/ 6136387 w 10505529"/>
              <a:gd name="connsiteY32118" fmla="*/ 1988237 h 7458372"/>
              <a:gd name="connsiteX32119" fmla="*/ 6135322 w 10505529"/>
              <a:gd name="connsiteY32119" fmla="*/ 1983046 h 7458372"/>
              <a:gd name="connsiteX32120" fmla="*/ 6132659 w 10505529"/>
              <a:gd name="connsiteY32120" fmla="*/ 1978785 h 7458372"/>
              <a:gd name="connsiteX32121" fmla="*/ 6128666 w 10505529"/>
              <a:gd name="connsiteY32121" fmla="*/ 1976116 h 7458372"/>
              <a:gd name="connsiteX32122" fmla="*/ 6123608 w 10505529"/>
              <a:gd name="connsiteY32122" fmla="*/ 1975188 h 7458372"/>
              <a:gd name="connsiteX32123" fmla="*/ 5905963 w 10505529"/>
              <a:gd name="connsiteY32123" fmla="*/ 1975188 h 7458372"/>
              <a:gd name="connsiteX32124" fmla="*/ 5895979 w 10505529"/>
              <a:gd name="connsiteY32124" fmla="*/ 1978785 h 7458372"/>
              <a:gd name="connsiteX32125" fmla="*/ 5892385 w 10505529"/>
              <a:gd name="connsiteY32125" fmla="*/ 1988237 h 7458372"/>
              <a:gd name="connsiteX32126" fmla="*/ 5895979 w 10505529"/>
              <a:gd name="connsiteY32126" fmla="*/ 1997689 h 7458372"/>
              <a:gd name="connsiteX32127" fmla="*/ 5905963 w 10505529"/>
              <a:gd name="connsiteY32127" fmla="*/ 2001146 h 7458372"/>
              <a:gd name="connsiteX32128" fmla="*/ 5911287 w 10505529"/>
              <a:gd name="connsiteY32128" fmla="*/ 2000210 h 7458372"/>
              <a:gd name="connsiteX32129" fmla="*/ 5915014 w 10505529"/>
              <a:gd name="connsiteY32129" fmla="*/ 1997817 h 7458372"/>
              <a:gd name="connsiteX32130" fmla="*/ 5917677 w 10505529"/>
              <a:gd name="connsiteY32130" fmla="*/ 1993688 h 7458372"/>
              <a:gd name="connsiteX32131" fmla="*/ 5918742 w 10505529"/>
              <a:gd name="connsiteY32131" fmla="*/ 1988237 h 7458372"/>
              <a:gd name="connsiteX32132" fmla="*/ 5917677 w 10505529"/>
              <a:gd name="connsiteY32132" fmla="*/ 1983046 h 7458372"/>
              <a:gd name="connsiteX32133" fmla="*/ 5915014 w 10505529"/>
              <a:gd name="connsiteY32133" fmla="*/ 1978785 h 7458372"/>
              <a:gd name="connsiteX32134" fmla="*/ 5911021 w 10505529"/>
              <a:gd name="connsiteY32134" fmla="*/ 1976116 h 7458372"/>
              <a:gd name="connsiteX32135" fmla="*/ 5905963 w 10505529"/>
              <a:gd name="connsiteY32135" fmla="*/ 1975188 h 7458372"/>
              <a:gd name="connsiteX32136" fmla="*/ 5688451 w 10505529"/>
              <a:gd name="connsiteY32136" fmla="*/ 1975188 h 7458372"/>
              <a:gd name="connsiteX32137" fmla="*/ 5678467 w 10505529"/>
              <a:gd name="connsiteY32137" fmla="*/ 1978785 h 7458372"/>
              <a:gd name="connsiteX32138" fmla="*/ 5674873 w 10505529"/>
              <a:gd name="connsiteY32138" fmla="*/ 1988237 h 7458372"/>
              <a:gd name="connsiteX32139" fmla="*/ 5678467 w 10505529"/>
              <a:gd name="connsiteY32139" fmla="*/ 1997689 h 7458372"/>
              <a:gd name="connsiteX32140" fmla="*/ 5688451 w 10505529"/>
              <a:gd name="connsiteY32140" fmla="*/ 2001146 h 7458372"/>
              <a:gd name="connsiteX32141" fmla="*/ 5693775 w 10505529"/>
              <a:gd name="connsiteY32141" fmla="*/ 2000210 h 7458372"/>
              <a:gd name="connsiteX32142" fmla="*/ 5697502 w 10505529"/>
              <a:gd name="connsiteY32142" fmla="*/ 1997817 h 7458372"/>
              <a:gd name="connsiteX32143" fmla="*/ 5700165 w 10505529"/>
              <a:gd name="connsiteY32143" fmla="*/ 1993688 h 7458372"/>
              <a:gd name="connsiteX32144" fmla="*/ 5701230 w 10505529"/>
              <a:gd name="connsiteY32144" fmla="*/ 1988237 h 7458372"/>
              <a:gd name="connsiteX32145" fmla="*/ 5700165 w 10505529"/>
              <a:gd name="connsiteY32145" fmla="*/ 1983046 h 7458372"/>
              <a:gd name="connsiteX32146" fmla="*/ 5697502 w 10505529"/>
              <a:gd name="connsiteY32146" fmla="*/ 1978785 h 7458372"/>
              <a:gd name="connsiteX32147" fmla="*/ 5693509 w 10505529"/>
              <a:gd name="connsiteY32147" fmla="*/ 1976116 h 7458372"/>
              <a:gd name="connsiteX32148" fmla="*/ 5688451 w 10505529"/>
              <a:gd name="connsiteY32148" fmla="*/ 1975188 h 7458372"/>
              <a:gd name="connsiteX32149" fmla="*/ 5470806 w 10505529"/>
              <a:gd name="connsiteY32149" fmla="*/ 1975188 h 7458372"/>
              <a:gd name="connsiteX32150" fmla="*/ 5460822 w 10505529"/>
              <a:gd name="connsiteY32150" fmla="*/ 1978785 h 7458372"/>
              <a:gd name="connsiteX32151" fmla="*/ 5457228 w 10505529"/>
              <a:gd name="connsiteY32151" fmla="*/ 1988237 h 7458372"/>
              <a:gd name="connsiteX32152" fmla="*/ 5460822 w 10505529"/>
              <a:gd name="connsiteY32152" fmla="*/ 1997689 h 7458372"/>
              <a:gd name="connsiteX32153" fmla="*/ 5470806 w 10505529"/>
              <a:gd name="connsiteY32153" fmla="*/ 2001146 h 7458372"/>
              <a:gd name="connsiteX32154" fmla="*/ 5476130 w 10505529"/>
              <a:gd name="connsiteY32154" fmla="*/ 2000210 h 7458372"/>
              <a:gd name="connsiteX32155" fmla="*/ 5479857 w 10505529"/>
              <a:gd name="connsiteY32155" fmla="*/ 1997817 h 7458372"/>
              <a:gd name="connsiteX32156" fmla="*/ 5482520 w 10505529"/>
              <a:gd name="connsiteY32156" fmla="*/ 1993688 h 7458372"/>
              <a:gd name="connsiteX32157" fmla="*/ 5483585 w 10505529"/>
              <a:gd name="connsiteY32157" fmla="*/ 1988237 h 7458372"/>
              <a:gd name="connsiteX32158" fmla="*/ 5482520 w 10505529"/>
              <a:gd name="connsiteY32158" fmla="*/ 1983046 h 7458372"/>
              <a:gd name="connsiteX32159" fmla="*/ 5479857 w 10505529"/>
              <a:gd name="connsiteY32159" fmla="*/ 1978785 h 7458372"/>
              <a:gd name="connsiteX32160" fmla="*/ 5475864 w 10505529"/>
              <a:gd name="connsiteY32160" fmla="*/ 1976116 h 7458372"/>
              <a:gd name="connsiteX32161" fmla="*/ 5470806 w 10505529"/>
              <a:gd name="connsiteY32161" fmla="*/ 1975188 h 7458372"/>
              <a:gd name="connsiteX32162" fmla="*/ 5253160 w 10505529"/>
              <a:gd name="connsiteY32162" fmla="*/ 1975188 h 7458372"/>
              <a:gd name="connsiteX32163" fmla="*/ 5243177 w 10505529"/>
              <a:gd name="connsiteY32163" fmla="*/ 1978785 h 7458372"/>
              <a:gd name="connsiteX32164" fmla="*/ 5239583 w 10505529"/>
              <a:gd name="connsiteY32164" fmla="*/ 1988237 h 7458372"/>
              <a:gd name="connsiteX32165" fmla="*/ 5243177 w 10505529"/>
              <a:gd name="connsiteY32165" fmla="*/ 1997689 h 7458372"/>
              <a:gd name="connsiteX32166" fmla="*/ 5253160 w 10505529"/>
              <a:gd name="connsiteY32166" fmla="*/ 2001146 h 7458372"/>
              <a:gd name="connsiteX32167" fmla="*/ 5258485 w 10505529"/>
              <a:gd name="connsiteY32167" fmla="*/ 2000210 h 7458372"/>
              <a:gd name="connsiteX32168" fmla="*/ 5262212 w 10505529"/>
              <a:gd name="connsiteY32168" fmla="*/ 1997817 h 7458372"/>
              <a:gd name="connsiteX32169" fmla="*/ 5264875 w 10505529"/>
              <a:gd name="connsiteY32169" fmla="*/ 1993688 h 7458372"/>
              <a:gd name="connsiteX32170" fmla="*/ 5265939 w 10505529"/>
              <a:gd name="connsiteY32170" fmla="*/ 1988237 h 7458372"/>
              <a:gd name="connsiteX32171" fmla="*/ 5264875 w 10505529"/>
              <a:gd name="connsiteY32171" fmla="*/ 1983046 h 7458372"/>
              <a:gd name="connsiteX32172" fmla="*/ 5262212 w 10505529"/>
              <a:gd name="connsiteY32172" fmla="*/ 1978785 h 7458372"/>
              <a:gd name="connsiteX32173" fmla="*/ 5258219 w 10505529"/>
              <a:gd name="connsiteY32173" fmla="*/ 1976116 h 7458372"/>
              <a:gd name="connsiteX32174" fmla="*/ 5253160 w 10505529"/>
              <a:gd name="connsiteY32174" fmla="*/ 1975188 h 7458372"/>
              <a:gd name="connsiteX32175" fmla="*/ 5035515 w 10505529"/>
              <a:gd name="connsiteY32175" fmla="*/ 1975188 h 7458372"/>
              <a:gd name="connsiteX32176" fmla="*/ 5025532 w 10505529"/>
              <a:gd name="connsiteY32176" fmla="*/ 1978785 h 7458372"/>
              <a:gd name="connsiteX32177" fmla="*/ 5021938 w 10505529"/>
              <a:gd name="connsiteY32177" fmla="*/ 1988237 h 7458372"/>
              <a:gd name="connsiteX32178" fmla="*/ 5025532 w 10505529"/>
              <a:gd name="connsiteY32178" fmla="*/ 1997689 h 7458372"/>
              <a:gd name="connsiteX32179" fmla="*/ 5035515 w 10505529"/>
              <a:gd name="connsiteY32179" fmla="*/ 2001146 h 7458372"/>
              <a:gd name="connsiteX32180" fmla="*/ 5040840 w 10505529"/>
              <a:gd name="connsiteY32180" fmla="*/ 2000210 h 7458372"/>
              <a:gd name="connsiteX32181" fmla="*/ 5044567 w 10505529"/>
              <a:gd name="connsiteY32181" fmla="*/ 1997817 h 7458372"/>
              <a:gd name="connsiteX32182" fmla="*/ 5047230 w 10505529"/>
              <a:gd name="connsiteY32182" fmla="*/ 1993688 h 7458372"/>
              <a:gd name="connsiteX32183" fmla="*/ 5048294 w 10505529"/>
              <a:gd name="connsiteY32183" fmla="*/ 1988237 h 7458372"/>
              <a:gd name="connsiteX32184" fmla="*/ 5047230 w 10505529"/>
              <a:gd name="connsiteY32184" fmla="*/ 1983046 h 7458372"/>
              <a:gd name="connsiteX32185" fmla="*/ 5044567 w 10505529"/>
              <a:gd name="connsiteY32185" fmla="*/ 1978785 h 7458372"/>
              <a:gd name="connsiteX32186" fmla="*/ 5040574 w 10505529"/>
              <a:gd name="connsiteY32186" fmla="*/ 1976116 h 7458372"/>
              <a:gd name="connsiteX32187" fmla="*/ 5035515 w 10505529"/>
              <a:gd name="connsiteY32187" fmla="*/ 1975188 h 7458372"/>
              <a:gd name="connsiteX32188" fmla="*/ 4817870 w 10505529"/>
              <a:gd name="connsiteY32188" fmla="*/ 1975188 h 7458372"/>
              <a:gd name="connsiteX32189" fmla="*/ 4807887 w 10505529"/>
              <a:gd name="connsiteY32189" fmla="*/ 1978785 h 7458372"/>
              <a:gd name="connsiteX32190" fmla="*/ 4804293 w 10505529"/>
              <a:gd name="connsiteY32190" fmla="*/ 1988237 h 7458372"/>
              <a:gd name="connsiteX32191" fmla="*/ 4807887 w 10505529"/>
              <a:gd name="connsiteY32191" fmla="*/ 1997689 h 7458372"/>
              <a:gd name="connsiteX32192" fmla="*/ 4817870 w 10505529"/>
              <a:gd name="connsiteY32192" fmla="*/ 2001146 h 7458372"/>
              <a:gd name="connsiteX32193" fmla="*/ 4823195 w 10505529"/>
              <a:gd name="connsiteY32193" fmla="*/ 2000210 h 7458372"/>
              <a:gd name="connsiteX32194" fmla="*/ 4826922 w 10505529"/>
              <a:gd name="connsiteY32194" fmla="*/ 1997817 h 7458372"/>
              <a:gd name="connsiteX32195" fmla="*/ 4829585 w 10505529"/>
              <a:gd name="connsiteY32195" fmla="*/ 1993688 h 7458372"/>
              <a:gd name="connsiteX32196" fmla="*/ 4830650 w 10505529"/>
              <a:gd name="connsiteY32196" fmla="*/ 1988237 h 7458372"/>
              <a:gd name="connsiteX32197" fmla="*/ 4829585 w 10505529"/>
              <a:gd name="connsiteY32197" fmla="*/ 1983046 h 7458372"/>
              <a:gd name="connsiteX32198" fmla="*/ 4826922 w 10505529"/>
              <a:gd name="connsiteY32198" fmla="*/ 1978785 h 7458372"/>
              <a:gd name="connsiteX32199" fmla="*/ 4822929 w 10505529"/>
              <a:gd name="connsiteY32199" fmla="*/ 1976116 h 7458372"/>
              <a:gd name="connsiteX32200" fmla="*/ 4817870 w 10505529"/>
              <a:gd name="connsiteY32200" fmla="*/ 1975188 h 7458372"/>
              <a:gd name="connsiteX32201" fmla="*/ 4600226 w 10505529"/>
              <a:gd name="connsiteY32201" fmla="*/ 1975188 h 7458372"/>
              <a:gd name="connsiteX32202" fmla="*/ 4590242 w 10505529"/>
              <a:gd name="connsiteY32202" fmla="*/ 1978785 h 7458372"/>
              <a:gd name="connsiteX32203" fmla="*/ 4586648 w 10505529"/>
              <a:gd name="connsiteY32203" fmla="*/ 1988237 h 7458372"/>
              <a:gd name="connsiteX32204" fmla="*/ 4590242 w 10505529"/>
              <a:gd name="connsiteY32204" fmla="*/ 1997689 h 7458372"/>
              <a:gd name="connsiteX32205" fmla="*/ 4600226 w 10505529"/>
              <a:gd name="connsiteY32205" fmla="*/ 2001146 h 7458372"/>
              <a:gd name="connsiteX32206" fmla="*/ 4605550 w 10505529"/>
              <a:gd name="connsiteY32206" fmla="*/ 2000210 h 7458372"/>
              <a:gd name="connsiteX32207" fmla="*/ 4609277 w 10505529"/>
              <a:gd name="connsiteY32207" fmla="*/ 1997817 h 7458372"/>
              <a:gd name="connsiteX32208" fmla="*/ 4611940 w 10505529"/>
              <a:gd name="connsiteY32208" fmla="*/ 1993688 h 7458372"/>
              <a:gd name="connsiteX32209" fmla="*/ 4613005 w 10505529"/>
              <a:gd name="connsiteY32209" fmla="*/ 1988237 h 7458372"/>
              <a:gd name="connsiteX32210" fmla="*/ 4611940 w 10505529"/>
              <a:gd name="connsiteY32210" fmla="*/ 1983046 h 7458372"/>
              <a:gd name="connsiteX32211" fmla="*/ 4609277 w 10505529"/>
              <a:gd name="connsiteY32211" fmla="*/ 1978785 h 7458372"/>
              <a:gd name="connsiteX32212" fmla="*/ 4605284 w 10505529"/>
              <a:gd name="connsiteY32212" fmla="*/ 1976116 h 7458372"/>
              <a:gd name="connsiteX32213" fmla="*/ 4600226 w 10505529"/>
              <a:gd name="connsiteY32213" fmla="*/ 1975188 h 7458372"/>
              <a:gd name="connsiteX32214" fmla="*/ 4382713 w 10505529"/>
              <a:gd name="connsiteY32214" fmla="*/ 1975188 h 7458372"/>
              <a:gd name="connsiteX32215" fmla="*/ 4372730 w 10505529"/>
              <a:gd name="connsiteY32215" fmla="*/ 1978785 h 7458372"/>
              <a:gd name="connsiteX32216" fmla="*/ 4369136 w 10505529"/>
              <a:gd name="connsiteY32216" fmla="*/ 1988237 h 7458372"/>
              <a:gd name="connsiteX32217" fmla="*/ 4372730 w 10505529"/>
              <a:gd name="connsiteY32217" fmla="*/ 1997689 h 7458372"/>
              <a:gd name="connsiteX32218" fmla="*/ 4382713 w 10505529"/>
              <a:gd name="connsiteY32218" fmla="*/ 2001146 h 7458372"/>
              <a:gd name="connsiteX32219" fmla="*/ 4388038 w 10505529"/>
              <a:gd name="connsiteY32219" fmla="*/ 2000210 h 7458372"/>
              <a:gd name="connsiteX32220" fmla="*/ 4391765 w 10505529"/>
              <a:gd name="connsiteY32220" fmla="*/ 1997817 h 7458372"/>
              <a:gd name="connsiteX32221" fmla="*/ 4394428 w 10505529"/>
              <a:gd name="connsiteY32221" fmla="*/ 1993688 h 7458372"/>
              <a:gd name="connsiteX32222" fmla="*/ 4395493 w 10505529"/>
              <a:gd name="connsiteY32222" fmla="*/ 1988237 h 7458372"/>
              <a:gd name="connsiteX32223" fmla="*/ 4394428 w 10505529"/>
              <a:gd name="connsiteY32223" fmla="*/ 1983046 h 7458372"/>
              <a:gd name="connsiteX32224" fmla="*/ 4391765 w 10505529"/>
              <a:gd name="connsiteY32224" fmla="*/ 1978785 h 7458372"/>
              <a:gd name="connsiteX32225" fmla="*/ 4387772 w 10505529"/>
              <a:gd name="connsiteY32225" fmla="*/ 1976116 h 7458372"/>
              <a:gd name="connsiteX32226" fmla="*/ 4382713 w 10505529"/>
              <a:gd name="connsiteY32226" fmla="*/ 1975188 h 7458372"/>
              <a:gd name="connsiteX32227" fmla="*/ 4165068 w 10505529"/>
              <a:gd name="connsiteY32227" fmla="*/ 1975188 h 7458372"/>
              <a:gd name="connsiteX32228" fmla="*/ 4155084 w 10505529"/>
              <a:gd name="connsiteY32228" fmla="*/ 1978785 h 7458372"/>
              <a:gd name="connsiteX32229" fmla="*/ 4151490 w 10505529"/>
              <a:gd name="connsiteY32229" fmla="*/ 1988237 h 7458372"/>
              <a:gd name="connsiteX32230" fmla="*/ 4155084 w 10505529"/>
              <a:gd name="connsiteY32230" fmla="*/ 1997689 h 7458372"/>
              <a:gd name="connsiteX32231" fmla="*/ 4165068 w 10505529"/>
              <a:gd name="connsiteY32231" fmla="*/ 2001146 h 7458372"/>
              <a:gd name="connsiteX32232" fmla="*/ 4170392 w 10505529"/>
              <a:gd name="connsiteY32232" fmla="*/ 2000210 h 7458372"/>
              <a:gd name="connsiteX32233" fmla="*/ 4174119 w 10505529"/>
              <a:gd name="connsiteY32233" fmla="*/ 1997817 h 7458372"/>
              <a:gd name="connsiteX32234" fmla="*/ 4176782 w 10505529"/>
              <a:gd name="connsiteY32234" fmla="*/ 1993688 h 7458372"/>
              <a:gd name="connsiteX32235" fmla="*/ 4177847 w 10505529"/>
              <a:gd name="connsiteY32235" fmla="*/ 1988237 h 7458372"/>
              <a:gd name="connsiteX32236" fmla="*/ 4176782 w 10505529"/>
              <a:gd name="connsiteY32236" fmla="*/ 1983046 h 7458372"/>
              <a:gd name="connsiteX32237" fmla="*/ 4174119 w 10505529"/>
              <a:gd name="connsiteY32237" fmla="*/ 1978785 h 7458372"/>
              <a:gd name="connsiteX32238" fmla="*/ 4170126 w 10505529"/>
              <a:gd name="connsiteY32238" fmla="*/ 1976116 h 7458372"/>
              <a:gd name="connsiteX32239" fmla="*/ 4165068 w 10505529"/>
              <a:gd name="connsiteY32239" fmla="*/ 1975188 h 7458372"/>
              <a:gd name="connsiteX32240" fmla="*/ 3947535 w 10505529"/>
              <a:gd name="connsiteY32240" fmla="*/ 1975188 h 7458372"/>
              <a:gd name="connsiteX32241" fmla="*/ 3937552 w 10505529"/>
              <a:gd name="connsiteY32241" fmla="*/ 1978785 h 7458372"/>
              <a:gd name="connsiteX32242" fmla="*/ 3933958 w 10505529"/>
              <a:gd name="connsiteY32242" fmla="*/ 1988237 h 7458372"/>
              <a:gd name="connsiteX32243" fmla="*/ 3937552 w 10505529"/>
              <a:gd name="connsiteY32243" fmla="*/ 1997689 h 7458372"/>
              <a:gd name="connsiteX32244" fmla="*/ 3947535 w 10505529"/>
              <a:gd name="connsiteY32244" fmla="*/ 2001146 h 7458372"/>
              <a:gd name="connsiteX32245" fmla="*/ 3952861 w 10505529"/>
              <a:gd name="connsiteY32245" fmla="*/ 2000210 h 7458372"/>
              <a:gd name="connsiteX32246" fmla="*/ 3956588 w 10505529"/>
              <a:gd name="connsiteY32246" fmla="*/ 1997817 h 7458372"/>
              <a:gd name="connsiteX32247" fmla="*/ 3959250 w 10505529"/>
              <a:gd name="connsiteY32247" fmla="*/ 1993688 h 7458372"/>
              <a:gd name="connsiteX32248" fmla="*/ 3960316 w 10505529"/>
              <a:gd name="connsiteY32248" fmla="*/ 1988237 h 7458372"/>
              <a:gd name="connsiteX32249" fmla="*/ 3959250 w 10505529"/>
              <a:gd name="connsiteY32249" fmla="*/ 1983046 h 7458372"/>
              <a:gd name="connsiteX32250" fmla="*/ 3956588 w 10505529"/>
              <a:gd name="connsiteY32250" fmla="*/ 1978785 h 7458372"/>
              <a:gd name="connsiteX32251" fmla="*/ 3952594 w 10505529"/>
              <a:gd name="connsiteY32251" fmla="*/ 1976116 h 7458372"/>
              <a:gd name="connsiteX32252" fmla="*/ 3947535 w 10505529"/>
              <a:gd name="connsiteY32252" fmla="*/ 1975188 h 7458372"/>
              <a:gd name="connsiteX32253" fmla="*/ 3729884 w 10505529"/>
              <a:gd name="connsiteY32253" fmla="*/ 1975188 h 7458372"/>
              <a:gd name="connsiteX32254" fmla="*/ 3719898 w 10505529"/>
              <a:gd name="connsiteY32254" fmla="*/ 1978785 h 7458372"/>
              <a:gd name="connsiteX32255" fmla="*/ 3716306 w 10505529"/>
              <a:gd name="connsiteY32255" fmla="*/ 1988237 h 7458372"/>
              <a:gd name="connsiteX32256" fmla="*/ 3719898 w 10505529"/>
              <a:gd name="connsiteY32256" fmla="*/ 1997689 h 7458372"/>
              <a:gd name="connsiteX32257" fmla="*/ 3729884 w 10505529"/>
              <a:gd name="connsiteY32257" fmla="*/ 2001146 h 7458372"/>
              <a:gd name="connsiteX32258" fmla="*/ 3735209 w 10505529"/>
              <a:gd name="connsiteY32258" fmla="*/ 2000210 h 7458372"/>
              <a:gd name="connsiteX32259" fmla="*/ 3738936 w 10505529"/>
              <a:gd name="connsiteY32259" fmla="*/ 1997817 h 7458372"/>
              <a:gd name="connsiteX32260" fmla="*/ 3741599 w 10505529"/>
              <a:gd name="connsiteY32260" fmla="*/ 1993688 h 7458372"/>
              <a:gd name="connsiteX32261" fmla="*/ 3742664 w 10505529"/>
              <a:gd name="connsiteY32261" fmla="*/ 1988237 h 7458372"/>
              <a:gd name="connsiteX32262" fmla="*/ 3741599 w 10505529"/>
              <a:gd name="connsiteY32262" fmla="*/ 1983046 h 7458372"/>
              <a:gd name="connsiteX32263" fmla="*/ 3738936 w 10505529"/>
              <a:gd name="connsiteY32263" fmla="*/ 1978785 h 7458372"/>
              <a:gd name="connsiteX32264" fmla="*/ 3734944 w 10505529"/>
              <a:gd name="connsiteY32264" fmla="*/ 1976116 h 7458372"/>
              <a:gd name="connsiteX32265" fmla="*/ 3729884 w 10505529"/>
              <a:gd name="connsiteY32265" fmla="*/ 1975188 h 7458372"/>
              <a:gd name="connsiteX32266" fmla="*/ 3512233 w 10505529"/>
              <a:gd name="connsiteY32266" fmla="*/ 1975188 h 7458372"/>
              <a:gd name="connsiteX32267" fmla="*/ 3502248 w 10505529"/>
              <a:gd name="connsiteY32267" fmla="*/ 1978785 h 7458372"/>
              <a:gd name="connsiteX32268" fmla="*/ 3498655 w 10505529"/>
              <a:gd name="connsiteY32268" fmla="*/ 1988237 h 7458372"/>
              <a:gd name="connsiteX32269" fmla="*/ 3502248 w 10505529"/>
              <a:gd name="connsiteY32269" fmla="*/ 1997689 h 7458372"/>
              <a:gd name="connsiteX32270" fmla="*/ 3512233 w 10505529"/>
              <a:gd name="connsiteY32270" fmla="*/ 2001146 h 7458372"/>
              <a:gd name="connsiteX32271" fmla="*/ 3517559 w 10505529"/>
              <a:gd name="connsiteY32271" fmla="*/ 2000210 h 7458372"/>
              <a:gd name="connsiteX32272" fmla="*/ 3521286 w 10505529"/>
              <a:gd name="connsiteY32272" fmla="*/ 1997817 h 7458372"/>
              <a:gd name="connsiteX32273" fmla="*/ 3523949 w 10505529"/>
              <a:gd name="connsiteY32273" fmla="*/ 1993688 h 7458372"/>
              <a:gd name="connsiteX32274" fmla="*/ 3525014 w 10505529"/>
              <a:gd name="connsiteY32274" fmla="*/ 1988237 h 7458372"/>
              <a:gd name="connsiteX32275" fmla="*/ 3523949 w 10505529"/>
              <a:gd name="connsiteY32275" fmla="*/ 1983046 h 7458372"/>
              <a:gd name="connsiteX32276" fmla="*/ 3521286 w 10505529"/>
              <a:gd name="connsiteY32276" fmla="*/ 1978785 h 7458372"/>
              <a:gd name="connsiteX32277" fmla="*/ 3517293 w 10505529"/>
              <a:gd name="connsiteY32277" fmla="*/ 1976116 h 7458372"/>
              <a:gd name="connsiteX32278" fmla="*/ 3512233 w 10505529"/>
              <a:gd name="connsiteY32278" fmla="*/ 1975188 h 7458372"/>
              <a:gd name="connsiteX32279" fmla="*/ 3294716 w 10505529"/>
              <a:gd name="connsiteY32279" fmla="*/ 1975188 h 7458372"/>
              <a:gd name="connsiteX32280" fmla="*/ 3284731 w 10505529"/>
              <a:gd name="connsiteY32280" fmla="*/ 1978785 h 7458372"/>
              <a:gd name="connsiteX32281" fmla="*/ 3281137 w 10505529"/>
              <a:gd name="connsiteY32281" fmla="*/ 1988237 h 7458372"/>
              <a:gd name="connsiteX32282" fmla="*/ 3284731 w 10505529"/>
              <a:gd name="connsiteY32282" fmla="*/ 1997689 h 7458372"/>
              <a:gd name="connsiteX32283" fmla="*/ 3294716 w 10505529"/>
              <a:gd name="connsiteY32283" fmla="*/ 2001146 h 7458372"/>
              <a:gd name="connsiteX32284" fmla="*/ 3300041 w 10505529"/>
              <a:gd name="connsiteY32284" fmla="*/ 2000210 h 7458372"/>
              <a:gd name="connsiteX32285" fmla="*/ 3303768 w 10505529"/>
              <a:gd name="connsiteY32285" fmla="*/ 1997817 h 7458372"/>
              <a:gd name="connsiteX32286" fmla="*/ 3306431 w 10505529"/>
              <a:gd name="connsiteY32286" fmla="*/ 1993688 h 7458372"/>
              <a:gd name="connsiteX32287" fmla="*/ 3307495 w 10505529"/>
              <a:gd name="connsiteY32287" fmla="*/ 1988237 h 7458372"/>
              <a:gd name="connsiteX32288" fmla="*/ 3306431 w 10505529"/>
              <a:gd name="connsiteY32288" fmla="*/ 1983046 h 7458372"/>
              <a:gd name="connsiteX32289" fmla="*/ 3303768 w 10505529"/>
              <a:gd name="connsiteY32289" fmla="*/ 1978785 h 7458372"/>
              <a:gd name="connsiteX32290" fmla="*/ 3299775 w 10505529"/>
              <a:gd name="connsiteY32290" fmla="*/ 1976116 h 7458372"/>
              <a:gd name="connsiteX32291" fmla="*/ 3294716 w 10505529"/>
              <a:gd name="connsiteY32291" fmla="*/ 1975188 h 7458372"/>
              <a:gd name="connsiteX32292" fmla="*/ 3077198 w 10505529"/>
              <a:gd name="connsiteY32292" fmla="*/ 1975188 h 7458372"/>
              <a:gd name="connsiteX32293" fmla="*/ 3067215 w 10505529"/>
              <a:gd name="connsiteY32293" fmla="*/ 1978785 h 7458372"/>
              <a:gd name="connsiteX32294" fmla="*/ 3063486 w 10505529"/>
              <a:gd name="connsiteY32294" fmla="*/ 1988237 h 7458372"/>
              <a:gd name="connsiteX32295" fmla="*/ 3067080 w 10505529"/>
              <a:gd name="connsiteY32295" fmla="*/ 1997689 h 7458372"/>
              <a:gd name="connsiteX32296" fmla="*/ 3077065 w 10505529"/>
              <a:gd name="connsiteY32296" fmla="*/ 2001146 h 7458372"/>
              <a:gd name="connsiteX32297" fmla="*/ 3082523 w 10505529"/>
              <a:gd name="connsiteY32297" fmla="*/ 2000210 h 7458372"/>
              <a:gd name="connsiteX32298" fmla="*/ 3086250 w 10505529"/>
              <a:gd name="connsiteY32298" fmla="*/ 1997817 h 7458372"/>
              <a:gd name="connsiteX32299" fmla="*/ 3088913 w 10505529"/>
              <a:gd name="connsiteY32299" fmla="*/ 1993688 h 7458372"/>
              <a:gd name="connsiteX32300" fmla="*/ 3089845 w 10505529"/>
              <a:gd name="connsiteY32300" fmla="*/ 1988237 h 7458372"/>
              <a:gd name="connsiteX32301" fmla="*/ 3088913 w 10505529"/>
              <a:gd name="connsiteY32301" fmla="*/ 1983046 h 7458372"/>
              <a:gd name="connsiteX32302" fmla="*/ 3086250 w 10505529"/>
              <a:gd name="connsiteY32302" fmla="*/ 1978785 h 7458372"/>
              <a:gd name="connsiteX32303" fmla="*/ 3082257 w 10505529"/>
              <a:gd name="connsiteY32303" fmla="*/ 1976116 h 7458372"/>
              <a:gd name="connsiteX32304" fmla="*/ 3077198 w 10505529"/>
              <a:gd name="connsiteY32304" fmla="*/ 1975188 h 7458372"/>
              <a:gd name="connsiteX32305" fmla="*/ 2859414 w 10505529"/>
              <a:gd name="connsiteY32305" fmla="*/ 1975188 h 7458372"/>
              <a:gd name="connsiteX32306" fmla="*/ 2849430 w 10505529"/>
              <a:gd name="connsiteY32306" fmla="*/ 1978785 h 7458372"/>
              <a:gd name="connsiteX32307" fmla="*/ 2845835 w 10505529"/>
              <a:gd name="connsiteY32307" fmla="*/ 1988237 h 7458372"/>
              <a:gd name="connsiteX32308" fmla="*/ 2849430 w 10505529"/>
              <a:gd name="connsiteY32308" fmla="*/ 1997689 h 7458372"/>
              <a:gd name="connsiteX32309" fmla="*/ 2859414 w 10505529"/>
              <a:gd name="connsiteY32309" fmla="*/ 2001146 h 7458372"/>
              <a:gd name="connsiteX32310" fmla="*/ 2864739 w 10505529"/>
              <a:gd name="connsiteY32310" fmla="*/ 2000210 h 7458372"/>
              <a:gd name="connsiteX32311" fmla="*/ 2868466 w 10505529"/>
              <a:gd name="connsiteY32311" fmla="*/ 1997817 h 7458372"/>
              <a:gd name="connsiteX32312" fmla="*/ 2871129 w 10505529"/>
              <a:gd name="connsiteY32312" fmla="*/ 1993688 h 7458372"/>
              <a:gd name="connsiteX32313" fmla="*/ 2872060 w 10505529"/>
              <a:gd name="connsiteY32313" fmla="*/ 1988237 h 7458372"/>
              <a:gd name="connsiteX32314" fmla="*/ 2871129 w 10505529"/>
              <a:gd name="connsiteY32314" fmla="*/ 1983046 h 7458372"/>
              <a:gd name="connsiteX32315" fmla="*/ 2868466 w 10505529"/>
              <a:gd name="connsiteY32315" fmla="*/ 1978785 h 7458372"/>
              <a:gd name="connsiteX32316" fmla="*/ 2864474 w 10505529"/>
              <a:gd name="connsiteY32316" fmla="*/ 1976116 h 7458372"/>
              <a:gd name="connsiteX32317" fmla="*/ 2859414 w 10505529"/>
              <a:gd name="connsiteY32317" fmla="*/ 1975188 h 7458372"/>
              <a:gd name="connsiteX32318" fmla="*/ 2641763 w 10505529"/>
              <a:gd name="connsiteY32318" fmla="*/ 1975188 h 7458372"/>
              <a:gd name="connsiteX32319" fmla="*/ 2631780 w 10505529"/>
              <a:gd name="connsiteY32319" fmla="*/ 1978785 h 7458372"/>
              <a:gd name="connsiteX32320" fmla="*/ 2628186 w 10505529"/>
              <a:gd name="connsiteY32320" fmla="*/ 1988237 h 7458372"/>
              <a:gd name="connsiteX32321" fmla="*/ 2631780 w 10505529"/>
              <a:gd name="connsiteY32321" fmla="*/ 1997689 h 7458372"/>
              <a:gd name="connsiteX32322" fmla="*/ 2641763 w 10505529"/>
              <a:gd name="connsiteY32322" fmla="*/ 2001146 h 7458372"/>
              <a:gd name="connsiteX32323" fmla="*/ 2647089 w 10505529"/>
              <a:gd name="connsiteY32323" fmla="*/ 2000210 h 7458372"/>
              <a:gd name="connsiteX32324" fmla="*/ 2650816 w 10505529"/>
              <a:gd name="connsiteY32324" fmla="*/ 1997817 h 7458372"/>
              <a:gd name="connsiteX32325" fmla="*/ 2653479 w 10505529"/>
              <a:gd name="connsiteY32325" fmla="*/ 1993688 h 7458372"/>
              <a:gd name="connsiteX32326" fmla="*/ 2654409 w 10505529"/>
              <a:gd name="connsiteY32326" fmla="*/ 1988237 h 7458372"/>
              <a:gd name="connsiteX32327" fmla="*/ 2653479 w 10505529"/>
              <a:gd name="connsiteY32327" fmla="*/ 1983046 h 7458372"/>
              <a:gd name="connsiteX32328" fmla="*/ 2650816 w 10505529"/>
              <a:gd name="connsiteY32328" fmla="*/ 1978785 h 7458372"/>
              <a:gd name="connsiteX32329" fmla="*/ 2646823 w 10505529"/>
              <a:gd name="connsiteY32329" fmla="*/ 1976116 h 7458372"/>
              <a:gd name="connsiteX32330" fmla="*/ 2641763 w 10505529"/>
              <a:gd name="connsiteY32330" fmla="*/ 1975188 h 7458372"/>
              <a:gd name="connsiteX32331" fmla="*/ 2424112 w 10505529"/>
              <a:gd name="connsiteY32331" fmla="*/ 1975188 h 7458372"/>
              <a:gd name="connsiteX32332" fmla="*/ 2414129 w 10505529"/>
              <a:gd name="connsiteY32332" fmla="*/ 1978785 h 7458372"/>
              <a:gd name="connsiteX32333" fmla="*/ 2410535 w 10505529"/>
              <a:gd name="connsiteY32333" fmla="*/ 1988237 h 7458372"/>
              <a:gd name="connsiteX32334" fmla="*/ 2414129 w 10505529"/>
              <a:gd name="connsiteY32334" fmla="*/ 1997689 h 7458372"/>
              <a:gd name="connsiteX32335" fmla="*/ 2424112 w 10505529"/>
              <a:gd name="connsiteY32335" fmla="*/ 2001146 h 7458372"/>
              <a:gd name="connsiteX32336" fmla="*/ 2429438 w 10505529"/>
              <a:gd name="connsiteY32336" fmla="*/ 2000210 h 7458372"/>
              <a:gd name="connsiteX32337" fmla="*/ 2433165 w 10505529"/>
              <a:gd name="connsiteY32337" fmla="*/ 1997817 h 7458372"/>
              <a:gd name="connsiteX32338" fmla="*/ 2435828 w 10505529"/>
              <a:gd name="connsiteY32338" fmla="*/ 1993688 h 7458372"/>
              <a:gd name="connsiteX32339" fmla="*/ 2436759 w 10505529"/>
              <a:gd name="connsiteY32339" fmla="*/ 1988237 h 7458372"/>
              <a:gd name="connsiteX32340" fmla="*/ 2435828 w 10505529"/>
              <a:gd name="connsiteY32340" fmla="*/ 1983046 h 7458372"/>
              <a:gd name="connsiteX32341" fmla="*/ 2433165 w 10505529"/>
              <a:gd name="connsiteY32341" fmla="*/ 1978785 h 7458372"/>
              <a:gd name="connsiteX32342" fmla="*/ 2429172 w 10505529"/>
              <a:gd name="connsiteY32342" fmla="*/ 1976116 h 7458372"/>
              <a:gd name="connsiteX32343" fmla="*/ 2424112 w 10505529"/>
              <a:gd name="connsiteY32343" fmla="*/ 1975188 h 7458372"/>
              <a:gd name="connsiteX32344" fmla="*/ 2206462 w 10505529"/>
              <a:gd name="connsiteY32344" fmla="*/ 1975188 h 7458372"/>
              <a:gd name="connsiteX32345" fmla="*/ 2196478 w 10505529"/>
              <a:gd name="connsiteY32345" fmla="*/ 1978785 h 7458372"/>
              <a:gd name="connsiteX32346" fmla="*/ 2192884 w 10505529"/>
              <a:gd name="connsiteY32346" fmla="*/ 1988237 h 7458372"/>
              <a:gd name="connsiteX32347" fmla="*/ 2196478 w 10505529"/>
              <a:gd name="connsiteY32347" fmla="*/ 1997689 h 7458372"/>
              <a:gd name="connsiteX32348" fmla="*/ 2206462 w 10505529"/>
              <a:gd name="connsiteY32348" fmla="*/ 2001146 h 7458372"/>
              <a:gd name="connsiteX32349" fmla="*/ 2211787 w 10505529"/>
              <a:gd name="connsiteY32349" fmla="*/ 2000210 h 7458372"/>
              <a:gd name="connsiteX32350" fmla="*/ 2215514 w 10505529"/>
              <a:gd name="connsiteY32350" fmla="*/ 1997817 h 7458372"/>
              <a:gd name="connsiteX32351" fmla="*/ 2218177 w 10505529"/>
              <a:gd name="connsiteY32351" fmla="*/ 1993688 h 7458372"/>
              <a:gd name="connsiteX32352" fmla="*/ 2219108 w 10505529"/>
              <a:gd name="connsiteY32352" fmla="*/ 1988237 h 7458372"/>
              <a:gd name="connsiteX32353" fmla="*/ 2218177 w 10505529"/>
              <a:gd name="connsiteY32353" fmla="*/ 1983046 h 7458372"/>
              <a:gd name="connsiteX32354" fmla="*/ 2215514 w 10505529"/>
              <a:gd name="connsiteY32354" fmla="*/ 1978785 h 7458372"/>
              <a:gd name="connsiteX32355" fmla="*/ 2211520 w 10505529"/>
              <a:gd name="connsiteY32355" fmla="*/ 1976116 h 7458372"/>
              <a:gd name="connsiteX32356" fmla="*/ 2206462 w 10505529"/>
              <a:gd name="connsiteY32356" fmla="*/ 1975188 h 7458372"/>
              <a:gd name="connsiteX32357" fmla="*/ 1988944 w 10505529"/>
              <a:gd name="connsiteY32357" fmla="*/ 1975188 h 7458372"/>
              <a:gd name="connsiteX32358" fmla="*/ 1978961 w 10505529"/>
              <a:gd name="connsiteY32358" fmla="*/ 1978785 h 7458372"/>
              <a:gd name="connsiteX32359" fmla="*/ 1975366 w 10505529"/>
              <a:gd name="connsiteY32359" fmla="*/ 1988237 h 7458372"/>
              <a:gd name="connsiteX32360" fmla="*/ 1978961 w 10505529"/>
              <a:gd name="connsiteY32360" fmla="*/ 1997689 h 7458372"/>
              <a:gd name="connsiteX32361" fmla="*/ 1988944 w 10505529"/>
              <a:gd name="connsiteY32361" fmla="*/ 2001146 h 7458372"/>
              <a:gd name="connsiteX32362" fmla="*/ 1994268 w 10505529"/>
              <a:gd name="connsiteY32362" fmla="*/ 2000210 h 7458372"/>
              <a:gd name="connsiteX32363" fmla="*/ 1997996 w 10505529"/>
              <a:gd name="connsiteY32363" fmla="*/ 1997817 h 7458372"/>
              <a:gd name="connsiteX32364" fmla="*/ 2000659 w 10505529"/>
              <a:gd name="connsiteY32364" fmla="*/ 1993688 h 7458372"/>
              <a:gd name="connsiteX32365" fmla="*/ 2001589 w 10505529"/>
              <a:gd name="connsiteY32365" fmla="*/ 1988237 h 7458372"/>
              <a:gd name="connsiteX32366" fmla="*/ 2000659 w 10505529"/>
              <a:gd name="connsiteY32366" fmla="*/ 1983046 h 7458372"/>
              <a:gd name="connsiteX32367" fmla="*/ 1997996 w 10505529"/>
              <a:gd name="connsiteY32367" fmla="*/ 1978785 h 7458372"/>
              <a:gd name="connsiteX32368" fmla="*/ 1994002 w 10505529"/>
              <a:gd name="connsiteY32368" fmla="*/ 1976116 h 7458372"/>
              <a:gd name="connsiteX32369" fmla="*/ 1988944 w 10505529"/>
              <a:gd name="connsiteY32369" fmla="*/ 1975188 h 7458372"/>
              <a:gd name="connsiteX32370" fmla="*/ 1771303 w 10505529"/>
              <a:gd name="connsiteY32370" fmla="*/ 1975188 h 7458372"/>
              <a:gd name="connsiteX32371" fmla="*/ 1761320 w 10505529"/>
              <a:gd name="connsiteY32371" fmla="*/ 1978785 h 7458372"/>
              <a:gd name="connsiteX32372" fmla="*/ 1757726 w 10505529"/>
              <a:gd name="connsiteY32372" fmla="*/ 1988237 h 7458372"/>
              <a:gd name="connsiteX32373" fmla="*/ 1761320 w 10505529"/>
              <a:gd name="connsiteY32373" fmla="*/ 1997689 h 7458372"/>
              <a:gd name="connsiteX32374" fmla="*/ 1771303 w 10505529"/>
              <a:gd name="connsiteY32374" fmla="*/ 2001146 h 7458372"/>
              <a:gd name="connsiteX32375" fmla="*/ 1776628 w 10505529"/>
              <a:gd name="connsiteY32375" fmla="*/ 2000210 h 7458372"/>
              <a:gd name="connsiteX32376" fmla="*/ 1780355 w 10505529"/>
              <a:gd name="connsiteY32376" fmla="*/ 1997817 h 7458372"/>
              <a:gd name="connsiteX32377" fmla="*/ 1783018 w 10505529"/>
              <a:gd name="connsiteY32377" fmla="*/ 1993688 h 7458372"/>
              <a:gd name="connsiteX32378" fmla="*/ 1784082 w 10505529"/>
              <a:gd name="connsiteY32378" fmla="*/ 1988237 h 7458372"/>
              <a:gd name="connsiteX32379" fmla="*/ 1783018 w 10505529"/>
              <a:gd name="connsiteY32379" fmla="*/ 1983046 h 7458372"/>
              <a:gd name="connsiteX32380" fmla="*/ 1780355 w 10505529"/>
              <a:gd name="connsiteY32380" fmla="*/ 1978785 h 7458372"/>
              <a:gd name="connsiteX32381" fmla="*/ 1776362 w 10505529"/>
              <a:gd name="connsiteY32381" fmla="*/ 1976116 h 7458372"/>
              <a:gd name="connsiteX32382" fmla="*/ 1771303 w 10505529"/>
              <a:gd name="connsiteY32382" fmla="*/ 1975188 h 7458372"/>
              <a:gd name="connsiteX32383" fmla="*/ 1553661 w 10505529"/>
              <a:gd name="connsiteY32383" fmla="*/ 1975188 h 7458372"/>
              <a:gd name="connsiteX32384" fmla="*/ 1543677 w 10505529"/>
              <a:gd name="connsiteY32384" fmla="*/ 1978785 h 7458372"/>
              <a:gd name="connsiteX32385" fmla="*/ 1540083 w 10505529"/>
              <a:gd name="connsiteY32385" fmla="*/ 1988237 h 7458372"/>
              <a:gd name="connsiteX32386" fmla="*/ 1543677 w 10505529"/>
              <a:gd name="connsiteY32386" fmla="*/ 1997689 h 7458372"/>
              <a:gd name="connsiteX32387" fmla="*/ 1553661 w 10505529"/>
              <a:gd name="connsiteY32387" fmla="*/ 2001146 h 7458372"/>
              <a:gd name="connsiteX32388" fmla="*/ 1558985 w 10505529"/>
              <a:gd name="connsiteY32388" fmla="*/ 2000210 h 7458372"/>
              <a:gd name="connsiteX32389" fmla="*/ 1562712 w 10505529"/>
              <a:gd name="connsiteY32389" fmla="*/ 1997817 h 7458372"/>
              <a:gd name="connsiteX32390" fmla="*/ 1565375 w 10505529"/>
              <a:gd name="connsiteY32390" fmla="*/ 1993688 h 7458372"/>
              <a:gd name="connsiteX32391" fmla="*/ 1566440 w 10505529"/>
              <a:gd name="connsiteY32391" fmla="*/ 1988237 h 7458372"/>
              <a:gd name="connsiteX32392" fmla="*/ 1565375 w 10505529"/>
              <a:gd name="connsiteY32392" fmla="*/ 1983046 h 7458372"/>
              <a:gd name="connsiteX32393" fmla="*/ 1562712 w 10505529"/>
              <a:gd name="connsiteY32393" fmla="*/ 1978785 h 7458372"/>
              <a:gd name="connsiteX32394" fmla="*/ 1558719 w 10505529"/>
              <a:gd name="connsiteY32394" fmla="*/ 1976116 h 7458372"/>
              <a:gd name="connsiteX32395" fmla="*/ 1553661 w 10505529"/>
              <a:gd name="connsiteY32395" fmla="*/ 1975188 h 7458372"/>
              <a:gd name="connsiteX32396" fmla="*/ 1336016 w 10505529"/>
              <a:gd name="connsiteY32396" fmla="*/ 1975188 h 7458372"/>
              <a:gd name="connsiteX32397" fmla="*/ 1326033 w 10505529"/>
              <a:gd name="connsiteY32397" fmla="*/ 1978785 h 7458372"/>
              <a:gd name="connsiteX32398" fmla="*/ 1322438 w 10505529"/>
              <a:gd name="connsiteY32398" fmla="*/ 1988237 h 7458372"/>
              <a:gd name="connsiteX32399" fmla="*/ 1326033 w 10505529"/>
              <a:gd name="connsiteY32399" fmla="*/ 1997689 h 7458372"/>
              <a:gd name="connsiteX32400" fmla="*/ 1336016 w 10505529"/>
              <a:gd name="connsiteY32400" fmla="*/ 2001146 h 7458372"/>
              <a:gd name="connsiteX32401" fmla="*/ 1341342 w 10505529"/>
              <a:gd name="connsiteY32401" fmla="*/ 2000210 h 7458372"/>
              <a:gd name="connsiteX32402" fmla="*/ 1345069 w 10505529"/>
              <a:gd name="connsiteY32402" fmla="*/ 1997817 h 7458372"/>
              <a:gd name="connsiteX32403" fmla="*/ 1347731 w 10505529"/>
              <a:gd name="connsiteY32403" fmla="*/ 1993688 h 7458372"/>
              <a:gd name="connsiteX32404" fmla="*/ 1348797 w 10505529"/>
              <a:gd name="connsiteY32404" fmla="*/ 1988237 h 7458372"/>
              <a:gd name="connsiteX32405" fmla="*/ 1347731 w 10505529"/>
              <a:gd name="connsiteY32405" fmla="*/ 1983046 h 7458372"/>
              <a:gd name="connsiteX32406" fmla="*/ 1345069 w 10505529"/>
              <a:gd name="connsiteY32406" fmla="*/ 1978785 h 7458372"/>
              <a:gd name="connsiteX32407" fmla="*/ 1341075 w 10505529"/>
              <a:gd name="connsiteY32407" fmla="*/ 1976116 h 7458372"/>
              <a:gd name="connsiteX32408" fmla="*/ 1336016 w 10505529"/>
              <a:gd name="connsiteY32408" fmla="*/ 1975188 h 7458372"/>
              <a:gd name="connsiteX32409" fmla="*/ 1118504 w 10505529"/>
              <a:gd name="connsiteY32409" fmla="*/ 1975188 h 7458372"/>
              <a:gd name="connsiteX32410" fmla="*/ 1108520 w 10505529"/>
              <a:gd name="connsiteY32410" fmla="*/ 1978785 h 7458372"/>
              <a:gd name="connsiteX32411" fmla="*/ 1104793 w 10505529"/>
              <a:gd name="connsiteY32411" fmla="*/ 1988237 h 7458372"/>
              <a:gd name="connsiteX32412" fmla="*/ 1108387 w 10505529"/>
              <a:gd name="connsiteY32412" fmla="*/ 1997689 h 7458372"/>
              <a:gd name="connsiteX32413" fmla="*/ 1118371 w 10505529"/>
              <a:gd name="connsiteY32413" fmla="*/ 2001146 h 7458372"/>
              <a:gd name="connsiteX32414" fmla="*/ 1123829 w 10505529"/>
              <a:gd name="connsiteY32414" fmla="*/ 2000210 h 7458372"/>
              <a:gd name="connsiteX32415" fmla="*/ 1127556 w 10505529"/>
              <a:gd name="connsiteY32415" fmla="*/ 1997817 h 7458372"/>
              <a:gd name="connsiteX32416" fmla="*/ 1130220 w 10505529"/>
              <a:gd name="connsiteY32416" fmla="*/ 1993688 h 7458372"/>
              <a:gd name="connsiteX32417" fmla="*/ 1131285 w 10505529"/>
              <a:gd name="connsiteY32417" fmla="*/ 1988237 h 7458372"/>
              <a:gd name="connsiteX32418" fmla="*/ 1130220 w 10505529"/>
              <a:gd name="connsiteY32418" fmla="*/ 1983046 h 7458372"/>
              <a:gd name="connsiteX32419" fmla="*/ 1127556 w 10505529"/>
              <a:gd name="connsiteY32419" fmla="*/ 1978785 h 7458372"/>
              <a:gd name="connsiteX32420" fmla="*/ 1123562 w 10505529"/>
              <a:gd name="connsiteY32420" fmla="*/ 1976116 h 7458372"/>
              <a:gd name="connsiteX32421" fmla="*/ 1118504 w 10505529"/>
              <a:gd name="connsiteY32421" fmla="*/ 1975188 h 7458372"/>
              <a:gd name="connsiteX32422" fmla="*/ 900993 w 10505529"/>
              <a:gd name="connsiteY32422" fmla="*/ 1975188 h 7458372"/>
              <a:gd name="connsiteX32423" fmla="*/ 891008 w 10505529"/>
              <a:gd name="connsiteY32423" fmla="*/ 1978785 h 7458372"/>
              <a:gd name="connsiteX32424" fmla="*/ 887282 w 10505529"/>
              <a:gd name="connsiteY32424" fmla="*/ 1988237 h 7458372"/>
              <a:gd name="connsiteX32425" fmla="*/ 890876 w 10505529"/>
              <a:gd name="connsiteY32425" fmla="*/ 1997689 h 7458372"/>
              <a:gd name="connsiteX32426" fmla="*/ 900859 w 10505529"/>
              <a:gd name="connsiteY32426" fmla="*/ 2001146 h 7458372"/>
              <a:gd name="connsiteX32427" fmla="*/ 906317 w 10505529"/>
              <a:gd name="connsiteY32427" fmla="*/ 2000210 h 7458372"/>
              <a:gd name="connsiteX32428" fmla="*/ 910045 w 10505529"/>
              <a:gd name="connsiteY32428" fmla="*/ 1997817 h 7458372"/>
              <a:gd name="connsiteX32429" fmla="*/ 912707 w 10505529"/>
              <a:gd name="connsiteY32429" fmla="*/ 1993688 h 7458372"/>
              <a:gd name="connsiteX32430" fmla="*/ 913772 w 10505529"/>
              <a:gd name="connsiteY32430" fmla="*/ 1988237 h 7458372"/>
              <a:gd name="connsiteX32431" fmla="*/ 912707 w 10505529"/>
              <a:gd name="connsiteY32431" fmla="*/ 1983046 h 7458372"/>
              <a:gd name="connsiteX32432" fmla="*/ 910045 w 10505529"/>
              <a:gd name="connsiteY32432" fmla="*/ 1978785 h 7458372"/>
              <a:gd name="connsiteX32433" fmla="*/ 906051 w 10505529"/>
              <a:gd name="connsiteY32433" fmla="*/ 1976116 h 7458372"/>
              <a:gd name="connsiteX32434" fmla="*/ 900993 w 10505529"/>
              <a:gd name="connsiteY32434" fmla="*/ 1975188 h 7458372"/>
              <a:gd name="connsiteX32435" fmla="*/ 683215 w 10505529"/>
              <a:gd name="connsiteY32435" fmla="*/ 1975188 h 7458372"/>
              <a:gd name="connsiteX32436" fmla="*/ 673232 w 10505529"/>
              <a:gd name="connsiteY32436" fmla="*/ 1978785 h 7458372"/>
              <a:gd name="connsiteX32437" fmla="*/ 669638 w 10505529"/>
              <a:gd name="connsiteY32437" fmla="*/ 1988237 h 7458372"/>
              <a:gd name="connsiteX32438" fmla="*/ 673232 w 10505529"/>
              <a:gd name="connsiteY32438" fmla="*/ 1997689 h 7458372"/>
              <a:gd name="connsiteX32439" fmla="*/ 683215 w 10505529"/>
              <a:gd name="connsiteY32439" fmla="*/ 2001146 h 7458372"/>
              <a:gd name="connsiteX32440" fmla="*/ 688541 w 10505529"/>
              <a:gd name="connsiteY32440" fmla="*/ 2000210 h 7458372"/>
              <a:gd name="connsiteX32441" fmla="*/ 692268 w 10505529"/>
              <a:gd name="connsiteY32441" fmla="*/ 1997817 h 7458372"/>
              <a:gd name="connsiteX32442" fmla="*/ 694931 w 10505529"/>
              <a:gd name="connsiteY32442" fmla="*/ 1993688 h 7458372"/>
              <a:gd name="connsiteX32443" fmla="*/ 695996 w 10505529"/>
              <a:gd name="connsiteY32443" fmla="*/ 1988237 h 7458372"/>
              <a:gd name="connsiteX32444" fmla="*/ 694931 w 10505529"/>
              <a:gd name="connsiteY32444" fmla="*/ 1983046 h 7458372"/>
              <a:gd name="connsiteX32445" fmla="*/ 692268 w 10505529"/>
              <a:gd name="connsiteY32445" fmla="*/ 1978785 h 7458372"/>
              <a:gd name="connsiteX32446" fmla="*/ 688275 w 10505529"/>
              <a:gd name="connsiteY32446" fmla="*/ 1976116 h 7458372"/>
              <a:gd name="connsiteX32447" fmla="*/ 683215 w 10505529"/>
              <a:gd name="connsiteY32447" fmla="*/ 1975188 h 7458372"/>
              <a:gd name="connsiteX32448" fmla="*/ 465572 w 10505529"/>
              <a:gd name="connsiteY32448" fmla="*/ 1975188 h 7458372"/>
              <a:gd name="connsiteX32449" fmla="*/ 455589 w 10505529"/>
              <a:gd name="connsiteY32449" fmla="*/ 1978785 h 7458372"/>
              <a:gd name="connsiteX32450" fmla="*/ 451995 w 10505529"/>
              <a:gd name="connsiteY32450" fmla="*/ 1988237 h 7458372"/>
              <a:gd name="connsiteX32451" fmla="*/ 455589 w 10505529"/>
              <a:gd name="connsiteY32451" fmla="*/ 1997689 h 7458372"/>
              <a:gd name="connsiteX32452" fmla="*/ 465572 w 10505529"/>
              <a:gd name="connsiteY32452" fmla="*/ 2001146 h 7458372"/>
              <a:gd name="connsiteX32453" fmla="*/ 470897 w 10505529"/>
              <a:gd name="connsiteY32453" fmla="*/ 2000210 h 7458372"/>
              <a:gd name="connsiteX32454" fmla="*/ 474624 w 10505529"/>
              <a:gd name="connsiteY32454" fmla="*/ 1997817 h 7458372"/>
              <a:gd name="connsiteX32455" fmla="*/ 477287 w 10505529"/>
              <a:gd name="connsiteY32455" fmla="*/ 1993688 h 7458372"/>
              <a:gd name="connsiteX32456" fmla="*/ 478352 w 10505529"/>
              <a:gd name="connsiteY32456" fmla="*/ 1988237 h 7458372"/>
              <a:gd name="connsiteX32457" fmla="*/ 477287 w 10505529"/>
              <a:gd name="connsiteY32457" fmla="*/ 1983046 h 7458372"/>
              <a:gd name="connsiteX32458" fmla="*/ 474624 w 10505529"/>
              <a:gd name="connsiteY32458" fmla="*/ 1978785 h 7458372"/>
              <a:gd name="connsiteX32459" fmla="*/ 470631 w 10505529"/>
              <a:gd name="connsiteY32459" fmla="*/ 1976116 h 7458372"/>
              <a:gd name="connsiteX32460" fmla="*/ 465572 w 10505529"/>
              <a:gd name="connsiteY32460" fmla="*/ 1975188 h 7458372"/>
              <a:gd name="connsiteX32461" fmla="*/ 247928 w 10505529"/>
              <a:gd name="connsiteY32461" fmla="*/ 1975188 h 7458372"/>
              <a:gd name="connsiteX32462" fmla="*/ 237945 w 10505529"/>
              <a:gd name="connsiteY32462" fmla="*/ 1978785 h 7458372"/>
              <a:gd name="connsiteX32463" fmla="*/ 234352 w 10505529"/>
              <a:gd name="connsiteY32463" fmla="*/ 1988237 h 7458372"/>
              <a:gd name="connsiteX32464" fmla="*/ 237945 w 10505529"/>
              <a:gd name="connsiteY32464" fmla="*/ 1997689 h 7458372"/>
              <a:gd name="connsiteX32465" fmla="*/ 247928 w 10505529"/>
              <a:gd name="connsiteY32465" fmla="*/ 2001146 h 7458372"/>
              <a:gd name="connsiteX32466" fmla="*/ 253253 w 10505529"/>
              <a:gd name="connsiteY32466" fmla="*/ 2000210 h 7458372"/>
              <a:gd name="connsiteX32467" fmla="*/ 256980 w 10505529"/>
              <a:gd name="connsiteY32467" fmla="*/ 1997817 h 7458372"/>
              <a:gd name="connsiteX32468" fmla="*/ 259643 w 10505529"/>
              <a:gd name="connsiteY32468" fmla="*/ 1993688 h 7458372"/>
              <a:gd name="connsiteX32469" fmla="*/ 260708 w 10505529"/>
              <a:gd name="connsiteY32469" fmla="*/ 1988237 h 7458372"/>
              <a:gd name="connsiteX32470" fmla="*/ 259643 w 10505529"/>
              <a:gd name="connsiteY32470" fmla="*/ 1983046 h 7458372"/>
              <a:gd name="connsiteX32471" fmla="*/ 256980 w 10505529"/>
              <a:gd name="connsiteY32471" fmla="*/ 1978785 h 7458372"/>
              <a:gd name="connsiteX32472" fmla="*/ 252987 w 10505529"/>
              <a:gd name="connsiteY32472" fmla="*/ 1976116 h 7458372"/>
              <a:gd name="connsiteX32473" fmla="*/ 247928 w 10505529"/>
              <a:gd name="connsiteY32473" fmla="*/ 1975188 h 7458372"/>
              <a:gd name="connsiteX32474" fmla="*/ 30285 w 10505529"/>
              <a:gd name="connsiteY32474" fmla="*/ 1975188 h 7458372"/>
              <a:gd name="connsiteX32475" fmla="*/ 20302 w 10505529"/>
              <a:gd name="connsiteY32475" fmla="*/ 1978785 h 7458372"/>
              <a:gd name="connsiteX32476" fmla="*/ 16708 w 10505529"/>
              <a:gd name="connsiteY32476" fmla="*/ 1988237 h 7458372"/>
              <a:gd name="connsiteX32477" fmla="*/ 20302 w 10505529"/>
              <a:gd name="connsiteY32477" fmla="*/ 1997689 h 7458372"/>
              <a:gd name="connsiteX32478" fmla="*/ 30285 w 10505529"/>
              <a:gd name="connsiteY32478" fmla="*/ 2001146 h 7458372"/>
              <a:gd name="connsiteX32479" fmla="*/ 35610 w 10505529"/>
              <a:gd name="connsiteY32479" fmla="*/ 2000210 h 7458372"/>
              <a:gd name="connsiteX32480" fmla="*/ 39337 w 10505529"/>
              <a:gd name="connsiteY32480" fmla="*/ 1997817 h 7458372"/>
              <a:gd name="connsiteX32481" fmla="*/ 42000 w 10505529"/>
              <a:gd name="connsiteY32481" fmla="*/ 1993688 h 7458372"/>
              <a:gd name="connsiteX32482" fmla="*/ 42931 w 10505529"/>
              <a:gd name="connsiteY32482" fmla="*/ 1988237 h 7458372"/>
              <a:gd name="connsiteX32483" fmla="*/ 42000 w 10505529"/>
              <a:gd name="connsiteY32483" fmla="*/ 1983046 h 7458372"/>
              <a:gd name="connsiteX32484" fmla="*/ 39337 w 10505529"/>
              <a:gd name="connsiteY32484" fmla="*/ 1978785 h 7458372"/>
              <a:gd name="connsiteX32485" fmla="*/ 35344 w 10505529"/>
              <a:gd name="connsiteY32485" fmla="*/ 1976116 h 7458372"/>
              <a:gd name="connsiteX32486" fmla="*/ 30285 w 10505529"/>
              <a:gd name="connsiteY32486" fmla="*/ 1975188 h 7458372"/>
              <a:gd name="connsiteX32487" fmla="*/ 10040820 w 10505529"/>
              <a:gd name="connsiteY32487" fmla="*/ 1958553 h 7458372"/>
              <a:gd name="connsiteX32488" fmla="*/ 10052534 w 10505529"/>
              <a:gd name="connsiteY32488" fmla="*/ 1961216 h 7458372"/>
              <a:gd name="connsiteX32489" fmla="*/ 10061852 w 10505529"/>
              <a:gd name="connsiteY32489" fmla="*/ 1967605 h 7458372"/>
              <a:gd name="connsiteX32490" fmla="*/ 10067976 w 10505529"/>
              <a:gd name="connsiteY32490" fmla="*/ 1976921 h 7458372"/>
              <a:gd name="connsiteX32491" fmla="*/ 10070239 w 10505529"/>
              <a:gd name="connsiteY32491" fmla="*/ 1988365 h 7458372"/>
              <a:gd name="connsiteX32492" fmla="*/ 10067976 w 10505529"/>
              <a:gd name="connsiteY32492" fmla="*/ 2000077 h 7458372"/>
              <a:gd name="connsiteX32493" fmla="*/ 10061852 w 10505529"/>
              <a:gd name="connsiteY32493" fmla="*/ 2009402 h 7458372"/>
              <a:gd name="connsiteX32494" fmla="*/ 10052534 w 10505529"/>
              <a:gd name="connsiteY32494" fmla="*/ 2015653 h 7458372"/>
              <a:gd name="connsiteX32495" fmla="*/ 10040820 w 10505529"/>
              <a:gd name="connsiteY32495" fmla="*/ 2017922 h 7458372"/>
              <a:gd name="connsiteX32496" fmla="*/ 10018988 w 10505529"/>
              <a:gd name="connsiteY32496" fmla="*/ 2009402 h 7458372"/>
              <a:gd name="connsiteX32497" fmla="*/ 10010602 w 10505529"/>
              <a:gd name="connsiteY32497" fmla="*/ 1988237 h 7458372"/>
              <a:gd name="connsiteX32498" fmla="*/ 10018988 w 10505529"/>
              <a:gd name="connsiteY32498" fmla="*/ 1967203 h 7458372"/>
              <a:gd name="connsiteX32499" fmla="*/ 10040820 w 10505529"/>
              <a:gd name="connsiteY32499" fmla="*/ 1958553 h 7458372"/>
              <a:gd name="connsiteX32500" fmla="*/ 9823176 w 10505529"/>
              <a:gd name="connsiteY32500" fmla="*/ 1958553 h 7458372"/>
              <a:gd name="connsiteX32501" fmla="*/ 9834890 w 10505529"/>
              <a:gd name="connsiteY32501" fmla="*/ 1961216 h 7458372"/>
              <a:gd name="connsiteX32502" fmla="*/ 9844208 w 10505529"/>
              <a:gd name="connsiteY32502" fmla="*/ 1967605 h 7458372"/>
              <a:gd name="connsiteX32503" fmla="*/ 9850331 w 10505529"/>
              <a:gd name="connsiteY32503" fmla="*/ 1976921 h 7458372"/>
              <a:gd name="connsiteX32504" fmla="*/ 9852595 w 10505529"/>
              <a:gd name="connsiteY32504" fmla="*/ 1988365 h 7458372"/>
              <a:gd name="connsiteX32505" fmla="*/ 9850331 w 10505529"/>
              <a:gd name="connsiteY32505" fmla="*/ 2000077 h 7458372"/>
              <a:gd name="connsiteX32506" fmla="*/ 9844208 w 10505529"/>
              <a:gd name="connsiteY32506" fmla="*/ 2009402 h 7458372"/>
              <a:gd name="connsiteX32507" fmla="*/ 9834890 w 10505529"/>
              <a:gd name="connsiteY32507" fmla="*/ 2015653 h 7458372"/>
              <a:gd name="connsiteX32508" fmla="*/ 9823176 w 10505529"/>
              <a:gd name="connsiteY32508" fmla="*/ 2017922 h 7458372"/>
              <a:gd name="connsiteX32509" fmla="*/ 9801343 w 10505529"/>
              <a:gd name="connsiteY32509" fmla="*/ 2009402 h 7458372"/>
              <a:gd name="connsiteX32510" fmla="*/ 9792957 w 10505529"/>
              <a:gd name="connsiteY32510" fmla="*/ 1988237 h 7458372"/>
              <a:gd name="connsiteX32511" fmla="*/ 9801343 w 10505529"/>
              <a:gd name="connsiteY32511" fmla="*/ 1967203 h 7458372"/>
              <a:gd name="connsiteX32512" fmla="*/ 9823176 w 10505529"/>
              <a:gd name="connsiteY32512" fmla="*/ 1958553 h 7458372"/>
              <a:gd name="connsiteX32513" fmla="*/ 9605531 w 10505529"/>
              <a:gd name="connsiteY32513" fmla="*/ 1958553 h 7458372"/>
              <a:gd name="connsiteX32514" fmla="*/ 9617245 w 10505529"/>
              <a:gd name="connsiteY32514" fmla="*/ 1961216 h 7458372"/>
              <a:gd name="connsiteX32515" fmla="*/ 9626562 w 10505529"/>
              <a:gd name="connsiteY32515" fmla="*/ 1967605 h 7458372"/>
              <a:gd name="connsiteX32516" fmla="*/ 9632686 w 10505529"/>
              <a:gd name="connsiteY32516" fmla="*/ 1976921 h 7458372"/>
              <a:gd name="connsiteX32517" fmla="*/ 9634949 w 10505529"/>
              <a:gd name="connsiteY32517" fmla="*/ 1988365 h 7458372"/>
              <a:gd name="connsiteX32518" fmla="*/ 9632686 w 10505529"/>
              <a:gd name="connsiteY32518" fmla="*/ 2000077 h 7458372"/>
              <a:gd name="connsiteX32519" fmla="*/ 9626562 w 10505529"/>
              <a:gd name="connsiteY32519" fmla="*/ 2009402 h 7458372"/>
              <a:gd name="connsiteX32520" fmla="*/ 9617245 w 10505529"/>
              <a:gd name="connsiteY32520" fmla="*/ 2015653 h 7458372"/>
              <a:gd name="connsiteX32521" fmla="*/ 9605531 w 10505529"/>
              <a:gd name="connsiteY32521" fmla="*/ 2017922 h 7458372"/>
              <a:gd name="connsiteX32522" fmla="*/ 9583698 w 10505529"/>
              <a:gd name="connsiteY32522" fmla="*/ 2009402 h 7458372"/>
              <a:gd name="connsiteX32523" fmla="*/ 9575312 w 10505529"/>
              <a:gd name="connsiteY32523" fmla="*/ 1988237 h 7458372"/>
              <a:gd name="connsiteX32524" fmla="*/ 9583698 w 10505529"/>
              <a:gd name="connsiteY32524" fmla="*/ 1967203 h 7458372"/>
              <a:gd name="connsiteX32525" fmla="*/ 9605531 w 10505529"/>
              <a:gd name="connsiteY32525" fmla="*/ 1958553 h 7458372"/>
              <a:gd name="connsiteX32526" fmla="*/ 9387885 w 10505529"/>
              <a:gd name="connsiteY32526" fmla="*/ 1958553 h 7458372"/>
              <a:gd name="connsiteX32527" fmla="*/ 9399599 w 10505529"/>
              <a:gd name="connsiteY32527" fmla="*/ 1961216 h 7458372"/>
              <a:gd name="connsiteX32528" fmla="*/ 9408917 w 10505529"/>
              <a:gd name="connsiteY32528" fmla="*/ 1967605 h 7458372"/>
              <a:gd name="connsiteX32529" fmla="*/ 9415041 w 10505529"/>
              <a:gd name="connsiteY32529" fmla="*/ 1976921 h 7458372"/>
              <a:gd name="connsiteX32530" fmla="*/ 9417304 w 10505529"/>
              <a:gd name="connsiteY32530" fmla="*/ 1988367 h 7458372"/>
              <a:gd name="connsiteX32531" fmla="*/ 9415041 w 10505529"/>
              <a:gd name="connsiteY32531" fmla="*/ 2000077 h 7458372"/>
              <a:gd name="connsiteX32532" fmla="*/ 9408917 w 10505529"/>
              <a:gd name="connsiteY32532" fmla="*/ 2009402 h 7458372"/>
              <a:gd name="connsiteX32533" fmla="*/ 9399599 w 10505529"/>
              <a:gd name="connsiteY32533" fmla="*/ 2015653 h 7458372"/>
              <a:gd name="connsiteX32534" fmla="*/ 9387885 w 10505529"/>
              <a:gd name="connsiteY32534" fmla="*/ 2017922 h 7458372"/>
              <a:gd name="connsiteX32535" fmla="*/ 9366053 w 10505529"/>
              <a:gd name="connsiteY32535" fmla="*/ 2009402 h 7458372"/>
              <a:gd name="connsiteX32536" fmla="*/ 9357667 w 10505529"/>
              <a:gd name="connsiteY32536" fmla="*/ 1988237 h 7458372"/>
              <a:gd name="connsiteX32537" fmla="*/ 9366053 w 10505529"/>
              <a:gd name="connsiteY32537" fmla="*/ 1967203 h 7458372"/>
              <a:gd name="connsiteX32538" fmla="*/ 9387885 w 10505529"/>
              <a:gd name="connsiteY32538" fmla="*/ 1958553 h 7458372"/>
              <a:gd name="connsiteX32539" fmla="*/ 9170374 w 10505529"/>
              <a:gd name="connsiteY32539" fmla="*/ 1958553 h 7458372"/>
              <a:gd name="connsiteX32540" fmla="*/ 9182088 w 10505529"/>
              <a:gd name="connsiteY32540" fmla="*/ 1961216 h 7458372"/>
              <a:gd name="connsiteX32541" fmla="*/ 9191405 w 10505529"/>
              <a:gd name="connsiteY32541" fmla="*/ 1967605 h 7458372"/>
              <a:gd name="connsiteX32542" fmla="*/ 9197529 w 10505529"/>
              <a:gd name="connsiteY32542" fmla="*/ 1976921 h 7458372"/>
              <a:gd name="connsiteX32543" fmla="*/ 9199792 w 10505529"/>
              <a:gd name="connsiteY32543" fmla="*/ 1988367 h 7458372"/>
              <a:gd name="connsiteX32544" fmla="*/ 9197529 w 10505529"/>
              <a:gd name="connsiteY32544" fmla="*/ 2000077 h 7458372"/>
              <a:gd name="connsiteX32545" fmla="*/ 9191405 w 10505529"/>
              <a:gd name="connsiteY32545" fmla="*/ 2009402 h 7458372"/>
              <a:gd name="connsiteX32546" fmla="*/ 9182088 w 10505529"/>
              <a:gd name="connsiteY32546" fmla="*/ 2015653 h 7458372"/>
              <a:gd name="connsiteX32547" fmla="*/ 9170374 w 10505529"/>
              <a:gd name="connsiteY32547" fmla="*/ 2017922 h 7458372"/>
              <a:gd name="connsiteX32548" fmla="*/ 9148541 w 10505529"/>
              <a:gd name="connsiteY32548" fmla="*/ 2009402 h 7458372"/>
              <a:gd name="connsiteX32549" fmla="*/ 9140155 w 10505529"/>
              <a:gd name="connsiteY32549" fmla="*/ 1988237 h 7458372"/>
              <a:gd name="connsiteX32550" fmla="*/ 9148541 w 10505529"/>
              <a:gd name="connsiteY32550" fmla="*/ 1967203 h 7458372"/>
              <a:gd name="connsiteX32551" fmla="*/ 9170374 w 10505529"/>
              <a:gd name="connsiteY32551" fmla="*/ 1958553 h 7458372"/>
              <a:gd name="connsiteX32552" fmla="*/ 8952728 w 10505529"/>
              <a:gd name="connsiteY32552" fmla="*/ 1958553 h 7458372"/>
              <a:gd name="connsiteX32553" fmla="*/ 8964442 w 10505529"/>
              <a:gd name="connsiteY32553" fmla="*/ 1961216 h 7458372"/>
              <a:gd name="connsiteX32554" fmla="*/ 8973760 w 10505529"/>
              <a:gd name="connsiteY32554" fmla="*/ 1967605 h 7458372"/>
              <a:gd name="connsiteX32555" fmla="*/ 8979884 w 10505529"/>
              <a:gd name="connsiteY32555" fmla="*/ 1976921 h 7458372"/>
              <a:gd name="connsiteX32556" fmla="*/ 8982147 w 10505529"/>
              <a:gd name="connsiteY32556" fmla="*/ 1988367 h 7458372"/>
              <a:gd name="connsiteX32557" fmla="*/ 8979884 w 10505529"/>
              <a:gd name="connsiteY32557" fmla="*/ 2000077 h 7458372"/>
              <a:gd name="connsiteX32558" fmla="*/ 8973760 w 10505529"/>
              <a:gd name="connsiteY32558" fmla="*/ 2009402 h 7458372"/>
              <a:gd name="connsiteX32559" fmla="*/ 8964442 w 10505529"/>
              <a:gd name="connsiteY32559" fmla="*/ 2015653 h 7458372"/>
              <a:gd name="connsiteX32560" fmla="*/ 8952728 w 10505529"/>
              <a:gd name="connsiteY32560" fmla="*/ 2017922 h 7458372"/>
              <a:gd name="connsiteX32561" fmla="*/ 8930896 w 10505529"/>
              <a:gd name="connsiteY32561" fmla="*/ 2009402 h 7458372"/>
              <a:gd name="connsiteX32562" fmla="*/ 8922510 w 10505529"/>
              <a:gd name="connsiteY32562" fmla="*/ 1988237 h 7458372"/>
              <a:gd name="connsiteX32563" fmla="*/ 8930896 w 10505529"/>
              <a:gd name="connsiteY32563" fmla="*/ 1967203 h 7458372"/>
              <a:gd name="connsiteX32564" fmla="*/ 8952728 w 10505529"/>
              <a:gd name="connsiteY32564" fmla="*/ 1958553 h 7458372"/>
              <a:gd name="connsiteX32565" fmla="*/ 8735083 w 10505529"/>
              <a:gd name="connsiteY32565" fmla="*/ 1958553 h 7458372"/>
              <a:gd name="connsiteX32566" fmla="*/ 8746797 w 10505529"/>
              <a:gd name="connsiteY32566" fmla="*/ 1961216 h 7458372"/>
              <a:gd name="connsiteX32567" fmla="*/ 8756115 w 10505529"/>
              <a:gd name="connsiteY32567" fmla="*/ 1967605 h 7458372"/>
              <a:gd name="connsiteX32568" fmla="*/ 8762238 w 10505529"/>
              <a:gd name="connsiteY32568" fmla="*/ 1976921 h 7458372"/>
              <a:gd name="connsiteX32569" fmla="*/ 8764502 w 10505529"/>
              <a:gd name="connsiteY32569" fmla="*/ 1988367 h 7458372"/>
              <a:gd name="connsiteX32570" fmla="*/ 8762238 w 10505529"/>
              <a:gd name="connsiteY32570" fmla="*/ 2000077 h 7458372"/>
              <a:gd name="connsiteX32571" fmla="*/ 8756115 w 10505529"/>
              <a:gd name="connsiteY32571" fmla="*/ 2009402 h 7458372"/>
              <a:gd name="connsiteX32572" fmla="*/ 8746797 w 10505529"/>
              <a:gd name="connsiteY32572" fmla="*/ 2015653 h 7458372"/>
              <a:gd name="connsiteX32573" fmla="*/ 8735083 w 10505529"/>
              <a:gd name="connsiteY32573" fmla="*/ 2017922 h 7458372"/>
              <a:gd name="connsiteX32574" fmla="*/ 8713250 w 10505529"/>
              <a:gd name="connsiteY32574" fmla="*/ 2009402 h 7458372"/>
              <a:gd name="connsiteX32575" fmla="*/ 8704864 w 10505529"/>
              <a:gd name="connsiteY32575" fmla="*/ 1988237 h 7458372"/>
              <a:gd name="connsiteX32576" fmla="*/ 8713250 w 10505529"/>
              <a:gd name="connsiteY32576" fmla="*/ 1967203 h 7458372"/>
              <a:gd name="connsiteX32577" fmla="*/ 8735083 w 10505529"/>
              <a:gd name="connsiteY32577" fmla="*/ 1958553 h 7458372"/>
              <a:gd name="connsiteX32578" fmla="*/ 8517438 w 10505529"/>
              <a:gd name="connsiteY32578" fmla="*/ 1958553 h 7458372"/>
              <a:gd name="connsiteX32579" fmla="*/ 8529152 w 10505529"/>
              <a:gd name="connsiteY32579" fmla="*/ 1961216 h 7458372"/>
              <a:gd name="connsiteX32580" fmla="*/ 8538470 w 10505529"/>
              <a:gd name="connsiteY32580" fmla="*/ 1967605 h 7458372"/>
              <a:gd name="connsiteX32581" fmla="*/ 8544594 w 10505529"/>
              <a:gd name="connsiteY32581" fmla="*/ 1976921 h 7458372"/>
              <a:gd name="connsiteX32582" fmla="*/ 8546857 w 10505529"/>
              <a:gd name="connsiteY32582" fmla="*/ 1988367 h 7458372"/>
              <a:gd name="connsiteX32583" fmla="*/ 8544594 w 10505529"/>
              <a:gd name="connsiteY32583" fmla="*/ 2000077 h 7458372"/>
              <a:gd name="connsiteX32584" fmla="*/ 8538470 w 10505529"/>
              <a:gd name="connsiteY32584" fmla="*/ 2009402 h 7458372"/>
              <a:gd name="connsiteX32585" fmla="*/ 8529152 w 10505529"/>
              <a:gd name="connsiteY32585" fmla="*/ 2015653 h 7458372"/>
              <a:gd name="connsiteX32586" fmla="*/ 8517438 w 10505529"/>
              <a:gd name="connsiteY32586" fmla="*/ 2017922 h 7458372"/>
              <a:gd name="connsiteX32587" fmla="*/ 8495606 w 10505529"/>
              <a:gd name="connsiteY32587" fmla="*/ 2009402 h 7458372"/>
              <a:gd name="connsiteX32588" fmla="*/ 8487220 w 10505529"/>
              <a:gd name="connsiteY32588" fmla="*/ 1988237 h 7458372"/>
              <a:gd name="connsiteX32589" fmla="*/ 8495606 w 10505529"/>
              <a:gd name="connsiteY32589" fmla="*/ 1967203 h 7458372"/>
              <a:gd name="connsiteX32590" fmla="*/ 8517438 w 10505529"/>
              <a:gd name="connsiteY32590" fmla="*/ 1958553 h 7458372"/>
              <a:gd name="connsiteX32591" fmla="*/ 8299793 w 10505529"/>
              <a:gd name="connsiteY32591" fmla="*/ 1958553 h 7458372"/>
              <a:gd name="connsiteX32592" fmla="*/ 8311507 w 10505529"/>
              <a:gd name="connsiteY32592" fmla="*/ 1961216 h 7458372"/>
              <a:gd name="connsiteX32593" fmla="*/ 8320825 w 10505529"/>
              <a:gd name="connsiteY32593" fmla="*/ 1967605 h 7458372"/>
              <a:gd name="connsiteX32594" fmla="*/ 8326948 w 10505529"/>
              <a:gd name="connsiteY32594" fmla="*/ 1976921 h 7458372"/>
              <a:gd name="connsiteX32595" fmla="*/ 8329212 w 10505529"/>
              <a:gd name="connsiteY32595" fmla="*/ 1988367 h 7458372"/>
              <a:gd name="connsiteX32596" fmla="*/ 8326948 w 10505529"/>
              <a:gd name="connsiteY32596" fmla="*/ 2000077 h 7458372"/>
              <a:gd name="connsiteX32597" fmla="*/ 8320825 w 10505529"/>
              <a:gd name="connsiteY32597" fmla="*/ 2009402 h 7458372"/>
              <a:gd name="connsiteX32598" fmla="*/ 8311507 w 10505529"/>
              <a:gd name="connsiteY32598" fmla="*/ 2015653 h 7458372"/>
              <a:gd name="connsiteX32599" fmla="*/ 8299793 w 10505529"/>
              <a:gd name="connsiteY32599" fmla="*/ 2017922 h 7458372"/>
              <a:gd name="connsiteX32600" fmla="*/ 8277960 w 10505529"/>
              <a:gd name="connsiteY32600" fmla="*/ 2009402 h 7458372"/>
              <a:gd name="connsiteX32601" fmla="*/ 8269574 w 10505529"/>
              <a:gd name="connsiteY32601" fmla="*/ 1988237 h 7458372"/>
              <a:gd name="connsiteX32602" fmla="*/ 8277960 w 10505529"/>
              <a:gd name="connsiteY32602" fmla="*/ 1967203 h 7458372"/>
              <a:gd name="connsiteX32603" fmla="*/ 8299793 w 10505529"/>
              <a:gd name="connsiteY32603" fmla="*/ 1958553 h 7458372"/>
              <a:gd name="connsiteX32604" fmla="*/ 8082281 w 10505529"/>
              <a:gd name="connsiteY32604" fmla="*/ 1958553 h 7458372"/>
              <a:gd name="connsiteX32605" fmla="*/ 8094127 w 10505529"/>
              <a:gd name="connsiteY32605" fmla="*/ 1961216 h 7458372"/>
              <a:gd name="connsiteX32606" fmla="*/ 8103446 w 10505529"/>
              <a:gd name="connsiteY32606" fmla="*/ 1967605 h 7458372"/>
              <a:gd name="connsiteX32607" fmla="*/ 8109569 w 10505529"/>
              <a:gd name="connsiteY32607" fmla="*/ 1976921 h 7458372"/>
              <a:gd name="connsiteX32608" fmla="*/ 8111832 w 10505529"/>
              <a:gd name="connsiteY32608" fmla="*/ 1988367 h 7458372"/>
              <a:gd name="connsiteX32609" fmla="*/ 8109569 w 10505529"/>
              <a:gd name="connsiteY32609" fmla="*/ 2000077 h 7458372"/>
              <a:gd name="connsiteX32610" fmla="*/ 8103446 w 10505529"/>
              <a:gd name="connsiteY32610" fmla="*/ 2009402 h 7458372"/>
              <a:gd name="connsiteX32611" fmla="*/ 8094127 w 10505529"/>
              <a:gd name="connsiteY32611" fmla="*/ 2015653 h 7458372"/>
              <a:gd name="connsiteX32612" fmla="*/ 8082281 w 10505529"/>
              <a:gd name="connsiteY32612" fmla="*/ 2017922 h 7458372"/>
              <a:gd name="connsiteX32613" fmla="*/ 8060448 w 10505529"/>
              <a:gd name="connsiteY32613" fmla="*/ 2009402 h 7458372"/>
              <a:gd name="connsiteX32614" fmla="*/ 8052062 w 10505529"/>
              <a:gd name="connsiteY32614" fmla="*/ 1988237 h 7458372"/>
              <a:gd name="connsiteX32615" fmla="*/ 8060448 w 10505529"/>
              <a:gd name="connsiteY32615" fmla="*/ 1967203 h 7458372"/>
              <a:gd name="connsiteX32616" fmla="*/ 8082281 w 10505529"/>
              <a:gd name="connsiteY32616" fmla="*/ 1958553 h 7458372"/>
              <a:gd name="connsiteX32617" fmla="*/ 7864636 w 10505529"/>
              <a:gd name="connsiteY32617" fmla="*/ 1958553 h 7458372"/>
              <a:gd name="connsiteX32618" fmla="*/ 7876483 w 10505529"/>
              <a:gd name="connsiteY32618" fmla="*/ 1961216 h 7458372"/>
              <a:gd name="connsiteX32619" fmla="*/ 7885802 w 10505529"/>
              <a:gd name="connsiteY32619" fmla="*/ 1967605 h 7458372"/>
              <a:gd name="connsiteX32620" fmla="*/ 7891924 w 10505529"/>
              <a:gd name="connsiteY32620" fmla="*/ 1976921 h 7458372"/>
              <a:gd name="connsiteX32621" fmla="*/ 7894188 w 10505529"/>
              <a:gd name="connsiteY32621" fmla="*/ 1988367 h 7458372"/>
              <a:gd name="connsiteX32622" fmla="*/ 7891924 w 10505529"/>
              <a:gd name="connsiteY32622" fmla="*/ 2000077 h 7458372"/>
              <a:gd name="connsiteX32623" fmla="*/ 7885802 w 10505529"/>
              <a:gd name="connsiteY32623" fmla="*/ 2009402 h 7458372"/>
              <a:gd name="connsiteX32624" fmla="*/ 7876483 w 10505529"/>
              <a:gd name="connsiteY32624" fmla="*/ 2015653 h 7458372"/>
              <a:gd name="connsiteX32625" fmla="*/ 7864636 w 10505529"/>
              <a:gd name="connsiteY32625" fmla="*/ 2017922 h 7458372"/>
              <a:gd name="connsiteX32626" fmla="*/ 7842803 w 10505529"/>
              <a:gd name="connsiteY32626" fmla="*/ 2009402 h 7458372"/>
              <a:gd name="connsiteX32627" fmla="*/ 7834417 w 10505529"/>
              <a:gd name="connsiteY32627" fmla="*/ 1988237 h 7458372"/>
              <a:gd name="connsiteX32628" fmla="*/ 7842803 w 10505529"/>
              <a:gd name="connsiteY32628" fmla="*/ 1967203 h 7458372"/>
              <a:gd name="connsiteX32629" fmla="*/ 7864636 w 10505529"/>
              <a:gd name="connsiteY32629" fmla="*/ 1958553 h 7458372"/>
              <a:gd name="connsiteX32630" fmla="*/ 7646991 w 10505529"/>
              <a:gd name="connsiteY32630" fmla="*/ 1958553 h 7458372"/>
              <a:gd name="connsiteX32631" fmla="*/ 7658705 w 10505529"/>
              <a:gd name="connsiteY32631" fmla="*/ 1961216 h 7458372"/>
              <a:gd name="connsiteX32632" fmla="*/ 7668022 w 10505529"/>
              <a:gd name="connsiteY32632" fmla="*/ 1967605 h 7458372"/>
              <a:gd name="connsiteX32633" fmla="*/ 7674146 w 10505529"/>
              <a:gd name="connsiteY32633" fmla="*/ 1976921 h 7458372"/>
              <a:gd name="connsiteX32634" fmla="*/ 7676409 w 10505529"/>
              <a:gd name="connsiteY32634" fmla="*/ 1988367 h 7458372"/>
              <a:gd name="connsiteX32635" fmla="*/ 7674146 w 10505529"/>
              <a:gd name="connsiteY32635" fmla="*/ 2000077 h 7458372"/>
              <a:gd name="connsiteX32636" fmla="*/ 7668022 w 10505529"/>
              <a:gd name="connsiteY32636" fmla="*/ 2009402 h 7458372"/>
              <a:gd name="connsiteX32637" fmla="*/ 7658705 w 10505529"/>
              <a:gd name="connsiteY32637" fmla="*/ 2015653 h 7458372"/>
              <a:gd name="connsiteX32638" fmla="*/ 7646991 w 10505529"/>
              <a:gd name="connsiteY32638" fmla="*/ 2017922 h 7458372"/>
              <a:gd name="connsiteX32639" fmla="*/ 7625158 w 10505529"/>
              <a:gd name="connsiteY32639" fmla="*/ 2009402 h 7458372"/>
              <a:gd name="connsiteX32640" fmla="*/ 7616772 w 10505529"/>
              <a:gd name="connsiteY32640" fmla="*/ 1988237 h 7458372"/>
              <a:gd name="connsiteX32641" fmla="*/ 7625158 w 10505529"/>
              <a:gd name="connsiteY32641" fmla="*/ 1967203 h 7458372"/>
              <a:gd name="connsiteX32642" fmla="*/ 7646991 w 10505529"/>
              <a:gd name="connsiteY32642" fmla="*/ 1958553 h 7458372"/>
              <a:gd name="connsiteX32643" fmla="*/ 7429345 w 10505529"/>
              <a:gd name="connsiteY32643" fmla="*/ 1958553 h 7458372"/>
              <a:gd name="connsiteX32644" fmla="*/ 7441059 w 10505529"/>
              <a:gd name="connsiteY32644" fmla="*/ 1961216 h 7458372"/>
              <a:gd name="connsiteX32645" fmla="*/ 7450377 w 10505529"/>
              <a:gd name="connsiteY32645" fmla="*/ 1967605 h 7458372"/>
              <a:gd name="connsiteX32646" fmla="*/ 7456501 w 10505529"/>
              <a:gd name="connsiteY32646" fmla="*/ 1976921 h 7458372"/>
              <a:gd name="connsiteX32647" fmla="*/ 7458764 w 10505529"/>
              <a:gd name="connsiteY32647" fmla="*/ 1988367 h 7458372"/>
              <a:gd name="connsiteX32648" fmla="*/ 7456501 w 10505529"/>
              <a:gd name="connsiteY32648" fmla="*/ 2000077 h 7458372"/>
              <a:gd name="connsiteX32649" fmla="*/ 7450377 w 10505529"/>
              <a:gd name="connsiteY32649" fmla="*/ 2009402 h 7458372"/>
              <a:gd name="connsiteX32650" fmla="*/ 7441059 w 10505529"/>
              <a:gd name="connsiteY32650" fmla="*/ 2015653 h 7458372"/>
              <a:gd name="connsiteX32651" fmla="*/ 7429345 w 10505529"/>
              <a:gd name="connsiteY32651" fmla="*/ 2017922 h 7458372"/>
              <a:gd name="connsiteX32652" fmla="*/ 7407513 w 10505529"/>
              <a:gd name="connsiteY32652" fmla="*/ 2009402 h 7458372"/>
              <a:gd name="connsiteX32653" fmla="*/ 7399127 w 10505529"/>
              <a:gd name="connsiteY32653" fmla="*/ 1988237 h 7458372"/>
              <a:gd name="connsiteX32654" fmla="*/ 7407513 w 10505529"/>
              <a:gd name="connsiteY32654" fmla="*/ 1967203 h 7458372"/>
              <a:gd name="connsiteX32655" fmla="*/ 7429345 w 10505529"/>
              <a:gd name="connsiteY32655" fmla="*/ 1958553 h 7458372"/>
              <a:gd name="connsiteX32656" fmla="*/ 7211701 w 10505529"/>
              <a:gd name="connsiteY32656" fmla="*/ 1958553 h 7458372"/>
              <a:gd name="connsiteX32657" fmla="*/ 7223415 w 10505529"/>
              <a:gd name="connsiteY32657" fmla="*/ 1961216 h 7458372"/>
              <a:gd name="connsiteX32658" fmla="*/ 7232733 w 10505529"/>
              <a:gd name="connsiteY32658" fmla="*/ 1967605 h 7458372"/>
              <a:gd name="connsiteX32659" fmla="*/ 7238856 w 10505529"/>
              <a:gd name="connsiteY32659" fmla="*/ 1976921 h 7458372"/>
              <a:gd name="connsiteX32660" fmla="*/ 7241120 w 10505529"/>
              <a:gd name="connsiteY32660" fmla="*/ 1988367 h 7458372"/>
              <a:gd name="connsiteX32661" fmla="*/ 7238856 w 10505529"/>
              <a:gd name="connsiteY32661" fmla="*/ 2000077 h 7458372"/>
              <a:gd name="connsiteX32662" fmla="*/ 7232733 w 10505529"/>
              <a:gd name="connsiteY32662" fmla="*/ 2009402 h 7458372"/>
              <a:gd name="connsiteX32663" fmla="*/ 7223415 w 10505529"/>
              <a:gd name="connsiteY32663" fmla="*/ 2015653 h 7458372"/>
              <a:gd name="connsiteX32664" fmla="*/ 7211701 w 10505529"/>
              <a:gd name="connsiteY32664" fmla="*/ 2017922 h 7458372"/>
              <a:gd name="connsiteX32665" fmla="*/ 7189868 w 10505529"/>
              <a:gd name="connsiteY32665" fmla="*/ 2009402 h 7458372"/>
              <a:gd name="connsiteX32666" fmla="*/ 7181482 w 10505529"/>
              <a:gd name="connsiteY32666" fmla="*/ 1988237 h 7458372"/>
              <a:gd name="connsiteX32667" fmla="*/ 7189868 w 10505529"/>
              <a:gd name="connsiteY32667" fmla="*/ 1967203 h 7458372"/>
              <a:gd name="connsiteX32668" fmla="*/ 7211701 w 10505529"/>
              <a:gd name="connsiteY32668" fmla="*/ 1958553 h 7458372"/>
              <a:gd name="connsiteX32669" fmla="*/ 6994056 w 10505529"/>
              <a:gd name="connsiteY32669" fmla="*/ 1958553 h 7458372"/>
              <a:gd name="connsiteX32670" fmla="*/ 7005769 w 10505529"/>
              <a:gd name="connsiteY32670" fmla="*/ 1961216 h 7458372"/>
              <a:gd name="connsiteX32671" fmla="*/ 7015087 w 10505529"/>
              <a:gd name="connsiteY32671" fmla="*/ 1967605 h 7458372"/>
              <a:gd name="connsiteX32672" fmla="*/ 7021211 w 10505529"/>
              <a:gd name="connsiteY32672" fmla="*/ 1976921 h 7458372"/>
              <a:gd name="connsiteX32673" fmla="*/ 7023474 w 10505529"/>
              <a:gd name="connsiteY32673" fmla="*/ 1988367 h 7458372"/>
              <a:gd name="connsiteX32674" fmla="*/ 7021211 w 10505529"/>
              <a:gd name="connsiteY32674" fmla="*/ 2000077 h 7458372"/>
              <a:gd name="connsiteX32675" fmla="*/ 7015087 w 10505529"/>
              <a:gd name="connsiteY32675" fmla="*/ 2009402 h 7458372"/>
              <a:gd name="connsiteX32676" fmla="*/ 7005769 w 10505529"/>
              <a:gd name="connsiteY32676" fmla="*/ 2015653 h 7458372"/>
              <a:gd name="connsiteX32677" fmla="*/ 6994056 w 10505529"/>
              <a:gd name="connsiteY32677" fmla="*/ 2017922 h 7458372"/>
              <a:gd name="connsiteX32678" fmla="*/ 6972223 w 10505529"/>
              <a:gd name="connsiteY32678" fmla="*/ 2009402 h 7458372"/>
              <a:gd name="connsiteX32679" fmla="*/ 6963837 w 10505529"/>
              <a:gd name="connsiteY32679" fmla="*/ 1988237 h 7458372"/>
              <a:gd name="connsiteX32680" fmla="*/ 6972223 w 10505529"/>
              <a:gd name="connsiteY32680" fmla="*/ 1967203 h 7458372"/>
              <a:gd name="connsiteX32681" fmla="*/ 6994056 w 10505529"/>
              <a:gd name="connsiteY32681" fmla="*/ 1958553 h 7458372"/>
              <a:gd name="connsiteX32682" fmla="*/ 6776544 w 10505529"/>
              <a:gd name="connsiteY32682" fmla="*/ 1958553 h 7458372"/>
              <a:gd name="connsiteX32683" fmla="*/ 6788258 w 10505529"/>
              <a:gd name="connsiteY32683" fmla="*/ 1961216 h 7458372"/>
              <a:gd name="connsiteX32684" fmla="*/ 6797576 w 10505529"/>
              <a:gd name="connsiteY32684" fmla="*/ 1967605 h 7458372"/>
              <a:gd name="connsiteX32685" fmla="*/ 6803699 w 10505529"/>
              <a:gd name="connsiteY32685" fmla="*/ 1976921 h 7458372"/>
              <a:gd name="connsiteX32686" fmla="*/ 6805963 w 10505529"/>
              <a:gd name="connsiteY32686" fmla="*/ 1988367 h 7458372"/>
              <a:gd name="connsiteX32687" fmla="*/ 6803699 w 10505529"/>
              <a:gd name="connsiteY32687" fmla="*/ 2000077 h 7458372"/>
              <a:gd name="connsiteX32688" fmla="*/ 6797576 w 10505529"/>
              <a:gd name="connsiteY32688" fmla="*/ 2009402 h 7458372"/>
              <a:gd name="connsiteX32689" fmla="*/ 6788258 w 10505529"/>
              <a:gd name="connsiteY32689" fmla="*/ 2015653 h 7458372"/>
              <a:gd name="connsiteX32690" fmla="*/ 6776544 w 10505529"/>
              <a:gd name="connsiteY32690" fmla="*/ 2017922 h 7458372"/>
              <a:gd name="connsiteX32691" fmla="*/ 6754711 w 10505529"/>
              <a:gd name="connsiteY32691" fmla="*/ 2009402 h 7458372"/>
              <a:gd name="connsiteX32692" fmla="*/ 6746325 w 10505529"/>
              <a:gd name="connsiteY32692" fmla="*/ 1988237 h 7458372"/>
              <a:gd name="connsiteX32693" fmla="*/ 6754711 w 10505529"/>
              <a:gd name="connsiteY32693" fmla="*/ 1967203 h 7458372"/>
              <a:gd name="connsiteX32694" fmla="*/ 6776544 w 10505529"/>
              <a:gd name="connsiteY32694" fmla="*/ 1958553 h 7458372"/>
              <a:gd name="connsiteX32695" fmla="*/ 6558899 w 10505529"/>
              <a:gd name="connsiteY32695" fmla="*/ 1958553 h 7458372"/>
              <a:gd name="connsiteX32696" fmla="*/ 6570612 w 10505529"/>
              <a:gd name="connsiteY32696" fmla="*/ 1961216 h 7458372"/>
              <a:gd name="connsiteX32697" fmla="*/ 6579930 w 10505529"/>
              <a:gd name="connsiteY32697" fmla="*/ 1967605 h 7458372"/>
              <a:gd name="connsiteX32698" fmla="*/ 6586054 w 10505529"/>
              <a:gd name="connsiteY32698" fmla="*/ 1976921 h 7458372"/>
              <a:gd name="connsiteX32699" fmla="*/ 6588317 w 10505529"/>
              <a:gd name="connsiteY32699" fmla="*/ 1988367 h 7458372"/>
              <a:gd name="connsiteX32700" fmla="*/ 6586054 w 10505529"/>
              <a:gd name="connsiteY32700" fmla="*/ 2000077 h 7458372"/>
              <a:gd name="connsiteX32701" fmla="*/ 6579930 w 10505529"/>
              <a:gd name="connsiteY32701" fmla="*/ 2009402 h 7458372"/>
              <a:gd name="connsiteX32702" fmla="*/ 6570612 w 10505529"/>
              <a:gd name="connsiteY32702" fmla="*/ 2015653 h 7458372"/>
              <a:gd name="connsiteX32703" fmla="*/ 6558899 w 10505529"/>
              <a:gd name="connsiteY32703" fmla="*/ 2017922 h 7458372"/>
              <a:gd name="connsiteX32704" fmla="*/ 6537066 w 10505529"/>
              <a:gd name="connsiteY32704" fmla="*/ 2009402 h 7458372"/>
              <a:gd name="connsiteX32705" fmla="*/ 6528680 w 10505529"/>
              <a:gd name="connsiteY32705" fmla="*/ 1988237 h 7458372"/>
              <a:gd name="connsiteX32706" fmla="*/ 6537066 w 10505529"/>
              <a:gd name="connsiteY32706" fmla="*/ 1967203 h 7458372"/>
              <a:gd name="connsiteX32707" fmla="*/ 6558899 w 10505529"/>
              <a:gd name="connsiteY32707" fmla="*/ 1958553 h 7458372"/>
              <a:gd name="connsiteX32708" fmla="*/ 6341253 w 10505529"/>
              <a:gd name="connsiteY32708" fmla="*/ 1958553 h 7458372"/>
              <a:gd name="connsiteX32709" fmla="*/ 6352968 w 10505529"/>
              <a:gd name="connsiteY32709" fmla="*/ 1961216 h 7458372"/>
              <a:gd name="connsiteX32710" fmla="*/ 6362286 w 10505529"/>
              <a:gd name="connsiteY32710" fmla="*/ 1967605 h 7458372"/>
              <a:gd name="connsiteX32711" fmla="*/ 6368409 w 10505529"/>
              <a:gd name="connsiteY32711" fmla="*/ 1976921 h 7458372"/>
              <a:gd name="connsiteX32712" fmla="*/ 6370672 w 10505529"/>
              <a:gd name="connsiteY32712" fmla="*/ 1988367 h 7458372"/>
              <a:gd name="connsiteX32713" fmla="*/ 6368409 w 10505529"/>
              <a:gd name="connsiteY32713" fmla="*/ 2000077 h 7458372"/>
              <a:gd name="connsiteX32714" fmla="*/ 6362286 w 10505529"/>
              <a:gd name="connsiteY32714" fmla="*/ 2009402 h 7458372"/>
              <a:gd name="connsiteX32715" fmla="*/ 6352968 w 10505529"/>
              <a:gd name="connsiteY32715" fmla="*/ 2015653 h 7458372"/>
              <a:gd name="connsiteX32716" fmla="*/ 6341253 w 10505529"/>
              <a:gd name="connsiteY32716" fmla="*/ 2017922 h 7458372"/>
              <a:gd name="connsiteX32717" fmla="*/ 6319421 w 10505529"/>
              <a:gd name="connsiteY32717" fmla="*/ 2009402 h 7458372"/>
              <a:gd name="connsiteX32718" fmla="*/ 6311035 w 10505529"/>
              <a:gd name="connsiteY32718" fmla="*/ 1988237 h 7458372"/>
              <a:gd name="connsiteX32719" fmla="*/ 6319421 w 10505529"/>
              <a:gd name="connsiteY32719" fmla="*/ 1967203 h 7458372"/>
              <a:gd name="connsiteX32720" fmla="*/ 6341253 w 10505529"/>
              <a:gd name="connsiteY32720" fmla="*/ 1958553 h 7458372"/>
              <a:gd name="connsiteX32721" fmla="*/ 6123608 w 10505529"/>
              <a:gd name="connsiteY32721" fmla="*/ 1958553 h 7458372"/>
              <a:gd name="connsiteX32722" fmla="*/ 6135322 w 10505529"/>
              <a:gd name="connsiteY32722" fmla="*/ 1961216 h 7458372"/>
              <a:gd name="connsiteX32723" fmla="*/ 6144640 w 10505529"/>
              <a:gd name="connsiteY32723" fmla="*/ 1967605 h 7458372"/>
              <a:gd name="connsiteX32724" fmla="*/ 6150763 w 10505529"/>
              <a:gd name="connsiteY32724" fmla="*/ 1976921 h 7458372"/>
              <a:gd name="connsiteX32725" fmla="*/ 6153026 w 10505529"/>
              <a:gd name="connsiteY32725" fmla="*/ 1988367 h 7458372"/>
              <a:gd name="connsiteX32726" fmla="*/ 6150763 w 10505529"/>
              <a:gd name="connsiteY32726" fmla="*/ 2000077 h 7458372"/>
              <a:gd name="connsiteX32727" fmla="*/ 6144640 w 10505529"/>
              <a:gd name="connsiteY32727" fmla="*/ 2009402 h 7458372"/>
              <a:gd name="connsiteX32728" fmla="*/ 6135322 w 10505529"/>
              <a:gd name="connsiteY32728" fmla="*/ 2015653 h 7458372"/>
              <a:gd name="connsiteX32729" fmla="*/ 6123608 w 10505529"/>
              <a:gd name="connsiteY32729" fmla="*/ 2017922 h 7458372"/>
              <a:gd name="connsiteX32730" fmla="*/ 6101775 w 10505529"/>
              <a:gd name="connsiteY32730" fmla="*/ 2009402 h 7458372"/>
              <a:gd name="connsiteX32731" fmla="*/ 6093389 w 10505529"/>
              <a:gd name="connsiteY32731" fmla="*/ 1988237 h 7458372"/>
              <a:gd name="connsiteX32732" fmla="*/ 6101775 w 10505529"/>
              <a:gd name="connsiteY32732" fmla="*/ 1967203 h 7458372"/>
              <a:gd name="connsiteX32733" fmla="*/ 6123608 w 10505529"/>
              <a:gd name="connsiteY32733" fmla="*/ 1958553 h 7458372"/>
              <a:gd name="connsiteX32734" fmla="*/ 5905963 w 10505529"/>
              <a:gd name="connsiteY32734" fmla="*/ 1958553 h 7458372"/>
              <a:gd name="connsiteX32735" fmla="*/ 5917677 w 10505529"/>
              <a:gd name="connsiteY32735" fmla="*/ 1961216 h 7458372"/>
              <a:gd name="connsiteX32736" fmla="*/ 5926995 w 10505529"/>
              <a:gd name="connsiteY32736" fmla="*/ 1967605 h 7458372"/>
              <a:gd name="connsiteX32737" fmla="*/ 5933118 w 10505529"/>
              <a:gd name="connsiteY32737" fmla="*/ 1976921 h 7458372"/>
              <a:gd name="connsiteX32738" fmla="*/ 5935381 w 10505529"/>
              <a:gd name="connsiteY32738" fmla="*/ 1988367 h 7458372"/>
              <a:gd name="connsiteX32739" fmla="*/ 5933118 w 10505529"/>
              <a:gd name="connsiteY32739" fmla="*/ 2000077 h 7458372"/>
              <a:gd name="connsiteX32740" fmla="*/ 5926995 w 10505529"/>
              <a:gd name="connsiteY32740" fmla="*/ 2009402 h 7458372"/>
              <a:gd name="connsiteX32741" fmla="*/ 5917677 w 10505529"/>
              <a:gd name="connsiteY32741" fmla="*/ 2015653 h 7458372"/>
              <a:gd name="connsiteX32742" fmla="*/ 5905963 w 10505529"/>
              <a:gd name="connsiteY32742" fmla="*/ 2017922 h 7458372"/>
              <a:gd name="connsiteX32743" fmla="*/ 5884130 w 10505529"/>
              <a:gd name="connsiteY32743" fmla="*/ 2009402 h 7458372"/>
              <a:gd name="connsiteX32744" fmla="*/ 5875744 w 10505529"/>
              <a:gd name="connsiteY32744" fmla="*/ 1988237 h 7458372"/>
              <a:gd name="connsiteX32745" fmla="*/ 5884130 w 10505529"/>
              <a:gd name="connsiteY32745" fmla="*/ 1967203 h 7458372"/>
              <a:gd name="connsiteX32746" fmla="*/ 5905963 w 10505529"/>
              <a:gd name="connsiteY32746" fmla="*/ 1958553 h 7458372"/>
              <a:gd name="connsiteX32747" fmla="*/ 5688451 w 10505529"/>
              <a:gd name="connsiteY32747" fmla="*/ 1958553 h 7458372"/>
              <a:gd name="connsiteX32748" fmla="*/ 5700165 w 10505529"/>
              <a:gd name="connsiteY32748" fmla="*/ 1961216 h 7458372"/>
              <a:gd name="connsiteX32749" fmla="*/ 5709483 w 10505529"/>
              <a:gd name="connsiteY32749" fmla="*/ 1967605 h 7458372"/>
              <a:gd name="connsiteX32750" fmla="*/ 5715606 w 10505529"/>
              <a:gd name="connsiteY32750" fmla="*/ 1976921 h 7458372"/>
              <a:gd name="connsiteX32751" fmla="*/ 5717869 w 10505529"/>
              <a:gd name="connsiteY32751" fmla="*/ 1988367 h 7458372"/>
              <a:gd name="connsiteX32752" fmla="*/ 5715606 w 10505529"/>
              <a:gd name="connsiteY32752" fmla="*/ 2000077 h 7458372"/>
              <a:gd name="connsiteX32753" fmla="*/ 5709483 w 10505529"/>
              <a:gd name="connsiteY32753" fmla="*/ 2009402 h 7458372"/>
              <a:gd name="connsiteX32754" fmla="*/ 5700165 w 10505529"/>
              <a:gd name="connsiteY32754" fmla="*/ 2015653 h 7458372"/>
              <a:gd name="connsiteX32755" fmla="*/ 5688451 w 10505529"/>
              <a:gd name="connsiteY32755" fmla="*/ 2017922 h 7458372"/>
              <a:gd name="connsiteX32756" fmla="*/ 5666618 w 10505529"/>
              <a:gd name="connsiteY32756" fmla="*/ 2009402 h 7458372"/>
              <a:gd name="connsiteX32757" fmla="*/ 5658232 w 10505529"/>
              <a:gd name="connsiteY32757" fmla="*/ 1988237 h 7458372"/>
              <a:gd name="connsiteX32758" fmla="*/ 5666618 w 10505529"/>
              <a:gd name="connsiteY32758" fmla="*/ 1967203 h 7458372"/>
              <a:gd name="connsiteX32759" fmla="*/ 5688451 w 10505529"/>
              <a:gd name="connsiteY32759" fmla="*/ 1958553 h 7458372"/>
              <a:gd name="connsiteX32760" fmla="*/ 5470806 w 10505529"/>
              <a:gd name="connsiteY32760" fmla="*/ 1958553 h 7458372"/>
              <a:gd name="connsiteX32761" fmla="*/ 5482520 w 10505529"/>
              <a:gd name="connsiteY32761" fmla="*/ 1961216 h 7458372"/>
              <a:gd name="connsiteX32762" fmla="*/ 5491838 w 10505529"/>
              <a:gd name="connsiteY32762" fmla="*/ 1967605 h 7458372"/>
              <a:gd name="connsiteX32763" fmla="*/ 5497961 w 10505529"/>
              <a:gd name="connsiteY32763" fmla="*/ 1976921 h 7458372"/>
              <a:gd name="connsiteX32764" fmla="*/ 5500224 w 10505529"/>
              <a:gd name="connsiteY32764" fmla="*/ 1988367 h 7458372"/>
              <a:gd name="connsiteX32765" fmla="*/ 5497961 w 10505529"/>
              <a:gd name="connsiteY32765" fmla="*/ 2000077 h 7458372"/>
              <a:gd name="connsiteX32766" fmla="*/ 5491838 w 10505529"/>
              <a:gd name="connsiteY32766" fmla="*/ 2009402 h 7458372"/>
              <a:gd name="connsiteX32767" fmla="*/ 5482520 w 10505529"/>
              <a:gd name="connsiteY32767" fmla="*/ 2015653 h 7458372"/>
              <a:gd name="connsiteX32768" fmla="*/ 5470806 w 10505529"/>
              <a:gd name="connsiteY32768" fmla="*/ 2017922 h 7458372"/>
              <a:gd name="connsiteX32769" fmla="*/ 5448973 w 10505529"/>
              <a:gd name="connsiteY32769" fmla="*/ 2009402 h 7458372"/>
              <a:gd name="connsiteX32770" fmla="*/ 5440587 w 10505529"/>
              <a:gd name="connsiteY32770" fmla="*/ 1988237 h 7458372"/>
              <a:gd name="connsiteX32771" fmla="*/ 5448973 w 10505529"/>
              <a:gd name="connsiteY32771" fmla="*/ 1967203 h 7458372"/>
              <a:gd name="connsiteX32772" fmla="*/ 5470806 w 10505529"/>
              <a:gd name="connsiteY32772" fmla="*/ 1958553 h 7458372"/>
              <a:gd name="connsiteX32773" fmla="*/ 5253160 w 10505529"/>
              <a:gd name="connsiteY32773" fmla="*/ 1958553 h 7458372"/>
              <a:gd name="connsiteX32774" fmla="*/ 5264875 w 10505529"/>
              <a:gd name="connsiteY32774" fmla="*/ 1961216 h 7458372"/>
              <a:gd name="connsiteX32775" fmla="*/ 5274192 w 10505529"/>
              <a:gd name="connsiteY32775" fmla="*/ 1967605 h 7458372"/>
              <a:gd name="connsiteX32776" fmla="*/ 5280316 w 10505529"/>
              <a:gd name="connsiteY32776" fmla="*/ 1976921 h 7458372"/>
              <a:gd name="connsiteX32777" fmla="*/ 5282579 w 10505529"/>
              <a:gd name="connsiteY32777" fmla="*/ 1988367 h 7458372"/>
              <a:gd name="connsiteX32778" fmla="*/ 5280316 w 10505529"/>
              <a:gd name="connsiteY32778" fmla="*/ 2000077 h 7458372"/>
              <a:gd name="connsiteX32779" fmla="*/ 5274192 w 10505529"/>
              <a:gd name="connsiteY32779" fmla="*/ 2009402 h 7458372"/>
              <a:gd name="connsiteX32780" fmla="*/ 5264875 w 10505529"/>
              <a:gd name="connsiteY32780" fmla="*/ 2015653 h 7458372"/>
              <a:gd name="connsiteX32781" fmla="*/ 5253160 w 10505529"/>
              <a:gd name="connsiteY32781" fmla="*/ 2017922 h 7458372"/>
              <a:gd name="connsiteX32782" fmla="*/ 5231328 w 10505529"/>
              <a:gd name="connsiteY32782" fmla="*/ 2009402 h 7458372"/>
              <a:gd name="connsiteX32783" fmla="*/ 5222942 w 10505529"/>
              <a:gd name="connsiteY32783" fmla="*/ 1988237 h 7458372"/>
              <a:gd name="connsiteX32784" fmla="*/ 5231328 w 10505529"/>
              <a:gd name="connsiteY32784" fmla="*/ 1967203 h 7458372"/>
              <a:gd name="connsiteX32785" fmla="*/ 5253160 w 10505529"/>
              <a:gd name="connsiteY32785" fmla="*/ 1958553 h 7458372"/>
              <a:gd name="connsiteX32786" fmla="*/ 5035515 w 10505529"/>
              <a:gd name="connsiteY32786" fmla="*/ 1958553 h 7458372"/>
              <a:gd name="connsiteX32787" fmla="*/ 5047230 w 10505529"/>
              <a:gd name="connsiteY32787" fmla="*/ 1961216 h 7458372"/>
              <a:gd name="connsiteX32788" fmla="*/ 5056548 w 10505529"/>
              <a:gd name="connsiteY32788" fmla="*/ 1967605 h 7458372"/>
              <a:gd name="connsiteX32789" fmla="*/ 5062671 w 10505529"/>
              <a:gd name="connsiteY32789" fmla="*/ 1976921 h 7458372"/>
              <a:gd name="connsiteX32790" fmla="*/ 5064934 w 10505529"/>
              <a:gd name="connsiteY32790" fmla="*/ 1988367 h 7458372"/>
              <a:gd name="connsiteX32791" fmla="*/ 5062671 w 10505529"/>
              <a:gd name="connsiteY32791" fmla="*/ 2000077 h 7458372"/>
              <a:gd name="connsiteX32792" fmla="*/ 5056548 w 10505529"/>
              <a:gd name="connsiteY32792" fmla="*/ 2009402 h 7458372"/>
              <a:gd name="connsiteX32793" fmla="*/ 5047230 w 10505529"/>
              <a:gd name="connsiteY32793" fmla="*/ 2015653 h 7458372"/>
              <a:gd name="connsiteX32794" fmla="*/ 5035515 w 10505529"/>
              <a:gd name="connsiteY32794" fmla="*/ 2017922 h 7458372"/>
              <a:gd name="connsiteX32795" fmla="*/ 5013683 w 10505529"/>
              <a:gd name="connsiteY32795" fmla="*/ 2009402 h 7458372"/>
              <a:gd name="connsiteX32796" fmla="*/ 5005297 w 10505529"/>
              <a:gd name="connsiteY32796" fmla="*/ 1988237 h 7458372"/>
              <a:gd name="connsiteX32797" fmla="*/ 5013683 w 10505529"/>
              <a:gd name="connsiteY32797" fmla="*/ 1967203 h 7458372"/>
              <a:gd name="connsiteX32798" fmla="*/ 5035515 w 10505529"/>
              <a:gd name="connsiteY32798" fmla="*/ 1958553 h 7458372"/>
              <a:gd name="connsiteX32799" fmla="*/ 4817870 w 10505529"/>
              <a:gd name="connsiteY32799" fmla="*/ 1958553 h 7458372"/>
              <a:gd name="connsiteX32800" fmla="*/ 4829585 w 10505529"/>
              <a:gd name="connsiteY32800" fmla="*/ 1961216 h 7458372"/>
              <a:gd name="connsiteX32801" fmla="*/ 4838903 w 10505529"/>
              <a:gd name="connsiteY32801" fmla="*/ 1967605 h 7458372"/>
              <a:gd name="connsiteX32802" fmla="*/ 4845026 w 10505529"/>
              <a:gd name="connsiteY32802" fmla="*/ 1976921 h 7458372"/>
              <a:gd name="connsiteX32803" fmla="*/ 4847289 w 10505529"/>
              <a:gd name="connsiteY32803" fmla="*/ 1988367 h 7458372"/>
              <a:gd name="connsiteX32804" fmla="*/ 4845026 w 10505529"/>
              <a:gd name="connsiteY32804" fmla="*/ 2000077 h 7458372"/>
              <a:gd name="connsiteX32805" fmla="*/ 4838903 w 10505529"/>
              <a:gd name="connsiteY32805" fmla="*/ 2009402 h 7458372"/>
              <a:gd name="connsiteX32806" fmla="*/ 4829585 w 10505529"/>
              <a:gd name="connsiteY32806" fmla="*/ 2015653 h 7458372"/>
              <a:gd name="connsiteX32807" fmla="*/ 4817870 w 10505529"/>
              <a:gd name="connsiteY32807" fmla="*/ 2017922 h 7458372"/>
              <a:gd name="connsiteX32808" fmla="*/ 4796038 w 10505529"/>
              <a:gd name="connsiteY32808" fmla="*/ 2009402 h 7458372"/>
              <a:gd name="connsiteX32809" fmla="*/ 4787652 w 10505529"/>
              <a:gd name="connsiteY32809" fmla="*/ 1988237 h 7458372"/>
              <a:gd name="connsiteX32810" fmla="*/ 4796038 w 10505529"/>
              <a:gd name="connsiteY32810" fmla="*/ 1967203 h 7458372"/>
              <a:gd name="connsiteX32811" fmla="*/ 4817870 w 10505529"/>
              <a:gd name="connsiteY32811" fmla="*/ 1958553 h 7458372"/>
              <a:gd name="connsiteX32812" fmla="*/ 4600226 w 10505529"/>
              <a:gd name="connsiteY32812" fmla="*/ 1958553 h 7458372"/>
              <a:gd name="connsiteX32813" fmla="*/ 4612073 w 10505529"/>
              <a:gd name="connsiteY32813" fmla="*/ 1961216 h 7458372"/>
              <a:gd name="connsiteX32814" fmla="*/ 4621391 w 10505529"/>
              <a:gd name="connsiteY32814" fmla="*/ 1967605 h 7458372"/>
              <a:gd name="connsiteX32815" fmla="*/ 4627514 w 10505529"/>
              <a:gd name="connsiteY32815" fmla="*/ 1976921 h 7458372"/>
              <a:gd name="connsiteX32816" fmla="*/ 4629777 w 10505529"/>
              <a:gd name="connsiteY32816" fmla="*/ 1988367 h 7458372"/>
              <a:gd name="connsiteX32817" fmla="*/ 4627514 w 10505529"/>
              <a:gd name="connsiteY32817" fmla="*/ 2000077 h 7458372"/>
              <a:gd name="connsiteX32818" fmla="*/ 4621391 w 10505529"/>
              <a:gd name="connsiteY32818" fmla="*/ 2009402 h 7458372"/>
              <a:gd name="connsiteX32819" fmla="*/ 4612073 w 10505529"/>
              <a:gd name="connsiteY32819" fmla="*/ 2015653 h 7458372"/>
              <a:gd name="connsiteX32820" fmla="*/ 4600226 w 10505529"/>
              <a:gd name="connsiteY32820" fmla="*/ 2017922 h 7458372"/>
              <a:gd name="connsiteX32821" fmla="*/ 4578393 w 10505529"/>
              <a:gd name="connsiteY32821" fmla="*/ 2009402 h 7458372"/>
              <a:gd name="connsiteX32822" fmla="*/ 4570007 w 10505529"/>
              <a:gd name="connsiteY32822" fmla="*/ 1988237 h 7458372"/>
              <a:gd name="connsiteX32823" fmla="*/ 4578393 w 10505529"/>
              <a:gd name="connsiteY32823" fmla="*/ 1967203 h 7458372"/>
              <a:gd name="connsiteX32824" fmla="*/ 4600226 w 10505529"/>
              <a:gd name="connsiteY32824" fmla="*/ 1958553 h 7458372"/>
              <a:gd name="connsiteX32825" fmla="*/ 4382713 w 10505529"/>
              <a:gd name="connsiteY32825" fmla="*/ 1958553 h 7458372"/>
              <a:gd name="connsiteX32826" fmla="*/ 4394428 w 10505529"/>
              <a:gd name="connsiteY32826" fmla="*/ 1961216 h 7458372"/>
              <a:gd name="connsiteX32827" fmla="*/ 4403746 w 10505529"/>
              <a:gd name="connsiteY32827" fmla="*/ 1967605 h 7458372"/>
              <a:gd name="connsiteX32828" fmla="*/ 4409869 w 10505529"/>
              <a:gd name="connsiteY32828" fmla="*/ 1976921 h 7458372"/>
              <a:gd name="connsiteX32829" fmla="*/ 4412132 w 10505529"/>
              <a:gd name="connsiteY32829" fmla="*/ 1988367 h 7458372"/>
              <a:gd name="connsiteX32830" fmla="*/ 4409869 w 10505529"/>
              <a:gd name="connsiteY32830" fmla="*/ 2000077 h 7458372"/>
              <a:gd name="connsiteX32831" fmla="*/ 4403746 w 10505529"/>
              <a:gd name="connsiteY32831" fmla="*/ 2009402 h 7458372"/>
              <a:gd name="connsiteX32832" fmla="*/ 4394428 w 10505529"/>
              <a:gd name="connsiteY32832" fmla="*/ 2015653 h 7458372"/>
              <a:gd name="connsiteX32833" fmla="*/ 4382713 w 10505529"/>
              <a:gd name="connsiteY32833" fmla="*/ 2017922 h 7458372"/>
              <a:gd name="connsiteX32834" fmla="*/ 4360881 w 10505529"/>
              <a:gd name="connsiteY32834" fmla="*/ 2009402 h 7458372"/>
              <a:gd name="connsiteX32835" fmla="*/ 4352495 w 10505529"/>
              <a:gd name="connsiteY32835" fmla="*/ 1988237 h 7458372"/>
              <a:gd name="connsiteX32836" fmla="*/ 4360881 w 10505529"/>
              <a:gd name="connsiteY32836" fmla="*/ 1967203 h 7458372"/>
              <a:gd name="connsiteX32837" fmla="*/ 4382713 w 10505529"/>
              <a:gd name="connsiteY32837" fmla="*/ 1958553 h 7458372"/>
              <a:gd name="connsiteX32838" fmla="*/ 4165068 w 10505529"/>
              <a:gd name="connsiteY32838" fmla="*/ 1958553 h 7458372"/>
              <a:gd name="connsiteX32839" fmla="*/ 4176782 w 10505529"/>
              <a:gd name="connsiteY32839" fmla="*/ 1961216 h 7458372"/>
              <a:gd name="connsiteX32840" fmla="*/ 4186100 w 10505529"/>
              <a:gd name="connsiteY32840" fmla="*/ 1967605 h 7458372"/>
              <a:gd name="connsiteX32841" fmla="*/ 4192223 w 10505529"/>
              <a:gd name="connsiteY32841" fmla="*/ 1976921 h 7458372"/>
              <a:gd name="connsiteX32842" fmla="*/ 4194486 w 10505529"/>
              <a:gd name="connsiteY32842" fmla="*/ 1988367 h 7458372"/>
              <a:gd name="connsiteX32843" fmla="*/ 4192223 w 10505529"/>
              <a:gd name="connsiteY32843" fmla="*/ 2000077 h 7458372"/>
              <a:gd name="connsiteX32844" fmla="*/ 4186100 w 10505529"/>
              <a:gd name="connsiteY32844" fmla="*/ 2009402 h 7458372"/>
              <a:gd name="connsiteX32845" fmla="*/ 4176782 w 10505529"/>
              <a:gd name="connsiteY32845" fmla="*/ 2015653 h 7458372"/>
              <a:gd name="connsiteX32846" fmla="*/ 4165068 w 10505529"/>
              <a:gd name="connsiteY32846" fmla="*/ 2017922 h 7458372"/>
              <a:gd name="connsiteX32847" fmla="*/ 4143235 w 10505529"/>
              <a:gd name="connsiteY32847" fmla="*/ 2009402 h 7458372"/>
              <a:gd name="connsiteX32848" fmla="*/ 4134849 w 10505529"/>
              <a:gd name="connsiteY32848" fmla="*/ 1988237 h 7458372"/>
              <a:gd name="connsiteX32849" fmla="*/ 4143235 w 10505529"/>
              <a:gd name="connsiteY32849" fmla="*/ 1967203 h 7458372"/>
              <a:gd name="connsiteX32850" fmla="*/ 4165068 w 10505529"/>
              <a:gd name="connsiteY32850" fmla="*/ 1958553 h 7458372"/>
              <a:gd name="connsiteX32851" fmla="*/ 3947535 w 10505529"/>
              <a:gd name="connsiteY32851" fmla="*/ 1958553 h 7458372"/>
              <a:gd name="connsiteX32852" fmla="*/ 3959250 w 10505529"/>
              <a:gd name="connsiteY32852" fmla="*/ 1961216 h 7458372"/>
              <a:gd name="connsiteX32853" fmla="*/ 3968568 w 10505529"/>
              <a:gd name="connsiteY32853" fmla="*/ 1967605 h 7458372"/>
              <a:gd name="connsiteX32854" fmla="*/ 3974692 w 10505529"/>
              <a:gd name="connsiteY32854" fmla="*/ 1976921 h 7458372"/>
              <a:gd name="connsiteX32855" fmla="*/ 3976956 w 10505529"/>
              <a:gd name="connsiteY32855" fmla="*/ 1988367 h 7458372"/>
              <a:gd name="connsiteX32856" fmla="*/ 3974692 w 10505529"/>
              <a:gd name="connsiteY32856" fmla="*/ 2000077 h 7458372"/>
              <a:gd name="connsiteX32857" fmla="*/ 3968568 w 10505529"/>
              <a:gd name="connsiteY32857" fmla="*/ 2009402 h 7458372"/>
              <a:gd name="connsiteX32858" fmla="*/ 3959250 w 10505529"/>
              <a:gd name="connsiteY32858" fmla="*/ 2015653 h 7458372"/>
              <a:gd name="connsiteX32859" fmla="*/ 3947535 w 10505529"/>
              <a:gd name="connsiteY32859" fmla="*/ 2017922 h 7458372"/>
              <a:gd name="connsiteX32860" fmla="*/ 3925703 w 10505529"/>
              <a:gd name="connsiteY32860" fmla="*/ 2009402 h 7458372"/>
              <a:gd name="connsiteX32861" fmla="*/ 3917316 w 10505529"/>
              <a:gd name="connsiteY32861" fmla="*/ 1988237 h 7458372"/>
              <a:gd name="connsiteX32862" fmla="*/ 3925703 w 10505529"/>
              <a:gd name="connsiteY32862" fmla="*/ 1967203 h 7458372"/>
              <a:gd name="connsiteX32863" fmla="*/ 3947535 w 10505529"/>
              <a:gd name="connsiteY32863" fmla="*/ 1958553 h 7458372"/>
              <a:gd name="connsiteX32864" fmla="*/ 3729884 w 10505529"/>
              <a:gd name="connsiteY32864" fmla="*/ 1958553 h 7458372"/>
              <a:gd name="connsiteX32865" fmla="*/ 3741599 w 10505529"/>
              <a:gd name="connsiteY32865" fmla="*/ 1961216 h 7458372"/>
              <a:gd name="connsiteX32866" fmla="*/ 3750918 w 10505529"/>
              <a:gd name="connsiteY32866" fmla="*/ 1967605 h 7458372"/>
              <a:gd name="connsiteX32867" fmla="*/ 3757041 w 10505529"/>
              <a:gd name="connsiteY32867" fmla="*/ 1976921 h 7458372"/>
              <a:gd name="connsiteX32868" fmla="*/ 3759304 w 10505529"/>
              <a:gd name="connsiteY32868" fmla="*/ 1988367 h 7458372"/>
              <a:gd name="connsiteX32869" fmla="*/ 3757041 w 10505529"/>
              <a:gd name="connsiteY32869" fmla="*/ 2000077 h 7458372"/>
              <a:gd name="connsiteX32870" fmla="*/ 3750918 w 10505529"/>
              <a:gd name="connsiteY32870" fmla="*/ 2009402 h 7458372"/>
              <a:gd name="connsiteX32871" fmla="*/ 3741599 w 10505529"/>
              <a:gd name="connsiteY32871" fmla="*/ 2015653 h 7458372"/>
              <a:gd name="connsiteX32872" fmla="*/ 3729884 w 10505529"/>
              <a:gd name="connsiteY32872" fmla="*/ 2017922 h 7458372"/>
              <a:gd name="connsiteX32873" fmla="*/ 3708050 w 10505529"/>
              <a:gd name="connsiteY32873" fmla="*/ 2009402 h 7458372"/>
              <a:gd name="connsiteX32874" fmla="*/ 3699664 w 10505529"/>
              <a:gd name="connsiteY32874" fmla="*/ 1988237 h 7458372"/>
              <a:gd name="connsiteX32875" fmla="*/ 3708050 w 10505529"/>
              <a:gd name="connsiteY32875" fmla="*/ 1967203 h 7458372"/>
              <a:gd name="connsiteX32876" fmla="*/ 3729884 w 10505529"/>
              <a:gd name="connsiteY32876" fmla="*/ 1958553 h 7458372"/>
              <a:gd name="connsiteX32877" fmla="*/ 3512233 w 10505529"/>
              <a:gd name="connsiteY32877" fmla="*/ 1958553 h 7458372"/>
              <a:gd name="connsiteX32878" fmla="*/ 3523949 w 10505529"/>
              <a:gd name="connsiteY32878" fmla="*/ 1961216 h 7458372"/>
              <a:gd name="connsiteX32879" fmla="*/ 3533267 w 10505529"/>
              <a:gd name="connsiteY32879" fmla="*/ 1967605 h 7458372"/>
              <a:gd name="connsiteX32880" fmla="*/ 3539390 w 10505529"/>
              <a:gd name="connsiteY32880" fmla="*/ 1976921 h 7458372"/>
              <a:gd name="connsiteX32881" fmla="*/ 3541653 w 10505529"/>
              <a:gd name="connsiteY32881" fmla="*/ 1988367 h 7458372"/>
              <a:gd name="connsiteX32882" fmla="*/ 3539390 w 10505529"/>
              <a:gd name="connsiteY32882" fmla="*/ 2000077 h 7458372"/>
              <a:gd name="connsiteX32883" fmla="*/ 3533267 w 10505529"/>
              <a:gd name="connsiteY32883" fmla="*/ 2009402 h 7458372"/>
              <a:gd name="connsiteX32884" fmla="*/ 3523949 w 10505529"/>
              <a:gd name="connsiteY32884" fmla="*/ 2015653 h 7458372"/>
              <a:gd name="connsiteX32885" fmla="*/ 3512233 w 10505529"/>
              <a:gd name="connsiteY32885" fmla="*/ 2017922 h 7458372"/>
              <a:gd name="connsiteX32886" fmla="*/ 3490400 w 10505529"/>
              <a:gd name="connsiteY32886" fmla="*/ 2009402 h 7458372"/>
              <a:gd name="connsiteX32887" fmla="*/ 3482013 w 10505529"/>
              <a:gd name="connsiteY32887" fmla="*/ 1988237 h 7458372"/>
              <a:gd name="connsiteX32888" fmla="*/ 3490400 w 10505529"/>
              <a:gd name="connsiteY32888" fmla="*/ 1967203 h 7458372"/>
              <a:gd name="connsiteX32889" fmla="*/ 3512233 w 10505529"/>
              <a:gd name="connsiteY32889" fmla="*/ 1958553 h 7458372"/>
              <a:gd name="connsiteX32890" fmla="*/ 3294716 w 10505529"/>
              <a:gd name="connsiteY32890" fmla="*/ 1958553 h 7458372"/>
              <a:gd name="connsiteX32891" fmla="*/ 3306431 w 10505529"/>
              <a:gd name="connsiteY32891" fmla="*/ 1961216 h 7458372"/>
              <a:gd name="connsiteX32892" fmla="*/ 3315749 w 10505529"/>
              <a:gd name="connsiteY32892" fmla="*/ 1967605 h 7458372"/>
              <a:gd name="connsiteX32893" fmla="*/ 3321873 w 10505529"/>
              <a:gd name="connsiteY32893" fmla="*/ 1976921 h 7458372"/>
              <a:gd name="connsiteX32894" fmla="*/ 3324135 w 10505529"/>
              <a:gd name="connsiteY32894" fmla="*/ 1988367 h 7458372"/>
              <a:gd name="connsiteX32895" fmla="*/ 3321873 w 10505529"/>
              <a:gd name="connsiteY32895" fmla="*/ 2000077 h 7458372"/>
              <a:gd name="connsiteX32896" fmla="*/ 3315749 w 10505529"/>
              <a:gd name="connsiteY32896" fmla="*/ 2009402 h 7458372"/>
              <a:gd name="connsiteX32897" fmla="*/ 3306431 w 10505529"/>
              <a:gd name="connsiteY32897" fmla="*/ 2015653 h 7458372"/>
              <a:gd name="connsiteX32898" fmla="*/ 3294716 w 10505529"/>
              <a:gd name="connsiteY32898" fmla="*/ 2017922 h 7458372"/>
              <a:gd name="connsiteX32899" fmla="*/ 3272881 w 10505529"/>
              <a:gd name="connsiteY32899" fmla="*/ 2009402 h 7458372"/>
              <a:gd name="connsiteX32900" fmla="*/ 3264495 w 10505529"/>
              <a:gd name="connsiteY32900" fmla="*/ 1988237 h 7458372"/>
              <a:gd name="connsiteX32901" fmla="*/ 3272881 w 10505529"/>
              <a:gd name="connsiteY32901" fmla="*/ 1967203 h 7458372"/>
              <a:gd name="connsiteX32902" fmla="*/ 3294716 w 10505529"/>
              <a:gd name="connsiteY32902" fmla="*/ 1958553 h 7458372"/>
              <a:gd name="connsiteX32903" fmla="*/ 3077065 w 10505529"/>
              <a:gd name="connsiteY32903" fmla="*/ 1958553 h 7458372"/>
              <a:gd name="connsiteX32904" fmla="*/ 3088780 w 10505529"/>
              <a:gd name="connsiteY32904" fmla="*/ 1961216 h 7458372"/>
              <a:gd name="connsiteX32905" fmla="*/ 3098098 w 10505529"/>
              <a:gd name="connsiteY32905" fmla="*/ 1967605 h 7458372"/>
              <a:gd name="connsiteX32906" fmla="*/ 3104221 w 10505529"/>
              <a:gd name="connsiteY32906" fmla="*/ 1976921 h 7458372"/>
              <a:gd name="connsiteX32907" fmla="*/ 3106484 w 10505529"/>
              <a:gd name="connsiteY32907" fmla="*/ 1988367 h 7458372"/>
              <a:gd name="connsiteX32908" fmla="*/ 3104221 w 10505529"/>
              <a:gd name="connsiteY32908" fmla="*/ 2000077 h 7458372"/>
              <a:gd name="connsiteX32909" fmla="*/ 3098098 w 10505529"/>
              <a:gd name="connsiteY32909" fmla="*/ 2009402 h 7458372"/>
              <a:gd name="connsiteX32910" fmla="*/ 3088780 w 10505529"/>
              <a:gd name="connsiteY32910" fmla="*/ 2015653 h 7458372"/>
              <a:gd name="connsiteX32911" fmla="*/ 3077065 w 10505529"/>
              <a:gd name="connsiteY32911" fmla="*/ 2017922 h 7458372"/>
              <a:gd name="connsiteX32912" fmla="*/ 3055231 w 10505529"/>
              <a:gd name="connsiteY32912" fmla="*/ 2009402 h 7458372"/>
              <a:gd name="connsiteX32913" fmla="*/ 3046845 w 10505529"/>
              <a:gd name="connsiteY32913" fmla="*/ 1988237 h 7458372"/>
              <a:gd name="connsiteX32914" fmla="*/ 3055231 w 10505529"/>
              <a:gd name="connsiteY32914" fmla="*/ 1967203 h 7458372"/>
              <a:gd name="connsiteX32915" fmla="*/ 3077065 w 10505529"/>
              <a:gd name="connsiteY32915" fmla="*/ 1958553 h 7458372"/>
              <a:gd name="connsiteX32916" fmla="*/ 2859414 w 10505529"/>
              <a:gd name="connsiteY32916" fmla="*/ 1958553 h 7458372"/>
              <a:gd name="connsiteX32917" fmla="*/ 2871263 w 10505529"/>
              <a:gd name="connsiteY32917" fmla="*/ 1961216 h 7458372"/>
              <a:gd name="connsiteX32918" fmla="*/ 2880581 w 10505529"/>
              <a:gd name="connsiteY32918" fmla="*/ 1967605 h 7458372"/>
              <a:gd name="connsiteX32919" fmla="*/ 2886704 w 10505529"/>
              <a:gd name="connsiteY32919" fmla="*/ 1976921 h 7458372"/>
              <a:gd name="connsiteX32920" fmla="*/ 2888967 w 10505529"/>
              <a:gd name="connsiteY32920" fmla="*/ 1988367 h 7458372"/>
              <a:gd name="connsiteX32921" fmla="*/ 2886704 w 10505529"/>
              <a:gd name="connsiteY32921" fmla="*/ 2000077 h 7458372"/>
              <a:gd name="connsiteX32922" fmla="*/ 2880581 w 10505529"/>
              <a:gd name="connsiteY32922" fmla="*/ 2009402 h 7458372"/>
              <a:gd name="connsiteX32923" fmla="*/ 2871263 w 10505529"/>
              <a:gd name="connsiteY32923" fmla="*/ 2015653 h 7458372"/>
              <a:gd name="connsiteX32924" fmla="*/ 2859414 w 10505529"/>
              <a:gd name="connsiteY32924" fmla="*/ 2017922 h 7458372"/>
              <a:gd name="connsiteX32925" fmla="*/ 2837581 w 10505529"/>
              <a:gd name="connsiteY32925" fmla="*/ 2009402 h 7458372"/>
              <a:gd name="connsiteX32926" fmla="*/ 2829194 w 10505529"/>
              <a:gd name="connsiteY32926" fmla="*/ 1988237 h 7458372"/>
              <a:gd name="connsiteX32927" fmla="*/ 2837581 w 10505529"/>
              <a:gd name="connsiteY32927" fmla="*/ 1967203 h 7458372"/>
              <a:gd name="connsiteX32928" fmla="*/ 2859414 w 10505529"/>
              <a:gd name="connsiteY32928" fmla="*/ 1958553 h 7458372"/>
              <a:gd name="connsiteX32929" fmla="*/ 2641763 w 10505529"/>
              <a:gd name="connsiteY32929" fmla="*/ 1958553 h 7458372"/>
              <a:gd name="connsiteX32930" fmla="*/ 2653479 w 10505529"/>
              <a:gd name="connsiteY32930" fmla="*/ 1961216 h 7458372"/>
              <a:gd name="connsiteX32931" fmla="*/ 2662797 w 10505529"/>
              <a:gd name="connsiteY32931" fmla="*/ 1967605 h 7458372"/>
              <a:gd name="connsiteX32932" fmla="*/ 2668920 w 10505529"/>
              <a:gd name="connsiteY32932" fmla="*/ 1976921 h 7458372"/>
              <a:gd name="connsiteX32933" fmla="*/ 2671183 w 10505529"/>
              <a:gd name="connsiteY32933" fmla="*/ 1988367 h 7458372"/>
              <a:gd name="connsiteX32934" fmla="*/ 2668920 w 10505529"/>
              <a:gd name="connsiteY32934" fmla="*/ 2000077 h 7458372"/>
              <a:gd name="connsiteX32935" fmla="*/ 2662797 w 10505529"/>
              <a:gd name="connsiteY32935" fmla="*/ 2009402 h 7458372"/>
              <a:gd name="connsiteX32936" fmla="*/ 2653479 w 10505529"/>
              <a:gd name="connsiteY32936" fmla="*/ 2015653 h 7458372"/>
              <a:gd name="connsiteX32937" fmla="*/ 2641763 w 10505529"/>
              <a:gd name="connsiteY32937" fmla="*/ 2017922 h 7458372"/>
              <a:gd name="connsiteX32938" fmla="*/ 2619931 w 10505529"/>
              <a:gd name="connsiteY32938" fmla="*/ 2009402 h 7458372"/>
              <a:gd name="connsiteX32939" fmla="*/ 2611544 w 10505529"/>
              <a:gd name="connsiteY32939" fmla="*/ 1988237 h 7458372"/>
              <a:gd name="connsiteX32940" fmla="*/ 2619931 w 10505529"/>
              <a:gd name="connsiteY32940" fmla="*/ 1967203 h 7458372"/>
              <a:gd name="connsiteX32941" fmla="*/ 2641763 w 10505529"/>
              <a:gd name="connsiteY32941" fmla="*/ 1958553 h 7458372"/>
              <a:gd name="connsiteX32942" fmla="*/ 2424112 w 10505529"/>
              <a:gd name="connsiteY32942" fmla="*/ 1958553 h 7458372"/>
              <a:gd name="connsiteX32943" fmla="*/ 2435828 w 10505529"/>
              <a:gd name="connsiteY32943" fmla="*/ 1961216 h 7458372"/>
              <a:gd name="connsiteX32944" fmla="*/ 2445146 w 10505529"/>
              <a:gd name="connsiteY32944" fmla="*/ 1967605 h 7458372"/>
              <a:gd name="connsiteX32945" fmla="*/ 2451269 w 10505529"/>
              <a:gd name="connsiteY32945" fmla="*/ 1976921 h 7458372"/>
              <a:gd name="connsiteX32946" fmla="*/ 2453532 w 10505529"/>
              <a:gd name="connsiteY32946" fmla="*/ 1988367 h 7458372"/>
              <a:gd name="connsiteX32947" fmla="*/ 2451269 w 10505529"/>
              <a:gd name="connsiteY32947" fmla="*/ 2000077 h 7458372"/>
              <a:gd name="connsiteX32948" fmla="*/ 2445146 w 10505529"/>
              <a:gd name="connsiteY32948" fmla="*/ 2009402 h 7458372"/>
              <a:gd name="connsiteX32949" fmla="*/ 2435828 w 10505529"/>
              <a:gd name="connsiteY32949" fmla="*/ 2015653 h 7458372"/>
              <a:gd name="connsiteX32950" fmla="*/ 2424112 w 10505529"/>
              <a:gd name="connsiteY32950" fmla="*/ 2017922 h 7458372"/>
              <a:gd name="connsiteX32951" fmla="*/ 2402280 w 10505529"/>
              <a:gd name="connsiteY32951" fmla="*/ 2009402 h 7458372"/>
              <a:gd name="connsiteX32952" fmla="*/ 2393893 w 10505529"/>
              <a:gd name="connsiteY32952" fmla="*/ 1988237 h 7458372"/>
              <a:gd name="connsiteX32953" fmla="*/ 2402280 w 10505529"/>
              <a:gd name="connsiteY32953" fmla="*/ 1967203 h 7458372"/>
              <a:gd name="connsiteX32954" fmla="*/ 2424112 w 10505529"/>
              <a:gd name="connsiteY32954" fmla="*/ 1958553 h 7458372"/>
              <a:gd name="connsiteX32955" fmla="*/ 2206462 w 10505529"/>
              <a:gd name="connsiteY32955" fmla="*/ 1958553 h 7458372"/>
              <a:gd name="connsiteX32956" fmla="*/ 2218177 w 10505529"/>
              <a:gd name="connsiteY32956" fmla="*/ 1961216 h 7458372"/>
              <a:gd name="connsiteX32957" fmla="*/ 2227495 w 10505529"/>
              <a:gd name="connsiteY32957" fmla="*/ 1967605 h 7458372"/>
              <a:gd name="connsiteX32958" fmla="*/ 2233618 w 10505529"/>
              <a:gd name="connsiteY32958" fmla="*/ 1976921 h 7458372"/>
              <a:gd name="connsiteX32959" fmla="*/ 2235881 w 10505529"/>
              <a:gd name="connsiteY32959" fmla="*/ 1988367 h 7458372"/>
              <a:gd name="connsiteX32960" fmla="*/ 2233618 w 10505529"/>
              <a:gd name="connsiteY32960" fmla="*/ 2000077 h 7458372"/>
              <a:gd name="connsiteX32961" fmla="*/ 2227495 w 10505529"/>
              <a:gd name="connsiteY32961" fmla="*/ 2009402 h 7458372"/>
              <a:gd name="connsiteX32962" fmla="*/ 2218177 w 10505529"/>
              <a:gd name="connsiteY32962" fmla="*/ 2015653 h 7458372"/>
              <a:gd name="connsiteX32963" fmla="*/ 2206462 w 10505529"/>
              <a:gd name="connsiteY32963" fmla="*/ 2017922 h 7458372"/>
              <a:gd name="connsiteX32964" fmla="*/ 2184630 w 10505529"/>
              <a:gd name="connsiteY32964" fmla="*/ 2009402 h 7458372"/>
              <a:gd name="connsiteX32965" fmla="*/ 2176243 w 10505529"/>
              <a:gd name="connsiteY32965" fmla="*/ 1988237 h 7458372"/>
              <a:gd name="connsiteX32966" fmla="*/ 2184630 w 10505529"/>
              <a:gd name="connsiteY32966" fmla="*/ 1967203 h 7458372"/>
              <a:gd name="connsiteX32967" fmla="*/ 2206462 w 10505529"/>
              <a:gd name="connsiteY32967" fmla="*/ 1958553 h 7458372"/>
              <a:gd name="connsiteX32968" fmla="*/ 1988944 w 10505529"/>
              <a:gd name="connsiteY32968" fmla="*/ 1958553 h 7458372"/>
              <a:gd name="connsiteX32969" fmla="*/ 2000659 w 10505529"/>
              <a:gd name="connsiteY32969" fmla="*/ 1961216 h 7458372"/>
              <a:gd name="connsiteX32970" fmla="*/ 2009977 w 10505529"/>
              <a:gd name="connsiteY32970" fmla="*/ 1967605 h 7458372"/>
              <a:gd name="connsiteX32971" fmla="*/ 2016100 w 10505529"/>
              <a:gd name="connsiteY32971" fmla="*/ 1976921 h 7458372"/>
              <a:gd name="connsiteX32972" fmla="*/ 2018363 w 10505529"/>
              <a:gd name="connsiteY32972" fmla="*/ 1988367 h 7458372"/>
              <a:gd name="connsiteX32973" fmla="*/ 2016100 w 10505529"/>
              <a:gd name="connsiteY32973" fmla="*/ 2000077 h 7458372"/>
              <a:gd name="connsiteX32974" fmla="*/ 2009977 w 10505529"/>
              <a:gd name="connsiteY32974" fmla="*/ 2009402 h 7458372"/>
              <a:gd name="connsiteX32975" fmla="*/ 2000659 w 10505529"/>
              <a:gd name="connsiteY32975" fmla="*/ 2015653 h 7458372"/>
              <a:gd name="connsiteX32976" fmla="*/ 1988944 w 10505529"/>
              <a:gd name="connsiteY32976" fmla="*/ 2017922 h 7458372"/>
              <a:gd name="connsiteX32977" fmla="*/ 1967112 w 10505529"/>
              <a:gd name="connsiteY32977" fmla="*/ 2009402 h 7458372"/>
              <a:gd name="connsiteX32978" fmla="*/ 1958726 w 10505529"/>
              <a:gd name="connsiteY32978" fmla="*/ 1988237 h 7458372"/>
              <a:gd name="connsiteX32979" fmla="*/ 1967112 w 10505529"/>
              <a:gd name="connsiteY32979" fmla="*/ 1967203 h 7458372"/>
              <a:gd name="connsiteX32980" fmla="*/ 1988944 w 10505529"/>
              <a:gd name="connsiteY32980" fmla="*/ 1958553 h 7458372"/>
              <a:gd name="connsiteX32981" fmla="*/ 1771303 w 10505529"/>
              <a:gd name="connsiteY32981" fmla="*/ 1958553 h 7458372"/>
              <a:gd name="connsiteX32982" fmla="*/ 1783018 w 10505529"/>
              <a:gd name="connsiteY32982" fmla="*/ 1961216 h 7458372"/>
              <a:gd name="connsiteX32983" fmla="*/ 1792335 w 10505529"/>
              <a:gd name="connsiteY32983" fmla="*/ 1967605 h 7458372"/>
              <a:gd name="connsiteX32984" fmla="*/ 1798459 w 10505529"/>
              <a:gd name="connsiteY32984" fmla="*/ 1976921 h 7458372"/>
              <a:gd name="connsiteX32985" fmla="*/ 1800721 w 10505529"/>
              <a:gd name="connsiteY32985" fmla="*/ 1988367 h 7458372"/>
              <a:gd name="connsiteX32986" fmla="*/ 1798459 w 10505529"/>
              <a:gd name="connsiteY32986" fmla="*/ 2000077 h 7458372"/>
              <a:gd name="connsiteX32987" fmla="*/ 1792335 w 10505529"/>
              <a:gd name="connsiteY32987" fmla="*/ 2009402 h 7458372"/>
              <a:gd name="connsiteX32988" fmla="*/ 1783018 w 10505529"/>
              <a:gd name="connsiteY32988" fmla="*/ 2015653 h 7458372"/>
              <a:gd name="connsiteX32989" fmla="*/ 1771303 w 10505529"/>
              <a:gd name="connsiteY32989" fmla="*/ 2017922 h 7458372"/>
              <a:gd name="connsiteX32990" fmla="*/ 1749472 w 10505529"/>
              <a:gd name="connsiteY32990" fmla="*/ 2009402 h 7458372"/>
              <a:gd name="connsiteX32991" fmla="*/ 1741087 w 10505529"/>
              <a:gd name="connsiteY32991" fmla="*/ 1988237 h 7458372"/>
              <a:gd name="connsiteX32992" fmla="*/ 1749472 w 10505529"/>
              <a:gd name="connsiteY32992" fmla="*/ 1967203 h 7458372"/>
              <a:gd name="connsiteX32993" fmla="*/ 1771303 w 10505529"/>
              <a:gd name="connsiteY32993" fmla="*/ 1958553 h 7458372"/>
              <a:gd name="connsiteX32994" fmla="*/ 1553661 w 10505529"/>
              <a:gd name="connsiteY32994" fmla="*/ 1958553 h 7458372"/>
              <a:gd name="connsiteX32995" fmla="*/ 1565375 w 10505529"/>
              <a:gd name="connsiteY32995" fmla="*/ 1961216 h 7458372"/>
              <a:gd name="connsiteX32996" fmla="*/ 1574694 w 10505529"/>
              <a:gd name="connsiteY32996" fmla="*/ 1967605 h 7458372"/>
              <a:gd name="connsiteX32997" fmla="*/ 1580816 w 10505529"/>
              <a:gd name="connsiteY32997" fmla="*/ 1976921 h 7458372"/>
              <a:gd name="connsiteX32998" fmla="*/ 1583079 w 10505529"/>
              <a:gd name="connsiteY32998" fmla="*/ 1988367 h 7458372"/>
              <a:gd name="connsiteX32999" fmla="*/ 1580816 w 10505529"/>
              <a:gd name="connsiteY32999" fmla="*/ 2000077 h 7458372"/>
              <a:gd name="connsiteX33000" fmla="*/ 1574694 w 10505529"/>
              <a:gd name="connsiteY33000" fmla="*/ 2009402 h 7458372"/>
              <a:gd name="connsiteX33001" fmla="*/ 1565375 w 10505529"/>
              <a:gd name="connsiteY33001" fmla="*/ 2015653 h 7458372"/>
              <a:gd name="connsiteX33002" fmla="*/ 1553661 w 10505529"/>
              <a:gd name="connsiteY33002" fmla="*/ 2017922 h 7458372"/>
              <a:gd name="connsiteX33003" fmla="*/ 1531829 w 10505529"/>
              <a:gd name="connsiteY33003" fmla="*/ 2009402 h 7458372"/>
              <a:gd name="connsiteX33004" fmla="*/ 1523443 w 10505529"/>
              <a:gd name="connsiteY33004" fmla="*/ 1988237 h 7458372"/>
              <a:gd name="connsiteX33005" fmla="*/ 1531829 w 10505529"/>
              <a:gd name="connsiteY33005" fmla="*/ 1967203 h 7458372"/>
              <a:gd name="connsiteX33006" fmla="*/ 1553661 w 10505529"/>
              <a:gd name="connsiteY33006" fmla="*/ 1958553 h 7458372"/>
              <a:gd name="connsiteX33007" fmla="*/ 1336016 w 10505529"/>
              <a:gd name="connsiteY33007" fmla="*/ 1958553 h 7458372"/>
              <a:gd name="connsiteX33008" fmla="*/ 1347731 w 10505529"/>
              <a:gd name="connsiteY33008" fmla="*/ 1961216 h 7458372"/>
              <a:gd name="connsiteX33009" fmla="*/ 1357050 w 10505529"/>
              <a:gd name="connsiteY33009" fmla="*/ 1967605 h 7458372"/>
              <a:gd name="connsiteX33010" fmla="*/ 1363172 w 10505529"/>
              <a:gd name="connsiteY33010" fmla="*/ 1976921 h 7458372"/>
              <a:gd name="connsiteX33011" fmla="*/ 1365435 w 10505529"/>
              <a:gd name="connsiteY33011" fmla="*/ 1988367 h 7458372"/>
              <a:gd name="connsiteX33012" fmla="*/ 1363172 w 10505529"/>
              <a:gd name="connsiteY33012" fmla="*/ 2000077 h 7458372"/>
              <a:gd name="connsiteX33013" fmla="*/ 1357050 w 10505529"/>
              <a:gd name="connsiteY33013" fmla="*/ 2009402 h 7458372"/>
              <a:gd name="connsiteX33014" fmla="*/ 1347731 w 10505529"/>
              <a:gd name="connsiteY33014" fmla="*/ 2015653 h 7458372"/>
              <a:gd name="connsiteX33015" fmla="*/ 1336016 w 10505529"/>
              <a:gd name="connsiteY33015" fmla="*/ 2017922 h 7458372"/>
              <a:gd name="connsiteX33016" fmla="*/ 1314184 w 10505529"/>
              <a:gd name="connsiteY33016" fmla="*/ 2009402 h 7458372"/>
              <a:gd name="connsiteX33017" fmla="*/ 1305798 w 10505529"/>
              <a:gd name="connsiteY33017" fmla="*/ 1988237 h 7458372"/>
              <a:gd name="connsiteX33018" fmla="*/ 1314184 w 10505529"/>
              <a:gd name="connsiteY33018" fmla="*/ 1967203 h 7458372"/>
              <a:gd name="connsiteX33019" fmla="*/ 1336016 w 10505529"/>
              <a:gd name="connsiteY33019" fmla="*/ 1958553 h 7458372"/>
              <a:gd name="connsiteX33020" fmla="*/ 1118371 w 10505529"/>
              <a:gd name="connsiteY33020" fmla="*/ 1958553 h 7458372"/>
              <a:gd name="connsiteX33021" fmla="*/ 1130087 w 10505529"/>
              <a:gd name="connsiteY33021" fmla="*/ 1961216 h 7458372"/>
              <a:gd name="connsiteX33022" fmla="*/ 1139404 w 10505529"/>
              <a:gd name="connsiteY33022" fmla="*/ 1967605 h 7458372"/>
              <a:gd name="connsiteX33023" fmla="*/ 1145526 w 10505529"/>
              <a:gd name="connsiteY33023" fmla="*/ 1976921 h 7458372"/>
              <a:gd name="connsiteX33024" fmla="*/ 1147789 w 10505529"/>
              <a:gd name="connsiteY33024" fmla="*/ 1988367 h 7458372"/>
              <a:gd name="connsiteX33025" fmla="*/ 1145526 w 10505529"/>
              <a:gd name="connsiteY33025" fmla="*/ 2000077 h 7458372"/>
              <a:gd name="connsiteX33026" fmla="*/ 1139404 w 10505529"/>
              <a:gd name="connsiteY33026" fmla="*/ 2009402 h 7458372"/>
              <a:gd name="connsiteX33027" fmla="*/ 1130087 w 10505529"/>
              <a:gd name="connsiteY33027" fmla="*/ 2015653 h 7458372"/>
              <a:gd name="connsiteX33028" fmla="*/ 1118371 w 10505529"/>
              <a:gd name="connsiteY33028" fmla="*/ 2017922 h 7458372"/>
              <a:gd name="connsiteX33029" fmla="*/ 1096538 w 10505529"/>
              <a:gd name="connsiteY33029" fmla="*/ 2009402 h 7458372"/>
              <a:gd name="connsiteX33030" fmla="*/ 1088153 w 10505529"/>
              <a:gd name="connsiteY33030" fmla="*/ 1988237 h 7458372"/>
              <a:gd name="connsiteX33031" fmla="*/ 1096538 w 10505529"/>
              <a:gd name="connsiteY33031" fmla="*/ 1967203 h 7458372"/>
              <a:gd name="connsiteX33032" fmla="*/ 1118371 w 10505529"/>
              <a:gd name="connsiteY33032" fmla="*/ 1958553 h 7458372"/>
              <a:gd name="connsiteX33033" fmla="*/ 900859 w 10505529"/>
              <a:gd name="connsiteY33033" fmla="*/ 1958553 h 7458372"/>
              <a:gd name="connsiteX33034" fmla="*/ 912574 w 10505529"/>
              <a:gd name="connsiteY33034" fmla="*/ 1961216 h 7458372"/>
              <a:gd name="connsiteX33035" fmla="*/ 921892 w 10505529"/>
              <a:gd name="connsiteY33035" fmla="*/ 1967605 h 7458372"/>
              <a:gd name="connsiteX33036" fmla="*/ 928015 w 10505529"/>
              <a:gd name="connsiteY33036" fmla="*/ 1976921 h 7458372"/>
              <a:gd name="connsiteX33037" fmla="*/ 930278 w 10505529"/>
              <a:gd name="connsiteY33037" fmla="*/ 1988367 h 7458372"/>
              <a:gd name="connsiteX33038" fmla="*/ 928015 w 10505529"/>
              <a:gd name="connsiteY33038" fmla="*/ 2000077 h 7458372"/>
              <a:gd name="connsiteX33039" fmla="*/ 921892 w 10505529"/>
              <a:gd name="connsiteY33039" fmla="*/ 2009402 h 7458372"/>
              <a:gd name="connsiteX33040" fmla="*/ 912574 w 10505529"/>
              <a:gd name="connsiteY33040" fmla="*/ 2015653 h 7458372"/>
              <a:gd name="connsiteX33041" fmla="*/ 900859 w 10505529"/>
              <a:gd name="connsiteY33041" fmla="*/ 2017922 h 7458372"/>
              <a:gd name="connsiteX33042" fmla="*/ 879028 w 10505529"/>
              <a:gd name="connsiteY33042" fmla="*/ 2009402 h 7458372"/>
              <a:gd name="connsiteX33043" fmla="*/ 870642 w 10505529"/>
              <a:gd name="connsiteY33043" fmla="*/ 1988237 h 7458372"/>
              <a:gd name="connsiteX33044" fmla="*/ 879028 w 10505529"/>
              <a:gd name="connsiteY33044" fmla="*/ 1967203 h 7458372"/>
              <a:gd name="connsiteX33045" fmla="*/ 900859 w 10505529"/>
              <a:gd name="connsiteY33045" fmla="*/ 1958553 h 7458372"/>
              <a:gd name="connsiteX33046" fmla="*/ 683215 w 10505529"/>
              <a:gd name="connsiteY33046" fmla="*/ 1958553 h 7458372"/>
              <a:gd name="connsiteX33047" fmla="*/ 694931 w 10505529"/>
              <a:gd name="connsiteY33047" fmla="*/ 1961216 h 7458372"/>
              <a:gd name="connsiteX33048" fmla="*/ 704248 w 10505529"/>
              <a:gd name="connsiteY33048" fmla="*/ 1967605 h 7458372"/>
              <a:gd name="connsiteX33049" fmla="*/ 710371 w 10505529"/>
              <a:gd name="connsiteY33049" fmla="*/ 1976921 h 7458372"/>
              <a:gd name="connsiteX33050" fmla="*/ 712635 w 10505529"/>
              <a:gd name="connsiteY33050" fmla="*/ 1988367 h 7458372"/>
              <a:gd name="connsiteX33051" fmla="*/ 710371 w 10505529"/>
              <a:gd name="connsiteY33051" fmla="*/ 2000077 h 7458372"/>
              <a:gd name="connsiteX33052" fmla="*/ 704248 w 10505529"/>
              <a:gd name="connsiteY33052" fmla="*/ 2009402 h 7458372"/>
              <a:gd name="connsiteX33053" fmla="*/ 694931 w 10505529"/>
              <a:gd name="connsiteY33053" fmla="*/ 2015653 h 7458372"/>
              <a:gd name="connsiteX33054" fmla="*/ 683215 w 10505529"/>
              <a:gd name="connsiteY33054" fmla="*/ 2017922 h 7458372"/>
              <a:gd name="connsiteX33055" fmla="*/ 661384 w 10505529"/>
              <a:gd name="connsiteY33055" fmla="*/ 2009402 h 7458372"/>
              <a:gd name="connsiteX33056" fmla="*/ 652998 w 10505529"/>
              <a:gd name="connsiteY33056" fmla="*/ 1988237 h 7458372"/>
              <a:gd name="connsiteX33057" fmla="*/ 661384 w 10505529"/>
              <a:gd name="connsiteY33057" fmla="*/ 1967203 h 7458372"/>
              <a:gd name="connsiteX33058" fmla="*/ 683215 w 10505529"/>
              <a:gd name="connsiteY33058" fmla="*/ 1958553 h 7458372"/>
              <a:gd name="connsiteX33059" fmla="*/ 465572 w 10505529"/>
              <a:gd name="connsiteY33059" fmla="*/ 1958553 h 7458372"/>
              <a:gd name="connsiteX33060" fmla="*/ 477287 w 10505529"/>
              <a:gd name="connsiteY33060" fmla="*/ 1961216 h 7458372"/>
              <a:gd name="connsiteX33061" fmla="*/ 486605 w 10505529"/>
              <a:gd name="connsiteY33061" fmla="*/ 1967605 h 7458372"/>
              <a:gd name="connsiteX33062" fmla="*/ 492728 w 10505529"/>
              <a:gd name="connsiteY33062" fmla="*/ 1976921 h 7458372"/>
              <a:gd name="connsiteX33063" fmla="*/ 494991 w 10505529"/>
              <a:gd name="connsiteY33063" fmla="*/ 1988367 h 7458372"/>
              <a:gd name="connsiteX33064" fmla="*/ 492728 w 10505529"/>
              <a:gd name="connsiteY33064" fmla="*/ 2000077 h 7458372"/>
              <a:gd name="connsiteX33065" fmla="*/ 486605 w 10505529"/>
              <a:gd name="connsiteY33065" fmla="*/ 2009402 h 7458372"/>
              <a:gd name="connsiteX33066" fmla="*/ 477287 w 10505529"/>
              <a:gd name="connsiteY33066" fmla="*/ 2015653 h 7458372"/>
              <a:gd name="connsiteX33067" fmla="*/ 465572 w 10505529"/>
              <a:gd name="connsiteY33067" fmla="*/ 2017922 h 7458372"/>
              <a:gd name="connsiteX33068" fmla="*/ 443741 w 10505529"/>
              <a:gd name="connsiteY33068" fmla="*/ 2009402 h 7458372"/>
              <a:gd name="connsiteX33069" fmla="*/ 435355 w 10505529"/>
              <a:gd name="connsiteY33069" fmla="*/ 1988237 h 7458372"/>
              <a:gd name="connsiteX33070" fmla="*/ 443741 w 10505529"/>
              <a:gd name="connsiteY33070" fmla="*/ 1967203 h 7458372"/>
              <a:gd name="connsiteX33071" fmla="*/ 465572 w 10505529"/>
              <a:gd name="connsiteY33071" fmla="*/ 1958553 h 7458372"/>
              <a:gd name="connsiteX33072" fmla="*/ 247928 w 10505529"/>
              <a:gd name="connsiteY33072" fmla="*/ 1958553 h 7458372"/>
              <a:gd name="connsiteX33073" fmla="*/ 259643 w 10505529"/>
              <a:gd name="connsiteY33073" fmla="*/ 1961216 h 7458372"/>
              <a:gd name="connsiteX33074" fmla="*/ 268962 w 10505529"/>
              <a:gd name="connsiteY33074" fmla="*/ 1967605 h 7458372"/>
              <a:gd name="connsiteX33075" fmla="*/ 275085 w 10505529"/>
              <a:gd name="connsiteY33075" fmla="*/ 1976921 h 7458372"/>
              <a:gd name="connsiteX33076" fmla="*/ 277348 w 10505529"/>
              <a:gd name="connsiteY33076" fmla="*/ 1988367 h 7458372"/>
              <a:gd name="connsiteX33077" fmla="*/ 275085 w 10505529"/>
              <a:gd name="connsiteY33077" fmla="*/ 2000077 h 7458372"/>
              <a:gd name="connsiteX33078" fmla="*/ 268962 w 10505529"/>
              <a:gd name="connsiteY33078" fmla="*/ 2009402 h 7458372"/>
              <a:gd name="connsiteX33079" fmla="*/ 259643 w 10505529"/>
              <a:gd name="connsiteY33079" fmla="*/ 2015653 h 7458372"/>
              <a:gd name="connsiteX33080" fmla="*/ 247928 w 10505529"/>
              <a:gd name="connsiteY33080" fmla="*/ 2017922 h 7458372"/>
              <a:gd name="connsiteX33081" fmla="*/ 226098 w 10505529"/>
              <a:gd name="connsiteY33081" fmla="*/ 2009402 h 7458372"/>
              <a:gd name="connsiteX33082" fmla="*/ 217712 w 10505529"/>
              <a:gd name="connsiteY33082" fmla="*/ 1988237 h 7458372"/>
              <a:gd name="connsiteX33083" fmla="*/ 226098 w 10505529"/>
              <a:gd name="connsiteY33083" fmla="*/ 1967203 h 7458372"/>
              <a:gd name="connsiteX33084" fmla="*/ 247928 w 10505529"/>
              <a:gd name="connsiteY33084" fmla="*/ 1958553 h 7458372"/>
              <a:gd name="connsiteX33085" fmla="*/ 30285 w 10505529"/>
              <a:gd name="connsiteY33085" fmla="*/ 1958553 h 7458372"/>
              <a:gd name="connsiteX33086" fmla="*/ 42000 w 10505529"/>
              <a:gd name="connsiteY33086" fmla="*/ 1961216 h 7458372"/>
              <a:gd name="connsiteX33087" fmla="*/ 51318 w 10505529"/>
              <a:gd name="connsiteY33087" fmla="*/ 1967605 h 7458372"/>
              <a:gd name="connsiteX33088" fmla="*/ 57441 w 10505529"/>
              <a:gd name="connsiteY33088" fmla="*/ 1976921 h 7458372"/>
              <a:gd name="connsiteX33089" fmla="*/ 59704 w 10505529"/>
              <a:gd name="connsiteY33089" fmla="*/ 1988367 h 7458372"/>
              <a:gd name="connsiteX33090" fmla="*/ 57441 w 10505529"/>
              <a:gd name="connsiteY33090" fmla="*/ 2000077 h 7458372"/>
              <a:gd name="connsiteX33091" fmla="*/ 51318 w 10505529"/>
              <a:gd name="connsiteY33091" fmla="*/ 2009402 h 7458372"/>
              <a:gd name="connsiteX33092" fmla="*/ 42000 w 10505529"/>
              <a:gd name="connsiteY33092" fmla="*/ 2015653 h 7458372"/>
              <a:gd name="connsiteX33093" fmla="*/ 30285 w 10505529"/>
              <a:gd name="connsiteY33093" fmla="*/ 2017922 h 7458372"/>
              <a:gd name="connsiteX33094" fmla="*/ 8455 w 10505529"/>
              <a:gd name="connsiteY33094" fmla="*/ 2009402 h 7458372"/>
              <a:gd name="connsiteX33095" fmla="*/ 69 w 10505529"/>
              <a:gd name="connsiteY33095" fmla="*/ 1988237 h 7458372"/>
              <a:gd name="connsiteX33096" fmla="*/ 8455 w 10505529"/>
              <a:gd name="connsiteY33096" fmla="*/ 1967203 h 7458372"/>
              <a:gd name="connsiteX33097" fmla="*/ 30285 w 10505529"/>
              <a:gd name="connsiteY33097" fmla="*/ 1958553 h 7458372"/>
              <a:gd name="connsiteX33098" fmla="*/ 10475977 w 10505529"/>
              <a:gd name="connsiteY33098" fmla="*/ 1958550 h 7458372"/>
              <a:gd name="connsiteX33099" fmla="*/ 10487824 w 10505529"/>
              <a:gd name="connsiteY33099" fmla="*/ 1961216 h 7458372"/>
              <a:gd name="connsiteX33100" fmla="*/ 10497143 w 10505529"/>
              <a:gd name="connsiteY33100" fmla="*/ 1967605 h 7458372"/>
              <a:gd name="connsiteX33101" fmla="*/ 10503266 w 10505529"/>
              <a:gd name="connsiteY33101" fmla="*/ 1976921 h 7458372"/>
              <a:gd name="connsiteX33102" fmla="*/ 10505529 w 10505529"/>
              <a:gd name="connsiteY33102" fmla="*/ 1988365 h 7458372"/>
              <a:gd name="connsiteX33103" fmla="*/ 10503266 w 10505529"/>
              <a:gd name="connsiteY33103" fmla="*/ 2000077 h 7458372"/>
              <a:gd name="connsiteX33104" fmla="*/ 10497143 w 10505529"/>
              <a:gd name="connsiteY33104" fmla="*/ 2009402 h 7458372"/>
              <a:gd name="connsiteX33105" fmla="*/ 10487824 w 10505529"/>
              <a:gd name="connsiteY33105" fmla="*/ 2015653 h 7458372"/>
              <a:gd name="connsiteX33106" fmla="*/ 10475977 w 10505529"/>
              <a:gd name="connsiteY33106" fmla="*/ 2017922 h 7458372"/>
              <a:gd name="connsiteX33107" fmla="*/ 10454145 w 10505529"/>
              <a:gd name="connsiteY33107" fmla="*/ 2009402 h 7458372"/>
              <a:gd name="connsiteX33108" fmla="*/ 10445759 w 10505529"/>
              <a:gd name="connsiteY33108" fmla="*/ 1988232 h 7458372"/>
              <a:gd name="connsiteX33109" fmla="*/ 10454145 w 10505529"/>
              <a:gd name="connsiteY33109" fmla="*/ 1967203 h 7458372"/>
              <a:gd name="connsiteX33110" fmla="*/ 10475977 w 10505529"/>
              <a:gd name="connsiteY33110" fmla="*/ 1958550 h 7458372"/>
              <a:gd name="connsiteX33111" fmla="*/ 10258466 w 10505529"/>
              <a:gd name="connsiteY33111" fmla="*/ 1958550 h 7458372"/>
              <a:gd name="connsiteX33112" fmla="*/ 10270313 w 10505529"/>
              <a:gd name="connsiteY33112" fmla="*/ 1961216 h 7458372"/>
              <a:gd name="connsiteX33113" fmla="*/ 10279631 w 10505529"/>
              <a:gd name="connsiteY33113" fmla="*/ 1967605 h 7458372"/>
              <a:gd name="connsiteX33114" fmla="*/ 10285754 w 10505529"/>
              <a:gd name="connsiteY33114" fmla="*/ 1976921 h 7458372"/>
              <a:gd name="connsiteX33115" fmla="*/ 10288017 w 10505529"/>
              <a:gd name="connsiteY33115" fmla="*/ 1988365 h 7458372"/>
              <a:gd name="connsiteX33116" fmla="*/ 10285754 w 10505529"/>
              <a:gd name="connsiteY33116" fmla="*/ 2000077 h 7458372"/>
              <a:gd name="connsiteX33117" fmla="*/ 10279631 w 10505529"/>
              <a:gd name="connsiteY33117" fmla="*/ 2009402 h 7458372"/>
              <a:gd name="connsiteX33118" fmla="*/ 10270313 w 10505529"/>
              <a:gd name="connsiteY33118" fmla="*/ 2015653 h 7458372"/>
              <a:gd name="connsiteX33119" fmla="*/ 10258466 w 10505529"/>
              <a:gd name="connsiteY33119" fmla="*/ 2017922 h 7458372"/>
              <a:gd name="connsiteX33120" fmla="*/ 10236633 w 10505529"/>
              <a:gd name="connsiteY33120" fmla="*/ 2009402 h 7458372"/>
              <a:gd name="connsiteX33121" fmla="*/ 10228247 w 10505529"/>
              <a:gd name="connsiteY33121" fmla="*/ 1988237 h 7458372"/>
              <a:gd name="connsiteX33122" fmla="*/ 10236633 w 10505529"/>
              <a:gd name="connsiteY33122" fmla="*/ 1967203 h 7458372"/>
              <a:gd name="connsiteX33123" fmla="*/ 10258466 w 10505529"/>
              <a:gd name="connsiteY33123" fmla="*/ 1958550 h 7458372"/>
              <a:gd name="connsiteX33124" fmla="*/ 10475977 w 10505529"/>
              <a:gd name="connsiteY33124" fmla="*/ 1757670 h 7458372"/>
              <a:gd name="connsiteX33125" fmla="*/ 10465992 w 10505529"/>
              <a:gd name="connsiteY33125" fmla="*/ 1761271 h 7458372"/>
              <a:gd name="connsiteX33126" fmla="*/ 10462399 w 10505529"/>
              <a:gd name="connsiteY33126" fmla="*/ 1770725 h 7458372"/>
              <a:gd name="connsiteX33127" fmla="*/ 10465992 w 10505529"/>
              <a:gd name="connsiteY33127" fmla="*/ 1780175 h 7458372"/>
              <a:gd name="connsiteX33128" fmla="*/ 10475977 w 10505529"/>
              <a:gd name="connsiteY33128" fmla="*/ 1783629 h 7458372"/>
              <a:gd name="connsiteX33129" fmla="*/ 10481302 w 10505529"/>
              <a:gd name="connsiteY33129" fmla="*/ 1782705 h 7458372"/>
              <a:gd name="connsiteX33130" fmla="*/ 10485029 w 10505529"/>
              <a:gd name="connsiteY33130" fmla="*/ 1780304 h 7458372"/>
              <a:gd name="connsiteX33131" fmla="*/ 10487691 w 10505529"/>
              <a:gd name="connsiteY33131" fmla="*/ 1776047 h 7458372"/>
              <a:gd name="connsiteX33132" fmla="*/ 10488623 w 10505529"/>
              <a:gd name="connsiteY33132" fmla="*/ 1770584 h 7458372"/>
              <a:gd name="connsiteX33133" fmla="*/ 10487691 w 10505529"/>
              <a:gd name="connsiteY33133" fmla="*/ 1765399 h 7458372"/>
              <a:gd name="connsiteX33134" fmla="*/ 10485029 w 10505529"/>
              <a:gd name="connsiteY33134" fmla="*/ 1761271 h 7458372"/>
              <a:gd name="connsiteX33135" fmla="*/ 10481035 w 10505529"/>
              <a:gd name="connsiteY33135" fmla="*/ 1758610 h 7458372"/>
              <a:gd name="connsiteX33136" fmla="*/ 10475977 w 10505529"/>
              <a:gd name="connsiteY33136" fmla="*/ 1757670 h 7458372"/>
              <a:gd name="connsiteX33137" fmla="*/ 10258466 w 10505529"/>
              <a:gd name="connsiteY33137" fmla="*/ 1757670 h 7458372"/>
              <a:gd name="connsiteX33138" fmla="*/ 10248481 w 10505529"/>
              <a:gd name="connsiteY33138" fmla="*/ 1761271 h 7458372"/>
              <a:gd name="connsiteX33139" fmla="*/ 10244887 w 10505529"/>
              <a:gd name="connsiteY33139" fmla="*/ 1770725 h 7458372"/>
              <a:gd name="connsiteX33140" fmla="*/ 10248481 w 10505529"/>
              <a:gd name="connsiteY33140" fmla="*/ 1780175 h 7458372"/>
              <a:gd name="connsiteX33141" fmla="*/ 10258466 w 10505529"/>
              <a:gd name="connsiteY33141" fmla="*/ 1783629 h 7458372"/>
              <a:gd name="connsiteX33142" fmla="*/ 10263790 w 10505529"/>
              <a:gd name="connsiteY33142" fmla="*/ 1782705 h 7458372"/>
              <a:gd name="connsiteX33143" fmla="*/ 10267517 w 10505529"/>
              <a:gd name="connsiteY33143" fmla="*/ 1780304 h 7458372"/>
              <a:gd name="connsiteX33144" fmla="*/ 10270180 w 10505529"/>
              <a:gd name="connsiteY33144" fmla="*/ 1776047 h 7458372"/>
              <a:gd name="connsiteX33145" fmla="*/ 10271112 w 10505529"/>
              <a:gd name="connsiteY33145" fmla="*/ 1770584 h 7458372"/>
              <a:gd name="connsiteX33146" fmla="*/ 10270180 w 10505529"/>
              <a:gd name="connsiteY33146" fmla="*/ 1765399 h 7458372"/>
              <a:gd name="connsiteX33147" fmla="*/ 10267517 w 10505529"/>
              <a:gd name="connsiteY33147" fmla="*/ 1761271 h 7458372"/>
              <a:gd name="connsiteX33148" fmla="*/ 10263524 w 10505529"/>
              <a:gd name="connsiteY33148" fmla="*/ 1758610 h 7458372"/>
              <a:gd name="connsiteX33149" fmla="*/ 10258466 w 10505529"/>
              <a:gd name="connsiteY33149" fmla="*/ 1757670 h 7458372"/>
              <a:gd name="connsiteX33150" fmla="*/ 10040820 w 10505529"/>
              <a:gd name="connsiteY33150" fmla="*/ 1757670 h 7458372"/>
              <a:gd name="connsiteX33151" fmla="*/ 10030835 w 10505529"/>
              <a:gd name="connsiteY33151" fmla="*/ 1761271 h 7458372"/>
              <a:gd name="connsiteX33152" fmla="*/ 10027242 w 10505529"/>
              <a:gd name="connsiteY33152" fmla="*/ 1770725 h 7458372"/>
              <a:gd name="connsiteX33153" fmla="*/ 10030835 w 10505529"/>
              <a:gd name="connsiteY33153" fmla="*/ 1780175 h 7458372"/>
              <a:gd name="connsiteX33154" fmla="*/ 10040820 w 10505529"/>
              <a:gd name="connsiteY33154" fmla="*/ 1783629 h 7458372"/>
              <a:gd name="connsiteX33155" fmla="*/ 10046145 w 10505529"/>
              <a:gd name="connsiteY33155" fmla="*/ 1782705 h 7458372"/>
              <a:gd name="connsiteX33156" fmla="*/ 10049872 w 10505529"/>
              <a:gd name="connsiteY33156" fmla="*/ 1780304 h 7458372"/>
              <a:gd name="connsiteX33157" fmla="*/ 10052534 w 10505529"/>
              <a:gd name="connsiteY33157" fmla="*/ 1776047 h 7458372"/>
              <a:gd name="connsiteX33158" fmla="*/ 10053599 w 10505529"/>
              <a:gd name="connsiteY33158" fmla="*/ 1770584 h 7458372"/>
              <a:gd name="connsiteX33159" fmla="*/ 10052534 w 10505529"/>
              <a:gd name="connsiteY33159" fmla="*/ 1765399 h 7458372"/>
              <a:gd name="connsiteX33160" fmla="*/ 10049872 w 10505529"/>
              <a:gd name="connsiteY33160" fmla="*/ 1761271 h 7458372"/>
              <a:gd name="connsiteX33161" fmla="*/ 10045878 w 10505529"/>
              <a:gd name="connsiteY33161" fmla="*/ 1758610 h 7458372"/>
              <a:gd name="connsiteX33162" fmla="*/ 10040820 w 10505529"/>
              <a:gd name="connsiteY33162" fmla="*/ 1757670 h 7458372"/>
              <a:gd name="connsiteX33163" fmla="*/ 9823176 w 10505529"/>
              <a:gd name="connsiteY33163" fmla="*/ 1757670 h 7458372"/>
              <a:gd name="connsiteX33164" fmla="*/ 9813191 w 10505529"/>
              <a:gd name="connsiteY33164" fmla="*/ 1761271 h 7458372"/>
              <a:gd name="connsiteX33165" fmla="*/ 9809597 w 10505529"/>
              <a:gd name="connsiteY33165" fmla="*/ 1770725 h 7458372"/>
              <a:gd name="connsiteX33166" fmla="*/ 9813191 w 10505529"/>
              <a:gd name="connsiteY33166" fmla="*/ 1780175 h 7458372"/>
              <a:gd name="connsiteX33167" fmla="*/ 9823176 w 10505529"/>
              <a:gd name="connsiteY33167" fmla="*/ 1783629 h 7458372"/>
              <a:gd name="connsiteX33168" fmla="*/ 9828501 w 10505529"/>
              <a:gd name="connsiteY33168" fmla="*/ 1782705 h 7458372"/>
              <a:gd name="connsiteX33169" fmla="*/ 9832227 w 10505529"/>
              <a:gd name="connsiteY33169" fmla="*/ 1780304 h 7458372"/>
              <a:gd name="connsiteX33170" fmla="*/ 9834890 w 10505529"/>
              <a:gd name="connsiteY33170" fmla="*/ 1776047 h 7458372"/>
              <a:gd name="connsiteX33171" fmla="*/ 9835955 w 10505529"/>
              <a:gd name="connsiteY33171" fmla="*/ 1770584 h 7458372"/>
              <a:gd name="connsiteX33172" fmla="*/ 9834890 w 10505529"/>
              <a:gd name="connsiteY33172" fmla="*/ 1765399 h 7458372"/>
              <a:gd name="connsiteX33173" fmla="*/ 9832227 w 10505529"/>
              <a:gd name="connsiteY33173" fmla="*/ 1761271 h 7458372"/>
              <a:gd name="connsiteX33174" fmla="*/ 9828234 w 10505529"/>
              <a:gd name="connsiteY33174" fmla="*/ 1758610 h 7458372"/>
              <a:gd name="connsiteX33175" fmla="*/ 9823176 w 10505529"/>
              <a:gd name="connsiteY33175" fmla="*/ 1757670 h 7458372"/>
              <a:gd name="connsiteX33176" fmla="*/ 9605531 w 10505529"/>
              <a:gd name="connsiteY33176" fmla="*/ 1757670 h 7458372"/>
              <a:gd name="connsiteX33177" fmla="*/ 9595546 w 10505529"/>
              <a:gd name="connsiteY33177" fmla="*/ 1761271 h 7458372"/>
              <a:gd name="connsiteX33178" fmla="*/ 9591952 w 10505529"/>
              <a:gd name="connsiteY33178" fmla="*/ 1770725 h 7458372"/>
              <a:gd name="connsiteX33179" fmla="*/ 9595546 w 10505529"/>
              <a:gd name="connsiteY33179" fmla="*/ 1780175 h 7458372"/>
              <a:gd name="connsiteX33180" fmla="*/ 9605531 w 10505529"/>
              <a:gd name="connsiteY33180" fmla="*/ 1783629 h 7458372"/>
              <a:gd name="connsiteX33181" fmla="*/ 9610855 w 10505529"/>
              <a:gd name="connsiteY33181" fmla="*/ 1782708 h 7458372"/>
              <a:gd name="connsiteX33182" fmla="*/ 9614582 w 10505529"/>
              <a:gd name="connsiteY33182" fmla="*/ 1780304 h 7458372"/>
              <a:gd name="connsiteX33183" fmla="*/ 9617245 w 10505529"/>
              <a:gd name="connsiteY33183" fmla="*/ 1776047 h 7458372"/>
              <a:gd name="connsiteX33184" fmla="*/ 9618309 w 10505529"/>
              <a:gd name="connsiteY33184" fmla="*/ 1770584 h 7458372"/>
              <a:gd name="connsiteX33185" fmla="*/ 9617245 w 10505529"/>
              <a:gd name="connsiteY33185" fmla="*/ 1765399 h 7458372"/>
              <a:gd name="connsiteX33186" fmla="*/ 9614582 w 10505529"/>
              <a:gd name="connsiteY33186" fmla="*/ 1761271 h 7458372"/>
              <a:gd name="connsiteX33187" fmla="*/ 9610589 w 10505529"/>
              <a:gd name="connsiteY33187" fmla="*/ 1758610 h 7458372"/>
              <a:gd name="connsiteX33188" fmla="*/ 9605531 w 10505529"/>
              <a:gd name="connsiteY33188" fmla="*/ 1757670 h 7458372"/>
              <a:gd name="connsiteX33189" fmla="*/ 9387885 w 10505529"/>
              <a:gd name="connsiteY33189" fmla="*/ 1757670 h 7458372"/>
              <a:gd name="connsiteX33190" fmla="*/ 9377900 w 10505529"/>
              <a:gd name="connsiteY33190" fmla="*/ 1761271 h 7458372"/>
              <a:gd name="connsiteX33191" fmla="*/ 9374307 w 10505529"/>
              <a:gd name="connsiteY33191" fmla="*/ 1770725 h 7458372"/>
              <a:gd name="connsiteX33192" fmla="*/ 9377900 w 10505529"/>
              <a:gd name="connsiteY33192" fmla="*/ 1780175 h 7458372"/>
              <a:gd name="connsiteX33193" fmla="*/ 9387885 w 10505529"/>
              <a:gd name="connsiteY33193" fmla="*/ 1783629 h 7458372"/>
              <a:gd name="connsiteX33194" fmla="*/ 9393210 w 10505529"/>
              <a:gd name="connsiteY33194" fmla="*/ 1782708 h 7458372"/>
              <a:gd name="connsiteX33195" fmla="*/ 9396937 w 10505529"/>
              <a:gd name="connsiteY33195" fmla="*/ 1780304 h 7458372"/>
              <a:gd name="connsiteX33196" fmla="*/ 9399599 w 10505529"/>
              <a:gd name="connsiteY33196" fmla="*/ 1776047 h 7458372"/>
              <a:gd name="connsiteX33197" fmla="*/ 9400664 w 10505529"/>
              <a:gd name="connsiteY33197" fmla="*/ 1770584 h 7458372"/>
              <a:gd name="connsiteX33198" fmla="*/ 9399599 w 10505529"/>
              <a:gd name="connsiteY33198" fmla="*/ 1765399 h 7458372"/>
              <a:gd name="connsiteX33199" fmla="*/ 9396937 w 10505529"/>
              <a:gd name="connsiteY33199" fmla="*/ 1761271 h 7458372"/>
              <a:gd name="connsiteX33200" fmla="*/ 9392943 w 10505529"/>
              <a:gd name="connsiteY33200" fmla="*/ 1758610 h 7458372"/>
              <a:gd name="connsiteX33201" fmla="*/ 9387885 w 10505529"/>
              <a:gd name="connsiteY33201" fmla="*/ 1757670 h 7458372"/>
              <a:gd name="connsiteX33202" fmla="*/ 9170374 w 10505529"/>
              <a:gd name="connsiteY33202" fmla="*/ 1757670 h 7458372"/>
              <a:gd name="connsiteX33203" fmla="*/ 9160389 w 10505529"/>
              <a:gd name="connsiteY33203" fmla="*/ 1761271 h 7458372"/>
              <a:gd name="connsiteX33204" fmla="*/ 9156795 w 10505529"/>
              <a:gd name="connsiteY33204" fmla="*/ 1770725 h 7458372"/>
              <a:gd name="connsiteX33205" fmla="*/ 9160389 w 10505529"/>
              <a:gd name="connsiteY33205" fmla="*/ 1780175 h 7458372"/>
              <a:gd name="connsiteX33206" fmla="*/ 9170374 w 10505529"/>
              <a:gd name="connsiteY33206" fmla="*/ 1783629 h 7458372"/>
              <a:gd name="connsiteX33207" fmla="*/ 9175698 w 10505529"/>
              <a:gd name="connsiteY33207" fmla="*/ 1782708 h 7458372"/>
              <a:gd name="connsiteX33208" fmla="*/ 9179425 w 10505529"/>
              <a:gd name="connsiteY33208" fmla="*/ 1780304 h 7458372"/>
              <a:gd name="connsiteX33209" fmla="*/ 9182088 w 10505529"/>
              <a:gd name="connsiteY33209" fmla="*/ 1776047 h 7458372"/>
              <a:gd name="connsiteX33210" fmla="*/ 9183152 w 10505529"/>
              <a:gd name="connsiteY33210" fmla="*/ 1770584 h 7458372"/>
              <a:gd name="connsiteX33211" fmla="*/ 9182088 w 10505529"/>
              <a:gd name="connsiteY33211" fmla="*/ 1765399 h 7458372"/>
              <a:gd name="connsiteX33212" fmla="*/ 9179425 w 10505529"/>
              <a:gd name="connsiteY33212" fmla="*/ 1761271 h 7458372"/>
              <a:gd name="connsiteX33213" fmla="*/ 9175432 w 10505529"/>
              <a:gd name="connsiteY33213" fmla="*/ 1758610 h 7458372"/>
              <a:gd name="connsiteX33214" fmla="*/ 9170374 w 10505529"/>
              <a:gd name="connsiteY33214" fmla="*/ 1757670 h 7458372"/>
              <a:gd name="connsiteX33215" fmla="*/ 8952728 w 10505529"/>
              <a:gd name="connsiteY33215" fmla="*/ 1757670 h 7458372"/>
              <a:gd name="connsiteX33216" fmla="*/ 8942743 w 10505529"/>
              <a:gd name="connsiteY33216" fmla="*/ 1761271 h 7458372"/>
              <a:gd name="connsiteX33217" fmla="*/ 8939150 w 10505529"/>
              <a:gd name="connsiteY33217" fmla="*/ 1770725 h 7458372"/>
              <a:gd name="connsiteX33218" fmla="*/ 8942743 w 10505529"/>
              <a:gd name="connsiteY33218" fmla="*/ 1780175 h 7458372"/>
              <a:gd name="connsiteX33219" fmla="*/ 8952728 w 10505529"/>
              <a:gd name="connsiteY33219" fmla="*/ 1783629 h 7458372"/>
              <a:gd name="connsiteX33220" fmla="*/ 8958053 w 10505529"/>
              <a:gd name="connsiteY33220" fmla="*/ 1782708 h 7458372"/>
              <a:gd name="connsiteX33221" fmla="*/ 8961780 w 10505529"/>
              <a:gd name="connsiteY33221" fmla="*/ 1780304 h 7458372"/>
              <a:gd name="connsiteX33222" fmla="*/ 8964442 w 10505529"/>
              <a:gd name="connsiteY33222" fmla="*/ 1776047 h 7458372"/>
              <a:gd name="connsiteX33223" fmla="*/ 8965507 w 10505529"/>
              <a:gd name="connsiteY33223" fmla="*/ 1770584 h 7458372"/>
              <a:gd name="connsiteX33224" fmla="*/ 8964442 w 10505529"/>
              <a:gd name="connsiteY33224" fmla="*/ 1765399 h 7458372"/>
              <a:gd name="connsiteX33225" fmla="*/ 8961780 w 10505529"/>
              <a:gd name="connsiteY33225" fmla="*/ 1761271 h 7458372"/>
              <a:gd name="connsiteX33226" fmla="*/ 8957786 w 10505529"/>
              <a:gd name="connsiteY33226" fmla="*/ 1758610 h 7458372"/>
              <a:gd name="connsiteX33227" fmla="*/ 8952728 w 10505529"/>
              <a:gd name="connsiteY33227" fmla="*/ 1757670 h 7458372"/>
              <a:gd name="connsiteX33228" fmla="*/ 8735083 w 10505529"/>
              <a:gd name="connsiteY33228" fmla="*/ 1757670 h 7458372"/>
              <a:gd name="connsiteX33229" fmla="*/ 8725098 w 10505529"/>
              <a:gd name="connsiteY33229" fmla="*/ 1761271 h 7458372"/>
              <a:gd name="connsiteX33230" fmla="*/ 8721504 w 10505529"/>
              <a:gd name="connsiteY33230" fmla="*/ 1770725 h 7458372"/>
              <a:gd name="connsiteX33231" fmla="*/ 8725098 w 10505529"/>
              <a:gd name="connsiteY33231" fmla="*/ 1780175 h 7458372"/>
              <a:gd name="connsiteX33232" fmla="*/ 8735083 w 10505529"/>
              <a:gd name="connsiteY33232" fmla="*/ 1783629 h 7458372"/>
              <a:gd name="connsiteX33233" fmla="*/ 8740407 w 10505529"/>
              <a:gd name="connsiteY33233" fmla="*/ 1782708 h 7458372"/>
              <a:gd name="connsiteX33234" fmla="*/ 8744134 w 10505529"/>
              <a:gd name="connsiteY33234" fmla="*/ 1780304 h 7458372"/>
              <a:gd name="connsiteX33235" fmla="*/ 8746797 w 10505529"/>
              <a:gd name="connsiteY33235" fmla="*/ 1776047 h 7458372"/>
              <a:gd name="connsiteX33236" fmla="*/ 8747862 w 10505529"/>
              <a:gd name="connsiteY33236" fmla="*/ 1770584 h 7458372"/>
              <a:gd name="connsiteX33237" fmla="*/ 8746797 w 10505529"/>
              <a:gd name="connsiteY33237" fmla="*/ 1765399 h 7458372"/>
              <a:gd name="connsiteX33238" fmla="*/ 8744134 w 10505529"/>
              <a:gd name="connsiteY33238" fmla="*/ 1761271 h 7458372"/>
              <a:gd name="connsiteX33239" fmla="*/ 8740141 w 10505529"/>
              <a:gd name="connsiteY33239" fmla="*/ 1758610 h 7458372"/>
              <a:gd name="connsiteX33240" fmla="*/ 8735083 w 10505529"/>
              <a:gd name="connsiteY33240" fmla="*/ 1757670 h 7458372"/>
              <a:gd name="connsiteX33241" fmla="*/ 8517438 w 10505529"/>
              <a:gd name="connsiteY33241" fmla="*/ 1757670 h 7458372"/>
              <a:gd name="connsiteX33242" fmla="*/ 8507453 w 10505529"/>
              <a:gd name="connsiteY33242" fmla="*/ 1761271 h 7458372"/>
              <a:gd name="connsiteX33243" fmla="*/ 8503860 w 10505529"/>
              <a:gd name="connsiteY33243" fmla="*/ 1770725 h 7458372"/>
              <a:gd name="connsiteX33244" fmla="*/ 8507453 w 10505529"/>
              <a:gd name="connsiteY33244" fmla="*/ 1780175 h 7458372"/>
              <a:gd name="connsiteX33245" fmla="*/ 8517438 w 10505529"/>
              <a:gd name="connsiteY33245" fmla="*/ 1783629 h 7458372"/>
              <a:gd name="connsiteX33246" fmla="*/ 8522763 w 10505529"/>
              <a:gd name="connsiteY33246" fmla="*/ 1782708 h 7458372"/>
              <a:gd name="connsiteX33247" fmla="*/ 8526490 w 10505529"/>
              <a:gd name="connsiteY33247" fmla="*/ 1780304 h 7458372"/>
              <a:gd name="connsiteX33248" fmla="*/ 8529152 w 10505529"/>
              <a:gd name="connsiteY33248" fmla="*/ 1776047 h 7458372"/>
              <a:gd name="connsiteX33249" fmla="*/ 8530084 w 10505529"/>
              <a:gd name="connsiteY33249" fmla="*/ 1770584 h 7458372"/>
              <a:gd name="connsiteX33250" fmla="*/ 8529152 w 10505529"/>
              <a:gd name="connsiteY33250" fmla="*/ 1765399 h 7458372"/>
              <a:gd name="connsiteX33251" fmla="*/ 8526490 w 10505529"/>
              <a:gd name="connsiteY33251" fmla="*/ 1761271 h 7458372"/>
              <a:gd name="connsiteX33252" fmla="*/ 8522496 w 10505529"/>
              <a:gd name="connsiteY33252" fmla="*/ 1758610 h 7458372"/>
              <a:gd name="connsiteX33253" fmla="*/ 8517438 w 10505529"/>
              <a:gd name="connsiteY33253" fmla="*/ 1757670 h 7458372"/>
              <a:gd name="connsiteX33254" fmla="*/ 8299793 w 10505529"/>
              <a:gd name="connsiteY33254" fmla="*/ 1757670 h 7458372"/>
              <a:gd name="connsiteX33255" fmla="*/ 8289809 w 10505529"/>
              <a:gd name="connsiteY33255" fmla="*/ 1761271 h 7458372"/>
              <a:gd name="connsiteX33256" fmla="*/ 8286215 w 10505529"/>
              <a:gd name="connsiteY33256" fmla="*/ 1770725 h 7458372"/>
              <a:gd name="connsiteX33257" fmla="*/ 8289809 w 10505529"/>
              <a:gd name="connsiteY33257" fmla="*/ 1780175 h 7458372"/>
              <a:gd name="connsiteX33258" fmla="*/ 8299793 w 10505529"/>
              <a:gd name="connsiteY33258" fmla="*/ 1783629 h 7458372"/>
              <a:gd name="connsiteX33259" fmla="*/ 8305118 w 10505529"/>
              <a:gd name="connsiteY33259" fmla="*/ 1782708 h 7458372"/>
              <a:gd name="connsiteX33260" fmla="*/ 8308844 w 10505529"/>
              <a:gd name="connsiteY33260" fmla="*/ 1780304 h 7458372"/>
              <a:gd name="connsiteX33261" fmla="*/ 8311507 w 10505529"/>
              <a:gd name="connsiteY33261" fmla="*/ 1776047 h 7458372"/>
              <a:gd name="connsiteX33262" fmla="*/ 8312439 w 10505529"/>
              <a:gd name="connsiteY33262" fmla="*/ 1770584 h 7458372"/>
              <a:gd name="connsiteX33263" fmla="*/ 8311507 w 10505529"/>
              <a:gd name="connsiteY33263" fmla="*/ 1765399 h 7458372"/>
              <a:gd name="connsiteX33264" fmla="*/ 8308844 w 10505529"/>
              <a:gd name="connsiteY33264" fmla="*/ 1761271 h 7458372"/>
              <a:gd name="connsiteX33265" fmla="*/ 8304851 w 10505529"/>
              <a:gd name="connsiteY33265" fmla="*/ 1758610 h 7458372"/>
              <a:gd name="connsiteX33266" fmla="*/ 8299793 w 10505529"/>
              <a:gd name="connsiteY33266" fmla="*/ 1757670 h 7458372"/>
              <a:gd name="connsiteX33267" fmla="*/ 8082281 w 10505529"/>
              <a:gd name="connsiteY33267" fmla="*/ 1757670 h 7458372"/>
              <a:gd name="connsiteX33268" fmla="*/ 8072297 w 10505529"/>
              <a:gd name="connsiteY33268" fmla="*/ 1761271 h 7458372"/>
              <a:gd name="connsiteX33269" fmla="*/ 8068703 w 10505529"/>
              <a:gd name="connsiteY33269" fmla="*/ 1770725 h 7458372"/>
              <a:gd name="connsiteX33270" fmla="*/ 8072297 w 10505529"/>
              <a:gd name="connsiteY33270" fmla="*/ 1780175 h 7458372"/>
              <a:gd name="connsiteX33271" fmla="*/ 8082281 w 10505529"/>
              <a:gd name="connsiteY33271" fmla="*/ 1783629 h 7458372"/>
              <a:gd name="connsiteX33272" fmla="*/ 8087605 w 10505529"/>
              <a:gd name="connsiteY33272" fmla="*/ 1782708 h 7458372"/>
              <a:gd name="connsiteX33273" fmla="*/ 8091332 w 10505529"/>
              <a:gd name="connsiteY33273" fmla="*/ 1780304 h 7458372"/>
              <a:gd name="connsiteX33274" fmla="*/ 8093994 w 10505529"/>
              <a:gd name="connsiteY33274" fmla="*/ 1776047 h 7458372"/>
              <a:gd name="connsiteX33275" fmla="*/ 8094926 w 10505529"/>
              <a:gd name="connsiteY33275" fmla="*/ 1770584 h 7458372"/>
              <a:gd name="connsiteX33276" fmla="*/ 8093994 w 10505529"/>
              <a:gd name="connsiteY33276" fmla="*/ 1765399 h 7458372"/>
              <a:gd name="connsiteX33277" fmla="*/ 8091332 w 10505529"/>
              <a:gd name="connsiteY33277" fmla="*/ 1761271 h 7458372"/>
              <a:gd name="connsiteX33278" fmla="*/ 8087338 w 10505529"/>
              <a:gd name="connsiteY33278" fmla="*/ 1758610 h 7458372"/>
              <a:gd name="connsiteX33279" fmla="*/ 8082281 w 10505529"/>
              <a:gd name="connsiteY33279" fmla="*/ 1757670 h 7458372"/>
              <a:gd name="connsiteX33280" fmla="*/ 7864636 w 10505529"/>
              <a:gd name="connsiteY33280" fmla="*/ 1757670 h 7458372"/>
              <a:gd name="connsiteX33281" fmla="*/ 7854652 w 10505529"/>
              <a:gd name="connsiteY33281" fmla="*/ 1761271 h 7458372"/>
              <a:gd name="connsiteX33282" fmla="*/ 7851058 w 10505529"/>
              <a:gd name="connsiteY33282" fmla="*/ 1770725 h 7458372"/>
              <a:gd name="connsiteX33283" fmla="*/ 7854652 w 10505529"/>
              <a:gd name="connsiteY33283" fmla="*/ 1780175 h 7458372"/>
              <a:gd name="connsiteX33284" fmla="*/ 7864636 w 10505529"/>
              <a:gd name="connsiteY33284" fmla="*/ 1783629 h 7458372"/>
              <a:gd name="connsiteX33285" fmla="*/ 7869961 w 10505529"/>
              <a:gd name="connsiteY33285" fmla="*/ 1782708 h 7458372"/>
              <a:gd name="connsiteX33286" fmla="*/ 7873687 w 10505529"/>
              <a:gd name="connsiteY33286" fmla="*/ 1780304 h 7458372"/>
              <a:gd name="connsiteX33287" fmla="*/ 7876350 w 10505529"/>
              <a:gd name="connsiteY33287" fmla="*/ 1776047 h 7458372"/>
              <a:gd name="connsiteX33288" fmla="*/ 7877282 w 10505529"/>
              <a:gd name="connsiteY33288" fmla="*/ 1770584 h 7458372"/>
              <a:gd name="connsiteX33289" fmla="*/ 7876350 w 10505529"/>
              <a:gd name="connsiteY33289" fmla="*/ 1765399 h 7458372"/>
              <a:gd name="connsiteX33290" fmla="*/ 7873687 w 10505529"/>
              <a:gd name="connsiteY33290" fmla="*/ 1761271 h 7458372"/>
              <a:gd name="connsiteX33291" fmla="*/ 7869694 w 10505529"/>
              <a:gd name="connsiteY33291" fmla="*/ 1758610 h 7458372"/>
              <a:gd name="connsiteX33292" fmla="*/ 7864636 w 10505529"/>
              <a:gd name="connsiteY33292" fmla="*/ 1757670 h 7458372"/>
              <a:gd name="connsiteX33293" fmla="*/ 7646991 w 10505529"/>
              <a:gd name="connsiteY33293" fmla="*/ 1757670 h 7458372"/>
              <a:gd name="connsiteX33294" fmla="*/ 7637007 w 10505529"/>
              <a:gd name="connsiteY33294" fmla="*/ 1761271 h 7458372"/>
              <a:gd name="connsiteX33295" fmla="*/ 7633413 w 10505529"/>
              <a:gd name="connsiteY33295" fmla="*/ 1770725 h 7458372"/>
              <a:gd name="connsiteX33296" fmla="*/ 7637007 w 10505529"/>
              <a:gd name="connsiteY33296" fmla="*/ 1780175 h 7458372"/>
              <a:gd name="connsiteX33297" fmla="*/ 7646991 w 10505529"/>
              <a:gd name="connsiteY33297" fmla="*/ 1783629 h 7458372"/>
              <a:gd name="connsiteX33298" fmla="*/ 7652315 w 10505529"/>
              <a:gd name="connsiteY33298" fmla="*/ 1782708 h 7458372"/>
              <a:gd name="connsiteX33299" fmla="*/ 7656042 w 10505529"/>
              <a:gd name="connsiteY33299" fmla="*/ 1780304 h 7458372"/>
              <a:gd name="connsiteX33300" fmla="*/ 7658705 w 10505529"/>
              <a:gd name="connsiteY33300" fmla="*/ 1776047 h 7458372"/>
              <a:gd name="connsiteX33301" fmla="*/ 7659769 w 10505529"/>
              <a:gd name="connsiteY33301" fmla="*/ 1770584 h 7458372"/>
              <a:gd name="connsiteX33302" fmla="*/ 7658705 w 10505529"/>
              <a:gd name="connsiteY33302" fmla="*/ 1765399 h 7458372"/>
              <a:gd name="connsiteX33303" fmla="*/ 7656042 w 10505529"/>
              <a:gd name="connsiteY33303" fmla="*/ 1761271 h 7458372"/>
              <a:gd name="connsiteX33304" fmla="*/ 7652049 w 10505529"/>
              <a:gd name="connsiteY33304" fmla="*/ 1758610 h 7458372"/>
              <a:gd name="connsiteX33305" fmla="*/ 7646991 w 10505529"/>
              <a:gd name="connsiteY33305" fmla="*/ 1757670 h 7458372"/>
              <a:gd name="connsiteX33306" fmla="*/ 7429345 w 10505529"/>
              <a:gd name="connsiteY33306" fmla="*/ 1757670 h 7458372"/>
              <a:gd name="connsiteX33307" fmla="*/ 7419361 w 10505529"/>
              <a:gd name="connsiteY33307" fmla="*/ 1761271 h 7458372"/>
              <a:gd name="connsiteX33308" fmla="*/ 7415768 w 10505529"/>
              <a:gd name="connsiteY33308" fmla="*/ 1770725 h 7458372"/>
              <a:gd name="connsiteX33309" fmla="*/ 7419361 w 10505529"/>
              <a:gd name="connsiteY33309" fmla="*/ 1780175 h 7458372"/>
              <a:gd name="connsiteX33310" fmla="*/ 7429345 w 10505529"/>
              <a:gd name="connsiteY33310" fmla="*/ 1783629 h 7458372"/>
              <a:gd name="connsiteX33311" fmla="*/ 7434670 w 10505529"/>
              <a:gd name="connsiteY33311" fmla="*/ 1782708 h 7458372"/>
              <a:gd name="connsiteX33312" fmla="*/ 7438397 w 10505529"/>
              <a:gd name="connsiteY33312" fmla="*/ 1780304 h 7458372"/>
              <a:gd name="connsiteX33313" fmla="*/ 7441059 w 10505529"/>
              <a:gd name="connsiteY33313" fmla="*/ 1776047 h 7458372"/>
              <a:gd name="connsiteX33314" fmla="*/ 7442124 w 10505529"/>
              <a:gd name="connsiteY33314" fmla="*/ 1770584 h 7458372"/>
              <a:gd name="connsiteX33315" fmla="*/ 7441059 w 10505529"/>
              <a:gd name="connsiteY33315" fmla="*/ 1765399 h 7458372"/>
              <a:gd name="connsiteX33316" fmla="*/ 7438397 w 10505529"/>
              <a:gd name="connsiteY33316" fmla="*/ 1761271 h 7458372"/>
              <a:gd name="connsiteX33317" fmla="*/ 7434403 w 10505529"/>
              <a:gd name="connsiteY33317" fmla="*/ 1758610 h 7458372"/>
              <a:gd name="connsiteX33318" fmla="*/ 7429345 w 10505529"/>
              <a:gd name="connsiteY33318" fmla="*/ 1757670 h 7458372"/>
              <a:gd name="connsiteX33319" fmla="*/ 7211701 w 10505529"/>
              <a:gd name="connsiteY33319" fmla="*/ 1757670 h 7458372"/>
              <a:gd name="connsiteX33320" fmla="*/ 7201717 w 10505529"/>
              <a:gd name="connsiteY33320" fmla="*/ 1761271 h 7458372"/>
              <a:gd name="connsiteX33321" fmla="*/ 7198123 w 10505529"/>
              <a:gd name="connsiteY33321" fmla="*/ 1770725 h 7458372"/>
              <a:gd name="connsiteX33322" fmla="*/ 7201717 w 10505529"/>
              <a:gd name="connsiteY33322" fmla="*/ 1780175 h 7458372"/>
              <a:gd name="connsiteX33323" fmla="*/ 7211701 w 10505529"/>
              <a:gd name="connsiteY33323" fmla="*/ 1783629 h 7458372"/>
              <a:gd name="connsiteX33324" fmla="*/ 7217026 w 10505529"/>
              <a:gd name="connsiteY33324" fmla="*/ 1782708 h 7458372"/>
              <a:gd name="connsiteX33325" fmla="*/ 7220752 w 10505529"/>
              <a:gd name="connsiteY33325" fmla="*/ 1780304 h 7458372"/>
              <a:gd name="connsiteX33326" fmla="*/ 7223415 w 10505529"/>
              <a:gd name="connsiteY33326" fmla="*/ 1776047 h 7458372"/>
              <a:gd name="connsiteX33327" fmla="*/ 7224480 w 10505529"/>
              <a:gd name="connsiteY33327" fmla="*/ 1770584 h 7458372"/>
              <a:gd name="connsiteX33328" fmla="*/ 7223415 w 10505529"/>
              <a:gd name="connsiteY33328" fmla="*/ 1765399 h 7458372"/>
              <a:gd name="connsiteX33329" fmla="*/ 7220752 w 10505529"/>
              <a:gd name="connsiteY33329" fmla="*/ 1761271 h 7458372"/>
              <a:gd name="connsiteX33330" fmla="*/ 7216759 w 10505529"/>
              <a:gd name="connsiteY33330" fmla="*/ 1758610 h 7458372"/>
              <a:gd name="connsiteX33331" fmla="*/ 7211701 w 10505529"/>
              <a:gd name="connsiteY33331" fmla="*/ 1757670 h 7458372"/>
              <a:gd name="connsiteX33332" fmla="*/ 6994056 w 10505529"/>
              <a:gd name="connsiteY33332" fmla="*/ 1757670 h 7458372"/>
              <a:gd name="connsiteX33333" fmla="*/ 6984072 w 10505529"/>
              <a:gd name="connsiteY33333" fmla="*/ 1761271 h 7458372"/>
              <a:gd name="connsiteX33334" fmla="*/ 6980478 w 10505529"/>
              <a:gd name="connsiteY33334" fmla="*/ 1770725 h 7458372"/>
              <a:gd name="connsiteX33335" fmla="*/ 6984072 w 10505529"/>
              <a:gd name="connsiteY33335" fmla="*/ 1780175 h 7458372"/>
              <a:gd name="connsiteX33336" fmla="*/ 6994056 w 10505529"/>
              <a:gd name="connsiteY33336" fmla="*/ 1783629 h 7458372"/>
              <a:gd name="connsiteX33337" fmla="*/ 6999380 w 10505529"/>
              <a:gd name="connsiteY33337" fmla="*/ 1782708 h 7458372"/>
              <a:gd name="connsiteX33338" fmla="*/ 7003107 w 10505529"/>
              <a:gd name="connsiteY33338" fmla="*/ 1780304 h 7458372"/>
              <a:gd name="connsiteX33339" fmla="*/ 7005769 w 10505529"/>
              <a:gd name="connsiteY33339" fmla="*/ 1776047 h 7458372"/>
              <a:gd name="connsiteX33340" fmla="*/ 7006834 w 10505529"/>
              <a:gd name="connsiteY33340" fmla="*/ 1770584 h 7458372"/>
              <a:gd name="connsiteX33341" fmla="*/ 7005769 w 10505529"/>
              <a:gd name="connsiteY33341" fmla="*/ 1765399 h 7458372"/>
              <a:gd name="connsiteX33342" fmla="*/ 7003107 w 10505529"/>
              <a:gd name="connsiteY33342" fmla="*/ 1761271 h 7458372"/>
              <a:gd name="connsiteX33343" fmla="*/ 6999113 w 10505529"/>
              <a:gd name="connsiteY33343" fmla="*/ 1758610 h 7458372"/>
              <a:gd name="connsiteX33344" fmla="*/ 6994056 w 10505529"/>
              <a:gd name="connsiteY33344" fmla="*/ 1757670 h 7458372"/>
              <a:gd name="connsiteX33345" fmla="*/ 6776544 w 10505529"/>
              <a:gd name="connsiteY33345" fmla="*/ 1757670 h 7458372"/>
              <a:gd name="connsiteX33346" fmla="*/ 6766560 w 10505529"/>
              <a:gd name="connsiteY33346" fmla="*/ 1761271 h 7458372"/>
              <a:gd name="connsiteX33347" fmla="*/ 6762966 w 10505529"/>
              <a:gd name="connsiteY33347" fmla="*/ 1770725 h 7458372"/>
              <a:gd name="connsiteX33348" fmla="*/ 6766560 w 10505529"/>
              <a:gd name="connsiteY33348" fmla="*/ 1780175 h 7458372"/>
              <a:gd name="connsiteX33349" fmla="*/ 6776544 w 10505529"/>
              <a:gd name="connsiteY33349" fmla="*/ 1783629 h 7458372"/>
              <a:gd name="connsiteX33350" fmla="*/ 6781869 w 10505529"/>
              <a:gd name="connsiteY33350" fmla="*/ 1782708 h 7458372"/>
              <a:gd name="connsiteX33351" fmla="*/ 6785595 w 10505529"/>
              <a:gd name="connsiteY33351" fmla="*/ 1780304 h 7458372"/>
              <a:gd name="connsiteX33352" fmla="*/ 6788258 w 10505529"/>
              <a:gd name="connsiteY33352" fmla="*/ 1776047 h 7458372"/>
              <a:gd name="connsiteX33353" fmla="*/ 6789323 w 10505529"/>
              <a:gd name="connsiteY33353" fmla="*/ 1770584 h 7458372"/>
              <a:gd name="connsiteX33354" fmla="*/ 6788258 w 10505529"/>
              <a:gd name="connsiteY33354" fmla="*/ 1765399 h 7458372"/>
              <a:gd name="connsiteX33355" fmla="*/ 6785595 w 10505529"/>
              <a:gd name="connsiteY33355" fmla="*/ 1761271 h 7458372"/>
              <a:gd name="connsiteX33356" fmla="*/ 6781602 w 10505529"/>
              <a:gd name="connsiteY33356" fmla="*/ 1758610 h 7458372"/>
              <a:gd name="connsiteX33357" fmla="*/ 6776544 w 10505529"/>
              <a:gd name="connsiteY33357" fmla="*/ 1757670 h 7458372"/>
              <a:gd name="connsiteX33358" fmla="*/ 6558899 w 10505529"/>
              <a:gd name="connsiteY33358" fmla="*/ 1757670 h 7458372"/>
              <a:gd name="connsiteX33359" fmla="*/ 6548915 w 10505529"/>
              <a:gd name="connsiteY33359" fmla="*/ 1761271 h 7458372"/>
              <a:gd name="connsiteX33360" fmla="*/ 6545321 w 10505529"/>
              <a:gd name="connsiteY33360" fmla="*/ 1770725 h 7458372"/>
              <a:gd name="connsiteX33361" fmla="*/ 6548915 w 10505529"/>
              <a:gd name="connsiteY33361" fmla="*/ 1780175 h 7458372"/>
              <a:gd name="connsiteX33362" fmla="*/ 6558899 w 10505529"/>
              <a:gd name="connsiteY33362" fmla="*/ 1783629 h 7458372"/>
              <a:gd name="connsiteX33363" fmla="*/ 6564223 w 10505529"/>
              <a:gd name="connsiteY33363" fmla="*/ 1782708 h 7458372"/>
              <a:gd name="connsiteX33364" fmla="*/ 6567950 w 10505529"/>
              <a:gd name="connsiteY33364" fmla="*/ 1780304 h 7458372"/>
              <a:gd name="connsiteX33365" fmla="*/ 6570612 w 10505529"/>
              <a:gd name="connsiteY33365" fmla="*/ 1776047 h 7458372"/>
              <a:gd name="connsiteX33366" fmla="*/ 6571677 w 10505529"/>
              <a:gd name="connsiteY33366" fmla="*/ 1770584 h 7458372"/>
              <a:gd name="connsiteX33367" fmla="*/ 6570612 w 10505529"/>
              <a:gd name="connsiteY33367" fmla="*/ 1765399 h 7458372"/>
              <a:gd name="connsiteX33368" fmla="*/ 6567950 w 10505529"/>
              <a:gd name="connsiteY33368" fmla="*/ 1761271 h 7458372"/>
              <a:gd name="connsiteX33369" fmla="*/ 6563956 w 10505529"/>
              <a:gd name="connsiteY33369" fmla="*/ 1758610 h 7458372"/>
              <a:gd name="connsiteX33370" fmla="*/ 6558899 w 10505529"/>
              <a:gd name="connsiteY33370" fmla="*/ 1757670 h 7458372"/>
              <a:gd name="connsiteX33371" fmla="*/ 6341253 w 10505529"/>
              <a:gd name="connsiteY33371" fmla="*/ 1757670 h 7458372"/>
              <a:gd name="connsiteX33372" fmla="*/ 6331270 w 10505529"/>
              <a:gd name="connsiteY33372" fmla="*/ 1761271 h 7458372"/>
              <a:gd name="connsiteX33373" fmla="*/ 6327675 w 10505529"/>
              <a:gd name="connsiteY33373" fmla="*/ 1770725 h 7458372"/>
              <a:gd name="connsiteX33374" fmla="*/ 6331270 w 10505529"/>
              <a:gd name="connsiteY33374" fmla="*/ 1780175 h 7458372"/>
              <a:gd name="connsiteX33375" fmla="*/ 6341253 w 10505529"/>
              <a:gd name="connsiteY33375" fmla="*/ 1783629 h 7458372"/>
              <a:gd name="connsiteX33376" fmla="*/ 6346578 w 10505529"/>
              <a:gd name="connsiteY33376" fmla="*/ 1782708 h 7458372"/>
              <a:gd name="connsiteX33377" fmla="*/ 6350305 w 10505529"/>
              <a:gd name="connsiteY33377" fmla="*/ 1780304 h 7458372"/>
              <a:gd name="connsiteX33378" fmla="*/ 6352968 w 10505529"/>
              <a:gd name="connsiteY33378" fmla="*/ 1776047 h 7458372"/>
              <a:gd name="connsiteX33379" fmla="*/ 6354033 w 10505529"/>
              <a:gd name="connsiteY33379" fmla="*/ 1770584 h 7458372"/>
              <a:gd name="connsiteX33380" fmla="*/ 6352968 w 10505529"/>
              <a:gd name="connsiteY33380" fmla="*/ 1765399 h 7458372"/>
              <a:gd name="connsiteX33381" fmla="*/ 6350305 w 10505529"/>
              <a:gd name="connsiteY33381" fmla="*/ 1761271 h 7458372"/>
              <a:gd name="connsiteX33382" fmla="*/ 6346312 w 10505529"/>
              <a:gd name="connsiteY33382" fmla="*/ 1758610 h 7458372"/>
              <a:gd name="connsiteX33383" fmla="*/ 6341253 w 10505529"/>
              <a:gd name="connsiteY33383" fmla="*/ 1757670 h 7458372"/>
              <a:gd name="connsiteX33384" fmla="*/ 6123608 w 10505529"/>
              <a:gd name="connsiteY33384" fmla="*/ 1757670 h 7458372"/>
              <a:gd name="connsiteX33385" fmla="*/ 6113624 w 10505529"/>
              <a:gd name="connsiteY33385" fmla="*/ 1761271 h 7458372"/>
              <a:gd name="connsiteX33386" fmla="*/ 6110030 w 10505529"/>
              <a:gd name="connsiteY33386" fmla="*/ 1770725 h 7458372"/>
              <a:gd name="connsiteX33387" fmla="*/ 6113624 w 10505529"/>
              <a:gd name="connsiteY33387" fmla="*/ 1780175 h 7458372"/>
              <a:gd name="connsiteX33388" fmla="*/ 6123608 w 10505529"/>
              <a:gd name="connsiteY33388" fmla="*/ 1783629 h 7458372"/>
              <a:gd name="connsiteX33389" fmla="*/ 6128932 w 10505529"/>
              <a:gd name="connsiteY33389" fmla="*/ 1782708 h 7458372"/>
              <a:gd name="connsiteX33390" fmla="*/ 6132659 w 10505529"/>
              <a:gd name="connsiteY33390" fmla="*/ 1780304 h 7458372"/>
              <a:gd name="connsiteX33391" fmla="*/ 6135322 w 10505529"/>
              <a:gd name="connsiteY33391" fmla="*/ 1776047 h 7458372"/>
              <a:gd name="connsiteX33392" fmla="*/ 6136387 w 10505529"/>
              <a:gd name="connsiteY33392" fmla="*/ 1770584 h 7458372"/>
              <a:gd name="connsiteX33393" fmla="*/ 6135322 w 10505529"/>
              <a:gd name="connsiteY33393" fmla="*/ 1765399 h 7458372"/>
              <a:gd name="connsiteX33394" fmla="*/ 6132659 w 10505529"/>
              <a:gd name="connsiteY33394" fmla="*/ 1761271 h 7458372"/>
              <a:gd name="connsiteX33395" fmla="*/ 6128666 w 10505529"/>
              <a:gd name="connsiteY33395" fmla="*/ 1758610 h 7458372"/>
              <a:gd name="connsiteX33396" fmla="*/ 6123608 w 10505529"/>
              <a:gd name="connsiteY33396" fmla="*/ 1757670 h 7458372"/>
              <a:gd name="connsiteX33397" fmla="*/ 5905963 w 10505529"/>
              <a:gd name="connsiteY33397" fmla="*/ 1757670 h 7458372"/>
              <a:gd name="connsiteX33398" fmla="*/ 5895979 w 10505529"/>
              <a:gd name="connsiteY33398" fmla="*/ 1761271 h 7458372"/>
              <a:gd name="connsiteX33399" fmla="*/ 5892385 w 10505529"/>
              <a:gd name="connsiteY33399" fmla="*/ 1770725 h 7458372"/>
              <a:gd name="connsiteX33400" fmla="*/ 5895979 w 10505529"/>
              <a:gd name="connsiteY33400" fmla="*/ 1780175 h 7458372"/>
              <a:gd name="connsiteX33401" fmla="*/ 5905963 w 10505529"/>
              <a:gd name="connsiteY33401" fmla="*/ 1783629 h 7458372"/>
              <a:gd name="connsiteX33402" fmla="*/ 5911287 w 10505529"/>
              <a:gd name="connsiteY33402" fmla="*/ 1782708 h 7458372"/>
              <a:gd name="connsiteX33403" fmla="*/ 5915014 w 10505529"/>
              <a:gd name="connsiteY33403" fmla="*/ 1780304 h 7458372"/>
              <a:gd name="connsiteX33404" fmla="*/ 5917677 w 10505529"/>
              <a:gd name="connsiteY33404" fmla="*/ 1776047 h 7458372"/>
              <a:gd name="connsiteX33405" fmla="*/ 5918742 w 10505529"/>
              <a:gd name="connsiteY33405" fmla="*/ 1770584 h 7458372"/>
              <a:gd name="connsiteX33406" fmla="*/ 5917677 w 10505529"/>
              <a:gd name="connsiteY33406" fmla="*/ 1765399 h 7458372"/>
              <a:gd name="connsiteX33407" fmla="*/ 5915014 w 10505529"/>
              <a:gd name="connsiteY33407" fmla="*/ 1761271 h 7458372"/>
              <a:gd name="connsiteX33408" fmla="*/ 5911021 w 10505529"/>
              <a:gd name="connsiteY33408" fmla="*/ 1758610 h 7458372"/>
              <a:gd name="connsiteX33409" fmla="*/ 5905963 w 10505529"/>
              <a:gd name="connsiteY33409" fmla="*/ 1757670 h 7458372"/>
              <a:gd name="connsiteX33410" fmla="*/ 5688451 w 10505529"/>
              <a:gd name="connsiteY33410" fmla="*/ 1757670 h 7458372"/>
              <a:gd name="connsiteX33411" fmla="*/ 5678467 w 10505529"/>
              <a:gd name="connsiteY33411" fmla="*/ 1761271 h 7458372"/>
              <a:gd name="connsiteX33412" fmla="*/ 5674873 w 10505529"/>
              <a:gd name="connsiteY33412" fmla="*/ 1770725 h 7458372"/>
              <a:gd name="connsiteX33413" fmla="*/ 5678467 w 10505529"/>
              <a:gd name="connsiteY33413" fmla="*/ 1780175 h 7458372"/>
              <a:gd name="connsiteX33414" fmla="*/ 5688451 w 10505529"/>
              <a:gd name="connsiteY33414" fmla="*/ 1783629 h 7458372"/>
              <a:gd name="connsiteX33415" fmla="*/ 5693775 w 10505529"/>
              <a:gd name="connsiteY33415" fmla="*/ 1782708 h 7458372"/>
              <a:gd name="connsiteX33416" fmla="*/ 5697502 w 10505529"/>
              <a:gd name="connsiteY33416" fmla="*/ 1780304 h 7458372"/>
              <a:gd name="connsiteX33417" fmla="*/ 5700165 w 10505529"/>
              <a:gd name="connsiteY33417" fmla="*/ 1776047 h 7458372"/>
              <a:gd name="connsiteX33418" fmla="*/ 5701230 w 10505529"/>
              <a:gd name="connsiteY33418" fmla="*/ 1770584 h 7458372"/>
              <a:gd name="connsiteX33419" fmla="*/ 5700165 w 10505529"/>
              <a:gd name="connsiteY33419" fmla="*/ 1765399 h 7458372"/>
              <a:gd name="connsiteX33420" fmla="*/ 5697502 w 10505529"/>
              <a:gd name="connsiteY33420" fmla="*/ 1761271 h 7458372"/>
              <a:gd name="connsiteX33421" fmla="*/ 5693509 w 10505529"/>
              <a:gd name="connsiteY33421" fmla="*/ 1758610 h 7458372"/>
              <a:gd name="connsiteX33422" fmla="*/ 5688451 w 10505529"/>
              <a:gd name="connsiteY33422" fmla="*/ 1757670 h 7458372"/>
              <a:gd name="connsiteX33423" fmla="*/ 5470806 w 10505529"/>
              <a:gd name="connsiteY33423" fmla="*/ 1757670 h 7458372"/>
              <a:gd name="connsiteX33424" fmla="*/ 5460822 w 10505529"/>
              <a:gd name="connsiteY33424" fmla="*/ 1761271 h 7458372"/>
              <a:gd name="connsiteX33425" fmla="*/ 5457228 w 10505529"/>
              <a:gd name="connsiteY33425" fmla="*/ 1770725 h 7458372"/>
              <a:gd name="connsiteX33426" fmla="*/ 5460822 w 10505529"/>
              <a:gd name="connsiteY33426" fmla="*/ 1780175 h 7458372"/>
              <a:gd name="connsiteX33427" fmla="*/ 5470806 w 10505529"/>
              <a:gd name="connsiteY33427" fmla="*/ 1783629 h 7458372"/>
              <a:gd name="connsiteX33428" fmla="*/ 5476130 w 10505529"/>
              <a:gd name="connsiteY33428" fmla="*/ 1782708 h 7458372"/>
              <a:gd name="connsiteX33429" fmla="*/ 5479857 w 10505529"/>
              <a:gd name="connsiteY33429" fmla="*/ 1780304 h 7458372"/>
              <a:gd name="connsiteX33430" fmla="*/ 5482520 w 10505529"/>
              <a:gd name="connsiteY33430" fmla="*/ 1776047 h 7458372"/>
              <a:gd name="connsiteX33431" fmla="*/ 5483585 w 10505529"/>
              <a:gd name="connsiteY33431" fmla="*/ 1770584 h 7458372"/>
              <a:gd name="connsiteX33432" fmla="*/ 5482520 w 10505529"/>
              <a:gd name="connsiteY33432" fmla="*/ 1765399 h 7458372"/>
              <a:gd name="connsiteX33433" fmla="*/ 5479857 w 10505529"/>
              <a:gd name="connsiteY33433" fmla="*/ 1761271 h 7458372"/>
              <a:gd name="connsiteX33434" fmla="*/ 5475864 w 10505529"/>
              <a:gd name="connsiteY33434" fmla="*/ 1758610 h 7458372"/>
              <a:gd name="connsiteX33435" fmla="*/ 5470806 w 10505529"/>
              <a:gd name="connsiteY33435" fmla="*/ 1757670 h 7458372"/>
              <a:gd name="connsiteX33436" fmla="*/ 5253160 w 10505529"/>
              <a:gd name="connsiteY33436" fmla="*/ 1757670 h 7458372"/>
              <a:gd name="connsiteX33437" fmla="*/ 5243177 w 10505529"/>
              <a:gd name="connsiteY33437" fmla="*/ 1761271 h 7458372"/>
              <a:gd name="connsiteX33438" fmla="*/ 5239583 w 10505529"/>
              <a:gd name="connsiteY33438" fmla="*/ 1770725 h 7458372"/>
              <a:gd name="connsiteX33439" fmla="*/ 5243177 w 10505529"/>
              <a:gd name="connsiteY33439" fmla="*/ 1780175 h 7458372"/>
              <a:gd name="connsiteX33440" fmla="*/ 5253160 w 10505529"/>
              <a:gd name="connsiteY33440" fmla="*/ 1783629 h 7458372"/>
              <a:gd name="connsiteX33441" fmla="*/ 5258485 w 10505529"/>
              <a:gd name="connsiteY33441" fmla="*/ 1782708 h 7458372"/>
              <a:gd name="connsiteX33442" fmla="*/ 5262212 w 10505529"/>
              <a:gd name="connsiteY33442" fmla="*/ 1780304 h 7458372"/>
              <a:gd name="connsiteX33443" fmla="*/ 5264875 w 10505529"/>
              <a:gd name="connsiteY33443" fmla="*/ 1776047 h 7458372"/>
              <a:gd name="connsiteX33444" fmla="*/ 5265939 w 10505529"/>
              <a:gd name="connsiteY33444" fmla="*/ 1770584 h 7458372"/>
              <a:gd name="connsiteX33445" fmla="*/ 5264875 w 10505529"/>
              <a:gd name="connsiteY33445" fmla="*/ 1765399 h 7458372"/>
              <a:gd name="connsiteX33446" fmla="*/ 5262212 w 10505529"/>
              <a:gd name="connsiteY33446" fmla="*/ 1761271 h 7458372"/>
              <a:gd name="connsiteX33447" fmla="*/ 5258219 w 10505529"/>
              <a:gd name="connsiteY33447" fmla="*/ 1758610 h 7458372"/>
              <a:gd name="connsiteX33448" fmla="*/ 5253160 w 10505529"/>
              <a:gd name="connsiteY33448" fmla="*/ 1757670 h 7458372"/>
              <a:gd name="connsiteX33449" fmla="*/ 5035515 w 10505529"/>
              <a:gd name="connsiteY33449" fmla="*/ 1757670 h 7458372"/>
              <a:gd name="connsiteX33450" fmla="*/ 5025532 w 10505529"/>
              <a:gd name="connsiteY33450" fmla="*/ 1761271 h 7458372"/>
              <a:gd name="connsiteX33451" fmla="*/ 5021938 w 10505529"/>
              <a:gd name="connsiteY33451" fmla="*/ 1770725 h 7458372"/>
              <a:gd name="connsiteX33452" fmla="*/ 5025532 w 10505529"/>
              <a:gd name="connsiteY33452" fmla="*/ 1780175 h 7458372"/>
              <a:gd name="connsiteX33453" fmla="*/ 5035515 w 10505529"/>
              <a:gd name="connsiteY33453" fmla="*/ 1783629 h 7458372"/>
              <a:gd name="connsiteX33454" fmla="*/ 5040840 w 10505529"/>
              <a:gd name="connsiteY33454" fmla="*/ 1782708 h 7458372"/>
              <a:gd name="connsiteX33455" fmla="*/ 5044567 w 10505529"/>
              <a:gd name="connsiteY33455" fmla="*/ 1780304 h 7458372"/>
              <a:gd name="connsiteX33456" fmla="*/ 5047230 w 10505529"/>
              <a:gd name="connsiteY33456" fmla="*/ 1776047 h 7458372"/>
              <a:gd name="connsiteX33457" fmla="*/ 5048294 w 10505529"/>
              <a:gd name="connsiteY33457" fmla="*/ 1770584 h 7458372"/>
              <a:gd name="connsiteX33458" fmla="*/ 5047230 w 10505529"/>
              <a:gd name="connsiteY33458" fmla="*/ 1765399 h 7458372"/>
              <a:gd name="connsiteX33459" fmla="*/ 5044567 w 10505529"/>
              <a:gd name="connsiteY33459" fmla="*/ 1761271 h 7458372"/>
              <a:gd name="connsiteX33460" fmla="*/ 5040574 w 10505529"/>
              <a:gd name="connsiteY33460" fmla="*/ 1758610 h 7458372"/>
              <a:gd name="connsiteX33461" fmla="*/ 5035515 w 10505529"/>
              <a:gd name="connsiteY33461" fmla="*/ 1757670 h 7458372"/>
              <a:gd name="connsiteX33462" fmla="*/ 4817870 w 10505529"/>
              <a:gd name="connsiteY33462" fmla="*/ 1757670 h 7458372"/>
              <a:gd name="connsiteX33463" fmla="*/ 4807887 w 10505529"/>
              <a:gd name="connsiteY33463" fmla="*/ 1761271 h 7458372"/>
              <a:gd name="connsiteX33464" fmla="*/ 4804293 w 10505529"/>
              <a:gd name="connsiteY33464" fmla="*/ 1770725 h 7458372"/>
              <a:gd name="connsiteX33465" fmla="*/ 4807887 w 10505529"/>
              <a:gd name="connsiteY33465" fmla="*/ 1780175 h 7458372"/>
              <a:gd name="connsiteX33466" fmla="*/ 4817870 w 10505529"/>
              <a:gd name="connsiteY33466" fmla="*/ 1783629 h 7458372"/>
              <a:gd name="connsiteX33467" fmla="*/ 4823195 w 10505529"/>
              <a:gd name="connsiteY33467" fmla="*/ 1782708 h 7458372"/>
              <a:gd name="connsiteX33468" fmla="*/ 4826922 w 10505529"/>
              <a:gd name="connsiteY33468" fmla="*/ 1780304 h 7458372"/>
              <a:gd name="connsiteX33469" fmla="*/ 4829585 w 10505529"/>
              <a:gd name="connsiteY33469" fmla="*/ 1776047 h 7458372"/>
              <a:gd name="connsiteX33470" fmla="*/ 4830650 w 10505529"/>
              <a:gd name="connsiteY33470" fmla="*/ 1770584 h 7458372"/>
              <a:gd name="connsiteX33471" fmla="*/ 4829585 w 10505529"/>
              <a:gd name="connsiteY33471" fmla="*/ 1765399 h 7458372"/>
              <a:gd name="connsiteX33472" fmla="*/ 4826922 w 10505529"/>
              <a:gd name="connsiteY33472" fmla="*/ 1761271 h 7458372"/>
              <a:gd name="connsiteX33473" fmla="*/ 4822929 w 10505529"/>
              <a:gd name="connsiteY33473" fmla="*/ 1758610 h 7458372"/>
              <a:gd name="connsiteX33474" fmla="*/ 4817870 w 10505529"/>
              <a:gd name="connsiteY33474" fmla="*/ 1757670 h 7458372"/>
              <a:gd name="connsiteX33475" fmla="*/ 4600226 w 10505529"/>
              <a:gd name="connsiteY33475" fmla="*/ 1757670 h 7458372"/>
              <a:gd name="connsiteX33476" fmla="*/ 4590242 w 10505529"/>
              <a:gd name="connsiteY33476" fmla="*/ 1761271 h 7458372"/>
              <a:gd name="connsiteX33477" fmla="*/ 4586648 w 10505529"/>
              <a:gd name="connsiteY33477" fmla="*/ 1770725 h 7458372"/>
              <a:gd name="connsiteX33478" fmla="*/ 4590242 w 10505529"/>
              <a:gd name="connsiteY33478" fmla="*/ 1780175 h 7458372"/>
              <a:gd name="connsiteX33479" fmla="*/ 4600226 w 10505529"/>
              <a:gd name="connsiteY33479" fmla="*/ 1783629 h 7458372"/>
              <a:gd name="connsiteX33480" fmla="*/ 4605550 w 10505529"/>
              <a:gd name="connsiteY33480" fmla="*/ 1782708 h 7458372"/>
              <a:gd name="connsiteX33481" fmla="*/ 4609277 w 10505529"/>
              <a:gd name="connsiteY33481" fmla="*/ 1780304 h 7458372"/>
              <a:gd name="connsiteX33482" fmla="*/ 4611940 w 10505529"/>
              <a:gd name="connsiteY33482" fmla="*/ 1776047 h 7458372"/>
              <a:gd name="connsiteX33483" fmla="*/ 4613005 w 10505529"/>
              <a:gd name="connsiteY33483" fmla="*/ 1770584 h 7458372"/>
              <a:gd name="connsiteX33484" fmla="*/ 4611940 w 10505529"/>
              <a:gd name="connsiteY33484" fmla="*/ 1765399 h 7458372"/>
              <a:gd name="connsiteX33485" fmla="*/ 4609277 w 10505529"/>
              <a:gd name="connsiteY33485" fmla="*/ 1761271 h 7458372"/>
              <a:gd name="connsiteX33486" fmla="*/ 4605284 w 10505529"/>
              <a:gd name="connsiteY33486" fmla="*/ 1758610 h 7458372"/>
              <a:gd name="connsiteX33487" fmla="*/ 4600226 w 10505529"/>
              <a:gd name="connsiteY33487" fmla="*/ 1757670 h 7458372"/>
              <a:gd name="connsiteX33488" fmla="*/ 4382713 w 10505529"/>
              <a:gd name="connsiteY33488" fmla="*/ 1757670 h 7458372"/>
              <a:gd name="connsiteX33489" fmla="*/ 4372730 w 10505529"/>
              <a:gd name="connsiteY33489" fmla="*/ 1761271 h 7458372"/>
              <a:gd name="connsiteX33490" fmla="*/ 4369136 w 10505529"/>
              <a:gd name="connsiteY33490" fmla="*/ 1770725 h 7458372"/>
              <a:gd name="connsiteX33491" fmla="*/ 4372730 w 10505529"/>
              <a:gd name="connsiteY33491" fmla="*/ 1780175 h 7458372"/>
              <a:gd name="connsiteX33492" fmla="*/ 4382713 w 10505529"/>
              <a:gd name="connsiteY33492" fmla="*/ 1783629 h 7458372"/>
              <a:gd name="connsiteX33493" fmla="*/ 4388038 w 10505529"/>
              <a:gd name="connsiteY33493" fmla="*/ 1782708 h 7458372"/>
              <a:gd name="connsiteX33494" fmla="*/ 4391765 w 10505529"/>
              <a:gd name="connsiteY33494" fmla="*/ 1780304 h 7458372"/>
              <a:gd name="connsiteX33495" fmla="*/ 4394428 w 10505529"/>
              <a:gd name="connsiteY33495" fmla="*/ 1776047 h 7458372"/>
              <a:gd name="connsiteX33496" fmla="*/ 4395493 w 10505529"/>
              <a:gd name="connsiteY33496" fmla="*/ 1770584 h 7458372"/>
              <a:gd name="connsiteX33497" fmla="*/ 4394428 w 10505529"/>
              <a:gd name="connsiteY33497" fmla="*/ 1765399 h 7458372"/>
              <a:gd name="connsiteX33498" fmla="*/ 4391765 w 10505529"/>
              <a:gd name="connsiteY33498" fmla="*/ 1761271 h 7458372"/>
              <a:gd name="connsiteX33499" fmla="*/ 4387772 w 10505529"/>
              <a:gd name="connsiteY33499" fmla="*/ 1758610 h 7458372"/>
              <a:gd name="connsiteX33500" fmla="*/ 4382713 w 10505529"/>
              <a:gd name="connsiteY33500" fmla="*/ 1757670 h 7458372"/>
              <a:gd name="connsiteX33501" fmla="*/ 4165068 w 10505529"/>
              <a:gd name="connsiteY33501" fmla="*/ 1757670 h 7458372"/>
              <a:gd name="connsiteX33502" fmla="*/ 4155084 w 10505529"/>
              <a:gd name="connsiteY33502" fmla="*/ 1761271 h 7458372"/>
              <a:gd name="connsiteX33503" fmla="*/ 4151490 w 10505529"/>
              <a:gd name="connsiteY33503" fmla="*/ 1770725 h 7458372"/>
              <a:gd name="connsiteX33504" fmla="*/ 4155084 w 10505529"/>
              <a:gd name="connsiteY33504" fmla="*/ 1780175 h 7458372"/>
              <a:gd name="connsiteX33505" fmla="*/ 4165068 w 10505529"/>
              <a:gd name="connsiteY33505" fmla="*/ 1783629 h 7458372"/>
              <a:gd name="connsiteX33506" fmla="*/ 4170392 w 10505529"/>
              <a:gd name="connsiteY33506" fmla="*/ 1782708 h 7458372"/>
              <a:gd name="connsiteX33507" fmla="*/ 4174119 w 10505529"/>
              <a:gd name="connsiteY33507" fmla="*/ 1780304 h 7458372"/>
              <a:gd name="connsiteX33508" fmla="*/ 4176782 w 10505529"/>
              <a:gd name="connsiteY33508" fmla="*/ 1776047 h 7458372"/>
              <a:gd name="connsiteX33509" fmla="*/ 4177847 w 10505529"/>
              <a:gd name="connsiteY33509" fmla="*/ 1770584 h 7458372"/>
              <a:gd name="connsiteX33510" fmla="*/ 4176782 w 10505529"/>
              <a:gd name="connsiteY33510" fmla="*/ 1765399 h 7458372"/>
              <a:gd name="connsiteX33511" fmla="*/ 4174119 w 10505529"/>
              <a:gd name="connsiteY33511" fmla="*/ 1761271 h 7458372"/>
              <a:gd name="connsiteX33512" fmla="*/ 4170126 w 10505529"/>
              <a:gd name="connsiteY33512" fmla="*/ 1758610 h 7458372"/>
              <a:gd name="connsiteX33513" fmla="*/ 4165068 w 10505529"/>
              <a:gd name="connsiteY33513" fmla="*/ 1757670 h 7458372"/>
              <a:gd name="connsiteX33514" fmla="*/ 3947524 w 10505529"/>
              <a:gd name="connsiteY33514" fmla="*/ 1757670 h 7458372"/>
              <a:gd name="connsiteX33515" fmla="*/ 3937541 w 10505529"/>
              <a:gd name="connsiteY33515" fmla="*/ 1761271 h 7458372"/>
              <a:gd name="connsiteX33516" fmla="*/ 3933946 w 10505529"/>
              <a:gd name="connsiteY33516" fmla="*/ 1770725 h 7458372"/>
              <a:gd name="connsiteX33517" fmla="*/ 3937541 w 10505529"/>
              <a:gd name="connsiteY33517" fmla="*/ 1780175 h 7458372"/>
              <a:gd name="connsiteX33518" fmla="*/ 3947524 w 10505529"/>
              <a:gd name="connsiteY33518" fmla="*/ 1783629 h 7458372"/>
              <a:gd name="connsiteX33519" fmla="*/ 3952849 w 10505529"/>
              <a:gd name="connsiteY33519" fmla="*/ 1782708 h 7458372"/>
              <a:gd name="connsiteX33520" fmla="*/ 3956576 w 10505529"/>
              <a:gd name="connsiteY33520" fmla="*/ 1780304 h 7458372"/>
              <a:gd name="connsiteX33521" fmla="*/ 3959239 w 10505529"/>
              <a:gd name="connsiteY33521" fmla="*/ 1776047 h 7458372"/>
              <a:gd name="connsiteX33522" fmla="*/ 3960304 w 10505529"/>
              <a:gd name="connsiteY33522" fmla="*/ 1770584 h 7458372"/>
              <a:gd name="connsiteX33523" fmla="*/ 3959239 w 10505529"/>
              <a:gd name="connsiteY33523" fmla="*/ 1765399 h 7458372"/>
              <a:gd name="connsiteX33524" fmla="*/ 3956576 w 10505529"/>
              <a:gd name="connsiteY33524" fmla="*/ 1761271 h 7458372"/>
              <a:gd name="connsiteX33525" fmla="*/ 3952582 w 10505529"/>
              <a:gd name="connsiteY33525" fmla="*/ 1758610 h 7458372"/>
              <a:gd name="connsiteX33526" fmla="*/ 3947524 w 10505529"/>
              <a:gd name="connsiteY33526" fmla="*/ 1757670 h 7458372"/>
              <a:gd name="connsiteX33527" fmla="*/ 3729873 w 10505529"/>
              <a:gd name="connsiteY33527" fmla="*/ 1757670 h 7458372"/>
              <a:gd name="connsiteX33528" fmla="*/ 3719887 w 10505529"/>
              <a:gd name="connsiteY33528" fmla="*/ 1761271 h 7458372"/>
              <a:gd name="connsiteX33529" fmla="*/ 3716295 w 10505529"/>
              <a:gd name="connsiteY33529" fmla="*/ 1770725 h 7458372"/>
              <a:gd name="connsiteX33530" fmla="*/ 3719887 w 10505529"/>
              <a:gd name="connsiteY33530" fmla="*/ 1780175 h 7458372"/>
              <a:gd name="connsiteX33531" fmla="*/ 3729873 w 10505529"/>
              <a:gd name="connsiteY33531" fmla="*/ 1783629 h 7458372"/>
              <a:gd name="connsiteX33532" fmla="*/ 3735198 w 10505529"/>
              <a:gd name="connsiteY33532" fmla="*/ 1782708 h 7458372"/>
              <a:gd name="connsiteX33533" fmla="*/ 3738925 w 10505529"/>
              <a:gd name="connsiteY33533" fmla="*/ 1780304 h 7458372"/>
              <a:gd name="connsiteX33534" fmla="*/ 3741588 w 10505529"/>
              <a:gd name="connsiteY33534" fmla="*/ 1776047 h 7458372"/>
              <a:gd name="connsiteX33535" fmla="*/ 3742653 w 10505529"/>
              <a:gd name="connsiteY33535" fmla="*/ 1770584 h 7458372"/>
              <a:gd name="connsiteX33536" fmla="*/ 3741588 w 10505529"/>
              <a:gd name="connsiteY33536" fmla="*/ 1765399 h 7458372"/>
              <a:gd name="connsiteX33537" fmla="*/ 3738925 w 10505529"/>
              <a:gd name="connsiteY33537" fmla="*/ 1761271 h 7458372"/>
              <a:gd name="connsiteX33538" fmla="*/ 3734933 w 10505529"/>
              <a:gd name="connsiteY33538" fmla="*/ 1758610 h 7458372"/>
              <a:gd name="connsiteX33539" fmla="*/ 3729873 w 10505529"/>
              <a:gd name="connsiteY33539" fmla="*/ 1757670 h 7458372"/>
              <a:gd name="connsiteX33540" fmla="*/ 3512223 w 10505529"/>
              <a:gd name="connsiteY33540" fmla="*/ 1757670 h 7458372"/>
              <a:gd name="connsiteX33541" fmla="*/ 3502238 w 10505529"/>
              <a:gd name="connsiteY33541" fmla="*/ 1761271 h 7458372"/>
              <a:gd name="connsiteX33542" fmla="*/ 3498644 w 10505529"/>
              <a:gd name="connsiteY33542" fmla="*/ 1770725 h 7458372"/>
              <a:gd name="connsiteX33543" fmla="*/ 3502238 w 10505529"/>
              <a:gd name="connsiteY33543" fmla="*/ 1780175 h 7458372"/>
              <a:gd name="connsiteX33544" fmla="*/ 3512223 w 10505529"/>
              <a:gd name="connsiteY33544" fmla="*/ 1783629 h 7458372"/>
              <a:gd name="connsiteX33545" fmla="*/ 3517548 w 10505529"/>
              <a:gd name="connsiteY33545" fmla="*/ 1782708 h 7458372"/>
              <a:gd name="connsiteX33546" fmla="*/ 3521275 w 10505529"/>
              <a:gd name="connsiteY33546" fmla="*/ 1780304 h 7458372"/>
              <a:gd name="connsiteX33547" fmla="*/ 3523938 w 10505529"/>
              <a:gd name="connsiteY33547" fmla="*/ 1776047 h 7458372"/>
              <a:gd name="connsiteX33548" fmla="*/ 3525003 w 10505529"/>
              <a:gd name="connsiteY33548" fmla="*/ 1770584 h 7458372"/>
              <a:gd name="connsiteX33549" fmla="*/ 3523938 w 10505529"/>
              <a:gd name="connsiteY33549" fmla="*/ 1765399 h 7458372"/>
              <a:gd name="connsiteX33550" fmla="*/ 3521275 w 10505529"/>
              <a:gd name="connsiteY33550" fmla="*/ 1761271 h 7458372"/>
              <a:gd name="connsiteX33551" fmla="*/ 3517282 w 10505529"/>
              <a:gd name="connsiteY33551" fmla="*/ 1758610 h 7458372"/>
              <a:gd name="connsiteX33552" fmla="*/ 3512223 w 10505529"/>
              <a:gd name="connsiteY33552" fmla="*/ 1757670 h 7458372"/>
              <a:gd name="connsiteX33553" fmla="*/ 3294706 w 10505529"/>
              <a:gd name="connsiteY33553" fmla="*/ 1757670 h 7458372"/>
              <a:gd name="connsiteX33554" fmla="*/ 3284722 w 10505529"/>
              <a:gd name="connsiteY33554" fmla="*/ 1761271 h 7458372"/>
              <a:gd name="connsiteX33555" fmla="*/ 3281128 w 10505529"/>
              <a:gd name="connsiteY33555" fmla="*/ 1770725 h 7458372"/>
              <a:gd name="connsiteX33556" fmla="*/ 3284722 w 10505529"/>
              <a:gd name="connsiteY33556" fmla="*/ 1780175 h 7458372"/>
              <a:gd name="connsiteX33557" fmla="*/ 3294706 w 10505529"/>
              <a:gd name="connsiteY33557" fmla="*/ 1783629 h 7458372"/>
              <a:gd name="connsiteX33558" fmla="*/ 3300031 w 10505529"/>
              <a:gd name="connsiteY33558" fmla="*/ 1782708 h 7458372"/>
              <a:gd name="connsiteX33559" fmla="*/ 3303758 w 10505529"/>
              <a:gd name="connsiteY33559" fmla="*/ 1780304 h 7458372"/>
              <a:gd name="connsiteX33560" fmla="*/ 3306421 w 10505529"/>
              <a:gd name="connsiteY33560" fmla="*/ 1776047 h 7458372"/>
              <a:gd name="connsiteX33561" fmla="*/ 3307485 w 10505529"/>
              <a:gd name="connsiteY33561" fmla="*/ 1770584 h 7458372"/>
              <a:gd name="connsiteX33562" fmla="*/ 3306421 w 10505529"/>
              <a:gd name="connsiteY33562" fmla="*/ 1765399 h 7458372"/>
              <a:gd name="connsiteX33563" fmla="*/ 3303758 w 10505529"/>
              <a:gd name="connsiteY33563" fmla="*/ 1761271 h 7458372"/>
              <a:gd name="connsiteX33564" fmla="*/ 3299765 w 10505529"/>
              <a:gd name="connsiteY33564" fmla="*/ 1758610 h 7458372"/>
              <a:gd name="connsiteX33565" fmla="*/ 3294706 w 10505529"/>
              <a:gd name="connsiteY33565" fmla="*/ 1757670 h 7458372"/>
              <a:gd name="connsiteX33566" fmla="*/ 3077189 w 10505529"/>
              <a:gd name="connsiteY33566" fmla="*/ 1757670 h 7458372"/>
              <a:gd name="connsiteX33567" fmla="*/ 3067206 w 10505529"/>
              <a:gd name="connsiteY33567" fmla="*/ 1761271 h 7458372"/>
              <a:gd name="connsiteX33568" fmla="*/ 3063477 w 10505529"/>
              <a:gd name="connsiteY33568" fmla="*/ 1770725 h 7458372"/>
              <a:gd name="connsiteX33569" fmla="*/ 3067072 w 10505529"/>
              <a:gd name="connsiteY33569" fmla="*/ 1780175 h 7458372"/>
              <a:gd name="connsiteX33570" fmla="*/ 3077055 w 10505529"/>
              <a:gd name="connsiteY33570" fmla="*/ 1783629 h 7458372"/>
              <a:gd name="connsiteX33571" fmla="*/ 3082514 w 10505529"/>
              <a:gd name="connsiteY33571" fmla="*/ 1782708 h 7458372"/>
              <a:gd name="connsiteX33572" fmla="*/ 3086241 w 10505529"/>
              <a:gd name="connsiteY33572" fmla="*/ 1780304 h 7458372"/>
              <a:gd name="connsiteX33573" fmla="*/ 3088904 w 10505529"/>
              <a:gd name="connsiteY33573" fmla="*/ 1776047 h 7458372"/>
              <a:gd name="connsiteX33574" fmla="*/ 3089836 w 10505529"/>
              <a:gd name="connsiteY33574" fmla="*/ 1770584 h 7458372"/>
              <a:gd name="connsiteX33575" fmla="*/ 3088904 w 10505529"/>
              <a:gd name="connsiteY33575" fmla="*/ 1765399 h 7458372"/>
              <a:gd name="connsiteX33576" fmla="*/ 3086241 w 10505529"/>
              <a:gd name="connsiteY33576" fmla="*/ 1761271 h 7458372"/>
              <a:gd name="connsiteX33577" fmla="*/ 3082248 w 10505529"/>
              <a:gd name="connsiteY33577" fmla="*/ 1758610 h 7458372"/>
              <a:gd name="connsiteX33578" fmla="*/ 3077189 w 10505529"/>
              <a:gd name="connsiteY33578" fmla="*/ 1757670 h 7458372"/>
              <a:gd name="connsiteX33579" fmla="*/ 2859406 w 10505529"/>
              <a:gd name="connsiteY33579" fmla="*/ 1757670 h 7458372"/>
              <a:gd name="connsiteX33580" fmla="*/ 2849421 w 10505529"/>
              <a:gd name="connsiteY33580" fmla="*/ 1761271 h 7458372"/>
              <a:gd name="connsiteX33581" fmla="*/ 2845826 w 10505529"/>
              <a:gd name="connsiteY33581" fmla="*/ 1770725 h 7458372"/>
              <a:gd name="connsiteX33582" fmla="*/ 2849421 w 10505529"/>
              <a:gd name="connsiteY33582" fmla="*/ 1780175 h 7458372"/>
              <a:gd name="connsiteX33583" fmla="*/ 2859406 w 10505529"/>
              <a:gd name="connsiteY33583" fmla="*/ 1783629 h 7458372"/>
              <a:gd name="connsiteX33584" fmla="*/ 2864730 w 10505529"/>
              <a:gd name="connsiteY33584" fmla="*/ 1782708 h 7458372"/>
              <a:gd name="connsiteX33585" fmla="*/ 2868457 w 10505529"/>
              <a:gd name="connsiteY33585" fmla="*/ 1780304 h 7458372"/>
              <a:gd name="connsiteX33586" fmla="*/ 2871120 w 10505529"/>
              <a:gd name="connsiteY33586" fmla="*/ 1776047 h 7458372"/>
              <a:gd name="connsiteX33587" fmla="*/ 2872052 w 10505529"/>
              <a:gd name="connsiteY33587" fmla="*/ 1770584 h 7458372"/>
              <a:gd name="connsiteX33588" fmla="*/ 2871120 w 10505529"/>
              <a:gd name="connsiteY33588" fmla="*/ 1765399 h 7458372"/>
              <a:gd name="connsiteX33589" fmla="*/ 2868457 w 10505529"/>
              <a:gd name="connsiteY33589" fmla="*/ 1761271 h 7458372"/>
              <a:gd name="connsiteX33590" fmla="*/ 2864465 w 10505529"/>
              <a:gd name="connsiteY33590" fmla="*/ 1758610 h 7458372"/>
              <a:gd name="connsiteX33591" fmla="*/ 2859406 w 10505529"/>
              <a:gd name="connsiteY33591" fmla="*/ 1757670 h 7458372"/>
              <a:gd name="connsiteX33592" fmla="*/ 2641755 w 10505529"/>
              <a:gd name="connsiteY33592" fmla="*/ 1757670 h 7458372"/>
              <a:gd name="connsiteX33593" fmla="*/ 2631772 w 10505529"/>
              <a:gd name="connsiteY33593" fmla="*/ 1761271 h 7458372"/>
              <a:gd name="connsiteX33594" fmla="*/ 2628178 w 10505529"/>
              <a:gd name="connsiteY33594" fmla="*/ 1770725 h 7458372"/>
              <a:gd name="connsiteX33595" fmla="*/ 2631772 w 10505529"/>
              <a:gd name="connsiteY33595" fmla="*/ 1780175 h 7458372"/>
              <a:gd name="connsiteX33596" fmla="*/ 2641755 w 10505529"/>
              <a:gd name="connsiteY33596" fmla="*/ 1783629 h 7458372"/>
              <a:gd name="connsiteX33597" fmla="*/ 2647081 w 10505529"/>
              <a:gd name="connsiteY33597" fmla="*/ 1782708 h 7458372"/>
              <a:gd name="connsiteX33598" fmla="*/ 2650808 w 10505529"/>
              <a:gd name="connsiteY33598" fmla="*/ 1780304 h 7458372"/>
              <a:gd name="connsiteX33599" fmla="*/ 2653471 w 10505529"/>
              <a:gd name="connsiteY33599" fmla="*/ 1776047 h 7458372"/>
              <a:gd name="connsiteX33600" fmla="*/ 2654401 w 10505529"/>
              <a:gd name="connsiteY33600" fmla="*/ 1770584 h 7458372"/>
              <a:gd name="connsiteX33601" fmla="*/ 2653471 w 10505529"/>
              <a:gd name="connsiteY33601" fmla="*/ 1765399 h 7458372"/>
              <a:gd name="connsiteX33602" fmla="*/ 2650808 w 10505529"/>
              <a:gd name="connsiteY33602" fmla="*/ 1761271 h 7458372"/>
              <a:gd name="connsiteX33603" fmla="*/ 2646815 w 10505529"/>
              <a:gd name="connsiteY33603" fmla="*/ 1758610 h 7458372"/>
              <a:gd name="connsiteX33604" fmla="*/ 2641755 w 10505529"/>
              <a:gd name="connsiteY33604" fmla="*/ 1757670 h 7458372"/>
              <a:gd name="connsiteX33605" fmla="*/ 2424105 w 10505529"/>
              <a:gd name="connsiteY33605" fmla="*/ 1757670 h 7458372"/>
              <a:gd name="connsiteX33606" fmla="*/ 2414122 w 10505529"/>
              <a:gd name="connsiteY33606" fmla="*/ 1761271 h 7458372"/>
              <a:gd name="connsiteX33607" fmla="*/ 2410527 w 10505529"/>
              <a:gd name="connsiteY33607" fmla="*/ 1770725 h 7458372"/>
              <a:gd name="connsiteX33608" fmla="*/ 2414122 w 10505529"/>
              <a:gd name="connsiteY33608" fmla="*/ 1780175 h 7458372"/>
              <a:gd name="connsiteX33609" fmla="*/ 2424105 w 10505529"/>
              <a:gd name="connsiteY33609" fmla="*/ 1783629 h 7458372"/>
              <a:gd name="connsiteX33610" fmla="*/ 2429430 w 10505529"/>
              <a:gd name="connsiteY33610" fmla="*/ 1782708 h 7458372"/>
              <a:gd name="connsiteX33611" fmla="*/ 2433157 w 10505529"/>
              <a:gd name="connsiteY33611" fmla="*/ 1780304 h 7458372"/>
              <a:gd name="connsiteX33612" fmla="*/ 2435820 w 10505529"/>
              <a:gd name="connsiteY33612" fmla="*/ 1776047 h 7458372"/>
              <a:gd name="connsiteX33613" fmla="*/ 2436751 w 10505529"/>
              <a:gd name="connsiteY33613" fmla="*/ 1770584 h 7458372"/>
              <a:gd name="connsiteX33614" fmla="*/ 2435820 w 10505529"/>
              <a:gd name="connsiteY33614" fmla="*/ 1765399 h 7458372"/>
              <a:gd name="connsiteX33615" fmla="*/ 2433157 w 10505529"/>
              <a:gd name="connsiteY33615" fmla="*/ 1761271 h 7458372"/>
              <a:gd name="connsiteX33616" fmla="*/ 2429164 w 10505529"/>
              <a:gd name="connsiteY33616" fmla="*/ 1758610 h 7458372"/>
              <a:gd name="connsiteX33617" fmla="*/ 2424105 w 10505529"/>
              <a:gd name="connsiteY33617" fmla="*/ 1757670 h 7458372"/>
              <a:gd name="connsiteX33618" fmla="*/ 2206455 w 10505529"/>
              <a:gd name="connsiteY33618" fmla="*/ 1757670 h 7458372"/>
              <a:gd name="connsiteX33619" fmla="*/ 2196471 w 10505529"/>
              <a:gd name="connsiteY33619" fmla="*/ 1761271 h 7458372"/>
              <a:gd name="connsiteX33620" fmla="*/ 2192877 w 10505529"/>
              <a:gd name="connsiteY33620" fmla="*/ 1770725 h 7458372"/>
              <a:gd name="connsiteX33621" fmla="*/ 2196471 w 10505529"/>
              <a:gd name="connsiteY33621" fmla="*/ 1780175 h 7458372"/>
              <a:gd name="connsiteX33622" fmla="*/ 2206455 w 10505529"/>
              <a:gd name="connsiteY33622" fmla="*/ 1783629 h 7458372"/>
              <a:gd name="connsiteX33623" fmla="*/ 2211780 w 10505529"/>
              <a:gd name="connsiteY33623" fmla="*/ 1782708 h 7458372"/>
              <a:gd name="connsiteX33624" fmla="*/ 2215507 w 10505529"/>
              <a:gd name="connsiteY33624" fmla="*/ 1780304 h 7458372"/>
              <a:gd name="connsiteX33625" fmla="*/ 2218170 w 10505529"/>
              <a:gd name="connsiteY33625" fmla="*/ 1776047 h 7458372"/>
              <a:gd name="connsiteX33626" fmla="*/ 2219101 w 10505529"/>
              <a:gd name="connsiteY33626" fmla="*/ 1770584 h 7458372"/>
              <a:gd name="connsiteX33627" fmla="*/ 2218170 w 10505529"/>
              <a:gd name="connsiteY33627" fmla="*/ 1765399 h 7458372"/>
              <a:gd name="connsiteX33628" fmla="*/ 2215507 w 10505529"/>
              <a:gd name="connsiteY33628" fmla="*/ 1761271 h 7458372"/>
              <a:gd name="connsiteX33629" fmla="*/ 2211514 w 10505529"/>
              <a:gd name="connsiteY33629" fmla="*/ 1758610 h 7458372"/>
              <a:gd name="connsiteX33630" fmla="*/ 2206455 w 10505529"/>
              <a:gd name="connsiteY33630" fmla="*/ 1757670 h 7458372"/>
              <a:gd name="connsiteX33631" fmla="*/ 1988937 w 10505529"/>
              <a:gd name="connsiteY33631" fmla="*/ 1757670 h 7458372"/>
              <a:gd name="connsiteX33632" fmla="*/ 1978954 w 10505529"/>
              <a:gd name="connsiteY33632" fmla="*/ 1761271 h 7458372"/>
              <a:gd name="connsiteX33633" fmla="*/ 1975360 w 10505529"/>
              <a:gd name="connsiteY33633" fmla="*/ 1770725 h 7458372"/>
              <a:gd name="connsiteX33634" fmla="*/ 1978954 w 10505529"/>
              <a:gd name="connsiteY33634" fmla="*/ 1780175 h 7458372"/>
              <a:gd name="connsiteX33635" fmla="*/ 1988937 w 10505529"/>
              <a:gd name="connsiteY33635" fmla="*/ 1783629 h 7458372"/>
              <a:gd name="connsiteX33636" fmla="*/ 1994262 w 10505529"/>
              <a:gd name="connsiteY33636" fmla="*/ 1782708 h 7458372"/>
              <a:gd name="connsiteX33637" fmla="*/ 1997990 w 10505529"/>
              <a:gd name="connsiteY33637" fmla="*/ 1780304 h 7458372"/>
              <a:gd name="connsiteX33638" fmla="*/ 2000653 w 10505529"/>
              <a:gd name="connsiteY33638" fmla="*/ 1776047 h 7458372"/>
              <a:gd name="connsiteX33639" fmla="*/ 2001583 w 10505529"/>
              <a:gd name="connsiteY33639" fmla="*/ 1770584 h 7458372"/>
              <a:gd name="connsiteX33640" fmla="*/ 2000653 w 10505529"/>
              <a:gd name="connsiteY33640" fmla="*/ 1765399 h 7458372"/>
              <a:gd name="connsiteX33641" fmla="*/ 1997990 w 10505529"/>
              <a:gd name="connsiteY33641" fmla="*/ 1761271 h 7458372"/>
              <a:gd name="connsiteX33642" fmla="*/ 1993996 w 10505529"/>
              <a:gd name="connsiteY33642" fmla="*/ 1758610 h 7458372"/>
              <a:gd name="connsiteX33643" fmla="*/ 1988937 w 10505529"/>
              <a:gd name="connsiteY33643" fmla="*/ 1757670 h 7458372"/>
              <a:gd name="connsiteX33644" fmla="*/ 1771296 w 10505529"/>
              <a:gd name="connsiteY33644" fmla="*/ 1757670 h 7458372"/>
              <a:gd name="connsiteX33645" fmla="*/ 1761313 w 10505529"/>
              <a:gd name="connsiteY33645" fmla="*/ 1761271 h 7458372"/>
              <a:gd name="connsiteX33646" fmla="*/ 1757719 w 10505529"/>
              <a:gd name="connsiteY33646" fmla="*/ 1770725 h 7458372"/>
              <a:gd name="connsiteX33647" fmla="*/ 1761313 w 10505529"/>
              <a:gd name="connsiteY33647" fmla="*/ 1780175 h 7458372"/>
              <a:gd name="connsiteX33648" fmla="*/ 1771296 w 10505529"/>
              <a:gd name="connsiteY33648" fmla="*/ 1783629 h 7458372"/>
              <a:gd name="connsiteX33649" fmla="*/ 1776621 w 10505529"/>
              <a:gd name="connsiteY33649" fmla="*/ 1782708 h 7458372"/>
              <a:gd name="connsiteX33650" fmla="*/ 1780348 w 10505529"/>
              <a:gd name="connsiteY33650" fmla="*/ 1780304 h 7458372"/>
              <a:gd name="connsiteX33651" fmla="*/ 1783011 w 10505529"/>
              <a:gd name="connsiteY33651" fmla="*/ 1776047 h 7458372"/>
              <a:gd name="connsiteX33652" fmla="*/ 1784076 w 10505529"/>
              <a:gd name="connsiteY33652" fmla="*/ 1770584 h 7458372"/>
              <a:gd name="connsiteX33653" fmla="*/ 1783011 w 10505529"/>
              <a:gd name="connsiteY33653" fmla="*/ 1765399 h 7458372"/>
              <a:gd name="connsiteX33654" fmla="*/ 1780348 w 10505529"/>
              <a:gd name="connsiteY33654" fmla="*/ 1761271 h 7458372"/>
              <a:gd name="connsiteX33655" fmla="*/ 1776355 w 10505529"/>
              <a:gd name="connsiteY33655" fmla="*/ 1758610 h 7458372"/>
              <a:gd name="connsiteX33656" fmla="*/ 1771296 w 10505529"/>
              <a:gd name="connsiteY33656" fmla="*/ 1757670 h 7458372"/>
              <a:gd name="connsiteX33657" fmla="*/ 1553653 w 10505529"/>
              <a:gd name="connsiteY33657" fmla="*/ 1757670 h 7458372"/>
              <a:gd name="connsiteX33658" fmla="*/ 1543670 w 10505529"/>
              <a:gd name="connsiteY33658" fmla="*/ 1761271 h 7458372"/>
              <a:gd name="connsiteX33659" fmla="*/ 1540076 w 10505529"/>
              <a:gd name="connsiteY33659" fmla="*/ 1770725 h 7458372"/>
              <a:gd name="connsiteX33660" fmla="*/ 1543670 w 10505529"/>
              <a:gd name="connsiteY33660" fmla="*/ 1780175 h 7458372"/>
              <a:gd name="connsiteX33661" fmla="*/ 1553653 w 10505529"/>
              <a:gd name="connsiteY33661" fmla="*/ 1783629 h 7458372"/>
              <a:gd name="connsiteX33662" fmla="*/ 1558978 w 10505529"/>
              <a:gd name="connsiteY33662" fmla="*/ 1782708 h 7458372"/>
              <a:gd name="connsiteX33663" fmla="*/ 1562705 w 10505529"/>
              <a:gd name="connsiteY33663" fmla="*/ 1780304 h 7458372"/>
              <a:gd name="connsiteX33664" fmla="*/ 1565368 w 10505529"/>
              <a:gd name="connsiteY33664" fmla="*/ 1776047 h 7458372"/>
              <a:gd name="connsiteX33665" fmla="*/ 1566433 w 10505529"/>
              <a:gd name="connsiteY33665" fmla="*/ 1770584 h 7458372"/>
              <a:gd name="connsiteX33666" fmla="*/ 1565368 w 10505529"/>
              <a:gd name="connsiteY33666" fmla="*/ 1765399 h 7458372"/>
              <a:gd name="connsiteX33667" fmla="*/ 1562705 w 10505529"/>
              <a:gd name="connsiteY33667" fmla="*/ 1761271 h 7458372"/>
              <a:gd name="connsiteX33668" fmla="*/ 1558712 w 10505529"/>
              <a:gd name="connsiteY33668" fmla="*/ 1758610 h 7458372"/>
              <a:gd name="connsiteX33669" fmla="*/ 1553653 w 10505529"/>
              <a:gd name="connsiteY33669" fmla="*/ 1757670 h 7458372"/>
              <a:gd name="connsiteX33670" fmla="*/ 1336008 w 10505529"/>
              <a:gd name="connsiteY33670" fmla="*/ 1757670 h 7458372"/>
              <a:gd name="connsiteX33671" fmla="*/ 1326026 w 10505529"/>
              <a:gd name="connsiteY33671" fmla="*/ 1761271 h 7458372"/>
              <a:gd name="connsiteX33672" fmla="*/ 1322431 w 10505529"/>
              <a:gd name="connsiteY33672" fmla="*/ 1770725 h 7458372"/>
              <a:gd name="connsiteX33673" fmla="*/ 1326026 w 10505529"/>
              <a:gd name="connsiteY33673" fmla="*/ 1780175 h 7458372"/>
              <a:gd name="connsiteX33674" fmla="*/ 1336008 w 10505529"/>
              <a:gd name="connsiteY33674" fmla="*/ 1783629 h 7458372"/>
              <a:gd name="connsiteX33675" fmla="*/ 1341335 w 10505529"/>
              <a:gd name="connsiteY33675" fmla="*/ 1782708 h 7458372"/>
              <a:gd name="connsiteX33676" fmla="*/ 1345061 w 10505529"/>
              <a:gd name="connsiteY33676" fmla="*/ 1780304 h 7458372"/>
              <a:gd name="connsiteX33677" fmla="*/ 1347724 w 10505529"/>
              <a:gd name="connsiteY33677" fmla="*/ 1776047 h 7458372"/>
              <a:gd name="connsiteX33678" fmla="*/ 1348790 w 10505529"/>
              <a:gd name="connsiteY33678" fmla="*/ 1770584 h 7458372"/>
              <a:gd name="connsiteX33679" fmla="*/ 1347724 w 10505529"/>
              <a:gd name="connsiteY33679" fmla="*/ 1765399 h 7458372"/>
              <a:gd name="connsiteX33680" fmla="*/ 1345061 w 10505529"/>
              <a:gd name="connsiteY33680" fmla="*/ 1761271 h 7458372"/>
              <a:gd name="connsiteX33681" fmla="*/ 1341068 w 10505529"/>
              <a:gd name="connsiteY33681" fmla="*/ 1758610 h 7458372"/>
              <a:gd name="connsiteX33682" fmla="*/ 1336008 w 10505529"/>
              <a:gd name="connsiteY33682" fmla="*/ 1757670 h 7458372"/>
              <a:gd name="connsiteX33683" fmla="*/ 1118497 w 10505529"/>
              <a:gd name="connsiteY33683" fmla="*/ 1757670 h 7458372"/>
              <a:gd name="connsiteX33684" fmla="*/ 1108513 w 10505529"/>
              <a:gd name="connsiteY33684" fmla="*/ 1761271 h 7458372"/>
              <a:gd name="connsiteX33685" fmla="*/ 1104786 w 10505529"/>
              <a:gd name="connsiteY33685" fmla="*/ 1770725 h 7458372"/>
              <a:gd name="connsiteX33686" fmla="*/ 1108380 w 10505529"/>
              <a:gd name="connsiteY33686" fmla="*/ 1780175 h 7458372"/>
              <a:gd name="connsiteX33687" fmla="*/ 1118364 w 10505529"/>
              <a:gd name="connsiteY33687" fmla="*/ 1783629 h 7458372"/>
              <a:gd name="connsiteX33688" fmla="*/ 1123822 w 10505529"/>
              <a:gd name="connsiteY33688" fmla="*/ 1782708 h 7458372"/>
              <a:gd name="connsiteX33689" fmla="*/ 1127549 w 10505529"/>
              <a:gd name="connsiteY33689" fmla="*/ 1780304 h 7458372"/>
              <a:gd name="connsiteX33690" fmla="*/ 1130213 w 10505529"/>
              <a:gd name="connsiteY33690" fmla="*/ 1776047 h 7458372"/>
              <a:gd name="connsiteX33691" fmla="*/ 1131278 w 10505529"/>
              <a:gd name="connsiteY33691" fmla="*/ 1770584 h 7458372"/>
              <a:gd name="connsiteX33692" fmla="*/ 1130213 w 10505529"/>
              <a:gd name="connsiteY33692" fmla="*/ 1765399 h 7458372"/>
              <a:gd name="connsiteX33693" fmla="*/ 1127549 w 10505529"/>
              <a:gd name="connsiteY33693" fmla="*/ 1761271 h 7458372"/>
              <a:gd name="connsiteX33694" fmla="*/ 1123555 w 10505529"/>
              <a:gd name="connsiteY33694" fmla="*/ 1758610 h 7458372"/>
              <a:gd name="connsiteX33695" fmla="*/ 1118497 w 10505529"/>
              <a:gd name="connsiteY33695" fmla="*/ 1757670 h 7458372"/>
              <a:gd name="connsiteX33696" fmla="*/ 900986 w 10505529"/>
              <a:gd name="connsiteY33696" fmla="*/ 1757670 h 7458372"/>
              <a:gd name="connsiteX33697" fmla="*/ 891001 w 10505529"/>
              <a:gd name="connsiteY33697" fmla="*/ 1761271 h 7458372"/>
              <a:gd name="connsiteX33698" fmla="*/ 887275 w 10505529"/>
              <a:gd name="connsiteY33698" fmla="*/ 1770725 h 7458372"/>
              <a:gd name="connsiteX33699" fmla="*/ 890869 w 10505529"/>
              <a:gd name="connsiteY33699" fmla="*/ 1780175 h 7458372"/>
              <a:gd name="connsiteX33700" fmla="*/ 900852 w 10505529"/>
              <a:gd name="connsiteY33700" fmla="*/ 1783629 h 7458372"/>
              <a:gd name="connsiteX33701" fmla="*/ 906310 w 10505529"/>
              <a:gd name="connsiteY33701" fmla="*/ 1782708 h 7458372"/>
              <a:gd name="connsiteX33702" fmla="*/ 910038 w 10505529"/>
              <a:gd name="connsiteY33702" fmla="*/ 1780304 h 7458372"/>
              <a:gd name="connsiteX33703" fmla="*/ 912700 w 10505529"/>
              <a:gd name="connsiteY33703" fmla="*/ 1776047 h 7458372"/>
              <a:gd name="connsiteX33704" fmla="*/ 913765 w 10505529"/>
              <a:gd name="connsiteY33704" fmla="*/ 1770584 h 7458372"/>
              <a:gd name="connsiteX33705" fmla="*/ 912700 w 10505529"/>
              <a:gd name="connsiteY33705" fmla="*/ 1765399 h 7458372"/>
              <a:gd name="connsiteX33706" fmla="*/ 910038 w 10505529"/>
              <a:gd name="connsiteY33706" fmla="*/ 1761271 h 7458372"/>
              <a:gd name="connsiteX33707" fmla="*/ 906044 w 10505529"/>
              <a:gd name="connsiteY33707" fmla="*/ 1758610 h 7458372"/>
              <a:gd name="connsiteX33708" fmla="*/ 900986 w 10505529"/>
              <a:gd name="connsiteY33708" fmla="*/ 1757670 h 7458372"/>
              <a:gd name="connsiteX33709" fmla="*/ 683208 w 10505529"/>
              <a:gd name="connsiteY33709" fmla="*/ 1757670 h 7458372"/>
              <a:gd name="connsiteX33710" fmla="*/ 673225 w 10505529"/>
              <a:gd name="connsiteY33710" fmla="*/ 1761271 h 7458372"/>
              <a:gd name="connsiteX33711" fmla="*/ 669631 w 10505529"/>
              <a:gd name="connsiteY33711" fmla="*/ 1770725 h 7458372"/>
              <a:gd name="connsiteX33712" fmla="*/ 673225 w 10505529"/>
              <a:gd name="connsiteY33712" fmla="*/ 1780175 h 7458372"/>
              <a:gd name="connsiteX33713" fmla="*/ 683208 w 10505529"/>
              <a:gd name="connsiteY33713" fmla="*/ 1783629 h 7458372"/>
              <a:gd name="connsiteX33714" fmla="*/ 688534 w 10505529"/>
              <a:gd name="connsiteY33714" fmla="*/ 1782708 h 7458372"/>
              <a:gd name="connsiteX33715" fmla="*/ 692260 w 10505529"/>
              <a:gd name="connsiteY33715" fmla="*/ 1780304 h 7458372"/>
              <a:gd name="connsiteX33716" fmla="*/ 694924 w 10505529"/>
              <a:gd name="connsiteY33716" fmla="*/ 1776047 h 7458372"/>
              <a:gd name="connsiteX33717" fmla="*/ 695989 w 10505529"/>
              <a:gd name="connsiteY33717" fmla="*/ 1770584 h 7458372"/>
              <a:gd name="connsiteX33718" fmla="*/ 694924 w 10505529"/>
              <a:gd name="connsiteY33718" fmla="*/ 1765399 h 7458372"/>
              <a:gd name="connsiteX33719" fmla="*/ 692260 w 10505529"/>
              <a:gd name="connsiteY33719" fmla="*/ 1761271 h 7458372"/>
              <a:gd name="connsiteX33720" fmla="*/ 688267 w 10505529"/>
              <a:gd name="connsiteY33720" fmla="*/ 1758610 h 7458372"/>
              <a:gd name="connsiteX33721" fmla="*/ 683208 w 10505529"/>
              <a:gd name="connsiteY33721" fmla="*/ 1757670 h 7458372"/>
              <a:gd name="connsiteX33722" fmla="*/ 465565 w 10505529"/>
              <a:gd name="connsiteY33722" fmla="*/ 1757670 h 7458372"/>
              <a:gd name="connsiteX33723" fmla="*/ 455582 w 10505529"/>
              <a:gd name="connsiteY33723" fmla="*/ 1761271 h 7458372"/>
              <a:gd name="connsiteX33724" fmla="*/ 451988 w 10505529"/>
              <a:gd name="connsiteY33724" fmla="*/ 1770725 h 7458372"/>
              <a:gd name="connsiteX33725" fmla="*/ 455582 w 10505529"/>
              <a:gd name="connsiteY33725" fmla="*/ 1780175 h 7458372"/>
              <a:gd name="connsiteX33726" fmla="*/ 465565 w 10505529"/>
              <a:gd name="connsiteY33726" fmla="*/ 1783629 h 7458372"/>
              <a:gd name="connsiteX33727" fmla="*/ 470890 w 10505529"/>
              <a:gd name="connsiteY33727" fmla="*/ 1782708 h 7458372"/>
              <a:gd name="connsiteX33728" fmla="*/ 474617 w 10505529"/>
              <a:gd name="connsiteY33728" fmla="*/ 1780304 h 7458372"/>
              <a:gd name="connsiteX33729" fmla="*/ 477280 w 10505529"/>
              <a:gd name="connsiteY33729" fmla="*/ 1776047 h 7458372"/>
              <a:gd name="connsiteX33730" fmla="*/ 478345 w 10505529"/>
              <a:gd name="connsiteY33730" fmla="*/ 1770584 h 7458372"/>
              <a:gd name="connsiteX33731" fmla="*/ 477280 w 10505529"/>
              <a:gd name="connsiteY33731" fmla="*/ 1765399 h 7458372"/>
              <a:gd name="connsiteX33732" fmla="*/ 474617 w 10505529"/>
              <a:gd name="connsiteY33732" fmla="*/ 1761271 h 7458372"/>
              <a:gd name="connsiteX33733" fmla="*/ 470624 w 10505529"/>
              <a:gd name="connsiteY33733" fmla="*/ 1758610 h 7458372"/>
              <a:gd name="connsiteX33734" fmla="*/ 465565 w 10505529"/>
              <a:gd name="connsiteY33734" fmla="*/ 1757670 h 7458372"/>
              <a:gd name="connsiteX33735" fmla="*/ 247921 w 10505529"/>
              <a:gd name="connsiteY33735" fmla="*/ 1757670 h 7458372"/>
              <a:gd name="connsiteX33736" fmla="*/ 237938 w 10505529"/>
              <a:gd name="connsiteY33736" fmla="*/ 1761271 h 7458372"/>
              <a:gd name="connsiteX33737" fmla="*/ 234344 w 10505529"/>
              <a:gd name="connsiteY33737" fmla="*/ 1770725 h 7458372"/>
              <a:gd name="connsiteX33738" fmla="*/ 237938 w 10505529"/>
              <a:gd name="connsiteY33738" fmla="*/ 1780175 h 7458372"/>
              <a:gd name="connsiteX33739" fmla="*/ 247921 w 10505529"/>
              <a:gd name="connsiteY33739" fmla="*/ 1783629 h 7458372"/>
              <a:gd name="connsiteX33740" fmla="*/ 253246 w 10505529"/>
              <a:gd name="connsiteY33740" fmla="*/ 1782708 h 7458372"/>
              <a:gd name="connsiteX33741" fmla="*/ 256973 w 10505529"/>
              <a:gd name="connsiteY33741" fmla="*/ 1780304 h 7458372"/>
              <a:gd name="connsiteX33742" fmla="*/ 259636 w 10505529"/>
              <a:gd name="connsiteY33742" fmla="*/ 1776047 h 7458372"/>
              <a:gd name="connsiteX33743" fmla="*/ 260701 w 10505529"/>
              <a:gd name="connsiteY33743" fmla="*/ 1770584 h 7458372"/>
              <a:gd name="connsiteX33744" fmla="*/ 259636 w 10505529"/>
              <a:gd name="connsiteY33744" fmla="*/ 1765399 h 7458372"/>
              <a:gd name="connsiteX33745" fmla="*/ 256973 w 10505529"/>
              <a:gd name="connsiteY33745" fmla="*/ 1761271 h 7458372"/>
              <a:gd name="connsiteX33746" fmla="*/ 252980 w 10505529"/>
              <a:gd name="connsiteY33746" fmla="*/ 1758610 h 7458372"/>
              <a:gd name="connsiteX33747" fmla="*/ 247921 w 10505529"/>
              <a:gd name="connsiteY33747" fmla="*/ 1757670 h 7458372"/>
              <a:gd name="connsiteX33748" fmla="*/ 30277 w 10505529"/>
              <a:gd name="connsiteY33748" fmla="*/ 1757670 h 7458372"/>
              <a:gd name="connsiteX33749" fmla="*/ 20294 w 10505529"/>
              <a:gd name="connsiteY33749" fmla="*/ 1761271 h 7458372"/>
              <a:gd name="connsiteX33750" fmla="*/ 16700 w 10505529"/>
              <a:gd name="connsiteY33750" fmla="*/ 1770725 h 7458372"/>
              <a:gd name="connsiteX33751" fmla="*/ 20294 w 10505529"/>
              <a:gd name="connsiteY33751" fmla="*/ 1780175 h 7458372"/>
              <a:gd name="connsiteX33752" fmla="*/ 30277 w 10505529"/>
              <a:gd name="connsiteY33752" fmla="*/ 1783629 h 7458372"/>
              <a:gd name="connsiteX33753" fmla="*/ 35602 w 10505529"/>
              <a:gd name="connsiteY33753" fmla="*/ 1782708 h 7458372"/>
              <a:gd name="connsiteX33754" fmla="*/ 39329 w 10505529"/>
              <a:gd name="connsiteY33754" fmla="*/ 1780304 h 7458372"/>
              <a:gd name="connsiteX33755" fmla="*/ 41993 w 10505529"/>
              <a:gd name="connsiteY33755" fmla="*/ 1776047 h 7458372"/>
              <a:gd name="connsiteX33756" fmla="*/ 42923 w 10505529"/>
              <a:gd name="connsiteY33756" fmla="*/ 1770584 h 7458372"/>
              <a:gd name="connsiteX33757" fmla="*/ 41993 w 10505529"/>
              <a:gd name="connsiteY33757" fmla="*/ 1765399 h 7458372"/>
              <a:gd name="connsiteX33758" fmla="*/ 39329 w 10505529"/>
              <a:gd name="connsiteY33758" fmla="*/ 1761271 h 7458372"/>
              <a:gd name="connsiteX33759" fmla="*/ 35336 w 10505529"/>
              <a:gd name="connsiteY33759" fmla="*/ 1758610 h 7458372"/>
              <a:gd name="connsiteX33760" fmla="*/ 30277 w 10505529"/>
              <a:gd name="connsiteY33760" fmla="*/ 1757670 h 7458372"/>
              <a:gd name="connsiteX33761" fmla="*/ 10475977 w 10505529"/>
              <a:gd name="connsiteY33761" fmla="*/ 1740905 h 7458372"/>
              <a:gd name="connsiteX33762" fmla="*/ 10487824 w 10505529"/>
              <a:gd name="connsiteY33762" fmla="*/ 1743568 h 7458372"/>
              <a:gd name="connsiteX33763" fmla="*/ 10497143 w 10505529"/>
              <a:gd name="connsiteY33763" fmla="*/ 1749955 h 7458372"/>
              <a:gd name="connsiteX33764" fmla="*/ 10503266 w 10505529"/>
              <a:gd name="connsiteY33764" fmla="*/ 1759266 h 7458372"/>
              <a:gd name="connsiteX33765" fmla="*/ 10505529 w 10505529"/>
              <a:gd name="connsiteY33765" fmla="*/ 1770725 h 7458372"/>
              <a:gd name="connsiteX33766" fmla="*/ 10503266 w 10505529"/>
              <a:gd name="connsiteY33766" fmla="*/ 1782434 h 7458372"/>
              <a:gd name="connsiteX33767" fmla="*/ 10497143 w 10505529"/>
              <a:gd name="connsiteY33767" fmla="*/ 1791754 h 7458372"/>
              <a:gd name="connsiteX33768" fmla="*/ 10487824 w 10505529"/>
              <a:gd name="connsiteY33768" fmla="*/ 1798008 h 7458372"/>
              <a:gd name="connsiteX33769" fmla="*/ 10475977 w 10505529"/>
              <a:gd name="connsiteY33769" fmla="*/ 1800269 h 7458372"/>
              <a:gd name="connsiteX33770" fmla="*/ 10454145 w 10505529"/>
              <a:gd name="connsiteY33770" fmla="*/ 1791754 h 7458372"/>
              <a:gd name="connsiteX33771" fmla="*/ 10445759 w 10505529"/>
              <a:gd name="connsiteY33771" fmla="*/ 1770584 h 7458372"/>
              <a:gd name="connsiteX33772" fmla="*/ 10454145 w 10505529"/>
              <a:gd name="connsiteY33772" fmla="*/ 1749560 h 7458372"/>
              <a:gd name="connsiteX33773" fmla="*/ 10475977 w 10505529"/>
              <a:gd name="connsiteY33773" fmla="*/ 1740905 h 7458372"/>
              <a:gd name="connsiteX33774" fmla="*/ 10258466 w 10505529"/>
              <a:gd name="connsiteY33774" fmla="*/ 1740905 h 7458372"/>
              <a:gd name="connsiteX33775" fmla="*/ 10270313 w 10505529"/>
              <a:gd name="connsiteY33775" fmla="*/ 1743568 h 7458372"/>
              <a:gd name="connsiteX33776" fmla="*/ 10279631 w 10505529"/>
              <a:gd name="connsiteY33776" fmla="*/ 1749955 h 7458372"/>
              <a:gd name="connsiteX33777" fmla="*/ 10285754 w 10505529"/>
              <a:gd name="connsiteY33777" fmla="*/ 1759266 h 7458372"/>
              <a:gd name="connsiteX33778" fmla="*/ 10288017 w 10505529"/>
              <a:gd name="connsiteY33778" fmla="*/ 1770725 h 7458372"/>
              <a:gd name="connsiteX33779" fmla="*/ 10285754 w 10505529"/>
              <a:gd name="connsiteY33779" fmla="*/ 1782434 h 7458372"/>
              <a:gd name="connsiteX33780" fmla="*/ 10279631 w 10505529"/>
              <a:gd name="connsiteY33780" fmla="*/ 1791754 h 7458372"/>
              <a:gd name="connsiteX33781" fmla="*/ 10270313 w 10505529"/>
              <a:gd name="connsiteY33781" fmla="*/ 1798008 h 7458372"/>
              <a:gd name="connsiteX33782" fmla="*/ 10258466 w 10505529"/>
              <a:gd name="connsiteY33782" fmla="*/ 1800269 h 7458372"/>
              <a:gd name="connsiteX33783" fmla="*/ 10236633 w 10505529"/>
              <a:gd name="connsiteY33783" fmla="*/ 1791754 h 7458372"/>
              <a:gd name="connsiteX33784" fmla="*/ 10228247 w 10505529"/>
              <a:gd name="connsiteY33784" fmla="*/ 1770584 h 7458372"/>
              <a:gd name="connsiteX33785" fmla="*/ 10236633 w 10505529"/>
              <a:gd name="connsiteY33785" fmla="*/ 1749560 h 7458372"/>
              <a:gd name="connsiteX33786" fmla="*/ 10258466 w 10505529"/>
              <a:gd name="connsiteY33786" fmla="*/ 1740905 h 7458372"/>
              <a:gd name="connsiteX33787" fmla="*/ 10040820 w 10505529"/>
              <a:gd name="connsiteY33787" fmla="*/ 1740905 h 7458372"/>
              <a:gd name="connsiteX33788" fmla="*/ 10052534 w 10505529"/>
              <a:gd name="connsiteY33788" fmla="*/ 1743568 h 7458372"/>
              <a:gd name="connsiteX33789" fmla="*/ 10061852 w 10505529"/>
              <a:gd name="connsiteY33789" fmla="*/ 1749957 h 7458372"/>
              <a:gd name="connsiteX33790" fmla="*/ 10067976 w 10505529"/>
              <a:gd name="connsiteY33790" fmla="*/ 1759266 h 7458372"/>
              <a:gd name="connsiteX33791" fmla="*/ 10070239 w 10505529"/>
              <a:gd name="connsiteY33791" fmla="*/ 1770725 h 7458372"/>
              <a:gd name="connsiteX33792" fmla="*/ 10067976 w 10505529"/>
              <a:gd name="connsiteY33792" fmla="*/ 1782434 h 7458372"/>
              <a:gd name="connsiteX33793" fmla="*/ 10061852 w 10505529"/>
              <a:gd name="connsiteY33793" fmla="*/ 1791754 h 7458372"/>
              <a:gd name="connsiteX33794" fmla="*/ 10052534 w 10505529"/>
              <a:gd name="connsiteY33794" fmla="*/ 1798008 h 7458372"/>
              <a:gd name="connsiteX33795" fmla="*/ 10040820 w 10505529"/>
              <a:gd name="connsiteY33795" fmla="*/ 1800269 h 7458372"/>
              <a:gd name="connsiteX33796" fmla="*/ 10018988 w 10505529"/>
              <a:gd name="connsiteY33796" fmla="*/ 1791754 h 7458372"/>
              <a:gd name="connsiteX33797" fmla="*/ 10010602 w 10505529"/>
              <a:gd name="connsiteY33797" fmla="*/ 1770584 h 7458372"/>
              <a:gd name="connsiteX33798" fmla="*/ 10018988 w 10505529"/>
              <a:gd name="connsiteY33798" fmla="*/ 1749560 h 7458372"/>
              <a:gd name="connsiteX33799" fmla="*/ 10040820 w 10505529"/>
              <a:gd name="connsiteY33799" fmla="*/ 1740905 h 7458372"/>
              <a:gd name="connsiteX33800" fmla="*/ 9823176 w 10505529"/>
              <a:gd name="connsiteY33800" fmla="*/ 1740905 h 7458372"/>
              <a:gd name="connsiteX33801" fmla="*/ 9834890 w 10505529"/>
              <a:gd name="connsiteY33801" fmla="*/ 1743568 h 7458372"/>
              <a:gd name="connsiteX33802" fmla="*/ 9844208 w 10505529"/>
              <a:gd name="connsiteY33802" fmla="*/ 1749957 h 7458372"/>
              <a:gd name="connsiteX33803" fmla="*/ 9850331 w 10505529"/>
              <a:gd name="connsiteY33803" fmla="*/ 1759266 h 7458372"/>
              <a:gd name="connsiteX33804" fmla="*/ 9852595 w 10505529"/>
              <a:gd name="connsiteY33804" fmla="*/ 1770725 h 7458372"/>
              <a:gd name="connsiteX33805" fmla="*/ 9850331 w 10505529"/>
              <a:gd name="connsiteY33805" fmla="*/ 1782434 h 7458372"/>
              <a:gd name="connsiteX33806" fmla="*/ 9844208 w 10505529"/>
              <a:gd name="connsiteY33806" fmla="*/ 1791754 h 7458372"/>
              <a:gd name="connsiteX33807" fmla="*/ 9834890 w 10505529"/>
              <a:gd name="connsiteY33807" fmla="*/ 1798008 h 7458372"/>
              <a:gd name="connsiteX33808" fmla="*/ 9823176 w 10505529"/>
              <a:gd name="connsiteY33808" fmla="*/ 1800269 h 7458372"/>
              <a:gd name="connsiteX33809" fmla="*/ 9801343 w 10505529"/>
              <a:gd name="connsiteY33809" fmla="*/ 1791754 h 7458372"/>
              <a:gd name="connsiteX33810" fmla="*/ 9792957 w 10505529"/>
              <a:gd name="connsiteY33810" fmla="*/ 1770584 h 7458372"/>
              <a:gd name="connsiteX33811" fmla="*/ 9801343 w 10505529"/>
              <a:gd name="connsiteY33811" fmla="*/ 1749560 h 7458372"/>
              <a:gd name="connsiteX33812" fmla="*/ 9823176 w 10505529"/>
              <a:gd name="connsiteY33812" fmla="*/ 1740905 h 7458372"/>
              <a:gd name="connsiteX33813" fmla="*/ 9605531 w 10505529"/>
              <a:gd name="connsiteY33813" fmla="*/ 1740905 h 7458372"/>
              <a:gd name="connsiteX33814" fmla="*/ 9617245 w 10505529"/>
              <a:gd name="connsiteY33814" fmla="*/ 1743568 h 7458372"/>
              <a:gd name="connsiteX33815" fmla="*/ 9626562 w 10505529"/>
              <a:gd name="connsiteY33815" fmla="*/ 1749957 h 7458372"/>
              <a:gd name="connsiteX33816" fmla="*/ 9632686 w 10505529"/>
              <a:gd name="connsiteY33816" fmla="*/ 1759266 h 7458372"/>
              <a:gd name="connsiteX33817" fmla="*/ 9634949 w 10505529"/>
              <a:gd name="connsiteY33817" fmla="*/ 1770725 h 7458372"/>
              <a:gd name="connsiteX33818" fmla="*/ 9632686 w 10505529"/>
              <a:gd name="connsiteY33818" fmla="*/ 1782434 h 7458372"/>
              <a:gd name="connsiteX33819" fmla="*/ 9626562 w 10505529"/>
              <a:gd name="connsiteY33819" fmla="*/ 1791754 h 7458372"/>
              <a:gd name="connsiteX33820" fmla="*/ 9617245 w 10505529"/>
              <a:gd name="connsiteY33820" fmla="*/ 1798008 h 7458372"/>
              <a:gd name="connsiteX33821" fmla="*/ 9605531 w 10505529"/>
              <a:gd name="connsiteY33821" fmla="*/ 1800269 h 7458372"/>
              <a:gd name="connsiteX33822" fmla="*/ 9583698 w 10505529"/>
              <a:gd name="connsiteY33822" fmla="*/ 1791754 h 7458372"/>
              <a:gd name="connsiteX33823" fmla="*/ 9575312 w 10505529"/>
              <a:gd name="connsiteY33823" fmla="*/ 1770584 h 7458372"/>
              <a:gd name="connsiteX33824" fmla="*/ 9583698 w 10505529"/>
              <a:gd name="connsiteY33824" fmla="*/ 1749560 h 7458372"/>
              <a:gd name="connsiteX33825" fmla="*/ 9605531 w 10505529"/>
              <a:gd name="connsiteY33825" fmla="*/ 1740905 h 7458372"/>
              <a:gd name="connsiteX33826" fmla="*/ 9387885 w 10505529"/>
              <a:gd name="connsiteY33826" fmla="*/ 1740905 h 7458372"/>
              <a:gd name="connsiteX33827" fmla="*/ 9399599 w 10505529"/>
              <a:gd name="connsiteY33827" fmla="*/ 1743568 h 7458372"/>
              <a:gd name="connsiteX33828" fmla="*/ 9408917 w 10505529"/>
              <a:gd name="connsiteY33828" fmla="*/ 1749957 h 7458372"/>
              <a:gd name="connsiteX33829" fmla="*/ 9415041 w 10505529"/>
              <a:gd name="connsiteY33829" fmla="*/ 1759266 h 7458372"/>
              <a:gd name="connsiteX33830" fmla="*/ 9417304 w 10505529"/>
              <a:gd name="connsiteY33830" fmla="*/ 1770725 h 7458372"/>
              <a:gd name="connsiteX33831" fmla="*/ 9415041 w 10505529"/>
              <a:gd name="connsiteY33831" fmla="*/ 1782434 h 7458372"/>
              <a:gd name="connsiteX33832" fmla="*/ 9408917 w 10505529"/>
              <a:gd name="connsiteY33832" fmla="*/ 1791754 h 7458372"/>
              <a:gd name="connsiteX33833" fmla="*/ 9399599 w 10505529"/>
              <a:gd name="connsiteY33833" fmla="*/ 1798008 h 7458372"/>
              <a:gd name="connsiteX33834" fmla="*/ 9387885 w 10505529"/>
              <a:gd name="connsiteY33834" fmla="*/ 1800269 h 7458372"/>
              <a:gd name="connsiteX33835" fmla="*/ 9366053 w 10505529"/>
              <a:gd name="connsiteY33835" fmla="*/ 1791754 h 7458372"/>
              <a:gd name="connsiteX33836" fmla="*/ 9357667 w 10505529"/>
              <a:gd name="connsiteY33836" fmla="*/ 1770584 h 7458372"/>
              <a:gd name="connsiteX33837" fmla="*/ 9366053 w 10505529"/>
              <a:gd name="connsiteY33837" fmla="*/ 1749560 h 7458372"/>
              <a:gd name="connsiteX33838" fmla="*/ 9387885 w 10505529"/>
              <a:gd name="connsiteY33838" fmla="*/ 1740905 h 7458372"/>
              <a:gd name="connsiteX33839" fmla="*/ 9170374 w 10505529"/>
              <a:gd name="connsiteY33839" fmla="*/ 1740905 h 7458372"/>
              <a:gd name="connsiteX33840" fmla="*/ 9182088 w 10505529"/>
              <a:gd name="connsiteY33840" fmla="*/ 1743568 h 7458372"/>
              <a:gd name="connsiteX33841" fmla="*/ 9191405 w 10505529"/>
              <a:gd name="connsiteY33841" fmla="*/ 1749957 h 7458372"/>
              <a:gd name="connsiteX33842" fmla="*/ 9197529 w 10505529"/>
              <a:gd name="connsiteY33842" fmla="*/ 1759266 h 7458372"/>
              <a:gd name="connsiteX33843" fmla="*/ 9199792 w 10505529"/>
              <a:gd name="connsiteY33843" fmla="*/ 1770725 h 7458372"/>
              <a:gd name="connsiteX33844" fmla="*/ 9197529 w 10505529"/>
              <a:gd name="connsiteY33844" fmla="*/ 1782434 h 7458372"/>
              <a:gd name="connsiteX33845" fmla="*/ 9191405 w 10505529"/>
              <a:gd name="connsiteY33845" fmla="*/ 1791754 h 7458372"/>
              <a:gd name="connsiteX33846" fmla="*/ 9182088 w 10505529"/>
              <a:gd name="connsiteY33846" fmla="*/ 1798008 h 7458372"/>
              <a:gd name="connsiteX33847" fmla="*/ 9170374 w 10505529"/>
              <a:gd name="connsiteY33847" fmla="*/ 1800269 h 7458372"/>
              <a:gd name="connsiteX33848" fmla="*/ 9148541 w 10505529"/>
              <a:gd name="connsiteY33848" fmla="*/ 1791754 h 7458372"/>
              <a:gd name="connsiteX33849" fmla="*/ 9140155 w 10505529"/>
              <a:gd name="connsiteY33849" fmla="*/ 1770584 h 7458372"/>
              <a:gd name="connsiteX33850" fmla="*/ 9148541 w 10505529"/>
              <a:gd name="connsiteY33850" fmla="*/ 1749560 h 7458372"/>
              <a:gd name="connsiteX33851" fmla="*/ 9170374 w 10505529"/>
              <a:gd name="connsiteY33851" fmla="*/ 1740905 h 7458372"/>
              <a:gd name="connsiteX33852" fmla="*/ 8952728 w 10505529"/>
              <a:gd name="connsiteY33852" fmla="*/ 1740905 h 7458372"/>
              <a:gd name="connsiteX33853" fmla="*/ 8964442 w 10505529"/>
              <a:gd name="connsiteY33853" fmla="*/ 1743568 h 7458372"/>
              <a:gd name="connsiteX33854" fmla="*/ 8973760 w 10505529"/>
              <a:gd name="connsiteY33854" fmla="*/ 1749957 h 7458372"/>
              <a:gd name="connsiteX33855" fmla="*/ 8979884 w 10505529"/>
              <a:gd name="connsiteY33855" fmla="*/ 1759266 h 7458372"/>
              <a:gd name="connsiteX33856" fmla="*/ 8982147 w 10505529"/>
              <a:gd name="connsiteY33856" fmla="*/ 1770725 h 7458372"/>
              <a:gd name="connsiteX33857" fmla="*/ 8979884 w 10505529"/>
              <a:gd name="connsiteY33857" fmla="*/ 1782434 h 7458372"/>
              <a:gd name="connsiteX33858" fmla="*/ 8973760 w 10505529"/>
              <a:gd name="connsiteY33858" fmla="*/ 1791754 h 7458372"/>
              <a:gd name="connsiteX33859" fmla="*/ 8964442 w 10505529"/>
              <a:gd name="connsiteY33859" fmla="*/ 1798008 h 7458372"/>
              <a:gd name="connsiteX33860" fmla="*/ 8952728 w 10505529"/>
              <a:gd name="connsiteY33860" fmla="*/ 1800269 h 7458372"/>
              <a:gd name="connsiteX33861" fmla="*/ 8930896 w 10505529"/>
              <a:gd name="connsiteY33861" fmla="*/ 1791754 h 7458372"/>
              <a:gd name="connsiteX33862" fmla="*/ 8922510 w 10505529"/>
              <a:gd name="connsiteY33862" fmla="*/ 1770584 h 7458372"/>
              <a:gd name="connsiteX33863" fmla="*/ 8930896 w 10505529"/>
              <a:gd name="connsiteY33863" fmla="*/ 1749560 h 7458372"/>
              <a:gd name="connsiteX33864" fmla="*/ 8952728 w 10505529"/>
              <a:gd name="connsiteY33864" fmla="*/ 1740905 h 7458372"/>
              <a:gd name="connsiteX33865" fmla="*/ 8735083 w 10505529"/>
              <a:gd name="connsiteY33865" fmla="*/ 1740905 h 7458372"/>
              <a:gd name="connsiteX33866" fmla="*/ 8746797 w 10505529"/>
              <a:gd name="connsiteY33866" fmla="*/ 1743568 h 7458372"/>
              <a:gd name="connsiteX33867" fmla="*/ 8756115 w 10505529"/>
              <a:gd name="connsiteY33867" fmla="*/ 1749957 h 7458372"/>
              <a:gd name="connsiteX33868" fmla="*/ 8762238 w 10505529"/>
              <a:gd name="connsiteY33868" fmla="*/ 1759266 h 7458372"/>
              <a:gd name="connsiteX33869" fmla="*/ 8764502 w 10505529"/>
              <a:gd name="connsiteY33869" fmla="*/ 1770725 h 7458372"/>
              <a:gd name="connsiteX33870" fmla="*/ 8762238 w 10505529"/>
              <a:gd name="connsiteY33870" fmla="*/ 1782434 h 7458372"/>
              <a:gd name="connsiteX33871" fmla="*/ 8756115 w 10505529"/>
              <a:gd name="connsiteY33871" fmla="*/ 1791754 h 7458372"/>
              <a:gd name="connsiteX33872" fmla="*/ 8746797 w 10505529"/>
              <a:gd name="connsiteY33872" fmla="*/ 1798008 h 7458372"/>
              <a:gd name="connsiteX33873" fmla="*/ 8735083 w 10505529"/>
              <a:gd name="connsiteY33873" fmla="*/ 1800269 h 7458372"/>
              <a:gd name="connsiteX33874" fmla="*/ 8713250 w 10505529"/>
              <a:gd name="connsiteY33874" fmla="*/ 1791754 h 7458372"/>
              <a:gd name="connsiteX33875" fmla="*/ 8704864 w 10505529"/>
              <a:gd name="connsiteY33875" fmla="*/ 1770584 h 7458372"/>
              <a:gd name="connsiteX33876" fmla="*/ 8713250 w 10505529"/>
              <a:gd name="connsiteY33876" fmla="*/ 1749560 h 7458372"/>
              <a:gd name="connsiteX33877" fmla="*/ 8735083 w 10505529"/>
              <a:gd name="connsiteY33877" fmla="*/ 1740905 h 7458372"/>
              <a:gd name="connsiteX33878" fmla="*/ 8517438 w 10505529"/>
              <a:gd name="connsiteY33878" fmla="*/ 1740905 h 7458372"/>
              <a:gd name="connsiteX33879" fmla="*/ 8529152 w 10505529"/>
              <a:gd name="connsiteY33879" fmla="*/ 1743568 h 7458372"/>
              <a:gd name="connsiteX33880" fmla="*/ 8538470 w 10505529"/>
              <a:gd name="connsiteY33880" fmla="*/ 1749957 h 7458372"/>
              <a:gd name="connsiteX33881" fmla="*/ 8544594 w 10505529"/>
              <a:gd name="connsiteY33881" fmla="*/ 1759266 h 7458372"/>
              <a:gd name="connsiteX33882" fmla="*/ 8546857 w 10505529"/>
              <a:gd name="connsiteY33882" fmla="*/ 1770725 h 7458372"/>
              <a:gd name="connsiteX33883" fmla="*/ 8544594 w 10505529"/>
              <a:gd name="connsiteY33883" fmla="*/ 1782434 h 7458372"/>
              <a:gd name="connsiteX33884" fmla="*/ 8538470 w 10505529"/>
              <a:gd name="connsiteY33884" fmla="*/ 1791754 h 7458372"/>
              <a:gd name="connsiteX33885" fmla="*/ 8529152 w 10505529"/>
              <a:gd name="connsiteY33885" fmla="*/ 1798008 h 7458372"/>
              <a:gd name="connsiteX33886" fmla="*/ 8517438 w 10505529"/>
              <a:gd name="connsiteY33886" fmla="*/ 1800269 h 7458372"/>
              <a:gd name="connsiteX33887" fmla="*/ 8495606 w 10505529"/>
              <a:gd name="connsiteY33887" fmla="*/ 1791754 h 7458372"/>
              <a:gd name="connsiteX33888" fmla="*/ 8487220 w 10505529"/>
              <a:gd name="connsiteY33888" fmla="*/ 1770584 h 7458372"/>
              <a:gd name="connsiteX33889" fmla="*/ 8495606 w 10505529"/>
              <a:gd name="connsiteY33889" fmla="*/ 1749560 h 7458372"/>
              <a:gd name="connsiteX33890" fmla="*/ 8517438 w 10505529"/>
              <a:gd name="connsiteY33890" fmla="*/ 1740905 h 7458372"/>
              <a:gd name="connsiteX33891" fmla="*/ 8299793 w 10505529"/>
              <a:gd name="connsiteY33891" fmla="*/ 1740905 h 7458372"/>
              <a:gd name="connsiteX33892" fmla="*/ 8311507 w 10505529"/>
              <a:gd name="connsiteY33892" fmla="*/ 1743568 h 7458372"/>
              <a:gd name="connsiteX33893" fmla="*/ 8320825 w 10505529"/>
              <a:gd name="connsiteY33893" fmla="*/ 1749957 h 7458372"/>
              <a:gd name="connsiteX33894" fmla="*/ 8326948 w 10505529"/>
              <a:gd name="connsiteY33894" fmla="*/ 1759266 h 7458372"/>
              <a:gd name="connsiteX33895" fmla="*/ 8329212 w 10505529"/>
              <a:gd name="connsiteY33895" fmla="*/ 1770725 h 7458372"/>
              <a:gd name="connsiteX33896" fmla="*/ 8326948 w 10505529"/>
              <a:gd name="connsiteY33896" fmla="*/ 1782434 h 7458372"/>
              <a:gd name="connsiteX33897" fmla="*/ 8320825 w 10505529"/>
              <a:gd name="connsiteY33897" fmla="*/ 1791754 h 7458372"/>
              <a:gd name="connsiteX33898" fmla="*/ 8311507 w 10505529"/>
              <a:gd name="connsiteY33898" fmla="*/ 1798008 h 7458372"/>
              <a:gd name="connsiteX33899" fmla="*/ 8299793 w 10505529"/>
              <a:gd name="connsiteY33899" fmla="*/ 1800269 h 7458372"/>
              <a:gd name="connsiteX33900" fmla="*/ 8277960 w 10505529"/>
              <a:gd name="connsiteY33900" fmla="*/ 1791754 h 7458372"/>
              <a:gd name="connsiteX33901" fmla="*/ 8269574 w 10505529"/>
              <a:gd name="connsiteY33901" fmla="*/ 1770584 h 7458372"/>
              <a:gd name="connsiteX33902" fmla="*/ 8277960 w 10505529"/>
              <a:gd name="connsiteY33902" fmla="*/ 1749560 h 7458372"/>
              <a:gd name="connsiteX33903" fmla="*/ 8299793 w 10505529"/>
              <a:gd name="connsiteY33903" fmla="*/ 1740905 h 7458372"/>
              <a:gd name="connsiteX33904" fmla="*/ 8082281 w 10505529"/>
              <a:gd name="connsiteY33904" fmla="*/ 1740905 h 7458372"/>
              <a:gd name="connsiteX33905" fmla="*/ 8094127 w 10505529"/>
              <a:gd name="connsiteY33905" fmla="*/ 1743568 h 7458372"/>
              <a:gd name="connsiteX33906" fmla="*/ 8103446 w 10505529"/>
              <a:gd name="connsiteY33906" fmla="*/ 1749957 h 7458372"/>
              <a:gd name="connsiteX33907" fmla="*/ 8109569 w 10505529"/>
              <a:gd name="connsiteY33907" fmla="*/ 1759266 h 7458372"/>
              <a:gd name="connsiteX33908" fmla="*/ 8111832 w 10505529"/>
              <a:gd name="connsiteY33908" fmla="*/ 1770725 h 7458372"/>
              <a:gd name="connsiteX33909" fmla="*/ 8109569 w 10505529"/>
              <a:gd name="connsiteY33909" fmla="*/ 1782434 h 7458372"/>
              <a:gd name="connsiteX33910" fmla="*/ 8103446 w 10505529"/>
              <a:gd name="connsiteY33910" fmla="*/ 1791754 h 7458372"/>
              <a:gd name="connsiteX33911" fmla="*/ 8094127 w 10505529"/>
              <a:gd name="connsiteY33911" fmla="*/ 1798008 h 7458372"/>
              <a:gd name="connsiteX33912" fmla="*/ 8082281 w 10505529"/>
              <a:gd name="connsiteY33912" fmla="*/ 1800269 h 7458372"/>
              <a:gd name="connsiteX33913" fmla="*/ 8060448 w 10505529"/>
              <a:gd name="connsiteY33913" fmla="*/ 1791754 h 7458372"/>
              <a:gd name="connsiteX33914" fmla="*/ 8052062 w 10505529"/>
              <a:gd name="connsiteY33914" fmla="*/ 1770584 h 7458372"/>
              <a:gd name="connsiteX33915" fmla="*/ 8060448 w 10505529"/>
              <a:gd name="connsiteY33915" fmla="*/ 1749560 h 7458372"/>
              <a:gd name="connsiteX33916" fmla="*/ 8082281 w 10505529"/>
              <a:gd name="connsiteY33916" fmla="*/ 1740905 h 7458372"/>
              <a:gd name="connsiteX33917" fmla="*/ 7864636 w 10505529"/>
              <a:gd name="connsiteY33917" fmla="*/ 1740905 h 7458372"/>
              <a:gd name="connsiteX33918" fmla="*/ 7876483 w 10505529"/>
              <a:gd name="connsiteY33918" fmla="*/ 1743568 h 7458372"/>
              <a:gd name="connsiteX33919" fmla="*/ 7885802 w 10505529"/>
              <a:gd name="connsiteY33919" fmla="*/ 1749957 h 7458372"/>
              <a:gd name="connsiteX33920" fmla="*/ 7891924 w 10505529"/>
              <a:gd name="connsiteY33920" fmla="*/ 1759266 h 7458372"/>
              <a:gd name="connsiteX33921" fmla="*/ 7894188 w 10505529"/>
              <a:gd name="connsiteY33921" fmla="*/ 1770725 h 7458372"/>
              <a:gd name="connsiteX33922" fmla="*/ 7891924 w 10505529"/>
              <a:gd name="connsiteY33922" fmla="*/ 1782434 h 7458372"/>
              <a:gd name="connsiteX33923" fmla="*/ 7885802 w 10505529"/>
              <a:gd name="connsiteY33923" fmla="*/ 1791754 h 7458372"/>
              <a:gd name="connsiteX33924" fmla="*/ 7876483 w 10505529"/>
              <a:gd name="connsiteY33924" fmla="*/ 1798008 h 7458372"/>
              <a:gd name="connsiteX33925" fmla="*/ 7864636 w 10505529"/>
              <a:gd name="connsiteY33925" fmla="*/ 1800269 h 7458372"/>
              <a:gd name="connsiteX33926" fmla="*/ 7842803 w 10505529"/>
              <a:gd name="connsiteY33926" fmla="*/ 1791754 h 7458372"/>
              <a:gd name="connsiteX33927" fmla="*/ 7834417 w 10505529"/>
              <a:gd name="connsiteY33927" fmla="*/ 1770584 h 7458372"/>
              <a:gd name="connsiteX33928" fmla="*/ 7842803 w 10505529"/>
              <a:gd name="connsiteY33928" fmla="*/ 1749560 h 7458372"/>
              <a:gd name="connsiteX33929" fmla="*/ 7864636 w 10505529"/>
              <a:gd name="connsiteY33929" fmla="*/ 1740905 h 7458372"/>
              <a:gd name="connsiteX33930" fmla="*/ 7646991 w 10505529"/>
              <a:gd name="connsiteY33930" fmla="*/ 1740905 h 7458372"/>
              <a:gd name="connsiteX33931" fmla="*/ 7658705 w 10505529"/>
              <a:gd name="connsiteY33931" fmla="*/ 1743568 h 7458372"/>
              <a:gd name="connsiteX33932" fmla="*/ 7668022 w 10505529"/>
              <a:gd name="connsiteY33932" fmla="*/ 1749957 h 7458372"/>
              <a:gd name="connsiteX33933" fmla="*/ 7674146 w 10505529"/>
              <a:gd name="connsiteY33933" fmla="*/ 1759266 h 7458372"/>
              <a:gd name="connsiteX33934" fmla="*/ 7676409 w 10505529"/>
              <a:gd name="connsiteY33934" fmla="*/ 1770725 h 7458372"/>
              <a:gd name="connsiteX33935" fmla="*/ 7674146 w 10505529"/>
              <a:gd name="connsiteY33935" fmla="*/ 1782434 h 7458372"/>
              <a:gd name="connsiteX33936" fmla="*/ 7668022 w 10505529"/>
              <a:gd name="connsiteY33936" fmla="*/ 1791754 h 7458372"/>
              <a:gd name="connsiteX33937" fmla="*/ 7658705 w 10505529"/>
              <a:gd name="connsiteY33937" fmla="*/ 1798008 h 7458372"/>
              <a:gd name="connsiteX33938" fmla="*/ 7646991 w 10505529"/>
              <a:gd name="connsiteY33938" fmla="*/ 1800269 h 7458372"/>
              <a:gd name="connsiteX33939" fmla="*/ 7625158 w 10505529"/>
              <a:gd name="connsiteY33939" fmla="*/ 1791754 h 7458372"/>
              <a:gd name="connsiteX33940" fmla="*/ 7616772 w 10505529"/>
              <a:gd name="connsiteY33940" fmla="*/ 1770584 h 7458372"/>
              <a:gd name="connsiteX33941" fmla="*/ 7625158 w 10505529"/>
              <a:gd name="connsiteY33941" fmla="*/ 1749560 h 7458372"/>
              <a:gd name="connsiteX33942" fmla="*/ 7646991 w 10505529"/>
              <a:gd name="connsiteY33942" fmla="*/ 1740905 h 7458372"/>
              <a:gd name="connsiteX33943" fmla="*/ 7429345 w 10505529"/>
              <a:gd name="connsiteY33943" fmla="*/ 1740905 h 7458372"/>
              <a:gd name="connsiteX33944" fmla="*/ 7441059 w 10505529"/>
              <a:gd name="connsiteY33944" fmla="*/ 1743568 h 7458372"/>
              <a:gd name="connsiteX33945" fmla="*/ 7450377 w 10505529"/>
              <a:gd name="connsiteY33945" fmla="*/ 1749957 h 7458372"/>
              <a:gd name="connsiteX33946" fmla="*/ 7456501 w 10505529"/>
              <a:gd name="connsiteY33946" fmla="*/ 1759266 h 7458372"/>
              <a:gd name="connsiteX33947" fmla="*/ 7458764 w 10505529"/>
              <a:gd name="connsiteY33947" fmla="*/ 1770725 h 7458372"/>
              <a:gd name="connsiteX33948" fmla="*/ 7456501 w 10505529"/>
              <a:gd name="connsiteY33948" fmla="*/ 1782434 h 7458372"/>
              <a:gd name="connsiteX33949" fmla="*/ 7450377 w 10505529"/>
              <a:gd name="connsiteY33949" fmla="*/ 1791754 h 7458372"/>
              <a:gd name="connsiteX33950" fmla="*/ 7441059 w 10505529"/>
              <a:gd name="connsiteY33950" fmla="*/ 1798008 h 7458372"/>
              <a:gd name="connsiteX33951" fmla="*/ 7429345 w 10505529"/>
              <a:gd name="connsiteY33951" fmla="*/ 1800269 h 7458372"/>
              <a:gd name="connsiteX33952" fmla="*/ 7407513 w 10505529"/>
              <a:gd name="connsiteY33952" fmla="*/ 1791754 h 7458372"/>
              <a:gd name="connsiteX33953" fmla="*/ 7399127 w 10505529"/>
              <a:gd name="connsiteY33953" fmla="*/ 1770584 h 7458372"/>
              <a:gd name="connsiteX33954" fmla="*/ 7407513 w 10505529"/>
              <a:gd name="connsiteY33954" fmla="*/ 1749560 h 7458372"/>
              <a:gd name="connsiteX33955" fmla="*/ 7429345 w 10505529"/>
              <a:gd name="connsiteY33955" fmla="*/ 1740905 h 7458372"/>
              <a:gd name="connsiteX33956" fmla="*/ 7211701 w 10505529"/>
              <a:gd name="connsiteY33956" fmla="*/ 1740905 h 7458372"/>
              <a:gd name="connsiteX33957" fmla="*/ 7223415 w 10505529"/>
              <a:gd name="connsiteY33957" fmla="*/ 1743568 h 7458372"/>
              <a:gd name="connsiteX33958" fmla="*/ 7232733 w 10505529"/>
              <a:gd name="connsiteY33958" fmla="*/ 1749957 h 7458372"/>
              <a:gd name="connsiteX33959" fmla="*/ 7238856 w 10505529"/>
              <a:gd name="connsiteY33959" fmla="*/ 1759266 h 7458372"/>
              <a:gd name="connsiteX33960" fmla="*/ 7241120 w 10505529"/>
              <a:gd name="connsiteY33960" fmla="*/ 1770725 h 7458372"/>
              <a:gd name="connsiteX33961" fmla="*/ 7238856 w 10505529"/>
              <a:gd name="connsiteY33961" fmla="*/ 1782434 h 7458372"/>
              <a:gd name="connsiteX33962" fmla="*/ 7232733 w 10505529"/>
              <a:gd name="connsiteY33962" fmla="*/ 1791754 h 7458372"/>
              <a:gd name="connsiteX33963" fmla="*/ 7223415 w 10505529"/>
              <a:gd name="connsiteY33963" fmla="*/ 1798008 h 7458372"/>
              <a:gd name="connsiteX33964" fmla="*/ 7211701 w 10505529"/>
              <a:gd name="connsiteY33964" fmla="*/ 1800269 h 7458372"/>
              <a:gd name="connsiteX33965" fmla="*/ 7189868 w 10505529"/>
              <a:gd name="connsiteY33965" fmla="*/ 1791754 h 7458372"/>
              <a:gd name="connsiteX33966" fmla="*/ 7181482 w 10505529"/>
              <a:gd name="connsiteY33966" fmla="*/ 1770584 h 7458372"/>
              <a:gd name="connsiteX33967" fmla="*/ 7189868 w 10505529"/>
              <a:gd name="connsiteY33967" fmla="*/ 1749560 h 7458372"/>
              <a:gd name="connsiteX33968" fmla="*/ 7211701 w 10505529"/>
              <a:gd name="connsiteY33968" fmla="*/ 1740905 h 7458372"/>
              <a:gd name="connsiteX33969" fmla="*/ 6994056 w 10505529"/>
              <a:gd name="connsiteY33969" fmla="*/ 1740905 h 7458372"/>
              <a:gd name="connsiteX33970" fmla="*/ 7005769 w 10505529"/>
              <a:gd name="connsiteY33970" fmla="*/ 1743568 h 7458372"/>
              <a:gd name="connsiteX33971" fmla="*/ 7015087 w 10505529"/>
              <a:gd name="connsiteY33971" fmla="*/ 1749957 h 7458372"/>
              <a:gd name="connsiteX33972" fmla="*/ 7021211 w 10505529"/>
              <a:gd name="connsiteY33972" fmla="*/ 1759266 h 7458372"/>
              <a:gd name="connsiteX33973" fmla="*/ 7023474 w 10505529"/>
              <a:gd name="connsiteY33973" fmla="*/ 1770725 h 7458372"/>
              <a:gd name="connsiteX33974" fmla="*/ 7021211 w 10505529"/>
              <a:gd name="connsiteY33974" fmla="*/ 1782434 h 7458372"/>
              <a:gd name="connsiteX33975" fmla="*/ 7015087 w 10505529"/>
              <a:gd name="connsiteY33975" fmla="*/ 1791754 h 7458372"/>
              <a:gd name="connsiteX33976" fmla="*/ 7005769 w 10505529"/>
              <a:gd name="connsiteY33976" fmla="*/ 1798008 h 7458372"/>
              <a:gd name="connsiteX33977" fmla="*/ 6994056 w 10505529"/>
              <a:gd name="connsiteY33977" fmla="*/ 1800269 h 7458372"/>
              <a:gd name="connsiteX33978" fmla="*/ 6972223 w 10505529"/>
              <a:gd name="connsiteY33978" fmla="*/ 1791754 h 7458372"/>
              <a:gd name="connsiteX33979" fmla="*/ 6963837 w 10505529"/>
              <a:gd name="connsiteY33979" fmla="*/ 1770584 h 7458372"/>
              <a:gd name="connsiteX33980" fmla="*/ 6972223 w 10505529"/>
              <a:gd name="connsiteY33980" fmla="*/ 1749560 h 7458372"/>
              <a:gd name="connsiteX33981" fmla="*/ 6994056 w 10505529"/>
              <a:gd name="connsiteY33981" fmla="*/ 1740905 h 7458372"/>
              <a:gd name="connsiteX33982" fmla="*/ 6776544 w 10505529"/>
              <a:gd name="connsiteY33982" fmla="*/ 1740905 h 7458372"/>
              <a:gd name="connsiteX33983" fmla="*/ 6788258 w 10505529"/>
              <a:gd name="connsiteY33983" fmla="*/ 1743568 h 7458372"/>
              <a:gd name="connsiteX33984" fmla="*/ 6797576 w 10505529"/>
              <a:gd name="connsiteY33984" fmla="*/ 1749957 h 7458372"/>
              <a:gd name="connsiteX33985" fmla="*/ 6803699 w 10505529"/>
              <a:gd name="connsiteY33985" fmla="*/ 1759266 h 7458372"/>
              <a:gd name="connsiteX33986" fmla="*/ 6805963 w 10505529"/>
              <a:gd name="connsiteY33986" fmla="*/ 1770725 h 7458372"/>
              <a:gd name="connsiteX33987" fmla="*/ 6803699 w 10505529"/>
              <a:gd name="connsiteY33987" fmla="*/ 1782434 h 7458372"/>
              <a:gd name="connsiteX33988" fmla="*/ 6797576 w 10505529"/>
              <a:gd name="connsiteY33988" fmla="*/ 1791754 h 7458372"/>
              <a:gd name="connsiteX33989" fmla="*/ 6788258 w 10505529"/>
              <a:gd name="connsiteY33989" fmla="*/ 1798008 h 7458372"/>
              <a:gd name="connsiteX33990" fmla="*/ 6776544 w 10505529"/>
              <a:gd name="connsiteY33990" fmla="*/ 1800269 h 7458372"/>
              <a:gd name="connsiteX33991" fmla="*/ 6754711 w 10505529"/>
              <a:gd name="connsiteY33991" fmla="*/ 1791754 h 7458372"/>
              <a:gd name="connsiteX33992" fmla="*/ 6746325 w 10505529"/>
              <a:gd name="connsiteY33992" fmla="*/ 1770584 h 7458372"/>
              <a:gd name="connsiteX33993" fmla="*/ 6754711 w 10505529"/>
              <a:gd name="connsiteY33993" fmla="*/ 1749560 h 7458372"/>
              <a:gd name="connsiteX33994" fmla="*/ 6776544 w 10505529"/>
              <a:gd name="connsiteY33994" fmla="*/ 1740905 h 7458372"/>
              <a:gd name="connsiteX33995" fmla="*/ 6558899 w 10505529"/>
              <a:gd name="connsiteY33995" fmla="*/ 1740905 h 7458372"/>
              <a:gd name="connsiteX33996" fmla="*/ 6570612 w 10505529"/>
              <a:gd name="connsiteY33996" fmla="*/ 1743568 h 7458372"/>
              <a:gd name="connsiteX33997" fmla="*/ 6579930 w 10505529"/>
              <a:gd name="connsiteY33997" fmla="*/ 1749957 h 7458372"/>
              <a:gd name="connsiteX33998" fmla="*/ 6586054 w 10505529"/>
              <a:gd name="connsiteY33998" fmla="*/ 1759266 h 7458372"/>
              <a:gd name="connsiteX33999" fmla="*/ 6588317 w 10505529"/>
              <a:gd name="connsiteY33999" fmla="*/ 1770725 h 7458372"/>
              <a:gd name="connsiteX34000" fmla="*/ 6586054 w 10505529"/>
              <a:gd name="connsiteY34000" fmla="*/ 1782434 h 7458372"/>
              <a:gd name="connsiteX34001" fmla="*/ 6579930 w 10505529"/>
              <a:gd name="connsiteY34001" fmla="*/ 1791754 h 7458372"/>
              <a:gd name="connsiteX34002" fmla="*/ 6570612 w 10505529"/>
              <a:gd name="connsiteY34002" fmla="*/ 1798008 h 7458372"/>
              <a:gd name="connsiteX34003" fmla="*/ 6558899 w 10505529"/>
              <a:gd name="connsiteY34003" fmla="*/ 1800269 h 7458372"/>
              <a:gd name="connsiteX34004" fmla="*/ 6537066 w 10505529"/>
              <a:gd name="connsiteY34004" fmla="*/ 1791754 h 7458372"/>
              <a:gd name="connsiteX34005" fmla="*/ 6528680 w 10505529"/>
              <a:gd name="connsiteY34005" fmla="*/ 1770584 h 7458372"/>
              <a:gd name="connsiteX34006" fmla="*/ 6537066 w 10505529"/>
              <a:gd name="connsiteY34006" fmla="*/ 1749560 h 7458372"/>
              <a:gd name="connsiteX34007" fmla="*/ 6558899 w 10505529"/>
              <a:gd name="connsiteY34007" fmla="*/ 1740905 h 7458372"/>
              <a:gd name="connsiteX34008" fmla="*/ 6341253 w 10505529"/>
              <a:gd name="connsiteY34008" fmla="*/ 1740905 h 7458372"/>
              <a:gd name="connsiteX34009" fmla="*/ 6352968 w 10505529"/>
              <a:gd name="connsiteY34009" fmla="*/ 1743568 h 7458372"/>
              <a:gd name="connsiteX34010" fmla="*/ 6362286 w 10505529"/>
              <a:gd name="connsiteY34010" fmla="*/ 1749957 h 7458372"/>
              <a:gd name="connsiteX34011" fmla="*/ 6368409 w 10505529"/>
              <a:gd name="connsiteY34011" fmla="*/ 1759266 h 7458372"/>
              <a:gd name="connsiteX34012" fmla="*/ 6370672 w 10505529"/>
              <a:gd name="connsiteY34012" fmla="*/ 1770725 h 7458372"/>
              <a:gd name="connsiteX34013" fmla="*/ 6368409 w 10505529"/>
              <a:gd name="connsiteY34013" fmla="*/ 1782434 h 7458372"/>
              <a:gd name="connsiteX34014" fmla="*/ 6362286 w 10505529"/>
              <a:gd name="connsiteY34014" fmla="*/ 1791754 h 7458372"/>
              <a:gd name="connsiteX34015" fmla="*/ 6352968 w 10505529"/>
              <a:gd name="connsiteY34015" fmla="*/ 1798008 h 7458372"/>
              <a:gd name="connsiteX34016" fmla="*/ 6341253 w 10505529"/>
              <a:gd name="connsiteY34016" fmla="*/ 1800269 h 7458372"/>
              <a:gd name="connsiteX34017" fmla="*/ 6319421 w 10505529"/>
              <a:gd name="connsiteY34017" fmla="*/ 1791754 h 7458372"/>
              <a:gd name="connsiteX34018" fmla="*/ 6311035 w 10505529"/>
              <a:gd name="connsiteY34018" fmla="*/ 1770584 h 7458372"/>
              <a:gd name="connsiteX34019" fmla="*/ 6319421 w 10505529"/>
              <a:gd name="connsiteY34019" fmla="*/ 1749560 h 7458372"/>
              <a:gd name="connsiteX34020" fmla="*/ 6341253 w 10505529"/>
              <a:gd name="connsiteY34020" fmla="*/ 1740905 h 7458372"/>
              <a:gd name="connsiteX34021" fmla="*/ 6123608 w 10505529"/>
              <a:gd name="connsiteY34021" fmla="*/ 1740905 h 7458372"/>
              <a:gd name="connsiteX34022" fmla="*/ 6135322 w 10505529"/>
              <a:gd name="connsiteY34022" fmla="*/ 1743568 h 7458372"/>
              <a:gd name="connsiteX34023" fmla="*/ 6144640 w 10505529"/>
              <a:gd name="connsiteY34023" fmla="*/ 1749957 h 7458372"/>
              <a:gd name="connsiteX34024" fmla="*/ 6150763 w 10505529"/>
              <a:gd name="connsiteY34024" fmla="*/ 1759266 h 7458372"/>
              <a:gd name="connsiteX34025" fmla="*/ 6153026 w 10505529"/>
              <a:gd name="connsiteY34025" fmla="*/ 1770725 h 7458372"/>
              <a:gd name="connsiteX34026" fmla="*/ 6150763 w 10505529"/>
              <a:gd name="connsiteY34026" fmla="*/ 1782434 h 7458372"/>
              <a:gd name="connsiteX34027" fmla="*/ 6144640 w 10505529"/>
              <a:gd name="connsiteY34027" fmla="*/ 1791754 h 7458372"/>
              <a:gd name="connsiteX34028" fmla="*/ 6135322 w 10505529"/>
              <a:gd name="connsiteY34028" fmla="*/ 1798008 h 7458372"/>
              <a:gd name="connsiteX34029" fmla="*/ 6123608 w 10505529"/>
              <a:gd name="connsiteY34029" fmla="*/ 1800269 h 7458372"/>
              <a:gd name="connsiteX34030" fmla="*/ 6101775 w 10505529"/>
              <a:gd name="connsiteY34030" fmla="*/ 1791754 h 7458372"/>
              <a:gd name="connsiteX34031" fmla="*/ 6093389 w 10505529"/>
              <a:gd name="connsiteY34031" fmla="*/ 1770584 h 7458372"/>
              <a:gd name="connsiteX34032" fmla="*/ 6101775 w 10505529"/>
              <a:gd name="connsiteY34032" fmla="*/ 1749560 h 7458372"/>
              <a:gd name="connsiteX34033" fmla="*/ 6123608 w 10505529"/>
              <a:gd name="connsiteY34033" fmla="*/ 1740905 h 7458372"/>
              <a:gd name="connsiteX34034" fmla="*/ 5905963 w 10505529"/>
              <a:gd name="connsiteY34034" fmla="*/ 1740905 h 7458372"/>
              <a:gd name="connsiteX34035" fmla="*/ 5917677 w 10505529"/>
              <a:gd name="connsiteY34035" fmla="*/ 1743568 h 7458372"/>
              <a:gd name="connsiteX34036" fmla="*/ 5926995 w 10505529"/>
              <a:gd name="connsiteY34036" fmla="*/ 1749957 h 7458372"/>
              <a:gd name="connsiteX34037" fmla="*/ 5933118 w 10505529"/>
              <a:gd name="connsiteY34037" fmla="*/ 1759266 h 7458372"/>
              <a:gd name="connsiteX34038" fmla="*/ 5935381 w 10505529"/>
              <a:gd name="connsiteY34038" fmla="*/ 1770725 h 7458372"/>
              <a:gd name="connsiteX34039" fmla="*/ 5933118 w 10505529"/>
              <a:gd name="connsiteY34039" fmla="*/ 1782434 h 7458372"/>
              <a:gd name="connsiteX34040" fmla="*/ 5926995 w 10505529"/>
              <a:gd name="connsiteY34040" fmla="*/ 1791754 h 7458372"/>
              <a:gd name="connsiteX34041" fmla="*/ 5917677 w 10505529"/>
              <a:gd name="connsiteY34041" fmla="*/ 1798008 h 7458372"/>
              <a:gd name="connsiteX34042" fmla="*/ 5905963 w 10505529"/>
              <a:gd name="connsiteY34042" fmla="*/ 1800269 h 7458372"/>
              <a:gd name="connsiteX34043" fmla="*/ 5884130 w 10505529"/>
              <a:gd name="connsiteY34043" fmla="*/ 1791754 h 7458372"/>
              <a:gd name="connsiteX34044" fmla="*/ 5875744 w 10505529"/>
              <a:gd name="connsiteY34044" fmla="*/ 1770584 h 7458372"/>
              <a:gd name="connsiteX34045" fmla="*/ 5884130 w 10505529"/>
              <a:gd name="connsiteY34045" fmla="*/ 1749560 h 7458372"/>
              <a:gd name="connsiteX34046" fmla="*/ 5905963 w 10505529"/>
              <a:gd name="connsiteY34046" fmla="*/ 1740905 h 7458372"/>
              <a:gd name="connsiteX34047" fmla="*/ 5688451 w 10505529"/>
              <a:gd name="connsiteY34047" fmla="*/ 1740905 h 7458372"/>
              <a:gd name="connsiteX34048" fmla="*/ 5700165 w 10505529"/>
              <a:gd name="connsiteY34048" fmla="*/ 1743568 h 7458372"/>
              <a:gd name="connsiteX34049" fmla="*/ 5709483 w 10505529"/>
              <a:gd name="connsiteY34049" fmla="*/ 1749957 h 7458372"/>
              <a:gd name="connsiteX34050" fmla="*/ 5715606 w 10505529"/>
              <a:gd name="connsiteY34050" fmla="*/ 1759266 h 7458372"/>
              <a:gd name="connsiteX34051" fmla="*/ 5717869 w 10505529"/>
              <a:gd name="connsiteY34051" fmla="*/ 1770725 h 7458372"/>
              <a:gd name="connsiteX34052" fmla="*/ 5715606 w 10505529"/>
              <a:gd name="connsiteY34052" fmla="*/ 1782434 h 7458372"/>
              <a:gd name="connsiteX34053" fmla="*/ 5709483 w 10505529"/>
              <a:gd name="connsiteY34053" fmla="*/ 1791754 h 7458372"/>
              <a:gd name="connsiteX34054" fmla="*/ 5700165 w 10505529"/>
              <a:gd name="connsiteY34054" fmla="*/ 1798008 h 7458372"/>
              <a:gd name="connsiteX34055" fmla="*/ 5688451 w 10505529"/>
              <a:gd name="connsiteY34055" fmla="*/ 1800269 h 7458372"/>
              <a:gd name="connsiteX34056" fmla="*/ 5666618 w 10505529"/>
              <a:gd name="connsiteY34056" fmla="*/ 1791754 h 7458372"/>
              <a:gd name="connsiteX34057" fmla="*/ 5658232 w 10505529"/>
              <a:gd name="connsiteY34057" fmla="*/ 1770584 h 7458372"/>
              <a:gd name="connsiteX34058" fmla="*/ 5666618 w 10505529"/>
              <a:gd name="connsiteY34058" fmla="*/ 1749560 h 7458372"/>
              <a:gd name="connsiteX34059" fmla="*/ 5688451 w 10505529"/>
              <a:gd name="connsiteY34059" fmla="*/ 1740905 h 7458372"/>
              <a:gd name="connsiteX34060" fmla="*/ 5470806 w 10505529"/>
              <a:gd name="connsiteY34060" fmla="*/ 1740905 h 7458372"/>
              <a:gd name="connsiteX34061" fmla="*/ 5482520 w 10505529"/>
              <a:gd name="connsiteY34061" fmla="*/ 1743568 h 7458372"/>
              <a:gd name="connsiteX34062" fmla="*/ 5491838 w 10505529"/>
              <a:gd name="connsiteY34062" fmla="*/ 1749957 h 7458372"/>
              <a:gd name="connsiteX34063" fmla="*/ 5497961 w 10505529"/>
              <a:gd name="connsiteY34063" fmla="*/ 1759266 h 7458372"/>
              <a:gd name="connsiteX34064" fmla="*/ 5500224 w 10505529"/>
              <a:gd name="connsiteY34064" fmla="*/ 1770725 h 7458372"/>
              <a:gd name="connsiteX34065" fmla="*/ 5497961 w 10505529"/>
              <a:gd name="connsiteY34065" fmla="*/ 1782434 h 7458372"/>
              <a:gd name="connsiteX34066" fmla="*/ 5491838 w 10505529"/>
              <a:gd name="connsiteY34066" fmla="*/ 1791754 h 7458372"/>
              <a:gd name="connsiteX34067" fmla="*/ 5482520 w 10505529"/>
              <a:gd name="connsiteY34067" fmla="*/ 1798008 h 7458372"/>
              <a:gd name="connsiteX34068" fmla="*/ 5470806 w 10505529"/>
              <a:gd name="connsiteY34068" fmla="*/ 1800269 h 7458372"/>
              <a:gd name="connsiteX34069" fmla="*/ 5448973 w 10505529"/>
              <a:gd name="connsiteY34069" fmla="*/ 1791754 h 7458372"/>
              <a:gd name="connsiteX34070" fmla="*/ 5440587 w 10505529"/>
              <a:gd name="connsiteY34070" fmla="*/ 1770584 h 7458372"/>
              <a:gd name="connsiteX34071" fmla="*/ 5448973 w 10505529"/>
              <a:gd name="connsiteY34071" fmla="*/ 1749560 h 7458372"/>
              <a:gd name="connsiteX34072" fmla="*/ 5470806 w 10505529"/>
              <a:gd name="connsiteY34072" fmla="*/ 1740905 h 7458372"/>
              <a:gd name="connsiteX34073" fmla="*/ 5253160 w 10505529"/>
              <a:gd name="connsiteY34073" fmla="*/ 1740905 h 7458372"/>
              <a:gd name="connsiteX34074" fmla="*/ 5264875 w 10505529"/>
              <a:gd name="connsiteY34074" fmla="*/ 1743568 h 7458372"/>
              <a:gd name="connsiteX34075" fmla="*/ 5274192 w 10505529"/>
              <a:gd name="connsiteY34075" fmla="*/ 1749957 h 7458372"/>
              <a:gd name="connsiteX34076" fmla="*/ 5280316 w 10505529"/>
              <a:gd name="connsiteY34076" fmla="*/ 1759266 h 7458372"/>
              <a:gd name="connsiteX34077" fmla="*/ 5282579 w 10505529"/>
              <a:gd name="connsiteY34077" fmla="*/ 1770725 h 7458372"/>
              <a:gd name="connsiteX34078" fmla="*/ 5280316 w 10505529"/>
              <a:gd name="connsiteY34078" fmla="*/ 1782434 h 7458372"/>
              <a:gd name="connsiteX34079" fmla="*/ 5274192 w 10505529"/>
              <a:gd name="connsiteY34079" fmla="*/ 1791754 h 7458372"/>
              <a:gd name="connsiteX34080" fmla="*/ 5264875 w 10505529"/>
              <a:gd name="connsiteY34080" fmla="*/ 1798008 h 7458372"/>
              <a:gd name="connsiteX34081" fmla="*/ 5253160 w 10505529"/>
              <a:gd name="connsiteY34081" fmla="*/ 1800269 h 7458372"/>
              <a:gd name="connsiteX34082" fmla="*/ 5231328 w 10505529"/>
              <a:gd name="connsiteY34082" fmla="*/ 1791754 h 7458372"/>
              <a:gd name="connsiteX34083" fmla="*/ 5222942 w 10505529"/>
              <a:gd name="connsiteY34083" fmla="*/ 1770584 h 7458372"/>
              <a:gd name="connsiteX34084" fmla="*/ 5231328 w 10505529"/>
              <a:gd name="connsiteY34084" fmla="*/ 1749560 h 7458372"/>
              <a:gd name="connsiteX34085" fmla="*/ 5253160 w 10505529"/>
              <a:gd name="connsiteY34085" fmla="*/ 1740905 h 7458372"/>
              <a:gd name="connsiteX34086" fmla="*/ 5035515 w 10505529"/>
              <a:gd name="connsiteY34086" fmla="*/ 1740905 h 7458372"/>
              <a:gd name="connsiteX34087" fmla="*/ 5047230 w 10505529"/>
              <a:gd name="connsiteY34087" fmla="*/ 1743568 h 7458372"/>
              <a:gd name="connsiteX34088" fmla="*/ 5056548 w 10505529"/>
              <a:gd name="connsiteY34088" fmla="*/ 1749957 h 7458372"/>
              <a:gd name="connsiteX34089" fmla="*/ 5062671 w 10505529"/>
              <a:gd name="connsiteY34089" fmla="*/ 1759266 h 7458372"/>
              <a:gd name="connsiteX34090" fmla="*/ 5064934 w 10505529"/>
              <a:gd name="connsiteY34090" fmla="*/ 1770725 h 7458372"/>
              <a:gd name="connsiteX34091" fmla="*/ 5062671 w 10505529"/>
              <a:gd name="connsiteY34091" fmla="*/ 1782434 h 7458372"/>
              <a:gd name="connsiteX34092" fmla="*/ 5056548 w 10505529"/>
              <a:gd name="connsiteY34092" fmla="*/ 1791754 h 7458372"/>
              <a:gd name="connsiteX34093" fmla="*/ 5047230 w 10505529"/>
              <a:gd name="connsiteY34093" fmla="*/ 1798008 h 7458372"/>
              <a:gd name="connsiteX34094" fmla="*/ 5035515 w 10505529"/>
              <a:gd name="connsiteY34094" fmla="*/ 1800269 h 7458372"/>
              <a:gd name="connsiteX34095" fmla="*/ 5013683 w 10505529"/>
              <a:gd name="connsiteY34095" fmla="*/ 1791754 h 7458372"/>
              <a:gd name="connsiteX34096" fmla="*/ 5005297 w 10505529"/>
              <a:gd name="connsiteY34096" fmla="*/ 1770584 h 7458372"/>
              <a:gd name="connsiteX34097" fmla="*/ 5013683 w 10505529"/>
              <a:gd name="connsiteY34097" fmla="*/ 1749560 h 7458372"/>
              <a:gd name="connsiteX34098" fmla="*/ 5035515 w 10505529"/>
              <a:gd name="connsiteY34098" fmla="*/ 1740905 h 7458372"/>
              <a:gd name="connsiteX34099" fmla="*/ 4817870 w 10505529"/>
              <a:gd name="connsiteY34099" fmla="*/ 1740905 h 7458372"/>
              <a:gd name="connsiteX34100" fmla="*/ 4829585 w 10505529"/>
              <a:gd name="connsiteY34100" fmla="*/ 1743568 h 7458372"/>
              <a:gd name="connsiteX34101" fmla="*/ 4838903 w 10505529"/>
              <a:gd name="connsiteY34101" fmla="*/ 1749957 h 7458372"/>
              <a:gd name="connsiteX34102" fmla="*/ 4845026 w 10505529"/>
              <a:gd name="connsiteY34102" fmla="*/ 1759266 h 7458372"/>
              <a:gd name="connsiteX34103" fmla="*/ 4847289 w 10505529"/>
              <a:gd name="connsiteY34103" fmla="*/ 1770725 h 7458372"/>
              <a:gd name="connsiteX34104" fmla="*/ 4845026 w 10505529"/>
              <a:gd name="connsiteY34104" fmla="*/ 1782434 h 7458372"/>
              <a:gd name="connsiteX34105" fmla="*/ 4838903 w 10505529"/>
              <a:gd name="connsiteY34105" fmla="*/ 1791754 h 7458372"/>
              <a:gd name="connsiteX34106" fmla="*/ 4829585 w 10505529"/>
              <a:gd name="connsiteY34106" fmla="*/ 1798008 h 7458372"/>
              <a:gd name="connsiteX34107" fmla="*/ 4817870 w 10505529"/>
              <a:gd name="connsiteY34107" fmla="*/ 1800269 h 7458372"/>
              <a:gd name="connsiteX34108" fmla="*/ 4796038 w 10505529"/>
              <a:gd name="connsiteY34108" fmla="*/ 1791754 h 7458372"/>
              <a:gd name="connsiteX34109" fmla="*/ 4787652 w 10505529"/>
              <a:gd name="connsiteY34109" fmla="*/ 1770584 h 7458372"/>
              <a:gd name="connsiteX34110" fmla="*/ 4796038 w 10505529"/>
              <a:gd name="connsiteY34110" fmla="*/ 1749560 h 7458372"/>
              <a:gd name="connsiteX34111" fmla="*/ 4817870 w 10505529"/>
              <a:gd name="connsiteY34111" fmla="*/ 1740905 h 7458372"/>
              <a:gd name="connsiteX34112" fmla="*/ 4600226 w 10505529"/>
              <a:gd name="connsiteY34112" fmla="*/ 1740905 h 7458372"/>
              <a:gd name="connsiteX34113" fmla="*/ 4612073 w 10505529"/>
              <a:gd name="connsiteY34113" fmla="*/ 1743568 h 7458372"/>
              <a:gd name="connsiteX34114" fmla="*/ 4621391 w 10505529"/>
              <a:gd name="connsiteY34114" fmla="*/ 1749957 h 7458372"/>
              <a:gd name="connsiteX34115" fmla="*/ 4627514 w 10505529"/>
              <a:gd name="connsiteY34115" fmla="*/ 1759266 h 7458372"/>
              <a:gd name="connsiteX34116" fmla="*/ 4629777 w 10505529"/>
              <a:gd name="connsiteY34116" fmla="*/ 1770725 h 7458372"/>
              <a:gd name="connsiteX34117" fmla="*/ 4627514 w 10505529"/>
              <a:gd name="connsiteY34117" fmla="*/ 1782434 h 7458372"/>
              <a:gd name="connsiteX34118" fmla="*/ 4621391 w 10505529"/>
              <a:gd name="connsiteY34118" fmla="*/ 1791754 h 7458372"/>
              <a:gd name="connsiteX34119" fmla="*/ 4612073 w 10505529"/>
              <a:gd name="connsiteY34119" fmla="*/ 1798008 h 7458372"/>
              <a:gd name="connsiteX34120" fmla="*/ 4600226 w 10505529"/>
              <a:gd name="connsiteY34120" fmla="*/ 1800269 h 7458372"/>
              <a:gd name="connsiteX34121" fmla="*/ 4578393 w 10505529"/>
              <a:gd name="connsiteY34121" fmla="*/ 1791754 h 7458372"/>
              <a:gd name="connsiteX34122" fmla="*/ 4570007 w 10505529"/>
              <a:gd name="connsiteY34122" fmla="*/ 1770584 h 7458372"/>
              <a:gd name="connsiteX34123" fmla="*/ 4578393 w 10505529"/>
              <a:gd name="connsiteY34123" fmla="*/ 1749560 h 7458372"/>
              <a:gd name="connsiteX34124" fmla="*/ 4600226 w 10505529"/>
              <a:gd name="connsiteY34124" fmla="*/ 1740905 h 7458372"/>
              <a:gd name="connsiteX34125" fmla="*/ 4382713 w 10505529"/>
              <a:gd name="connsiteY34125" fmla="*/ 1740905 h 7458372"/>
              <a:gd name="connsiteX34126" fmla="*/ 4394428 w 10505529"/>
              <a:gd name="connsiteY34126" fmla="*/ 1743568 h 7458372"/>
              <a:gd name="connsiteX34127" fmla="*/ 4403746 w 10505529"/>
              <a:gd name="connsiteY34127" fmla="*/ 1749957 h 7458372"/>
              <a:gd name="connsiteX34128" fmla="*/ 4409869 w 10505529"/>
              <a:gd name="connsiteY34128" fmla="*/ 1759266 h 7458372"/>
              <a:gd name="connsiteX34129" fmla="*/ 4412132 w 10505529"/>
              <a:gd name="connsiteY34129" fmla="*/ 1770725 h 7458372"/>
              <a:gd name="connsiteX34130" fmla="*/ 4409869 w 10505529"/>
              <a:gd name="connsiteY34130" fmla="*/ 1782434 h 7458372"/>
              <a:gd name="connsiteX34131" fmla="*/ 4403746 w 10505529"/>
              <a:gd name="connsiteY34131" fmla="*/ 1791754 h 7458372"/>
              <a:gd name="connsiteX34132" fmla="*/ 4394428 w 10505529"/>
              <a:gd name="connsiteY34132" fmla="*/ 1798008 h 7458372"/>
              <a:gd name="connsiteX34133" fmla="*/ 4382713 w 10505529"/>
              <a:gd name="connsiteY34133" fmla="*/ 1800269 h 7458372"/>
              <a:gd name="connsiteX34134" fmla="*/ 4360881 w 10505529"/>
              <a:gd name="connsiteY34134" fmla="*/ 1791754 h 7458372"/>
              <a:gd name="connsiteX34135" fmla="*/ 4352495 w 10505529"/>
              <a:gd name="connsiteY34135" fmla="*/ 1770584 h 7458372"/>
              <a:gd name="connsiteX34136" fmla="*/ 4360881 w 10505529"/>
              <a:gd name="connsiteY34136" fmla="*/ 1749560 h 7458372"/>
              <a:gd name="connsiteX34137" fmla="*/ 4382713 w 10505529"/>
              <a:gd name="connsiteY34137" fmla="*/ 1740905 h 7458372"/>
              <a:gd name="connsiteX34138" fmla="*/ 4165068 w 10505529"/>
              <a:gd name="connsiteY34138" fmla="*/ 1740905 h 7458372"/>
              <a:gd name="connsiteX34139" fmla="*/ 4176782 w 10505529"/>
              <a:gd name="connsiteY34139" fmla="*/ 1743568 h 7458372"/>
              <a:gd name="connsiteX34140" fmla="*/ 4186100 w 10505529"/>
              <a:gd name="connsiteY34140" fmla="*/ 1749957 h 7458372"/>
              <a:gd name="connsiteX34141" fmla="*/ 4192223 w 10505529"/>
              <a:gd name="connsiteY34141" fmla="*/ 1759266 h 7458372"/>
              <a:gd name="connsiteX34142" fmla="*/ 4194486 w 10505529"/>
              <a:gd name="connsiteY34142" fmla="*/ 1770725 h 7458372"/>
              <a:gd name="connsiteX34143" fmla="*/ 4192223 w 10505529"/>
              <a:gd name="connsiteY34143" fmla="*/ 1782434 h 7458372"/>
              <a:gd name="connsiteX34144" fmla="*/ 4186100 w 10505529"/>
              <a:gd name="connsiteY34144" fmla="*/ 1791754 h 7458372"/>
              <a:gd name="connsiteX34145" fmla="*/ 4176782 w 10505529"/>
              <a:gd name="connsiteY34145" fmla="*/ 1798008 h 7458372"/>
              <a:gd name="connsiteX34146" fmla="*/ 4165068 w 10505529"/>
              <a:gd name="connsiteY34146" fmla="*/ 1800269 h 7458372"/>
              <a:gd name="connsiteX34147" fmla="*/ 4143235 w 10505529"/>
              <a:gd name="connsiteY34147" fmla="*/ 1791754 h 7458372"/>
              <a:gd name="connsiteX34148" fmla="*/ 4134849 w 10505529"/>
              <a:gd name="connsiteY34148" fmla="*/ 1770584 h 7458372"/>
              <a:gd name="connsiteX34149" fmla="*/ 4143235 w 10505529"/>
              <a:gd name="connsiteY34149" fmla="*/ 1749560 h 7458372"/>
              <a:gd name="connsiteX34150" fmla="*/ 4165068 w 10505529"/>
              <a:gd name="connsiteY34150" fmla="*/ 1740905 h 7458372"/>
              <a:gd name="connsiteX34151" fmla="*/ 3947524 w 10505529"/>
              <a:gd name="connsiteY34151" fmla="*/ 1740905 h 7458372"/>
              <a:gd name="connsiteX34152" fmla="*/ 3959239 w 10505529"/>
              <a:gd name="connsiteY34152" fmla="*/ 1743568 h 7458372"/>
              <a:gd name="connsiteX34153" fmla="*/ 3968557 w 10505529"/>
              <a:gd name="connsiteY34153" fmla="*/ 1749957 h 7458372"/>
              <a:gd name="connsiteX34154" fmla="*/ 3974681 w 10505529"/>
              <a:gd name="connsiteY34154" fmla="*/ 1759266 h 7458372"/>
              <a:gd name="connsiteX34155" fmla="*/ 3976944 w 10505529"/>
              <a:gd name="connsiteY34155" fmla="*/ 1770725 h 7458372"/>
              <a:gd name="connsiteX34156" fmla="*/ 3974681 w 10505529"/>
              <a:gd name="connsiteY34156" fmla="*/ 1782434 h 7458372"/>
              <a:gd name="connsiteX34157" fmla="*/ 3968557 w 10505529"/>
              <a:gd name="connsiteY34157" fmla="*/ 1791754 h 7458372"/>
              <a:gd name="connsiteX34158" fmla="*/ 3959239 w 10505529"/>
              <a:gd name="connsiteY34158" fmla="*/ 1798008 h 7458372"/>
              <a:gd name="connsiteX34159" fmla="*/ 3947524 w 10505529"/>
              <a:gd name="connsiteY34159" fmla="*/ 1800269 h 7458372"/>
              <a:gd name="connsiteX34160" fmla="*/ 3925691 w 10505529"/>
              <a:gd name="connsiteY34160" fmla="*/ 1791754 h 7458372"/>
              <a:gd name="connsiteX34161" fmla="*/ 3917305 w 10505529"/>
              <a:gd name="connsiteY34161" fmla="*/ 1770584 h 7458372"/>
              <a:gd name="connsiteX34162" fmla="*/ 3925691 w 10505529"/>
              <a:gd name="connsiteY34162" fmla="*/ 1749560 h 7458372"/>
              <a:gd name="connsiteX34163" fmla="*/ 3947524 w 10505529"/>
              <a:gd name="connsiteY34163" fmla="*/ 1740905 h 7458372"/>
              <a:gd name="connsiteX34164" fmla="*/ 3729873 w 10505529"/>
              <a:gd name="connsiteY34164" fmla="*/ 1740905 h 7458372"/>
              <a:gd name="connsiteX34165" fmla="*/ 3741588 w 10505529"/>
              <a:gd name="connsiteY34165" fmla="*/ 1743568 h 7458372"/>
              <a:gd name="connsiteX34166" fmla="*/ 3750907 w 10505529"/>
              <a:gd name="connsiteY34166" fmla="*/ 1749957 h 7458372"/>
              <a:gd name="connsiteX34167" fmla="*/ 3757029 w 10505529"/>
              <a:gd name="connsiteY34167" fmla="*/ 1759266 h 7458372"/>
              <a:gd name="connsiteX34168" fmla="*/ 3759292 w 10505529"/>
              <a:gd name="connsiteY34168" fmla="*/ 1770725 h 7458372"/>
              <a:gd name="connsiteX34169" fmla="*/ 3757029 w 10505529"/>
              <a:gd name="connsiteY34169" fmla="*/ 1782434 h 7458372"/>
              <a:gd name="connsiteX34170" fmla="*/ 3750907 w 10505529"/>
              <a:gd name="connsiteY34170" fmla="*/ 1791754 h 7458372"/>
              <a:gd name="connsiteX34171" fmla="*/ 3741588 w 10505529"/>
              <a:gd name="connsiteY34171" fmla="*/ 1798008 h 7458372"/>
              <a:gd name="connsiteX34172" fmla="*/ 3729873 w 10505529"/>
              <a:gd name="connsiteY34172" fmla="*/ 1800269 h 7458372"/>
              <a:gd name="connsiteX34173" fmla="*/ 3708039 w 10505529"/>
              <a:gd name="connsiteY34173" fmla="*/ 1791754 h 7458372"/>
              <a:gd name="connsiteX34174" fmla="*/ 3699653 w 10505529"/>
              <a:gd name="connsiteY34174" fmla="*/ 1770584 h 7458372"/>
              <a:gd name="connsiteX34175" fmla="*/ 3708039 w 10505529"/>
              <a:gd name="connsiteY34175" fmla="*/ 1749560 h 7458372"/>
              <a:gd name="connsiteX34176" fmla="*/ 3729873 w 10505529"/>
              <a:gd name="connsiteY34176" fmla="*/ 1740905 h 7458372"/>
              <a:gd name="connsiteX34177" fmla="*/ 3512223 w 10505529"/>
              <a:gd name="connsiteY34177" fmla="*/ 1740905 h 7458372"/>
              <a:gd name="connsiteX34178" fmla="*/ 3523938 w 10505529"/>
              <a:gd name="connsiteY34178" fmla="*/ 1743568 h 7458372"/>
              <a:gd name="connsiteX34179" fmla="*/ 3533256 w 10505529"/>
              <a:gd name="connsiteY34179" fmla="*/ 1749957 h 7458372"/>
              <a:gd name="connsiteX34180" fmla="*/ 3539380 w 10505529"/>
              <a:gd name="connsiteY34180" fmla="*/ 1759266 h 7458372"/>
              <a:gd name="connsiteX34181" fmla="*/ 3541643 w 10505529"/>
              <a:gd name="connsiteY34181" fmla="*/ 1770725 h 7458372"/>
              <a:gd name="connsiteX34182" fmla="*/ 3539380 w 10505529"/>
              <a:gd name="connsiteY34182" fmla="*/ 1782434 h 7458372"/>
              <a:gd name="connsiteX34183" fmla="*/ 3533256 w 10505529"/>
              <a:gd name="connsiteY34183" fmla="*/ 1791754 h 7458372"/>
              <a:gd name="connsiteX34184" fmla="*/ 3523938 w 10505529"/>
              <a:gd name="connsiteY34184" fmla="*/ 1798008 h 7458372"/>
              <a:gd name="connsiteX34185" fmla="*/ 3512223 w 10505529"/>
              <a:gd name="connsiteY34185" fmla="*/ 1800269 h 7458372"/>
              <a:gd name="connsiteX34186" fmla="*/ 3490390 w 10505529"/>
              <a:gd name="connsiteY34186" fmla="*/ 1791754 h 7458372"/>
              <a:gd name="connsiteX34187" fmla="*/ 3482003 w 10505529"/>
              <a:gd name="connsiteY34187" fmla="*/ 1770584 h 7458372"/>
              <a:gd name="connsiteX34188" fmla="*/ 3490390 w 10505529"/>
              <a:gd name="connsiteY34188" fmla="*/ 1749560 h 7458372"/>
              <a:gd name="connsiteX34189" fmla="*/ 3512223 w 10505529"/>
              <a:gd name="connsiteY34189" fmla="*/ 1740905 h 7458372"/>
              <a:gd name="connsiteX34190" fmla="*/ 3294706 w 10505529"/>
              <a:gd name="connsiteY34190" fmla="*/ 1740905 h 7458372"/>
              <a:gd name="connsiteX34191" fmla="*/ 3306421 w 10505529"/>
              <a:gd name="connsiteY34191" fmla="*/ 1743568 h 7458372"/>
              <a:gd name="connsiteX34192" fmla="*/ 3315739 w 10505529"/>
              <a:gd name="connsiteY34192" fmla="*/ 1749957 h 7458372"/>
              <a:gd name="connsiteX34193" fmla="*/ 3321863 w 10505529"/>
              <a:gd name="connsiteY34193" fmla="*/ 1759266 h 7458372"/>
              <a:gd name="connsiteX34194" fmla="*/ 3324126 w 10505529"/>
              <a:gd name="connsiteY34194" fmla="*/ 1770725 h 7458372"/>
              <a:gd name="connsiteX34195" fmla="*/ 3321863 w 10505529"/>
              <a:gd name="connsiteY34195" fmla="*/ 1782434 h 7458372"/>
              <a:gd name="connsiteX34196" fmla="*/ 3315739 w 10505529"/>
              <a:gd name="connsiteY34196" fmla="*/ 1791754 h 7458372"/>
              <a:gd name="connsiteX34197" fmla="*/ 3306421 w 10505529"/>
              <a:gd name="connsiteY34197" fmla="*/ 1798008 h 7458372"/>
              <a:gd name="connsiteX34198" fmla="*/ 3294706 w 10505529"/>
              <a:gd name="connsiteY34198" fmla="*/ 1800269 h 7458372"/>
              <a:gd name="connsiteX34199" fmla="*/ 3272872 w 10505529"/>
              <a:gd name="connsiteY34199" fmla="*/ 1791754 h 7458372"/>
              <a:gd name="connsiteX34200" fmla="*/ 3264486 w 10505529"/>
              <a:gd name="connsiteY34200" fmla="*/ 1770584 h 7458372"/>
              <a:gd name="connsiteX34201" fmla="*/ 3272872 w 10505529"/>
              <a:gd name="connsiteY34201" fmla="*/ 1749560 h 7458372"/>
              <a:gd name="connsiteX34202" fmla="*/ 3294706 w 10505529"/>
              <a:gd name="connsiteY34202" fmla="*/ 1740905 h 7458372"/>
              <a:gd name="connsiteX34203" fmla="*/ 3077055 w 10505529"/>
              <a:gd name="connsiteY34203" fmla="*/ 1740905 h 7458372"/>
              <a:gd name="connsiteX34204" fmla="*/ 3088771 w 10505529"/>
              <a:gd name="connsiteY34204" fmla="*/ 1743568 h 7458372"/>
              <a:gd name="connsiteX34205" fmla="*/ 3098089 w 10505529"/>
              <a:gd name="connsiteY34205" fmla="*/ 1749957 h 7458372"/>
              <a:gd name="connsiteX34206" fmla="*/ 3104212 w 10505529"/>
              <a:gd name="connsiteY34206" fmla="*/ 1759266 h 7458372"/>
              <a:gd name="connsiteX34207" fmla="*/ 3106475 w 10505529"/>
              <a:gd name="connsiteY34207" fmla="*/ 1770725 h 7458372"/>
              <a:gd name="connsiteX34208" fmla="*/ 3104212 w 10505529"/>
              <a:gd name="connsiteY34208" fmla="*/ 1782434 h 7458372"/>
              <a:gd name="connsiteX34209" fmla="*/ 3098089 w 10505529"/>
              <a:gd name="connsiteY34209" fmla="*/ 1791754 h 7458372"/>
              <a:gd name="connsiteX34210" fmla="*/ 3088771 w 10505529"/>
              <a:gd name="connsiteY34210" fmla="*/ 1798008 h 7458372"/>
              <a:gd name="connsiteX34211" fmla="*/ 3077055 w 10505529"/>
              <a:gd name="connsiteY34211" fmla="*/ 1800269 h 7458372"/>
              <a:gd name="connsiteX34212" fmla="*/ 3055222 w 10505529"/>
              <a:gd name="connsiteY34212" fmla="*/ 1791754 h 7458372"/>
              <a:gd name="connsiteX34213" fmla="*/ 3046836 w 10505529"/>
              <a:gd name="connsiteY34213" fmla="*/ 1770584 h 7458372"/>
              <a:gd name="connsiteX34214" fmla="*/ 3055222 w 10505529"/>
              <a:gd name="connsiteY34214" fmla="*/ 1749560 h 7458372"/>
              <a:gd name="connsiteX34215" fmla="*/ 3077055 w 10505529"/>
              <a:gd name="connsiteY34215" fmla="*/ 1740905 h 7458372"/>
              <a:gd name="connsiteX34216" fmla="*/ 2859406 w 10505529"/>
              <a:gd name="connsiteY34216" fmla="*/ 1740905 h 7458372"/>
              <a:gd name="connsiteX34217" fmla="*/ 2871254 w 10505529"/>
              <a:gd name="connsiteY34217" fmla="*/ 1743568 h 7458372"/>
              <a:gd name="connsiteX34218" fmla="*/ 2880572 w 10505529"/>
              <a:gd name="connsiteY34218" fmla="*/ 1749957 h 7458372"/>
              <a:gd name="connsiteX34219" fmla="*/ 2886695 w 10505529"/>
              <a:gd name="connsiteY34219" fmla="*/ 1759266 h 7458372"/>
              <a:gd name="connsiteX34220" fmla="*/ 2888958 w 10505529"/>
              <a:gd name="connsiteY34220" fmla="*/ 1770725 h 7458372"/>
              <a:gd name="connsiteX34221" fmla="*/ 2886695 w 10505529"/>
              <a:gd name="connsiteY34221" fmla="*/ 1782434 h 7458372"/>
              <a:gd name="connsiteX34222" fmla="*/ 2880572 w 10505529"/>
              <a:gd name="connsiteY34222" fmla="*/ 1791754 h 7458372"/>
              <a:gd name="connsiteX34223" fmla="*/ 2871254 w 10505529"/>
              <a:gd name="connsiteY34223" fmla="*/ 1798008 h 7458372"/>
              <a:gd name="connsiteX34224" fmla="*/ 2859406 w 10505529"/>
              <a:gd name="connsiteY34224" fmla="*/ 1800269 h 7458372"/>
              <a:gd name="connsiteX34225" fmla="*/ 2837573 w 10505529"/>
              <a:gd name="connsiteY34225" fmla="*/ 1791754 h 7458372"/>
              <a:gd name="connsiteX34226" fmla="*/ 2829186 w 10505529"/>
              <a:gd name="connsiteY34226" fmla="*/ 1770584 h 7458372"/>
              <a:gd name="connsiteX34227" fmla="*/ 2837573 w 10505529"/>
              <a:gd name="connsiteY34227" fmla="*/ 1749560 h 7458372"/>
              <a:gd name="connsiteX34228" fmla="*/ 2859406 w 10505529"/>
              <a:gd name="connsiteY34228" fmla="*/ 1740905 h 7458372"/>
              <a:gd name="connsiteX34229" fmla="*/ 2641755 w 10505529"/>
              <a:gd name="connsiteY34229" fmla="*/ 1740905 h 7458372"/>
              <a:gd name="connsiteX34230" fmla="*/ 2653471 w 10505529"/>
              <a:gd name="connsiteY34230" fmla="*/ 1743568 h 7458372"/>
              <a:gd name="connsiteX34231" fmla="*/ 2662789 w 10505529"/>
              <a:gd name="connsiteY34231" fmla="*/ 1749957 h 7458372"/>
              <a:gd name="connsiteX34232" fmla="*/ 2668912 w 10505529"/>
              <a:gd name="connsiteY34232" fmla="*/ 1759266 h 7458372"/>
              <a:gd name="connsiteX34233" fmla="*/ 2671175 w 10505529"/>
              <a:gd name="connsiteY34233" fmla="*/ 1770725 h 7458372"/>
              <a:gd name="connsiteX34234" fmla="*/ 2668912 w 10505529"/>
              <a:gd name="connsiteY34234" fmla="*/ 1782434 h 7458372"/>
              <a:gd name="connsiteX34235" fmla="*/ 2662789 w 10505529"/>
              <a:gd name="connsiteY34235" fmla="*/ 1791754 h 7458372"/>
              <a:gd name="connsiteX34236" fmla="*/ 2653471 w 10505529"/>
              <a:gd name="connsiteY34236" fmla="*/ 1798008 h 7458372"/>
              <a:gd name="connsiteX34237" fmla="*/ 2641755 w 10505529"/>
              <a:gd name="connsiteY34237" fmla="*/ 1800269 h 7458372"/>
              <a:gd name="connsiteX34238" fmla="*/ 2619923 w 10505529"/>
              <a:gd name="connsiteY34238" fmla="*/ 1791754 h 7458372"/>
              <a:gd name="connsiteX34239" fmla="*/ 2611536 w 10505529"/>
              <a:gd name="connsiteY34239" fmla="*/ 1770584 h 7458372"/>
              <a:gd name="connsiteX34240" fmla="*/ 2619923 w 10505529"/>
              <a:gd name="connsiteY34240" fmla="*/ 1749560 h 7458372"/>
              <a:gd name="connsiteX34241" fmla="*/ 2641755 w 10505529"/>
              <a:gd name="connsiteY34241" fmla="*/ 1740905 h 7458372"/>
              <a:gd name="connsiteX34242" fmla="*/ 2424105 w 10505529"/>
              <a:gd name="connsiteY34242" fmla="*/ 1740905 h 7458372"/>
              <a:gd name="connsiteX34243" fmla="*/ 2435820 w 10505529"/>
              <a:gd name="connsiteY34243" fmla="*/ 1743568 h 7458372"/>
              <a:gd name="connsiteX34244" fmla="*/ 2445138 w 10505529"/>
              <a:gd name="connsiteY34244" fmla="*/ 1749957 h 7458372"/>
              <a:gd name="connsiteX34245" fmla="*/ 2451262 w 10505529"/>
              <a:gd name="connsiteY34245" fmla="*/ 1759266 h 7458372"/>
              <a:gd name="connsiteX34246" fmla="*/ 2453524 w 10505529"/>
              <a:gd name="connsiteY34246" fmla="*/ 1770725 h 7458372"/>
              <a:gd name="connsiteX34247" fmla="*/ 2451262 w 10505529"/>
              <a:gd name="connsiteY34247" fmla="*/ 1782434 h 7458372"/>
              <a:gd name="connsiteX34248" fmla="*/ 2445138 w 10505529"/>
              <a:gd name="connsiteY34248" fmla="*/ 1791754 h 7458372"/>
              <a:gd name="connsiteX34249" fmla="*/ 2435820 w 10505529"/>
              <a:gd name="connsiteY34249" fmla="*/ 1798008 h 7458372"/>
              <a:gd name="connsiteX34250" fmla="*/ 2424105 w 10505529"/>
              <a:gd name="connsiteY34250" fmla="*/ 1800269 h 7458372"/>
              <a:gd name="connsiteX34251" fmla="*/ 2402273 w 10505529"/>
              <a:gd name="connsiteY34251" fmla="*/ 1791754 h 7458372"/>
              <a:gd name="connsiteX34252" fmla="*/ 2393886 w 10505529"/>
              <a:gd name="connsiteY34252" fmla="*/ 1770584 h 7458372"/>
              <a:gd name="connsiteX34253" fmla="*/ 2402273 w 10505529"/>
              <a:gd name="connsiteY34253" fmla="*/ 1749560 h 7458372"/>
              <a:gd name="connsiteX34254" fmla="*/ 2424105 w 10505529"/>
              <a:gd name="connsiteY34254" fmla="*/ 1740905 h 7458372"/>
              <a:gd name="connsiteX34255" fmla="*/ 2206455 w 10505529"/>
              <a:gd name="connsiteY34255" fmla="*/ 1740905 h 7458372"/>
              <a:gd name="connsiteX34256" fmla="*/ 2218170 w 10505529"/>
              <a:gd name="connsiteY34256" fmla="*/ 1743568 h 7458372"/>
              <a:gd name="connsiteX34257" fmla="*/ 2227488 w 10505529"/>
              <a:gd name="connsiteY34257" fmla="*/ 1749957 h 7458372"/>
              <a:gd name="connsiteX34258" fmla="*/ 2233611 w 10505529"/>
              <a:gd name="connsiteY34258" fmla="*/ 1759266 h 7458372"/>
              <a:gd name="connsiteX34259" fmla="*/ 2235874 w 10505529"/>
              <a:gd name="connsiteY34259" fmla="*/ 1770725 h 7458372"/>
              <a:gd name="connsiteX34260" fmla="*/ 2233611 w 10505529"/>
              <a:gd name="connsiteY34260" fmla="*/ 1782434 h 7458372"/>
              <a:gd name="connsiteX34261" fmla="*/ 2227488 w 10505529"/>
              <a:gd name="connsiteY34261" fmla="*/ 1791754 h 7458372"/>
              <a:gd name="connsiteX34262" fmla="*/ 2218170 w 10505529"/>
              <a:gd name="connsiteY34262" fmla="*/ 1798008 h 7458372"/>
              <a:gd name="connsiteX34263" fmla="*/ 2206455 w 10505529"/>
              <a:gd name="connsiteY34263" fmla="*/ 1800269 h 7458372"/>
              <a:gd name="connsiteX34264" fmla="*/ 2184623 w 10505529"/>
              <a:gd name="connsiteY34264" fmla="*/ 1791754 h 7458372"/>
              <a:gd name="connsiteX34265" fmla="*/ 2176236 w 10505529"/>
              <a:gd name="connsiteY34265" fmla="*/ 1770584 h 7458372"/>
              <a:gd name="connsiteX34266" fmla="*/ 2184623 w 10505529"/>
              <a:gd name="connsiteY34266" fmla="*/ 1749560 h 7458372"/>
              <a:gd name="connsiteX34267" fmla="*/ 2206455 w 10505529"/>
              <a:gd name="connsiteY34267" fmla="*/ 1740905 h 7458372"/>
              <a:gd name="connsiteX34268" fmla="*/ 1988937 w 10505529"/>
              <a:gd name="connsiteY34268" fmla="*/ 1740905 h 7458372"/>
              <a:gd name="connsiteX34269" fmla="*/ 2000653 w 10505529"/>
              <a:gd name="connsiteY34269" fmla="*/ 1743568 h 7458372"/>
              <a:gd name="connsiteX34270" fmla="*/ 2009971 w 10505529"/>
              <a:gd name="connsiteY34270" fmla="*/ 1749957 h 7458372"/>
              <a:gd name="connsiteX34271" fmla="*/ 2016094 w 10505529"/>
              <a:gd name="connsiteY34271" fmla="*/ 1759266 h 7458372"/>
              <a:gd name="connsiteX34272" fmla="*/ 2018357 w 10505529"/>
              <a:gd name="connsiteY34272" fmla="*/ 1770725 h 7458372"/>
              <a:gd name="connsiteX34273" fmla="*/ 2016094 w 10505529"/>
              <a:gd name="connsiteY34273" fmla="*/ 1782434 h 7458372"/>
              <a:gd name="connsiteX34274" fmla="*/ 2009971 w 10505529"/>
              <a:gd name="connsiteY34274" fmla="*/ 1791754 h 7458372"/>
              <a:gd name="connsiteX34275" fmla="*/ 2000653 w 10505529"/>
              <a:gd name="connsiteY34275" fmla="*/ 1798008 h 7458372"/>
              <a:gd name="connsiteX34276" fmla="*/ 1988937 w 10505529"/>
              <a:gd name="connsiteY34276" fmla="*/ 1800269 h 7458372"/>
              <a:gd name="connsiteX34277" fmla="*/ 1967106 w 10505529"/>
              <a:gd name="connsiteY34277" fmla="*/ 1791754 h 7458372"/>
              <a:gd name="connsiteX34278" fmla="*/ 1958720 w 10505529"/>
              <a:gd name="connsiteY34278" fmla="*/ 1770584 h 7458372"/>
              <a:gd name="connsiteX34279" fmla="*/ 1967106 w 10505529"/>
              <a:gd name="connsiteY34279" fmla="*/ 1749560 h 7458372"/>
              <a:gd name="connsiteX34280" fmla="*/ 1988937 w 10505529"/>
              <a:gd name="connsiteY34280" fmla="*/ 1740905 h 7458372"/>
              <a:gd name="connsiteX34281" fmla="*/ 1771296 w 10505529"/>
              <a:gd name="connsiteY34281" fmla="*/ 1740905 h 7458372"/>
              <a:gd name="connsiteX34282" fmla="*/ 1783011 w 10505529"/>
              <a:gd name="connsiteY34282" fmla="*/ 1743568 h 7458372"/>
              <a:gd name="connsiteX34283" fmla="*/ 1792329 w 10505529"/>
              <a:gd name="connsiteY34283" fmla="*/ 1749957 h 7458372"/>
              <a:gd name="connsiteX34284" fmla="*/ 1798452 w 10505529"/>
              <a:gd name="connsiteY34284" fmla="*/ 1759266 h 7458372"/>
              <a:gd name="connsiteX34285" fmla="*/ 1800715 w 10505529"/>
              <a:gd name="connsiteY34285" fmla="*/ 1770725 h 7458372"/>
              <a:gd name="connsiteX34286" fmla="*/ 1798452 w 10505529"/>
              <a:gd name="connsiteY34286" fmla="*/ 1782434 h 7458372"/>
              <a:gd name="connsiteX34287" fmla="*/ 1792329 w 10505529"/>
              <a:gd name="connsiteY34287" fmla="*/ 1791754 h 7458372"/>
              <a:gd name="connsiteX34288" fmla="*/ 1783011 w 10505529"/>
              <a:gd name="connsiteY34288" fmla="*/ 1798008 h 7458372"/>
              <a:gd name="connsiteX34289" fmla="*/ 1771296 w 10505529"/>
              <a:gd name="connsiteY34289" fmla="*/ 1800269 h 7458372"/>
              <a:gd name="connsiteX34290" fmla="*/ 1749466 w 10505529"/>
              <a:gd name="connsiteY34290" fmla="*/ 1791754 h 7458372"/>
              <a:gd name="connsiteX34291" fmla="*/ 1741080 w 10505529"/>
              <a:gd name="connsiteY34291" fmla="*/ 1770584 h 7458372"/>
              <a:gd name="connsiteX34292" fmla="*/ 1749466 w 10505529"/>
              <a:gd name="connsiteY34292" fmla="*/ 1749560 h 7458372"/>
              <a:gd name="connsiteX34293" fmla="*/ 1771296 w 10505529"/>
              <a:gd name="connsiteY34293" fmla="*/ 1740905 h 7458372"/>
              <a:gd name="connsiteX34294" fmla="*/ 1553653 w 10505529"/>
              <a:gd name="connsiteY34294" fmla="*/ 1740905 h 7458372"/>
              <a:gd name="connsiteX34295" fmla="*/ 1565368 w 10505529"/>
              <a:gd name="connsiteY34295" fmla="*/ 1743568 h 7458372"/>
              <a:gd name="connsiteX34296" fmla="*/ 1574687 w 10505529"/>
              <a:gd name="connsiteY34296" fmla="*/ 1749957 h 7458372"/>
              <a:gd name="connsiteX34297" fmla="*/ 1580810 w 10505529"/>
              <a:gd name="connsiteY34297" fmla="*/ 1759266 h 7458372"/>
              <a:gd name="connsiteX34298" fmla="*/ 1583073 w 10505529"/>
              <a:gd name="connsiteY34298" fmla="*/ 1770725 h 7458372"/>
              <a:gd name="connsiteX34299" fmla="*/ 1580810 w 10505529"/>
              <a:gd name="connsiteY34299" fmla="*/ 1782434 h 7458372"/>
              <a:gd name="connsiteX34300" fmla="*/ 1574687 w 10505529"/>
              <a:gd name="connsiteY34300" fmla="*/ 1791754 h 7458372"/>
              <a:gd name="connsiteX34301" fmla="*/ 1565368 w 10505529"/>
              <a:gd name="connsiteY34301" fmla="*/ 1798008 h 7458372"/>
              <a:gd name="connsiteX34302" fmla="*/ 1553653 w 10505529"/>
              <a:gd name="connsiteY34302" fmla="*/ 1800269 h 7458372"/>
              <a:gd name="connsiteX34303" fmla="*/ 1531822 w 10505529"/>
              <a:gd name="connsiteY34303" fmla="*/ 1791754 h 7458372"/>
              <a:gd name="connsiteX34304" fmla="*/ 1523436 w 10505529"/>
              <a:gd name="connsiteY34304" fmla="*/ 1770584 h 7458372"/>
              <a:gd name="connsiteX34305" fmla="*/ 1531822 w 10505529"/>
              <a:gd name="connsiteY34305" fmla="*/ 1749560 h 7458372"/>
              <a:gd name="connsiteX34306" fmla="*/ 1553653 w 10505529"/>
              <a:gd name="connsiteY34306" fmla="*/ 1740905 h 7458372"/>
              <a:gd name="connsiteX34307" fmla="*/ 1336008 w 10505529"/>
              <a:gd name="connsiteY34307" fmla="*/ 1740905 h 7458372"/>
              <a:gd name="connsiteX34308" fmla="*/ 1347724 w 10505529"/>
              <a:gd name="connsiteY34308" fmla="*/ 1743568 h 7458372"/>
              <a:gd name="connsiteX34309" fmla="*/ 1357042 w 10505529"/>
              <a:gd name="connsiteY34309" fmla="*/ 1749957 h 7458372"/>
              <a:gd name="connsiteX34310" fmla="*/ 1363165 w 10505529"/>
              <a:gd name="connsiteY34310" fmla="*/ 1759266 h 7458372"/>
              <a:gd name="connsiteX34311" fmla="*/ 1365428 w 10505529"/>
              <a:gd name="connsiteY34311" fmla="*/ 1770725 h 7458372"/>
              <a:gd name="connsiteX34312" fmla="*/ 1363165 w 10505529"/>
              <a:gd name="connsiteY34312" fmla="*/ 1782434 h 7458372"/>
              <a:gd name="connsiteX34313" fmla="*/ 1357042 w 10505529"/>
              <a:gd name="connsiteY34313" fmla="*/ 1791754 h 7458372"/>
              <a:gd name="connsiteX34314" fmla="*/ 1347724 w 10505529"/>
              <a:gd name="connsiteY34314" fmla="*/ 1798008 h 7458372"/>
              <a:gd name="connsiteX34315" fmla="*/ 1336008 w 10505529"/>
              <a:gd name="connsiteY34315" fmla="*/ 1800269 h 7458372"/>
              <a:gd name="connsiteX34316" fmla="*/ 1314177 w 10505529"/>
              <a:gd name="connsiteY34316" fmla="*/ 1791754 h 7458372"/>
              <a:gd name="connsiteX34317" fmla="*/ 1305792 w 10505529"/>
              <a:gd name="connsiteY34317" fmla="*/ 1770584 h 7458372"/>
              <a:gd name="connsiteX34318" fmla="*/ 1314177 w 10505529"/>
              <a:gd name="connsiteY34318" fmla="*/ 1749560 h 7458372"/>
              <a:gd name="connsiteX34319" fmla="*/ 1336008 w 10505529"/>
              <a:gd name="connsiteY34319" fmla="*/ 1740905 h 7458372"/>
              <a:gd name="connsiteX34320" fmla="*/ 1118364 w 10505529"/>
              <a:gd name="connsiteY34320" fmla="*/ 1740905 h 7458372"/>
              <a:gd name="connsiteX34321" fmla="*/ 1130080 w 10505529"/>
              <a:gd name="connsiteY34321" fmla="*/ 1743568 h 7458372"/>
              <a:gd name="connsiteX34322" fmla="*/ 1139397 w 10505529"/>
              <a:gd name="connsiteY34322" fmla="*/ 1749957 h 7458372"/>
              <a:gd name="connsiteX34323" fmla="*/ 1145519 w 10505529"/>
              <a:gd name="connsiteY34323" fmla="*/ 1759266 h 7458372"/>
              <a:gd name="connsiteX34324" fmla="*/ 1147782 w 10505529"/>
              <a:gd name="connsiteY34324" fmla="*/ 1770725 h 7458372"/>
              <a:gd name="connsiteX34325" fmla="*/ 1145519 w 10505529"/>
              <a:gd name="connsiteY34325" fmla="*/ 1782434 h 7458372"/>
              <a:gd name="connsiteX34326" fmla="*/ 1139397 w 10505529"/>
              <a:gd name="connsiteY34326" fmla="*/ 1791754 h 7458372"/>
              <a:gd name="connsiteX34327" fmla="*/ 1130080 w 10505529"/>
              <a:gd name="connsiteY34327" fmla="*/ 1798008 h 7458372"/>
              <a:gd name="connsiteX34328" fmla="*/ 1118364 w 10505529"/>
              <a:gd name="connsiteY34328" fmla="*/ 1800269 h 7458372"/>
              <a:gd name="connsiteX34329" fmla="*/ 1096531 w 10505529"/>
              <a:gd name="connsiteY34329" fmla="*/ 1791754 h 7458372"/>
              <a:gd name="connsiteX34330" fmla="*/ 1088146 w 10505529"/>
              <a:gd name="connsiteY34330" fmla="*/ 1770584 h 7458372"/>
              <a:gd name="connsiteX34331" fmla="*/ 1096531 w 10505529"/>
              <a:gd name="connsiteY34331" fmla="*/ 1749560 h 7458372"/>
              <a:gd name="connsiteX34332" fmla="*/ 1118364 w 10505529"/>
              <a:gd name="connsiteY34332" fmla="*/ 1740905 h 7458372"/>
              <a:gd name="connsiteX34333" fmla="*/ 900852 w 10505529"/>
              <a:gd name="connsiteY34333" fmla="*/ 1740905 h 7458372"/>
              <a:gd name="connsiteX34334" fmla="*/ 912567 w 10505529"/>
              <a:gd name="connsiteY34334" fmla="*/ 1743568 h 7458372"/>
              <a:gd name="connsiteX34335" fmla="*/ 921885 w 10505529"/>
              <a:gd name="connsiteY34335" fmla="*/ 1749957 h 7458372"/>
              <a:gd name="connsiteX34336" fmla="*/ 928008 w 10505529"/>
              <a:gd name="connsiteY34336" fmla="*/ 1759266 h 7458372"/>
              <a:gd name="connsiteX34337" fmla="*/ 930271 w 10505529"/>
              <a:gd name="connsiteY34337" fmla="*/ 1770725 h 7458372"/>
              <a:gd name="connsiteX34338" fmla="*/ 928008 w 10505529"/>
              <a:gd name="connsiteY34338" fmla="*/ 1782434 h 7458372"/>
              <a:gd name="connsiteX34339" fmla="*/ 921885 w 10505529"/>
              <a:gd name="connsiteY34339" fmla="*/ 1791754 h 7458372"/>
              <a:gd name="connsiteX34340" fmla="*/ 912567 w 10505529"/>
              <a:gd name="connsiteY34340" fmla="*/ 1798008 h 7458372"/>
              <a:gd name="connsiteX34341" fmla="*/ 900852 w 10505529"/>
              <a:gd name="connsiteY34341" fmla="*/ 1800269 h 7458372"/>
              <a:gd name="connsiteX34342" fmla="*/ 879021 w 10505529"/>
              <a:gd name="connsiteY34342" fmla="*/ 1791754 h 7458372"/>
              <a:gd name="connsiteX34343" fmla="*/ 870635 w 10505529"/>
              <a:gd name="connsiteY34343" fmla="*/ 1770584 h 7458372"/>
              <a:gd name="connsiteX34344" fmla="*/ 879021 w 10505529"/>
              <a:gd name="connsiteY34344" fmla="*/ 1749560 h 7458372"/>
              <a:gd name="connsiteX34345" fmla="*/ 900852 w 10505529"/>
              <a:gd name="connsiteY34345" fmla="*/ 1740905 h 7458372"/>
              <a:gd name="connsiteX34346" fmla="*/ 683208 w 10505529"/>
              <a:gd name="connsiteY34346" fmla="*/ 1740905 h 7458372"/>
              <a:gd name="connsiteX34347" fmla="*/ 694924 w 10505529"/>
              <a:gd name="connsiteY34347" fmla="*/ 1743568 h 7458372"/>
              <a:gd name="connsiteX34348" fmla="*/ 704241 w 10505529"/>
              <a:gd name="connsiteY34348" fmla="*/ 1749957 h 7458372"/>
              <a:gd name="connsiteX34349" fmla="*/ 710364 w 10505529"/>
              <a:gd name="connsiteY34349" fmla="*/ 1759266 h 7458372"/>
              <a:gd name="connsiteX34350" fmla="*/ 712628 w 10505529"/>
              <a:gd name="connsiteY34350" fmla="*/ 1770725 h 7458372"/>
              <a:gd name="connsiteX34351" fmla="*/ 710364 w 10505529"/>
              <a:gd name="connsiteY34351" fmla="*/ 1782434 h 7458372"/>
              <a:gd name="connsiteX34352" fmla="*/ 704241 w 10505529"/>
              <a:gd name="connsiteY34352" fmla="*/ 1791754 h 7458372"/>
              <a:gd name="connsiteX34353" fmla="*/ 694924 w 10505529"/>
              <a:gd name="connsiteY34353" fmla="*/ 1798008 h 7458372"/>
              <a:gd name="connsiteX34354" fmla="*/ 683208 w 10505529"/>
              <a:gd name="connsiteY34354" fmla="*/ 1800269 h 7458372"/>
              <a:gd name="connsiteX34355" fmla="*/ 661377 w 10505529"/>
              <a:gd name="connsiteY34355" fmla="*/ 1791754 h 7458372"/>
              <a:gd name="connsiteX34356" fmla="*/ 652991 w 10505529"/>
              <a:gd name="connsiteY34356" fmla="*/ 1770584 h 7458372"/>
              <a:gd name="connsiteX34357" fmla="*/ 661377 w 10505529"/>
              <a:gd name="connsiteY34357" fmla="*/ 1749560 h 7458372"/>
              <a:gd name="connsiteX34358" fmla="*/ 683208 w 10505529"/>
              <a:gd name="connsiteY34358" fmla="*/ 1740905 h 7458372"/>
              <a:gd name="connsiteX34359" fmla="*/ 465565 w 10505529"/>
              <a:gd name="connsiteY34359" fmla="*/ 1740905 h 7458372"/>
              <a:gd name="connsiteX34360" fmla="*/ 477280 w 10505529"/>
              <a:gd name="connsiteY34360" fmla="*/ 1743568 h 7458372"/>
              <a:gd name="connsiteX34361" fmla="*/ 486598 w 10505529"/>
              <a:gd name="connsiteY34361" fmla="*/ 1749957 h 7458372"/>
              <a:gd name="connsiteX34362" fmla="*/ 492721 w 10505529"/>
              <a:gd name="connsiteY34362" fmla="*/ 1759266 h 7458372"/>
              <a:gd name="connsiteX34363" fmla="*/ 494984 w 10505529"/>
              <a:gd name="connsiteY34363" fmla="*/ 1770725 h 7458372"/>
              <a:gd name="connsiteX34364" fmla="*/ 492721 w 10505529"/>
              <a:gd name="connsiteY34364" fmla="*/ 1782434 h 7458372"/>
              <a:gd name="connsiteX34365" fmla="*/ 486598 w 10505529"/>
              <a:gd name="connsiteY34365" fmla="*/ 1791754 h 7458372"/>
              <a:gd name="connsiteX34366" fmla="*/ 477280 w 10505529"/>
              <a:gd name="connsiteY34366" fmla="*/ 1798008 h 7458372"/>
              <a:gd name="connsiteX34367" fmla="*/ 465565 w 10505529"/>
              <a:gd name="connsiteY34367" fmla="*/ 1800269 h 7458372"/>
              <a:gd name="connsiteX34368" fmla="*/ 443733 w 10505529"/>
              <a:gd name="connsiteY34368" fmla="*/ 1791754 h 7458372"/>
              <a:gd name="connsiteX34369" fmla="*/ 435347 w 10505529"/>
              <a:gd name="connsiteY34369" fmla="*/ 1770584 h 7458372"/>
              <a:gd name="connsiteX34370" fmla="*/ 443733 w 10505529"/>
              <a:gd name="connsiteY34370" fmla="*/ 1749560 h 7458372"/>
              <a:gd name="connsiteX34371" fmla="*/ 465565 w 10505529"/>
              <a:gd name="connsiteY34371" fmla="*/ 1740905 h 7458372"/>
              <a:gd name="connsiteX34372" fmla="*/ 247921 w 10505529"/>
              <a:gd name="connsiteY34372" fmla="*/ 1740905 h 7458372"/>
              <a:gd name="connsiteX34373" fmla="*/ 259636 w 10505529"/>
              <a:gd name="connsiteY34373" fmla="*/ 1743568 h 7458372"/>
              <a:gd name="connsiteX34374" fmla="*/ 268954 w 10505529"/>
              <a:gd name="connsiteY34374" fmla="*/ 1749957 h 7458372"/>
              <a:gd name="connsiteX34375" fmla="*/ 275077 w 10505529"/>
              <a:gd name="connsiteY34375" fmla="*/ 1759266 h 7458372"/>
              <a:gd name="connsiteX34376" fmla="*/ 277340 w 10505529"/>
              <a:gd name="connsiteY34376" fmla="*/ 1770725 h 7458372"/>
              <a:gd name="connsiteX34377" fmla="*/ 275077 w 10505529"/>
              <a:gd name="connsiteY34377" fmla="*/ 1782434 h 7458372"/>
              <a:gd name="connsiteX34378" fmla="*/ 268954 w 10505529"/>
              <a:gd name="connsiteY34378" fmla="*/ 1791754 h 7458372"/>
              <a:gd name="connsiteX34379" fmla="*/ 259636 w 10505529"/>
              <a:gd name="connsiteY34379" fmla="*/ 1798008 h 7458372"/>
              <a:gd name="connsiteX34380" fmla="*/ 247921 w 10505529"/>
              <a:gd name="connsiteY34380" fmla="*/ 1800269 h 7458372"/>
              <a:gd name="connsiteX34381" fmla="*/ 226090 w 10505529"/>
              <a:gd name="connsiteY34381" fmla="*/ 1791754 h 7458372"/>
              <a:gd name="connsiteX34382" fmla="*/ 217704 w 10505529"/>
              <a:gd name="connsiteY34382" fmla="*/ 1770584 h 7458372"/>
              <a:gd name="connsiteX34383" fmla="*/ 226090 w 10505529"/>
              <a:gd name="connsiteY34383" fmla="*/ 1749560 h 7458372"/>
              <a:gd name="connsiteX34384" fmla="*/ 247921 w 10505529"/>
              <a:gd name="connsiteY34384" fmla="*/ 1740905 h 7458372"/>
              <a:gd name="connsiteX34385" fmla="*/ 30277 w 10505529"/>
              <a:gd name="connsiteY34385" fmla="*/ 1740905 h 7458372"/>
              <a:gd name="connsiteX34386" fmla="*/ 41993 w 10505529"/>
              <a:gd name="connsiteY34386" fmla="*/ 1743568 h 7458372"/>
              <a:gd name="connsiteX34387" fmla="*/ 51311 w 10505529"/>
              <a:gd name="connsiteY34387" fmla="*/ 1749957 h 7458372"/>
              <a:gd name="connsiteX34388" fmla="*/ 57434 w 10505529"/>
              <a:gd name="connsiteY34388" fmla="*/ 1759266 h 7458372"/>
              <a:gd name="connsiteX34389" fmla="*/ 59697 w 10505529"/>
              <a:gd name="connsiteY34389" fmla="*/ 1770725 h 7458372"/>
              <a:gd name="connsiteX34390" fmla="*/ 57434 w 10505529"/>
              <a:gd name="connsiteY34390" fmla="*/ 1782434 h 7458372"/>
              <a:gd name="connsiteX34391" fmla="*/ 51311 w 10505529"/>
              <a:gd name="connsiteY34391" fmla="*/ 1791754 h 7458372"/>
              <a:gd name="connsiteX34392" fmla="*/ 41993 w 10505529"/>
              <a:gd name="connsiteY34392" fmla="*/ 1798008 h 7458372"/>
              <a:gd name="connsiteX34393" fmla="*/ 30277 w 10505529"/>
              <a:gd name="connsiteY34393" fmla="*/ 1800269 h 7458372"/>
              <a:gd name="connsiteX34394" fmla="*/ 8447 w 10505529"/>
              <a:gd name="connsiteY34394" fmla="*/ 1791754 h 7458372"/>
              <a:gd name="connsiteX34395" fmla="*/ 61 w 10505529"/>
              <a:gd name="connsiteY34395" fmla="*/ 1770584 h 7458372"/>
              <a:gd name="connsiteX34396" fmla="*/ 8447 w 10505529"/>
              <a:gd name="connsiteY34396" fmla="*/ 1749560 h 7458372"/>
              <a:gd name="connsiteX34397" fmla="*/ 30277 w 10505529"/>
              <a:gd name="connsiteY34397" fmla="*/ 1740905 h 7458372"/>
              <a:gd name="connsiteX34398" fmla="*/ 10475977 w 10505529"/>
              <a:gd name="connsiteY34398" fmla="*/ 1540033 h 7458372"/>
              <a:gd name="connsiteX34399" fmla="*/ 10465992 w 10505529"/>
              <a:gd name="connsiteY34399" fmla="*/ 1543620 h 7458372"/>
              <a:gd name="connsiteX34400" fmla="*/ 10462399 w 10505529"/>
              <a:gd name="connsiteY34400" fmla="*/ 1553078 h 7458372"/>
              <a:gd name="connsiteX34401" fmla="*/ 10465992 w 10505529"/>
              <a:gd name="connsiteY34401" fmla="*/ 1562528 h 7458372"/>
              <a:gd name="connsiteX34402" fmla="*/ 10475977 w 10505529"/>
              <a:gd name="connsiteY34402" fmla="*/ 1565990 h 7458372"/>
              <a:gd name="connsiteX34403" fmla="*/ 10481302 w 10505529"/>
              <a:gd name="connsiteY34403" fmla="*/ 1564919 h 7458372"/>
              <a:gd name="connsiteX34404" fmla="*/ 10485029 w 10505529"/>
              <a:gd name="connsiteY34404" fmla="*/ 1562528 h 7458372"/>
              <a:gd name="connsiteX34405" fmla="*/ 10487691 w 10505529"/>
              <a:gd name="connsiteY34405" fmla="*/ 1558402 h 7458372"/>
              <a:gd name="connsiteX34406" fmla="*/ 10488623 w 10505529"/>
              <a:gd name="connsiteY34406" fmla="*/ 1552940 h 7458372"/>
              <a:gd name="connsiteX34407" fmla="*/ 10487691 w 10505529"/>
              <a:gd name="connsiteY34407" fmla="*/ 1547746 h 7458372"/>
              <a:gd name="connsiteX34408" fmla="*/ 10485029 w 10505529"/>
              <a:gd name="connsiteY34408" fmla="*/ 1543620 h 7458372"/>
              <a:gd name="connsiteX34409" fmla="*/ 10481035 w 10505529"/>
              <a:gd name="connsiteY34409" fmla="*/ 1540957 h 7458372"/>
              <a:gd name="connsiteX34410" fmla="*/ 10475977 w 10505529"/>
              <a:gd name="connsiteY34410" fmla="*/ 1540033 h 7458372"/>
              <a:gd name="connsiteX34411" fmla="*/ 10258466 w 10505529"/>
              <a:gd name="connsiteY34411" fmla="*/ 1540033 h 7458372"/>
              <a:gd name="connsiteX34412" fmla="*/ 10248481 w 10505529"/>
              <a:gd name="connsiteY34412" fmla="*/ 1543620 h 7458372"/>
              <a:gd name="connsiteX34413" fmla="*/ 10244887 w 10505529"/>
              <a:gd name="connsiteY34413" fmla="*/ 1553078 h 7458372"/>
              <a:gd name="connsiteX34414" fmla="*/ 10248481 w 10505529"/>
              <a:gd name="connsiteY34414" fmla="*/ 1562528 h 7458372"/>
              <a:gd name="connsiteX34415" fmla="*/ 10258466 w 10505529"/>
              <a:gd name="connsiteY34415" fmla="*/ 1565990 h 7458372"/>
              <a:gd name="connsiteX34416" fmla="*/ 10263790 w 10505529"/>
              <a:gd name="connsiteY34416" fmla="*/ 1564919 h 7458372"/>
              <a:gd name="connsiteX34417" fmla="*/ 10267517 w 10505529"/>
              <a:gd name="connsiteY34417" fmla="*/ 1562528 h 7458372"/>
              <a:gd name="connsiteX34418" fmla="*/ 10270180 w 10505529"/>
              <a:gd name="connsiteY34418" fmla="*/ 1558402 h 7458372"/>
              <a:gd name="connsiteX34419" fmla="*/ 10271112 w 10505529"/>
              <a:gd name="connsiteY34419" fmla="*/ 1552940 h 7458372"/>
              <a:gd name="connsiteX34420" fmla="*/ 10270180 w 10505529"/>
              <a:gd name="connsiteY34420" fmla="*/ 1547746 h 7458372"/>
              <a:gd name="connsiteX34421" fmla="*/ 10267517 w 10505529"/>
              <a:gd name="connsiteY34421" fmla="*/ 1543620 h 7458372"/>
              <a:gd name="connsiteX34422" fmla="*/ 10263524 w 10505529"/>
              <a:gd name="connsiteY34422" fmla="*/ 1540957 h 7458372"/>
              <a:gd name="connsiteX34423" fmla="*/ 10258466 w 10505529"/>
              <a:gd name="connsiteY34423" fmla="*/ 1540033 h 7458372"/>
              <a:gd name="connsiteX34424" fmla="*/ 10040820 w 10505529"/>
              <a:gd name="connsiteY34424" fmla="*/ 1540033 h 7458372"/>
              <a:gd name="connsiteX34425" fmla="*/ 10030835 w 10505529"/>
              <a:gd name="connsiteY34425" fmla="*/ 1543620 h 7458372"/>
              <a:gd name="connsiteX34426" fmla="*/ 10027242 w 10505529"/>
              <a:gd name="connsiteY34426" fmla="*/ 1553078 h 7458372"/>
              <a:gd name="connsiteX34427" fmla="*/ 10030835 w 10505529"/>
              <a:gd name="connsiteY34427" fmla="*/ 1562528 h 7458372"/>
              <a:gd name="connsiteX34428" fmla="*/ 10040820 w 10505529"/>
              <a:gd name="connsiteY34428" fmla="*/ 1565990 h 7458372"/>
              <a:gd name="connsiteX34429" fmla="*/ 10046145 w 10505529"/>
              <a:gd name="connsiteY34429" fmla="*/ 1564919 h 7458372"/>
              <a:gd name="connsiteX34430" fmla="*/ 10049872 w 10505529"/>
              <a:gd name="connsiteY34430" fmla="*/ 1562528 h 7458372"/>
              <a:gd name="connsiteX34431" fmla="*/ 10052534 w 10505529"/>
              <a:gd name="connsiteY34431" fmla="*/ 1558402 h 7458372"/>
              <a:gd name="connsiteX34432" fmla="*/ 10053599 w 10505529"/>
              <a:gd name="connsiteY34432" fmla="*/ 1552940 h 7458372"/>
              <a:gd name="connsiteX34433" fmla="*/ 10052534 w 10505529"/>
              <a:gd name="connsiteY34433" fmla="*/ 1547746 h 7458372"/>
              <a:gd name="connsiteX34434" fmla="*/ 10049872 w 10505529"/>
              <a:gd name="connsiteY34434" fmla="*/ 1543620 h 7458372"/>
              <a:gd name="connsiteX34435" fmla="*/ 10045878 w 10505529"/>
              <a:gd name="connsiteY34435" fmla="*/ 1540957 h 7458372"/>
              <a:gd name="connsiteX34436" fmla="*/ 10040820 w 10505529"/>
              <a:gd name="connsiteY34436" fmla="*/ 1540033 h 7458372"/>
              <a:gd name="connsiteX34437" fmla="*/ 9823176 w 10505529"/>
              <a:gd name="connsiteY34437" fmla="*/ 1540033 h 7458372"/>
              <a:gd name="connsiteX34438" fmla="*/ 9813191 w 10505529"/>
              <a:gd name="connsiteY34438" fmla="*/ 1543620 h 7458372"/>
              <a:gd name="connsiteX34439" fmla="*/ 9809597 w 10505529"/>
              <a:gd name="connsiteY34439" fmla="*/ 1553078 h 7458372"/>
              <a:gd name="connsiteX34440" fmla="*/ 9813191 w 10505529"/>
              <a:gd name="connsiteY34440" fmla="*/ 1562528 h 7458372"/>
              <a:gd name="connsiteX34441" fmla="*/ 9823176 w 10505529"/>
              <a:gd name="connsiteY34441" fmla="*/ 1565990 h 7458372"/>
              <a:gd name="connsiteX34442" fmla="*/ 9828501 w 10505529"/>
              <a:gd name="connsiteY34442" fmla="*/ 1564919 h 7458372"/>
              <a:gd name="connsiteX34443" fmla="*/ 9832227 w 10505529"/>
              <a:gd name="connsiteY34443" fmla="*/ 1562528 h 7458372"/>
              <a:gd name="connsiteX34444" fmla="*/ 9834890 w 10505529"/>
              <a:gd name="connsiteY34444" fmla="*/ 1558402 h 7458372"/>
              <a:gd name="connsiteX34445" fmla="*/ 9835955 w 10505529"/>
              <a:gd name="connsiteY34445" fmla="*/ 1552940 h 7458372"/>
              <a:gd name="connsiteX34446" fmla="*/ 9834890 w 10505529"/>
              <a:gd name="connsiteY34446" fmla="*/ 1547746 h 7458372"/>
              <a:gd name="connsiteX34447" fmla="*/ 9832227 w 10505529"/>
              <a:gd name="connsiteY34447" fmla="*/ 1543620 h 7458372"/>
              <a:gd name="connsiteX34448" fmla="*/ 9828234 w 10505529"/>
              <a:gd name="connsiteY34448" fmla="*/ 1540957 h 7458372"/>
              <a:gd name="connsiteX34449" fmla="*/ 9823176 w 10505529"/>
              <a:gd name="connsiteY34449" fmla="*/ 1540033 h 7458372"/>
              <a:gd name="connsiteX34450" fmla="*/ 9605531 w 10505529"/>
              <a:gd name="connsiteY34450" fmla="*/ 1540033 h 7458372"/>
              <a:gd name="connsiteX34451" fmla="*/ 9595546 w 10505529"/>
              <a:gd name="connsiteY34451" fmla="*/ 1543620 h 7458372"/>
              <a:gd name="connsiteX34452" fmla="*/ 9591952 w 10505529"/>
              <a:gd name="connsiteY34452" fmla="*/ 1553078 h 7458372"/>
              <a:gd name="connsiteX34453" fmla="*/ 9595546 w 10505529"/>
              <a:gd name="connsiteY34453" fmla="*/ 1562528 h 7458372"/>
              <a:gd name="connsiteX34454" fmla="*/ 9605531 w 10505529"/>
              <a:gd name="connsiteY34454" fmla="*/ 1565990 h 7458372"/>
              <a:gd name="connsiteX34455" fmla="*/ 9610855 w 10505529"/>
              <a:gd name="connsiteY34455" fmla="*/ 1564919 h 7458372"/>
              <a:gd name="connsiteX34456" fmla="*/ 9614582 w 10505529"/>
              <a:gd name="connsiteY34456" fmla="*/ 1562528 h 7458372"/>
              <a:gd name="connsiteX34457" fmla="*/ 9617245 w 10505529"/>
              <a:gd name="connsiteY34457" fmla="*/ 1558402 h 7458372"/>
              <a:gd name="connsiteX34458" fmla="*/ 9618309 w 10505529"/>
              <a:gd name="connsiteY34458" fmla="*/ 1552940 h 7458372"/>
              <a:gd name="connsiteX34459" fmla="*/ 9617245 w 10505529"/>
              <a:gd name="connsiteY34459" fmla="*/ 1547746 h 7458372"/>
              <a:gd name="connsiteX34460" fmla="*/ 9614582 w 10505529"/>
              <a:gd name="connsiteY34460" fmla="*/ 1543620 h 7458372"/>
              <a:gd name="connsiteX34461" fmla="*/ 9610589 w 10505529"/>
              <a:gd name="connsiteY34461" fmla="*/ 1540957 h 7458372"/>
              <a:gd name="connsiteX34462" fmla="*/ 9605531 w 10505529"/>
              <a:gd name="connsiteY34462" fmla="*/ 1540033 h 7458372"/>
              <a:gd name="connsiteX34463" fmla="*/ 9387885 w 10505529"/>
              <a:gd name="connsiteY34463" fmla="*/ 1540033 h 7458372"/>
              <a:gd name="connsiteX34464" fmla="*/ 9377900 w 10505529"/>
              <a:gd name="connsiteY34464" fmla="*/ 1543620 h 7458372"/>
              <a:gd name="connsiteX34465" fmla="*/ 9374307 w 10505529"/>
              <a:gd name="connsiteY34465" fmla="*/ 1553078 h 7458372"/>
              <a:gd name="connsiteX34466" fmla="*/ 9377900 w 10505529"/>
              <a:gd name="connsiteY34466" fmla="*/ 1562528 h 7458372"/>
              <a:gd name="connsiteX34467" fmla="*/ 9387885 w 10505529"/>
              <a:gd name="connsiteY34467" fmla="*/ 1565990 h 7458372"/>
              <a:gd name="connsiteX34468" fmla="*/ 9393210 w 10505529"/>
              <a:gd name="connsiteY34468" fmla="*/ 1564919 h 7458372"/>
              <a:gd name="connsiteX34469" fmla="*/ 9396937 w 10505529"/>
              <a:gd name="connsiteY34469" fmla="*/ 1562528 h 7458372"/>
              <a:gd name="connsiteX34470" fmla="*/ 9399599 w 10505529"/>
              <a:gd name="connsiteY34470" fmla="*/ 1558402 h 7458372"/>
              <a:gd name="connsiteX34471" fmla="*/ 9400664 w 10505529"/>
              <a:gd name="connsiteY34471" fmla="*/ 1552940 h 7458372"/>
              <a:gd name="connsiteX34472" fmla="*/ 9399599 w 10505529"/>
              <a:gd name="connsiteY34472" fmla="*/ 1547746 h 7458372"/>
              <a:gd name="connsiteX34473" fmla="*/ 9396937 w 10505529"/>
              <a:gd name="connsiteY34473" fmla="*/ 1543620 h 7458372"/>
              <a:gd name="connsiteX34474" fmla="*/ 9392943 w 10505529"/>
              <a:gd name="connsiteY34474" fmla="*/ 1540957 h 7458372"/>
              <a:gd name="connsiteX34475" fmla="*/ 9387885 w 10505529"/>
              <a:gd name="connsiteY34475" fmla="*/ 1540033 h 7458372"/>
              <a:gd name="connsiteX34476" fmla="*/ 9170374 w 10505529"/>
              <a:gd name="connsiteY34476" fmla="*/ 1540033 h 7458372"/>
              <a:gd name="connsiteX34477" fmla="*/ 9160389 w 10505529"/>
              <a:gd name="connsiteY34477" fmla="*/ 1543620 h 7458372"/>
              <a:gd name="connsiteX34478" fmla="*/ 9156795 w 10505529"/>
              <a:gd name="connsiteY34478" fmla="*/ 1553078 h 7458372"/>
              <a:gd name="connsiteX34479" fmla="*/ 9160389 w 10505529"/>
              <a:gd name="connsiteY34479" fmla="*/ 1562528 h 7458372"/>
              <a:gd name="connsiteX34480" fmla="*/ 9170374 w 10505529"/>
              <a:gd name="connsiteY34480" fmla="*/ 1565990 h 7458372"/>
              <a:gd name="connsiteX34481" fmla="*/ 9175698 w 10505529"/>
              <a:gd name="connsiteY34481" fmla="*/ 1564919 h 7458372"/>
              <a:gd name="connsiteX34482" fmla="*/ 9179425 w 10505529"/>
              <a:gd name="connsiteY34482" fmla="*/ 1562528 h 7458372"/>
              <a:gd name="connsiteX34483" fmla="*/ 9182088 w 10505529"/>
              <a:gd name="connsiteY34483" fmla="*/ 1558402 h 7458372"/>
              <a:gd name="connsiteX34484" fmla="*/ 9183152 w 10505529"/>
              <a:gd name="connsiteY34484" fmla="*/ 1552940 h 7458372"/>
              <a:gd name="connsiteX34485" fmla="*/ 9182088 w 10505529"/>
              <a:gd name="connsiteY34485" fmla="*/ 1547746 h 7458372"/>
              <a:gd name="connsiteX34486" fmla="*/ 9179425 w 10505529"/>
              <a:gd name="connsiteY34486" fmla="*/ 1543620 h 7458372"/>
              <a:gd name="connsiteX34487" fmla="*/ 9175432 w 10505529"/>
              <a:gd name="connsiteY34487" fmla="*/ 1540957 h 7458372"/>
              <a:gd name="connsiteX34488" fmla="*/ 9170374 w 10505529"/>
              <a:gd name="connsiteY34488" fmla="*/ 1540033 h 7458372"/>
              <a:gd name="connsiteX34489" fmla="*/ 8952728 w 10505529"/>
              <a:gd name="connsiteY34489" fmla="*/ 1540033 h 7458372"/>
              <a:gd name="connsiteX34490" fmla="*/ 8942743 w 10505529"/>
              <a:gd name="connsiteY34490" fmla="*/ 1543620 h 7458372"/>
              <a:gd name="connsiteX34491" fmla="*/ 8939150 w 10505529"/>
              <a:gd name="connsiteY34491" fmla="*/ 1553078 h 7458372"/>
              <a:gd name="connsiteX34492" fmla="*/ 8942743 w 10505529"/>
              <a:gd name="connsiteY34492" fmla="*/ 1562528 h 7458372"/>
              <a:gd name="connsiteX34493" fmla="*/ 8952728 w 10505529"/>
              <a:gd name="connsiteY34493" fmla="*/ 1565990 h 7458372"/>
              <a:gd name="connsiteX34494" fmla="*/ 8958053 w 10505529"/>
              <a:gd name="connsiteY34494" fmla="*/ 1564919 h 7458372"/>
              <a:gd name="connsiteX34495" fmla="*/ 8961780 w 10505529"/>
              <a:gd name="connsiteY34495" fmla="*/ 1562528 h 7458372"/>
              <a:gd name="connsiteX34496" fmla="*/ 8964442 w 10505529"/>
              <a:gd name="connsiteY34496" fmla="*/ 1558402 h 7458372"/>
              <a:gd name="connsiteX34497" fmla="*/ 8965507 w 10505529"/>
              <a:gd name="connsiteY34497" fmla="*/ 1552940 h 7458372"/>
              <a:gd name="connsiteX34498" fmla="*/ 8964442 w 10505529"/>
              <a:gd name="connsiteY34498" fmla="*/ 1547746 h 7458372"/>
              <a:gd name="connsiteX34499" fmla="*/ 8961780 w 10505529"/>
              <a:gd name="connsiteY34499" fmla="*/ 1543620 h 7458372"/>
              <a:gd name="connsiteX34500" fmla="*/ 8957786 w 10505529"/>
              <a:gd name="connsiteY34500" fmla="*/ 1540957 h 7458372"/>
              <a:gd name="connsiteX34501" fmla="*/ 8952728 w 10505529"/>
              <a:gd name="connsiteY34501" fmla="*/ 1540033 h 7458372"/>
              <a:gd name="connsiteX34502" fmla="*/ 8735083 w 10505529"/>
              <a:gd name="connsiteY34502" fmla="*/ 1540033 h 7458372"/>
              <a:gd name="connsiteX34503" fmla="*/ 8725098 w 10505529"/>
              <a:gd name="connsiteY34503" fmla="*/ 1543620 h 7458372"/>
              <a:gd name="connsiteX34504" fmla="*/ 8721504 w 10505529"/>
              <a:gd name="connsiteY34504" fmla="*/ 1553078 h 7458372"/>
              <a:gd name="connsiteX34505" fmla="*/ 8725098 w 10505529"/>
              <a:gd name="connsiteY34505" fmla="*/ 1562528 h 7458372"/>
              <a:gd name="connsiteX34506" fmla="*/ 8735083 w 10505529"/>
              <a:gd name="connsiteY34506" fmla="*/ 1565990 h 7458372"/>
              <a:gd name="connsiteX34507" fmla="*/ 8740407 w 10505529"/>
              <a:gd name="connsiteY34507" fmla="*/ 1564919 h 7458372"/>
              <a:gd name="connsiteX34508" fmla="*/ 8744134 w 10505529"/>
              <a:gd name="connsiteY34508" fmla="*/ 1562528 h 7458372"/>
              <a:gd name="connsiteX34509" fmla="*/ 8746797 w 10505529"/>
              <a:gd name="connsiteY34509" fmla="*/ 1558402 h 7458372"/>
              <a:gd name="connsiteX34510" fmla="*/ 8747862 w 10505529"/>
              <a:gd name="connsiteY34510" fmla="*/ 1552940 h 7458372"/>
              <a:gd name="connsiteX34511" fmla="*/ 8746797 w 10505529"/>
              <a:gd name="connsiteY34511" fmla="*/ 1547746 h 7458372"/>
              <a:gd name="connsiteX34512" fmla="*/ 8744134 w 10505529"/>
              <a:gd name="connsiteY34512" fmla="*/ 1543620 h 7458372"/>
              <a:gd name="connsiteX34513" fmla="*/ 8740141 w 10505529"/>
              <a:gd name="connsiteY34513" fmla="*/ 1540957 h 7458372"/>
              <a:gd name="connsiteX34514" fmla="*/ 8735083 w 10505529"/>
              <a:gd name="connsiteY34514" fmla="*/ 1540033 h 7458372"/>
              <a:gd name="connsiteX34515" fmla="*/ 8517438 w 10505529"/>
              <a:gd name="connsiteY34515" fmla="*/ 1540033 h 7458372"/>
              <a:gd name="connsiteX34516" fmla="*/ 8507453 w 10505529"/>
              <a:gd name="connsiteY34516" fmla="*/ 1543620 h 7458372"/>
              <a:gd name="connsiteX34517" fmla="*/ 8503860 w 10505529"/>
              <a:gd name="connsiteY34517" fmla="*/ 1553078 h 7458372"/>
              <a:gd name="connsiteX34518" fmla="*/ 8507453 w 10505529"/>
              <a:gd name="connsiteY34518" fmla="*/ 1562528 h 7458372"/>
              <a:gd name="connsiteX34519" fmla="*/ 8517438 w 10505529"/>
              <a:gd name="connsiteY34519" fmla="*/ 1565990 h 7458372"/>
              <a:gd name="connsiteX34520" fmla="*/ 8522763 w 10505529"/>
              <a:gd name="connsiteY34520" fmla="*/ 1564919 h 7458372"/>
              <a:gd name="connsiteX34521" fmla="*/ 8526490 w 10505529"/>
              <a:gd name="connsiteY34521" fmla="*/ 1562528 h 7458372"/>
              <a:gd name="connsiteX34522" fmla="*/ 8529152 w 10505529"/>
              <a:gd name="connsiteY34522" fmla="*/ 1558402 h 7458372"/>
              <a:gd name="connsiteX34523" fmla="*/ 8530084 w 10505529"/>
              <a:gd name="connsiteY34523" fmla="*/ 1552940 h 7458372"/>
              <a:gd name="connsiteX34524" fmla="*/ 8529152 w 10505529"/>
              <a:gd name="connsiteY34524" fmla="*/ 1547746 h 7458372"/>
              <a:gd name="connsiteX34525" fmla="*/ 8526490 w 10505529"/>
              <a:gd name="connsiteY34525" fmla="*/ 1543620 h 7458372"/>
              <a:gd name="connsiteX34526" fmla="*/ 8522496 w 10505529"/>
              <a:gd name="connsiteY34526" fmla="*/ 1540957 h 7458372"/>
              <a:gd name="connsiteX34527" fmla="*/ 8517438 w 10505529"/>
              <a:gd name="connsiteY34527" fmla="*/ 1540033 h 7458372"/>
              <a:gd name="connsiteX34528" fmla="*/ 8299793 w 10505529"/>
              <a:gd name="connsiteY34528" fmla="*/ 1540033 h 7458372"/>
              <a:gd name="connsiteX34529" fmla="*/ 8289809 w 10505529"/>
              <a:gd name="connsiteY34529" fmla="*/ 1543620 h 7458372"/>
              <a:gd name="connsiteX34530" fmla="*/ 8286215 w 10505529"/>
              <a:gd name="connsiteY34530" fmla="*/ 1553078 h 7458372"/>
              <a:gd name="connsiteX34531" fmla="*/ 8289809 w 10505529"/>
              <a:gd name="connsiteY34531" fmla="*/ 1562528 h 7458372"/>
              <a:gd name="connsiteX34532" fmla="*/ 8299793 w 10505529"/>
              <a:gd name="connsiteY34532" fmla="*/ 1565990 h 7458372"/>
              <a:gd name="connsiteX34533" fmla="*/ 8305118 w 10505529"/>
              <a:gd name="connsiteY34533" fmla="*/ 1564919 h 7458372"/>
              <a:gd name="connsiteX34534" fmla="*/ 8308844 w 10505529"/>
              <a:gd name="connsiteY34534" fmla="*/ 1562528 h 7458372"/>
              <a:gd name="connsiteX34535" fmla="*/ 8311507 w 10505529"/>
              <a:gd name="connsiteY34535" fmla="*/ 1558402 h 7458372"/>
              <a:gd name="connsiteX34536" fmla="*/ 8312439 w 10505529"/>
              <a:gd name="connsiteY34536" fmla="*/ 1552940 h 7458372"/>
              <a:gd name="connsiteX34537" fmla="*/ 8311507 w 10505529"/>
              <a:gd name="connsiteY34537" fmla="*/ 1547746 h 7458372"/>
              <a:gd name="connsiteX34538" fmla="*/ 8308844 w 10505529"/>
              <a:gd name="connsiteY34538" fmla="*/ 1543620 h 7458372"/>
              <a:gd name="connsiteX34539" fmla="*/ 8304851 w 10505529"/>
              <a:gd name="connsiteY34539" fmla="*/ 1540957 h 7458372"/>
              <a:gd name="connsiteX34540" fmla="*/ 8299793 w 10505529"/>
              <a:gd name="connsiteY34540" fmla="*/ 1540033 h 7458372"/>
              <a:gd name="connsiteX34541" fmla="*/ 8082281 w 10505529"/>
              <a:gd name="connsiteY34541" fmla="*/ 1540033 h 7458372"/>
              <a:gd name="connsiteX34542" fmla="*/ 8072297 w 10505529"/>
              <a:gd name="connsiteY34542" fmla="*/ 1543620 h 7458372"/>
              <a:gd name="connsiteX34543" fmla="*/ 8068703 w 10505529"/>
              <a:gd name="connsiteY34543" fmla="*/ 1553078 h 7458372"/>
              <a:gd name="connsiteX34544" fmla="*/ 8072297 w 10505529"/>
              <a:gd name="connsiteY34544" fmla="*/ 1562528 h 7458372"/>
              <a:gd name="connsiteX34545" fmla="*/ 8082281 w 10505529"/>
              <a:gd name="connsiteY34545" fmla="*/ 1565990 h 7458372"/>
              <a:gd name="connsiteX34546" fmla="*/ 8087605 w 10505529"/>
              <a:gd name="connsiteY34546" fmla="*/ 1564919 h 7458372"/>
              <a:gd name="connsiteX34547" fmla="*/ 8091332 w 10505529"/>
              <a:gd name="connsiteY34547" fmla="*/ 1562528 h 7458372"/>
              <a:gd name="connsiteX34548" fmla="*/ 8093994 w 10505529"/>
              <a:gd name="connsiteY34548" fmla="*/ 1558402 h 7458372"/>
              <a:gd name="connsiteX34549" fmla="*/ 8094926 w 10505529"/>
              <a:gd name="connsiteY34549" fmla="*/ 1552940 h 7458372"/>
              <a:gd name="connsiteX34550" fmla="*/ 8093994 w 10505529"/>
              <a:gd name="connsiteY34550" fmla="*/ 1547746 h 7458372"/>
              <a:gd name="connsiteX34551" fmla="*/ 8091332 w 10505529"/>
              <a:gd name="connsiteY34551" fmla="*/ 1543620 h 7458372"/>
              <a:gd name="connsiteX34552" fmla="*/ 8087338 w 10505529"/>
              <a:gd name="connsiteY34552" fmla="*/ 1540957 h 7458372"/>
              <a:gd name="connsiteX34553" fmla="*/ 8082281 w 10505529"/>
              <a:gd name="connsiteY34553" fmla="*/ 1540033 h 7458372"/>
              <a:gd name="connsiteX34554" fmla="*/ 7864636 w 10505529"/>
              <a:gd name="connsiteY34554" fmla="*/ 1540033 h 7458372"/>
              <a:gd name="connsiteX34555" fmla="*/ 7854652 w 10505529"/>
              <a:gd name="connsiteY34555" fmla="*/ 1543620 h 7458372"/>
              <a:gd name="connsiteX34556" fmla="*/ 7851058 w 10505529"/>
              <a:gd name="connsiteY34556" fmla="*/ 1553078 h 7458372"/>
              <a:gd name="connsiteX34557" fmla="*/ 7854652 w 10505529"/>
              <a:gd name="connsiteY34557" fmla="*/ 1562528 h 7458372"/>
              <a:gd name="connsiteX34558" fmla="*/ 7864636 w 10505529"/>
              <a:gd name="connsiteY34558" fmla="*/ 1565990 h 7458372"/>
              <a:gd name="connsiteX34559" fmla="*/ 7869961 w 10505529"/>
              <a:gd name="connsiteY34559" fmla="*/ 1564919 h 7458372"/>
              <a:gd name="connsiteX34560" fmla="*/ 7873687 w 10505529"/>
              <a:gd name="connsiteY34560" fmla="*/ 1562528 h 7458372"/>
              <a:gd name="connsiteX34561" fmla="*/ 7876350 w 10505529"/>
              <a:gd name="connsiteY34561" fmla="*/ 1558402 h 7458372"/>
              <a:gd name="connsiteX34562" fmla="*/ 7877282 w 10505529"/>
              <a:gd name="connsiteY34562" fmla="*/ 1552940 h 7458372"/>
              <a:gd name="connsiteX34563" fmla="*/ 7876350 w 10505529"/>
              <a:gd name="connsiteY34563" fmla="*/ 1547746 h 7458372"/>
              <a:gd name="connsiteX34564" fmla="*/ 7873687 w 10505529"/>
              <a:gd name="connsiteY34564" fmla="*/ 1543620 h 7458372"/>
              <a:gd name="connsiteX34565" fmla="*/ 7869694 w 10505529"/>
              <a:gd name="connsiteY34565" fmla="*/ 1540957 h 7458372"/>
              <a:gd name="connsiteX34566" fmla="*/ 7864636 w 10505529"/>
              <a:gd name="connsiteY34566" fmla="*/ 1540033 h 7458372"/>
              <a:gd name="connsiteX34567" fmla="*/ 7646991 w 10505529"/>
              <a:gd name="connsiteY34567" fmla="*/ 1540033 h 7458372"/>
              <a:gd name="connsiteX34568" fmla="*/ 7637007 w 10505529"/>
              <a:gd name="connsiteY34568" fmla="*/ 1543620 h 7458372"/>
              <a:gd name="connsiteX34569" fmla="*/ 7633413 w 10505529"/>
              <a:gd name="connsiteY34569" fmla="*/ 1553078 h 7458372"/>
              <a:gd name="connsiteX34570" fmla="*/ 7637007 w 10505529"/>
              <a:gd name="connsiteY34570" fmla="*/ 1562528 h 7458372"/>
              <a:gd name="connsiteX34571" fmla="*/ 7646991 w 10505529"/>
              <a:gd name="connsiteY34571" fmla="*/ 1565990 h 7458372"/>
              <a:gd name="connsiteX34572" fmla="*/ 7652315 w 10505529"/>
              <a:gd name="connsiteY34572" fmla="*/ 1564919 h 7458372"/>
              <a:gd name="connsiteX34573" fmla="*/ 7656042 w 10505529"/>
              <a:gd name="connsiteY34573" fmla="*/ 1562528 h 7458372"/>
              <a:gd name="connsiteX34574" fmla="*/ 7658705 w 10505529"/>
              <a:gd name="connsiteY34574" fmla="*/ 1558402 h 7458372"/>
              <a:gd name="connsiteX34575" fmla="*/ 7659769 w 10505529"/>
              <a:gd name="connsiteY34575" fmla="*/ 1552940 h 7458372"/>
              <a:gd name="connsiteX34576" fmla="*/ 7658705 w 10505529"/>
              <a:gd name="connsiteY34576" fmla="*/ 1547746 h 7458372"/>
              <a:gd name="connsiteX34577" fmla="*/ 7656042 w 10505529"/>
              <a:gd name="connsiteY34577" fmla="*/ 1543620 h 7458372"/>
              <a:gd name="connsiteX34578" fmla="*/ 7652049 w 10505529"/>
              <a:gd name="connsiteY34578" fmla="*/ 1540957 h 7458372"/>
              <a:gd name="connsiteX34579" fmla="*/ 7646991 w 10505529"/>
              <a:gd name="connsiteY34579" fmla="*/ 1540033 h 7458372"/>
              <a:gd name="connsiteX34580" fmla="*/ 7429345 w 10505529"/>
              <a:gd name="connsiteY34580" fmla="*/ 1540033 h 7458372"/>
              <a:gd name="connsiteX34581" fmla="*/ 7419361 w 10505529"/>
              <a:gd name="connsiteY34581" fmla="*/ 1543620 h 7458372"/>
              <a:gd name="connsiteX34582" fmla="*/ 7415768 w 10505529"/>
              <a:gd name="connsiteY34582" fmla="*/ 1553078 h 7458372"/>
              <a:gd name="connsiteX34583" fmla="*/ 7419361 w 10505529"/>
              <a:gd name="connsiteY34583" fmla="*/ 1562528 h 7458372"/>
              <a:gd name="connsiteX34584" fmla="*/ 7429345 w 10505529"/>
              <a:gd name="connsiteY34584" fmla="*/ 1565990 h 7458372"/>
              <a:gd name="connsiteX34585" fmla="*/ 7434670 w 10505529"/>
              <a:gd name="connsiteY34585" fmla="*/ 1564919 h 7458372"/>
              <a:gd name="connsiteX34586" fmla="*/ 7438397 w 10505529"/>
              <a:gd name="connsiteY34586" fmla="*/ 1562528 h 7458372"/>
              <a:gd name="connsiteX34587" fmla="*/ 7441059 w 10505529"/>
              <a:gd name="connsiteY34587" fmla="*/ 1558402 h 7458372"/>
              <a:gd name="connsiteX34588" fmla="*/ 7442124 w 10505529"/>
              <a:gd name="connsiteY34588" fmla="*/ 1552940 h 7458372"/>
              <a:gd name="connsiteX34589" fmla="*/ 7441059 w 10505529"/>
              <a:gd name="connsiteY34589" fmla="*/ 1547746 h 7458372"/>
              <a:gd name="connsiteX34590" fmla="*/ 7438397 w 10505529"/>
              <a:gd name="connsiteY34590" fmla="*/ 1543620 h 7458372"/>
              <a:gd name="connsiteX34591" fmla="*/ 7434403 w 10505529"/>
              <a:gd name="connsiteY34591" fmla="*/ 1540957 h 7458372"/>
              <a:gd name="connsiteX34592" fmla="*/ 7429345 w 10505529"/>
              <a:gd name="connsiteY34592" fmla="*/ 1540033 h 7458372"/>
              <a:gd name="connsiteX34593" fmla="*/ 7211701 w 10505529"/>
              <a:gd name="connsiteY34593" fmla="*/ 1540033 h 7458372"/>
              <a:gd name="connsiteX34594" fmla="*/ 7201717 w 10505529"/>
              <a:gd name="connsiteY34594" fmla="*/ 1543620 h 7458372"/>
              <a:gd name="connsiteX34595" fmla="*/ 7198123 w 10505529"/>
              <a:gd name="connsiteY34595" fmla="*/ 1553078 h 7458372"/>
              <a:gd name="connsiteX34596" fmla="*/ 7201717 w 10505529"/>
              <a:gd name="connsiteY34596" fmla="*/ 1562528 h 7458372"/>
              <a:gd name="connsiteX34597" fmla="*/ 7211701 w 10505529"/>
              <a:gd name="connsiteY34597" fmla="*/ 1565990 h 7458372"/>
              <a:gd name="connsiteX34598" fmla="*/ 7217026 w 10505529"/>
              <a:gd name="connsiteY34598" fmla="*/ 1564919 h 7458372"/>
              <a:gd name="connsiteX34599" fmla="*/ 7220752 w 10505529"/>
              <a:gd name="connsiteY34599" fmla="*/ 1562528 h 7458372"/>
              <a:gd name="connsiteX34600" fmla="*/ 7223415 w 10505529"/>
              <a:gd name="connsiteY34600" fmla="*/ 1558402 h 7458372"/>
              <a:gd name="connsiteX34601" fmla="*/ 7224480 w 10505529"/>
              <a:gd name="connsiteY34601" fmla="*/ 1552940 h 7458372"/>
              <a:gd name="connsiteX34602" fmla="*/ 7223415 w 10505529"/>
              <a:gd name="connsiteY34602" fmla="*/ 1547746 h 7458372"/>
              <a:gd name="connsiteX34603" fmla="*/ 7220752 w 10505529"/>
              <a:gd name="connsiteY34603" fmla="*/ 1543620 h 7458372"/>
              <a:gd name="connsiteX34604" fmla="*/ 7216759 w 10505529"/>
              <a:gd name="connsiteY34604" fmla="*/ 1540957 h 7458372"/>
              <a:gd name="connsiteX34605" fmla="*/ 7211701 w 10505529"/>
              <a:gd name="connsiteY34605" fmla="*/ 1540033 h 7458372"/>
              <a:gd name="connsiteX34606" fmla="*/ 6994056 w 10505529"/>
              <a:gd name="connsiteY34606" fmla="*/ 1540033 h 7458372"/>
              <a:gd name="connsiteX34607" fmla="*/ 6984072 w 10505529"/>
              <a:gd name="connsiteY34607" fmla="*/ 1543620 h 7458372"/>
              <a:gd name="connsiteX34608" fmla="*/ 6980478 w 10505529"/>
              <a:gd name="connsiteY34608" fmla="*/ 1553078 h 7458372"/>
              <a:gd name="connsiteX34609" fmla="*/ 6984072 w 10505529"/>
              <a:gd name="connsiteY34609" fmla="*/ 1562528 h 7458372"/>
              <a:gd name="connsiteX34610" fmla="*/ 6994056 w 10505529"/>
              <a:gd name="connsiteY34610" fmla="*/ 1565990 h 7458372"/>
              <a:gd name="connsiteX34611" fmla="*/ 6999380 w 10505529"/>
              <a:gd name="connsiteY34611" fmla="*/ 1564919 h 7458372"/>
              <a:gd name="connsiteX34612" fmla="*/ 7003107 w 10505529"/>
              <a:gd name="connsiteY34612" fmla="*/ 1562528 h 7458372"/>
              <a:gd name="connsiteX34613" fmla="*/ 7005769 w 10505529"/>
              <a:gd name="connsiteY34613" fmla="*/ 1558402 h 7458372"/>
              <a:gd name="connsiteX34614" fmla="*/ 7006834 w 10505529"/>
              <a:gd name="connsiteY34614" fmla="*/ 1552940 h 7458372"/>
              <a:gd name="connsiteX34615" fmla="*/ 7005769 w 10505529"/>
              <a:gd name="connsiteY34615" fmla="*/ 1547746 h 7458372"/>
              <a:gd name="connsiteX34616" fmla="*/ 7003107 w 10505529"/>
              <a:gd name="connsiteY34616" fmla="*/ 1543620 h 7458372"/>
              <a:gd name="connsiteX34617" fmla="*/ 6999113 w 10505529"/>
              <a:gd name="connsiteY34617" fmla="*/ 1540957 h 7458372"/>
              <a:gd name="connsiteX34618" fmla="*/ 6994056 w 10505529"/>
              <a:gd name="connsiteY34618" fmla="*/ 1540033 h 7458372"/>
              <a:gd name="connsiteX34619" fmla="*/ 6776544 w 10505529"/>
              <a:gd name="connsiteY34619" fmla="*/ 1540033 h 7458372"/>
              <a:gd name="connsiteX34620" fmla="*/ 6766560 w 10505529"/>
              <a:gd name="connsiteY34620" fmla="*/ 1543620 h 7458372"/>
              <a:gd name="connsiteX34621" fmla="*/ 6762966 w 10505529"/>
              <a:gd name="connsiteY34621" fmla="*/ 1553078 h 7458372"/>
              <a:gd name="connsiteX34622" fmla="*/ 6766560 w 10505529"/>
              <a:gd name="connsiteY34622" fmla="*/ 1562528 h 7458372"/>
              <a:gd name="connsiteX34623" fmla="*/ 6776544 w 10505529"/>
              <a:gd name="connsiteY34623" fmla="*/ 1565990 h 7458372"/>
              <a:gd name="connsiteX34624" fmla="*/ 6781869 w 10505529"/>
              <a:gd name="connsiteY34624" fmla="*/ 1564919 h 7458372"/>
              <a:gd name="connsiteX34625" fmla="*/ 6785595 w 10505529"/>
              <a:gd name="connsiteY34625" fmla="*/ 1562528 h 7458372"/>
              <a:gd name="connsiteX34626" fmla="*/ 6788258 w 10505529"/>
              <a:gd name="connsiteY34626" fmla="*/ 1558402 h 7458372"/>
              <a:gd name="connsiteX34627" fmla="*/ 6789323 w 10505529"/>
              <a:gd name="connsiteY34627" fmla="*/ 1552940 h 7458372"/>
              <a:gd name="connsiteX34628" fmla="*/ 6788258 w 10505529"/>
              <a:gd name="connsiteY34628" fmla="*/ 1547746 h 7458372"/>
              <a:gd name="connsiteX34629" fmla="*/ 6785595 w 10505529"/>
              <a:gd name="connsiteY34629" fmla="*/ 1543620 h 7458372"/>
              <a:gd name="connsiteX34630" fmla="*/ 6781602 w 10505529"/>
              <a:gd name="connsiteY34630" fmla="*/ 1540957 h 7458372"/>
              <a:gd name="connsiteX34631" fmla="*/ 6776544 w 10505529"/>
              <a:gd name="connsiteY34631" fmla="*/ 1540033 h 7458372"/>
              <a:gd name="connsiteX34632" fmla="*/ 6558899 w 10505529"/>
              <a:gd name="connsiteY34632" fmla="*/ 1540033 h 7458372"/>
              <a:gd name="connsiteX34633" fmla="*/ 6548915 w 10505529"/>
              <a:gd name="connsiteY34633" fmla="*/ 1543620 h 7458372"/>
              <a:gd name="connsiteX34634" fmla="*/ 6545321 w 10505529"/>
              <a:gd name="connsiteY34634" fmla="*/ 1553078 h 7458372"/>
              <a:gd name="connsiteX34635" fmla="*/ 6548915 w 10505529"/>
              <a:gd name="connsiteY34635" fmla="*/ 1562528 h 7458372"/>
              <a:gd name="connsiteX34636" fmla="*/ 6558899 w 10505529"/>
              <a:gd name="connsiteY34636" fmla="*/ 1565990 h 7458372"/>
              <a:gd name="connsiteX34637" fmla="*/ 6564223 w 10505529"/>
              <a:gd name="connsiteY34637" fmla="*/ 1564919 h 7458372"/>
              <a:gd name="connsiteX34638" fmla="*/ 6567950 w 10505529"/>
              <a:gd name="connsiteY34638" fmla="*/ 1562528 h 7458372"/>
              <a:gd name="connsiteX34639" fmla="*/ 6570612 w 10505529"/>
              <a:gd name="connsiteY34639" fmla="*/ 1558402 h 7458372"/>
              <a:gd name="connsiteX34640" fmla="*/ 6571677 w 10505529"/>
              <a:gd name="connsiteY34640" fmla="*/ 1552940 h 7458372"/>
              <a:gd name="connsiteX34641" fmla="*/ 6570612 w 10505529"/>
              <a:gd name="connsiteY34641" fmla="*/ 1547746 h 7458372"/>
              <a:gd name="connsiteX34642" fmla="*/ 6567950 w 10505529"/>
              <a:gd name="connsiteY34642" fmla="*/ 1543620 h 7458372"/>
              <a:gd name="connsiteX34643" fmla="*/ 6563956 w 10505529"/>
              <a:gd name="connsiteY34643" fmla="*/ 1540957 h 7458372"/>
              <a:gd name="connsiteX34644" fmla="*/ 6558899 w 10505529"/>
              <a:gd name="connsiteY34644" fmla="*/ 1540033 h 7458372"/>
              <a:gd name="connsiteX34645" fmla="*/ 6341253 w 10505529"/>
              <a:gd name="connsiteY34645" fmla="*/ 1540033 h 7458372"/>
              <a:gd name="connsiteX34646" fmla="*/ 6331270 w 10505529"/>
              <a:gd name="connsiteY34646" fmla="*/ 1543620 h 7458372"/>
              <a:gd name="connsiteX34647" fmla="*/ 6327675 w 10505529"/>
              <a:gd name="connsiteY34647" fmla="*/ 1553078 h 7458372"/>
              <a:gd name="connsiteX34648" fmla="*/ 6331270 w 10505529"/>
              <a:gd name="connsiteY34648" fmla="*/ 1562528 h 7458372"/>
              <a:gd name="connsiteX34649" fmla="*/ 6341253 w 10505529"/>
              <a:gd name="connsiteY34649" fmla="*/ 1565990 h 7458372"/>
              <a:gd name="connsiteX34650" fmla="*/ 6346578 w 10505529"/>
              <a:gd name="connsiteY34650" fmla="*/ 1564919 h 7458372"/>
              <a:gd name="connsiteX34651" fmla="*/ 6350305 w 10505529"/>
              <a:gd name="connsiteY34651" fmla="*/ 1562528 h 7458372"/>
              <a:gd name="connsiteX34652" fmla="*/ 6352968 w 10505529"/>
              <a:gd name="connsiteY34652" fmla="*/ 1558402 h 7458372"/>
              <a:gd name="connsiteX34653" fmla="*/ 6354033 w 10505529"/>
              <a:gd name="connsiteY34653" fmla="*/ 1552940 h 7458372"/>
              <a:gd name="connsiteX34654" fmla="*/ 6352968 w 10505529"/>
              <a:gd name="connsiteY34654" fmla="*/ 1547746 h 7458372"/>
              <a:gd name="connsiteX34655" fmla="*/ 6350305 w 10505529"/>
              <a:gd name="connsiteY34655" fmla="*/ 1543620 h 7458372"/>
              <a:gd name="connsiteX34656" fmla="*/ 6346312 w 10505529"/>
              <a:gd name="connsiteY34656" fmla="*/ 1540957 h 7458372"/>
              <a:gd name="connsiteX34657" fmla="*/ 6341253 w 10505529"/>
              <a:gd name="connsiteY34657" fmla="*/ 1540033 h 7458372"/>
              <a:gd name="connsiteX34658" fmla="*/ 6123608 w 10505529"/>
              <a:gd name="connsiteY34658" fmla="*/ 1540033 h 7458372"/>
              <a:gd name="connsiteX34659" fmla="*/ 6113624 w 10505529"/>
              <a:gd name="connsiteY34659" fmla="*/ 1543620 h 7458372"/>
              <a:gd name="connsiteX34660" fmla="*/ 6110030 w 10505529"/>
              <a:gd name="connsiteY34660" fmla="*/ 1553078 h 7458372"/>
              <a:gd name="connsiteX34661" fmla="*/ 6113624 w 10505529"/>
              <a:gd name="connsiteY34661" fmla="*/ 1562528 h 7458372"/>
              <a:gd name="connsiteX34662" fmla="*/ 6123608 w 10505529"/>
              <a:gd name="connsiteY34662" fmla="*/ 1565990 h 7458372"/>
              <a:gd name="connsiteX34663" fmla="*/ 6128932 w 10505529"/>
              <a:gd name="connsiteY34663" fmla="*/ 1564919 h 7458372"/>
              <a:gd name="connsiteX34664" fmla="*/ 6132659 w 10505529"/>
              <a:gd name="connsiteY34664" fmla="*/ 1562528 h 7458372"/>
              <a:gd name="connsiteX34665" fmla="*/ 6135322 w 10505529"/>
              <a:gd name="connsiteY34665" fmla="*/ 1558402 h 7458372"/>
              <a:gd name="connsiteX34666" fmla="*/ 6136387 w 10505529"/>
              <a:gd name="connsiteY34666" fmla="*/ 1552940 h 7458372"/>
              <a:gd name="connsiteX34667" fmla="*/ 6135322 w 10505529"/>
              <a:gd name="connsiteY34667" fmla="*/ 1547746 h 7458372"/>
              <a:gd name="connsiteX34668" fmla="*/ 6132659 w 10505529"/>
              <a:gd name="connsiteY34668" fmla="*/ 1543620 h 7458372"/>
              <a:gd name="connsiteX34669" fmla="*/ 6128666 w 10505529"/>
              <a:gd name="connsiteY34669" fmla="*/ 1540957 h 7458372"/>
              <a:gd name="connsiteX34670" fmla="*/ 6123608 w 10505529"/>
              <a:gd name="connsiteY34670" fmla="*/ 1540033 h 7458372"/>
              <a:gd name="connsiteX34671" fmla="*/ 5905963 w 10505529"/>
              <a:gd name="connsiteY34671" fmla="*/ 1540033 h 7458372"/>
              <a:gd name="connsiteX34672" fmla="*/ 5895979 w 10505529"/>
              <a:gd name="connsiteY34672" fmla="*/ 1543620 h 7458372"/>
              <a:gd name="connsiteX34673" fmla="*/ 5892385 w 10505529"/>
              <a:gd name="connsiteY34673" fmla="*/ 1553078 h 7458372"/>
              <a:gd name="connsiteX34674" fmla="*/ 5895979 w 10505529"/>
              <a:gd name="connsiteY34674" fmla="*/ 1562528 h 7458372"/>
              <a:gd name="connsiteX34675" fmla="*/ 5905963 w 10505529"/>
              <a:gd name="connsiteY34675" fmla="*/ 1565990 h 7458372"/>
              <a:gd name="connsiteX34676" fmla="*/ 5911287 w 10505529"/>
              <a:gd name="connsiteY34676" fmla="*/ 1564919 h 7458372"/>
              <a:gd name="connsiteX34677" fmla="*/ 5915014 w 10505529"/>
              <a:gd name="connsiteY34677" fmla="*/ 1562528 h 7458372"/>
              <a:gd name="connsiteX34678" fmla="*/ 5917677 w 10505529"/>
              <a:gd name="connsiteY34678" fmla="*/ 1558402 h 7458372"/>
              <a:gd name="connsiteX34679" fmla="*/ 5918742 w 10505529"/>
              <a:gd name="connsiteY34679" fmla="*/ 1552940 h 7458372"/>
              <a:gd name="connsiteX34680" fmla="*/ 5917677 w 10505529"/>
              <a:gd name="connsiteY34680" fmla="*/ 1547746 h 7458372"/>
              <a:gd name="connsiteX34681" fmla="*/ 5915014 w 10505529"/>
              <a:gd name="connsiteY34681" fmla="*/ 1543620 h 7458372"/>
              <a:gd name="connsiteX34682" fmla="*/ 5911021 w 10505529"/>
              <a:gd name="connsiteY34682" fmla="*/ 1540957 h 7458372"/>
              <a:gd name="connsiteX34683" fmla="*/ 5905963 w 10505529"/>
              <a:gd name="connsiteY34683" fmla="*/ 1540033 h 7458372"/>
              <a:gd name="connsiteX34684" fmla="*/ 5688451 w 10505529"/>
              <a:gd name="connsiteY34684" fmla="*/ 1540033 h 7458372"/>
              <a:gd name="connsiteX34685" fmla="*/ 5678467 w 10505529"/>
              <a:gd name="connsiteY34685" fmla="*/ 1543620 h 7458372"/>
              <a:gd name="connsiteX34686" fmla="*/ 5674873 w 10505529"/>
              <a:gd name="connsiteY34686" fmla="*/ 1553078 h 7458372"/>
              <a:gd name="connsiteX34687" fmla="*/ 5678467 w 10505529"/>
              <a:gd name="connsiteY34687" fmla="*/ 1562528 h 7458372"/>
              <a:gd name="connsiteX34688" fmla="*/ 5688451 w 10505529"/>
              <a:gd name="connsiteY34688" fmla="*/ 1565990 h 7458372"/>
              <a:gd name="connsiteX34689" fmla="*/ 5693775 w 10505529"/>
              <a:gd name="connsiteY34689" fmla="*/ 1564919 h 7458372"/>
              <a:gd name="connsiteX34690" fmla="*/ 5697502 w 10505529"/>
              <a:gd name="connsiteY34690" fmla="*/ 1562528 h 7458372"/>
              <a:gd name="connsiteX34691" fmla="*/ 5700165 w 10505529"/>
              <a:gd name="connsiteY34691" fmla="*/ 1558402 h 7458372"/>
              <a:gd name="connsiteX34692" fmla="*/ 5701230 w 10505529"/>
              <a:gd name="connsiteY34692" fmla="*/ 1552940 h 7458372"/>
              <a:gd name="connsiteX34693" fmla="*/ 5700165 w 10505529"/>
              <a:gd name="connsiteY34693" fmla="*/ 1547746 h 7458372"/>
              <a:gd name="connsiteX34694" fmla="*/ 5697502 w 10505529"/>
              <a:gd name="connsiteY34694" fmla="*/ 1543620 h 7458372"/>
              <a:gd name="connsiteX34695" fmla="*/ 5693509 w 10505529"/>
              <a:gd name="connsiteY34695" fmla="*/ 1540957 h 7458372"/>
              <a:gd name="connsiteX34696" fmla="*/ 5688451 w 10505529"/>
              <a:gd name="connsiteY34696" fmla="*/ 1540033 h 7458372"/>
              <a:gd name="connsiteX34697" fmla="*/ 5470806 w 10505529"/>
              <a:gd name="connsiteY34697" fmla="*/ 1540033 h 7458372"/>
              <a:gd name="connsiteX34698" fmla="*/ 5460822 w 10505529"/>
              <a:gd name="connsiteY34698" fmla="*/ 1543620 h 7458372"/>
              <a:gd name="connsiteX34699" fmla="*/ 5457228 w 10505529"/>
              <a:gd name="connsiteY34699" fmla="*/ 1553078 h 7458372"/>
              <a:gd name="connsiteX34700" fmla="*/ 5460822 w 10505529"/>
              <a:gd name="connsiteY34700" fmla="*/ 1562528 h 7458372"/>
              <a:gd name="connsiteX34701" fmla="*/ 5470806 w 10505529"/>
              <a:gd name="connsiteY34701" fmla="*/ 1565990 h 7458372"/>
              <a:gd name="connsiteX34702" fmla="*/ 5476130 w 10505529"/>
              <a:gd name="connsiteY34702" fmla="*/ 1564919 h 7458372"/>
              <a:gd name="connsiteX34703" fmla="*/ 5479857 w 10505529"/>
              <a:gd name="connsiteY34703" fmla="*/ 1562528 h 7458372"/>
              <a:gd name="connsiteX34704" fmla="*/ 5482520 w 10505529"/>
              <a:gd name="connsiteY34704" fmla="*/ 1558402 h 7458372"/>
              <a:gd name="connsiteX34705" fmla="*/ 5483585 w 10505529"/>
              <a:gd name="connsiteY34705" fmla="*/ 1552940 h 7458372"/>
              <a:gd name="connsiteX34706" fmla="*/ 5482520 w 10505529"/>
              <a:gd name="connsiteY34706" fmla="*/ 1547746 h 7458372"/>
              <a:gd name="connsiteX34707" fmla="*/ 5479857 w 10505529"/>
              <a:gd name="connsiteY34707" fmla="*/ 1543620 h 7458372"/>
              <a:gd name="connsiteX34708" fmla="*/ 5475864 w 10505529"/>
              <a:gd name="connsiteY34708" fmla="*/ 1540957 h 7458372"/>
              <a:gd name="connsiteX34709" fmla="*/ 5470806 w 10505529"/>
              <a:gd name="connsiteY34709" fmla="*/ 1540033 h 7458372"/>
              <a:gd name="connsiteX34710" fmla="*/ 5253160 w 10505529"/>
              <a:gd name="connsiteY34710" fmla="*/ 1540033 h 7458372"/>
              <a:gd name="connsiteX34711" fmla="*/ 5243177 w 10505529"/>
              <a:gd name="connsiteY34711" fmla="*/ 1543620 h 7458372"/>
              <a:gd name="connsiteX34712" fmla="*/ 5239583 w 10505529"/>
              <a:gd name="connsiteY34712" fmla="*/ 1553078 h 7458372"/>
              <a:gd name="connsiteX34713" fmla="*/ 5243177 w 10505529"/>
              <a:gd name="connsiteY34713" fmla="*/ 1562528 h 7458372"/>
              <a:gd name="connsiteX34714" fmla="*/ 5253160 w 10505529"/>
              <a:gd name="connsiteY34714" fmla="*/ 1565990 h 7458372"/>
              <a:gd name="connsiteX34715" fmla="*/ 5258485 w 10505529"/>
              <a:gd name="connsiteY34715" fmla="*/ 1564919 h 7458372"/>
              <a:gd name="connsiteX34716" fmla="*/ 5262212 w 10505529"/>
              <a:gd name="connsiteY34716" fmla="*/ 1562528 h 7458372"/>
              <a:gd name="connsiteX34717" fmla="*/ 5264875 w 10505529"/>
              <a:gd name="connsiteY34717" fmla="*/ 1558402 h 7458372"/>
              <a:gd name="connsiteX34718" fmla="*/ 5265939 w 10505529"/>
              <a:gd name="connsiteY34718" fmla="*/ 1552940 h 7458372"/>
              <a:gd name="connsiteX34719" fmla="*/ 5264875 w 10505529"/>
              <a:gd name="connsiteY34719" fmla="*/ 1547746 h 7458372"/>
              <a:gd name="connsiteX34720" fmla="*/ 5262212 w 10505529"/>
              <a:gd name="connsiteY34720" fmla="*/ 1543620 h 7458372"/>
              <a:gd name="connsiteX34721" fmla="*/ 5258219 w 10505529"/>
              <a:gd name="connsiteY34721" fmla="*/ 1540957 h 7458372"/>
              <a:gd name="connsiteX34722" fmla="*/ 5253160 w 10505529"/>
              <a:gd name="connsiteY34722" fmla="*/ 1540033 h 7458372"/>
              <a:gd name="connsiteX34723" fmla="*/ 5035515 w 10505529"/>
              <a:gd name="connsiteY34723" fmla="*/ 1540033 h 7458372"/>
              <a:gd name="connsiteX34724" fmla="*/ 5025532 w 10505529"/>
              <a:gd name="connsiteY34724" fmla="*/ 1543620 h 7458372"/>
              <a:gd name="connsiteX34725" fmla="*/ 5021938 w 10505529"/>
              <a:gd name="connsiteY34725" fmla="*/ 1553078 h 7458372"/>
              <a:gd name="connsiteX34726" fmla="*/ 5025532 w 10505529"/>
              <a:gd name="connsiteY34726" fmla="*/ 1562528 h 7458372"/>
              <a:gd name="connsiteX34727" fmla="*/ 5035515 w 10505529"/>
              <a:gd name="connsiteY34727" fmla="*/ 1565990 h 7458372"/>
              <a:gd name="connsiteX34728" fmla="*/ 5040840 w 10505529"/>
              <a:gd name="connsiteY34728" fmla="*/ 1564919 h 7458372"/>
              <a:gd name="connsiteX34729" fmla="*/ 5044567 w 10505529"/>
              <a:gd name="connsiteY34729" fmla="*/ 1562528 h 7458372"/>
              <a:gd name="connsiteX34730" fmla="*/ 5047230 w 10505529"/>
              <a:gd name="connsiteY34730" fmla="*/ 1558402 h 7458372"/>
              <a:gd name="connsiteX34731" fmla="*/ 5048294 w 10505529"/>
              <a:gd name="connsiteY34731" fmla="*/ 1552940 h 7458372"/>
              <a:gd name="connsiteX34732" fmla="*/ 5047230 w 10505529"/>
              <a:gd name="connsiteY34732" fmla="*/ 1547746 h 7458372"/>
              <a:gd name="connsiteX34733" fmla="*/ 5044567 w 10505529"/>
              <a:gd name="connsiteY34733" fmla="*/ 1543620 h 7458372"/>
              <a:gd name="connsiteX34734" fmla="*/ 5040574 w 10505529"/>
              <a:gd name="connsiteY34734" fmla="*/ 1540957 h 7458372"/>
              <a:gd name="connsiteX34735" fmla="*/ 5035515 w 10505529"/>
              <a:gd name="connsiteY34735" fmla="*/ 1540033 h 7458372"/>
              <a:gd name="connsiteX34736" fmla="*/ 4817870 w 10505529"/>
              <a:gd name="connsiteY34736" fmla="*/ 1540033 h 7458372"/>
              <a:gd name="connsiteX34737" fmla="*/ 4807887 w 10505529"/>
              <a:gd name="connsiteY34737" fmla="*/ 1543620 h 7458372"/>
              <a:gd name="connsiteX34738" fmla="*/ 4804293 w 10505529"/>
              <a:gd name="connsiteY34738" fmla="*/ 1553078 h 7458372"/>
              <a:gd name="connsiteX34739" fmla="*/ 4807887 w 10505529"/>
              <a:gd name="connsiteY34739" fmla="*/ 1562528 h 7458372"/>
              <a:gd name="connsiteX34740" fmla="*/ 4817870 w 10505529"/>
              <a:gd name="connsiteY34740" fmla="*/ 1565990 h 7458372"/>
              <a:gd name="connsiteX34741" fmla="*/ 4823195 w 10505529"/>
              <a:gd name="connsiteY34741" fmla="*/ 1564919 h 7458372"/>
              <a:gd name="connsiteX34742" fmla="*/ 4826922 w 10505529"/>
              <a:gd name="connsiteY34742" fmla="*/ 1562528 h 7458372"/>
              <a:gd name="connsiteX34743" fmla="*/ 4829585 w 10505529"/>
              <a:gd name="connsiteY34743" fmla="*/ 1558402 h 7458372"/>
              <a:gd name="connsiteX34744" fmla="*/ 4830650 w 10505529"/>
              <a:gd name="connsiteY34744" fmla="*/ 1552940 h 7458372"/>
              <a:gd name="connsiteX34745" fmla="*/ 4829585 w 10505529"/>
              <a:gd name="connsiteY34745" fmla="*/ 1547746 h 7458372"/>
              <a:gd name="connsiteX34746" fmla="*/ 4826922 w 10505529"/>
              <a:gd name="connsiteY34746" fmla="*/ 1543620 h 7458372"/>
              <a:gd name="connsiteX34747" fmla="*/ 4822929 w 10505529"/>
              <a:gd name="connsiteY34747" fmla="*/ 1540957 h 7458372"/>
              <a:gd name="connsiteX34748" fmla="*/ 4817870 w 10505529"/>
              <a:gd name="connsiteY34748" fmla="*/ 1540033 h 7458372"/>
              <a:gd name="connsiteX34749" fmla="*/ 4600226 w 10505529"/>
              <a:gd name="connsiteY34749" fmla="*/ 1540033 h 7458372"/>
              <a:gd name="connsiteX34750" fmla="*/ 4590242 w 10505529"/>
              <a:gd name="connsiteY34750" fmla="*/ 1543620 h 7458372"/>
              <a:gd name="connsiteX34751" fmla="*/ 4586648 w 10505529"/>
              <a:gd name="connsiteY34751" fmla="*/ 1553078 h 7458372"/>
              <a:gd name="connsiteX34752" fmla="*/ 4590242 w 10505529"/>
              <a:gd name="connsiteY34752" fmla="*/ 1562528 h 7458372"/>
              <a:gd name="connsiteX34753" fmla="*/ 4600226 w 10505529"/>
              <a:gd name="connsiteY34753" fmla="*/ 1565990 h 7458372"/>
              <a:gd name="connsiteX34754" fmla="*/ 4605550 w 10505529"/>
              <a:gd name="connsiteY34754" fmla="*/ 1564919 h 7458372"/>
              <a:gd name="connsiteX34755" fmla="*/ 4609277 w 10505529"/>
              <a:gd name="connsiteY34755" fmla="*/ 1562528 h 7458372"/>
              <a:gd name="connsiteX34756" fmla="*/ 4611940 w 10505529"/>
              <a:gd name="connsiteY34756" fmla="*/ 1558402 h 7458372"/>
              <a:gd name="connsiteX34757" fmla="*/ 4613005 w 10505529"/>
              <a:gd name="connsiteY34757" fmla="*/ 1552940 h 7458372"/>
              <a:gd name="connsiteX34758" fmla="*/ 4611940 w 10505529"/>
              <a:gd name="connsiteY34758" fmla="*/ 1547746 h 7458372"/>
              <a:gd name="connsiteX34759" fmla="*/ 4609277 w 10505529"/>
              <a:gd name="connsiteY34759" fmla="*/ 1543620 h 7458372"/>
              <a:gd name="connsiteX34760" fmla="*/ 4605284 w 10505529"/>
              <a:gd name="connsiteY34760" fmla="*/ 1540957 h 7458372"/>
              <a:gd name="connsiteX34761" fmla="*/ 4600226 w 10505529"/>
              <a:gd name="connsiteY34761" fmla="*/ 1540033 h 7458372"/>
              <a:gd name="connsiteX34762" fmla="*/ 4382713 w 10505529"/>
              <a:gd name="connsiteY34762" fmla="*/ 1540033 h 7458372"/>
              <a:gd name="connsiteX34763" fmla="*/ 4372730 w 10505529"/>
              <a:gd name="connsiteY34763" fmla="*/ 1543620 h 7458372"/>
              <a:gd name="connsiteX34764" fmla="*/ 4369136 w 10505529"/>
              <a:gd name="connsiteY34764" fmla="*/ 1553078 h 7458372"/>
              <a:gd name="connsiteX34765" fmla="*/ 4372730 w 10505529"/>
              <a:gd name="connsiteY34765" fmla="*/ 1562528 h 7458372"/>
              <a:gd name="connsiteX34766" fmla="*/ 4382713 w 10505529"/>
              <a:gd name="connsiteY34766" fmla="*/ 1565990 h 7458372"/>
              <a:gd name="connsiteX34767" fmla="*/ 4388038 w 10505529"/>
              <a:gd name="connsiteY34767" fmla="*/ 1564919 h 7458372"/>
              <a:gd name="connsiteX34768" fmla="*/ 4391765 w 10505529"/>
              <a:gd name="connsiteY34768" fmla="*/ 1562528 h 7458372"/>
              <a:gd name="connsiteX34769" fmla="*/ 4394428 w 10505529"/>
              <a:gd name="connsiteY34769" fmla="*/ 1558402 h 7458372"/>
              <a:gd name="connsiteX34770" fmla="*/ 4395493 w 10505529"/>
              <a:gd name="connsiteY34770" fmla="*/ 1552940 h 7458372"/>
              <a:gd name="connsiteX34771" fmla="*/ 4394428 w 10505529"/>
              <a:gd name="connsiteY34771" fmla="*/ 1547746 h 7458372"/>
              <a:gd name="connsiteX34772" fmla="*/ 4391765 w 10505529"/>
              <a:gd name="connsiteY34772" fmla="*/ 1543620 h 7458372"/>
              <a:gd name="connsiteX34773" fmla="*/ 4387772 w 10505529"/>
              <a:gd name="connsiteY34773" fmla="*/ 1540957 h 7458372"/>
              <a:gd name="connsiteX34774" fmla="*/ 4382713 w 10505529"/>
              <a:gd name="connsiteY34774" fmla="*/ 1540033 h 7458372"/>
              <a:gd name="connsiteX34775" fmla="*/ 4165068 w 10505529"/>
              <a:gd name="connsiteY34775" fmla="*/ 1540033 h 7458372"/>
              <a:gd name="connsiteX34776" fmla="*/ 4155084 w 10505529"/>
              <a:gd name="connsiteY34776" fmla="*/ 1543620 h 7458372"/>
              <a:gd name="connsiteX34777" fmla="*/ 4151490 w 10505529"/>
              <a:gd name="connsiteY34777" fmla="*/ 1553078 h 7458372"/>
              <a:gd name="connsiteX34778" fmla="*/ 4155084 w 10505529"/>
              <a:gd name="connsiteY34778" fmla="*/ 1562528 h 7458372"/>
              <a:gd name="connsiteX34779" fmla="*/ 4165068 w 10505529"/>
              <a:gd name="connsiteY34779" fmla="*/ 1565990 h 7458372"/>
              <a:gd name="connsiteX34780" fmla="*/ 4170392 w 10505529"/>
              <a:gd name="connsiteY34780" fmla="*/ 1564919 h 7458372"/>
              <a:gd name="connsiteX34781" fmla="*/ 4174119 w 10505529"/>
              <a:gd name="connsiteY34781" fmla="*/ 1562528 h 7458372"/>
              <a:gd name="connsiteX34782" fmla="*/ 4176782 w 10505529"/>
              <a:gd name="connsiteY34782" fmla="*/ 1558402 h 7458372"/>
              <a:gd name="connsiteX34783" fmla="*/ 4177847 w 10505529"/>
              <a:gd name="connsiteY34783" fmla="*/ 1552940 h 7458372"/>
              <a:gd name="connsiteX34784" fmla="*/ 4176782 w 10505529"/>
              <a:gd name="connsiteY34784" fmla="*/ 1547746 h 7458372"/>
              <a:gd name="connsiteX34785" fmla="*/ 4174119 w 10505529"/>
              <a:gd name="connsiteY34785" fmla="*/ 1543620 h 7458372"/>
              <a:gd name="connsiteX34786" fmla="*/ 4170126 w 10505529"/>
              <a:gd name="connsiteY34786" fmla="*/ 1540957 h 7458372"/>
              <a:gd name="connsiteX34787" fmla="*/ 4165068 w 10505529"/>
              <a:gd name="connsiteY34787" fmla="*/ 1540033 h 7458372"/>
              <a:gd name="connsiteX34788" fmla="*/ 3947512 w 10505529"/>
              <a:gd name="connsiteY34788" fmla="*/ 1540033 h 7458372"/>
              <a:gd name="connsiteX34789" fmla="*/ 3937529 w 10505529"/>
              <a:gd name="connsiteY34789" fmla="*/ 1543620 h 7458372"/>
              <a:gd name="connsiteX34790" fmla="*/ 3933934 w 10505529"/>
              <a:gd name="connsiteY34790" fmla="*/ 1553078 h 7458372"/>
              <a:gd name="connsiteX34791" fmla="*/ 3937529 w 10505529"/>
              <a:gd name="connsiteY34791" fmla="*/ 1562528 h 7458372"/>
              <a:gd name="connsiteX34792" fmla="*/ 3947512 w 10505529"/>
              <a:gd name="connsiteY34792" fmla="*/ 1565990 h 7458372"/>
              <a:gd name="connsiteX34793" fmla="*/ 3952837 w 10505529"/>
              <a:gd name="connsiteY34793" fmla="*/ 1564919 h 7458372"/>
              <a:gd name="connsiteX34794" fmla="*/ 3956564 w 10505529"/>
              <a:gd name="connsiteY34794" fmla="*/ 1562528 h 7458372"/>
              <a:gd name="connsiteX34795" fmla="*/ 3959227 w 10505529"/>
              <a:gd name="connsiteY34795" fmla="*/ 1558402 h 7458372"/>
              <a:gd name="connsiteX34796" fmla="*/ 3960292 w 10505529"/>
              <a:gd name="connsiteY34796" fmla="*/ 1552940 h 7458372"/>
              <a:gd name="connsiteX34797" fmla="*/ 3959227 w 10505529"/>
              <a:gd name="connsiteY34797" fmla="*/ 1547746 h 7458372"/>
              <a:gd name="connsiteX34798" fmla="*/ 3956564 w 10505529"/>
              <a:gd name="connsiteY34798" fmla="*/ 1543620 h 7458372"/>
              <a:gd name="connsiteX34799" fmla="*/ 3952571 w 10505529"/>
              <a:gd name="connsiteY34799" fmla="*/ 1540957 h 7458372"/>
              <a:gd name="connsiteX34800" fmla="*/ 3947512 w 10505529"/>
              <a:gd name="connsiteY34800" fmla="*/ 1540033 h 7458372"/>
              <a:gd name="connsiteX34801" fmla="*/ 3729862 w 10505529"/>
              <a:gd name="connsiteY34801" fmla="*/ 1540033 h 7458372"/>
              <a:gd name="connsiteX34802" fmla="*/ 3719876 w 10505529"/>
              <a:gd name="connsiteY34802" fmla="*/ 1543620 h 7458372"/>
              <a:gd name="connsiteX34803" fmla="*/ 3716284 w 10505529"/>
              <a:gd name="connsiteY34803" fmla="*/ 1553078 h 7458372"/>
              <a:gd name="connsiteX34804" fmla="*/ 3719876 w 10505529"/>
              <a:gd name="connsiteY34804" fmla="*/ 1562528 h 7458372"/>
              <a:gd name="connsiteX34805" fmla="*/ 3729862 w 10505529"/>
              <a:gd name="connsiteY34805" fmla="*/ 1565990 h 7458372"/>
              <a:gd name="connsiteX34806" fmla="*/ 3735187 w 10505529"/>
              <a:gd name="connsiteY34806" fmla="*/ 1564919 h 7458372"/>
              <a:gd name="connsiteX34807" fmla="*/ 3738914 w 10505529"/>
              <a:gd name="connsiteY34807" fmla="*/ 1562528 h 7458372"/>
              <a:gd name="connsiteX34808" fmla="*/ 3741577 w 10505529"/>
              <a:gd name="connsiteY34808" fmla="*/ 1558402 h 7458372"/>
              <a:gd name="connsiteX34809" fmla="*/ 3742642 w 10505529"/>
              <a:gd name="connsiteY34809" fmla="*/ 1552940 h 7458372"/>
              <a:gd name="connsiteX34810" fmla="*/ 3741577 w 10505529"/>
              <a:gd name="connsiteY34810" fmla="*/ 1547746 h 7458372"/>
              <a:gd name="connsiteX34811" fmla="*/ 3738914 w 10505529"/>
              <a:gd name="connsiteY34811" fmla="*/ 1543620 h 7458372"/>
              <a:gd name="connsiteX34812" fmla="*/ 3734922 w 10505529"/>
              <a:gd name="connsiteY34812" fmla="*/ 1540957 h 7458372"/>
              <a:gd name="connsiteX34813" fmla="*/ 3729862 w 10505529"/>
              <a:gd name="connsiteY34813" fmla="*/ 1540033 h 7458372"/>
              <a:gd name="connsiteX34814" fmla="*/ 3512212 w 10505529"/>
              <a:gd name="connsiteY34814" fmla="*/ 1540033 h 7458372"/>
              <a:gd name="connsiteX34815" fmla="*/ 3502227 w 10505529"/>
              <a:gd name="connsiteY34815" fmla="*/ 1543620 h 7458372"/>
              <a:gd name="connsiteX34816" fmla="*/ 3498634 w 10505529"/>
              <a:gd name="connsiteY34816" fmla="*/ 1553078 h 7458372"/>
              <a:gd name="connsiteX34817" fmla="*/ 3502227 w 10505529"/>
              <a:gd name="connsiteY34817" fmla="*/ 1562528 h 7458372"/>
              <a:gd name="connsiteX34818" fmla="*/ 3512212 w 10505529"/>
              <a:gd name="connsiteY34818" fmla="*/ 1565990 h 7458372"/>
              <a:gd name="connsiteX34819" fmla="*/ 3517538 w 10505529"/>
              <a:gd name="connsiteY34819" fmla="*/ 1564919 h 7458372"/>
              <a:gd name="connsiteX34820" fmla="*/ 3521265 w 10505529"/>
              <a:gd name="connsiteY34820" fmla="*/ 1562528 h 7458372"/>
              <a:gd name="connsiteX34821" fmla="*/ 3523928 w 10505529"/>
              <a:gd name="connsiteY34821" fmla="*/ 1558402 h 7458372"/>
              <a:gd name="connsiteX34822" fmla="*/ 3524993 w 10505529"/>
              <a:gd name="connsiteY34822" fmla="*/ 1552940 h 7458372"/>
              <a:gd name="connsiteX34823" fmla="*/ 3523928 w 10505529"/>
              <a:gd name="connsiteY34823" fmla="*/ 1547746 h 7458372"/>
              <a:gd name="connsiteX34824" fmla="*/ 3521265 w 10505529"/>
              <a:gd name="connsiteY34824" fmla="*/ 1543620 h 7458372"/>
              <a:gd name="connsiteX34825" fmla="*/ 3517272 w 10505529"/>
              <a:gd name="connsiteY34825" fmla="*/ 1540957 h 7458372"/>
              <a:gd name="connsiteX34826" fmla="*/ 3512212 w 10505529"/>
              <a:gd name="connsiteY34826" fmla="*/ 1540033 h 7458372"/>
              <a:gd name="connsiteX34827" fmla="*/ 3294696 w 10505529"/>
              <a:gd name="connsiteY34827" fmla="*/ 1540033 h 7458372"/>
              <a:gd name="connsiteX34828" fmla="*/ 3284712 w 10505529"/>
              <a:gd name="connsiteY34828" fmla="*/ 1543620 h 7458372"/>
              <a:gd name="connsiteX34829" fmla="*/ 3281118 w 10505529"/>
              <a:gd name="connsiteY34829" fmla="*/ 1553078 h 7458372"/>
              <a:gd name="connsiteX34830" fmla="*/ 3284712 w 10505529"/>
              <a:gd name="connsiteY34830" fmla="*/ 1562528 h 7458372"/>
              <a:gd name="connsiteX34831" fmla="*/ 3294696 w 10505529"/>
              <a:gd name="connsiteY34831" fmla="*/ 1565990 h 7458372"/>
              <a:gd name="connsiteX34832" fmla="*/ 3300021 w 10505529"/>
              <a:gd name="connsiteY34832" fmla="*/ 1564919 h 7458372"/>
              <a:gd name="connsiteX34833" fmla="*/ 3303748 w 10505529"/>
              <a:gd name="connsiteY34833" fmla="*/ 1562528 h 7458372"/>
              <a:gd name="connsiteX34834" fmla="*/ 3306411 w 10505529"/>
              <a:gd name="connsiteY34834" fmla="*/ 1558402 h 7458372"/>
              <a:gd name="connsiteX34835" fmla="*/ 3307475 w 10505529"/>
              <a:gd name="connsiteY34835" fmla="*/ 1552940 h 7458372"/>
              <a:gd name="connsiteX34836" fmla="*/ 3306411 w 10505529"/>
              <a:gd name="connsiteY34836" fmla="*/ 1547746 h 7458372"/>
              <a:gd name="connsiteX34837" fmla="*/ 3303748 w 10505529"/>
              <a:gd name="connsiteY34837" fmla="*/ 1543620 h 7458372"/>
              <a:gd name="connsiteX34838" fmla="*/ 3299755 w 10505529"/>
              <a:gd name="connsiteY34838" fmla="*/ 1540957 h 7458372"/>
              <a:gd name="connsiteX34839" fmla="*/ 3294696 w 10505529"/>
              <a:gd name="connsiteY34839" fmla="*/ 1540033 h 7458372"/>
              <a:gd name="connsiteX34840" fmla="*/ 3077179 w 10505529"/>
              <a:gd name="connsiteY34840" fmla="*/ 1540033 h 7458372"/>
              <a:gd name="connsiteX34841" fmla="*/ 3067196 w 10505529"/>
              <a:gd name="connsiteY34841" fmla="*/ 1543620 h 7458372"/>
              <a:gd name="connsiteX34842" fmla="*/ 3063468 w 10505529"/>
              <a:gd name="connsiteY34842" fmla="*/ 1553078 h 7458372"/>
              <a:gd name="connsiteX34843" fmla="*/ 3067062 w 10505529"/>
              <a:gd name="connsiteY34843" fmla="*/ 1562528 h 7458372"/>
              <a:gd name="connsiteX34844" fmla="*/ 3077046 w 10505529"/>
              <a:gd name="connsiteY34844" fmla="*/ 1565990 h 7458372"/>
              <a:gd name="connsiteX34845" fmla="*/ 3082504 w 10505529"/>
              <a:gd name="connsiteY34845" fmla="*/ 1564919 h 7458372"/>
              <a:gd name="connsiteX34846" fmla="*/ 3086232 w 10505529"/>
              <a:gd name="connsiteY34846" fmla="*/ 1562528 h 7458372"/>
              <a:gd name="connsiteX34847" fmla="*/ 3088894 w 10505529"/>
              <a:gd name="connsiteY34847" fmla="*/ 1558402 h 7458372"/>
              <a:gd name="connsiteX34848" fmla="*/ 3089827 w 10505529"/>
              <a:gd name="connsiteY34848" fmla="*/ 1552940 h 7458372"/>
              <a:gd name="connsiteX34849" fmla="*/ 3088894 w 10505529"/>
              <a:gd name="connsiteY34849" fmla="*/ 1547746 h 7458372"/>
              <a:gd name="connsiteX34850" fmla="*/ 3086232 w 10505529"/>
              <a:gd name="connsiteY34850" fmla="*/ 1543620 h 7458372"/>
              <a:gd name="connsiteX34851" fmla="*/ 3082239 w 10505529"/>
              <a:gd name="connsiteY34851" fmla="*/ 1540957 h 7458372"/>
              <a:gd name="connsiteX34852" fmla="*/ 3077179 w 10505529"/>
              <a:gd name="connsiteY34852" fmla="*/ 1540033 h 7458372"/>
              <a:gd name="connsiteX34853" fmla="*/ 2859397 w 10505529"/>
              <a:gd name="connsiteY34853" fmla="*/ 1540033 h 7458372"/>
              <a:gd name="connsiteX34854" fmla="*/ 2849413 w 10505529"/>
              <a:gd name="connsiteY34854" fmla="*/ 1543620 h 7458372"/>
              <a:gd name="connsiteX34855" fmla="*/ 2845818 w 10505529"/>
              <a:gd name="connsiteY34855" fmla="*/ 1553078 h 7458372"/>
              <a:gd name="connsiteX34856" fmla="*/ 2849413 w 10505529"/>
              <a:gd name="connsiteY34856" fmla="*/ 1562528 h 7458372"/>
              <a:gd name="connsiteX34857" fmla="*/ 2859397 w 10505529"/>
              <a:gd name="connsiteY34857" fmla="*/ 1565990 h 7458372"/>
              <a:gd name="connsiteX34858" fmla="*/ 2864722 w 10505529"/>
              <a:gd name="connsiteY34858" fmla="*/ 1564919 h 7458372"/>
              <a:gd name="connsiteX34859" fmla="*/ 2868449 w 10505529"/>
              <a:gd name="connsiteY34859" fmla="*/ 1562528 h 7458372"/>
              <a:gd name="connsiteX34860" fmla="*/ 2871112 w 10505529"/>
              <a:gd name="connsiteY34860" fmla="*/ 1558402 h 7458372"/>
              <a:gd name="connsiteX34861" fmla="*/ 2872043 w 10505529"/>
              <a:gd name="connsiteY34861" fmla="*/ 1552940 h 7458372"/>
              <a:gd name="connsiteX34862" fmla="*/ 2871112 w 10505529"/>
              <a:gd name="connsiteY34862" fmla="*/ 1547746 h 7458372"/>
              <a:gd name="connsiteX34863" fmla="*/ 2868449 w 10505529"/>
              <a:gd name="connsiteY34863" fmla="*/ 1543620 h 7458372"/>
              <a:gd name="connsiteX34864" fmla="*/ 2864456 w 10505529"/>
              <a:gd name="connsiteY34864" fmla="*/ 1540957 h 7458372"/>
              <a:gd name="connsiteX34865" fmla="*/ 2859397 w 10505529"/>
              <a:gd name="connsiteY34865" fmla="*/ 1540033 h 7458372"/>
              <a:gd name="connsiteX34866" fmla="*/ 2641747 w 10505529"/>
              <a:gd name="connsiteY34866" fmla="*/ 1540033 h 7458372"/>
              <a:gd name="connsiteX34867" fmla="*/ 2631764 w 10505529"/>
              <a:gd name="connsiteY34867" fmla="*/ 1543620 h 7458372"/>
              <a:gd name="connsiteX34868" fmla="*/ 2628170 w 10505529"/>
              <a:gd name="connsiteY34868" fmla="*/ 1553078 h 7458372"/>
              <a:gd name="connsiteX34869" fmla="*/ 2631764 w 10505529"/>
              <a:gd name="connsiteY34869" fmla="*/ 1562528 h 7458372"/>
              <a:gd name="connsiteX34870" fmla="*/ 2641747 w 10505529"/>
              <a:gd name="connsiteY34870" fmla="*/ 1565990 h 7458372"/>
              <a:gd name="connsiteX34871" fmla="*/ 2647073 w 10505529"/>
              <a:gd name="connsiteY34871" fmla="*/ 1564919 h 7458372"/>
              <a:gd name="connsiteX34872" fmla="*/ 2650800 w 10505529"/>
              <a:gd name="connsiteY34872" fmla="*/ 1562528 h 7458372"/>
              <a:gd name="connsiteX34873" fmla="*/ 2653463 w 10505529"/>
              <a:gd name="connsiteY34873" fmla="*/ 1558402 h 7458372"/>
              <a:gd name="connsiteX34874" fmla="*/ 2654393 w 10505529"/>
              <a:gd name="connsiteY34874" fmla="*/ 1552940 h 7458372"/>
              <a:gd name="connsiteX34875" fmla="*/ 2653463 w 10505529"/>
              <a:gd name="connsiteY34875" fmla="*/ 1547746 h 7458372"/>
              <a:gd name="connsiteX34876" fmla="*/ 2650800 w 10505529"/>
              <a:gd name="connsiteY34876" fmla="*/ 1543620 h 7458372"/>
              <a:gd name="connsiteX34877" fmla="*/ 2646806 w 10505529"/>
              <a:gd name="connsiteY34877" fmla="*/ 1540957 h 7458372"/>
              <a:gd name="connsiteX34878" fmla="*/ 2641747 w 10505529"/>
              <a:gd name="connsiteY34878" fmla="*/ 1540033 h 7458372"/>
              <a:gd name="connsiteX34879" fmla="*/ 2424097 w 10505529"/>
              <a:gd name="connsiteY34879" fmla="*/ 1540033 h 7458372"/>
              <a:gd name="connsiteX34880" fmla="*/ 2414114 w 10505529"/>
              <a:gd name="connsiteY34880" fmla="*/ 1543620 h 7458372"/>
              <a:gd name="connsiteX34881" fmla="*/ 2410520 w 10505529"/>
              <a:gd name="connsiteY34881" fmla="*/ 1553078 h 7458372"/>
              <a:gd name="connsiteX34882" fmla="*/ 2414114 w 10505529"/>
              <a:gd name="connsiteY34882" fmla="*/ 1562528 h 7458372"/>
              <a:gd name="connsiteX34883" fmla="*/ 2424097 w 10505529"/>
              <a:gd name="connsiteY34883" fmla="*/ 1565990 h 7458372"/>
              <a:gd name="connsiteX34884" fmla="*/ 2429423 w 10505529"/>
              <a:gd name="connsiteY34884" fmla="*/ 1564919 h 7458372"/>
              <a:gd name="connsiteX34885" fmla="*/ 2433150 w 10505529"/>
              <a:gd name="connsiteY34885" fmla="*/ 1562528 h 7458372"/>
              <a:gd name="connsiteX34886" fmla="*/ 2435813 w 10505529"/>
              <a:gd name="connsiteY34886" fmla="*/ 1558402 h 7458372"/>
              <a:gd name="connsiteX34887" fmla="*/ 2436744 w 10505529"/>
              <a:gd name="connsiteY34887" fmla="*/ 1552940 h 7458372"/>
              <a:gd name="connsiteX34888" fmla="*/ 2435813 w 10505529"/>
              <a:gd name="connsiteY34888" fmla="*/ 1547746 h 7458372"/>
              <a:gd name="connsiteX34889" fmla="*/ 2433150 w 10505529"/>
              <a:gd name="connsiteY34889" fmla="*/ 1543620 h 7458372"/>
              <a:gd name="connsiteX34890" fmla="*/ 2429157 w 10505529"/>
              <a:gd name="connsiteY34890" fmla="*/ 1540957 h 7458372"/>
              <a:gd name="connsiteX34891" fmla="*/ 2424097 w 10505529"/>
              <a:gd name="connsiteY34891" fmla="*/ 1540033 h 7458372"/>
              <a:gd name="connsiteX34892" fmla="*/ 2206448 w 10505529"/>
              <a:gd name="connsiteY34892" fmla="*/ 1540033 h 7458372"/>
              <a:gd name="connsiteX34893" fmla="*/ 2196464 w 10505529"/>
              <a:gd name="connsiteY34893" fmla="*/ 1543620 h 7458372"/>
              <a:gd name="connsiteX34894" fmla="*/ 2192870 w 10505529"/>
              <a:gd name="connsiteY34894" fmla="*/ 1553078 h 7458372"/>
              <a:gd name="connsiteX34895" fmla="*/ 2196464 w 10505529"/>
              <a:gd name="connsiteY34895" fmla="*/ 1562528 h 7458372"/>
              <a:gd name="connsiteX34896" fmla="*/ 2206448 w 10505529"/>
              <a:gd name="connsiteY34896" fmla="*/ 1565990 h 7458372"/>
              <a:gd name="connsiteX34897" fmla="*/ 2211773 w 10505529"/>
              <a:gd name="connsiteY34897" fmla="*/ 1564919 h 7458372"/>
              <a:gd name="connsiteX34898" fmla="*/ 2215500 w 10505529"/>
              <a:gd name="connsiteY34898" fmla="*/ 1562528 h 7458372"/>
              <a:gd name="connsiteX34899" fmla="*/ 2218163 w 10505529"/>
              <a:gd name="connsiteY34899" fmla="*/ 1558402 h 7458372"/>
              <a:gd name="connsiteX34900" fmla="*/ 2219094 w 10505529"/>
              <a:gd name="connsiteY34900" fmla="*/ 1552940 h 7458372"/>
              <a:gd name="connsiteX34901" fmla="*/ 2218163 w 10505529"/>
              <a:gd name="connsiteY34901" fmla="*/ 1547746 h 7458372"/>
              <a:gd name="connsiteX34902" fmla="*/ 2215500 w 10505529"/>
              <a:gd name="connsiteY34902" fmla="*/ 1543620 h 7458372"/>
              <a:gd name="connsiteX34903" fmla="*/ 2211507 w 10505529"/>
              <a:gd name="connsiteY34903" fmla="*/ 1540957 h 7458372"/>
              <a:gd name="connsiteX34904" fmla="*/ 2206448 w 10505529"/>
              <a:gd name="connsiteY34904" fmla="*/ 1540033 h 7458372"/>
              <a:gd name="connsiteX34905" fmla="*/ 1988931 w 10505529"/>
              <a:gd name="connsiteY34905" fmla="*/ 1540033 h 7458372"/>
              <a:gd name="connsiteX34906" fmla="*/ 1978948 w 10505529"/>
              <a:gd name="connsiteY34906" fmla="*/ 1543620 h 7458372"/>
              <a:gd name="connsiteX34907" fmla="*/ 1975354 w 10505529"/>
              <a:gd name="connsiteY34907" fmla="*/ 1553078 h 7458372"/>
              <a:gd name="connsiteX34908" fmla="*/ 1978948 w 10505529"/>
              <a:gd name="connsiteY34908" fmla="*/ 1562528 h 7458372"/>
              <a:gd name="connsiteX34909" fmla="*/ 1988931 w 10505529"/>
              <a:gd name="connsiteY34909" fmla="*/ 1565990 h 7458372"/>
              <a:gd name="connsiteX34910" fmla="*/ 1994256 w 10505529"/>
              <a:gd name="connsiteY34910" fmla="*/ 1564919 h 7458372"/>
              <a:gd name="connsiteX34911" fmla="*/ 1997984 w 10505529"/>
              <a:gd name="connsiteY34911" fmla="*/ 1562528 h 7458372"/>
              <a:gd name="connsiteX34912" fmla="*/ 2000647 w 10505529"/>
              <a:gd name="connsiteY34912" fmla="*/ 1558402 h 7458372"/>
              <a:gd name="connsiteX34913" fmla="*/ 2001577 w 10505529"/>
              <a:gd name="connsiteY34913" fmla="*/ 1552940 h 7458372"/>
              <a:gd name="connsiteX34914" fmla="*/ 2000647 w 10505529"/>
              <a:gd name="connsiteY34914" fmla="*/ 1547746 h 7458372"/>
              <a:gd name="connsiteX34915" fmla="*/ 1997984 w 10505529"/>
              <a:gd name="connsiteY34915" fmla="*/ 1543620 h 7458372"/>
              <a:gd name="connsiteX34916" fmla="*/ 1993990 w 10505529"/>
              <a:gd name="connsiteY34916" fmla="*/ 1540957 h 7458372"/>
              <a:gd name="connsiteX34917" fmla="*/ 1988931 w 10505529"/>
              <a:gd name="connsiteY34917" fmla="*/ 1540033 h 7458372"/>
              <a:gd name="connsiteX34918" fmla="*/ 1771290 w 10505529"/>
              <a:gd name="connsiteY34918" fmla="*/ 1540033 h 7458372"/>
              <a:gd name="connsiteX34919" fmla="*/ 1761307 w 10505529"/>
              <a:gd name="connsiteY34919" fmla="*/ 1543620 h 7458372"/>
              <a:gd name="connsiteX34920" fmla="*/ 1757713 w 10505529"/>
              <a:gd name="connsiteY34920" fmla="*/ 1553078 h 7458372"/>
              <a:gd name="connsiteX34921" fmla="*/ 1761307 w 10505529"/>
              <a:gd name="connsiteY34921" fmla="*/ 1562528 h 7458372"/>
              <a:gd name="connsiteX34922" fmla="*/ 1771290 w 10505529"/>
              <a:gd name="connsiteY34922" fmla="*/ 1565990 h 7458372"/>
              <a:gd name="connsiteX34923" fmla="*/ 1776614 w 10505529"/>
              <a:gd name="connsiteY34923" fmla="*/ 1564919 h 7458372"/>
              <a:gd name="connsiteX34924" fmla="*/ 1780341 w 10505529"/>
              <a:gd name="connsiteY34924" fmla="*/ 1562528 h 7458372"/>
              <a:gd name="connsiteX34925" fmla="*/ 1783004 w 10505529"/>
              <a:gd name="connsiteY34925" fmla="*/ 1558402 h 7458372"/>
              <a:gd name="connsiteX34926" fmla="*/ 1784069 w 10505529"/>
              <a:gd name="connsiteY34926" fmla="*/ 1552940 h 7458372"/>
              <a:gd name="connsiteX34927" fmla="*/ 1783004 w 10505529"/>
              <a:gd name="connsiteY34927" fmla="*/ 1547746 h 7458372"/>
              <a:gd name="connsiteX34928" fmla="*/ 1780341 w 10505529"/>
              <a:gd name="connsiteY34928" fmla="*/ 1543620 h 7458372"/>
              <a:gd name="connsiteX34929" fmla="*/ 1776349 w 10505529"/>
              <a:gd name="connsiteY34929" fmla="*/ 1540957 h 7458372"/>
              <a:gd name="connsiteX34930" fmla="*/ 1771290 w 10505529"/>
              <a:gd name="connsiteY34930" fmla="*/ 1540033 h 7458372"/>
              <a:gd name="connsiteX34931" fmla="*/ 1553647 w 10505529"/>
              <a:gd name="connsiteY34931" fmla="*/ 1540033 h 7458372"/>
              <a:gd name="connsiteX34932" fmla="*/ 1543663 w 10505529"/>
              <a:gd name="connsiteY34932" fmla="*/ 1543620 h 7458372"/>
              <a:gd name="connsiteX34933" fmla="*/ 1540069 w 10505529"/>
              <a:gd name="connsiteY34933" fmla="*/ 1553078 h 7458372"/>
              <a:gd name="connsiteX34934" fmla="*/ 1543663 w 10505529"/>
              <a:gd name="connsiteY34934" fmla="*/ 1562528 h 7458372"/>
              <a:gd name="connsiteX34935" fmla="*/ 1553647 w 10505529"/>
              <a:gd name="connsiteY34935" fmla="*/ 1565990 h 7458372"/>
              <a:gd name="connsiteX34936" fmla="*/ 1558971 w 10505529"/>
              <a:gd name="connsiteY34936" fmla="*/ 1564919 h 7458372"/>
              <a:gd name="connsiteX34937" fmla="*/ 1562698 w 10505529"/>
              <a:gd name="connsiteY34937" fmla="*/ 1562528 h 7458372"/>
              <a:gd name="connsiteX34938" fmla="*/ 1565361 w 10505529"/>
              <a:gd name="connsiteY34938" fmla="*/ 1558402 h 7458372"/>
              <a:gd name="connsiteX34939" fmla="*/ 1566427 w 10505529"/>
              <a:gd name="connsiteY34939" fmla="*/ 1552940 h 7458372"/>
              <a:gd name="connsiteX34940" fmla="*/ 1565361 w 10505529"/>
              <a:gd name="connsiteY34940" fmla="*/ 1547746 h 7458372"/>
              <a:gd name="connsiteX34941" fmla="*/ 1562698 w 10505529"/>
              <a:gd name="connsiteY34941" fmla="*/ 1543620 h 7458372"/>
              <a:gd name="connsiteX34942" fmla="*/ 1558705 w 10505529"/>
              <a:gd name="connsiteY34942" fmla="*/ 1540957 h 7458372"/>
              <a:gd name="connsiteX34943" fmla="*/ 1553647 w 10505529"/>
              <a:gd name="connsiteY34943" fmla="*/ 1540033 h 7458372"/>
              <a:gd name="connsiteX34944" fmla="*/ 1336001 w 10505529"/>
              <a:gd name="connsiteY34944" fmla="*/ 1540033 h 7458372"/>
              <a:gd name="connsiteX34945" fmla="*/ 1326019 w 10505529"/>
              <a:gd name="connsiteY34945" fmla="*/ 1543620 h 7458372"/>
              <a:gd name="connsiteX34946" fmla="*/ 1322424 w 10505529"/>
              <a:gd name="connsiteY34946" fmla="*/ 1553078 h 7458372"/>
              <a:gd name="connsiteX34947" fmla="*/ 1326019 w 10505529"/>
              <a:gd name="connsiteY34947" fmla="*/ 1562528 h 7458372"/>
              <a:gd name="connsiteX34948" fmla="*/ 1336001 w 10505529"/>
              <a:gd name="connsiteY34948" fmla="*/ 1565990 h 7458372"/>
              <a:gd name="connsiteX34949" fmla="*/ 1341327 w 10505529"/>
              <a:gd name="connsiteY34949" fmla="*/ 1564919 h 7458372"/>
              <a:gd name="connsiteX34950" fmla="*/ 1345055 w 10505529"/>
              <a:gd name="connsiteY34950" fmla="*/ 1562528 h 7458372"/>
              <a:gd name="connsiteX34951" fmla="*/ 1347717 w 10505529"/>
              <a:gd name="connsiteY34951" fmla="*/ 1558402 h 7458372"/>
              <a:gd name="connsiteX34952" fmla="*/ 1348783 w 10505529"/>
              <a:gd name="connsiteY34952" fmla="*/ 1552940 h 7458372"/>
              <a:gd name="connsiteX34953" fmla="*/ 1347717 w 10505529"/>
              <a:gd name="connsiteY34953" fmla="*/ 1547746 h 7458372"/>
              <a:gd name="connsiteX34954" fmla="*/ 1345055 w 10505529"/>
              <a:gd name="connsiteY34954" fmla="*/ 1543620 h 7458372"/>
              <a:gd name="connsiteX34955" fmla="*/ 1341061 w 10505529"/>
              <a:gd name="connsiteY34955" fmla="*/ 1540957 h 7458372"/>
              <a:gd name="connsiteX34956" fmla="*/ 1336001 w 10505529"/>
              <a:gd name="connsiteY34956" fmla="*/ 1540033 h 7458372"/>
              <a:gd name="connsiteX34957" fmla="*/ 1118490 w 10505529"/>
              <a:gd name="connsiteY34957" fmla="*/ 1540033 h 7458372"/>
              <a:gd name="connsiteX34958" fmla="*/ 1108506 w 10505529"/>
              <a:gd name="connsiteY34958" fmla="*/ 1543620 h 7458372"/>
              <a:gd name="connsiteX34959" fmla="*/ 1104779 w 10505529"/>
              <a:gd name="connsiteY34959" fmla="*/ 1553078 h 7458372"/>
              <a:gd name="connsiteX34960" fmla="*/ 1108373 w 10505529"/>
              <a:gd name="connsiteY34960" fmla="*/ 1562528 h 7458372"/>
              <a:gd name="connsiteX34961" fmla="*/ 1118357 w 10505529"/>
              <a:gd name="connsiteY34961" fmla="*/ 1565990 h 7458372"/>
              <a:gd name="connsiteX34962" fmla="*/ 1123815 w 10505529"/>
              <a:gd name="connsiteY34962" fmla="*/ 1564919 h 7458372"/>
              <a:gd name="connsiteX34963" fmla="*/ 1127542 w 10505529"/>
              <a:gd name="connsiteY34963" fmla="*/ 1562528 h 7458372"/>
              <a:gd name="connsiteX34964" fmla="*/ 1130206 w 10505529"/>
              <a:gd name="connsiteY34964" fmla="*/ 1558402 h 7458372"/>
              <a:gd name="connsiteX34965" fmla="*/ 1131271 w 10505529"/>
              <a:gd name="connsiteY34965" fmla="*/ 1552940 h 7458372"/>
              <a:gd name="connsiteX34966" fmla="*/ 1130206 w 10505529"/>
              <a:gd name="connsiteY34966" fmla="*/ 1547746 h 7458372"/>
              <a:gd name="connsiteX34967" fmla="*/ 1127542 w 10505529"/>
              <a:gd name="connsiteY34967" fmla="*/ 1543620 h 7458372"/>
              <a:gd name="connsiteX34968" fmla="*/ 1123548 w 10505529"/>
              <a:gd name="connsiteY34968" fmla="*/ 1540957 h 7458372"/>
              <a:gd name="connsiteX34969" fmla="*/ 1118490 w 10505529"/>
              <a:gd name="connsiteY34969" fmla="*/ 1540033 h 7458372"/>
              <a:gd name="connsiteX34970" fmla="*/ 900979 w 10505529"/>
              <a:gd name="connsiteY34970" fmla="*/ 1540033 h 7458372"/>
              <a:gd name="connsiteX34971" fmla="*/ 890994 w 10505529"/>
              <a:gd name="connsiteY34971" fmla="*/ 1543620 h 7458372"/>
              <a:gd name="connsiteX34972" fmla="*/ 887268 w 10505529"/>
              <a:gd name="connsiteY34972" fmla="*/ 1553078 h 7458372"/>
              <a:gd name="connsiteX34973" fmla="*/ 890862 w 10505529"/>
              <a:gd name="connsiteY34973" fmla="*/ 1562528 h 7458372"/>
              <a:gd name="connsiteX34974" fmla="*/ 900845 w 10505529"/>
              <a:gd name="connsiteY34974" fmla="*/ 1565990 h 7458372"/>
              <a:gd name="connsiteX34975" fmla="*/ 906303 w 10505529"/>
              <a:gd name="connsiteY34975" fmla="*/ 1564919 h 7458372"/>
              <a:gd name="connsiteX34976" fmla="*/ 910031 w 10505529"/>
              <a:gd name="connsiteY34976" fmla="*/ 1562528 h 7458372"/>
              <a:gd name="connsiteX34977" fmla="*/ 912693 w 10505529"/>
              <a:gd name="connsiteY34977" fmla="*/ 1558402 h 7458372"/>
              <a:gd name="connsiteX34978" fmla="*/ 913758 w 10505529"/>
              <a:gd name="connsiteY34978" fmla="*/ 1552940 h 7458372"/>
              <a:gd name="connsiteX34979" fmla="*/ 912693 w 10505529"/>
              <a:gd name="connsiteY34979" fmla="*/ 1547746 h 7458372"/>
              <a:gd name="connsiteX34980" fmla="*/ 910031 w 10505529"/>
              <a:gd name="connsiteY34980" fmla="*/ 1543620 h 7458372"/>
              <a:gd name="connsiteX34981" fmla="*/ 906037 w 10505529"/>
              <a:gd name="connsiteY34981" fmla="*/ 1540957 h 7458372"/>
              <a:gd name="connsiteX34982" fmla="*/ 900979 w 10505529"/>
              <a:gd name="connsiteY34982" fmla="*/ 1540033 h 7458372"/>
              <a:gd name="connsiteX34983" fmla="*/ 683201 w 10505529"/>
              <a:gd name="connsiteY34983" fmla="*/ 1540033 h 7458372"/>
              <a:gd name="connsiteX34984" fmla="*/ 673218 w 10505529"/>
              <a:gd name="connsiteY34984" fmla="*/ 1543620 h 7458372"/>
              <a:gd name="connsiteX34985" fmla="*/ 669624 w 10505529"/>
              <a:gd name="connsiteY34985" fmla="*/ 1553078 h 7458372"/>
              <a:gd name="connsiteX34986" fmla="*/ 673218 w 10505529"/>
              <a:gd name="connsiteY34986" fmla="*/ 1562528 h 7458372"/>
              <a:gd name="connsiteX34987" fmla="*/ 683201 w 10505529"/>
              <a:gd name="connsiteY34987" fmla="*/ 1565990 h 7458372"/>
              <a:gd name="connsiteX34988" fmla="*/ 688526 w 10505529"/>
              <a:gd name="connsiteY34988" fmla="*/ 1564919 h 7458372"/>
              <a:gd name="connsiteX34989" fmla="*/ 692253 w 10505529"/>
              <a:gd name="connsiteY34989" fmla="*/ 1562528 h 7458372"/>
              <a:gd name="connsiteX34990" fmla="*/ 694916 w 10505529"/>
              <a:gd name="connsiteY34990" fmla="*/ 1558402 h 7458372"/>
              <a:gd name="connsiteX34991" fmla="*/ 695982 w 10505529"/>
              <a:gd name="connsiteY34991" fmla="*/ 1552940 h 7458372"/>
              <a:gd name="connsiteX34992" fmla="*/ 694916 w 10505529"/>
              <a:gd name="connsiteY34992" fmla="*/ 1547746 h 7458372"/>
              <a:gd name="connsiteX34993" fmla="*/ 692253 w 10505529"/>
              <a:gd name="connsiteY34993" fmla="*/ 1543620 h 7458372"/>
              <a:gd name="connsiteX34994" fmla="*/ 688260 w 10505529"/>
              <a:gd name="connsiteY34994" fmla="*/ 1540957 h 7458372"/>
              <a:gd name="connsiteX34995" fmla="*/ 683201 w 10505529"/>
              <a:gd name="connsiteY34995" fmla="*/ 1540033 h 7458372"/>
              <a:gd name="connsiteX34996" fmla="*/ 465557 w 10505529"/>
              <a:gd name="connsiteY34996" fmla="*/ 1540033 h 7458372"/>
              <a:gd name="connsiteX34997" fmla="*/ 455574 w 10505529"/>
              <a:gd name="connsiteY34997" fmla="*/ 1543620 h 7458372"/>
              <a:gd name="connsiteX34998" fmla="*/ 451980 w 10505529"/>
              <a:gd name="connsiteY34998" fmla="*/ 1553078 h 7458372"/>
              <a:gd name="connsiteX34999" fmla="*/ 455574 w 10505529"/>
              <a:gd name="connsiteY34999" fmla="*/ 1562528 h 7458372"/>
              <a:gd name="connsiteX35000" fmla="*/ 465557 w 10505529"/>
              <a:gd name="connsiteY35000" fmla="*/ 1565990 h 7458372"/>
              <a:gd name="connsiteX35001" fmla="*/ 470882 w 10505529"/>
              <a:gd name="connsiteY35001" fmla="*/ 1564919 h 7458372"/>
              <a:gd name="connsiteX35002" fmla="*/ 474610 w 10505529"/>
              <a:gd name="connsiteY35002" fmla="*/ 1562528 h 7458372"/>
              <a:gd name="connsiteX35003" fmla="*/ 477273 w 10505529"/>
              <a:gd name="connsiteY35003" fmla="*/ 1558402 h 7458372"/>
              <a:gd name="connsiteX35004" fmla="*/ 478338 w 10505529"/>
              <a:gd name="connsiteY35004" fmla="*/ 1552940 h 7458372"/>
              <a:gd name="connsiteX35005" fmla="*/ 477273 w 10505529"/>
              <a:gd name="connsiteY35005" fmla="*/ 1547746 h 7458372"/>
              <a:gd name="connsiteX35006" fmla="*/ 474610 w 10505529"/>
              <a:gd name="connsiteY35006" fmla="*/ 1543620 h 7458372"/>
              <a:gd name="connsiteX35007" fmla="*/ 470617 w 10505529"/>
              <a:gd name="connsiteY35007" fmla="*/ 1540957 h 7458372"/>
              <a:gd name="connsiteX35008" fmla="*/ 465557 w 10505529"/>
              <a:gd name="connsiteY35008" fmla="*/ 1540033 h 7458372"/>
              <a:gd name="connsiteX35009" fmla="*/ 247913 w 10505529"/>
              <a:gd name="connsiteY35009" fmla="*/ 1540033 h 7458372"/>
              <a:gd name="connsiteX35010" fmla="*/ 237931 w 10505529"/>
              <a:gd name="connsiteY35010" fmla="*/ 1543620 h 7458372"/>
              <a:gd name="connsiteX35011" fmla="*/ 234337 w 10505529"/>
              <a:gd name="connsiteY35011" fmla="*/ 1553078 h 7458372"/>
              <a:gd name="connsiteX35012" fmla="*/ 237931 w 10505529"/>
              <a:gd name="connsiteY35012" fmla="*/ 1562528 h 7458372"/>
              <a:gd name="connsiteX35013" fmla="*/ 247913 w 10505529"/>
              <a:gd name="connsiteY35013" fmla="*/ 1565990 h 7458372"/>
              <a:gd name="connsiteX35014" fmla="*/ 253239 w 10505529"/>
              <a:gd name="connsiteY35014" fmla="*/ 1564919 h 7458372"/>
              <a:gd name="connsiteX35015" fmla="*/ 256965 w 10505529"/>
              <a:gd name="connsiteY35015" fmla="*/ 1562528 h 7458372"/>
              <a:gd name="connsiteX35016" fmla="*/ 259629 w 10505529"/>
              <a:gd name="connsiteY35016" fmla="*/ 1558402 h 7458372"/>
              <a:gd name="connsiteX35017" fmla="*/ 260694 w 10505529"/>
              <a:gd name="connsiteY35017" fmla="*/ 1552940 h 7458372"/>
              <a:gd name="connsiteX35018" fmla="*/ 259629 w 10505529"/>
              <a:gd name="connsiteY35018" fmla="*/ 1547746 h 7458372"/>
              <a:gd name="connsiteX35019" fmla="*/ 256965 w 10505529"/>
              <a:gd name="connsiteY35019" fmla="*/ 1543620 h 7458372"/>
              <a:gd name="connsiteX35020" fmla="*/ 252973 w 10505529"/>
              <a:gd name="connsiteY35020" fmla="*/ 1540957 h 7458372"/>
              <a:gd name="connsiteX35021" fmla="*/ 247913 w 10505529"/>
              <a:gd name="connsiteY35021" fmla="*/ 1540033 h 7458372"/>
              <a:gd name="connsiteX35022" fmla="*/ 30270 w 10505529"/>
              <a:gd name="connsiteY35022" fmla="*/ 1540033 h 7458372"/>
              <a:gd name="connsiteX35023" fmla="*/ 20287 w 10505529"/>
              <a:gd name="connsiteY35023" fmla="*/ 1543620 h 7458372"/>
              <a:gd name="connsiteX35024" fmla="*/ 16693 w 10505529"/>
              <a:gd name="connsiteY35024" fmla="*/ 1553078 h 7458372"/>
              <a:gd name="connsiteX35025" fmla="*/ 20287 w 10505529"/>
              <a:gd name="connsiteY35025" fmla="*/ 1562528 h 7458372"/>
              <a:gd name="connsiteX35026" fmla="*/ 30270 w 10505529"/>
              <a:gd name="connsiteY35026" fmla="*/ 1565990 h 7458372"/>
              <a:gd name="connsiteX35027" fmla="*/ 35595 w 10505529"/>
              <a:gd name="connsiteY35027" fmla="*/ 1564919 h 7458372"/>
              <a:gd name="connsiteX35028" fmla="*/ 39322 w 10505529"/>
              <a:gd name="connsiteY35028" fmla="*/ 1562528 h 7458372"/>
              <a:gd name="connsiteX35029" fmla="*/ 41985 w 10505529"/>
              <a:gd name="connsiteY35029" fmla="*/ 1558402 h 7458372"/>
              <a:gd name="connsiteX35030" fmla="*/ 42916 w 10505529"/>
              <a:gd name="connsiteY35030" fmla="*/ 1552940 h 7458372"/>
              <a:gd name="connsiteX35031" fmla="*/ 41985 w 10505529"/>
              <a:gd name="connsiteY35031" fmla="*/ 1547746 h 7458372"/>
              <a:gd name="connsiteX35032" fmla="*/ 39322 w 10505529"/>
              <a:gd name="connsiteY35032" fmla="*/ 1543620 h 7458372"/>
              <a:gd name="connsiteX35033" fmla="*/ 35329 w 10505529"/>
              <a:gd name="connsiteY35033" fmla="*/ 1540957 h 7458372"/>
              <a:gd name="connsiteX35034" fmla="*/ 30270 w 10505529"/>
              <a:gd name="connsiteY35034" fmla="*/ 1540033 h 7458372"/>
              <a:gd name="connsiteX35035" fmla="*/ 10475977 w 10505529"/>
              <a:gd name="connsiteY35035" fmla="*/ 1523391 h 7458372"/>
              <a:gd name="connsiteX35036" fmla="*/ 10487824 w 10505529"/>
              <a:gd name="connsiteY35036" fmla="*/ 1525915 h 7458372"/>
              <a:gd name="connsiteX35037" fmla="*/ 10497143 w 10505529"/>
              <a:gd name="connsiteY35037" fmla="*/ 1532304 h 7458372"/>
              <a:gd name="connsiteX35038" fmla="*/ 10503266 w 10505529"/>
              <a:gd name="connsiteY35038" fmla="*/ 1541623 h 7458372"/>
              <a:gd name="connsiteX35039" fmla="*/ 10505529 w 10505529"/>
              <a:gd name="connsiteY35039" fmla="*/ 1553078 h 7458372"/>
              <a:gd name="connsiteX35040" fmla="*/ 10503266 w 10505529"/>
              <a:gd name="connsiteY35040" fmla="*/ 1564791 h 7458372"/>
              <a:gd name="connsiteX35041" fmla="*/ 10497143 w 10505529"/>
              <a:gd name="connsiteY35041" fmla="*/ 1574105 h 7458372"/>
              <a:gd name="connsiteX35042" fmla="*/ 10487824 w 10505529"/>
              <a:gd name="connsiteY35042" fmla="*/ 1580363 h 7458372"/>
              <a:gd name="connsiteX35043" fmla="*/ 10475977 w 10505529"/>
              <a:gd name="connsiteY35043" fmla="*/ 1582625 h 7458372"/>
              <a:gd name="connsiteX35044" fmla="*/ 10454145 w 10505529"/>
              <a:gd name="connsiteY35044" fmla="*/ 1574105 h 7458372"/>
              <a:gd name="connsiteX35045" fmla="*/ 10445759 w 10505529"/>
              <a:gd name="connsiteY35045" fmla="*/ 1552940 h 7458372"/>
              <a:gd name="connsiteX35046" fmla="*/ 10454145 w 10505529"/>
              <a:gd name="connsiteY35046" fmla="*/ 1531907 h 7458372"/>
              <a:gd name="connsiteX35047" fmla="*/ 10475977 w 10505529"/>
              <a:gd name="connsiteY35047" fmla="*/ 1523391 h 7458372"/>
              <a:gd name="connsiteX35048" fmla="*/ 10258466 w 10505529"/>
              <a:gd name="connsiteY35048" fmla="*/ 1523391 h 7458372"/>
              <a:gd name="connsiteX35049" fmla="*/ 10270313 w 10505529"/>
              <a:gd name="connsiteY35049" fmla="*/ 1525915 h 7458372"/>
              <a:gd name="connsiteX35050" fmla="*/ 10279631 w 10505529"/>
              <a:gd name="connsiteY35050" fmla="*/ 1532304 h 7458372"/>
              <a:gd name="connsiteX35051" fmla="*/ 10285754 w 10505529"/>
              <a:gd name="connsiteY35051" fmla="*/ 1541623 h 7458372"/>
              <a:gd name="connsiteX35052" fmla="*/ 10288017 w 10505529"/>
              <a:gd name="connsiteY35052" fmla="*/ 1553078 h 7458372"/>
              <a:gd name="connsiteX35053" fmla="*/ 10285754 w 10505529"/>
              <a:gd name="connsiteY35053" fmla="*/ 1564791 h 7458372"/>
              <a:gd name="connsiteX35054" fmla="*/ 10279631 w 10505529"/>
              <a:gd name="connsiteY35054" fmla="*/ 1574105 h 7458372"/>
              <a:gd name="connsiteX35055" fmla="*/ 10270313 w 10505529"/>
              <a:gd name="connsiteY35055" fmla="*/ 1580363 h 7458372"/>
              <a:gd name="connsiteX35056" fmla="*/ 10258466 w 10505529"/>
              <a:gd name="connsiteY35056" fmla="*/ 1582625 h 7458372"/>
              <a:gd name="connsiteX35057" fmla="*/ 10236633 w 10505529"/>
              <a:gd name="connsiteY35057" fmla="*/ 1574105 h 7458372"/>
              <a:gd name="connsiteX35058" fmla="*/ 10228247 w 10505529"/>
              <a:gd name="connsiteY35058" fmla="*/ 1552940 h 7458372"/>
              <a:gd name="connsiteX35059" fmla="*/ 10236633 w 10505529"/>
              <a:gd name="connsiteY35059" fmla="*/ 1531907 h 7458372"/>
              <a:gd name="connsiteX35060" fmla="*/ 10258466 w 10505529"/>
              <a:gd name="connsiteY35060" fmla="*/ 1523391 h 7458372"/>
              <a:gd name="connsiteX35061" fmla="*/ 10040820 w 10505529"/>
              <a:gd name="connsiteY35061" fmla="*/ 1523391 h 7458372"/>
              <a:gd name="connsiteX35062" fmla="*/ 10052534 w 10505529"/>
              <a:gd name="connsiteY35062" fmla="*/ 1525915 h 7458372"/>
              <a:gd name="connsiteX35063" fmla="*/ 10061852 w 10505529"/>
              <a:gd name="connsiteY35063" fmla="*/ 1532304 h 7458372"/>
              <a:gd name="connsiteX35064" fmla="*/ 10067976 w 10505529"/>
              <a:gd name="connsiteY35064" fmla="*/ 1541623 h 7458372"/>
              <a:gd name="connsiteX35065" fmla="*/ 10070239 w 10505529"/>
              <a:gd name="connsiteY35065" fmla="*/ 1553078 h 7458372"/>
              <a:gd name="connsiteX35066" fmla="*/ 10067976 w 10505529"/>
              <a:gd name="connsiteY35066" fmla="*/ 1564791 h 7458372"/>
              <a:gd name="connsiteX35067" fmla="*/ 10061852 w 10505529"/>
              <a:gd name="connsiteY35067" fmla="*/ 1574105 h 7458372"/>
              <a:gd name="connsiteX35068" fmla="*/ 10052534 w 10505529"/>
              <a:gd name="connsiteY35068" fmla="*/ 1580363 h 7458372"/>
              <a:gd name="connsiteX35069" fmla="*/ 10040820 w 10505529"/>
              <a:gd name="connsiteY35069" fmla="*/ 1582625 h 7458372"/>
              <a:gd name="connsiteX35070" fmla="*/ 10018988 w 10505529"/>
              <a:gd name="connsiteY35070" fmla="*/ 1574105 h 7458372"/>
              <a:gd name="connsiteX35071" fmla="*/ 10010602 w 10505529"/>
              <a:gd name="connsiteY35071" fmla="*/ 1552940 h 7458372"/>
              <a:gd name="connsiteX35072" fmla="*/ 10018988 w 10505529"/>
              <a:gd name="connsiteY35072" fmla="*/ 1531907 h 7458372"/>
              <a:gd name="connsiteX35073" fmla="*/ 10040820 w 10505529"/>
              <a:gd name="connsiteY35073" fmla="*/ 1523391 h 7458372"/>
              <a:gd name="connsiteX35074" fmla="*/ 9823176 w 10505529"/>
              <a:gd name="connsiteY35074" fmla="*/ 1523391 h 7458372"/>
              <a:gd name="connsiteX35075" fmla="*/ 9834890 w 10505529"/>
              <a:gd name="connsiteY35075" fmla="*/ 1525915 h 7458372"/>
              <a:gd name="connsiteX35076" fmla="*/ 9844208 w 10505529"/>
              <a:gd name="connsiteY35076" fmla="*/ 1532306 h 7458372"/>
              <a:gd name="connsiteX35077" fmla="*/ 9850331 w 10505529"/>
              <a:gd name="connsiteY35077" fmla="*/ 1541623 h 7458372"/>
              <a:gd name="connsiteX35078" fmla="*/ 9852595 w 10505529"/>
              <a:gd name="connsiteY35078" fmla="*/ 1553078 h 7458372"/>
              <a:gd name="connsiteX35079" fmla="*/ 9850331 w 10505529"/>
              <a:gd name="connsiteY35079" fmla="*/ 1564797 h 7458372"/>
              <a:gd name="connsiteX35080" fmla="*/ 9844208 w 10505529"/>
              <a:gd name="connsiteY35080" fmla="*/ 1574105 h 7458372"/>
              <a:gd name="connsiteX35081" fmla="*/ 9834890 w 10505529"/>
              <a:gd name="connsiteY35081" fmla="*/ 1580363 h 7458372"/>
              <a:gd name="connsiteX35082" fmla="*/ 9823176 w 10505529"/>
              <a:gd name="connsiteY35082" fmla="*/ 1582625 h 7458372"/>
              <a:gd name="connsiteX35083" fmla="*/ 9801343 w 10505529"/>
              <a:gd name="connsiteY35083" fmla="*/ 1574105 h 7458372"/>
              <a:gd name="connsiteX35084" fmla="*/ 9792957 w 10505529"/>
              <a:gd name="connsiteY35084" fmla="*/ 1552940 h 7458372"/>
              <a:gd name="connsiteX35085" fmla="*/ 9801343 w 10505529"/>
              <a:gd name="connsiteY35085" fmla="*/ 1531907 h 7458372"/>
              <a:gd name="connsiteX35086" fmla="*/ 9823176 w 10505529"/>
              <a:gd name="connsiteY35086" fmla="*/ 1523391 h 7458372"/>
              <a:gd name="connsiteX35087" fmla="*/ 9605531 w 10505529"/>
              <a:gd name="connsiteY35087" fmla="*/ 1523391 h 7458372"/>
              <a:gd name="connsiteX35088" fmla="*/ 9617245 w 10505529"/>
              <a:gd name="connsiteY35088" fmla="*/ 1525915 h 7458372"/>
              <a:gd name="connsiteX35089" fmla="*/ 9626562 w 10505529"/>
              <a:gd name="connsiteY35089" fmla="*/ 1532306 h 7458372"/>
              <a:gd name="connsiteX35090" fmla="*/ 9632686 w 10505529"/>
              <a:gd name="connsiteY35090" fmla="*/ 1541623 h 7458372"/>
              <a:gd name="connsiteX35091" fmla="*/ 9634949 w 10505529"/>
              <a:gd name="connsiteY35091" fmla="*/ 1553078 h 7458372"/>
              <a:gd name="connsiteX35092" fmla="*/ 9632686 w 10505529"/>
              <a:gd name="connsiteY35092" fmla="*/ 1564797 h 7458372"/>
              <a:gd name="connsiteX35093" fmla="*/ 9626562 w 10505529"/>
              <a:gd name="connsiteY35093" fmla="*/ 1574105 h 7458372"/>
              <a:gd name="connsiteX35094" fmla="*/ 9617245 w 10505529"/>
              <a:gd name="connsiteY35094" fmla="*/ 1580363 h 7458372"/>
              <a:gd name="connsiteX35095" fmla="*/ 9605531 w 10505529"/>
              <a:gd name="connsiteY35095" fmla="*/ 1582625 h 7458372"/>
              <a:gd name="connsiteX35096" fmla="*/ 9583698 w 10505529"/>
              <a:gd name="connsiteY35096" fmla="*/ 1574105 h 7458372"/>
              <a:gd name="connsiteX35097" fmla="*/ 9575312 w 10505529"/>
              <a:gd name="connsiteY35097" fmla="*/ 1552940 h 7458372"/>
              <a:gd name="connsiteX35098" fmla="*/ 9583698 w 10505529"/>
              <a:gd name="connsiteY35098" fmla="*/ 1531907 h 7458372"/>
              <a:gd name="connsiteX35099" fmla="*/ 9605531 w 10505529"/>
              <a:gd name="connsiteY35099" fmla="*/ 1523391 h 7458372"/>
              <a:gd name="connsiteX35100" fmla="*/ 9387885 w 10505529"/>
              <a:gd name="connsiteY35100" fmla="*/ 1523391 h 7458372"/>
              <a:gd name="connsiteX35101" fmla="*/ 9399599 w 10505529"/>
              <a:gd name="connsiteY35101" fmla="*/ 1525915 h 7458372"/>
              <a:gd name="connsiteX35102" fmla="*/ 9408917 w 10505529"/>
              <a:gd name="connsiteY35102" fmla="*/ 1532306 h 7458372"/>
              <a:gd name="connsiteX35103" fmla="*/ 9415041 w 10505529"/>
              <a:gd name="connsiteY35103" fmla="*/ 1541623 h 7458372"/>
              <a:gd name="connsiteX35104" fmla="*/ 9417304 w 10505529"/>
              <a:gd name="connsiteY35104" fmla="*/ 1553078 h 7458372"/>
              <a:gd name="connsiteX35105" fmla="*/ 9415041 w 10505529"/>
              <a:gd name="connsiteY35105" fmla="*/ 1564797 h 7458372"/>
              <a:gd name="connsiteX35106" fmla="*/ 9408917 w 10505529"/>
              <a:gd name="connsiteY35106" fmla="*/ 1574105 h 7458372"/>
              <a:gd name="connsiteX35107" fmla="*/ 9399599 w 10505529"/>
              <a:gd name="connsiteY35107" fmla="*/ 1580363 h 7458372"/>
              <a:gd name="connsiteX35108" fmla="*/ 9387885 w 10505529"/>
              <a:gd name="connsiteY35108" fmla="*/ 1582625 h 7458372"/>
              <a:gd name="connsiteX35109" fmla="*/ 9366053 w 10505529"/>
              <a:gd name="connsiteY35109" fmla="*/ 1574105 h 7458372"/>
              <a:gd name="connsiteX35110" fmla="*/ 9357667 w 10505529"/>
              <a:gd name="connsiteY35110" fmla="*/ 1552940 h 7458372"/>
              <a:gd name="connsiteX35111" fmla="*/ 9366053 w 10505529"/>
              <a:gd name="connsiteY35111" fmla="*/ 1531907 h 7458372"/>
              <a:gd name="connsiteX35112" fmla="*/ 9387885 w 10505529"/>
              <a:gd name="connsiteY35112" fmla="*/ 1523391 h 7458372"/>
              <a:gd name="connsiteX35113" fmla="*/ 9170374 w 10505529"/>
              <a:gd name="connsiteY35113" fmla="*/ 1523391 h 7458372"/>
              <a:gd name="connsiteX35114" fmla="*/ 9182088 w 10505529"/>
              <a:gd name="connsiteY35114" fmla="*/ 1525915 h 7458372"/>
              <a:gd name="connsiteX35115" fmla="*/ 9191405 w 10505529"/>
              <a:gd name="connsiteY35115" fmla="*/ 1532306 h 7458372"/>
              <a:gd name="connsiteX35116" fmla="*/ 9197529 w 10505529"/>
              <a:gd name="connsiteY35116" fmla="*/ 1541623 h 7458372"/>
              <a:gd name="connsiteX35117" fmla="*/ 9199792 w 10505529"/>
              <a:gd name="connsiteY35117" fmla="*/ 1553078 h 7458372"/>
              <a:gd name="connsiteX35118" fmla="*/ 9197529 w 10505529"/>
              <a:gd name="connsiteY35118" fmla="*/ 1564797 h 7458372"/>
              <a:gd name="connsiteX35119" fmla="*/ 9191405 w 10505529"/>
              <a:gd name="connsiteY35119" fmla="*/ 1574105 h 7458372"/>
              <a:gd name="connsiteX35120" fmla="*/ 9182088 w 10505529"/>
              <a:gd name="connsiteY35120" fmla="*/ 1580363 h 7458372"/>
              <a:gd name="connsiteX35121" fmla="*/ 9170374 w 10505529"/>
              <a:gd name="connsiteY35121" fmla="*/ 1582625 h 7458372"/>
              <a:gd name="connsiteX35122" fmla="*/ 9148541 w 10505529"/>
              <a:gd name="connsiteY35122" fmla="*/ 1574105 h 7458372"/>
              <a:gd name="connsiteX35123" fmla="*/ 9140155 w 10505529"/>
              <a:gd name="connsiteY35123" fmla="*/ 1552940 h 7458372"/>
              <a:gd name="connsiteX35124" fmla="*/ 9148541 w 10505529"/>
              <a:gd name="connsiteY35124" fmla="*/ 1531907 h 7458372"/>
              <a:gd name="connsiteX35125" fmla="*/ 9170374 w 10505529"/>
              <a:gd name="connsiteY35125" fmla="*/ 1523391 h 7458372"/>
              <a:gd name="connsiteX35126" fmla="*/ 8952728 w 10505529"/>
              <a:gd name="connsiteY35126" fmla="*/ 1523391 h 7458372"/>
              <a:gd name="connsiteX35127" fmla="*/ 8964442 w 10505529"/>
              <a:gd name="connsiteY35127" fmla="*/ 1525915 h 7458372"/>
              <a:gd name="connsiteX35128" fmla="*/ 8973760 w 10505529"/>
              <a:gd name="connsiteY35128" fmla="*/ 1532306 h 7458372"/>
              <a:gd name="connsiteX35129" fmla="*/ 8979884 w 10505529"/>
              <a:gd name="connsiteY35129" fmla="*/ 1541623 h 7458372"/>
              <a:gd name="connsiteX35130" fmla="*/ 8982147 w 10505529"/>
              <a:gd name="connsiteY35130" fmla="*/ 1553078 h 7458372"/>
              <a:gd name="connsiteX35131" fmla="*/ 8979884 w 10505529"/>
              <a:gd name="connsiteY35131" fmla="*/ 1564797 h 7458372"/>
              <a:gd name="connsiteX35132" fmla="*/ 8973760 w 10505529"/>
              <a:gd name="connsiteY35132" fmla="*/ 1574105 h 7458372"/>
              <a:gd name="connsiteX35133" fmla="*/ 8964442 w 10505529"/>
              <a:gd name="connsiteY35133" fmla="*/ 1580363 h 7458372"/>
              <a:gd name="connsiteX35134" fmla="*/ 8952728 w 10505529"/>
              <a:gd name="connsiteY35134" fmla="*/ 1582625 h 7458372"/>
              <a:gd name="connsiteX35135" fmla="*/ 8930896 w 10505529"/>
              <a:gd name="connsiteY35135" fmla="*/ 1574105 h 7458372"/>
              <a:gd name="connsiteX35136" fmla="*/ 8922510 w 10505529"/>
              <a:gd name="connsiteY35136" fmla="*/ 1552940 h 7458372"/>
              <a:gd name="connsiteX35137" fmla="*/ 8930896 w 10505529"/>
              <a:gd name="connsiteY35137" fmla="*/ 1531907 h 7458372"/>
              <a:gd name="connsiteX35138" fmla="*/ 8952728 w 10505529"/>
              <a:gd name="connsiteY35138" fmla="*/ 1523391 h 7458372"/>
              <a:gd name="connsiteX35139" fmla="*/ 8735083 w 10505529"/>
              <a:gd name="connsiteY35139" fmla="*/ 1523391 h 7458372"/>
              <a:gd name="connsiteX35140" fmla="*/ 8746797 w 10505529"/>
              <a:gd name="connsiteY35140" fmla="*/ 1525915 h 7458372"/>
              <a:gd name="connsiteX35141" fmla="*/ 8756115 w 10505529"/>
              <a:gd name="connsiteY35141" fmla="*/ 1532306 h 7458372"/>
              <a:gd name="connsiteX35142" fmla="*/ 8762238 w 10505529"/>
              <a:gd name="connsiteY35142" fmla="*/ 1541623 h 7458372"/>
              <a:gd name="connsiteX35143" fmla="*/ 8764502 w 10505529"/>
              <a:gd name="connsiteY35143" fmla="*/ 1553078 h 7458372"/>
              <a:gd name="connsiteX35144" fmla="*/ 8762238 w 10505529"/>
              <a:gd name="connsiteY35144" fmla="*/ 1564797 h 7458372"/>
              <a:gd name="connsiteX35145" fmla="*/ 8756115 w 10505529"/>
              <a:gd name="connsiteY35145" fmla="*/ 1574105 h 7458372"/>
              <a:gd name="connsiteX35146" fmla="*/ 8746797 w 10505529"/>
              <a:gd name="connsiteY35146" fmla="*/ 1580363 h 7458372"/>
              <a:gd name="connsiteX35147" fmla="*/ 8735083 w 10505529"/>
              <a:gd name="connsiteY35147" fmla="*/ 1582625 h 7458372"/>
              <a:gd name="connsiteX35148" fmla="*/ 8713250 w 10505529"/>
              <a:gd name="connsiteY35148" fmla="*/ 1574105 h 7458372"/>
              <a:gd name="connsiteX35149" fmla="*/ 8704864 w 10505529"/>
              <a:gd name="connsiteY35149" fmla="*/ 1552940 h 7458372"/>
              <a:gd name="connsiteX35150" fmla="*/ 8713250 w 10505529"/>
              <a:gd name="connsiteY35150" fmla="*/ 1531907 h 7458372"/>
              <a:gd name="connsiteX35151" fmla="*/ 8735083 w 10505529"/>
              <a:gd name="connsiteY35151" fmla="*/ 1523391 h 7458372"/>
              <a:gd name="connsiteX35152" fmla="*/ 8517438 w 10505529"/>
              <a:gd name="connsiteY35152" fmla="*/ 1523391 h 7458372"/>
              <a:gd name="connsiteX35153" fmla="*/ 8529152 w 10505529"/>
              <a:gd name="connsiteY35153" fmla="*/ 1525915 h 7458372"/>
              <a:gd name="connsiteX35154" fmla="*/ 8538470 w 10505529"/>
              <a:gd name="connsiteY35154" fmla="*/ 1532306 h 7458372"/>
              <a:gd name="connsiteX35155" fmla="*/ 8544594 w 10505529"/>
              <a:gd name="connsiteY35155" fmla="*/ 1541623 h 7458372"/>
              <a:gd name="connsiteX35156" fmla="*/ 8546857 w 10505529"/>
              <a:gd name="connsiteY35156" fmla="*/ 1553078 h 7458372"/>
              <a:gd name="connsiteX35157" fmla="*/ 8544594 w 10505529"/>
              <a:gd name="connsiteY35157" fmla="*/ 1564797 h 7458372"/>
              <a:gd name="connsiteX35158" fmla="*/ 8538470 w 10505529"/>
              <a:gd name="connsiteY35158" fmla="*/ 1574105 h 7458372"/>
              <a:gd name="connsiteX35159" fmla="*/ 8529152 w 10505529"/>
              <a:gd name="connsiteY35159" fmla="*/ 1580363 h 7458372"/>
              <a:gd name="connsiteX35160" fmla="*/ 8517438 w 10505529"/>
              <a:gd name="connsiteY35160" fmla="*/ 1582625 h 7458372"/>
              <a:gd name="connsiteX35161" fmla="*/ 8495606 w 10505529"/>
              <a:gd name="connsiteY35161" fmla="*/ 1574105 h 7458372"/>
              <a:gd name="connsiteX35162" fmla="*/ 8487220 w 10505529"/>
              <a:gd name="connsiteY35162" fmla="*/ 1552940 h 7458372"/>
              <a:gd name="connsiteX35163" fmla="*/ 8495606 w 10505529"/>
              <a:gd name="connsiteY35163" fmla="*/ 1531907 h 7458372"/>
              <a:gd name="connsiteX35164" fmla="*/ 8517438 w 10505529"/>
              <a:gd name="connsiteY35164" fmla="*/ 1523391 h 7458372"/>
              <a:gd name="connsiteX35165" fmla="*/ 8299793 w 10505529"/>
              <a:gd name="connsiteY35165" fmla="*/ 1523391 h 7458372"/>
              <a:gd name="connsiteX35166" fmla="*/ 8311507 w 10505529"/>
              <a:gd name="connsiteY35166" fmla="*/ 1525915 h 7458372"/>
              <a:gd name="connsiteX35167" fmla="*/ 8320825 w 10505529"/>
              <a:gd name="connsiteY35167" fmla="*/ 1532306 h 7458372"/>
              <a:gd name="connsiteX35168" fmla="*/ 8326948 w 10505529"/>
              <a:gd name="connsiteY35168" fmla="*/ 1541623 h 7458372"/>
              <a:gd name="connsiteX35169" fmla="*/ 8329212 w 10505529"/>
              <a:gd name="connsiteY35169" fmla="*/ 1553078 h 7458372"/>
              <a:gd name="connsiteX35170" fmla="*/ 8326948 w 10505529"/>
              <a:gd name="connsiteY35170" fmla="*/ 1564797 h 7458372"/>
              <a:gd name="connsiteX35171" fmla="*/ 8320825 w 10505529"/>
              <a:gd name="connsiteY35171" fmla="*/ 1574105 h 7458372"/>
              <a:gd name="connsiteX35172" fmla="*/ 8311507 w 10505529"/>
              <a:gd name="connsiteY35172" fmla="*/ 1580363 h 7458372"/>
              <a:gd name="connsiteX35173" fmla="*/ 8299793 w 10505529"/>
              <a:gd name="connsiteY35173" fmla="*/ 1582625 h 7458372"/>
              <a:gd name="connsiteX35174" fmla="*/ 8277960 w 10505529"/>
              <a:gd name="connsiteY35174" fmla="*/ 1574105 h 7458372"/>
              <a:gd name="connsiteX35175" fmla="*/ 8269574 w 10505529"/>
              <a:gd name="connsiteY35175" fmla="*/ 1552940 h 7458372"/>
              <a:gd name="connsiteX35176" fmla="*/ 8277960 w 10505529"/>
              <a:gd name="connsiteY35176" fmla="*/ 1531907 h 7458372"/>
              <a:gd name="connsiteX35177" fmla="*/ 8299793 w 10505529"/>
              <a:gd name="connsiteY35177" fmla="*/ 1523391 h 7458372"/>
              <a:gd name="connsiteX35178" fmla="*/ 8082281 w 10505529"/>
              <a:gd name="connsiteY35178" fmla="*/ 1523391 h 7458372"/>
              <a:gd name="connsiteX35179" fmla="*/ 8094127 w 10505529"/>
              <a:gd name="connsiteY35179" fmla="*/ 1525915 h 7458372"/>
              <a:gd name="connsiteX35180" fmla="*/ 8103446 w 10505529"/>
              <a:gd name="connsiteY35180" fmla="*/ 1532306 h 7458372"/>
              <a:gd name="connsiteX35181" fmla="*/ 8109569 w 10505529"/>
              <a:gd name="connsiteY35181" fmla="*/ 1541623 h 7458372"/>
              <a:gd name="connsiteX35182" fmla="*/ 8111832 w 10505529"/>
              <a:gd name="connsiteY35182" fmla="*/ 1553078 h 7458372"/>
              <a:gd name="connsiteX35183" fmla="*/ 8109569 w 10505529"/>
              <a:gd name="connsiteY35183" fmla="*/ 1564797 h 7458372"/>
              <a:gd name="connsiteX35184" fmla="*/ 8103446 w 10505529"/>
              <a:gd name="connsiteY35184" fmla="*/ 1574105 h 7458372"/>
              <a:gd name="connsiteX35185" fmla="*/ 8094127 w 10505529"/>
              <a:gd name="connsiteY35185" fmla="*/ 1580363 h 7458372"/>
              <a:gd name="connsiteX35186" fmla="*/ 8082281 w 10505529"/>
              <a:gd name="connsiteY35186" fmla="*/ 1582625 h 7458372"/>
              <a:gd name="connsiteX35187" fmla="*/ 8060448 w 10505529"/>
              <a:gd name="connsiteY35187" fmla="*/ 1574105 h 7458372"/>
              <a:gd name="connsiteX35188" fmla="*/ 8052062 w 10505529"/>
              <a:gd name="connsiteY35188" fmla="*/ 1552940 h 7458372"/>
              <a:gd name="connsiteX35189" fmla="*/ 8060448 w 10505529"/>
              <a:gd name="connsiteY35189" fmla="*/ 1531907 h 7458372"/>
              <a:gd name="connsiteX35190" fmla="*/ 8082281 w 10505529"/>
              <a:gd name="connsiteY35190" fmla="*/ 1523391 h 7458372"/>
              <a:gd name="connsiteX35191" fmla="*/ 7864636 w 10505529"/>
              <a:gd name="connsiteY35191" fmla="*/ 1523391 h 7458372"/>
              <a:gd name="connsiteX35192" fmla="*/ 7876483 w 10505529"/>
              <a:gd name="connsiteY35192" fmla="*/ 1525915 h 7458372"/>
              <a:gd name="connsiteX35193" fmla="*/ 7885802 w 10505529"/>
              <a:gd name="connsiteY35193" fmla="*/ 1532306 h 7458372"/>
              <a:gd name="connsiteX35194" fmla="*/ 7891924 w 10505529"/>
              <a:gd name="connsiteY35194" fmla="*/ 1541623 h 7458372"/>
              <a:gd name="connsiteX35195" fmla="*/ 7894188 w 10505529"/>
              <a:gd name="connsiteY35195" fmla="*/ 1553078 h 7458372"/>
              <a:gd name="connsiteX35196" fmla="*/ 7891924 w 10505529"/>
              <a:gd name="connsiteY35196" fmla="*/ 1564797 h 7458372"/>
              <a:gd name="connsiteX35197" fmla="*/ 7885802 w 10505529"/>
              <a:gd name="connsiteY35197" fmla="*/ 1574105 h 7458372"/>
              <a:gd name="connsiteX35198" fmla="*/ 7876483 w 10505529"/>
              <a:gd name="connsiteY35198" fmla="*/ 1580363 h 7458372"/>
              <a:gd name="connsiteX35199" fmla="*/ 7864636 w 10505529"/>
              <a:gd name="connsiteY35199" fmla="*/ 1582625 h 7458372"/>
              <a:gd name="connsiteX35200" fmla="*/ 7842803 w 10505529"/>
              <a:gd name="connsiteY35200" fmla="*/ 1574105 h 7458372"/>
              <a:gd name="connsiteX35201" fmla="*/ 7834417 w 10505529"/>
              <a:gd name="connsiteY35201" fmla="*/ 1552940 h 7458372"/>
              <a:gd name="connsiteX35202" fmla="*/ 7842803 w 10505529"/>
              <a:gd name="connsiteY35202" fmla="*/ 1531907 h 7458372"/>
              <a:gd name="connsiteX35203" fmla="*/ 7864636 w 10505529"/>
              <a:gd name="connsiteY35203" fmla="*/ 1523391 h 7458372"/>
              <a:gd name="connsiteX35204" fmla="*/ 7646991 w 10505529"/>
              <a:gd name="connsiteY35204" fmla="*/ 1523391 h 7458372"/>
              <a:gd name="connsiteX35205" fmla="*/ 7658705 w 10505529"/>
              <a:gd name="connsiteY35205" fmla="*/ 1525915 h 7458372"/>
              <a:gd name="connsiteX35206" fmla="*/ 7668022 w 10505529"/>
              <a:gd name="connsiteY35206" fmla="*/ 1532306 h 7458372"/>
              <a:gd name="connsiteX35207" fmla="*/ 7674146 w 10505529"/>
              <a:gd name="connsiteY35207" fmla="*/ 1541623 h 7458372"/>
              <a:gd name="connsiteX35208" fmla="*/ 7676409 w 10505529"/>
              <a:gd name="connsiteY35208" fmla="*/ 1553078 h 7458372"/>
              <a:gd name="connsiteX35209" fmla="*/ 7674146 w 10505529"/>
              <a:gd name="connsiteY35209" fmla="*/ 1564797 h 7458372"/>
              <a:gd name="connsiteX35210" fmla="*/ 7668022 w 10505529"/>
              <a:gd name="connsiteY35210" fmla="*/ 1574105 h 7458372"/>
              <a:gd name="connsiteX35211" fmla="*/ 7658705 w 10505529"/>
              <a:gd name="connsiteY35211" fmla="*/ 1580363 h 7458372"/>
              <a:gd name="connsiteX35212" fmla="*/ 7646991 w 10505529"/>
              <a:gd name="connsiteY35212" fmla="*/ 1582625 h 7458372"/>
              <a:gd name="connsiteX35213" fmla="*/ 7625158 w 10505529"/>
              <a:gd name="connsiteY35213" fmla="*/ 1574105 h 7458372"/>
              <a:gd name="connsiteX35214" fmla="*/ 7616772 w 10505529"/>
              <a:gd name="connsiteY35214" fmla="*/ 1552940 h 7458372"/>
              <a:gd name="connsiteX35215" fmla="*/ 7625158 w 10505529"/>
              <a:gd name="connsiteY35215" fmla="*/ 1531907 h 7458372"/>
              <a:gd name="connsiteX35216" fmla="*/ 7646991 w 10505529"/>
              <a:gd name="connsiteY35216" fmla="*/ 1523391 h 7458372"/>
              <a:gd name="connsiteX35217" fmla="*/ 7429345 w 10505529"/>
              <a:gd name="connsiteY35217" fmla="*/ 1523391 h 7458372"/>
              <a:gd name="connsiteX35218" fmla="*/ 7441059 w 10505529"/>
              <a:gd name="connsiteY35218" fmla="*/ 1525915 h 7458372"/>
              <a:gd name="connsiteX35219" fmla="*/ 7450377 w 10505529"/>
              <a:gd name="connsiteY35219" fmla="*/ 1532306 h 7458372"/>
              <a:gd name="connsiteX35220" fmla="*/ 7456501 w 10505529"/>
              <a:gd name="connsiteY35220" fmla="*/ 1541623 h 7458372"/>
              <a:gd name="connsiteX35221" fmla="*/ 7458764 w 10505529"/>
              <a:gd name="connsiteY35221" fmla="*/ 1553078 h 7458372"/>
              <a:gd name="connsiteX35222" fmla="*/ 7456501 w 10505529"/>
              <a:gd name="connsiteY35222" fmla="*/ 1564797 h 7458372"/>
              <a:gd name="connsiteX35223" fmla="*/ 7450377 w 10505529"/>
              <a:gd name="connsiteY35223" fmla="*/ 1574105 h 7458372"/>
              <a:gd name="connsiteX35224" fmla="*/ 7441059 w 10505529"/>
              <a:gd name="connsiteY35224" fmla="*/ 1580363 h 7458372"/>
              <a:gd name="connsiteX35225" fmla="*/ 7429345 w 10505529"/>
              <a:gd name="connsiteY35225" fmla="*/ 1582625 h 7458372"/>
              <a:gd name="connsiteX35226" fmla="*/ 7407513 w 10505529"/>
              <a:gd name="connsiteY35226" fmla="*/ 1574105 h 7458372"/>
              <a:gd name="connsiteX35227" fmla="*/ 7399127 w 10505529"/>
              <a:gd name="connsiteY35227" fmla="*/ 1552940 h 7458372"/>
              <a:gd name="connsiteX35228" fmla="*/ 7407513 w 10505529"/>
              <a:gd name="connsiteY35228" fmla="*/ 1531907 h 7458372"/>
              <a:gd name="connsiteX35229" fmla="*/ 7429345 w 10505529"/>
              <a:gd name="connsiteY35229" fmla="*/ 1523391 h 7458372"/>
              <a:gd name="connsiteX35230" fmla="*/ 7211701 w 10505529"/>
              <a:gd name="connsiteY35230" fmla="*/ 1523391 h 7458372"/>
              <a:gd name="connsiteX35231" fmla="*/ 7223415 w 10505529"/>
              <a:gd name="connsiteY35231" fmla="*/ 1525915 h 7458372"/>
              <a:gd name="connsiteX35232" fmla="*/ 7232733 w 10505529"/>
              <a:gd name="connsiteY35232" fmla="*/ 1532306 h 7458372"/>
              <a:gd name="connsiteX35233" fmla="*/ 7238856 w 10505529"/>
              <a:gd name="connsiteY35233" fmla="*/ 1541623 h 7458372"/>
              <a:gd name="connsiteX35234" fmla="*/ 7241120 w 10505529"/>
              <a:gd name="connsiteY35234" fmla="*/ 1553078 h 7458372"/>
              <a:gd name="connsiteX35235" fmla="*/ 7238856 w 10505529"/>
              <a:gd name="connsiteY35235" fmla="*/ 1564797 h 7458372"/>
              <a:gd name="connsiteX35236" fmla="*/ 7232733 w 10505529"/>
              <a:gd name="connsiteY35236" fmla="*/ 1574105 h 7458372"/>
              <a:gd name="connsiteX35237" fmla="*/ 7223415 w 10505529"/>
              <a:gd name="connsiteY35237" fmla="*/ 1580363 h 7458372"/>
              <a:gd name="connsiteX35238" fmla="*/ 7211701 w 10505529"/>
              <a:gd name="connsiteY35238" fmla="*/ 1582625 h 7458372"/>
              <a:gd name="connsiteX35239" fmla="*/ 7189868 w 10505529"/>
              <a:gd name="connsiteY35239" fmla="*/ 1574105 h 7458372"/>
              <a:gd name="connsiteX35240" fmla="*/ 7181482 w 10505529"/>
              <a:gd name="connsiteY35240" fmla="*/ 1552940 h 7458372"/>
              <a:gd name="connsiteX35241" fmla="*/ 7189868 w 10505529"/>
              <a:gd name="connsiteY35241" fmla="*/ 1531907 h 7458372"/>
              <a:gd name="connsiteX35242" fmla="*/ 7211701 w 10505529"/>
              <a:gd name="connsiteY35242" fmla="*/ 1523391 h 7458372"/>
              <a:gd name="connsiteX35243" fmla="*/ 6994056 w 10505529"/>
              <a:gd name="connsiteY35243" fmla="*/ 1523391 h 7458372"/>
              <a:gd name="connsiteX35244" fmla="*/ 7005769 w 10505529"/>
              <a:gd name="connsiteY35244" fmla="*/ 1525915 h 7458372"/>
              <a:gd name="connsiteX35245" fmla="*/ 7015087 w 10505529"/>
              <a:gd name="connsiteY35245" fmla="*/ 1532306 h 7458372"/>
              <a:gd name="connsiteX35246" fmla="*/ 7021211 w 10505529"/>
              <a:gd name="connsiteY35246" fmla="*/ 1541623 h 7458372"/>
              <a:gd name="connsiteX35247" fmla="*/ 7023474 w 10505529"/>
              <a:gd name="connsiteY35247" fmla="*/ 1553078 h 7458372"/>
              <a:gd name="connsiteX35248" fmla="*/ 7021211 w 10505529"/>
              <a:gd name="connsiteY35248" fmla="*/ 1564797 h 7458372"/>
              <a:gd name="connsiteX35249" fmla="*/ 7015087 w 10505529"/>
              <a:gd name="connsiteY35249" fmla="*/ 1574105 h 7458372"/>
              <a:gd name="connsiteX35250" fmla="*/ 7005769 w 10505529"/>
              <a:gd name="connsiteY35250" fmla="*/ 1580363 h 7458372"/>
              <a:gd name="connsiteX35251" fmla="*/ 6994056 w 10505529"/>
              <a:gd name="connsiteY35251" fmla="*/ 1582625 h 7458372"/>
              <a:gd name="connsiteX35252" fmla="*/ 6972223 w 10505529"/>
              <a:gd name="connsiteY35252" fmla="*/ 1574105 h 7458372"/>
              <a:gd name="connsiteX35253" fmla="*/ 6963837 w 10505529"/>
              <a:gd name="connsiteY35253" fmla="*/ 1552940 h 7458372"/>
              <a:gd name="connsiteX35254" fmla="*/ 6972223 w 10505529"/>
              <a:gd name="connsiteY35254" fmla="*/ 1531907 h 7458372"/>
              <a:gd name="connsiteX35255" fmla="*/ 6994056 w 10505529"/>
              <a:gd name="connsiteY35255" fmla="*/ 1523391 h 7458372"/>
              <a:gd name="connsiteX35256" fmla="*/ 6776544 w 10505529"/>
              <a:gd name="connsiteY35256" fmla="*/ 1523391 h 7458372"/>
              <a:gd name="connsiteX35257" fmla="*/ 6788258 w 10505529"/>
              <a:gd name="connsiteY35257" fmla="*/ 1525915 h 7458372"/>
              <a:gd name="connsiteX35258" fmla="*/ 6797576 w 10505529"/>
              <a:gd name="connsiteY35258" fmla="*/ 1532306 h 7458372"/>
              <a:gd name="connsiteX35259" fmla="*/ 6803699 w 10505529"/>
              <a:gd name="connsiteY35259" fmla="*/ 1541623 h 7458372"/>
              <a:gd name="connsiteX35260" fmla="*/ 6805963 w 10505529"/>
              <a:gd name="connsiteY35260" fmla="*/ 1553078 h 7458372"/>
              <a:gd name="connsiteX35261" fmla="*/ 6803699 w 10505529"/>
              <a:gd name="connsiteY35261" fmla="*/ 1564797 h 7458372"/>
              <a:gd name="connsiteX35262" fmla="*/ 6797576 w 10505529"/>
              <a:gd name="connsiteY35262" fmla="*/ 1574105 h 7458372"/>
              <a:gd name="connsiteX35263" fmla="*/ 6788258 w 10505529"/>
              <a:gd name="connsiteY35263" fmla="*/ 1580363 h 7458372"/>
              <a:gd name="connsiteX35264" fmla="*/ 6776544 w 10505529"/>
              <a:gd name="connsiteY35264" fmla="*/ 1582625 h 7458372"/>
              <a:gd name="connsiteX35265" fmla="*/ 6754711 w 10505529"/>
              <a:gd name="connsiteY35265" fmla="*/ 1574105 h 7458372"/>
              <a:gd name="connsiteX35266" fmla="*/ 6746325 w 10505529"/>
              <a:gd name="connsiteY35266" fmla="*/ 1552940 h 7458372"/>
              <a:gd name="connsiteX35267" fmla="*/ 6754711 w 10505529"/>
              <a:gd name="connsiteY35267" fmla="*/ 1531907 h 7458372"/>
              <a:gd name="connsiteX35268" fmla="*/ 6776544 w 10505529"/>
              <a:gd name="connsiteY35268" fmla="*/ 1523391 h 7458372"/>
              <a:gd name="connsiteX35269" fmla="*/ 6558899 w 10505529"/>
              <a:gd name="connsiteY35269" fmla="*/ 1523391 h 7458372"/>
              <a:gd name="connsiteX35270" fmla="*/ 6570612 w 10505529"/>
              <a:gd name="connsiteY35270" fmla="*/ 1525915 h 7458372"/>
              <a:gd name="connsiteX35271" fmla="*/ 6579930 w 10505529"/>
              <a:gd name="connsiteY35271" fmla="*/ 1532306 h 7458372"/>
              <a:gd name="connsiteX35272" fmla="*/ 6586054 w 10505529"/>
              <a:gd name="connsiteY35272" fmla="*/ 1541623 h 7458372"/>
              <a:gd name="connsiteX35273" fmla="*/ 6588317 w 10505529"/>
              <a:gd name="connsiteY35273" fmla="*/ 1553078 h 7458372"/>
              <a:gd name="connsiteX35274" fmla="*/ 6586054 w 10505529"/>
              <a:gd name="connsiteY35274" fmla="*/ 1564797 h 7458372"/>
              <a:gd name="connsiteX35275" fmla="*/ 6579930 w 10505529"/>
              <a:gd name="connsiteY35275" fmla="*/ 1574105 h 7458372"/>
              <a:gd name="connsiteX35276" fmla="*/ 6570612 w 10505529"/>
              <a:gd name="connsiteY35276" fmla="*/ 1580363 h 7458372"/>
              <a:gd name="connsiteX35277" fmla="*/ 6558899 w 10505529"/>
              <a:gd name="connsiteY35277" fmla="*/ 1582625 h 7458372"/>
              <a:gd name="connsiteX35278" fmla="*/ 6537066 w 10505529"/>
              <a:gd name="connsiteY35278" fmla="*/ 1574105 h 7458372"/>
              <a:gd name="connsiteX35279" fmla="*/ 6528680 w 10505529"/>
              <a:gd name="connsiteY35279" fmla="*/ 1552940 h 7458372"/>
              <a:gd name="connsiteX35280" fmla="*/ 6537066 w 10505529"/>
              <a:gd name="connsiteY35280" fmla="*/ 1531907 h 7458372"/>
              <a:gd name="connsiteX35281" fmla="*/ 6558899 w 10505529"/>
              <a:gd name="connsiteY35281" fmla="*/ 1523391 h 7458372"/>
              <a:gd name="connsiteX35282" fmla="*/ 6341253 w 10505529"/>
              <a:gd name="connsiteY35282" fmla="*/ 1523391 h 7458372"/>
              <a:gd name="connsiteX35283" fmla="*/ 6352968 w 10505529"/>
              <a:gd name="connsiteY35283" fmla="*/ 1525915 h 7458372"/>
              <a:gd name="connsiteX35284" fmla="*/ 6362286 w 10505529"/>
              <a:gd name="connsiteY35284" fmla="*/ 1532306 h 7458372"/>
              <a:gd name="connsiteX35285" fmla="*/ 6368409 w 10505529"/>
              <a:gd name="connsiteY35285" fmla="*/ 1541623 h 7458372"/>
              <a:gd name="connsiteX35286" fmla="*/ 6370672 w 10505529"/>
              <a:gd name="connsiteY35286" fmla="*/ 1553078 h 7458372"/>
              <a:gd name="connsiteX35287" fmla="*/ 6368409 w 10505529"/>
              <a:gd name="connsiteY35287" fmla="*/ 1564797 h 7458372"/>
              <a:gd name="connsiteX35288" fmla="*/ 6362286 w 10505529"/>
              <a:gd name="connsiteY35288" fmla="*/ 1574105 h 7458372"/>
              <a:gd name="connsiteX35289" fmla="*/ 6352968 w 10505529"/>
              <a:gd name="connsiteY35289" fmla="*/ 1580363 h 7458372"/>
              <a:gd name="connsiteX35290" fmla="*/ 6341253 w 10505529"/>
              <a:gd name="connsiteY35290" fmla="*/ 1582625 h 7458372"/>
              <a:gd name="connsiteX35291" fmla="*/ 6319421 w 10505529"/>
              <a:gd name="connsiteY35291" fmla="*/ 1574105 h 7458372"/>
              <a:gd name="connsiteX35292" fmla="*/ 6311035 w 10505529"/>
              <a:gd name="connsiteY35292" fmla="*/ 1552940 h 7458372"/>
              <a:gd name="connsiteX35293" fmla="*/ 6319421 w 10505529"/>
              <a:gd name="connsiteY35293" fmla="*/ 1531907 h 7458372"/>
              <a:gd name="connsiteX35294" fmla="*/ 6341253 w 10505529"/>
              <a:gd name="connsiteY35294" fmla="*/ 1523391 h 7458372"/>
              <a:gd name="connsiteX35295" fmla="*/ 6123608 w 10505529"/>
              <a:gd name="connsiteY35295" fmla="*/ 1523391 h 7458372"/>
              <a:gd name="connsiteX35296" fmla="*/ 6135322 w 10505529"/>
              <a:gd name="connsiteY35296" fmla="*/ 1525915 h 7458372"/>
              <a:gd name="connsiteX35297" fmla="*/ 6144640 w 10505529"/>
              <a:gd name="connsiteY35297" fmla="*/ 1532306 h 7458372"/>
              <a:gd name="connsiteX35298" fmla="*/ 6150763 w 10505529"/>
              <a:gd name="connsiteY35298" fmla="*/ 1541623 h 7458372"/>
              <a:gd name="connsiteX35299" fmla="*/ 6153026 w 10505529"/>
              <a:gd name="connsiteY35299" fmla="*/ 1553078 h 7458372"/>
              <a:gd name="connsiteX35300" fmla="*/ 6150763 w 10505529"/>
              <a:gd name="connsiteY35300" fmla="*/ 1564797 h 7458372"/>
              <a:gd name="connsiteX35301" fmla="*/ 6144640 w 10505529"/>
              <a:gd name="connsiteY35301" fmla="*/ 1574105 h 7458372"/>
              <a:gd name="connsiteX35302" fmla="*/ 6135322 w 10505529"/>
              <a:gd name="connsiteY35302" fmla="*/ 1580363 h 7458372"/>
              <a:gd name="connsiteX35303" fmla="*/ 6123608 w 10505529"/>
              <a:gd name="connsiteY35303" fmla="*/ 1582625 h 7458372"/>
              <a:gd name="connsiteX35304" fmla="*/ 6101775 w 10505529"/>
              <a:gd name="connsiteY35304" fmla="*/ 1574105 h 7458372"/>
              <a:gd name="connsiteX35305" fmla="*/ 6093389 w 10505529"/>
              <a:gd name="connsiteY35305" fmla="*/ 1552940 h 7458372"/>
              <a:gd name="connsiteX35306" fmla="*/ 6101775 w 10505529"/>
              <a:gd name="connsiteY35306" fmla="*/ 1531907 h 7458372"/>
              <a:gd name="connsiteX35307" fmla="*/ 6123608 w 10505529"/>
              <a:gd name="connsiteY35307" fmla="*/ 1523391 h 7458372"/>
              <a:gd name="connsiteX35308" fmla="*/ 5905963 w 10505529"/>
              <a:gd name="connsiteY35308" fmla="*/ 1523391 h 7458372"/>
              <a:gd name="connsiteX35309" fmla="*/ 5917677 w 10505529"/>
              <a:gd name="connsiteY35309" fmla="*/ 1525915 h 7458372"/>
              <a:gd name="connsiteX35310" fmla="*/ 5926995 w 10505529"/>
              <a:gd name="connsiteY35310" fmla="*/ 1532306 h 7458372"/>
              <a:gd name="connsiteX35311" fmla="*/ 5933118 w 10505529"/>
              <a:gd name="connsiteY35311" fmla="*/ 1541623 h 7458372"/>
              <a:gd name="connsiteX35312" fmla="*/ 5935381 w 10505529"/>
              <a:gd name="connsiteY35312" fmla="*/ 1553078 h 7458372"/>
              <a:gd name="connsiteX35313" fmla="*/ 5933118 w 10505529"/>
              <a:gd name="connsiteY35313" fmla="*/ 1564797 h 7458372"/>
              <a:gd name="connsiteX35314" fmla="*/ 5926995 w 10505529"/>
              <a:gd name="connsiteY35314" fmla="*/ 1574105 h 7458372"/>
              <a:gd name="connsiteX35315" fmla="*/ 5917677 w 10505529"/>
              <a:gd name="connsiteY35315" fmla="*/ 1580363 h 7458372"/>
              <a:gd name="connsiteX35316" fmla="*/ 5905963 w 10505529"/>
              <a:gd name="connsiteY35316" fmla="*/ 1582625 h 7458372"/>
              <a:gd name="connsiteX35317" fmla="*/ 5884130 w 10505529"/>
              <a:gd name="connsiteY35317" fmla="*/ 1574105 h 7458372"/>
              <a:gd name="connsiteX35318" fmla="*/ 5875744 w 10505529"/>
              <a:gd name="connsiteY35318" fmla="*/ 1552940 h 7458372"/>
              <a:gd name="connsiteX35319" fmla="*/ 5884130 w 10505529"/>
              <a:gd name="connsiteY35319" fmla="*/ 1531907 h 7458372"/>
              <a:gd name="connsiteX35320" fmla="*/ 5905963 w 10505529"/>
              <a:gd name="connsiteY35320" fmla="*/ 1523391 h 7458372"/>
              <a:gd name="connsiteX35321" fmla="*/ 5688451 w 10505529"/>
              <a:gd name="connsiteY35321" fmla="*/ 1523391 h 7458372"/>
              <a:gd name="connsiteX35322" fmla="*/ 5700165 w 10505529"/>
              <a:gd name="connsiteY35322" fmla="*/ 1525915 h 7458372"/>
              <a:gd name="connsiteX35323" fmla="*/ 5709483 w 10505529"/>
              <a:gd name="connsiteY35323" fmla="*/ 1532306 h 7458372"/>
              <a:gd name="connsiteX35324" fmla="*/ 5715606 w 10505529"/>
              <a:gd name="connsiteY35324" fmla="*/ 1541623 h 7458372"/>
              <a:gd name="connsiteX35325" fmla="*/ 5717869 w 10505529"/>
              <a:gd name="connsiteY35325" fmla="*/ 1553078 h 7458372"/>
              <a:gd name="connsiteX35326" fmla="*/ 5715606 w 10505529"/>
              <a:gd name="connsiteY35326" fmla="*/ 1564797 h 7458372"/>
              <a:gd name="connsiteX35327" fmla="*/ 5709483 w 10505529"/>
              <a:gd name="connsiteY35327" fmla="*/ 1574105 h 7458372"/>
              <a:gd name="connsiteX35328" fmla="*/ 5700165 w 10505529"/>
              <a:gd name="connsiteY35328" fmla="*/ 1580363 h 7458372"/>
              <a:gd name="connsiteX35329" fmla="*/ 5688451 w 10505529"/>
              <a:gd name="connsiteY35329" fmla="*/ 1582625 h 7458372"/>
              <a:gd name="connsiteX35330" fmla="*/ 5666618 w 10505529"/>
              <a:gd name="connsiteY35330" fmla="*/ 1574105 h 7458372"/>
              <a:gd name="connsiteX35331" fmla="*/ 5658232 w 10505529"/>
              <a:gd name="connsiteY35331" fmla="*/ 1552940 h 7458372"/>
              <a:gd name="connsiteX35332" fmla="*/ 5666618 w 10505529"/>
              <a:gd name="connsiteY35332" fmla="*/ 1531907 h 7458372"/>
              <a:gd name="connsiteX35333" fmla="*/ 5688451 w 10505529"/>
              <a:gd name="connsiteY35333" fmla="*/ 1523391 h 7458372"/>
              <a:gd name="connsiteX35334" fmla="*/ 5470806 w 10505529"/>
              <a:gd name="connsiteY35334" fmla="*/ 1523391 h 7458372"/>
              <a:gd name="connsiteX35335" fmla="*/ 5482520 w 10505529"/>
              <a:gd name="connsiteY35335" fmla="*/ 1525915 h 7458372"/>
              <a:gd name="connsiteX35336" fmla="*/ 5491838 w 10505529"/>
              <a:gd name="connsiteY35336" fmla="*/ 1532306 h 7458372"/>
              <a:gd name="connsiteX35337" fmla="*/ 5497961 w 10505529"/>
              <a:gd name="connsiteY35337" fmla="*/ 1541623 h 7458372"/>
              <a:gd name="connsiteX35338" fmla="*/ 5500224 w 10505529"/>
              <a:gd name="connsiteY35338" fmla="*/ 1553078 h 7458372"/>
              <a:gd name="connsiteX35339" fmla="*/ 5497961 w 10505529"/>
              <a:gd name="connsiteY35339" fmla="*/ 1564797 h 7458372"/>
              <a:gd name="connsiteX35340" fmla="*/ 5491838 w 10505529"/>
              <a:gd name="connsiteY35340" fmla="*/ 1574105 h 7458372"/>
              <a:gd name="connsiteX35341" fmla="*/ 5482520 w 10505529"/>
              <a:gd name="connsiteY35341" fmla="*/ 1580363 h 7458372"/>
              <a:gd name="connsiteX35342" fmla="*/ 5470806 w 10505529"/>
              <a:gd name="connsiteY35342" fmla="*/ 1582625 h 7458372"/>
              <a:gd name="connsiteX35343" fmla="*/ 5448973 w 10505529"/>
              <a:gd name="connsiteY35343" fmla="*/ 1574105 h 7458372"/>
              <a:gd name="connsiteX35344" fmla="*/ 5440587 w 10505529"/>
              <a:gd name="connsiteY35344" fmla="*/ 1552940 h 7458372"/>
              <a:gd name="connsiteX35345" fmla="*/ 5448973 w 10505529"/>
              <a:gd name="connsiteY35345" fmla="*/ 1531907 h 7458372"/>
              <a:gd name="connsiteX35346" fmla="*/ 5470806 w 10505529"/>
              <a:gd name="connsiteY35346" fmla="*/ 1523391 h 7458372"/>
              <a:gd name="connsiteX35347" fmla="*/ 5253160 w 10505529"/>
              <a:gd name="connsiteY35347" fmla="*/ 1523391 h 7458372"/>
              <a:gd name="connsiteX35348" fmla="*/ 5264875 w 10505529"/>
              <a:gd name="connsiteY35348" fmla="*/ 1525915 h 7458372"/>
              <a:gd name="connsiteX35349" fmla="*/ 5274192 w 10505529"/>
              <a:gd name="connsiteY35349" fmla="*/ 1532306 h 7458372"/>
              <a:gd name="connsiteX35350" fmla="*/ 5280316 w 10505529"/>
              <a:gd name="connsiteY35350" fmla="*/ 1541623 h 7458372"/>
              <a:gd name="connsiteX35351" fmla="*/ 5282579 w 10505529"/>
              <a:gd name="connsiteY35351" fmla="*/ 1553078 h 7458372"/>
              <a:gd name="connsiteX35352" fmla="*/ 5280316 w 10505529"/>
              <a:gd name="connsiteY35352" fmla="*/ 1564797 h 7458372"/>
              <a:gd name="connsiteX35353" fmla="*/ 5274192 w 10505529"/>
              <a:gd name="connsiteY35353" fmla="*/ 1574105 h 7458372"/>
              <a:gd name="connsiteX35354" fmla="*/ 5264875 w 10505529"/>
              <a:gd name="connsiteY35354" fmla="*/ 1580363 h 7458372"/>
              <a:gd name="connsiteX35355" fmla="*/ 5253160 w 10505529"/>
              <a:gd name="connsiteY35355" fmla="*/ 1582625 h 7458372"/>
              <a:gd name="connsiteX35356" fmla="*/ 5231328 w 10505529"/>
              <a:gd name="connsiteY35356" fmla="*/ 1574105 h 7458372"/>
              <a:gd name="connsiteX35357" fmla="*/ 5222942 w 10505529"/>
              <a:gd name="connsiteY35357" fmla="*/ 1552940 h 7458372"/>
              <a:gd name="connsiteX35358" fmla="*/ 5231328 w 10505529"/>
              <a:gd name="connsiteY35358" fmla="*/ 1531907 h 7458372"/>
              <a:gd name="connsiteX35359" fmla="*/ 5253160 w 10505529"/>
              <a:gd name="connsiteY35359" fmla="*/ 1523391 h 7458372"/>
              <a:gd name="connsiteX35360" fmla="*/ 5035515 w 10505529"/>
              <a:gd name="connsiteY35360" fmla="*/ 1523391 h 7458372"/>
              <a:gd name="connsiteX35361" fmla="*/ 5047230 w 10505529"/>
              <a:gd name="connsiteY35361" fmla="*/ 1525915 h 7458372"/>
              <a:gd name="connsiteX35362" fmla="*/ 5056548 w 10505529"/>
              <a:gd name="connsiteY35362" fmla="*/ 1532306 h 7458372"/>
              <a:gd name="connsiteX35363" fmla="*/ 5062671 w 10505529"/>
              <a:gd name="connsiteY35363" fmla="*/ 1541623 h 7458372"/>
              <a:gd name="connsiteX35364" fmla="*/ 5064934 w 10505529"/>
              <a:gd name="connsiteY35364" fmla="*/ 1553078 h 7458372"/>
              <a:gd name="connsiteX35365" fmla="*/ 5062671 w 10505529"/>
              <a:gd name="connsiteY35365" fmla="*/ 1564797 h 7458372"/>
              <a:gd name="connsiteX35366" fmla="*/ 5056548 w 10505529"/>
              <a:gd name="connsiteY35366" fmla="*/ 1574105 h 7458372"/>
              <a:gd name="connsiteX35367" fmla="*/ 5047230 w 10505529"/>
              <a:gd name="connsiteY35367" fmla="*/ 1580363 h 7458372"/>
              <a:gd name="connsiteX35368" fmla="*/ 5035515 w 10505529"/>
              <a:gd name="connsiteY35368" fmla="*/ 1582625 h 7458372"/>
              <a:gd name="connsiteX35369" fmla="*/ 5013683 w 10505529"/>
              <a:gd name="connsiteY35369" fmla="*/ 1574105 h 7458372"/>
              <a:gd name="connsiteX35370" fmla="*/ 5005297 w 10505529"/>
              <a:gd name="connsiteY35370" fmla="*/ 1552940 h 7458372"/>
              <a:gd name="connsiteX35371" fmla="*/ 5013683 w 10505529"/>
              <a:gd name="connsiteY35371" fmla="*/ 1531907 h 7458372"/>
              <a:gd name="connsiteX35372" fmla="*/ 5035515 w 10505529"/>
              <a:gd name="connsiteY35372" fmla="*/ 1523391 h 7458372"/>
              <a:gd name="connsiteX35373" fmla="*/ 4817870 w 10505529"/>
              <a:gd name="connsiteY35373" fmla="*/ 1523391 h 7458372"/>
              <a:gd name="connsiteX35374" fmla="*/ 4829585 w 10505529"/>
              <a:gd name="connsiteY35374" fmla="*/ 1525915 h 7458372"/>
              <a:gd name="connsiteX35375" fmla="*/ 4838903 w 10505529"/>
              <a:gd name="connsiteY35375" fmla="*/ 1532306 h 7458372"/>
              <a:gd name="connsiteX35376" fmla="*/ 4845026 w 10505529"/>
              <a:gd name="connsiteY35376" fmla="*/ 1541623 h 7458372"/>
              <a:gd name="connsiteX35377" fmla="*/ 4847289 w 10505529"/>
              <a:gd name="connsiteY35377" fmla="*/ 1553078 h 7458372"/>
              <a:gd name="connsiteX35378" fmla="*/ 4845026 w 10505529"/>
              <a:gd name="connsiteY35378" fmla="*/ 1564797 h 7458372"/>
              <a:gd name="connsiteX35379" fmla="*/ 4838903 w 10505529"/>
              <a:gd name="connsiteY35379" fmla="*/ 1574105 h 7458372"/>
              <a:gd name="connsiteX35380" fmla="*/ 4829585 w 10505529"/>
              <a:gd name="connsiteY35380" fmla="*/ 1580363 h 7458372"/>
              <a:gd name="connsiteX35381" fmla="*/ 4817870 w 10505529"/>
              <a:gd name="connsiteY35381" fmla="*/ 1582625 h 7458372"/>
              <a:gd name="connsiteX35382" fmla="*/ 4796038 w 10505529"/>
              <a:gd name="connsiteY35382" fmla="*/ 1574105 h 7458372"/>
              <a:gd name="connsiteX35383" fmla="*/ 4787652 w 10505529"/>
              <a:gd name="connsiteY35383" fmla="*/ 1552940 h 7458372"/>
              <a:gd name="connsiteX35384" fmla="*/ 4796038 w 10505529"/>
              <a:gd name="connsiteY35384" fmla="*/ 1531907 h 7458372"/>
              <a:gd name="connsiteX35385" fmla="*/ 4817870 w 10505529"/>
              <a:gd name="connsiteY35385" fmla="*/ 1523391 h 7458372"/>
              <a:gd name="connsiteX35386" fmla="*/ 4600226 w 10505529"/>
              <a:gd name="connsiteY35386" fmla="*/ 1523391 h 7458372"/>
              <a:gd name="connsiteX35387" fmla="*/ 4612073 w 10505529"/>
              <a:gd name="connsiteY35387" fmla="*/ 1525915 h 7458372"/>
              <a:gd name="connsiteX35388" fmla="*/ 4621391 w 10505529"/>
              <a:gd name="connsiteY35388" fmla="*/ 1532306 h 7458372"/>
              <a:gd name="connsiteX35389" fmla="*/ 4627514 w 10505529"/>
              <a:gd name="connsiteY35389" fmla="*/ 1541623 h 7458372"/>
              <a:gd name="connsiteX35390" fmla="*/ 4629777 w 10505529"/>
              <a:gd name="connsiteY35390" fmla="*/ 1553078 h 7458372"/>
              <a:gd name="connsiteX35391" fmla="*/ 4627514 w 10505529"/>
              <a:gd name="connsiteY35391" fmla="*/ 1564797 h 7458372"/>
              <a:gd name="connsiteX35392" fmla="*/ 4621391 w 10505529"/>
              <a:gd name="connsiteY35392" fmla="*/ 1574105 h 7458372"/>
              <a:gd name="connsiteX35393" fmla="*/ 4612073 w 10505529"/>
              <a:gd name="connsiteY35393" fmla="*/ 1580363 h 7458372"/>
              <a:gd name="connsiteX35394" fmla="*/ 4600226 w 10505529"/>
              <a:gd name="connsiteY35394" fmla="*/ 1582625 h 7458372"/>
              <a:gd name="connsiteX35395" fmla="*/ 4578393 w 10505529"/>
              <a:gd name="connsiteY35395" fmla="*/ 1574105 h 7458372"/>
              <a:gd name="connsiteX35396" fmla="*/ 4570007 w 10505529"/>
              <a:gd name="connsiteY35396" fmla="*/ 1552940 h 7458372"/>
              <a:gd name="connsiteX35397" fmla="*/ 4578393 w 10505529"/>
              <a:gd name="connsiteY35397" fmla="*/ 1531907 h 7458372"/>
              <a:gd name="connsiteX35398" fmla="*/ 4600226 w 10505529"/>
              <a:gd name="connsiteY35398" fmla="*/ 1523391 h 7458372"/>
              <a:gd name="connsiteX35399" fmla="*/ 4382713 w 10505529"/>
              <a:gd name="connsiteY35399" fmla="*/ 1523391 h 7458372"/>
              <a:gd name="connsiteX35400" fmla="*/ 4394428 w 10505529"/>
              <a:gd name="connsiteY35400" fmla="*/ 1525915 h 7458372"/>
              <a:gd name="connsiteX35401" fmla="*/ 4403746 w 10505529"/>
              <a:gd name="connsiteY35401" fmla="*/ 1532306 h 7458372"/>
              <a:gd name="connsiteX35402" fmla="*/ 4409869 w 10505529"/>
              <a:gd name="connsiteY35402" fmla="*/ 1541623 h 7458372"/>
              <a:gd name="connsiteX35403" fmla="*/ 4412132 w 10505529"/>
              <a:gd name="connsiteY35403" fmla="*/ 1553078 h 7458372"/>
              <a:gd name="connsiteX35404" fmla="*/ 4409869 w 10505529"/>
              <a:gd name="connsiteY35404" fmla="*/ 1564797 h 7458372"/>
              <a:gd name="connsiteX35405" fmla="*/ 4403746 w 10505529"/>
              <a:gd name="connsiteY35405" fmla="*/ 1574105 h 7458372"/>
              <a:gd name="connsiteX35406" fmla="*/ 4394428 w 10505529"/>
              <a:gd name="connsiteY35406" fmla="*/ 1580363 h 7458372"/>
              <a:gd name="connsiteX35407" fmla="*/ 4382713 w 10505529"/>
              <a:gd name="connsiteY35407" fmla="*/ 1582625 h 7458372"/>
              <a:gd name="connsiteX35408" fmla="*/ 4360881 w 10505529"/>
              <a:gd name="connsiteY35408" fmla="*/ 1574105 h 7458372"/>
              <a:gd name="connsiteX35409" fmla="*/ 4352495 w 10505529"/>
              <a:gd name="connsiteY35409" fmla="*/ 1552940 h 7458372"/>
              <a:gd name="connsiteX35410" fmla="*/ 4360881 w 10505529"/>
              <a:gd name="connsiteY35410" fmla="*/ 1531907 h 7458372"/>
              <a:gd name="connsiteX35411" fmla="*/ 4382713 w 10505529"/>
              <a:gd name="connsiteY35411" fmla="*/ 1523391 h 7458372"/>
              <a:gd name="connsiteX35412" fmla="*/ 4165068 w 10505529"/>
              <a:gd name="connsiteY35412" fmla="*/ 1523391 h 7458372"/>
              <a:gd name="connsiteX35413" fmla="*/ 4176782 w 10505529"/>
              <a:gd name="connsiteY35413" fmla="*/ 1525915 h 7458372"/>
              <a:gd name="connsiteX35414" fmla="*/ 4186100 w 10505529"/>
              <a:gd name="connsiteY35414" fmla="*/ 1532306 h 7458372"/>
              <a:gd name="connsiteX35415" fmla="*/ 4192223 w 10505529"/>
              <a:gd name="connsiteY35415" fmla="*/ 1541623 h 7458372"/>
              <a:gd name="connsiteX35416" fmla="*/ 4194486 w 10505529"/>
              <a:gd name="connsiteY35416" fmla="*/ 1553078 h 7458372"/>
              <a:gd name="connsiteX35417" fmla="*/ 4192223 w 10505529"/>
              <a:gd name="connsiteY35417" fmla="*/ 1564797 h 7458372"/>
              <a:gd name="connsiteX35418" fmla="*/ 4186100 w 10505529"/>
              <a:gd name="connsiteY35418" fmla="*/ 1574105 h 7458372"/>
              <a:gd name="connsiteX35419" fmla="*/ 4176782 w 10505529"/>
              <a:gd name="connsiteY35419" fmla="*/ 1580363 h 7458372"/>
              <a:gd name="connsiteX35420" fmla="*/ 4165068 w 10505529"/>
              <a:gd name="connsiteY35420" fmla="*/ 1582625 h 7458372"/>
              <a:gd name="connsiteX35421" fmla="*/ 4143235 w 10505529"/>
              <a:gd name="connsiteY35421" fmla="*/ 1574105 h 7458372"/>
              <a:gd name="connsiteX35422" fmla="*/ 4134849 w 10505529"/>
              <a:gd name="connsiteY35422" fmla="*/ 1552940 h 7458372"/>
              <a:gd name="connsiteX35423" fmla="*/ 4143235 w 10505529"/>
              <a:gd name="connsiteY35423" fmla="*/ 1531907 h 7458372"/>
              <a:gd name="connsiteX35424" fmla="*/ 4165068 w 10505529"/>
              <a:gd name="connsiteY35424" fmla="*/ 1523391 h 7458372"/>
              <a:gd name="connsiteX35425" fmla="*/ 3947512 w 10505529"/>
              <a:gd name="connsiteY35425" fmla="*/ 1523391 h 7458372"/>
              <a:gd name="connsiteX35426" fmla="*/ 3959227 w 10505529"/>
              <a:gd name="connsiteY35426" fmla="*/ 1525915 h 7458372"/>
              <a:gd name="connsiteX35427" fmla="*/ 3968545 w 10505529"/>
              <a:gd name="connsiteY35427" fmla="*/ 1532306 h 7458372"/>
              <a:gd name="connsiteX35428" fmla="*/ 3974669 w 10505529"/>
              <a:gd name="connsiteY35428" fmla="*/ 1541623 h 7458372"/>
              <a:gd name="connsiteX35429" fmla="*/ 3976932 w 10505529"/>
              <a:gd name="connsiteY35429" fmla="*/ 1553078 h 7458372"/>
              <a:gd name="connsiteX35430" fmla="*/ 3974669 w 10505529"/>
              <a:gd name="connsiteY35430" fmla="*/ 1564797 h 7458372"/>
              <a:gd name="connsiteX35431" fmla="*/ 3968545 w 10505529"/>
              <a:gd name="connsiteY35431" fmla="*/ 1574105 h 7458372"/>
              <a:gd name="connsiteX35432" fmla="*/ 3959227 w 10505529"/>
              <a:gd name="connsiteY35432" fmla="*/ 1580363 h 7458372"/>
              <a:gd name="connsiteX35433" fmla="*/ 3947512 w 10505529"/>
              <a:gd name="connsiteY35433" fmla="*/ 1582625 h 7458372"/>
              <a:gd name="connsiteX35434" fmla="*/ 3925679 w 10505529"/>
              <a:gd name="connsiteY35434" fmla="*/ 1574105 h 7458372"/>
              <a:gd name="connsiteX35435" fmla="*/ 3917293 w 10505529"/>
              <a:gd name="connsiteY35435" fmla="*/ 1552940 h 7458372"/>
              <a:gd name="connsiteX35436" fmla="*/ 3925679 w 10505529"/>
              <a:gd name="connsiteY35436" fmla="*/ 1531907 h 7458372"/>
              <a:gd name="connsiteX35437" fmla="*/ 3947512 w 10505529"/>
              <a:gd name="connsiteY35437" fmla="*/ 1523391 h 7458372"/>
              <a:gd name="connsiteX35438" fmla="*/ 3729862 w 10505529"/>
              <a:gd name="connsiteY35438" fmla="*/ 1523391 h 7458372"/>
              <a:gd name="connsiteX35439" fmla="*/ 3741577 w 10505529"/>
              <a:gd name="connsiteY35439" fmla="*/ 1525915 h 7458372"/>
              <a:gd name="connsiteX35440" fmla="*/ 3750896 w 10505529"/>
              <a:gd name="connsiteY35440" fmla="*/ 1532306 h 7458372"/>
              <a:gd name="connsiteX35441" fmla="*/ 3757018 w 10505529"/>
              <a:gd name="connsiteY35441" fmla="*/ 1541623 h 7458372"/>
              <a:gd name="connsiteX35442" fmla="*/ 3759281 w 10505529"/>
              <a:gd name="connsiteY35442" fmla="*/ 1553078 h 7458372"/>
              <a:gd name="connsiteX35443" fmla="*/ 3757018 w 10505529"/>
              <a:gd name="connsiteY35443" fmla="*/ 1564797 h 7458372"/>
              <a:gd name="connsiteX35444" fmla="*/ 3750896 w 10505529"/>
              <a:gd name="connsiteY35444" fmla="*/ 1574105 h 7458372"/>
              <a:gd name="connsiteX35445" fmla="*/ 3741577 w 10505529"/>
              <a:gd name="connsiteY35445" fmla="*/ 1580363 h 7458372"/>
              <a:gd name="connsiteX35446" fmla="*/ 3729862 w 10505529"/>
              <a:gd name="connsiteY35446" fmla="*/ 1582625 h 7458372"/>
              <a:gd name="connsiteX35447" fmla="*/ 3708029 w 10505529"/>
              <a:gd name="connsiteY35447" fmla="*/ 1574105 h 7458372"/>
              <a:gd name="connsiteX35448" fmla="*/ 3699643 w 10505529"/>
              <a:gd name="connsiteY35448" fmla="*/ 1552940 h 7458372"/>
              <a:gd name="connsiteX35449" fmla="*/ 3708029 w 10505529"/>
              <a:gd name="connsiteY35449" fmla="*/ 1531907 h 7458372"/>
              <a:gd name="connsiteX35450" fmla="*/ 3729862 w 10505529"/>
              <a:gd name="connsiteY35450" fmla="*/ 1523391 h 7458372"/>
              <a:gd name="connsiteX35451" fmla="*/ 3512212 w 10505529"/>
              <a:gd name="connsiteY35451" fmla="*/ 1523391 h 7458372"/>
              <a:gd name="connsiteX35452" fmla="*/ 3523928 w 10505529"/>
              <a:gd name="connsiteY35452" fmla="*/ 1525915 h 7458372"/>
              <a:gd name="connsiteX35453" fmla="*/ 3533246 w 10505529"/>
              <a:gd name="connsiteY35453" fmla="*/ 1532306 h 7458372"/>
              <a:gd name="connsiteX35454" fmla="*/ 3539369 w 10505529"/>
              <a:gd name="connsiteY35454" fmla="*/ 1541623 h 7458372"/>
              <a:gd name="connsiteX35455" fmla="*/ 3541632 w 10505529"/>
              <a:gd name="connsiteY35455" fmla="*/ 1553078 h 7458372"/>
              <a:gd name="connsiteX35456" fmla="*/ 3539369 w 10505529"/>
              <a:gd name="connsiteY35456" fmla="*/ 1564797 h 7458372"/>
              <a:gd name="connsiteX35457" fmla="*/ 3533246 w 10505529"/>
              <a:gd name="connsiteY35457" fmla="*/ 1574105 h 7458372"/>
              <a:gd name="connsiteX35458" fmla="*/ 3523928 w 10505529"/>
              <a:gd name="connsiteY35458" fmla="*/ 1580363 h 7458372"/>
              <a:gd name="connsiteX35459" fmla="*/ 3512212 w 10505529"/>
              <a:gd name="connsiteY35459" fmla="*/ 1582625 h 7458372"/>
              <a:gd name="connsiteX35460" fmla="*/ 3490379 w 10505529"/>
              <a:gd name="connsiteY35460" fmla="*/ 1574105 h 7458372"/>
              <a:gd name="connsiteX35461" fmla="*/ 3481993 w 10505529"/>
              <a:gd name="connsiteY35461" fmla="*/ 1552940 h 7458372"/>
              <a:gd name="connsiteX35462" fmla="*/ 3490379 w 10505529"/>
              <a:gd name="connsiteY35462" fmla="*/ 1531907 h 7458372"/>
              <a:gd name="connsiteX35463" fmla="*/ 3512212 w 10505529"/>
              <a:gd name="connsiteY35463" fmla="*/ 1523391 h 7458372"/>
              <a:gd name="connsiteX35464" fmla="*/ 3294696 w 10505529"/>
              <a:gd name="connsiteY35464" fmla="*/ 1523391 h 7458372"/>
              <a:gd name="connsiteX35465" fmla="*/ 3306411 w 10505529"/>
              <a:gd name="connsiteY35465" fmla="*/ 1525915 h 7458372"/>
              <a:gd name="connsiteX35466" fmla="*/ 3315729 w 10505529"/>
              <a:gd name="connsiteY35466" fmla="*/ 1532306 h 7458372"/>
              <a:gd name="connsiteX35467" fmla="*/ 3321853 w 10505529"/>
              <a:gd name="connsiteY35467" fmla="*/ 1541623 h 7458372"/>
              <a:gd name="connsiteX35468" fmla="*/ 3324116 w 10505529"/>
              <a:gd name="connsiteY35468" fmla="*/ 1553078 h 7458372"/>
              <a:gd name="connsiteX35469" fmla="*/ 3321853 w 10505529"/>
              <a:gd name="connsiteY35469" fmla="*/ 1564797 h 7458372"/>
              <a:gd name="connsiteX35470" fmla="*/ 3315729 w 10505529"/>
              <a:gd name="connsiteY35470" fmla="*/ 1574105 h 7458372"/>
              <a:gd name="connsiteX35471" fmla="*/ 3306411 w 10505529"/>
              <a:gd name="connsiteY35471" fmla="*/ 1580363 h 7458372"/>
              <a:gd name="connsiteX35472" fmla="*/ 3294696 w 10505529"/>
              <a:gd name="connsiteY35472" fmla="*/ 1582625 h 7458372"/>
              <a:gd name="connsiteX35473" fmla="*/ 3272863 w 10505529"/>
              <a:gd name="connsiteY35473" fmla="*/ 1574105 h 7458372"/>
              <a:gd name="connsiteX35474" fmla="*/ 3264476 w 10505529"/>
              <a:gd name="connsiteY35474" fmla="*/ 1552940 h 7458372"/>
              <a:gd name="connsiteX35475" fmla="*/ 3272863 w 10505529"/>
              <a:gd name="connsiteY35475" fmla="*/ 1531907 h 7458372"/>
              <a:gd name="connsiteX35476" fmla="*/ 3294696 w 10505529"/>
              <a:gd name="connsiteY35476" fmla="*/ 1523391 h 7458372"/>
              <a:gd name="connsiteX35477" fmla="*/ 3077046 w 10505529"/>
              <a:gd name="connsiteY35477" fmla="*/ 1523391 h 7458372"/>
              <a:gd name="connsiteX35478" fmla="*/ 3088762 w 10505529"/>
              <a:gd name="connsiteY35478" fmla="*/ 1525915 h 7458372"/>
              <a:gd name="connsiteX35479" fmla="*/ 3098080 w 10505529"/>
              <a:gd name="connsiteY35479" fmla="*/ 1532306 h 7458372"/>
              <a:gd name="connsiteX35480" fmla="*/ 3104203 w 10505529"/>
              <a:gd name="connsiteY35480" fmla="*/ 1541623 h 7458372"/>
              <a:gd name="connsiteX35481" fmla="*/ 3106466 w 10505529"/>
              <a:gd name="connsiteY35481" fmla="*/ 1553078 h 7458372"/>
              <a:gd name="connsiteX35482" fmla="*/ 3104203 w 10505529"/>
              <a:gd name="connsiteY35482" fmla="*/ 1564797 h 7458372"/>
              <a:gd name="connsiteX35483" fmla="*/ 3098080 w 10505529"/>
              <a:gd name="connsiteY35483" fmla="*/ 1574105 h 7458372"/>
              <a:gd name="connsiteX35484" fmla="*/ 3088762 w 10505529"/>
              <a:gd name="connsiteY35484" fmla="*/ 1580363 h 7458372"/>
              <a:gd name="connsiteX35485" fmla="*/ 3077046 w 10505529"/>
              <a:gd name="connsiteY35485" fmla="*/ 1582625 h 7458372"/>
              <a:gd name="connsiteX35486" fmla="*/ 3055213 w 10505529"/>
              <a:gd name="connsiteY35486" fmla="*/ 1574105 h 7458372"/>
              <a:gd name="connsiteX35487" fmla="*/ 3046827 w 10505529"/>
              <a:gd name="connsiteY35487" fmla="*/ 1552940 h 7458372"/>
              <a:gd name="connsiteX35488" fmla="*/ 3055213 w 10505529"/>
              <a:gd name="connsiteY35488" fmla="*/ 1531907 h 7458372"/>
              <a:gd name="connsiteX35489" fmla="*/ 3077046 w 10505529"/>
              <a:gd name="connsiteY35489" fmla="*/ 1523391 h 7458372"/>
              <a:gd name="connsiteX35490" fmla="*/ 2859397 w 10505529"/>
              <a:gd name="connsiteY35490" fmla="*/ 1523391 h 7458372"/>
              <a:gd name="connsiteX35491" fmla="*/ 2871245 w 10505529"/>
              <a:gd name="connsiteY35491" fmla="*/ 1525915 h 7458372"/>
              <a:gd name="connsiteX35492" fmla="*/ 2880563 w 10505529"/>
              <a:gd name="connsiteY35492" fmla="*/ 1532306 h 7458372"/>
              <a:gd name="connsiteX35493" fmla="*/ 2886686 w 10505529"/>
              <a:gd name="connsiteY35493" fmla="*/ 1541623 h 7458372"/>
              <a:gd name="connsiteX35494" fmla="*/ 2888949 w 10505529"/>
              <a:gd name="connsiteY35494" fmla="*/ 1553078 h 7458372"/>
              <a:gd name="connsiteX35495" fmla="*/ 2886686 w 10505529"/>
              <a:gd name="connsiteY35495" fmla="*/ 1564797 h 7458372"/>
              <a:gd name="connsiteX35496" fmla="*/ 2880563 w 10505529"/>
              <a:gd name="connsiteY35496" fmla="*/ 1574105 h 7458372"/>
              <a:gd name="connsiteX35497" fmla="*/ 2871245 w 10505529"/>
              <a:gd name="connsiteY35497" fmla="*/ 1580363 h 7458372"/>
              <a:gd name="connsiteX35498" fmla="*/ 2859397 w 10505529"/>
              <a:gd name="connsiteY35498" fmla="*/ 1582625 h 7458372"/>
              <a:gd name="connsiteX35499" fmla="*/ 2837564 w 10505529"/>
              <a:gd name="connsiteY35499" fmla="*/ 1574105 h 7458372"/>
              <a:gd name="connsiteX35500" fmla="*/ 2829177 w 10505529"/>
              <a:gd name="connsiteY35500" fmla="*/ 1552940 h 7458372"/>
              <a:gd name="connsiteX35501" fmla="*/ 2837564 w 10505529"/>
              <a:gd name="connsiteY35501" fmla="*/ 1531907 h 7458372"/>
              <a:gd name="connsiteX35502" fmla="*/ 2859397 w 10505529"/>
              <a:gd name="connsiteY35502" fmla="*/ 1523391 h 7458372"/>
              <a:gd name="connsiteX35503" fmla="*/ 2641747 w 10505529"/>
              <a:gd name="connsiteY35503" fmla="*/ 1523391 h 7458372"/>
              <a:gd name="connsiteX35504" fmla="*/ 2653463 w 10505529"/>
              <a:gd name="connsiteY35504" fmla="*/ 1525915 h 7458372"/>
              <a:gd name="connsiteX35505" fmla="*/ 2662781 w 10505529"/>
              <a:gd name="connsiteY35505" fmla="*/ 1532306 h 7458372"/>
              <a:gd name="connsiteX35506" fmla="*/ 2668904 w 10505529"/>
              <a:gd name="connsiteY35506" fmla="*/ 1541623 h 7458372"/>
              <a:gd name="connsiteX35507" fmla="*/ 2671167 w 10505529"/>
              <a:gd name="connsiteY35507" fmla="*/ 1553078 h 7458372"/>
              <a:gd name="connsiteX35508" fmla="*/ 2668904 w 10505529"/>
              <a:gd name="connsiteY35508" fmla="*/ 1564797 h 7458372"/>
              <a:gd name="connsiteX35509" fmla="*/ 2662781 w 10505529"/>
              <a:gd name="connsiteY35509" fmla="*/ 1574105 h 7458372"/>
              <a:gd name="connsiteX35510" fmla="*/ 2653463 w 10505529"/>
              <a:gd name="connsiteY35510" fmla="*/ 1580363 h 7458372"/>
              <a:gd name="connsiteX35511" fmla="*/ 2641747 w 10505529"/>
              <a:gd name="connsiteY35511" fmla="*/ 1582625 h 7458372"/>
              <a:gd name="connsiteX35512" fmla="*/ 2619915 w 10505529"/>
              <a:gd name="connsiteY35512" fmla="*/ 1574105 h 7458372"/>
              <a:gd name="connsiteX35513" fmla="*/ 2611528 w 10505529"/>
              <a:gd name="connsiteY35513" fmla="*/ 1552940 h 7458372"/>
              <a:gd name="connsiteX35514" fmla="*/ 2619915 w 10505529"/>
              <a:gd name="connsiteY35514" fmla="*/ 1531907 h 7458372"/>
              <a:gd name="connsiteX35515" fmla="*/ 2641747 w 10505529"/>
              <a:gd name="connsiteY35515" fmla="*/ 1523391 h 7458372"/>
              <a:gd name="connsiteX35516" fmla="*/ 2424097 w 10505529"/>
              <a:gd name="connsiteY35516" fmla="*/ 1523391 h 7458372"/>
              <a:gd name="connsiteX35517" fmla="*/ 2435813 w 10505529"/>
              <a:gd name="connsiteY35517" fmla="*/ 1525915 h 7458372"/>
              <a:gd name="connsiteX35518" fmla="*/ 2445131 w 10505529"/>
              <a:gd name="connsiteY35518" fmla="*/ 1532306 h 7458372"/>
              <a:gd name="connsiteX35519" fmla="*/ 2451254 w 10505529"/>
              <a:gd name="connsiteY35519" fmla="*/ 1541623 h 7458372"/>
              <a:gd name="connsiteX35520" fmla="*/ 2453517 w 10505529"/>
              <a:gd name="connsiteY35520" fmla="*/ 1553078 h 7458372"/>
              <a:gd name="connsiteX35521" fmla="*/ 2451254 w 10505529"/>
              <a:gd name="connsiteY35521" fmla="*/ 1564797 h 7458372"/>
              <a:gd name="connsiteX35522" fmla="*/ 2445131 w 10505529"/>
              <a:gd name="connsiteY35522" fmla="*/ 1574105 h 7458372"/>
              <a:gd name="connsiteX35523" fmla="*/ 2435813 w 10505529"/>
              <a:gd name="connsiteY35523" fmla="*/ 1580363 h 7458372"/>
              <a:gd name="connsiteX35524" fmla="*/ 2424097 w 10505529"/>
              <a:gd name="connsiteY35524" fmla="*/ 1582625 h 7458372"/>
              <a:gd name="connsiteX35525" fmla="*/ 2402265 w 10505529"/>
              <a:gd name="connsiteY35525" fmla="*/ 1574105 h 7458372"/>
              <a:gd name="connsiteX35526" fmla="*/ 2393878 w 10505529"/>
              <a:gd name="connsiteY35526" fmla="*/ 1552940 h 7458372"/>
              <a:gd name="connsiteX35527" fmla="*/ 2402265 w 10505529"/>
              <a:gd name="connsiteY35527" fmla="*/ 1531907 h 7458372"/>
              <a:gd name="connsiteX35528" fmla="*/ 2424097 w 10505529"/>
              <a:gd name="connsiteY35528" fmla="*/ 1523391 h 7458372"/>
              <a:gd name="connsiteX35529" fmla="*/ 2206448 w 10505529"/>
              <a:gd name="connsiteY35529" fmla="*/ 1523391 h 7458372"/>
              <a:gd name="connsiteX35530" fmla="*/ 2218163 w 10505529"/>
              <a:gd name="connsiteY35530" fmla="*/ 1525915 h 7458372"/>
              <a:gd name="connsiteX35531" fmla="*/ 2227482 w 10505529"/>
              <a:gd name="connsiteY35531" fmla="*/ 1532306 h 7458372"/>
              <a:gd name="connsiteX35532" fmla="*/ 2233604 w 10505529"/>
              <a:gd name="connsiteY35532" fmla="*/ 1541623 h 7458372"/>
              <a:gd name="connsiteX35533" fmla="*/ 2235867 w 10505529"/>
              <a:gd name="connsiteY35533" fmla="*/ 1553078 h 7458372"/>
              <a:gd name="connsiteX35534" fmla="*/ 2233604 w 10505529"/>
              <a:gd name="connsiteY35534" fmla="*/ 1564797 h 7458372"/>
              <a:gd name="connsiteX35535" fmla="*/ 2227482 w 10505529"/>
              <a:gd name="connsiteY35535" fmla="*/ 1574105 h 7458372"/>
              <a:gd name="connsiteX35536" fmla="*/ 2218163 w 10505529"/>
              <a:gd name="connsiteY35536" fmla="*/ 1580363 h 7458372"/>
              <a:gd name="connsiteX35537" fmla="*/ 2206448 w 10505529"/>
              <a:gd name="connsiteY35537" fmla="*/ 1582625 h 7458372"/>
              <a:gd name="connsiteX35538" fmla="*/ 2184617 w 10505529"/>
              <a:gd name="connsiteY35538" fmla="*/ 1574105 h 7458372"/>
              <a:gd name="connsiteX35539" fmla="*/ 2176229 w 10505529"/>
              <a:gd name="connsiteY35539" fmla="*/ 1552940 h 7458372"/>
              <a:gd name="connsiteX35540" fmla="*/ 2184617 w 10505529"/>
              <a:gd name="connsiteY35540" fmla="*/ 1531907 h 7458372"/>
              <a:gd name="connsiteX35541" fmla="*/ 2206448 w 10505529"/>
              <a:gd name="connsiteY35541" fmla="*/ 1523391 h 7458372"/>
              <a:gd name="connsiteX35542" fmla="*/ 1988931 w 10505529"/>
              <a:gd name="connsiteY35542" fmla="*/ 1523391 h 7458372"/>
              <a:gd name="connsiteX35543" fmla="*/ 2000647 w 10505529"/>
              <a:gd name="connsiteY35543" fmla="*/ 1525915 h 7458372"/>
              <a:gd name="connsiteX35544" fmla="*/ 2009965 w 10505529"/>
              <a:gd name="connsiteY35544" fmla="*/ 1532306 h 7458372"/>
              <a:gd name="connsiteX35545" fmla="*/ 2016088 w 10505529"/>
              <a:gd name="connsiteY35545" fmla="*/ 1541623 h 7458372"/>
              <a:gd name="connsiteX35546" fmla="*/ 2018351 w 10505529"/>
              <a:gd name="connsiteY35546" fmla="*/ 1553078 h 7458372"/>
              <a:gd name="connsiteX35547" fmla="*/ 2016088 w 10505529"/>
              <a:gd name="connsiteY35547" fmla="*/ 1564797 h 7458372"/>
              <a:gd name="connsiteX35548" fmla="*/ 2009965 w 10505529"/>
              <a:gd name="connsiteY35548" fmla="*/ 1574105 h 7458372"/>
              <a:gd name="connsiteX35549" fmla="*/ 2000647 w 10505529"/>
              <a:gd name="connsiteY35549" fmla="*/ 1580363 h 7458372"/>
              <a:gd name="connsiteX35550" fmla="*/ 1988931 w 10505529"/>
              <a:gd name="connsiteY35550" fmla="*/ 1582625 h 7458372"/>
              <a:gd name="connsiteX35551" fmla="*/ 1967100 w 10505529"/>
              <a:gd name="connsiteY35551" fmla="*/ 1574105 h 7458372"/>
              <a:gd name="connsiteX35552" fmla="*/ 1958714 w 10505529"/>
              <a:gd name="connsiteY35552" fmla="*/ 1552940 h 7458372"/>
              <a:gd name="connsiteX35553" fmla="*/ 1967100 w 10505529"/>
              <a:gd name="connsiteY35553" fmla="*/ 1531907 h 7458372"/>
              <a:gd name="connsiteX35554" fmla="*/ 1988931 w 10505529"/>
              <a:gd name="connsiteY35554" fmla="*/ 1523391 h 7458372"/>
              <a:gd name="connsiteX35555" fmla="*/ 1771290 w 10505529"/>
              <a:gd name="connsiteY35555" fmla="*/ 1523391 h 7458372"/>
              <a:gd name="connsiteX35556" fmla="*/ 1783004 w 10505529"/>
              <a:gd name="connsiteY35556" fmla="*/ 1525915 h 7458372"/>
              <a:gd name="connsiteX35557" fmla="*/ 1792322 w 10505529"/>
              <a:gd name="connsiteY35557" fmla="*/ 1532306 h 7458372"/>
              <a:gd name="connsiteX35558" fmla="*/ 1798446 w 10505529"/>
              <a:gd name="connsiteY35558" fmla="*/ 1541623 h 7458372"/>
              <a:gd name="connsiteX35559" fmla="*/ 1800708 w 10505529"/>
              <a:gd name="connsiteY35559" fmla="*/ 1553078 h 7458372"/>
              <a:gd name="connsiteX35560" fmla="*/ 1798446 w 10505529"/>
              <a:gd name="connsiteY35560" fmla="*/ 1564797 h 7458372"/>
              <a:gd name="connsiteX35561" fmla="*/ 1792322 w 10505529"/>
              <a:gd name="connsiteY35561" fmla="*/ 1574105 h 7458372"/>
              <a:gd name="connsiteX35562" fmla="*/ 1783004 w 10505529"/>
              <a:gd name="connsiteY35562" fmla="*/ 1580363 h 7458372"/>
              <a:gd name="connsiteX35563" fmla="*/ 1771290 w 10505529"/>
              <a:gd name="connsiteY35563" fmla="*/ 1582625 h 7458372"/>
              <a:gd name="connsiteX35564" fmla="*/ 1749459 w 10505529"/>
              <a:gd name="connsiteY35564" fmla="*/ 1574105 h 7458372"/>
              <a:gd name="connsiteX35565" fmla="*/ 1741074 w 10505529"/>
              <a:gd name="connsiteY35565" fmla="*/ 1552940 h 7458372"/>
              <a:gd name="connsiteX35566" fmla="*/ 1749459 w 10505529"/>
              <a:gd name="connsiteY35566" fmla="*/ 1531907 h 7458372"/>
              <a:gd name="connsiteX35567" fmla="*/ 1771290 w 10505529"/>
              <a:gd name="connsiteY35567" fmla="*/ 1523391 h 7458372"/>
              <a:gd name="connsiteX35568" fmla="*/ 1553647 w 10505529"/>
              <a:gd name="connsiteY35568" fmla="*/ 1523391 h 7458372"/>
              <a:gd name="connsiteX35569" fmla="*/ 1565361 w 10505529"/>
              <a:gd name="connsiteY35569" fmla="*/ 1525915 h 7458372"/>
              <a:gd name="connsiteX35570" fmla="*/ 1574680 w 10505529"/>
              <a:gd name="connsiteY35570" fmla="*/ 1532306 h 7458372"/>
              <a:gd name="connsiteX35571" fmla="*/ 1580803 w 10505529"/>
              <a:gd name="connsiteY35571" fmla="*/ 1541623 h 7458372"/>
              <a:gd name="connsiteX35572" fmla="*/ 1583066 w 10505529"/>
              <a:gd name="connsiteY35572" fmla="*/ 1553078 h 7458372"/>
              <a:gd name="connsiteX35573" fmla="*/ 1580803 w 10505529"/>
              <a:gd name="connsiteY35573" fmla="*/ 1564797 h 7458372"/>
              <a:gd name="connsiteX35574" fmla="*/ 1574680 w 10505529"/>
              <a:gd name="connsiteY35574" fmla="*/ 1574105 h 7458372"/>
              <a:gd name="connsiteX35575" fmla="*/ 1565361 w 10505529"/>
              <a:gd name="connsiteY35575" fmla="*/ 1580363 h 7458372"/>
              <a:gd name="connsiteX35576" fmla="*/ 1553647 w 10505529"/>
              <a:gd name="connsiteY35576" fmla="*/ 1582625 h 7458372"/>
              <a:gd name="connsiteX35577" fmla="*/ 1531815 w 10505529"/>
              <a:gd name="connsiteY35577" fmla="*/ 1574105 h 7458372"/>
              <a:gd name="connsiteX35578" fmla="*/ 1523429 w 10505529"/>
              <a:gd name="connsiteY35578" fmla="*/ 1552940 h 7458372"/>
              <a:gd name="connsiteX35579" fmla="*/ 1531815 w 10505529"/>
              <a:gd name="connsiteY35579" fmla="*/ 1531907 h 7458372"/>
              <a:gd name="connsiteX35580" fmla="*/ 1553647 w 10505529"/>
              <a:gd name="connsiteY35580" fmla="*/ 1523391 h 7458372"/>
              <a:gd name="connsiteX35581" fmla="*/ 1336001 w 10505529"/>
              <a:gd name="connsiteY35581" fmla="*/ 1523391 h 7458372"/>
              <a:gd name="connsiteX35582" fmla="*/ 1347717 w 10505529"/>
              <a:gd name="connsiteY35582" fmla="*/ 1525915 h 7458372"/>
              <a:gd name="connsiteX35583" fmla="*/ 1357035 w 10505529"/>
              <a:gd name="connsiteY35583" fmla="*/ 1532306 h 7458372"/>
              <a:gd name="connsiteX35584" fmla="*/ 1363158 w 10505529"/>
              <a:gd name="connsiteY35584" fmla="*/ 1541623 h 7458372"/>
              <a:gd name="connsiteX35585" fmla="*/ 1365421 w 10505529"/>
              <a:gd name="connsiteY35585" fmla="*/ 1553078 h 7458372"/>
              <a:gd name="connsiteX35586" fmla="*/ 1363158 w 10505529"/>
              <a:gd name="connsiteY35586" fmla="*/ 1564797 h 7458372"/>
              <a:gd name="connsiteX35587" fmla="*/ 1357035 w 10505529"/>
              <a:gd name="connsiteY35587" fmla="*/ 1574105 h 7458372"/>
              <a:gd name="connsiteX35588" fmla="*/ 1347717 w 10505529"/>
              <a:gd name="connsiteY35588" fmla="*/ 1580363 h 7458372"/>
              <a:gd name="connsiteX35589" fmla="*/ 1336001 w 10505529"/>
              <a:gd name="connsiteY35589" fmla="*/ 1582625 h 7458372"/>
              <a:gd name="connsiteX35590" fmla="*/ 1314170 w 10505529"/>
              <a:gd name="connsiteY35590" fmla="*/ 1574105 h 7458372"/>
              <a:gd name="connsiteX35591" fmla="*/ 1305785 w 10505529"/>
              <a:gd name="connsiteY35591" fmla="*/ 1552940 h 7458372"/>
              <a:gd name="connsiteX35592" fmla="*/ 1314170 w 10505529"/>
              <a:gd name="connsiteY35592" fmla="*/ 1531907 h 7458372"/>
              <a:gd name="connsiteX35593" fmla="*/ 1336001 w 10505529"/>
              <a:gd name="connsiteY35593" fmla="*/ 1523391 h 7458372"/>
              <a:gd name="connsiteX35594" fmla="*/ 1118357 w 10505529"/>
              <a:gd name="connsiteY35594" fmla="*/ 1523391 h 7458372"/>
              <a:gd name="connsiteX35595" fmla="*/ 1130073 w 10505529"/>
              <a:gd name="connsiteY35595" fmla="*/ 1525915 h 7458372"/>
              <a:gd name="connsiteX35596" fmla="*/ 1139390 w 10505529"/>
              <a:gd name="connsiteY35596" fmla="*/ 1532306 h 7458372"/>
              <a:gd name="connsiteX35597" fmla="*/ 1145512 w 10505529"/>
              <a:gd name="connsiteY35597" fmla="*/ 1541623 h 7458372"/>
              <a:gd name="connsiteX35598" fmla="*/ 1147775 w 10505529"/>
              <a:gd name="connsiteY35598" fmla="*/ 1553078 h 7458372"/>
              <a:gd name="connsiteX35599" fmla="*/ 1145512 w 10505529"/>
              <a:gd name="connsiteY35599" fmla="*/ 1564797 h 7458372"/>
              <a:gd name="connsiteX35600" fmla="*/ 1139390 w 10505529"/>
              <a:gd name="connsiteY35600" fmla="*/ 1574105 h 7458372"/>
              <a:gd name="connsiteX35601" fmla="*/ 1130073 w 10505529"/>
              <a:gd name="connsiteY35601" fmla="*/ 1580363 h 7458372"/>
              <a:gd name="connsiteX35602" fmla="*/ 1118357 w 10505529"/>
              <a:gd name="connsiteY35602" fmla="*/ 1582625 h 7458372"/>
              <a:gd name="connsiteX35603" fmla="*/ 1096524 w 10505529"/>
              <a:gd name="connsiteY35603" fmla="*/ 1574105 h 7458372"/>
              <a:gd name="connsiteX35604" fmla="*/ 1088139 w 10505529"/>
              <a:gd name="connsiteY35604" fmla="*/ 1552940 h 7458372"/>
              <a:gd name="connsiteX35605" fmla="*/ 1096524 w 10505529"/>
              <a:gd name="connsiteY35605" fmla="*/ 1531907 h 7458372"/>
              <a:gd name="connsiteX35606" fmla="*/ 1118357 w 10505529"/>
              <a:gd name="connsiteY35606" fmla="*/ 1523391 h 7458372"/>
              <a:gd name="connsiteX35607" fmla="*/ 900845 w 10505529"/>
              <a:gd name="connsiteY35607" fmla="*/ 1523391 h 7458372"/>
              <a:gd name="connsiteX35608" fmla="*/ 912560 w 10505529"/>
              <a:gd name="connsiteY35608" fmla="*/ 1525915 h 7458372"/>
              <a:gd name="connsiteX35609" fmla="*/ 921878 w 10505529"/>
              <a:gd name="connsiteY35609" fmla="*/ 1532306 h 7458372"/>
              <a:gd name="connsiteX35610" fmla="*/ 928001 w 10505529"/>
              <a:gd name="connsiteY35610" fmla="*/ 1541623 h 7458372"/>
              <a:gd name="connsiteX35611" fmla="*/ 930264 w 10505529"/>
              <a:gd name="connsiteY35611" fmla="*/ 1553078 h 7458372"/>
              <a:gd name="connsiteX35612" fmla="*/ 928001 w 10505529"/>
              <a:gd name="connsiteY35612" fmla="*/ 1564797 h 7458372"/>
              <a:gd name="connsiteX35613" fmla="*/ 921878 w 10505529"/>
              <a:gd name="connsiteY35613" fmla="*/ 1574105 h 7458372"/>
              <a:gd name="connsiteX35614" fmla="*/ 912560 w 10505529"/>
              <a:gd name="connsiteY35614" fmla="*/ 1580363 h 7458372"/>
              <a:gd name="connsiteX35615" fmla="*/ 900845 w 10505529"/>
              <a:gd name="connsiteY35615" fmla="*/ 1582625 h 7458372"/>
              <a:gd name="connsiteX35616" fmla="*/ 879014 w 10505529"/>
              <a:gd name="connsiteY35616" fmla="*/ 1574105 h 7458372"/>
              <a:gd name="connsiteX35617" fmla="*/ 870628 w 10505529"/>
              <a:gd name="connsiteY35617" fmla="*/ 1552940 h 7458372"/>
              <a:gd name="connsiteX35618" fmla="*/ 879014 w 10505529"/>
              <a:gd name="connsiteY35618" fmla="*/ 1531907 h 7458372"/>
              <a:gd name="connsiteX35619" fmla="*/ 900845 w 10505529"/>
              <a:gd name="connsiteY35619" fmla="*/ 1523391 h 7458372"/>
              <a:gd name="connsiteX35620" fmla="*/ 683201 w 10505529"/>
              <a:gd name="connsiteY35620" fmla="*/ 1523391 h 7458372"/>
              <a:gd name="connsiteX35621" fmla="*/ 694916 w 10505529"/>
              <a:gd name="connsiteY35621" fmla="*/ 1525915 h 7458372"/>
              <a:gd name="connsiteX35622" fmla="*/ 704234 w 10505529"/>
              <a:gd name="connsiteY35622" fmla="*/ 1532306 h 7458372"/>
              <a:gd name="connsiteX35623" fmla="*/ 710357 w 10505529"/>
              <a:gd name="connsiteY35623" fmla="*/ 1541623 h 7458372"/>
              <a:gd name="connsiteX35624" fmla="*/ 712620 w 10505529"/>
              <a:gd name="connsiteY35624" fmla="*/ 1553078 h 7458372"/>
              <a:gd name="connsiteX35625" fmla="*/ 710357 w 10505529"/>
              <a:gd name="connsiteY35625" fmla="*/ 1564797 h 7458372"/>
              <a:gd name="connsiteX35626" fmla="*/ 704234 w 10505529"/>
              <a:gd name="connsiteY35626" fmla="*/ 1574105 h 7458372"/>
              <a:gd name="connsiteX35627" fmla="*/ 694916 w 10505529"/>
              <a:gd name="connsiteY35627" fmla="*/ 1580363 h 7458372"/>
              <a:gd name="connsiteX35628" fmla="*/ 683201 w 10505529"/>
              <a:gd name="connsiteY35628" fmla="*/ 1582625 h 7458372"/>
              <a:gd name="connsiteX35629" fmla="*/ 661370 w 10505529"/>
              <a:gd name="connsiteY35629" fmla="*/ 1574105 h 7458372"/>
              <a:gd name="connsiteX35630" fmla="*/ 652984 w 10505529"/>
              <a:gd name="connsiteY35630" fmla="*/ 1552940 h 7458372"/>
              <a:gd name="connsiteX35631" fmla="*/ 661370 w 10505529"/>
              <a:gd name="connsiteY35631" fmla="*/ 1531907 h 7458372"/>
              <a:gd name="connsiteX35632" fmla="*/ 683201 w 10505529"/>
              <a:gd name="connsiteY35632" fmla="*/ 1523391 h 7458372"/>
              <a:gd name="connsiteX35633" fmla="*/ 465557 w 10505529"/>
              <a:gd name="connsiteY35633" fmla="*/ 1523391 h 7458372"/>
              <a:gd name="connsiteX35634" fmla="*/ 477273 w 10505529"/>
              <a:gd name="connsiteY35634" fmla="*/ 1525915 h 7458372"/>
              <a:gd name="connsiteX35635" fmla="*/ 486590 w 10505529"/>
              <a:gd name="connsiteY35635" fmla="*/ 1532306 h 7458372"/>
              <a:gd name="connsiteX35636" fmla="*/ 492714 w 10505529"/>
              <a:gd name="connsiteY35636" fmla="*/ 1541623 h 7458372"/>
              <a:gd name="connsiteX35637" fmla="*/ 494977 w 10505529"/>
              <a:gd name="connsiteY35637" fmla="*/ 1553078 h 7458372"/>
              <a:gd name="connsiteX35638" fmla="*/ 492714 w 10505529"/>
              <a:gd name="connsiteY35638" fmla="*/ 1564797 h 7458372"/>
              <a:gd name="connsiteX35639" fmla="*/ 486590 w 10505529"/>
              <a:gd name="connsiteY35639" fmla="*/ 1574105 h 7458372"/>
              <a:gd name="connsiteX35640" fmla="*/ 477273 w 10505529"/>
              <a:gd name="connsiteY35640" fmla="*/ 1580363 h 7458372"/>
              <a:gd name="connsiteX35641" fmla="*/ 465557 w 10505529"/>
              <a:gd name="connsiteY35641" fmla="*/ 1582625 h 7458372"/>
              <a:gd name="connsiteX35642" fmla="*/ 443726 w 10505529"/>
              <a:gd name="connsiteY35642" fmla="*/ 1574105 h 7458372"/>
              <a:gd name="connsiteX35643" fmla="*/ 435340 w 10505529"/>
              <a:gd name="connsiteY35643" fmla="*/ 1552940 h 7458372"/>
              <a:gd name="connsiteX35644" fmla="*/ 443726 w 10505529"/>
              <a:gd name="connsiteY35644" fmla="*/ 1531907 h 7458372"/>
              <a:gd name="connsiteX35645" fmla="*/ 465557 w 10505529"/>
              <a:gd name="connsiteY35645" fmla="*/ 1523391 h 7458372"/>
              <a:gd name="connsiteX35646" fmla="*/ 247913 w 10505529"/>
              <a:gd name="connsiteY35646" fmla="*/ 1523391 h 7458372"/>
              <a:gd name="connsiteX35647" fmla="*/ 259629 w 10505529"/>
              <a:gd name="connsiteY35647" fmla="*/ 1525915 h 7458372"/>
              <a:gd name="connsiteX35648" fmla="*/ 268947 w 10505529"/>
              <a:gd name="connsiteY35648" fmla="*/ 1532306 h 7458372"/>
              <a:gd name="connsiteX35649" fmla="*/ 275070 w 10505529"/>
              <a:gd name="connsiteY35649" fmla="*/ 1541623 h 7458372"/>
              <a:gd name="connsiteX35650" fmla="*/ 277333 w 10505529"/>
              <a:gd name="connsiteY35650" fmla="*/ 1553078 h 7458372"/>
              <a:gd name="connsiteX35651" fmla="*/ 275070 w 10505529"/>
              <a:gd name="connsiteY35651" fmla="*/ 1564797 h 7458372"/>
              <a:gd name="connsiteX35652" fmla="*/ 268947 w 10505529"/>
              <a:gd name="connsiteY35652" fmla="*/ 1574105 h 7458372"/>
              <a:gd name="connsiteX35653" fmla="*/ 259629 w 10505529"/>
              <a:gd name="connsiteY35653" fmla="*/ 1580363 h 7458372"/>
              <a:gd name="connsiteX35654" fmla="*/ 247913 w 10505529"/>
              <a:gd name="connsiteY35654" fmla="*/ 1582625 h 7458372"/>
              <a:gd name="connsiteX35655" fmla="*/ 226083 w 10505529"/>
              <a:gd name="connsiteY35655" fmla="*/ 1574105 h 7458372"/>
              <a:gd name="connsiteX35656" fmla="*/ 217697 w 10505529"/>
              <a:gd name="connsiteY35656" fmla="*/ 1552940 h 7458372"/>
              <a:gd name="connsiteX35657" fmla="*/ 226083 w 10505529"/>
              <a:gd name="connsiteY35657" fmla="*/ 1531907 h 7458372"/>
              <a:gd name="connsiteX35658" fmla="*/ 247913 w 10505529"/>
              <a:gd name="connsiteY35658" fmla="*/ 1523391 h 7458372"/>
              <a:gd name="connsiteX35659" fmla="*/ 30270 w 10505529"/>
              <a:gd name="connsiteY35659" fmla="*/ 1523391 h 7458372"/>
              <a:gd name="connsiteX35660" fmla="*/ 41985 w 10505529"/>
              <a:gd name="connsiteY35660" fmla="*/ 1525915 h 7458372"/>
              <a:gd name="connsiteX35661" fmla="*/ 51303 w 10505529"/>
              <a:gd name="connsiteY35661" fmla="*/ 1532306 h 7458372"/>
              <a:gd name="connsiteX35662" fmla="*/ 57426 w 10505529"/>
              <a:gd name="connsiteY35662" fmla="*/ 1541623 h 7458372"/>
              <a:gd name="connsiteX35663" fmla="*/ 59689 w 10505529"/>
              <a:gd name="connsiteY35663" fmla="*/ 1553078 h 7458372"/>
              <a:gd name="connsiteX35664" fmla="*/ 57426 w 10505529"/>
              <a:gd name="connsiteY35664" fmla="*/ 1564797 h 7458372"/>
              <a:gd name="connsiteX35665" fmla="*/ 51303 w 10505529"/>
              <a:gd name="connsiteY35665" fmla="*/ 1574105 h 7458372"/>
              <a:gd name="connsiteX35666" fmla="*/ 41985 w 10505529"/>
              <a:gd name="connsiteY35666" fmla="*/ 1580363 h 7458372"/>
              <a:gd name="connsiteX35667" fmla="*/ 30270 w 10505529"/>
              <a:gd name="connsiteY35667" fmla="*/ 1582625 h 7458372"/>
              <a:gd name="connsiteX35668" fmla="*/ 8439 w 10505529"/>
              <a:gd name="connsiteY35668" fmla="*/ 1574105 h 7458372"/>
              <a:gd name="connsiteX35669" fmla="*/ 53 w 10505529"/>
              <a:gd name="connsiteY35669" fmla="*/ 1552940 h 7458372"/>
              <a:gd name="connsiteX35670" fmla="*/ 8439 w 10505529"/>
              <a:gd name="connsiteY35670" fmla="*/ 1531907 h 7458372"/>
              <a:gd name="connsiteX35671" fmla="*/ 30270 w 10505529"/>
              <a:gd name="connsiteY35671" fmla="*/ 1523391 h 7458372"/>
              <a:gd name="connsiteX35672" fmla="*/ 10475977 w 10505529"/>
              <a:gd name="connsiteY35672" fmla="*/ 1322386 h 7458372"/>
              <a:gd name="connsiteX35673" fmla="*/ 10465992 w 10505529"/>
              <a:gd name="connsiteY35673" fmla="*/ 1325972 h 7458372"/>
              <a:gd name="connsiteX35674" fmla="*/ 10462399 w 10505529"/>
              <a:gd name="connsiteY35674" fmla="*/ 1335427 h 7458372"/>
              <a:gd name="connsiteX35675" fmla="*/ 10465992 w 10505529"/>
              <a:gd name="connsiteY35675" fmla="*/ 1344879 h 7458372"/>
              <a:gd name="connsiteX35676" fmla="*/ 10475977 w 10505529"/>
              <a:gd name="connsiteY35676" fmla="*/ 1348345 h 7458372"/>
              <a:gd name="connsiteX35677" fmla="*/ 10481302 w 10505529"/>
              <a:gd name="connsiteY35677" fmla="*/ 1347407 h 7458372"/>
              <a:gd name="connsiteX35678" fmla="*/ 10485029 w 10505529"/>
              <a:gd name="connsiteY35678" fmla="*/ 1345018 h 7458372"/>
              <a:gd name="connsiteX35679" fmla="*/ 10487691 w 10505529"/>
              <a:gd name="connsiteY35679" fmla="*/ 1340751 h 7458372"/>
              <a:gd name="connsiteX35680" fmla="*/ 10488623 w 10505529"/>
              <a:gd name="connsiteY35680" fmla="*/ 1335294 h 7458372"/>
              <a:gd name="connsiteX35681" fmla="*/ 10487691 w 10505529"/>
              <a:gd name="connsiteY35681" fmla="*/ 1330101 h 7458372"/>
              <a:gd name="connsiteX35682" fmla="*/ 10485029 w 10505529"/>
              <a:gd name="connsiteY35682" fmla="*/ 1325972 h 7458372"/>
              <a:gd name="connsiteX35683" fmla="*/ 10481035 w 10505529"/>
              <a:gd name="connsiteY35683" fmla="*/ 1323313 h 7458372"/>
              <a:gd name="connsiteX35684" fmla="*/ 10475977 w 10505529"/>
              <a:gd name="connsiteY35684" fmla="*/ 1322386 h 7458372"/>
              <a:gd name="connsiteX35685" fmla="*/ 10258466 w 10505529"/>
              <a:gd name="connsiteY35685" fmla="*/ 1322386 h 7458372"/>
              <a:gd name="connsiteX35686" fmla="*/ 10248481 w 10505529"/>
              <a:gd name="connsiteY35686" fmla="*/ 1325972 h 7458372"/>
              <a:gd name="connsiteX35687" fmla="*/ 10244887 w 10505529"/>
              <a:gd name="connsiteY35687" fmla="*/ 1335427 h 7458372"/>
              <a:gd name="connsiteX35688" fmla="*/ 10248481 w 10505529"/>
              <a:gd name="connsiteY35688" fmla="*/ 1344879 h 7458372"/>
              <a:gd name="connsiteX35689" fmla="*/ 10258466 w 10505529"/>
              <a:gd name="connsiteY35689" fmla="*/ 1348345 h 7458372"/>
              <a:gd name="connsiteX35690" fmla="*/ 10263790 w 10505529"/>
              <a:gd name="connsiteY35690" fmla="*/ 1347407 h 7458372"/>
              <a:gd name="connsiteX35691" fmla="*/ 10267517 w 10505529"/>
              <a:gd name="connsiteY35691" fmla="*/ 1345018 h 7458372"/>
              <a:gd name="connsiteX35692" fmla="*/ 10270180 w 10505529"/>
              <a:gd name="connsiteY35692" fmla="*/ 1340751 h 7458372"/>
              <a:gd name="connsiteX35693" fmla="*/ 10271112 w 10505529"/>
              <a:gd name="connsiteY35693" fmla="*/ 1335294 h 7458372"/>
              <a:gd name="connsiteX35694" fmla="*/ 10270180 w 10505529"/>
              <a:gd name="connsiteY35694" fmla="*/ 1330101 h 7458372"/>
              <a:gd name="connsiteX35695" fmla="*/ 10267517 w 10505529"/>
              <a:gd name="connsiteY35695" fmla="*/ 1325972 h 7458372"/>
              <a:gd name="connsiteX35696" fmla="*/ 10263524 w 10505529"/>
              <a:gd name="connsiteY35696" fmla="*/ 1323313 h 7458372"/>
              <a:gd name="connsiteX35697" fmla="*/ 10258466 w 10505529"/>
              <a:gd name="connsiteY35697" fmla="*/ 1322386 h 7458372"/>
              <a:gd name="connsiteX35698" fmla="*/ 10040820 w 10505529"/>
              <a:gd name="connsiteY35698" fmla="*/ 1322386 h 7458372"/>
              <a:gd name="connsiteX35699" fmla="*/ 10030835 w 10505529"/>
              <a:gd name="connsiteY35699" fmla="*/ 1325972 h 7458372"/>
              <a:gd name="connsiteX35700" fmla="*/ 10027242 w 10505529"/>
              <a:gd name="connsiteY35700" fmla="*/ 1335427 h 7458372"/>
              <a:gd name="connsiteX35701" fmla="*/ 10030835 w 10505529"/>
              <a:gd name="connsiteY35701" fmla="*/ 1344879 h 7458372"/>
              <a:gd name="connsiteX35702" fmla="*/ 10040820 w 10505529"/>
              <a:gd name="connsiteY35702" fmla="*/ 1348345 h 7458372"/>
              <a:gd name="connsiteX35703" fmla="*/ 10046145 w 10505529"/>
              <a:gd name="connsiteY35703" fmla="*/ 1347407 h 7458372"/>
              <a:gd name="connsiteX35704" fmla="*/ 10049872 w 10505529"/>
              <a:gd name="connsiteY35704" fmla="*/ 1345018 h 7458372"/>
              <a:gd name="connsiteX35705" fmla="*/ 10052534 w 10505529"/>
              <a:gd name="connsiteY35705" fmla="*/ 1340751 h 7458372"/>
              <a:gd name="connsiteX35706" fmla="*/ 10053599 w 10505529"/>
              <a:gd name="connsiteY35706" fmla="*/ 1335294 h 7458372"/>
              <a:gd name="connsiteX35707" fmla="*/ 10052534 w 10505529"/>
              <a:gd name="connsiteY35707" fmla="*/ 1330101 h 7458372"/>
              <a:gd name="connsiteX35708" fmla="*/ 10049872 w 10505529"/>
              <a:gd name="connsiteY35708" fmla="*/ 1325972 h 7458372"/>
              <a:gd name="connsiteX35709" fmla="*/ 10045878 w 10505529"/>
              <a:gd name="connsiteY35709" fmla="*/ 1323313 h 7458372"/>
              <a:gd name="connsiteX35710" fmla="*/ 10040820 w 10505529"/>
              <a:gd name="connsiteY35710" fmla="*/ 1322386 h 7458372"/>
              <a:gd name="connsiteX35711" fmla="*/ 9823176 w 10505529"/>
              <a:gd name="connsiteY35711" fmla="*/ 1322386 h 7458372"/>
              <a:gd name="connsiteX35712" fmla="*/ 9813191 w 10505529"/>
              <a:gd name="connsiteY35712" fmla="*/ 1325972 h 7458372"/>
              <a:gd name="connsiteX35713" fmla="*/ 9809597 w 10505529"/>
              <a:gd name="connsiteY35713" fmla="*/ 1335427 h 7458372"/>
              <a:gd name="connsiteX35714" fmla="*/ 9813191 w 10505529"/>
              <a:gd name="connsiteY35714" fmla="*/ 1344879 h 7458372"/>
              <a:gd name="connsiteX35715" fmla="*/ 9823176 w 10505529"/>
              <a:gd name="connsiteY35715" fmla="*/ 1348345 h 7458372"/>
              <a:gd name="connsiteX35716" fmla="*/ 9828501 w 10505529"/>
              <a:gd name="connsiteY35716" fmla="*/ 1347407 h 7458372"/>
              <a:gd name="connsiteX35717" fmla="*/ 9832227 w 10505529"/>
              <a:gd name="connsiteY35717" fmla="*/ 1345018 h 7458372"/>
              <a:gd name="connsiteX35718" fmla="*/ 9834890 w 10505529"/>
              <a:gd name="connsiteY35718" fmla="*/ 1340751 h 7458372"/>
              <a:gd name="connsiteX35719" fmla="*/ 9835955 w 10505529"/>
              <a:gd name="connsiteY35719" fmla="*/ 1335294 h 7458372"/>
              <a:gd name="connsiteX35720" fmla="*/ 9834890 w 10505529"/>
              <a:gd name="connsiteY35720" fmla="*/ 1330101 h 7458372"/>
              <a:gd name="connsiteX35721" fmla="*/ 9832227 w 10505529"/>
              <a:gd name="connsiteY35721" fmla="*/ 1325972 h 7458372"/>
              <a:gd name="connsiteX35722" fmla="*/ 9828234 w 10505529"/>
              <a:gd name="connsiteY35722" fmla="*/ 1323313 h 7458372"/>
              <a:gd name="connsiteX35723" fmla="*/ 9823176 w 10505529"/>
              <a:gd name="connsiteY35723" fmla="*/ 1322386 h 7458372"/>
              <a:gd name="connsiteX35724" fmla="*/ 9605531 w 10505529"/>
              <a:gd name="connsiteY35724" fmla="*/ 1322386 h 7458372"/>
              <a:gd name="connsiteX35725" fmla="*/ 9595546 w 10505529"/>
              <a:gd name="connsiteY35725" fmla="*/ 1325972 h 7458372"/>
              <a:gd name="connsiteX35726" fmla="*/ 9591952 w 10505529"/>
              <a:gd name="connsiteY35726" fmla="*/ 1335427 h 7458372"/>
              <a:gd name="connsiteX35727" fmla="*/ 9595546 w 10505529"/>
              <a:gd name="connsiteY35727" fmla="*/ 1344879 h 7458372"/>
              <a:gd name="connsiteX35728" fmla="*/ 9605531 w 10505529"/>
              <a:gd name="connsiteY35728" fmla="*/ 1348345 h 7458372"/>
              <a:gd name="connsiteX35729" fmla="*/ 9610855 w 10505529"/>
              <a:gd name="connsiteY35729" fmla="*/ 1347407 h 7458372"/>
              <a:gd name="connsiteX35730" fmla="*/ 9614582 w 10505529"/>
              <a:gd name="connsiteY35730" fmla="*/ 1345018 h 7458372"/>
              <a:gd name="connsiteX35731" fmla="*/ 9617245 w 10505529"/>
              <a:gd name="connsiteY35731" fmla="*/ 1340751 h 7458372"/>
              <a:gd name="connsiteX35732" fmla="*/ 9618309 w 10505529"/>
              <a:gd name="connsiteY35732" fmla="*/ 1335294 h 7458372"/>
              <a:gd name="connsiteX35733" fmla="*/ 9617245 w 10505529"/>
              <a:gd name="connsiteY35733" fmla="*/ 1330101 h 7458372"/>
              <a:gd name="connsiteX35734" fmla="*/ 9614582 w 10505529"/>
              <a:gd name="connsiteY35734" fmla="*/ 1325972 h 7458372"/>
              <a:gd name="connsiteX35735" fmla="*/ 9610589 w 10505529"/>
              <a:gd name="connsiteY35735" fmla="*/ 1323313 h 7458372"/>
              <a:gd name="connsiteX35736" fmla="*/ 9605531 w 10505529"/>
              <a:gd name="connsiteY35736" fmla="*/ 1322386 h 7458372"/>
              <a:gd name="connsiteX35737" fmla="*/ 9387885 w 10505529"/>
              <a:gd name="connsiteY35737" fmla="*/ 1322386 h 7458372"/>
              <a:gd name="connsiteX35738" fmla="*/ 9377900 w 10505529"/>
              <a:gd name="connsiteY35738" fmla="*/ 1325972 h 7458372"/>
              <a:gd name="connsiteX35739" fmla="*/ 9374307 w 10505529"/>
              <a:gd name="connsiteY35739" fmla="*/ 1335427 h 7458372"/>
              <a:gd name="connsiteX35740" fmla="*/ 9377900 w 10505529"/>
              <a:gd name="connsiteY35740" fmla="*/ 1344879 h 7458372"/>
              <a:gd name="connsiteX35741" fmla="*/ 9387885 w 10505529"/>
              <a:gd name="connsiteY35741" fmla="*/ 1348345 h 7458372"/>
              <a:gd name="connsiteX35742" fmla="*/ 9393210 w 10505529"/>
              <a:gd name="connsiteY35742" fmla="*/ 1347407 h 7458372"/>
              <a:gd name="connsiteX35743" fmla="*/ 9396937 w 10505529"/>
              <a:gd name="connsiteY35743" fmla="*/ 1345018 h 7458372"/>
              <a:gd name="connsiteX35744" fmla="*/ 9399599 w 10505529"/>
              <a:gd name="connsiteY35744" fmla="*/ 1340751 h 7458372"/>
              <a:gd name="connsiteX35745" fmla="*/ 9400664 w 10505529"/>
              <a:gd name="connsiteY35745" fmla="*/ 1335294 h 7458372"/>
              <a:gd name="connsiteX35746" fmla="*/ 9399599 w 10505529"/>
              <a:gd name="connsiteY35746" fmla="*/ 1330101 h 7458372"/>
              <a:gd name="connsiteX35747" fmla="*/ 9396937 w 10505529"/>
              <a:gd name="connsiteY35747" fmla="*/ 1325972 h 7458372"/>
              <a:gd name="connsiteX35748" fmla="*/ 9392943 w 10505529"/>
              <a:gd name="connsiteY35748" fmla="*/ 1323313 h 7458372"/>
              <a:gd name="connsiteX35749" fmla="*/ 9387885 w 10505529"/>
              <a:gd name="connsiteY35749" fmla="*/ 1322386 h 7458372"/>
              <a:gd name="connsiteX35750" fmla="*/ 9170374 w 10505529"/>
              <a:gd name="connsiteY35750" fmla="*/ 1322386 h 7458372"/>
              <a:gd name="connsiteX35751" fmla="*/ 9160389 w 10505529"/>
              <a:gd name="connsiteY35751" fmla="*/ 1325972 h 7458372"/>
              <a:gd name="connsiteX35752" fmla="*/ 9156795 w 10505529"/>
              <a:gd name="connsiteY35752" fmla="*/ 1335427 h 7458372"/>
              <a:gd name="connsiteX35753" fmla="*/ 9160389 w 10505529"/>
              <a:gd name="connsiteY35753" fmla="*/ 1344879 h 7458372"/>
              <a:gd name="connsiteX35754" fmla="*/ 9170374 w 10505529"/>
              <a:gd name="connsiteY35754" fmla="*/ 1348345 h 7458372"/>
              <a:gd name="connsiteX35755" fmla="*/ 9175698 w 10505529"/>
              <a:gd name="connsiteY35755" fmla="*/ 1347407 h 7458372"/>
              <a:gd name="connsiteX35756" fmla="*/ 9179425 w 10505529"/>
              <a:gd name="connsiteY35756" fmla="*/ 1345018 h 7458372"/>
              <a:gd name="connsiteX35757" fmla="*/ 9182088 w 10505529"/>
              <a:gd name="connsiteY35757" fmla="*/ 1340751 h 7458372"/>
              <a:gd name="connsiteX35758" fmla="*/ 9183152 w 10505529"/>
              <a:gd name="connsiteY35758" fmla="*/ 1335294 h 7458372"/>
              <a:gd name="connsiteX35759" fmla="*/ 9182088 w 10505529"/>
              <a:gd name="connsiteY35759" fmla="*/ 1330101 h 7458372"/>
              <a:gd name="connsiteX35760" fmla="*/ 9179425 w 10505529"/>
              <a:gd name="connsiteY35760" fmla="*/ 1325972 h 7458372"/>
              <a:gd name="connsiteX35761" fmla="*/ 9175432 w 10505529"/>
              <a:gd name="connsiteY35761" fmla="*/ 1323313 h 7458372"/>
              <a:gd name="connsiteX35762" fmla="*/ 9170374 w 10505529"/>
              <a:gd name="connsiteY35762" fmla="*/ 1322386 h 7458372"/>
              <a:gd name="connsiteX35763" fmla="*/ 8952728 w 10505529"/>
              <a:gd name="connsiteY35763" fmla="*/ 1322386 h 7458372"/>
              <a:gd name="connsiteX35764" fmla="*/ 8942743 w 10505529"/>
              <a:gd name="connsiteY35764" fmla="*/ 1325972 h 7458372"/>
              <a:gd name="connsiteX35765" fmla="*/ 8939150 w 10505529"/>
              <a:gd name="connsiteY35765" fmla="*/ 1335427 h 7458372"/>
              <a:gd name="connsiteX35766" fmla="*/ 8942743 w 10505529"/>
              <a:gd name="connsiteY35766" fmla="*/ 1344879 h 7458372"/>
              <a:gd name="connsiteX35767" fmla="*/ 8952728 w 10505529"/>
              <a:gd name="connsiteY35767" fmla="*/ 1348345 h 7458372"/>
              <a:gd name="connsiteX35768" fmla="*/ 8958053 w 10505529"/>
              <a:gd name="connsiteY35768" fmla="*/ 1347407 h 7458372"/>
              <a:gd name="connsiteX35769" fmla="*/ 8961780 w 10505529"/>
              <a:gd name="connsiteY35769" fmla="*/ 1345018 h 7458372"/>
              <a:gd name="connsiteX35770" fmla="*/ 8964442 w 10505529"/>
              <a:gd name="connsiteY35770" fmla="*/ 1340751 h 7458372"/>
              <a:gd name="connsiteX35771" fmla="*/ 8965507 w 10505529"/>
              <a:gd name="connsiteY35771" fmla="*/ 1335294 h 7458372"/>
              <a:gd name="connsiteX35772" fmla="*/ 8964442 w 10505529"/>
              <a:gd name="connsiteY35772" fmla="*/ 1330101 h 7458372"/>
              <a:gd name="connsiteX35773" fmla="*/ 8961780 w 10505529"/>
              <a:gd name="connsiteY35773" fmla="*/ 1325972 h 7458372"/>
              <a:gd name="connsiteX35774" fmla="*/ 8957786 w 10505529"/>
              <a:gd name="connsiteY35774" fmla="*/ 1323313 h 7458372"/>
              <a:gd name="connsiteX35775" fmla="*/ 8952728 w 10505529"/>
              <a:gd name="connsiteY35775" fmla="*/ 1322386 h 7458372"/>
              <a:gd name="connsiteX35776" fmla="*/ 8735083 w 10505529"/>
              <a:gd name="connsiteY35776" fmla="*/ 1322386 h 7458372"/>
              <a:gd name="connsiteX35777" fmla="*/ 8725098 w 10505529"/>
              <a:gd name="connsiteY35777" fmla="*/ 1325972 h 7458372"/>
              <a:gd name="connsiteX35778" fmla="*/ 8721504 w 10505529"/>
              <a:gd name="connsiteY35778" fmla="*/ 1335427 h 7458372"/>
              <a:gd name="connsiteX35779" fmla="*/ 8725098 w 10505529"/>
              <a:gd name="connsiteY35779" fmla="*/ 1344879 h 7458372"/>
              <a:gd name="connsiteX35780" fmla="*/ 8735083 w 10505529"/>
              <a:gd name="connsiteY35780" fmla="*/ 1348345 h 7458372"/>
              <a:gd name="connsiteX35781" fmla="*/ 8740407 w 10505529"/>
              <a:gd name="connsiteY35781" fmla="*/ 1347407 h 7458372"/>
              <a:gd name="connsiteX35782" fmla="*/ 8744134 w 10505529"/>
              <a:gd name="connsiteY35782" fmla="*/ 1345018 h 7458372"/>
              <a:gd name="connsiteX35783" fmla="*/ 8746797 w 10505529"/>
              <a:gd name="connsiteY35783" fmla="*/ 1340751 h 7458372"/>
              <a:gd name="connsiteX35784" fmla="*/ 8747862 w 10505529"/>
              <a:gd name="connsiteY35784" fmla="*/ 1335294 h 7458372"/>
              <a:gd name="connsiteX35785" fmla="*/ 8746797 w 10505529"/>
              <a:gd name="connsiteY35785" fmla="*/ 1330101 h 7458372"/>
              <a:gd name="connsiteX35786" fmla="*/ 8744134 w 10505529"/>
              <a:gd name="connsiteY35786" fmla="*/ 1325972 h 7458372"/>
              <a:gd name="connsiteX35787" fmla="*/ 8740141 w 10505529"/>
              <a:gd name="connsiteY35787" fmla="*/ 1323313 h 7458372"/>
              <a:gd name="connsiteX35788" fmla="*/ 8735083 w 10505529"/>
              <a:gd name="connsiteY35788" fmla="*/ 1322386 h 7458372"/>
              <a:gd name="connsiteX35789" fmla="*/ 8517438 w 10505529"/>
              <a:gd name="connsiteY35789" fmla="*/ 1322386 h 7458372"/>
              <a:gd name="connsiteX35790" fmla="*/ 8507453 w 10505529"/>
              <a:gd name="connsiteY35790" fmla="*/ 1325972 h 7458372"/>
              <a:gd name="connsiteX35791" fmla="*/ 8503860 w 10505529"/>
              <a:gd name="connsiteY35791" fmla="*/ 1335427 h 7458372"/>
              <a:gd name="connsiteX35792" fmla="*/ 8507453 w 10505529"/>
              <a:gd name="connsiteY35792" fmla="*/ 1344879 h 7458372"/>
              <a:gd name="connsiteX35793" fmla="*/ 8517438 w 10505529"/>
              <a:gd name="connsiteY35793" fmla="*/ 1348345 h 7458372"/>
              <a:gd name="connsiteX35794" fmla="*/ 8522763 w 10505529"/>
              <a:gd name="connsiteY35794" fmla="*/ 1347407 h 7458372"/>
              <a:gd name="connsiteX35795" fmla="*/ 8526490 w 10505529"/>
              <a:gd name="connsiteY35795" fmla="*/ 1345018 h 7458372"/>
              <a:gd name="connsiteX35796" fmla="*/ 8529152 w 10505529"/>
              <a:gd name="connsiteY35796" fmla="*/ 1340751 h 7458372"/>
              <a:gd name="connsiteX35797" fmla="*/ 8530084 w 10505529"/>
              <a:gd name="connsiteY35797" fmla="*/ 1335294 h 7458372"/>
              <a:gd name="connsiteX35798" fmla="*/ 8529152 w 10505529"/>
              <a:gd name="connsiteY35798" fmla="*/ 1330101 h 7458372"/>
              <a:gd name="connsiteX35799" fmla="*/ 8526490 w 10505529"/>
              <a:gd name="connsiteY35799" fmla="*/ 1325972 h 7458372"/>
              <a:gd name="connsiteX35800" fmla="*/ 8522496 w 10505529"/>
              <a:gd name="connsiteY35800" fmla="*/ 1323313 h 7458372"/>
              <a:gd name="connsiteX35801" fmla="*/ 8517438 w 10505529"/>
              <a:gd name="connsiteY35801" fmla="*/ 1322386 h 7458372"/>
              <a:gd name="connsiteX35802" fmla="*/ 8299793 w 10505529"/>
              <a:gd name="connsiteY35802" fmla="*/ 1322386 h 7458372"/>
              <a:gd name="connsiteX35803" fmla="*/ 8289809 w 10505529"/>
              <a:gd name="connsiteY35803" fmla="*/ 1325972 h 7458372"/>
              <a:gd name="connsiteX35804" fmla="*/ 8286215 w 10505529"/>
              <a:gd name="connsiteY35804" fmla="*/ 1335427 h 7458372"/>
              <a:gd name="connsiteX35805" fmla="*/ 8289809 w 10505529"/>
              <a:gd name="connsiteY35805" fmla="*/ 1344879 h 7458372"/>
              <a:gd name="connsiteX35806" fmla="*/ 8299793 w 10505529"/>
              <a:gd name="connsiteY35806" fmla="*/ 1348345 h 7458372"/>
              <a:gd name="connsiteX35807" fmla="*/ 8305118 w 10505529"/>
              <a:gd name="connsiteY35807" fmla="*/ 1347407 h 7458372"/>
              <a:gd name="connsiteX35808" fmla="*/ 8308844 w 10505529"/>
              <a:gd name="connsiteY35808" fmla="*/ 1345018 h 7458372"/>
              <a:gd name="connsiteX35809" fmla="*/ 8311507 w 10505529"/>
              <a:gd name="connsiteY35809" fmla="*/ 1340751 h 7458372"/>
              <a:gd name="connsiteX35810" fmla="*/ 8312439 w 10505529"/>
              <a:gd name="connsiteY35810" fmla="*/ 1335294 h 7458372"/>
              <a:gd name="connsiteX35811" fmla="*/ 8311507 w 10505529"/>
              <a:gd name="connsiteY35811" fmla="*/ 1330101 h 7458372"/>
              <a:gd name="connsiteX35812" fmla="*/ 8308844 w 10505529"/>
              <a:gd name="connsiteY35812" fmla="*/ 1325972 h 7458372"/>
              <a:gd name="connsiteX35813" fmla="*/ 8304851 w 10505529"/>
              <a:gd name="connsiteY35813" fmla="*/ 1323313 h 7458372"/>
              <a:gd name="connsiteX35814" fmla="*/ 8299793 w 10505529"/>
              <a:gd name="connsiteY35814" fmla="*/ 1322386 h 7458372"/>
              <a:gd name="connsiteX35815" fmla="*/ 8082281 w 10505529"/>
              <a:gd name="connsiteY35815" fmla="*/ 1322386 h 7458372"/>
              <a:gd name="connsiteX35816" fmla="*/ 8072297 w 10505529"/>
              <a:gd name="connsiteY35816" fmla="*/ 1325972 h 7458372"/>
              <a:gd name="connsiteX35817" fmla="*/ 8068703 w 10505529"/>
              <a:gd name="connsiteY35817" fmla="*/ 1335427 h 7458372"/>
              <a:gd name="connsiteX35818" fmla="*/ 8072297 w 10505529"/>
              <a:gd name="connsiteY35818" fmla="*/ 1344879 h 7458372"/>
              <a:gd name="connsiteX35819" fmla="*/ 8082281 w 10505529"/>
              <a:gd name="connsiteY35819" fmla="*/ 1348345 h 7458372"/>
              <a:gd name="connsiteX35820" fmla="*/ 8087605 w 10505529"/>
              <a:gd name="connsiteY35820" fmla="*/ 1347407 h 7458372"/>
              <a:gd name="connsiteX35821" fmla="*/ 8091332 w 10505529"/>
              <a:gd name="connsiteY35821" fmla="*/ 1345018 h 7458372"/>
              <a:gd name="connsiteX35822" fmla="*/ 8093994 w 10505529"/>
              <a:gd name="connsiteY35822" fmla="*/ 1340751 h 7458372"/>
              <a:gd name="connsiteX35823" fmla="*/ 8094926 w 10505529"/>
              <a:gd name="connsiteY35823" fmla="*/ 1335294 h 7458372"/>
              <a:gd name="connsiteX35824" fmla="*/ 8093994 w 10505529"/>
              <a:gd name="connsiteY35824" fmla="*/ 1330101 h 7458372"/>
              <a:gd name="connsiteX35825" fmla="*/ 8091332 w 10505529"/>
              <a:gd name="connsiteY35825" fmla="*/ 1325972 h 7458372"/>
              <a:gd name="connsiteX35826" fmla="*/ 8087338 w 10505529"/>
              <a:gd name="connsiteY35826" fmla="*/ 1323313 h 7458372"/>
              <a:gd name="connsiteX35827" fmla="*/ 8082281 w 10505529"/>
              <a:gd name="connsiteY35827" fmla="*/ 1322386 h 7458372"/>
              <a:gd name="connsiteX35828" fmla="*/ 7864636 w 10505529"/>
              <a:gd name="connsiteY35828" fmla="*/ 1322386 h 7458372"/>
              <a:gd name="connsiteX35829" fmla="*/ 7854652 w 10505529"/>
              <a:gd name="connsiteY35829" fmla="*/ 1325972 h 7458372"/>
              <a:gd name="connsiteX35830" fmla="*/ 7851058 w 10505529"/>
              <a:gd name="connsiteY35830" fmla="*/ 1335427 h 7458372"/>
              <a:gd name="connsiteX35831" fmla="*/ 7854652 w 10505529"/>
              <a:gd name="connsiteY35831" fmla="*/ 1344879 h 7458372"/>
              <a:gd name="connsiteX35832" fmla="*/ 7864636 w 10505529"/>
              <a:gd name="connsiteY35832" fmla="*/ 1348345 h 7458372"/>
              <a:gd name="connsiteX35833" fmla="*/ 7869961 w 10505529"/>
              <a:gd name="connsiteY35833" fmla="*/ 1347407 h 7458372"/>
              <a:gd name="connsiteX35834" fmla="*/ 7873687 w 10505529"/>
              <a:gd name="connsiteY35834" fmla="*/ 1345018 h 7458372"/>
              <a:gd name="connsiteX35835" fmla="*/ 7876350 w 10505529"/>
              <a:gd name="connsiteY35835" fmla="*/ 1340751 h 7458372"/>
              <a:gd name="connsiteX35836" fmla="*/ 7877282 w 10505529"/>
              <a:gd name="connsiteY35836" fmla="*/ 1335294 h 7458372"/>
              <a:gd name="connsiteX35837" fmla="*/ 7876350 w 10505529"/>
              <a:gd name="connsiteY35837" fmla="*/ 1330101 h 7458372"/>
              <a:gd name="connsiteX35838" fmla="*/ 7873687 w 10505529"/>
              <a:gd name="connsiteY35838" fmla="*/ 1325972 h 7458372"/>
              <a:gd name="connsiteX35839" fmla="*/ 7869694 w 10505529"/>
              <a:gd name="connsiteY35839" fmla="*/ 1323313 h 7458372"/>
              <a:gd name="connsiteX35840" fmla="*/ 7864636 w 10505529"/>
              <a:gd name="connsiteY35840" fmla="*/ 1322386 h 7458372"/>
              <a:gd name="connsiteX35841" fmla="*/ 7646991 w 10505529"/>
              <a:gd name="connsiteY35841" fmla="*/ 1322386 h 7458372"/>
              <a:gd name="connsiteX35842" fmla="*/ 7637007 w 10505529"/>
              <a:gd name="connsiteY35842" fmla="*/ 1325972 h 7458372"/>
              <a:gd name="connsiteX35843" fmla="*/ 7633413 w 10505529"/>
              <a:gd name="connsiteY35843" fmla="*/ 1335427 h 7458372"/>
              <a:gd name="connsiteX35844" fmla="*/ 7637007 w 10505529"/>
              <a:gd name="connsiteY35844" fmla="*/ 1344879 h 7458372"/>
              <a:gd name="connsiteX35845" fmla="*/ 7646991 w 10505529"/>
              <a:gd name="connsiteY35845" fmla="*/ 1348345 h 7458372"/>
              <a:gd name="connsiteX35846" fmla="*/ 7652315 w 10505529"/>
              <a:gd name="connsiteY35846" fmla="*/ 1347407 h 7458372"/>
              <a:gd name="connsiteX35847" fmla="*/ 7656042 w 10505529"/>
              <a:gd name="connsiteY35847" fmla="*/ 1345018 h 7458372"/>
              <a:gd name="connsiteX35848" fmla="*/ 7658705 w 10505529"/>
              <a:gd name="connsiteY35848" fmla="*/ 1340751 h 7458372"/>
              <a:gd name="connsiteX35849" fmla="*/ 7659769 w 10505529"/>
              <a:gd name="connsiteY35849" fmla="*/ 1335294 h 7458372"/>
              <a:gd name="connsiteX35850" fmla="*/ 7658705 w 10505529"/>
              <a:gd name="connsiteY35850" fmla="*/ 1330101 h 7458372"/>
              <a:gd name="connsiteX35851" fmla="*/ 7656042 w 10505529"/>
              <a:gd name="connsiteY35851" fmla="*/ 1325972 h 7458372"/>
              <a:gd name="connsiteX35852" fmla="*/ 7652049 w 10505529"/>
              <a:gd name="connsiteY35852" fmla="*/ 1323313 h 7458372"/>
              <a:gd name="connsiteX35853" fmla="*/ 7646991 w 10505529"/>
              <a:gd name="connsiteY35853" fmla="*/ 1322386 h 7458372"/>
              <a:gd name="connsiteX35854" fmla="*/ 7429345 w 10505529"/>
              <a:gd name="connsiteY35854" fmla="*/ 1322386 h 7458372"/>
              <a:gd name="connsiteX35855" fmla="*/ 7419361 w 10505529"/>
              <a:gd name="connsiteY35855" fmla="*/ 1325972 h 7458372"/>
              <a:gd name="connsiteX35856" fmla="*/ 7415768 w 10505529"/>
              <a:gd name="connsiteY35856" fmla="*/ 1335427 h 7458372"/>
              <a:gd name="connsiteX35857" fmla="*/ 7419361 w 10505529"/>
              <a:gd name="connsiteY35857" fmla="*/ 1344879 h 7458372"/>
              <a:gd name="connsiteX35858" fmla="*/ 7429345 w 10505529"/>
              <a:gd name="connsiteY35858" fmla="*/ 1348345 h 7458372"/>
              <a:gd name="connsiteX35859" fmla="*/ 7434670 w 10505529"/>
              <a:gd name="connsiteY35859" fmla="*/ 1347407 h 7458372"/>
              <a:gd name="connsiteX35860" fmla="*/ 7438397 w 10505529"/>
              <a:gd name="connsiteY35860" fmla="*/ 1345018 h 7458372"/>
              <a:gd name="connsiteX35861" fmla="*/ 7441059 w 10505529"/>
              <a:gd name="connsiteY35861" fmla="*/ 1340751 h 7458372"/>
              <a:gd name="connsiteX35862" fmla="*/ 7442124 w 10505529"/>
              <a:gd name="connsiteY35862" fmla="*/ 1335294 h 7458372"/>
              <a:gd name="connsiteX35863" fmla="*/ 7441059 w 10505529"/>
              <a:gd name="connsiteY35863" fmla="*/ 1330101 h 7458372"/>
              <a:gd name="connsiteX35864" fmla="*/ 7438397 w 10505529"/>
              <a:gd name="connsiteY35864" fmla="*/ 1325972 h 7458372"/>
              <a:gd name="connsiteX35865" fmla="*/ 7434403 w 10505529"/>
              <a:gd name="connsiteY35865" fmla="*/ 1323313 h 7458372"/>
              <a:gd name="connsiteX35866" fmla="*/ 7429345 w 10505529"/>
              <a:gd name="connsiteY35866" fmla="*/ 1322386 h 7458372"/>
              <a:gd name="connsiteX35867" fmla="*/ 7211701 w 10505529"/>
              <a:gd name="connsiteY35867" fmla="*/ 1322386 h 7458372"/>
              <a:gd name="connsiteX35868" fmla="*/ 7201717 w 10505529"/>
              <a:gd name="connsiteY35868" fmla="*/ 1325972 h 7458372"/>
              <a:gd name="connsiteX35869" fmla="*/ 7198123 w 10505529"/>
              <a:gd name="connsiteY35869" fmla="*/ 1335427 h 7458372"/>
              <a:gd name="connsiteX35870" fmla="*/ 7201717 w 10505529"/>
              <a:gd name="connsiteY35870" fmla="*/ 1344879 h 7458372"/>
              <a:gd name="connsiteX35871" fmla="*/ 7211701 w 10505529"/>
              <a:gd name="connsiteY35871" fmla="*/ 1348345 h 7458372"/>
              <a:gd name="connsiteX35872" fmla="*/ 7217026 w 10505529"/>
              <a:gd name="connsiteY35872" fmla="*/ 1347407 h 7458372"/>
              <a:gd name="connsiteX35873" fmla="*/ 7220752 w 10505529"/>
              <a:gd name="connsiteY35873" fmla="*/ 1345018 h 7458372"/>
              <a:gd name="connsiteX35874" fmla="*/ 7223415 w 10505529"/>
              <a:gd name="connsiteY35874" fmla="*/ 1340751 h 7458372"/>
              <a:gd name="connsiteX35875" fmla="*/ 7224480 w 10505529"/>
              <a:gd name="connsiteY35875" fmla="*/ 1335294 h 7458372"/>
              <a:gd name="connsiteX35876" fmla="*/ 7223415 w 10505529"/>
              <a:gd name="connsiteY35876" fmla="*/ 1330101 h 7458372"/>
              <a:gd name="connsiteX35877" fmla="*/ 7220752 w 10505529"/>
              <a:gd name="connsiteY35877" fmla="*/ 1325972 h 7458372"/>
              <a:gd name="connsiteX35878" fmla="*/ 7216759 w 10505529"/>
              <a:gd name="connsiteY35878" fmla="*/ 1323313 h 7458372"/>
              <a:gd name="connsiteX35879" fmla="*/ 7211701 w 10505529"/>
              <a:gd name="connsiteY35879" fmla="*/ 1322386 h 7458372"/>
              <a:gd name="connsiteX35880" fmla="*/ 6994056 w 10505529"/>
              <a:gd name="connsiteY35880" fmla="*/ 1322386 h 7458372"/>
              <a:gd name="connsiteX35881" fmla="*/ 6984072 w 10505529"/>
              <a:gd name="connsiteY35881" fmla="*/ 1325972 h 7458372"/>
              <a:gd name="connsiteX35882" fmla="*/ 6980478 w 10505529"/>
              <a:gd name="connsiteY35882" fmla="*/ 1335427 h 7458372"/>
              <a:gd name="connsiteX35883" fmla="*/ 6984072 w 10505529"/>
              <a:gd name="connsiteY35883" fmla="*/ 1344879 h 7458372"/>
              <a:gd name="connsiteX35884" fmla="*/ 6994056 w 10505529"/>
              <a:gd name="connsiteY35884" fmla="*/ 1348345 h 7458372"/>
              <a:gd name="connsiteX35885" fmla="*/ 6999380 w 10505529"/>
              <a:gd name="connsiteY35885" fmla="*/ 1347407 h 7458372"/>
              <a:gd name="connsiteX35886" fmla="*/ 7003107 w 10505529"/>
              <a:gd name="connsiteY35886" fmla="*/ 1345018 h 7458372"/>
              <a:gd name="connsiteX35887" fmla="*/ 7005769 w 10505529"/>
              <a:gd name="connsiteY35887" fmla="*/ 1340751 h 7458372"/>
              <a:gd name="connsiteX35888" fmla="*/ 7006834 w 10505529"/>
              <a:gd name="connsiteY35888" fmla="*/ 1335294 h 7458372"/>
              <a:gd name="connsiteX35889" fmla="*/ 7005769 w 10505529"/>
              <a:gd name="connsiteY35889" fmla="*/ 1330101 h 7458372"/>
              <a:gd name="connsiteX35890" fmla="*/ 7003107 w 10505529"/>
              <a:gd name="connsiteY35890" fmla="*/ 1325972 h 7458372"/>
              <a:gd name="connsiteX35891" fmla="*/ 6999113 w 10505529"/>
              <a:gd name="connsiteY35891" fmla="*/ 1323313 h 7458372"/>
              <a:gd name="connsiteX35892" fmla="*/ 6994056 w 10505529"/>
              <a:gd name="connsiteY35892" fmla="*/ 1322386 h 7458372"/>
              <a:gd name="connsiteX35893" fmla="*/ 6776544 w 10505529"/>
              <a:gd name="connsiteY35893" fmla="*/ 1322386 h 7458372"/>
              <a:gd name="connsiteX35894" fmla="*/ 6766560 w 10505529"/>
              <a:gd name="connsiteY35894" fmla="*/ 1325972 h 7458372"/>
              <a:gd name="connsiteX35895" fmla="*/ 6762966 w 10505529"/>
              <a:gd name="connsiteY35895" fmla="*/ 1335427 h 7458372"/>
              <a:gd name="connsiteX35896" fmla="*/ 6766560 w 10505529"/>
              <a:gd name="connsiteY35896" fmla="*/ 1344879 h 7458372"/>
              <a:gd name="connsiteX35897" fmla="*/ 6776544 w 10505529"/>
              <a:gd name="connsiteY35897" fmla="*/ 1348345 h 7458372"/>
              <a:gd name="connsiteX35898" fmla="*/ 6781869 w 10505529"/>
              <a:gd name="connsiteY35898" fmla="*/ 1347407 h 7458372"/>
              <a:gd name="connsiteX35899" fmla="*/ 6785595 w 10505529"/>
              <a:gd name="connsiteY35899" fmla="*/ 1345018 h 7458372"/>
              <a:gd name="connsiteX35900" fmla="*/ 6788258 w 10505529"/>
              <a:gd name="connsiteY35900" fmla="*/ 1340751 h 7458372"/>
              <a:gd name="connsiteX35901" fmla="*/ 6789323 w 10505529"/>
              <a:gd name="connsiteY35901" fmla="*/ 1335294 h 7458372"/>
              <a:gd name="connsiteX35902" fmla="*/ 6788258 w 10505529"/>
              <a:gd name="connsiteY35902" fmla="*/ 1330101 h 7458372"/>
              <a:gd name="connsiteX35903" fmla="*/ 6785595 w 10505529"/>
              <a:gd name="connsiteY35903" fmla="*/ 1325972 h 7458372"/>
              <a:gd name="connsiteX35904" fmla="*/ 6781602 w 10505529"/>
              <a:gd name="connsiteY35904" fmla="*/ 1323313 h 7458372"/>
              <a:gd name="connsiteX35905" fmla="*/ 6776544 w 10505529"/>
              <a:gd name="connsiteY35905" fmla="*/ 1322386 h 7458372"/>
              <a:gd name="connsiteX35906" fmla="*/ 6558899 w 10505529"/>
              <a:gd name="connsiteY35906" fmla="*/ 1322386 h 7458372"/>
              <a:gd name="connsiteX35907" fmla="*/ 6548915 w 10505529"/>
              <a:gd name="connsiteY35907" fmla="*/ 1325972 h 7458372"/>
              <a:gd name="connsiteX35908" fmla="*/ 6545321 w 10505529"/>
              <a:gd name="connsiteY35908" fmla="*/ 1335427 h 7458372"/>
              <a:gd name="connsiteX35909" fmla="*/ 6548915 w 10505529"/>
              <a:gd name="connsiteY35909" fmla="*/ 1344879 h 7458372"/>
              <a:gd name="connsiteX35910" fmla="*/ 6558899 w 10505529"/>
              <a:gd name="connsiteY35910" fmla="*/ 1348345 h 7458372"/>
              <a:gd name="connsiteX35911" fmla="*/ 6564223 w 10505529"/>
              <a:gd name="connsiteY35911" fmla="*/ 1347407 h 7458372"/>
              <a:gd name="connsiteX35912" fmla="*/ 6567950 w 10505529"/>
              <a:gd name="connsiteY35912" fmla="*/ 1345018 h 7458372"/>
              <a:gd name="connsiteX35913" fmla="*/ 6570612 w 10505529"/>
              <a:gd name="connsiteY35913" fmla="*/ 1340751 h 7458372"/>
              <a:gd name="connsiteX35914" fmla="*/ 6571677 w 10505529"/>
              <a:gd name="connsiteY35914" fmla="*/ 1335294 h 7458372"/>
              <a:gd name="connsiteX35915" fmla="*/ 6570612 w 10505529"/>
              <a:gd name="connsiteY35915" fmla="*/ 1330101 h 7458372"/>
              <a:gd name="connsiteX35916" fmla="*/ 6567950 w 10505529"/>
              <a:gd name="connsiteY35916" fmla="*/ 1325972 h 7458372"/>
              <a:gd name="connsiteX35917" fmla="*/ 6563956 w 10505529"/>
              <a:gd name="connsiteY35917" fmla="*/ 1323313 h 7458372"/>
              <a:gd name="connsiteX35918" fmla="*/ 6558899 w 10505529"/>
              <a:gd name="connsiteY35918" fmla="*/ 1322386 h 7458372"/>
              <a:gd name="connsiteX35919" fmla="*/ 6341253 w 10505529"/>
              <a:gd name="connsiteY35919" fmla="*/ 1322386 h 7458372"/>
              <a:gd name="connsiteX35920" fmla="*/ 6331270 w 10505529"/>
              <a:gd name="connsiteY35920" fmla="*/ 1325972 h 7458372"/>
              <a:gd name="connsiteX35921" fmla="*/ 6327675 w 10505529"/>
              <a:gd name="connsiteY35921" fmla="*/ 1335427 h 7458372"/>
              <a:gd name="connsiteX35922" fmla="*/ 6331270 w 10505529"/>
              <a:gd name="connsiteY35922" fmla="*/ 1344879 h 7458372"/>
              <a:gd name="connsiteX35923" fmla="*/ 6341253 w 10505529"/>
              <a:gd name="connsiteY35923" fmla="*/ 1348345 h 7458372"/>
              <a:gd name="connsiteX35924" fmla="*/ 6346578 w 10505529"/>
              <a:gd name="connsiteY35924" fmla="*/ 1347407 h 7458372"/>
              <a:gd name="connsiteX35925" fmla="*/ 6350305 w 10505529"/>
              <a:gd name="connsiteY35925" fmla="*/ 1345018 h 7458372"/>
              <a:gd name="connsiteX35926" fmla="*/ 6352968 w 10505529"/>
              <a:gd name="connsiteY35926" fmla="*/ 1340751 h 7458372"/>
              <a:gd name="connsiteX35927" fmla="*/ 6354033 w 10505529"/>
              <a:gd name="connsiteY35927" fmla="*/ 1335294 h 7458372"/>
              <a:gd name="connsiteX35928" fmla="*/ 6352968 w 10505529"/>
              <a:gd name="connsiteY35928" fmla="*/ 1330101 h 7458372"/>
              <a:gd name="connsiteX35929" fmla="*/ 6350305 w 10505529"/>
              <a:gd name="connsiteY35929" fmla="*/ 1325972 h 7458372"/>
              <a:gd name="connsiteX35930" fmla="*/ 6346312 w 10505529"/>
              <a:gd name="connsiteY35930" fmla="*/ 1323313 h 7458372"/>
              <a:gd name="connsiteX35931" fmla="*/ 6341253 w 10505529"/>
              <a:gd name="connsiteY35931" fmla="*/ 1322386 h 7458372"/>
              <a:gd name="connsiteX35932" fmla="*/ 6123608 w 10505529"/>
              <a:gd name="connsiteY35932" fmla="*/ 1322386 h 7458372"/>
              <a:gd name="connsiteX35933" fmla="*/ 6113624 w 10505529"/>
              <a:gd name="connsiteY35933" fmla="*/ 1325972 h 7458372"/>
              <a:gd name="connsiteX35934" fmla="*/ 6110030 w 10505529"/>
              <a:gd name="connsiteY35934" fmla="*/ 1335427 h 7458372"/>
              <a:gd name="connsiteX35935" fmla="*/ 6113624 w 10505529"/>
              <a:gd name="connsiteY35935" fmla="*/ 1344879 h 7458372"/>
              <a:gd name="connsiteX35936" fmla="*/ 6123608 w 10505529"/>
              <a:gd name="connsiteY35936" fmla="*/ 1348345 h 7458372"/>
              <a:gd name="connsiteX35937" fmla="*/ 6128932 w 10505529"/>
              <a:gd name="connsiteY35937" fmla="*/ 1347407 h 7458372"/>
              <a:gd name="connsiteX35938" fmla="*/ 6132659 w 10505529"/>
              <a:gd name="connsiteY35938" fmla="*/ 1345018 h 7458372"/>
              <a:gd name="connsiteX35939" fmla="*/ 6135322 w 10505529"/>
              <a:gd name="connsiteY35939" fmla="*/ 1340751 h 7458372"/>
              <a:gd name="connsiteX35940" fmla="*/ 6136387 w 10505529"/>
              <a:gd name="connsiteY35940" fmla="*/ 1335294 h 7458372"/>
              <a:gd name="connsiteX35941" fmla="*/ 6135322 w 10505529"/>
              <a:gd name="connsiteY35941" fmla="*/ 1330101 h 7458372"/>
              <a:gd name="connsiteX35942" fmla="*/ 6132659 w 10505529"/>
              <a:gd name="connsiteY35942" fmla="*/ 1325972 h 7458372"/>
              <a:gd name="connsiteX35943" fmla="*/ 6128666 w 10505529"/>
              <a:gd name="connsiteY35943" fmla="*/ 1323313 h 7458372"/>
              <a:gd name="connsiteX35944" fmla="*/ 6123608 w 10505529"/>
              <a:gd name="connsiteY35944" fmla="*/ 1322386 h 7458372"/>
              <a:gd name="connsiteX35945" fmla="*/ 5905963 w 10505529"/>
              <a:gd name="connsiteY35945" fmla="*/ 1322386 h 7458372"/>
              <a:gd name="connsiteX35946" fmla="*/ 5895979 w 10505529"/>
              <a:gd name="connsiteY35946" fmla="*/ 1325972 h 7458372"/>
              <a:gd name="connsiteX35947" fmla="*/ 5892385 w 10505529"/>
              <a:gd name="connsiteY35947" fmla="*/ 1335427 h 7458372"/>
              <a:gd name="connsiteX35948" fmla="*/ 5895979 w 10505529"/>
              <a:gd name="connsiteY35948" fmla="*/ 1344879 h 7458372"/>
              <a:gd name="connsiteX35949" fmla="*/ 5905963 w 10505529"/>
              <a:gd name="connsiteY35949" fmla="*/ 1348345 h 7458372"/>
              <a:gd name="connsiteX35950" fmla="*/ 5911287 w 10505529"/>
              <a:gd name="connsiteY35950" fmla="*/ 1347407 h 7458372"/>
              <a:gd name="connsiteX35951" fmla="*/ 5915014 w 10505529"/>
              <a:gd name="connsiteY35951" fmla="*/ 1345018 h 7458372"/>
              <a:gd name="connsiteX35952" fmla="*/ 5917677 w 10505529"/>
              <a:gd name="connsiteY35952" fmla="*/ 1340751 h 7458372"/>
              <a:gd name="connsiteX35953" fmla="*/ 5918742 w 10505529"/>
              <a:gd name="connsiteY35953" fmla="*/ 1335294 h 7458372"/>
              <a:gd name="connsiteX35954" fmla="*/ 5917677 w 10505529"/>
              <a:gd name="connsiteY35954" fmla="*/ 1330101 h 7458372"/>
              <a:gd name="connsiteX35955" fmla="*/ 5915014 w 10505529"/>
              <a:gd name="connsiteY35955" fmla="*/ 1325972 h 7458372"/>
              <a:gd name="connsiteX35956" fmla="*/ 5911021 w 10505529"/>
              <a:gd name="connsiteY35956" fmla="*/ 1323313 h 7458372"/>
              <a:gd name="connsiteX35957" fmla="*/ 5905963 w 10505529"/>
              <a:gd name="connsiteY35957" fmla="*/ 1322386 h 7458372"/>
              <a:gd name="connsiteX35958" fmla="*/ 5688451 w 10505529"/>
              <a:gd name="connsiteY35958" fmla="*/ 1322386 h 7458372"/>
              <a:gd name="connsiteX35959" fmla="*/ 5678467 w 10505529"/>
              <a:gd name="connsiteY35959" fmla="*/ 1325972 h 7458372"/>
              <a:gd name="connsiteX35960" fmla="*/ 5674873 w 10505529"/>
              <a:gd name="connsiteY35960" fmla="*/ 1335427 h 7458372"/>
              <a:gd name="connsiteX35961" fmla="*/ 5678467 w 10505529"/>
              <a:gd name="connsiteY35961" fmla="*/ 1344879 h 7458372"/>
              <a:gd name="connsiteX35962" fmla="*/ 5688451 w 10505529"/>
              <a:gd name="connsiteY35962" fmla="*/ 1348345 h 7458372"/>
              <a:gd name="connsiteX35963" fmla="*/ 5693775 w 10505529"/>
              <a:gd name="connsiteY35963" fmla="*/ 1347407 h 7458372"/>
              <a:gd name="connsiteX35964" fmla="*/ 5697502 w 10505529"/>
              <a:gd name="connsiteY35964" fmla="*/ 1345018 h 7458372"/>
              <a:gd name="connsiteX35965" fmla="*/ 5700165 w 10505529"/>
              <a:gd name="connsiteY35965" fmla="*/ 1340751 h 7458372"/>
              <a:gd name="connsiteX35966" fmla="*/ 5701230 w 10505529"/>
              <a:gd name="connsiteY35966" fmla="*/ 1335294 h 7458372"/>
              <a:gd name="connsiteX35967" fmla="*/ 5700165 w 10505529"/>
              <a:gd name="connsiteY35967" fmla="*/ 1330101 h 7458372"/>
              <a:gd name="connsiteX35968" fmla="*/ 5697502 w 10505529"/>
              <a:gd name="connsiteY35968" fmla="*/ 1325972 h 7458372"/>
              <a:gd name="connsiteX35969" fmla="*/ 5693509 w 10505529"/>
              <a:gd name="connsiteY35969" fmla="*/ 1323313 h 7458372"/>
              <a:gd name="connsiteX35970" fmla="*/ 5688451 w 10505529"/>
              <a:gd name="connsiteY35970" fmla="*/ 1322386 h 7458372"/>
              <a:gd name="connsiteX35971" fmla="*/ 5470806 w 10505529"/>
              <a:gd name="connsiteY35971" fmla="*/ 1322386 h 7458372"/>
              <a:gd name="connsiteX35972" fmla="*/ 5460822 w 10505529"/>
              <a:gd name="connsiteY35972" fmla="*/ 1325972 h 7458372"/>
              <a:gd name="connsiteX35973" fmla="*/ 5457228 w 10505529"/>
              <a:gd name="connsiteY35973" fmla="*/ 1335427 h 7458372"/>
              <a:gd name="connsiteX35974" fmla="*/ 5460822 w 10505529"/>
              <a:gd name="connsiteY35974" fmla="*/ 1344879 h 7458372"/>
              <a:gd name="connsiteX35975" fmla="*/ 5470806 w 10505529"/>
              <a:gd name="connsiteY35975" fmla="*/ 1348345 h 7458372"/>
              <a:gd name="connsiteX35976" fmla="*/ 5476130 w 10505529"/>
              <a:gd name="connsiteY35976" fmla="*/ 1347407 h 7458372"/>
              <a:gd name="connsiteX35977" fmla="*/ 5479857 w 10505529"/>
              <a:gd name="connsiteY35977" fmla="*/ 1345018 h 7458372"/>
              <a:gd name="connsiteX35978" fmla="*/ 5482520 w 10505529"/>
              <a:gd name="connsiteY35978" fmla="*/ 1340751 h 7458372"/>
              <a:gd name="connsiteX35979" fmla="*/ 5483585 w 10505529"/>
              <a:gd name="connsiteY35979" fmla="*/ 1335294 h 7458372"/>
              <a:gd name="connsiteX35980" fmla="*/ 5482520 w 10505529"/>
              <a:gd name="connsiteY35980" fmla="*/ 1330101 h 7458372"/>
              <a:gd name="connsiteX35981" fmla="*/ 5479857 w 10505529"/>
              <a:gd name="connsiteY35981" fmla="*/ 1325972 h 7458372"/>
              <a:gd name="connsiteX35982" fmla="*/ 5475864 w 10505529"/>
              <a:gd name="connsiteY35982" fmla="*/ 1323313 h 7458372"/>
              <a:gd name="connsiteX35983" fmla="*/ 5470806 w 10505529"/>
              <a:gd name="connsiteY35983" fmla="*/ 1322386 h 7458372"/>
              <a:gd name="connsiteX35984" fmla="*/ 5253160 w 10505529"/>
              <a:gd name="connsiteY35984" fmla="*/ 1322386 h 7458372"/>
              <a:gd name="connsiteX35985" fmla="*/ 5243177 w 10505529"/>
              <a:gd name="connsiteY35985" fmla="*/ 1325972 h 7458372"/>
              <a:gd name="connsiteX35986" fmla="*/ 5239583 w 10505529"/>
              <a:gd name="connsiteY35986" fmla="*/ 1335427 h 7458372"/>
              <a:gd name="connsiteX35987" fmla="*/ 5243177 w 10505529"/>
              <a:gd name="connsiteY35987" fmla="*/ 1344879 h 7458372"/>
              <a:gd name="connsiteX35988" fmla="*/ 5253160 w 10505529"/>
              <a:gd name="connsiteY35988" fmla="*/ 1348345 h 7458372"/>
              <a:gd name="connsiteX35989" fmla="*/ 5258485 w 10505529"/>
              <a:gd name="connsiteY35989" fmla="*/ 1347407 h 7458372"/>
              <a:gd name="connsiteX35990" fmla="*/ 5262212 w 10505529"/>
              <a:gd name="connsiteY35990" fmla="*/ 1345018 h 7458372"/>
              <a:gd name="connsiteX35991" fmla="*/ 5264875 w 10505529"/>
              <a:gd name="connsiteY35991" fmla="*/ 1340751 h 7458372"/>
              <a:gd name="connsiteX35992" fmla="*/ 5265939 w 10505529"/>
              <a:gd name="connsiteY35992" fmla="*/ 1335294 h 7458372"/>
              <a:gd name="connsiteX35993" fmla="*/ 5264875 w 10505529"/>
              <a:gd name="connsiteY35993" fmla="*/ 1330101 h 7458372"/>
              <a:gd name="connsiteX35994" fmla="*/ 5262212 w 10505529"/>
              <a:gd name="connsiteY35994" fmla="*/ 1325972 h 7458372"/>
              <a:gd name="connsiteX35995" fmla="*/ 5258219 w 10505529"/>
              <a:gd name="connsiteY35995" fmla="*/ 1323313 h 7458372"/>
              <a:gd name="connsiteX35996" fmla="*/ 5253160 w 10505529"/>
              <a:gd name="connsiteY35996" fmla="*/ 1322386 h 7458372"/>
              <a:gd name="connsiteX35997" fmla="*/ 5035515 w 10505529"/>
              <a:gd name="connsiteY35997" fmla="*/ 1322386 h 7458372"/>
              <a:gd name="connsiteX35998" fmla="*/ 5025532 w 10505529"/>
              <a:gd name="connsiteY35998" fmla="*/ 1325972 h 7458372"/>
              <a:gd name="connsiteX35999" fmla="*/ 5021938 w 10505529"/>
              <a:gd name="connsiteY35999" fmla="*/ 1335427 h 7458372"/>
              <a:gd name="connsiteX36000" fmla="*/ 5025532 w 10505529"/>
              <a:gd name="connsiteY36000" fmla="*/ 1344879 h 7458372"/>
              <a:gd name="connsiteX36001" fmla="*/ 5035515 w 10505529"/>
              <a:gd name="connsiteY36001" fmla="*/ 1348345 h 7458372"/>
              <a:gd name="connsiteX36002" fmla="*/ 5040840 w 10505529"/>
              <a:gd name="connsiteY36002" fmla="*/ 1347407 h 7458372"/>
              <a:gd name="connsiteX36003" fmla="*/ 5044567 w 10505529"/>
              <a:gd name="connsiteY36003" fmla="*/ 1345018 h 7458372"/>
              <a:gd name="connsiteX36004" fmla="*/ 5047230 w 10505529"/>
              <a:gd name="connsiteY36004" fmla="*/ 1340751 h 7458372"/>
              <a:gd name="connsiteX36005" fmla="*/ 5048294 w 10505529"/>
              <a:gd name="connsiteY36005" fmla="*/ 1335294 h 7458372"/>
              <a:gd name="connsiteX36006" fmla="*/ 5047230 w 10505529"/>
              <a:gd name="connsiteY36006" fmla="*/ 1330101 h 7458372"/>
              <a:gd name="connsiteX36007" fmla="*/ 5044567 w 10505529"/>
              <a:gd name="connsiteY36007" fmla="*/ 1325972 h 7458372"/>
              <a:gd name="connsiteX36008" fmla="*/ 5040574 w 10505529"/>
              <a:gd name="connsiteY36008" fmla="*/ 1323313 h 7458372"/>
              <a:gd name="connsiteX36009" fmla="*/ 5035515 w 10505529"/>
              <a:gd name="connsiteY36009" fmla="*/ 1322386 h 7458372"/>
              <a:gd name="connsiteX36010" fmla="*/ 4817870 w 10505529"/>
              <a:gd name="connsiteY36010" fmla="*/ 1322386 h 7458372"/>
              <a:gd name="connsiteX36011" fmla="*/ 4807887 w 10505529"/>
              <a:gd name="connsiteY36011" fmla="*/ 1325972 h 7458372"/>
              <a:gd name="connsiteX36012" fmla="*/ 4804293 w 10505529"/>
              <a:gd name="connsiteY36012" fmla="*/ 1335427 h 7458372"/>
              <a:gd name="connsiteX36013" fmla="*/ 4807887 w 10505529"/>
              <a:gd name="connsiteY36013" fmla="*/ 1344879 h 7458372"/>
              <a:gd name="connsiteX36014" fmla="*/ 4817870 w 10505529"/>
              <a:gd name="connsiteY36014" fmla="*/ 1348345 h 7458372"/>
              <a:gd name="connsiteX36015" fmla="*/ 4823195 w 10505529"/>
              <a:gd name="connsiteY36015" fmla="*/ 1347407 h 7458372"/>
              <a:gd name="connsiteX36016" fmla="*/ 4826922 w 10505529"/>
              <a:gd name="connsiteY36016" fmla="*/ 1345018 h 7458372"/>
              <a:gd name="connsiteX36017" fmla="*/ 4829585 w 10505529"/>
              <a:gd name="connsiteY36017" fmla="*/ 1340751 h 7458372"/>
              <a:gd name="connsiteX36018" fmla="*/ 4830650 w 10505529"/>
              <a:gd name="connsiteY36018" fmla="*/ 1335294 h 7458372"/>
              <a:gd name="connsiteX36019" fmla="*/ 4829585 w 10505529"/>
              <a:gd name="connsiteY36019" fmla="*/ 1330101 h 7458372"/>
              <a:gd name="connsiteX36020" fmla="*/ 4826922 w 10505529"/>
              <a:gd name="connsiteY36020" fmla="*/ 1325972 h 7458372"/>
              <a:gd name="connsiteX36021" fmla="*/ 4822929 w 10505529"/>
              <a:gd name="connsiteY36021" fmla="*/ 1323313 h 7458372"/>
              <a:gd name="connsiteX36022" fmla="*/ 4817870 w 10505529"/>
              <a:gd name="connsiteY36022" fmla="*/ 1322386 h 7458372"/>
              <a:gd name="connsiteX36023" fmla="*/ 4600226 w 10505529"/>
              <a:gd name="connsiteY36023" fmla="*/ 1322386 h 7458372"/>
              <a:gd name="connsiteX36024" fmla="*/ 4590242 w 10505529"/>
              <a:gd name="connsiteY36024" fmla="*/ 1325972 h 7458372"/>
              <a:gd name="connsiteX36025" fmla="*/ 4586648 w 10505529"/>
              <a:gd name="connsiteY36025" fmla="*/ 1335427 h 7458372"/>
              <a:gd name="connsiteX36026" fmla="*/ 4590242 w 10505529"/>
              <a:gd name="connsiteY36026" fmla="*/ 1344879 h 7458372"/>
              <a:gd name="connsiteX36027" fmla="*/ 4600226 w 10505529"/>
              <a:gd name="connsiteY36027" fmla="*/ 1348345 h 7458372"/>
              <a:gd name="connsiteX36028" fmla="*/ 4605550 w 10505529"/>
              <a:gd name="connsiteY36028" fmla="*/ 1347407 h 7458372"/>
              <a:gd name="connsiteX36029" fmla="*/ 4609277 w 10505529"/>
              <a:gd name="connsiteY36029" fmla="*/ 1345018 h 7458372"/>
              <a:gd name="connsiteX36030" fmla="*/ 4611940 w 10505529"/>
              <a:gd name="connsiteY36030" fmla="*/ 1340751 h 7458372"/>
              <a:gd name="connsiteX36031" fmla="*/ 4613005 w 10505529"/>
              <a:gd name="connsiteY36031" fmla="*/ 1335294 h 7458372"/>
              <a:gd name="connsiteX36032" fmla="*/ 4611940 w 10505529"/>
              <a:gd name="connsiteY36032" fmla="*/ 1330101 h 7458372"/>
              <a:gd name="connsiteX36033" fmla="*/ 4609277 w 10505529"/>
              <a:gd name="connsiteY36033" fmla="*/ 1325972 h 7458372"/>
              <a:gd name="connsiteX36034" fmla="*/ 4605284 w 10505529"/>
              <a:gd name="connsiteY36034" fmla="*/ 1323313 h 7458372"/>
              <a:gd name="connsiteX36035" fmla="*/ 4600226 w 10505529"/>
              <a:gd name="connsiteY36035" fmla="*/ 1322386 h 7458372"/>
              <a:gd name="connsiteX36036" fmla="*/ 4382713 w 10505529"/>
              <a:gd name="connsiteY36036" fmla="*/ 1322386 h 7458372"/>
              <a:gd name="connsiteX36037" fmla="*/ 4372730 w 10505529"/>
              <a:gd name="connsiteY36037" fmla="*/ 1325972 h 7458372"/>
              <a:gd name="connsiteX36038" fmla="*/ 4369136 w 10505529"/>
              <a:gd name="connsiteY36038" fmla="*/ 1335427 h 7458372"/>
              <a:gd name="connsiteX36039" fmla="*/ 4372730 w 10505529"/>
              <a:gd name="connsiteY36039" fmla="*/ 1344879 h 7458372"/>
              <a:gd name="connsiteX36040" fmla="*/ 4382713 w 10505529"/>
              <a:gd name="connsiteY36040" fmla="*/ 1348345 h 7458372"/>
              <a:gd name="connsiteX36041" fmla="*/ 4388038 w 10505529"/>
              <a:gd name="connsiteY36041" fmla="*/ 1347407 h 7458372"/>
              <a:gd name="connsiteX36042" fmla="*/ 4391765 w 10505529"/>
              <a:gd name="connsiteY36042" fmla="*/ 1345018 h 7458372"/>
              <a:gd name="connsiteX36043" fmla="*/ 4394428 w 10505529"/>
              <a:gd name="connsiteY36043" fmla="*/ 1340751 h 7458372"/>
              <a:gd name="connsiteX36044" fmla="*/ 4395493 w 10505529"/>
              <a:gd name="connsiteY36044" fmla="*/ 1335294 h 7458372"/>
              <a:gd name="connsiteX36045" fmla="*/ 4394428 w 10505529"/>
              <a:gd name="connsiteY36045" fmla="*/ 1330101 h 7458372"/>
              <a:gd name="connsiteX36046" fmla="*/ 4391765 w 10505529"/>
              <a:gd name="connsiteY36046" fmla="*/ 1325972 h 7458372"/>
              <a:gd name="connsiteX36047" fmla="*/ 4387772 w 10505529"/>
              <a:gd name="connsiteY36047" fmla="*/ 1323313 h 7458372"/>
              <a:gd name="connsiteX36048" fmla="*/ 4382713 w 10505529"/>
              <a:gd name="connsiteY36048" fmla="*/ 1322386 h 7458372"/>
              <a:gd name="connsiteX36049" fmla="*/ 4165068 w 10505529"/>
              <a:gd name="connsiteY36049" fmla="*/ 1322386 h 7458372"/>
              <a:gd name="connsiteX36050" fmla="*/ 4155084 w 10505529"/>
              <a:gd name="connsiteY36050" fmla="*/ 1325972 h 7458372"/>
              <a:gd name="connsiteX36051" fmla="*/ 4151490 w 10505529"/>
              <a:gd name="connsiteY36051" fmla="*/ 1335427 h 7458372"/>
              <a:gd name="connsiteX36052" fmla="*/ 4155084 w 10505529"/>
              <a:gd name="connsiteY36052" fmla="*/ 1344879 h 7458372"/>
              <a:gd name="connsiteX36053" fmla="*/ 4165068 w 10505529"/>
              <a:gd name="connsiteY36053" fmla="*/ 1348345 h 7458372"/>
              <a:gd name="connsiteX36054" fmla="*/ 4170392 w 10505529"/>
              <a:gd name="connsiteY36054" fmla="*/ 1347407 h 7458372"/>
              <a:gd name="connsiteX36055" fmla="*/ 4174119 w 10505529"/>
              <a:gd name="connsiteY36055" fmla="*/ 1345018 h 7458372"/>
              <a:gd name="connsiteX36056" fmla="*/ 4176782 w 10505529"/>
              <a:gd name="connsiteY36056" fmla="*/ 1340751 h 7458372"/>
              <a:gd name="connsiteX36057" fmla="*/ 4177847 w 10505529"/>
              <a:gd name="connsiteY36057" fmla="*/ 1335294 h 7458372"/>
              <a:gd name="connsiteX36058" fmla="*/ 4176782 w 10505529"/>
              <a:gd name="connsiteY36058" fmla="*/ 1330101 h 7458372"/>
              <a:gd name="connsiteX36059" fmla="*/ 4174119 w 10505529"/>
              <a:gd name="connsiteY36059" fmla="*/ 1325972 h 7458372"/>
              <a:gd name="connsiteX36060" fmla="*/ 4170126 w 10505529"/>
              <a:gd name="connsiteY36060" fmla="*/ 1323313 h 7458372"/>
              <a:gd name="connsiteX36061" fmla="*/ 4165068 w 10505529"/>
              <a:gd name="connsiteY36061" fmla="*/ 1322386 h 7458372"/>
              <a:gd name="connsiteX36062" fmla="*/ 3947501 w 10505529"/>
              <a:gd name="connsiteY36062" fmla="*/ 1322386 h 7458372"/>
              <a:gd name="connsiteX36063" fmla="*/ 3937517 w 10505529"/>
              <a:gd name="connsiteY36063" fmla="*/ 1325972 h 7458372"/>
              <a:gd name="connsiteX36064" fmla="*/ 3933923 w 10505529"/>
              <a:gd name="connsiteY36064" fmla="*/ 1335427 h 7458372"/>
              <a:gd name="connsiteX36065" fmla="*/ 3937517 w 10505529"/>
              <a:gd name="connsiteY36065" fmla="*/ 1344879 h 7458372"/>
              <a:gd name="connsiteX36066" fmla="*/ 3947501 w 10505529"/>
              <a:gd name="connsiteY36066" fmla="*/ 1348345 h 7458372"/>
              <a:gd name="connsiteX36067" fmla="*/ 3952826 w 10505529"/>
              <a:gd name="connsiteY36067" fmla="*/ 1347407 h 7458372"/>
              <a:gd name="connsiteX36068" fmla="*/ 3956553 w 10505529"/>
              <a:gd name="connsiteY36068" fmla="*/ 1345018 h 7458372"/>
              <a:gd name="connsiteX36069" fmla="*/ 3959216 w 10505529"/>
              <a:gd name="connsiteY36069" fmla="*/ 1340751 h 7458372"/>
              <a:gd name="connsiteX36070" fmla="*/ 3960280 w 10505529"/>
              <a:gd name="connsiteY36070" fmla="*/ 1335294 h 7458372"/>
              <a:gd name="connsiteX36071" fmla="*/ 3959216 w 10505529"/>
              <a:gd name="connsiteY36071" fmla="*/ 1330101 h 7458372"/>
              <a:gd name="connsiteX36072" fmla="*/ 3956553 w 10505529"/>
              <a:gd name="connsiteY36072" fmla="*/ 1325972 h 7458372"/>
              <a:gd name="connsiteX36073" fmla="*/ 3952559 w 10505529"/>
              <a:gd name="connsiteY36073" fmla="*/ 1323313 h 7458372"/>
              <a:gd name="connsiteX36074" fmla="*/ 3947501 w 10505529"/>
              <a:gd name="connsiteY36074" fmla="*/ 1322386 h 7458372"/>
              <a:gd name="connsiteX36075" fmla="*/ 3729851 w 10505529"/>
              <a:gd name="connsiteY36075" fmla="*/ 1322386 h 7458372"/>
              <a:gd name="connsiteX36076" fmla="*/ 3719865 w 10505529"/>
              <a:gd name="connsiteY36076" fmla="*/ 1325972 h 7458372"/>
              <a:gd name="connsiteX36077" fmla="*/ 3716273 w 10505529"/>
              <a:gd name="connsiteY36077" fmla="*/ 1335427 h 7458372"/>
              <a:gd name="connsiteX36078" fmla="*/ 3719865 w 10505529"/>
              <a:gd name="connsiteY36078" fmla="*/ 1344879 h 7458372"/>
              <a:gd name="connsiteX36079" fmla="*/ 3729851 w 10505529"/>
              <a:gd name="connsiteY36079" fmla="*/ 1348345 h 7458372"/>
              <a:gd name="connsiteX36080" fmla="*/ 3735176 w 10505529"/>
              <a:gd name="connsiteY36080" fmla="*/ 1347407 h 7458372"/>
              <a:gd name="connsiteX36081" fmla="*/ 3738903 w 10505529"/>
              <a:gd name="connsiteY36081" fmla="*/ 1345018 h 7458372"/>
              <a:gd name="connsiteX36082" fmla="*/ 3741566 w 10505529"/>
              <a:gd name="connsiteY36082" fmla="*/ 1340751 h 7458372"/>
              <a:gd name="connsiteX36083" fmla="*/ 3742630 w 10505529"/>
              <a:gd name="connsiteY36083" fmla="*/ 1335294 h 7458372"/>
              <a:gd name="connsiteX36084" fmla="*/ 3741566 w 10505529"/>
              <a:gd name="connsiteY36084" fmla="*/ 1330101 h 7458372"/>
              <a:gd name="connsiteX36085" fmla="*/ 3738903 w 10505529"/>
              <a:gd name="connsiteY36085" fmla="*/ 1325972 h 7458372"/>
              <a:gd name="connsiteX36086" fmla="*/ 3734910 w 10505529"/>
              <a:gd name="connsiteY36086" fmla="*/ 1323313 h 7458372"/>
              <a:gd name="connsiteX36087" fmla="*/ 3729851 w 10505529"/>
              <a:gd name="connsiteY36087" fmla="*/ 1322386 h 7458372"/>
              <a:gd name="connsiteX36088" fmla="*/ 3512202 w 10505529"/>
              <a:gd name="connsiteY36088" fmla="*/ 1322386 h 7458372"/>
              <a:gd name="connsiteX36089" fmla="*/ 3502217 w 10505529"/>
              <a:gd name="connsiteY36089" fmla="*/ 1325972 h 7458372"/>
              <a:gd name="connsiteX36090" fmla="*/ 3498624 w 10505529"/>
              <a:gd name="connsiteY36090" fmla="*/ 1335427 h 7458372"/>
              <a:gd name="connsiteX36091" fmla="*/ 3502217 w 10505529"/>
              <a:gd name="connsiteY36091" fmla="*/ 1344879 h 7458372"/>
              <a:gd name="connsiteX36092" fmla="*/ 3512202 w 10505529"/>
              <a:gd name="connsiteY36092" fmla="*/ 1348345 h 7458372"/>
              <a:gd name="connsiteX36093" fmla="*/ 3517527 w 10505529"/>
              <a:gd name="connsiteY36093" fmla="*/ 1347407 h 7458372"/>
              <a:gd name="connsiteX36094" fmla="*/ 3521254 w 10505529"/>
              <a:gd name="connsiteY36094" fmla="*/ 1345018 h 7458372"/>
              <a:gd name="connsiteX36095" fmla="*/ 3523917 w 10505529"/>
              <a:gd name="connsiteY36095" fmla="*/ 1340751 h 7458372"/>
              <a:gd name="connsiteX36096" fmla="*/ 3524982 w 10505529"/>
              <a:gd name="connsiteY36096" fmla="*/ 1335294 h 7458372"/>
              <a:gd name="connsiteX36097" fmla="*/ 3523917 w 10505529"/>
              <a:gd name="connsiteY36097" fmla="*/ 1330101 h 7458372"/>
              <a:gd name="connsiteX36098" fmla="*/ 3521254 w 10505529"/>
              <a:gd name="connsiteY36098" fmla="*/ 1325972 h 7458372"/>
              <a:gd name="connsiteX36099" fmla="*/ 3517261 w 10505529"/>
              <a:gd name="connsiteY36099" fmla="*/ 1323313 h 7458372"/>
              <a:gd name="connsiteX36100" fmla="*/ 3512202 w 10505529"/>
              <a:gd name="connsiteY36100" fmla="*/ 1322386 h 7458372"/>
              <a:gd name="connsiteX36101" fmla="*/ 3294686 w 10505529"/>
              <a:gd name="connsiteY36101" fmla="*/ 1322386 h 7458372"/>
              <a:gd name="connsiteX36102" fmla="*/ 3284702 w 10505529"/>
              <a:gd name="connsiteY36102" fmla="*/ 1325972 h 7458372"/>
              <a:gd name="connsiteX36103" fmla="*/ 3281108 w 10505529"/>
              <a:gd name="connsiteY36103" fmla="*/ 1335427 h 7458372"/>
              <a:gd name="connsiteX36104" fmla="*/ 3284702 w 10505529"/>
              <a:gd name="connsiteY36104" fmla="*/ 1344879 h 7458372"/>
              <a:gd name="connsiteX36105" fmla="*/ 3294686 w 10505529"/>
              <a:gd name="connsiteY36105" fmla="*/ 1348345 h 7458372"/>
              <a:gd name="connsiteX36106" fmla="*/ 3300011 w 10505529"/>
              <a:gd name="connsiteY36106" fmla="*/ 1347407 h 7458372"/>
              <a:gd name="connsiteX36107" fmla="*/ 3303738 w 10505529"/>
              <a:gd name="connsiteY36107" fmla="*/ 1345018 h 7458372"/>
              <a:gd name="connsiteX36108" fmla="*/ 3306401 w 10505529"/>
              <a:gd name="connsiteY36108" fmla="*/ 1340751 h 7458372"/>
              <a:gd name="connsiteX36109" fmla="*/ 3307465 w 10505529"/>
              <a:gd name="connsiteY36109" fmla="*/ 1335294 h 7458372"/>
              <a:gd name="connsiteX36110" fmla="*/ 3306401 w 10505529"/>
              <a:gd name="connsiteY36110" fmla="*/ 1330101 h 7458372"/>
              <a:gd name="connsiteX36111" fmla="*/ 3303738 w 10505529"/>
              <a:gd name="connsiteY36111" fmla="*/ 1325972 h 7458372"/>
              <a:gd name="connsiteX36112" fmla="*/ 3299745 w 10505529"/>
              <a:gd name="connsiteY36112" fmla="*/ 1323313 h 7458372"/>
              <a:gd name="connsiteX36113" fmla="*/ 3294686 w 10505529"/>
              <a:gd name="connsiteY36113" fmla="*/ 1322386 h 7458372"/>
              <a:gd name="connsiteX36114" fmla="*/ 3077170 w 10505529"/>
              <a:gd name="connsiteY36114" fmla="*/ 1322386 h 7458372"/>
              <a:gd name="connsiteX36115" fmla="*/ 3067187 w 10505529"/>
              <a:gd name="connsiteY36115" fmla="*/ 1325972 h 7458372"/>
              <a:gd name="connsiteX36116" fmla="*/ 3063459 w 10505529"/>
              <a:gd name="connsiteY36116" fmla="*/ 1335427 h 7458372"/>
              <a:gd name="connsiteX36117" fmla="*/ 3067054 w 10505529"/>
              <a:gd name="connsiteY36117" fmla="*/ 1344879 h 7458372"/>
              <a:gd name="connsiteX36118" fmla="*/ 3077037 w 10505529"/>
              <a:gd name="connsiteY36118" fmla="*/ 1348345 h 7458372"/>
              <a:gd name="connsiteX36119" fmla="*/ 3082495 w 10505529"/>
              <a:gd name="connsiteY36119" fmla="*/ 1347407 h 7458372"/>
              <a:gd name="connsiteX36120" fmla="*/ 3086223 w 10505529"/>
              <a:gd name="connsiteY36120" fmla="*/ 1345018 h 7458372"/>
              <a:gd name="connsiteX36121" fmla="*/ 3088885 w 10505529"/>
              <a:gd name="connsiteY36121" fmla="*/ 1340751 h 7458372"/>
              <a:gd name="connsiteX36122" fmla="*/ 3089817 w 10505529"/>
              <a:gd name="connsiteY36122" fmla="*/ 1335294 h 7458372"/>
              <a:gd name="connsiteX36123" fmla="*/ 3088885 w 10505529"/>
              <a:gd name="connsiteY36123" fmla="*/ 1330101 h 7458372"/>
              <a:gd name="connsiteX36124" fmla="*/ 3086223 w 10505529"/>
              <a:gd name="connsiteY36124" fmla="*/ 1325972 h 7458372"/>
              <a:gd name="connsiteX36125" fmla="*/ 3082230 w 10505529"/>
              <a:gd name="connsiteY36125" fmla="*/ 1323313 h 7458372"/>
              <a:gd name="connsiteX36126" fmla="*/ 3077170 w 10505529"/>
              <a:gd name="connsiteY36126" fmla="*/ 1322386 h 7458372"/>
              <a:gd name="connsiteX36127" fmla="*/ 2859388 w 10505529"/>
              <a:gd name="connsiteY36127" fmla="*/ 1322386 h 7458372"/>
              <a:gd name="connsiteX36128" fmla="*/ 2849405 w 10505529"/>
              <a:gd name="connsiteY36128" fmla="*/ 1325972 h 7458372"/>
              <a:gd name="connsiteX36129" fmla="*/ 2845810 w 10505529"/>
              <a:gd name="connsiteY36129" fmla="*/ 1335427 h 7458372"/>
              <a:gd name="connsiteX36130" fmla="*/ 2849405 w 10505529"/>
              <a:gd name="connsiteY36130" fmla="*/ 1344879 h 7458372"/>
              <a:gd name="connsiteX36131" fmla="*/ 2859388 w 10505529"/>
              <a:gd name="connsiteY36131" fmla="*/ 1348345 h 7458372"/>
              <a:gd name="connsiteX36132" fmla="*/ 2864713 w 10505529"/>
              <a:gd name="connsiteY36132" fmla="*/ 1347407 h 7458372"/>
              <a:gd name="connsiteX36133" fmla="*/ 2868440 w 10505529"/>
              <a:gd name="connsiteY36133" fmla="*/ 1345018 h 7458372"/>
              <a:gd name="connsiteX36134" fmla="*/ 2871103 w 10505529"/>
              <a:gd name="connsiteY36134" fmla="*/ 1340751 h 7458372"/>
              <a:gd name="connsiteX36135" fmla="*/ 2872034 w 10505529"/>
              <a:gd name="connsiteY36135" fmla="*/ 1335294 h 7458372"/>
              <a:gd name="connsiteX36136" fmla="*/ 2871103 w 10505529"/>
              <a:gd name="connsiteY36136" fmla="*/ 1330101 h 7458372"/>
              <a:gd name="connsiteX36137" fmla="*/ 2868440 w 10505529"/>
              <a:gd name="connsiteY36137" fmla="*/ 1325972 h 7458372"/>
              <a:gd name="connsiteX36138" fmla="*/ 2864448 w 10505529"/>
              <a:gd name="connsiteY36138" fmla="*/ 1323313 h 7458372"/>
              <a:gd name="connsiteX36139" fmla="*/ 2859388 w 10505529"/>
              <a:gd name="connsiteY36139" fmla="*/ 1322386 h 7458372"/>
              <a:gd name="connsiteX36140" fmla="*/ 2641739 w 10505529"/>
              <a:gd name="connsiteY36140" fmla="*/ 1322386 h 7458372"/>
              <a:gd name="connsiteX36141" fmla="*/ 2631756 w 10505529"/>
              <a:gd name="connsiteY36141" fmla="*/ 1325972 h 7458372"/>
              <a:gd name="connsiteX36142" fmla="*/ 2628162 w 10505529"/>
              <a:gd name="connsiteY36142" fmla="*/ 1335427 h 7458372"/>
              <a:gd name="connsiteX36143" fmla="*/ 2631756 w 10505529"/>
              <a:gd name="connsiteY36143" fmla="*/ 1344879 h 7458372"/>
              <a:gd name="connsiteX36144" fmla="*/ 2641739 w 10505529"/>
              <a:gd name="connsiteY36144" fmla="*/ 1348345 h 7458372"/>
              <a:gd name="connsiteX36145" fmla="*/ 2647065 w 10505529"/>
              <a:gd name="connsiteY36145" fmla="*/ 1347407 h 7458372"/>
              <a:gd name="connsiteX36146" fmla="*/ 2650791 w 10505529"/>
              <a:gd name="connsiteY36146" fmla="*/ 1345018 h 7458372"/>
              <a:gd name="connsiteX36147" fmla="*/ 2653455 w 10505529"/>
              <a:gd name="connsiteY36147" fmla="*/ 1340751 h 7458372"/>
              <a:gd name="connsiteX36148" fmla="*/ 2654385 w 10505529"/>
              <a:gd name="connsiteY36148" fmla="*/ 1335294 h 7458372"/>
              <a:gd name="connsiteX36149" fmla="*/ 2653455 w 10505529"/>
              <a:gd name="connsiteY36149" fmla="*/ 1330101 h 7458372"/>
              <a:gd name="connsiteX36150" fmla="*/ 2650791 w 10505529"/>
              <a:gd name="connsiteY36150" fmla="*/ 1325972 h 7458372"/>
              <a:gd name="connsiteX36151" fmla="*/ 2646798 w 10505529"/>
              <a:gd name="connsiteY36151" fmla="*/ 1323313 h 7458372"/>
              <a:gd name="connsiteX36152" fmla="*/ 2641739 w 10505529"/>
              <a:gd name="connsiteY36152" fmla="*/ 1322386 h 7458372"/>
              <a:gd name="connsiteX36153" fmla="*/ 2424090 w 10505529"/>
              <a:gd name="connsiteY36153" fmla="*/ 1322386 h 7458372"/>
              <a:gd name="connsiteX36154" fmla="*/ 2414107 w 10505529"/>
              <a:gd name="connsiteY36154" fmla="*/ 1325972 h 7458372"/>
              <a:gd name="connsiteX36155" fmla="*/ 2410513 w 10505529"/>
              <a:gd name="connsiteY36155" fmla="*/ 1335427 h 7458372"/>
              <a:gd name="connsiteX36156" fmla="*/ 2414107 w 10505529"/>
              <a:gd name="connsiteY36156" fmla="*/ 1344879 h 7458372"/>
              <a:gd name="connsiteX36157" fmla="*/ 2424090 w 10505529"/>
              <a:gd name="connsiteY36157" fmla="*/ 1348345 h 7458372"/>
              <a:gd name="connsiteX36158" fmla="*/ 2429415 w 10505529"/>
              <a:gd name="connsiteY36158" fmla="*/ 1347407 h 7458372"/>
              <a:gd name="connsiteX36159" fmla="*/ 2433142 w 10505529"/>
              <a:gd name="connsiteY36159" fmla="*/ 1345018 h 7458372"/>
              <a:gd name="connsiteX36160" fmla="*/ 2435805 w 10505529"/>
              <a:gd name="connsiteY36160" fmla="*/ 1340751 h 7458372"/>
              <a:gd name="connsiteX36161" fmla="*/ 2436736 w 10505529"/>
              <a:gd name="connsiteY36161" fmla="*/ 1335294 h 7458372"/>
              <a:gd name="connsiteX36162" fmla="*/ 2435805 w 10505529"/>
              <a:gd name="connsiteY36162" fmla="*/ 1330101 h 7458372"/>
              <a:gd name="connsiteX36163" fmla="*/ 2433142 w 10505529"/>
              <a:gd name="connsiteY36163" fmla="*/ 1325972 h 7458372"/>
              <a:gd name="connsiteX36164" fmla="*/ 2429149 w 10505529"/>
              <a:gd name="connsiteY36164" fmla="*/ 1323313 h 7458372"/>
              <a:gd name="connsiteX36165" fmla="*/ 2424090 w 10505529"/>
              <a:gd name="connsiteY36165" fmla="*/ 1322386 h 7458372"/>
              <a:gd name="connsiteX36166" fmla="*/ 2206441 w 10505529"/>
              <a:gd name="connsiteY36166" fmla="*/ 1322386 h 7458372"/>
              <a:gd name="connsiteX36167" fmla="*/ 2196458 w 10505529"/>
              <a:gd name="connsiteY36167" fmla="*/ 1325972 h 7458372"/>
              <a:gd name="connsiteX36168" fmla="*/ 2192863 w 10505529"/>
              <a:gd name="connsiteY36168" fmla="*/ 1335427 h 7458372"/>
              <a:gd name="connsiteX36169" fmla="*/ 2196458 w 10505529"/>
              <a:gd name="connsiteY36169" fmla="*/ 1344879 h 7458372"/>
              <a:gd name="connsiteX36170" fmla="*/ 2206441 w 10505529"/>
              <a:gd name="connsiteY36170" fmla="*/ 1348345 h 7458372"/>
              <a:gd name="connsiteX36171" fmla="*/ 2211766 w 10505529"/>
              <a:gd name="connsiteY36171" fmla="*/ 1347407 h 7458372"/>
              <a:gd name="connsiteX36172" fmla="*/ 2215493 w 10505529"/>
              <a:gd name="connsiteY36172" fmla="*/ 1345018 h 7458372"/>
              <a:gd name="connsiteX36173" fmla="*/ 2218156 w 10505529"/>
              <a:gd name="connsiteY36173" fmla="*/ 1340751 h 7458372"/>
              <a:gd name="connsiteX36174" fmla="*/ 2219087 w 10505529"/>
              <a:gd name="connsiteY36174" fmla="*/ 1335294 h 7458372"/>
              <a:gd name="connsiteX36175" fmla="*/ 2218156 w 10505529"/>
              <a:gd name="connsiteY36175" fmla="*/ 1330101 h 7458372"/>
              <a:gd name="connsiteX36176" fmla="*/ 2215493 w 10505529"/>
              <a:gd name="connsiteY36176" fmla="*/ 1325972 h 7458372"/>
              <a:gd name="connsiteX36177" fmla="*/ 2211500 w 10505529"/>
              <a:gd name="connsiteY36177" fmla="*/ 1323313 h 7458372"/>
              <a:gd name="connsiteX36178" fmla="*/ 2206441 w 10505529"/>
              <a:gd name="connsiteY36178" fmla="*/ 1322386 h 7458372"/>
              <a:gd name="connsiteX36179" fmla="*/ 1988925 w 10505529"/>
              <a:gd name="connsiteY36179" fmla="*/ 1322386 h 7458372"/>
              <a:gd name="connsiteX36180" fmla="*/ 1978942 w 10505529"/>
              <a:gd name="connsiteY36180" fmla="*/ 1325972 h 7458372"/>
              <a:gd name="connsiteX36181" fmla="*/ 1975348 w 10505529"/>
              <a:gd name="connsiteY36181" fmla="*/ 1335427 h 7458372"/>
              <a:gd name="connsiteX36182" fmla="*/ 1978942 w 10505529"/>
              <a:gd name="connsiteY36182" fmla="*/ 1344879 h 7458372"/>
              <a:gd name="connsiteX36183" fmla="*/ 1988925 w 10505529"/>
              <a:gd name="connsiteY36183" fmla="*/ 1348345 h 7458372"/>
              <a:gd name="connsiteX36184" fmla="*/ 1994250 w 10505529"/>
              <a:gd name="connsiteY36184" fmla="*/ 1347407 h 7458372"/>
              <a:gd name="connsiteX36185" fmla="*/ 1997977 w 10505529"/>
              <a:gd name="connsiteY36185" fmla="*/ 1345018 h 7458372"/>
              <a:gd name="connsiteX36186" fmla="*/ 2000640 w 10505529"/>
              <a:gd name="connsiteY36186" fmla="*/ 1340751 h 7458372"/>
              <a:gd name="connsiteX36187" fmla="*/ 2001571 w 10505529"/>
              <a:gd name="connsiteY36187" fmla="*/ 1335294 h 7458372"/>
              <a:gd name="connsiteX36188" fmla="*/ 2000640 w 10505529"/>
              <a:gd name="connsiteY36188" fmla="*/ 1330101 h 7458372"/>
              <a:gd name="connsiteX36189" fmla="*/ 1997977 w 10505529"/>
              <a:gd name="connsiteY36189" fmla="*/ 1325972 h 7458372"/>
              <a:gd name="connsiteX36190" fmla="*/ 1993984 w 10505529"/>
              <a:gd name="connsiteY36190" fmla="*/ 1323313 h 7458372"/>
              <a:gd name="connsiteX36191" fmla="*/ 1988925 w 10505529"/>
              <a:gd name="connsiteY36191" fmla="*/ 1322386 h 7458372"/>
              <a:gd name="connsiteX36192" fmla="*/ 1771283 w 10505529"/>
              <a:gd name="connsiteY36192" fmla="*/ 1322386 h 7458372"/>
              <a:gd name="connsiteX36193" fmla="*/ 1761300 w 10505529"/>
              <a:gd name="connsiteY36193" fmla="*/ 1325972 h 7458372"/>
              <a:gd name="connsiteX36194" fmla="*/ 1757706 w 10505529"/>
              <a:gd name="connsiteY36194" fmla="*/ 1335427 h 7458372"/>
              <a:gd name="connsiteX36195" fmla="*/ 1761300 w 10505529"/>
              <a:gd name="connsiteY36195" fmla="*/ 1344879 h 7458372"/>
              <a:gd name="connsiteX36196" fmla="*/ 1771283 w 10505529"/>
              <a:gd name="connsiteY36196" fmla="*/ 1348345 h 7458372"/>
              <a:gd name="connsiteX36197" fmla="*/ 1776608 w 10505529"/>
              <a:gd name="connsiteY36197" fmla="*/ 1347407 h 7458372"/>
              <a:gd name="connsiteX36198" fmla="*/ 1780335 w 10505529"/>
              <a:gd name="connsiteY36198" fmla="*/ 1345018 h 7458372"/>
              <a:gd name="connsiteX36199" fmla="*/ 1782998 w 10505529"/>
              <a:gd name="connsiteY36199" fmla="*/ 1340751 h 7458372"/>
              <a:gd name="connsiteX36200" fmla="*/ 1784063 w 10505529"/>
              <a:gd name="connsiteY36200" fmla="*/ 1335294 h 7458372"/>
              <a:gd name="connsiteX36201" fmla="*/ 1782998 w 10505529"/>
              <a:gd name="connsiteY36201" fmla="*/ 1330101 h 7458372"/>
              <a:gd name="connsiteX36202" fmla="*/ 1780335 w 10505529"/>
              <a:gd name="connsiteY36202" fmla="*/ 1325972 h 7458372"/>
              <a:gd name="connsiteX36203" fmla="*/ 1776342 w 10505529"/>
              <a:gd name="connsiteY36203" fmla="*/ 1323313 h 7458372"/>
              <a:gd name="connsiteX36204" fmla="*/ 1771283 w 10505529"/>
              <a:gd name="connsiteY36204" fmla="*/ 1322386 h 7458372"/>
              <a:gd name="connsiteX36205" fmla="*/ 1553640 w 10505529"/>
              <a:gd name="connsiteY36205" fmla="*/ 1322386 h 7458372"/>
              <a:gd name="connsiteX36206" fmla="*/ 1543656 w 10505529"/>
              <a:gd name="connsiteY36206" fmla="*/ 1325972 h 7458372"/>
              <a:gd name="connsiteX36207" fmla="*/ 1540062 w 10505529"/>
              <a:gd name="connsiteY36207" fmla="*/ 1335427 h 7458372"/>
              <a:gd name="connsiteX36208" fmla="*/ 1543656 w 10505529"/>
              <a:gd name="connsiteY36208" fmla="*/ 1344879 h 7458372"/>
              <a:gd name="connsiteX36209" fmla="*/ 1553640 w 10505529"/>
              <a:gd name="connsiteY36209" fmla="*/ 1348345 h 7458372"/>
              <a:gd name="connsiteX36210" fmla="*/ 1558965 w 10505529"/>
              <a:gd name="connsiteY36210" fmla="*/ 1347407 h 7458372"/>
              <a:gd name="connsiteX36211" fmla="*/ 1562692 w 10505529"/>
              <a:gd name="connsiteY36211" fmla="*/ 1345018 h 7458372"/>
              <a:gd name="connsiteX36212" fmla="*/ 1565355 w 10505529"/>
              <a:gd name="connsiteY36212" fmla="*/ 1340751 h 7458372"/>
              <a:gd name="connsiteX36213" fmla="*/ 1566420 w 10505529"/>
              <a:gd name="connsiteY36213" fmla="*/ 1335294 h 7458372"/>
              <a:gd name="connsiteX36214" fmla="*/ 1565355 w 10505529"/>
              <a:gd name="connsiteY36214" fmla="*/ 1330101 h 7458372"/>
              <a:gd name="connsiteX36215" fmla="*/ 1562692 w 10505529"/>
              <a:gd name="connsiteY36215" fmla="*/ 1325972 h 7458372"/>
              <a:gd name="connsiteX36216" fmla="*/ 1558698 w 10505529"/>
              <a:gd name="connsiteY36216" fmla="*/ 1323313 h 7458372"/>
              <a:gd name="connsiteX36217" fmla="*/ 1553640 w 10505529"/>
              <a:gd name="connsiteY36217" fmla="*/ 1322386 h 7458372"/>
              <a:gd name="connsiteX36218" fmla="*/ 1335995 w 10505529"/>
              <a:gd name="connsiteY36218" fmla="*/ 1322386 h 7458372"/>
              <a:gd name="connsiteX36219" fmla="*/ 1326012 w 10505529"/>
              <a:gd name="connsiteY36219" fmla="*/ 1325972 h 7458372"/>
              <a:gd name="connsiteX36220" fmla="*/ 1322417 w 10505529"/>
              <a:gd name="connsiteY36220" fmla="*/ 1335427 h 7458372"/>
              <a:gd name="connsiteX36221" fmla="*/ 1326012 w 10505529"/>
              <a:gd name="connsiteY36221" fmla="*/ 1344879 h 7458372"/>
              <a:gd name="connsiteX36222" fmla="*/ 1335995 w 10505529"/>
              <a:gd name="connsiteY36222" fmla="*/ 1348345 h 7458372"/>
              <a:gd name="connsiteX36223" fmla="*/ 1341320 w 10505529"/>
              <a:gd name="connsiteY36223" fmla="*/ 1347407 h 7458372"/>
              <a:gd name="connsiteX36224" fmla="*/ 1345047 w 10505529"/>
              <a:gd name="connsiteY36224" fmla="*/ 1345018 h 7458372"/>
              <a:gd name="connsiteX36225" fmla="*/ 1347710 w 10505529"/>
              <a:gd name="connsiteY36225" fmla="*/ 1340751 h 7458372"/>
              <a:gd name="connsiteX36226" fmla="*/ 1348776 w 10505529"/>
              <a:gd name="connsiteY36226" fmla="*/ 1335294 h 7458372"/>
              <a:gd name="connsiteX36227" fmla="*/ 1347710 w 10505529"/>
              <a:gd name="connsiteY36227" fmla="*/ 1330101 h 7458372"/>
              <a:gd name="connsiteX36228" fmla="*/ 1345047 w 10505529"/>
              <a:gd name="connsiteY36228" fmla="*/ 1325972 h 7458372"/>
              <a:gd name="connsiteX36229" fmla="*/ 1341054 w 10505529"/>
              <a:gd name="connsiteY36229" fmla="*/ 1323313 h 7458372"/>
              <a:gd name="connsiteX36230" fmla="*/ 1335995 w 10505529"/>
              <a:gd name="connsiteY36230" fmla="*/ 1322386 h 7458372"/>
              <a:gd name="connsiteX36231" fmla="*/ 1118483 w 10505529"/>
              <a:gd name="connsiteY36231" fmla="*/ 1322386 h 7458372"/>
              <a:gd name="connsiteX36232" fmla="*/ 1108499 w 10505529"/>
              <a:gd name="connsiteY36232" fmla="*/ 1325972 h 7458372"/>
              <a:gd name="connsiteX36233" fmla="*/ 1104772 w 10505529"/>
              <a:gd name="connsiteY36233" fmla="*/ 1335427 h 7458372"/>
              <a:gd name="connsiteX36234" fmla="*/ 1108366 w 10505529"/>
              <a:gd name="connsiteY36234" fmla="*/ 1344879 h 7458372"/>
              <a:gd name="connsiteX36235" fmla="*/ 1118350 w 10505529"/>
              <a:gd name="connsiteY36235" fmla="*/ 1348345 h 7458372"/>
              <a:gd name="connsiteX36236" fmla="*/ 1123808 w 10505529"/>
              <a:gd name="connsiteY36236" fmla="*/ 1347407 h 7458372"/>
              <a:gd name="connsiteX36237" fmla="*/ 1127535 w 10505529"/>
              <a:gd name="connsiteY36237" fmla="*/ 1345018 h 7458372"/>
              <a:gd name="connsiteX36238" fmla="*/ 1130199 w 10505529"/>
              <a:gd name="connsiteY36238" fmla="*/ 1340751 h 7458372"/>
              <a:gd name="connsiteX36239" fmla="*/ 1131264 w 10505529"/>
              <a:gd name="connsiteY36239" fmla="*/ 1335294 h 7458372"/>
              <a:gd name="connsiteX36240" fmla="*/ 1130199 w 10505529"/>
              <a:gd name="connsiteY36240" fmla="*/ 1330101 h 7458372"/>
              <a:gd name="connsiteX36241" fmla="*/ 1127535 w 10505529"/>
              <a:gd name="connsiteY36241" fmla="*/ 1325972 h 7458372"/>
              <a:gd name="connsiteX36242" fmla="*/ 1123541 w 10505529"/>
              <a:gd name="connsiteY36242" fmla="*/ 1323313 h 7458372"/>
              <a:gd name="connsiteX36243" fmla="*/ 1118483 w 10505529"/>
              <a:gd name="connsiteY36243" fmla="*/ 1322386 h 7458372"/>
              <a:gd name="connsiteX36244" fmla="*/ 900972 w 10505529"/>
              <a:gd name="connsiteY36244" fmla="*/ 1322386 h 7458372"/>
              <a:gd name="connsiteX36245" fmla="*/ 890987 w 10505529"/>
              <a:gd name="connsiteY36245" fmla="*/ 1325972 h 7458372"/>
              <a:gd name="connsiteX36246" fmla="*/ 887261 w 10505529"/>
              <a:gd name="connsiteY36246" fmla="*/ 1335427 h 7458372"/>
              <a:gd name="connsiteX36247" fmla="*/ 890855 w 10505529"/>
              <a:gd name="connsiteY36247" fmla="*/ 1344879 h 7458372"/>
              <a:gd name="connsiteX36248" fmla="*/ 900838 w 10505529"/>
              <a:gd name="connsiteY36248" fmla="*/ 1348345 h 7458372"/>
              <a:gd name="connsiteX36249" fmla="*/ 906296 w 10505529"/>
              <a:gd name="connsiteY36249" fmla="*/ 1347407 h 7458372"/>
              <a:gd name="connsiteX36250" fmla="*/ 910024 w 10505529"/>
              <a:gd name="connsiteY36250" fmla="*/ 1345018 h 7458372"/>
              <a:gd name="connsiteX36251" fmla="*/ 912686 w 10505529"/>
              <a:gd name="connsiteY36251" fmla="*/ 1340751 h 7458372"/>
              <a:gd name="connsiteX36252" fmla="*/ 913751 w 10505529"/>
              <a:gd name="connsiteY36252" fmla="*/ 1335294 h 7458372"/>
              <a:gd name="connsiteX36253" fmla="*/ 912686 w 10505529"/>
              <a:gd name="connsiteY36253" fmla="*/ 1330101 h 7458372"/>
              <a:gd name="connsiteX36254" fmla="*/ 910024 w 10505529"/>
              <a:gd name="connsiteY36254" fmla="*/ 1325972 h 7458372"/>
              <a:gd name="connsiteX36255" fmla="*/ 906030 w 10505529"/>
              <a:gd name="connsiteY36255" fmla="*/ 1323313 h 7458372"/>
              <a:gd name="connsiteX36256" fmla="*/ 900972 w 10505529"/>
              <a:gd name="connsiteY36256" fmla="*/ 1322386 h 7458372"/>
              <a:gd name="connsiteX36257" fmla="*/ 683194 w 10505529"/>
              <a:gd name="connsiteY36257" fmla="*/ 1322386 h 7458372"/>
              <a:gd name="connsiteX36258" fmla="*/ 673211 w 10505529"/>
              <a:gd name="connsiteY36258" fmla="*/ 1325972 h 7458372"/>
              <a:gd name="connsiteX36259" fmla="*/ 669617 w 10505529"/>
              <a:gd name="connsiteY36259" fmla="*/ 1335427 h 7458372"/>
              <a:gd name="connsiteX36260" fmla="*/ 673211 w 10505529"/>
              <a:gd name="connsiteY36260" fmla="*/ 1344879 h 7458372"/>
              <a:gd name="connsiteX36261" fmla="*/ 683194 w 10505529"/>
              <a:gd name="connsiteY36261" fmla="*/ 1348345 h 7458372"/>
              <a:gd name="connsiteX36262" fmla="*/ 688519 w 10505529"/>
              <a:gd name="connsiteY36262" fmla="*/ 1347407 h 7458372"/>
              <a:gd name="connsiteX36263" fmla="*/ 692246 w 10505529"/>
              <a:gd name="connsiteY36263" fmla="*/ 1345018 h 7458372"/>
              <a:gd name="connsiteX36264" fmla="*/ 694909 w 10505529"/>
              <a:gd name="connsiteY36264" fmla="*/ 1340751 h 7458372"/>
              <a:gd name="connsiteX36265" fmla="*/ 695974 w 10505529"/>
              <a:gd name="connsiteY36265" fmla="*/ 1335294 h 7458372"/>
              <a:gd name="connsiteX36266" fmla="*/ 694909 w 10505529"/>
              <a:gd name="connsiteY36266" fmla="*/ 1330101 h 7458372"/>
              <a:gd name="connsiteX36267" fmla="*/ 692246 w 10505529"/>
              <a:gd name="connsiteY36267" fmla="*/ 1325972 h 7458372"/>
              <a:gd name="connsiteX36268" fmla="*/ 688253 w 10505529"/>
              <a:gd name="connsiteY36268" fmla="*/ 1323313 h 7458372"/>
              <a:gd name="connsiteX36269" fmla="*/ 683194 w 10505529"/>
              <a:gd name="connsiteY36269" fmla="*/ 1322386 h 7458372"/>
              <a:gd name="connsiteX36270" fmla="*/ 465550 w 10505529"/>
              <a:gd name="connsiteY36270" fmla="*/ 1322386 h 7458372"/>
              <a:gd name="connsiteX36271" fmla="*/ 455567 w 10505529"/>
              <a:gd name="connsiteY36271" fmla="*/ 1325972 h 7458372"/>
              <a:gd name="connsiteX36272" fmla="*/ 451973 w 10505529"/>
              <a:gd name="connsiteY36272" fmla="*/ 1335427 h 7458372"/>
              <a:gd name="connsiteX36273" fmla="*/ 455567 w 10505529"/>
              <a:gd name="connsiteY36273" fmla="*/ 1344879 h 7458372"/>
              <a:gd name="connsiteX36274" fmla="*/ 465550 w 10505529"/>
              <a:gd name="connsiteY36274" fmla="*/ 1348345 h 7458372"/>
              <a:gd name="connsiteX36275" fmla="*/ 470875 w 10505529"/>
              <a:gd name="connsiteY36275" fmla="*/ 1347407 h 7458372"/>
              <a:gd name="connsiteX36276" fmla="*/ 474602 w 10505529"/>
              <a:gd name="connsiteY36276" fmla="*/ 1345018 h 7458372"/>
              <a:gd name="connsiteX36277" fmla="*/ 477266 w 10505529"/>
              <a:gd name="connsiteY36277" fmla="*/ 1340751 h 7458372"/>
              <a:gd name="connsiteX36278" fmla="*/ 478330 w 10505529"/>
              <a:gd name="connsiteY36278" fmla="*/ 1335294 h 7458372"/>
              <a:gd name="connsiteX36279" fmla="*/ 477266 w 10505529"/>
              <a:gd name="connsiteY36279" fmla="*/ 1330101 h 7458372"/>
              <a:gd name="connsiteX36280" fmla="*/ 474602 w 10505529"/>
              <a:gd name="connsiteY36280" fmla="*/ 1325972 h 7458372"/>
              <a:gd name="connsiteX36281" fmla="*/ 470609 w 10505529"/>
              <a:gd name="connsiteY36281" fmla="*/ 1323313 h 7458372"/>
              <a:gd name="connsiteX36282" fmla="*/ 465550 w 10505529"/>
              <a:gd name="connsiteY36282" fmla="*/ 1322386 h 7458372"/>
              <a:gd name="connsiteX36283" fmla="*/ 247906 w 10505529"/>
              <a:gd name="connsiteY36283" fmla="*/ 1322386 h 7458372"/>
              <a:gd name="connsiteX36284" fmla="*/ 237923 w 10505529"/>
              <a:gd name="connsiteY36284" fmla="*/ 1325972 h 7458372"/>
              <a:gd name="connsiteX36285" fmla="*/ 234329 w 10505529"/>
              <a:gd name="connsiteY36285" fmla="*/ 1335427 h 7458372"/>
              <a:gd name="connsiteX36286" fmla="*/ 237923 w 10505529"/>
              <a:gd name="connsiteY36286" fmla="*/ 1344879 h 7458372"/>
              <a:gd name="connsiteX36287" fmla="*/ 247906 w 10505529"/>
              <a:gd name="connsiteY36287" fmla="*/ 1348345 h 7458372"/>
              <a:gd name="connsiteX36288" fmla="*/ 253231 w 10505529"/>
              <a:gd name="connsiteY36288" fmla="*/ 1347407 h 7458372"/>
              <a:gd name="connsiteX36289" fmla="*/ 256958 w 10505529"/>
              <a:gd name="connsiteY36289" fmla="*/ 1345018 h 7458372"/>
              <a:gd name="connsiteX36290" fmla="*/ 259621 w 10505529"/>
              <a:gd name="connsiteY36290" fmla="*/ 1340751 h 7458372"/>
              <a:gd name="connsiteX36291" fmla="*/ 260686 w 10505529"/>
              <a:gd name="connsiteY36291" fmla="*/ 1335294 h 7458372"/>
              <a:gd name="connsiteX36292" fmla="*/ 259621 w 10505529"/>
              <a:gd name="connsiteY36292" fmla="*/ 1330101 h 7458372"/>
              <a:gd name="connsiteX36293" fmla="*/ 256958 w 10505529"/>
              <a:gd name="connsiteY36293" fmla="*/ 1325972 h 7458372"/>
              <a:gd name="connsiteX36294" fmla="*/ 252965 w 10505529"/>
              <a:gd name="connsiteY36294" fmla="*/ 1323313 h 7458372"/>
              <a:gd name="connsiteX36295" fmla="*/ 247906 w 10505529"/>
              <a:gd name="connsiteY36295" fmla="*/ 1322386 h 7458372"/>
              <a:gd name="connsiteX36296" fmla="*/ 30262 w 10505529"/>
              <a:gd name="connsiteY36296" fmla="*/ 1322386 h 7458372"/>
              <a:gd name="connsiteX36297" fmla="*/ 20279 w 10505529"/>
              <a:gd name="connsiteY36297" fmla="*/ 1325972 h 7458372"/>
              <a:gd name="connsiteX36298" fmla="*/ 16685 w 10505529"/>
              <a:gd name="connsiteY36298" fmla="*/ 1335427 h 7458372"/>
              <a:gd name="connsiteX36299" fmla="*/ 20279 w 10505529"/>
              <a:gd name="connsiteY36299" fmla="*/ 1344879 h 7458372"/>
              <a:gd name="connsiteX36300" fmla="*/ 30262 w 10505529"/>
              <a:gd name="connsiteY36300" fmla="*/ 1348345 h 7458372"/>
              <a:gd name="connsiteX36301" fmla="*/ 35587 w 10505529"/>
              <a:gd name="connsiteY36301" fmla="*/ 1347407 h 7458372"/>
              <a:gd name="connsiteX36302" fmla="*/ 39314 w 10505529"/>
              <a:gd name="connsiteY36302" fmla="*/ 1345018 h 7458372"/>
              <a:gd name="connsiteX36303" fmla="*/ 41977 w 10505529"/>
              <a:gd name="connsiteY36303" fmla="*/ 1340751 h 7458372"/>
              <a:gd name="connsiteX36304" fmla="*/ 42908 w 10505529"/>
              <a:gd name="connsiteY36304" fmla="*/ 1335294 h 7458372"/>
              <a:gd name="connsiteX36305" fmla="*/ 41977 w 10505529"/>
              <a:gd name="connsiteY36305" fmla="*/ 1330101 h 7458372"/>
              <a:gd name="connsiteX36306" fmla="*/ 39314 w 10505529"/>
              <a:gd name="connsiteY36306" fmla="*/ 1325972 h 7458372"/>
              <a:gd name="connsiteX36307" fmla="*/ 35321 w 10505529"/>
              <a:gd name="connsiteY36307" fmla="*/ 1323313 h 7458372"/>
              <a:gd name="connsiteX36308" fmla="*/ 30262 w 10505529"/>
              <a:gd name="connsiteY36308" fmla="*/ 1322386 h 7458372"/>
              <a:gd name="connsiteX36309" fmla="*/ 10475977 w 10505529"/>
              <a:gd name="connsiteY36309" fmla="*/ 1305741 h 7458372"/>
              <a:gd name="connsiteX36310" fmla="*/ 10487824 w 10505529"/>
              <a:gd name="connsiteY36310" fmla="*/ 1308407 h 7458372"/>
              <a:gd name="connsiteX36311" fmla="*/ 10497143 w 10505529"/>
              <a:gd name="connsiteY36311" fmla="*/ 1314801 h 7458372"/>
              <a:gd name="connsiteX36312" fmla="*/ 10503266 w 10505529"/>
              <a:gd name="connsiteY36312" fmla="*/ 1324111 h 7458372"/>
              <a:gd name="connsiteX36313" fmla="*/ 10505529 w 10505529"/>
              <a:gd name="connsiteY36313" fmla="*/ 1335564 h 7458372"/>
              <a:gd name="connsiteX36314" fmla="*/ 10503266 w 10505529"/>
              <a:gd name="connsiteY36314" fmla="*/ 1347279 h 7458372"/>
              <a:gd name="connsiteX36315" fmla="*/ 10497143 w 10505529"/>
              <a:gd name="connsiteY36315" fmla="*/ 1356599 h 7458372"/>
              <a:gd name="connsiteX36316" fmla="*/ 10487824 w 10505529"/>
              <a:gd name="connsiteY36316" fmla="*/ 1362849 h 7458372"/>
              <a:gd name="connsiteX36317" fmla="*/ 10475977 w 10505529"/>
              <a:gd name="connsiteY36317" fmla="*/ 1365113 h 7458372"/>
              <a:gd name="connsiteX36318" fmla="*/ 10454145 w 10505529"/>
              <a:gd name="connsiteY36318" fmla="*/ 1356599 h 7458372"/>
              <a:gd name="connsiteX36319" fmla="*/ 10445759 w 10505529"/>
              <a:gd name="connsiteY36319" fmla="*/ 1335427 h 7458372"/>
              <a:gd name="connsiteX36320" fmla="*/ 10454145 w 10505529"/>
              <a:gd name="connsiteY36320" fmla="*/ 1314393 h 7458372"/>
              <a:gd name="connsiteX36321" fmla="*/ 10475977 w 10505529"/>
              <a:gd name="connsiteY36321" fmla="*/ 1305741 h 7458372"/>
              <a:gd name="connsiteX36322" fmla="*/ 10258466 w 10505529"/>
              <a:gd name="connsiteY36322" fmla="*/ 1305741 h 7458372"/>
              <a:gd name="connsiteX36323" fmla="*/ 10270313 w 10505529"/>
              <a:gd name="connsiteY36323" fmla="*/ 1308407 h 7458372"/>
              <a:gd name="connsiteX36324" fmla="*/ 10279631 w 10505529"/>
              <a:gd name="connsiteY36324" fmla="*/ 1314801 h 7458372"/>
              <a:gd name="connsiteX36325" fmla="*/ 10285754 w 10505529"/>
              <a:gd name="connsiteY36325" fmla="*/ 1324111 h 7458372"/>
              <a:gd name="connsiteX36326" fmla="*/ 10288017 w 10505529"/>
              <a:gd name="connsiteY36326" fmla="*/ 1335564 h 7458372"/>
              <a:gd name="connsiteX36327" fmla="*/ 10285754 w 10505529"/>
              <a:gd name="connsiteY36327" fmla="*/ 1347279 h 7458372"/>
              <a:gd name="connsiteX36328" fmla="*/ 10279631 w 10505529"/>
              <a:gd name="connsiteY36328" fmla="*/ 1356599 h 7458372"/>
              <a:gd name="connsiteX36329" fmla="*/ 10270313 w 10505529"/>
              <a:gd name="connsiteY36329" fmla="*/ 1362849 h 7458372"/>
              <a:gd name="connsiteX36330" fmla="*/ 10258466 w 10505529"/>
              <a:gd name="connsiteY36330" fmla="*/ 1365113 h 7458372"/>
              <a:gd name="connsiteX36331" fmla="*/ 10236633 w 10505529"/>
              <a:gd name="connsiteY36331" fmla="*/ 1356599 h 7458372"/>
              <a:gd name="connsiteX36332" fmla="*/ 10228247 w 10505529"/>
              <a:gd name="connsiteY36332" fmla="*/ 1335427 h 7458372"/>
              <a:gd name="connsiteX36333" fmla="*/ 10236633 w 10505529"/>
              <a:gd name="connsiteY36333" fmla="*/ 1314393 h 7458372"/>
              <a:gd name="connsiteX36334" fmla="*/ 10258466 w 10505529"/>
              <a:gd name="connsiteY36334" fmla="*/ 1305741 h 7458372"/>
              <a:gd name="connsiteX36335" fmla="*/ 10040820 w 10505529"/>
              <a:gd name="connsiteY36335" fmla="*/ 1305741 h 7458372"/>
              <a:gd name="connsiteX36336" fmla="*/ 10052534 w 10505529"/>
              <a:gd name="connsiteY36336" fmla="*/ 1308407 h 7458372"/>
              <a:gd name="connsiteX36337" fmla="*/ 10061852 w 10505529"/>
              <a:gd name="connsiteY36337" fmla="*/ 1314801 h 7458372"/>
              <a:gd name="connsiteX36338" fmla="*/ 10067976 w 10505529"/>
              <a:gd name="connsiteY36338" fmla="*/ 1324111 h 7458372"/>
              <a:gd name="connsiteX36339" fmla="*/ 10070239 w 10505529"/>
              <a:gd name="connsiteY36339" fmla="*/ 1335564 h 7458372"/>
              <a:gd name="connsiteX36340" fmla="*/ 10067976 w 10505529"/>
              <a:gd name="connsiteY36340" fmla="*/ 1347279 h 7458372"/>
              <a:gd name="connsiteX36341" fmla="*/ 10061852 w 10505529"/>
              <a:gd name="connsiteY36341" fmla="*/ 1356599 h 7458372"/>
              <a:gd name="connsiteX36342" fmla="*/ 10052534 w 10505529"/>
              <a:gd name="connsiteY36342" fmla="*/ 1362849 h 7458372"/>
              <a:gd name="connsiteX36343" fmla="*/ 10040820 w 10505529"/>
              <a:gd name="connsiteY36343" fmla="*/ 1365113 h 7458372"/>
              <a:gd name="connsiteX36344" fmla="*/ 10018988 w 10505529"/>
              <a:gd name="connsiteY36344" fmla="*/ 1356599 h 7458372"/>
              <a:gd name="connsiteX36345" fmla="*/ 10010602 w 10505529"/>
              <a:gd name="connsiteY36345" fmla="*/ 1335427 h 7458372"/>
              <a:gd name="connsiteX36346" fmla="*/ 10018988 w 10505529"/>
              <a:gd name="connsiteY36346" fmla="*/ 1314393 h 7458372"/>
              <a:gd name="connsiteX36347" fmla="*/ 10040820 w 10505529"/>
              <a:gd name="connsiteY36347" fmla="*/ 1305741 h 7458372"/>
              <a:gd name="connsiteX36348" fmla="*/ 9823176 w 10505529"/>
              <a:gd name="connsiteY36348" fmla="*/ 1305741 h 7458372"/>
              <a:gd name="connsiteX36349" fmla="*/ 9834890 w 10505529"/>
              <a:gd name="connsiteY36349" fmla="*/ 1308407 h 7458372"/>
              <a:gd name="connsiteX36350" fmla="*/ 9844208 w 10505529"/>
              <a:gd name="connsiteY36350" fmla="*/ 1314801 h 7458372"/>
              <a:gd name="connsiteX36351" fmla="*/ 9850331 w 10505529"/>
              <a:gd name="connsiteY36351" fmla="*/ 1324111 h 7458372"/>
              <a:gd name="connsiteX36352" fmla="*/ 9852595 w 10505529"/>
              <a:gd name="connsiteY36352" fmla="*/ 1335564 h 7458372"/>
              <a:gd name="connsiteX36353" fmla="*/ 9850331 w 10505529"/>
              <a:gd name="connsiteY36353" fmla="*/ 1347279 h 7458372"/>
              <a:gd name="connsiteX36354" fmla="*/ 9844208 w 10505529"/>
              <a:gd name="connsiteY36354" fmla="*/ 1356599 h 7458372"/>
              <a:gd name="connsiteX36355" fmla="*/ 9834890 w 10505529"/>
              <a:gd name="connsiteY36355" fmla="*/ 1362851 h 7458372"/>
              <a:gd name="connsiteX36356" fmla="*/ 9823176 w 10505529"/>
              <a:gd name="connsiteY36356" fmla="*/ 1365113 h 7458372"/>
              <a:gd name="connsiteX36357" fmla="*/ 9801343 w 10505529"/>
              <a:gd name="connsiteY36357" fmla="*/ 1356599 h 7458372"/>
              <a:gd name="connsiteX36358" fmla="*/ 9792957 w 10505529"/>
              <a:gd name="connsiteY36358" fmla="*/ 1335427 h 7458372"/>
              <a:gd name="connsiteX36359" fmla="*/ 9801343 w 10505529"/>
              <a:gd name="connsiteY36359" fmla="*/ 1314393 h 7458372"/>
              <a:gd name="connsiteX36360" fmla="*/ 9823176 w 10505529"/>
              <a:gd name="connsiteY36360" fmla="*/ 1305741 h 7458372"/>
              <a:gd name="connsiteX36361" fmla="*/ 9605531 w 10505529"/>
              <a:gd name="connsiteY36361" fmla="*/ 1305741 h 7458372"/>
              <a:gd name="connsiteX36362" fmla="*/ 9617245 w 10505529"/>
              <a:gd name="connsiteY36362" fmla="*/ 1308407 h 7458372"/>
              <a:gd name="connsiteX36363" fmla="*/ 9626562 w 10505529"/>
              <a:gd name="connsiteY36363" fmla="*/ 1314801 h 7458372"/>
              <a:gd name="connsiteX36364" fmla="*/ 9632686 w 10505529"/>
              <a:gd name="connsiteY36364" fmla="*/ 1324111 h 7458372"/>
              <a:gd name="connsiteX36365" fmla="*/ 9634949 w 10505529"/>
              <a:gd name="connsiteY36365" fmla="*/ 1335564 h 7458372"/>
              <a:gd name="connsiteX36366" fmla="*/ 9632686 w 10505529"/>
              <a:gd name="connsiteY36366" fmla="*/ 1347279 h 7458372"/>
              <a:gd name="connsiteX36367" fmla="*/ 9626562 w 10505529"/>
              <a:gd name="connsiteY36367" fmla="*/ 1356599 h 7458372"/>
              <a:gd name="connsiteX36368" fmla="*/ 9617245 w 10505529"/>
              <a:gd name="connsiteY36368" fmla="*/ 1362851 h 7458372"/>
              <a:gd name="connsiteX36369" fmla="*/ 9605531 w 10505529"/>
              <a:gd name="connsiteY36369" fmla="*/ 1365113 h 7458372"/>
              <a:gd name="connsiteX36370" fmla="*/ 9583698 w 10505529"/>
              <a:gd name="connsiteY36370" fmla="*/ 1356599 h 7458372"/>
              <a:gd name="connsiteX36371" fmla="*/ 9575312 w 10505529"/>
              <a:gd name="connsiteY36371" fmla="*/ 1335427 h 7458372"/>
              <a:gd name="connsiteX36372" fmla="*/ 9583698 w 10505529"/>
              <a:gd name="connsiteY36372" fmla="*/ 1314393 h 7458372"/>
              <a:gd name="connsiteX36373" fmla="*/ 9605531 w 10505529"/>
              <a:gd name="connsiteY36373" fmla="*/ 1305741 h 7458372"/>
              <a:gd name="connsiteX36374" fmla="*/ 9387885 w 10505529"/>
              <a:gd name="connsiteY36374" fmla="*/ 1305741 h 7458372"/>
              <a:gd name="connsiteX36375" fmla="*/ 9399599 w 10505529"/>
              <a:gd name="connsiteY36375" fmla="*/ 1308407 h 7458372"/>
              <a:gd name="connsiteX36376" fmla="*/ 9408917 w 10505529"/>
              <a:gd name="connsiteY36376" fmla="*/ 1314801 h 7458372"/>
              <a:gd name="connsiteX36377" fmla="*/ 9415041 w 10505529"/>
              <a:gd name="connsiteY36377" fmla="*/ 1324111 h 7458372"/>
              <a:gd name="connsiteX36378" fmla="*/ 9417304 w 10505529"/>
              <a:gd name="connsiteY36378" fmla="*/ 1335564 h 7458372"/>
              <a:gd name="connsiteX36379" fmla="*/ 9415041 w 10505529"/>
              <a:gd name="connsiteY36379" fmla="*/ 1347279 h 7458372"/>
              <a:gd name="connsiteX36380" fmla="*/ 9408917 w 10505529"/>
              <a:gd name="connsiteY36380" fmla="*/ 1356599 h 7458372"/>
              <a:gd name="connsiteX36381" fmla="*/ 9399599 w 10505529"/>
              <a:gd name="connsiteY36381" fmla="*/ 1362851 h 7458372"/>
              <a:gd name="connsiteX36382" fmla="*/ 9387885 w 10505529"/>
              <a:gd name="connsiteY36382" fmla="*/ 1365113 h 7458372"/>
              <a:gd name="connsiteX36383" fmla="*/ 9366053 w 10505529"/>
              <a:gd name="connsiteY36383" fmla="*/ 1356599 h 7458372"/>
              <a:gd name="connsiteX36384" fmla="*/ 9357667 w 10505529"/>
              <a:gd name="connsiteY36384" fmla="*/ 1335427 h 7458372"/>
              <a:gd name="connsiteX36385" fmla="*/ 9366053 w 10505529"/>
              <a:gd name="connsiteY36385" fmla="*/ 1314393 h 7458372"/>
              <a:gd name="connsiteX36386" fmla="*/ 9387885 w 10505529"/>
              <a:gd name="connsiteY36386" fmla="*/ 1305741 h 7458372"/>
              <a:gd name="connsiteX36387" fmla="*/ 9170374 w 10505529"/>
              <a:gd name="connsiteY36387" fmla="*/ 1305741 h 7458372"/>
              <a:gd name="connsiteX36388" fmla="*/ 9182088 w 10505529"/>
              <a:gd name="connsiteY36388" fmla="*/ 1308407 h 7458372"/>
              <a:gd name="connsiteX36389" fmla="*/ 9191405 w 10505529"/>
              <a:gd name="connsiteY36389" fmla="*/ 1314801 h 7458372"/>
              <a:gd name="connsiteX36390" fmla="*/ 9197529 w 10505529"/>
              <a:gd name="connsiteY36390" fmla="*/ 1324111 h 7458372"/>
              <a:gd name="connsiteX36391" fmla="*/ 9199792 w 10505529"/>
              <a:gd name="connsiteY36391" fmla="*/ 1335564 h 7458372"/>
              <a:gd name="connsiteX36392" fmla="*/ 9197529 w 10505529"/>
              <a:gd name="connsiteY36392" fmla="*/ 1347279 h 7458372"/>
              <a:gd name="connsiteX36393" fmla="*/ 9191405 w 10505529"/>
              <a:gd name="connsiteY36393" fmla="*/ 1356599 h 7458372"/>
              <a:gd name="connsiteX36394" fmla="*/ 9182088 w 10505529"/>
              <a:gd name="connsiteY36394" fmla="*/ 1362851 h 7458372"/>
              <a:gd name="connsiteX36395" fmla="*/ 9170374 w 10505529"/>
              <a:gd name="connsiteY36395" fmla="*/ 1365113 h 7458372"/>
              <a:gd name="connsiteX36396" fmla="*/ 9148541 w 10505529"/>
              <a:gd name="connsiteY36396" fmla="*/ 1356599 h 7458372"/>
              <a:gd name="connsiteX36397" fmla="*/ 9140155 w 10505529"/>
              <a:gd name="connsiteY36397" fmla="*/ 1335427 h 7458372"/>
              <a:gd name="connsiteX36398" fmla="*/ 9148541 w 10505529"/>
              <a:gd name="connsiteY36398" fmla="*/ 1314393 h 7458372"/>
              <a:gd name="connsiteX36399" fmla="*/ 9170374 w 10505529"/>
              <a:gd name="connsiteY36399" fmla="*/ 1305741 h 7458372"/>
              <a:gd name="connsiteX36400" fmla="*/ 8952728 w 10505529"/>
              <a:gd name="connsiteY36400" fmla="*/ 1305741 h 7458372"/>
              <a:gd name="connsiteX36401" fmla="*/ 8964442 w 10505529"/>
              <a:gd name="connsiteY36401" fmla="*/ 1308407 h 7458372"/>
              <a:gd name="connsiteX36402" fmla="*/ 8973760 w 10505529"/>
              <a:gd name="connsiteY36402" fmla="*/ 1314801 h 7458372"/>
              <a:gd name="connsiteX36403" fmla="*/ 8979884 w 10505529"/>
              <a:gd name="connsiteY36403" fmla="*/ 1324111 h 7458372"/>
              <a:gd name="connsiteX36404" fmla="*/ 8982147 w 10505529"/>
              <a:gd name="connsiteY36404" fmla="*/ 1335564 h 7458372"/>
              <a:gd name="connsiteX36405" fmla="*/ 8979884 w 10505529"/>
              <a:gd name="connsiteY36405" fmla="*/ 1347279 h 7458372"/>
              <a:gd name="connsiteX36406" fmla="*/ 8973760 w 10505529"/>
              <a:gd name="connsiteY36406" fmla="*/ 1356599 h 7458372"/>
              <a:gd name="connsiteX36407" fmla="*/ 8964442 w 10505529"/>
              <a:gd name="connsiteY36407" fmla="*/ 1362851 h 7458372"/>
              <a:gd name="connsiteX36408" fmla="*/ 8952728 w 10505529"/>
              <a:gd name="connsiteY36408" fmla="*/ 1365113 h 7458372"/>
              <a:gd name="connsiteX36409" fmla="*/ 8930896 w 10505529"/>
              <a:gd name="connsiteY36409" fmla="*/ 1356599 h 7458372"/>
              <a:gd name="connsiteX36410" fmla="*/ 8922510 w 10505529"/>
              <a:gd name="connsiteY36410" fmla="*/ 1335427 h 7458372"/>
              <a:gd name="connsiteX36411" fmla="*/ 8930896 w 10505529"/>
              <a:gd name="connsiteY36411" fmla="*/ 1314393 h 7458372"/>
              <a:gd name="connsiteX36412" fmla="*/ 8952728 w 10505529"/>
              <a:gd name="connsiteY36412" fmla="*/ 1305741 h 7458372"/>
              <a:gd name="connsiteX36413" fmla="*/ 8735083 w 10505529"/>
              <a:gd name="connsiteY36413" fmla="*/ 1305741 h 7458372"/>
              <a:gd name="connsiteX36414" fmla="*/ 8746797 w 10505529"/>
              <a:gd name="connsiteY36414" fmla="*/ 1308407 h 7458372"/>
              <a:gd name="connsiteX36415" fmla="*/ 8756115 w 10505529"/>
              <a:gd name="connsiteY36415" fmla="*/ 1314801 h 7458372"/>
              <a:gd name="connsiteX36416" fmla="*/ 8762238 w 10505529"/>
              <a:gd name="connsiteY36416" fmla="*/ 1324111 h 7458372"/>
              <a:gd name="connsiteX36417" fmla="*/ 8764502 w 10505529"/>
              <a:gd name="connsiteY36417" fmla="*/ 1335564 h 7458372"/>
              <a:gd name="connsiteX36418" fmla="*/ 8762238 w 10505529"/>
              <a:gd name="connsiteY36418" fmla="*/ 1347279 h 7458372"/>
              <a:gd name="connsiteX36419" fmla="*/ 8756115 w 10505529"/>
              <a:gd name="connsiteY36419" fmla="*/ 1356599 h 7458372"/>
              <a:gd name="connsiteX36420" fmla="*/ 8746797 w 10505529"/>
              <a:gd name="connsiteY36420" fmla="*/ 1362851 h 7458372"/>
              <a:gd name="connsiteX36421" fmla="*/ 8735083 w 10505529"/>
              <a:gd name="connsiteY36421" fmla="*/ 1365113 h 7458372"/>
              <a:gd name="connsiteX36422" fmla="*/ 8713250 w 10505529"/>
              <a:gd name="connsiteY36422" fmla="*/ 1356599 h 7458372"/>
              <a:gd name="connsiteX36423" fmla="*/ 8704864 w 10505529"/>
              <a:gd name="connsiteY36423" fmla="*/ 1335427 h 7458372"/>
              <a:gd name="connsiteX36424" fmla="*/ 8713250 w 10505529"/>
              <a:gd name="connsiteY36424" fmla="*/ 1314393 h 7458372"/>
              <a:gd name="connsiteX36425" fmla="*/ 8735083 w 10505529"/>
              <a:gd name="connsiteY36425" fmla="*/ 1305741 h 7458372"/>
              <a:gd name="connsiteX36426" fmla="*/ 8517438 w 10505529"/>
              <a:gd name="connsiteY36426" fmla="*/ 1305741 h 7458372"/>
              <a:gd name="connsiteX36427" fmla="*/ 8529152 w 10505529"/>
              <a:gd name="connsiteY36427" fmla="*/ 1308407 h 7458372"/>
              <a:gd name="connsiteX36428" fmla="*/ 8538470 w 10505529"/>
              <a:gd name="connsiteY36428" fmla="*/ 1314801 h 7458372"/>
              <a:gd name="connsiteX36429" fmla="*/ 8544594 w 10505529"/>
              <a:gd name="connsiteY36429" fmla="*/ 1324111 h 7458372"/>
              <a:gd name="connsiteX36430" fmla="*/ 8546857 w 10505529"/>
              <a:gd name="connsiteY36430" fmla="*/ 1335564 h 7458372"/>
              <a:gd name="connsiteX36431" fmla="*/ 8544594 w 10505529"/>
              <a:gd name="connsiteY36431" fmla="*/ 1347279 h 7458372"/>
              <a:gd name="connsiteX36432" fmla="*/ 8538470 w 10505529"/>
              <a:gd name="connsiteY36432" fmla="*/ 1356599 h 7458372"/>
              <a:gd name="connsiteX36433" fmla="*/ 8529152 w 10505529"/>
              <a:gd name="connsiteY36433" fmla="*/ 1362851 h 7458372"/>
              <a:gd name="connsiteX36434" fmla="*/ 8517438 w 10505529"/>
              <a:gd name="connsiteY36434" fmla="*/ 1365113 h 7458372"/>
              <a:gd name="connsiteX36435" fmla="*/ 8495606 w 10505529"/>
              <a:gd name="connsiteY36435" fmla="*/ 1356599 h 7458372"/>
              <a:gd name="connsiteX36436" fmla="*/ 8487220 w 10505529"/>
              <a:gd name="connsiteY36436" fmla="*/ 1335427 h 7458372"/>
              <a:gd name="connsiteX36437" fmla="*/ 8495606 w 10505529"/>
              <a:gd name="connsiteY36437" fmla="*/ 1314393 h 7458372"/>
              <a:gd name="connsiteX36438" fmla="*/ 8517438 w 10505529"/>
              <a:gd name="connsiteY36438" fmla="*/ 1305741 h 7458372"/>
              <a:gd name="connsiteX36439" fmla="*/ 8299793 w 10505529"/>
              <a:gd name="connsiteY36439" fmla="*/ 1305741 h 7458372"/>
              <a:gd name="connsiteX36440" fmla="*/ 8311507 w 10505529"/>
              <a:gd name="connsiteY36440" fmla="*/ 1308407 h 7458372"/>
              <a:gd name="connsiteX36441" fmla="*/ 8320825 w 10505529"/>
              <a:gd name="connsiteY36441" fmla="*/ 1314801 h 7458372"/>
              <a:gd name="connsiteX36442" fmla="*/ 8326948 w 10505529"/>
              <a:gd name="connsiteY36442" fmla="*/ 1324111 h 7458372"/>
              <a:gd name="connsiteX36443" fmla="*/ 8329212 w 10505529"/>
              <a:gd name="connsiteY36443" fmla="*/ 1335564 h 7458372"/>
              <a:gd name="connsiteX36444" fmla="*/ 8326948 w 10505529"/>
              <a:gd name="connsiteY36444" fmla="*/ 1347279 h 7458372"/>
              <a:gd name="connsiteX36445" fmla="*/ 8320825 w 10505529"/>
              <a:gd name="connsiteY36445" fmla="*/ 1356599 h 7458372"/>
              <a:gd name="connsiteX36446" fmla="*/ 8311507 w 10505529"/>
              <a:gd name="connsiteY36446" fmla="*/ 1362851 h 7458372"/>
              <a:gd name="connsiteX36447" fmla="*/ 8299793 w 10505529"/>
              <a:gd name="connsiteY36447" fmla="*/ 1365113 h 7458372"/>
              <a:gd name="connsiteX36448" fmla="*/ 8277960 w 10505529"/>
              <a:gd name="connsiteY36448" fmla="*/ 1356599 h 7458372"/>
              <a:gd name="connsiteX36449" fmla="*/ 8269574 w 10505529"/>
              <a:gd name="connsiteY36449" fmla="*/ 1335427 h 7458372"/>
              <a:gd name="connsiteX36450" fmla="*/ 8277960 w 10505529"/>
              <a:gd name="connsiteY36450" fmla="*/ 1314393 h 7458372"/>
              <a:gd name="connsiteX36451" fmla="*/ 8299793 w 10505529"/>
              <a:gd name="connsiteY36451" fmla="*/ 1305741 h 7458372"/>
              <a:gd name="connsiteX36452" fmla="*/ 8082281 w 10505529"/>
              <a:gd name="connsiteY36452" fmla="*/ 1305741 h 7458372"/>
              <a:gd name="connsiteX36453" fmla="*/ 8094127 w 10505529"/>
              <a:gd name="connsiteY36453" fmla="*/ 1308407 h 7458372"/>
              <a:gd name="connsiteX36454" fmla="*/ 8103446 w 10505529"/>
              <a:gd name="connsiteY36454" fmla="*/ 1314801 h 7458372"/>
              <a:gd name="connsiteX36455" fmla="*/ 8109569 w 10505529"/>
              <a:gd name="connsiteY36455" fmla="*/ 1324111 h 7458372"/>
              <a:gd name="connsiteX36456" fmla="*/ 8111832 w 10505529"/>
              <a:gd name="connsiteY36456" fmla="*/ 1335564 h 7458372"/>
              <a:gd name="connsiteX36457" fmla="*/ 8109569 w 10505529"/>
              <a:gd name="connsiteY36457" fmla="*/ 1347279 h 7458372"/>
              <a:gd name="connsiteX36458" fmla="*/ 8103446 w 10505529"/>
              <a:gd name="connsiteY36458" fmla="*/ 1356599 h 7458372"/>
              <a:gd name="connsiteX36459" fmla="*/ 8094127 w 10505529"/>
              <a:gd name="connsiteY36459" fmla="*/ 1362851 h 7458372"/>
              <a:gd name="connsiteX36460" fmla="*/ 8082281 w 10505529"/>
              <a:gd name="connsiteY36460" fmla="*/ 1365113 h 7458372"/>
              <a:gd name="connsiteX36461" fmla="*/ 8060448 w 10505529"/>
              <a:gd name="connsiteY36461" fmla="*/ 1356599 h 7458372"/>
              <a:gd name="connsiteX36462" fmla="*/ 8052062 w 10505529"/>
              <a:gd name="connsiteY36462" fmla="*/ 1335427 h 7458372"/>
              <a:gd name="connsiteX36463" fmla="*/ 8060448 w 10505529"/>
              <a:gd name="connsiteY36463" fmla="*/ 1314393 h 7458372"/>
              <a:gd name="connsiteX36464" fmla="*/ 8082281 w 10505529"/>
              <a:gd name="connsiteY36464" fmla="*/ 1305741 h 7458372"/>
              <a:gd name="connsiteX36465" fmla="*/ 7864636 w 10505529"/>
              <a:gd name="connsiteY36465" fmla="*/ 1305741 h 7458372"/>
              <a:gd name="connsiteX36466" fmla="*/ 7876483 w 10505529"/>
              <a:gd name="connsiteY36466" fmla="*/ 1308407 h 7458372"/>
              <a:gd name="connsiteX36467" fmla="*/ 7885802 w 10505529"/>
              <a:gd name="connsiteY36467" fmla="*/ 1314801 h 7458372"/>
              <a:gd name="connsiteX36468" fmla="*/ 7891924 w 10505529"/>
              <a:gd name="connsiteY36468" fmla="*/ 1324111 h 7458372"/>
              <a:gd name="connsiteX36469" fmla="*/ 7894188 w 10505529"/>
              <a:gd name="connsiteY36469" fmla="*/ 1335564 h 7458372"/>
              <a:gd name="connsiteX36470" fmla="*/ 7891924 w 10505529"/>
              <a:gd name="connsiteY36470" fmla="*/ 1347279 h 7458372"/>
              <a:gd name="connsiteX36471" fmla="*/ 7885802 w 10505529"/>
              <a:gd name="connsiteY36471" fmla="*/ 1356599 h 7458372"/>
              <a:gd name="connsiteX36472" fmla="*/ 7876483 w 10505529"/>
              <a:gd name="connsiteY36472" fmla="*/ 1362851 h 7458372"/>
              <a:gd name="connsiteX36473" fmla="*/ 7864636 w 10505529"/>
              <a:gd name="connsiteY36473" fmla="*/ 1365113 h 7458372"/>
              <a:gd name="connsiteX36474" fmla="*/ 7842803 w 10505529"/>
              <a:gd name="connsiteY36474" fmla="*/ 1356599 h 7458372"/>
              <a:gd name="connsiteX36475" fmla="*/ 7834417 w 10505529"/>
              <a:gd name="connsiteY36475" fmla="*/ 1335427 h 7458372"/>
              <a:gd name="connsiteX36476" fmla="*/ 7842803 w 10505529"/>
              <a:gd name="connsiteY36476" fmla="*/ 1314393 h 7458372"/>
              <a:gd name="connsiteX36477" fmla="*/ 7864636 w 10505529"/>
              <a:gd name="connsiteY36477" fmla="*/ 1305741 h 7458372"/>
              <a:gd name="connsiteX36478" fmla="*/ 7646991 w 10505529"/>
              <a:gd name="connsiteY36478" fmla="*/ 1305741 h 7458372"/>
              <a:gd name="connsiteX36479" fmla="*/ 7658705 w 10505529"/>
              <a:gd name="connsiteY36479" fmla="*/ 1308407 h 7458372"/>
              <a:gd name="connsiteX36480" fmla="*/ 7668022 w 10505529"/>
              <a:gd name="connsiteY36480" fmla="*/ 1314801 h 7458372"/>
              <a:gd name="connsiteX36481" fmla="*/ 7674146 w 10505529"/>
              <a:gd name="connsiteY36481" fmla="*/ 1324111 h 7458372"/>
              <a:gd name="connsiteX36482" fmla="*/ 7676409 w 10505529"/>
              <a:gd name="connsiteY36482" fmla="*/ 1335564 h 7458372"/>
              <a:gd name="connsiteX36483" fmla="*/ 7674146 w 10505529"/>
              <a:gd name="connsiteY36483" fmla="*/ 1347279 h 7458372"/>
              <a:gd name="connsiteX36484" fmla="*/ 7668022 w 10505529"/>
              <a:gd name="connsiteY36484" fmla="*/ 1356599 h 7458372"/>
              <a:gd name="connsiteX36485" fmla="*/ 7658705 w 10505529"/>
              <a:gd name="connsiteY36485" fmla="*/ 1362851 h 7458372"/>
              <a:gd name="connsiteX36486" fmla="*/ 7646991 w 10505529"/>
              <a:gd name="connsiteY36486" fmla="*/ 1365113 h 7458372"/>
              <a:gd name="connsiteX36487" fmla="*/ 7625158 w 10505529"/>
              <a:gd name="connsiteY36487" fmla="*/ 1356599 h 7458372"/>
              <a:gd name="connsiteX36488" fmla="*/ 7616772 w 10505529"/>
              <a:gd name="connsiteY36488" fmla="*/ 1335427 h 7458372"/>
              <a:gd name="connsiteX36489" fmla="*/ 7625158 w 10505529"/>
              <a:gd name="connsiteY36489" fmla="*/ 1314393 h 7458372"/>
              <a:gd name="connsiteX36490" fmla="*/ 7646991 w 10505529"/>
              <a:gd name="connsiteY36490" fmla="*/ 1305741 h 7458372"/>
              <a:gd name="connsiteX36491" fmla="*/ 7429345 w 10505529"/>
              <a:gd name="connsiteY36491" fmla="*/ 1305741 h 7458372"/>
              <a:gd name="connsiteX36492" fmla="*/ 7441059 w 10505529"/>
              <a:gd name="connsiteY36492" fmla="*/ 1308407 h 7458372"/>
              <a:gd name="connsiteX36493" fmla="*/ 7450377 w 10505529"/>
              <a:gd name="connsiteY36493" fmla="*/ 1314801 h 7458372"/>
              <a:gd name="connsiteX36494" fmla="*/ 7456501 w 10505529"/>
              <a:gd name="connsiteY36494" fmla="*/ 1324111 h 7458372"/>
              <a:gd name="connsiteX36495" fmla="*/ 7458764 w 10505529"/>
              <a:gd name="connsiteY36495" fmla="*/ 1335564 h 7458372"/>
              <a:gd name="connsiteX36496" fmla="*/ 7456501 w 10505529"/>
              <a:gd name="connsiteY36496" fmla="*/ 1347279 h 7458372"/>
              <a:gd name="connsiteX36497" fmla="*/ 7450377 w 10505529"/>
              <a:gd name="connsiteY36497" fmla="*/ 1356599 h 7458372"/>
              <a:gd name="connsiteX36498" fmla="*/ 7441059 w 10505529"/>
              <a:gd name="connsiteY36498" fmla="*/ 1362851 h 7458372"/>
              <a:gd name="connsiteX36499" fmla="*/ 7429345 w 10505529"/>
              <a:gd name="connsiteY36499" fmla="*/ 1365113 h 7458372"/>
              <a:gd name="connsiteX36500" fmla="*/ 7407513 w 10505529"/>
              <a:gd name="connsiteY36500" fmla="*/ 1356599 h 7458372"/>
              <a:gd name="connsiteX36501" fmla="*/ 7399127 w 10505529"/>
              <a:gd name="connsiteY36501" fmla="*/ 1335427 h 7458372"/>
              <a:gd name="connsiteX36502" fmla="*/ 7407513 w 10505529"/>
              <a:gd name="connsiteY36502" fmla="*/ 1314393 h 7458372"/>
              <a:gd name="connsiteX36503" fmla="*/ 7429345 w 10505529"/>
              <a:gd name="connsiteY36503" fmla="*/ 1305741 h 7458372"/>
              <a:gd name="connsiteX36504" fmla="*/ 7211701 w 10505529"/>
              <a:gd name="connsiteY36504" fmla="*/ 1305741 h 7458372"/>
              <a:gd name="connsiteX36505" fmla="*/ 7223415 w 10505529"/>
              <a:gd name="connsiteY36505" fmla="*/ 1308407 h 7458372"/>
              <a:gd name="connsiteX36506" fmla="*/ 7232733 w 10505529"/>
              <a:gd name="connsiteY36506" fmla="*/ 1314801 h 7458372"/>
              <a:gd name="connsiteX36507" fmla="*/ 7238856 w 10505529"/>
              <a:gd name="connsiteY36507" fmla="*/ 1324111 h 7458372"/>
              <a:gd name="connsiteX36508" fmla="*/ 7241120 w 10505529"/>
              <a:gd name="connsiteY36508" fmla="*/ 1335564 h 7458372"/>
              <a:gd name="connsiteX36509" fmla="*/ 7238856 w 10505529"/>
              <a:gd name="connsiteY36509" fmla="*/ 1347279 h 7458372"/>
              <a:gd name="connsiteX36510" fmla="*/ 7232733 w 10505529"/>
              <a:gd name="connsiteY36510" fmla="*/ 1356599 h 7458372"/>
              <a:gd name="connsiteX36511" fmla="*/ 7223415 w 10505529"/>
              <a:gd name="connsiteY36511" fmla="*/ 1362851 h 7458372"/>
              <a:gd name="connsiteX36512" fmla="*/ 7211701 w 10505529"/>
              <a:gd name="connsiteY36512" fmla="*/ 1365113 h 7458372"/>
              <a:gd name="connsiteX36513" fmla="*/ 7189868 w 10505529"/>
              <a:gd name="connsiteY36513" fmla="*/ 1356599 h 7458372"/>
              <a:gd name="connsiteX36514" fmla="*/ 7181482 w 10505529"/>
              <a:gd name="connsiteY36514" fmla="*/ 1335427 h 7458372"/>
              <a:gd name="connsiteX36515" fmla="*/ 7189868 w 10505529"/>
              <a:gd name="connsiteY36515" fmla="*/ 1314393 h 7458372"/>
              <a:gd name="connsiteX36516" fmla="*/ 7211701 w 10505529"/>
              <a:gd name="connsiteY36516" fmla="*/ 1305741 h 7458372"/>
              <a:gd name="connsiteX36517" fmla="*/ 6994056 w 10505529"/>
              <a:gd name="connsiteY36517" fmla="*/ 1305741 h 7458372"/>
              <a:gd name="connsiteX36518" fmla="*/ 7005769 w 10505529"/>
              <a:gd name="connsiteY36518" fmla="*/ 1308407 h 7458372"/>
              <a:gd name="connsiteX36519" fmla="*/ 7015087 w 10505529"/>
              <a:gd name="connsiteY36519" fmla="*/ 1314801 h 7458372"/>
              <a:gd name="connsiteX36520" fmla="*/ 7021211 w 10505529"/>
              <a:gd name="connsiteY36520" fmla="*/ 1324111 h 7458372"/>
              <a:gd name="connsiteX36521" fmla="*/ 7023474 w 10505529"/>
              <a:gd name="connsiteY36521" fmla="*/ 1335564 h 7458372"/>
              <a:gd name="connsiteX36522" fmla="*/ 7021211 w 10505529"/>
              <a:gd name="connsiteY36522" fmla="*/ 1347279 h 7458372"/>
              <a:gd name="connsiteX36523" fmla="*/ 7015087 w 10505529"/>
              <a:gd name="connsiteY36523" fmla="*/ 1356599 h 7458372"/>
              <a:gd name="connsiteX36524" fmla="*/ 7005769 w 10505529"/>
              <a:gd name="connsiteY36524" fmla="*/ 1362851 h 7458372"/>
              <a:gd name="connsiteX36525" fmla="*/ 6994056 w 10505529"/>
              <a:gd name="connsiteY36525" fmla="*/ 1365113 h 7458372"/>
              <a:gd name="connsiteX36526" fmla="*/ 6972223 w 10505529"/>
              <a:gd name="connsiteY36526" fmla="*/ 1356599 h 7458372"/>
              <a:gd name="connsiteX36527" fmla="*/ 6963837 w 10505529"/>
              <a:gd name="connsiteY36527" fmla="*/ 1335427 h 7458372"/>
              <a:gd name="connsiteX36528" fmla="*/ 6972223 w 10505529"/>
              <a:gd name="connsiteY36528" fmla="*/ 1314393 h 7458372"/>
              <a:gd name="connsiteX36529" fmla="*/ 6994056 w 10505529"/>
              <a:gd name="connsiteY36529" fmla="*/ 1305741 h 7458372"/>
              <a:gd name="connsiteX36530" fmla="*/ 6776544 w 10505529"/>
              <a:gd name="connsiteY36530" fmla="*/ 1305741 h 7458372"/>
              <a:gd name="connsiteX36531" fmla="*/ 6788258 w 10505529"/>
              <a:gd name="connsiteY36531" fmla="*/ 1308407 h 7458372"/>
              <a:gd name="connsiteX36532" fmla="*/ 6797576 w 10505529"/>
              <a:gd name="connsiteY36532" fmla="*/ 1314801 h 7458372"/>
              <a:gd name="connsiteX36533" fmla="*/ 6803699 w 10505529"/>
              <a:gd name="connsiteY36533" fmla="*/ 1324111 h 7458372"/>
              <a:gd name="connsiteX36534" fmla="*/ 6805963 w 10505529"/>
              <a:gd name="connsiteY36534" fmla="*/ 1335564 h 7458372"/>
              <a:gd name="connsiteX36535" fmla="*/ 6803699 w 10505529"/>
              <a:gd name="connsiteY36535" fmla="*/ 1347279 h 7458372"/>
              <a:gd name="connsiteX36536" fmla="*/ 6797576 w 10505529"/>
              <a:gd name="connsiteY36536" fmla="*/ 1356599 h 7458372"/>
              <a:gd name="connsiteX36537" fmla="*/ 6788258 w 10505529"/>
              <a:gd name="connsiteY36537" fmla="*/ 1362851 h 7458372"/>
              <a:gd name="connsiteX36538" fmla="*/ 6776544 w 10505529"/>
              <a:gd name="connsiteY36538" fmla="*/ 1365113 h 7458372"/>
              <a:gd name="connsiteX36539" fmla="*/ 6754711 w 10505529"/>
              <a:gd name="connsiteY36539" fmla="*/ 1356599 h 7458372"/>
              <a:gd name="connsiteX36540" fmla="*/ 6746325 w 10505529"/>
              <a:gd name="connsiteY36540" fmla="*/ 1335427 h 7458372"/>
              <a:gd name="connsiteX36541" fmla="*/ 6754711 w 10505529"/>
              <a:gd name="connsiteY36541" fmla="*/ 1314393 h 7458372"/>
              <a:gd name="connsiteX36542" fmla="*/ 6776544 w 10505529"/>
              <a:gd name="connsiteY36542" fmla="*/ 1305741 h 7458372"/>
              <a:gd name="connsiteX36543" fmla="*/ 6558899 w 10505529"/>
              <a:gd name="connsiteY36543" fmla="*/ 1305741 h 7458372"/>
              <a:gd name="connsiteX36544" fmla="*/ 6570612 w 10505529"/>
              <a:gd name="connsiteY36544" fmla="*/ 1308407 h 7458372"/>
              <a:gd name="connsiteX36545" fmla="*/ 6579930 w 10505529"/>
              <a:gd name="connsiteY36545" fmla="*/ 1314801 h 7458372"/>
              <a:gd name="connsiteX36546" fmla="*/ 6586054 w 10505529"/>
              <a:gd name="connsiteY36546" fmla="*/ 1324111 h 7458372"/>
              <a:gd name="connsiteX36547" fmla="*/ 6588317 w 10505529"/>
              <a:gd name="connsiteY36547" fmla="*/ 1335564 h 7458372"/>
              <a:gd name="connsiteX36548" fmla="*/ 6586054 w 10505529"/>
              <a:gd name="connsiteY36548" fmla="*/ 1347279 h 7458372"/>
              <a:gd name="connsiteX36549" fmla="*/ 6579930 w 10505529"/>
              <a:gd name="connsiteY36549" fmla="*/ 1356599 h 7458372"/>
              <a:gd name="connsiteX36550" fmla="*/ 6570612 w 10505529"/>
              <a:gd name="connsiteY36550" fmla="*/ 1362851 h 7458372"/>
              <a:gd name="connsiteX36551" fmla="*/ 6558899 w 10505529"/>
              <a:gd name="connsiteY36551" fmla="*/ 1365113 h 7458372"/>
              <a:gd name="connsiteX36552" fmla="*/ 6537066 w 10505529"/>
              <a:gd name="connsiteY36552" fmla="*/ 1356599 h 7458372"/>
              <a:gd name="connsiteX36553" fmla="*/ 6528680 w 10505529"/>
              <a:gd name="connsiteY36553" fmla="*/ 1335427 h 7458372"/>
              <a:gd name="connsiteX36554" fmla="*/ 6537066 w 10505529"/>
              <a:gd name="connsiteY36554" fmla="*/ 1314393 h 7458372"/>
              <a:gd name="connsiteX36555" fmla="*/ 6558899 w 10505529"/>
              <a:gd name="connsiteY36555" fmla="*/ 1305741 h 7458372"/>
              <a:gd name="connsiteX36556" fmla="*/ 6341253 w 10505529"/>
              <a:gd name="connsiteY36556" fmla="*/ 1305741 h 7458372"/>
              <a:gd name="connsiteX36557" fmla="*/ 6352968 w 10505529"/>
              <a:gd name="connsiteY36557" fmla="*/ 1308407 h 7458372"/>
              <a:gd name="connsiteX36558" fmla="*/ 6362286 w 10505529"/>
              <a:gd name="connsiteY36558" fmla="*/ 1314801 h 7458372"/>
              <a:gd name="connsiteX36559" fmla="*/ 6368409 w 10505529"/>
              <a:gd name="connsiteY36559" fmla="*/ 1324111 h 7458372"/>
              <a:gd name="connsiteX36560" fmla="*/ 6370672 w 10505529"/>
              <a:gd name="connsiteY36560" fmla="*/ 1335564 h 7458372"/>
              <a:gd name="connsiteX36561" fmla="*/ 6368409 w 10505529"/>
              <a:gd name="connsiteY36561" fmla="*/ 1347279 h 7458372"/>
              <a:gd name="connsiteX36562" fmla="*/ 6362286 w 10505529"/>
              <a:gd name="connsiteY36562" fmla="*/ 1356599 h 7458372"/>
              <a:gd name="connsiteX36563" fmla="*/ 6352968 w 10505529"/>
              <a:gd name="connsiteY36563" fmla="*/ 1362851 h 7458372"/>
              <a:gd name="connsiteX36564" fmla="*/ 6341253 w 10505529"/>
              <a:gd name="connsiteY36564" fmla="*/ 1365113 h 7458372"/>
              <a:gd name="connsiteX36565" fmla="*/ 6319421 w 10505529"/>
              <a:gd name="connsiteY36565" fmla="*/ 1356599 h 7458372"/>
              <a:gd name="connsiteX36566" fmla="*/ 6311035 w 10505529"/>
              <a:gd name="connsiteY36566" fmla="*/ 1335427 h 7458372"/>
              <a:gd name="connsiteX36567" fmla="*/ 6319421 w 10505529"/>
              <a:gd name="connsiteY36567" fmla="*/ 1314393 h 7458372"/>
              <a:gd name="connsiteX36568" fmla="*/ 6341253 w 10505529"/>
              <a:gd name="connsiteY36568" fmla="*/ 1305741 h 7458372"/>
              <a:gd name="connsiteX36569" fmla="*/ 6123608 w 10505529"/>
              <a:gd name="connsiteY36569" fmla="*/ 1305741 h 7458372"/>
              <a:gd name="connsiteX36570" fmla="*/ 6135322 w 10505529"/>
              <a:gd name="connsiteY36570" fmla="*/ 1308407 h 7458372"/>
              <a:gd name="connsiteX36571" fmla="*/ 6144640 w 10505529"/>
              <a:gd name="connsiteY36571" fmla="*/ 1314801 h 7458372"/>
              <a:gd name="connsiteX36572" fmla="*/ 6150763 w 10505529"/>
              <a:gd name="connsiteY36572" fmla="*/ 1324111 h 7458372"/>
              <a:gd name="connsiteX36573" fmla="*/ 6153026 w 10505529"/>
              <a:gd name="connsiteY36573" fmla="*/ 1335564 h 7458372"/>
              <a:gd name="connsiteX36574" fmla="*/ 6150763 w 10505529"/>
              <a:gd name="connsiteY36574" fmla="*/ 1347279 h 7458372"/>
              <a:gd name="connsiteX36575" fmla="*/ 6144640 w 10505529"/>
              <a:gd name="connsiteY36575" fmla="*/ 1356599 h 7458372"/>
              <a:gd name="connsiteX36576" fmla="*/ 6135322 w 10505529"/>
              <a:gd name="connsiteY36576" fmla="*/ 1362851 h 7458372"/>
              <a:gd name="connsiteX36577" fmla="*/ 6123608 w 10505529"/>
              <a:gd name="connsiteY36577" fmla="*/ 1365113 h 7458372"/>
              <a:gd name="connsiteX36578" fmla="*/ 6101775 w 10505529"/>
              <a:gd name="connsiteY36578" fmla="*/ 1356599 h 7458372"/>
              <a:gd name="connsiteX36579" fmla="*/ 6093389 w 10505529"/>
              <a:gd name="connsiteY36579" fmla="*/ 1335427 h 7458372"/>
              <a:gd name="connsiteX36580" fmla="*/ 6101775 w 10505529"/>
              <a:gd name="connsiteY36580" fmla="*/ 1314393 h 7458372"/>
              <a:gd name="connsiteX36581" fmla="*/ 6123608 w 10505529"/>
              <a:gd name="connsiteY36581" fmla="*/ 1305741 h 7458372"/>
              <a:gd name="connsiteX36582" fmla="*/ 5905963 w 10505529"/>
              <a:gd name="connsiteY36582" fmla="*/ 1305741 h 7458372"/>
              <a:gd name="connsiteX36583" fmla="*/ 5917677 w 10505529"/>
              <a:gd name="connsiteY36583" fmla="*/ 1308407 h 7458372"/>
              <a:gd name="connsiteX36584" fmla="*/ 5926995 w 10505529"/>
              <a:gd name="connsiteY36584" fmla="*/ 1314801 h 7458372"/>
              <a:gd name="connsiteX36585" fmla="*/ 5933118 w 10505529"/>
              <a:gd name="connsiteY36585" fmla="*/ 1324111 h 7458372"/>
              <a:gd name="connsiteX36586" fmla="*/ 5935381 w 10505529"/>
              <a:gd name="connsiteY36586" fmla="*/ 1335564 h 7458372"/>
              <a:gd name="connsiteX36587" fmla="*/ 5933118 w 10505529"/>
              <a:gd name="connsiteY36587" fmla="*/ 1347279 h 7458372"/>
              <a:gd name="connsiteX36588" fmla="*/ 5926995 w 10505529"/>
              <a:gd name="connsiteY36588" fmla="*/ 1356599 h 7458372"/>
              <a:gd name="connsiteX36589" fmla="*/ 5917677 w 10505529"/>
              <a:gd name="connsiteY36589" fmla="*/ 1362851 h 7458372"/>
              <a:gd name="connsiteX36590" fmla="*/ 5905963 w 10505529"/>
              <a:gd name="connsiteY36590" fmla="*/ 1365113 h 7458372"/>
              <a:gd name="connsiteX36591" fmla="*/ 5884130 w 10505529"/>
              <a:gd name="connsiteY36591" fmla="*/ 1356599 h 7458372"/>
              <a:gd name="connsiteX36592" fmla="*/ 5875744 w 10505529"/>
              <a:gd name="connsiteY36592" fmla="*/ 1335427 h 7458372"/>
              <a:gd name="connsiteX36593" fmla="*/ 5884130 w 10505529"/>
              <a:gd name="connsiteY36593" fmla="*/ 1314393 h 7458372"/>
              <a:gd name="connsiteX36594" fmla="*/ 5905963 w 10505529"/>
              <a:gd name="connsiteY36594" fmla="*/ 1305741 h 7458372"/>
              <a:gd name="connsiteX36595" fmla="*/ 5688451 w 10505529"/>
              <a:gd name="connsiteY36595" fmla="*/ 1305741 h 7458372"/>
              <a:gd name="connsiteX36596" fmla="*/ 5700165 w 10505529"/>
              <a:gd name="connsiteY36596" fmla="*/ 1308407 h 7458372"/>
              <a:gd name="connsiteX36597" fmla="*/ 5709483 w 10505529"/>
              <a:gd name="connsiteY36597" fmla="*/ 1314801 h 7458372"/>
              <a:gd name="connsiteX36598" fmla="*/ 5715606 w 10505529"/>
              <a:gd name="connsiteY36598" fmla="*/ 1324111 h 7458372"/>
              <a:gd name="connsiteX36599" fmla="*/ 5717869 w 10505529"/>
              <a:gd name="connsiteY36599" fmla="*/ 1335564 h 7458372"/>
              <a:gd name="connsiteX36600" fmla="*/ 5715606 w 10505529"/>
              <a:gd name="connsiteY36600" fmla="*/ 1347279 h 7458372"/>
              <a:gd name="connsiteX36601" fmla="*/ 5709483 w 10505529"/>
              <a:gd name="connsiteY36601" fmla="*/ 1356599 h 7458372"/>
              <a:gd name="connsiteX36602" fmla="*/ 5700165 w 10505529"/>
              <a:gd name="connsiteY36602" fmla="*/ 1362851 h 7458372"/>
              <a:gd name="connsiteX36603" fmla="*/ 5688451 w 10505529"/>
              <a:gd name="connsiteY36603" fmla="*/ 1365113 h 7458372"/>
              <a:gd name="connsiteX36604" fmla="*/ 5666618 w 10505529"/>
              <a:gd name="connsiteY36604" fmla="*/ 1356599 h 7458372"/>
              <a:gd name="connsiteX36605" fmla="*/ 5658232 w 10505529"/>
              <a:gd name="connsiteY36605" fmla="*/ 1335427 h 7458372"/>
              <a:gd name="connsiteX36606" fmla="*/ 5666618 w 10505529"/>
              <a:gd name="connsiteY36606" fmla="*/ 1314393 h 7458372"/>
              <a:gd name="connsiteX36607" fmla="*/ 5688451 w 10505529"/>
              <a:gd name="connsiteY36607" fmla="*/ 1305741 h 7458372"/>
              <a:gd name="connsiteX36608" fmla="*/ 5470806 w 10505529"/>
              <a:gd name="connsiteY36608" fmla="*/ 1305741 h 7458372"/>
              <a:gd name="connsiteX36609" fmla="*/ 5482520 w 10505529"/>
              <a:gd name="connsiteY36609" fmla="*/ 1308407 h 7458372"/>
              <a:gd name="connsiteX36610" fmla="*/ 5491838 w 10505529"/>
              <a:gd name="connsiteY36610" fmla="*/ 1314801 h 7458372"/>
              <a:gd name="connsiteX36611" fmla="*/ 5497961 w 10505529"/>
              <a:gd name="connsiteY36611" fmla="*/ 1324111 h 7458372"/>
              <a:gd name="connsiteX36612" fmla="*/ 5500224 w 10505529"/>
              <a:gd name="connsiteY36612" fmla="*/ 1335564 h 7458372"/>
              <a:gd name="connsiteX36613" fmla="*/ 5497961 w 10505529"/>
              <a:gd name="connsiteY36613" fmla="*/ 1347279 h 7458372"/>
              <a:gd name="connsiteX36614" fmla="*/ 5491838 w 10505529"/>
              <a:gd name="connsiteY36614" fmla="*/ 1356599 h 7458372"/>
              <a:gd name="connsiteX36615" fmla="*/ 5482520 w 10505529"/>
              <a:gd name="connsiteY36615" fmla="*/ 1362851 h 7458372"/>
              <a:gd name="connsiteX36616" fmla="*/ 5470806 w 10505529"/>
              <a:gd name="connsiteY36616" fmla="*/ 1365113 h 7458372"/>
              <a:gd name="connsiteX36617" fmla="*/ 5448973 w 10505529"/>
              <a:gd name="connsiteY36617" fmla="*/ 1356599 h 7458372"/>
              <a:gd name="connsiteX36618" fmla="*/ 5440587 w 10505529"/>
              <a:gd name="connsiteY36618" fmla="*/ 1335427 h 7458372"/>
              <a:gd name="connsiteX36619" fmla="*/ 5448973 w 10505529"/>
              <a:gd name="connsiteY36619" fmla="*/ 1314393 h 7458372"/>
              <a:gd name="connsiteX36620" fmla="*/ 5470806 w 10505529"/>
              <a:gd name="connsiteY36620" fmla="*/ 1305741 h 7458372"/>
              <a:gd name="connsiteX36621" fmla="*/ 5253160 w 10505529"/>
              <a:gd name="connsiteY36621" fmla="*/ 1305741 h 7458372"/>
              <a:gd name="connsiteX36622" fmla="*/ 5264875 w 10505529"/>
              <a:gd name="connsiteY36622" fmla="*/ 1308407 h 7458372"/>
              <a:gd name="connsiteX36623" fmla="*/ 5274192 w 10505529"/>
              <a:gd name="connsiteY36623" fmla="*/ 1314801 h 7458372"/>
              <a:gd name="connsiteX36624" fmla="*/ 5280316 w 10505529"/>
              <a:gd name="connsiteY36624" fmla="*/ 1324111 h 7458372"/>
              <a:gd name="connsiteX36625" fmla="*/ 5282579 w 10505529"/>
              <a:gd name="connsiteY36625" fmla="*/ 1335564 h 7458372"/>
              <a:gd name="connsiteX36626" fmla="*/ 5280316 w 10505529"/>
              <a:gd name="connsiteY36626" fmla="*/ 1347279 h 7458372"/>
              <a:gd name="connsiteX36627" fmla="*/ 5274192 w 10505529"/>
              <a:gd name="connsiteY36627" fmla="*/ 1356599 h 7458372"/>
              <a:gd name="connsiteX36628" fmla="*/ 5264875 w 10505529"/>
              <a:gd name="connsiteY36628" fmla="*/ 1362851 h 7458372"/>
              <a:gd name="connsiteX36629" fmla="*/ 5253160 w 10505529"/>
              <a:gd name="connsiteY36629" fmla="*/ 1365113 h 7458372"/>
              <a:gd name="connsiteX36630" fmla="*/ 5231328 w 10505529"/>
              <a:gd name="connsiteY36630" fmla="*/ 1356599 h 7458372"/>
              <a:gd name="connsiteX36631" fmla="*/ 5222942 w 10505529"/>
              <a:gd name="connsiteY36631" fmla="*/ 1335427 h 7458372"/>
              <a:gd name="connsiteX36632" fmla="*/ 5231328 w 10505529"/>
              <a:gd name="connsiteY36632" fmla="*/ 1314393 h 7458372"/>
              <a:gd name="connsiteX36633" fmla="*/ 5253160 w 10505529"/>
              <a:gd name="connsiteY36633" fmla="*/ 1305741 h 7458372"/>
              <a:gd name="connsiteX36634" fmla="*/ 5035515 w 10505529"/>
              <a:gd name="connsiteY36634" fmla="*/ 1305741 h 7458372"/>
              <a:gd name="connsiteX36635" fmla="*/ 5047230 w 10505529"/>
              <a:gd name="connsiteY36635" fmla="*/ 1308407 h 7458372"/>
              <a:gd name="connsiteX36636" fmla="*/ 5056548 w 10505529"/>
              <a:gd name="connsiteY36636" fmla="*/ 1314801 h 7458372"/>
              <a:gd name="connsiteX36637" fmla="*/ 5062671 w 10505529"/>
              <a:gd name="connsiteY36637" fmla="*/ 1324111 h 7458372"/>
              <a:gd name="connsiteX36638" fmla="*/ 5064934 w 10505529"/>
              <a:gd name="connsiteY36638" fmla="*/ 1335564 h 7458372"/>
              <a:gd name="connsiteX36639" fmla="*/ 5062671 w 10505529"/>
              <a:gd name="connsiteY36639" fmla="*/ 1347279 h 7458372"/>
              <a:gd name="connsiteX36640" fmla="*/ 5056548 w 10505529"/>
              <a:gd name="connsiteY36640" fmla="*/ 1356599 h 7458372"/>
              <a:gd name="connsiteX36641" fmla="*/ 5047230 w 10505529"/>
              <a:gd name="connsiteY36641" fmla="*/ 1362851 h 7458372"/>
              <a:gd name="connsiteX36642" fmla="*/ 5035515 w 10505529"/>
              <a:gd name="connsiteY36642" fmla="*/ 1365113 h 7458372"/>
              <a:gd name="connsiteX36643" fmla="*/ 5013683 w 10505529"/>
              <a:gd name="connsiteY36643" fmla="*/ 1356599 h 7458372"/>
              <a:gd name="connsiteX36644" fmla="*/ 5005297 w 10505529"/>
              <a:gd name="connsiteY36644" fmla="*/ 1335427 h 7458372"/>
              <a:gd name="connsiteX36645" fmla="*/ 5013683 w 10505529"/>
              <a:gd name="connsiteY36645" fmla="*/ 1314393 h 7458372"/>
              <a:gd name="connsiteX36646" fmla="*/ 5035515 w 10505529"/>
              <a:gd name="connsiteY36646" fmla="*/ 1305741 h 7458372"/>
              <a:gd name="connsiteX36647" fmla="*/ 4817870 w 10505529"/>
              <a:gd name="connsiteY36647" fmla="*/ 1305741 h 7458372"/>
              <a:gd name="connsiteX36648" fmla="*/ 4829585 w 10505529"/>
              <a:gd name="connsiteY36648" fmla="*/ 1308407 h 7458372"/>
              <a:gd name="connsiteX36649" fmla="*/ 4838903 w 10505529"/>
              <a:gd name="connsiteY36649" fmla="*/ 1314801 h 7458372"/>
              <a:gd name="connsiteX36650" fmla="*/ 4845026 w 10505529"/>
              <a:gd name="connsiteY36650" fmla="*/ 1324111 h 7458372"/>
              <a:gd name="connsiteX36651" fmla="*/ 4847289 w 10505529"/>
              <a:gd name="connsiteY36651" fmla="*/ 1335564 h 7458372"/>
              <a:gd name="connsiteX36652" fmla="*/ 4845026 w 10505529"/>
              <a:gd name="connsiteY36652" fmla="*/ 1347279 h 7458372"/>
              <a:gd name="connsiteX36653" fmla="*/ 4838903 w 10505529"/>
              <a:gd name="connsiteY36653" fmla="*/ 1356599 h 7458372"/>
              <a:gd name="connsiteX36654" fmla="*/ 4829585 w 10505529"/>
              <a:gd name="connsiteY36654" fmla="*/ 1362851 h 7458372"/>
              <a:gd name="connsiteX36655" fmla="*/ 4817870 w 10505529"/>
              <a:gd name="connsiteY36655" fmla="*/ 1365113 h 7458372"/>
              <a:gd name="connsiteX36656" fmla="*/ 4796038 w 10505529"/>
              <a:gd name="connsiteY36656" fmla="*/ 1356599 h 7458372"/>
              <a:gd name="connsiteX36657" fmla="*/ 4787652 w 10505529"/>
              <a:gd name="connsiteY36657" fmla="*/ 1335427 h 7458372"/>
              <a:gd name="connsiteX36658" fmla="*/ 4796038 w 10505529"/>
              <a:gd name="connsiteY36658" fmla="*/ 1314393 h 7458372"/>
              <a:gd name="connsiteX36659" fmla="*/ 4817870 w 10505529"/>
              <a:gd name="connsiteY36659" fmla="*/ 1305741 h 7458372"/>
              <a:gd name="connsiteX36660" fmla="*/ 4600226 w 10505529"/>
              <a:gd name="connsiteY36660" fmla="*/ 1305741 h 7458372"/>
              <a:gd name="connsiteX36661" fmla="*/ 4612073 w 10505529"/>
              <a:gd name="connsiteY36661" fmla="*/ 1308407 h 7458372"/>
              <a:gd name="connsiteX36662" fmla="*/ 4621391 w 10505529"/>
              <a:gd name="connsiteY36662" fmla="*/ 1314801 h 7458372"/>
              <a:gd name="connsiteX36663" fmla="*/ 4627514 w 10505529"/>
              <a:gd name="connsiteY36663" fmla="*/ 1324111 h 7458372"/>
              <a:gd name="connsiteX36664" fmla="*/ 4629777 w 10505529"/>
              <a:gd name="connsiteY36664" fmla="*/ 1335564 h 7458372"/>
              <a:gd name="connsiteX36665" fmla="*/ 4627514 w 10505529"/>
              <a:gd name="connsiteY36665" fmla="*/ 1347279 h 7458372"/>
              <a:gd name="connsiteX36666" fmla="*/ 4621391 w 10505529"/>
              <a:gd name="connsiteY36666" fmla="*/ 1356599 h 7458372"/>
              <a:gd name="connsiteX36667" fmla="*/ 4612073 w 10505529"/>
              <a:gd name="connsiteY36667" fmla="*/ 1362851 h 7458372"/>
              <a:gd name="connsiteX36668" fmla="*/ 4600226 w 10505529"/>
              <a:gd name="connsiteY36668" fmla="*/ 1365113 h 7458372"/>
              <a:gd name="connsiteX36669" fmla="*/ 4578393 w 10505529"/>
              <a:gd name="connsiteY36669" fmla="*/ 1356599 h 7458372"/>
              <a:gd name="connsiteX36670" fmla="*/ 4570007 w 10505529"/>
              <a:gd name="connsiteY36670" fmla="*/ 1335427 h 7458372"/>
              <a:gd name="connsiteX36671" fmla="*/ 4578393 w 10505529"/>
              <a:gd name="connsiteY36671" fmla="*/ 1314393 h 7458372"/>
              <a:gd name="connsiteX36672" fmla="*/ 4600226 w 10505529"/>
              <a:gd name="connsiteY36672" fmla="*/ 1305741 h 7458372"/>
              <a:gd name="connsiteX36673" fmla="*/ 4382713 w 10505529"/>
              <a:gd name="connsiteY36673" fmla="*/ 1305741 h 7458372"/>
              <a:gd name="connsiteX36674" fmla="*/ 4394428 w 10505529"/>
              <a:gd name="connsiteY36674" fmla="*/ 1308407 h 7458372"/>
              <a:gd name="connsiteX36675" fmla="*/ 4403746 w 10505529"/>
              <a:gd name="connsiteY36675" fmla="*/ 1314801 h 7458372"/>
              <a:gd name="connsiteX36676" fmla="*/ 4409869 w 10505529"/>
              <a:gd name="connsiteY36676" fmla="*/ 1324111 h 7458372"/>
              <a:gd name="connsiteX36677" fmla="*/ 4412132 w 10505529"/>
              <a:gd name="connsiteY36677" fmla="*/ 1335564 h 7458372"/>
              <a:gd name="connsiteX36678" fmla="*/ 4409869 w 10505529"/>
              <a:gd name="connsiteY36678" fmla="*/ 1347279 h 7458372"/>
              <a:gd name="connsiteX36679" fmla="*/ 4403746 w 10505529"/>
              <a:gd name="connsiteY36679" fmla="*/ 1356599 h 7458372"/>
              <a:gd name="connsiteX36680" fmla="*/ 4394428 w 10505529"/>
              <a:gd name="connsiteY36680" fmla="*/ 1362851 h 7458372"/>
              <a:gd name="connsiteX36681" fmla="*/ 4382713 w 10505529"/>
              <a:gd name="connsiteY36681" fmla="*/ 1365113 h 7458372"/>
              <a:gd name="connsiteX36682" fmla="*/ 4360881 w 10505529"/>
              <a:gd name="connsiteY36682" fmla="*/ 1356599 h 7458372"/>
              <a:gd name="connsiteX36683" fmla="*/ 4352495 w 10505529"/>
              <a:gd name="connsiteY36683" fmla="*/ 1335427 h 7458372"/>
              <a:gd name="connsiteX36684" fmla="*/ 4360881 w 10505529"/>
              <a:gd name="connsiteY36684" fmla="*/ 1314393 h 7458372"/>
              <a:gd name="connsiteX36685" fmla="*/ 4382713 w 10505529"/>
              <a:gd name="connsiteY36685" fmla="*/ 1305741 h 7458372"/>
              <a:gd name="connsiteX36686" fmla="*/ 4165068 w 10505529"/>
              <a:gd name="connsiteY36686" fmla="*/ 1305741 h 7458372"/>
              <a:gd name="connsiteX36687" fmla="*/ 4176782 w 10505529"/>
              <a:gd name="connsiteY36687" fmla="*/ 1308407 h 7458372"/>
              <a:gd name="connsiteX36688" fmla="*/ 4186100 w 10505529"/>
              <a:gd name="connsiteY36688" fmla="*/ 1314801 h 7458372"/>
              <a:gd name="connsiteX36689" fmla="*/ 4192223 w 10505529"/>
              <a:gd name="connsiteY36689" fmla="*/ 1324111 h 7458372"/>
              <a:gd name="connsiteX36690" fmla="*/ 4194486 w 10505529"/>
              <a:gd name="connsiteY36690" fmla="*/ 1335564 h 7458372"/>
              <a:gd name="connsiteX36691" fmla="*/ 4192223 w 10505529"/>
              <a:gd name="connsiteY36691" fmla="*/ 1347279 h 7458372"/>
              <a:gd name="connsiteX36692" fmla="*/ 4186100 w 10505529"/>
              <a:gd name="connsiteY36692" fmla="*/ 1356599 h 7458372"/>
              <a:gd name="connsiteX36693" fmla="*/ 4176782 w 10505529"/>
              <a:gd name="connsiteY36693" fmla="*/ 1362851 h 7458372"/>
              <a:gd name="connsiteX36694" fmla="*/ 4165068 w 10505529"/>
              <a:gd name="connsiteY36694" fmla="*/ 1365113 h 7458372"/>
              <a:gd name="connsiteX36695" fmla="*/ 4143235 w 10505529"/>
              <a:gd name="connsiteY36695" fmla="*/ 1356599 h 7458372"/>
              <a:gd name="connsiteX36696" fmla="*/ 4134849 w 10505529"/>
              <a:gd name="connsiteY36696" fmla="*/ 1335427 h 7458372"/>
              <a:gd name="connsiteX36697" fmla="*/ 4143235 w 10505529"/>
              <a:gd name="connsiteY36697" fmla="*/ 1314393 h 7458372"/>
              <a:gd name="connsiteX36698" fmla="*/ 4165068 w 10505529"/>
              <a:gd name="connsiteY36698" fmla="*/ 1305741 h 7458372"/>
              <a:gd name="connsiteX36699" fmla="*/ 3947501 w 10505529"/>
              <a:gd name="connsiteY36699" fmla="*/ 1305741 h 7458372"/>
              <a:gd name="connsiteX36700" fmla="*/ 3959216 w 10505529"/>
              <a:gd name="connsiteY36700" fmla="*/ 1308407 h 7458372"/>
              <a:gd name="connsiteX36701" fmla="*/ 3968533 w 10505529"/>
              <a:gd name="connsiteY36701" fmla="*/ 1314801 h 7458372"/>
              <a:gd name="connsiteX36702" fmla="*/ 3974657 w 10505529"/>
              <a:gd name="connsiteY36702" fmla="*/ 1324111 h 7458372"/>
              <a:gd name="connsiteX36703" fmla="*/ 3976921 w 10505529"/>
              <a:gd name="connsiteY36703" fmla="*/ 1335564 h 7458372"/>
              <a:gd name="connsiteX36704" fmla="*/ 3974657 w 10505529"/>
              <a:gd name="connsiteY36704" fmla="*/ 1347279 h 7458372"/>
              <a:gd name="connsiteX36705" fmla="*/ 3968533 w 10505529"/>
              <a:gd name="connsiteY36705" fmla="*/ 1356599 h 7458372"/>
              <a:gd name="connsiteX36706" fmla="*/ 3959216 w 10505529"/>
              <a:gd name="connsiteY36706" fmla="*/ 1362851 h 7458372"/>
              <a:gd name="connsiteX36707" fmla="*/ 3947501 w 10505529"/>
              <a:gd name="connsiteY36707" fmla="*/ 1365113 h 7458372"/>
              <a:gd name="connsiteX36708" fmla="*/ 3925668 w 10505529"/>
              <a:gd name="connsiteY36708" fmla="*/ 1356599 h 7458372"/>
              <a:gd name="connsiteX36709" fmla="*/ 3917281 w 10505529"/>
              <a:gd name="connsiteY36709" fmla="*/ 1335427 h 7458372"/>
              <a:gd name="connsiteX36710" fmla="*/ 3925668 w 10505529"/>
              <a:gd name="connsiteY36710" fmla="*/ 1314393 h 7458372"/>
              <a:gd name="connsiteX36711" fmla="*/ 3947501 w 10505529"/>
              <a:gd name="connsiteY36711" fmla="*/ 1305741 h 7458372"/>
              <a:gd name="connsiteX36712" fmla="*/ 3729851 w 10505529"/>
              <a:gd name="connsiteY36712" fmla="*/ 1305741 h 7458372"/>
              <a:gd name="connsiteX36713" fmla="*/ 3741566 w 10505529"/>
              <a:gd name="connsiteY36713" fmla="*/ 1308407 h 7458372"/>
              <a:gd name="connsiteX36714" fmla="*/ 3750884 w 10505529"/>
              <a:gd name="connsiteY36714" fmla="*/ 1314801 h 7458372"/>
              <a:gd name="connsiteX36715" fmla="*/ 3757007 w 10505529"/>
              <a:gd name="connsiteY36715" fmla="*/ 1324111 h 7458372"/>
              <a:gd name="connsiteX36716" fmla="*/ 3759270 w 10505529"/>
              <a:gd name="connsiteY36716" fmla="*/ 1335564 h 7458372"/>
              <a:gd name="connsiteX36717" fmla="*/ 3757007 w 10505529"/>
              <a:gd name="connsiteY36717" fmla="*/ 1347279 h 7458372"/>
              <a:gd name="connsiteX36718" fmla="*/ 3750884 w 10505529"/>
              <a:gd name="connsiteY36718" fmla="*/ 1356599 h 7458372"/>
              <a:gd name="connsiteX36719" fmla="*/ 3741566 w 10505529"/>
              <a:gd name="connsiteY36719" fmla="*/ 1362851 h 7458372"/>
              <a:gd name="connsiteX36720" fmla="*/ 3729851 w 10505529"/>
              <a:gd name="connsiteY36720" fmla="*/ 1365113 h 7458372"/>
              <a:gd name="connsiteX36721" fmla="*/ 3708018 w 10505529"/>
              <a:gd name="connsiteY36721" fmla="*/ 1356599 h 7458372"/>
              <a:gd name="connsiteX36722" fmla="*/ 3699632 w 10505529"/>
              <a:gd name="connsiteY36722" fmla="*/ 1335427 h 7458372"/>
              <a:gd name="connsiteX36723" fmla="*/ 3708018 w 10505529"/>
              <a:gd name="connsiteY36723" fmla="*/ 1314393 h 7458372"/>
              <a:gd name="connsiteX36724" fmla="*/ 3729851 w 10505529"/>
              <a:gd name="connsiteY36724" fmla="*/ 1305741 h 7458372"/>
              <a:gd name="connsiteX36725" fmla="*/ 3512202 w 10505529"/>
              <a:gd name="connsiteY36725" fmla="*/ 1305741 h 7458372"/>
              <a:gd name="connsiteX36726" fmla="*/ 3523917 w 10505529"/>
              <a:gd name="connsiteY36726" fmla="*/ 1308407 h 7458372"/>
              <a:gd name="connsiteX36727" fmla="*/ 3533235 w 10505529"/>
              <a:gd name="connsiteY36727" fmla="*/ 1314801 h 7458372"/>
              <a:gd name="connsiteX36728" fmla="*/ 3539359 w 10505529"/>
              <a:gd name="connsiteY36728" fmla="*/ 1324111 h 7458372"/>
              <a:gd name="connsiteX36729" fmla="*/ 3541622 w 10505529"/>
              <a:gd name="connsiteY36729" fmla="*/ 1335564 h 7458372"/>
              <a:gd name="connsiteX36730" fmla="*/ 3539359 w 10505529"/>
              <a:gd name="connsiteY36730" fmla="*/ 1347279 h 7458372"/>
              <a:gd name="connsiteX36731" fmla="*/ 3533235 w 10505529"/>
              <a:gd name="connsiteY36731" fmla="*/ 1356599 h 7458372"/>
              <a:gd name="connsiteX36732" fmla="*/ 3523917 w 10505529"/>
              <a:gd name="connsiteY36732" fmla="*/ 1362851 h 7458372"/>
              <a:gd name="connsiteX36733" fmla="*/ 3512202 w 10505529"/>
              <a:gd name="connsiteY36733" fmla="*/ 1365113 h 7458372"/>
              <a:gd name="connsiteX36734" fmla="*/ 3490369 w 10505529"/>
              <a:gd name="connsiteY36734" fmla="*/ 1356599 h 7458372"/>
              <a:gd name="connsiteX36735" fmla="*/ 3481982 w 10505529"/>
              <a:gd name="connsiteY36735" fmla="*/ 1335427 h 7458372"/>
              <a:gd name="connsiteX36736" fmla="*/ 3490369 w 10505529"/>
              <a:gd name="connsiteY36736" fmla="*/ 1314393 h 7458372"/>
              <a:gd name="connsiteX36737" fmla="*/ 3512202 w 10505529"/>
              <a:gd name="connsiteY36737" fmla="*/ 1305741 h 7458372"/>
              <a:gd name="connsiteX36738" fmla="*/ 3294686 w 10505529"/>
              <a:gd name="connsiteY36738" fmla="*/ 1305741 h 7458372"/>
              <a:gd name="connsiteX36739" fmla="*/ 3306401 w 10505529"/>
              <a:gd name="connsiteY36739" fmla="*/ 1308407 h 7458372"/>
              <a:gd name="connsiteX36740" fmla="*/ 3315719 w 10505529"/>
              <a:gd name="connsiteY36740" fmla="*/ 1314801 h 7458372"/>
              <a:gd name="connsiteX36741" fmla="*/ 3321843 w 10505529"/>
              <a:gd name="connsiteY36741" fmla="*/ 1324111 h 7458372"/>
              <a:gd name="connsiteX36742" fmla="*/ 3324106 w 10505529"/>
              <a:gd name="connsiteY36742" fmla="*/ 1335564 h 7458372"/>
              <a:gd name="connsiteX36743" fmla="*/ 3321843 w 10505529"/>
              <a:gd name="connsiteY36743" fmla="*/ 1347279 h 7458372"/>
              <a:gd name="connsiteX36744" fmla="*/ 3315719 w 10505529"/>
              <a:gd name="connsiteY36744" fmla="*/ 1356599 h 7458372"/>
              <a:gd name="connsiteX36745" fmla="*/ 3306401 w 10505529"/>
              <a:gd name="connsiteY36745" fmla="*/ 1362851 h 7458372"/>
              <a:gd name="connsiteX36746" fmla="*/ 3294686 w 10505529"/>
              <a:gd name="connsiteY36746" fmla="*/ 1365113 h 7458372"/>
              <a:gd name="connsiteX36747" fmla="*/ 3272853 w 10505529"/>
              <a:gd name="connsiteY36747" fmla="*/ 1356599 h 7458372"/>
              <a:gd name="connsiteX36748" fmla="*/ 3264467 w 10505529"/>
              <a:gd name="connsiteY36748" fmla="*/ 1335427 h 7458372"/>
              <a:gd name="connsiteX36749" fmla="*/ 3272853 w 10505529"/>
              <a:gd name="connsiteY36749" fmla="*/ 1314393 h 7458372"/>
              <a:gd name="connsiteX36750" fmla="*/ 3294686 w 10505529"/>
              <a:gd name="connsiteY36750" fmla="*/ 1305741 h 7458372"/>
              <a:gd name="connsiteX36751" fmla="*/ 3077037 w 10505529"/>
              <a:gd name="connsiteY36751" fmla="*/ 1305741 h 7458372"/>
              <a:gd name="connsiteX36752" fmla="*/ 3088752 w 10505529"/>
              <a:gd name="connsiteY36752" fmla="*/ 1308407 h 7458372"/>
              <a:gd name="connsiteX36753" fmla="*/ 3098070 w 10505529"/>
              <a:gd name="connsiteY36753" fmla="*/ 1314801 h 7458372"/>
              <a:gd name="connsiteX36754" fmla="*/ 3104194 w 10505529"/>
              <a:gd name="connsiteY36754" fmla="*/ 1324111 h 7458372"/>
              <a:gd name="connsiteX36755" fmla="*/ 3106457 w 10505529"/>
              <a:gd name="connsiteY36755" fmla="*/ 1335564 h 7458372"/>
              <a:gd name="connsiteX36756" fmla="*/ 3104194 w 10505529"/>
              <a:gd name="connsiteY36756" fmla="*/ 1347279 h 7458372"/>
              <a:gd name="connsiteX36757" fmla="*/ 3098070 w 10505529"/>
              <a:gd name="connsiteY36757" fmla="*/ 1356599 h 7458372"/>
              <a:gd name="connsiteX36758" fmla="*/ 3088752 w 10505529"/>
              <a:gd name="connsiteY36758" fmla="*/ 1362851 h 7458372"/>
              <a:gd name="connsiteX36759" fmla="*/ 3077037 w 10505529"/>
              <a:gd name="connsiteY36759" fmla="*/ 1365113 h 7458372"/>
              <a:gd name="connsiteX36760" fmla="*/ 3055204 w 10505529"/>
              <a:gd name="connsiteY36760" fmla="*/ 1356599 h 7458372"/>
              <a:gd name="connsiteX36761" fmla="*/ 3046818 w 10505529"/>
              <a:gd name="connsiteY36761" fmla="*/ 1335427 h 7458372"/>
              <a:gd name="connsiteX36762" fmla="*/ 3055204 w 10505529"/>
              <a:gd name="connsiteY36762" fmla="*/ 1314393 h 7458372"/>
              <a:gd name="connsiteX36763" fmla="*/ 3077037 w 10505529"/>
              <a:gd name="connsiteY36763" fmla="*/ 1305741 h 7458372"/>
              <a:gd name="connsiteX36764" fmla="*/ 2859388 w 10505529"/>
              <a:gd name="connsiteY36764" fmla="*/ 1305741 h 7458372"/>
              <a:gd name="connsiteX36765" fmla="*/ 2871236 w 10505529"/>
              <a:gd name="connsiteY36765" fmla="*/ 1308407 h 7458372"/>
              <a:gd name="connsiteX36766" fmla="*/ 2880554 w 10505529"/>
              <a:gd name="connsiteY36766" fmla="*/ 1314801 h 7458372"/>
              <a:gd name="connsiteX36767" fmla="*/ 2886678 w 10505529"/>
              <a:gd name="connsiteY36767" fmla="*/ 1324111 h 7458372"/>
              <a:gd name="connsiteX36768" fmla="*/ 2888941 w 10505529"/>
              <a:gd name="connsiteY36768" fmla="*/ 1335564 h 7458372"/>
              <a:gd name="connsiteX36769" fmla="*/ 2886678 w 10505529"/>
              <a:gd name="connsiteY36769" fmla="*/ 1347279 h 7458372"/>
              <a:gd name="connsiteX36770" fmla="*/ 2880554 w 10505529"/>
              <a:gd name="connsiteY36770" fmla="*/ 1356599 h 7458372"/>
              <a:gd name="connsiteX36771" fmla="*/ 2871236 w 10505529"/>
              <a:gd name="connsiteY36771" fmla="*/ 1362851 h 7458372"/>
              <a:gd name="connsiteX36772" fmla="*/ 2859388 w 10505529"/>
              <a:gd name="connsiteY36772" fmla="*/ 1365113 h 7458372"/>
              <a:gd name="connsiteX36773" fmla="*/ 2837556 w 10505529"/>
              <a:gd name="connsiteY36773" fmla="*/ 1356599 h 7458372"/>
              <a:gd name="connsiteX36774" fmla="*/ 2829169 w 10505529"/>
              <a:gd name="connsiteY36774" fmla="*/ 1335427 h 7458372"/>
              <a:gd name="connsiteX36775" fmla="*/ 2837556 w 10505529"/>
              <a:gd name="connsiteY36775" fmla="*/ 1314393 h 7458372"/>
              <a:gd name="connsiteX36776" fmla="*/ 2859388 w 10505529"/>
              <a:gd name="connsiteY36776" fmla="*/ 1305741 h 7458372"/>
              <a:gd name="connsiteX36777" fmla="*/ 2641739 w 10505529"/>
              <a:gd name="connsiteY36777" fmla="*/ 1305741 h 7458372"/>
              <a:gd name="connsiteX36778" fmla="*/ 2653455 w 10505529"/>
              <a:gd name="connsiteY36778" fmla="*/ 1308407 h 7458372"/>
              <a:gd name="connsiteX36779" fmla="*/ 2662773 w 10505529"/>
              <a:gd name="connsiteY36779" fmla="*/ 1314801 h 7458372"/>
              <a:gd name="connsiteX36780" fmla="*/ 2668896 w 10505529"/>
              <a:gd name="connsiteY36780" fmla="*/ 1324111 h 7458372"/>
              <a:gd name="connsiteX36781" fmla="*/ 2671159 w 10505529"/>
              <a:gd name="connsiteY36781" fmla="*/ 1335564 h 7458372"/>
              <a:gd name="connsiteX36782" fmla="*/ 2668896 w 10505529"/>
              <a:gd name="connsiteY36782" fmla="*/ 1347279 h 7458372"/>
              <a:gd name="connsiteX36783" fmla="*/ 2662773 w 10505529"/>
              <a:gd name="connsiteY36783" fmla="*/ 1356599 h 7458372"/>
              <a:gd name="connsiteX36784" fmla="*/ 2653455 w 10505529"/>
              <a:gd name="connsiteY36784" fmla="*/ 1362851 h 7458372"/>
              <a:gd name="connsiteX36785" fmla="*/ 2641739 w 10505529"/>
              <a:gd name="connsiteY36785" fmla="*/ 1365113 h 7458372"/>
              <a:gd name="connsiteX36786" fmla="*/ 2619906 w 10505529"/>
              <a:gd name="connsiteY36786" fmla="*/ 1356599 h 7458372"/>
              <a:gd name="connsiteX36787" fmla="*/ 2611520 w 10505529"/>
              <a:gd name="connsiteY36787" fmla="*/ 1335427 h 7458372"/>
              <a:gd name="connsiteX36788" fmla="*/ 2619906 w 10505529"/>
              <a:gd name="connsiteY36788" fmla="*/ 1314393 h 7458372"/>
              <a:gd name="connsiteX36789" fmla="*/ 2641739 w 10505529"/>
              <a:gd name="connsiteY36789" fmla="*/ 1305741 h 7458372"/>
              <a:gd name="connsiteX36790" fmla="*/ 2424090 w 10505529"/>
              <a:gd name="connsiteY36790" fmla="*/ 1305741 h 7458372"/>
              <a:gd name="connsiteX36791" fmla="*/ 2435805 w 10505529"/>
              <a:gd name="connsiteY36791" fmla="*/ 1308407 h 7458372"/>
              <a:gd name="connsiteX36792" fmla="*/ 2445123 w 10505529"/>
              <a:gd name="connsiteY36792" fmla="*/ 1314801 h 7458372"/>
              <a:gd name="connsiteX36793" fmla="*/ 2451247 w 10505529"/>
              <a:gd name="connsiteY36793" fmla="*/ 1324111 h 7458372"/>
              <a:gd name="connsiteX36794" fmla="*/ 2453510 w 10505529"/>
              <a:gd name="connsiteY36794" fmla="*/ 1335564 h 7458372"/>
              <a:gd name="connsiteX36795" fmla="*/ 2451247 w 10505529"/>
              <a:gd name="connsiteY36795" fmla="*/ 1347279 h 7458372"/>
              <a:gd name="connsiteX36796" fmla="*/ 2445123 w 10505529"/>
              <a:gd name="connsiteY36796" fmla="*/ 1356599 h 7458372"/>
              <a:gd name="connsiteX36797" fmla="*/ 2435805 w 10505529"/>
              <a:gd name="connsiteY36797" fmla="*/ 1362851 h 7458372"/>
              <a:gd name="connsiteX36798" fmla="*/ 2424090 w 10505529"/>
              <a:gd name="connsiteY36798" fmla="*/ 1365113 h 7458372"/>
              <a:gd name="connsiteX36799" fmla="*/ 2402258 w 10505529"/>
              <a:gd name="connsiteY36799" fmla="*/ 1356599 h 7458372"/>
              <a:gd name="connsiteX36800" fmla="*/ 2393871 w 10505529"/>
              <a:gd name="connsiteY36800" fmla="*/ 1335427 h 7458372"/>
              <a:gd name="connsiteX36801" fmla="*/ 2402258 w 10505529"/>
              <a:gd name="connsiteY36801" fmla="*/ 1314393 h 7458372"/>
              <a:gd name="connsiteX36802" fmla="*/ 2424090 w 10505529"/>
              <a:gd name="connsiteY36802" fmla="*/ 1305741 h 7458372"/>
              <a:gd name="connsiteX36803" fmla="*/ 2206441 w 10505529"/>
              <a:gd name="connsiteY36803" fmla="*/ 1305741 h 7458372"/>
              <a:gd name="connsiteX36804" fmla="*/ 2218156 w 10505529"/>
              <a:gd name="connsiteY36804" fmla="*/ 1308407 h 7458372"/>
              <a:gd name="connsiteX36805" fmla="*/ 2227475 w 10505529"/>
              <a:gd name="connsiteY36805" fmla="*/ 1314801 h 7458372"/>
              <a:gd name="connsiteX36806" fmla="*/ 2233597 w 10505529"/>
              <a:gd name="connsiteY36806" fmla="*/ 1324111 h 7458372"/>
              <a:gd name="connsiteX36807" fmla="*/ 2235860 w 10505529"/>
              <a:gd name="connsiteY36807" fmla="*/ 1335564 h 7458372"/>
              <a:gd name="connsiteX36808" fmla="*/ 2233597 w 10505529"/>
              <a:gd name="connsiteY36808" fmla="*/ 1347279 h 7458372"/>
              <a:gd name="connsiteX36809" fmla="*/ 2227475 w 10505529"/>
              <a:gd name="connsiteY36809" fmla="*/ 1356599 h 7458372"/>
              <a:gd name="connsiteX36810" fmla="*/ 2218156 w 10505529"/>
              <a:gd name="connsiteY36810" fmla="*/ 1362851 h 7458372"/>
              <a:gd name="connsiteX36811" fmla="*/ 2206441 w 10505529"/>
              <a:gd name="connsiteY36811" fmla="*/ 1365113 h 7458372"/>
              <a:gd name="connsiteX36812" fmla="*/ 2184610 w 10505529"/>
              <a:gd name="connsiteY36812" fmla="*/ 1356599 h 7458372"/>
              <a:gd name="connsiteX36813" fmla="*/ 2176222 w 10505529"/>
              <a:gd name="connsiteY36813" fmla="*/ 1335427 h 7458372"/>
              <a:gd name="connsiteX36814" fmla="*/ 2184610 w 10505529"/>
              <a:gd name="connsiteY36814" fmla="*/ 1314393 h 7458372"/>
              <a:gd name="connsiteX36815" fmla="*/ 2206441 w 10505529"/>
              <a:gd name="connsiteY36815" fmla="*/ 1305741 h 7458372"/>
              <a:gd name="connsiteX36816" fmla="*/ 1988925 w 10505529"/>
              <a:gd name="connsiteY36816" fmla="*/ 1305741 h 7458372"/>
              <a:gd name="connsiteX36817" fmla="*/ 2000640 w 10505529"/>
              <a:gd name="connsiteY36817" fmla="*/ 1308407 h 7458372"/>
              <a:gd name="connsiteX36818" fmla="*/ 2009958 w 10505529"/>
              <a:gd name="connsiteY36818" fmla="*/ 1314801 h 7458372"/>
              <a:gd name="connsiteX36819" fmla="*/ 2016082 w 10505529"/>
              <a:gd name="connsiteY36819" fmla="*/ 1324111 h 7458372"/>
              <a:gd name="connsiteX36820" fmla="*/ 2018345 w 10505529"/>
              <a:gd name="connsiteY36820" fmla="*/ 1335564 h 7458372"/>
              <a:gd name="connsiteX36821" fmla="*/ 2016082 w 10505529"/>
              <a:gd name="connsiteY36821" fmla="*/ 1347279 h 7458372"/>
              <a:gd name="connsiteX36822" fmla="*/ 2009958 w 10505529"/>
              <a:gd name="connsiteY36822" fmla="*/ 1356599 h 7458372"/>
              <a:gd name="connsiteX36823" fmla="*/ 2000640 w 10505529"/>
              <a:gd name="connsiteY36823" fmla="*/ 1362851 h 7458372"/>
              <a:gd name="connsiteX36824" fmla="*/ 1988925 w 10505529"/>
              <a:gd name="connsiteY36824" fmla="*/ 1365113 h 7458372"/>
              <a:gd name="connsiteX36825" fmla="*/ 1967094 w 10505529"/>
              <a:gd name="connsiteY36825" fmla="*/ 1356599 h 7458372"/>
              <a:gd name="connsiteX36826" fmla="*/ 1958707 w 10505529"/>
              <a:gd name="connsiteY36826" fmla="*/ 1335427 h 7458372"/>
              <a:gd name="connsiteX36827" fmla="*/ 1967094 w 10505529"/>
              <a:gd name="connsiteY36827" fmla="*/ 1314393 h 7458372"/>
              <a:gd name="connsiteX36828" fmla="*/ 1988925 w 10505529"/>
              <a:gd name="connsiteY36828" fmla="*/ 1305741 h 7458372"/>
              <a:gd name="connsiteX36829" fmla="*/ 1771283 w 10505529"/>
              <a:gd name="connsiteY36829" fmla="*/ 1305741 h 7458372"/>
              <a:gd name="connsiteX36830" fmla="*/ 1782998 w 10505529"/>
              <a:gd name="connsiteY36830" fmla="*/ 1308407 h 7458372"/>
              <a:gd name="connsiteX36831" fmla="*/ 1792315 w 10505529"/>
              <a:gd name="connsiteY36831" fmla="*/ 1314801 h 7458372"/>
              <a:gd name="connsiteX36832" fmla="*/ 1798439 w 10505529"/>
              <a:gd name="connsiteY36832" fmla="*/ 1324111 h 7458372"/>
              <a:gd name="connsiteX36833" fmla="*/ 1800702 w 10505529"/>
              <a:gd name="connsiteY36833" fmla="*/ 1335564 h 7458372"/>
              <a:gd name="connsiteX36834" fmla="*/ 1798439 w 10505529"/>
              <a:gd name="connsiteY36834" fmla="*/ 1347279 h 7458372"/>
              <a:gd name="connsiteX36835" fmla="*/ 1792315 w 10505529"/>
              <a:gd name="connsiteY36835" fmla="*/ 1356599 h 7458372"/>
              <a:gd name="connsiteX36836" fmla="*/ 1782998 w 10505529"/>
              <a:gd name="connsiteY36836" fmla="*/ 1362851 h 7458372"/>
              <a:gd name="connsiteX36837" fmla="*/ 1771283 w 10505529"/>
              <a:gd name="connsiteY36837" fmla="*/ 1365113 h 7458372"/>
              <a:gd name="connsiteX36838" fmla="*/ 1749452 w 10505529"/>
              <a:gd name="connsiteY36838" fmla="*/ 1356599 h 7458372"/>
              <a:gd name="connsiteX36839" fmla="*/ 1741067 w 10505529"/>
              <a:gd name="connsiteY36839" fmla="*/ 1335427 h 7458372"/>
              <a:gd name="connsiteX36840" fmla="*/ 1749452 w 10505529"/>
              <a:gd name="connsiteY36840" fmla="*/ 1314393 h 7458372"/>
              <a:gd name="connsiteX36841" fmla="*/ 1771283 w 10505529"/>
              <a:gd name="connsiteY36841" fmla="*/ 1305741 h 7458372"/>
              <a:gd name="connsiteX36842" fmla="*/ 1553640 w 10505529"/>
              <a:gd name="connsiteY36842" fmla="*/ 1305741 h 7458372"/>
              <a:gd name="connsiteX36843" fmla="*/ 1565355 w 10505529"/>
              <a:gd name="connsiteY36843" fmla="*/ 1308407 h 7458372"/>
              <a:gd name="connsiteX36844" fmla="*/ 1574673 w 10505529"/>
              <a:gd name="connsiteY36844" fmla="*/ 1314801 h 7458372"/>
              <a:gd name="connsiteX36845" fmla="*/ 1580796 w 10505529"/>
              <a:gd name="connsiteY36845" fmla="*/ 1324111 h 7458372"/>
              <a:gd name="connsiteX36846" fmla="*/ 1583059 w 10505529"/>
              <a:gd name="connsiteY36846" fmla="*/ 1335564 h 7458372"/>
              <a:gd name="connsiteX36847" fmla="*/ 1580796 w 10505529"/>
              <a:gd name="connsiteY36847" fmla="*/ 1347279 h 7458372"/>
              <a:gd name="connsiteX36848" fmla="*/ 1574673 w 10505529"/>
              <a:gd name="connsiteY36848" fmla="*/ 1356599 h 7458372"/>
              <a:gd name="connsiteX36849" fmla="*/ 1565355 w 10505529"/>
              <a:gd name="connsiteY36849" fmla="*/ 1362851 h 7458372"/>
              <a:gd name="connsiteX36850" fmla="*/ 1553640 w 10505529"/>
              <a:gd name="connsiteY36850" fmla="*/ 1365113 h 7458372"/>
              <a:gd name="connsiteX36851" fmla="*/ 1531808 w 10505529"/>
              <a:gd name="connsiteY36851" fmla="*/ 1356599 h 7458372"/>
              <a:gd name="connsiteX36852" fmla="*/ 1523422 w 10505529"/>
              <a:gd name="connsiteY36852" fmla="*/ 1335427 h 7458372"/>
              <a:gd name="connsiteX36853" fmla="*/ 1531808 w 10505529"/>
              <a:gd name="connsiteY36853" fmla="*/ 1314393 h 7458372"/>
              <a:gd name="connsiteX36854" fmla="*/ 1553640 w 10505529"/>
              <a:gd name="connsiteY36854" fmla="*/ 1305741 h 7458372"/>
              <a:gd name="connsiteX36855" fmla="*/ 1335995 w 10505529"/>
              <a:gd name="connsiteY36855" fmla="*/ 1305741 h 7458372"/>
              <a:gd name="connsiteX36856" fmla="*/ 1347710 w 10505529"/>
              <a:gd name="connsiteY36856" fmla="*/ 1308407 h 7458372"/>
              <a:gd name="connsiteX36857" fmla="*/ 1357028 w 10505529"/>
              <a:gd name="connsiteY36857" fmla="*/ 1314801 h 7458372"/>
              <a:gd name="connsiteX36858" fmla="*/ 1363151 w 10505529"/>
              <a:gd name="connsiteY36858" fmla="*/ 1324111 h 7458372"/>
              <a:gd name="connsiteX36859" fmla="*/ 1365415 w 10505529"/>
              <a:gd name="connsiteY36859" fmla="*/ 1335564 h 7458372"/>
              <a:gd name="connsiteX36860" fmla="*/ 1363151 w 10505529"/>
              <a:gd name="connsiteY36860" fmla="*/ 1347279 h 7458372"/>
              <a:gd name="connsiteX36861" fmla="*/ 1357028 w 10505529"/>
              <a:gd name="connsiteY36861" fmla="*/ 1356599 h 7458372"/>
              <a:gd name="connsiteX36862" fmla="*/ 1347710 w 10505529"/>
              <a:gd name="connsiteY36862" fmla="*/ 1362851 h 7458372"/>
              <a:gd name="connsiteX36863" fmla="*/ 1335995 w 10505529"/>
              <a:gd name="connsiteY36863" fmla="*/ 1365113 h 7458372"/>
              <a:gd name="connsiteX36864" fmla="*/ 1314163 w 10505529"/>
              <a:gd name="connsiteY36864" fmla="*/ 1356599 h 7458372"/>
              <a:gd name="connsiteX36865" fmla="*/ 1305778 w 10505529"/>
              <a:gd name="connsiteY36865" fmla="*/ 1335427 h 7458372"/>
              <a:gd name="connsiteX36866" fmla="*/ 1314163 w 10505529"/>
              <a:gd name="connsiteY36866" fmla="*/ 1314393 h 7458372"/>
              <a:gd name="connsiteX36867" fmla="*/ 1335995 w 10505529"/>
              <a:gd name="connsiteY36867" fmla="*/ 1305741 h 7458372"/>
              <a:gd name="connsiteX36868" fmla="*/ 1118350 w 10505529"/>
              <a:gd name="connsiteY36868" fmla="*/ 1305741 h 7458372"/>
              <a:gd name="connsiteX36869" fmla="*/ 1130066 w 10505529"/>
              <a:gd name="connsiteY36869" fmla="*/ 1308407 h 7458372"/>
              <a:gd name="connsiteX36870" fmla="*/ 1139384 w 10505529"/>
              <a:gd name="connsiteY36870" fmla="*/ 1314801 h 7458372"/>
              <a:gd name="connsiteX36871" fmla="*/ 1145505 w 10505529"/>
              <a:gd name="connsiteY36871" fmla="*/ 1324111 h 7458372"/>
              <a:gd name="connsiteX36872" fmla="*/ 1147769 w 10505529"/>
              <a:gd name="connsiteY36872" fmla="*/ 1335564 h 7458372"/>
              <a:gd name="connsiteX36873" fmla="*/ 1145505 w 10505529"/>
              <a:gd name="connsiteY36873" fmla="*/ 1347279 h 7458372"/>
              <a:gd name="connsiteX36874" fmla="*/ 1139384 w 10505529"/>
              <a:gd name="connsiteY36874" fmla="*/ 1356599 h 7458372"/>
              <a:gd name="connsiteX36875" fmla="*/ 1130066 w 10505529"/>
              <a:gd name="connsiteY36875" fmla="*/ 1362851 h 7458372"/>
              <a:gd name="connsiteX36876" fmla="*/ 1118350 w 10505529"/>
              <a:gd name="connsiteY36876" fmla="*/ 1365113 h 7458372"/>
              <a:gd name="connsiteX36877" fmla="*/ 1096517 w 10505529"/>
              <a:gd name="connsiteY36877" fmla="*/ 1356599 h 7458372"/>
              <a:gd name="connsiteX36878" fmla="*/ 1088132 w 10505529"/>
              <a:gd name="connsiteY36878" fmla="*/ 1335427 h 7458372"/>
              <a:gd name="connsiteX36879" fmla="*/ 1096517 w 10505529"/>
              <a:gd name="connsiteY36879" fmla="*/ 1314393 h 7458372"/>
              <a:gd name="connsiteX36880" fmla="*/ 1118350 w 10505529"/>
              <a:gd name="connsiteY36880" fmla="*/ 1305741 h 7458372"/>
              <a:gd name="connsiteX36881" fmla="*/ 900838 w 10505529"/>
              <a:gd name="connsiteY36881" fmla="*/ 1305741 h 7458372"/>
              <a:gd name="connsiteX36882" fmla="*/ 912553 w 10505529"/>
              <a:gd name="connsiteY36882" fmla="*/ 1308407 h 7458372"/>
              <a:gd name="connsiteX36883" fmla="*/ 921871 w 10505529"/>
              <a:gd name="connsiteY36883" fmla="*/ 1314801 h 7458372"/>
              <a:gd name="connsiteX36884" fmla="*/ 927994 w 10505529"/>
              <a:gd name="connsiteY36884" fmla="*/ 1324111 h 7458372"/>
              <a:gd name="connsiteX36885" fmla="*/ 930257 w 10505529"/>
              <a:gd name="connsiteY36885" fmla="*/ 1335564 h 7458372"/>
              <a:gd name="connsiteX36886" fmla="*/ 927994 w 10505529"/>
              <a:gd name="connsiteY36886" fmla="*/ 1347279 h 7458372"/>
              <a:gd name="connsiteX36887" fmla="*/ 921871 w 10505529"/>
              <a:gd name="connsiteY36887" fmla="*/ 1356599 h 7458372"/>
              <a:gd name="connsiteX36888" fmla="*/ 912553 w 10505529"/>
              <a:gd name="connsiteY36888" fmla="*/ 1362851 h 7458372"/>
              <a:gd name="connsiteX36889" fmla="*/ 900838 w 10505529"/>
              <a:gd name="connsiteY36889" fmla="*/ 1365113 h 7458372"/>
              <a:gd name="connsiteX36890" fmla="*/ 879007 w 10505529"/>
              <a:gd name="connsiteY36890" fmla="*/ 1356599 h 7458372"/>
              <a:gd name="connsiteX36891" fmla="*/ 870621 w 10505529"/>
              <a:gd name="connsiteY36891" fmla="*/ 1335427 h 7458372"/>
              <a:gd name="connsiteX36892" fmla="*/ 879007 w 10505529"/>
              <a:gd name="connsiteY36892" fmla="*/ 1314393 h 7458372"/>
              <a:gd name="connsiteX36893" fmla="*/ 900838 w 10505529"/>
              <a:gd name="connsiteY36893" fmla="*/ 1305741 h 7458372"/>
              <a:gd name="connsiteX36894" fmla="*/ 683194 w 10505529"/>
              <a:gd name="connsiteY36894" fmla="*/ 1305741 h 7458372"/>
              <a:gd name="connsiteX36895" fmla="*/ 694909 w 10505529"/>
              <a:gd name="connsiteY36895" fmla="*/ 1308407 h 7458372"/>
              <a:gd name="connsiteX36896" fmla="*/ 704227 w 10505529"/>
              <a:gd name="connsiteY36896" fmla="*/ 1314801 h 7458372"/>
              <a:gd name="connsiteX36897" fmla="*/ 710350 w 10505529"/>
              <a:gd name="connsiteY36897" fmla="*/ 1324111 h 7458372"/>
              <a:gd name="connsiteX36898" fmla="*/ 712613 w 10505529"/>
              <a:gd name="connsiteY36898" fmla="*/ 1335564 h 7458372"/>
              <a:gd name="connsiteX36899" fmla="*/ 710350 w 10505529"/>
              <a:gd name="connsiteY36899" fmla="*/ 1347279 h 7458372"/>
              <a:gd name="connsiteX36900" fmla="*/ 704227 w 10505529"/>
              <a:gd name="connsiteY36900" fmla="*/ 1356599 h 7458372"/>
              <a:gd name="connsiteX36901" fmla="*/ 694909 w 10505529"/>
              <a:gd name="connsiteY36901" fmla="*/ 1362851 h 7458372"/>
              <a:gd name="connsiteX36902" fmla="*/ 683194 w 10505529"/>
              <a:gd name="connsiteY36902" fmla="*/ 1365113 h 7458372"/>
              <a:gd name="connsiteX36903" fmla="*/ 661363 w 10505529"/>
              <a:gd name="connsiteY36903" fmla="*/ 1356599 h 7458372"/>
              <a:gd name="connsiteX36904" fmla="*/ 652977 w 10505529"/>
              <a:gd name="connsiteY36904" fmla="*/ 1335427 h 7458372"/>
              <a:gd name="connsiteX36905" fmla="*/ 661363 w 10505529"/>
              <a:gd name="connsiteY36905" fmla="*/ 1314393 h 7458372"/>
              <a:gd name="connsiteX36906" fmla="*/ 683194 w 10505529"/>
              <a:gd name="connsiteY36906" fmla="*/ 1305741 h 7458372"/>
              <a:gd name="connsiteX36907" fmla="*/ 465550 w 10505529"/>
              <a:gd name="connsiteY36907" fmla="*/ 1305741 h 7458372"/>
              <a:gd name="connsiteX36908" fmla="*/ 477266 w 10505529"/>
              <a:gd name="connsiteY36908" fmla="*/ 1308407 h 7458372"/>
              <a:gd name="connsiteX36909" fmla="*/ 486583 w 10505529"/>
              <a:gd name="connsiteY36909" fmla="*/ 1314801 h 7458372"/>
              <a:gd name="connsiteX36910" fmla="*/ 492707 w 10505529"/>
              <a:gd name="connsiteY36910" fmla="*/ 1324111 h 7458372"/>
              <a:gd name="connsiteX36911" fmla="*/ 494969 w 10505529"/>
              <a:gd name="connsiteY36911" fmla="*/ 1335564 h 7458372"/>
              <a:gd name="connsiteX36912" fmla="*/ 492707 w 10505529"/>
              <a:gd name="connsiteY36912" fmla="*/ 1347279 h 7458372"/>
              <a:gd name="connsiteX36913" fmla="*/ 486583 w 10505529"/>
              <a:gd name="connsiteY36913" fmla="*/ 1356599 h 7458372"/>
              <a:gd name="connsiteX36914" fmla="*/ 477266 w 10505529"/>
              <a:gd name="connsiteY36914" fmla="*/ 1362851 h 7458372"/>
              <a:gd name="connsiteX36915" fmla="*/ 465550 w 10505529"/>
              <a:gd name="connsiteY36915" fmla="*/ 1365113 h 7458372"/>
              <a:gd name="connsiteX36916" fmla="*/ 443719 w 10505529"/>
              <a:gd name="connsiteY36916" fmla="*/ 1356599 h 7458372"/>
              <a:gd name="connsiteX36917" fmla="*/ 435333 w 10505529"/>
              <a:gd name="connsiteY36917" fmla="*/ 1335427 h 7458372"/>
              <a:gd name="connsiteX36918" fmla="*/ 443719 w 10505529"/>
              <a:gd name="connsiteY36918" fmla="*/ 1314393 h 7458372"/>
              <a:gd name="connsiteX36919" fmla="*/ 465550 w 10505529"/>
              <a:gd name="connsiteY36919" fmla="*/ 1305741 h 7458372"/>
              <a:gd name="connsiteX36920" fmla="*/ 247906 w 10505529"/>
              <a:gd name="connsiteY36920" fmla="*/ 1305741 h 7458372"/>
              <a:gd name="connsiteX36921" fmla="*/ 259621 w 10505529"/>
              <a:gd name="connsiteY36921" fmla="*/ 1308407 h 7458372"/>
              <a:gd name="connsiteX36922" fmla="*/ 268939 w 10505529"/>
              <a:gd name="connsiteY36922" fmla="*/ 1314801 h 7458372"/>
              <a:gd name="connsiteX36923" fmla="*/ 275063 w 10505529"/>
              <a:gd name="connsiteY36923" fmla="*/ 1324111 h 7458372"/>
              <a:gd name="connsiteX36924" fmla="*/ 277326 w 10505529"/>
              <a:gd name="connsiteY36924" fmla="*/ 1335564 h 7458372"/>
              <a:gd name="connsiteX36925" fmla="*/ 275063 w 10505529"/>
              <a:gd name="connsiteY36925" fmla="*/ 1347279 h 7458372"/>
              <a:gd name="connsiteX36926" fmla="*/ 268939 w 10505529"/>
              <a:gd name="connsiteY36926" fmla="*/ 1356599 h 7458372"/>
              <a:gd name="connsiteX36927" fmla="*/ 259621 w 10505529"/>
              <a:gd name="connsiteY36927" fmla="*/ 1362851 h 7458372"/>
              <a:gd name="connsiteX36928" fmla="*/ 247906 w 10505529"/>
              <a:gd name="connsiteY36928" fmla="*/ 1365113 h 7458372"/>
              <a:gd name="connsiteX36929" fmla="*/ 226075 w 10505529"/>
              <a:gd name="connsiteY36929" fmla="*/ 1356599 h 7458372"/>
              <a:gd name="connsiteX36930" fmla="*/ 217689 w 10505529"/>
              <a:gd name="connsiteY36930" fmla="*/ 1335427 h 7458372"/>
              <a:gd name="connsiteX36931" fmla="*/ 226075 w 10505529"/>
              <a:gd name="connsiteY36931" fmla="*/ 1314393 h 7458372"/>
              <a:gd name="connsiteX36932" fmla="*/ 247906 w 10505529"/>
              <a:gd name="connsiteY36932" fmla="*/ 1305741 h 7458372"/>
              <a:gd name="connsiteX36933" fmla="*/ 30262 w 10505529"/>
              <a:gd name="connsiteY36933" fmla="*/ 1305741 h 7458372"/>
              <a:gd name="connsiteX36934" fmla="*/ 41977 w 10505529"/>
              <a:gd name="connsiteY36934" fmla="*/ 1308407 h 7458372"/>
              <a:gd name="connsiteX36935" fmla="*/ 51296 w 10505529"/>
              <a:gd name="connsiteY36935" fmla="*/ 1314801 h 7458372"/>
              <a:gd name="connsiteX36936" fmla="*/ 57419 w 10505529"/>
              <a:gd name="connsiteY36936" fmla="*/ 1324111 h 7458372"/>
              <a:gd name="connsiteX36937" fmla="*/ 59682 w 10505529"/>
              <a:gd name="connsiteY36937" fmla="*/ 1335564 h 7458372"/>
              <a:gd name="connsiteX36938" fmla="*/ 57419 w 10505529"/>
              <a:gd name="connsiteY36938" fmla="*/ 1347279 h 7458372"/>
              <a:gd name="connsiteX36939" fmla="*/ 51296 w 10505529"/>
              <a:gd name="connsiteY36939" fmla="*/ 1356599 h 7458372"/>
              <a:gd name="connsiteX36940" fmla="*/ 41977 w 10505529"/>
              <a:gd name="connsiteY36940" fmla="*/ 1362851 h 7458372"/>
              <a:gd name="connsiteX36941" fmla="*/ 30262 w 10505529"/>
              <a:gd name="connsiteY36941" fmla="*/ 1365113 h 7458372"/>
              <a:gd name="connsiteX36942" fmla="*/ 8432 w 10505529"/>
              <a:gd name="connsiteY36942" fmla="*/ 1356599 h 7458372"/>
              <a:gd name="connsiteX36943" fmla="*/ 46 w 10505529"/>
              <a:gd name="connsiteY36943" fmla="*/ 1335427 h 7458372"/>
              <a:gd name="connsiteX36944" fmla="*/ 8432 w 10505529"/>
              <a:gd name="connsiteY36944" fmla="*/ 1314393 h 7458372"/>
              <a:gd name="connsiteX36945" fmla="*/ 30262 w 10505529"/>
              <a:gd name="connsiteY36945" fmla="*/ 1305741 h 7458372"/>
              <a:gd name="connsiteX36946" fmla="*/ 10475977 w 10505529"/>
              <a:gd name="connsiteY36946" fmla="*/ 1104736 h 7458372"/>
              <a:gd name="connsiteX36947" fmla="*/ 10465992 w 10505529"/>
              <a:gd name="connsiteY36947" fmla="*/ 1108331 h 7458372"/>
              <a:gd name="connsiteX36948" fmla="*/ 10462399 w 10505529"/>
              <a:gd name="connsiteY36948" fmla="*/ 1117780 h 7458372"/>
              <a:gd name="connsiteX36949" fmla="*/ 10465992 w 10505529"/>
              <a:gd name="connsiteY36949" fmla="*/ 1127230 h 7458372"/>
              <a:gd name="connsiteX36950" fmla="*/ 10475977 w 10505529"/>
              <a:gd name="connsiteY36950" fmla="*/ 1130693 h 7458372"/>
              <a:gd name="connsiteX36951" fmla="*/ 10481302 w 10505529"/>
              <a:gd name="connsiteY36951" fmla="*/ 1129635 h 7458372"/>
              <a:gd name="connsiteX36952" fmla="*/ 10485029 w 10505529"/>
              <a:gd name="connsiteY36952" fmla="*/ 1127230 h 7458372"/>
              <a:gd name="connsiteX36953" fmla="*/ 10487691 w 10505529"/>
              <a:gd name="connsiteY36953" fmla="*/ 1123107 h 7458372"/>
              <a:gd name="connsiteX36954" fmla="*/ 10488623 w 10505529"/>
              <a:gd name="connsiteY36954" fmla="*/ 1117655 h 7458372"/>
              <a:gd name="connsiteX36955" fmla="*/ 10487691 w 10505529"/>
              <a:gd name="connsiteY36955" fmla="*/ 1112457 h 7458372"/>
              <a:gd name="connsiteX36956" fmla="*/ 10485029 w 10505529"/>
              <a:gd name="connsiteY36956" fmla="*/ 1108331 h 7458372"/>
              <a:gd name="connsiteX36957" fmla="*/ 10481035 w 10505529"/>
              <a:gd name="connsiteY36957" fmla="*/ 1105670 h 7458372"/>
              <a:gd name="connsiteX36958" fmla="*/ 10475977 w 10505529"/>
              <a:gd name="connsiteY36958" fmla="*/ 1104736 h 7458372"/>
              <a:gd name="connsiteX36959" fmla="*/ 10258466 w 10505529"/>
              <a:gd name="connsiteY36959" fmla="*/ 1104736 h 7458372"/>
              <a:gd name="connsiteX36960" fmla="*/ 10248481 w 10505529"/>
              <a:gd name="connsiteY36960" fmla="*/ 1108331 h 7458372"/>
              <a:gd name="connsiteX36961" fmla="*/ 10244887 w 10505529"/>
              <a:gd name="connsiteY36961" fmla="*/ 1117780 h 7458372"/>
              <a:gd name="connsiteX36962" fmla="*/ 10248481 w 10505529"/>
              <a:gd name="connsiteY36962" fmla="*/ 1127230 h 7458372"/>
              <a:gd name="connsiteX36963" fmla="*/ 10258466 w 10505529"/>
              <a:gd name="connsiteY36963" fmla="*/ 1130693 h 7458372"/>
              <a:gd name="connsiteX36964" fmla="*/ 10263790 w 10505529"/>
              <a:gd name="connsiteY36964" fmla="*/ 1129635 h 7458372"/>
              <a:gd name="connsiteX36965" fmla="*/ 10267517 w 10505529"/>
              <a:gd name="connsiteY36965" fmla="*/ 1127230 h 7458372"/>
              <a:gd name="connsiteX36966" fmla="*/ 10270180 w 10505529"/>
              <a:gd name="connsiteY36966" fmla="*/ 1123107 h 7458372"/>
              <a:gd name="connsiteX36967" fmla="*/ 10271112 w 10505529"/>
              <a:gd name="connsiteY36967" fmla="*/ 1117655 h 7458372"/>
              <a:gd name="connsiteX36968" fmla="*/ 10270180 w 10505529"/>
              <a:gd name="connsiteY36968" fmla="*/ 1112457 h 7458372"/>
              <a:gd name="connsiteX36969" fmla="*/ 10267517 w 10505529"/>
              <a:gd name="connsiteY36969" fmla="*/ 1108331 h 7458372"/>
              <a:gd name="connsiteX36970" fmla="*/ 10263524 w 10505529"/>
              <a:gd name="connsiteY36970" fmla="*/ 1105670 h 7458372"/>
              <a:gd name="connsiteX36971" fmla="*/ 10258466 w 10505529"/>
              <a:gd name="connsiteY36971" fmla="*/ 1104736 h 7458372"/>
              <a:gd name="connsiteX36972" fmla="*/ 10040820 w 10505529"/>
              <a:gd name="connsiteY36972" fmla="*/ 1104736 h 7458372"/>
              <a:gd name="connsiteX36973" fmla="*/ 10030835 w 10505529"/>
              <a:gd name="connsiteY36973" fmla="*/ 1108331 h 7458372"/>
              <a:gd name="connsiteX36974" fmla="*/ 10027242 w 10505529"/>
              <a:gd name="connsiteY36974" fmla="*/ 1117780 h 7458372"/>
              <a:gd name="connsiteX36975" fmla="*/ 10030835 w 10505529"/>
              <a:gd name="connsiteY36975" fmla="*/ 1127230 h 7458372"/>
              <a:gd name="connsiteX36976" fmla="*/ 10040820 w 10505529"/>
              <a:gd name="connsiteY36976" fmla="*/ 1130693 h 7458372"/>
              <a:gd name="connsiteX36977" fmla="*/ 10046145 w 10505529"/>
              <a:gd name="connsiteY36977" fmla="*/ 1129635 h 7458372"/>
              <a:gd name="connsiteX36978" fmla="*/ 10049872 w 10505529"/>
              <a:gd name="connsiteY36978" fmla="*/ 1127230 h 7458372"/>
              <a:gd name="connsiteX36979" fmla="*/ 10052534 w 10505529"/>
              <a:gd name="connsiteY36979" fmla="*/ 1123107 h 7458372"/>
              <a:gd name="connsiteX36980" fmla="*/ 10053599 w 10505529"/>
              <a:gd name="connsiteY36980" fmla="*/ 1117655 h 7458372"/>
              <a:gd name="connsiteX36981" fmla="*/ 10052534 w 10505529"/>
              <a:gd name="connsiteY36981" fmla="*/ 1112457 h 7458372"/>
              <a:gd name="connsiteX36982" fmla="*/ 10049872 w 10505529"/>
              <a:gd name="connsiteY36982" fmla="*/ 1108331 h 7458372"/>
              <a:gd name="connsiteX36983" fmla="*/ 10045878 w 10505529"/>
              <a:gd name="connsiteY36983" fmla="*/ 1105670 h 7458372"/>
              <a:gd name="connsiteX36984" fmla="*/ 10040820 w 10505529"/>
              <a:gd name="connsiteY36984" fmla="*/ 1104736 h 7458372"/>
              <a:gd name="connsiteX36985" fmla="*/ 9823176 w 10505529"/>
              <a:gd name="connsiteY36985" fmla="*/ 1104736 h 7458372"/>
              <a:gd name="connsiteX36986" fmla="*/ 9813191 w 10505529"/>
              <a:gd name="connsiteY36986" fmla="*/ 1108331 h 7458372"/>
              <a:gd name="connsiteX36987" fmla="*/ 9809597 w 10505529"/>
              <a:gd name="connsiteY36987" fmla="*/ 1117780 h 7458372"/>
              <a:gd name="connsiteX36988" fmla="*/ 9813191 w 10505529"/>
              <a:gd name="connsiteY36988" fmla="*/ 1127230 h 7458372"/>
              <a:gd name="connsiteX36989" fmla="*/ 9823176 w 10505529"/>
              <a:gd name="connsiteY36989" fmla="*/ 1130693 h 7458372"/>
              <a:gd name="connsiteX36990" fmla="*/ 9828501 w 10505529"/>
              <a:gd name="connsiteY36990" fmla="*/ 1129635 h 7458372"/>
              <a:gd name="connsiteX36991" fmla="*/ 9832227 w 10505529"/>
              <a:gd name="connsiteY36991" fmla="*/ 1127230 h 7458372"/>
              <a:gd name="connsiteX36992" fmla="*/ 9834890 w 10505529"/>
              <a:gd name="connsiteY36992" fmla="*/ 1123107 h 7458372"/>
              <a:gd name="connsiteX36993" fmla="*/ 9835955 w 10505529"/>
              <a:gd name="connsiteY36993" fmla="*/ 1117655 h 7458372"/>
              <a:gd name="connsiteX36994" fmla="*/ 9834890 w 10505529"/>
              <a:gd name="connsiteY36994" fmla="*/ 1112457 h 7458372"/>
              <a:gd name="connsiteX36995" fmla="*/ 9832227 w 10505529"/>
              <a:gd name="connsiteY36995" fmla="*/ 1108331 h 7458372"/>
              <a:gd name="connsiteX36996" fmla="*/ 9828234 w 10505529"/>
              <a:gd name="connsiteY36996" fmla="*/ 1105670 h 7458372"/>
              <a:gd name="connsiteX36997" fmla="*/ 9823176 w 10505529"/>
              <a:gd name="connsiteY36997" fmla="*/ 1104736 h 7458372"/>
              <a:gd name="connsiteX36998" fmla="*/ 9605531 w 10505529"/>
              <a:gd name="connsiteY36998" fmla="*/ 1104736 h 7458372"/>
              <a:gd name="connsiteX36999" fmla="*/ 9595546 w 10505529"/>
              <a:gd name="connsiteY36999" fmla="*/ 1108331 h 7458372"/>
              <a:gd name="connsiteX37000" fmla="*/ 9591952 w 10505529"/>
              <a:gd name="connsiteY37000" fmla="*/ 1117780 h 7458372"/>
              <a:gd name="connsiteX37001" fmla="*/ 9595546 w 10505529"/>
              <a:gd name="connsiteY37001" fmla="*/ 1127230 h 7458372"/>
              <a:gd name="connsiteX37002" fmla="*/ 9605531 w 10505529"/>
              <a:gd name="connsiteY37002" fmla="*/ 1130693 h 7458372"/>
              <a:gd name="connsiteX37003" fmla="*/ 9610855 w 10505529"/>
              <a:gd name="connsiteY37003" fmla="*/ 1129635 h 7458372"/>
              <a:gd name="connsiteX37004" fmla="*/ 9614582 w 10505529"/>
              <a:gd name="connsiteY37004" fmla="*/ 1127230 h 7458372"/>
              <a:gd name="connsiteX37005" fmla="*/ 9617245 w 10505529"/>
              <a:gd name="connsiteY37005" fmla="*/ 1123107 h 7458372"/>
              <a:gd name="connsiteX37006" fmla="*/ 9618309 w 10505529"/>
              <a:gd name="connsiteY37006" fmla="*/ 1117655 h 7458372"/>
              <a:gd name="connsiteX37007" fmla="*/ 9617245 w 10505529"/>
              <a:gd name="connsiteY37007" fmla="*/ 1112457 h 7458372"/>
              <a:gd name="connsiteX37008" fmla="*/ 9614582 w 10505529"/>
              <a:gd name="connsiteY37008" fmla="*/ 1108331 h 7458372"/>
              <a:gd name="connsiteX37009" fmla="*/ 9610589 w 10505529"/>
              <a:gd name="connsiteY37009" fmla="*/ 1105670 h 7458372"/>
              <a:gd name="connsiteX37010" fmla="*/ 9605531 w 10505529"/>
              <a:gd name="connsiteY37010" fmla="*/ 1104736 h 7458372"/>
              <a:gd name="connsiteX37011" fmla="*/ 9387885 w 10505529"/>
              <a:gd name="connsiteY37011" fmla="*/ 1104736 h 7458372"/>
              <a:gd name="connsiteX37012" fmla="*/ 9377900 w 10505529"/>
              <a:gd name="connsiteY37012" fmla="*/ 1108331 h 7458372"/>
              <a:gd name="connsiteX37013" fmla="*/ 9374307 w 10505529"/>
              <a:gd name="connsiteY37013" fmla="*/ 1117780 h 7458372"/>
              <a:gd name="connsiteX37014" fmla="*/ 9377900 w 10505529"/>
              <a:gd name="connsiteY37014" fmla="*/ 1127230 h 7458372"/>
              <a:gd name="connsiteX37015" fmla="*/ 9387885 w 10505529"/>
              <a:gd name="connsiteY37015" fmla="*/ 1130693 h 7458372"/>
              <a:gd name="connsiteX37016" fmla="*/ 9393210 w 10505529"/>
              <a:gd name="connsiteY37016" fmla="*/ 1129635 h 7458372"/>
              <a:gd name="connsiteX37017" fmla="*/ 9396937 w 10505529"/>
              <a:gd name="connsiteY37017" fmla="*/ 1127230 h 7458372"/>
              <a:gd name="connsiteX37018" fmla="*/ 9399599 w 10505529"/>
              <a:gd name="connsiteY37018" fmla="*/ 1123107 h 7458372"/>
              <a:gd name="connsiteX37019" fmla="*/ 9400664 w 10505529"/>
              <a:gd name="connsiteY37019" fmla="*/ 1117655 h 7458372"/>
              <a:gd name="connsiteX37020" fmla="*/ 9399599 w 10505529"/>
              <a:gd name="connsiteY37020" fmla="*/ 1112457 h 7458372"/>
              <a:gd name="connsiteX37021" fmla="*/ 9396937 w 10505529"/>
              <a:gd name="connsiteY37021" fmla="*/ 1108331 h 7458372"/>
              <a:gd name="connsiteX37022" fmla="*/ 9392943 w 10505529"/>
              <a:gd name="connsiteY37022" fmla="*/ 1105670 h 7458372"/>
              <a:gd name="connsiteX37023" fmla="*/ 9387885 w 10505529"/>
              <a:gd name="connsiteY37023" fmla="*/ 1104736 h 7458372"/>
              <a:gd name="connsiteX37024" fmla="*/ 9170374 w 10505529"/>
              <a:gd name="connsiteY37024" fmla="*/ 1104736 h 7458372"/>
              <a:gd name="connsiteX37025" fmla="*/ 9160389 w 10505529"/>
              <a:gd name="connsiteY37025" fmla="*/ 1108331 h 7458372"/>
              <a:gd name="connsiteX37026" fmla="*/ 9156795 w 10505529"/>
              <a:gd name="connsiteY37026" fmla="*/ 1117780 h 7458372"/>
              <a:gd name="connsiteX37027" fmla="*/ 9160389 w 10505529"/>
              <a:gd name="connsiteY37027" fmla="*/ 1127230 h 7458372"/>
              <a:gd name="connsiteX37028" fmla="*/ 9170374 w 10505529"/>
              <a:gd name="connsiteY37028" fmla="*/ 1130693 h 7458372"/>
              <a:gd name="connsiteX37029" fmla="*/ 9175698 w 10505529"/>
              <a:gd name="connsiteY37029" fmla="*/ 1129635 h 7458372"/>
              <a:gd name="connsiteX37030" fmla="*/ 9179425 w 10505529"/>
              <a:gd name="connsiteY37030" fmla="*/ 1127230 h 7458372"/>
              <a:gd name="connsiteX37031" fmla="*/ 9182088 w 10505529"/>
              <a:gd name="connsiteY37031" fmla="*/ 1123107 h 7458372"/>
              <a:gd name="connsiteX37032" fmla="*/ 9183152 w 10505529"/>
              <a:gd name="connsiteY37032" fmla="*/ 1117655 h 7458372"/>
              <a:gd name="connsiteX37033" fmla="*/ 9182088 w 10505529"/>
              <a:gd name="connsiteY37033" fmla="*/ 1112457 h 7458372"/>
              <a:gd name="connsiteX37034" fmla="*/ 9179425 w 10505529"/>
              <a:gd name="connsiteY37034" fmla="*/ 1108331 h 7458372"/>
              <a:gd name="connsiteX37035" fmla="*/ 9175432 w 10505529"/>
              <a:gd name="connsiteY37035" fmla="*/ 1105670 h 7458372"/>
              <a:gd name="connsiteX37036" fmla="*/ 9170374 w 10505529"/>
              <a:gd name="connsiteY37036" fmla="*/ 1104736 h 7458372"/>
              <a:gd name="connsiteX37037" fmla="*/ 8952728 w 10505529"/>
              <a:gd name="connsiteY37037" fmla="*/ 1104736 h 7458372"/>
              <a:gd name="connsiteX37038" fmla="*/ 8942743 w 10505529"/>
              <a:gd name="connsiteY37038" fmla="*/ 1108331 h 7458372"/>
              <a:gd name="connsiteX37039" fmla="*/ 8939150 w 10505529"/>
              <a:gd name="connsiteY37039" fmla="*/ 1117780 h 7458372"/>
              <a:gd name="connsiteX37040" fmla="*/ 8942743 w 10505529"/>
              <a:gd name="connsiteY37040" fmla="*/ 1127230 h 7458372"/>
              <a:gd name="connsiteX37041" fmla="*/ 8952728 w 10505529"/>
              <a:gd name="connsiteY37041" fmla="*/ 1130693 h 7458372"/>
              <a:gd name="connsiteX37042" fmla="*/ 8958053 w 10505529"/>
              <a:gd name="connsiteY37042" fmla="*/ 1129635 h 7458372"/>
              <a:gd name="connsiteX37043" fmla="*/ 8961780 w 10505529"/>
              <a:gd name="connsiteY37043" fmla="*/ 1127230 h 7458372"/>
              <a:gd name="connsiteX37044" fmla="*/ 8964442 w 10505529"/>
              <a:gd name="connsiteY37044" fmla="*/ 1123107 h 7458372"/>
              <a:gd name="connsiteX37045" fmla="*/ 8965507 w 10505529"/>
              <a:gd name="connsiteY37045" fmla="*/ 1117655 h 7458372"/>
              <a:gd name="connsiteX37046" fmla="*/ 8964442 w 10505529"/>
              <a:gd name="connsiteY37046" fmla="*/ 1112457 h 7458372"/>
              <a:gd name="connsiteX37047" fmla="*/ 8961780 w 10505529"/>
              <a:gd name="connsiteY37047" fmla="*/ 1108331 h 7458372"/>
              <a:gd name="connsiteX37048" fmla="*/ 8957786 w 10505529"/>
              <a:gd name="connsiteY37048" fmla="*/ 1105670 h 7458372"/>
              <a:gd name="connsiteX37049" fmla="*/ 8952728 w 10505529"/>
              <a:gd name="connsiteY37049" fmla="*/ 1104736 h 7458372"/>
              <a:gd name="connsiteX37050" fmla="*/ 8735083 w 10505529"/>
              <a:gd name="connsiteY37050" fmla="*/ 1104736 h 7458372"/>
              <a:gd name="connsiteX37051" fmla="*/ 8725098 w 10505529"/>
              <a:gd name="connsiteY37051" fmla="*/ 1108331 h 7458372"/>
              <a:gd name="connsiteX37052" fmla="*/ 8721504 w 10505529"/>
              <a:gd name="connsiteY37052" fmla="*/ 1117780 h 7458372"/>
              <a:gd name="connsiteX37053" fmla="*/ 8725098 w 10505529"/>
              <a:gd name="connsiteY37053" fmla="*/ 1127230 h 7458372"/>
              <a:gd name="connsiteX37054" fmla="*/ 8735083 w 10505529"/>
              <a:gd name="connsiteY37054" fmla="*/ 1130693 h 7458372"/>
              <a:gd name="connsiteX37055" fmla="*/ 8740407 w 10505529"/>
              <a:gd name="connsiteY37055" fmla="*/ 1129635 h 7458372"/>
              <a:gd name="connsiteX37056" fmla="*/ 8744134 w 10505529"/>
              <a:gd name="connsiteY37056" fmla="*/ 1127230 h 7458372"/>
              <a:gd name="connsiteX37057" fmla="*/ 8746797 w 10505529"/>
              <a:gd name="connsiteY37057" fmla="*/ 1123107 h 7458372"/>
              <a:gd name="connsiteX37058" fmla="*/ 8747862 w 10505529"/>
              <a:gd name="connsiteY37058" fmla="*/ 1117655 h 7458372"/>
              <a:gd name="connsiteX37059" fmla="*/ 8746797 w 10505529"/>
              <a:gd name="connsiteY37059" fmla="*/ 1112457 h 7458372"/>
              <a:gd name="connsiteX37060" fmla="*/ 8744134 w 10505529"/>
              <a:gd name="connsiteY37060" fmla="*/ 1108331 h 7458372"/>
              <a:gd name="connsiteX37061" fmla="*/ 8740141 w 10505529"/>
              <a:gd name="connsiteY37061" fmla="*/ 1105670 h 7458372"/>
              <a:gd name="connsiteX37062" fmla="*/ 8735083 w 10505529"/>
              <a:gd name="connsiteY37062" fmla="*/ 1104736 h 7458372"/>
              <a:gd name="connsiteX37063" fmla="*/ 8517438 w 10505529"/>
              <a:gd name="connsiteY37063" fmla="*/ 1104736 h 7458372"/>
              <a:gd name="connsiteX37064" fmla="*/ 8507453 w 10505529"/>
              <a:gd name="connsiteY37064" fmla="*/ 1108331 h 7458372"/>
              <a:gd name="connsiteX37065" fmla="*/ 8503860 w 10505529"/>
              <a:gd name="connsiteY37065" fmla="*/ 1117780 h 7458372"/>
              <a:gd name="connsiteX37066" fmla="*/ 8507453 w 10505529"/>
              <a:gd name="connsiteY37066" fmla="*/ 1127230 h 7458372"/>
              <a:gd name="connsiteX37067" fmla="*/ 8517438 w 10505529"/>
              <a:gd name="connsiteY37067" fmla="*/ 1130693 h 7458372"/>
              <a:gd name="connsiteX37068" fmla="*/ 8522763 w 10505529"/>
              <a:gd name="connsiteY37068" fmla="*/ 1129635 h 7458372"/>
              <a:gd name="connsiteX37069" fmla="*/ 8526490 w 10505529"/>
              <a:gd name="connsiteY37069" fmla="*/ 1127230 h 7458372"/>
              <a:gd name="connsiteX37070" fmla="*/ 8529152 w 10505529"/>
              <a:gd name="connsiteY37070" fmla="*/ 1123107 h 7458372"/>
              <a:gd name="connsiteX37071" fmla="*/ 8530084 w 10505529"/>
              <a:gd name="connsiteY37071" fmla="*/ 1117655 h 7458372"/>
              <a:gd name="connsiteX37072" fmla="*/ 8529152 w 10505529"/>
              <a:gd name="connsiteY37072" fmla="*/ 1112457 h 7458372"/>
              <a:gd name="connsiteX37073" fmla="*/ 8526490 w 10505529"/>
              <a:gd name="connsiteY37073" fmla="*/ 1108331 h 7458372"/>
              <a:gd name="connsiteX37074" fmla="*/ 8522496 w 10505529"/>
              <a:gd name="connsiteY37074" fmla="*/ 1105670 h 7458372"/>
              <a:gd name="connsiteX37075" fmla="*/ 8517438 w 10505529"/>
              <a:gd name="connsiteY37075" fmla="*/ 1104736 h 7458372"/>
              <a:gd name="connsiteX37076" fmla="*/ 8299793 w 10505529"/>
              <a:gd name="connsiteY37076" fmla="*/ 1104736 h 7458372"/>
              <a:gd name="connsiteX37077" fmla="*/ 8289809 w 10505529"/>
              <a:gd name="connsiteY37077" fmla="*/ 1108331 h 7458372"/>
              <a:gd name="connsiteX37078" fmla="*/ 8286215 w 10505529"/>
              <a:gd name="connsiteY37078" fmla="*/ 1117780 h 7458372"/>
              <a:gd name="connsiteX37079" fmla="*/ 8289809 w 10505529"/>
              <a:gd name="connsiteY37079" fmla="*/ 1127230 h 7458372"/>
              <a:gd name="connsiteX37080" fmla="*/ 8299793 w 10505529"/>
              <a:gd name="connsiteY37080" fmla="*/ 1130693 h 7458372"/>
              <a:gd name="connsiteX37081" fmla="*/ 8305118 w 10505529"/>
              <a:gd name="connsiteY37081" fmla="*/ 1129635 h 7458372"/>
              <a:gd name="connsiteX37082" fmla="*/ 8308844 w 10505529"/>
              <a:gd name="connsiteY37082" fmla="*/ 1127230 h 7458372"/>
              <a:gd name="connsiteX37083" fmla="*/ 8311507 w 10505529"/>
              <a:gd name="connsiteY37083" fmla="*/ 1123107 h 7458372"/>
              <a:gd name="connsiteX37084" fmla="*/ 8312439 w 10505529"/>
              <a:gd name="connsiteY37084" fmla="*/ 1117655 h 7458372"/>
              <a:gd name="connsiteX37085" fmla="*/ 8311507 w 10505529"/>
              <a:gd name="connsiteY37085" fmla="*/ 1112457 h 7458372"/>
              <a:gd name="connsiteX37086" fmla="*/ 8308844 w 10505529"/>
              <a:gd name="connsiteY37086" fmla="*/ 1108331 h 7458372"/>
              <a:gd name="connsiteX37087" fmla="*/ 8304851 w 10505529"/>
              <a:gd name="connsiteY37087" fmla="*/ 1105670 h 7458372"/>
              <a:gd name="connsiteX37088" fmla="*/ 8299793 w 10505529"/>
              <a:gd name="connsiteY37088" fmla="*/ 1104736 h 7458372"/>
              <a:gd name="connsiteX37089" fmla="*/ 8082281 w 10505529"/>
              <a:gd name="connsiteY37089" fmla="*/ 1104736 h 7458372"/>
              <a:gd name="connsiteX37090" fmla="*/ 8072297 w 10505529"/>
              <a:gd name="connsiteY37090" fmla="*/ 1108331 h 7458372"/>
              <a:gd name="connsiteX37091" fmla="*/ 8068703 w 10505529"/>
              <a:gd name="connsiteY37091" fmla="*/ 1117780 h 7458372"/>
              <a:gd name="connsiteX37092" fmla="*/ 8072297 w 10505529"/>
              <a:gd name="connsiteY37092" fmla="*/ 1127230 h 7458372"/>
              <a:gd name="connsiteX37093" fmla="*/ 8082281 w 10505529"/>
              <a:gd name="connsiteY37093" fmla="*/ 1130693 h 7458372"/>
              <a:gd name="connsiteX37094" fmla="*/ 8087605 w 10505529"/>
              <a:gd name="connsiteY37094" fmla="*/ 1129635 h 7458372"/>
              <a:gd name="connsiteX37095" fmla="*/ 8091332 w 10505529"/>
              <a:gd name="connsiteY37095" fmla="*/ 1127230 h 7458372"/>
              <a:gd name="connsiteX37096" fmla="*/ 8093994 w 10505529"/>
              <a:gd name="connsiteY37096" fmla="*/ 1123107 h 7458372"/>
              <a:gd name="connsiteX37097" fmla="*/ 8094926 w 10505529"/>
              <a:gd name="connsiteY37097" fmla="*/ 1117655 h 7458372"/>
              <a:gd name="connsiteX37098" fmla="*/ 8093994 w 10505529"/>
              <a:gd name="connsiteY37098" fmla="*/ 1112457 h 7458372"/>
              <a:gd name="connsiteX37099" fmla="*/ 8091332 w 10505529"/>
              <a:gd name="connsiteY37099" fmla="*/ 1108331 h 7458372"/>
              <a:gd name="connsiteX37100" fmla="*/ 8087338 w 10505529"/>
              <a:gd name="connsiteY37100" fmla="*/ 1105670 h 7458372"/>
              <a:gd name="connsiteX37101" fmla="*/ 8082281 w 10505529"/>
              <a:gd name="connsiteY37101" fmla="*/ 1104736 h 7458372"/>
              <a:gd name="connsiteX37102" fmla="*/ 7864636 w 10505529"/>
              <a:gd name="connsiteY37102" fmla="*/ 1104736 h 7458372"/>
              <a:gd name="connsiteX37103" fmla="*/ 7854652 w 10505529"/>
              <a:gd name="connsiteY37103" fmla="*/ 1108331 h 7458372"/>
              <a:gd name="connsiteX37104" fmla="*/ 7851058 w 10505529"/>
              <a:gd name="connsiteY37104" fmla="*/ 1117780 h 7458372"/>
              <a:gd name="connsiteX37105" fmla="*/ 7854652 w 10505529"/>
              <a:gd name="connsiteY37105" fmla="*/ 1127230 h 7458372"/>
              <a:gd name="connsiteX37106" fmla="*/ 7864636 w 10505529"/>
              <a:gd name="connsiteY37106" fmla="*/ 1130693 h 7458372"/>
              <a:gd name="connsiteX37107" fmla="*/ 7869961 w 10505529"/>
              <a:gd name="connsiteY37107" fmla="*/ 1129635 h 7458372"/>
              <a:gd name="connsiteX37108" fmla="*/ 7873687 w 10505529"/>
              <a:gd name="connsiteY37108" fmla="*/ 1127230 h 7458372"/>
              <a:gd name="connsiteX37109" fmla="*/ 7876350 w 10505529"/>
              <a:gd name="connsiteY37109" fmla="*/ 1123107 h 7458372"/>
              <a:gd name="connsiteX37110" fmla="*/ 7877282 w 10505529"/>
              <a:gd name="connsiteY37110" fmla="*/ 1117655 h 7458372"/>
              <a:gd name="connsiteX37111" fmla="*/ 7876350 w 10505529"/>
              <a:gd name="connsiteY37111" fmla="*/ 1112457 h 7458372"/>
              <a:gd name="connsiteX37112" fmla="*/ 7873687 w 10505529"/>
              <a:gd name="connsiteY37112" fmla="*/ 1108331 h 7458372"/>
              <a:gd name="connsiteX37113" fmla="*/ 7869694 w 10505529"/>
              <a:gd name="connsiteY37113" fmla="*/ 1105670 h 7458372"/>
              <a:gd name="connsiteX37114" fmla="*/ 7864636 w 10505529"/>
              <a:gd name="connsiteY37114" fmla="*/ 1104736 h 7458372"/>
              <a:gd name="connsiteX37115" fmla="*/ 7646991 w 10505529"/>
              <a:gd name="connsiteY37115" fmla="*/ 1104736 h 7458372"/>
              <a:gd name="connsiteX37116" fmla="*/ 7637007 w 10505529"/>
              <a:gd name="connsiteY37116" fmla="*/ 1108331 h 7458372"/>
              <a:gd name="connsiteX37117" fmla="*/ 7633413 w 10505529"/>
              <a:gd name="connsiteY37117" fmla="*/ 1117780 h 7458372"/>
              <a:gd name="connsiteX37118" fmla="*/ 7637007 w 10505529"/>
              <a:gd name="connsiteY37118" fmla="*/ 1127230 h 7458372"/>
              <a:gd name="connsiteX37119" fmla="*/ 7646991 w 10505529"/>
              <a:gd name="connsiteY37119" fmla="*/ 1130693 h 7458372"/>
              <a:gd name="connsiteX37120" fmla="*/ 7652315 w 10505529"/>
              <a:gd name="connsiteY37120" fmla="*/ 1129635 h 7458372"/>
              <a:gd name="connsiteX37121" fmla="*/ 7656042 w 10505529"/>
              <a:gd name="connsiteY37121" fmla="*/ 1127230 h 7458372"/>
              <a:gd name="connsiteX37122" fmla="*/ 7658705 w 10505529"/>
              <a:gd name="connsiteY37122" fmla="*/ 1123107 h 7458372"/>
              <a:gd name="connsiteX37123" fmla="*/ 7659769 w 10505529"/>
              <a:gd name="connsiteY37123" fmla="*/ 1117655 h 7458372"/>
              <a:gd name="connsiteX37124" fmla="*/ 7658705 w 10505529"/>
              <a:gd name="connsiteY37124" fmla="*/ 1112457 h 7458372"/>
              <a:gd name="connsiteX37125" fmla="*/ 7656042 w 10505529"/>
              <a:gd name="connsiteY37125" fmla="*/ 1108331 h 7458372"/>
              <a:gd name="connsiteX37126" fmla="*/ 7652049 w 10505529"/>
              <a:gd name="connsiteY37126" fmla="*/ 1105670 h 7458372"/>
              <a:gd name="connsiteX37127" fmla="*/ 7646991 w 10505529"/>
              <a:gd name="connsiteY37127" fmla="*/ 1104736 h 7458372"/>
              <a:gd name="connsiteX37128" fmla="*/ 7429345 w 10505529"/>
              <a:gd name="connsiteY37128" fmla="*/ 1104736 h 7458372"/>
              <a:gd name="connsiteX37129" fmla="*/ 7419361 w 10505529"/>
              <a:gd name="connsiteY37129" fmla="*/ 1108331 h 7458372"/>
              <a:gd name="connsiteX37130" fmla="*/ 7415768 w 10505529"/>
              <a:gd name="connsiteY37130" fmla="*/ 1117780 h 7458372"/>
              <a:gd name="connsiteX37131" fmla="*/ 7419361 w 10505529"/>
              <a:gd name="connsiteY37131" fmla="*/ 1127230 h 7458372"/>
              <a:gd name="connsiteX37132" fmla="*/ 7429345 w 10505529"/>
              <a:gd name="connsiteY37132" fmla="*/ 1130693 h 7458372"/>
              <a:gd name="connsiteX37133" fmla="*/ 7434670 w 10505529"/>
              <a:gd name="connsiteY37133" fmla="*/ 1129635 h 7458372"/>
              <a:gd name="connsiteX37134" fmla="*/ 7438397 w 10505529"/>
              <a:gd name="connsiteY37134" fmla="*/ 1127230 h 7458372"/>
              <a:gd name="connsiteX37135" fmla="*/ 7441059 w 10505529"/>
              <a:gd name="connsiteY37135" fmla="*/ 1123107 h 7458372"/>
              <a:gd name="connsiteX37136" fmla="*/ 7442124 w 10505529"/>
              <a:gd name="connsiteY37136" fmla="*/ 1117655 h 7458372"/>
              <a:gd name="connsiteX37137" fmla="*/ 7441059 w 10505529"/>
              <a:gd name="connsiteY37137" fmla="*/ 1112457 h 7458372"/>
              <a:gd name="connsiteX37138" fmla="*/ 7438397 w 10505529"/>
              <a:gd name="connsiteY37138" fmla="*/ 1108331 h 7458372"/>
              <a:gd name="connsiteX37139" fmla="*/ 7434403 w 10505529"/>
              <a:gd name="connsiteY37139" fmla="*/ 1105670 h 7458372"/>
              <a:gd name="connsiteX37140" fmla="*/ 7429345 w 10505529"/>
              <a:gd name="connsiteY37140" fmla="*/ 1104736 h 7458372"/>
              <a:gd name="connsiteX37141" fmla="*/ 7211701 w 10505529"/>
              <a:gd name="connsiteY37141" fmla="*/ 1104736 h 7458372"/>
              <a:gd name="connsiteX37142" fmla="*/ 7201717 w 10505529"/>
              <a:gd name="connsiteY37142" fmla="*/ 1108331 h 7458372"/>
              <a:gd name="connsiteX37143" fmla="*/ 7198123 w 10505529"/>
              <a:gd name="connsiteY37143" fmla="*/ 1117780 h 7458372"/>
              <a:gd name="connsiteX37144" fmla="*/ 7201717 w 10505529"/>
              <a:gd name="connsiteY37144" fmla="*/ 1127230 h 7458372"/>
              <a:gd name="connsiteX37145" fmla="*/ 7211701 w 10505529"/>
              <a:gd name="connsiteY37145" fmla="*/ 1130693 h 7458372"/>
              <a:gd name="connsiteX37146" fmla="*/ 7217026 w 10505529"/>
              <a:gd name="connsiteY37146" fmla="*/ 1129635 h 7458372"/>
              <a:gd name="connsiteX37147" fmla="*/ 7220752 w 10505529"/>
              <a:gd name="connsiteY37147" fmla="*/ 1127230 h 7458372"/>
              <a:gd name="connsiteX37148" fmla="*/ 7223415 w 10505529"/>
              <a:gd name="connsiteY37148" fmla="*/ 1123107 h 7458372"/>
              <a:gd name="connsiteX37149" fmla="*/ 7224480 w 10505529"/>
              <a:gd name="connsiteY37149" fmla="*/ 1117655 h 7458372"/>
              <a:gd name="connsiteX37150" fmla="*/ 7223415 w 10505529"/>
              <a:gd name="connsiteY37150" fmla="*/ 1112457 h 7458372"/>
              <a:gd name="connsiteX37151" fmla="*/ 7220752 w 10505529"/>
              <a:gd name="connsiteY37151" fmla="*/ 1108331 h 7458372"/>
              <a:gd name="connsiteX37152" fmla="*/ 7216759 w 10505529"/>
              <a:gd name="connsiteY37152" fmla="*/ 1105670 h 7458372"/>
              <a:gd name="connsiteX37153" fmla="*/ 7211701 w 10505529"/>
              <a:gd name="connsiteY37153" fmla="*/ 1104736 h 7458372"/>
              <a:gd name="connsiteX37154" fmla="*/ 6994056 w 10505529"/>
              <a:gd name="connsiteY37154" fmla="*/ 1104736 h 7458372"/>
              <a:gd name="connsiteX37155" fmla="*/ 6984072 w 10505529"/>
              <a:gd name="connsiteY37155" fmla="*/ 1108331 h 7458372"/>
              <a:gd name="connsiteX37156" fmla="*/ 6980478 w 10505529"/>
              <a:gd name="connsiteY37156" fmla="*/ 1117780 h 7458372"/>
              <a:gd name="connsiteX37157" fmla="*/ 6984072 w 10505529"/>
              <a:gd name="connsiteY37157" fmla="*/ 1127230 h 7458372"/>
              <a:gd name="connsiteX37158" fmla="*/ 6994056 w 10505529"/>
              <a:gd name="connsiteY37158" fmla="*/ 1130693 h 7458372"/>
              <a:gd name="connsiteX37159" fmla="*/ 6999380 w 10505529"/>
              <a:gd name="connsiteY37159" fmla="*/ 1129635 h 7458372"/>
              <a:gd name="connsiteX37160" fmla="*/ 7003107 w 10505529"/>
              <a:gd name="connsiteY37160" fmla="*/ 1127230 h 7458372"/>
              <a:gd name="connsiteX37161" fmla="*/ 7005769 w 10505529"/>
              <a:gd name="connsiteY37161" fmla="*/ 1123107 h 7458372"/>
              <a:gd name="connsiteX37162" fmla="*/ 7006834 w 10505529"/>
              <a:gd name="connsiteY37162" fmla="*/ 1117655 h 7458372"/>
              <a:gd name="connsiteX37163" fmla="*/ 7005769 w 10505529"/>
              <a:gd name="connsiteY37163" fmla="*/ 1112457 h 7458372"/>
              <a:gd name="connsiteX37164" fmla="*/ 7003107 w 10505529"/>
              <a:gd name="connsiteY37164" fmla="*/ 1108331 h 7458372"/>
              <a:gd name="connsiteX37165" fmla="*/ 6999113 w 10505529"/>
              <a:gd name="connsiteY37165" fmla="*/ 1105670 h 7458372"/>
              <a:gd name="connsiteX37166" fmla="*/ 6994056 w 10505529"/>
              <a:gd name="connsiteY37166" fmla="*/ 1104736 h 7458372"/>
              <a:gd name="connsiteX37167" fmla="*/ 6776544 w 10505529"/>
              <a:gd name="connsiteY37167" fmla="*/ 1104736 h 7458372"/>
              <a:gd name="connsiteX37168" fmla="*/ 6766560 w 10505529"/>
              <a:gd name="connsiteY37168" fmla="*/ 1108331 h 7458372"/>
              <a:gd name="connsiteX37169" fmla="*/ 6762966 w 10505529"/>
              <a:gd name="connsiteY37169" fmla="*/ 1117780 h 7458372"/>
              <a:gd name="connsiteX37170" fmla="*/ 6766560 w 10505529"/>
              <a:gd name="connsiteY37170" fmla="*/ 1127230 h 7458372"/>
              <a:gd name="connsiteX37171" fmla="*/ 6776544 w 10505529"/>
              <a:gd name="connsiteY37171" fmla="*/ 1130693 h 7458372"/>
              <a:gd name="connsiteX37172" fmla="*/ 6781869 w 10505529"/>
              <a:gd name="connsiteY37172" fmla="*/ 1129635 h 7458372"/>
              <a:gd name="connsiteX37173" fmla="*/ 6785595 w 10505529"/>
              <a:gd name="connsiteY37173" fmla="*/ 1127230 h 7458372"/>
              <a:gd name="connsiteX37174" fmla="*/ 6788258 w 10505529"/>
              <a:gd name="connsiteY37174" fmla="*/ 1123107 h 7458372"/>
              <a:gd name="connsiteX37175" fmla="*/ 6789323 w 10505529"/>
              <a:gd name="connsiteY37175" fmla="*/ 1117655 h 7458372"/>
              <a:gd name="connsiteX37176" fmla="*/ 6788258 w 10505529"/>
              <a:gd name="connsiteY37176" fmla="*/ 1112457 h 7458372"/>
              <a:gd name="connsiteX37177" fmla="*/ 6785595 w 10505529"/>
              <a:gd name="connsiteY37177" fmla="*/ 1108331 h 7458372"/>
              <a:gd name="connsiteX37178" fmla="*/ 6781602 w 10505529"/>
              <a:gd name="connsiteY37178" fmla="*/ 1105670 h 7458372"/>
              <a:gd name="connsiteX37179" fmla="*/ 6776544 w 10505529"/>
              <a:gd name="connsiteY37179" fmla="*/ 1104736 h 7458372"/>
              <a:gd name="connsiteX37180" fmla="*/ 6558899 w 10505529"/>
              <a:gd name="connsiteY37180" fmla="*/ 1104736 h 7458372"/>
              <a:gd name="connsiteX37181" fmla="*/ 6548915 w 10505529"/>
              <a:gd name="connsiteY37181" fmla="*/ 1108331 h 7458372"/>
              <a:gd name="connsiteX37182" fmla="*/ 6545321 w 10505529"/>
              <a:gd name="connsiteY37182" fmla="*/ 1117780 h 7458372"/>
              <a:gd name="connsiteX37183" fmla="*/ 6548915 w 10505529"/>
              <a:gd name="connsiteY37183" fmla="*/ 1127230 h 7458372"/>
              <a:gd name="connsiteX37184" fmla="*/ 6558899 w 10505529"/>
              <a:gd name="connsiteY37184" fmla="*/ 1130693 h 7458372"/>
              <a:gd name="connsiteX37185" fmla="*/ 6564223 w 10505529"/>
              <a:gd name="connsiteY37185" fmla="*/ 1129635 h 7458372"/>
              <a:gd name="connsiteX37186" fmla="*/ 6567950 w 10505529"/>
              <a:gd name="connsiteY37186" fmla="*/ 1127230 h 7458372"/>
              <a:gd name="connsiteX37187" fmla="*/ 6570612 w 10505529"/>
              <a:gd name="connsiteY37187" fmla="*/ 1123107 h 7458372"/>
              <a:gd name="connsiteX37188" fmla="*/ 6571677 w 10505529"/>
              <a:gd name="connsiteY37188" fmla="*/ 1117655 h 7458372"/>
              <a:gd name="connsiteX37189" fmla="*/ 6570612 w 10505529"/>
              <a:gd name="connsiteY37189" fmla="*/ 1112457 h 7458372"/>
              <a:gd name="connsiteX37190" fmla="*/ 6567950 w 10505529"/>
              <a:gd name="connsiteY37190" fmla="*/ 1108331 h 7458372"/>
              <a:gd name="connsiteX37191" fmla="*/ 6563956 w 10505529"/>
              <a:gd name="connsiteY37191" fmla="*/ 1105670 h 7458372"/>
              <a:gd name="connsiteX37192" fmla="*/ 6558899 w 10505529"/>
              <a:gd name="connsiteY37192" fmla="*/ 1104736 h 7458372"/>
              <a:gd name="connsiteX37193" fmla="*/ 6341253 w 10505529"/>
              <a:gd name="connsiteY37193" fmla="*/ 1104736 h 7458372"/>
              <a:gd name="connsiteX37194" fmla="*/ 6331270 w 10505529"/>
              <a:gd name="connsiteY37194" fmla="*/ 1108331 h 7458372"/>
              <a:gd name="connsiteX37195" fmla="*/ 6327675 w 10505529"/>
              <a:gd name="connsiteY37195" fmla="*/ 1117780 h 7458372"/>
              <a:gd name="connsiteX37196" fmla="*/ 6331270 w 10505529"/>
              <a:gd name="connsiteY37196" fmla="*/ 1127230 h 7458372"/>
              <a:gd name="connsiteX37197" fmla="*/ 6341253 w 10505529"/>
              <a:gd name="connsiteY37197" fmla="*/ 1130693 h 7458372"/>
              <a:gd name="connsiteX37198" fmla="*/ 6346578 w 10505529"/>
              <a:gd name="connsiteY37198" fmla="*/ 1129635 h 7458372"/>
              <a:gd name="connsiteX37199" fmla="*/ 6350305 w 10505529"/>
              <a:gd name="connsiteY37199" fmla="*/ 1127230 h 7458372"/>
              <a:gd name="connsiteX37200" fmla="*/ 6352968 w 10505529"/>
              <a:gd name="connsiteY37200" fmla="*/ 1123107 h 7458372"/>
              <a:gd name="connsiteX37201" fmla="*/ 6354033 w 10505529"/>
              <a:gd name="connsiteY37201" fmla="*/ 1117655 h 7458372"/>
              <a:gd name="connsiteX37202" fmla="*/ 6352968 w 10505529"/>
              <a:gd name="connsiteY37202" fmla="*/ 1112457 h 7458372"/>
              <a:gd name="connsiteX37203" fmla="*/ 6350305 w 10505529"/>
              <a:gd name="connsiteY37203" fmla="*/ 1108331 h 7458372"/>
              <a:gd name="connsiteX37204" fmla="*/ 6346312 w 10505529"/>
              <a:gd name="connsiteY37204" fmla="*/ 1105670 h 7458372"/>
              <a:gd name="connsiteX37205" fmla="*/ 6341253 w 10505529"/>
              <a:gd name="connsiteY37205" fmla="*/ 1104736 h 7458372"/>
              <a:gd name="connsiteX37206" fmla="*/ 6123608 w 10505529"/>
              <a:gd name="connsiteY37206" fmla="*/ 1104736 h 7458372"/>
              <a:gd name="connsiteX37207" fmla="*/ 6113624 w 10505529"/>
              <a:gd name="connsiteY37207" fmla="*/ 1108331 h 7458372"/>
              <a:gd name="connsiteX37208" fmla="*/ 6110030 w 10505529"/>
              <a:gd name="connsiteY37208" fmla="*/ 1117780 h 7458372"/>
              <a:gd name="connsiteX37209" fmla="*/ 6113624 w 10505529"/>
              <a:gd name="connsiteY37209" fmla="*/ 1127230 h 7458372"/>
              <a:gd name="connsiteX37210" fmla="*/ 6123608 w 10505529"/>
              <a:gd name="connsiteY37210" fmla="*/ 1130693 h 7458372"/>
              <a:gd name="connsiteX37211" fmla="*/ 6128932 w 10505529"/>
              <a:gd name="connsiteY37211" fmla="*/ 1129635 h 7458372"/>
              <a:gd name="connsiteX37212" fmla="*/ 6132659 w 10505529"/>
              <a:gd name="connsiteY37212" fmla="*/ 1127230 h 7458372"/>
              <a:gd name="connsiteX37213" fmla="*/ 6135322 w 10505529"/>
              <a:gd name="connsiteY37213" fmla="*/ 1123107 h 7458372"/>
              <a:gd name="connsiteX37214" fmla="*/ 6136387 w 10505529"/>
              <a:gd name="connsiteY37214" fmla="*/ 1117655 h 7458372"/>
              <a:gd name="connsiteX37215" fmla="*/ 6135322 w 10505529"/>
              <a:gd name="connsiteY37215" fmla="*/ 1112457 h 7458372"/>
              <a:gd name="connsiteX37216" fmla="*/ 6132659 w 10505529"/>
              <a:gd name="connsiteY37216" fmla="*/ 1108331 h 7458372"/>
              <a:gd name="connsiteX37217" fmla="*/ 6128666 w 10505529"/>
              <a:gd name="connsiteY37217" fmla="*/ 1105670 h 7458372"/>
              <a:gd name="connsiteX37218" fmla="*/ 6123608 w 10505529"/>
              <a:gd name="connsiteY37218" fmla="*/ 1104736 h 7458372"/>
              <a:gd name="connsiteX37219" fmla="*/ 5905963 w 10505529"/>
              <a:gd name="connsiteY37219" fmla="*/ 1104736 h 7458372"/>
              <a:gd name="connsiteX37220" fmla="*/ 5895979 w 10505529"/>
              <a:gd name="connsiteY37220" fmla="*/ 1108331 h 7458372"/>
              <a:gd name="connsiteX37221" fmla="*/ 5892385 w 10505529"/>
              <a:gd name="connsiteY37221" fmla="*/ 1117780 h 7458372"/>
              <a:gd name="connsiteX37222" fmla="*/ 5895979 w 10505529"/>
              <a:gd name="connsiteY37222" fmla="*/ 1127230 h 7458372"/>
              <a:gd name="connsiteX37223" fmla="*/ 5905963 w 10505529"/>
              <a:gd name="connsiteY37223" fmla="*/ 1130693 h 7458372"/>
              <a:gd name="connsiteX37224" fmla="*/ 5911287 w 10505529"/>
              <a:gd name="connsiteY37224" fmla="*/ 1129635 h 7458372"/>
              <a:gd name="connsiteX37225" fmla="*/ 5915014 w 10505529"/>
              <a:gd name="connsiteY37225" fmla="*/ 1127230 h 7458372"/>
              <a:gd name="connsiteX37226" fmla="*/ 5917677 w 10505529"/>
              <a:gd name="connsiteY37226" fmla="*/ 1123107 h 7458372"/>
              <a:gd name="connsiteX37227" fmla="*/ 5918742 w 10505529"/>
              <a:gd name="connsiteY37227" fmla="*/ 1117655 h 7458372"/>
              <a:gd name="connsiteX37228" fmla="*/ 5917677 w 10505529"/>
              <a:gd name="connsiteY37228" fmla="*/ 1112457 h 7458372"/>
              <a:gd name="connsiteX37229" fmla="*/ 5915014 w 10505529"/>
              <a:gd name="connsiteY37229" fmla="*/ 1108331 h 7458372"/>
              <a:gd name="connsiteX37230" fmla="*/ 5911021 w 10505529"/>
              <a:gd name="connsiteY37230" fmla="*/ 1105670 h 7458372"/>
              <a:gd name="connsiteX37231" fmla="*/ 5905963 w 10505529"/>
              <a:gd name="connsiteY37231" fmla="*/ 1104736 h 7458372"/>
              <a:gd name="connsiteX37232" fmla="*/ 5688451 w 10505529"/>
              <a:gd name="connsiteY37232" fmla="*/ 1104736 h 7458372"/>
              <a:gd name="connsiteX37233" fmla="*/ 5678467 w 10505529"/>
              <a:gd name="connsiteY37233" fmla="*/ 1108331 h 7458372"/>
              <a:gd name="connsiteX37234" fmla="*/ 5674873 w 10505529"/>
              <a:gd name="connsiteY37234" fmla="*/ 1117780 h 7458372"/>
              <a:gd name="connsiteX37235" fmla="*/ 5678467 w 10505529"/>
              <a:gd name="connsiteY37235" fmla="*/ 1127230 h 7458372"/>
              <a:gd name="connsiteX37236" fmla="*/ 5688451 w 10505529"/>
              <a:gd name="connsiteY37236" fmla="*/ 1130693 h 7458372"/>
              <a:gd name="connsiteX37237" fmla="*/ 5693775 w 10505529"/>
              <a:gd name="connsiteY37237" fmla="*/ 1129635 h 7458372"/>
              <a:gd name="connsiteX37238" fmla="*/ 5697502 w 10505529"/>
              <a:gd name="connsiteY37238" fmla="*/ 1127230 h 7458372"/>
              <a:gd name="connsiteX37239" fmla="*/ 5700165 w 10505529"/>
              <a:gd name="connsiteY37239" fmla="*/ 1123107 h 7458372"/>
              <a:gd name="connsiteX37240" fmla="*/ 5701230 w 10505529"/>
              <a:gd name="connsiteY37240" fmla="*/ 1117655 h 7458372"/>
              <a:gd name="connsiteX37241" fmla="*/ 5700165 w 10505529"/>
              <a:gd name="connsiteY37241" fmla="*/ 1112457 h 7458372"/>
              <a:gd name="connsiteX37242" fmla="*/ 5697502 w 10505529"/>
              <a:gd name="connsiteY37242" fmla="*/ 1108331 h 7458372"/>
              <a:gd name="connsiteX37243" fmla="*/ 5693509 w 10505529"/>
              <a:gd name="connsiteY37243" fmla="*/ 1105670 h 7458372"/>
              <a:gd name="connsiteX37244" fmla="*/ 5688451 w 10505529"/>
              <a:gd name="connsiteY37244" fmla="*/ 1104736 h 7458372"/>
              <a:gd name="connsiteX37245" fmla="*/ 5470806 w 10505529"/>
              <a:gd name="connsiteY37245" fmla="*/ 1104736 h 7458372"/>
              <a:gd name="connsiteX37246" fmla="*/ 5460822 w 10505529"/>
              <a:gd name="connsiteY37246" fmla="*/ 1108331 h 7458372"/>
              <a:gd name="connsiteX37247" fmla="*/ 5457228 w 10505529"/>
              <a:gd name="connsiteY37247" fmla="*/ 1117780 h 7458372"/>
              <a:gd name="connsiteX37248" fmla="*/ 5460822 w 10505529"/>
              <a:gd name="connsiteY37248" fmla="*/ 1127230 h 7458372"/>
              <a:gd name="connsiteX37249" fmla="*/ 5470806 w 10505529"/>
              <a:gd name="connsiteY37249" fmla="*/ 1130693 h 7458372"/>
              <a:gd name="connsiteX37250" fmla="*/ 5476130 w 10505529"/>
              <a:gd name="connsiteY37250" fmla="*/ 1129635 h 7458372"/>
              <a:gd name="connsiteX37251" fmla="*/ 5479857 w 10505529"/>
              <a:gd name="connsiteY37251" fmla="*/ 1127230 h 7458372"/>
              <a:gd name="connsiteX37252" fmla="*/ 5482520 w 10505529"/>
              <a:gd name="connsiteY37252" fmla="*/ 1123107 h 7458372"/>
              <a:gd name="connsiteX37253" fmla="*/ 5483585 w 10505529"/>
              <a:gd name="connsiteY37253" fmla="*/ 1117655 h 7458372"/>
              <a:gd name="connsiteX37254" fmla="*/ 5482520 w 10505529"/>
              <a:gd name="connsiteY37254" fmla="*/ 1112457 h 7458372"/>
              <a:gd name="connsiteX37255" fmla="*/ 5479857 w 10505529"/>
              <a:gd name="connsiteY37255" fmla="*/ 1108331 h 7458372"/>
              <a:gd name="connsiteX37256" fmla="*/ 5475864 w 10505529"/>
              <a:gd name="connsiteY37256" fmla="*/ 1105670 h 7458372"/>
              <a:gd name="connsiteX37257" fmla="*/ 5470806 w 10505529"/>
              <a:gd name="connsiteY37257" fmla="*/ 1104736 h 7458372"/>
              <a:gd name="connsiteX37258" fmla="*/ 5253160 w 10505529"/>
              <a:gd name="connsiteY37258" fmla="*/ 1104736 h 7458372"/>
              <a:gd name="connsiteX37259" fmla="*/ 5243177 w 10505529"/>
              <a:gd name="connsiteY37259" fmla="*/ 1108331 h 7458372"/>
              <a:gd name="connsiteX37260" fmla="*/ 5239583 w 10505529"/>
              <a:gd name="connsiteY37260" fmla="*/ 1117780 h 7458372"/>
              <a:gd name="connsiteX37261" fmla="*/ 5243177 w 10505529"/>
              <a:gd name="connsiteY37261" fmla="*/ 1127230 h 7458372"/>
              <a:gd name="connsiteX37262" fmla="*/ 5253160 w 10505529"/>
              <a:gd name="connsiteY37262" fmla="*/ 1130693 h 7458372"/>
              <a:gd name="connsiteX37263" fmla="*/ 5258485 w 10505529"/>
              <a:gd name="connsiteY37263" fmla="*/ 1129635 h 7458372"/>
              <a:gd name="connsiteX37264" fmla="*/ 5262212 w 10505529"/>
              <a:gd name="connsiteY37264" fmla="*/ 1127230 h 7458372"/>
              <a:gd name="connsiteX37265" fmla="*/ 5264875 w 10505529"/>
              <a:gd name="connsiteY37265" fmla="*/ 1123107 h 7458372"/>
              <a:gd name="connsiteX37266" fmla="*/ 5265939 w 10505529"/>
              <a:gd name="connsiteY37266" fmla="*/ 1117655 h 7458372"/>
              <a:gd name="connsiteX37267" fmla="*/ 5264875 w 10505529"/>
              <a:gd name="connsiteY37267" fmla="*/ 1112457 h 7458372"/>
              <a:gd name="connsiteX37268" fmla="*/ 5262212 w 10505529"/>
              <a:gd name="connsiteY37268" fmla="*/ 1108331 h 7458372"/>
              <a:gd name="connsiteX37269" fmla="*/ 5258219 w 10505529"/>
              <a:gd name="connsiteY37269" fmla="*/ 1105670 h 7458372"/>
              <a:gd name="connsiteX37270" fmla="*/ 5253160 w 10505529"/>
              <a:gd name="connsiteY37270" fmla="*/ 1104736 h 7458372"/>
              <a:gd name="connsiteX37271" fmla="*/ 5035515 w 10505529"/>
              <a:gd name="connsiteY37271" fmla="*/ 1104736 h 7458372"/>
              <a:gd name="connsiteX37272" fmla="*/ 5025532 w 10505529"/>
              <a:gd name="connsiteY37272" fmla="*/ 1108331 h 7458372"/>
              <a:gd name="connsiteX37273" fmla="*/ 5021938 w 10505529"/>
              <a:gd name="connsiteY37273" fmla="*/ 1117780 h 7458372"/>
              <a:gd name="connsiteX37274" fmla="*/ 5025532 w 10505529"/>
              <a:gd name="connsiteY37274" fmla="*/ 1127230 h 7458372"/>
              <a:gd name="connsiteX37275" fmla="*/ 5035515 w 10505529"/>
              <a:gd name="connsiteY37275" fmla="*/ 1130693 h 7458372"/>
              <a:gd name="connsiteX37276" fmla="*/ 5040840 w 10505529"/>
              <a:gd name="connsiteY37276" fmla="*/ 1129635 h 7458372"/>
              <a:gd name="connsiteX37277" fmla="*/ 5044567 w 10505529"/>
              <a:gd name="connsiteY37277" fmla="*/ 1127230 h 7458372"/>
              <a:gd name="connsiteX37278" fmla="*/ 5047230 w 10505529"/>
              <a:gd name="connsiteY37278" fmla="*/ 1123107 h 7458372"/>
              <a:gd name="connsiteX37279" fmla="*/ 5048294 w 10505529"/>
              <a:gd name="connsiteY37279" fmla="*/ 1117655 h 7458372"/>
              <a:gd name="connsiteX37280" fmla="*/ 5047230 w 10505529"/>
              <a:gd name="connsiteY37280" fmla="*/ 1112457 h 7458372"/>
              <a:gd name="connsiteX37281" fmla="*/ 5044567 w 10505529"/>
              <a:gd name="connsiteY37281" fmla="*/ 1108331 h 7458372"/>
              <a:gd name="connsiteX37282" fmla="*/ 5040574 w 10505529"/>
              <a:gd name="connsiteY37282" fmla="*/ 1105670 h 7458372"/>
              <a:gd name="connsiteX37283" fmla="*/ 5035515 w 10505529"/>
              <a:gd name="connsiteY37283" fmla="*/ 1104736 h 7458372"/>
              <a:gd name="connsiteX37284" fmla="*/ 4817870 w 10505529"/>
              <a:gd name="connsiteY37284" fmla="*/ 1104736 h 7458372"/>
              <a:gd name="connsiteX37285" fmla="*/ 4807887 w 10505529"/>
              <a:gd name="connsiteY37285" fmla="*/ 1108331 h 7458372"/>
              <a:gd name="connsiteX37286" fmla="*/ 4804293 w 10505529"/>
              <a:gd name="connsiteY37286" fmla="*/ 1117780 h 7458372"/>
              <a:gd name="connsiteX37287" fmla="*/ 4807887 w 10505529"/>
              <a:gd name="connsiteY37287" fmla="*/ 1127230 h 7458372"/>
              <a:gd name="connsiteX37288" fmla="*/ 4817870 w 10505529"/>
              <a:gd name="connsiteY37288" fmla="*/ 1130693 h 7458372"/>
              <a:gd name="connsiteX37289" fmla="*/ 4823195 w 10505529"/>
              <a:gd name="connsiteY37289" fmla="*/ 1129635 h 7458372"/>
              <a:gd name="connsiteX37290" fmla="*/ 4826922 w 10505529"/>
              <a:gd name="connsiteY37290" fmla="*/ 1127230 h 7458372"/>
              <a:gd name="connsiteX37291" fmla="*/ 4829585 w 10505529"/>
              <a:gd name="connsiteY37291" fmla="*/ 1123107 h 7458372"/>
              <a:gd name="connsiteX37292" fmla="*/ 4830650 w 10505529"/>
              <a:gd name="connsiteY37292" fmla="*/ 1117655 h 7458372"/>
              <a:gd name="connsiteX37293" fmla="*/ 4829585 w 10505529"/>
              <a:gd name="connsiteY37293" fmla="*/ 1112457 h 7458372"/>
              <a:gd name="connsiteX37294" fmla="*/ 4826922 w 10505529"/>
              <a:gd name="connsiteY37294" fmla="*/ 1108331 h 7458372"/>
              <a:gd name="connsiteX37295" fmla="*/ 4822929 w 10505529"/>
              <a:gd name="connsiteY37295" fmla="*/ 1105670 h 7458372"/>
              <a:gd name="connsiteX37296" fmla="*/ 4817870 w 10505529"/>
              <a:gd name="connsiteY37296" fmla="*/ 1104736 h 7458372"/>
              <a:gd name="connsiteX37297" fmla="*/ 4600226 w 10505529"/>
              <a:gd name="connsiteY37297" fmla="*/ 1104736 h 7458372"/>
              <a:gd name="connsiteX37298" fmla="*/ 4590242 w 10505529"/>
              <a:gd name="connsiteY37298" fmla="*/ 1108331 h 7458372"/>
              <a:gd name="connsiteX37299" fmla="*/ 4586648 w 10505529"/>
              <a:gd name="connsiteY37299" fmla="*/ 1117780 h 7458372"/>
              <a:gd name="connsiteX37300" fmla="*/ 4590242 w 10505529"/>
              <a:gd name="connsiteY37300" fmla="*/ 1127230 h 7458372"/>
              <a:gd name="connsiteX37301" fmla="*/ 4600226 w 10505529"/>
              <a:gd name="connsiteY37301" fmla="*/ 1130693 h 7458372"/>
              <a:gd name="connsiteX37302" fmla="*/ 4605550 w 10505529"/>
              <a:gd name="connsiteY37302" fmla="*/ 1129635 h 7458372"/>
              <a:gd name="connsiteX37303" fmla="*/ 4609277 w 10505529"/>
              <a:gd name="connsiteY37303" fmla="*/ 1127230 h 7458372"/>
              <a:gd name="connsiteX37304" fmla="*/ 4611940 w 10505529"/>
              <a:gd name="connsiteY37304" fmla="*/ 1123107 h 7458372"/>
              <a:gd name="connsiteX37305" fmla="*/ 4613005 w 10505529"/>
              <a:gd name="connsiteY37305" fmla="*/ 1117655 h 7458372"/>
              <a:gd name="connsiteX37306" fmla="*/ 4611940 w 10505529"/>
              <a:gd name="connsiteY37306" fmla="*/ 1112457 h 7458372"/>
              <a:gd name="connsiteX37307" fmla="*/ 4609277 w 10505529"/>
              <a:gd name="connsiteY37307" fmla="*/ 1108331 h 7458372"/>
              <a:gd name="connsiteX37308" fmla="*/ 4605284 w 10505529"/>
              <a:gd name="connsiteY37308" fmla="*/ 1105670 h 7458372"/>
              <a:gd name="connsiteX37309" fmla="*/ 4600226 w 10505529"/>
              <a:gd name="connsiteY37309" fmla="*/ 1104736 h 7458372"/>
              <a:gd name="connsiteX37310" fmla="*/ 4382713 w 10505529"/>
              <a:gd name="connsiteY37310" fmla="*/ 1104736 h 7458372"/>
              <a:gd name="connsiteX37311" fmla="*/ 4372730 w 10505529"/>
              <a:gd name="connsiteY37311" fmla="*/ 1108331 h 7458372"/>
              <a:gd name="connsiteX37312" fmla="*/ 4369136 w 10505529"/>
              <a:gd name="connsiteY37312" fmla="*/ 1117780 h 7458372"/>
              <a:gd name="connsiteX37313" fmla="*/ 4372730 w 10505529"/>
              <a:gd name="connsiteY37313" fmla="*/ 1127230 h 7458372"/>
              <a:gd name="connsiteX37314" fmla="*/ 4382713 w 10505529"/>
              <a:gd name="connsiteY37314" fmla="*/ 1130693 h 7458372"/>
              <a:gd name="connsiteX37315" fmla="*/ 4388038 w 10505529"/>
              <a:gd name="connsiteY37315" fmla="*/ 1129635 h 7458372"/>
              <a:gd name="connsiteX37316" fmla="*/ 4391765 w 10505529"/>
              <a:gd name="connsiteY37316" fmla="*/ 1127230 h 7458372"/>
              <a:gd name="connsiteX37317" fmla="*/ 4394428 w 10505529"/>
              <a:gd name="connsiteY37317" fmla="*/ 1123107 h 7458372"/>
              <a:gd name="connsiteX37318" fmla="*/ 4395493 w 10505529"/>
              <a:gd name="connsiteY37318" fmla="*/ 1117655 h 7458372"/>
              <a:gd name="connsiteX37319" fmla="*/ 4394428 w 10505529"/>
              <a:gd name="connsiteY37319" fmla="*/ 1112457 h 7458372"/>
              <a:gd name="connsiteX37320" fmla="*/ 4391765 w 10505529"/>
              <a:gd name="connsiteY37320" fmla="*/ 1108331 h 7458372"/>
              <a:gd name="connsiteX37321" fmla="*/ 4387772 w 10505529"/>
              <a:gd name="connsiteY37321" fmla="*/ 1105670 h 7458372"/>
              <a:gd name="connsiteX37322" fmla="*/ 4382713 w 10505529"/>
              <a:gd name="connsiteY37322" fmla="*/ 1104736 h 7458372"/>
              <a:gd name="connsiteX37323" fmla="*/ 4165068 w 10505529"/>
              <a:gd name="connsiteY37323" fmla="*/ 1104736 h 7458372"/>
              <a:gd name="connsiteX37324" fmla="*/ 4155084 w 10505529"/>
              <a:gd name="connsiteY37324" fmla="*/ 1108331 h 7458372"/>
              <a:gd name="connsiteX37325" fmla="*/ 4151490 w 10505529"/>
              <a:gd name="connsiteY37325" fmla="*/ 1117780 h 7458372"/>
              <a:gd name="connsiteX37326" fmla="*/ 4155084 w 10505529"/>
              <a:gd name="connsiteY37326" fmla="*/ 1127230 h 7458372"/>
              <a:gd name="connsiteX37327" fmla="*/ 4165068 w 10505529"/>
              <a:gd name="connsiteY37327" fmla="*/ 1130693 h 7458372"/>
              <a:gd name="connsiteX37328" fmla="*/ 4170392 w 10505529"/>
              <a:gd name="connsiteY37328" fmla="*/ 1129635 h 7458372"/>
              <a:gd name="connsiteX37329" fmla="*/ 4174119 w 10505529"/>
              <a:gd name="connsiteY37329" fmla="*/ 1127230 h 7458372"/>
              <a:gd name="connsiteX37330" fmla="*/ 4176782 w 10505529"/>
              <a:gd name="connsiteY37330" fmla="*/ 1123107 h 7458372"/>
              <a:gd name="connsiteX37331" fmla="*/ 4177847 w 10505529"/>
              <a:gd name="connsiteY37331" fmla="*/ 1117655 h 7458372"/>
              <a:gd name="connsiteX37332" fmla="*/ 4176782 w 10505529"/>
              <a:gd name="connsiteY37332" fmla="*/ 1112457 h 7458372"/>
              <a:gd name="connsiteX37333" fmla="*/ 4174119 w 10505529"/>
              <a:gd name="connsiteY37333" fmla="*/ 1108331 h 7458372"/>
              <a:gd name="connsiteX37334" fmla="*/ 4170126 w 10505529"/>
              <a:gd name="connsiteY37334" fmla="*/ 1105670 h 7458372"/>
              <a:gd name="connsiteX37335" fmla="*/ 4165068 w 10505529"/>
              <a:gd name="connsiteY37335" fmla="*/ 1104736 h 7458372"/>
              <a:gd name="connsiteX37336" fmla="*/ 3947489 w 10505529"/>
              <a:gd name="connsiteY37336" fmla="*/ 1104736 h 7458372"/>
              <a:gd name="connsiteX37337" fmla="*/ 3937506 w 10505529"/>
              <a:gd name="connsiteY37337" fmla="*/ 1108331 h 7458372"/>
              <a:gd name="connsiteX37338" fmla="*/ 3933911 w 10505529"/>
              <a:gd name="connsiteY37338" fmla="*/ 1117780 h 7458372"/>
              <a:gd name="connsiteX37339" fmla="*/ 3937506 w 10505529"/>
              <a:gd name="connsiteY37339" fmla="*/ 1127230 h 7458372"/>
              <a:gd name="connsiteX37340" fmla="*/ 3947489 w 10505529"/>
              <a:gd name="connsiteY37340" fmla="*/ 1130693 h 7458372"/>
              <a:gd name="connsiteX37341" fmla="*/ 3952814 w 10505529"/>
              <a:gd name="connsiteY37341" fmla="*/ 1129635 h 7458372"/>
              <a:gd name="connsiteX37342" fmla="*/ 3956541 w 10505529"/>
              <a:gd name="connsiteY37342" fmla="*/ 1127230 h 7458372"/>
              <a:gd name="connsiteX37343" fmla="*/ 3959204 w 10505529"/>
              <a:gd name="connsiteY37343" fmla="*/ 1123107 h 7458372"/>
              <a:gd name="connsiteX37344" fmla="*/ 3960268 w 10505529"/>
              <a:gd name="connsiteY37344" fmla="*/ 1117655 h 7458372"/>
              <a:gd name="connsiteX37345" fmla="*/ 3959204 w 10505529"/>
              <a:gd name="connsiteY37345" fmla="*/ 1112457 h 7458372"/>
              <a:gd name="connsiteX37346" fmla="*/ 3956541 w 10505529"/>
              <a:gd name="connsiteY37346" fmla="*/ 1108331 h 7458372"/>
              <a:gd name="connsiteX37347" fmla="*/ 3952548 w 10505529"/>
              <a:gd name="connsiteY37347" fmla="*/ 1105670 h 7458372"/>
              <a:gd name="connsiteX37348" fmla="*/ 3947489 w 10505529"/>
              <a:gd name="connsiteY37348" fmla="*/ 1104736 h 7458372"/>
              <a:gd name="connsiteX37349" fmla="*/ 3729840 w 10505529"/>
              <a:gd name="connsiteY37349" fmla="*/ 1104736 h 7458372"/>
              <a:gd name="connsiteX37350" fmla="*/ 3719854 w 10505529"/>
              <a:gd name="connsiteY37350" fmla="*/ 1108331 h 7458372"/>
              <a:gd name="connsiteX37351" fmla="*/ 3716261 w 10505529"/>
              <a:gd name="connsiteY37351" fmla="*/ 1117780 h 7458372"/>
              <a:gd name="connsiteX37352" fmla="*/ 3719854 w 10505529"/>
              <a:gd name="connsiteY37352" fmla="*/ 1127230 h 7458372"/>
              <a:gd name="connsiteX37353" fmla="*/ 3729840 w 10505529"/>
              <a:gd name="connsiteY37353" fmla="*/ 1130693 h 7458372"/>
              <a:gd name="connsiteX37354" fmla="*/ 3735165 w 10505529"/>
              <a:gd name="connsiteY37354" fmla="*/ 1129635 h 7458372"/>
              <a:gd name="connsiteX37355" fmla="*/ 3738892 w 10505529"/>
              <a:gd name="connsiteY37355" fmla="*/ 1127230 h 7458372"/>
              <a:gd name="connsiteX37356" fmla="*/ 3741555 w 10505529"/>
              <a:gd name="connsiteY37356" fmla="*/ 1123107 h 7458372"/>
              <a:gd name="connsiteX37357" fmla="*/ 3742619 w 10505529"/>
              <a:gd name="connsiteY37357" fmla="*/ 1117655 h 7458372"/>
              <a:gd name="connsiteX37358" fmla="*/ 3741555 w 10505529"/>
              <a:gd name="connsiteY37358" fmla="*/ 1112457 h 7458372"/>
              <a:gd name="connsiteX37359" fmla="*/ 3738892 w 10505529"/>
              <a:gd name="connsiteY37359" fmla="*/ 1108331 h 7458372"/>
              <a:gd name="connsiteX37360" fmla="*/ 3734899 w 10505529"/>
              <a:gd name="connsiteY37360" fmla="*/ 1105670 h 7458372"/>
              <a:gd name="connsiteX37361" fmla="*/ 3729840 w 10505529"/>
              <a:gd name="connsiteY37361" fmla="*/ 1104736 h 7458372"/>
              <a:gd name="connsiteX37362" fmla="*/ 3512191 w 10505529"/>
              <a:gd name="connsiteY37362" fmla="*/ 1104736 h 7458372"/>
              <a:gd name="connsiteX37363" fmla="*/ 3502207 w 10505529"/>
              <a:gd name="connsiteY37363" fmla="*/ 1108331 h 7458372"/>
              <a:gd name="connsiteX37364" fmla="*/ 3498613 w 10505529"/>
              <a:gd name="connsiteY37364" fmla="*/ 1117780 h 7458372"/>
              <a:gd name="connsiteX37365" fmla="*/ 3502207 w 10505529"/>
              <a:gd name="connsiteY37365" fmla="*/ 1127230 h 7458372"/>
              <a:gd name="connsiteX37366" fmla="*/ 3512191 w 10505529"/>
              <a:gd name="connsiteY37366" fmla="*/ 1130693 h 7458372"/>
              <a:gd name="connsiteX37367" fmla="*/ 3517517 w 10505529"/>
              <a:gd name="connsiteY37367" fmla="*/ 1129635 h 7458372"/>
              <a:gd name="connsiteX37368" fmla="*/ 3521244 w 10505529"/>
              <a:gd name="connsiteY37368" fmla="*/ 1127230 h 7458372"/>
              <a:gd name="connsiteX37369" fmla="*/ 3523907 w 10505529"/>
              <a:gd name="connsiteY37369" fmla="*/ 1123107 h 7458372"/>
              <a:gd name="connsiteX37370" fmla="*/ 3524972 w 10505529"/>
              <a:gd name="connsiteY37370" fmla="*/ 1117655 h 7458372"/>
              <a:gd name="connsiteX37371" fmla="*/ 3523907 w 10505529"/>
              <a:gd name="connsiteY37371" fmla="*/ 1112457 h 7458372"/>
              <a:gd name="connsiteX37372" fmla="*/ 3521244 w 10505529"/>
              <a:gd name="connsiteY37372" fmla="*/ 1108331 h 7458372"/>
              <a:gd name="connsiteX37373" fmla="*/ 3517251 w 10505529"/>
              <a:gd name="connsiteY37373" fmla="*/ 1105670 h 7458372"/>
              <a:gd name="connsiteX37374" fmla="*/ 3512191 w 10505529"/>
              <a:gd name="connsiteY37374" fmla="*/ 1104736 h 7458372"/>
              <a:gd name="connsiteX37375" fmla="*/ 3294676 w 10505529"/>
              <a:gd name="connsiteY37375" fmla="*/ 1104736 h 7458372"/>
              <a:gd name="connsiteX37376" fmla="*/ 3284692 w 10505529"/>
              <a:gd name="connsiteY37376" fmla="*/ 1108331 h 7458372"/>
              <a:gd name="connsiteX37377" fmla="*/ 3281098 w 10505529"/>
              <a:gd name="connsiteY37377" fmla="*/ 1117780 h 7458372"/>
              <a:gd name="connsiteX37378" fmla="*/ 3284692 w 10505529"/>
              <a:gd name="connsiteY37378" fmla="*/ 1127230 h 7458372"/>
              <a:gd name="connsiteX37379" fmla="*/ 3294676 w 10505529"/>
              <a:gd name="connsiteY37379" fmla="*/ 1130693 h 7458372"/>
              <a:gd name="connsiteX37380" fmla="*/ 3300002 w 10505529"/>
              <a:gd name="connsiteY37380" fmla="*/ 1129635 h 7458372"/>
              <a:gd name="connsiteX37381" fmla="*/ 3303728 w 10505529"/>
              <a:gd name="connsiteY37381" fmla="*/ 1127230 h 7458372"/>
              <a:gd name="connsiteX37382" fmla="*/ 3306392 w 10505529"/>
              <a:gd name="connsiteY37382" fmla="*/ 1123107 h 7458372"/>
              <a:gd name="connsiteX37383" fmla="*/ 3307455 w 10505529"/>
              <a:gd name="connsiteY37383" fmla="*/ 1117655 h 7458372"/>
              <a:gd name="connsiteX37384" fmla="*/ 3306392 w 10505529"/>
              <a:gd name="connsiteY37384" fmla="*/ 1112457 h 7458372"/>
              <a:gd name="connsiteX37385" fmla="*/ 3303728 w 10505529"/>
              <a:gd name="connsiteY37385" fmla="*/ 1108331 h 7458372"/>
              <a:gd name="connsiteX37386" fmla="*/ 3299735 w 10505529"/>
              <a:gd name="connsiteY37386" fmla="*/ 1105670 h 7458372"/>
              <a:gd name="connsiteX37387" fmla="*/ 3294676 w 10505529"/>
              <a:gd name="connsiteY37387" fmla="*/ 1104736 h 7458372"/>
              <a:gd name="connsiteX37388" fmla="*/ 3077161 w 10505529"/>
              <a:gd name="connsiteY37388" fmla="*/ 1104736 h 7458372"/>
              <a:gd name="connsiteX37389" fmla="*/ 3067178 w 10505529"/>
              <a:gd name="connsiteY37389" fmla="*/ 1108331 h 7458372"/>
              <a:gd name="connsiteX37390" fmla="*/ 3063450 w 10505529"/>
              <a:gd name="connsiteY37390" fmla="*/ 1117780 h 7458372"/>
              <a:gd name="connsiteX37391" fmla="*/ 3067044 w 10505529"/>
              <a:gd name="connsiteY37391" fmla="*/ 1127230 h 7458372"/>
              <a:gd name="connsiteX37392" fmla="*/ 3077027 w 10505529"/>
              <a:gd name="connsiteY37392" fmla="*/ 1130693 h 7458372"/>
              <a:gd name="connsiteX37393" fmla="*/ 3082486 w 10505529"/>
              <a:gd name="connsiteY37393" fmla="*/ 1129635 h 7458372"/>
              <a:gd name="connsiteX37394" fmla="*/ 3086213 w 10505529"/>
              <a:gd name="connsiteY37394" fmla="*/ 1127230 h 7458372"/>
              <a:gd name="connsiteX37395" fmla="*/ 3088876 w 10505529"/>
              <a:gd name="connsiteY37395" fmla="*/ 1123107 h 7458372"/>
              <a:gd name="connsiteX37396" fmla="*/ 3089808 w 10505529"/>
              <a:gd name="connsiteY37396" fmla="*/ 1117655 h 7458372"/>
              <a:gd name="connsiteX37397" fmla="*/ 3088876 w 10505529"/>
              <a:gd name="connsiteY37397" fmla="*/ 1112457 h 7458372"/>
              <a:gd name="connsiteX37398" fmla="*/ 3086213 w 10505529"/>
              <a:gd name="connsiteY37398" fmla="*/ 1108331 h 7458372"/>
              <a:gd name="connsiteX37399" fmla="*/ 3082220 w 10505529"/>
              <a:gd name="connsiteY37399" fmla="*/ 1105670 h 7458372"/>
              <a:gd name="connsiteX37400" fmla="*/ 3077161 w 10505529"/>
              <a:gd name="connsiteY37400" fmla="*/ 1104736 h 7458372"/>
              <a:gd name="connsiteX37401" fmla="*/ 2859379 w 10505529"/>
              <a:gd name="connsiteY37401" fmla="*/ 1104736 h 7458372"/>
              <a:gd name="connsiteX37402" fmla="*/ 2849396 w 10505529"/>
              <a:gd name="connsiteY37402" fmla="*/ 1108331 h 7458372"/>
              <a:gd name="connsiteX37403" fmla="*/ 2845801 w 10505529"/>
              <a:gd name="connsiteY37403" fmla="*/ 1117780 h 7458372"/>
              <a:gd name="connsiteX37404" fmla="*/ 2849396 w 10505529"/>
              <a:gd name="connsiteY37404" fmla="*/ 1127230 h 7458372"/>
              <a:gd name="connsiteX37405" fmla="*/ 2859379 w 10505529"/>
              <a:gd name="connsiteY37405" fmla="*/ 1130693 h 7458372"/>
              <a:gd name="connsiteX37406" fmla="*/ 2864704 w 10505529"/>
              <a:gd name="connsiteY37406" fmla="*/ 1129635 h 7458372"/>
              <a:gd name="connsiteX37407" fmla="*/ 2868431 w 10505529"/>
              <a:gd name="connsiteY37407" fmla="*/ 1127230 h 7458372"/>
              <a:gd name="connsiteX37408" fmla="*/ 2871094 w 10505529"/>
              <a:gd name="connsiteY37408" fmla="*/ 1123107 h 7458372"/>
              <a:gd name="connsiteX37409" fmla="*/ 2872026 w 10505529"/>
              <a:gd name="connsiteY37409" fmla="*/ 1117655 h 7458372"/>
              <a:gd name="connsiteX37410" fmla="*/ 2871094 w 10505529"/>
              <a:gd name="connsiteY37410" fmla="*/ 1112457 h 7458372"/>
              <a:gd name="connsiteX37411" fmla="*/ 2868431 w 10505529"/>
              <a:gd name="connsiteY37411" fmla="*/ 1108331 h 7458372"/>
              <a:gd name="connsiteX37412" fmla="*/ 2864439 w 10505529"/>
              <a:gd name="connsiteY37412" fmla="*/ 1105670 h 7458372"/>
              <a:gd name="connsiteX37413" fmla="*/ 2859379 w 10505529"/>
              <a:gd name="connsiteY37413" fmla="*/ 1104736 h 7458372"/>
              <a:gd name="connsiteX37414" fmla="*/ 2641731 w 10505529"/>
              <a:gd name="connsiteY37414" fmla="*/ 1104736 h 7458372"/>
              <a:gd name="connsiteX37415" fmla="*/ 2631748 w 10505529"/>
              <a:gd name="connsiteY37415" fmla="*/ 1108331 h 7458372"/>
              <a:gd name="connsiteX37416" fmla="*/ 2628154 w 10505529"/>
              <a:gd name="connsiteY37416" fmla="*/ 1117780 h 7458372"/>
              <a:gd name="connsiteX37417" fmla="*/ 2631748 w 10505529"/>
              <a:gd name="connsiteY37417" fmla="*/ 1127230 h 7458372"/>
              <a:gd name="connsiteX37418" fmla="*/ 2641731 w 10505529"/>
              <a:gd name="connsiteY37418" fmla="*/ 1130693 h 7458372"/>
              <a:gd name="connsiteX37419" fmla="*/ 2647056 w 10505529"/>
              <a:gd name="connsiteY37419" fmla="*/ 1129635 h 7458372"/>
              <a:gd name="connsiteX37420" fmla="*/ 2650783 w 10505529"/>
              <a:gd name="connsiteY37420" fmla="*/ 1127230 h 7458372"/>
              <a:gd name="connsiteX37421" fmla="*/ 2653446 w 10505529"/>
              <a:gd name="connsiteY37421" fmla="*/ 1123107 h 7458372"/>
              <a:gd name="connsiteX37422" fmla="*/ 2654377 w 10505529"/>
              <a:gd name="connsiteY37422" fmla="*/ 1117655 h 7458372"/>
              <a:gd name="connsiteX37423" fmla="*/ 2653446 w 10505529"/>
              <a:gd name="connsiteY37423" fmla="*/ 1112457 h 7458372"/>
              <a:gd name="connsiteX37424" fmla="*/ 2650783 w 10505529"/>
              <a:gd name="connsiteY37424" fmla="*/ 1108331 h 7458372"/>
              <a:gd name="connsiteX37425" fmla="*/ 2646790 w 10505529"/>
              <a:gd name="connsiteY37425" fmla="*/ 1105670 h 7458372"/>
              <a:gd name="connsiteX37426" fmla="*/ 2641731 w 10505529"/>
              <a:gd name="connsiteY37426" fmla="*/ 1104736 h 7458372"/>
              <a:gd name="connsiteX37427" fmla="*/ 2424082 w 10505529"/>
              <a:gd name="connsiteY37427" fmla="*/ 1104736 h 7458372"/>
              <a:gd name="connsiteX37428" fmla="*/ 2414099 w 10505529"/>
              <a:gd name="connsiteY37428" fmla="*/ 1108331 h 7458372"/>
              <a:gd name="connsiteX37429" fmla="*/ 2410505 w 10505529"/>
              <a:gd name="connsiteY37429" fmla="*/ 1117780 h 7458372"/>
              <a:gd name="connsiteX37430" fmla="*/ 2414099 w 10505529"/>
              <a:gd name="connsiteY37430" fmla="*/ 1127230 h 7458372"/>
              <a:gd name="connsiteX37431" fmla="*/ 2424082 w 10505529"/>
              <a:gd name="connsiteY37431" fmla="*/ 1130693 h 7458372"/>
              <a:gd name="connsiteX37432" fmla="*/ 2429408 w 10505529"/>
              <a:gd name="connsiteY37432" fmla="*/ 1129635 h 7458372"/>
              <a:gd name="connsiteX37433" fmla="*/ 2433135 w 10505529"/>
              <a:gd name="connsiteY37433" fmla="*/ 1127230 h 7458372"/>
              <a:gd name="connsiteX37434" fmla="*/ 2435798 w 10505529"/>
              <a:gd name="connsiteY37434" fmla="*/ 1123107 h 7458372"/>
              <a:gd name="connsiteX37435" fmla="*/ 2436729 w 10505529"/>
              <a:gd name="connsiteY37435" fmla="*/ 1117655 h 7458372"/>
              <a:gd name="connsiteX37436" fmla="*/ 2435798 w 10505529"/>
              <a:gd name="connsiteY37436" fmla="*/ 1112457 h 7458372"/>
              <a:gd name="connsiteX37437" fmla="*/ 2433135 w 10505529"/>
              <a:gd name="connsiteY37437" fmla="*/ 1108331 h 7458372"/>
              <a:gd name="connsiteX37438" fmla="*/ 2429142 w 10505529"/>
              <a:gd name="connsiteY37438" fmla="*/ 1105670 h 7458372"/>
              <a:gd name="connsiteX37439" fmla="*/ 2424082 w 10505529"/>
              <a:gd name="connsiteY37439" fmla="*/ 1104736 h 7458372"/>
              <a:gd name="connsiteX37440" fmla="*/ 2206434 w 10505529"/>
              <a:gd name="connsiteY37440" fmla="*/ 1104736 h 7458372"/>
              <a:gd name="connsiteX37441" fmla="*/ 2196451 w 10505529"/>
              <a:gd name="connsiteY37441" fmla="*/ 1108331 h 7458372"/>
              <a:gd name="connsiteX37442" fmla="*/ 2192857 w 10505529"/>
              <a:gd name="connsiteY37442" fmla="*/ 1117780 h 7458372"/>
              <a:gd name="connsiteX37443" fmla="*/ 2196451 w 10505529"/>
              <a:gd name="connsiteY37443" fmla="*/ 1127230 h 7458372"/>
              <a:gd name="connsiteX37444" fmla="*/ 2206434 w 10505529"/>
              <a:gd name="connsiteY37444" fmla="*/ 1130693 h 7458372"/>
              <a:gd name="connsiteX37445" fmla="*/ 2211759 w 10505529"/>
              <a:gd name="connsiteY37445" fmla="*/ 1129635 h 7458372"/>
              <a:gd name="connsiteX37446" fmla="*/ 2215486 w 10505529"/>
              <a:gd name="connsiteY37446" fmla="*/ 1127230 h 7458372"/>
              <a:gd name="connsiteX37447" fmla="*/ 2218149 w 10505529"/>
              <a:gd name="connsiteY37447" fmla="*/ 1123107 h 7458372"/>
              <a:gd name="connsiteX37448" fmla="*/ 2219080 w 10505529"/>
              <a:gd name="connsiteY37448" fmla="*/ 1117655 h 7458372"/>
              <a:gd name="connsiteX37449" fmla="*/ 2218149 w 10505529"/>
              <a:gd name="connsiteY37449" fmla="*/ 1112457 h 7458372"/>
              <a:gd name="connsiteX37450" fmla="*/ 2215486 w 10505529"/>
              <a:gd name="connsiteY37450" fmla="*/ 1108331 h 7458372"/>
              <a:gd name="connsiteX37451" fmla="*/ 2211493 w 10505529"/>
              <a:gd name="connsiteY37451" fmla="*/ 1105670 h 7458372"/>
              <a:gd name="connsiteX37452" fmla="*/ 2206434 w 10505529"/>
              <a:gd name="connsiteY37452" fmla="*/ 1104736 h 7458372"/>
              <a:gd name="connsiteX37453" fmla="*/ 1988919 w 10505529"/>
              <a:gd name="connsiteY37453" fmla="*/ 1104736 h 7458372"/>
              <a:gd name="connsiteX37454" fmla="*/ 1978936 w 10505529"/>
              <a:gd name="connsiteY37454" fmla="*/ 1108331 h 7458372"/>
              <a:gd name="connsiteX37455" fmla="*/ 1975342 w 10505529"/>
              <a:gd name="connsiteY37455" fmla="*/ 1117780 h 7458372"/>
              <a:gd name="connsiteX37456" fmla="*/ 1978936 w 10505529"/>
              <a:gd name="connsiteY37456" fmla="*/ 1127230 h 7458372"/>
              <a:gd name="connsiteX37457" fmla="*/ 1988919 w 10505529"/>
              <a:gd name="connsiteY37457" fmla="*/ 1130693 h 7458372"/>
              <a:gd name="connsiteX37458" fmla="*/ 1994244 w 10505529"/>
              <a:gd name="connsiteY37458" fmla="*/ 1129635 h 7458372"/>
              <a:gd name="connsiteX37459" fmla="*/ 1997971 w 10505529"/>
              <a:gd name="connsiteY37459" fmla="*/ 1127230 h 7458372"/>
              <a:gd name="connsiteX37460" fmla="*/ 2000634 w 10505529"/>
              <a:gd name="connsiteY37460" fmla="*/ 1123107 h 7458372"/>
              <a:gd name="connsiteX37461" fmla="*/ 2001565 w 10505529"/>
              <a:gd name="connsiteY37461" fmla="*/ 1117655 h 7458372"/>
              <a:gd name="connsiteX37462" fmla="*/ 2000634 w 10505529"/>
              <a:gd name="connsiteY37462" fmla="*/ 1112457 h 7458372"/>
              <a:gd name="connsiteX37463" fmla="*/ 1997971 w 10505529"/>
              <a:gd name="connsiteY37463" fmla="*/ 1108331 h 7458372"/>
              <a:gd name="connsiteX37464" fmla="*/ 1993978 w 10505529"/>
              <a:gd name="connsiteY37464" fmla="*/ 1105670 h 7458372"/>
              <a:gd name="connsiteX37465" fmla="*/ 1988919 w 10505529"/>
              <a:gd name="connsiteY37465" fmla="*/ 1104736 h 7458372"/>
              <a:gd name="connsiteX37466" fmla="*/ 1771276 w 10505529"/>
              <a:gd name="connsiteY37466" fmla="*/ 1104736 h 7458372"/>
              <a:gd name="connsiteX37467" fmla="*/ 1761293 w 10505529"/>
              <a:gd name="connsiteY37467" fmla="*/ 1108331 h 7458372"/>
              <a:gd name="connsiteX37468" fmla="*/ 1757699 w 10505529"/>
              <a:gd name="connsiteY37468" fmla="*/ 1117780 h 7458372"/>
              <a:gd name="connsiteX37469" fmla="*/ 1761293 w 10505529"/>
              <a:gd name="connsiteY37469" fmla="*/ 1127230 h 7458372"/>
              <a:gd name="connsiteX37470" fmla="*/ 1771276 w 10505529"/>
              <a:gd name="connsiteY37470" fmla="*/ 1130693 h 7458372"/>
              <a:gd name="connsiteX37471" fmla="*/ 1776601 w 10505529"/>
              <a:gd name="connsiteY37471" fmla="*/ 1129635 h 7458372"/>
              <a:gd name="connsiteX37472" fmla="*/ 1780328 w 10505529"/>
              <a:gd name="connsiteY37472" fmla="*/ 1127230 h 7458372"/>
              <a:gd name="connsiteX37473" fmla="*/ 1782991 w 10505529"/>
              <a:gd name="connsiteY37473" fmla="*/ 1123107 h 7458372"/>
              <a:gd name="connsiteX37474" fmla="*/ 1784056 w 10505529"/>
              <a:gd name="connsiteY37474" fmla="*/ 1117655 h 7458372"/>
              <a:gd name="connsiteX37475" fmla="*/ 1782991 w 10505529"/>
              <a:gd name="connsiteY37475" fmla="*/ 1112457 h 7458372"/>
              <a:gd name="connsiteX37476" fmla="*/ 1780328 w 10505529"/>
              <a:gd name="connsiteY37476" fmla="*/ 1108331 h 7458372"/>
              <a:gd name="connsiteX37477" fmla="*/ 1776335 w 10505529"/>
              <a:gd name="connsiteY37477" fmla="*/ 1105670 h 7458372"/>
              <a:gd name="connsiteX37478" fmla="*/ 1771276 w 10505529"/>
              <a:gd name="connsiteY37478" fmla="*/ 1104736 h 7458372"/>
              <a:gd name="connsiteX37479" fmla="*/ 1553633 w 10505529"/>
              <a:gd name="connsiteY37479" fmla="*/ 1104736 h 7458372"/>
              <a:gd name="connsiteX37480" fmla="*/ 1543649 w 10505529"/>
              <a:gd name="connsiteY37480" fmla="*/ 1108331 h 7458372"/>
              <a:gd name="connsiteX37481" fmla="*/ 1540055 w 10505529"/>
              <a:gd name="connsiteY37481" fmla="*/ 1117780 h 7458372"/>
              <a:gd name="connsiteX37482" fmla="*/ 1543649 w 10505529"/>
              <a:gd name="connsiteY37482" fmla="*/ 1127230 h 7458372"/>
              <a:gd name="connsiteX37483" fmla="*/ 1553633 w 10505529"/>
              <a:gd name="connsiteY37483" fmla="*/ 1130693 h 7458372"/>
              <a:gd name="connsiteX37484" fmla="*/ 1558958 w 10505529"/>
              <a:gd name="connsiteY37484" fmla="*/ 1129635 h 7458372"/>
              <a:gd name="connsiteX37485" fmla="*/ 1562685 w 10505529"/>
              <a:gd name="connsiteY37485" fmla="*/ 1127230 h 7458372"/>
              <a:gd name="connsiteX37486" fmla="*/ 1565347 w 10505529"/>
              <a:gd name="connsiteY37486" fmla="*/ 1123107 h 7458372"/>
              <a:gd name="connsiteX37487" fmla="*/ 1566413 w 10505529"/>
              <a:gd name="connsiteY37487" fmla="*/ 1117655 h 7458372"/>
              <a:gd name="connsiteX37488" fmla="*/ 1565347 w 10505529"/>
              <a:gd name="connsiteY37488" fmla="*/ 1112457 h 7458372"/>
              <a:gd name="connsiteX37489" fmla="*/ 1562685 w 10505529"/>
              <a:gd name="connsiteY37489" fmla="*/ 1108331 h 7458372"/>
              <a:gd name="connsiteX37490" fmla="*/ 1558691 w 10505529"/>
              <a:gd name="connsiteY37490" fmla="*/ 1105670 h 7458372"/>
              <a:gd name="connsiteX37491" fmla="*/ 1553633 w 10505529"/>
              <a:gd name="connsiteY37491" fmla="*/ 1104736 h 7458372"/>
              <a:gd name="connsiteX37492" fmla="*/ 1335988 w 10505529"/>
              <a:gd name="connsiteY37492" fmla="*/ 1104736 h 7458372"/>
              <a:gd name="connsiteX37493" fmla="*/ 1326005 w 10505529"/>
              <a:gd name="connsiteY37493" fmla="*/ 1108331 h 7458372"/>
              <a:gd name="connsiteX37494" fmla="*/ 1322410 w 10505529"/>
              <a:gd name="connsiteY37494" fmla="*/ 1117780 h 7458372"/>
              <a:gd name="connsiteX37495" fmla="*/ 1326005 w 10505529"/>
              <a:gd name="connsiteY37495" fmla="*/ 1127230 h 7458372"/>
              <a:gd name="connsiteX37496" fmla="*/ 1335988 w 10505529"/>
              <a:gd name="connsiteY37496" fmla="*/ 1130693 h 7458372"/>
              <a:gd name="connsiteX37497" fmla="*/ 1341314 w 10505529"/>
              <a:gd name="connsiteY37497" fmla="*/ 1129635 h 7458372"/>
              <a:gd name="connsiteX37498" fmla="*/ 1345040 w 10505529"/>
              <a:gd name="connsiteY37498" fmla="*/ 1127230 h 7458372"/>
              <a:gd name="connsiteX37499" fmla="*/ 1347703 w 10505529"/>
              <a:gd name="connsiteY37499" fmla="*/ 1123107 h 7458372"/>
              <a:gd name="connsiteX37500" fmla="*/ 1348769 w 10505529"/>
              <a:gd name="connsiteY37500" fmla="*/ 1117655 h 7458372"/>
              <a:gd name="connsiteX37501" fmla="*/ 1347703 w 10505529"/>
              <a:gd name="connsiteY37501" fmla="*/ 1112457 h 7458372"/>
              <a:gd name="connsiteX37502" fmla="*/ 1345040 w 10505529"/>
              <a:gd name="connsiteY37502" fmla="*/ 1108331 h 7458372"/>
              <a:gd name="connsiteX37503" fmla="*/ 1341047 w 10505529"/>
              <a:gd name="connsiteY37503" fmla="*/ 1105670 h 7458372"/>
              <a:gd name="connsiteX37504" fmla="*/ 1335988 w 10505529"/>
              <a:gd name="connsiteY37504" fmla="*/ 1104736 h 7458372"/>
              <a:gd name="connsiteX37505" fmla="*/ 1118476 w 10505529"/>
              <a:gd name="connsiteY37505" fmla="*/ 1104736 h 7458372"/>
              <a:gd name="connsiteX37506" fmla="*/ 1108492 w 10505529"/>
              <a:gd name="connsiteY37506" fmla="*/ 1108331 h 7458372"/>
              <a:gd name="connsiteX37507" fmla="*/ 1104765 w 10505529"/>
              <a:gd name="connsiteY37507" fmla="*/ 1117780 h 7458372"/>
              <a:gd name="connsiteX37508" fmla="*/ 1108359 w 10505529"/>
              <a:gd name="connsiteY37508" fmla="*/ 1127230 h 7458372"/>
              <a:gd name="connsiteX37509" fmla="*/ 1118343 w 10505529"/>
              <a:gd name="connsiteY37509" fmla="*/ 1130693 h 7458372"/>
              <a:gd name="connsiteX37510" fmla="*/ 1123801 w 10505529"/>
              <a:gd name="connsiteY37510" fmla="*/ 1129635 h 7458372"/>
              <a:gd name="connsiteX37511" fmla="*/ 1127528 w 10505529"/>
              <a:gd name="connsiteY37511" fmla="*/ 1127230 h 7458372"/>
              <a:gd name="connsiteX37512" fmla="*/ 1130192 w 10505529"/>
              <a:gd name="connsiteY37512" fmla="*/ 1123107 h 7458372"/>
              <a:gd name="connsiteX37513" fmla="*/ 1131257 w 10505529"/>
              <a:gd name="connsiteY37513" fmla="*/ 1117655 h 7458372"/>
              <a:gd name="connsiteX37514" fmla="*/ 1130192 w 10505529"/>
              <a:gd name="connsiteY37514" fmla="*/ 1112457 h 7458372"/>
              <a:gd name="connsiteX37515" fmla="*/ 1127528 w 10505529"/>
              <a:gd name="connsiteY37515" fmla="*/ 1108331 h 7458372"/>
              <a:gd name="connsiteX37516" fmla="*/ 1123534 w 10505529"/>
              <a:gd name="connsiteY37516" fmla="*/ 1105670 h 7458372"/>
              <a:gd name="connsiteX37517" fmla="*/ 1118476 w 10505529"/>
              <a:gd name="connsiteY37517" fmla="*/ 1104736 h 7458372"/>
              <a:gd name="connsiteX37518" fmla="*/ 900965 w 10505529"/>
              <a:gd name="connsiteY37518" fmla="*/ 1104736 h 7458372"/>
              <a:gd name="connsiteX37519" fmla="*/ 890980 w 10505529"/>
              <a:gd name="connsiteY37519" fmla="*/ 1108331 h 7458372"/>
              <a:gd name="connsiteX37520" fmla="*/ 887254 w 10505529"/>
              <a:gd name="connsiteY37520" fmla="*/ 1117780 h 7458372"/>
              <a:gd name="connsiteX37521" fmla="*/ 890848 w 10505529"/>
              <a:gd name="connsiteY37521" fmla="*/ 1127230 h 7458372"/>
              <a:gd name="connsiteX37522" fmla="*/ 900831 w 10505529"/>
              <a:gd name="connsiteY37522" fmla="*/ 1130693 h 7458372"/>
              <a:gd name="connsiteX37523" fmla="*/ 906289 w 10505529"/>
              <a:gd name="connsiteY37523" fmla="*/ 1129635 h 7458372"/>
              <a:gd name="connsiteX37524" fmla="*/ 910017 w 10505529"/>
              <a:gd name="connsiteY37524" fmla="*/ 1127230 h 7458372"/>
              <a:gd name="connsiteX37525" fmla="*/ 912679 w 10505529"/>
              <a:gd name="connsiteY37525" fmla="*/ 1123107 h 7458372"/>
              <a:gd name="connsiteX37526" fmla="*/ 913744 w 10505529"/>
              <a:gd name="connsiteY37526" fmla="*/ 1117655 h 7458372"/>
              <a:gd name="connsiteX37527" fmla="*/ 912679 w 10505529"/>
              <a:gd name="connsiteY37527" fmla="*/ 1112457 h 7458372"/>
              <a:gd name="connsiteX37528" fmla="*/ 910017 w 10505529"/>
              <a:gd name="connsiteY37528" fmla="*/ 1108331 h 7458372"/>
              <a:gd name="connsiteX37529" fmla="*/ 906023 w 10505529"/>
              <a:gd name="connsiteY37529" fmla="*/ 1105670 h 7458372"/>
              <a:gd name="connsiteX37530" fmla="*/ 900965 w 10505529"/>
              <a:gd name="connsiteY37530" fmla="*/ 1104736 h 7458372"/>
              <a:gd name="connsiteX37531" fmla="*/ 683187 w 10505529"/>
              <a:gd name="connsiteY37531" fmla="*/ 1104736 h 7458372"/>
              <a:gd name="connsiteX37532" fmla="*/ 673204 w 10505529"/>
              <a:gd name="connsiteY37532" fmla="*/ 1108331 h 7458372"/>
              <a:gd name="connsiteX37533" fmla="*/ 669610 w 10505529"/>
              <a:gd name="connsiteY37533" fmla="*/ 1117780 h 7458372"/>
              <a:gd name="connsiteX37534" fmla="*/ 673204 w 10505529"/>
              <a:gd name="connsiteY37534" fmla="*/ 1127230 h 7458372"/>
              <a:gd name="connsiteX37535" fmla="*/ 683187 w 10505529"/>
              <a:gd name="connsiteY37535" fmla="*/ 1130693 h 7458372"/>
              <a:gd name="connsiteX37536" fmla="*/ 688512 w 10505529"/>
              <a:gd name="connsiteY37536" fmla="*/ 1129635 h 7458372"/>
              <a:gd name="connsiteX37537" fmla="*/ 692239 w 10505529"/>
              <a:gd name="connsiteY37537" fmla="*/ 1127230 h 7458372"/>
              <a:gd name="connsiteX37538" fmla="*/ 694902 w 10505529"/>
              <a:gd name="connsiteY37538" fmla="*/ 1123107 h 7458372"/>
              <a:gd name="connsiteX37539" fmla="*/ 695967 w 10505529"/>
              <a:gd name="connsiteY37539" fmla="*/ 1117655 h 7458372"/>
              <a:gd name="connsiteX37540" fmla="*/ 694902 w 10505529"/>
              <a:gd name="connsiteY37540" fmla="*/ 1112457 h 7458372"/>
              <a:gd name="connsiteX37541" fmla="*/ 692239 w 10505529"/>
              <a:gd name="connsiteY37541" fmla="*/ 1108331 h 7458372"/>
              <a:gd name="connsiteX37542" fmla="*/ 688246 w 10505529"/>
              <a:gd name="connsiteY37542" fmla="*/ 1105670 h 7458372"/>
              <a:gd name="connsiteX37543" fmla="*/ 683187 w 10505529"/>
              <a:gd name="connsiteY37543" fmla="*/ 1104736 h 7458372"/>
              <a:gd name="connsiteX37544" fmla="*/ 465543 w 10505529"/>
              <a:gd name="connsiteY37544" fmla="*/ 1104736 h 7458372"/>
              <a:gd name="connsiteX37545" fmla="*/ 455560 w 10505529"/>
              <a:gd name="connsiteY37545" fmla="*/ 1108331 h 7458372"/>
              <a:gd name="connsiteX37546" fmla="*/ 451966 w 10505529"/>
              <a:gd name="connsiteY37546" fmla="*/ 1117780 h 7458372"/>
              <a:gd name="connsiteX37547" fmla="*/ 455560 w 10505529"/>
              <a:gd name="connsiteY37547" fmla="*/ 1127230 h 7458372"/>
              <a:gd name="connsiteX37548" fmla="*/ 465543 w 10505529"/>
              <a:gd name="connsiteY37548" fmla="*/ 1130693 h 7458372"/>
              <a:gd name="connsiteX37549" fmla="*/ 470868 w 10505529"/>
              <a:gd name="connsiteY37549" fmla="*/ 1129635 h 7458372"/>
              <a:gd name="connsiteX37550" fmla="*/ 474595 w 10505529"/>
              <a:gd name="connsiteY37550" fmla="*/ 1127230 h 7458372"/>
              <a:gd name="connsiteX37551" fmla="*/ 477258 w 10505529"/>
              <a:gd name="connsiteY37551" fmla="*/ 1123107 h 7458372"/>
              <a:gd name="connsiteX37552" fmla="*/ 478323 w 10505529"/>
              <a:gd name="connsiteY37552" fmla="*/ 1117655 h 7458372"/>
              <a:gd name="connsiteX37553" fmla="*/ 477258 w 10505529"/>
              <a:gd name="connsiteY37553" fmla="*/ 1112457 h 7458372"/>
              <a:gd name="connsiteX37554" fmla="*/ 474595 w 10505529"/>
              <a:gd name="connsiteY37554" fmla="*/ 1108331 h 7458372"/>
              <a:gd name="connsiteX37555" fmla="*/ 470602 w 10505529"/>
              <a:gd name="connsiteY37555" fmla="*/ 1105670 h 7458372"/>
              <a:gd name="connsiteX37556" fmla="*/ 465543 w 10505529"/>
              <a:gd name="connsiteY37556" fmla="*/ 1104736 h 7458372"/>
              <a:gd name="connsiteX37557" fmla="*/ 247899 w 10505529"/>
              <a:gd name="connsiteY37557" fmla="*/ 1104736 h 7458372"/>
              <a:gd name="connsiteX37558" fmla="*/ 237916 w 10505529"/>
              <a:gd name="connsiteY37558" fmla="*/ 1108331 h 7458372"/>
              <a:gd name="connsiteX37559" fmla="*/ 234322 w 10505529"/>
              <a:gd name="connsiteY37559" fmla="*/ 1117780 h 7458372"/>
              <a:gd name="connsiteX37560" fmla="*/ 237916 w 10505529"/>
              <a:gd name="connsiteY37560" fmla="*/ 1127230 h 7458372"/>
              <a:gd name="connsiteX37561" fmla="*/ 247899 w 10505529"/>
              <a:gd name="connsiteY37561" fmla="*/ 1130693 h 7458372"/>
              <a:gd name="connsiteX37562" fmla="*/ 253224 w 10505529"/>
              <a:gd name="connsiteY37562" fmla="*/ 1129635 h 7458372"/>
              <a:gd name="connsiteX37563" fmla="*/ 256951 w 10505529"/>
              <a:gd name="connsiteY37563" fmla="*/ 1127230 h 7458372"/>
              <a:gd name="connsiteX37564" fmla="*/ 259614 w 10505529"/>
              <a:gd name="connsiteY37564" fmla="*/ 1123107 h 7458372"/>
              <a:gd name="connsiteX37565" fmla="*/ 260679 w 10505529"/>
              <a:gd name="connsiteY37565" fmla="*/ 1117655 h 7458372"/>
              <a:gd name="connsiteX37566" fmla="*/ 259614 w 10505529"/>
              <a:gd name="connsiteY37566" fmla="*/ 1112457 h 7458372"/>
              <a:gd name="connsiteX37567" fmla="*/ 256951 w 10505529"/>
              <a:gd name="connsiteY37567" fmla="*/ 1108331 h 7458372"/>
              <a:gd name="connsiteX37568" fmla="*/ 252958 w 10505529"/>
              <a:gd name="connsiteY37568" fmla="*/ 1105670 h 7458372"/>
              <a:gd name="connsiteX37569" fmla="*/ 247899 w 10505529"/>
              <a:gd name="connsiteY37569" fmla="*/ 1104736 h 7458372"/>
              <a:gd name="connsiteX37570" fmla="*/ 30255 w 10505529"/>
              <a:gd name="connsiteY37570" fmla="*/ 1104736 h 7458372"/>
              <a:gd name="connsiteX37571" fmla="*/ 20271 w 10505529"/>
              <a:gd name="connsiteY37571" fmla="*/ 1108331 h 7458372"/>
              <a:gd name="connsiteX37572" fmla="*/ 16678 w 10505529"/>
              <a:gd name="connsiteY37572" fmla="*/ 1117780 h 7458372"/>
              <a:gd name="connsiteX37573" fmla="*/ 20271 w 10505529"/>
              <a:gd name="connsiteY37573" fmla="*/ 1127230 h 7458372"/>
              <a:gd name="connsiteX37574" fmla="*/ 30255 w 10505529"/>
              <a:gd name="connsiteY37574" fmla="*/ 1130693 h 7458372"/>
              <a:gd name="connsiteX37575" fmla="*/ 35580 w 10505529"/>
              <a:gd name="connsiteY37575" fmla="*/ 1129635 h 7458372"/>
              <a:gd name="connsiteX37576" fmla="*/ 39307 w 10505529"/>
              <a:gd name="connsiteY37576" fmla="*/ 1127230 h 7458372"/>
              <a:gd name="connsiteX37577" fmla="*/ 41970 w 10505529"/>
              <a:gd name="connsiteY37577" fmla="*/ 1123107 h 7458372"/>
              <a:gd name="connsiteX37578" fmla="*/ 42901 w 10505529"/>
              <a:gd name="connsiteY37578" fmla="*/ 1117655 h 7458372"/>
              <a:gd name="connsiteX37579" fmla="*/ 41970 w 10505529"/>
              <a:gd name="connsiteY37579" fmla="*/ 1112457 h 7458372"/>
              <a:gd name="connsiteX37580" fmla="*/ 39307 w 10505529"/>
              <a:gd name="connsiteY37580" fmla="*/ 1108331 h 7458372"/>
              <a:gd name="connsiteX37581" fmla="*/ 35314 w 10505529"/>
              <a:gd name="connsiteY37581" fmla="*/ 1105670 h 7458372"/>
              <a:gd name="connsiteX37582" fmla="*/ 30255 w 10505529"/>
              <a:gd name="connsiteY37582" fmla="*/ 1104736 h 7458372"/>
              <a:gd name="connsiteX37583" fmla="*/ 10475977 w 10505529"/>
              <a:gd name="connsiteY37583" fmla="*/ 1088096 h 7458372"/>
              <a:gd name="connsiteX37584" fmla="*/ 10487824 w 10505529"/>
              <a:gd name="connsiteY37584" fmla="*/ 1090626 h 7458372"/>
              <a:gd name="connsiteX37585" fmla="*/ 10497143 w 10505529"/>
              <a:gd name="connsiteY37585" fmla="*/ 1097017 h 7458372"/>
              <a:gd name="connsiteX37586" fmla="*/ 10503266 w 10505529"/>
              <a:gd name="connsiteY37586" fmla="*/ 1106337 h 7458372"/>
              <a:gd name="connsiteX37587" fmla="*/ 10505529 w 10505529"/>
              <a:gd name="connsiteY37587" fmla="*/ 1117780 h 7458372"/>
              <a:gd name="connsiteX37588" fmla="*/ 10503266 w 10505529"/>
              <a:gd name="connsiteY37588" fmla="*/ 1129494 h 7458372"/>
              <a:gd name="connsiteX37589" fmla="*/ 10497143 w 10505529"/>
              <a:gd name="connsiteY37589" fmla="*/ 1138815 h 7458372"/>
              <a:gd name="connsiteX37590" fmla="*/ 10487824 w 10505529"/>
              <a:gd name="connsiteY37590" fmla="*/ 1145076 h 7458372"/>
              <a:gd name="connsiteX37591" fmla="*/ 10475977 w 10505529"/>
              <a:gd name="connsiteY37591" fmla="*/ 1147340 h 7458372"/>
              <a:gd name="connsiteX37592" fmla="*/ 10454145 w 10505529"/>
              <a:gd name="connsiteY37592" fmla="*/ 1138815 h 7458372"/>
              <a:gd name="connsiteX37593" fmla="*/ 10445759 w 10505529"/>
              <a:gd name="connsiteY37593" fmla="*/ 1117655 h 7458372"/>
              <a:gd name="connsiteX37594" fmla="*/ 10454145 w 10505529"/>
              <a:gd name="connsiteY37594" fmla="*/ 1096621 h 7458372"/>
              <a:gd name="connsiteX37595" fmla="*/ 10475977 w 10505529"/>
              <a:gd name="connsiteY37595" fmla="*/ 1088096 h 7458372"/>
              <a:gd name="connsiteX37596" fmla="*/ 10258466 w 10505529"/>
              <a:gd name="connsiteY37596" fmla="*/ 1088096 h 7458372"/>
              <a:gd name="connsiteX37597" fmla="*/ 10270313 w 10505529"/>
              <a:gd name="connsiteY37597" fmla="*/ 1090626 h 7458372"/>
              <a:gd name="connsiteX37598" fmla="*/ 10279631 w 10505529"/>
              <a:gd name="connsiteY37598" fmla="*/ 1097017 h 7458372"/>
              <a:gd name="connsiteX37599" fmla="*/ 10285754 w 10505529"/>
              <a:gd name="connsiteY37599" fmla="*/ 1106337 h 7458372"/>
              <a:gd name="connsiteX37600" fmla="*/ 10288017 w 10505529"/>
              <a:gd name="connsiteY37600" fmla="*/ 1117780 h 7458372"/>
              <a:gd name="connsiteX37601" fmla="*/ 10285754 w 10505529"/>
              <a:gd name="connsiteY37601" fmla="*/ 1129494 h 7458372"/>
              <a:gd name="connsiteX37602" fmla="*/ 10279631 w 10505529"/>
              <a:gd name="connsiteY37602" fmla="*/ 1138815 h 7458372"/>
              <a:gd name="connsiteX37603" fmla="*/ 10270313 w 10505529"/>
              <a:gd name="connsiteY37603" fmla="*/ 1145076 h 7458372"/>
              <a:gd name="connsiteX37604" fmla="*/ 10258466 w 10505529"/>
              <a:gd name="connsiteY37604" fmla="*/ 1147340 h 7458372"/>
              <a:gd name="connsiteX37605" fmla="*/ 10236633 w 10505529"/>
              <a:gd name="connsiteY37605" fmla="*/ 1138815 h 7458372"/>
              <a:gd name="connsiteX37606" fmla="*/ 10228247 w 10505529"/>
              <a:gd name="connsiteY37606" fmla="*/ 1117655 h 7458372"/>
              <a:gd name="connsiteX37607" fmla="*/ 10236633 w 10505529"/>
              <a:gd name="connsiteY37607" fmla="*/ 1096621 h 7458372"/>
              <a:gd name="connsiteX37608" fmla="*/ 10258466 w 10505529"/>
              <a:gd name="connsiteY37608" fmla="*/ 1088096 h 7458372"/>
              <a:gd name="connsiteX37609" fmla="*/ 10040820 w 10505529"/>
              <a:gd name="connsiteY37609" fmla="*/ 1088096 h 7458372"/>
              <a:gd name="connsiteX37610" fmla="*/ 10052534 w 10505529"/>
              <a:gd name="connsiteY37610" fmla="*/ 1090626 h 7458372"/>
              <a:gd name="connsiteX37611" fmla="*/ 10061852 w 10505529"/>
              <a:gd name="connsiteY37611" fmla="*/ 1097017 h 7458372"/>
              <a:gd name="connsiteX37612" fmla="*/ 10067976 w 10505529"/>
              <a:gd name="connsiteY37612" fmla="*/ 1106337 h 7458372"/>
              <a:gd name="connsiteX37613" fmla="*/ 10070239 w 10505529"/>
              <a:gd name="connsiteY37613" fmla="*/ 1117780 h 7458372"/>
              <a:gd name="connsiteX37614" fmla="*/ 10067976 w 10505529"/>
              <a:gd name="connsiteY37614" fmla="*/ 1129494 h 7458372"/>
              <a:gd name="connsiteX37615" fmla="*/ 10061852 w 10505529"/>
              <a:gd name="connsiteY37615" fmla="*/ 1138815 h 7458372"/>
              <a:gd name="connsiteX37616" fmla="*/ 10052534 w 10505529"/>
              <a:gd name="connsiteY37616" fmla="*/ 1145076 h 7458372"/>
              <a:gd name="connsiteX37617" fmla="*/ 10040820 w 10505529"/>
              <a:gd name="connsiteY37617" fmla="*/ 1147340 h 7458372"/>
              <a:gd name="connsiteX37618" fmla="*/ 10018988 w 10505529"/>
              <a:gd name="connsiteY37618" fmla="*/ 1138815 h 7458372"/>
              <a:gd name="connsiteX37619" fmla="*/ 10010602 w 10505529"/>
              <a:gd name="connsiteY37619" fmla="*/ 1117655 h 7458372"/>
              <a:gd name="connsiteX37620" fmla="*/ 10018988 w 10505529"/>
              <a:gd name="connsiteY37620" fmla="*/ 1096621 h 7458372"/>
              <a:gd name="connsiteX37621" fmla="*/ 10040820 w 10505529"/>
              <a:gd name="connsiteY37621" fmla="*/ 1088096 h 7458372"/>
              <a:gd name="connsiteX37622" fmla="*/ 9823176 w 10505529"/>
              <a:gd name="connsiteY37622" fmla="*/ 1088096 h 7458372"/>
              <a:gd name="connsiteX37623" fmla="*/ 9834890 w 10505529"/>
              <a:gd name="connsiteY37623" fmla="*/ 1090626 h 7458372"/>
              <a:gd name="connsiteX37624" fmla="*/ 9844208 w 10505529"/>
              <a:gd name="connsiteY37624" fmla="*/ 1097017 h 7458372"/>
              <a:gd name="connsiteX37625" fmla="*/ 9850331 w 10505529"/>
              <a:gd name="connsiteY37625" fmla="*/ 1106339 h 7458372"/>
              <a:gd name="connsiteX37626" fmla="*/ 9852595 w 10505529"/>
              <a:gd name="connsiteY37626" fmla="*/ 1117780 h 7458372"/>
              <a:gd name="connsiteX37627" fmla="*/ 9850331 w 10505529"/>
              <a:gd name="connsiteY37627" fmla="*/ 1129494 h 7458372"/>
              <a:gd name="connsiteX37628" fmla="*/ 9844208 w 10505529"/>
              <a:gd name="connsiteY37628" fmla="*/ 1138815 h 7458372"/>
              <a:gd name="connsiteX37629" fmla="*/ 9834890 w 10505529"/>
              <a:gd name="connsiteY37629" fmla="*/ 1145076 h 7458372"/>
              <a:gd name="connsiteX37630" fmla="*/ 9823176 w 10505529"/>
              <a:gd name="connsiteY37630" fmla="*/ 1147340 h 7458372"/>
              <a:gd name="connsiteX37631" fmla="*/ 9801343 w 10505529"/>
              <a:gd name="connsiteY37631" fmla="*/ 1138815 h 7458372"/>
              <a:gd name="connsiteX37632" fmla="*/ 9792957 w 10505529"/>
              <a:gd name="connsiteY37632" fmla="*/ 1117655 h 7458372"/>
              <a:gd name="connsiteX37633" fmla="*/ 9801343 w 10505529"/>
              <a:gd name="connsiteY37633" fmla="*/ 1096621 h 7458372"/>
              <a:gd name="connsiteX37634" fmla="*/ 9823176 w 10505529"/>
              <a:gd name="connsiteY37634" fmla="*/ 1088096 h 7458372"/>
              <a:gd name="connsiteX37635" fmla="*/ 9605531 w 10505529"/>
              <a:gd name="connsiteY37635" fmla="*/ 1088096 h 7458372"/>
              <a:gd name="connsiteX37636" fmla="*/ 9617245 w 10505529"/>
              <a:gd name="connsiteY37636" fmla="*/ 1090626 h 7458372"/>
              <a:gd name="connsiteX37637" fmla="*/ 9626562 w 10505529"/>
              <a:gd name="connsiteY37637" fmla="*/ 1097017 h 7458372"/>
              <a:gd name="connsiteX37638" fmla="*/ 9632686 w 10505529"/>
              <a:gd name="connsiteY37638" fmla="*/ 1106339 h 7458372"/>
              <a:gd name="connsiteX37639" fmla="*/ 9634949 w 10505529"/>
              <a:gd name="connsiteY37639" fmla="*/ 1117780 h 7458372"/>
              <a:gd name="connsiteX37640" fmla="*/ 9632686 w 10505529"/>
              <a:gd name="connsiteY37640" fmla="*/ 1129494 h 7458372"/>
              <a:gd name="connsiteX37641" fmla="*/ 9626562 w 10505529"/>
              <a:gd name="connsiteY37641" fmla="*/ 1138815 h 7458372"/>
              <a:gd name="connsiteX37642" fmla="*/ 9617245 w 10505529"/>
              <a:gd name="connsiteY37642" fmla="*/ 1145076 h 7458372"/>
              <a:gd name="connsiteX37643" fmla="*/ 9605531 w 10505529"/>
              <a:gd name="connsiteY37643" fmla="*/ 1147340 h 7458372"/>
              <a:gd name="connsiteX37644" fmla="*/ 9583698 w 10505529"/>
              <a:gd name="connsiteY37644" fmla="*/ 1138815 h 7458372"/>
              <a:gd name="connsiteX37645" fmla="*/ 9575312 w 10505529"/>
              <a:gd name="connsiteY37645" fmla="*/ 1117655 h 7458372"/>
              <a:gd name="connsiteX37646" fmla="*/ 9583698 w 10505529"/>
              <a:gd name="connsiteY37646" fmla="*/ 1096621 h 7458372"/>
              <a:gd name="connsiteX37647" fmla="*/ 9605531 w 10505529"/>
              <a:gd name="connsiteY37647" fmla="*/ 1088096 h 7458372"/>
              <a:gd name="connsiteX37648" fmla="*/ 9387885 w 10505529"/>
              <a:gd name="connsiteY37648" fmla="*/ 1088096 h 7458372"/>
              <a:gd name="connsiteX37649" fmla="*/ 9399599 w 10505529"/>
              <a:gd name="connsiteY37649" fmla="*/ 1090626 h 7458372"/>
              <a:gd name="connsiteX37650" fmla="*/ 9408917 w 10505529"/>
              <a:gd name="connsiteY37650" fmla="*/ 1097017 h 7458372"/>
              <a:gd name="connsiteX37651" fmla="*/ 9415041 w 10505529"/>
              <a:gd name="connsiteY37651" fmla="*/ 1106339 h 7458372"/>
              <a:gd name="connsiteX37652" fmla="*/ 9417304 w 10505529"/>
              <a:gd name="connsiteY37652" fmla="*/ 1117780 h 7458372"/>
              <a:gd name="connsiteX37653" fmla="*/ 9415041 w 10505529"/>
              <a:gd name="connsiteY37653" fmla="*/ 1129494 h 7458372"/>
              <a:gd name="connsiteX37654" fmla="*/ 9408917 w 10505529"/>
              <a:gd name="connsiteY37654" fmla="*/ 1138815 h 7458372"/>
              <a:gd name="connsiteX37655" fmla="*/ 9399599 w 10505529"/>
              <a:gd name="connsiteY37655" fmla="*/ 1145076 h 7458372"/>
              <a:gd name="connsiteX37656" fmla="*/ 9387885 w 10505529"/>
              <a:gd name="connsiteY37656" fmla="*/ 1147340 h 7458372"/>
              <a:gd name="connsiteX37657" fmla="*/ 9366053 w 10505529"/>
              <a:gd name="connsiteY37657" fmla="*/ 1138815 h 7458372"/>
              <a:gd name="connsiteX37658" fmla="*/ 9357667 w 10505529"/>
              <a:gd name="connsiteY37658" fmla="*/ 1117655 h 7458372"/>
              <a:gd name="connsiteX37659" fmla="*/ 9366053 w 10505529"/>
              <a:gd name="connsiteY37659" fmla="*/ 1096621 h 7458372"/>
              <a:gd name="connsiteX37660" fmla="*/ 9387885 w 10505529"/>
              <a:gd name="connsiteY37660" fmla="*/ 1088096 h 7458372"/>
              <a:gd name="connsiteX37661" fmla="*/ 9170374 w 10505529"/>
              <a:gd name="connsiteY37661" fmla="*/ 1088096 h 7458372"/>
              <a:gd name="connsiteX37662" fmla="*/ 9182088 w 10505529"/>
              <a:gd name="connsiteY37662" fmla="*/ 1090626 h 7458372"/>
              <a:gd name="connsiteX37663" fmla="*/ 9191405 w 10505529"/>
              <a:gd name="connsiteY37663" fmla="*/ 1097017 h 7458372"/>
              <a:gd name="connsiteX37664" fmla="*/ 9197529 w 10505529"/>
              <a:gd name="connsiteY37664" fmla="*/ 1106339 h 7458372"/>
              <a:gd name="connsiteX37665" fmla="*/ 9199792 w 10505529"/>
              <a:gd name="connsiteY37665" fmla="*/ 1117780 h 7458372"/>
              <a:gd name="connsiteX37666" fmla="*/ 9197529 w 10505529"/>
              <a:gd name="connsiteY37666" fmla="*/ 1129494 h 7458372"/>
              <a:gd name="connsiteX37667" fmla="*/ 9191405 w 10505529"/>
              <a:gd name="connsiteY37667" fmla="*/ 1138815 h 7458372"/>
              <a:gd name="connsiteX37668" fmla="*/ 9182088 w 10505529"/>
              <a:gd name="connsiteY37668" fmla="*/ 1145076 h 7458372"/>
              <a:gd name="connsiteX37669" fmla="*/ 9170374 w 10505529"/>
              <a:gd name="connsiteY37669" fmla="*/ 1147340 h 7458372"/>
              <a:gd name="connsiteX37670" fmla="*/ 9148541 w 10505529"/>
              <a:gd name="connsiteY37670" fmla="*/ 1138815 h 7458372"/>
              <a:gd name="connsiteX37671" fmla="*/ 9140155 w 10505529"/>
              <a:gd name="connsiteY37671" fmla="*/ 1117655 h 7458372"/>
              <a:gd name="connsiteX37672" fmla="*/ 9148541 w 10505529"/>
              <a:gd name="connsiteY37672" fmla="*/ 1096621 h 7458372"/>
              <a:gd name="connsiteX37673" fmla="*/ 9170374 w 10505529"/>
              <a:gd name="connsiteY37673" fmla="*/ 1088096 h 7458372"/>
              <a:gd name="connsiteX37674" fmla="*/ 8952728 w 10505529"/>
              <a:gd name="connsiteY37674" fmla="*/ 1088096 h 7458372"/>
              <a:gd name="connsiteX37675" fmla="*/ 8964442 w 10505529"/>
              <a:gd name="connsiteY37675" fmla="*/ 1090626 h 7458372"/>
              <a:gd name="connsiteX37676" fmla="*/ 8973760 w 10505529"/>
              <a:gd name="connsiteY37676" fmla="*/ 1097017 h 7458372"/>
              <a:gd name="connsiteX37677" fmla="*/ 8979884 w 10505529"/>
              <a:gd name="connsiteY37677" fmla="*/ 1106339 h 7458372"/>
              <a:gd name="connsiteX37678" fmla="*/ 8982147 w 10505529"/>
              <a:gd name="connsiteY37678" fmla="*/ 1117780 h 7458372"/>
              <a:gd name="connsiteX37679" fmla="*/ 8979884 w 10505529"/>
              <a:gd name="connsiteY37679" fmla="*/ 1129494 h 7458372"/>
              <a:gd name="connsiteX37680" fmla="*/ 8973760 w 10505529"/>
              <a:gd name="connsiteY37680" fmla="*/ 1138815 h 7458372"/>
              <a:gd name="connsiteX37681" fmla="*/ 8964442 w 10505529"/>
              <a:gd name="connsiteY37681" fmla="*/ 1145076 h 7458372"/>
              <a:gd name="connsiteX37682" fmla="*/ 8952728 w 10505529"/>
              <a:gd name="connsiteY37682" fmla="*/ 1147340 h 7458372"/>
              <a:gd name="connsiteX37683" fmla="*/ 8930896 w 10505529"/>
              <a:gd name="connsiteY37683" fmla="*/ 1138815 h 7458372"/>
              <a:gd name="connsiteX37684" fmla="*/ 8922510 w 10505529"/>
              <a:gd name="connsiteY37684" fmla="*/ 1117655 h 7458372"/>
              <a:gd name="connsiteX37685" fmla="*/ 8930896 w 10505529"/>
              <a:gd name="connsiteY37685" fmla="*/ 1096621 h 7458372"/>
              <a:gd name="connsiteX37686" fmla="*/ 8952728 w 10505529"/>
              <a:gd name="connsiteY37686" fmla="*/ 1088096 h 7458372"/>
              <a:gd name="connsiteX37687" fmla="*/ 8735083 w 10505529"/>
              <a:gd name="connsiteY37687" fmla="*/ 1088096 h 7458372"/>
              <a:gd name="connsiteX37688" fmla="*/ 8746797 w 10505529"/>
              <a:gd name="connsiteY37688" fmla="*/ 1090626 h 7458372"/>
              <a:gd name="connsiteX37689" fmla="*/ 8756115 w 10505529"/>
              <a:gd name="connsiteY37689" fmla="*/ 1097017 h 7458372"/>
              <a:gd name="connsiteX37690" fmla="*/ 8762238 w 10505529"/>
              <a:gd name="connsiteY37690" fmla="*/ 1106339 h 7458372"/>
              <a:gd name="connsiteX37691" fmla="*/ 8764502 w 10505529"/>
              <a:gd name="connsiteY37691" fmla="*/ 1117780 h 7458372"/>
              <a:gd name="connsiteX37692" fmla="*/ 8762238 w 10505529"/>
              <a:gd name="connsiteY37692" fmla="*/ 1129494 h 7458372"/>
              <a:gd name="connsiteX37693" fmla="*/ 8756115 w 10505529"/>
              <a:gd name="connsiteY37693" fmla="*/ 1138815 h 7458372"/>
              <a:gd name="connsiteX37694" fmla="*/ 8746797 w 10505529"/>
              <a:gd name="connsiteY37694" fmla="*/ 1145076 h 7458372"/>
              <a:gd name="connsiteX37695" fmla="*/ 8735083 w 10505529"/>
              <a:gd name="connsiteY37695" fmla="*/ 1147340 h 7458372"/>
              <a:gd name="connsiteX37696" fmla="*/ 8713250 w 10505529"/>
              <a:gd name="connsiteY37696" fmla="*/ 1138815 h 7458372"/>
              <a:gd name="connsiteX37697" fmla="*/ 8704864 w 10505529"/>
              <a:gd name="connsiteY37697" fmla="*/ 1117655 h 7458372"/>
              <a:gd name="connsiteX37698" fmla="*/ 8713250 w 10505529"/>
              <a:gd name="connsiteY37698" fmla="*/ 1096621 h 7458372"/>
              <a:gd name="connsiteX37699" fmla="*/ 8735083 w 10505529"/>
              <a:gd name="connsiteY37699" fmla="*/ 1088096 h 7458372"/>
              <a:gd name="connsiteX37700" fmla="*/ 8517438 w 10505529"/>
              <a:gd name="connsiteY37700" fmla="*/ 1088096 h 7458372"/>
              <a:gd name="connsiteX37701" fmla="*/ 8529152 w 10505529"/>
              <a:gd name="connsiteY37701" fmla="*/ 1090626 h 7458372"/>
              <a:gd name="connsiteX37702" fmla="*/ 8538470 w 10505529"/>
              <a:gd name="connsiteY37702" fmla="*/ 1097017 h 7458372"/>
              <a:gd name="connsiteX37703" fmla="*/ 8544594 w 10505529"/>
              <a:gd name="connsiteY37703" fmla="*/ 1106339 h 7458372"/>
              <a:gd name="connsiteX37704" fmla="*/ 8546857 w 10505529"/>
              <a:gd name="connsiteY37704" fmla="*/ 1117780 h 7458372"/>
              <a:gd name="connsiteX37705" fmla="*/ 8544594 w 10505529"/>
              <a:gd name="connsiteY37705" fmla="*/ 1129494 h 7458372"/>
              <a:gd name="connsiteX37706" fmla="*/ 8538470 w 10505529"/>
              <a:gd name="connsiteY37706" fmla="*/ 1138815 h 7458372"/>
              <a:gd name="connsiteX37707" fmla="*/ 8529152 w 10505529"/>
              <a:gd name="connsiteY37707" fmla="*/ 1145076 h 7458372"/>
              <a:gd name="connsiteX37708" fmla="*/ 8517438 w 10505529"/>
              <a:gd name="connsiteY37708" fmla="*/ 1147340 h 7458372"/>
              <a:gd name="connsiteX37709" fmla="*/ 8495606 w 10505529"/>
              <a:gd name="connsiteY37709" fmla="*/ 1138815 h 7458372"/>
              <a:gd name="connsiteX37710" fmla="*/ 8487220 w 10505529"/>
              <a:gd name="connsiteY37710" fmla="*/ 1117655 h 7458372"/>
              <a:gd name="connsiteX37711" fmla="*/ 8495606 w 10505529"/>
              <a:gd name="connsiteY37711" fmla="*/ 1096621 h 7458372"/>
              <a:gd name="connsiteX37712" fmla="*/ 8517438 w 10505529"/>
              <a:gd name="connsiteY37712" fmla="*/ 1088096 h 7458372"/>
              <a:gd name="connsiteX37713" fmla="*/ 8299793 w 10505529"/>
              <a:gd name="connsiteY37713" fmla="*/ 1088096 h 7458372"/>
              <a:gd name="connsiteX37714" fmla="*/ 8311507 w 10505529"/>
              <a:gd name="connsiteY37714" fmla="*/ 1090626 h 7458372"/>
              <a:gd name="connsiteX37715" fmla="*/ 8320825 w 10505529"/>
              <a:gd name="connsiteY37715" fmla="*/ 1097017 h 7458372"/>
              <a:gd name="connsiteX37716" fmla="*/ 8326948 w 10505529"/>
              <a:gd name="connsiteY37716" fmla="*/ 1106339 h 7458372"/>
              <a:gd name="connsiteX37717" fmla="*/ 8329212 w 10505529"/>
              <a:gd name="connsiteY37717" fmla="*/ 1117780 h 7458372"/>
              <a:gd name="connsiteX37718" fmla="*/ 8326948 w 10505529"/>
              <a:gd name="connsiteY37718" fmla="*/ 1129494 h 7458372"/>
              <a:gd name="connsiteX37719" fmla="*/ 8320825 w 10505529"/>
              <a:gd name="connsiteY37719" fmla="*/ 1138815 h 7458372"/>
              <a:gd name="connsiteX37720" fmla="*/ 8311507 w 10505529"/>
              <a:gd name="connsiteY37720" fmla="*/ 1145076 h 7458372"/>
              <a:gd name="connsiteX37721" fmla="*/ 8299793 w 10505529"/>
              <a:gd name="connsiteY37721" fmla="*/ 1147340 h 7458372"/>
              <a:gd name="connsiteX37722" fmla="*/ 8277960 w 10505529"/>
              <a:gd name="connsiteY37722" fmla="*/ 1138815 h 7458372"/>
              <a:gd name="connsiteX37723" fmla="*/ 8269574 w 10505529"/>
              <a:gd name="connsiteY37723" fmla="*/ 1117655 h 7458372"/>
              <a:gd name="connsiteX37724" fmla="*/ 8277960 w 10505529"/>
              <a:gd name="connsiteY37724" fmla="*/ 1096621 h 7458372"/>
              <a:gd name="connsiteX37725" fmla="*/ 8299793 w 10505529"/>
              <a:gd name="connsiteY37725" fmla="*/ 1088096 h 7458372"/>
              <a:gd name="connsiteX37726" fmla="*/ 8082281 w 10505529"/>
              <a:gd name="connsiteY37726" fmla="*/ 1088096 h 7458372"/>
              <a:gd name="connsiteX37727" fmla="*/ 8094127 w 10505529"/>
              <a:gd name="connsiteY37727" fmla="*/ 1090626 h 7458372"/>
              <a:gd name="connsiteX37728" fmla="*/ 8103446 w 10505529"/>
              <a:gd name="connsiteY37728" fmla="*/ 1097017 h 7458372"/>
              <a:gd name="connsiteX37729" fmla="*/ 8109569 w 10505529"/>
              <a:gd name="connsiteY37729" fmla="*/ 1106339 h 7458372"/>
              <a:gd name="connsiteX37730" fmla="*/ 8111832 w 10505529"/>
              <a:gd name="connsiteY37730" fmla="*/ 1117780 h 7458372"/>
              <a:gd name="connsiteX37731" fmla="*/ 8109569 w 10505529"/>
              <a:gd name="connsiteY37731" fmla="*/ 1129494 h 7458372"/>
              <a:gd name="connsiteX37732" fmla="*/ 8103446 w 10505529"/>
              <a:gd name="connsiteY37732" fmla="*/ 1138815 h 7458372"/>
              <a:gd name="connsiteX37733" fmla="*/ 8094127 w 10505529"/>
              <a:gd name="connsiteY37733" fmla="*/ 1145076 h 7458372"/>
              <a:gd name="connsiteX37734" fmla="*/ 8082281 w 10505529"/>
              <a:gd name="connsiteY37734" fmla="*/ 1147340 h 7458372"/>
              <a:gd name="connsiteX37735" fmla="*/ 8060448 w 10505529"/>
              <a:gd name="connsiteY37735" fmla="*/ 1138815 h 7458372"/>
              <a:gd name="connsiteX37736" fmla="*/ 8052062 w 10505529"/>
              <a:gd name="connsiteY37736" fmla="*/ 1117655 h 7458372"/>
              <a:gd name="connsiteX37737" fmla="*/ 8060448 w 10505529"/>
              <a:gd name="connsiteY37737" fmla="*/ 1096621 h 7458372"/>
              <a:gd name="connsiteX37738" fmla="*/ 8082281 w 10505529"/>
              <a:gd name="connsiteY37738" fmla="*/ 1088096 h 7458372"/>
              <a:gd name="connsiteX37739" fmla="*/ 7864636 w 10505529"/>
              <a:gd name="connsiteY37739" fmla="*/ 1088096 h 7458372"/>
              <a:gd name="connsiteX37740" fmla="*/ 7876483 w 10505529"/>
              <a:gd name="connsiteY37740" fmla="*/ 1090626 h 7458372"/>
              <a:gd name="connsiteX37741" fmla="*/ 7885802 w 10505529"/>
              <a:gd name="connsiteY37741" fmla="*/ 1097017 h 7458372"/>
              <a:gd name="connsiteX37742" fmla="*/ 7891924 w 10505529"/>
              <a:gd name="connsiteY37742" fmla="*/ 1106339 h 7458372"/>
              <a:gd name="connsiteX37743" fmla="*/ 7894188 w 10505529"/>
              <a:gd name="connsiteY37743" fmla="*/ 1117780 h 7458372"/>
              <a:gd name="connsiteX37744" fmla="*/ 7891924 w 10505529"/>
              <a:gd name="connsiteY37744" fmla="*/ 1129494 h 7458372"/>
              <a:gd name="connsiteX37745" fmla="*/ 7885802 w 10505529"/>
              <a:gd name="connsiteY37745" fmla="*/ 1138815 h 7458372"/>
              <a:gd name="connsiteX37746" fmla="*/ 7876483 w 10505529"/>
              <a:gd name="connsiteY37746" fmla="*/ 1145076 h 7458372"/>
              <a:gd name="connsiteX37747" fmla="*/ 7864636 w 10505529"/>
              <a:gd name="connsiteY37747" fmla="*/ 1147340 h 7458372"/>
              <a:gd name="connsiteX37748" fmla="*/ 7842803 w 10505529"/>
              <a:gd name="connsiteY37748" fmla="*/ 1138815 h 7458372"/>
              <a:gd name="connsiteX37749" fmla="*/ 7834417 w 10505529"/>
              <a:gd name="connsiteY37749" fmla="*/ 1117655 h 7458372"/>
              <a:gd name="connsiteX37750" fmla="*/ 7842803 w 10505529"/>
              <a:gd name="connsiteY37750" fmla="*/ 1096621 h 7458372"/>
              <a:gd name="connsiteX37751" fmla="*/ 7864636 w 10505529"/>
              <a:gd name="connsiteY37751" fmla="*/ 1088096 h 7458372"/>
              <a:gd name="connsiteX37752" fmla="*/ 7646991 w 10505529"/>
              <a:gd name="connsiteY37752" fmla="*/ 1088096 h 7458372"/>
              <a:gd name="connsiteX37753" fmla="*/ 7658705 w 10505529"/>
              <a:gd name="connsiteY37753" fmla="*/ 1090626 h 7458372"/>
              <a:gd name="connsiteX37754" fmla="*/ 7668022 w 10505529"/>
              <a:gd name="connsiteY37754" fmla="*/ 1097017 h 7458372"/>
              <a:gd name="connsiteX37755" fmla="*/ 7674146 w 10505529"/>
              <a:gd name="connsiteY37755" fmla="*/ 1106339 h 7458372"/>
              <a:gd name="connsiteX37756" fmla="*/ 7676409 w 10505529"/>
              <a:gd name="connsiteY37756" fmla="*/ 1117780 h 7458372"/>
              <a:gd name="connsiteX37757" fmla="*/ 7674146 w 10505529"/>
              <a:gd name="connsiteY37757" fmla="*/ 1129494 h 7458372"/>
              <a:gd name="connsiteX37758" fmla="*/ 7668022 w 10505529"/>
              <a:gd name="connsiteY37758" fmla="*/ 1138815 h 7458372"/>
              <a:gd name="connsiteX37759" fmla="*/ 7658705 w 10505529"/>
              <a:gd name="connsiteY37759" fmla="*/ 1145076 h 7458372"/>
              <a:gd name="connsiteX37760" fmla="*/ 7646991 w 10505529"/>
              <a:gd name="connsiteY37760" fmla="*/ 1147340 h 7458372"/>
              <a:gd name="connsiteX37761" fmla="*/ 7625158 w 10505529"/>
              <a:gd name="connsiteY37761" fmla="*/ 1138815 h 7458372"/>
              <a:gd name="connsiteX37762" fmla="*/ 7616772 w 10505529"/>
              <a:gd name="connsiteY37762" fmla="*/ 1117655 h 7458372"/>
              <a:gd name="connsiteX37763" fmla="*/ 7625158 w 10505529"/>
              <a:gd name="connsiteY37763" fmla="*/ 1096621 h 7458372"/>
              <a:gd name="connsiteX37764" fmla="*/ 7646991 w 10505529"/>
              <a:gd name="connsiteY37764" fmla="*/ 1088096 h 7458372"/>
              <a:gd name="connsiteX37765" fmla="*/ 7429345 w 10505529"/>
              <a:gd name="connsiteY37765" fmla="*/ 1088096 h 7458372"/>
              <a:gd name="connsiteX37766" fmla="*/ 7441059 w 10505529"/>
              <a:gd name="connsiteY37766" fmla="*/ 1090626 h 7458372"/>
              <a:gd name="connsiteX37767" fmla="*/ 7450377 w 10505529"/>
              <a:gd name="connsiteY37767" fmla="*/ 1097017 h 7458372"/>
              <a:gd name="connsiteX37768" fmla="*/ 7456501 w 10505529"/>
              <a:gd name="connsiteY37768" fmla="*/ 1106339 h 7458372"/>
              <a:gd name="connsiteX37769" fmla="*/ 7458764 w 10505529"/>
              <a:gd name="connsiteY37769" fmla="*/ 1117780 h 7458372"/>
              <a:gd name="connsiteX37770" fmla="*/ 7456501 w 10505529"/>
              <a:gd name="connsiteY37770" fmla="*/ 1129494 h 7458372"/>
              <a:gd name="connsiteX37771" fmla="*/ 7450377 w 10505529"/>
              <a:gd name="connsiteY37771" fmla="*/ 1138815 h 7458372"/>
              <a:gd name="connsiteX37772" fmla="*/ 7441059 w 10505529"/>
              <a:gd name="connsiteY37772" fmla="*/ 1145076 h 7458372"/>
              <a:gd name="connsiteX37773" fmla="*/ 7429345 w 10505529"/>
              <a:gd name="connsiteY37773" fmla="*/ 1147340 h 7458372"/>
              <a:gd name="connsiteX37774" fmla="*/ 7407513 w 10505529"/>
              <a:gd name="connsiteY37774" fmla="*/ 1138815 h 7458372"/>
              <a:gd name="connsiteX37775" fmla="*/ 7399127 w 10505529"/>
              <a:gd name="connsiteY37775" fmla="*/ 1117655 h 7458372"/>
              <a:gd name="connsiteX37776" fmla="*/ 7407513 w 10505529"/>
              <a:gd name="connsiteY37776" fmla="*/ 1096621 h 7458372"/>
              <a:gd name="connsiteX37777" fmla="*/ 7429345 w 10505529"/>
              <a:gd name="connsiteY37777" fmla="*/ 1088096 h 7458372"/>
              <a:gd name="connsiteX37778" fmla="*/ 7211701 w 10505529"/>
              <a:gd name="connsiteY37778" fmla="*/ 1088096 h 7458372"/>
              <a:gd name="connsiteX37779" fmla="*/ 7223415 w 10505529"/>
              <a:gd name="connsiteY37779" fmla="*/ 1090626 h 7458372"/>
              <a:gd name="connsiteX37780" fmla="*/ 7232733 w 10505529"/>
              <a:gd name="connsiteY37780" fmla="*/ 1097017 h 7458372"/>
              <a:gd name="connsiteX37781" fmla="*/ 7238856 w 10505529"/>
              <a:gd name="connsiteY37781" fmla="*/ 1106339 h 7458372"/>
              <a:gd name="connsiteX37782" fmla="*/ 7241120 w 10505529"/>
              <a:gd name="connsiteY37782" fmla="*/ 1117780 h 7458372"/>
              <a:gd name="connsiteX37783" fmla="*/ 7238856 w 10505529"/>
              <a:gd name="connsiteY37783" fmla="*/ 1129494 h 7458372"/>
              <a:gd name="connsiteX37784" fmla="*/ 7232733 w 10505529"/>
              <a:gd name="connsiteY37784" fmla="*/ 1138815 h 7458372"/>
              <a:gd name="connsiteX37785" fmla="*/ 7223415 w 10505529"/>
              <a:gd name="connsiteY37785" fmla="*/ 1145076 h 7458372"/>
              <a:gd name="connsiteX37786" fmla="*/ 7211701 w 10505529"/>
              <a:gd name="connsiteY37786" fmla="*/ 1147340 h 7458372"/>
              <a:gd name="connsiteX37787" fmla="*/ 7189868 w 10505529"/>
              <a:gd name="connsiteY37787" fmla="*/ 1138815 h 7458372"/>
              <a:gd name="connsiteX37788" fmla="*/ 7181482 w 10505529"/>
              <a:gd name="connsiteY37788" fmla="*/ 1117655 h 7458372"/>
              <a:gd name="connsiteX37789" fmla="*/ 7189868 w 10505529"/>
              <a:gd name="connsiteY37789" fmla="*/ 1096621 h 7458372"/>
              <a:gd name="connsiteX37790" fmla="*/ 7211701 w 10505529"/>
              <a:gd name="connsiteY37790" fmla="*/ 1088096 h 7458372"/>
              <a:gd name="connsiteX37791" fmla="*/ 6994056 w 10505529"/>
              <a:gd name="connsiteY37791" fmla="*/ 1088096 h 7458372"/>
              <a:gd name="connsiteX37792" fmla="*/ 7005769 w 10505529"/>
              <a:gd name="connsiteY37792" fmla="*/ 1090626 h 7458372"/>
              <a:gd name="connsiteX37793" fmla="*/ 7015087 w 10505529"/>
              <a:gd name="connsiteY37793" fmla="*/ 1097017 h 7458372"/>
              <a:gd name="connsiteX37794" fmla="*/ 7021211 w 10505529"/>
              <a:gd name="connsiteY37794" fmla="*/ 1106339 h 7458372"/>
              <a:gd name="connsiteX37795" fmla="*/ 7023474 w 10505529"/>
              <a:gd name="connsiteY37795" fmla="*/ 1117780 h 7458372"/>
              <a:gd name="connsiteX37796" fmla="*/ 7021211 w 10505529"/>
              <a:gd name="connsiteY37796" fmla="*/ 1129494 h 7458372"/>
              <a:gd name="connsiteX37797" fmla="*/ 7015087 w 10505529"/>
              <a:gd name="connsiteY37797" fmla="*/ 1138815 h 7458372"/>
              <a:gd name="connsiteX37798" fmla="*/ 7005769 w 10505529"/>
              <a:gd name="connsiteY37798" fmla="*/ 1145076 h 7458372"/>
              <a:gd name="connsiteX37799" fmla="*/ 6994056 w 10505529"/>
              <a:gd name="connsiteY37799" fmla="*/ 1147340 h 7458372"/>
              <a:gd name="connsiteX37800" fmla="*/ 6972223 w 10505529"/>
              <a:gd name="connsiteY37800" fmla="*/ 1138815 h 7458372"/>
              <a:gd name="connsiteX37801" fmla="*/ 6963837 w 10505529"/>
              <a:gd name="connsiteY37801" fmla="*/ 1117655 h 7458372"/>
              <a:gd name="connsiteX37802" fmla="*/ 6972223 w 10505529"/>
              <a:gd name="connsiteY37802" fmla="*/ 1096621 h 7458372"/>
              <a:gd name="connsiteX37803" fmla="*/ 6994056 w 10505529"/>
              <a:gd name="connsiteY37803" fmla="*/ 1088096 h 7458372"/>
              <a:gd name="connsiteX37804" fmla="*/ 6776544 w 10505529"/>
              <a:gd name="connsiteY37804" fmla="*/ 1088096 h 7458372"/>
              <a:gd name="connsiteX37805" fmla="*/ 6788258 w 10505529"/>
              <a:gd name="connsiteY37805" fmla="*/ 1090626 h 7458372"/>
              <a:gd name="connsiteX37806" fmla="*/ 6797576 w 10505529"/>
              <a:gd name="connsiteY37806" fmla="*/ 1097017 h 7458372"/>
              <a:gd name="connsiteX37807" fmla="*/ 6803699 w 10505529"/>
              <a:gd name="connsiteY37807" fmla="*/ 1106339 h 7458372"/>
              <a:gd name="connsiteX37808" fmla="*/ 6805963 w 10505529"/>
              <a:gd name="connsiteY37808" fmla="*/ 1117780 h 7458372"/>
              <a:gd name="connsiteX37809" fmla="*/ 6803699 w 10505529"/>
              <a:gd name="connsiteY37809" fmla="*/ 1129494 h 7458372"/>
              <a:gd name="connsiteX37810" fmla="*/ 6797576 w 10505529"/>
              <a:gd name="connsiteY37810" fmla="*/ 1138815 h 7458372"/>
              <a:gd name="connsiteX37811" fmla="*/ 6788258 w 10505529"/>
              <a:gd name="connsiteY37811" fmla="*/ 1145076 h 7458372"/>
              <a:gd name="connsiteX37812" fmla="*/ 6776544 w 10505529"/>
              <a:gd name="connsiteY37812" fmla="*/ 1147340 h 7458372"/>
              <a:gd name="connsiteX37813" fmla="*/ 6754711 w 10505529"/>
              <a:gd name="connsiteY37813" fmla="*/ 1138815 h 7458372"/>
              <a:gd name="connsiteX37814" fmla="*/ 6746325 w 10505529"/>
              <a:gd name="connsiteY37814" fmla="*/ 1117655 h 7458372"/>
              <a:gd name="connsiteX37815" fmla="*/ 6754711 w 10505529"/>
              <a:gd name="connsiteY37815" fmla="*/ 1096621 h 7458372"/>
              <a:gd name="connsiteX37816" fmla="*/ 6776544 w 10505529"/>
              <a:gd name="connsiteY37816" fmla="*/ 1088096 h 7458372"/>
              <a:gd name="connsiteX37817" fmla="*/ 6558899 w 10505529"/>
              <a:gd name="connsiteY37817" fmla="*/ 1088096 h 7458372"/>
              <a:gd name="connsiteX37818" fmla="*/ 6570612 w 10505529"/>
              <a:gd name="connsiteY37818" fmla="*/ 1090626 h 7458372"/>
              <a:gd name="connsiteX37819" fmla="*/ 6579930 w 10505529"/>
              <a:gd name="connsiteY37819" fmla="*/ 1097017 h 7458372"/>
              <a:gd name="connsiteX37820" fmla="*/ 6586054 w 10505529"/>
              <a:gd name="connsiteY37820" fmla="*/ 1106339 h 7458372"/>
              <a:gd name="connsiteX37821" fmla="*/ 6588317 w 10505529"/>
              <a:gd name="connsiteY37821" fmla="*/ 1117780 h 7458372"/>
              <a:gd name="connsiteX37822" fmla="*/ 6586054 w 10505529"/>
              <a:gd name="connsiteY37822" fmla="*/ 1129494 h 7458372"/>
              <a:gd name="connsiteX37823" fmla="*/ 6579930 w 10505529"/>
              <a:gd name="connsiteY37823" fmla="*/ 1138815 h 7458372"/>
              <a:gd name="connsiteX37824" fmla="*/ 6570612 w 10505529"/>
              <a:gd name="connsiteY37824" fmla="*/ 1145076 h 7458372"/>
              <a:gd name="connsiteX37825" fmla="*/ 6558899 w 10505529"/>
              <a:gd name="connsiteY37825" fmla="*/ 1147340 h 7458372"/>
              <a:gd name="connsiteX37826" fmla="*/ 6537066 w 10505529"/>
              <a:gd name="connsiteY37826" fmla="*/ 1138815 h 7458372"/>
              <a:gd name="connsiteX37827" fmla="*/ 6528680 w 10505529"/>
              <a:gd name="connsiteY37827" fmla="*/ 1117655 h 7458372"/>
              <a:gd name="connsiteX37828" fmla="*/ 6537066 w 10505529"/>
              <a:gd name="connsiteY37828" fmla="*/ 1096621 h 7458372"/>
              <a:gd name="connsiteX37829" fmla="*/ 6558899 w 10505529"/>
              <a:gd name="connsiteY37829" fmla="*/ 1088096 h 7458372"/>
              <a:gd name="connsiteX37830" fmla="*/ 6341253 w 10505529"/>
              <a:gd name="connsiteY37830" fmla="*/ 1088096 h 7458372"/>
              <a:gd name="connsiteX37831" fmla="*/ 6352968 w 10505529"/>
              <a:gd name="connsiteY37831" fmla="*/ 1090626 h 7458372"/>
              <a:gd name="connsiteX37832" fmla="*/ 6362286 w 10505529"/>
              <a:gd name="connsiteY37832" fmla="*/ 1097017 h 7458372"/>
              <a:gd name="connsiteX37833" fmla="*/ 6368409 w 10505529"/>
              <a:gd name="connsiteY37833" fmla="*/ 1106339 h 7458372"/>
              <a:gd name="connsiteX37834" fmla="*/ 6370672 w 10505529"/>
              <a:gd name="connsiteY37834" fmla="*/ 1117780 h 7458372"/>
              <a:gd name="connsiteX37835" fmla="*/ 6368409 w 10505529"/>
              <a:gd name="connsiteY37835" fmla="*/ 1129494 h 7458372"/>
              <a:gd name="connsiteX37836" fmla="*/ 6362286 w 10505529"/>
              <a:gd name="connsiteY37836" fmla="*/ 1138815 h 7458372"/>
              <a:gd name="connsiteX37837" fmla="*/ 6352968 w 10505529"/>
              <a:gd name="connsiteY37837" fmla="*/ 1145076 h 7458372"/>
              <a:gd name="connsiteX37838" fmla="*/ 6341253 w 10505529"/>
              <a:gd name="connsiteY37838" fmla="*/ 1147340 h 7458372"/>
              <a:gd name="connsiteX37839" fmla="*/ 6319421 w 10505529"/>
              <a:gd name="connsiteY37839" fmla="*/ 1138815 h 7458372"/>
              <a:gd name="connsiteX37840" fmla="*/ 6311035 w 10505529"/>
              <a:gd name="connsiteY37840" fmla="*/ 1117655 h 7458372"/>
              <a:gd name="connsiteX37841" fmla="*/ 6319421 w 10505529"/>
              <a:gd name="connsiteY37841" fmla="*/ 1096621 h 7458372"/>
              <a:gd name="connsiteX37842" fmla="*/ 6341253 w 10505529"/>
              <a:gd name="connsiteY37842" fmla="*/ 1088096 h 7458372"/>
              <a:gd name="connsiteX37843" fmla="*/ 6123608 w 10505529"/>
              <a:gd name="connsiteY37843" fmla="*/ 1088096 h 7458372"/>
              <a:gd name="connsiteX37844" fmla="*/ 6135322 w 10505529"/>
              <a:gd name="connsiteY37844" fmla="*/ 1090626 h 7458372"/>
              <a:gd name="connsiteX37845" fmla="*/ 6144640 w 10505529"/>
              <a:gd name="connsiteY37845" fmla="*/ 1097017 h 7458372"/>
              <a:gd name="connsiteX37846" fmla="*/ 6150763 w 10505529"/>
              <a:gd name="connsiteY37846" fmla="*/ 1106339 h 7458372"/>
              <a:gd name="connsiteX37847" fmla="*/ 6153026 w 10505529"/>
              <a:gd name="connsiteY37847" fmla="*/ 1117780 h 7458372"/>
              <a:gd name="connsiteX37848" fmla="*/ 6150763 w 10505529"/>
              <a:gd name="connsiteY37848" fmla="*/ 1129494 h 7458372"/>
              <a:gd name="connsiteX37849" fmla="*/ 6144640 w 10505529"/>
              <a:gd name="connsiteY37849" fmla="*/ 1138815 h 7458372"/>
              <a:gd name="connsiteX37850" fmla="*/ 6135322 w 10505529"/>
              <a:gd name="connsiteY37850" fmla="*/ 1145076 h 7458372"/>
              <a:gd name="connsiteX37851" fmla="*/ 6123608 w 10505529"/>
              <a:gd name="connsiteY37851" fmla="*/ 1147340 h 7458372"/>
              <a:gd name="connsiteX37852" fmla="*/ 6101775 w 10505529"/>
              <a:gd name="connsiteY37852" fmla="*/ 1138815 h 7458372"/>
              <a:gd name="connsiteX37853" fmla="*/ 6093389 w 10505529"/>
              <a:gd name="connsiteY37853" fmla="*/ 1117655 h 7458372"/>
              <a:gd name="connsiteX37854" fmla="*/ 6101775 w 10505529"/>
              <a:gd name="connsiteY37854" fmla="*/ 1096621 h 7458372"/>
              <a:gd name="connsiteX37855" fmla="*/ 6123608 w 10505529"/>
              <a:gd name="connsiteY37855" fmla="*/ 1088096 h 7458372"/>
              <a:gd name="connsiteX37856" fmla="*/ 5905963 w 10505529"/>
              <a:gd name="connsiteY37856" fmla="*/ 1088096 h 7458372"/>
              <a:gd name="connsiteX37857" fmla="*/ 5917677 w 10505529"/>
              <a:gd name="connsiteY37857" fmla="*/ 1090626 h 7458372"/>
              <a:gd name="connsiteX37858" fmla="*/ 5926995 w 10505529"/>
              <a:gd name="connsiteY37858" fmla="*/ 1097017 h 7458372"/>
              <a:gd name="connsiteX37859" fmla="*/ 5933118 w 10505529"/>
              <a:gd name="connsiteY37859" fmla="*/ 1106339 h 7458372"/>
              <a:gd name="connsiteX37860" fmla="*/ 5935381 w 10505529"/>
              <a:gd name="connsiteY37860" fmla="*/ 1117780 h 7458372"/>
              <a:gd name="connsiteX37861" fmla="*/ 5933118 w 10505529"/>
              <a:gd name="connsiteY37861" fmla="*/ 1129494 h 7458372"/>
              <a:gd name="connsiteX37862" fmla="*/ 5926995 w 10505529"/>
              <a:gd name="connsiteY37862" fmla="*/ 1138815 h 7458372"/>
              <a:gd name="connsiteX37863" fmla="*/ 5917677 w 10505529"/>
              <a:gd name="connsiteY37863" fmla="*/ 1145076 h 7458372"/>
              <a:gd name="connsiteX37864" fmla="*/ 5905963 w 10505529"/>
              <a:gd name="connsiteY37864" fmla="*/ 1147340 h 7458372"/>
              <a:gd name="connsiteX37865" fmla="*/ 5884130 w 10505529"/>
              <a:gd name="connsiteY37865" fmla="*/ 1138815 h 7458372"/>
              <a:gd name="connsiteX37866" fmla="*/ 5875744 w 10505529"/>
              <a:gd name="connsiteY37866" fmla="*/ 1117655 h 7458372"/>
              <a:gd name="connsiteX37867" fmla="*/ 5884130 w 10505529"/>
              <a:gd name="connsiteY37867" fmla="*/ 1096621 h 7458372"/>
              <a:gd name="connsiteX37868" fmla="*/ 5905963 w 10505529"/>
              <a:gd name="connsiteY37868" fmla="*/ 1088096 h 7458372"/>
              <a:gd name="connsiteX37869" fmla="*/ 5688451 w 10505529"/>
              <a:gd name="connsiteY37869" fmla="*/ 1088096 h 7458372"/>
              <a:gd name="connsiteX37870" fmla="*/ 5700165 w 10505529"/>
              <a:gd name="connsiteY37870" fmla="*/ 1090626 h 7458372"/>
              <a:gd name="connsiteX37871" fmla="*/ 5709483 w 10505529"/>
              <a:gd name="connsiteY37871" fmla="*/ 1097017 h 7458372"/>
              <a:gd name="connsiteX37872" fmla="*/ 5715606 w 10505529"/>
              <a:gd name="connsiteY37872" fmla="*/ 1106339 h 7458372"/>
              <a:gd name="connsiteX37873" fmla="*/ 5717869 w 10505529"/>
              <a:gd name="connsiteY37873" fmla="*/ 1117780 h 7458372"/>
              <a:gd name="connsiteX37874" fmla="*/ 5715606 w 10505529"/>
              <a:gd name="connsiteY37874" fmla="*/ 1129494 h 7458372"/>
              <a:gd name="connsiteX37875" fmla="*/ 5709483 w 10505529"/>
              <a:gd name="connsiteY37875" fmla="*/ 1138815 h 7458372"/>
              <a:gd name="connsiteX37876" fmla="*/ 5700165 w 10505529"/>
              <a:gd name="connsiteY37876" fmla="*/ 1145076 h 7458372"/>
              <a:gd name="connsiteX37877" fmla="*/ 5688451 w 10505529"/>
              <a:gd name="connsiteY37877" fmla="*/ 1147340 h 7458372"/>
              <a:gd name="connsiteX37878" fmla="*/ 5666618 w 10505529"/>
              <a:gd name="connsiteY37878" fmla="*/ 1138815 h 7458372"/>
              <a:gd name="connsiteX37879" fmla="*/ 5658232 w 10505529"/>
              <a:gd name="connsiteY37879" fmla="*/ 1117655 h 7458372"/>
              <a:gd name="connsiteX37880" fmla="*/ 5666618 w 10505529"/>
              <a:gd name="connsiteY37880" fmla="*/ 1096621 h 7458372"/>
              <a:gd name="connsiteX37881" fmla="*/ 5688451 w 10505529"/>
              <a:gd name="connsiteY37881" fmla="*/ 1088096 h 7458372"/>
              <a:gd name="connsiteX37882" fmla="*/ 5470806 w 10505529"/>
              <a:gd name="connsiteY37882" fmla="*/ 1088096 h 7458372"/>
              <a:gd name="connsiteX37883" fmla="*/ 5482520 w 10505529"/>
              <a:gd name="connsiteY37883" fmla="*/ 1090626 h 7458372"/>
              <a:gd name="connsiteX37884" fmla="*/ 5491838 w 10505529"/>
              <a:gd name="connsiteY37884" fmla="*/ 1097017 h 7458372"/>
              <a:gd name="connsiteX37885" fmla="*/ 5497961 w 10505529"/>
              <a:gd name="connsiteY37885" fmla="*/ 1106339 h 7458372"/>
              <a:gd name="connsiteX37886" fmla="*/ 5500224 w 10505529"/>
              <a:gd name="connsiteY37886" fmla="*/ 1117780 h 7458372"/>
              <a:gd name="connsiteX37887" fmla="*/ 5497961 w 10505529"/>
              <a:gd name="connsiteY37887" fmla="*/ 1129494 h 7458372"/>
              <a:gd name="connsiteX37888" fmla="*/ 5491838 w 10505529"/>
              <a:gd name="connsiteY37888" fmla="*/ 1138815 h 7458372"/>
              <a:gd name="connsiteX37889" fmla="*/ 5482520 w 10505529"/>
              <a:gd name="connsiteY37889" fmla="*/ 1145076 h 7458372"/>
              <a:gd name="connsiteX37890" fmla="*/ 5470806 w 10505529"/>
              <a:gd name="connsiteY37890" fmla="*/ 1147340 h 7458372"/>
              <a:gd name="connsiteX37891" fmla="*/ 5448973 w 10505529"/>
              <a:gd name="connsiteY37891" fmla="*/ 1138815 h 7458372"/>
              <a:gd name="connsiteX37892" fmla="*/ 5440587 w 10505529"/>
              <a:gd name="connsiteY37892" fmla="*/ 1117655 h 7458372"/>
              <a:gd name="connsiteX37893" fmla="*/ 5448973 w 10505529"/>
              <a:gd name="connsiteY37893" fmla="*/ 1096621 h 7458372"/>
              <a:gd name="connsiteX37894" fmla="*/ 5470806 w 10505529"/>
              <a:gd name="connsiteY37894" fmla="*/ 1088096 h 7458372"/>
              <a:gd name="connsiteX37895" fmla="*/ 5253160 w 10505529"/>
              <a:gd name="connsiteY37895" fmla="*/ 1088096 h 7458372"/>
              <a:gd name="connsiteX37896" fmla="*/ 5264875 w 10505529"/>
              <a:gd name="connsiteY37896" fmla="*/ 1090626 h 7458372"/>
              <a:gd name="connsiteX37897" fmla="*/ 5274192 w 10505529"/>
              <a:gd name="connsiteY37897" fmla="*/ 1097017 h 7458372"/>
              <a:gd name="connsiteX37898" fmla="*/ 5280316 w 10505529"/>
              <a:gd name="connsiteY37898" fmla="*/ 1106339 h 7458372"/>
              <a:gd name="connsiteX37899" fmla="*/ 5282579 w 10505529"/>
              <a:gd name="connsiteY37899" fmla="*/ 1117780 h 7458372"/>
              <a:gd name="connsiteX37900" fmla="*/ 5280316 w 10505529"/>
              <a:gd name="connsiteY37900" fmla="*/ 1129494 h 7458372"/>
              <a:gd name="connsiteX37901" fmla="*/ 5274192 w 10505529"/>
              <a:gd name="connsiteY37901" fmla="*/ 1138815 h 7458372"/>
              <a:gd name="connsiteX37902" fmla="*/ 5264875 w 10505529"/>
              <a:gd name="connsiteY37902" fmla="*/ 1145076 h 7458372"/>
              <a:gd name="connsiteX37903" fmla="*/ 5253160 w 10505529"/>
              <a:gd name="connsiteY37903" fmla="*/ 1147340 h 7458372"/>
              <a:gd name="connsiteX37904" fmla="*/ 5231328 w 10505529"/>
              <a:gd name="connsiteY37904" fmla="*/ 1138815 h 7458372"/>
              <a:gd name="connsiteX37905" fmla="*/ 5222942 w 10505529"/>
              <a:gd name="connsiteY37905" fmla="*/ 1117655 h 7458372"/>
              <a:gd name="connsiteX37906" fmla="*/ 5231328 w 10505529"/>
              <a:gd name="connsiteY37906" fmla="*/ 1096621 h 7458372"/>
              <a:gd name="connsiteX37907" fmla="*/ 5253160 w 10505529"/>
              <a:gd name="connsiteY37907" fmla="*/ 1088096 h 7458372"/>
              <a:gd name="connsiteX37908" fmla="*/ 5035515 w 10505529"/>
              <a:gd name="connsiteY37908" fmla="*/ 1088096 h 7458372"/>
              <a:gd name="connsiteX37909" fmla="*/ 5047230 w 10505529"/>
              <a:gd name="connsiteY37909" fmla="*/ 1090626 h 7458372"/>
              <a:gd name="connsiteX37910" fmla="*/ 5056548 w 10505529"/>
              <a:gd name="connsiteY37910" fmla="*/ 1097017 h 7458372"/>
              <a:gd name="connsiteX37911" fmla="*/ 5062671 w 10505529"/>
              <a:gd name="connsiteY37911" fmla="*/ 1106339 h 7458372"/>
              <a:gd name="connsiteX37912" fmla="*/ 5064934 w 10505529"/>
              <a:gd name="connsiteY37912" fmla="*/ 1117780 h 7458372"/>
              <a:gd name="connsiteX37913" fmla="*/ 5062671 w 10505529"/>
              <a:gd name="connsiteY37913" fmla="*/ 1129494 h 7458372"/>
              <a:gd name="connsiteX37914" fmla="*/ 5056548 w 10505529"/>
              <a:gd name="connsiteY37914" fmla="*/ 1138815 h 7458372"/>
              <a:gd name="connsiteX37915" fmla="*/ 5047230 w 10505529"/>
              <a:gd name="connsiteY37915" fmla="*/ 1145076 h 7458372"/>
              <a:gd name="connsiteX37916" fmla="*/ 5035515 w 10505529"/>
              <a:gd name="connsiteY37916" fmla="*/ 1147340 h 7458372"/>
              <a:gd name="connsiteX37917" fmla="*/ 5013683 w 10505529"/>
              <a:gd name="connsiteY37917" fmla="*/ 1138815 h 7458372"/>
              <a:gd name="connsiteX37918" fmla="*/ 5005297 w 10505529"/>
              <a:gd name="connsiteY37918" fmla="*/ 1117655 h 7458372"/>
              <a:gd name="connsiteX37919" fmla="*/ 5013683 w 10505529"/>
              <a:gd name="connsiteY37919" fmla="*/ 1096621 h 7458372"/>
              <a:gd name="connsiteX37920" fmla="*/ 5035515 w 10505529"/>
              <a:gd name="connsiteY37920" fmla="*/ 1088096 h 7458372"/>
              <a:gd name="connsiteX37921" fmla="*/ 4817870 w 10505529"/>
              <a:gd name="connsiteY37921" fmla="*/ 1088096 h 7458372"/>
              <a:gd name="connsiteX37922" fmla="*/ 4829585 w 10505529"/>
              <a:gd name="connsiteY37922" fmla="*/ 1090626 h 7458372"/>
              <a:gd name="connsiteX37923" fmla="*/ 4838903 w 10505529"/>
              <a:gd name="connsiteY37923" fmla="*/ 1097017 h 7458372"/>
              <a:gd name="connsiteX37924" fmla="*/ 4845026 w 10505529"/>
              <a:gd name="connsiteY37924" fmla="*/ 1106339 h 7458372"/>
              <a:gd name="connsiteX37925" fmla="*/ 4847289 w 10505529"/>
              <a:gd name="connsiteY37925" fmla="*/ 1117780 h 7458372"/>
              <a:gd name="connsiteX37926" fmla="*/ 4845026 w 10505529"/>
              <a:gd name="connsiteY37926" fmla="*/ 1129494 h 7458372"/>
              <a:gd name="connsiteX37927" fmla="*/ 4838903 w 10505529"/>
              <a:gd name="connsiteY37927" fmla="*/ 1138815 h 7458372"/>
              <a:gd name="connsiteX37928" fmla="*/ 4829585 w 10505529"/>
              <a:gd name="connsiteY37928" fmla="*/ 1145076 h 7458372"/>
              <a:gd name="connsiteX37929" fmla="*/ 4817870 w 10505529"/>
              <a:gd name="connsiteY37929" fmla="*/ 1147340 h 7458372"/>
              <a:gd name="connsiteX37930" fmla="*/ 4796038 w 10505529"/>
              <a:gd name="connsiteY37930" fmla="*/ 1138815 h 7458372"/>
              <a:gd name="connsiteX37931" fmla="*/ 4787652 w 10505529"/>
              <a:gd name="connsiteY37931" fmla="*/ 1117655 h 7458372"/>
              <a:gd name="connsiteX37932" fmla="*/ 4796038 w 10505529"/>
              <a:gd name="connsiteY37932" fmla="*/ 1096621 h 7458372"/>
              <a:gd name="connsiteX37933" fmla="*/ 4817870 w 10505529"/>
              <a:gd name="connsiteY37933" fmla="*/ 1088096 h 7458372"/>
              <a:gd name="connsiteX37934" fmla="*/ 4600226 w 10505529"/>
              <a:gd name="connsiteY37934" fmla="*/ 1088096 h 7458372"/>
              <a:gd name="connsiteX37935" fmla="*/ 4612073 w 10505529"/>
              <a:gd name="connsiteY37935" fmla="*/ 1090626 h 7458372"/>
              <a:gd name="connsiteX37936" fmla="*/ 4621391 w 10505529"/>
              <a:gd name="connsiteY37936" fmla="*/ 1097017 h 7458372"/>
              <a:gd name="connsiteX37937" fmla="*/ 4627514 w 10505529"/>
              <a:gd name="connsiteY37937" fmla="*/ 1106339 h 7458372"/>
              <a:gd name="connsiteX37938" fmla="*/ 4629777 w 10505529"/>
              <a:gd name="connsiteY37938" fmla="*/ 1117780 h 7458372"/>
              <a:gd name="connsiteX37939" fmla="*/ 4627514 w 10505529"/>
              <a:gd name="connsiteY37939" fmla="*/ 1129494 h 7458372"/>
              <a:gd name="connsiteX37940" fmla="*/ 4621391 w 10505529"/>
              <a:gd name="connsiteY37940" fmla="*/ 1138815 h 7458372"/>
              <a:gd name="connsiteX37941" fmla="*/ 4612073 w 10505529"/>
              <a:gd name="connsiteY37941" fmla="*/ 1145076 h 7458372"/>
              <a:gd name="connsiteX37942" fmla="*/ 4600226 w 10505529"/>
              <a:gd name="connsiteY37942" fmla="*/ 1147340 h 7458372"/>
              <a:gd name="connsiteX37943" fmla="*/ 4578393 w 10505529"/>
              <a:gd name="connsiteY37943" fmla="*/ 1138815 h 7458372"/>
              <a:gd name="connsiteX37944" fmla="*/ 4570007 w 10505529"/>
              <a:gd name="connsiteY37944" fmla="*/ 1117655 h 7458372"/>
              <a:gd name="connsiteX37945" fmla="*/ 4578393 w 10505529"/>
              <a:gd name="connsiteY37945" fmla="*/ 1096621 h 7458372"/>
              <a:gd name="connsiteX37946" fmla="*/ 4600226 w 10505529"/>
              <a:gd name="connsiteY37946" fmla="*/ 1088096 h 7458372"/>
              <a:gd name="connsiteX37947" fmla="*/ 4382713 w 10505529"/>
              <a:gd name="connsiteY37947" fmla="*/ 1088096 h 7458372"/>
              <a:gd name="connsiteX37948" fmla="*/ 4394428 w 10505529"/>
              <a:gd name="connsiteY37948" fmla="*/ 1090626 h 7458372"/>
              <a:gd name="connsiteX37949" fmla="*/ 4403746 w 10505529"/>
              <a:gd name="connsiteY37949" fmla="*/ 1097017 h 7458372"/>
              <a:gd name="connsiteX37950" fmla="*/ 4409869 w 10505529"/>
              <a:gd name="connsiteY37950" fmla="*/ 1106339 h 7458372"/>
              <a:gd name="connsiteX37951" fmla="*/ 4412132 w 10505529"/>
              <a:gd name="connsiteY37951" fmla="*/ 1117780 h 7458372"/>
              <a:gd name="connsiteX37952" fmla="*/ 4409869 w 10505529"/>
              <a:gd name="connsiteY37952" fmla="*/ 1129494 h 7458372"/>
              <a:gd name="connsiteX37953" fmla="*/ 4403746 w 10505529"/>
              <a:gd name="connsiteY37953" fmla="*/ 1138815 h 7458372"/>
              <a:gd name="connsiteX37954" fmla="*/ 4394428 w 10505529"/>
              <a:gd name="connsiteY37954" fmla="*/ 1145076 h 7458372"/>
              <a:gd name="connsiteX37955" fmla="*/ 4382713 w 10505529"/>
              <a:gd name="connsiteY37955" fmla="*/ 1147340 h 7458372"/>
              <a:gd name="connsiteX37956" fmla="*/ 4360881 w 10505529"/>
              <a:gd name="connsiteY37956" fmla="*/ 1138815 h 7458372"/>
              <a:gd name="connsiteX37957" fmla="*/ 4352495 w 10505529"/>
              <a:gd name="connsiteY37957" fmla="*/ 1117655 h 7458372"/>
              <a:gd name="connsiteX37958" fmla="*/ 4360881 w 10505529"/>
              <a:gd name="connsiteY37958" fmla="*/ 1096621 h 7458372"/>
              <a:gd name="connsiteX37959" fmla="*/ 4382713 w 10505529"/>
              <a:gd name="connsiteY37959" fmla="*/ 1088096 h 7458372"/>
              <a:gd name="connsiteX37960" fmla="*/ 4165068 w 10505529"/>
              <a:gd name="connsiteY37960" fmla="*/ 1088096 h 7458372"/>
              <a:gd name="connsiteX37961" fmla="*/ 4176782 w 10505529"/>
              <a:gd name="connsiteY37961" fmla="*/ 1090626 h 7458372"/>
              <a:gd name="connsiteX37962" fmla="*/ 4186100 w 10505529"/>
              <a:gd name="connsiteY37962" fmla="*/ 1097017 h 7458372"/>
              <a:gd name="connsiteX37963" fmla="*/ 4192223 w 10505529"/>
              <a:gd name="connsiteY37963" fmla="*/ 1106339 h 7458372"/>
              <a:gd name="connsiteX37964" fmla="*/ 4194486 w 10505529"/>
              <a:gd name="connsiteY37964" fmla="*/ 1117780 h 7458372"/>
              <a:gd name="connsiteX37965" fmla="*/ 4192223 w 10505529"/>
              <a:gd name="connsiteY37965" fmla="*/ 1129494 h 7458372"/>
              <a:gd name="connsiteX37966" fmla="*/ 4186100 w 10505529"/>
              <a:gd name="connsiteY37966" fmla="*/ 1138815 h 7458372"/>
              <a:gd name="connsiteX37967" fmla="*/ 4176782 w 10505529"/>
              <a:gd name="connsiteY37967" fmla="*/ 1145076 h 7458372"/>
              <a:gd name="connsiteX37968" fmla="*/ 4165068 w 10505529"/>
              <a:gd name="connsiteY37968" fmla="*/ 1147340 h 7458372"/>
              <a:gd name="connsiteX37969" fmla="*/ 4143235 w 10505529"/>
              <a:gd name="connsiteY37969" fmla="*/ 1138815 h 7458372"/>
              <a:gd name="connsiteX37970" fmla="*/ 4134849 w 10505529"/>
              <a:gd name="connsiteY37970" fmla="*/ 1117655 h 7458372"/>
              <a:gd name="connsiteX37971" fmla="*/ 4143235 w 10505529"/>
              <a:gd name="connsiteY37971" fmla="*/ 1096621 h 7458372"/>
              <a:gd name="connsiteX37972" fmla="*/ 4165068 w 10505529"/>
              <a:gd name="connsiteY37972" fmla="*/ 1088096 h 7458372"/>
              <a:gd name="connsiteX37973" fmla="*/ 3947489 w 10505529"/>
              <a:gd name="connsiteY37973" fmla="*/ 1088096 h 7458372"/>
              <a:gd name="connsiteX37974" fmla="*/ 3959204 w 10505529"/>
              <a:gd name="connsiteY37974" fmla="*/ 1090626 h 7458372"/>
              <a:gd name="connsiteX37975" fmla="*/ 3968521 w 10505529"/>
              <a:gd name="connsiteY37975" fmla="*/ 1097017 h 7458372"/>
              <a:gd name="connsiteX37976" fmla="*/ 3974645 w 10505529"/>
              <a:gd name="connsiteY37976" fmla="*/ 1106339 h 7458372"/>
              <a:gd name="connsiteX37977" fmla="*/ 3976909 w 10505529"/>
              <a:gd name="connsiteY37977" fmla="*/ 1117780 h 7458372"/>
              <a:gd name="connsiteX37978" fmla="*/ 3974645 w 10505529"/>
              <a:gd name="connsiteY37978" fmla="*/ 1129494 h 7458372"/>
              <a:gd name="connsiteX37979" fmla="*/ 3968521 w 10505529"/>
              <a:gd name="connsiteY37979" fmla="*/ 1138815 h 7458372"/>
              <a:gd name="connsiteX37980" fmla="*/ 3959204 w 10505529"/>
              <a:gd name="connsiteY37980" fmla="*/ 1145076 h 7458372"/>
              <a:gd name="connsiteX37981" fmla="*/ 3947489 w 10505529"/>
              <a:gd name="connsiteY37981" fmla="*/ 1147340 h 7458372"/>
              <a:gd name="connsiteX37982" fmla="*/ 3925656 w 10505529"/>
              <a:gd name="connsiteY37982" fmla="*/ 1138815 h 7458372"/>
              <a:gd name="connsiteX37983" fmla="*/ 3917270 w 10505529"/>
              <a:gd name="connsiteY37983" fmla="*/ 1117655 h 7458372"/>
              <a:gd name="connsiteX37984" fmla="*/ 3925656 w 10505529"/>
              <a:gd name="connsiteY37984" fmla="*/ 1096621 h 7458372"/>
              <a:gd name="connsiteX37985" fmla="*/ 3947489 w 10505529"/>
              <a:gd name="connsiteY37985" fmla="*/ 1088096 h 7458372"/>
              <a:gd name="connsiteX37986" fmla="*/ 3729840 w 10505529"/>
              <a:gd name="connsiteY37986" fmla="*/ 1088096 h 7458372"/>
              <a:gd name="connsiteX37987" fmla="*/ 3741555 w 10505529"/>
              <a:gd name="connsiteY37987" fmla="*/ 1090626 h 7458372"/>
              <a:gd name="connsiteX37988" fmla="*/ 3750873 w 10505529"/>
              <a:gd name="connsiteY37988" fmla="*/ 1097017 h 7458372"/>
              <a:gd name="connsiteX37989" fmla="*/ 3756996 w 10505529"/>
              <a:gd name="connsiteY37989" fmla="*/ 1106339 h 7458372"/>
              <a:gd name="connsiteX37990" fmla="*/ 3759259 w 10505529"/>
              <a:gd name="connsiteY37990" fmla="*/ 1117780 h 7458372"/>
              <a:gd name="connsiteX37991" fmla="*/ 3756996 w 10505529"/>
              <a:gd name="connsiteY37991" fmla="*/ 1129494 h 7458372"/>
              <a:gd name="connsiteX37992" fmla="*/ 3750873 w 10505529"/>
              <a:gd name="connsiteY37992" fmla="*/ 1138815 h 7458372"/>
              <a:gd name="connsiteX37993" fmla="*/ 3741555 w 10505529"/>
              <a:gd name="connsiteY37993" fmla="*/ 1145076 h 7458372"/>
              <a:gd name="connsiteX37994" fmla="*/ 3729840 w 10505529"/>
              <a:gd name="connsiteY37994" fmla="*/ 1147340 h 7458372"/>
              <a:gd name="connsiteX37995" fmla="*/ 3708007 w 10505529"/>
              <a:gd name="connsiteY37995" fmla="*/ 1138815 h 7458372"/>
              <a:gd name="connsiteX37996" fmla="*/ 3699621 w 10505529"/>
              <a:gd name="connsiteY37996" fmla="*/ 1117655 h 7458372"/>
              <a:gd name="connsiteX37997" fmla="*/ 3708007 w 10505529"/>
              <a:gd name="connsiteY37997" fmla="*/ 1096621 h 7458372"/>
              <a:gd name="connsiteX37998" fmla="*/ 3729840 w 10505529"/>
              <a:gd name="connsiteY37998" fmla="*/ 1088096 h 7458372"/>
              <a:gd name="connsiteX37999" fmla="*/ 3512191 w 10505529"/>
              <a:gd name="connsiteY37999" fmla="*/ 1088096 h 7458372"/>
              <a:gd name="connsiteX38000" fmla="*/ 3523907 w 10505529"/>
              <a:gd name="connsiteY38000" fmla="*/ 1090626 h 7458372"/>
              <a:gd name="connsiteX38001" fmla="*/ 3533225 w 10505529"/>
              <a:gd name="connsiteY38001" fmla="*/ 1097017 h 7458372"/>
              <a:gd name="connsiteX38002" fmla="*/ 3539348 w 10505529"/>
              <a:gd name="connsiteY38002" fmla="*/ 1106339 h 7458372"/>
              <a:gd name="connsiteX38003" fmla="*/ 3541611 w 10505529"/>
              <a:gd name="connsiteY38003" fmla="*/ 1117780 h 7458372"/>
              <a:gd name="connsiteX38004" fmla="*/ 3539348 w 10505529"/>
              <a:gd name="connsiteY38004" fmla="*/ 1129494 h 7458372"/>
              <a:gd name="connsiteX38005" fmla="*/ 3533225 w 10505529"/>
              <a:gd name="connsiteY38005" fmla="*/ 1138815 h 7458372"/>
              <a:gd name="connsiteX38006" fmla="*/ 3523907 w 10505529"/>
              <a:gd name="connsiteY38006" fmla="*/ 1145076 h 7458372"/>
              <a:gd name="connsiteX38007" fmla="*/ 3512191 w 10505529"/>
              <a:gd name="connsiteY38007" fmla="*/ 1147340 h 7458372"/>
              <a:gd name="connsiteX38008" fmla="*/ 3490359 w 10505529"/>
              <a:gd name="connsiteY38008" fmla="*/ 1138815 h 7458372"/>
              <a:gd name="connsiteX38009" fmla="*/ 3481972 w 10505529"/>
              <a:gd name="connsiteY38009" fmla="*/ 1117655 h 7458372"/>
              <a:gd name="connsiteX38010" fmla="*/ 3490359 w 10505529"/>
              <a:gd name="connsiteY38010" fmla="*/ 1096621 h 7458372"/>
              <a:gd name="connsiteX38011" fmla="*/ 3512191 w 10505529"/>
              <a:gd name="connsiteY38011" fmla="*/ 1088096 h 7458372"/>
              <a:gd name="connsiteX38012" fmla="*/ 3294676 w 10505529"/>
              <a:gd name="connsiteY38012" fmla="*/ 1088096 h 7458372"/>
              <a:gd name="connsiteX38013" fmla="*/ 3306392 w 10505529"/>
              <a:gd name="connsiteY38013" fmla="*/ 1090626 h 7458372"/>
              <a:gd name="connsiteX38014" fmla="*/ 3315710 w 10505529"/>
              <a:gd name="connsiteY38014" fmla="*/ 1097017 h 7458372"/>
              <a:gd name="connsiteX38015" fmla="*/ 3321833 w 10505529"/>
              <a:gd name="connsiteY38015" fmla="*/ 1106339 h 7458372"/>
              <a:gd name="connsiteX38016" fmla="*/ 3324096 w 10505529"/>
              <a:gd name="connsiteY38016" fmla="*/ 1117780 h 7458372"/>
              <a:gd name="connsiteX38017" fmla="*/ 3321833 w 10505529"/>
              <a:gd name="connsiteY38017" fmla="*/ 1129494 h 7458372"/>
              <a:gd name="connsiteX38018" fmla="*/ 3315710 w 10505529"/>
              <a:gd name="connsiteY38018" fmla="*/ 1138815 h 7458372"/>
              <a:gd name="connsiteX38019" fmla="*/ 3306392 w 10505529"/>
              <a:gd name="connsiteY38019" fmla="*/ 1145076 h 7458372"/>
              <a:gd name="connsiteX38020" fmla="*/ 3294676 w 10505529"/>
              <a:gd name="connsiteY38020" fmla="*/ 1147340 h 7458372"/>
              <a:gd name="connsiteX38021" fmla="*/ 3272843 w 10505529"/>
              <a:gd name="connsiteY38021" fmla="*/ 1138815 h 7458372"/>
              <a:gd name="connsiteX38022" fmla="*/ 3264457 w 10505529"/>
              <a:gd name="connsiteY38022" fmla="*/ 1117655 h 7458372"/>
              <a:gd name="connsiteX38023" fmla="*/ 3272843 w 10505529"/>
              <a:gd name="connsiteY38023" fmla="*/ 1096621 h 7458372"/>
              <a:gd name="connsiteX38024" fmla="*/ 3294676 w 10505529"/>
              <a:gd name="connsiteY38024" fmla="*/ 1088096 h 7458372"/>
              <a:gd name="connsiteX38025" fmla="*/ 3077027 w 10505529"/>
              <a:gd name="connsiteY38025" fmla="*/ 1088096 h 7458372"/>
              <a:gd name="connsiteX38026" fmla="*/ 3088743 w 10505529"/>
              <a:gd name="connsiteY38026" fmla="*/ 1090626 h 7458372"/>
              <a:gd name="connsiteX38027" fmla="*/ 3098061 w 10505529"/>
              <a:gd name="connsiteY38027" fmla="*/ 1097017 h 7458372"/>
              <a:gd name="connsiteX38028" fmla="*/ 3104184 w 10505529"/>
              <a:gd name="connsiteY38028" fmla="*/ 1106339 h 7458372"/>
              <a:gd name="connsiteX38029" fmla="*/ 3106447 w 10505529"/>
              <a:gd name="connsiteY38029" fmla="*/ 1117780 h 7458372"/>
              <a:gd name="connsiteX38030" fmla="*/ 3104184 w 10505529"/>
              <a:gd name="connsiteY38030" fmla="*/ 1129494 h 7458372"/>
              <a:gd name="connsiteX38031" fmla="*/ 3098061 w 10505529"/>
              <a:gd name="connsiteY38031" fmla="*/ 1138815 h 7458372"/>
              <a:gd name="connsiteX38032" fmla="*/ 3088743 w 10505529"/>
              <a:gd name="connsiteY38032" fmla="*/ 1145076 h 7458372"/>
              <a:gd name="connsiteX38033" fmla="*/ 3077027 w 10505529"/>
              <a:gd name="connsiteY38033" fmla="*/ 1147340 h 7458372"/>
              <a:gd name="connsiteX38034" fmla="*/ 3055195 w 10505529"/>
              <a:gd name="connsiteY38034" fmla="*/ 1138815 h 7458372"/>
              <a:gd name="connsiteX38035" fmla="*/ 3046809 w 10505529"/>
              <a:gd name="connsiteY38035" fmla="*/ 1117655 h 7458372"/>
              <a:gd name="connsiteX38036" fmla="*/ 3055195 w 10505529"/>
              <a:gd name="connsiteY38036" fmla="*/ 1096621 h 7458372"/>
              <a:gd name="connsiteX38037" fmla="*/ 3077027 w 10505529"/>
              <a:gd name="connsiteY38037" fmla="*/ 1088096 h 7458372"/>
              <a:gd name="connsiteX38038" fmla="*/ 2859379 w 10505529"/>
              <a:gd name="connsiteY38038" fmla="*/ 1088096 h 7458372"/>
              <a:gd name="connsiteX38039" fmla="*/ 2871228 w 10505529"/>
              <a:gd name="connsiteY38039" fmla="*/ 1090626 h 7458372"/>
              <a:gd name="connsiteX38040" fmla="*/ 2880546 w 10505529"/>
              <a:gd name="connsiteY38040" fmla="*/ 1097017 h 7458372"/>
              <a:gd name="connsiteX38041" fmla="*/ 2886669 w 10505529"/>
              <a:gd name="connsiteY38041" fmla="*/ 1106339 h 7458372"/>
              <a:gd name="connsiteX38042" fmla="*/ 2888932 w 10505529"/>
              <a:gd name="connsiteY38042" fmla="*/ 1117780 h 7458372"/>
              <a:gd name="connsiteX38043" fmla="*/ 2886669 w 10505529"/>
              <a:gd name="connsiteY38043" fmla="*/ 1129494 h 7458372"/>
              <a:gd name="connsiteX38044" fmla="*/ 2880546 w 10505529"/>
              <a:gd name="connsiteY38044" fmla="*/ 1138815 h 7458372"/>
              <a:gd name="connsiteX38045" fmla="*/ 2871228 w 10505529"/>
              <a:gd name="connsiteY38045" fmla="*/ 1145076 h 7458372"/>
              <a:gd name="connsiteX38046" fmla="*/ 2859379 w 10505529"/>
              <a:gd name="connsiteY38046" fmla="*/ 1147340 h 7458372"/>
              <a:gd name="connsiteX38047" fmla="*/ 2837548 w 10505529"/>
              <a:gd name="connsiteY38047" fmla="*/ 1138815 h 7458372"/>
              <a:gd name="connsiteX38048" fmla="*/ 2829161 w 10505529"/>
              <a:gd name="connsiteY38048" fmla="*/ 1117655 h 7458372"/>
              <a:gd name="connsiteX38049" fmla="*/ 2837548 w 10505529"/>
              <a:gd name="connsiteY38049" fmla="*/ 1096621 h 7458372"/>
              <a:gd name="connsiteX38050" fmla="*/ 2859379 w 10505529"/>
              <a:gd name="connsiteY38050" fmla="*/ 1088096 h 7458372"/>
              <a:gd name="connsiteX38051" fmla="*/ 2641731 w 10505529"/>
              <a:gd name="connsiteY38051" fmla="*/ 1088096 h 7458372"/>
              <a:gd name="connsiteX38052" fmla="*/ 2653446 w 10505529"/>
              <a:gd name="connsiteY38052" fmla="*/ 1090626 h 7458372"/>
              <a:gd name="connsiteX38053" fmla="*/ 2662764 w 10505529"/>
              <a:gd name="connsiteY38053" fmla="*/ 1097017 h 7458372"/>
              <a:gd name="connsiteX38054" fmla="*/ 2668888 w 10505529"/>
              <a:gd name="connsiteY38054" fmla="*/ 1106339 h 7458372"/>
              <a:gd name="connsiteX38055" fmla="*/ 2671151 w 10505529"/>
              <a:gd name="connsiteY38055" fmla="*/ 1117780 h 7458372"/>
              <a:gd name="connsiteX38056" fmla="*/ 2668888 w 10505529"/>
              <a:gd name="connsiteY38056" fmla="*/ 1129494 h 7458372"/>
              <a:gd name="connsiteX38057" fmla="*/ 2662764 w 10505529"/>
              <a:gd name="connsiteY38057" fmla="*/ 1138815 h 7458372"/>
              <a:gd name="connsiteX38058" fmla="*/ 2653446 w 10505529"/>
              <a:gd name="connsiteY38058" fmla="*/ 1145076 h 7458372"/>
              <a:gd name="connsiteX38059" fmla="*/ 2641731 w 10505529"/>
              <a:gd name="connsiteY38059" fmla="*/ 1147340 h 7458372"/>
              <a:gd name="connsiteX38060" fmla="*/ 2619899 w 10505529"/>
              <a:gd name="connsiteY38060" fmla="*/ 1138815 h 7458372"/>
              <a:gd name="connsiteX38061" fmla="*/ 2611513 w 10505529"/>
              <a:gd name="connsiteY38061" fmla="*/ 1117655 h 7458372"/>
              <a:gd name="connsiteX38062" fmla="*/ 2619899 w 10505529"/>
              <a:gd name="connsiteY38062" fmla="*/ 1096621 h 7458372"/>
              <a:gd name="connsiteX38063" fmla="*/ 2641731 w 10505529"/>
              <a:gd name="connsiteY38063" fmla="*/ 1088096 h 7458372"/>
              <a:gd name="connsiteX38064" fmla="*/ 2424082 w 10505529"/>
              <a:gd name="connsiteY38064" fmla="*/ 1088096 h 7458372"/>
              <a:gd name="connsiteX38065" fmla="*/ 2435798 w 10505529"/>
              <a:gd name="connsiteY38065" fmla="*/ 1090626 h 7458372"/>
              <a:gd name="connsiteX38066" fmla="*/ 2445116 w 10505529"/>
              <a:gd name="connsiteY38066" fmla="*/ 1097017 h 7458372"/>
              <a:gd name="connsiteX38067" fmla="*/ 2451239 w 10505529"/>
              <a:gd name="connsiteY38067" fmla="*/ 1106339 h 7458372"/>
              <a:gd name="connsiteX38068" fmla="*/ 2453502 w 10505529"/>
              <a:gd name="connsiteY38068" fmla="*/ 1117780 h 7458372"/>
              <a:gd name="connsiteX38069" fmla="*/ 2451239 w 10505529"/>
              <a:gd name="connsiteY38069" fmla="*/ 1129494 h 7458372"/>
              <a:gd name="connsiteX38070" fmla="*/ 2445116 w 10505529"/>
              <a:gd name="connsiteY38070" fmla="*/ 1138815 h 7458372"/>
              <a:gd name="connsiteX38071" fmla="*/ 2435798 w 10505529"/>
              <a:gd name="connsiteY38071" fmla="*/ 1145076 h 7458372"/>
              <a:gd name="connsiteX38072" fmla="*/ 2424082 w 10505529"/>
              <a:gd name="connsiteY38072" fmla="*/ 1147340 h 7458372"/>
              <a:gd name="connsiteX38073" fmla="*/ 2402251 w 10505529"/>
              <a:gd name="connsiteY38073" fmla="*/ 1138815 h 7458372"/>
              <a:gd name="connsiteX38074" fmla="*/ 2393864 w 10505529"/>
              <a:gd name="connsiteY38074" fmla="*/ 1117655 h 7458372"/>
              <a:gd name="connsiteX38075" fmla="*/ 2402251 w 10505529"/>
              <a:gd name="connsiteY38075" fmla="*/ 1096621 h 7458372"/>
              <a:gd name="connsiteX38076" fmla="*/ 2424082 w 10505529"/>
              <a:gd name="connsiteY38076" fmla="*/ 1088096 h 7458372"/>
              <a:gd name="connsiteX38077" fmla="*/ 2206434 w 10505529"/>
              <a:gd name="connsiteY38077" fmla="*/ 1088096 h 7458372"/>
              <a:gd name="connsiteX38078" fmla="*/ 2218149 w 10505529"/>
              <a:gd name="connsiteY38078" fmla="*/ 1090626 h 7458372"/>
              <a:gd name="connsiteX38079" fmla="*/ 2227468 w 10505529"/>
              <a:gd name="connsiteY38079" fmla="*/ 1097017 h 7458372"/>
              <a:gd name="connsiteX38080" fmla="*/ 2233591 w 10505529"/>
              <a:gd name="connsiteY38080" fmla="*/ 1106339 h 7458372"/>
              <a:gd name="connsiteX38081" fmla="*/ 2235854 w 10505529"/>
              <a:gd name="connsiteY38081" fmla="*/ 1117780 h 7458372"/>
              <a:gd name="connsiteX38082" fmla="*/ 2233591 w 10505529"/>
              <a:gd name="connsiteY38082" fmla="*/ 1129494 h 7458372"/>
              <a:gd name="connsiteX38083" fmla="*/ 2227468 w 10505529"/>
              <a:gd name="connsiteY38083" fmla="*/ 1138815 h 7458372"/>
              <a:gd name="connsiteX38084" fmla="*/ 2218149 w 10505529"/>
              <a:gd name="connsiteY38084" fmla="*/ 1145076 h 7458372"/>
              <a:gd name="connsiteX38085" fmla="*/ 2206434 w 10505529"/>
              <a:gd name="connsiteY38085" fmla="*/ 1147340 h 7458372"/>
              <a:gd name="connsiteX38086" fmla="*/ 2184603 w 10505529"/>
              <a:gd name="connsiteY38086" fmla="*/ 1138815 h 7458372"/>
              <a:gd name="connsiteX38087" fmla="*/ 2176216 w 10505529"/>
              <a:gd name="connsiteY38087" fmla="*/ 1117655 h 7458372"/>
              <a:gd name="connsiteX38088" fmla="*/ 2184603 w 10505529"/>
              <a:gd name="connsiteY38088" fmla="*/ 1096621 h 7458372"/>
              <a:gd name="connsiteX38089" fmla="*/ 2206434 w 10505529"/>
              <a:gd name="connsiteY38089" fmla="*/ 1088096 h 7458372"/>
              <a:gd name="connsiteX38090" fmla="*/ 1988919 w 10505529"/>
              <a:gd name="connsiteY38090" fmla="*/ 1088096 h 7458372"/>
              <a:gd name="connsiteX38091" fmla="*/ 2000634 w 10505529"/>
              <a:gd name="connsiteY38091" fmla="*/ 1090626 h 7458372"/>
              <a:gd name="connsiteX38092" fmla="*/ 2009952 w 10505529"/>
              <a:gd name="connsiteY38092" fmla="*/ 1097017 h 7458372"/>
              <a:gd name="connsiteX38093" fmla="*/ 2016075 w 10505529"/>
              <a:gd name="connsiteY38093" fmla="*/ 1106339 h 7458372"/>
              <a:gd name="connsiteX38094" fmla="*/ 2018338 w 10505529"/>
              <a:gd name="connsiteY38094" fmla="*/ 1117780 h 7458372"/>
              <a:gd name="connsiteX38095" fmla="*/ 2016075 w 10505529"/>
              <a:gd name="connsiteY38095" fmla="*/ 1129494 h 7458372"/>
              <a:gd name="connsiteX38096" fmla="*/ 2009952 w 10505529"/>
              <a:gd name="connsiteY38096" fmla="*/ 1138815 h 7458372"/>
              <a:gd name="connsiteX38097" fmla="*/ 2000634 w 10505529"/>
              <a:gd name="connsiteY38097" fmla="*/ 1145076 h 7458372"/>
              <a:gd name="connsiteX38098" fmla="*/ 1988919 w 10505529"/>
              <a:gd name="connsiteY38098" fmla="*/ 1147340 h 7458372"/>
              <a:gd name="connsiteX38099" fmla="*/ 1967088 w 10505529"/>
              <a:gd name="connsiteY38099" fmla="*/ 1138815 h 7458372"/>
              <a:gd name="connsiteX38100" fmla="*/ 1958701 w 10505529"/>
              <a:gd name="connsiteY38100" fmla="*/ 1117655 h 7458372"/>
              <a:gd name="connsiteX38101" fmla="*/ 1967088 w 10505529"/>
              <a:gd name="connsiteY38101" fmla="*/ 1096621 h 7458372"/>
              <a:gd name="connsiteX38102" fmla="*/ 1988919 w 10505529"/>
              <a:gd name="connsiteY38102" fmla="*/ 1088096 h 7458372"/>
              <a:gd name="connsiteX38103" fmla="*/ 1771276 w 10505529"/>
              <a:gd name="connsiteY38103" fmla="*/ 1088096 h 7458372"/>
              <a:gd name="connsiteX38104" fmla="*/ 1782991 w 10505529"/>
              <a:gd name="connsiteY38104" fmla="*/ 1090626 h 7458372"/>
              <a:gd name="connsiteX38105" fmla="*/ 1792309 w 10505529"/>
              <a:gd name="connsiteY38105" fmla="*/ 1097017 h 7458372"/>
              <a:gd name="connsiteX38106" fmla="*/ 1798432 w 10505529"/>
              <a:gd name="connsiteY38106" fmla="*/ 1106339 h 7458372"/>
              <a:gd name="connsiteX38107" fmla="*/ 1800695 w 10505529"/>
              <a:gd name="connsiteY38107" fmla="*/ 1117780 h 7458372"/>
              <a:gd name="connsiteX38108" fmla="*/ 1798432 w 10505529"/>
              <a:gd name="connsiteY38108" fmla="*/ 1129494 h 7458372"/>
              <a:gd name="connsiteX38109" fmla="*/ 1792309 w 10505529"/>
              <a:gd name="connsiteY38109" fmla="*/ 1138815 h 7458372"/>
              <a:gd name="connsiteX38110" fmla="*/ 1782991 w 10505529"/>
              <a:gd name="connsiteY38110" fmla="*/ 1145076 h 7458372"/>
              <a:gd name="connsiteX38111" fmla="*/ 1771276 w 10505529"/>
              <a:gd name="connsiteY38111" fmla="*/ 1147340 h 7458372"/>
              <a:gd name="connsiteX38112" fmla="*/ 1749446 w 10505529"/>
              <a:gd name="connsiteY38112" fmla="*/ 1138815 h 7458372"/>
              <a:gd name="connsiteX38113" fmla="*/ 1741060 w 10505529"/>
              <a:gd name="connsiteY38113" fmla="*/ 1117655 h 7458372"/>
              <a:gd name="connsiteX38114" fmla="*/ 1749446 w 10505529"/>
              <a:gd name="connsiteY38114" fmla="*/ 1096621 h 7458372"/>
              <a:gd name="connsiteX38115" fmla="*/ 1771276 w 10505529"/>
              <a:gd name="connsiteY38115" fmla="*/ 1088096 h 7458372"/>
              <a:gd name="connsiteX38116" fmla="*/ 1553633 w 10505529"/>
              <a:gd name="connsiteY38116" fmla="*/ 1088096 h 7458372"/>
              <a:gd name="connsiteX38117" fmla="*/ 1565347 w 10505529"/>
              <a:gd name="connsiteY38117" fmla="*/ 1090626 h 7458372"/>
              <a:gd name="connsiteX38118" fmla="*/ 1574666 w 10505529"/>
              <a:gd name="connsiteY38118" fmla="*/ 1097017 h 7458372"/>
              <a:gd name="connsiteX38119" fmla="*/ 1580789 w 10505529"/>
              <a:gd name="connsiteY38119" fmla="*/ 1106339 h 7458372"/>
              <a:gd name="connsiteX38120" fmla="*/ 1583052 w 10505529"/>
              <a:gd name="connsiteY38120" fmla="*/ 1117780 h 7458372"/>
              <a:gd name="connsiteX38121" fmla="*/ 1580789 w 10505529"/>
              <a:gd name="connsiteY38121" fmla="*/ 1129494 h 7458372"/>
              <a:gd name="connsiteX38122" fmla="*/ 1574666 w 10505529"/>
              <a:gd name="connsiteY38122" fmla="*/ 1138815 h 7458372"/>
              <a:gd name="connsiteX38123" fmla="*/ 1565347 w 10505529"/>
              <a:gd name="connsiteY38123" fmla="*/ 1145076 h 7458372"/>
              <a:gd name="connsiteX38124" fmla="*/ 1553633 w 10505529"/>
              <a:gd name="connsiteY38124" fmla="*/ 1147340 h 7458372"/>
              <a:gd name="connsiteX38125" fmla="*/ 1531801 w 10505529"/>
              <a:gd name="connsiteY38125" fmla="*/ 1138815 h 7458372"/>
              <a:gd name="connsiteX38126" fmla="*/ 1523415 w 10505529"/>
              <a:gd name="connsiteY38126" fmla="*/ 1117655 h 7458372"/>
              <a:gd name="connsiteX38127" fmla="*/ 1531801 w 10505529"/>
              <a:gd name="connsiteY38127" fmla="*/ 1096621 h 7458372"/>
              <a:gd name="connsiteX38128" fmla="*/ 1553633 w 10505529"/>
              <a:gd name="connsiteY38128" fmla="*/ 1088096 h 7458372"/>
              <a:gd name="connsiteX38129" fmla="*/ 1335988 w 10505529"/>
              <a:gd name="connsiteY38129" fmla="*/ 1088096 h 7458372"/>
              <a:gd name="connsiteX38130" fmla="*/ 1347703 w 10505529"/>
              <a:gd name="connsiteY38130" fmla="*/ 1090626 h 7458372"/>
              <a:gd name="connsiteX38131" fmla="*/ 1357022 w 10505529"/>
              <a:gd name="connsiteY38131" fmla="*/ 1097017 h 7458372"/>
              <a:gd name="connsiteX38132" fmla="*/ 1363144 w 10505529"/>
              <a:gd name="connsiteY38132" fmla="*/ 1106339 h 7458372"/>
              <a:gd name="connsiteX38133" fmla="*/ 1365408 w 10505529"/>
              <a:gd name="connsiteY38133" fmla="*/ 1117780 h 7458372"/>
              <a:gd name="connsiteX38134" fmla="*/ 1363144 w 10505529"/>
              <a:gd name="connsiteY38134" fmla="*/ 1129494 h 7458372"/>
              <a:gd name="connsiteX38135" fmla="*/ 1357022 w 10505529"/>
              <a:gd name="connsiteY38135" fmla="*/ 1138815 h 7458372"/>
              <a:gd name="connsiteX38136" fmla="*/ 1347703 w 10505529"/>
              <a:gd name="connsiteY38136" fmla="*/ 1145076 h 7458372"/>
              <a:gd name="connsiteX38137" fmla="*/ 1335988 w 10505529"/>
              <a:gd name="connsiteY38137" fmla="*/ 1147340 h 7458372"/>
              <a:gd name="connsiteX38138" fmla="*/ 1314156 w 10505529"/>
              <a:gd name="connsiteY38138" fmla="*/ 1138815 h 7458372"/>
              <a:gd name="connsiteX38139" fmla="*/ 1305771 w 10505529"/>
              <a:gd name="connsiteY38139" fmla="*/ 1117655 h 7458372"/>
              <a:gd name="connsiteX38140" fmla="*/ 1314156 w 10505529"/>
              <a:gd name="connsiteY38140" fmla="*/ 1096621 h 7458372"/>
              <a:gd name="connsiteX38141" fmla="*/ 1335988 w 10505529"/>
              <a:gd name="connsiteY38141" fmla="*/ 1088096 h 7458372"/>
              <a:gd name="connsiteX38142" fmla="*/ 1118343 w 10505529"/>
              <a:gd name="connsiteY38142" fmla="*/ 1088096 h 7458372"/>
              <a:gd name="connsiteX38143" fmla="*/ 1130059 w 10505529"/>
              <a:gd name="connsiteY38143" fmla="*/ 1090626 h 7458372"/>
              <a:gd name="connsiteX38144" fmla="*/ 1139377 w 10505529"/>
              <a:gd name="connsiteY38144" fmla="*/ 1097017 h 7458372"/>
              <a:gd name="connsiteX38145" fmla="*/ 1145499 w 10505529"/>
              <a:gd name="connsiteY38145" fmla="*/ 1106339 h 7458372"/>
              <a:gd name="connsiteX38146" fmla="*/ 1147762 w 10505529"/>
              <a:gd name="connsiteY38146" fmla="*/ 1117780 h 7458372"/>
              <a:gd name="connsiteX38147" fmla="*/ 1145499 w 10505529"/>
              <a:gd name="connsiteY38147" fmla="*/ 1129494 h 7458372"/>
              <a:gd name="connsiteX38148" fmla="*/ 1139377 w 10505529"/>
              <a:gd name="connsiteY38148" fmla="*/ 1138815 h 7458372"/>
              <a:gd name="connsiteX38149" fmla="*/ 1130059 w 10505529"/>
              <a:gd name="connsiteY38149" fmla="*/ 1145076 h 7458372"/>
              <a:gd name="connsiteX38150" fmla="*/ 1118343 w 10505529"/>
              <a:gd name="connsiteY38150" fmla="*/ 1147340 h 7458372"/>
              <a:gd name="connsiteX38151" fmla="*/ 1096511 w 10505529"/>
              <a:gd name="connsiteY38151" fmla="*/ 1138815 h 7458372"/>
              <a:gd name="connsiteX38152" fmla="*/ 1088125 w 10505529"/>
              <a:gd name="connsiteY38152" fmla="*/ 1117655 h 7458372"/>
              <a:gd name="connsiteX38153" fmla="*/ 1096511 w 10505529"/>
              <a:gd name="connsiteY38153" fmla="*/ 1096621 h 7458372"/>
              <a:gd name="connsiteX38154" fmla="*/ 1118343 w 10505529"/>
              <a:gd name="connsiteY38154" fmla="*/ 1088096 h 7458372"/>
              <a:gd name="connsiteX38155" fmla="*/ 900831 w 10505529"/>
              <a:gd name="connsiteY38155" fmla="*/ 1088096 h 7458372"/>
              <a:gd name="connsiteX38156" fmla="*/ 912546 w 10505529"/>
              <a:gd name="connsiteY38156" fmla="*/ 1090626 h 7458372"/>
              <a:gd name="connsiteX38157" fmla="*/ 921864 w 10505529"/>
              <a:gd name="connsiteY38157" fmla="*/ 1097017 h 7458372"/>
              <a:gd name="connsiteX38158" fmla="*/ 927987 w 10505529"/>
              <a:gd name="connsiteY38158" fmla="*/ 1106339 h 7458372"/>
              <a:gd name="connsiteX38159" fmla="*/ 930250 w 10505529"/>
              <a:gd name="connsiteY38159" fmla="*/ 1117780 h 7458372"/>
              <a:gd name="connsiteX38160" fmla="*/ 927987 w 10505529"/>
              <a:gd name="connsiteY38160" fmla="*/ 1129494 h 7458372"/>
              <a:gd name="connsiteX38161" fmla="*/ 921864 w 10505529"/>
              <a:gd name="connsiteY38161" fmla="*/ 1138815 h 7458372"/>
              <a:gd name="connsiteX38162" fmla="*/ 912546 w 10505529"/>
              <a:gd name="connsiteY38162" fmla="*/ 1145076 h 7458372"/>
              <a:gd name="connsiteX38163" fmla="*/ 900831 w 10505529"/>
              <a:gd name="connsiteY38163" fmla="*/ 1147340 h 7458372"/>
              <a:gd name="connsiteX38164" fmla="*/ 879000 w 10505529"/>
              <a:gd name="connsiteY38164" fmla="*/ 1138815 h 7458372"/>
              <a:gd name="connsiteX38165" fmla="*/ 870614 w 10505529"/>
              <a:gd name="connsiteY38165" fmla="*/ 1117655 h 7458372"/>
              <a:gd name="connsiteX38166" fmla="*/ 879000 w 10505529"/>
              <a:gd name="connsiteY38166" fmla="*/ 1096621 h 7458372"/>
              <a:gd name="connsiteX38167" fmla="*/ 900831 w 10505529"/>
              <a:gd name="connsiteY38167" fmla="*/ 1088096 h 7458372"/>
              <a:gd name="connsiteX38168" fmla="*/ 683187 w 10505529"/>
              <a:gd name="connsiteY38168" fmla="*/ 1088096 h 7458372"/>
              <a:gd name="connsiteX38169" fmla="*/ 694902 w 10505529"/>
              <a:gd name="connsiteY38169" fmla="*/ 1090626 h 7458372"/>
              <a:gd name="connsiteX38170" fmla="*/ 704220 w 10505529"/>
              <a:gd name="connsiteY38170" fmla="*/ 1097017 h 7458372"/>
              <a:gd name="connsiteX38171" fmla="*/ 710343 w 10505529"/>
              <a:gd name="connsiteY38171" fmla="*/ 1106339 h 7458372"/>
              <a:gd name="connsiteX38172" fmla="*/ 712606 w 10505529"/>
              <a:gd name="connsiteY38172" fmla="*/ 1117780 h 7458372"/>
              <a:gd name="connsiteX38173" fmla="*/ 710343 w 10505529"/>
              <a:gd name="connsiteY38173" fmla="*/ 1129494 h 7458372"/>
              <a:gd name="connsiteX38174" fmla="*/ 704220 w 10505529"/>
              <a:gd name="connsiteY38174" fmla="*/ 1138815 h 7458372"/>
              <a:gd name="connsiteX38175" fmla="*/ 694902 w 10505529"/>
              <a:gd name="connsiteY38175" fmla="*/ 1145076 h 7458372"/>
              <a:gd name="connsiteX38176" fmla="*/ 683187 w 10505529"/>
              <a:gd name="connsiteY38176" fmla="*/ 1147340 h 7458372"/>
              <a:gd name="connsiteX38177" fmla="*/ 661355 w 10505529"/>
              <a:gd name="connsiteY38177" fmla="*/ 1138815 h 7458372"/>
              <a:gd name="connsiteX38178" fmla="*/ 652969 w 10505529"/>
              <a:gd name="connsiteY38178" fmla="*/ 1117655 h 7458372"/>
              <a:gd name="connsiteX38179" fmla="*/ 661355 w 10505529"/>
              <a:gd name="connsiteY38179" fmla="*/ 1096621 h 7458372"/>
              <a:gd name="connsiteX38180" fmla="*/ 683187 w 10505529"/>
              <a:gd name="connsiteY38180" fmla="*/ 1088096 h 7458372"/>
              <a:gd name="connsiteX38181" fmla="*/ 465543 w 10505529"/>
              <a:gd name="connsiteY38181" fmla="*/ 1088096 h 7458372"/>
              <a:gd name="connsiteX38182" fmla="*/ 477258 w 10505529"/>
              <a:gd name="connsiteY38182" fmla="*/ 1090626 h 7458372"/>
              <a:gd name="connsiteX38183" fmla="*/ 486576 w 10505529"/>
              <a:gd name="connsiteY38183" fmla="*/ 1097017 h 7458372"/>
              <a:gd name="connsiteX38184" fmla="*/ 492699 w 10505529"/>
              <a:gd name="connsiteY38184" fmla="*/ 1106339 h 7458372"/>
              <a:gd name="connsiteX38185" fmla="*/ 494962 w 10505529"/>
              <a:gd name="connsiteY38185" fmla="*/ 1117780 h 7458372"/>
              <a:gd name="connsiteX38186" fmla="*/ 492699 w 10505529"/>
              <a:gd name="connsiteY38186" fmla="*/ 1129494 h 7458372"/>
              <a:gd name="connsiteX38187" fmla="*/ 486576 w 10505529"/>
              <a:gd name="connsiteY38187" fmla="*/ 1138815 h 7458372"/>
              <a:gd name="connsiteX38188" fmla="*/ 477258 w 10505529"/>
              <a:gd name="connsiteY38188" fmla="*/ 1145076 h 7458372"/>
              <a:gd name="connsiteX38189" fmla="*/ 465543 w 10505529"/>
              <a:gd name="connsiteY38189" fmla="*/ 1147340 h 7458372"/>
              <a:gd name="connsiteX38190" fmla="*/ 443712 w 10505529"/>
              <a:gd name="connsiteY38190" fmla="*/ 1138815 h 7458372"/>
              <a:gd name="connsiteX38191" fmla="*/ 435326 w 10505529"/>
              <a:gd name="connsiteY38191" fmla="*/ 1117655 h 7458372"/>
              <a:gd name="connsiteX38192" fmla="*/ 443712 w 10505529"/>
              <a:gd name="connsiteY38192" fmla="*/ 1096621 h 7458372"/>
              <a:gd name="connsiteX38193" fmla="*/ 465543 w 10505529"/>
              <a:gd name="connsiteY38193" fmla="*/ 1088096 h 7458372"/>
              <a:gd name="connsiteX38194" fmla="*/ 247899 w 10505529"/>
              <a:gd name="connsiteY38194" fmla="*/ 1088096 h 7458372"/>
              <a:gd name="connsiteX38195" fmla="*/ 259614 w 10505529"/>
              <a:gd name="connsiteY38195" fmla="*/ 1090626 h 7458372"/>
              <a:gd name="connsiteX38196" fmla="*/ 268932 w 10505529"/>
              <a:gd name="connsiteY38196" fmla="*/ 1097017 h 7458372"/>
              <a:gd name="connsiteX38197" fmla="*/ 275055 w 10505529"/>
              <a:gd name="connsiteY38197" fmla="*/ 1106339 h 7458372"/>
              <a:gd name="connsiteX38198" fmla="*/ 277318 w 10505529"/>
              <a:gd name="connsiteY38198" fmla="*/ 1117780 h 7458372"/>
              <a:gd name="connsiteX38199" fmla="*/ 275055 w 10505529"/>
              <a:gd name="connsiteY38199" fmla="*/ 1129494 h 7458372"/>
              <a:gd name="connsiteX38200" fmla="*/ 268932 w 10505529"/>
              <a:gd name="connsiteY38200" fmla="*/ 1138815 h 7458372"/>
              <a:gd name="connsiteX38201" fmla="*/ 259614 w 10505529"/>
              <a:gd name="connsiteY38201" fmla="*/ 1145076 h 7458372"/>
              <a:gd name="connsiteX38202" fmla="*/ 247899 w 10505529"/>
              <a:gd name="connsiteY38202" fmla="*/ 1147340 h 7458372"/>
              <a:gd name="connsiteX38203" fmla="*/ 226068 w 10505529"/>
              <a:gd name="connsiteY38203" fmla="*/ 1138815 h 7458372"/>
              <a:gd name="connsiteX38204" fmla="*/ 217682 w 10505529"/>
              <a:gd name="connsiteY38204" fmla="*/ 1117655 h 7458372"/>
              <a:gd name="connsiteX38205" fmla="*/ 226068 w 10505529"/>
              <a:gd name="connsiteY38205" fmla="*/ 1096621 h 7458372"/>
              <a:gd name="connsiteX38206" fmla="*/ 247899 w 10505529"/>
              <a:gd name="connsiteY38206" fmla="*/ 1088096 h 7458372"/>
              <a:gd name="connsiteX38207" fmla="*/ 30255 w 10505529"/>
              <a:gd name="connsiteY38207" fmla="*/ 1088096 h 7458372"/>
              <a:gd name="connsiteX38208" fmla="*/ 41970 w 10505529"/>
              <a:gd name="connsiteY38208" fmla="*/ 1090626 h 7458372"/>
              <a:gd name="connsiteX38209" fmla="*/ 51288 w 10505529"/>
              <a:gd name="connsiteY38209" fmla="*/ 1097017 h 7458372"/>
              <a:gd name="connsiteX38210" fmla="*/ 57411 w 10505529"/>
              <a:gd name="connsiteY38210" fmla="*/ 1106339 h 7458372"/>
              <a:gd name="connsiteX38211" fmla="*/ 59674 w 10505529"/>
              <a:gd name="connsiteY38211" fmla="*/ 1117780 h 7458372"/>
              <a:gd name="connsiteX38212" fmla="*/ 57411 w 10505529"/>
              <a:gd name="connsiteY38212" fmla="*/ 1129494 h 7458372"/>
              <a:gd name="connsiteX38213" fmla="*/ 51288 w 10505529"/>
              <a:gd name="connsiteY38213" fmla="*/ 1138815 h 7458372"/>
              <a:gd name="connsiteX38214" fmla="*/ 41970 w 10505529"/>
              <a:gd name="connsiteY38214" fmla="*/ 1145076 h 7458372"/>
              <a:gd name="connsiteX38215" fmla="*/ 30255 w 10505529"/>
              <a:gd name="connsiteY38215" fmla="*/ 1147340 h 7458372"/>
              <a:gd name="connsiteX38216" fmla="*/ 8424 w 10505529"/>
              <a:gd name="connsiteY38216" fmla="*/ 1138815 h 7458372"/>
              <a:gd name="connsiteX38217" fmla="*/ 38 w 10505529"/>
              <a:gd name="connsiteY38217" fmla="*/ 1117655 h 7458372"/>
              <a:gd name="connsiteX38218" fmla="*/ 8424 w 10505529"/>
              <a:gd name="connsiteY38218" fmla="*/ 1096621 h 7458372"/>
              <a:gd name="connsiteX38219" fmla="*/ 30255 w 10505529"/>
              <a:gd name="connsiteY38219" fmla="*/ 1088096 h 7458372"/>
              <a:gd name="connsiteX38220" fmla="*/ 30247 w 10505529"/>
              <a:gd name="connsiteY38220" fmla="*/ 887113 h 7458372"/>
              <a:gd name="connsiteX38221" fmla="*/ 20264 w 10505529"/>
              <a:gd name="connsiteY38221" fmla="*/ 890707 h 7458372"/>
              <a:gd name="connsiteX38222" fmla="*/ 16670 w 10505529"/>
              <a:gd name="connsiteY38222" fmla="*/ 900158 h 7458372"/>
              <a:gd name="connsiteX38223" fmla="*/ 20264 w 10505529"/>
              <a:gd name="connsiteY38223" fmla="*/ 909609 h 7458372"/>
              <a:gd name="connsiteX38224" fmla="*/ 30247 w 10505529"/>
              <a:gd name="connsiteY38224" fmla="*/ 913070 h 7458372"/>
              <a:gd name="connsiteX38225" fmla="*/ 35572 w 10505529"/>
              <a:gd name="connsiteY38225" fmla="*/ 912005 h 7458372"/>
              <a:gd name="connsiteX38226" fmla="*/ 39299 w 10505529"/>
              <a:gd name="connsiteY38226" fmla="*/ 909609 h 7458372"/>
              <a:gd name="connsiteX38227" fmla="*/ 41962 w 10505529"/>
              <a:gd name="connsiteY38227" fmla="*/ 905483 h 7458372"/>
              <a:gd name="connsiteX38228" fmla="*/ 42893 w 10505529"/>
              <a:gd name="connsiteY38228" fmla="*/ 900025 h 7458372"/>
              <a:gd name="connsiteX38229" fmla="*/ 41962 w 10505529"/>
              <a:gd name="connsiteY38229" fmla="*/ 894833 h 7458372"/>
              <a:gd name="connsiteX38230" fmla="*/ 39299 w 10505529"/>
              <a:gd name="connsiteY38230" fmla="*/ 890707 h 7458372"/>
              <a:gd name="connsiteX38231" fmla="*/ 35306 w 10505529"/>
              <a:gd name="connsiteY38231" fmla="*/ 888044 h 7458372"/>
              <a:gd name="connsiteX38232" fmla="*/ 30247 w 10505529"/>
              <a:gd name="connsiteY38232" fmla="*/ 887113 h 7458372"/>
              <a:gd name="connsiteX38233" fmla="*/ 247891 w 10505529"/>
              <a:gd name="connsiteY38233" fmla="*/ 887113 h 7458372"/>
              <a:gd name="connsiteX38234" fmla="*/ 237908 w 10505529"/>
              <a:gd name="connsiteY38234" fmla="*/ 890707 h 7458372"/>
              <a:gd name="connsiteX38235" fmla="*/ 234315 w 10505529"/>
              <a:gd name="connsiteY38235" fmla="*/ 900158 h 7458372"/>
              <a:gd name="connsiteX38236" fmla="*/ 237908 w 10505529"/>
              <a:gd name="connsiteY38236" fmla="*/ 909609 h 7458372"/>
              <a:gd name="connsiteX38237" fmla="*/ 247891 w 10505529"/>
              <a:gd name="connsiteY38237" fmla="*/ 913070 h 7458372"/>
              <a:gd name="connsiteX38238" fmla="*/ 253216 w 10505529"/>
              <a:gd name="connsiteY38238" fmla="*/ 912005 h 7458372"/>
              <a:gd name="connsiteX38239" fmla="*/ 256943 w 10505529"/>
              <a:gd name="connsiteY38239" fmla="*/ 909609 h 7458372"/>
              <a:gd name="connsiteX38240" fmla="*/ 259607 w 10505529"/>
              <a:gd name="connsiteY38240" fmla="*/ 905483 h 7458372"/>
              <a:gd name="connsiteX38241" fmla="*/ 260672 w 10505529"/>
              <a:gd name="connsiteY38241" fmla="*/ 900025 h 7458372"/>
              <a:gd name="connsiteX38242" fmla="*/ 259607 w 10505529"/>
              <a:gd name="connsiteY38242" fmla="*/ 894833 h 7458372"/>
              <a:gd name="connsiteX38243" fmla="*/ 256943 w 10505529"/>
              <a:gd name="connsiteY38243" fmla="*/ 890707 h 7458372"/>
              <a:gd name="connsiteX38244" fmla="*/ 252950 w 10505529"/>
              <a:gd name="connsiteY38244" fmla="*/ 888044 h 7458372"/>
              <a:gd name="connsiteX38245" fmla="*/ 247891 w 10505529"/>
              <a:gd name="connsiteY38245" fmla="*/ 887113 h 7458372"/>
              <a:gd name="connsiteX38246" fmla="*/ 683180 w 10505529"/>
              <a:gd name="connsiteY38246" fmla="*/ 887113 h 7458372"/>
              <a:gd name="connsiteX38247" fmla="*/ 673197 w 10505529"/>
              <a:gd name="connsiteY38247" fmla="*/ 890707 h 7458372"/>
              <a:gd name="connsiteX38248" fmla="*/ 669603 w 10505529"/>
              <a:gd name="connsiteY38248" fmla="*/ 900158 h 7458372"/>
              <a:gd name="connsiteX38249" fmla="*/ 673197 w 10505529"/>
              <a:gd name="connsiteY38249" fmla="*/ 909609 h 7458372"/>
              <a:gd name="connsiteX38250" fmla="*/ 683180 w 10505529"/>
              <a:gd name="connsiteY38250" fmla="*/ 913070 h 7458372"/>
              <a:gd name="connsiteX38251" fmla="*/ 688505 w 10505529"/>
              <a:gd name="connsiteY38251" fmla="*/ 912005 h 7458372"/>
              <a:gd name="connsiteX38252" fmla="*/ 692232 w 10505529"/>
              <a:gd name="connsiteY38252" fmla="*/ 909609 h 7458372"/>
              <a:gd name="connsiteX38253" fmla="*/ 694895 w 10505529"/>
              <a:gd name="connsiteY38253" fmla="*/ 905483 h 7458372"/>
              <a:gd name="connsiteX38254" fmla="*/ 695960 w 10505529"/>
              <a:gd name="connsiteY38254" fmla="*/ 900025 h 7458372"/>
              <a:gd name="connsiteX38255" fmla="*/ 694895 w 10505529"/>
              <a:gd name="connsiteY38255" fmla="*/ 894833 h 7458372"/>
              <a:gd name="connsiteX38256" fmla="*/ 692232 w 10505529"/>
              <a:gd name="connsiteY38256" fmla="*/ 890707 h 7458372"/>
              <a:gd name="connsiteX38257" fmla="*/ 688239 w 10505529"/>
              <a:gd name="connsiteY38257" fmla="*/ 888044 h 7458372"/>
              <a:gd name="connsiteX38258" fmla="*/ 683180 w 10505529"/>
              <a:gd name="connsiteY38258" fmla="*/ 887113 h 7458372"/>
              <a:gd name="connsiteX38259" fmla="*/ 465536 w 10505529"/>
              <a:gd name="connsiteY38259" fmla="*/ 887113 h 7458372"/>
              <a:gd name="connsiteX38260" fmla="*/ 455552 w 10505529"/>
              <a:gd name="connsiteY38260" fmla="*/ 890707 h 7458372"/>
              <a:gd name="connsiteX38261" fmla="*/ 451959 w 10505529"/>
              <a:gd name="connsiteY38261" fmla="*/ 900158 h 7458372"/>
              <a:gd name="connsiteX38262" fmla="*/ 455552 w 10505529"/>
              <a:gd name="connsiteY38262" fmla="*/ 909609 h 7458372"/>
              <a:gd name="connsiteX38263" fmla="*/ 465536 w 10505529"/>
              <a:gd name="connsiteY38263" fmla="*/ 913070 h 7458372"/>
              <a:gd name="connsiteX38264" fmla="*/ 470861 w 10505529"/>
              <a:gd name="connsiteY38264" fmla="*/ 912005 h 7458372"/>
              <a:gd name="connsiteX38265" fmla="*/ 474588 w 10505529"/>
              <a:gd name="connsiteY38265" fmla="*/ 909609 h 7458372"/>
              <a:gd name="connsiteX38266" fmla="*/ 477251 w 10505529"/>
              <a:gd name="connsiteY38266" fmla="*/ 905483 h 7458372"/>
              <a:gd name="connsiteX38267" fmla="*/ 478316 w 10505529"/>
              <a:gd name="connsiteY38267" fmla="*/ 900025 h 7458372"/>
              <a:gd name="connsiteX38268" fmla="*/ 477251 w 10505529"/>
              <a:gd name="connsiteY38268" fmla="*/ 894833 h 7458372"/>
              <a:gd name="connsiteX38269" fmla="*/ 474588 w 10505529"/>
              <a:gd name="connsiteY38269" fmla="*/ 890707 h 7458372"/>
              <a:gd name="connsiteX38270" fmla="*/ 470595 w 10505529"/>
              <a:gd name="connsiteY38270" fmla="*/ 888044 h 7458372"/>
              <a:gd name="connsiteX38271" fmla="*/ 465536 w 10505529"/>
              <a:gd name="connsiteY38271" fmla="*/ 887113 h 7458372"/>
              <a:gd name="connsiteX38272" fmla="*/ 900958 w 10505529"/>
              <a:gd name="connsiteY38272" fmla="*/ 887113 h 7458372"/>
              <a:gd name="connsiteX38273" fmla="*/ 890973 w 10505529"/>
              <a:gd name="connsiteY38273" fmla="*/ 890707 h 7458372"/>
              <a:gd name="connsiteX38274" fmla="*/ 887247 w 10505529"/>
              <a:gd name="connsiteY38274" fmla="*/ 900158 h 7458372"/>
              <a:gd name="connsiteX38275" fmla="*/ 890841 w 10505529"/>
              <a:gd name="connsiteY38275" fmla="*/ 909609 h 7458372"/>
              <a:gd name="connsiteX38276" fmla="*/ 900824 w 10505529"/>
              <a:gd name="connsiteY38276" fmla="*/ 913070 h 7458372"/>
              <a:gd name="connsiteX38277" fmla="*/ 906282 w 10505529"/>
              <a:gd name="connsiteY38277" fmla="*/ 912005 h 7458372"/>
              <a:gd name="connsiteX38278" fmla="*/ 910010 w 10505529"/>
              <a:gd name="connsiteY38278" fmla="*/ 909609 h 7458372"/>
              <a:gd name="connsiteX38279" fmla="*/ 912672 w 10505529"/>
              <a:gd name="connsiteY38279" fmla="*/ 905483 h 7458372"/>
              <a:gd name="connsiteX38280" fmla="*/ 913737 w 10505529"/>
              <a:gd name="connsiteY38280" fmla="*/ 900025 h 7458372"/>
              <a:gd name="connsiteX38281" fmla="*/ 912672 w 10505529"/>
              <a:gd name="connsiteY38281" fmla="*/ 894833 h 7458372"/>
              <a:gd name="connsiteX38282" fmla="*/ 910010 w 10505529"/>
              <a:gd name="connsiteY38282" fmla="*/ 890707 h 7458372"/>
              <a:gd name="connsiteX38283" fmla="*/ 906016 w 10505529"/>
              <a:gd name="connsiteY38283" fmla="*/ 888044 h 7458372"/>
              <a:gd name="connsiteX38284" fmla="*/ 900958 w 10505529"/>
              <a:gd name="connsiteY38284" fmla="*/ 887113 h 7458372"/>
              <a:gd name="connsiteX38285" fmla="*/ 1335981 w 10505529"/>
              <a:gd name="connsiteY38285" fmla="*/ 887112 h 7458372"/>
              <a:gd name="connsiteX38286" fmla="*/ 1325998 w 10505529"/>
              <a:gd name="connsiteY38286" fmla="*/ 890706 h 7458372"/>
              <a:gd name="connsiteX38287" fmla="*/ 1322403 w 10505529"/>
              <a:gd name="connsiteY38287" fmla="*/ 900158 h 7458372"/>
              <a:gd name="connsiteX38288" fmla="*/ 1325998 w 10505529"/>
              <a:gd name="connsiteY38288" fmla="*/ 909609 h 7458372"/>
              <a:gd name="connsiteX38289" fmla="*/ 1335981 w 10505529"/>
              <a:gd name="connsiteY38289" fmla="*/ 913070 h 7458372"/>
              <a:gd name="connsiteX38290" fmla="*/ 1341307 w 10505529"/>
              <a:gd name="connsiteY38290" fmla="*/ 912005 h 7458372"/>
              <a:gd name="connsiteX38291" fmla="*/ 1345033 w 10505529"/>
              <a:gd name="connsiteY38291" fmla="*/ 909609 h 7458372"/>
              <a:gd name="connsiteX38292" fmla="*/ 1347696 w 10505529"/>
              <a:gd name="connsiteY38292" fmla="*/ 905483 h 7458372"/>
              <a:gd name="connsiteX38293" fmla="*/ 1348762 w 10505529"/>
              <a:gd name="connsiteY38293" fmla="*/ 900025 h 7458372"/>
              <a:gd name="connsiteX38294" fmla="*/ 1347696 w 10505529"/>
              <a:gd name="connsiteY38294" fmla="*/ 894833 h 7458372"/>
              <a:gd name="connsiteX38295" fmla="*/ 1345033 w 10505529"/>
              <a:gd name="connsiteY38295" fmla="*/ 890706 h 7458372"/>
              <a:gd name="connsiteX38296" fmla="*/ 1341040 w 10505529"/>
              <a:gd name="connsiteY38296" fmla="*/ 888043 h 7458372"/>
              <a:gd name="connsiteX38297" fmla="*/ 1335981 w 10505529"/>
              <a:gd name="connsiteY38297" fmla="*/ 887112 h 7458372"/>
              <a:gd name="connsiteX38298" fmla="*/ 1118469 w 10505529"/>
              <a:gd name="connsiteY38298" fmla="*/ 887112 h 7458372"/>
              <a:gd name="connsiteX38299" fmla="*/ 1108485 w 10505529"/>
              <a:gd name="connsiteY38299" fmla="*/ 890706 h 7458372"/>
              <a:gd name="connsiteX38300" fmla="*/ 1104758 w 10505529"/>
              <a:gd name="connsiteY38300" fmla="*/ 900158 h 7458372"/>
              <a:gd name="connsiteX38301" fmla="*/ 1108352 w 10505529"/>
              <a:gd name="connsiteY38301" fmla="*/ 909609 h 7458372"/>
              <a:gd name="connsiteX38302" fmla="*/ 1118336 w 10505529"/>
              <a:gd name="connsiteY38302" fmla="*/ 913070 h 7458372"/>
              <a:gd name="connsiteX38303" fmla="*/ 1123794 w 10505529"/>
              <a:gd name="connsiteY38303" fmla="*/ 912005 h 7458372"/>
              <a:gd name="connsiteX38304" fmla="*/ 1127521 w 10505529"/>
              <a:gd name="connsiteY38304" fmla="*/ 909609 h 7458372"/>
              <a:gd name="connsiteX38305" fmla="*/ 1130184 w 10505529"/>
              <a:gd name="connsiteY38305" fmla="*/ 905483 h 7458372"/>
              <a:gd name="connsiteX38306" fmla="*/ 1131250 w 10505529"/>
              <a:gd name="connsiteY38306" fmla="*/ 900025 h 7458372"/>
              <a:gd name="connsiteX38307" fmla="*/ 1130184 w 10505529"/>
              <a:gd name="connsiteY38307" fmla="*/ 894833 h 7458372"/>
              <a:gd name="connsiteX38308" fmla="*/ 1127521 w 10505529"/>
              <a:gd name="connsiteY38308" fmla="*/ 890706 h 7458372"/>
              <a:gd name="connsiteX38309" fmla="*/ 1123527 w 10505529"/>
              <a:gd name="connsiteY38309" fmla="*/ 888043 h 7458372"/>
              <a:gd name="connsiteX38310" fmla="*/ 1118469 w 10505529"/>
              <a:gd name="connsiteY38310" fmla="*/ 887112 h 7458372"/>
              <a:gd name="connsiteX38311" fmla="*/ 1771270 w 10505529"/>
              <a:gd name="connsiteY38311" fmla="*/ 887112 h 7458372"/>
              <a:gd name="connsiteX38312" fmla="*/ 1761287 w 10505529"/>
              <a:gd name="connsiteY38312" fmla="*/ 890706 h 7458372"/>
              <a:gd name="connsiteX38313" fmla="*/ 1757692 w 10505529"/>
              <a:gd name="connsiteY38313" fmla="*/ 900157 h 7458372"/>
              <a:gd name="connsiteX38314" fmla="*/ 1761287 w 10505529"/>
              <a:gd name="connsiteY38314" fmla="*/ 909608 h 7458372"/>
              <a:gd name="connsiteX38315" fmla="*/ 1771270 w 10505529"/>
              <a:gd name="connsiteY38315" fmla="*/ 913070 h 7458372"/>
              <a:gd name="connsiteX38316" fmla="*/ 1776594 w 10505529"/>
              <a:gd name="connsiteY38316" fmla="*/ 912005 h 7458372"/>
              <a:gd name="connsiteX38317" fmla="*/ 1780322 w 10505529"/>
              <a:gd name="connsiteY38317" fmla="*/ 909608 h 7458372"/>
              <a:gd name="connsiteX38318" fmla="*/ 1782985 w 10505529"/>
              <a:gd name="connsiteY38318" fmla="*/ 905482 h 7458372"/>
              <a:gd name="connsiteX38319" fmla="*/ 1784050 w 10505529"/>
              <a:gd name="connsiteY38319" fmla="*/ 900024 h 7458372"/>
              <a:gd name="connsiteX38320" fmla="*/ 1782985 w 10505529"/>
              <a:gd name="connsiteY38320" fmla="*/ 894832 h 7458372"/>
              <a:gd name="connsiteX38321" fmla="*/ 1780322 w 10505529"/>
              <a:gd name="connsiteY38321" fmla="*/ 890706 h 7458372"/>
              <a:gd name="connsiteX38322" fmla="*/ 1776329 w 10505529"/>
              <a:gd name="connsiteY38322" fmla="*/ 888043 h 7458372"/>
              <a:gd name="connsiteX38323" fmla="*/ 1771270 w 10505529"/>
              <a:gd name="connsiteY38323" fmla="*/ 887112 h 7458372"/>
              <a:gd name="connsiteX38324" fmla="*/ 1553626 w 10505529"/>
              <a:gd name="connsiteY38324" fmla="*/ 887112 h 7458372"/>
              <a:gd name="connsiteX38325" fmla="*/ 1543642 w 10505529"/>
              <a:gd name="connsiteY38325" fmla="*/ 890706 h 7458372"/>
              <a:gd name="connsiteX38326" fmla="*/ 1540048 w 10505529"/>
              <a:gd name="connsiteY38326" fmla="*/ 900158 h 7458372"/>
              <a:gd name="connsiteX38327" fmla="*/ 1543642 w 10505529"/>
              <a:gd name="connsiteY38327" fmla="*/ 909609 h 7458372"/>
              <a:gd name="connsiteX38328" fmla="*/ 1553626 w 10505529"/>
              <a:gd name="connsiteY38328" fmla="*/ 913070 h 7458372"/>
              <a:gd name="connsiteX38329" fmla="*/ 1558950 w 10505529"/>
              <a:gd name="connsiteY38329" fmla="*/ 912005 h 7458372"/>
              <a:gd name="connsiteX38330" fmla="*/ 1562678 w 10505529"/>
              <a:gd name="connsiteY38330" fmla="*/ 909609 h 7458372"/>
              <a:gd name="connsiteX38331" fmla="*/ 1565340 w 10505529"/>
              <a:gd name="connsiteY38331" fmla="*/ 905482 h 7458372"/>
              <a:gd name="connsiteX38332" fmla="*/ 1566406 w 10505529"/>
              <a:gd name="connsiteY38332" fmla="*/ 900024 h 7458372"/>
              <a:gd name="connsiteX38333" fmla="*/ 1565340 w 10505529"/>
              <a:gd name="connsiteY38333" fmla="*/ 894832 h 7458372"/>
              <a:gd name="connsiteX38334" fmla="*/ 1562678 w 10505529"/>
              <a:gd name="connsiteY38334" fmla="*/ 890706 h 7458372"/>
              <a:gd name="connsiteX38335" fmla="*/ 1558684 w 10505529"/>
              <a:gd name="connsiteY38335" fmla="*/ 888043 h 7458372"/>
              <a:gd name="connsiteX38336" fmla="*/ 1553626 w 10505529"/>
              <a:gd name="connsiteY38336" fmla="*/ 887112 h 7458372"/>
              <a:gd name="connsiteX38337" fmla="*/ 1988913 w 10505529"/>
              <a:gd name="connsiteY38337" fmla="*/ 887112 h 7458372"/>
              <a:gd name="connsiteX38338" fmla="*/ 1978930 w 10505529"/>
              <a:gd name="connsiteY38338" fmla="*/ 890706 h 7458372"/>
              <a:gd name="connsiteX38339" fmla="*/ 1975335 w 10505529"/>
              <a:gd name="connsiteY38339" fmla="*/ 900157 h 7458372"/>
              <a:gd name="connsiteX38340" fmla="*/ 1978930 w 10505529"/>
              <a:gd name="connsiteY38340" fmla="*/ 909608 h 7458372"/>
              <a:gd name="connsiteX38341" fmla="*/ 1988913 w 10505529"/>
              <a:gd name="connsiteY38341" fmla="*/ 913070 h 7458372"/>
              <a:gd name="connsiteX38342" fmla="*/ 1994237 w 10505529"/>
              <a:gd name="connsiteY38342" fmla="*/ 912004 h 7458372"/>
              <a:gd name="connsiteX38343" fmla="*/ 1997965 w 10505529"/>
              <a:gd name="connsiteY38343" fmla="*/ 909608 h 7458372"/>
              <a:gd name="connsiteX38344" fmla="*/ 2000628 w 10505529"/>
              <a:gd name="connsiteY38344" fmla="*/ 905482 h 7458372"/>
              <a:gd name="connsiteX38345" fmla="*/ 2001558 w 10505529"/>
              <a:gd name="connsiteY38345" fmla="*/ 900024 h 7458372"/>
              <a:gd name="connsiteX38346" fmla="*/ 2000628 w 10505529"/>
              <a:gd name="connsiteY38346" fmla="*/ 894832 h 7458372"/>
              <a:gd name="connsiteX38347" fmla="*/ 1997965 w 10505529"/>
              <a:gd name="connsiteY38347" fmla="*/ 890706 h 7458372"/>
              <a:gd name="connsiteX38348" fmla="*/ 1993971 w 10505529"/>
              <a:gd name="connsiteY38348" fmla="*/ 888043 h 7458372"/>
              <a:gd name="connsiteX38349" fmla="*/ 1988913 w 10505529"/>
              <a:gd name="connsiteY38349" fmla="*/ 887112 h 7458372"/>
              <a:gd name="connsiteX38350" fmla="*/ 2424075 w 10505529"/>
              <a:gd name="connsiteY38350" fmla="*/ 887112 h 7458372"/>
              <a:gd name="connsiteX38351" fmla="*/ 2414092 w 10505529"/>
              <a:gd name="connsiteY38351" fmla="*/ 890706 h 7458372"/>
              <a:gd name="connsiteX38352" fmla="*/ 2410498 w 10505529"/>
              <a:gd name="connsiteY38352" fmla="*/ 900157 h 7458372"/>
              <a:gd name="connsiteX38353" fmla="*/ 2414092 w 10505529"/>
              <a:gd name="connsiteY38353" fmla="*/ 909608 h 7458372"/>
              <a:gd name="connsiteX38354" fmla="*/ 2424075 w 10505529"/>
              <a:gd name="connsiteY38354" fmla="*/ 913069 h 7458372"/>
              <a:gd name="connsiteX38355" fmla="*/ 2429400 w 10505529"/>
              <a:gd name="connsiteY38355" fmla="*/ 912004 h 7458372"/>
              <a:gd name="connsiteX38356" fmla="*/ 2433127 w 10505529"/>
              <a:gd name="connsiteY38356" fmla="*/ 909608 h 7458372"/>
              <a:gd name="connsiteX38357" fmla="*/ 2435790 w 10505529"/>
              <a:gd name="connsiteY38357" fmla="*/ 905482 h 7458372"/>
              <a:gd name="connsiteX38358" fmla="*/ 2436722 w 10505529"/>
              <a:gd name="connsiteY38358" fmla="*/ 900024 h 7458372"/>
              <a:gd name="connsiteX38359" fmla="*/ 2435790 w 10505529"/>
              <a:gd name="connsiteY38359" fmla="*/ 894832 h 7458372"/>
              <a:gd name="connsiteX38360" fmla="*/ 2433127 w 10505529"/>
              <a:gd name="connsiteY38360" fmla="*/ 890706 h 7458372"/>
              <a:gd name="connsiteX38361" fmla="*/ 2429134 w 10505529"/>
              <a:gd name="connsiteY38361" fmla="*/ 888043 h 7458372"/>
              <a:gd name="connsiteX38362" fmla="*/ 2424075 w 10505529"/>
              <a:gd name="connsiteY38362" fmla="*/ 887112 h 7458372"/>
              <a:gd name="connsiteX38363" fmla="*/ 2206428 w 10505529"/>
              <a:gd name="connsiteY38363" fmla="*/ 887112 h 7458372"/>
              <a:gd name="connsiteX38364" fmla="*/ 2196444 w 10505529"/>
              <a:gd name="connsiteY38364" fmla="*/ 890706 h 7458372"/>
              <a:gd name="connsiteX38365" fmla="*/ 2192850 w 10505529"/>
              <a:gd name="connsiteY38365" fmla="*/ 900157 h 7458372"/>
              <a:gd name="connsiteX38366" fmla="*/ 2196444 w 10505529"/>
              <a:gd name="connsiteY38366" fmla="*/ 909608 h 7458372"/>
              <a:gd name="connsiteX38367" fmla="*/ 2206428 w 10505529"/>
              <a:gd name="connsiteY38367" fmla="*/ 913069 h 7458372"/>
              <a:gd name="connsiteX38368" fmla="*/ 2211752 w 10505529"/>
              <a:gd name="connsiteY38368" fmla="*/ 912004 h 7458372"/>
              <a:gd name="connsiteX38369" fmla="*/ 2215479 w 10505529"/>
              <a:gd name="connsiteY38369" fmla="*/ 909608 h 7458372"/>
              <a:gd name="connsiteX38370" fmla="*/ 2218143 w 10505529"/>
              <a:gd name="connsiteY38370" fmla="*/ 905482 h 7458372"/>
              <a:gd name="connsiteX38371" fmla="*/ 2219074 w 10505529"/>
              <a:gd name="connsiteY38371" fmla="*/ 900024 h 7458372"/>
              <a:gd name="connsiteX38372" fmla="*/ 2218143 w 10505529"/>
              <a:gd name="connsiteY38372" fmla="*/ 894832 h 7458372"/>
              <a:gd name="connsiteX38373" fmla="*/ 2215479 w 10505529"/>
              <a:gd name="connsiteY38373" fmla="*/ 890706 h 7458372"/>
              <a:gd name="connsiteX38374" fmla="*/ 2211486 w 10505529"/>
              <a:gd name="connsiteY38374" fmla="*/ 888043 h 7458372"/>
              <a:gd name="connsiteX38375" fmla="*/ 2206428 w 10505529"/>
              <a:gd name="connsiteY38375" fmla="*/ 887112 h 7458372"/>
              <a:gd name="connsiteX38376" fmla="*/ 3077151 w 10505529"/>
              <a:gd name="connsiteY38376" fmla="*/ 887112 h 7458372"/>
              <a:gd name="connsiteX38377" fmla="*/ 3067169 w 10505529"/>
              <a:gd name="connsiteY38377" fmla="*/ 890706 h 7458372"/>
              <a:gd name="connsiteX38378" fmla="*/ 3063440 w 10505529"/>
              <a:gd name="connsiteY38378" fmla="*/ 900157 h 7458372"/>
              <a:gd name="connsiteX38379" fmla="*/ 3067035 w 10505529"/>
              <a:gd name="connsiteY38379" fmla="*/ 909608 h 7458372"/>
              <a:gd name="connsiteX38380" fmla="*/ 3077018 w 10505529"/>
              <a:gd name="connsiteY38380" fmla="*/ 913069 h 7458372"/>
              <a:gd name="connsiteX38381" fmla="*/ 3082476 w 10505529"/>
              <a:gd name="connsiteY38381" fmla="*/ 912004 h 7458372"/>
              <a:gd name="connsiteX38382" fmla="*/ 3086204 w 10505529"/>
              <a:gd name="connsiteY38382" fmla="*/ 909608 h 7458372"/>
              <a:gd name="connsiteX38383" fmla="*/ 3088866 w 10505529"/>
              <a:gd name="connsiteY38383" fmla="*/ 905482 h 7458372"/>
              <a:gd name="connsiteX38384" fmla="*/ 3089799 w 10505529"/>
              <a:gd name="connsiteY38384" fmla="*/ 900024 h 7458372"/>
              <a:gd name="connsiteX38385" fmla="*/ 3088866 w 10505529"/>
              <a:gd name="connsiteY38385" fmla="*/ 894832 h 7458372"/>
              <a:gd name="connsiteX38386" fmla="*/ 3086204 w 10505529"/>
              <a:gd name="connsiteY38386" fmla="*/ 890706 h 7458372"/>
              <a:gd name="connsiteX38387" fmla="*/ 3082211 w 10505529"/>
              <a:gd name="connsiteY38387" fmla="*/ 888043 h 7458372"/>
              <a:gd name="connsiteX38388" fmla="*/ 3077151 w 10505529"/>
              <a:gd name="connsiteY38388" fmla="*/ 887112 h 7458372"/>
              <a:gd name="connsiteX38389" fmla="*/ 2859371 w 10505529"/>
              <a:gd name="connsiteY38389" fmla="*/ 887112 h 7458372"/>
              <a:gd name="connsiteX38390" fmla="*/ 2849388 w 10505529"/>
              <a:gd name="connsiteY38390" fmla="*/ 890706 h 7458372"/>
              <a:gd name="connsiteX38391" fmla="*/ 2845793 w 10505529"/>
              <a:gd name="connsiteY38391" fmla="*/ 900157 h 7458372"/>
              <a:gd name="connsiteX38392" fmla="*/ 2849388 w 10505529"/>
              <a:gd name="connsiteY38392" fmla="*/ 909608 h 7458372"/>
              <a:gd name="connsiteX38393" fmla="*/ 2859371 w 10505529"/>
              <a:gd name="connsiteY38393" fmla="*/ 913069 h 7458372"/>
              <a:gd name="connsiteX38394" fmla="*/ 2864696 w 10505529"/>
              <a:gd name="connsiteY38394" fmla="*/ 912004 h 7458372"/>
              <a:gd name="connsiteX38395" fmla="*/ 2868423 w 10505529"/>
              <a:gd name="connsiteY38395" fmla="*/ 909608 h 7458372"/>
              <a:gd name="connsiteX38396" fmla="*/ 2871086 w 10505529"/>
              <a:gd name="connsiteY38396" fmla="*/ 905482 h 7458372"/>
              <a:gd name="connsiteX38397" fmla="*/ 2872017 w 10505529"/>
              <a:gd name="connsiteY38397" fmla="*/ 900024 h 7458372"/>
              <a:gd name="connsiteX38398" fmla="*/ 2871086 w 10505529"/>
              <a:gd name="connsiteY38398" fmla="*/ 894832 h 7458372"/>
              <a:gd name="connsiteX38399" fmla="*/ 2868423 w 10505529"/>
              <a:gd name="connsiteY38399" fmla="*/ 890706 h 7458372"/>
              <a:gd name="connsiteX38400" fmla="*/ 2864430 w 10505529"/>
              <a:gd name="connsiteY38400" fmla="*/ 888043 h 7458372"/>
              <a:gd name="connsiteX38401" fmla="*/ 2859371 w 10505529"/>
              <a:gd name="connsiteY38401" fmla="*/ 887112 h 7458372"/>
              <a:gd name="connsiteX38402" fmla="*/ 2641723 w 10505529"/>
              <a:gd name="connsiteY38402" fmla="*/ 887112 h 7458372"/>
              <a:gd name="connsiteX38403" fmla="*/ 2631740 w 10505529"/>
              <a:gd name="connsiteY38403" fmla="*/ 890706 h 7458372"/>
              <a:gd name="connsiteX38404" fmla="*/ 2628146 w 10505529"/>
              <a:gd name="connsiteY38404" fmla="*/ 900157 h 7458372"/>
              <a:gd name="connsiteX38405" fmla="*/ 2631740 w 10505529"/>
              <a:gd name="connsiteY38405" fmla="*/ 909608 h 7458372"/>
              <a:gd name="connsiteX38406" fmla="*/ 2641723 w 10505529"/>
              <a:gd name="connsiteY38406" fmla="*/ 913069 h 7458372"/>
              <a:gd name="connsiteX38407" fmla="*/ 2647048 w 10505529"/>
              <a:gd name="connsiteY38407" fmla="*/ 912004 h 7458372"/>
              <a:gd name="connsiteX38408" fmla="*/ 2650775 w 10505529"/>
              <a:gd name="connsiteY38408" fmla="*/ 909608 h 7458372"/>
              <a:gd name="connsiteX38409" fmla="*/ 2653438 w 10505529"/>
              <a:gd name="connsiteY38409" fmla="*/ 905482 h 7458372"/>
              <a:gd name="connsiteX38410" fmla="*/ 2654369 w 10505529"/>
              <a:gd name="connsiteY38410" fmla="*/ 900024 h 7458372"/>
              <a:gd name="connsiteX38411" fmla="*/ 2653438 w 10505529"/>
              <a:gd name="connsiteY38411" fmla="*/ 894832 h 7458372"/>
              <a:gd name="connsiteX38412" fmla="*/ 2650775 w 10505529"/>
              <a:gd name="connsiteY38412" fmla="*/ 890706 h 7458372"/>
              <a:gd name="connsiteX38413" fmla="*/ 2646782 w 10505529"/>
              <a:gd name="connsiteY38413" fmla="*/ 888043 h 7458372"/>
              <a:gd name="connsiteX38414" fmla="*/ 2641723 w 10505529"/>
              <a:gd name="connsiteY38414" fmla="*/ 887112 h 7458372"/>
              <a:gd name="connsiteX38415" fmla="*/ 3512181 w 10505529"/>
              <a:gd name="connsiteY38415" fmla="*/ 887111 h 7458372"/>
              <a:gd name="connsiteX38416" fmla="*/ 3502196 w 10505529"/>
              <a:gd name="connsiteY38416" fmla="*/ 890706 h 7458372"/>
              <a:gd name="connsiteX38417" fmla="*/ 3498603 w 10505529"/>
              <a:gd name="connsiteY38417" fmla="*/ 900157 h 7458372"/>
              <a:gd name="connsiteX38418" fmla="*/ 3502196 w 10505529"/>
              <a:gd name="connsiteY38418" fmla="*/ 909608 h 7458372"/>
              <a:gd name="connsiteX38419" fmla="*/ 3512181 w 10505529"/>
              <a:gd name="connsiteY38419" fmla="*/ 913069 h 7458372"/>
              <a:gd name="connsiteX38420" fmla="*/ 3517506 w 10505529"/>
              <a:gd name="connsiteY38420" fmla="*/ 912004 h 7458372"/>
              <a:gd name="connsiteX38421" fmla="*/ 3521233 w 10505529"/>
              <a:gd name="connsiteY38421" fmla="*/ 909608 h 7458372"/>
              <a:gd name="connsiteX38422" fmla="*/ 3523896 w 10505529"/>
              <a:gd name="connsiteY38422" fmla="*/ 905482 h 7458372"/>
              <a:gd name="connsiteX38423" fmla="*/ 3524961 w 10505529"/>
              <a:gd name="connsiteY38423" fmla="*/ 900024 h 7458372"/>
              <a:gd name="connsiteX38424" fmla="*/ 3523896 w 10505529"/>
              <a:gd name="connsiteY38424" fmla="*/ 894832 h 7458372"/>
              <a:gd name="connsiteX38425" fmla="*/ 3521233 w 10505529"/>
              <a:gd name="connsiteY38425" fmla="*/ 890706 h 7458372"/>
              <a:gd name="connsiteX38426" fmla="*/ 3517240 w 10505529"/>
              <a:gd name="connsiteY38426" fmla="*/ 888042 h 7458372"/>
              <a:gd name="connsiteX38427" fmla="*/ 3512181 w 10505529"/>
              <a:gd name="connsiteY38427" fmla="*/ 887111 h 7458372"/>
              <a:gd name="connsiteX38428" fmla="*/ 3294666 w 10505529"/>
              <a:gd name="connsiteY38428" fmla="*/ 887111 h 7458372"/>
              <a:gd name="connsiteX38429" fmla="*/ 3284682 w 10505529"/>
              <a:gd name="connsiteY38429" fmla="*/ 890706 h 7458372"/>
              <a:gd name="connsiteX38430" fmla="*/ 3281088 w 10505529"/>
              <a:gd name="connsiteY38430" fmla="*/ 900157 h 7458372"/>
              <a:gd name="connsiteX38431" fmla="*/ 3284682 w 10505529"/>
              <a:gd name="connsiteY38431" fmla="*/ 909608 h 7458372"/>
              <a:gd name="connsiteX38432" fmla="*/ 3294666 w 10505529"/>
              <a:gd name="connsiteY38432" fmla="*/ 913069 h 7458372"/>
              <a:gd name="connsiteX38433" fmla="*/ 3299992 w 10505529"/>
              <a:gd name="connsiteY38433" fmla="*/ 912004 h 7458372"/>
              <a:gd name="connsiteX38434" fmla="*/ 3303719 w 10505529"/>
              <a:gd name="connsiteY38434" fmla="*/ 909608 h 7458372"/>
              <a:gd name="connsiteX38435" fmla="*/ 3306382 w 10505529"/>
              <a:gd name="connsiteY38435" fmla="*/ 905482 h 7458372"/>
              <a:gd name="connsiteX38436" fmla="*/ 3307445 w 10505529"/>
              <a:gd name="connsiteY38436" fmla="*/ 900024 h 7458372"/>
              <a:gd name="connsiteX38437" fmla="*/ 3306382 w 10505529"/>
              <a:gd name="connsiteY38437" fmla="*/ 894832 h 7458372"/>
              <a:gd name="connsiteX38438" fmla="*/ 3303719 w 10505529"/>
              <a:gd name="connsiteY38438" fmla="*/ 890706 h 7458372"/>
              <a:gd name="connsiteX38439" fmla="*/ 3299725 w 10505529"/>
              <a:gd name="connsiteY38439" fmla="*/ 888043 h 7458372"/>
              <a:gd name="connsiteX38440" fmla="*/ 3294666 w 10505529"/>
              <a:gd name="connsiteY38440" fmla="*/ 887111 h 7458372"/>
              <a:gd name="connsiteX38441" fmla="*/ 3729829 w 10505529"/>
              <a:gd name="connsiteY38441" fmla="*/ 887111 h 7458372"/>
              <a:gd name="connsiteX38442" fmla="*/ 3719844 w 10505529"/>
              <a:gd name="connsiteY38442" fmla="*/ 890705 h 7458372"/>
              <a:gd name="connsiteX38443" fmla="*/ 3716250 w 10505529"/>
              <a:gd name="connsiteY38443" fmla="*/ 900157 h 7458372"/>
              <a:gd name="connsiteX38444" fmla="*/ 3719844 w 10505529"/>
              <a:gd name="connsiteY38444" fmla="*/ 909608 h 7458372"/>
              <a:gd name="connsiteX38445" fmla="*/ 3729829 w 10505529"/>
              <a:gd name="connsiteY38445" fmla="*/ 913069 h 7458372"/>
              <a:gd name="connsiteX38446" fmla="*/ 3735154 w 10505529"/>
              <a:gd name="connsiteY38446" fmla="*/ 912004 h 7458372"/>
              <a:gd name="connsiteX38447" fmla="*/ 3738880 w 10505529"/>
              <a:gd name="connsiteY38447" fmla="*/ 909608 h 7458372"/>
              <a:gd name="connsiteX38448" fmla="*/ 3741544 w 10505529"/>
              <a:gd name="connsiteY38448" fmla="*/ 905482 h 7458372"/>
              <a:gd name="connsiteX38449" fmla="*/ 3742608 w 10505529"/>
              <a:gd name="connsiteY38449" fmla="*/ 900024 h 7458372"/>
              <a:gd name="connsiteX38450" fmla="*/ 3741544 w 10505529"/>
              <a:gd name="connsiteY38450" fmla="*/ 894831 h 7458372"/>
              <a:gd name="connsiteX38451" fmla="*/ 3738880 w 10505529"/>
              <a:gd name="connsiteY38451" fmla="*/ 890705 h 7458372"/>
              <a:gd name="connsiteX38452" fmla="*/ 3734888 w 10505529"/>
              <a:gd name="connsiteY38452" fmla="*/ 888042 h 7458372"/>
              <a:gd name="connsiteX38453" fmla="*/ 3729829 w 10505529"/>
              <a:gd name="connsiteY38453" fmla="*/ 887111 h 7458372"/>
              <a:gd name="connsiteX38454" fmla="*/ 4165068 w 10505529"/>
              <a:gd name="connsiteY38454" fmla="*/ 887111 h 7458372"/>
              <a:gd name="connsiteX38455" fmla="*/ 4155084 w 10505529"/>
              <a:gd name="connsiteY38455" fmla="*/ 890705 h 7458372"/>
              <a:gd name="connsiteX38456" fmla="*/ 4151490 w 10505529"/>
              <a:gd name="connsiteY38456" fmla="*/ 900156 h 7458372"/>
              <a:gd name="connsiteX38457" fmla="*/ 4155084 w 10505529"/>
              <a:gd name="connsiteY38457" fmla="*/ 909607 h 7458372"/>
              <a:gd name="connsiteX38458" fmla="*/ 4165068 w 10505529"/>
              <a:gd name="connsiteY38458" fmla="*/ 913068 h 7458372"/>
              <a:gd name="connsiteX38459" fmla="*/ 4170392 w 10505529"/>
              <a:gd name="connsiteY38459" fmla="*/ 912003 h 7458372"/>
              <a:gd name="connsiteX38460" fmla="*/ 4174119 w 10505529"/>
              <a:gd name="connsiteY38460" fmla="*/ 909607 h 7458372"/>
              <a:gd name="connsiteX38461" fmla="*/ 4176782 w 10505529"/>
              <a:gd name="connsiteY38461" fmla="*/ 905481 h 7458372"/>
              <a:gd name="connsiteX38462" fmla="*/ 4177847 w 10505529"/>
              <a:gd name="connsiteY38462" fmla="*/ 900023 h 7458372"/>
              <a:gd name="connsiteX38463" fmla="*/ 4176782 w 10505529"/>
              <a:gd name="connsiteY38463" fmla="*/ 894831 h 7458372"/>
              <a:gd name="connsiteX38464" fmla="*/ 4174119 w 10505529"/>
              <a:gd name="connsiteY38464" fmla="*/ 890705 h 7458372"/>
              <a:gd name="connsiteX38465" fmla="*/ 4170126 w 10505529"/>
              <a:gd name="connsiteY38465" fmla="*/ 888042 h 7458372"/>
              <a:gd name="connsiteX38466" fmla="*/ 4165068 w 10505529"/>
              <a:gd name="connsiteY38466" fmla="*/ 887111 h 7458372"/>
              <a:gd name="connsiteX38467" fmla="*/ 3947477 w 10505529"/>
              <a:gd name="connsiteY38467" fmla="*/ 887111 h 7458372"/>
              <a:gd name="connsiteX38468" fmla="*/ 3937494 w 10505529"/>
              <a:gd name="connsiteY38468" fmla="*/ 890705 h 7458372"/>
              <a:gd name="connsiteX38469" fmla="*/ 3933899 w 10505529"/>
              <a:gd name="connsiteY38469" fmla="*/ 900156 h 7458372"/>
              <a:gd name="connsiteX38470" fmla="*/ 3937494 w 10505529"/>
              <a:gd name="connsiteY38470" fmla="*/ 909608 h 7458372"/>
              <a:gd name="connsiteX38471" fmla="*/ 3947477 w 10505529"/>
              <a:gd name="connsiteY38471" fmla="*/ 913069 h 7458372"/>
              <a:gd name="connsiteX38472" fmla="*/ 3952802 w 10505529"/>
              <a:gd name="connsiteY38472" fmla="*/ 912004 h 7458372"/>
              <a:gd name="connsiteX38473" fmla="*/ 3956529 w 10505529"/>
              <a:gd name="connsiteY38473" fmla="*/ 909608 h 7458372"/>
              <a:gd name="connsiteX38474" fmla="*/ 3959192 w 10505529"/>
              <a:gd name="connsiteY38474" fmla="*/ 905482 h 7458372"/>
              <a:gd name="connsiteX38475" fmla="*/ 3960257 w 10505529"/>
              <a:gd name="connsiteY38475" fmla="*/ 900023 h 7458372"/>
              <a:gd name="connsiteX38476" fmla="*/ 3959192 w 10505529"/>
              <a:gd name="connsiteY38476" fmla="*/ 894831 h 7458372"/>
              <a:gd name="connsiteX38477" fmla="*/ 3956529 w 10505529"/>
              <a:gd name="connsiteY38477" fmla="*/ 890705 h 7458372"/>
              <a:gd name="connsiteX38478" fmla="*/ 3952536 w 10505529"/>
              <a:gd name="connsiteY38478" fmla="*/ 888042 h 7458372"/>
              <a:gd name="connsiteX38479" fmla="*/ 3947477 w 10505529"/>
              <a:gd name="connsiteY38479" fmla="*/ 887111 h 7458372"/>
              <a:gd name="connsiteX38480" fmla="*/ 4600226 w 10505529"/>
              <a:gd name="connsiteY38480" fmla="*/ 887111 h 7458372"/>
              <a:gd name="connsiteX38481" fmla="*/ 4590242 w 10505529"/>
              <a:gd name="connsiteY38481" fmla="*/ 890705 h 7458372"/>
              <a:gd name="connsiteX38482" fmla="*/ 4586648 w 10505529"/>
              <a:gd name="connsiteY38482" fmla="*/ 900156 h 7458372"/>
              <a:gd name="connsiteX38483" fmla="*/ 4590242 w 10505529"/>
              <a:gd name="connsiteY38483" fmla="*/ 909607 h 7458372"/>
              <a:gd name="connsiteX38484" fmla="*/ 4600226 w 10505529"/>
              <a:gd name="connsiteY38484" fmla="*/ 913068 h 7458372"/>
              <a:gd name="connsiteX38485" fmla="*/ 4605550 w 10505529"/>
              <a:gd name="connsiteY38485" fmla="*/ 912003 h 7458372"/>
              <a:gd name="connsiteX38486" fmla="*/ 4609277 w 10505529"/>
              <a:gd name="connsiteY38486" fmla="*/ 909607 h 7458372"/>
              <a:gd name="connsiteX38487" fmla="*/ 4611940 w 10505529"/>
              <a:gd name="connsiteY38487" fmla="*/ 905481 h 7458372"/>
              <a:gd name="connsiteX38488" fmla="*/ 4613005 w 10505529"/>
              <a:gd name="connsiteY38488" fmla="*/ 900023 h 7458372"/>
              <a:gd name="connsiteX38489" fmla="*/ 4611940 w 10505529"/>
              <a:gd name="connsiteY38489" fmla="*/ 894831 h 7458372"/>
              <a:gd name="connsiteX38490" fmla="*/ 4609277 w 10505529"/>
              <a:gd name="connsiteY38490" fmla="*/ 890705 h 7458372"/>
              <a:gd name="connsiteX38491" fmla="*/ 4605284 w 10505529"/>
              <a:gd name="connsiteY38491" fmla="*/ 888042 h 7458372"/>
              <a:gd name="connsiteX38492" fmla="*/ 4600226 w 10505529"/>
              <a:gd name="connsiteY38492" fmla="*/ 887111 h 7458372"/>
              <a:gd name="connsiteX38493" fmla="*/ 4382713 w 10505529"/>
              <a:gd name="connsiteY38493" fmla="*/ 887111 h 7458372"/>
              <a:gd name="connsiteX38494" fmla="*/ 4372730 w 10505529"/>
              <a:gd name="connsiteY38494" fmla="*/ 890705 h 7458372"/>
              <a:gd name="connsiteX38495" fmla="*/ 4369136 w 10505529"/>
              <a:gd name="connsiteY38495" fmla="*/ 900156 h 7458372"/>
              <a:gd name="connsiteX38496" fmla="*/ 4372730 w 10505529"/>
              <a:gd name="connsiteY38496" fmla="*/ 909607 h 7458372"/>
              <a:gd name="connsiteX38497" fmla="*/ 4382713 w 10505529"/>
              <a:gd name="connsiteY38497" fmla="*/ 913068 h 7458372"/>
              <a:gd name="connsiteX38498" fmla="*/ 4388038 w 10505529"/>
              <a:gd name="connsiteY38498" fmla="*/ 912003 h 7458372"/>
              <a:gd name="connsiteX38499" fmla="*/ 4391765 w 10505529"/>
              <a:gd name="connsiteY38499" fmla="*/ 909607 h 7458372"/>
              <a:gd name="connsiteX38500" fmla="*/ 4394428 w 10505529"/>
              <a:gd name="connsiteY38500" fmla="*/ 905481 h 7458372"/>
              <a:gd name="connsiteX38501" fmla="*/ 4395493 w 10505529"/>
              <a:gd name="connsiteY38501" fmla="*/ 900023 h 7458372"/>
              <a:gd name="connsiteX38502" fmla="*/ 4394428 w 10505529"/>
              <a:gd name="connsiteY38502" fmla="*/ 894831 h 7458372"/>
              <a:gd name="connsiteX38503" fmla="*/ 4391765 w 10505529"/>
              <a:gd name="connsiteY38503" fmla="*/ 890705 h 7458372"/>
              <a:gd name="connsiteX38504" fmla="*/ 4387772 w 10505529"/>
              <a:gd name="connsiteY38504" fmla="*/ 888042 h 7458372"/>
              <a:gd name="connsiteX38505" fmla="*/ 4382713 w 10505529"/>
              <a:gd name="connsiteY38505" fmla="*/ 887111 h 7458372"/>
              <a:gd name="connsiteX38506" fmla="*/ 5035515 w 10505529"/>
              <a:gd name="connsiteY38506" fmla="*/ 887111 h 7458372"/>
              <a:gd name="connsiteX38507" fmla="*/ 5025532 w 10505529"/>
              <a:gd name="connsiteY38507" fmla="*/ 890705 h 7458372"/>
              <a:gd name="connsiteX38508" fmla="*/ 5021938 w 10505529"/>
              <a:gd name="connsiteY38508" fmla="*/ 900156 h 7458372"/>
              <a:gd name="connsiteX38509" fmla="*/ 5025532 w 10505529"/>
              <a:gd name="connsiteY38509" fmla="*/ 909607 h 7458372"/>
              <a:gd name="connsiteX38510" fmla="*/ 5035515 w 10505529"/>
              <a:gd name="connsiteY38510" fmla="*/ 913068 h 7458372"/>
              <a:gd name="connsiteX38511" fmla="*/ 5040840 w 10505529"/>
              <a:gd name="connsiteY38511" fmla="*/ 912003 h 7458372"/>
              <a:gd name="connsiteX38512" fmla="*/ 5044567 w 10505529"/>
              <a:gd name="connsiteY38512" fmla="*/ 909607 h 7458372"/>
              <a:gd name="connsiteX38513" fmla="*/ 5047230 w 10505529"/>
              <a:gd name="connsiteY38513" fmla="*/ 905481 h 7458372"/>
              <a:gd name="connsiteX38514" fmla="*/ 5048294 w 10505529"/>
              <a:gd name="connsiteY38514" fmla="*/ 900023 h 7458372"/>
              <a:gd name="connsiteX38515" fmla="*/ 5047230 w 10505529"/>
              <a:gd name="connsiteY38515" fmla="*/ 894831 h 7458372"/>
              <a:gd name="connsiteX38516" fmla="*/ 5044567 w 10505529"/>
              <a:gd name="connsiteY38516" fmla="*/ 890705 h 7458372"/>
              <a:gd name="connsiteX38517" fmla="*/ 5040574 w 10505529"/>
              <a:gd name="connsiteY38517" fmla="*/ 888042 h 7458372"/>
              <a:gd name="connsiteX38518" fmla="*/ 5035515 w 10505529"/>
              <a:gd name="connsiteY38518" fmla="*/ 887111 h 7458372"/>
              <a:gd name="connsiteX38519" fmla="*/ 4817870 w 10505529"/>
              <a:gd name="connsiteY38519" fmla="*/ 887111 h 7458372"/>
              <a:gd name="connsiteX38520" fmla="*/ 4807887 w 10505529"/>
              <a:gd name="connsiteY38520" fmla="*/ 890705 h 7458372"/>
              <a:gd name="connsiteX38521" fmla="*/ 4804293 w 10505529"/>
              <a:gd name="connsiteY38521" fmla="*/ 900156 h 7458372"/>
              <a:gd name="connsiteX38522" fmla="*/ 4807887 w 10505529"/>
              <a:gd name="connsiteY38522" fmla="*/ 909607 h 7458372"/>
              <a:gd name="connsiteX38523" fmla="*/ 4817870 w 10505529"/>
              <a:gd name="connsiteY38523" fmla="*/ 913068 h 7458372"/>
              <a:gd name="connsiteX38524" fmla="*/ 4823195 w 10505529"/>
              <a:gd name="connsiteY38524" fmla="*/ 912003 h 7458372"/>
              <a:gd name="connsiteX38525" fmla="*/ 4826922 w 10505529"/>
              <a:gd name="connsiteY38525" fmla="*/ 909607 h 7458372"/>
              <a:gd name="connsiteX38526" fmla="*/ 4829585 w 10505529"/>
              <a:gd name="connsiteY38526" fmla="*/ 905481 h 7458372"/>
              <a:gd name="connsiteX38527" fmla="*/ 4830650 w 10505529"/>
              <a:gd name="connsiteY38527" fmla="*/ 900023 h 7458372"/>
              <a:gd name="connsiteX38528" fmla="*/ 4829585 w 10505529"/>
              <a:gd name="connsiteY38528" fmla="*/ 894831 h 7458372"/>
              <a:gd name="connsiteX38529" fmla="*/ 4826922 w 10505529"/>
              <a:gd name="connsiteY38529" fmla="*/ 890705 h 7458372"/>
              <a:gd name="connsiteX38530" fmla="*/ 4822929 w 10505529"/>
              <a:gd name="connsiteY38530" fmla="*/ 888042 h 7458372"/>
              <a:gd name="connsiteX38531" fmla="*/ 4817870 w 10505529"/>
              <a:gd name="connsiteY38531" fmla="*/ 887111 h 7458372"/>
              <a:gd name="connsiteX38532" fmla="*/ 5253160 w 10505529"/>
              <a:gd name="connsiteY38532" fmla="*/ 887111 h 7458372"/>
              <a:gd name="connsiteX38533" fmla="*/ 5243177 w 10505529"/>
              <a:gd name="connsiteY38533" fmla="*/ 890705 h 7458372"/>
              <a:gd name="connsiteX38534" fmla="*/ 5239583 w 10505529"/>
              <a:gd name="connsiteY38534" fmla="*/ 900156 h 7458372"/>
              <a:gd name="connsiteX38535" fmla="*/ 5243177 w 10505529"/>
              <a:gd name="connsiteY38535" fmla="*/ 909607 h 7458372"/>
              <a:gd name="connsiteX38536" fmla="*/ 5253160 w 10505529"/>
              <a:gd name="connsiteY38536" fmla="*/ 913068 h 7458372"/>
              <a:gd name="connsiteX38537" fmla="*/ 5258485 w 10505529"/>
              <a:gd name="connsiteY38537" fmla="*/ 912003 h 7458372"/>
              <a:gd name="connsiteX38538" fmla="*/ 5262212 w 10505529"/>
              <a:gd name="connsiteY38538" fmla="*/ 909607 h 7458372"/>
              <a:gd name="connsiteX38539" fmla="*/ 5264875 w 10505529"/>
              <a:gd name="connsiteY38539" fmla="*/ 905481 h 7458372"/>
              <a:gd name="connsiteX38540" fmla="*/ 5265939 w 10505529"/>
              <a:gd name="connsiteY38540" fmla="*/ 900023 h 7458372"/>
              <a:gd name="connsiteX38541" fmla="*/ 5264875 w 10505529"/>
              <a:gd name="connsiteY38541" fmla="*/ 894831 h 7458372"/>
              <a:gd name="connsiteX38542" fmla="*/ 5262212 w 10505529"/>
              <a:gd name="connsiteY38542" fmla="*/ 890705 h 7458372"/>
              <a:gd name="connsiteX38543" fmla="*/ 5258219 w 10505529"/>
              <a:gd name="connsiteY38543" fmla="*/ 888042 h 7458372"/>
              <a:gd name="connsiteX38544" fmla="*/ 5253160 w 10505529"/>
              <a:gd name="connsiteY38544" fmla="*/ 887111 h 7458372"/>
              <a:gd name="connsiteX38545" fmla="*/ 5688451 w 10505529"/>
              <a:gd name="connsiteY38545" fmla="*/ 887110 h 7458372"/>
              <a:gd name="connsiteX38546" fmla="*/ 5678467 w 10505529"/>
              <a:gd name="connsiteY38546" fmla="*/ 890705 h 7458372"/>
              <a:gd name="connsiteX38547" fmla="*/ 5674873 w 10505529"/>
              <a:gd name="connsiteY38547" fmla="*/ 900156 h 7458372"/>
              <a:gd name="connsiteX38548" fmla="*/ 5678467 w 10505529"/>
              <a:gd name="connsiteY38548" fmla="*/ 909607 h 7458372"/>
              <a:gd name="connsiteX38549" fmla="*/ 5688451 w 10505529"/>
              <a:gd name="connsiteY38549" fmla="*/ 913068 h 7458372"/>
              <a:gd name="connsiteX38550" fmla="*/ 5693775 w 10505529"/>
              <a:gd name="connsiteY38550" fmla="*/ 912003 h 7458372"/>
              <a:gd name="connsiteX38551" fmla="*/ 5697502 w 10505529"/>
              <a:gd name="connsiteY38551" fmla="*/ 909607 h 7458372"/>
              <a:gd name="connsiteX38552" fmla="*/ 5700165 w 10505529"/>
              <a:gd name="connsiteY38552" fmla="*/ 905481 h 7458372"/>
              <a:gd name="connsiteX38553" fmla="*/ 5701230 w 10505529"/>
              <a:gd name="connsiteY38553" fmla="*/ 900023 h 7458372"/>
              <a:gd name="connsiteX38554" fmla="*/ 5700165 w 10505529"/>
              <a:gd name="connsiteY38554" fmla="*/ 894831 h 7458372"/>
              <a:gd name="connsiteX38555" fmla="*/ 5697502 w 10505529"/>
              <a:gd name="connsiteY38555" fmla="*/ 890705 h 7458372"/>
              <a:gd name="connsiteX38556" fmla="*/ 5693509 w 10505529"/>
              <a:gd name="connsiteY38556" fmla="*/ 888041 h 7458372"/>
              <a:gd name="connsiteX38557" fmla="*/ 5688451 w 10505529"/>
              <a:gd name="connsiteY38557" fmla="*/ 887110 h 7458372"/>
              <a:gd name="connsiteX38558" fmla="*/ 5470806 w 10505529"/>
              <a:gd name="connsiteY38558" fmla="*/ 887110 h 7458372"/>
              <a:gd name="connsiteX38559" fmla="*/ 5460822 w 10505529"/>
              <a:gd name="connsiteY38559" fmla="*/ 890705 h 7458372"/>
              <a:gd name="connsiteX38560" fmla="*/ 5457228 w 10505529"/>
              <a:gd name="connsiteY38560" fmla="*/ 900156 h 7458372"/>
              <a:gd name="connsiteX38561" fmla="*/ 5460822 w 10505529"/>
              <a:gd name="connsiteY38561" fmla="*/ 909607 h 7458372"/>
              <a:gd name="connsiteX38562" fmla="*/ 5470806 w 10505529"/>
              <a:gd name="connsiteY38562" fmla="*/ 913068 h 7458372"/>
              <a:gd name="connsiteX38563" fmla="*/ 5476130 w 10505529"/>
              <a:gd name="connsiteY38563" fmla="*/ 912003 h 7458372"/>
              <a:gd name="connsiteX38564" fmla="*/ 5479857 w 10505529"/>
              <a:gd name="connsiteY38564" fmla="*/ 909607 h 7458372"/>
              <a:gd name="connsiteX38565" fmla="*/ 5482520 w 10505529"/>
              <a:gd name="connsiteY38565" fmla="*/ 905481 h 7458372"/>
              <a:gd name="connsiteX38566" fmla="*/ 5483585 w 10505529"/>
              <a:gd name="connsiteY38566" fmla="*/ 900023 h 7458372"/>
              <a:gd name="connsiteX38567" fmla="*/ 5482520 w 10505529"/>
              <a:gd name="connsiteY38567" fmla="*/ 894831 h 7458372"/>
              <a:gd name="connsiteX38568" fmla="*/ 5479857 w 10505529"/>
              <a:gd name="connsiteY38568" fmla="*/ 890705 h 7458372"/>
              <a:gd name="connsiteX38569" fmla="*/ 5475864 w 10505529"/>
              <a:gd name="connsiteY38569" fmla="*/ 888042 h 7458372"/>
              <a:gd name="connsiteX38570" fmla="*/ 5470806 w 10505529"/>
              <a:gd name="connsiteY38570" fmla="*/ 887110 h 7458372"/>
              <a:gd name="connsiteX38571" fmla="*/ 6123608 w 10505529"/>
              <a:gd name="connsiteY38571" fmla="*/ 887110 h 7458372"/>
              <a:gd name="connsiteX38572" fmla="*/ 6113624 w 10505529"/>
              <a:gd name="connsiteY38572" fmla="*/ 890704 h 7458372"/>
              <a:gd name="connsiteX38573" fmla="*/ 6110030 w 10505529"/>
              <a:gd name="connsiteY38573" fmla="*/ 900156 h 7458372"/>
              <a:gd name="connsiteX38574" fmla="*/ 6113624 w 10505529"/>
              <a:gd name="connsiteY38574" fmla="*/ 909606 h 7458372"/>
              <a:gd name="connsiteX38575" fmla="*/ 6123608 w 10505529"/>
              <a:gd name="connsiteY38575" fmla="*/ 913068 h 7458372"/>
              <a:gd name="connsiteX38576" fmla="*/ 6128932 w 10505529"/>
              <a:gd name="connsiteY38576" fmla="*/ 912003 h 7458372"/>
              <a:gd name="connsiteX38577" fmla="*/ 6132659 w 10505529"/>
              <a:gd name="connsiteY38577" fmla="*/ 909606 h 7458372"/>
              <a:gd name="connsiteX38578" fmla="*/ 6135322 w 10505529"/>
              <a:gd name="connsiteY38578" fmla="*/ 905480 h 7458372"/>
              <a:gd name="connsiteX38579" fmla="*/ 6136387 w 10505529"/>
              <a:gd name="connsiteY38579" fmla="*/ 900023 h 7458372"/>
              <a:gd name="connsiteX38580" fmla="*/ 6135322 w 10505529"/>
              <a:gd name="connsiteY38580" fmla="*/ 894830 h 7458372"/>
              <a:gd name="connsiteX38581" fmla="*/ 6132659 w 10505529"/>
              <a:gd name="connsiteY38581" fmla="*/ 890704 h 7458372"/>
              <a:gd name="connsiteX38582" fmla="*/ 6128666 w 10505529"/>
              <a:gd name="connsiteY38582" fmla="*/ 888041 h 7458372"/>
              <a:gd name="connsiteX38583" fmla="*/ 6123608 w 10505529"/>
              <a:gd name="connsiteY38583" fmla="*/ 887110 h 7458372"/>
              <a:gd name="connsiteX38584" fmla="*/ 5905963 w 10505529"/>
              <a:gd name="connsiteY38584" fmla="*/ 887110 h 7458372"/>
              <a:gd name="connsiteX38585" fmla="*/ 5895979 w 10505529"/>
              <a:gd name="connsiteY38585" fmla="*/ 890704 h 7458372"/>
              <a:gd name="connsiteX38586" fmla="*/ 5892385 w 10505529"/>
              <a:gd name="connsiteY38586" fmla="*/ 900156 h 7458372"/>
              <a:gd name="connsiteX38587" fmla="*/ 5895979 w 10505529"/>
              <a:gd name="connsiteY38587" fmla="*/ 909607 h 7458372"/>
              <a:gd name="connsiteX38588" fmla="*/ 5905963 w 10505529"/>
              <a:gd name="connsiteY38588" fmla="*/ 913068 h 7458372"/>
              <a:gd name="connsiteX38589" fmla="*/ 5911287 w 10505529"/>
              <a:gd name="connsiteY38589" fmla="*/ 912003 h 7458372"/>
              <a:gd name="connsiteX38590" fmla="*/ 5915014 w 10505529"/>
              <a:gd name="connsiteY38590" fmla="*/ 909607 h 7458372"/>
              <a:gd name="connsiteX38591" fmla="*/ 5917677 w 10505529"/>
              <a:gd name="connsiteY38591" fmla="*/ 905481 h 7458372"/>
              <a:gd name="connsiteX38592" fmla="*/ 5918742 w 10505529"/>
              <a:gd name="connsiteY38592" fmla="*/ 900023 h 7458372"/>
              <a:gd name="connsiteX38593" fmla="*/ 5917677 w 10505529"/>
              <a:gd name="connsiteY38593" fmla="*/ 894830 h 7458372"/>
              <a:gd name="connsiteX38594" fmla="*/ 5915014 w 10505529"/>
              <a:gd name="connsiteY38594" fmla="*/ 890704 h 7458372"/>
              <a:gd name="connsiteX38595" fmla="*/ 5911021 w 10505529"/>
              <a:gd name="connsiteY38595" fmla="*/ 888041 h 7458372"/>
              <a:gd name="connsiteX38596" fmla="*/ 5905963 w 10505529"/>
              <a:gd name="connsiteY38596" fmla="*/ 887110 h 7458372"/>
              <a:gd name="connsiteX38597" fmla="*/ 6341253 w 10505529"/>
              <a:gd name="connsiteY38597" fmla="*/ 887110 h 7458372"/>
              <a:gd name="connsiteX38598" fmla="*/ 6331270 w 10505529"/>
              <a:gd name="connsiteY38598" fmla="*/ 890704 h 7458372"/>
              <a:gd name="connsiteX38599" fmla="*/ 6327675 w 10505529"/>
              <a:gd name="connsiteY38599" fmla="*/ 900155 h 7458372"/>
              <a:gd name="connsiteX38600" fmla="*/ 6331270 w 10505529"/>
              <a:gd name="connsiteY38600" fmla="*/ 909606 h 7458372"/>
              <a:gd name="connsiteX38601" fmla="*/ 6341253 w 10505529"/>
              <a:gd name="connsiteY38601" fmla="*/ 913067 h 7458372"/>
              <a:gd name="connsiteX38602" fmla="*/ 6346578 w 10505529"/>
              <a:gd name="connsiteY38602" fmla="*/ 912003 h 7458372"/>
              <a:gd name="connsiteX38603" fmla="*/ 6350305 w 10505529"/>
              <a:gd name="connsiteY38603" fmla="*/ 909606 h 7458372"/>
              <a:gd name="connsiteX38604" fmla="*/ 6352968 w 10505529"/>
              <a:gd name="connsiteY38604" fmla="*/ 905480 h 7458372"/>
              <a:gd name="connsiteX38605" fmla="*/ 6354033 w 10505529"/>
              <a:gd name="connsiteY38605" fmla="*/ 900022 h 7458372"/>
              <a:gd name="connsiteX38606" fmla="*/ 6352968 w 10505529"/>
              <a:gd name="connsiteY38606" fmla="*/ 894830 h 7458372"/>
              <a:gd name="connsiteX38607" fmla="*/ 6350305 w 10505529"/>
              <a:gd name="connsiteY38607" fmla="*/ 890704 h 7458372"/>
              <a:gd name="connsiteX38608" fmla="*/ 6346312 w 10505529"/>
              <a:gd name="connsiteY38608" fmla="*/ 888041 h 7458372"/>
              <a:gd name="connsiteX38609" fmla="*/ 6341253 w 10505529"/>
              <a:gd name="connsiteY38609" fmla="*/ 887110 h 7458372"/>
              <a:gd name="connsiteX38610" fmla="*/ 6558899 w 10505529"/>
              <a:gd name="connsiteY38610" fmla="*/ 887110 h 7458372"/>
              <a:gd name="connsiteX38611" fmla="*/ 6548915 w 10505529"/>
              <a:gd name="connsiteY38611" fmla="*/ 890704 h 7458372"/>
              <a:gd name="connsiteX38612" fmla="*/ 6545321 w 10505529"/>
              <a:gd name="connsiteY38612" fmla="*/ 900155 h 7458372"/>
              <a:gd name="connsiteX38613" fmla="*/ 6548915 w 10505529"/>
              <a:gd name="connsiteY38613" fmla="*/ 909606 h 7458372"/>
              <a:gd name="connsiteX38614" fmla="*/ 6558899 w 10505529"/>
              <a:gd name="connsiteY38614" fmla="*/ 913067 h 7458372"/>
              <a:gd name="connsiteX38615" fmla="*/ 6564223 w 10505529"/>
              <a:gd name="connsiteY38615" fmla="*/ 912003 h 7458372"/>
              <a:gd name="connsiteX38616" fmla="*/ 6567950 w 10505529"/>
              <a:gd name="connsiteY38616" fmla="*/ 909606 h 7458372"/>
              <a:gd name="connsiteX38617" fmla="*/ 6570612 w 10505529"/>
              <a:gd name="connsiteY38617" fmla="*/ 905480 h 7458372"/>
              <a:gd name="connsiteX38618" fmla="*/ 6571677 w 10505529"/>
              <a:gd name="connsiteY38618" fmla="*/ 900022 h 7458372"/>
              <a:gd name="connsiteX38619" fmla="*/ 6570612 w 10505529"/>
              <a:gd name="connsiteY38619" fmla="*/ 894830 h 7458372"/>
              <a:gd name="connsiteX38620" fmla="*/ 6567950 w 10505529"/>
              <a:gd name="connsiteY38620" fmla="*/ 890704 h 7458372"/>
              <a:gd name="connsiteX38621" fmla="*/ 6563956 w 10505529"/>
              <a:gd name="connsiteY38621" fmla="*/ 888041 h 7458372"/>
              <a:gd name="connsiteX38622" fmla="*/ 6558899 w 10505529"/>
              <a:gd name="connsiteY38622" fmla="*/ 887110 h 7458372"/>
              <a:gd name="connsiteX38623" fmla="*/ 6776544 w 10505529"/>
              <a:gd name="connsiteY38623" fmla="*/ 887110 h 7458372"/>
              <a:gd name="connsiteX38624" fmla="*/ 6766560 w 10505529"/>
              <a:gd name="connsiteY38624" fmla="*/ 890704 h 7458372"/>
              <a:gd name="connsiteX38625" fmla="*/ 6762966 w 10505529"/>
              <a:gd name="connsiteY38625" fmla="*/ 900155 h 7458372"/>
              <a:gd name="connsiteX38626" fmla="*/ 6766560 w 10505529"/>
              <a:gd name="connsiteY38626" fmla="*/ 909606 h 7458372"/>
              <a:gd name="connsiteX38627" fmla="*/ 6776544 w 10505529"/>
              <a:gd name="connsiteY38627" fmla="*/ 913067 h 7458372"/>
              <a:gd name="connsiteX38628" fmla="*/ 6781869 w 10505529"/>
              <a:gd name="connsiteY38628" fmla="*/ 912003 h 7458372"/>
              <a:gd name="connsiteX38629" fmla="*/ 6785595 w 10505529"/>
              <a:gd name="connsiteY38629" fmla="*/ 909606 h 7458372"/>
              <a:gd name="connsiteX38630" fmla="*/ 6788258 w 10505529"/>
              <a:gd name="connsiteY38630" fmla="*/ 905480 h 7458372"/>
              <a:gd name="connsiteX38631" fmla="*/ 6789323 w 10505529"/>
              <a:gd name="connsiteY38631" fmla="*/ 900022 h 7458372"/>
              <a:gd name="connsiteX38632" fmla="*/ 6788258 w 10505529"/>
              <a:gd name="connsiteY38632" fmla="*/ 894830 h 7458372"/>
              <a:gd name="connsiteX38633" fmla="*/ 6785595 w 10505529"/>
              <a:gd name="connsiteY38633" fmla="*/ 890704 h 7458372"/>
              <a:gd name="connsiteX38634" fmla="*/ 6781602 w 10505529"/>
              <a:gd name="connsiteY38634" fmla="*/ 888041 h 7458372"/>
              <a:gd name="connsiteX38635" fmla="*/ 6776544 w 10505529"/>
              <a:gd name="connsiteY38635" fmla="*/ 887110 h 7458372"/>
              <a:gd name="connsiteX38636" fmla="*/ 7211701 w 10505529"/>
              <a:gd name="connsiteY38636" fmla="*/ 887110 h 7458372"/>
              <a:gd name="connsiteX38637" fmla="*/ 7201717 w 10505529"/>
              <a:gd name="connsiteY38637" fmla="*/ 890704 h 7458372"/>
              <a:gd name="connsiteX38638" fmla="*/ 7198123 w 10505529"/>
              <a:gd name="connsiteY38638" fmla="*/ 900155 h 7458372"/>
              <a:gd name="connsiteX38639" fmla="*/ 7201717 w 10505529"/>
              <a:gd name="connsiteY38639" fmla="*/ 909606 h 7458372"/>
              <a:gd name="connsiteX38640" fmla="*/ 7211701 w 10505529"/>
              <a:gd name="connsiteY38640" fmla="*/ 913067 h 7458372"/>
              <a:gd name="connsiteX38641" fmla="*/ 7217026 w 10505529"/>
              <a:gd name="connsiteY38641" fmla="*/ 912002 h 7458372"/>
              <a:gd name="connsiteX38642" fmla="*/ 7220752 w 10505529"/>
              <a:gd name="connsiteY38642" fmla="*/ 909606 h 7458372"/>
              <a:gd name="connsiteX38643" fmla="*/ 7223415 w 10505529"/>
              <a:gd name="connsiteY38643" fmla="*/ 905480 h 7458372"/>
              <a:gd name="connsiteX38644" fmla="*/ 7224480 w 10505529"/>
              <a:gd name="connsiteY38644" fmla="*/ 900022 h 7458372"/>
              <a:gd name="connsiteX38645" fmla="*/ 7223415 w 10505529"/>
              <a:gd name="connsiteY38645" fmla="*/ 894830 h 7458372"/>
              <a:gd name="connsiteX38646" fmla="*/ 7220752 w 10505529"/>
              <a:gd name="connsiteY38646" fmla="*/ 890704 h 7458372"/>
              <a:gd name="connsiteX38647" fmla="*/ 7216759 w 10505529"/>
              <a:gd name="connsiteY38647" fmla="*/ 888041 h 7458372"/>
              <a:gd name="connsiteX38648" fmla="*/ 7211701 w 10505529"/>
              <a:gd name="connsiteY38648" fmla="*/ 887110 h 7458372"/>
              <a:gd name="connsiteX38649" fmla="*/ 6994056 w 10505529"/>
              <a:gd name="connsiteY38649" fmla="*/ 887110 h 7458372"/>
              <a:gd name="connsiteX38650" fmla="*/ 6984072 w 10505529"/>
              <a:gd name="connsiteY38650" fmla="*/ 890704 h 7458372"/>
              <a:gd name="connsiteX38651" fmla="*/ 6980478 w 10505529"/>
              <a:gd name="connsiteY38651" fmla="*/ 900155 h 7458372"/>
              <a:gd name="connsiteX38652" fmla="*/ 6984072 w 10505529"/>
              <a:gd name="connsiteY38652" fmla="*/ 909606 h 7458372"/>
              <a:gd name="connsiteX38653" fmla="*/ 6994056 w 10505529"/>
              <a:gd name="connsiteY38653" fmla="*/ 913067 h 7458372"/>
              <a:gd name="connsiteX38654" fmla="*/ 6999380 w 10505529"/>
              <a:gd name="connsiteY38654" fmla="*/ 912002 h 7458372"/>
              <a:gd name="connsiteX38655" fmla="*/ 7003107 w 10505529"/>
              <a:gd name="connsiteY38655" fmla="*/ 909606 h 7458372"/>
              <a:gd name="connsiteX38656" fmla="*/ 7005769 w 10505529"/>
              <a:gd name="connsiteY38656" fmla="*/ 905480 h 7458372"/>
              <a:gd name="connsiteX38657" fmla="*/ 7006834 w 10505529"/>
              <a:gd name="connsiteY38657" fmla="*/ 900022 h 7458372"/>
              <a:gd name="connsiteX38658" fmla="*/ 7005769 w 10505529"/>
              <a:gd name="connsiteY38658" fmla="*/ 894830 h 7458372"/>
              <a:gd name="connsiteX38659" fmla="*/ 7003107 w 10505529"/>
              <a:gd name="connsiteY38659" fmla="*/ 890704 h 7458372"/>
              <a:gd name="connsiteX38660" fmla="*/ 6999113 w 10505529"/>
              <a:gd name="connsiteY38660" fmla="*/ 888041 h 7458372"/>
              <a:gd name="connsiteX38661" fmla="*/ 6994056 w 10505529"/>
              <a:gd name="connsiteY38661" fmla="*/ 887110 h 7458372"/>
              <a:gd name="connsiteX38662" fmla="*/ 7429345 w 10505529"/>
              <a:gd name="connsiteY38662" fmla="*/ 887110 h 7458372"/>
              <a:gd name="connsiteX38663" fmla="*/ 7419361 w 10505529"/>
              <a:gd name="connsiteY38663" fmla="*/ 890704 h 7458372"/>
              <a:gd name="connsiteX38664" fmla="*/ 7415768 w 10505529"/>
              <a:gd name="connsiteY38664" fmla="*/ 900155 h 7458372"/>
              <a:gd name="connsiteX38665" fmla="*/ 7419361 w 10505529"/>
              <a:gd name="connsiteY38665" fmla="*/ 909606 h 7458372"/>
              <a:gd name="connsiteX38666" fmla="*/ 7429345 w 10505529"/>
              <a:gd name="connsiteY38666" fmla="*/ 913067 h 7458372"/>
              <a:gd name="connsiteX38667" fmla="*/ 7434670 w 10505529"/>
              <a:gd name="connsiteY38667" fmla="*/ 912002 h 7458372"/>
              <a:gd name="connsiteX38668" fmla="*/ 7438397 w 10505529"/>
              <a:gd name="connsiteY38668" fmla="*/ 909606 h 7458372"/>
              <a:gd name="connsiteX38669" fmla="*/ 7441059 w 10505529"/>
              <a:gd name="connsiteY38669" fmla="*/ 905480 h 7458372"/>
              <a:gd name="connsiteX38670" fmla="*/ 7442124 w 10505529"/>
              <a:gd name="connsiteY38670" fmla="*/ 900022 h 7458372"/>
              <a:gd name="connsiteX38671" fmla="*/ 7441059 w 10505529"/>
              <a:gd name="connsiteY38671" fmla="*/ 894830 h 7458372"/>
              <a:gd name="connsiteX38672" fmla="*/ 7438397 w 10505529"/>
              <a:gd name="connsiteY38672" fmla="*/ 890704 h 7458372"/>
              <a:gd name="connsiteX38673" fmla="*/ 7434403 w 10505529"/>
              <a:gd name="connsiteY38673" fmla="*/ 888041 h 7458372"/>
              <a:gd name="connsiteX38674" fmla="*/ 7429345 w 10505529"/>
              <a:gd name="connsiteY38674" fmla="*/ 887110 h 7458372"/>
              <a:gd name="connsiteX38675" fmla="*/ 7864636 w 10505529"/>
              <a:gd name="connsiteY38675" fmla="*/ 887109 h 7458372"/>
              <a:gd name="connsiteX38676" fmla="*/ 7854652 w 10505529"/>
              <a:gd name="connsiteY38676" fmla="*/ 890703 h 7458372"/>
              <a:gd name="connsiteX38677" fmla="*/ 7851058 w 10505529"/>
              <a:gd name="connsiteY38677" fmla="*/ 900155 h 7458372"/>
              <a:gd name="connsiteX38678" fmla="*/ 7854652 w 10505529"/>
              <a:gd name="connsiteY38678" fmla="*/ 909606 h 7458372"/>
              <a:gd name="connsiteX38679" fmla="*/ 7864636 w 10505529"/>
              <a:gd name="connsiteY38679" fmla="*/ 913067 h 7458372"/>
              <a:gd name="connsiteX38680" fmla="*/ 7869961 w 10505529"/>
              <a:gd name="connsiteY38680" fmla="*/ 912002 h 7458372"/>
              <a:gd name="connsiteX38681" fmla="*/ 7873687 w 10505529"/>
              <a:gd name="connsiteY38681" fmla="*/ 909606 h 7458372"/>
              <a:gd name="connsiteX38682" fmla="*/ 7876350 w 10505529"/>
              <a:gd name="connsiteY38682" fmla="*/ 905480 h 7458372"/>
              <a:gd name="connsiteX38683" fmla="*/ 7877282 w 10505529"/>
              <a:gd name="connsiteY38683" fmla="*/ 900022 h 7458372"/>
              <a:gd name="connsiteX38684" fmla="*/ 7876350 w 10505529"/>
              <a:gd name="connsiteY38684" fmla="*/ 894830 h 7458372"/>
              <a:gd name="connsiteX38685" fmla="*/ 7873687 w 10505529"/>
              <a:gd name="connsiteY38685" fmla="*/ 890703 h 7458372"/>
              <a:gd name="connsiteX38686" fmla="*/ 7869694 w 10505529"/>
              <a:gd name="connsiteY38686" fmla="*/ 888040 h 7458372"/>
              <a:gd name="connsiteX38687" fmla="*/ 7864636 w 10505529"/>
              <a:gd name="connsiteY38687" fmla="*/ 887109 h 7458372"/>
              <a:gd name="connsiteX38688" fmla="*/ 7646991 w 10505529"/>
              <a:gd name="connsiteY38688" fmla="*/ 887109 h 7458372"/>
              <a:gd name="connsiteX38689" fmla="*/ 7637007 w 10505529"/>
              <a:gd name="connsiteY38689" fmla="*/ 890704 h 7458372"/>
              <a:gd name="connsiteX38690" fmla="*/ 7633413 w 10505529"/>
              <a:gd name="connsiteY38690" fmla="*/ 900155 h 7458372"/>
              <a:gd name="connsiteX38691" fmla="*/ 7637007 w 10505529"/>
              <a:gd name="connsiteY38691" fmla="*/ 909606 h 7458372"/>
              <a:gd name="connsiteX38692" fmla="*/ 7646991 w 10505529"/>
              <a:gd name="connsiteY38692" fmla="*/ 913067 h 7458372"/>
              <a:gd name="connsiteX38693" fmla="*/ 7652315 w 10505529"/>
              <a:gd name="connsiteY38693" fmla="*/ 912002 h 7458372"/>
              <a:gd name="connsiteX38694" fmla="*/ 7656042 w 10505529"/>
              <a:gd name="connsiteY38694" fmla="*/ 909606 h 7458372"/>
              <a:gd name="connsiteX38695" fmla="*/ 7658705 w 10505529"/>
              <a:gd name="connsiteY38695" fmla="*/ 905480 h 7458372"/>
              <a:gd name="connsiteX38696" fmla="*/ 7659769 w 10505529"/>
              <a:gd name="connsiteY38696" fmla="*/ 900022 h 7458372"/>
              <a:gd name="connsiteX38697" fmla="*/ 7658705 w 10505529"/>
              <a:gd name="connsiteY38697" fmla="*/ 894830 h 7458372"/>
              <a:gd name="connsiteX38698" fmla="*/ 7656042 w 10505529"/>
              <a:gd name="connsiteY38698" fmla="*/ 890704 h 7458372"/>
              <a:gd name="connsiteX38699" fmla="*/ 7652049 w 10505529"/>
              <a:gd name="connsiteY38699" fmla="*/ 888041 h 7458372"/>
              <a:gd name="connsiteX38700" fmla="*/ 7646991 w 10505529"/>
              <a:gd name="connsiteY38700" fmla="*/ 887109 h 7458372"/>
              <a:gd name="connsiteX38701" fmla="*/ 8082281 w 10505529"/>
              <a:gd name="connsiteY38701" fmla="*/ 887109 h 7458372"/>
              <a:gd name="connsiteX38702" fmla="*/ 8072297 w 10505529"/>
              <a:gd name="connsiteY38702" fmla="*/ 890703 h 7458372"/>
              <a:gd name="connsiteX38703" fmla="*/ 8068703 w 10505529"/>
              <a:gd name="connsiteY38703" fmla="*/ 900155 h 7458372"/>
              <a:gd name="connsiteX38704" fmla="*/ 8072297 w 10505529"/>
              <a:gd name="connsiteY38704" fmla="*/ 909606 h 7458372"/>
              <a:gd name="connsiteX38705" fmla="*/ 8082281 w 10505529"/>
              <a:gd name="connsiteY38705" fmla="*/ 913067 h 7458372"/>
              <a:gd name="connsiteX38706" fmla="*/ 8087605 w 10505529"/>
              <a:gd name="connsiteY38706" fmla="*/ 912002 h 7458372"/>
              <a:gd name="connsiteX38707" fmla="*/ 8091332 w 10505529"/>
              <a:gd name="connsiteY38707" fmla="*/ 909606 h 7458372"/>
              <a:gd name="connsiteX38708" fmla="*/ 8093994 w 10505529"/>
              <a:gd name="connsiteY38708" fmla="*/ 905480 h 7458372"/>
              <a:gd name="connsiteX38709" fmla="*/ 8094926 w 10505529"/>
              <a:gd name="connsiteY38709" fmla="*/ 900022 h 7458372"/>
              <a:gd name="connsiteX38710" fmla="*/ 8093994 w 10505529"/>
              <a:gd name="connsiteY38710" fmla="*/ 894829 h 7458372"/>
              <a:gd name="connsiteX38711" fmla="*/ 8091332 w 10505529"/>
              <a:gd name="connsiteY38711" fmla="*/ 890703 h 7458372"/>
              <a:gd name="connsiteX38712" fmla="*/ 8087338 w 10505529"/>
              <a:gd name="connsiteY38712" fmla="*/ 888040 h 7458372"/>
              <a:gd name="connsiteX38713" fmla="*/ 8082281 w 10505529"/>
              <a:gd name="connsiteY38713" fmla="*/ 887109 h 7458372"/>
              <a:gd name="connsiteX38714" fmla="*/ 8517438 w 10505529"/>
              <a:gd name="connsiteY38714" fmla="*/ 887109 h 7458372"/>
              <a:gd name="connsiteX38715" fmla="*/ 8507453 w 10505529"/>
              <a:gd name="connsiteY38715" fmla="*/ 890703 h 7458372"/>
              <a:gd name="connsiteX38716" fmla="*/ 8503860 w 10505529"/>
              <a:gd name="connsiteY38716" fmla="*/ 900154 h 7458372"/>
              <a:gd name="connsiteX38717" fmla="*/ 8507453 w 10505529"/>
              <a:gd name="connsiteY38717" fmla="*/ 909605 h 7458372"/>
              <a:gd name="connsiteX38718" fmla="*/ 8517438 w 10505529"/>
              <a:gd name="connsiteY38718" fmla="*/ 913067 h 7458372"/>
              <a:gd name="connsiteX38719" fmla="*/ 8522763 w 10505529"/>
              <a:gd name="connsiteY38719" fmla="*/ 912002 h 7458372"/>
              <a:gd name="connsiteX38720" fmla="*/ 8526490 w 10505529"/>
              <a:gd name="connsiteY38720" fmla="*/ 909605 h 7458372"/>
              <a:gd name="connsiteX38721" fmla="*/ 8529152 w 10505529"/>
              <a:gd name="connsiteY38721" fmla="*/ 905479 h 7458372"/>
              <a:gd name="connsiteX38722" fmla="*/ 8530084 w 10505529"/>
              <a:gd name="connsiteY38722" fmla="*/ 900021 h 7458372"/>
              <a:gd name="connsiteX38723" fmla="*/ 8529152 w 10505529"/>
              <a:gd name="connsiteY38723" fmla="*/ 894829 h 7458372"/>
              <a:gd name="connsiteX38724" fmla="*/ 8526490 w 10505529"/>
              <a:gd name="connsiteY38724" fmla="*/ 890703 h 7458372"/>
              <a:gd name="connsiteX38725" fmla="*/ 8522496 w 10505529"/>
              <a:gd name="connsiteY38725" fmla="*/ 888040 h 7458372"/>
              <a:gd name="connsiteX38726" fmla="*/ 8517438 w 10505529"/>
              <a:gd name="connsiteY38726" fmla="*/ 887109 h 7458372"/>
              <a:gd name="connsiteX38727" fmla="*/ 8299793 w 10505529"/>
              <a:gd name="connsiteY38727" fmla="*/ 887109 h 7458372"/>
              <a:gd name="connsiteX38728" fmla="*/ 8289809 w 10505529"/>
              <a:gd name="connsiteY38728" fmla="*/ 890703 h 7458372"/>
              <a:gd name="connsiteX38729" fmla="*/ 8286215 w 10505529"/>
              <a:gd name="connsiteY38729" fmla="*/ 900155 h 7458372"/>
              <a:gd name="connsiteX38730" fmla="*/ 8289809 w 10505529"/>
              <a:gd name="connsiteY38730" fmla="*/ 909606 h 7458372"/>
              <a:gd name="connsiteX38731" fmla="*/ 8299793 w 10505529"/>
              <a:gd name="connsiteY38731" fmla="*/ 913067 h 7458372"/>
              <a:gd name="connsiteX38732" fmla="*/ 8305118 w 10505529"/>
              <a:gd name="connsiteY38732" fmla="*/ 912002 h 7458372"/>
              <a:gd name="connsiteX38733" fmla="*/ 8308844 w 10505529"/>
              <a:gd name="connsiteY38733" fmla="*/ 909606 h 7458372"/>
              <a:gd name="connsiteX38734" fmla="*/ 8311507 w 10505529"/>
              <a:gd name="connsiteY38734" fmla="*/ 905479 h 7458372"/>
              <a:gd name="connsiteX38735" fmla="*/ 8312439 w 10505529"/>
              <a:gd name="connsiteY38735" fmla="*/ 900022 h 7458372"/>
              <a:gd name="connsiteX38736" fmla="*/ 8311507 w 10505529"/>
              <a:gd name="connsiteY38736" fmla="*/ 894829 h 7458372"/>
              <a:gd name="connsiteX38737" fmla="*/ 8308844 w 10505529"/>
              <a:gd name="connsiteY38737" fmla="*/ 890703 h 7458372"/>
              <a:gd name="connsiteX38738" fmla="*/ 8304851 w 10505529"/>
              <a:gd name="connsiteY38738" fmla="*/ 888040 h 7458372"/>
              <a:gd name="connsiteX38739" fmla="*/ 8299793 w 10505529"/>
              <a:gd name="connsiteY38739" fmla="*/ 887109 h 7458372"/>
              <a:gd name="connsiteX38740" fmla="*/ 8735083 w 10505529"/>
              <a:gd name="connsiteY38740" fmla="*/ 887109 h 7458372"/>
              <a:gd name="connsiteX38741" fmla="*/ 8725098 w 10505529"/>
              <a:gd name="connsiteY38741" fmla="*/ 890703 h 7458372"/>
              <a:gd name="connsiteX38742" fmla="*/ 8721504 w 10505529"/>
              <a:gd name="connsiteY38742" fmla="*/ 900154 h 7458372"/>
              <a:gd name="connsiteX38743" fmla="*/ 8725098 w 10505529"/>
              <a:gd name="connsiteY38743" fmla="*/ 909605 h 7458372"/>
              <a:gd name="connsiteX38744" fmla="*/ 8735083 w 10505529"/>
              <a:gd name="connsiteY38744" fmla="*/ 913067 h 7458372"/>
              <a:gd name="connsiteX38745" fmla="*/ 8740407 w 10505529"/>
              <a:gd name="connsiteY38745" fmla="*/ 912002 h 7458372"/>
              <a:gd name="connsiteX38746" fmla="*/ 8744134 w 10505529"/>
              <a:gd name="connsiteY38746" fmla="*/ 909605 h 7458372"/>
              <a:gd name="connsiteX38747" fmla="*/ 8746797 w 10505529"/>
              <a:gd name="connsiteY38747" fmla="*/ 905479 h 7458372"/>
              <a:gd name="connsiteX38748" fmla="*/ 8747862 w 10505529"/>
              <a:gd name="connsiteY38748" fmla="*/ 900021 h 7458372"/>
              <a:gd name="connsiteX38749" fmla="*/ 8746797 w 10505529"/>
              <a:gd name="connsiteY38749" fmla="*/ 894829 h 7458372"/>
              <a:gd name="connsiteX38750" fmla="*/ 8744134 w 10505529"/>
              <a:gd name="connsiteY38750" fmla="*/ 890703 h 7458372"/>
              <a:gd name="connsiteX38751" fmla="*/ 8740141 w 10505529"/>
              <a:gd name="connsiteY38751" fmla="*/ 888040 h 7458372"/>
              <a:gd name="connsiteX38752" fmla="*/ 8735083 w 10505529"/>
              <a:gd name="connsiteY38752" fmla="*/ 887109 h 7458372"/>
              <a:gd name="connsiteX38753" fmla="*/ 9170374 w 10505529"/>
              <a:gd name="connsiteY38753" fmla="*/ 887109 h 7458372"/>
              <a:gd name="connsiteX38754" fmla="*/ 9160389 w 10505529"/>
              <a:gd name="connsiteY38754" fmla="*/ 890703 h 7458372"/>
              <a:gd name="connsiteX38755" fmla="*/ 9156795 w 10505529"/>
              <a:gd name="connsiteY38755" fmla="*/ 900154 h 7458372"/>
              <a:gd name="connsiteX38756" fmla="*/ 9160389 w 10505529"/>
              <a:gd name="connsiteY38756" fmla="*/ 909605 h 7458372"/>
              <a:gd name="connsiteX38757" fmla="*/ 9170374 w 10505529"/>
              <a:gd name="connsiteY38757" fmla="*/ 913066 h 7458372"/>
              <a:gd name="connsiteX38758" fmla="*/ 9175698 w 10505529"/>
              <a:gd name="connsiteY38758" fmla="*/ 912001 h 7458372"/>
              <a:gd name="connsiteX38759" fmla="*/ 9179425 w 10505529"/>
              <a:gd name="connsiteY38759" fmla="*/ 909605 h 7458372"/>
              <a:gd name="connsiteX38760" fmla="*/ 9182088 w 10505529"/>
              <a:gd name="connsiteY38760" fmla="*/ 905479 h 7458372"/>
              <a:gd name="connsiteX38761" fmla="*/ 9183152 w 10505529"/>
              <a:gd name="connsiteY38761" fmla="*/ 900021 h 7458372"/>
              <a:gd name="connsiteX38762" fmla="*/ 9182088 w 10505529"/>
              <a:gd name="connsiteY38762" fmla="*/ 894829 h 7458372"/>
              <a:gd name="connsiteX38763" fmla="*/ 9179425 w 10505529"/>
              <a:gd name="connsiteY38763" fmla="*/ 890703 h 7458372"/>
              <a:gd name="connsiteX38764" fmla="*/ 9175432 w 10505529"/>
              <a:gd name="connsiteY38764" fmla="*/ 888040 h 7458372"/>
              <a:gd name="connsiteX38765" fmla="*/ 9170374 w 10505529"/>
              <a:gd name="connsiteY38765" fmla="*/ 887109 h 7458372"/>
              <a:gd name="connsiteX38766" fmla="*/ 8952728 w 10505529"/>
              <a:gd name="connsiteY38766" fmla="*/ 887109 h 7458372"/>
              <a:gd name="connsiteX38767" fmla="*/ 8942743 w 10505529"/>
              <a:gd name="connsiteY38767" fmla="*/ 890703 h 7458372"/>
              <a:gd name="connsiteX38768" fmla="*/ 8939150 w 10505529"/>
              <a:gd name="connsiteY38768" fmla="*/ 900154 h 7458372"/>
              <a:gd name="connsiteX38769" fmla="*/ 8942743 w 10505529"/>
              <a:gd name="connsiteY38769" fmla="*/ 909605 h 7458372"/>
              <a:gd name="connsiteX38770" fmla="*/ 8952728 w 10505529"/>
              <a:gd name="connsiteY38770" fmla="*/ 913066 h 7458372"/>
              <a:gd name="connsiteX38771" fmla="*/ 8958053 w 10505529"/>
              <a:gd name="connsiteY38771" fmla="*/ 912001 h 7458372"/>
              <a:gd name="connsiteX38772" fmla="*/ 8961780 w 10505529"/>
              <a:gd name="connsiteY38772" fmla="*/ 909605 h 7458372"/>
              <a:gd name="connsiteX38773" fmla="*/ 8964442 w 10505529"/>
              <a:gd name="connsiteY38773" fmla="*/ 905479 h 7458372"/>
              <a:gd name="connsiteX38774" fmla="*/ 8965507 w 10505529"/>
              <a:gd name="connsiteY38774" fmla="*/ 900021 h 7458372"/>
              <a:gd name="connsiteX38775" fmla="*/ 8964442 w 10505529"/>
              <a:gd name="connsiteY38775" fmla="*/ 894829 h 7458372"/>
              <a:gd name="connsiteX38776" fmla="*/ 8961780 w 10505529"/>
              <a:gd name="connsiteY38776" fmla="*/ 890703 h 7458372"/>
              <a:gd name="connsiteX38777" fmla="*/ 8957786 w 10505529"/>
              <a:gd name="connsiteY38777" fmla="*/ 888040 h 7458372"/>
              <a:gd name="connsiteX38778" fmla="*/ 8952728 w 10505529"/>
              <a:gd name="connsiteY38778" fmla="*/ 887109 h 7458372"/>
              <a:gd name="connsiteX38779" fmla="*/ 9387885 w 10505529"/>
              <a:gd name="connsiteY38779" fmla="*/ 887109 h 7458372"/>
              <a:gd name="connsiteX38780" fmla="*/ 9377900 w 10505529"/>
              <a:gd name="connsiteY38780" fmla="*/ 890703 h 7458372"/>
              <a:gd name="connsiteX38781" fmla="*/ 9374307 w 10505529"/>
              <a:gd name="connsiteY38781" fmla="*/ 900154 h 7458372"/>
              <a:gd name="connsiteX38782" fmla="*/ 9377900 w 10505529"/>
              <a:gd name="connsiteY38782" fmla="*/ 909605 h 7458372"/>
              <a:gd name="connsiteX38783" fmla="*/ 9387885 w 10505529"/>
              <a:gd name="connsiteY38783" fmla="*/ 913066 h 7458372"/>
              <a:gd name="connsiteX38784" fmla="*/ 9393210 w 10505529"/>
              <a:gd name="connsiteY38784" fmla="*/ 912001 h 7458372"/>
              <a:gd name="connsiteX38785" fmla="*/ 9396937 w 10505529"/>
              <a:gd name="connsiteY38785" fmla="*/ 909605 h 7458372"/>
              <a:gd name="connsiteX38786" fmla="*/ 9399599 w 10505529"/>
              <a:gd name="connsiteY38786" fmla="*/ 905479 h 7458372"/>
              <a:gd name="connsiteX38787" fmla="*/ 9400664 w 10505529"/>
              <a:gd name="connsiteY38787" fmla="*/ 900021 h 7458372"/>
              <a:gd name="connsiteX38788" fmla="*/ 9399599 w 10505529"/>
              <a:gd name="connsiteY38788" fmla="*/ 894829 h 7458372"/>
              <a:gd name="connsiteX38789" fmla="*/ 9396937 w 10505529"/>
              <a:gd name="connsiteY38789" fmla="*/ 890703 h 7458372"/>
              <a:gd name="connsiteX38790" fmla="*/ 9392943 w 10505529"/>
              <a:gd name="connsiteY38790" fmla="*/ 888040 h 7458372"/>
              <a:gd name="connsiteX38791" fmla="*/ 9387885 w 10505529"/>
              <a:gd name="connsiteY38791" fmla="*/ 887109 h 7458372"/>
              <a:gd name="connsiteX38792" fmla="*/ 10040820 w 10505529"/>
              <a:gd name="connsiteY38792" fmla="*/ 887109 h 7458372"/>
              <a:gd name="connsiteX38793" fmla="*/ 10030835 w 10505529"/>
              <a:gd name="connsiteY38793" fmla="*/ 890703 h 7458372"/>
              <a:gd name="connsiteX38794" fmla="*/ 10027242 w 10505529"/>
              <a:gd name="connsiteY38794" fmla="*/ 900154 h 7458372"/>
              <a:gd name="connsiteX38795" fmla="*/ 10030835 w 10505529"/>
              <a:gd name="connsiteY38795" fmla="*/ 909605 h 7458372"/>
              <a:gd name="connsiteX38796" fmla="*/ 10040820 w 10505529"/>
              <a:gd name="connsiteY38796" fmla="*/ 913066 h 7458372"/>
              <a:gd name="connsiteX38797" fmla="*/ 10046145 w 10505529"/>
              <a:gd name="connsiteY38797" fmla="*/ 912001 h 7458372"/>
              <a:gd name="connsiteX38798" fmla="*/ 10049872 w 10505529"/>
              <a:gd name="connsiteY38798" fmla="*/ 909605 h 7458372"/>
              <a:gd name="connsiteX38799" fmla="*/ 10052534 w 10505529"/>
              <a:gd name="connsiteY38799" fmla="*/ 905479 h 7458372"/>
              <a:gd name="connsiteX38800" fmla="*/ 10053599 w 10505529"/>
              <a:gd name="connsiteY38800" fmla="*/ 900021 h 7458372"/>
              <a:gd name="connsiteX38801" fmla="*/ 10052534 w 10505529"/>
              <a:gd name="connsiteY38801" fmla="*/ 894829 h 7458372"/>
              <a:gd name="connsiteX38802" fmla="*/ 10049872 w 10505529"/>
              <a:gd name="connsiteY38802" fmla="*/ 890703 h 7458372"/>
              <a:gd name="connsiteX38803" fmla="*/ 10045878 w 10505529"/>
              <a:gd name="connsiteY38803" fmla="*/ 888039 h 7458372"/>
              <a:gd name="connsiteX38804" fmla="*/ 10040820 w 10505529"/>
              <a:gd name="connsiteY38804" fmla="*/ 887109 h 7458372"/>
              <a:gd name="connsiteX38805" fmla="*/ 9823176 w 10505529"/>
              <a:gd name="connsiteY38805" fmla="*/ 887109 h 7458372"/>
              <a:gd name="connsiteX38806" fmla="*/ 9813191 w 10505529"/>
              <a:gd name="connsiteY38806" fmla="*/ 890703 h 7458372"/>
              <a:gd name="connsiteX38807" fmla="*/ 9809597 w 10505529"/>
              <a:gd name="connsiteY38807" fmla="*/ 900154 h 7458372"/>
              <a:gd name="connsiteX38808" fmla="*/ 9813191 w 10505529"/>
              <a:gd name="connsiteY38808" fmla="*/ 909605 h 7458372"/>
              <a:gd name="connsiteX38809" fmla="*/ 9823176 w 10505529"/>
              <a:gd name="connsiteY38809" fmla="*/ 913066 h 7458372"/>
              <a:gd name="connsiteX38810" fmla="*/ 9828501 w 10505529"/>
              <a:gd name="connsiteY38810" fmla="*/ 912001 h 7458372"/>
              <a:gd name="connsiteX38811" fmla="*/ 9832227 w 10505529"/>
              <a:gd name="connsiteY38811" fmla="*/ 909605 h 7458372"/>
              <a:gd name="connsiteX38812" fmla="*/ 9834890 w 10505529"/>
              <a:gd name="connsiteY38812" fmla="*/ 905479 h 7458372"/>
              <a:gd name="connsiteX38813" fmla="*/ 9835955 w 10505529"/>
              <a:gd name="connsiteY38813" fmla="*/ 900021 h 7458372"/>
              <a:gd name="connsiteX38814" fmla="*/ 9834890 w 10505529"/>
              <a:gd name="connsiteY38814" fmla="*/ 894829 h 7458372"/>
              <a:gd name="connsiteX38815" fmla="*/ 9832227 w 10505529"/>
              <a:gd name="connsiteY38815" fmla="*/ 890703 h 7458372"/>
              <a:gd name="connsiteX38816" fmla="*/ 9828234 w 10505529"/>
              <a:gd name="connsiteY38816" fmla="*/ 888040 h 7458372"/>
              <a:gd name="connsiteX38817" fmla="*/ 9823176 w 10505529"/>
              <a:gd name="connsiteY38817" fmla="*/ 887109 h 7458372"/>
              <a:gd name="connsiteX38818" fmla="*/ 9605531 w 10505529"/>
              <a:gd name="connsiteY38818" fmla="*/ 887109 h 7458372"/>
              <a:gd name="connsiteX38819" fmla="*/ 9595546 w 10505529"/>
              <a:gd name="connsiteY38819" fmla="*/ 890703 h 7458372"/>
              <a:gd name="connsiteX38820" fmla="*/ 9591952 w 10505529"/>
              <a:gd name="connsiteY38820" fmla="*/ 900154 h 7458372"/>
              <a:gd name="connsiteX38821" fmla="*/ 9595546 w 10505529"/>
              <a:gd name="connsiteY38821" fmla="*/ 909605 h 7458372"/>
              <a:gd name="connsiteX38822" fmla="*/ 9605531 w 10505529"/>
              <a:gd name="connsiteY38822" fmla="*/ 913066 h 7458372"/>
              <a:gd name="connsiteX38823" fmla="*/ 9610855 w 10505529"/>
              <a:gd name="connsiteY38823" fmla="*/ 912001 h 7458372"/>
              <a:gd name="connsiteX38824" fmla="*/ 9614582 w 10505529"/>
              <a:gd name="connsiteY38824" fmla="*/ 909605 h 7458372"/>
              <a:gd name="connsiteX38825" fmla="*/ 9617245 w 10505529"/>
              <a:gd name="connsiteY38825" fmla="*/ 905479 h 7458372"/>
              <a:gd name="connsiteX38826" fmla="*/ 9618309 w 10505529"/>
              <a:gd name="connsiteY38826" fmla="*/ 900021 h 7458372"/>
              <a:gd name="connsiteX38827" fmla="*/ 9617245 w 10505529"/>
              <a:gd name="connsiteY38827" fmla="*/ 894829 h 7458372"/>
              <a:gd name="connsiteX38828" fmla="*/ 9614582 w 10505529"/>
              <a:gd name="connsiteY38828" fmla="*/ 890703 h 7458372"/>
              <a:gd name="connsiteX38829" fmla="*/ 9610589 w 10505529"/>
              <a:gd name="connsiteY38829" fmla="*/ 888040 h 7458372"/>
              <a:gd name="connsiteX38830" fmla="*/ 9605531 w 10505529"/>
              <a:gd name="connsiteY38830" fmla="*/ 887109 h 7458372"/>
              <a:gd name="connsiteX38831" fmla="*/ 10258466 w 10505529"/>
              <a:gd name="connsiteY38831" fmla="*/ 887108 h 7458372"/>
              <a:gd name="connsiteX38832" fmla="*/ 10248481 w 10505529"/>
              <a:gd name="connsiteY38832" fmla="*/ 890703 h 7458372"/>
              <a:gd name="connsiteX38833" fmla="*/ 10244887 w 10505529"/>
              <a:gd name="connsiteY38833" fmla="*/ 900154 h 7458372"/>
              <a:gd name="connsiteX38834" fmla="*/ 10248481 w 10505529"/>
              <a:gd name="connsiteY38834" fmla="*/ 909605 h 7458372"/>
              <a:gd name="connsiteX38835" fmla="*/ 10258466 w 10505529"/>
              <a:gd name="connsiteY38835" fmla="*/ 913066 h 7458372"/>
              <a:gd name="connsiteX38836" fmla="*/ 10263790 w 10505529"/>
              <a:gd name="connsiteY38836" fmla="*/ 912001 h 7458372"/>
              <a:gd name="connsiteX38837" fmla="*/ 10267517 w 10505529"/>
              <a:gd name="connsiteY38837" fmla="*/ 909605 h 7458372"/>
              <a:gd name="connsiteX38838" fmla="*/ 10270180 w 10505529"/>
              <a:gd name="connsiteY38838" fmla="*/ 905479 h 7458372"/>
              <a:gd name="connsiteX38839" fmla="*/ 10271112 w 10505529"/>
              <a:gd name="connsiteY38839" fmla="*/ 900021 h 7458372"/>
              <a:gd name="connsiteX38840" fmla="*/ 10270180 w 10505529"/>
              <a:gd name="connsiteY38840" fmla="*/ 894828 h 7458372"/>
              <a:gd name="connsiteX38841" fmla="*/ 10267517 w 10505529"/>
              <a:gd name="connsiteY38841" fmla="*/ 890703 h 7458372"/>
              <a:gd name="connsiteX38842" fmla="*/ 10263524 w 10505529"/>
              <a:gd name="connsiteY38842" fmla="*/ 888039 h 7458372"/>
              <a:gd name="connsiteX38843" fmla="*/ 10258466 w 10505529"/>
              <a:gd name="connsiteY38843" fmla="*/ 887108 h 7458372"/>
              <a:gd name="connsiteX38844" fmla="*/ 10475977 w 10505529"/>
              <a:gd name="connsiteY38844" fmla="*/ 887108 h 7458372"/>
              <a:gd name="connsiteX38845" fmla="*/ 10465992 w 10505529"/>
              <a:gd name="connsiteY38845" fmla="*/ 890702 h 7458372"/>
              <a:gd name="connsiteX38846" fmla="*/ 10462399 w 10505529"/>
              <a:gd name="connsiteY38846" fmla="*/ 900153 h 7458372"/>
              <a:gd name="connsiteX38847" fmla="*/ 10465992 w 10505529"/>
              <a:gd name="connsiteY38847" fmla="*/ 909605 h 7458372"/>
              <a:gd name="connsiteX38848" fmla="*/ 10475977 w 10505529"/>
              <a:gd name="connsiteY38848" fmla="*/ 913066 h 7458372"/>
              <a:gd name="connsiteX38849" fmla="*/ 10481302 w 10505529"/>
              <a:gd name="connsiteY38849" fmla="*/ 912001 h 7458372"/>
              <a:gd name="connsiteX38850" fmla="*/ 10485029 w 10505529"/>
              <a:gd name="connsiteY38850" fmla="*/ 909605 h 7458372"/>
              <a:gd name="connsiteX38851" fmla="*/ 10487691 w 10505529"/>
              <a:gd name="connsiteY38851" fmla="*/ 905478 h 7458372"/>
              <a:gd name="connsiteX38852" fmla="*/ 10488623 w 10505529"/>
              <a:gd name="connsiteY38852" fmla="*/ 900020 h 7458372"/>
              <a:gd name="connsiteX38853" fmla="*/ 10487691 w 10505529"/>
              <a:gd name="connsiteY38853" fmla="*/ 894828 h 7458372"/>
              <a:gd name="connsiteX38854" fmla="*/ 10485029 w 10505529"/>
              <a:gd name="connsiteY38854" fmla="*/ 890702 h 7458372"/>
              <a:gd name="connsiteX38855" fmla="*/ 10481035 w 10505529"/>
              <a:gd name="connsiteY38855" fmla="*/ 888039 h 7458372"/>
              <a:gd name="connsiteX38856" fmla="*/ 10475977 w 10505529"/>
              <a:gd name="connsiteY38856" fmla="*/ 887108 h 7458372"/>
              <a:gd name="connsiteX38857" fmla="*/ 30247 w 10505529"/>
              <a:gd name="connsiteY38857" fmla="*/ 870473 h 7458372"/>
              <a:gd name="connsiteX38858" fmla="*/ 41962 w 10505529"/>
              <a:gd name="connsiteY38858" fmla="*/ 873002 h 7458372"/>
              <a:gd name="connsiteX38859" fmla="*/ 51281 w 10505529"/>
              <a:gd name="connsiteY38859" fmla="*/ 879392 h 7458372"/>
              <a:gd name="connsiteX38860" fmla="*/ 57404 w 10505529"/>
              <a:gd name="connsiteY38860" fmla="*/ 888710 h 7458372"/>
              <a:gd name="connsiteX38861" fmla="*/ 59667 w 10505529"/>
              <a:gd name="connsiteY38861" fmla="*/ 900158 h 7458372"/>
              <a:gd name="connsiteX38862" fmla="*/ 57404 w 10505529"/>
              <a:gd name="connsiteY38862" fmla="*/ 911872 h 7458372"/>
              <a:gd name="connsiteX38863" fmla="*/ 51281 w 10505529"/>
              <a:gd name="connsiteY38863" fmla="*/ 921324 h 7458372"/>
              <a:gd name="connsiteX38864" fmla="*/ 41962 w 10505529"/>
              <a:gd name="connsiteY38864" fmla="*/ 927581 h 7458372"/>
              <a:gd name="connsiteX38865" fmla="*/ 30247 w 10505529"/>
              <a:gd name="connsiteY38865" fmla="*/ 929844 h 7458372"/>
              <a:gd name="connsiteX38866" fmla="*/ 8417 w 10505529"/>
              <a:gd name="connsiteY38866" fmla="*/ 921324 h 7458372"/>
              <a:gd name="connsiteX38867" fmla="*/ 30 w 10505529"/>
              <a:gd name="connsiteY38867" fmla="*/ 900158 h 7458372"/>
              <a:gd name="connsiteX38868" fmla="*/ 8417 w 10505529"/>
              <a:gd name="connsiteY38868" fmla="*/ 879126 h 7458372"/>
              <a:gd name="connsiteX38869" fmla="*/ 30247 w 10505529"/>
              <a:gd name="connsiteY38869" fmla="*/ 870473 h 7458372"/>
              <a:gd name="connsiteX38870" fmla="*/ 247891 w 10505529"/>
              <a:gd name="connsiteY38870" fmla="*/ 870473 h 7458372"/>
              <a:gd name="connsiteX38871" fmla="*/ 259607 w 10505529"/>
              <a:gd name="connsiteY38871" fmla="*/ 873001 h 7458372"/>
              <a:gd name="connsiteX38872" fmla="*/ 268925 w 10505529"/>
              <a:gd name="connsiteY38872" fmla="*/ 879392 h 7458372"/>
              <a:gd name="connsiteX38873" fmla="*/ 275048 w 10505529"/>
              <a:gd name="connsiteY38873" fmla="*/ 888710 h 7458372"/>
              <a:gd name="connsiteX38874" fmla="*/ 277311 w 10505529"/>
              <a:gd name="connsiteY38874" fmla="*/ 900158 h 7458372"/>
              <a:gd name="connsiteX38875" fmla="*/ 275048 w 10505529"/>
              <a:gd name="connsiteY38875" fmla="*/ 911872 h 7458372"/>
              <a:gd name="connsiteX38876" fmla="*/ 268925 w 10505529"/>
              <a:gd name="connsiteY38876" fmla="*/ 921323 h 7458372"/>
              <a:gd name="connsiteX38877" fmla="*/ 259607 w 10505529"/>
              <a:gd name="connsiteY38877" fmla="*/ 927581 h 7458372"/>
              <a:gd name="connsiteX38878" fmla="*/ 247891 w 10505529"/>
              <a:gd name="connsiteY38878" fmla="*/ 929844 h 7458372"/>
              <a:gd name="connsiteX38879" fmla="*/ 226060 w 10505529"/>
              <a:gd name="connsiteY38879" fmla="*/ 921323 h 7458372"/>
              <a:gd name="connsiteX38880" fmla="*/ 217674 w 10505529"/>
              <a:gd name="connsiteY38880" fmla="*/ 900158 h 7458372"/>
              <a:gd name="connsiteX38881" fmla="*/ 226060 w 10505529"/>
              <a:gd name="connsiteY38881" fmla="*/ 879126 h 7458372"/>
              <a:gd name="connsiteX38882" fmla="*/ 247891 w 10505529"/>
              <a:gd name="connsiteY38882" fmla="*/ 870473 h 7458372"/>
              <a:gd name="connsiteX38883" fmla="*/ 683180 w 10505529"/>
              <a:gd name="connsiteY38883" fmla="*/ 870472 h 7458372"/>
              <a:gd name="connsiteX38884" fmla="*/ 694895 w 10505529"/>
              <a:gd name="connsiteY38884" fmla="*/ 873001 h 7458372"/>
              <a:gd name="connsiteX38885" fmla="*/ 704213 w 10505529"/>
              <a:gd name="connsiteY38885" fmla="*/ 879392 h 7458372"/>
              <a:gd name="connsiteX38886" fmla="*/ 710336 w 10505529"/>
              <a:gd name="connsiteY38886" fmla="*/ 888710 h 7458372"/>
              <a:gd name="connsiteX38887" fmla="*/ 712599 w 10505529"/>
              <a:gd name="connsiteY38887" fmla="*/ 900158 h 7458372"/>
              <a:gd name="connsiteX38888" fmla="*/ 710336 w 10505529"/>
              <a:gd name="connsiteY38888" fmla="*/ 911872 h 7458372"/>
              <a:gd name="connsiteX38889" fmla="*/ 704213 w 10505529"/>
              <a:gd name="connsiteY38889" fmla="*/ 921323 h 7458372"/>
              <a:gd name="connsiteX38890" fmla="*/ 694895 w 10505529"/>
              <a:gd name="connsiteY38890" fmla="*/ 927580 h 7458372"/>
              <a:gd name="connsiteX38891" fmla="*/ 683180 w 10505529"/>
              <a:gd name="connsiteY38891" fmla="*/ 929843 h 7458372"/>
              <a:gd name="connsiteX38892" fmla="*/ 661348 w 10505529"/>
              <a:gd name="connsiteY38892" fmla="*/ 921323 h 7458372"/>
              <a:gd name="connsiteX38893" fmla="*/ 652962 w 10505529"/>
              <a:gd name="connsiteY38893" fmla="*/ 900158 h 7458372"/>
              <a:gd name="connsiteX38894" fmla="*/ 661348 w 10505529"/>
              <a:gd name="connsiteY38894" fmla="*/ 879126 h 7458372"/>
              <a:gd name="connsiteX38895" fmla="*/ 683180 w 10505529"/>
              <a:gd name="connsiteY38895" fmla="*/ 870472 h 7458372"/>
              <a:gd name="connsiteX38896" fmla="*/ 465536 w 10505529"/>
              <a:gd name="connsiteY38896" fmla="*/ 870472 h 7458372"/>
              <a:gd name="connsiteX38897" fmla="*/ 477251 w 10505529"/>
              <a:gd name="connsiteY38897" fmla="*/ 873001 h 7458372"/>
              <a:gd name="connsiteX38898" fmla="*/ 486569 w 10505529"/>
              <a:gd name="connsiteY38898" fmla="*/ 879392 h 7458372"/>
              <a:gd name="connsiteX38899" fmla="*/ 492692 w 10505529"/>
              <a:gd name="connsiteY38899" fmla="*/ 888710 h 7458372"/>
              <a:gd name="connsiteX38900" fmla="*/ 494955 w 10505529"/>
              <a:gd name="connsiteY38900" fmla="*/ 900158 h 7458372"/>
              <a:gd name="connsiteX38901" fmla="*/ 492692 w 10505529"/>
              <a:gd name="connsiteY38901" fmla="*/ 911872 h 7458372"/>
              <a:gd name="connsiteX38902" fmla="*/ 486569 w 10505529"/>
              <a:gd name="connsiteY38902" fmla="*/ 921323 h 7458372"/>
              <a:gd name="connsiteX38903" fmla="*/ 477251 w 10505529"/>
              <a:gd name="connsiteY38903" fmla="*/ 927580 h 7458372"/>
              <a:gd name="connsiteX38904" fmla="*/ 465536 w 10505529"/>
              <a:gd name="connsiteY38904" fmla="*/ 929843 h 7458372"/>
              <a:gd name="connsiteX38905" fmla="*/ 443704 w 10505529"/>
              <a:gd name="connsiteY38905" fmla="*/ 921323 h 7458372"/>
              <a:gd name="connsiteX38906" fmla="*/ 435318 w 10505529"/>
              <a:gd name="connsiteY38906" fmla="*/ 900158 h 7458372"/>
              <a:gd name="connsiteX38907" fmla="*/ 443704 w 10505529"/>
              <a:gd name="connsiteY38907" fmla="*/ 879126 h 7458372"/>
              <a:gd name="connsiteX38908" fmla="*/ 465536 w 10505529"/>
              <a:gd name="connsiteY38908" fmla="*/ 870472 h 7458372"/>
              <a:gd name="connsiteX38909" fmla="*/ 900824 w 10505529"/>
              <a:gd name="connsiteY38909" fmla="*/ 870472 h 7458372"/>
              <a:gd name="connsiteX38910" fmla="*/ 912539 w 10505529"/>
              <a:gd name="connsiteY38910" fmla="*/ 873001 h 7458372"/>
              <a:gd name="connsiteX38911" fmla="*/ 921857 w 10505529"/>
              <a:gd name="connsiteY38911" fmla="*/ 879391 h 7458372"/>
              <a:gd name="connsiteX38912" fmla="*/ 927980 w 10505529"/>
              <a:gd name="connsiteY38912" fmla="*/ 888710 h 7458372"/>
              <a:gd name="connsiteX38913" fmla="*/ 930243 w 10505529"/>
              <a:gd name="connsiteY38913" fmla="*/ 900158 h 7458372"/>
              <a:gd name="connsiteX38914" fmla="*/ 927980 w 10505529"/>
              <a:gd name="connsiteY38914" fmla="*/ 911872 h 7458372"/>
              <a:gd name="connsiteX38915" fmla="*/ 921857 w 10505529"/>
              <a:gd name="connsiteY38915" fmla="*/ 921323 h 7458372"/>
              <a:gd name="connsiteX38916" fmla="*/ 912539 w 10505529"/>
              <a:gd name="connsiteY38916" fmla="*/ 927580 h 7458372"/>
              <a:gd name="connsiteX38917" fmla="*/ 900824 w 10505529"/>
              <a:gd name="connsiteY38917" fmla="*/ 929843 h 7458372"/>
              <a:gd name="connsiteX38918" fmla="*/ 878993 w 10505529"/>
              <a:gd name="connsiteY38918" fmla="*/ 921323 h 7458372"/>
              <a:gd name="connsiteX38919" fmla="*/ 870607 w 10505529"/>
              <a:gd name="connsiteY38919" fmla="*/ 900158 h 7458372"/>
              <a:gd name="connsiteX38920" fmla="*/ 878993 w 10505529"/>
              <a:gd name="connsiteY38920" fmla="*/ 879125 h 7458372"/>
              <a:gd name="connsiteX38921" fmla="*/ 900824 w 10505529"/>
              <a:gd name="connsiteY38921" fmla="*/ 870472 h 7458372"/>
              <a:gd name="connsiteX38922" fmla="*/ 1118336 w 10505529"/>
              <a:gd name="connsiteY38922" fmla="*/ 870472 h 7458372"/>
              <a:gd name="connsiteX38923" fmla="*/ 1130052 w 10505529"/>
              <a:gd name="connsiteY38923" fmla="*/ 873001 h 7458372"/>
              <a:gd name="connsiteX38924" fmla="*/ 1139370 w 10505529"/>
              <a:gd name="connsiteY38924" fmla="*/ 879391 h 7458372"/>
              <a:gd name="connsiteX38925" fmla="*/ 1145492 w 10505529"/>
              <a:gd name="connsiteY38925" fmla="*/ 888710 h 7458372"/>
              <a:gd name="connsiteX38926" fmla="*/ 1147755 w 10505529"/>
              <a:gd name="connsiteY38926" fmla="*/ 900158 h 7458372"/>
              <a:gd name="connsiteX38927" fmla="*/ 1145492 w 10505529"/>
              <a:gd name="connsiteY38927" fmla="*/ 911872 h 7458372"/>
              <a:gd name="connsiteX38928" fmla="*/ 1139370 w 10505529"/>
              <a:gd name="connsiteY38928" fmla="*/ 921323 h 7458372"/>
              <a:gd name="connsiteX38929" fmla="*/ 1130052 w 10505529"/>
              <a:gd name="connsiteY38929" fmla="*/ 927580 h 7458372"/>
              <a:gd name="connsiteX38930" fmla="*/ 1118336 w 10505529"/>
              <a:gd name="connsiteY38930" fmla="*/ 929843 h 7458372"/>
              <a:gd name="connsiteX38931" fmla="*/ 1096504 w 10505529"/>
              <a:gd name="connsiteY38931" fmla="*/ 921323 h 7458372"/>
              <a:gd name="connsiteX38932" fmla="*/ 1088118 w 10505529"/>
              <a:gd name="connsiteY38932" fmla="*/ 900158 h 7458372"/>
              <a:gd name="connsiteX38933" fmla="*/ 1096504 w 10505529"/>
              <a:gd name="connsiteY38933" fmla="*/ 879125 h 7458372"/>
              <a:gd name="connsiteX38934" fmla="*/ 1118336 w 10505529"/>
              <a:gd name="connsiteY38934" fmla="*/ 870472 h 7458372"/>
              <a:gd name="connsiteX38935" fmla="*/ 1335981 w 10505529"/>
              <a:gd name="connsiteY38935" fmla="*/ 870472 h 7458372"/>
              <a:gd name="connsiteX38936" fmla="*/ 1347696 w 10505529"/>
              <a:gd name="connsiteY38936" fmla="*/ 873001 h 7458372"/>
              <a:gd name="connsiteX38937" fmla="*/ 1357014 w 10505529"/>
              <a:gd name="connsiteY38937" fmla="*/ 879391 h 7458372"/>
              <a:gd name="connsiteX38938" fmla="*/ 1363137 w 10505529"/>
              <a:gd name="connsiteY38938" fmla="*/ 888709 h 7458372"/>
              <a:gd name="connsiteX38939" fmla="*/ 1365400 w 10505529"/>
              <a:gd name="connsiteY38939" fmla="*/ 900158 h 7458372"/>
              <a:gd name="connsiteX38940" fmla="*/ 1363137 w 10505529"/>
              <a:gd name="connsiteY38940" fmla="*/ 911872 h 7458372"/>
              <a:gd name="connsiteX38941" fmla="*/ 1357014 w 10505529"/>
              <a:gd name="connsiteY38941" fmla="*/ 921323 h 7458372"/>
              <a:gd name="connsiteX38942" fmla="*/ 1347696 w 10505529"/>
              <a:gd name="connsiteY38942" fmla="*/ 927580 h 7458372"/>
              <a:gd name="connsiteX38943" fmla="*/ 1335981 w 10505529"/>
              <a:gd name="connsiteY38943" fmla="*/ 929843 h 7458372"/>
              <a:gd name="connsiteX38944" fmla="*/ 1314149 w 10505529"/>
              <a:gd name="connsiteY38944" fmla="*/ 921323 h 7458372"/>
              <a:gd name="connsiteX38945" fmla="*/ 1305764 w 10505529"/>
              <a:gd name="connsiteY38945" fmla="*/ 900158 h 7458372"/>
              <a:gd name="connsiteX38946" fmla="*/ 1314149 w 10505529"/>
              <a:gd name="connsiteY38946" fmla="*/ 879125 h 7458372"/>
              <a:gd name="connsiteX38947" fmla="*/ 1335981 w 10505529"/>
              <a:gd name="connsiteY38947" fmla="*/ 870472 h 7458372"/>
              <a:gd name="connsiteX38948" fmla="*/ 1553626 w 10505529"/>
              <a:gd name="connsiteY38948" fmla="*/ 870472 h 7458372"/>
              <a:gd name="connsiteX38949" fmla="*/ 1565340 w 10505529"/>
              <a:gd name="connsiteY38949" fmla="*/ 873001 h 7458372"/>
              <a:gd name="connsiteX38950" fmla="*/ 1574659 w 10505529"/>
              <a:gd name="connsiteY38950" fmla="*/ 879391 h 7458372"/>
              <a:gd name="connsiteX38951" fmla="*/ 1580782 w 10505529"/>
              <a:gd name="connsiteY38951" fmla="*/ 888709 h 7458372"/>
              <a:gd name="connsiteX38952" fmla="*/ 1583045 w 10505529"/>
              <a:gd name="connsiteY38952" fmla="*/ 900158 h 7458372"/>
              <a:gd name="connsiteX38953" fmla="*/ 1580782 w 10505529"/>
              <a:gd name="connsiteY38953" fmla="*/ 911872 h 7458372"/>
              <a:gd name="connsiteX38954" fmla="*/ 1574659 w 10505529"/>
              <a:gd name="connsiteY38954" fmla="*/ 921323 h 7458372"/>
              <a:gd name="connsiteX38955" fmla="*/ 1565340 w 10505529"/>
              <a:gd name="connsiteY38955" fmla="*/ 927580 h 7458372"/>
              <a:gd name="connsiteX38956" fmla="*/ 1553626 w 10505529"/>
              <a:gd name="connsiteY38956" fmla="*/ 929843 h 7458372"/>
              <a:gd name="connsiteX38957" fmla="*/ 1531794 w 10505529"/>
              <a:gd name="connsiteY38957" fmla="*/ 921323 h 7458372"/>
              <a:gd name="connsiteX38958" fmla="*/ 1523408 w 10505529"/>
              <a:gd name="connsiteY38958" fmla="*/ 900158 h 7458372"/>
              <a:gd name="connsiteX38959" fmla="*/ 1531794 w 10505529"/>
              <a:gd name="connsiteY38959" fmla="*/ 879125 h 7458372"/>
              <a:gd name="connsiteX38960" fmla="*/ 1553626 w 10505529"/>
              <a:gd name="connsiteY38960" fmla="*/ 870472 h 7458372"/>
              <a:gd name="connsiteX38961" fmla="*/ 1771270 w 10505529"/>
              <a:gd name="connsiteY38961" fmla="*/ 870472 h 7458372"/>
              <a:gd name="connsiteX38962" fmla="*/ 1782985 w 10505529"/>
              <a:gd name="connsiteY38962" fmla="*/ 873001 h 7458372"/>
              <a:gd name="connsiteX38963" fmla="*/ 1792302 w 10505529"/>
              <a:gd name="connsiteY38963" fmla="*/ 879391 h 7458372"/>
              <a:gd name="connsiteX38964" fmla="*/ 1798426 w 10505529"/>
              <a:gd name="connsiteY38964" fmla="*/ 888709 h 7458372"/>
              <a:gd name="connsiteX38965" fmla="*/ 1800689 w 10505529"/>
              <a:gd name="connsiteY38965" fmla="*/ 900157 h 7458372"/>
              <a:gd name="connsiteX38966" fmla="*/ 1798426 w 10505529"/>
              <a:gd name="connsiteY38966" fmla="*/ 911872 h 7458372"/>
              <a:gd name="connsiteX38967" fmla="*/ 1792302 w 10505529"/>
              <a:gd name="connsiteY38967" fmla="*/ 921323 h 7458372"/>
              <a:gd name="connsiteX38968" fmla="*/ 1782985 w 10505529"/>
              <a:gd name="connsiteY38968" fmla="*/ 927580 h 7458372"/>
              <a:gd name="connsiteX38969" fmla="*/ 1771270 w 10505529"/>
              <a:gd name="connsiteY38969" fmla="*/ 929843 h 7458372"/>
              <a:gd name="connsiteX38970" fmla="*/ 1749439 w 10505529"/>
              <a:gd name="connsiteY38970" fmla="*/ 921323 h 7458372"/>
              <a:gd name="connsiteX38971" fmla="*/ 1741053 w 10505529"/>
              <a:gd name="connsiteY38971" fmla="*/ 900157 h 7458372"/>
              <a:gd name="connsiteX38972" fmla="*/ 1749439 w 10505529"/>
              <a:gd name="connsiteY38972" fmla="*/ 879125 h 7458372"/>
              <a:gd name="connsiteX38973" fmla="*/ 1771270 w 10505529"/>
              <a:gd name="connsiteY38973" fmla="*/ 870472 h 7458372"/>
              <a:gd name="connsiteX38974" fmla="*/ 1988913 w 10505529"/>
              <a:gd name="connsiteY38974" fmla="*/ 870472 h 7458372"/>
              <a:gd name="connsiteX38975" fmla="*/ 2000628 w 10505529"/>
              <a:gd name="connsiteY38975" fmla="*/ 873001 h 7458372"/>
              <a:gd name="connsiteX38976" fmla="*/ 2009946 w 10505529"/>
              <a:gd name="connsiteY38976" fmla="*/ 879391 h 7458372"/>
              <a:gd name="connsiteX38977" fmla="*/ 2016069 w 10505529"/>
              <a:gd name="connsiteY38977" fmla="*/ 888709 h 7458372"/>
              <a:gd name="connsiteX38978" fmla="*/ 2018332 w 10505529"/>
              <a:gd name="connsiteY38978" fmla="*/ 900157 h 7458372"/>
              <a:gd name="connsiteX38979" fmla="*/ 2016069 w 10505529"/>
              <a:gd name="connsiteY38979" fmla="*/ 911871 h 7458372"/>
              <a:gd name="connsiteX38980" fmla="*/ 2009946 w 10505529"/>
              <a:gd name="connsiteY38980" fmla="*/ 921323 h 7458372"/>
              <a:gd name="connsiteX38981" fmla="*/ 2000628 w 10505529"/>
              <a:gd name="connsiteY38981" fmla="*/ 927580 h 7458372"/>
              <a:gd name="connsiteX38982" fmla="*/ 1988913 w 10505529"/>
              <a:gd name="connsiteY38982" fmla="*/ 929843 h 7458372"/>
              <a:gd name="connsiteX38983" fmla="*/ 1967081 w 10505529"/>
              <a:gd name="connsiteY38983" fmla="*/ 921323 h 7458372"/>
              <a:gd name="connsiteX38984" fmla="*/ 1958695 w 10505529"/>
              <a:gd name="connsiteY38984" fmla="*/ 900157 h 7458372"/>
              <a:gd name="connsiteX38985" fmla="*/ 1967081 w 10505529"/>
              <a:gd name="connsiteY38985" fmla="*/ 879125 h 7458372"/>
              <a:gd name="connsiteX38986" fmla="*/ 1988913 w 10505529"/>
              <a:gd name="connsiteY38986" fmla="*/ 870472 h 7458372"/>
              <a:gd name="connsiteX38987" fmla="*/ 2206428 w 10505529"/>
              <a:gd name="connsiteY38987" fmla="*/ 870472 h 7458372"/>
              <a:gd name="connsiteX38988" fmla="*/ 2218143 w 10505529"/>
              <a:gd name="connsiteY38988" fmla="*/ 873001 h 7458372"/>
              <a:gd name="connsiteX38989" fmla="*/ 2227461 w 10505529"/>
              <a:gd name="connsiteY38989" fmla="*/ 879391 h 7458372"/>
              <a:gd name="connsiteX38990" fmla="*/ 2233584 w 10505529"/>
              <a:gd name="connsiteY38990" fmla="*/ 888709 h 7458372"/>
              <a:gd name="connsiteX38991" fmla="*/ 2235847 w 10505529"/>
              <a:gd name="connsiteY38991" fmla="*/ 900157 h 7458372"/>
              <a:gd name="connsiteX38992" fmla="*/ 2233584 w 10505529"/>
              <a:gd name="connsiteY38992" fmla="*/ 911871 h 7458372"/>
              <a:gd name="connsiteX38993" fmla="*/ 2227461 w 10505529"/>
              <a:gd name="connsiteY38993" fmla="*/ 921322 h 7458372"/>
              <a:gd name="connsiteX38994" fmla="*/ 2218143 w 10505529"/>
              <a:gd name="connsiteY38994" fmla="*/ 927580 h 7458372"/>
              <a:gd name="connsiteX38995" fmla="*/ 2206428 w 10505529"/>
              <a:gd name="connsiteY38995" fmla="*/ 929843 h 7458372"/>
              <a:gd name="connsiteX38996" fmla="*/ 2184596 w 10505529"/>
              <a:gd name="connsiteY38996" fmla="*/ 921322 h 7458372"/>
              <a:gd name="connsiteX38997" fmla="*/ 2176209 w 10505529"/>
              <a:gd name="connsiteY38997" fmla="*/ 900157 h 7458372"/>
              <a:gd name="connsiteX38998" fmla="*/ 2184596 w 10505529"/>
              <a:gd name="connsiteY38998" fmla="*/ 879125 h 7458372"/>
              <a:gd name="connsiteX38999" fmla="*/ 2206428 w 10505529"/>
              <a:gd name="connsiteY38999" fmla="*/ 870472 h 7458372"/>
              <a:gd name="connsiteX39000" fmla="*/ 2859371 w 10505529"/>
              <a:gd name="connsiteY39000" fmla="*/ 870471 h 7458372"/>
              <a:gd name="connsiteX39001" fmla="*/ 2871219 w 10505529"/>
              <a:gd name="connsiteY39001" fmla="*/ 873000 h 7458372"/>
              <a:gd name="connsiteX39002" fmla="*/ 2880537 w 10505529"/>
              <a:gd name="connsiteY39002" fmla="*/ 879391 h 7458372"/>
              <a:gd name="connsiteX39003" fmla="*/ 2886660 w 10505529"/>
              <a:gd name="connsiteY39003" fmla="*/ 888709 h 7458372"/>
              <a:gd name="connsiteX39004" fmla="*/ 2888923 w 10505529"/>
              <a:gd name="connsiteY39004" fmla="*/ 900157 h 7458372"/>
              <a:gd name="connsiteX39005" fmla="*/ 2886660 w 10505529"/>
              <a:gd name="connsiteY39005" fmla="*/ 911871 h 7458372"/>
              <a:gd name="connsiteX39006" fmla="*/ 2880537 w 10505529"/>
              <a:gd name="connsiteY39006" fmla="*/ 921322 h 7458372"/>
              <a:gd name="connsiteX39007" fmla="*/ 2871219 w 10505529"/>
              <a:gd name="connsiteY39007" fmla="*/ 927579 h 7458372"/>
              <a:gd name="connsiteX39008" fmla="*/ 2859371 w 10505529"/>
              <a:gd name="connsiteY39008" fmla="*/ 929842 h 7458372"/>
              <a:gd name="connsiteX39009" fmla="*/ 2837539 w 10505529"/>
              <a:gd name="connsiteY39009" fmla="*/ 921322 h 7458372"/>
              <a:gd name="connsiteX39010" fmla="*/ 2829152 w 10505529"/>
              <a:gd name="connsiteY39010" fmla="*/ 900157 h 7458372"/>
              <a:gd name="connsiteX39011" fmla="*/ 2837539 w 10505529"/>
              <a:gd name="connsiteY39011" fmla="*/ 879125 h 7458372"/>
              <a:gd name="connsiteX39012" fmla="*/ 2859371 w 10505529"/>
              <a:gd name="connsiteY39012" fmla="*/ 870471 h 7458372"/>
              <a:gd name="connsiteX39013" fmla="*/ 2641723 w 10505529"/>
              <a:gd name="connsiteY39013" fmla="*/ 870471 h 7458372"/>
              <a:gd name="connsiteX39014" fmla="*/ 2653438 w 10505529"/>
              <a:gd name="connsiteY39014" fmla="*/ 873000 h 7458372"/>
              <a:gd name="connsiteX39015" fmla="*/ 2662756 w 10505529"/>
              <a:gd name="connsiteY39015" fmla="*/ 879391 h 7458372"/>
              <a:gd name="connsiteX39016" fmla="*/ 2668880 w 10505529"/>
              <a:gd name="connsiteY39016" fmla="*/ 888709 h 7458372"/>
              <a:gd name="connsiteX39017" fmla="*/ 2671143 w 10505529"/>
              <a:gd name="connsiteY39017" fmla="*/ 900157 h 7458372"/>
              <a:gd name="connsiteX39018" fmla="*/ 2668880 w 10505529"/>
              <a:gd name="connsiteY39018" fmla="*/ 911871 h 7458372"/>
              <a:gd name="connsiteX39019" fmla="*/ 2662756 w 10505529"/>
              <a:gd name="connsiteY39019" fmla="*/ 921322 h 7458372"/>
              <a:gd name="connsiteX39020" fmla="*/ 2653438 w 10505529"/>
              <a:gd name="connsiteY39020" fmla="*/ 927579 h 7458372"/>
              <a:gd name="connsiteX39021" fmla="*/ 2641723 w 10505529"/>
              <a:gd name="connsiteY39021" fmla="*/ 929842 h 7458372"/>
              <a:gd name="connsiteX39022" fmla="*/ 2619891 w 10505529"/>
              <a:gd name="connsiteY39022" fmla="*/ 921322 h 7458372"/>
              <a:gd name="connsiteX39023" fmla="*/ 2611505 w 10505529"/>
              <a:gd name="connsiteY39023" fmla="*/ 900157 h 7458372"/>
              <a:gd name="connsiteX39024" fmla="*/ 2619891 w 10505529"/>
              <a:gd name="connsiteY39024" fmla="*/ 879125 h 7458372"/>
              <a:gd name="connsiteX39025" fmla="*/ 2641723 w 10505529"/>
              <a:gd name="connsiteY39025" fmla="*/ 870471 h 7458372"/>
              <a:gd name="connsiteX39026" fmla="*/ 2424075 w 10505529"/>
              <a:gd name="connsiteY39026" fmla="*/ 870471 h 7458372"/>
              <a:gd name="connsiteX39027" fmla="*/ 2435790 w 10505529"/>
              <a:gd name="connsiteY39027" fmla="*/ 873001 h 7458372"/>
              <a:gd name="connsiteX39028" fmla="*/ 2445108 w 10505529"/>
              <a:gd name="connsiteY39028" fmla="*/ 879391 h 7458372"/>
              <a:gd name="connsiteX39029" fmla="*/ 2451232 w 10505529"/>
              <a:gd name="connsiteY39029" fmla="*/ 888709 h 7458372"/>
              <a:gd name="connsiteX39030" fmla="*/ 2453495 w 10505529"/>
              <a:gd name="connsiteY39030" fmla="*/ 900157 h 7458372"/>
              <a:gd name="connsiteX39031" fmla="*/ 2451232 w 10505529"/>
              <a:gd name="connsiteY39031" fmla="*/ 911871 h 7458372"/>
              <a:gd name="connsiteX39032" fmla="*/ 2445108 w 10505529"/>
              <a:gd name="connsiteY39032" fmla="*/ 921322 h 7458372"/>
              <a:gd name="connsiteX39033" fmla="*/ 2435790 w 10505529"/>
              <a:gd name="connsiteY39033" fmla="*/ 927580 h 7458372"/>
              <a:gd name="connsiteX39034" fmla="*/ 2424075 w 10505529"/>
              <a:gd name="connsiteY39034" fmla="*/ 929843 h 7458372"/>
              <a:gd name="connsiteX39035" fmla="*/ 2402244 w 10505529"/>
              <a:gd name="connsiteY39035" fmla="*/ 921322 h 7458372"/>
              <a:gd name="connsiteX39036" fmla="*/ 2393857 w 10505529"/>
              <a:gd name="connsiteY39036" fmla="*/ 900157 h 7458372"/>
              <a:gd name="connsiteX39037" fmla="*/ 2402244 w 10505529"/>
              <a:gd name="connsiteY39037" fmla="*/ 879125 h 7458372"/>
              <a:gd name="connsiteX39038" fmla="*/ 2424075 w 10505529"/>
              <a:gd name="connsiteY39038" fmla="*/ 870471 h 7458372"/>
              <a:gd name="connsiteX39039" fmla="*/ 3512181 w 10505529"/>
              <a:gd name="connsiteY39039" fmla="*/ 870471 h 7458372"/>
              <a:gd name="connsiteX39040" fmla="*/ 3523896 w 10505529"/>
              <a:gd name="connsiteY39040" fmla="*/ 873000 h 7458372"/>
              <a:gd name="connsiteX39041" fmla="*/ 3533214 w 10505529"/>
              <a:gd name="connsiteY39041" fmla="*/ 879390 h 7458372"/>
              <a:gd name="connsiteX39042" fmla="*/ 3539337 w 10505529"/>
              <a:gd name="connsiteY39042" fmla="*/ 888708 h 7458372"/>
              <a:gd name="connsiteX39043" fmla="*/ 3541600 w 10505529"/>
              <a:gd name="connsiteY39043" fmla="*/ 900157 h 7458372"/>
              <a:gd name="connsiteX39044" fmla="*/ 3539337 w 10505529"/>
              <a:gd name="connsiteY39044" fmla="*/ 911871 h 7458372"/>
              <a:gd name="connsiteX39045" fmla="*/ 3533214 w 10505529"/>
              <a:gd name="connsiteY39045" fmla="*/ 921322 h 7458372"/>
              <a:gd name="connsiteX39046" fmla="*/ 3523896 w 10505529"/>
              <a:gd name="connsiteY39046" fmla="*/ 927579 h 7458372"/>
              <a:gd name="connsiteX39047" fmla="*/ 3512181 w 10505529"/>
              <a:gd name="connsiteY39047" fmla="*/ 929842 h 7458372"/>
              <a:gd name="connsiteX39048" fmla="*/ 3490348 w 10505529"/>
              <a:gd name="connsiteY39048" fmla="*/ 921322 h 7458372"/>
              <a:gd name="connsiteX39049" fmla="*/ 3481962 w 10505529"/>
              <a:gd name="connsiteY39049" fmla="*/ 900157 h 7458372"/>
              <a:gd name="connsiteX39050" fmla="*/ 3490348 w 10505529"/>
              <a:gd name="connsiteY39050" fmla="*/ 879124 h 7458372"/>
              <a:gd name="connsiteX39051" fmla="*/ 3512181 w 10505529"/>
              <a:gd name="connsiteY39051" fmla="*/ 870471 h 7458372"/>
              <a:gd name="connsiteX39052" fmla="*/ 3294666 w 10505529"/>
              <a:gd name="connsiteY39052" fmla="*/ 870471 h 7458372"/>
              <a:gd name="connsiteX39053" fmla="*/ 3306382 w 10505529"/>
              <a:gd name="connsiteY39053" fmla="*/ 873000 h 7458372"/>
              <a:gd name="connsiteX39054" fmla="*/ 3315700 w 10505529"/>
              <a:gd name="connsiteY39054" fmla="*/ 879391 h 7458372"/>
              <a:gd name="connsiteX39055" fmla="*/ 3321823 w 10505529"/>
              <a:gd name="connsiteY39055" fmla="*/ 888708 h 7458372"/>
              <a:gd name="connsiteX39056" fmla="*/ 3324086 w 10505529"/>
              <a:gd name="connsiteY39056" fmla="*/ 900157 h 7458372"/>
              <a:gd name="connsiteX39057" fmla="*/ 3321823 w 10505529"/>
              <a:gd name="connsiteY39057" fmla="*/ 911871 h 7458372"/>
              <a:gd name="connsiteX39058" fmla="*/ 3315700 w 10505529"/>
              <a:gd name="connsiteY39058" fmla="*/ 921322 h 7458372"/>
              <a:gd name="connsiteX39059" fmla="*/ 3306382 w 10505529"/>
              <a:gd name="connsiteY39059" fmla="*/ 927579 h 7458372"/>
              <a:gd name="connsiteX39060" fmla="*/ 3294666 w 10505529"/>
              <a:gd name="connsiteY39060" fmla="*/ 929842 h 7458372"/>
              <a:gd name="connsiteX39061" fmla="*/ 3272834 w 10505529"/>
              <a:gd name="connsiteY39061" fmla="*/ 921322 h 7458372"/>
              <a:gd name="connsiteX39062" fmla="*/ 3264447 w 10505529"/>
              <a:gd name="connsiteY39062" fmla="*/ 900157 h 7458372"/>
              <a:gd name="connsiteX39063" fmla="*/ 3272834 w 10505529"/>
              <a:gd name="connsiteY39063" fmla="*/ 879124 h 7458372"/>
              <a:gd name="connsiteX39064" fmla="*/ 3294666 w 10505529"/>
              <a:gd name="connsiteY39064" fmla="*/ 870471 h 7458372"/>
              <a:gd name="connsiteX39065" fmla="*/ 3077018 w 10505529"/>
              <a:gd name="connsiteY39065" fmla="*/ 870471 h 7458372"/>
              <a:gd name="connsiteX39066" fmla="*/ 3088734 w 10505529"/>
              <a:gd name="connsiteY39066" fmla="*/ 873000 h 7458372"/>
              <a:gd name="connsiteX39067" fmla="*/ 3098052 w 10505529"/>
              <a:gd name="connsiteY39067" fmla="*/ 879391 h 7458372"/>
              <a:gd name="connsiteX39068" fmla="*/ 3104175 w 10505529"/>
              <a:gd name="connsiteY39068" fmla="*/ 888709 h 7458372"/>
              <a:gd name="connsiteX39069" fmla="*/ 3106438 w 10505529"/>
              <a:gd name="connsiteY39069" fmla="*/ 900157 h 7458372"/>
              <a:gd name="connsiteX39070" fmla="*/ 3104175 w 10505529"/>
              <a:gd name="connsiteY39070" fmla="*/ 911871 h 7458372"/>
              <a:gd name="connsiteX39071" fmla="*/ 3098052 w 10505529"/>
              <a:gd name="connsiteY39071" fmla="*/ 921322 h 7458372"/>
              <a:gd name="connsiteX39072" fmla="*/ 3088734 w 10505529"/>
              <a:gd name="connsiteY39072" fmla="*/ 927579 h 7458372"/>
              <a:gd name="connsiteX39073" fmla="*/ 3077018 w 10505529"/>
              <a:gd name="connsiteY39073" fmla="*/ 929842 h 7458372"/>
              <a:gd name="connsiteX39074" fmla="*/ 3055186 w 10505529"/>
              <a:gd name="connsiteY39074" fmla="*/ 921322 h 7458372"/>
              <a:gd name="connsiteX39075" fmla="*/ 3046800 w 10505529"/>
              <a:gd name="connsiteY39075" fmla="*/ 900157 h 7458372"/>
              <a:gd name="connsiteX39076" fmla="*/ 3055186 w 10505529"/>
              <a:gd name="connsiteY39076" fmla="*/ 879124 h 7458372"/>
              <a:gd name="connsiteX39077" fmla="*/ 3077018 w 10505529"/>
              <a:gd name="connsiteY39077" fmla="*/ 870471 h 7458372"/>
              <a:gd name="connsiteX39078" fmla="*/ 3729829 w 10505529"/>
              <a:gd name="connsiteY39078" fmla="*/ 870471 h 7458372"/>
              <a:gd name="connsiteX39079" fmla="*/ 3741544 w 10505529"/>
              <a:gd name="connsiteY39079" fmla="*/ 873000 h 7458372"/>
              <a:gd name="connsiteX39080" fmla="*/ 3750862 w 10505529"/>
              <a:gd name="connsiteY39080" fmla="*/ 879390 h 7458372"/>
              <a:gd name="connsiteX39081" fmla="*/ 3756985 w 10505529"/>
              <a:gd name="connsiteY39081" fmla="*/ 888708 h 7458372"/>
              <a:gd name="connsiteX39082" fmla="*/ 3759248 w 10505529"/>
              <a:gd name="connsiteY39082" fmla="*/ 900157 h 7458372"/>
              <a:gd name="connsiteX39083" fmla="*/ 3756985 w 10505529"/>
              <a:gd name="connsiteY39083" fmla="*/ 911871 h 7458372"/>
              <a:gd name="connsiteX39084" fmla="*/ 3750862 w 10505529"/>
              <a:gd name="connsiteY39084" fmla="*/ 921322 h 7458372"/>
              <a:gd name="connsiteX39085" fmla="*/ 3741544 w 10505529"/>
              <a:gd name="connsiteY39085" fmla="*/ 927579 h 7458372"/>
              <a:gd name="connsiteX39086" fmla="*/ 3729829 w 10505529"/>
              <a:gd name="connsiteY39086" fmla="*/ 929842 h 7458372"/>
              <a:gd name="connsiteX39087" fmla="*/ 3707997 w 10505529"/>
              <a:gd name="connsiteY39087" fmla="*/ 921322 h 7458372"/>
              <a:gd name="connsiteX39088" fmla="*/ 3699610 w 10505529"/>
              <a:gd name="connsiteY39088" fmla="*/ 900157 h 7458372"/>
              <a:gd name="connsiteX39089" fmla="*/ 3707997 w 10505529"/>
              <a:gd name="connsiteY39089" fmla="*/ 879124 h 7458372"/>
              <a:gd name="connsiteX39090" fmla="*/ 3729829 w 10505529"/>
              <a:gd name="connsiteY39090" fmla="*/ 870471 h 7458372"/>
              <a:gd name="connsiteX39091" fmla="*/ 4165068 w 10505529"/>
              <a:gd name="connsiteY39091" fmla="*/ 870471 h 7458372"/>
              <a:gd name="connsiteX39092" fmla="*/ 4176782 w 10505529"/>
              <a:gd name="connsiteY39092" fmla="*/ 873000 h 7458372"/>
              <a:gd name="connsiteX39093" fmla="*/ 4186100 w 10505529"/>
              <a:gd name="connsiteY39093" fmla="*/ 879390 h 7458372"/>
              <a:gd name="connsiteX39094" fmla="*/ 4192223 w 10505529"/>
              <a:gd name="connsiteY39094" fmla="*/ 888708 h 7458372"/>
              <a:gd name="connsiteX39095" fmla="*/ 4194486 w 10505529"/>
              <a:gd name="connsiteY39095" fmla="*/ 900156 h 7458372"/>
              <a:gd name="connsiteX39096" fmla="*/ 4192223 w 10505529"/>
              <a:gd name="connsiteY39096" fmla="*/ 911870 h 7458372"/>
              <a:gd name="connsiteX39097" fmla="*/ 4186100 w 10505529"/>
              <a:gd name="connsiteY39097" fmla="*/ 921322 h 7458372"/>
              <a:gd name="connsiteX39098" fmla="*/ 4176782 w 10505529"/>
              <a:gd name="connsiteY39098" fmla="*/ 927579 h 7458372"/>
              <a:gd name="connsiteX39099" fmla="*/ 4165068 w 10505529"/>
              <a:gd name="connsiteY39099" fmla="*/ 929842 h 7458372"/>
              <a:gd name="connsiteX39100" fmla="*/ 4143235 w 10505529"/>
              <a:gd name="connsiteY39100" fmla="*/ 921322 h 7458372"/>
              <a:gd name="connsiteX39101" fmla="*/ 4134849 w 10505529"/>
              <a:gd name="connsiteY39101" fmla="*/ 900156 h 7458372"/>
              <a:gd name="connsiteX39102" fmla="*/ 4143235 w 10505529"/>
              <a:gd name="connsiteY39102" fmla="*/ 879124 h 7458372"/>
              <a:gd name="connsiteX39103" fmla="*/ 4165068 w 10505529"/>
              <a:gd name="connsiteY39103" fmla="*/ 870471 h 7458372"/>
              <a:gd name="connsiteX39104" fmla="*/ 3947477 w 10505529"/>
              <a:gd name="connsiteY39104" fmla="*/ 870471 h 7458372"/>
              <a:gd name="connsiteX39105" fmla="*/ 3959192 w 10505529"/>
              <a:gd name="connsiteY39105" fmla="*/ 873000 h 7458372"/>
              <a:gd name="connsiteX39106" fmla="*/ 3968509 w 10505529"/>
              <a:gd name="connsiteY39106" fmla="*/ 879390 h 7458372"/>
              <a:gd name="connsiteX39107" fmla="*/ 3974633 w 10505529"/>
              <a:gd name="connsiteY39107" fmla="*/ 888708 h 7458372"/>
              <a:gd name="connsiteX39108" fmla="*/ 3976897 w 10505529"/>
              <a:gd name="connsiteY39108" fmla="*/ 900156 h 7458372"/>
              <a:gd name="connsiteX39109" fmla="*/ 3974633 w 10505529"/>
              <a:gd name="connsiteY39109" fmla="*/ 911871 h 7458372"/>
              <a:gd name="connsiteX39110" fmla="*/ 3968509 w 10505529"/>
              <a:gd name="connsiteY39110" fmla="*/ 921322 h 7458372"/>
              <a:gd name="connsiteX39111" fmla="*/ 3959192 w 10505529"/>
              <a:gd name="connsiteY39111" fmla="*/ 927579 h 7458372"/>
              <a:gd name="connsiteX39112" fmla="*/ 3947477 w 10505529"/>
              <a:gd name="connsiteY39112" fmla="*/ 929842 h 7458372"/>
              <a:gd name="connsiteX39113" fmla="*/ 3925645 w 10505529"/>
              <a:gd name="connsiteY39113" fmla="*/ 921322 h 7458372"/>
              <a:gd name="connsiteX39114" fmla="*/ 3917258 w 10505529"/>
              <a:gd name="connsiteY39114" fmla="*/ 900156 h 7458372"/>
              <a:gd name="connsiteX39115" fmla="*/ 3925645 w 10505529"/>
              <a:gd name="connsiteY39115" fmla="*/ 879124 h 7458372"/>
              <a:gd name="connsiteX39116" fmla="*/ 3947477 w 10505529"/>
              <a:gd name="connsiteY39116" fmla="*/ 870471 h 7458372"/>
              <a:gd name="connsiteX39117" fmla="*/ 4600226 w 10505529"/>
              <a:gd name="connsiteY39117" fmla="*/ 870471 h 7458372"/>
              <a:gd name="connsiteX39118" fmla="*/ 4612073 w 10505529"/>
              <a:gd name="connsiteY39118" fmla="*/ 872999 h 7458372"/>
              <a:gd name="connsiteX39119" fmla="*/ 4621391 w 10505529"/>
              <a:gd name="connsiteY39119" fmla="*/ 879390 h 7458372"/>
              <a:gd name="connsiteX39120" fmla="*/ 4627514 w 10505529"/>
              <a:gd name="connsiteY39120" fmla="*/ 888708 h 7458372"/>
              <a:gd name="connsiteX39121" fmla="*/ 4629777 w 10505529"/>
              <a:gd name="connsiteY39121" fmla="*/ 900156 h 7458372"/>
              <a:gd name="connsiteX39122" fmla="*/ 4627514 w 10505529"/>
              <a:gd name="connsiteY39122" fmla="*/ 911870 h 7458372"/>
              <a:gd name="connsiteX39123" fmla="*/ 4621391 w 10505529"/>
              <a:gd name="connsiteY39123" fmla="*/ 921321 h 7458372"/>
              <a:gd name="connsiteX39124" fmla="*/ 4612073 w 10505529"/>
              <a:gd name="connsiteY39124" fmla="*/ 927579 h 7458372"/>
              <a:gd name="connsiteX39125" fmla="*/ 4600226 w 10505529"/>
              <a:gd name="connsiteY39125" fmla="*/ 929842 h 7458372"/>
              <a:gd name="connsiteX39126" fmla="*/ 4578393 w 10505529"/>
              <a:gd name="connsiteY39126" fmla="*/ 921321 h 7458372"/>
              <a:gd name="connsiteX39127" fmla="*/ 4570007 w 10505529"/>
              <a:gd name="connsiteY39127" fmla="*/ 900156 h 7458372"/>
              <a:gd name="connsiteX39128" fmla="*/ 4578393 w 10505529"/>
              <a:gd name="connsiteY39128" fmla="*/ 879124 h 7458372"/>
              <a:gd name="connsiteX39129" fmla="*/ 4600226 w 10505529"/>
              <a:gd name="connsiteY39129" fmla="*/ 870471 h 7458372"/>
              <a:gd name="connsiteX39130" fmla="*/ 4382713 w 10505529"/>
              <a:gd name="connsiteY39130" fmla="*/ 870471 h 7458372"/>
              <a:gd name="connsiteX39131" fmla="*/ 4394428 w 10505529"/>
              <a:gd name="connsiteY39131" fmla="*/ 873000 h 7458372"/>
              <a:gd name="connsiteX39132" fmla="*/ 4403746 w 10505529"/>
              <a:gd name="connsiteY39132" fmla="*/ 879390 h 7458372"/>
              <a:gd name="connsiteX39133" fmla="*/ 4409869 w 10505529"/>
              <a:gd name="connsiteY39133" fmla="*/ 888708 h 7458372"/>
              <a:gd name="connsiteX39134" fmla="*/ 4412132 w 10505529"/>
              <a:gd name="connsiteY39134" fmla="*/ 900156 h 7458372"/>
              <a:gd name="connsiteX39135" fmla="*/ 4409869 w 10505529"/>
              <a:gd name="connsiteY39135" fmla="*/ 911870 h 7458372"/>
              <a:gd name="connsiteX39136" fmla="*/ 4403746 w 10505529"/>
              <a:gd name="connsiteY39136" fmla="*/ 921322 h 7458372"/>
              <a:gd name="connsiteX39137" fmla="*/ 4394428 w 10505529"/>
              <a:gd name="connsiteY39137" fmla="*/ 927579 h 7458372"/>
              <a:gd name="connsiteX39138" fmla="*/ 4382713 w 10505529"/>
              <a:gd name="connsiteY39138" fmla="*/ 929842 h 7458372"/>
              <a:gd name="connsiteX39139" fmla="*/ 4360881 w 10505529"/>
              <a:gd name="connsiteY39139" fmla="*/ 921322 h 7458372"/>
              <a:gd name="connsiteX39140" fmla="*/ 4352495 w 10505529"/>
              <a:gd name="connsiteY39140" fmla="*/ 900156 h 7458372"/>
              <a:gd name="connsiteX39141" fmla="*/ 4360881 w 10505529"/>
              <a:gd name="connsiteY39141" fmla="*/ 879124 h 7458372"/>
              <a:gd name="connsiteX39142" fmla="*/ 4382713 w 10505529"/>
              <a:gd name="connsiteY39142" fmla="*/ 870471 h 7458372"/>
              <a:gd name="connsiteX39143" fmla="*/ 4817870 w 10505529"/>
              <a:gd name="connsiteY39143" fmla="*/ 870470 h 7458372"/>
              <a:gd name="connsiteX39144" fmla="*/ 4829585 w 10505529"/>
              <a:gd name="connsiteY39144" fmla="*/ 872999 h 7458372"/>
              <a:gd name="connsiteX39145" fmla="*/ 4838903 w 10505529"/>
              <a:gd name="connsiteY39145" fmla="*/ 879390 h 7458372"/>
              <a:gd name="connsiteX39146" fmla="*/ 4845026 w 10505529"/>
              <a:gd name="connsiteY39146" fmla="*/ 888708 h 7458372"/>
              <a:gd name="connsiteX39147" fmla="*/ 4847289 w 10505529"/>
              <a:gd name="connsiteY39147" fmla="*/ 900156 h 7458372"/>
              <a:gd name="connsiteX39148" fmla="*/ 4845026 w 10505529"/>
              <a:gd name="connsiteY39148" fmla="*/ 911870 h 7458372"/>
              <a:gd name="connsiteX39149" fmla="*/ 4838903 w 10505529"/>
              <a:gd name="connsiteY39149" fmla="*/ 921321 h 7458372"/>
              <a:gd name="connsiteX39150" fmla="*/ 4829585 w 10505529"/>
              <a:gd name="connsiteY39150" fmla="*/ 927579 h 7458372"/>
              <a:gd name="connsiteX39151" fmla="*/ 4817870 w 10505529"/>
              <a:gd name="connsiteY39151" fmla="*/ 929842 h 7458372"/>
              <a:gd name="connsiteX39152" fmla="*/ 4796038 w 10505529"/>
              <a:gd name="connsiteY39152" fmla="*/ 921321 h 7458372"/>
              <a:gd name="connsiteX39153" fmla="*/ 4787652 w 10505529"/>
              <a:gd name="connsiteY39153" fmla="*/ 900156 h 7458372"/>
              <a:gd name="connsiteX39154" fmla="*/ 4796038 w 10505529"/>
              <a:gd name="connsiteY39154" fmla="*/ 879124 h 7458372"/>
              <a:gd name="connsiteX39155" fmla="*/ 4817870 w 10505529"/>
              <a:gd name="connsiteY39155" fmla="*/ 870470 h 7458372"/>
              <a:gd name="connsiteX39156" fmla="*/ 5035515 w 10505529"/>
              <a:gd name="connsiteY39156" fmla="*/ 870470 h 7458372"/>
              <a:gd name="connsiteX39157" fmla="*/ 5047230 w 10505529"/>
              <a:gd name="connsiteY39157" fmla="*/ 872999 h 7458372"/>
              <a:gd name="connsiteX39158" fmla="*/ 5056548 w 10505529"/>
              <a:gd name="connsiteY39158" fmla="*/ 879390 h 7458372"/>
              <a:gd name="connsiteX39159" fmla="*/ 5062671 w 10505529"/>
              <a:gd name="connsiteY39159" fmla="*/ 888708 h 7458372"/>
              <a:gd name="connsiteX39160" fmla="*/ 5064934 w 10505529"/>
              <a:gd name="connsiteY39160" fmla="*/ 900156 h 7458372"/>
              <a:gd name="connsiteX39161" fmla="*/ 5062671 w 10505529"/>
              <a:gd name="connsiteY39161" fmla="*/ 911870 h 7458372"/>
              <a:gd name="connsiteX39162" fmla="*/ 5056548 w 10505529"/>
              <a:gd name="connsiteY39162" fmla="*/ 921321 h 7458372"/>
              <a:gd name="connsiteX39163" fmla="*/ 5047230 w 10505529"/>
              <a:gd name="connsiteY39163" fmla="*/ 927578 h 7458372"/>
              <a:gd name="connsiteX39164" fmla="*/ 5035515 w 10505529"/>
              <a:gd name="connsiteY39164" fmla="*/ 929842 h 7458372"/>
              <a:gd name="connsiteX39165" fmla="*/ 5013683 w 10505529"/>
              <a:gd name="connsiteY39165" fmla="*/ 921321 h 7458372"/>
              <a:gd name="connsiteX39166" fmla="*/ 5005297 w 10505529"/>
              <a:gd name="connsiteY39166" fmla="*/ 900156 h 7458372"/>
              <a:gd name="connsiteX39167" fmla="*/ 5013683 w 10505529"/>
              <a:gd name="connsiteY39167" fmla="*/ 879124 h 7458372"/>
              <a:gd name="connsiteX39168" fmla="*/ 5035515 w 10505529"/>
              <a:gd name="connsiteY39168" fmla="*/ 870470 h 7458372"/>
              <a:gd name="connsiteX39169" fmla="*/ 5253160 w 10505529"/>
              <a:gd name="connsiteY39169" fmla="*/ 870470 h 7458372"/>
              <a:gd name="connsiteX39170" fmla="*/ 5264875 w 10505529"/>
              <a:gd name="connsiteY39170" fmla="*/ 872999 h 7458372"/>
              <a:gd name="connsiteX39171" fmla="*/ 5274192 w 10505529"/>
              <a:gd name="connsiteY39171" fmla="*/ 879390 h 7458372"/>
              <a:gd name="connsiteX39172" fmla="*/ 5280316 w 10505529"/>
              <a:gd name="connsiteY39172" fmla="*/ 888708 h 7458372"/>
              <a:gd name="connsiteX39173" fmla="*/ 5282579 w 10505529"/>
              <a:gd name="connsiteY39173" fmla="*/ 900156 h 7458372"/>
              <a:gd name="connsiteX39174" fmla="*/ 5280316 w 10505529"/>
              <a:gd name="connsiteY39174" fmla="*/ 911870 h 7458372"/>
              <a:gd name="connsiteX39175" fmla="*/ 5274192 w 10505529"/>
              <a:gd name="connsiteY39175" fmla="*/ 921321 h 7458372"/>
              <a:gd name="connsiteX39176" fmla="*/ 5264875 w 10505529"/>
              <a:gd name="connsiteY39176" fmla="*/ 927578 h 7458372"/>
              <a:gd name="connsiteX39177" fmla="*/ 5253160 w 10505529"/>
              <a:gd name="connsiteY39177" fmla="*/ 929841 h 7458372"/>
              <a:gd name="connsiteX39178" fmla="*/ 5231328 w 10505529"/>
              <a:gd name="connsiteY39178" fmla="*/ 921321 h 7458372"/>
              <a:gd name="connsiteX39179" fmla="*/ 5222942 w 10505529"/>
              <a:gd name="connsiteY39179" fmla="*/ 900156 h 7458372"/>
              <a:gd name="connsiteX39180" fmla="*/ 5231328 w 10505529"/>
              <a:gd name="connsiteY39180" fmla="*/ 879123 h 7458372"/>
              <a:gd name="connsiteX39181" fmla="*/ 5253160 w 10505529"/>
              <a:gd name="connsiteY39181" fmla="*/ 870470 h 7458372"/>
              <a:gd name="connsiteX39182" fmla="*/ 5688451 w 10505529"/>
              <a:gd name="connsiteY39182" fmla="*/ 870470 h 7458372"/>
              <a:gd name="connsiteX39183" fmla="*/ 5700165 w 10505529"/>
              <a:gd name="connsiteY39183" fmla="*/ 872999 h 7458372"/>
              <a:gd name="connsiteX39184" fmla="*/ 5709483 w 10505529"/>
              <a:gd name="connsiteY39184" fmla="*/ 879389 h 7458372"/>
              <a:gd name="connsiteX39185" fmla="*/ 5715606 w 10505529"/>
              <a:gd name="connsiteY39185" fmla="*/ 888707 h 7458372"/>
              <a:gd name="connsiteX39186" fmla="*/ 5717869 w 10505529"/>
              <a:gd name="connsiteY39186" fmla="*/ 900156 h 7458372"/>
              <a:gd name="connsiteX39187" fmla="*/ 5715606 w 10505529"/>
              <a:gd name="connsiteY39187" fmla="*/ 911870 h 7458372"/>
              <a:gd name="connsiteX39188" fmla="*/ 5709483 w 10505529"/>
              <a:gd name="connsiteY39188" fmla="*/ 921321 h 7458372"/>
              <a:gd name="connsiteX39189" fmla="*/ 5700165 w 10505529"/>
              <a:gd name="connsiteY39189" fmla="*/ 927578 h 7458372"/>
              <a:gd name="connsiteX39190" fmla="*/ 5688451 w 10505529"/>
              <a:gd name="connsiteY39190" fmla="*/ 929841 h 7458372"/>
              <a:gd name="connsiteX39191" fmla="*/ 5666618 w 10505529"/>
              <a:gd name="connsiteY39191" fmla="*/ 921321 h 7458372"/>
              <a:gd name="connsiteX39192" fmla="*/ 5658232 w 10505529"/>
              <a:gd name="connsiteY39192" fmla="*/ 900156 h 7458372"/>
              <a:gd name="connsiteX39193" fmla="*/ 5666618 w 10505529"/>
              <a:gd name="connsiteY39193" fmla="*/ 879123 h 7458372"/>
              <a:gd name="connsiteX39194" fmla="*/ 5688451 w 10505529"/>
              <a:gd name="connsiteY39194" fmla="*/ 870470 h 7458372"/>
              <a:gd name="connsiteX39195" fmla="*/ 5470806 w 10505529"/>
              <a:gd name="connsiteY39195" fmla="*/ 870470 h 7458372"/>
              <a:gd name="connsiteX39196" fmla="*/ 5482520 w 10505529"/>
              <a:gd name="connsiteY39196" fmla="*/ 872999 h 7458372"/>
              <a:gd name="connsiteX39197" fmla="*/ 5491838 w 10505529"/>
              <a:gd name="connsiteY39197" fmla="*/ 879389 h 7458372"/>
              <a:gd name="connsiteX39198" fmla="*/ 5497961 w 10505529"/>
              <a:gd name="connsiteY39198" fmla="*/ 888707 h 7458372"/>
              <a:gd name="connsiteX39199" fmla="*/ 5500224 w 10505529"/>
              <a:gd name="connsiteY39199" fmla="*/ 900156 h 7458372"/>
              <a:gd name="connsiteX39200" fmla="*/ 5497961 w 10505529"/>
              <a:gd name="connsiteY39200" fmla="*/ 911870 h 7458372"/>
              <a:gd name="connsiteX39201" fmla="*/ 5491838 w 10505529"/>
              <a:gd name="connsiteY39201" fmla="*/ 921321 h 7458372"/>
              <a:gd name="connsiteX39202" fmla="*/ 5482520 w 10505529"/>
              <a:gd name="connsiteY39202" fmla="*/ 927578 h 7458372"/>
              <a:gd name="connsiteX39203" fmla="*/ 5470806 w 10505529"/>
              <a:gd name="connsiteY39203" fmla="*/ 929841 h 7458372"/>
              <a:gd name="connsiteX39204" fmla="*/ 5448973 w 10505529"/>
              <a:gd name="connsiteY39204" fmla="*/ 921321 h 7458372"/>
              <a:gd name="connsiteX39205" fmla="*/ 5440587 w 10505529"/>
              <a:gd name="connsiteY39205" fmla="*/ 900156 h 7458372"/>
              <a:gd name="connsiteX39206" fmla="*/ 5448973 w 10505529"/>
              <a:gd name="connsiteY39206" fmla="*/ 879123 h 7458372"/>
              <a:gd name="connsiteX39207" fmla="*/ 5470806 w 10505529"/>
              <a:gd name="connsiteY39207" fmla="*/ 870470 h 7458372"/>
              <a:gd name="connsiteX39208" fmla="*/ 6123608 w 10505529"/>
              <a:gd name="connsiteY39208" fmla="*/ 870470 h 7458372"/>
              <a:gd name="connsiteX39209" fmla="*/ 6135322 w 10505529"/>
              <a:gd name="connsiteY39209" fmla="*/ 872999 h 7458372"/>
              <a:gd name="connsiteX39210" fmla="*/ 6144640 w 10505529"/>
              <a:gd name="connsiteY39210" fmla="*/ 879389 h 7458372"/>
              <a:gd name="connsiteX39211" fmla="*/ 6150763 w 10505529"/>
              <a:gd name="connsiteY39211" fmla="*/ 888707 h 7458372"/>
              <a:gd name="connsiteX39212" fmla="*/ 6153026 w 10505529"/>
              <a:gd name="connsiteY39212" fmla="*/ 900156 h 7458372"/>
              <a:gd name="connsiteX39213" fmla="*/ 6150763 w 10505529"/>
              <a:gd name="connsiteY39213" fmla="*/ 911870 h 7458372"/>
              <a:gd name="connsiteX39214" fmla="*/ 6144640 w 10505529"/>
              <a:gd name="connsiteY39214" fmla="*/ 921321 h 7458372"/>
              <a:gd name="connsiteX39215" fmla="*/ 6135322 w 10505529"/>
              <a:gd name="connsiteY39215" fmla="*/ 927578 h 7458372"/>
              <a:gd name="connsiteX39216" fmla="*/ 6123608 w 10505529"/>
              <a:gd name="connsiteY39216" fmla="*/ 929841 h 7458372"/>
              <a:gd name="connsiteX39217" fmla="*/ 6101775 w 10505529"/>
              <a:gd name="connsiteY39217" fmla="*/ 921321 h 7458372"/>
              <a:gd name="connsiteX39218" fmla="*/ 6093389 w 10505529"/>
              <a:gd name="connsiteY39218" fmla="*/ 900156 h 7458372"/>
              <a:gd name="connsiteX39219" fmla="*/ 6101775 w 10505529"/>
              <a:gd name="connsiteY39219" fmla="*/ 879123 h 7458372"/>
              <a:gd name="connsiteX39220" fmla="*/ 6123608 w 10505529"/>
              <a:gd name="connsiteY39220" fmla="*/ 870470 h 7458372"/>
              <a:gd name="connsiteX39221" fmla="*/ 5905963 w 10505529"/>
              <a:gd name="connsiteY39221" fmla="*/ 870470 h 7458372"/>
              <a:gd name="connsiteX39222" fmla="*/ 5917677 w 10505529"/>
              <a:gd name="connsiteY39222" fmla="*/ 872999 h 7458372"/>
              <a:gd name="connsiteX39223" fmla="*/ 5926995 w 10505529"/>
              <a:gd name="connsiteY39223" fmla="*/ 879389 h 7458372"/>
              <a:gd name="connsiteX39224" fmla="*/ 5933118 w 10505529"/>
              <a:gd name="connsiteY39224" fmla="*/ 888707 h 7458372"/>
              <a:gd name="connsiteX39225" fmla="*/ 5935381 w 10505529"/>
              <a:gd name="connsiteY39225" fmla="*/ 900156 h 7458372"/>
              <a:gd name="connsiteX39226" fmla="*/ 5933118 w 10505529"/>
              <a:gd name="connsiteY39226" fmla="*/ 911870 h 7458372"/>
              <a:gd name="connsiteX39227" fmla="*/ 5926995 w 10505529"/>
              <a:gd name="connsiteY39227" fmla="*/ 921321 h 7458372"/>
              <a:gd name="connsiteX39228" fmla="*/ 5917677 w 10505529"/>
              <a:gd name="connsiteY39228" fmla="*/ 927578 h 7458372"/>
              <a:gd name="connsiteX39229" fmla="*/ 5905963 w 10505529"/>
              <a:gd name="connsiteY39229" fmla="*/ 929841 h 7458372"/>
              <a:gd name="connsiteX39230" fmla="*/ 5884130 w 10505529"/>
              <a:gd name="connsiteY39230" fmla="*/ 921321 h 7458372"/>
              <a:gd name="connsiteX39231" fmla="*/ 5875744 w 10505529"/>
              <a:gd name="connsiteY39231" fmla="*/ 900156 h 7458372"/>
              <a:gd name="connsiteX39232" fmla="*/ 5884130 w 10505529"/>
              <a:gd name="connsiteY39232" fmla="*/ 879123 h 7458372"/>
              <a:gd name="connsiteX39233" fmla="*/ 5905963 w 10505529"/>
              <a:gd name="connsiteY39233" fmla="*/ 870470 h 7458372"/>
              <a:gd name="connsiteX39234" fmla="*/ 6341253 w 10505529"/>
              <a:gd name="connsiteY39234" fmla="*/ 870470 h 7458372"/>
              <a:gd name="connsiteX39235" fmla="*/ 6352968 w 10505529"/>
              <a:gd name="connsiteY39235" fmla="*/ 872999 h 7458372"/>
              <a:gd name="connsiteX39236" fmla="*/ 6362286 w 10505529"/>
              <a:gd name="connsiteY39236" fmla="*/ 879389 h 7458372"/>
              <a:gd name="connsiteX39237" fmla="*/ 6368409 w 10505529"/>
              <a:gd name="connsiteY39237" fmla="*/ 888707 h 7458372"/>
              <a:gd name="connsiteX39238" fmla="*/ 6370672 w 10505529"/>
              <a:gd name="connsiteY39238" fmla="*/ 900155 h 7458372"/>
              <a:gd name="connsiteX39239" fmla="*/ 6368409 w 10505529"/>
              <a:gd name="connsiteY39239" fmla="*/ 911870 h 7458372"/>
              <a:gd name="connsiteX39240" fmla="*/ 6362286 w 10505529"/>
              <a:gd name="connsiteY39240" fmla="*/ 921321 h 7458372"/>
              <a:gd name="connsiteX39241" fmla="*/ 6352968 w 10505529"/>
              <a:gd name="connsiteY39241" fmla="*/ 927578 h 7458372"/>
              <a:gd name="connsiteX39242" fmla="*/ 6341253 w 10505529"/>
              <a:gd name="connsiteY39242" fmla="*/ 929841 h 7458372"/>
              <a:gd name="connsiteX39243" fmla="*/ 6319421 w 10505529"/>
              <a:gd name="connsiteY39243" fmla="*/ 921321 h 7458372"/>
              <a:gd name="connsiteX39244" fmla="*/ 6311035 w 10505529"/>
              <a:gd name="connsiteY39244" fmla="*/ 900155 h 7458372"/>
              <a:gd name="connsiteX39245" fmla="*/ 6319421 w 10505529"/>
              <a:gd name="connsiteY39245" fmla="*/ 879123 h 7458372"/>
              <a:gd name="connsiteX39246" fmla="*/ 6341253 w 10505529"/>
              <a:gd name="connsiteY39246" fmla="*/ 870470 h 7458372"/>
              <a:gd name="connsiteX39247" fmla="*/ 6776544 w 10505529"/>
              <a:gd name="connsiteY39247" fmla="*/ 870470 h 7458372"/>
              <a:gd name="connsiteX39248" fmla="*/ 6788258 w 10505529"/>
              <a:gd name="connsiteY39248" fmla="*/ 872998 h 7458372"/>
              <a:gd name="connsiteX39249" fmla="*/ 6797576 w 10505529"/>
              <a:gd name="connsiteY39249" fmla="*/ 879389 h 7458372"/>
              <a:gd name="connsiteX39250" fmla="*/ 6803699 w 10505529"/>
              <a:gd name="connsiteY39250" fmla="*/ 888707 h 7458372"/>
              <a:gd name="connsiteX39251" fmla="*/ 6805963 w 10505529"/>
              <a:gd name="connsiteY39251" fmla="*/ 900155 h 7458372"/>
              <a:gd name="connsiteX39252" fmla="*/ 6803699 w 10505529"/>
              <a:gd name="connsiteY39252" fmla="*/ 911869 h 7458372"/>
              <a:gd name="connsiteX39253" fmla="*/ 6797576 w 10505529"/>
              <a:gd name="connsiteY39253" fmla="*/ 921321 h 7458372"/>
              <a:gd name="connsiteX39254" fmla="*/ 6788258 w 10505529"/>
              <a:gd name="connsiteY39254" fmla="*/ 927578 h 7458372"/>
              <a:gd name="connsiteX39255" fmla="*/ 6776544 w 10505529"/>
              <a:gd name="connsiteY39255" fmla="*/ 929841 h 7458372"/>
              <a:gd name="connsiteX39256" fmla="*/ 6754711 w 10505529"/>
              <a:gd name="connsiteY39256" fmla="*/ 921321 h 7458372"/>
              <a:gd name="connsiteX39257" fmla="*/ 6746325 w 10505529"/>
              <a:gd name="connsiteY39257" fmla="*/ 900155 h 7458372"/>
              <a:gd name="connsiteX39258" fmla="*/ 6754711 w 10505529"/>
              <a:gd name="connsiteY39258" fmla="*/ 879123 h 7458372"/>
              <a:gd name="connsiteX39259" fmla="*/ 6776544 w 10505529"/>
              <a:gd name="connsiteY39259" fmla="*/ 870470 h 7458372"/>
              <a:gd name="connsiteX39260" fmla="*/ 6558899 w 10505529"/>
              <a:gd name="connsiteY39260" fmla="*/ 870470 h 7458372"/>
              <a:gd name="connsiteX39261" fmla="*/ 6570612 w 10505529"/>
              <a:gd name="connsiteY39261" fmla="*/ 872999 h 7458372"/>
              <a:gd name="connsiteX39262" fmla="*/ 6579930 w 10505529"/>
              <a:gd name="connsiteY39262" fmla="*/ 879389 h 7458372"/>
              <a:gd name="connsiteX39263" fmla="*/ 6586054 w 10505529"/>
              <a:gd name="connsiteY39263" fmla="*/ 888707 h 7458372"/>
              <a:gd name="connsiteX39264" fmla="*/ 6588317 w 10505529"/>
              <a:gd name="connsiteY39264" fmla="*/ 900155 h 7458372"/>
              <a:gd name="connsiteX39265" fmla="*/ 6586054 w 10505529"/>
              <a:gd name="connsiteY39265" fmla="*/ 911869 h 7458372"/>
              <a:gd name="connsiteX39266" fmla="*/ 6579930 w 10505529"/>
              <a:gd name="connsiteY39266" fmla="*/ 921321 h 7458372"/>
              <a:gd name="connsiteX39267" fmla="*/ 6570612 w 10505529"/>
              <a:gd name="connsiteY39267" fmla="*/ 927578 h 7458372"/>
              <a:gd name="connsiteX39268" fmla="*/ 6558899 w 10505529"/>
              <a:gd name="connsiteY39268" fmla="*/ 929841 h 7458372"/>
              <a:gd name="connsiteX39269" fmla="*/ 6537066 w 10505529"/>
              <a:gd name="connsiteY39269" fmla="*/ 921321 h 7458372"/>
              <a:gd name="connsiteX39270" fmla="*/ 6528680 w 10505529"/>
              <a:gd name="connsiteY39270" fmla="*/ 900155 h 7458372"/>
              <a:gd name="connsiteX39271" fmla="*/ 6537066 w 10505529"/>
              <a:gd name="connsiteY39271" fmla="*/ 879123 h 7458372"/>
              <a:gd name="connsiteX39272" fmla="*/ 6558899 w 10505529"/>
              <a:gd name="connsiteY39272" fmla="*/ 870470 h 7458372"/>
              <a:gd name="connsiteX39273" fmla="*/ 7211701 w 10505529"/>
              <a:gd name="connsiteY39273" fmla="*/ 870469 h 7458372"/>
              <a:gd name="connsiteX39274" fmla="*/ 7223415 w 10505529"/>
              <a:gd name="connsiteY39274" fmla="*/ 872998 h 7458372"/>
              <a:gd name="connsiteX39275" fmla="*/ 7232733 w 10505529"/>
              <a:gd name="connsiteY39275" fmla="*/ 879389 h 7458372"/>
              <a:gd name="connsiteX39276" fmla="*/ 7238856 w 10505529"/>
              <a:gd name="connsiteY39276" fmla="*/ 888707 h 7458372"/>
              <a:gd name="connsiteX39277" fmla="*/ 7241120 w 10505529"/>
              <a:gd name="connsiteY39277" fmla="*/ 900155 h 7458372"/>
              <a:gd name="connsiteX39278" fmla="*/ 7238856 w 10505529"/>
              <a:gd name="connsiteY39278" fmla="*/ 911869 h 7458372"/>
              <a:gd name="connsiteX39279" fmla="*/ 7232733 w 10505529"/>
              <a:gd name="connsiteY39279" fmla="*/ 921320 h 7458372"/>
              <a:gd name="connsiteX39280" fmla="*/ 7223415 w 10505529"/>
              <a:gd name="connsiteY39280" fmla="*/ 927577 h 7458372"/>
              <a:gd name="connsiteX39281" fmla="*/ 7211701 w 10505529"/>
              <a:gd name="connsiteY39281" fmla="*/ 929840 h 7458372"/>
              <a:gd name="connsiteX39282" fmla="*/ 7189868 w 10505529"/>
              <a:gd name="connsiteY39282" fmla="*/ 921320 h 7458372"/>
              <a:gd name="connsiteX39283" fmla="*/ 7181482 w 10505529"/>
              <a:gd name="connsiteY39283" fmla="*/ 900155 h 7458372"/>
              <a:gd name="connsiteX39284" fmla="*/ 7189868 w 10505529"/>
              <a:gd name="connsiteY39284" fmla="*/ 879122 h 7458372"/>
              <a:gd name="connsiteX39285" fmla="*/ 7211701 w 10505529"/>
              <a:gd name="connsiteY39285" fmla="*/ 870469 h 7458372"/>
              <a:gd name="connsiteX39286" fmla="*/ 6994056 w 10505529"/>
              <a:gd name="connsiteY39286" fmla="*/ 870469 h 7458372"/>
              <a:gd name="connsiteX39287" fmla="*/ 7005769 w 10505529"/>
              <a:gd name="connsiteY39287" fmla="*/ 872998 h 7458372"/>
              <a:gd name="connsiteX39288" fmla="*/ 7015087 w 10505529"/>
              <a:gd name="connsiteY39288" fmla="*/ 879389 h 7458372"/>
              <a:gd name="connsiteX39289" fmla="*/ 7021211 w 10505529"/>
              <a:gd name="connsiteY39289" fmla="*/ 888707 h 7458372"/>
              <a:gd name="connsiteX39290" fmla="*/ 7023474 w 10505529"/>
              <a:gd name="connsiteY39290" fmla="*/ 900155 h 7458372"/>
              <a:gd name="connsiteX39291" fmla="*/ 7021211 w 10505529"/>
              <a:gd name="connsiteY39291" fmla="*/ 911869 h 7458372"/>
              <a:gd name="connsiteX39292" fmla="*/ 7015087 w 10505529"/>
              <a:gd name="connsiteY39292" fmla="*/ 921320 h 7458372"/>
              <a:gd name="connsiteX39293" fmla="*/ 7005769 w 10505529"/>
              <a:gd name="connsiteY39293" fmla="*/ 927577 h 7458372"/>
              <a:gd name="connsiteX39294" fmla="*/ 6994056 w 10505529"/>
              <a:gd name="connsiteY39294" fmla="*/ 929841 h 7458372"/>
              <a:gd name="connsiteX39295" fmla="*/ 6972223 w 10505529"/>
              <a:gd name="connsiteY39295" fmla="*/ 921320 h 7458372"/>
              <a:gd name="connsiteX39296" fmla="*/ 6963837 w 10505529"/>
              <a:gd name="connsiteY39296" fmla="*/ 900155 h 7458372"/>
              <a:gd name="connsiteX39297" fmla="*/ 6972223 w 10505529"/>
              <a:gd name="connsiteY39297" fmla="*/ 879122 h 7458372"/>
              <a:gd name="connsiteX39298" fmla="*/ 6994056 w 10505529"/>
              <a:gd name="connsiteY39298" fmla="*/ 870469 h 7458372"/>
              <a:gd name="connsiteX39299" fmla="*/ 7429345 w 10505529"/>
              <a:gd name="connsiteY39299" fmla="*/ 870469 h 7458372"/>
              <a:gd name="connsiteX39300" fmla="*/ 7441059 w 10505529"/>
              <a:gd name="connsiteY39300" fmla="*/ 872998 h 7458372"/>
              <a:gd name="connsiteX39301" fmla="*/ 7450377 w 10505529"/>
              <a:gd name="connsiteY39301" fmla="*/ 879388 h 7458372"/>
              <a:gd name="connsiteX39302" fmla="*/ 7456501 w 10505529"/>
              <a:gd name="connsiteY39302" fmla="*/ 888707 h 7458372"/>
              <a:gd name="connsiteX39303" fmla="*/ 7458764 w 10505529"/>
              <a:gd name="connsiteY39303" fmla="*/ 900155 h 7458372"/>
              <a:gd name="connsiteX39304" fmla="*/ 7456501 w 10505529"/>
              <a:gd name="connsiteY39304" fmla="*/ 911869 h 7458372"/>
              <a:gd name="connsiteX39305" fmla="*/ 7450377 w 10505529"/>
              <a:gd name="connsiteY39305" fmla="*/ 921320 h 7458372"/>
              <a:gd name="connsiteX39306" fmla="*/ 7441059 w 10505529"/>
              <a:gd name="connsiteY39306" fmla="*/ 927577 h 7458372"/>
              <a:gd name="connsiteX39307" fmla="*/ 7429345 w 10505529"/>
              <a:gd name="connsiteY39307" fmla="*/ 929840 h 7458372"/>
              <a:gd name="connsiteX39308" fmla="*/ 7407513 w 10505529"/>
              <a:gd name="connsiteY39308" fmla="*/ 921320 h 7458372"/>
              <a:gd name="connsiteX39309" fmla="*/ 7399127 w 10505529"/>
              <a:gd name="connsiteY39309" fmla="*/ 900155 h 7458372"/>
              <a:gd name="connsiteX39310" fmla="*/ 7407513 w 10505529"/>
              <a:gd name="connsiteY39310" fmla="*/ 879122 h 7458372"/>
              <a:gd name="connsiteX39311" fmla="*/ 7429345 w 10505529"/>
              <a:gd name="connsiteY39311" fmla="*/ 870469 h 7458372"/>
              <a:gd name="connsiteX39312" fmla="*/ 7646991 w 10505529"/>
              <a:gd name="connsiteY39312" fmla="*/ 870469 h 7458372"/>
              <a:gd name="connsiteX39313" fmla="*/ 7658705 w 10505529"/>
              <a:gd name="connsiteY39313" fmla="*/ 872998 h 7458372"/>
              <a:gd name="connsiteX39314" fmla="*/ 7668022 w 10505529"/>
              <a:gd name="connsiteY39314" fmla="*/ 879388 h 7458372"/>
              <a:gd name="connsiteX39315" fmla="*/ 7674146 w 10505529"/>
              <a:gd name="connsiteY39315" fmla="*/ 888707 h 7458372"/>
              <a:gd name="connsiteX39316" fmla="*/ 7676409 w 10505529"/>
              <a:gd name="connsiteY39316" fmla="*/ 900155 h 7458372"/>
              <a:gd name="connsiteX39317" fmla="*/ 7674146 w 10505529"/>
              <a:gd name="connsiteY39317" fmla="*/ 911869 h 7458372"/>
              <a:gd name="connsiteX39318" fmla="*/ 7668022 w 10505529"/>
              <a:gd name="connsiteY39318" fmla="*/ 921320 h 7458372"/>
              <a:gd name="connsiteX39319" fmla="*/ 7658705 w 10505529"/>
              <a:gd name="connsiteY39319" fmla="*/ 927577 h 7458372"/>
              <a:gd name="connsiteX39320" fmla="*/ 7646991 w 10505529"/>
              <a:gd name="connsiteY39320" fmla="*/ 929840 h 7458372"/>
              <a:gd name="connsiteX39321" fmla="*/ 7625158 w 10505529"/>
              <a:gd name="connsiteY39321" fmla="*/ 921320 h 7458372"/>
              <a:gd name="connsiteX39322" fmla="*/ 7616772 w 10505529"/>
              <a:gd name="connsiteY39322" fmla="*/ 900155 h 7458372"/>
              <a:gd name="connsiteX39323" fmla="*/ 7625158 w 10505529"/>
              <a:gd name="connsiteY39323" fmla="*/ 879122 h 7458372"/>
              <a:gd name="connsiteX39324" fmla="*/ 7646991 w 10505529"/>
              <a:gd name="connsiteY39324" fmla="*/ 870469 h 7458372"/>
              <a:gd name="connsiteX39325" fmla="*/ 8082281 w 10505529"/>
              <a:gd name="connsiteY39325" fmla="*/ 870469 h 7458372"/>
              <a:gd name="connsiteX39326" fmla="*/ 8094127 w 10505529"/>
              <a:gd name="connsiteY39326" fmla="*/ 872998 h 7458372"/>
              <a:gd name="connsiteX39327" fmla="*/ 8103446 w 10505529"/>
              <a:gd name="connsiteY39327" fmla="*/ 879388 h 7458372"/>
              <a:gd name="connsiteX39328" fmla="*/ 8109569 w 10505529"/>
              <a:gd name="connsiteY39328" fmla="*/ 888706 h 7458372"/>
              <a:gd name="connsiteX39329" fmla="*/ 8111832 w 10505529"/>
              <a:gd name="connsiteY39329" fmla="*/ 900155 h 7458372"/>
              <a:gd name="connsiteX39330" fmla="*/ 8109569 w 10505529"/>
              <a:gd name="connsiteY39330" fmla="*/ 911869 h 7458372"/>
              <a:gd name="connsiteX39331" fmla="*/ 8103446 w 10505529"/>
              <a:gd name="connsiteY39331" fmla="*/ 921320 h 7458372"/>
              <a:gd name="connsiteX39332" fmla="*/ 8094127 w 10505529"/>
              <a:gd name="connsiteY39332" fmla="*/ 927577 h 7458372"/>
              <a:gd name="connsiteX39333" fmla="*/ 8082281 w 10505529"/>
              <a:gd name="connsiteY39333" fmla="*/ 929840 h 7458372"/>
              <a:gd name="connsiteX39334" fmla="*/ 8060448 w 10505529"/>
              <a:gd name="connsiteY39334" fmla="*/ 921320 h 7458372"/>
              <a:gd name="connsiteX39335" fmla="*/ 8052062 w 10505529"/>
              <a:gd name="connsiteY39335" fmla="*/ 900155 h 7458372"/>
              <a:gd name="connsiteX39336" fmla="*/ 8060448 w 10505529"/>
              <a:gd name="connsiteY39336" fmla="*/ 879122 h 7458372"/>
              <a:gd name="connsiteX39337" fmla="*/ 8082281 w 10505529"/>
              <a:gd name="connsiteY39337" fmla="*/ 870469 h 7458372"/>
              <a:gd name="connsiteX39338" fmla="*/ 7864636 w 10505529"/>
              <a:gd name="connsiteY39338" fmla="*/ 870469 h 7458372"/>
              <a:gd name="connsiteX39339" fmla="*/ 7876483 w 10505529"/>
              <a:gd name="connsiteY39339" fmla="*/ 872998 h 7458372"/>
              <a:gd name="connsiteX39340" fmla="*/ 7885802 w 10505529"/>
              <a:gd name="connsiteY39340" fmla="*/ 879388 h 7458372"/>
              <a:gd name="connsiteX39341" fmla="*/ 7891924 w 10505529"/>
              <a:gd name="connsiteY39341" fmla="*/ 888706 h 7458372"/>
              <a:gd name="connsiteX39342" fmla="*/ 7894188 w 10505529"/>
              <a:gd name="connsiteY39342" fmla="*/ 900155 h 7458372"/>
              <a:gd name="connsiteX39343" fmla="*/ 7891924 w 10505529"/>
              <a:gd name="connsiteY39343" fmla="*/ 911869 h 7458372"/>
              <a:gd name="connsiteX39344" fmla="*/ 7885802 w 10505529"/>
              <a:gd name="connsiteY39344" fmla="*/ 921320 h 7458372"/>
              <a:gd name="connsiteX39345" fmla="*/ 7876483 w 10505529"/>
              <a:gd name="connsiteY39345" fmla="*/ 927577 h 7458372"/>
              <a:gd name="connsiteX39346" fmla="*/ 7864636 w 10505529"/>
              <a:gd name="connsiteY39346" fmla="*/ 929840 h 7458372"/>
              <a:gd name="connsiteX39347" fmla="*/ 7842803 w 10505529"/>
              <a:gd name="connsiteY39347" fmla="*/ 921320 h 7458372"/>
              <a:gd name="connsiteX39348" fmla="*/ 7834417 w 10505529"/>
              <a:gd name="connsiteY39348" fmla="*/ 900155 h 7458372"/>
              <a:gd name="connsiteX39349" fmla="*/ 7842803 w 10505529"/>
              <a:gd name="connsiteY39349" fmla="*/ 879122 h 7458372"/>
              <a:gd name="connsiteX39350" fmla="*/ 7864636 w 10505529"/>
              <a:gd name="connsiteY39350" fmla="*/ 870469 h 7458372"/>
              <a:gd name="connsiteX39351" fmla="*/ 8299793 w 10505529"/>
              <a:gd name="connsiteY39351" fmla="*/ 870469 h 7458372"/>
              <a:gd name="connsiteX39352" fmla="*/ 8311507 w 10505529"/>
              <a:gd name="connsiteY39352" fmla="*/ 872998 h 7458372"/>
              <a:gd name="connsiteX39353" fmla="*/ 8320825 w 10505529"/>
              <a:gd name="connsiteY39353" fmla="*/ 879388 h 7458372"/>
              <a:gd name="connsiteX39354" fmla="*/ 8326948 w 10505529"/>
              <a:gd name="connsiteY39354" fmla="*/ 888706 h 7458372"/>
              <a:gd name="connsiteX39355" fmla="*/ 8329212 w 10505529"/>
              <a:gd name="connsiteY39355" fmla="*/ 900155 h 7458372"/>
              <a:gd name="connsiteX39356" fmla="*/ 8326948 w 10505529"/>
              <a:gd name="connsiteY39356" fmla="*/ 911869 h 7458372"/>
              <a:gd name="connsiteX39357" fmla="*/ 8320825 w 10505529"/>
              <a:gd name="connsiteY39357" fmla="*/ 921320 h 7458372"/>
              <a:gd name="connsiteX39358" fmla="*/ 8311507 w 10505529"/>
              <a:gd name="connsiteY39358" fmla="*/ 927577 h 7458372"/>
              <a:gd name="connsiteX39359" fmla="*/ 8299793 w 10505529"/>
              <a:gd name="connsiteY39359" fmla="*/ 929840 h 7458372"/>
              <a:gd name="connsiteX39360" fmla="*/ 8277960 w 10505529"/>
              <a:gd name="connsiteY39360" fmla="*/ 921320 h 7458372"/>
              <a:gd name="connsiteX39361" fmla="*/ 8269574 w 10505529"/>
              <a:gd name="connsiteY39361" fmla="*/ 900155 h 7458372"/>
              <a:gd name="connsiteX39362" fmla="*/ 8277960 w 10505529"/>
              <a:gd name="connsiteY39362" fmla="*/ 879122 h 7458372"/>
              <a:gd name="connsiteX39363" fmla="*/ 8299793 w 10505529"/>
              <a:gd name="connsiteY39363" fmla="*/ 870469 h 7458372"/>
              <a:gd name="connsiteX39364" fmla="*/ 8517438 w 10505529"/>
              <a:gd name="connsiteY39364" fmla="*/ 870469 h 7458372"/>
              <a:gd name="connsiteX39365" fmla="*/ 8529152 w 10505529"/>
              <a:gd name="connsiteY39365" fmla="*/ 872998 h 7458372"/>
              <a:gd name="connsiteX39366" fmla="*/ 8538470 w 10505529"/>
              <a:gd name="connsiteY39366" fmla="*/ 879388 h 7458372"/>
              <a:gd name="connsiteX39367" fmla="*/ 8544594 w 10505529"/>
              <a:gd name="connsiteY39367" fmla="*/ 888706 h 7458372"/>
              <a:gd name="connsiteX39368" fmla="*/ 8546857 w 10505529"/>
              <a:gd name="connsiteY39368" fmla="*/ 900154 h 7458372"/>
              <a:gd name="connsiteX39369" fmla="*/ 8544594 w 10505529"/>
              <a:gd name="connsiteY39369" fmla="*/ 911868 h 7458372"/>
              <a:gd name="connsiteX39370" fmla="*/ 8538470 w 10505529"/>
              <a:gd name="connsiteY39370" fmla="*/ 921320 h 7458372"/>
              <a:gd name="connsiteX39371" fmla="*/ 8529152 w 10505529"/>
              <a:gd name="connsiteY39371" fmla="*/ 927577 h 7458372"/>
              <a:gd name="connsiteX39372" fmla="*/ 8517438 w 10505529"/>
              <a:gd name="connsiteY39372" fmla="*/ 929840 h 7458372"/>
              <a:gd name="connsiteX39373" fmla="*/ 8495606 w 10505529"/>
              <a:gd name="connsiteY39373" fmla="*/ 921320 h 7458372"/>
              <a:gd name="connsiteX39374" fmla="*/ 8487220 w 10505529"/>
              <a:gd name="connsiteY39374" fmla="*/ 900154 h 7458372"/>
              <a:gd name="connsiteX39375" fmla="*/ 8495606 w 10505529"/>
              <a:gd name="connsiteY39375" fmla="*/ 879122 h 7458372"/>
              <a:gd name="connsiteX39376" fmla="*/ 8517438 w 10505529"/>
              <a:gd name="connsiteY39376" fmla="*/ 870469 h 7458372"/>
              <a:gd name="connsiteX39377" fmla="*/ 8735083 w 10505529"/>
              <a:gd name="connsiteY39377" fmla="*/ 870469 h 7458372"/>
              <a:gd name="connsiteX39378" fmla="*/ 8746797 w 10505529"/>
              <a:gd name="connsiteY39378" fmla="*/ 872998 h 7458372"/>
              <a:gd name="connsiteX39379" fmla="*/ 8756115 w 10505529"/>
              <a:gd name="connsiteY39379" fmla="*/ 879388 h 7458372"/>
              <a:gd name="connsiteX39380" fmla="*/ 8762238 w 10505529"/>
              <a:gd name="connsiteY39380" fmla="*/ 888706 h 7458372"/>
              <a:gd name="connsiteX39381" fmla="*/ 8764502 w 10505529"/>
              <a:gd name="connsiteY39381" fmla="*/ 900154 h 7458372"/>
              <a:gd name="connsiteX39382" fmla="*/ 8762238 w 10505529"/>
              <a:gd name="connsiteY39382" fmla="*/ 911868 h 7458372"/>
              <a:gd name="connsiteX39383" fmla="*/ 8756115 w 10505529"/>
              <a:gd name="connsiteY39383" fmla="*/ 921320 h 7458372"/>
              <a:gd name="connsiteX39384" fmla="*/ 8746797 w 10505529"/>
              <a:gd name="connsiteY39384" fmla="*/ 927577 h 7458372"/>
              <a:gd name="connsiteX39385" fmla="*/ 8735083 w 10505529"/>
              <a:gd name="connsiteY39385" fmla="*/ 929840 h 7458372"/>
              <a:gd name="connsiteX39386" fmla="*/ 8713250 w 10505529"/>
              <a:gd name="connsiteY39386" fmla="*/ 921320 h 7458372"/>
              <a:gd name="connsiteX39387" fmla="*/ 8704864 w 10505529"/>
              <a:gd name="connsiteY39387" fmla="*/ 900154 h 7458372"/>
              <a:gd name="connsiteX39388" fmla="*/ 8713250 w 10505529"/>
              <a:gd name="connsiteY39388" fmla="*/ 879122 h 7458372"/>
              <a:gd name="connsiteX39389" fmla="*/ 8735083 w 10505529"/>
              <a:gd name="connsiteY39389" fmla="*/ 870469 h 7458372"/>
              <a:gd name="connsiteX39390" fmla="*/ 8952728 w 10505529"/>
              <a:gd name="connsiteY39390" fmla="*/ 870469 h 7458372"/>
              <a:gd name="connsiteX39391" fmla="*/ 8964442 w 10505529"/>
              <a:gd name="connsiteY39391" fmla="*/ 872998 h 7458372"/>
              <a:gd name="connsiteX39392" fmla="*/ 8973760 w 10505529"/>
              <a:gd name="connsiteY39392" fmla="*/ 879388 h 7458372"/>
              <a:gd name="connsiteX39393" fmla="*/ 8979884 w 10505529"/>
              <a:gd name="connsiteY39393" fmla="*/ 888706 h 7458372"/>
              <a:gd name="connsiteX39394" fmla="*/ 8982147 w 10505529"/>
              <a:gd name="connsiteY39394" fmla="*/ 900154 h 7458372"/>
              <a:gd name="connsiteX39395" fmla="*/ 8979884 w 10505529"/>
              <a:gd name="connsiteY39395" fmla="*/ 911868 h 7458372"/>
              <a:gd name="connsiteX39396" fmla="*/ 8973760 w 10505529"/>
              <a:gd name="connsiteY39396" fmla="*/ 921320 h 7458372"/>
              <a:gd name="connsiteX39397" fmla="*/ 8964442 w 10505529"/>
              <a:gd name="connsiteY39397" fmla="*/ 927577 h 7458372"/>
              <a:gd name="connsiteX39398" fmla="*/ 8952728 w 10505529"/>
              <a:gd name="connsiteY39398" fmla="*/ 929840 h 7458372"/>
              <a:gd name="connsiteX39399" fmla="*/ 8930896 w 10505529"/>
              <a:gd name="connsiteY39399" fmla="*/ 921320 h 7458372"/>
              <a:gd name="connsiteX39400" fmla="*/ 8922510 w 10505529"/>
              <a:gd name="connsiteY39400" fmla="*/ 900154 h 7458372"/>
              <a:gd name="connsiteX39401" fmla="*/ 8930896 w 10505529"/>
              <a:gd name="connsiteY39401" fmla="*/ 879122 h 7458372"/>
              <a:gd name="connsiteX39402" fmla="*/ 8952728 w 10505529"/>
              <a:gd name="connsiteY39402" fmla="*/ 870469 h 7458372"/>
              <a:gd name="connsiteX39403" fmla="*/ 9387885 w 10505529"/>
              <a:gd name="connsiteY39403" fmla="*/ 870468 h 7458372"/>
              <a:gd name="connsiteX39404" fmla="*/ 9399599 w 10505529"/>
              <a:gd name="connsiteY39404" fmla="*/ 872997 h 7458372"/>
              <a:gd name="connsiteX39405" fmla="*/ 9408917 w 10505529"/>
              <a:gd name="connsiteY39405" fmla="*/ 879388 h 7458372"/>
              <a:gd name="connsiteX39406" fmla="*/ 9415041 w 10505529"/>
              <a:gd name="connsiteY39406" fmla="*/ 888706 h 7458372"/>
              <a:gd name="connsiteX39407" fmla="*/ 9417304 w 10505529"/>
              <a:gd name="connsiteY39407" fmla="*/ 900154 h 7458372"/>
              <a:gd name="connsiteX39408" fmla="*/ 9415041 w 10505529"/>
              <a:gd name="connsiteY39408" fmla="*/ 911868 h 7458372"/>
              <a:gd name="connsiteX39409" fmla="*/ 9408917 w 10505529"/>
              <a:gd name="connsiteY39409" fmla="*/ 921319 h 7458372"/>
              <a:gd name="connsiteX39410" fmla="*/ 9399599 w 10505529"/>
              <a:gd name="connsiteY39410" fmla="*/ 927577 h 7458372"/>
              <a:gd name="connsiteX39411" fmla="*/ 9387885 w 10505529"/>
              <a:gd name="connsiteY39411" fmla="*/ 929839 h 7458372"/>
              <a:gd name="connsiteX39412" fmla="*/ 9366053 w 10505529"/>
              <a:gd name="connsiteY39412" fmla="*/ 921319 h 7458372"/>
              <a:gd name="connsiteX39413" fmla="*/ 9357667 w 10505529"/>
              <a:gd name="connsiteY39413" fmla="*/ 900154 h 7458372"/>
              <a:gd name="connsiteX39414" fmla="*/ 9366053 w 10505529"/>
              <a:gd name="connsiteY39414" fmla="*/ 879122 h 7458372"/>
              <a:gd name="connsiteX39415" fmla="*/ 9387885 w 10505529"/>
              <a:gd name="connsiteY39415" fmla="*/ 870468 h 7458372"/>
              <a:gd name="connsiteX39416" fmla="*/ 9170374 w 10505529"/>
              <a:gd name="connsiteY39416" fmla="*/ 870468 h 7458372"/>
              <a:gd name="connsiteX39417" fmla="*/ 9182088 w 10505529"/>
              <a:gd name="connsiteY39417" fmla="*/ 872998 h 7458372"/>
              <a:gd name="connsiteX39418" fmla="*/ 9191405 w 10505529"/>
              <a:gd name="connsiteY39418" fmla="*/ 879388 h 7458372"/>
              <a:gd name="connsiteX39419" fmla="*/ 9197529 w 10505529"/>
              <a:gd name="connsiteY39419" fmla="*/ 888706 h 7458372"/>
              <a:gd name="connsiteX39420" fmla="*/ 9199792 w 10505529"/>
              <a:gd name="connsiteY39420" fmla="*/ 900154 h 7458372"/>
              <a:gd name="connsiteX39421" fmla="*/ 9197529 w 10505529"/>
              <a:gd name="connsiteY39421" fmla="*/ 911868 h 7458372"/>
              <a:gd name="connsiteX39422" fmla="*/ 9191405 w 10505529"/>
              <a:gd name="connsiteY39422" fmla="*/ 921320 h 7458372"/>
              <a:gd name="connsiteX39423" fmla="*/ 9182088 w 10505529"/>
              <a:gd name="connsiteY39423" fmla="*/ 927577 h 7458372"/>
              <a:gd name="connsiteX39424" fmla="*/ 9170374 w 10505529"/>
              <a:gd name="connsiteY39424" fmla="*/ 929839 h 7458372"/>
              <a:gd name="connsiteX39425" fmla="*/ 9148541 w 10505529"/>
              <a:gd name="connsiteY39425" fmla="*/ 921320 h 7458372"/>
              <a:gd name="connsiteX39426" fmla="*/ 9140155 w 10505529"/>
              <a:gd name="connsiteY39426" fmla="*/ 900154 h 7458372"/>
              <a:gd name="connsiteX39427" fmla="*/ 9148541 w 10505529"/>
              <a:gd name="connsiteY39427" fmla="*/ 879122 h 7458372"/>
              <a:gd name="connsiteX39428" fmla="*/ 9170374 w 10505529"/>
              <a:gd name="connsiteY39428" fmla="*/ 870468 h 7458372"/>
              <a:gd name="connsiteX39429" fmla="*/ 9605531 w 10505529"/>
              <a:gd name="connsiteY39429" fmla="*/ 870468 h 7458372"/>
              <a:gd name="connsiteX39430" fmla="*/ 9617245 w 10505529"/>
              <a:gd name="connsiteY39430" fmla="*/ 872997 h 7458372"/>
              <a:gd name="connsiteX39431" fmla="*/ 9626562 w 10505529"/>
              <a:gd name="connsiteY39431" fmla="*/ 879387 h 7458372"/>
              <a:gd name="connsiteX39432" fmla="*/ 9632686 w 10505529"/>
              <a:gd name="connsiteY39432" fmla="*/ 888706 h 7458372"/>
              <a:gd name="connsiteX39433" fmla="*/ 9634949 w 10505529"/>
              <a:gd name="connsiteY39433" fmla="*/ 900154 h 7458372"/>
              <a:gd name="connsiteX39434" fmla="*/ 9632686 w 10505529"/>
              <a:gd name="connsiteY39434" fmla="*/ 911868 h 7458372"/>
              <a:gd name="connsiteX39435" fmla="*/ 9626562 w 10505529"/>
              <a:gd name="connsiteY39435" fmla="*/ 921319 h 7458372"/>
              <a:gd name="connsiteX39436" fmla="*/ 9617245 w 10505529"/>
              <a:gd name="connsiteY39436" fmla="*/ 927576 h 7458372"/>
              <a:gd name="connsiteX39437" fmla="*/ 9605531 w 10505529"/>
              <a:gd name="connsiteY39437" fmla="*/ 929839 h 7458372"/>
              <a:gd name="connsiteX39438" fmla="*/ 9583698 w 10505529"/>
              <a:gd name="connsiteY39438" fmla="*/ 921319 h 7458372"/>
              <a:gd name="connsiteX39439" fmla="*/ 9575312 w 10505529"/>
              <a:gd name="connsiteY39439" fmla="*/ 900154 h 7458372"/>
              <a:gd name="connsiteX39440" fmla="*/ 9583698 w 10505529"/>
              <a:gd name="connsiteY39440" fmla="*/ 879121 h 7458372"/>
              <a:gd name="connsiteX39441" fmla="*/ 9605531 w 10505529"/>
              <a:gd name="connsiteY39441" fmla="*/ 870468 h 7458372"/>
              <a:gd name="connsiteX39442" fmla="*/ 10040820 w 10505529"/>
              <a:gd name="connsiteY39442" fmla="*/ 870468 h 7458372"/>
              <a:gd name="connsiteX39443" fmla="*/ 10052534 w 10505529"/>
              <a:gd name="connsiteY39443" fmla="*/ 872997 h 7458372"/>
              <a:gd name="connsiteX39444" fmla="*/ 10061852 w 10505529"/>
              <a:gd name="connsiteY39444" fmla="*/ 879387 h 7458372"/>
              <a:gd name="connsiteX39445" fmla="*/ 10067976 w 10505529"/>
              <a:gd name="connsiteY39445" fmla="*/ 888705 h 7458372"/>
              <a:gd name="connsiteX39446" fmla="*/ 10070239 w 10505529"/>
              <a:gd name="connsiteY39446" fmla="*/ 900154 h 7458372"/>
              <a:gd name="connsiteX39447" fmla="*/ 10067976 w 10505529"/>
              <a:gd name="connsiteY39447" fmla="*/ 911868 h 7458372"/>
              <a:gd name="connsiteX39448" fmla="*/ 10061852 w 10505529"/>
              <a:gd name="connsiteY39448" fmla="*/ 921319 h 7458372"/>
              <a:gd name="connsiteX39449" fmla="*/ 10052534 w 10505529"/>
              <a:gd name="connsiteY39449" fmla="*/ 927576 h 7458372"/>
              <a:gd name="connsiteX39450" fmla="*/ 10040820 w 10505529"/>
              <a:gd name="connsiteY39450" fmla="*/ 929839 h 7458372"/>
              <a:gd name="connsiteX39451" fmla="*/ 10018988 w 10505529"/>
              <a:gd name="connsiteY39451" fmla="*/ 921319 h 7458372"/>
              <a:gd name="connsiteX39452" fmla="*/ 10010602 w 10505529"/>
              <a:gd name="connsiteY39452" fmla="*/ 900154 h 7458372"/>
              <a:gd name="connsiteX39453" fmla="*/ 10018988 w 10505529"/>
              <a:gd name="connsiteY39453" fmla="*/ 879121 h 7458372"/>
              <a:gd name="connsiteX39454" fmla="*/ 10040820 w 10505529"/>
              <a:gd name="connsiteY39454" fmla="*/ 870468 h 7458372"/>
              <a:gd name="connsiteX39455" fmla="*/ 9823176 w 10505529"/>
              <a:gd name="connsiteY39455" fmla="*/ 870468 h 7458372"/>
              <a:gd name="connsiteX39456" fmla="*/ 9834890 w 10505529"/>
              <a:gd name="connsiteY39456" fmla="*/ 872997 h 7458372"/>
              <a:gd name="connsiteX39457" fmla="*/ 9844208 w 10505529"/>
              <a:gd name="connsiteY39457" fmla="*/ 879387 h 7458372"/>
              <a:gd name="connsiteX39458" fmla="*/ 9850331 w 10505529"/>
              <a:gd name="connsiteY39458" fmla="*/ 888706 h 7458372"/>
              <a:gd name="connsiteX39459" fmla="*/ 9852595 w 10505529"/>
              <a:gd name="connsiteY39459" fmla="*/ 900154 h 7458372"/>
              <a:gd name="connsiteX39460" fmla="*/ 9850331 w 10505529"/>
              <a:gd name="connsiteY39460" fmla="*/ 911868 h 7458372"/>
              <a:gd name="connsiteX39461" fmla="*/ 9844208 w 10505529"/>
              <a:gd name="connsiteY39461" fmla="*/ 921319 h 7458372"/>
              <a:gd name="connsiteX39462" fmla="*/ 9834890 w 10505529"/>
              <a:gd name="connsiteY39462" fmla="*/ 927576 h 7458372"/>
              <a:gd name="connsiteX39463" fmla="*/ 9823176 w 10505529"/>
              <a:gd name="connsiteY39463" fmla="*/ 929839 h 7458372"/>
              <a:gd name="connsiteX39464" fmla="*/ 9801343 w 10505529"/>
              <a:gd name="connsiteY39464" fmla="*/ 921319 h 7458372"/>
              <a:gd name="connsiteX39465" fmla="*/ 9792957 w 10505529"/>
              <a:gd name="connsiteY39465" fmla="*/ 900154 h 7458372"/>
              <a:gd name="connsiteX39466" fmla="*/ 9801343 w 10505529"/>
              <a:gd name="connsiteY39466" fmla="*/ 879121 h 7458372"/>
              <a:gd name="connsiteX39467" fmla="*/ 9823176 w 10505529"/>
              <a:gd name="connsiteY39467" fmla="*/ 870468 h 7458372"/>
              <a:gd name="connsiteX39468" fmla="*/ 10475977 w 10505529"/>
              <a:gd name="connsiteY39468" fmla="*/ 870468 h 7458372"/>
              <a:gd name="connsiteX39469" fmla="*/ 10487824 w 10505529"/>
              <a:gd name="connsiteY39469" fmla="*/ 872997 h 7458372"/>
              <a:gd name="connsiteX39470" fmla="*/ 10497143 w 10505529"/>
              <a:gd name="connsiteY39470" fmla="*/ 879387 h 7458372"/>
              <a:gd name="connsiteX39471" fmla="*/ 10503266 w 10505529"/>
              <a:gd name="connsiteY39471" fmla="*/ 888705 h 7458372"/>
              <a:gd name="connsiteX39472" fmla="*/ 10505529 w 10505529"/>
              <a:gd name="connsiteY39472" fmla="*/ 900153 h 7458372"/>
              <a:gd name="connsiteX39473" fmla="*/ 10503266 w 10505529"/>
              <a:gd name="connsiteY39473" fmla="*/ 911868 h 7458372"/>
              <a:gd name="connsiteX39474" fmla="*/ 10497143 w 10505529"/>
              <a:gd name="connsiteY39474" fmla="*/ 921319 h 7458372"/>
              <a:gd name="connsiteX39475" fmla="*/ 10487824 w 10505529"/>
              <a:gd name="connsiteY39475" fmla="*/ 927576 h 7458372"/>
              <a:gd name="connsiteX39476" fmla="*/ 10475977 w 10505529"/>
              <a:gd name="connsiteY39476" fmla="*/ 929839 h 7458372"/>
              <a:gd name="connsiteX39477" fmla="*/ 10454145 w 10505529"/>
              <a:gd name="connsiteY39477" fmla="*/ 921319 h 7458372"/>
              <a:gd name="connsiteX39478" fmla="*/ 10445759 w 10505529"/>
              <a:gd name="connsiteY39478" fmla="*/ 900153 h 7458372"/>
              <a:gd name="connsiteX39479" fmla="*/ 10454145 w 10505529"/>
              <a:gd name="connsiteY39479" fmla="*/ 879121 h 7458372"/>
              <a:gd name="connsiteX39480" fmla="*/ 10475977 w 10505529"/>
              <a:gd name="connsiteY39480" fmla="*/ 870468 h 7458372"/>
              <a:gd name="connsiteX39481" fmla="*/ 10258466 w 10505529"/>
              <a:gd name="connsiteY39481" fmla="*/ 870468 h 7458372"/>
              <a:gd name="connsiteX39482" fmla="*/ 10270313 w 10505529"/>
              <a:gd name="connsiteY39482" fmla="*/ 872997 h 7458372"/>
              <a:gd name="connsiteX39483" fmla="*/ 10279631 w 10505529"/>
              <a:gd name="connsiteY39483" fmla="*/ 879387 h 7458372"/>
              <a:gd name="connsiteX39484" fmla="*/ 10285754 w 10505529"/>
              <a:gd name="connsiteY39484" fmla="*/ 888705 h 7458372"/>
              <a:gd name="connsiteX39485" fmla="*/ 10288017 w 10505529"/>
              <a:gd name="connsiteY39485" fmla="*/ 900154 h 7458372"/>
              <a:gd name="connsiteX39486" fmla="*/ 10285754 w 10505529"/>
              <a:gd name="connsiteY39486" fmla="*/ 911868 h 7458372"/>
              <a:gd name="connsiteX39487" fmla="*/ 10279631 w 10505529"/>
              <a:gd name="connsiteY39487" fmla="*/ 921319 h 7458372"/>
              <a:gd name="connsiteX39488" fmla="*/ 10270313 w 10505529"/>
              <a:gd name="connsiteY39488" fmla="*/ 927576 h 7458372"/>
              <a:gd name="connsiteX39489" fmla="*/ 10258466 w 10505529"/>
              <a:gd name="connsiteY39489" fmla="*/ 929839 h 7458372"/>
              <a:gd name="connsiteX39490" fmla="*/ 10236633 w 10505529"/>
              <a:gd name="connsiteY39490" fmla="*/ 921319 h 7458372"/>
              <a:gd name="connsiteX39491" fmla="*/ 10228247 w 10505529"/>
              <a:gd name="connsiteY39491" fmla="*/ 900154 h 7458372"/>
              <a:gd name="connsiteX39492" fmla="*/ 10236633 w 10505529"/>
              <a:gd name="connsiteY39492" fmla="*/ 879121 h 7458372"/>
              <a:gd name="connsiteX39493" fmla="*/ 10258466 w 10505529"/>
              <a:gd name="connsiteY39493" fmla="*/ 870468 h 7458372"/>
              <a:gd name="connsiteX39494" fmla="*/ 30240 w 10505529"/>
              <a:gd name="connsiteY39494" fmla="*/ 669329 h 7458372"/>
              <a:gd name="connsiteX39495" fmla="*/ 20256 w 10505529"/>
              <a:gd name="connsiteY39495" fmla="*/ 672923 h 7458372"/>
              <a:gd name="connsiteX39496" fmla="*/ 16662 w 10505529"/>
              <a:gd name="connsiteY39496" fmla="*/ 682375 h 7458372"/>
              <a:gd name="connsiteX39497" fmla="*/ 20256 w 10505529"/>
              <a:gd name="connsiteY39497" fmla="*/ 691959 h 7458372"/>
              <a:gd name="connsiteX39498" fmla="*/ 30240 w 10505529"/>
              <a:gd name="connsiteY39498" fmla="*/ 695421 h 7458372"/>
              <a:gd name="connsiteX39499" fmla="*/ 35565 w 10505529"/>
              <a:gd name="connsiteY39499" fmla="*/ 694488 h 7458372"/>
              <a:gd name="connsiteX39500" fmla="*/ 39292 w 10505529"/>
              <a:gd name="connsiteY39500" fmla="*/ 692093 h 7458372"/>
              <a:gd name="connsiteX39501" fmla="*/ 41955 w 10505529"/>
              <a:gd name="connsiteY39501" fmla="*/ 687966 h 7458372"/>
              <a:gd name="connsiteX39502" fmla="*/ 42886 w 10505529"/>
              <a:gd name="connsiteY39502" fmla="*/ 682508 h 7458372"/>
              <a:gd name="connsiteX39503" fmla="*/ 41955 w 10505529"/>
              <a:gd name="connsiteY39503" fmla="*/ 677316 h 7458372"/>
              <a:gd name="connsiteX39504" fmla="*/ 39292 w 10505529"/>
              <a:gd name="connsiteY39504" fmla="*/ 673057 h 7458372"/>
              <a:gd name="connsiteX39505" fmla="*/ 35299 w 10505529"/>
              <a:gd name="connsiteY39505" fmla="*/ 670394 h 7458372"/>
              <a:gd name="connsiteX39506" fmla="*/ 30240 w 10505529"/>
              <a:gd name="connsiteY39506" fmla="*/ 669329 h 7458372"/>
              <a:gd name="connsiteX39507" fmla="*/ 465528 w 10505529"/>
              <a:gd name="connsiteY39507" fmla="*/ 669329 h 7458372"/>
              <a:gd name="connsiteX39508" fmla="*/ 455545 w 10505529"/>
              <a:gd name="connsiteY39508" fmla="*/ 672923 h 7458372"/>
              <a:gd name="connsiteX39509" fmla="*/ 451951 w 10505529"/>
              <a:gd name="connsiteY39509" fmla="*/ 682375 h 7458372"/>
              <a:gd name="connsiteX39510" fmla="*/ 455545 w 10505529"/>
              <a:gd name="connsiteY39510" fmla="*/ 691959 h 7458372"/>
              <a:gd name="connsiteX39511" fmla="*/ 465528 w 10505529"/>
              <a:gd name="connsiteY39511" fmla="*/ 695420 h 7458372"/>
              <a:gd name="connsiteX39512" fmla="*/ 470853 w 10505529"/>
              <a:gd name="connsiteY39512" fmla="*/ 694488 h 7458372"/>
              <a:gd name="connsiteX39513" fmla="*/ 474580 w 10505529"/>
              <a:gd name="connsiteY39513" fmla="*/ 692092 h 7458372"/>
              <a:gd name="connsiteX39514" fmla="*/ 477244 w 10505529"/>
              <a:gd name="connsiteY39514" fmla="*/ 687966 h 7458372"/>
              <a:gd name="connsiteX39515" fmla="*/ 478308 w 10505529"/>
              <a:gd name="connsiteY39515" fmla="*/ 682508 h 7458372"/>
              <a:gd name="connsiteX39516" fmla="*/ 477244 w 10505529"/>
              <a:gd name="connsiteY39516" fmla="*/ 677316 h 7458372"/>
              <a:gd name="connsiteX39517" fmla="*/ 474580 w 10505529"/>
              <a:gd name="connsiteY39517" fmla="*/ 673057 h 7458372"/>
              <a:gd name="connsiteX39518" fmla="*/ 470588 w 10505529"/>
              <a:gd name="connsiteY39518" fmla="*/ 670394 h 7458372"/>
              <a:gd name="connsiteX39519" fmla="*/ 465528 w 10505529"/>
              <a:gd name="connsiteY39519" fmla="*/ 669329 h 7458372"/>
              <a:gd name="connsiteX39520" fmla="*/ 247884 w 10505529"/>
              <a:gd name="connsiteY39520" fmla="*/ 669329 h 7458372"/>
              <a:gd name="connsiteX39521" fmla="*/ 237901 w 10505529"/>
              <a:gd name="connsiteY39521" fmla="*/ 672923 h 7458372"/>
              <a:gd name="connsiteX39522" fmla="*/ 234307 w 10505529"/>
              <a:gd name="connsiteY39522" fmla="*/ 682375 h 7458372"/>
              <a:gd name="connsiteX39523" fmla="*/ 237901 w 10505529"/>
              <a:gd name="connsiteY39523" fmla="*/ 691959 h 7458372"/>
              <a:gd name="connsiteX39524" fmla="*/ 247884 w 10505529"/>
              <a:gd name="connsiteY39524" fmla="*/ 695420 h 7458372"/>
              <a:gd name="connsiteX39525" fmla="*/ 253209 w 10505529"/>
              <a:gd name="connsiteY39525" fmla="*/ 694488 h 7458372"/>
              <a:gd name="connsiteX39526" fmla="*/ 256936 w 10505529"/>
              <a:gd name="connsiteY39526" fmla="*/ 692092 h 7458372"/>
              <a:gd name="connsiteX39527" fmla="*/ 259599 w 10505529"/>
              <a:gd name="connsiteY39527" fmla="*/ 687966 h 7458372"/>
              <a:gd name="connsiteX39528" fmla="*/ 260664 w 10505529"/>
              <a:gd name="connsiteY39528" fmla="*/ 682508 h 7458372"/>
              <a:gd name="connsiteX39529" fmla="*/ 259599 w 10505529"/>
              <a:gd name="connsiteY39529" fmla="*/ 677316 h 7458372"/>
              <a:gd name="connsiteX39530" fmla="*/ 256936 w 10505529"/>
              <a:gd name="connsiteY39530" fmla="*/ 673057 h 7458372"/>
              <a:gd name="connsiteX39531" fmla="*/ 252943 w 10505529"/>
              <a:gd name="connsiteY39531" fmla="*/ 670394 h 7458372"/>
              <a:gd name="connsiteX39532" fmla="*/ 247884 w 10505529"/>
              <a:gd name="connsiteY39532" fmla="*/ 669329 h 7458372"/>
              <a:gd name="connsiteX39533" fmla="*/ 683173 w 10505529"/>
              <a:gd name="connsiteY39533" fmla="*/ 669329 h 7458372"/>
              <a:gd name="connsiteX39534" fmla="*/ 673189 w 10505529"/>
              <a:gd name="connsiteY39534" fmla="*/ 672923 h 7458372"/>
              <a:gd name="connsiteX39535" fmla="*/ 669596 w 10505529"/>
              <a:gd name="connsiteY39535" fmla="*/ 682375 h 7458372"/>
              <a:gd name="connsiteX39536" fmla="*/ 673189 w 10505529"/>
              <a:gd name="connsiteY39536" fmla="*/ 691959 h 7458372"/>
              <a:gd name="connsiteX39537" fmla="*/ 683173 w 10505529"/>
              <a:gd name="connsiteY39537" fmla="*/ 695420 h 7458372"/>
              <a:gd name="connsiteX39538" fmla="*/ 688498 w 10505529"/>
              <a:gd name="connsiteY39538" fmla="*/ 694488 h 7458372"/>
              <a:gd name="connsiteX39539" fmla="*/ 692225 w 10505529"/>
              <a:gd name="connsiteY39539" fmla="*/ 692092 h 7458372"/>
              <a:gd name="connsiteX39540" fmla="*/ 694888 w 10505529"/>
              <a:gd name="connsiteY39540" fmla="*/ 687966 h 7458372"/>
              <a:gd name="connsiteX39541" fmla="*/ 695953 w 10505529"/>
              <a:gd name="connsiteY39541" fmla="*/ 682508 h 7458372"/>
              <a:gd name="connsiteX39542" fmla="*/ 694888 w 10505529"/>
              <a:gd name="connsiteY39542" fmla="*/ 677316 h 7458372"/>
              <a:gd name="connsiteX39543" fmla="*/ 692225 w 10505529"/>
              <a:gd name="connsiteY39543" fmla="*/ 673057 h 7458372"/>
              <a:gd name="connsiteX39544" fmla="*/ 688232 w 10505529"/>
              <a:gd name="connsiteY39544" fmla="*/ 670394 h 7458372"/>
              <a:gd name="connsiteX39545" fmla="*/ 683173 w 10505529"/>
              <a:gd name="connsiteY39545" fmla="*/ 669329 h 7458372"/>
              <a:gd name="connsiteX39546" fmla="*/ 1118462 w 10505529"/>
              <a:gd name="connsiteY39546" fmla="*/ 669329 h 7458372"/>
              <a:gd name="connsiteX39547" fmla="*/ 1108478 w 10505529"/>
              <a:gd name="connsiteY39547" fmla="*/ 672923 h 7458372"/>
              <a:gd name="connsiteX39548" fmla="*/ 1104751 w 10505529"/>
              <a:gd name="connsiteY39548" fmla="*/ 682375 h 7458372"/>
              <a:gd name="connsiteX39549" fmla="*/ 1108346 w 10505529"/>
              <a:gd name="connsiteY39549" fmla="*/ 691959 h 7458372"/>
              <a:gd name="connsiteX39550" fmla="*/ 1118329 w 10505529"/>
              <a:gd name="connsiteY39550" fmla="*/ 695420 h 7458372"/>
              <a:gd name="connsiteX39551" fmla="*/ 1123787 w 10505529"/>
              <a:gd name="connsiteY39551" fmla="*/ 694488 h 7458372"/>
              <a:gd name="connsiteX39552" fmla="*/ 1127514 w 10505529"/>
              <a:gd name="connsiteY39552" fmla="*/ 692092 h 7458372"/>
              <a:gd name="connsiteX39553" fmla="*/ 1130177 w 10505529"/>
              <a:gd name="connsiteY39553" fmla="*/ 687966 h 7458372"/>
              <a:gd name="connsiteX39554" fmla="*/ 1131242 w 10505529"/>
              <a:gd name="connsiteY39554" fmla="*/ 682508 h 7458372"/>
              <a:gd name="connsiteX39555" fmla="*/ 1130177 w 10505529"/>
              <a:gd name="connsiteY39555" fmla="*/ 677316 h 7458372"/>
              <a:gd name="connsiteX39556" fmla="*/ 1127514 w 10505529"/>
              <a:gd name="connsiteY39556" fmla="*/ 673057 h 7458372"/>
              <a:gd name="connsiteX39557" fmla="*/ 1123521 w 10505529"/>
              <a:gd name="connsiteY39557" fmla="*/ 670394 h 7458372"/>
              <a:gd name="connsiteX39558" fmla="*/ 1118462 w 10505529"/>
              <a:gd name="connsiteY39558" fmla="*/ 669329 h 7458372"/>
              <a:gd name="connsiteX39559" fmla="*/ 900951 w 10505529"/>
              <a:gd name="connsiteY39559" fmla="*/ 669329 h 7458372"/>
              <a:gd name="connsiteX39560" fmla="*/ 890967 w 10505529"/>
              <a:gd name="connsiteY39560" fmla="*/ 672923 h 7458372"/>
              <a:gd name="connsiteX39561" fmla="*/ 887240 w 10505529"/>
              <a:gd name="connsiteY39561" fmla="*/ 682375 h 7458372"/>
              <a:gd name="connsiteX39562" fmla="*/ 890834 w 10505529"/>
              <a:gd name="connsiteY39562" fmla="*/ 691959 h 7458372"/>
              <a:gd name="connsiteX39563" fmla="*/ 900817 w 10505529"/>
              <a:gd name="connsiteY39563" fmla="*/ 695420 h 7458372"/>
              <a:gd name="connsiteX39564" fmla="*/ 906275 w 10505529"/>
              <a:gd name="connsiteY39564" fmla="*/ 694488 h 7458372"/>
              <a:gd name="connsiteX39565" fmla="*/ 910003 w 10505529"/>
              <a:gd name="connsiteY39565" fmla="*/ 692092 h 7458372"/>
              <a:gd name="connsiteX39566" fmla="*/ 912665 w 10505529"/>
              <a:gd name="connsiteY39566" fmla="*/ 687966 h 7458372"/>
              <a:gd name="connsiteX39567" fmla="*/ 913730 w 10505529"/>
              <a:gd name="connsiteY39567" fmla="*/ 682508 h 7458372"/>
              <a:gd name="connsiteX39568" fmla="*/ 912665 w 10505529"/>
              <a:gd name="connsiteY39568" fmla="*/ 677316 h 7458372"/>
              <a:gd name="connsiteX39569" fmla="*/ 910003 w 10505529"/>
              <a:gd name="connsiteY39569" fmla="*/ 673057 h 7458372"/>
              <a:gd name="connsiteX39570" fmla="*/ 906009 w 10505529"/>
              <a:gd name="connsiteY39570" fmla="*/ 670394 h 7458372"/>
              <a:gd name="connsiteX39571" fmla="*/ 900951 w 10505529"/>
              <a:gd name="connsiteY39571" fmla="*/ 669329 h 7458372"/>
              <a:gd name="connsiteX39572" fmla="*/ 1335974 w 10505529"/>
              <a:gd name="connsiteY39572" fmla="*/ 669328 h 7458372"/>
              <a:gd name="connsiteX39573" fmla="*/ 1325991 w 10505529"/>
              <a:gd name="connsiteY39573" fmla="*/ 672923 h 7458372"/>
              <a:gd name="connsiteX39574" fmla="*/ 1322397 w 10505529"/>
              <a:gd name="connsiteY39574" fmla="*/ 682375 h 7458372"/>
              <a:gd name="connsiteX39575" fmla="*/ 1325991 w 10505529"/>
              <a:gd name="connsiteY39575" fmla="*/ 691959 h 7458372"/>
              <a:gd name="connsiteX39576" fmla="*/ 1335974 w 10505529"/>
              <a:gd name="connsiteY39576" fmla="*/ 695420 h 7458372"/>
              <a:gd name="connsiteX39577" fmla="*/ 1341299 w 10505529"/>
              <a:gd name="connsiteY39577" fmla="*/ 694488 h 7458372"/>
              <a:gd name="connsiteX39578" fmla="*/ 1345026 w 10505529"/>
              <a:gd name="connsiteY39578" fmla="*/ 692092 h 7458372"/>
              <a:gd name="connsiteX39579" fmla="*/ 1347689 w 10505529"/>
              <a:gd name="connsiteY39579" fmla="*/ 687966 h 7458372"/>
              <a:gd name="connsiteX39580" fmla="*/ 1348754 w 10505529"/>
              <a:gd name="connsiteY39580" fmla="*/ 682508 h 7458372"/>
              <a:gd name="connsiteX39581" fmla="*/ 1347689 w 10505529"/>
              <a:gd name="connsiteY39581" fmla="*/ 677316 h 7458372"/>
              <a:gd name="connsiteX39582" fmla="*/ 1345026 w 10505529"/>
              <a:gd name="connsiteY39582" fmla="*/ 673057 h 7458372"/>
              <a:gd name="connsiteX39583" fmla="*/ 1341033 w 10505529"/>
              <a:gd name="connsiteY39583" fmla="*/ 670394 h 7458372"/>
              <a:gd name="connsiteX39584" fmla="*/ 1335974 w 10505529"/>
              <a:gd name="connsiteY39584" fmla="*/ 669328 h 7458372"/>
              <a:gd name="connsiteX39585" fmla="*/ 1553619 w 10505529"/>
              <a:gd name="connsiteY39585" fmla="*/ 669328 h 7458372"/>
              <a:gd name="connsiteX39586" fmla="*/ 1543636 w 10505529"/>
              <a:gd name="connsiteY39586" fmla="*/ 672922 h 7458372"/>
              <a:gd name="connsiteX39587" fmla="*/ 1540041 w 10505529"/>
              <a:gd name="connsiteY39587" fmla="*/ 682375 h 7458372"/>
              <a:gd name="connsiteX39588" fmla="*/ 1543636 w 10505529"/>
              <a:gd name="connsiteY39588" fmla="*/ 691959 h 7458372"/>
              <a:gd name="connsiteX39589" fmla="*/ 1553619 w 10505529"/>
              <a:gd name="connsiteY39589" fmla="*/ 695420 h 7458372"/>
              <a:gd name="connsiteX39590" fmla="*/ 1558944 w 10505529"/>
              <a:gd name="connsiteY39590" fmla="*/ 694488 h 7458372"/>
              <a:gd name="connsiteX39591" fmla="*/ 1562671 w 10505529"/>
              <a:gd name="connsiteY39591" fmla="*/ 692092 h 7458372"/>
              <a:gd name="connsiteX39592" fmla="*/ 1565334 w 10505529"/>
              <a:gd name="connsiteY39592" fmla="*/ 687966 h 7458372"/>
              <a:gd name="connsiteX39593" fmla="*/ 1566399 w 10505529"/>
              <a:gd name="connsiteY39593" fmla="*/ 682508 h 7458372"/>
              <a:gd name="connsiteX39594" fmla="*/ 1565334 w 10505529"/>
              <a:gd name="connsiteY39594" fmla="*/ 677316 h 7458372"/>
              <a:gd name="connsiteX39595" fmla="*/ 1562671 w 10505529"/>
              <a:gd name="connsiteY39595" fmla="*/ 673056 h 7458372"/>
              <a:gd name="connsiteX39596" fmla="*/ 1558677 w 10505529"/>
              <a:gd name="connsiteY39596" fmla="*/ 670393 h 7458372"/>
              <a:gd name="connsiteX39597" fmla="*/ 1553619 w 10505529"/>
              <a:gd name="connsiteY39597" fmla="*/ 669328 h 7458372"/>
              <a:gd name="connsiteX39598" fmla="*/ 1771263 w 10505529"/>
              <a:gd name="connsiteY39598" fmla="*/ 669328 h 7458372"/>
              <a:gd name="connsiteX39599" fmla="*/ 1761280 w 10505529"/>
              <a:gd name="connsiteY39599" fmla="*/ 672922 h 7458372"/>
              <a:gd name="connsiteX39600" fmla="*/ 1757686 w 10505529"/>
              <a:gd name="connsiteY39600" fmla="*/ 682375 h 7458372"/>
              <a:gd name="connsiteX39601" fmla="*/ 1761280 w 10505529"/>
              <a:gd name="connsiteY39601" fmla="*/ 691959 h 7458372"/>
              <a:gd name="connsiteX39602" fmla="*/ 1771263 w 10505529"/>
              <a:gd name="connsiteY39602" fmla="*/ 695420 h 7458372"/>
              <a:gd name="connsiteX39603" fmla="*/ 1776588 w 10505529"/>
              <a:gd name="connsiteY39603" fmla="*/ 694488 h 7458372"/>
              <a:gd name="connsiteX39604" fmla="*/ 1780315 w 10505529"/>
              <a:gd name="connsiteY39604" fmla="*/ 692092 h 7458372"/>
              <a:gd name="connsiteX39605" fmla="*/ 1782978 w 10505529"/>
              <a:gd name="connsiteY39605" fmla="*/ 687966 h 7458372"/>
              <a:gd name="connsiteX39606" fmla="*/ 1784043 w 10505529"/>
              <a:gd name="connsiteY39606" fmla="*/ 682508 h 7458372"/>
              <a:gd name="connsiteX39607" fmla="*/ 1782978 w 10505529"/>
              <a:gd name="connsiteY39607" fmla="*/ 677315 h 7458372"/>
              <a:gd name="connsiteX39608" fmla="*/ 1780315 w 10505529"/>
              <a:gd name="connsiteY39608" fmla="*/ 673056 h 7458372"/>
              <a:gd name="connsiteX39609" fmla="*/ 1776322 w 10505529"/>
              <a:gd name="connsiteY39609" fmla="*/ 670393 h 7458372"/>
              <a:gd name="connsiteX39610" fmla="*/ 1771263 w 10505529"/>
              <a:gd name="connsiteY39610" fmla="*/ 669328 h 7458372"/>
              <a:gd name="connsiteX39611" fmla="*/ 1988906 w 10505529"/>
              <a:gd name="connsiteY39611" fmla="*/ 669328 h 7458372"/>
              <a:gd name="connsiteX39612" fmla="*/ 1978923 w 10505529"/>
              <a:gd name="connsiteY39612" fmla="*/ 672922 h 7458372"/>
              <a:gd name="connsiteX39613" fmla="*/ 1975329 w 10505529"/>
              <a:gd name="connsiteY39613" fmla="*/ 682374 h 7458372"/>
              <a:gd name="connsiteX39614" fmla="*/ 1978923 w 10505529"/>
              <a:gd name="connsiteY39614" fmla="*/ 691959 h 7458372"/>
              <a:gd name="connsiteX39615" fmla="*/ 1988906 w 10505529"/>
              <a:gd name="connsiteY39615" fmla="*/ 695420 h 7458372"/>
              <a:gd name="connsiteX39616" fmla="*/ 1994231 w 10505529"/>
              <a:gd name="connsiteY39616" fmla="*/ 694488 h 7458372"/>
              <a:gd name="connsiteX39617" fmla="*/ 1997959 w 10505529"/>
              <a:gd name="connsiteY39617" fmla="*/ 692092 h 7458372"/>
              <a:gd name="connsiteX39618" fmla="*/ 2000622 w 10505529"/>
              <a:gd name="connsiteY39618" fmla="*/ 687966 h 7458372"/>
              <a:gd name="connsiteX39619" fmla="*/ 2001552 w 10505529"/>
              <a:gd name="connsiteY39619" fmla="*/ 682507 h 7458372"/>
              <a:gd name="connsiteX39620" fmla="*/ 2000622 w 10505529"/>
              <a:gd name="connsiteY39620" fmla="*/ 677315 h 7458372"/>
              <a:gd name="connsiteX39621" fmla="*/ 1997959 w 10505529"/>
              <a:gd name="connsiteY39621" fmla="*/ 673056 h 7458372"/>
              <a:gd name="connsiteX39622" fmla="*/ 1993965 w 10505529"/>
              <a:gd name="connsiteY39622" fmla="*/ 670393 h 7458372"/>
              <a:gd name="connsiteX39623" fmla="*/ 1988906 w 10505529"/>
              <a:gd name="connsiteY39623" fmla="*/ 669328 h 7458372"/>
              <a:gd name="connsiteX39624" fmla="*/ 2206421 w 10505529"/>
              <a:gd name="connsiteY39624" fmla="*/ 669328 h 7458372"/>
              <a:gd name="connsiteX39625" fmla="*/ 2196437 w 10505529"/>
              <a:gd name="connsiteY39625" fmla="*/ 672922 h 7458372"/>
              <a:gd name="connsiteX39626" fmla="*/ 2192843 w 10505529"/>
              <a:gd name="connsiteY39626" fmla="*/ 682374 h 7458372"/>
              <a:gd name="connsiteX39627" fmla="*/ 2196437 w 10505529"/>
              <a:gd name="connsiteY39627" fmla="*/ 691958 h 7458372"/>
              <a:gd name="connsiteX39628" fmla="*/ 2206421 w 10505529"/>
              <a:gd name="connsiteY39628" fmla="*/ 695420 h 7458372"/>
              <a:gd name="connsiteX39629" fmla="*/ 2211746 w 10505529"/>
              <a:gd name="connsiteY39629" fmla="*/ 694487 h 7458372"/>
              <a:gd name="connsiteX39630" fmla="*/ 2215473 w 10505529"/>
              <a:gd name="connsiteY39630" fmla="*/ 692092 h 7458372"/>
              <a:gd name="connsiteX39631" fmla="*/ 2218136 w 10505529"/>
              <a:gd name="connsiteY39631" fmla="*/ 687966 h 7458372"/>
              <a:gd name="connsiteX39632" fmla="*/ 2219067 w 10505529"/>
              <a:gd name="connsiteY39632" fmla="*/ 682507 h 7458372"/>
              <a:gd name="connsiteX39633" fmla="*/ 2218136 w 10505529"/>
              <a:gd name="connsiteY39633" fmla="*/ 677315 h 7458372"/>
              <a:gd name="connsiteX39634" fmla="*/ 2215473 w 10505529"/>
              <a:gd name="connsiteY39634" fmla="*/ 673056 h 7458372"/>
              <a:gd name="connsiteX39635" fmla="*/ 2211480 w 10505529"/>
              <a:gd name="connsiteY39635" fmla="*/ 670393 h 7458372"/>
              <a:gd name="connsiteX39636" fmla="*/ 2206421 w 10505529"/>
              <a:gd name="connsiteY39636" fmla="*/ 669328 h 7458372"/>
              <a:gd name="connsiteX39637" fmla="*/ 2424067 w 10505529"/>
              <a:gd name="connsiteY39637" fmla="*/ 669328 h 7458372"/>
              <a:gd name="connsiteX39638" fmla="*/ 2414084 w 10505529"/>
              <a:gd name="connsiteY39638" fmla="*/ 672922 h 7458372"/>
              <a:gd name="connsiteX39639" fmla="*/ 2410490 w 10505529"/>
              <a:gd name="connsiteY39639" fmla="*/ 682374 h 7458372"/>
              <a:gd name="connsiteX39640" fmla="*/ 2414084 w 10505529"/>
              <a:gd name="connsiteY39640" fmla="*/ 691958 h 7458372"/>
              <a:gd name="connsiteX39641" fmla="*/ 2424067 w 10505529"/>
              <a:gd name="connsiteY39641" fmla="*/ 695419 h 7458372"/>
              <a:gd name="connsiteX39642" fmla="*/ 2429393 w 10505529"/>
              <a:gd name="connsiteY39642" fmla="*/ 694487 h 7458372"/>
              <a:gd name="connsiteX39643" fmla="*/ 2433120 w 10505529"/>
              <a:gd name="connsiteY39643" fmla="*/ 692092 h 7458372"/>
              <a:gd name="connsiteX39644" fmla="*/ 2435783 w 10505529"/>
              <a:gd name="connsiteY39644" fmla="*/ 687965 h 7458372"/>
              <a:gd name="connsiteX39645" fmla="*/ 2436714 w 10505529"/>
              <a:gd name="connsiteY39645" fmla="*/ 682507 h 7458372"/>
              <a:gd name="connsiteX39646" fmla="*/ 2435783 w 10505529"/>
              <a:gd name="connsiteY39646" fmla="*/ 677315 h 7458372"/>
              <a:gd name="connsiteX39647" fmla="*/ 2433120 w 10505529"/>
              <a:gd name="connsiteY39647" fmla="*/ 673056 h 7458372"/>
              <a:gd name="connsiteX39648" fmla="*/ 2429127 w 10505529"/>
              <a:gd name="connsiteY39648" fmla="*/ 670393 h 7458372"/>
              <a:gd name="connsiteX39649" fmla="*/ 2424067 w 10505529"/>
              <a:gd name="connsiteY39649" fmla="*/ 669328 h 7458372"/>
              <a:gd name="connsiteX39650" fmla="*/ 2641715 w 10505529"/>
              <a:gd name="connsiteY39650" fmla="*/ 669328 h 7458372"/>
              <a:gd name="connsiteX39651" fmla="*/ 2631732 w 10505529"/>
              <a:gd name="connsiteY39651" fmla="*/ 672922 h 7458372"/>
              <a:gd name="connsiteX39652" fmla="*/ 2628138 w 10505529"/>
              <a:gd name="connsiteY39652" fmla="*/ 682374 h 7458372"/>
              <a:gd name="connsiteX39653" fmla="*/ 2631732 w 10505529"/>
              <a:gd name="connsiteY39653" fmla="*/ 691958 h 7458372"/>
              <a:gd name="connsiteX39654" fmla="*/ 2641715 w 10505529"/>
              <a:gd name="connsiteY39654" fmla="*/ 695419 h 7458372"/>
              <a:gd name="connsiteX39655" fmla="*/ 2647040 w 10505529"/>
              <a:gd name="connsiteY39655" fmla="*/ 694487 h 7458372"/>
              <a:gd name="connsiteX39656" fmla="*/ 2650767 w 10505529"/>
              <a:gd name="connsiteY39656" fmla="*/ 692091 h 7458372"/>
              <a:gd name="connsiteX39657" fmla="*/ 2653430 w 10505529"/>
              <a:gd name="connsiteY39657" fmla="*/ 687965 h 7458372"/>
              <a:gd name="connsiteX39658" fmla="*/ 2654361 w 10505529"/>
              <a:gd name="connsiteY39658" fmla="*/ 682507 h 7458372"/>
              <a:gd name="connsiteX39659" fmla="*/ 2653430 w 10505529"/>
              <a:gd name="connsiteY39659" fmla="*/ 677315 h 7458372"/>
              <a:gd name="connsiteX39660" fmla="*/ 2650767 w 10505529"/>
              <a:gd name="connsiteY39660" fmla="*/ 673056 h 7458372"/>
              <a:gd name="connsiteX39661" fmla="*/ 2646774 w 10505529"/>
              <a:gd name="connsiteY39661" fmla="*/ 670393 h 7458372"/>
              <a:gd name="connsiteX39662" fmla="*/ 2641715 w 10505529"/>
              <a:gd name="connsiteY39662" fmla="*/ 669328 h 7458372"/>
              <a:gd name="connsiteX39663" fmla="*/ 2859362 w 10505529"/>
              <a:gd name="connsiteY39663" fmla="*/ 669328 h 7458372"/>
              <a:gd name="connsiteX39664" fmla="*/ 2849379 w 10505529"/>
              <a:gd name="connsiteY39664" fmla="*/ 672922 h 7458372"/>
              <a:gd name="connsiteX39665" fmla="*/ 2845784 w 10505529"/>
              <a:gd name="connsiteY39665" fmla="*/ 682374 h 7458372"/>
              <a:gd name="connsiteX39666" fmla="*/ 2849379 w 10505529"/>
              <a:gd name="connsiteY39666" fmla="*/ 691958 h 7458372"/>
              <a:gd name="connsiteX39667" fmla="*/ 2859362 w 10505529"/>
              <a:gd name="connsiteY39667" fmla="*/ 695419 h 7458372"/>
              <a:gd name="connsiteX39668" fmla="*/ 2864687 w 10505529"/>
              <a:gd name="connsiteY39668" fmla="*/ 694487 h 7458372"/>
              <a:gd name="connsiteX39669" fmla="*/ 2868414 w 10505529"/>
              <a:gd name="connsiteY39669" fmla="*/ 692091 h 7458372"/>
              <a:gd name="connsiteX39670" fmla="*/ 2871077 w 10505529"/>
              <a:gd name="connsiteY39670" fmla="*/ 687965 h 7458372"/>
              <a:gd name="connsiteX39671" fmla="*/ 2872008 w 10505529"/>
              <a:gd name="connsiteY39671" fmla="*/ 682507 h 7458372"/>
              <a:gd name="connsiteX39672" fmla="*/ 2871077 w 10505529"/>
              <a:gd name="connsiteY39672" fmla="*/ 677315 h 7458372"/>
              <a:gd name="connsiteX39673" fmla="*/ 2868414 w 10505529"/>
              <a:gd name="connsiteY39673" fmla="*/ 673056 h 7458372"/>
              <a:gd name="connsiteX39674" fmla="*/ 2864422 w 10505529"/>
              <a:gd name="connsiteY39674" fmla="*/ 670393 h 7458372"/>
              <a:gd name="connsiteX39675" fmla="*/ 2859362 w 10505529"/>
              <a:gd name="connsiteY39675" fmla="*/ 669328 h 7458372"/>
              <a:gd name="connsiteX39676" fmla="*/ 3294656 w 10505529"/>
              <a:gd name="connsiteY39676" fmla="*/ 669328 h 7458372"/>
              <a:gd name="connsiteX39677" fmla="*/ 3284673 w 10505529"/>
              <a:gd name="connsiteY39677" fmla="*/ 672922 h 7458372"/>
              <a:gd name="connsiteX39678" fmla="*/ 3281079 w 10505529"/>
              <a:gd name="connsiteY39678" fmla="*/ 682374 h 7458372"/>
              <a:gd name="connsiteX39679" fmla="*/ 3284673 w 10505529"/>
              <a:gd name="connsiteY39679" fmla="*/ 691958 h 7458372"/>
              <a:gd name="connsiteX39680" fmla="*/ 3294656 w 10505529"/>
              <a:gd name="connsiteY39680" fmla="*/ 695419 h 7458372"/>
              <a:gd name="connsiteX39681" fmla="*/ 3299982 w 10505529"/>
              <a:gd name="connsiteY39681" fmla="*/ 694487 h 7458372"/>
              <a:gd name="connsiteX39682" fmla="*/ 3303709 w 10505529"/>
              <a:gd name="connsiteY39682" fmla="*/ 692091 h 7458372"/>
              <a:gd name="connsiteX39683" fmla="*/ 3306372 w 10505529"/>
              <a:gd name="connsiteY39683" fmla="*/ 687965 h 7458372"/>
              <a:gd name="connsiteX39684" fmla="*/ 3307436 w 10505529"/>
              <a:gd name="connsiteY39684" fmla="*/ 682507 h 7458372"/>
              <a:gd name="connsiteX39685" fmla="*/ 3306372 w 10505529"/>
              <a:gd name="connsiteY39685" fmla="*/ 677315 h 7458372"/>
              <a:gd name="connsiteX39686" fmla="*/ 3303709 w 10505529"/>
              <a:gd name="connsiteY39686" fmla="*/ 673056 h 7458372"/>
              <a:gd name="connsiteX39687" fmla="*/ 3299716 w 10505529"/>
              <a:gd name="connsiteY39687" fmla="*/ 670393 h 7458372"/>
              <a:gd name="connsiteX39688" fmla="*/ 3294656 w 10505529"/>
              <a:gd name="connsiteY39688" fmla="*/ 669328 h 7458372"/>
              <a:gd name="connsiteX39689" fmla="*/ 3077142 w 10505529"/>
              <a:gd name="connsiteY39689" fmla="*/ 669328 h 7458372"/>
              <a:gd name="connsiteX39690" fmla="*/ 3067159 w 10505529"/>
              <a:gd name="connsiteY39690" fmla="*/ 672922 h 7458372"/>
              <a:gd name="connsiteX39691" fmla="*/ 3063431 w 10505529"/>
              <a:gd name="connsiteY39691" fmla="*/ 682374 h 7458372"/>
              <a:gd name="connsiteX39692" fmla="*/ 3067026 w 10505529"/>
              <a:gd name="connsiteY39692" fmla="*/ 691958 h 7458372"/>
              <a:gd name="connsiteX39693" fmla="*/ 3077009 w 10505529"/>
              <a:gd name="connsiteY39693" fmla="*/ 695419 h 7458372"/>
              <a:gd name="connsiteX39694" fmla="*/ 3082467 w 10505529"/>
              <a:gd name="connsiteY39694" fmla="*/ 694487 h 7458372"/>
              <a:gd name="connsiteX39695" fmla="*/ 3086195 w 10505529"/>
              <a:gd name="connsiteY39695" fmla="*/ 692091 h 7458372"/>
              <a:gd name="connsiteX39696" fmla="*/ 3088857 w 10505529"/>
              <a:gd name="connsiteY39696" fmla="*/ 687965 h 7458372"/>
              <a:gd name="connsiteX39697" fmla="*/ 3089789 w 10505529"/>
              <a:gd name="connsiteY39697" fmla="*/ 682507 h 7458372"/>
              <a:gd name="connsiteX39698" fmla="*/ 3088857 w 10505529"/>
              <a:gd name="connsiteY39698" fmla="*/ 677315 h 7458372"/>
              <a:gd name="connsiteX39699" fmla="*/ 3086195 w 10505529"/>
              <a:gd name="connsiteY39699" fmla="*/ 673056 h 7458372"/>
              <a:gd name="connsiteX39700" fmla="*/ 3082202 w 10505529"/>
              <a:gd name="connsiteY39700" fmla="*/ 670393 h 7458372"/>
              <a:gd name="connsiteX39701" fmla="*/ 3077142 w 10505529"/>
              <a:gd name="connsiteY39701" fmla="*/ 669328 h 7458372"/>
              <a:gd name="connsiteX39702" fmla="*/ 3512170 w 10505529"/>
              <a:gd name="connsiteY39702" fmla="*/ 669327 h 7458372"/>
              <a:gd name="connsiteX39703" fmla="*/ 3502186 w 10505529"/>
              <a:gd name="connsiteY39703" fmla="*/ 672922 h 7458372"/>
              <a:gd name="connsiteX39704" fmla="*/ 3498593 w 10505529"/>
              <a:gd name="connsiteY39704" fmla="*/ 682374 h 7458372"/>
              <a:gd name="connsiteX39705" fmla="*/ 3502186 w 10505529"/>
              <a:gd name="connsiteY39705" fmla="*/ 691958 h 7458372"/>
              <a:gd name="connsiteX39706" fmla="*/ 3512170 w 10505529"/>
              <a:gd name="connsiteY39706" fmla="*/ 695419 h 7458372"/>
              <a:gd name="connsiteX39707" fmla="*/ 3517496 w 10505529"/>
              <a:gd name="connsiteY39707" fmla="*/ 694487 h 7458372"/>
              <a:gd name="connsiteX39708" fmla="*/ 3521223 w 10505529"/>
              <a:gd name="connsiteY39708" fmla="*/ 692091 h 7458372"/>
              <a:gd name="connsiteX39709" fmla="*/ 3523886 w 10505529"/>
              <a:gd name="connsiteY39709" fmla="*/ 687965 h 7458372"/>
              <a:gd name="connsiteX39710" fmla="*/ 3524951 w 10505529"/>
              <a:gd name="connsiteY39710" fmla="*/ 682507 h 7458372"/>
              <a:gd name="connsiteX39711" fmla="*/ 3523886 w 10505529"/>
              <a:gd name="connsiteY39711" fmla="*/ 677315 h 7458372"/>
              <a:gd name="connsiteX39712" fmla="*/ 3521223 w 10505529"/>
              <a:gd name="connsiteY39712" fmla="*/ 673055 h 7458372"/>
              <a:gd name="connsiteX39713" fmla="*/ 3517230 w 10505529"/>
              <a:gd name="connsiteY39713" fmla="*/ 670393 h 7458372"/>
              <a:gd name="connsiteX39714" fmla="*/ 3512170 w 10505529"/>
              <a:gd name="connsiteY39714" fmla="*/ 669327 h 7458372"/>
              <a:gd name="connsiteX39715" fmla="*/ 3947465 w 10505529"/>
              <a:gd name="connsiteY39715" fmla="*/ 669327 h 7458372"/>
              <a:gd name="connsiteX39716" fmla="*/ 3937482 w 10505529"/>
              <a:gd name="connsiteY39716" fmla="*/ 672921 h 7458372"/>
              <a:gd name="connsiteX39717" fmla="*/ 3933888 w 10505529"/>
              <a:gd name="connsiteY39717" fmla="*/ 682374 h 7458372"/>
              <a:gd name="connsiteX39718" fmla="*/ 3937482 w 10505529"/>
              <a:gd name="connsiteY39718" fmla="*/ 691958 h 7458372"/>
              <a:gd name="connsiteX39719" fmla="*/ 3947465 w 10505529"/>
              <a:gd name="connsiteY39719" fmla="*/ 695419 h 7458372"/>
              <a:gd name="connsiteX39720" fmla="*/ 3952790 w 10505529"/>
              <a:gd name="connsiteY39720" fmla="*/ 694487 h 7458372"/>
              <a:gd name="connsiteX39721" fmla="*/ 3956517 w 10505529"/>
              <a:gd name="connsiteY39721" fmla="*/ 692091 h 7458372"/>
              <a:gd name="connsiteX39722" fmla="*/ 3959180 w 10505529"/>
              <a:gd name="connsiteY39722" fmla="*/ 687965 h 7458372"/>
              <a:gd name="connsiteX39723" fmla="*/ 3960245 w 10505529"/>
              <a:gd name="connsiteY39723" fmla="*/ 682506 h 7458372"/>
              <a:gd name="connsiteX39724" fmla="*/ 3959180 w 10505529"/>
              <a:gd name="connsiteY39724" fmla="*/ 677314 h 7458372"/>
              <a:gd name="connsiteX39725" fmla="*/ 3956517 w 10505529"/>
              <a:gd name="connsiteY39725" fmla="*/ 673055 h 7458372"/>
              <a:gd name="connsiteX39726" fmla="*/ 3952524 w 10505529"/>
              <a:gd name="connsiteY39726" fmla="*/ 670392 h 7458372"/>
              <a:gd name="connsiteX39727" fmla="*/ 3947465 w 10505529"/>
              <a:gd name="connsiteY39727" fmla="*/ 669327 h 7458372"/>
              <a:gd name="connsiteX39728" fmla="*/ 3729817 w 10505529"/>
              <a:gd name="connsiteY39728" fmla="*/ 669327 h 7458372"/>
              <a:gd name="connsiteX39729" fmla="*/ 3719833 w 10505529"/>
              <a:gd name="connsiteY39729" fmla="*/ 672921 h 7458372"/>
              <a:gd name="connsiteX39730" fmla="*/ 3716239 w 10505529"/>
              <a:gd name="connsiteY39730" fmla="*/ 682374 h 7458372"/>
              <a:gd name="connsiteX39731" fmla="*/ 3719833 w 10505529"/>
              <a:gd name="connsiteY39731" fmla="*/ 691958 h 7458372"/>
              <a:gd name="connsiteX39732" fmla="*/ 3729817 w 10505529"/>
              <a:gd name="connsiteY39732" fmla="*/ 695419 h 7458372"/>
              <a:gd name="connsiteX39733" fmla="*/ 3735142 w 10505529"/>
              <a:gd name="connsiteY39733" fmla="*/ 694487 h 7458372"/>
              <a:gd name="connsiteX39734" fmla="*/ 3738869 w 10505529"/>
              <a:gd name="connsiteY39734" fmla="*/ 692091 h 7458372"/>
              <a:gd name="connsiteX39735" fmla="*/ 3741532 w 10505529"/>
              <a:gd name="connsiteY39735" fmla="*/ 687965 h 7458372"/>
              <a:gd name="connsiteX39736" fmla="*/ 3742597 w 10505529"/>
              <a:gd name="connsiteY39736" fmla="*/ 682507 h 7458372"/>
              <a:gd name="connsiteX39737" fmla="*/ 3741532 w 10505529"/>
              <a:gd name="connsiteY39737" fmla="*/ 677314 h 7458372"/>
              <a:gd name="connsiteX39738" fmla="*/ 3738869 w 10505529"/>
              <a:gd name="connsiteY39738" fmla="*/ 673055 h 7458372"/>
              <a:gd name="connsiteX39739" fmla="*/ 3734877 w 10505529"/>
              <a:gd name="connsiteY39739" fmla="*/ 670392 h 7458372"/>
              <a:gd name="connsiteX39740" fmla="*/ 3729817 w 10505529"/>
              <a:gd name="connsiteY39740" fmla="*/ 669327 h 7458372"/>
              <a:gd name="connsiteX39741" fmla="*/ 4165068 w 10505529"/>
              <a:gd name="connsiteY39741" fmla="*/ 669327 h 7458372"/>
              <a:gd name="connsiteX39742" fmla="*/ 4155084 w 10505529"/>
              <a:gd name="connsiteY39742" fmla="*/ 672921 h 7458372"/>
              <a:gd name="connsiteX39743" fmla="*/ 4151490 w 10505529"/>
              <a:gd name="connsiteY39743" fmla="*/ 682374 h 7458372"/>
              <a:gd name="connsiteX39744" fmla="*/ 4155084 w 10505529"/>
              <a:gd name="connsiteY39744" fmla="*/ 691958 h 7458372"/>
              <a:gd name="connsiteX39745" fmla="*/ 4165068 w 10505529"/>
              <a:gd name="connsiteY39745" fmla="*/ 695419 h 7458372"/>
              <a:gd name="connsiteX39746" fmla="*/ 4170392 w 10505529"/>
              <a:gd name="connsiteY39746" fmla="*/ 694487 h 7458372"/>
              <a:gd name="connsiteX39747" fmla="*/ 4174119 w 10505529"/>
              <a:gd name="connsiteY39747" fmla="*/ 692091 h 7458372"/>
              <a:gd name="connsiteX39748" fmla="*/ 4176782 w 10505529"/>
              <a:gd name="connsiteY39748" fmla="*/ 687965 h 7458372"/>
              <a:gd name="connsiteX39749" fmla="*/ 4177847 w 10505529"/>
              <a:gd name="connsiteY39749" fmla="*/ 682506 h 7458372"/>
              <a:gd name="connsiteX39750" fmla="*/ 4176782 w 10505529"/>
              <a:gd name="connsiteY39750" fmla="*/ 677314 h 7458372"/>
              <a:gd name="connsiteX39751" fmla="*/ 4174119 w 10505529"/>
              <a:gd name="connsiteY39751" fmla="*/ 673055 h 7458372"/>
              <a:gd name="connsiteX39752" fmla="*/ 4170126 w 10505529"/>
              <a:gd name="connsiteY39752" fmla="*/ 670392 h 7458372"/>
              <a:gd name="connsiteX39753" fmla="*/ 4165068 w 10505529"/>
              <a:gd name="connsiteY39753" fmla="*/ 669327 h 7458372"/>
              <a:gd name="connsiteX39754" fmla="*/ 4600226 w 10505529"/>
              <a:gd name="connsiteY39754" fmla="*/ 669327 h 7458372"/>
              <a:gd name="connsiteX39755" fmla="*/ 4590242 w 10505529"/>
              <a:gd name="connsiteY39755" fmla="*/ 672921 h 7458372"/>
              <a:gd name="connsiteX39756" fmla="*/ 4586648 w 10505529"/>
              <a:gd name="connsiteY39756" fmla="*/ 682373 h 7458372"/>
              <a:gd name="connsiteX39757" fmla="*/ 4590242 w 10505529"/>
              <a:gd name="connsiteY39757" fmla="*/ 691957 h 7458372"/>
              <a:gd name="connsiteX39758" fmla="*/ 4600226 w 10505529"/>
              <a:gd name="connsiteY39758" fmla="*/ 695418 h 7458372"/>
              <a:gd name="connsiteX39759" fmla="*/ 4605550 w 10505529"/>
              <a:gd name="connsiteY39759" fmla="*/ 694486 h 7458372"/>
              <a:gd name="connsiteX39760" fmla="*/ 4609277 w 10505529"/>
              <a:gd name="connsiteY39760" fmla="*/ 692091 h 7458372"/>
              <a:gd name="connsiteX39761" fmla="*/ 4611940 w 10505529"/>
              <a:gd name="connsiteY39761" fmla="*/ 687964 h 7458372"/>
              <a:gd name="connsiteX39762" fmla="*/ 4613005 w 10505529"/>
              <a:gd name="connsiteY39762" fmla="*/ 682506 h 7458372"/>
              <a:gd name="connsiteX39763" fmla="*/ 4611940 w 10505529"/>
              <a:gd name="connsiteY39763" fmla="*/ 677314 h 7458372"/>
              <a:gd name="connsiteX39764" fmla="*/ 4609277 w 10505529"/>
              <a:gd name="connsiteY39764" fmla="*/ 673055 h 7458372"/>
              <a:gd name="connsiteX39765" fmla="*/ 4605284 w 10505529"/>
              <a:gd name="connsiteY39765" fmla="*/ 670392 h 7458372"/>
              <a:gd name="connsiteX39766" fmla="*/ 4600226 w 10505529"/>
              <a:gd name="connsiteY39766" fmla="*/ 669327 h 7458372"/>
              <a:gd name="connsiteX39767" fmla="*/ 4382713 w 10505529"/>
              <a:gd name="connsiteY39767" fmla="*/ 669327 h 7458372"/>
              <a:gd name="connsiteX39768" fmla="*/ 4372730 w 10505529"/>
              <a:gd name="connsiteY39768" fmla="*/ 672921 h 7458372"/>
              <a:gd name="connsiteX39769" fmla="*/ 4369136 w 10505529"/>
              <a:gd name="connsiteY39769" fmla="*/ 682373 h 7458372"/>
              <a:gd name="connsiteX39770" fmla="*/ 4372730 w 10505529"/>
              <a:gd name="connsiteY39770" fmla="*/ 691957 h 7458372"/>
              <a:gd name="connsiteX39771" fmla="*/ 4382713 w 10505529"/>
              <a:gd name="connsiteY39771" fmla="*/ 695419 h 7458372"/>
              <a:gd name="connsiteX39772" fmla="*/ 4388038 w 10505529"/>
              <a:gd name="connsiteY39772" fmla="*/ 694486 h 7458372"/>
              <a:gd name="connsiteX39773" fmla="*/ 4391765 w 10505529"/>
              <a:gd name="connsiteY39773" fmla="*/ 692091 h 7458372"/>
              <a:gd name="connsiteX39774" fmla="*/ 4394428 w 10505529"/>
              <a:gd name="connsiteY39774" fmla="*/ 687964 h 7458372"/>
              <a:gd name="connsiteX39775" fmla="*/ 4395493 w 10505529"/>
              <a:gd name="connsiteY39775" fmla="*/ 682506 h 7458372"/>
              <a:gd name="connsiteX39776" fmla="*/ 4394428 w 10505529"/>
              <a:gd name="connsiteY39776" fmla="*/ 677314 h 7458372"/>
              <a:gd name="connsiteX39777" fmla="*/ 4391765 w 10505529"/>
              <a:gd name="connsiteY39777" fmla="*/ 673055 h 7458372"/>
              <a:gd name="connsiteX39778" fmla="*/ 4387772 w 10505529"/>
              <a:gd name="connsiteY39778" fmla="*/ 670392 h 7458372"/>
              <a:gd name="connsiteX39779" fmla="*/ 4382713 w 10505529"/>
              <a:gd name="connsiteY39779" fmla="*/ 669327 h 7458372"/>
              <a:gd name="connsiteX39780" fmla="*/ 4817870 w 10505529"/>
              <a:gd name="connsiteY39780" fmla="*/ 669327 h 7458372"/>
              <a:gd name="connsiteX39781" fmla="*/ 4807887 w 10505529"/>
              <a:gd name="connsiteY39781" fmla="*/ 672921 h 7458372"/>
              <a:gd name="connsiteX39782" fmla="*/ 4804293 w 10505529"/>
              <a:gd name="connsiteY39782" fmla="*/ 682373 h 7458372"/>
              <a:gd name="connsiteX39783" fmla="*/ 4807887 w 10505529"/>
              <a:gd name="connsiteY39783" fmla="*/ 691957 h 7458372"/>
              <a:gd name="connsiteX39784" fmla="*/ 4817870 w 10505529"/>
              <a:gd name="connsiteY39784" fmla="*/ 695418 h 7458372"/>
              <a:gd name="connsiteX39785" fmla="*/ 4823195 w 10505529"/>
              <a:gd name="connsiteY39785" fmla="*/ 694486 h 7458372"/>
              <a:gd name="connsiteX39786" fmla="*/ 4826922 w 10505529"/>
              <a:gd name="connsiteY39786" fmla="*/ 692090 h 7458372"/>
              <a:gd name="connsiteX39787" fmla="*/ 4829585 w 10505529"/>
              <a:gd name="connsiteY39787" fmla="*/ 687964 h 7458372"/>
              <a:gd name="connsiteX39788" fmla="*/ 4830650 w 10505529"/>
              <a:gd name="connsiteY39788" fmla="*/ 682506 h 7458372"/>
              <a:gd name="connsiteX39789" fmla="*/ 4829585 w 10505529"/>
              <a:gd name="connsiteY39789" fmla="*/ 677314 h 7458372"/>
              <a:gd name="connsiteX39790" fmla="*/ 4826922 w 10505529"/>
              <a:gd name="connsiteY39790" fmla="*/ 673055 h 7458372"/>
              <a:gd name="connsiteX39791" fmla="*/ 4822929 w 10505529"/>
              <a:gd name="connsiteY39791" fmla="*/ 670392 h 7458372"/>
              <a:gd name="connsiteX39792" fmla="*/ 4817870 w 10505529"/>
              <a:gd name="connsiteY39792" fmla="*/ 669327 h 7458372"/>
              <a:gd name="connsiteX39793" fmla="*/ 5253160 w 10505529"/>
              <a:gd name="connsiteY39793" fmla="*/ 669327 h 7458372"/>
              <a:gd name="connsiteX39794" fmla="*/ 5243177 w 10505529"/>
              <a:gd name="connsiteY39794" fmla="*/ 672921 h 7458372"/>
              <a:gd name="connsiteX39795" fmla="*/ 5239583 w 10505529"/>
              <a:gd name="connsiteY39795" fmla="*/ 682373 h 7458372"/>
              <a:gd name="connsiteX39796" fmla="*/ 5243177 w 10505529"/>
              <a:gd name="connsiteY39796" fmla="*/ 691957 h 7458372"/>
              <a:gd name="connsiteX39797" fmla="*/ 5253160 w 10505529"/>
              <a:gd name="connsiteY39797" fmla="*/ 695418 h 7458372"/>
              <a:gd name="connsiteX39798" fmla="*/ 5258485 w 10505529"/>
              <a:gd name="connsiteY39798" fmla="*/ 694486 h 7458372"/>
              <a:gd name="connsiteX39799" fmla="*/ 5262212 w 10505529"/>
              <a:gd name="connsiteY39799" fmla="*/ 692090 h 7458372"/>
              <a:gd name="connsiteX39800" fmla="*/ 5264875 w 10505529"/>
              <a:gd name="connsiteY39800" fmla="*/ 687964 h 7458372"/>
              <a:gd name="connsiteX39801" fmla="*/ 5265939 w 10505529"/>
              <a:gd name="connsiteY39801" fmla="*/ 682506 h 7458372"/>
              <a:gd name="connsiteX39802" fmla="*/ 5264875 w 10505529"/>
              <a:gd name="connsiteY39802" fmla="*/ 677314 h 7458372"/>
              <a:gd name="connsiteX39803" fmla="*/ 5262212 w 10505529"/>
              <a:gd name="connsiteY39803" fmla="*/ 673055 h 7458372"/>
              <a:gd name="connsiteX39804" fmla="*/ 5258219 w 10505529"/>
              <a:gd name="connsiteY39804" fmla="*/ 670392 h 7458372"/>
              <a:gd name="connsiteX39805" fmla="*/ 5253160 w 10505529"/>
              <a:gd name="connsiteY39805" fmla="*/ 669327 h 7458372"/>
              <a:gd name="connsiteX39806" fmla="*/ 5035515 w 10505529"/>
              <a:gd name="connsiteY39806" fmla="*/ 669327 h 7458372"/>
              <a:gd name="connsiteX39807" fmla="*/ 5025532 w 10505529"/>
              <a:gd name="connsiteY39807" fmla="*/ 672921 h 7458372"/>
              <a:gd name="connsiteX39808" fmla="*/ 5021938 w 10505529"/>
              <a:gd name="connsiteY39808" fmla="*/ 682373 h 7458372"/>
              <a:gd name="connsiteX39809" fmla="*/ 5025532 w 10505529"/>
              <a:gd name="connsiteY39809" fmla="*/ 691957 h 7458372"/>
              <a:gd name="connsiteX39810" fmla="*/ 5035515 w 10505529"/>
              <a:gd name="connsiteY39810" fmla="*/ 695418 h 7458372"/>
              <a:gd name="connsiteX39811" fmla="*/ 5040840 w 10505529"/>
              <a:gd name="connsiteY39811" fmla="*/ 694486 h 7458372"/>
              <a:gd name="connsiteX39812" fmla="*/ 5044567 w 10505529"/>
              <a:gd name="connsiteY39812" fmla="*/ 692090 h 7458372"/>
              <a:gd name="connsiteX39813" fmla="*/ 5047230 w 10505529"/>
              <a:gd name="connsiteY39813" fmla="*/ 687964 h 7458372"/>
              <a:gd name="connsiteX39814" fmla="*/ 5048294 w 10505529"/>
              <a:gd name="connsiteY39814" fmla="*/ 682506 h 7458372"/>
              <a:gd name="connsiteX39815" fmla="*/ 5047230 w 10505529"/>
              <a:gd name="connsiteY39815" fmla="*/ 677314 h 7458372"/>
              <a:gd name="connsiteX39816" fmla="*/ 5044567 w 10505529"/>
              <a:gd name="connsiteY39816" fmla="*/ 673055 h 7458372"/>
              <a:gd name="connsiteX39817" fmla="*/ 5040574 w 10505529"/>
              <a:gd name="connsiteY39817" fmla="*/ 670392 h 7458372"/>
              <a:gd name="connsiteX39818" fmla="*/ 5035515 w 10505529"/>
              <a:gd name="connsiteY39818" fmla="*/ 669327 h 7458372"/>
              <a:gd name="connsiteX39819" fmla="*/ 5470806 w 10505529"/>
              <a:gd name="connsiteY39819" fmla="*/ 669327 h 7458372"/>
              <a:gd name="connsiteX39820" fmla="*/ 5460822 w 10505529"/>
              <a:gd name="connsiteY39820" fmla="*/ 672921 h 7458372"/>
              <a:gd name="connsiteX39821" fmla="*/ 5457228 w 10505529"/>
              <a:gd name="connsiteY39821" fmla="*/ 682373 h 7458372"/>
              <a:gd name="connsiteX39822" fmla="*/ 5460822 w 10505529"/>
              <a:gd name="connsiteY39822" fmla="*/ 691957 h 7458372"/>
              <a:gd name="connsiteX39823" fmla="*/ 5470806 w 10505529"/>
              <a:gd name="connsiteY39823" fmla="*/ 695418 h 7458372"/>
              <a:gd name="connsiteX39824" fmla="*/ 5476130 w 10505529"/>
              <a:gd name="connsiteY39824" fmla="*/ 694486 h 7458372"/>
              <a:gd name="connsiteX39825" fmla="*/ 5479857 w 10505529"/>
              <a:gd name="connsiteY39825" fmla="*/ 692090 h 7458372"/>
              <a:gd name="connsiteX39826" fmla="*/ 5482520 w 10505529"/>
              <a:gd name="connsiteY39826" fmla="*/ 687964 h 7458372"/>
              <a:gd name="connsiteX39827" fmla="*/ 5483585 w 10505529"/>
              <a:gd name="connsiteY39827" fmla="*/ 682506 h 7458372"/>
              <a:gd name="connsiteX39828" fmla="*/ 5482520 w 10505529"/>
              <a:gd name="connsiteY39828" fmla="*/ 677314 h 7458372"/>
              <a:gd name="connsiteX39829" fmla="*/ 5479857 w 10505529"/>
              <a:gd name="connsiteY39829" fmla="*/ 673055 h 7458372"/>
              <a:gd name="connsiteX39830" fmla="*/ 5475864 w 10505529"/>
              <a:gd name="connsiteY39830" fmla="*/ 670392 h 7458372"/>
              <a:gd name="connsiteX39831" fmla="*/ 5470806 w 10505529"/>
              <a:gd name="connsiteY39831" fmla="*/ 669327 h 7458372"/>
              <a:gd name="connsiteX39832" fmla="*/ 6123608 w 10505529"/>
              <a:gd name="connsiteY39832" fmla="*/ 669326 h 7458372"/>
              <a:gd name="connsiteX39833" fmla="*/ 6113624 w 10505529"/>
              <a:gd name="connsiteY39833" fmla="*/ 672920 h 7458372"/>
              <a:gd name="connsiteX39834" fmla="*/ 6110030 w 10505529"/>
              <a:gd name="connsiteY39834" fmla="*/ 682372 h 7458372"/>
              <a:gd name="connsiteX39835" fmla="*/ 6113624 w 10505529"/>
              <a:gd name="connsiteY39835" fmla="*/ 691957 h 7458372"/>
              <a:gd name="connsiteX39836" fmla="*/ 6123608 w 10505529"/>
              <a:gd name="connsiteY39836" fmla="*/ 695418 h 7458372"/>
              <a:gd name="connsiteX39837" fmla="*/ 6128932 w 10505529"/>
              <a:gd name="connsiteY39837" fmla="*/ 694486 h 7458372"/>
              <a:gd name="connsiteX39838" fmla="*/ 6132659 w 10505529"/>
              <a:gd name="connsiteY39838" fmla="*/ 692090 h 7458372"/>
              <a:gd name="connsiteX39839" fmla="*/ 6135322 w 10505529"/>
              <a:gd name="connsiteY39839" fmla="*/ 687964 h 7458372"/>
              <a:gd name="connsiteX39840" fmla="*/ 6136387 w 10505529"/>
              <a:gd name="connsiteY39840" fmla="*/ 682506 h 7458372"/>
              <a:gd name="connsiteX39841" fmla="*/ 6135322 w 10505529"/>
              <a:gd name="connsiteY39841" fmla="*/ 677313 h 7458372"/>
              <a:gd name="connsiteX39842" fmla="*/ 6132659 w 10505529"/>
              <a:gd name="connsiteY39842" fmla="*/ 673054 h 7458372"/>
              <a:gd name="connsiteX39843" fmla="*/ 6128666 w 10505529"/>
              <a:gd name="connsiteY39843" fmla="*/ 670391 h 7458372"/>
              <a:gd name="connsiteX39844" fmla="*/ 6123608 w 10505529"/>
              <a:gd name="connsiteY39844" fmla="*/ 669326 h 7458372"/>
              <a:gd name="connsiteX39845" fmla="*/ 5905963 w 10505529"/>
              <a:gd name="connsiteY39845" fmla="*/ 669326 h 7458372"/>
              <a:gd name="connsiteX39846" fmla="*/ 5895979 w 10505529"/>
              <a:gd name="connsiteY39846" fmla="*/ 672920 h 7458372"/>
              <a:gd name="connsiteX39847" fmla="*/ 5892385 w 10505529"/>
              <a:gd name="connsiteY39847" fmla="*/ 682373 h 7458372"/>
              <a:gd name="connsiteX39848" fmla="*/ 5895979 w 10505529"/>
              <a:gd name="connsiteY39848" fmla="*/ 691957 h 7458372"/>
              <a:gd name="connsiteX39849" fmla="*/ 5905963 w 10505529"/>
              <a:gd name="connsiteY39849" fmla="*/ 695418 h 7458372"/>
              <a:gd name="connsiteX39850" fmla="*/ 5911287 w 10505529"/>
              <a:gd name="connsiteY39850" fmla="*/ 694486 h 7458372"/>
              <a:gd name="connsiteX39851" fmla="*/ 5915014 w 10505529"/>
              <a:gd name="connsiteY39851" fmla="*/ 692090 h 7458372"/>
              <a:gd name="connsiteX39852" fmla="*/ 5917677 w 10505529"/>
              <a:gd name="connsiteY39852" fmla="*/ 687964 h 7458372"/>
              <a:gd name="connsiteX39853" fmla="*/ 5918742 w 10505529"/>
              <a:gd name="connsiteY39853" fmla="*/ 682506 h 7458372"/>
              <a:gd name="connsiteX39854" fmla="*/ 5917677 w 10505529"/>
              <a:gd name="connsiteY39854" fmla="*/ 677313 h 7458372"/>
              <a:gd name="connsiteX39855" fmla="*/ 5915014 w 10505529"/>
              <a:gd name="connsiteY39855" fmla="*/ 673054 h 7458372"/>
              <a:gd name="connsiteX39856" fmla="*/ 5911021 w 10505529"/>
              <a:gd name="connsiteY39856" fmla="*/ 670391 h 7458372"/>
              <a:gd name="connsiteX39857" fmla="*/ 5905963 w 10505529"/>
              <a:gd name="connsiteY39857" fmla="*/ 669326 h 7458372"/>
              <a:gd name="connsiteX39858" fmla="*/ 5688451 w 10505529"/>
              <a:gd name="connsiteY39858" fmla="*/ 669326 h 7458372"/>
              <a:gd name="connsiteX39859" fmla="*/ 5678467 w 10505529"/>
              <a:gd name="connsiteY39859" fmla="*/ 672920 h 7458372"/>
              <a:gd name="connsiteX39860" fmla="*/ 5674873 w 10505529"/>
              <a:gd name="connsiteY39860" fmla="*/ 682373 h 7458372"/>
              <a:gd name="connsiteX39861" fmla="*/ 5678467 w 10505529"/>
              <a:gd name="connsiteY39861" fmla="*/ 691957 h 7458372"/>
              <a:gd name="connsiteX39862" fmla="*/ 5688451 w 10505529"/>
              <a:gd name="connsiteY39862" fmla="*/ 695418 h 7458372"/>
              <a:gd name="connsiteX39863" fmla="*/ 5693775 w 10505529"/>
              <a:gd name="connsiteY39863" fmla="*/ 694486 h 7458372"/>
              <a:gd name="connsiteX39864" fmla="*/ 5697502 w 10505529"/>
              <a:gd name="connsiteY39864" fmla="*/ 692090 h 7458372"/>
              <a:gd name="connsiteX39865" fmla="*/ 5700165 w 10505529"/>
              <a:gd name="connsiteY39865" fmla="*/ 687964 h 7458372"/>
              <a:gd name="connsiteX39866" fmla="*/ 5701230 w 10505529"/>
              <a:gd name="connsiteY39866" fmla="*/ 682506 h 7458372"/>
              <a:gd name="connsiteX39867" fmla="*/ 5700165 w 10505529"/>
              <a:gd name="connsiteY39867" fmla="*/ 677314 h 7458372"/>
              <a:gd name="connsiteX39868" fmla="*/ 5697502 w 10505529"/>
              <a:gd name="connsiteY39868" fmla="*/ 673055 h 7458372"/>
              <a:gd name="connsiteX39869" fmla="*/ 5693509 w 10505529"/>
              <a:gd name="connsiteY39869" fmla="*/ 670392 h 7458372"/>
              <a:gd name="connsiteX39870" fmla="*/ 5688451 w 10505529"/>
              <a:gd name="connsiteY39870" fmla="*/ 669326 h 7458372"/>
              <a:gd name="connsiteX39871" fmla="*/ 6341253 w 10505529"/>
              <a:gd name="connsiteY39871" fmla="*/ 669326 h 7458372"/>
              <a:gd name="connsiteX39872" fmla="*/ 6331270 w 10505529"/>
              <a:gd name="connsiteY39872" fmla="*/ 672920 h 7458372"/>
              <a:gd name="connsiteX39873" fmla="*/ 6327675 w 10505529"/>
              <a:gd name="connsiteY39873" fmla="*/ 682372 h 7458372"/>
              <a:gd name="connsiteX39874" fmla="*/ 6331270 w 10505529"/>
              <a:gd name="connsiteY39874" fmla="*/ 691957 h 7458372"/>
              <a:gd name="connsiteX39875" fmla="*/ 6341253 w 10505529"/>
              <a:gd name="connsiteY39875" fmla="*/ 695418 h 7458372"/>
              <a:gd name="connsiteX39876" fmla="*/ 6346578 w 10505529"/>
              <a:gd name="connsiteY39876" fmla="*/ 694486 h 7458372"/>
              <a:gd name="connsiteX39877" fmla="*/ 6350305 w 10505529"/>
              <a:gd name="connsiteY39877" fmla="*/ 692090 h 7458372"/>
              <a:gd name="connsiteX39878" fmla="*/ 6352968 w 10505529"/>
              <a:gd name="connsiteY39878" fmla="*/ 687963 h 7458372"/>
              <a:gd name="connsiteX39879" fmla="*/ 6354033 w 10505529"/>
              <a:gd name="connsiteY39879" fmla="*/ 682505 h 7458372"/>
              <a:gd name="connsiteX39880" fmla="*/ 6352968 w 10505529"/>
              <a:gd name="connsiteY39880" fmla="*/ 677313 h 7458372"/>
              <a:gd name="connsiteX39881" fmla="*/ 6350305 w 10505529"/>
              <a:gd name="connsiteY39881" fmla="*/ 673054 h 7458372"/>
              <a:gd name="connsiteX39882" fmla="*/ 6346312 w 10505529"/>
              <a:gd name="connsiteY39882" fmla="*/ 670391 h 7458372"/>
              <a:gd name="connsiteX39883" fmla="*/ 6341253 w 10505529"/>
              <a:gd name="connsiteY39883" fmla="*/ 669326 h 7458372"/>
              <a:gd name="connsiteX39884" fmla="*/ 6776544 w 10505529"/>
              <a:gd name="connsiteY39884" fmla="*/ 669326 h 7458372"/>
              <a:gd name="connsiteX39885" fmla="*/ 6766560 w 10505529"/>
              <a:gd name="connsiteY39885" fmla="*/ 672920 h 7458372"/>
              <a:gd name="connsiteX39886" fmla="*/ 6762966 w 10505529"/>
              <a:gd name="connsiteY39886" fmla="*/ 682372 h 7458372"/>
              <a:gd name="connsiteX39887" fmla="*/ 6766560 w 10505529"/>
              <a:gd name="connsiteY39887" fmla="*/ 691956 h 7458372"/>
              <a:gd name="connsiteX39888" fmla="*/ 6776544 w 10505529"/>
              <a:gd name="connsiteY39888" fmla="*/ 695417 h 7458372"/>
              <a:gd name="connsiteX39889" fmla="*/ 6781869 w 10505529"/>
              <a:gd name="connsiteY39889" fmla="*/ 694485 h 7458372"/>
              <a:gd name="connsiteX39890" fmla="*/ 6785595 w 10505529"/>
              <a:gd name="connsiteY39890" fmla="*/ 692090 h 7458372"/>
              <a:gd name="connsiteX39891" fmla="*/ 6788258 w 10505529"/>
              <a:gd name="connsiteY39891" fmla="*/ 687963 h 7458372"/>
              <a:gd name="connsiteX39892" fmla="*/ 6789323 w 10505529"/>
              <a:gd name="connsiteY39892" fmla="*/ 682505 h 7458372"/>
              <a:gd name="connsiteX39893" fmla="*/ 6788258 w 10505529"/>
              <a:gd name="connsiteY39893" fmla="*/ 677313 h 7458372"/>
              <a:gd name="connsiteX39894" fmla="*/ 6785595 w 10505529"/>
              <a:gd name="connsiteY39894" fmla="*/ 673054 h 7458372"/>
              <a:gd name="connsiteX39895" fmla="*/ 6781602 w 10505529"/>
              <a:gd name="connsiteY39895" fmla="*/ 670391 h 7458372"/>
              <a:gd name="connsiteX39896" fmla="*/ 6776544 w 10505529"/>
              <a:gd name="connsiteY39896" fmla="*/ 669326 h 7458372"/>
              <a:gd name="connsiteX39897" fmla="*/ 6558899 w 10505529"/>
              <a:gd name="connsiteY39897" fmla="*/ 669326 h 7458372"/>
              <a:gd name="connsiteX39898" fmla="*/ 6548915 w 10505529"/>
              <a:gd name="connsiteY39898" fmla="*/ 672920 h 7458372"/>
              <a:gd name="connsiteX39899" fmla="*/ 6545321 w 10505529"/>
              <a:gd name="connsiteY39899" fmla="*/ 682372 h 7458372"/>
              <a:gd name="connsiteX39900" fmla="*/ 6548915 w 10505529"/>
              <a:gd name="connsiteY39900" fmla="*/ 691956 h 7458372"/>
              <a:gd name="connsiteX39901" fmla="*/ 6558899 w 10505529"/>
              <a:gd name="connsiteY39901" fmla="*/ 695418 h 7458372"/>
              <a:gd name="connsiteX39902" fmla="*/ 6564223 w 10505529"/>
              <a:gd name="connsiteY39902" fmla="*/ 694486 h 7458372"/>
              <a:gd name="connsiteX39903" fmla="*/ 6567950 w 10505529"/>
              <a:gd name="connsiteY39903" fmla="*/ 692090 h 7458372"/>
              <a:gd name="connsiteX39904" fmla="*/ 6570612 w 10505529"/>
              <a:gd name="connsiteY39904" fmla="*/ 687963 h 7458372"/>
              <a:gd name="connsiteX39905" fmla="*/ 6571677 w 10505529"/>
              <a:gd name="connsiteY39905" fmla="*/ 682505 h 7458372"/>
              <a:gd name="connsiteX39906" fmla="*/ 6570612 w 10505529"/>
              <a:gd name="connsiteY39906" fmla="*/ 677313 h 7458372"/>
              <a:gd name="connsiteX39907" fmla="*/ 6567950 w 10505529"/>
              <a:gd name="connsiteY39907" fmla="*/ 673054 h 7458372"/>
              <a:gd name="connsiteX39908" fmla="*/ 6563956 w 10505529"/>
              <a:gd name="connsiteY39908" fmla="*/ 670391 h 7458372"/>
              <a:gd name="connsiteX39909" fmla="*/ 6558899 w 10505529"/>
              <a:gd name="connsiteY39909" fmla="*/ 669326 h 7458372"/>
              <a:gd name="connsiteX39910" fmla="*/ 6994056 w 10505529"/>
              <a:gd name="connsiteY39910" fmla="*/ 669326 h 7458372"/>
              <a:gd name="connsiteX39911" fmla="*/ 6984072 w 10505529"/>
              <a:gd name="connsiteY39911" fmla="*/ 672920 h 7458372"/>
              <a:gd name="connsiteX39912" fmla="*/ 6980478 w 10505529"/>
              <a:gd name="connsiteY39912" fmla="*/ 682372 h 7458372"/>
              <a:gd name="connsiteX39913" fmla="*/ 6984072 w 10505529"/>
              <a:gd name="connsiteY39913" fmla="*/ 691956 h 7458372"/>
              <a:gd name="connsiteX39914" fmla="*/ 6994056 w 10505529"/>
              <a:gd name="connsiteY39914" fmla="*/ 695417 h 7458372"/>
              <a:gd name="connsiteX39915" fmla="*/ 6999380 w 10505529"/>
              <a:gd name="connsiteY39915" fmla="*/ 694485 h 7458372"/>
              <a:gd name="connsiteX39916" fmla="*/ 7003107 w 10505529"/>
              <a:gd name="connsiteY39916" fmla="*/ 692089 h 7458372"/>
              <a:gd name="connsiteX39917" fmla="*/ 7005769 w 10505529"/>
              <a:gd name="connsiteY39917" fmla="*/ 687963 h 7458372"/>
              <a:gd name="connsiteX39918" fmla="*/ 7006834 w 10505529"/>
              <a:gd name="connsiteY39918" fmla="*/ 682505 h 7458372"/>
              <a:gd name="connsiteX39919" fmla="*/ 7005769 w 10505529"/>
              <a:gd name="connsiteY39919" fmla="*/ 677313 h 7458372"/>
              <a:gd name="connsiteX39920" fmla="*/ 7003107 w 10505529"/>
              <a:gd name="connsiteY39920" fmla="*/ 673054 h 7458372"/>
              <a:gd name="connsiteX39921" fmla="*/ 6999113 w 10505529"/>
              <a:gd name="connsiteY39921" fmla="*/ 670391 h 7458372"/>
              <a:gd name="connsiteX39922" fmla="*/ 6994056 w 10505529"/>
              <a:gd name="connsiteY39922" fmla="*/ 669326 h 7458372"/>
              <a:gd name="connsiteX39923" fmla="*/ 7429345 w 10505529"/>
              <a:gd name="connsiteY39923" fmla="*/ 669326 h 7458372"/>
              <a:gd name="connsiteX39924" fmla="*/ 7419361 w 10505529"/>
              <a:gd name="connsiteY39924" fmla="*/ 672920 h 7458372"/>
              <a:gd name="connsiteX39925" fmla="*/ 7415768 w 10505529"/>
              <a:gd name="connsiteY39925" fmla="*/ 682372 h 7458372"/>
              <a:gd name="connsiteX39926" fmla="*/ 7419361 w 10505529"/>
              <a:gd name="connsiteY39926" fmla="*/ 691956 h 7458372"/>
              <a:gd name="connsiteX39927" fmla="*/ 7429345 w 10505529"/>
              <a:gd name="connsiteY39927" fmla="*/ 695417 h 7458372"/>
              <a:gd name="connsiteX39928" fmla="*/ 7434670 w 10505529"/>
              <a:gd name="connsiteY39928" fmla="*/ 694485 h 7458372"/>
              <a:gd name="connsiteX39929" fmla="*/ 7438397 w 10505529"/>
              <a:gd name="connsiteY39929" fmla="*/ 692089 h 7458372"/>
              <a:gd name="connsiteX39930" fmla="*/ 7441059 w 10505529"/>
              <a:gd name="connsiteY39930" fmla="*/ 687963 h 7458372"/>
              <a:gd name="connsiteX39931" fmla="*/ 7442124 w 10505529"/>
              <a:gd name="connsiteY39931" fmla="*/ 682505 h 7458372"/>
              <a:gd name="connsiteX39932" fmla="*/ 7441059 w 10505529"/>
              <a:gd name="connsiteY39932" fmla="*/ 677313 h 7458372"/>
              <a:gd name="connsiteX39933" fmla="*/ 7438397 w 10505529"/>
              <a:gd name="connsiteY39933" fmla="*/ 673054 h 7458372"/>
              <a:gd name="connsiteX39934" fmla="*/ 7434403 w 10505529"/>
              <a:gd name="connsiteY39934" fmla="*/ 670391 h 7458372"/>
              <a:gd name="connsiteX39935" fmla="*/ 7429345 w 10505529"/>
              <a:gd name="connsiteY39935" fmla="*/ 669326 h 7458372"/>
              <a:gd name="connsiteX39936" fmla="*/ 7211701 w 10505529"/>
              <a:gd name="connsiteY39936" fmla="*/ 669326 h 7458372"/>
              <a:gd name="connsiteX39937" fmla="*/ 7201717 w 10505529"/>
              <a:gd name="connsiteY39937" fmla="*/ 672920 h 7458372"/>
              <a:gd name="connsiteX39938" fmla="*/ 7198123 w 10505529"/>
              <a:gd name="connsiteY39938" fmla="*/ 682372 h 7458372"/>
              <a:gd name="connsiteX39939" fmla="*/ 7201717 w 10505529"/>
              <a:gd name="connsiteY39939" fmla="*/ 691956 h 7458372"/>
              <a:gd name="connsiteX39940" fmla="*/ 7211701 w 10505529"/>
              <a:gd name="connsiteY39940" fmla="*/ 695417 h 7458372"/>
              <a:gd name="connsiteX39941" fmla="*/ 7217026 w 10505529"/>
              <a:gd name="connsiteY39941" fmla="*/ 694485 h 7458372"/>
              <a:gd name="connsiteX39942" fmla="*/ 7220752 w 10505529"/>
              <a:gd name="connsiteY39942" fmla="*/ 692089 h 7458372"/>
              <a:gd name="connsiteX39943" fmla="*/ 7223415 w 10505529"/>
              <a:gd name="connsiteY39943" fmla="*/ 687963 h 7458372"/>
              <a:gd name="connsiteX39944" fmla="*/ 7224480 w 10505529"/>
              <a:gd name="connsiteY39944" fmla="*/ 682505 h 7458372"/>
              <a:gd name="connsiteX39945" fmla="*/ 7223415 w 10505529"/>
              <a:gd name="connsiteY39945" fmla="*/ 677313 h 7458372"/>
              <a:gd name="connsiteX39946" fmla="*/ 7220752 w 10505529"/>
              <a:gd name="connsiteY39946" fmla="*/ 673054 h 7458372"/>
              <a:gd name="connsiteX39947" fmla="*/ 7216759 w 10505529"/>
              <a:gd name="connsiteY39947" fmla="*/ 670391 h 7458372"/>
              <a:gd name="connsiteX39948" fmla="*/ 7211701 w 10505529"/>
              <a:gd name="connsiteY39948" fmla="*/ 669326 h 7458372"/>
              <a:gd name="connsiteX39949" fmla="*/ 7864636 w 10505529"/>
              <a:gd name="connsiteY39949" fmla="*/ 669325 h 7458372"/>
              <a:gd name="connsiteX39950" fmla="*/ 7854652 w 10505529"/>
              <a:gd name="connsiteY39950" fmla="*/ 672919 h 7458372"/>
              <a:gd name="connsiteX39951" fmla="*/ 7851058 w 10505529"/>
              <a:gd name="connsiteY39951" fmla="*/ 682372 h 7458372"/>
              <a:gd name="connsiteX39952" fmla="*/ 7854652 w 10505529"/>
              <a:gd name="connsiteY39952" fmla="*/ 691956 h 7458372"/>
              <a:gd name="connsiteX39953" fmla="*/ 7864636 w 10505529"/>
              <a:gd name="connsiteY39953" fmla="*/ 695417 h 7458372"/>
              <a:gd name="connsiteX39954" fmla="*/ 7869961 w 10505529"/>
              <a:gd name="connsiteY39954" fmla="*/ 694485 h 7458372"/>
              <a:gd name="connsiteX39955" fmla="*/ 7873687 w 10505529"/>
              <a:gd name="connsiteY39955" fmla="*/ 692089 h 7458372"/>
              <a:gd name="connsiteX39956" fmla="*/ 7876350 w 10505529"/>
              <a:gd name="connsiteY39956" fmla="*/ 687963 h 7458372"/>
              <a:gd name="connsiteX39957" fmla="*/ 7877282 w 10505529"/>
              <a:gd name="connsiteY39957" fmla="*/ 682505 h 7458372"/>
              <a:gd name="connsiteX39958" fmla="*/ 7876350 w 10505529"/>
              <a:gd name="connsiteY39958" fmla="*/ 677313 h 7458372"/>
              <a:gd name="connsiteX39959" fmla="*/ 7873687 w 10505529"/>
              <a:gd name="connsiteY39959" fmla="*/ 673054 h 7458372"/>
              <a:gd name="connsiteX39960" fmla="*/ 7869694 w 10505529"/>
              <a:gd name="connsiteY39960" fmla="*/ 670390 h 7458372"/>
              <a:gd name="connsiteX39961" fmla="*/ 7864636 w 10505529"/>
              <a:gd name="connsiteY39961" fmla="*/ 669325 h 7458372"/>
              <a:gd name="connsiteX39962" fmla="*/ 7646991 w 10505529"/>
              <a:gd name="connsiteY39962" fmla="*/ 669325 h 7458372"/>
              <a:gd name="connsiteX39963" fmla="*/ 7637007 w 10505529"/>
              <a:gd name="connsiteY39963" fmla="*/ 672920 h 7458372"/>
              <a:gd name="connsiteX39964" fmla="*/ 7633413 w 10505529"/>
              <a:gd name="connsiteY39964" fmla="*/ 682372 h 7458372"/>
              <a:gd name="connsiteX39965" fmla="*/ 7637007 w 10505529"/>
              <a:gd name="connsiteY39965" fmla="*/ 691956 h 7458372"/>
              <a:gd name="connsiteX39966" fmla="*/ 7646991 w 10505529"/>
              <a:gd name="connsiteY39966" fmla="*/ 695417 h 7458372"/>
              <a:gd name="connsiteX39967" fmla="*/ 7652315 w 10505529"/>
              <a:gd name="connsiteY39967" fmla="*/ 694485 h 7458372"/>
              <a:gd name="connsiteX39968" fmla="*/ 7656042 w 10505529"/>
              <a:gd name="connsiteY39968" fmla="*/ 692089 h 7458372"/>
              <a:gd name="connsiteX39969" fmla="*/ 7658705 w 10505529"/>
              <a:gd name="connsiteY39969" fmla="*/ 687963 h 7458372"/>
              <a:gd name="connsiteX39970" fmla="*/ 7659769 w 10505529"/>
              <a:gd name="connsiteY39970" fmla="*/ 682505 h 7458372"/>
              <a:gd name="connsiteX39971" fmla="*/ 7658705 w 10505529"/>
              <a:gd name="connsiteY39971" fmla="*/ 677313 h 7458372"/>
              <a:gd name="connsiteX39972" fmla="*/ 7656042 w 10505529"/>
              <a:gd name="connsiteY39972" fmla="*/ 673054 h 7458372"/>
              <a:gd name="connsiteX39973" fmla="*/ 7652049 w 10505529"/>
              <a:gd name="connsiteY39973" fmla="*/ 670391 h 7458372"/>
              <a:gd name="connsiteX39974" fmla="*/ 7646991 w 10505529"/>
              <a:gd name="connsiteY39974" fmla="*/ 669325 h 7458372"/>
              <a:gd name="connsiteX39975" fmla="*/ 8082281 w 10505529"/>
              <a:gd name="connsiteY39975" fmla="*/ 669325 h 7458372"/>
              <a:gd name="connsiteX39976" fmla="*/ 8072297 w 10505529"/>
              <a:gd name="connsiteY39976" fmla="*/ 672919 h 7458372"/>
              <a:gd name="connsiteX39977" fmla="*/ 8068703 w 10505529"/>
              <a:gd name="connsiteY39977" fmla="*/ 682372 h 7458372"/>
              <a:gd name="connsiteX39978" fmla="*/ 8072297 w 10505529"/>
              <a:gd name="connsiteY39978" fmla="*/ 691956 h 7458372"/>
              <a:gd name="connsiteX39979" fmla="*/ 8082281 w 10505529"/>
              <a:gd name="connsiteY39979" fmla="*/ 695417 h 7458372"/>
              <a:gd name="connsiteX39980" fmla="*/ 8087605 w 10505529"/>
              <a:gd name="connsiteY39980" fmla="*/ 694485 h 7458372"/>
              <a:gd name="connsiteX39981" fmla="*/ 8091332 w 10505529"/>
              <a:gd name="connsiteY39981" fmla="*/ 692089 h 7458372"/>
              <a:gd name="connsiteX39982" fmla="*/ 8093994 w 10505529"/>
              <a:gd name="connsiteY39982" fmla="*/ 687963 h 7458372"/>
              <a:gd name="connsiteX39983" fmla="*/ 8094926 w 10505529"/>
              <a:gd name="connsiteY39983" fmla="*/ 682505 h 7458372"/>
              <a:gd name="connsiteX39984" fmla="*/ 8093994 w 10505529"/>
              <a:gd name="connsiteY39984" fmla="*/ 677312 h 7458372"/>
              <a:gd name="connsiteX39985" fmla="*/ 8091332 w 10505529"/>
              <a:gd name="connsiteY39985" fmla="*/ 673053 h 7458372"/>
              <a:gd name="connsiteX39986" fmla="*/ 8087338 w 10505529"/>
              <a:gd name="connsiteY39986" fmla="*/ 670390 h 7458372"/>
              <a:gd name="connsiteX39987" fmla="*/ 8082281 w 10505529"/>
              <a:gd name="connsiteY39987" fmla="*/ 669325 h 7458372"/>
              <a:gd name="connsiteX39988" fmla="*/ 8299793 w 10505529"/>
              <a:gd name="connsiteY39988" fmla="*/ 669325 h 7458372"/>
              <a:gd name="connsiteX39989" fmla="*/ 8289809 w 10505529"/>
              <a:gd name="connsiteY39989" fmla="*/ 672919 h 7458372"/>
              <a:gd name="connsiteX39990" fmla="*/ 8286215 w 10505529"/>
              <a:gd name="connsiteY39990" fmla="*/ 682372 h 7458372"/>
              <a:gd name="connsiteX39991" fmla="*/ 8289809 w 10505529"/>
              <a:gd name="connsiteY39991" fmla="*/ 691956 h 7458372"/>
              <a:gd name="connsiteX39992" fmla="*/ 8299793 w 10505529"/>
              <a:gd name="connsiteY39992" fmla="*/ 695417 h 7458372"/>
              <a:gd name="connsiteX39993" fmla="*/ 8305118 w 10505529"/>
              <a:gd name="connsiteY39993" fmla="*/ 694485 h 7458372"/>
              <a:gd name="connsiteX39994" fmla="*/ 8308844 w 10505529"/>
              <a:gd name="connsiteY39994" fmla="*/ 692089 h 7458372"/>
              <a:gd name="connsiteX39995" fmla="*/ 8311507 w 10505529"/>
              <a:gd name="connsiteY39995" fmla="*/ 687963 h 7458372"/>
              <a:gd name="connsiteX39996" fmla="*/ 8312439 w 10505529"/>
              <a:gd name="connsiteY39996" fmla="*/ 682504 h 7458372"/>
              <a:gd name="connsiteX39997" fmla="*/ 8311507 w 10505529"/>
              <a:gd name="connsiteY39997" fmla="*/ 677312 h 7458372"/>
              <a:gd name="connsiteX39998" fmla="*/ 8308844 w 10505529"/>
              <a:gd name="connsiteY39998" fmla="*/ 673053 h 7458372"/>
              <a:gd name="connsiteX39999" fmla="*/ 8304851 w 10505529"/>
              <a:gd name="connsiteY39999" fmla="*/ 670390 h 7458372"/>
              <a:gd name="connsiteX40000" fmla="*/ 8299793 w 10505529"/>
              <a:gd name="connsiteY40000" fmla="*/ 669325 h 7458372"/>
              <a:gd name="connsiteX40001" fmla="*/ 8517438 w 10505529"/>
              <a:gd name="connsiteY40001" fmla="*/ 669325 h 7458372"/>
              <a:gd name="connsiteX40002" fmla="*/ 8507453 w 10505529"/>
              <a:gd name="connsiteY40002" fmla="*/ 672919 h 7458372"/>
              <a:gd name="connsiteX40003" fmla="*/ 8503860 w 10505529"/>
              <a:gd name="connsiteY40003" fmla="*/ 682372 h 7458372"/>
              <a:gd name="connsiteX40004" fmla="*/ 8507453 w 10505529"/>
              <a:gd name="connsiteY40004" fmla="*/ 691956 h 7458372"/>
              <a:gd name="connsiteX40005" fmla="*/ 8517438 w 10505529"/>
              <a:gd name="connsiteY40005" fmla="*/ 695417 h 7458372"/>
              <a:gd name="connsiteX40006" fmla="*/ 8522763 w 10505529"/>
              <a:gd name="connsiteY40006" fmla="*/ 694485 h 7458372"/>
              <a:gd name="connsiteX40007" fmla="*/ 8526490 w 10505529"/>
              <a:gd name="connsiteY40007" fmla="*/ 692089 h 7458372"/>
              <a:gd name="connsiteX40008" fmla="*/ 8529152 w 10505529"/>
              <a:gd name="connsiteY40008" fmla="*/ 687963 h 7458372"/>
              <a:gd name="connsiteX40009" fmla="*/ 8530084 w 10505529"/>
              <a:gd name="connsiteY40009" fmla="*/ 682504 h 7458372"/>
              <a:gd name="connsiteX40010" fmla="*/ 8529152 w 10505529"/>
              <a:gd name="connsiteY40010" fmla="*/ 677312 h 7458372"/>
              <a:gd name="connsiteX40011" fmla="*/ 8526490 w 10505529"/>
              <a:gd name="connsiteY40011" fmla="*/ 673053 h 7458372"/>
              <a:gd name="connsiteX40012" fmla="*/ 8522496 w 10505529"/>
              <a:gd name="connsiteY40012" fmla="*/ 670390 h 7458372"/>
              <a:gd name="connsiteX40013" fmla="*/ 8517438 w 10505529"/>
              <a:gd name="connsiteY40013" fmla="*/ 669325 h 7458372"/>
              <a:gd name="connsiteX40014" fmla="*/ 8735083 w 10505529"/>
              <a:gd name="connsiteY40014" fmla="*/ 669325 h 7458372"/>
              <a:gd name="connsiteX40015" fmla="*/ 8725098 w 10505529"/>
              <a:gd name="connsiteY40015" fmla="*/ 672919 h 7458372"/>
              <a:gd name="connsiteX40016" fmla="*/ 8721504 w 10505529"/>
              <a:gd name="connsiteY40016" fmla="*/ 682371 h 7458372"/>
              <a:gd name="connsiteX40017" fmla="*/ 8725098 w 10505529"/>
              <a:gd name="connsiteY40017" fmla="*/ 691955 h 7458372"/>
              <a:gd name="connsiteX40018" fmla="*/ 8735083 w 10505529"/>
              <a:gd name="connsiteY40018" fmla="*/ 695416 h 7458372"/>
              <a:gd name="connsiteX40019" fmla="*/ 8740407 w 10505529"/>
              <a:gd name="connsiteY40019" fmla="*/ 694484 h 7458372"/>
              <a:gd name="connsiteX40020" fmla="*/ 8744134 w 10505529"/>
              <a:gd name="connsiteY40020" fmla="*/ 692089 h 7458372"/>
              <a:gd name="connsiteX40021" fmla="*/ 8746797 w 10505529"/>
              <a:gd name="connsiteY40021" fmla="*/ 687962 h 7458372"/>
              <a:gd name="connsiteX40022" fmla="*/ 8747862 w 10505529"/>
              <a:gd name="connsiteY40022" fmla="*/ 682504 h 7458372"/>
              <a:gd name="connsiteX40023" fmla="*/ 8746797 w 10505529"/>
              <a:gd name="connsiteY40023" fmla="*/ 677312 h 7458372"/>
              <a:gd name="connsiteX40024" fmla="*/ 8744134 w 10505529"/>
              <a:gd name="connsiteY40024" fmla="*/ 673053 h 7458372"/>
              <a:gd name="connsiteX40025" fmla="*/ 8740141 w 10505529"/>
              <a:gd name="connsiteY40025" fmla="*/ 670390 h 7458372"/>
              <a:gd name="connsiteX40026" fmla="*/ 8735083 w 10505529"/>
              <a:gd name="connsiteY40026" fmla="*/ 669325 h 7458372"/>
              <a:gd name="connsiteX40027" fmla="*/ 8952728 w 10505529"/>
              <a:gd name="connsiteY40027" fmla="*/ 669325 h 7458372"/>
              <a:gd name="connsiteX40028" fmla="*/ 8942743 w 10505529"/>
              <a:gd name="connsiteY40028" fmla="*/ 672919 h 7458372"/>
              <a:gd name="connsiteX40029" fmla="*/ 8939150 w 10505529"/>
              <a:gd name="connsiteY40029" fmla="*/ 682371 h 7458372"/>
              <a:gd name="connsiteX40030" fmla="*/ 8942743 w 10505529"/>
              <a:gd name="connsiteY40030" fmla="*/ 691955 h 7458372"/>
              <a:gd name="connsiteX40031" fmla="*/ 8952728 w 10505529"/>
              <a:gd name="connsiteY40031" fmla="*/ 695416 h 7458372"/>
              <a:gd name="connsiteX40032" fmla="*/ 8958053 w 10505529"/>
              <a:gd name="connsiteY40032" fmla="*/ 694484 h 7458372"/>
              <a:gd name="connsiteX40033" fmla="*/ 8961780 w 10505529"/>
              <a:gd name="connsiteY40033" fmla="*/ 692089 h 7458372"/>
              <a:gd name="connsiteX40034" fmla="*/ 8964442 w 10505529"/>
              <a:gd name="connsiteY40034" fmla="*/ 687962 h 7458372"/>
              <a:gd name="connsiteX40035" fmla="*/ 8965507 w 10505529"/>
              <a:gd name="connsiteY40035" fmla="*/ 682504 h 7458372"/>
              <a:gd name="connsiteX40036" fmla="*/ 8964442 w 10505529"/>
              <a:gd name="connsiteY40036" fmla="*/ 677312 h 7458372"/>
              <a:gd name="connsiteX40037" fmla="*/ 8961780 w 10505529"/>
              <a:gd name="connsiteY40037" fmla="*/ 673053 h 7458372"/>
              <a:gd name="connsiteX40038" fmla="*/ 8957786 w 10505529"/>
              <a:gd name="connsiteY40038" fmla="*/ 670390 h 7458372"/>
              <a:gd name="connsiteX40039" fmla="*/ 8952728 w 10505529"/>
              <a:gd name="connsiteY40039" fmla="*/ 669325 h 7458372"/>
              <a:gd name="connsiteX40040" fmla="*/ 9170374 w 10505529"/>
              <a:gd name="connsiteY40040" fmla="*/ 669325 h 7458372"/>
              <a:gd name="connsiteX40041" fmla="*/ 9160389 w 10505529"/>
              <a:gd name="connsiteY40041" fmla="*/ 672919 h 7458372"/>
              <a:gd name="connsiteX40042" fmla="*/ 9156795 w 10505529"/>
              <a:gd name="connsiteY40042" fmla="*/ 682371 h 7458372"/>
              <a:gd name="connsiteX40043" fmla="*/ 9160389 w 10505529"/>
              <a:gd name="connsiteY40043" fmla="*/ 691955 h 7458372"/>
              <a:gd name="connsiteX40044" fmla="*/ 9170374 w 10505529"/>
              <a:gd name="connsiteY40044" fmla="*/ 695416 h 7458372"/>
              <a:gd name="connsiteX40045" fmla="*/ 9175698 w 10505529"/>
              <a:gd name="connsiteY40045" fmla="*/ 694484 h 7458372"/>
              <a:gd name="connsiteX40046" fmla="*/ 9179425 w 10505529"/>
              <a:gd name="connsiteY40046" fmla="*/ 692088 h 7458372"/>
              <a:gd name="connsiteX40047" fmla="*/ 9182088 w 10505529"/>
              <a:gd name="connsiteY40047" fmla="*/ 687962 h 7458372"/>
              <a:gd name="connsiteX40048" fmla="*/ 9183152 w 10505529"/>
              <a:gd name="connsiteY40048" fmla="*/ 682504 h 7458372"/>
              <a:gd name="connsiteX40049" fmla="*/ 9182088 w 10505529"/>
              <a:gd name="connsiteY40049" fmla="*/ 677312 h 7458372"/>
              <a:gd name="connsiteX40050" fmla="*/ 9179425 w 10505529"/>
              <a:gd name="connsiteY40050" fmla="*/ 673053 h 7458372"/>
              <a:gd name="connsiteX40051" fmla="*/ 9175432 w 10505529"/>
              <a:gd name="connsiteY40051" fmla="*/ 670390 h 7458372"/>
              <a:gd name="connsiteX40052" fmla="*/ 9170374 w 10505529"/>
              <a:gd name="connsiteY40052" fmla="*/ 669325 h 7458372"/>
              <a:gd name="connsiteX40053" fmla="*/ 9387885 w 10505529"/>
              <a:gd name="connsiteY40053" fmla="*/ 669325 h 7458372"/>
              <a:gd name="connsiteX40054" fmla="*/ 9377900 w 10505529"/>
              <a:gd name="connsiteY40054" fmla="*/ 672919 h 7458372"/>
              <a:gd name="connsiteX40055" fmla="*/ 9374307 w 10505529"/>
              <a:gd name="connsiteY40055" fmla="*/ 682371 h 7458372"/>
              <a:gd name="connsiteX40056" fmla="*/ 9377900 w 10505529"/>
              <a:gd name="connsiteY40056" fmla="*/ 691955 h 7458372"/>
              <a:gd name="connsiteX40057" fmla="*/ 9387885 w 10505529"/>
              <a:gd name="connsiteY40057" fmla="*/ 695416 h 7458372"/>
              <a:gd name="connsiteX40058" fmla="*/ 9393210 w 10505529"/>
              <a:gd name="connsiteY40058" fmla="*/ 694484 h 7458372"/>
              <a:gd name="connsiteX40059" fmla="*/ 9396937 w 10505529"/>
              <a:gd name="connsiteY40059" fmla="*/ 692088 h 7458372"/>
              <a:gd name="connsiteX40060" fmla="*/ 9399599 w 10505529"/>
              <a:gd name="connsiteY40060" fmla="*/ 687962 h 7458372"/>
              <a:gd name="connsiteX40061" fmla="*/ 9400664 w 10505529"/>
              <a:gd name="connsiteY40061" fmla="*/ 682504 h 7458372"/>
              <a:gd name="connsiteX40062" fmla="*/ 9399599 w 10505529"/>
              <a:gd name="connsiteY40062" fmla="*/ 677312 h 7458372"/>
              <a:gd name="connsiteX40063" fmla="*/ 9396937 w 10505529"/>
              <a:gd name="connsiteY40063" fmla="*/ 673053 h 7458372"/>
              <a:gd name="connsiteX40064" fmla="*/ 9392943 w 10505529"/>
              <a:gd name="connsiteY40064" fmla="*/ 670390 h 7458372"/>
              <a:gd name="connsiteX40065" fmla="*/ 9387885 w 10505529"/>
              <a:gd name="connsiteY40065" fmla="*/ 669325 h 7458372"/>
              <a:gd name="connsiteX40066" fmla="*/ 9605531 w 10505529"/>
              <a:gd name="connsiteY40066" fmla="*/ 669325 h 7458372"/>
              <a:gd name="connsiteX40067" fmla="*/ 9595546 w 10505529"/>
              <a:gd name="connsiteY40067" fmla="*/ 672919 h 7458372"/>
              <a:gd name="connsiteX40068" fmla="*/ 9591952 w 10505529"/>
              <a:gd name="connsiteY40068" fmla="*/ 682371 h 7458372"/>
              <a:gd name="connsiteX40069" fmla="*/ 9595546 w 10505529"/>
              <a:gd name="connsiteY40069" fmla="*/ 691955 h 7458372"/>
              <a:gd name="connsiteX40070" fmla="*/ 9605531 w 10505529"/>
              <a:gd name="connsiteY40070" fmla="*/ 695416 h 7458372"/>
              <a:gd name="connsiteX40071" fmla="*/ 9610855 w 10505529"/>
              <a:gd name="connsiteY40071" fmla="*/ 694484 h 7458372"/>
              <a:gd name="connsiteX40072" fmla="*/ 9614582 w 10505529"/>
              <a:gd name="connsiteY40072" fmla="*/ 692088 h 7458372"/>
              <a:gd name="connsiteX40073" fmla="*/ 9617245 w 10505529"/>
              <a:gd name="connsiteY40073" fmla="*/ 687962 h 7458372"/>
              <a:gd name="connsiteX40074" fmla="*/ 9618309 w 10505529"/>
              <a:gd name="connsiteY40074" fmla="*/ 682504 h 7458372"/>
              <a:gd name="connsiteX40075" fmla="*/ 9617245 w 10505529"/>
              <a:gd name="connsiteY40075" fmla="*/ 677312 h 7458372"/>
              <a:gd name="connsiteX40076" fmla="*/ 9614582 w 10505529"/>
              <a:gd name="connsiteY40076" fmla="*/ 673053 h 7458372"/>
              <a:gd name="connsiteX40077" fmla="*/ 9610589 w 10505529"/>
              <a:gd name="connsiteY40077" fmla="*/ 670390 h 7458372"/>
              <a:gd name="connsiteX40078" fmla="*/ 9605531 w 10505529"/>
              <a:gd name="connsiteY40078" fmla="*/ 669325 h 7458372"/>
              <a:gd name="connsiteX40079" fmla="*/ 9823176 w 10505529"/>
              <a:gd name="connsiteY40079" fmla="*/ 669324 h 7458372"/>
              <a:gd name="connsiteX40080" fmla="*/ 9813191 w 10505529"/>
              <a:gd name="connsiteY40080" fmla="*/ 672919 h 7458372"/>
              <a:gd name="connsiteX40081" fmla="*/ 9809597 w 10505529"/>
              <a:gd name="connsiteY40081" fmla="*/ 682371 h 7458372"/>
              <a:gd name="connsiteX40082" fmla="*/ 9813191 w 10505529"/>
              <a:gd name="connsiteY40082" fmla="*/ 691955 h 7458372"/>
              <a:gd name="connsiteX40083" fmla="*/ 9823176 w 10505529"/>
              <a:gd name="connsiteY40083" fmla="*/ 695416 h 7458372"/>
              <a:gd name="connsiteX40084" fmla="*/ 9828501 w 10505529"/>
              <a:gd name="connsiteY40084" fmla="*/ 694484 h 7458372"/>
              <a:gd name="connsiteX40085" fmla="*/ 9832227 w 10505529"/>
              <a:gd name="connsiteY40085" fmla="*/ 692088 h 7458372"/>
              <a:gd name="connsiteX40086" fmla="*/ 9834890 w 10505529"/>
              <a:gd name="connsiteY40086" fmla="*/ 687962 h 7458372"/>
              <a:gd name="connsiteX40087" fmla="*/ 9835955 w 10505529"/>
              <a:gd name="connsiteY40087" fmla="*/ 682504 h 7458372"/>
              <a:gd name="connsiteX40088" fmla="*/ 9834890 w 10505529"/>
              <a:gd name="connsiteY40088" fmla="*/ 677312 h 7458372"/>
              <a:gd name="connsiteX40089" fmla="*/ 9832227 w 10505529"/>
              <a:gd name="connsiteY40089" fmla="*/ 673053 h 7458372"/>
              <a:gd name="connsiteX40090" fmla="*/ 9828234 w 10505529"/>
              <a:gd name="connsiteY40090" fmla="*/ 670390 h 7458372"/>
              <a:gd name="connsiteX40091" fmla="*/ 9823176 w 10505529"/>
              <a:gd name="connsiteY40091" fmla="*/ 669324 h 7458372"/>
              <a:gd name="connsiteX40092" fmla="*/ 10040820 w 10505529"/>
              <a:gd name="connsiteY40092" fmla="*/ 669324 h 7458372"/>
              <a:gd name="connsiteX40093" fmla="*/ 10030835 w 10505529"/>
              <a:gd name="connsiteY40093" fmla="*/ 672918 h 7458372"/>
              <a:gd name="connsiteX40094" fmla="*/ 10027242 w 10505529"/>
              <a:gd name="connsiteY40094" fmla="*/ 682371 h 7458372"/>
              <a:gd name="connsiteX40095" fmla="*/ 10030835 w 10505529"/>
              <a:gd name="connsiteY40095" fmla="*/ 691955 h 7458372"/>
              <a:gd name="connsiteX40096" fmla="*/ 10040820 w 10505529"/>
              <a:gd name="connsiteY40096" fmla="*/ 695416 h 7458372"/>
              <a:gd name="connsiteX40097" fmla="*/ 10046145 w 10505529"/>
              <a:gd name="connsiteY40097" fmla="*/ 694484 h 7458372"/>
              <a:gd name="connsiteX40098" fmla="*/ 10049872 w 10505529"/>
              <a:gd name="connsiteY40098" fmla="*/ 692088 h 7458372"/>
              <a:gd name="connsiteX40099" fmla="*/ 10052534 w 10505529"/>
              <a:gd name="connsiteY40099" fmla="*/ 687962 h 7458372"/>
              <a:gd name="connsiteX40100" fmla="*/ 10053599 w 10505529"/>
              <a:gd name="connsiteY40100" fmla="*/ 682504 h 7458372"/>
              <a:gd name="connsiteX40101" fmla="*/ 10052534 w 10505529"/>
              <a:gd name="connsiteY40101" fmla="*/ 677311 h 7458372"/>
              <a:gd name="connsiteX40102" fmla="*/ 10049872 w 10505529"/>
              <a:gd name="connsiteY40102" fmla="*/ 673053 h 7458372"/>
              <a:gd name="connsiteX40103" fmla="*/ 10045878 w 10505529"/>
              <a:gd name="connsiteY40103" fmla="*/ 670389 h 7458372"/>
              <a:gd name="connsiteX40104" fmla="*/ 10040820 w 10505529"/>
              <a:gd name="connsiteY40104" fmla="*/ 669324 h 7458372"/>
              <a:gd name="connsiteX40105" fmla="*/ 10258466 w 10505529"/>
              <a:gd name="connsiteY40105" fmla="*/ 669324 h 7458372"/>
              <a:gd name="connsiteX40106" fmla="*/ 10248481 w 10505529"/>
              <a:gd name="connsiteY40106" fmla="*/ 672918 h 7458372"/>
              <a:gd name="connsiteX40107" fmla="*/ 10244887 w 10505529"/>
              <a:gd name="connsiteY40107" fmla="*/ 682371 h 7458372"/>
              <a:gd name="connsiteX40108" fmla="*/ 10248481 w 10505529"/>
              <a:gd name="connsiteY40108" fmla="*/ 691955 h 7458372"/>
              <a:gd name="connsiteX40109" fmla="*/ 10258466 w 10505529"/>
              <a:gd name="connsiteY40109" fmla="*/ 695416 h 7458372"/>
              <a:gd name="connsiteX40110" fmla="*/ 10263790 w 10505529"/>
              <a:gd name="connsiteY40110" fmla="*/ 694484 h 7458372"/>
              <a:gd name="connsiteX40111" fmla="*/ 10267517 w 10505529"/>
              <a:gd name="connsiteY40111" fmla="*/ 692088 h 7458372"/>
              <a:gd name="connsiteX40112" fmla="*/ 10270180 w 10505529"/>
              <a:gd name="connsiteY40112" fmla="*/ 687962 h 7458372"/>
              <a:gd name="connsiteX40113" fmla="*/ 10271112 w 10505529"/>
              <a:gd name="connsiteY40113" fmla="*/ 682504 h 7458372"/>
              <a:gd name="connsiteX40114" fmla="*/ 10270180 w 10505529"/>
              <a:gd name="connsiteY40114" fmla="*/ 677311 h 7458372"/>
              <a:gd name="connsiteX40115" fmla="*/ 10267517 w 10505529"/>
              <a:gd name="connsiteY40115" fmla="*/ 673053 h 7458372"/>
              <a:gd name="connsiteX40116" fmla="*/ 10263524 w 10505529"/>
              <a:gd name="connsiteY40116" fmla="*/ 670389 h 7458372"/>
              <a:gd name="connsiteX40117" fmla="*/ 10258466 w 10505529"/>
              <a:gd name="connsiteY40117" fmla="*/ 669324 h 7458372"/>
              <a:gd name="connsiteX40118" fmla="*/ 10475977 w 10505529"/>
              <a:gd name="connsiteY40118" fmla="*/ 669324 h 7458372"/>
              <a:gd name="connsiteX40119" fmla="*/ 10465992 w 10505529"/>
              <a:gd name="connsiteY40119" fmla="*/ 672918 h 7458372"/>
              <a:gd name="connsiteX40120" fmla="*/ 10462399 w 10505529"/>
              <a:gd name="connsiteY40120" fmla="*/ 682371 h 7458372"/>
              <a:gd name="connsiteX40121" fmla="*/ 10465992 w 10505529"/>
              <a:gd name="connsiteY40121" fmla="*/ 691955 h 7458372"/>
              <a:gd name="connsiteX40122" fmla="*/ 10475977 w 10505529"/>
              <a:gd name="connsiteY40122" fmla="*/ 695416 h 7458372"/>
              <a:gd name="connsiteX40123" fmla="*/ 10481302 w 10505529"/>
              <a:gd name="connsiteY40123" fmla="*/ 694484 h 7458372"/>
              <a:gd name="connsiteX40124" fmla="*/ 10485029 w 10505529"/>
              <a:gd name="connsiteY40124" fmla="*/ 692088 h 7458372"/>
              <a:gd name="connsiteX40125" fmla="*/ 10487691 w 10505529"/>
              <a:gd name="connsiteY40125" fmla="*/ 687962 h 7458372"/>
              <a:gd name="connsiteX40126" fmla="*/ 10488623 w 10505529"/>
              <a:gd name="connsiteY40126" fmla="*/ 682503 h 7458372"/>
              <a:gd name="connsiteX40127" fmla="*/ 10487691 w 10505529"/>
              <a:gd name="connsiteY40127" fmla="*/ 677311 h 7458372"/>
              <a:gd name="connsiteX40128" fmla="*/ 10485029 w 10505529"/>
              <a:gd name="connsiteY40128" fmla="*/ 673052 h 7458372"/>
              <a:gd name="connsiteX40129" fmla="*/ 10481035 w 10505529"/>
              <a:gd name="connsiteY40129" fmla="*/ 670389 h 7458372"/>
              <a:gd name="connsiteX40130" fmla="*/ 10475977 w 10505529"/>
              <a:gd name="connsiteY40130" fmla="*/ 669324 h 7458372"/>
              <a:gd name="connsiteX40131" fmla="*/ 30240 w 10505529"/>
              <a:gd name="connsiteY40131" fmla="*/ 652823 h 7458372"/>
              <a:gd name="connsiteX40132" fmla="*/ 41955 w 10505529"/>
              <a:gd name="connsiteY40132" fmla="*/ 655352 h 7458372"/>
              <a:gd name="connsiteX40133" fmla="*/ 51273 w 10505529"/>
              <a:gd name="connsiteY40133" fmla="*/ 661742 h 7458372"/>
              <a:gd name="connsiteX40134" fmla="*/ 57396 w 10505529"/>
              <a:gd name="connsiteY40134" fmla="*/ 671193 h 7458372"/>
              <a:gd name="connsiteX40135" fmla="*/ 59659 w 10505529"/>
              <a:gd name="connsiteY40135" fmla="*/ 682641 h 7458372"/>
              <a:gd name="connsiteX40136" fmla="*/ 57396 w 10505529"/>
              <a:gd name="connsiteY40136" fmla="*/ 694356 h 7458372"/>
              <a:gd name="connsiteX40137" fmla="*/ 51273 w 10505529"/>
              <a:gd name="connsiteY40137" fmla="*/ 703674 h 7458372"/>
              <a:gd name="connsiteX40138" fmla="*/ 41955 w 10505529"/>
              <a:gd name="connsiteY40138" fmla="*/ 709931 h 7458372"/>
              <a:gd name="connsiteX40139" fmla="*/ 30240 w 10505529"/>
              <a:gd name="connsiteY40139" fmla="*/ 712194 h 7458372"/>
              <a:gd name="connsiteX40140" fmla="*/ 8409 w 10505529"/>
              <a:gd name="connsiteY40140" fmla="*/ 703674 h 7458372"/>
              <a:gd name="connsiteX40141" fmla="*/ 23 w 10505529"/>
              <a:gd name="connsiteY40141" fmla="*/ 682508 h 7458372"/>
              <a:gd name="connsiteX40142" fmla="*/ 8409 w 10505529"/>
              <a:gd name="connsiteY40142" fmla="*/ 661475 h 7458372"/>
              <a:gd name="connsiteX40143" fmla="*/ 30240 w 10505529"/>
              <a:gd name="connsiteY40143" fmla="*/ 652823 h 7458372"/>
              <a:gd name="connsiteX40144" fmla="*/ 465528 w 10505529"/>
              <a:gd name="connsiteY40144" fmla="*/ 652823 h 7458372"/>
              <a:gd name="connsiteX40145" fmla="*/ 477244 w 10505529"/>
              <a:gd name="connsiteY40145" fmla="*/ 655352 h 7458372"/>
              <a:gd name="connsiteX40146" fmla="*/ 486561 w 10505529"/>
              <a:gd name="connsiteY40146" fmla="*/ 661742 h 7458372"/>
              <a:gd name="connsiteX40147" fmla="*/ 492685 w 10505529"/>
              <a:gd name="connsiteY40147" fmla="*/ 671193 h 7458372"/>
              <a:gd name="connsiteX40148" fmla="*/ 494948 w 10505529"/>
              <a:gd name="connsiteY40148" fmla="*/ 682641 h 7458372"/>
              <a:gd name="connsiteX40149" fmla="*/ 492685 w 10505529"/>
              <a:gd name="connsiteY40149" fmla="*/ 694355 h 7458372"/>
              <a:gd name="connsiteX40150" fmla="*/ 486561 w 10505529"/>
              <a:gd name="connsiteY40150" fmla="*/ 703673 h 7458372"/>
              <a:gd name="connsiteX40151" fmla="*/ 477244 w 10505529"/>
              <a:gd name="connsiteY40151" fmla="*/ 709931 h 7458372"/>
              <a:gd name="connsiteX40152" fmla="*/ 465528 w 10505529"/>
              <a:gd name="connsiteY40152" fmla="*/ 712194 h 7458372"/>
              <a:gd name="connsiteX40153" fmla="*/ 443697 w 10505529"/>
              <a:gd name="connsiteY40153" fmla="*/ 703673 h 7458372"/>
              <a:gd name="connsiteX40154" fmla="*/ 435311 w 10505529"/>
              <a:gd name="connsiteY40154" fmla="*/ 682508 h 7458372"/>
              <a:gd name="connsiteX40155" fmla="*/ 443697 w 10505529"/>
              <a:gd name="connsiteY40155" fmla="*/ 661475 h 7458372"/>
              <a:gd name="connsiteX40156" fmla="*/ 465528 w 10505529"/>
              <a:gd name="connsiteY40156" fmla="*/ 652823 h 7458372"/>
              <a:gd name="connsiteX40157" fmla="*/ 247884 w 10505529"/>
              <a:gd name="connsiteY40157" fmla="*/ 652823 h 7458372"/>
              <a:gd name="connsiteX40158" fmla="*/ 259599 w 10505529"/>
              <a:gd name="connsiteY40158" fmla="*/ 655352 h 7458372"/>
              <a:gd name="connsiteX40159" fmla="*/ 268917 w 10505529"/>
              <a:gd name="connsiteY40159" fmla="*/ 661742 h 7458372"/>
              <a:gd name="connsiteX40160" fmla="*/ 275040 w 10505529"/>
              <a:gd name="connsiteY40160" fmla="*/ 671193 h 7458372"/>
              <a:gd name="connsiteX40161" fmla="*/ 277303 w 10505529"/>
              <a:gd name="connsiteY40161" fmla="*/ 682641 h 7458372"/>
              <a:gd name="connsiteX40162" fmla="*/ 275040 w 10505529"/>
              <a:gd name="connsiteY40162" fmla="*/ 694355 h 7458372"/>
              <a:gd name="connsiteX40163" fmla="*/ 268917 w 10505529"/>
              <a:gd name="connsiteY40163" fmla="*/ 703673 h 7458372"/>
              <a:gd name="connsiteX40164" fmla="*/ 259599 w 10505529"/>
              <a:gd name="connsiteY40164" fmla="*/ 709931 h 7458372"/>
              <a:gd name="connsiteX40165" fmla="*/ 247884 w 10505529"/>
              <a:gd name="connsiteY40165" fmla="*/ 712194 h 7458372"/>
              <a:gd name="connsiteX40166" fmla="*/ 226053 w 10505529"/>
              <a:gd name="connsiteY40166" fmla="*/ 703673 h 7458372"/>
              <a:gd name="connsiteX40167" fmla="*/ 217667 w 10505529"/>
              <a:gd name="connsiteY40167" fmla="*/ 682508 h 7458372"/>
              <a:gd name="connsiteX40168" fmla="*/ 226053 w 10505529"/>
              <a:gd name="connsiteY40168" fmla="*/ 661475 h 7458372"/>
              <a:gd name="connsiteX40169" fmla="*/ 247884 w 10505529"/>
              <a:gd name="connsiteY40169" fmla="*/ 652823 h 7458372"/>
              <a:gd name="connsiteX40170" fmla="*/ 683173 w 10505529"/>
              <a:gd name="connsiteY40170" fmla="*/ 652823 h 7458372"/>
              <a:gd name="connsiteX40171" fmla="*/ 694888 w 10505529"/>
              <a:gd name="connsiteY40171" fmla="*/ 655351 h 7458372"/>
              <a:gd name="connsiteX40172" fmla="*/ 704206 w 10505529"/>
              <a:gd name="connsiteY40172" fmla="*/ 661742 h 7458372"/>
              <a:gd name="connsiteX40173" fmla="*/ 710329 w 10505529"/>
              <a:gd name="connsiteY40173" fmla="*/ 671193 h 7458372"/>
              <a:gd name="connsiteX40174" fmla="*/ 712592 w 10505529"/>
              <a:gd name="connsiteY40174" fmla="*/ 682641 h 7458372"/>
              <a:gd name="connsiteX40175" fmla="*/ 710329 w 10505529"/>
              <a:gd name="connsiteY40175" fmla="*/ 694355 h 7458372"/>
              <a:gd name="connsiteX40176" fmla="*/ 704206 w 10505529"/>
              <a:gd name="connsiteY40176" fmla="*/ 703673 h 7458372"/>
              <a:gd name="connsiteX40177" fmla="*/ 694888 w 10505529"/>
              <a:gd name="connsiteY40177" fmla="*/ 709931 h 7458372"/>
              <a:gd name="connsiteX40178" fmla="*/ 683173 w 10505529"/>
              <a:gd name="connsiteY40178" fmla="*/ 712194 h 7458372"/>
              <a:gd name="connsiteX40179" fmla="*/ 661341 w 10505529"/>
              <a:gd name="connsiteY40179" fmla="*/ 703673 h 7458372"/>
              <a:gd name="connsiteX40180" fmla="*/ 652955 w 10505529"/>
              <a:gd name="connsiteY40180" fmla="*/ 682508 h 7458372"/>
              <a:gd name="connsiteX40181" fmla="*/ 661341 w 10505529"/>
              <a:gd name="connsiteY40181" fmla="*/ 661475 h 7458372"/>
              <a:gd name="connsiteX40182" fmla="*/ 683173 w 10505529"/>
              <a:gd name="connsiteY40182" fmla="*/ 652823 h 7458372"/>
              <a:gd name="connsiteX40183" fmla="*/ 900817 w 10505529"/>
              <a:gd name="connsiteY40183" fmla="*/ 652822 h 7458372"/>
              <a:gd name="connsiteX40184" fmla="*/ 912532 w 10505529"/>
              <a:gd name="connsiteY40184" fmla="*/ 655351 h 7458372"/>
              <a:gd name="connsiteX40185" fmla="*/ 921850 w 10505529"/>
              <a:gd name="connsiteY40185" fmla="*/ 661742 h 7458372"/>
              <a:gd name="connsiteX40186" fmla="*/ 927973 w 10505529"/>
              <a:gd name="connsiteY40186" fmla="*/ 671193 h 7458372"/>
              <a:gd name="connsiteX40187" fmla="*/ 930236 w 10505529"/>
              <a:gd name="connsiteY40187" fmla="*/ 682641 h 7458372"/>
              <a:gd name="connsiteX40188" fmla="*/ 927973 w 10505529"/>
              <a:gd name="connsiteY40188" fmla="*/ 694355 h 7458372"/>
              <a:gd name="connsiteX40189" fmla="*/ 921850 w 10505529"/>
              <a:gd name="connsiteY40189" fmla="*/ 703673 h 7458372"/>
              <a:gd name="connsiteX40190" fmla="*/ 912532 w 10505529"/>
              <a:gd name="connsiteY40190" fmla="*/ 709930 h 7458372"/>
              <a:gd name="connsiteX40191" fmla="*/ 900817 w 10505529"/>
              <a:gd name="connsiteY40191" fmla="*/ 712193 h 7458372"/>
              <a:gd name="connsiteX40192" fmla="*/ 878986 w 10505529"/>
              <a:gd name="connsiteY40192" fmla="*/ 703673 h 7458372"/>
              <a:gd name="connsiteX40193" fmla="*/ 870600 w 10505529"/>
              <a:gd name="connsiteY40193" fmla="*/ 682508 h 7458372"/>
              <a:gd name="connsiteX40194" fmla="*/ 878986 w 10505529"/>
              <a:gd name="connsiteY40194" fmla="*/ 661475 h 7458372"/>
              <a:gd name="connsiteX40195" fmla="*/ 900817 w 10505529"/>
              <a:gd name="connsiteY40195" fmla="*/ 652822 h 7458372"/>
              <a:gd name="connsiteX40196" fmla="*/ 1118329 w 10505529"/>
              <a:gd name="connsiteY40196" fmla="*/ 652822 h 7458372"/>
              <a:gd name="connsiteX40197" fmla="*/ 1130045 w 10505529"/>
              <a:gd name="connsiteY40197" fmla="*/ 655351 h 7458372"/>
              <a:gd name="connsiteX40198" fmla="*/ 1139363 w 10505529"/>
              <a:gd name="connsiteY40198" fmla="*/ 661742 h 7458372"/>
              <a:gd name="connsiteX40199" fmla="*/ 1145485 w 10505529"/>
              <a:gd name="connsiteY40199" fmla="*/ 671193 h 7458372"/>
              <a:gd name="connsiteX40200" fmla="*/ 1147748 w 10505529"/>
              <a:gd name="connsiteY40200" fmla="*/ 682641 h 7458372"/>
              <a:gd name="connsiteX40201" fmla="*/ 1145485 w 10505529"/>
              <a:gd name="connsiteY40201" fmla="*/ 694355 h 7458372"/>
              <a:gd name="connsiteX40202" fmla="*/ 1139363 w 10505529"/>
              <a:gd name="connsiteY40202" fmla="*/ 703673 h 7458372"/>
              <a:gd name="connsiteX40203" fmla="*/ 1130045 w 10505529"/>
              <a:gd name="connsiteY40203" fmla="*/ 709930 h 7458372"/>
              <a:gd name="connsiteX40204" fmla="*/ 1118329 w 10505529"/>
              <a:gd name="connsiteY40204" fmla="*/ 712193 h 7458372"/>
              <a:gd name="connsiteX40205" fmla="*/ 1096497 w 10505529"/>
              <a:gd name="connsiteY40205" fmla="*/ 703673 h 7458372"/>
              <a:gd name="connsiteX40206" fmla="*/ 1088111 w 10505529"/>
              <a:gd name="connsiteY40206" fmla="*/ 682508 h 7458372"/>
              <a:gd name="connsiteX40207" fmla="*/ 1096497 w 10505529"/>
              <a:gd name="connsiteY40207" fmla="*/ 661474 h 7458372"/>
              <a:gd name="connsiteX40208" fmla="*/ 1118329 w 10505529"/>
              <a:gd name="connsiteY40208" fmla="*/ 652822 h 7458372"/>
              <a:gd name="connsiteX40209" fmla="*/ 1553619 w 10505529"/>
              <a:gd name="connsiteY40209" fmla="*/ 652822 h 7458372"/>
              <a:gd name="connsiteX40210" fmla="*/ 1565334 w 10505529"/>
              <a:gd name="connsiteY40210" fmla="*/ 655351 h 7458372"/>
              <a:gd name="connsiteX40211" fmla="*/ 1574652 w 10505529"/>
              <a:gd name="connsiteY40211" fmla="*/ 661741 h 7458372"/>
              <a:gd name="connsiteX40212" fmla="*/ 1580775 w 10505529"/>
              <a:gd name="connsiteY40212" fmla="*/ 671193 h 7458372"/>
              <a:gd name="connsiteX40213" fmla="*/ 1583038 w 10505529"/>
              <a:gd name="connsiteY40213" fmla="*/ 682641 h 7458372"/>
              <a:gd name="connsiteX40214" fmla="*/ 1580775 w 10505529"/>
              <a:gd name="connsiteY40214" fmla="*/ 694355 h 7458372"/>
              <a:gd name="connsiteX40215" fmla="*/ 1574652 w 10505529"/>
              <a:gd name="connsiteY40215" fmla="*/ 703673 h 7458372"/>
              <a:gd name="connsiteX40216" fmla="*/ 1565334 w 10505529"/>
              <a:gd name="connsiteY40216" fmla="*/ 709930 h 7458372"/>
              <a:gd name="connsiteX40217" fmla="*/ 1553619 w 10505529"/>
              <a:gd name="connsiteY40217" fmla="*/ 712193 h 7458372"/>
              <a:gd name="connsiteX40218" fmla="*/ 1531787 w 10505529"/>
              <a:gd name="connsiteY40218" fmla="*/ 703673 h 7458372"/>
              <a:gd name="connsiteX40219" fmla="*/ 1523401 w 10505529"/>
              <a:gd name="connsiteY40219" fmla="*/ 682508 h 7458372"/>
              <a:gd name="connsiteX40220" fmla="*/ 1531787 w 10505529"/>
              <a:gd name="connsiteY40220" fmla="*/ 661474 h 7458372"/>
              <a:gd name="connsiteX40221" fmla="*/ 1553619 w 10505529"/>
              <a:gd name="connsiteY40221" fmla="*/ 652822 h 7458372"/>
              <a:gd name="connsiteX40222" fmla="*/ 1335974 w 10505529"/>
              <a:gd name="connsiteY40222" fmla="*/ 652822 h 7458372"/>
              <a:gd name="connsiteX40223" fmla="*/ 1347689 w 10505529"/>
              <a:gd name="connsiteY40223" fmla="*/ 655351 h 7458372"/>
              <a:gd name="connsiteX40224" fmla="*/ 1357008 w 10505529"/>
              <a:gd name="connsiteY40224" fmla="*/ 661741 h 7458372"/>
              <a:gd name="connsiteX40225" fmla="*/ 1363130 w 10505529"/>
              <a:gd name="connsiteY40225" fmla="*/ 671193 h 7458372"/>
              <a:gd name="connsiteX40226" fmla="*/ 1365393 w 10505529"/>
              <a:gd name="connsiteY40226" fmla="*/ 682641 h 7458372"/>
              <a:gd name="connsiteX40227" fmla="*/ 1363130 w 10505529"/>
              <a:gd name="connsiteY40227" fmla="*/ 694355 h 7458372"/>
              <a:gd name="connsiteX40228" fmla="*/ 1357008 w 10505529"/>
              <a:gd name="connsiteY40228" fmla="*/ 703673 h 7458372"/>
              <a:gd name="connsiteX40229" fmla="*/ 1347689 w 10505529"/>
              <a:gd name="connsiteY40229" fmla="*/ 709930 h 7458372"/>
              <a:gd name="connsiteX40230" fmla="*/ 1335974 w 10505529"/>
              <a:gd name="connsiteY40230" fmla="*/ 712193 h 7458372"/>
              <a:gd name="connsiteX40231" fmla="*/ 1314142 w 10505529"/>
              <a:gd name="connsiteY40231" fmla="*/ 703673 h 7458372"/>
              <a:gd name="connsiteX40232" fmla="*/ 1305757 w 10505529"/>
              <a:gd name="connsiteY40232" fmla="*/ 682508 h 7458372"/>
              <a:gd name="connsiteX40233" fmla="*/ 1314142 w 10505529"/>
              <a:gd name="connsiteY40233" fmla="*/ 661474 h 7458372"/>
              <a:gd name="connsiteX40234" fmla="*/ 1335974 w 10505529"/>
              <a:gd name="connsiteY40234" fmla="*/ 652822 h 7458372"/>
              <a:gd name="connsiteX40235" fmla="*/ 1771263 w 10505529"/>
              <a:gd name="connsiteY40235" fmla="*/ 652822 h 7458372"/>
              <a:gd name="connsiteX40236" fmla="*/ 1782978 w 10505529"/>
              <a:gd name="connsiteY40236" fmla="*/ 655351 h 7458372"/>
              <a:gd name="connsiteX40237" fmla="*/ 1792296 w 10505529"/>
              <a:gd name="connsiteY40237" fmla="*/ 661741 h 7458372"/>
              <a:gd name="connsiteX40238" fmla="*/ 1798419 w 10505529"/>
              <a:gd name="connsiteY40238" fmla="*/ 671192 h 7458372"/>
              <a:gd name="connsiteX40239" fmla="*/ 1800682 w 10505529"/>
              <a:gd name="connsiteY40239" fmla="*/ 682641 h 7458372"/>
              <a:gd name="connsiteX40240" fmla="*/ 1798419 w 10505529"/>
              <a:gd name="connsiteY40240" fmla="*/ 694355 h 7458372"/>
              <a:gd name="connsiteX40241" fmla="*/ 1792296 w 10505529"/>
              <a:gd name="connsiteY40241" fmla="*/ 703673 h 7458372"/>
              <a:gd name="connsiteX40242" fmla="*/ 1782978 w 10505529"/>
              <a:gd name="connsiteY40242" fmla="*/ 709930 h 7458372"/>
              <a:gd name="connsiteX40243" fmla="*/ 1771263 w 10505529"/>
              <a:gd name="connsiteY40243" fmla="*/ 712193 h 7458372"/>
              <a:gd name="connsiteX40244" fmla="*/ 1749432 w 10505529"/>
              <a:gd name="connsiteY40244" fmla="*/ 703673 h 7458372"/>
              <a:gd name="connsiteX40245" fmla="*/ 1741046 w 10505529"/>
              <a:gd name="connsiteY40245" fmla="*/ 682508 h 7458372"/>
              <a:gd name="connsiteX40246" fmla="*/ 1749432 w 10505529"/>
              <a:gd name="connsiteY40246" fmla="*/ 661474 h 7458372"/>
              <a:gd name="connsiteX40247" fmla="*/ 1771263 w 10505529"/>
              <a:gd name="connsiteY40247" fmla="*/ 652822 h 7458372"/>
              <a:gd name="connsiteX40248" fmla="*/ 1988906 w 10505529"/>
              <a:gd name="connsiteY40248" fmla="*/ 652822 h 7458372"/>
              <a:gd name="connsiteX40249" fmla="*/ 2000622 w 10505529"/>
              <a:gd name="connsiteY40249" fmla="*/ 655351 h 7458372"/>
              <a:gd name="connsiteX40250" fmla="*/ 2009940 w 10505529"/>
              <a:gd name="connsiteY40250" fmla="*/ 661741 h 7458372"/>
              <a:gd name="connsiteX40251" fmla="*/ 2016063 w 10505529"/>
              <a:gd name="connsiteY40251" fmla="*/ 671192 h 7458372"/>
              <a:gd name="connsiteX40252" fmla="*/ 2018326 w 10505529"/>
              <a:gd name="connsiteY40252" fmla="*/ 682641 h 7458372"/>
              <a:gd name="connsiteX40253" fmla="*/ 2016063 w 10505529"/>
              <a:gd name="connsiteY40253" fmla="*/ 694355 h 7458372"/>
              <a:gd name="connsiteX40254" fmla="*/ 2009940 w 10505529"/>
              <a:gd name="connsiteY40254" fmla="*/ 703673 h 7458372"/>
              <a:gd name="connsiteX40255" fmla="*/ 2000622 w 10505529"/>
              <a:gd name="connsiteY40255" fmla="*/ 709930 h 7458372"/>
              <a:gd name="connsiteX40256" fmla="*/ 1988906 w 10505529"/>
              <a:gd name="connsiteY40256" fmla="*/ 712193 h 7458372"/>
              <a:gd name="connsiteX40257" fmla="*/ 1967075 w 10505529"/>
              <a:gd name="connsiteY40257" fmla="*/ 703673 h 7458372"/>
              <a:gd name="connsiteX40258" fmla="*/ 1958689 w 10505529"/>
              <a:gd name="connsiteY40258" fmla="*/ 682507 h 7458372"/>
              <a:gd name="connsiteX40259" fmla="*/ 1967075 w 10505529"/>
              <a:gd name="connsiteY40259" fmla="*/ 661474 h 7458372"/>
              <a:gd name="connsiteX40260" fmla="*/ 1988906 w 10505529"/>
              <a:gd name="connsiteY40260" fmla="*/ 652822 h 7458372"/>
              <a:gd name="connsiteX40261" fmla="*/ 2424067 w 10505529"/>
              <a:gd name="connsiteY40261" fmla="*/ 652822 h 7458372"/>
              <a:gd name="connsiteX40262" fmla="*/ 2435783 w 10505529"/>
              <a:gd name="connsiteY40262" fmla="*/ 655351 h 7458372"/>
              <a:gd name="connsiteX40263" fmla="*/ 2445101 w 10505529"/>
              <a:gd name="connsiteY40263" fmla="*/ 661741 h 7458372"/>
              <a:gd name="connsiteX40264" fmla="*/ 2451224 w 10505529"/>
              <a:gd name="connsiteY40264" fmla="*/ 671192 h 7458372"/>
              <a:gd name="connsiteX40265" fmla="*/ 2453487 w 10505529"/>
              <a:gd name="connsiteY40265" fmla="*/ 682640 h 7458372"/>
              <a:gd name="connsiteX40266" fmla="*/ 2451224 w 10505529"/>
              <a:gd name="connsiteY40266" fmla="*/ 694355 h 7458372"/>
              <a:gd name="connsiteX40267" fmla="*/ 2445101 w 10505529"/>
              <a:gd name="connsiteY40267" fmla="*/ 703673 h 7458372"/>
              <a:gd name="connsiteX40268" fmla="*/ 2435783 w 10505529"/>
              <a:gd name="connsiteY40268" fmla="*/ 709930 h 7458372"/>
              <a:gd name="connsiteX40269" fmla="*/ 2424067 w 10505529"/>
              <a:gd name="connsiteY40269" fmla="*/ 712193 h 7458372"/>
              <a:gd name="connsiteX40270" fmla="*/ 2402236 w 10505529"/>
              <a:gd name="connsiteY40270" fmla="*/ 703673 h 7458372"/>
              <a:gd name="connsiteX40271" fmla="*/ 2393849 w 10505529"/>
              <a:gd name="connsiteY40271" fmla="*/ 682507 h 7458372"/>
              <a:gd name="connsiteX40272" fmla="*/ 2402236 w 10505529"/>
              <a:gd name="connsiteY40272" fmla="*/ 661474 h 7458372"/>
              <a:gd name="connsiteX40273" fmla="*/ 2424067 w 10505529"/>
              <a:gd name="connsiteY40273" fmla="*/ 652822 h 7458372"/>
              <a:gd name="connsiteX40274" fmla="*/ 2206421 w 10505529"/>
              <a:gd name="connsiteY40274" fmla="*/ 652822 h 7458372"/>
              <a:gd name="connsiteX40275" fmla="*/ 2218136 w 10505529"/>
              <a:gd name="connsiteY40275" fmla="*/ 655351 h 7458372"/>
              <a:gd name="connsiteX40276" fmla="*/ 2227454 w 10505529"/>
              <a:gd name="connsiteY40276" fmla="*/ 661741 h 7458372"/>
              <a:gd name="connsiteX40277" fmla="*/ 2233577 w 10505529"/>
              <a:gd name="connsiteY40277" fmla="*/ 671192 h 7458372"/>
              <a:gd name="connsiteX40278" fmla="*/ 2235840 w 10505529"/>
              <a:gd name="connsiteY40278" fmla="*/ 682640 h 7458372"/>
              <a:gd name="connsiteX40279" fmla="*/ 2233577 w 10505529"/>
              <a:gd name="connsiteY40279" fmla="*/ 694355 h 7458372"/>
              <a:gd name="connsiteX40280" fmla="*/ 2227454 w 10505529"/>
              <a:gd name="connsiteY40280" fmla="*/ 703673 h 7458372"/>
              <a:gd name="connsiteX40281" fmla="*/ 2218136 w 10505529"/>
              <a:gd name="connsiteY40281" fmla="*/ 709930 h 7458372"/>
              <a:gd name="connsiteX40282" fmla="*/ 2206421 w 10505529"/>
              <a:gd name="connsiteY40282" fmla="*/ 712193 h 7458372"/>
              <a:gd name="connsiteX40283" fmla="*/ 2184589 w 10505529"/>
              <a:gd name="connsiteY40283" fmla="*/ 703673 h 7458372"/>
              <a:gd name="connsiteX40284" fmla="*/ 2176203 w 10505529"/>
              <a:gd name="connsiteY40284" fmla="*/ 682507 h 7458372"/>
              <a:gd name="connsiteX40285" fmla="*/ 2184589 w 10505529"/>
              <a:gd name="connsiteY40285" fmla="*/ 661474 h 7458372"/>
              <a:gd name="connsiteX40286" fmla="*/ 2206421 w 10505529"/>
              <a:gd name="connsiteY40286" fmla="*/ 652822 h 7458372"/>
              <a:gd name="connsiteX40287" fmla="*/ 2641715 w 10505529"/>
              <a:gd name="connsiteY40287" fmla="*/ 652822 h 7458372"/>
              <a:gd name="connsiteX40288" fmla="*/ 2653430 w 10505529"/>
              <a:gd name="connsiteY40288" fmla="*/ 655350 h 7458372"/>
              <a:gd name="connsiteX40289" fmla="*/ 2662748 w 10505529"/>
              <a:gd name="connsiteY40289" fmla="*/ 661741 h 7458372"/>
              <a:gd name="connsiteX40290" fmla="*/ 2668872 w 10505529"/>
              <a:gd name="connsiteY40290" fmla="*/ 671192 h 7458372"/>
              <a:gd name="connsiteX40291" fmla="*/ 2671135 w 10505529"/>
              <a:gd name="connsiteY40291" fmla="*/ 682640 h 7458372"/>
              <a:gd name="connsiteX40292" fmla="*/ 2668872 w 10505529"/>
              <a:gd name="connsiteY40292" fmla="*/ 694354 h 7458372"/>
              <a:gd name="connsiteX40293" fmla="*/ 2662748 w 10505529"/>
              <a:gd name="connsiteY40293" fmla="*/ 703673 h 7458372"/>
              <a:gd name="connsiteX40294" fmla="*/ 2653430 w 10505529"/>
              <a:gd name="connsiteY40294" fmla="*/ 709930 h 7458372"/>
              <a:gd name="connsiteX40295" fmla="*/ 2641715 w 10505529"/>
              <a:gd name="connsiteY40295" fmla="*/ 712193 h 7458372"/>
              <a:gd name="connsiteX40296" fmla="*/ 2619883 w 10505529"/>
              <a:gd name="connsiteY40296" fmla="*/ 703673 h 7458372"/>
              <a:gd name="connsiteX40297" fmla="*/ 2611497 w 10505529"/>
              <a:gd name="connsiteY40297" fmla="*/ 682507 h 7458372"/>
              <a:gd name="connsiteX40298" fmla="*/ 2619883 w 10505529"/>
              <a:gd name="connsiteY40298" fmla="*/ 661474 h 7458372"/>
              <a:gd name="connsiteX40299" fmla="*/ 2641715 w 10505529"/>
              <a:gd name="connsiteY40299" fmla="*/ 652822 h 7458372"/>
              <a:gd name="connsiteX40300" fmla="*/ 2859362 w 10505529"/>
              <a:gd name="connsiteY40300" fmla="*/ 652821 h 7458372"/>
              <a:gd name="connsiteX40301" fmla="*/ 2871210 w 10505529"/>
              <a:gd name="connsiteY40301" fmla="*/ 655350 h 7458372"/>
              <a:gd name="connsiteX40302" fmla="*/ 2880528 w 10505529"/>
              <a:gd name="connsiteY40302" fmla="*/ 661741 h 7458372"/>
              <a:gd name="connsiteX40303" fmla="*/ 2886652 w 10505529"/>
              <a:gd name="connsiteY40303" fmla="*/ 671192 h 7458372"/>
              <a:gd name="connsiteX40304" fmla="*/ 2888915 w 10505529"/>
              <a:gd name="connsiteY40304" fmla="*/ 682640 h 7458372"/>
              <a:gd name="connsiteX40305" fmla="*/ 2886652 w 10505529"/>
              <a:gd name="connsiteY40305" fmla="*/ 694354 h 7458372"/>
              <a:gd name="connsiteX40306" fmla="*/ 2880528 w 10505529"/>
              <a:gd name="connsiteY40306" fmla="*/ 703672 h 7458372"/>
              <a:gd name="connsiteX40307" fmla="*/ 2871210 w 10505529"/>
              <a:gd name="connsiteY40307" fmla="*/ 709929 h 7458372"/>
              <a:gd name="connsiteX40308" fmla="*/ 2859362 w 10505529"/>
              <a:gd name="connsiteY40308" fmla="*/ 712193 h 7458372"/>
              <a:gd name="connsiteX40309" fmla="*/ 2837531 w 10505529"/>
              <a:gd name="connsiteY40309" fmla="*/ 703672 h 7458372"/>
              <a:gd name="connsiteX40310" fmla="*/ 2829144 w 10505529"/>
              <a:gd name="connsiteY40310" fmla="*/ 682507 h 7458372"/>
              <a:gd name="connsiteX40311" fmla="*/ 2837531 w 10505529"/>
              <a:gd name="connsiteY40311" fmla="*/ 661474 h 7458372"/>
              <a:gd name="connsiteX40312" fmla="*/ 2859362 w 10505529"/>
              <a:gd name="connsiteY40312" fmla="*/ 652821 h 7458372"/>
              <a:gd name="connsiteX40313" fmla="*/ 3294656 w 10505529"/>
              <a:gd name="connsiteY40313" fmla="*/ 652821 h 7458372"/>
              <a:gd name="connsiteX40314" fmla="*/ 3306372 w 10505529"/>
              <a:gd name="connsiteY40314" fmla="*/ 655350 h 7458372"/>
              <a:gd name="connsiteX40315" fmla="*/ 3315690 w 10505529"/>
              <a:gd name="connsiteY40315" fmla="*/ 661741 h 7458372"/>
              <a:gd name="connsiteX40316" fmla="*/ 3321813 w 10505529"/>
              <a:gd name="connsiteY40316" fmla="*/ 671192 h 7458372"/>
              <a:gd name="connsiteX40317" fmla="*/ 3324076 w 10505529"/>
              <a:gd name="connsiteY40317" fmla="*/ 682640 h 7458372"/>
              <a:gd name="connsiteX40318" fmla="*/ 3321813 w 10505529"/>
              <a:gd name="connsiteY40318" fmla="*/ 694354 h 7458372"/>
              <a:gd name="connsiteX40319" fmla="*/ 3315690 w 10505529"/>
              <a:gd name="connsiteY40319" fmla="*/ 703672 h 7458372"/>
              <a:gd name="connsiteX40320" fmla="*/ 3306372 w 10505529"/>
              <a:gd name="connsiteY40320" fmla="*/ 709929 h 7458372"/>
              <a:gd name="connsiteX40321" fmla="*/ 3294656 w 10505529"/>
              <a:gd name="connsiteY40321" fmla="*/ 712192 h 7458372"/>
              <a:gd name="connsiteX40322" fmla="*/ 3272824 w 10505529"/>
              <a:gd name="connsiteY40322" fmla="*/ 703672 h 7458372"/>
              <a:gd name="connsiteX40323" fmla="*/ 3264438 w 10505529"/>
              <a:gd name="connsiteY40323" fmla="*/ 682507 h 7458372"/>
              <a:gd name="connsiteX40324" fmla="*/ 3272824 w 10505529"/>
              <a:gd name="connsiteY40324" fmla="*/ 661473 h 7458372"/>
              <a:gd name="connsiteX40325" fmla="*/ 3294656 w 10505529"/>
              <a:gd name="connsiteY40325" fmla="*/ 652821 h 7458372"/>
              <a:gd name="connsiteX40326" fmla="*/ 3077009 w 10505529"/>
              <a:gd name="connsiteY40326" fmla="*/ 652821 h 7458372"/>
              <a:gd name="connsiteX40327" fmla="*/ 3088724 w 10505529"/>
              <a:gd name="connsiteY40327" fmla="*/ 655350 h 7458372"/>
              <a:gd name="connsiteX40328" fmla="*/ 3098042 w 10505529"/>
              <a:gd name="connsiteY40328" fmla="*/ 661741 h 7458372"/>
              <a:gd name="connsiteX40329" fmla="*/ 3104166 w 10505529"/>
              <a:gd name="connsiteY40329" fmla="*/ 671192 h 7458372"/>
              <a:gd name="connsiteX40330" fmla="*/ 3106429 w 10505529"/>
              <a:gd name="connsiteY40330" fmla="*/ 682640 h 7458372"/>
              <a:gd name="connsiteX40331" fmla="*/ 3104166 w 10505529"/>
              <a:gd name="connsiteY40331" fmla="*/ 694354 h 7458372"/>
              <a:gd name="connsiteX40332" fmla="*/ 3098042 w 10505529"/>
              <a:gd name="connsiteY40332" fmla="*/ 703672 h 7458372"/>
              <a:gd name="connsiteX40333" fmla="*/ 3088724 w 10505529"/>
              <a:gd name="connsiteY40333" fmla="*/ 709929 h 7458372"/>
              <a:gd name="connsiteX40334" fmla="*/ 3077009 w 10505529"/>
              <a:gd name="connsiteY40334" fmla="*/ 712192 h 7458372"/>
              <a:gd name="connsiteX40335" fmla="*/ 3055177 w 10505529"/>
              <a:gd name="connsiteY40335" fmla="*/ 703672 h 7458372"/>
              <a:gd name="connsiteX40336" fmla="*/ 3046791 w 10505529"/>
              <a:gd name="connsiteY40336" fmla="*/ 682507 h 7458372"/>
              <a:gd name="connsiteX40337" fmla="*/ 3055177 w 10505529"/>
              <a:gd name="connsiteY40337" fmla="*/ 661474 h 7458372"/>
              <a:gd name="connsiteX40338" fmla="*/ 3077009 w 10505529"/>
              <a:gd name="connsiteY40338" fmla="*/ 652821 h 7458372"/>
              <a:gd name="connsiteX40339" fmla="*/ 3512170 w 10505529"/>
              <a:gd name="connsiteY40339" fmla="*/ 652821 h 7458372"/>
              <a:gd name="connsiteX40340" fmla="*/ 3523886 w 10505529"/>
              <a:gd name="connsiteY40340" fmla="*/ 655350 h 7458372"/>
              <a:gd name="connsiteX40341" fmla="*/ 3533204 w 10505529"/>
              <a:gd name="connsiteY40341" fmla="*/ 661740 h 7458372"/>
              <a:gd name="connsiteX40342" fmla="*/ 3539327 w 10505529"/>
              <a:gd name="connsiteY40342" fmla="*/ 671192 h 7458372"/>
              <a:gd name="connsiteX40343" fmla="*/ 3541590 w 10505529"/>
              <a:gd name="connsiteY40343" fmla="*/ 682640 h 7458372"/>
              <a:gd name="connsiteX40344" fmla="*/ 3539327 w 10505529"/>
              <a:gd name="connsiteY40344" fmla="*/ 694354 h 7458372"/>
              <a:gd name="connsiteX40345" fmla="*/ 3533204 w 10505529"/>
              <a:gd name="connsiteY40345" fmla="*/ 703672 h 7458372"/>
              <a:gd name="connsiteX40346" fmla="*/ 3523886 w 10505529"/>
              <a:gd name="connsiteY40346" fmla="*/ 709929 h 7458372"/>
              <a:gd name="connsiteX40347" fmla="*/ 3512170 w 10505529"/>
              <a:gd name="connsiteY40347" fmla="*/ 712192 h 7458372"/>
              <a:gd name="connsiteX40348" fmla="*/ 3490338 w 10505529"/>
              <a:gd name="connsiteY40348" fmla="*/ 703672 h 7458372"/>
              <a:gd name="connsiteX40349" fmla="*/ 3481952 w 10505529"/>
              <a:gd name="connsiteY40349" fmla="*/ 682507 h 7458372"/>
              <a:gd name="connsiteX40350" fmla="*/ 3490338 w 10505529"/>
              <a:gd name="connsiteY40350" fmla="*/ 661473 h 7458372"/>
              <a:gd name="connsiteX40351" fmla="*/ 3512170 w 10505529"/>
              <a:gd name="connsiteY40351" fmla="*/ 652821 h 7458372"/>
              <a:gd name="connsiteX40352" fmla="*/ 3947465 w 10505529"/>
              <a:gd name="connsiteY40352" fmla="*/ 652821 h 7458372"/>
              <a:gd name="connsiteX40353" fmla="*/ 3959180 w 10505529"/>
              <a:gd name="connsiteY40353" fmla="*/ 655350 h 7458372"/>
              <a:gd name="connsiteX40354" fmla="*/ 3968498 w 10505529"/>
              <a:gd name="connsiteY40354" fmla="*/ 661740 h 7458372"/>
              <a:gd name="connsiteX40355" fmla="*/ 3974622 w 10505529"/>
              <a:gd name="connsiteY40355" fmla="*/ 671191 h 7458372"/>
              <a:gd name="connsiteX40356" fmla="*/ 3976885 w 10505529"/>
              <a:gd name="connsiteY40356" fmla="*/ 682640 h 7458372"/>
              <a:gd name="connsiteX40357" fmla="*/ 3974622 w 10505529"/>
              <a:gd name="connsiteY40357" fmla="*/ 694354 h 7458372"/>
              <a:gd name="connsiteX40358" fmla="*/ 3968498 w 10505529"/>
              <a:gd name="connsiteY40358" fmla="*/ 703672 h 7458372"/>
              <a:gd name="connsiteX40359" fmla="*/ 3959180 w 10505529"/>
              <a:gd name="connsiteY40359" fmla="*/ 709929 h 7458372"/>
              <a:gd name="connsiteX40360" fmla="*/ 3947465 w 10505529"/>
              <a:gd name="connsiteY40360" fmla="*/ 712192 h 7458372"/>
              <a:gd name="connsiteX40361" fmla="*/ 3925633 w 10505529"/>
              <a:gd name="connsiteY40361" fmla="*/ 703672 h 7458372"/>
              <a:gd name="connsiteX40362" fmla="*/ 3917247 w 10505529"/>
              <a:gd name="connsiteY40362" fmla="*/ 682506 h 7458372"/>
              <a:gd name="connsiteX40363" fmla="*/ 3925633 w 10505529"/>
              <a:gd name="connsiteY40363" fmla="*/ 661473 h 7458372"/>
              <a:gd name="connsiteX40364" fmla="*/ 3947465 w 10505529"/>
              <a:gd name="connsiteY40364" fmla="*/ 652821 h 7458372"/>
              <a:gd name="connsiteX40365" fmla="*/ 3729817 w 10505529"/>
              <a:gd name="connsiteY40365" fmla="*/ 652821 h 7458372"/>
              <a:gd name="connsiteX40366" fmla="*/ 3741532 w 10505529"/>
              <a:gd name="connsiteY40366" fmla="*/ 655350 h 7458372"/>
              <a:gd name="connsiteX40367" fmla="*/ 3750851 w 10505529"/>
              <a:gd name="connsiteY40367" fmla="*/ 661740 h 7458372"/>
              <a:gd name="connsiteX40368" fmla="*/ 3756974 w 10505529"/>
              <a:gd name="connsiteY40368" fmla="*/ 671191 h 7458372"/>
              <a:gd name="connsiteX40369" fmla="*/ 3759237 w 10505529"/>
              <a:gd name="connsiteY40369" fmla="*/ 682640 h 7458372"/>
              <a:gd name="connsiteX40370" fmla="*/ 3756974 w 10505529"/>
              <a:gd name="connsiteY40370" fmla="*/ 694354 h 7458372"/>
              <a:gd name="connsiteX40371" fmla="*/ 3750851 w 10505529"/>
              <a:gd name="connsiteY40371" fmla="*/ 703672 h 7458372"/>
              <a:gd name="connsiteX40372" fmla="*/ 3741532 w 10505529"/>
              <a:gd name="connsiteY40372" fmla="*/ 709929 h 7458372"/>
              <a:gd name="connsiteX40373" fmla="*/ 3729817 w 10505529"/>
              <a:gd name="connsiteY40373" fmla="*/ 712192 h 7458372"/>
              <a:gd name="connsiteX40374" fmla="*/ 3707986 w 10505529"/>
              <a:gd name="connsiteY40374" fmla="*/ 703672 h 7458372"/>
              <a:gd name="connsiteX40375" fmla="*/ 3699599 w 10505529"/>
              <a:gd name="connsiteY40375" fmla="*/ 682507 h 7458372"/>
              <a:gd name="connsiteX40376" fmla="*/ 3707986 w 10505529"/>
              <a:gd name="connsiteY40376" fmla="*/ 661473 h 7458372"/>
              <a:gd name="connsiteX40377" fmla="*/ 3729817 w 10505529"/>
              <a:gd name="connsiteY40377" fmla="*/ 652821 h 7458372"/>
              <a:gd name="connsiteX40378" fmla="*/ 4165068 w 10505529"/>
              <a:gd name="connsiteY40378" fmla="*/ 652821 h 7458372"/>
              <a:gd name="connsiteX40379" fmla="*/ 4176782 w 10505529"/>
              <a:gd name="connsiteY40379" fmla="*/ 655350 h 7458372"/>
              <a:gd name="connsiteX40380" fmla="*/ 4186100 w 10505529"/>
              <a:gd name="connsiteY40380" fmla="*/ 661740 h 7458372"/>
              <a:gd name="connsiteX40381" fmla="*/ 4192223 w 10505529"/>
              <a:gd name="connsiteY40381" fmla="*/ 671191 h 7458372"/>
              <a:gd name="connsiteX40382" fmla="*/ 4194486 w 10505529"/>
              <a:gd name="connsiteY40382" fmla="*/ 682639 h 7458372"/>
              <a:gd name="connsiteX40383" fmla="*/ 4192223 w 10505529"/>
              <a:gd name="connsiteY40383" fmla="*/ 694354 h 7458372"/>
              <a:gd name="connsiteX40384" fmla="*/ 4186100 w 10505529"/>
              <a:gd name="connsiteY40384" fmla="*/ 703672 h 7458372"/>
              <a:gd name="connsiteX40385" fmla="*/ 4176782 w 10505529"/>
              <a:gd name="connsiteY40385" fmla="*/ 709929 h 7458372"/>
              <a:gd name="connsiteX40386" fmla="*/ 4165068 w 10505529"/>
              <a:gd name="connsiteY40386" fmla="*/ 712192 h 7458372"/>
              <a:gd name="connsiteX40387" fmla="*/ 4143235 w 10505529"/>
              <a:gd name="connsiteY40387" fmla="*/ 703672 h 7458372"/>
              <a:gd name="connsiteX40388" fmla="*/ 4134849 w 10505529"/>
              <a:gd name="connsiteY40388" fmla="*/ 682506 h 7458372"/>
              <a:gd name="connsiteX40389" fmla="*/ 4143235 w 10505529"/>
              <a:gd name="connsiteY40389" fmla="*/ 661473 h 7458372"/>
              <a:gd name="connsiteX40390" fmla="*/ 4165068 w 10505529"/>
              <a:gd name="connsiteY40390" fmla="*/ 652821 h 7458372"/>
              <a:gd name="connsiteX40391" fmla="*/ 4600226 w 10505529"/>
              <a:gd name="connsiteY40391" fmla="*/ 652821 h 7458372"/>
              <a:gd name="connsiteX40392" fmla="*/ 4612073 w 10505529"/>
              <a:gd name="connsiteY40392" fmla="*/ 655350 h 7458372"/>
              <a:gd name="connsiteX40393" fmla="*/ 4621391 w 10505529"/>
              <a:gd name="connsiteY40393" fmla="*/ 661740 h 7458372"/>
              <a:gd name="connsiteX40394" fmla="*/ 4627514 w 10505529"/>
              <a:gd name="connsiteY40394" fmla="*/ 671191 h 7458372"/>
              <a:gd name="connsiteX40395" fmla="*/ 4629777 w 10505529"/>
              <a:gd name="connsiteY40395" fmla="*/ 682639 h 7458372"/>
              <a:gd name="connsiteX40396" fmla="*/ 4627514 w 10505529"/>
              <a:gd name="connsiteY40396" fmla="*/ 694354 h 7458372"/>
              <a:gd name="connsiteX40397" fmla="*/ 4621391 w 10505529"/>
              <a:gd name="connsiteY40397" fmla="*/ 703672 h 7458372"/>
              <a:gd name="connsiteX40398" fmla="*/ 4612073 w 10505529"/>
              <a:gd name="connsiteY40398" fmla="*/ 709929 h 7458372"/>
              <a:gd name="connsiteX40399" fmla="*/ 4600226 w 10505529"/>
              <a:gd name="connsiteY40399" fmla="*/ 712192 h 7458372"/>
              <a:gd name="connsiteX40400" fmla="*/ 4578393 w 10505529"/>
              <a:gd name="connsiteY40400" fmla="*/ 703672 h 7458372"/>
              <a:gd name="connsiteX40401" fmla="*/ 4570007 w 10505529"/>
              <a:gd name="connsiteY40401" fmla="*/ 682506 h 7458372"/>
              <a:gd name="connsiteX40402" fmla="*/ 4578393 w 10505529"/>
              <a:gd name="connsiteY40402" fmla="*/ 661473 h 7458372"/>
              <a:gd name="connsiteX40403" fmla="*/ 4600226 w 10505529"/>
              <a:gd name="connsiteY40403" fmla="*/ 652821 h 7458372"/>
              <a:gd name="connsiteX40404" fmla="*/ 4382713 w 10505529"/>
              <a:gd name="connsiteY40404" fmla="*/ 652821 h 7458372"/>
              <a:gd name="connsiteX40405" fmla="*/ 4394428 w 10505529"/>
              <a:gd name="connsiteY40405" fmla="*/ 655350 h 7458372"/>
              <a:gd name="connsiteX40406" fmla="*/ 4403746 w 10505529"/>
              <a:gd name="connsiteY40406" fmla="*/ 661740 h 7458372"/>
              <a:gd name="connsiteX40407" fmla="*/ 4409869 w 10505529"/>
              <a:gd name="connsiteY40407" fmla="*/ 671191 h 7458372"/>
              <a:gd name="connsiteX40408" fmla="*/ 4412132 w 10505529"/>
              <a:gd name="connsiteY40408" fmla="*/ 682639 h 7458372"/>
              <a:gd name="connsiteX40409" fmla="*/ 4409869 w 10505529"/>
              <a:gd name="connsiteY40409" fmla="*/ 694354 h 7458372"/>
              <a:gd name="connsiteX40410" fmla="*/ 4403746 w 10505529"/>
              <a:gd name="connsiteY40410" fmla="*/ 703672 h 7458372"/>
              <a:gd name="connsiteX40411" fmla="*/ 4394428 w 10505529"/>
              <a:gd name="connsiteY40411" fmla="*/ 709929 h 7458372"/>
              <a:gd name="connsiteX40412" fmla="*/ 4382713 w 10505529"/>
              <a:gd name="connsiteY40412" fmla="*/ 712192 h 7458372"/>
              <a:gd name="connsiteX40413" fmla="*/ 4360881 w 10505529"/>
              <a:gd name="connsiteY40413" fmla="*/ 703672 h 7458372"/>
              <a:gd name="connsiteX40414" fmla="*/ 4352495 w 10505529"/>
              <a:gd name="connsiteY40414" fmla="*/ 682506 h 7458372"/>
              <a:gd name="connsiteX40415" fmla="*/ 4360881 w 10505529"/>
              <a:gd name="connsiteY40415" fmla="*/ 661473 h 7458372"/>
              <a:gd name="connsiteX40416" fmla="*/ 4382713 w 10505529"/>
              <a:gd name="connsiteY40416" fmla="*/ 652821 h 7458372"/>
              <a:gd name="connsiteX40417" fmla="*/ 4817870 w 10505529"/>
              <a:gd name="connsiteY40417" fmla="*/ 652821 h 7458372"/>
              <a:gd name="connsiteX40418" fmla="*/ 4829585 w 10505529"/>
              <a:gd name="connsiteY40418" fmla="*/ 655350 h 7458372"/>
              <a:gd name="connsiteX40419" fmla="*/ 4838903 w 10505529"/>
              <a:gd name="connsiteY40419" fmla="*/ 661740 h 7458372"/>
              <a:gd name="connsiteX40420" fmla="*/ 4845026 w 10505529"/>
              <a:gd name="connsiteY40420" fmla="*/ 671191 h 7458372"/>
              <a:gd name="connsiteX40421" fmla="*/ 4847289 w 10505529"/>
              <a:gd name="connsiteY40421" fmla="*/ 682639 h 7458372"/>
              <a:gd name="connsiteX40422" fmla="*/ 4845026 w 10505529"/>
              <a:gd name="connsiteY40422" fmla="*/ 694353 h 7458372"/>
              <a:gd name="connsiteX40423" fmla="*/ 4838903 w 10505529"/>
              <a:gd name="connsiteY40423" fmla="*/ 703671 h 7458372"/>
              <a:gd name="connsiteX40424" fmla="*/ 4829585 w 10505529"/>
              <a:gd name="connsiteY40424" fmla="*/ 709929 h 7458372"/>
              <a:gd name="connsiteX40425" fmla="*/ 4817870 w 10505529"/>
              <a:gd name="connsiteY40425" fmla="*/ 712192 h 7458372"/>
              <a:gd name="connsiteX40426" fmla="*/ 4796038 w 10505529"/>
              <a:gd name="connsiteY40426" fmla="*/ 703671 h 7458372"/>
              <a:gd name="connsiteX40427" fmla="*/ 4787652 w 10505529"/>
              <a:gd name="connsiteY40427" fmla="*/ 682506 h 7458372"/>
              <a:gd name="connsiteX40428" fmla="*/ 4796038 w 10505529"/>
              <a:gd name="connsiteY40428" fmla="*/ 661473 h 7458372"/>
              <a:gd name="connsiteX40429" fmla="*/ 4817870 w 10505529"/>
              <a:gd name="connsiteY40429" fmla="*/ 652821 h 7458372"/>
              <a:gd name="connsiteX40430" fmla="*/ 5253160 w 10505529"/>
              <a:gd name="connsiteY40430" fmla="*/ 652820 h 7458372"/>
              <a:gd name="connsiteX40431" fmla="*/ 5264875 w 10505529"/>
              <a:gd name="connsiteY40431" fmla="*/ 655349 h 7458372"/>
              <a:gd name="connsiteX40432" fmla="*/ 5274192 w 10505529"/>
              <a:gd name="connsiteY40432" fmla="*/ 661740 h 7458372"/>
              <a:gd name="connsiteX40433" fmla="*/ 5280316 w 10505529"/>
              <a:gd name="connsiteY40433" fmla="*/ 671191 h 7458372"/>
              <a:gd name="connsiteX40434" fmla="*/ 5282579 w 10505529"/>
              <a:gd name="connsiteY40434" fmla="*/ 682639 h 7458372"/>
              <a:gd name="connsiteX40435" fmla="*/ 5280316 w 10505529"/>
              <a:gd name="connsiteY40435" fmla="*/ 694353 h 7458372"/>
              <a:gd name="connsiteX40436" fmla="*/ 5274192 w 10505529"/>
              <a:gd name="connsiteY40436" fmla="*/ 703671 h 7458372"/>
              <a:gd name="connsiteX40437" fmla="*/ 5264875 w 10505529"/>
              <a:gd name="connsiteY40437" fmla="*/ 709928 h 7458372"/>
              <a:gd name="connsiteX40438" fmla="*/ 5253160 w 10505529"/>
              <a:gd name="connsiteY40438" fmla="*/ 712191 h 7458372"/>
              <a:gd name="connsiteX40439" fmla="*/ 5231328 w 10505529"/>
              <a:gd name="connsiteY40439" fmla="*/ 703671 h 7458372"/>
              <a:gd name="connsiteX40440" fmla="*/ 5222942 w 10505529"/>
              <a:gd name="connsiteY40440" fmla="*/ 682506 h 7458372"/>
              <a:gd name="connsiteX40441" fmla="*/ 5231328 w 10505529"/>
              <a:gd name="connsiteY40441" fmla="*/ 661473 h 7458372"/>
              <a:gd name="connsiteX40442" fmla="*/ 5253160 w 10505529"/>
              <a:gd name="connsiteY40442" fmla="*/ 652820 h 7458372"/>
              <a:gd name="connsiteX40443" fmla="*/ 5035515 w 10505529"/>
              <a:gd name="connsiteY40443" fmla="*/ 652820 h 7458372"/>
              <a:gd name="connsiteX40444" fmla="*/ 5047230 w 10505529"/>
              <a:gd name="connsiteY40444" fmla="*/ 655349 h 7458372"/>
              <a:gd name="connsiteX40445" fmla="*/ 5056548 w 10505529"/>
              <a:gd name="connsiteY40445" fmla="*/ 661740 h 7458372"/>
              <a:gd name="connsiteX40446" fmla="*/ 5062671 w 10505529"/>
              <a:gd name="connsiteY40446" fmla="*/ 671191 h 7458372"/>
              <a:gd name="connsiteX40447" fmla="*/ 5064934 w 10505529"/>
              <a:gd name="connsiteY40447" fmla="*/ 682639 h 7458372"/>
              <a:gd name="connsiteX40448" fmla="*/ 5062671 w 10505529"/>
              <a:gd name="connsiteY40448" fmla="*/ 694353 h 7458372"/>
              <a:gd name="connsiteX40449" fmla="*/ 5056548 w 10505529"/>
              <a:gd name="connsiteY40449" fmla="*/ 703671 h 7458372"/>
              <a:gd name="connsiteX40450" fmla="*/ 5047230 w 10505529"/>
              <a:gd name="connsiteY40450" fmla="*/ 709928 h 7458372"/>
              <a:gd name="connsiteX40451" fmla="*/ 5035515 w 10505529"/>
              <a:gd name="connsiteY40451" fmla="*/ 712192 h 7458372"/>
              <a:gd name="connsiteX40452" fmla="*/ 5013683 w 10505529"/>
              <a:gd name="connsiteY40452" fmla="*/ 703671 h 7458372"/>
              <a:gd name="connsiteX40453" fmla="*/ 5005297 w 10505529"/>
              <a:gd name="connsiteY40453" fmla="*/ 682506 h 7458372"/>
              <a:gd name="connsiteX40454" fmla="*/ 5013683 w 10505529"/>
              <a:gd name="connsiteY40454" fmla="*/ 661473 h 7458372"/>
              <a:gd name="connsiteX40455" fmla="*/ 5035515 w 10505529"/>
              <a:gd name="connsiteY40455" fmla="*/ 652820 h 7458372"/>
              <a:gd name="connsiteX40456" fmla="*/ 5470806 w 10505529"/>
              <a:gd name="connsiteY40456" fmla="*/ 652820 h 7458372"/>
              <a:gd name="connsiteX40457" fmla="*/ 5482520 w 10505529"/>
              <a:gd name="connsiteY40457" fmla="*/ 655349 h 7458372"/>
              <a:gd name="connsiteX40458" fmla="*/ 5491838 w 10505529"/>
              <a:gd name="connsiteY40458" fmla="*/ 661740 h 7458372"/>
              <a:gd name="connsiteX40459" fmla="*/ 5497961 w 10505529"/>
              <a:gd name="connsiteY40459" fmla="*/ 671191 h 7458372"/>
              <a:gd name="connsiteX40460" fmla="*/ 5500224 w 10505529"/>
              <a:gd name="connsiteY40460" fmla="*/ 682639 h 7458372"/>
              <a:gd name="connsiteX40461" fmla="*/ 5497961 w 10505529"/>
              <a:gd name="connsiteY40461" fmla="*/ 694353 h 7458372"/>
              <a:gd name="connsiteX40462" fmla="*/ 5491838 w 10505529"/>
              <a:gd name="connsiteY40462" fmla="*/ 703671 h 7458372"/>
              <a:gd name="connsiteX40463" fmla="*/ 5482520 w 10505529"/>
              <a:gd name="connsiteY40463" fmla="*/ 709928 h 7458372"/>
              <a:gd name="connsiteX40464" fmla="*/ 5470806 w 10505529"/>
              <a:gd name="connsiteY40464" fmla="*/ 712191 h 7458372"/>
              <a:gd name="connsiteX40465" fmla="*/ 5448973 w 10505529"/>
              <a:gd name="connsiteY40465" fmla="*/ 703671 h 7458372"/>
              <a:gd name="connsiteX40466" fmla="*/ 5440587 w 10505529"/>
              <a:gd name="connsiteY40466" fmla="*/ 682506 h 7458372"/>
              <a:gd name="connsiteX40467" fmla="*/ 5448973 w 10505529"/>
              <a:gd name="connsiteY40467" fmla="*/ 661472 h 7458372"/>
              <a:gd name="connsiteX40468" fmla="*/ 5470806 w 10505529"/>
              <a:gd name="connsiteY40468" fmla="*/ 652820 h 7458372"/>
              <a:gd name="connsiteX40469" fmla="*/ 6123608 w 10505529"/>
              <a:gd name="connsiteY40469" fmla="*/ 652820 h 7458372"/>
              <a:gd name="connsiteX40470" fmla="*/ 6135322 w 10505529"/>
              <a:gd name="connsiteY40470" fmla="*/ 655349 h 7458372"/>
              <a:gd name="connsiteX40471" fmla="*/ 6144640 w 10505529"/>
              <a:gd name="connsiteY40471" fmla="*/ 661739 h 7458372"/>
              <a:gd name="connsiteX40472" fmla="*/ 6150763 w 10505529"/>
              <a:gd name="connsiteY40472" fmla="*/ 671190 h 7458372"/>
              <a:gd name="connsiteX40473" fmla="*/ 6153026 w 10505529"/>
              <a:gd name="connsiteY40473" fmla="*/ 682639 h 7458372"/>
              <a:gd name="connsiteX40474" fmla="*/ 6150763 w 10505529"/>
              <a:gd name="connsiteY40474" fmla="*/ 694353 h 7458372"/>
              <a:gd name="connsiteX40475" fmla="*/ 6144640 w 10505529"/>
              <a:gd name="connsiteY40475" fmla="*/ 703671 h 7458372"/>
              <a:gd name="connsiteX40476" fmla="*/ 6135322 w 10505529"/>
              <a:gd name="connsiteY40476" fmla="*/ 709928 h 7458372"/>
              <a:gd name="connsiteX40477" fmla="*/ 6123608 w 10505529"/>
              <a:gd name="connsiteY40477" fmla="*/ 712191 h 7458372"/>
              <a:gd name="connsiteX40478" fmla="*/ 6101775 w 10505529"/>
              <a:gd name="connsiteY40478" fmla="*/ 703671 h 7458372"/>
              <a:gd name="connsiteX40479" fmla="*/ 6093389 w 10505529"/>
              <a:gd name="connsiteY40479" fmla="*/ 682506 h 7458372"/>
              <a:gd name="connsiteX40480" fmla="*/ 6101775 w 10505529"/>
              <a:gd name="connsiteY40480" fmla="*/ 661472 h 7458372"/>
              <a:gd name="connsiteX40481" fmla="*/ 6123608 w 10505529"/>
              <a:gd name="connsiteY40481" fmla="*/ 652820 h 7458372"/>
              <a:gd name="connsiteX40482" fmla="*/ 5905963 w 10505529"/>
              <a:gd name="connsiteY40482" fmla="*/ 652820 h 7458372"/>
              <a:gd name="connsiteX40483" fmla="*/ 5917677 w 10505529"/>
              <a:gd name="connsiteY40483" fmla="*/ 655349 h 7458372"/>
              <a:gd name="connsiteX40484" fmla="*/ 5926995 w 10505529"/>
              <a:gd name="connsiteY40484" fmla="*/ 661739 h 7458372"/>
              <a:gd name="connsiteX40485" fmla="*/ 5933118 w 10505529"/>
              <a:gd name="connsiteY40485" fmla="*/ 671190 h 7458372"/>
              <a:gd name="connsiteX40486" fmla="*/ 5935381 w 10505529"/>
              <a:gd name="connsiteY40486" fmla="*/ 682639 h 7458372"/>
              <a:gd name="connsiteX40487" fmla="*/ 5933118 w 10505529"/>
              <a:gd name="connsiteY40487" fmla="*/ 694353 h 7458372"/>
              <a:gd name="connsiteX40488" fmla="*/ 5926995 w 10505529"/>
              <a:gd name="connsiteY40488" fmla="*/ 703671 h 7458372"/>
              <a:gd name="connsiteX40489" fmla="*/ 5917677 w 10505529"/>
              <a:gd name="connsiteY40489" fmla="*/ 709928 h 7458372"/>
              <a:gd name="connsiteX40490" fmla="*/ 5905963 w 10505529"/>
              <a:gd name="connsiteY40490" fmla="*/ 712191 h 7458372"/>
              <a:gd name="connsiteX40491" fmla="*/ 5884130 w 10505529"/>
              <a:gd name="connsiteY40491" fmla="*/ 703671 h 7458372"/>
              <a:gd name="connsiteX40492" fmla="*/ 5875744 w 10505529"/>
              <a:gd name="connsiteY40492" fmla="*/ 682506 h 7458372"/>
              <a:gd name="connsiteX40493" fmla="*/ 5884130 w 10505529"/>
              <a:gd name="connsiteY40493" fmla="*/ 661472 h 7458372"/>
              <a:gd name="connsiteX40494" fmla="*/ 5905963 w 10505529"/>
              <a:gd name="connsiteY40494" fmla="*/ 652820 h 7458372"/>
              <a:gd name="connsiteX40495" fmla="*/ 5688451 w 10505529"/>
              <a:gd name="connsiteY40495" fmla="*/ 652820 h 7458372"/>
              <a:gd name="connsiteX40496" fmla="*/ 5700165 w 10505529"/>
              <a:gd name="connsiteY40496" fmla="*/ 655349 h 7458372"/>
              <a:gd name="connsiteX40497" fmla="*/ 5709483 w 10505529"/>
              <a:gd name="connsiteY40497" fmla="*/ 661739 h 7458372"/>
              <a:gd name="connsiteX40498" fmla="*/ 5715606 w 10505529"/>
              <a:gd name="connsiteY40498" fmla="*/ 671190 h 7458372"/>
              <a:gd name="connsiteX40499" fmla="*/ 5717869 w 10505529"/>
              <a:gd name="connsiteY40499" fmla="*/ 682639 h 7458372"/>
              <a:gd name="connsiteX40500" fmla="*/ 5715606 w 10505529"/>
              <a:gd name="connsiteY40500" fmla="*/ 694353 h 7458372"/>
              <a:gd name="connsiteX40501" fmla="*/ 5709483 w 10505529"/>
              <a:gd name="connsiteY40501" fmla="*/ 703671 h 7458372"/>
              <a:gd name="connsiteX40502" fmla="*/ 5700165 w 10505529"/>
              <a:gd name="connsiteY40502" fmla="*/ 709928 h 7458372"/>
              <a:gd name="connsiteX40503" fmla="*/ 5688451 w 10505529"/>
              <a:gd name="connsiteY40503" fmla="*/ 712191 h 7458372"/>
              <a:gd name="connsiteX40504" fmla="*/ 5666618 w 10505529"/>
              <a:gd name="connsiteY40504" fmla="*/ 703671 h 7458372"/>
              <a:gd name="connsiteX40505" fmla="*/ 5658232 w 10505529"/>
              <a:gd name="connsiteY40505" fmla="*/ 682506 h 7458372"/>
              <a:gd name="connsiteX40506" fmla="*/ 5666618 w 10505529"/>
              <a:gd name="connsiteY40506" fmla="*/ 661472 h 7458372"/>
              <a:gd name="connsiteX40507" fmla="*/ 5688451 w 10505529"/>
              <a:gd name="connsiteY40507" fmla="*/ 652820 h 7458372"/>
              <a:gd name="connsiteX40508" fmla="*/ 6341253 w 10505529"/>
              <a:gd name="connsiteY40508" fmla="*/ 652820 h 7458372"/>
              <a:gd name="connsiteX40509" fmla="*/ 6352968 w 10505529"/>
              <a:gd name="connsiteY40509" fmla="*/ 655349 h 7458372"/>
              <a:gd name="connsiteX40510" fmla="*/ 6362286 w 10505529"/>
              <a:gd name="connsiteY40510" fmla="*/ 661739 h 7458372"/>
              <a:gd name="connsiteX40511" fmla="*/ 6368409 w 10505529"/>
              <a:gd name="connsiteY40511" fmla="*/ 671190 h 7458372"/>
              <a:gd name="connsiteX40512" fmla="*/ 6370672 w 10505529"/>
              <a:gd name="connsiteY40512" fmla="*/ 682639 h 7458372"/>
              <a:gd name="connsiteX40513" fmla="*/ 6368409 w 10505529"/>
              <a:gd name="connsiteY40513" fmla="*/ 694353 h 7458372"/>
              <a:gd name="connsiteX40514" fmla="*/ 6362286 w 10505529"/>
              <a:gd name="connsiteY40514" fmla="*/ 703671 h 7458372"/>
              <a:gd name="connsiteX40515" fmla="*/ 6352968 w 10505529"/>
              <a:gd name="connsiteY40515" fmla="*/ 709928 h 7458372"/>
              <a:gd name="connsiteX40516" fmla="*/ 6341253 w 10505529"/>
              <a:gd name="connsiteY40516" fmla="*/ 712191 h 7458372"/>
              <a:gd name="connsiteX40517" fmla="*/ 6319421 w 10505529"/>
              <a:gd name="connsiteY40517" fmla="*/ 703671 h 7458372"/>
              <a:gd name="connsiteX40518" fmla="*/ 6311035 w 10505529"/>
              <a:gd name="connsiteY40518" fmla="*/ 682505 h 7458372"/>
              <a:gd name="connsiteX40519" fmla="*/ 6319421 w 10505529"/>
              <a:gd name="connsiteY40519" fmla="*/ 661472 h 7458372"/>
              <a:gd name="connsiteX40520" fmla="*/ 6341253 w 10505529"/>
              <a:gd name="connsiteY40520" fmla="*/ 652820 h 7458372"/>
              <a:gd name="connsiteX40521" fmla="*/ 6776544 w 10505529"/>
              <a:gd name="connsiteY40521" fmla="*/ 652820 h 7458372"/>
              <a:gd name="connsiteX40522" fmla="*/ 6788258 w 10505529"/>
              <a:gd name="connsiteY40522" fmla="*/ 655349 h 7458372"/>
              <a:gd name="connsiteX40523" fmla="*/ 6797576 w 10505529"/>
              <a:gd name="connsiteY40523" fmla="*/ 661739 h 7458372"/>
              <a:gd name="connsiteX40524" fmla="*/ 6803699 w 10505529"/>
              <a:gd name="connsiteY40524" fmla="*/ 671190 h 7458372"/>
              <a:gd name="connsiteX40525" fmla="*/ 6805963 w 10505529"/>
              <a:gd name="connsiteY40525" fmla="*/ 682638 h 7458372"/>
              <a:gd name="connsiteX40526" fmla="*/ 6803699 w 10505529"/>
              <a:gd name="connsiteY40526" fmla="*/ 694352 h 7458372"/>
              <a:gd name="connsiteX40527" fmla="*/ 6797576 w 10505529"/>
              <a:gd name="connsiteY40527" fmla="*/ 703671 h 7458372"/>
              <a:gd name="connsiteX40528" fmla="*/ 6788258 w 10505529"/>
              <a:gd name="connsiteY40528" fmla="*/ 709928 h 7458372"/>
              <a:gd name="connsiteX40529" fmla="*/ 6776544 w 10505529"/>
              <a:gd name="connsiteY40529" fmla="*/ 712191 h 7458372"/>
              <a:gd name="connsiteX40530" fmla="*/ 6754711 w 10505529"/>
              <a:gd name="connsiteY40530" fmla="*/ 703671 h 7458372"/>
              <a:gd name="connsiteX40531" fmla="*/ 6746325 w 10505529"/>
              <a:gd name="connsiteY40531" fmla="*/ 682505 h 7458372"/>
              <a:gd name="connsiteX40532" fmla="*/ 6754711 w 10505529"/>
              <a:gd name="connsiteY40532" fmla="*/ 661472 h 7458372"/>
              <a:gd name="connsiteX40533" fmla="*/ 6776544 w 10505529"/>
              <a:gd name="connsiteY40533" fmla="*/ 652820 h 7458372"/>
              <a:gd name="connsiteX40534" fmla="*/ 6558899 w 10505529"/>
              <a:gd name="connsiteY40534" fmla="*/ 652820 h 7458372"/>
              <a:gd name="connsiteX40535" fmla="*/ 6570612 w 10505529"/>
              <a:gd name="connsiteY40535" fmla="*/ 655349 h 7458372"/>
              <a:gd name="connsiteX40536" fmla="*/ 6579930 w 10505529"/>
              <a:gd name="connsiteY40536" fmla="*/ 661739 h 7458372"/>
              <a:gd name="connsiteX40537" fmla="*/ 6586054 w 10505529"/>
              <a:gd name="connsiteY40537" fmla="*/ 671190 h 7458372"/>
              <a:gd name="connsiteX40538" fmla="*/ 6588317 w 10505529"/>
              <a:gd name="connsiteY40538" fmla="*/ 682638 h 7458372"/>
              <a:gd name="connsiteX40539" fmla="*/ 6586054 w 10505529"/>
              <a:gd name="connsiteY40539" fmla="*/ 694353 h 7458372"/>
              <a:gd name="connsiteX40540" fmla="*/ 6579930 w 10505529"/>
              <a:gd name="connsiteY40540" fmla="*/ 703671 h 7458372"/>
              <a:gd name="connsiteX40541" fmla="*/ 6570612 w 10505529"/>
              <a:gd name="connsiteY40541" fmla="*/ 709928 h 7458372"/>
              <a:gd name="connsiteX40542" fmla="*/ 6558899 w 10505529"/>
              <a:gd name="connsiteY40542" fmla="*/ 712191 h 7458372"/>
              <a:gd name="connsiteX40543" fmla="*/ 6537066 w 10505529"/>
              <a:gd name="connsiteY40543" fmla="*/ 703671 h 7458372"/>
              <a:gd name="connsiteX40544" fmla="*/ 6528680 w 10505529"/>
              <a:gd name="connsiteY40544" fmla="*/ 682505 h 7458372"/>
              <a:gd name="connsiteX40545" fmla="*/ 6537066 w 10505529"/>
              <a:gd name="connsiteY40545" fmla="*/ 661472 h 7458372"/>
              <a:gd name="connsiteX40546" fmla="*/ 6558899 w 10505529"/>
              <a:gd name="connsiteY40546" fmla="*/ 652820 h 7458372"/>
              <a:gd name="connsiteX40547" fmla="*/ 7211701 w 10505529"/>
              <a:gd name="connsiteY40547" fmla="*/ 652820 h 7458372"/>
              <a:gd name="connsiteX40548" fmla="*/ 7223415 w 10505529"/>
              <a:gd name="connsiteY40548" fmla="*/ 655348 h 7458372"/>
              <a:gd name="connsiteX40549" fmla="*/ 7232733 w 10505529"/>
              <a:gd name="connsiteY40549" fmla="*/ 661739 h 7458372"/>
              <a:gd name="connsiteX40550" fmla="*/ 7238856 w 10505529"/>
              <a:gd name="connsiteY40550" fmla="*/ 671190 h 7458372"/>
              <a:gd name="connsiteX40551" fmla="*/ 7241120 w 10505529"/>
              <a:gd name="connsiteY40551" fmla="*/ 682638 h 7458372"/>
              <a:gd name="connsiteX40552" fmla="*/ 7238856 w 10505529"/>
              <a:gd name="connsiteY40552" fmla="*/ 694352 h 7458372"/>
              <a:gd name="connsiteX40553" fmla="*/ 7232733 w 10505529"/>
              <a:gd name="connsiteY40553" fmla="*/ 703670 h 7458372"/>
              <a:gd name="connsiteX40554" fmla="*/ 7223415 w 10505529"/>
              <a:gd name="connsiteY40554" fmla="*/ 709928 h 7458372"/>
              <a:gd name="connsiteX40555" fmla="*/ 7211701 w 10505529"/>
              <a:gd name="connsiteY40555" fmla="*/ 712191 h 7458372"/>
              <a:gd name="connsiteX40556" fmla="*/ 7189868 w 10505529"/>
              <a:gd name="connsiteY40556" fmla="*/ 703670 h 7458372"/>
              <a:gd name="connsiteX40557" fmla="*/ 7181482 w 10505529"/>
              <a:gd name="connsiteY40557" fmla="*/ 682505 h 7458372"/>
              <a:gd name="connsiteX40558" fmla="*/ 7189868 w 10505529"/>
              <a:gd name="connsiteY40558" fmla="*/ 661472 h 7458372"/>
              <a:gd name="connsiteX40559" fmla="*/ 7211701 w 10505529"/>
              <a:gd name="connsiteY40559" fmla="*/ 652820 h 7458372"/>
              <a:gd name="connsiteX40560" fmla="*/ 6994056 w 10505529"/>
              <a:gd name="connsiteY40560" fmla="*/ 652820 h 7458372"/>
              <a:gd name="connsiteX40561" fmla="*/ 7005769 w 10505529"/>
              <a:gd name="connsiteY40561" fmla="*/ 655349 h 7458372"/>
              <a:gd name="connsiteX40562" fmla="*/ 7015087 w 10505529"/>
              <a:gd name="connsiteY40562" fmla="*/ 661739 h 7458372"/>
              <a:gd name="connsiteX40563" fmla="*/ 7021211 w 10505529"/>
              <a:gd name="connsiteY40563" fmla="*/ 671190 h 7458372"/>
              <a:gd name="connsiteX40564" fmla="*/ 7023474 w 10505529"/>
              <a:gd name="connsiteY40564" fmla="*/ 682638 h 7458372"/>
              <a:gd name="connsiteX40565" fmla="*/ 7021211 w 10505529"/>
              <a:gd name="connsiteY40565" fmla="*/ 694352 h 7458372"/>
              <a:gd name="connsiteX40566" fmla="*/ 7015087 w 10505529"/>
              <a:gd name="connsiteY40566" fmla="*/ 703670 h 7458372"/>
              <a:gd name="connsiteX40567" fmla="*/ 7005769 w 10505529"/>
              <a:gd name="connsiteY40567" fmla="*/ 709928 h 7458372"/>
              <a:gd name="connsiteX40568" fmla="*/ 6994056 w 10505529"/>
              <a:gd name="connsiteY40568" fmla="*/ 712191 h 7458372"/>
              <a:gd name="connsiteX40569" fmla="*/ 6972223 w 10505529"/>
              <a:gd name="connsiteY40569" fmla="*/ 703670 h 7458372"/>
              <a:gd name="connsiteX40570" fmla="*/ 6963837 w 10505529"/>
              <a:gd name="connsiteY40570" fmla="*/ 682505 h 7458372"/>
              <a:gd name="connsiteX40571" fmla="*/ 6972223 w 10505529"/>
              <a:gd name="connsiteY40571" fmla="*/ 661472 h 7458372"/>
              <a:gd name="connsiteX40572" fmla="*/ 6994056 w 10505529"/>
              <a:gd name="connsiteY40572" fmla="*/ 652820 h 7458372"/>
              <a:gd name="connsiteX40573" fmla="*/ 7429345 w 10505529"/>
              <a:gd name="connsiteY40573" fmla="*/ 652819 h 7458372"/>
              <a:gd name="connsiteX40574" fmla="*/ 7441059 w 10505529"/>
              <a:gd name="connsiteY40574" fmla="*/ 655348 h 7458372"/>
              <a:gd name="connsiteX40575" fmla="*/ 7450377 w 10505529"/>
              <a:gd name="connsiteY40575" fmla="*/ 661739 h 7458372"/>
              <a:gd name="connsiteX40576" fmla="*/ 7456501 w 10505529"/>
              <a:gd name="connsiteY40576" fmla="*/ 671190 h 7458372"/>
              <a:gd name="connsiteX40577" fmla="*/ 7458764 w 10505529"/>
              <a:gd name="connsiteY40577" fmla="*/ 682638 h 7458372"/>
              <a:gd name="connsiteX40578" fmla="*/ 7456501 w 10505529"/>
              <a:gd name="connsiteY40578" fmla="*/ 694352 h 7458372"/>
              <a:gd name="connsiteX40579" fmla="*/ 7450377 w 10505529"/>
              <a:gd name="connsiteY40579" fmla="*/ 703670 h 7458372"/>
              <a:gd name="connsiteX40580" fmla="*/ 7441059 w 10505529"/>
              <a:gd name="connsiteY40580" fmla="*/ 709927 h 7458372"/>
              <a:gd name="connsiteX40581" fmla="*/ 7429345 w 10505529"/>
              <a:gd name="connsiteY40581" fmla="*/ 712191 h 7458372"/>
              <a:gd name="connsiteX40582" fmla="*/ 7407513 w 10505529"/>
              <a:gd name="connsiteY40582" fmla="*/ 703670 h 7458372"/>
              <a:gd name="connsiteX40583" fmla="*/ 7399127 w 10505529"/>
              <a:gd name="connsiteY40583" fmla="*/ 682505 h 7458372"/>
              <a:gd name="connsiteX40584" fmla="*/ 7407513 w 10505529"/>
              <a:gd name="connsiteY40584" fmla="*/ 661472 h 7458372"/>
              <a:gd name="connsiteX40585" fmla="*/ 7429345 w 10505529"/>
              <a:gd name="connsiteY40585" fmla="*/ 652819 h 7458372"/>
              <a:gd name="connsiteX40586" fmla="*/ 7864636 w 10505529"/>
              <a:gd name="connsiteY40586" fmla="*/ 652819 h 7458372"/>
              <a:gd name="connsiteX40587" fmla="*/ 7876483 w 10505529"/>
              <a:gd name="connsiteY40587" fmla="*/ 655348 h 7458372"/>
              <a:gd name="connsiteX40588" fmla="*/ 7885802 w 10505529"/>
              <a:gd name="connsiteY40588" fmla="*/ 661738 h 7458372"/>
              <a:gd name="connsiteX40589" fmla="*/ 7891924 w 10505529"/>
              <a:gd name="connsiteY40589" fmla="*/ 671189 h 7458372"/>
              <a:gd name="connsiteX40590" fmla="*/ 7894188 w 10505529"/>
              <a:gd name="connsiteY40590" fmla="*/ 682638 h 7458372"/>
              <a:gd name="connsiteX40591" fmla="*/ 7891924 w 10505529"/>
              <a:gd name="connsiteY40591" fmla="*/ 694352 h 7458372"/>
              <a:gd name="connsiteX40592" fmla="*/ 7885802 w 10505529"/>
              <a:gd name="connsiteY40592" fmla="*/ 703670 h 7458372"/>
              <a:gd name="connsiteX40593" fmla="*/ 7876483 w 10505529"/>
              <a:gd name="connsiteY40593" fmla="*/ 709927 h 7458372"/>
              <a:gd name="connsiteX40594" fmla="*/ 7864636 w 10505529"/>
              <a:gd name="connsiteY40594" fmla="*/ 712190 h 7458372"/>
              <a:gd name="connsiteX40595" fmla="*/ 7842803 w 10505529"/>
              <a:gd name="connsiteY40595" fmla="*/ 703670 h 7458372"/>
              <a:gd name="connsiteX40596" fmla="*/ 7834417 w 10505529"/>
              <a:gd name="connsiteY40596" fmla="*/ 682505 h 7458372"/>
              <a:gd name="connsiteX40597" fmla="*/ 7842803 w 10505529"/>
              <a:gd name="connsiteY40597" fmla="*/ 661471 h 7458372"/>
              <a:gd name="connsiteX40598" fmla="*/ 7864636 w 10505529"/>
              <a:gd name="connsiteY40598" fmla="*/ 652819 h 7458372"/>
              <a:gd name="connsiteX40599" fmla="*/ 7646991 w 10505529"/>
              <a:gd name="connsiteY40599" fmla="*/ 652819 h 7458372"/>
              <a:gd name="connsiteX40600" fmla="*/ 7658705 w 10505529"/>
              <a:gd name="connsiteY40600" fmla="*/ 655348 h 7458372"/>
              <a:gd name="connsiteX40601" fmla="*/ 7668022 w 10505529"/>
              <a:gd name="connsiteY40601" fmla="*/ 661739 h 7458372"/>
              <a:gd name="connsiteX40602" fmla="*/ 7674146 w 10505529"/>
              <a:gd name="connsiteY40602" fmla="*/ 671190 h 7458372"/>
              <a:gd name="connsiteX40603" fmla="*/ 7676409 w 10505529"/>
              <a:gd name="connsiteY40603" fmla="*/ 682638 h 7458372"/>
              <a:gd name="connsiteX40604" fmla="*/ 7674146 w 10505529"/>
              <a:gd name="connsiteY40604" fmla="*/ 694352 h 7458372"/>
              <a:gd name="connsiteX40605" fmla="*/ 7668022 w 10505529"/>
              <a:gd name="connsiteY40605" fmla="*/ 703670 h 7458372"/>
              <a:gd name="connsiteX40606" fmla="*/ 7658705 w 10505529"/>
              <a:gd name="connsiteY40606" fmla="*/ 709927 h 7458372"/>
              <a:gd name="connsiteX40607" fmla="*/ 7646991 w 10505529"/>
              <a:gd name="connsiteY40607" fmla="*/ 712190 h 7458372"/>
              <a:gd name="connsiteX40608" fmla="*/ 7625158 w 10505529"/>
              <a:gd name="connsiteY40608" fmla="*/ 703670 h 7458372"/>
              <a:gd name="connsiteX40609" fmla="*/ 7616772 w 10505529"/>
              <a:gd name="connsiteY40609" fmla="*/ 682505 h 7458372"/>
              <a:gd name="connsiteX40610" fmla="*/ 7625158 w 10505529"/>
              <a:gd name="connsiteY40610" fmla="*/ 661471 h 7458372"/>
              <a:gd name="connsiteX40611" fmla="*/ 7646991 w 10505529"/>
              <a:gd name="connsiteY40611" fmla="*/ 652819 h 7458372"/>
              <a:gd name="connsiteX40612" fmla="*/ 8082281 w 10505529"/>
              <a:gd name="connsiteY40612" fmla="*/ 652819 h 7458372"/>
              <a:gd name="connsiteX40613" fmla="*/ 8094127 w 10505529"/>
              <a:gd name="connsiteY40613" fmla="*/ 655348 h 7458372"/>
              <a:gd name="connsiteX40614" fmla="*/ 8103446 w 10505529"/>
              <a:gd name="connsiteY40614" fmla="*/ 661738 h 7458372"/>
              <a:gd name="connsiteX40615" fmla="*/ 8109569 w 10505529"/>
              <a:gd name="connsiteY40615" fmla="*/ 671189 h 7458372"/>
              <a:gd name="connsiteX40616" fmla="*/ 8111832 w 10505529"/>
              <a:gd name="connsiteY40616" fmla="*/ 682638 h 7458372"/>
              <a:gd name="connsiteX40617" fmla="*/ 8109569 w 10505529"/>
              <a:gd name="connsiteY40617" fmla="*/ 694352 h 7458372"/>
              <a:gd name="connsiteX40618" fmla="*/ 8103446 w 10505529"/>
              <a:gd name="connsiteY40618" fmla="*/ 703670 h 7458372"/>
              <a:gd name="connsiteX40619" fmla="*/ 8094127 w 10505529"/>
              <a:gd name="connsiteY40619" fmla="*/ 709927 h 7458372"/>
              <a:gd name="connsiteX40620" fmla="*/ 8082281 w 10505529"/>
              <a:gd name="connsiteY40620" fmla="*/ 712190 h 7458372"/>
              <a:gd name="connsiteX40621" fmla="*/ 8060448 w 10505529"/>
              <a:gd name="connsiteY40621" fmla="*/ 703670 h 7458372"/>
              <a:gd name="connsiteX40622" fmla="*/ 8052062 w 10505529"/>
              <a:gd name="connsiteY40622" fmla="*/ 682505 h 7458372"/>
              <a:gd name="connsiteX40623" fmla="*/ 8060448 w 10505529"/>
              <a:gd name="connsiteY40623" fmla="*/ 661471 h 7458372"/>
              <a:gd name="connsiteX40624" fmla="*/ 8082281 w 10505529"/>
              <a:gd name="connsiteY40624" fmla="*/ 652819 h 7458372"/>
              <a:gd name="connsiteX40625" fmla="*/ 8517438 w 10505529"/>
              <a:gd name="connsiteY40625" fmla="*/ 652819 h 7458372"/>
              <a:gd name="connsiteX40626" fmla="*/ 8529152 w 10505529"/>
              <a:gd name="connsiteY40626" fmla="*/ 655348 h 7458372"/>
              <a:gd name="connsiteX40627" fmla="*/ 8538470 w 10505529"/>
              <a:gd name="connsiteY40627" fmla="*/ 661738 h 7458372"/>
              <a:gd name="connsiteX40628" fmla="*/ 8544594 w 10505529"/>
              <a:gd name="connsiteY40628" fmla="*/ 671189 h 7458372"/>
              <a:gd name="connsiteX40629" fmla="*/ 8546857 w 10505529"/>
              <a:gd name="connsiteY40629" fmla="*/ 682637 h 7458372"/>
              <a:gd name="connsiteX40630" fmla="*/ 8544594 w 10505529"/>
              <a:gd name="connsiteY40630" fmla="*/ 694352 h 7458372"/>
              <a:gd name="connsiteX40631" fmla="*/ 8538470 w 10505529"/>
              <a:gd name="connsiteY40631" fmla="*/ 703670 h 7458372"/>
              <a:gd name="connsiteX40632" fmla="*/ 8529152 w 10505529"/>
              <a:gd name="connsiteY40632" fmla="*/ 709927 h 7458372"/>
              <a:gd name="connsiteX40633" fmla="*/ 8517438 w 10505529"/>
              <a:gd name="connsiteY40633" fmla="*/ 712190 h 7458372"/>
              <a:gd name="connsiteX40634" fmla="*/ 8495606 w 10505529"/>
              <a:gd name="connsiteY40634" fmla="*/ 703670 h 7458372"/>
              <a:gd name="connsiteX40635" fmla="*/ 8487220 w 10505529"/>
              <a:gd name="connsiteY40635" fmla="*/ 682504 h 7458372"/>
              <a:gd name="connsiteX40636" fmla="*/ 8495606 w 10505529"/>
              <a:gd name="connsiteY40636" fmla="*/ 661471 h 7458372"/>
              <a:gd name="connsiteX40637" fmla="*/ 8517438 w 10505529"/>
              <a:gd name="connsiteY40637" fmla="*/ 652819 h 7458372"/>
              <a:gd name="connsiteX40638" fmla="*/ 8299793 w 10505529"/>
              <a:gd name="connsiteY40638" fmla="*/ 652819 h 7458372"/>
              <a:gd name="connsiteX40639" fmla="*/ 8311507 w 10505529"/>
              <a:gd name="connsiteY40639" fmla="*/ 655348 h 7458372"/>
              <a:gd name="connsiteX40640" fmla="*/ 8320825 w 10505529"/>
              <a:gd name="connsiteY40640" fmla="*/ 661738 h 7458372"/>
              <a:gd name="connsiteX40641" fmla="*/ 8326948 w 10505529"/>
              <a:gd name="connsiteY40641" fmla="*/ 671189 h 7458372"/>
              <a:gd name="connsiteX40642" fmla="*/ 8329212 w 10505529"/>
              <a:gd name="connsiteY40642" fmla="*/ 682638 h 7458372"/>
              <a:gd name="connsiteX40643" fmla="*/ 8326948 w 10505529"/>
              <a:gd name="connsiteY40643" fmla="*/ 694352 h 7458372"/>
              <a:gd name="connsiteX40644" fmla="*/ 8320825 w 10505529"/>
              <a:gd name="connsiteY40644" fmla="*/ 703670 h 7458372"/>
              <a:gd name="connsiteX40645" fmla="*/ 8311507 w 10505529"/>
              <a:gd name="connsiteY40645" fmla="*/ 709927 h 7458372"/>
              <a:gd name="connsiteX40646" fmla="*/ 8299793 w 10505529"/>
              <a:gd name="connsiteY40646" fmla="*/ 712190 h 7458372"/>
              <a:gd name="connsiteX40647" fmla="*/ 8277960 w 10505529"/>
              <a:gd name="connsiteY40647" fmla="*/ 703670 h 7458372"/>
              <a:gd name="connsiteX40648" fmla="*/ 8269574 w 10505529"/>
              <a:gd name="connsiteY40648" fmla="*/ 682504 h 7458372"/>
              <a:gd name="connsiteX40649" fmla="*/ 8277960 w 10505529"/>
              <a:gd name="connsiteY40649" fmla="*/ 661471 h 7458372"/>
              <a:gd name="connsiteX40650" fmla="*/ 8299793 w 10505529"/>
              <a:gd name="connsiteY40650" fmla="*/ 652819 h 7458372"/>
              <a:gd name="connsiteX40651" fmla="*/ 8735083 w 10505529"/>
              <a:gd name="connsiteY40651" fmla="*/ 652819 h 7458372"/>
              <a:gd name="connsiteX40652" fmla="*/ 8746797 w 10505529"/>
              <a:gd name="connsiteY40652" fmla="*/ 655348 h 7458372"/>
              <a:gd name="connsiteX40653" fmla="*/ 8756115 w 10505529"/>
              <a:gd name="connsiteY40653" fmla="*/ 661738 h 7458372"/>
              <a:gd name="connsiteX40654" fmla="*/ 8762238 w 10505529"/>
              <a:gd name="connsiteY40654" fmla="*/ 671189 h 7458372"/>
              <a:gd name="connsiteX40655" fmla="*/ 8764502 w 10505529"/>
              <a:gd name="connsiteY40655" fmla="*/ 682637 h 7458372"/>
              <a:gd name="connsiteX40656" fmla="*/ 8762238 w 10505529"/>
              <a:gd name="connsiteY40656" fmla="*/ 694352 h 7458372"/>
              <a:gd name="connsiteX40657" fmla="*/ 8756115 w 10505529"/>
              <a:gd name="connsiteY40657" fmla="*/ 703670 h 7458372"/>
              <a:gd name="connsiteX40658" fmla="*/ 8746797 w 10505529"/>
              <a:gd name="connsiteY40658" fmla="*/ 709927 h 7458372"/>
              <a:gd name="connsiteX40659" fmla="*/ 8735083 w 10505529"/>
              <a:gd name="connsiteY40659" fmla="*/ 712190 h 7458372"/>
              <a:gd name="connsiteX40660" fmla="*/ 8713250 w 10505529"/>
              <a:gd name="connsiteY40660" fmla="*/ 703670 h 7458372"/>
              <a:gd name="connsiteX40661" fmla="*/ 8704864 w 10505529"/>
              <a:gd name="connsiteY40661" fmla="*/ 682504 h 7458372"/>
              <a:gd name="connsiteX40662" fmla="*/ 8713250 w 10505529"/>
              <a:gd name="connsiteY40662" fmla="*/ 661471 h 7458372"/>
              <a:gd name="connsiteX40663" fmla="*/ 8735083 w 10505529"/>
              <a:gd name="connsiteY40663" fmla="*/ 652819 h 7458372"/>
              <a:gd name="connsiteX40664" fmla="*/ 9170374 w 10505529"/>
              <a:gd name="connsiteY40664" fmla="*/ 652819 h 7458372"/>
              <a:gd name="connsiteX40665" fmla="*/ 9182088 w 10505529"/>
              <a:gd name="connsiteY40665" fmla="*/ 655348 h 7458372"/>
              <a:gd name="connsiteX40666" fmla="*/ 9191405 w 10505529"/>
              <a:gd name="connsiteY40666" fmla="*/ 661738 h 7458372"/>
              <a:gd name="connsiteX40667" fmla="*/ 9197529 w 10505529"/>
              <a:gd name="connsiteY40667" fmla="*/ 671189 h 7458372"/>
              <a:gd name="connsiteX40668" fmla="*/ 9199792 w 10505529"/>
              <a:gd name="connsiteY40668" fmla="*/ 682637 h 7458372"/>
              <a:gd name="connsiteX40669" fmla="*/ 9197529 w 10505529"/>
              <a:gd name="connsiteY40669" fmla="*/ 694351 h 7458372"/>
              <a:gd name="connsiteX40670" fmla="*/ 9191405 w 10505529"/>
              <a:gd name="connsiteY40670" fmla="*/ 703669 h 7458372"/>
              <a:gd name="connsiteX40671" fmla="*/ 9182088 w 10505529"/>
              <a:gd name="connsiteY40671" fmla="*/ 709927 h 7458372"/>
              <a:gd name="connsiteX40672" fmla="*/ 9170374 w 10505529"/>
              <a:gd name="connsiteY40672" fmla="*/ 712190 h 7458372"/>
              <a:gd name="connsiteX40673" fmla="*/ 9148541 w 10505529"/>
              <a:gd name="connsiteY40673" fmla="*/ 703669 h 7458372"/>
              <a:gd name="connsiteX40674" fmla="*/ 9140155 w 10505529"/>
              <a:gd name="connsiteY40674" fmla="*/ 682504 h 7458372"/>
              <a:gd name="connsiteX40675" fmla="*/ 9148541 w 10505529"/>
              <a:gd name="connsiteY40675" fmla="*/ 661471 h 7458372"/>
              <a:gd name="connsiteX40676" fmla="*/ 9170374 w 10505529"/>
              <a:gd name="connsiteY40676" fmla="*/ 652819 h 7458372"/>
              <a:gd name="connsiteX40677" fmla="*/ 8952728 w 10505529"/>
              <a:gd name="connsiteY40677" fmla="*/ 652819 h 7458372"/>
              <a:gd name="connsiteX40678" fmla="*/ 8964442 w 10505529"/>
              <a:gd name="connsiteY40678" fmla="*/ 655348 h 7458372"/>
              <a:gd name="connsiteX40679" fmla="*/ 8973760 w 10505529"/>
              <a:gd name="connsiteY40679" fmla="*/ 661738 h 7458372"/>
              <a:gd name="connsiteX40680" fmla="*/ 8979884 w 10505529"/>
              <a:gd name="connsiteY40680" fmla="*/ 671189 h 7458372"/>
              <a:gd name="connsiteX40681" fmla="*/ 8982147 w 10505529"/>
              <a:gd name="connsiteY40681" fmla="*/ 682637 h 7458372"/>
              <a:gd name="connsiteX40682" fmla="*/ 8979884 w 10505529"/>
              <a:gd name="connsiteY40682" fmla="*/ 694352 h 7458372"/>
              <a:gd name="connsiteX40683" fmla="*/ 8973760 w 10505529"/>
              <a:gd name="connsiteY40683" fmla="*/ 703670 h 7458372"/>
              <a:gd name="connsiteX40684" fmla="*/ 8964442 w 10505529"/>
              <a:gd name="connsiteY40684" fmla="*/ 709927 h 7458372"/>
              <a:gd name="connsiteX40685" fmla="*/ 8952728 w 10505529"/>
              <a:gd name="connsiteY40685" fmla="*/ 712190 h 7458372"/>
              <a:gd name="connsiteX40686" fmla="*/ 8930896 w 10505529"/>
              <a:gd name="connsiteY40686" fmla="*/ 703670 h 7458372"/>
              <a:gd name="connsiteX40687" fmla="*/ 8922510 w 10505529"/>
              <a:gd name="connsiteY40687" fmla="*/ 682504 h 7458372"/>
              <a:gd name="connsiteX40688" fmla="*/ 8930896 w 10505529"/>
              <a:gd name="connsiteY40688" fmla="*/ 661471 h 7458372"/>
              <a:gd name="connsiteX40689" fmla="*/ 8952728 w 10505529"/>
              <a:gd name="connsiteY40689" fmla="*/ 652819 h 7458372"/>
              <a:gd name="connsiteX40690" fmla="*/ 9387885 w 10505529"/>
              <a:gd name="connsiteY40690" fmla="*/ 652818 h 7458372"/>
              <a:gd name="connsiteX40691" fmla="*/ 9399599 w 10505529"/>
              <a:gd name="connsiteY40691" fmla="*/ 655347 h 7458372"/>
              <a:gd name="connsiteX40692" fmla="*/ 9408917 w 10505529"/>
              <a:gd name="connsiteY40692" fmla="*/ 661738 h 7458372"/>
              <a:gd name="connsiteX40693" fmla="*/ 9415041 w 10505529"/>
              <a:gd name="connsiteY40693" fmla="*/ 671189 h 7458372"/>
              <a:gd name="connsiteX40694" fmla="*/ 9417304 w 10505529"/>
              <a:gd name="connsiteY40694" fmla="*/ 682637 h 7458372"/>
              <a:gd name="connsiteX40695" fmla="*/ 9415041 w 10505529"/>
              <a:gd name="connsiteY40695" fmla="*/ 694351 h 7458372"/>
              <a:gd name="connsiteX40696" fmla="*/ 9408917 w 10505529"/>
              <a:gd name="connsiteY40696" fmla="*/ 703669 h 7458372"/>
              <a:gd name="connsiteX40697" fmla="*/ 9399599 w 10505529"/>
              <a:gd name="connsiteY40697" fmla="*/ 709927 h 7458372"/>
              <a:gd name="connsiteX40698" fmla="*/ 9387885 w 10505529"/>
              <a:gd name="connsiteY40698" fmla="*/ 712190 h 7458372"/>
              <a:gd name="connsiteX40699" fmla="*/ 9366053 w 10505529"/>
              <a:gd name="connsiteY40699" fmla="*/ 703669 h 7458372"/>
              <a:gd name="connsiteX40700" fmla="*/ 9357667 w 10505529"/>
              <a:gd name="connsiteY40700" fmla="*/ 682504 h 7458372"/>
              <a:gd name="connsiteX40701" fmla="*/ 9366053 w 10505529"/>
              <a:gd name="connsiteY40701" fmla="*/ 661471 h 7458372"/>
              <a:gd name="connsiteX40702" fmla="*/ 9387885 w 10505529"/>
              <a:gd name="connsiteY40702" fmla="*/ 652818 h 7458372"/>
              <a:gd name="connsiteX40703" fmla="*/ 9605531 w 10505529"/>
              <a:gd name="connsiteY40703" fmla="*/ 652818 h 7458372"/>
              <a:gd name="connsiteX40704" fmla="*/ 9617245 w 10505529"/>
              <a:gd name="connsiteY40704" fmla="*/ 655347 h 7458372"/>
              <a:gd name="connsiteX40705" fmla="*/ 9626562 w 10505529"/>
              <a:gd name="connsiteY40705" fmla="*/ 661738 h 7458372"/>
              <a:gd name="connsiteX40706" fmla="*/ 9632686 w 10505529"/>
              <a:gd name="connsiteY40706" fmla="*/ 671189 h 7458372"/>
              <a:gd name="connsiteX40707" fmla="*/ 9634949 w 10505529"/>
              <a:gd name="connsiteY40707" fmla="*/ 682637 h 7458372"/>
              <a:gd name="connsiteX40708" fmla="*/ 9632686 w 10505529"/>
              <a:gd name="connsiteY40708" fmla="*/ 694351 h 7458372"/>
              <a:gd name="connsiteX40709" fmla="*/ 9626562 w 10505529"/>
              <a:gd name="connsiteY40709" fmla="*/ 703669 h 7458372"/>
              <a:gd name="connsiteX40710" fmla="*/ 9617245 w 10505529"/>
              <a:gd name="connsiteY40710" fmla="*/ 709926 h 7458372"/>
              <a:gd name="connsiteX40711" fmla="*/ 9605531 w 10505529"/>
              <a:gd name="connsiteY40711" fmla="*/ 712190 h 7458372"/>
              <a:gd name="connsiteX40712" fmla="*/ 9583698 w 10505529"/>
              <a:gd name="connsiteY40712" fmla="*/ 703669 h 7458372"/>
              <a:gd name="connsiteX40713" fmla="*/ 9575312 w 10505529"/>
              <a:gd name="connsiteY40713" fmla="*/ 682504 h 7458372"/>
              <a:gd name="connsiteX40714" fmla="*/ 9583698 w 10505529"/>
              <a:gd name="connsiteY40714" fmla="*/ 661470 h 7458372"/>
              <a:gd name="connsiteX40715" fmla="*/ 9605531 w 10505529"/>
              <a:gd name="connsiteY40715" fmla="*/ 652818 h 7458372"/>
              <a:gd name="connsiteX40716" fmla="*/ 10040820 w 10505529"/>
              <a:gd name="connsiteY40716" fmla="*/ 652818 h 7458372"/>
              <a:gd name="connsiteX40717" fmla="*/ 10052534 w 10505529"/>
              <a:gd name="connsiteY40717" fmla="*/ 655347 h 7458372"/>
              <a:gd name="connsiteX40718" fmla="*/ 10061852 w 10505529"/>
              <a:gd name="connsiteY40718" fmla="*/ 661737 h 7458372"/>
              <a:gd name="connsiteX40719" fmla="*/ 10067976 w 10505529"/>
              <a:gd name="connsiteY40719" fmla="*/ 671189 h 7458372"/>
              <a:gd name="connsiteX40720" fmla="*/ 10070239 w 10505529"/>
              <a:gd name="connsiteY40720" fmla="*/ 682637 h 7458372"/>
              <a:gd name="connsiteX40721" fmla="*/ 10067976 w 10505529"/>
              <a:gd name="connsiteY40721" fmla="*/ 694351 h 7458372"/>
              <a:gd name="connsiteX40722" fmla="*/ 10061852 w 10505529"/>
              <a:gd name="connsiteY40722" fmla="*/ 703669 h 7458372"/>
              <a:gd name="connsiteX40723" fmla="*/ 10052534 w 10505529"/>
              <a:gd name="connsiteY40723" fmla="*/ 709926 h 7458372"/>
              <a:gd name="connsiteX40724" fmla="*/ 10040820 w 10505529"/>
              <a:gd name="connsiteY40724" fmla="*/ 712189 h 7458372"/>
              <a:gd name="connsiteX40725" fmla="*/ 10018988 w 10505529"/>
              <a:gd name="connsiteY40725" fmla="*/ 703669 h 7458372"/>
              <a:gd name="connsiteX40726" fmla="*/ 10010602 w 10505529"/>
              <a:gd name="connsiteY40726" fmla="*/ 682504 h 7458372"/>
              <a:gd name="connsiteX40727" fmla="*/ 10018988 w 10505529"/>
              <a:gd name="connsiteY40727" fmla="*/ 661470 h 7458372"/>
              <a:gd name="connsiteX40728" fmla="*/ 10040820 w 10505529"/>
              <a:gd name="connsiteY40728" fmla="*/ 652818 h 7458372"/>
              <a:gd name="connsiteX40729" fmla="*/ 9823176 w 10505529"/>
              <a:gd name="connsiteY40729" fmla="*/ 652818 h 7458372"/>
              <a:gd name="connsiteX40730" fmla="*/ 9834890 w 10505529"/>
              <a:gd name="connsiteY40730" fmla="*/ 655347 h 7458372"/>
              <a:gd name="connsiteX40731" fmla="*/ 9844208 w 10505529"/>
              <a:gd name="connsiteY40731" fmla="*/ 661737 h 7458372"/>
              <a:gd name="connsiteX40732" fmla="*/ 9850331 w 10505529"/>
              <a:gd name="connsiteY40732" fmla="*/ 671189 h 7458372"/>
              <a:gd name="connsiteX40733" fmla="*/ 9852595 w 10505529"/>
              <a:gd name="connsiteY40733" fmla="*/ 682637 h 7458372"/>
              <a:gd name="connsiteX40734" fmla="*/ 9850331 w 10505529"/>
              <a:gd name="connsiteY40734" fmla="*/ 694351 h 7458372"/>
              <a:gd name="connsiteX40735" fmla="*/ 9844208 w 10505529"/>
              <a:gd name="connsiteY40735" fmla="*/ 703669 h 7458372"/>
              <a:gd name="connsiteX40736" fmla="*/ 9834890 w 10505529"/>
              <a:gd name="connsiteY40736" fmla="*/ 709926 h 7458372"/>
              <a:gd name="connsiteX40737" fmla="*/ 9823176 w 10505529"/>
              <a:gd name="connsiteY40737" fmla="*/ 712189 h 7458372"/>
              <a:gd name="connsiteX40738" fmla="*/ 9801343 w 10505529"/>
              <a:gd name="connsiteY40738" fmla="*/ 703669 h 7458372"/>
              <a:gd name="connsiteX40739" fmla="*/ 9792957 w 10505529"/>
              <a:gd name="connsiteY40739" fmla="*/ 682504 h 7458372"/>
              <a:gd name="connsiteX40740" fmla="*/ 9801343 w 10505529"/>
              <a:gd name="connsiteY40740" fmla="*/ 661470 h 7458372"/>
              <a:gd name="connsiteX40741" fmla="*/ 9823176 w 10505529"/>
              <a:gd name="connsiteY40741" fmla="*/ 652818 h 7458372"/>
              <a:gd name="connsiteX40742" fmla="*/ 10258466 w 10505529"/>
              <a:gd name="connsiteY40742" fmla="*/ 652818 h 7458372"/>
              <a:gd name="connsiteX40743" fmla="*/ 10270313 w 10505529"/>
              <a:gd name="connsiteY40743" fmla="*/ 655347 h 7458372"/>
              <a:gd name="connsiteX40744" fmla="*/ 10279631 w 10505529"/>
              <a:gd name="connsiteY40744" fmla="*/ 661737 h 7458372"/>
              <a:gd name="connsiteX40745" fmla="*/ 10285754 w 10505529"/>
              <a:gd name="connsiteY40745" fmla="*/ 671188 h 7458372"/>
              <a:gd name="connsiteX40746" fmla="*/ 10288017 w 10505529"/>
              <a:gd name="connsiteY40746" fmla="*/ 682637 h 7458372"/>
              <a:gd name="connsiteX40747" fmla="*/ 10285754 w 10505529"/>
              <a:gd name="connsiteY40747" fmla="*/ 694351 h 7458372"/>
              <a:gd name="connsiteX40748" fmla="*/ 10279631 w 10505529"/>
              <a:gd name="connsiteY40748" fmla="*/ 703669 h 7458372"/>
              <a:gd name="connsiteX40749" fmla="*/ 10270313 w 10505529"/>
              <a:gd name="connsiteY40749" fmla="*/ 709926 h 7458372"/>
              <a:gd name="connsiteX40750" fmla="*/ 10258466 w 10505529"/>
              <a:gd name="connsiteY40750" fmla="*/ 712189 h 7458372"/>
              <a:gd name="connsiteX40751" fmla="*/ 10236633 w 10505529"/>
              <a:gd name="connsiteY40751" fmla="*/ 703669 h 7458372"/>
              <a:gd name="connsiteX40752" fmla="*/ 10228247 w 10505529"/>
              <a:gd name="connsiteY40752" fmla="*/ 682504 h 7458372"/>
              <a:gd name="connsiteX40753" fmla="*/ 10236633 w 10505529"/>
              <a:gd name="connsiteY40753" fmla="*/ 661470 h 7458372"/>
              <a:gd name="connsiteX40754" fmla="*/ 10258466 w 10505529"/>
              <a:gd name="connsiteY40754" fmla="*/ 652818 h 7458372"/>
              <a:gd name="connsiteX40755" fmla="*/ 10475977 w 10505529"/>
              <a:gd name="connsiteY40755" fmla="*/ 652818 h 7458372"/>
              <a:gd name="connsiteX40756" fmla="*/ 10487824 w 10505529"/>
              <a:gd name="connsiteY40756" fmla="*/ 655347 h 7458372"/>
              <a:gd name="connsiteX40757" fmla="*/ 10497143 w 10505529"/>
              <a:gd name="connsiteY40757" fmla="*/ 661737 h 7458372"/>
              <a:gd name="connsiteX40758" fmla="*/ 10503266 w 10505529"/>
              <a:gd name="connsiteY40758" fmla="*/ 671188 h 7458372"/>
              <a:gd name="connsiteX40759" fmla="*/ 10505529 w 10505529"/>
              <a:gd name="connsiteY40759" fmla="*/ 682636 h 7458372"/>
              <a:gd name="connsiteX40760" fmla="*/ 10503266 w 10505529"/>
              <a:gd name="connsiteY40760" fmla="*/ 694351 h 7458372"/>
              <a:gd name="connsiteX40761" fmla="*/ 10497143 w 10505529"/>
              <a:gd name="connsiteY40761" fmla="*/ 703669 h 7458372"/>
              <a:gd name="connsiteX40762" fmla="*/ 10487824 w 10505529"/>
              <a:gd name="connsiteY40762" fmla="*/ 709926 h 7458372"/>
              <a:gd name="connsiteX40763" fmla="*/ 10475977 w 10505529"/>
              <a:gd name="connsiteY40763" fmla="*/ 712189 h 7458372"/>
              <a:gd name="connsiteX40764" fmla="*/ 10454145 w 10505529"/>
              <a:gd name="connsiteY40764" fmla="*/ 703669 h 7458372"/>
              <a:gd name="connsiteX40765" fmla="*/ 10445759 w 10505529"/>
              <a:gd name="connsiteY40765" fmla="*/ 682503 h 7458372"/>
              <a:gd name="connsiteX40766" fmla="*/ 10454145 w 10505529"/>
              <a:gd name="connsiteY40766" fmla="*/ 661470 h 7458372"/>
              <a:gd name="connsiteX40767" fmla="*/ 10475977 w 10505529"/>
              <a:gd name="connsiteY40767" fmla="*/ 652818 h 7458372"/>
              <a:gd name="connsiteX40768" fmla="*/ 30232 w 10505529"/>
              <a:gd name="connsiteY40768" fmla="*/ 451946 h 7458372"/>
              <a:gd name="connsiteX40769" fmla="*/ 20249 w 10505529"/>
              <a:gd name="connsiteY40769" fmla="*/ 455540 h 7458372"/>
              <a:gd name="connsiteX40770" fmla="*/ 16655 w 10505529"/>
              <a:gd name="connsiteY40770" fmla="*/ 464991 h 7458372"/>
              <a:gd name="connsiteX40771" fmla="*/ 20249 w 10505529"/>
              <a:gd name="connsiteY40771" fmla="*/ 474443 h 7458372"/>
              <a:gd name="connsiteX40772" fmla="*/ 30232 w 10505529"/>
              <a:gd name="connsiteY40772" fmla="*/ 477904 h 7458372"/>
              <a:gd name="connsiteX40773" fmla="*/ 35557 w 10505529"/>
              <a:gd name="connsiteY40773" fmla="*/ 476972 h 7458372"/>
              <a:gd name="connsiteX40774" fmla="*/ 39284 w 10505529"/>
              <a:gd name="connsiteY40774" fmla="*/ 474576 h 7458372"/>
              <a:gd name="connsiteX40775" fmla="*/ 41947 w 10505529"/>
              <a:gd name="connsiteY40775" fmla="*/ 470449 h 7458372"/>
              <a:gd name="connsiteX40776" fmla="*/ 42878 w 10505529"/>
              <a:gd name="connsiteY40776" fmla="*/ 464991 h 7458372"/>
              <a:gd name="connsiteX40777" fmla="*/ 41947 w 10505529"/>
              <a:gd name="connsiteY40777" fmla="*/ 459799 h 7458372"/>
              <a:gd name="connsiteX40778" fmla="*/ 39284 w 10505529"/>
              <a:gd name="connsiteY40778" fmla="*/ 455540 h 7458372"/>
              <a:gd name="connsiteX40779" fmla="*/ 35291 w 10505529"/>
              <a:gd name="connsiteY40779" fmla="*/ 452877 h 7458372"/>
              <a:gd name="connsiteX40780" fmla="*/ 30232 w 10505529"/>
              <a:gd name="connsiteY40780" fmla="*/ 451946 h 7458372"/>
              <a:gd name="connsiteX40781" fmla="*/ 247877 w 10505529"/>
              <a:gd name="connsiteY40781" fmla="*/ 451946 h 7458372"/>
              <a:gd name="connsiteX40782" fmla="*/ 237893 w 10505529"/>
              <a:gd name="connsiteY40782" fmla="*/ 455540 h 7458372"/>
              <a:gd name="connsiteX40783" fmla="*/ 234300 w 10505529"/>
              <a:gd name="connsiteY40783" fmla="*/ 464991 h 7458372"/>
              <a:gd name="connsiteX40784" fmla="*/ 237893 w 10505529"/>
              <a:gd name="connsiteY40784" fmla="*/ 474443 h 7458372"/>
              <a:gd name="connsiteX40785" fmla="*/ 247877 w 10505529"/>
              <a:gd name="connsiteY40785" fmla="*/ 477904 h 7458372"/>
              <a:gd name="connsiteX40786" fmla="*/ 253202 w 10505529"/>
              <a:gd name="connsiteY40786" fmla="*/ 476972 h 7458372"/>
              <a:gd name="connsiteX40787" fmla="*/ 256929 w 10505529"/>
              <a:gd name="connsiteY40787" fmla="*/ 474576 h 7458372"/>
              <a:gd name="connsiteX40788" fmla="*/ 259592 w 10505529"/>
              <a:gd name="connsiteY40788" fmla="*/ 470449 h 7458372"/>
              <a:gd name="connsiteX40789" fmla="*/ 260657 w 10505529"/>
              <a:gd name="connsiteY40789" fmla="*/ 464991 h 7458372"/>
              <a:gd name="connsiteX40790" fmla="*/ 259592 w 10505529"/>
              <a:gd name="connsiteY40790" fmla="*/ 459799 h 7458372"/>
              <a:gd name="connsiteX40791" fmla="*/ 256929 w 10505529"/>
              <a:gd name="connsiteY40791" fmla="*/ 455540 h 7458372"/>
              <a:gd name="connsiteX40792" fmla="*/ 252936 w 10505529"/>
              <a:gd name="connsiteY40792" fmla="*/ 452877 h 7458372"/>
              <a:gd name="connsiteX40793" fmla="*/ 247877 w 10505529"/>
              <a:gd name="connsiteY40793" fmla="*/ 451946 h 7458372"/>
              <a:gd name="connsiteX40794" fmla="*/ 465521 w 10505529"/>
              <a:gd name="connsiteY40794" fmla="*/ 451946 h 7458372"/>
              <a:gd name="connsiteX40795" fmla="*/ 455538 w 10505529"/>
              <a:gd name="connsiteY40795" fmla="*/ 455540 h 7458372"/>
              <a:gd name="connsiteX40796" fmla="*/ 451944 w 10505529"/>
              <a:gd name="connsiteY40796" fmla="*/ 464991 h 7458372"/>
              <a:gd name="connsiteX40797" fmla="*/ 455538 w 10505529"/>
              <a:gd name="connsiteY40797" fmla="*/ 474442 h 7458372"/>
              <a:gd name="connsiteX40798" fmla="*/ 465521 w 10505529"/>
              <a:gd name="connsiteY40798" fmla="*/ 477903 h 7458372"/>
              <a:gd name="connsiteX40799" fmla="*/ 470846 w 10505529"/>
              <a:gd name="connsiteY40799" fmla="*/ 476971 h 7458372"/>
              <a:gd name="connsiteX40800" fmla="*/ 474573 w 10505529"/>
              <a:gd name="connsiteY40800" fmla="*/ 474575 h 7458372"/>
              <a:gd name="connsiteX40801" fmla="*/ 477236 w 10505529"/>
              <a:gd name="connsiteY40801" fmla="*/ 470449 h 7458372"/>
              <a:gd name="connsiteX40802" fmla="*/ 478301 w 10505529"/>
              <a:gd name="connsiteY40802" fmla="*/ 464991 h 7458372"/>
              <a:gd name="connsiteX40803" fmla="*/ 477236 w 10505529"/>
              <a:gd name="connsiteY40803" fmla="*/ 459799 h 7458372"/>
              <a:gd name="connsiteX40804" fmla="*/ 474573 w 10505529"/>
              <a:gd name="connsiteY40804" fmla="*/ 455540 h 7458372"/>
              <a:gd name="connsiteX40805" fmla="*/ 470580 w 10505529"/>
              <a:gd name="connsiteY40805" fmla="*/ 452877 h 7458372"/>
              <a:gd name="connsiteX40806" fmla="*/ 465521 w 10505529"/>
              <a:gd name="connsiteY40806" fmla="*/ 451946 h 7458372"/>
              <a:gd name="connsiteX40807" fmla="*/ 683166 w 10505529"/>
              <a:gd name="connsiteY40807" fmla="*/ 451946 h 7458372"/>
              <a:gd name="connsiteX40808" fmla="*/ 673182 w 10505529"/>
              <a:gd name="connsiteY40808" fmla="*/ 455540 h 7458372"/>
              <a:gd name="connsiteX40809" fmla="*/ 669588 w 10505529"/>
              <a:gd name="connsiteY40809" fmla="*/ 464991 h 7458372"/>
              <a:gd name="connsiteX40810" fmla="*/ 673182 w 10505529"/>
              <a:gd name="connsiteY40810" fmla="*/ 474442 h 7458372"/>
              <a:gd name="connsiteX40811" fmla="*/ 683166 w 10505529"/>
              <a:gd name="connsiteY40811" fmla="*/ 477903 h 7458372"/>
              <a:gd name="connsiteX40812" fmla="*/ 688491 w 10505529"/>
              <a:gd name="connsiteY40812" fmla="*/ 476971 h 7458372"/>
              <a:gd name="connsiteX40813" fmla="*/ 692218 w 10505529"/>
              <a:gd name="connsiteY40813" fmla="*/ 474575 h 7458372"/>
              <a:gd name="connsiteX40814" fmla="*/ 694881 w 10505529"/>
              <a:gd name="connsiteY40814" fmla="*/ 470449 h 7458372"/>
              <a:gd name="connsiteX40815" fmla="*/ 695946 w 10505529"/>
              <a:gd name="connsiteY40815" fmla="*/ 464991 h 7458372"/>
              <a:gd name="connsiteX40816" fmla="*/ 694881 w 10505529"/>
              <a:gd name="connsiteY40816" fmla="*/ 459799 h 7458372"/>
              <a:gd name="connsiteX40817" fmla="*/ 692218 w 10505529"/>
              <a:gd name="connsiteY40817" fmla="*/ 455540 h 7458372"/>
              <a:gd name="connsiteX40818" fmla="*/ 688225 w 10505529"/>
              <a:gd name="connsiteY40818" fmla="*/ 452877 h 7458372"/>
              <a:gd name="connsiteX40819" fmla="*/ 683166 w 10505529"/>
              <a:gd name="connsiteY40819" fmla="*/ 451946 h 7458372"/>
              <a:gd name="connsiteX40820" fmla="*/ 1118455 w 10505529"/>
              <a:gd name="connsiteY40820" fmla="*/ 451946 h 7458372"/>
              <a:gd name="connsiteX40821" fmla="*/ 1108471 w 10505529"/>
              <a:gd name="connsiteY40821" fmla="*/ 455540 h 7458372"/>
              <a:gd name="connsiteX40822" fmla="*/ 1104744 w 10505529"/>
              <a:gd name="connsiteY40822" fmla="*/ 464991 h 7458372"/>
              <a:gd name="connsiteX40823" fmla="*/ 1108338 w 10505529"/>
              <a:gd name="connsiteY40823" fmla="*/ 474442 h 7458372"/>
              <a:gd name="connsiteX40824" fmla="*/ 1118322 w 10505529"/>
              <a:gd name="connsiteY40824" fmla="*/ 477903 h 7458372"/>
              <a:gd name="connsiteX40825" fmla="*/ 1123780 w 10505529"/>
              <a:gd name="connsiteY40825" fmla="*/ 476971 h 7458372"/>
              <a:gd name="connsiteX40826" fmla="*/ 1127507 w 10505529"/>
              <a:gd name="connsiteY40826" fmla="*/ 474575 h 7458372"/>
              <a:gd name="connsiteX40827" fmla="*/ 1130170 w 10505529"/>
              <a:gd name="connsiteY40827" fmla="*/ 470449 h 7458372"/>
              <a:gd name="connsiteX40828" fmla="*/ 1131235 w 10505529"/>
              <a:gd name="connsiteY40828" fmla="*/ 464991 h 7458372"/>
              <a:gd name="connsiteX40829" fmla="*/ 1130170 w 10505529"/>
              <a:gd name="connsiteY40829" fmla="*/ 459799 h 7458372"/>
              <a:gd name="connsiteX40830" fmla="*/ 1127507 w 10505529"/>
              <a:gd name="connsiteY40830" fmla="*/ 455540 h 7458372"/>
              <a:gd name="connsiteX40831" fmla="*/ 1123514 w 10505529"/>
              <a:gd name="connsiteY40831" fmla="*/ 452877 h 7458372"/>
              <a:gd name="connsiteX40832" fmla="*/ 1118455 w 10505529"/>
              <a:gd name="connsiteY40832" fmla="*/ 451946 h 7458372"/>
              <a:gd name="connsiteX40833" fmla="*/ 900944 w 10505529"/>
              <a:gd name="connsiteY40833" fmla="*/ 451946 h 7458372"/>
              <a:gd name="connsiteX40834" fmla="*/ 890960 w 10505529"/>
              <a:gd name="connsiteY40834" fmla="*/ 455540 h 7458372"/>
              <a:gd name="connsiteX40835" fmla="*/ 887233 w 10505529"/>
              <a:gd name="connsiteY40835" fmla="*/ 464991 h 7458372"/>
              <a:gd name="connsiteX40836" fmla="*/ 890827 w 10505529"/>
              <a:gd name="connsiteY40836" fmla="*/ 474442 h 7458372"/>
              <a:gd name="connsiteX40837" fmla="*/ 900810 w 10505529"/>
              <a:gd name="connsiteY40837" fmla="*/ 477903 h 7458372"/>
              <a:gd name="connsiteX40838" fmla="*/ 906268 w 10505529"/>
              <a:gd name="connsiteY40838" fmla="*/ 476971 h 7458372"/>
              <a:gd name="connsiteX40839" fmla="*/ 909996 w 10505529"/>
              <a:gd name="connsiteY40839" fmla="*/ 474575 h 7458372"/>
              <a:gd name="connsiteX40840" fmla="*/ 912658 w 10505529"/>
              <a:gd name="connsiteY40840" fmla="*/ 470449 h 7458372"/>
              <a:gd name="connsiteX40841" fmla="*/ 913723 w 10505529"/>
              <a:gd name="connsiteY40841" fmla="*/ 464991 h 7458372"/>
              <a:gd name="connsiteX40842" fmla="*/ 912658 w 10505529"/>
              <a:gd name="connsiteY40842" fmla="*/ 459799 h 7458372"/>
              <a:gd name="connsiteX40843" fmla="*/ 909996 w 10505529"/>
              <a:gd name="connsiteY40843" fmla="*/ 455540 h 7458372"/>
              <a:gd name="connsiteX40844" fmla="*/ 906002 w 10505529"/>
              <a:gd name="connsiteY40844" fmla="*/ 452877 h 7458372"/>
              <a:gd name="connsiteX40845" fmla="*/ 900944 w 10505529"/>
              <a:gd name="connsiteY40845" fmla="*/ 451946 h 7458372"/>
              <a:gd name="connsiteX40846" fmla="*/ 1771256 w 10505529"/>
              <a:gd name="connsiteY40846" fmla="*/ 451945 h 7458372"/>
              <a:gd name="connsiteX40847" fmla="*/ 1761273 w 10505529"/>
              <a:gd name="connsiteY40847" fmla="*/ 455539 h 7458372"/>
              <a:gd name="connsiteX40848" fmla="*/ 1757679 w 10505529"/>
              <a:gd name="connsiteY40848" fmla="*/ 464991 h 7458372"/>
              <a:gd name="connsiteX40849" fmla="*/ 1761273 w 10505529"/>
              <a:gd name="connsiteY40849" fmla="*/ 474442 h 7458372"/>
              <a:gd name="connsiteX40850" fmla="*/ 1771256 w 10505529"/>
              <a:gd name="connsiteY40850" fmla="*/ 477903 h 7458372"/>
              <a:gd name="connsiteX40851" fmla="*/ 1776581 w 10505529"/>
              <a:gd name="connsiteY40851" fmla="*/ 476971 h 7458372"/>
              <a:gd name="connsiteX40852" fmla="*/ 1780309 w 10505529"/>
              <a:gd name="connsiteY40852" fmla="*/ 474575 h 7458372"/>
              <a:gd name="connsiteX40853" fmla="*/ 1782971 w 10505529"/>
              <a:gd name="connsiteY40853" fmla="*/ 470449 h 7458372"/>
              <a:gd name="connsiteX40854" fmla="*/ 1784037 w 10505529"/>
              <a:gd name="connsiteY40854" fmla="*/ 464991 h 7458372"/>
              <a:gd name="connsiteX40855" fmla="*/ 1782971 w 10505529"/>
              <a:gd name="connsiteY40855" fmla="*/ 459799 h 7458372"/>
              <a:gd name="connsiteX40856" fmla="*/ 1780309 w 10505529"/>
              <a:gd name="connsiteY40856" fmla="*/ 455539 h 7458372"/>
              <a:gd name="connsiteX40857" fmla="*/ 1776315 w 10505529"/>
              <a:gd name="connsiteY40857" fmla="*/ 452876 h 7458372"/>
              <a:gd name="connsiteX40858" fmla="*/ 1771256 w 10505529"/>
              <a:gd name="connsiteY40858" fmla="*/ 451945 h 7458372"/>
              <a:gd name="connsiteX40859" fmla="*/ 1553612 w 10505529"/>
              <a:gd name="connsiteY40859" fmla="*/ 451945 h 7458372"/>
              <a:gd name="connsiteX40860" fmla="*/ 1543628 w 10505529"/>
              <a:gd name="connsiteY40860" fmla="*/ 455539 h 7458372"/>
              <a:gd name="connsiteX40861" fmla="*/ 1540034 w 10505529"/>
              <a:gd name="connsiteY40861" fmla="*/ 464991 h 7458372"/>
              <a:gd name="connsiteX40862" fmla="*/ 1543628 w 10505529"/>
              <a:gd name="connsiteY40862" fmla="*/ 474442 h 7458372"/>
              <a:gd name="connsiteX40863" fmla="*/ 1553612 w 10505529"/>
              <a:gd name="connsiteY40863" fmla="*/ 477903 h 7458372"/>
              <a:gd name="connsiteX40864" fmla="*/ 1558937 w 10505529"/>
              <a:gd name="connsiteY40864" fmla="*/ 476971 h 7458372"/>
              <a:gd name="connsiteX40865" fmla="*/ 1562664 w 10505529"/>
              <a:gd name="connsiteY40865" fmla="*/ 474575 h 7458372"/>
              <a:gd name="connsiteX40866" fmla="*/ 1565327 w 10505529"/>
              <a:gd name="connsiteY40866" fmla="*/ 470449 h 7458372"/>
              <a:gd name="connsiteX40867" fmla="*/ 1566392 w 10505529"/>
              <a:gd name="connsiteY40867" fmla="*/ 464991 h 7458372"/>
              <a:gd name="connsiteX40868" fmla="*/ 1565327 w 10505529"/>
              <a:gd name="connsiteY40868" fmla="*/ 459799 h 7458372"/>
              <a:gd name="connsiteX40869" fmla="*/ 1562664 w 10505529"/>
              <a:gd name="connsiteY40869" fmla="*/ 455539 h 7458372"/>
              <a:gd name="connsiteX40870" fmla="*/ 1558671 w 10505529"/>
              <a:gd name="connsiteY40870" fmla="*/ 452876 h 7458372"/>
              <a:gd name="connsiteX40871" fmla="*/ 1553612 w 10505529"/>
              <a:gd name="connsiteY40871" fmla="*/ 451945 h 7458372"/>
              <a:gd name="connsiteX40872" fmla="*/ 1335967 w 10505529"/>
              <a:gd name="connsiteY40872" fmla="*/ 451945 h 7458372"/>
              <a:gd name="connsiteX40873" fmla="*/ 1325984 w 10505529"/>
              <a:gd name="connsiteY40873" fmla="*/ 455540 h 7458372"/>
              <a:gd name="connsiteX40874" fmla="*/ 1322389 w 10505529"/>
              <a:gd name="connsiteY40874" fmla="*/ 464991 h 7458372"/>
              <a:gd name="connsiteX40875" fmla="*/ 1325984 w 10505529"/>
              <a:gd name="connsiteY40875" fmla="*/ 474442 h 7458372"/>
              <a:gd name="connsiteX40876" fmla="*/ 1335967 w 10505529"/>
              <a:gd name="connsiteY40876" fmla="*/ 477903 h 7458372"/>
              <a:gd name="connsiteX40877" fmla="*/ 1341292 w 10505529"/>
              <a:gd name="connsiteY40877" fmla="*/ 476971 h 7458372"/>
              <a:gd name="connsiteX40878" fmla="*/ 1345019 w 10505529"/>
              <a:gd name="connsiteY40878" fmla="*/ 474575 h 7458372"/>
              <a:gd name="connsiteX40879" fmla="*/ 1347682 w 10505529"/>
              <a:gd name="connsiteY40879" fmla="*/ 470449 h 7458372"/>
              <a:gd name="connsiteX40880" fmla="*/ 1348747 w 10505529"/>
              <a:gd name="connsiteY40880" fmla="*/ 464991 h 7458372"/>
              <a:gd name="connsiteX40881" fmla="*/ 1347682 w 10505529"/>
              <a:gd name="connsiteY40881" fmla="*/ 459799 h 7458372"/>
              <a:gd name="connsiteX40882" fmla="*/ 1345019 w 10505529"/>
              <a:gd name="connsiteY40882" fmla="*/ 455540 h 7458372"/>
              <a:gd name="connsiteX40883" fmla="*/ 1341026 w 10505529"/>
              <a:gd name="connsiteY40883" fmla="*/ 452877 h 7458372"/>
              <a:gd name="connsiteX40884" fmla="*/ 1335967 w 10505529"/>
              <a:gd name="connsiteY40884" fmla="*/ 451945 h 7458372"/>
              <a:gd name="connsiteX40885" fmla="*/ 2206414 w 10505529"/>
              <a:gd name="connsiteY40885" fmla="*/ 451945 h 7458372"/>
              <a:gd name="connsiteX40886" fmla="*/ 2196430 w 10505529"/>
              <a:gd name="connsiteY40886" fmla="*/ 455539 h 7458372"/>
              <a:gd name="connsiteX40887" fmla="*/ 2192836 w 10505529"/>
              <a:gd name="connsiteY40887" fmla="*/ 464990 h 7458372"/>
              <a:gd name="connsiteX40888" fmla="*/ 2196430 w 10505529"/>
              <a:gd name="connsiteY40888" fmla="*/ 474442 h 7458372"/>
              <a:gd name="connsiteX40889" fmla="*/ 2206414 w 10505529"/>
              <a:gd name="connsiteY40889" fmla="*/ 477903 h 7458372"/>
              <a:gd name="connsiteX40890" fmla="*/ 2211739 w 10505529"/>
              <a:gd name="connsiteY40890" fmla="*/ 476971 h 7458372"/>
              <a:gd name="connsiteX40891" fmla="*/ 2215466 w 10505529"/>
              <a:gd name="connsiteY40891" fmla="*/ 474575 h 7458372"/>
              <a:gd name="connsiteX40892" fmla="*/ 2218129 w 10505529"/>
              <a:gd name="connsiteY40892" fmla="*/ 470448 h 7458372"/>
              <a:gd name="connsiteX40893" fmla="*/ 2219060 w 10505529"/>
              <a:gd name="connsiteY40893" fmla="*/ 464990 h 7458372"/>
              <a:gd name="connsiteX40894" fmla="*/ 2218129 w 10505529"/>
              <a:gd name="connsiteY40894" fmla="*/ 459798 h 7458372"/>
              <a:gd name="connsiteX40895" fmla="*/ 2215466 w 10505529"/>
              <a:gd name="connsiteY40895" fmla="*/ 455539 h 7458372"/>
              <a:gd name="connsiteX40896" fmla="*/ 2211473 w 10505529"/>
              <a:gd name="connsiteY40896" fmla="*/ 452876 h 7458372"/>
              <a:gd name="connsiteX40897" fmla="*/ 2206414 w 10505529"/>
              <a:gd name="connsiteY40897" fmla="*/ 451945 h 7458372"/>
              <a:gd name="connsiteX40898" fmla="*/ 1988900 w 10505529"/>
              <a:gd name="connsiteY40898" fmla="*/ 451945 h 7458372"/>
              <a:gd name="connsiteX40899" fmla="*/ 1978917 w 10505529"/>
              <a:gd name="connsiteY40899" fmla="*/ 455539 h 7458372"/>
              <a:gd name="connsiteX40900" fmla="*/ 1975323 w 10505529"/>
              <a:gd name="connsiteY40900" fmla="*/ 464990 h 7458372"/>
              <a:gd name="connsiteX40901" fmla="*/ 1978917 w 10505529"/>
              <a:gd name="connsiteY40901" fmla="*/ 474442 h 7458372"/>
              <a:gd name="connsiteX40902" fmla="*/ 1988900 w 10505529"/>
              <a:gd name="connsiteY40902" fmla="*/ 477903 h 7458372"/>
              <a:gd name="connsiteX40903" fmla="*/ 1994225 w 10505529"/>
              <a:gd name="connsiteY40903" fmla="*/ 476971 h 7458372"/>
              <a:gd name="connsiteX40904" fmla="*/ 1997953 w 10505529"/>
              <a:gd name="connsiteY40904" fmla="*/ 474575 h 7458372"/>
              <a:gd name="connsiteX40905" fmla="*/ 2000616 w 10505529"/>
              <a:gd name="connsiteY40905" fmla="*/ 470449 h 7458372"/>
              <a:gd name="connsiteX40906" fmla="*/ 2001546 w 10505529"/>
              <a:gd name="connsiteY40906" fmla="*/ 464990 h 7458372"/>
              <a:gd name="connsiteX40907" fmla="*/ 2000616 w 10505529"/>
              <a:gd name="connsiteY40907" fmla="*/ 459798 h 7458372"/>
              <a:gd name="connsiteX40908" fmla="*/ 1997953 w 10505529"/>
              <a:gd name="connsiteY40908" fmla="*/ 455539 h 7458372"/>
              <a:gd name="connsiteX40909" fmla="*/ 1993959 w 10505529"/>
              <a:gd name="connsiteY40909" fmla="*/ 452876 h 7458372"/>
              <a:gd name="connsiteX40910" fmla="*/ 1988900 w 10505529"/>
              <a:gd name="connsiteY40910" fmla="*/ 451945 h 7458372"/>
              <a:gd name="connsiteX40911" fmla="*/ 2641707 w 10505529"/>
              <a:gd name="connsiteY40911" fmla="*/ 451945 h 7458372"/>
              <a:gd name="connsiteX40912" fmla="*/ 2631724 w 10505529"/>
              <a:gd name="connsiteY40912" fmla="*/ 455539 h 7458372"/>
              <a:gd name="connsiteX40913" fmla="*/ 2628130 w 10505529"/>
              <a:gd name="connsiteY40913" fmla="*/ 464990 h 7458372"/>
              <a:gd name="connsiteX40914" fmla="*/ 2631724 w 10505529"/>
              <a:gd name="connsiteY40914" fmla="*/ 474441 h 7458372"/>
              <a:gd name="connsiteX40915" fmla="*/ 2641707 w 10505529"/>
              <a:gd name="connsiteY40915" fmla="*/ 477902 h 7458372"/>
              <a:gd name="connsiteX40916" fmla="*/ 2647032 w 10505529"/>
              <a:gd name="connsiteY40916" fmla="*/ 476970 h 7458372"/>
              <a:gd name="connsiteX40917" fmla="*/ 2650759 w 10505529"/>
              <a:gd name="connsiteY40917" fmla="*/ 474574 h 7458372"/>
              <a:gd name="connsiteX40918" fmla="*/ 2653422 w 10505529"/>
              <a:gd name="connsiteY40918" fmla="*/ 470448 h 7458372"/>
              <a:gd name="connsiteX40919" fmla="*/ 2654353 w 10505529"/>
              <a:gd name="connsiteY40919" fmla="*/ 464990 h 7458372"/>
              <a:gd name="connsiteX40920" fmla="*/ 2653422 w 10505529"/>
              <a:gd name="connsiteY40920" fmla="*/ 459798 h 7458372"/>
              <a:gd name="connsiteX40921" fmla="*/ 2650759 w 10505529"/>
              <a:gd name="connsiteY40921" fmla="*/ 455539 h 7458372"/>
              <a:gd name="connsiteX40922" fmla="*/ 2646766 w 10505529"/>
              <a:gd name="connsiteY40922" fmla="*/ 452876 h 7458372"/>
              <a:gd name="connsiteX40923" fmla="*/ 2641707 w 10505529"/>
              <a:gd name="connsiteY40923" fmla="*/ 451945 h 7458372"/>
              <a:gd name="connsiteX40924" fmla="*/ 2424060 w 10505529"/>
              <a:gd name="connsiteY40924" fmla="*/ 451945 h 7458372"/>
              <a:gd name="connsiteX40925" fmla="*/ 2414077 w 10505529"/>
              <a:gd name="connsiteY40925" fmla="*/ 455539 h 7458372"/>
              <a:gd name="connsiteX40926" fmla="*/ 2410483 w 10505529"/>
              <a:gd name="connsiteY40926" fmla="*/ 464990 h 7458372"/>
              <a:gd name="connsiteX40927" fmla="*/ 2414077 w 10505529"/>
              <a:gd name="connsiteY40927" fmla="*/ 474441 h 7458372"/>
              <a:gd name="connsiteX40928" fmla="*/ 2424060 w 10505529"/>
              <a:gd name="connsiteY40928" fmla="*/ 477902 h 7458372"/>
              <a:gd name="connsiteX40929" fmla="*/ 2429386 w 10505529"/>
              <a:gd name="connsiteY40929" fmla="*/ 476970 h 7458372"/>
              <a:gd name="connsiteX40930" fmla="*/ 2433112 w 10505529"/>
              <a:gd name="connsiteY40930" fmla="*/ 474574 h 7458372"/>
              <a:gd name="connsiteX40931" fmla="*/ 2435776 w 10505529"/>
              <a:gd name="connsiteY40931" fmla="*/ 470448 h 7458372"/>
              <a:gd name="connsiteX40932" fmla="*/ 2436707 w 10505529"/>
              <a:gd name="connsiteY40932" fmla="*/ 464990 h 7458372"/>
              <a:gd name="connsiteX40933" fmla="*/ 2435776 w 10505529"/>
              <a:gd name="connsiteY40933" fmla="*/ 459798 h 7458372"/>
              <a:gd name="connsiteX40934" fmla="*/ 2433112 w 10505529"/>
              <a:gd name="connsiteY40934" fmla="*/ 455539 h 7458372"/>
              <a:gd name="connsiteX40935" fmla="*/ 2429119 w 10505529"/>
              <a:gd name="connsiteY40935" fmla="*/ 452876 h 7458372"/>
              <a:gd name="connsiteX40936" fmla="*/ 2424060 w 10505529"/>
              <a:gd name="connsiteY40936" fmla="*/ 451945 h 7458372"/>
              <a:gd name="connsiteX40937" fmla="*/ 3077133 w 10505529"/>
              <a:gd name="connsiteY40937" fmla="*/ 451945 h 7458372"/>
              <a:gd name="connsiteX40938" fmla="*/ 3067150 w 10505529"/>
              <a:gd name="connsiteY40938" fmla="*/ 455539 h 7458372"/>
              <a:gd name="connsiteX40939" fmla="*/ 3063422 w 10505529"/>
              <a:gd name="connsiteY40939" fmla="*/ 464990 h 7458372"/>
              <a:gd name="connsiteX40940" fmla="*/ 3067017 w 10505529"/>
              <a:gd name="connsiteY40940" fmla="*/ 474441 h 7458372"/>
              <a:gd name="connsiteX40941" fmla="*/ 3077000 w 10505529"/>
              <a:gd name="connsiteY40941" fmla="*/ 477902 h 7458372"/>
              <a:gd name="connsiteX40942" fmla="*/ 3082458 w 10505529"/>
              <a:gd name="connsiteY40942" fmla="*/ 476970 h 7458372"/>
              <a:gd name="connsiteX40943" fmla="*/ 3086185 w 10505529"/>
              <a:gd name="connsiteY40943" fmla="*/ 474574 h 7458372"/>
              <a:gd name="connsiteX40944" fmla="*/ 3088848 w 10505529"/>
              <a:gd name="connsiteY40944" fmla="*/ 470448 h 7458372"/>
              <a:gd name="connsiteX40945" fmla="*/ 3089780 w 10505529"/>
              <a:gd name="connsiteY40945" fmla="*/ 464990 h 7458372"/>
              <a:gd name="connsiteX40946" fmla="*/ 3088848 w 10505529"/>
              <a:gd name="connsiteY40946" fmla="*/ 459798 h 7458372"/>
              <a:gd name="connsiteX40947" fmla="*/ 3086185 w 10505529"/>
              <a:gd name="connsiteY40947" fmla="*/ 455539 h 7458372"/>
              <a:gd name="connsiteX40948" fmla="*/ 3082192 w 10505529"/>
              <a:gd name="connsiteY40948" fmla="*/ 452876 h 7458372"/>
              <a:gd name="connsiteX40949" fmla="*/ 3077133 w 10505529"/>
              <a:gd name="connsiteY40949" fmla="*/ 451945 h 7458372"/>
              <a:gd name="connsiteX40950" fmla="*/ 2859353 w 10505529"/>
              <a:gd name="connsiteY40950" fmla="*/ 451945 h 7458372"/>
              <a:gd name="connsiteX40951" fmla="*/ 2849370 w 10505529"/>
              <a:gd name="connsiteY40951" fmla="*/ 455539 h 7458372"/>
              <a:gd name="connsiteX40952" fmla="*/ 2845776 w 10505529"/>
              <a:gd name="connsiteY40952" fmla="*/ 464990 h 7458372"/>
              <a:gd name="connsiteX40953" fmla="*/ 2849370 w 10505529"/>
              <a:gd name="connsiteY40953" fmla="*/ 474441 h 7458372"/>
              <a:gd name="connsiteX40954" fmla="*/ 2859353 w 10505529"/>
              <a:gd name="connsiteY40954" fmla="*/ 477902 h 7458372"/>
              <a:gd name="connsiteX40955" fmla="*/ 2864678 w 10505529"/>
              <a:gd name="connsiteY40955" fmla="*/ 476970 h 7458372"/>
              <a:gd name="connsiteX40956" fmla="*/ 2868405 w 10505529"/>
              <a:gd name="connsiteY40956" fmla="*/ 474574 h 7458372"/>
              <a:gd name="connsiteX40957" fmla="*/ 2871068 w 10505529"/>
              <a:gd name="connsiteY40957" fmla="*/ 470448 h 7458372"/>
              <a:gd name="connsiteX40958" fmla="*/ 2871999 w 10505529"/>
              <a:gd name="connsiteY40958" fmla="*/ 464990 h 7458372"/>
              <a:gd name="connsiteX40959" fmla="*/ 2871068 w 10505529"/>
              <a:gd name="connsiteY40959" fmla="*/ 459798 h 7458372"/>
              <a:gd name="connsiteX40960" fmla="*/ 2868405 w 10505529"/>
              <a:gd name="connsiteY40960" fmla="*/ 455539 h 7458372"/>
              <a:gd name="connsiteX40961" fmla="*/ 2864413 w 10505529"/>
              <a:gd name="connsiteY40961" fmla="*/ 452876 h 7458372"/>
              <a:gd name="connsiteX40962" fmla="*/ 2859353 w 10505529"/>
              <a:gd name="connsiteY40962" fmla="*/ 451945 h 7458372"/>
              <a:gd name="connsiteX40963" fmla="*/ 3294646 w 10505529"/>
              <a:gd name="connsiteY40963" fmla="*/ 451945 h 7458372"/>
              <a:gd name="connsiteX40964" fmla="*/ 3284663 w 10505529"/>
              <a:gd name="connsiteY40964" fmla="*/ 455539 h 7458372"/>
              <a:gd name="connsiteX40965" fmla="*/ 3281069 w 10505529"/>
              <a:gd name="connsiteY40965" fmla="*/ 464990 h 7458372"/>
              <a:gd name="connsiteX40966" fmla="*/ 3284663 w 10505529"/>
              <a:gd name="connsiteY40966" fmla="*/ 474441 h 7458372"/>
              <a:gd name="connsiteX40967" fmla="*/ 3294646 w 10505529"/>
              <a:gd name="connsiteY40967" fmla="*/ 477902 h 7458372"/>
              <a:gd name="connsiteX40968" fmla="*/ 3299972 w 10505529"/>
              <a:gd name="connsiteY40968" fmla="*/ 476970 h 7458372"/>
              <a:gd name="connsiteX40969" fmla="*/ 3303699 w 10505529"/>
              <a:gd name="connsiteY40969" fmla="*/ 474574 h 7458372"/>
              <a:gd name="connsiteX40970" fmla="*/ 3306362 w 10505529"/>
              <a:gd name="connsiteY40970" fmla="*/ 470448 h 7458372"/>
              <a:gd name="connsiteX40971" fmla="*/ 3307426 w 10505529"/>
              <a:gd name="connsiteY40971" fmla="*/ 464990 h 7458372"/>
              <a:gd name="connsiteX40972" fmla="*/ 3306362 w 10505529"/>
              <a:gd name="connsiteY40972" fmla="*/ 459798 h 7458372"/>
              <a:gd name="connsiteX40973" fmla="*/ 3303699 w 10505529"/>
              <a:gd name="connsiteY40973" fmla="*/ 455539 h 7458372"/>
              <a:gd name="connsiteX40974" fmla="*/ 3299706 w 10505529"/>
              <a:gd name="connsiteY40974" fmla="*/ 452876 h 7458372"/>
              <a:gd name="connsiteX40975" fmla="*/ 3294646 w 10505529"/>
              <a:gd name="connsiteY40975" fmla="*/ 451945 h 7458372"/>
              <a:gd name="connsiteX40976" fmla="*/ 3512160 w 10505529"/>
              <a:gd name="connsiteY40976" fmla="*/ 451945 h 7458372"/>
              <a:gd name="connsiteX40977" fmla="*/ 3502176 w 10505529"/>
              <a:gd name="connsiteY40977" fmla="*/ 455539 h 7458372"/>
              <a:gd name="connsiteX40978" fmla="*/ 3498582 w 10505529"/>
              <a:gd name="connsiteY40978" fmla="*/ 464990 h 7458372"/>
              <a:gd name="connsiteX40979" fmla="*/ 3502176 w 10505529"/>
              <a:gd name="connsiteY40979" fmla="*/ 474441 h 7458372"/>
              <a:gd name="connsiteX40980" fmla="*/ 3512160 w 10505529"/>
              <a:gd name="connsiteY40980" fmla="*/ 477902 h 7458372"/>
              <a:gd name="connsiteX40981" fmla="*/ 3517485 w 10505529"/>
              <a:gd name="connsiteY40981" fmla="*/ 476970 h 7458372"/>
              <a:gd name="connsiteX40982" fmla="*/ 3521212 w 10505529"/>
              <a:gd name="connsiteY40982" fmla="*/ 474574 h 7458372"/>
              <a:gd name="connsiteX40983" fmla="*/ 3523875 w 10505529"/>
              <a:gd name="connsiteY40983" fmla="*/ 470448 h 7458372"/>
              <a:gd name="connsiteX40984" fmla="*/ 3524940 w 10505529"/>
              <a:gd name="connsiteY40984" fmla="*/ 464990 h 7458372"/>
              <a:gd name="connsiteX40985" fmla="*/ 3523875 w 10505529"/>
              <a:gd name="connsiteY40985" fmla="*/ 459798 h 7458372"/>
              <a:gd name="connsiteX40986" fmla="*/ 3521212 w 10505529"/>
              <a:gd name="connsiteY40986" fmla="*/ 455539 h 7458372"/>
              <a:gd name="connsiteX40987" fmla="*/ 3517219 w 10505529"/>
              <a:gd name="connsiteY40987" fmla="*/ 452875 h 7458372"/>
              <a:gd name="connsiteX40988" fmla="*/ 3512160 w 10505529"/>
              <a:gd name="connsiteY40988" fmla="*/ 451945 h 7458372"/>
              <a:gd name="connsiteX40989" fmla="*/ 3729806 w 10505529"/>
              <a:gd name="connsiteY40989" fmla="*/ 451944 h 7458372"/>
              <a:gd name="connsiteX40990" fmla="*/ 3719822 w 10505529"/>
              <a:gd name="connsiteY40990" fmla="*/ 455538 h 7458372"/>
              <a:gd name="connsiteX40991" fmla="*/ 3716228 w 10505529"/>
              <a:gd name="connsiteY40991" fmla="*/ 464990 h 7458372"/>
              <a:gd name="connsiteX40992" fmla="*/ 3719822 w 10505529"/>
              <a:gd name="connsiteY40992" fmla="*/ 474441 h 7458372"/>
              <a:gd name="connsiteX40993" fmla="*/ 3729806 w 10505529"/>
              <a:gd name="connsiteY40993" fmla="*/ 477902 h 7458372"/>
              <a:gd name="connsiteX40994" fmla="*/ 3735131 w 10505529"/>
              <a:gd name="connsiteY40994" fmla="*/ 476970 h 7458372"/>
              <a:gd name="connsiteX40995" fmla="*/ 3738858 w 10505529"/>
              <a:gd name="connsiteY40995" fmla="*/ 474574 h 7458372"/>
              <a:gd name="connsiteX40996" fmla="*/ 3741521 w 10505529"/>
              <a:gd name="connsiteY40996" fmla="*/ 470448 h 7458372"/>
              <a:gd name="connsiteX40997" fmla="*/ 3742586 w 10505529"/>
              <a:gd name="connsiteY40997" fmla="*/ 464990 h 7458372"/>
              <a:gd name="connsiteX40998" fmla="*/ 3741521 w 10505529"/>
              <a:gd name="connsiteY40998" fmla="*/ 459798 h 7458372"/>
              <a:gd name="connsiteX40999" fmla="*/ 3738858 w 10505529"/>
              <a:gd name="connsiteY40999" fmla="*/ 455538 h 7458372"/>
              <a:gd name="connsiteX41000" fmla="*/ 3734866 w 10505529"/>
              <a:gd name="connsiteY41000" fmla="*/ 452875 h 7458372"/>
              <a:gd name="connsiteX41001" fmla="*/ 3729806 w 10505529"/>
              <a:gd name="connsiteY41001" fmla="*/ 451944 h 7458372"/>
              <a:gd name="connsiteX41002" fmla="*/ 3947454 w 10505529"/>
              <a:gd name="connsiteY41002" fmla="*/ 451944 h 7458372"/>
              <a:gd name="connsiteX41003" fmla="*/ 3937471 w 10505529"/>
              <a:gd name="connsiteY41003" fmla="*/ 455538 h 7458372"/>
              <a:gd name="connsiteX41004" fmla="*/ 3933876 w 10505529"/>
              <a:gd name="connsiteY41004" fmla="*/ 464990 h 7458372"/>
              <a:gd name="connsiteX41005" fmla="*/ 3937471 w 10505529"/>
              <a:gd name="connsiteY41005" fmla="*/ 474441 h 7458372"/>
              <a:gd name="connsiteX41006" fmla="*/ 3947454 w 10505529"/>
              <a:gd name="connsiteY41006" fmla="*/ 477902 h 7458372"/>
              <a:gd name="connsiteX41007" fmla="*/ 3952779 w 10505529"/>
              <a:gd name="connsiteY41007" fmla="*/ 476970 h 7458372"/>
              <a:gd name="connsiteX41008" fmla="*/ 3956505 w 10505529"/>
              <a:gd name="connsiteY41008" fmla="*/ 474574 h 7458372"/>
              <a:gd name="connsiteX41009" fmla="*/ 3959169 w 10505529"/>
              <a:gd name="connsiteY41009" fmla="*/ 470448 h 7458372"/>
              <a:gd name="connsiteX41010" fmla="*/ 3960233 w 10505529"/>
              <a:gd name="connsiteY41010" fmla="*/ 464990 h 7458372"/>
              <a:gd name="connsiteX41011" fmla="*/ 3959169 w 10505529"/>
              <a:gd name="connsiteY41011" fmla="*/ 459797 h 7458372"/>
              <a:gd name="connsiteX41012" fmla="*/ 3956505 w 10505529"/>
              <a:gd name="connsiteY41012" fmla="*/ 455538 h 7458372"/>
              <a:gd name="connsiteX41013" fmla="*/ 3952513 w 10505529"/>
              <a:gd name="connsiteY41013" fmla="*/ 452875 h 7458372"/>
              <a:gd name="connsiteX41014" fmla="*/ 3947454 w 10505529"/>
              <a:gd name="connsiteY41014" fmla="*/ 451944 h 7458372"/>
              <a:gd name="connsiteX41015" fmla="*/ 4165068 w 10505529"/>
              <a:gd name="connsiteY41015" fmla="*/ 451944 h 7458372"/>
              <a:gd name="connsiteX41016" fmla="*/ 4155084 w 10505529"/>
              <a:gd name="connsiteY41016" fmla="*/ 455538 h 7458372"/>
              <a:gd name="connsiteX41017" fmla="*/ 4151490 w 10505529"/>
              <a:gd name="connsiteY41017" fmla="*/ 464989 h 7458372"/>
              <a:gd name="connsiteX41018" fmla="*/ 4155084 w 10505529"/>
              <a:gd name="connsiteY41018" fmla="*/ 474441 h 7458372"/>
              <a:gd name="connsiteX41019" fmla="*/ 4165068 w 10505529"/>
              <a:gd name="connsiteY41019" fmla="*/ 477902 h 7458372"/>
              <a:gd name="connsiteX41020" fmla="*/ 4170392 w 10505529"/>
              <a:gd name="connsiteY41020" fmla="*/ 476970 h 7458372"/>
              <a:gd name="connsiteX41021" fmla="*/ 4174119 w 10505529"/>
              <a:gd name="connsiteY41021" fmla="*/ 474574 h 7458372"/>
              <a:gd name="connsiteX41022" fmla="*/ 4176782 w 10505529"/>
              <a:gd name="connsiteY41022" fmla="*/ 470448 h 7458372"/>
              <a:gd name="connsiteX41023" fmla="*/ 4177847 w 10505529"/>
              <a:gd name="connsiteY41023" fmla="*/ 464989 h 7458372"/>
              <a:gd name="connsiteX41024" fmla="*/ 4176782 w 10505529"/>
              <a:gd name="connsiteY41024" fmla="*/ 459797 h 7458372"/>
              <a:gd name="connsiteX41025" fmla="*/ 4174119 w 10505529"/>
              <a:gd name="connsiteY41025" fmla="*/ 455538 h 7458372"/>
              <a:gd name="connsiteX41026" fmla="*/ 4170126 w 10505529"/>
              <a:gd name="connsiteY41026" fmla="*/ 452875 h 7458372"/>
              <a:gd name="connsiteX41027" fmla="*/ 4165068 w 10505529"/>
              <a:gd name="connsiteY41027" fmla="*/ 451944 h 7458372"/>
              <a:gd name="connsiteX41028" fmla="*/ 4382713 w 10505529"/>
              <a:gd name="connsiteY41028" fmla="*/ 451944 h 7458372"/>
              <a:gd name="connsiteX41029" fmla="*/ 4372730 w 10505529"/>
              <a:gd name="connsiteY41029" fmla="*/ 455538 h 7458372"/>
              <a:gd name="connsiteX41030" fmla="*/ 4369136 w 10505529"/>
              <a:gd name="connsiteY41030" fmla="*/ 464989 h 7458372"/>
              <a:gd name="connsiteX41031" fmla="*/ 4372730 w 10505529"/>
              <a:gd name="connsiteY41031" fmla="*/ 474441 h 7458372"/>
              <a:gd name="connsiteX41032" fmla="*/ 4382713 w 10505529"/>
              <a:gd name="connsiteY41032" fmla="*/ 477902 h 7458372"/>
              <a:gd name="connsiteX41033" fmla="*/ 4388038 w 10505529"/>
              <a:gd name="connsiteY41033" fmla="*/ 476970 h 7458372"/>
              <a:gd name="connsiteX41034" fmla="*/ 4391765 w 10505529"/>
              <a:gd name="connsiteY41034" fmla="*/ 474573 h 7458372"/>
              <a:gd name="connsiteX41035" fmla="*/ 4394428 w 10505529"/>
              <a:gd name="connsiteY41035" fmla="*/ 470447 h 7458372"/>
              <a:gd name="connsiteX41036" fmla="*/ 4395493 w 10505529"/>
              <a:gd name="connsiteY41036" fmla="*/ 464989 h 7458372"/>
              <a:gd name="connsiteX41037" fmla="*/ 4394428 w 10505529"/>
              <a:gd name="connsiteY41037" fmla="*/ 459797 h 7458372"/>
              <a:gd name="connsiteX41038" fmla="*/ 4391765 w 10505529"/>
              <a:gd name="connsiteY41038" fmla="*/ 455538 h 7458372"/>
              <a:gd name="connsiteX41039" fmla="*/ 4387772 w 10505529"/>
              <a:gd name="connsiteY41039" fmla="*/ 452875 h 7458372"/>
              <a:gd name="connsiteX41040" fmla="*/ 4382713 w 10505529"/>
              <a:gd name="connsiteY41040" fmla="*/ 451944 h 7458372"/>
              <a:gd name="connsiteX41041" fmla="*/ 4600226 w 10505529"/>
              <a:gd name="connsiteY41041" fmla="*/ 451944 h 7458372"/>
              <a:gd name="connsiteX41042" fmla="*/ 4590242 w 10505529"/>
              <a:gd name="connsiteY41042" fmla="*/ 455538 h 7458372"/>
              <a:gd name="connsiteX41043" fmla="*/ 4586648 w 10505529"/>
              <a:gd name="connsiteY41043" fmla="*/ 464989 h 7458372"/>
              <a:gd name="connsiteX41044" fmla="*/ 4590242 w 10505529"/>
              <a:gd name="connsiteY41044" fmla="*/ 474440 h 7458372"/>
              <a:gd name="connsiteX41045" fmla="*/ 4600226 w 10505529"/>
              <a:gd name="connsiteY41045" fmla="*/ 477901 h 7458372"/>
              <a:gd name="connsiteX41046" fmla="*/ 4605550 w 10505529"/>
              <a:gd name="connsiteY41046" fmla="*/ 476969 h 7458372"/>
              <a:gd name="connsiteX41047" fmla="*/ 4609277 w 10505529"/>
              <a:gd name="connsiteY41047" fmla="*/ 474573 h 7458372"/>
              <a:gd name="connsiteX41048" fmla="*/ 4611940 w 10505529"/>
              <a:gd name="connsiteY41048" fmla="*/ 470447 h 7458372"/>
              <a:gd name="connsiteX41049" fmla="*/ 4613005 w 10505529"/>
              <a:gd name="connsiteY41049" fmla="*/ 464989 h 7458372"/>
              <a:gd name="connsiteX41050" fmla="*/ 4611940 w 10505529"/>
              <a:gd name="connsiteY41050" fmla="*/ 459797 h 7458372"/>
              <a:gd name="connsiteX41051" fmla="*/ 4609277 w 10505529"/>
              <a:gd name="connsiteY41051" fmla="*/ 455538 h 7458372"/>
              <a:gd name="connsiteX41052" fmla="*/ 4605284 w 10505529"/>
              <a:gd name="connsiteY41052" fmla="*/ 452875 h 7458372"/>
              <a:gd name="connsiteX41053" fmla="*/ 4600226 w 10505529"/>
              <a:gd name="connsiteY41053" fmla="*/ 451944 h 7458372"/>
              <a:gd name="connsiteX41054" fmla="*/ 4817870 w 10505529"/>
              <a:gd name="connsiteY41054" fmla="*/ 451944 h 7458372"/>
              <a:gd name="connsiteX41055" fmla="*/ 4807887 w 10505529"/>
              <a:gd name="connsiteY41055" fmla="*/ 455538 h 7458372"/>
              <a:gd name="connsiteX41056" fmla="*/ 4804293 w 10505529"/>
              <a:gd name="connsiteY41056" fmla="*/ 464989 h 7458372"/>
              <a:gd name="connsiteX41057" fmla="*/ 4807887 w 10505529"/>
              <a:gd name="connsiteY41057" fmla="*/ 474440 h 7458372"/>
              <a:gd name="connsiteX41058" fmla="*/ 4817870 w 10505529"/>
              <a:gd name="connsiteY41058" fmla="*/ 477901 h 7458372"/>
              <a:gd name="connsiteX41059" fmla="*/ 4823195 w 10505529"/>
              <a:gd name="connsiteY41059" fmla="*/ 476969 h 7458372"/>
              <a:gd name="connsiteX41060" fmla="*/ 4826922 w 10505529"/>
              <a:gd name="connsiteY41060" fmla="*/ 474573 h 7458372"/>
              <a:gd name="connsiteX41061" fmla="*/ 4829585 w 10505529"/>
              <a:gd name="connsiteY41061" fmla="*/ 470447 h 7458372"/>
              <a:gd name="connsiteX41062" fmla="*/ 4830650 w 10505529"/>
              <a:gd name="connsiteY41062" fmla="*/ 464989 h 7458372"/>
              <a:gd name="connsiteX41063" fmla="*/ 4829585 w 10505529"/>
              <a:gd name="connsiteY41063" fmla="*/ 459797 h 7458372"/>
              <a:gd name="connsiteX41064" fmla="*/ 4826922 w 10505529"/>
              <a:gd name="connsiteY41064" fmla="*/ 455538 h 7458372"/>
              <a:gd name="connsiteX41065" fmla="*/ 4822929 w 10505529"/>
              <a:gd name="connsiteY41065" fmla="*/ 452875 h 7458372"/>
              <a:gd name="connsiteX41066" fmla="*/ 4817870 w 10505529"/>
              <a:gd name="connsiteY41066" fmla="*/ 451944 h 7458372"/>
              <a:gd name="connsiteX41067" fmla="*/ 5035515 w 10505529"/>
              <a:gd name="connsiteY41067" fmla="*/ 451944 h 7458372"/>
              <a:gd name="connsiteX41068" fmla="*/ 5025532 w 10505529"/>
              <a:gd name="connsiteY41068" fmla="*/ 455538 h 7458372"/>
              <a:gd name="connsiteX41069" fmla="*/ 5021938 w 10505529"/>
              <a:gd name="connsiteY41069" fmla="*/ 464989 h 7458372"/>
              <a:gd name="connsiteX41070" fmla="*/ 5025532 w 10505529"/>
              <a:gd name="connsiteY41070" fmla="*/ 474440 h 7458372"/>
              <a:gd name="connsiteX41071" fmla="*/ 5035515 w 10505529"/>
              <a:gd name="connsiteY41071" fmla="*/ 477901 h 7458372"/>
              <a:gd name="connsiteX41072" fmla="*/ 5040840 w 10505529"/>
              <a:gd name="connsiteY41072" fmla="*/ 476969 h 7458372"/>
              <a:gd name="connsiteX41073" fmla="*/ 5044567 w 10505529"/>
              <a:gd name="connsiteY41073" fmla="*/ 474573 h 7458372"/>
              <a:gd name="connsiteX41074" fmla="*/ 5047230 w 10505529"/>
              <a:gd name="connsiteY41074" fmla="*/ 470447 h 7458372"/>
              <a:gd name="connsiteX41075" fmla="*/ 5048294 w 10505529"/>
              <a:gd name="connsiteY41075" fmla="*/ 464989 h 7458372"/>
              <a:gd name="connsiteX41076" fmla="*/ 5047230 w 10505529"/>
              <a:gd name="connsiteY41076" fmla="*/ 459797 h 7458372"/>
              <a:gd name="connsiteX41077" fmla="*/ 5044567 w 10505529"/>
              <a:gd name="connsiteY41077" fmla="*/ 455538 h 7458372"/>
              <a:gd name="connsiteX41078" fmla="*/ 5040574 w 10505529"/>
              <a:gd name="connsiteY41078" fmla="*/ 452875 h 7458372"/>
              <a:gd name="connsiteX41079" fmla="*/ 5035515 w 10505529"/>
              <a:gd name="connsiteY41079" fmla="*/ 451944 h 7458372"/>
              <a:gd name="connsiteX41080" fmla="*/ 5253160 w 10505529"/>
              <a:gd name="connsiteY41080" fmla="*/ 451944 h 7458372"/>
              <a:gd name="connsiteX41081" fmla="*/ 5243177 w 10505529"/>
              <a:gd name="connsiteY41081" fmla="*/ 455538 h 7458372"/>
              <a:gd name="connsiteX41082" fmla="*/ 5239583 w 10505529"/>
              <a:gd name="connsiteY41082" fmla="*/ 464989 h 7458372"/>
              <a:gd name="connsiteX41083" fmla="*/ 5243177 w 10505529"/>
              <a:gd name="connsiteY41083" fmla="*/ 474440 h 7458372"/>
              <a:gd name="connsiteX41084" fmla="*/ 5253160 w 10505529"/>
              <a:gd name="connsiteY41084" fmla="*/ 477901 h 7458372"/>
              <a:gd name="connsiteX41085" fmla="*/ 5258485 w 10505529"/>
              <a:gd name="connsiteY41085" fmla="*/ 476969 h 7458372"/>
              <a:gd name="connsiteX41086" fmla="*/ 5262212 w 10505529"/>
              <a:gd name="connsiteY41086" fmla="*/ 474573 h 7458372"/>
              <a:gd name="connsiteX41087" fmla="*/ 5264875 w 10505529"/>
              <a:gd name="connsiteY41087" fmla="*/ 470447 h 7458372"/>
              <a:gd name="connsiteX41088" fmla="*/ 5265939 w 10505529"/>
              <a:gd name="connsiteY41088" fmla="*/ 464989 h 7458372"/>
              <a:gd name="connsiteX41089" fmla="*/ 5264875 w 10505529"/>
              <a:gd name="connsiteY41089" fmla="*/ 459797 h 7458372"/>
              <a:gd name="connsiteX41090" fmla="*/ 5262212 w 10505529"/>
              <a:gd name="connsiteY41090" fmla="*/ 455538 h 7458372"/>
              <a:gd name="connsiteX41091" fmla="*/ 5258219 w 10505529"/>
              <a:gd name="connsiteY41091" fmla="*/ 452875 h 7458372"/>
              <a:gd name="connsiteX41092" fmla="*/ 5253160 w 10505529"/>
              <a:gd name="connsiteY41092" fmla="*/ 451944 h 7458372"/>
              <a:gd name="connsiteX41093" fmla="*/ 5470806 w 10505529"/>
              <a:gd name="connsiteY41093" fmla="*/ 451944 h 7458372"/>
              <a:gd name="connsiteX41094" fmla="*/ 5460822 w 10505529"/>
              <a:gd name="connsiteY41094" fmla="*/ 455538 h 7458372"/>
              <a:gd name="connsiteX41095" fmla="*/ 5457228 w 10505529"/>
              <a:gd name="connsiteY41095" fmla="*/ 464989 h 7458372"/>
              <a:gd name="connsiteX41096" fmla="*/ 5460822 w 10505529"/>
              <a:gd name="connsiteY41096" fmla="*/ 474440 h 7458372"/>
              <a:gd name="connsiteX41097" fmla="*/ 5470806 w 10505529"/>
              <a:gd name="connsiteY41097" fmla="*/ 477901 h 7458372"/>
              <a:gd name="connsiteX41098" fmla="*/ 5476130 w 10505529"/>
              <a:gd name="connsiteY41098" fmla="*/ 476969 h 7458372"/>
              <a:gd name="connsiteX41099" fmla="*/ 5479857 w 10505529"/>
              <a:gd name="connsiteY41099" fmla="*/ 474573 h 7458372"/>
              <a:gd name="connsiteX41100" fmla="*/ 5482520 w 10505529"/>
              <a:gd name="connsiteY41100" fmla="*/ 470447 h 7458372"/>
              <a:gd name="connsiteX41101" fmla="*/ 5483585 w 10505529"/>
              <a:gd name="connsiteY41101" fmla="*/ 464989 h 7458372"/>
              <a:gd name="connsiteX41102" fmla="*/ 5482520 w 10505529"/>
              <a:gd name="connsiteY41102" fmla="*/ 459797 h 7458372"/>
              <a:gd name="connsiteX41103" fmla="*/ 5479857 w 10505529"/>
              <a:gd name="connsiteY41103" fmla="*/ 455538 h 7458372"/>
              <a:gd name="connsiteX41104" fmla="*/ 5475864 w 10505529"/>
              <a:gd name="connsiteY41104" fmla="*/ 452875 h 7458372"/>
              <a:gd name="connsiteX41105" fmla="*/ 5470806 w 10505529"/>
              <a:gd name="connsiteY41105" fmla="*/ 451944 h 7458372"/>
              <a:gd name="connsiteX41106" fmla="*/ 5688451 w 10505529"/>
              <a:gd name="connsiteY41106" fmla="*/ 451943 h 7458372"/>
              <a:gd name="connsiteX41107" fmla="*/ 5678467 w 10505529"/>
              <a:gd name="connsiteY41107" fmla="*/ 455538 h 7458372"/>
              <a:gd name="connsiteX41108" fmla="*/ 5674873 w 10505529"/>
              <a:gd name="connsiteY41108" fmla="*/ 464989 h 7458372"/>
              <a:gd name="connsiteX41109" fmla="*/ 5678467 w 10505529"/>
              <a:gd name="connsiteY41109" fmla="*/ 474440 h 7458372"/>
              <a:gd name="connsiteX41110" fmla="*/ 5688451 w 10505529"/>
              <a:gd name="connsiteY41110" fmla="*/ 477901 h 7458372"/>
              <a:gd name="connsiteX41111" fmla="*/ 5693775 w 10505529"/>
              <a:gd name="connsiteY41111" fmla="*/ 476969 h 7458372"/>
              <a:gd name="connsiteX41112" fmla="*/ 5697502 w 10505529"/>
              <a:gd name="connsiteY41112" fmla="*/ 474573 h 7458372"/>
              <a:gd name="connsiteX41113" fmla="*/ 5700165 w 10505529"/>
              <a:gd name="connsiteY41113" fmla="*/ 470447 h 7458372"/>
              <a:gd name="connsiteX41114" fmla="*/ 5701230 w 10505529"/>
              <a:gd name="connsiteY41114" fmla="*/ 464989 h 7458372"/>
              <a:gd name="connsiteX41115" fmla="*/ 5700165 w 10505529"/>
              <a:gd name="connsiteY41115" fmla="*/ 459797 h 7458372"/>
              <a:gd name="connsiteX41116" fmla="*/ 5697502 w 10505529"/>
              <a:gd name="connsiteY41116" fmla="*/ 455538 h 7458372"/>
              <a:gd name="connsiteX41117" fmla="*/ 5693509 w 10505529"/>
              <a:gd name="connsiteY41117" fmla="*/ 452874 h 7458372"/>
              <a:gd name="connsiteX41118" fmla="*/ 5688451 w 10505529"/>
              <a:gd name="connsiteY41118" fmla="*/ 451943 h 7458372"/>
              <a:gd name="connsiteX41119" fmla="*/ 5905963 w 10505529"/>
              <a:gd name="connsiteY41119" fmla="*/ 451943 h 7458372"/>
              <a:gd name="connsiteX41120" fmla="*/ 5895979 w 10505529"/>
              <a:gd name="connsiteY41120" fmla="*/ 455537 h 7458372"/>
              <a:gd name="connsiteX41121" fmla="*/ 5892385 w 10505529"/>
              <a:gd name="connsiteY41121" fmla="*/ 464989 h 7458372"/>
              <a:gd name="connsiteX41122" fmla="*/ 5895979 w 10505529"/>
              <a:gd name="connsiteY41122" fmla="*/ 474440 h 7458372"/>
              <a:gd name="connsiteX41123" fmla="*/ 5905963 w 10505529"/>
              <a:gd name="connsiteY41123" fmla="*/ 477901 h 7458372"/>
              <a:gd name="connsiteX41124" fmla="*/ 5911287 w 10505529"/>
              <a:gd name="connsiteY41124" fmla="*/ 476969 h 7458372"/>
              <a:gd name="connsiteX41125" fmla="*/ 5915014 w 10505529"/>
              <a:gd name="connsiteY41125" fmla="*/ 474573 h 7458372"/>
              <a:gd name="connsiteX41126" fmla="*/ 5917677 w 10505529"/>
              <a:gd name="connsiteY41126" fmla="*/ 470447 h 7458372"/>
              <a:gd name="connsiteX41127" fmla="*/ 5918742 w 10505529"/>
              <a:gd name="connsiteY41127" fmla="*/ 464989 h 7458372"/>
              <a:gd name="connsiteX41128" fmla="*/ 5917677 w 10505529"/>
              <a:gd name="connsiteY41128" fmla="*/ 459796 h 7458372"/>
              <a:gd name="connsiteX41129" fmla="*/ 5915014 w 10505529"/>
              <a:gd name="connsiteY41129" fmla="*/ 455537 h 7458372"/>
              <a:gd name="connsiteX41130" fmla="*/ 5911021 w 10505529"/>
              <a:gd name="connsiteY41130" fmla="*/ 452874 h 7458372"/>
              <a:gd name="connsiteX41131" fmla="*/ 5905963 w 10505529"/>
              <a:gd name="connsiteY41131" fmla="*/ 451943 h 7458372"/>
              <a:gd name="connsiteX41132" fmla="*/ 6123608 w 10505529"/>
              <a:gd name="connsiteY41132" fmla="*/ 451943 h 7458372"/>
              <a:gd name="connsiteX41133" fmla="*/ 6113624 w 10505529"/>
              <a:gd name="connsiteY41133" fmla="*/ 455537 h 7458372"/>
              <a:gd name="connsiteX41134" fmla="*/ 6110030 w 10505529"/>
              <a:gd name="connsiteY41134" fmla="*/ 464988 h 7458372"/>
              <a:gd name="connsiteX41135" fmla="*/ 6113624 w 10505529"/>
              <a:gd name="connsiteY41135" fmla="*/ 474440 h 7458372"/>
              <a:gd name="connsiteX41136" fmla="*/ 6123608 w 10505529"/>
              <a:gd name="connsiteY41136" fmla="*/ 477901 h 7458372"/>
              <a:gd name="connsiteX41137" fmla="*/ 6128932 w 10505529"/>
              <a:gd name="connsiteY41137" fmla="*/ 476969 h 7458372"/>
              <a:gd name="connsiteX41138" fmla="*/ 6132659 w 10505529"/>
              <a:gd name="connsiteY41138" fmla="*/ 474573 h 7458372"/>
              <a:gd name="connsiteX41139" fmla="*/ 6135322 w 10505529"/>
              <a:gd name="connsiteY41139" fmla="*/ 470447 h 7458372"/>
              <a:gd name="connsiteX41140" fmla="*/ 6136387 w 10505529"/>
              <a:gd name="connsiteY41140" fmla="*/ 464988 h 7458372"/>
              <a:gd name="connsiteX41141" fmla="*/ 6135322 w 10505529"/>
              <a:gd name="connsiteY41141" fmla="*/ 459796 h 7458372"/>
              <a:gd name="connsiteX41142" fmla="*/ 6132659 w 10505529"/>
              <a:gd name="connsiteY41142" fmla="*/ 455537 h 7458372"/>
              <a:gd name="connsiteX41143" fmla="*/ 6128666 w 10505529"/>
              <a:gd name="connsiteY41143" fmla="*/ 452874 h 7458372"/>
              <a:gd name="connsiteX41144" fmla="*/ 6123608 w 10505529"/>
              <a:gd name="connsiteY41144" fmla="*/ 451943 h 7458372"/>
              <a:gd name="connsiteX41145" fmla="*/ 6341253 w 10505529"/>
              <a:gd name="connsiteY41145" fmla="*/ 451943 h 7458372"/>
              <a:gd name="connsiteX41146" fmla="*/ 6331270 w 10505529"/>
              <a:gd name="connsiteY41146" fmla="*/ 455537 h 7458372"/>
              <a:gd name="connsiteX41147" fmla="*/ 6327675 w 10505529"/>
              <a:gd name="connsiteY41147" fmla="*/ 464988 h 7458372"/>
              <a:gd name="connsiteX41148" fmla="*/ 6331270 w 10505529"/>
              <a:gd name="connsiteY41148" fmla="*/ 474440 h 7458372"/>
              <a:gd name="connsiteX41149" fmla="*/ 6341253 w 10505529"/>
              <a:gd name="connsiteY41149" fmla="*/ 477901 h 7458372"/>
              <a:gd name="connsiteX41150" fmla="*/ 6346578 w 10505529"/>
              <a:gd name="connsiteY41150" fmla="*/ 476969 h 7458372"/>
              <a:gd name="connsiteX41151" fmla="*/ 6350305 w 10505529"/>
              <a:gd name="connsiteY41151" fmla="*/ 474573 h 7458372"/>
              <a:gd name="connsiteX41152" fmla="*/ 6352968 w 10505529"/>
              <a:gd name="connsiteY41152" fmla="*/ 470447 h 7458372"/>
              <a:gd name="connsiteX41153" fmla="*/ 6354033 w 10505529"/>
              <a:gd name="connsiteY41153" fmla="*/ 464988 h 7458372"/>
              <a:gd name="connsiteX41154" fmla="*/ 6352968 w 10505529"/>
              <a:gd name="connsiteY41154" fmla="*/ 459796 h 7458372"/>
              <a:gd name="connsiteX41155" fmla="*/ 6350305 w 10505529"/>
              <a:gd name="connsiteY41155" fmla="*/ 455537 h 7458372"/>
              <a:gd name="connsiteX41156" fmla="*/ 6346312 w 10505529"/>
              <a:gd name="connsiteY41156" fmla="*/ 452874 h 7458372"/>
              <a:gd name="connsiteX41157" fmla="*/ 6341253 w 10505529"/>
              <a:gd name="connsiteY41157" fmla="*/ 451943 h 7458372"/>
              <a:gd name="connsiteX41158" fmla="*/ 6558899 w 10505529"/>
              <a:gd name="connsiteY41158" fmla="*/ 451943 h 7458372"/>
              <a:gd name="connsiteX41159" fmla="*/ 6548915 w 10505529"/>
              <a:gd name="connsiteY41159" fmla="*/ 455537 h 7458372"/>
              <a:gd name="connsiteX41160" fmla="*/ 6545321 w 10505529"/>
              <a:gd name="connsiteY41160" fmla="*/ 464988 h 7458372"/>
              <a:gd name="connsiteX41161" fmla="*/ 6548915 w 10505529"/>
              <a:gd name="connsiteY41161" fmla="*/ 474440 h 7458372"/>
              <a:gd name="connsiteX41162" fmla="*/ 6558899 w 10505529"/>
              <a:gd name="connsiteY41162" fmla="*/ 477901 h 7458372"/>
              <a:gd name="connsiteX41163" fmla="*/ 6564223 w 10505529"/>
              <a:gd name="connsiteY41163" fmla="*/ 476968 h 7458372"/>
              <a:gd name="connsiteX41164" fmla="*/ 6567950 w 10505529"/>
              <a:gd name="connsiteY41164" fmla="*/ 474572 h 7458372"/>
              <a:gd name="connsiteX41165" fmla="*/ 6570612 w 10505529"/>
              <a:gd name="connsiteY41165" fmla="*/ 470446 h 7458372"/>
              <a:gd name="connsiteX41166" fmla="*/ 6571677 w 10505529"/>
              <a:gd name="connsiteY41166" fmla="*/ 464988 h 7458372"/>
              <a:gd name="connsiteX41167" fmla="*/ 6570612 w 10505529"/>
              <a:gd name="connsiteY41167" fmla="*/ 459796 h 7458372"/>
              <a:gd name="connsiteX41168" fmla="*/ 6567950 w 10505529"/>
              <a:gd name="connsiteY41168" fmla="*/ 455537 h 7458372"/>
              <a:gd name="connsiteX41169" fmla="*/ 6563956 w 10505529"/>
              <a:gd name="connsiteY41169" fmla="*/ 452874 h 7458372"/>
              <a:gd name="connsiteX41170" fmla="*/ 6558899 w 10505529"/>
              <a:gd name="connsiteY41170" fmla="*/ 451943 h 7458372"/>
              <a:gd name="connsiteX41171" fmla="*/ 6776544 w 10505529"/>
              <a:gd name="connsiteY41171" fmla="*/ 451943 h 7458372"/>
              <a:gd name="connsiteX41172" fmla="*/ 6766560 w 10505529"/>
              <a:gd name="connsiteY41172" fmla="*/ 455537 h 7458372"/>
              <a:gd name="connsiteX41173" fmla="*/ 6762966 w 10505529"/>
              <a:gd name="connsiteY41173" fmla="*/ 464988 h 7458372"/>
              <a:gd name="connsiteX41174" fmla="*/ 6766560 w 10505529"/>
              <a:gd name="connsiteY41174" fmla="*/ 474439 h 7458372"/>
              <a:gd name="connsiteX41175" fmla="*/ 6776544 w 10505529"/>
              <a:gd name="connsiteY41175" fmla="*/ 477900 h 7458372"/>
              <a:gd name="connsiteX41176" fmla="*/ 6781869 w 10505529"/>
              <a:gd name="connsiteY41176" fmla="*/ 476968 h 7458372"/>
              <a:gd name="connsiteX41177" fmla="*/ 6785595 w 10505529"/>
              <a:gd name="connsiteY41177" fmla="*/ 474572 h 7458372"/>
              <a:gd name="connsiteX41178" fmla="*/ 6788258 w 10505529"/>
              <a:gd name="connsiteY41178" fmla="*/ 470446 h 7458372"/>
              <a:gd name="connsiteX41179" fmla="*/ 6789323 w 10505529"/>
              <a:gd name="connsiteY41179" fmla="*/ 464988 h 7458372"/>
              <a:gd name="connsiteX41180" fmla="*/ 6788258 w 10505529"/>
              <a:gd name="connsiteY41180" fmla="*/ 459796 h 7458372"/>
              <a:gd name="connsiteX41181" fmla="*/ 6785595 w 10505529"/>
              <a:gd name="connsiteY41181" fmla="*/ 455537 h 7458372"/>
              <a:gd name="connsiteX41182" fmla="*/ 6781602 w 10505529"/>
              <a:gd name="connsiteY41182" fmla="*/ 452874 h 7458372"/>
              <a:gd name="connsiteX41183" fmla="*/ 6776544 w 10505529"/>
              <a:gd name="connsiteY41183" fmla="*/ 451943 h 7458372"/>
              <a:gd name="connsiteX41184" fmla="*/ 6994056 w 10505529"/>
              <a:gd name="connsiteY41184" fmla="*/ 451943 h 7458372"/>
              <a:gd name="connsiteX41185" fmla="*/ 6984072 w 10505529"/>
              <a:gd name="connsiteY41185" fmla="*/ 455537 h 7458372"/>
              <a:gd name="connsiteX41186" fmla="*/ 6980478 w 10505529"/>
              <a:gd name="connsiteY41186" fmla="*/ 464988 h 7458372"/>
              <a:gd name="connsiteX41187" fmla="*/ 6984072 w 10505529"/>
              <a:gd name="connsiteY41187" fmla="*/ 474439 h 7458372"/>
              <a:gd name="connsiteX41188" fmla="*/ 6994056 w 10505529"/>
              <a:gd name="connsiteY41188" fmla="*/ 477900 h 7458372"/>
              <a:gd name="connsiteX41189" fmla="*/ 6999380 w 10505529"/>
              <a:gd name="connsiteY41189" fmla="*/ 476968 h 7458372"/>
              <a:gd name="connsiteX41190" fmla="*/ 7003107 w 10505529"/>
              <a:gd name="connsiteY41190" fmla="*/ 474572 h 7458372"/>
              <a:gd name="connsiteX41191" fmla="*/ 7005769 w 10505529"/>
              <a:gd name="connsiteY41191" fmla="*/ 470446 h 7458372"/>
              <a:gd name="connsiteX41192" fmla="*/ 7006834 w 10505529"/>
              <a:gd name="connsiteY41192" fmla="*/ 464988 h 7458372"/>
              <a:gd name="connsiteX41193" fmla="*/ 7005769 w 10505529"/>
              <a:gd name="connsiteY41193" fmla="*/ 459796 h 7458372"/>
              <a:gd name="connsiteX41194" fmla="*/ 7003107 w 10505529"/>
              <a:gd name="connsiteY41194" fmla="*/ 455537 h 7458372"/>
              <a:gd name="connsiteX41195" fmla="*/ 6999113 w 10505529"/>
              <a:gd name="connsiteY41195" fmla="*/ 452874 h 7458372"/>
              <a:gd name="connsiteX41196" fmla="*/ 6994056 w 10505529"/>
              <a:gd name="connsiteY41196" fmla="*/ 451943 h 7458372"/>
              <a:gd name="connsiteX41197" fmla="*/ 7211701 w 10505529"/>
              <a:gd name="connsiteY41197" fmla="*/ 451943 h 7458372"/>
              <a:gd name="connsiteX41198" fmla="*/ 7201717 w 10505529"/>
              <a:gd name="connsiteY41198" fmla="*/ 455537 h 7458372"/>
              <a:gd name="connsiteX41199" fmla="*/ 7198123 w 10505529"/>
              <a:gd name="connsiteY41199" fmla="*/ 464988 h 7458372"/>
              <a:gd name="connsiteX41200" fmla="*/ 7201717 w 10505529"/>
              <a:gd name="connsiteY41200" fmla="*/ 474439 h 7458372"/>
              <a:gd name="connsiteX41201" fmla="*/ 7211701 w 10505529"/>
              <a:gd name="connsiteY41201" fmla="*/ 477900 h 7458372"/>
              <a:gd name="connsiteX41202" fmla="*/ 7217026 w 10505529"/>
              <a:gd name="connsiteY41202" fmla="*/ 476968 h 7458372"/>
              <a:gd name="connsiteX41203" fmla="*/ 7220752 w 10505529"/>
              <a:gd name="connsiteY41203" fmla="*/ 474572 h 7458372"/>
              <a:gd name="connsiteX41204" fmla="*/ 7223415 w 10505529"/>
              <a:gd name="connsiteY41204" fmla="*/ 470446 h 7458372"/>
              <a:gd name="connsiteX41205" fmla="*/ 7224480 w 10505529"/>
              <a:gd name="connsiteY41205" fmla="*/ 464988 h 7458372"/>
              <a:gd name="connsiteX41206" fmla="*/ 7223415 w 10505529"/>
              <a:gd name="connsiteY41206" fmla="*/ 459796 h 7458372"/>
              <a:gd name="connsiteX41207" fmla="*/ 7220752 w 10505529"/>
              <a:gd name="connsiteY41207" fmla="*/ 455537 h 7458372"/>
              <a:gd name="connsiteX41208" fmla="*/ 7216759 w 10505529"/>
              <a:gd name="connsiteY41208" fmla="*/ 452874 h 7458372"/>
              <a:gd name="connsiteX41209" fmla="*/ 7211701 w 10505529"/>
              <a:gd name="connsiteY41209" fmla="*/ 451943 h 7458372"/>
              <a:gd name="connsiteX41210" fmla="*/ 7429345 w 10505529"/>
              <a:gd name="connsiteY41210" fmla="*/ 451943 h 7458372"/>
              <a:gd name="connsiteX41211" fmla="*/ 7419361 w 10505529"/>
              <a:gd name="connsiteY41211" fmla="*/ 455537 h 7458372"/>
              <a:gd name="connsiteX41212" fmla="*/ 7415768 w 10505529"/>
              <a:gd name="connsiteY41212" fmla="*/ 464988 h 7458372"/>
              <a:gd name="connsiteX41213" fmla="*/ 7419361 w 10505529"/>
              <a:gd name="connsiteY41213" fmla="*/ 474439 h 7458372"/>
              <a:gd name="connsiteX41214" fmla="*/ 7429345 w 10505529"/>
              <a:gd name="connsiteY41214" fmla="*/ 477900 h 7458372"/>
              <a:gd name="connsiteX41215" fmla="*/ 7434670 w 10505529"/>
              <a:gd name="connsiteY41215" fmla="*/ 476968 h 7458372"/>
              <a:gd name="connsiteX41216" fmla="*/ 7438397 w 10505529"/>
              <a:gd name="connsiteY41216" fmla="*/ 474572 h 7458372"/>
              <a:gd name="connsiteX41217" fmla="*/ 7441059 w 10505529"/>
              <a:gd name="connsiteY41217" fmla="*/ 470446 h 7458372"/>
              <a:gd name="connsiteX41218" fmla="*/ 7442124 w 10505529"/>
              <a:gd name="connsiteY41218" fmla="*/ 464988 h 7458372"/>
              <a:gd name="connsiteX41219" fmla="*/ 7441059 w 10505529"/>
              <a:gd name="connsiteY41219" fmla="*/ 459796 h 7458372"/>
              <a:gd name="connsiteX41220" fmla="*/ 7438397 w 10505529"/>
              <a:gd name="connsiteY41220" fmla="*/ 455537 h 7458372"/>
              <a:gd name="connsiteX41221" fmla="*/ 7434403 w 10505529"/>
              <a:gd name="connsiteY41221" fmla="*/ 452874 h 7458372"/>
              <a:gd name="connsiteX41222" fmla="*/ 7429345 w 10505529"/>
              <a:gd name="connsiteY41222" fmla="*/ 451943 h 7458372"/>
              <a:gd name="connsiteX41223" fmla="*/ 7646991 w 10505529"/>
              <a:gd name="connsiteY41223" fmla="*/ 451942 h 7458372"/>
              <a:gd name="connsiteX41224" fmla="*/ 7637007 w 10505529"/>
              <a:gd name="connsiteY41224" fmla="*/ 455537 h 7458372"/>
              <a:gd name="connsiteX41225" fmla="*/ 7633413 w 10505529"/>
              <a:gd name="connsiteY41225" fmla="*/ 464988 h 7458372"/>
              <a:gd name="connsiteX41226" fmla="*/ 7637007 w 10505529"/>
              <a:gd name="connsiteY41226" fmla="*/ 474439 h 7458372"/>
              <a:gd name="connsiteX41227" fmla="*/ 7646991 w 10505529"/>
              <a:gd name="connsiteY41227" fmla="*/ 477900 h 7458372"/>
              <a:gd name="connsiteX41228" fmla="*/ 7652315 w 10505529"/>
              <a:gd name="connsiteY41228" fmla="*/ 476968 h 7458372"/>
              <a:gd name="connsiteX41229" fmla="*/ 7656042 w 10505529"/>
              <a:gd name="connsiteY41229" fmla="*/ 474572 h 7458372"/>
              <a:gd name="connsiteX41230" fmla="*/ 7658705 w 10505529"/>
              <a:gd name="connsiteY41230" fmla="*/ 470446 h 7458372"/>
              <a:gd name="connsiteX41231" fmla="*/ 7659769 w 10505529"/>
              <a:gd name="connsiteY41231" fmla="*/ 464988 h 7458372"/>
              <a:gd name="connsiteX41232" fmla="*/ 7658705 w 10505529"/>
              <a:gd name="connsiteY41232" fmla="*/ 459796 h 7458372"/>
              <a:gd name="connsiteX41233" fmla="*/ 7656042 w 10505529"/>
              <a:gd name="connsiteY41233" fmla="*/ 455537 h 7458372"/>
              <a:gd name="connsiteX41234" fmla="*/ 7652049 w 10505529"/>
              <a:gd name="connsiteY41234" fmla="*/ 452873 h 7458372"/>
              <a:gd name="connsiteX41235" fmla="*/ 7646991 w 10505529"/>
              <a:gd name="connsiteY41235" fmla="*/ 451942 h 7458372"/>
              <a:gd name="connsiteX41236" fmla="*/ 7864636 w 10505529"/>
              <a:gd name="connsiteY41236" fmla="*/ 451942 h 7458372"/>
              <a:gd name="connsiteX41237" fmla="*/ 7854652 w 10505529"/>
              <a:gd name="connsiteY41237" fmla="*/ 455536 h 7458372"/>
              <a:gd name="connsiteX41238" fmla="*/ 7851058 w 10505529"/>
              <a:gd name="connsiteY41238" fmla="*/ 464988 h 7458372"/>
              <a:gd name="connsiteX41239" fmla="*/ 7854652 w 10505529"/>
              <a:gd name="connsiteY41239" fmla="*/ 474439 h 7458372"/>
              <a:gd name="connsiteX41240" fmla="*/ 7864636 w 10505529"/>
              <a:gd name="connsiteY41240" fmla="*/ 477900 h 7458372"/>
              <a:gd name="connsiteX41241" fmla="*/ 7869961 w 10505529"/>
              <a:gd name="connsiteY41241" fmla="*/ 476968 h 7458372"/>
              <a:gd name="connsiteX41242" fmla="*/ 7873687 w 10505529"/>
              <a:gd name="connsiteY41242" fmla="*/ 474572 h 7458372"/>
              <a:gd name="connsiteX41243" fmla="*/ 7876350 w 10505529"/>
              <a:gd name="connsiteY41243" fmla="*/ 470446 h 7458372"/>
              <a:gd name="connsiteX41244" fmla="*/ 7877282 w 10505529"/>
              <a:gd name="connsiteY41244" fmla="*/ 464988 h 7458372"/>
              <a:gd name="connsiteX41245" fmla="*/ 7876350 w 10505529"/>
              <a:gd name="connsiteY41245" fmla="*/ 459796 h 7458372"/>
              <a:gd name="connsiteX41246" fmla="*/ 7873687 w 10505529"/>
              <a:gd name="connsiteY41246" fmla="*/ 455536 h 7458372"/>
              <a:gd name="connsiteX41247" fmla="*/ 7869694 w 10505529"/>
              <a:gd name="connsiteY41247" fmla="*/ 452873 h 7458372"/>
              <a:gd name="connsiteX41248" fmla="*/ 7864636 w 10505529"/>
              <a:gd name="connsiteY41248" fmla="*/ 451942 h 7458372"/>
              <a:gd name="connsiteX41249" fmla="*/ 8082281 w 10505529"/>
              <a:gd name="connsiteY41249" fmla="*/ 451942 h 7458372"/>
              <a:gd name="connsiteX41250" fmla="*/ 8072297 w 10505529"/>
              <a:gd name="connsiteY41250" fmla="*/ 455536 h 7458372"/>
              <a:gd name="connsiteX41251" fmla="*/ 8068703 w 10505529"/>
              <a:gd name="connsiteY41251" fmla="*/ 464988 h 7458372"/>
              <a:gd name="connsiteX41252" fmla="*/ 8072297 w 10505529"/>
              <a:gd name="connsiteY41252" fmla="*/ 474439 h 7458372"/>
              <a:gd name="connsiteX41253" fmla="*/ 8082281 w 10505529"/>
              <a:gd name="connsiteY41253" fmla="*/ 477900 h 7458372"/>
              <a:gd name="connsiteX41254" fmla="*/ 8087605 w 10505529"/>
              <a:gd name="connsiteY41254" fmla="*/ 476968 h 7458372"/>
              <a:gd name="connsiteX41255" fmla="*/ 8091332 w 10505529"/>
              <a:gd name="connsiteY41255" fmla="*/ 474572 h 7458372"/>
              <a:gd name="connsiteX41256" fmla="*/ 8093994 w 10505529"/>
              <a:gd name="connsiteY41256" fmla="*/ 470446 h 7458372"/>
              <a:gd name="connsiteX41257" fmla="*/ 8094926 w 10505529"/>
              <a:gd name="connsiteY41257" fmla="*/ 464988 h 7458372"/>
              <a:gd name="connsiteX41258" fmla="*/ 8093994 w 10505529"/>
              <a:gd name="connsiteY41258" fmla="*/ 459795 h 7458372"/>
              <a:gd name="connsiteX41259" fmla="*/ 8091332 w 10505529"/>
              <a:gd name="connsiteY41259" fmla="*/ 455536 h 7458372"/>
              <a:gd name="connsiteX41260" fmla="*/ 8087338 w 10505529"/>
              <a:gd name="connsiteY41260" fmla="*/ 452873 h 7458372"/>
              <a:gd name="connsiteX41261" fmla="*/ 8082281 w 10505529"/>
              <a:gd name="connsiteY41261" fmla="*/ 451942 h 7458372"/>
              <a:gd name="connsiteX41262" fmla="*/ 8299793 w 10505529"/>
              <a:gd name="connsiteY41262" fmla="*/ 451942 h 7458372"/>
              <a:gd name="connsiteX41263" fmla="*/ 8289809 w 10505529"/>
              <a:gd name="connsiteY41263" fmla="*/ 455536 h 7458372"/>
              <a:gd name="connsiteX41264" fmla="*/ 8286215 w 10505529"/>
              <a:gd name="connsiteY41264" fmla="*/ 464987 h 7458372"/>
              <a:gd name="connsiteX41265" fmla="*/ 8289809 w 10505529"/>
              <a:gd name="connsiteY41265" fmla="*/ 474439 h 7458372"/>
              <a:gd name="connsiteX41266" fmla="*/ 8299793 w 10505529"/>
              <a:gd name="connsiteY41266" fmla="*/ 477900 h 7458372"/>
              <a:gd name="connsiteX41267" fmla="*/ 8305118 w 10505529"/>
              <a:gd name="connsiteY41267" fmla="*/ 476968 h 7458372"/>
              <a:gd name="connsiteX41268" fmla="*/ 8308844 w 10505529"/>
              <a:gd name="connsiteY41268" fmla="*/ 474572 h 7458372"/>
              <a:gd name="connsiteX41269" fmla="*/ 8311507 w 10505529"/>
              <a:gd name="connsiteY41269" fmla="*/ 470446 h 7458372"/>
              <a:gd name="connsiteX41270" fmla="*/ 8312439 w 10505529"/>
              <a:gd name="connsiteY41270" fmla="*/ 464987 h 7458372"/>
              <a:gd name="connsiteX41271" fmla="*/ 8311507 w 10505529"/>
              <a:gd name="connsiteY41271" fmla="*/ 459795 h 7458372"/>
              <a:gd name="connsiteX41272" fmla="*/ 8308844 w 10505529"/>
              <a:gd name="connsiteY41272" fmla="*/ 455536 h 7458372"/>
              <a:gd name="connsiteX41273" fmla="*/ 8304851 w 10505529"/>
              <a:gd name="connsiteY41273" fmla="*/ 452873 h 7458372"/>
              <a:gd name="connsiteX41274" fmla="*/ 8299793 w 10505529"/>
              <a:gd name="connsiteY41274" fmla="*/ 451942 h 7458372"/>
              <a:gd name="connsiteX41275" fmla="*/ 8517438 w 10505529"/>
              <a:gd name="connsiteY41275" fmla="*/ 451942 h 7458372"/>
              <a:gd name="connsiteX41276" fmla="*/ 8507453 w 10505529"/>
              <a:gd name="connsiteY41276" fmla="*/ 455536 h 7458372"/>
              <a:gd name="connsiteX41277" fmla="*/ 8503860 w 10505529"/>
              <a:gd name="connsiteY41277" fmla="*/ 464987 h 7458372"/>
              <a:gd name="connsiteX41278" fmla="*/ 8507453 w 10505529"/>
              <a:gd name="connsiteY41278" fmla="*/ 474439 h 7458372"/>
              <a:gd name="connsiteX41279" fmla="*/ 8517438 w 10505529"/>
              <a:gd name="connsiteY41279" fmla="*/ 477900 h 7458372"/>
              <a:gd name="connsiteX41280" fmla="*/ 8522763 w 10505529"/>
              <a:gd name="connsiteY41280" fmla="*/ 476967 h 7458372"/>
              <a:gd name="connsiteX41281" fmla="*/ 8526490 w 10505529"/>
              <a:gd name="connsiteY41281" fmla="*/ 474572 h 7458372"/>
              <a:gd name="connsiteX41282" fmla="*/ 8529152 w 10505529"/>
              <a:gd name="connsiteY41282" fmla="*/ 470445 h 7458372"/>
              <a:gd name="connsiteX41283" fmla="*/ 8530084 w 10505529"/>
              <a:gd name="connsiteY41283" fmla="*/ 464987 h 7458372"/>
              <a:gd name="connsiteX41284" fmla="*/ 8529152 w 10505529"/>
              <a:gd name="connsiteY41284" fmla="*/ 459795 h 7458372"/>
              <a:gd name="connsiteX41285" fmla="*/ 8526490 w 10505529"/>
              <a:gd name="connsiteY41285" fmla="*/ 455536 h 7458372"/>
              <a:gd name="connsiteX41286" fmla="*/ 8522496 w 10505529"/>
              <a:gd name="connsiteY41286" fmla="*/ 452873 h 7458372"/>
              <a:gd name="connsiteX41287" fmla="*/ 8517438 w 10505529"/>
              <a:gd name="connsiteY41287" fmla="*/ 451942 h 7458372"/>
              <a:gd name="connsiteX41288" fmla="*/ 8735083 w 10505529"/>
              <a:gd name="connsiteY41288" fmla="*/ 451942 h 7458372"/>
              <a:gd name="connsiteX41289" fmla="*/ 8725098 w 10505529"/>
              <a:gd name="connsiteY41289" fmla="*/ 455536 h 7458372"/>
              <a:gd name="connsiteX41290" fmla="*/ 8721504 w 10505529"/>
              <a:gd name="connsiteY41290" fmla="*/ 464987 h 7458372"/>
              <a:gd name="connsiteX41291" fmla="*/ 8725098 w 10505529"/>
              <a:gd name="connsiteY41291" fmla="*/ 474438 h 7458372"/>
              <a:gd name="connsiteX41292" fmla="*/ 8735083 w 10505529"/>
              <a:gd name="connsiteY41292" fmla="*/ 477899 h 7458372"/>
              <a:gd name="connsiteX41293" fmla="*/ 8740407 w 10505529"/>
              <a:gd name="connsiteY41293" fmla="*/ 476967 h 7458372"/>
              <a:gd name="connsiteX41294" fmla="*/ 8744134 w 10505529"/>
              <a:gd name="connsiteY41294" fmla="*/ 474571 h 7458372"/>
              <a:gd name="connsiteX41295" fmla="*/ 8746797 w 10505529"/>
              <a:gd name="connsiteY41295" fmla="*/ 470445 h 7458372"/>
              <a:gd name="connsiteX41296" fmla="*/ 8747862 w 10505529"/>
              <a:gd name="connsiteY41296" fmla="*/ 464987 h 7458372"/>
              <a:gd name="connsiteX41297" fmla="*/ 8746797 w 10505529"/>
              <a:gd name="connsiteY41297" fmla="*/ 459795 h 7458372"/>
              <a:gd name="connsiteX41298" fmla="*/ 8744134 w 10505529"/>
              <a:gd name="connsiteY41298" fmla="*/ 455536 h 7458372"/>
              <a:gd name="connsiteX41299" fmla="*/ 8740141 w 10505529"/>
              <a:gd name="connsiteY41299" fmla="*/ 452873 h 7458372"/>
              <a:gd name="connsiteX41300" fmla="*/ 8735083 w 10505529"/>
              <a:gd name="connsiteY41300" fmla="*/ 451942 h 7458372"/>
              <a:gd name="connsiteX41301" fmla="*/ 9170374 w 10505529"/>
              <a:gd name="connsiteY41301" fmla="*/ 451942 h 7458372"/>
              <a:gd name="connsiteX41302" fmla="*/ 9160389 w 10505529"/>
              <a:gd name="connsiteY41302" fmla="*/ 455536 h 7458372"/>
              <a:gd name="connsiteX41303" fmla="*/ 9156795 w 10505529"/>
              <a:gd name="connsiteY41303" fmla="*/ 464987 h 7458372"/>
              <a:gd name="connsiteX41304" fmla="*/ 9160389 w 10505529"/>
              <a:gd name="connsiteY41304" fmla="*/ 474438 h 7458372"/>
              <a:gd name="connsiteX41305" fmla="*/ 9170374 w 10505529"/>
              <a:gd name="connsiteY41305" fmla="*/ 477899 h 7458372"/>
              <a:gd name="connsiteX41306" fmla="*/ 9175698 w 10505529"/>
              <a:gd name="connsiteY41306" fmla="*/ 476967 h 7458372"/>
              <a:gd name="connsiteX41307" fmla="*/ 9179425 w 10505529"/>
              <a:gd name="connsiteY41307" fmla="*/ 474571 h 7458372"/>
              <a:gd name="connsiteX41308" fmla="*/ 9182088 w 10505529"/>
              <a:gd name="connsiteY41308" fmla="*/ 470445 h 7458372"/>
              <a:gd name="connsiteX41309" fmla="*/ 9183152 w 10505529"/>
              <a:gd name="connsiteY41309" fmla="*/ 464987 h 7458372"/>
              <a:gd name="connsiteX41310" fmla="*/ 9182088 w 10505529"/>
              <a:gd name="connsiteY41310" fmla="*/ 459795 h 7458372"/>
              <a:gd name="connsiteX41311" fmla="*/ 9179425 w 10505529"/>
              <a:gd name="connsiteY41311" fmla="*/ 455536 h 7458372"/>
              <a:gd name="connsiteX41312" fmla="*/ 9175432 w 10505529"/>
              <a:gd name="connsiteY41312" fmla="*/ 452873 h 7458372"/>
              <a:gd name="connsiteX41313" fmla="*/ 9170374 w 10505529"/>
              <a:gd name="connsiteY41313" fmla="*/ 451942 h 7458372"/>
              <a:gd name="connsiteX41314" fmla="*/ 8952728 w 10505529"/>
              <a:gd name="connsiteY41314" fmla="*/ 451942 h 7458372"/>
              <a:gd name="connsiteX41315" fmla="*/ 8942743 w 10505529"/>
              <a:gd name="connsiteY41315" fmla="*/ 455536 h 7458372"/>
              <a:gd name="connsiteX41316" fmla="*/ 8939150 w 10505529"/>
              <a:gd name="connsiteY41316" fmla="*/ 464987 h 7458372"/>
              <a:gd name="connsiteX41317" fmla="*/ 8942743 w 10505529"/>
              <a:gd name="connsiteY41317" fmla="*/ 474438 h 7458372"/>
              <a:gd name="connsiteX41318" fmla="*/ 8952728 w 10505529"/>
              <a:gd name="connsiteY41318" fmla="*/ 477899 h 7458372"/>
              <a:gd name="connsiteX41319" fmla="*/ 8958053 w 10505529"/>
              <a:gd name="connsiteY41319" fmla="*/ 476967 h 7458372"/>
              <a:gd name="connsiteX41320" fmla="*/ 8961780 w 10505529"/>
              <a:gd name="connsiteY41320" fmla="*/ 474571 h 7458372"/>
              <a:gd name="connsiteX41321" fmla="*/ 8964442 w 10505529"/>
              <a:gd name="connsiteY41321" fmla="*/ 470445 h 7458372"/>
              <a:gd name="connsiteX41322" fmla="*/ 8965507 w 10505529"/>
              <a:gd name="connsiteY41322" fmla="*/ 464987 h 7458372"/>
              <a:gd name="connsiteX41323" fmla="*/ 8964442 w 10505529"/>
              <a:gd name="connsiteY41323" fmla="*/ 459795 h 7458372"/>
              <a:gd name="connsiteX41324" fmla="*/ 8961780 w 10505529"/>
              <a:gd name="connsiteY41324" fmla="*/ 455536 h 7458372"/>
              <a:gd name="connsiteX41325" fmla="*/ 8957786 w 10505529"/>
              <a:gd name="connsiteY41325" fmla="*/ 452873 h 7458372"/>
              <a:gd name="connsiteX41326" fmla="*/ 8952728 w 10505529"/>
              <a:gd name="connsiteY41326" fmla="*/ 451942 h 7458372"/>
              <a:gd name="connsiteX41327" fmla="*/ 9605531 w 10505529"/>
              <a:gd name="connsiteY41327" fmla="*/ 451942 h 7458372"/>
              <a:gd name="connsiteX41328" fmla="*/ 9595546 w 10505529"/>
              <a:gd name="connsiteY41328" fmla="*/ 455536 h 7458372"/>
              <a:gd name="connsiteX41329" fmla="*/ 9591952 w 10505529"/>
              <a:gd name="connsiteY41329" fmla="*/ 464987 h 7458372"/>
              <a:gd name="connsiteX41330" fmla="*/ 9595546 w 10505529"/>
              <a:gd name="connsiteY41330" fmla="*/ 474438 h 7458372"/>
              <a:gd name="connsiteX41331" fmla="*/ 9605531 w 10505529"/>
              <a:gd name="connsiteY41331" fmla="*/ 477899 h 7458372"/>
              <a:gd name="connsiteX41332" fmla="*/ 9610855 w 10505529"/>
              <a:gd name="connsiteY41332" fmla="*/ 476967 h 7458372"/>
              <a:gd name="connsiteX41333" fmla="*/ 9614582 w 10505529"/>
              <a:gd name="connsiteY41333" fmla="*/ 474571 h 7458372"/>
              <a:gd name="connsiteX41334" fmla="*/ 9617245 w 10505529"/>
              <a:gd name="connsiteY41334" fmla="*/ 470445 h 7458372"/>
              <a:gd name="connsiteX41335" fmla="*/ 9618309 w 10505529"/>
              <a:gd name="connsiteY41335" fmla="*/ 464987 h 7458372"/>
              <a:gd name="connsiteX41336" fmla="*/ 9617245 w 10505529"/>
              <a:gd name="connsiteY41336" fmla="*/ 459795 h 7458372"/>
              <a:gd name="connsiteX41337" fmla="*/ 9614582 w 10505529"/>
              <a:gd name="connsiteY41337" fmla="*/ 455536 h 7458372"/>
              <a:gd name="connsiteX41338" fmla="*/ 9610589 w 10505529"/>
              <a:gd name="connsiteY41338" fmla="*/ 452873 h 7458372"/>
              <a:gd name="connsiteX41339" fmla="*/ 9605531 w 10505529"/>
              <a:gd name="connsiteY41339" fmla="*/ 451942 h 7458372"/>
              <a:gd name="connsiteX41340" fmla="*/ 9387885 w 10505529"/>
              <a:gd name="connsiteY41340" fmla="*/ 451942 h 7458372"/>
              <a:gd name="connsiteX41341" fmla="*/ 9377900 w 10505529"/>
              <a:gd name="connsiteY41341" fmla="*/ 455536 h 7458372"/>
              <a:gd name="connsiteX41342" fmla="*/ 9374307 w 10505529"/>
              <a:gd name="connsiteY41342" fmla="*/ 464987 h 7458372"/>
              <a:gd name="connsiteX41343" fmla="*/ 9377900 w 10505529"/>
              <a:gd name="connsiteY41343" fmla="*/ 474438 h 7458372"/>
              <a:gd name="connsiteX41344" fmla="*/ 9387885 w 10505529"/>
              <a:gd name="connsiteY41344" fmla="*/ 477899 h 7458372"/>
              <a:gd name="connsiteX41345" fmla="*/ 9393210 w 10505529"/>
              <a:gd name="connsiteY41345" fmla="*/ 476967 h 7458372"/>
              <a:gd name="connsiteX41346" fmla="*/ 9396937 w 10505529"/>
              <a:gd name="connsiteY41346" fmla="*/ 474571 h 7458372"/>
              <a:gd name="connsiteX41347" fmla="*/ 9399599 w 10505529"/>
              <a:gd name="connsiteY41347" fmla="*/ 470445 h 7458372"/>
              <a:gd name="connsiteX41348" fmla="*/ 9400664 w 10505529"/>
              <a:gd name="connsiteY41348" fmla="*/ 464987 h 7458372"/>
              <a:gd name="connsiteX41349" fmla="*/ 9399599 w 10505529"/>
              <a:gd name="connsiteY41349" fmla="*/ 459795 h 7458372"/>
              <a:gd name="connsiteX41350" fmla="*/ 9396937 w 10505529"/>
              <a:gd name="connsiteY41350" fmla="*/ 455536 h 7458372"/>
              <a:gd name="connsiteX41351" fmla="*/ 9392943 w 10505529"/>
              <a:gd name="connsiteY41351" fmla="*/ 452873 h 7458372"/>
              <a:gd name="connsiteX41352" fmla="*/ 9387885 w 10505529"/>
              <a:gd name="connsiteY41352" fmla="*/ 451942 h 7458372"/>
              <a:gd name="connsiteX41353" fmla="*/ 10040820 w 10505529"/>
              <a:gd name="connsiteY41353" fmla="*/ 451941 h 7458372"/>
              <a:gd name="connsiteX41354" fmla="*/ 10030835 w 10505529"/>
              <a:gd name="connsiteY41354" fmla="*/ 455535 h 7458372"/>
              <a:gd name="connsiteX41355" fmla="*/ 10027242 w 10505529"/>
              <a:gd name="connsiteY41355" fmla="*/ 464987 h 7458372"/>
              <a:gd name="connsiteX41356" fmla="*/ 10030835 w 10505529"/>
              <a:gd name="connsiteY41356" fmla="*/ 474438 h 7458372"/>
              <a:gd name="connsiteX41357" fmla="*/ 10040820 w 10505529"/>
              <a:gd name="connsiteY41357" fmla="*/ 477899 h 7458372"/>
              <a:gd name="connsiteX41358" fmla="*/ 10046145 w 10505529"/>
              <a:gd name="connsiteY41358" fmla="*/ 476967 h 7458372"/>
              <a:gd name="connsiteX41359" fmla="*/ 10049872 w 10505529"/>
              <a:gd name="connsiteY41359" fmla="*/ 474571 h 7458372"/>
              <a:gd name="connsiteX41360" fmla="*/ 10052534 w 10505529"/>
              <a:gd name="connsiteY41360" fmla="*/ 470445 h 7458372"/>
              <a:gd name="connsiteX41361" fmla="*/ 10053599 w 10505529"/>
              <a:gd name="connsiteY41361" fmla="*/ 464987 h 7458372"/>
              <a:gd name="connsiteX41362" fmla="*/ 10052534 w 10505529"/>
              <a:gd name="connsiteY41362" fmla="*/ 459795 h 7458372"/>
              <a:gd name="connsiteX41363" fmla="*/ 10049872 w 10505529"/>
              <a:gd name="connsiteY41363" fmla="*/ 455535 h 7458372"/>
              <a:gd name="connsiteX41364" fmla="*/ 10045878 w 10505529"/>
              <a:gd name="connsiteY41364" fmla="*/ 452872 h 7458372"/>
              <a:gd name="connsiteX41365" fmla="*/ 10040820 w 10505529"/>
              <a:gd name="connsiteY41365" fmla="*/ 451941 h 7458372"/>
              <a:gd name="connsiteX41366" fmla="*/ 9823176 w 10505529"/>
              <a:gd name="connsiteY41366" fmla="*/ 451941 h 7458372"/>
              <a:gd name="connsiteX41367" fmla="*/ 9813191 w 10505529"/>
              <a:gd name="connsiteY41367" fmla="*/ 455535 h 7458372"/>
              <a:gd name="connsiteX41368" fmla="*/ 9809597 w 10505529"/>
              <a:gd name="connsiteY41368" fmla="*/ 464987 h 7458372"/>
              <a:gd name="connsiteX41369" fmla="*/ 9813191 w 10505529"/>
              <a:gd name="connsiteY41369" fmla="*/ 474438 h 7458372"/>
              <a:gd name="connsiteX41370" fmla="*/ 9823176 w 10505529"/>
              <a:gd name="connsiteY41370" fmla="*/ 477899 h 7458372"/>
              <a:gd name="connsiteX41371" fmla="*/ 9828501 w 10505529"/>
              <a:gd name="connsiteY41371" fmla="*/ 476967 h 7458372"/>
              <a:gd name="connsiteX41372" fmla="*/ 9832227 w 10505529"/>
              <a:gd name="connsiteY41372" fmla="*/ 474571 h 7458372"/>
              <a:gd name="connsiteX41373" fmla="*/ 9834890 w 10505529"/>
              <a:gd name="connsiteY41373" fmla="*/ 470445 h 7458372"/>
              <a:gd name="connsiteX41374" fmla="*/ 9835955 w 10505529"/>
              <a:gd name="connsiteY41374" fmla="*/ 464987 h 7458372"/>
              <a:gd name="connsiteX41375" fmla="*/ 9834890 w 10505529"/>
              <a:gd name="connsiteY41375" fmla="*/ 459795 h 7458372"/>
              <a:gd name="connsiteX41376" fmla="*/ 9832227 w 10505529"/>
              <a:gd name="connsiteY41376" fmla="*/ 455535 h 7458372"/>
              <a:gd name="connsiteX41377" fmla="*/ 9828234 w 10505529"/>
              <a:gd name="connsiteY41377" fmla="*/ 452872 h 7458372"/>
              <a:gd name="connsiteX41378" fmla="*/ 9823176 w 10505529"/>
              <a:gd name="connsiteY41378" fmla="*/ 451941 h 7458372"/>
              <a:gd name="connsiteX41379" fmla="*/ 10475977 w 10505529"/>
              <a:gd name="connsiteY41379" fmla="*/ 451941 h 7458372"/>
              <a:gd name="connsiteX41380" fmla="*/ 10465992 w 10505529"/>
              <a:gd name="connsiteY41380" fmla="*/ 455535 h 7458372"/>
              <a:gd name="connsiteX41381" fmla="*/ 10462399 w 10505529"/>
              <a:gd name="connsiteY41381" fmla="*/ 464986 h 7458372"/>
              <a:gd name="connsiteX41382" fmla="*/ 10465992 w 10505529"/>
              <a:gd name="connsiteY41382" fmla="*/ 474438 h 7458372"/>
              <a:gd name="connsiteX41383" fmla="*/ 10475977 w 10505529"/>
              <a:gd name="connsiteY41383" fmla="*/ 477899 h 7458372"/>
              <a:gd name="connsiteX41384" fmla="*/ 10481302 w 10505529"/>
              <a:gd name="connsiteY41384" fmla="*/ 476967 h 7458372"/>
              <a:gd name="connsiteX41385" fmla="*/ 10485029 w 10505529"/>
              <a:gd name="connsiteY41385" fmla="*/ 474571 h 7458372"/>
              <a:gd name="connsiteX41386" fmla="*/ 10487691 w 10505529"/>
              <a:gd name="connsiteY41386" fmla="*/ 470444 h 7458372"/>
              <a:gd name="connsiteX41387" fmla="*/ 10488623 w 10505529"/>
              <a:gd name="connsiteY41387" fmla="*/ 464986 h 7458372"/>
              <a:gd name="connsiteX41388" fmla="*/ 10487691 w 10505529"/>
              <a:gd name="connsiteY41388" fmla="*/ 459794 h 7458372"/>
              <a:gd name="connsiteX41389" fmla="*/ 10485029 w 10505529"/>
              <a:gd name="connsiteY41389" fmla="*/ 455535 h 7458372"/>
              <a:gd name="connsiteX41390" fmla="*/ 10481035 w 10505529"/>
              <a:gd name="connsiteY41390" fmla="*/ 452872 h 7458372"/>
              <a:gd name="connsiteX41391" fmla="*/ 10475977 w 10505529"/>
              <a:gd name="connsiteY41391" fmla="*/ 451941 h 7458372"/>
              <a:gd name="connsiteX41392" fmla="*/ 10258466 w 10505529"/>
              <a:gd name="connsiteY41392" fmla="*/ 451941 h 7458372"/>
              <a:gd name="connsiteX41393" fmla="*/ 10248481 w 10505529"/>
              <a:gd name="connsiteY41393" fmla="*/ 455535 h 7458372"/>
              <a:gd name="connsiteX41394" fmla="*/ 10244887 w 10505529"/>
              <a:gd name="connsiteY41394" fmla="*/ 464986 h 7458372"/>
              <a:gd name="connsiteX41395" fmla="*/ 10248481 w 10505529"/>
              <a:gd name="connsiteY41395" fmla="*/ 474438 h 7458372"/>
              <a:gd name="connsiteX41396" fmla="*/ 10258466 w 10505529"/>
              <a:gd name="connsiteY41396" fmla="*/ 477899 h 7458372"/>
              <a:gd name="connsiteX41397" fmla="*/ 10263790 w 10505529"/>
              <a:gd name="connsiteY41397" fmla="*/ 476967 h 7458372"/>
              <a:gd name="connsiteX41398" fmla="*/ 10267517 w 10505529"/>
              <a:gd name="connsiteY41398" fmla="*/ 474571 h 7458372"/>
              <a:gd name="connsiteX41399" fmla="*/ 10270180 w 10505529"/>
              <a:gd name="connsiteY41399" fmla="*/ 470445 h 7458372"/>
              <a:gd name="connsiteX41400" fmla="*/ 10271112 w 10505529"/>
              <a:gd name="connsiteY41400" fmla="*/ 464986 h 7458372"/>
              <a:gd name="connsiteX41401" fmla="*/ 10270180 w 10505529"/>
              <a:gd name="connsiteY41401" fmla="*/ 459794 h 7458372"/>
              <a:gd name="connsiteX41402" fmla="*/ 10267517 w 10505529"/>
              <a:gd name="connsiteY41402" fmla="*/ 455535 h 7458372"/>
              <a:gd name="connsiteX41403" fmla="*/ 10263524 w 10505529"/>
              <a:gd name="connsiteY41403" fmla="*/ 452872 h 7458372"/>
              <a:gd name="connsiteX41404" fmla="*/ 10258466 w 10505529"/>
              <a:gd name="connsiteY41404" fmla="*/ 451941 h 7458372"/>
              <a:gd name="connsiteX41405" fmla="*/ 30232 w 10505529"/>
              <a:gd name="connsiteY41405" fmla="*/ 435306 h 7458372"/>
              <a:gd name="connsiteX41406" fmla="*/ 41947 w 10505529"/>
              <a:gd name="connsiteY41406" fmla="*/ 437968 h 7458372"/>
              <a:gd name="connsiteX41407" fmla="*/ 51266 w 10505529"/>
              <a:gd name="connsiteY41407" fmla="*/ 444358 h 7458372"/>
              <a:gd name="connsiteX41408" fmla="*/ 57389 w 10505529"/>
              <a:gd name="connsiteY41408" fmla="*/ 453676 h 7458372"/>
              <a:gd name="connsiteX41409" fmla="*/ 59652 w 10505529"/>
              <a:gd name="connsiteY41409" fmla="*/ 465124 h 7458372"/>
              <a:gd name="connsiteX41410" fmla="*/ 57389 w 10505529"/>
              <a:gd name="connsiteY41410" fmla="*/ 476839 h 7458372"/>
              <a:gd name="connsiteX41411" fmla="*/ 51266 w 10505529"/>
              <a:gd name="connsiteY41411" fmla="*/ 486157 h 7458372"/>
              <a:gd name="connsiteX41412" fmla="*/ 41947 w 10505529"/>
              <a:gd name="connsiteY41412" fmla="*/ 492414 h 7458372"/>
              <a:gd name="connsiteX41413" fmla="*/ 30232 w 10505529"/>
              <a:gd name="connsiteY41413" fmla="*/ 494677 h 7458372"/>
              <a:gd name="connsiteX41414" fmla="*/ 8401 w 10505529"/>
              <a:gd name="connsiteY41414" fmla="*/ 486157 h 7458372"/>
              <a:gd name="connsiteX41415" fmla="*/ 15 w 10505529"/>
              <a:gd name="connsiteY41415" fmla="*/ 464991 h 7458372"/>
              <a:gd name="connsiteX41416" fmla="*/ 8401 w 10505529"/>
              <a:gd name="connsiteY41416" fmla="*/ 443959 h 7458372"/>
              <a:gd name="connsiteX41417" fmla="*/ 30232 w 10505529"/>
              <a:gd name="connsiteY41417" fmla="*/ 435306 h 7458372"/>
              <a:gd name="connsiteX41418" fmla="*/ 247877 w 10505529"/>
              <a:gd name="connsiteY41418" fmla="*/ 435306 h 7458372"/>
              <a:gd name="connsiteX41419" fmla="*/ 259592 w 10505529"/>
              <a:gd name="connsiteY41419" fmla="*/ 437968 h 7458372"/>
              <a:gd name="connsiteX41420" fmla="*/ 268910 w 10505529"/>
              <a:gd name="connsiteY41420" fmla="*/ 444358 h 7458372"/>
              <a:gd name="connsiteX41421" fmla="*/ 275033 w 10505529"/>
              <a:gd name="connsiteY41421" fmla="*/ 453676 h 7458372"/>
              <a:gd name="connsiteX41422" fmla="*/ 277296 w 10505529"/>
              <a:gd name="connsiteY41422" fmla="*/ 465124 h 7458372"/>
              <a:gd name="connsiteX41423" fmla="*/ 275033 w 10505529"/>
              <a:gd name="connsiteY41423" fmla="*/ 476838 h 7458372"/>
              <a:gd name="connsiteX41424" fmla="*/ 268910 w 10505529"/>
              <a:gd name="connsiteY41424" fmla="*/ 486157 h 7458372"/>
              <a:gd name="connsiteX41425" fmla="*/ 259592 w 10505529"/>
              <a:gd name="connsiteY41425" fmla="*/ 492414 h 7458372"/>
              <a:gd name="connsiteX41426" fmla="*/ 247877 w 10505529"/>
              <a:gd name="connsiteY41426" fmla="*/ 494677 h 7458372"/>
              <a:gd name="connsiteX41427" fmla="*/ 226045 w 10505529"/>
              <a:gd name="connsiteY41427" fmla="*/ 486157 h 7458372"/>
              <a:gd name="connsiteX41428" fmla="*/ 217659 w 10505529"/>
              <a:gd name="connsiteY41428" fmla="*/ 464991 h 7458372"/>
              <a:gd name="connsiteX41429" fmla="*/ 226045 w 10505529"/>
              <a:gd name="connsiteY41429" fmla="*/ 443959 h 7458372"/>
              <a:gd name="connsiteX41430" fmla="*/ 247877 w 10505529"/>
              <a:gd name="connsiteY41430" fmla="*/ 435306 h 7458372"/>
              <a:gd name="connsiteX41431" fmla="*/ 465521 w 10505529"/>
              <a:gd name="connsiteY41431" fmla="*/ 435306 h 7458372"/>
              <a:gd name="connsiteX41432" fmla="*/ 477236 w 10505529"/>
              <a:gd name="connsiteY41432" fmla="*/ 437968 h 7458372"/>
              <a:gd name="connsiteX41433" fmla="*/ 486554 w 10505529"/>
              <a:gd name="connsiteY41433" fmla="*/ 444358 h 7458372"/>
              <a:gd name="connsiteX41434" fmla="*/ 492678 w 10505529"/>
              <a:gd name="connsiteY41434" fmla="*/ 453676 h 7458372"/>
              <a:gd name="connsiteX41435" fmla="*/ 494941 w 10505529"/>
              <a:gd name="connsiteY41435" fmla="*/ 465124 h 7458372"/>
              <a:gd name="connsiteX41436" fmla="*/ 492678 w 10505529"/>
              <a:gd name="connsiteY41436" fmla="*/ 476838 h 7458372"/>
              <a:gd name="connsiteX41437" fmla="*/ 486554 w 10505529"/>
              <a:gd name="connsiteY41437" fmla="*/ 486157 h 7458372"/>
              <a:gd name="connsiteX41438" fmla="*/ 477236 w 10505529"/>
              <a:gd name="connsiteY41438" fmla="*/ 492414 h 7458372"/>
              <a:gd name="connsiteX41439" fmla="*/ 465521 w 10505529"/>
              <a:gd name="connsiteY41439" fmla="*/ 494677 h 7458372"/>
              <a:gd name="connsiteX41440" fmla="*/ 443690 w 10505529"/>
              <a:gd name="connsiteY41440" fmla="*/ 486157 h 7458372"/>
              <a:gd name="connsiteX41441" fmla="*/ 435304 w 10505529"/>
              <a:gd name="connsiteY41441" fmla="*/ 464991 h 7458372"/>
              <a:gd name="connsiteX41442" fmla="*/ 443690 w 10505529"/>
              <a:gd name="connsiteY41442" fmla="*/ 443959 h 7458372"/>
              <a:gd name="connsiteX41443" fmla="*/ 465521 w 10505529"/>
              <a:gd name="connsiteY41443" fmla="*/ 435306 h 7458372"/>
              <a:gd name="connsiteX41444" fmla="*/ 683166 w 10505529"/>
              <a:gd name="connsiteY41444" fmla="*/ 435306 h 7458372"/>
              <a:gd name="connsiteX41445" fmla="*/ 694881 w 10505529"/>
              <a:gd name="connsiteY41445" fmla="*/ 437968 h 7458372"/>
              <a:gd name="connsiteX41446" fmla="*/ 704199 w 10505529"/>
              <a:gd name="connsiteY41446" fmla="*/ 444358 h 7458372"/>
              <a:gd name="connsiteX41447" fmla="*/ 710322 w 10505529"/>
              <a:gd name="connsiteY41447" fmla="*/ 453676 h 7458372"/>
              <a:gd name="connsiteX41448" fmla="*/ 712585 w 10505529"/>
              <a:gd name="connsiteY41448" fmla="*/ 465124 h 7458372"/>
              <a:gd name="connsiteX41449" fmla="*/ 710322 w 10505529"/>
              <a:gd name="connsiteY41449" fmla="*/ 476838 h 7458372"/>
              <a:gd name="connsiteX41450" fmla="*/ 704199 w 10505529"/>
              <a:gd name="connsiteY41450" fmla="*/ 486157 h 7458372"/>
              <a:gd name="connsiteX41451" fmla="*/ 694881 w 10505529"/>
              <a:gd name="connsiteY41451" fmla="*/ 492414 h 7458372"/>
              <a:gd name="connsiteX41452" fmla="*/ 683166 w 10505529"/>
              <a:gd name="connsiteY41452" fmla="*/ 494677 h 7458372"/>
              <a:gd name="connsiteX41453" fmla="*/ 661334 w 10505529"/>
              <a:gd name="connsiteY41453" fmla="*/ 486157 h 7458372"/>
              <a:gd name="connsiteX41454" fmla="*/ 652948 w 10505529"/>
              <a:gd name="connsiteY41454" fmla="*/ 464991 h 7458372"/>
              <a:gd name="connsiteX41455" fmla="*/ 661334 w 10505529"/>
              <a:gd name="connsiteY41455" fmla="*/ 443959 h 7458372"/>
              <a:gd name="connsiteX41456" fmla="*/ 683166 w 10505529"/>
              <a:gd name="connsiteY41456" fmla="*/ 435306 h 7458372"/>
              <a:gd name="connsiteX41457" fmla="*/ 900810 w 10505529"/>
              <a:gd name="connsiteY41457" fmla="*/ 435305 h 7458372"/>
              <a:gd name="connsiteX41458" fmla="*/ 912525 w 10505529"/>
              <a:gd name="connsiteY41458" fmla="*/ 437967 h 7458372"/>
              <a:gd name="connsiteX41459" fmla="*/ 921843 w 10505529"/>
              <a:gd name="connsiteY41459" fmla="*/ 444358 h 7458372"/>
              <a:gd name="connsiteX41460" fmla="*/ 927966 w 10505529"/>
              <a:gd name="connsiteY41460" fmla="*/ 453676 h 7458372"/>
              <a:gd name="connsiteX41461" fmla="*/ 930229 w 10505529"/>
              <a:gd name="connsiteY41461" fmla="*/ 465124 h 7458372"/>
              <a:gd name="connsiteX41462" fmla="*/ 927966 w 10505529"/>
              <a:gd name="connsiteY41462" fmla="*/ 476838 h 7458372"/>
              <a:gd name="connsiteX41463" fmla="*/ 921843 w 10505529"/>
              <a:gd name="connsiteY41463" fmla="*/ 486156 h 7458372"/>
              <a:gd name="connsiteX41464" fmla="*/ 912525 w 10505529"/>
              <a:gd name="connsiteY41464" fmla="*/ 492413 h 7458372"/>
              <a:gd name="connsiteX41465" fmla="*/ 900810 w 10505529"/>
              <a:gd name="connsiteY41465" fmla="*/ 494677 h 7458372"/>
              <a:gd name="connsiteX41466" fmla="*/ 878979 w 10505529"/>
              <a:gd name="connsiteY41466" fmla="*/ 486156 h 7458372"/>
              <a:gd name="connsiteX41467" fmla="*/ 870593 w 10505529"/>
              <a:gd name="connsiteY41467" fmla="*/ 464991 h 7458372"/>
              <a:gd name="connsiteX41468" fmla="*/ 878979 w 10505529"/>
              <a:gd name="connsiteY41468" fmla="*/ 443959 h 7458372"/>
              <a:gd name="connsiteX41469" fmla="*/ 900810 w 10505529"/>
              <a:gd name="connsiteY41469" fmla="*/ 435305 h 7458372"/>
              <a:gd name="connsiteX41470" fmla="*/ 1118322 w 10505529"/>
              <a:gd name="connsiteY41470" fmla="*/ 435305 h 7458372"/>
              <a:gd name="connsiteX41471" fmla="*/ 1130037 w 10505529"/>
              <a:gd name="connsiteY41471" fmla="*/ 437967 h 7458372"/>
              <a:gd name="connsiteX41472" fmla="*/ 1139356 w 10505529"/>
              <a:gd name="connsiteY41472" fmla="*/ 444358 h 7458372"/>
              <a:gd name="connsiteX41473" fmla="*/ 1145478 w 10505529"/>
              <a:gd name="connsiteY41473" fmla="*/ 453676 h 7458372"/>
              <a:gd name="connsiteX41474" fmla="*/ 1147741 w 10505529"/>
              <a:gd name="connsiteY41474" fmla="*/ 465124 h 7458372"/>
              <a:gd name="connsiteX41475" fmla="*/ 1145478 w 10505529"/>
              <a:gd name="connsiteY41475" fmla="*/ 476838 h 7458372"/>
              <a:gd name="connsiteX41476" fmla="*/ 1139356 w 10505529"/>
              <a:gd name="connsiteY41476" fmla="*/ 486156 h 7458372"/>
              <a:gd name="connsiteX41477" fmla="*/ 1130037 w 10505529"/>
              <a:gd name="connsiteY41477" fmla="*/ 492413 h 7458372"/>
              <a:gd name="connsiteX41478" fmla="*/ 1118322 w 10505529"/>
              <a:gd name="connsiteY41478" fmla="*/ 494676 h 7458372"/>
              <a:gd name="connsiteX41479" fmla="*/ 1096490 w 10505529"/>
              <a:gd name="connsiteY41479" fmla="*/ 486156 h 7458372"/>
              <a:gd name="connsiteX41480" fmla="*/ 1088104 w 10505529"/>
              <a:gd name="connsiteY41480" fmla="*/ 464991 h 7458372"/>
              <a:gd name="connsiteX41481" fmla="*/ 1096490 w 10505529"/>
              <a:gd name="connsiteY41481" fmla="*/ 443959 h 7458372"/>
              <a:gd name="connsiteX41482" fmla="*/ 1118322 w 10505529"/>
              <a:gd name="connsiteY41482" fmla="*/ 435305 h 7458372"/>
              <a:gd name="connsiteX41483" fmla="*/ 1335967 w 10505529"/>
              <a:gd name="connsiteY41483" fmla="*/ 435305 h 7458372"/>
              <a:gd name="connsiteX41484" fmla="*/ 1347682 w 10505529"/>
              <a:gd name="connsiteY41484" fmla="*/ 437967 h 7458372"/>
              <a:gd name="connsiteX41485" fmla="*/ 1357001 w 10505529"/>
              <a:gd name="connsiteY41485" fmla="*/ 444357 h 7458372"/>
              <a:gd name="connsiteX41486" fmla="*/ 1363123 w 10505529"/>
              <a:gd name="connsiteY41486" fmla="*/ 453676 h 7458372"/>
              <a:gd name="connsiteX41487" fmla="*/ 1365386 w 10505529"/>
              <a:gd name="connsiteY41487" fmla="*/ 465124 h 7458372"/>
              <a:gd name="connsiteX41488" fmla="*/ 1363123 w 10505529"/>
              <a:gd name="connsiteY41488" fmla="*/ 476838 h 7458372"/>
              <a:gd name="connsiteX41489" fmla="*/ 1357001 w 10505529"/>
              <a:gd name="connsiteY41489" fmla="*/ 486156 h 7458372"/>
              <a:gd name="connsiteX41490" fmla="*/ 1347682 w 10505529"/>
              <a:gd name="connsiteY41490" fmla="*/ 492413 h 7458372"/>
              <a:gd name="connsiteX41491" fmla="*/ 1335967 w 10505529"/>
              <a:gd name="connsiteY41491" fmla="*/ 494676 h 7458372"/>
              <a:gd name="connsiteX41492" fmla="*/ 1314136 w 10505529"/>
              <a:gd name="connsiteY41492" fmla="*/ 486156 h 7458372"/>
              <a:gd name="connsiteX41493" fmla="*/ 1305749 w 10505529"/>
              <a:gd name="connsiteY41493" fmla="*/ 464991 h 7458372"/>
              <a:gd name="connsiteX41494" fmla="*/ 1314136 w 10505529"/>
              <a:gd name="connsiteY41494" fmla="*/ 443958 h 7458372"/>
              <a:gd name="connsiteX41495" fmla="*/ 1335967 w 10505529"/>
              <a:gd name="connsiteY41495" fmla="*/ 435305 h 7458372"/>
              <a:gd name="connsiteX41496" fmla="*/ 1553612 w 10505529"/>
              <a:gd name="connsiteY41496" fmla="*/ 435305 h 7458372"/>
              <a:gd name="connsiteX41497" fmla="*/ 1565327 w 10505529"/>
              <a:gd name="connsiteY41497" fmla="*/ 437967 h 7458372"/>
              <a:gd name="connsiteX41498" fmla="*/ 1574645 w 10505529"/>
              <a:gd name="connsiteY41498" fmla="*/ 444357 h 7458372"/>
              <a:gd name="connsiteX41499" fmla="*/ 1580768 w 10505529"/>
              <a:gd name="connsiteY41499" fmla="*/ 453676 h 7458372"/>
              <a:gd name="connsiteX41500" fmla="*/ 1583031 w 10505529"/>
              <a:gd name="connsiteY41500" fmla="*/ 465124 h 7458372"/>
              <a:gd name="connsiteX41501" fmla="*/ 1580768 w 10505529"/>
              <a:gd name="connsiteY41501" fmla="*/ 476838 h 7458372"/>
              <a:gd name="connsiteX41502" fmla="*/ 1574645 w 10505529"/>
              <a:gd name="connsiteY41502" fmla="*/ 486156 h 7458372"/>
              <a:gd name="connsiteX41503" fmla="*/ 1565327 w 10505529"/>
              <a:gd name="connsiteY41503" fmla="*/ 492413 h 7458372"/>
              <a:gd name="connsiteX41504" fmla="*/ 1553612 w 10505529"/>
              <a:gd name="connsiteY41504" fmla="*/ 494676 h 7458372"/>
              <a:gd name="connsiteX41505" fmla="*/ 1531780 w 10505529"/>
              <a:gd name="connsiteY41505" fmla="*/ 486156 h 7458372"/>
              <a:gd name="connsiteX41506" fmla="*/ 1523394 w 10505529"/>
              <a:gd name="connsiteY41506" fmla="*/ 464991 h 7458372"/>
              <a:gd name="connsiteX41507" fmla="*/ 1531780 w 10505529"/>
              <a:gd name="connsiteY41507" fmla="*/ 443958 h 7458372"/>
              <a:gd name="connsiteX41508" fmla="*/ 1553612 w 10505529"/>
              <a:gd name="connsiteY41508" fmla="*/ 435305 h 7458372"/>
              <a:gd name="connsiteX41509" fmla="*/ 1771256 w 10505529"/>
              <a:gd name="connsiteY41509" fmla="*/ 435305 h 7458372"/>
              <a:gd name="connsiteX41510" fmla="*/ 1782971 w 10505529"/>
              <a:gd name="connsiteY41510" fmla="*/ 437967 h 7458372"/>
              <a:gd name="connsiteX41511" fmla="*/ 1792289 w 10505529"/>
              <a:gd name="connsiteY41511" fmla="*/ 444357 h 7458372"/>
              <a:gd name="connsiteX41512" fmla="*/ 1798413 w 10505529"/>
              <a:gd name="connsiteY41512" fmla="*/ 453675 h 7458372"/>
              <a:gd name="connsiteX41513" fmla="*/ 1800676 w 10505529"/>
              <a:gd name="connsiteY41513" fmla="*/ 465123 h 7458372"/>
              <a:gd name="connsiteX41514" fmla="*/ 1798413 w 10505529"/>
              <a:gd name="connsiteY41514" fmla="*/ 476838 h 7458372"/>
              <a:gd name="connsiteX41515" fmla="*/ 1792289 w 10505529"/>
              <a:gd name="connsiteY41515" fmla="*/ 486156 h 7458372"/>
              <a:gd name="connsiteX41516" fmla="*/ 1782971 w 10505529"/>
              <a:gd name="connsiteY41516" fmla="*/ 492413 h 7458372"/>
              <a:gd name="connsiteX41517" fmla="*/ 1771256 w 10505529"/>
              <a:gd name="connsiteY41517" fmla="*/ 494676 h 7458372"/>
              <a:gd name="connsiteX41518" fmla="*/ 1749425 w 10505529"/>
              <a:gd name="connsiteY41518" fmla="*/ 486156 h 7458372"/>
              <a:gd name="connsiteX41519" fmla="*/ 1741040 w 10505529"/>
              <a:gd name="connsiteY41519" fmla="*/ 464991 h 7458372"/>
              <a:gd name="connsiteX41520" fmla="*/ 1749425 w 10505529"/>
              <a:gd name="connsiteY41520" fmla="*/ 443958 h 7458372"/>
              <a:gd name="connsiteX41521" fmla="*/ 1771256 w 10505529"/>
              <a:gd name="connsiteY41521" fmla="*/ 435305 h 7458372"/>
              <a:gd name="connsiteX41522" fmla="*/ 1988900 w 10505529"/>
              <a:gd name="connsiteY41522" fmla="*/ 435305 h 7458372"/>
              <a:gd name="connsiteX41523" fmla="*/ 2000616 w 10505529"/>
              <a:gd name="connsiteY41523" fmla="*/ 437967 h 7458372"/>
              <a:gd name="connsiteX41524" fmla="*/ 2009934 w 10505529"/>
              <a:gd name="connsiteY41524" fmla="*/ 444357 h 7458372"/>
              <a:gd name="connsiteX41525" fmla="*/ 2016057 w 10505529"/>
              <a:gd name="connsiteY41525" fmla="*/ 453675 h 7458372"/>
              <a:gd name="connsiteX41526" fmla="*/ 2018320 w 10505529"/>
              <a:gd name="connsiteY41526" fmla="*/ 465123 h 7458372"/>
              <a:gd name="connsiteX41527" fmla="*/ 2016057 w 10505529"/>
              <a:gd name="connsiteY41527" fmla="*/ 476838 h 7458372"/>
              <a:gd name="connsiteX41528" fmla="*/ 2009934 w 10505529"/>
              <a:gd name="connsiteY41528" fmla="*/ 486156 h 7458372"/>
              <a:gd name="connsiteX41529" fmla="*/ 2000616 w 10505529"/>
              <a:gd name="connsiteY41529" fmla="*/ 492413 h 7458372"/>
              <a:gd name="connsiteX41530" fmla="*/ 1988900 w 10505529"/>
              <a:gd name="connsiteY41530" fmla="*/ 494676 h 7458372"/>
              <a:gd name="connsiteX41531" fmla="*/ 1967069 w 10505529"/>
              <a:gd name="connsiteY41531" fmla="*/ 486156 h 7458372"/>
              <a:gd name="connsiteX41532" fmla="*/ 1958683 w 10505529"/>
              <a:gd name="connsiteY41532" fmla="*/ 464990 h 7458372"/>
              <a:gd name="connsiteX41533" fmla="*/ 1967069 w 10505529"/>
              <a:gd name="connsiteY41533" fmla="*/ 443958 h 7458372"/>
              <a:gd name="connsiteX41534" fmla="*/ 1988900 w 10505529"/>
              <a:gd name="connsiteY41534" fmla="*/ 435305 h 7458372"/>
              <a:gd name="connsiteX41535" fmla="*/ 2206414 w 10505529"/>
              <a:gd name="connsiteY41535" fmla="*/ 435305 h 7458372"/>
              <a:gd name="connsiteX41536" fmla="*/ 2218129 w 10505529"/>
              <a:gd name="connsiteY41536" fmla="*/ 437967 h 7458372"/>
              <a:gd name="connsiteX41537" fmla="*/ 2227447 w 10505529"/>
              <a:gd name="connsiteY41537" fmla="*/ 444357 h 7458372"/>
              <a:gd name="connsiteX41538" fmla="*/ 2233570 w 10505529"/>
              <a:gd name="connsiteY41538" fmla="*/ 453675 h 7458372"/>
              <a:gd name="connsiteX41539" fmla="*/ 2235833 w 10505529"/>
              <a:gd name="connsiteY41539" fmla="*/ 465123 h 7458372"/>
              <a:gd name="connsiteX41540" fmla="*/ 2233570 w 10505529"/>
              <a:gd name="connsiteY41540" fmla="*/ 476838 h 7458372"/>
              <a:gd name="connsiteX41541" fmla="*/ 2227447 w 10505529"/>
              <a:gd name="connsiteY41541" fmla="*/ 486156 h 7458372"/>
              <a:gd name="connsiteX41542" fmla="*/ 2218129 w 10505529"/>
              <a:gd name="connsiteY41542" fmla="*/ 492413 h 7458372"/>
              <a:gd name="connsiteX41543" fmla="*/ 2206414 w 10505529"/>
              <a:gd name="connsiteY41543" fmla="*/ 494676 h 7458372"/>
              <a:gd name="connsiteX41544" fmla="*/ 2184583 w 10505529"/>
              <a:gd name="connsiteY41544" fmla="*/ 486156 h 7458372"/>
              <a:gd name="connsiteX41545" fmla="*/ 2176196 w 10505529"/>
              <a:gd name="connsiteY41545" fmla="*/ 464990 h 7458372"/>
              <a:gd name="connsiteX41546" fmla="*/ 2184583 w 10505529"/>
              <a:gd name="connsiteY41546" fmla="*/ 443958 h 7458372"/>
              <a:gd name="connsiteX41547" fmla="*/ 2206414 w 10505529"/>
              <a:gd name="connsiteY41547" fmla="*/ 435305 h 7458372"/>
              <a:gd name="connsiteX41548" fmla="*/ 2424060 w 10505529"/>
              <a:gd name="connsiteY41548" fmla="*/ 435305 h 7458372"/>
              <a:gd name="connsiteX41549" fmla="*/ 2435776 w 10505529"/>
              <a:gd name="connsiteY41549" fmla="*/ 437967 h 7458372"/>
              <a:gd name="connsiteX41550" fmla="*/ 2445094 w 10505529"/>
              <a:gd name="connsiteY41550" fmla="*/ 444357 h 7458372"/>
              <a:gd name="connsiteX41551" fmla="*/ 2451217 w 10505529"/>
              <a:gd name="connsiteY41551" fmla="*/ 453675 h 7458372"/>
              <a:gd name="connsiteX41552" fmla="*/ 2453480 w 10505529"/>
              <a:gd name="connsiteY41552" fmla="*/ 465123 h 7458372"/>
              <a:gd name="connsiteX41553" fmla="*/ 2451217 w 10505529"/>
              <a:gd name="connsiteY41553" fmla="*/ 476837 h 7458372"/>
              <a:gd name="connsiteX41554" fmla="*/ 2445094 w 10505529"/>
              <a:gd name="connsiteY41554" fmla="*/ 486156 h 7458372"/>
              <a:gd name="connsiteX41555" fmla="*/ 2435776 w 10505529"/>
              <a:gd name="connsiteY41555" fmla="*/ 492413 h 7458372"/>
              <a:gd name="connsiteX41556" fmla="*/ 2424060 w 10505529"/>
              <a:gd name="connsiteY41556" fmla="*/ 494676 h 7458372"/>
              <a:gd name="connsiteX41557" fmla="*/ 2402229 w 10505529"/>
              <a:gd name="connsiteY41557" fmla="*/ 486156 h 7458372"/>
              <a:gd name="connsiteX41558" fmla="*/ 2393842 w 10505529"/>
              <a:gd name="connsiteY41558" fmla="*/ 464990 h 7458372"/>
              <a:gd name="connsiteX41559" fmla="*/ 2402229 w 10505529"/>
              <a:gd name="connsiteY41559" fmla="*/ 443958 h 7458372"/>
              <a:gd name="connsiteX41560" fmla="*/ 2424060 w 10505529"/>
              <a:gd name="connsiteY41560" fmla="*/ 435305 h 7458372"/>
              <a:gd name="connsiteX41561" fmla="*/ 2641707 w 10505529"/>
              <a:gd name="connsiteY41561" fmla="*/ 435305 h 7458372"/>
              <a:gd name="connsiteX41562" fmla="*/ 2653422 w 10505529"/>
              <a:gd name="connsiteY41562" fmla="*/ 437967 h 7458372"/>
              <a:gd name="connsiteX41563" fmla="*/ 2662740 w 10505529"/>
              <a:gd name="connsiteY41563" fmla="*/ 444357 h 7458372"/>
              <a:gd name="connsiteX41564" fmla="*/ 2668864 w 10505529"/>
              <a:gd name="connsiteY41564" fmla="*/ 453675 h 7458372"/>
              <a:gd name="connsiteX41565" fmla="*/ 2671127 w 10505529"/>
              <a:gd name="connsiteY41565" fmla="*/ 465123 h 7458372"/>
              <a:gd name="connsiteX41566" fmla="*/ 2668864 w 10505529"/>
              <a:gd name="connsiteY41566" fmla="*/ 476837 h 7458372"/>
              <a:gd name="connsiteX41567" fmla="*/ 2662740 w 10505529"/>
              <a:gd name="connsiteY41567" fmla="*/ 486156 h 7458372"/>
              <a:gd name="connsiteX41568" fmla="*/ 2653422 w 10505529"/>
              <a:gd name="connsiteY41568" fmla="*/ 492413 h 7458372"/>
              <a:gd name="connsiteX41569" fmla="*/ 2641707 w 10505529"/>
              <a:gd name="connsiteY41569" fmla="*/ 494676 h 7458372"/>
              <a:gd name="connsiteX41570" fmla="*/ 2619875 w 10505529"/>
              <a:gd name="connsiteY41570" fmla="*/ 486156 h 7458372"/>
              <a:gd name="connsiteX41571" fmla="*/ 2611489 w 10505529"/>
              <a:gd name="connsiteY41571" fmla="*/ 464990 h 7458372"/>
              <a:gd name="connsiteX41572" fmla="*/ 2619875 w 10505529"/>
              <a:gd name="connsiteY41572" fmla="*/ 443958 h 7458372"/>
              <a:gd name="connsiteX41573" fmla="*/ 2641707 w 10505529"/>
              <a:gd name="connsiteY41573" fmla="*/ 435305 h 7458372"/>
              <a:gd name="connsiteX41574" fmla="*/ 2859353 w 10505529"/>
              <a:gd name="connsiteY41574" fmla="*/ 435304 h 7458372"/>
              <a:gd name="connsiteX41575" fmla="*/ 2871202 w 10505529"/>
              <a:gd name="connsiteY41575" fmla="*/ 437966 h 7458372"/>
              <a:gd name="connsiteX41576" fmla="*/ 2880520 w 10505529"/>
              <a:gd name="connsiteY41576" fmla="*/ 444357 h 7458372"/>
              <a:gd name="connsiteX41577" fmla="*/ 2886643 w 10505529"/>
              <a:gd name="connsiteY41577" fmla="*/ 453675 h 7458372"/>
              <a:gd name="connsiteX41578" fmla="*/ 2888906 w 10505529"/>
              <a:gd name="connsiteY41578" fmla="*/ 465123 h 7458372"/>
              <a:gd name="connsiteX41579" fmla="*/ 2886643 w 10505529"/>
              <a:gd name="connsiteY41579" fmla="*/ 476837 h 7458372"/>
              <a:gd name="connsiteX41580" fmla="*/ 2880520 w 10505529"/>
              <a:gd name="connsiteY41580" fmla="*/ 486156 h 7458372"/>
              <a:gd name="connsiteX41581" fmla="*/ 2871202 w 10505529"/>
              <a:gd name="connsiteY41581" fmla="*/ 492413 h 7458372"/>
              <a:gd name="connsiteX41582" fmla="*/ 2859353 w 10505529"/>
              <a:gd name="connsiteY41582" fmla="*/ 494676 h 7458372"/>
              <a:gd name="connsiteX41583" fmla="*/ 2837522 w 10505529"/>
              <a:gd name="connsiteY41583" fmla="*/ 486156 h 7458372"/>
              <a:gd name="connsiteX41584" fmla="*/ 2829135 w 10505529"/>
              <a:gd name="connsiteY41584" fmla="*/ 464990 h 7458372"/>
              <a:gd name="connsiteX41585" fmla="*/ 2837522 w 10505529"/>
              <a:gd name="connsiteY41585" fmla="*/ 443958 h 7458372"/>
              <a:gd name="connsiteX41586" fmla="*/ 2859353 w 10505529"/>
              <a:gd name="connsiteY41586" fmla="*/ 435304 h 7458372"/>
              <a:gd name="connsiteX41587" fmla="*/ 3077000 w 10505529"/>
              <a:gd name="connsiteY41587" fmla="*/ 435304 h 7458372"/>
              <a:gd name="connsiteX41588" fmla="*/ 3088715 w 10505529"/>
              <a:gd name="connsiteY41588" fmla="*/ 437966 h 7458372"/>
              <a:gd name="connsiteX41589" fmla="*/ 3098033 w 10505529"/>
              <a:gd name="connsiteY41589" fmla="*/ 444357 h 7458372"/>
              <a:gd name="connsiteX41590" fmla="*/ 3104156 w 10505529"/>
              <a:gd name="connsiteY41590" fmla="*/ 453675 h 7458372"/>
              <a:gd name="connsiteX41591" fmla="*/ 3106419 w 10505529"/>
              <a:gd name="connsiteY41591" fmla="*/ 465123 h 7458372"/>
              <a:gd name="connsiteX41592" fmla="*/ 3104156 w 10505529"/>
              <a:gd name="connsiteY41592" fmla="*/ 476837 h 7458372"/>
              <a:gd name="connsiteX41593" fmla="*/ 3098033 w 10505529"/>
              <a:gd name="connsiteY41593" fmla="*/ 486155 h 7458372"/>
              <a:gd name="connsiteX41594" fmla="*/ 3088715 w 10505529"/>
              <a:gd name="connsiteY41594" fmla="*/ 492412 h 7458372"/>
              <a:gd name="connsiteX41595" fmla="*/ 3077000 w 10505529"/>
              <a:gd name="connsiteY41595" fmla="*/ 494676 h 7458372"/>
              <a:gd name="connsiteX41596" fmla="*/ 3055168 w 10505529"/>
              <a:gd name="connsiteY41596" fmla="*/ 486155 h 7458372"/>
              <a:gd name="connsiteX41597" fmla="*/ 3046782 w 10505529"/>
              <a:gd name="connsiteY41597" fmla="*/ 464990 h 7458372"/>
              <a:gd name="connsiteX41598" fmla="*/ 3055168 w 10505529"/>
              <a:gd name="connsiteY41598" fmla="*/ 443958 h 7458372"/>
              <a:gd name="connsiteX41599" fmla="*/ 3077000 w 10505529"/>
              <a:gd name="connsiteY41599" fmla="*/ 435304 h 7458372"/>
              <a:gd name="connsiteX41600" fmla="*/ 3294646 w 10505529"/>
              <a:gd name="connsiteY41600" fmla="*/ 435304 h 7458372"/>
              <a:gd name="connsiteX41601" fmla="*/ 3306362 w 10505529"/>
              <a:gd name="connsiteY41601" fmla="*/ 437966 h 7458372"/>
              <a:gd name="connsiteX41602" fmla="*/ 3315680 w 10505529"/>
              <a:gd name="connsiteY41602" fmla="*/ 444356 h 7458372"/>
              <a:gd name="connsiteX41603" fmla="*/ 3321803 w 10505529"/>
              <a:gd name="connsiteY41603" fmla="*/ 453675 h 7458372"/>
              <a:gd name="connsiteX41604" fmla="*/ 3324066 w 10505529"/>
              <a:gd name="connsiteY41604" fmla="*/ 465123 h 7458372"/>
              <a:gd name="connsiteX41605" fmla="*/ 3321803 w 10505529"/>
              <a:gd name="connsiteY41605" fmla="*/ 476837 h 7458372"/>
              <a:gd name="connsiteX41606" fmla="*/ 3315680 w 10505529"/>
              <a:gd name="connsiteY41606" fmla="*/ 486155 h 7458372"/>
              <a:gd name="connsiteX41607" fmla="*/ 3306362 w 10505529"/>
              <a:gd name="connsiteY41607" fmla="*/ 492412 h 7458372"/>
              <a:gd name="connsiteX41608" fmla="*/ 3294646 w 10505529"/>
              <a:gd name="connsiteY41608" fmla="*/ 494675 h 7458372"/>
              <a:gd name="connsiteX41609" fmla="*/ 3272814 w 10505529"/>
              <a:gd name="connsiteY41609" fmla="*/ 486155 h 7458372"/>
              <a:gd name="connsiteX41610" fmla="*/ 3264428 w 10505529"/>
              <a:gd name="connsiteY41610" fmla="*/ 464990 h 7458372"/>
              <a:gd name="connsiteX41611" fmla="*/ 3272814 w 10505529"/>
              <a:gd name="connsiteY41611" fmla="*/ 443957 h 7458372"/>
              <a:gd name="connsiteX41612" fmla="*/ 3294646 w 10505529"/>
              <a:gd name="connsiteY41612" fmla="*/ 435304 h 7458372"/>
              <a:gd name="connsiteX41613" fmla="*/ 3512160 w 10505529"/>
              <a:gd name="connsiteY41613" fmla="*/ 435304 h 7458372"/>
              <a:gd name="connsiteX41614" fmla="*/ 3523875 w 10505529"/>
              <a:gd name="connsiteY41614" fmla="*/ 437966 h 7458372"/>
              <a:gd name="connsiteX41615" fmla="*/ 3533193 w 10505529"/>
              <a:gd name="connsiteY41615" fmla="*/ 444356 h 7458372"/>
              <a:gd name="connsiteX41616" fmla="*/ 3539316 w 10505529"/>
              <a:gd name="connsiteY41616" fmla="*/ 453675 h 7458372"/>
              <a:gd name="connsiteX41617" fmla="*/ 3541579 w 10505529"/>
              <a:gd name="connsiteY41617" fmla="*/ 465123 h 7458372"/>
              <a:gd name="connsiteX41618" fmla="*/ 3539316 w 10505529"/>
              <a:gd name="connsiteY41618" fmla="*/ 476837 h 7458372"/>
              <a:gd name="connsiteX41619" fmla="*/ 3533193 w 10505529"/>
              <a:gd name="connsiteY41619" fmla="*/ 486155 h 7458372"/>
              <a:gd name="connsiteX41620" fmla="*/ 3523875 w 10505529"/>
              <a:gd name="connsiteY41620" fmla="*/ 492412 h 7458372"/>
              <a:gd name="connsiteX41621" fmla="*/ 3512160 w 10505529"/>
              <a:gd name="connsiteY41621" fmla="*/ 494675 h 7458372"/>
              <a:gd name="connsiteX41622" fmla="*/ 3490328 w 10505529"/>
              <a:gd name="connsiteY41622" fmla="*/ 486155 h 7458372"/>
              <a:gd name="connsiteX41623" fmla="*/ 3481941 w 10505529"/>
              <a:gd name="connsiteY41623" fmla="*/ 464990 h 7458372"/>
              <a:gd name="connsiteX41624" fmla="*/ 3490328 w 10505529"/>
              <a:gd name="connsiteY41624" fmla="*/ 443957 h 7458372"/>
              <a:gd name="connsiteX41625" fmla="*/ 3512160 w 10505529"/>
              <a:gd name="connsiteY41625" fmla="*/ 435304 h 7458372"/>
              <a:gd name="connsiteX41626" fmla="*/ 3729806 w 10505529"/>
              <a:gd name="connsiteY41626" fmla="*/ 435304 h 7458372"/>
              <a:gd name="connsiteX41627" fmla="*/ 3741521 w 10505529"/>
              <a:gd name="connsiteY41627" fmla="*/ 437966 h 7458372"/>
              <a:gd name="connsiteX41628" fmla="*/ 3750840 w 10505529"/>
              <a:gd name="connsiteY41628" fmla="*/ 444356 h 7458372"/>
              <a:gd name="connsiteX41629" fmla="*/ 3756962 w 10505529"/>
              <a:gd name="connsiteY41629" fmla="*/ 453674 h 7458372"/>
              <a:gd name="connsiteX41630" fmla="*/ 3759225 w 10505529"/>
              <a:gd name="connsiteY41630" fmla="*/ 465123 h 7458372"/>
              <a:gd name="connsiteX41631" fmla="*/ 3756962 w 10505529"/>
              <a:gd name="connsiteY41631" fmla="*/ 476837 h 7458372"/>
              <a:gd name="connsiteX41632" fmla="*/ 3750840 w 10505529"/>
              <a:gd name="connsiteY41632" fmla="*/ 486155 h 7458372"/>
              <a:gd name="connsiteX41633" fmla="*/ 3741521 w 10505529"/>
              <a:gd name="connsiteY41633" fmla="*/ 492412 h 7458372"/>
              <a:gd name="connsiteX41634" fmla="*/ 3729806 w 10505529"/>
              <a:gd name="connsiteY41634" fmla="*/ 494675 h 7458372"/>
              <a:gd name="connsiteX41635" fmla="*/ 3707975 w 10505529"/>
              <a:gd name="connsiteY41635" fmla="*/ 486155 h 7458372"/>
              <a:gd name="connsiteX41636" fmla="*/ 3699589 w 10505529"/>
              <a:gd name="connsiteY41636" fmla="*/ 464990 h 7458372"/>
              <a:gd name="connsiteX41637" fmla="*/ 3707975 w 10505529"/>
              <a:gd name="connsiteY41637" fmla="*/ 443957 h 7458372"/>
              <a:gd name="connsiteX41638" fmla="*/ 3729806 w 10505529"/>
              <a:gd name="connsiteY41638" fmla="*/ 435304 h 7458372"/>
              <a:gd name="connsiteX41639" fmla="*/ 3947454 w 10505529"/>
              <a:gd name="connsiteY41639" fmla="*/ 435304 h 7458372"/>
              <a:gd name="connsiteX41640" fmla="*/ 3959169 w 10505529"/>
              <a:gd name="connsiteY41640" fmla="*/ 437966 h 7458372"/>
              <a:gd name="connsiteX41641" fmla="*/ 3968486 w 10505529"/>
              <a:gd name="connsiteY41641" fmla="*/ 444356 h 7458372"/>
              <a:gd name="connsiteX41642" fmla="*/ 3974610 w 10505529"/>
              <a:gd name="connsiteY41642" fmla="*/ 453674 h 7458372"/>
              <a:gd name="connsiteX41643" fmla="*/ 3976873 w 10505529"/>
              <a:gd name="connsiteY41643" fmla="*/ 465123 h 7458372"/>
              <a:gd name="connsiteX41644" fmla="*/ 3974610 w 10505529"/>
              <a:gd name="connsiteY41644" fmla="*/ 476837 h 7458372"/>
              <a:gd name="connsiteX41645" fmla="*/ 3968486 w 10505529"/>
              <a:gd name="connsiteY41645" fmla="*/ 486155 h 7458372"/>
              <a:gd name="connsiteX41646" fmla="*/ 3959169 w 10505529"/>
              <a:gd name="connsiteY41646" fmla="*/ 492412 h 7458372"/>
              <a:gd name="connsiteX41647" fmla="*/ 3947454 w 10505529"/>
              <a:gd name="connsiteY41647" fmla="*/ 494675 h 7458372"/>
              <a:gd name="connsiteX41648" fmla="*/ 3925622 w 10505529"/>
              <a:gd name="connsiteY41648" fmla="*/ 486155 h 7458372"/>
              <a:gd name="connsiteX41649" fmla="*/ 3917235 w 10505529"/>
              <a:gd name="connsiteY41649" fmla="*/ 464990 h 7458372"/>
              <a:gd name="connsiteX41650" fmla="*/ 3925622 w 10505529"/>
              <a:gd name="connsiteY41650" fmla="*/ 443957 h 7458372"/>
              <a:gd name="connsiteX41651" fmla="*/ 3947454 w 10505529"/>
              <a:gd name="connsiteY41651" fmla="*/ 435304 h 7458372"/>
              <a:gd name="connsiteX41652" fmla="*/ 4165068 w 10505529"/>
              <a:gd name="connsiteY41652" fmla="*/ 435304 h 7458372"/>
              <a:gd name="connsiteX41653" fmla="*/ 4176782 w 10505529"/>
              <a:gd name="connsiteY41653" fmla="*/ 437966 h 7458372"/>
              <a:gd name="connsiteX41654" fmla="*/ 4186100 w 10505529"/>
              <a:gd name="connsiteY41654" fmla="*/ 444356 h 7458372"/>
              <a:gd name="connsiteX41655" fmla="*/ 4192223 w 10505529"/>
              <a:gd name="connsiteY41655" fmla="*/ 453674 h 7458372"/>
              <a:gd name="connsiteX41656" fmla="*/ 4194486 w 10505529"/>
              <a:gd name="connsiteY41656" fmla="*/ 465122 h 7458372"/>
              <a:gd name="connsiteX41657" fmla="*/ 4192223 w 10505529"/>
              <a:gd name="connsiteY41657" fmla="*/ 476837 h 7458372"/>
              <a:gd name="connsiteX41658" fmla="*/ 4186100 w 10505529"/>
              <a:gd name="connsiteY41658" fmla="*/ 486155 h 7458372"/>
              <a:gd name="connsiteX41659" fmla="*/ 4176782 w 10505529"/>
              <a:gd name="connsiteY41659" fmla="*/ 492412 h 7458372"/>
              <a:gd name="connsiteX41660" fmla="*/ 4165068 w 10505529"/>
              <a:gd name="connsiteY41660" fmla="*/ 494675 h 7458372"/>
              <a:gd name="connsiteX41661" fmla="*/ 4143235 w 10505529"/>
              <a:gd name="connsiteY41661" fmla="*/ 486155 h 7458372"/>
              <a:gd name="connsiteX41662" fmla="*/ 4134849 w 10505529"/>
              <a:gd name="connsiteY41662" fmla="*/ 464989 h 7458372"/>
              <a:gd name="connsiteX41663" fmla="*/ 4143235 w 10505529"/>
              <a:gd name="connsiteY41663" fmla="*/ 443957 h 7458372"/>
              <a:gd name="connsiteX41664" fmla="*/ 4165068 w 10505529"/>
              <a:gd name="connsiteY41664" fmla="*/ 435304 h 7458372"/>
              <a:gd name="connsiteX41665" fmla="*/ 4382713 w 10505529"/>
              <a:gd name="connsiteY41665" fmla="*/ 435304 h 7458372"/>
              <a:gd name="connsiteX41666" fmla="*/ 4394428 w 10505529"/>
              <a:gd name="connsiteY41666" fmla="*/ 437966 h 7458372"/>
              <a:gd name="connsiteX41667" fmla="*/ 4403746 w 10505529"/>
              <a:gd name="connsiteY41667" fmla="*/ 444356 h 7458372"/>
              <a:gd name="connsiteX41668" fmla="*/ 4409869 w 10505529"/>
              <a:gd name="connsiteY41668" fmla="*/ 453674 h 7458372"/>
              <a:gd name="connsiteX41669" fmla="*/ 4412132 w 10505529"/>
              <a:gd name="connsiteY41669" fmla="*/ 465122 h 7458372"/>
              <a:gd name="connsiteX41670" fmla="*/ 4409869 w 10505529"/>
              <a:gd name="connsiteY41670" fmla="*/ 476836 h 7458372"/>
              <a:gd name="connsiteX41671" fmla="*/ 4403746 w 10505529"/>
              <a:gd name="connsiteY41671" fmla="*/ 486155 h 7458372"/>
              <a:gd name="connsiteX41672" fmla="*/ 4394428 w 10505529"/>
              <a:gd name="connsiteY41672" fmla="*/ 492412 h 7458372"/>
              <a:gd name="connsiteX41673" fmla="*/ 4382713 w 10505529"/>
              <a:gd name="connsiteY41673" fmla="*/ 494675 h 7458372"/>
              <a:gd name="connsiteX41674" fmla="*/ 4360881 w 10505529"/>
              <a:gd name="connsiteY41674" fmla="*/ 486155 h 7458372"/>
              <a:gd name="connsiteX41675" fmla="*/ 4352495 w 10505529"/>
              <a:gd name="connsiteY41675" fmla="*/ 464989 h 7458372"/>
              <a:gd name="connsiteX41676" fmla="*/ 4360881 w 10505529"/>
              <a:gd name="connsiteY41676" fmla="*/ 443957 h 7458372"/>
              <a:gd name="connsiteX41677" fmla="*/ 4382713 w 10505529"/>
              <a:gd name="connsiteY41677" fmla="*/ 435304 h 7458372"/>
              <a:gd name="connsiteX41678" fmla="*/ 4600226 w 10505529"/>
              <a:gd name="connsiteY41678" fmla="*/ 435304 h 7458372"/>
              <a:gd name="connsiteX41679" fmla="*/ 4612073 w 10505529"/>
              <a:gd name="connsiteY41679" fmla="*/ 437966 h 7458372"/>
              <a:gd name="connsiteX41680" fmla="*/ 4621391 w 10505529"/>
              <a:gd name="connsiteY41680" fmla="*/ 444356 h 7458372"/>
              <a:gd name="connsiteX41681" fmla="*/ 4627514 w 10505529"/>
              <a:gd name="connsiteY41681" fmla="*/ 453674 h 7458372"/>
              <a:gd name="connsiteX41682" fmla="*/ 4629777 w 10505529"/>
              <a:gd name="connsiteY41682" fmla="*/ 465122 h 7458372"/>
              <a:gd name="connsiteX41683" fmla="*/ 4627514 w 10505529"/>
              <a:gd name="connsiteY41683" fmla="*/ 476836 h 7458372"/>
              <a:gd name="connsiteX41684" fmla="*/ 4621391 w 10505529"/>
              <a:gd name="connsiteY41684" fmla="*/ 486155 h 7458372"/>
              <a:gd name="connsiteX41685" fmla="*/ 4612073 w 10505529"/>
              <a:gd name="connsiteY41685" fmla="*/ 492412 h 7458372"/>
              <a:gd name="connsiteX41686" fmla="*/ 4600226 w 10505529"/>
              <a:gd name="connsiteY41686" fmla="*/ 494675 h 7458372"/>
              <a:gd name="connsiteX41687" fmla="*/ 4578393 w 10505529"/>
              <a:gd name="connsiteY41687" fmla="*/ 486155 h 7458372"/>
              <a:gd name="connsiteX41688" fmla="*/ 4570007 w 10505529"/>
              <a:gd name="connsiteY41688" fmla="*/ 464989 h 7458372"/>
              <a:gd name="connsiteX41689" fmla="*/ 4578393 w 10505529"/>
              <a:gd name="connsiteY41689" fmla="*/ 443957 h 7458372"/>
              <a:gd name="connsiteX41690" fmla="*/ 4600226 w 10505529"/>
              <a:gd name="connsiteY41690" fmla="*/ 435304 h 7458372"/>
              <a:gd name="connsiteX41691" fmla="*/ 4817870 w 10505529"/>
              <a:gd name="connsiteY41691" fmla="*/ 435303 h 7458372"/>
              <a:gd name="connsiteX41692" fmla="*/ 4829585 w 10505529"/>
              <a:gd name="connsiteY41692" fmla="*/ 437966 h 7458372"/>
              <a:gd name="connsiteX41693" fmla="*/ 4838903 w 10505529"/>
              <a:gd name="connsiteY41693" fmla="*/ 444356 h 7458372"/>
              <a:gd name="connsiteX41694" fmla="*/ 4845026 w 10505529"/>
              <a:gd name="connsiteY41694" fmla="*/ 453674 h 7458372"/>
              <a:gd name="connsiteX41695" fmla="*/ 4847289 w 10505529"/>
              <a:gd name="connsiteY41695" fmla="*/ 465122 h 7458372"/>
              <a:gd name="connsiteX41696" fmla="*/ 4845026 w 10505529"/>
              <a:gd name="connsiteY41696" fmla="*/ 476836 h 7458372"/>
              <a:gd name="connsiteX41697" fmla="*/ 4838903 w 10505529"/>
              <a:gd name="connsiteY41697" fmla="*/ 486155 h 7458372"/>
              <a:gd name="connsiteX41698" fmla="*/ 4829585 w 10505529"/>
              <a:gd name="connsiteY41698" fmla="*/ 492412 h 7458372"/>
              <a:gd name="connsiteX41699" fmla="*/ 4817870 w 10505529"/>
              <a:gd name="connsiteY41699" fmla="*/ 494675 h 7458372"/>
              <a:gd name="connsiteX41700" fmla="*/ 4796038 w 10505529"/>
              <a:gd name="connsiteY41700" fmla="*/ 486155 h 7458372"/>
              <a:gd name="connsiteX41701" fmla="*/ 4787652 w 10505529"/>
              <a:gd name="connsiteY41701" fmla="*/ 464989 h 7458372"/>
              <a:gd name="connsiteX41702" fmla="*/ 4796038 w 10505529"/>
              <a:gd name="connsiteY41702" fmla="*/ 443957 h 7458372"/>
              <a:gd name="connsiteX41703" fmla="*/ 4817870 w 10505529"/>
              <a:gd name="connsiteY41703" fmla="*/ 435303 h 7458372"/>
              <a:gd name="connsiteX41704" fmla="*/ 5035515 w 10505529"/>
              <a:gd name="connsiteY41704" fmla="*/ 435303 h 7458372"/>
              <a:gd name="connsiteX41705" fmla="*/ 5047230 w 10505529"/>
              <a:gd name="connsiteY41705" fmla="*/ 437965 h 7458372"/>
              <a:gd name="connsiteX41706" fmla="*/ 5056548 w 10505529"/>
              <a:gd name="connsiteY41706" fmla="*/ 444356 h 7458372"/>
              <a:gd name="connsiteX41707" fmla="*/ 5062671 w 10505529"/>
              <a:gd name="connsiteY41707" fmla="*/ 453674 h 7458372"/>
              <a:gd name="connsiteX41708" fmla="*/ 5064934 w 10505529"/>
              <a:gd name="connsiteY41708" fmla="*/ 465122 h 7458372"/>
              <a:gd name="connsiteX41709" fmla="*/ 5062671 w 10505529"/>
              <a:gd name="connsiteY41709" fmla="*/ 476836 h 7458372"/>
              <a:gd name="connsiteX41710" fmla="*/ 5056548 w 10505529"/>
              <a:gd name="connsiteY41710" fmla="*/ 486154 h 7458372"/>
              <a:gd name="connsiteX41711" fmla="*/ 5047230 w 10505529"/>
              <a:gd name="connsiteY41711" fmla="*/ 492411 h 7458372"/>
              <a:gd name="connsiteX41712" fmla="*/ 5035515 w 10505529"/>
              <a:gd name="connsiteY41712" fmla="*/ 494674 h 7458372"/>
              <a:gd name="connsiteX41713" fmla="*/ 5013683 w 10505529"/>
              <a:gd name="connsiteY41713" fmla="*/ 486154 h 7458372"/>
              <a:gd name="connsiteX41714" fmla="*/ 5005297 w 10505529"/>
              <a:gd name="connsiteY41714" fmla="*/ 464989 h 7458372"/>
              <a:gd name="connsiteX41715" fmla="*/ 5013683 w 10505529"/>
              <a:gd name="connsiteY41715" fmla="*/ 443957 h 7458372"/>
              <a:gd name="connsiteX41716" fmla="*/ 5035515 w 10505529"/>
              <a:gd name="connsiteY41716" fmla="*/ 435303 h 7458372"/>
              <a:gd name="connsiteX41717" fmla="*/ 5470806 w 10505529"/>
              <a:gd name="connsiteY41717" fmla="*/ 435303 h 7458372"/>
              <a:gd name="connsiteX41718" fmla="*/ 5482520 w 10505529"/>
              <a:gd name="connsiteY41718" fmla="*/ 437965 h 7458372"/>
              <a:gd name="connsiteX41719" fmla="*/ 5491838 w 10505529"/>
              <a:gd name="connsiteY41719" fmla="*/ 444355 h 7458372"/>
              <a:gd name="connsiteX41720" fmla="*/ 5497961 w 10505529"/>
              <a:gd name="connsiteY41720" fmla="*/ 453674 h 7458372"/>
              <a:gd name="connsiteX41721" fmla="*/ 5500224 w 10505529"/>
              <a:gd name="connsiteY41721" fmla="*/ 465122 h 7458372"/>
              <a:gd name="connsiteX41722" fmla="*/ 5497961 w 10505529"/>
              <a:gd name="connsiteY41722" fmla="*/ 476836 h 7458372"/>
              <a:gd name="connsiteX41723" fmla="*/ 5491838 w 10505529"/>
              <a:gd name="connsiteY41723" fmla="*/ 486154 h 7458372"/>
              <a:gd name="connsiteX41724" fmla="*/ 5482520 w 10505529"/>
              <a:gd name="connsiteY41724" fmla="*/ 492411 h 7458372"/>
              <a:gd name="connsiteX41725" fmla="*/ 5470806 w 10505529"/>
              <a:gd name="connsiteY41725" fmla="*/ 494674 h 7458372"/>
              <a:gd name="connsiteX41726" fmla="*/ 5448973 w 10505529"/>
              <a:gd name="connsiteY41726" fmla="*/ 486154 h 7458372"/>
              <a:gd name="connsiteX41727" fmla="*/ 5440587 w 10505529"/>
              <a:gd name="connsiteY41727" fmla="*/ 464989 h 7458372"/>
              <a:gd name="connsiteX41728" fmla="*/ 5448973 w 10505529"/>
              <a:gd name="connsiteY41728" fmla="*/ 443956 h 7458372"/>
              <a:gd name="connsiteX41729" fmla="*/ 5470806 w 10505529"/>
              <a:gd name="connsiteY41729" fmla="*/ 435303 h 7458372"/>
              <a:gd name="connsiteX41730" fmla="*/ 5253160 w 10505529"/>
              <a:gd name="connsiteY41730" fmla="*/ 435303 h 7458372"/>
              <a:gd name="connsiteX41731" fmla="*/ 5264875 w 10505529"/>
              <a:gd name="connsiteY41731" fmla="*/ 437965 h 7458372"/>
              <a:gd name="connsiteX41732" fmla="*/ 5274192 w 10505529"/>
              <a:gd name="connsiteY41732" fmla="*/ 444355 h 7458372"/>
              <a:gd name="connsiteX41733" fmla="*/ 5280316 w 10505529"/>
              <a:gd name="connsiteY41733" fmla="*/ 453674 h 7458372"/>
              <a:gd name="connsiteX41734" fmla="*/ 5282579 w 10505529"/>
              <a:gd name="connsiteY41734" fmla="*/ 465122 h 7458372"/>
              <a:gd name="connsiteX41735" fmla="*/ 5280316 w 10505529"/>
              <a:gd name="connsiteY41735" fmla="*/ 476836 h 7458372"/>
              <a:gd name="connsiteX41736" fmla="*/ 5274192 w 10505529"/>
              <a:gd name="connsiteY41736" fmla="*/ 486154 h 7458372"/>
              <a:gd name="connsiteX41737" fmla="*/ 5264875 w 10505529"/>
              <a:gd name="connsiteY41737" fmla="*/ 492411 h 7458372"/>
              <a:gd name="connsiteX41738" fmla="*/ 5253160 w 10505529"/>
              <a:gd name="connsiteY41738" fmla="*/ 494674 h 7458372"/>
              <a:gd name="connsiteX41739" fmla="*/ 5231328 w 10505529"/>
              <a:gd name="connsiteY41739" fmla="*/ 486154 h 7458372"/>
              <a:gd name="connsiteX41740" fmla="*/ 5222942 w 10505529"/>
              <a:gd name="connsiteY41740" fmla="*/ 464989 h 7458372"/>
              <a:gd name="connsiteX41741" fmla="*/ 5231328 w 10505529"/>
              <a:gd name="connsiteY41741" fmla="*/ 443956 h 7458372"/>
              <a:gd name="connsiteX41742" fmla="*/ 5253160 w 10505529"/>
              <a:gd name="connsiteY41742" fmla="*/ 435303 h 7458372"/>
              <a:gd name="connsiteX41743" fmla="*/ 5905963 w 10505529"/>
              <a:gd name="connsiteY41743" fmla="*/ 435303 h 7458372"/>
              <a:gd name="connsiteX41744" fmla="*/ 5917677 w 10505529"/>
              <a:gd name="connsiteY41744" fmla="*/ 437965 h 7458372"/>
              <a:gd name="connsiteX41745" fmla="*/ 5926995 w 10505529"/>
              <a:gd name="connsiteY41745" fmla="*/ 444355 h 7458372"/>
              <a:gd name="connsiteX41746" fmla="*/ 5933118 w 10505529"/>
              <a:gd name="connsiteY41746" fmla="*/ 453673 h 7458372"/>
              <a:gd name="connsiteX41747" fmla="*/ 5935381 w 10505529"/>
              <a:gd name="connsiteY41747" fmla="*/ 465122 h 7458372"/>
              <a:gd name="connsiteX41748" fmla="*/ 5933118 w 10505529"/>
              <a:gd name="connsiteY41748" fmla="*/ 476836 h 7458372"/>
              <a:gd name="connsiteX41749" fmla="*/ 5926995 w 10505529"/>
              <a:gd name="connsiteY41749" fmla="*/ 486154 h 7458372"/>
              <a:gd name="connsiteX41750" fmla="*/ 5917677 w 10505529"/>
              <a:gd name="connsiteY41750" fmla="*/ 492411 h 7458372"/>
              <a:gd name="connsiteX41751" fmla="*/ 5905963 w 10505529"/>
              <a:gd name="connsiteY41751" fmla="*/ 494674 h 7458372"/>
              <a:gd name="connsiteX41752" fmla="*/ 5884130 w 10505529"/>
              <a:gd name="connsiteY41752" fmla="*/ 486154 h 7458372"/>
              <a:gd name="connsiteX41753" fmla="*/ 5875744 w 10505529"/>
              <a:gd name="connsiteY41753" fmla="*/ 464989 h 7458372"/>
              <a:gd name="connsiteX41754" fmla="*/ 5884130 w 10505529"/>
              <a:gd name="connsiteY41754" fmla="*/ 443956 h 7458372"/>
              <a:gd name="connsiteX41755" fmla="*/ 5905963 w 10505529"/>
              <a:gd name="connsiteY41755" fmla="*/ 435303 h 7458372"/>
              <a:gd name="connsiteX41756" fmla="*/ 5688451 w 10505529"/>
              <a:gd name="connsiteY41756" fmla="*/ 435303 h 7458372"/>
              <a:gd name="connsiteX41757" fmla="*/ 5700165 w 10505529"/>
              <a:gd name="connsiteY41757" fmla="*/ 437965 h 7458372"/>
              <a:gd name="connsiteX41758" fmla="*/ 5709483 w 10505529"/>
              <a:gd name="connsiteY41758" fmla="*/ 444355 h 7458372"/>
              <a:gd name="connsiteX41759" fmla="*/ 5715606 w 10505529"/>
              <a:gd name="connsiteY41759" fmla="*/ 453673 h 7458372"/>
              <a:gd name="connsiteX41760" fmla="*/ 5717869 w 10505529"/>
              <a:gd name="connsiteY41760" fmla="*/ 465122 h 7458372"/>
              <a:gd name="connsiteX41761" fmla="*/ 5715606 w 10505529"/>
              <a:gd name="connsiteY41761" fmla="*/ 476836 h 7458372"/>
              <a:gd name="connsiteX41762" fmla="*/ 5709483 w 10505529"/>
              <a:gd name="connsiteY41762" fmla="*/ 486154 h 7458372"/>
              <a:gd name="connsiteX41763" fmla="*/ 5700165 w 10505529"/>
              <a:gd name="connsiteY41763" fmla="*/ 492411 h 7458372"/>
              <a:gd name="connsiteX41764" fmla="*/ 5688451 w 10505529"/>
              <a:gd name="connsiteY41764" fmla="*/ 494674 h 7458372"/>
              <a:gd name="connsiteX41765" fmla="*/ 5666618 w 10505529"/>
              <a:gd name="connsiteY41765" fmla="*/ 486154 h 7458372"/>
              <a:gd name="connsiteX41766" fmla="*/ 5658232 w 10505529"/>
              <a:gd name="connsiteY41766" fmla="*/ 464989 h 7458372"/>
              <a:gd name="connsiteX41767" fmla="*/ 5666618 w 10505529"/>
              <a:gd name="connsiteY41767" fmla="*/ 443956 h 7458372"/>
              <a:gd name="connsiteX41768" fmla="*/ 5688451 w 10505529"/>
              <a:gd name="connsiteY41768" fmla="*/ 435303 h 7458372"/>
              <a:gd name="connsiteX41769" fmla="*/ 6123608 w 10505529"/>
              <a:gd name="connsiteY41769" fmla="*/ 435303 h 7458372"/>
              <a:gd name="connsiteX41770" fmla="*/ 6135322 w 10505529"/>
              <a:gd name="connsiteY41770" fmla="*/ 437965 h 7458372"/>
              <a:gd name="connsiteX41771" fmla="*/ 6144640 w 10505529"/>
              <a:gd name="connsiteY41771" fmla="*/ 444355 h 7458372"/>
              <a:gd name="connsiteX41772" fmla="*/ 6150763 w 10505529"/>
              <a:gd name="connsiteY41772" fmla="*/ 453673 h 7458372"/>
              <a:gd name="connsiteX41773" fmla="*/ 6153026 w 10505529"/>
              <a:gd name="connsiteY41773" fmla="*/ 465121 h 7458372"/>
              <a:gd name="connsiteX41774" fmla="*/ 6150763 w 10505529"/>
              <a:gd name="connsiteY41774" fmla="*/ 476836 h 7458372"/>
              <a:gd name="connsiteX41775" fmla="*/ 6144640 w 10505529"/>
              <a:gd name="connsiteY41775" fmla="*/ 486154 h 7458372"/>
              <a:gd name="connsiteX41776" fmla="*/ 6135322 w 10505529"/>
              <a:gd name="connsiteY41776" fmla="*/ 492411 h 7458372"/>
              <a:gd name="connsiteX41777" fmla="*/ 6123608 w 10505529"/>
              <a:gd name="connsiteY41777" fmla="*/ 494674 h 7458372"/>
              <a:gd name="connsiteX41778" fmla="*/ 6101775 w 10505529"/>
              <a:gd name="connsiteY41778" fmla="*/ 486154 h 7458372"/>
              <a:gd name="connsiteX41779" fmla="*/ 6093389 w 10505529"/>
              <a:gd name="connsiteY41779" fmla="*/ 464988 h 7458372"/>
              <a:gd name="connsiteX41780" fmla="*/ 6101775 w 10505529"/>
              <a:gd name="connsiteY41780" fmla="*/ 443956 h 7458372"/>
              <a:gd name="connsiteX41781" fmla="*/ 6123608 w 10505529"/>
              <a:gd name="connsiteY41781" fmla="*/ 435303 h 7458372"/>
              <a:gd name="connsiteX41782" fmla="*/ 6558899 w 10505529"/>
              <a:gd name="connsiteY41782" fmla="*/ 435303 h 7458372"/>
              <a:gd name="connsiteX41783" fmla="*/ 6570612 w 10505529"/>
              <a:gd name="connsiteY41783" fmla="*/ 437965 h 7458372"/>
              <a:gd name="connsiteX41784" fmla="*/ 6579930 w 10505529"/>
              <a:gd name="connsiteY41784" fmla="*/ 444355 h 7458372"/>
              <a:gd name="connsiteX41785" fmla="*/ 6586054 w 10505529"/>
              <a:gd name="connsiteY41785" fmla="*/ 453673 h 7458372"/>
              <a:gd name="connsiteX41786" fmla="*/ 6588317 w 10505529"/>
              <a:gd name="connsiteY41786" fmla="*/ 465121 h 7458372"/>
              <a:gd name="connsiteX41787" fmla="*/ 6586054 w 10505529"/>
              <a:gd name="connsiteY41787" fmla="*/ 476835 h 7458372"/>
              <a:gd name="connsiteX41788" fmla="*/ 6579930 w 10505529"/>
              <a:gd name="connsiteY41788" fmla="*/ 486154 h 7458372"/>
              <a:gd name="connsiteX41789" fmla="*/ 6570612 w 10505529"/>
              <a:gd name="connsiteY41789" fmla="*/ 492411 h 7458372"/>
              <a:gd name="connsiteX41790" fmla="*/ 6558899 w 10505529"/>
              <a:gd name="connsiteY41790" fmla="*/ 494674 h 7458372"/>
              <a:gd name="connsiteX41791" fmla="*/ 6537066 w 10505529"/>
              <a:gd name="connsiteY41791" fmla="*/ 486154 h 7458372"/>
              <a:gd name="connsiteX41792" fmla="*/ 6528680 w 10505529"/>
              <a:gd name="connsiteY41792" fmla="*/ 464988 h 7458372"/>
              <a:gd name="connsiteX41793" fmla="*/ 6537066 w 10505529"/>
              <a:gd name="connsiteY41793" fmla="*/ 443956 h 7458372"/>
              <a:gd name="connsiteX41794" fmla="*/ 6558899 w 10505529"/>
              <a:gd name="connsiteY41794" fmla="*/ 435303 h 7458372"/>
              <a:gd name="connsiteX41795" fmla="*/ 6341253 w 10505529"/>
              <a:gd name="connsiteY41795" fmla="*/ 435303 h 7458372"/>
              <a:gd name="connsiteX41796" fmla="*/ 6352968 w 10505529"/>
              <a:gd name="connsiteY41796" fmla="*/ 437965 h 7458372"/>
              <a:gd name="connsiteX41797" fmla="*/ 6362286 w 10505529"/>
              <a:gd name="connsiteY41797" fmla="*/ 444355 h 7458372"/>
              <a:gd name="connsiteX41798" fmla="*/ 6368409 w 10505529"/>
              <a:gd name="connsiteY41798" fmla="*/ 453673 h 7458372"/>
              <a:gd name="connsiteX41799" fmla="*/ 6370672 w 10505529"/>
              <a:gd name="connsiteY41799" fmla="*/ 465121 h 7458372"/>
              <a:gd name="connsiteX41800" fmla="*/ 6368409 w 10505529"/>
              <a:gd name="connsiteY41800" fmla="*/ 476836 h 7458372"/>
              <a:gd name="connsiteX41801" fmla="*/ 6362286 w 10505529"/>
              <a:gd name="connsiteY41801" fmla="*/ 486154 h 7458372"/>
              <a:gd name="connsiteX41802" fmla="*/ 6352968 w 10505529"/>
              <a:gd name="connsiteY41802" fmla="*/ 492411 h 7458372"/>
              <a:gd name="connsiteX41803" fmla="*/ 6341253 w 10505529"/>
              <a:gd name="connsiteY41803" fmla="*/ 494674 h 7458372"/>
              <a:gd name="connsiteX41804" fmla="*/ 6319421 w 10505529"/>
              <a:gd name="connsiteY41804" fmla="*/ 486154 h 7458372"/>
              <a:gd name="connsiteX41805" fmla="*/ 6311035 w 10505529"/>
              <a:gd name="connsiteY41805" fmla="*/ 464988 h 7458372"/>
              <a:gd name="connsiteX41806" fmla="*/ 6319421 w 10505529"/>
              <a:gd name="connsiteY41806" fmla="*/ 443956 h 7458372"/>
              <a:gd name="connsiteX41807" fmla="*/ 6341253 w 10505529"/>
              <a:gd name="connsiteY41807" fmla="*/ 435303 h 7458372"/>
              <a:gd name="connsiteX41808" fmla="*/ 6776544 w 10505529"/>
              <a:gd name="connsiteY41808" fmla="*/ 435303 h 7458372"/>
              <a:gd name="connsiteX41809" fmla="*/ 6788258 w 10505529"/>
              <a:gd name="connsiteY41809" fmla="*/ 437965 h 7458372"/>
              <a:gd name="connsiteX41810" fmla="*/ 6797576 w 10505529"/>
              <a:gd name="connsiteY41810" fmla="*/ 444355 h 7458372"/>
              <a:gd name="connsiteX41811" fmla="*/ 6803699 w 10505529"/>
              <a:gd name="connsiteY41811" fmla="*/ 453673 h 7458372"/>
              <a:gd name="connsiteX41812" fmla="*/ 6805963 w 10505529"/>
              <a:gd name="connsiteY41812" fmla="*/ 465121 h 7458372"/>
              <a:gd name="connsiteX41813" fmla="*/ 6803699 w 10505529"/>
              <a:gd name="connsiteY41813" fmla="*/ 476835 h 7458372"/>
              <a:gd name="connsiteX41814" fmla="*/ 6797576 w 10505529"/>
              <a:gd name="connsiteY41814" fmla="*/ 486154 h 7458372"/>
              <a:gd name="connsiteX41815" fmla="*/ 6788258 w 10505529"/>
              <a:gd name="connsiteY41815" fmla="*/ 492411 h 7458372"/>
              <a:gd name="connsiteX41816" fmla="*/ 6776544 w 10505529"/>
              <a:gd name="connsiteY41816" fmla="*/ 494674 h 7458372"/>
              <a:gd name="connsiteX41817" fmla="*/ 6754711 w 10505529"/>
              <a:gd name="connsiteY41817" fmla="*/ 486154 h 7458372"/>
              <a:gd name="connsiteX41818" fmla="*/ 6746325 w 10505529"/>
              <a:gd name="connsiteY41818" fmla="*/ 464988 h 7458372"/>
              <a:gd name="connsiteX41819" fmla="*/ 6754711 w 10505529"/>
              <a:gd name="connsiteY41819" fmla="*/ 443956 h 7458372"/>
              <a:gd name="connsiteX41820" fmla="*/ 6776544 w 10505529"/>
              <a:gd name="connsiteY41820" fmla="*/ 435303 h 7458372"/>
              <a:gd name="connsiteX41821" fmla="*/ 6994056 w 10505529"/>
              <a:gd name="connsiteY41821" fmla="*/ 435303 h 7458372"/>
              <a:gd name="connsiteX41822" fmla="*/ 7005769 w 10505529"/>
              <a:gd name="connsiteY41822" fmla="*/ 437965 h 7458372"/>
              <a:gd name="connsiteX41823" fmla="*/ 7015087 w 10505529"/>
              <a:gd name="connsiteY41823" fmla="*/ 444355 h 7458372"/>
              <a:gd name="connsiteX41824" fmla="*/ 7021211 w 10505529"/>
              <a:gd name="connsiteY41824" fmla="*/ 453673 h 7458372"/>
              <a:gd name="connsiteX41825" fmla="*/ 7023474 w 10505529"/>
              <a:gd name="connsiteY41825" fmla="*/ 465121 h 7458372"/>
              <a:gd name="connsiteX41826" fmla="*/ 7021211 w 10505529"/>
              <a:gd name="connsiteY41826" fmla="*/ 476835 h 7458372"/>
              <a:gd name="connsiteX41827" fmla="*/ 7015087 w 10505529"/>
              <a:gd name="connsiteY41827" fmla="*/ 486154 h 7458372"/>
              <a:gd name="connsiteX41828" fmla="*/ 7005769 w 10505529"/>
              <a:gd name="connsiteY41828" fmla="*/ 492410 h 7458372"/>
              <a:gd name="connsiteX41829" fmla="*/ 6994056 w 10505529"/>
              <a:gd name="connsiteY41829" fmla="*/ 494674 h 7458372"/>
              <a:gd name="connsiteX41830" fmla="*/ 6972223 w 10505529"/>
              <a:gd name="connsiteY41830" fmla="*/ 486154 h 7458372"/>
              <a:gd name="connsiteX41831" fmla="*/ 6963837 w 10505529"/>
              <a:gd name="connsiteY41831" fmla="*/ 464988 h 7458372"/>
              <a:gd name="connsiteX41832" fmla="*/ 6972223 w 10505529"/>
              <a:gd name="connsiteY41832" fmla="*/ 443956 h 7458372"/>
              <a:gd name="connsiteX41833" fmla="*/ 6994056 w 10505529"/>
              <a:gd name="connsiteY41833" fmla="*/ 435303 h 7458372"/>
              <a:gd name="connsiteX41834" fmla="*/ 7211701 w 10505529"/>
              <a:gd name="connsiteY41834" fmla="*/ 435302 h 7458372"/>
              <a:gd name="connsiteX41835" fmla="*/ 7223415 w 10505529"/>
              <a:gd name="connsiteY41835" fmla="*/ 437964 h 7458372"/>
              <a:gd name="connsiteX41836" fmla="*/ 7232733 w 10505529"/>
              <a:gd name="connsiteY41836" fmla="*/ 444355 h 7458372"/>
              <a:gd name="connsiteX41837" fmla="*/ 7238856 w 10505529"/>
              <a:gd name="connsiteY41837" fmla="*/ 453673 h 7458372"/>
              <a:gd name="connsiteX41838" fmla="*/ 7241120 w 10505529"/>
              <a:gd name="connsiteY41838" fmla="*/ 465121 h 7458372"/>
              <a:gd name="connsiteX41839" fmla="*/ 7238856 w 10505529"/>
              <a:gd name="connsiteY41839" fmla="*/ 476835 h 7458372"/>
              <a:gd name="connsiteX41840" fmla="*/ 7232733 w 10505529"/>
              <a:gd name="connsiteY41840" fmla="*/ 486153 h 7458372"/>
              <a:gd name="connsiteX41841" fmla="*/ 7223415 w 10505529"/>
              <a:gd name="connsiteY41841" fmla="*/ 492410 h 7458372"/>
              <a:gd name="connsiteX41842" fmla="*/ 7211701 w 10505529"/>
              <a:gd name="connsiteY41842" fmla="*/ 494673 h 7458372"/>
              <a:gd name="connsiteX41843" fmla="*/ 7189868 w 10505529"/>
              <a:gd name="connsiteY41843" fmla="*/ 486153 h 7458372"/>
              <a:gd name="connsiteX41844" fmla="*/ 7181482 w 10505529"/>
              <a:gd name="connsiteY41844" fmla="*/ 464988 h 7458372"/>
              <a:gd name="connsiteX41845" fmla="*/ 7189868 w 10505529"/>
              <a:gd name="connsiteY41845" fmla="*/ 443955 h 7458372"/>
              <a:gd name="connsiteX41846" fmla="*/ 7211701 w 10505529"/>
              <a:gd name="connsiteY41846" fmla="*/ 435302 h 7458372"/>
              <a:gd name="connsiteX41847" fmla="*/ 7429345 w 10505529"/>
              <a:gd name="connsiteY41847" fmla="*/ 435302 h 7458372"/>
              <a:gd name="connsiteX41848" fmla="*/ 7441059 w 10505529"/>
              <a:gd name="connsiteY41848" fmla="*/ 437964 h 7458372"/>
              <a:gd name="connsiteX41849" fmla="*/ 7450377 w 10505529"/>
              <a:gd name="connsiteY41849" fmla="*/ 444354 h 7458372"/>
              <a:gd name="connsiteX41850" fmla="*/ 7456501 w 10505529"/>
              <a:gd name="connsiteY41850" fmla="*/ 453673 h 7458372"/>
              <a:gd name="connsiteX41851" fmla="*/ 7458764 w 10505529"/>
              <a:gd name="connsiteY41851" fmla="*/ 465121 h 7458372"/>
              <a:gd name="connsiteX41852" fmla="*/ 7456501 w 10505529"/>
              <a:gd name="connsiteY41852" fmla="*/ 476835 h 7458372"/>
              <a:gd name="connsiteX41853" fmla="*/ 7450377 w 10505529"/>
              <a:gd name="connsiteY41853" fmla="*/ 486153 h 7458372"/>
              <a:gd name="connsiteX41854" fmla="*/ 7441059 w 10505529"/>
              <a:gd name="connsiteY41854" fmla="*/ 492410 h 7458372"/>
              <a:gd name="connsiteX41855" fmla="*/ 7429345 w 10505529"/>
              <a:gd name="connsiteY41855" fmla="*/ 494673 h 7458372"/>
              <a:gd name="connsiteX41856" fmla="*/ 7407513 w 10505529"/>
              <a:gd name="connsiteY41856" fmla="*/ 486153 h 7458372"/>
              <a:gd name="connsiteX41857" fmla="*/ 7399127 w 10505529"/>
              <a:gd name="connsiteY41857" fmla="*/ 464988 h 7458372"/>
              <a:gd name="connsiteX41858" fmla="*/ 7407513 w 10505529"/>
              <a:gd name="connsiteY41858" fmla="*/ 443955 h 7458372"/>
              <a:gd name="connsiteX41859" fmla="*/ 7429345 w 10505529"/>
              <a:gd name="connsiteY41859" fmla="*/ 435302 h 7458372"/>
              <a:gd name="connsiteX41860" fmla="*/ 7646991 w 10505529"/>
              <a:gd name="connsiteY41860" fmla="*/ 435302 h 7458372"/>
              <a:gd name="connsiteX41861" fmla="*/ 7658705 w 10505529"/>
              <a:gd name="connsiteY41861" fmla="*/ 437964 h 7458372"/>
              <a:gd name="connsiteX41862" fmla="*/ 7668022 w 10505529"/>
              <a:gd name="connsiteY41862" fmla="*/ 444354 h 7458372"/>
              <a:gd name="connsiteX41863" fmla="*/ 7674146 w 10505529"/>
              <a:gd name="connsiteY41863" fmla="*/ 453672 h 7458372"/>
              <a:gd name="connsiteX41864" fmla="*/ 7676409 w 10505529"/>
              <a:gd name="connsiteY41864" fmla="*/ 465121 h 7458372"/>
              <a:gd name="connsiteX41865" fmla="*/ 7674146 w 10505529"/>
              <a:gd name="connsiteY41865" fmla="*/ 476835 h 7458372"/>
              <a:gd name="connsiteX41866" fmla="*/ 7668022 w 10505529"/>
              <a:gd name="connsiteY41866" fmla="*/ 486153 h 7458372"/>
              <a:gd name="connsiteX41867" fmla="*/ 7658705 w 10505529"/>
              <a:gd name="connsiteY41867" fmla="*/ 492410 h 7458372"/>
              <a:gd name="connsiteX41868" fmla="*/ 7646991 w 10505529"/>
              <a:gd name="connsiteY41868" fmla="*/ 494673 h 7458372"/>
              <a:gd name="connsiteX41869" fmla="*/ 7625158 w 10505529"/>
              <a:gd name="connsiteY41869" fmla="*/ 486153 h 7458372"/>
              <a:gd name="connsiteX41870" fmla="*/ 7616772 w 10505529"/>
              <a:gd name="connsiteY41870" fmla="*/ 464988 h 7458372"/>
              <a:gd name="connsiteX41871" fmla="*/ 7625158 w 10505529"/>
              <a:gd name="connsiteY41871" fmla="*/ 443955 h 7458372"/>
              <a:gd name="connsiteX41872" fmla="*/ 7646991 w 10505529"/>
              <a:gd name="connsiteY41872" fmla="*/ 435302 h 7458372"/>
              <a:gd name="connsiteX41873" fmla="*/ 7864636 w 10505529"/>
              <a:gd name="connsiteY41873" fmla="*/ 435302 h 7458372"/>
              <a:gd name="connsiteX41874" fmla="*/ 7876483 w 10505529"/>
              <a:gd name="connsiteY41874" fmla="*/ 437964 h 7458372"/>
              <a:gd name="connsiteX41875" fmla="*/ 7885802 w 10505529"/>
              <a:gd name="connsiteY41875" fmla="*/ 444354 h 7458372"/>
              <a:gd name="connsiteX41876" fmla="*/ 7891924 w 10505529"/>
              <a:gd name="connsiteY41876" fmla="*/ 453672 h 7458372"/>
              <a:gd name="connsiteX41877" fmla="*/ 7894188 w 10505529"/>
              <a:gd name="connsiteY41877" fmla="*/ 465121 h 7458372"/>
              <a:gd name="connsiteX41878" fmla="*/ 7891924 w 10505529"/>
              <a:gd name="connsiteY41878" fmla="*/ 476835 h 7458372"/>
              <a:gd name="connsiteX41879" fmla="*/ 7885802 w 10505529"/>
              <a:gd name="connsiteY41879" fmla="*/ 486153 h 7458372"/>
              <a:gd name="connsiteX41880" fmla="*/ 7876483 w 10505529"/>
              <a:gd name="connsiteY41880" fmla="*/ 492410 h 7458372"/>
              <a:gd name="connsiteX41881" fmla="*/ 7864636 w 10505529"/>
              <a:gd name="connsiteY41881" fmla="*/ 494673 h 7458372"/>
              <a:gd name="connsiteX41882" fmla="*/ 7842803 w 10505529"/>
              <a:gd name="connsiteY41882" fmla="*/ 486153 h 7458372"/>
              <a:gd name="connsiteX41883" fmla="*/ 7834417 w 10505529"/>
              <a:gd name="connsiteY41883" fmla="*/ 464988 h 7458372"/>
              <a:gd name="connsiteX41884" fmla="*/ 7842803 w 10505529"/>
              <a:gd name="connsiteY41884" fmla="*/ 443955 h 7458372"/>
              <a:gd name="connsiteX41885" fmla="*/ 7864636 w 10505529"/>
              <a:gd name="connsiteY41885" fmla="*/ 435302 h 7458372"/>
              <a:gd name="connsiteX41886" fmla="*/ 8082281 w 10505529"/>
              <a:gd name="connsiteY41886" fmla="*/ 435302 h 7458372"/>
              <a:gd name="connsiteX41887" fmla="*/ 8094127 w 10505529"/>
              <a:gd name="connsiteY41887" fmla="*/ 437964 h 7458372"/>
              <a:gd name="connsiteX41888" fmla="*/ 8103446 w 10505529"/>
              <a:gd name="connsiteY41888" fmla="*/ 444354 h 7458372"/>
              <a:gd name="connsiteX41889" fmla="*/ 8109569 w 10505529"/>
              <a:gd name="connsiteY41889" fmla="*/ 453672 h 7458372"/>
              <a:gd name="connsiteX41890" fmla="*/ 8111832 w 10505529"/>
              <a:gd name="connsiteY41890" fmla="*/ 465120 h 7458372"/>
              <a:gd name="connsiteX41891" fmla="*/ 8109569 w 10505529"/>
              <a:gd name="connsiteY41891" fmla="*/ 476835 h 7458372"/>
              <a:gd name="connsiteX41892" fmla="*/ 8103446 w 10505529"/>
              <a:gd name="connsiteY41892" fmla="*/ 486153 h 7458372"/>
              <a:gd name="connsiteX41893" fmla="*/ 8094127 w 10505529"/>
              <a:gd name="connsiteY41893" fmla="*/ 492410 h 7458372"/>
              <a:gd name="connsiteX41894" fmla="*/ 8082281 w 10505529"/>
              <a:gd name="connsiteY41894" fmla="*/ 494673 h 7458372"/>
              <a:gd name="connsiteX41895" fmla="*/ 8060448 w 10505529"/>
              <a:gd name="connsiteY41895" fmla="*/ 486153 h 7458372"/>
              <a:gd name="connsiteX41896" fmla="*/ 8052062 w 10505529"/>
              <a:gd name="connsiteY41896" fmla="*/ 464988 h 7458372"/>
              <a:gd name="connsiteX41897" fmla="*/ 8060448 w 10505529"/>
              <a:gd name="connsiteY41897" fmla="*/ 443955 h 7458372"/>
              <a:gd name="connsiteX41898" fmla="*/ 8082281 w 10505529"/>
              <a:gd name="connsiteY41898" fmla="*/ 435302 h 7458372"/>
              <a:gd name="connsiteX41899" fmla="*/ 8299793 w 10505529"/>
              <a:gd name="connsiteY41899" fmla="*/ 435302 h 7458372"/>
              <a:gd name="connsiteX41900" fmla="*/ 8311507 w 10505529"/>
              <a:gd name="connsiteY41900" fmla="*/ 437964 h 7458372"/>
              <a:gd name="connsiteX41901" fmla="*/ 8320825 w 10505529"/>
              <a:gd name="connsiteY41901" fmla="*/ 444354 h 7458372"/>
              <a:gd name="connsiteX41902" fmla="*/ 8326948 w 10505529"/>
              <a:gd name="connsiteY41902" fmla="*/ 453672 h 7458372"/>
              <a:gd name="connsiteX41903" fmla="*/ 8329212 w 10505529"/>
              <a:gd name="connsiteY41903" fmla="*/ 465120 h 7458372"/>
              <a:gd name="connsiteX41904" fmla="*/ 8326948 w 10505529"/>
              <a:gd name="connsiteY41904" fmla="*/ 476835 h 7458372"/>
              <a:gd name="connsiteX41905" fmla="*/ 8320825 w 10505529"/>
              <a:gd name="connsiteY41905" fmla="*/ 486153 h 7458372"/>
              <a:gd name="connsiteX41906" fmla="*/ 8311507 w 10505529"/>
              <a:gd name="connsiteY41906" fmla="*/ 492410 h 7458372"/>
              <a:gd name="connsiteX41907" fmla="*/ 8299793 w 10505529"/>
              <a:gd name="connsiteY41907" fmla="*/ 494673 h 7458372"/>
              <a:gd name="connsiteX41908" fmla="*/ 8277960 w 10505529"/>
              <a:gd name="connsiteY41908" fmla="*/ 486153 h 7458372"/>
              <a:gd name="connsiteX41909" fmla="*/ 8269574 w 10505529"/>
              <a:gd name="connsiteY41909" fmla="*/ 464987 h 7458372"/>
              <a:gd name="connsiteX41910" fmla="*/ 8277960 w 10505529"/>
              <a:gd name="connsiteY41910" fmla="*/ 443955 h 7458372"/>
              <a:gd name="connsiteX41911" fmla="*/ 8299793 w 10505529"/>
              <a:gd name="connsiteY41911" fmla="*/ 435302 h 7458372"/>
              <a:gd name="connsiteX41912" fmla="*/ 8517438 w 10505529"/>
              <a:gd name="connsiteY41912" fmla="*/ 435302 h 7458372"/>
              <a:gd name="connsiteX41913" fmla="*/ 8529152 w 10505529"/>
              <a:gd name="connsiteY41913" fmla="*/ 437964 h 7458372"/>
              <a:gd name="connsiteX41914" fmla="*/ 8538470 w 10505529"/>
              <a:gd name="connsiteY41914" fmla="*/ 444354 h 7458372"/>
              <a:gd name="connsiteX41915" fmla="*/ 8544594 w 10505529"/>
              <a:gd name="connsiteY41915" fmla="*/ 453672 h 7458372"/>
              <a:gd name="connsiteX41916" fmla="*/ 8546857 w 10505529"/>
              <a:gd name="connsiteY41916" fmla="*/ 465120 h 7458372"/>
              <a:gd name="connsiteX41917" fmla="*/ 8544594 w 10505529"/>
              <a:gd name="connsiteY41917" fmla="*/ 476835 h 7458372"/>
              <a:gd name="connsiteX41918" fmla="*/ 8538470 w 10505529"/>
              <a:gd name="connsiteY41918" fmla="*/ 486153 h 7458372"/>
              <a:gd name="connsiteX41919" fmla="*/ 8529152 w 10505529"/>
              <a:gd name="connsiteY41919" fmla="*/ 492410 h 7458372"/>
              <a:gd name="connsiteX41920" fmla="*/ 8517438 w 10505529"/>
              <a:gd name="connsiteY41920" fmla="*/ 494673 h 7458372"/>
              <a:gd name="connsiteX41921" fmla="*/ 8495606 w 10505529"/>
              <a:gd name="connsiteY41921" fmla="*/ 486153 h 7458372"/>
              <a:gd name="connsiteX41922" fmla="*/ 8487220 w 10505529"/>
              <a:gd name="connsiteY41922" fmla="*/ 464987 h 7458372"/>
              <a:gd name="connsiteX41923" fmla="*/ 8495606 w 10505529"/>
              <a:gd name="connsiteY41923" fmla="*/ 443955 h 7458372"/>
              <a:gd name="connsiteX41924" fmla="*/ 8517438 w 10505529"/>
              <a:gd name="connsiteY41924" fmla="*/ 435302 h 7458372"/>
              <a:gd name="connsiteX41925" fmla="*/ 8735083 w 10505529"/>
              <a:gd name="connsiteY41925" fmla="*/ 435302 h 7458372"/>
              <a:gd name="connsiteX41926" fmla="*/ 8746797 w 10505529"/>
              <a:gd name="connsiteY41926" fmla="*/ 437964 h 7458372"/>
              <a:gd name="connsiteX41927" fmla="*/ 8756115 w 10505529"/>
              <a:gd name="connsiteY41927" fmla="*/ 444354 h 7458372"/>
              <a:gd name="connsiteX41928" fmla="*/ 8762238 w 10505529"/>
              <a:gd name="connsiteY41928" fmla="*/ 453672 h 7458372"/>
              <a:gd name="connsiteX41929" fmla="*/ 8764502 w 10505529"/>
              <a:gd name="connsiteY41929" fmla="*/ 465120 h 7458372"/>
              <a:gd name="connsiteX41930" fmla="*/ 8762238 w 10505529"/>
              <a:gd name="connsiteY41930" fmla="*/ 476834 h 7458372"/>
              <a:gd name="connsiteX41931" fmla="*/ 8756115 w 10505529"/>
              <a:gd name="connsiteY41931" fmla="*/ 486153 h 7458372"/>
              <a:gd name="connsiteX41932" fmla="*/ 8746797 w 10505529"/>
              <a:gd name="connsiteY41932" fmla="*/ 492410 h 7458372"/>
              <a:gd name="connsiteX41933" fmla="*/ 8735083 w 10505529"/>
              <a:gd name="connsiteY41933" fmla="*/ 494673 h 7458372"/>
              <a:gd name="connsiteX41934" fmla="*/ 8713250 w 10505529"/>
              <a:gd name="connsiteY41934" fmla="*/ 486153 h 7458372"/>
              <a:gd name="connsiteX41935" fmla="*/ 8704864 w 10505529"/>
              <a:gd name="connsiteY41935" fmla="*/ 464987 h 7458372"/>
              <a:gd name="connsiteX41936" fmla="*/ 8713250 w 10505529"/>
              <a:gd name="connsiteY41936" fmla="*/ 443955 h 7458372"/>
              <a:gd name="connsiteX41937" fmla="*/ 8735083 w 10505529"/>
              <a:gd name="connsiteY41937" fmla="*/ 435302 h 7458372"/>
              <a:gd name="connsiteX41938" fmla="*/ 8952728 w 10505529"/>
              <a:gd name="connsiteY41938" fmla="*/ 435302 h 7458372"/>
              <a:gd name="connsiteX41939" fmla="*/ 8964442 w 10505529"/>
              <a:gd name="connsiteY41939" fmla="*/ 437964 h 7458372"/>
              <a:gd name="connsiteX41940" fmla="*/ 8973760 w 10505529"/>
              <a:gd name="connsiteY41940" fmla="*/ 444354 h 7458372"/>
              <a:gd name="connsiteX41941" fmla="*/ 8979884 w 10505529"/>
              <a:gd name="connsiteY41941" fmla="*/ 453672 h 7458372"/>
              <a:gd name="connsiteX41942" fmla="*/ 8982147 w 10505529"/>
              <a:gd name="connsiteY41942" fmla="*/ 465120 h 7458372"/>
              <a:gd name="connsiteX41943" fmla="*/ 8979884 w 10505529"/>
              <a:gd name="connsiteY41943" fmla="*/ 476834 h 7458372"/>
              <a:gd name="connsiteX41944" fmla="*/ 8973760 w 10505529"/>
              <a:gd name="connsiteY41944" fmla="*/ 486153 h 7458372"/>
              <a:gd name="connsiteX41945" fmla="*/ 8964442 w 10505529"/>
              <a:gd name="connsiteY41945" fmla="*/ 492410 h 7458372"/>
              <a:gd name="connsiteX41946" fmla="*/ 8952728 w 10505529"/>
              <a:gd name="connsiteY41946" fmla="*/ 494673 h 7458372"/>
              <a:gd name="connsiteX41947" fmla="*/ 8930896 w 10505529"/>
              <a:gd name="connsiteY41947" fmla="*/ 486153 h 7458372"/>
              <a:gd name="connsiteX41948" fmla="*/ 8922510 w 10505529"/>
              <a:gd name="connsiteY41948" fmla="*/ 464987 h 7458372"/>
              <a:gd name="connsiteX41949" fmla="*/ 8930896 w 10505529"/>
              <a:gd name="connsiteY41949" fmla="*/ 443955 h 7458372"/>
              <a:gd name="connsiteX41950" fmla="*/ 8952728 w 10505529"/>
              <a:gd name="connsiteY41950" fmla="*/ 435302 h 7458372"/>
              <a:gd name="connsiteX41951" fmla="*/ 9170374 w 10505529"/>
              <a:gd name="connsiteY41951" fmla="*/ 435301 h 7458372"/>
              <a:gd name="connsiteX41952" fmla="*/ 9182088 w 10505529"/>
              <a:gd name="connsiteY41952" fmla="*/ 437963 h 7458372"/>
              <a:gd name="connsiteX41953" fmla="*/ 9191405 w 10505529"/>
              <a:gd name="connsiteY41953" fmla="*/ 444354 h 7458372"/>
              <a:gd name="connsiteX41954" fmla="*/ 9197529 w 10505529"/>
              <a:gd name="connsiteY41954" fmla="*/ 453672 h 7458372"/>
              <a:gd name="connsiteX41955" fmla="*/ 9199792 w 10505529"/>
              <a:gd name="connsiteY41955" fmla="*/ 465120 h 7458372"/>
              <a:gd name="connsiteX41956" fmla="*/ 9197529 w 10505529"/>
              <a:gd name="connsiteY41956" fmla="*/ 476834 h 7458372"/>
              <a:gd name="connsiteX41957" fmla="*/ 9191405 w 10505529"/>
              <a:gd name="connsiteY41957" fmla="*/ 486152 h 7458372"/>
              <a:gd name="connsiteX41958" fmla="*/ 9182088 w 10505529"/>
              <a:gd name="connsiteY41958" fmla="*/ 492409 h 7458372"/>
              <a:gd name="connsiteX41959" fmla="*/ 9170374 w 10505529"/>
              <a:gd name="connsiteY41959" fmla="*/ 494673 h 7458372"/>
              <a:gd name="connsiteX41960" fmla="*/ 9148541 w 10505529"/>
              <a:gd name="connsiteY41960" fmla="*/ 486152 h 7458372"/>
              <a:gd name="connsiteX41961" fmla="*/ 9140155 w 10505529"/>
              <a:gd name="connsiteY41961" fmla="*/ 464987 h 7458372"/>
              <a:gd name="connsiteX41962" fmla="*/ 9148541 w 10505529"/>
              <a:gd name="connsiteY41962" fmla="*/ 443955 h 7458372"/>
              <a:gd name="connsiteX41963" fmla="*/ 9170374 w 10505529"/>
              <a:gd name="connsiteY41963" fmla="*/ 435301 h 7458372"/>
              <a:gd name="connsiteX41964" fmla="*/ 9387885 w 10505529"/>
              <a:gd name="connsiteY41964" fmla="*/ 435301 h 7458372"/>
              <a:gd name="connsiteX41965" fmla="*/ 9399599 w 10505529"/>
              <a:gd name="connsiteY41965" fmla="*/ 437963 h 7458372"/>
              <a:gd name="connsiteX41966" fmla="*/ 9408917 w 10505529"/>
              <a:gd name="connsiteY41966" fmla="*/ 444354 h 7458372"/>
              <a:gd name="connsiteX41967" fmla="*/ 9415041 w 10505529"/>
              <a:gd name="connsiteY41967" fmla="*/ 453672 h 7458372"/>
              <a:gd name="connsiteX41968" fmla="*/ 9417304 w 10505529"/>
              <a:gd name="connsiteY41968" fmla="*/ 465120 h 7458372"/>
              <a:gd name="connsiteX41969" fmla="*/ 9415041 w 10505529"/>
              <a:gd name="connsiteY41969" fmla="*/ 476834 h 7458372"/>
              <a:gd name="connsiteX41970" fmla="*/ 9408917 w 10505529"/>
              <a:gd name="connsiteY41970" fmla="*/ 486152 h 7458372"/>
              <a:gd name="connsiteX41971" fmla="*/ 9399599 w 10505529"/>
              <a:gd name="connsiteY41971" fmla="*/ 492409 h 7458372"/>
              <a:gd name="connsiteX41972" fmla="*/ 9387885 w 10505529"/>
              <a:gd name="connsiteY41972" fmla="*/ 494672 h 7458372"/>
              <a:gd name="connsiteX41973" fmla="*/ 9366053 w 10505529"/>
              <a:gd name="connsiteY41973" fmla="*/ 486152 h 7458372"/>
              <a:gd name="connsiteX41974" fmla="*/ 9357667 w 10505529"/>
              <a:gd name="connsiteY41974" fmla="*/ 464987 h 7458372"/>
              <a:gd name="connsiteX41975" fmla="*/ 9366053 w 10505529"/>
              <a:gd name="connsiteY41975" fmla="*/ 443954 h 7458372"/>
              <a:gd name="connsiteX41976" fmla="*/ 9387885 w 10505529"/>
              <a:gd name="connsiteY41976" fmla="*/ 435301 h 7458372"/>
              <a:gd name="connsiteX41977" fmla="*/ 9605531 w 10505529"/>
              <a:gd name="connsiteY41977" fmla="*/ 435301 h 7458372"/>
              <a:gd name="connsiteX41978" fmla="*/ 9617245 w 10505529"/>
              <a:gd name="connsiteY41978" fmla="*/ 437963 h 7458372"/>
              <a:gd name="connsiteX41979" fmla="*/ 9626562 w 10505529"/>
              <a:gd name="connsiteY41979" fmla="*/ 444353 h 7458372"/>
              <a:gd name="connsiteX41980" fmla="*/ 9632686 w 10505529"/>
              <a:gd name="connsiteY41980" fmla="*/ 453672 h 7458372"/>
              <a:gd name="connsiteX41981" fmla="*/ 9634949 w 10505529"/>
              <a:gd name="connsiteY41981" fmla="*/ 465120 h 7458372"/>
              <a:gd name="connsiteX41982" fmla="*/ 9632686 w 10505529"/>
              <a:gd name="connsiteY41982" fmla="*/ 476834 h 7458372"/>
              <a:gd name="connsiteX41983" fmla="*/ 9626562 w 10505529"/>
              <a:gd name="connsiteY41983" fmla="*/ 486152 h 7458372"/>
              <a:gd name="connsiteX41984" fmla="*/ 9617245 w 10505529"/>
              <a:gd name="connsiteY41984" fmla="*/ 492409 h 7458372"/>
              <a:gd name="connsiteX41985" fmla="*/ 9605531 w 10505529"/>
              <a:gd name="connsiteY41985" fmla="*/ 494672 h 7458372"/>
              <a:gd name="connsiteX41986" fmla="*/ 9583698 w 10505529"/>
              <a:gd name="connsiteY41986" fmla="*/ 486152 h 7458372"/>
              <a:gd name="connsiteX41987" fmla="*/ 9575312 w 10505529"/>
              <a:gd name="connsiteY41987" fmla="*/ 464987 h 7458372"/>
              <a:gd name="connsiteX41988" fmla="*/ 9583698 w 10505529"/>
              <a:gd name="connsiteY41988" fmla="*/ 443954 h 7458372"/>
              <a:gd name="connsiteX41989" fmla="*/ 9605531 w 10505529"/>
              <a:gd name="connsiteY41989" fmla="*/ 435301 h 7458372"/>
              <a:gd name="connsiteX41990" fmla="*/ 9823176 w 10505529"/>
              <a:gd name="connsiteY41990" fmla="*/ 435301 h 7458372"/>
              <a:gd name="connsiteX41991" fmla="*/ 9834890 w 10505529"/>
              <a:gd name="connsiteY41991" fmla="*/ 437963 h 7458372"/>
              <a:gd name="connsiteX41992" fmla="*/ 9844208 w 10505529"/>
              <a:gd name="connsiteY41992" fmla="*/ 444353 h 7458372"/>
              <a:gd name="connsiteX41993" fmla="*/ 9850331 w 10505529"/>
              <a:gd name="connsiteY41993" fmla="*/ 453672 h 7458372"/>
              <a:gd name="connsiteX41994" fmla="*/ 9852595 w 10505529"/>
              <a:gd name="connsiteY41994" fmla="*/ 465120 h 7458372"/>
              <a:gd name="connsiteX41995" fmla="*/ 9850331 w 10505529"/>
              <a:gd name="connsiteY41995" fmla="*/ 476834 h 7458372"/>
              <a:gd name="connsiteX41996" fmla="*/ 9844208 w 10505529"/>
              <a:gd name="connsiteY41996" fmla="*/ 486152 h 7458372"/>
              <a:gd name="connsiteX41997" fmla="*/ 9834890 w 10505529"/>
              <a:gd name="connsiteY41997" fmla="*/ 492409 h 7458372"/>
              <a:gd name="connsiteX41998" fmla="*/ 9823176 w 10505529"/>
              <a:gd name="connsiteY41998" fmla="*/ 494672 h 7458372"/>
              <a:gd name="connsiteX41999" fmla="*/ 9801343 w 10505529"/>
              <a:gd name="connsiteY41999" fmla="*/ 486152 h 7458372"/>
              <a:gd name="connsiteX42000" fmla="*/ 9792957 w 10505529"/>
              <a:gd name="connsiteY42000" fmla="*/ 464987 h 7458372"/>
              <a:gd name="connsiteX42001" fmla="*/ 9801343 w 10505529"/>
              <a:gd name="connsiteY42001" fmla="*/ 443954 h 7458372"/>
              <a:gd name="connsiteX42002" fmla="*/ 9823176 w 10505529"/>
              <a:gd name="connsiteY42002" fmla="*/ 435301 h 7458372"/>
              <a:gd name="connsiteX42003" fmla="*/ 10040820 w 10505529"/>
              <a:gd name="connsiteY42003" fmla="*/ 435301 h 7458372"/>
              <a:gd name="connsiteX42004" fmla="*/ 10052534 w 10505529"/>
              <a:gd name="connsiteY42004" fmla="*/ 437963 h 7458372"/>
              <a:gd name="connsiteX42005" fmla="*/ 10061852 w 10505529"/>
              <a:gd name="connsiteY42005" fmla="*/ 444353 h 7458372"/>
              <a:gd name="connsiteX42006" fmla="*/ 10067976 w 10505529"/>
              <a:gd name="connsiteY42006" fmla="*/ 453671 h 7458372"/>
              <a:gd name="connsiteX42007" fmla="*/ 10070239 w 10505529"/>
              <a:gd name="connsiteY42007" fmla="*/ 465120 h 7458372"/>
              <a:gd name="connsiteX42008" fmla="*/ 10067976 w 10505529"/>
              <a:gd name="connsiteY42008" fmla="*/ 476834 h 7458372"/>
              <a:gd name="connsiteX42009" fmla="*/ 10061852 w 10505529"/>
              <a:gd name="connsiteY42009" fmla="*/ 486152 h 7458372"/>
              <a:gd name="connsiteX42010" fmla="*/ 10052534 w 10505529"/>
              <a:gd name="connsiteY42010" fmla="*/ 492409 h 7458372"/>
              <a:gd name="connsiteX42011" fmla="*/ 10040820 w 10505529"/>
              <a:gd name="connsiteY42011" fmla="*/ 494672 h 7458372"/>
              <a:gd name="connsiteX42012" fmla="*/ 10018988 w 10505529"/>
              <a:gd name="connsiteY42012" fmla="*/ 486152 h 7458372"/>
              <a:gd name="connsiteX42013" fmla="*/ 10010602 w 10505529"/>
              <a:gd name="connsiteY42013" fmla="*/ 464987 h 7458372"/>
              <a:gd name="connsiteX42014" fmla="*/ 10018988 w 10505529"/>
              <a:gd name="connsiteY42014" fmla="*/ 443954 h 7458372"/>
              <a:gd name="connsiteX42015" fmla="*/ 10040820 w 10505529"/>
              <a:gd name="connsiteY42015" fmla="*/ 435301 h 7458372"/>
              <a:gd name="connsiteX42016" fmla="*/ 10258466 w 10505529"/>
              <a:gd name="connsiteY42016" fmla="*/ 435301 h 7458372"/>
              <a:gd name="connsiteX42017" fmla="*/ 10270313 w 10505529"/>
              <a:gd name="connsiteY42017" fmla="*/ 437963 h 7458372"/>
              <a:gd name="connsiteX42018" fmla="*/ 10279631 w 10505529"/>
              <a:gd name="connsiteY42018" fmla="*/ 444353 h 7458372"/>
              <a:gd name="connsiteX42019" fmla="*/ 10285754 w 10505529"/>
              <a:gd name="connsiteY42019" fmla="*/ 453671 h 7458372"/>
              <a:gd name="connsiteX42020" fmla="*/ 10288017 w 10505529"/>
              <a:gd name="connsiteY42020" fmla="*/ 465119 h 7458372"/>
              <a:gd name="connsiteX42021" fmla="*/ 10285754 w 10505529"/>
              <a:gd name="connsiteY42021" fmla="*/ 476834 h 7458372"/>
              <a:gd name="connsiteX42022" fmla="*/ 10279631 w 10505529"/>
              <a:gd name="connsiteY42022" fmla="*/ 486152 h 7458372"/>
              <a:gd name="connsiteX42023" fmla="*/ 10270313 w 10505529"/>
              <a:gd name="connsiteY42023" fmla="*/ 492409 h 7458372"/>
              <a:gd name="connsiteX42024" fmla="*/ 10258466 w 10505529"/>
              <a:gd name="connsiteY42024" fmla="*/ 494672 h 7458372"/>
              <a:gd name="connsiteX42025" fmla="*/ 10236633 w 10505529"/>
              <a:gd name="connsiteY42025" fmla="*/ 486152 h 7458372"/>
              <a:gd name="connsiteX42026" fmla="*/ 10228247 w 10505529"/>
              <a:gd name="connsiteY42026" fmla="*/ 464986 h 7458372"/>
              <a:gd name="connsiteX42027" fmla="*/ 10236633 w 10505529"/>
              <a:gd name="connsiteY42027" fmla="*/ 443954 h 7458372"/>
              <a:gd name="connsiteX42028" fmla="*/ 10258466 w 10505529"/>
              <a:gd name="connsiteY42028" fmla="*/ 435301 h 7458372"/>
              <a:gd name="connsiteX42029" fmla="*/ 10475977 w 10505529"/>
              <a:gd name="connsiteY42029" fmla="*/ 435301 h 7458372"/>
              <a:gd name="connsiteX42030" fmla="*/ 10487824 w 10505529"/>
              <a:gd name="connsiteY42030" fmla="*/ 437963 h 7458372"/>
              <a:gd name="connsiteX42031" fmla="*/ 10497143 w 10505529"/>
              <a:gd name="connsiteY42031" fmla="*/ 444353 h 7458372"/>
              <a:gd name="connsiteX42032" fmla="*/ 10503266 w 10505529"/>
              <a:gd name="connsiteY42032" fmla="*/ 453671 h 7458372"/>
              <a:gd name="connsiteX42033" fmla="*/ 10505529 w 10505529"/>
              <a:gd name="connsiteY42033" fmla="*/ 465119 h 7458372"/>
              <a:gd name="connsiteX42034" fmla="*/ 10503266 w 10505529"/>
              <a:gd name="connsiteY42034" fmla="*/ 476834 h 7458372"/>
              <a:gd name="connsiteX42035" fmla="*/ 10497143 w 10505529"/>
              <a:gd name="connsiteY42035" fmla="*/ 486152 h 7458372"/>
              <a:gd name="connsiteX42036" fmla="*/ 10487824 w 10505529"/>
              <a:gd name="connsiteY42036" fmla="*/ 492409 h 7458372"/>
              <a:gd name="connsiteX42037" fmla="*/ 10475977 w 10505529"/>
              <a:gd name="connsiteY42037" fmla="*/ 494672 h 7458372"/>
              <a:gd name="connsiteX42038" fmla="*/ 10454145 w 10505529"/>
              <a:gd name="connsiteY42038" fmla="*/ 486152 h 7458372"/>
              <a:gd name="connsiteX42039" fmla="*/ 10445759 w 10505529"/>
              <a:gd name="connsiteY42039" fmla="*/ 464986 h 7458372"/>
              <a:gd name="connsiteX42040" fmla="*/ 10454145 w 10505529"/>
              <a:gd name="connsiteY42040" fmla="*/ 443954 h 7458372"/>
              <a:gd name="connsiteX42041" fmla="*/ 10475977 w 10505529"/>
              <a:gd name="connsiteY42041" fmla="*/ 435301 h 7458372"/>
              <a:gd name="connsiteX42042" fmla="*/ 30225 w 10505529"/>
              <a:gd name="connsiteY42042" fmla="*/ 234162 h 7458372"/>
              <a:gd name="connsiteX42043" fmla="*/ 20241 w 10505529"/>
              <a:gd name="connsiteY42043" fmla="*/ 237757 h 7458372"/>
              <a:gd name="connsiteX42044" fmla="*/ 16647 w 10505529"/>
              <a:gd name="connsiteY42044" fmla="*/ 247208 h 7458372"/>
              <a:gd name="connsiteX42045" fmla="*/ 20241 w 10505529"/>
              <a:gd name="connsiteY42045" fmla="*/ 256792 h 7458372"/>
              <a:gd name="connsiteX42046" fmla="*/ 30225 w 10505529"/>
              <a:gd name="connsiteY42046" fmla="*/ 260253 h 7458372"/>
              <a:gd name="connsiteX42047" fmla="*/ 35550 w 10505529"/>
              <a:gd name="connsiteY42047" fmla="*/ 259321 h 7458372"/>
              <a:gd name="connsiteX42048" fmla="*/ 39277 w 10505529"/>
              <a:gd name="connsiteY42048" fmla="*/ 256925 h 7458372"/>
              <a:gd name="connsiteX42049" fmla="*/ 41940 w 10505529"/>
              <a:gd name="connsiteY42049" fmla="*/ 252666 h 7458372"/>
              <a:gd name="connsiteX42050" fmla="*/ 42871 w 10505529"/>
              <a:gd name="connsiteY42050" fmla="*/ 247208 h 7458372"/>
              <a:gd name="connsiteX42051" fmla="*/ 41940 w 10505529"/>
              <a:gd name="connsiteY42051" fmla="*/ 242016 h 7458372"/>
              <a:gd name="connsiteX42052" fmla="*/ 39277 w 10505529"/>
              <a:gd name="connsiteY42052" fmla="*/ 237890 h 7458372"/>
              <a:gd name="connsiteX42053" fmla="*/ 35284 w 10505529"/>
              <a:gd name="connsiteY42053" fmla="*/ 235227 h 7458372"/>
              <a:gd name="connsiteX42054" fmla="*/ 30225 w 10505529"/>
              <a:gd name="connsiteY42054" fmla="*/ 234162 h 7458372"/>
              <a:gd name="connsiteX42055" fmla="*/ 247869 w 10505529"/>
              <a:gd name="connsiteY42055" fmla="*/ 234162 h 7458372"/>
              <a:gd name="connsiteX42056" fmla="*/ 237886 w 10505529"/>
              <a:gd name="connsiteY42056" fmla="*/ 237757 h 7458372"/>
              <a:gd name="connsiteX42057" fmla="*/ 234292 w 10505529"/>
              <a:gd name="connsiteY42057" fmla="*/ 247208 h 7458372"/>
              <a:gd name="connsiteX42058" fmla="*/ 237886 w 10505529"/>
              <a:gd name="connsiteY42058" fmla="*/ 256792 h 7458372"/>
              <a:gd name="connsiteX42059" fmla="*/ 247869 w 10505529"/>
              <a:gd name="connsiteY42059" fmla="*/ 260253 h 7458372"/>
              <a:gd name="connsiteX42060" fmla="*/ 253194 w 10505529"/>
              <a:gd name="connsiteY42060" fmla="*/ 259321 h 7458372"/>
              <a:gd name="connsiteX42061" fmla="*/ 256921 w 10505529"/>
              <a:gd name="connsiteY42061" fmla="*/ 256925 h 7458372"/>
              <a:gd name="connsiteX42062" fmla="*/ 259584 w 10505529"/>
              <a:gd name="connsiteY42062" fmla="*/ 252666 h 7458372"/>
              <a:gd name="connsiteX42063" fmla="*/ 260649 w 10505529"/>
              <a:gd name="connsiteY42063" fmla="*/ 247208 h 7458372"/>
              <a:gd name="connsiteX42064" fmla="*/ 259584 w 10505529"/>
              <a:gd name="connsiteY42064" fmla="*/ 242016 h 7458372"/>
              <a:gd name="connsiteX42065" fmla="*/ 256921 w 10505529"/>
              <a:gd name="connsiteY42065" fmla="*/ 237890 h 7458372"/>
              <a:gd name="connsiteX42066" fmla="*/ 252928 w 10505529"/>
              <a:gd name="connsiteY42066" fmla="*/ 235227 h 7458372"/>
              <a:gd name="connsiteX42067" fmla="*/ 247869 w 10505529"/>
              <a:gd name="connsiteY42067" fmla="*/ 234162 h 7458372"/>
              <a:gd name="connsiteX42068" fmla="*/ 465514 w 10505529"/>
              <a:gd name="connsiteY42068" fmla="*/ 234162 h 7458372"/>
              <a:gd name="connsiteX42069" fmla="*/ 455531 w 10505529"/>
              <a:gd name="connsiteY42069" fmla="*/ 237757 h 7458372"/>
              <a:gd name="connsiteX42070" fmla="*/ 451937 w 10505529"/>
              <a:gd name="connsiteY42070" fmla="*/ 247208 h 7458372"/>
              <a:gd name="connsiteX42071" fmla="*/ 455531 w 10505529"/>
              <a:gd name="connsiteY42071" fmla="*/ 256792 h 7458372"/>
              <a:gd name="connsiteX42072" fmla="*/ 465514 w 10505529"/>
              <a:gd name="connsiteY42072" fmla="*/ 260253 h 7458372"/>
              <a:gd name="connsiteX42073" fmla="*/ 470839 w 10505529"/>
              <a:gd name="connsiteY42073" fmla="*/ 259321 h 7458372"/>
              <a:gd name="connsiteX42074" fmla="*/ 474566 w 10505529"/>
              <a:gd name="connsiteY42074" fmla="*/ 256925 h 7458372"/>
              <a:gd name="connsiteX42075" fmla="*/ 477229 w 10505529"/>
              <a:gd name="connsiteY42075" fmla="*/ 252666 h 7458372"/>
              <a:gd name="connsiteX42076" fmla="*/ 478294 w 10505529"/>
              <a:gd name="connsiteY42076" fmla="*/ 247208 h 7458372"/>
              <a:gd name="connsiteX42077" fmla="*/ 477229 w 10505529"/>
              <a:gd name="connsiteY42077" fmla="*/ 242016 h 7458372"/>
              <a:gd name="connsiteX42078" fmla="*/ 474566 w 10505529"/>
              <a:gd name="connsiteY42078" fmla="*/ 237890 h 7458372"/>
              <a:gd name="connsiteX42079" fmla="*/ 470573 w 10505529"/>
              <a:gd name="connsiteY42079" fmla="*/ 235227 h 7458372"/>
              <a:gd name="connsiteX42080" fmla="*/ 465514 w 10505529"/>
              <a:gd name="connsiteY42080" fmla="*/ 234162 h 7458372"/>
              <a:gd name="connsiteX42081" fmla="*/ 683158 w 10505529"/>
              <a:gd name="connsiteY42081" fmla="*/ 234162 h 7458372"/>
              <a:gd name="connsiteX42082" fmla="*/ 673175 w 10505529"/>
              <a:gd name="connsiteY42082" fmla="*/ 237757 h 7458372"/>
              <a:gd name="connsiteX42083" fmla="*/ 669581 w 10505529"/>
              <a:gd name="connsiteY42083" fmla="*/ 247208 h 7458372"/>
              <a:gd name="connsiteX42084" fmla="*/ 673175 w 10505529"/>
              <a:gd name="connsiteY42084" fmla="*/ 256792 h 7458372"/>
              <a:gd name="connsiteX42085" fmla="*/ 683158 w 10505529"/>
              <a:gd name="connsiteY42085" fmla="*/ 260253 h 7458372"/>
              <a:gd name="connsiteX42086" fmla="*/ 688484 w 10505529"/>
              <a:gd name="connsiteY42086" fmla="*/ 259321 h 7458372"/>
              <a:gd name="connsiteX42087" fmla="*/ 692211 w 10505529"/>
              <a:gd name="connsiteY42087" fmla="*/ 256925 h 7458372"/>
              <a:gd name="connsiteX42088" fmla="*/ 694874 w 10505529"/>
              <a:gd name="connsiteY42088" fmla="*/ 252666 h 7458372"/>
              <a:gd name="connsiteX42089" fmla="*/ 695939 w 10505529"/>
              <a:gd name="connsiteY42089" fmla="*/ 247208 h 7458372"/>
              <a:gd name="connsiteX42090" fmla="*/ 694874 w 10505529"/>
              <a:gd name="connsiteY42090" fmla="*/ 242016 h 7458372"/>
              <a:gd name="connsiteX42091" fmla="*/ 692211 w 10505529"/>
              <a:gd name="connsiteY42091" fmla="*/ 237890 h 7458372"/>
              <a:gd name="connsiteX42092" fmla="*/ 688218 w 10505529"/>
              <a:gd name="connsiteY42092" fmla="*/ 235227 h 7458372"/>
              <a:gd name="connsiteX42093" fmla="*/ 683158 w 10505529"/>
              <a:gd name="connsiteY42093" fmla="*/ 234162 h 7458372"/>
              <a:gd name="connsiteX42094" fmla="*/ 900937 w 10505529"/>
              <a:gd name="connsiteY42094" fmla="*/ 234162 h 7458372"/>
              <a:gd name="connsiteX42095" fmla="*/ 890953 w 10505529"/>
              <a:gd name="connsiteY42095" fmla="*/ 237757 h 7458372"/>
              <a:gd name="connsiteX42096" fmla="*/ 887226 w 10505529"/>
              <a:gd name="connsiteY42096" fmla="*/ 247208 h 7458372"/>
              <a:gd name="connsiteX42097" fmla="*/ 890820 w 10505529"/>
              <a:gd name="connsiteY42097" fmla="*/ 256792 h 7458372"/>
              <a:gd name="connsiteX42098" fmla="*/ 900803 w 10505529"/>
              <a:gd name="connsiteY42098" fmla="*/ 260253 h 7458372"/>
              <a:gd name="connsiteX42099" fmla="*/ 906261 w 10505529"/>
              <a:gd name="connsiteY42099" fmla="*/ 259321 h 7458372"/>
              <a:gd name="connsiteX42100" fmla="*/ 909989 w 10505529"/>
              <a:gd name="connsiteY42100" fmla="*/ 256925 h 7458372"/>
              <a:gd name="connsiteX42101" fmla="*/ 912651 w 10505529"/>
              <a:gd name="connsiteY42101" fmla="*/ 252666 h 7458372"/>
              <a:gd name="connsiteX42102" fmla="*/ 913716 w 10505529"/>
              <a:gd name="connsiteY42102" fmla="*/ 247208 h 7458372"/>
              <a:gd name="connsiteX42103" fmla="*/ 912651 w 10505529"/>
              <a:gd name="connsiteY42103" fmla="*/ 242016 h 7458372"/>
              <a:gd name="connsiteX42104" fmla="*/ 909989 w 10505529"/>
              <a:gd name="connsiteY42104" fmla="*/ 237890 h 7458372"/>
              <a:gd name="connsiteX42105" fmla="*/ 905995 w 10505529"/>
              <a:gd name="connsiteY42105" fmla="*/ 235227 h 7458372"/>
              <a:gd name="connsiteX42106" fmla="*/ 900937 w 10505529"/>
              <a:gd name="connsiteY42106" fmla="*/ 234162 h 7458372"/>
              <a:gd name="connsiteX42107" fmla="*/ 1118448 w 10505529"/>
              <a:gd name="connsiteY42107" fmla="*/ 234162 h 7458372"/>
              <a:gd name="connsiteX42108" fmla="*/ 1108464 w 10505529"/>
              <a:gd name="connsiteY42108" fmla="*/ 237757 h 7458372"/>
              <a:gd name="connsiteX42109" fmla="*/ 1104737 w 10505529"/>
              <a:gd name="connsiteY42109" fmla="*/ 247208 h 7458372"/>
              <a:gd name="connsiteX42110" fmla="*/ 1108332 w 10505529"/>
              <a:gd name="connsiteY42110" fmla="*/ 256792 h 7458372"/>
              <a:gd name="connsiteX42111" fmla="*/ 1118315 w 10505529"/>
              <a:gd name="connsiteY42111" fmla="*/ 260253 h 7458372"/>
              <a:gd name="connsiteX42112" fmla="*/ 1123773 w 10505529"/>
              <a:gd name="connsiteY42112" fmla="*/ 259321 h 7458372"/>
              <a:gd name="connsiteX42113" fmla="*/ 1127500 w 10505529"/>
              <a:gd name="connsiteY42113" fmla="*/ 256925 h 7458372"/>
              <a:gd name="connsiteX42114" fmla="*/ 1130163 w 10505529"/>
              <a:gd name="connsiteY42114" fmla="*/ 252666 h 7458372"/>
              <a:gd name="connsiteX42115" fmla="*/ 1131228 w 10505529"/>
              <a:gd name="connsiteY42115" fmla="*/ 247208 h 7458372"/>
              <a:gd name="connsiteX42116" fmla="*/ 1130163 w 10505529"/>
              <a:gd name="connsiteY42116" fmla="*/ 242016 h 7458372"/>
              <a:gd name="connsiteX42117" fmla="*/ 1127500 w 10505529"/>
              <a:gd name="connsiteY42117" fmla="*/ 237890 h 7458372"/>
              <a:gd name="connsiteX42118" fmla="*/ 1123507 w 10505529"/>
              <a:gd name="connsiteY42118" fmla="*/ 235227 h 7458372"/>
              <a:gd name="connsiteX42119" fmla="*/ 1118448 w 10505529"/>
              <a:gd name="connsiteY42119" fmla="*/ 234162 h 7458372"/>
              <a:gd name="connsiteX42120" fmla="*/ 1335960 w 10505529"/>
              <a:gd name="connsiteY42120" fmla="*/ 234161 h 7458372"/>
              <a:gd name="connsiteX42121" fmla="*/ 1325977 w 10505529"/>
              <a:gd name="connsiteY42121" fmla="*/ 237756 h 7458372"/>
              <a:gd name="connsiteX42122" fmla="*/ 1322382 w 10505529"/>
              <a:gd name="connsiteY42122" fmla="*/ 247208 h 7458372"/>
              <a:gd name="connsiteX42123" fmla="*/ 1325977 w 10505529"/>
              <a:gd name="connsiteY42123" fmla="*/ 256792 h 7458372"/>
              <a:gd name="connsiteX42124" fmla="*/ 1335960 w 10505529"/>
              <a:gd name="connsiteY42124" fmla="*/ 260253 h 7458372"/>
              <a:gd name="connsiteX42125" fmla="*/ 1341285 w 10505529"/>
              <a:gd name="connsiteY42125" fmla="*/ 259321 h 7458372"/>
              <a:gd name="connsiteX42126" fmla="*/ 1345012 w 10505529"/>
              <a:gd name="connsiteY42126" fmla="*/ 256925 h 7458372"/>
              <a:gd name="connsiteX42127" fmla="*/ 1347675 w 10505529"/>
              <a:gd name="connsiteY42127" fmla="*/ 252666 h 7458372"/>
              <a:gd name="connsiteX42128" fmla="*/ 1348740 w 10505529"/>
              <a:gd name="connsiteY42128" fmla="*/ 247208 h 7458372"/>
              <a:gd name="connsiteX42129" fmla="*/ 1347675 w 10505529"/>
              <a:gd name="connsiteY42129" fmla="*/ 242016 h 7458372"/>
              <a:gd name="connsiteX42130" fmla="*/ 1345012 w 10505529"/>
              <a:gd name="connsiteY42130" fmla="*/ 237889 h 7458372"/>
              <a:gd name="connsiteX42131" fmla="*/ 1341019 w 10505529"/>
              <a:gd name="connsiteY42131" fmla="*/ 235226 h 7458372"/>
              <a:gd name="connsiteX42132" fmla="*/ 1335960 w 10505529"/>
              <a:gd name="connsiteY42132" fmla="*/ 234161 h 7458372"/>
              <a:gd name="connsiteX42133" fmla="*/ 1553605 w 10505529"/>
              <a:gd name="connsiteY42133" fmla="*/ 234161 h 7458372"/>
              <a:gd name="connsiteX42134" fmla="*/ 1543621 w 10505529"/>
              <a:gd name="connsiteY42134" fmla="*/ 237756 h 7458372"/>
              <a:gd name="connsiteX42135" fmla="*/ 1540027 w 10505529"/>
              <a:gd name="connsiteY42135" fmla="*/ 247208 h 7458372"/>
              <a:gd name="connsiteX42136" fmla="*/ 1543621 w 10505529"/>
              <a:gd name="connsiteY42136" fmla="*/ 256792 h 7458372"/>
              <a:gd name="connsiteX42137" fmla="*/ 1553605 w 10505529"/>
              <a:gd name="connsiteY42137" fmla="*/ 260253 h 7458372"/>
              <a:gd name="connsiteX42138" fmla="*/ 1558930 w 10505529"/>
              <a:gd name="connsiteY42138" fmla="*/ 259321 h 7458372"/>
              <a:gd name="connsiteX42139" fmla="*/ 1562657 w 10505529"/>
              <a:gd name="connsiteY42139" fmla="*/ 256925 h 7458372"/>
              <a:gd name="connsiteX42140" fmla="*/ 1565320 w 10505529"/>
              <a:gd name="connsiteY42140" fmla="*/ 252666 h 7458372"/>
              <a:gd name="connsiteX42141" fmla="*/ 1566385 w 10505529"/>
              <a:gd name="connsiteY42141" fmla="*/ 247208 h 7458372"/>
              <a:gd name="connsiteX42142" fmla="*/ 1565320 w 10505529"/>
              <a:gd name="connsiteY42142" fmla="*/ 242015 h 7458372"/>
              <a:gd name="connsiteX42143" fmla="*/ 1562657 w 10505529"/>
              <a:gd name="connsiteY42143" fmla="*/ 237889 h 7458372"/>
              <a:gd name="connsiteX42144" fmla="*/ 1558664 w 10505529"/>
              <a:gd name="connsiteY42144" fmla="*/ 235226 h 7458372"/>
              <a:gd name="connsiteX42145" fmla="*/ 1553605 w 10505529"/>
              <a:gd name="connsiteY42145" fmla="*/ 234161 h 7458372"/>
              <a:gd name="connsiteX42146" fmla="*/ 1771250 w 10505529"/>
              <a:gd name="connsiteY42146" fmla="*/ 234161 h 7458372"/>
              <a:gd name="connsiteX42147" fmla="*/ 1761267 w 10505529"/>
              <a:gd name="connsiteY42147" fmla="*/ 237756 h 7458372"/>
              <a:gd name="connsiteX42148" fmla="*/ 1757672 w 10505529"/>
              <a:gd name="connsiteY42148" fmla="*/ 247207 h 7458372"/>
              <a:gd name="connsiteX42149" fmla="*/ 1761267 w 10505529"/>
              <a:gd name="connsiteY42149" fmla="*/ 256792 h 7458372"/>
              <a:gd name="connsiteX42150" fmla="*/ 1771250 w 10505529"/>
              <a:gd name="connsiteY42150" fmla="*/ 260253 h 7458372"/>
              <a:gd name="connsiteX42151" fmla="*/ 1776575 w 10505529"/>
              <a:gd name="connsiteY42151" fmla="*/ 259321 h 7458372"/>
              <a:gd name="connsiteX42152" fmla="*/ 1780302 w 10505529"/>
              <a:gd name="connsiteY42152" fmla="*/ 256925 h 7458372"/>
              <a:gd name="connsiteX42153" fmla="*/ 1782965 w 10505529"/>
              <a:gd name="connsiteY42153" fmla="*/ 252666 h 7458372"/>
              <a:gd name="connsiteX42154" fmla="*/ 1784030 w 10505529"/>
              <a:gd name="connsiteY42154" fmla="*/ 247207 h 7458372"/>
              <a:gd name="connsiteX42155" fmla="*/ 1782965 w 10505529"/>
              <a:gd name="connsiteY42155" fmla="*/ 242015 h 7458372"/>
              <a:gd name="connsiteX42156" fmla="*/ 1780302 w 10505529"/>
              <a:gd name="connsiteY42156" fmla="*/ 237889 h 7458372"/>
              <a:gd name="connsiteX42157" fmla="*/ 1776309 w 10505529"/>
              <a:gd name="connsiteY42157" fmla="*/ 235226 h 7458372"/>
              <a:gd name="connsiteX42158" fmla="*/ 1771250 w 10505529"/>
              <a:gd name="connsiteY42158" fmla="*/ 234161 h 7458372"/>
              <a:gd name="connsiteX42159" fmla="*/ 1988894 w 10505529"/>
              <a:gd name="connsiteY42159" fmla="*/ 234161 h 7458372"/>
              <a:gd name="connsiteX42160" fmla="*/ 1978911 w 10505529"/>
              <a:gd name="connsiteY42160" fmla="*/ 237756 h 7458372"/>
              <a:gd name="connsiteX42161" fmla="*/ 1975317 w 10505529"/>
              <a:gd name="connsiteY42161" fmla="*/ 247207 h 7458372"/>
              <a:gd name="connsiteX42162" fmla="*/ 1978911 w 10505529"/>
              <a:gd name="connsiteY42162" fmla="*/ 256792 h 7458372"/>
              <a:gd name="connsiteX42163" fmla="*/ 1988894 w 10505529"/>
              <a:gd name="connsiteY42163" fmla="*/ 260253 h 7458372"/>
              <a:gd name="connsiteX42164" fmla="*/ 1994219 w 10505529"/>
              <a:gd name="connsiteY42164" fmla="*/ 259321 h 7458372"/>
              <a:gd name="connsiteX42165" fmla="*/ 1997946 w 10505529"/>
              <a:gd name="connsiteY42165" fmla="*/ 256925 h 7458372"/>
              <a:gd name="connsiteX42166" fmla="*/ 2000609 w 10505529"/>
              <a:gd name="connsiteY42166" fmla="*/ 252665 h 7458372"/>
              <a:gd name="connsiteX42167" fmla="*/ 2001540 w 10505529"/>
              <a:gd name="connsiteY42167" fmla="*/ 247207 h 7458372"/>
              <a:gd name="connsiteX42168" fmla="*/ 2000609 w 10505529"/>
              <a:gd name="connsiteY42168" fmla="*/ 242015 h 7458372"/>
              <a:gd name="connsiteX42169" fmla="*/ 1997946 w 10505529"/>
              <a:gd name="connsiteY42169" fmla="*/ 237889 h 7458372"/>
              <a:gd name="connsiteX42170" fmla="*/ 1993953 w 10505529"/>
              <a:gd name="connsiteY42170" fmla="*/ 235226 h 7458372"/>
              <a:gd name="connsiteX42171" fmla="*/ 1988894 w 10505529"/>
              <a:gd name="connsiteY42171" fmla="*/ 234161 h 7458372"/>
              <a:gd name="connsiteX42172" fmla="*/ 2206407 w 10505529"/>
              <a:gd name="connsiteY42172" fmla="*/ 234161 h 7458372"/>
              <a:gd name="connsiteX42173" fmla="*/ 2196423 w 10505529"/>
              <a:gd name="connsiteY42173" fmla="*/ 237756 h 7458372"/>
              <a:gd name="connsiteX42174" fmla="*/ 2192829 w 10505529"/>
              <a:gd name="connsiteY42174" fmla="*/ 247207 h 7458372"/>
              <a:gd name="connsiteX42175" fmla="*/ 2196423 w 10505529"/>
              <a:gd name="connsiteY42175" fmla="*/ 256791 h 7458372"/>
              <a:gd name="connsiteX42176" fmla="*/ 2206407 w 10505529"/>
              <a:gd name="connsiteY42176" fmla="*/ 260252 h 7458372"/>
              <a:gd name="connsiteX42177" fmla="*/ 2211732 w 10505529"/>
              <a:gd name="connsiteY42177" fmla="*/ 259320 h 7458372"/>
              <a:gd name="connsiteX42178" fmla="*/ 2215459 w 10505529"/>
              <a:gd name="connsiteY42178" fmla="*/ 256924 h 7458372"/>
              <a:gd name="connsiteX42179" fmla="*/ 2218122 w 10505529"/>
              <a:gd name="connsiteY42179" fmla="*/ 252665 h 7458372"/>
              <a:gd name="connsiteX42180" fmla="*/ 2219053 w 10505529"/>
              <a:gd name="connsiteY42180" fmla="*/ 247207 h 7458372"/>
              <a:gd name="connsiteX42181" fmla="*/ 2218122 w 10505529"/>
              <a:gd name="connsiteY42181" fmla="*/ 242015 h 7458372"/>
              <a:gd name="connsiteX42182" fmla="*/ 2215459 w 10505529"/>
              <a:gd name="connsiteY42182" fmla="*/ 237889 h 7458372"/>
              <a:gd name="connsiteX42183" fmla="*/ 2211466 w 10505529"/>
              <a:gd name="connsiteY42183" fmla="*/ 235226 h 7458372"/>
              <a:gd name="connsiteX42184" fmla="*/ 2206407 w 10505529"/>
              <a:gd name="connsiteY42184" fmla="*/ 234161 h 7458372"/>
              <a:gd name="connsiteX42185" fmla="*/ 2424053 w 10505529"/>
              <a:gd name="connsiteY42185" fmla="*/ 234161 h 7458372"/>
              <a:gd name="connsiteX42186" fmla="*/ 2414070 w 10505529"/>
              <a:gd name="connsiteY42186" fmla="*/ 237756 h 7458372"/>
              <a:gd name="connsiteX42187" fmla="*/ 2410475 w 10505529"/>
              <a:gd name="connsiteY42187" fmla="*/ 247207 h 7458372"/>
              <a:gd name="connsiteX42188" fmla="*/ 2414070 w 10505529"/>
              <a:gd name="connsiteY42188" fmla="*/ 256791 h 7458372"/>
              <a:gd name="connsiteX42189" fmla="*/ 2424053 w 10505529"/>
              <a:gd name="connsiteY42189" fmla="*/ 260252 h 7458372"/>
              <a:gd name="connsiteX42190" fmla="*/ 2429378 w 10505529"/>
              <a:gd name="connsiteY42190" fmla="*/ 259320 h 7458372"/>
              <a:gd name="connsiteX42191" fmla="*/ 2433105 w 10505529"/>
              <a:gd name="connsiteY42191" fmla="*/ 256924 h 7458372"/>
              <a:gd name="connsiteX42192" fmla="*/ 2435768 w 10505529"/>
              <a:gd name="connsiteY42192" fmla="*/ 252665 h 7458372"/>
              <a:gd name="connsiteX42193" fmla="*/ 2436699 w 10505529"/>
              <a:gd name="connsiteY42193" fmla="*/ 247207 h 7458372"/>
              <a:gd name="connsiteX42194" fmla="*/ 2435768 w 10505529"/>
              <a:gd name="connsiteY42194" fmla="*/ 242015 h 7458372"/>
              <a:gd name="connsiteX42195" fmla="*/ 2433105 w 10505529"/>
              <a:gd name="connsiteY42195" fmla="*/ 237889 h 7458372"/>
              <a:gd name="connsiteX42196" fmla="*/ 2429112 w 10505529"/>
              <a:gd name="connsiteY42196" fmla="*/ 235226 h 7458372"/>
              <a:gd name="connsiteX42197" fmla="*/ 2424053 w 10505529"/>
              <a:gd name="connsiteY42197" fmla="*/ 234161 h 7458372"/>
              <a:gd name="connsiteX42198" fmla="*/ 2641699 w 10505529"/>
              <a:gd name="connsiteY42198" fmla="*/ 234161 h 7458372"/>
              <a:gd name="connsiteX42199" fmla="*/ 2631716 w 10505529"/>
              <a:gd name="connsiteY42199" fmla="*/ 237756 h 7458372"/>
              <a:gd name="connsiteX42200" fmla="*/ 2628121 w 10505529"/>
              <a:gd name="connsiteY42200" fmla="*/ 247207 h 7458372"/>
              <a:gd name="connsiteX42201" fmla="*/ 2631716 w 10505529"/>
              <a:gd name="connsiteY42201" fmla="*/ 256791 h 7458372"/>
              <a:gd name="connsiteX42202" fmla="*/ 2641699 w 10505529"/>
              <a:gd name="connsiteY42202" fmla="*/ 260252 h 7458372"/>
              <a:gd name="connsiteX42203" fmla="*/ 2647024 w 10505529"/>
              <a:gd name="connsiteY42203" fmla="*/ 259320 h 7458372"/>
              <a:gd name="connsiteX42204" fmla="*/ 2650751 w 10505529"/>
              <a:gd name="connsiteY42204" fmla="*/ 256924 h 7458372"/>
              <a:gd name="connsiteX42205" fmla="*/ 2653414 w 10505529"/>
              <a:gd name="connsiteY42205" fmla="*/ 252665 h 7458372"/>
              <a:gd name="connsiteX42206" fmla="*/ 2654345 w 10505529"/>
              <a:gd name="connsiteY42206" fmla="*/ 247207 h 7458372"/>
              <a:gd name="connsiteX42207" fmla="*/ 2653414 w 10505529"/>
              <a:gd name="connsiteY42207" fmla="*/ 242015 h 7458372"/>
              <a:gd name="connsiteX42208" fmla="*/ 2650751 w 10505529"/>
              <a:gd name="connsiteY42208" fmla="*/ 237889 h 7458372"/>
              <a:gd name="connsiteX42209" fmla="*/ 2646758 w 10505529"/>
              <a:gd name="connsiteY42209" fmla="*/ 235226 h 7458372"/>
              <a:gd name="connsiteX42210" fmla="*/ 2641699 w 10505529"/>
              <a:gd name="connsiteY42210" fmla="*/ 234161 h 7458372"/>
              <a:gd name="connsiteX42211" fmla="*/ 2859345 w 10505529"/>
              <a:gd name="connsiteY42211" fmla="*/ 234161 h 7458372"/>
              <a:gd name="connsiteX42212" fmla="*/ 2849362 w 10505529"/>
              <a:gd name="connsiteY42212" fmla="*/ 237756 h 7458372"/>
              <a:gd name="connsiteX42213" fmla="*/ 2845768 w 10505529"/>
              <a:gd name="connsiteY42213" fmla="*/ 247207 h 7458372"/>
              <a:gd name="connsiteX42214" fmla="*/ 2849362 w 10505529"/>
              <a:gd name="connsiteY42214" fmla="*/ 256791 h 7458372"/>
              <a:gd name="connsiteX42215" fmla="*/ 2859345 w 10505529"/>
              <a:gd name="connsiteY42215" fmla="*/ 260252 h 7458372"/>
              <a:gd name="connsiteX42216" fmla="*/ 2864670 w 10505529"/>
              <a:gd name="connsiteY42216" fmla="*/ 259320 h 7458372"/>
              <a:gd name="connsiteX42217" fmla="*/ 2868397 w 10505529"/>
              <a:gd name="connsiteY42217" fmla="*/ 256924 h 7458372"/>
              <a:gd name="connsiteX42218" fmla="*/ 2871060 w 10505529"/>
              <a:gd name="connsiteY42218" fmla="*/ 252665 h 7458372"/>
              <a:gd name="connsiteX42219" fmla="*/ 2871991 w 10505529"/>
              <a:gd name="connsiteY42219" fmla="*/ 247207 h 7458372"/>
              <a:gd name="connsiteX42220" fmla="*/ 2871060 w 10505529"/>
              <a:gd name="connsiteY42220" fmla="*/ 242015 h 7458372"/>
              <a:gd name="connsiteX42221" fmla="*/ 2868397 w 10505529"/>
              <a:gd name="connsiteY42221" fmla="*/ 237889 h 7458372"/>
              <a:gd name="connsiteX42222" fmla="*/ 2864404 w 10505529"/>
              <a:gd name="connsiteY42222" fmla="*/ 235226 h 7458372"/>
              <a:gd name="connsiteX42223" fmla="*/ 2859345 w 10505529"/>
              <a:gd name="connsiteY42223" fmla="*/ 234161 h 7458372"/>
              <a:gd name="connsiteX42224" fmla="*/ 3077124 w 10505529"/>
              <a:gd name="connsiteY42224" fmla="*/ 234161 h 7458372"/>
              <a:gd name="connsiteX42225" fmla="*/ 3067141 w 10505529"/>
              <a:gd name="connsiteY42225" fmla="*/ 237756 h 7458372"/>
              <a:gd name="connsiteX42226" fmla="*/ 3063412 w 10505529"/>
              <a:gd name="connsiteY42226" fmla="*/ 247207 h 7458372"/>
              <a:gd name="connsiteX42227" fmla="*/ 3067007 w 10505529"/>
              <a:gd name="connsiteY42227" fmla="*/ 256791 h 7458372"/>
              <a:gd name="connsiteX42228" fmla="*/ 3076990 w 10505529"/>
              <a:gd name="connsiteY42228" fmla="*/ 260252 h 7458372"/>
              <a:gd name="connsiteX42229" fmla="*/ 3082448 w 10505529"/>
              <a:gd name="connsiteY42229" fmla="*/ 259320 h 7458372"/>
              <a:gd name="connsiteX42230" fmla="*/ 3086176 w 10505529"/>
              <a:gd name="connsiteY42230" fmla="*/ 256924 h 7458372"/>
              <a:gd name="connsiteX42231" fmla="*/ 3088839 w 10505529"/>
              <a:gd name="connsiteY42231" fmla="*/ 252665 h 7458372"/>
              <a:gd name="connsiteX42232" fmla="*/ 3089771 w 10505529"/>
              <a:gd name="connsiteY42232" fmla="*/ 247207 h 7458372"/>
              <a:gd name="connsiteX42233" fmla="*/ 3088839 w 10505529"/>
              <a:gd name="connsiteY42233" fmla="*/ 242015 h 7458372"/>
              <a:gd name="connsiteX42234" fmla="*/ 3086176 w 10505529"/>
              <a:gd name="connsiteY42234" fmla="*/ 237889 h 7458372"/>
              <a:gd name="connsiteX42235" fmla="*/ 3082183 w 10505529"/>
              <a:gd name="connsiteY42235" fmla="*/ 235226 h 7458372"/>
              <a:gd name="connsiteX42236" fmla="*/ 3077124 w 10505529"/>
              <a:gd name="connsiteY42236" fmla="*/ 234161 h 7458372"/>
              <a:gd name="connsiteX42237" fmla="*/ 3512149 w 10505529"/>
              <a:gd name="connsiteY42237" fmla="*/ 234160 h 7458372"/>
              <a:gd name="connsiteX42238" fmla="*/ 3502165 w 10505529"/>
              <a:gd name="connsiteY42238" fmla="*/ 237755 h 7458372"/>
              <a:gd name="connsiteX42239" fmla="*/ 3498572 w 10505529"/>
              <a:gd name="connsiteY42239" fmla="*/ 247207 h 7458372"/>
              <a:gd name="connsiteX42240" fmla="*/ 3502165 w 10505529"/>
              <a:gd name="connsiteY42240" fmla="*/ 256791 h 7458372"/>
              <a:gd name="connsiteX42241" fmla="*/ 3512149 w 10505529"/>
              <a:gd name="connsiteY42241" fmla="*/ 260252 h 7458372"/>
              <a:gd name="connsiteX42242" fmla="*/ 3517475 w 10505529"/>
              <a:gd name="connsiteY42242" fmla="*/ 259320 h 7458372"/>
              <a:gd name="connsiteX42243" fmla="*/ 3521201 w 10505529"/>
              <a:gd name="connsiteY42243" fmla="*/ 256924 h 7458372"/>
              <a:gd name="connsiteX42244" fmla="*/ 3523865 w 10505529"/>
              <a:gd name="connsiteY42244" fmla="*/ 252665 h 7458372"/>
              <a:gd name="connsiteX42245" fmla="*/ 3524930 w 10505529"/>
              <a:gd name="connsiteY42245" fmla="*/ 247207 h 7458372"/>
              <a:gd name="connsiteX42246" fmla="*/ 3523865 w 10505529"/>
              <a:gd name="connsiteY42246" fmla="*/ 242014 h 7458372"/>
              <a:gd name="connsiteX42247" fmla="*/ 3521201 w 10505529"/>
              <a:gd name="connsiteY42247" fmla="*/ 237888 h 7458372"/>
              <a:gd name="connsiteX42248" fmla="*/ 3517208 w 10505529"/>
              <a:gd name="connsiteY42248" fmla="*/ 235225 h 7458372"/>
              <a:gd name="connsiteX42249" fmla="*/ 3512149 w 10505529"/>
              <a:gd name="connsiteY42249" fmla="*/ 234160 h 7458372"/>
              <a:gd name="connsiteX42250" fmla="*/ 3294636 w 10505529"/>
              <a:gd name="connsiteY42250" fmla="*/ 234160 h 7458372"/>
              <a:gd name="connsiteX42251" fmla="*/ 3284653 w 10505529"/>
              <a:gd name="connsiteY42251" fmla="*/ 237755 h 7458372"/>
              <a:gd name="connsiteX42252" fmla="*/ 3281059 w 10505529"/>
              <a:gd name="connsiteY42252" fmla="*/ 247207 h 7458372"/>
              <a:gd name="connsiteX42253" fmla="*/ 3284653 w 10505529"/>
              <a:gd name="connsiteY42253" fmla="*/ 256791 h 7458372"/>
              <a:gd name="connsiteX42254" fmla="*/ 3294636 w 10505529"/>
              <a:gd name="connsiteY42254" fmla="*/ 260252 h 7458372"/>
              <a:gd name="connsiteX42255" fmla="*/ 3299962 w 10505529"/>
              <a:gd name="connsiteY42255" fmla="*/ 259320 h 7458372"/>
              <a:gd name="connsiteX42256" fmla="*/ 3303689 w 10505529"/>
              <a:gd name="connsiteY42256" fmla="*/ 256924 h 7458372"/>
              <a:gd name="connsiteX42257" fmla="*/ 3306352 w 10505529"/>
              <a:gd name="connsiteY42257" fmla="*/ 252665 h 7458372"/>
              <a:gd name="connsiteX42258" fmla="*/ 3307416 w 10505529"/>
              <a:gd name="connsiteY42258" fmla="*/ 247207 h 7458372"/>
              <a:gd name="connsiteX42259" fmla="*/ 3306352 w 10505529"/>
              <a:gd name="connsiteY42259" fmla="*/ 242015 h 7458372"/>
              <a:gd name="connsiteX42260" fmla="*/ 3303689 w 10505529"/>
              <a:gd name="connsiteY42260" fmla="*/ 237888 h 7458372"/>
              <a:gd name="connsiteX42261" fmla="*/ 3299696 w 10505529"/>
              <a:gd name="connsiteY42261" fmla="*/ 235225 h 7458372"/>
              <a:gd name="connsiteX42262" fmla="*/ 3294636 w 10505529"/>
              <a:gd name="connsiteY42262" fmla="*/ 234160 h 7458372"/>
              <a:gd name="connsiteX42263" fmla="*/ 3947442 w 10505529"/>
              <a:gd name="connsiteY42263" fmla="*/ 234160 h 7458372"/>
              <a:gd name="connsiteX42264" fmla="*/ 3937459 w 10505529"/>
              <a:gd name="connsiteY42264" fmla="*/ 237755 h 7458372"/>
              <a:gd name="connsiteX42265" fmla="*/ 3933865 w 10505529"/>
              <a:gd name="connsiteY42265" fmla="*/ 247206 h 7458372"/>
              <a:gd name="connsiteX42266" fmla="*/ 3937459 w 10505529"/>
              <a:gd name="connsiteY42266" fmla="*/ 256791 h 7458372"/>
              <a:gd name="connsiteX42267" fmla="*/ 3947442 w 10505529"/>
              <a:gd name="connsiteY42267" fmla="*/ 260252 h 7458372"/>
              <a:gd name="connsiteX42268" fmla="*/ 3952767 w 10505529"/>
              <a:gd name="connsiteY42268" fmla="*/ 259320 h 7458372"/>
              <a:gd name="connsiteX42269" fmla="*/ 3956494 w 10505529"/>
              <a:gd name="connsiteY42269" fmla="*/ 256924 h 7458372"/>
              <a:gd name="connsiteX42270" fmla="*/ 3959157 w 10505529"/>
              <a:gd name="connsiteY42270" fmla="*/ 252664 h 7458372"/>
              <a:gd name="connsiteX42271" fmla="*/ 3960221 w 10505529"/>
              <a:gd name="connsiteY42271" fmla="*/ 247206 h 7458372"/>
              <a:gd name="connsiteX42272" fmla="*/ 3959157 w 10505529"/>
              <a:gd name="connsiteY42272" fmla="*/ 242014 h 7458372"/>
              <a:gd name="connsiteX42273" fmla="*/ 3956494 w 10505529"/>
              <a:gd name="connsiteY42273" fmla="*/ 237888 h 7458372"/>
              <a:gd name="connsiteX42274" fmla="*/ 3952501 w 10505529"/>
              <a:gd name="connsiteY42274" fmla="*/ 235225 h 7458372"/>
              <a:gd name="connsiteX42275" fmla="*/ 3947442 w 10505529"/>
              <a:gd name="connsiteY42275" fmla="*/ 234160 h 7458372"/>
              <a:gd name="connsiteX42276" fmla="*/ 3729795 w 10505529"/>
              <a:gd name="connsiteY42276" fmla="*/ 234160 h 7458372"/>
              <a:gd name="connsiteX42277" fmla="*/ 3719811 w 10505529"/>
              <a:gd name="connsiteY42277" fmla="*/ 237755 h 7458372"/>
              <a:gd name="connsiteX42278" fmla="*/ 3716217 w 10505529"/>
              <a:gd name="connsiteY42278" fmla="*/ 247206 h 7458372"/>
              <a:gd name="connsiteX42279" fmla="*/ 3719811 w 10505529"/>
              <a:gd name="connsiteY42279" fmla="*/ 256791 h 7458372"/>
              <a:gd name="connsiteX42280" fmla="*/ 3729795 w 10505529"/>
              <a:gd name="connsiteY42280" fmla="*/ 260252 h 7458372"/>
              <a:gd name="connsiteX42281" fmla="*/ 3735120 w 10505529"/>
              <a:gd name="connsiteY42281" fmla="*/ 259320 h 7458372"/>
              <a:gd name="connsiteX42282" fmla="*/ 3738847 w 10505529"/>
              <a:gd name="connsiteY42282" fmla="*/ 256924 h 7458372"/>
              <a:gd name="connsiteX42283" fmla="*/ 3741510 w 10505529"/>
              <a:gd name="connsiteY42283" fmla="*/ 252665 h 7458372"/>
              <a:gd name="connsiteX42284" fmla="*/ 3742575 w 10505529"/>
              <a:gd name="connsiteY42284" fmla="*/ 247206 h 7458372"/>
              <a:gd name="connsiteX42285" fmla="*/ 3741510 w 10505529"/>
              <a:gd name="connsiteY42285" fmla="*/ 242014 h 7458372"/>
              <a:gd name="connsiteX42286" fmla="*/ 3738847 w 10505529"/>
              <a:gd name="connsiteY42286" fmla="*/ 237888 h 7458372"/>
              <a:gd name="connsiteX42287" fmla="*/ 3734855 w 10505529"/>
              <a:gd name="connsiteY42287" fmla="*/ 235225 h 7458372"/>
              <a:gd name="connsiteX42288" fmla="*/ 3729795 w 10505529"/>
              <a:gd name="connsiteY42288" fmla="*/ 234160 h 7458372"/>
              <a:gd name="connsiteX42289" fmla="*/ 4165068 w 10505529"/>
              <a:gd name="connsiteY42289" fmla="*/ 234160 h 7458372"/>
              <a:gd name="connsiteX42290" fmla="*/ 4155084 w 10505529"/>
              <a:gd name="connsiteY42290" fmla="*/ 237755 h 7458372"/>
              <a:gd name="connsiteX42291" fmla="*/ 4151490 w 10505529"/>
              <a:gd name="connsiteY42291" fmla="*/ 247206 h 7458372"/>
              <a:gd name="connsiteX42292" fmla="*/ 4155084 w 10505529"/>
              <a:gd name="connsiteY42292" fmla="*/ 256790 h 7458372"/>
              <a:gd name="connsiteX42293" fmla="*/ 4165068 w 10505529"/>
              <a:gd name="connsiteY42293" fmla="*/ 260251 h 7458372"/>
              <a:gd name="connsiteX42294" fmla="*/ 4170392 w 10505529"/>
              <a:gd name="connsiteY42294" fmla="*/ 259319 h 7458372"/>
              <a:gd name="connsiteX42295" fmla="*/ 4174119 w 10505529"/>
              <a:gd name="connsiteY42295" fmla="*/ 256923 h 7458372"/>
              <a:gd name="connsiteX42296" fmla="*/ 4176782 w 10505529"/>
              <a:gd name="connsiteY42296" fmla="*/ 252664 h 7458372"/>
              <a:gd name="connsiteX42297" fmla="*/ 4177847 w 10505529"/>
              <a:gd name="connsiteY42297" fmla="*/ 247206 h 7458372"/>
              <a:gd name="connsiteX42298" fmla="*/ 4176782 w 10505529"/>
              <a:gd name="connsiteY42298" fmla="*/ 242014 h 7458372"/>
              <a:gd name="connsiteX42299" fmla="*/ 4174119 w 10505529"/>
              <a:gd name="connsiteY42299" fmla="*/ 237888 h 7458372"/>
              <a:gd name="connsiteX42300" fmla="*/ 4170126 w 10505529"/>
              <a:gd name="connsiteY42300" fmla="*/ 235225 h 7458372"/>
              <a:gd name="connsiteX42301" fmla="*/ 4165068 w 10505529"/>
              <a:gd name="connsiteY42301" fmla="*/ 234160 h 7458372"/>
              <a:gd name="connsiteX42302" fmla="*/ 4382713 w 10505529"/>
              <a:gd name="connsiteY42302" fmla="*/ 234160 h 7458372"/>
              <a:gd name="connsiteX42303" fmla="*/ 4372730 w 10505529"/>
              <a:gd name="connsiteY42303" fmla="*/ 237755 h 7458372"/>
              <a:gd name="connsiteX42304" fmla="*/ 4369136 w 10505529"/>
              <a:gd name="connsiteY42304" fmla="*/ 247206 h 7458372"/>
              <a:gd name="connsiteX42305" fmla="*/ 4372730 w 10505529"/>
              <a:gd name="connsiteY42305" fmla="*/ 256790 h 7458372"/>
              <a:gd name="connsiteX42306" fmla="*/ 4382713 w 10505529"/>
              <a:gd name="connsiteY42306" fmla="*/ 260251 h 7458372"/>
              <a:gd name="connsiteX42307" fmla="*/ 4388038 w 10505529"/>
              <a:gd name="connsiteY42307" fmla="*/ 259319 h 7458372"/>
              <a:gd name="connsiteX42308" fmla="*/ 4391765 w 10505529"/>
              <a:gd name="connsiteY42308" fmla="*/ 256923 h 7458372"/>
              <a:gd name="connsiteX42309" fmla="*/ 4394428 w 10505529"/>
              <a:gd name="connsiteY42309" fmla="*/ 252664 h 7458372"/>
              <a:gd name="connsiteX42310" fmla="*/ 4395493 w 10505529"/>
              <a:gd name="connsiteY42310" fmla="*/ 247206 h 7458372"/>
              <a:gd name="connsiteX42311" fmla="*/ 4394428 w 10505529"/>
              <a:gd name="connsiteY42311" fmla="*/ 242014 h 7458372"/>
              <a:gd name="connsiteX42312" fmla="*/ 4391765 w 10505529"/>
              <a:gd name="connsiteY42312" fmla="*/ 237888 h 7458372"/>
              <a:gd name="connsiteX42313" fmla="*/ 4387772 w 10505529"/>
              <a:gd name="connsiteY42313" fmla="*/ 235225 h 7458372"/>
              <a:gd name="connsiteX42314" fmla="*/ 4382713 w 10505529"/>
              <a:gd name="connsiteY42314" fmla="*/ 234160 h 7458372"/>
              <a:gd name="connsiteX42315" fmla="*/ 4600226 w 10505529"/>
              <a:gd name="connsiteY42315" fmla="*/ 234160 h 7458372"/>
              <a:gd name="connsiteX42316" fmla="*/ 4590242 w 10505529"/>
              <a:gd name="connsiteY42316" fmla="*/ 237755 h 7458372"/>
              <a:gd name="connsiteX42317" fmla="*/ 4586648 w 10505529"/>
              <a:gd name="connsiteY42317" fmla="*/ 247206 h 7458372"/>
              <a:gd name="connsiteX42318" fmla="*/ 4590242 w 10505529"/>
              <a:gd name="connsiteY42318" fmla="*/ 256790 h 7458372"/>
              <a:gd name="connsiteX42319" fmla="*/ 4600226 w 10505529"/>
              <a:gd name="connsiteY42319" fmla="*/ 260251 h 7458372"/>
              <a:gd name="connsiteX42320" fmla="*/ 4605550 w 10505529"/>
              <a:gd name="connsiteY42320" fmla="*/ 259319 h 7458372"/>
              <a:gd name="connsiteX42321" fmla="*/ 4609277 w 10505529"/>
              <a:gd name="connsiteY42321" fmla="*/ 256923 h 7458372"/>
              <a:gd name="connsiteX42322" fmla="*/ 4611940 w 10505529"/>
              <a:gd name="connsiteY42322" fmla="*/ 252664 h 7458372"/>
              <a:gd name="connsiteX42323" fmla="*/ 4613005 w 10505529"/>
              <a:gd name="connsiteY42323" fmla="*/ 247206 h 7458372"/>
              <a:gd name="connsiteX42324" fmla="*/ 4611940 w 10505529"/>
              <a:gd name="connsiteY42324" fmla="*/ 242014 h 7458372"/>
              <a:gd name="connsiteX42325" fmla="*/ 4609277 w 10505529"/>
              <a:gd name="connsiteY42325" fmla="*/ 237888 h 7458372"/>
              <a:gd name="connsiteX42326" fmla="*/ 4605284 w 10505529"/>
              <a:gd name="connsiteY42326" fmla="*/ 235225 h 7458372"/>
              <a:gd name="connsiteX42327" fmla="*/ 4600226 w 10505529"/>
              <a:gd name="connsiteY42327" fmla="*/ 234160 h 7458372"/>
              <a:gd name="connsiteX42328" fmla="*/ 4817870 w 10505529"/>
              <a:gd name="connsiteY42328" fmla="*/ 234160 h 7458372"/>
              <a:gd name="connsiteX42329" fmla="*/ 4807887 w 10505529"/>
              <a:gd name="connsiteY42329" fmla="*/ 237755 h 7458372"/>
              <a:gd name="connsiteX42330" fmla="*/ 4804293 w 10505529"/>
              <a:gd name="connsiteY42330" fmla="*/ 247206 h 7458372"/>
              <a:gd name="connsiteX42331" fmla="*/ 4807887 w 10505529"/>
              <a:gd name="connsiteY42331" fmla="*/ 256790 h 7458372"/>
              <a:gd name="connsiteX42332" fmla="*/ 4817870 w 10505529"/>
              <a:gd name="connsiteY42332" fmla="*/ 260251 h 7458372"/>
              <a:gd name="connsiteX42333" fmla="*/ 4823195 w 10505529"/>
              <a:gd name="connsiteY42333" fmla="*/ 259319 h 7458372"/>
              <a:gd name="connsiteX42334" fmla="*/ 4826922 w 10505529"/>
              <a:gd name="connsiteY42334" fmla="*/ 256923 h 7458372"/>
              <a:gd name="connsiteX42335" fmla="*/ 4829585 w 10505529"/>
              <a:gd name="connsiteY42335" fmla="*/ 252664 h 7458372"/>
              <a:gd name="connsiteX42336" fmla="*/ 4830650 w 10505529"/>
              <a:gd name="connsiteY42336" fmla="*/ 247206 h 7458372"/>
              <a:gd name="connsiteX42337" fmla="*/ 4829585 w 10505529"/>
              <a:gd name="connsiteY42337" fmla="*/ 242014 h 7458372"/>
              <a:gd name="connsiteX42338" fmla="*/ 4826922 w 10505529"/>
              <a:gd name="connsiteY42338" fmla="*/ 237888 h 7458372"/>
              <a:gd name="connsiteX42339" fmla="*/ 4822929 w 10505529"/>
              <a:gd name="connsiteY42339" fmla="*/ 235225 h 7458372"/>
              <a:gd name="connsiteX42340" fmla="*/ 4817870 w 10505529"/>
              <a:gd name="connsiteY42340" fmla="*/ 234160 h 7458372"/>
              <a:gd name="connsiteX42341" fmla="*/ 5035515 w 10505529"/>
              <a:gd name="connsiteY42341" fmla="*/ 234160 h 7458372"/>
              <a:gd name="connsiteX42342" fmla="*/ 5025532 w 10505529"/>
              <a:gd name="connsiteY42342" fmla="*/ 237755 h 7458372"/>
              <a:gd name="connsiteX42343" fmla="*/ 5021938 w 10505529"/>
              <a:gd name="connsiteY42343" fmla="*/ 247206 h 7458372"/>
              <a:gd name="connsiteX42344" fmla="*/ 5025532 w 10505529"/>
              <a:gd name="connsiteY42344" fmla="*/ 256790 h 7458372"/>
              <a:gd name="connsiteX42345" fmla="*/ 5035515 w 10505529"/>
              <a:gd name="connsiteY42345" fmla="*/ 260251 h 7458372"/>
              <a:gd name="connsiteX42346" fmla="*/ 5040840 w 10505529"/>
              <a:gd name="connsiteY42346" fmla="*/ 259319 h 7458372"/>
              <a:gd name="connsiteX42347" fmla="*/ 5044567 w 10505529"/>
              <a:gd name="connsiteY42347" fmla="*/ 256923 h 7458372"/>
              <a:gd name="connsiteX42348" fmla="*/ 5047230 w 10505529"/>
              <a:gd name="connsiteY42348" fmla="*/ 252664 h 7458372"/>
              <a:gd name="connsiteX42349" fmla="*/ 5048294 w 10505529"/>
              <a:gd name="connsiteY42349" fmla="*/ 247206 h 7458372"/>
              <a:gd name="connsiteX42350" fmla="*/ 5047230 w 10505529"/>
              <a:gd name="connsiteY42350" fmla="*/ 242014 h 7458372"/>
              <a:gd name="connsiteX42351" fmla="*/ 5044567 w 10505529"/>
              <a:gd name="connsiteY42351" fmla="*/ 237888 h 7458372"/>
              <a:gd name="connsiteX42352" fmla="*/ 5040574 w 10505529"/>
              <a:gd name="connsiteY42352" fmla="*/ 235225 h 7458372"/>
              <a:gd name="connsiteX42353" fmla="*/ 5035515 w 10505529"/>
              <a:gd name="connsiteY42353" fmla="*/ 234160 h 7458372"/>
              <a:gd name="connsiteX42354" fmla="*/ 5253160 w 10505529"/>
              <a:gd name="connsiteY42354" fmla="*/ 234160 h 7458372"/>
              <a:gd name="connsiteX42355" fmla="*/ 5243177 w 10505529"/>
              <a:gd name="connsiteY42355" fmla="*/ 237755 h 7458372"/>
              <a:gd name="connsiteX42356" fmla="*/ 5239583 w 10505529"/>
              <a:gd name="connsiteY42356" fmla="*/ 247206 h 7458372"/>
              <a:gd name="connsiteX42357" fmla="*/ 5243177 w 10505529"/>
              <a:gd name="connsiteY42357" fmla="*/ 256790 h 7458372"/>
              <a:gd name="connsiteX42358" fmla="*/ 5253160 w 10505529"/>
              <a:gd name="connsiteY42358" fmla="*/ 260251 h 7458372"/>
              <a:gd name="connsiteX42359" fmla="*/ 5258485 w 10505529"/>
              <a:gd name="connsiteY42359" fmla="*/ 259319 h 7458372"/>
              <a:gd name="connsiteX42360" fmla="*/ 5262212 w 10505529"/>
              <a:gd name="connsiteY42360" fmla="*/ 256923 h 7458372"/>
              <a:gd name="connsiteX42361" fmla="*/ 5264875 w 10505529"/>
              <a:gd name="connsiteY42361" fmla="*/ 252664 h 7458372"/>
              <a:gd name="connsiteX42362" fmla="*/ 5265939 w 10505529"/>
              <a:gd name="connsiteY42362" fmla="*/ 247206 h 7458372"/>
              <a:gd name="connsiteX42363" fmla="*/ 5264875 w 10505529"/>
              <a:gd name="connsiteY42363" fmla="*/ 242014 h 7458372"/>
              <a:gd name="connsiteX42364" fmla="*/ 5262212 w 10505529"/>
              <a:gd name="connsiteY42364" fmla="*/ 237887 h 7458372"/>
              <a:gd name="connsiteX42365" fmla="*/ 5258219 w 10505529"/>
              <a:gd name="connsiteY42365" fmla="*/ 235225 h 7458372"/>
              <a:gd name="connsiteX42366" fmla="*/ 5253160 w 10505529"/>
              <a:gd name="connsiteY42366" fmla="*/ 234160 h 7458372"/>
              <a:gd name="connsiteX42367" fmla="*/ 5470806 w 10505529"/>
              <a:gd name="connsiteY42367" fmla="*/ 234159 h 7458372"/>
              <a:gd name="connsiteX42368" fmla="*/ 5460822 w 10505529"/>
              <a:gd name="connsiteY42368" fmla="*/ 237754 h 7458372"/>
              <a:gd name="connsiteX42369" fmla="*/ 5457228 w 10505529"/>
              <a:gd name="connsiteY42369" fmla="*/ 247206 h 7458372"/>
              <a:gd name="connsiteX42370" fmla="*/ 5460822 w 10505529"/>
              <a:gd name="connsiteY42370" fmla="*/ 256790 h 7458372"/>
              <a:gd name="connsiteX42371" fmla="*/ 5470806 w 10505529"/>
              <a:gd name="connsiteY42371" fmla="*/ 260251 h 7458372"/>
              <a:gd name="connsiteX42372" fmla="*/ 5476130 w 10505529"/>
              <a:gd name="connsiteY42372" fmla="*/ 259319 h 7458372"/>
              <a:gd name="connsiteX42373" fmla="*/ 5479857 w 10505529"/>
              <a:gd name="connsiteY42373" fmla="*/ 256923 h 7458372"/>
              <a:gd name="connsiteX42374" fmla="*/ 5482520 w 10505529"/>
              <a:gd name="connsiteY42374" fmla="*/ 252664 h 7458372"/>
              <a:gd name="connsiteX42375" fmla="*/ 5483585 w 10505529"/>
              <a:gd name="connsiteY42375" fmla="*/ 247206 h 7458372"/>
              <a:gd name="connsiteX42376" fmla="*/ 5482520 w 10505529"/>
              <a:gd name="connsiteY42376" fmla="*/ 242013 h 7458372"/>
              <a:gd name="connsiteX42377" fmla="*/ 5479857 w 10505529"/>
              <a:gd name="connsiteY42377" fmla="*/ 237887 h 7458372"/>
              <a:gd name="connsiteX42378" fmla="*/ 5475864 w 10505529"/>
              <a:gd name="connsiteY42378" fmla="*/ 235224 h 7458372"/>
              <a:gd name="connsiteX42379" fmla="*/ 5470806 w 10505529"/>
              <a:gd name="connsiteY42379" fmla="*/ 234159 h 7458372"/>
              <a:gd name="connsiteX42380" fmla="*/ 5688451 w 10505529"/>
              <a:gd name="connsiteY42380" fmla="*/ 234159 h 7458372"/>
              <a:gd name="connsiteX42381" fmla="*/ 5678467 w 10505529"/>
              <a:gd name="connsiteY42381" fmla="*/ 237754 h 7458372"/>
              <a:gd name="connsiteX42382" fmla="*/ 5674873 w 10505529"/>
              <a:gd name="connsiteY42382" fmla="*/ 247205 h 7458372"/>
              <a:gd name="connsiteX42383" fmla="*/ 5678467 w 10505529"/>
              <a:gd name="connsiteY42383" fmla="*/ 256790 h 7458372"/>
              <a:gd name="connsiteX42384" fmla="*/ 5688451 w 10505529"/>
              <a:gd name="connsiteY42384" fmla="*/ 260251 h 7458372"/>
              <a:gd name="connsiteX42385" fmla="*/ 5693775 w 10505529"/>
              <a:gd name="connsiteY42385" fmla="*/ 259319 h 7458372"/>
              <a:gd name="connsiteX42386" fmla="*/ 5697502 w 10505529"/>
              <a:gd name="connsiteY42386" fmla="*/ 256923 h 7458372"/>
              <a:gd name="connsiteX42387" fmla="*/ 5700165 w 10505529"/>
              <a:gd name="connsiteY42387" fmla="*/ 252664 h 7458372"/>
              <a:gd name="connsiteX42388" fmla="*/ 5701230 w 10505529"/>
              <a:gd name="connsiteY42388" fmla="*/ 247205 h 7458372"/>
              <a:gd name="connsiteX42389" fmla="*/ 5700165 w 10505529"/>
              <a:gd name="connsiteY42389" fmla="*/ 242013 h 7458372"/>
              <a:gd name="connsiteX42390" fmla="*/ 5697502 w 10505529"/>
              <a:gd name="connsiteY42390" fmla="*/ 237887 h 7458372"/>
              <a:gd name="connsiteX42391" fmla="*/ 5693509 w 10505529"/>
              <a:gd name="connsiteY42391" fmla="*/ 235224 h 7458372"/>
              <a:gd name="connsiteX42392" fmla="*/ 5688451 w 10505529"/>
              <a:gd name="connsiteY42392" fmla="*/ 234159 h 7458372"/>
              <a:gd name="connsiteX42393" fmla="*/ 5905963 w 10505529"/>
              <a:gd name="connsiteY42393" fmla="*/ 234159 h 7458372"/>
              <a:gd name="connsiteX42394" fmla="*/ 5895979 w 10505529"/>
              <a:gd name="connsiteY42394" fmla="*/ 237754 h 7458372"/>
              <a:gd name="connsiteX42395" fmla="*/ 5892385 w 10505529"/>
              <a:gd name="connsiteY42395" fmla="*/ 247205 h 7458372"/>
              <a:gd name="connsiteX42396" fmla="*/ 5895979 w 10505529"/>
              <a:gd name="connsiteY42396" fmla="*/ 256790 h 7458372"/>
              <a:gd name="connsiteX42397" fmla="*/ 5905963 w 10505529"/>
              <a:gd name="connsiteY42397" fmla="*/ 260251 h 7458372"/>
              <a:gd name="connsiteX42398" fmla="*/ 5911287 w 10505529"/>
              <a:gd name="connsiteY42398" fmla="*/ 259319 h 7458372"/>
              <a:gd name="connsiteX42399" fmla="*/ 5915014 w 10505529"/>
              <a:gd name="connsiteY42399" fmla="*/ 256923 h 7458372"/>
              <a:gd name="connsiteX42400" fmla="*/ 5917677 w 10505529"/>
              <a:gd name="connsiteY42400" fmla="*/ 252663 h 7458372"/>
              <a:gd name="connsiteX42401" fmla="*/ 5918742 w 10505529"/>
              <a:gd name="connsiteY42401" fmla="*/ 247205 h 7458372"/>
              <a:gd name="connsiteX42402" fmla="*/ 5917677 w 10505529"/>
              <a:gd name="connsiteY42402" fmla="*/ 242013 h 7458372"/>
              <a:gd name="connsiteX42403" fmla="*/ 5915014 w 10505529"/>
              <a:gd name="connsiteY42403" fmla="*/ 237887 h 7458372"/>
              <a:gd name="connsiteX42404" fmla="*/ 5911021 w 10505529"/>
              <a:gd name="connsiteY42404" fmla="*/ 235224 h 7458372"/>
              <a:gd name="connsiteX42405" fmla="*/ 5905963 w 10505529"/>
              <a:gd name="connsiteY42405" fmla="*/ 234159 h 7458372"/>
              <a:gd name="connsiteX42406" fmla="*/ 6123608 w 10505529"/>
              <a:gd name="connsiteY42406" fmla="*/ 234159 h 7458372"/>
              <a:gd name="connsiteX42407" fmla="*/ 6113624 w 10505529"/>
              <a:gd name="connsiteY42407" fmla="*/ 237754 h 7458372"/>
              <a:gd name="connsiteX42408" fmla="*/ 6110030 w 10505529"/>
              <a:gd name="connsiteY42408" fmla="*/ 247205 h 7458372"/>
              <a:gd name="connsiteX42409" fmla="*/ 6113624 w 10505529"/>
              <a:gd name="connsiteY42409" fmla="*/ 256789 h 7458372"/>
              <a:gd name="connsiteX42410" fmla="*/ 6123608 w 10505529"/>
              <a:gd name="connsiteY42410" fmla="*/ 260250 h 7458372"/>
              <a:gd name="connsiteX42411" fmla="*/ 6128932 w 10505529"/>
              <a:gd name="connsiteY42411" fmla="*/ 259318 h 7458372"/>
              <a:gd name="connsiteX42412" fmla="*/ 6132659 w 10505529"/>
              <a:gd name="connsiteY42412" fmla="*/ 256922 h 7458372"/>
              <a:gd name="connsiteX42413" fmla="*/ 6135322 w 10505529"/>
              <a:gd name="connsiteY42413" fmla="*/ 252663 h 7458372"/>
              <a:gd name="connsiteX42414" fmla="*/ 6136387 w 10505529"/>
              <a:gd name="connsiteY42414" fmla="*/ 247205 h 7458372"/>
              <a:gd name="connsiteX42415" fmla="*/ 6135322 w 10505529"/>
              <a:gd name="connsiteY42415" fmla="*/ 242013 h 7458372"/>
              <a:gd name="connsiteX42416" fmla="*/ 6132659 w 10505529"/>
              <a:gd name="connsiteY42416" fmla="*/ 237887 h 7458372"/>
              <a:gd name="connsiteX42417" fmla="*/ 6128666 w 10505529"/>
              <a:gd name="connsiteY42417" fmla="*/ 235224 h 7458372"/>
              <a:gd name="connsiteX42418" fmla="*/ 6123608 w 10505529"/>
              <a:gd name="connsiteY42418" fmla="*/ 234159 h 7458372"/>
              <a:gd name="connsiteX42419" fmla="*/ 6341253 w 10505529"/>
              <a:gd name="connsiteY42419" fmla="*/ 234159 h 7458372"/>
              <a:gd name="connsiteX42420" fmla="*/ 6331270 w 10505529"/>
              <a:gd name="connsiteY42420" fmla="*/ 237754 h 7458372"/>
              <a:gd name="connsiteX42421" fmla="*/ 6327675 w 10505529"/>
              <a:gd name="connsiteY42421" fmla="*/ 247205 h 7458372"/>
              <a:gd name="connsiteX42422" fmla="*/ 6331270 w 10505529"/>
              <a:gd name="connsiteY42422" fmla="*/ 256789 h 7458372"/>
              <a:gd name="connsiteX42423" fmla="*/ 6341253 w 10505529"/>
              <a:gd name="connsiteY42423" fmla="*/ 260250 h 7458372"/>
              <a:gd name="connsiteX42424" fmla="*/ 6346578 w 10505529"/>
              <a:gd name="connsiteY42424" fmla="*/ 259318 h 7458372"/>
              <a:gd name="connsiteX42425" fmla="*/ 6350305 w 10505529"/>
              <a:gd name="connsiteY42425" fmla="*/ 256922 h 7458372"/>
              <a:gd name="connsiteX42426" fmla="*/ 6352968 w 10505529"/>
              <a:gd name="connsiteY42426" fmla="*/ 252663 h 7458372"/>
              <a:gd name="connsiteX42427" fmla="*/ 6354033 w 10505529"/>
              <a:gd name="connsiteY42427" fmla="*/ 247205 h 7458372"/>
              <a:gd name="connsiteX42428" fmla="*/ 6352968 w 10505529"/>
              <a:gd name="connsiteY42428" fmla="*/ 242013 h 7458372"/>
              <a:gd name="connsiteX42429" fmla="*/ 6350305 w 10505529"/>
              <a:gd name="connsiteY42429" fmla="*/ 237887 h 7458372"/>
              <a:gd name="connsiteX42430" fmla="*/ 6346312 w 10505529"/>
              <a:gd name="connsiteY42430" fmla="*/ 235224 h 7458372"/>
              <a:gd name="connsiteX42431" fmla="*/ 6341253 w 10505529"/>
              <a:gd name="connsiteY42431" fmla="*/ 234159 h 7458372"/>
              <a:gd name="connsiteX42432" fmla="*/ 6558899 w 10505529"/>
              <a:gd name="connsiteY42432" fmla="*/ 234159 h 7458372"/>
              <a:gd name="connsiteX42433" fmla="*/ 6548915 w 10505529"/>
              <a:gd name="connsiteY42433" fmla="*/ 237754 h 7458372"/>
              <a:gd name="connsiteX42434" fmla="*/ 6545321 w 10505529"/>
              <a:gd name="connsiteY42434" fmla="*/ 247205 h 7458372"/>
              <a:gd name="connsiteX42435" fmla="*/ 6548915 w 10505529"/>
              <a:gd name="connsiteY42435" fmla="*/ 256789 h 7458372"/>
              <a:gd name="connsiteX42436" fmla="*/ 6558899 w 10505529"/>
              <a:gd name="connsiteY42436" fmla="*/ 260250 h 7458372"/>
              <a:gd name="connsiteX42437" fmla="*/ 6564223 w 10505529"/>
              <a:gd name="connsiteY42437" fmla="*/ 259318 h 7458372"/>
              <a:gd name="connsiteX42438" fmla="*/ 6567950 w 10505529"/>
              <a:gd name="connsiteY42438" fmla="*/ 256922 h 7458372"/>
              <a:gd name="connsiteX42439" fmla="*/ 6570612 w 10505529"/>
              <a:gd name="connsiteY42439" fmla="*/ 252663 h 7458372"/>
              <a:gd name="connsiteX42440" fmla="*/ 6571677 w 10505529"/>
              <a:gd name="connsiteY42440" fmla="*/ 247205 h 7458372"/>
              <a:gd name="connsiteX42441" fmla="*/ 6570612 w 10505529"/>
              <a:gd name="connsiteY42441" fmla="*/ 242013 h 7458372"/>
              <a:gd name="connsiteX42442" fmla="*/ 6567950 w 10505529"/>
              <a:gd name="connsiteY42442" fmla="*/ 237887 h 7458372"/>
              <a:gd name="connsiteX42443" fmla="*/ 6563956 w 10505529"/>
              <a:gd name="connsiteY42443" fmla="*/ 235224 h 7458372"/>
              <a:gd name="connsiteX42444" fmla="*/ 6558899 w 10505529"/>
              <a:gd name="connsiteY42444" fmla="*/ 234159 h 7458372"/>
              <a:gd name="connsiteX42445" fmla="*/ 6776544 w 10505529"/>
              <a:gd name="connsiteY42445" fmla="*/ 234159 h 7458372"/>
              <a:gd name="connsiteX42446" fmla="*/ 6766560 w 10505529"/>
              <a:gd name="connsiteY42446" fmla="*/ 237754 h 7458372"/>
              <a:gd name="connsiteX42447" fmla="*/ 6762966 w 10505529"/>
              <a:gd name="connsiteY42447" fmla="*/ 247205 h 7458372"/>
              <a:gd name="connsiteX42448" fmla="*/ 6766560 w 10505529"/>
              <a:gd name="connsiteY42448" fmla="*/ 256789 h 7458372"/>
              <a:gd name="connsiteX42449" fmla="*/ 6776544 w 10505529"/>
              <a:gd name="connsiteY42449" fmla="*/ 260250 h 7458372"/>
              <a:gd name="connsiteX42450" fmla="*/ 6781869 w 10505529"/>
              <a:gd name="connsiteY42450" fmla="*/ 259318 h 7458372"/>
              <a:gd name="connsiteX42451" fmla="*/ 6785595 w 10505529"/>
              <a:gd name="connsiteY42451" fmla="*/ 256922 h 7458372"/>
              <a:gd name="connsiteX42452" fmla="*/ 6788258 w 10505529"/>
              <a:gd name="connsiteY42452" fmla="*/ 252663 h 7458372"/>
              <a:gd name="connsiteX42453" fmla="*/ 6789323 w 10505529"/>
              <a:gd name="connsiteY42453" fmla="*/ 247205 h 7458372"/>
              <a:gd name="connsiteX42454" fmla="*/ 6788258 w 10505529"/>
              <a:gd name="connsiteY42454" fmla="*/ 242013 h 7458372"/>
              <a:gd name="connsiteX42455" fmla="*/ 6785595 w 10505529"/>
              <a:gd name="connsiteY42455" fmla="*/ 237887 h 7458372"/>
              <a:gd name="connsiteX42456" fmla="*/ 6781602 w 10505529"/>
              <a:gd name="connsiteY42456" fmla="*/ 235224 h 7458372"/>
              <a:gd name="connsiteX42457" fmla="*/ 6776544 w 10505529"/>
              <a:gd name="connsiteY42457" fmla="*/ 234159 h 7458372"/>
              <a:gd name="connsiteX42458" fmla="*/ 6994056 w 10505529"/>
              <a:gd name="connsiteY42458" fmla="*/ 234159 h 7458372"/>
              <a:gd name="connsiteX42459" fmla="*/ 6984072 w 10505529"/>
              <a:gd name="connsiteY42459" fmla="*/ 237754 h 7458372"/>
              <a:gd name="connsiteX42460" fmla="*/ 6980478 w 10505529"/>
              <a:gd name="connsiteY42460" fmla="*/ 247205 h 7458372"/>
              <a:gd name="connsiteX42461" fmla="*/ 6984072 w 10505529"/>
              <a:gd name="connsiteY42461" fmla="*/ 256789 h 7458372"/>
              <a:gd name="connsiteX42462" fmla="*/ 6994056 w 10505529"/>
              <a:gd name="connsiteY42462" fmla="*/ 260250 h 7458372"/>
              <a:gd name="connsiteX42463" fmla="*/ 6999380 w 10505529"/>
              <a:gd name="connsiteY42463" fmla="*/ 259318 h 7458372"/>
              <a:gd name="connsiteX42464" fmla="*/ 7003107 w 10505529"/>
              <a:gd name="connsiteY42464" fmla="*/ 256922 h 7458372"/>
              <a:gd name="connsiteX42465" fmla="*/ 7005769 w 10505529"/>
              <a:gd name="connsiteY42465" fmla="*/ 252663 h 7458372"/>
              <a:gd name="connsiteX42466" fmla="*/ 7006834 w 10505529"/>
              <a:gd name="connsiteY42466" fmla="*/ 247205 h 7458372"/>
              <a:gd name="connsiteX42467" fmla="*/ 7005769 w 10505529"/>
              <a:gd name="connsiteY42467" fmla="*/ 242013 h 7458372"/>
              <a:gd name="connsiteX42468" fmla="*/ 7003107 w 10505529"/>
              <a:gd name="connsiteY42468" fmla="*/ 237887 h 7458372"/>
              <a:gd name="connsiteX42469" fmla="*/ 6999113 w 10505529"/>
              <a:gd name="connsiteY42469" fmla="*/ 235224 h 7458372"/>
              <a:gd name="connsiteX42470" fmla="*/ 6994056 w 10505529"/>
              <a:gd name="connsiteY42470" fmla="*/ 234159 h 7458372"/>
              <a:gd name="connsiteX42471" fmla="*/ 7211701 w 10505529"/>
              <a:gd name="connsiteY42471" fmla="*/ 234159 h 7458372"/>
              <a:gd name="connsiteX42472" fmla="*/ 7201717 w 10505529"/>
              <a:gd name="connsiteY42472" fmla="*/ 237754 h 7458372"/>
              <a:gd name="connsiteX42473" fmla="*/ 7198123 w 10505529"/>
              <a:gd name="connsiteY42473" fmla="*/ 247205 h 7458372"/>
              <a:gd name="connsiteX42474" fmla="*/ 7201717 w 10505529"/>
              <a:gd name="connsiteY42474" fmla="*/ 256789 h 7458372"/>
              <a:gd name="connsiteX42475" fmla="*/ 7211701 w 10505529"/>
              <a:gd name="connsiteY42475" fmla="*/ 260250 h 7458372"/>
              <a:gd name="connsiteX42476" fmla="*/ 7217026 w 10505529"/>
              <a:gd name="connsiteY42476" fmla="*/ 259318 h 7458372"/>
              <a:gd name="connsiteX42477" fmla="*/ 7220752 w 10505529"/>
              <a:gd name="connsiteY42477" fmla="*/ 256922 h 7458372"/>
              <a:gd name="connsiteX42478" fmla="*/ 7223415 w 10505529"/>
              <a:gd name="connsiteY42478" fmla="*/ 252663 h 7458372"/>
              <a:gd name="connsiteX42479" fmla="*/ 7224480 w 10505529"/>
              <a:gd name="connsiteY42479" fmla="*/ 247205 h 7458372"/>
              <a:gd name="connsiteX42480" fmla="*/ 7223415 w 10505529"/>
              <a:gd name="connsiteY42480" fmla="*/ 242013 h 7458372"/>
              <a:gd name="connsiteX42481" fmla="*/ 7220752 w 10505529"/>
              <a:gd name="connsiteY42481" fmla="*/ 237887 h 7458372"/>
              <a:gd name="connsiteX42482" fmla="*/ 7216759 w 10505529"/>
              <a:gd name="connsiteY42482" fmla="*/ 235224 h 7458372"/>
              <a:gd name="connsiteX42483" fmla="*/ 7211701 w 10505529"/>
              <a:gd name="connsiteY42483" fmla="*/ 234159 h 7458372"/>
              <a:gd name="connsiteX42484" fmla="*/ 7429345 w 10505529"/>
              <a:gd name="connsiteY42484" fmla="*/ 234158 h 7458372"/>
              <a:gd name="connsiteX42485" fmla="*/ 7419361 w 10505529"/>
              <a:gd name="connsiteY42485" fmla="*/ 237753 h 7458372"/>
              <a:gd name="connsiteX42486" fmla="*/ 7415768 w 10505529"/>
              <a:gd name="connsiteY42486" fmla="*/ 247205 h 7458372"/>
              <a:gd name="connsiteX42487" fmla="*/ 7419361 w 10505529"/>
              <a:gd name="connsiteY42487" fmla="*/ 256789 h 7458372"/>
              <a:gd name="connsiteX42488" fmla="*/ 7429345 w 10505529"/>
              <a:gd name="connsiteY42488" fmla="*/ 260250 h 7458372"/>
              <a:gd name="connsiteX42489" fmla="*/ 7434670 w 10505529"/>
              <a:gd name="connsiteY42489" fmla="*/ 259318 h 7458372"/>
              <a:gd name="connsiteX42490" fmla="*/ 7438397 w 10505529"/>
              <a:gd name="connsiteY42490" fmla="*/ 256922 h 7458372"/>
              <a:gd name="connsiteX42491" fmla="*/ 7441059 w 10505529"/>
              <a:gd name="connsiteY42491" fmla="*/ 252663 h 7458372"/>
              <a:gd name="connsiteX42492" fmla="*/ 7442124 w 10505529"/>
              <a:gd name="connsiteY42492" fmla="*/ 247205 h 7458372"/>
              <a:gd name="connsiteX42493" fmla="*/ 7441059 w 10505529"/>
              <a:gd name="connsiteY42493" fmla="*/ 242013 h 7458372"/>
              <a:gd name="connsiteX42494" fmla="*/ 7438397 w 10505529"/>
              <a:gd name="connsiteY42494" fmla="*/ 237886 h 7458372"/>
              <a:gd name="connsiteX42495" fmla="*/ 7434403 w 10505529"/>
              <a:gd name="connsiteY42495" fmla="*/ 235223 h 7458372"/>
              <a:gd name="connsiteX42496" fmla="*/ 7429345 w 10505529"/>
              <a:gd name="connsiteY42496" fmla="*/ 234158 h 7458372"/>
              <a:gd name="connsiteX42497" fmla="*/ 7646991 w 10505529"/>
              <a:gd name="connsiteY42497" fmla="*/ 234158 h 7458372"/>
              <a:gd name="connsiteX42498" fmla="*/ 7637007 w 10505529"/>
              <a:gd name="connsiteY42498" fmla="*/ 237753 h 7458372"/>
              <a:gd name="connsiteX42499" fmla="*/ 7633413 w 10505529"/>
              <a:gd name="connsiteY42499" fmla="*/ 247205 h 7458372"/>
              <a:gd name="connsiteX42500" fmla="*/ 7637007 w 10505529"/>
              <a:gd name="connsiteY42500" fmla="*/ 256789 h 7458372"/>
              <a:gd name="connsiteX42501" fmla="*/ 7646991 w 10505529"/>
              <a:gd name="connsiteY42501" fmla="*/ 260250 h 7458372"/>
              <a:gd name="connsiteX42502" fmla="*/ 7652315 w 10505529"/>
              <a:gd name="connsiteY42502" fmla="*/ 259318 h 7458372"/>
              <a:gd name="connsiteX42503" fmla="*/ 7656042 w 10505529"/>
              <a:gd name="connsiteY42503" fmla="*/ 256922 h 7458372"/>
              <a:gd name="connsiteX42504" fmla="*/ 7658705 w 10505529"/>
              <a:gd name="connsiteY42504" fmla="*/ 252663 h 7458372"/>
              <a:gd name="connsiteX42505" fmla="*/ 7659769 w 10505529"/>
              <a:gd name="connsiteY42505" fmla="*/ 247205 h 7458372"/>
              <a:gd name="connsiteX42506" fmla="*/ 7658705 w 10505529"/>
              <a:gd name="connsiteY42506" fmla="*/ 242012 h 7458372"/>
              <a:gd name="connsiteX42507" fmla="*/ 7656042 w 10505529"/>
              <a:gd name="connsiteY42507" fmla="*/ 237886 h 7458372"/>
              <a:gd name="connsiteX42508" fmla="*/ 7652049 w 10505529"/>
              <a:gd name="connsiteY42508" fmla="*/ 235223 h 7458372"/>
              <a:gd name="connsiteX42509" fmla="*/ 7646991 w 10505529"/>
              <a:gd name="connsiteY42509" fmla="*/ 234158 h 7458372"/>
              <a:gd name="connsiteX42510" fmla="*/ 7864636 w 10505529"/>
              <a:gd name="connsiteY42510" fmla="*/ 234158 h 7458372"/>
              <a:gd name="connsiteX42511" fmla="*/ 7854652 w 10505529"/>
              <a:gd name="connsiteY42511" fmla="*/ 237753 h 7458372"/>
              <a:gd name="connsiteX42512" fmla="*/ 7851058 w 10505529"/>
              <a:gd name="connsiteY42512" fmla="*/ 247204 h 7458372"/>
              <a:gd name="connsiteX42513" fmla="*/ 7854652 w 10505529"/>
              <a:gd name="connsiteY42513" fmla="*/ 256789 h 7458372"/>
              <a:gd name="connsiteX42514" fmla="*/ 7864636 w 10505529"/>
              <a:gd name="connsiteY42514" fmla="*/ 260250 h 7458372"/>
              <a:gd name="connsiteX42515" fmla="*/ 7869961 w 10505529"/>
              <a:gd name="connsiteY42515" fmla="*/ 259318 h 7458372"/>
              <a:gd name="connsiteX42516" fmla="*/ 7873687 w 10505529"/>
              <a:gd name="connsiteY42516" fmla="*/ 256922 h 7458372"/>
              <a:gd name="connsiteX42517" fmla="*/ 7876350 w 10505529"/>
              <a:gd name="connsiteY42517" fmla="*/ 252662 h 7458372"/>
              <a:gd name="connsiteX42518" fmla="*/ 7877282 w 10505529"/>
              <a:gd name="connsiteY42518" fmla="*/ 247204 h 7458372"/>
              <a:gd name="connsiteX42519" fmla="*/ 7876350 w 10505529"/>
              <a:gd name="connsiteY42519" fmla="*/ 242012 h 7458372"/>
              <a:gd name="connsiteX42520" fmla="*/ 7873687 w 10505529"/>
              <a:gd name="connsiteY42520" fmla="*/ 237886 h 7458372"/>
              <a:gd name="connsiteX42521" fmla="*/ 7869694 w 10505529"/>
              <a:gd name="connsiteY42521" fmla="*/ 235223 h 7458372"/>
              <a:gd name="connsiteX42522" fmla="*/ 7864636 w 10505529"/>
              <a:gd name="connsiteY42522" fmla="*/ 234158 h 7458372"/>
              <a:gd name="connsiteX42523" fmla="*/ 8082281 w 10505529"/>
              <a:gd name="connsiteY42523" fmla="*/ 234158 h 7458372"/>
              <a:gd name="connsiteX42524" fmla="*/ 8072297 w 10505529"/>
              <a:gd name="connsiteY42524" fmla="*/ 237753 h 7458372"/>
              <a:gd name="connsiteX42525" fmla="*/ 8068703 w 10505529"/>
              <a:gd name="connsiteY42525" fmla="*/ 247204 h 7458372"/>
              <a:gd name="connsiteX42526" fmla="*/ 8072297 w 10505529"/>
              <a:gd name="connsiteY42526" fmla="*/ 256788 h 7458372"/>
              <a:gd name="connsiteX42527" fmla="*/ 8082281 w 10505529"/>
              <a:gd name="connsiteY42527" fmla="*/ 260249 h 7458372"/>
              <a:gd name="connsiteX42528" fmla="*/ 8087605 w 10505529"/>
              <a:gd name="connsiteY42528" fmla="*/ 259317 h 7458372"/>
              <a:gd name="connsiteX42529" fmla="*/ 8091332 w 10505529"/>
              <a:gd name="connsiteY42529" fmla="*/ 256921 h 7458372"/>
              <a:gd name="connsiteX42530" fmla="*/ 8093994 w 10505529"/>
              <a:gd name="connsiteY42530" fmla="*/ 252662 h 7458372"/>
              <a:gd name="connsiteX42531" fmla="*/ 8094926 w 10505529"/>
              <a:gd name="connsiteY42531" fmla="*/ 247204 h 7458372"/>
              <a:gd name="connsiteX42532" fmla="*/ 8093994 w 10505529"/>
              <a:gd name="connsiteY42532" fmla="*/ 242012 h 7458372"/>
              <a:gd name="connsiteX42533" fmla="*/ 8091332 w 10505529"/>
              <a:gd name="connsiteY42533" fmla="*/ 237886 h 7458372"/>
              <a:gd name="connsiteX42534" fmla="*/ 8087338 w 10505529"/>
              <a:gd name="connsiteY42534" fmla="*/ 235223 h 7458372"/>
              <a:gd name="connsiteX42535" fmla="*/ 8082281 w 10505529"/>
              <a:gd name="connsiteY42535" fmla="*/ 234158 h 7458372"/>
              <a:gd name="connsiteX42536" fmla="*/ 8299793 w 10505529"/>
              <a:gd name="connsiteY42536" fmla="*/ 234158 h 7458372"/>
              <a:gd name="connsiteX42537" fmla="*/ 8289809 w 10505529"/>
              <a:gd name="connsiteY42537" fmla="*/ 237753 h 7458372"/>
              <a:gd name="connsiteX42538" fmla="*/ 8286215 w 10505529"/>
              <a:gd name="connsiteY42538" fmla="*/ 247204 h 7458372"/>
              <a:gd name="connsiteX42539" fmla="*/ 8289809 w 10505529"/>
              <a:gd name="connsiteY42539" fmla="*/ 256788 h 7458372"/>
              <a:gd name="connsiteX42540" fmla="*/ 8299793 w 10505529"/>
              <a:gd name="connsiteY42540" fmla="*/ 260249 h 7458372"/>
              <a:gd name="connsiteX42541" fmla="*/ 8305118 w 10505529"/>
              <a:gd name="connsiteY42541" fmla="*/ 259317 h 7458372"/>
              <a:gd name="connsiteX42542" fmla="*/ 8308844 w 10505529"/>
              <a:gd name="connsiteY42542" fmla="*/ 256921 h 7458372"/>
              <a:gd name="connsiteX42543" fmla="*/ 8311507 w 10505529"/>
              <a:gd name="connsiteY42543" fmla="*/ 252662 h 7458372"/>
              <a:gd name="connsiteX42544" fmla="*/ 8312439 w 10505529"/>
              <a:gd name="connsiteY42544" fmla="*/ 247204 h 7458372"/>
              <a:gd name="connsiteX42545" fmla="*/ 8311507 w 10505529"/>
              <a:gd name="connsiteY42545" fmla="*/ 242012 h 7458372"/>
              <a:gd name="connsiteX42546" fmla="*/ 8308844 w 10505529"/>
              <a:gd name="connsiteY42546" fmla="*/ 237886 h 7458372"/>
              <a:gd name="connsiteX42547" fmla="*/ 8304851 w 10505529"/>
              <a:gd name="connsiteY42547" fmla="*/ 235223 h 7458372"/>
              <a:gd name="connsiteX42548" fmla="*/ 8299793 w 10505529"/>
              <a:gd name="connsiteY42548" fmla="*/ 234158 h 7458372"/>
              <a:gd name="connsiteX42549" fmla="*/ 8517438 w 10505529"/>
              <a:gd name="connsiteY42549" fmla="*/ 234158 h 7458372"/>
              <a:gd name="connsiteX42550" fmla="*/ 8507453 w 10505529"/>
              <a:gd name="connsiteY42550" fmla="*/ 237753 h 7458372"/>
              <a:gd name="connsiteX42551" fmla="*/ 8503860 w 10505529"/>
              <a:gd name="connsiteY42551" fmla="*/ 247204 h 7458372"/>
              <a:gd name="connsiteX42552" fmla="*/ 8507453 w 10505529"/>
              <a:gd name="connsiteY42552" fmla="*/ 256788 h 7458372"/>
              <a:gd name="connsiteX42553" fmla="*/ 8517438 w 10505529"/>
              <a:gd name="connsiteY42553" fmla="*/ 260249 h 7458372"/>
              <a:gd name="connsiteX42554" fmla="*/ 8522763 w 10505529"/>
              <a:gd name="connsiteY42554" fmla="*/ 259317 h 7458372"/>
              <a:gd name="connsiteX42555" fmla="*/ 8526490 w 10505529"/>
              <a:gd name="connsiteY42555" fmla="*/ 256921 h 7458372"/>
              <a:gd name="connsiteX42556" fmla="*/ 8529152 w 10505529"/>
              <a:gd name="connsiteY42556" fmla="*/ 252662 h 7458372"/>
              <a:gd name="connsiteX42557" fmla="*/ 8530084 w 10505529"/>
              <a:gd name="connsiteY42557" fmla="*/ 247204 h 7458372"/>
              <a:gd name="connsiteX42558" fmla="*/ 8529152 w 10505529"/>
              <a:gd name="connsiteY42558" fmla="*/ 242012 h 7458372"/>
              <a:gd name="connsiteX42559" fmla="*/ 8526490 w 10505529"/>
              <a:gd name="connsiteY42559" fmla="*/ 237886 h 7458372"/>
              <a:gd name="connsiteX42560" fmla="*/ 8522496 w 10505529"/>
              <a:gd name="connsiteY42560" fmla="*/ 235223 h 7458372"/>
              <a:gd name="connsiteX42561" fmla="*/ 8517438 w 10505529"/>
              <a:gd name="connsiteY42561" fmla="*/ 234158 h 7458372"/>
              <a:gd name="connsiteX42562" fmla="*/ 8735083 w 10505529"/>
              <a:gd name="connsiteY42562" fmla="*/ 234158 h 7458372"/>
              <a:gd name="connsiteX42563" fmla="*/ 8725098 w 10505529"/>
              <a:gd name="connsiteY42563" fmla="*/ 237753 h 7458372"/>
              <a:gd name="connsiteX42564" fmla="*/ 8721504 w 10505529"/>
              <a:gd name="connsiteY42564" fmla="*/ 247204 h 7458372"/>
              <a:gd name="connsiteX42565" fmla="*/ 8725098 w 10505529"/>
              <a:gd name="connsiteY42565" fmla="*/ 256788 h 7458372"/>
              <a:gd name="connsiteX42566" fmla="*/ 8735083 w 10505529"/>
              <a:gd name="connsiteY42566" fmla="*/ 260249 h 7458372"/>
              <a:gd name="connsiteX42567" fmla="*/ 8740407 w 10505529"/>
              <a:gd name="connsiteY42567" fmla="*/ 259317 h 7458372"/>
              <a:gd name="connsiteX42568" fmla="*/ 8744134 w 10505529"/>
              <a:gd name="connsiteY42568" fmla="*/ 256921 h 7458372"/>
              <a:gd name="connsiteX42569" fmla="*/ 8746797 w 10505529"/>
              <a:gd name="connsiteY42569" fmla="*/ 252662 h 7458372"/>
              <a:gd name="connsiteX42570" fmla="*/ 8747862 w 10505529"/>
              <a:gd name="connsiteY42570" fmla="*/ 247204 h 7458372"/>
              <a:gd name="connsiteX42571" fmla="*/ 8746797 w 10505529"/>
              <a:gd name="connsiteY42571" fmla="*/ 242012 h 7458372"/>
              <a:gd name="connsiteX42572" fmla="*/ 8744134 w 10505529"/>
              <a:gd name="connsiteY42572" fmla="*/ 237886 h 7458372"/>
              <a:gd name="connsiteX42573" fmla="*/ 8740141 w 10505529"/>
              <a:gd name="connsiteY42573" fmla="*/ 235223 h 7458372"/>
              <a:gd name="connsiteX42574" fmla="*/ 8735083 w 10505529"/>
              <a:gd name="connsiteY42574" fmla="*/ 234158 h 7458372"/>
              <a:gd name="connsiteX42575" fmla="*/ 8952728 w 10505529"/>
              <a:gd name="connsiteY42575" fmla="*/ 234158 h 7458372"/>
              <a:gd name="connsiteX42576" fmla="*/ 8942743 w 10505529"/>
              <a:gd name="connsiteY42576" fmla="*/ 237753 h 7458372"/>
              <a:gd name="connsiteX42577" fmla="*/ 8939150 w 10505529"/>
              <a:gd name="connsiteY42577" fmla="*/ 247204 h 7458372"/>
              <a:gd name="connsiteX42578" fmla="*/ 8942743 w 10505529"/>
              <a:gd name="connsiteY42578" fmla="*/ 256788 h 7458372"/>
              <a:gd name="connsiteX42579" fmla="*/ 8952728 w 10505529"/>
              <a:gd name="connsiteY42579" fmla="*/ 260249 h 7458372"/>
              <a:gd name="connsiteX42580" fmla="*/ 8958053 w 10505529"/>
              <a:gd name="connsiteY42580" fmla="*/ 259317 h 7458372"/>
              <a:gd name="connsiteX42581" fmla="*/ 8961780 w 10505529"/>
              <a:gd name="connsiteY42581" fmla="*/ 256921 h 7458372"/>
              <a:gd name="connsiteX42582" fmla="*/ 8964442 w 10505529"/>
              <a:gd name="connsiteY42582" fmla="*/ 252662 h 7458372"/>
              <a:gd name="connsiteX42583" fmla="*/ 8965507 w 10505529"/>
              <a:gd name="connsiteY42583" fmla="*/ 247204 h 7458372"/>
              <a:gd name="connsiteX42584" fmla="*/ 8964442 w 10505529"/>
              <a:gd name="connsiteY42584" fmla="*/ 242012 h 7458372"/>
              <a:gd name="connsiteX42585" fmla="*/ 8961780 w 10505529"/>
              <a:gd name="connsiteY42585" fmla="*/ 237886 h 7458372"/>
              <a:gd name="connsiteX42586" fmla="*/ 8957786 w 10505529"/>
              <a:gd name="connsiteY42586" fmla="*/ 235223 h 7458372"/>
              <a:gd name="connsiteX42587" fmla="*/ 8952728 w 10505529"/>
              <a:gd name="connsiteY42587" fmla="*/ 234158 h 7458372"/>
              <a:gd name="connsiteX42588" fmla="*/ 9170374 w 10505529"/>
              <a:gd name="connsiteY42588" fmla="*/ 234158 h 7458372"/>
              <a:gd name="connsiteX42589" fmla="*/ 9160389 w 10505529"/>
              <a:gd name="connsiteY42589" fmla="*/ 237753 h 7458372"/>
              <a:gd name="connsiteX42590" fmla="*/ 9156795 w 10505529"/>
              <a:gd name="connsiteY42590" fmla="*/ 247204 h 7458372"/>
              <a:gd name="connsiteX42591" fmla="*/ 9160389 w 10505529"/>
              <a:gd name="connsiteY42591" fmla="*/ 256788 h 7458372"/>
              <a:gd name="connsiteX42592" fmla="*/ 9170374 w 10505529"/>
              <a:gd name="connsiteY42592" fmla="*/ 260249 h 7458372"/>
              <a:gd name="connsiteX42593" fmla="*/ 9175698 w 10505529"/>
              <a:gd name="connsiteY42593" fmla="*/ 259317 h 7458372"/>
              <a:gd name="connsiteX42594" fmla="*/ 9179425 w 10505529"/>
              <a:gd name="connsiteY42594" fmla="*/ 256921 h 7458372"/>
              <a:gd name="connsiteX42595" fmla="*/ 9182088 w 10505529"/>
              <a:gd name="connsiteY42595" fmla="*/ 252662 h 7458372"/>
              <a:gd name="connsiteX42596" fmla="*/ 9183152 w 10505529"/>
              <a:gd name="connsiteY42596" fmla="*/ 247204 h 7458372"/>
              <a:gd name="connsiteX42597" fmla="*/ 9182088 w 10505529"/>
              <a:gd name="connsiteY42597" fmla="*/ 242012 h 7458372"/>
              <a:gd name="connsiteX42598" fmla="*/ 9179425 w 10505529"/>
              <a:gd name="connsiteY42598" fmla="*/ 237886 h 7458372"/>
              <a:gd name="connsiteX42599" fmla="*/ 9175432 w 10505529"/>
              <a:gd name="connsiteY42599" fmla="*/ 235223 h 7458372"/>
              <a:gd name="connsiteX42600" fmla="*/ 9170374 w 10505529"/>
              <a:gd name="connsiteY42600" fmla="*/ 234158 h 7458372"/>
              <a:gd name="connsiteX42601" fmla="*/ 9387885 w 10505529"/>
              <a:gd name="connsiteY42601" fmla="*/ 234157 h 7458372"/>
              <a:gd name="connsiteX42602" fmla="*/ 9377900 w 10505529"/>
              <a:gd name="connsiteY42602" fmla="*/ 237752 h 7458372"/>
              <a:gd name="connsiteX42603" fmla="*/ 9374307 w 10505529"/>
              <a:gd name="connsiteY42603" fmla="*/ 247204 h 7458372"/>
              <a:gd name="connsiteX42604" fmla="*/ 9377900 w 10505529"/>
              <a:gd name="connsiteY42604" fmla="*/ 256788 h 7458372"/>
              <a:gd name="connsiteX42605" fmla="*/ 9387885 w 10505529"/>
              <a:gd name="connsiteY42605" fmla="*/ 260249 h 7458372"/>
              <a:gd name="connsiteX42606" fmla="*/ 9393210 w 10505529"/>
              <a:gd name="connsiteY42606" fmla="*/ 259317 h 7458372"/>
              <a:gd name="connsiteX42607" fmla="*/ 9396937 w 10505529"/>
              <a:gd name="connsiteY42607" fmla="*/ 256921 h 7458372"/>
              <a:gd name="connsiteX42608" fmla="*/ 9399599 w 10505529"/>
              <a:gd name="connsiteY42608" fmla="*/ 252662 h 7458372"/>
              <a:gd name="connsiteX42609" fmla="*/ 9400664 w 10505529"/>
              <a:gd name="connsiteY42609" fmla="*/ 247204 h 7458372"/>
              <a:gd name="connsiteX42610" fmla="*/ 9399599 w 10505529"/>
              <a:gd name="connsiteY42610" fmla="*/ 242012 h 7458372"/>
              <a:gd name="connsiteX42611" fmla="*/ 9396937 w 10505529"/>
              <a:gd name="connsiteY42611" fmla="*/ 237885 h 7458372"/>
              <a:gd name="connsiteX42612" fmla="*/ 9392943 w 10505529"/>
              <a:gd name="connsiteY42612" fmla="*/ 235222 h 7458372"/>
              <a:gd name="connsiteX42613" fmla="*/ 9387885 w 10505529"/>
              <a:gd name="connsiteY42613" fmla="*/ 234157 h 7458372"/>
              <a:gd name="connsiteX42614" fmla="*/ 9605531 w 10505529"/>
              <a:gd name="connsiteY42614" fmla="*/ 234157 h 7458372"/>
              <a:gd name="connsiteX42615" fmla="*/ 9595546 w 10505529"/>
              <a:gd name="connsiteY42615" fmla="*/ 237752 h 7458372"/>
              <a:gd name="connsiteX42616" fmla="*/ 9591952 w 10505529"/>
              <a:gd name="connsiteY42616" fmla="*/ 247204 h 7458372"/>
              <a:gd name="connsiteX42617" fmla="*/ 9595546 w 10505529"/>
              <a:gd name="connsiteY42617" fmla="*/ 256788 h 7458372"/>
              <a:gd name="connsiteX42618" fmla="*/ 9605531 w 10505529"/>
              <a:gd name="connsiteY42618" fmla="*/ 260249 h 7458372"/>
              <a:gd name="connsiteX42619" fmla="*/ 9610855 w 10505529"/>
              <a:gd name="connsiteY42619" fmla="*/ 259317 h 7458372"/>
              <a:gd name="connsiteX42620" fmla="*/ 9614582 w 10505529"/>
              <a:gd name="connsiteY42620" fmla="*/ 256921 h 7458372"/>
              <a:gd name="connsiteX42621" fmla="*/ 9617245 w 10505529"/>
              <a:gd name="connsiteY42621" fmla="*/ 252662 h 7458372"/>
              <a:gd name="connsiteX42622" fmla="*/ 9618309 w 10505529"/>
              <a:gd name="connsiteY42622" fmla="*/ 247204 h 7458372"/>
              <a:gd name="connsiteX42623" fmla="*/ 9617245 w 10505529"/>
              <a:gd name="connsiteY42623" fmla="*/ 242011 h 7458372"/>
              <a:gd name="connsiteX42624" fmla="*/ 9614582 w 10505529"/>
              <a:gd name="connsiteY42624" fmla="*/ 237885 h 7458372"/>
              <a:gd name="connsiteX42625" fmla="*/ 9610589 w 10505529"/>
              <a:gd name="connsiteY42625" fmla="*/ 235222 h 7458372"/>
              <a:gd name="connsiteX42626" fmla="*/ 9605531 w 10505529"/>
              <a:gd name="connsiteY42626" fmla="*/ 234157 h 7458372"/>
              <a:gd name="connsiteX42627" fmla="*/ 9823176 w 10505529"/>
              <a:gd name="connsiteY42627" fmla="*/ 234157 h 7458372"/>
              <a:gd name="connsiteX42628" fmla="*/ 9813191 w 10505529"/>
              <a:gd name="connsiteY42628" fmla="*/ 237752 h 7458372"/>
              <a:gd name="connsiteX42629" fmla="*/ 9809597 w 10505529"/>
              <a:gd name="connsiteY42629" fmla="*/ 247203 h 7458372"/>
              <a:gd name="connsiteX42630" fmla="*/ 9813191 w 10505529"/>
              <a:gd name="connsiteY42630" fmla="*/ 256788 h 7458372"/>
              <a:gd name="connsiteX42631" fmla="*/ 9823176 w 10505529"/>
              <a:gd name="connsiteY42631" fmla="*/ 260249 h 7458372"/>
              <a:gd name="connsiteX42632" fmla="*/ 9828501 w 10505529"/>
              <a:gd name="connsiteY42632" fmla="*/ 259317 h 7458372"/>
              <a:gd name="connsiteX42633" fmla="*/ 9832227 w 10505529"/>
              <a:gd name="connsiteY42633" fmla="*/ 256921 h 7458372"/>
              <a:gd name="connsiteX42634" fmla="*/ 9834890 w 10505529"/>
              <a:gd name="connsiteY42634" fmla="*/ 252662 h 7458372"/>
              <a:gd name="connsiteX42635" fmla="*/ 9835955 w 10505529"/>
              <a:gd name="connsiteY42635" fmla="*/ 247203 h 7458372"/>
              <a:gd name="connsiteX42636" fmla="*/ 9834890 w 10505529"/>
              <a:gd name="connsiteY42636" fmla="*/ 242011 h 7458372"/>
              <a:gd name="connsiteX42637" fmla="*/ 9832227 w 10505529"/>
              <a:gd name="connsiteY42637" fmla="*/ 237885 h 7458372"/>
              <a:gd name="connsiteX42638" fmla="*/ 9828234 w 10505529"/>
              <a:gd name="connsiteY42638" fmla="*/ 235222 h 7458372"/>
              <a:gd name="connsiteX42639" fmla="*/ 9823176 w 10505529"/>
              <a:gd name="connsiteY42639" fmla="*/ 234157 h 7458372"/>
              <a:gd name="connsiteX42640" fmla="*/ 10040820 w 10505529"/>
              <a:gd name="connsiteY42640" fmla="*/ 234157 h 7458372"/>
              <a:gd name="connsiteX42641" fmla="*/ 10030835 w 10505529"/>
              <a:gd name="connsiteY42641" fmla="*/ 237752 h 7458372"/>
              <a:gd name="connsiteX42642" fmla="*/ 10027242 w 10505529"/>
              <a:gd name="connsiteY42642" fmla="*/ 247203 h 7458372"/>
              <a:gd name="connsiteX42643" fmla="*/ 10030835 w 10505529"/>
              <a:gd name="connsiteY42643" fmla="*/ 256788 h 7458372"/>
              <a:gd name="connsiteX42644" fmla="*/ 10040820 w 10505529"/>
              <a:gd name="connsiteY42644" fmla="*/ 260249 h 7458372"/>
              <a:gd name="connsiteX42645" fmla="*/ 10046145 w 10505529"/>
              <a:gd name="connsiteY42645" fmla="*/ 259317 h 7458372"/>
              <a:gd name="connsiteX42646" fmla="*/ 10049872 w 10505529"/>
              <a:gd name="connsiteY42646" fmla="*/ 256921 h 7458372"/>
              <a:gd name="connsiteX42647" fmla="*/ 10052534 w 10505529"/>
              <a:gd name="connsiteY42647" fmla="*/ 252661 h 7458372"/>
              <a:gd name="connsiteX42648" fmla="*/ 10053599 w 10505529"/>
              <a:gd name="connsiteY42648" fmla="*/ 247203 h 7458372"/>
              <a:gd name="connsiteX42649" fmla="*/ 10052534 w 10505529"/>
              <a:gd name="connsiteY42649" fmla="*/ 242011 h 7458372"/>
              <a:gd name="connsiteX42650" fmla="*/ 10049872 w 10505529"/>
              <a:gd name="connsiteY42650" fmla="*/ 237885 h 7458372"/>
              <a:gd name="connsiteX42651" fmla="*/ 10045878 w 10505529"/>
              <a:gd name="connsiteY42651" fmla="*/ 235222 h 7458372"/>
              <a:gd name="connsiteX42652" fmla="*/ 10040820 w 10505529"/>
              <a:gd name="connsiteY42652" fmla="*/ 234157 h 7458372"/>
              <a:gd name="connsiteX42653" fmla="*/ 10258466 w 10505529"/>
              <a:gd name="connsiteY42653" fmla="*/ 234157 h 7458372"/>
              <a:gd name="connsiteX42654" fmla="*/ 10248481 w 10505529"/>
              <a:gd name="connsiteY42654" fmla="*/ 237752 h 7458372"/>
              <a:gd name="connsiteX42655" fmla="*/ 10244887 w 10505529"/>
              <a:gd name="connsiteY42655" fmla="*/ 247203 h 7458372"/>
              <a:gd name="connsiteX42656" fmla="*/ 10248481 w 10505529"/>
              <a:gd name="connsiteY42656" fmla="*/ 256787 h 7458372"/>
              <a:gd name="connsiteX42657" fmla="*/ 10258466 w 10505529"/>
              <a:gd name="connsiteY42657" fmla="*/ 260248 h 7458372"/>
              <a:gd name="connsiteX42658" fmla="*/ 10263790 w 10505529"/>
              <a:gd name="connsiteY42658" fmla="*/ 259316 h 7458372"/>
              <a:gd name="connsiteX42659" fmla="*/ 10267517 w 10505529"/>
              <a:gd name="connsiteY42659" fmla="*/ 256920 h 7458372"/>
              <a:gd name="connsiteX42660" fmla="*/ 10270180 w 10505529"/>
              <a:gd name="connsiteY42660" fmla="*/ 252661 h 7458372"/>
              <a:gd name="connsiteX42661" fmla="*/ 10271112 w 10505529"/>
              <a:gd name="connsiteY42661" fmla="*/ 247203 h 7458372"/>
              <a:gd name="connsiteX42662" fmla="*/ 10270180 w 10505529"/>
              <a:gd name="connsiteY42662" fmla="*/ 242011 h 7458372"/>
              <a:gd name="connsiteX42663" fmla="*/ 10267517 w 10505529"/>
              <a:gd name="connsiteY42663" fmla="*/ 237885 h 7458372"/>
              <a:gd name="connsiteX42664" fmla="*/ 10263524 w 10505529"/>
              <a:gd name="connsiteY42664" fmla="*/ 235222 h 7458372"/>
              <a:gd name="connsiteX42665" fmla="*/ 10258466 w 10505529"/>
              <a:gd name="connsiteY42665" fmla="*/ 234157 h 7458372"/>
              <a:gd name="connsiteX42666" fmla="*/ 10475977 w 10505529"/>
              <a:gd name="connsiteY42666" fmla="*/ 234157 h 7458372"/>
              <a:gd name="connsiteX42667" fmla="*/ 10465992 w 10505529"/>
              <a:gd name="connsiteY42667" fmla="*/ 237752 h 7458372"/>
              <a:gd name="connsiteX42668" fmla="*/ 10462399 w 10505529"/>
              <a:gd name="connsiteY42668" fmla="*/ 247203 h 7458372"/>
              <a:gd name="connsiteX42669" fmla="*/ 10465992 w 10505529"/>
              <a:gd name="connsiteY42669" fmla="*/ 256787 h 7458372"/>
              <a:gd name="connsiteX42670" fmla="*/ 10475977 w 10505529"/>
              <a:gd name="connsiteY42670" fmla="*/ 260248 h 7458372"/>
              <a:gd name="connsiteX42671" fmla="*/ 10481302 w 10505529"/>
              <a:gd name="connsiteY42671" fmla="*/ 259316 h 7458372"/>
              <a:gd name="connsiteX42672" fmla="*/ 10485029 w 10505529"/>
              <a:gd name="connsiteY42672" fmla="*/ 256920 h 7458372"/>
              <a:gd name="connsiteX42673" fmla="*/ 10487691 w 10505529"/>
              <a:gd name="connsiteY42673" fmla="*/ 252661 h 7458372"/>
              <a:gd name="connsiteX42674" fmla="*/ 10488623 w 10505529"/>
              <a:gd name="connsiteY42674" fmla="*/ 247203 h 7458372"/>
              <a:gd name="connsiteX42675" fmla="*/ 10487691 w 10505529"/>
              <a:gd name="connsiteY42675" fmla="*/ 242011 h 7458372"/>
              <a:gd name="connsiteX42676" fmla="*/ 10485029 w 10505529"/>
              <a:gd name="connsiteY42676" fmla="*/ 237885 h 7458372"/>
              <a:gd name="connsiteX42677" fmla="*/ 10481035 w 10505529"/>
              <a:gd name="connsiteY42677" fmla="*/ 235222 h 7458372"/>
              <a:gd name="connsiteX42678" fmla="*/ 10475977 w 10505529"/>
              <a:gd name="connsiteY42678" fmla="*/ 234157 h 7458372"/>
              <a:gd name="connsiteX42679" fmla="*/ 30225 w 10505529"/>
              <a:gd name="connsiteY42679" fmla="*/ 217656 h 7458372"/>
              <a:gd name="connsiteX42680" fmla="*/ 41940 w 10505529"/>
              <a:gd name="connsiteY42680" fmla="*/ 220185 h 7458372"/>
              <a:gd name="connsiteX42681" fmla="*/ 51258 w 10505529"/>
              <a:gd name="connsiteY42681" fmla="*/ 226575 h 7458372"/>
              <a:gd name="connsiteX42682" fmla="*/ 57381 w 10505529"/>
              <a:gd name="connsiteY42682" fmla="*/ 235893 h 7458372"/>
              <a:gd name="connsiteX42683" fmla="*/ 59644 w 10505529"/>
              <a:gd name="connsiteY42683" fmla="*/ 247341 h 7458372"/>
              <a:gd name="connsiteX42684" fmla="*/ 57381 w 10505529"/>
              <a:gd name="connsiteY42684" fmla="*/ 259055 h 7458372"/>
              <a:gd name="connsiteX42685" fmla="*/ 51258 w 10505529"/>
              <a:gd name="connsiteY42685" fmla="*/ 268507 h 7458372"/>
              <a:gd name="connsiteX42686" fmla="*/ 41940 w 10505529"/>
              <a:gd name="connsiteY42686" fmla="*/ 274764 h 7458372"/>
              <a:gd name="connsiteX42687" fmla="*/ 30225 w 10505529"/>
              <a:gd name="connsiteY42687" fmla="*/ 277027 h 7458372"/>
              <a:gd name="connsiteX42688" fmla="*/ 8393 w 10505529"/>
              <a:gd name="connsiteY42688" fmla="*/ 268507 h 7458372"/>
              <a:gd name="connsiteX42689" fmla="*/ 7 w 10505529"/>
              <a:gd name="connsiteY42689" fmla="*/ 247341 h 7458372"/>
              <a:gd name="connsiteX42690" fmla="*/ 8393 w 10505529"/>
              <a:gd name="connsiteY42690" fmla="*/ 226309 h 7458372"/>
              <a:gd name="connsiteX42691" fmla="*/ 30225 w 10505529"/>
              <a:gd name="connsiteY42691" fmla="*/ 217656 h 7458372"/>
              <a:gd name="connsiteX42692" fmla="*/ 247869 w 10505529"/>
              <a:gd name="connsiteY42692" fmla="*/ 217656 h 7458372"/>
              <a:gd name="connsiteX42693" fmla="*/ 259584 w 10505529"/>
              <a:gd name="connsiteY42693" fmla="*/ 220185 h 7458372"/>
              <a:gd name="connsiteX42694" fmla="*/ 268903 w 10505529"/>
              <a:gd name="connsiteY42694" fmla="*/ 226575 h 7458372"/>
              <a:gd name="connsiteX42695" fmla="*/ 275026 w 10505529"/>
              <a:gd name="connsiteY42695" fmla="*/ 235893 h 7458372"/>
              <a:gd name="connsiteX42696" fmla="*/ 277289 w 10505529"/>
              <a:gd name="connsiteY42696" fmla="*/ 247341 h 7458372"/>
              <a:gd name="connsiteX42697" fmla="*/ 275026 w 10505529"/>
              <a:gd name="connsiteY42697" fmla="*/ 259055 h 7458372"/>
              <a:gd name="connsiteX42698" fmla="*/ 268903 w 10505529"/>
              <a:gd name="connsiteY42698" fmla="*/ 268507 h 7458372"/>
              <a:gd name="connsiteX42699" fmla="*/ 259584 w 10505529"/>
              <a:gd name="connsiteY42699" fmla="*/ 274764 h 7458372"/>
              <a:gd name="connsiteX42700" fmla="*/ 247869 w 10505529"/>
              <a:gd name="connsiteY42700" fmla="*/ 277027 h 7458372"/>
              <a:gd name="connsiteX42701" fmla="*/ 226038 w 10505529"/>
              <a:gd name="connsiteY42701" fmla="*/ 268507 h 7458372"/>
              <a:gd name="connsiteX42702" fmla="*/ 217652 w 10505529"/>
              <a:gd name="connsiteY42702" fmla="*/ 247341 h 7458372"/>
              <a:gd name="connsiteX42703" fmla="*/ 226038 w 10505529"/>
              <a:gd name="connsiteY42703" fmla="*/ 226309 h 7458372"/>
              <a:gd name="connsiteX42704" fmla="*/ 247869 w 10505529"/>
              <a:gd name="connsiteY42704" fmla="*/ 217656 h 7458372"/>
              <a:gd name="connsiteX42705" fmla="*/ 465514 w 10505529"/>
              <a:gd name="connsiteY42705" fmla="*/ 217655 h 7458372"/>
              <a:gd name="connsiteX42706" fmla="*/ 477229 w 10505529"/>
              <a:gd name="connsiteY42706" fmla="*/ 220185 h 7458372"/>
              <a:gd name="connsiteX42707" fmla="*/ 486547 w 10505529"/>
              <a:gd name="connsiteY42707" fmla="*/ 226575 h 7458372"/>
              <a:gd name="connsiteX42708" fmla="*/ 492670 w 10505529"/>
              <a:gd name="connsiteY42708" fmla="*/ 235893 h 7458372"/>
              <a:gd name="connsiteX42709" fmla="*/ 494933 w 10505529"/>
              <a:gd name="connsiteY42709" fmla="*/ 247341 h 7458372"/>
              <a:gd name="connsiteX42710" fmla="*/ 492670 w 10505529"/>
              <a:gd name="connsiteY42710" fmla="*/ 259055 h 7458372"/>
              <a:gd name="connsiteX42711" fmla="*/ 486547 w 10505529"/>
              <a:gd name="connsiteY42711" fmla="*/ 268506 h 7458372"/>
              <a:gd name="connsiteX42712" fmla="*/ 477229 w 10505529"/>
              <a:gd name="connsiteY42712" fmla="*/ 274764 h 7458372"/>
              <a:gd name="connsiteX42713" fmla="*/ 465514 w 10505529"/>
              <a:gd name="connsiteY42713" fmla="*/ 277027 h 7458372"/>
              <a:gd name="connsiteX42714" fmla="*/ 443683 w 10505529"/>
              <a:gd name="connsiteY42714" fmla="*/ 268506 h 7458372"/>
              <a:gd name="connsiteX42715" fmla="*/ 435296 w 10505529"/>
              <a:gd name="connsiteY42715" fmla="*/ 247341 h 7458372"/>
              <a:gd name="connsiteX42716" fmla="*/ 443683 w 10505529"/>
              <a:gd name="connsiteY42716" fmla="*/ 226309 h 7458372"/>
              <a:gd name="connsiteX42717" fmla="*/ 465514 w 10505529"/>
              <a:gd name="connsiteY42717" fmla="*/ 217655 h 7458372"/>
              <a:gd name="connsiteX42718" fmla="*/ 900803 w 10505529"/>
              <a:gd name="connsiteY42718" fmla="*/ 217655 h 7458372"/>
              <a:gd name="connsiteX42719" fmla="*/ 912518 w 10505529"/>
              <a:gd name="connsiteY42719" fmla="*/ 220184 h 7458372"/>
              <a:gd name="connsiteX42720" fmla="*/ 921836 w 10505529"/>
              <a:gd name="connsiteY42720" fmla="*/ 226574 h 7458372"/>
              <a:gd name="connsiteX42721" fmla="*/ 927959 w 10505529"/>
              <a:gd name="connsiteY42721" fmla="*/ 235893 h 7458372"/>
              <a:gd name="connsiteX42722" fmla="*/ 930222 w 10505529"/>
              <a:gd name="connsiteY42722" fmla="*/ 247341 h 7458372"/>
              <a:gd name="connsiteX42723" fmla="*/ 927959 w 10505529"/>
              <a:gd name="connsiteY42723" fmla="*/ 259055 h 7458372"/>
              <a:gd name="connsiteX42724" fmla="*/ 921836 w 10505529"/>
              <a:gd name="connsiteY42724" fmla="*/ 268506 h 7458372"/>
              <a:gd name="connsiteX42725" fmla="*/ 912518 w 10505529"/>
              <a:gd name="connsiteY42725" fmla="*/ 274763 h 7458372"/>
              <a:gd name="connsiteX42726" fmla="*/ 900803 w 10505529"/>
              <a:gd name="connsiteY42726" fmla="*/ 277026 h 7458372"/>
              <a:gd name="connsiteX42727" fmla="*/ 878972 w 10505529"/>
              <a:gd name="connsiteY42727" fmla="*/ 268506 h 7458372"/>
              <a:gd name="connsiteX42728" fmla="*/ 870586 w 10505529"/>
              <a:gd name="connsiteY42728" fmla="*/ 247341 h 7458372"/>
              <a:gd name="connsiteX42729" fmla="*/ 878972 w 10505529"/>
              <a:gd name="connsiteY42729" fmla="*/ 226308 h 7458372"/>
              <a:gd name="connsiteX42730" fmla="*/ 900803 w 10505529"/>
              <a:gd name="connsiteY42730" fmla="*/ 217655 h 7458372"/>
              <a:gd name="connsiteX42731" fmla="*/ 683158 w 10505529"/>
              <a:gd name="connsiteY42731" fmla="*/ 217655 h 7458372"/>
              <a:gd name="connsiteX42732" fmla="*/ 694874 w 10505529"/>
              <a:gd name="connsiteY42732" fmla="*/ 220184 h 7458372"/>
              <a:gd name="connsiteX42733" fmla="*/ 704192 w 10505529"/>
              <a:gd name="connsiteY42733" fmla="*/ 226575 h 7458372"/>
              <a:gd name="connsiteX42734" fmla="*/ 710315 w 10505529"/>
              <a:gd name="connsiteY42734" fmla="*/ 235893 h 7458372"/>
              <a:gd name="connsiteX42735" fmla="*/ 712578 w 10505529"/>
              <a:gd name="connsiteY42735" fmla="*/ 247341 h 7458372"/>
              <a:gd name="connsiteX42736" fmla="*/ 710315 w 10505529"/>
              <a:gd name="connsiteY42736" fmla="*/ 259055 h 7458372"/>
              <a:gd name="connsiteX42737" fmla="*/ 704192 w 10505529"/>
              <a:gd name="connsiteY42737" fmla="*/ 268506 h 7458372"/>
              <a:gd name="connsiteX42738" fmla="*/ 694874 w 10505529"/>
              <a:gd name="connsiteY42738" fmla="*/ 274763 h 7458372"/>
              <a:gd name="connsiteX42739" fmla="*/ 683158 w 10505529"/>
              <a:gd name="connsiteY42739" fmla="*/ 277026 h 7458372"/>
              <a:gd name="connsiteX42740" fmla="*/ 661327 w 10505529"/>
              <a:gd name="connsiteY42740" fmla="*/ 268506 h 7458372"/>
              <a:gd name="connsiteX42741" fmla="*/ 652941 w 10505529"/>
              <a:gd name="connsiteY42741" fmla="*/ 247341 h 7458372"/>
              <a:gd name="connsiteX42742" fmla="*/ 661327 w 10505529"/>
              <a:gd name="connsiteY42742" fmla="*/ 226309 h 7458372"/>
              <a:gd name="connsiteX42743" fmla="*/ 683158 w 10505529"/>
              <a:gd name="connsiteY42743" fmla="*/ 217655 h 7458372"/>
              <a:gd name="connsiteX42744" fmla="*/ 1335960 w 10505529"/>
              <a:gd name="connsiteY42744" fmla="*/ 217655 h 7458372"/>
              <a:gd name="connsiteX42745" fmla="*/ 1347675 w 10505529"/>
              <a:gd name="connsiteY42745" fmla="*/ 220184 h 7458372"/>
              <a:gd name="connsiteX42746" fmla="*/ 1356993 w 10505529"/>
              <a:gd name="connsiteY42746" fmla="*/ 226574 h 7458372"/>
              <a:gd name="connsiteX42747" fmla="*/ 1363116 w 10505529"/>
              <a:gd name="connsiteY42747" fmla="*/ 235892 h 7458372"/>
              <a:gd name="connsiteX42748" fmla="*/ 1365379 w 10505529"/>
              <a:gd name="connsiteY42748" fmla="*/ 247341 h 7458372"/>
              <a:gd name="connsiteX42749" fmla="*/ 1363116 w 10505529"/>
              <a:gd name="connsiteY42749" fmla="*/ 259055 h 7458372"/>
              <a:gd name="connsiteX42750" fmla="*/ 1356993 w 10505529"/>
              <a:gd name="connsiteY42750" fmla="*/ 268506 h 7458372"/>
              <a:gd name="connsiteX42751" fmla="*/ 1347675 w 10505529"/>
              <a:gd name="connsiteY42751" fmla="*/ 274763 h 7458372"/>
              <a:gd name="connsiteX42752" fmla="*/ 1335960 w 10505529"/>
              <a:gd name="connsiteY42752" fmla="*/ 277026 h 7458372"/>
              <a:gd name="connsiteX42753" fmla="*/ 1314128 w 10505529"/>
              <a:gd name="connsiteY42753" fmla="*/ 268506 h 7458372"/>
              <a:gd name="connsiteX42754" fmla="*/ 1305742 w 10505529"/>
              <a:gd name="connsiteY42754" fmla="*/ 247341 h 7458372"/>
              <a:gd name="connsiteX42755" fmla="*/ 1314128 w 10505529"/>
              <a:gd name="connsiteY42755" fmla="*/ 226308 h 7458372"/>
              <a:gd name="connsiteX42756" fmla="*/ 1335960 w 10505529"/>
              <a:gd name="connsiteY42756" fmla="*/ 217655 h 7458372"/>
              <a:gd name="connsiteX42757" fmla="*/ 1118315 w 10505529"/>
              <a:gd name="connsiteY42757" fmla="*/ 217655 h 7458372"/>
              <a:gd name="connsiteX42758" fmla="*/ 1130030 w 10505529"/>
              <a:gd name="connsiteY42758" fmla="*/ 220184 h 7458372"/>
              <a:gd name="connsiteX42759" fmla="*/ 1139349 w 10505529"/>
              <a:gd name="connsiteY42759" fmla="*/ 226574 h 7458372"/>
              <a:gd name="connsiteX42760" fmla="*/ 1145471 w 10505529"/>
              <a:gd name="connsiteY42760" fmla="*/ 235893 h 7458372"/>
              <a:gd name="connsiteX42761" fmla="*/ 1147734 w 10505529"/>
              <a:gd name="connsiteY42761" fmla="*/ 247341 h 7458372"/>
              <a:gd name="connsiteX42762" fmla="*/ 1145471 w 10505529"/>
              <a:gd name="connsiteY42762" fmla="*/ 259055 h 7458372"/>
              <a:gd name="connsiteX42763" fmla="*/ 1139349 w 10505529"/>
              <a:gd name="connsiteY42763" fmla="*/ 268506 h 7458372"/>
              <a:gd name="connsiteX42764" fmla="*/ 1130030 w 10505529"/>
              <a:gd name="connsiteY42764" fmla="*/ 274763 h 7458372"/>
              <a:gd name="connsiteX42765" fmla="*/ 1118315 w 10505529"/>
              <a:gd name="connsiteY42765" fmla="*/ 277026 h 7458372"/>
              <a:gd name="connsiteX42766" fmla="*/ 1096483 w 10505529"/>
              <a:gd name="connsiteY42766" fmla="*/ 268506 h 7458372"/>
              <a:gd name="connsiteX42767" fmla="*/ 1088097 w 10505529"/>
              <a:gd name="connsiteY42767" fmla="*/ 247341 h 7458372"/>
              <a:gd name="connsiteX42768" fmla="*/ 1096483 w 10505529"/>
              <a:gd name="connsiteY42768" fmla="*/ 226308 h 7458372"/>
              <a:gd name="connsiteX42769" fmla="*/ 1118315 w 10505529"/>
              <a:gd name="connsiteY42769" fmla="*/ 217655 h 7458372"/>
              <a:gd name="connsiteX42770" fmla="*/ 1771250 w 10505529"/>
              <a:gd name="connsiteY42770" fmla="*/ 217655 h 7458372"/>
              <a:gd name="connsiteX42771" fmla="*/ 1782965 w 10505529"/>
              <a:gd name="connsiteY42771" fmla="*/ 220184 h 7458372"/>
              <a:gd name="connsiteX42772" fmla="*/ 1792283 w 10505529"/>
              <a:gd name="connsiteY42772" fmla="*/ 226574 h 7458372"/>
              <a:gd name="connsiteX42773" fmla="*/ 1798406 w 10505529"/>
              <a:gd name="connsiteY42773" fmla="*/ 235892 h 7458372"/>
              <a:gd name="connsiteX42774" fmla="*/ 1800669 w 10505529"/>
              <a:gd name="connsiteY42774" fmla="*/ 247340 h 7458372"/>
              <a:gd name="connsiteX42775" fmla="*/ 1798406 w 10505529"/>
              <a:gd name="connsiteY42775" fmla="*/ 259055 h 7458372"/>
              <a:gd name="connsiteX42776" fmla="*/ 1792283 w 10505529"/>
              <a:gd name="connsiteY42776" fmla="*/ 268506 h 7458372"/>
              <a:gd name="connsiteX42777" fmla="*/ 1782965 w 10505529"/>
              <a:gd name="connsiteY42777" fmla="*/ 274763 h 7458372"/>
              <a:gd name="connsiteX42778" fmla="*/ 1771250 w 10505529"/>
              <a:gd name="connsiteY42778" fmla="*/ 277026 h 7458372"/>
              <a:gd name="connsiteX42779" fmla="*/ 1749418 w 10505529"/>
              <a:gd name="connsiteY42779" fmla="*/ 268506 h 7458372"/>
              <a:gd name="connsiteX42780" fmla="*/ 1741033 w 10505529"/>
              <a:gd name="connsiteY42780" fmla="*/ 247340 h 7458372"/>
              <a:gd name="connsiteX42781" fmla="*/ 1749418 w 10505529"/>
              <a:gd name="connsiteY42781" fmla="*/ 226308 h 7458372"/>
              <a:gd name="connsiteX42782" fmla="*/ 1771250 w 10505529"/>
              <a:gd name="connsiteY42782" fmla="*/ 217655 h 7458372"/>
              <a:gd name="connsiteX42783" fmla="*/ 1553605 w 10505529"/>
              <a:gd name="connsiteY42783" fmla="*/ 217655 h 7458372"/>
              <a:gd name="connsiteX42784" fmla="*/ 1565320 w 10505529"/>
              <a:gd name="connsiteY42784" fmla="*/ 220184 h 7458372"/>
              <a:gd name="connsiteX42785" fmla="*/ 1574638 w 10505529"/>
              <a:gd name="connsiteY42785" fmla="*/ 226574 h 7458372"/>
              <a:gd name="connsiteX42786" fmla="*/ 1580761 w 10505529"/>
              <a:gd name="connsiteY42786" fmla="*/ 235892 h 7458372"/>
              <a:gd name="connsiteX42787" fmla="*/ 1583024 w 10505529"/>
              <a:gd name="connsiteY42787" fmla="*/ 247341 h 7458372"/>
              <a:gd name="connsiteX42788" fmla="*/ 1580761 w 10505529"/>
              <a:gd name="connsiteY42788" fmla="*/ 259055 h 7458372"/>
              <a:gd name="connsiteX42789" fmla="*/ 1574638 w 10505529"/>
              <a:gd name="connsiteY42789" fmla="*/ 268506 h 7458372"/>
              <a:gd name="connsiteX42790" fmla="*/ 1565320 w 10505529"/>
              <a:gd name="connsiteY42790" fmla="*/ 274763 h 7458372"/>
              <a:gd name="connsiteX42791" fmla="*/ 1553605 w 10505529"/>
              <a:gd name="connsiteY42791" fmla="*/ 277026 h 7458372"/>
              <a:gd name="connsiteX42792" fmla="*/ 1531773 w 10505529"/>
              <a:gd name="connsiteY42792" fmla="*/ 268506 h 7458372"/>
              <a:gd name="connsiteX42793" fmla="*/ 1523387 w 10505529"/>
              <a:gd name="connsiteY42793" fmla="*/ 247341 h 7458372"/>
              <a:gd name="connsiteX42794" fmla="*/ 1531773 w 10505529"/>
              <a:gd name="connsiteY42794" fmla="*/ 226308 h 7458372"/>
              <a:gd name="connsiteX42795" fmla="*/ 1553605 w 10505529"/>
              <a:gd name="connsiteY42795" fmla="*/ 217655 h 7458372"/>
              <a:gd name="connsiteX42796" fmla="*/ 2206407 w 10505529"/>
              <a:gd name="connsiteY42796" fmla="*/ 217655 h 7458372"/>
              <a:gd name="connsiteX42797" fmla="*/ 2218122 w 10505529"/>
              <a:gd name="connsiteY42797" fmla="*/ 220184 h 7458372"/>
              <a:gd name="connsiteX42798" fmla="*/ 2227441 w 10505529"/>
              <a:gd name="connsiteY42798" fmla="*/ 226574 h 7458372"/>
              <a:gd name="connsiteX42799" fmla="*/ 2233563 w 10505529"/>
              <a:gd name="connsiteY42799" fmla="*/ 235892 h 7458372"/>
              <a:gd name="connsiteX42800" fmla="*/ 2235826 w 10505529"/>
              <a:gd name="connsiteY42800" fmla="*/ 247340 h 7458372"/>
              <a:gd name="connsiteX42801" fmla="*/ 2233563 w 10505529"/>
              <a:gd name="connsiteY42801" fmla="*/ 259054 h 7458372"/>
              <a:gd name="connsiteX42802" fmla="*/ 2227441 w 10505529"/>
              <a:gd name="connsiteY42802" fmla="*/ 268506 h 7458372"/>
              <a:gd name="connsiteX42803" fmla="*/ 2218122 w 10505529"/>
              <a:gd name="connsiteY42803" fmla="*/ 274763 h 7458372"/>
              <a:gd name="connsiteX42804" fmla="*/ 2206407 w 10505529"/>
              <a:gd name="connsiteY42804" fmla="*/ 277026 h 7458372"/>
              <a:gd name="connsiteX42805" fmla="*/ 2184576 w 10505529"/>
              <a:gd name="connsiteY42805" fmla="*/ 268506 h 7458372"/>
              <a:gd name="connsiteX42806" fmla="*/ 2176189 w 10505529"/>
              <a:gd name="connsiteY42806" fmla="*/ 247340 h 7458372"/>
              <a:gd name="connsiteX42807" fmla="*/ 2184576 w 10505529"/>
              <a:gd name="connsiteY42807" fmla="*/ 226308 h 7458372"/>
              <a:gd name="connsiteX42808" fmla="*/ 2206407 w 10505529"/>
              <a:gd name="connsiteY42808" fmla="*/ 217655 h 7458372"/>
              <a:gd name="connsiteX42809" fmla="*/ 1988894 w 10505529"/>
              <a:gd name="connsiteY42809" fmla="*/ 217655 h 7458372"/>
              <a:gd name="connsiteX42810" fmla="*/ 2000609 w 10505529"/>
              <a:gd name="connsiteY42810" fmla="*/ 220184 h 7458372"/>
              <a:gd name="connsiteX42811" fmla="*/ 2009927 w 10505529"/>
              <a:gd name="connsiteY42811" fmla="*/ 226574 h 7458372"/>
              <a:gd name="connsiteX42812" fmla="*/ 2016051 w 10505529"/>
              <a:gd name="connsiteY42812" fmla="*/ 235892 h 7458372"/>
              <a:gd name="connsiteX42813" fmla="*/ 2018314 w 10505529"/>
              <a:gd name="connsiteY42813" fmla="*/ 247340 h 7458372"/>
              <a:gd name="connsiteX42814" fmla="*/ 2016051 w 10505529"/>
              <a:gd name="connsiteY42814" fmla="*/ 259055 h 7458372"/>
              <a:gd name="connsiteX42815" fmla="*/ 2009927 w 10505529"/>
              <a:gd name="connsiteY42815" fmla="*/ 268506 h 7458372"/>
              <a:gd name="connsiteX42816" fmla="*/ 2000609 w 10505529"/>
              <a:gd name="connsiteY42816" fmla="*/ 274763 h 7458372"/>
              <a:gd name="connsiteX42817" fmla="*/ 1988894 w 10505529"/>
              <a:gd name="connsiteY42817" fmla="*/ 277026 h 7458372"/>
              <a:gd name="connsiteX42818" fmla="*/ 1967063 w 10505529"/>
              <a:gd name="connsiteY42818" fmla="*/ 268506 h 7458372"/>
              <a:gd name="connsiteX42819" fmla="*/ 1958676 w 10505529"/>
              <a:gd name="connsiteY42819" fmla="*/ 247340 h 7458372"/>
              <a:gd name="connsiteX42820" fmla="*/ 1967063 w 10505529"/>
              <a:gd name="connsiteY42820" fmla="*/ 226308 h 7458372"/>
              <a:gd name="connsiteX42821" fmla="*/ 1988894 w 10505529"/>
              <a:gd name="connsiteY42821" fmla="*/ 217655 h 7458372"/>
              <a:gd name="connsiteX42822" fmla="*/ 2641699 w 10505529"/>
              <a:gd name="connsiteY42822" fmla="*/ 217654 h 7458372"/>
              <a:gd name="connsiteX42823" fmla="*/ 2653414 w 10505529"/>
              <a:gd name="connsiteY42823" fmla="*/ 220184 h 7458372"/>
              <a:gd name="connsiteX42824" fmla="*/ 2662732 w 10505529"/>
              <a:gd name="connsiteY42824" fmla="*/ 226574 h 7458372"/>
              <a:gd name="connsiteX42825" fmla="*/ 2668855 w 10505529"/>
              <a:gd name="connsiteY42825" fmla="*/ 235892 h 7458372"/>
              <a:gd name="connsiteX42826" fmla="*/ 2671118 w 10505529"/>
              <a:gd name="connsiteY42826" fmla="*/ 247340 h 7458372"/>
              <a:gd name="connsiteX42827" fmla="*/ 2668855 w 10505529"/>
              <a:gd name="connsiteY42827" fmla="*/ 259054 h 7458372"/>
              <a:gd name="connsiteX42828" fmla="*/ 2662732 w 10505529"/>
              <a:gd name="connsiteY42828" fmla="*/ 268505 h 7458372"/>
              <a:gd name="connsiteX42829" fmla="*/ 2653414 w 10505529"/>
              <a:gd name="connsiteY42829" fmla="*/ 274762 h 7458372"/>
              <a:gd name="connsiteX42830" fmla="*/ 2641699 w 10505529"/>
              <a:gd name="connsiteY42830" fmla="*/ 277025 h 7458372"/>
              <a:gd name="connsiteX42831" fmla="*/ 2619867 w 10505529"/>
              <a:gd name="connsiteY42831" fmla="*/ 268505 h 7458372"/>
              <a:gd name="connsiteX42832" fmla="*/ 2611481 w 10505529"/>
              <a:gd name="connsiteY42832" fmla="*/ 247340 h 7458372"/>
              <a:gd name="connsiteX42833" fmla="*/ 2619867 w 10505529"/>
              <a:gd name="connsiteY42833" fmla="*/ 226308 h 7458372"/>
              <a:gd name="connsiteX42834" fmla="*/ 2641699 w 10505529"/>
              <a:gd name="connsiteY42834" fmla="*/ 217654 h 7458372"/>
              <a:gd name="connsiteX42835" fmla="*/ 2424053 w 10505529"/>
              <a:gd name="connsiteY42835" fmla="*/ 217654 h 7458372"/>
              <a:gd name="connsiteX42836" fmla="*/ 2435768 w 10505529"/>
              <a:gd name="connsiteY42836" fmla="*/ 220184 h 7458372"/>
              <a:gd name="connsiteX42837" fmla="*/ 2445086 w 10505529"/>
              <a:gd name="connsiteY42837" fmla="*/ 226574 h 7458372"/>
              <a:gd name="connsiteX42838" fmla="*/ 2451209 w 10505529"/>
              <a:gd name="connsiteY42838" fmla="*/ 235892 h 7458372"/>
              <a:gd name="connsiteX42839" fmla="*/ 2453472 w 10505529"/>
              <a:gd name="connsiteY42839" fmla="*/ 247340 h 7458372"/>
              <a:gd name="connsiteX42840" fmla="*/ 2451209 w 10505529"/>
              <a:gd name="connsiteY42840" fmla="*/ 259054 h 7458372"/>
              <a:gd name="connsiteX42841" fmla="*/ 2445086 w 10505529"/>
              <a:gd name="connsiteY42841" fmla="*/ 268506 h 7458372"/>
              <a:gd name="connsiteX42842" fmla="*/ 2435768 w 10505529"/>
              <a:gd name="connsiteY42842" fmla="*/ 274763 h 7458372"/>
              <a:gd name="connsiteX42843" fmla="*/ 2424053 w 10505529"/>
              <a:gd name="connsiteY42843" fmla="*/ 277026 h 7458372"/>
              <a:gd name="connsiteX42844" fmla="*/ 2402221 w 10505529"/>
              <a:gd name="connsiteY42844" fmla="*/ 268506 h 7458372"/>
              <a:gd name="connsiteX42845" fmla="*/ 2393835 w 10505529"/>
              <a:gd name="connsiteY42845" fmla="*/ 247340 h 7458372"/>
              <a:gd name="connsiteX42846" fmla="*/ 2402221 w 10505529"/>
              <a:gd name="connsiteY42846" fmla="*/ 226308 h 7458372"/>
              <a:gd name="connsiteX42847" fmla="*/ 2424053 w 10505529"/>
              <a:gd name="connsiteY42847" fmla="*/ 217654 h 7458372"/>
              <a:gd name="connsiteX42848" fmla="*/ 2859345 w 10505529"/>
              <a:gd name="connsiteY42848" fmla="*/ 217654 h 7458372"/>
              <a:gd name="connsiteX42849" fmla="*/ 2871193 w 10505529"/>
              <a:gd name="connsiteY42849" fmla="*/ 220183 h 7458372"/>
              <a:gd name="connsiteX42850" fmla="*/ 2880511 w 10505529"/>
              <a:gd name="connsiteY42850" fmla="*/ 226573 h 7458372"/>
              <a:gd name="connsiteX42851" fmla="*/ 2886634 w 10505529"/>
              <a:gd name="connsiteY42851" fmla="*/ 235892 h 7458372"/>
              <a:gd name="connsiteX42852" fmla="*/ 2888897 w 10505529"/>
              <a:gd name="connsiteY42852" fmla="*/ 247340 h 7458372"/>
              <a:gd name="connsiteX42853" fmla="*/ 2886634 w 10505529"/>
              <a:gd name="connsiteY42853" fmla="*/ 259054 h 7458372"/>
              <a:gd name="connsiteX42854" fmla="*/ 2880511 w 10505529"/>
              <a:gd name="connsiteY42854" fmla="*/ 268505 h 7458372"/>
              <a:gd name="connsiteX42855" fmla="*/ 2871193 w 10505529"/>
              <a:gd name="connsiteY42855" fmla="*/ 274762 h 7458372"/>
              <a:gd name="connsiteX42856" fmla="*/ 2859345 w 10505529"/>
              <a:gd name="connsiteY42856" fmla="*/ 277025 h 7458372"/>
              <a:gd name="connsiteX42857" fmla="*/ 2837513 w 10505529"/>
              <a:gd name="connsiteY42857" fmla="*/ 268505 h 7458372"/>
              <a:gd name="connsiteX42858" fmla="*/ 2829127 w 10505529"/>
              <a:gd name="connsiteY42858" fmla="*/ 247340 h 7458372"/>
              <a:gd name="connsiteX42859" fmla="*/ 2837513 w 10505529"/>
              <a:gd name="connsiteY42859" fmla="*/ 226307 h 7458372"/>
              <a:gd name="connsiteX42860" fmla="*/ 2859345 w 10505529"/>
              <a:gd name="connsiteY42860" fmla="*/ 217654 h 7458372"/>
              <a:gd name="connsiteX42861" fmla="*/ 3076990 w 10505529"/>
              <a:gd name="connsiteY42861" fmla="*/ 217654 h 7458372"/>
              <a:gd name="connsiteX42862" fmla="*/ 3088706 w 10505529"/>
              <a:gd name="connsiteY42862" fmla="*/ 220183 h 7458372"/>
              <a:gd name="connsiteX42863" fmla="*/ 3098024 w 10505529"/>
              <a:gd name="connsiteY42863" fmla="*/ 226573 h 7458372"/>
              <a:gd name="connsiteX42864" fmla="*/ 3104147 w 10505529"/>
              <a:gd name="connsiteY42864" fmla="*/ 235892 h 7458372"/>
              <a:gd name="connsiteX42865" fmla="*/ 3106410 w 10505529"/>
              <a:gd name="connsiteY42865" fmla="*/ 247340 h 7458372"/>
              <a:gd name="connsiteX42866" fmla="*/ 3104147 w 10505529"/>
              <a:gd name="connsiteY42866" fmla="*/ 259054 h 7458372"/>
              <a:gd name="connsiteX42867" fmla="*/ 3098024 w 10505529"/>
              <a:gd name="connsiteY42867" fmla="*/ 268505 h 7458372"/>
              <a:gd name="connsiteX42868" fmla="*/ 3088706 w 10505529"/>
              <a:gd name="connsiteY42868" fmla="*/ 274762 h 7458372"/>
              <a:gd name="connsiteX42869" fmla="*/ 3076990 w 10505529"/>
              <a:gd name="connsiteY42869" fmla="*/ 277025 h 7458372"/>
              <a:gd name="connsiteX42870" fmla="*/ 3055159 w 10505529"/>
              <a:gd name="connsiteY42870" fmla="*/ 268505 h 7458372"/>
              <a:gd name="connsiteX42871" fmla="*/ 3046773 w 10505529"/>
              <a:gd name="connsiteY42871" fmla="*/ 247340 h 7458372"/>
              <a:gd name="connsiteX42872" fmla="*/ 3055159 w 10505529"/>
              <a:gd name="connsiteY42872" fmla="*/ 226307 h 7458372"/>
              <a:gd name="connsiteX42873" fmla="*/ 3076990 w 10505529"/>
              <a:gd name="connsiteY42873" fmla="*/ 217654 h 7458372"/>
              <a:gd name="connsiteX42874" fmla="*/ 3294636 w 10505529"/>
              <a:gd name="connsiteY42874" fmla="*/ 217654 h 7458372"/>
              <a:gd name="connsiteX42875" fmla="*/ 3306352 w 10505529"/>
              <a:gd name="connsiteY42875" fmla="*/ 220183 h 7458372"/>
              <a:gd name="connsiteX42876" fmla="*/ 3315670 w 10505529"/>
              <a:gd name="connsiteY42876" fmla="*/ 226573 h 7458372"/>
              <a:gd name="connsiteX42877" fmla="*/ 3321793 w 10505529"/>
              <a:gd name="connsiteY42877" fmla="*/ 235891 h 7458372"/>
              <a:gd name="connsiteX42878" fmla="*/ 3324056 w 10505529"/>
              <a:gd name="connsiteY42878" fmla="*/ 247340 h 7458372"/>
              <a:gd name="connsiteX42879" fmla="*/ 3321793 w 10505529"/>
              <a:gd name="connsiteY42879" fmla="*/ 259054 h 7458372"/>
              <a:gd name="connsiteX42880" fmla="*/ 3315670 w 10505529"/>
              <a:gd name="connsiteY42880" fmla="*/ 268505 h 7458372"/>
              <a:gd name="connsiteX42881" fmla="*/ 3306352 w 10505529"/>
              <a:gd name="connsiteY42881" fmla="*/ 274762 h 7458372"/>
              <a:gd name="connsiteX42882" fmla="*/ 3294636 w 10505529"/>
              <a:gd name="connsiteY42882" fmla="*/ 277025 h 7458372"/>
              <a:gd name="connsiteX42883" fmla="*/ 3272805 w 10505529"/>
              <a:gd name="connsiteY42883" fmla="*/ 268505 h 7458372"/>
              <a:gd name="connsiteX42884" fmla="*/ 3264419 w 10505529"/>
              <a:gd name="connsiteY42884" fmla="*/ 247340 h 7458372"/>
              <a:gd name="connsiteX42885" fmla="*/ 3272805 w 10505529"/>
              <a:gd name="connsiteY42885" fmla="*/ 226307 h 7458372"/>
              <a:gd name="connsiteX42886" fmla="*/ 3294636 w 10505529"/>
              <a:gd name="connsiteY42886" fmla="*/ 217654 h 7458372"/>
              <a:gd name="connsiteX42887" fmla="*/ 3512149 w 10505529"/>
              <a:gd name="connsiteY42887" fmla="*/ 217654 h 7458372"/>
              <a:gd name="connsiteX42888" fmla="*/ 3523865 w 10505529"/>
              <a:gd name="connsiteY42888" fmla="*/ 220183 h 7458372"/>
              <a:gd name="connsiteX42889" fmla="*/ 3533183 w 10505529"/>
              <a:gd name="connsiteY42889" fmla="*/ 226573 h 7458372"/>
              <a:gd name="connsiteX42890" fmla="*/ 3539306 w 10505529"/>
              <a:gd name="connsiteY42890" fmla="*/ 235891 h 7458372"/>
              <a:gd name="connsiteX42891" fmla="*/ 3541569 w 10505529"/>
              <a:gd name="connsiteY42891" fmla="*/ 247340 h 7458372"/>
              <a:gd name="connsiteX42892" fmla="*/ 3539306 w 10505529"/>
              <a:gd name="connsiteY42892" fmla="*/ 259054 h 7458372"/>
              <a:gd name="connsiteX42893" fmla="*/ 3533183 w 10505529"/>
              <a:gd name="connsiteY42893" fmla="*/ 268505 h 7458372"/>
              <a:gd name="connsiteX42894" fmla="*/ 3523865 w 10505529"/>
              <a:gd name="connsiteY42894" fmla="*/ 274762 h 7458372"/>
              <a:gd name="connsiteX42895" fmla="*/ 3512149 w 10505529"/>
              <a:gd name="connsiteY42895" fmla="*/ 277025 h 7458372"/>
              <a:gd name="connsiteX42896" fmla="*/ 3490318 w 10505529"/>
              <a:gd name="connsiteY42896" fmla="*/ 268505 h 7458372"/>
              <a:gd name="connsiteX42897" fmla="*/ 3481931 w 10505529"/>
              <a:gd name="connsiteY42897" fmla="*/ 247340 h 7458372"/>
              <a:gd name="connsiteX42898" fmla="*/ 3490318 w 10505529"/>
              <a:gd name="connsiteY42898" fmla="*/ 226307 h 7458372"/>
              <a:gd name="connsiteX42899" fmla="*/ 3512149 w 10505529"/>
              <a:gd name="connsiteY42899" fmla="*/ 217654 h 7458372"/>
              <a:gd name="connsiteX42900" fmla="*/ 3729795 w 10505529"/>
              <a:gd name="connsiteY42900" fmla="*/ 217654 h 7458372"/>
              <a:gd name="connsiteX42901" fmla="*/ 3741510 w 10505529"/>
              <a:gd name="connsiteY42901" fmla="*/ 220183 h 7458372"/>
              <a:gd name="connsiteX42902" fmla="*/ 3750829 w 10505529"/>
              <a:gd name="connsiteY42902" fmla="*/ 226573 h 7458372"/>
              <a:gd name="connsiteX42903" fmla="*/ 3756951 w 10505529"/>
              <a:gd name="connsiteY42903" fmla="*/ 235891 h 7458372"/>
              <a:gd name="connsiteX42904" fmla="*/ 3759214 w 10505529"/>
              <a:gd name="connsiteY42904" fmla="*/ 247339 h 7458372"/>
              <a:gd name="connsiteX42905" fmla="*/ 3756951 w 10505529"/>
              <a:gd name="connsiteY42905" fmla="*/ 259054 h 7458372"/>
              <a:gd name="connsiteX42906" fmla="*/ 3750829 w 10505529"/>
              <a:gd name="connsiteY42906" fmla="*/ 268505 h 7458372"/>
              <a:gd name="connsiteX42907" fmla="*/ 3741510 w 10505529"/>
              <a:gd name="connsiteY42907" fmla="*/ 274762 h 7458372"/>
              <a:gd name="connsiteX42908" fmla="*/ 3729795 w 10505529"/>
              <a:gd name="connsiteY42908" fmla="*/ 277025 h 7458372"/>
              <a:gd name="connsiteX42909" fmla="*/ 3707964 w 10505529"/>
              <a:gd name="connsiteY42909" fmla="*/ 268505 h 7458372"/>
              <a:gd name="connsiteX42910" fmla="*/ 3699578 w 10505529"/>
              <a:gd name="connsiteY42910" fmla="*/ 247339 h 7458372"/>
              <a:gd name="connsiteX42911" fmla="*/ 3707964 w 10505529"/>
              <a:gd name="connsiteY42911" fmla="*/ 226307 h 7458372"/>
              <a:gd name="connsiteX42912" fmla="*/ 3729795 w 10505529"/>
              <a:gd name="connsiteY42912" fmla="*/ 217654 h 7458372"/>
              <a:gd name="connsiteX42913" fmla="*/ 3947442 w 10505529"/>
              <a:gd name="connsiteY42913" fmla="*/ 217654 h 7458372"/>
              <a:gd name="connsiteX42914" fmla="*/ 3959157 w 10505529"/>
              <a:gd name="connsiteY42914" fmla="*/ 220183 h 7458372"/>
              <a:gd name="connsiteX42915" fmla="*/ 3968474 w 10505529"/>
              <a:gd name="connsiteY42915" fmla="*/ 226573 h 7458372"/>
              <a:gd name="connsiteX42916" fmla="*/ 3974598 w 10505529"/>
              <a:gd name="connsiteY42916" fmla="*/ 235891 h 7458372"/>
              <a:gd name="connsiteX42917" fmla="*/ 3976862 w 10505529"/>
              <a:gd name="connsiteY42917" fmla="*/ 247339 h 7458372"/>
              <a:gd name="connsiteX42918" fmla="*/ 3974598 w 10505529"/>
              <a:gd name="connsiteY42918" fmla="*/ 259054 h 7458372"/>
              <a:gd name="connsiteX42919" fmla="*/ 3968474 w 10505529"/>
              <a:gd name="connsiteY42919" fmla="*/ 268505 h 7458372"/>
              <a:gd name="connsiteX42920" fmla="*/ 3959157 w 10505529"/>
              <a:gd name="connsiteY42920" fmla="*/ 274762 h 7458372"/>
              <a:gd name="connsiteX42921" fmla="*/ 3947442 w 10505529"/>
              <a:gd name="connsiteY42921" fmla="*/ 277025 h 7458372"/>
              <a:gd name="connsiteX42922" fmla="*/ 3925610 w 10505529"/>
              <a:gd name="connsiteY42922" fmla="*/ 268505 h 7458372"/>
              <a:gd name="connsiteX42923" fmla="*/ 3917224 w 10505529"/>
              <a:gd name="connsiteY42923" fmla="*/ 247339 h 7458372"/>
              <a:gd name="connsiteX42924" fmla="*/ 3925610 w 10505529"/>
              <a:gd name="connsiteY42924" fmla="*/ 226307 h 7458372"/>
              <a:gd name="connsiteX42925" fmla="*/ 3947442 w 10505529"/>
              <a:gd name="connsiteY42925" fmla="*/ 217654 h 7458372"/>
              <a:gd name="connsiteX42926" fmla="*/ 4165068 w 10505529"/>
              <a:gd name="connsiteY42926" fmla="*/ 217654 h 7458372"/>
              <a:gd name="connsiteX42927" fmla="*/ 4176782 w 10505529"/>
              <a:gd name="connsiteY42927" fmla="*/ 220183 h 7458372"/>
              <a:gd name="connsiteX42928" fmla="*/ 4186100 w 10505529"/>
              <a:gd name="connsiteY42928" fmla="*/ 226573 h 7458372"/>
              <a:gd name="connsiteX42929" fmla="*/ 4192223 w 10505529"/>
              <a:gd name="connsiteY42929" fmla="*/ 235891 h 7458372"/>
              <a:gd name="connsiteX42930" fmla="*/ 4194486 w 10505529"/>
              <a:gd name="connsiteY42930" fmla="*/ 247339 h 7458372"/>
              <a:gd name="connsiteX42931" fmla="*/ 4192223 w 10505529"/>
              <a:gd name="connsiteY42931" fmla="*/ 259053 h 7458372"/>
              <a:gd name="connsiteX42932" fmla="*/ 4186100 w 10505529"/>
              <a:gd name="connsiteY42932" fmla="*/ 268505 h 7458372"/>
              <a:gd name="connsiteX42933" fmla="*/ 4176782 w 10505529"/>
              <a:gd name="connsiteY42933" fmla="*/ 274762 h 7458372"/>
              <a:gd name="connsiteX42934" fmla="*/ 4165068 w 10505529"/>
              <a:gd name="connsiteY42934" fmla="*/ 277025 h 7458372"/>
              <a:gd name="connsiteX42935" fmla="*/ 4143235 w 10505529"/>
              <a:gd name="connsiteY42935" fmla="*/ 268505 h 7458372"/>
              <a:gd name="connsiteX42936" fmla="*/ 4134849 w 10505529"/>
              <a:gd name="connsiteY42936" fmla="*/ 247339 h 7458372"/>
              <a:gd name="connsiteX42937" fmla="*/ 4143235 w 10505529"/>
              <a:gd name="connsiteY42937" fmla="*/ 226307 h 7458372"/>
              <a:gd name="connsiteX42938" fmla="*/ 4165068 w 10505529"/>
              <a:gd name="connsiteY42938" fmla="*/ 217654 h 7458372"/>
              <a:gd name="connsiteX42939" fmla="*/ 4382713 w 10505529"/>
              <a:gd name="connsiteY42939" fmla="*/ 217654 h 7458372"/>
              <a:gd name="connsiteX42940" fmla="*/ 4394428 w 10505529"/>
              <a:gd name="connsiteY42940" fmla="*/ 220183 h 7458372"/>
              <a:gd name="connsiteX42941" fmla="*/ 4403746 w 10505529"/>
              <a:gd name="connsiteY42941" fmla="*/ 226573 h 7458372"/>
              <a:gd name="connsiteX42942" fmla="*/ 4409869 w 10505529"/>
              <a:gd name="connsiteY42942" fmla="*/ 235891 h 7458372"/>
              <a:gd name="connsiteX42943" fmla="*/ 4412132 w 10505529"/>
              <a:gd name="connsiteY42943" fmla="*/ 247339 h 7458372"/>
              <a:gd name="connsiteX42944" fmla="*/ 4409869 w 10505529"/>
              <a:gd name="connsiteY42944" fmla="*/ 259053 h 7458372"/>
              <a:gd name="connsiteX42945" fmla="*/ 4403746 w 10505529"/>
              <a:gd name="connsiteY42945" fmla="*/ 268505 h 7458372"/>
              <a:gd name="connsiteX42946" fmla="*/ 4394428 w 10505529"/>
              <a:gd name="connsiteY42946" fmla="*/ 274762 h 7458372"/>
              <a:gd name="connsiteX42947" fmla="*/ 4382713 w 10505529"/>
              <a:gd name="connsiteY42947" fmla="*/ 277025 h 7458372"/>
              <a:gd name="connsiteX42948" fmla="*/ 4360881 w 10505529"/>
              <a:gd name="connsiteY42948" fmla="*/ 268505 h 7458372"/>
              <a:gd name="connsiteX42949" fmla="*/ 4352495 w 10505529"/>
              <a:gd name="connsiteY42949" fmla="*/ 247339 h 7458372"/>
              <a:gd name="connsiteX42950" fmla="*/ 4360881 w 10505529"/>
              <a:gd name="connsiteY42950" fmla="*/ 226307 h 7458372"/>
              <a:gd name="connsiteX42951" fmla="*/ 4382713 w 10505529"/>
              <a:gd name="connsiteY42951" fmla="*/ 217654 h 7458372"/>
              <a:gd name="connsiteX42952" fmla="*/ 4600226 w 10505529"/>
              <a:gd name="connsiteY42952" fmla="*/ 217653 h 7458372"/>
              <a:gd name="connsiteX42953" fmla="*/ 4612073 w 10505529"/>
              <a:gd name="connsiteY42953" fmla="*/ 220183 h 7458372"/>
              <a:gd name="connsiteX42954" fmla="*/ 4621391 w 10505529"/>
              <a:gd name="connsiteY42954" fmla="*/ 226573 h 7458372"/>
              <a:gd name="connsiteX42955" fmla="*/ 4627514 w 10505529"/>
              <a:gd name="connsiteY42955" fmla="*/ 235891 h 7458372"/>
              <a:gd name="connsiteX42956" fmla="*/ 4629777 w 10505529"/>
              <a:gd name="connsiteY42956" fmla="*/ 247339 h 7458372"/>
              <a:gd name="connsiteX42957" fmla="*/ 4627514 w 10505529"/>
              <a:gd name="connsiteY42957" fmla="*/ 259053 h 7458372"/>
              <a:gd name="connsiteX42958" fmla="*/ 4621391 w 10505529"/>
              <a:gd name="connsiteY42958" fmla="*/ 268504 h 7458372"/>
              <a:gd name="connsiteX42959" fmla="*/ 4612073 w 10505529"/>
              <a:gd name="connsiteY42959" fmla="*/ 274762 h 7458372"/>
              <a:gd name="connsiteX42960" fmla="*/ 4600226 w 10505529"/>
              <a:gd name="connsiteY42960" fmla="*/ 277025 h 7458372"/>
              <a:gd name="connsiteX42961" fmla="*/ 4578393 w 10505529"/>
              <a:gd name="connsiteY42961" fmla="*/ 268504 h 7458372"/>
              <a:gd name="connsiteX42962" fmla="*/ 4570007 w 10505529"/>
              <a:gd name="connsiteY42962" fmla="*/ 247339 h 7458372"/>
              <a:gd name="connsiteX42963" fmla="*/ 4578393 w 10505529"/>
              <a:gd name="connsiteY42963" fmla="*/ 226307 h 7458372"/>
              <a:gd name="connsiteX42964" fmla="*/ 4600226 w 10505529"/>
              <a:gd name="connsiteY42964" fmla="*/ 217653 h 7458372"/>
              <a:gd name="connsiteX42965" fmla="*/ 4817870 w 10505529"/>
              <a:gd name="connsiteY42965" fmla="*/ 217653 h 7458372"/>
              <a:gd name="connsiteX42966" fmla="*/ 4829585 w 10505529"/>
              <a:gd name="connsiteY42966" fmla="*/ 220182 h 7458372"/>
              <a:gd name="connsiteX42967" fmla="*/ 4838903 w 10505529"/>
              <a:gd name="connsiteY42967" fmla="*/ 226573 h 7458372"/>
              <a:gd name="connsiteX42968" fmla="*/ 4845026 w 10505529"/>
              <a:gd name="connsiteY42968" fmla="*/ 235891 h 7458372"/>
              <a:gd name="connsiteX42969" fmla="*/ 4847289 w 10505529"/>
              <a:gd name="connsiteY42969" fmla="*/ 247339 h 7458372"/>
              <a:gd name="connsiteX42970" fmla="*/ 4845026 w 10505529"/>
              <a:gd name="connsiteY42970" fmla="*/ 259053 h 7458372"/>
              <a:gd name="connsiteX42971" fmla="*/ 4838903 w 10505529"/>
              <a:gd name="connsiteY42971" fmla="*/ 268504 h 7458372"/>
              <a:gd name="connsiteX42972" fmla="*/ 4829585 w 10505529"/>
              <a:gd name="connsiteY42972" fmla="*/ 274761 h 7458372"/>
              <a:gd name="connsiteX42973" fmla="*/ 4817870 w 10505529"/>
              <a:gd name="connsiteY42973" fmla="*/ 277024 h 7458372"/>
              <a:gd name="connsiteX42974" fmla="*/ 4796038 w 10505529"/>
              <a:gd name="connsiteY42974" fmla="*/ 268504 h 7458372"/>
              <a:gd name="connsiteX42975" fmla="*/ 4787652 w 10505529"/>
              <a:gd name="connsiteY42975" fmla="*/ 247339 h 7458372"/>
              <a:gd name="connsiteX42976" fmla="*/ 4796038 w 10505529"/>
              <a:gd name="connsiteY42976" fmla="*/ 226307 h 7458372"/>
              <a:gd name="connsiteX42977" fmla="*/ 4817870 w 10505529"/>
              <a:gd name="connsiteY42977" fmla="*/ 217653 h 7458372"/>
              <a:gd name="connsiteX42978" fmla="*/ 5035515 w 10505529"/>
              <a:gd name="connsiteY42978" fmla="*/ 217653 h 7458372"/>
              <a:gd name="connsiteX42979" fmla="*/ 5047230 w 10505529"/>
              <a:gd name="connsiteY42979" fmla="*/ 220182 h 7458372"/>
              <a:gd name="connsiteX42980" fmla="*/ 5056548 w 10505529"/>
              <a:gd name="connsiteY42980" fmla="*/ 226572 h 7458372"/>
              <a:gd name="connsiteX42981" fmla="*/ 5062671 w 10505529"/>
              <a:gd name="connsiteY42981" fmla="*/ 235891 h 7458372"/>
              <a:gd name="connsiteX42982" fmla="*/ 5064934 w 10505529"/>
              <a:gd name="connsiteY42982" fmla="*/ 247339 h 7458372"/>
              <a:gd name="connsiteX42983" fmla="*/ 5062671 w 10505529"/>
              <a:gd name="connsiteY42983" fmla="*/ 259053 h 7458372"/>
              <a:gd name="connsiteX42984" fmla="*/ 5056548 w 10505529"/>
              <a:gd name="connsiteY42984" fmla="*/ 268504 h 7458372"/>
              <a:gd name="connsiteX42985" fmla="*/ 5047230 w 10505529"/>
              <a:gd name="connsiteY42985" fmla="*/ 274761 h 7458372"/>
              <a:gd name="connsiteX42986" fmla="*/ 5035515 w 10505529"/>
              <a:gd name="connsiteY42986" fmla="*/ 277024 h 7458372"/>
              <a:gd name="connsiteX42987" fmla="*/ 5013683 w 10505529"/>
              <a:gd name="connsiteY42987" fmla="*/ 268504 h 7458372"/>
              <a:gd name="connsiteX42988" fmla="*/ 5005297 w 10505529"/>
              <a:gd name="connsiteY42988" fmla="*/ 247339 h 7458372"/>
              <a:gd name="connsiteX42989" fmla="*/ 5013683 w 10505529"/>
              <a:gd name="connsiteY42989" fmla="*/ 226306 h 7458372"/>
              <a:gd name="connsiteX42990" fmla="*/ 5035515 w 10505529"/>
              <a:gd name="connsiteY42990" fmla="*/ 217653 h 7458372"/>
              <a:gd name="connsiteX42991" fmla="*/ 5253160 w 10505529"/>
              <a:gd name="connsiteY42991" fmla="*/ 217653 h 7458372"/>
              <a:gd name="connsiteX42992" fmla="*/ 5264875 w 10505529"/>
              <a:gd name="connsiteY42992" fmla="*/ 220182 h 7458372"/>
              <a:gd name="connsiteX42993" fmla="*/ 5274192 w 10505529"/>
              <a:gd name="connsiteY42993" fmla="*/ 226572 h 7458372"/>
              <a:gd name="connsiteX42994" fmla="*/ 5280316 w 10505529"/>
              <a:gd name="connsiteY42994" fmla="*/ 235891 h 7458372"/>
              <a:gd name="connsiteX42995" fmla="*/ 5282579 w 10505529"/>
              <a:gd name="connsiteY42995" fmla="*/ 247339 h 7458372"/>
              <a:gd name="connsiteX42996" fmla="*/ 5280316 w 10505529"/>
              <a:gd name="connsiteY42996" fmla="*/ 259053 h 7458372"/>
              <a:gd name="connsiteX42997" fmla="*/ 5274192 w 10505529"/>
              <a:gd name="connsiteY42997" fmla="*/ 268504 h 7458372"/>
              <a:gd name="connsiteX42998" fmla="*/ 5264875 w 10505529"/>
              <a:gd name="connsiteY42998" fmla="*/ 274761 h 7458372"/>
              <a:gd name="connsiteX42999" fmla="*/ 5253160 w 10505529"/>
              <a:gd name="connsiteY42999" fmla="*/ 277024 h 7458372"/>
              <a:gd name="connsiteX43000" fmla="*/ 5231328 w 10505529"/>
              <a:gd name="connsiteY43000" fmla="*/ 268504 h 7458372"/>
              <a:gd name="connsiteX43001" fmla="*/ 5222942 w 10505529"/>
              <a:gd name="connsiteY43001" fmla="*/ 247339 h 7458372"/>
              <a:gd name="connsiteX43002" fmla="*/ 5231328 w 10505529"/>
              <a:gd name="connsiteY43002" fmla="*/ 226306 h 7458372"/>
              <a:gd name="connsiteX43003" fmla="*/ 5253160 w 10505529"/>
              <a:gd name="connsiteY43003" fmla="*/ 217653 h 7458372"/>
              <a:gd name="connsiteX43004" fmla="*/ 5470806 w 10505529"/>
              <a:gd name="connsiteY43004" fmla="*/ 217653 h 7458372"/>
              <a:gd name="connsiteX43005" fmla="*/ 5482520 w 10505529"/>
              <a:gd name="connsiteY43005" fmla="*/ 220182 h 7458372"/>
              <a:gd name="connsiteX43006" fmla="*/ 5491838 w 10505529"/>
              <a:gd name="connsiteY43006" fmla="*/ 226572 h 7458372"/>
              <a:gd name="connsiteX43007" fmla="*/ 5497961 w 10505529"/>
              <a:gd name="connsiteY43007" fmla="*/ 235890 h 7458372"/>
              <a:gd name="connsiteX43008" fmla="*/ 5500224 w 10505529"/>
              <a:gd name="connsiteY43008" fmla="*/ 247339 h 7458372"/>
              <a:gd name="connsiteX43009" fmla="*/ 5497961 w 10505529"/>
              <a:gd name="connsiteY43009" fmla="*/ 259053 h 7458372"/>
              <a:gd name="connsiteX43010" fmla="*/ 5491838 w 10505529"/>
              <a:gd name="connsiteY43010" fmla="*/ 268504 h 7458372"/>
              <a:gd name="connsiteX43011" fmla="*/ 5482520 w 10505529"/>
              <a:gd name="connsiteY43011" fmla="*/ 274761 h 7458372"/>
              <a:gd name="connsiteX43012" fmla="*/ 5470806 w 10505529"/>
              <a:gd name="connsiteY43012" fmla="*/ 277024 h 7458372"/>
              <a:gd name="connsiteX43013" fmla="*/ 5448973 w 10505529"/>
              <a:gd name="connsiteY43013" fmla="*/ 268504 h 7458372"/>
              <a:gd name="connsiteX43014" fmla="*/ 5440587 w 10505529"/>
              <a:gd name="connsiteY43014" fmla="*/ 247339 h 7458372"/>
              <a:gd name="connsiteX43015" fmla="*/ 5448973 w 10505529"/>
              <a:gd name="connsiteY43015" fmla="*/ 226306 h 7458372"/>
              <a:gd name="connsiteX43016" fmla="*/ 5470806 w 10505529"/>
              <a:gd name="connsiteY43016" fmla="*/ 217653 h 7458372"/>
              <a:gd name="connsiteX43017" fmla="*/ 5688451 w 10505529"/>
              <a:gd name="connsiteY43017" fmla="*/ 217653 h 7458372"/>
              <a:gd name="connsiteX43018" fmla="*/ 5700165 w 10505529"/>
              <a:gd name="connsiteY43018" fmla="*/ 220182 h 7458372"/>
              <a:gd name="connsiteX43019" fmla="*/ 5709483 w 10505529"/>
              <a:gd name="connsiteY43019" fmla="*/ 226572 h 7458372"/>
              <a:gd name="connsiteX43020" fmla="*/ 5715606 w 10505529"/>
              <a:gd name="connsiteY43020" fmla="*/ 235890 h 7458372"/>
              <a:gd name="connsiteX43021" fmla="*/ 5717869 w 10505529"/>
              <a:gd name="connsiteY43021" fmla="*/ 247338 h 7458372"/>
              <a:gd name="connsiteX43022" fmla="*/ 5715606 w 10505529"/>
              <a:gd name="connsiteY43022" fmla="*/ 259053 h 7458372"/>
              <a:gd name="connsiteX43023" fmla="*/ 5709483 w 10505529"/>
              <a:gd name="connsiteY43023" fmla="*/ 268504 h 7458372"/>
              <a:gd name="connsiteX43024" fmla="*/ 5700165 w 10505529"/>
              <a:gd name="connsiteY43024" fmla="*/ 274761 h 7458372"/>
              <a:gd name="connsiteX43025" fmla="*/ 5688451 w 10505529"/>
              <a:gd name="connsiteY43025" fmla="*/ 277024 h 7458372"/>
              <a:gd name="connsiteX43026" fmla="*/ 5666618 w 10505529"/>
              <a:gd name="connsiteY43026" fmla="*/ 268504 h 7458372"/>
              <a:gd name="connsiteX43027" fmla="*/ 5658232 w 10505529"/>
              <a:gd name="connsiteY43027" fmla="*/ 247338 h 7458372"/>
              <a:gd name="connsiteX43028" fmla="*/ 5666618 w 10505529"/>
              <a:gd name="connsiteY43028" fmla="*/ 226306 h 7458372"/>
              <a:gd name="connsiteX43029" fmla="*/ 5688451 w 10505529"/>
              <a:gd name="connsiteY43029" fmla="*/ 217653 h 7458372"/>
              <a:gd name="connsiteX43030" fmla="*/ 5905963 w 10505529"/>
              <a:gd name="connsiteY43030" fmla="*/ 217653 h 7458372"/>
              <a:gd name="connsiteX43031" fmla="*/ 5917677 w 10505529"/>
              <a:gd name="connsiteY43031" fmla="*/ 220182 h 7458372"/>
              <a:gd name="connsiteX43032" fmla="*/ 5926995 w 10505529"/>
              <a:gd name="connsiteY43032" fmla="*/ 226572 h 7458372"/>
              <a:gd name="connsiteX43033" fmla="*/ 5933118 w 10505529"/>
              <a:gd name="connsiteY43033" fmla="*/ 235890 h 7458372"/>
              <a:gd name="connsiteX43034" fmla="*/ 5935381 w 10505529"/>
              <a:gd name="connsiteY43034" fmla="*/ 247338 h 7458372"/>
              <a:gd name="connsiteX43035" fmla="*/ 5933118 w 10505529"/>
              <a:gd name="connsiteY43035" fmla="*/ 259053 h 7458372"/>
              <a:gd name="connsiteX43036" fmla="*/ 5926995 w 10505529"/>
              <a:gd name="connsiteY43036" fmla="*/ 268504 h 7458372"/>
              <a:gd name="connsiteX43037" fmla="*/ 5917677 w 10505529"/>
              <a:gd name="connsiteY43037" fmla="*/ 274761 h 7458372"/>
              <a:gd name="connsiteX43038" fmla="*/ 5905963 w 10505529"/>
              <a:gd name="connsiteY43038" fmla="*/ 277024 h 7458372"/>
              <a:gd name="connsiteX43039" fmla="*/ 5884130 w 10505529"/>
              <a:gd name="connsiteY43039" fmla="*/ 268504 h 7458372"/>
              <a:gd name="connsiteX43040" fmla="*/ 5875744 w 10505529"/>
              <a:gd name="connsiteY43040" fmla="*/ 247338 h 7458372"/>
              <a:gd name="connsiteX43041" fmla="*/ 5884130 w 10505529"/>
              <a:gd name="connsiteY43041" fmla="*/ 226306 h 7458372"/>
              <a:gd name="connsiteX43042" fmla="*/ 5905963 w 10505529"/>
              <a:gd name="connsiteY43042" fmla="*/ 217653 h 7458372"/>
              <a:gd name="connsiteX43043" fmla="*/ 6123608 w 10505529"/>
              <a:gd name="connsiteY43043" fmla="*/ 217653 h 7458372"/>
              <a:gd name="connsiteX43044" fmla="*/ 6135322 w 10505529"/>
              <a:gd name="connsiteY43044" fmla="*/ 220182 h 7458372"/>
              <a:gd name="connsiteX43045" fmla="*/ 6144640 w 10505529"/>
              <a:gd name="connsiteY43045" fmla="*/ 226572 h 7458372"/>
              <a:gd name="connsiteX43046" fmla="*/ 6150763 w 10505529"/>
              <a:gd name="connsiteY43046" fmla="*/ 235890 h 7458372"/>
              <a:gd name="connsiteX43047" fmla="*/ 6153026 w 10505529"/>
              <a:gd name="connsiteY43047" fmla="*/ 247338 h 7458372"/>
              <a:gd name="connsiteX43048" fmla="*/ 6150763 w 10505529"/>
              <a:gd name="connsiteY43048" fmla="*/ 259052 h 7458372"/>
              <a:gd name="connsiteX43049" fmla="*/ 6144640 w 10505529"/>
              <a:gd name="connsiteY43049" fmla="*/ 268504 h 7458372"/>
              <a:gd name="connsiteX43050" fmla="*/ 6135322 w 10505529"/>
              <a:gd name="connsiteY43050" fmla="*/ 274761 h 7458372"/>
              <a:gd name="connsiteX43051" fmla="*/ 6123608 w 10505529"/>
              <a:gd name="connsiteY43051" fmla="*/ 277024 h 7458372"/>
              <a:gd name="connsiteX43052" fmla="*/ 6101775 w 10505529"/>
              <a:gd name="connsiteY43052" fmla="*/ 268504 h 7458372"/>
              <a:gd name="connsiteX43053" fmla="*/ 6093389 w 10505529"/>
              <a:gd name="connsiteY43053" fmla="*/ 247338 h 7458372"/>
              <a:gd name="connsiteX43054" fmla="*/ 6101775 w 10505529"/>
              <a:gd name="connsiteY43054" fmla="*/ 226306 h 7458372"/>
              <a:gd name="connsiteX43055" fmla="*/ 6123608 w 10505529"/>
              <a:gd name="connsiteY43055" fmla="*/ 217653 h 7458372"/>
              <a:gd name="connsiteX43056" fmla="*/ 6341253 w 10505529"/>
              <a:gd name="connsiteY43056" fmla="*/ 217653 h 7458372"/>
              <a:gd name="connsiteX43057" fmla="*/ 6352968 w 10505529"/>
              <a:gd name="connsiteY43057" fmla="*/ 220182 h 7458372"/>
              <a:gd name="connsiteX43058" fmla="*/ 6362286 w 10505529"/>
              <a:gd name="connsiteY43058" fmla="*/ 226572 h 7458372"/>
              <a:gd name="connsiteX43059" fmla="*/ 6368409 w 10505529"/>
              <a:gd name="connsiteY43059" fmla="*/ 235890 h 7458372"/>
              <a:gd name="connsiteX43060" fmla="*/ 6370672 w 10505529"/>
              <a:gd name="connsiteY43060" fmla="*/ 247338 h 7458372"/>
              <a:gd name="connsiteX43061" fmla="*/ 6368409 w 10505529"/>
              <a:gd name="connsiteY43061" fmla="*/ 259052 h 7458372"/>
              <a:gd name="connsiteX43062" fmla="*/ 6362286 w 10505529"/>
              <a:gd name="connsiteY43062" fmla="*/ 268504 h 7458372"/>
              <a:gd name="connsiteX43063" fmla="*/ 6352968 w 10505529"/>
              <a:gd name="connsiteY43063" fmla="*/ 274761 h 7458372"/>
              <a:gd name="connsiteX43064" fmla="*/ 6341253 w 10505529"/>
              <a:gd name="connsiteY43064" fmla="*/ 277024 h 7458372"/>
              <a:gd name="connsiteX43065" fmla="*/ 6319421 w 10505529"/>
              <a:gd name="connsiteY43065" fmla="*/ 268504 h 7458372"/>
              <a:gd name="connsiteX43066" fmla="*/ 6311035 w 10505529"/>
              <a:gd name="connsiteY43066" fmla="*/ 247338 h 7458372"/>
              <a:gd name="connsiteX43067" fmla="*/ 6319421 w 10505529"/>
              <a:gd name="connsiteY43067" fmla="*/ 226306 h 7458372"/>
              <a:gd name="connsiteX43068" fmla="*/ 6341253 w 10505529"/>
              <a:gd name="connsiteY43068" fmla="*/ 217653 h 7458372"/>
              <a:gd name="connsiteX43069" fmla="*/ 6558899 w 10505529"/>
              <a:gd name="connsiteY43069" fmla="*/ 217652 h 7458372"/>
              <a:gd name="connsiteX43070" fmla="*/ 6570612 w 10505529"/>
              <a:gd name="connsiteY43070" fmla="*/ 220182 h 7458372"/>
              <a:gd name="connsiteX43071" fmla="*/ 6579930 w 10505529"/>
              <a:gd name="connsiteY43071" fmla="*/ 226572 h 7458372"/>
              <a:gd name="connsiteX43072" fmla="*/ 6586054 w 10505529"/>
              <a:gd name="connsiteY43072" fmla="*/ 235890 h 7458372"/>
              <a:gd name="connsiteX43073" fmla="*/ 6588317 w 10505529"/>
              <a:gd name="connsiteY43073" fmla="*/ 247338 h 7458372"/>
              <a:gd name="connsiteX43074" fmla="*/ 6586054 w 10505529"/>
              <a:gd name="connsiteY43074" fmla="*/ 259052 h 7458372"/>
              <a:gd name="connsiteX43075" fmla="*/ 6579930 w 10505529"/>
              <a:gd name="connsiteY43075" fmla="*/ 268503 h 7458372"/>
              <a:gd name="connsiteX43076" fmla="*/ 6570612 w 10505529"/>
              <a:gd name="connsiteY43076" fmla="*/ 274761 h 7458372"/>
              <a:gd name="connsiteX43077" fmla="*/ 6558899 w 10505529"/>
              <a:gd name="connsiteY43077" fmla="*/ 277024 h 7458372"/>
              <a:gd name="connsiteX43078" fmla="*/ 6537066 w 10505529"/>
              <a:gd name="connsiteY43078" fmla="*/ 268503 h 7458372"/>
              <a:gd name="connsiteX43079" fmla="*/ 6528680 w 10505529"/>
              <a:gd name="connsiteY43079" fmla="*/ 247338 h 7458372"/>
              <a:gd name="connsiteX43080" fmla="*/ 6537066 w 10505529"/>
              <a:gd name="connsiteY43080" fmla="*/ 226306 h 7458372"/>
              <a:gd name="connsiteX43081" fmla="*/ 6558899 w 10505529"/>
              <a:gd name="connsiteY43081" fmla="*/ 217652 h 7458372"/>
              <a:gd name="connsiteX43082" fmla="*/ 6776544 w 10505529"/>
              <a:gd name="connsiteY43082" fmla="*/ 217652 h 7458372"/>
              <a:gd name="connsiteX43083" fmla="*/ 6788258 w 10505529"/>
              <a:gd name="connsiteY43083" fmla="*/ 220181 h 7458372"/>
              <a:gd name="connsiteX43084" fmla="*/ 6797576 w 10505529"/>
              <a:gd name="connsiteY43084" fmla="*/ 226572 h 7458372"/>
              <a:gd name="connsiteX43085" fmla="*/ 6803699 w 10505529"/>
              <a:gd name="connsiteY43085" fmla="*/ 235890 h 7458372"/>
              <a:gd name="connsiteX43086" fmla="*/ 6805963 w 10505529"/>
              <a:gd name="connsiteY43086" fmla="*/ 247338 h 7458372"/>
              <a:gd name="connsiteX43087" fmla="*/ 6803699 w 10505529"/>
              <a:gd name="connsiteY43087" fmla="*/ 259052 h 7458372"/>
              <a:gd name="connsiteX43088" fmla="*/ 6797576 w 10505529"/>
              <a:gd name="connsiteY43088" fmla="*/ 268503 h 7458372"/>
              <a:gd name="connsiteX43089" fmla="*/ 6788258 w 10505529"/>
              <a:gd name="connsiteY43089" fmla="*/ 274760 h 7458372"/>
              <a:gd name="connsiteX43090" fmla="*/ 6776544 w 10505529"/>
              <a:gd name="connsiteY43090" fmla="*/ 277023 h 7458372"/>
              <a:gd name="connsiteX43091" fmla="*/ 6754711 w 10505529"/>
              <a:gd name="connsiteY43091" fmla="*/ 268503 h 7458372"/>
              <a:gd name="connsiteX43092" fmla="*/ 6746325 w 10505529"/>
              <a:gd name="connsiteY43092" fmla="*/ 247338 h 7458372"/>
              <a:gd name="connsiteX43093" fmla="*/ 6754711 w 10505529"/>
              <a:gd name="connsiteY43093" fmla="*/ 226306 h 7458372"/>
              <a:gd name="connsiteX43094" fmla="*/ 6776544 w 10505529"/>
              <a:gd name="connsiteY43094" fmla="*/ 217652 h 7458372"/>
              <a:gd name="connsiteX43095" fmla="*/ 6994056 w 10505529"/>
              <a:gd name="connsiteY43095" fmla="*/ 217652 h 7458372"/>
              <a:gd name="connsiteX43096" fmla="*/ 7005769 w 10505529"/>
              <a:gd name="connsiteY43096" fmla="*/ 220181 h 7458372"/>
              <a:gd name="connsiteX43097" fmla="*/ 7015087 w 10505529"/>
              <a:gd name="connsiteY43097" fmla="*/ 226571 h 7458372"/>
              <a:gd name="connsiteX43098" fmla="*/ 7021211 w 10505529"/>
              <a:gd name="connsiteY43098" fmla="*/ 235890 h 7458372"/>
              <a:gd name="connsiteX43099" fmla="*/ 7023474 w 10505529"/>
              <a:gd name="connsiteY43099" fmla="*/ 247338 h 7458372"/>
              <a:gd name="connsiteX43100" fmla="*/ 7021211 w 10505529"/>
              <a:gd name="connsiteY43100" fmla="*/ 259052 h 7458372"/>
              <a:gd name="connsiteX43101" fmla="*/ 7015087 w 10505529"/>
              <a:gd name="connsiteY43101" fmla="*/ 268503 h 7458372"/>
              <a:gd name="connsiteX43102" fmla="*/ 7005769 w 10505529"/>
              <a:gd name="connsiteY43102" fmla="*/ 274760 h 7458372"/>
              <a:gd name="connsiteX43103" fmla="*/ 6994056 w 10505529"/>
              <a:gd name="connsiteY43103" fmla="*/ 277023 h 7458372"/>
              <a:gd name="connsiteX43104" fmla="*/ 6972223 w 10505529"/>
              <a:gd name="connsiteY43104" fmla="*/ 268503 h 7458372"/>
              <a:gd name="connsiteX43105" fmla="*/ 6963837 w 10505529"/>
              <a:gd name="connsiteY43105" fmla="*/ 247338 h 7458372"/>
              <a:gd name="connsiteX43106" fmla="*/ 6972223 w 10505529"/>
              <a:gd name="connsiteY43106" fmla="*/ 226305 h 7458372"/>
              <a:gd name="connsiteX43107" fmla="*/ 6994056 w 10505529"/>
              <a:gd name="connsiteY43107" fmla="*/ 217652 h 7458372"/>
              <a:gd name="connsiteX43108" fmla="*/ 7211701 w 10505529"/>
              <a:gd name="connsiteY43108" fmla="*/ 217652 h 7458372"/>
              <a:gd name="connsiteX43109" fmla="*/ 7223415 w 10505529"/>
              <a:gd name="connsiteY43109" fmla="*/ 220181 h 7458372"/>
              <a:gd name="connsiteX43110" fmla="*/ 7232733 w 10505529"/>
              <a:gd name="connsiteY43110" fmla="*/ 226571 h 7458372"/>
              <a:gd name="connsiteX43111" fmla="*/ 7238856 w 10505529"/>
              <a:gd name="connsiteY43111" fmla="*/ 235890 h 7458372"/>
              <a:gd name="connsiteX43112" fmla="*/ 7241120 w 10505529"/>
              <a:gd name="connsiteY43112" fmla="*/ 247338 h 7458372"/>
              <a:gd name="connsiteX43113" fmla="*/ 7238856 w 10505529"/>
              <a:gd name="connsiteY43113" fmla="*/ 259052 h 7458372"/>
              <a:gd name="connsiteX43114" fmla="*/ 7232733 w 10505529"/>
              <a:gd name="connsiteY43114" fmla="*/ 268503 h 7458372"/>
              <a:gd name="connsiteX43115" fmla="*/ 7223415 w 10505529"/>
              <a:gd name="connsiteY43115" fmla="*/ 274760 h 7458372"/>
              <a:gd name="connsiteX43116" fmla="*/ 7211701 w 10505529"/>
              <a:gd name="connsiteY43116" fmla="*/ 277023 h 7458372"/>
              <a:gd name="connsiteX43117" fmla="*/ 7189868 w 10505529"/>
              <a:gd name="connsiteY43117" fmla="*/ 268503 h 7458372"/>
              <a:gd name="connsiteX43118" fmla="*/ 7181482 w 10505529"/>
              <a:gd name="connsiteY43118" fmla="*/ 247338 h 7458372"/>
              <a:gd name="connsiteX43119" fmla="*/ 7189868 w 10505529"/>
              <a:gd name="connsiteY43119" fmla="*/ 226305 h 7458372"/>
              <a:gd name="connsiteX43120" fmla="*/ 7211701 w 10505529"/>
              <a:gd name="connsiteY43120" fmla="*/ 217652 h 7458372"/>
              <a:gd name="connsiteX43121" fmla="*/ 7429345 w 10505529"/>
              <a:gd name="connsiteY43121" fmla="*/ 217652 h 7458372"/>
              <a:gd name="connsiteX43122" fmla="*/ 7441059 w 10505529"/>
              <a:gd name="connsiteY43122" fmla="*/ 220181 h 7458372"/>
              <a:gd name="connsiteX43123" fmla="*/ 7450377 w 10505529"/>
              <a:gd name="connsiteY43123" fmla="*/ 226571 h 7458372"/>
              <a:gd name="connsiteX43124" fmla="*/ 7456501 w 10505529"/>
              <a:gd name="connsiteY43124" fmla="*/ 235889 h 7458372"/>
              <a:gd name="connsiteX43125" fmla="*/ 7458764 w 10505529"/>
              <a:gd name="connsiteY43125" fmla="*/ 247338 h 7458372"/>
              <a:gd name="connsiteX43126" fmla="*/ 7456501 w 10505529"/>
              <a:gd name="connsiteY43126" fmla="*/ 259052 h 7458372"/>
              <a:gd name="connsiteX43127" fmla="*/ 7450377 w 10505529"/>
              <a:gd name="connsiteY43127" fmla="*/ 268503 h 7458372"/>
              <a:gd name="connsiteX43128" fmla="*/ 7441059 w 10505529"/>
              <a:gd name="connsiteY43128" fmla="*/ 274760 h 7458372"/>
              <a:gd name="connsiteX43129" fmla="*/ 7429345 w 10505529"/>
              <a:gd name="connsiteY43129" fmla="*/ 277023 h 7458372"/>
              <a:gd name="connsiteX43130" fmla="*/ 7407513 w 10505529"/>
              <a:gd name="connsiteY43130" fmla="*/ 268503 h 7458372"/>
              <a:gd name="connsiteX43131" fmla="*/ 7399127 w 10505529"/>
              <a:gd name="connsiteY43131" fmla="*/ 247338 h 7458372"/>
              <a:gd name="connsiteX43132" fmla="*/ 7407513 w 10505529"/>
              <a:gd name="connsiteY43132" fmla="*/ 226305 h 7458372"/>
              <a:gd name="connsiteX43133" fmla="*/ 7429345 w 10505529"/>
              <a:gd name="connsiteY43133" fmla="*/ 217652 h 7458372"/>
              <a:gd name="connsiteX43134" fmla="*/ 7646991 w 10505529"/>
              <a:gd name="connsiteY43134" fmla="*/ 217652 h 7458372"/>
              <a:gd name="connsiteX43135" fmla="*/ 7658705 w 10505529"/>
              <a:gd name="connsiteY43135" fmla="*/ 220181 h 7458372"/>
              <a:gd name="connsiteX43136" fmla="*/ 7668022 w 10505529"/>
              <a:gd name="connsiteY43136" fmla="*/ 226571 h 7458372"/>
              <a:gd name="connsiteX43137" fmla="*/ 7674146 w 10505529"/>
              <a:gd name="connsiteY43137" fmla="*/ 235889 h 7458372"/>
              <a:gd name="connsiteX43138" fmla="*/ 7676409 w 10505529"/>
              <a:gd name="connsiteY43138" fmla="*/ 247338 h 7458372"/>
              <a:gd name="connsiteX43139" fmla="*/ 7674146 w 10505529"/>
              <a:gd name="connsiteY43139" fmla="*/ 259052 h 7458372"/>
              <a:gd name="connsiteX43140" fmla="*/ 7668022 w 10505529"/>
              <a:gd name="connsiteY43140" fmla="*/ 268503 h 7458372"/>
              <a:gd name="connsiteX43141" fmla="*/ 7658705 w 10505529"/>
              <a:gd name="connsiteY43141" fmla="*/ 274760 h 7458372"/>
              <a:gd name="connsiteX43142" fmla="*/ 7646991 w 10505529"/>
              <a:gd name="connsiteY43142" fmla="*/ 277023 h 7458372"/>
              <a:gd name="connsiteX43143" fmla="*/ 7625158 w 10505529"/>
              <a:gd name="connsiteY43143" fmla="*/ 268503 h 7458372"/>
              <a:gd name="connsiteX43144" fmla="*/ 7616772 w 10505529"/>
              <a:gd name="connsiteY43144" fmla="*/ 247338 h 7458372"/>
              <a:gd name="connsiteX43145" fmla="*/ 7625158 w 10505529"/>
              <a:gd name="connsiteY43145" fmla="*/ 226305 h 7458372"/>
              <a:gd name="connsiteX43146" fmla="*/ 7646991 w 10505529"/>
              <a:gd name="connsiteY43146" fmla="*/ 217652 h 7458372"/>
              <a:gd name="connsiteX43147" fmla="*/ 7864636 w 10505529"/>
              <a:gd name="connsiteY43147" fmla="*/ 217652 h 7458372"/>
              <a:gd name="connsiteX43148" fmla="*/ 7876483 w 10505529"/>
              <a:gd name="connsiteY43148" fmla="*/ 220181 h 7458372"/>
              <a:gd name="connsiteX43149" fmla="*/ 7885802 w 10505529"/>
              <a:gd name="connsiteY43149" fmla="*/ 226571 h 7458372"/>
              <a:gd name="connsiteX43150" fmla="*/ 7891924 w 10505529"/>
              <a:gd name="connsiteY43150" fmla="*/ 235889 h 7458372"/>
              <a:gd name="connsiteX43151" fmla="*/ 7894188 w 10505529"/>
              <a:gd name="connsiteY43151" fmla="*/ 247337 h 7458372"/>
              <a:gd name="connsiteX43152" fmla="*/ 7891924 w 10505529"/>
              <a:gd name="connsiteY43152" fmla="*/ 259052 h 7458372"/>
              <a:gd name="connsiteX43153" fmla="*/ 7885802 w 10505529"/>
              <a:gd name="connsiteY43153" fmla="*/ 268503 h 7458372"/>
              <a:gd name="connsiteX43154" fmla="*/ 7876483 w 10505529"/>
              <a:gd name="connsiteY43154" fmla="*/ 274760 h 7458372"/>
              <a:gd name="connsiteX43155" fmla="*/ 7864636 w 10505529"/>
              <a:gd name="connsiteY43155" fmla="*/ 277023 h 7458372"/>
              <a:gd name="connsiteX43156" fmla="*/ 7842803 w 10505529"/>
              <a:gd name="connsiteY43156" fmla="*/ 268503 h 7458372"/>
              <a:gd name="connsiteX43157" fmla="*/ 7834417 w 10505529"/>
              <a:gd name="connsiteY43157" fmla="*/ 247337 h 7458372"/>
              <a:gd name="connsiteX43158" fmla="*/ 7842803 w 10505529"/>
              <a:gd name="connsiteY43158" fmla="*/ 226305 h 7458372"/>
              <a:gd name="connsiteX43159" fmla="*/ 7864636 w 10505529"/>
              <a:gd name="connsiteY43159" fmla="*/ 217652 h 7458372"/>
              <a:gd name="connsiteX43160" fmla="*/ 8082281 w 10505529"/>
              <a:gd name="connsiteY43160" fmla="*/ 217652 h 7458372"/>
              <a:gd name="connsiteX43161" fmla="*/ 8094127 w 10505529"/>
              <a:gd name="connsiteY43161" fmla="*/ 220181 h 7458372"/>
              <a:gd name="connsiteX43162" fmla="*/ 8103446 w 10505529"/>
              <a:gd name="connsiteY43162" fmla="*/ 226571 h 7458372"/>
              <a:gd name="connsiteX43163" fmla="*/ 8109569 w 10505529"/>
              <a:gd name="connsiteY43163" fmla="*/ 235889 h 7458372"/>
              <a:gd name="connsiteX43164" fmla="*/ 8111832 w 10505529"/>
              <a:gd name="connsiteY43164" fmla="*/ 247337 h 7458372"/>
              <a:gd name="connsiteX43165" fmla="*/ 8109569 w 10505529"/>
              <a:gd name="connsiteY43165" fmla="*/ 259051 h 7458372"/>
              <a:gd name="connsiteX43166" fmla="*/ 8103446 w 10505529"/>
              <a:gd name="connsiteY43166" fmla="*/ 268503 h 7458372"/>
              <a:gd name="connsiteX43167" fmla="*/ 8094127 w 10505529"/>
              <a:gd name="connsiteY43167" fmla="*/ 274760 h 7458372"/>
              <a:gd name="connsiteX43168" fmla="*/ 8082281 w 10505529"/>
              <a:gd name="connsiteY43168" fmla="*/ 277023 h 7458372"/>
              <a:gd name="connsiteX43169" fmla="*/ 8060448 w 10505529"/>
              <a:gd name="connsiteY43169" fmla="*/ 268503 h 7458372"/>
              <a:gd name="connsiteX43170" fmla="*/ 8052062 w 10505529"/>
              <a:gd name="connsiteY43170" fmla="*/ 247337 h 7458372"/>
              <a:gd name="connsiteX43171" fmla="*/ 8060448 w 10505529"/>
              <a:gd name="connsiteY43171" fmla="*/ 226305 h 7458372"/>
              <a:gd name="connsiteX43172" fmla="*/ 8082281 w 10505529"/>
              <a:gd name="connsiteY43172" fmla="*/ 217652 h 7458372"/>
              <a:gd name="connsiteX43173" fmla="*/ 8299793 w 10505529"/>
              <a:gd name="connsiteY43173" fmla="*/ 217652 h 7458372"/>
              <a:gd name="connsiteX43174" fmla="*/ 8311507 w 10505529"/>
              <a:gd name="connsiteY43174" fmla="*/ 220181 h 7458372"/>
              <a:gd name="connsiteX43175" fmla="*/ 8320825 w 10505529"/>
              <a:gd name="connsiteY43175" fmla="*/ 226571 h 7458372"/>
              <a:gd name="connsiteX43176" fmla="*/ 8326948 w 10505529"/>
              <a:gd name="connsiteY43176" fmla="*/ 235889 h 7458372"/>
              <a:gd name="connsiteX43177" fmla="*/ 8329212 w 10505529"/>
              <a:gd name="connsiteY43177" fmla="*/ 247337 h 7458372"/>
              <a:gd name="connsiteX43178" fmla="*/ 8326948 w 10505529"/>
              <a:gd name="connsiteY43178" fmla="*/ 259051 h 7458372"/>
              <a:gd name="connsiteX43179" fmla="*/ 8320825 w 10505529"/>
              <a:gd name="connsiteY43179" fmla="*/ 268503 h 7458372"/>
              <a:gd name="connsiteX43180" fmla="*/ 8311507 w 10505529"/>
              <a:gd name="connsiteY43180" fmla="*/ 274760 h 7458372"/>
              <a:gd name="connsiteX43181" fmla="*/ 8299793 w 10505529"/>
              <a:gd name="connsiteY43181" fmla="*/ 277023 h 7458372"/>
              <a:gd name="connsiteX43182" fmla="*/ 8277960 w 10505529"/>
              <a:gd name="connsiteY43182" fmla="*/ 268503 h 7458372"/>
              <a:gd name="connsiteX43183" fmla="*/ 8269574 w 10505529"/>
              <a:gd name="connsiteY43183" fmla="*/ 247337 h 7458372"/>
              <a:gd name="connsiteX43184" fmla="*/ 8277960 w 10505529"/>
              <a:gd name="connsiteY43184" fmla="*/ 226305 h 7458372"/>
              <a:gd name="connsiteX43185" fmla="*/ 8299793 w 10505529"/>
              <a:gd name="connsiteY43185" fmla="*/ 217652 h 7458372"/>
              <a:gd name="connsiteX43186" fmla="*/ 8517438 w 10505529"/>
              <a:gd name="connsiteY43186" fmla="*/ 217651 h 7458372"/>
              <a:gd name="connsiteX43187" fmla="*/ 8529152 w 10505529"/>
              <a:gd name="connsiteY43187" fmla="*/ 220181 h 7458372"/>
              <a:gd name="connsiteX43188" fmla="*/ 8538470 w 10505529"/>
              <a:gd name="connsiteY43188" fmla="*/ 226571 h 7458372"/>
              <a:gd name="connsiteX43189" fmla="*/ 8544594 w 10505529"/>
              <a:gd name="connsiteY43189" fmla="*/ 235889 h 7458372"/>
              <a:gd name="connsiteX43190" fmla="*/ 8546857 w 10505529"/>
              <a:gd name="connsiteY43190" fmla="*/ 247337 h 7458372"/>
              <a:gd name="connsiteX43191" fmla="*/ 8544594 w 10505529"/>
              <a:gd name="connsiteY43191" fmla="*/ 259051 h 7458372"/>
              <a:gd name="connsiteX43192" fmla="*/ 8538470 w 10505529"/>
              <a:gd name="connsiteY43192" fmla="*/ 268502 h 7458372"/>
              <a:gd name="connsiteX43193" fmla="*/ 8529152 w 10505529"/>
              <a:gd name="connsiteY43193" fmla="*/ 274760 h 7458372"/>
              <a:gd name="connsiteX43194" fmla="*/ 8517438 w 10505529"/>
              <a:gd name="connsiteY43194" fmla="*/ 277023 h 7458372"/>
              <a:gd name="connsiteX43195" fmla="*/ 8495606 w 10505529"/>
              <a:gd name="connsiteY43195" fmla="*/ 268502 h 7458372"/>
              <a:gd name="connsiteX43196" fmla="*/ 8487220 w 10505529"/>
              <a:gd name="connsiteY43196" fmla="*/ 247337 h 7458372"/>
              <a:gd name="connsiteX43197" fmla="*/ 8495606 w 10505529"/>
              <a:gd name="connsiteY43197" fmla="*/ 226305 h 7458372"/>
              <a:gd name="connsiteX43198" fmla="*/ 8517438 w 10505529"/>
              <a:gd name="connsiteY43198" fmla="*/ 217651 h 7458372"/>
              <a:gd name="connsiteX43199" fmla="*/ 8952728 w 10505529"/>
              <a:gd name="connsiteY43199" fmla="*/ 217651 h 7458372"/>
              <a:gd name="connsiteX43200" fmla="*/ 8964442 w 10505529"/>
              <a:gd name="connsiteY43200" fmla="*/ 220180 h 7458372"/>
              <a:gd name="connsiteX43201" fmla="*/ 8973760 w 10505529"/>
              <a:gd name="connsiteY43201" fmla="*/ 226570 h 7458372"/>
              <a:gd name="connsiteX43202" fmla="*/ 8979884 w 10505529"/>
              <a:gd name="connsiteY43202" fmla="*/ 235889 h 7458372"/>
              <a:gd name="connsiteX43203" fmla="*/ 8982147 w 10505529"/>
              <a:gd name="connsiteY43203" fmla="*/ 247337 h 7458372"/>
              <a:gd name="connsiteX43204" fmla="*/ 8979884 w 10505529"/>
              <a:gd name="connsiteY43204" fmla="*/ 259051 h 7458372"/>
              <a:gd name="connsiteX43205" fmla="*/ 8973760 w 10505529"/>
              <a:gd name="connsiteY43205" fmla="*/ 268502 h 7458372"/>
              <a:gd name="connsiteX43206" fmla="*/ 8964442 w 10505529"/>
              <a:gd name="connsiteY43206" fmla="*/ 274759 h 7458372"/>
              <a:gd name="connsiteX43207" fmla="*/ 8952728 w 10505529"/>
              <a:gd name="connsiteY43207" fmla="*/ 277022 h 7458372"/>
              <a:gd name="connsiteX43208" fmla="*/ 8930896 w 10505529"/>
              <a:gd name="connsiteY43208" fmla="*/ 268502 h 7458372"/>
              <a:gd name="connsiteX43209" fmla="*/ 8922510 w 10505529"/>
              <a:gd name="connsiteY43209" fmla="*/ 247337 h 7458372"/>
              <a:gd name="connsiteX43210" fmla="*/ 8930896 w 10505529"/>
              <a:gd name="connsiteY43210" fmla="*/ 226304 h 7458372"/>
              <a:gd name="connsiteX43211" fmla="*/ 8952728 w 10505529"/>
              <a:gd name="connsiteY43211" fmla="*/ 217651 h 7458372"/>
              <a:gd name="connsiteX43212" fmla="*/ 8735083 w 10505529"/>
              <a:gd name="connsiteY43212" fmla="*/ 217651 h 7458372"/>
              <a:gd name="connsiteX43213" fmla="*/ 8746797 w 10505529"/>
              <a:gd name="connsiteY43213" fmla="*/ 220180 h 7458372"/>
              <a:gd name="connsiteX43214" fmla="*/ 8756115 w 10505529"/>
              <a:gd name="connsiteY43214" fmla="*/ 226571 h 7458372"/>
              <a:gd name="connsiteX43215" fmla="*/ 8762238 w 10505529"/>
              <a:gd name="connsiteY43215" fmla="*/ 235889 h 7458372"/>
              <a:gd name="connsiteX43216" fmla="*/ 8764502 w 10505529"/>
              <a:gd name="connsiteY43216" fmla="*/ 247337 h 7458372"/>
              <a:gd name="connsiteX43217" fmla="*/ 8762238 w 10505529"/>
              <a:gd name="connsiteY43217" fmla="*/ 259051 h 7458372"/>
              <a:gd name="connsiteX43218" fmla="*/ 8756115 w 10505529"/>
              <a:gd name="connsiteY43218" fmla="*/ 268502 h 7458372"/>
              <a:gd name="connsiteX43219" fmla="*/ 8746797 w 10505529"/>
              <a:gd name="connsiteY43219" fmla="*/ 274759 h 7458372"/>
              <a:gd name="connsiteX43220" fmla="*/ 8735083 w 10505529"/>
              <a:gd name="connsiteY43220" fmla="*/ 277022 h 7458372"/>
              <a:gd name="connsiteX43221" fmla="*/ 8713250 w 10505529"/>
              <a:gd name="connsiteY43221" fmla="*/ 268502 h 7458372"/>
              <a:gd name="connsiteX43222" fmla="*/ 8704864 w 10505529"/>
              <a:gd name="connsiteY43222" fmla="*/ 247337 h 7458372"/>
              <a:gd name="connsiteX43223" fmla="*/ 8713250 w 10505529"/>
              <a:gd name="connsiteY43223" fmla="*/ 226305 h 7458372"/>
              <a:gd name="connsiteX43224" fmla="*/ 8735083 w 10505529"/>
              <a:gd name="connsiteY43224" fmla="*/ 217651 h 7458372"/>
              <a:gd name="connsiteX43225" fmla="*/ 9387885 w 10505529"/>
              <a:gd name="connsiteY43225" fmla="*/ 217651 h 7458372"/>
              <a:gd name="connsiteX43226" fmla="*/ 9399599 w 10505529"/>
              <a:gd name="connsiteY43226" fmla="*/ 220180 h 7458372"/>
              <a:gd name="connsiteX43227" fmla="*/ 9408917 w 10505529"/>
              <a:gd name="connsiteY43227" fmla="*/ 226570 h 7458372"/>
              <a:gd name="connsiteX43228" fmla="*/ 9415041 w 10505529"/>
              <a:gd name="connsiteY43228" fmla="*/ 235888 h 7458372"/>
              <a:gd name="connsiteX43229" fmla="*/ 9417304 w 10505529"/>
              <a:gd name="connsiteY43229" fmla="*/ 247337 h 7458372"/>
              <a:gd name="connsiteX43230" fmla="*/ 9415041 w 10505529"/>
              <a:gd name="connsiteY43230" fmla="*/ 259051 h 7458372"/>
              <a:gd name="connsiteX43231" fmla="*/ 9408917 w 10505529"/>
              <a:gd name="connsiteY43231" fmla="*/ 268502 h 7458372"/>
              <a:gd name="connsiteX43232" fmla="*/ 9399599 w 10505529"/>
              <a:gd name="connsiteY43232" fmla="*/ 274759 h 7458372"/>
              <a:gd name="connsiteX43233" fmla="*/ 9387885 w 10505529"/>
              <a:gd name="connsiteY43233" fmla="*/ 277022 h 7458372"/>
              <a:gd name="connsiteX43234" fmla="*/ 9366053 w 10505529"/>
              <a:gd name="connsiteY43234" fmla="*/ 268502 h 7458372"/>
              <a:gd name="connsiteX43235" fmla="*/ 9357667 w 10505529"/>
              <a:gd name="connsiteY43235" fmla="*/ 247337 h 7458372"/>
              <a:gd name="connsiteX43236" fmla="*/ 9366053 w 10505529"/>
              <a:gd name="connsiteY43236" fmla="*/ 226304 h 7458372"/>
              <a:gd name="connsiteX43237" fmla="*/ 9387885 w 10505529"/>
              <a:gd name="connsiteY43237" fmla="*/ 217651 h 7458372"/>
              <a:gd name="connsiteX43238" fmla="*/ 9170374 w 10505529"/>
              <a:gd name="connsiteY43238" fmla="*/ 217651 h 7458372"/>
              <a:gd name="connsiteX43239" fmla="*/ 9182088 w 10505529"/>
              <a:gd name="connsiteY43239" fmla="*/ 220180 h 7458372"/>
              <a:gd name="connsiteX43240" fmla="*/ 9191405 w 10505529"/>
              <a:gd name="connsiteY43240" fmla="*/ 226570 h 7458372"/>
              <a:gd name="connsiteX43241" fmla="*/ 9197529 w 10505529"/>
              <a:gd name="connsiteY43241" fmla="*/ 235889 h 7458372"/>
              <a:gd name="connsiteX43242" fmla="*/ 9199792 w 10505529"/>
              <a:gd name="connsiteY43242" fmla="*/ 247337 h 7458372"/>
              <a:gd name="connsiteX43243" fmla="*/ 9197529 w 10505529"/>
              <a:gd name="connsiteY43243" fmla="*/ 259051 h 7458372"/>
              <a:gd name="connsiteX43244" fmla="*/ 9191405 w 10505529"/>
              <a:gd name="connsiteY43244" fmla="*/ 268502 h 7458372"/>
              <a:gd name="connsiteX43245" fmla="*/ 9182088 w 10505529"/>
              <a:gd name="connsiteY43245" fmla="*/ 274759 h 7458372"/>
              <a:gd name="connsiteX43246" fmla="*/ 9170374 w 10505529"/>
              <a:gd name="connsiteY43246" fmla="*/ 277022 h 7458372"/>
              <a:gd name="connsiteX43247" fmla="*/ 9148541 w 10505529"/>
              <a:gd name="connsiteY43247" fmla="*/ 268502 h 7458372"/>
              <a:gd name="connsiteX43248" fmla="*/ 9140155 w 10505529"/>
              <a:gd name="connsiteY43248" fmla="*/ 247337 h 7458372"/>
              <a:gd name="connsiteX43249" fmla="*/ 9148541 w 10505529"/>
              <a:gd name="connsiteY43249" fmla="*/ 226304 h 7458372"/>
              <a:gd name="connsiteX43250" fmla="*/ 9170374 w 10505529"/>
              <a:gd name="connsiteY43250" fmla="*/ 217651 h 7458372"/>
              <a:gd name="connsiteX43251" fmla="*/ 9605531 w 10505529"/>
              <a:gd name="connsiteY43251" fmla="*/ 217651 h 7458372"/>
              <a:gd name="connsiteX43252" fmla="*/ 9617245 w 10505529"/>
              <a:gd name="connsiteY43252" fmla="*/ 220180 h 7458372"/>
              <a:gd name="connsiteX43253" fmla="*/ 9626562 w 10505529"/>
              <a:gd name="connsiteY43253" fmla="*/ 226570 h 7458372"/>
              <a:gd name="connsiteX43254" fmla="*/ 9632686 w 10505529"/>
              <a:gd name="connsiteY43254" fmla="*/ 235888 h 7458372"/>
              <a:gd name="connsiteX43255" fmla="*/ 9634949 w 10505529"/>
              <a:gd name="connsiteY43255" fmla="*/ 247337 h 7458372"/>
              <a:gd name="connsiteX43256" fmla="*/ 9632686 w 10505529"/>
              <a:gd name="connsiteY43256" fmla="*/ 259051 h 7458372"/>
              <a:gd name="connsiteX43257" fmla="*/ 9626562 w 10505529"/>
              <a:gd name="connsiteY43257" fmla="*/ 268502 h 7458372"/>
              <a:gd name="connsiteX43258" fmla="*/ 9617245 w 10505529"/>
              <a:gd name="connsiteY43258" fmla="*/ 274759 h 7458372"/>
              <a:gd name="connsiteX43259" fmla="*/ 9605531 w 10505529"/>
              <a:gd name="connsiteY43259" fmla="*/ 277022 h 7458372"/>
              <a:gd name="connsiteX43260" fmla="*/ 9583698 w 10505529"/>
              <a:gd name="connsiteY43260" fmla="*/ 268502 h 7458372"/>
              <a:gd name="connsiteX43261" fmla="*/ 9575312 w 10505529"/>
              <a:gd name="connsiteY43261" fmla="*/ 247337 h 7458372"/>
              <a:gd name="connsiteX43262" fmla="*/ 9583698 w 10505529"/>
              <a:gd name="connsiteY43262" fmla="*/ 226304 h 7458372"/>
              <a:gd name="connsiteX43263" fmla="*/ 9605531 w 10505529"/>
              <a:gd name="connsiteY43263" fmla="*/ 217651 h 7458372"/>
              <a:gd name="connsiteX43264" fmla="*/ 9823176 w 10505529"/>
              <a:gd name="connsiteY43264" fmla="*/ 217651 h 7458372"/>
              <a:gd name="connsiteX43265" fmla="*/ 9834890 w 10505529"/>
              <a:gd name="connsiteY43265" fmla="*/ 220180 h 7458372"/>
              <a:gd name="connsiteX43266" fmla="*/ 9844208 w 10505529"/>
              <a:gd name="connsiteY43266" fmla="*/ 226570 h 7458372"/>
              <a:gd name="connsiteX43267" fmla="*/ 9850331 w 10505529"/>
              <a:gd name="connsiteY43267" fmla="*/ 235888 h 7458372"/>
              <a:gd name="connsiteX43268" fmla="*/ 9852595 w 10505529"/>
              <a:gd name="connsiteY43268" fmla="*/ 247336 h 7458372"/>
              <a:gd name="connsiteX43269" fmla="*/ 9850331 w 10505529"/>
              <a:gd name="connsiteY43269" fmla="*/ 259051 h 7458372"/>
              <a:gd name="connsiteX43270" fmla="*/ 9844208 w 10505529"/>
              <a:gd name="connsiteY43270" fmla="*/ 268502 h 7458372"/>
              <a:gd name="connsiteX43271" fmla="*/ 9834890 w 10505529"/>
              <a:gd name="connsiteY43271" fmla="*/ 274759 h 7458372"/>
              <a:gd name="connsiteX43272" fmla="*/ 9823176 w 10505529"/>
              <a:gd name="connsiteY43272" fmla="*/ 277022 h 7458372"/>
              <a:gd name="connsiteX43273" fmla="*/ 9801343 w 10505529"/>
              <a:gd name="connsiteY43273" fmla="*/ 268502 h 7458372"/>
              <a:gd name="connsiteX43274" fmla="*/ 9792957 w 10505529"/>
              <a:gd name="connsiteY43274" fmla="*/ 247336 h 7458372"/>
              <a:gd name="connsiteX43275" fmla="*/ 9801343 w 10505529"/>
              <a:gd name="connsiteY43275" fmla="*/ 226304 h 7458372"/>
              <a:gd name="connsiteX43276" fmla="*/ 9823176 w 10505529"/>
              <a:gd name="connsiteY43276" fmla="*/ 217651 h 7458372"/>
              <a:gd name="connsiteX43277" fmla="*/ 10040820 w 10505529"/>
              <a:gd name="connsiteY43277" fmla="*/ 217651 h 7458372"/>
              <a:gd name="connsiteX43278" fmla="*/ 10052534 w 10505529"/>
              <a:gd name="connsiteY43278" fmla="*/ 220180 h 7458372"/>
              <a:gd name="connsiteX43279" fmla="*/ 10061852 w 10505529"/>
              <a:gd name="connsiteY43279" fmla="*/ 226570 h 7458372"/>
              <a:gd name="connsiteX43280" fmla="*/ 10067976 w 10505529"/>
              <a:gd name="connsiteY43280" fmla="*/ 235888 h 7458372"/>
              <a:gd name="connsiteX43281" fmla="*/ 10070239 w 10505529"/>
              <a:gd name="connsiteY43281" fmla="*/ 247336 h 7458372"/>
              <a:gd name="connsiteX43282" fmla="*/ 10067976 w 10505529"/>
              <a:gd name="connsiteY43282" fmla="*/ 259051 h 7458372"/>
              <a:gd name="connsiteX43283" fmla="*/ 10061852 w 10505529"/>
              <a:gd name="connsiteY43283" fmla="*/ 268502 h 7458372"/>
              <a:gd name="connsiteX43284" fmla="*/ 10052534 w 10505529"/>
              <a:gd name="connsiteY43284" fmla="*/ 274759 h 7458372"/>
              <a:gd name="connsiteX43285" fmla="*/ 10040820 w 10505529"/>
              <a:gd name="connsiteY43285" fmla="*/ 277022 h 7458372"/>
              <a:gd name="connsiteX43286" fmla="*/ 10018988 w 10505529"/>
              <a:gd name="connsiteY43286" fmla="*/ 268502 h 7458372"/>
              <a:gd name="connsiteX43287" fmla="*/ 10010602 w 10505529"/>
              <a:gd name="connsiteY43287" fmla="*/ 247336 h 7458372"/>
              <a:gd name="connsiteX43288" fmla="*/ 10018988 w 10505529"/>
              <a:gd name="connsiteY43288" fmla="*/ 226304 h 7458372"/>
              <a:gd name="connsiteX43289" fmla="*/ 10040820 w 10505529"/>
              <a:gd name="connsiteY43289" fmla="*/ 217651 h 7458372"/>
              <a:gd name="connsiteX43290" fmla="*/ 10258466 w 10505529"/>
              <a:gd name="connsiteY43290" fmla="*/ 217651 h 7458372"/>
              <a:gd name="connsiteX43291" fmla="*/ 10270313 w 10505529"/>
              <a:gd name="connsiteY43291" fmla="*/ 220180 h 7458372"/>
              <a:gd name="connsiteX43292" fmla="*/ 10279631 w 10505529"/>
              <a:gd name="connsiteY43292" fmla="*/ 226570 h 7458372"/>
              <a:gd name="connsiteX43293" fmla="*/ 10285754 w 10505529"/>
              <a:gd name="connsiteY43293" fmla="*/ 235888 h 7458372"/>
              <a:gd name="connsiteX43294" fmla="*/ 10288017 w 10505529"/>
              <a:gd name="connsiteY43294" fmla="*/ 247336 h 7458372"/>
              <a:gd name="connsiteX43295" fmla="*/ 10285754 w 10505529"/>
              <a:gd name="connsiteY43295" fmla="*/ 259050 h 7458372"/>
              <a:gd name="connsiteX43296" fmla="*/ 10279631 w 10505529"/>
              <a:gd name="connsiteY43296" fmla="*/ 268502 h 7458372"/>
              <a:gd name="connsiteX43297" fmla="*/ 10270313 w 10505529"/>
              <a:gd name="connsiteY43297" fmla="*/ 274759 h 7458372"/>
              <a:gd name="connsiteX43298" fmla="*/ 10258466 w 10505529"/>
              <a:gd name="connsiteY43298" fmla="*/ 277022 h 7458372"/>
              <a:gd name="connsiteX43299" fmla="*/ 10236633 w 10505529"/>
              <a:gd name="connsiteY43299" fmla="*/ 268502 h 7458372"/>
              <a:gd name="connsiteX43300" fmla="*/ 10228247 w 10505529"/>
              <a:gd name="connsiteY43300" fmla="*/ 247336 h 7458372"/>
              <a:gd name="connsiteX43301" fmla="*/ 10236633 w 10505529"/>
              <a:gd name="connsiteY43301" fmla="*/ 226304 h 7458372"/>
              <a:gd name="connsiteX43302" fmla="*/ 10258466 w 10505529"/>
              <a:gd name="connsiteY43302" fmla="*/ 217651 h 7458372"/>
              <a:gd name="connsiteX43303" fmla="*/ 10475977 w 10505529"/>
              <a:gd name="connsiteY43303" fmla="*/ 217651 h 7458372"/>
              <a:gd name="connsiteX43304" fmla="*/ 10487824 w 10505529"/>
              <a:gd name="connsiteY43304" fmla="*/ 220180 h 7458372"/>
              <a:gd name="connsiteX43305" fmla="*/ 10497143 w 10505529"/>
              <a:gd name="connsiteY43305" fmla="*/ 226570 h 7458372"/>
              <a:gd name="connsiteX43306" fmla="*/ 10503266 w 10505529"/>
              <a:gd name="connsiteY43306" fmla="*/ 235888 h 7458372"/>
              <a:gd name="connsiteX43307" fmla="*/ 10505529 w 10505529"/>
              <a:gd name="connsiteY43307" fmla="*/ 247336 h 7458372"/>
              <a:gd name="connsiteX43308" fmla="*/ 10503266 w 10505529"/>
              <a:gd name="connsiteY43308" fmla="*/ 259050 h 7458372"/>
              <a:gd name="connsiteX43309" fmla="*/ 10497143 w 10505529"/>
              <a:gd name="connsiteY43309" fmla="*/ 268502 h 7458372"/>
              <a:gd name="connsiteX43310" fmla="*/ 10487824 w 10505529"/>
              <a:gd name="connsiteY43310" fmla="*/ 274759 h 7458372"/>
              <a:gd name="connsiteX43311" fmla="*/ 10475977 w 10505529"/>
              <a:gd name="connsiteY43311" fmla="*/ 277022 h 7458372"/>
              <a:gd name="connsiteX43312" fmla="*/ 10454145 w 10505529"/>
              <a:gd name="connsiteY43312" fmla="*/ 268502 h 7458372"/>
              <a:gd name="connsiteX43313" fmla="*/ 10445759 w 10505529"/>
              <a:gd name="connsiteY43313" fmla="*/ 247336 h 7458372"/>
              <a:gd name="connsiteX43314" fmla="*/ 10454145 w 10505529"/>
              <a:gd name="connsiteY43314" fmla="*/ 226304 h 7458372"/>
              <a:gd name="connsiteX43315" fmla="*/ 10475977 w 10505529"/>
              <a:gd name="connsiteY43315" fmla="*/ 217651 h 7458372"/>
              <a:gd name="connsiteX43316" fmla="*/ 30217 w 10505529"/>
              <a:gd name="connsiteY43316" fmla="*/ 16646 h 7458372"/>
              <a:gd name="connsiteX43317" fmla="*/ 20234 w 10505529"/>
              <a:gd name="connsiteY43317" fmla="*/ 20240 h 7458372"/>
              <a:gd name="connsiteX43318" fmla="*/ 16640 w 10505529"/>
              <a:gd name="connsiteY43318" fmla="*/ 29691 h 7458372"/>
              <a:gd name="connsiteX43319" fmla="*/ 20234 w 10505529"/>
              <a:gd name="connsiteY43319" fmla="*/ 39142 h 7458372"/>
              <a:gd name="connsiteX43320" fmla="*/ 30217 w 10505529"/>
              <a:gd name="connsiteY43320" fmla="*/ 42603 h 7458372"/>
              <a:gd name="connsiteX43321" fmla="*/ 35542 w 10505529"/>
              <a:gd name="connsiteY43321" fmla="*/ 41671 h 7458372"/>
              <a:gd name="connsiteX43322" fmla="*/ 39269 w 10505529"/>
              <a:gd name="connsiteY43322" fmla="*/ 39275 h 7458372"/>
              <a:gd name="connsiteX43323" fmla="*/ 41932 w 10505529"/>
              <a:gd name="connsiteY43323" fmla="*/ 35149 h 7458372"/>
              <a:gd name="connsiteX43324" fmla="*/ 42863 w 10505529"/>
              <a:gd name="connsiteY43324" fmla="*/ 29691 h 7458372"/>
              <a:gd name="connsiteX43325" fmla="*/ 41932 w 10505529"/>
              <a:gd name="connsiteY43325" fmla="*/ 24499 h 7458372"/>
              <a:gd name="connsiteX43326" fmla="*/ 39269 w 10505529"/>
              <a:gd name="connsiteY43326" fmla="*/ 20240 h 7458372"/>
              <a:gd name="connsiteX43327" fmla="*/ 35276 w 10505529"/>
              <a:gd name="connsiteY43327" fmla="*/ 17577 h 7458372"/>
              <a:gd name="connsiteX43328" fmla="*/ 30217 w 10505529"/>
              <a:gd name="connsiteY43328" fmla="*/ 16646 h 7458372"/>
              <a:gd name="connsiteX43329" fmla="*/ 247862 w 10505529"/>
              <a:gd name="connsiteY43329" fmla="*/ 16646 h 7458372"/>
              <a:gd name="connsiteX43330" fmla="*/ 237879 w 10505529"/>
              <a:gd name="connsiteY43330" fmla="*/ 20240 h 7458372"/>
              <a:gd name="connsiteX43331" fmla="*/ 234285 w 10505529"/>
              <a:gd name="connsiteY43331" fmla="*/ 29691 h 7458372"/>
              <a:gd name="connsiteX43332" fmla="*/ 237879 w 10505529"/>
              <a:gd name="connsiteY43332" fmla="*/ 39142 h 7458372"/>
              <a:gd name="connsiteX43333" fmla="*/ 247862 w 10505529"/>
              <a:gd name="connsiteY43333" fmla="*/ 42603 h 7458372"/>
              <a:gd name="connsiteX43334" fmla="*/ 253187 w 10505529"/>
              <a:gd name="connsiteY43334" fmla="*/ 41671 h 7458372"/>
              <a:gd name="connsiteX43335" fmla="*/ 256914 w 10505529"/>
              <a:gd name="connsiteY43335" fmla="*/ 39275 h 7458372"/>
              <a:gd name="connsiteX43336" fmla="*/ 259577 w 10505529"/>
              <a:gd name="connsiteY43336" fmla="*/ 35149 h 7458372"/>
              <a:gd name="connsiteX43337" fmla="*/ 260642 w 10505529"/>
              <a:gd name="connsiteY43337" fmla="*/ 29691 h 7458372"/>
              <a:gd name="connsiteX43338" fmla="*/ 259577 w 10505529"/>
              <a:gd name="connsiteY43338" fmla="*/ 24499 h 7458372"/>
              <a:gd name="connsiteX43339" fmla="*/ 256914 w 10505529"/>
              <a:gd name="connsiteY43339" fmla="*/ 20240 h 7458372"/>
              <a:gd name="connsiteX43340" fmla="*/ 252921 w 10505529"/>
              <a:gd name="connsiteY43340" fmla="*/ 17577 h 7458372"/>
              <a:gd name="connsiteX43341" fmla="*/ 247862 w 10505529"/>
              <a:gd name="connsiteY43341" fmla="*/ 16646 h 7458372"/>
              <a:gd name="connsiteX43342" fmla="*/ 465507 w 10505529"/>
              <a:gd name="connsiteY43342" fmla="*/ 16646 h 7458372"/>
              <a:gd name="connsiteX43343" fmla="*/ 455523 w 10505529"/>
              <a:gd name="connsiteY43343" fmla="*/ 20240 h 7458372"/>
              <a:gd name="connsiteX43344" fmla="*/ 451929 w 10505529"/>
              <a:gd name="connsiteY43344" fmla="*/ 29691 h 7458372"/>
              <a:gd name="connsiteX43345" fmla="*/ 455523 w 10505529"/>
              <a:gd name="connsiteY43345" fmla="*/ 39142 h 7458372"/>
              <a:gd name="connsiteX43346" fmla="*/ 465507 w 10505529"/>
              <a:gd name="connsiteY43346" fmla="*/ 42603 h 7458372"/>
              <a:gd name="connsiteX43347" fmla="*/ 470832 w 10505529"/>
              <a:gd name="connsiteY43347" fmla="*/ 41671 h 7458372"/>
              <a:gd name="connsiteX43348" fmla="*/ 474559 w 10505529"/>
              <a:gd name="connsiteY43348" fmla="*/ 39275 h 7458372"/>
              <a:gd name="connsiteX43349" fmla="*/ 477222 w 10505529"/>
              <a:gd name="connsiteY43349" fmla="*/ 35149 h 7458372"/>
              <a:gd name="connsiteX43350" fmla="*/ 478287 w 10505529"/>
              <a:gd name="connsiteY43350" fmla="*/ 29691 h 7458372"/>
              <a:gd name="connsiteX43351" fmla="*/ 477222 w 10505529"/>
              <a:gd name="connsiteY43351" fmla="*/ 24499 h 7458372"/>
              <a:gd name="connsiteX43352" fmla="*/ 474559 w 10505529"/>
              <a:gd name="connsiteY43352" fmla="*/ 20240 h 7458372"/>
              <a:gd name="connsiteX43353" fmla="*/ 470566 w 10505529"/>
              <a:gd name="connsiteY43353" fmla="*/ 17577 h 7458372"/>
              <a:gd name="connsiteX43354" fmla="*/ 465507 w 10505529"/>
              <a:gd name="connsiteY43354" fmla="*/ 16646 h 7458372"/>
              <a:gd name="connsiteX43355" fmla="*/ 683151 w 10505529"/>
              <a:gd name="connsiteY43355" fmla="*/ 16645 h 7458372"/>
              <a:gd name="connsiteX43356" fmla="*/ 673168 w 10505529"/>
              <a:gd name="connsiteY43356" fmla="*/ 20239 h 7458372"/>
              <a:gd name="connsiteX43357" fmla="*/ 669574 w 10505529"/>
              <a:gd name="connsiteY43357" fmla="*/ 29691 h 7458372"/>
              <a:gd name="connsiteX43358" fmla="*/ 673168 w 10505529"/>
              <a:gd name="connsiteY43358" fmla="*/ 39142 h 7458372"/>
              <a:gd name="connsiteX43359" fmla="*/ 683151 w 10505529"/>
              <a:gd name="connsiteY43359" fmla="*/ 42603 h 7458372"/>
              <a:gd name="connsiteX43360" fmla="*/ 688476 w 10505529"/>
              <a:gd name="connsiteY43360" fmla="*/ 41671 h 7458372"/>
              <a:gd name="connsiteX43361" fmla="*/ 692203 w 10505529"/>
              <a:gd name="connsiteY43361" fmla="*/ 39275 h 7458372"/>
              <a:gd name="connsiteX43362" fmla="*/ 694867 w 10505529"/>
              <a:gd name="connsiteY43362" fmla="*/ 35149 h 7458372"/>
              <a:gd name="connsiteX43363" fmla="*/ 695932 w 10505529"/>
              <a:gd name="connsiteY43363" fmla="*/ 29691 h 7458372"/>
              <a:gd name="connsiteX43364" fmla="*/ 694867 w 10505529"/>
              <a:gd name="connsiteY43364" fmla="*/ 24499 h 7458372"/>
              <a:gd name="connsiteX43365" fmla="*/ 692203 w 10505529"/>
              <a:gd name="connsiteY43365" fmla="*/ 20239 h 7458372"/>
              <a:gd name="connsiteX43366" fmla="*/ 688210 w 10505529"/>
              <a:gd name="connsiteY43366" fmla="*/ 17576 h 7458372"/>
              <a:gd name="connsiteX43367" fmla="*/ 683151 w 10505529"/>
              <a:gd name="connsiteY43367" fmla="*/ 16645 h 7458372"/>
              <a:gd name="connsiteX43368" fmla="*/ 900930 w 10505529"/>
              <a:gd name="connsiteY43368" fmla="*/ 16645 h 7458372"/>
              <a:gd name="connsiteX43369" fmla="*/ 890946 w 10505529"/>
              <a:gd name="connsiteY43369" fmla="*/ 20239 h 7458372"/>
              <a:gd name="connsiteX43370" fmla="*/ 887219 w 10505529"/>
              <a:gd name="connsiteY43370" fmla="*/ 29691 h 7458372"/>
              <a:gd name="connsiteX43371" fmla="*/ 890813 w 10505529"/>
              <a:gd name="connsiteY43371" fmla="*/ 39142 h 7458372"/>
              <a:gd name="connsiteX43372" fmla="*/ 900796 w 10505529"/>
              <a:gd name="connsiteY43372" fmla="*/ 42603 h 7458372"/>
              <a:gd name="connsiteX43373" fmla="*/ 906254 w 10505529"/>
              <a:gd name="connsiteY43373" fmla="*/ 41671 h 7458372"/>
              <a:gd name="connsiteX43374" fmla="*/ 909982 w 10505529"/>
              <a:gd name="connsiteY43374" fmla="*/ 39275 h 7458372"/>
              <a:gd name="connsiteX43375" fmla="*/ 912644 w 10505529"/>
              <a:gd name="connsiteY43375" fmla="*/ 35149 h 7458372"/>
              <a:gd name="connsiteX43376" fmla="*/ 913709 w 10505529"/>
              <a:gd name="connsiteY43376" fmla="*/ 29691 h 7458372"/>
              <a:gd name="connsiteX43377" fmla="*/ 912644 w 10505529"/>
              <a:gd name="connsiteY43377" fmla="*/ 24498 h 7458372"/>
              <a:gd name="connsiteX43378" fmla="*/ 909982 w 10505529"/>
              <a:gd name="connsiteY43378" fmla="*/ 20239 h 7458372"/>
              <a:gd name="connsiteX43379" fmla="*/ 905988 w 10505529"/>
              <a:gd name="connsiteY43379" fmla="*/ 17576 h 7458372"/>
              <a:gd name="connsiteX43380" fmla="*/ 900930 w 10505529"/>
              <a:gd name="connsiteY43380" fmla="*/ 16645 h 7458372"/>
              <a:gd name="connsiteX43381" fmla="*/ 1118441 w 10505529"/>
              <a:gd name="connsiteY43381" fmla="*/ 16645 h 7458372"/>
              <a:gd name="connsiteX43382" fmla="*/ 1108458 w 10505529"/>
              <a:gd name="connsiteY43382" fmla="*/ 20239 h 7458372"/>
              <a:gd name="connsiteX43383" fmla="*/ 1104730 w 10505529"/>
              <a:gd name="connsiteY43383" fmla="*/ 29690 h 7458372"/>
              <a:gd name="connsiteX43384" fmla="*/ 1108325 w 10505529"/>
              <a:gd name="connsiteY43384" fmla="*/ 39142 h 7458372"/>
              <a:gd name="connsiteX43385" fmla="*/ 1118308 w 10505529"/>
              <a:gd name="connsiteY43385" fmla="*/ 42603 h 7458372"/>
              <a:gd name="connsiteX43386" fmla="*/ 1123766 w 10505529"/>
              <a:gd name="connsiteY43386" fmla="*/ 41671 h 7458372"/>
              <a:gd name="connsiteX43387" fmla="*/ 1127493 w 10505529"/>
              <a:gd name="connsiteY43387" fmla="*/ 39275 h 7458372"/>
              <a:gd name="connsiteX43388" fmla="*/ 1130156 w 10505529"/>
              <a:gd name="connsiteY43388" fmla="*/ 35149 h 7458372"/>
              <a:gd name="connsiteX43389" fmla="*/ 1131221 w 10505529"/>
              <a:gd name="connsiteY43389" fmla="*/ 29690 h 7458372"/>
              <a:gd name="connsiteX43390" fmla="*/ 1130156 w 10505529"/>
              <a:gd name="connsiteY43390" fmla="*/ 24498 h 7458372"/>
              <a:gd name="connsiteX43391" fmla="*/ 1127493 w 10505529"/>
              <a:gd name="connsiteY43391" fmla="*/ 20239 h 7458372"/>
              <a:gd name="connsiteX43392" fmla="*/ 1123500 w 10505529"/>
              <a:gd name="connsiteY43392" fmla="*/ 17576 h 7458372"/>
              <a:gd name="connsiteX43393" fmla="*/ 1118441 w 10505529"/>
              <a:gd name="connsiteY43393" fmla="*/ 16645 h 7458372"/>
              <a:gd name="connsiteX43394" fmla="*/ 1335953 w 10505529"/>
              <a:gd name="connsiteY43394" fmla="*/ 16645 h 7458372"/>
              <a:gd name="connsiteX43395" fmla="*/ 1325970 w 10505529"/>
              <a:gd name="connsiteY43395" fmla="*/ 20239 h 7458372"/>
              <a:gd name="connsiteX43396" fmla="*/ 1322375 w 10505529"/>
              <a:gd name="connsiteY43396" fmla="*/ 29690 h 7458372"/>
              <a:gd name="connsiteX43397" fmla="*/ 1325970 w 10505529"/>
              <a:gd name="connsiteY43397" fmla="*/ 39142 h 7458372"/>
              <a:gd name="connsiteX43398" fmla="*/ 1335953 w 10505529"/>
              <a:gd name="connsiteY43398" fmla="*/ 42603 h 7458372"/>
              <a:gd name="connsiteX43399" fmla="*/ 1341278 w 10505529"/>
              <a:gd name="connsiteY43399" fmla="*/ 41671 h 7458372"/>
              <a:gd name="connsiteX43400" fmla="*/ 1345005 w 10505529"/>
              <a:gd name="connsiteY43400" fmla="*/ 39274 h 7458372"/>
              <a:gd name="connsiteX43401" fmla="*/ 1347668 w 10505529"/>
              <a:gd name="connsiteY43401" fmla="*/ 35148 h 7458372"/>
              <a:gd name="connsiteX43402" fmla="*/ 1348733 w 10505529"/>
              <a:gd name="connsiteY43402" fmla="*/ 29690 h 7458372"/>
              <a:gd name="connsiteX43403" fmla="*/ 1347668 w 10505529"/>
              <a:gd name="connsiteY43403" fmla="*/ 24498 h 7458372"/>
              <a:gd name="connsiteX43404" fmla="*/ 1345005 w 10505529"/>
              <a:gd name="connsiteY43404" fmla="*/ 20239 h 7458372"/>
              <a:gd name="connsiteX43405" fmla="*/ 1341012 w 10505529"/>
              <a:gd name="connsiteY43405" fmla="*/ 17576 h 7458372"/>
              <a:gd name="connsiteX43406" fmla="*/ 1335953 w 10505529"/>
              <a:gd name="connsiteY43406" fmla="*/ 16645 h 7458372"/>
              <a:gd name="connsiteX43407" fmla="*/ 1553598 w 10505529"/>
              <a:gd name="connsiteY43407" fmla="*/ 16645 h 7458372"/>
              <a:gd name="connsiteX43408" fmla="*/ 1543614 w 10505529"/>
              <a:gd name="connsiteY43408" fmla="*/ 20239 h 7458372"/>
              <a:gd name="connsiteX43409" fmla="*/ 1540020 w 10505529"/>
              <a:gd name="connsiteY43409" fmla="*/ 29690 h 7458372"/>
              <a:gd name="connsiteX43410" fmla="*/ 1543614 w 10505529"/>
              <a:gd name="connsiteY43410" fmla="*/ 39141 h 7458372"/>
              <a:gd name="connsiteX43411" fmla="*/ 1553598 w 10505529"/>
              <a:gd name="connsiteY43411" fmla="*/ 42602 h 7458372"/>
              <a:gd name="connsiteX43412" fmla="*/ 1558923 w 10505529"/>
              <a:gd name="connsiteY43412" fmla="*/ 41670 h 7458372"/>
              <a:gd name="connsiteX43413" fmla="*/ 1562650 w 10505529"/>
              <a:gd name="connsiteY43413" fmla="*/ 39274 h 7458372"/>
              <a:gd name="connsiteX43414" fmla="*/ 1565313 w 10505529"/>
              <a:gd name="connsiteY43414" fmla="*/ 35148 h 7458372"/>
              <a:gd name="connsiteX43415" fmla="*/ 1566378 w 10505529"/>
              <a:gd name="connsiteY43415" fmla="*/ 29690 h 7458372"/>
              <a:gd name="connsiteX43416" fmla="*/ 1565313 w 10505529"/>
              <a:gd name="connsiteY43416" fmla="*/ 24498 h 7458372"/>
              <a:gd name="connsiteX43417" fmla="*/ 1562650 w 10505529"/>
              <a:gd name="connsiteY43417" fmla="*/ 20239 h 7458372"/>
              <a:gd name="connsiteX43418" fmla="*/ 1558657 w 10505529"/>
              <a:gd name="connsiteY43418" fmla="*/ 17576 h 7458372"/>
              <a:gd name="connsiteX43419" fmla="*/ 1553598 w 10505529"/>
              <a:gd name="connsiteY43419" fmla="*/ 16645 h 7458372"/>
              <a:gd name="connsiteX43420" fmla="*/ 1771243 w 10505529"/>
              <a:gd name="connsiteY43420" fmla="*/ 16645 h 7458372"/>
              <a:gd name="connsiteX43421" fmla="*/ 1761260 w 10505529"/>
              <a:gd name="connsiteY43421" fmla="*/ 20239 h 7458372"/>
              <a:gd name="connsiteX43422" fmla="*/ 1757666 w 10505529"/>
              <a:gd name="connsiteY43422" fmla="*/ 29690 h 7458372"/>
              <a:gd name="connsiteX43423" fmla="*/ 1761260 w 10505529"/>
              <a:gd name="connsiteY43423" fmla="*/ 39141 h 7458372"/>
              <a:gd name="connsiteX43424" fmla="*/ 1771243 w 10505529"/>
              <a:gd name="connsiteY43424" fmla="*/ 42602 h 7458372"/>
              <a:gd name="connsiteX43425" fmla="*/ 1776568 w 10505529"/>
              <a:gd name="connsiteY43425" fmla="*/ 41670 h 7458372"/>
              <a:gd name="connsiteX43426" fmla="*/ 1780295 w 10505529"/>
              <a:gd name="connsiteY43426" fmla="*/ 39274 h 7458372"/>
              <a:gd name="connsiteX43427" fmla="*/ 1782958 w 10505529"/>
              <a:gd name="connsiteY43427" fmla="*/ 35148 h 7458372"/>
              <a:gd name="connsiteX43428" fmla="*/ 1784023 w 10505529"/>
              <a:gd name="connsiteY43428" fmla="*/ 29690 h 7458372"/>
              <a:gd name="connsiteX43429" fmla="*/ 1782958 w 10505529"/>
              <a:gd name="connsiteY43429" fmla="*/ 24498 h 7458372"/>
              <a:gd name="connsiteX43430" fmla="*/ 1780295 w 10505529"/>
              <a:gd name="connsiteY43430" fmla="*/ 20239 h 7458372"/>
              <a:gd name="connsiteX43431" fmla="*/ 1776302 w 10505529"/>
              <a:gd name="connsiteY43431" fmla="*/ 17576 h 7458372"/>
              <a:gd name="connsiteX43432" fmla="*/ 1771243 w 10505529"/>
              <a:gd name="connsiteY43432" fmla="*/ 16645 h 7458372"/>
              <a:gd name="connsiteX43433" fmla="*/ 1988888 w 10505529"/>
              <a:gd name="connsiteY43433" fmla="*/ 16645 h 7458372"/>
              <a:gd name="connsiteX43434" fmla="*/ 1978905 w 10505529"/>
              <a:gd name="connsiteY43434" fmla="*/ 20239 h 7458372"/>
              <a:gd name="connsiteX43435" fmla="*/ 1975311 w 10505529"/>
              <a:gd name="connsiteY43435" fmla="*/ 29690 h 7458372"/>
              <a:gd name="connsiteX43436" fmla="*/ 1978905 w 10505529"/>
              <a:gd name="connsiteY43436" fmla="*/ 39141 h 7458372"/>
              <a:gd name="connsiteX43437" fmla="*/ 1988888 w 10505529"/>
              <a:gd name="connsiteY43437" fmla="*/ 42602 h 7458372"/>
              <a:gd name="connsiteX43438" fmla="*/ 1994213 w 10505529"/>
              <a:gd name="connsiteY43438" fmla="*/ 41670 h 7458372"/>
              <a:gd name="connsiteX43439" fmla="*/ 1997940 w 10505529"/>
              <a:gd name="connsiteY43439" fmla="*/ 39274 h 7458372"/>
              <a:gd name="connsiteX43440" fmla="*/ 2000603 w 10505529"/>
              <a:gd name="connsiteY43440" fmla="*/ 35148 h 7458372"/>
              <a:gd name="connsiteX43441" fmla="*/ 2001534 w 10505529"/>
              <a:gd name="connsiteY43441" fmla="*/ 29690 h 7458372"/>
              <a:gd name="connsiteX43442" fmla="*/ 2000603 w 10505529"/>
              <a:gd name="connsiteY43442" fmla="*/ 24498 h 7458372"/>
              <a:gd name="connsiteX43443" fmla="*/ 1997940 w 10505529"/>
              <a:gd name="connsiteY43443" fmla="*/ 20239 h 7458372"/>
              <a:gd name="connsiteX43444" fmla="*/ 1993947 w 10505529"/>
              <a:gd name="connsiteY43444" fmla="*/ 17576 h 7458372"/>
              <a:gd name="connsiteX43445" fmla="*/ 1988888 w 10505529"/>
              <a:gd name="connsiteY43445" fmla="*/ 16645 h 7458372"/>
              <a:gd name="connsiteX43446" fmla="*/ 2206400 w 10505529"/>
              <a:gd name="connsiteY43446" fmla="*/ 16645 h 7458372"/>
              <a:gd name="connsiteX43447" fmla="*/ 2196417 w 10505529"/>
              <a:gd name="connsiteY43447" fmla="*/ 20239 h 7458372"/>
              <a:gd name="connsiteX43448" fmla="*/ 2192822 w 10505529"/>
              <a:gd name="connsiteY43448" fmla="*/ 29690 h 7458372"/>
              <a:gd name="connsiteX43449" fmla="*/ 2196417 w 10505529"/>
              <a:gd name="connsiteY43449" fmla="*/ 39141 h 7458372"/>
              <a:gd name="connsiteX43450" fmla="*/ 2206400 w 10505529"/>
              <a:gd name="connsiteY43450" fmla="*/ 42602 h 7458372"/>
              <a:gd name="connsiteX43451" fmla="*/ 2211725 w 10505529"/>
              <a:gd name="connsiteY43451" fmla="*/ 41670 h 7458372"/>
              <a:gd name="connsiteX43452" fmla="*/ 2215452 w 10505529"/>
              <a:gd name="connsiteY43452" fmla="*/ 39274 h 7458372"/>
              <a:gd name="connsiteX43453" fmla="*/ 2218115 w 10505529"/>
              <a:gd name="connsiteY43453" fmla="*/ 35148 h 7458372"/>
              <a:gd name="connsiteX43454" fmla="*/ 2219046 w 10505529"/>
              <a:gd name="connsiteY43454" fmla="*/ 29690 h 7458372"/>
              <a:gd name="connsiteX43455" fmla="*/ 2218115 w 10505529"/>
              <a:gd name="connsiteY43455" fmla="*/ 24498 h 7458372"/>
              <a:gd name="connsiteX43456" fmla="*/ 2215452 w 10505529"/>
              <a:gd name="connsiteY43456" fmla="*/ 20239 h 7458372"/>
              <a:gd name="connsiteX43457" fmla="*/ 2211459 w 10505529"/>
              <a:gd name="connsiteY43457" fmla="*/ 17576 h 7458372"/>
              <a:gd name="connsiteX43458" fmla="*/ 2206400 w 10505529"/>
              <a:gd name="connsiteY43458" fmla="*/ 16645 h 7458372"/>
              <a:gd name="connsiteX43459" fmla="*/ 2424045 w 10505529"/>
              <a:gd name="connsiteY43459" fmla="*/ 16645 h 7458372"/>
              <a:gd name="connsiteX43460" fmla="*/ 2414062 w 10505529"/>
              <a:gd name="connsiteY43460" fmla="*/ 20239 h 7458372"/>
              <a:gd name="connsiteX43461" fmla="*/ 2410468 w 10505529"/>
              <a:gd name="connsiteY43461" fmla="*/ 29690 h 7458372"/>
              <a:gd name="connsiteX43462" fmla="*/ 2414062 w 10505529"/>
              <a:gd name="connsiteY43462" fmla="*/ 39141 h 7458372"/>
              <a:gd name="connsiteX43463" fmla="*/ 2424045 w 10505529"/>
              <a:gd name="connsiteY43463" fmla="*/ 42602 h 7458372"/>
              <a:gd name="connsiteX43464" fmla="*/ 2429371 w 10505529"/>
              <a:gd name="connsiteY43464" fmla="*/ 41670 h 7458372"/>
              <a:gd name="connsiteX43465" fmla="*/ 2433098 w 10505529"/>
              <a:gd name="connsiteY43465" fmla="*/ 39274 h 7458372"/>
              <a:gd name="connsiteX43466" fmla="*/ 2435761 w 10505529"/>
              <a:gd name="connsiteY43466" fmla="*/ 35148 h 7458372"/>
              <a:gd name="connsiteX43467" fmla="*/ 2436692 w 10505529"/>
              <a:gd name="connsiteY43467" fmla="*/ 29690 h 7458372"/>
              <a:gd name="connsiteX43468" fmla="*/ 2435761 w 10505529"/>
              <a:gd name="connsiteY43468" fmla="*/ 24498 h 7458372"/>
              <a:gd name="connsiteX43469" fmla="*/ 2433098 w 10505529"/>
              <a:gd name="connsiteY43469" fmla="*/ 20239 h 7458372"/>
              <a:gd name="connsiteX43470" fmla="*/ 2429105 w 10505529"/>
              <a:gd name="connsiteY43470" fmla="*/ 17576 h 7458372"/>
              <a:gd name="connsiteX43471" fmla="*/ 2424045 w 10505529"/>
              <a:gd name="connsiteY43471" fmla="*/ 16645 h 7458372"/>
              <a:gd name="connsiteX43472" fmla="*/ 2641691 w 10505529"/>
              <a:gd name="connsiteY43472" fmla="*/ 16644 h 7458372"/>
              <a:gd name="connsiteX43473" fmla="*/ 2631708 w 10505529"/>
              <a:gd name="connsiteY43473" fmla="*/ 20238 h 7458372"/>
              <a:gd name="connsiteX43474" fmla="*/ 2628113 w 10505529"/>
              <a:gd name="connsiteY43474" fmla="*/ 29690 h 7458372"/>
              <a:gd name="connsiteX43475" fmla="*/ 2631708 w 10505529"/>
              <a:gd name="connsiteY43475" fmla="*/ 39141 h 7458372"/>
              <a:gd name="connsiteX43476" fmla="*/ 2641691 w 10505529"/>
              <a:gd name="connsiteY43476" fmla="*/ 42602 h 7458372"/>
              <a:gd name="connsiteX43477" fmla="*/ 2647016 w 10505529"/>
              <a:gd name="connsiteY43477" fmla="*/ 41670 h 7458372"/>
              <a:gd name="connsiteX43478" fmla="*/ 2650743 w 10505529"/>
              <a:gd name="connsiteY43478" fmla="*/ 39274 h 7458372"/>
              <a:gd name="connsiteX43479" fmla="*/ 2653406 w 10505529"/>
              <a:gd name="connsiteY43479" fmla="*/ 35148 h 7458372"/>
              <a:gd name="connsiteX43480" fmla="*/ 2654337 w 10505529"/>
              <a:gd name="connsiteY43480" fmla="*/ 29690 h 7458372"/>
              <a:gd name="connsiteX43481" fmla="*/ 2653406 w 10505529"/>
              <a:gd name="connsiteY43481" fmla="*/ 24498 h 7458372"/>
              <a:gd name="connsiteX43482" fmla="*/ 2650743 w 10505529"/>
              <a:gd name="connsiteY43482" fmla="*/ 20238 h 7458372"/>
              <a:gd name="connsiteX43483" fmla="*/ 2646750 w 10505529"/>
              <a:gd name="connsiteY43483" fmla="*/ 17575 h 7458372"/>
              <a:gd name="connsiteX43484" fmla="*/ 2641691 w 10505529"/>
              <a:gd name="connsiteY43484" fmla="*/ 16644 h 7458372"/>
              <a:gd name="connsiteX43485" fmla="*/ 2859336 w 10505529"/>
              <a:gd name="connsiteY43485" fmla="*/ 16644 h 7458372"/>
              <a:gd name="connsiteX43486" fmla="*/ 2849353 w 10505529"/>
              <a:gd name="connsiteY43486" fmla="*/ 20238 h 7458372"/>
              <a:gd name="connsiteX43487" fmla="*/ 2845759 w 10505529"/>
              <a:gd name="connsiteY43487" fmla="*/ 29690 h 7458372"/>
              <a:gd name="connsiteX43488" fmla="*/ 2849353 w 10505529"/>
              <a:gd name="connsiteY43488" fmla="*/ 39141 h 7458372"/>
              <a:gd name="connsiteX43489" fmla="*/ 2859336 w 10505529"/>
              <a:gd name="connsiteY43489" fmla="*/ 42602 h 7458372"/>
              <a:gd name="connsiteX43490" fmla="*/ 2864661 w 10505529"/>
              <a:gd name="connsiteY43490" fmla="*/ 41670 h 7458372"/>
              <a:gd name="connsiteX43491" fmla="*/ 2868388 w 10505529"/>
              <a:gd name="connsiteY43491" fmla="*/ 39274 h 7458372"/>
              <a:gd name="connsiteX43492" fmla="*/ 2871051 w 10505529"/>
              <a:gd name="connsiteY43492" fmla="*/ 35148 h 7458372"/>
              <a:gd name="connsiteX43493" fmla="*/ 2871982 w 10505529"/>
              <a:gd name="connsiteY43493" fmla="*/ 29690 h 7458372"/>
              <a:gd name="connsiteX43494" fmla="*/ 2871051 w 10505529"/>
              <a:gd name="connsiteY43494" fmla="*/ 24497 h 7458372"/>
              <a:gd name="connsiteX43495" fmla="*/ 2868388 w 10505529"/>
              <a:gd name="connsiteY43495" fmla="*/ 20238 h 7458372"/>
              <a:gd name="connsiteX43496" fmla="*/ 2864395 w 10505529"/>
              <a:gd name="connsiteY43496" fmla="*/ 17575 h 7458372"/>
              <a:gd name="connsiteX43497" fmla="*/ 2859336 w 10505529"/>
              <a:gd name="connsiteY43497" fmla="*/ 16644 h 7458372"/>
              <a:gd name="connsiteX43498" fmla="*/ 3077114 w 10505529"/>
              <a:gd name="connsiteY43498" fmla="*/ 16644 h 7458372"/>
              <a:gd name="connsiteX43499" fmla="*/ 3067131 w 10505529"/>
              <a:gd name="connsiteY43499" fmla="*/ 20238 h 7458372"/>
              <a:gd name="connsiteX43500" fmla="*/ 3063404 w 10505529"/>
              <a:gd name="connsiteY43500" fmla="*/ 29689 h 7458372"/>
              <a:gd name="connsiteX43501" fmla="*/ 3066998 w 10505529"/>
              <a:gd name="connsiteY43501" fmla="*/ 39141 h 7458372"/>
              <a:gd name="connsiteX43502" fmla="*/ 3076981 w 10505529"/>
              <a:gd name="connsiteY43502" fmla="*/ 42602 h 7458372"/>
              <a:gd name="connsiteX43503" fmla="*/ 3082439 w 10505529"/>
              <a:gd name="connsiteY43503" fmla="*/ 41670 h 7458372"/>
              <a:gd name="connsiteX43504" fmla="*/ 3086167 w 10505529"/>
              <a:gd name="connsiteY43504" fmla="*/ 39274 h 7458372"/>
              <a:gd name="connsiteX43505" fmla="*/ 3088829 w 10505529"/>
              <a:gd name="connsiteY43505" fmla="*/ 35148 h 7458372"/>
              <a:gd name="connsiteX43506" fmla="*/ 3089762 w 10505529"/>
              <a:gd name="connsiteY43506" fmla="*/ 29689 h 7458372"/>
              <a:gd name="connsiteX43507" fmla="*/ 3088829 w 10505529"/>
              <a:gd name="connsiteY43507" fmla="*/ 24497 h 7458372"/>
              <a:gd name="connsiteX43508" fmla="*/ 3086167 w 10505529"/>
              <a:gd name="connsiteY43508" fmla="*/ 20238 h 7458372"/>
              <a:gd name="connsiteX43509" fmla="*/ 3082174 w 10505529"/>
              <a:gd name="connsiteY43509" fmla="*/ 17575 h 7458372"/>
              <a:gd name="connsiteX43510" fmla="*/ 3077114 w 10505529"/>
              <a:gd name="connsiteY43510" fmla="*/ 16644 h 7458372"/>
              <a:gd name="connsiteX43511" fmla="*/ 3294626 w 10505529"/>
              <a:gd name="connsiteY43511" fmla="*/ 16644 h 7458372"/>
              <a:gd name="connsiteX43512" fmla="*/ 3284643 w 10505529"/>
              <a:gd name="connsiteY43512" fmla="*/ 20238 h 7458372"/>
              <a:gd name="connsiteX43513" fmla="*/ 3281049 w 10505529"/>
              <a:gd name="connsiteY43513" fmla="*/ 29689 h 7458372"/>
              <a:gd name="connsiteX43514" fmla="*/ 3284643 w 10505529"/>
              <a:gd name="connsiteY43514" fmla="*/ 39141 h 7458372"/>
              <a:gd name="connsiteX43515" fmla="*/ 3294626 w 10505529"/>
              <a:gd name="connsiteY43515" fmla="*/ 42602 h 7458372"/>
              <a:gd name="connsiteX43516" fmla="*/ 3299952 w 10505529"/>
              <a:gd name="connsiteY43516" fmla="*/ 41670 h 7458372"/>
              <a:gd name="connsiteX43517" fmla="*/ 3303679 w 10505529"/>
              <a:gd name="connsiteY43517" fmla="*/ 39273 h 7458372"/>
              <a:gd name="connsiteX43518" fmla="*/ 3306342 w 10505529"/>
              <a:gd name="connsiteY43518" fmla="*/ 35147 h 7458372"/>
              <a:gd name="connsiteX43519" fmla="*/ 3307406 w 10505529"/>
              <a:gd name="connsiteY43519" fmla="*/ 29689 h 7458372"/>
              <a:gd name="connsiteX43520" fmla="*/ 3306342 w 10505529"/>
              <a:gd name="connsiteY43520" fmla="*/ 24497 h 7458372"/>
              <a:gd name="connsiteX43521" fmla="*/ 3303679 w 10505529"/>
              <a:gd name="connsiteY43521" fmla="*/ 20238 h 7458372"/>
              <a:gd name="connsiteX43522" fmla="*/ 3299686 w 10505529"/>
              <a:gd name="connsiteY43522" fmla="*/ 17575 h 7458372"/>
              <a:gd name="connsiteX43523" fmla="*/ 3294626 w 10505529"/>
              <a:gd name="connsiteY43523" fmla="*/ 16644 h 7458372"/>
              <a:gd name="connsiteX43524" fmla="*/ 3512138 w 10505529"/>
              <a:gd name="connsiteY43524" fmla="*/ 16644 h 7458372"/>
              <a:gd name="connsiteX43525" fmla="*/ 3502155 w 10505529"/>
              <a:gd name="connsiteY43525" fmla="*/ 20238 h 7458372"/>
              <a:gd name="connsiteX43526" fmla="*/ 3498561 w 10505529"/>
              <a:gd name="connsiteY43526" fmla="*/ 29689 h 7458372"/>
              <a:gd name="connsiteX43527" fmla="*/ 3502155 w 10505529"/>
              <a:gd name="connsiteY43527" fmla="*/ 39140 h 7458372"/>
              <a:gd name="connsiteX43528" fmla="*/ 3512138 w 10505529"/>
              <a:gd name="connsiteY43528" fmla="*/ 42601 h 7458372"/>
              <a:gd name="connsiteX43529" fmla="*/ 3517464 w 10505529"/>
              <a:gd name="connsiteY43529" fmla="*/ 41669 h 7458372"/>
              <a:gd name="connsiteX43530" fmla="*/ 3521191 w 10505529"/>
              <a:gd name="connsiteY43530" fmla="*/ 39273 h 7458372"/>
              <a:gd name="connsiteX43531" fmla="*/ 3523854 w 10505529"/>
              <a:gd name="connsiteY43531" fmla="*/ 35147 h 7458372"/>
              <a:gd name="connsiteX43532" fmla="*/ 3524919 w 10505529"/>
              <a:gd name="connsiteY43532" fmla="*/ 29689 h 7458372"/>
              <a:gd name="connsiteX43533" fmla="*/ 3523854 w 10505529"/>
              <a:gd name="connsiteY43533" fmla="*/ 24497 h 7458372"/>
              <a:gd name="connsiteX43534" fmla="*/ 3521191 w 10505529"/>
              <a:gd name="connsiteY43534" fmla="*/ 20238 h 7458372"/>
              <a:gd name="connsiteX43535" fmla="*/ 3517198 w 10505529"/>
              <a:gd name="connsiteY43535" fmla="*/ 17575 h 7458372"/>
              <a:gd name="connsiteX43536" fmla="*/ 3512138 w 10505529"/>
              <a:gd name="connsiteY43536" fmla="*/ 16644 h 7458372"/>
              <a:gd name="connsiteX43537" fmla="*/ 3729784 w 10505529"/>
              <a:gd name="connsiteY43537" fmla="*/ 16644 h 7458372"/>
              <a:gd name="connsiteX43538" fmla="*/ 3719801 w 10505529"/>
              <a:gd name="connsiteY43538" fmla="*/ 20238 h 7458372"/>
              <a:gd name="connsiteX43539" fmla="*/ 3716207 w 10505529"/>
              <a:gd name="connsiteY43539" fmla="*/ 29689 h 7458372"/>
              <a:gd name="connsiteX43540" fmla="*/ 3719801 w 10505529"/>
              <a:gd name="connsiteY43540" fmla="*/ 39140 h 7458372"/>
              <a:gd name="connsiteX43541" fmla="*/ 3729784 w 10505529"/>
              <a:gd name="connsiteY43541" fmla="*/ 42601 h 7458372"/>
              <a:gd name="connsiteX43542" fmla="*/ 3735109 w 10505529"/>
              <a:gd name="connsiteY43542" fmla="*/ 41669 h 7458372"/>
              <a:gd name="connsiteX43543" fmla="*/ 3738836 w 10505529"/>
              <a:gd name="connsiteY43543" fmla="*/ 39273 h 7458372"/>
              <a:gd name="connsiteX43544" fmla="*/ 3741499 w 10505529"/>
              <a:gd name="connsiteY43544" fmla="*/ 35147 h 7458372"/>
              <a:gd name="connsiteX43545" fmla="*/ 3742563 w 10505529"/>
              <a:gd name="connsiteY43545" fmla="*/ 29689 h 7458372"/>
              <a:gd name="connsiteX43546" fmla="*/ 3741499 w 10505529"/>
              <a:gd name="connsiteY43546" fmla="*/ 24497 h 7458372"/>
              <a:gd name="connsiteX43547" fmla="*/ 3738836 w 10505529"/>
              <a:gd name="connsiteY43547" fmla="*/ 20238 h 7458372"/>
              <a:gd name="connsiteX43548" fmla="*/ 3734843 w 10505529"/>
              <a:gd name="connsiteY43548" fmla="*/ 17575 h 7458372"/>
              <a:gd name="connsiteX43549" fmla="*/ 3729784 w 10505529"/>
              <a:gd name="connsiteY43549" fmla="*/ 16644 h 7458372"/>
              <a:gd name="connsiteX43550" fmla="*/ 3947430 w 10505529"/>
              <a:gd name="connsiteY43550" fmla="*/ 16644 h 7458372"/>
              <a:gd name="connsiteX43551" fmla="*/ 3937447 w 10505529"/>
              <a:gd name="connsiteY43551" fmla="*/ 20238 h 7458372"/>
              <a:gd name="connsiteX43552" fmla="*/ 3933853 w 10505529"/>
              <a:gd name="connsiteY43552" fmla="*/ 29689 h 7458372"/>
              <a:gd name="connsiteX43553" fmla="*/ 3937447 w 10505529"/>
              <a:gd name="connsiteY43553" fmla="*/ 39140 h 7458372"/>
              <a:gd name="connsiteX43554" fmla="*/ 3947430 w 10505529"/>
              <a:gd name="connsiteY43554" fmla="*/ 42601 h 7458372"/>
              <a:gd name="connsiteX43555" fmla="*/ 3952755 w 10505529"/>
              <a:gd name="connsiteY43555" fmla="*/ 41669 h 7458372"/>
              <a:gd name="connsiteX43556" fmla="*/ 3956482 w 10505529"/>
              <a:gd name="connsiteY43556" fmla="*/ 39273 h 7458372"/>
              <a:gd name="connsiteX43557" fmla="*/ 3959145 w 10505529"/>
              <a:gd name="connsiteY43557" fmla="*/ 35147 h 7458372"/>
              <a:gd name="connsiteX43558" fmla="*/ 3960209 w 10505529"/>
              <a:gd name="connsiteY43558" fmla="*/ 29689 h 7458372"/>
              <a:gd name="connsiteX43559" fmla="*/ 3959145 w 10505529"/>
              <a:gd name="connsiteY43559" fmla="*/ 24497 h 7458372"/>
              <a:gd name="connsiteX43560" fmla="*/ 3956482 w 10505529"/>
              <a:gd name="connsiteY43560" fmla="*/ 20238 h 7458372"/>
              <a:gd name="connsiteX43561" fmla="*/ 3952489 w 10505529"/>
              <a:gd name="connsiteY43561" fmla="*/ 17575 h 7458372"/>
              <a:gd name="connsiteX43562" fmla="*/ 3947430 w 10505529"/>
              <a:gd name="connsiteY43562" fmla="*/ 16644 h 7458372"/>
              <a:gd name="connsiteX43563" fmla="*/ 4165068 w 10505529"/>
              <a:gd name="connsiteY43563" fmla="*/ 16644 h 7458372"/>
              <a:gd name="connsiteX43564" fmla="*/ 4155084 w 10505529"/>
              <a:gd name="connsiteY43564" fmla="*/ 20238 h 7458372"/>
              <a:gd name="connsiteX43565" fmla="*/ 4151490 w 10505529"/>
              <a:gd name="connsiteY43565" fmla="*/ 29689 h 7458372"/>
              <a:gd name="connsiteX43566" fmla="*/ 4155084 w 10505529"/>
              <a:gd name="connsiteY43566" fmla="*/ 39140 h 7458372"/>
              <a:gd name="connsiteX43567" fmla="*/ 4165068 w 10505529"/>
              <a:gd name="connsiteY43567" fmla="*/ 42601 h 7458372"/>
              <a:gd name="connsiteX43568" fmla="*/ 4170392 w 10505529"/>
              <a:gd name="connsiteY43568" fmla="*/ 41669 h 7458372"/>
              <a:gd name="connsiteX43569" fmla="*/ 4174119 w 10505529"/>
              <a:gd name="connsiteY43569" fmla="*/ 39273 h 7458372"/>
              <a:gd name="connsiteX43570" fmla="*/ 4176782 w 10505529"/>
              <a:gd name="connsiteY43570" fmla="*/ 35147 h 7458372"/>
              <a:gd name="connsiteX43571" fmla="*/ 4177847 w 10505529"/>
              <a:gd name="connsiteY43571" fmla="*/ 29689 h 7458372"/>
              <a:gd name="connsiteX43572" fmla="*/ 4176782 w 10505529"/>
              <a:gd name="connsiteY43572" fmla="*/ 24497 h 7458372"/>
              <a:gd name="connsiteX43573" fmla="*/ 4174119 w 10505529"/>
              <a:gd name="connsiteY43573" fmla="*/ 20238 h 7458372"/>
              <a:gd name="connsiteX43574" fmla="*/ 4170126 w 10505529"/>
              <a:gd name="connsiteY43574" fmla="*/ 17575 h 7458372"/>
              <a:gd name="connsiteX43575" fmla="*/ 4165068 w 10505529"/>
              <a:gd name="connsiteY43575" fmla="*/ 16644 h 7458372"/>
              <a:gd name="connsiteX43576" fmla="*/ 4382713 w 10505529"/>
              <a:gd name="connsiteY43576" fmla="*/ 16644 h 7458372"/>
              <a:gd name="connsiteX43577" fmla="*/ 4372730 w 10505529"/>
              <a:gd name="connsiteY43577" fmla="*/ 20238 h 7458372"/>
              <a:gd name="connsiteX43578" fmla="*/ 4369136 w 10505529"/>
              <a:gd name="connsiteY43578" fmla="*/ 29689 h 7458372"/>
              <a:gd name="connsiteX43579" fmla="*/ 4372730 w 10505529"/>
              <a:gd name="connsiteY43579" fmla="*/ 39140 h 7458372"/>
              <a:gd name="connsiteX43580" fmla="*/ 4382713 w 10505529"/>
              <a:gd name="connsiteY43580" fmla="*/ 42601 h 7458372"/>
              <a:gd name="connsiteX43581" fmla="*/ 4388038 w 10505529"/>
              <a:gd name="connsiteY43581" fmla="*/ 41669 h 7458372"/>
              <a:gd name="connsiteX43582" fmla="*/ 4391765 w 10505529"/>
              <a:gd name="connsiteY43582" fmla="*/ 39273 h 7458372"/>
              <a:gd name="connsiteX43583" fmla="*/ 4394428 w 10505529"/>
              <a:gd name="connsiteY43583" fmla="*/ 35147 h 7458372"/>
              <a:gd name="connsiteX43584" fmla="*/ 4395493 w 10505529"/>
              <a:gd name="connsiteY43584" fmla="*/ 29689 h 7458372"/>
              <a:gd name="connsiteX43585" fmla="*/ 4394428 w 10505529"/>
              <a:gd name="connsiteY43585" fmla="*/ 24497 h 7458372"/>
              <a:gd name="connsiteX43586" fmla="*/ 4391765 w 10505529"/>
              <a:gd name="connsiteY43586" fmla="*/ 20238 h 7458372"/>
              <a:gd name="connsiteX43587" fmla="*/ 4387772 w 10505529"/>
              <a:gd name="connsiteY43587" fmla="*/ 17575 h 7458372"/>
              <a:gd name="connsiteX43588" fmla="*/ 4382713 w 10505529"/>
              <a:gd name="connsiteY43588" fmla="*/ 16644 h 7458372"/>
              <a:gd name="connsiteX43589" fmla="*/ 4600226 w 10505529"/>
              <a:gd name="connsiteY43589" fmla="*/ 16643 h 7458372"/>
              <a:gd name="connsiteX43590" fmla="*/ 4590242 w 10505529"/>
              <a:gd name="connsiteY43590" fmla="*/ 20237 h 7458372"/>
              <a:gd name="connsiteX43591" fmla="*/ 4586648 w 10505529"/>
              <a:gd name="connsiteY43591" fmla="*/ 29689 h 7458372"/>
              <a:gd name="connsiteX43592" fmla="*/ 4590242 w 10505529"/>
              <a:gd name="connsiteY43592" fmla="*/ 39140 h 7458372"/>
              <a:gd name="connsiteX43593" fmla="*/ 4600226 w 10505529"/>
              <a:gd name="connsiteY43593" fmla="*/ 42601 h 7458372"/>
              <a:gd name="connsiteX43594" fmla="*/ 4605550 w 10505529"/>
              <a:gd name="connsiteY43594" fmla="*/ 41669 h 7458372"/>
              <a:gd name="connsiteX43595" fmla="*/ 4609277 w 10505529"/>
              <a:gd name="connsiteY43595" fmla="*/ 39273 h 7458372"/>
              <a:gd name="connsiteX43596" fmla="*/ 4611940 w 10505529"/>
              <a:gd name="connsiteY43596" fmla="*/ 35147 h 7458372"/>
              <a:gd name="connsiteX43597" fmla="*/ 4613005 w 10505529"/>
              <a:gd name="connsiteY43597" fmla="*/ 29689 h 7458372"/>
              <a:gd name="connsiteX43598" fmla="*/ 4611940 w 10505529"/>
              <a:gd name="connsiteY43598" fmla="*/ 24497 h 7458372"/>
              <a:gd name="connsiteX43599" fmla="*/ 4609277 w 10505529"/>
              <a:gd name="connsiteY43599" fmla="*/ 20237 h 7458372"/>
              <a:gd name="connsiteX43600" fmla="*/ 4605284 w 10505529"/>
              <a:gd name="connsiteY43600" fmla="*/ 17574 h 7458372"/>
              <a:gd name="connsiteX43601" fmla="*/ 4600226 w 10505529"/>
              <a:gd name="connsiteY43601" fmla="*/ 16643 h 7458372"/>
              <a:gd name="connsiteX43602" fmla="*/ 4817870 w 10505529"/>
              <a:gd name="connsiteY43602" fmla="*/ 16643 h 7458372"/>
              <a:gd name="connsiteX43603" fmla="*/ 4807887 w 10505529"/>
              <a:gd name="connsiteY43603" fmla="*/ 20237 h 7458372"/>
              <a:gd name="connsiteX43604" fmla="*/ 4804293 w 10505529"/>
              <a:gd name="connsiteY43604" fmla="*/ 29689 h 7458372"/>
              <a:gd name="connsiteX43605" fmla="*/ 4807887 w 10505529"/>
              <a:gd name="connsiteY43605" fmla="*/ 39140 h 7458372"/>
              <a:gd name="connsiteX43606" fmla="*/ 4817870 w 10505529"/>
              <a:gd name="connsiteY43606" fmla="*/ 42601 h 7458372"/>
              <a:gd name="connsiteX43607" fmla="*/ 4823195 w 10505529"/>
              <a:gd name="connsiteY43607" fmla="*/ 41669 h 7458372"/>
              <a:gd name="connsiteX43608" fmla="*/ 4826922 w 10505529"/>
              <a:gd name="connsiteY43608" fmla="*/ 39273 h 7458372"/>
              <a:gd name="connsiteX43609" fmla="*/ 4829585 w 10505529"/>
              <a:gd name="connsiteY43609" fmla="*/ 35147 h 7458372"/>
              <a:gd name="connsiteX43610" fmla="*/ 4830650 w 10505529"/>
              <a:gd name="connsiteY43610" fmla="*/ 29689 h 7458372"/>
              <a:gd name="connsiteX43611" fmla="*/ 4829585 w 10505529"/>
              <a:gd name="connsiteY43611" fmla="*/ 24496 h 7458372"/>
              <a:gd name="connsiteX43612" fmla="*/ 4826922 w 10505529"/>
              <a:gd name="connsiteY43612" fmla="*/ 20237 h 7458372"/>
              <a:gd name="connsiteX43613" fmla="*/ 4822929 w 10505529"/>
              <a:gd name="connsiteY43613" fmla="*/ 17574 h 7458372"/>
              <a:gd name="connsiteX43614" fmla="*/ 4817870 w 10505529"/>
              <a:gd name="connsiteY43614" fmla="*/ 16643 h 7458372"/>
              <a:gd name="connsiteX43615" fmla="*/ 5035515 w 10505529"/>
              <a:gd name="connsiteY43615" fmla="*/ 16643 h 7458372"/>
              <a:gd name="connsiteX43616" fmla="*/ 5025532 w 10505529"/>
              <a:gd name="connsiteY43616" fmla="*/ 20237 h 7458372"/>
              <a:gd name="connsiteX43617" fmla="*/ 5021938 w 10505529"/>
              <a:gd name="connsiteY43617" fmla="*/ 29688 h 7458372"/>
              <a:gd name="connsiteX43618" fmla="*/ 5025532 w 10505529"/>
              <a:gd name="connsiteY43618" fmla="*/ 39140 h 7458372"/>
              <a:gd name="connsiteX43619" fmla="*/ 5035515 w 10505529"/>
              <a:gd name="connsiteY43619" fmla="*/ 42601 h 7458372"/>
              <a:gd name="connsiteX43620" fmla="*/ 5040840 w 10505529"/>
              <a:gd name="connsiteY43620" fmla="*/ 41669 h 7458372"/>
              <a:gd name="connsiteX43621" fmla="*/ 5044567 w 10505529"/>
              <a:gd name="connsiteY43621" fmla="*/ 39273 h 7458372"/>
              <a:gd name="connsiteX43622" fmla="*/ 5047230 w 10505529"/>
              <a:gd name="connsiteY43622" fmla="*/ 35147 h 7458372"/>
              <a:gd name="connsiteX43623" fmla="*/ 5048294 w 10505529"/>
              <a:gd name="connsiteY43623" fmla="*/ 29688 h 7458372"/>
              <a:gd name="connsiteX43624" fmla="*/ 5047230 w 10505529"/>
              <a:gd name="connsiteY43624" fmla="*/ 24496 h 7458372"/>
              <a:gd name="connsiteX43625" fmla="*/ 5044567 w 10505529"/>
              <a:gd name="connsiteY43625" fmla="*/ 20237 h 7458372"/>
              <a:gd name="connsiteX43626" fmla="*/ 5040574 w 10505529"/>
              <a:gd name="connsiteY43626" fmla="*/ 17574 h 7458372"/>
              <a:gd name="connsiteX43627" fmla="*/ 5035515 w 10505529"/>
              <a:gd name="connsiteY43627" fmla="*/ 16643 h 7458372"/>
              <a:gd name="connsiteX43628" fmla="*/ 5253160 w 10505529"/>
              <a:gd name="connsiteY43628" fmla="*/ 16643 h 7458372"/>
              <a:gd name="connsiteX43629" fmla="*/ 5243177 w 10505529"/>
              <a:gd name="connsiteY43629" fmla="*/ 20237 h 7458372"/>
              <a:gd name="connsiteX43630" fmla="*/ 5239583 w 10505529"/>
              <a:gd name="connsiteY43630" fmla="*/ 29688 h 7458372"/>
              <a:gd name="connsiteX43631" fmla="*/ 5243177 w 10505529"/>
              <a:gd name="connsiteY43631" fmla="*/ 39140 h 7458372"/>
              <a:gd name="connsiteX43632" fmla="*/ 5253160 w 10505529"/>
              <a:gd name="connsiteY43632" fmla="*/ 42601 h 7458372"/>
              <a:gd name="connsiteX43633" fmla="*/ 5258485 w 10505529"/>
              <a:gd name="connsiteY43633" fmla="*/ 41669 h 7458372"/>
              <a:gd name="connsiteX43634" fmla="*/ 5262212 w 10505529"/>
              <a:gd name="connsiteY43634" fmla="*/ 39272 h 7458372"/>
              <a:gd name="connsiteX43635" fmla="*/ 5264875 w 10505529"/>
              <a:gd name="connsiteY43635" fmla="*/ 35146 h 7458372"/>
              <a:gd name="connsiteX43636" fmla="*/ 5265939 w 10505529"/>
              <a:gd name="connsiteY43636" fmla="*/ 29688 h 7458372"/>
              <a:gd name="connsiteX43637" fmla="*/ 5264875 w 10505529"/>
              <a:gd name="connsiteY43637" fmla="*/ 24496 h 7458372"/>
              <a:gd name="connsiteX43638" fmla="*/ 5262212 w 10505529"/>
              <a:gd name="connsiteY43638" fmla="*/ 20237 h 7458372"/>
              <a:gd name="connsiteX43639" fmla="*/ 5258219 w 10505529"/>
              <a:gd name="connsiteY43639" fmla="*/ 17574 h 7458372"/>
              <a:gd name="connsiteX43640" fmla="*/ 5253160 w 10505529"/>
              <a:gd name="connsiteY43640" fmla="*/ 16643 h 7458372"/>
              <a:gd name="connsiteX43641" fmla="*/ 5470806 w 10505529"/>
              <a:gd name="connsiteY43641" fmla="*/ 16643 h 7458372"/>
              <a:gd name="connsiteX43642" fmla="*/ 5460822 w 10505529"/>
              <a:gd name="connsiteY43642" fmla="*/ 20237 h 7458372"/>
              <a:gd name="connsiteX43643" fmla="*/ 5457228 w 10505529"/>
              <a:gd name="connsiteY43643" fmla="*/ 29688 h 7458372"/>
              <a:gd name="connsiteX43644" fmla="*/ 5460822 w 10505529"/>
              <a:gd name="connsiteY43644" fmla="*/ 39139 h 7458372"/>
              <a:gd name="connsiteX43645" fmla="*/ 5470806 w 10505529"/>
              <a:gd name="connsiteY43645" fmla="*/ 42600 h 7458372"/>
              <a:gd name="connsiteX43646" fmla="*/ 5476130 w 10505529"/>
              <a:gd name="connsiteY43646" fmla="*/ 41668 h 7458372"/>
              <a:gd name="connsiteX43647" fmla="*/ 5479857 w 10505529"/>
              <a:gd name="connsiteY43647" fmla="*/ 39272 h 7458372"/>
              <a:gd name="connsiteX43648" fmla="*/ 5482520 w 10505529"/>
              <a:gd name="connsiteY43648" fmla="*/ 35146 h 7458372"/>
              <a:gd name="connsiteX43649" fmla="*/ 5483585 w 10505529"/>
              <a:gd name="connsiteY43649" fmla="*/ 29688 h 7458372"/>
              <a:gd name="connsiteX43650" fmla="*/ 5482520 w 10505529"/>
              <a:gd name="connsiteY43650" fmla="*/ 24496 h 7458372"/>
              <a:gd name="connsiteX43651" fmla="*/ 5479857 w 10505529"/>
              <a:gd name="connsiteY43651" fmla="*/ 20237 h 7458372"/>
              <a:gd name="connsiteX43652" fmla="*/ 5475864 w 10505529"/>
              <a:gd name="connsiteY43652" fmla="*/ 17574 h 7458372"/>
              <a:gd name="connsiteX43653" fmla="*/ 5470806 w 10505529"/>
              <a:gd name="connsiteY43653" fmla="*/ 16643 h 7458372"/>
              <a:gd name="connsiteX43654" fmla="*/ 5688451 w 10505529"/>
              <a:gd name="connsiteY43654" fmla="*/ 16643 h 7458372"/>
              <a:gd name="connsiteX43655" fmla="*/ 5678467 w 10505529"/>
              <a:gd name="connsiteY43655" fmla="*/ 20237 h 7458372"/>
              <a:gd name="connsiteX43656" fmla="*/ 5674873 w 10505529"/>
              <a:gd name="connsiteY43656" fmla="*/ 29688 h 7458372"/>
              <a:gd name="connsiteX43657" fmla="*/ 5678467 w 10505529"/>
              <a:gd name="connsiteY43657" fmla="*/ 39139 h 7458372"/>
              <a:gd name="connsiteX43658" fmla="*/ 5688451 w 10505529"/>
              <a:gd name="connsiteY43658" fmla="*/ 42600 h 7458372"/>
              <a:gd name="connsiteX43659" fmla="*/ 5693775 w 10505529"/>
              <a:gd name="connsiteY43659" fmla="*/ 41668 h 7458372"/>
              <a:gd name="connsiteX43660" fmla="*/ 5697502 w 10505529"/>
              <a:gd name="connsiteY43660" fmla="*/ 39272 h 7458372"/>
              <a:gd name="connsiteX43661" fmla="*/ 5700165 w 10505529"/>
              <a:gd name="connsiteY43661" fmla="*/ 35146 h 7458372"/>
              <a:gd name="connsiteX43662" fmla="*/ 5701230 w 10505529"/>
              <a:gd name="connsiteY43662" fmla="*/ 29688 h 7458372"/>
              <a:gd name="connsiteX43663" fmla="*/ 5700165 w 10505529"/>
              <a:gd name="connsiteY43663" fmla="*/ 24496 h 7458372"/>
              <a:gd name="connsiteX43664" fmla="*/ 5697502 w 10505529"/>
              <a:gd name="connsiteY43664" fmla="*/ 20237 h 7458372"/>
              <a:gd name="connsiteX43665" fmla="*/ 5693509 w 10505529"/>
              <a:gd name="connsiteY43665" fmla="*/ 17574 h 7458372"/>
              <a:gd name="connsiteX43666" fmla="*/ 5688451 w 10505529"/>
              <a:gd name="connsiteY43666" fmla="*/ 16643 h 7458372"/>
              <a:gd name="connsiteX43667" fmla="*/ 5905963 w 10505529"/>
              <a:gd name="connsiteY43667" fmla="*/ 16643 h 7458372"/>
              <a:gd name="connsiteX43668" fmla="*/ 5895979 w 10505529"/>
              <a:gd name="connsiteY43668" fmla="*/ 20237 h 7458372"/>
              <a:gd name="connsiteX43669" fmla="*/ 5892385 w 10505529"/>
              <a:gd name="connsiteY43669" fmla="*/ 29688 h 7458372"/>
              <a:gd name="connsiteX43670" fmla="*/ 5895979 w 10505529"/>
              <a:gd name="connsiteY43670" fmla="*/ 39139 h 7458372"/>
              <a:gd name="connsiteX43671" fmla="*/ 5905963 w 10505529"/>
              <a:gd name="connsiteY43671" fmla="*/ 42600 h 7458372"/>
              <a:gd name="connsiteX43672" fmla="*/ 5911287 w 10505529"/>
              <a:gd name="connsiteY43672" fmla="*/ 41668 h 7458372"/>
              <a:gd name="connsiteX43673" fmla="*/ 5915014 w 10505529"/>
              <a:gd name="connsiteY43673" fmla="*/ 39272 h 7458372"/>
              <a:gd name="connsiteX43674" fmla="*/ 5917677 w 10505529"/>
              <a:gd name="connsiteY43674" fmla="*/ 35146 h 7458372"/>
              <a:gd name="connsiteX43675" fmla="*/ 5918742 w 10505529"/>
              <a:gd name="connsiteY43675" fmla="*/ 29688 h 7458372"/>
              <a:gd name="connsiteX43676" fmla="*/ 5917677 w 10505529"/>
              <a:gd name="connsiteY43676" fmla="*/ 24496 h 7458372"/>
              <a:gd name="connsiteX43677" fmla="*/ 5915014 w 10505529"/>
              <a:gd name="connsiteY43677" fmla="*/ 20237 h 7458372"/>
              <a:gd name="connsiteX43678" fmla="*/ 5911021 w 10505529"/>
              <a:gd name="connsiteY43678" fmla="*/ 17574 h 7458372"/>
              <a:gd name="connsiteX43679" fmla="*/ 5905963 w 10505529"/>
              <a:gd name="connsiteY43679" fmla="*/ 16643 h 7458372"/>
              <a:gd name="connsiteX43680" fmla="*/ 6123608 w 10505529"/>
              <a:gd name="connsiteY43680" fmla="*/ 16643 h 7458372"/>
              <a:gd name="connsiteX43681" fmla="*/ 6113624 w 10505529"/>
              <a:gd name="connsiteY43681" fmla="*/ 20237 h 7458372"/>
              <a:gd name="connsiteX43682" fmla="*/ 6110030 w 10505529"/>
              <a:gd name="connsiteY43682" fmla="*/ 29688 h 7458372"/>
              <a:gd name="connsiteX43683" fmla="*/ 6113624 w 10505529"/>
              <a:gd name="connsiteY43683" fmla="*/ 39139 h 7458372"/>
              <a:gd name="connsiteX43684" fmla="*/ 6123608 w 10505529"/>
              <a:gd name="connsiteY43684" fmla="*/ 42600 h 7458372"/>
              <a:gd name="connsiteX43685" fmla="*/ 6128932 w 10505529"/>
              <a:gd name="connsiteY43685" fmla="*/ 41668 h 7458372"/>
              <a:gd name="connsiteX43686" fmla="*/ 6132659 w 10505529"/>
              <a:gd name="connsiteY43686" fmla="*/ 39272 h 7458372"/>
              <a:gd name="connsiteX43687" fmla="*/ 6135322 w 10505529"/>
              <a:gd name="connsiteY43687" fmla="*/ 35146 h 7458372"/>
              <a:gd name="connsiteX43688" fmla="*/ 6136387 w 10505529"/>
              <a:gd name="connsiteY43688" fmla="*/ 29688 h 7458372"/>
              <a:gd name="connsiteX43689" fmla="*/ 6135322 w 10505529"/>
              <a:gd name="connsiteY43689" fmla="*/ 24496 h 7458372"/>
              <a:gd name="connsiteX43690" fmla="*/ 6132659 w 10505529"/>
              <a:gd name="connsiteY43690" fmla="*/ 20237 h 7458372"/>
              <a:gd name="connsiteX43691" fmla="*/ 6128666 w 10505529"/>
              <a:gd name="connsiteY43691" fmla="*/ 17574 h 7458372"/>
              <a:gd name="connsiteX43692" fmla="*/ 6123608 w 10505529"/>
              <a:gd name="connsiteY43692" fmla="*/ 16643 h 7458372"/>
              <a:gd name="connsiteX43693" fmla="*/ 6341253 w 10505529"/>
              <a:gd name="connsiteY43693" fmla="*/ 16643 h 7458372"/>
              <a:gd name="connsiteX43694" fmla="*/ 6331270 w 10505529"/>
              <a:gd name="connsiteY43694" fmla="*/ 20237 h 7458372"/>
              <a:gd name="connsiteX43695" fmla="*/ 6327675 w 10505529"/>
              <a:gd name="connsiteY43695" fmla="*/ 29688 h 7458372"/>
              <a:gd name="connsiteX43696" fmla="*/ 6331270 w 10505529"/>
              <a:gd name="connsiteY43696" fmla="*/ 39139 h 7458372"/>
              <a:gd name="connsiteX43697" fmla="*/ 6341253 w 10505529"/>
              <a:gd name="connsiteY43697" fmla="*/ 42600 h 7458372"/>
              <a:gd name="connsiteX43698" fmla="*/ 6346578 w 10505529"/>
              <a:gd name="connsiteY43698" fmla="*/ 41668 h 7458372"/>
              <a:gd name="connsiteX43699" fmla="*/ 6350305 w 10505529"/>
              <a:gd name="connsiteY43699" fmla="*/ 39272 h 7458372"/>
              <a:gd name="connsiteX43700" fmla="*/ 6352968 w 10505529"/>
              <a:gd name="connsiteY43700" fmla="*/ 35146 h 7458372"/>
              <a:gd name="connsiteX43701" fmla="*/ 6354033 w 10505529"/>
              <a:gd name="connsiteY43701" fmla="*/ 29688 h 7458372"/>
              <a:gd name="connsiteX43702" fmla="*/ 6352968 w 10505529"/>
              <a:gd name="connsiteY43702" fmla="*/ 24496 h 7458372"/>
              <a:gd name="connsiteX43703" fmla="*/ 6350305 w 10505529"/>
              <a:gd name="connsiteY43703" fmla="*/ 20237 h 7458372"/>
              <a:gd name="connsiteX43704" fmla="*/ 6346312 w 10505529"/>
              <a:gd name="connsiteY43704" fmla="*/ 17574 h 7458372"/>
              <a:gd name="connsiteX43705" fmla="*/ 6341253 w 10505529"/>
              <a:gd name="connsiteY43705" fmla="*/ 16643 h 7458372"/>
              <a:gd name="connsiteX43706" fmla="*/ 6558899 w 10505529"/>
              <a:gd name="connsiteY43706" fmla="*/ 16642 h 7458372"/>
              <a:gd name="connsiteX43707" fmla="*/ 6548915 w 10505529"/>
              <a:gd name="connsiteY43707" fmla="*/ 20236 h 7458372"/>
              <a:gd name="connsiteX43708" fmla="*/ 6545321 w 10505529"/>
              <a:gd name="connsiteY43708" fmla="*/ 29688 h 7458372"/>
              <a:gd name="connsiteX43709" fmla="*/ 6548915 w 10505529"/>
              <a:gd name="connsiteY43709" fmla="*/ 39139 h 7458372"/>
              <a:gd name="connsiteX43710" fmla="*/ 6558899 w 10505529"/>
              <a:gd name="connsiteY43710" fmla="*/ 42600 h 7458372"/>
              <a:gd name="connsiteX43711" fmla="*/ 6564223 w 10505529"/>
              <a:gd name="connsiteY43711" fmla="*/ 41668 h 7458372"/>
              <a:gd name="connsiteX43712" fmla="*/ 6567950 w 10505529"/>
              <a:gd name="connsiteY43712" fmla="*/ 39272 h 7458372"/>
              <a:gd name="connsiteX43713" fmla="*/ 6570612 w 10505529"/>
              <a:gd name="connsiteY43713" fmla="*/ 35146 h 7458372"/>
              <a:gd name="connsiteX43714" fmla="*/ 6571677 w 10505529"/>
              <a:gd name="connsiteY43714" fmla="*/ 29688 h 7458372"/>
              <a:gd name="connsiteX43715" fmla="*/ 6570612 w 10505529"/>
              <a:gd name="connsiteY43715" fmla="*/ 24496 h 7458372"/>
              <a:gd name="connsiteX43716" fmla="*/ 6567950 w 10505529"/>
              <a:gd name="connsiteY43716" fmla="*/ 20236 h 7458372"/>
              <a:gd name="connsiteX43717" fmla="*/ 6563956 w 10505529"/>
              <a:gd name="connsiteY43717" fmla="*/ 17573 h 7458372"/>
              <a:gd name="connsiteX43718" fmla="*/ 6558899 w 10505529"/>
              <a:gd name="connsiteY43718" fmla="*/ 16642 h 7458372"/>
              <a:gd name="connsiteX43719" fmla="*/ 6776544 w 10505529"/>
              <a:gd name="connsiteY43719" fmla="*/ 16642 h 7458372"/>
              <a:gd name="connsiteX43720" fmla="*/ 6766560 w 10505529"/>
              <a:gd name="connsiteY43720" fmla="*/ 20236 h 7458372"/>
              <a:gd name="connsiteX43721" fmla="*/ 6762966 w 10505529"/>
              <a:gd name="connsiteY43721" fmla="*/ 29688 h 7458372"/>
              <a:gd name="connsiteX43722" fmla="*/ 6766560 w 10505529"/>
              <a:gd name="connsiteY43722" fmla="*/ 39139 h 7458372"/>
              <a:gd name="connsiteX43723" fmla="*/ 6776544 w 10505529"/>
              <a:gd name="connsiteY43723" fmla="*/ 42600 h 7458372"/>
              <a:gd name="connsiteX43724" fmla="*/ 6781869 w 10505529"/>
              <a:gd name="connsiteY43724" fmla="*/ 41668 h 7458372"/>
              <a:gd name="connsiteX43725" fmla="*/ 6785595 w 10505529"/>
              <a:gd name="connsiteY43725" fmla="*/ 39272 h 7458372"/>
              <a:gd name="connsiteX43726" fmla="*/ 6788258 w 10505529"/>
              <a:gd name="connsiteY43726" fmla="*/ 35146 h 7458372"/>
              <a:gd name="connsiteX43727" fmla="*/ 6789323 w 10505529"/>
              <a:gd name="connsiteY43727" fmla="*/ 29688 h 7458372"/>
              <a:gd name="connsiteX43728" fmla="*/ 6788258 w 10505529"/>
              <a:gd name="connsiteY43728" fmla="*/ 24495 h 7458372"/>
              <a:gd name="connsiteX43729" fmla="*/ 6785595 w 10505529"/>
              <a:gd name="connsiteY43729" fmla="*/ 20236 h 7458372"/>
              <a:gd name="connsiteX43730" fmla="*/ 6781602 w 10505529"/>
              <a:gd name="connsiteY43730" fmla="*/ 17573 h 7458372"/>
              <a:gd name="connsiteX43731" fmla="*/ 6776544 w 10505529"/>
              <a:gd name="connsiteY43731" fmla="*/ 16642 h 7458372"/>
              <a:gd name="connsiteX43732" fmla="*/ 6994056 w 10505529"/>
              <a:gd name="connsiteY43732" fmla="*/ 16642 h 7458372"/>
              <a:gd name="connsiteX43733" fmla="*/ 6984072 w 10505529"/>
              <a:gd name="connsiteY43733" fmla="*/ 20236 h 7458372"/>
              <a:gd name="connsiteX43734" fmla="*/ 6980478 w 10505529"/>
              <a:gd name="connsiteY43734" fmla="*/ 29687 h 7458372"/>
              <a:gd name="connsiteX43735" fmla="*/ 6984072 w 10505529"/>
              <a:gd name="connsiteY43735" fmla="*/ 39139 h 7458372"/>
              <a:gd name="connsiteX43736" fmla="*/ 6994056 w 10505529"/>
              <a:gd name="connsiteY43736" fmla="*/ 42600 h 7458372"/>
              <a:gd name="connsiteX43737" fmla="*/ 6999380 w 10505529"/>
              <a:gd name="connsiteY43737" fmla="*/ 41668 h 7458372"/>
              <a:gd name="connsiteX43738" fmla="*/ 7003107 w 10505529"/>
              <a:gd name="connsiteY43738" fmla="*/ 39272 h 7458372"/>
              <a:gd name="connsiteX43739" fmla="*/ 7005769 w 10505529"/>
              <a:gd name="connsiteY43739" fmla="*/ 35146 h 7458372"/>
              <a:gd name="connsiteX43740" fmla="*/ 7006834 w 10505529"/>
              <a:gd name="connsiteY43740" fmla="*/ 29687 h 7458372"/>
              <a:gd name="connsiteX43741" fmla="*/ 7005769 w 10505529"/>
              <a:gd name="connsiteY43741" fmla="*/ 24495 h 7458372"/>
              <a:gd name="connsiteX43742" fmla="*/ 7003107 w 10505529"/>
              <a:gd name="connsiteY43742" fmla="*/ 20236 h 7458372"/>
              <a:gd name="connsiteX43743" fmla="*/ 6999113 w 10505529"/>
              <a:gd name="connsiteY43743" fmla="*/ 17573 h 7458372"/>
              <a:gd name="connsiteX43744" fmla="*/ 6994056 w 10505529"/>
              <a:gd name="connsiteY43744" fmla="*/ 16642 h 7458372"/>
              <a:gd name="connsiteX43745" fmla="*/ 7211701 w 10505529"/>
              <a:gd name="connsiteY43745" fmla="*/ 16642 h 7458372"/>
              <a:gd name="connsiteX43746" fmla="*/ 7201717 w 10505529"/>
              <a:gd name="connsiteY43746" fmla="*/ 20236 h 7458372"/>
              <a:gd name="connsiteX43747" fmla="*/ 7198123 w 10505529"/>
              <a:gd name="connsiteY43747" fmla="*/ 29687 h 7458372"/>
              <a:gd name="connsiteX43748" fmla="*/ 7201717 w 10505529"/>
              <a:gd name="connsiteY43748" fmla="*/ 39139 h 7458372"/>
              <a:gd name="connsiteX43749" fmla="*/ 7211701 w 10505529"/>
              <a:gd name="connsiteY43749" fmla="*/ 42600 h 7458372"/>
              <a:gd name="connsiteX43750" fmla="*/ 7217026 w 10505529"/>
              <a:gd name="connsiteY43750" fmla="*/ 41668 h 7458372"/>
              <a:gd name="connsiteX43751" fmla="*/ 7220752 w 10505529"/>
              <a:gd name="connsiteY43751" fmla="*/ 39271 h 7458372"/>
              <a:gd name="connsiteX43752" fmla="*/ 7223415 w 10505529"/>
              <a:gd name="connsiteY43752" fmla="*/ 35145 h 7458372"/>
              <a:gd name="connsiteX43753" fmla="*/ 7224480 w 10505529"/>
              <a:gd name="connsiteY43753" fmla="*/ 29687 h 7458372"/>
              <a:gd name="connsiteX43754" fmla="*/ 7223415 w 10505529"/>
              <a:gd name="connsiteY43754" fmla="*/ 24495 h 7458372"/>
              <a:gd name="connsiteX43755" fmla="*/ 7220752 w 10505529"/>
              <a:gd name="connsiteY43755" fmla="*/ 20236 h 7458372"/>
              <a:gd name="connsiteX43756" fmla="*/ 7216759 w 10505529"/>
              <a:gd name="connsiteY43756" fmla="*/ 17573 h 7458372"/>
              <a:gd name="connsiteX43757" fmla="*/ 7211701 w 10505529"/>
              <a:gd name="connsiteY43757" fmla="*/ 16642 h 7458372"/>
              <a:gd name="connsiteX43758" fmla="*/ 7429345 w 10505529"/>
              <a:gd name="connsiteY43758" fmla="*/ 16642 h 7458372"/>
              <a:gd name="connsiteX43759" fmla="*/ 7419361 w 10505529"/>
              <a:gd name="connsiteY43759" fmla="*/ 20236 h 7458372"/>
              <a:gd name="connsiteX43760" fmla="*/ 7415768 w 10505529"/>
              <a:gd name="connsiteY43760" fmla="*/ 29687 h 7458372"/>
              <a:gd name="connsiteX43761" fmla="*/ 7419361 w 10505529"/>
              <a:gd name="connsiteY43761" fmla="*/ 39138 h 7458372"/>
              <a:gd name="connsiteX43762" fmla="*/ 7429345 w 10505529"/>
              <a:gd name="connsiteY43762" fmla="*/ 42599 h 7458372"/>
              <a:gd name="connsiteX43763" fmla="*/ 7434670 w 10505529"/>
              <a:gd name="connsiteY43763" fmla="*/ 41667 h 7458372"/>
              <a:gd name="connsiteX43764" fmla="*/ 7438397 w 10505529"/>
              <a:gd name="connsiteY43764" fmla="*/ 39271 h 7458372"/>
              <a:gd name="connsiteX43765" fmla="*/ 7441059 w 10505529"/>
              <a:gd name="connsiteY43765" fmla="*/ 35145 h 7458372"/>
              <a:gd name="connsiteX43766" fmla="*/ 7442124 w 10505529"/>
              <a:gd name="connsiteY43766" fmla="*/ 29687 h 7458372"/>
              <a:gd name="connsiteX43767" fmla="*/ 7441059 w 10505529"/>
              <a:gd name="connsiteY43767" fmla="*/ 24495 h 7458372"/>
              <a:gd name="connsiteX43768" fmla="*/ 7438397 w 10505529"/>
              <a:gd name="connsiteY43768" fmla="*/ 20236 h 7458372"/>
              <a:gd name="connsiteX43769" fmla="*/ 7434403 w 10505529"/>
              <a:gd name="connsiteY43769" fmla="*/ 17573 h 7458372"/>
              <a:gd name="connsiteX43770" fmla="*/ 7429345 w 10505529"/>
              <a:gd name="connsiteY43770" fmla="*/ 16642 h 7458372"/>
              <a:gd name="connsiteX43771" fmla="*/ 7646991 w 10505529"/>
              <a:gd name="connsiteY43771" fmla="*/ 16642 h 7458372"/>
              <a:gd name="connsiteX43772" fmla="*/ 7637007 w 10505529"/>
              <a:gd name="connsiteY43772" fmla="*/ 20236 h 7458372"/>
              <a:gd name="connsiteX43773" fmla="*/ 7633413 w 10505529"/>
              <a:gd name="connsiteY43773" fmla="*/ 29687 h 7458372"/>
              <a:gd name="connsiteX43774" fmla="*/ 7637007 w 10505529"/>
              <a:gd name="connsiteY43774" fmla="*/ 39138 h 7458372"/>
              <a:gd name="connsiteX43775" fmla="*/ 7646991 w 10505529"/>
              <a:gd name="connsiteY43775" fmla="*/ 42599 h 7458372"/>
              <a:gd name="connsiteX43776" fmla="*/ 7652315 w 10505529"/>
              <a:gd name="connsiteY43776" fmla="*/ 41667 h 7458372"/>
              <a:gd name="connsiteX43777" fmla="*/ 7656042 w 10505529"/>
              <a:gd name="connsiteY43777" fmla="*/ 39271 h 7458372"/>
              <a:gd name="connsiteX43778" fmla="*/ 7658705 w 10505529"/>
              <a:gd name="connsiteY43778" fmla="*/ 35145 h 7458372"/>
              <a:gd name="connsiteX43779" fmla="*/ 7659769 w 10505529"/>
              <a:gd name="connsiteY43779" fmla="*/ 29687 h 7458372"/>
              <a:gd name="connsiteX43780" fmla="*/ 7658705 w 10505529"/>
              <a:gd name="connsiteY43780" fmla="*/ 24495 h 7458372"/>
              <a:gd name="connsiteX43781" fmla="*/ 7656042 w 10505529"/>
              <a:gd name="connsiteY43781" fmla="*/ 20236 h 7458372"/>
              <a:gd name="connsiteX43782" fmla="*/ 7652049 w 10505529"/>
              <a:gd name="connsiteY43782" fmla="*/ 17573 h 7458372"/>
              <a:gd name="connsiteX43783" fmla="*/ 7646991 w 10505529"/>
              <a:gd name="connsiteY43783" fmla="*/ 16642 h 7458372"/>
              <a:gd name="connsiteX43784" fmla="*/ 7864636 w 10505529"/>
              <a:gd name="connsiteY43784" fmla="*/ 16642 h 7458372"/>
              <a:gd name="connsiteX43785" fmla="*/ 7854652 w 10505529"/>
              <a:gd name="connsiteY43785" fmla="*/ 20236 h 7458372"/>
              <a:gd name="connsiteX43786" fmla="*/ 7851058 w 10505529"/>
              <a:gd name="connsiteY43786" fmla="*/ 29687 h 7458372"/>
              <a:gd name="connsiteX43787" fmla="*/ 7854652 w 10505529"/>
              <a:gd name="connsiteY43787" fmla="*/ 39138 h 7458372"/>
              <a:gd name="connsiteX43788" fmla="*/ 7864636 w 10505529"/>
              <a:gd name="connsiteY43788" fmla="*/ 42599 h 7458372"/>
              <a:gd name="connsiteX43789" fmla="*/ 7869961 w 10505529"/>
              <a:gd name="connsiteY43789" fmla="*/ 41667 h 7458372"/>
              <a:gd name="connsiteX43790" fmla="*/ 7873687 w 10505529"/>
              <a:gd name="connsiteY43790" fmla="*/ 39271 h 7458372"/>
              <a:gd name="connsiteX43791" fmla="*/ 7876350 w 10505529"/>
              <a:gd name="connsiteY43791" fmla="*/ 35145 h 7458372"/>
              <a:gd name="connsiteX43792" fmla="*/ 7877282 w 10505529"/>
              <a:gd name="connsiteY43792" fmla="*/ 29687 h 7458372"/>
              <a:gd name="connsiteX43793" fmla="*/ 7876350 w 10505529"/>
              <a:gd name="connsiteY43793" fmla="*/ 24495 h 7458372"/>
              <a:gd name="connsiteX43794" fmla="*/ 7873687 w 10505529"/>
              <a:gd name="connsiteY43794" fmla="*/ 20236 h 7458372"/>
              <a:gd name="connsiteX43795" fmla="*/ 7869694 w 10505529"/>
              <a:gd name="connsiteY43795" fmla="*/ 17573 h 7458372"/>
              <a:gd name="connsiteX43796" fmla="*/ 7864636 w 10505529"/>
              <a:gd name="connsiteY43796" fmla="*/ 16642 h 7458372"/>
              <a:gd name="connsiteX43797" fmla="*/ 8082281 w 10505529"/>
              <a:gd name="connsiteY43797" fmla="*/ 16642 h 7458372"/>
              <a:gd name="connsiteX43798" fmla="*/ 8072297 w 10505529"/>
              <a:gd name="connsiteY43798" fmla="*/ 20236 h 7458372"/>
              <a:gd name="connsiteX43799" fmla="*/ 8068703 w 10505529"/>
              <a:gd name="connsiteY43799" fmla="*/ 29687 h 7458372"/>
              <a:gd name="connsiteX43800" fmla="*/ 8072297 w 10505529"/>
              <a:gd name="connsiteY43800" fmla="*/ 39138 h 7458372"/>
              <a:gd name="connsiteX43801" fmla="*/ 8082281 w 10505529"/>
              <a:gd name="connsiteY43801" fmla="*/ 42599 h 7458372"/>
              <a:gd name="connsiteX43802" fmla="*/ 8087605 w 10505529"/>
              <a:gd name="connsiteY43802" fmla="*/ 41667 h 7458372"/>
              <a:gd name="connsiteX43803" fmla="*/ 8091332 w 10505529"/>
              <a:gd name="connsiteY43803" fmla="*/ 39271 h 7458372"/>
              <a:gd name="connsiteX43804" fmla="*/ 8093994 w 10505529"/>
              <a:gd name="connsiteY43804" fmla="*/ 35145 h 7458372"/>
              <a:gd name="connsiteX43805" fmla="*/ 8094926 w 10505529"/>
              <a:gd name="connsiteY43805" fmla="*/ 29687 h 7458372"/>
              <a:gd name="connsiteX43806" fmla="*/ 8093994 w 10505529"/>
              <a:gd name="connsiteY43806" fmla="*/ 24495 h 7458372"/>
              <a:gd name="connsiteX43807" fmla="*/ 8091332 w 10505529"/>
              <a:gd name="connsiteY43807" fmla="*/ 20236 h 7458372"/>
              <a:gd name="connsiteX43808" fmla="*/ 8087338 w 10505529"/>
              <a:gd name="connsiteY43808" fmla="*/ 17573 h 7458372"/>
              <a:gd name="connsiteX43809" fmla="*/ 8082281 w 10505529"/>
              <a:gd name="connsiteY43809" fmla="*/ 16642 h 7458372"/>
              <a:gd name="connsiteX43810" fmla="*/ 8299793 w 10505529"/>
              <a:gd name="connsiteY43810" fmla="*/ 16642 h 7458372"/>
              <a:gd name="connsiteX43811" fmla="*/ 8289809 w 10505529"/>
              <a:gd name="connsiteY43811" fmla="*/ 20236 h 7458372"/>
              <a:gd name="connsiteX43812" fmla="*/ 8286215 w 10505529"/>
              <a:gd name="connsiteY43812" fmla="*/ 29687 h 7458372"/>
              <a:gd name="connsiteX43813" fmla="*/ 8289809 w 10505529"/>
              <a:gd name="connsiteY43813" fmla="*/ 39138 h 7458372"/>
              <a:gd name="connsiteX43814" fmla="*/ 8299793 w 10505529"/>
              <a:gd name="connsiteY43814" fmla="*/ 42599 h 7458372"/>
              <a:gd name="connsiteX43815" fmla="*/ 8305118 w 10505529"/>
              <a:gd name="connsiteY43815" fmla="*/ 41667 h 7458372"/>
              <a:gd name="connsiteX43816" fmla="*/ 8308844 w 10505529"/>
              <a:gd name="connsiteY43816" fmla="*/ 39271 h 7458372"/>
              <a:gd name="connsiteX43817" fmla="*/ 8311507 w 10505529"/>
              <a:gd name="connsiteY43817" fmla="*/ 35145 h 7458372"/>
              <a:gd name="connsiteX43818" fmla="*/ 8312439 w 10505529"/>
              <a:gd name="connsiteY43818" fmla="*/ 29687 h 7458372"/>
              <a:gd name="connsiteX43819" fmla="*/ 8311507 w 10505529"/>
              <a:gd name="connsiteY43819" fmla="*/ 24495 h 7458372"/>
              <a:gd name="connsiteX43820" fmla="*/ 8308844 w 10505529"/>
              <a:gd name="connsiteY43820" fmla="*/ 20236 h 7458372"/>
              <a:gd name="connsiteX43821" fmla="*/ 8304851 w 10505529"/>
              <a:gd name="connsiteY43821" fmla="*/ 17573 h 7458372"/>
              <a:gd name="connsiteX43822" fmla="*/ 8299793 w 10505529"/>
              <a:gd name="connsiteY43822" fmla="*/ 16642 h 7458372"/>
              <a:gd name="connsiteX43823" fmla="*/ 8517438 w 10505529"/>
              <a:gd name="connsiteY43823" fmla="*/ 16641 h 7458372"/>
              <a:gd name="connsiteX43824" fmla="*/ 8507453 w 10505529"/>
              <a:gd name="connsiteY43824" fmla="*/ 20235 h 7458372"/>
              <a:gd name="connsiteX43825" fmla="*/ 8503860 w 10505529"/>
              <a:gd name="connsiteY43825" fmla="*/ 29687 h 7458372"/>
              <a:gd name="connsiteX43826" fmla="*/ 8507453 w 10505529"/>
              <a:gd name="connsiteY43826" fmla="*/ 39138 h 7458372"/>
              <a:gd name="connsiteX43827" fmla="*/ 8517438 w 10505529"/>
              <a:gd name="connsiteY43827" fmla="*/ 42599 h 7458372"/>
              <a:gd name="connsiteX43828" fmla="*/ 8522763 w 10505529"/>
              <a:gd name="connsiteY43828" fmla="*/ 41667 h 7458372"/>
              <a:gd name="connsiteX43829" fmla="*/ 8526490 w 10505529"/>
              <a:gd name="connsiteY43829" fmla="*/ 39271 h 7458372"/>
              <a:gd name="connsiteX43830" fmla="*/ 8529152 w 10505529"/>
              <a:gd name="connsiteY43830" fmla="*/ 35145 h 7458372"/>
              <a:gd name="connsiteX43831" fmla="*/ 8530084 w 10505529"/>
              <a:gd name="connsiteY43831" fmla="*/ 29687 h 7458372"/>
              <a:gd name="connsiteX43832" fmla="*/ 8529152 w 10505529"/>
              <a:gd name="connsiteY43832" fmla="*/ 24495 h 7458372"/>
              <a:gd name="connsiteX43833" fmla="*/ 8526490 w 10505529"/>
              <a:gd name="connsiteY43833" fmla="*/ 20235 h 7458372"/>
              <a:gd name="connsiteX43834" fmla="*/ 8522496 w 10505529"/>
              <a:gd name="connsiteY43834" fmla="*/ 17572 h 7458372"/>
              <a:gd name="connsiteX43835" fmla="*/ 8517438 w 10505529"/>
              <a:gd name="connsiteY43835" fmla="*/ 16641 h 7458372"/>
              <a:gd name="connsiteX43836" fmla="*/ 8735083 w 10505529"/>
              <a:gd name="connsiteY43836" fmla="*/ 16641 h 7458372"/>
              <a:gd name="connsiteX43837" fmla="*/ 8725098 w 10505529"/>
              <a:gd name="connsiteY43837" fmla="*/ 20235 h 7458372"/>
              <a:gd name="connsiteX43838" fmla="*/ 8721504 w 10505529"/>
              <a:gd name="connsiteY43838" fmla="*/ 29687 h 7458372"/>
              <a:gd name="connsiteX43839" fmla="*/ 8725098 w 10505529"/>
              <a:gd name="connsiteY43839" fmla="*/ 39138 h 7458372"/>
              <a:gd name="connsiteX43840" fmla="*/ 8735083 w 10505529"/>
              <a:gd name="connsiteY43840" fmla="*/ 42599 h 7458372"/>
              <a:gd name="connsiteX43841" fmla="*/ 8740407 w 10505529"/>
              <a:gd name="connsiteY43841" fmla="*/ 41667 h 7458372"/>
              <a:gd name="connsiteX43842" fmla="*/ 8744134 w 10505529"/>
              <a:gd name="connsiteY43842" fmla="*/ 39271 h 7458372"/>
              <a:gd name="connsiteX43843" fmla="*/ 8746797 w 10505529"/>
              <a:gd name="connsiteY43843" fmla="*/ 35145 h 7458372"/>
              <a:gd name="connsiteX43844" fmla="*/ 8747862 w 10505529"/>
              <a:gd name="connsiteY43844" fmla="*/ 29687 h 7458372"/>
              <a:gd name="connsiteX43845" fmla="*/ 8746797 w 10505529"/>
              <a:gd name="connsiteY43845" fmla="*/ 24494 h 7458372"/>
              <a:gd name="connsiteX43846" fmla="*/ 8744134 w 10505529"/>
              <a:gd name="connsiteY43846" fmla="*/ 20235 h 7458372"/>
              <a:gd name="connsiteX43847" fmla="*/ 8740141 w 10505529"/>
              <a:gd name="connsiteY43847" fmla="*/ 17572 h 7458372"/>
              <a:gd name="connsiteX43848" fmla="*/ 8735083 w 10505529"/>
              <a:gd name="connsiteY43848" fmla="*/ 16641 h 7458372"/>
              <a:gd name="connsiteX43849" fmla="*/ 8952728 w 10505529"/>
              <a:gd name="connsiteY43849" fmla="*/ 16641 h 7458372"/>
              <a:gd name="connsiteX43850" fmla="*/ 8942743 w 10505529"/>
              <a:gd name="connsiteY43850" fmla="*/ 20235 h 7458372"/>
              <a:gd name="connsiteX43851" fmla="*/ 8939150 w 10505529"/>
              <a:gd name="connsiteY43851" fmla="*/ 29686 h 7458372"/>
              <a:gd name="connsiteX43852" fmla="*/ 8942743 w 10505529"/>
              <a:gd name="connsiteY43852" fmla="*/ 39138 h 7458372"/>
              <a:gd name="connsiteX43853" fmla="*/ 8952728 w 10505529"/>
              <a:gd name="connsiteY43853" fmla="*/ 42599 h 7458372"/>
              <a:gd name="connsiteX43854" fmla="*/ 8958053 w 10505529"/>
              <a:gd name="connsiteY43854" fmla="*/ 41667 h 7458372"/>
              <a:gd name="connsiteX43855" fmla="*/ 8961780 w 10505529"/>
              <a:gd name="connsiteY43855" fmla="*/ 39271 h 7458372"/>
              <a:gd name="connsiteX43856" fmla="*/ 8964442 w 10505529"/>
              <a:gd name="connsiteY43856" fmla="*/ 35145 h 7458372"/>
              <a:gd name="connsiteX43857" fmla="*/ 8965507 w 10505529"/>
              <a:gd name="connsiteY43857" fmla="*/ 29686 h 7458372"/>
              <a:gd name="connsiteX43858" fmla="*/ 8964442 w 10505529"/>
              <a:gd name="connsiteY43858" fmla="*/ 24494 h 7458372"/>
              <a:gd name="connsiteX43859" fmla="*/ 8961780 w 10505529"/>
              <a:gd name="connsiteY43859" fmla="*/ 20235 h 7458372"/>
              <a:gd name="connsiteX43860" fmla="*/ 8957786 w 10505529"/>
              <a:gd name="connsiteY43860" fmla="*/ 17572 h 7458372"/>
              <a:gd name="connsiteX43861" fmla="*/ 8952728 w 10505529"/>
              <a:gd name="connsiteY43861" fmla="*/ 16641 h 7458372"/>
              <a:gd name="connsiteX43862" fmla="*/ 9170374 w 10505529"/>
              <a:gd name="connsiteY43862" fmla="*/ 16641 h 7458372"/>
              <a:gd name="connsiteX43863" fmla="*/ 9160389 w 10505529"/>
              <a:gd name="connsiteY43863" fmla="*/ 20235 h 7458372"/>
              <a:gd name="connsiteX43864" fmla="*/ 9156795 w 10505529"/>
              <a:gd name="connsiteY43864" fmla="*/ 29686 h 7458372"/>
              <a:gd name="connsiteX43865" fmla="*/ 9160389 w 10505529"/>
              <a:gd name="connsiteY43865" fmla="*/ 39138 h 7458372"/>
              <a:gd name="connsiteX43866" fmla="*/ 9170374 w 10505529"/>
              <a:gd name="connsiteY43866" fmla="*/ 42599 h 7458372"/>
              <a:gd name="connsiteX43867" fmla="*/ 9175698 w 10505529"/>
              <a:gd name="connsiteY43867" fmla="*/ 41667 h 7458372"/>
              <a:gd name="connsiteX43868" fmla="*/ 9179425 w 10505529"/>
              <a:gd name="connsiteY43868" fmla="*/ 39270 h 7458372"/>
              <a:gd name="connsiteX43869" fmla="*/ 9182088 w 10505529"/>
              <a:gd name="connsiteY43869" fmla="*/ 35144 h 7458372"/>
              <a:gd name="connsiteX43870" fmla="*/ 9183152 w 10505529"/>
              <a:gd name="connsiteY43870" fmla="*/ 29686 h 7458372"/>
              <a:gd name="connsiteX43871" fmla="*/ 9182088 w 10505529"/>
              <a:gd name="connsiteY43871" fmla="*/ 24494 h 7458372"/>
              <a:gd name="connsiteX43872" fmla="*/ 9179425 w 10505529"/>
              <a:gd name="connsiteY43872" fmla="*/ 20235 h 7458372"/>
              <a:gd name="connsiteX43873" fmla="*/ 9175432 w 10505529"/>
              <a:gd name="connsiteY43873" fmla="*/ 17572 h 7458372"/>
              <a:gd name="connsiteX43874" fmla="*/ 9170374 w 10505529"/>
              <a:gd name="connsiteY43874" fmla="*/ 16641 h 7458372"/>
              <a:gd name="connsiteX43875" fmla="*/ 9387885 w 10505529"/>
              <a:gd name="connsiteY43875" fmla="*/ 16641 h 7458372"/>
              <a:gd name="connsiteX43876" fmla="*/ 9377900 w 10505529"/>
              <a:gd name="connsiteY43876" fmla="*/ 20235 h 7458372"/>
              <a:gd name="connsiteX43877" fmla="*/ 9374307 w 10505529"/>
              <a:gd name="connsiteY43877" fmla="*/ 29686 h 7458372"/>
              <a:gd name="connsiteX43878" fmla="*/ 9377900 w 10505529"/>
              <a:gd name="connsiteY43878" fmla="*/ 39137 h 7458372"/>
              <a:gd name="connsiteX43879" fmla="*/ 9387885 w 10505529"/>
              <a:gd name="connsiteY43879" fmla="*/ 42598 h 7458372"/>
              <a:gd name="connsiteX43880" fmla="*/ 9393210 w 10505529"/>
              <a:gd name="connsiteY43880" fmla="*/ 41666 h 7458372"/>
              <a:gd name="connsiteX43881" fmla="*/ 9396937 w 10505529"/>
              <a:gd name="connsiteY43881" fmla="*/ 39270 h 7458372"/>
              <a:gd name="connsiteX43882" fmla="*/ 9399599 w 10505529"/>
              <a:gd name="connsiteY43882" fmla="*/ 35144 h 7458372"/>
              <a:gd name="connsiteX43883" fmla="*/ 9400664 w 10505529"/>
              <a:gd name="connsiteY43883" fmla="*/ 29686 h 7458372"/>
              <a:gd name="connsiteX43884" fmla="*/ 9399599 w 10505529"/>
              <a:gd name="connsiteY43884" fmla="*/ 24494 h 7458372"/>
              <a:gd name="connsiteX43885" fmla="*/ 9396937 w 10505529"/>
              <a:gd name="connsiteY43885" fmla="*/ 20235 h 7458372"/>
              <a:gd name="connsiteX43886" fmla="*/ 9392943 w 10505529"/>
              <a:gd name="connsiteY43886" fmla="*/ 17572 h 7458372"/>
              <a:gd name="connsiteX43887" fmla="*/ 9387885 w 10505529"/>
              <a:gd name="connsiteY43887" fmla="*/ 16641 h 7458372"/>
              <a:gd name="connsiteX43888" fmla="*/ 9605531 w 10505529"/>
              <a:gd name="connsiteY43888" fmla="*/ 16641 h 7458372"/>
              <a:gd name="connsiteX43889" fmla="*/ 9595546 w 10505529"/>
              <a:gd name="connsiteY43889" fmla="*/ 20235 h 7458372"/>
              <a:gd name="connsiteX43890" fmla="*/ 9591952 w 10505529"/>
              <a:gd name="connsiteY43890" fmla="*/ 29686 h 7458372"/>
              <a:gd name="connsiteX43891" fmla="*/ 9595546 w 10505529"/>
              <a:gd name="connsiteY43891" fmla="*/ 39137 h 7458372"/>
              <a:gd name="connsiteX43892" fmla="*/ 9605531 w 10505529"/>
              <a:gd name="connsiteY43892" fmla="*/ 42598 h 7458372"/>
              <a:gd name="connsiteX43893" fmla="*/ 9610855 w 10505529"/>
              <a:gd name="connsiteY43893" fmla="*/ 41666 h 7458372"/>
              <a:gd name="connsiteX43894" fmla="*/ 9614582 w 10505529"/>
              <a:gd name="connsiteY43894" fmla="*/ 39270 h 7458372"/>
              <a:gd name="connsiteX43895" fmla="*/ 9617245 w 10505529"/>
              <a:gd name="connsiteY43895" fmla="*/ 35144 h 7458372"/>
              <a:gd name="connsiteX43896" fmla="*/ 9618309 w 10505529"/>
              <a:gd name="connsiteY43896" fmla="*/ 29686 h 7458372"/>
              <a:gd name="connsiteX43897" fmla="*/ 9617245 w 10505529"/>
              <a:gd name="connsiteY43897" fmla="*/ 24494 h 7458372"/>
              <a:gd name="connsiteX43898" fmla="*/ 9614582 w 10505529"/>
              <a:gd name="connsiteY43898" fmla="*/ 20235 h 7458372"/>
              <a:gd name="connsiteX43899" fmla="*/ 9610589 w 10505529"/>
              <a:gd name="connsiteY43899" fmla="*/ 17572 h 7458372"/>
              <a:gd name="connsiteX43900" fmla="*/ 9605531 w 10505529"/>
              <a:gd name="connsiteY43900" fmla="*/ 16641 h 7458372"/>
              <a:gd name="connsiteX43901" fmla="*/ 9823176 w 10505529"/>
              <a:gd name="connsiteY43901" fmla="*/ 16641 h 7458372"/>
              <a:gd name="connsiteX43902" fmla="*/ 9813191 w 10505529"/>
              <a:gd name="connsiteY43902" fmla="*/ 20235 h 7458372"/>
              <a:gd name="connsiteX43903" fmla="*/ 9809597 w 10505529"/>
              <a:gd name="connsiteY43903" fmla="*/ 29686 h 7458372"/>
              <a:gd name="connsiteX43904" fmla="*/ 9813191 w 10505529"/>
              <a:gd name="connsiteY43904" fmla="*/ 39137 h 7458372"/>
              <a:gd name="connsiteX43905" fmla="*/ 9823176 w 10505529"/>
              <a:gd name="connsiteY43905" fmla="*/ 42598 h 7458372"/>
              <a:gd name="connsiteX43906" fmla="*/ 9828501 w 10505529"/>
              <a:gd name="connsiteY43906" fmla="*/ 41666 h 7458372"/>
              <a:gd name="connsiteX43907" fmla="*/ 9832227 w 10505529"/>
              <a:gd name="connsiteY43907" fmla="*/ 39270 h 7458372"/>
              <a:gd name="connsiteX43908" fmla="*/ 9834890 w 10505529"/>
              <a:gd name="connsiteY43908" fmla="*/ 35144 h 7458372"/>
              <a:gd name="connsiteX43909" fmla="*/ 9835955 w 10505529"/>
              <a:gd name="connsiteY43909" fmla="*/ 29686 h 7458372"/>
              <a:gd name="connsiteX43910" fmla="*/ 9834890 w 10505529"/>
              <a:gd name="connsiteY43910" fmla="*/ 24494 h 7458372"/>
              <a:gd name="connsiteX43911" fmla="*/ 9832227 w 10505529"/>
              <a:gd name="connsiteY43911" fmla="*/ 20235 h 7458372"/>
              <a:gd name="connsiteX43912" fmla="*/ 9828234 w 10505529"/>
              <a:gd name="connsiteY43912" fmla="*/ 17572 h 7458372"/>
              <a:gd name="connsiteX43913" fmla="*/ 9823176 w 10505529"/>
              <a:gd name="connsiteY43913" fmla="*/ 16641 h 7458372"/>
              <a:gd name="connsiteX43914" fmla="*/ 10040820 w 10505529"/>
              <a:gd name="connsiteY43914" fmla="*/ 16641 h 7458372"/>
              <a:gd name="connsiteX43915" fmla="*/ 10030835 w 10505529"/>
              <a:gd name="connsiteY43915" fmla="*/ 20235 h 7458372"/>
              <a:gd name="connsiteX43916" fmla="*/ 10027242 w 10505529"/>
              <a:gd name="connsiteY43916" fmla="*/ 29686 h 7458372"/>
              <a:gd name="connsiteX43917" fmla="*/ 10030835 w 10505529"/>
              <a:gd name="connsiteY43917" fmla="*/ 39137 h 7458372"/>
              <a:gd name="connsiteX43918" fmla="*/ 10040820 w 10505529"/>
              <a:gd name="connsiteY43918" fmla="*/ 42598 h 7458372"/>
              <a:gd name="connsiteX43919" fmla="*/ 10046145 w 10505529"/>
              <a:gd name="connsiteY43919" fmla="*/ 41666 h 7458372"/>
              <a:gd name="connsiteX43920" fmla="*/ 10049872 w 10505529"/>
              <a:gd name="connsiteY43920" fmla="*/ 39270 h 7458372"/>
              <a:gd name="connsiteX43921" fmla="*/ 10052534 w 10505529"/>
              <a:gd name="connsiteY43921" fmla="*/ 35144 h 7458372"/>
              <a:gd name="connsiteX43922" fmla="*/ 10053599 w 10505529"/>
              <a:gd name="connsiteY43922" fmla="*/ 29686 h 7458372"/>
              <a:gd name="connsiteX43923" fmla="*/ 10052534 w 10505529"/>
              <a:gd name="connsiteY43923" fmla="*/ 24494 h 7458372"/>
              <a:gd name="connsiteX43924" fmla="*/ 10049872 w 10505529"/>
              <a:gd name="connsiteY43924" fmla="*/ 20235 h 7458372"/>
              <a:gd name="connsiteX43925" fmla="*/ 10045878 w 10505529"/>
              <a:gd name="connsiteY43925" fmla="*/ 17572 h 7458372"/>
              <a:gd name="connsiteX43926" fmla="*/ 10040820 w 10505529"/>
              <a:gd name="connsiteY43926" fmla="*/ 16641 h 7458372"/>
              <a:gd name="connsiteX43927" fmla="*/ 10258466 w 10505529"/>
              <a:gd name="connsiteY43927" fmla="*/ 16641 h 7458372"/>
              <a:gd name="connsiteX43928" fmla="*/ 10248481 w 10505529"/>
              <a:gd name="connsiteY43928" fmla="*/ 20235 h 7458372"/>
              <a:gd name="connsiteX43929" fmla="*/ 10244887 w 10505529"/>
              <a:gd name="connsiteY43929" fmla="*/ 29686 h 7458372"/>
              <a:gd name="connsiteX43930" fmla="*/ 10248481 w 10505529"/>
              <a:gd name="connsiteY43930" fmla="*/ 39137 h 7458372"/>
              <a:gd name="connsiteX43931" fmla="*/ 10258466 w 10505529"/>
              <a:gd name="connsiteY43931" fmla="*/ 42598 h 7458372"/>
              <a:gd name="connsiteX43932" fmla="*/ 10263790 w 10505529"/>
              <a:gd name="connsiteY43932" fmla="*/ 41666 h 7458372"/>
              <a:gd name="connsiteX43933" fmla="*/ 10267517 w 10505529"/>
              <a:gd name="connsiteY43933" fmla="*/ 39270 h 7458372"/>
              <a:gd name="connsiteX43934" fmla="*/ 10270180 w 10505529"/>
              <a:gd name="connsiteY43934" fmla="*/ 35144 h 7458372"/>
              <a:gd name="connsiteX43935" fmla="*/ 10271112 w 10505529"/>
              <a:gd name="connsiteY43935" fmla="*/ 29686 h 7458372"/>
              <a:gd name="connsiteX43936" fmla="*/ 10270180 w 10505529"/>
              <a:gd name="connsiteY43936" fmla="*/ 24494 h 7458372"/>
              <a:gd name="connsiteX43937" fmla="*/ 10267517 w 10505529"/>
              <a:gd name="connsiteY43937" fmla="*/ 20235 h 7458372"/>
              <a:gd name="connsiteX43938" fmla="*/ 10263524 w 10505529"/>
              <a:gd name="connsiteY43938" fmla="*/ 17572 h 7458372"/>
              <a:gd name="connsiteX43939" fmla="*/ 10258466 w 10505529"/>
              <a:gd name="connsiteY43939" fmla="*/ 16641 h 7458372"/>
              <a:gd name="connsiteX43940" fmla="*/ 10475977 w 10505529"/>
              <a:gd name="connsiteY43940" fmla="*/ 16640 h 7458372"/>
              <a:gd name="connsiteX43941" fmla="*/ 10465992 w 10505529"/>
              <a:gd name="connsiteY43941" fmla="*/ 20234 h 7458372"/>
              <a:gd name="connsiteX43942" fmla="*/ 10462399 w 10505529"/>
              <a:gd name="connsiteY43942" fmla="*/ 29686 h 7458372"/>
              <a:gd name="connsiteX43943" fmla="*/ 10465992 w 10505529"/>
              <a:gd name="connsiteY43943" fmla="*/ 39137 h 7458372"/>
              <a:gd name="connsiteX43944" fmla="*/ 10475977 w 10505529"/>
              <a:gd name="connsiteY43944" fmla="*/ 42598 h 7458372"/>
              <a:gd name="connsiteX43945" fmla="*/ 10481302 w 10505529"/>
              <a:gd name="connsiteY43945" fmla="*/ 41666 h 7458372"/>
              <a:gd name="connsiteX43946" fmla="*/ 10485029 w 10505529"/>
              <a:gd name="connsiteY43946" fmla="*/ 39270 h 7458372"/>
              <a:gd name="connsiteX43947" fmla="*/ 10487691 w 10505529"/>
              <a:gd name="connsiteY43947" fmla="*/ 35144 h 7458372"/>
              <a:gd name="connsiteX43948" fmla="*/ 10488623 w 10505529"/>
              <a:gd name="connsiteY43948" fmla="*/ 29686 h 7458372"/>
              <a:gd name="connsiteX43949" fmla="*/ 10487691 w 10505529"/>
              <a:gd name="connsiteY43949" fmla="*/ 24494 h 7458372"/>
              <a:gd name="connsiteX43950" fmla="*/ 10485029 w 10505529"/>
              <a:gd name="connsiteY43950" fmla="*/ 20234 h 7458372"/>
              <a:gd name="connsiteX43951" fmla="*/ 10481035 w 10505529"/>
              <a:gd name="connsiteY43951" fmla="*/ 17571 h 7458372"/>
              <a:gd name="connsiteX43952" fmla="*/ 10475977 w 10505529"/>
              <a:gd name="connsiteY43952" fmla="*/ 16640 h 7458372"/>
              <a:gd name="connsiteX43953" fmla="*/ 30217 w 10505529"/>
              <a:gd name="connsiteY43953" fmla="*/ 5 h 7458372"/>
              <a:gd name="connsiteX43954" fmla="*/ 41932 w 10505529"/>
              <a:gd name="connsiteY43954" fmla="*/ 2535 h 7458372"/>
              <a:gd name="connsiteX43955" fmla="*/ 51251 w 10505529"/>
              <a:gd name="connsiteY43955" fmla="*/ 8925 h 7458372"/>
              <a:gd name="connsiteX43956" fmla="*/ 57374 w 10505529"/>
              <a:gd name="connsiteY43956" fmla="*/ 18243 h 7458372"/>
              <a:gd name="connsiteX43957" fmla="*/ 59637 w 10505529"/>
              <a:gd name="connsiteY43957" fmla="*/ 29691 h 7458372"/>
              <a:gd name="connsiteX43958" fmla="*/ 57374 w 10505529"/>
              <a:gd name="connsiteY43958" fmla="*/ 41405 h 7458372"/>
              <a:gd name="connsiteX43959" fmla="*/ 51251 w 10505529"/>
              <a:gd name="connsiteY43959" fmla="*/ 50856 h 7458372"/>
              <a:gd name="connsiteX43960" fmla="*/ 41932 w 10505529"/>
              <a:gd name="connsiteY43960" fmla="*/ 57114 h 7458372"/>
              <a:gd name="connsiteX43961" fmla="*/ 30217 w 10505529"/>
              <a:gd name="connsiteY43961" fmla="*/ 59377 h 7458372"/>
              <a:gd name="connsiteX43962" fmla="*/ 8386 w 10505529"/>
              <a:gd name="connsiteY43962" fmla="*/ 50856 h 7458372"/>
              <a:gd name="connsiteX43963" fmla="*/ 0 w 10505529"/>
              <a:gd name="connsiteY43963" fmla="*/ 29691 h 7458372"/>
              <a:gd name="connsiteX43964" fmla="*/ 8386 w 10505529"/>
              <a:gd name="connsiteY43964" fmla="*/ 8659 h 7458372"/>
              <a:gd name="connsiteX43965" fmla="*/ 30217 w 10505529"/>
              <a:gd name="connsiteY43965" fmla="*/ 5 h 7458372"/>
              <a:gd name="connsiteX43966" fmla="*/ 247862 w 10505529"/>
              <a:gd name="connsiteY43966" fmla="*/ 5 h 7458372"/>
              <a:gd name="connsiteX43967" fmla="*/ 259577 w 10505529"/>
              <a:gd name="connsiteY43967" fmla="*/ 2534 h 7458372"/>
              <a:gd name="connsiteX43968" fmla="*/ 268895 w 10505529"/>
              <a:gd name="connsiteY43968" fmla="*/ 8924 h 7458372"/>
              <a:gd name="connsiteX43969" fmla="*/ 275018 w 10505529"/>
              <a:gd name="connsiteY43969" fmla="*/ 18243 h 7458372"/>
              <a:gd name="connsiteX43970" fmla="*/ 277281 w 10505529"/>
              <a:gd name="connsiteY43970" fmla="*/ 29691 h 7458372"/>
              <a:gd name="connsiteX43971" fmla="*/ 275018 w 10505529"/>
              <a:gd name="connsiteY43971" fmla="*/ 41405 h 7458372"/>
              <a:gd name="connsiteX43972" fmla="*/ 268895 w 10505529"/>
              <a:gd name="connsiteY43972" fmla="*/ 50856 h 7458372"/>
              <a:gd name="connsiteX43973" fmla="*/ 259577 w 10505529"/>
              <a:gd name="connsiteY43973" fmla="*/ 57113 h 7458372"/>
              <a:gd name="connsiteX43974" fmla="*/ 247862 w 10505529"/>
              <a:gd name="connsiteY43974" fmla="*/ 59376 h 7458372"/>
              <a:gd name="connsiteX43975" fmla="*/ 226030 w 10505529"/>
              <a:gd name="connsiteY43975" fmla="*/ 50856 h 7458372"/>
              <a:gd name="connsiteX43976" fmla="*/ 217644 w 10505529"/>
              <a:gd name="connsiteY43976" fmla="*/ 29691 h 7458372"/>
              <a:gd name="connsiteX43977" fmla="*/ 226030 w 10505529"/>
              <a:gd name="connsiteY43977" fmla="*/ 8658 h 7458372"/>
              <a:gd name="connsiteX43978" fmla="*/ 247862 w 10505529"/>
              <a:gd name="connsiteY43978" fmla="*/ 5 h 7458372"/>
              <a:gd name="connsiteX43979" fmla="*/ 465507 w 10505529"/>
              <a:gd name="connsiteY43979" fmla="*/ 5 h 7458372"/>
              <a:gd name="connsiteX43980" fmla="*/ 477222 w 10505529"/>
              <a:gd name="connsiteY43980" fmla="*/ 2534 h 7458372"/>
              <a:gd name="connsiteX43981" fmla="*/ 486540 w 10505529"/>
              <a:gd name="connsiteY43981" fmla="*/ 8924 h 7458372"/>
              <a:gd name="connsiteX43982" fmla="*/ 492663 w 10505529"/>
              <a:gd name="connsiteY43982" fmla="*/ 18243 h 7458372"/>
              <a:gd name="connsiteX43983" fmla="*/ 494926 w 10505529"/>
              <a:gd name="connsiteY43983" fmla="*/ 29691 h 7458372"/>
              <a:gd name="connsiteX43984" fmla="*/ 492663 w 10505529"/>
              <a:gd name="connsiteY43984" fmla="*/ 41405 h 7458372"/>
              <a:gd name="connsiteX43985" fmla="*/ 486540 w 10505529"/>
              <a:gd name="connsiteY43985" fmla="*/ 50856 h 7458372"/>
              <a:gd name="connsiteX43986" fmla="*/ 477222 w 10505529"/>
              <a:gd name="connsiteY43986" fmla="*/ 57113 h 7458372"/>
              <a:gd name="connsiteX43987" fmla="*/ 465507 w 10505529"/>
              <a:gd name="connsiteY43987" fmla="*/ 59376 h 7458372"/>
              <a:gd name="connsiteX43988" fmla="*/ 443675 w 10505529"/>
              <a:gd name="connsiteY43988" fmla="*/ 50856 h 7458372"/>
              <a:gd name="connsiteX43989" fmla="*/ 435289 w 10505529"/>
              <a:gd name="connsiteY43989" fmla="*/ 29691 h 7458372"/>
              <a:gd name="connsiteX43990" fmla="*/ 443675 w 10505529"/>
              <a:gd name="connsiteY43990" fmla="*/ 8658 h 7458372"/>
              <a:gd name="connsiteX43991" fmla="*/ 465507 w 10505529"/>
              <a:gd name="connsiteY43991" fmla="*/ 5 h 7458372"/>
              <a:gd name="connsiteX43992" fmla="*/ 683151 w 10505529"/>
              <a:gd name="connsiteY43992" fmla="*/ 5 h 7458372"/>
              <a:gd name="connsiteX43993" fmla="*/ 694867 w 10505529"/>
              <a:gd name="connsiteY43993" fmla="*/ 2534 h 7458372"/>
              <a:gd name="connsiteX43994" fmla="*/ 704185 w 10505529"/>
              <a:gd name="connsiteY43994" fmla="*/ 8924 h 7458372"/>
              <a:gd name="connsiteX43995" fmla="*/ 710308 w 10505529"/>
              <a:gd name="connsiteY43995" fmla="*/ 18242 h 7458372"/>
              <a:gd name="connsiteX43996" fmla="*/ 712571 w 10505529"/>
              <a:gd name="connsiteY43996" fmla="*/ 29691 h 7458372"/>
              <a:gd name="connsiteX43997" fmla="*/ 710308 w 10505529"/>
              <a:gd name="connsiteY43997" fmla="*/ 41405 h 7458372"/>
              <a:gd name="connsiteX43998" fmla="*/ 704185 w 10505529"/>
              <a:gd name="connsiteY43998" fmla="*/ 50856 h 7458372"/>
              <a:gd name="connsiteX43999" fmla="*/ 694867 w 10505529"/>
              <a:gd name="connsiteY43999" fmla="*/ 57113 h 7458372"/>
              <a:gd name="connsiteX44000" fmla="*/ 683151 w 10505529"/>
              <a:gd name="connsiteY44000" fmla="*/ 59376 h 7458372"/>
              <a:gd name="connsiteX44001" fmla="*/ 661320 w 10505529"/>
              <a:gd name="connsiteY44001" fmla="*/ 50856 h 7458372"/>
              <a:gd name="connsiteX44002" fmla="*/ 652934 w 10505529"/>
              <a:gd name="connsiteY44002" fmla="*/ 29691 h 7458372"/>
              <a:gd name="connsiteX44003" fmla="*/ 661320 w 10505529"/>
              <a:gd name="connsiteY44003" fmla="*/ 8658 h 7458372"/>
              <a:gd name="connsiteX44004" fmla="*/ 683151 w 10505529"/>
              <a:gd name="connsiteY44004" fmla="*/ 5 h 7458372"/>
              <a:gd name="connsiteX44005" fmla="*/ 900796 w 10505529"/>
              <a:gd name="connsiteY44005" fmla="*/ 5 h 7458372"/>
              <a:gd name="connsiteX44006" fmla="*/ 912511 w 10505529"/>
              <a:gd name="connsiteY44006" fmla="*/ 2534 h 7458372"/>
              <a:gd name="connsiteX44007" fmla="*/ 921829 w 10505529"/>
              <a:gd name="connsiteY44007" fmla="*/ 8924 h 7458372"/>
              <a:gd name="connsiteX44008" fmla="*/ 927952 w 10505529"/>
              <a:gd name="connsiteY44008" fmla="*/ 18242 h 7458372"/>
              <a:gd name="connsiteX44009" fmla="*/ 930216 w 10505529"/>
              <a:gd name="connsiteY44009" fmla="*/ 29691 h 7458372"/>
              <a:gd name="connsiteX44010" fmla="*/ 927952 w 10505529"/>
              <a:gd name="connsiteY44010" fmla="*/ 41405 h 7458372"/>
              <a:gd name="connsiteX44011" fmla="*/ 921829 w 10505529"/>
              <a:gd name="connsiteY44011" fmla="*/ 50856 h 7458372"/>
              <a:gd name="connsiteX44012" fmla="*/ 912511 w 10505529"/>
              <a:gd name="connsiteY44012" fmla="*/ 57113 h 7458372"/>
              <a:gd name="connsiteX44013" fmla="*/ 900796 w 10505529"/>
              <a:gd name="connsiteY44013" fmla="*/ 59376 h 7458372"/>
              <a:gd name="connsiteX44014" fmla="*/ 878965 w 10505529"/>
              <a:gd name="connsiteY44014" fmla="*/ 50856 h 7458372"/>
              <a:gd name="connsiteX44015" fmla="*/ 870579 w 10505529"/>
              <a:gd name="connsiteY44015" fmla="*/ 29691 h 7458372"/>
              <a:gd name="connsiteX44016" fmla="*/ 878965 w 10505529"/>
              <a:gd name="connsiteY44016" fmla="*/ 8658 h 7458372"/>
              <a:gd name="connsiteX44017" fmla="*/ 900796 w 10505529"/>
              <a:gd name="connsiteY44017" fmla="*/ 5 h 7458372"/>
              <a:gd name="connsiteX44018" fmla="*/ 1118308 w 10505529"/>
              <a:gd name="connsiteY44018" fmla="*/ 5 h 7458372"/>
              <a:gd name="connsiteX44019" fmla="*/ 1130023 w 10505529"/>
              <a:gd name="connsiteY44019" fmla="*/ 2534 h 7458372"/>
              <a:gd name="connsiteX44020" fmla="*/ 1139342 w 10505529"/>
              <a:gd name="connsiteY44020" fmla="*/ 8924 h 7458372"/>
              <a:gd name="connsiteX44021" fmla="*/ 1145464 w 10505529"/>
              <a:gd name="connsiteY44021" fmla="*/ 18242 h 7458372"/>
              <a:gd name="connsiteX44022" fmla="*/ 1147727 w 10505529"/>
              <a:gd name="connsiteY44022" fmla="*/ 29690 h 7458372"/>
              <a:gd name="connsiteX44023" fmla="*/ 1145464 w 10505529"/>
              <a:gd name="connsiteY44023" fmla="*/ 41405 h 7458372"/>
              <a:gd name="connsiteX44024" fmla="*/ 1139342 w 10505529"/>
              <a:gd name="connsiteY44024" fmla="*/ 50856 h 7458372"/>
              <a:gd name="connsiteX44025" fmla="*/ 1130023 w 10505529"/>
              <a:gd name="connsiteY44025" fmla="*/ 57113 h 7458372"/>
              <a:gd name="connsiteX44026" fmla="*/ 1118308 w 10505529"/>
              <a:gd name="connsiteY44026" fmla="*/ 59376 h 7458372"/>
              <a:gd name="connsiteX44027" fmla="*/ 1096476 w 10505529"/>
              <a:gd name="connsiteY44027" fmla="*/ 50856 h 7458372"/>
              <a:gd name="connsiteX44028" fmla="*/ 1088090 w 10505529"/>
              <a:gd name="connsiteY44028" fmla="*/ 29690 h 7458372"/>
              <a:gd name="connsiteX44029" fmla="*/ 1096476 w 10505529"/>
              <a:gd name="connsiteY44029" fmla="*/ 8658 h 7458372"/>
              <a:gd name="connsiteX44030" fmla="*/ 1118308 w 10505529"/>
              <a:gd name="connsiteY44030" fmla="*/ 5 h 7458372"/>
              <a:gd name="connsiteX44031" fmla="*/ 1335953 w 10505529"/>
              <a:gd name="connsiteY44031" fmla="*/ 5 h 7458372"/>
              <a:gd name="connsiteX44032" fmla="*/ 1347668 w 10505529"/>
              <a:gd name="connsiteY44032" fmla="*/ 2534 h 7458372"/>
              <a:gd name="connsiteX44033" fmla="*/ 1356986 w 10505529"/>
              <a:gd name="connsiteY44033" fmla="*/ 8924 h 7458372"/>
              <a:gd name="connsiteX44034" fmla="*/ 1363109 w 10505529"/>
              <a:gd name="connsiteY44034" fmla="*/ 18242 h 7458372"/>
              <a:gd name="connsiteX44035" fmla="*/ 1365372 w 10505529"/>
              <a:gd name="connsiteY44035" fmla="*/ 29690 h 7458372"/>
              <a:gd name="connsiteX44036" fmla="*/ 1363109 w 10505529"/>
              <a:gd name="connsiteY44036" fmla="*/ 41405 h 7458372"/>
              <a:gd name="connsiteX44037" fmla="*/ 1356986 w 10505529"/>
              <a:gd name="connsiteY44037" fmla="*/ 50856 h 7458372"/>
              <a:gd name="connsiteX44038" fmla="*/ 1347668 w 10505529"/>
              <a:gd name="connsiteY44038" fmla="*/ 57113 h 7458372"/>
              <a:gd name="connsiteX44039" fmla="*/ 1335953 w 10505529"/>
              <a:gd name="connsiteY44039" fmla="*/ 59376 h 7458372"/>
              <a:gd name="connsiteX44040" fmla="*/ 1314121 w 10505529"/>
              <a:gd name="connsiteY44040" fmla="*/ 50856 h 7458372"/>
              <a:gd name="connsiteX44041" fmla="*/ 1305735 w 10505529"/>
              <a:gd name="connsiteY44041" fmla="*/ 29690 h 7458372"/>
              <a:gd name="connsiteX44042" fmla="*/ 1314121 w 10505529"/>
              <a:gd name="connsiteY44042" fmla="*/ 8658 h 7458372"/>
              <a:gd name="connsiteX44043" fmla="*/ 1335953 w 10505529"/>
              <a:gd name="connsiteY44043" fmla="*/ 5 h 7458372"/>
              <a:gd name="connsiteX44044" fmla="*/ 1553598 w 10505529"/>
              <a:gd name="connsiteY44044" fmla="*/ 5 h 7458372"/>
              <a:gd name="connsiteX44045" fmla="*/ 1565313 w 10505529"/>
              <a:gd name="connsiteY44045" fmla="*/ 2534 h 7458372"/>
              <a:gd name="connsiteX44046" fmla="*/ 1574631 w 10505529"/>
              <a:gd name="connsiteY44046" fmla="*/ 8924 h 7458372"/>
              <a:gd name="connsiteX44047" fmla="*/ 1580754 w 10505529"/>
              <a:gd name="connsiteY44047" fmla="*/ 18242 h 7458372"/>
              <a:gd name="connsiteX44048" fmla="*/ 1583017 w 10505529"/>
              <a:gd name="connsiteY44048" fmla="*/ 29690 h 7458372"/>
              <a:gd name="connsiteX44049" fmla="*/ 1580754 w 10505529"/>
              <a:gd name="connsiteY44049" fmla="*/ 41404 h 7458372"/>
              <a:gd name="connsiteX44050" fmla="*/ 1574631 w 10505529"/>
              <a:gd name="connsiteY44050" fmla="*/ 50856 h 7458372"/>
              <a:gd name="connsiteX44051" fmla="*/ 1565313 w 10505529"/>
              <a:gd name="connsiteY44051" fmla="*/ 57113 h 7458372"/>
              <a:gd name="connsiteX44052" fmla="*/ 1553598 w 10505529"/>
              <a:gd name="connsiteY44052" fmla="*/ 59376 h 7458372"/>
              <a:gd name="connsiteX44053" fmla="*/ 1531766 w 10505529"/>
              <a:gd name="connsiteY44053" fmla="*/ 50856 h 7458372"/>
              <a:gd name="connsiteX44054" fmla="*/ 1523380 w 10505529"/>
              <a:gd name="connsiteY44054" fmla="*/ 29690 h 7458372"/>
              <a:gd name="connsiteX44055" fmla="*/ 1531766 w 10505529"/>
              <a:gd name="connsiteY44055" fmla="*/ 8658 h 7458372"/>
              <a:gd name="connsiteX44056" fmla="*/ 1553598 w 10505529"/>
              <a:gd name="connsiteY44056" fmla="*/ 5 h 7458372"/>
              <a:gd name="connsiteX44057" fmla="*/ 1771243 w 10505529"/>
              <a:gd name="connsiteY44057" fmla="*/ 5 h 7458372"/>
              <a:gd name="connsiteX44058" fmla="*/ 1782958 w 10505529"/>
              <a:gd name="connsiteY44058" fmla="*/ 2534 h 7458372"/>
              <a:gd name="connsiteX44059" fmla="*/ 1792276 w 10505529"/>
              <a:gd name="connsiteY44059" fmla="*/ 8924 h 7458372"/>
              <a:gd name="connsiteX44060" fmla="*/ 1798400 w 10505529"/>
              <a:gd name="connsiteY44060" fmla="*/ 18242 h 7458372"/>
              <a:gd name="connsiteX44061" fmla="*/ 1800663 w 10505529"/>
              <a:gd name="connsiteY44061" fmla="*/ 29690 h 7458372"/>
              <a:gd name="connsiteX44062" fmla="*/ 1798400 w 10505529"/>
              <a:gd name="connsiteY44062" fmla="*/ 41404 h 7458372"/>
              <a:gd name="connsiteX44063" fmla="*/ 1792276 w 10505529"/>
              <a:gd name="connsiteY44063" fmla="*/ 50856 h 7458372"/>
              <a:gd name="connsiteX44064" fmla="*/ 1782958 w 10505529"/>
              <a:gd name="connsiteY44064" fmla="*/ 57113 h 7458372"/>
              <a:gd name="connsiteX44065" fmla="*/ 1771243 w 10505529"/>
              <a:gd name="connsiteY44065" fmla="*/ 59376 h 7458372"/>
              <a:gd name="connsiteX44066" fmla="*/ 1749412 w 10505529"/>
              <a:gd name="connsiteY44066" fmla="*/ 50856 h 7458372"/>
              <a:gd name="connsiteX44067" fmla="*/ 1741026 w 10505529"/>
              <a:gd name="connsiteY44067" fmla="*/ 29690 h 7458372"/>
              <a:gd name="connsiteX44068" fmla="*/ 1749412 w 10505529"/>
              <a:gd name="connsiteY44068" fmla="*/ 8658 h 7458372"/>
              <a:gd name="connsiteX44069" fmla="*/ 1771243 w 10505529"/>
              <a:gd name="connsiteY44069" fmla="*/ 5 h 7458372"/>
              <a:gd name="connsiteX44070" fmla="*/ 1988888 w 10505529"/>
              <a:gd name="connsiteY44070" fmla="*/ 4 h 7458372"/>
              <a:gd name="connsiteX44071" fmla="*/ 2000603 w 10505529"/>
              <a:gd name="connsiteY44071" fmla="*/ 2534 h 7458372"/>
              <a:gd name="connsiteX44072" fmla="*/ 2009921 w 10505529"/>
              <a:gd name="connsiteY44072" fmla="*/ 8924 h 7458372"/>
              <a:gd name="connsiteX44073" fmla="*/ 2016044 w 10505529"/>
              <a:gd name="connsiteY44073" fmla="*/ 18242 h 7458372"/>
              <a:gd name="connsiteX44074" fmla="*/ 2018307 w 10505529"/>
              <a:gd name="connsiteY44074" fmla="*/ 29690 h 7458372"/>
              <a:gd name="connsiteX44075" fmla="*/ 2016044 w 10505529"/>
              <a:gd name="connsiteY44075" fmla="*/ 41404 h 7458372"/>
              <a:gd name="connsiteX44076" fmla="*/ 2009921 w 10505529"/>
              <a:gd name="connsiteY44076" fmla="*/ 50855 h 7458372"/>
              <a:gd name="connsiteX44077" fmla="*/ 2000603 w 10505529"/>
              <a:gd name="connsiteY44077" fmla="*/ 57113 h 7458372"/>
              <a:gd name="connsiteX44078" fmla="*/ 1988888 w 10505529"/>
              <a:gd name="connsiteY44078" fmla="*/ 59376 h 7458372"/>
              <a:gd name="connsiteX44079" fmla="*/ 1967056 w 10505529"/>
              <a:gd name="connsiteY44079" fmla="*/ 50855 h 7458372"/>
              <a:gd name="connsiteX44080" fmla="*/ 1958670 w 10505529"/>
              <a:gd name="connsiteY44080" fmla="*/ 29690 h 7458372"/>
              <a:gd name="connsiteX44081" fmla="*/ 1967056 w 10505529"/>
              <a:gd name="connsiteY44081" fmla="*/ 8658 h 7458372"/>
              <a:gd name="connsiteX44082" fmla="*/ 1988888 w 10505529"/>
              <a:gd name="connsiteY44082" fmla="*/ 4 h 7458372"/>
              <a:gd name="connsiteX44083" fmla="*/ 2206400 w 10505529"/>
              <a:gd name="connsiteY44083" fmla="*/ 4 h 7458372"/>
              <a:gd name="connsiteX44084" fmla="*/ 2218115 w 10505529"/>
              <a:gd name="connsiteY44084" fmla="*/ 2533 h 7458372"/>
              <a:gd name="connsiteX44085" fmla="*/ 2227434 w 10505529"/>
              <a:gd name="connsiteY44085" fmla="*/ 8923 h 7458372"/>
              <a:gd name="connsiteX44086" fmla="*/ 2233556 w 10505529"/>
              <a:gd name="connsiteY44086" fmla="*/ 18242 h 7458372"/>
              <a:gd name="connsiteX44087" fmla="*/ 2235819 w 10505529"/>
              <a:gd name="connsiteY44087" fmla="*/ 29690 h 7458372"/>
              <a:gd name="connsiteX44088" fmla="*/ 2233556 w 10505529"/>
              <a:gd name="connsiteY44088" fmla="*/ 41404 h 7458372"/>
              <a:gd name="connsiteX44089" fmla="*/ 2227434 w 10505529"/>
              <a:gd name="connsiteY44089" fmla="*/ 50855 h 7458372"/>
              <a:gd name="connsiteX44090" fmla="*/ 2218115 w 10505529"/>
              <a:gd name="connsiteY44090" fmla="*/ 57112 h 7458372"/>
              <a:gd name="connsiteX44091" fmla="*/ 2206400 w 10505529"/>
              <a:gd name="connsiteY44091" fmla="*/ 59375 h 7458372"/>
              <a:gd name="connsiteX44092" fmla="*/ 2184569 w 10505529"/>
              <a:gd name="connsiteY44092" fmla="*/ 50855 h 7458372"/>
              <a:gd name="connsiteX44093" fmla="*/ 2176183 w 10505529"/>
              <a:gd name="connsiteY44093" fmla="*/ 29690 h 7458372"/>
              <a:gd name="connsiteX44094" fmla="*/ 2184569 w 10505529"/>
              <a:gd name="connsiteY44094" fmla="*/ 8657 h 7458372"/>
              <a:gd name="connsiteX44095" fmla="*/ 2206400 w 10505529"/>
              <a:gd name="connsiteY44095" fmla="*/ 4 h 7458372"/>
              <a:gd name="connsiteX44096" fmla="*/ 2424045 w 10505529"/>
              <a:gd name="connsiteY44096" fmla="*/ 4 h 7458372"/>
              <a:gd name="connsiteX44097" fmla="*/ 2435761 w 10505529"/>
              <a:gd name="connsiteY44097" fmla="*/ 2533 h 7458372"/>
              <a:gd name="connsiteX44098" fmla="*/ 2445079 w 10505529"/>
              <a:gd name="connsiteY44098" fmla="*/ 8923 h 7458372"/>
              <a:gd name="connsiteX44099" fmla="*/ 2451202 w 10505529"/>
              <a:gd name="connsiteY44099" fmla="*/ 18242 h 7458372"/>
              <a:gd name="connsiteX44100" fmla="*/ 2453465 w 10505529"/>
              <a:gd name="connsiteY44100" fmla="*/ 29690 h 7458372"/>
              <a:gd name="connsiteX44101" fmla="*/ 2451202 w 10505529"/>
              <a:gd name="connsiteY44101" fmla="*/ 41404 h 7458372"/>
              <a:gd name="connsiteX44102" fmla="*/ 2445079 w 10505529"/>
              <a:gd name="connsiteY44102" fmla="*/ 50855 h 7458372"/>
              <a:gd name="connsiteX44103" fmla="*/ 2435761 w 10505529"/>
              <a:gd name="connsiteY44103" fmla="*/ 57112 h 7458372"/>
              <a:gd name="connsiteX44104" fmla="*/ 2424045 w 10505529"/>
              <a:gd name="connsiteY44104" fmla="*/ 59375 h 7458372"/>
              <a:gd name="connsiteX44105" fmla="*/ 2402214 w 10505529"/>
              <a:gd name="connsiteY44105" fmla="*/ 50855 h 7458372"/>
              <a:gd name="connsiteX44106" fmla="*/ 2393828 w 10505529"/>
              <a:gd name="connsiteY44106" fmla="*/ 29690 h 7458372"/>
              <a:gd name="connsiteX44107" fmla="*/ 2402214 w 10505529"/>
              <a:gd name="connsiteY44107" fmla="*/ 8657 h 7458372"/>
              <a:gd name="connsiteX44108" fmla="*/ 2424045 w 10505529"/>
              <a:gd name="connsiteY44108" fmla="*/ 4 h 7458372"/>
              <a:gd name="connsiteX44109" fmla="*/ 2641691 w 10505529"/>
              <a:gd name="connsiteY44109" fmla="*/ 4 h 7458372"/>
              <a:gd name="connsiteX44110" fmla="*/ 2653406 w 10505529"/>
              <a:gd name="connsiteY44110" fmla="*/ 2533 h 7458372"/>
              <a:gd name="connsiteX44111" fmla="*/ 2662724 w 10505529"/>
              <a:gd name="connsiteY44111" fmla="*/ 8923 h 7458372"/>
              <a:gd name="connsiteX44112" fmla="*/ 2668847 w 10505529"/>
              <a:gd name="connsiteY44112" fmla="*/ 18241 h 7458372"/>
              <a:gd name="connsiteX44113" fmla="*/ 2671110 w 10505529"/>
              <a:gd name="connsiteY44113" fmla="*/ 29690 h 7458372"/>
              <a:gd name="connsiteX44114" fmla="*/ 2668847 w 10505529"/>
              <a:gd name="connsiteY44114" fmla="*/ 41404 h 7458372"/>
              <a:gd name="connsiteX44115" fmla="*/ 2662724 w 10505529"/>
              <a:gd name="connsiteY44115" fmla="*/ 50855 h 7458372"/>
              <a:gd name="connsiteX44116" fmla="*/ 2653406 w 10505529"/>
              <a:gd name="connsiteY44116" fmla="*/ 57112 h 7458372"/>
              <a:gd name="connsiteX44117" fmla="*/ 2641691 w 10505529"/>
              <a:gd name="connsiteY44117" fmla="*/ 59375 h 7458372"/>
              <a:gd name="connsiteX44118" fmla="*/ 2619859 w 10505529"/>
              <a:gd name="connsiteY44118" fmla="*/ 50855 h 7458372"/>
              <a:gd name="connsiteX44119" fmla="*/ 2611473 w 10505529"/>
              <a:gd name="connsiteY44119" fmla="*/ 29690 h 7458372"/>
              <a:gd name="connsiteX44120" fmla="*/ 2619859 w 10505529"/>
              <a:gd name="connsiteY44120" fmla="*/ 8657 h 7458372"/>
              <a:gd name="connsiteX44121" fmla="*/ 2641691 w 10505529"/>
              <a:gd name="connsiteY44121" fmla="*/ 4 h 7458372"/>
              <a:gd name="connsiteX44122" fmla="*/ 2859336 w 10505529"/>
              <a:gd name="connsiteY44122" fmla="*/ 4 h 7458372"/>
              <a:gd name="connsiteX44123" fmla="*/ 2871184 w 10505529"/>
              <a:gd name="connsiteY44123" fmla="*/ 2533 h 7458372"/>
              <a:gd name="connsiteX44124" fmla="*/ 2880502 w 10505529"/>
              <a:gd name="connsiteY44124" fmla="*/ 8923 h 7458372"/>
              <a:gd name="connsiteX44125" fmla="*/ 2886626 w 10505529"/>
              <a:gd name="connsiteY44125" fmla="*/ 18241 h 7458372"/>
              <a:gd name="connsiteX44126" fmla="*/ 2888889 w 10505529"/>
              <a:gd name="connsiteY44126" fmla="*/ 29690 h 7458372"/>
              <a:gd name="connsiteX44127" fmla="*/ 2886626 w 10505529"/>
              <a:gd name="connsiteY44127" fmla="*/ 41404 h 7458372"/>
              <a:gd name="connsiteX44128" fmla="*/ 2880502 w 10505529"/>
              <a:gd name="connsiteY44128" fmla="*/ 50855 h 7458372"/>
              <a:gd name="connsiteX44129" fmla="*/ 2871184 w 10505529"/>
              <a:gd name="connsiteY44129" fmla="*/ 57112 h 7458372"/>
              <a:gd name="connsiteX44130" fmla="*/ 2859336 w 10505529"/>
              <a:gd name="connsiteY44130" fmla="*/ 59375 h 7458372"/>
              <a:gd name="connsiteX44131" fmla="*/ 2837505 w 10505529"/>
              <a:gd name="connsiteY44131" fmla="*/ 50855 h 7458372"/>
              <a:gd name="connsiteX44132" fmla="*/ 2829119 w 10505529"/>
              <a:gd name="connsiteY44132" fmla="*/ 29690 h 7458372"/>
              <a:gd name="connsiteX44133" fmla="*/ 2837505 w 10505529"/>
              <a:gd name="connsiteY44133" fmla="*/ 8657 h 7458372"/>
              <a:gd name="connsiteX44134" fmla="*/ 2859336 w 10505529"/>
              <a:gd name="connsiteY44134" fmla="*/ 4 h 7458372"/>
              <a:gd name="connsiteX44135" fmla="*/ 3076981 w 10505529"/>
              <a:gd name="connsiteY44135" fmla="*/ 4 h 7458372"/>
              <a:gd name="connsiteX44136" fmla="*/ 3088696 w 10505529"/>
              <a:gd name="connsiteY44136" fmla="*/ 2533 h 7458372"/>
              <a:gd name="connsiteX44137" fmla="*/ 3098014 w 10505529"/>
              <a:gd name="connsiteY44137" fmla="*/ 8923 h 7458372"/>
              <a:gd name="connsiteX44138" fmla="*/ 3104138 w 10505529"/>
              <a:gd name="connsiteY44138" fmla="*/ 18241 h 7458372"/>
              <a:gd name="connsiteX44139" fmla="*/ 3106401 w 10505529"/>
              <a:gd name="connsiteY44139" fmla="*/ 29689 h 7458372"/>
              <a:gd name="connsiteX44140" fmla="*/ 3104138 w 10505529"/>
              <a:gd name="connsiteY44140" fmla="*/ 41404 h 7458372"/>
              <a:gd name="connsiteX44141" fmla="*/ 3098014 w 10505529"/>
              <a:gd name="connsiteY44141" fmla="*/ 50855 h 7458372"/>
              <a:gd name="connsiteX44142" fmla="*/ 3088696 w 10505529"/>
              <a:gd name="connsiteY44142" fmla="*/ 57112 h 7458372"/>
              <a:gd name="connsiteX44143" fmla="*/ 3076981 w 10505529"/>
              <a:gd name="connsiteY44143" fmla="*/ 59375 h 7458372"/>
              <a:gd name="connsiteX44144" fmla="*/ 3055150 w 10505529"/>
              <a:gd name="connsiteY44144" fmla="*/ 50855 h 7458372"/>
              <a:gd name="connsiteX44145" fmla="*/ 3046763 w 10505529"/>
              <a:gd name="connsiteY44145" fmla="*/ 29689 h 7458372"/>
              <a:gd name="connsiteX44146" fmla="*/ 3055150 w 10505529"/>
              <a:gd name="connsiteY44146" fmla="*/ 8657 h 7458372"/>
              <a:gd name="connsiteX44147" fmla="*/ 3076981 w 10505529"/>
              <a:gd name="connsiteY44147" fmla="*/ 4 h 7458372"/>
              <a:gd name="connsiteX44148" fmla="*/ 3294626 w 10505529"/>
              <a:gd name="connsiteY44148" fmla="*/ 4 h 7458372"/>
              <a:gd name="connsiteX44149" fmla="*/ 3306342 w 10505529"/>
              <a:gd name="connsiteY44149" fmla="*/ 2533 h 7458372"/>
              <a:gd name="connsiteX44150" fmla="*/ 3315660 w 10505529"/>
              <a:gd name="connsiteY44150" fmla="*/ 8923 h 7458372"/>
              <a:gd name="connsiteX44151" fmla="*/ 3321783 w 10505529"/>
              <a:gd name="connsiteY44151" fmla="*/ 18241 h 7458372"/>
              <a:gd name="connsiteX44152" fmla="*/ 3324046 w 10505529"/>
              <a:gd name="connsiteY44152" fmla="*/ 29689 h 7458372"/>
              <a:gd name="connsiteX44153" fmla="*/ 3321783 w 10505529"/>
              <a:gd name="connsiteY44153" fmla="*/ 41404 h 7458372"/>
              <a:gd name="connsiteX44154" fmla="*/ 3315660 w 10505529"/>
              <a:gd name="connsiteY44154" fmla="*/ 50855 h 7458372"/>
              <a:gd name="connsiteX44155" fmla="*/ 3306342 w 10505529"/>
              <a:gd name="connsiteY44155" fmla="*/ 57112 h 7458372"/>
              <a:gd name="connsiteX44156" fmla="*/ 3294626 w 10505529"/>
              <a:gd name="connsiteY44156" fmla="*/ 59375 h 7458372"/>
              <a:gd name="connsiteX44157" fmla="*/ 3272795 w 10505529"/>
              <a:gd name="connsiteY44157" fmla="*/ 50855 h 7458372"/>
              <a:gd name="connsiteX44158" fmla="*/ 3264409 w 10505529"/>
              <a:gd name="connsiteY44158" fmla="*/ 29689 h 7458372"/>
              <a:gd name="connsiteX44159" fmla="*/ 3272795 w 10505529"/>
              <a:gd name="connsiteY44159" fmla="*/ 8657 h 7458372"/>
              <a:gd name="connsiteX44160" fmla="*/ 3294626 w 10505529"/>
              <a:gd name="connsiteY44160" fmla="*/ 4 h 7458372"/>
              <a:gd name="connsiteX44161" fmla="*/ 3512138 w 10505529"/>
              <a:gd name="connsiteY44161" fmla="*/ 4 h 7458372"/>
              <a:gd name="connsiteX44162" fmla="*/ 3523854 w 10505529"/>
              <a:gd name="connsiteY44162" fmla="*/ 2533 h 7458372"/>
              <a:gd name="connsiteX44163" fmla="*/ 3533172 w 10505529"/>
              <a:gd name="connsiteY44163" fmla="*/ 8923 h 7458372"/>
              <a:gd name="connsiteX44164" fmla="*/ 3539295 w 10505529"/>
              <a:gd name="connsiteY44164" fmla="*/ 18241 h 7458372"/>
              <a:gd name="connsiteX44165" fmla="*/ 3541558 w 10505529"/>
              <a:gd name="connsiteY44165" fmla="*/ 29689 h 7458372"/>
              <a:gd name="connsiteX44166" fmla="*/ 3539295 w 10505529"/>
              <a:gd name="connsiteY44166" fmla="*/ 41403 h 7458372"/>
              <a:gd name="connsiteX44167" fmla="*/ 3533172 w 10505529"/>
              <a:gd name="connsiteY44167" fmla="*/ 50855 h 7458372"/>
              <a:gd name="connsiteX44168" fmla="*/ 3523854 w 10505529"/>
              <a:gd name="connsiteY44168" fmla="*/ 57112 h 7458372"/>
              <a:gd name="connsiteX44169" fmla="*/ 3512138 w 10505529"/>
              <a:gd name="connsiteY44169" fmla="*/ 59375 h 7458372"/>
              <a:gd name="connsiteX44170" fmla="*/ 3490307 w 10505529"/>
              <a:gd name="connsiteY44170" fmla="*/ 50855 h 7458372"/>
              <a:gd name="connsiteX44171" fmla="*/ 3481921 w 10505529"/>
              <a:gd name="connsiteY44171" fmla="*/ 29689 h 7458372"/>
              <a:gd name="connsiteX44172" fmla="*/ 3490307 w 10505529"/>
              <a:gd name="connsiteY44172" fmla="*/ 8657 h 7458372"/>
              <a:gd name="connsiteX44173" fmla="*/ 3512138 w 10505529"/>
              <a:gd name="connsiteY44173" fmla="*/ 4 h 7458372"/>
              <a:gd name="connsiteX44174" fmla="*/ 3729784 w 10505529"/>
              <a:gd name="connsiteY44174" fmla="*/ 4 h 7458372"/>
              <a:gd name="connsiteX44175" fmla="*/ 3741499 w 10505529"/>
              <a:gd name="connsiteY44175" fmla="*/ 2533 h 7458372"/>
              <a:gd name="connsiteX44176" fmla="*/ 3750817 w 10505529"/>
              <a:gd name="connsiteY44176" fmla="*/ 8923 h 7458372"/>
              <a:gd name="connsiteX44177" fmla="*/ 3756940 w 10505529"/>
              <a:gd name="connsiteY44177" fmla="*/ 18241 h 7458372"/>
              <a:gd name="connsiteX44178" fmla="*/ 3759203 w 10505529"/>
              <a:gd name="connsiteY44178" fmla="*/ 29689 h 7458372"/>
              <a:gd name="connsiteX44179" fmla="*/ 3756940 w 10505529"/>
              <a:gd name="connsiteY44179" fmla="*/ 41403 h 7458372"/>
              <a:gd name="connsiteX44180" fmla="*/ 3750817 w 10505529"/>
              <a:gd name="connsiteY44180" fmla="*/ 50855 h 7458372"/>
              <a:gd name="connsiteX44181" fmla="*/ 3741499 w 10505529"/>
              <a:gd name="connsiteY44181" fmla="*/ 57112 h 7458372"/>
              <a:gd name="connsiteX44182" fmla="*/ 3729784 w 10505529"/>
              <a:gd name="connsiteY44182" fmla="*/ 59375 h 7458372"/>
              <a:gd name="connsiteX44183" fmla="*/ 3707953 w 10505529"/>
              <a:gd name="connsiteY44183" fmla="*/ 50855 h 7458372"/>
              <a:gd name="connsiteX44184" fmla="*/ 3699566 w 10505529"/>
              <a:gd name="connsiteY44184" fmla="*/ 29689 h 7458372"/>
              <a:gd name="connsiteX44185" fmla="*/ 3707953 w 10505529"/>
              <a:gd name="connsiteY44185" fmla="*/ 8657 h 7458372"/>
              <a:gd name="connsiteX44186" fmla="*/ 3729784 w 10505529"/>
              <a:gd name="connsiteY44186" fmla="*/ 4 h 7458372"/>
              <a:gd name="connsiteX44187" fmla="*/ 3947430 w 10505529"/>
              <a:gd name="connsiteY44187" fmla="*/ 3 h 7458372"/>
              <a:gd name="connsiteX44188" fmla="*/ 3959145 w 10505529"/>
              <a:gd name="connsiteY44188" fmla="*/ 2533 h 7458372"/>
              <a:gd name="connsiteX44189" fmla="*/ 3968462 w 10505529"/>
              <a:gd name="connsiteY44189" fmla="*/ 8923 h 7458372"/>
              <a:gd name="connsiteX44190" fmla="*/ 3974586 w 10505529"/>
              <a:gd name="connsiteY44190" fmla="*/ 18241 h 7458372"/>
              <a:gd name="connsiteX44191" fmla="*/ 3976850 w 10505529"/>
              <a:gd name="connsiteY44191" fmla="*/ 29689 h 7458372"/>
              <a:gd name="connsiteX44192" fmla="*/ 3974586 w 10505529"/>
              <a:gd name="connsiteY44192" fmla="*/ 41403 h 7458372"/>
              <a:gd name="connsiteX44193" fmla="*/ 3968462 w 10505529"/>
              <a:gd name="connsiteY44193" fmla="*/ 50854 h 7458372"/>
              <a:gd name="connsiteX44194" fmla="*/ 3959145 w 10505529"/>
              <a:gd name="connsiteY44194" fmla="*/ 57112 h 7458372"/>
              <a:gd name="connsiteX44195" fmla="*/ 3947430 w 10505529"/>
              <a:gd name="connsiteY44195" fmla="*/ 59375 h 7458372"/>
              <a:gd name="connsiteX44196" fmla="*/ 3925599 w 10505529"/>
              <a:gd name="connsiteY44196" fmla="*/ 50854 h 7458372"/>
              <a:gd name="connsiteX44197" fmla="*/ 3917212 w 10505529"/>
              <a:gd name="connsiteY44197" fmla="*/ 29689 h 7458372"/>
              <a:gd name="connsiteX44198" fmla="*/ 3925599 w 10505529"/>
              <a:gd name="connsiteY44198" fmla="*/ 8657 h 7458372"/>
              <a:gd name="connsiteX44199" fmla="*/ 3947430 w 10505529"/>
              <a:gd name="connsiteY44199" fmla="*/ 3 h 7458372"/>
              <a:gd name="connsiteX44200" fmla="*/ 4165068 w 10505529"/>
              <a:gd name="connsiteY44200" fmla="*/ 3 h 7458372"/>
              <a:gd name="connsiteX44201" fmla="*/ 4176782 w 10505529"/>
              <a:gd name="connsiteY44201" fmla="*/ 2532 h 7458372"/>
              <a:gd name="connsiteX44202" fmla="*/ 4186100 w 10505529"/>
              <a:gd name="connsiteY44202" fmla="*/ 8922 h 7458372"/>
              <a:gd name="connsiteX44203" fmla="*/ 4192223 w 10505529"/>
              <a:gd name="connsiteY44203" fmla="*/ 18241 h 7458372"/>
              <a:gd name="connsiteX44204" fmla="*/ 4194486 w 10505529"/>
              <a:gd name="connsiteY44204" fmla="*/ 29689 h 7458372"/>
              <a:gd name="connsiteX44205" fmla="*/ 4192223 w 10505529"/>
              <a:gd name="connsiteY44205" fmla="*/ 41403 h 7458372"/>
              <a:gd name="connsiteX44206" fmla="*/ 4186100 w 10505529"/>
              <a:gd name="connsiteY44206" fmla="*/ 50854 h 7458372"/>
              <a:gd name="connsiteX44207" fmla="*/ 4176782 w 10505529"/>
              <a:gd name="connsiteY44207" fmla="*/ 57111 h 7458372"/>
              <a:gd name="connsiteX44208" fmla="*/ 4165068 w 10505529"/>
              <a:gd name="connsiteY44208" fmla="*/ 59374 h 7458372"/>
              <a:gd name="connsiteX44209" fmla="*/ 4143235 w 10505529"/>
              <a:gd name="connsiteY44209" fmla="*/ 50854 h 7458372"/>
              <a:gd name="connsiteX44210" fmla="*/ 4134849 w 10505529"/>
              <a:gd name="connsiteY44210" fmla="*/ 29689 h 7458372"/>
              <a:gd name="connsiteX44211" fmla="*/ 4143235 w 10505529"/>
              <a:gd name="connsiteY44211" fmla="*/ 8656 h 7458372"/>
              <a:gd name="connsiteX44212" fmla="*/ 4165068 w 10505529"/>
              <a:gd name="connsiteY44212" fmla="*/ 3 h 7458372"/>
              <a:gd name="connsiteX44213" fmla="*/ 4382713 w 10505529"/>
              <a:gd name="connsiteY44213" fmla="*/ 3 h 7458372"/>
              <a:gd name="connsiteX44214" fmla="*/ 4394428 w 10505529"/>
              <a:gd name="connsiteY44214" fmla="*/ 2532 h 7458372"/>
              <a:gd name="connsiteX44215" fmla="*/ 4403746 w 10505529"/>
              <a:gd name="connsiteY44215" fmla="*/ 8922 h 7458372"/>
              <a:gd name="connsiteX44216" fmla="*/ 4409869 w 10505529"/>
              <a:gd name="connsiteY44216" fmla="*/ 18241 h 7458372"/>
              <a:gd name="connsiteX44217" fmla="*/ 4412132 w 10505529"/>
              <a:gd name="connsiteY44217" fmla="*/ 29689 h 7458372"/>
              <a:gd name="connsiteX44218" fmla="*/ 4409869 w 10505529"/>
              <a:gd name="connsiteY44218" fmla="*/ 41403 h 7458372"/>
              <a:gd name="connsiteX44219" fmla="*/ 4403746 w 10505529"/>
              <a:gd name="connsiteY44219" fmla="*/ 50854 h 7458372"/>
              <a:gd name="connsiteX44220" fmla="*/ 4394428 w 10505529"/>
              <a:gd name="connsiteY44220" fmla="*/ 57111 h 7458372"/>
              <a:gd name="connsiteX44221" fmla="*/ 4382713 w 10505529"/>
              <a:gd name="connsiteY44221" fmla="*/ 59374 h 7458372"/>
              <a:gd name="connsiteX44222" fmla="*/ 4360881 w 10505529"/>
              <a:gd name="connsiteY44222" fmla="*/ 50854 h 7458372"/>
              <a:gd name="connsiteX44223" fmla="*/ 4352495 w 10505529"/>
              <a:gd name="connsiteY44223" fmla="*/ 29689 h 7458372"/>
              <a:gd name="connsiteX44224" fmla="*/ 4360881 w 10505529"/>
              <a:gd name="connsiteY44224" fmla="*/ 8656 h 7458372"/>
              <a:gd name="connsiteX44225" fmla="*/ 4382713 w 10505529"/>
              <a:gd name="connsiteY44225" fmla="*/ 3 h 7458372"/>
              <a:gd name="connsiteX44226" fmla="*/ 4600226 w 10505529"/>
              <a:gd name="connsiteY44226" fmla="*/ 3 h 7458372"/>
              <a:gd name="connsiteX44227" fmla="*/ 4612073 w 10505529"/>
              <a:gd name="connsiteY44227" fmla="*/ 2532 h 7458372"/>
              <a:gd name="connsiteX44228" fmla="*/ 4621391 w 10505529"/>
              <a:gd name="connsiteY44228" fmla="*/ 8922 h 7458372"/>
              <a:gd name="connsiteX44229" fmla="*/ 4627514 w 10505529"/>
              <a:gd name="connsiteY44229" fmla="*/ 18240 h 7458372"/>
              <a:gd name="connsiteX44230" fmla="*/ 4629777 w 10505529"/>
              <a:gd name="connsiteY44230" fmla="*/ 29689 h 7458372"/>
              <a:gd name="connsiteX44231" fmla="*/ 4627514 w 10505529"/>
              <a:gd name="connsiteY44231" fmla="*/ 41403 h 7458372"/>
              <a:gd name="connsiteX44232" fmla="*/ 4621391 w 10505529"/>
              <a:gd name="connsiteY44232" fmla="*/ 50854 h 7458372"/>
              <a:gd name="connsiteX44233" fmla="*/ 4612073 w 10505529"/>
              <a:gd name="connsiteY44233" fmla="*/ 57111 h 7458372"/>
              <a:gd name="connsiteX44234" fmla="*/ 4600226 w 10505529"/>
              <a:gd name="connsiteY44234" fmla="*/ 59374 h 7458372"/>
              <a:gd name="connsiteX44235" fmla="*/ 4578393 w 10505529"/>
              <a:gd name="connsiteY44235" fmla="*/ 50854 h 7458372"/>
              <a:gd name="connsiteX44236" fmla="*/ 4570007 w 10505529"/>
              <a:gd name="connsiteY44236" fmla="*/ 29689 h 7458372"/>
              <a:gd name="connsiteX44237" fmla="*/ 4578393 w 10505529"/>
              <a:gd name="connsiteY44237" fmla="*/ 8656 h 7458372"/>
              <a:gd name="connsiteX44238" fmla="*/ 4600226 w 10505529"/>
              <a:gd name="connsiteY44238" fmla="*/ 3 h 7458372"/>
              <a:gd name="connsiteX44239" fmla="*/ 4817870 w 10505529"/>
              <a:gd name="connsiteY44239" fmla="*/ 3 h 7458372"/>
              <a:gd name="connsiteX44240" fmla="*/ 4829585 w 10505529"/>
              <a:gd name="connsiteY44240" fmla="*/ 2532 h 7458372"/>
              <a:gd name="connsiteX44241" fmla="*/ 4838903 w 10505529"/>
              <a:gd name="connsiteY44241" fmla="*/ 8922 h 7458372"/>
              <a:gd name="connsiteX44242" fmla="*/ 4845026 w 10505529"/>
              <a:gd name="connsiteY44242" fmla="*/ 18240 h 7458372"/>
              <a:gd name="connsiteX44243" fmla="*/ 4847289 w 10505529"/>
              <a:gd name="connsiteY44243" fmla="*/ 29689 h 7458372"/>
              <a:gd name="connsiteX44244" fmla="*/ 4845026 w 10505529"/>
              <a:gd name="connsiteY44244" fmla="*/ 41403 h 7458372"/>
              <a:gd name="connsiteX44245" fmla="*/ 4838903 w 10505529"/>
              <a:gd name="connsiteY44245" fmla="*/ 50854 h 7458372"/>
              <a:gd name="connsiteX44246" fmla="*/ 4829585 w 10505529"/>
              <a:gd name="connsiteY44246" fmla="*/ 57111 h 7458372"/>
              <a:gd name="connsiteX44247" fmla="*/ 4817870 w 10505529"/>
              <a:gd name="connsiteY44247" fmla="*/ 59374 h 7458372"/>
              <a:gd name="connsiteX44248" fmla="*/ 4796038 w 10505529"/>
              <a:gd name="connsiteY44248" fmla="*/ 50854 h 7458372"/>
              <a:gd name="connsiteX44249" fmla="*/ 4787652 w 10505529"/>
              <a:gd name="connsiteY44249" fmla="*/ 29689 h 7458372"/>
              <a:gd name="connsiteX44250" fmla="*/ 4796038 w 10505529"/>
              <a:gd name="connsiteY44250" fmla="*/ 8656 h 7458372"/>
              <a:gd name="connsiteX44251" fmla="*/ 4817870 w 10505529"/>
              <a:gd name="connsiteY44251" fmla="*/ 3 h 7458372"/>
              <a:gd name="connsiteX44252" fmla="*/ 5035515 w 10505529"/>
              <a:gd name="connsiteY44252" fmla="*/ 3 h 7458372"/>
              <a:gd name="connsiteX44253" fmla="*/ 5047230 w 10505529"/>
              <a:gd name="connsiteY44253" fmla="*/ 2532 h 7458372"/>
              <a:gd name="connsiteX44254" fmla="*/ 5056548 w 10505529"/>
              <a:gd name="connsiteY44254" fmla="*/ 8922 h 7458372"/>
              <a:gd name="connsiteX44255" fmla="*/ 5062671 w 10505529"/>
              <a:gd name="connsiteY44255" fmla="*/ 18240 h 7458372"/>
              <a:gd name="connsiteX44256" fmla="*/ 5064934 w 10505529"/>
              <a:gd name="connsiteY44256" fmla="*/ 29688 h 7458372"/>
              <a:gd name="connsiteX44257" fmla="*/ 5062671 w 10505529"/>
              <a:gd name="connsiteY44257" fmla="*/ 41403 h 7458372"/>
              <a:gd name="connsiteX44258" fmla="*/ 5056548 w 10505529"/>
              <a:gd name="connsiteY44258" fmla="*/ 50854 h 7458372"/>
              <a:gd name="connsiteX44259" fmla="*/ 5047230 w 10505529"/>
              <a:gd name="connsiteY44259" fmla="*/ 57111 h 7458372"/>
              <a:gd name="connsiteX44260" fmla="*/ 5035515 w 10505529"/>
              <a:gd name="connsiteY44260" fmla="*/ 59374 h 7458372"/>
              <a:gd name="connsiteX44261" fmla="*/ 5013683 w 10505529"/>
              <a:gd name="connsiteY44261" fmla="*/ 50854 h 7458372"/>
              <a:gd name="connsiteX44262" fmla="*/ 5005297 w 10505529"/>
              <a:gd name="connsiteY44262" fmla="*/ 29688 h 7458372"/>
              <a:gd name="connsiteX44263" fmla="*/ 5013683 w 10505529"/>
              <a:gd name="connsiteY44263" fmla="*/ 8656 h 7458372"/>
              <a:gd name="connsiteX44264" fmla="*/ 5035515 w 10505529"/>
              <a:gd name="connsiteY44264" fmla="*/ 3 h 7458372"/>
              <a:gd name="connsiteX44265" fmla="*/ 5253160 w 10505529"/>
              <a:gd name="connsiteY44265" fmla="*/ 3 h 7458372"/>
              <a:gd name="connsiteX44266" fmla="*/ 5264875 w 10505529"/>
              <a:gd name="connsiteY44266" fmla="*/ 2532 h 7458372"/>
              <a:gd name="connsiteX44267" fmla="*/ 5274192 w 10505529"/>
              <a:gd name="connsiteY44267" fmla="*/ 8922 h 7458372"/>
              <a:gd name="connsiteX44268" fmla="*/ 5280316 w 10505529"/>
              <a:gd name="connsiteY44268" fmla="*/ 18240 h 7458372"/>
              <a:gd name="connsiteX44269" fmla="*/ 5282579 w 10505529"/>
              <a:gd name="connsiteY44269" fmla="*/ 29688 h 7458372"/>
              <a:gd name="connsiteX44270" fmla="*/ 5280316 w 10505529"/>
              <a:gd name="connsiteY44270" fmla="*/ 41403 h 7458372"/>
              <a:gd name="connsiteX44271" fmla="*/ 5274192 w 10505529"/>
              <a:gd name="connsiteY44271" fmla="*/ 50854 h 7458372"/>
              <a:gd name="connsiteX44272" fmla="*/ 5264875 w 10505529"/>
              <a:gd name="connsiteY44272" fmla="*/ 57111 h 7458372"/>
              <a:gd name="connsiteX44273" fmla="*/ 5253160 w 10505529"/>
              <a:gd name="connsiteY44273" fmla="*/ 59374 h 7458372"/>
              <a:gd name="connsiteX44274" fmla="*/ 5231328 w 10505529"/>
              <a:gd name="connsiteY44274" fmla="*/ 50854 h 7458372"/>
              <a:gd name="connsiteX44275" fmla="*/ 5222942 w 10505529"/>
              <a:gd name="connsiteY44275" fmla="*/ 29688 h 7458372"/>
              <a:gd name="connsiteX44276" fmla="*/ 5231328 w 10505529"/>
              <a:gd name="connsiteY44276" fmla="*/ 8656 h 7458372"/>
              <a:gd name="connsiteX44277" fmla="*/ 5253160 w 10505529"/>
              <a:gd name="connsiteY44277" fmla="*/ 3 h 7458372"/>
              <a:gd name="connsiteX44278" fmla="*/ 5470806 w 10505529"/>
              <a:gd name="connsiteY44278" fmla="*/ 3 h 7458372"/>
              <a:gd name="connsiteX44279" fmla="*/ 5482520 w 10505529"/>
              <a:gd name="connsiteY44279" fmla="*/ 2532 h 7458372"/>
              <a:gd name="connsiteX44280" fmla="*/ 5491838 w 10505529"/>
              <a:gd name="connsiteY44280" fmla="*/ 8922 h 7458372"/>
              <a:gd name="connsiteX44281" fmla="*/ 5497961 w 10505529"/>
              <a:gd name="connsiteY44281" fmla="*/ 18240 h 7458372"/>
              <a:gd name="connsiteX44282" fmla="*/ 5500224 w 10505529"/>
              <a:gd name="connsiteY44282" fmla="*/ 29688 h 7458372"/>
              <a:gd name="connsiteX44283" fmla="*/ 5497961 w 10505529"/>
              <a:gd name="connsiteY44283" fmla="*/ 41402 h 7458372"/>
              <a:gd name="connsiteX44284" fmla="*/ 5491838 w 10505529"/>
              <a:gd name="connsiteY44284" fmla="*/ 50854 h 7458372"/>
              <a:gd name="connsiteX44285" fmla="*/ 5482520 w 10505529"/>
              <a:gd name="connsiteY44285" fmla="*/ 57111 h 7458372"/>
              <a:gd name="connsiteX44286" fmla="*/ 5470806 w 10505529"/>
              <a:gd name="connsiteY44286" fmla="*/ 59374 h 7458372"/>
              <a:gd name="connsiteX44287" fmla="*/ 5448973 w 10505529"/>
              <a:gd name="connsiteY44287" fmla="*/ 50854 h 7458372"/>
              <a:gd name="connsiteX44288" fmla="*/ 5440587 w 10505529"/>
              <a:gd name="connsiteY44288" fmla="*/ 29688 h 7458372"/>
              <a:gd name="connsiteX44289" fmla="*/ 5448973 w 10505529"/>
              <a:gd name="connsiteY44289" fmla="*/ 8656 h 7458372"/>
              <a:gd name="connsiteX44290" fmla="*/ 5470806 w 10505529"/>
              <a:gd name="connsiteY44290" fmla="*/ 3 h 7458372"/>
              <a:gd name="connsiteX44291" fmla="*/ 5688451 w 10505529"/>
              <a:gd name="connsiteY44291" fmla="*/ 3 h 7458372"/>
              <a:gd name="connsiteX44292" fmla="*/ 5700165 w 10505529"/>
              <a:gd name="connsiteY44292" fmla="*/ 2532 h 7458372"/>
              <a:gd name="connsiteX44293" fmla="*/ 5709483 w 10505529"/>
              <a:gd name="connsiteY44293" fmla="*/ 8922 h 7458372"/>
              <a:gd name="connsiteX44294" fmla="*/ 5715606 w 10505529"/>
              <a:gd name="connsiteY44294" fmla="*/ 18240 h 7458372"/>
              <a:gd name="connsiteX44295" fmla="*/ 5717869 w 10505529"/>
              <a:gd name="connsiteY44295" fmla="*/ 29688 h 7458372"/>
              <a:gd name="connsiteX44296" fmla="*/ 5715606 w 10505529"/>
              <a:gd name="connsiteY44296" fmla="*/ 41402 h 7458372"/>
              <a:gd name="connsiteX44297" fmla="*/ 5709483 w 10505529"/>
              <a:gd name="connsiteY44297" fmla="*/ 50854 h 7458372"/>
              <a:gd name="connsiteX44298" fmla="*/ 5700165 w 10505529"/>
              <a:gd name="connsiteY44298" fmla="*/ 57111 h 7458372"/>
              <a:gd name="connsiteX44299" fmla="*/ 5688451 w 10505529"/>
              <a:gd name="connsiteY44299" fmla="*/ 59374 h 7458372"/>
              <a:gd name="connsiteX44300" fmla="*/ 5666618 w 10505529"/>
              <a:gd name="connsiteY44300" fmla="*/ 50854 h 7458372"/>
              <a:gd name="connsiteX44301" fmla="*/ 5658232 w 10505529"/>
              <a:gd name="connsiteY44301" fmla="*/ 29688 h 7458372"/>
              <a:gd name="connsiteX44302" fmla="*/ 5666618 w 10505529"/>
              <a:gd name="connsiteY44302" fmla="*/ 8656 h 7458372"/>
              <a:gd name="connsiteX44303" fmla="*/ 5688451 w 10505529"/>
              <a:gd name="connsiteY44303" fmla="*/ 3 h 7458372"/>
              <a:gd name="connsiteX44304" fmla="*/ 5905963 w 10505529"/>
              <a:gd name="connsiteY44304" fmla="*/ 2 h 7458372"/>
              <a:gd name="connsiteX44305" fmla="*/ 5917677 w 10505529"/>
              <a:gd name="connsiteY44305" fmla="*/ 2532 h 7458372"/>
              <a:gd name="connsiteX44306" fmla="*/ 5926995 w 10505529"/>
              <a:gd name="connsiteY44306" fmla="*/ 8922 h 7458372"/>
              <a:gd name="connsiteX44307" fmla="*/ 5933118 w 10505529"/>
              <a:gd name="connsiteY44307" fmla="*/ 18240 h 7458372"/>
              <a:gd name="connsiteX44308" fmla="*/ 5935381 w 10505529"/>
              <a:gd name="connsiteY44308" fmla="*/ 29688 h 7458372"/>
              <a:gd name="connsiteX44309" fmla="*/ 5933118 w 10505529"/>
              <a:gd name="connsiteY44309" fmla="*/ 41402 h 7458372"/>
              <a:gd name="connsiteX44310" fmla="*/ 5926995 w 10505529"/>
              <a:gd name="connsiteY44310" fmla="*/ 50853 h 7458372"/>
              <a:gd name="connsiteX44311" fmla="*/ 5917677 w 10505529"/>
              <a:gd name="connsiteY44311" fmla="*/ 57111 h 7458372"/>
              <a:gd name="connsiteX44312" fmla="*/ 5905963 w 10505529"/>
              <a:gd name="connsiteY44312" fmla="*/ 59374 h 7458372"/>
              <a:gd name="connsiteX44313" fmla="*/ 5884130 w 10505529"/>
              <a:gd name="connsiteY44313" fmla="*/ 50853 h 7458372"/>
              <a:gd name="connsiteX44314" fmla="*/ 5875744 w 10505529"/>
              <a:gd name="connsiteY44314" fmla="*/ 29688 h 7458372"/>
              <a:gd name="connsiteX44315" fmla="*/ 5884130 w 10505529"/>
              <a:gd name="connsiteY44315" fmla="*/ 8656 h 7458372"/>
              <a:gd name="connsiteX44316" fmla="*/ 5905963 w 10505529"/>
              <a:gd name="connsiteY44316" fmla="*/ 2 h 7458372"/>
              <a:gd name="connsiteX44317" fmla="*/ 6123608 w 10505529"/>
              <a:gd name="connsiteY44317" fmla="*/ 2 h 7458372"/>
              <a:gd name="connsiteX44318" fmla="*/ 6135322 w 10505529"/>
              <a:gd name="connsiteY44318" fmla="*/ 2531 h 7458372"/>
              <a:gd name="connsiteX44319" fmla="*/ 6144640 w 10505529"/>
              <a:gd name="connsiteY44319" fmla="*/ 8921 h 7458372"/>
              <a:gd name="connsiteX44320" fmla="*/ 6150763 w 10505529"/>
              <a:gd name="connsiteY44320" fmla="*/ 18240 h 7458372"/>
              <a:gd name="connsiteX44321" fmla="*/ 6153026 w 10505529"/>
              <a:gd name="connsiteY44321" fmla="*/ 29688 h 7458372"/>
              <a:gd name="connsiteX44322" fmla="*/ 6150763 w 10505529"/>
              <a:gd name="connsiteY44322" fmla="*/ 41402 h 7458372"/>
              <a:gd name="connsiteX44323" fmla="*/ 6144640 w 10505529"/>
              <a:gd name="connsiteY44323" fmla="*/ 50853 h 7458372"/>
              <a:gd name="connsiteX44324" fmla="*/ 6135322 w 10505529"/>
              <a:gd name="connsiteY44324" fmla="*/ 57110 h 7458372"/>
              <a:gd name="connsiteX44325" fmla="*/ 6123608 w 10505529"/>
              <a:gd name="connsiteY44325" fmla="*/ 59373 h 7458372"/>
              <a:gd name="connsiteX44326" fmla="*/ 6101775 w 10505529"/>
              <a:gd name="connsiteY44326" fmla="*/ 50853 h 7458372"/>
              <a:gd name="connsiteX44327" fmla="*/ 6093389 w 10505529"/>
              <a:gd name="connsiteY44327" fmla="*/ 29688 h 7458372"/>
              <a:gd name="connsiteX44328" fmla="*/ 6101775 w 10505529"/>
              <a:gd name="connsiteY44328" fmla="*/ 8655 h 7458372"/>
              <a:gd name="connsiteX44329" fmla="*/ 6123608 w 10505529"/>
              <a:gd name="connsiteY44329" fmla="*/ 2 h 7458372"/>
              <a:gd name="connsiteX44330" fmla="*/ 6341253 w 10505529"/>
              <a:gd name="connsiteY44330" fmla="*/ 2 h 7458372"/>
              <a:gd name="connsiteX44331" fmla="*/ 6352968 w 10505529"/>
              <a:gd name="connsiteY44331" fmla="*/ 2531 h 7458372"/>
              <a:gd name="connsiteX44332" fmla="*/ 6362286 w 10505529"/>
              <a:gd name="connsiteY44332" fmla="*/ 8921 h 7458372"/>
              <a:gd name="connsiteX44333" fmla="*/ 6368409 w 10505529"/>
              <a:gd name="connsiteY44333" fmla="*/ 18240 h 7458372"/>
              <a:gd name="connsiteX44334" fmla="*/ 6370672 w 10505529"/>
              <a:gd name="connsiteY44334" fmla="*/ 29688 h 7458372"/>
              <a:gd name="connsiteX44335" fmla="*/ 6368409 w 10505529"/>
              <a:gd name="connsiteY44335" fmla="*/ 41402 h 7458372"/>
              <a:gd name="connsiteX44336" fmla="*/ 6362286 w 10505529"/>
              <a:gd name="connsiteY44336" fmla="*/ 50853 h 7458372"/>
              <a:gd name="connsiteX44337" fmla="*/ 6352968 w 10505529"/>
              <a:gd name="connsiteY44337" fmla="*/ 57110 h 7458372"/>
              <a:gd name="connsiteX44338" fmla="*/ 6341253 w 10505529"/>
              <a:gd name="connsiteY44338" fmla="*/ 59373 h 7458372"/>
              <a:gd name="connsiteX44339" fmla="*/ 6319421 w 10505529"/>
              <a:gd name="connsiteY44339" fmla="*/ 50853 h 7458372"/>
              <a:gd name="connsiteX44340" fmla="*/ 6311035 w 10505529"/>
              <a:gd name="connsiteY44340" fmla="*/ 29688 h 7458372"/>
              <a:gd name="connsiteX44341" fmla="*/ 6319421 w 10505529"/>
              <a:gd name="connsiteY44341" fmla="*/ 8655 h 7458372"/>
              <a:gd name="connsiteX44342" fmla="*/ 6341253 w 10505529"/>
              <a:gd name="connsiteY44342" fmla="*/ 2 h 7458372"/>
              <a:gd name="connsiteX44343" fmla="*/ 6558899 w 10505529"/>
              <a:gd name="connsiteY44343" fmla="*/ 2 h 7458372"/>
              <a:gd name="connsiteX44344" fmla="*/ 6570612 w 10505529"/>
              <a:gd name="connsiteY44344" fmla="*/ 2531 h 7458372"/>
              <a:gd name="connsiteX44345" fmla="*/ 6579930 w 10505529"/>
              <a:gd name="connsiteY44345" fmla="*/ 8921 h 7458372"/>
              <a:gd name="connsiteX44346" fmla="*/ 6586054 w 10505529"/>
              <a:gd name="connsiteY44346" fmla="*/ 18239 h 7458372"/>
              <a:gd name="connsiteX44347" fmla="*/ 6588317 w 10505529"/>
              <a:gd name="connsiteY44347" fmla="*/ 29688 h 7458372"/>
              <a:gd name="connsiteX44348" fmla="*/ 6586054 w 10505529"/>
              <a:gd name="connsiteY44348" fmla="*/ 41402 h 7458372"/>
              <a:gd name="connsiteX44349" fmla="*/ 6579930 w 10505529"/>
              <a:gd name="connsiteY44349" fmla="*/ 50853 h 7458372"/>
              <a:gd name="connsiteX44350" fmla="*/ 6570612 w 10505529"/>
              <a:gd name="connsiteY44350" fmla="*/ 57110 h 7458372"/>
              <a:gd name="connsiteX44351" fmla="*/ 6558899 w 10505529"/>
              <a:gd name="connsiteY44351" fmla="*/ 59373 h 7458372"/>
              <a:gd name="connsiteX44352" fmla="*/ 6537066 w 10505529"/>
              <a:gd name="connsiteY44352" fmla="*/ 50853 h 7458372"/>
              <a:gd name="connsiteX44353" fmla="*/ 6528680 w 10505529"/>
              <a:gd name="connsiteY44353" fmla="*/ 29688 h 7458372"/>
              <a:gd name="connsiteX44354" fmla="*/ 6537066 w 10505529"/>
              <a:gd name="connsiteY44354" fmla="*/ 8655 h 7458372"/>
              <a:gd name="connsiteX44355" fmla="*/ 6558899 w 10505529"/>
              <a:gd name="connsiteY44355" fmla="*/ 2 h 7458372"/>
              <a:gd name="connsiteX44356" fmla="*/ 6776544 w 10505529"/>
              <a:gd name="connsiteY44356" fmla="*/ 2 h 7458372"/>
              <a:gd name="connsiteX44357" fmla="*/ 6788258 w 10505529"/>
              <a:gd name="connsiteY44357" fmla="*/ 2531 h 7458372"/>
              <a:gd name="connsiteX44358" fmla="*/ 6797576 w 10505529"/>
              <a:gd name="connsiteY44358" fmla="*/ 8921 h 7458372"/>
              <a:gd name="connsiteX44359" fmla="*/ 6803699 w 10505529"/>
              <a:gd name="connsiteY44359" fmla="*/ 18239 h 7458372"/>
              <a:gd name="connsiteX44360" fmla="*/ 6805963 w 10505529"/>
              <a:gd name="connsiteY44360" fmla="*/ 29688 h 7458372"/>
              <a:gd name="connsiteX44361" fmla="*/ 6803699 w 10505529"/>
              <a:gd name="connsiteY44361" fmla="*/ 41402 h 7458372"/>
              <a:gd name="connsiteX44362" fmla="*/ 6797576 w 10505529"/>
              <a:gd name="connsiteY44362" fmla="*/ 50853 h 7458372"/>
              <a:gd name="connsiteX44363" fmla="*/ 6788258 w 10505529"/>
              <a:gd name="connsiteY44363" fmla="*/ 57110 h 7458372"/>
              <a:gd name="connsiteX44364" fmla="*/ 6776544 w 10505529"/>
              <a:gd name="connsiteY44364" fmla="*/ 59373 h 7458372"/>
              <a:gd name="connsiteX44365" fmla="*/ 6754711 w 10505529"/>
              <a:gd name="connsiteY44365" fmla="*/ 50853 h 7458372"/>
              <a:gd name="connsiteX44366" fmla="*/ 6746325 w 10505529"/>
              <a:gd name="connsiteY44366" fmla="*/ 29688 h 7458372"/>
              <a:gd name="connsiteX44367" fmla="*/ 6754711 w 10505529"/>
              <a:gd name="connsiteY44367" fmla="*/ 8655 h 7458372"/>
              <a:gd name="connsiteX44368" fmla="*/ 6776544 w 10505529"/>
              <a:gd name="connsiteY44368" fmla="*/ 2 h 7458372"/>
              <a:gd name="connsiteX44369" fmla="*/ 6994056 w 10505529"/>
              <a:gd name="connsiteY44369" fmla="*/ 2 h 7458372"/>
              <a:gd name="connsiteX44370" fmla="*/ 7005769 w 10505529"/>
              <a:gd name="connsiteY44370" fmla="*/ 2531 h 7458372"/>
              <a:gd name="connsiteX44371" fmla="*/ 7015087 w 10505529"/>
              <a:gd name="connsiteY44371" fmla="*/ 8921 h 7458372"/>
              <a:gd name="connsiteX44372" fmla="*/ 7021211 w 10505529"/>
              <a:gd name="connsiteY44372" fmla="*/ 18239 h 7458372"/>
              <a:gd name="connsiteX44373" fmla="*/ 7023474 w 10505529"/>
              <a:gd name="connsiteY44373" fmla="*/ 29687 h 7458372"/>
              <a:gd name="connsiteX44374" fmla="*/ 7021211 w 10505529"/>
              <a:gd name="connsiteY44374" fmla="*/ 41402 h 7458372"/>
              <a:gd name="connsiteX44375" fmla="*/ 7015087 w 10505529"/>
              <a:gd name="connsiteY44375" fmla="*/ 50853 h 7458372"/>
              <a:gd name="connsiteX44376" fmla="*/ 7005769 w 10505529"/>
              <a:gd name="connsiteY44376" fmla="*/ 57110 h 7458372"/>
              <a:gd name="connsiteX44377" fmla="*/ 6994056 w 10505529"/>
              <a:gd name="connsiteY44377" fmla="*/ 59373 h 7458372"/>
              <a:gd name="connsiteX44378" fmla="*/ 6972223 w 10505529"/>
              <a:gd name="connsiteY44378" fmla="*/ 50853 h 7458372"/>
              <a:gd name="connsiteX44379" fmla="*/ 6963837 w 10505529"/>
              <a:gd name="connsiteY44379" fmla="*/ 29687 h 7458372"/>
              <a:gd name="connsiteX44380" fmla="*/ 6972223 w 10505529"/>
              <a:gd name="connsiteY44380" fmla="*/ 8655 h 7458372"/>
              <a:gd name="connsiteX44381" fmla="*/ 6994056 w 10505529"/>
              <a:gd name="connsiteY44381" fmla="*/ 2 h 7458372"/>
              <a:gd name="connsiteX44382" fmla="*/ 7211701 w 10505529"/>
              <a:gd name="connsiteY44382" fmla="*/ 2 h 7458372"/>
              <a:gd name="connsiteX44383" fmla="*/ 7223415 w 10505529"/>
              <a:gd name="connsiteY44383" fmla="*/ 2531 h 7458372"/>
              <a:gd name="connsiteX44384" fmla="*/ 7232733 w 10505529"/>
              <a:gd name="connsiteY44384" fmla="*/ 8921 h 7458372"/>
              <a:gd name="connsiteX44385" fmla="*/ 7238856 w 10505529"/>
              <a:gd name="connsiteY44385" fmla="*/ 18239 h 7458372"/>
              <a:gd name="connsiteX44386" fmla="*/ 7241120 w 10505529"/>
              <a:gd name="connsiteY44386" fmla="*/ 29687 h 7458372"/>
              <a:gd name="connsiteX44387" fmla="*/ 7238856 w 10505529"/>
              <a:gd name="connsiteY44387" fmla="*/ 41402 h 7458372"/>
              <a:gd name="connsiteX44388" fmla="*/ 7232733 w 10505529"/>
              <a:gd name="connsiteY44388" fmla="*/ 50853 h 7458372"/>
              <a:gd name="connsiteX44389" fmla="*/ 7223415 w 10505529"/>
              <a:gd name="connsiteY44389" fmla="*/ 57110 h 7458372"/>
              <a:gd name="connsiteX44390" fmla="*/ 7211701 w 10505529"/>
              <a:gd name="connsiteY44390" fmla="*/ 59373 h 7458372"/>
              <a:gd name="connsiteX44391" fmla="*/ 7189868 w 10505529"/>
              <a:gd name="connsiteY44391" fmla="*/ 50853 h 7458372"/>
              <a:gd name="connsiteX44392" fmla="*/ 7181482 w 10505529"/>
              <a:gd name="connsiteY44392" fmla="*/ 29687 h 7458372"/>
              <a:gd name="connsiteX44393" fmla="*/ 7189868 w 10505529"/>
              <a:gd name="connsiteY44393" fmla="*/ 8655 h 7458372"/>
              <a:gd name="connsiteX44394" fmla="*/ 7211701 w 10505529"/>
              <a:gd name="connsiteY44394" fmla="*/ 2 h 7458372"/>
              <a:gd name="connsiteX44395" fmla="*/ 7429345 w 10505529"/>
              <a:gd name="connsiteY44395" fmla="*/ 2 h 7458372"/>
              <a:gd name="connsiteX44396" fmla="*/ 7441059 w 10505529"/>
              <a:gd name="connsiteY44396" fmla="*/ 2531 h 7458372"/>
              <a:gd name="connsiteX44397" fmla="*/ 7450377 w 10505529"/>
              <a:gd name="connsiteY44397" fmla="*/ 8921 h 7458372"/>
              <a:gd name="connsiteX44398" fmla="*/ 7456501 w 10505529"/>
              <a:gd name="connsiteY44398" fmla="*/ 18239 h 7458372"/>
              <a:gd name="connsiteX44399" fmla="*/ 7458764 w 10505529"/>
              <a:gd name="connsiteY44399" fmla="*/ 29687 h 7458372"/>
              <a:gd name="connsiteX44400" fmla="*/ 7456501 w 10505529"/>
              <a:gd name="connsiteY44400" fmla="*/ 41401 h 7458372"/>
              <a:gd name="connsiteX44401" fmla="*/ 7450377 w 10505529"/>
              <a:gd name="connsiteY44401" fmla="*/ 50853 h 7458372"/>
              <a:gd name="connsiteX44402" fmla="*/ 7441059 w 10505529"/>
              <a:gd name="connsiteY44402" fmla="*/ 57110 h 7458372"/>
              <a:gd name="connsiteX44403" fmla="*/ 7429345 w 10505529"/>
              <a:gd name="connsiteY44403" fmla="*/ 59373 h 7458372"/>
              <a:gd name="connsiteX44404" fmla="*/ 7407513 w 10505529"/>
              <a:gd name="connsiteY44404" fmla="*/ 50853 h 7458372"/>
              <a:gd name="connsiteX44405" fmla="*/ 7399127 w 10505529"/>
              <a:gd name="connsiteY44405" fmla="*/ 29687 h 7458372"/>
              <a:gd name="connsiteX44406" fmla="*/ 7407513 w 10505529"/>
              <a:gd name="connsiteY44406" fmla="*/ 8655 h 7458372"/>
              <a:gd name="connsiteX44407" fmla="*/ 7429345 w 10505529"/>
              <a:gd name="connsiteY44407" fmla="*/ 2 h 7458372"/>
              <a:gd name="connsiteX44408" fmla="*/ 7646991 w 10505529"/>
              <a:gd name="connsiteY44408" fmla="*/ 2 h 7458372"/>
              <a:gd name="connsiteX44409" fmla="*/ 7658705 w 10505529"/>
              <a:gd name="connsiteY44409" fmla="*/ 2531 h 7458372"/>
              <a:gd name="connsiteX44410" fmla="*/ 7668022 w 10505529"/>
              <a:gd name="connsiteY44410" fmla="*/ 8921 h 7458372"/>
              <a:gd name="connsiteX44411" fmla="*/ 7674146 w 10505529"/>
              <a:gd name="connsiteY44411" fmla="*/ 18239 h 7458372"/>
              <a:gd name="connsiteX44412" fmla="*/ 7676409 w 10505529"/>
              <a:gd name="connsiteY44412" fmla="*/ 29687 h 7458372"/>
              <a:gd name="connsiteX44413" fmla="*/ 7674146 w 10505529"/>
              <a:gd name="connsiteY44413" fmla="*/ 41401 h 7458372"/>
              <a:gd name="connsiteX44414" fmla="*/ 7668022 w 10505529"/>
              <a:gd name="connsiteY44414" fmla="*/ 50853 h 7458372"/>
              <a:gd name="connsiteX44415" fmla="*/ 7658705 w 10505529"/>
              <a:gd name="connsiteY44415" fmla="*/ 57110 h 7458372"/>
              <a:gd name="connsiteX44416" fmla="*/ 7646991 w 10505529"/>
              <a:gd name="connsiteY44416" fmla="*/ 59373 h 7458372"/>
              <a:gd name="connsiteX44417" fmla="*/ 7625158 w 10505529"/>
              <a:gd name="connsiteY44417" fmla="*/ 50853 h 7458372"/>
              <a:gd name="connsiteX44418" fmla="*/ 7616772 w 10505529"/>
              <a:gd name="connsiteY44418" fmla="*/ 29687 h 7458372"/>
              <a:gd name="connsiteX44419" fmla="*/ 7625158 w 10505529"/>
              <a:gd name="connsiteY44419" fmla="*/ 8655 h 7458372"/>
              <a:gd name="connsiteX44420" fmla="*/ 7646991 w 10505529"/>
              <a:gd name="connsiteY44420" fmla="*/ 2 h 7458372"/>
              <a:gd name="connsiteX44421" fmla="*/ 7864636 w 10505529"/>
              <a:gd name="connsiteY44421" fmla="*/ 1 h 7458372"/>
              <a:gd name="connsiteX44422" fmla="*/ 7876483 w 10505529"/>
              <a:gd name="connsiteY44422" fmla="*/ 2531 h 7458372"/>
              <a:gd name="connsiteX44423" fmla="*/ 7885802 w 10505529"/>
              <a:gd name="connsiteY44423" fmla="*/ 8921 h 7458372"/>
              <a:gd name="connsiteX44424" fmla="*/ 7891924 w 10505529"/>
              <a:gd name="connsiteY44424" fmla="*/ 18239 h 7458372"/>
              <a:gd name="connsiteX44425" fmla="*/ 7894188 w 10505529"/>
              <a:gd name="connsiteY44425" fmla="*/ 29687 h 7458372"/>
              <a:gd name="connsiteX44426" fmla="*/ 7891924 w 10505529"/>
              <a:gd name="connsiteY44426" fmla="*/ 41401 h 7458372"/>
              <a:gd name="connsiteX44427" fmla="*/ 7885802 w 10505529"/>
              <a:gd name="connsiteY44427" fmla="*/ 50852 h 7458372"/>
              <a:gd name="connsiteX44428" fmla="*/ 7876483 w 10505529"/>
              <a:gd name="connsiteY44428" fmla="*/ 57110 h 7458372"/>
              <a:gd name="connsiteX44429" fmla="*/ 7864636 w 10505529"/>
              <a:gd name="connsiteY44429" fmla="*/ 59373 h 7458372"/>
              <a:gd name="connsiteX44430" fmla="*/ 7842803 w 10505529"/>
              <a:gd name="connsiteY44430" fmla="*/ 50852 h 7458372"/>
              <a:gd name="connsiteX44431" fmla="*/ 7834417 w 10505529"/>
              <a:gd name="connsiteY44431" fmla="*/ 29687 h 7458372"/>
              <a:gd name="connsiteX44432" fmla="*/ 7842803 w 10505529"/>
              <a:gd name="connsiteY44432" fmla="*/ 8655 h 7458372"/>
              <a:gd name="connsiteX44433" fmla="*/ 7864636 w 10505529"/>
              <a:gd name="connsiteY44433" fmla="*/ 1 h 7458372"/>
              <a:gd name="connsiteX44434" fmla="*/ 8082281 w 10505529"/>
              <a:gd name="connsiteY44434" fmla="*/ 1 h 7458372"/>
              <a:gd name="connsiteX44435" fmla="*/ 8094127 w 10505529"/>
              <a:gd name="connsiteY44435" fmla="*/ 2530 h 7458372"/>
              <a:gd name="connsiteX44436" fmla="*/ 8103446 w 10505529"/>
              <a:gd name="connsiteY44436" fmla="*/ 8920 h 7458372"/>
              <a:gd name="connsiteX44437" fmla="*/ 8109569 w 10505529"/>
              <a:gd name="connsiteY44437" fmla="*/ 18239 h 7458372"/>
              <a:gd name="connsiteX44438" fmla="*/ 8111832 w 10505529"/>
              <a:gd name="connsiteY44438" fmla="*/ 29687 h 7458372"/>
              <a:gd name="connsiteX44439" fmla="*/ 8109569 w 10505529"/>
              <a:gd name="connsiteY44439" fmla="*/ 41401 h 7458372"/>
              <a:gd name="connsiteX44440" fmla="*/ 8103446 w 10505529"/>
              <a:gd name="connsiteY44440" fmla="*/ 50852 h 7458372"/>
              <a:gd name="connsiteX44441" fmla="*/ 8094127 w 10505529"/>
              <a:gd name="connsiteY44441" fmla="*/ 57109 h 7458372"/>
              <a:gd name="connsiteX44442" fmla="*/ 8082281 w 10505529"/>
              <a:gd name="connsiteY44442" fmla="*/ 59372 h 7458372"/>
              <a:gd name="connsiteX44443" fmla="*/ 8060448 w 10505529"/>
              <a:gd name="connsiteY44443" fmla="*/ 50852 h 7458372"/>
              <a:gd name="connsiteX44444" fmla="*/ 8052062 w 10505529"/>
              <a:gd name="connsiteY44444" fmla="*/ 29687 h 7458372"/>
              <a:gd name="connsiteX44445" fmla="*/ 8060448 w 10505529"/>
              <a:gd name="connsiteY44445" fmla="*/ 8654 h 7458372"/>
              <a:gd name="connsiteX44446" fmla="*/ 8082281 w 10505529"/>
              <a:gd name="connsiteY44446" fmla="*/ 1 h 7458372"/>
              <a:gd name="connsiteX44447" fmla="*/ 8299793 w 10505529"/>
              <a:gd name="connsiteY44447" fmla="*/ 1 h 7458372"/>
              <a:gd name="connsiteX44448" fmla="*/ 8311507 w 10505529"/>
              <a:gd name="connsiteY44448" fmla="*/ 2530 h 7458372"/>
              <a:gd name="connsiteX44449" fmla="*/ 8320825 w 10505529"/>
              <a:gd name="connsiteY44449" fmla="*/ 8920 h 7458372"/>
              <a:gd name="connsiteX44450" fmla="*/ 8326948 w 10505529"/>
              <a:gd name="connsiteY44450" fmla="*/ 18239 h 7458372"/>
              <a:gd name="connsiteX44451" fmla="*/ 8329212 w 10505529"/>
              <a:gd name="connsiteY44451" fmla="*/ 29687 h 7458372"/>
              <a:gd name="connsiteX44452" fmla="*/ 8326948 w 10505529"/>
              <a:gd name="connsiteY44452" fmla="*/ 41401 h 7458372"/>
              <a:gd name="connsiteX44453" fmla="*/ 8320825 w 10505529"/>
              <a:gd name="connsiteY44453" fmla="*/ 50852 h 7458372"/>
              <a:gd name="connsiteX44454" fmla="*/ 8311507 w 10505529"/>
              <a:gd name="connsiteY44454" fmla="*/ 57109 h 7458372"/>
              <a:gd name="connsiteX44455" fmla="*/ 8299793 w 10505529"/>
              <a:gd name="connsiteY44455" fmla="*/ 59372 h 7458372"/>
              <a:gd name="connsiteX44456" fmla="*/ 8277960 w 10505529"/>
              <a:gd name="connsiteY44456" fmla="*/ 50852 h 7458372"/>
              <a:gd name="connsiteX44457" fmla="*/ 8269574 w 10505529"/>
              <a:gd name="connsiteY44457" fmla="*/ 29687 h 7458372"/>
              <a:gd name="connsiteX44458" fmla="*/ 8277960 w 10505529"/>
              <a:gd name="connsiteY44458" fmla="*/ 8654 h 7458372"/>
              <a:gd name="connsiteX44459" fmla="*/ 8299793 w 10505529"/>
              <a:gd name="connsiteY44459" fmla="*/ 1 h 7458372"/>
              <a:gd name="connsiteX44460" fmla="*/ 8517438 w 10505529"/>
              <a:gd name="connsiteY44460" fmla="*/ 1 h 7458372"/>
              <a:gd name="connsiteX44461" fmla="*/ 8529152 w 10505529"/>
              <a:gd name="connsiteY44461" fmla="*/ 2530 h 7458372"/>
              <a:gd name="connsiteX44462" fmla="*/ 8538470 w 10505529"/>
              <a:gd name="connsiteY44462" fmla="*/ 8920 h 7458372"/>
              <a:gd name="connsiteX44463" fmla="*/ 8544594 w 10505529"/>
              <a:gd name="connsiteY44463" fmla="*/ 18238 h 7458372"/>
              <a:gd name="connsiteX44464" fmla="*/ 8546857 w 10505529"/>
              <a:gd name="connsiteY44464" fmla="*/ 29687 h 7458372"/>
              <a:gd name="connsiteX44465" fmla="*/ 8544594 w 10505529"/>
              <a:gd name="connsiteY44465" fmla="*/ 41401 h 7458372"/>
              <a:gd name="connsiteX44466" fmla="*/ 8538470 w 10505529"/>
              <a:gd name="connsiteY44466" fmla="*/ 50852 h 7458372"/>
              <a:gd name="connsiteX44467" fmla="*/ 8529152 w 10505529"/>
              <a:gd name="connsiteY44467" fmla="*/ 57109 h 7458372"/>
              <a:gd name="connsiteX44468" fmla="*/ 8517438 w 10505529"/>
              <a:gd name="connsiteY44468" fmla="*/ 59372 h 7458372"/>
              <a:gd name="connsiteX44469" fmla="*/ 8495606 w 10505529"/>
              <a:gd name="connsiteY44469" fmla="*/ 50852 h 7458372"/>
              <a:gd name="connsiteX44470" fmla="*/ 8487220 w 10505529"/>
              <a:gd name="connsiteY44470" fmla="*/ 29687 h 7458372"/>
              <a:gd name="connsiteX44471" fmla="*/ 8495606 w 10505529"/>
              <a:gd name="connsiteY44471" fmla="*/ 8654 h 7458372"/>
              <a:gd name="connsiteX44472" fmla="*/ 8517438 w 10505529"/>
              <a:gd name="connsiteY44472" fmla="*/ 1 h 7458372"/>
              <a:gd name="connsiteX44473" fmla="*/ 8735083 w 10505529"/>
              <a:gd name="connsiteY44473" fmla="*/ 1 h 7458372"/>
              <a:gd name="connsiteX44474" fmla="*/ 8746797 w 10505529"/>
              <a:gd name="connsiteY44474" fmla="*/ 2530 h 7458372"/>
              <a:gd name="connsiteX44475" fmla="*/ 8756115 w 10505529"/>
              <a:gd name="connsiteY44475" fmla="*/ 8920 h 7458372"/>
              <a:gd name="connsiteX44476" fmla="*/ 8762238 w 10505529"/>
              <a:gd name="connsiteY44476" fmla="*/ 18238 h 7458372"/>
              <a:gd name="connsiteX44477" fmla="*/ 8764502 w 10505529"/>
              <a:gd name="connsiteY44477" fmla="*/ 29687 h 7458372"/>
              <a:gd name="connsiteX44478" fmla="*/ 8762238 w 10505529"/>
              <a:gd name="connsiteY44478" fmla="*/ 41401 h 7458372"/>
              <a:gd name="connsiteX44479" fmla="*/ 8756115 w 10505529"/>
              <a:gd name="connsiteY44479" fmla="*/ 50852 h 7458372"/>
              <a:gd name="connsiteX44480" fmla="*/ 8746797 w 10505529"/>
              <a:gd name="connsiteY44480" fmla="*/ 57109 h 7458372"/>
              <a:gd name="connsiteX44481" fmla="*/ 8735083 w 10505529"/>
              <a:gd name="connsiteY44481" fmla="*/ 59372 h 7458372"/>
              <a:gd name="connsiteX44482" fmla="*/ 8713250 w 10505529"/>
              <a:gd name="connsiteY44482" fmla="*/ 50852 h 7458372"/>
              <a:gd name="connsiteX44483" fmla="*/ 8704864 w 10505529"/>
              <a:gd name="connsiteY44483" fmla="*/ 29687 h 7458372"/>
              <a:gd name="connsiteX44484" fmla="*/ 8713250 w 10505529"/>
              <a:gd name="connsiteY44484" fmla="*/ 8654 h 7458372"/>
              <a:gd name="connsiteX44485" fmla="*/ 8735083 w 10505529"/>
              <a:gd name="connsiteY44485" fmla="*/ 1 h 7458372"/>
              <a:gd name="connsiteX44486" fmla="*/ 8952728 w 10505529"/>
              <a:gd name="connsiteY44486" fmla="*/ 1 h 7458372"/>
              <a:gd name="connsiteX44487" fmla="*/ 8964442 w 10505529"/>
              <a:gd name="connsiteY44487" fmla="*/ 2530 h 7458372"/>
              <a:gd name="connsiteX44488" fmla="*/ 8973760 w 10505529"/>
              <a:gd name="connsiteY44488" fmla="*/ 8920 h 7458372"/>
              <a:gd name="connsiteX44489" fmla="*/ 8979884 w 10505529"/>
              <a:gd name="connsiteY44489" fmla="*/ 18238 h 7458372"/>
              <a:gd name="connsiteX44490" fmla="*/ 8982147 w 10505529"/>
              <a:gd name="connsiteY44490" fmla="*/ 29686 h 7458372"/>
              <a:gd name="connsiteX44491" fmla="*/ 8979884 w 10505529"/>
              <a:gd name="connsiteY44491" fmla="*/ 41401 h 7458372"/>
              <a:gd name="connsiteX44492" fmla="*/ 8973760 w 10505529"/>
              <a:gd name="connsiteY44492" fmla="*/ 50852 h 7458372"/>
              <a:gd name="connsiteX44493" fmla="*/ 8964442 w 10505529"/>
              <a:gd name="connsiteY44493" fmla="*/ 57109 h 7458372"/>
              <a:gd name="connsiteX44494" fmla="*/ 8952728 w 10505529"/>
              <a:gd name="connsiteY44494" fmla="*/ 59372 h 7458372"/>
              <a:gd name="connsiteX44495" fmla="*/ 8930896 w 10505529"/>
              <a:gd name="connsiteY44495" fmla="*/ 50852 h 7458372"/>
              <a:gd name="connsiteX44496" fmla="*/ 8922510 w 10505529"/>
              <a:gd name="connsiteY44496" fmla="*/ 29686 h 7458372"/>
              <a:gd name="connsiteX44497" fmla="*/ 8930896 w 10505529"/>
              <a:gd name="connsiteY44497" fmla="*/ 8654 h 7458372"/>
              <a:gd name="connsiteX44498" fmla="*/ 8952728 w 10505529"/>
              <a:gd name="connsiteY44498" fmla="*/ 1 h 7458372"/>
              <a:gd name="connsiteX44499" fmla="*/ 9170374 w 10505529"/>
              <a:gd name="connsiteY44499" fmla="*/ 1 h 7458372"/>
              <a:gd name="connsiteX44500" fmla="*/ 9182088 w 10505529"/>
              <a:gd name="connsiteY44500" fmla="*/ 2530 h 7458372"/>
              <a:gd name="connsiteX44501" fmla="*/ 9191405 w 10505529"/>
              <a:gd name="connsiteY44501" fmla="*/ 8920 h 7458372"/>
              <a:gd name="connsiteX44502" fmla="*/ 9197529 w 10505529"/>
              <a:gd name="connsiteY44502" fmla="*/ 18238 h 7458372"/>
              <a:gd name="connsiteX44503" fmla="*/ 9199792 w 10505529"/>
              <a:gd name="connsiteY44503" fmla="*/ 29686 h 7458372"/>
              <a:gd name="connsiteX44504" fmla="*/ 9197529 w 10505529"/>
              <a:gd name="connsiteY44504" fmla="*/ 41401 h 7458372"/>
              <a:gd name="connsiteX44505" fmla="*/ 9191405 w 10505529"/>
              <a:gd name="connsiteY44505" fmla="*/ 50852 h 7458372"/>
              <a:gd name="connsiteX44506" fmla="*/ 9182088 w 10505529"/>
              <a:gd name="connsiteY44506" fmla="*/ 57109 h 7458372"/>
              <a:gd name="connsiteX44507" fmla="*/ 9170374 w 10505529"/>
              <a:gd name="connsiteY44507" fmla="*/ 59372 h 7458372"/>
              <a:gd name="connsiteX44508" fmla="*/ 9148541 w 10505529"/>
              <a:gd name="connsiteY44508" fmla="*/ 50852 h 7458372"/>
              <a:gd name="connsiteX44509" fmla="*/ 9140155 w 10505529"/>
              <a:gd name="connsiteY44509" fmla="*/ 29686 h 7458372"/>
              <a:gd name="connsiteX44510" fmla="*/ 9148541 w 10505529"/>
              <a:gd name="connsiteY44510" fmla="*/ 8654 h 7458372"/>
              <a:gd name="connsiteX44511" fmla="*/ 9170374 w 10505529"/>
              <a:gd name="connsiteY44511" fmla="*/ 1 h 7458372"/>
              <a:gd name="connsiteX44512" fmla="*/ 9387885 w 10505529"/>
              <a:gd name="connsiteY44512" fmla="*/ 1 h 7458372"/>
              <a:gd name="connsiteX44513" fmla="*/ 9399599 w 10505529"/>
              <a:gd name="connsiteY44513" fmla="*/ 2530 h 7458372"/>
              <a:gd name="connsiteX44514" fmla="*/ 9408917 w 10505529"/>
              <a:gd name="connsiteY44514" fmla="*/ 8920 h 7458372"/>
              <a:gd name="connsiteX44515" fmla="*/ 9415041 w 10505529"/>
              <a:gd name="connsiteY44515" fmla="*/ 18238 h 7458372"/>
              <a:gd name="connsiteX44516" fmla="*/ 9417304 w 10505529"/>
              <a:gd name="connsiteY44516" fmla="*/ 29686 h 7458372"/>
              <a:gd name="connsiteX44517" fmla="*/ 9415041 w 10505529"/>
              <a:gd name="connsiteY44517" fmla="*/ 41400 h 7458372"/>
              <a:gd name="connsiteX44518" fmla="*/ 9408917 w 10505529"/>
              <a:gd name="connsiteY44518" fmla="*/ 50852 h 7458372"/>
              <a:gd name="connsiteX44519" fmla="*/ 9399599 w 10505529"/>
              <a:gd name="connsiteY44519" fmla="*/ 57109 h 7458372"/>
              <a:gd name="connsiteX44520" fmla="*/ 9387885 w 10505529"/>
              <a:gd name="connsiteY44520" fmla="*/ 59372 h 7458372"/>
              <a:gd name="connsiteX44521" fmla="*/ 9366053 w 10505529"/>
              <a:gd name="connsiteY44521" fmla="*/ 50852 h 7458372"/>
              <a:gd name="connsiteX44522" fmla="*/ 9357667 w 10505529"/>
              <a:gd name="connsiteY44522" fmla="*/ 29686 h 7458372"/>
              <a:gd name="connsiteX44523" fmla="*/ 9366053 w 10505529"/>
              <a:gd name="connsiteY44523" fmla="*/ 8654 h 7458372"/>
              <a:gd name="connsiteX44524" fmla="*/ 9387885 w 10505529"/>
              <a:gd name="connsiteY44524" fmla="*/ 1 h 7458372"/>
              <a:gd name="connsiteX44525" fmla="*/ 9605531 w 10505529"/>
              <a:gd name="connsiteY44525" fmla="*/ 1 h 7458372"/>
              <a:gd name="connsiteX44526" fmla="*/ 9617245 w 10505529"/>
              <a:gd name="connsiteY44526" fmla="*/ 2530 h 7458372"/>
              <a:gd name="connsiteX44527" fmla="*/ 9626562 w 10505529"/>
              <a:gd name="connsiteY44527" fmla="*/ 8920 h 7458372"/>
              <a:gd name="connsiteX44528" fmla="*/ 9632686 w 10505529"/>
              <a:gd name="connsiteY44528" fmla="*/ 18238 h 7458372"/>
              <a:gd name="connsiteX44529" fmla="*/ 9634949 w 10505529"/>
              <a:gd name="connsiteY44529" fmla="*/ 29686 h 7458372"/>
              <a:gd name="connsiteX44530" fmla="*/ 9632686 w 10505529"/>
              <a:gd name="connsiteY44530" fmla="*/ 41400 h 7458372"/>
              <a:gd name="connsiteX44531" fmla="*/ 9626562 w 10505529"/>
              <a:gd name="connsiteY44531" fmla="*/ 50852 h 7458372"/>
              <a:gd name="connsiteX44532" fmla="*/ 9617245 w 10505529"/>
              <a:gd name="connsiteY44532" fmla="*/ 57109 h 7458372"/>
              <a:gd name="connsiteX44533" fmla="*/ 9605531 w 10505529"/>
              <a:gd name="connsiteY44533" fmla="*/ 59372 h 7458372"/>
              <a:gd name="connsiteX44534" fmla="*/ 9583698 w 10505529"/>
              <a:gd name="connsiteY44534" fmla="*/ 50852 h 7458372"/>
              <a:gd name="connsiteX44535" fmla="*/ 9575312 w 10505529"/>
              <a:gd name="connsiteY44535" fmla="*/ 29686 h 7458372"/>
              <a:gd name="connsiteX44536" fmla="*/ 9583698 w 10505529"/>
              <a:gd name="connsiteY44536" fmla="*/ 8654 h 7458372"/>
              <a:gd name="connsiteX44537" fmla="*/ 9605531 w 10505529"/>
              <a:gd name="connsiteY44537" fmla="*/ 1 h 7458372"/>
              <a:gd name="connsiteX44538" fmla="*/ 9823176 w 10505529"/>
              <a:gd name="connsiteY44538" fmla="*/ 0 h 7458372"/>
              <a:gd name="connsiteX44539" fmla="*/ 9834890 w 10505529"/>
              <a:gd name="connsiteY44539" fmla="*/ 2530 h 7458372"/>
              <a:gd name="connsiteX44540" fmla="*/ 9844208 w 10505529"/>
              <a:gd name="connsiteY44540" fmla="*/ 8920 h 7458372"/>
              <a:gd name="connsiteX44541" fmla="*/ 9850331 w 10505529"/>
              <a:gd name="connsiteY44541" fmla="*/ 18238 h 7458372"/>
              <a:gd name="connsiteX44542" fmla="*/ 9852595 w 10505529"/>
              <a:gd name="connsiteY44542" fmla="*/ 29686 h 7458372"/>
              <a:gd name="connsiteX44543" fmla="*/ 9850331 w 10505529"/>
              <a:gd name="connsiteY44543" fmla="*/ 41400 h 7458372"/>
              <a:gd name="connsiteX44544" fmla="*/ 9844208 w 10505529"/>
              <a:gd name="connsiteY44544" fmla="*/ 50851 h 7458372"/>
              <a:gd name="connsiteX44545" fmla="*/ 9834890 w 10505529"/>
              <a:gd name="connsiteY44545" fmla="*/ 57109 h 7458372"/>
              <a:gd name="connsiteX44546" fmla="*/ 9823176 w 10505529"/>
              <a:gd name="connsiteY44546" fmla="*/ 59372 h 7458372"/>
              <a:gd name="connsiteX44547" fmla="*/ 9801343 w 10505529"/>
              <a:gd name="connsiteY44547" fmla="*/ 50851 h 7458372"/>
              <a:gd name="connsiteX44548" fmla="*/ 9792957 w 10505529"/>
              <a:gd name="connsiteY44548" fmla="*/ 29686 h 7458372"/>
              <a:gd name="connsiteX44549" fmla="*/ 9801343 w 10505529"/>
              <a:gd name="connsiteY44549" fmla="*/ 8654 h 7458372"/>
              <a:gd name="connsiteX44550" fmla="*/ 9823176 w 10505529"/>
              <a:gd name="connsiteY44550" fmla="*/ 0 h 7458372"/>
              <a:gd name="connsiteX44551" fmla="*/ 10040820 w 10505529"/>
              <a:gd name="connsiteY44551" fmla="*/ 0 h 7458372"/>
              <a:gd name="connsiteX44552" fmla="*/ 10052534 w 10505529"/>
              <a:gd name="connsiteY44552" fmla="*/ 2529 h 7458372"/>
              <a:gd name="connsiteX44553" fmla="*/ 10061852 w 10505529"/>
              <a:gd name="connsiteY44553" fmla="*/ 8919 h 7458372"/>
              <a:gd name="connsiteX44554" fmla="*/ 10067976 w 10505529"/>
              <a:gd name="connsiteY44554" fmla="*/ 18238 h 7458372"/>
              <a:gd name="connsiteX44555" fmla="*/ 10070239 w 10505529"/>
              <a:gd name="connsiteY44555" fmla="*/ 29686 h 7458372"/>
              <a:gd name="connsiteX44556" fmla="*/ 10067976 w 10505529"/>
              <a:gd name="connsiteY44556" fmla="*/ 41400 h 7458372"/>
              <a:gd name="connsiteX44557" fmla="*/ 10061852 w 10505529"/>
              <a:gd name="connsiteY44557" fmla="*/ 50851 h 7458372"/>
              <a:gd name="connsiteX44558" fmla="*/ 10052534 w 10505529"/>
              <a:gd name="connsiteY44558" fmla="*/ 57108 h 7458372"/>
              <a:gd name="connsiteX44559" fmla="*/ 10040820 w 10505529"/>
              <a:gd name="connsiteY44559" fmla="*/ 59371 h 7458372"/>
              <a:gd name="connsiteX44560" fmla="*/ 10018988 w 10505529"/>
              <a:gd name="connsiteY44560" fmla="*/ 50851 h 7458372"/>
              <a:gd name="connsiteX44561" fmla="*/ 10010602 w 10505529"/>
              <a:gd name="connsiteY44561" fmla="*/ 29686 h 7458372"/>
              <a:gd name="connsiteX44562" fmla="*/ 10018988 w 10505529"/>
              <a:gd name="connsiteY44562" fmla="*/ 8653 h 7458372"/>
              <a:gd name="connsiteX44563" fmla="*/ 10040820 w 10505529"/>
              <a:gd name="connsiteY44563" fmla="*/ 0 h 7458372"/>
              <a:gd name="connsiteX44564" fmla="*/ 10258466 w 10505529"/>
              <a:gd name="connsiteY44564" fmla="*/ 0 h 7458372"/>
              <a:gd name="connsiteX44565" fmla="*/ 10270313 w 10505529"/>
              <a:gd name="connsiteY44565" fmla="*/ 2529 h 7458372"/>
              <a:gd name="connsiteX44566" fmla="*/ 10279631 w 10505529"/>
              <a:gd name="connsiteY44566" fmla="*/ 8919 h 7458372"/>
              <a:gd name="connsiteX44567" fmla="*/ 10285754 w 10505529"/>
              <a:gd name="connsiteY44567" fmla="*/ 18238 h 7458372"/>
              <a:gd name="connsiteX44568" fmla="*/ 10288017 w 10505529"/>
              <a:gd name="connsiteY44568" fmla="*/ 29686 h 7458372"/>
              <a:gd name="connsiteX44569" fmla="*/ 10285754 w 10505529"/>
              <a:gd name="connsiteY44569" fmla="*/ 41400 h 7458372"/>
              <a:gd name="connsiteX44570" fmla="*/ 10279631 w 10505529"/>
              <a:gd name="connsiteY44570" fmla="*/ 50851 h 7458372"/>
              <a:gd name="connsiteX44571" fmla="*/ 10270313 w 10505529"/>
              <a:gd name="connsiteY44571" fmla="*/ 57108 h 7458372"/>
              <a:gd name="connsiteX44572" fmla="*/ 10258466 w 10505529"/>
              <a:gd name="connsiteY44572" fmla="*/ 59371 h 7458372"/>
              <a:gd name="connsiteX44573" fmla="*/ 10236633 w 10505529"/>
              <a:gd name="connsiteY44573" fmla="*/ 50851 h 7458372"/>
              <a:gd name="connsiteX44574" fmla="*/ 10228247 w 10505529"/>
              <a:gd name="connsiteY44574" fmla="*/ 29686 h 7458372"/>
              <a:gd name="connsiteX44575" fmla="*/ 10236633 w 10505529"/>
              <a:gd name="connsiteY44575" fmla="*/ 8653 h 7458372"/>
              <a:gd name="connsiteX44576" fmla="*/ 10258466 w 10505529"/>
              <a:gd name="connsiteY44576" fmla="*/ 0 h 7458372"/>
              <a:gd name="connsiteX44577" fmla="*/ 10475977 w 10505529"/>
              <a:gd name="connsiteY44577" fmla="*/ 0 h 7458372"/>
              <a:gd name="connsiteX44578" fmla="*/ 10487824 w 10505529"/>
              <a:gd name="connsiteY44578" fmla="*/ 2529 h 7458372"/>
              <a:gd name="connsiteX44579" fmla="*/ 10497143 w 10505529"/>
              <a:gd name="connsiteY44579" fmla="*/ 8919 h 7458372"/>
              <a:gd name="connsiteX44580" fmla="*/ 10503266 w 10505529"/>
              <a:gd name="connsiteY44580" fmla="*/ 18237 h 7458372"/>
              <a:gd name="connsiteX44581" fmla="*/ 10505529 w 10505529"/>
              <a:gd name="connsiteY44581" fmla="*/ 29686 h 7458372"/>
              <a:gd name="connsiteX44582" fmla="*/ 10503266 w 10505529"/>
              <a:gd name="connsiteY44582" fmla="*/ 41400 h 7458372"/>
              <a:gd name="connsiteX44583" fmla="*/ 10497143 w 10505529"/>
              <a:gd name="connsiteY44583" fmla="*/ 50851 h 7458372"/>
              <a:gd name="connsiteX44584" fmla="*/ 10487824 w 10505529"/>
              <a:gd name="connsiteY44584" fmla="*/ 57108 h 7458372"/>
              <a:gd name="connsiteX44585" fmla="*/ 10475977 w 10505529"/>
              <a:gd name="connsiteY44585" fmla="*/ 59371 h 7458372"/>
              <a:gd name="connsiteX44586" fmla="*/ 10454145 w 10505529"/>
              <a:gd name="connsiteY44586" fmla="*/ 50851 h 7458372"/>
              <a:gd name="connsiteX44587" fmla="*/ 10445759 w 10505529"/>
              <a:gd name="connsiteY44587" fmla="*/ 29686 h 7458372"/>
              <a:gd name="connsiteX44588" fmla="*/ 10454145 w 10505529"/>
              <a:gd name="connsiteY44588" fmla="*/ 8653 h 7458372"/>
              <a:gd name="connsiteX44589" fmla="*/ 10475977 w 10505529"/>
              <a:gd name="connsiteY44589" fmla="*/ 0 h 7458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  <a:cxn ang="0">
                <a:pos x="connsiteX9184" y="connsiteY9184"/>
              </a:cxn>
              <a:cxn ang="0">
                <a:pos x="connsiteX9185" y="connsiteY9185"/>
              </a:cxn>
              <a:cxn ang="0">
                <a:pos x="connsiteX9186" y="connsiteY9186"/>
              </a:cxn>
              <a:cxn ang="0">
                <a:pos x="connsiteX9187" y="connsiteY9187"/>
              </a:cxn>
              <a:cxn ang="0">
                <a:pos x="connsiteX9188" y="connsiteY9188"/>
              </a:cxn>
              <a:cxn ang="0">
                <a:pos x="connsiteX9189" y="connsiteY9189"/>
              </a:cxn>
              <a:cxn ang="0">
                <a:pos x="connsiteX9190" y="connsiteY9190"/>
              </a:cxn>
              <a:cxn ang="0">
                <a:pos x="connsiteX9191" y="connsiteY9191"/>
              </a:cxn>
              <a:cxn ang="0">
                <a:pos x="connsiteX9192" y="connsiteY9192"/>
              </a:cxn>
              <a:cxn ang="0">
                <a:pos x="connsiteX9193" y="connsiteY9193"/>
              </a:cxn>
              <a:cxn ang="0">
                <a:pos x="connsiteX9194" y="connsiteY9194"/>
              </a:cxn>
              <a:cxn ang="0">
                <a:pos x="connsiteX9195" y="connsiteY9195"/>
              </a:cxn>
              <a:cxn ang="0">
                <a:pos x="connsiteX9196" y="connsiteY9196"/>
              </a:cxn>
              <a:cxn ang="0">
                <a:pos x="connsiteX9197" y="connsiteY9197"/>
              </a:cxn>
              <a:cxn ang="0">
                <a:pos x="connsiteX9198" y="connsiteY9198"/>
              </a:cxn>
              <a:cxn ang="0">
                <a:pos x="connsiteX9199" y="connsiteY9199"/>
              </a:cxn>
              <a:cxn ang="0">
                <a:pos x="connsiteX9200" y="connsiteY9200"/>
              </a:cxn>
              <a:cxn ang="0">
                <a:pos x="connsiteX9201" y="connsiteY9201"/>
              </a:cxn>
              <a:cxn ang="0">
                <a:pos x="connsiteX9202" y="connsiteY9202"/>
              </a:cxn>
              <a:cxn ang="0">
                <a:pos x="connsiteX9203" y="connsiteY9203"/>
              </a:cxn>
              <a:cxn ang="0">
                <a:pos x="connsiteX9204" y="connsiteY9204"/>
              </a:cxn>
              <a:cxn ang="0">
                <a:pos x="connsiteX9205" y="connsiteY9205"/>
              </a:cxn>
              <a:cxn ang="0">
                <a:pos x="connsiteX9206" y="connsiteY9206"/>
              </a:cxn>
              <a:cxn ang="0">
                <a:pos x="connsiteX9207" y="connsiteY9207"/>
              </a:cxn>
              <a:cxn ang="0">
                <a:pos x="connsiteX9208" y="connsiteY9208"/>
              </a:cxn>
              <a:cxn ang="0">
                <a:pos x="connsiteX9209" y="connsiteY9209"/>
              </a:cxn>
              <a:cxn ang="0">
                <a:pos x="connsiteX9210" y="connsiteY9210"/>
              </a:cxn>
              <a:cxn ang="0">
                <a:pos x="connsiteX9211" y="connsiteY9211"/>
              </a:cxn>
              <a:cxn ang="0">
                <a:pos x="connsiteX9212" y="connsiteY9212"/>
              </a:cxn>
              <a:cxn ang="0">
                <a:pos x="connsiteX9213" y="connsiteY9213"/>
              </a:cxn>
              <a:cxn ang="0">
                <a:pos x="connsiteX9214" y="connsiteY9214"/>
              </a:cxn>
              <a:cxn ang="0">
                <a:pos x="connsiteX9215" y="connsiteY9215"/>
              </a:cxn>
              <a:cxn ang="0">
                <a:pos x="connsiteX9216" y="connsiteY9216"/>
              </a:cxn>
              <a:cxn ang="0">
                <a:pos x="connsiteX9217" y="connsiteY9217"/>
              </a:cxn>
              <a:cxn ang="0">
                <a:pos x="connsiteX9218" y="connsiteY9218"/>
              </a:cxn>
              <a:cxn ang="0">
                <a:pos x="connsiteX9219" y="connsiteY9219"/>
              </a:cxn>
              <a:cxn ang="0">
                <a:pos x="connsiteX9220" y="connsiteY9220"/>
              </a:cxn>
              <a:cxn ang="0">
                <a:pos x="connsiteX9221" y="connsiteY9221"/>
              </a:cxn>
              <a:cxn ang="0">
                <a:pos x="connsiteX9222" y="connsiteY9222"/>
              </a:cxn>
              <a:cxn ang="0">
                <a:pos x="connsiteX9223" y="connsiteY9223"/>
              </a:cxn>
              <a:cxn ang="0">
                <a:pos x="connsiteX9224" y="connsiteY9224"/>
              </a:cxn>
              <a:cxn ang="0">
                <a:pos x="connsiteX9225" y="connsiteY9225"/>
              </a:cxn>
              <a:cxn ang="0">
                <a:pos x="connsiteX9226" y="connsiteY9226"/>
              </a:cxn>
              <a:cxn ang="0">
                <a:pos x="connsiteX9227" y="connsiteY9227"/>
              </a:cxn>
              <a:cxn ang="0">
                <a:pos x="connsiteX9228" y="connsiteY9228"/>
              </a:cxn>
              <a:cxn ang="0">
                <a:pos x="connsiteX9229" y="connsiteY9229"/>
              </a:cxn>
              <a:cxn ang="0">
                <a:pos x="connsiteX9230" y="connsiteY9230"/>
              </a:cxn>
              <a:cxn ang="0">
                <a:pos x="connsiteX9231" y="connsiteY9231"/>
              </a:cxn>
              <a:cxn ang="0">
                <a:pos x="connsiteX9232" y="connsiteY9232"/>
              </a:cxn>
              <a:cxn ang="0">
                <a:pos x="connsiteX9233" y="connsiteY9233"/>
              </a:cxn>
              <a:cxn ang="0">
                <a:pos x="connsiteX9234" y="connsiteY9234"/>
              </a:cxn>
              <a:cxn ang="0">
                <a:pos x="connsiteX9235" y="connsiteY9235"/>
              </a:cxn>
              <a:cxn ang="0">
                <a:pos x="connsiteX9236" y="connsiteY9236"/>
              </a:cxn>
              <a:cxn ang="0">
                <a:pos x="connsiteX9237" y="connsiteY9237"/>
              </a:cxn>
              <a:cxn ang="0">
                <a:pos x="connsiteX9238" y="connsiteY9238"/>
              </a:cxn>
              <a:cxn ang="0">
                <a:pos x="connsiteX9239" y="connsiteY9239"/>
              </a:cxn>
              <a:cxn ang="0">
                <a:pos x="connsiteX9240" y="connsiteY9240"/>
              </a:cxn>
              <a:cxn ang="0">
                <a:pos x="connsiteX9241" y="connsiteY9241"/>
              </a:cxn>
              <a:cxn ang="0">
                <a:pos x="connsiteX9242" y="connsiteY9242"/>
              </a:cxn>
              <a:cxn ang="0">
                <a:pos x="connsiteX9243" y="connsiteY9243"/>
              </a:cxn>
              <a:cxn ang="0">
                <a:pos x="connsiteX9244" y="connsiteY9244"/>
              </a:cxn>
              <a:cxn ang="0">
                <a:pos x="connsiteX9245" y="connsiteY9245"/>
              </a:cxn>
              <a:cxn ang="0">
                <a:pos x="connsiteX9246" y="connsiteY9246"/>
              </a:cxn>
              <a:cxn ang="0">
                <a:pos x="connsiteX9247" y="connsiteY9247"/>
              </a:cxn>
              <a:cxn ang="0">
                <a:pos x="connsiteX9248" y="connsiteY9248"/>
              </a:cxn>
              <a:cxn ang="0">
                <a:pos x="connsiteX9249" y="connsiteY9249"/>
              </a:cxn>
              <a:cxn ang="0">
                <a:pos x="connsiteX9250" y="connsiteY9250"/>
              </a:cxn>
              <a:cxn ang="0">
                <a:pos x="connsiteX9251" y="connsiteY9251"/>
              </a:cxn>
              <a:cxn ang="0">
                <a:pos x="connsiteX9252" y="connsiteY9252"/>
              </a:cxn>
              <a:cxn ang="0">
                <a:pos x="connsiteX9253" y="connsiteY9253"/>
              </a:cxn>
              <a:cxn ang="0">
                <a:pos x="connsiteX9254" y="connsiteY9254"/>
              </a:cxn>
              <a:cxn ang="0">
                <a:pos x="connsiteX9255" y="connsiteY9255"/>
              </a:cxn>
              <a:cxn ang="0">
                <a:pos x="connsiteX9256" y="connsiteY9256"/>
              </a:cxn>
              <a:cxn ang="0">
                <a:pos x="connsiteX9257" y="connsiteY9257"/>
              </a:cxn>
              <a:cxn ang="0">
                <a:pos x="connsiteX9258" y="connsiteY9258"/>
              </a:cxn>
              <a:cxn ang="0">
                <a:pos x="connsiteX9259" y="connsiteY9259"/>
              </a:cxn>
              <a:cxn ang="0">
                <a:pos x="connsiteX9260" y="connsiteY9260"/>
              </a:cxn>
              <a:cxn ang="0">
                <a:pos x="connsiteX9261" y="connsiteY9261"/>
              </a:cxn>
              <a:cxn ang="0">
                <a:pos x="connsiteX9262" y="connsiteY9262"/>
              </a:cxn>
              <a:cxn ang="0">
                <a:pos x="connsiteX9263" y="connsiteY9263"/>
              </a:cxn>
              <a:cxn ang="0">
                <a:pos x="connsiteX9264" y="connsiteY9264"/>
              </a:cxn>
              <a:cxn ang="0">
                <a:pos x="connsiteX9265" y="connsiteY9265"/>
              </a:cxn>
              <a:cxn ang="0">
                <a:pos x="connsiteX9266" y="connsiteY9266"/>
              </a:cxn>
              <a:cxn ang="0">
                <a:pos x="connsiteX9267" y="connsiteY9267"/>
              </a:cxn>
              <a:cxn ang="0">
                <a:pos x="connsiteX9268" y="connsiteY9268"/>
              </a:cxn>
              <a:cxn ang="0">
                <a:pos x="connsiteX9269" y="connsiteY9269"/>
              </a:cxn>
              <a:cxn ang="0">
                <a:pos x="connsiteX9270" y="connsiteY9270"/>
              </a:cxn>
              <a:cxn ang="0">
                <a:pos x="connsiteX9271" y="connsiteY9271"/>
              </a:cxn>
              <a:cxn ang="0">
                <a:pos x="connsiteX9272" y="connsiteY9272"/>
              </a:cxn>
              <a:cxn ang="0">
                <a:pos x="connsiteX9273" y="connsiteY9273"/>
              </a:cxn>
              <a:cxn ang="0">
                <a:pos x="connsiteX9274" y="connsiteY9274"/>
              </a:cxn>
              <a:cxn ang="0">
                <a:pos x="connsiteX9275" y="connsiteY9275"/>
              </a:cxn>
              <a:cxn ang="0">
                <a:pos x="connsiteX9276" y="connsiteY9276"/>
              </a:cxn>
              <a:cxn ang="0">
                <a:pos x="connsiteX9277" y="connsiteY9277"/>
              </a:cxn>
              <a:cxn ang="0">
                <a:pos x="connsiteX9278" y="connsiteY9278"/>
              </a:cxn>
              <a:cxn ang="0">
                <a:pos x="connsiteX9279" y="connsiteY9279"/>
              </a:cxn>
              <a:cxn ang="0">
                <a:pos x="connsiteX9280" y="connsiteY9280"/>
              </a:cxn>
              <a:cxn ang="0">
                <a:pos x="connsiteX9281" y="connsiteY9281"/>
              </a:cxn>
              <a:cxn ang="0">
                <a:pos x="connsiteX9282" y="connsiteY9282"/>
              </a:cxn>
              <a:cxn ang="0">
                <a:pos x="connsiteX9283" y="connsiteY9283"/>
              </a:cxn>
              <a:cxn ang="0">
                <a:pos x="connsiteX9284" y="connsiteY9284"/>
              </a:cxn>
              <a:cxn ang="0">
                <a:pos x="connsiteX9285" y="connsiteY9285"/>
              </a:cxn>
              <a:cxn ang="0">
                <a:pos x="connsiteX9286" y="connsiteY9286"/>
              </a:cxn>
              <a:cxn ang="0">
                <a:pos x="connsiteX9287" y="connsiteY9287"/>
              </a:cxn>
              <a:cxn ang="0">
                <a:pos x="connsiteX9288" y="connsiteY9288"/>
              </a:cxn>
              <a:cxn ang="0">
                <a:pos x="connsiteX9289" y="connsiteY9289"/>
              </a:cxn>
              <a:cxn ang="0">
                <a:pos x="connsiteX9290" y="connsiteY9290"/>
              </a:cxn>
              <a:cxn ang="0">
                <a:pos x="connsiteX9291" y="connsiteY9291"/>
              </a:cxn>
              <a:cxn ang="0">
                <a:pos x="connsiteX9292" y="connsiteY9292"/>
              </a:cxn>
              <a:cxn ang="0">
                <a:pos x="connsiteX9293" y="connsiteY9293"/>
              </a:cxn>
              <a:cxn ang="0">
                <a:pos x="connsiteX9294" y="connsiteY9294"/>
              </a:cxn>
              <a:cxn ang="0">
                <a:pos x="connsiteX9295" y="connsiteY9295"/>
              </a:cxn>
              <a:cxn ang="0">
                <a:pos x="connsiteX9296" y="connsiteY9296"/>
              </a:cxn>
              <a:cxn ang="0">
                <a:pos x="connsiteX9297" y="connsiteY9297"/>
              </a:cxn>
              <a:cxn ang="0">
                <a:pos x="connsiteX9298" y="connsiteY9298"/>
              </a:cxn>
              <a:cxn ang="0">
                <a:pos x="connsiteX9299" y="connsiteY9299"/>
              </a:cxn>
              <a:cxn ang="0">
                <a:pos x="connsiteX9300" y="connsiteY9300"/>
              </a:cxn>
              <a:cxn ang="0">
                <a:pos x="connsiteX9301" y="connsiteY9301"/>
              </a:cxn>
              <a:cxn ang="0">
                <a:pos x="connsiteX9302" y="connsiteY9302"/>
              </a:cxn>
              <a:cxn ang="0">
                <a:pos x="connsiteX9303" y="connsiteY9303"/>
              </a:cxn>
              <a:cxn ang="0">
                <a:pos x="connsiteX9304" y="connsiteY9304"/>
              </a:cxn>
              <a:cxn ang="0">
                <a:pos x="connsiteX9305" y="connsiteY9305"/>
              </a:cxn>
              <a:cxn ang="0">
                <a:pos x="connsiteX9306" y="connsiteY9306"/>
              </a:cxn>
              <a:cxn ang="0">
                <a:pos x="connsiteX9307" y="connsiteY9307"/>
              </a:cxn>
              <a:cxn ang="0">
                <a:pos x="connsiteX9308" y="connsiteY9308"/>
              </a:cxn>
              <a:cxn ang="0">
                <a:pos x="connsiteX9309" y="connsiteY9309"/>
              </a:cxn>
              <a:cxn ang="0">
                <a:pos x="connsiteX9310" y="connsiteY9310"/>
              </a:cxn>
              <a:cxn ang="0">
                <a:pos x="connsiteX9311" y="connsiteY9311"/>
              </a:cxn>
              <a:cxn ang="0">
                <a:pos x="connsiteX9312" y="connsiteY9312"/>
              </a:cxn>
              <a:cxn ang="0">
                <a:pos x="connsiteX9313" y="connsiteY9313"/>
              </a:cxn>
              <a:cxn ang="0">
                <a:pos x="connsiteX9314" y="connsiteY9314"/>
              </a:cxn>
              <a:cxn ang="0">
                <a:pos x="connsiteX9315" y="connsiteY9315"/>
              </a:cxn>
              <a:cxn ang="0">
                <a:pos x="connsiteX9316" y="connsiteY9316"/>
              </a:cxn>
              <a:cxn ang="0">
                <a:pos x="connsiteX9317" y="connsiteY9317"/>
              </a:cxn>
              <a:cxn ang="0">
                <a:pos x="connsiteX9318" y="connsiteY9318"/>
              </a:cxn>
              <a:cxn ang="0">
                <a:pos x="connsiteX9319" y="connsiteY9319"/>
              </a:cxn>
              <a:cxn ang="0">
                <a:pos x="connsiteX9320" y="connsiteY9320"/>
              </a:cxn>
              <a:cxn ang="0">
                <a:pos x="connsiteX9321" y="connsiteY9321"/>
              </a:cxn>
              <a:cxn ang="0">
                <a:pos x="connsiteX9322" y="connsiteY9322"/>
              </a:cxn>
              <a:cxn ang="0">
                <a:pos x="connsiteX9323" y="connsiteY9323"/>
              </a:cxn>
              <a:cxn ang="0">
                <a:pos x="connsiteX9324" y="connsiteY9324"/>
              </a:cxn>
              <a:cxn ang="0">
                <a:pos x="connsiteX9325" y="connsiteY9325"/>
              </a:cxn>
              <a:cxn ang="0">
                <a:pos x="connsiteX9326" y="connsiteY9326"/>
              </a:cxn>
              <a:cxn ang="0">
                <a:pos x="connsiteX9327" y="connsiteY9327"/>
              </a:cxn>
              <a:cxn ang="0">
                <a:pos x="connsiteX9328" y="connsiteY9328"/>
              </a:cxn>
              <a:cxn ang="0">
                <a:pos x="connsiteX9329" y="connsiteY9329"/>
              </a:cxn>
              <a:cxn ang="0">
                <a:pos x="connsiteX9330" y="connsiteY9330"/>
              </a:cxn>
              <a:cxn ang="0">
                <a:pos x="connsiteX9331" y="connsiteY9331"/>
              </a:cxn>
              <a:cxn ang="0">
                <a:pos x="connsiteX9332" y="connsiteY9332"/>
              </a:cxn>
              <a:cxn ang="0">
                <a:pos x="connsiteX9333" y="connsiteY9333"/>
              </a:cxn>
              <a:cxn ang="0">
                <a:pos x="connsiteX9334" y="connsiteY9334"/>
              </a:cxn>
              <a:cxn ang="0">
                <a:pos x="connsiteX9335" y="connsiteY9335"/>
              </a:cxn>
              <a:cxn ang="0">
                <a:pos x="connsiteX9336" y="connsiteY9336"/>
              </a:cxn>
              <a:cxn ang="0">
                <a:pos x="connsiteX9337" y="connsiteY9337"/>
              </a:cxn>
              <a:cxn ang="0">
                <a:pos x="connsiteX9338" y="connsiteY9338"/>
              </a:cxn>
              <a:cxn ang="0">
                <a:pos x="connsiteX9339" y="connsiteY9339"/>
              </a:cxn>
              <a:cxn ang="0">
                <a:pos x="connsiteX9340" y="connsiteY9340"/>
              </a:cxn>
              <a:cxn ang="0">
                <a:pos x="connsiteX9341" y="connsiteY9341"/>
              </a:cxn>
              <a:cxn ang="0">
                <a:pos x="connsiteX9342" y="connsiteY9342"/>
              </a:cxn>
              <a:cxn ang="0">
                <a:pos x="connsiteX9343" y="connsiteY9343"/>
              </a:cxn>
              <a:cxn ang="0">
                <a:pos x="connsiteX9344" y="connsiteY9344"/>
              </a:cxn>
              <a:cxn ang="0">
                <a:pos x="connsiteX9345" y="connsiteY9345"/>
              </a:cxn>
              <a:cxn ang="0">
                <a:pos x="connsiteX9346" y="connsiteY9346"/>
              </a:cxn>
              <a:cxn ang="0">
                <a:pos x="connsiteX9347" y="connsiteY9347"/>
              </a:cxn>
              <a:cxn ang="0">
                <a:pos x="connsiteX9348" y="connsiteY9348"/>
              </a:cxn>
              <a:cxn ang="0">
                <a:pos x="connsiteX9349" y="connsiteY9349"/>
              </a:cxn>
              <a:cxn ang="0">
                <a:pos x="connsiteX9350" y="connsiteY9350"/>
              </a:cxn>
              <a:cxn ang="0">
                <a:pos x="connsiteX9351" y="connsiteY9351"/>
              </a:cxn>
              <a:cxn ang="0">
                <a:pos x="connsiteX9352" y="connsiteY9352"/>
              </a:cxn>
              <a:cxn ang="0">
                <a:pos x="connsiteX9353" y="connsiteY9353"/>
              </a:cxn>
              <a:cxn ang="0">
                <a:pos x="connsiteX9354" y="connsiteY9354"/>
              </a:cxn>
              <a:cxn ang="0">
                <a:pos x="connsiteX9355" y="connsiteY9355"/>
              </a:cxn>
              <a:cxn ang="0">
                <a:pos x="connsiteX9356" y="connsiteY9356"/>
              </a:cxn>
              <a:cxn ang="0">
                <a:pos x="connsiteX9357" y="connsiteY9357"/>
              </a:cxn>
              <a:cxn ang="0">
                <a:pos x="connsiteX9358" y="connsiteY9358"/>
              </a:cxn>
              <a:cxn ang="0">
                <a:pos x="connsiteX9359" y="connsiteY9359"/>
              </a:cxn>
              <a:cxn ang="0">
                <a:pos x="connsiteX9360" y="connsiteY9360"/>
              </a:cxn>
              <a:cxn ang="0">
                <a:pos x="connsiteX9361" y="connsiteY9361"/>
              </a:cxn>
              <a:cxn ang="0">
                <a:pos x="connsiteX9362" y="connsiteY9362"/>
              </a:cxn>
              <a:cxn ang="0">
                <a:pos x="connsiteX9363" y="connsiteY9363"/>
              </a:cxn>
              <a:cxn ang="0">
                <a:pos x="connsiteX9364" y="connsiteY9364"/>
              </a:cxn>
              <a:cxn ang="0">
                <a:pos x="connsiteX9365" y="connsiteY9365"/>
              </a:cxn>
              <a:cxn ang="0">
                <a:pos x="connsiteX9366" y="connsiteY9366"/>
              </a:cxn>
              <a:cxn ang="0">
                <a:pos x="connsiteX9367" y="connsiteY9367"/>
              </a:cxn>
              <a:cxn ang="0">
                <a:pos x="connsiteX9368" y="connsiteY9368"/>
              </a:cxn>
              <a:cxn ang="0">
                <a:pos x="connsiteX9369" y="connsiteY9369"/>
              </a:cxn>
              <a:cxn ang="0">
                <a:pos x="connsiteX9370" y="connsiteY9370"/>
              </a:cxn>
              <a:cxn ang="0">
                <a:pos x="connsiteX9371" y="connsiteY9371"/>
              </a:cxn>
              <a:cxn ang="0">
                <a:pos x="connsiteX9372" y="connsiteY9372"/>
              </a:cxn>
              <a:cxn ang="0">
                <a:pos x="connsiteX9373" y="connsiteY9373"/>
              </a:cxn>
              <a:cxn ang="0">
                <a:pos x="connsiteX9374" y="connsiteY9374"/>
              </a:cxn>
              <a:cxn ang="0">
                <a:pos x="connsiteX9375" y="connsiteY9375"/>
              </a:cxn>
              <a:cxn ang="0">
                <a:pos x="connsiteX9376" y="connsiteY9376"/>
              </a:cxn>
              <a:cxn ang="0">
                <a:pos x="connsiteX9377" y="connsiteY9377"/>
              </a:cxn>
              <a:cxn ang="0">
                <a:pos x="connsiteX9378" y="connsiteY9378"/>
              </a:cxn>
              <a:cxn ang="0">
                <a:pos x="connsiteX9379" y="connsiteY9379"/>
              </a:cxn>
              <a:cxn ang="0">
                <a:pos x="connsiteX9380" y="connsiteY9380"/>
              </a:cxn>
              <a:cxn ang="0">
                <a:pos x="connsiteX9381" y="connsiteY9381"/>
              </a:cxn>
              <a:cxn ang="0">
                <a:pos x="connsiteX9382" y="connsiteY9382"/>
              </a:cxn>
              <a:cxn ang="0">
                <a:pos x="connsiteX9383" y="connsiteY9383"/>
              </a:cxn>
              <a:cxn ang="0">
                <a:pos x="connsiteX9384" y="connsiteY9384"/>
              </a:cxn>
              <a:cxn ang="0">
                <a:pos x="connsiteX9385" y="connsiteY9385"/>
              </a:cxn>
              <a:cxn ang="0">
                <a:pos x="connsiteX9386" y="connsiteY9386"/>
              </a:cxn>
              <a:cxn ang="0">
                <a:pos x="connsiteX9387" y="connsiteY9387"/>
              </a:cxn>
              <a:cxn ang="0">
                <a:pos x="connsiteX9388" y="connsiteY9388"/>
              </a:cxn>
              <a:cxn ang="0">
                <a:pos x="connsiteX9389" y="connsiteY9389"/>
              </a:cxn>
              <a:cxn ang="0">
                <a:pos x="connsiteX9390" y="connsiteY9390"/>
              </a:cxn>
              <a:cxn ang="0">
                <a:pos x="connsiteX9391" y="connsiteY9391"/>
              </a:cxn>
              <a:cxn ang="0">
                <a:pos x="connsiteX9392" y="connsiteY9392"/>
              </a:cxn>
              <a:cxn ang="0">
                <a:pos x="connsiteX9393" y="connsiteY9393"/>
              </a:cxn>
              <a:cxn ang="0">
                <a:pos x="connsiteX9394" y="connsiteY9394"/>
              </a:cxn>
              <a:cxn ang="0">
                <a:pos x="connsiteX9395" y="connsiteY9395"/>
              </a:cxn>
              <a:cxn ang="0">
                <a:pos x="connsiteX9396" y="connsiteY9396"/>
              </a:cxn>
              <a:cxn ang="0">
                <a:pos x="connsiteX9397" y="connsiteY9397"/>
              </a:cxn>
              <a:cxn ang="0">
                <a:pos x="connsiteX9398" y="connsiteY9398"/>
              </a:cxn>
              <a:cxn ang="0">
                <a:pos x="connsiteX9399" y="connsiteY9399"/>
              </a:cxn>
              <a:cxn ang="0">
                <a:pos x="connsiteX9400" y="connsiteY9400"/>
              </a:cxn>
              <a:cxn ang="0">
                <a:pos x="connsiteX9401" y="connsiteY9401"/>
              </a:cxn>
              <a:cxn ang="0">
                <a:pos x="connsiteX9402" y="connsiteY9402"/>
              </a:cxn>
              <a:cxn ang="0">
                <a:pos x="connsiteX9403" y="connsiteY9403"/>
              </a:cxn>
              <a:cxn ang="0">
                <a:pos x="connsiteX9404" y="connsiteY9404"/>
              </a:cxn>
              <a:cxn ang="0">
                <a:pos x="connsiteX9405" y="connsiteY9405"/>
              </a:cxn>
              <a:cxn ang="0">
                <a:pos x="connsiteX9406" y="connsiteY9406"/>
              </a:cxn>
              <a:cxn ang="0">
                <a:pos x="connsiteX9407" y="connsiteY9407"/>
              </a:cxn>
              <a:cxn ang="0">
                <a:pos x="connsiteX9408" y="connsiteY9408"/>
              </a:cxn>
              <a:cxn ang="0">
                <a:pos x="connsiteX9409" y="connsiteY9409"/>
              </a:cxn>
              <a:cxn ang="0">
                <a:pos x="connsiteX9410" y="connsiteY9410"/>
              </a:cxn>
              <a:cxn ang="0">
                <a:pos x="connsiteX9411" y="connsiteY9411"/>
              </a:cxn>
              <a:cxn ang="0">
                <a:pos x="connsiteX9412" y="connsiteY9412"/>
              </a:cxn>
              <a:cxn ang="0">
                <a:pos x="connsiteX9413" y="connsiteY9413"/>
              </a:cxn>
              <a:cxn ang="0">
                <a:pos x="connsiteX9414" y="connsiteY9414"/>
              </a:cxn>
              <a:cxn ang="0">
                <a:pos x="connsiteX9415" y="connsiteY9415"/>
              </a:cxn>
              <a:cxn ang="0">
                <a:pos x="connsiteX9416" y="connsiteY9416"/>
              </a:cxn>
              <a:cxn ang="0">
                <a:pos x="connsiteX9417" y="connsiteY9417"/>
              </a:cxn>
              <a:cxn ang="0">
                <a:pos x="connsiteX9418" y="connsiteY9418"/>
              </a:cxn>
              <a:cxn ang="0">
                <a:pos x="connsiteX9419" y="connsiteY9419"/>
              </a:cxn>
              <a:cxn ang="0">
                <a:pos x="connsiteX9420" y="connsiteY9420"/>
              </a:cxn>
              <a:cxn ang="0">
                <a:pos x="connsiteX9421" y="connsiteY9421"/>
              </a:cxn>
              <a:cxn ang="0">
                <a:pos x="connsiteX9422" y="connsiteY9422"/>
              </a:cxn>
              <a:cxn ang="0">
                <a:pos x="connsiteX9423" y="connsiteY9423"/>
              </a:cxn>
              <a:cxn ang="0">
                <a:pos x="connsiteX9424" y="connsiteY9424"/>
              </a:cxn>
              <a:cxn ang="0">
                <a:pos x="connsiteX9425" y="connsiteY9425"/>
              </a:cxn>
              <a:cxn ang="0">
                <a:pos x="connsiteX9426" y="connsiteY9426"/>
              </a:cxn>
              <a:cxn ang="0">
                <a:pos x="connsiteX9427" y="connsiteY9427"/>
              </a:cxn>
              <a:cxn ang="0">
                <a:pos x="connsiteX9428" y="connsiteY9428"/>
              </a:cxn>
              <a:cxn ang="0">
                <a:pos x="connsiteX9429" y="connsiteY9429"/>
              </a:cxn>
              <a:cxn ang="0">
                <a:pos x="connsiteX9430" y="connsiteY9430"/>
              </a:cxn>
              <a:cxn ang="0">
                <a:pos x="connsiteX9431" y="connsiteY9431"/>
              </a:cxn>
              <a:cxn ang="0">
                <a:pos x="connsiteX9432" y="connsiteY9432"/>
              </a:cxn>
              <a:cxn ang="0">
                <a:pos x="connsiteX9433" y="connsiteY9433"/>
              </a:cxn>
              <a:cxn ang="0">
                <a:pos x="connsiteX9434" y="connsiteY9434"/>
              </a:cxn>
              <a:cxn ang="0">
                <a:pos x="connsiteX9435" y="connsiteY9435"/>
              </a:cxn>
              <a:cxn ang="0">
                <a:pos x="connsiteX9436" y="connsiteY9436"/>
              </a:cxn>
              <a:cxn ang="0">
                <a:pos x="connsiteX9437" y="connsiteY9437"/>
              </a:cxn>
              <a:cxn ang="0">
                <a:pos x="connsiteX9438" y="connsiteY9438"/>
              </a:cxn>
              <a:cxn ang="0">
                <a:pos x="connsiteX9439" y="connsiteY9439"/>
              </a:cxn>
              <a:cxn ang="0">
                <a:pos x="connsiteX9440" y="connsiteY9440"/>
              </a:cxn>
              <a:cxn ang="0">
                <a:pos x="connsiteX9441" y="connsiteY9441"/>
              </a:cxn>
              <a:cxn ang="0">
                <a:pos x="connsiteX9442" y="connsiteY9442"/>
              </a:cxn>
              <a:cxn ang="0">
                <a:pos x="connsiteX9443" y="connsiteY9443"/>
              </a:cxn>
              <a:cxn ang="0">
                <a:pos x="connsiteX9444" y="connsiteY9444"/>
              </a:cxn>
              <a:cxn ang="0">
                <a:pos x="connsiteX9445" y="connsiteY9445"/>
              </a:cxn>
              <a:cxn ang="0">
                <a:pos x="connsiteX9446" y="connsiteY9446"/>
              </a:cxn>
              <a:cxn ang="0">
                <a:pos x="connsiteX9447" y="connsiteY9447"/>
              </a:cxn>
              <a:cxn ang="0">
                <a:pos x="connsiteX9448" y="connsiteY9448"/>
              </a:cxn>
              <a:cxn ang="0">
                <a:pos x="connsiteX9449" y="connsiteY9449"/>
              </a:cxn>
              <a:cxn ang="0">
                <a:pos x="connsiteX9450" y="connsiteY9450"/>
              </a:cxn>
              <a:cxn ang="0">
                <a:pos x="connsiteX9451" y="connsiteY9451"/>
              </a:cxn>
              <a:cxn ang="0">
                <a:pos x="connsiteX9452" y="connsiteY9452"/>
              </a:cxn>
              <a:cxn ang="0">
                <a:pos x="connsiteX9453" y="connsiteY9453"/>
              </a:cxn>
              <a:cxn ang="0">
                <a:pos x="connsiteX9454" y="connsiteY9454"/>
              </a:cxn>
              <a:cxn ang="0">
                <a:pos x="connsiteX9455" y="connsiteY9455"/>
              </a:cxn>
              <a:cxn ang="0">
                <a:pos x="connsiteX9456" y="connsiteY9456"/>
              </a:cxn>
              <a:cxn ang="0">
                <a:pos x="connsiteX9457" y="connsiteY9457"/>
              </a:cxn>
              <a:cxn ang="0">
                <a:pos x="connsiteX9458" y="connsiteY9458"/>
              </a:cxn>
              <a:cxn ang="0">
                <a:pos x="connsiteX9459" y="connsiteY9459"/>
              </a:cxn>
              <a:cxn ang="0">
                <a:pos x="connsiteX9460" y="connsiteY9460"/>
              </a:cxn>
              <a:cxn ang="0">
                <a:pos x="connsiteX9461" y="connsiteY9461"/>
              </a:cxn>
              <a:cxn ang="0">
                <a:pos x="connsiteX9462" y="connsiteY9462"/>
              </a:cxn>
              <a:cxn ang="0">
                <a:pos x="connsiteX9463" y="connsiteY9463"/>
              </a:cxn>
              <a:cxn ang="0">
                <a:pos x="connsiteX9464" y="connsiteY9464"/>
              </a:cxn>
              <a:cxn ang="0">
                <a:pos x="connsiteX9465" y="connsiteY9465"/>
              </a:cxn>
              <a:cxn ang="0">
                <a:pos x="connsiteX9466" y="connsiteY9466"/>
              </a:cxn>
              <a:cxn ang="0">
                <a:pos x="connsiteX9467" y="connsiteY9467"/>
              </a:cxn>
              <a:cxn ang="0">
                <a:pos x="connsiteX9468" y="connsiteY9468"/>
              </a:cxn>
              <a:cxn ang="0">
                <a:pos x="connsiteX9469" y="connsiteY9469"/>
              </a:cxn>
              <a:cxn ang="0">
                <a:pos x="connsiteX9470" y="connsiteY9470"/>
              </a:cxn>
              <a:cxn ang="0">
                <a:pos x="connsiteX9471" y="connsiteY9471"/>
              </a:cxn>
              <a:cxn ang="0">
                <a:pos x="connsiteX9472" y="connsiteY9472"/>
              </a:cxn>
              <a:cxn ang="0">
                <a:pos x="connsiteX9473" y="connsiteY9473"/>
              </a:cxn>
              <a:cxn ang="0">
                <a:pos x="connsiteX9474" y="connsiteY9474"/>
              </a:cxn>
              <a:cxn ang="0">
                <a:pos x="connsiteX9475" y="connsiteY9475"/>
              </a:cxn>
              <a:cxn ang="0">
                <a:pos x="connsiteX9476" y="connsiteY9476"/>
              </a:cxn>
              <a:cxn ang="0">
                <a:pos x="connsiteX9477" y="connsiteY9477"/>
              </a:cxn>
              <a:cxn ang="0">
                <a:pos x="connsiteX9478" y="connsiteY9478"/>
              </a:cxn>
              <a:cxn ang="0">
                <a:pos x="connsiteX9479" y="connsiteY9479"/>
              </a:cxn>
              <a:cxn ang="0">
                <a:pos x="connsiteX9480" y="connsiteY9480"/>
              </a:cxn>
              <a:cxn ang="0">
                <a:pos x="connsiteX9481" y="connsiteY9481"/>
              </a:cxn>
              <a:cxn ang="0">
                <a:pos x="connsiteX9482" y="connsiteY9482"/>
              </a:cxn>
              <a:cxn ang="0">
                <a:pos x="connsiteX9483" y="connsiteY9483"/>
              </a:cxn>
              <a:cxn ang="0">
                <a:pos x="connsiteX9484" y="connsiteY9484"/>
              </a:cxn>
              <a:cxn ang="0">
                <a:pos x="connsiteX9485" y="connsiteY9485"/>
              </a:cxn>
              <a:cxn ang="0">
                <a:pos x="connsiteX9486" y="connsiteY9486"/>
              </a:cxn>
              <a:cxn ang="0">
                <a:pos x="connsiteX9487" y="connsiteY9487"/>
              </a:cxn>
              <a:cxn ang="0">
                <a:pos x="connsiteX9488" y="connsiteY9488"/>
              </a:cxn>
              <a:cxn ang="0">
                <a:pos x="connsiteX9489" y="connsiteY9489"/>
              </a:cxn>
              <a:cxn ang="0">
                <a:pos x="connsiteX9490" y="connsiteY9490"/>
              </a:cxn>
              <a:cxn ang="0">
                <a:pos x="connsiteX9491" y="connsiteY9491"/>
              </a:cxn>
              <a:cxn ang="0">
                <a:pos x="connsiteX9492" y="connsiteY9492"/>
              </a:cxn>
              <a:cxn ang="0">
                <a:pos x="connsiteX9493" y="connsiteY9493"/>
              </a:cxn>
              <a:cxn ang="0">
                <a:pos x="connsiteX9494" y="connsiteY9494"/>
              </a:cxn>
              <a:cxn ang="0">
                <a:pos x="connsiteX9495" y="connsiteY9495"/>
              </a:cxn>
              <a:cxn ang="0">
                <a:pos x="connsiteX9496" y="connsiteY9496"/>
              </a:cxn>
              <a:cxn ang="0">
                <a:pos x="connsiteX9497" y="connsiteY9497"/>
              </a:cxn>
              <a:cxn ang="0">
                <a:pos x="connsiteX9498" y="connsiteY9498"/>
              </a:cxn>
              <a:cxn ang="0">
                <a:pos x="connsiteX9499" y="connsiteY9499"/>
              </a:cxn>
              <a:cxn ang="0">
                <a:pos x="connsiteX9500" y="connsiteY9500"/>
              </a:cxn>
              <a:cxn ang="0">
                <a:pos x="connsiteX9501" y="connsiteY9501"/>
              </a:cxn>
              <a:cxn ang="0">
                <a:pos x="connsiteX9502" y="connsiteY9502"/>
              </a:cxn>
              <a:cxn ang="0">
                <a:pos x="connsiteX9503" y="connsiteY9503"/>
              </a:cxn>
              <a:cxn ang="0">
                <a:pos x="connsiteX9504" y="connsiteY9504"/>
              </a:cxn>
              <a:cxn ang="0">
                <a:pos x="connsiteX9505" y="connsiteY9505"/>
              </a:cxn>
              <a:cxn ang="0">
                <a:pos x="connsiteX9506" y="connsiteY9506"/>
              </a:cxn>
              <a:cxn ang="0">
                <a:pos x="connsiteX9507" y="connsiteY9507"/>
              </a:cxn>
              <a:cxn ang="0">
                <a:pos x="connsiteX9508" y="connsiteY9508"/>
              </a:cxn>
              <a:cxn ang="0">
                <a:pos x="connsiteX9509" y="connsiteY9509"/>
              </a:cxn>
              <a:cxn ang="0">
                <a:pos x="connsiteX9510" y="connsiteY9510"/>
              </a:cxn>
              <a:cxn ang="0">
                <a:pos x="connsiteX9511" y="connsiteY9511"/>
              </a:cxn>
              <a:cxn ang="0">
                <a:pos x="connsiteX9512" y="connsiteY9512"/>
              </a:cxn>
              <a:cxn ang="0">
                <a:pos x="connsiteX9513" y="connsiteY9513"/>
              </a:cxn>
              <a:cxn ang="0">
                <a:pos x="connsiteX9514" y="connsiteY9514"/>
              </a:cxn>
              <a:cxn ang="0">
                <a:pos x="connsiteX9515" y="connsiteY9515"/>
              </a:cxn>
              <a:cxn ang="0">
                <a:pos x="connsiteX9516" y="connsiteY9516"/>
              </a:cxn>
              <a:cxn ang="0">
                <a:pos x="connsiteX9517" y="connsiteY9517"/>
              </a:cxn>
              <a:cxn ang="0">
                <a:pos x="connsiteX9518" y="connsiteY9518"/>
              </a:cxn>
              <a:cxn ang="0">
                <a:pos x="connsiteX9519" y="connsiteY9519"/>
              </a:cxn>
              <a:cxn ang="0">
                <a:pos x="connsiteX9520" y="connsiteY9520"/>
              </a:cxn>
              <a:cxn ang="0">
                <a:pos x="connsiteX9521" y="connsiteY9521"/>
              </a:cxn>
              <a:cxn ang="0">
                <a:pos x="connsiteX9522" y="connsiteY9522"/>
              </a:cxn>
              <a:cxn ang="0">
                <a:pos x="connsiteX9523" y="connsiteY9523"/>
              </a:cxn>
              <a:cxn ang="0">
                <a:pos x="connsiteX9524" y="connsiteY9524"/>
              </a:cxn>
              <a:cxn ang="0">
                <a:pos x="connsiteX9525" y="connsiteY9525"/>
              </a:cxn>
              <a:cxn ang="0">
                <a:pos x="connsiteX9526" y="connsiteY9526"/>
              </a:cxn>
              <a:cxn ang="0">
                <a:pos x="connsiteX9527" y="connsiteY9527"/>
              </a:cxn>
              <a:cxn ang="0">
                <a:pos x="connsiteX9528" y="connsiteY9528"/>
              </a:cxn>
              <a:cxn ang="0">
                <a:pos x="connsiteX9529" y="connsiteY9529"/>
              </a:cxn>
              <a:cxn ang="0">
                <a:pos x="connsiteX9530" y="connsiteY9530"/>
              </a:cxn>
              <a:cxn ang="0">
                <a:pos x="connsiteX9531" y="connsiteY9531"/>
              </a:cxn>
              <a:cxn ang="0">
                <a:pos x="connsiteX9532" y="connsiteY9532"/>
              </a:cxn>
              <a:cxn ang="0">
                <a:pos x="connsiteX9533" y="connsiteY9533"/>
              </a:cxn>
              <a:cxn ang="0">
                <a:pos x="connsiteX9534" y="connsiteY9534"/>
              </a:cxn>
              <a:cxn ang="0">
                <a:pos x="connsiteX9535" y="connsiteY9535"/>
              </a:cxn>
              <a:cxn ang="0">
                <a:pos x="connsiteX9536" y="connsiteY9536"/>
              </a:cxn>
              <a:cxn ang="0">
                <a:pos x="connsiteX9537" y="connsiteY9537"/>
              </a:cxn>
              <a:cxn ang="0">
                <a:pos x="connsiteX9538" y="connsiteY9538"/>
              </a:cxn>
              <a:cxn ang="0">
                <a:pos x="connsiteX9539" y="connsiteY9539"/>
              </a:cxn>
              <a:cxn ang="0">
                <a:pos x="connsiteX9540" y="connsiteY9540"/>
              </a:cxn>
              <a:cxn ang="0">
                <a:pos x="connsiteX9541" y="connsiteY9541"/>
              </a:cxn>
              <a:cxn ang="0">
                <a:pos x="connsiteX9542" y="connsiteY9542"/>
              </a:cxn>
              <a:cxn ang="0">
                <a:pos x="connsiteX9543" y="connsiteY9543"/>
              </a:cxn>
              <a:cxn ang="0">
                <a:pos x="connsiteX9544" y="connsiteY9544"/>
              </a:cxn>
              <a:cxn ang="0">
                <a:pos x="connsiteX9545" y="connsiteY9545"/>
              </a:cxn>
              <a:cxn ang="0">
                <a:pos x="connsiteX9546" y="connsiteY9546"/>
              </a:cxn>
              <a:cxn ang="0">
                <a:pos x="connsiteX9547" y="connsiteY9547"/>
              </a:cxn>
              <a:cxn ang="0">
                <a:pos x="connsiteX9548" y="connsiteY9548"/>
              </a:cxn>
              <a:cxn ang="0">
                <a:pos x="connsiteX9549" y="connsiteY9549"/>
              </a:cxn>
              <a:cxn ang="0">
                <a:pos x="connsiteX9550" y="connsiteY9550"/>
              </a:cxn>
              <a:cxn ang="0">
                <a:pos x="connsiteX9551" y="connsiteY9551"/>
              </a:cxn>
              <a:cxn ang="0">
                <a:pos x="connsiteX9552" y="connsiteY9552"/>
              </a:cxn>
              <a:cxn ang="0">
                <a:pos x="connsiteX9553" y="connsiteY9553"/>
              </a:cxn>
              <a:cxn ang="0">
                <a:pos x="connsiteX9554" y="connsiteY9554"/>
              </a:cxn>
              <a:cxn ang="0">
                <a:pos x="connsiteX9555" y="connsiteY9555"/>
              </a:cxn>
              <a:cxn ang="0">
                <a:pos x="connsiteX9556" y="connsiteY9556"/>
              </a:cxn>
              <a:cxn ang="0">
                <a:pos x="connsiteX9557" y="connsiteY9557"/>
              </a:cxn>
              <a:cxn ang="0">
                <a:pos x="connsiteX9558" y="connsiteY9558"/>
              </a:cxn>
              <a:cxn ang="0">
                <a:pos x="connsiteX9559" y="connsiteY9559"/>
              </a:cxn>
              <a:cxn ang="0">
                <a:pos x="connsiteX9560" y="connsiteY9560"/>
              </a:cxn>
              <a:cxn ang="0">
                <a:pos x="connsiteX9561" y="connsiteY9561"/>
              </a:cxn>
              <a:cxn ang="0">
                <a:pos x="connsiteX9562" y="connsiteY9562"/>
              </a:cxn>
              <a:cxn ang="0">
                <a:pos x="connsiteX9563" y="connsiteY9563"/>
              </a:cxn>
              <a:cxn ang="0">
                <a:pos x="connsiteX9564" y="connsiteY9564"/>
              </a:cxn>
              <a:cxn ang="0">
                <a:pos x="connsiteX9565" y="connsiteY9565"/>
              </a:cxn>
              <a:cxn ang="0">
                <a:pos x="connsiteX9566" y="connsiteY9566"/>
              </a:cxn>
              <a:cxn ang="0">
                <a:pos x="connsiteX9567" y="connsiteY9567"/>
              </a:cxn>
              <a:cxn ang="0">
                <a:pos x="connsiteX9568" y="connsiteY9568"/>
              </a:cxn>
              <a:cxn ang="0">
                <a:pos x="connsiteX9569" y="connsiteY9569"/>
              </a:cxn>
              <a:cxn ang="0">
                <a:pos x="connsiteX9570" y="connsiteY9570"/>
              </a:cxn>
              <a:cxn ang="0">
                <a:pos x="connsiteX9571" y="connsiteY9571"/>
              </a:cxn>
              <a:cxn ang="0">
                <a:pos x="connsiteX9572" y="connsiteY9572"/>
              </a:cxn>
              <a:cxn ang="0">
                <a:pos x="connsiteX9573" y="connsiteY9573"/>
              </a:cxn>
              <a:cxn ang="0">
                <a:pos x="connsiteX9574" y="connsiteY9574"/>
              </a:cxn>
              <a:cxn ang="0">
                <a:pos x="connsiteX9575" y="connsiteY9575"/>
              </a:cxn>
              <a:cxn ang="0">
                <a:pos x="connsiteX9576" y="connsiteY9576"/>
              </a:cxn>
              <a:cxn ang="0">
                <a:pos x="connsiteX9577" y="connsiteY9577"/>
              </a:cxn>
              <a:cxn ang="0">
                <a:pos x="connsiteX9578" y="connsiteY9578"/>
              </a:cxn>
              <a:cxn ang="0">
                <a:pos x="connsiteX9579" y="connsiteY9579"/>
              </a:cxn>
              <a:cxn ang="0">
                <a:pos x="connsiteX9580" y="connsiteY9580"/>
              </a:cxn>
              <a:cxn ang="0">
                <a:pos x="connsiteX9581" y="connsiteY9581"/>
              </a:cxn>
              <a:cxn ang="0">
                <a:pos x="connsiteX9582" y="connsiteY9582"/>
              </a:cxn>
              <a:cxn ang="0">
                <a:pos x="connsiteX9583" y="connsiteY9583"/>
              </a:cxn>
              <a:cxn ang="0">
                <a:pos x="connsiteX9584" y="connsiteY9584"/>
              </a:cxn>
              <a:cxn ang="0">
                <a:pos x="connsiteX9585" y="connsiteY9585"/>
              </a:cxn>
              <a:cxn ang="0">
                <a:pos x="connsiteX9586" y="connsiteY9586"/>
              </a:cxn>
              <a:cxn ang="0">
                <a:pos x="connsiteX9587" y="connsiteY9587"/>
              </a:cxn>
              <a:cxn ang="0">
                <a:pos x="connsiteX9588" y="connsiteY9588"/>
              </a:cxn>
              <a:cxn ang="0">
                <a:pos x="connsiteX9589" y="connsiteY9589"/>
              </a:cxn>
              <a:cxn ang="0">
                <a:pos x="connsiteX9590" y="connsiteY9590"/>
              </a:cxn>
              <a:cxn ang="0">
                <a:pos x="connsiteX9591" y="connsiteY9591"/>
              </a:cxn>
              <a:cxn ang="0">
                <a:pos x="connsiteX9592" y="connsiteY9592"/>
              </a:cxn>
              <a:cxn ang="0">
                <a:pos x="connsiteX9593" y="connsiteY9593"/>
              </a:cxn>
              <a:cxn ang="0">
                <a:pos x="connsiteX9594" y="connsiteY9594"/>
              </a:cxn>
              <a:cxn ang="0">
                <a:pos x="connsiteX9595" y="connsiteY9595"/>
              </a:cxn>
              <a:cxn ang="0">
                <a:pos x="connsiteX9596" y="connsiteY9596"/>
              </a:cxn>
              <a:cxn ang="0">
                <a:pos x="connsiteX9597" y="connsiteY9597"/>
              </a:cxn>
              <a:cxn ang="0">
                <a:pos x="connsiteX9598" y="connsiteY9598"/>
              </a:cxn>
              <a:cxn ang="0">
                <a:pos x="connsiteX9599" y="connsiteY9599"/>
              </a:cxn>
              <a:cxn ang="0">
                <a:pos x="connsiteX9600" y="connsiteY9600"/>
              </a:cxn>
              <a:cxn ang="0">
                <a:pos x="connsiteX9601" y="connsiteY9601"/>
              </a:cxn>
              <a:cxn ang="0">
                <a:pos x="connsiteX9602" y="connsiteY9602"/>
              </a:cxn>
              <a:cxn ang="0">
                <a:pos x="connsiteX9603" y="connsiteY9603"/>
              </a:cxn>
              <a:cxn ang="0">
                <a:pos x="connsiteX9604" y="connsiteY9604"/>
              </a:cxn>
              <a:cxn ang="0">
                <a:pos x="connsiteX9605" y="connsiteY9605"/>
              </a:cxn>
              <a:cxn ang="0">
                <a:pos x="connsiteX9606" y="connsiteY9606"/>
              </a:cxn>
              <a:cxn ang="0">
                <a:pos x="connsiteX9607" y="connsiteY9607"/>
              </a:cxn>
              <a:cxn ang="0">
                <a:pos x="connsiteX9608" y="connsiteY9608"/>
              </a:cxn>
              <a:cxn ang="0">
                <a:pos x="connsiteX9609" y="connsiteY9609"/>
              </a:cxn>
              <a:cxn ang="0">
                <a:pos x="connsiteX9610" y="connsiteY9610"/>
              </a:cxn>
              <a:cxn ang="0">
                <a:pos x="connsiteX9611" y="connsiteY9611"/>
              </a:cxn>
              <a:cxn ang="0">
                <a:pos x="connsiteX9612" y="connsiteY9612"/>
              </a:cxn>
              <a:cxn ang="0">
                <a:pos x="connsiteX9613" y="connsiteY9613"/>
              </a:cxn>
              <a:cxn ang="0">
                <a:pos x="connsiteX9614" y="connsiteY9614"/>
              </a:cxn>
              <a:cxn ang="0">
                <a:pos x="connsiteX9615" y="connsiteY9615"/>
              </a:cxn>
              <a:cxn ang="0">
                <a:pos x="connsiteX9616" y="connsiteY9616"/>
              </a:cxn>
              <a:cxn ang="0">
                <a:pos x="connsiteX9617" y="connsiteY9617"/>
              </a:cxn>
              <a:cxn ang="0">
                <a:pos x="connsiteX9618" y="connsiteY9618"/>
              </a:cxn>
              <a:cxn ang="0">
                <a:pos x="connsiteX9619" y="connsiteY9619"/>
              </a:cxn>
              <a:cxn ang="0">
                <a:pos x="connsiteX9620" y="connsiteY9620"/>
              </a:cxn>
              <a:cxn ang="0">
                <a:pos x="connsiteX9621" y="connsiteY9621"/>
              </a:cxn>
              <a:cxn ang="0">
                <a:pos x="connsiteX9622" y="connsiteY9622"/>
              </a:cxn>
              <a:cxn ang="0">
                <a:pos x="connsiteX9623" y="connsiteY9623"/>
              </a:cxn>
              <a:cxn ang="0">
                <a:pos x="connsiteX9624" y="connsiteY9624"/>
              </a:cxn>
              <a:cxn ang="0">
                <a:pos x="connsiteX9625" y="connsiteY9625"/>
              </a:cxn>
              <a:cxn ang="0">
                <a:pos x="connsiteX9626" y="connsiteY9626"/>
              </a:cxn>
              <a:cxn ang="0">
                <a:pos x="connsiteX9627" y="connsiteY9627"/>
              </a:cxn>
              <a:cxn ang="0">
                <a:pos x="connsiteX9628" y="connsiteY9628"/>
              </a:cxn>
              <a:cxn ang="0">
                <a:pos x="connsiteX9629" y="connsiteY9629"/>
              </a:cxn>
              <a:cxn ang="0">
                <a:pos x="connsiteX9630" y="connsiteY9630"/>
              </a:cxn>
              <a:cxn ang="0">
                <a:pos x="connsiteX9631" y="connsiteY9631"/>
              </a:cxn>
              <a:cxn ang="0">
                <a:pos x="connsiteX9632" y="connsiteY9632"/>
              </a:cxn>
              <a:cxn ang="0">
                <a:pos x="connsiteX9633" y="connsiteY9633"/>
              </a:cxn>
              <a:cxn ang="0">
                <a:pos x="connsiteX9634" y="connsiteY9634"/>
              </a:cxn>
              <a:cxn ang="0">
                <a:pos x="connsiteX9635" y="connsiteY9635"/>
              </a:cxn>
              <a:cxn ang="0">
                <a:pos x="connsiteX9636" y="connsiteY9636"/>
              </a:cxn>
              <a:cxn ang="0">
                <a:pos x="connsiteX9637" y="connsiteY9637"/>
              </a:cxn>
              <a:cxn ang="0">
                <a:pos x="connsiteX9638" y="connsiteY9638"/>
              </a:cxn>
              <a:cxn ang="0">
                <a:pos x="connsiteX9639" y="connsiteY9639"/>
              </a:cxn>
              <a:cxn ang="0">
                <a:pos x="connsiteX9640" y="connsiteY9640"/>
              </a:cxn>
              <a:cxn ang="0">
                <a:pos x="connsiteX9641" y="connsiteY9641"/>
              </a:cxn>
              <a:cxn ang="0">
                <a:pos x="connsiteX9642" y="connsiteY9642"/>
              </a:cxn>
              <a:cxn ang="0">
                <a:pos x="connsiteX9643" y="connsiteY9643"/>
              </a:cxn>
              <a:cxn ang="0">
                <a:pos x="connsiteX9644" y="connsiteY9644"/>
              </a:cxn>
              <a:cxn ang="0">
                <a:pos x="connsiteX9645" y="connsiteY9645"/>
              </a:cxn>
              <a:cxn ang="0">
                <a:pos x="connsiteX9646" y="connsiteY9646"/>
              </a:cxn>
              <a:cxn ang="0">
                <a:pos x="connsiteX9647" y="connsiteY9647"/>
              </a:cxn>
              <a:cxn ang="0">
                <a:pos x="connsiteX9648" y="connsiteY9648"/>
              </a:cxn>
              <a:cxn ang="0">
                <a:pos x="connsiteX9649" y="connsiteY9649"/>
              </a:cxn>
              <a:cxn ang="0">
                <a:pos x="connsiteX9650" y="connsiteY9650"/>
              </a:cxn>
              <a:cxn ang="0">
                <a:pos x="connsiteX9651" y="connsiteY9651"/>
              </a:cxn>
              <a:cxn ang="0">
                <a:pos x="connsiteX9652" y="connsiteY9652"/>
              </a:cxn>
              <a:cxn ang="0">
                <a:pos x="connsiteX9653" y="connsiteY9653"/>
              </a:cxn>
              <a:cxn ang="0">
                <a:pos x="connsiteX9654" y="connsiteY9654"/>
              </a:cxn>
              <a:cxn ang="0">
                <a:pos x="connsiteX9655" y="connsiteY9655"/>
              </a:cxn>
              <a:cxn ang="0">
                <a:pos x="connsiteX9656" y="connsiteY9656"/>
              </a:cxn>
              <a:cxn ang="0">
                <a:pos x="connsiteX9657" y="connsiteY9657"/>
              </a:cxn>
              <a:cxn ang="0">
                <a:pos x="connsiteX9658" y="connsiteY9658"/>
              </a:cxn>
              <a:cxn ang="0">
                <a:pos x="connsiteX9659" y="connsiteY9659"/>
              </a:cxn>
              <a:cxn ang="0">
                <a:pos x="connsiteX9660" y="connsiteY9660"/>
              </a:cxn>
              <a:cxn ang="0">
                <a:pos x="connsiteX9661" y="connsiteY9661"/>
              </a:cxn>
              <a:cxn ang="0">
                <a:pos x="connsiteX9662" y="connsiteY9662"/>
              </a:cxn>
              <a:cxn ang="0">
                <a:pos x="connsiteX9663" y="connsiteY9663"/>
              </a:cxn>
              <a:cxn ang="0">
                <a:pos x="connsiteX9664" y="connsiteY9664"/>
              </a:cxn>
              <a:cxn ang="0">
                <a:pos x="connsiteX9665" y="connsiteY9665"/>
              </a:cxn>
              <a:cxn ang="0">
                <a:pos x="connsiteX9666" y="connsiteY9666"/>
              </a:cxn>
              <a:cxn ang="0">
                <a:pos x="connsiteX9667" y="connsiteY9667"/>
              </a:cxn>
              <a:cxn ang="0">
                <a:pos x="connsiteX9668" y="connsiteY9668"/>
              </a:cxn>
              <a:cxn ang="0">
                <a:pos x="connsiteX9669" y="connsiteY9669"/>
              </a:cxn>
              <a:cxn ang="0">
                <a:pos x="connsiteX9670" y="connsiteY9670"/>
              </a:cxn>
              <a:cxn ang="0">
                <a:pos x="connsiteX9671" y="connsiteY9671"/>
              </a:cxn>
              <a:cxn ang="0">
                <a:pos x="connsiteX9672" y="connsiteY9672"/>
              </a:cxn>
              <a:cxn ang="0">
                <a:pos x="connsiteX9673" y="connsiteY9673"/>
              </a:cxn>
              <a:cxn ang="0">
                <a:pos x="connsiteX9674" y="connsiteY9674"/>
              </a:cxn>
              <a:cxn ang="0">
                <a:pos x="connsiteX9675" y="connsiteY9675"/>
              </a:cxn>
              <a:cxn ang="0">
                <a:pos x="connsiteX9676" y="connsiteY9676"/>
              </a:cxn>
              <a:cxn ang="0">
                <a:pos x="connsiteX9677" y="connsiteY9677"/>
              </a:cxn>
              <a:cxn ang="0">
                <a:pos x="connsiteX9678" y="connsiteY9678"/>
              </a:cxn>
              <a:cxn ang="0">
                <a:pos x="connsiteX9679" y="connsiteY9679"/>
              </a:cxn>
              <a:cxn ang="0">
                <a:pos x="connsiteX9680" y="connsiteY9680"/>
              </a:cxn>
              <a:cxn ang="0">
                <a:pos x="connsiteX9681" y="connsiteY9681"/>
              </a:cxn>
              <a:cxn ang="0">
                <a:pos x="connsiteX9682" y="connsiteY9682"/>
              </a:cxn>
              <a:cxn ang="0">
                <a:pos x="connsiteX9683" y="connsiteY9683"/>
              </a:cxn>
              <a:cxn ang="0">
                <a:pos x="connsiteX9684" y="connsiteY9684"/>
              </a:cxn>
              <a:cxn ang="0">
                <a:pos x="connsiteX9685" y="connsiteY9685"/>
              </a:cxn>
              <a:cxn ang="0">
                <a:pos x="connsiteX9686" y="connsiteY9686"/>
              </a:cxn>
              <a:cxn ang="0">
                <a:pos x="connsiteX9687" y="connsiteY9687"/>
              </a:cxn>
              <a:cxn ang="0">
                <a:pos x="connsiteX9688" y="connsiteY9688"/>
              </a:cxn>
              <a:cxn ang="0">
                <a:pos x="connsiteX9689" y="connsiteY9689"/>
              </a:cxn>
              <a:cxn ang="0">
                <a:pos x="connsiteX9690" y="connsiteY9690"/>
              </a:cxn>
              <a:cxn ang="0">
                <a:pos x="connsiteX9691" y="connsiteY9691"/>
              </a:cxn>
              <a:cxn ang="0">
                <a:pos x="connsiteX9692" y="connsiteY9692"/>
              </a:cxn>
              <a:cxn ang="0">
                <a:pos x="connsiteX9693" y="connsiteY9693"/>
              </a:cxn>
              <a:cxn ang="0">
                <a:pos x="connsiteX9694" y="connsiteY9694"/>
              </a:cxn>
              <a:cxn ang="0">
                <a:pos x="connsiteX9695" y="connsiteY9695"/>
              </a:cxn>
              <a:cxn ang="0">
                <a:pos x="connsiteX9696" y="connsiteY9696"/>
              </a:cxn>
              <a:cxn ang="0">
                <a:pos x="connsiteX9697" y="connsiteY9697"/>
              </a:cxn>
              <a:cxn ang="0">
                <a:pos x="connsiteX9698" y="connsiteY9698"/>
              </a:cxn>
              <a:cxn ang="0">
                <a:pos x="connsiteX9699" y="connsiteY9699"/>
              </a:cxn>
              <a:cxn ang="0">
                <a:pos x="connsiteX9700" y="connsiteY9700"/>
              </a:cxn>
              <a:cxn ang="0">
                <a:pos x="connsiteX9701" y="connsiteY9701"/>
              </a:cxn>
              <a:cxn ang="0">
                <a:pos x="connsiteX9702" y="connsiteY9702"/>
              </a:cxn>
              <a:cxn ang="0">
                <a:pos x="connsiteX9703" y="connsiteY9703"/>
              </a:cxn>
              <a:cxn ang="0">
                <a:pos x="connsiteX9704" y="connsiteY9704"/>
              </a:cxn>
              <a:cxn ang="0">
                <a:pos x="connsiteX9705" y="connsiteY9705"/>
              </a:cxn>
              <a:cxn ang="0">
                <a:pos x="connsiteX9706" y="connsiteY9706"/>
              </a:cxn>
              <a:cxn ang="0">
                <a:pos x="connsiteX9707" y="connsiteY9707"/>
              </a:cxn>
              <a:cxn ang="0">
                <a:pos x="connsiteX9708" y="connsiteY9708"/>
              </a:cxn>
              <a:cxn ang="0">
                <a:pos x="connsiteX9709" y="connsiteY9709"/>
              </a:cxn>
              <a:cxn ang="0">
                <a:pos x="connsiteX9710" y="connsiteY9710"/>
              </a:cxn>
              <a:cxn ang="0">
                <a:pos x="connsiteX9711" y="connsiteY9711"/>
              </a:cxn>
              <a:cxn ang="0">
                <a:pos x="connsiteX9712" y="connsiteY9712"/>
              </a:cxn>
              <a:cxn ang="0">
                <a:pos x="connsiteX9713" y="connsiteY9713"/>
              </a:cxn>
              <a:cxn ang="0">
                <a:pos x="connsiteX9714" y="connsiteY9714"/>
              </a:cxn>
              <a:cxn ang="0">
                <a:pos x="connsiteX9715" y="connsiteY9715"/>
              </a:cxn>
              <a:cxn ang="0">
                <a:pos x="connsiteX9716" y="connsiteY9716"/>
              </a:cxn>
              <a:cxn ang="0">
                <a:pos x="connsiteX9717" y="connsiteY9717"/>
              </a:cxn>
              <a:cxn ang="0">
                <a:pos x="connsiteX9718" y="connsiteY9718"/>
              </a:cxn>
              <a:cxn ang="0">
                <a:pos x="connsiteX9719" y="connsiteY9719"/>
              </a:cxn>
              <a:cxn ang="0">
                <a:pos x="connsiteX9720" y="connsiteY9720"/>
              </a:cxn>
              <a:cxn ang="0">
                <a:pos x="connsiteX9721" y="connsiteY9721"/>
              </a:cxn>
              <a:cxn ang="0">
                <a:pos x="connsiteX9722" y="connsiteY9722"/>
              </a:cxn>
              <a:cxn ang="0">
                <a:pos x="connsiteX9723" y="connsiteY9723"/>
              </a:cxn>
              <a:cxn ang="0">
                <a:pos x="connsiteX9724" y="connsiteY9724"/>
              </a:cxn>
              <a:cxn ang="0">
                <a:pos x="connsiteX9725" y="connsiteY9725"/>
              </a:cxn>
              <a:cxn ang="0">
                <a:pos x="connsiteX9726" y="connsiteY9726"/>
              </a:cxn>
              <a:cxn ang="0">
                <a:pos x="connsiteX9727" y="connsiteY9727"/>
              </a:cxn>
              <a:cxn ang="0">
                <a:pos x="connsiteX9728" y="connsiteY9728"/>
              </a:cxn>
              <a:cxn ang="0">
                <a:pos x="connsiteX9729" y="connsiteY9729"/>
              </a:cxn>
              <a:cxn ang="0">
                <a:pos x="connsiteX9730" y="connsiteY9730"/>
              </a:cxn>
              <a:cxn ang="0">
                <a:pos x="connsiteX9731" y="connsiteY9731"/>
              </a:cxn>
              <a:cxn ang="0">
                <a:pos x="connsiteX9732" y="connsiteY9732"/>
              </a:cxn>
              <a:cxn ang="0">
                <a:pos x="connsiteX9733" y="connsiteY9733"/>
              </a:cxn>
              <a:cxn ang="0">
                <a:pos x="connsiteX9734" y="connsiteY9734"/>
              </a:cxn>
              <a:cxn ang="0">
                <a:pos x="connsiteX9735" y="connsiteY9735"/>
              </a:cxn>
              <a:cxn ang="0">
                <a:pos x="connsiteX9736" y="connsiteY9736"/>
              </a:cxn>
              <a:cxn ang="0">
                <a:pos x="connsiteX9737" y="connsiteY9737"/>
              </a:cxn>
              <a:cxn ang="0">
                <a:pos x="connsiteX9738" y="connsiteY9738"/>
              </a:cxn>
              <a:cxn ang="0">
                <a:pos x="connsiteX9739" y="connsiteY9739"/>
              </a:cxn>
              <a:cxn ang="0">
                <a:pos x="connsiteX9740" y="connsiteY9740"/>
              </a:cxn>
              <a:cxn ang="0">
                <a:pos x="connsiteX9741" y="connsiteY9741"/>
              </a:cxn>
              <a:cxn ang="0">
                <a:pos x="connsiteX9742" y="connsiteY9742"/>
              </a:cxn>
              <a:cxn ang="0">
                <a:pos x="connsiteX9743" y="connsiteY9743"/>
              </a:cxn>
              <a:cxn ang="0">
                <a:pos x="connsiteX9744" y="connsiteY9744"/>
              </a:cxn>
              <a:cxn ang="0">
                <a:pos x="connsiteX9745" y="connsiteY9745"/>
              </a:cxn>
              <a:cxn ang="0">
                <a:pos x="connsiteX9746" y="connsiteY9746"/>
              </a:cxn>
              <a:cxn ang="0">
                <a:pos x="connsiteX9747" y="connsiteY9747"/>
              </a:cxn>
              <a:cxn ang="0">
                <a:pos x="connsiteX9748" y="connsiteY9748"/>
              </a:cxn>
              <a:cxn ang="0">
                <a:pos x="connsiteX9749" y="connsiteY9749"/>
              </a:cxn>
              <a:cxn ang="0">
                <a:pos x="connsiteX9750" y="connsiteY9750"/>
              </a:cxn>
              <a:cxn ang="0">
                <a:pos x="connsiteX9751" y="connsiteY9751"/>
              </a:cxn>
              <a:cxn ang="0">
                <a:pos x="connsiteX9752" y="connsiteY9752"/>
              </a:cxn>
              <a:cxn ang="0">
                <a:pos x="connsiteX9753" y="connsiteY9753"/>
              </a:cxn>
              <a:cxn ang="0">
                <a:pos x="connsiteX9754" y="connsiteY9754"/>
              </a:cxn>
              <a:cxn ang="0">
                <a:pos x="connsiteX9755" y="connsiteY9755"/>
              </a:cxn>
              <a:cxn ang="0">
                <a:pos x="connsiteX9756" y="connsiteY9756"/>
              </a:cxn>
              <a:cxn ang="0">
                <a:pos x="connsiteX9757" y="connsiteY9757"/>
              </a:cxn>
              <a:cxn ang="0">
                <a:pos x="connsiteX9758" y="connsiteY9758"/>
              </a:cxn>
              <a:cxn ang="0">
                <a:pos x="connsiteX9759" y="connsiteY9759"/>
              </a:cxn>
              <a:cxn ang="0">
                <a:pos x="connsiteX9760" y="connsiteY9760"/>
              </a:cxn>
              <a:cxn ang="0">
                <a:pos x="connsiteX9761" y="connsiteY9761"/>
              </a:cxn>
              <a:cxn ang="0">
                <a:pos x="connsiteX9762" y="connsiteY9762"/>
              </a:cxn>
              <a:cxn ang="0">
                <a:pos x="connsiteX9763" y="connsiteY9763"/>
              </a:cxn>
              <a:cxn ang="0">
                <a:pos x="connsiteX9764" y="connsiteY9764"/>
              </a:cxn>
              <a:cxn ang="0">
                <a:pos x="connsiteX9765" y="connsiteY9765"/>
              </a:cxn>
              <a:cxn ang="0">
                <a:pos x="connsiteX9766" y="connsiteY9766"/>
              </a:cxn>
              <a:cxn ang="0">
                <a:pos x="connsiteX9767" y="connsiteY9767"/>
              </a:cxn>
              <a:cxn ang="0">
                <a:pos x="connsiteX9768" y="connsiteY9768"/>
              </a:cxn>
              <a:cxn ang="0">
                <a:pos x="connsiteX9769" y="connsiteY9769"/>
              </a:cxn>
              <a:cxn ang="0">
                <a:pos x="connsiteX9770" y="connsiteY9770"/>
              </a:cxn>
              <a:cxn ang="0">
                <a:pos x="connsiteX9771" y="connsiteY9771"/>
              </a:cxn>
              <a:cxn ang="0">
                <a:pos x="connsiteX9772" y="connsiteY9772"/>
              </a:cxn>
              <a:cxn ang="0">
                <a:pos x="connsiteX9773" y="connsiteY9773"/>
              </a:cxn>
              <a:cxn ang="0">
                <a:pos x="connsiteX9774" y="connsiteY9774"/>
              </a:cxn>
              <a:cxn ang="0">
                <a:pos x="connsiteX9775" y="connsiteY9775"/>
              </a:cxn>
              <a:cxn ang="0">
                <a:pos x="connsiteX9776" y="connsiteY9776"/>
              </a:cxn>
              <a:cxn ang="0">
                <a:pos x="connsiteX9777" y="connsiteY9777"/>
              </a:cxn>
              <a:cxn ang="0">
                <a:pos x="connsiteX9778" y="connsiteY9778"/>
              </a:cxn>
              <a:cxn ang="0">
                <a:pos x="connsiteX9779" y="connsiteY9779"/>
              </a:cxn>
              <a:cxn ang="0">
                <a:pos x="connsiteX9780" y="connsiteY9780"/>
              </a:cxn>
              <a:cxn ang="0">
                <a:pos x="connsiteX9781" y="connsiteY9781"/>
              </a:cxn>
              <a:cxn ang="0">
                <a:pos x="connsiteX9782" y="connsiteY9782"/>
              </a:cxn>
              <a:cxn ang="0">
                <a:pos x="connsiteX9783" y="connsiteY9783"/>
              </a:cxn>
              <a:cxn ang="0">
                <a:pos x="connsiteX9784" y="connsiteY9784"/>
              </a:cxn>
              <a:cxn ang="0">
                <a:pos x="connsiteX9785" y="connsiteY9785"/>
              </a:cxn>
              <a:cxn ang="0">
                <a:pos x="connsiteX9786" y="connsiteY9786"/>
              </a:cxn>
              <a:cxn ang="0">
                <a:pos x="connsiteX9787" y="connsiteY9787"/>
              </a:cxn>
              <a:cxn ang="0">
                <a:pos x="connsiteX9788" y="connsiteY9788"/>
              </a:cxn>
              <a:cxn ang="0">
                <a:pos x="connsiteX9789" y="connsiteY9789"/>
              </a:cxn>
              <a:cxn ang="0">
                <a:pos x="connsiteX9790" y="connsiteY9790"/>
              </a:cxn>
              <a:cxn ang="0">
                <a:pos x="connsiteX9791" y="connsiteY9791"/>
              </a:cxn>
              <a:cxn ang="0">
                <a:pos x="connsiteX9792" y="connsiteY9792"/>
              </a:cxn>
              <a:cxn ang="0">
                <a:pos x="connsiteX9793" y="connsiteY9793"/>
              </a:cxn>
              <a:cxn ang="0">
                <a:pos x="connsiteX9794" y="connsiteY9794"/>
              </a:cxn>
              <a:cxn ang="0">
                <a:pos x="connsiteX9795" y="connsiteY9795"/>
              </a:cxn>
              <a:cxn ang="0">
                <a:pos x="connsiteX9796" y="connsiteY9796"/>
              </a:cxn>
              <a:cxn ang="0">
                <a:pos x="connsiteX9797" y="connsiteY9797"/>
              </a:cxn>
              <a:cxn ang="0">
                <a:pos x="connsiteX9798" y="connsiteY9798"/>
              </a:cxn>
              <a:cxn ang="0">
                <a:pos x="connsiteX9799" y="connsiteY9799"/>
              </a:cxn>
              <a:cxn ang="0">
                <a:pos x="connsiteX9800" y="connsiteY9800"/>
              </a:cxn>
              <a:cxn ang="0">
                <a:pos x="connsiteX9801" y="connsiteY9801"/>
              </a:cxn>
              <a:cxn ang="0">
                <a:pos x="connsiteX9802" y="connsiteY9802"/>
              </a:cxn>
              <a:cxn ang="0">
                <a:pos x="connsiteX9803" y="connsiteY9803"/>
              </a:cxn>
              <a:cxn ang="0">
                <a:pos x="connsiteX9804" y="connsiteY9804"/>
              </a:cxn>
              <a:cxn ang="0">
                <a:pos x="connsiteX9805" y="connsiteY9805"/>
              </a:cxn>
              <a:cxn ang="0">
                <a:pos x="connsiteX9806" y="connsiteY9806"/>
              </a:cxn>
              <a:cxn ang="0">
                <a:pos x="connsiteX9807" y="connsiteY9807"/>
              </a:cxn>
              <a:cxn ang="0">
                <a:pos x="connsiteX9808" y="connsiteY9808"/>
              </a:cxn>
              <a:cxn ang="0">
                <a:pos x="connsiteX9809" y="connsiteY9809"/>
              </a:cxn>
              <a:cxn ang="0">
                <a:pos x="connsiteX9810" y="connsiteY9810"/>
              </a:cxn>
              <a:cxn ang="0">
                <a:pos x="connsiteX9811" y="connsiteY9811"/>
              </a:cxn>
              <a:cxn ang="0">
                <a:pos x="connsiteX9812" y="connsiteY9812"/>
              </a:cxn>
              <a:cxn ang="0">
                <a:pos x="connsiteX9813" y="connsiteY9813"/>
              </a:cxn>
              <a:cxn ang="0">
                <a:pos x="connsiteX9814" y="connsiteY9814"/>
              </a:cxn>
              <a:cxn ang="0">
                <a:pos x="connsiteX9815" y="connsiteY9815"/>
              </a:cxn>
              <a:cxn ang="0">
                <a:pos x="connsiteX9816" y="connsiteY9816"/>
              </a:cxn>
              <a:cxn ang="0">
                <a:pos x="connsiteX9817" y="connsiteY9817"/>
              </a:cxn>
              <a:cxn ang="0">
                <a:pos x="connsiteX9818" y="connsiteY9818"/>
              </a:cxn>
              <a:cxn ang="0">
                <a:pos x="connsiteX9819" y="connsiteY9819"/>
              </a:cxn>
              <a:cxn ang="0">
                <a:pos x="connsiteX9820" y="connsiteY9820"/>
              </a:cxn>
              <a:cxn ang="0">
                <a:pos x="connsiteX9821" y="connsiteY9821"/>
              </a:cxn>
              <a:cxn ang="0">
                <a:pos x="connsiteX9822" y="connsiteY9822"/>
              </a:cxn>
              <a:cxn ang="0">
                <a:pos x="connsiteX9823" y="connsiteY9823"/>
              </a:cxn>
              <a:cxn ang="0">
                <a:pos x="connsiteX9824" y="connsiteY9824"/>
              </a:cxn>
              <a:cxn ang="0">
                <a:pos x="connsiteX9825" y="connsiteY9825"/>
              </a:cxn>
              <a:cxn ang="0">
                <a:pos x="connsiteX9826" y="connsiteY9826"/>
              </a:cxn>
              <a:cxn ang="0">
                <a:pos x="connsiteX9827" y="connsiteY9827"/>
              </a:cxn>
              <a:cxn ang="0">
                <a:pos x="connsiteX9828" y="connsiteY9828"/>
              </a:cxn>
              <a:cxn ang="0">
                <a:pos x="connsiteX9829" y="connsiteY9829"/>
              </a:cxn>
              <a:cxn ang="0">
                <a:pos x="connsiteX9830" y="connsiteY9830"/>
              </a:cxn>
              <a:cxn ang="0">
                <a:pos x="connsiteX9831" y="connsiteY9831"/>
              </a:cxn>
              <a:cxn ang="0">
                <a:pos x="connsiteX9832" y="connsiteY9832"/>
              </a:cxn>
              <a:cxn ang="0">
                <a:pos x="connsiteX9833" y="connsiteY9833"/>
              </a:cxn>
              <a:cxn ang="0">
                <a:pos x="connsiteX9834" y="connsiteY9834"/>
              </a:cxn>
              <a:cxn ang="0">
                <a:pos x="connsiteX9835" y="connsiteY9835"/>
              </a:cxn>
              <a:cxn ang="0">
                <a:pos x="connsiteX9836" y="connsiteY9836"/>
              </a:cxn>
              <a:cxn ang="0">
                <a:pos x="connsiteX9837" y="connsiteY9837"/>
              </a:cxn>
              <a:cxn ang="0">
                <a:pos x="connsiteX9838" y="connsiteY9838"/>
              </a:cxn>
              <a:cxn ang="0">
                <a:pos x="connsiteX9839" y="connsiteY9839"/>
              </a:cxn>
              <a:cxn ang="0">
                <a:pos x="connsiteX9840" y="connsiteY9840"/>
              </a:cxn>
              <a:cxn ang="0">
                <a:pos x="connsiteX9841" y="connsiteY9841"/>
              </a:cxn>
              <a:cxn ang="0">
                <a:pos x="connsiteX9842" y="connsiteY9842"/>
              </a:cxn>
              <a:cxn ang="0">
                <a:pos x="connsiteX9843" y="connsiteY9843"/>
              </a:cxn>
              <a:cxn ang="0">
                <a:pos x="connsiteX9844" y="connsiteY9844"/>
              </a:cxn>
              <a:cxn ang="0">
                <a:pos x="connsiteX9845" y="connsiteY9845"/>
              </a:cxn>
              <a:cxn ang="0">
                <a:pos x="connsiteX9846" y="connsiteY9846"/>
              </a:cxn>
              <a:cxn ang="0">
                <a:pos x="connsiteX9847" y="connsiteY9847"/>
              </a:cxn>
              <a:cxn ang="0">
                <a:pos x="connsiteX9848" y="connsiteY9848"/>
              </a:cxn>
              <a:cxn ang="0">
                <a:pos x="connsiteX9849" y="connsiteY9849"/>
              </a:cxn>
              <a:cxn ang="0">
                <a:pos x="connsiteX9850" y="connsiteY9850"/>
              </a:cxn>
              <a:cxn ang="0">
                <a:pos x="connsiteX9851" y="connsiteY9851"/>
              </a:cxn>
              <a:cxn ang="0">
                <a:pos x="connsiteX9852" y="connsiteY9852"/>
              </a:cxn>
              <a:cxn ang="0">
                <a:pos x="connsiteX9853" y="connsiteY9853"/>
              </a:cxn>
              <a:cxn ang="0">
                <a:pos x="connsiteX9854" y="connsiteY9854"/>
              </a:cxn>
              <a:cxn ang="0">
                <a:pos x="connsiteX9855" y="connsiteY9855"/>
              </a:cxn>
              <a:cxn ang="0">
                <a:pos x="connsiteX9856" y="connsiteY9856"/>
              </a:cxn>
              <a:cxn ang="0">
                <a:pos x="connsiteX9857" y="connsiteY9857"/>
              </a:cxn>
              <a:cxn ang="0">
                <a:pos x="connsiteX9858" y="connsiteY9858"/>
              </a:cxn>
              <a:cxn ang="0">
                <a:pos x="connsiteX9859" y="connsiteY9859"/>
              </a:cxn>
              <a:cxn ang="0">
                <a:pos x="connsiteX9860" y="connsiteY9860"/>
              </a:cxn>
              <a:cxn ang="0">
                <a:pos x="connsiteX9861" y="connsiteY9861"/>
              </a:cxn>
              <a:cxn ang="0">
                <a:pos x="connsiteX9862" y="connsiteY9862"/>
              </a:cxn>
              <a:cxn ang="0">
                <a:pos x="connsiteX9863" y="connsiteY9863"/>
              </a:cxn>
              <a:cxn ang="0">
                <a:pos x="connsiteX9864" y="connsiteY9864"/>
              </a:cxn>
              <a:cxn ang="0">
                <a:pos x="connsiteX9865" y="connsiteY9865"/>
              </a:cxn>
              <a:cxn ang="0">
                <a:pos x="connsiteX9866" y="connsiteY9866"/>
              </a:cxn>
              <a:cxn ang="0">
                <a:pos x="connsiteX9867" y="connsiteY9867"/>
              </a:cxn>
              <a:cxn ang="0">
                <a:pos x="connsiteX9868" y="connsiteY9868"/>
              </a:cxn>
              <a:cxn ang="0">
                <a:pos x="connsiteX9869" y="connsiteY9869"/>
              </a:cxn>
              <a:cxn ang="0">
                <a:pos x="connsiteX9870" y="connsiteY9870"/>
              </a:cxn>
              <a:cxn ang="0">
                <a:pos x="connsiteX9871" y="connsiteY9871"/>
              </a:cxn>
              <a:cxn ang="0">
                <a:pos x="connsiteX9872" y="connsiteY9872"/>
              </a:cxn>
              <a:cxn ang="0">
                <a:pos x="connsiteX9873" y="connsiteY9873"/>
              </a:cxn>
              <a:cxn ang="0">
                <a:pos x="connsiteX9874" y="connsiteY9874"/>
              </a:cxn>
              <a:cxn ang="0">
                <a:pos x="connsiteX9875" y="connsiteY9875"/>
              </a:cxn>
              <a:cxn ang="0">
                <a:pos x="connsiteX9876" y="connsiteY9876"/>
              </a:cxn>
              <a:cxn ang="0">
                <a:pos x="connsiteX9877" y="connsiteY9877"/>
              </a:cxn>
              <a:cxn ang="0">
                <a:pos x="connsiteX9878" y="connsiteY9878"/>
              </a:cxn>
              <a:cxn ang="0">
                <a:pos x="connsiteX9879" y="connsiteY9879"/>
              </a:cxn>
              <a:cxn ang="0">
                <a:pos x="connsiteX9880" y="connsiteY9880"/>
              </a:cxn>
              <a:cxn ang="0">
                <a:pos x="connsiteX9881" y="connsiteY9881"/>
              </a:cxn>
              <a:cxn ang="0">
                <a:pos x="connsiteX9882" y="connsiteY9882"/>
              </a:cxn>
              <a:cxn ang="0">
                <a:pos x="connsiteX9883" y="connsiteY9883"/>
              </a:cxn>
              <a:cxn ang="0">
                <a:pos x="connsiteX9884" y="connsiteY9884"/>
              </a:cxn>
              <a:cxn ang="0">
                <a:pos x="connsiteX9885" y="connsiteY9885"/>
              </a:cxn>
              <a:cxn ang="0">
                <a:pos x="connsiteX9886" y="connsiteY9886"/>
              </a:cxn>
              <a:cxn ang="0">
                <a:pos x="connsiteX9887" y="connsiteY9887"/>
              </a:cxn>
              <a:cxn ang="0">
                <a:pos x="connsiteX9888" y="connsiteY9888"/>
              </a:cxn>
              <a:cxn ang="0">
                <a:pos x="connsiteX9889" y="connsiteY9889"/>
              </a:cxn>
              <a:cxn ang="0">
                <a:pos x="connsiteX9890" y="connsiteY9890"/>
              </a:cxn>
              <a:cxn ang="0">
                <a:pos x="connsiteX9891" y="connsiteY9891"/>
              </a:cxn>
              <a:cxn ang="0">
                <a:pos x="connsiteX9892" y="connsiteY9892"/>
              </a:cxn>
              <a:cxn ang="0">
                <a:pos x="connsiteX9893" y="connsiteY9893"/>
              </a:cxn>
              <a:cxn ang="0">
                <a:pos x="connsiteX9894" y="connsiteY9894"/>
              </a:cxn>
              <a:cxn ang="0">
                <a:pos x="connsiteX9895" y="connsiteY9895"/>
              </a:cxn>
              <a:cxn ang="0">
                <a:pos x="connsiteX9896" y="connsiteY9896"/>
              </a:cxn>
              <a:cxn ang="0">
                <a:pos x="connsiteX9897" y="connsiteY9897"/>
              </a:cxn>
              <a:cxn ang="0">
                <a:pos x="connsiteX9898" y="connsiteY9898"/>
              </a:cxn>
              <a:cxn ang="0">
                <a:pos x="connsiteX9899" y="connsiteY9899"/>
              </a:cxn>
              <a:cxn ang="0">
                <a:pos x="connsiteX9900" y="connsiteY9900"/>
              </a:cxn>
              <a:cxn ang="0">
                <a:pos x="connsiteX9901" y="connsiteY9901"/>
              </a:cxn>
              <a:cxn ang="0">
                <a:pos x="connsiteX9902" y="connsiteY9902"/>
              </a:cxn>
              <a:cxn ang="0">
                <a:pos x="connsiteX9903" y="connsiteY9903"/>
              </a:cxn>
              <a:cxn ang="0">
                <a:pos x="connsiteX9904" y="connsiteY9904"/>
              </a:cxn>
              <a:cxn ang="0">
                <a:pos x="connsiteX9905" y="connsiteY9905"/>
              </a:cxn>
              <a:cxn ang="0">
                <a:pos x="connsiteX9906" y="connsiteY9906"/>
              </a:cxn>
              <a:cxn ang="0">
                <a:pos x="connsiteX9907" y="connsiteY9907"/>
              </a:cxn>
              <a:cxn ang="0">
                <a:pos x="connsiteX9908" y="connsiteY9908"/>
              </a:cxn>
              <a:cxn ang="0">
                <a:pos x="connsiteX9909" y="connsiteY9909"/>
              </a:cxn>
              <a:cxn ang="0">
                <a:pos x="connsiteX9910" y="connsiteY9910"/>
              </a:cxn>
              <a:cxn ang="0">
                <a:pos x="connsiteX9911" y="connsiteY9911"/>
              </a:cxn>
              <a:cxn ang="0">
                <a:pos x="connsiteX9912" y="connsiteY9912"/>
              </a:cxn>
              <a:cxn ang="0">
                <a:pos x="connsiteX9913" y="connsiteY9913"/>
              </a:cxn>
              <a:cxn ang="0">
                <a:pos x="connsiteX9914" y="connsiteY9914"/>
              </a:cxn>
              <a:cxn ang="0">
                <a:pos x="connsiteX9915" y="connsiteY9915"/>
              </a:cxn>
              <a:cxn ang="0">
                <a:pos x="connsiteX9916" y="connsiteY9916"/>
              </a:cxn>
              <a:cxn ang="0">
                <a:pos x="connsiteX9917" y="connsiteY9917"/>
              </a:cxn>
              <a:cxn ang="0">
                <a:pos x="connsiteX9918" y="connsiteY9918"/>
              </a:cxn>
              <a:cxn ang="0">
                <a:pos x="connsiteX9919" y="connsiteY9919"/>
              </a:cxn>
              <a:cxn ang="0">
                <a:pos x="connsiteX9920" y="connsiteY9920"/>
              </a:cxn>
              <a:cxn ang="0">
                <a:pos x="connsiteX9921" y="connsiteY9921"/>
              </a:cxn>
              <a:cxn ang="0">
                <a:pos x="connsiteX9922" y="connsiteY9922"/>
              </a:cxn>
              <a:cxn ang="0">
                <a:pos x="connsiteX9923" y="connsiteY9923"/>
              </a:cxn>
              <a:cxn ang="0">
                <a:pos x="connsiteX9924" y="connsiteY9924"/>
              </a:cxn>
              <a:cxn ang="0">
                <a:pos x="connsiteX9925" y="connsiteY9925"/>
              </a:cxn>
              <a:cxn ang="0">
                <a:pos x="connsiteX9926" y="connsiteY9926"/>
              </a:cxn>
              <a:cxn ang="0">
                <a:pos x="connsiteX9927" y="connsiteY9927"/>
              </a:cxn>
              <a:cxn ang="0">
                <a:pos x="connsiteX9928" y="connsiteY9928"/>
              </a:cxn>
              <a:cxn ang="0">
                <a:pos x="connsiteX9929" y="connsiteY9929"/>
              </a:cxn>
              <a:cxn ang="0">
                <a:pos x="connsiteX9930" y="connsiteY9930"/>
              </a:cxn>
              <a:cxn ang="0">
                <a:pos x="connsiteX9931" y="connsiteY9931"/>
              </a:cxn>
              <a:cxn ang="0">
                <a:pos x="connsiteX9932" y="connsiteY9932"/>
              </a:cxn>
              <a:cxn ang="0">
                <a:pos x="connsiteX9933" y="connsiteY9933"/>
              </a:cxn>
              <a:cxn ang="0">
                <a:pos x="connsiteX9934" y="connsiteY9934"/>
              </a:cxn>
              <a:cxn ang="0">
                <a:pos x="connsiteX9935" y="connsiteY9935"/>
              </a:cxn>
              <a:cxn ang="0">
                <a:pos x="connsiteX9936" y="connsiteY9936"/>
              </a:cxn>
              <a:cxn ang="0">
                <a:pos x="connsiteX9937" y="connsiteY9937"/>
              </a:cxn>
              <a:cxn ang="0">
                <a:pos x="connsiteX9938" y="connsiteY9938"/>
              </a:cxn>
              <a:cxn ang="0">
                <a:pos x="connsiteX9939" y="connsiteY9939"/>
              </a:cxn>
              <a:cxn ang="0">
                <a:pos x="connsiteX9940" y="connsiteY9940"/>
              </a:cxn>
              <a:cxn ang="0">
                <a:pos x="connsiteX9941" y="connsiteY9941"/>
              </a:cxn>
              <a:cxn ang="0">
                <a:pos x="connsiteX9942" y="connsiteY9942"/>
              </a:cxn>
              <a:cxn ang="0">
                <a:pos x="connsiteX9943" y="connsiteY9943"/>
              </a:cxn>
              <a:cxn ang="0">
                <a:pos x="connsiteX9944" y="connsiteY9944"/>
              </a:cxn>
              <a:cxn ang="0">
                <a:pos x="connsiteX9945" y="connsiteY9945"/>
              </a:cxn>
              <a:cxn ang="0">
                <a:pos x="connsiteX9946" y="connsiteY9946"/>
              </a:cxn>
              <a:cxn ang="0">
                <a:pos x="connsiteX9947" y="connsiteY9947"/>
              </a:cxn>
              <a:cxn ang="0">
                <a:pos x="connsiteX9948" y="connsiteY9948"/>
              </a:cxn>
              <a:cxn ang="0">
                <a:pos x="connsiteX9949" y="connsiteY9949"/>
              </a:cxn>
              <a:cxn ang="0">
                <a:pos x="connsiteX9950" y="connsiteY9950"/>
              </a:cxn>
              <a:cxn ang="0">
                <a:pos x="connsiteX9951" y="connsiteY9951"/>
              </a:cxn>
              <a:cxn ang="0">
                <a:pos x="connsiteX9952" y="connsiteY9952"/>
              </a:cxn>
              <a:cxn ang="0">
                <a:pos x="connsiteX9953" y="connsiteY9953"/>
              </a:cxn>
              <a:cxn ang="0">
                <a:pos x="connsiteX9954" y="connsiteY9954"/>
              </a:cxn>
              <a:cxn ang="0">
                <a:pos x="connsiteX9955" y="connsiteY9955"/>
              </a:cxn>
              <a:cxn ang="0">
                <a:pos x="connsiteX9956" y="connsiteY9956"/>
              </a:cxn>
              <a:cxn ang="0">
                <a:pos x="connsiteX9957" y="connsiteY9957"/>
              </a:cxn>
              <a:cxn ang="0">
                <a:pos x="connsiteX9958" y="connsiteY9958"/>
              </a:cxn>
              <a:cxn ang="0">
                <a:pos x="connsiteX9959" y="connsiteY9959"/>
              </a:cxn>
              <a:cxn ang="0">
                <a:pos x="connsiteX9960" y="connsiteY9960"/>
              </a:cxn>
              <a:cxn ang="0">
                <a:pos x="connsiteX9961" y="connsiteY9961"/>
              </a:cxn>
              <a:cxn ang="0">
                <a:pos x="connsiteX9962" y="connsiteY9962"/>
              </a:cxn>
              <a:cxn ang="0">
                <a:pos x="connsiteX9963" y="connsiteY9963"/>
              </a:cxn>
              <a:cxn ang="0">
                <a:pos x="connsiteX9964" y="connsiteY9964"/>
              </a:cxn>
              <a:cxn ang="0">
                <a:pos x="connsiteX9965" y="connsiteY9965"/>
              </a:cxn>
              <a:cxn ang="0">
                <a:pos x="connsiteX9966" y="connsiteY9966"/>
              </a:cxn>
              <a:cxn ang="0">
                <a:pos x="connsiteX9967" y="connsiteY9967"/>
              </a:cxn>
              <a:cxn ang="0">
                <a:pos x="connsiteX9968" y="connsiteY9968"/>
              </a:cxn>
              <a:cxn ang="0">
                <a:pos x="connsiteX9969" y="connsiteY9969"/>
              </a:cxn>
              <a:cxn ang="0">
                <a:pos x="connsiteX9970" y="connsiteY9970"/>
              </a:cxn>
              <a:cxn ang="0">
                <a:pos x="connsiteX9971" y="connsiteY9971"/>
              </a:cxn>
              <a:cxn ang="0">
                <a:pos x="connsiteX9972" y="connsiteY9972"/>
              </a:cxn>
              <a:cxn ang="0">
                <a:pos x="connsiteX9973" y="connsiteY9973"/>
              </a:cxn>
              <a:cxn ang="0">
                <a:pos x="connsiteX9974" y="connsiteY9974"/>
              </a:cxn>
              <a:cxn ang="0">
                <a:pos x="connsiteX9975" y="connsiteY9975"/>
              </a:cxn>
              <a:cxn ang="0">
                <a:pos x="connsiteX9976" y="connsiteY9976"/>
              </a:cxn>
              <a:cxn ang="0">
                <a:pos x="connsiteX9977" y="connsiteY9977"/>
              </a:cxn>
              <a:cxn ang="0">
                <a:pos x="connsiteX9978" y="connsiteY9978"/>
              </a:cxn>
              <a:cxn ang="0">
                <a:pos x="connsiteX9979" y="connsiteY9979"/>
              </a:cxn>
              <a:cxn ang="0">
                <a:pos x="connsiteX9980" y="connsiteY9980"/>
              </a:cxn>
              <a:cxn ang="0">
                <a:pos x="connsiteX9981" y="connsiteY9981"/>
              </a:cxn>
              <a:cxn ang="0">
                <a:pos x="connsiteX9982" y="connsiteY9982"/>
              </a:cxn>
              <a:cxn ang="0">
                <a:pos x="connsiteX9983" y="connsiteY9983"/>
              </a:cxn>
              <a:cxn ang="0">
                <a:pos x="connsiteX9984" y="connsiteY9984"/>
              </a:cxn>
              <a:cxn ang="0">
                <a:pos x="connsiteX9985" y="connsiteY9985"/>
              </a:cxn>
              <a:cxn ang="0">
                <a:pos x="connsiteX9986" y="connsiteY9986"/>
              </a:cxn>
              <a:cxn ang="0">
                <a:pos x="connsiteX9987" y="connsiteY9987"/>
              </a:cxn>
              <a:cxn ang="0">
                <a:pos x="connsiteX9988" y="connsiteY9988"/>
              </a:cxn>
              <a:cxn ang="0">
                <a:pos x="connsiteX9989" y="connsiteY9989"/>
              </a:cxn>
              <a:cxn ang="0">
                <a:pos x="connsiteX9990" y="connsiteY9990"/>
              </a:cxn>
              <a:cxn ang="0">
                <a:pos x="connsiteX9991" y="connsiteY9991"/>
              </a:cxn>
              <a:cxn ang="0">
                <a:pos x="connsiteX9992" y="connsiteY9992"/>
              </a:cxn>
              <a:cxn ang="0">
                <a:pos x="connsiteX9993" y="connsiteY9993"/>
              </a:cxn>
              <a:cxn ang="0">
                <a:pos x="connsiteX9994" y="connsiteY9994"/>
              </a:cxn>
              <a:cxn ang="0">
                <a:pos x="connsiteX9995" y="connsiteY9995"/>
              </a:cxn>
              <a:cxn ang="0">
                <a:pos x="connsiteX9996" y="connsiteY9996"/>
              </a:cxn>
              <a:cxn ang="0">
                <a:pos x="connsiteX9997" y="connsiteY9997"/>
              </a:cxn>
              <a:cxn ang="0">
                <a:pos x="connsiteX9998" y="connsiteY9998"/>
              </a:cxn>
              <a:cxn ang="0">
                <a:pos x="connsiteX9999" y="connsiteY9999"/>
              </a:cxn>
              <a:cxn ang="0">
                <a:pos x="connsiteX10000" y="connsiteY10000"/>
              </a:cxn>
              <a:cxn ang="0">
                <a:pos x="connsiteX10001" y="connsiteY10001"/>
              </a:cxn>
              <a:cxn ang="0">
                <a:pos x="connsiteX10002" y="connsiteY10002"/>
              </a:cxn>
              <a:cxn ang="0">
                <a:pos x="connsiteX10003" y="connsiteY10003"/>
              </a:cxn>
              <a:cxn ang="0">
                <a:pos x="connsiteX10004" y="connsiteY10004"/>
              </a:cxn>
              <a:cxn ang="0">
                <a:pos x="connsiteX10005" y="connsiteY10005"/>
              </a:cxn>
              <a:cxn ang="0">
                <a:pos x="connsiteX10006" y="connsiteY10006"/>
              </a:cxn>
              <a:cxn ang="0">
                <a:pos x="connsiteX10007" y="connsiteY10007"/>
              </a:cxn>
              <a:cxn ang="0">
                <a:pos x="connsiteX10008" y="connsiteY10008"/>
              </a:cxn>
              <a:cxn ang="0">
                <a:pos x="connsiteX10009" y="connsiteY10009"/>
              </a:cxn>
              <a:cxn ang="0">
                <a:pos x="connsiteX10010" y="connsiteY10010"/>
              </a:cxn>
              <a:cxn ang="0">
                <a:pos x="connsiteX10011" y="connsiteY10011"/>
              </a:cxn>
              <a:cxn ang="0">
                <a:pos x="connsiteX10012" y="connsiteY10012"/>
              </a:cxn>
              <a:cxn ang="0">
                <a:pos x="connsiteX10013" y="connsiteY10013"/>
              </a:cxn>
              <a:cxn ang="0">
                <a:pos x="connsiteX10014" y="connsiteY10014"/>
              </a:cxn>
              <a:cxn ang="0">
                <a:pos x="connsiteX10015" y="connsiteY10015"/>
              </a:cxn>
              <a:cxn ang="0">
                <a:pos x="connsiteX10016" y="connsiteY10016"/>
              </a:cxn>
              <a:cxn ang="0">
                <a:pos x="connsiteX10017" y="connsiteY10017"/>
              </a:cxn>
              <a:cxn ang="0">
                <a:pos x="connsiteX10018" y="connsiteY10018"/>
              </a:cxn>
              <a:cxn ang="0">
                <a:pos x="connsiteX10019" y="connsiteY10019"/>
              </a:cxn>
              <a:cxn ang="0">
                <a:pos x="connsiteX10020" y="connsiteY10020"/>
              </a:cxn>
              <a:cxn ang="0">
                <a:pos x="connsiteX10021" y="connsiteY10021"/>
              </a:cxn>
              <a:cxn ang="0">
                <a:pos x="connsiteX10022" y="connsiteY10022"/>
              </a:cxn>
              <a:cxn ang="0">
                <a:pos x="connsiteX10023" y="connsiteY10023"/>
              </a:cxn>
              <a:cxn ang="0">
                <a:pos x="connsiteX10024" y="connsiteY10024"/>
              </a:cxn>
              <a:cxn ang="0">
                <a:pos x="connsiteX10025" y="connsiteY10025"/>
              </a:cxn>
              <a:cxn ang="0">
                <a:pos x="connsiteX10026" y="connsiteY10026"/>
              </a:cxn>
              <a:cxn ang="0">
                <a:pos x="connsiteX10027" y="connsiteY10027"/>
              </a:cxn>
              <a:cxn ang="0">
                <a:pos x="connsiteX10028" y="connsiteY10028"/>
              </a:cxn>
              <a:cxn ang="0">
                <a:pos x="connsiteX10029" y="connsiteY10029"/>
              </a:cxn>
              <a:cxn ang="0">
                <a:pos x="connsiteX10030" y="connsiteY10030"/>
              </a:cxn>
              <a:cxn ang="0">
                <a:pos x="connsiteX10031" y="connsiteY10031"/>
              </a:cxn>
              <a:cxn ang="0">
                <a:pos x="connsiteX10032" y="connsiteY10032"/>
              </a:cxn>
              <a:cxn ang="0">
                <a:pos x="connsiteX10033" y="connsiteY10033"/>
              </a:cxn>
              <a:cxn ang="0">
                <a:pos x="connsiteX10034" y="connsiteY10034"/>
              </a:cxn>
              <a:cxn ang="0">
                <a:pos x="connsiteX10035" y="connsiteY10035"/>
              </a:cxn>
              <a:cxn ang="0">
                <a:pos x="connsiteX10036" y="connsiteY10036"/>
              </a:cxn>
              <a:cxn ang="0">
                <a:pos x="connsiteX10037" y="connsiteY10037"/>
              </a:cxn>
              <a:cxn ang="0">
                <a:pos x="connsiteX10038" y="connsiteY10038"/>
              </a:cxn>
              <a:cxn ang="0">
                <a:pos x="connsiteX10039" y="connsiteY10039"/>
              </a:cxn>
              <a:cxn ang="0">
                <a:pos x="connsiteX10040" y="connsiteY10040"/>
              </a:cxn>
              <a:cxn ang="0">
                <a:pos x="connsiteX10041" y="connsiteY10041"/>
              </a:cxn>
              <a:cxn ang="0">
                <a:pos x="connsiteX10042" y="connsiteY10042"/>
              </a:cxn>
              <a:cxn ang="0">
                <a:pos x="connsiteX10043" y="connsiteY10043"/>
              </a:cxn>
              <a:cxn ang="0">
                <a:pos x="connsiteX10044" y="connsiteY10044"/>
              </a:cxn>
              <a:cxn ang="0">
                <a:pos x="connsiteX10045" y="connsiteY10045"/>
              </a:cxn>
              <a:cxn ang="0">
                <a:pos x="connsiteX10046" y="connsiteY10046"/>
              </a:cxn>
              <a:cxn ang="0">
                <a:pos x="connsiteX10047" y="connsiteY10047"/>
              </a:cxn>
              <a:cxn ang="0">
                <a:pos x="connsiteX10048" y="connsiteY10048"/>
              </a:cxn>
              <a:cxn ang="0">
                <a:pos x="connsiteX10049" y="connsiteY10049"/>
              </a:cxn>
              <a:cxn ang="0">
                <a:pos x="connsiteX10050" y="connsiteY10050"/>
              </a:cxn>
              <a:cxn ang="0">
                <a:pos x="connsiteX10051" y="connsiteY10051"/>
              </a:cxn>
              <a:cxn ang="0">
                <a:pos x="connsiteX10052" y="connsiteY10052"/>
              </a:cxn>
              <a:cxn ang="0">
                <a:pos x="connsiteX10053" y="connsiteY10053"/>
              </a:cxn>
              <a:cxn ang="0">
                <a:pos x="connsiteX10054" y="connsiteY10054"/>
              </a:cxn>
              <a:cxn ang="0">
                <a:pos x="connsiteX10055" y="connsiteY10055"/>
              </a:cxn>
              <a:cxn ang="0">
                <a:pos x="connsiteX10056" y="connsiteY10056"/>
              </a:cxn>
              <a:cxn ang="0">
                <a:pos x="connsiteX10057" y="connsiteY10057"/>
              </a:cxn>
              <a:cxn ang="0">
                <a:pos x="connsiteX10058" y="connsiteY10058"/>
              </a:cxn>
              <a:cxn ang="0">
                <a:pos x="connsiteX10059" y="connsiteY10059"/>
              </a:cxn>
              <a:cxn ang="0">
                <a:pos x="connsiteX10060" y="connsiteY10060"/>
              </a:cxn>
              <a:cxn ang="0">
                <a:pos x="connsiteX10061" y="connsiteY10061"/>
              </a:cxn>
              <a:cxn ang="0">
                <a:pos x="connsiteX10062" y="connsiteY10062"/>
              </a:cxn>
              <a:cxn ang="0">
                <a:pos x="connsiteX10063" y="connsiteY10063"/>
              </a:cxn>
              <a:cxn ang="0">
                <a:pos x="connsiteX10064" y="connsiteY10064"/>
              </a:cxn>
              <a:cxn ang="0">
                <a:pos x="connsiteX10065" y="connsiteY10065"/>
              </a:cxn>
              <a:cxn ang="0">
                <a:pos x="connsiteX10066" y="connsiteY10066"/>
              </a:cxn>
              <a:cxn ang="0">
                <a:pos x="connsiteX10067" y="connsiteY10067"/>
              </a:cxn>
              <a:cxn ang="0">
                <a:pos x="connsiteX10068" y="connsiteY10068"/>
              </a:cxn>
              <a:cxn ang="0">
                <a:pos x="connsiteX10069" y="connsiteY10069"/>
              </a:cxn>
              <a:cxn ang="0">
                <a:pos x="connsiteX10070" y="connsiteY10070"/>
              </a:cxn>
              <a:cxn ang="0">
                <a:pos x="connsiteX10071" y="connsiteY10071"/>
              </a:cxn>
              <a:cxn ang="0">
                <a:pos x="connsiteX10072" y="connsiteY10072"/>
              </a:cxn>
              <a:cxn ang="0">
                <a:pos x="connsiteX10073" y="connsiteY10073"/>
              </a:cxn>
              <a:cxn ang="0">
                <a:pos x="connsiteX10074" y="connsiteY10074"/>
              </a:cxn>
              <a:cxn ang="0">
                <a:pos x="connsiteX10075" y="connsiteY10075"/>
              </a:cxn>
              <a:cxn ang="0">
                <a:pos x="connsiteX10076" y="connsiteY10076"/>
              </a:cxn>
              <a:cxn ang="0">
                <a:pos x="connsiteX10077" y="connsiteY10077"/>
              </a:cxn>
              <a:cxn ang="0">
                <a:pos x="connsiteX10078" y="connsiteY10078"/>
              </a:cxn>
              <a:cxn ang="0">
                <a:pos x="connsiteX10079" y="connsiteY10079"/>
              </a:cxn>
              <a:cxn ang="0">
                <a:pos x="connsiteX10080" y="connsiteY10080"/>
              </a:cxn>
              <a:cxn ang="0">
                <a:pos x="connsiteX10081" y="connsiteY10081"/>
              </a:cxn>
              <a:cxn ang="0">
                <a:pos x="connsiteX10082" y="connsiteY10082"/>
              </a:cxn>
              <a:cxn ang="0">
                <a:pos x="connsiteX10083" y="connsiteY10083"/>
              </a:cxn>
              <a:cxn ang="0">
                <a:pos x="connsiteX10084" y="connsiteY10084"/>
              </a:cxn>
              <a:cxn ang="0">
                <a:pos x="connsiteX10085" y="connsiteY10085"/>
              </a:cxn>
              <a:cxn ang="0">
                <a:pos x="connsiteX10086" y="connsiteY10086"/>
              </a:cxn>
              <a:cxn ang="0">
                <a:pos x="connsiteX10087" y="connsiteY10087"/>
              </a:cxn>
              <a:cxn ang="0">
                <a:pos x="connsiteX10088" y="connsiteY10088"/>
              </a:cxn>
              <a:cxn ang="0">
                <a:pos x="connsiteX10089" y="connsiteY10089"/>
              </a:cxn>
              <a:cxn ang="0">
                <a:pos x="connsiteX10090" y="connsiteY10090"/>
              </a:cxn>
              <a:cxn ang="0">
                <a:pos x="connsiteX10091" y="connsiteY10091"/>
              </a:cxn>
              <a:cxn ang="0">
                <a:pos x="connsiteX10092" y="connsiteY10092"/>
              </a:cxn>
              <a:cxn ang="0">
                <a:pos x="connsiteX10093" y="connsiteY10093"/>
              </a:cxn>
              <a:cxn ang="0">
                <a:pos x="connsiteX10094" y="connsiteY10094"/>
              </a:cxn>
              <a:cxn ang="0">
                <a:pos x="connsiteX10095" y="connsiteY10095"/>
              </a:cxn>
              <a:cxn ang="0">
                <a:pos x="connsiteX10096" y="connsiteY10096"/>
              </a:cxn>
              <a:cxn ang="0">
                <a:pos x="connsiteX10097" y="connsiteY10097"/>
              </a:cxn>
              <a:cxn ang="0">
                <a:pos x="connsiteX10098" y="connsiteY10098"/>
              </a:cxn>
              <a:cxn ang="0">
                <a:pos x="connsiteX10099" y="connsiteY10099"/>
              </a:cxn>
              <a:cxn ang="0">
                <a:pos x="connsiteX10100" y="connsiteY10100"/>
              </a:cxn>
              <a:cxn ang="0">
                <a:pos x="connsiteX10101" y="connsiteY10101"/>
              </a:cxn>
              <a:cxn ang="0">
                <a:pos x="connsiteX10102" y="connsiteY10102"/>
              </a:cxn>
              <a:cxn ang="0">
                <a:pos x="connsiteX10103" y="connsiteY10103"/>
              </a:cxn>
              <a:cxn ang="0">
                <a:pos x="connsiteX10104" y="connsiteY10104"/>
              </a:cxn>
              <a:cxn ang="0">
                <a:pos x="connsiteX10105" y="connsiteY10105"/>
              </a:cxn>
              <a:cxn ang="0">
                <a:pos x="connsiteX10106" y="connsiteY10106"/>
              </a:cxn>
              <a:cxn ang="0">
                <a:pos x="connsiteX10107" y="connsiteY10107"/>
              </a:cxn>
              <a:cxn ang="0">
                <a:pos x="connsiteX10108" y="connsiteY10108"/>
              </a:cxn>
              <a:cxn ang="0">
                <a:pos x="connsiteX10109" y="connsiteY10109"/>
              </a:cxn>
              <a:cxn ang="0">
                <a:pos x="connsiteX10110" y="connsiteY10110"/>
              </a:cxn>
              <a:cxn ang="0">
                <a:pos x="connsiteX10111" y="connsiteY10111"/>
              </a:cxn>
              <a:cxn ang="0">
                <a:pos x="connsiteX10112" y="connsiteY10112"/>
              </a:cxn>
              <a:cxn ang="0">
                <a:pos x="connsiteX10113" y="connsiteY10113"/>
              </a:cxn>
              <a:cxn ang="0">
                <a:pos x="connsiteX10114" y="connsiteY10114"/>
              </a:cxn>
              <a:cxn ang="0">
                <a:pos x="connsiteX10115" y="connsiteY10115"/>
              </a:cxn>
              <a:cxn ang="0">
                <a:pos x="connsiteX10116" y="connsiteY10116"/>
              </a:cxn>
              <a:cxn ang="0">
                <a:pos x="connsiteX10117" y="connsiteY10117"/>
              </a:cxn>
              <a:cxn ang="0">
                <a:pos x="connsiteX10118" y="connsiteY10118"/>
              </a:cxn>
              <a:cxn ang="0">
                <a:pos x="connsiteX10119" y="connsiteY10119"/>
              </a:cxn>
              <a:cxn ang="0">
                <a:pos x="connsiteX10120" y="connsiteY10120"/>
              </a:cxn>
              <a:cxn ang="0">
                <a:pos x="connsiteX10121" y="connsiteY10121"/>
              </a:cxn>
              <a:cxn ang="0">
                <a:pos x="connsiteX10122" y="connsiteY10122"/>
              </a:cxn>
              <a:cxn ang="0">
                <a:pos x="connsiteX10123" y="connsiteY10123"/>
              </a:cxn>
              <a:cxn ang="0">
                <a:pos x="connsiteX10124" y="connsiteY10124"/>
              </a:cxn>
              <a:cxn ang="0">
                <a:pos x="connsiteX10125" y="connsiteY10125"/>
              </a:cxn>
              <a:cxn ang="0">
                <a:pos x="connsiteX10126" y="connsiteY10126"/>
              </a:cxn>
              <a:cxn ang="0">
                <a:pos x="connsiteX10127" y="connsiteY10127"/>
              </a:cxn>
              <a:cxn ang="0">
                <a:pos x="connsiteX10128" y="connsiteY10128"/>
              </a:cxn>
              <a:cxn ang="0">
                <a:pos x="connsiteX10129" y="connsiteY10129"/>
              </a:cxn>
              <a:cxn ang="0">
                <a:pos x="connsiteX10130" y="connsiteY10130"/>
              </a:cxn>
              <a:cxn ang="0">
                <a:pos x="connsiteX10131" y="connsiteY10131"/>
              </a:cxn>
              <a:cxn ang="0">
                <a:pos x="connsiteX10132" y="connsiteY10132"/>
              </a:cxn>
              <a:cxn ang="0">
                <a:pos x="connsiteX10133" y="connsiteY10133"/>
              </a:cxn>
              <a:cxn ang="0">
                <a:pos x="connsiteX10134" y="connsiteY10134"/>
              </a:cxn>
              <a:cxn ang="0">
                <a:pos x="connsiteX10135" y="connsiteY10135"/>
              </a:cxn>
              <a:cxn ang="0">
                <a:pos x="connsiteX10136" y="connsiteY10136"/>
              </a:cxn>
              <a:cxn ang="0">
                <a:pos x="connsiteX10137" y="connsiteY10137"/>
              </a:cxn>
              <a:cxn ang="0">
                <a:pos x="connsiteX10138" y="connsiteY10138"/>
              </a:cxn>
              <a:cxn ang="0">
                <a:pos x="connsiteX10139" y="connsiteY10139"/>
              </a:cxn>
              <a:cxn ang="0">
                <a:pos x="connsiteX10140" y="connsiteY10140"/>
              </a:cxn>
              <a:cxn ang="0">
                <a:pos x="connsiteX10141" y="connsiteY10141"/>
              </a:cxn>
              <a:cxn ang="0">
                <a:pos x="connsiteX10142" y="connsiteY10142"/>
              </a:cxn>
              <a:cxn ang="0">
                <a:pos x="connsiteX10143" y="connsiteY10143"/>
              </a:cxn>
              <a:cxn ang="0">
                <a:pos x="connsiteX10144" y="connsiteY10144"/>
              </a:cxn>
              <a:cxn ang="0">
                <a:pos x="connsiteX10145" y="connsiteY10145"/>
              </a:cxn>
              <a:cxn ang="0">
                <a:pos x="connsiteX10146" y="connsiteY10146"/>
              </a:cxn>
              <a:cxn ang="0">
                <a:pos x="connsiteX10147" y="connsiteY10147"/>
              </a:cxn>
              <a:cxn ang="0">
                <a:pos x="connsiteX10148" y="connsiteY10148"/>
              </a:cxn>
              <a:cxn ang="0">
                <a:pos x="connsiteX10149" y="connsiteY10149"/>
              </a:cxn>
              <a:cxn ang="0">
                <a:pos x="connsiteX10150" y="connsiteY10150"/>
              </a:cxn>
              <a:cxn ang="0">
                <a:pos x="connsiteX10151" y="connsiteY10151"/>
              </a:cxn>
              <a:cxn ang="0">
                <a:pos x="connsiteX10152" y="connsiteY10152"/>
              </a:cxn>
              <a:cxn ang="0">
                <a:pos x="connsiteX10153" y="connsiteY10153"/>
              </a:cxn>
              <a:cxn ang="0">
                <a:pos x="connsiteX10154" y="connsiteY10154"/>
              </a:cxn>
              <a:cxn ang="0">
                <a:pos x="connsiteX10155" y="connsiteY10155"/>
              </a:cxn>
              <a:cxn ang="0">
                <a:pos x="connsiteX10156" y="connsiteY10156"/>
              </a:cxn>
              <a:cxn ang="0">
                <a:pos x="connsiteX10157" y="connsiteY10157"/>
              </a:cxn>
              <a:cxn ang="0">
                <a:pos x="connsiteX10158" y="connsiteY10158"/>
              </a:cxn>
              <a:cxn ang="0">
                <a:pos x="connsiteX10159" y="connsiteY10159"/>
              </a:cxn>
              <a:cxn ang="0">
                <a:pos x="connsiteX10160" y="connsiteY10160"/>
              </a:cxn>
              <a:cxn ang="0">
                <a:pos x="connsiteX10161" y="connsiteY10161"/>
              </a:cxn>
              <a:cxn ang="0">
                <a:pos x="connsiteX10162" y="connsiteY10162"/>
              </a:cxn>
              <a:cxn ang="0">
                <a:pos x="connsiteX10163" y="connsiteY10163"/>
              </a:cxn>
              <a:cxn ang="0">
                <a:pos x="connsiteX10164" y="connsiteY10164"/>
              </a:cxn>
              <a:cxn ang="0">
                <a:pos x="connsiteX10165" y="connsiteY10165"/>
              </a:cxn>
              <a:cxn ang="0">
                <a:pos x="connsiteX10166" y="connsiteY10166"/>
              </a:cxn>
              <a:cxn ang="0">
                <a:pos x="connsiteX10167" y="connsiteY10167"/>
              </a:cxn>
              <a:cxn ang="0">
                <a:pos x="connsiteX10168" y="connsiteY10168"/>
              </a:cxn>
              <a:cxn ang="0">
                <a:pos x="connsiteX10169" y="connsiteY10169"/>
              </a:cxn>
              <a:cxn ang="0">
                <a:pos x="connsiteX10170" y="connsiteY10170"/>
              </a:cxn>
              <a:cxn ang="0">
                <a:pos x="connsiteX10171" y="connsiteY10171"/>
              </a:cxn>
              <a:cxn ang="0">
                <a:pos x="connsiteX10172" y="connsiteY10172"/>
              </a:cxn>
              <a:cxn ang="0">
                <a:pos x="connsiteX10173" y="connsiteY10173"/>
              </a:cxn>
              <a:cxn ang="0">
                <a:pos x="connsiteX10174" y="connsiteY10174"/>
              </a:cxn>
              <a:cxn ang="0">
                <a:pos x="connsiteX10175" y="connsiteY10175"/>
              </a:cxn>
              <a:cxn ang="0">
                <a:pos x="connsiteX10176" y="connsiteY10176"/>
              </a:cxn>
              <a:cxn ang="0">
                <a:pos x="connsiteX10177" y="connsiteY10177"/>
              </a:cxn>
              <a:cxn ang="0">
                <a:pos x="connsiteX10178" y="connsiteY10178"/>
              </a:cxn>
              <a:cxn ang="0">
                <a:pos x="connsiteX10179" y="connsiteY10179"/>
              </a:cxn>
              <a:cxn ang="0">
                <a:pos x="connsiteX10180" y="connsiteY10180"/>
              </a:cxn>
              <a:cxn ang="0">
                <a:pos x="connsiteX10181" y="connsiteY10181"/>
              </a:cxn>
              <a:cxn ang="0">
                <a:pos x="connsiteX10182" y="connsiteY10182"/>
              </a:cxn>
              <a:cxn ang="0">
                <a:pos x="connsiteX10183" y="connsiteY10183"/>
              </a:cxn>
              <a:cxn ang="0">
                <a:pos x="connsiteX10184" y="connsiteY10184"/>
              </a:cxn>
              <a:cxn ang="0">
                <a:pos x="connsiteX10185" y="connsiteY10185"/>
              </a:cxn>
              <a:cxn ang="0">
                <a:pos x="connsiteX10186" y="connsiteY10186"/>
              </a:cxn>
              <a:cxn ang="0">
                <a:pos x="connsiteX10187" y="connsiteY10187"/>
              </a:cxn>
              <a:cxn ang="0">
                <a:pos x="connsiteX10188" y="connsiteY10188"/>
              </a:cxn>
              <a:cxn ang="0">
                <a:pos x="connsiteX10189" y="connsiteY10189"/>
              </a:cxn>
              <a:cxn ang="0">
                <a:pos x="connsiteX10190" y="connsiteY10190"/>
              </a:cxn>
              <a:cxn ang="0">
                <a:pos x="connsiteX10191" y="connsiteY10191"/>
              </a:cxn>
              <a:cxn ang="0">
                <a:pos x="connsiteX10192" y="connsiteY10192"/>
              </a:cxn>
              <a:cxn ang="0">
                <a:pos x="connsiteX10193" y="connsiteY10193"/>
              </a:cxn>
              <a:cxn ang="0">
                <a:pos x="connsiteX10194" y="connsiteY10194"/>
              </a:cxn>
              <a:cxn ang="0">
                <a:pos x="connsiteX10195" y="connsiteY10195"/>
              </a:cxn>
              <a:cxn ang="0">
                <a:pos x="connsiteX10196" y="connsiteY10196"/>
              </a:cxn>
              <a:cxn ang="0">
                <a:pos x="connsiteX10197" y="connsiteY10197"/>
              </a:cxn>
              <a:cxn ang="0">
                <a:pos x="connsiteX10198" y="connsiteY10198"/>
              </a:cxn>
              <a:cxn ang="0">
                <a:pos x="connsiteX10199" y="connsiteY10199"/>
              </a:cxn>
              <a:cxn ang="0">
                <a:pos x="connsiteX10200" y="connsiteY10200"/>
              </a:cxn>
              <a:cxn ang="0">
                <a:pos x="connsiteX10201" y="connsiteY10201"/>
              </a:cxn>
              <a:cxn ang="0">
                <a:pos x="connsiteX10202" y="connsiteY10202"/>
              </a:cxn>
              <a:cxn ang="0">
                <a:pos x="connsiteX10203" y="connsiteY10203"/>
              </a:cxn>
              <a:cxn ang="0">
                <a:pos x="connsiteX10204" y="connsiteY10204"/>
              </a:cxn>
              <a:cxn ang="0">
                <a:pos x="connsiteX10205" y="connsiteY10205"/>
              </a:cxn>
              <a:cxn ang="0">
                <a:pos x="connsiteX10206" y="connsiteY10206"/>
              </a:cxn>
              <a:cxn ang="0">
                <a:pos x="connsiteX10207" y="connsiteY10207"/>
              </a:cxn>
              <a:cxn ang="0">
                <a:pos x="connsiteX10208" y="connsiteY10208"/>
              </a:cxn>
              <a:cxn ang="0">
                <a:pos x="connsiteX10209" y="connsiteY10209"/>
              </a:cxn>
              <a:cxn ang="0">
                <a:pos x="connsiteX10210" y="connsiteY10210"/>
              </a:cxn>
              <a:cxn ang="0">
                <a:pos x="connsiteX10211" y="connsiteY10211"/>
              </a:cxn>
              <a:cxn ang="0">
                <a:pos x="connsiteX10212" y="connsiteY10212"/>
              </a:cxn>
              <a:cxn ang="0">
                <a:pos x="connsiteX10213" y="connsiteY10213"/>
              </a:cxn>
              <a:cxn ang="0">
                <a:pos x="connsiteX10214" y="connsiteY10214"/>
              </a:cxn>
              <a:cxn ang="0">
                <a:pos x="connsiteX10215" y="connsiteY10215"/>
              </a:cxn>
              <a:cxn ang="0">
                <a:pos x="connsiteX10216" y="connsiteY10216"/>
              </a:cxn>
              <a:cxn ang="0">
                <a:pos x="connsiteX10217" y="connsiteY10217"/>
              </a:cxn>
              <a:cxn ang="0">
                <a:pos x="connsiteX10218" y="connsiteY10218"/>
              </a:cxn>
              <a:cxn ang="0">
                <a:pos x="connsiteX10219" y="connsiteY10219"/>
              </a:cxn>
              <a:cxn ang="0">
                <a:pos x="connsiteX10220" y="connsiteY10220"/>
              </a:cxn>
              <a:cxn ang="0">
                <a:pos x="connsiteX10221" y="connsiteY10221"/>
              </a:cxn>
              <a:cxn ang="0">
                <a:pos x="connsiteX10222" y="connsiteY10222"/>
              </a:cxn>
              <a:cxn ang="0">
                <a:pos x="connsiteX10223" y="connsiteY10223"/>
              </a:cxn>
              <a:cxn ang="0">
                <a:pos x="connsiteX10224" y="connsiteY10224"/>
              </a:cxn>
              <a:cxn ang="0">
                <a:pos x="connsiteX10225" y="connsiteY10225"/>
              </a:cxn>
              <a:cxn ang="0">
                <a:pos x="connsiteX10226" y="connsiteY10226"/>
              </a:cxn>
              <a:cxn ang="0">
                <a:pos x="connsiteX10227" y="connsiteY10227"/>
              </a:cxn>
              <a:cxn ang="0">
                <a:pos x="connsiteX10228" y="connsiteY10228"/>
              </a:cxn>
              <a:cxn ang="0">
                <a:pos x="connsiteX10229" y="connsiteY10229"/>
              </a:cxn>
              <a:cxn ang="0">
                <a:pos x="connsiteX10230" y="connsiteY10230"/>
              </a:cxn>
              <a:cxn ang="0">
                <a:pos x="connsiteX10231" y="connsiteY10231"/>
              </a:cxn>
              <a:cxn ang="0">
                <a:pos x="connsiteX10232" y="connsiteY10232"/>
              </a:cxn>
              <a:cxn ang="0">
                <a:pos x="connsiteX10233" y="connsiteY10233"/>
              </a:cxn>
              <a:cxn ang="0">
                <a:pos x="connsiteX10234" y="connsiteY10234"/>
              </a:cxn>
              <a:cxn ang="0">
                <a:pos x="connsiteX10235" y="connsiteY10235"/>
              </a:cxn>
              <a:cxn ang="0">
                <a:pos x="connsiteX10236" y="connsiteY10236"/>
              </a:cxn>
              <a:cxn ang="0">
                <a:pos x="connsiteX10237" y="connsiteY10237"/>
              </a:cxn>
              <a:cxn ang="0">
                <a:pos x="connsiteX10238" y="connsiteY10238"/>
              </a:cxn>
              <a:cxn ang="0">
                <a:pos x="connsiteX10239" y="connsiteY10239"/>
              </a:cxn>
              <a:cxn ang="0">
                <a:pos x="connsiteX10240" y="connsiteY10240"/>
              </a:cxn>
              <a:cxn ang="0">
                <a:pos x="connsiteX10241" y="connsiteY10241"/>
              </a:cxn>
              <a:cxn ang="0">
                <a:pos x="connsiteX10242" y="connsiteY10242"/>
              </a:cxn>
              <a:cxn ang="0">
                <a:pos x="connsiteX10243" y="connsiteY10243"/>
              </a:cxn>
              <a:cxn ang="0">
                <a:pos x="connsiteX10244" y="connsiteY10244"/>
              </a:cxn>
              <a:cxn ang="0">
                <a:pos x="connsiteX10245" y="connsiteY10245"/>
              </a:cxn>
              <a:cxn ang="0">
                <a:pos x="connsiteX10246" y="connsiteY10246"/>
              </a:cxn>
              <a:cxn ang="0">
                <a:pos x="connsiteX10247" y="connsiteY10247"/>
              </a:cxn>
              <a:cxn ang="0">
                <a:pos x="connsiteX10248" y="connsiteY10248"/>
              </a:cxn>
              <a:cxn ang="0">
                <a:pos x="connsiteX10249" y="connsiteY10249"/>
              </a:cxn>
              <a:cxn ang="0">
                <a:pos x="connsiteX10250" y="connsiteY10250"/>
              </a:cxn>
              <a:cxn ang="0">
                <a:pos x="connsiteX10251" y="connsiteY10251"/>
              </a:cxn>
              <a:cxn ang="0">
                <a:pos x="connsiteX10252" y="connsiteY10252"/>
              </a:cxn>
              <a:cxn ang="0">
                <a:pos x="connsiteX10253" y="connsiteY10253"/>
              </a:cxn>
              <a:cxn ang="0">
                <a:pos x="connsiteX10254" y="connsiteY10254"/>
              </a:cxn>
              <a:cxn ang="0">
                <a:pos x="connsiteX10255" y="connsiteY10255"/>
              </a:cxn>
              <a:cxn ang="0">
                <a:pos x="connsiteX10256" y="connsiteY10256"/>
              </a:cxn>
              <a:cxn ang="0">
                <a:pos x="connsiteX10257" y="connsiteY10257"/>
              </a:cxn>
              <a:cxn ang="0">
                <a:pos x="connsiteX10258" y="connsiteY10258"/>
              </a:cxn>
              <a:cxn ang="0">
                <a:pos x="connsiteX10259" y="connsiteY10259"/>
              </a:cxn>
              <a:cxn ang="0">
                <a:pos x="connsiteX10260" y="connsiteY10260"/>
              </a:cxn>
              <a:cxn ang="0">
                <a:pos x="connsiteX10261" y="connsiteY10261"/>
              </a:cxn>
              <a:cxn ang="0">
                <a:pos x="connsiteX10262" y="connsiteY10262"/>
              </a:cxn>
              <a:cxn ang="0">
                <a:pos x="connsiteX10263" y="connsiteY10263"/>
              </a:cxn>
              <a:cxn ang="0">
                <a:pos x="connsiteX10264" y="connsiteY10264"/>
              </a:cxn>
              <a:cxn ang="0">
                <a:pos x="connsiteX10265" y="connsiteY10265"/>
              </a:cxn>
              <a:cxn ang="0">
                <a:pos x="connsiteX10266" y="connsiteY10266"/>
              </a:cxn>
              <a:cxn ang="0">
                <a:pos x="connsiteX10267" y="connsiteY10267"/>
              </a:cxn>
              <a:cxn ang="0">
                <a:pos x="connsiteX10268" y="connsiteY10268"/>
              </a:cxn>
              <a:cxn ang="0">
                <a:pos x="connsiteX10269" y="connsiteY10269"/>
              </a:cxn>
              <a:cxn ang="0">
                <a:pos x="connsiteX10270" y="connsiteY10270"/>
              </a:cxn>
              <a:cxn ang="0">
                <a:pos x="connsiteX10271" y="connsiteY10271"/>
              </a:cxn>
              <a:cxn ang="0">
                <a:pos x="connsiteX10272" y="connsiteY10272"/>
              </a:cxn>
              <a:cxn ang="0">
                <a:pos x="connsiteX10273" y="connsiteY10273"/>
              </a:cxn>
              <a:cxn ang="0">
                <a:pos x="connsiteX10274" y="connsiteY10274"/>
              </a:cxn>
              <a:cxn ang="0">
                <a:pos x="connsiteX10275" y="connsiteY10275"/>
              </a:cxn>
              <a:cxn ang="0">
                <a:pos x="connsiteX10276" y="connsiteY10276"/>
              </a:cxn>
              <a:cxn ang="0">
                <a:pos x="connsiteX10277" y="connsiteY10277"/>
              </a:cxn>
              <a:cxn ang="0">
                <a:pos x="connsiteX10278" y="connsiteY10278"/>
              </a:cxn>
              <a:cxn ang="0">
                <a:pos x="connsiteX10279" y="connsiteY10279"/>
              </a:cxn>
              <a:cxn ang="0">
                <a:pos x="connsiteX10280" y="connsiteY10280"/>
              </a:cxn>
              <a:cxn ang="0">
                <a:pos x="connsiteX10281" y="connsiteY10281"/>
              </a:cxn>
              <a:cxn ang="0">
                <a:pos x="connsiteX10282" y="connsiteY10282"/>
              </a:cxn>
              <a:cxn ang="0">
                <a:pos x="connsiteX10283" y="connsiteY10283"/>
              </a:cxn>
              <a:cxn ang="0">
                <a:pos x="connsiteX10284" y="connsiteY10284"/>
              </a:cxn>
              <a:cxn ang="0">
                <a:pos x="connsiteX10285" y="connsiteY10285"/>
              </a:cxn>
              <a:cxn ang="0">
                <a:pos x="connsiteX10286" y="connsiteY10286"/>
              </a:cxn>
              <a:cxn ang="0">
                <a:pos x="connsiteX10287" y="connsiteY10287"/>
              </a:cxn>
              <a:cxn ang="0">
                <a:pos x="connsiteX10288" y="connsiteY10288"/>
              </a:cxn>
              <a:cxn ang="0">
                <a:pos x="connsiteX10289" y="connsiteY10289"/>
              </a:cxn>
              <a:cxn ang="0">
                <a:pos x="connsiteX10290" y="connsiteY10290"/>
              </a:cxn>
              <a:cxn ang="0">
                <a:pos x="connsiteX10291" y="connsiteY10291"/>
              </a:cxn>
              <a:cxn ang="0">
                <a:pos x="connsiteX10292" y="connsiteY10292"/>
              </a:cxn>
              <a:cxn ang="0">
                <a:pos x="connsiteX10293" y="connsiteY10293"/>
              </a:cxn>
              <a:cxn ang="0">
                <a:pos x="connsiteX10294" y="connsiteY10294"/>
              </a:cxn>
              <a:cxn ang="0">
                <a:pos x="connsiteX10295" y="connsiteY10295"/>
              </a:cxn>
              <a:cxn ang="0">
                <a:pos x="connsiteX10296" y="connsiteY10296"/>
              </a:cxn>
              <a:cxn ang="0">
                <a:pos x="connsiteX10297" y="connsiteY10297"/>
              </a:cxn>
              <a:cxn ang="0">
                <a:pos x="connsiteX10298" y="connsiteY10298"/>
              </a:cxn>
              <a:cxn ang="0">
                <a:pos x="connsiteX10299" y="connsiteY10299"/>
              </a:cxn>
              <a:cxn ang="0">
                <a:pos x="connsiteX10300" y="connsiteY10300"/>
              </a:cxn>
              <a:cxn ang="0">
                <a:pos x="connsiteX10301" y="connsiteY10301"/>
              </a:cxn>
              <a:cxn ang="0">
                <a:pos x="connsiteX10302" y="connsiteY10302"/>
              </a:cxn>
              <a:cxn ang="0">
                <a:pos x="connsiteX10303" y="connsiteY10303"/>
              </a:cxn>
              <a:cxn ang="0">
                <a:pos x="connsiteX10304" y="connsiteY10304"/>
              </a:cxn>
              <a:cxn ang="0">
                <a:pos x="connsiteX10305" y="connsiteY10305"/>
              </a:cxn>
              <a:cxn ang="0">
                <a:pos x="connsiteX10306" y="connsiteY10306"/>
              </a:cxn>
              <a:cxn ang="0">
                <a:pos x="connsiteX10307" y="connsiteY10307"/>
              </a:cxn>
              <a:cxn ang="0">
                <a:pos x="connsiteX10308" y="connsiteY10308"/>
              </a:cxn>
              <a:cxn ang="0">
                <a:pos x="connsiteX10309" y="connsiteY10309"/>
              </a:cxn>
              <a:cxn ang="0">
                <a:pos x="connsiteX10310" y="connsiteY10310"/>
              </a:cxn>
              <a:cxn ang="0">
                <a:pos x="connsiteX10311" y="connsiteY10311"/>
              </a:cxn>
              <a:cxn ang="0">
                <a:pos x="connsiteX10312" y="connsiteY10312"/>
              </a:cxn>
              <a:cxn ang="0">
                <a:pos x="connsiteX10313" y="connsiteY10313"/>
              </a:cxn>
              <a:cxn ang="0">
                <a:pos x="connsiteX10314" y="connsiteY10314"/>
              </a:cxn>
              <a:cxn ang="0">
                <a:pos x="connsiteX10315" y="connsiteY10315"/>
              </a:cxn>
              <a:cxn ang="0">
                <a:pos x="connsiteX10316" y="connsiteY10316"/>
              </a:cxn>
              <a:cxn ang="0">
                <a:pos x="connsiteX10317" y="connsiteY10317"/>
              </a:cxn>
              <a:cxn ang="0">
                <a:pos x="connsiteX10318" y="connsiteY10318"/>
              </a:cxn>
              <a:cxn ang="0">
                <a:pos x="connsiteX10319" y="connsiteY10319"/>
              </a:cxn>
              <a:cxn ang="0">
                <a:pos x="connsiteX10320" y="connsiteY10320"/>
              </a:cxn>
              <a:cxn ang="0">
                <a:pos x="connsiteX10321" y="connsiteY10321"/>
              </a:cxn>
              <a:cxn ang="0">
                <a:pos x="connsiteX10322" y="connsiteY10322"/>
              </a:cxn>
              <a:cxn ang="0">
                <a:pos x="connsiteX10323" y="connsiteY10323"/>
              </a:cxn>
              <a:cxn ang="0">
                <a:pos x="connsiteX10324" y="connsiteY10324"/>
              </a:cxn>
              <a:cxn ang="0">
                <a:pos x="connsiteX10325" y="connsiteY10325"/>
              </a:cxn>
              <a:cxn ang="0">
                <a:pos x="connsiteX10326" y="connsiteY10326"/>
              </a:cxn>
              <a:cxn ang="0">
                <a:pos x="connsiteX10327" y="connsiteY10327"/>
              </a:cxn>
              <a:cxn ang="0">
                <a:pos x="connsiteX10328" y="connsiteY10328"/>
              </a:cxn>
              <a:cxn ang="0">
                <a:pos x="connsiteX10329" y="connsiteY10329"/>
              </a:cxn>
              <a:cxn ang="0">
                <a:pos x="connsiteX10330" y="connsiteY10330"/>
              </a:cxn>
              <a:cxn ang="0">
                <a:pos x="connsiteX10331" y="connsiteY10331"/>
              </a:cxn>
              <a:cxn ang="0">
                <a:pos x="connsiteX10332" y="connsiteY10332"/>
              </a:cxn>
              <a:cxn ang="0">
                <a:pos x="connsiteX10333" y="connsiteY10333"/>
              </a:cxn>
              <a:cxn ang="0">
                <a:pos x="connsiteX10334" y="connsiteY10334"/>
              </a:cxn>
              <a:cxn ang="0">
                <a:pos x="connsiteX10335" y="connsiteY10335"/>
              </a:cxn>
              <a:cxn ang="0">
                <a:pos x="connsiteX10336" y="connsiteY10336"/>
              </a:cxn>
              <a:cxn ang="0">
                <a:pos x="connsiteX10337" y="connsiteY10337"/>
              </a:cxn>
              <a:cxn ang="0">
                <a:pos x="connsiteX10338" y="connsiteY10338"/>
              </a:cxn>
              <a:cxn ang="0">
                <a:pos x="connsiteX10339" y="connsiteY10339"/>
              </a:cxn>
              <a:cxn ang="0">
                <a:pos x="connsiteX10340" y="connsiteY10340"/>
              </a:cxn>
              <a:cxn ang="0">
                <a:pos x="connsiteX10341" y="connsiteY10341"/>
              </a:cxn>
              <a:cxn ang="0">
                <a:pos x="connsiteX10342" y="connsiteY10342"/>
              </a:cxn>
              <a:cxn ang="0">
                <a:pos x="connsiteX10343" y="connsiteY10343"/>
              </a:cxn>
              <a:cxn ang="0">
                <a:pos x="connsiteX10344" y="connsiteY10344"/>
              </a:cxn>
              <a:cxn ang="0">
                <a:pos x="connsiteX10345" y="connsiteY10345"/>
              </a:cxn>
              <a:cxn ang="0">
                <a:pos x="connsiteX10346" y="connsiteY10346"/>
              </a:cxn>
              <a:cxn ang="0">
                <a:pos x="connsiteX10347" y="connsiteY10347"/>
              </a:cxn>
              <a:cxn ang="0">
                <a:pos x="connsiteX10348" y="connsiteY10348"/>
              </a:cxn>
              <a:cxn ang="0">
                <a:pos x="connsiteX10349" y="connsiteY10349"/>
              </a:cxn>
              <a:cxn ang="0">
                <a:pos x="connsiteX10350" y="connsiteY10350"/>
              </a:cxn>
              <a:cxn ang="0">
                <a:pos x="connsiteX10351" y="connsiteY10351"/>
              </a:cxn>
              <a:cxn ang="0">
                <a:pos x="connsiteX10352" y="connsiteY10352"/>
              </a:cxn>
              <a:cxn ang="0">
                <a:pos x="connsiteX10353" y="connsiteY10353"/>
              </a:cxn>
              <a:cxn ang="0">
                <a:pos x="connsiteX10354" y="connsiteY10354"/>
              </a:cxn>
              <a:cxn ang="0">
                <a:pos x="connsiteX10355" y="connsiteY10355"/>
              </a:cxn>
              <a:cxn ang="0">
                <a:pos x="connsiteX10356" y="connsiteY10356"/>
              </a:cxn>
              <a:cxn ang="0">
                <a:pos x="connsiteX10357" y="connsiteY10357"/>
              </a:cxn>
              <a:cxn ang="0">
                <a:pos x="connsiteX10358" y="connsiteY10358"/>
              </a:cxn>
              <a:cxn ang="0">
                <a:pos x="connsiteX10359" y="connsiteY10359"/>
              </a:cxn>
              <a:cxn ang="0">
                <a:pos x="connsiteX10360" y="connsiteY10360"/>
              </a:cxn>
              <a:cxn ang="0">
                <a:pos x="connsiteX10361" y="connsiteY10361"/>
              </a:cxn>
              <a:cxn ang="0">
                <a:pos x="connsiteX10362" y="connsiteY10362"/>
              </a:cxn>
              <a:cxn ang="0">
                <a:pos x="connsiteX10363" y="connsiteY10363"/>
              </a:cxn>
              <a:cxn ang="0">
                <a:pos x="connsiteX10364" y="connsiteY10364"/>
              </a:cxn>
              <a:cxn ang="0">
                <a:pos x="connsiteX10365" y="connsiteY10365"/>
              </a:cxn>
              <a:cxn ang="0">
                <a:pos x="connsiteX10366" y="connsiteY10366"/>
              </a:cxn>
              <a:cxn ang="0">
                <a:pos x="connsiteX10367" y="connsiteY10367"/>
              </a:cxn>
              <a:cxn ang="0">
                <a:pos x="connsiteX10368" y="connsiteY10368"/>
              </a:cxn>
              <a:cxn ang="0">
                <a:pos x="connsiteX10369" y="connsiteY10369"/>
              </a:cxn>
              <a:cxn ang="0">
                <a:pos x="connsiteX10370" y="connsiteY10370"/>
              </a:cxn>
              <a:cxn ang="0">
                <a:pos x="connsiteX10371" y="connsiteY10371"/>
              </a:cxn>
              <a:cxn ang="0">
                <a:pos x="connsiteX10372" y="connsiteY10372"/>
              </a:cxn>
              <a:cxn ang="0">
                <a:pos x="connsiteX10373" y="connsiteY10373"/>
              </a:cxn>
              <a:cxn ang="0">
                <a:pos x="connsiteX10374" y="connsiteY10374"/>
              </a:cxn>
              <a:cxn ang="0">
                <a:pos x="connsiteX10375" y="connsiteY10375"/>
              </a:cxn>
              <a:cxn ang="0">
                <a:pos x="connsiteX10376" y="connsiteY10376"/>
              </a:cxn>
              <a:cxn ang="0">
                <a:pos x="connsiteX10377" y="connsiteY10377"/>
              </a:cxn>
              <a:cxn ang="0">
                <a:pos x="connsiteX10378" y="connsiteY10378"/>
              </a:cxn>
              <a:cxn ang="0">
                <a:pos x="connsiteX10379" y="connsiteY10379"/>
              </a:cxn>
              <a:cxn ang="0">
                <a:pos x="connsiteX10380" y="connsiteY10380"/>
              </a:cxn>
              <a:cxn ang="0">
                <a:pos x="connsiteX10381" y="connsiteY10381"/>
              </a:cxn>
              <a:cxn ang="0">
                <a:pos x="connsiteX10382" y="connsiteY10382"/>
              </a:cxn>
              <a:cxn ang="0">
                <a:pos x="connsiteX10383" y="connsiteY10383"/>
              </a:cxn>
              <a:cxn ang="0">
                <a:pos x="connsiteX10384" y="connsiteY10384"/>
              </a:cxn>
              <a:cxn ang="0">
                <a:pos x="connsiteX10385" y="connsiteY10385"/>
              </a:cxn>
              <a:cxn ang="0">
                <a:pos x="connsiteX10386" y="connsiteY10386"/>
              </a:cxn>
              <a:cxn ang="0">
                <a:pos x="connsiteX10387" y="connsiteY10387"/>
              </a:cxn>
              <a:cxn ang="0">
                <a:pos x="connsiteX10388" y="connsiteY10388"/>
              </a:cxn>
              <a:cxn ang="0">
                <a:pos x="connsiteX10389" y="connsiteY10389"/>
              </a:cxn>
              <a:cxn ang="0">
                <a:pos x="connsiteX10390" y="connsiteY10390"/>
              </a:cxn>
              <a:cxn ang="0">
                <a:pos x="connsiteX10391" y="connsiteY10391"/>
              </a:cxn>
              <a:cxn ang="0">
                <a:pos x="connsiteX10392" y="connsiteY10392"/>
              </a:cxn>
              <a:cxn ang="0">
                <a:pos x="connsiteX10393" y="connsiteY10393"/>
              </a:cxn>
              <a:cxn ang="0">
                <a:pos x="connsiteX10394" y="connsiteY10394"/>
              </a:cxn>
              <a:cxn ang="0">
                <a:pos x="connsiteX10395" y="connsiteY10395"/>
              </a:cxn>
              <a:cxn ang="0">
                <a:pos x="connsiteX10396" y="connsiteY10396"/>
              </a:cxn>
              <a:cxn ang="0">
                <a:pos x="connsiteX10397" y="connsiteY10397"/>
              </a:cxn>
              <a:cxn ang="0">
                <a:pos x="connsiteX10398" y="connsiteY10398"/>
              </a:cxn>
              <a:cxn ang="0">
                <a:pos x="connsiteX10399" y="connsiteY10399"/>
              </a:cxn>
              <a:cxn ang="0">
                <a:pos x="connsiteX10400" y="connsiteY10400"/>
              </a:cxn>
              <a:cxn ang="0">
                <a:pos x="connsiteX10401" y="connsiteY10401"/>
              </a:cxn>
              <a:cxn ang="0">
                <a:pos x="connsiteX10402" y="connsiteY10402"/>
              </a:cxn>
              <a:cxn ang="0">
                <a:pos x="connsiteX10403" y="connsiteY10403"/>
              </a:cxn>
              <a:cxn ang="0">
                <a:pos x="connsiteX10404" y="connsiteY10404"/>
              </a:cxn>
              <a:cxn ang="0">
                <a:pos x="connsiteX10405" y="connsiteY10405"/>
              </a:cxn>
              <a:cxn ang="0">
                <a:pos x="connsiteX10406" y="connsiteY10406"/>
              </a:cxn>
              <a:cxn ang="0">
                <a:pos x="connsiteX10407" y="connsiteY10407"/>
              </a:cxn>
              <a:cxn ang="0">
                <a:pos x="connsiteX10408" y="connsiteY10408"/>
              </a:cxn>
              <a:cxn ang="0">
                <a:pos x="connsiteX10409" y="connsiteY10409"/>
              </a:cxn>
              <a:cxn ang="0">
                <a:pos x="connsiteX10410" y="connsiteY10410"/>
              </a:cxn>
              <a:cxn ang="0">
                <a:pos x="connsiteX10411" y="connsiteY10411"/>
              </a:cxn>
              <a:cxn ang="0">
                <a:pos x="connsiteX10412" y="connsiteY10412"/>
              </a:cxn>
              <a:cxn ang="0">
                <a:pos x="connsiteX10413" y="connsiteY10413"/>
              </a:cxn>
              <a:cxn ang="0">
                <a:pos x="connsiteX10414" y="connsiteY10414"/>
              </a:cxn>
              <a:cxn ang="0">
                <a:pos x="connsiteX10415" y="connsiteY10415"/>
              </a:cxn>
              <a:cxn ang="0">
                <a:pos x="connsiteX10416" y="connsiteY10416"/>
              </a:cxn>
              <a:cxn ang="0">
                <a:pos x="connsiteX10417" y="connsiteY10417"/>
              </a:cxn>
              <a:cxn ang="0">
                <a:pos x="connsiteX10418" y="connsiteY10418"/>
              </a:cxn>
              <a:cxn ang="0">
                <a:pos x="connsiteX10419" y="connsiteY10419"/>
              </a:cxn>
              <a:cxn ang="0">
                <a:pos x="connsiteX10420" y="connsiteY10420"/>
              </a:cxn>
              <a:cxn ang="0">
                <a:pos x="connsiteX10421" y="connsiteY10421"/>
              </a:cxn>
              <a:cxn ang="0">
                <a:pos x="connsiteX10422" y="connsiteY10422"/>
              </a:cxn>
              <a:cxn ang="0">
                <a:pos x="connsiteX10423" y="connsiteY10423"/>
              </a:cxn>
              <a:cxn ang="0">
                <a:pos x="connsiteX10424" y="connsiteY10424"/>
              </a:cxn>
              <a:cxn ang="0">
                <a:pos x="connsiteX10425" y="connsiteY10425"/>
              </a:cxn>
              <a:cxn ang="0">
                <a:pos x="connsiteX10426" y="connsiteY10426"/>
              </a:cxn>
              <a:cxn ang="0">
                <a:pos x="connsiteX10427" y="connsiteY10427"/>
              </a:cxn>
              <a:cxn ang="0">
                <a:pos x="connsiteX10428" y="connsiteY10428"/>
              </a:cxn>
              <a:cxn ang="0">
                <a:pos x="connsiteX10429" y="connsiteY10429"/>
              </a:cxn>
              <a:cxn ang="0">
                <a:pos x="connsiteX10430" y="connsiteY10430"/>
              </a:cxn>
              <a:cxn ang="0">
                <a:pos x="connsiteX10431" y="connsiteY10431"/>
              </a:cxn>
              <a:cxn ang="0">
                <a:pos x="connsiteX10432" y="connsiteY10432"/>
              </a:cxn>
              <a:cxn ang="0">
                <a:pos x="connsiteX10433" y="connsiteY10433"/>
              </a:cxn>
              <a:cxn ang="0">
                <a:pos x="connsiteX10434" y="connsiteY10434"/>
              </a:cxn>
              <a:cxn ang="0">
                <a:pos x="connsiteX10435" y="connsiteY10435"/>
              </a:cxn>
              <a:cxn ang="0">
                <a:pos x="connsiteX10436" y="connsiteY10436"/>
              </a:cxn>
              <a:cxn ang="0">
                <a:pos x="connsiteX10437" y="connsiteY10437"/>
              </a:cxn>
              <a:cxn ang="0">
                <a:pos x="connsiteX10438" y="connsiteY10438"/>
              </a:cxn>
              <a:cxn ang="0">
                <a:pos x="connsiteX10439" y="connsiteY10439"/>
              </a:cxn>
              <a:cxn ang="0">
                <a:pos x="connsiteX10440" y="connsiteY10440"/>
              </a:cxn>
              <a:cxn ang="0">
                <a:pos x="connsiteX10441" y="connsiteY10441"/>
              </a:cxn>
              <a:cxn ang="0">
                <a:pos x="connsiteX10442" y="connsiteY10442"/>
              </a:cxn>
              <a:cxn ang="0">
                <a:pos x="connsiteX10443" y="connsiteY10443"/>
              </a:cxn>
              <a:cxn ang="0">
                <a:pos x="connsiteX10444" y="connsiteY10444"/>
              </a:cxn>
              <a:cxn ang="0">
                <a:pos x="connsiteX10445" y="connsiteY10445"/>
              </a:cxn>
              <a:cxn ang="0">
                <a:pos x="connsiteX10446" y="connsiteY10446"/>
              </a:cxn>
              <a:cxn ang="0">
                <a:pos x="connsiteX10447" y="connsiteY10447"/>
              </a:cxn>
              <a:cxn ang="0">
                <a:pos x="connsiteX10448" y="connsiteY10448"/>
              </a:cxn>
              <a:cxn ang="0">
                <a:pos x="connsiteX10449" y="connsiteY10449"/>
              </a:cxn>
              <a:cxn ang="0">
                <a:pos x="connsiteX10450" y="connsiteY10450"/>
              </a:cxn>
              <a:cxn ang="0">
                <a:pos x="connsiteX10451" y="connsiteY10451"/>
              </a:cxn>
              <a:cxn ang="0">
                <a:pos x="connsiteX10452" y="connsiteY10452"/>
              </a:cxn>
              <a:cxn ang="0">
                <a:pos x="connsiteX10453" y="connsiteY10453"/>
              </a:cxn>
              <a:cxn ang="0">
                <a:pos x="connsiteX10454" y="connsiteY10454"/>
              </a:cxn>
              <a:cxn ang="0">
                <a:pos x="connsiteX10455" y="connsiteY10455"/>
              </a:cxn>
              <a:cxn ang="0">
                <a:pos x="connsiteX10456" y="connsiteY10456"/>
              </a:cxn>
              <a:cxn ang="0">
                <a:pos x="connsiteX10457" y="connsiteY10457"/>
              </a:cxn>
              <a:cxn ang="0">
                <a:pos x="connsiteX10458" y="connsiteY10458"/>
              </a:cxn>
              <a:cxn ang="0">
                <a:pos x="connsiteX10459" y="connsiteY10459"/>
              </a:cxn>
              <a:cxn ang="0">
                <a:pos x="connsiteX10460" y="connsiteY10460"/>
              </a:cxn>
              <a:cxn ang="0">
                <a:pos x="connsiteX10461" y="connsiteY10461"/>
              </a:cxn>
              <a:cxn ang="0">
                <a:pos x="connsiteX10462" y="connsiteY10462"/>
              </a:cxn>
              <a:cxn ang="0">
                <a:pos x="connsiteX10463" y="connsiteY10463"/>
              </a:cxn>
              <a:cxn ang="0">
                <a:pos x="connsiteX10464" y="connsiteY10464"/>
              </a:cxn>
              <a:cxn ang="0">
                <a:pos x="connsiteX10465" y="connsiteY10465"/>
              </a:cxn>
              <a:cxn ang="0">
                <a:pos x="connsiteX10466" y="connsiteY10466"/>
              </a:cxn>
              <a:cxn ang="0">
                <a:pos x="connsiteX10467" y="connsiteY10467"/>
              </a:cxn>
              <a:cxn ang="0">
                <a:pos x="connsiteX10468" y="connsiteY10468"/>
              </a:cxn>
              <a:cxn ang="0">
                <a:pos x="connsiteX10469" y="connsiteY10469"/>
              </a:cxn>
              <a:cxn ang="0">
                <a:pos x="connsiteX10470" y="connsiteY10470"/>
              </a:cxn>
              <a:cxn ang="0">
                <a:pos x="connsiteX10471" y="connsiteY10471"/>
              </a:cxn>
              <a:cxn ang="0">
                <a:pos x="connsiteX10472" y="connsiteY10472"/>
              </a:cxn>
              <a:cxn ang="0">
                <a:pos x="connsiteX10473" y="connsiteY10473"/>
              </a:cxn>
              <a:cxn ang="0">
                <a:pos x="connsiteX10474" y="connsiteY10474"/>
              </a:cxn>
              <a:cxn ang="0">
                <a:pos x="connsiteX10475" y="connsiteY10475"/>
              </a:cxn>
              <a:cxn ang="0">
                <a:pos x="connsiteX10476" y="connsiteY10476"/>
              </a:cxn>
              <a:cxn ang="0">
                <a:pos x="connsiteX10477" y="connsiteY10477"/>
              </a:cxn>
              <a:cxn ang="0">
                <a:pos x="connsiteX10478" y="connsiteY10478"/>
              </a:cxn>
              <a:cxn ang="0">
                <a:pos x="connsiteX10479" y="connsiteY10479"/>
              </a:cxn>
              <a:cxn ang="0">
                <a:pos x="connsiteX10480" y="connsiteY10480"/>
              </a:cxn>
              <a:cxn ang="0">
                <a:pos x="connsiteX10481" y="connsiteY10481"/>
              </a:cxn>
              <a:cxn ang="0">
                <a:pos x="connsiteX10482" y="connsiteY10482"/>
              </a:cxn>
              <a:cxn ang="0">
                <a:pos x="connsiteX10483" y="connsiteY10483"/>
              </a:cxn>
              <a:cxn ang="0">
                <a:pos x="connsiteX10484" y="connsiteY10484"/>
              </a:cxn>
              <a:cxn ang="0">
                <a:pos x="connsiteX10485" y="connsiteY10485"/>
              </a:cxn>
              <a:cxn ang="0">
                <a:pos x="connsiteX10486" y="connsiteY10486"/>
              </a:cxn>
              <a:cxn ang="0">
                <a:pos x="connsiteX10487" y="connsiteY10487"/>
              </a:cxn>
              <a:cxn ang="0">
                <a:pos x="connsiteX10488" y="connsiteY10488"/>
              </a:cxn>
              <a:cxn ang="0">
                <a:pos x="connsiteX10489" y="connsiteY10489"/>
              </a:cxn>
              <a:cxn ang="0">
                <a:pos x="connsiteX10490" y="connsiteY10490"/>
              </a:cxn>
              <a:cxn ang="0">
                <a:pos x="connsiteX10491" y="connsiteY10491"/>
              </a:cxn>
              <a:cxn ang="0">
                <a:pos x="connsiteX10492" y="connsiteY10492"/>
              </a:cxn>
              <a:cxn ang="0">
                <a:pos x="connsiteX10493" y="connsiteY10493"/>
              </a:cxn>
              <a:cxn ang="0">
                <a:pos x="connsiteX10494" y="connsiteY10494"/>
              </a:cxn>
              <a:cxn ang="0">
                <a:pos x="connsiteX10495" y="connsiteY10495"/>
              </a:cxn>
              <a:cxn ang="0">
                <a:pos x="connsiteX10496" y="connsiteY10496"/>
              </a:cxn>
              <a:cxn ang="0">
                <a:pos x="connsiteX10497" y="connsiteY10497"/>
              </a:cxn>
              <a:cxn ang="0">
                <a:pos x="connsiteX10498" y="connsiteY10498"/>
              </a:cxn>
              <a:cxn ang="0">
                <a:pos x="connsiteX10499" y="connsiteY10499"/>
              </a:cxn>
              <a:cxn ang="0">
                <a:pos x="connsiteX10500" y="connsiteY10500"/>
              </a:cxn>
              <a:cxn ang="0">
                <a:pos x="connsiteX10501" y="connsiteY10501"/>
              </a:cxn>
              <a:cxn ang="0">
                <a:pos x="connsiteX10502" y="connsiteY10502"/>
              </a:cxn>
              <a:cxn ang="0">
                <a:pos x="connsiteX10503" y="connsiteY10503"/>
              </a:cxn>
              <a:cxn ang="0">
                <a:pos x="connsiteX10504" y="connsiteY10504"/>
              </a:cxn>
              <a:cxn ang="0">
                <a:pos x="connsiteX10505" y="connsiteY10505"/>
              </a:cxn>
              <a:cxn ang="0">
                <a:pos x="connsiteX10506" y="connsiteY10506"/>
              </a:cxn>
              <a:cxn ang="0">
                <a:pos x="connsiteX10507" y="connsiteY10507"/>
              </a:cxn>
              <a:cxn ang="0">
                <a:pos x="connsiteX10508" y="connsiteY10508"/>
              </a:cxn>
              <a:cxn ang="0">
                <a:pos x="connsiteX10509" y="connsiteY10509"/>
              </a:cxn>
              <a:cxn ang="0">
                <a:pos x="connsiteX10510" y="connsiteY10510"/>
              </a:cxn>
              <a:cxn ang="0">
                <a:pos x="connsiteX10511" y="connsiteY10511"/>
              </a:cxn>
              <a:cxn ang="0">
                <a:pos x="connsiteX10512" y="connsiteY10512"/>
              </a:cxn>
              <a:cxn ang="0">
                <a:pos x="connsiteX10513" y="connsiteY10513"/>
              </a:cxn>
              <a:cxn ang="0">
                <a:pos x="connsiteX10514" y="connsiteY10514"/>
              </a:cxn>
              <a:cxn ang="0">
                <a:pos x="connsiteX10515" y="connsiteY10515"/>
              </a:cxn>
              <a:cxn ang="0">
                <a:pos x="connsiteX10516" y="connsiteY10516"/>
              </a:cxn>
              <a:cxn ang="0">
                <a:pos x="connsiteX10517" y="connsiteY10517"/>
              </a:cxn>
              <a:cxn ang="0">
                <a:pos x="connsiteX10518" y="connsiteY10518"/>
              </a:cxn>
              <a:cxn ang="0">
                <a:pos x="connsiteX10519" y="connsiteY10519"/>
              </a:cxn>
              <a:cxn ang="0">
                <a:pos x="connsiteX10520" y="connsiteY10520"/>
              </a:cxn>
              <a:cxn ang="0">
                <a:pos x="connsiteX10521" y="connsiteY10521"/>
              </a:cxn>
              <a:cxn ang="0">
                <a:pos x="connsiteX10522" y="connsiteY10522"/>
              </a:cxn>
              <a:cxn ang="0">
                <a:pos x="connsiteX10523" y="connsiteY10523"/>
              </a:cxn>
              <a:cxn ang="0">
                <a:pos x="connsiteX10524" y="connsiteY10524"/>
              </a:cxn>
              <a:cxn ang="0">
                <a:pos x="connsiteX10525" y="connsiteY10525"/>
              </a:cxn>
              <a:cxn ang="0">
                <a:pos x="connsiteX10526" y="connsiteY10526"/>
              </a:cxn>
              <a:cxn ang="0">
                <a:pos x="connsiteX10527" y="connsiteY10527"/>
              </a:cxn>
              <a:cxn ang="0">
                <a:pos x="connsiteX10528" y="connsiteY10528"/>
              </a:cxn>
              <a:cxn ang="0">
                <a:pos x="connsiteX10529" y="connsiteY10529"/>
              </a:cxn>
              <a:cxn ang="0">
                <a:pos x="connsiteX10530" y="connsiteY10530"/>
              </a:cxn>
              <a:cxn ang="0">
                <a:pos x="connsiteX10531" y="connsiteY10531"/>
              </a:cxn>
              <a:cxn ang="0">
                <a:pos x="connsiteX10532" y="connsiteY10532"/>
              </a:cxn>
              <a:cxn ang="0">
                <a:pos x="connsiteX10533" y="connsiteY10533"/>
              </a:cxn>
              <a:cxn ang="0">
                <a:pos x="connsiteX10534" y="connsiteY10534"/>
              </a:cxn>
              <a:cxn ang="0">
                <a:pos x="connsiteX10535" y="connsiteY10535"/>
              </a:cxn>
              <a:cxn ang="0">
                <a:pos x="connsiteX10536" y="connsiteY10536"/>
              </a:cxn>
              <a:cxn ang="0">
                <a:pos x="connsiteX10537" y="connsiteY10537"/>
              </a:cxn>
              <a:cxn ang="0">
                <a:pos x="connsiteX10538" y="connsiteY10538"/>
              </a:cxn>
              <a:cxn ang="0">
                <a:pos x="connsiteX10539" y="connsiteY10539"/>
              </a:cxn>
              <a:cxn ang="0">
                <a:pos x="connsiteX10540" y="connsiteY10540"/>
              </a:cxn>
              <a:cxn ang="0">
                <a:pos x="connsiteX10541" y="connsiteY10541"/>
              </a:cxn>
              <a:cxn ang="0">
                <a:pos x="connsiteX10542" y="connsiteY10542"/>
              </a:cxn>
              <a:cxn ang="0">
                <a:pos x="connsiteX10543" y="connsiteY10543"/>
              </a:cxn>
              <a:cxn ang="0">
                <a:pos x="connsiteX10544" y="connsiteY10544"/>
              </a:cxn>
              <a:cxn ang="0">
                <a:pos x="connsiteX10545" y="connsiteY10545"/>
              </a:cxn>
              <a:cxn ang="0">
                <a:pos x="connsiteX10546" y="connsiteY10546"/>
              </a:cxn>
              <a:cxn ang="0">
                <a:pos x="connsiteX10547" y="connsiteY10547"/>
              </a:cxn>
              <a:cxn ang="0">
                <a:pos x="connsiteX10548" y="connsiteY10548"/>
              </a:cxn>
              <a:cxn ang="0">
                <a:pos x="connsiteX10549" y="connsiteY10549"/>
              </a:cxn>
              <a:cxn ang="0">
                <a:pos x="connsiteX10550" y="connsiteY10550"/>
              </a:cxn>
              <a:cxn ang="0">
                <a:pos x="connsiteX10551" y="connsiteY10551"/>
              </a:cxn>
              <a:cxn ang="0">
                <a:pos x="connsiteX10552" y="connsiteY10552"/>
              </a:cxn>
              <a:cxn ang="0">
                <a:pos x="connsiteX10553" y="connsiteY10553"/>
              </a:cxn>
              <a:cxn ang="0">
                <a:pos x="connsiteX10554" y="connsiteY10554"/>
              </a:cxn>
              <a:cxn ang="0">
                <a:pos x="connsiteX10555" y="connsiteY10555"/>
              </a:cxn>
              <a:cxn ang="0">
                <a:pos x="connsiteX10556" y="connsiteY10556"/>
              </a:cxn>
              <a:cxn ang="0">
                <a:pos x="connsiteX10557" y="connsiteY10557"/>
              </a:cxn>
              <a:cxn ang="0">
                <a:pos x="connsiteX10558" y="connsiteY10558"/>
              </a:cxn>
              <a:cxn ang="0">
                <a:pos x="connsiteX10559" y="connsiteY10559"/>
              </a:cxn>
              <a:cxn ang="0">
                <a:pos x="connsiteX10560" y="connsiteY10560"/>
              </a:cxn>
              <a:cxn ang="0">
                <a:pos x="connsiteX10561" y="connsiteY10561"/>
              </a:cxn>
              <a:cxn ang="0">
                <a:pos x="connsiteX10562" y="connsiteY10562"/>
              </a:cxn>
              <a:cxn ang="0">
                <a:pos x="connsiteX10563" y="connsiteY10563"/>
              </a:cxn>
              <a:cxn ang="0">
                <a:pos x="connsiteX10564" y="connsiteY10564"/>
              </a:cxn>
              <a:cxn ang="0">
                <a:pos x="connsiteX10565" y="connsiteY10565"/>
              </a:cxn>
              <a:cxn ang="0">
                <a:pos x="connsiteX10566" y="connsiteY10566"/>
              </a:cxn>
              <a:cxn ang="0">
                <a:pos x="connsiteX10567" y="connsiteY10567"/>
              </a:cxn>
              <a:cxn ang="0">
                <a:pos x="connsiteX10568" y="connsiteY10568"/>
              </a:cxn>
              <a:cxn ang="0">
                <a:pos x="connsiteX10569" y="connsiteY10569"/>
              </a:cxn>
              <a:cxn ang="0">
                <a:pos x="connsiteX10570" y="connsiteY10570"/>
              </a:cxn>
              <a:cxn ang="0">
                <a:pos x="connsiteX10571" y="connsiteY10571"/>
              </a:cxn>
              <a:cxn ang="0">
                <a:pos x="connsiteX10572" y="connsiteY10572"/>
              </a:cxn>
              <a:cxn ang="0">
                <a:pos x="connsiteX10573" y="connsiteY10573"/>
              </a:cxn>
              <a:cxn ang="0">
                <a:pos x="connsiteX10574" y="connsiteY10574"/>
              </a:cxn>
              <a:cxn ang="0">
                <a:pos x="connsiteX10575" y="connsiteY10575"/>
              </a:cxn>
              <a:cxn ang="0">
                <a:pos x="connsiteX10576" y="connsiteY10576"/>
              </a:cxn>
              <a:cxn ang="0">
                <a:pos x="connsiteX10577" y="connsiteY10577"/>
              </a:cxn>
              <a:cxn ang="0">
                <a:pos x="connsiteX10578" y="connsiteY10578"/>
              </a:cxn>
              <a:cxn ang="0">
                <a:pos x="connsiteX10579" y="connsiteY10579"/>
              </a:cxn>
              <a:cxn ang="0">
                <a:pos x="connsiteX10580" y="connsiteY10580"/>
              </a:cxn>
              <a:cxn ang="0">
                <a:pos x="connsiteX10581" y="connsiteY10581"/>
              </a:cxn>
              <a:cxn ang="0">
                <a:pos x="connsiteX10582" y="connsiteY10582"/>
              </a:cxn>
              <a:cxn ang="0">
                <a:pos x="connsiteX10583" y="connsiteY10583"/>
              </a:cxn>
              <a:cxn ang="0">
                <a:pos x="connsiteX10584" y="connsiteY10584"/>
              </a:cxn>
              <a:cxn ang="0">
                <a:pos x="connsiteX10585" y="connsiteY10585"/>
              </a:cxn>
              <a:cxn ang="0">
                <a:pos x="connsiteX10586" y="connsiteY10586"/>
              </a:cxn>
              <a:cxn ang="0">
                <a:pos x="connsiteX10587" y="connsiteY10587"/>
              </a:cxn>
              <a:cxn ang="0">
                <a:pos x="connsiteX10588" y="connsiteY10588"/>
              </a:cxn>
              <a:cxn ang="0">
                <a:pos x="connsiteX10589" y="connsiteY10589"/>
              </a:cxn>
              <a:cxn ang="0">
                <a:pos x="connsiteX10590" y="connsiteY10590"/>
              </a:cxn>
              <a:cxn ang="0">
                <a:pos x="connsiteX10591" y="connsiteY10591"/>
              </a:cxn>
              <a:cxn ang="0">
                <a:pos x="connsiteX10592" y="connsiteY10592"/>
              </a:cxn>
              <a:cxn ang="0">
                <a:pos x="connsiteX10593" y="connsiteY10593"/>
              </a:cxn>
              <a:cxn ang="0">
                <a:pos x="connsiteX10594" y="connsiteY10594"/>
              </a:cxn>
              <a:cxn ang="0">
                <a:pos x="connsiteX10595" y="connsiteY10595"/>
              </a:cxn>
              <a:cxn ang="0">
                <a:pos x="connsiteX10596" y="connsiteY10596"/>
              </a:cxn>
              <a:cxn ang="0">
                <a:pos x="connsiteX10597" y="connsiteY10597"/>
              </a:cxn>
              <a:cxn ang="0">
                <a:pos x="connsiteX10598" y="connsiteY10598"/>
              </a:cxn>
              <a:cxn ang="0">
                <a:pos x="connsiteX10599" y="connsiteY10599"/>
              </a:cxn>
              <a:cxn ang="0">
                <a:pos x="connsiteX10600" y="connsiteY10600"/>
              </a:cxn>
              <a:cxn ang="0">
                <a:pos x="connsiteX10601" y="connsiteY10601"/>
              </a:cxn>
              <a:cxn ang="0">
                <a:pos x="connsiteX10602" y="connsiteY10602"/>
              </a:cxn>
              <a:cxn ang="0">
                <a:pos x="connsiteX10603" y="connsiteY10603"/>
              </a:cxn>
              <a:cxn ang="0">
                <a:pos x="connsiteX10604" y="connsiteY10604"/>
              </a:cxn>
              <a:cxn ang="0">
                <a:pos x="connsiteX10605" y="connsiteY10605"/>
              </a:cxn>
              <a:cxn ang="0">
                <a:pos x="connsiteX10606" y="connsiteY10606"/>
              </a:cxn>
              <a:cxn ang="0">
                <a:pos x="connsiteX10607" y="connsiteY10607"/>
              </a:cxn>
              <a:cxn ang="0">
                <a:pos x="connsiteX10608" y="connsiteY10608"/>
              </a:cxn>
              <a:cxn ang="0">
                <a:pos x="connsiteX10609" y="connsiteY10609"/>
              </a:cxn>
              <a:cxn ang="0">
                <a:pos x="connsiteX10610" y="connsiteY10610"/>
              </a:cxn>
              <a:cxn ang="0">
                <a:pos x="connsiteX10611" y="connsiteY10611"/>
              </a:cxn>
              <a:cxn ang="0">
                <a:pos x="connsiteX10612" y="connsiteY10612"/>
              </a:cxn>
              <a:cxn ang="0">
                <a:pos x="connsiteX10613" y="connsiteY10613"/>
              </a:cxn>
              <a:cxn ang="0">
                <a:pos x="connsiteX10614" y="connsiteY10614"/>
              </a:cxn>
              <a:cxn ang="0">
                <a:pos x="connsiteX10615" y="connsiteY10615"/>
              </a:cxn>
              <a:cxn ang="0">
                <a:pos x="connsiteX10616" y="connsiteY10616"/>
              </a:cxn>
              <a:cxn ang="0">
                <a:pos x="connsiteX10617" y="connsiteY10617"/>
              </a:cxn>
              <a:cxn ang="0">
                <a:pos x="connsiteX10618" y="connsiteY10618"/>
              </a:cxn>
              <a:cxn ang="0">
                <a:pos x="connsiteX10619" y="connsiteY10619"/>
              </a:cxn>
              <a:cxn ang="0">
                <a:pos x="connsiteX10620" y="connsiteY10620"/>
              </a:cxn>
              <a:cxn ang="0">
                <a:pos x="connsiteX10621" y="connsiteY10621"/>
              </a:cxn>
              <a:cxn ang="0">
                <a:pos x="connsiteX10622" y="connsiteY10622"/>
              </a:cxn>
              <a:cxn ang="0">
                <a:pos x="connsiteX10623" y="connsiteY10623"/>
              </a:cxn>
              <a:cxn ang="0">
                <a:pos x="connsiteX10624" y="connsiteY10624"/>
              </a:cxn>
              <a:cxn ang="0">
                <a:pos x="connsiteX10625" y="connsiteY10625"/>
              </a:cxn>
              <a:cxn ang="0">
                <a:pos x="connsiteX10626" y="connsiteY10626"/>
              </a:cxn>
              <a:cxn ang="0">
                <a:pos x="connsiteX10627" y="connsiteY10627"/>
              </a:cxn>
              <a:cxn ang="0">
                <a:pos x="connsiteX10628" y="connsiteY10628"/>
              </a:cxn>
              <a:cxn ang="0">
                <a:pos x="connsiteX10629" y="connsiteY10629"/>
              </a:cxn>
              <a:cxn ang="0">
                <a:pos x="connsiteX10630" y="connsiteY10630"/>
              </a:cxn>
              <a:cxn ang="0">
                <a:pos x="connsiteX10631" y="connsiteY10631"/>
              </a:cxn>
              <a:cxn ang="0">
                <a:pos x="connsiteX10632" y="connsiteY10632"/>
              </a:cxn>
              <a:cxn ang="0">
                <a:pos x="connsiteX10633" y="connsiteY10633"/>
              </a:cxn>
              <a:cxn ang="0">
                <a:pos x="connsiteX10634" y="connsiteY10634"/>
              </a:cxn>
              <a:cxn ang="0">
                <a:pos x="connsiteX10635" y="connsiteY10635"/>
              </a:cxn>
              <a:cxn ang="0">
                <a:pos x="connsiteX10636" y="connsiteY10636"/>
              </a:cxn>
              <a:cxn ang="0">
                <a:pos x="connsiteX10637" y="connsiteY10637"/>
              </a:cxn>
              <a:cxn ang="0">
                <a:pos x="connsiteX10638" y="connsiteY10638"/>
              </a:cxn>
              <a:cxn ang="0">
                <a:pos x="connsiteX10639" y="connsiteY10639"/>
              </a:cxn>
              <a:cxn ang="0">
                <a:pos x="connsiteX10640" y="connsiteY10640"/>
              </a:cxn>
              <a:cxn ang="0">
                <a:pos x="connsiteX10641" y="connsiteY10641"/>
              </a:cxn>
              <a:cxn ang="0">
                <a:pos x="connsiteX10642" y="connsiteY10642"/>
              </a:cxn>
              <a:cxn ang="0">
                <a:pos x="connsiteX10643" y="connsiteY10643"/>
              </a:cxn>
              <a:cxn ang="0">
                <a:pos x="connsiteX10644" y="connsiteY10644"/>
              </a:cxn>
              <a:cxn ang="0">
                <a:pos x="connsiteX10645" y="connsiteY10645"/>
              </a:cxn>
              <a:cxn ang="0">
                <a:pos x="connsiteX10646" y="connsiteY10646"/>
              </a:cxn>
              <a:cxn ang="0">
                <a:pos x="connsiteX10647" y="connsiteY10647"/>
              </a:cxn>
              <a:cxn ang="0">
                <a:pos x="connsiteX10648" y="connsiteY10648"/>
              </a:cxn>
              <a:cxn ang="0">
                <a:pos x="connsiteX10649" y="connsiteY10649"/>
              </a:cxn>
              <a:cxn ang="0">
                <a:pos x="connsiteX10650" y="connsiteY10650"/>
              </a:cxn>
              <a:cxn ang="0">
                <a:pos x="connsiteX10651" y="connsiteY10651"/>
              </a:cxn>
              <a:cxn ang="0">
                <a:pos x="connsiteX10652" y="connsiteY10652"/>
              </a:cxn>
              <a:cxn ang="0">
                <a:pos x="connsiteX10653" y="connsiteY10653"/>
              </a:cxn>
              <a:cxn ang="0">
                <a:pos x="connsiteX10654" y="connsiteY10654"/>
              </a:cxn>
              <a:cxn ang="0">
                <a:pos x="connsiteX10655" y="connsiteY10655"/>
              </a:cxn>
              <a:cxn ang="0">
                <a:pos x="connsiteX10656" y="connsiteY10656"/>
              </a:cxn>
              <a:cxn ang="0">
                <a:pos x="connsiteX10657" y="connsiteY10657"/>
              </a:cxn>
              <a:cxn ang="0">
                <a:pos x="connsiteX10658" y="connsiteY10658"/>
              </a:cxn>
              <a:cxn ang="0">
                <a:pos x="connsiteX10659" y="connsiteY10659"/>
              </a:cxn>
              <a:cxn ang="0">
                <a:pos x="connsiteX10660" y="connsiteY10660"/>
              </a:cxn>
              <a:cxn ang="0">
                <a:pos x="connsiteX10661" y="connsiteY10661"/>
              </a:cxn>
              <a:cxn ang="0">
                <a:pos x="connsiteX10662" y="connsiteY10662"/>
              </a:cxn>
              <a:cxn ang="0">
                <a:pos x="connsiteX10663" y="connsiteY10663"/>
              </a:cxn>
              <a:cxn ang="0">
                <a:pos x="connsiteX10664" y="connsiteY10664"/>
              </a:cxn>
              <a:cxn ang="0">
                <a:pos x="connsiteX10665" y="connsiteY10665"/>
              </a:cxn>
              <a:cxn ang="0">
                <a:pos x="connsiteX10666" y="connsiteY10666"/>
              </a:cxn>
              <a:cxn ang="0">
                <a:pos x="connsiteX10667" y="connsiteY10667"/>
              </a:cxn>
              <a:cxn ang="0">
                <a:pos x="connsiteX10668" y="connsiteY10668"/>
              </a:cxn>
              <a:cxn ang="0">
                <a:pos x="connsiteX10669" y="connsiteY10669"/>
              </a:cxn>
              <a:cxn ang="0">
                <a:pos x="connsiteX10670" y="connsiteY10670"/>
              </a:cxn>
              <a:cxn ang="0">
                <a:pos x="connsiteX10671" y="connsiteY10671"/>
              </a:cxn>
              <a:cxn ang="0">
                <a:pos x="connsiteX10672" y="connsiteY10672"/>
              </a:cxn>
              <a:cxn ang="0">
                <a:pos x="connsiteX10673" y="connsiteY10673"/>
              </a:cxn>
              <a:cxn ang="0">
                <a:pos x="connsiteX10674" y="connsiteY10674"/>
              </a:cxn>
              <a:cxn ang="0">
                <a:pos x="connsiteX10675" y="connsiteY10675"/>
              </a:cxn>
              <a:cxn ang="0">
                <a:pos x="connsiteX10676" y="connsiteY10676"/>
              </a:cxn>
              <a:cxn ang="0">
                <a:pos x="connsiteX10677" y="connsiteY10677"/>
              </a:cxn>
              <a:cxn ang="0">
                <a:pos x="connsiteX10678" y="connsiteY10678"/>
              </a:cxn>
              <a:cxn ang="0">
                <a:pos x="connsiteX10679" y="connsiteY10679"/>
              </a:cxn>
              <a:cxn ang="0">
                <a:pos x="connsiteX10680" y="connsiteY10680"/>
              </a:cxn>
              <a:cxn ang="0">
                <a:pos x="connsiteX10681" y="connsiteY10681"/>
              </a:cxn>
              <a:cxn ang="0">
                <a:pos x="connsiteX10682" y="connsiteY10682"/>
              </a:cxn>
              <a:cxn ang="0">
                <a:pos x="connsiteX10683" y="connsiteY10683"/>
              </a:cxn>
              <a:cxn ang="0">
                <a:pos x="connsiteX10684" y="connsiteY10684"/>
              </a:cxn>
              <a:cxn ang="0">
                <a:pos x="connsiteX10685" y="connsiteY10685"/>
              </a:cxn>
              <a:cxn ang="0">
                <a:pos x="connsiteX10686" y="connsiteY10686"/>
              </a:cxn>
              <a:cxn ang="0">
                <a:pos x="connsiteX10687" y="connsiteY10687"/>
              </a:cxn>
              <a:cxn ang="0">
                <a:pos x="connsiteX10688" y="connsiteY10688"/>
              </a:cxn>
              <a:cxn ang="0">
                <a:pos x="connsiteX10689" y="connsiteY10689"/>
              </a:cxn>
              <a:cxn ang="0">
                <a:pos x="connsiteX10690" y="connsiteY10690"/>
              </a:cxn>
              <a:cxn ang="0">
                <a:pos x="connsiteX10691" y="connsiteY10691"/>
              </a:cxn>
              <a:cxn ang="0">
                <a:pos x="connsiteX10692" y="connsiteY10692"/>
              </a:cxn>
              <a:cxn ang="0">
                <a:pos x="connsiteX10693" y="connsiteY10693"/>
              </a:cxn>
              <a:cxn ang="0">
                <a:pos x="connsiteX10694" y="connsiteY10694"/>
              </a:cxn>
              <a:cxn ang="0">
                <a:pos x="connsiteX10695" y="connsiteY10695"/>
              </a:cxn>
              <a:cxn ang="0">
                <a:pos x="connsiteX10696" y="connsiteY10696"/>
              </a:cxn>
              <a:cxn ang="0">
                <a:pos x="connsiteX10697" y="connsiteY10697"/>
              </a:cxn>
              <a:cxn ang="0">
                <a:pos x="connsiteX10698" y="connsiteY10698"/>
              </a:cxn>
              <a:cxn ang="0">
                <a:pos x="connsiteX10699" y="connsiteY10699"/>
              </a:cxn>
              <a:cxn ang="0">
                <a:pos x="connsiteX10700" y="connsiteY10700"/>
              </a:cxn>
              <a:cxn ang="0">
                <a:pos x="connsiteX10701" y="connsiteY10701"/>
              </a:cxn>
              <a:cxn ang="0">
                <a:pos x="connsiteX10702" y="connsiteY10702"/>
              </a:cxn>
              <a:cxn ang="0">
                <a:pos x="connsiteX10703" y="connsiteY10703"/>
              </a:cxn>
              <a:cxn ang="0">
                <a:pos x="connsiteX10704" y="connsiteY10704"/>
              </a:cxn>
              <a:cxn ang="0">
                <a:pos x="connsiteX10705" y="connsiteY10705"/>
              </a:cxn>
              <a:cxn ang="0">
                <a:pos x="connsiteX10706" y="connsiteY10706"/>
              </a:cxn>
              <a:cxn ang="0">
                <a:pos x="connsiteX10707" y="connsiteY10707"/>
              </a:cxn>
              <a:cxn ang="0">
                <a:pos x="connsiteX10708" y="connsiteY10708"/>
              </a:cxn>
              <a:cxn ang="0">
                <a:pos x="connsiteX10709" y="connsiteY10709"/>
              </a:cxn>
              <a:cxn ang="0">
                <a:pos x="connsiteX10710" y="connsiteY10710"/>
              </a:cxn>
              <a:cxn ang="0">
                <a:pos x="connsiteX10711" y="connsiteY10711"/>
              </a:cxn>
              <a:cxn ang="0">
                <a:pos x="connsiteX10712" y="connsiteY10712"/>
              </a:cxn>
              <a:cxn ang="0">
                <a:pos x="connsiteX10713" y="connsiteY10713"/>
              </a:cxn>
              <a:cxn ang="0">
                <a:pos x="connsiteX10714" y="connsiteY10714"/>
              </a:cxn>
              <a:cxn ang="0">
                <a:pos x="connsiteX10715" y="connsiteY10715"/>
              </a:cxn>
              <a:cxn ang="0">
                <a:pos x="connsiteX10716" y="connsiteY10716"/>
              </a:cxn>
              <a:cxn ang="0">
                <a:pos x="connsiteX10717" y="connsiteY10717"/>
              </a:cxn>
              <a:cxn ang="0">
                <a:pos x="connsiteX10718" y="connsiteY10718"/>
              </a:cxn>
              <a:cxn ang="0">
                <a:pos x="connsiteX10719" y="connsiteY10719"/>
              </a:cxn>
              <a:cxn ang="0">
                <a:pos x="connsiteX10720" y="connsiteY10720"/>
              </a:cxn>
              <a:cxn ang="0">
                <a:pos x="connsiteX10721" y="connsiteY10721"/>
              </a:cxn>
              <a:cxn ang="0">
                <a:pos x="connsiteX10722" y="connsiteY10722"/>
              </a:cxn>
              <a:cxn ang="0">
                <a:pos x="connsiteX10723" y="connsiteY10723"/>
              </a:cxn>
              <a:cxn ang="0">
                <a:pos x="connsiteX10724" y="connsiteY10724"/>
              </a:cxn>
              <a:cxn ang="0">
                <a:pos x="connsiteX10725" y="connsiteY10725"/>
              </a:cxn>
              <a:cxn ang="0">
                <a:pos x="connsiteX10726" y="connsiteY10726"/>
              </a:cxn>
              <a:cxn ang="0">
                <a:pos x="connsiteX10727" y="connsiteY10727"/>
              </a:cxn>
              <a:cxn ang="0">
                <a:pos x="connsiteX10728" y="connsiteY10728"/>
              </a:cxn>
              <a:cxn ang="0">
                <a:pos x="connsiteX10729" y="connsiteY10729"/>
              </a:cxn>
              <a:cxn ang="0">
                <a:pos x="connsiteX10730" y="connsiteY10730"/>
              </a:cxn>
              <a:cxn ang="0">
                <a:pos x="connsiteX10731" y="connsiteY10731"/>
              </a:cxn>
              <a:cxn ang="0">
                <a:pos x="connsiteX10732" y="connsiteY10732"/>
              </a:cxn>
              <a:cxn ang="0">
                <a:pos x="connsiteX10733" y="connsiteY10733"/>
              </a:cxn>
              <a:cxn ang="0">
                <a:pos x="connsiteX10734" y="connsiteY10734"/>
              </a:cxn>
              <a:cxn ang="0">
                <a:pos x="connsiteX10735" y="connsiteY10735"/>
              </a:cxn>
              <a:cxn ang="0">
                <a:pos x="connsiteX10736" y="connsiteY10736"/>
              </a:cxn>
              <a:cxn ang="0">
                <a:pos x="connsiteX10737" y="connsiteY10737"/>
              </a:cxn>
              <a:cxn ang="0">
                <a:pos x="connsiteX10738" y="connsiteY10738"/>
              </a:cxn>
              <a:cxn ang="0">
                <a:pos x="connsiteX10739" y="connsiteY10739"/>
              </a:cxn>
              <a:cxn ang="0">
                <a:pos x="connsiteX10740" y="connsiteY10740"/>
              </a:cxn>
              <a:cxn ang="0">
                <a:pos x="connsiteX10741" y="connsiteY10741"/>
              </a:cxn>
              <a:cxn ang="0">
                <a:pos x="connsiteX10742" y="connsiteY10742"/>
              </a:cxn>
              <a:cxn ang="0">
                <a:pos x="connsiteX10743" y="connsiteY10743"/>
              </a:cxn>
              <a:cxn ang="0">
                <a:pos x="connsiteX10744" y="connsiteY10744"/>
              </a:cxn>
              <a:cxn ang="0">
                <a:pos x="connsiteX10745" y="connsiteY10745"/>
              </a:cxn>
              <a:cxn ang="0">
                <a:pos x="connsiteX10746" y="connsiteY10746"/>
              </a:cxn>
              <a:cxn ang="0">
                <a:pos x="connsiteX10747" y="connsiteY10747"/>
              </a:cxn>
              <a:cxn ang="0">
                <a:pos x="connsiteX10748" y="connsiteY10748"/>
              </a:cxn>
              <a:cxn ang="0">
                <a:pos x="connsiteX10749" y="connsiteY10749"/>
              </a:cxn>
              <a:cxn ang="0">
                <a:pos x="connsiteX10750" y="connsiteY10750"/>
              </a:cxn>
              <a:cxn ang="0">
                <a:pos x="connsiteX10751" y="connsiteY10751"/>
              </a:cxn>
              <a:cxn ang="0">
                <a:pos x="connsiteX10752" y="connsiteY10752"/>
              </a:cxn>
              <a:cxn ang="0">
                <a:pos x="connsiteX10753" y="connsiteY10753"/>
              </a:cxn>
              <a:cxn ang="0">
                <a:pos x="connsiteX10754" y="connsiteY10754"/>
              </a:cxn>
              <a:cxn ang="0">
                <a:pos x="connsiteX10755" y="connsiteY10755"/>
              </a:cxn>
              <a:cxn ang="0">
                <a:pos x="connsiteX10756" y="connsiteY10756"/>
              </a:cxn>
              <a:cxn ang="0">
                <a:pos x="connsiteX10757" y="connsiteY10757"/>
              </a:cxn>
              <a:cxn ang="0">
                <a:pos x="connsiteX10758" y="connsiteY10758"/>
              </a:cxn>
              <a:cxn ang="0">
                <a:pos x="connsiteX10759" y="connsiteY10759"/>
              </a:cxn>
              <a:cxn ang="0">
                <a:pos x="connsiteX10760" y="connsiteY10760"/>
              </a:cxn>
              <a:cxn ang="0">
                <a:pos x="connsiteX10761" y="connsiteY10761"/>
              </a:cxn>
              <a:cxn ang="0">
                <a:pos x="connsiteX10762" y="connsiteY10762"/>
              </a:cxn>
              <a:cxn ang="0">
                <a:pos x="connsiteX10763" y="connsiteY10763"/>
              </a:cxn>
              <a:cxn ang="0">
                <a:pos x="connsiteX10764" y="connsiteY10764"/>
              </a:cxn>
              <a:cxn ang="0">
                <a:pos x="connsiteX10765" y="connsiteY10765"/>
              </a:cxn>
              <a:cxn ang="0">
                <a:pos x="connsiteX10766" y="connsiteY10766"/>
              </a:cxn>
              <a:cxn ang="0">
                <a:pos x="connsiteX10767" y="connsiteY10767"/>
              </a:cxn>
              <a:cxn ang="0">
                <a:pos x="connsiteX10768" y="connsiteY10768"/>
              </a:cxn>
              <a:cxn ang="0">
                <a:pos x="connsiteX10769" y="connsiteY10769"/>
              </a:cxn>
              <a:cxn ang="0">
                <a:pos x="connsiteX10770" y="connsiteY10770"/>
              </a:cxn>
              <a:cxn ang="0">
                <a:pos x="connsiteX10771" y="connsiteY10771"/>
              </a:cxn>
              <a:cxn ang="0">
                <a:pos x="connsiteX10772" y="connsiteY10772"/>
              </a:cxn>
              <a:cxn ang="0">
                <a:pos x="connsiteX10773" y="connsiteY10773"/>
              </a:cxn>
              <a:cxn ang="0">
                <a:pos x="connsiteX10774" y="connsiteY10774"/>
              </a:cxn>
              <a:cxn ang="0">
                <a:pos x="connsiteX10775" y="connsiteY10775"/>
              </a:cxn>
              <a:cxn ang="0">
                <a:pos x="connsiteX10776" y="connsiteY10776"/>
              </a:cxn>
              <a:cxn ang="0">
                <a:pos x="connsiteX10777" y="connsiteY10777"/>
              </a:cxn>
              <a:cxn ang="0">
                <a:pos x="connsiteX10778" y="connsiteY10778"/>
              </a:cxn>
              <a:cxn ang="0">
                <a:pos x="connsiteX10779" y="connsiteY10779"/>
              </a:cxn>
              <a:cxn ang="0">
                <a:pos x="connsiteX10780" y="connsiteY10780"/>
              </a:cxn>
              <a:cxn ang="0">
                <a:pos x="connsiteX10781" y="connsiteY10781"/>
              </a:cxn>
              <a:cxn ang="0">
                <a:pos x="connsiteX10782" y="connsiteY10782"/>
              </a:cxn>
              <a:cxn ang="0">
                <a:pos x="connsiteX10783" y="connsiteY10783"/>
              </a:cxn>
              <a:cxn ang="0">
                <a:pos x="connsiteX10784" y="connsiteY10784"/>
              </a:cxn>
              <a:cxn ang="0">
                <a:pos x="connsiteX10785" y="connsiteY10785"/>
              </a:cxn>
              <a:cxn ang="0">
                <a:pos x="connsiteX10786" y="connsiteY10786"/>
              </a:cxn>
              <a:cxn ang="0">
                <a:pos x="connsiteX10787" y="connsiteY10787"/>
              </a:cxn>
              <a:cxn ang="0">
                <a:pos x="connsiteX10788" y="connsiteY10788"/>
              </a:cxn>
              <a:cxn ang="0">
                <a:pos x="connsiteX10789" y="connsiteY10789"/>
              </a:cxn>
              <a:cxn ang="0">
                <a:pos x="connsiteX10790" y="connsiteY10790"/>
              </a:cxn>
              <a:cxn ang="0">
                <a:pos x="connsiteX10791" y="connsiteY10791"/>
              </a:cxn>
              <a:cxn ang="0">
                <a:pos x="connsiteX10792" y="connsiteY10792"/>
              </a:cxn>
              <a:cxn ang="0">
                <a:pos x="connsiteX10793" y="connsiteY10793"/>
              </a:cxn>
              <a:cxn ang="0">
                <a:pos x="connsiteX10794" y="connsiteY10794"/>
              </a:cxn>
              <a:cxn ang="0">
                <a:pos x="connsiteX10795" y="connsiteY10795"/>
              </a:cxn>
              <a:cxn ang="0">
                <a:pos x="connsiteX10796" y="connsiteY10796"/>
              </a:cxn>
              <a:cxn ang="0">
                <a:pos x="connsiteX10797" y="connsiteY10797"/>
              </a:cxn>
              <a:cxn ang="0">
                <a:pos x="connsiteX10798" y="connsiteY10798"/>
              </a:cxn>
              <a:cxn ang="0">
                <a:pos x="connsiteX10799" y="connsiteY10799"/>
              </a:cxn>
              <a:cxn ang="0">
                <a:pos x="connsiteX10800" y="connsiteY10800"/>
              </a:cxn>
              <a:cxn ang="0">
                <a:pos x="connsiteX10801" y="connsiteY10801"/>
              </a:cxn>
              <a:cxn ang="0">
                <a:pos x="connsiteX10802" y="connsiteY10802"/>
              </a:cxn>
              <a:cxn ang="0">
                <a:pos x="connsiteX10803" y="connsiteY10803"/>
              </a:cxn>
              <a:cxn ang="0">
                <a:pos x="connsiteX10804" y="connsiteY10804"/>
              </a:cxn>
              <a:cxn ang="0">
                <a:pos x="connsiteX10805" y="connsiteY10805"/>
              </a:cxn>
              <a:cxn ang="0">
                <a:pos x="connsiteX10806" y="connsiteY10806"/>
              </a:cxn>
              <a:cxn ang="0">
                <a:pos x="connsiteX10807" y="connsiteY10807"/>
              </a:cxn>
              <a:cxn ang="0">
                <a:pos x="connsiteX10808" y="connsiteY10808"/>
              </a:cxn>
              <a:cxn ang="0">
                <a:pos x="connsiteX10809" y="connsiteY10809"/>
              </a:cxn>
              <a:cxn ang="0">
                <a:pos x="connsiteX10810" y="connsiteY10810"/>
              </a:cxn>
              <a:cxn ang="0">
                <a:pos x="connsiteX10811" y="connsiteY10811"/>
              </a:cxn>
              <a:cxn ang="0">
                <a:pos x="connsiteX10812" y="connsiteY10812"/>
              </a:cxn>
              <a:cxn ang="0">
                <a:pos x="connsiteX10813" y="connsiteY10813"/>
              </a:cxn>
              <a:cxn ang="0">
                <a:pos x="connsiteX10814" y="connsiteY10814"/>
              </a:cxn>
              <a:cxn ang="0">
                <a:pos x="connsiteX10815" y="connsiteY10815"/>
              </a:cxn>
              <a:cxn ang="0">
                <a:pos x="connsiteX10816" y="connsiteY10816"/>
              </a:cxn>
              <a:cxn ang="0">
                <a:pos x="connsiteX10817" y="connsiteY10817"/>
              </a:cxn>
              <a:cxn ang="0">
                <a:pos x="connsiteX10818" y="connsiteY10818"/>
              </a:cxn>
              <a:cxn ang="0">
                <a:pos x="connsiteX10819" y="connsiteY10819"/>
              </a:cxn>
              <a:cxn ang="0">
                <a:pos x="connsiteX10820" y="connsiteY10820"/>
              </a:cxn>
              <a:cxn ang="0">
                <a:pos x="connsiteX10821" y="connsiteY10821"/>
              </a:cxn>
              <a:cxn ang="0">
                <a:pos x="connsiteX10822" y="connsiteY10822"/>
              </a:cxn>
              <a:cxn ang="0">
                <a:pos x="connsiteX10823" y="connsiteY10823"/>
              </a:cxn>
              <a:cxn ang="0">
                <a:pos x="connsiteX10824" y="connsiteY10824"/>
              </a:cxn>
              <a:cxn ang="0">
                <a:pos x="connsiteX10825" y="connsiteY10825"/>
              </a:cxn>
              <a:cxn ang="0">
                <a:pos x="connsiteX10826" y="connsiteY10826"/>
              </a:cxn>
              <a:cxn ang="0">
                <a:pos x="connsiteX10827" y="connsiteY10827"/>
              </a:cxn>
              <a:cxn ang="0">
                <a:pos x="connsiteX10828" y="connsiteY10828"/>
              </a:cxn>
              <a:cxn ang="0">
                <a:pos x="connsiteX10829" y="connsiteY10829"/>
              </a:cxn>
              <a:cxn ang="0">
                <a:pos x="connsiteX10830" y="connsiteY10830"/>
              </a:cxn>
              <a:cxn ang="0">
                <a:pos x="connsiteX10831" y="connsiteY10831"/>
              </a:cxn>
              <a:cxn ang="0">
                <a:pos x="connsiteX10832" y="connsiteY10832"/>
              </a:cxn>
              <a:cxn ang="0">
                <a:pos x="connsiteX10833" y="connsiteY10833"/>
              </a:cxn>
              <a:cxn ang="0">
                <a:pos x="connsiteX10834" y="connsiteY10834"/>
              </a:cxn>
              <a:cxn ang="0">
                <a:pos x="connsiteX10835" y="connsiteY10835"/>
              </a:cxn>
              <a:cxn ang="0">
                <a:pos x="connsiteX10836" y="connsiteY10836"/>
              </a:cxn>
              <a:cxn ang="0">
                <a:pos x="connsiteX10837" y="connsiteY10837"/>
              </a:cxn>
              <a:cxn ang="0">
                <a:pos x="connsiteX10838" y="connsiteY10838"/>
              </a:cxn>
              <a:cxn ang="0">
                <a:pos x="connsiteX10839" y="connsiteY10839"/>
              </a:cxn>
              <a:cxn ang="0">
                <a:pos x="connsiteX10840" y="connsiteY10840"/>
              </a:cxn>
              <a:cxn ang="0">
                <a:pos x="connsiteX10841" y="connsiteY10841"/>
              </a:cxn>
              <a:cxn ang="0">
                <a:pos x="connsiteX10842" y="connsiteY10842"/>
              </a:cxn>
              <a:cxn ang="0">
                <a:pos x="connsiteX10843" y="connsiteY10843"/>
              </a:cxn>
              <a:cxn ang="0">
                <a:pos x="connsiteX10844" y="connsiteY10844"/>
              </a:cxn>
              <a:cxn ang="0">
                <a:pos x="connsiteX10845" y="connsiteY10845"/>
              </a:cxn>
              <a:cxn ang="0">
                <a:pos x="connsiteX10846" y="connsiteY10846"/>
              </a:cxn>
              <a:cxn ang="0">
                <a:pos x="connsiteX10847" y="connsiteY10847"/>
              </a:cxn>
              <a:cxn ang="0">
                <a:pos x="connsiteX10848" y="connsiteY10848"/>
              </a:cxn>
              <a:cxn ang="0">
                <a:pos x="connsiteX10849" y="connsiteY10849"/>
              </a:cxn>
              <a:cxn ang="0">
                <a:pos x="connsiteX10850" y="connsiteY10850"/>
              </a:cxn>
              <a:cxn ang="0">
                <a:pos x="connsiteX10851" y="connsiteY10851"/>
              </a:cxn>
              <a:cxn ang="0">
                <a:pos x="connsiteX10852" y="connsiteY10852"/>
              </a:cxn>
              <a:cxn ang="0">
                <a:pos x="connsiteX10853" y="connsiteY10853"/>
              </a:cxn>
              <a:cxn ang="0">
                <a:pos x="connsiteX10854" y="connsiteY10854"/>
              </a:cxn>
              <a:cxn ang="0">
                <a:pos x="connsiteX10855" y="connsiteY10855"/>
              </a:cxn>
              <a:cxn ang="0">
                <a:pos x="connsiteX10856" y="connsiteY10856"/>
              </a:cxn>
              <a:cxn ang="0">
                <a:pos x="connsiteX10857" y="connsiteY10857"/>
              </a:cxn>
              <a:cxn ang="0">
                <a:pos x="connsiteX10858" y="connsiteY10858"/>
              </a:cxn>
              <a:cxn ang="0">
                <a:pos x="connsiteX10859" y="connsiteY10859"/>
              </a:cxn>
              <a:cxn ang="0">
                <a:pos x="connsiteX10860" y="connsiteY10860"/>
              </a:cxn>
              <a:cxn ang="0">
                <a:pos x="connsiteX10861" y="connsiteY10861"/>
              </a:cxn>
              <a:cxn ang="0">
                <a:pos x="connsiteX10862" y="connsiteY10862"/>
              </a:cxn>
              <a:cxn ang="0">
                <a:pos x="connsiteX10863" y="connsiteY10863"/>
              </a:cxn>
              <a:cxn ang="0">
                <a:pos x="connsiteX10864" y="connsiteY10864"/>
              </a:cxn>
              <a:cxn ang="0">
                <a:pos x="connsiteX10865" y="connsiteY10865"/>
              </a:cxn>
              <a:cxn ang="0">
                <a:pos x="connsiteX10866" y="connsiteY10866"/>
              </a:cxn>
              <a:cxn ang="0">
                <a:pos x="connsiteX10867" y="connsiteY10867"/>
              </a:cxn>
              <a:cxn ang="0">
                <a:pos x="connsiteX10868" y="connsiteY10868"/>
              </a:cxn>
              <a:cxn ang="0">
                <a:pos x="connsiteX10869" y="connsiteY10869"/>
              </a:cxn>
              <a:cxn ang="0">
                <a:pos x="connsiteX10870" y="connsiteY10870"/>
              </a:cxn>
              <a:cxn ang="0">
                <a:pos x="connsiteX10871" y="connsiteY10871"/>
              </a:cxn>
              <a:cxn ang="0">
                <a:pos x="connsiteX10872" y="connsiteY10872"/>
              </a:cxn>
              <a:cxn ang="0">
                <a:pos x="connsiteX10873" y="connsiteY10873"/>
              </a:cxn>
              <a:cxn ang="0">
                <a:pos x="connsiteX10874" y="connsiteY10874"/>
              </a:cxn>
              <a:cxn ang="0">
                <a:pos x="connsiteX10875" y="connsiteY10875"/>
              </a:cxn>
              <a:cxn ang="0">
                <a:pos x="connsiteX10876" y="connsiteY10876"/>
              </a:cxn>
              <a:cxn ang="0">
                <a:pos x="connsiteX10877" y="connsiteY10877"/>
              </a:cxn>
              <a:cxn ang="0">
                <a:pos x="connsiteX10878" y="connsiteY10878"/>
              </a:cxn>
              <a:cxn ang="0">
                <a:pos x="connsiteX10879" y="connsiteY10879"/>
              </a:cxn>
              <a:cxn ang="0">
                <a:pos x="connsiteX10880" y="connsiteY10880"/>
              </a:cxn>
              <a:cxn ang="0">
                <a:pos x="connsiteX10881" y="connsiteY10881"/>
              </a:cxn>
              <a:cxn ang="0">
                <a:pos x="connsiteX10882" y="connsiteY10882"/>
              </a:cxn>
              <a:cxn ang="0">
                <a:pos x="connsiteX10883" y="connsiteY10883"/>
              </a:cxn>
              <a:cxn ang="0">
                <a:pos x="connsiteX10884" y="connsiteY10884"/>
              </a:cxn>
              <a:cxn ang="0">
                <a:pos x="connsiteX10885" y="connsiteY10885"/>
              </a:cxn>
              <a:cxn ang="0">
                <a:pos x="connsiteX10886" y="connsiteY10886"/>
              </a:cxn>
              <a:cxn ang="0">
                <a:pos x="connsiteX10887" y="connsiteY10887"/>
              </a:cxn>
              <a:cxn ang="0">
                <a:pos x="connsiteX10888" y="connsiteY10888"/>
              </a:cxn>
              <a:cxn ang="0">
                <a:pos x="connsiteX10889" y="connsiteY10889"/>
              </a:cxn>
              <a:cxn ang="0">
                <a:pos x="connsiteX10890" y="connsiteY10890"/>
              </a:cxn>
              <a:cxn ang="0">
                <a:pos x="connsiteX10891" y="connsiteY10891"/>
              </a:cxn>
              <a:cxn ang="0">
                <a:pos x="connsiteX10892" y="connsiteY10892"/>
              </a:cxn>
              <a:cxn ang="0">
                <a:pos x="connsiteX10893" y="connsiteY10893"/>
              </a:cxn>
              <a:cxn ang="0">
                <a:pos x="connsiteX10894" y="connsiteY10894"/>
              </a:cxn>
              <a:cxn ang="0">
                <a:pos x="connsiteX10895" y="connsiteY10895"/>
              </a:cxn>
              <a:cxn ang="0">
                <a:pos x="connsiteX10896" y="connsiteY10896"/>
              </a:cxn>
              <a:cxn ang="0">
                <a:pos x="connsiteX10897" y="connsiteY10897"/>
              </a:cxn>
              <a:cxn ang="0">
                <a:pos x="connsiteX10898" y="connsiteY10898"/>
              </a:cxn>
              <a:cxn ang="0">
                <a:pos x="connsiteX10899" y="connsiteY10899"/>
              </a:cxn>
              <a:cxn ang="0">
                <a:pos x="connsiteX10900" y="connsiteY10900"/>
              </a:cxn>
              <a:cxn ang="0">
                <a:pos x="connsiteX10901" y="connsiteY10901"/>
              </a:cxn>
              <a:cxn ang="0">
                <a:pos x="connsiteX10902" y="connsiteY10902"/>
              </a:cxn>
              <a:cxn ang="0">
                <a:pos x="connsiteX10903" y="connsiteY10903"/>
              </a:cxn>
              <a:cxn ang="0">
                <a:pos x="connsiteX10904" y="connsiteY10904"/>
              </a:cxn>
              <a:cxn ang="0">
                <a:pos x="connsiteX10905" y="connsiteY10905"/>
              </a:cxn>
              <a:cxn ang="0">
                <a:pos x="connsiteX10906" y="connsiteY10906"/>
              </a:cxn>
              <a:cxn ang="0">
                <a:pos x="connsiteX10907" y="connsiteY10907"/>
              </a:cxn>
              <a:cxn ang="0">
                <a:pos x="connsiteX10908" y="connsiteY10908"/>
              </a:cxn>
              <a:cxn ang="0">
                <a:pos x="connsiteX10909" y="connsiteY10909"/>
              </a:cxn>
              <a:cxn ang="0">
                <a:pos x="connsiteX10910" y="connsiteY10910"/>
              </a:cxn>
              <a:cxn ang="0">
                <a:pos x="connsiteX10911" y="connsiteY10911"/>
              </a:cxn>
              <a:cxn ang="0">
                <a:pos x="connsiteX10912" y="connsiteY10912"/>
              </a:cxn>
              <a:cxn ang="0">
                <a:pos x="connsiteX10913" y="connsiteY10913"/>
              </a:cxn>
              <a:cxn ang="0">
                <a:pos x="connsiteX10914" y="connsiteY10914"/>
              </a:cxn>
              <a:cxn ang="0">
                <a:pos x="connsiteX10915" y="connsiteY10915"/>
              </a:cxn>
              <a:cxn ang="0">
                <a:pos x="connsiteX10916" y="connsiteY10916"/>
              </a:cxn>
              <a:cxn ang="0">
                <a:pos x="connsiteX10917" y="connsiteY10917"/>
              </a:cxn>
              <a:cxn ang="0">
                <a:pos x="connsiteX10918" y="connsiteY10918"/>
              </a:cxn>
              <a:cxn ang="0">
                <a:pos x="connsiteX10919" y="connsiteY10919"/>
              </a:cxn>
              <a:cxn ang="0">
                <a:pos x="connsiteX10920" y="connsiteY10920"/>
              </a:cxn>
              <a:cxn ang="0">
                <a:pos x="connsiteX10921" y="connsiteY10921"/>
              </a:cxn>
              <a:cxn ang="0">
                <a:pos x="connsiteX10922" y="connsiteY10922"/>
              </a:cxn>
              <a:cxn ang="0">
                <a:pos x="connsiteX10923" y="connsiteY10923"/>
              </a:cxn>
              <a:cxn ang="0">
                <a:pos x="connsiteX10924" y="connsiteY10924"/>
              </a:cxn>
              <a:cxn ang="0">
                <a:pos x="connsiteX10925" y="connsiteY10925"/>
              </a:cxn>
              <a:cxn ang="0">
                <a:pos x="connsiteX10926" y="connsiteY10926"/>
              </a:cxn>
              <a:cxn ang="0">
                <a:pos x="connsiteX10927" y="connsiteY10927"/>
              </a:cxn>
              <a:cxn ang="0">
                <a:pos x="connsiteX10928" y="connsiteY10928"/>
              </a:cxn>
              <a:cxn ang="0">
                <a:pos x="connsiteX10929" y="connsiteY10929"/>
              </a:cxn>
              <a:cxn ang="0">
                <a:pos x="connsiteX10930" y="connsiteY10930"/>
              </a:cxn>
              <a:cxn ang="0">
                <a:pos x="connsiteX10931" y="connsiteY10931"/>
              </a:cxn>
              <a:cxn ang="0">
                <a:pos x="connsiteX10932" y="connsiteY10932"/>
              </a:cxn>
              <a:cxn ang="0">
                <a:pos x="connsiteX10933" y="connsiteY10933"/>
              </a:cxn>
              <a:cxn ang="0">
                <a:pos x="connsiteX10934" y="connsiteY10934"/>
              </a:cxn>
              <a:cxn ang="0">
                <a:pos x="connsiteX10935" y="connsiteY10935"/>
              </a:cxn>
              <a:cxn ang="0">
                <a:pos x="connsiteX10936" y="connsiteY10936"/>
              </a:cxn>
              <a:cxn ang="0">
                <a:pos x="connsiteX10937" y="connsiteY10937"/>
              </a:cxn>
              <a:cxn ang="0">
                <a:pos x="connsiteX10938" y="connsiteY10938"/>
              </a:cxn>
              <a:cxn ang="0">
                <a:pos x="connsiteX10939" y="connsiteY10939"/>
              </a:cxn>
              <a:cxn ang="0">
                <a:pos x="connsiteX10940" y="connsiteY10940"/>
              </a:cxn>
              <a:cxn ang="0">
                <a:pos x="connsiteX10941" y="connsiteY10941"/>
              </a:cxn>
              <a:cxn ang="0">
                <a:pos x="connsiteX10942" y="connsiteY10942"/>
              </a:cxn>
              <a:cxn ang="0">
                <a:pos x="connsiteX10943" y="connsiteY10943"/>
              </a:cxn>
              <a:cxn ang="0">
                <a:pos x="connsiteX10944" y="connsiteY10944"/>
              </a:cxn>
              <a:cxn ang="0">
                <a:pos x="connsiteX10945" y="connsiteY10945"/>
              </a:cxn>
              <a:cxn ang="0">
                <a:pos x="connsiteX10946" y="connsiteY10946"/>
              </a:cxn>
              <a:cxn ang="0">
                <a:pos x="connsiteX10947" y="connsiteY10947"/>
              </a:cxn>
              <a:cxn ang="0">
                <a:pos x="connsiteX10948" y="connsiteY10948"/>
              </a:cxn>
              <a:cxn ang="0">
                <a:pos x="connsiteX10949" y="connsiteY10949"/>
              </a:cxn>
              <a:cxn ang="0">
                <a:pos x="connsiteX10950" y="connsiteY10950"/>
              </a:cxn>
              <a:cxn ang="0">
                <a:pos x="connsiteX10951" y="connsiteY10951"/>
              </a:cxn>
              <a:cxn ang="0">
                <a:pos x="connsiteX10952" y="connsiteY10952"/>
              </a:cxn>
              <a:cxn ang="0">
                <a:pos x="connsiteX10953" y="connsiteY10953"/>
              </a:cxn>
              <a:cxn ang="0">
                <a:pos x="connsiteX10954" y="connsiteY10954"/>
              </a:cxn>
              <a:cxn ang="0">
                <a:pos x="connsiteX10955" y="connsiteY10955"/>
              </a:cxn>
              <a:cxn ang="0">
                <a:pos x="connsiteX10956" y="connsiteY10956"/>
              </a:cxn>
              <a:cxn ang="0">
                <a:pos x="connsiteX10957" y="connsiteY10957"/>
              </a:cxn>
              <a:cxn ang="0">
                <a:pos x="connsiteX10958" y="connsiteY10958"/>
              </a:cxn>
              <a:cxn ang="0">
                <a:pos x="connsiteX10959" y="connsiteY10959"/>
              </a:cxn>
              <a:cxn ang="0">
                <a:pos x="connsiteX10960" y="connsiteY10960"/>
              </a:cxn>
              <a:cxn ang="0">
                <a:pos x="connsiteX10961" y="connsiteY10961"/>
              </a:cxn>
              <a:cxn ang="0">
                <a:pos x="connsiteX10962" y="connsiteY10962"/>
              </a:cxn>
              <a:cxn ang="0">
                <a:pos x="connsiteX10963" y="connsiteY10963"/>
              </a:cxn>
              <a:cxn ang="0">
                <a:pos x="connsiteX10964" y="connsiteY10964"/>
              </a:cxn>
              <a:cxn ang="0">
                <a:pos x="connsiteX10965" y="connsiteY10965"/>
              </a:cxn>
              <a:cxn ang="0">
                <a:pos x="connsiteX10966" y="connsiteY10966"/>
              </a:cxn>
              <a:cxn ang="0">
                <a:pos x="connsiteX10967" y="connsiteY10967"/>
              </a:cxn>
              <a:cxn ang="0">
                <a:pos x="connsiteX10968" y="connsiteY10968"/>
              </a:cxn>
              <a:cxn ang="0">
                <a:pos x="connsiteX10969" y="connsiteY10969"/>
              </a:cxn>
              <a:cxn ang="0">
                <a:pos x="connsiteX10970" y="connsiteY10970"/>
              </a:cxn>
              <a:cxn ang="0">
                <a:pos x="connsiteX10971" y="connsiteY10971"/>
              </a:cxn>
              <a:cxn ang="0">
                <a:pos x="connsiteX10972" y="connsiteY10972"/>
              </a:cxn>
              <a:cxn ang="0">
                <a:pos x="connsiteX10973" y="connsiteY10973"/>
              </a:cxn>
              <a:cxn ang="0">
                <a:pos x="connsiteX10974" y="connsiteY10974"/>
              </a:cxn>
              <a:cxn ang="0">
                <a:pos x="connsiteX10975" y="connsiteY10975"/>
              </a:cxn>
              <a:cxn ang="0">
                <a:pos x="connsiteX10976" y="connsiteY10976"/>
              </a:cxn>
              <a:cxn ang="0">
                <a:pos x="connsiteX10977" y="connsiteY10977"/>
              </a:cxn>
              <a:cxn ang="0">
                <a:pos x="connsiteX10978" y="connsiteY10978"/>
              </a:cxn>
              <a:cxn ang="0">
                <a:pos x="connsiteX10979" y="connsiteY10979"/>
              </a:cxn>
              <a:cxn ang="0">
                <a:pos x="connsiteX10980" y="connsiteY10980"/>
              </a:cxn>
              <a:cxn ang="0">
                <a:pos x="connsiteX10981" y="connsiteY10981"/>
              </a:cxn>
              <a:cxn ang="0">
                <a:pos x="connsiteX10982" y="connsiteY10982"/>
              </a:cxn>
              <a:cxn ang="0">
                <a:pos x="connsiteX10983" y="connsiteY10983"/>
              </a:cxn>
              <a:cxn ang="0">
                <a:pos x="connsiteX10984" y="connsiteY10984"/>
              </a:cxn>
              <a:cxn ang="0">
                <a:pos x="connsiteX10985" y="connsiteY10985"/>
              </a:cxn>
              <a:cxn ang="0">
                <a:pos x="connsiteX10986" y="connsiteY10986"/>
              </a:cxn>
              <a:cxn ang="0">
                <a:pos x="connsiteX10987" y="connsiteY10987"/>
              </a:cxn>
              <a:cxn ang="0">
                <a:pos x="connsiteX10988" y="connsiteY10988"/>
              </a:cxn>
              <a:cxn ang="0">
                <a:pos x="connsiteX10989" y="connsiteY10989"/>
              </a:cxn>
              <a:cxn ang="0">
                <a:pos x="connsiteX10990" y="connsiteY10990"/>
              </a:cxn>
              <a:cxn ang="0">
                <a:pos x="connsiteX10991" y="connsiteY10991"/>
              </a:cxn>
              <a:cxn ang="0">
                <a:pos x="connsiteX10992" y="connsiteY10992"/>
              </a:cxn>
              <a:cxn ang="0">
                <a:pos x="connsiteX10993" y="connsiteY10993"/>
              </a:cxn>
              <a:cxn ang="0">
                <a:pos x="connsiteX10994" y="connsiteY10994"/>
              </a:cxn>
              <a:cxn ang="0">
                <a:pos x="connsiteX10995" y="connsiteY10995"/>
              </a:cxn>
              <a:cxn ang="0">
                <a:pos x="connsiteX10996" y="connsiteY10996"/>
              </a:cxn>
              <a:cxn ang="0">
                <a:pos x="connsiteX10997" y="connsiteY10997"/>
              </a:cxn>
              <a:cxn ang="0">
                <a:pos x="connsiteX10998" y="connsiteY10998"/>
              </a:cxn>
              <a:cxn ang="0">
                <a:pos x="connsiteX10999" y="connsiteY10999"/>
              </a:cxn>
              <a:cxn ang="0">
                <a:pos x="connsiteX11000" y="connsiteY11000"/>
              </a:cxn>
              <a:cxn ang="0">
                <a:pos x="connsiteX11001" y="connsiteY11001"/>
              </a:cxn>
              <a:cxn ang="0">
                <a:pos x="connsiteX11002" y="connsiteY11002"/>
              </a:cxn>
              <a:cxn ang="0">
                <a:pos x="connsiteX11003" y="connsiteY11003"/>
              </a:cxn>
              <a:cxn ang="0">
                <a:pos x="connsiteX11004" y="connsiteY11004"/>
              </a:cxn>
              <a:cxn ang="0">
                <a:pos x="connsiteX11005" y="connsiteY11005"/>
              </a:cxn>
              <a:cxn ang="0">
                <a:pos x="connsiteX11006" y="connsiteY11006"/>
              </a:cxn>
              <a:cxn ang="0">
                <a:pos x="connsiteX11007" y="connsiteY11007"/>
              </a:cxn>
              <a:cxn ang="0">
                <a:pos x="connsiteX11008" y="connsiteY11008"/>
              </a:cxn>
              <a:cxn ang="0">
                <a:pos x="connsiteX11009" y="connsiteY11009"/>
              </a:cxn>
              <a:cxn ang="0">
                <a:pos x="connsiteX11010" y="connsiteY11010"/>
              </a:cxn>
              <a:cxn ang="0">
                <a:pos x="connsiteX11011" y="connsiteY11011"/>
              </a:cxn>
              <a:cxn ang="0">
                <a:pos x="connsiteX11012" y="connsiteY11012"/>
              </a:cxn>
              <a:cxn ang="0">
                <a:pos x="connsiteX11013" y="connsiteY11013"/>
              </a:cxn>
              <a:cxn ang="0">
                <a:pos x="connsiteX11014" y="connsiteY11014"/>
              </a:cxn>
              <a:cxn ang="0">
                <a:pos x="connsiteX11015" y="connsiteY11015"/>
              </a:cxn>
              <a:cxn ang="0">
                <a:pos x="connsiteX11016" y="connsiteY11016"/>
              </a:cxn>
              <a:cxn ang="0">
                <a:pos x="connsiteX11017" y="connsiteY11017"/>
              </a:cxn>
              <a:cxn ang="0">
                <a:pos x="connsiteX11018" y="connsiteY11018"/>
              </a:cxn>
              <a:cxn ang="0">
                <a:pos x="connsiteX11019" y="connsiteY11019"/>
              </a:cxn>
              <a:cxn ang="0">
                <a:pos x="connsiteX11020" y="connsiteY11020"/>
              </a:cxn>
              <a:cxn ang="0">
                <a:pos x="connsiteX11021" y="connsiteY11021"/>
              </a:cxn>
              <a:cxn ang="0">
                <a:pos x="connsiteX11022" y="connsiteY11022"/>
              </a:cxn>
              <a:cxn ang="0">
                <a:pos x="connsiteX11023" y="connsiteY11023"/>
              </a:cxn>
              <a:cxn ang="0">
                <a:pos x="connsiteX11024" y="connsiteY11024"/>
              </a:cxn>
              <a:cxn ang="0">
                <a:pos x="connsiteX11025" y="connsiteY11025"/>
              </a:cxn>
              <a:cxn ang="0">
                <a:pos x="connsiteX11026" y="connsiteY11026"/>
              </a:cxn>
              <a:cxn ang="0">
                <a:pos x="connsiteX11027" y="connsiteY11027"/>
              </a:cxn>
              <a:cxn ang="0">
                <a:pos x="connsiteX11028" y="connsiteY11028"/>
              </a:cxn>
              <a:cxn ang="0">
                <a:pos x="connsiteX11029" y="connsiteY11029"/>
              </a:cxn>
              <a:cxn ang="0">
                <a:pos x="connsiteX11030" y="connsiteY11030"/>
              </a:cxn>
              <a:cxn ang="0">
                <a:pos x="connsiteX11031" y="connsiteY11031"/>
              </a:cxn>
              <a:cxn ang="0">
                <a:pos x="connsiteX11032" y="connsiteY11032"/>
              </a:cxn>
              <a:cxn ang="0">
                <a:pos x="connsiteX11033" y="connsiteY11033"/>
              </a:cxn>
              <a:cxn ang="0">
                <a:pos x="connsiteX11034" y="connsiteY11034"/>
              </a:cxn>
              <a:cxn ang="0">
                <a:pos x="connsiteX11035" y="connsiteY11035"/>
              </a:cxn>
              <a:cxn ang="0">
                <a:pos x="connsiteX11036" y="connsiteY11036"/>
              </a:cxn>
              <a:cxn ang="0">
                <a:pos x="connsiteX11037" y="connsiteY11037"/>
              </a:cxn>
              <a:cxn ang="0">
                <a:pos x="connsiteX11038" y="connsiteY11038"/>
              </a:cxn>
              <a:cxn ang="0">
                <a:pos x="connsiteX11039" y="connsiteY11039"/>
              </a:cxn>
              <a:cxn ang="0">
                <a:pos x="connsiteX11040" y="connsiteY11040"/>
              </a:cxn>
              <a:cxn ang="0">
                <a:pos x="connsiteX11041" y="connsiteY11041"/>
              </a:cxn>
              <a:cxn ang="0">
                <a:pos x="connsiteX11042" y="connsiteY11042"/>
              </a:cxn>
              <a:cxn ang="0">
                <a:pos x="connsiteX11043" y="connsiteY11043"/>
              </a:cxn>
              <a:cxn ang="0">
                <a:pos x="connsiteX11044" y="connsiteY11044"/>
              </a:cxn>
              <a:cxn ang="0">
                <a:pos x="connsiteX11045" y="connsiteY11045"/>
              </a:cxn>
              <a:cxn ang="0">
                <a:pos x="connsiteX11046" y="connsiteY11046"/>
              </a:cxn>
              <a:cxn ang="0">
                <a:pos x="connsiteX11047" y="connsiteY11047"/>
              </a:cxn>
              <a:cxn ang="0">
                <a:pos x="connsiteX11048" y="connsiteY11048"/>
              </a:cxn>
              <a:cxn ang="0">
                <a:pos x="connsiteX11049" y="connsiteY11049"/>
              </a:cxn>
              <a:cxn ang="0">
                <a:pos x="connsiteX11050" y="connsiteY11050"/>
              </a:cxn>
              <a:cxn ang="0">
                <a:pos x="connsiteX11051" y="connsiteY11051"/>
              </a:cxn>
              <a:cxn ang="0">
                <a:pos x="connsiteX11052" y="connsiteY11052"/>
              </a:cxn>
              <a:cxn ang="0">
                <a:pos x="connsiteX11053" y="connsiteY11053"/>
              </a:cxn>
              <a:cxn ang="0">
                <a:pos x="connsiteX11054" y="connsiteY11054"/>
              </a:cxn>
              <a:cxn ang="0">
                <a:pos x="connsiteX11055" y="connsiteY11055"/>
              </a:cxn>
              <a:cxn ang="0">
                <a:pos x="connsiteX11056" y="connsiteY11056"/>
              </a:cxn>
              <a:cxn ang="0">
                <a:pos x="connsiteX11057" y="connsiteY11057"/>
              </a:cxn>
              <a:cxn ang="0">
                <a:pos x="connsiteX11058" y="connsiteY11058"/>
              </a:cxn>
              <a:cxn ang="0">
                <a:pos x="connsiteX11059" y="connsiteY11059"/>
              </a:cxn>
              <a:cxn ang="0">
                <a:pos x="connsiteX11060" y="connsiteY11060"/>
              </a:cxn>
              <a:cxn ang="0">
                <a:pos x="connsiteX11061" y="connsiteY11061"/>
              </a:cxn>
              <a:cxn ang="0">
                <a:pos x="connsiteX11062" y="connsiteY11062"/>
              </a:cxn>
              <a:cxn ang="0">
                <a:pos x="connsiteX11063" y="connsiteY11063"/>
              </a:cxn>
              <a:cxn ang="0">
                <a:pos x="connsiteX11064" y="connsiteY11064"/>
              </a:cxn>
              <a:cxn ang="0">
                <a:pos x="connsiteX11065" y="connsiteY11065"/>
              </a:cxn>
              <a:cxn ang="0">
                <a:pos x="connsiteX11066" y="connsiteY11066"/>
              </a:cxn>
              <a:cxn ang="0">
                <a:pos x="connsiteX11067" y="connsiteY11067"/>
              </a:cxn>
              <a:cxn ang="0">
                <a:pos x="connsiteX11068" y="connsiteY11068"/>
              </a:cxn>
              <a:cxn ang="0">
                <a:pos x="connsiteX11069" y="connsiteY11069"/>
              </a:cxn>
              <a:cxn ang="0">
                <a:pos x="connsiteX11070" y="connsiteY11070"/>
              </a:cxn>
              <a:cxn ang="0">
                <a:pos x="connsiteX11071" y="connsiteY11071"/>
              </a:cxn>
              <a:cxn ang="0">
                <a:pos x="connsiteX11072" y="connsiteY11072"/>
              </a:cxn>
              <a:cxn ang="0">
                <a:pos x="connsiteX11073" y="connsiteY11073"/>
              </a:cxn>
              <a:cxn ang="0">
                <a:pos x="connsiteX11074" y="connsiteY11074"/>
              </a:cxn>
              <a:cxn ang="0">
                <a:pos x="connsiteX11075" y="connsiteY11075"/>
              </a:cxn>
              <a:cxn ang="0">
                <a:pos x="connsiteX11076" y="connsiteY11076"/>
              </a:cxn>
              <a:cxn ang="0">
                <a:pos x="connsiteX11077" y="connsiteY11077"/>
              </a:cxn>
              <a:cxn ang="0">
                <a:pos x="connsiteX11078" y="connsiteY11078"/>
              </a:cxn>
              <a:cxn ang="0">
                <a:pos x="connsiteX11079" y="connsiteY11079"/>
              </a:cxn>
              <a:cxn ang="0">
                <a:pos x="connsiteX11080" y="connsiteY11080"/>
              </a:cxn>
              <a:cxn ang="0">
                <a:pos x="connsiteX11081" y="connsiteY11081"/>
              </a:cxn>
              <a:cxn ang="0">
                <a:pos x="connsiteX11082" y="connsiteY11082"/>
              </a:cxn>
              <a:cxn ang="0">
                <a:pos x="connsiteX11083" y="connsiteY11083"/>
              </a:cxn>
              <a:cxn ang="0">
                <a:pos x="connsiteX11084" y="connsiteY11084"/>
              </a:cxn>
              <a:cxn ang="0">
                <a:pos x="connsiteX11085" y="connsiteY11085"/>
              </a:cxn>
              <a:cxn ang="0">
                <a:pos x="connsiteX11086" y="connsiteY11086"/>
              </a:cxn>
              <a:cxn ang="0">
                <a:pos x="connsiteX11087" y="connsiteY11087"/>
              </a:cxn>
              <a:cxn ang="0">
                <a:pos x="connsiteX11088" y="connsiteY11088"/>
              </a:cxn>
              <a:cxn ang="0">
                <a:pos x="connsiteX11089" y="connsiteY11089"/>
              </a:cxn>
              <a:cxn ang="0">
                <a:pos x="connsiteX11090" y="connsiteY11090"/>
              </a:cxn>
              <a:cxn ang="0">
                <a:pos x="connsiteX11091" y="connsiteY11091"/>
              </a:cxn>
              <a:cxn ang="0">
                <a:pos x="connsiteX11092" y="connsiteY11092"/>
              </a:cxn>
              <a:cxn ang="0">
                <a:pos x="connsiteX11093" y="connsiteY11093"/>
              </a:cxn>
              <a:cxn ang="0">
                <a:pos x="connsiteX11094" y="connsiteY11094"/>
              </a:cxn>
              <a:cxn ang="0">
                <a:pos x="connsiteX11095" y="connsiteY11095"/>
              </a:cxn>
              <a:cxn ang="0">
                <a:pos x="connsiteX11096" y="connsiteY11096"/>
              </a:cxn>
              <a:cxn ang="0">
                <a:pos x="connsiteX11097" y="connsiteY11097"/>
              </a:cxn>
              <a:cxn ang="0">
                <a:pos x="connsiteX11098" y="connsiteY11098"/>
              </a:cxn>
              <a:cxn ang="0">
                <a:pos x="connsiteX11099" y="connsiteY11099"/>
              </a:cxn>
              <a:cxn ang="0">
                <a:pos x="connsiteX11100" y="connsiteY11100"/>
              </a:cxn>
              <a:cxn ang="0">
                <a:pos x="connsiteX11101" y="connsiteY11101"/>
              </a:cxn>
              <a:cxn ang="0">
                <a:pos x="connsiteX11102" y="connsiteY11102"/>
              </a:cxn>
              <a:cxn ang="0">
                <a:pos x="connsiteX11103" y="connsiteY11103"/>
              </a:cxn>
              <a:cxn ang="0">
                <a:pos x="connsiteX11104" y="connsiteY11104"/>
              </a:cxn>
              <a:cxn ang="0">
                <a:pos x="connsiteX11105" y="connsiteY11105"/>
              </a:cxn>
              <a:cxn ang="0">
                <a:pos x="connsiteX11106" y="connsiteY11106"/>
              </a:cxn>
              <a:cxn ang="0">
                <a:pos x="connsiteX11107" y="connsiteY11107"/>
              </a:cxn>
              <a:cxn ang="0">
                <a:pos x="connsiteX11108" y="connsiteY11108"/>
              </a:cxn>
              <a:cxn ang="0">
                <a:pos x="connsiteX11109" y="connsiteY11109"/>
              </a:cxn>
              <a:cxn ang="0">
                <a:pos x="connsiteX11110" y="connsiteY11110"/>
              </a:cxn>
              <a:cxn ang="0">
                <a:pos x="connsiteX11111" y="connsiteY11111"/>
              </a:cxn>
              <a:cxn ang="0">
                <a:pos x="connsiteX11112" y="connsiteY11112"/>
              </a:cxn>
              <a:cxn ang="0">
                <a:pos x="connsiteX11113" y="connsiteY11113"/>
              </a:cxn>
              <a:cxn ang="0">
                <a:pos x="connsiteX11114" y="connsiteY11114"/>
              </a:cxn>
              <a:cxn ang="0">
                <a:pos x="connsiteX11115" y="connsiteY11115"/>
              </a:cxn>
              <a:cxn ang="0">
                <a:pos x="connsiteX11116" y="connsiteY11116"/>
              </a:cxn>
              <a:cxn ang="0">
                <a:pos x="connsiteX11117" y="connsiteY11117"/>
              </a:cxn>
              <a:cxn ang="0">
                <a:pos x="connsiteX11118" y="connsiteY11118"/>
              </a:cxn>
              <a:cxn ang="0">
                <a:pos x="connsiteX11119" y="connsiteY11119"/>
              </a:cxn>
              <a:cxn ang="0">
                <a:pos x="connsiteX11120" y="connsiteY11120"/>
              </a:cxn>
              <a:cxn ang="0">
                <a:pos x="connsiteX11121" y="connsiteY11121"/>
              </a:cxn>
              <a:cxn ang="0">
                <a:pos x="connsiteX11122" y="connsiteY11122"/>
              </a:cxn>
              <a:cxn ang="0">
                <a:pos x="connsiteX11123" y="connsiteY11123"/>
              </a:cxn>
              <a:cxn ang="0">
                <a:pos x="connsiteX11124" y="connsiteY11124"/>
              </a:cxn>
              <a:cxn ang="0">
                <a:pos x="connsiteX11125" y="connsiteY11125"/>
              </a:cxn>
              <a:cxn ang="0">
                <a:pos x="connsiteX11126" y="connsiteY11126"/>
              </a:cxn>
              <a:cxn ang="0">
                <a:pos x="connsiteX11127" y="connsiteY11127"/>
              </a:cxn>
              <a:cxn ang="0">
                <a:pos x="connsiteX11128" y="connsiteY11128"/>
              </a:cxn>
              <a:cxn ang="0">
                <a:pos x="connsiteX11129" y="connsiteY11129"/>
              </a:cxn>
              <a:cxn ang="0">
                <a:pos x="connsiteX11130" y="connsiteY11130"/>
              </a:cxn>
              <a:cxn ang="0">
                <a:pos x="connsiteX11131" y="connsiteY11131"/>
              </a:cxn>
              <a:cxn ang="0">
                <a:pos x="connsiteX11132" y="connsiteY11132"/>
              </a:cxn>
              <a:cxn ang="0">
                <a:pos x="connsiteX11133" y="connsiteY11133"/>
              </a:cxn>
              <a:cxn ang="0">
                <a:pos x="connsiteX11134" y="connsiteY11134"/>
              </a:cxn>
              <a:cxn ang="0">
                <a:pos x="connsiteX11135" y="connsiteY11135"/>
              </a:cxn>
              <a:cxn ang="0">
                <a:pos x="connsiteX11136" y="connsiteY11136"/>
              </a:cxn>
              <a:cxn ang="0">
                <a:pos x="connsiteX11137" y="connsiteY11137"/>
              </a:cxn>
              <a:cxn ang="0">
                <a:pos x="connsiteX11138" y="connsiteY11138"/>
              </a:cxn>
              <a:cxn ang="0">
                <a:pos x="connsiteX11139" y="connsiteY11139"/>
              </a:cxn>
              <a:cxn ang="0">
                <a:pos x="connsiteX11140" y="connsiteY11140"/>
              </a:cxn>
              <a:cxn ang="0">
                <a:pos x="connsiteX11141" y="connsiteY11141"/>
              </a:cxn>
              <a:cxn ang="0">
                <a:pos x="connsiteX11142" y="connsiteY11142"/>
              </a:cxn>
              <a:cxn ang="0">
                <a:pos x="connsiteX11143" y="connsiteY11143"/>
              </a:cxn>
              <a:cxn ang="0">
                <a:pos x="connsiteX11144" y="connsiteY11144"/>
              </a:cxn>
              <a:cxn ang="0">
                <a:pos x="connsiteX11145" y="connsiteY11145"/>
              </a:cxn>
              <a:cxn ang="0">
                <a:pos x="connsiteX11146" y="connsiteY11146"/>
              </a:cxn>
              <a:cxn ang="0">
                <a:pos x="connsiteX11147" y="connsiteY11147"/>
              </a:cxn>
              <a:cxn ang="0">
                <a:pos x="connsiteX11148" y="connsiteY11148"/>
              </a:cxn>
              <a:cxn ang="0">
                <a:pos x="connsiteX11149" y="connsiteY11149"/>
              </a:cxn>
              <a:cxn ang="0">
                <a:pos x="connsiteX11150" y="connsiteY11150"/>
              </a:cxn>
              <a:cxn ang="0">
                <a:pos x="connsiteX11151" y="connsiteY11151"/>
              </a:cxn>
              <a:cxn ang="0">
                <a:pos x="connsiteX11152" y="connsiteY11152"/>
              </a:cxn>
              <a:cxn ang="0">
                <a:pos x="connsiteX11153" y="connsiteY11153"/>
              </a:cxn>
              <a:cxn ang="0">
                <a:pos x="connsiteX11154" y="connsiteY11154"/>
              </a:cxn>
              <a:cxn ang="0">
                <a:pos x="connsiteX11155" y="connsiteY11155"/>
              </a:cxn>
              <a:cxn ang="0">
                <a:pos x="connsiteX11156" y="connsiteY11156"/>
              </a:cxn>
              <a:cxn ang="0">
                <a:pos x="connsiteX11157" y="connsiteY11157"/>
              </a:cxn>
              <a:cxn ang="0">
                <a:pos x="connsiteX11158" y="connsiteY11158"/>
              </a:cxn>
              <a:cxn ang="0">
                <a:pos x="connsiteX11159" y="connsiteY11159"/>
              </a:cxn>
              <a:cxn ang="0">
                <a:pos x="connsiteX11160" y="connsiteY11160"/>
              </a:cxn>
              <a:cxn ang="0">
                <a:pos x="connsiteX11161" y="connsiteY11161"/>
              </a:cxn>
              <a:cxn ang="0">
                <a:pos x="connsiteX11162" y="connsiteY11162"/>
              </a:cxn>
              <a:cxn ang="0">
                <a:pos x="connsiteX11163" y="connsiteY11163"/>
              </a:cxn>
              <a:cxn ang="0">
                <a:pos x="connsiteX11164" y="connsiteY11164"/>
              </a:cxn>
              <a:cxn ang="0">
                <a:pos x="connsiteX11165" y="connsiteY11165"/>
              </a:cxn>
              <a:cxn ang="0">
                <a:pos x="connsiteX11166" y="connsiteY11166"/>
              </a:cxn>
              <a:cxn ang="0">
                <a:pos x="connsiteX11167" y="connsiteY11167"/>
              </a:cxn>
              <a:cxn ang="0">
                <a:pos x="connsiteX11168" y="connsiteY11168"/>
              </a:cxn>
              <a:cxn ang="0">
                <a:pos x="connsiteX11169" y="connsiteY11169"/>
              </a:cxn>
              <a:cxn ang="0">
                <a:pos x="connsiteX11170" y="connsiteY11170"/>
              </a:cxn>
              <a:cxn ang="0">
                <a:pos x="connsiteX11171" y="connsiteY11171"/>
              </a:cxn>
              <a:cxn ang="0">
                <a:pos x="connsiteX11172" y="connsiteY11172"/>
              </a:cxn>
              <a:cxn ang="0">
                <a:pos x="connsiteX11173" y="connsiteY11173"/>
              </a:cxn>
              <a:cxn ang="0">
                <a:pos x="connsiteX11174" y="connsiteY11174"/>
              </a:cxn>
              <a:cxn ang="0">
                <a:pos x="connsiteX11175" y="connsiteY11175"/>
              </a:cxn>
              <a:cxn ang="0">
                <a:pos x="connsiteX11176" y="connsiteY11176"/>
              </a:cxn>
              <a:cxn ang="0">
                <a:pos x="connsiteX11177" y="connsiteY11177"/>
              </a:cxn>
              <a:cxn ang="0">
                <a:pos x="connsiteX11178" y="connsiteY11178"/>
              </a:cxn>
              <a:cxn ang="0">
                <a:pos x="connsiteX11179" y="connsiteY11179"/>
              </a:cxn>
              <a:cxn ang="0">
                <a:pos x="connsiteX11180" y="connsiteY11180"/>
              </a:cxn>
              <a:cxn ang="0">
                <a:pos x="connsiteX11181" y="connsiteY11181"/>
              </a:cxn>
              <a:cxn ang="0">
                <a:pos x="connsiteX11182" y="connsiteY11182"/>
              </a:cxn>
              <a:cxn ang="0">
                <a:pos x="connsiteX11183" y="connsiteY11183"/>
              </a:cxn>
              <a:cxn ang="0">
                <a:pos x="connsiteX11184" y="connsiteY11184"/>
              </a:cxn>
              <a:cxn ang="0">
                <a:pos x="connsiteX11185" y="connsiteY11185"/>
              </a:cxn>
              <a:cxn ang="0">
                <a:pos x="connsiteX11186" y="connsiteY11186"/>
              </a:cxn>
              <a:cxn ang="0">
                <a:pos x="connsiteX11187" y="connsiteY11187"/>
              </a:cxn>
              <a:cxn ang="0">
                <a:pos x="connsiteX11188" y="connsiteY11188"/>
              </a:cxn>
              <a:cxn ang="0">
                <a:pos x="connsiteX11189" y="connsiteY11189"/>
              </a:cxn>
              <a:cxn ang="0">
                <a:pos x="connsiteX11190" y="connsiteY11190"/>
              </a:cxn>
              <a:cxn ang="0">
                <a:pos x="connsiteX11191" y="connsiteY11191"/>
              </a:cxn>
              <a:cxn ang="0">
                <a:pos x="connsiteX11192" y="connsiteY11192"/>
              </a:cxn>
              <a:cxn ang="0">
                <a:pos x="connsiteX11193" y="connsiteY11193"/>
              </a:cxn>
              <a:cxn ang="0">
                <a:pos x="connsiteX11194" y="connsiteY11194"/>
              </a:cxn>
              <a:cxn ang="0">
                <a:pos x="connsiteX11195" y="connsiteY11195"/>
              </a:cxn>
              <a:cxn ang="0">
                <a:pos x="connsiteX11196" y="connsiteY11196"/>
              </a:cxn>
              <a:cxn ang="0">
                <a:pos x="connsiteX11197" y="connsiteY11197"/>
              </a:cxn>
              <a:cxn ang="0">
                <a:pos x="connsiteX11198" y="connsiteY11198"/>
              </a:cxn>
              <a:cxn ang="0">
                <a:pos x="connsiteX11199" y="connsiteY11199"/>
              </a:cxn>
              <a:cxn ang="0">
                <a:pos x="connsiteX11200" y="connsiteY11200"/>
              </a:cxn>
              <a:cxn ang="0">
                <a:pos x="connsiteX11201" y="connsiteY11201"/>
              </a:cxn>
              <a:cxn ang="0">
                <a:pos x="connsiteX11202" y="connsiteY11202"/>
              </a:cxn>
              <a:cxn ang="0">
                <a:pos x="connsiteX11203" y="connsiteY11203"/>
              </a:cxn>
              <a:cxn ang="0">
                <a:pos x="connsiteX11204" y="connsiteY11204"/>
              </a:cxn>
              <a:cxn ang="0">
                <a:pos x="connsiteX11205" y="connsiteY11205"/>
              </a:cxn>
              <a:cxn ang="0">
                <a:pos x="connsiteX11206" y="connsiteY11206"/>
              </a:cxn>
              <a:cxn ang="0">
                <a:pos x="connsiteX11207" y="connsiteY11207"/>
              </a:cxn>
              <a:cxn ang="0">
                <a:pos x="connsiteX11208" y="connsiteY11208"/>
              </a:cxn>
              <a:cxn ang="0">
                <a:pos x="connsiteX11209" y="connsiteY11209"/>
              </a:cxn>
              <a:cxn ang="0">
                <a:pos x="connsiteX11210" y="connsiteY11210"/>
              </a:cxn>
              <a:cxn ang="0">
                <a:pos x="connsiteX11211" y="connsiteY11211"/>
              </a:cxn>
              <a:cxn ang="0">
                <a:pos x="connsiteX11212" y="connsiteY11212"/>
              </a:cxn>
              <a:cxn ang="0">
                <a:pos x="connsiteX11213" y="connsiteY11213"/>
              </a:cxn>
              <a:cxn ang="0">
                <a:pos x="connsiteX11214" y="connsiteY11214"/>
              </a:cxn>
              <a:cxn ang="0">
                <a:pos x="connsiteX11215" y="connsiteY11215"/>
              </a:cxn>
              <a:cxn ang="0">
                <a:pos x="connsiteX11216" y="connsiteY11216"/>
              </a:cxn>
              <a:cxn ang="0">
                <a:pos x="connsiteX11217" y="connsiteY11217"/>
              </a:cxn>
              <a:cxn ang="0">
                <a:pos x="connsiteX11218" y="connsiteY11218"/>
              </a:cxn>
              <a:cxn ang="0">
                <a:pos x="connsiteX11219" y="connsiteY11219"/>
              </a:cxn>
              <a:cxn ang="0">
                <a:pos x="connsiteX11220" y="connsiteY11220"/>
              </a:cxn>
              <a:cxn ang="0">
                <a:pos x="connsiteX11221" y="connsiteY11221"/>
              </a:cxn>
              <a:cxn ang="0">
                <a:pos x="connsiteX11222" y="connsiteY11222"/>
              </a:cxn>
              <a:cxn ang="0">
                <a:pos x="connsiteX11223" y="connsiteY11223"/>
              </a:cxn>
              <a:cxn ang="0">
                <a:pos x="connsiteX11224" y="connsiteY11224"/>
              </a:cxn>
              <a:cxn ang="0">
                <a:pos x="connsiteX11225" y="connsiteY11225"/>
              </a:cxn>
              <a:cxn ang="0">
                <a:pos x="connsiteX11226" y="connsiteY11226"/>
              </a:cxn>
              <a:cxn ang="0">
                <a:pos x="connsiteX11227" y="connsiteY11227"/>
              </a:cxn>
              <a:cxn ang="0">
                <a:pos x="connsiteX11228" y="connsiteY11228"/>
              </a:cxn>
              <a:cxn ang="0">
                <a:pos x="connsiteX11229" y="connsiteY11229"/>
              </a:cxn>
              <a:cxn ang="0">
                <a:pos x="connsiteX11230" y="connsiteY11230"/>
              </a:cxn>
              <a:cxn ang="0">
                <a:pos x="connsiteX11231" y="connsiteY11231"/>
              </a:cxn>
              <a:cxn ang="0">
                <a:pos x="connsiteX11232" y="connsiteY11232"/>
              </a:cxn>
              <a:cxn ang="0">
                <a:pos x="connsiteX11233" y="connsiteY11233"/>
              </a:cxn>
              <a:cxn ang="0">
                <a:pos x="connsiteX11234" y="connsiteY11234"/>
              </a:cxn>
              <a:cxn ang="0">
                <a:pos x="connsiteX11235" y="connsiteY11235"/>
              </a:cxn>
              <a:cxn ang="0">
                <a:pos x="connsiteX11236" y="connsiteY11236"/>
              </a:cxn>
              <a:cxn ang="0">
                <a:pos x="connsiteX11237" y="connsiteY11237"/>
              </a:cxn>
              <a:cxn ang="0">
                <a:pos x="connsiteX11238" y="connsiteY11238"/>
              </a:cxn>
              <a:cxn ang="0">
                <a:pos x="connsiteX11239" y="connsiteY11239"/>
              </a:cxn>
              <a:cxn ang="0">
                <a:pos x="connsiteX11240" y="connsiteY11240"/>
              </a:cxn>
              <a:cxn ang="0">
                <a:pos x="connsiteX11241" y="connsiteY11241"/>
              </a:cxn>
              <a:cxn ang="0">
                <a:pos x="connsiteX11242" y="connsiteY11242"/>
              </a:cxn>
              <a:cxn ang="0">
                <a:pos x="connsiteX11243" y="connsiteY11243"/>
              </a:cxn>
              <a:cxn ang="0">
                <a:pos x="connsiteX11244" y="connsiteY11244"/>
              </a:cxn>
              <a:cxn ang="0">
                <a:pos x="connsiteX11245" y="connsiteY11245"/>
              </a:cxn>
              <a:cxn ang="0">
                <a:pos x="connsiteX11246" y="connsiteY11246"/>
              </a:cxn>
              <a:cxn ang="0">
                <a:pos x="connsiteX11247" y="connsiteY11247"/>
              </a:cxn>
              <a:cxn ang="0">
                <a:pos x="connsiteX11248" y="connsiteY11248"/>
              </a:cxn>
              <a:cxn ang="0">
                <a:pos x="connsiteX11249" y="connsiteY11249"/>
              </a:cxn>
              <a:cxn ang="0">
                <a:pos x="connsiteX11250" y="connsiteY11250"/>
              </a:cxn>
              <a:cxn ang="0">
                <a:pos x="connsiteX11251" y="connsiteY11251"/>
              </a:cxn>
              <a:cxn ang="0">
                <a:pos x="connsiteX11252" y="connsiteY11252"/>
              </a:cxn>
              <a:cxn ang="0">
                <a:pos x="connsiteX11253" y="connsiteY11253"/>
              </a:cxn>
              <a:cxn ang="0">
                <a:pos x="connsiteX11254" y="connsiteY11254"/>
              </a:cxn>
              <a:cxn ang="0">
                <a:pos x="connsiteX11255" y="connsiteY11255"/>
              </a:cxn>
              <a:cxn ang="0">
                <a:pos x="connsiteX11256" y="connsiteY11256"/>
              </a:cxn>
              <a:cxn ang="0">
                <a:pos x="connsiteX11257" y="connsiteY11257"/>
              </a:cxn>
              <a:cxn ang="0">
                <a:pos x="connsiteX11258" y="connsiteY11258"/>
              </a:cxn>
              <a:cxn ang="0">
                <a:pos x="connsiteX11259" y="connsiteY11259"/>
              </a:cxn>
              <a:cxn ang="0">
                <a:pos x="connsiteX11260" y="connsiteY11260"/>
              </a:cxn>
              <a:cxn ang="0">
                <a:pos x="connsiteX11261" y="connsiteY11261"/>
              </a:cxn>
              <a:cxn ang="0">
                <a:pos x="connsiteX11262" y="connsiteY11262"/>
              </a:cxn>
              <a:cxn ang="0">
                <a:pos x="connsiteX11263" y="connsiteY11263"/>
              </a:cxn>
              <a:cxn ang="0">
                <a:pos x="connsiteX11264" y="connsiteY11264"/>
              </a:cxn>
              <a:cxn ang="0">
                <a:pos x="connsiteX11265" y="connsiteY11265"/>
              </a:cxn>
              <a:cxn ang="0">
                <a:pos x="connsiteX11266" y="connsiteY11266"/>
              </a:cxn>
              <a:cxn ang="0">
                <a:pos x="connsiteX11267" y="connsiteY11267"/>
              </a:cxn>
              <a:cxn ang="0">
                <a:pos x="connsiteX11268" y="connsiteY11268"/>
              </a:cxn>
              <a:cxn ang="0">
                <a:pos x="connsiteX11269" y="connsiteY11269"/>
              </a:cxn>
              <a:cxn ang="0">
                <a:pos x="connsiteX11270" y="connsiteY11270"/>
              </a:cxn>
              <a:cxn ang="0">
                <a:pos x="connsiteX11271" y="connsiteY11271"/>
              </a:cxn>
              <a:cxn ang="0">
                <a:pos x="connsiteX11272" y="connsiteY11272"/>
              </a:cxn>
              <a:cxn ang="0">
                <a:pos x="connsiteX11273" y="connsiteY11273"/>
              </a:cxn>
              <a:cxn ang="0">
                <a:pos x="connsiteX11274" y="connsiteY11274"/>
              </a:cxn>
              <a:cxn ang="0">
                <a:pos x="connsiteX11275" y="connsiteY11275"/>
              </a:cxn>
              <a:cxn ang="0">
                <a:pos x="connsiteX11276" y="connsiteY11276"/>
              </a:cxn>
              <a:cxn ang="0">
                <a:pos x="connsiteX11277" y="connsiteY11277"/>
              </a:cxn>
              <a:cxn ang="0">
                <a:pos x="connsiteX11278" y="connsiteY11278"/>
              </a:cxn>
              <a:cxn ang="0">
                <a:pos x="connsiteX11279" y="connsiteY11279"/>
              </a:cxn>
              <a:cxn ang="0">
                <a:pos x="connsiteX11280" y="connsiteY11280"/>
              </a:cxn>
              <a:cxn ang="0">
                <a:pos x="connsiteX11281" y="connsiteY11281"/>
              </a:cxn>
              <a:cxn ang="0">
                <a:pos x="connsiteX11282" y="connsiteY11282"/>
              </a:cxn>
              <a:cxn ang="0">
                <a:pos x="connsiteX11283" y="connsiteY11283"/>
              </a:cxn>
              <a:cxn ang="0">
                <a:pos x="connsiteX11284" y="connsiteY11284"/>
              </a:cxn>
              <a:cxn ang="0">
                <a:pos x="connsiteX11285" y="connsiteY11285"/>
              </a:cxn>
              <a:cxn ang="0">
                <a:pos x="connsiteX11286" y="connsiteY11286"/>
              </a:cxn>
              <a:cxn ang="0">
                <a:pos x="connsiteX11287" y="connsiteY11287"/>
              </a:cxn>
              <a:cxn ang="0">
                <a:pos x="connsiteX11288" y="connsiteY11288"/>
              </a:cxn>
              <a:cxn ang="0">
                <a:pos x="connsiteX11289" y="connsiteY11289"/>
              </a:cxn>
              <a:cxn ang="0">
                <a:pos x="connsiteX11290" y="connsiteY11290"/>
              </a:cxn>
              <a:cxn ang="0">
                <a:pos x="connsiteX11291" y="connsiteY11291"/>
              </a:cxn>
              <a:cxn ang="0">
                <a:pos x="connsiteX11292" y="connsiteY11292"/>
              </a:cxn>
              <a:cxn ang="0">
                <a:pos x="connsiteX11293" y="connsiteY11293"/>
              </a:cxn>
              <a:cxn ang="0">
                <a:pos x="connsiteX11294" y="connsiteY11294"/>
              </a:cxn>
              <a:cxn ang="0">
                <a:pos x="connsiteX11295" y="connsiteY11295"/>
              </a:cxn>
              <a:cxn ang="0">
                <a:pos x="connsiteX11296" y="connsiteY11296"/>
              </a:cxn>
              <a:cxn ang="0">
                <a:pos x="connsiteX11297" y="connsiteY11297"/>
              </a:cxn>
              <a:cxn ang="0">
                <a:pos x="connsiteX11298" y="connsiteY11298"/>
              </a:cxn>
              <a:cxn ang="0">
                <a:pos x="connsiteX11299" y="connsiteY11299"/>
              </a:cxn>
              <a:cxn ang="0">
                <a:pos x="connsiteX11300" y="connsiteY11300"/>
              </a:cxn>
              <a:cxn ang="0">
                <a:pos x="connsiteX11301" y="connsiteY11301"/>
              </a:cxn>
              <a:cxn ang="0">
                <a:pos x="connsiteX11302" y="connsiteY11302"/>
              </a:cxn>
              <a:cxn ang="0">
                <a:pos x="connsiteX11303" y="connsiteY11303"/>
              </a:cxn>
              <a:cxn ang="0">
                <a:pos x="connsiteX11304" y="connsiteY11304"/>
              </a:cxn>
              <a:cxn ang="0">
                <a:pos x="connsiteX11305" y="connsiteY11305"/>
              </a:cxn>
              <a:cxn ang="0">
                <a:pos x="connsiteX11306" y="connsiteY11306"/>
              </a:cxn>
              <a:cxn ang="0">
                <a:pos x="connsiteX11307" y="connsiteY11307"/>
              </a:cxn>
              <a:cxn ang="0">
                <a:pos x="connsiteX11308" y="connsiteY11308"/>
              </a:cxn>
              <a:cxn ang="0">
                <a:pos x="connsiteX11309" y="connsiteY11309"/>
              </a:cxn>
              <a:cxn ang="0">
                <a:pos x="connsiteX11310" y="connsiteY11310"/>
              </a:cxn>
              <a:cxn ang="0">
                <a:pos x="connsiteX11311" y="connsiteY11311"/>
              </a:cxn>
              <a:cxn ang="0">
                <a:pos x="connsiteX11312" y="connsiteY11312"/>
              </a:cxn>
              <a:cxn ang="0">
                <a:pos x="connsiteX11313" y="connsiteY11313"/>
              </a:cxn>
              <a:cxn ang="0">
                <a:pos x="connsiteX11314" y="connsiteY11314"/>
              </a:cxn>
              <a:cxn ang="0">
                <a:pos x="connsiteX11315" y="connsiteY11315"/>
              </a:cxn>
              <a:cxn ang="0">
                <a:pos x="connsiteX11316" y="connsiteY11316"/>
              </a:cxn>
              <a:cxn ang="0">
                <a:pos x="connsiteX11317" y="connsiteY11317"/>
              </a:cxn>
              <a:cxn ang="0">
                <a:pos x="connsiteX11318" y="connsiteY11318"/>
              </a:cxn>
              <a:cxn ang="0">
                <a:pos x="connsiteX11319" y="connsiteY11319"/>
              </a:cxn>
              <a:cxn ang="0">
                <a:pos x="connsiteX11320" y="connsiteY11320"/>
              </a:cxn>
              <a:cxn ang="0">
                <a:pos x="connsiteX11321" y="connsiteY11321"/>
              </a:cxn>
              <a:cxn ang="0">
                <a:pos x="connsiteX11322" y="connsiteY11322"/>
              </a:cxn>
              <a:cxn ang="0">
                <a:pos x="connsiteX11323" y="connsiteY11323"/>
              </a:cxn>
              <a:cxn ang="0">
                <a:pos x="connsiteX11324" y="connsiteY11324"/>
              </a:cxn>
              <a:cxn ang="0">
                <a:pos x="connsiteX11325" y="connsiteY11325"/>
              </a:cxn>
              <a:cxn ang="0">
                <a:pos x="connsiteX11326" y="connsiteY11326"/>
              </a:cxn>
              <a:cxn ang="0">
                <a:pos x="connsiteX11327" y="connsiteY11327"/>
              </a:cxn>
              <a:cxn ang="0">
                <a:pos x="connsiteX11328" y="connsiteY11328"/>
              </a:cxn>
              <a:cxn ang="0">
                <a:pos x="connsiteX11329" y="connsiteY11329"/>
              </a:cxn>
              <a:cxn ang="0">
                <a:pos x="connsiteX11330" y="connsiteY11330"/>
              </a:cxn>
              <a:cxn ang="0">
                <a:pos x="connsiteX11331" y="connsiteY11331"/>
              </a:cxn>
              <a:cxn ang="0">
                <a:pos x="connsiteX11332" y="connsiteY11332"/>
              </a:cxn>
              <a:cxn ang="0">
                <a:pos x="connsiteX11333" y="connsiteY11333"/>
              </a:cxn>
              <a:cxn ang="0">
                <a:pos x="connsiteX11334" y="connsiteY11334"/>
              </a:cxn>
              <a:cxn ang="0">
                <a:pos x="connsiteX11335" y="connsiteY11335"/>
              </a:cxn>
              <a:cxn ang="0">
                <a:pos x="connsiteX11336" y="connsiteY11336"/>
              </a:cxn>
              <a:cxn ang="0">
                <a:pos x="connsiteX11337" y="connsiteY11337"/>
              </a:cxn>
              <a:cxn ang="0">
                <a:pos x="connsiteX11338" y="connsiteY11338"/>
              </a:cxn>
              <a:cxn ang="0">
                <a:pos x="connsiteX11339" y="connsiteY11339"/>
              </a:cxn>
              <a:cxn ang="0">
                <a:pos x="connsiteX11340" y="connsiteY11340"/>
              </a:cxn>
              <a:cxn ang="0">
                <a:pos x="connsiteX11341" y="connsiteY11341"/>
              </a:cxn>
              <a:cxn ang="0">
                <a:pos x="connsiteX11342" y="connsiteY11342"/>
              </a:cxn>
              <a:cxn ang="0">
                <a:pos x="connsiteX11343" y="connsiteY11343"/>
              </a:cxn>
              <a:cxn ang="0">
                <a:pos x="connsiteX11344" y="connsiteY11344"/>
              </a:cxn>
              <a:cxn ang="0">
                <a:pos x="connsiteX11345" y="connsiteY11345"/>
              </a:cxn>
              <a:cxn ang="0">
                <a:pos x="connsiteX11346" y="connsiteY11346"/>
              </a:cxn>
              <a:cxn ang="0">
                <a:pos x="connsiteX11347" y="connsiteY11347"/>
              </a:cxn>
              <a:cxn ang="0">
                <a:pos x="connsiteX11348" y="connsiteY11348"/>
              </a:cxn>
              <a:cxn ang="0">
                <a:pos x="connsiteX11349" y="connsiteY11349"/>
              </a:cxn>
              <a:cxn ang="0">
                <a:pos x="connsiteX11350" y="connsiteY11350"/>
              </a:cxn>
              <a:cxn ang="0">
                <a:pos x="connsiteX11351" y="connsiteY11351"/>
              </a:cxn>
              <a:cxn ang="0">
                <a:pos x="connsiteX11352" y="connsiteY11352"/>
              </a:cxn>
              <a:cxn ang="0">
                <a:pos x="connsiteX11353" y="connsiteY11353"/>
              </a:cxn>
              <a:cxn ang="0">
                <a:pos x="connsiteX11354" y="connsiteY11354"/>
              </a:cxn>
              <a:cxn ang="0">
                <a:pos x="connsiteX11355" y="connsiteY11355"/>
              </a:cxn>
              <a:cxn ang="0">
                <a:pos x="connsiteX11356" y="connsiteY11356"/>
              </a:cxn>
              <a:cxn ang="0">
                <a:pos x="connsiteX11357" y="connsiteY11357"/>
              </a:cxn>
              <a:cxn ang="0">
                <a:pos x="connsiteX11358" y="connsiteY11358"/>
              </a:cxn>
              <a:cxn ang="0">
                <a:pos x="connsiteX11359" y="connsiteY11359"/>
              </a:cxn>
              <a:cxn ang="0">
                <a:pos x="connsiteX11360" y="connsiteY11360"/>
              </a:cxn>
              <a:cxn ang="0">
                <a:pos x="connsiteX11361" y="connsiteY11361"/>
              </a:cxn>
              <a:cxn ang="0">
                <a:pos x="connsiteX11362" y="connsiteY11362"/>
              </a:cxn>
              <a:cxn ang="0">
                <a:pos x="connsiteX11363" y="connsiteY11363"/>
              </a:cxn>
              <a:cxn ang="0">
                <a:pos x="connsiteX11364" y="connsiteY11364"/>
              </a:cxn>
              <a:cxn ang="0">
                <a:pos x="connsiteX11365" y="connsiteY11365"/>
              </a:cxn>
              <a:cxn ang="0">
                <a:pos x="connsiteX11366" y="connsiteY11366"/>
              </a:cxn>
              <a:cxn ang="0">
                <a:pos x="connsiteX11367" y="connsiteY11367"/>
              </a:cxn>
              <a:cxn ang="0">
                <a:pos x="connsiteX11368" y="connsiteY11368"/>
              </a:cxn>
              <a:cxn ang="0">
                <a:pos x="connsiteX11369" y="connsiteY11369"/>
              </a:cxn>
              <a:cxn ang="0">
                <a:pos x="connsiteX11370" y="connsiteY11370"/>
              </a:cxn>
              <a:cxn ang="0">
                <a:pos x="connsiteX11371" y="connsiteY11371"/>
              </a:cxn>
              <a:cxn ang="0">
                <a:pos x="connsiteX11372" y="connsiteY11372"/>
              </a:cxn>
              <a:cxn ang="0">
                <a:pos x="connsiteX11373" y="connsiteY11373"/>
              </a:cxn>
              <a:cxn ang="0">
                <a:pos x="connsiteX11374" y="connsiteY11374"/>
              </a:cxn>
              <a:cxn ang="0">
                <a:pos x="connsiteX11375" y="connsiteY11375"/>
              </a:cxn>
              <a:cxn ang="0">
                <a:pos x="connsiteX11376" y="connsiteY11376"/>
              </a:cxn>
              <a:cxn ang="0">
                <a:pos x="connsiteX11377" y="connsiteY11377"/>
              </a:cxn>
              <a:cxn ang="0">
                <a:pos x="connsiteX11378" y="connsiteY11378"/>
              </a:cxn>
              <a:cxn ang="0">
                <a:pos x="connsiteX11379" y="connsiteY11379"/>
              </a:cxn>
              <a:cxn ang="0">
                <a:pos x="connsiteX11380" y="connsiteY11380"/>
              </a:cxn>
              <a:cxn ang="0">
                <a:pos x="connsiteX11381" y="connsiteY11381"/>
              </a:cxn>
              <a:cxn ang="0">
                <a:pos x="connsiteX11382" y="connsiteY11382"/>
              </a:cxn>
              <a:cxn ang="0">
                <a:pos x="connsiteX11383" y="connsiteY11383"/>
              </a:cxn>
              <a:cxn ang="0">
                <a:pos x="connsiteX11384" y="connsiteY11384"/>
              </a:cxn>
              <a:cxn ang="0">
                <a:pos x="connsiteX11385" y="connsiteY11385"/>
              </a:cxn>
              <a:cxn ang="0">
                <a:pos x="connsiteX11386" y="connsiteY11386"/>
              </a:cxn>
              <a:cxn ang="0">
                <a:pos x="connsiteX11387" y="connsiteY11387"/>
              </a:cxn>
              <a:cxn ang="0">
                <a:pos x="connsiteX11388" y="connsiteY11388"/>
              </a:cxn>
              <a:cxn ang="0">
                <a:pos x="connsiteX11389" y="connsiteY11389"/>
              </a:cxn>
              <a:cxn ang="0">
                <a:pos x="connsiteX11390" y="connsiteY11390"/>
              </a:cxn>
              <a:cxn ang="0">
                <a:pos x="connsiteX11391" y="connsiteY11391"/>
              </a:cxn>
              <a:cxn ang="0">
                <a:pos x="connsiteX11392" y="connsiteY11392"/>
              </a:cxn>
              <a:cxn ang="0">
                <a:pos x="connsiteX11393" y="connsiteY11393"/>
              </a:cxn>
              <a:cxn ang="0">
                <a:pos x="connsiteX11394" y="connsiteY11394"/>
              </a:cxn>
              <a:cxn ang="0">
                <a:pos x="connsiteX11395" y="connsiteY11395"/>
              </a:cxn>
              <a:cxn ang="0">
                <a:pos x="connsiteX11396" y="connsiteY11396"/>
              </a:cxn>
              <a:cxn ang="0">
                <a:pos x="connsiteX11397" y="connsiteY11397"/>
              </a:cxn>
              <a:cxn ang="0">
                <a:pos x="connsiteX11398" y="connsiteY11398"/>
              </a:cxn>
              <a:cxn ang="0">
                <a:pos x="connsiteX11399" y="connsiteY11399"/>
              </a:cxn>
              <a:cxn ang="0">
                <a:pos x="connsiteX11400" y="connsiteY11400"/>
              </a:cxn>
              <a:cxn ang="0">
                <a:pos x="connsiteX11401" y="connsiteY11401"/>
              </a:cxn>
              <a:cxn ang="0">
                <a:pos x="connsiteX11402" y="connsiteY11402"/>
              </a:cxn>
              <a:cxn ang="0">
                <a:pos x="connsiteX11403" y="connsiteY11403"/>
              </a:cxn>
              <a:cxn ang="0">
                <a:pos x="connsiteX11404" y="connsiteY11404"/>
              </a:cxn>
              <a:cxn ang="0">
                <a:pos x="connsiteX11405" y="connsiteY11405"/>
              </a:cxn>
              <a:cxn ang="0">
                <a:pos x="connsiteX11406" y="connsiteY11406"/>
              </a:cxn>
              <a:cxn ang="0">
                <a:pos x="connsiteX11407" y="connsiteY11407"/>
              </a:cxn>
              <a:cxn ang="0">
                <a:pos x="connsiteX11408" y="connsiteY11408"/>
              </a:cxn>
              <a:cxn ang="0">
                <a:pos x="connsiteX11409" y="connsiteY11409"/>
              </a:cxn>
              <a:cxn ang="0">
                <a:pos x="connsiteX11410" y="connsiteY11410"/>
              </a:cxn>
              <a:cxn ang="0">
                <a:pos x="connsiteX11411" y="connsiteY11411"/>
              </a:cxn>
              <a:cxn ang="0">
                <a:pos x="connsiteX11412" y="connsiteY11412"/>
              </a:cxn>
              <a:cxn ang="0">
                <a:pos x="connsiteX11413" y="connsiteY11413"/>
              </a:cxn>
              <a:cxn ang="0">
                <a:pos x="connsiteX11414" y="connsiteY11414"/>
              </a:cxn>
              <a:cxn ang="0">
                <a:pos x="connsiteX11415" y="connsiteY11415"/>
              </a:cxn>
              <a:cxn ang="0">
                <a:pos x="connsiteX11416" y="connsiteY11416"/>
              </a:cxn>
              <a:cxn ang="0">
                <a:pos x="connsiteX11417" y="connsiteY11417"/>
              </a:cxn>
              <a:cxn ang="0">
                <a:pos x="connsiteX11418" y="connsiteY11418"/>
              </a:cxn>
              <a:cxn ang="0">
                <a:pos x="connsiteX11419" y="connsiteY11419"/>
              </a:cxn>
              <a:cxn ang="0">
                <a:pos x="connsiteX11420" y="connsiteY11420"/>
              </a:cxn>
              <a:cxn ang="0">
                <a:pos x="connsiteX11421" y="connsiteY11421"/>
              </a:cxn>
              <a:cxn ang="0">
                <a:pos x="connsiteX11422" y="connsiteY11422"/>
              </a:cxn>
              <a:cxn ang="0">
                <a:pos x="connsiteX11423" y="connsiteY11423"/>
              </a:cxn>
              <a:cxn ang="0">
                <a:pos x="connsiteX11424" y="connsiteY11424"/>
              </a:cxn>
              <a:cxn ang="0">
                <a:pos x="connsiteX11425" y="connsiteY11425"/>
              </a:cxn>
              <a:cxn ang="0">
                <a:pos x="connsiteX11426" y="connsiteY11426"/>
              </a:cxn>
              <a:cxn ang="0">
                <a:pos x="connsiteX11427" y="connsiteY11427"/>
              </a:cxn>
              <a:cxn ang="0">
                <a:pos x="connsiteX11428" y="connsiteY11428"/>
              </a:cxn>
              <a:cxn ang="0">
                <a:pos x="connsiteX11429" y="connsiteY11429"/>
              </a:cxn>
              <a:cxn ang="0">
                <a:pos x="connsiteX11430" y="connsiteY11430"/>
              </a:cxn>
              <a:cxn ang="0">
                <a:pos x="connsiteX11431" y="connsiteY11431"/>
              </a:cxn>
              <a:cxn ang="0">
                <a:pos x="connsiteX11432" y="connsiteY11432"/>
              </a:cxn>
              <a:cxn ang="0">
                <a:pos x="connsiteX11433" y="connsiteY11433"/>
              </a:cxn>
              <a:cxn ang="0">
                <a:pos x="connsiteX11434" y="connsiteY11434"/>
              </a:cxn>
              <a:cxn ang="0">
                <a:pos x="connsiteX11435" y="connsiteY11435"/>
              </a:cxn>
              <a:cxn ang="0">
                <a:pos x="connsiteX11436" y="connsiteY11436"/>
              </a:cxn>
              <a:cxn ang="0">
                <a:pos x="connsiteX11437" y="connsiteY11437"/>
              </a:cxn>
              <a:cxn ang="0">
                <a:pos x="connsiteX11438" y="connsiteY11438"/>
              </a:cxn>
              <a:cxn ang="0">
                <a:pos x="connsiteX11439" y="connsiteY11439"/>
              </a:cxn>
              <a:cxn ang="0">
                <a:pos x="connsiteX11440" y="connsiteY11440"/>
              </a:cxn>
              <a:cxn ang="0">
                <a:pos x="connsiteX11441" y="connsiteY11441"/>
              </a:cxn>
              <a:cxn ang="0">
                <a:pos x="connsiteX11442" y="connsiteY11442"/>
              </a:cxn>
              <a:cxn ang="0">
                <a:pos x="connsiteX11443" y="connsiteY11443"/>
              </a:cxn>
              <a:cxn ang="0">
                <a:pos x="connsiteX11444" y="connsiteY11444"/>
              </a:cxn>
              <a:cxn ang="0">
                <a:pos x="connsiteX11445" y="connsiteY11445"/>
              </a:cxn>
              <a:cxn ang="0">
                <a:pos x="connsiteX11446" y="connsiteY11446"/>
              </a:cxn>
              <a:cxn ang="0">
                <a:pos x="connsiteX11447" y="connsiteY11447"/>
              </a:cxn>
              <a:cxn ang="0">
                <a:pos x="connsiteX11448" y="connsiteY11448"/>
              </a:cxn>
              <a:cxn ang="0">
                <a:pos x="connsiteX11449" y="connsiteY11449"/>
              </a:cxn>
              <a:cxn ang="0">
                <a:pos x="connsiteX11450" y="connsiteY11450"/>
              </a:cxn>
              <a:cxn ang="0">
                <a:pos x="connsiteX11451" y="connsiteY11451"/>
              </a:cxn>
              <a:cxn ang="0">
                <a:pos x="connsiteX11452" y="connsiteY11452"/>
              </a:cxn>
              <a:cxn ang="0">
                <a:pos x="connsiteX11453" y="connsiteY11453"/>
              </a:cxn>
              <a:cxn ang="0">
                <a:pos x="connsiteX11454" y="connsiteY11454"/>
              </a:cxn>
              <a:cxn ang="0">
                <a:pos x="connsiteX11455" y="connsiteY11455"/>
              </a:cxn>
              <a:cxn ang="0">
                <a:pos x="connsiteX11456" y="connsiteY11456"/>
              </a:cxn>
              <a:cxn ang="0">
                <a:pos x="connsiteX11457" y="connsiteY11457"/>
              </a:cxn>
              <a:cxn ang="0">
                <a:pos x="connsiteX11458" y="connsiteY11458"/>
              </a:cxn>
              <a:cxn ang="0">
                <a:pos x="connsiteX11459" y="connsiteY11459"/>
              </a:cxn>
              <a:cxn ang="0">
                <a:pos x="connsiteX11460" y="connsiteY11460"/>
              </a:cxn>
              <a:cxn ang="0">
                <a:pos x="connsiteX11461" y="connsiteY11461"/>
              </a:cxn>
              <a:cxn ang="0">
                <a:pos x="connsiteX11462" y="connsiteY11462"/>
              </a:cxn>
              <a:cxn ang="0">
                <a:pos x="connsiteX11463" y="connsiteY11463"/>
              </a:cxn>
              <a:cxn ang="0">
                <a:pos x="connsiteX11464" y="connsiteY11464"/>
              </a:cxn>
              <a:cxn ang="0">
                <a:pos x="connsiteX11465" y="connsiteY11465"/>
              </a:cxn>
              <a:cxn ang="0">
                <a:pos x="connsiteX11466" y="connsiteY11466"/>
              </a:cxn>
              <a:cxn ang="0">
                <a:pos x="connsiteX11467" y="connsiteY11467"/>
              </a:cxn>
              <a:cxn ang="0">
                <a:pos x="connsiteX11468" y="connsiteY11468"/>
              </a:cxn>
              <a:cxn ang="0">
                <a:pos x="connsiteX11469" y="connsiteY11469"/>
              </a:cxn>
              <a:cxn ang="0">
                <a:pos x="connsiteX11470" y="connsiteY11470"/>
              </a:cxn>
              <a:cxn ang="0">
                <a:pos x="connsiteX11471" y="connsiteY11471"/>
              </a:cxn>
              <a:cxn ang="0">
                <a:pos x="connsiteX11472" y="connsiteY11472"/>
              </a:cxn>
              <a:cxn ang="0">
                <a:pos x="connsiteX11473" y="connsiteY11473"/>
              </a:cxn>
              <a:cxn ang="0">
                <a:pos x="connsiteX11474" y="connsiteY11474"/>
              </a:cxn>
              <a:cxn ang="0">
                <a:pos x="connsiteX11475" y="connsiteY11475"/>
              </a:cxn>
              <a:cxn ang="0">
                <a:pos x="connsiteX11476" y="connsiteY11476"/>
              </a:cxn>
              <a:cxn ang="0">
                <a:pos x="connsiteX11477" y="connsiteY11477"/>
              </a:cxn>
              <a:cxn ang="0">
                <a:pos x="connsiteX11478" y="connsiteY11478"/>
              </a:cxn>
              <a:cxn ang="0">
                <a:pos x="connsiteX11479" y="connsiteY11479"/>
              </a:cxn>
              <a:cxn ang="0">
                <a:pos x="connsiteX11480" y="connsiteY11480"/>
              </a:cxn>
              <a:cxn ang="0">
                <a:pos x="connsiteX11481" y="connsiteY11481"/>
              </a:cxn>
              <a:cxn ang="0">
                <a:pos x="connsiteX11482" y="connsiteY11482"/>
              </a:cxn>
              <a:cxn ang="0">
                <a:pos x="connsiteX11483" y="connsiteY11483"/>
              </a:cxn>
              <a:cxn ang="0">
                <a:pos x="connsiteX11484" y="connsiteY11484"/>
              </a:cxn>
              <a:cxn ang="0">
                <a:pos x="connsiteX11485" y="connsiteY11485"/>
              </a:cxn>
              <a:cxn ang="0">
                <a:pos x="connsiteX11486" y="connsiteY11486"/>
              </a:cxn>
              <a:cxn ang="0">
                <a:pos x="connsiteX11487" y="connsiteY11487"/>
              </a:cxn>
              <a:cxn ang="0">
                <a:pos x="connsiteX11488" y="connsiteY11488"/>
              </a:cxn>
              <a:cxn ang="0">
                <a:pos x="connsiteX11489" y="connsiteY11489"/>
              </a:cxn>
              <a:cxn ang="0">
                <a:pos x="connsiteX11490" y="connsiteY11490"/>
              </a:cxn>
              <a:cxn ang="0">
                <a:pos x="connsiteX11491" y="connsiteY11491"/>
              </a:cxn>
              <a:cxn ang="0">
                <a:pos x="connsiteX11492" y="connsiteY11492"/>
              </a:cxn>
              <a:cxn ang="0">
                <a:pos x="connsiteX11493" y="connsiteY11493"/>
              </a:cxn>
              <a:cxn ang="0">
                <a:pos x="connsiteX11494" y="connsiteY11494"/>
              </a:cxn>
              <a:cxn ang="0">
                <a:pos x="connsiteX11495" y="connsiteY11495"/>
              </a:cxn>
              <a:cxn ang="0">
                <a:pos x="connsiteX11496" y="connsiteY11496"/>
              </a:cxn>
              <a:cxn ang="0">
                <a:pos x="connsiteX11497" y="connsiteY11497"/>
              </a:cxn>
              <a:cxn ang="0">
                <a:pos x="connsiteX11498" y="connsiteY11498"/>
              </a:cxn>
              <a:cxn ang="0">
                <a:pos x="connsiteX11499" y="connsiteY11499"/>
              </a:cxn>
              <a:cxn ang="0">
                <a:pos x="connsiteX11500" y="connsiteY11500"/>
              </a:cxn>
              <a:cxn ang="0">
                <a:pos x="connsiteX11501" y="connsiteY11501"/>
              </a:cxn>
              <a:cxn ang="0">
                <a:pos x="connsiteX11502" y="connsiteY11502"/>
              </a:cxn>
              <a:cxn ang="0">
                <a:pos x="connsiteX11503" y="connsiteY11503"/>
              </a:cxn>
              <a:cxn ang="0">
                <a:pos x="connsiteX11504" y="connsiteY11504"/>
              </a:cxn>
              <a:cxn ang="0">
                <a:pos x="connsiteX11505" y="connsiteY11505"/>
              </a:cxn>
              <a:cxn ang="0">
                <a:pos x="connsiteX11506" y="connsiteY11506"/>
              </a:cxn>
              <a:cxn ang="0">
                <a:pos x="connsiteX11507" y="connsiteY11507"/>
              </a:cxn>
              <a:cxn ang="0">
                <a:pos x="connsiteX11508" y="connsiteY11508"/>
              </a:cxn>
              <a:cxn ang="0">
                <a:pos x="connsiteX11509" y="connsiteY11509"/>
              </a:cxn>
              <a:cxn ang="0">
                <a:pos x="connsiteX11510" y="connsiteY11510"/>
              </a:cxn>
              <a:cxn ang="0">
                <a:pos x="connsiteX11511" y="connsiteY11511"/>
              </a:cxn>
              <a:cxn ang="0">
                <a:pos x="connsiteX11512" y="connsiteY11512"/>
              </a:cxn>
              <a:cxn ang="0">
                <a:pos x="connsiteX11513" y="connsiteY11513"/>
              </a:cxn>
              <a:cxn ang="0">
                <a:pos x="connsiteX11514" y="connsiteY11514"/>
              </a:cxn>
              <a:cxn ang="0">
                <a:pos x="connsiteX11515" y="connsiteY11515"/>
              </a:cxn>
              <a:cxn ang="0">
                <a:pos x="connsiteX11516" y="connsiteY11516"/>
              </a:cxn>
              <a:cxn ang="0">
                <a:pos x="connsiteX11517" y="connsiteY11517"/>
              </a:cxn>
              <a:cxn ang="0">
                <a:pos x="connsiteX11518" y="connsiteY11518"/>
              </a:cxn>
              <a:cxn ang="0">
                <a:pos x="connsiteX11519" y="connsiteY11519"/>
              </a:cxn>
              <a:cxn ang="0">
                <a:pos x="connsiteX11520" y="connsiteY11520"/>
              </a:cxn>
              <a:cxn ang="0">
                <a:pos x="connsiteX11521" y="connsiteY11521"/>
              </a:cxn>
              <a:cxn ang="0">
                <a:pos x="connsiteX11522" y="connsiteY11522"/>
              </a:cxn>
              <a:cxn ang="0">
                <a:pos x="connsiteX11523" y="connsiteY11523"/>
              </a:cxn>
              <a:cxn ang="0">
                <a:pos x="connsiteX11524" y="connsiteY11524"/>
              </a:cxn>
              <a:cxn ang="0">
                <a:pos x="connsiteX11525" y="connsiteY11525"/>
              </a:cxn>
              <a:cxn ang="0">
                <a:pos x="connsiteX11526" y="connsiteY11526"/>
              </a:cxn>
              <a:cxn ang="0">
                <a:pos x="connsiteX11527" y="connsiteY11527"/>
              </a:cxn>
              <a:cxn ang="0">
                <a:pos x="connsiteX11528" y="connsiteY11528"/>
              </a:cxn>
              <a:cxn ang="0">
                <a:pos x="connsiteX11529" y="connsiteY11529"/>
              </a:cxn>
              <a:cxn ang="0">
                <a:pos x="connsiteX11530" y="connsiteY11530"/>
              </a:cxn>
              <a:cxn ang="0">
                <a:pos x="connsiteX11531" y="connsiteY11531"/>
              </a:cxn>
              <a:cxn ang="0">
                <a:pos x="connsiteX11532" y="connsiteY11532"/>
              </a:cxn>
              <a:cxn ang="0">
                <a:pos x="connsiteX11533" y="connsiteY11533"/>
              </a:cxn>
              <a:cxn ang="0">
                <a:pos x="connsiteX11534" y="connsiteY11534"/>
              </a:cxn>
              <a:cxn ang="0">
                <a:pos x="connsiteX11535" y="connsiteY11535"/>
              </a:cxn>
              <a:cxn ang="0">
                <a:pos x="connsiteX11536" y="connsiteY11536"/>
              </a:cxn>
              <a:cxn ang="0">
                <a:pos x="connsiteX11537" y="connsiteY11537"/>
              </a:cxn>
              <a:cxn ang="0">
                <a:pos x="connsiteX11538" y="connsiteY11538"/>
              </a:cxn>
              <a:cxn ang="0">
                <a:pos x="connsiteX11539" y="connsiteY11539"/>
              </a:cxn>
              <a:cxn ang="0">
                <a:pos x="connsiteX11540" y="connsiteY11540"/>
              </a:cxn>
              <a:cxn ang="0">
                <a:pos x="connsiteX11541" y="connsiteY11541"/>
              </a:cxn>
              <a:cxn ang="0">
                <a:pos x="connsiteX11542" y="connsiteY11542"/>
              </a:cxn>
              <a:cxn ang="0">
                <a:pos x="connsiteX11543" y="connsiteY11543"/>
              </a:cxn>
              <a:cxn ang="0">
                <a:pos x="connsiteX11544" y="connsiteY11544"/>
              </a:cxn>
              <a:cxn ang="0">
                <a:pos x="connsiteX11545" y="connsiteY11545"/>
              </a:cxn>
              <a:cxn ang="0">
                <a:pos x="connsiteX11546" y="connsiteY11546"/>
              </a:cxn>
              <a:cxn ang="0">
                <a:pos x="connsiteX11547" y="connsiteY11547"/>
              </a:cxn>
              <a:cxn ang="0">
                <a:pos x="connsiteX11548" y="connsiteY11548"/>
              </a:cxn>
              <a:cxn ang="0">
                <a:pos x="connsiteX11549" y="connsiteY11549"/>
              </a:cxn>
              <a:cxn ang="0">
                <a:pos x="connsiteX11550" y="connsiteY11550"/>
              </a:cxn>
              <a:cxn ang="0">
                <a:pos x="connsiteX11551" y="connsiteY11551"/>
              </a:cxn>
              <a:cxn ang="0">
                <a:pos x="connsiteX11552" y="connsiteY11552"/>
              </a:cxn>
              <a:cxn ang="0">
                <a:pos x="connsiteX11553" y="connsiteY11553"/>
              </a:cxn>
              <a:cxn ang="0">
                <a:pos x="connsiteX11554" y="connsiteY11554"/>
              </a:cxn>
              <a:cxn ang="0">
                <a:pos x="connsiteX11555" y="connsiteY11555"/>
              </a:cxn>
              <a:cxn ang="0">
                <a:pos x="connsiteX11556" y="connsiteY11556"/>
              </a:cxn>
              <a:cxn ang="0">
                <a:pos x="connsiteX11557" y="connsiteY11557"/>
              </a:cxn>
              <a:cxn ang="0">
                <a:pos x="connsiteX11558" y="connsiteY11558"/>
              </a:cxn>
              <a:cxn ang="0">
                <a:pos x="connsiteX11559" y="connsiteY11559"/>
              </a:cxn>
              <a:cxn ang="0">
                <a:pos x="connsiteX11560" y="connsiteY11560"/>
              </a:cxn>
              <a:cxn ang="0">
                <a:pos x="connsiteX11561" y="connsiteY11561"/>
              </a:cxn>
              <a:cxn ang="0">
                <a:pos x="connsiteX11562" y="connsiteY11562"/>
              </a:cxn>
              <a:cxn ang="0">
                <a:pos x="connsiteX11563" y="connsiteY11563"/>
              </a:cxn>
              <a:cxn ang="0">
                <a:pos x="connsiteX11564" y="connsiteY11564"/>
              </a:cxn>
              <a:cxn ang="0">
                <a:pos x="connsiteX11565" y="connsiteY11565"/>
              </a:cxn>
              <a:cxn ang="0">
                <a:pos x="connsiteX11566" y="connsiteY11566"/>
              </a:cxn>
              <a:cxn ang="0">
                <a:pos x="connsiteX11567" y="connsiteY11567"/>
              </a:cxn>
              <a:cxn ang="0">
                <a:pos x="connsiteX11568" y="connsiteY11568"/>
              </a:cxn>
              <a:cxn ang="0">
                <a:pos x="connsiteX11569" y="connsiteY11569"/>
              </a:cxn>
              <a:cxn ang="0">
                <a:pos x="connsiteX11570" y="connsiteY11570"/>
              </a:cxn>
              <a:cxn ang="0">
                <a:pos x="connsiteX11571" y="connsiteY11571"/>
              </a:cxn>
              <a:cxn ang="0">
                <a:pos x="connsiteX11572" y="connsiteY11572"/>
              </a:cxn>
              <a:cxn ang="0">
                <a:pos x="connsiteX11573" y="connsiteY11573"/>
              </a:cxn>
              <a:cxn ang="0">
                <a:pos x="connsiteX11574" y="connsiteY11574"/>
              </a:cxn>
              <a:cxn ang="0">
                <a:pos x="connsiteX11575" y="connsiteY11575"/>
              </a:cxn>
              <a:cxn ang="0">
                <a:pos x="connsiteX11576" y="connsiteY11576"/>
              </a:cxn>
              <a:cxn ang="0">
                <a:pos x="connsiteX11577" y="connsiteY11577"/>
              </a:cxn>
              <a:cxn ang="0">
                <a:pos x="connsiteX11578" y="connsiteY11578"/>
              </a:cxn>
              <a:cxn ang="0">
                <a:pos x="connsiteX11579" y="connsiteY11579"/>
              </a:cxn>
              <a:cxn ang="0">
                <a:pos x="connsiteX11580" y="connsiteY11580"/>
              </a:cxn>
              <a:cxn ang="0">
                <a:pos x="connsiteX11581" y="connsiteY11581"/>
              </a:cxn>
              <a:cxn ang="0">
                <a:pos x="connsiteX11582" y="connsiteY11582"/>
              </a:cxn>
              <a:cxn ang="0">
                <a:pos x="connsiteX11583" y="connsiteY11583"/>
              </a:cxn>
              <a:cxn ang="0">
                <a:pos x="connsiteX11584" y="connsiteY11584"/>
              </a:cxn>
              <a:cxn ang="0">
                <a:pos x="connsiteX11585" y="connsiteY11585"/>
              </a:cxn>
              <a:cxn ang="0">
                <a:pos x="connsiteX11586" y="connsiteY11586"/>
              </a:cxn>
              <a:cxn ang="0">
                <a:pos x="connsiteX11587" y="connsiteY11587"/>
              </a:cxn>
              <a:cxn ang="0">
                <a:pos x="connsiteX11588" y="connsiteY11588"/>
              </a:cxn>
              <a:cxn ang="0">
                <a:pos x="connsiteX11589" y="connsiteY11589"/>
              </a:cxn>
              <a:cxn ang="0">
                <a:pos x="connsiteX11590" y="connsiteY11590"/>
              </a:cxn>
              <a:cxn ang="0">
                <a:pos x="connsiteX11591" y="connsiteY11591"/>
              </a:cxn>
              <a:cxn ang="0">
                <a:pos x="connsiteX11592" y="connsiteY11592"/>
              </a:cxn>
              <a:cxn ang="0">
                <a:pos x="connsiteX11593" y="connsiteY11593"/>
              </a:cxn>
              <a:cxn ang="0">
                <a:pos x="connsiteX11594" y="connsiteY11594"/>
              </a:cxn>
              <a:cxn ang="0">
                <a:pos x="connsiteX11595" y="connsiteY11595"/>
              </a:cxn>
              <a:cxn ang="0">
                <a:pos x="connsiteX11596" y="connsiteY11596"/>
              </a:cxn>
              <a:cxn ang="0">
                <a:pos x="connsiteX11597" y="connsiteY11597"/>
              </a:cxn>
              <a:cxn ang="0">
                <a:pos x="connsiteX11598" y="connsiteY11598"/>
              </a:cxn>
              <a:cxn ang="0">
                <a:pos x="connsiteX11599" y="connsiteY11599"/>
              </a:cxn>
              <a:cxn ang="0">
                <a:pos x="connsiteX11600" y="connsiteY11600"/>
              </a:cxn>
              <a:cxn ang="0">
                <a:pos x="connsiteX11601" y="connsiteY11601"/>
              </a:cxn>
              <a:cxn ang="0">
                <a:pos x="connsiteX11602" y="connsiteY11602"/>
              </a:cxn>
              <a:cxn ang="0">
                <a:pos x="connsiteX11603" y="connsiteY11603"/>
              </a:cxn>
              <a:cxn ang="0">
                <a:pos x="connsiteX11604" y="connsiteY11604"/>
              </a:cxn>
              <a:cxn ang="0">
                <a:pos x="connsiteX11605" y="connsiteY11605"/>
              </a:cxn>
              <a:cxn ang="0">
                <a:pos x="connsiteX11606" y="connsiteY11606"/>
              </a:cxn>
              <a:cxn ang="0">
                <a:pos x="connsiteX11607" y="connsiteY11607"/>
              </a:cxn>
              <a:cxn ang="0">
                <a:pos x="connsiteX11608" y="connsiteY11608"/>
              </a:cxn>
              <a:cxn ang="0">
                <a:pos x="connsiteX11609" y="connsiteY11609"/>
              </a:cxn>
              <a:cxn ang="0">
                <a:pos x="connsiteX11610" y="connsiteY11610"/>
              </a:cxn>
              <a:cxn ang="0">
                <a:pos x="connsiteX11611" y="connsiteY11611"/>
              </a:cxn>
              <a:cxn ang="0">
                <a:pos x="connsiteX11612" y="connsiteY11612"/>
              </a:cxn>
              <a:cxn ang="0">
                <a:pos x="connsiteX11613" y="connsiteY11613"/>
              </a:cxn>
              <a:cxn ang="0">
                <a:pos x="connsiteX11614" y="connsiteY11614"/>
              </a:cxn>
              <a:cxn ang="0">
                <a:pos x="connsiteX11615" y="connsiteY11615"/>
              </a:cxn>
              <a:cxn ang="0">
                <a:pos x="connsiteX11616" y="connsiteY11616"/>
              </a:cxn>
              <a:cxn ang="0">
                <a:pos x="connsiteX11617" y="connsiteY11617"/>
              </a:cxn>
              <a:cxn ang="0">
                <a:pos x="connsiteX11618" y="connsiteY11618"/>
              </a:cxn>
              <a:cxn ang="0">
                <a:pos x="connsiteX11619" y="connsiteY11619"/>
              </a:cxn>
              <a:cxn ang="0">
                <a:pos x="connsiteX11620" y="connsiteY11620"/>
              </a:cxn>
              <a:cxn ang="0">
                <a:pos x="connsiteX11621" y="connsiteY11621"/>
              </a:cxn>
              <a:cxn ang="0">
                <a:pos x="connsiteX11622" y="connsiteY11622"/>
              </a:cxn>
              <a:cxn ang="0">
                <a:pos x="connsiteX11623" y="connsiteY11623"/>
              </a:cxn>
              <a:cxn ang="0">
                <a:pos x="connsiteX11624" y="connsiteY11624"/>
              </a:cxn>
              <a:cxn ang="0">
                <a:pos x="connsiteX11625" y="connsiteY11625"/>
              </a:cxn>
              <a:cxn ang="0">
                <a:pos x="connsiteX11626" y="connsiteY11626"/>
              </a:cxn>
              <a:cxn ang="0">
                <a:pos x="connsiteX11627" y="connsiteY11627"/>
              </a:cxn>
              <a:cxn ang="0">
                <a:pos x="connsiteX11628" y="connsiteY11628"/>
              </a:cxn>
              <a:cxn ang="0">
                <a:pos x="connsiteX11629" y="connsiteY11629"/>
              </a:cxn>
              <a:cxn ang="0">
                <a:pos x="connsiteX11630" y="connsiteY11630"/>
              </a:cxn>
              <a:cxn ang="0">
                <a:pos x="connsiteX11631" y="connsiteY11631"/>
              </a:cxn>
              <a:cxn ang="0">
                <a:pos x="connsiteX11632" y="connsiteY11632"/>
              </a:cxn>
              <a:cxn ang="0">
                <a:pos x="connsiteX11633" y="connsiteY11633"/>
              </a:cxn>
              <a:cxn ang="0">
                <a:pos x="connsiteX11634" y="connsiteY11634"/>
              </a:cxn>
              <a:cxn ang="0">
                <a:pos x="connsiteX11635" y="connsiteY11635"/>
              </a:cxn>
              <a:cxn ang="0">
                <a:pos x="connsiteX11636" y="connsiteY11636"/>
              </a:cxn>
              <a:cxn ang="0">
                <a:pos x="connsiteX11637" y="connsiteY11637"/>
              </a:cxn>
              <a:cxn ang="0">
                <a:pos x="connsiteX11638" y="connsiteY11638"/>
              </a:cxn>
              <a:cxn ang="0">
                <a:pos x="connsiteX11639" y="connsiteY11639"/>
              </a:cxn>
              <a:cxn ang="0">
                <a:pos x="connsiteX11640" y="connsiteY11640"/>
              </a:cxn>
              <a:cxn ang="0">
                <a:pos x="connsiteX11641" y="connsiteY11641"/>
              </a:cxn>
              <a:cxn ang="0">
                <a:pos x="connsiteX11642" y="connsiteY11642"/>
              </a:cxn>
              <a:cxn ang="0">
                <a:pos x="connsiteX11643" y="connsiteY11643"/>
              </a:cxn>
              <a:cxn ang="0">
                <a:pos x="connsiteX11644" y="connsiteY11644"/>
              </a:cxn>
              <a:cxn ang="0">
                <a:pos x="connsiteX11645" y="connsiteY11645"/>
              </a:cxn>
              <a:cxn ang="0">
                <a:pos x="connsiteX11646" y="connsiteY11646"/>
              </a:cxn>
              <a:cxn ang="0">
                <a:pos x="connsiteX11647" y="connsiteY11647"/>
              </a:cxn>
              <a:cxn ang="0">
                <a:pos x="connsiteX11648" y="connsiteY11648"/>
              </a:cxn>
              <a:cxn ang="0">
                <a:pos x="connsiteX11649" y="connsiteY11649"/>
              </a:cxn>
              <a:cxn ang="0">
                <a:pos x="connsiteX11650" y="connsiteY11650"/>
              </a:cxn>
              <a:cxn ang="0">
                <a:pos x="connsiteX11651" y="connsiteY11651"/>
              </a:cxn>
              <a:cxn ang="0">
                <a:pos x="connsiteX11652" y="connsiteY11652"/>
              </a:cxn>
              <a:cxn ang="0">
                <a:pos x="connsiteX11653" y="connsiteY11653"/>
              </a:cxn>
              <a:cxn ang="0">
                <a:pos x="connsiteX11654" y="connsiteY11654"/>
              </a:cxn>
              <a:cxn ang="0">
                <a:pos x="connsiteX11655" y="connsiteY11655"/>
              </a:cxn>
              <a:cxn ang="0">
                <a:pos x="connsiteX11656" y="connsiteY11656"/>
              </a:cxn>
              <a:cxn ang="0">
                <a:pos x="connsiteX11657" y="connsiteY11657"/>
              </a:cxn>
              <a:cxn ang="0">
                <a:pos x="connsiteX11658" y="connsiteY11658"/>
              </a:cxn>
              <a:cxn ang="0">
                <a:pos x="connsiteX11659" y="connsiteY11659"/>
              </a:cxn>
              <a:cxn ang="0">
                <a:pos x="connsiteX11660" y="connsiteY11660"/>
              </a:cxn>
              <a:cxn ang="0">
                <a:pos x="connsiteX11661" y="connsiteY11661"/>
              </a:cxn>
              <a:cxn ang="0">
                <a:pos x="connsiteX11662" y="connsiteY11662"/>
              </a:cxn>
              <a:cxn ang="0">
                <a:pos x="connsiteX11663" y="connsiteY11663"/>
              </a:cxn>
              <a:cxn ang="0">
                <a:pos x="connsiteX11664" y="connsiteY11664"/>
              </a:cxn>
              <a:cxn ang="0">
                <a:pos x="connsiteX11665" y="connsiteY11665"/>
              </a:cxn>
              <a:cxn ang="0">
                <a:pos x="connsiteX11666" y="connsiteY11666"/>
              </a:cxn>
              <a:cxn ang="0">
                <a:pos x="connsiteX11667" y="connsiteY11667"/>
              </a:cxn>
              <a:cxn ang="0">
                <a:pos x="connsiteX11668" y="connsiteY11668"/>
              </a:cxn>
              <a:cxn ang="0">
                <a:pos x="connsiteX11669" y="connsiteY11669"/>
              </a:cxn>
              <a:cxn ang="0">
                <a:pos x="connsiteX11670" y="connsiteY11670"/>
              </a:cxn>
              <a:cxn ang="0">
                <a:pos x="connsiteX11671" y="connsiteY11671"/>
              </a:cxn>
              <a:cxn ang="0">
                <a:pos x="connsiteX11672" y="connsiteY11672"/>
              </a:cxn>
              <a:cxn ang="0">
                <a:pos x="connsiteX11673" y="connsiteY11673"/>
              </a:cxn>
              <a:cxn ang="0">
                <a:pos x="connsiteX11674" y="connsiteY11674"/>
              </a:cxn>
              <a:cxn ang="0">
                <a:pos x="connsiteX11675" y="connsiteY11675"/>
              </a:cxn>
              <a:cxn ang="0">
                <a:pos x="connsiteX11676" y="connsiteY11676"/>
              </a:cxn>
              <a:cxn ang="0">
                <a:pos x="connsiteX11677" y="connsiteY11677"/>
              </a:cxn>
              <a:cxn ang="0">
                <a:pos x="connsiteX11678" y="connsiteY11678"/>
              </a:cxn>
              <a:cxn ang="0">
                <a:pos x="connsiteX11679" y="connsiteY11679"/>
              </a:cxn>
              <a:cxn ang="0">
                <a:pos x="connsiteX11680" y="connsiteY11680"/>
              </a:cxn>
              <a:cxn ang="0">
                <a:pos x="connsiteX11681" y="connsiteY11681"/>
              </a:cxn>
              <a:cxn ang="0">
                <a:pos x="connsiteX11682" y="connsiteY11682"/>
              </a:cxn>
              <a:cxn ang="0">
                <a:pos x="connsiteX11683" y="connsiteY11683"/>
              </a:cxn>
              <a:cxn ang="0">
                <a:pos x="connsiteX11684" y="connsiteY11684"/>
              </a:cxn>
              <a:cxn ang="0">
                <a:pos x="connsiteX11685" y="connsiteY11685"/>
              </a:cxn>
              <a:cxn ang="0">
                <a:pos x="connsiteX11686" y="connsiteY11686"/>
              </a:cxn>
              <a:cxn ang="0">
                <a:pos x="connsiteX11687" y="connsiteY11687"/>
              </a:cxn>
              <a:cxn ang="0">
                <a:pos x="connsiteX11688" y="connsiteY11688"/>
              </a:cxn>
              <a:cxn ang="0">
                <a:pos x="connsiteX11689" y="connsiteY11689"/>
              </a:cxn>
              <a:cxn ang="0">
                <a:pos x="connsiteX11690" y="connsiteY11690"/>
              </a:cxn>
              <a:cxn ang="0">
                <a:pos x="connsiteX11691" y="connsiteY11691"/>
              </a:cxn>
              <a:cxn ang="0">
                <a:pos x="connsiteX11692" y="connsiteY11692"/>
              </a:cxn>
              <a:cxn ang="0">
                <a:pos x="connsiteX11693" y="connsiteY11693"/>
              </a:cxn>
              <a:cxn ang="0">
                <a:pos x="connsiteX11694" y="connsiteY11694"/>
              </a:cxn>
              <a:cxn ang="0">
                <a:pos x="connsiteX11695" y="connsiteY11695"/>
              </a:cxn>
              <a:cxn ang="0">
                <a:pos x="connsiteX11696" y="connsiteY11696"/>
              </a:cxn>
              <a:cxn ang="0">
                <a:pos x="connsiteX11697" y="connsiteY11697"/>
              </a:cxn>
              <a:cxn ang="0">
                <a:pos x="connsiteX11698" y="connsiteY11698"/>
              </a:cxn>
              <a:cxn ang="0">
                <a:pos x="connsiteX11699" y="connsiteY11699"/>
              </a:cxn>
              <a:cxn ang="0">
                <a:pos x="connsiteX11700" y="connsiteY11700"/>
              </a:cxn>
              <a:cxn ang="0">
                <a:pos x="connsiteX11701" y="connsiteY11701"/>
              </a:cxn>
              <a:cxn ang="0">
                <a:pos x="connsiteX11702" y="connsiteY11702"/>
              </a:cxn>
              <a:cxn ang="0">
                <a:pos x="connsiteX11703" y="connsiteY11703"/>
              </a:cxn>
              <a:cxn ang="0">
                <a:pos x="connsiteX11704" y="connsiteY11704"/>
              </a:cxn>
              <a:cxn ang="0">
                <a:pos x="connsiteX11705" y="connsiteY11705"/>
              </a:cxn>
              <a:cxn ang="0">
                <a:pos x="connsiteX11706" y="connsiteY11706"/>
              </a:cxn>
              <a:cxn ang="0">
                <a:pos x="connsiteX11707" y="connsiteY11707"/>
              </a:cxn>
              <a:cxn ang="0">
                <a:pos x="connsiteX11708" y="connsiteY11708"/>
              </a:cxn>
              <a:cxn ang="0">
                <a:pos x="connsiteX11709" y="connsiteY11709"/>
              </a:cxn>
              <a:cxn ang="0">
                <a:pos x="connsiteX11710" y="connsiteY11710"/>
              </a:cxn>
              <a:cxn ang="0">
                <a:pos x="connsiteX11711" y="connsiteY11711"/>
              </a:cxn>
              <a:cxn ang="0">
                <a:pos x="connsiteX11712" y="connsiteY11712"/>
              </a:cxn>
              <a:cxn ang="0">
                <a:pos x="connsiteX11713" y="connsiteY11713"/>
              </a:cxn>
              <a:cxn ang="0">
                <a:pos x="connsiteX11714" y="connsiteY11714"/>
              </a:cxn>
              <a:cxn ang="0">
                <a:pos x="connsiteX11715" y="connsiteY11715"/>
              </a:cxn>
              <a:cxn ang="0">
                <a:pos x="connsiteX11716" y="connsiteY11716"/>
              </a:cxn>
              <a:cxn ang="0">
                <a:pos x="connsiteX11717" y="connsiteY11717"/>
              </a:cxn>
              <a:cxn ang="0">
                <a:pos x="connsiteX11718" y="connsiteY11718"/>
              </a:cxn>
              <a:cxn ang="0">
                <a:pos x="connsiteX11719" y="connsiteY11719"/>
              </a:cxn>
              <a:cxn ang="0">
                <a:pos x="connsiteX11720" y="connsiteY11720"/>
              </a:cxn>
              <a:cxn ang="0">
                <a:pos x="connsiteX11721" y="connsiteY11721"/>
              </a:cxn>
              <a:cxn ang="0">
                <a:pos x="connsiteX11722" y="connsiteY11722"/>
              </a:cxn>
              <a:cxn ang="0">
                <a:pos x="connsiteX11723" y="connsiteY11723"/>
              </a:cxn>
              <a:cxn ang="0">
                <a:pos x="connsiteX11724" y="connsiteY11724"/>
              </a:cxn>
              <a:cxn ang="0">
                <a:pos x="connsiteX11725" y="connsiteY11725"/>
              </a:cxn>
              <a:cxn ang="0">
                <a:pos x="connsiteX11726" y="connsiteY11726"/>
              </a:cxn>
              <a:cxn ang="0">
                <a:pos x="connsiteX11727" y="connsiteY11727"/>
              </a:cxn>
              <a:cxn ang="0">
                <a:pos x="connsiteX11728" y="connsiteY11728"/>
              </a:cxn>
              <a:cxn ang="0">
                <a:pos x="connsiteX11729" y="connsiteY11729"/>
              </a:cxn>
              <a:cxn ang="0">
                <a:pos x="connsiteX11730" y="connsiteY11730"/>
              </a:cxn>
              <a:cxn ang="0">
                <a:pos x="connsiteX11731" y="connsiteY11731"/>
              </a:cxn>
              <a:cxn ang="0">
                <a:pos x="connsiteX11732" y="connsiteY11732"/>
              </a:cxn>
              <a:cxn ang="0">
                <a:pos x="connsiteX11733" y="connsiteY11733"/>
              </a:cxn>
              <a:cxn ang="0">
                <a:pos x="connsiteX11734" y="connsiteY11734"/>
              </a:cxn>
              <a:cxn ang="0">
                <a:pos x="connsiteX11735" y="connsiteY11735"/>
              </a:cxn>
              <a:cxn ang="0">
                <a:pos x="connsiteX11736" y="connsiteY11736"/>
              </a:cxn>
              <a:cxn ang="0">
                <a:pos x="connsiteX11737" y="connsiteY11737"/>
              </a:cxn>
              <a:cxn ang="0">
                <a:pos x="connsiteX11738" y="connsiteY11738"/>
              </a:cxn>
              <a:cxn ang="0">
                <a:pos x="connsiteX11739" y="connsiteY11739"/>
              </a:cxn>
              <a:cxn ang="0">
                <a:pos x="connsiteX11740" y="connsiteY11740"/>
              </a:cxn>
              <a:cxn ang="0">
                <a:pos x="connsiteX11741" y="connsiteY11741"/>
              </a:cxn>
              <a:cxn ang="0">
                <a:pos x="connsiteX11742" y="connsiteY11742"/>
              </a:cxn>
              <a:cxn ang="0">
                <a:pos x="connsiteX11743" y="connsiteY11743"/>
              </a:cxn>
              <a:cxn ang="0">
                <a:pos x="connsiteX11744" y="connsiteY11744"/>
              </a:cxn>
              <a:cxn ang="0">
                <a:pos x="connsiteX11745" y="connsiteY11745"/>
              </a:cxn>
              <a:cxn ang="0">
                <a:pos x="connsiteX11746" y="connsiteY11746"/>
              </a:cxn>
              <a:cxn ang="0">
                <a:pos x="connsiteX11747" y="connsiteY11747"/>
              </a:cxn>
              <a:cxn ang="0">
                <a:pos x="connsiteX11748" y="connsiteY11748"/>
              </a:cxn>
              <a:cxn ang="0">
                <a:pos x="connsiteX11749" y="connsiteY11749"/>
              </a:cxn>
              <a:cxn ang="0">
                <a:pos x="connsiteX11750" y="connsiteY11750"/>
              </a:cxn>
              <a:cxn ang="0">
                <a:pos x="connsiteX11751" y="connsiteY11751"/>
              </a:cxn>
              <a:cxn ang="0">
                <a:pos x="connsiteX11752" y="connsiteY11752"/>
              </a:cxn>
              <a:cxn ang="0">
                <a:pos x="connsiteX11753" y="connsiteY11753"/>
              </a:cxn>
              <a:cxn ang="0">
                <a:pos x="connsiteX11754" y="connsiteY11754"/>
              </a:cxn>
              <a:cxn ang="0">
                <a:pos x="connsiteX11755" y="connsiteY11755"/>
              </a:cxn>
              <a:cxn ang="0">
                <a:pos x="connsiteX11756" y="connsiteY11756"/>
              </a:cxn>
              <a:cxn ang="0">
                <a:pos x="connsiteX11757" y="connsiteY11757"/>
              </a:cxn>
              <a:cxn ang="0">
                <a:pos x="connsiteX11758" y="connsiteY11758"/>
              </a:cxn>
              <a:cxn ang="0">
                <a:pos x="connsiteX11759" y="connsiteY11759"/>
              </a:cxn>
              <a:cxn ang="0">
                <a:pos x="connsiteX11760" y="connsiteY11760"/>
              </a:cxn>
              <a:cxn ang="0">
                <a:pos x="connsiteX11761" y="connsiteY11761"/>
              </a:cxn>
              <a:cxn ang="0">
                <a:pos x="connsiteX11762" y="connsiteY11762"/>
              </a:cxn>
              <a:cxn ang="0">
                <a:pos x="connsiteX11763" y="connsiteY11763"/>
              </a:cxn>
              <a:cxn ang="0">
                <a:pos x="connsiteX11764" y="connsiteY11764"/>
              </a:cxn>
              <a:cxn ang="0">
                <a:pos x="connsiteX11765" y="connsiteY11765"/>
              </a:cxn>
              <a:cxn ang="0">
                <a:pos x="connsiteX11766" y="connsiteY11766"/>
              </a:cxn>
              <a:cxn ang="0">
                <a:pos x="connsiteX11767" y="connsiteY11767"/>
              </a:cxn>
              <a:cxn ang="0">
                <a:pos x="connsiteX11768" y="connsiteY11768"/>
              </a:cxn>
              <a:cxn ang="0">
                <a:pos x="connsiteX11769" y="connsiteY11769"/>
              </a:cxn>
              <a:cxn ang="0">
                <a:pos x="connsiteX11770" y="connsiteY11770"/>
              </a:cxn>
              <a:cxn ang="0">
                <a:pos x="connsiteX11771" y="connsiteY11771"/>
              </a:cxn>
              <a:cxn ang="0">
                <a:pos x="connsiteX11772" y="connsiteY11772"/>
              </a:cxn>
              <a:cxn ang="0">
                <a:pos x="connsiteX11773" y="connsiteY11773"/>
              </a:cxn>
              <a:cxn ang="0">
                <a:pos x="connsiteX11774" y="connsiteY11774"/>
              </a:cxn>
              <a:cxn ang="0">
                <a:pos x="connsiteX11775" y="connsiteY11775"/>
              </a:cxn>
              <a:cxn ang="0">
                <a:pos x="connsiteX11776" y="connsiteY11776"/>
              </a:cxn>
              <a:cxn ang="0">
                <a:pos x="connsiteX11777" y="connsiteY11777"/>
              </a:cxn>
              <a:cxn ang="0">
                <a:pos x="connsiteX11778" y="connsiteY11778"/>
              </a:cxn>
              <a:cxn ang="0">
                <a:pos x="connsiteX11779" y="connsiteY11779"/>
              </a:cxn>
              <a:cxn ang="0">
                <a:pos x="connsiteX11780" y="connsiteY11780"/>
              </a:cxn>
              <a:cxn ang="0">
                <a:pos x="connsiteX11781" y="connsiteY11781"/>
              </a:cxn>
              <a:cxn ang="0">
                <a:pos x="connsiteX11782" y="connsiteY11782"/>
              </a:cxn>
              <a:cxn ang="0">
                <a:pos x="connsiteX11783" y="connsiteY11783"/>
              </a:cxn>
              <a:cxn ang="0">
                <a:pos x="connsiteX11784" y="connsiteY11784"/>
              </a:cxn>
              <a:cxn ang="0">
                <a:pos x="connsiteX11785" y="connsiteY11785"/>
              </a:cxn>
              <a:cxn ang="0">
                <a:pos x="connsiteX11786" y="connsiteY11786"/>
              </a:cxn>
              <a:cxn ang="0">
                <a:pos x="connsiteX11787" y="connsiteY11787"/>
              </a:cxn>
              <a:cxn ang="0">
                <a:pos x="connsiteX11788" y="connsiteY11788"/>
              </a:cxn>
              <a:cxn ang="0">
                <a:pos x="connsiteX11789" y="connsiteY11789"/>
              </a:cxn>
              <a:cxn ang="0">
                <a:pos x="connsiteX11790" y="connsiteY11790"/>
              </a:cxn>
              <a:cxn ang="0">
                <a:pos x="connsiteX11791" y="connsiteY11791"/>
              </a:cxn>
              <a:cxn ang="0">
                <a:pos x="connsiteX11792" y="connsiteY11792"/>
              </a:cxn>
              <a:cxn ang="0">
                <a:pos x="connsiteX11793" y="connsiteY11793"/>
              </a:cxn>
              <a:cxn ang="0">
                <a:pos x="connsiteX11794" y="connsiteY11794"/>
              </a:cxn>
              <a:cxn ang="0">
                <a:pos x="connsiteX11795" y="connsiteY11795"/>
              </a:cxn>
              <a:cxn ang="0">
                <a:pos x="connsiteX11796" y="connsiteY11796"/>
              </a:cxn>
              <a:cxn ang="0">
                <a:pos x="connsiteX11797" y="connsiteY11797"/>
              </a:cxn>
              <a:cxn ang="0">
                <a:pos x="connsiteX11798" y="connsiteY11798"/>
              </a:cxn>
              <a:cxn ang="0">
                <a:pos x="connsiteX11799" y="connsiteY11799"/>
              </a:cxn>
              <a:cxn ang="0">
                <a:pos x="connsiteX11800" y="connsiteY11800"/>
              </a:cxn>
              <a:cxn ang="0">
                <a:pos x="connsiteX11801" y="connsiteY11801"/>
              </a:cxn>
              <a:cxn ang="0">
                <a:pos x="connsiteX11802" y="connsiteY11802"/>
              </a:cxn>
              <a:cxn ang="0">
                <a:pos x="connsiteX11803" y="connsiteY11803"/>
              </a:cxn>
              <a:cxn ang="0">
                <a:pos x="connsiteX11804" y="connsiteY11804"/>
              </a:cxn>
              <a:cxn ang="0">
                <a:pos x="connsiteX11805" y="connsiteY11805"/>
              </a:cxn>
              <a:cxn ang="0">
                <a:pos x="connsiteX11806" y="connsiteY11806"/>
              </a:cxn>
              <a:cxn ang="0">
                <a:pos x="connsiteX11807" y="connsiteY11807"/>
              </a:cxn>
              <a:cxn ang="0">
                <a:pos x="connsiteX11808" y="connsiteY11808"/>
              </a:cxn>
              <a:cxn ang="0">
                <a:pos x="connsiteX11809" y="connsiteY11809"/>
              </a:cxn>
              <a:cxn ang="0">
                <a:pos x="connsiteX11810" y="connsiteY11810"/>
              </a:cxn>
              <a:cxn ang="0">
                <a:pos x="connsiteX11811" y="connsiteY11811"/>
              </a:cxn>
              <a:cxn ang="0">
                <a:pos x="connsiteX11812" y="connsiteY11812"/>
              </a:cxn>
              <a:cxn ang="0">
                <a:pos x="connsiteX11813" y="connsiteY11813"/>
              </a:cxn>
              <a:cxn ang="0">
                <a:pos x="connsiteX11814" y="connsiteY11814"/>
              </a:cxn>
              <a:cxn ang="0">
                <a:pos x="connsiteX11815" y="connsiteY11815"/>
              </a:cxn>
              <a:cxn ang="0">
                <a:pos x="connsiteX11816" y="connsiteY11816"/>
              </a:cxn>
              <a:cxn ang="0">
                <a:pos x="connsiteX11817" y="connsiteY11817"/>
              </a:cxn>
              <a:cxn ang="0">
                <a:pos x="connsiteX11818" y="connsiteY11818"/>
              </a:cxn>
              <a:cxn ang="0">
                <a:pos x="connsiteX11819" y="connsiteY11819"/>
              </a:cxn>
              <a:cxn ang="0">
                <a:pos x="connsiteX11820" y="connsiteY11820"/>
              </a:cxn>
              <a:cxn ang="0">
                <a:pos x="connsiteX11821" y="connsiteY11821"/>
              </a:cxn>
              <a:cxn ang="0">
                <a:pos x="connsiteX11822" y="connsiteY11822"/>
              </a:cxn>
              <a:cxn ang="0">
                <a:pos x="connsiteX11823" y="connsiteY11823"/>
              </a:cxn>
              <a:cxn ang="0">
                <a:pos x="connsiteX11824" y="connsiteY11824"/>
              </a:cxn>
              <a:cxn ang="0">
                <a:pos x="connsiteX11825" y="connsiteY11825"/>
              </a:cxn>
              <a:cxn ang="0">
                <a:pos x="connsiteX11826" y="connsiteY11826"/>
              </a:cxn>
              <a:cxn ang="0">
                <a:pos x="connsiteX11827" y="connsiteY11827"/>
              </a:cxn>
              <a:cxn ang="0">
                <a:pos x="connsiteX11828" y="connsiteY11828"/>
              </a:cxn>
              <a:cxn ang="0">
                <a:pos x="connsiteX11829" y="connsiteY11829"/>
              </a:cxn>
              <a:cxn ang="0">
                <a:pos x="connsiteX11830" y="connsiteY11830"/>
              </a:cxn>
              <a:cxn ang="0">
                <a:pos x="connsiteX11831" y="connsiteY11831"/>
              </a:cxn>
              <a:cxn ang="0">
                <a:pos x="connsiteX11832" y="connsiteY11832"/>
              </a:cxn>
              <a:cxn ang="0">
                <a:pos x="connsiteX11833" y="connsiteY11833"/>
              </a:cxn>
              <a:cxn ang="0">
                <a:pos x="connsiteX11834" y="connsiteY11834"/>
              </a:cxn>
              <a:cxn ang="0">
                <a:pos x="connsiteX11835" y="connsiteY11835"/>
              </a:cxn>
              <a:cxn ang="0">
                <a:pos x="connsiteX11836" y="connsiteY11836"/>
              </a:cxn>
              <a:cxn ang="0">
                <a:pos x="connsiteX11837" y="connsiteY11837"/>
              </a:cxn>
              <a:cxn ang="0">
                <a:pos x="connsiteX11838" y="connsiteY11838"/>
              </a:cxn>
              <a:cxn ang="0">
                <a:pos x="connsiteX11839" y="connsiteY11839"/>
              </a:cxn>
              <a:cxn ang="0">
                <a:pos x="connsiteX11840" y="connsiteY11840"/>
              </a:cxn>
              <a:cxn ang="0">
                <a:pos x="connsiteX11841" y="connsiteY11841"/>
              </a:cxn>
              <a:cxn ang="0">
                <a:pos x="connsiteX11842" y="connsiteY11842"/>
              </a:cxn>
              <a:cxn ang="0">
                <a:pos x="connsiteX11843" y="connsiteY11843"/>
              </a:cxn>
              <a:cxn ang="0">
                <a:pos x="connsiteX11844" y="connsiteY11844"/>
              </a:cxn>
              <a:cxn ang="0">
                <a:pos x="connsiteX11845" y="connsiteY11845"/>
              </a:cxn>
              <a:cxn ang="0">
                <a:pos x="connsiteX11846" y="connsiteY11846"/>
              </a:cxn>
              <a:cxn ang="0">
                <a:pos x="connsiteX11847" y="connsiteY11847"/>
              </a:cxn>
              <a:cxn ang="0">
                <a:pos x="connsiteX11848" y="connsiteY11848"/>
              </a:cxn>
              <a:cxn ang="0">
                <a:pos x="connsiteX11849" y="connsiteY11849"/>
              </a:cxn>
              <a:cxn ang="0">
                <a:pos x="connsiteX11850" y="connsiteY11850"/>
              </a:cxn>
              <a:cxn ang="0">
                <a:pos x="connsiteX11851" y="connsiteY11851"/>
              </a:cxn>
              <a:cxn ang="0">
                <a:pos x="connsiteX11852" y="connsiteY11852"/>
              </a:cxn>
              <a:cxn ang="0">
                <a:pos x="connsiteX11853" y="connsiteY11853"/>
              </a:cxn>
              <a:cxn ang="0">
                <a:pos x="connsiteX11854" y="connsiteY11854"/>
              </a:cxn>
              <a:cxn ang="0">
                <a:pos x="connsiteX11855" y="connsiteY11855"/>
              </a:cxn>
              <a:cxn ang="0">
                <a:pos x="connsiteX11856" y="connsiteY11856"/>
              </a:cxn>
              <a:cxn ang="0">
                <a:pos x="connsiteX11857" y="connsiteY11857"/>
              </a:cxn>
              <a:cxn ang="0">
                <a:pos x="connsiteX11858" y="connsiteY11858"/>
              </a:cxn>
              <a:cxn ang="0">
                <a:pos x="connsiteX11859" y="connsiteY11859"/>
              </a:cxn>
              <a:cxn ang="0">
                <a:pos x="connsiteX11860" y="connsiteY11860"/>
              </a:cxn>
              <a:cxn ang="0">
                <a:pos x="connsiteX11861" y="connsiteY11861"/>
              </a:cxn>
              <a:cxn ang="0">
                <a:pos x="connsiteX11862" y="connsiteY11862"/>
              </a:cxn>
              <a:cxn ang="0">
                <a:pos x="connsiteX11863" y="connsiteY11863"/>
              </a:cxn>
              <a:cxn ang="0">
                <a:pos x="connsiteX11864" y="connsiteY11864"/>
              </a:cxn>
              <a:cxn ang="0">
                <a:pos x="connsiteX11865" y="connsiteY11865"/>
              </a:cxn>
              <a:cxn ang="0">
                <a:pos x="connsiteX11866" y="connsiteY11866"/>
              </a:cxn>
              <a:cxn ang="0">
                <a:pos x="connsiteX11867" y="connsiteY11867"/>
              </a:cxn>
              <a:cxn ang="0">
                <a:pos x="connsiteX11868" y="connsiteY11868"/>
              </a:cxn>
              <a:cxn ang="0">
                <a:pos x="connsiteX11869" y="connsiteY11869"/>
              </a:cxn>
              <a:cxn ang="0">
                <a:pos x="connsiteX11870" y="connsiteY11870"/>
              </a:cxn>
              <a:cxn ang="0">
                <a:pos x="connsiteX11871" y="connsiteY11871"/>
              </a:cxn>
              <a:cxn ang="0">
                <a:pos x="connsiteX11872" y="connsiteY11872"/>
              </a:cxn>
              <a:cxn ang="0">
                <a:pos x="connsiteX11873" y="connsiteY11873"/>
              </a:cxn>
              <a:cxn ang="0">
                <a:pos x="connsiteX11874" y="connsiteY11874"/>
              </a:cxn>
              <a:cxn ang="0">
                <a:pos x="connsiteX11875" y="connsiteY11875"/>
              </a:cxn>
              <a:cxn ang="0">
                <a:pos x="connsiteX11876" y="connsiteY11876"/>
              </a:cxn>
              <a:cxn ang="0">
                <a:pos x="connsiteX11877" y="connsiteY11877"/>
              </a:cxn>
              <a:cxn ang="0">
                <a:pos x="connsiteX11878" y="connsiteY11878"/>
              </a:cxn>
              <a:cxn ang="0">
                <a:pos x="connsiteX11879" y="connsiteY11879"/>
              </a:cxn>
              <a:cxn ang="0">
                <a:pos x="connsiteX11880" y="connsiteY11880"/>
              </a:cxn>
              <a:cxn ang="0">
                <a:pos x="connsiteX11881" y="connsiteY11881"/>
              </a:cxn>
              <a:cxn ang="0">
                <a:pos x="connsiteX11882" y="connsiteY11882"/>
              </a:cxn>
              <a:cxn ang="0">
                <a:pos x="connsiteX11883" y="connsiteY11883"/>
              </a:cxn>
              <a:cxn ang="0">
                <a:pos x="connsiteX11884" y="connsiteY11884"/>
              </a:cxn>
              <a:cxn ang="0">
                <a:pos x="connsiteX11885" y="connsiteY11885"/>
              </a:cxn>
              <a:cxn ang="0">
                <a:pos x="connsiteX11886" y="connsiteY11886"/>
              </a:cxn>
              <a:cxn ang="0">
                <a:pos x="connsiteX11887" y="connsiteY11887"/>
              </a:cxn>
              <a:cxn ang="0">
                <a:pos x="connsiteX11888" y="connsiteY11888"/>
              </a:cxn>
              <a:cxn ang="0">
                <a:pos x="connsiteX11889" y="connsiteY11889"/>
              </a:cxn>
              <a:cxn ang="0">
                <a:pos x="connsiteX11890" y="connsiteY11890"/>
              </a:cxn>
              <a:cxn ang="0">
                <a:pos x="connsiteX11891" y="connsiteY11891"/>
              </a:cxn>
              <a:cxn ang="0">
                <a:pos x="connsiteX11892" y="connsiteY11892"/>
              </a:cxn>
              <a:cxn ang="0">
                <a:pos x="connsiteX11893" y="connsiteY11893"/>
              </a:cxn>
              <a:cxn ang="0">
                <a:pos x="connsiteX11894" y="connsiteY11894"/>
              </a:cxn>
              <a:cxn ang="0">
                <a:pos x="connsiteX11895" y="connsiteY11895"/>
              </a:cxn>
              <a:cxn ang="0">
                <a:pos x="connsiteX11896" y="connsiteY11896"/>
              </a:cxn>
              <a:cxn ang="0">
                <a:pos x="connsiteX11897" y="connsiteY11897"/>
              </a:cxn>
              <a:cxn ang="0">
                <a:pos x="connsiteX11898" y="connsiteY11898"/>
              </a:cxn>
              <a:cxn ang="0">
                <a:pos x="connsiteX11899" y="connsiteY11899"/>
              </a:cxn>
              <a:cxn ang="0">
                <a:pos x="connsiteX11900" y="connsiteY11900"/>
              </a:cxn>
              <a:cxn ang="0">
                <a:pos x="connsiteX11901" y="connsiteY11901"/>
              </a:cxn>
              <a:cxn ang="0">
                <a:pos x="connsiteX11902" y="connsiteY11902"/>
              </a:cxn>
              <a:cxn ang="0">
                <a:pos x="connsiteX11903" y="connsiteY11903"/>
              </a:cxn>
              <a:cxn ang="0">
                <a:pos x="connsiteX11904" y="connsiteY11904"/>
              </a:cxn>
              <a:cxn ang="0">
                <a:pos x="connsiteX11905" y="connsiteY11905"/>
              </a:cxn>
              <a:cxn ang="0">
                <a:pos x="connsiteX11906" y="connsiteY11906"/>
              </a:cxn>
              <a:cxn ang="0">
                <a:pos x="connsiteX11907" y="connsiteY11907"/>
              </a:cxn>
              <a:cxn ang="0">
                <a:pos x="connsiteX11908" y="connsiteY11908"/>
              </a:cxn>
              <a:cxn ang="0">
                <a:pos x="connsiteX11909" y="connsiteY11909"/>
              </a:cxn>
              <a:cxn ang="0">
                <a:pos x="connsiteX11910" y="connsiteY11910"/>
              </a:cxn>
              <a:cxn ang="0">
                <a:pos x="connsiteX11911" y="connsiteY11911"/>
              </a:cxn>
              <a:cxn ang="0">
                <a:pos x="connsiteX11912" y="connsiteY11912"/>
              </a:cxn>
              <a:cxn ang="0">
                <a:pos x="connsiteX11913" y="connsiteY11913"/>
              </a:cxn>
              <a:cxn ang="0">
                <a:pos x="connsiteX11914" y="connsiteY11914"/>
              </a:cxn>
              <a:cxn ang="0">
                <a:pos x="connsiteX11915" y="connsiteY11915"/>
              </a:cxn>
              <a:cxn ang="0">
                <a:pos x="connsiteX11916" y="connsiteY11916"/>
              </a:cxn>
              <a:cxn ang="0">
                <a:pos x="connsiteX11917" y="connsiteY11917"/>
              </a:cxn>
              <a:cxn ang="0">
                <a:pos x="connsiteX11918" y="connsiteY11918"/>
              </a:cxn>
              <a:cxn ang="0">
                <a:pos x="connsiteX11919" y="connsiteY11919"/>
              </a:cxn>
              <a:cxn ang="0">
                <a:pos x="connsiteX11920" y="connsiteY11920"/>
              </a:cxn>
              <a:cxn ang="0">
                <a:pos x="connsiteX11921" y="connsiteY11921"/>
              </a:cxn>
              <a:cxn ang="0">
                <a:pos x="connsiteX11922" y="connsiteY11922"/>
              </a:cxn>
              <a:cxn ang="0">
                <a:pos x="connsiteX11923" y="connsiteY11923"/>
              </a:cxn>
              <a:cxn ang="0">
                <a:pos x="connsiteX11924" y="connsiteY11924"/>
              </a:cxn>
              <a:cxn ang="0">
                <a:pos x="connsiteX11925" y="connsiteY11925"/>
              </a:cxn>
              <a:cxn ang="0">
                <a:pos x="connsiteX11926" y="connsiteY11926"/>
              </a:cxn>
              <a:cxn ang="0">
                <a:pos x="connsiteX11927" y="connsiteY11927"/>
              </a:cxn>
              <a:cxn ang="0">
                <a:pos x="connsiteX11928" y="connsiteY11928"/>
              </a:cxn>
              <a:cxn ang="0">
                <a:pos x="connsiteX11929" y="connsiteY11929"/>
              </a:cxn>
              <a:cxn ang="0">
                <a:pos x="connsiteX11930" y="connsiteY11930"/>
              </a:cxn>
              <a:cxn ang="0">
                <a:pos x="connsiteX11931" y="connsiteY11931"/>
              </a:cxn>
              <a:cxn ang="0">
                <a:pos x="connsiteX11932" y="connsiteY11932"/>
              </a:cxn>
              <a:cxn ang="0">
                <a:pos x="connsiteX11933" y="connsiteY11933"/>
              </a:cxn>
              <a:cxn ang="0">
                <a:pos x="connsiteX11934" y="connsiteY11934"/>
              </a:cxn>
              <a:cxn ang="0">
                <a:pos x="connsiteX11935" y="connsiteY11935"/>
              </a:cxn>
              <a:cxn ang="0">
                <a:pos x="connsiteX11936" y="connsiteY11936"/>
              </a:cxn>
              <a:cxn ang="0">
                <a:pos x="connsiteX11937" y="connsiteY11937"/>
              </a:cxn>
              <a:cxn ang="0">
                <a:pos x="connsiteX11938" y="connsiteY11938"/>
              </a:cxn>
              <a:cxn ang="0">
                <a:pos x="connsiteX11939" y="connsiteY11939"/>
              </a:cxn>
              <a:cxn ang="0">
                <a:pos x="connsiteX11940" y="connsiteY11940"/>
              </a:cxn>
              <a:cxn ang="0">
                <a:pos x="connsiteX11941" y="connsiteY11941"/>
              </a:cxn>
              <a:cxn ang="0">
                <a:pos x="connsiteX11942" y="connsiteY11942"/>
              </a:cxn>
              <a:cxn ang="0">
                <a:pos x="connsiteX11943" y="connsiteY11943"/>
              </a:cxn>
              <a:cxn ang="0">
                <a:pos x="connsiteX11944" y="connsiteY11944"/>
              </a:cxn>
              <a:cxn ang="0">
                <a:pos x="connsiteX11945" y="connsiteY11945"/>
              </a:cxn>
              <a:cxn ang="0">
                <a:pos x="connsiteX11946" y="connsiteY11946"/>
              </a:cxn>
              <a:cxn ang="0">
                <a:pos x="connsiteX11947" y="connsiteY11947"/>
              </a:cxn>
              <a:cxn ang="0">
                <a:pos x="connsiteX11948" y="connsiteY11948"/>
              </a:cxn>
              <a:cxn ang="0">
                <a:pos x="connsiteX11949" y="connsiteY11949"/>
              </a:cxn>
              <a:cxn ang="0">
                <a:pos x="connsiteX11950" y="connsiteY11950"/>
              </a:cxn>
              <a:cxn ang="0">
                <a:pos x="connsiteX11951" y="connsiteY11951"/>
              </a:cxn>
              <a:cxn ang="0">
                <a:pos x="connsiteX11952" y="connsiteY11952"/>
              </a:cxn>
              <a:cxn ang="0">
                <a:pos x="connsiteX11953" y="connsiteY11953"/>
              </a:cxn>
              <a:cxn ang="0">
                <a:pos x="connsiteX11954" y="connsiteY11954"/>
              </a:cxn>
              <a:cxn ang="0">
                <a:pos x="connsiteX11955" y="connsiteY11955"/>
              </a:cxn>
              <a:cxn ang="0">
                <a:pos x="connsiteX11956" y="connsiteY11956"/>
              </a:cxn>
              <a:cxn ang="0">
                <a:pos x="connsiteX11957" y="connsiteY11957"/>
              </a:cxn>
              <a:cxn ang="0">
                <a:pos x="connsiteX11958" y="connsiteY11958"/>
              </a:cxn>
              <a:cxn ang="0">
                <a:pos x="connsiteX11959" y="connsiteY11959"/>
              </a:cxn>
              <a:cxn ang="0">
                <a:pos x="connsiteX11960" y="connsiteY11960"/>
              </a:cxn>
              <a:cxn ang="0">
                <a:pos x="connsiteX11961" y="connsiteY11961"/>
              </a:cxn>
              <a:cxn ang="0">
                <a:pos x="connsiteX11962" y="connsiteY11962"/>
              </a:cxn>
              <a:cxn ang="0">
                <a:pos x="connsiteX11963" y="connsiteY11963"/>
              </a:cxn>
              <a:cxn ang="0">
                <a:pos x="connsiteX11964" y="connsiteY11964"/>
              </a:cxn>
              <a:cxn ang="0">
                <a:pos x="connsiteX11965" y="connsiteY11965"/>
              </a:cxn>
              <a:cxn ang="0">
                <a:pos x="connsiteX11966" y="connsiteY11966"/>
              </a:cxn>
              <a:cxn ang="0">
                <a:pos x="connsiteX11967" y="connsiteY11967"/>
              </a:cxn>
              <a:cxn ang="0">
                <a:pos x="connsiteX11968" y="connsiteY11968"/>
              </a:cxn>
              <a:cxn ang="0">
                <a:pos x="connsiteX11969" y="connsiteY11969"/>
              </a:cxn>
              <a:cxn ang="0">
                <a:pos x="connsiteX11970" y="connsiteY11970"/>
              </a:cxn>
              <a:cxn ang="0">
                <a:pos x="connsiteX11971" y="connsiteY11971"/>
              </a:cxn>
              <a:cxn ang="0">
                <a:pos x="connsiteX11972" y="connsiteY11972"/>
              </a:cxn>
              <a:cxn ang="0">
                <a:pos x="connsiteX11973" y="connsiteY11973"/>
              </a:cxn>
              <a:cxn ang="0">
                <a:pos x="connsiteX11974" y="connsiteY11974"/>
              </a:cxn>
              <a:cxn ang="0">
                <a:pos x="connsiteX11975" y="connsiteY11975"/>
              </a:cxn>
              <a:cxn ang="0">
                <a:pos x="connsiteX11976" y="connsiteY11976"/>
              </a:cxn>
              <a:cxn ang="0">
                <a:pos x="connsiteX11977" y="connsiteY11977"/>
              </a:cxn>
              <a:cxn ang="0">
                <a:pos x="connsiteX11978" y="connsiteY11978"/>
              </a:cxn>
              <a:cxn ang="0">
                <a:pos x="connsiteX11979" y="connsiteY11979"/>
              </a:cxn>
              <a:cxn ang="0">
                <a:pos x="connsiteX11980" y="connsiteY11980"/>
              </a:cxn>
              <a:cxn ang="0">
                <a:pos x="connsiteX11981" y="connsiteY11981"/>
              </a:cxn>
              <a:cxn ang="0">
                <a:pos x="connsiteX11982" y="connsiteY11982"/>
              </a:cxn>
              <a:cxn ang="0">
                <a:pos x="connsiteX11983" y="connsiteY11983"/>
              </a:cxn>
              <a:cxn ang="0">
                <a:pos x="connsiteX11984" y="connsiteY11984"/>
              </a:cxn>
              <a:cxn ang="0">
                <a:pos x="connsiteX11985" y="connsiteY11985"/>
              </a:cxn>
              <a:cxn ang="0">
                <a:pos x="connsiteX11986" y="connsiteY11986"/>
              </a:cxn>
              <a:cxn ang="0">
                <a:pos x="connsiteX11987" y="connsiteY11987"/>
              </a:cxn>
              <a:cxn ang="0">
                <a:pos x="connsiteX11988" y="connsiteY11988"/>
              </a:cxn>
              <a:cxn ang="0">
                <a:pos x="connsiteX11989" y="connsiteY11989"/>
              </a:cxn>
              <a:cxn ang="0">
                <a:pos x="connsiteX11990" y="connsiteY11990"/>
              </a:cxn>
              <a:cxn ang="0">
                <a:pos x="connsiteX11991" y="connsiteY11991"/>
              </a:cxn>
              <a:cxn ang="0">
                <a:pos x="connsiteX11992" y="connsiteY11992"/>
              </a:cxn>
              <a:cxn ang="0">
                <a:pos x="connsiteX11993" y="connsiteY11993"/>
              </a:cxn>
              <a:cxn ang="0">
                <a:pos x="connsiteX11994" y="connsiteY11994"/>
              </a:cxn>
              <a:cxn ang="0">
                <a:pos x="connsiteX11995" y="connsiteY11995"/>
              </a:cxn>
              <a:cxn ang="0">
                <a:pos x="connsiteX11996" y="connsiteY11996"/>
              </a:cxn>
              <a:cxn ang="0">
                <a:pos x="connsiteX11997" y="connsiteY11997"/>
              </a:cxn>
              <a:cxn ang="0">
                <a:pos x="connsiteX11998" y="connsiteY11998"/>
              </a:cxn>
              <a:cxn ang="0">
                <a:pos x="connsiteX11999" y="connsiteY11999"/>
              </a:cxn>
              <a:cxn ang="0">
                <a:pos x="connsiteX12000" y="connsiteY12000"/>
              </a:cxn>
              <a:cxn ang="0">
                <a:pos x="connsiteX12001" y="connsiteY12001"/>
              </a:cxn>
              <a:cxn ang="0">
                <a:pos x="connsiteX12002" y="connsiteY12002"/>
              </a:cxn>
              <a:cxn ang="0">
                <a:pos x="connsiteX12003" y="connsiteY12003"/>
              </a:cxn>
              <a:cxn ang="0">
                <a:pos x="connsiteX12004" y="connsiteY12004"/>
              </a:cxn>
              <a:cxn ang="0">
                <a:pos x="connsiteX12005" y="connsiteY12005"/>
              </a:cxn>
              <a:cxn ang="0">
                <a:pos x="connsiteX12006" y="connsiteY12006"/>
              </a:cxn>
              <a:cxn ang="0">
                <a:pos x="connsiteX12007" y="connsiteY12007"/>
              </a:cxn>
              <a:cxn ang="0">
                <a:pos x="connsiteX12008" y="connsiteY12008"/>
              </a:cxn>
              <a:cxn ang="0">
                <a:pos x="connsiteX12009" y="connsiteY12009"/>
              </a:cxn>
              <a:cxn ang="0">
                <a:pos x="connsiteX12010" y="connsiteY12010"/>
              </a:cxn>
              <a:cxn ang="0">
                <a:pos x="connsiteX12011" y="connsiteY12011"/>
              </a:cxn>
              <a:cxn ang="0">
                <a:pos x="connsiteX12012" y="connsiteY12012"/>
              </a:cxn>
              <a:cxn ang="0">
                <a:pos x="connsiteX12013" y="connsiteY12013"/>
              </a:cxn>
              <a:cxn ang="0">
                <a:pos x="connsiteX12014" y="connsiteY12014"/>
              </a:cxn>
              <a:cxn ang="0">
                <a:pos x="connsiteX12015" y="connsiteY12015"/>
              </a:cxn>
              <a:cxn ang="0">
                <a:pos x="connsiteX12016" y="connsiteY12016"/>
              </a:cxn>
              <a:cxn ang="0">
                <a:pos x="connsiteX12017" y="connsiteY12017"/>
              </a:cxn>
              <a:cxn ang="0">
                <a:pos x="connsiteX12018" y="connsiteY12018"/>
              </a:cxn>
              <a:cxn ang="0">
                <a:pos x="connsiteX12019" y="connsiteY12019"/>
              </a:cxn>
              <a:cxn ang="0">
                <a:pos x="connsiteX12020" y="connsiteY12020"/>
              </a:cxn>
              <a:cxn ang="0">
                <a:pos x="connsiteX12021" y="connsiteY12021"/>
              </a:cxn>
              <a:cxn ang="0">
                <a:pos x="connsiteX12022" y="connsiteY12022"/>
              </a:cxn>
              <a:cxn ang="0">
                <a:pos x="connsiteX12023" y="connsiteY12023"/>
              </a:cxn>
              <a:cxn ang="0">
                <a:pos x="connsiteX12024" y="connsiteY12024"/>
              </a:cxn>
              <a:cxn ang="0">
                <a:pos x="connsiteX12025" y="connsiteY12025"/>
              </a:cxn>
              <a:cxn ang="0">
                <a:pos x="connsiteX12026" y="connsiteY12026"/>
              </a:cxn>
              <a:cxn ang="0">
                <a:pos x="connsiteX12027" y="connsiteY12027"/>
              </a:cxn>
              <a:cxn ang="0">
                <a:pos x="connsiteX12028" y="connsiteY12028"/>
              </a:cxn>
              <a:cxn ang="0">
                <a:pos x="connsiteX12029" y="connsiteY12029"/>
              </a:cxn>
              <a:cxn ang="0">
                <a:pos x="connsiteX12030" y="connsiteY12030"/>
              </a:cxn>
              <a:cxn ang="0">
                <a:pos x="connsiteX12031" y="connsiteY12031"/>
              </a:cxn>
              <a:cxn ang="0">
                <a:pos x="connsiteX12032" y="connsiteY12032"/>
              </a:cxn>
              <a:cxn ang="0">
                <a:pos x="connsiteX12033" y="connsiteY12033"/>
              </a:cxn>
              <a:cxn ang="0">
                <a:pos x="connsiteX12034" y="connsiteY12034"/>
              </a:cxn>
              <a:cxn ang="0">
                <a:pos x="connsiteX12035" y="connsiteY12035"/>
              </a:cxn>
              <a:cxn ang="0">
                <a:pos x="connsiteX12036" y="connsiteY12036"/>
              </a:cxn>
              <a:cxn ang="0">
                <a:pos x="connsiteX12037" y="connsiteY12037"/>
              </a:cxn>
              <a:cxn ang="0">
                <a:pos x="connsiteX12038" y="connsiteY12038"/>
              </a:cxn>
              <a:cxn ang="0">
                <a:pos x="connsiteX12039" y="connsiteY12039"/>
              </a:cxn>
              <a:cxn ang="0">
                <a:pos x="connsiteX12040" y="connsiteY12040"/>
              </a:cxn>
              <a:cxn ang="0">
                <a:pos x="connsiteX12041" y="connsiteY12041"/>
              </a:cxn>
              <a:cxn ang="0">
                <a:pos x="connsiteX12042" y="connsiteY12042"/>
              </a:cxn>
              <a:cxn ang="0">
                <a:pos x="connsiteX12043" y="connsiteY12043"/>
              </a:cxn>
              <a:cxn ang="0">
                <a:pos x="connsiteX12044" y="connsiteY12044"/>
              </a:cxn>
              <a:cxn ang="0">
                <a:pos x="connsiteX12045" y="connsiteY12045"/>
              </a:cxn>
              <a:cxn ang="0">
                <a:pos x="connsiteX12046" y="connsiteY12046"/>
              </a:cxn>
              <a:cxn ang="0">
                <a:pos x="connsiteX12047" y="connsiteY12047"/>
              </a:cxn>
              <a:cxn ang="0">
                <a:pos x="connsiteX12048" y="connsiteY12048"/>
              </a:cxn>
              <a:cxn ang="0">
                <a:pos x="connsiteX12049" y="connsiteY12049"/>
              </a:cxn>
              <a:cxn ang="0">
                <a:pos x="connsiteX12050" y="connsiteY12050"/>
              </a:cxn>
              <a:cxn ang="0">
                <a:pos x="connsiteX12051" y="connsiteY12051"/>
              </a:cxn>
              <a:cxn ang="0">
                <a:pos x="connsiteX12052" y="connsiteY12052"/>
              </a:cxn>
              <a:cxn ang="0">
                <a:pos x="connsiteX12053" y="connsiteY12053"/>
              </a:cxn>
              <a:cxn ang="0">
                <a:pos x="connsiteX12054" y="connsiteY12054"/>
              </a:cxn>
              <a:cxn ang="0">
                <a:pos x="connsiteX12055" y="connsiteY12055"/>
              </a:cxn>
              <a:cxn ang="0">
                <a:pos x="connsiteX12056" y="connsiteY12056"/>
              </a:cxn>
              <a:cxn ang="0">
                <a:pos x="connsiteX12057" y="connsiteY12057"/>
              </a:cxn>
              <a:cxn ang="0">
                <a:pos x="connsiteX12058" y="connsiteY12058"/>
              </a:cxn>
              <a:cxn ang="0">
                <a:pos x="connsiteX12059" y="connsiteY12059"/>
              </a:cxn>
              <a:cxn ang="0">
                <a:pos x="connsiteX12060" y="connsiteY12060"/>
              </a:cxn>
              <a:cxn ang="0">
                <a:pos x="connsiteX12061" y="connsiteY12061"/>
              </a:cxn>
              <a:cxn ang="0">
                <a:pos x="connsiteX12062" y="connsiteY12062"/>
              </a:cxn>
              <a:cxn ang="0">
                <a:pos x="connsiteX12063" y="connsiteY12063"/>
              </a:cxn>
              <a:cxn ang="0">
                <a:pos x="connsiteX12064" y="connsiteY12064"/>
              </a:cxn>
              <a:cxn ang="0">
                <a:pos x="connsiteX12065" y="connsiteY12065"/>
              </a:cxn>
              <a:cxn ang="0">
                <a:pos x="connsiteX12066" y="connsiteY12066"/>
              </a:cxn>
              <a:cxn ang="0">
                <a:pos x="connsiteX12067" y="connsiteY12067"/>
              </a:cxn>
              <a:cxn ang="0">
                <a:pos x="connsiteX12068" y="connsiteY12068"/>
              </a:cxn>
              <a:cxn ang="0">
                <a:pos x="connsiteX12069" y="connsiteY12069"/>
              </a:cxn>
              <a:cxn ang="0">
                <a:pos x="connsiteX12070" y="connsiteY12070"/>
              </a:cxn>
              <a:cxn ang="0">
                <a:pos x="connsiteX12071" y="connsiteY12071"/>
              </a:cxn>
              <a:cxn ang="0">
                <a:pos x="connsiteX12072" y="connsiteY12072"/>
              </a:cxn>
              <a:cxn ang="0">
                <a:pos x="connsiteX12073" y="connsiteY12073"/>
              </a:cxn>
              <a:cxn ang="0">
                <a:pos x="connsiteX12074" y="connsiteY12074"/>
              </a:cxn>
              <a:cxn ang="0">
                <a:pos x="connsiteX12075" y="connsiteY12075"/>
              </a:cxn>
              <a:cxn ang="0">
                <a:pos x="connsiteX12076" y="connsiteY12076"/>
              </a:cxn>
              <a:cxn ang="0">
                <a:pos x="connsiteX12077" y="connsiteY12077"/>
              </a:cxn>
              <a:cxn ang="0">
                <a:pos x="connsiteX12078" y="connsiteY12078"/>
              </a:cxn>
              <a:cxn ang="0">
                <a:pos x="connsiteX12079" y="connsiteY12079"/>
              </a:cxn>
              <a:cxn ang="0">
                <a:pos x="connsiteX12080" y="connsiteY12080"/>
              </a:cxn>
              <a:cxn ang="0">
                <a:pos x="connsiteX12081" y="connsiteY12081"/>
              </a:cxn>
              <a:cxn ang="0">
                <a:pos x="connsiteX12082" y="connsiteY12082"/>
              </a:cxn>
              <a:cxn ang="0">
                <a:pos x="connsiteX12083" y="connsiteY12083"/>
              </a:cxn>
              <a:cxn ang="0">
                <a:pos x="connsiteX12084" y="connsiteY12084"/>
              </a:cxn>
              <a:cxn ang="0">
                <a:pos x="connsiteX12085" y="connsiteY12085"/>
              </a:cxn>
              <a:cxn ang="0">
                <a:pos x="connsiteX12086" y="connsiteY12086"/>
              </a:cxn>
              <a:cxn ang="0">
                <a:pos x="connsiteX12087" y="connsiteY12087"/>
              </a:cxn>
              <a:cxn ang="0">
                <a:pos x="connsiteX12088" y="connsiteY12088"/>
              </a:cxn>
              <a:cxn ang="0">
                <a:pos x="connsiteX12089" y="connsiteY12089"/>
              </a:cxn>
              <a:cxn ang="0">
                <a:pos x="connsiteX12090" y="connsiteY12090"/>
              </a:cxn>
              <a:cxn ang="0">
                <a:pos x="connsiteX12091" y="connsiteY12091"/>
              </a:cxn>
              <a:cxn ang="0">
                <a:pos x="connsiteX12092" y="connsiteY12092"/>
              </a:cxn>
              <a:cxn ang="0">
                <a:pos x="connsiteX12093" y="connsiteY12093"/>
              </a:cxn>
              <a:cxn ang="0">
                <a:pos x="connsiteX12094" y="connsiteY12094"/>
              </a:cxn>
              <a:cxn ang="0">
                <a:pos x="connsiteX12095" y="connsiteY12095"/>
              </a:cxn>
              <a:cxn ang="0">
                <a:pos x="connsiteX12096" y="connsiteY12096"/>
              </a:cxn>
              <a:cxn ang="0">
                <a:pos x="connsiteX12097" y="connsiteY12097"/>
              </a:cxn>
              <a:cxn ang="0">
                <a:pos x="connsiteX12098" y="connsiteY12098"/>
              </a:cxn>
              <a:cxn ang="0">
                <a:pos x="connsiteX12099" y="connsiteY12099"/>
              </a:cxn>
              <a:cxn ang="0">
                <a:pos x="connsiteX12100" y="connsiteY12100"/>
              </a:cxn>
              <a:cxn ang="0">
                <a:pos x="connsiteX12101" y="connsiteY12101"/>
              </a:cxn>
              <a:cxn ang="0">
                <a:pos x="connsiteX12102" y="connsiteY12102"/>
              </a:cxn>
              <a:cxn ang="0">
                <a:pos x="connsiteX12103" y="connsiteY12103"/>
              </a:cxn>
              <a:cxn ang="0">
                <a:pos x="connsiteX12104" y="connsiteY12104"/>
              </a:cxn>
              <a:cxn ang="0">
                <a:pos x="connsiteX12105" y="connsiteY12105"/>
              </a:cxn>
              <a:cxn ang="0">
                <a:pos x="connsiteX12106" y="connsiteY12106"/>
              </a:cxn>
              <a:cxn ang="0">
                <a:pos x="connsiteX12107" y="connsiteY12107"/>
              </a:cxn>
              <a:cxn ang="0">
                <a:pos x="connsiteX12108" y="connsiteY12108"/>
              </a:cxn>
              <a:cxn ang="0">
                <a:pos x="connsiteX12109" y="connsiteY12109"/>
              </a:cxn>
              <a:cxn ang="0">
                <a:pos x="connsiteX12110" y="connsiteY12110"/>
              </a:cxn>
              <a:cxn ang="0">
                <a:pos x="connsiteX12111" y="connsiteY12111"/>
              </a:cxn>
              <a:cxn ang="0">
                <a:pos x="connsiteX12112" y="connsiteY12112"/>
              </a:cxn>
              <a:cxn ang="0">
                <a:pos x="connsiteX12113" y="connsiteY12113"/>
              </a:cxn>
              <a:cxn ang="0">
                <a:pos x="connsiteX12114" y="connsiteY12114"/>
              </a:cxn>
              <a:cxn ang="0">
                <a:pos x="connsiteX12115" y="connsiteY12115"/>
              </a:cxn>
              <a:cxn ang="0">
                <a:pos x="connsiteX12116" y="connsiteY12116"/>
              </a:cxn>
              <a:cxn ang="0">
                <a:pos x="connsiteX12117" y="connsiteY12117"/>
              </a:cxn>
              <a:cxn ang="0">
                <a:pos x="connsiteX12118" y="connsiteY12118"/>
              </a:cxn>
              <a:cxn ang="0">
                <a:pos x="connsiteX12119" y="connsiteY12119"/>
              </a:cxn>
              <a:cxn ang="0">
                <a:pos x="connsiteX12120" y="connsiteY12120"/>
              </a:cxn>
              <a:cxn ang="0">
                <a:pos x="connsiteX12121" y="connsiteY12121"/>
              </a:cxn>
              <a:cxn ang="0">
                <a:pos x="connsiteX12122" y="connsiteY12122"/>
              </a:cxn>
              <a:cxn ang="0">
                <a:pos x="connsiteX12123" y="connsiteY12123"/>
              </a:cxn>
              <a:cxn ang="0">
                <a:pos x="connsiteX12124" y="connsiteY12124"/>
              </a:cxn>
              <a:cxn ang="0">
                <a:pos x="connsiteX12125" y="connsiteY12125"/>
              </a:cxn>
              <a:cxn ang="0">
                <a:pos x="connsiteX12126" y="connsiteY12126"/>
              </a:cxn>
              <a:cxn ang="0">
                <a:pos x="connsiteX12127" y="connsiteY12127"/>
              </a:cxn>
              <a:cxn ang="0">
                <a:pos x="connsiteX12128" y="connsiteY12128"/>
              </a:cxn>
              <a:cxn ang="0">
                <a:pos x="connsiteX12129" y="connsiteY12129"/>
              </a:cxn>
              <a:cxn ang="0">
                <a:pos x="connsiteX12130" y="connsiteY12130"/>
              </a:cxn>
              <a:cxn ang="0">
                <a:pos x="connsiteX12131" y="connsiteY12131"/>
              </a:cxn>
              <a:cxn ang="0">
                <a:pos x="connsiteX12132" y="connsiteY12132"/>
              </a:cxn>
              <a:cxn ang="0">
                <a:pos x="connsiteX12133" y="connsiteY12133"/>
              </a:cxn>
              <a:cxn ang="0">
                <a:pos x="connsiteX12134" y="connsiteY12134"/>
              </a:cxn>
              <a:cxn ang="0">
                <a:pos x="connsiteX12135" y="connsiteY12135"/>
              </a:cxn>
              <a:cxn ang="0">
                <a:pos x="connsiteX12136" y="connsiteY12136"/>
              </a:cxn>
              <a:cxn ang="0">
                <a:pos x="connsiteX12137" y="connsiteY12137"/>
              </a:cxn>
              <a:cxn ang="0">
                <a:pos x="connsiteX12138" y="connsiteY12138"/>
              </a:cxn>
              <a:cxn ang="0">
                <a:pos x="connsiteX12139" y="connsiteY12139"/>
              </a:cxn>
              <a:cxn ang="0">
                <a:pos x="connsiteX12140" y="connsiteY12140"/>
              </a:cxn>
              <a:cxn ang="0">
                <a:pos x="connsiteX12141" y="connsiteY12141"/>
              </a:cxn>
              <a:cxn ang="0">
                <a:pos x="connsiteX12142" y="connsiteY12142"/>
              </a:cxn>
              <a:cxn ang="0">
                <a:pos x="connsiteX12143" y="connsiteY12143"/>
              </a:cxn>
              <a:cxn ang="0">
                <a:pos x="connsiteX12144" y="connsiteY12144"/>
              </a:cxn>
              <a:cxn ang="0">
                <a:pos x="connsiteX12145" y="connsiteY12145"/>
              </a:cxn>
              <a:cxn ang="0">
                <a:pos x="connsiteX12146" y="connsiteY12146"/>
              </a:cxn>
              <a:cxn ang="0">
                <a:pos x="connsiteX12147" y="connsiteY12147"/>
              </a:cxn>
              <a:cxn ang="0">
                <a:pos x="connsiteX12148" y="connsiteY12148"/>
              </a:cxn>
              <a:cxn ang="0">
                <a:pos x="connsiteX12149" y="connsiteY12149"/>
              </a:cxn>
              <a:cxn ang="0">
                <a:pos x="connsiteX12150" y="connsiteY12150"/>
              </a:cxn>
              <a:cxn ang="0">
                <a:pos x="connsiteX12151" y="connsiteY12151"/>
              </a:cxn>
              <a:cxn ang="0">
                <a:pos x="connsiteX12152" y="connsiteY12152"/>
              </a:cxn>
              <a:cxn ang="0">
                <a:pos x="connsiteX12153" y="connsiteY12153"/>
              </a:cxn>
              <a:cxn ang="0">
                <a:pos x="connsiteX12154" y="connsiteY12154"/>
              </a:cxn>
              <a:cxn ang="0">
                <a:pos x="connsiteX12155" y="connsiteY12155"/>
              </a:cxn>
              <a:cxn ang="0">
                <a:pos x="connsiteX12156" y="connsiteY12156"/>
              </a:cxn>
              <a:cxn ang="0">
                <a:pos x="connsiteX12157" y="connsiteY12157"/>
              </a:cxn>
              <a:cxn ang="0">
                <a:pos x="connsiteX12158" y="connsiteY12158"/>
              </a:cxn>
              <a:cxn ang="0">
                <a:pos x="connsiteX12159" y="connsiteY12159"/>
              </a:cxn>
              <a:cxn ang="0">
                <a:pos x="connsiteX12160" y="connsiteY12160"/>
              </a:cxn>
              <a:cxn ang="0">
                <a:pos x="connsiteX12161" y="connsiteY12161"/>
              </a:cxn>
              <a:cxn ang="0">
                <a:pos x="connsiteX12162" y="connsiteY12162"/>
              </a:cxn>
              <a:cxn ang="0">
                <a:pos x="connsiteX12163" y="connsiteY12163"/>
              </a:cxn>
              <a:cxn ang="0">
                <a:pos x="connsiteX12164" y="connsiteY12164"/>
              </a:cxn>
              <a:cxn ang="0">
                <a:pos x="connsiteX12165" y="connsiteY12165"/>
              </a:cxn>
              <a:cxn ang="0">
                <a:pos x="connsiteX12166" y="connsiteY12166"/>
              </a:cxn>
              <a:cxn ang="0">
                <a:pos x="connsiteX12167" y="connsiteY12167"/>
              </a:cxn>
              <a:cxn ang="0">
                <a:pos x="connsiteX12168" y="connsiteY12168"/>
              </a:cxn>
              <a:cxn ang="0">
                <a:pos x="connsiteX12169" y="connsiteY12169"/>
              </a:cxn>
              <a:cxn ang="0">
                <a:pos x="connsiteX12170" y="connsiteY12170"/>
              </a:cxn>
              <a:cxn ang="0">
                <a:pos x="connsiteX12171" y="connsiteY12171"/>
              </a:cxn>
              <a:cxn ang="0">
                <a:pos x="connsiteX12172" y="connsiteY12172"/>
              </a:cxn>
              <a:cxn ang="0">
                <a:pos x="connsiteX12173" y="connsiteY12173"/>
              </a:cxn>
              <a:cxn ang="0">
                <a:pos x="connsiteX12174" y="connsiteY12174"/>
              </a:cxn>
              <a:cxn ang="0">
                <a:pos x="connsiteX12175" y="connsiteY12175"/>
              </a:cxn>
              <a:cxn ang="0">
                <a:pos x="connsiteX12176" y="connsiteY12176"/>
              </a:cxn>
              <a:cxn ang="0">
                <a:pos x="connsiteX12177" y="connsiteY12177"/>
              </a:cxn>
              <a:cxn ang="0">
                <a:pos x="connsiteX12178" y="connsiteY12178"/>
              </a:cxn>
              <a:cxn ang="0">
                <a:pos x="connsiteX12179" y="connsiteY12179"/>
              </a:cxn>
              <a:cxn ang="0">
                <a:pos x="connsiteX12180" y="connsiteY12180"/>
              </a:cxn>
              <a:cxn ang="0">
                <a:pos x="connsiteX12181" y="connsiteY12181"/>
              </a:cxn>
              <a:cxn ang="0">
                <a:pos x="connsiteX12182" y="connsiteY12182"/>
              </a:cxn>
              <a:cxn ang="0">
                <a:pos x="connsiteX12183" y="connsiteY12183"/>
              </a:cxn>
              <a:cxn ang="0">
                <a:pos x="connsiteX12184" y="connsiteY12184"/>
              </a:cxn>
              <a:cxn ang="0">
                <a:pos x="connsiteX12185" y="connsiteY12185"/>
              </a:cxn>
              <a:cxn ang="0">
                <a:pos x="connsiteX12186" y="connsiteY12186"/>
              </a:cxn>
              <a:cxn ang="0">
                <a:pos x="connsiteX12187" y="connsiteY12187"/>
              </a:cxn>
              <a:cxn ang="0">
                <a:pos x="connsiteX12188" y="connsiteY12188"/>
              </a:cxn>
              <a:cxn ang="0">
                <a:pos x="connsiteX12189" y="connsiteY12189"/>
              </a:cxn>
              <a:cxn ang="0">
                <a:pos x="connsiteX12190" y="connsiteY12190"/>
              </a:cxn>
              <a:cxn ang="0">
                <a:pos x="connsiteX12191" y="connsiteY12191"/>
              </a:cxn>
              <a:cxn ang="0">
                <a:pos x="connsiteX12192" y="connsiteY12192"/>
              </a:cxn>
              <a:cxn ang="0">
                <a:pos x="connsiteX12193" y="connsiteY12193"/>
              </a:cxn>
              <a:cxn ang="0">
                <a:pos x="connsiteX12194" y="connsiteY12194"/>
              </a:cxn>
              <a:cxn ang="0">
                <a:pos x="connsiteX12195" y="connsiteY12195"/>
              </a:cxn>
              <a:cxn ang="0">
                <a:pos x="connsiteX12196" y="connsiteY12196"/>
              </a:cxn>
              <a:cxn ang="0">
                <a:pos x="connsiteX12197" y="connsiteY12197"/>
              </a:cxn>
              <a:cxn ang="0">
                <a:pos x="connsiteX12198" y="connsiteY12198"/>
              </a:cxn>
              <a:cxn ang="0">
                <a:pos x="connsiteX12199" y="connsiteY12199"/>
              </a:cxn>
              <a:cxn ang="0">
                <a:pos x="connsiteX12200" y="connsiteY12200"/>
              </a:cxn>
              <a:cxn ang="0">
                <a:pos x="connsiteX12201" y="connsiteY12201"/>
              </a:cxn>
              <a:cxn ang="0">
                <a:pos x="connsiteX12202" y="connsiteY12202"/>
              </a:cxn>
              <a:cxn ang="0">
                <a:pos x="connsiteX12203" y="connsiteY12203"/>
              </a:cxn>
              <a:cxn ang="0">
                <a:pos x="connsiteX12204" y="connsiteY12204"/>
              </a:cxn>
              <a:cxn ang="0">
                <a:pos x="connsiteX12205" y="connsiteY12205"/>
              </a:cxn>
              <a:cxn ang="0">
                <a:pos x="connsiteX12206" y="connsiteY12206"/>
              </a:cxn>
              <a:cxn ang="0">
                <a:pos x="connsiteX12207" y="connsiteY12207"/>
              </a:cxn>
              <a:cxn ang="0">
                <a:pos x="connsiteX12208" y="connsiteY12208"/>
              </a:cxn>
              <a:cxn ang="0">
                <a:pos x="connsiteX12209" y="connsiteY12209"/>
              </a:cxn>
              <a:cxn ang="0">
                <a:pos x="connsiteX12210" y="connsiteY12210"/>
              </a:cxn>
              <a:cxn ang="0">
                <a:pos x="connsiteX12211" y="connsiteY12211"/>
              </a:cxn>
              <a:cxn ang="0">
                <a:pos x="connsiteX12212" y="connsiteY12212"/>
              </a:cxn>
              <a:cxn ang="0">
                <a:pos x="connsiteX12213" y="connsiteY12213"/>
              </a:cxn>
              <a:cxn ang="0">
                <a:pos x="connsiteX12214" y="connsiteY12214"/>
              </a:cxn>
              <a:cxn ang="0">
                <a:pos x="connsiteX12215" y="connsiteY12215"/>
              </a:cxn>
              <a:cxn ang="0">
                <a:pos x="connsiteX12216" y="connsiteY12216"/>
              </a:cxn>
              <a:cxn ang="0">
                <a:pos x="connsiteX12217" y="connsiteY12217"/>
              </a:cxn>
              <a:cxn ang="0">
                <a:pos x="connsiteX12218" y="connsiteY12218"/>
              </a:cxn>
              <a:cxn ang="0">
                <a:pos x="connsiteX12219" y="connsiteY12219"/>
              </a:cxn>
              <a:cxn ang="0">
                <a:pos x="connsiteX12220" y="connsiteY12220"/>
              </a:cxn>
              <a:cxn ang="0">
                <a:pos x="connsiteX12221" y="connsiteY12221"/>
              </a:cxn>
              <a:cxn ang="0">
                <a:pos x="connsiteX12222" y="connsiteY12222"/>
              </a:cxn>
              <a:cxn ang="0">
                <a:pos x="connsiteX12223" y="connsiteY12223"/>
              </a:cxn>
              <a:cxn ang="0">
                <a:pos x="connsiteX12224" y="connsiteY12224"/>
              </a:cxn>
              <a:cxn ang="0">
                <a:pos x="connsiteX12225" y="connsiteY12225"/>
              </a:cxn>
              <a:cxn ang="0">
                <a:pos x="connsiteX12226" y="connsiteY12226"/>
              </a:cxn>
              <a:cxn ang="0">
                <a:pos x="connsiteX12227" y="connsiteY12227"/>
              </a:cxn>
              <a:cxn ang="0">
                <a:pos x="connsiteX12228" y="connsiteY12228"/>
              </a:cxn>
              <a:cxn ang="0">
                <a:pos x="connsiteX12229" y="connsiteY12229"/>
              </a:cxn>
              <a:cxn ang="0">
                <a:pos x="connsiteX12230" y="connsiteY12230"/>
              </a:cxn>
              <a:cxn ang="0">
                <a:pos x="connsiteX12231" y="connsiteY12231"/>
              </a:cxn>
              <a:cxn ang="0">
                <a:pos x="connsiteX12232" y="connsiteY12232"/>
              </a:cxn>
              <a:cxn ang="0">
                <a:pos x="connsiteX12233" y="connsiteY12233"/>
              </a:cxn>
              <a:cxn ang="0">
                <a:pos x="connsiteX12234" y="connsiteY12234"/>
              </a:cxn>
              <a:cxn ang="0">
                <a:pos x="connsiteX12235" y="connsiteY12235"/>
              </a:cxn>
              <a:cxn ang="0">
                <a:pos x="connsiteX12236" y="connsiteY12236"/>
              </a:cxn>
              <a:cxn ang="0">
                <a:pos x="connsiteX12237" y="connsiteY12237"/>
              </a:cxn>
              <a:cxn ang="0">
                <a:pos x="connsiteX12238" y="connsiteY12238"/>
              </a:cxn>
              <a:cxn ang="0">
                <a:pos x="connsiteX12239" y="connsiteY12239"/>
              </a:cxn>
              <a:cxn ang="0">
                <a:pos x="connsiteX12240" y="connsiteY12240"/>
              </a:cxn>
              <a:cxn ang="0">
                <a:pos x="connsiteX12241" y="connsiteY12241"/>
              </a:cxn>
              <a:cxn ang="0">
                <a:pos x="connsiteX12242" y="connsiteY12242"/>
              </a:cxn>
              <a:cxn ang="0">
                <a:pos x="connsiteX12243" y="connsiteY12243"/>
              </a:cxn>
              <a:cxn ang="0">
                <a:pos x="connsiteX12244" y="connsiteY12244"/>
              </a:cxn>
              <a:cxn ang="0">
                <a:pos x="connsiteX12245" y="connsiteY12245"/>
              </a:cxn>
              <a:cxn ang="0">
                <a:pos x="connsiteX12246" y="connsiteY12246"/>
              </a:cxn>
              <a:cxn ang="0">
                <a:pos x="connsiteX12247" y="connsiteY12247"/>
              </a:cxn>
              <a:cxn ang="0">
                <a:pos x="connsiteX12248" y="connsiteY12248"/>
              </a:cxn>
              <a:cxn ang="0">
                <a:pos x="connsiteX12249" y="connsiteY12249"/>
              </a:cxn>
              <a:cxn ang="0">
                <a:pos x="connsiteX12250" y="connsiteY12250"/>
              </a:cxn>
              <a:cxn ang="0">
                <a:pos x="connsiteX12251" y="connsiteY12251"/>
              </a:cxn>
              <a:cxn ang="0">
                <a:pos x="connsiteX12252" y="connsiteY12252"/>
              </a:cxn>
              <a:cxn ang="0">
                <a:pos x="connsiteX12253" y="connsiteY12253"/>
              </a:cxn>
              <a:cxn ang="0">
                <a:pos x="connsiteX12254" y="connsiteY12254"/>
              </a:cxn>
              <a:cxn ang="0">
                <a:pos x="connsiteX12255" y="connsiteY12255"/>
              </a:cxn>
              <a:cxn ang="0">
                <a:pos x="connsiteX12256" y="connsiteY12256"/>
              </a:cxn>
              <a:cxn ang="0">
                <a:pos x="connsiteX12257" y="connsiteY12257"/>
              </a:cxn>
              <a:cxn ang="0">
                <a:pos x="connsiteX12258" y="connsiteY12258"/>
              </a:cxn>
              <a:cxn ang="0">
                <a:pos x="connsiteX12259" y="connsiteY12259"/>
              </a:cxn>
              <a:cxn ang="0">
                <a:pos x="connsiteX12260" y="connsiteY12260"/>
              </a:cxn>
              <a:cxn ang="0">
                <a:pos x="connsiteX12261" y="connsiteY12261"/>
              </a:cxn>
              <a:cxn ang="0">
                <a:pos x="connsiteX12262" y="connsiteY12262"/>
              </a:cxn>
              <a:cxn ang="0">
                <a:pos x="connsiteX12263" y="connsiteY12263"/>
              </a:cxn>
              <a:cxn ang="0">
                <a:pos x="connsiteX12264" y="connsiteY12264"/>
              </a:cxn>
              <a:cxn ang="0">
                <a:pos x="connsiteX12265" y="connsiteY12265"/>
              </a:cxn>
              <a:cxn ang="0">
                <a:pos x="connsiteX12266" y="connsiteY12266"/>
              </a:cxn>
              <a:cxn ang="0">
                <a:pos x="connsiteX12267" y="connsiteY12267"/>
              </a:cxn>
              <a:cxn ang="0">
                <a:pos x="connsiteX12268" y="connsiteY12268"/>
              </a:cxn>
              <a:cxn ang="0">
                <a:pos x="connsiteX12269" y="connsiteY12269"/>
              </a:cxn>
              <a:cxn ang="0">
                <a:pos x="connsiteX12270" y="connsiteY12270"/>
              </a:cxn>
              <a:cxn ang="0">
                <a:pos x="connsiteX12271" y="connsiteY12271"/>
              </a:cxn>
              <a:cxn ang="0">
                <a:pos x="connsiteX12272" y="connsiteY12272"/>
              </a:cxn>
              <a:cxn ang="0">
                <a:pos x="connsiteX12273" y="connsiteY12273"/>
              </a:cxn>
              <a:cxn ang="0">
                <a:pos x="connsiteX12274" y="connsiteY12274"/>
              </a:cxn>
              <a:cxn ang="0">
                <a:pos x="connsiteX12275" y="connsiteY12275"/>
              </a:cxn>
              <a:cxn ang="0">
                <a:pos x="connsiteX12276" y="connsiteY12276"/>
              </a:cxn>
              <a:cxn ang="0">
                <a:pos x="connsiteX12277" y="connsiteY12277"/>
              </a:cxn>
              <a:cxn ang="0">
                <a:pos x="connsiteX12278" y="connsiteY12278"/>
              </a:cxn>
              <a:cxn ang="0">
                <a:pos x="connsiteX12279" y="connsiteY12279"/>
              </a:cxn>
              <a:cxn ang="0">
                <a:pos x="connsiteX12280" y="connsiteY12280"/>
              </a:cxn>
              <a:cxn ang="0">
                <a:pos x="connsiteX12281" y="connsiteY12281"/>
              </a:cxn>
              <a:cxn ang="0">
                <a:pos x="connsiteX12282" y="connsiteY12282"/>
              </a:cxn>
              <a:cxn ang="0">
                <a:pos x="connsiteX12283" y="connsiteY12283"/>
              </a:cxn>
              <a:cxn ang="0">
                <a:pos x="connsiteX12284" y="connsiteY12284"/>
              </a:cxn>
              <a:cxn ang="0">
                <a:pos x="connsiteX12285" y="connsiteY12285"/>
              </a:cxn>
              <a:cxn ang="0">
                <a:pos x="connsiteX12286" y="connsiteY12286"/>
              </a:cxn>
              <a:cxn ang="0">
                <a:pos x="connsiteX12287" y="connsiteY12287"/>
              </a:cxn>
              <a:cxn ang="0">
                <a:pos x="connsiteX12288" y="connsiteY12288"/>
              </a:cxn>
              <a:cxn ang="0">
                <a:pos x="connsiteX12289" y="connsiteY12289"/>
              </a:cxn>
              <a:cxn ang="0">
                <a:pos x="connsiteX12290" y="connsiteY12290"/>
              </a:cxn>
              <a:cxn ang="0">
                <a:pos x="connsiteX12291" y="connsiteY12291"/>
              </a:cxn>
              <a:cxn ang="0">
                <a:pos x="connsiteX12292" y="connsiteY12292"/>
              </a:cxn>
              <a:cxn ang="0">
                <a:pos x="connsiteX12293" y="connsiteY12293"/>
              </a:cxn>
              <a:cxn ang="0">
                <a:pos x="connsiteX12294" y="connsiteY12294"/>
              </a:cxn>
              <a:cxn ang="0">
                <a:pos x="connsiteX12295" y="connsiteY12295"/>
              </a:cxn>
              <a:cxn ang="0">
                <a:pos x="connsiteX12296" y="connsiteY12296"/>
              </a:cxn>
              <a:cxn ang="0">
                <a:pos x="connsiteX12297" y="connsiteY12297"/>
              </a:cxn>
              <a:cxn ang="0">
                <a:pos x="connsiteX12298" y="connsiteY12298"/>
              </a:cxn>
              <a:cxn ang="0">
                <a:pos x="connsiteX12299" y="connsiteY12299"/>
              </a:cxn>
              <a:cxn ang="0">
                <a:pos x="connsiteX12300" y="connsiteY12300"/>
              </a:cxn>
              <a:cxn ang="0">
                <a:pos x="connsiteX12301" y="connsiteY12301"/>
              </a:cxn>
              <a:cxn ang="0">
                <a:pos x="connsiteX12302" y="connsiteY12302"/>
              </a:cxn>
              <a:cxn ang="0">
                <a:pos x="connsiteX12303" y="connsiteY12303"/>
              </a:cxn>
              <a:cxn ang="0">
                <a:pos x="connsiteX12304" y="connsiteY12304"/>
              </a:cxn>
              <a:cxn ang="0">
                <a:pos x="connsiteX12305" y="connsiteY12305"/>
              </a:cxn>
              <a:cxn ang="0">
                <a:pos x="connsiteX12306" y="connsiteY12306"/>
              </a:cxn>
              <a:cxn ang="0">
                <a:pos x="connsiteX12307" y="connsiteY12307"/>
              </a:cxn>
              <a:cxn ang="0">
                <a:pos x="connsiteX12308" y="connsiteY12308"/>
              </a:cxn>
              <a:cxn ang="0">
                <a:pos x="connsiteX12309" y="connsiteY12309"/>
              </a:cxn>
              <a:cxn ang="0">
                <a:pos x="connsiteX12310" y="connsiteY12310"/>
              </a:cxn>
              <a:cxn ang="0">
                <a:pos x="connsiteX12311" y="connsiteY12311"/>
              </a:cxn>
              <a:cxn ang="0">
                <a:pos x="connsiteX12312" y="connsiteY12312"/>
              </a:cxn>
              <a:cxn ang="0">
                <a:pos x="connsiteX12313" y="connsiteY12313"/>
              </a:cxn>
              <a:cxn ang="0">
                <a:pos x="connsiteX12314" y="connsiteY12314"/>
              </a:cxn>
              <a:cxn ang="0">
                <a:pos x="connsiteX12315" y="connsiteY12315"/>
              </a:cxn>
              <a:cxn ang="0">
                <a:pos x="connsiteX12316" y="connsiteY12316"/>
              </a:cxn>
              <a:cxn ang="0">
                <a:pos x="connsiteX12317" y="connsiteY12317"/>
              </a:cxn>
              <a:cxn ang="0">
                <a:pos x="connsiteX12318" y="connsiteY12318"/>
              </a:cxn>
              <a:cxn ang="0">
                <a:pos x="connsiteX12319" y="connsiteY12319"/>
              </a:cxn>
              <a:cxn ang="0">
                <a:pos x="connsiteX12320" y="connsiteY12320"/>
              </a:cxn>
              <a:cxn ang="0">
                <a:pos x="connsiteX12321" y="connsiteY12321"/>
              </a:cxn>
              <a:cxn ang="0">
                <a:pos x="connsiteX12322" y="connsiteY12322"/>
              </a:cxn>
              <a:cxn ang="0">
                <a:pos x="connsiteX12323" y="connsiteY12323"/>
              </a:cxn>
              <a:cxn ang="0">
                <a:pos x="connsiteX12324" y="connsiteY12324"/>
              </a:cxn>
              <a:cxn ang="0">
                <a:pos x="connsiteX12325" y="connsiteY12325"/>
              </a:cxn>
              <a:cxn ang="0">
                <a:pos x="connsiteX12326" y="connsiteY12326"/>
              </a:cxn>
              <a:cxn ang="0">
                <a:pos x="connsiteX12327" y="connsiteY12327"/>
              </a:cxn>
              <a:cxn ang="0">
                <a:pos x="connsiteX12328" y="connsiteY12328"/>
              </a:cxn>
              <a:cxn ang="0">
                <a:pos x="connsiteX12329" y="connsiteY12329"/>
              </a:cxn>
              <a:cxn ang="0">
                <a:pos x="connsiteX12330" y="connsiteY12330"/>
              </a:cxn>
              <a:cxn ang="0">
                <a:pos x="connsiteX12331" y="connsiteY12331"/>
              </a:cxn>
              <a:cxn ang="0">
                <a:pos x="connsiteX12332" y="connsiteY12332"/>
              </a:cxn>
              <a:cxn ang="0">
                <a:pos x="connsiteX12333" y="connsiteY12333"/>
              </a:cxn>
              <a:cxn ang="0">
                <a:pos x="connsiteX12334" y="connsiteY12334"/>
              </a:cxn>
              <a:cxn ang="0">
                <a:pos x="connsiteX12335" y="connsiteY12335"/>
              </a:cxn>
              <a:cxn ang="0">
                <a:pos x="connsiteX12336" y="connsiteY12336"/>
              </a:cxn>
              <a:cxn ang="0">
                <a:pos x="connsiteX12337" y="connsiteY12337"/>
              </a:cxn>
              <a:cxn ang="0">
                <a:pos x="connsiteX12338" y="connsiteY12338"/>
              </a:cxn>
              <a:cxn ang="0">
                <a:pos x="connsiteX12339" y="connsiteY12339"/>
              </a:cxn>
              <a:cxn ang="0">
                <a:pos x="connsiteX12340" y="connsiteY12340"/>
              </a:cxn>
              <a:cxn ang="0">
                <a:pos x="connsiteX12341" y="connsiteY12341"/>
              </a:cxn>
              <a:cxn ang="0">
                <a:pos x="connsiteX12342" y="connsiteY12342"/>
              </a:cxn>
              <a:cxn ang="0">
                <a:pos x="connsiteX12343" y="connsiteY12343"/>
              </a:cxn>
              <a:cxn ang="0">
                <a:pos x="connsiteX12344" y="connsiteY12344"/>
              </a:cxn>
              <a:cxn ang="0">
                <a:pos x="connsiteX12345" y="connsiteY12345"/>
              </a:cxn>
              <a:cxn ang="0">
                <a:pos x="connsiteX12346" y="connsiteY12346"/>
              </a:cxn>
              <a:cxn ang="0">
                <a:pos x="connsiteX12347" y="connsiteY12347"/>
              </a:cxn>
              <a:cxn ang="0">
                <a:pos x="connsiteX12348" y="connsiteY12348"/>
              </a:cxn>
              <a:cxn ang="0">
                <a:pos x="connsiteX12349" y="connsiteY12349"/>
              </a:cxn>
              <a:cxn ang="0">
                <a:pos x="connsiteX12350" y="connsiteY12350"/>
              </a:cxn>
              <a:cxn ang="0">
                <a:pos x="connsiteX12351" y="connsiteY12351"/>
              </a:cxn>
              <a:cxn ang="0">
                <a:pos x="connsiteX12352" y="connsiteY12352"/>
              </a:cxn>
              <a:cxn ang="0">
                <a:pos x="connsiteX12353" y="connsiteY12353"/>
              </a:cxn>
              <a:cxn ang="0">
                <a:pos x="connsiteX12354" y="connsiteY12354"/>
              </a:cxn>
              <a:cxn ang="0">
                <a:pos x="connsiteX12355" y="connsiteY12355"/>
              </a:cxn>
              <a:cxn ang="0">
                <a:pos x="connsiteX12356" y="connsiteY12356"/>
              </a:cxn>
              <a:cxn ang="0">
                <a:pos x="connsiteX12357" y="connsiteY12357"/>
              </a:cxn>
              <a:cxn ang="0">
                <a:pos x="connsiteX12358" y="connsiteY12358"/>
              </a:cxn>
              <a:cxn ang="0">
                <a:pos x="connsiteX12359" y="connsiteY12359"/>
              </a:cxn>
              <a:cxn ang="0">
                <a:pos x="connsiteX12360" y="connsiteY12360"/>
              </a:cxn>
              <a:cxn ang="0">
                <a:pos x="connsiteX12361" y="connsiteY12361"/>
              </a:cxn>
              <a:cxn ang="0">
                <a:pos x="connsiteX12362" y="connsiteY12362"/>
              </a:cxn>
              <a:cxn ang="0">
                <a:pos x="connsiteX12363" y="connsiteY12363"/>
              </a:cxn>
              <a:cxn ang="0">
                <a:pos x="connsiteX12364" y="connsiteY12364"/>
              </a:cxn>
              <a:cxn ang="0">
                <a:pos x="connsiteX12365" y="connsiteY12365"/>
              </a:cxn>
              <a:cxn ang="0">
                <a:pos x="connsiteX12366" y="connsiteY12366"/>
              </a:cxn>
              <a:cxn ang="0">
                <a:pos x="connsiteX12367" y="connsiteY12367"/>
              </a:cxn>
              <a:cxn ang="0">
                <a:pos x="connsiteX12368" y="connsiteY12368"/>
              </a:cxn>
              <a:cxn ang="0">
                <a:pos x="connsiteX12369" y="connsiteY12369"/>
              </a:cxn>
              <a:cxn ang="0">
                <a:pos x="connsiteX12370" y="connsiteY12370"/>
              </a:cxn>
              <a:cxn ang="0">
                <a:pos x="connsiteX12371" y="connsiteY12371"/>
              </a:cxn>
              <a:cxn ang="0">
                <a:pos x="connsiteX12372" y="connsiteY12372"/>
              </a:cxn>
              <a:cxn ang="0">
                <a:pos x="connsiteX12373" y="connsiteY12373"/>
              </a:cxn>
              <a:cxn ang="0">
                <a:pos x="connsiteX12374" y="connsiteY12374"/>
              </a:cxn>
              <a:cxn ang="0">
                <a:pos x="connsiteX12375" y="connsiteY12375"/>
              </a:cxn>
              <a:cxn ang="0">
                <a:pos x="connsiteX12376" y="connsiteY12376"/>
              </a:cxn>
              <a:cxn ang="0">
                <a:pos x="connsiteX12377" y="connsiteY12377"/>
              </a:cxn>
              <a:cxn ang="0">
                <a:pos x="connsiteX12378" y="connsiteY12378"/>
              </a:cxn>
              <a:cxn ang="0">
                <a:pos x="connsiteX12379" y="connsiteY12379"/>
              </a:cxn>
              <a:cxn ang="0">
                <a:pos x="connsiteX12380" y="connsiteY12380"/>
              </a:cxn>
              <a:cxn ang="0">
                <a:pos x="connsiteX12381" y="connsiteY12381"/>
              </a:cxn>
              <a:cxn ang="0">
                <a:pos x="connsiteX12382" y="connsiteY12382"/>
              </a:cxn>
              <a:cxn ang="0">
                <a:pos x="connsiteX12383" y="connsiteY12383"/>
              </a:cxn>
              <a:cxn ang="0">
                <a:pos x="connsiteX12384" y="connsiteY12384"/>
              </a:cxn>
              <a:cxn ang="0">
                <a:pos x="connsiteX12385" y="connsiteY12385"/>
              </a:cxn>
              <a:cxn ang="0">
                <a:pos x="connsiteX12386" y="connsiteY12386"/>
              </a:cxn>
              <a:cxn ang="0">
                <a:pos x="connsiteX12387" y="connsiteY12387"/>
              </a:cxn>
              <a:cxn ang="0">
                <a:pos x="connsiteX12388" y="connsiteY12388"/>
              </a:cxn>
              <a:cxn ang="0">
                <a:pos x="connsiteX12389" y="connsiteY12389"/>
              </a:cxn>
              <a:cxn ang="0">
                <a:pos x="connsiteX12390" y="connsiteY12390"/>
              </a:cxn>
              <a:cxn ang="0">
                <a:pos x="connsiteX12391" y="connsiteY12391"/>
              </a:cxn>
              <a:cxn ang="0">
                <a:pos x="connsiteX12392" y="connsiteY12392"/>
              </a:cxn>
              <a:cxn ang="0">
                <a:pos x="connsiteX12393" y="connsiteY12393"/>
              </a:cxn>
              <a:cxn ang="0">
                <a:pos x="connsiteX12394" y="connsiteY12394"/>
              </a:cxn>
              <a:cxn ang="0">
                <a:pos x="connsiteX12395" y="connsiteY12395"/>
              </a:cxn>
              <a:cxn ang="0">
                <a:pos x="connsiteX12396" y="connsiteY12396"/>
              </a:cxn>
              <a:cxn ang="0">
                <a:pos x="connsiteX12397" y="connsiteY12397"/>
              </a:cxn>
              <a:cxn ang="0">
                <a:pos x="connsiteX12398" y="connsiteY12398"/>
              </a:cxn>
              <a:cxn ang="0">
                <a:pos x="connsiteX12399" y="connsiteY12399"/>
              </a:cxn>
              <a:cxn ang="0">
                <a:pos x="connsiteX12400" y="connsiteY12400"/>
              </a:cxn>
              <a:cxn ang="0">
                <a:pos x="connsiteX12401" y="connsiteY12401"/>
              </a:cxn>
              <a:cxn ang="0">
                <a:pos x="connsiteX12402" y="connsiteY12402"/>
              </a:cxn>
              <a:cxn ang="0">
                <a:pos x="connsiteX12403" y="connsiteY12403"/>
              </a:cxn>
              <a:cxn ang="0">
                <a:pos x="connsiteX12404" y="connsiteY12404"/>
              </a:cxn>
              <a:cxn ang="0">
                <a:pos x="connsiteX12405" y="connsiteY12405"/>
              </a:cxn>
              <a:cxn ang="0">
                <a:pos x="connsiteX12406" y="connsiteY12406"/>
              </a:cxn>
              <a:cxn ang="0">
                <a:pos x="connsiteX12407" y="connsiteY12407"/>
              </a:cxn>
              <a:cxn ang="0">
                <a:pos x="connsiteX12408" y="connsiteY12408"/>
              </a:cxn>
              <a:cxn ang="0">
                <a:pos x="connsiteX12409" y="connsiteY12409"/>
              </a:cxn>
              <a:cxn ang="0">
                <a:pos x="connsiteX12410" y="connsiteY12410"/>
              </a:cxn>
              <a:cxn ang="0">
                <a:pos x="connsiteX12411" y="connsiteY12411"/>
              </a:cxn>
              <a:cxn ang="0">
                <a:pos x="connsiteX12412" y="connsiteY12412"/>
              </a:cxn>
              <a:cxn ang="0">
                <a:pos x="connsiteX12413" y="connsiteY12413"/>
              </a:cxn>
              <a:cxn ang="0">
                <a:pos x="connsiteX12414" y="connsiteY12414"/>
              </a:cxn>
              <a:cxn ang="0">
                <a:pos x="connsiteX12415" y="connsiteY12415"/>
              </a:cxn>
              <a:cxn ang="0">
                <a:pos x="connsiteX12416" y="connsiteY12416"/>
              </a:cxn>
              <a:cxn ang="0">
                <a:pos x="connsiteX12417" y="connsiteY12417"/>
              </a:cxn>
              <a:cxn ang="0">
                <a:pos x="connsiteX12418" y="connsiteY12418"/>
              </a:cxn>
              <a:cxn ang="0">
                <a:pos x="connsiteX12419" y="connsiteY12419"/>
              </a:cxn>
              <a:cxn ang="0">
                <a:pos x="connsiteX12420" y="connsiteY12420"/>
              </a:cxn>
              <a:cxn ang="0">
                <a:pos x="connsiteX12421" y="connsiteY12421"/>
              </a:cxn>
              <a:cxn ang="0">
                <a:pos x="connsiteX12422" y="connsiteY12422"/>
              </a:cxn>
              <a:cxn ang="0">
                <a:pos x="connsiteX12423" y="connsiteY12423"/>
              </a:cxn>
              <a:cxn ang="0">
                <a:pos x="connsiteX12424" y="connsiteY12424"/>
              </a:cxn>
              <a:cxn ang="0">
                <a:pos x="connsiteX12425" y="connsiteY12425"/>
              </a:cxn>
              <a:cxn ang="0">
                <a:pos x="connsiteX12426" y="connsiteY12426"/>
              </a:cxn>
              <a:cxn ang="0">
                <a:pos x="connsiteX12427" y="connsiteY12427"/>
              </a:cxn>
              <a:cxn ang="0">
                <a:pos x="connsiteX12428" y="connsiteY12428"/>
              </a:cxn>
              <a:cxn ang="0">
                <a:pos x="connsiteX12429" y="connsiteY12429"/>
              </a:cxn>
              <a:cxn ang="0">
                <a:pos x="connsiteX12430" y="connsiteY12430"/>
              </a:cxn>
              <a:cxn ang="0">
                <a:pos x="connsiteX12431" y="connsiteY12431"/>
              </a:cxn>
              <a:cxn ang="0">
                <a:pos x="connsiteX12432" y="connsiteY12432"/>
              </a:cxn>
              <a:cxn ang="0">
                <a:pos x="connsiteX12433" y="connsiteY12433"/>
              </a:cxn>
              <a:cxn ang="0">
                <a:pos x="connsiteX12434" y="connsiteY12434"/>
              </a:cxn>
              <a:cxn ang="0">
                <a:pos x="connsiteX12435" y="connsiteY12435"/>
              </a:cxn>
              <a:cxn ang="0">
                <a:pos x="connsiteX12436" y="connsiteY12436"/>
              </a:cxn>
              <a:cxn ang="0">
                <a:pos x="connsiteX12437" y="connsiteY12437"/>
              </a:cxn>
              <a:cxn ang="0">
                <a:pos x="connsiteX12438" y="connsiteY12438"/>
              </a:cxn>
              <a:cxn ang="0">
                <a:pos x="connsiteX12439" y="connsiteY12439"/>
              </a:cxn>
              <a:cxn ang="0">
                <a:pos x="connsiteX12440" y="connsiteY12440"/>
              </a:cxn>
              <a:cxn ang="0">
                <a:pos x="connsiteX12441" y="connsiteY12441"/>
              </a:cxn>
              <a:cxn ang="0">
                <a:pos x="connsiteX12442" y="connsiteY12442"/>
              </a:cxn>
              <a:cxn ang="0">
                <a:pos x="connsiteX12443" y="connsiteY12443"/>
              </a:cxn>
              <a:cxn ang="0">
                <a:pos x="connsiteX12444" y="connsiteY12444"/>
              </a:cxn>
              <a:cxn ang="0">
                <a:pos x="connsiteX12445" y="connsiteY12445"/>
              </a:cxn>
              <a:cxn ang="0">
                <a:pos x="connsiteX12446" y="connsiteY12446"/>
              </a:cxn>
              <a:cxn ang="0">
                <a:pos x="connsiteX12447" y="connsiteY12447"/>
              </a:cxn>
              <a:cxn ang="0">
                <a:pos x="connsiteX12448" y="connsiteY12448"/>
              </a:cxn>
              <a:cxn ang="0">
                <a:pos x="connsiteX12449" y="connsiteY12449"/>
              </a:cxn>
              <a:cxn ang="0">
                <a:pos x="connsiteX12450" y="connsiteY12450"/>
              </a:cxn>
              <a:cxn ang="0">
                <a:pos x="connsiteX12451" y="connsiteY12451"/>
              </a:cxn>
              <a:cxn ang="0">
                <a:pos x="connsiteX12452" y="connsiteY12452"/>
              </a:cxn>
              <a:cxn ang="0">
                <a:pos x="connsiteX12453" y="connsiteY12453"/>
              </a:cxn>
              <a:cxn ang="0">
                <a:pos x="connsiteX12454" y="connsiteY12454"/>
              </a:cxn>
              <a:cxn ang="0">
                <a:pos x="connsiteX12455" y="connsiteY12455"/>
              </a:cxn>
              <a:cxn ang="0">
                <a:pos x="connsiteX12456" y="connsiteY12456"/>
              </a:cxn>
              <a:cxn ang="0">
                <a:pos x="connsiteX12457" y="connsiteY12457"/>
              </a:cxn>
              <a:cxn ang="0">
                <a:pos x="connsiteX12458" y="connsiteY12458"/>
              </a:cxn>
              <a:cxn ang="0">
                <a:pos x="connsiteX12459" y="connsiteY12459"/>
              </a:cxn>
              <a:cxn ang="0">
                <a:pos x="connsiteX12460" y="connsiteY12460"/>
              </a:cxn>
              <a:cxn ang="0">
                <a:pos x="connsiteX12461" y="connsiteY12461"/>
              </a:cxn>
              <a:cxn ang="0">
                <a:pos x="connsiteX12462" y="connsiteY12462"/>
              </a:cxn>
              <a:cxn ang="0">
                <a:pos x="connsiteX12463" y="connsiteY12463"/>
              </a:cxn>
              <a:cxn ang="0">
                <a:pos x="connsiteX12464" y="connsiteY12464"/>
              </a:cxn>
              <a:cxn ang="0">
                <a:pos x="connsiteX12465" y="connsiteY12465"/>
              </a:cxn>
              <a:cxn ang="0">
                <a:pos x="connsiteX12466" y="connsiteY12466"/>
              </a:cxn>
              <a:cxn ang="0">
                <a:pos x="connsiteX12467" y="connsiteY12467"/>
              </a:cxn>
              <a:cxn ang="0">
                <a:pos x="connsiteX12468" y="connsiteY12468"/>
              </a:cxn>
              <a:cxn ang="0">
                <a:pos x="connsiteX12469" y="connsiteY12469"/>
              </a:cxn>
              <a:cxn ang="0">
                <a:pos x="connsiteX12470" y="connsiteY12470"/>
              </a:cxn>
              <a:cxn ang="0">
                <a:pos x="connsiteX12471" y="connsiteY12471"/>
              </a:cxn>
              <a:cxn ang="0">
                <a:pos x="connsiteX12472" y="connsiteY12472"/>
              </a:cxn>
              <a:cxn ang="0">
                <a:pos x="connsiteX12473" y="connsiteY12473"/>
              </a:cxn>
              <a:cxn ang="0">
                <a:pos x="connsiteX12474" y="connsiteY12474"/>
              </a:cxn>
              <a:cxn ang="0">
                <a:pos x="connsiteX12475" y="connsiteY12475"/>
              </a:cxn>
              <a:cxn ang="0">
                <a:pos x="connsiteX12476" y="connsiteY12476"/>
              </a:cxn>
              <a:cxn ang="0">
                <a:pos x="connsiteX12477" y="connsiteY12477"/>
              </a:cxn>
              <a:cxn ang="0">
                <a:pos x="connsiteX12478" y="connsiteY12478"/>
              </a:cxn>
              <a:cxn ang="0">
                <a:pos x="connsiteX12479" y="connsiteY12479"/>
              </a:cxn>
              <a:cxn ang="0">
                <a:pos x="connsiteX12480" y="connsiteY12480"/>
              </a:cxn>
              <a:cxn ang="0">
                <a:pos x="connsiteX12481" y="connsiteY12481"/>
              </a:cxn>
              <a:cxn ang="0">
                <a:pos x="connsiteX12482" y="connsiteY12482"/>
              </a:cxn>
              <a:cxn ang="0">
                <a:pos x="connsiteX12483" y="connsiteY12483"/>
              </a:cxn>
              <a:cxn ang="0">
                <a:pos x="connsiteX12484" y="connsiteY12484"/>
              </a:cxn>
              <a:cxn ang="0">
                <a:pos x="connsiteX12485" y="connsiteY12485"/>
              </a:cxn>
              <a:cxn ang="0">
                <a:pos x="connsiteX12486" y="connsiteY12486"/>
              </a:cxn>
              <a:cxn ang="0">
                <a:pos x="connsiteX12487" y="connsiteY12487"/>
              </a:cxn>
              <a:cxn ang="0">
                <a:pos x="connsiteX12488" y="connsiteY12488"/>
              </a:cxn>
              <a:cxn ang="0">
                <a:pos x="connsiteX12489" y="connsiteY12489"/>
              </a:cxn>
              <a:cxn ang="0">
                <a:pos x="connsiteX12490" y="connsiteY12490"/>
              </a:cxn>
              <a:cxn ang="0">
                <a:pos x="connsiteX12491" y="connsiteY12491"/>
              </a:cxn>
              <a:cxn ang="0">
                <a:pos x="connsiteX12492" y="connsiteY12492"/>
              </a:cxn>
              <a:cxn ang="0">
                <a:pos x="connsiteX12493" y="connsiteY12493"/>
              </a:cxn>
              <a:cxn ang="0">
                <a:pos x="connsiteX12494" y="connsiteY12494"/>
              </a:cxn>
              <a:cxn ang="0">
                <a:pos x="connsiteX12495" y="connsiteY12495"/>
              </a:cxn>
              <a:cxn ang="0">
                <a:pos x="connsiteX12496" y="connsiteY12496"/>
              </a:cxn>
              <a:cxn ang="0">
                <a:pos x="connsiteX12497" y="connsiteY12497"/>
              </a:cxn>
              <a:cxn ang="0">
                <a:pos x="connsiteX12498" y="connsiteY12498"/>
              </a:cxn>
              <a:cxn ang="0">
                <a:pos x="connsiteX12499" y="connsiteY12499"/>
              </a:cxn>
              <a:cxn ang="0">
                <a:pos x="connsiteX12500" y="connsiteY12500"/>
              </a:cxn>
              <a:cxn ang="0">
                <a:pos x="connsiteX12501" y="connsiteY12501"/>
              </a:cxn>
              <a:cxn ang="0">
                <a:pos x="connsiteX12502" y="connsiteY12502"/>
              </a:cxn>
              <a:cxn ang="0">
                <a:pos x="connsiteX12503" y="connsiteY12503"/>
              </a:cxn>
              <a:cxn ang="0">
                <a:pos x="connsiteX12504" y="connsiteY12504"/>
              </a:cxn>
              <a:cxn ang="0">
                <a:pos x="connsiteX12505" y="connsiteY12505"/>
              </a:cxn>
              <a:cxn ang="0">
                <a:pos x="connsiteX12506" y="connsiteY12506"/>
              </a:cxn>
              <a:cxn ang="0">
                <a:pos x="connsiteX12507" y="connsiteY12507"/>
              </a:cxn>
              <a:cxn ang="0">
                <a:pos x="connsiteX12508" y="connsiteY12508"/>
              </a:cxn>
              <a:cxn ang="0">
                <a:pos x="connsiteX12509" y="connsiteY12509"/>
              </a:cxn>
              <a:cxn ang="0">
                <a:pos x="connsiteX12510" y="connsiteY12510"/>
              </a:cxn>
              <a:cxn ang="0">
                <a:pos x="connsiteX12511" y="connsiteY12511"/>
              </a:cxn>
              <a:cxn ang="0">
                <a:pos x="connsiteX12512" y="connsiteY12512"/>
              </a:cxn>
              <a:cxn ang="0">
                <a:pos x="connsiteX12513" y="connsiteY12513"/>
              </a:cxn>
              <a:cxn ang="0">
                <a:pos x="connsiteX12514" y="connsiteY12514"/>
              </a:cxn>
              <a:cxn ang="0">
                <a:pos x="connsiteX12515" y="connsiteY12515"/>
              </a:cxn>
              <a:cxn ang="0">
                <a:pos x="connsiteX12516" y="connsiteY12516"/>
              </a:cxn>
              <a:cxn ang="0">
                <a:pos x="connsiteX12517" y="connsiteY12517"/>
              </a:cxn>
              <a:cxn ang="0">
                <a:pos x="connsiteX12518" y="connsiteY12518"/>
              </a:cxn>
              <a:cxn ang="0">
                <a:pos x="connsiteX12519" y="connsiteY12519"/>
              </a:cxn>
              <a:cxn ang="0">
                <a:pos x="connsiteX12520" y="connsiteY12520"/>
              </a:cxn>
              <a:cxn ang="0">
                <a:pos x="connsiteX12521" y="connsiteY12521"/>
              </a:cxn>
              <a:cxn ang="0">
                <a:pos x="connsiteX12522" y="connsiteY12522"/>
              </a:cxn>
              <a:cxn ang="0">
                <a:pos x="connsiteX12523" y="connsiteY12523"/>
              </a:cxn>
              <a:cxn ang="0">
                <a:pos x="connsiteX12524" y="connsiteY12524"/>
              </a:cxn>
              <a:cxn ang="0">
                <a:pos x="connsiteX12525" y="connsiteY12525"/>
              </a:cxn>
              <a:cxn ang="0">
                <a:pos x="connsiteX12526" y="connsiteY12526"/>
              </a:cxn>
              <a:cxn ang="0">
                <a:pos x="connsiteX12527" y="connsiteY12527"/>
              </a:cxn>
              <a:cxn ang="0">
                <a:pos x="connsiteX12528" y="connsiteY12528"/>
              </a:cxn>
              <a:cxn ang="0">
                <a:pos x="connsiteX12529" y="connsiteY12529"/>
              </a:cxn>
              <a:cxn ang="0">
                <a:pos x="connsiteX12530" y="connsiteY12530"/>
              </a:cxn>
              <a:cxn ang="0">
                <a:pos x="connsiteX12531" y="connsiteY12531"/>
              </a:cxn>
              <a:cxn ang="0">
                <a:pos x="connsiteX12532" y="connsiteY12532"/>
              </a:cxn>
              <a:cxn ang="0">
                <a:pos x="connsiteX12533" y="connsiteY12533"/>
              </a:cxn>
              <a:cxn ang="0">
                <a:pos x="connsiteX12534" y="connsiteY12534"/>
              </a:cxn>
              <a:cxn ang="0">
                <a:pos x="connsiteX12535" y="connsiteY12535"/>
              </a:cxn>
              <a:cxn ang="0">
                <a:pos x="connsiteX12536" y="connsiteY12536"/>
              </a:cxn>
              <a:cxn ang="0">
                <a:pos x="connsiteX12537" y="connsiteY12537"/>
              </a:cxn>
              <a:cxn ang="0">
                <a:pos x="connsiteX12538" y="connsiteY12538"/>
              </a:cxn>
              <a:cxn ang="0">
                <a:pos x="connsiteX12539" y="connsiteY12539"/>
              </a:cxn>
              <a:cxn ang="0">
                <a:pos x="connsiteX12540" y="connsiteY12540"/>
              </a:cxn>
              <a:cxn ang="0">
                <a:pos x="connsiteX12541" y="connsiteY12541"/>
              </a:cxn>
              <a:cxn ang="0">
                <a:pos x="connsiteX12542" y="connsiteY12542"/>
              </a:cxn>
              <a:cxn ang="0">
                <a:pos x="connsiteX12543" y="connsiteY12543"/>
              </a:cxn>
              <a:cxn ang="0">
                <a:pos x="connsiteX12544" y="connsiteY12544"/>
              </a:cxn>
              <a:cxn ang="0">
                <a:pos x="connsiteX12545" y="connsiteY12545"/>
              </a:cxn>
              <a:cxn ang="0">
                <a:pos x="connsiteX12546" y="connsiteY12546"/>
              </a:cxn>
              <a:cxn ang="0">
                <a:pos x="connsiteX12547" y="connsiteY12547"/>
              </a:cxn>
              <a:cxn ang="0">
                <a:pos x="connsiteX12548" y="connsiteY12548"/>
              </a:cxn>
              <a:cxn ang="0">
                <a:pos x="connsiteX12549" y="connsiteY12549"/>
              </a:cxn>
              <a:cxn ang="0">
                <a:pos x="connsiteX12550" y="connsiteY12550"/>
              </a:cxn>
              <a:cxn ang="0">
                <a:pos x="connsiteX12551" y="connsiteY12551"/>
              </a:cxn>
              <a:cxn ang="0">
                <a:pos x="connsiteX12552" y="connsiteY12552"/>
              </a:cxn>
              <a:cxn ang="0">
                <a:pos x="connsiteX12553" y="connsiteY12553"/>
              </a:cxn>
              <a:cxn ang="0">
                <a:pos x="connsiteX12554" y="connsiteY12554"/>
              </a:cxn>
              <a:cxn ang="0">
                <a:pos x="connsiteX12555" y="connsiteY12555"/>
              </a:cxn>
              <a:cxn ang="0">
                <a:pos x="connsiteX12556" y="connsiteY12556"/>
              </a:cxn>
              <a:cxn ang="0">
                <a:pos x="connsiteX12557" y="connsiteY12557"/>
              </a:cxn>
              <a:cxn ang="0">
                <a:pos x="connsiteX12558" y="connsiteY12558"/>
              </a:cxn>
              <a:cxn ang="0">
                <a:pos x="connsiteX12559" y="connsiteY12559"/>
              </a:cxn>
              <a:cxn ang="0">
                <a:pos x="connsiteX12560" y="connsiteY12560"/>
              </a:cxn>
              <a:cxn ang="0">
                <a:pos x="connsiteX12561" y="connsiteY12561"/>
              </a:cxn>
              <a:cxn ang="0">
                <a:pos x="connsiteX12562" y="connsiteY12562"/>
              </a:cxn>
              <a:cxn ang="0">
                <a:pos x="connsiteX12563" y="connsiteY12563"/>
              </a:cxn>
              <a:cxn ang="0">
                <a:pos x="connsiteX12564" y="connsiteY12564"/>
              </a:cxn>
              <a:cxn ang="0">
                <a:pos x="connsiteX12565" y="connsiteY12565"/>
              </a:cxn>
              <a:cxn ang="0">
                <a:pos x="connsiteX12566" y="connsiteY12566"/>
              </a:cxn>
              <a:cxn ang="0">
                <a:pos x="connsiteX12567" y="connsiteY12567"/>
              </a:cxn>
              <a:cxn ang="0">
                <a:pos x="connsiteX12568" y="connsiteY12568"/>
              </a:cxn>
              <a:cxn ang="0">
                <a:pos x="connsiteX12569" y="connsiteY12569"/>
              </a:cxn>
              <a:cxn ang="0">
                <a:pos x="connsiteX12570" y="connsiteY12570"/>
              </a:cxn>
              <a:cxn ang="0">
                <a:pos x="connsiteX12571" y="connsiteY12571"/>
              </a:cxn>
              <a:cxn ang="0">
                <a:pos x="connsiteX12572" y="connsiteY12572"/>
              </a:cxn>
              <a:cxn ang="0">
                <a:pos x="connsiteX12573" y="connsiteY12573"/>
              </a:cxn>
              <a:cxn ang="0">
                <a:pos x="connsiteX12574" y="connsiteY12574"/>
              </a:cxn>
              <a:cxn ang="0">
                <a:pos x="connsiteX12575" y="connsiteY12575"/>
              </a:cxn>
              <a:cxn ang="0">
                <a:pos x="connsiteX12576" y="connsiteY12576"/>
              </a:cxn>
              <a:cxn ang="0">
                <a:pos x="connsiteX12577" y="connsiteY12577"/>
              </a:cxn>
              <a:cxn ang="0">
                <a:pos x="connsiteX12578" y="connsiteY12578"/>
              </a:cxn>
              <a:cxn ang="0">
                <a:pos x="connsiteX12579" y="connsiteY12579"/>
              </a:cxn>
              <a:cxn ang="0">
                <a:pos x="connsiteX12580" y="connsiteY12580"/>
              </a:cxn>
              <a:cxn ang="0">
                <a:pos x="connsiteX12581" y="connsiteY12581"/>
              </a:cxn>
              <a:cxn ang="0">
                <a:pos x="connsiteX12582" y="connsiteY12582"/>
              </a:cxn>
              <a:cxn ang="0">
                <a:pos x="connsiteX12583" y="connsiteY12583"/>
              </a:cxn>
              <a:cxn ang="0">
                <a:pos x="connsiteX12584" y="connsiteY12584"/>
              </a:cxn>
              <a:cxn ang="0">
                <a:pos x="connsiteX12585" y="connsiteY12585"/>
              </a:cxn>
              <a:cxn ang="0">
                <a:pos x="connsiteX12586" y="connsiteY12586"/>
              </a:cxn>
              <a:cxn ang="0">
                <a:pos x="connsiteX12587" y="connsiteY12587"/>
              </a:cxn>
              <a:cxn ang="0">
                <a:pos x="connsiteX12588" y="connsiteY12588"/>
              </a:cxn>
              <a:cxn ang="0">
                <a:pos x="connsiteX12589" y="connsiteY12589"/>
              </a:cxn>
              <a:cxn ang="0">
                <a:pos x="connsiteX12590" y="connsiteY12590"/>
              </a:cxn>
              <a:cxn ang="0">
                <a:pos x="connsiteX12591" y="connsiteY12591"/>
              </a:cxn>
              <a:cxn ang="0">
                <a:pos x="connsiteX12592" y="connsiteY12592"/>
              </a:cxn>
              <a:cxn ang="0">
                <a:pos x="connsiteX12593" y="connsiteY12593"/>
              </a:cxn>
              <a:cxn ang="0">
                <a:pos x="connsiteX12594" y="connsiteY12594"/>
              </a:cxn>
              <a:cxn ang="0">
                <a:pos x="connsiteX12595" y="connsiteY12595"/>
              </a:cxn>
              <a:cxn ang="0">
                <a:pos x="connsiteX12596" y="connsiteY12596"/>
              </a:cxn>
              <a:cxn ang="0">
                <a:pos x="connsiteX12597" y="connsiteY12597"/>
              </a:cxn>
              <a:cxn ang="0">
                <a:pos x="connsiteX12598" y="connsiteY12598"/>
              </a:cxn>
              <a:cxn ang="0">
                <a:pos x="connsiteX12599" y="connsiteY12599"/>
              </a:cxn>
              <a:cxn ang="0">
                <a:pos x="connsiteX12600" y="connsiteY12600"/>
              </a:cxn>
              <a:cxn ang="0">
                <a:pos x="connsiteX12601" y="connsiteY12601"/>
              </a:cxn>
              <a:cxn ang="0">
                <a:pos x="connsiteX12602" y="connsiteY12602"/>
              </a:cxn>
              <a:cxn ang="0">
                <a:pos x="connsiteX12603" y="connsiteY12603"/>
              </a:cxn>
              <a:cxn ang="0">
                <a:pos x="connsiteX12604" y="connsiteY12604"/>
              </a:cxn>
              <a:cxn ang="0">
                <a:pos x="connsiteX12605" y="connsiteY12605"/>
              </a:cxn>
              <a:cxn ang="0">
                <a:pos x="connsiteX12606" y="connsiteY12606"/>
              </a:cxn>
              <a:cxn ang="0">
                <a:pos x="connsiteX12607" y="connsiteY12607"/>
              </a:cxn>
              <a:cxn ang="0">
                <a:pos x="connsiteX12608" y="connsiteY12608"/>
              </a:cxn>
              <a:cxn ang="0">
                <a:pos x="connsiteX12609" y="connsiteY12609"/>
              </a:cxn>
              <a:cxn ang="0">
                <a:pos x="connsiteX12610" y="connsiteY12610"/>
              </a:cxn>
              <a:cxn ang="0">
                <a:pos x="connsiteX12611" y="connsiteY12611"/>
              </a:cxn>
              <a:cxn ang="0">
                <a:pos x="connsiteX12612" y="connsiteY12612"/>
              </a:cxn>
              <a:cxn ang="0">
                <a:pos x="connsiteX12613" y="connsiteY12613"/>
              </a:cxn>
              <a:cxn ang="0">
                <a:pos x="connsiteX12614" y="connsiteY12614"/>
              </a:cxn>
              <a:cxn ang="0">
                <a:pos x="connsiteX12615" y="connsiteY12615"/>
              </a:cxn>
              <a:cxn ang="0">
                <a:pos x="connsiteX12616" y="connsiteY12616"/>
              </a:cxn>
              <a:cxn ang="0">
                <a:pos x="connsiteX12617" y="connsiteY12617"/>
              </a:cxn>
              <a:cxn ang="0">
                <a:pos x="connsiteX12618" y="connsiteY12618"/>
              </a:cxn>
              <a:cxn ang="0">
                <a:pos x="connsiteX12619" y="connsiteY12619"/>
              </a:cxn>
              <a:cxn ang="0">
                <a:pos x="connsiteX12620" y="connsiteY12620"/>
              </a:cxn>
              <a:cxn ang="0">
                <a:pos x="connsiteX12621" y="connsiteY12621"/>
              </a:cxn>
              <a:cxn ang="0">
                <a:pos x="connsiteX12622" y="connsiteY12622"/>
              </a:cxn>
              <a:cxn ang="0">
                <a:pos x="connsiteX12623" y="connsiteY12623"/>
              </a:cxn>
              <a:cxn ang="0">
                <a:pos x="connsiteX12624" y="connsiteY12624"/>
              </a:cxn>
              <a:cxn ang="0">
                <a:pos x="connsiteX12625" y="connsiteY12625"/>
              </a:cxn>
              <a:cxn ang="0">
                <a:pos x="connsiteX12626" y="connsiteY12626"/>
              </a:cxn>
              <a:cxn ang="0">
                <a:pos x="connsiteX12627" y="connsiteY12627"/>
              </a:cxn>
              <a:cxn ang="0">
                <a:pos x="connsiteX12628" y="connsiteY12628"/>
              </a:cxn>
              <a:cxn ang="0">
                <a:pos x="connsiteX12629" y="connsiteY12629"/>
              </a:cxn>
              <a:cxn ang="0">
                <a:pos x="connsiteX12630" y="connsiteY12630"/>
              </a:cxn>
              <a:cxn ang="0">
                <a:pos x="connsiteX12631" y="connsiteY12631"/>
              </a:cxn>
              <a:cxn ang="0">
                <a:pos x="connsiteX12632" y="connsiteY12632"/>
              </a:cxn>
              <a:cxn ang="0">
                <a:pos x="connsiteX12633" y="connsiteY12633"/>
              </a:cxn>
              <a:cxn ang="0">
                <a:pos x="connsiteX12634" y="connsiteY12634"/>
              </a:cxn>
              <a:cxn ang="0">
                <a:pos x="connsiteX12635" y="connsiteY12635"/>
              </a:cxn>
              <a:cxn ang="0">
                <a:pos x="connsiteX12636" y="connsiteY12636"/>
              </a:cxn>
              <a:cxn ang="0">
                <a:pos x="connsiteX12637" y="connsiteY12637"/>
              </a:cxn>
              <a:cxn ang="0">
                <a:pos x="connsiteX12638" y="connsiteY12638"/>
              </a:cxn>
              <a:cxn ang="0">
                <a:pos x="connsiteX12639" y="connsiteY12639"/>
              </a:cxn>
              <a:cxn ang="0">
                <a:pos x="connsiteX12640" y="connsiteY12640"/>
              </a:cxn>
              <a:cxn ang="0">
                <a:pos x="connsiteX12641" y="connsiteY12641"/>
              </a:cxn>
              <a:cxn ang="0">
                <a:pos x="connsiteX12642" y="connsiteY12642"/>
              </a:cxn>
              <a:cxn ang="0">
                <a:pos x="connsiteX12643" y="connsiteY12643"/>
              </a:cxn>
              <a:cxn ang="0">
                <a:pos x="connsiteX12644" y="connsiteY12644"/>
              </a:cxn>
              <a:cxn ang="0">
                <a:pos x="connsiteX12645" y="connsiteY12645"/>
              </a:cxn>
              <a:cxn ang="0">
                <a:pos x="connsiteX12646" y="connsiteY12646"/>
              </a:cxn>
              <a:cxn ang="0">
                <a:pos x="connsiteX12647" y="connsiteY12647"/>
              </a:cxn>
              <a:cxn ang="0">
                <a:pos x="connsiteX12648" y="connsiteY12648"/>
              </a:cxn>
              <a:cxn ang="0">
                <a:pos x="connsiteX12649" y="connsiteY12649"/>
              </a:cxn>
              <a:cxn ang="0">
                <a:pos x="connsiteX12650" y="connsiteY12650"/>
              </a:cxn>
              <a:cxn ang="0">
                <a:pos x="connsiteX12651" y="connsiteY12651"/>
              </a:cxn>
              <a:cxn ang="0">
                <a:pos x="connsiteX12652" y="connsiteY12652"/>
              </a:cxn>
              <a:cxn ang="0">
                <a:pos x="connsiteX12653" y="connsiteY12653"/>
              </a:cxn>
              <a:cxn ang="0">
                <a:pos x="connsiteX12654" y="connsiteY12654"/>
              </a:cxn>
              <a:cxn ang="0">
                <a:pos x="connsiteX12655" y="connsiteY12655"/>
              </a:cxn>
              <a:cxn ang="0">
                <a:pos x="connsiteX12656" y="connsiteY12656"/>
              </a:cxn>
              <a:cxn ang="0">
                <a:pos x="connsiteX12657" y="connsiteY12657"/>
              </a:cxn>
              <a:cxn ang="0">
                <a:pos x="connsiteX12658" y="connsiteY12658"/>
              </a:cxn>
              <a:cxn ang="0">
                <a:pos x="connsiteX12659" y="connsiteY12659"/>
              </a:cxn>
              <a:cxn ang="0">
                <a:pos x="connsiteX12660" y="connsiteY12660"/>
              </a:cxn>
              <a:cxn ang="0">
                <a:pos x="connsiteX12661" y="connsiteY12661"/>
              </a:cxn>
              <a:cxn ang="0">
                <a:pos x="connsiteX12662" y="connsiteY12662"/>
              </a:cxn>
              <a:cxn ang="0">
                <a:pos x="connsiteX12663" y="connsiteY12663"/>
              </a:cxn>
              <a:cxn ang="0">
                <a:pos x="connsiteX12664" y="connsiteY12664"/>
              </a:cxn>
              <a:cxn ang="0">
                <a:pos x="connsiteX12665" y="connsiteY12665"/>
              </a:cxn>
              <a:cxn ang="0">
                <a:pos x="connsiteX12666" y="connsiteY12666"/>
              </a:cxn>
              <a:cxn ang="0">
                <a:pos x="connsiteX12667" y="connsiteY12667"/>
              </a:cxn>
              <a:cxn ang="0">
                <a:pos x="connsiteX12668" y="connsiteY12668"/>
              </a:cxn>
              <a:cxn ang="0">
                <a:pos x="connsiteX12669" y="connsiteY12669"/>
              </a:cxn>
              <a:cxn ang="0">
                <a:pos x="connsiteX12670" y="connsiteY12670"/>
              </a:cxn>
              <a:cxn ang="0">
                <a:pos x="connsiteX12671" y="connsiteY12671"/>
              </a:cxn>
              <a:cxn ang="0">
                <a:pos x="connsiteX12672" y="connsiteY12672"/>
              </a:cxn>
              <a:cxn ang="0">
                <a:pos x="connsiteX12673" y="connsiteY12673"/>
              </a:cxn>
              <a:cxn ang="0">
                <a:pos x="connsiteX12674" y="connsiteY12674"/>
              </a:cxn>
              <a:cxn ang="0">
                <a:pos x="connsiteX12675" y="connsiteY12675"/>
              </a:cxn>
              <a:cxn ang="0">
                <a:pos x="connsiteX12676" y="connsiteY12676"/>
              </a:cxn>
              <a:cxn ang="0">
                <a:pos x="connsiteX12677" y="connsiteY12677"/>
              </a:cxn>
              <a:cxn ang="0">
                <a:pos x="connsiteX12678" y="connsiteY12678"/>
              </a:cxn>
              <a:cxn ang="0">
                <a:pos x="connsiteX12679" y="connsiteY12679"/>
              </a:cxn>
              <a:cxn ang="0">
                <a:pos x="connsiteX12680" y="connsiteY12680"/>
              </a:cxn>
              <a:cxn ang="0">
                <a:pos x="connsiteX12681" y="connsiteY12681"/>
              </a:cxn>
              <a:cxn ang="0">
                <a:pos x="connsiteX12682" y="connsiteY12682"/>
              </a:cxn>
              <a:cxn ang="0">
                <a:pos x="connsiteX12683" y="connsiteY12683"/>
              </a:cxn>
              <a:cxn ang="0">
                <a:pos x="connsiteX12684" y="connsiteY12684"/>
              </a:cxn>
              <a:cxn ang="0">
                <a:pos x="connsiteX12685" y="connsiteY12685"/>
              </a:cxn>
              <a:cxn ang="0">
                <a:pos x="connsiteX12686" y="connsiteY12686"/>
              </a:cxn>
              <a:cxn ang="0">
                <a:pos x="connsiteX12687" y="connsiteY12687"/>
              </a:cxn>
              <a:cxn ang="0">
                <a:pos x="connsiteX12688" y="connsiteY12688"/>
              </a:cxn>
              <a:cxn ang="0">
                <a:pos x="connsiteX12689" y="connsiteY12689"/>
              </a:cxn>
              <a:cxn ang="0">
                <a:pos x="connsiteX12690" y="connsiteY12690"/>
              </a:cxn>
              <a:cxn ang="0">
                <a:pos x="connsiteX12691" y="connsiteY12691"/>
              </a:cxn>
              <a:cxn ang="0">
                <a:pos x="connsiteX12692" y="connsiteY12692"/>
              </a:cxn>
              <a:cxn ang="0">
                <a:pos x="connsiteX12693" y="connsiteY12693"/>
              </a:cxn>
              <a:cxn ang="0">
                <a:pos x="connsiteX12694" y="connsiteY12694"/>
              </a:cxn>
              <a:cxn ang="0">
                <a:pos x="connsiteX12695" y="connsiteY12695"/>
              </a:cxn>
              <a:cxn ang="0">
                <a:pos x="connsiteX12696" y="connsiteY12696"/>
              </a:cxn>
              <a:cxn ang="0">
                <a:pos x="connsiteX12697" y="connsiteY12697"/>
              </a:cxn>
              <a:cxn ang="0">
                <a:pos x="connsiteX12698" y="connsiteY12698"/>
              </a:cxn>
              <a:cxn ang="0">
                <a:pos x="connsiteX12699" y="connsiteY12699"/>
              </a:cxn>
              <a:cxn ang="0">
                <a:pos x="connsiteX12700" y="connsiteY12700"/>
              </a:cxn>
              <a:cxn ang="0">
                <a:pos x="connsiteX12701" y="connsiteY12701"/>
              </a:cxn>
              <a:cxn ang="0">
                <a:pos x="connsiteX12702" y="connsiteY12702"/>
              </a:cxn>
              <a:cxn ang="0">
                <a:pos x="connsiteX12703" y="connsiteY12703"/>
              </a:cxn>
              <a:cxn ang="0">
                <a:pos x="connsiteX12704" y="connsiteY12704"/>
              </a:cxn>
              <a:cxn ang="0">
                <a:pos x="connsiteX12705" y="connsiteY12705"/>
              </a:cxn>
              <a:cxn ang="0">
                <a:pos x="connsiteX12706" y="connsiteY12706"/>
              </a:cxn>
              <a:cxn ang="0">
                <a:pos x="connsiteX12707" y="connsiteY12707"/>
              </a:cxn>
              <a:cxn ang="0">
                <a:pos x="connsiteX12708" y="connsiteY12708"/>
              </a:cxn>
              <a:cxn ang="0">
                <a:pos x="connsiteX12709" y="connsiteY12709"/>
              </a:cxn>
              <a:cxn ang="0">
                <a:pos x="connsiteX12710" y="connsiteY12710"/>
              </a:cxn>
              <a:cxn ang="0">
                <a:pos x="connsiteX12711" y="connsiteY12711"/>
              </a:cxn>
              <a:cxn ang="0">
                <a:pos x="connsiteX12712" y="connsiteY12712"/>
              </a:cxn>
              <a:cxn ang="0">
                <a:pos x="connsiteX12713" y="connsiteY12713"/>
              </a:cxn>
              <a:cxn ang="0">
                <a:pos x="connsiteX12714" y="connsiteY12714"/>
              </a:cxn>
              <a:cxn ang="0">
                <a:pos x="connsiteX12715" y="connsiteY12715"/>
              </a:cxn>
              <a:cxn ang="0">
                <a:pos x="connsiteX12716" y="connsiteY12716"/>
              </a:cxn>
              <a:cxn ang="0">
                <a:pos x="connsiteX12717" y="connsiteY12717"/>
              </a:cxn>
              <a:cxn ang="0">
                <a:pos x="connsiteX12718" y="connsiteY12718"/>
              </a:cxn>
              <a:cxn ang="0">
                <a:pos x="connsiteX12719" y="connsiteY12719"/>
              </a:cxn>
              <a:cxn ang="0">
                <a:pos x="connsiteX12720" y="connsiteY12720"/>
              </a:cxn>
              <a:cxn ang="0">
                <a:pos x="connsiteX12721" y="connsiteY12721"/>
              </a:cxn>
              <a:cxn ang="0">
                <a:pos x="connsiteX12722" y="connsiteY12722"/>
              </a:cxn>
              <a:cxn ang="0">
                <a:pos x="connsiteX12723" y="connsiteY12723"/>
              </a:cxn>
              <a:cxn ang="0">
                <a:pos x="connsiteX12724" y="connsiteY12724"/>
              </a:cxn>
              <a:cxn ang="0">
                <a:pos x="connsiteX12725" y="connsiteY12725"/>
              </a:cxn>
              <a:cxn ang="0">
                <a:pos x="connsiteX12726" y="connsiteY12726"/>
              </a:cxn>
              <a:cxn ang="0">
                <a:pos x="connsiteX12727" y="connsiteY12727"/>
              </a:cxn>
              <a:cxn ang="0">
                <a:pos x="connsiteX12728" y="connsiteY12728"/>
              </a:cxn>
              <a:cxn ang="0">
                <a:pos x="connsiteX12729" y="connsiteY12729"/>
              </a:cxn>
              <a:cxn ang="0">
                <a:pos x="connsiteX12730" y="connsiteY12730"/>
              </a:cxn>
              <a:cxn ang="0">
                <a:pos x="connsiteX12731" y="connsiteY12731"/>
              </a:cxn>
              <a:cxn ang="0">
                <a:pos x="connsiteX12732" y="connsiteY12732"/>
              </a:cxn>
              <a:cxn ang="0">
                <a:pos x="connsiteX12733" y="connsiteY12733"/>
              </a:cxn>
              <a:cxn ang="0">
                <a:pos x="connsiteX12734" y="connsiteY12734"/>
              </a:cxn>
              <a:cxn ang="0">
                <a:pos x="connsiteX12735" y="connsiteY12735"/>
              </a:cxn>
              <a:cxn ang="0">
                <a:pos x="connsiteX12736" y="connsiteY12736"/>
              </a:cxn>
              <a:cxn ang="0">
                <a:pos x="connsiteX12737" y="connsiteY12737"/>
              </a:cxn>
              <a:cxn ang="0">
                <a:pos x="connsiteX12738" y="connsiteY12738"/>
              </a:cxn>
              <a:cxn ang="0">
                <a:pos x="connsiteX12739" y="connsiteY12739"/>
              </a:cxn>
              <a:cxn ang="0">
                <a:pos x="connsiteX12740" y="connsiteY12740"/>
              </a:cxn>
              <a:cxn ang="0">
                <a:pos x="connsiteX12741" y="connsiteY12741"/>
              </a:cxn>
              <a:cxn ang="0">
                <a:pos x="connsiteX12742" y="connsiteY12742"/>
              </a:cxn>
              <a:cxn ang="0">
                <a:pos x="connsiteX12743" y="connsiteY12743"/>
              </a:cxn>
              <a:cxn ang="0">
                <a:pos x="connsiteX12744" y="connsiteY12744"/>
              </a:cxn>
              <a:cxn ang="0">
                <a:pos x="connsiteX12745" y="connsiteY12745"/>
              </a:cxn>
              <a:cxn ang="0">
                <a:pos x="connsiteX12746" y="connsiteY12746"/>
              </a:cxn>
              <a:cxn ang="0">
                <a:pos x="connsiteX12747" y="connsiteY12747"/>
              </a:cxn>
              <a:cxn ang="0">
                <a:pos x="connsiteX12748" y="connsiteY12748"/>
              </a:cxn>
              <a:cxn ang="0">
                <a:pos x="connsiteX12749" y="connsiteY12749"/>
              </a:cxn>
              <a:cxn ang="0">
                <a:pos x="connsiteX12750" y="connsiteY12750"/>
              </a:cxn>
              <a:cxn ang="0">
                <a:pos x="connsiteX12751" y="connsiteY12751"/>
              </a:cxn>
              <a:cxn ang="0">
                <a:pos x="connsiteX12752" y="connsiteY12752"/>
              </a:cxn>
              <a:cxn ang="0">
                <a:pos x="connsiteX12753" y="connsiteY12753"/>
              </a:cxn>
              <a:cxn ang="0">
                <a:pos x="connsiteX12754" y="connsiteY12754"/>
              </a:cxn>
              <a:cxn ang="0">
                <a:pos x="connsiteX12755" y="connsiteY12755"/>
              </a:cxn>
              <a:cxn ang="0">
                <a:pos x="connsiteX12756" y="connsiteY12756"/>
              </a:cxn>
              <a:cxn ang="0">
                <a:pos x="connsiteX12757" y="connsiteY12757"/>
              </a:cxn>
              <a:cxn ang="0">
                <a:pos x="connsiteX12758" y="connsiteY12758"/>
              </a:cxn>
              <a:cxn ang="0">
                <a:pos x="connsiteX12759" y="connsiteY12759"/>
              </a:cxn>
              <a:cxn ang="0">
                <a:pos x="connsiteX12760" y="connsiteY12760"/>
              </a:cxn>
              <a:cxn ang="0">
                <a:pos x="connsiteX12761" y="connsiteY12761"/>
              </a:cxn>
              <a:cxn ang="0">
                <a:pos x="connsiteX12762" y="connsiteY12762"/>
              </a:cxn>
              <a:cxn ang="0">
                <a:pos x="connsiteX12763" y="connsiteY12763"/>
              </a:cxn>
              <a:cxn ang="0">
                <a:pos x="connsiteX12764" y="connsiteY12764"/>
              </a:cxn>
              <a:cxn ang="0">
                <a:pos x="connsiteX12765" y="connsiteY12765"/>
              </a:cxn>
              <a:cxn ang="0">
                <a:pos x="connsiteX12766" y="connsiteY12766"/>
              </a:cxn>
              <a:cxn ang="0">
                <a:pos x="connsiteX12767" y="connsiteY12767"/>
              </a:cxn>
              <a:cxn ang="0">
                <a:pos x="connsiteX12768" y="connsiteY12768"/>
              </a:cxn>
              <a:cxn ang="0">
                <a:pos x="connsiteX12769" y="connsiteY12769"/>
              </a:cxn>
              <a:cxn ang="0">
                <a:pos x="connsiteX12770" y="connsiteY12770"/>
              </a:cxn>
              <a:cxn ang="0">
                <a:pos x="connsiteX12771" y="connsiteY12771"/>
              </a:cxn>
              <a:cxn ang="0">
                <a:pos x="connsiteX12772" y="connsiteY12772"/>
              </a:cxn>
              <a:cxn ang="0">
                <a:pos x="connsiteX12773" y="connsiteY12773"/>
              </a:cxn>
              <a:cxn ang="0">
                <a:pos x="connsiteX12774" y="connsiteY12774"/>
              </a:cxn>
              <a:cxn ang="0">
                <a:pos x="connsiteX12775" y="connsiteY12775"/>
              </a:cxn>
              <a:cxn ang="0">
                <a:pos x="connsiteX12776" y="connsiteY12776"/>
              </a:cxn>
              <a:cxn ang="0">
                <a:pos x="connsiteX12777" y="connsiteY12777"/>
              </a:cxn>
              <a:cxn ang="0">
                <a:pos x="connsiteX12778" y="connsiteY12778"/>
              </a:cxn>
              <a:cxn ang="0">
                <a:pos x="connsiteX12779" y="connsiteY12779"/>
              </a:cxn>
              <a:cxn ang="0">
                <a:pos x="connsiteX12780" y="connsiteY12780"/>
              </a:cxn>
              <a:cxn ang="0">
                <a:pos x="connsiteX12781" y="connsiteY12781"/>
              </a:cxn>
              <a:cxn ang="0">
                <a:pos x="connsiteX12782" y="connsiteY12782"/>
              </a:cxn>
              <a:cxn ang="0">
                <a:pos x="connsiteX12783" y="connsiteY12783"/>
              </a:cxn>
              <a:cxn ang="0">
                <a:pos x="connsiteX12784" y="connsiteY12784"/>
              </a:cxn>
              <a:cxn ang="0">
                <a:pos x="connsiteX12785" y="connsiteY12785"/>
              </a:cxn>
              <a:cxn ang="0">
                <a:pos x="connsiteX12786" y="connsiteY12786"/>
              </a:cxn>
              <a:cxn ang="0">
                <a:pos x="connsiteX12787" y="connsiteY12787"/>
              </a:cxn>
              <a:cxn ang="0">
                <a:pos x="connsiteX12788" y="connsiteY12788"/>
              </a:cxn>
              <a:cxn ang="0">
                <a:pos x="connsiteX12789" y="connsiteY12789"/>
              </a:cxn>
              <a:cxn ang="0">
                <a:pos x="connsiteX12790" y="connsiteY12790"/>
              </a:cxn>
              <a:cxn ang="0">
                <a:pos x="connsiteX12791" y="connsiteY12791"/>
              </a:cxn>
              <a:cxn ang="0">
                <a:pos x="connsiteX12792" y="connsiteY12792"/>
              </a:cxn>
              <a:cxn ang="0">
                <a:pos x="connsiteX12793" y="connsiteY12793"/>
              </a:cxn>
              <a:cxn ang="0">
                <a:pos x="connsiteX12794" y="connsiteY12794"/>
              </a:cxn>
              <a:cxn ang="0">
                <a:pos x="connsiteX12795" y="connsiteY12795"/>
              </a:cxn>
              <a:cxn ang="0">
                <a:pos x="connsiteX12796" y="connsiteY12796"/>
              </a:cxn>
              <a:cxn ang="0">
                <a:pos x="connsiteX12797" y="connsiteY12797"/>
              </a:cxn>
              <a:cxn ang="0">
                <a:pos x="connsiteX12798" y="connsiteY12798"/>
              </a:cxn>
              <a:cxn ang="0">
                <a:pos x="connsiteX12799" y="connsiteY12799"/>
              </a:cxn>
              <a:cxn ang="0">
                <a:pos x="connsiteX12800" y="connsiteY12800"/>
              </a:cxn>
              <a:cxn ang="0">
                <a:pos x="connsiteX12801" y="connsiteY12801"/>
              </a:cxn>
              <a:cxn ang="0">
                <a:pos x="connsiteX12802" y="connsiteY12802"/>
              </a:cxn>
              <a:cxn ang="0">
                <a:pos x="connsiteX12803" y="connsiteY12803"/>
              </a:cxn>
              <a:cxn ang="0">
                <a:pos x="connsiteX12804" y="connsiteY12804"/>
              </a:cxn>
              <a:cxn ang="0">
                <a:pos x="connsiteX12805" y="connsiteY12805"/>
              </a:cxn>
              <a:cxn ang="0">
                <a:pos x="connsiteX12806" y="connsiteY12806"/>
              </a:cxn>
              <a:cxn ang="0">
                <a:pos x="connsiteX12807" y="connsiteY12807"/>
              </a:cxn>
              <a:cxn ang="0">
                <a:pos x="connsiteX12808" y="connsiteY12808"/>
              </a:cxn>
              <a:cxn ang="0">
                <a:pos x="connsiteX12809" y="connsiteY12809"/>
              </a:cxn>
              <a:cxn ang="0">
                <a:pos x="connsiteX12810" y="connsiteY12810"/>
              </a:cxn>
              <a:cxn ang="0">
                <a:pos x="connsiteX12811" y="connsiteY12811"/>
              </a:cxn>
              <a:cxn ang="0">
                <a:pos x="connsiteX12812" y="connsiteY12812"/>
              </a:cxn>
              <a:cxn ang="0">
                <a:pos x="connsiteX12813" y="connsiteY12813"/>
              </a:cxn>
              <a:cxn ang="0">
                <a:pos x="connsiteX12814" y="connsiteY12814"/>
              </a:cxn>
              <a:cxn ang="0">
                <a:pos x="connsiteX12815" y="connsiteY12815"/>
              </a:cxn>
              <a:cxn ang="0">
                <a:pos x="connsiteX12816" y="connsiteY12816"/>
              </a:cxn>
              <a:cxn ang="0">
                <a:pos x="connsiteX12817" y="connsiteY12817"/>
              </a:cxn>
              <a:cxn ang="0">
                <a:pos x="connsiteX12818" y="connsiteY12818"/>
              </a:cxn>
              <a:cxn ang="0">
                <a:pos x="connsiteX12819" y="connsiteY12819"/>
              </a:cxn>
              <a:cxn ang="0">
                <a:pos x="connsiteX12820" y="connsiteY12820"/>
              </a:cxn>
              <a:cxn ang="0">
                <a:pos x="connsiteX12821" y="connsiteY12821"/>
              </a:cxn>
              <a:cxn ang="0">
                <a:pos x="connsiteX12822" y="connsiteY12822"/>
              </a:cxn>
              <a:cxn ang="0">
                <a:pos x="connsiteX12823" y="connsiteY12823"/>
              </a:cxn>
              <a:cxn ang="0">
                <a:pos x="connsiteX12824" y="connsiteY12824"/>
              </a:cxn>
              <a:cxn ang="0">
                <a:pos x="connsiteX12825" y="connsiteY12825"/>
              </a:cxn>
              <a:cxn ang="0">
                <a:pos x="connsiteX12826" y="connsiteY12826"/>
              </a:cxn>
              <a:cxn ang="0">
                <a:pos x="connsiteX12827" y="connsiteY12827"/>
              </a:cxn>
              <a:cxn ang="0">
                <a:pos x="connsiteX12828" y="connsiteY12828"/>
              </a:cxn>
              <a:cxn ang="0">
                <a:pos x="connsiteX12829" y="connsiteY12829"/>
              </a:cxn>
              <a:cxn ang="0">
                <a:pos x="connsiteX12830" y="connsiteY12830"/>
              </a:cxn>
              <a:cxn ang="0">
                <a:pos x="connsiteX12831" y="connsiteY12831"/>
              </a:cxn>
              <a:cxn ang="0">
                <a:pos x="connsiteX12832" y="connsiteY12832"/>
              </a:cxn>
              <a:cxn ang="0">
                <a:pos x="connsiteX12833" y="connsiteY12833"/>
              </a:cxn>
              <a:cxn ang="0">
                <a:pos x="connsiteX12834" y="connsiteY12834"/>
              </a:cxn>
              <a:cxn ang="0">
                <a:pos x="connsiteX12835" y="connsiteY12835"/>
              </a:cxn>
              <a:cxn ang="0">
                <a:pos x="connsiteX12836" y="connsiteY12836"/>
              </a:cxn>
              <a:cxn ang="0">
                <a:pos x="connsiteX12837" y="connsiteY12837"/>
              </a:cxn>
              <a:cxn ang="0">
                <a:pos x="connsiteX12838" y="connsiteY12838"/>
              </a:cxn>
              <a:cxn ang="0">
                <a:pos x="connsiteX12839" y="connsiteY12839"/>
              </a:cxn>
              <a:cxn ang="0">
                <a:pos x="connsiteX12840" y="connsiteY12840"/>
              </a:cxn>
              <a:cxn ang="0">
                <a:pos x="connsiteX12841" y="connsiteY12841"/>
              </a:cxn>
              <a:cxn ang="0">
                <a:pos x="connsiteX12842" y="connsiteY12842"/>
              </a:cxn>
              <a:cxn ang="0">
                <a:pos x="connsiteX12843" y="connsiteY12843"/>
              </a:cxn>
              <a:cxn ang="0">
                <a:pos x="connsiteX12844" y="connsiteY12844"/>
              </a:cxn>
              <a:cxn ang="0">
                <a:pos x="connsiteX12845" y="connsiteY12845"/>
              </a:cxn>
              <a:cxn ang="0">
                <a:pos x="connsiteX12846" y="connsiteY12846"/>
              </a:cxn>
              <a:cxn ang="0">
                <a:pos x="connsiteX12847" y="connsiteY12847"/>
              </a:cxn>
              <a:cxn ang="0">
                <a:pos x="connsiteX12848" y="connsiteY12848"/>
              </a:cxn>
              <a:cxn ang="0">
                <a:pos x="connsiteX12849" y="connsiteY12849"/>
              </a:cxn>
              <a:cxn ang="0">
                <a:pos x="connsiteX12850" y="connsiteY12850"/>
              </a:cxn>
              <a:cxn ang="0">
                <a:pos x="connsiteX12851" y="connsiteY12851"/>
              </a:cxn>
              <a:cxn ang="0">
                <a:pos x="connsiteX12852" y="connsiteY12852"/>
              </a:cxn>
              <a:cxn ang="0">
                <a:pos x="connsiteX12853" y="connsiteY12853"/>
              </a:cxn>
              <a:cxn ang="0">
                <a:pos x="connsiteX12854" y="connsiteY12854"/>
              </a:cxn>
              <a:cxn ang="0">
                <a:pos x="connsiteX12855" y="connsiteY12855"/>
              </a:cxn>
              <a:cxn ang="0">
                <a:pos x="connsiteX12856" y="connsiteY12856"/>
              </a:cxn>
              <a:cxn ang="0">
                <a:pos x="connsiteX12857" y="connsiteY12857"/>
              </a:cxn>
              <a:cxn ang="0">
                <a:pos x="connsiteX12858" y="connsiteY12858"/>
              </a:cxn>
              <a:cxn ang="0">
                <a:pos x="connsiteX12859" y="connsiteY12859"/>
              </a:cxn>
              <a:cxn ang="0">
                <a:pos x="connsiteX12860" y="connsiteY12860"/>
              </a:cxn>
              <a:cxn ang="0">
                <a:pos x="connsiteX12861" y="connsiteY12861"/>
              </a:cxn>
              <a:cxn ang="0">
                <a:pos x="connsiteX12862" y="connsiteY12862"/>
              </a:cxn>
              <a:cxn ang="0">
                <a:pos x="connsiteX12863" y="connsiteY12863"/>
              </a:cxn>
              <a:cxn ang="0">
                <a:pos x="connsiteX12864" y="connsiteY12864"/>
              </a:cxn>
              <a:cxn ang="0">
                <a:pos x="connsiteX12865" y="connsiteY12865"/>
              </a:cxn>
              <a:cxn ang="0">
                <a:pos x="connsiteX12866" y="connsiteY12866"/>
              </a:cxn>
              <a:cxn ang="0">
                <a:pos x="connsiteX12867" y="connsiteY12867"/>
              </a:cxn>
              <a:cxn ang="0">
                <a:pos x="connsiteX12868" y="connsiteY12868"/>
              </a:cxn>
              <a:cxn ang="0">
                <a:pos x="connsiteX12869" y="connsiteY12869"/>
              </a:cxn>
              <a:cxn ang="0">
                <a:pos x="connsiteX12870" y="connsiteY12870"/>
              </a:cxn>
              <a:cxn ang="0">
                <a:pos x="connsiteX12871" y="connsiteY12871"/>
              </a:cxn>
              <a:cxn ang="0">
                <a:pos x="connsiteX12872" y="connsiteY12872"/>
              </a:cxn>
              <a:cxn ang="0">
                <a:pos x="connsiteX12873" y="connsiteY12873"/>
              </a:cxn>
              <a:cxn ang="0">
                <a:pos x="connsiteX12874" y="connsiteY12874"/>
              </a:cxn>
              <a:cxn ang="0">
                <a:pos x="connsiteX12875" y="connsiteY12875"/>
              </a:cxn>
              <a:cxn ang="0">
                <a:pos x="connsiteX12876" y="connsiteY12876"/>
              </a:cxn>
              <a:cxn ang="0">
                <a:pos x="connsiteX12877" y="connsiteY12877"/>
              </a:cxn>
              <a:cxn ang="0">
                <a:pos x="connsiteX12878" y="connsiteY12878"/>
              </a:cxn>
              <a:cxn ang="0">
                <a:pos x="connsiteX12879" y="connsiteY12879"/>
              </a:cxn>
              <a:cxn ang="0">
                <a:pos x="connsiteX12880" y="connsiteY12880"/>
              </a:cxn>
              <a:cxn ang="0">
                <a:pos x="connsiteX12881" y="connsiteY12881"/>
              </a:cxn>
              <a:cxn ang="0">
                <a:pos x="connsiteX12882" y="connsiteY12882"/>
              </a:cxn>
              <a:cxn ang="0">
                <a:pos x="connsiteX12883" y="connsiteY12883"/>
              </a:cxn>
              <a:cxn ang="0">
                <a:pos x="connsiteX12884" y="connsiteY12884"/>
              </a:cxn>
              <a:cxn ang="0">
                <a:pos x="connsiteX12885" y="connsiteY12885"/>
              </a:cxn>
              <a:cxn ang="0">
                <a:pos x="connsiteX12886" y="connsiteY12886"/>
              </a:cxn>
              <a:cxn ang="0">
                <a:pos x="connsiteX12887" y="connsiteY12887"/>
              </a:cxn>
              <a:cxn ang="0">
                <a:pos x="connsiteX12888" y="connsiteY12888"/>
              </a:cxn>
              <a:cxn ang="0">
                <a:pos x="connsiteX12889" y="connsiteY12889"/>
              </a:cxn>
              <a:cxn ang="0">
                <a:pos x="connsiteX12890" y="connsiteY12890"/>
              </a:cxn>
              <a:cxn ang="0">
                <a:pos x="connsiteX12891" y="connsiteY12891"/>
              </a:cxn>
              <a:cxn ang="0">
                <a:pos x="connsiteX12892" y="connsiteY12892"/>
              </a:cxn>
              <a:cxn ang="0">
                <a:pos x="connsiteX12893" y="connsiteY12893"/>
              </a:cxn>
              <a:cxn ang="0">
                <a:pos x="connsiteX12894" y="connsiteY12894"/>
              </a:cxn>
              <a:cxn ang="0">
                <a:pos x="connsiteX12895" y="connsiteY12895"/>
              </a:cxn>
              <a:cxn ang="0">
                <a:pos x="connsiteX12896" y="connsiteY12896"/>
              </a:cxn>
              <a:cxn ang="0">
                <a:pos x="connsiteX12897" y="connsiteY12897"/>
              </a:cxn>
              <a:cxn ang="0">
                <a:pos x="connsiteX12898" y="connsiteY12898"/>
              </a:cxn>
              <a:cxn ang="0">
                <a:pos x="connsiteX12899" y="connsiteY12899"/>
              </a:cxn>
              <a:cxn ang="0">
                <a:pos x="connsiteX12900" y="connsiteY12900"/>
              </a:cxn>
              <a:cxn ang="0">
                <a:pos x="connsiteX12901" y="connsiteY12901"/>
              </a:cxn>
              <a:cxn ang="0">
                <a:pos x="connsiteX12902" y="connsiteY12902"/>
              </a:cxn>
              <a:cxn ang="0">
                <a:pos x="connsiteX12903" y="connsiteY12903"/>
              </a:cxn>
              <a:cxn ang="0">
                <a:pos x="connsiteX12904" y="connsiteY12904"/>
              </a:cxn>
              <a:cxn ang="0">
                <a:pos x="connsiteX12905" y="connsiteY12905"/>
              </a:cxn>
              <a:cxn ang="0">
                <a:pos x="connsiteX12906" y="connsiteY12906"/>
              </a:cxn>
              <a:cxn ang="0">
                <a:pos x="connsiteX12907" y="connsiteY12907"/>
              </a:cxn>
              <a:cxn ang="0">
                <a:pos x="connsiteX12908" y="connsiteY12908"/>
              </a:cxn>
              <a:cxn ang="0">
                <a:pos x="connsiteX12909" y="connsiteY12909"/>
              </a:cxn>
              <a:cxn ang="0">
                <a:pos x="connsiteX12910" y="connsiteY12910"/>
              </a:cxn>
              <a:cxn ang="0">
                <a:pos x="connsiteX12911" y="connsiteY12911"/>
              </a:cxn>
              <a:cxn ang="0">
                <a:pos x="connsiteX12912" y="connsiteY12912"/>
              </a:cxn>
              <a:cxn ang="0">
                <a:pos x="connsiteX12913" y="connsiteY12913"/>
              </a:cxn>
              <a:cxn ang="0">
                <a:pos x="connsiteX12914" y="connsiteY12914"/>
              </a:cxn>
              <a:cxn ang="0">
                <a:pos x="connsiteX12915" y="connsiteY12915"/>
              </a:cxn>
              <a:cxn ang="0">
                <a:pos x="connsiteX12916" y="connsiteY12916"/>
              </a:cxn>
              <a:cxn ang="0">
                <a:pos x="connsiteX12917" y="connsiteY12917"/>
              </a:cxn>
              <a:cxn ang="0">
                <a:pos x="connsiteX12918" y="connsiteY12918"/>
              </a:cxn>
              <a:cxn ang="0">
                <a:pos x="connsiteX12919" y="connsiteY12919"/>
              </a:cxn>
              <a:cxn ang="0">
                <a:pos x="connsiteX12920" y="connsiteY12920"/>
              </a:cxn>
              <a:cxn ang="0">
                <a:pos x="connsiteX12921" y="connsiteY12921"/>
              </a:cxn>
              <a:cxn ang="0">
                <a:pos x="connsiteX12922" y="connsiteY12922"/>
              </a:cxn>
              <a:cxn ang="0">
                <a:pos x="connsiteX12923" y="connsiteY12923"/>
              </a:cxn>
              <a:cxn ang="0">
                <a:pos x="connsiteX12924" y="connsiteY12924"/>
              </a:cxn>
              <a:cxn ang="0">
                <a:pos x="connsiteX12925" y="connsiteY12925"/>
              </a:cxn>
              <a:cxn ang="0">
                <a:pos x="connsiteX12926" y="connsiteY12926"/>
              </a:cxn>
              <a:cxn ang="0">
                <a:pos x="connsiteX12927" y="connsiteY12927"/>
              </a:cxn>
              <a:cxn ang="0">
                <a:pos x="connsiteX12928" y="connsiteY12928"/>
              </a:cxn>
              <a:cxn ang="0">
                <a:pos x="connsiteX12929" y="connsiteY12929"/>
              </a:cxn>
              <a:cxn ang="0">
                <a:pos x="connsiteX12930" y="connsiteY12930"/>
              </a:cxn>
              <a:cxn ang="0">
                <a:pos x="connsiteX12931" y="connsiteY12931"/>
              </a:cxn>
              <a:cxn ang="0">
                <a:pos x="connsiteX12932" y="connsiteY12932"/>
              </a:cxn>
              <a:cxn ang="0">
                <a:pos x="connsiteX12933" y="connsiteY12933"/>
              </a:cxn>
              <a:cxn ang="0">
                <a:pos x="connsiteX12934" y="connsiteY12934"/>
              </a:cxn>
              <a:cxn ang="0">
                <a:pos x="connsiteX12935" y="connsiteY12935"/>
              </a:cxn>
              <a:cxn ang="0">
                <a:pos x="connsiteX12936" y="connsiteY12936"/>
              </a:cxn>
              <a:cxn ang="0">
                <a:pos x="connsiteX12937" y="connsiteY12937"/>
              </a:cxn>
              <a:cxn ang="0">
                <a:pos x="connsiteX12938" y="connsiteY12938"/>
              </a:cxn>
              <a:cxn ang="0">
                <a:pos x="connsiteX12939" y="connsiteY12939"/>
              </a:cxn>
              <a:cxn ang="0">
                <a:pos x="connsiteX12940" y="connsiteY12940"/>
              </a:cxn>
              <a:cxn ang="0">
                <a:pos x="connsiteX12941" y="connsiteY12941"/>
              </a:cxn>
              <a:cxn ang="0">
                <a:pos x="connsiteX12942" y="connsiteY12942"/>
              </a:cxn>
              <a:cxn ang="0">
                <a:pos x="connsiteX12943" y="connsiteY12943"/>
              </a:cxn>
              <a:cxn ang="0">
                <a:pos x="connsiteX12944" y="connsiteY12944"/>
              </a:cxn>
              <a:cxn ang="0">
                <a:pos x="connsiteX12945" y="connsiteY12945"/>
              </a:cxn>
              <a:cxn ang="0">
                <a:pos x="connsiteX12946" y="connsiteY12946"/>
              </a:cxn>
              <a:cxn ang="0">
                <a:pos x="connsiteX12947" y="connsiteY12947"/>
              </a:cxn>
              <a:cxn ang="0">
                <a:pos x="connsiteX12948" y="connsiteY12948"/>
              </a:cxn>
              <a:cxn ang="0">
                <a:pos x="connsiteX12949" y="connsiteY12949"/>
              </a:cxn>
              <a:cxn ang="0">
                <a:pos x="connsiteX12950" y="connsiteY12950"/>
              </a:cxn>
              <a:cxn ang="0">
                <a:pos x="connsiteX12951" y="connsiteY12951"/>
              </a:cxn>
              <a:cxn ang="0">
                <a:pos x="connsiteX12952" y="connsiteY12952"/>
              </a:cxn>
              <a:cxn ang="0">
                <a:pos x="connsiteX12953" y="connsiteY12953"/>
              </a:cxn>
              <a:cxn ang="0">
                <a:pos x="connsiteX12954" y="connsiteY12954"/>
              </a:cxn>
              <a:cxn ang="0">
                <a:pos x="connsiteX12955" y="connsiteY12955"/>
              </a:cxn>
              <a:cxn ang="0">
                <a:pos x="connsiteX12956" y="connsiteY12956"/>
              </a:cxn>
              <a:cxn ang="0">
                <a:pos x="connsiteX12957" y="connsiteY12957"/>
              </a:cxn>
              <a:cxn ang="0">
                <a:pos x="connsiteX12958" y="connsiteY12958"/>
              </a:cxn>
              <a:cxn ang="0">
                <a:pos x="connsiteX12959" y="connsiteY12959"/>
              </a:cxn>
              <a:cxn ang="0">
                <a:pos x="connsiteX12960" y="connsiteY12960"/>
              </a:cxn>
              <a:cxn ang="0">
                <a:pos x="connsiteX12961" y="connsiteY12961"/>
              </a:cxn>
              <a:cxn ang="0">
                <a:pos x="connsiteX12962" y="connsiteY12962"/>
              </a:cxn>
              <a:cxn ang="0">
                <a:pos x="connsiteX12963" y="connsiteY12963"/>
              </a:cxn>
              <a:cxn ang="0">
                <a:pos x="connsiteX12964" y="connsiteY12964"/>
              </a:cxn>
              <a:cxn ang="0">
                <a:pos x="connsiteX12965" y="connsiteY12965"/>
              </a:cxn>
              <a:cxn ang="0">
                <a:pos x="connsiteX12966" y="connsiteY12966"/>
              </a:cxn>
              <a:cxn ang="0">
                <a:pos x="connsiteX12967" y="connsiteY12967"/>
              </a:cxn>
              <a:cxn ang="0">
                <a:pos x="connsiteX12968" y="connsiteY12968"/>
              </a:cxn>
              <a:cxn ang="0">
                <a:pos x="connsiteX12969" y="connsiteY12969"/>
              </a:cxn>
              <a:cxn ang="0">
                <a:pos x="connsiteX12970" y="connsiteY12970"/>
              </a:cxn>
              <a:cxn ang="0">
                <a:pos x="connsiteX12971" y="connsiteY12971"/>
              </a:cxn>
              <a:cxn ang="0">
                <a:pos x="connsiteX12972" y="connsiteY12972"/>
              </a:cxn>
              <a:cxn ang="0">
                <a:pos x="connsiteX12973" y="connsiteY12973"/>
              </a:cxn>
              <a:cxn ang="0">
                <a:pos x="connsiteX12974" y="connsiteY12974"/>
              </a:cxn>
              <a:cxn ang="0">
                <a:pos x="connsiteX12975" y="connsiteY12975"/>
              </a:cxn>
              <a:cxn ang="0">
                <a:pos x="connsiteX12976" y="connsiteY12976"/>
              </a:cxn>
              <a:cxn ang="0">
                <a:pos x="connsiteX12977" y="connsiteY12977"/>
              </a:cxn>
              <a:cxn ang="0">
                <a:pos x="connsiteX12978" y="connsiteY12978"/>
              </a:cxn>
              <a:cxn ang="0">
                <a:pos x="connsiteX12979" y="connsiteY12979"/>
              </a:cxn>
              <a:cxn ang="0">
                <a:pos x="connsiteX12980" y="connsiteY12980"/>
              </a:cxn>
              <a:cxn ang="0">
                <a:pos x="connsiteX12981" y="connsiteY12981"/>
              </a:cxn>
              <a:cxn ang="0">
                <a:pos x="connsiteX12982" y="connsiteY12982"/>
              </a:cxn>
              <a:cxn ang="0">
                <a:pos x="connsiteX12983" y="connsiteY12983"/>
              </a:cxn>
              <a:cxn ang="0">
                <a:pos x="connsiteX12984" y="connsiteY12984"/>
              </a:cxn>
              <a:cxn ang="0">
                <a:pos x="connsiteX12985" y="connsiteY12985"/>
              </a:cxn>
              <a:cxn ang="0">
                <a:pos x="connsiteX12986" y="connsiteY12986"/>
              </a:cxn>
              <a:cxn ang="0">
                <a:pos x="connsiteX12987" y="connsiteY12987"/>
              </a:cxn>
              <a:cxn ang="0">
                <a:pos x="connsiteX12988" y="connsiteY12988"/>
              </a:cxn>
              <a:cxn ang="0">
                <a:pos x="connsiteX12989" y="connsiteY12989"/>
              </a:cxn>
              <a:cxn ang="0">
                <a:pos x="connsiteX12990" y="connsiteY12990"/>
              </a:cxn>
              <a:cxn ang="0">
                <a:pos x="connsiteX12991" y="connsiteY12991"/>
              </a:cxn>
              <a:cxn ang="0">
                <a:pos x="connsiteX12992" y="connsiteY12992"/>
              </a:cxn>
              <a:cxn ang="0">
                <a:pos x="connsiteX12993" y="connsiteY12993"/>
              </a:cxn>
              <a:cxn ang="0">
                <a:pos x="connsiteX12994" y="connsiteY12994"/>
              </a:cxn>
              <a:cxn ang="0">
                <a:pos x="connsiteX12995" y="connsiteY12995"/>
              </a:cxn>
              <a:cxn ang="0">
                <a:pos x="connsiteX12996" y="connsiteY12996"/>
              </a:cxn>
              <a:cxn ang="0">
                <a:pos x="connsiteX12997" y="connsiteY12997"/>
              </a:cxn>
              <a:cxn ang="0">
                <a:pos x="connsiteX12998" y="connsiteY12998"/>
              </a:cxn>
              <a:cxn ang="0">
                <a:pos x="connsiteX12999" y="connsiteY12999"/>
              </a:cxn>
              <a:cxn ang="0">
                <a:pos x="connsiteX13000" y="connsiteY13000"/>
              </a:cxn>
              <a:cxn ang="0">
                <a:pos x="connsiteX13001" y="connsiteY13001"/>
              </a:cxn>
              <a:cxn ang="0">
                <a:pos x="connsiteX13002" y="connsiteY13002"/>
              </a:cxn>
              <a:cxn ang="0">
                <a:pos x="connsiteX13003" y="connsiteY13003"/>
              </a:cxn>
              <a:cxn ang="0">
                <a:pos x="connsiteX13004" y="connsiteY13004"/>
              </a:cxn>
              <a:cxn ang="0">
                <a:pos x="connsiteX13005" y="connsiteY13005"/>
              </a:cxn>
              <a:cxn ang="0">
                <a:pos x="connsiteX13006" y="connsiteY13006"/>
              </a:cxn>
              <a:cxn ang="0">
                <a:pos x="connsiteX13007" y="connsiteY13007"/>
              </a:cxn>
              <a:cxn ang="0">
                <a:pos x="connsiteX13008" y="connsiteY13008"/>
              </a:cxn>
              <a:cxn ang="0">
                <a:pos x="connsiteX13009" y="connsiteY13009"/>
              </a:cxn>
              <a:cxn ang="0">
                <a:pos x="connsiteX13010" y="connsiteY13010"/>
              </a:cxn>
              <a:cxn ang="0">
                <a:pos x="connsiteX13011" y="connsiteY13011"/>
              </a:cxn>
              <a:cxn ang="0">
                <a:pos x="connsiteX13012" y="connsiteY13012"/>
              </a:cxn>
              <a:cxn ang="0">
                <a:pos x="connsiteX13013" y="connsiteY13013"/>
              </a:cxn>
              <a:cxn ang="0">
                <a:pos x="connsiteX13014" y="connsiteY13014"/>
              </a:cxn>
              <a:cxn ang="0">
                <a:pos x="connsiteX13015" y="connsiteY13015"/>
              </a:cxn>
              <a:cxn ang="0">
                <a:pos x="connsiteX13016" y="connsiteY13016"/>
              </a:cxn>
              <a:cxn ang="0">
                <a:pos x="connsiteX13017" y="connsiteY13017"/>
              </a:cxn>
              <a:cxn ang="0">
                <a:pos x="connsiteX13018" y="connsiteY13018"/>
              </a:cxn>
              <a:cxn ang="0">
                <a:pos x="connsiteX13019" y="connsiteY13019"/>
              </a:cxn>
              <a:cxn ang="0">
                <a:pos x="connsiteX13020" y="connsiteY13020"/>
              </a:cxn>
              <a:cxn ang="0">
                <a:pos x="connsiteX13021" y="connsiteY13021"/>
              </a:cxn>
              <a:cxn ang="0">
                <a:pos x="connsiteX13022" y="connsiteY13022"/>
              </a:cxn>
              <a:cxn ang="0">
                <a:pos x="connsiteX13023" y="connsiteY13023"/>
              </a:cxn>
              <a:cxn ang="0">
                <a:pos x="connsiteX13024" y="connsiteY13024"/>
              </a:cxn>
              <a:cxn ang="0">
                <a:pos x="connsiteX13025" y="connsiteY13025"/>
              </a:cxn>
              <a:cxn ang="0">
                <a:pos x="connsiteX13026" y="connsiteY13026"/>
              </a:cxn>
              <a:cxn ang="0">
                <a:pos x="connsiteX13027" y="connsiteY13027"/>
              </a:cxn>
              <a:cxn ang="0">
                <a:pos x="connsiteX13028" y="connsiteY13028"/>
              </a:cxn>
              <a:cxn ang="0">
                <a:pos x="connsiteX13029" y="connsiteY13029"/>
              </a:cxn>
              <a:cxn ang="0">
                <a:pos x="connsiteX13030" y="connsiteY13030"/>
              </a:cxn>
              <a:cxn ang="0">
                <a:pos x="connsiteX13031" y="connsiteY13031"/>
              </a:cxn>
              <a:cxn ang="0">
                <a:pos x="connsiteX13032" y="connsiteY13032"/>
              </a:cxn>
              <a:cxn ang="0">
                <a:pos x="connsiteX13033" y="connsiteY13033"/>
              </a:cxn>
              <a:cxn ang="0">
                <a:pos x="connsiteX13034" y="connsiteY13034"/>
              </a:cxn>
              <a:cxn ang="0">
                <a:pos x="connsiteX13035" y="connsiteY13035"/>
              </a:cxn>
              <a:cxn ang="0">
                <a:pos x="connsiteX13036" y="connsiteY13036"/>
              </a:cxn>
              <a:cxn ang="0">
                <a:pos x="connsiteX13037" y="connsiteY13037"/>
              </a:cxn>
              <a:cxn ang="0">
                <a:pos x="connsiteX13038" y="connsiteY13038"/>
              </a:cxn>
              <a:cxn ang="0">
                <a:pos x="connsiteX13039" y="connsiteY13039"/>
              </a:cxn>
              <a:cxn ang="0">
                <a:pos x="connsiteX13040" y="connsiteY13040"/>
              </a:cxn>
              <a:cxn ang="0">
                <a:pos x="connsiteX13041" y="connsiteY13041"/>
              </a:cxn>
              <a:cxn ang="0">
                <a:pos x="connsiteX13042" y="connsiteY13042"/>
              </a:cxn>
              <a:cxn ang="0">
                <a:pos x="connsiteX13043" y="connsiteY13043"/>
              </a:cxn>
              <a:cxn ang="0">
                <a:pos x="connsiteX13044" y="connsiteY13044"/>
              </a:cxn>
              <a:cxn ang="0">
                <a:pos x="connsiteX13045" y="connsiteY13045"/>
              </a:cxn>
              <a:cxn ang="0">
                <a:pos x="connsiteX13046" y="connsiteY13046"/>
              </a:cxn>
              <a:cxn ang="0">
                <a:pos x="connsiteX13047" y="connsiteY13047"/>
              </a:cxn>
              <a:cxn ang="0">
                <a:pos x="connsiteX13048" y="connsiteY13048"/>
              </a:cxn>
              <a:cxn ang="0">
                <a:pos x="connsiteX13049" y="connsiteY13049"/>
              </a:cxn>
              <a:cxn ang="0">
                <a:pos x="connsiteX13050" y="connsiteY13050"/>
              </a:cxn>
              <a:cxn ang="0">
                <a:pos x="connsiteX13051" y="connsiteY13051"/>
              </a:cxn>
              <a:cxn ang="0">
                <a:pos x="connsiteX13052" y="connsiteY13052"/>
              </a:cxn>
              <a:cxn ang="0">
                <a:pos x="connsiteX13053" y="connsiteY13053"/>
              </a:cxn>
              <a:cxn ang="0">
                <a:pos x="connsiteX13054" y="connsiteY13054"/>
              </a:cxn>
              <a:cxn ang="0">
                <a:pos x="connsiteX13055" y="connsiteY13055"/>
              </a:cxn>
              <a:cxn ang="0">
                <a:pos x="connsiteX13056" y="connsiteY13056"/>
              </a:cxn>
              <a:cxn ang="0">
                <a:pos x="connsiteX13057" y="connsiteY13057"/>
              </a:cxn>
              <a:cxn ang="0">
                <a:pos x="connsiteX13058" y="connsiteY13058"/>
              </a:cxn>
              <a:cxn ang="0">
                <a:pos x="connsiteX13059" y="connsiteY13059"/>
              </a:cxn>
              <a:cxn ang="0">
                <a:pos x="connsiteX13060" y="connsiteY13060"/>
              </a:cxn>
              <a:cxn ang="0">
                <a:pos x="connsiteX13061" y="connsiteY13061"/>
              </a:cxn>
              <a:cxn ang="0">
                <a:pos x="connsiteX13062" y="connsiteY13062"/>
              </a:cxn>
              <a:cxn ang="0">
                <a:pos x="connsiteX13063" y="connsiteY13063"/>
              </a:cxn>
              <a:cxn ang="0">
                <a:pos x="connsiteX13064" y="connsiteY13064"/>
              </a:cxn>
              <a:cxn ang="0">
                <a:pos x="connsiteX13065" y="connsiteY13065"/>
              </a:cxn>
              <a:cxn ang="0">
                <a:pos x="connsiteX13066" y="connsiteY13066"/>
              </a:cxn>
              <a:cxn ang="0">
                <a:pos x="connsiteX13067" y="connsiteY13067"/>
              </a:cxn>
              <a:cxn ang="0">
                <a:pos x="connsiteX13068" y="connsiteY13068"/>
              </a:cxn>
              <a:cxn ang="0">
                <a:pos x="connsiteX13069" y="connsiteY13069"/>
              </a:cxn>
              <a:cxn ang="0">
                <a:pos x="connsiteX13070" y="connsiteY13070"/>
              </a:cxn>
              <a:cxn ang="0">
                <a:pos x="connsiteX13071" y="connsiteY13071"/>
              </a:cxn>
              <a:cxn ang="0">
                <a:pos x="connsiteX13072" y="connsiteY13072"/>
              </a:cxn>
              <a:cxn ang="0">
                <a:pos x="connsiteX13073" y="connsiteY13073"/>
              </a:cxn>
              <a:cxn ang="0">
                <a:pos x="connsiteX13074" y="connsiteY13074"/>
              </a:cxn>
              <a:cxn ang="0">
                <a:pos x="connsiteX13075" y="connsiteY13075"/>
              </a:cxn>
              <a:cxn ang="0">
                <a:pos x="connsiteX13076" y="connsiteY13076"/>
              </a:cxn>
              <a:cxn ang="0">
                <a:pos x="connsiteX13077" y="connsiteY13077"/>
              </a:cxn>
              <a:cxn ang="0">
                <a:pos x="connsiteX13078" y="connsiteY13078"/>
              </a:cxn>
              <a:cxn ang="0">
                <a:pos x="connsiteX13079" y="connsiteY13079"/>
              </a:cxn>
              <a:cxn ang="0">
                <a:pos x="connsiteX13080" y="connsiteY13080"/>
              </a:cxn>
              <a:cxn ang="0">
                <a:pos x="connsiteX13081" y="connsiteY13081"/>
              </a:cxn>
              <a:cxn ang="0">
                <a:pos x="connsiteX13082" y="connsiteY13082"/>
              </a:cxn>
              <a:cxn ang="0">
                <a:pos x="connsiteX13083" y="connsiteY13083"/>
              </a:cxn>
              <a:cxn ang="0">
                <a:pos x="connsiteX13084" y="connsiteY13084"/>
              </a:cxn>
              <a:cxn ang="0">
                <a:pos x="connsiteX13085" y="connsiteY13085"/>
              </a:cxn>
              <a:cxn ang="0">
                <a:pos x="connsiteX13086" y="connsiteY13086"/>
              </a:cxn>
              <a:cxn ang="0">
                <a:pos x="connsiteX13087" y="connsiteY13087"/>
              </a:cxn>
              <a:cxn ang="0">
                <a:pos x="connsiteX13088" y="connsiteY13088"/>
              </a:cxn>
              <a:cxn ang="0">
                <a:pos x="connsiteX13089" y="connsiteY13089"/>
              </a:cxn>
              <a:cxn ang="0">
                <a:pos x="connsiteX13090" y="connsiteY13090"/>
              </a:cxn>
              <a:cxn ang="0">
                <a:pos x="connsiteX13091" y="connsiteY13091"/>
              </a:cxn>
              <a:cxn ang="0">
                <a:pos x="connsiteX13092" y="connsiteY13092"/>
              </a:cxn>
              <a:cxn ang="0">
                <a:pos x="connsiteX13093" y="connsiteY13093"/>
              </a:cxn>
              <a:cxn ang="0">
                <a:pos x="connsiteX13094" y="connsiteY13094"/>
              </a:cxn>
              <a:cxn ang="0">
                <a:pos x="connsiteX13095" y="connsiteY13095"/>
              </a:cxn>
              <a:cxn ang="0">
                <a:pos x="connsiteX13096" y="connsiteY13096"/>
              </a:cxn>
              <a:cxn ang="0">
                <a:pos x="connsiteX13097" y="connsiteY13097"/>
              </a:cxn>
              <a:cxn ang="0">
                <a:pos x="connsiteX13098" y="connsiteY13098"/>
              </a:cxn>
              <a:cxn ang="0">
                <a:pos x="connsiteX13099" y="connsiteY13099"/>
              </a:cxn>
              <a:cxn ang="0">
                <a:pos x="connsiteX13100" y="connsiteY13100"/>
              </a:cxn>
              <a:cxn ang="0">
                <a:pos x="connsiteX13101" y="connsiteY13101"/>
              </a:cxn>
              <a:cxn ang="0">
                <a:pos x="connsiteX13102" y="connsiteY13102"/>
              </a:cxn>
              <a:cxn ang="0">
                <a:pos x="connsiteX13103" y="connsiteY13103"/>
              </a:cxn>
              <a:cxn ang="0">
                <a:pos x="connsiteX13104" y="connsiteY13104"/>
              </a:cxn>
              <a:cxn ang="0">
                <a:pos x="connsiteX13105" y="connsiteY13105"/>
              </a:cxn>
              <a:cxn ang="0">
                <a:pos x="connsiteX13106" y="connsiteY13106"/>
              </a:cxn>
              <a:cxn ang="0">
                <a:pos x="connsiteX13107" y="connsiteY13107"/>
              </a:cxn>
              <a:cxn ang="0">
                <a:pos x="connsiteX13108" y="connsiteY13108"/>
              </a:cxn>
              <a:cxn ang="0">
                <a:pos x="connsiteX13109" y="connsiteY13109"/>
              </a:cxn>
              <a:cxn ang="0">
                <a:pos x="connsiteX13110" y="connsiteY13110"/>
              </a:cxn>
              <a:cxn ang="0">
                <a:pos x="connsiteX13111" y="connsiteY13111"/>
              </a:cxn>
              <a:cxn ang="0">
                <a:pos x="connsiteX13112" y="connsiteY13112"/>
              </a:cxn>
              <a:cxn ang="0">
                <a:pos x="connsiteX13113" y="connsiteY13113"/>
              </a:cxn>
              <a:cxn ang="0">
                <a:pos x="connsiteX13114" y="connsiteY13114"/>
              </a:cxn>
              <a:cxn ang="0">
                <a:pos x="connsiteX13115" y="connsiteY13115"/>
              </a:cxn>
              <a:cxn ang="0">
                <a:pos x="connsiteX13116" y="connsiteY13116"/>
              </a:cxn>
              <a:cxn ang="0">
                <a:pos x="connsiteX13117" y="connsiteY13117"/>
              </a:cxn>
              <a:cxn ang="0">
                <a:pos x="connsiteX13118" y="connsiteY13118"/>
              </a:cxn>
              <a:cxn ang="0">
                <a:pos x="connsiteX13119" y="connsiteY13119"/>
              </a:cxn>
              <a:cxn ang="0">
                <a:pos x="connsiteX13120" y="connsiteY13120"/>
              </a:cxn>
              <a:cxn ang="0">
                <a:pos x="connsiteX13121" y="connsiteY13121"/>
              </a:cxn>
              <a:cxn ang="0">
                <a:pos x="connsiteX13122" y="connsiteY13122"/>
              </a:cxn>
              <a:cxn ang="0">
                <a:pos x="connsiteX13123" y="connsiteY13123"/>
              </a:cxn>
              <a:cxn ang="0">
                <a:pos x="connsiteX13124" y="connsiteY13124"/>
              </a:cxn>
              <a:cxn ang="0">
                <a:pos x="connsiteX13125" y="connsiteY13125"/>
              </a:cxn>
              <a:cxn ang="0">
                <a:pos x="connsiteX13126" y="connsiteY13126"/>
              </a:cxn>
              <a:cxn ang="0">
                <a:pos x="connsiteX13127" y="connsiteY13127"/>
              </a:cxn>
              <a:cxn ang="0">
                <a:pos x="connsiteX13128" y="connsiteY13128"/>
              </a:cxn>
              <a:cxn ang="0">
                <a:pos x="connsiteX13129" y="connsiteY13129"/>
              </a:cxn>
              <a:cxn ang="0">
                <a:pos x="connsiteX13130" y="connsiteY13130"/>
              </a:cxn>
              <a:cxn ang="0">
                <a:pos x="connsiteX13131" y="connsiteY13131"/>
              </a:cxn>
              <a:cxn ang="0">
                <a:pos x="connsiteX13132" y="connsiteY13132"/>
              </a:cxn>
              <a:cxn ang="0">
                <a:pos x="connsiteX13133" y="connsiteY13133"/>
              </a:cxn>
              <a:cxn ang="0">
                <a:pos x="connsiteX13134" y="connsiteY13134"/>
              </a:cxn>
              <a:cxn ang="0">
                <a:pos x="connsiteX13135" y="connsiteY13135"/>
              </a:cxn>
              <a:cxn ang="0">
                <a:pos x="connsiteX13136" y="connsiteY13136"/>
              </a:cxn>
              <a:cxn ang="0">
                <a:pos x="connsiteX13137" y="connsiteY13137"/>
              </a:cxn>
              <a:cxn ang="0">
                <a:pos x="connsiteX13138" y="connsiteY13138"/>
              </a:cxn>
              <a:cxn ang="0">
                <a:pos x="connsiteX13139" y="connsiteY13139"/>
              </a:cxn>
              <a:cxn ang="0">
                <a:pos x="connsiteX13140" y="connsiteY13140"/>
              </a:cxn>
              <a:cxn ang="0">
                <a:pos x="connsiteX13141" y="connsiteY13141"/>
              </a:cxn>
              <a:cxn ang="0">
                <a:pos x="connsiteX13142" y="connsiteY13142"/>
              </a:cxn>
              <a:cxn ang="0">
                <a:pos x="connsiteX13143" y="connsiteY13143"/>
              </a:cxn>
              <a:cxn ang="0">
                <a:pos x="connsiteX13144" y="connsiteY13144"/>
              </a:cxn>
              <a:cxn ang="0">
                <a:pos x="connsiteX13145" y="connsiteY13145"/>
              </a:cxn>
              <a:cxn ang="0">
                <a:pos x="connsiteX13146" y="connsiteY13146"/>
              </a:cxn>
              <a:cxn ang="0">
                <a:pos x="connsiteX13147" y="connsiteY13147"/>
              </a:cxn>
              <a:cxn ang="0">
                <a:pos x="connsiteX13148" y="connsiteY13148"/>
              </a:cxn>
              <a:cxn ang="0">
                <a:pos x="connsiteX13149" y="connsiteY13149"/>
              </a:cxn>
              <a:cxn ang="0">
                <a:pos x="connsiteX13150" y="connsiteY13150"/>
              </a:cxn>
              <a:cxn ang="0">
                <a:pos x="connsiteX13151" y="connsiteY13151"/>
              </a:cxn>
              <a:cxn ang="0">
                <a:pos x="connsiteX13152" y="connsiteY13152"/>
              </a:cxn>
              <a:cxn ang="0">
                <a:pos x="connsiteX13153" y="connsiteY13153"/>
              </a:cxn>
              <a:cxn ang="0">
                <a:pos x="connsiteX13154" y="connsiteY13154"/>
              </a:cxn>
              <a:cxn ang="0">
                <a:pos x="connsiteX13155" y="connsiteY13155"/>
              </a:cxn>
              <a:cxn ang="0">
                <a:pos x="connsiteX13156" y="connsiteY13156"/>
              </a:cxn>
              <a:cxn ang="0">
                <a:pos x="connsiteX13157" y="connsiteY13157"/>
              </a:cxn>
              <a:cxn ang="0">
                <a:pos x="connsiteX13158" y="connsiteY13158"/>
              </a:cxn>
              <a:cxn ang="0">
                <a:pos x="connsiteX13159" y="connsiteY13159"/>
              </a:cxn>
              <a:cxn ang="0">
                <a:pos x="connsiteX13160" y="connsiteY13160"/>
              </a:cxn>
              <a:cxn ang="0">
                <a:pos x="connsiteX13161" y="connsiteY13161"/>
              </a:cxn>
              <a:cxn ang="0">
                <a:pos x="connsiteX13162" y="connsiteY13162"/>
              </a:cxn>
              <a:cxn ang="0">
                <a:pos x="connsiteX13163" y="connsiteY13163"/>
              </a:cxn>
              <a:cxn ang="0">
                <a:pos x="connsiteX13164" y="connsiteY13164"/>
              </a:cxn>
              <a:cxn ang="0">
                <a:pos x="connsiteX13165" y="connsiteY13165"/>
              </a:cxn>
              <a:cxn ang="0">
                <a:pos x="connsiteX13166" y="connsiteY13166"/>
              </a:cxn>
              <a:cxn ang="0">
                <a:pos x="connsiteX13167" y="connsiteY13167"/>
              </a:cxn>
              <a:cxn ang="0">
                <a:pos x="connsiteX13168" y="connsiteY13168"/>
              </a:cxn>
              <a:cxn ang="0">
                <a:pos x="connsiteX13169" y="connsiteY13169"/>
              </a:cxn>
              <a:cxn ang="0">
                <a:pos x="connsiteX13170" y="connsiteY13170"/>
              </a:cxn>
              <a:cxn ang="0">
                <a:pos x="connsiteX13171" y="connsiteY13171"/>
              </a:cxn>
              <a:cxn ang="0">
                <a:pos x="connsiteX13172" y="connsiteY13172"/>
              </a:cxn>
              <a:cxn ang="0">
                <a:pos x="connsiteX13173" y="connsiteY13173"/>
              </a:cxn>
              <a:cxn ang="0">
                <a:pos x="connsiteX13174" y="connsiteY13174"/>
              </a:cxn>
              <a:cxn ang="0">
                <a:pos x="connsiteX13175" y="connsiteY13175"/>
              </a:cxn>
              <a:cxn ang="0">
                <a:pos x="connsiteX13176" y="connsiteY13176"/>
              </a:cxn>
              <a:cxn ang="0">
                <a:pos x="connsiteX13177" y="connsiteY13177"/>
              </a:cxn>
              <a:cxn ang="0">
                <a:pos x="connsiteX13178" y="connsiteY13178"/>
              </a:cxn>
              <a:cxn ang="0">
                <a:pos x="connsiteX13179" y="connsiteY13179"/>
              </a:cxn>
              <a:cxn ang="0">
                <a:pos x="connsiteX13180" y="connsiteY13180"/>
              </a:cxn>
              <a:cxn ang="0">
                <a:pos x="connsiteX13181" y="connsiteY13181"/>
              </a:cxn>
              <a:cxn ang="0">
                <a:pos x="connsiteX13182" y="connsiteY13182"/>
              </a:cxn>
              <a:cxn ang="0">
                <a:pos x="connsiteX13183" y="connsiteY13183"/>
              </a:cxn>
              <a:cxn ang="0">
                <a:pos x="connsiteX13184" y="connsiteY13184"/>
              </a:cxn>
              <a:cxn ang="0">
                <a:pos x="connsiteX13185" y="connsiteY13185"/>
              </a:cxn>
              <a:cxn ang="0">
                <a:pos x="connsiteX13186" y="connsiteY13186"/>
              </a:cxn>
              <a:cxn ang="0">
                <a:pos x="connsiteX13187" y="connsiteY13187"/>
              </a:cxn>
              <a:cxn ang="0">
                <a:pos x="connsiteX13188" y="connsiteY13188"/>
              </a:cxn>
              <a:cxn ang="0">
                <a:pos x="connsiteX13189" y="connsiteY13189"/>
              </a:cxn>
              <a:cxn ang="0">
                <a:pos x="connsiteX13190" y="connsiteY13190"/>
              </a:cxn>
              <a:cxn ang="0">
                <a:pos x="connsiteX13191" y="connsiteY13191"/>
              </a:cxn>
              <a:cxn ang="0">
                <a:pos x="connsiteX13192" y="connsiteY13192"/>
              </a:cxn>
              <a:cxn ang="0">
                <a:pos x="connsiteX13193" y="connsiteY13193"/>
              </a:cxn>
              <a:cxn ang="0">
                <a:pos x="connsiteX13194" y="connsiteY13194"/>
              </a:cxn>
              <a:cxn ang="0">
                <a:pos x="connsiteX13195" y="connsiteY13195"/>
              </a:cxn>
              <a:cxn ang="0">
                <a:pos x="connsiteX13196" y="connsiteY13196"/>
              </a:cxn>
              <a:cxn ang="0">
                <a:pos x="connsiteX13197" y="connsiteY13197"/>
              </a:cxn>
              <a:cxn ang="0">
                <a:pos x="connsiteX13198" y="connsiteY13198"/>
              </a:cxn>
              <a:cxn ang="0">
                <a:pos x="connsiteX13199" y="connsiteY13199"/>
              </a:cxn>
              <a:cxn ang="0">
                <a:pos x="connsiteX13200" y="connsiteY13200"/>
              </a:cxn>
              <a:cxn ang="0">
                <a:pos x="connsiteX13201" y="connsiteY13201"/>
              </a:cxn>
              <a:cxn ang="0">
                <a:pos x="connsiteX13202" y="connsiteY13202"/>
              </a:cxn>
              <a:cxn ang="0">
                <a:pos x="connsiteX13203" y="connsiteY13203"/>
              </a:cxn>
              <a:cxn ang="0">
                <a:pos x="connsiteX13204" y="connsiteY13204"/>
              </a:cxn>
              <a:cxn ang="0">
                <a:pos x="connsiteX13205" y="connsiteY13205"/>
              </a:cxn>
              <a:cxn ang="0">
                <a:pos x="connsiteX13206" y="connsiteY13206"/>
              </a:cxn>
              <a:cxn ang="0">
                <a:pos x="connsiteX13207" y="connsiteY13207"/>
              </a:cxn>
              <a:cxn ang="0">
                <a:pos x="connsiteX13208" y="connsiteY13208"/>
              </a:cxn>
              <a:cxn ang="0">
                <a:pos x="connsiteX13209" y="connsiteY13209"/>
              </a:cxn>
              <a:cxn ang="0">
                <a:pos x="connsiteX13210" y="connsiteY13210"/>
              </a:cxn>
              <a:cxn ang="0">
                <a:pos x="connsiteX13211" y="connsiteY13211"/>
              </a:cxn>
              <a:cxn ang="0">
                <a:pos x="connsiteX13212" y="connsiteY13212"/>
              </a:cxn>
              <a:cxn ang="0">
                <a:pos x="connsiteX13213" y="connsiteY13213"/>
              </a:cxn>
              <a:cxn ang="0">
                <a:pos x="connsiteX13214" y="connsiteY13214"/>
              </a:cxn>
              <a:cxn ang="0">
                <a:pos x="connsiteX13215" y="connsiteY13215"/>
              </a:cxn>
              <a:cxn ang="0">
                <a:pos x="connsiteX13216" y="connsiteY13216"/>
              </a:cxn>
              <a:cxn ang="0">
                <a:pos x="connsiteX13217" y="connsiteY13217"/>
              </a:cxn>
              <a:cxn ang="0">
                <a:pos x="connsiteX13218" y="connsiteY13218"/>
              </a:cxn>
              <a:cxn ang="0">
                <a:pos x="connsiteX13219" y="connsiteY13219"/>
              </a:cxn>
              <a:cxn ang="0">
                <a:pos x="connsiteX13220" y="connsiteY13220"/>
              </a:cxn>
              <a:cxn ang="0">
                <a:pos x="connsiteX13221" y="connsiteY13221"/>
              </a:cxn>
              <a:cxn ang="0">
                <a:pos x="connsiteX13222" y="connsiteY13222"/>
              </a:cxn>
              <a:cxn ang="0">
                <a:pos x="connsiteX13223" y="connsiteY13223"/>
              </a:cxn>
              <a:cxn ang="0">
                <a:pos x="connsiteX13224" y="connsiteY13224"/>
              </a:cxn>
              <a:cxn ang="0">
                <a:pos x="connsiteX13225" y="connsiteY13225"/>
              </a:cxn>
              <a:cxn ang="0">
                <a:pos x="connsiteX13226" y="connsiteY13226"/>
              </a:cxn>
              <a:cxn ang="0">
                <a:pos x="connsiteX13227" y="connsiteY13227"/>
              </a:cxn>
              <a:cxn ang="0">
                <a:pos x="connsiteX13228" y="connsiteY13228"/>
              </a:cxn>
              <a:cxn ang="0">
                <a:pos x="connsiteX13229" y="connsiteY13229"/>
              </a:cxn>
              <a:cxn ang="0">
                <a:pos x="connsiteX13230" y="connsiteY13230"/>
              </a:cxn>
              <a:cxn ang="0">
                <a:pos x="connsiteX13231" y="connsiteY13231"/>
              </a:cxn>
              <a:cxn ang="0">
                <a:pos x="connsiteX13232" y="connsiteY13232"/>
              </a:cxn>
              <a:cxn ang="0">
                <a:pos x="connsiteX13233" y="connsiteY13233"/>
              </a:cxn>
              <a:cxn ang="0">
                <a:pos x="connsiteX13234" y="connsiteY13234"/>
              </a:cxn>
              <a:cxn ang="0">
                <a:pos x="connsiteX13235" y="connsiteY13235"/>
              </a:cxn>
              <a:cxn ang="0">
                <a:pos x="connsiteX13236" y="connsiteY13236"/>
              </a:cxn>
              <a:cxn ang="0">
                <a:pos x="connsiteX13237" y="connsiteY13237"/>
              </a:cxn>
              <a:cxn ang="0">
                <a:pos x="connsiteX13238" y="connsiteY13238"/>
              </a:cxn>
              <a:cxn ang="0">
                <a:pos x="connsiteX13239" y="connsiteY13239"/>
              </a:cxn>
              <a:cxn ang="0">
                <a:pos x="connsiteX13240" y="connsiteY13240"/>
              </a:cxn>
              <a:cxn ang="0">
                <a:pos x="connsiteX13241" y="connsiteY13241"/>
              </a:cxn>
              <a:cxn ang="0">
                <a:pos x="connsiteX13242" y="connsiteY13242"/>
              </a:cxn>
              <a:cxn ang="0">
                <a:pos x="connsiteX13243" y="connsiteY13243"/>
              </a:cxn>
              <a:cxn ang="0">
                <a:pos x="connsiteX13244" y="connsiteY13244"/>
              </a:cxn>
              <a:cxn ang="0">
                <a:pos x="connsiteX13245" y="connsiteY13245"/>
              </a:cxn>
              <a:cxn ang="0">
                <a:pos x="connsiteX13246" y="connsiteY13246"/>
              </a:cxn>
              <a:cxn ang="0">
                <a:pos x="connsiteX13247" y="connsiteY13247"/>
              </a:cxn>
              <a:cxn ang="0">
                <a:pos x="connsiteX13248" y="connsiteY13248"/>
              </a:cxn>
              <a:cxn ang="0">
                <a:pos x="connsiteX13249" y="connsiteY13249"/>
              </a:cxn>
              <a:cxn ang="0">
                <a:pos x="connsiteX13250" y="connsiteY13250"/>
              </a:cxn>
              <a:cxn ang="0">
                <a:pos x="connsiteX13251" y="connsiteY13251"/>
              </a:cxn>
              <a:cxn ang="0">
                <a:pos x="connsiteX13252" y="connsiteY13252"/>
              </a:cxn>
              <a:cxn ang="0">
                <a:pos x="connsiteX13253" y="connsiteY13253"/>
              </a:cxn>
              <a:cxn ang="0">
                <a:pos x="connsiteX13254" y="connsiteY13254"/>
              </a:cxn>
              <a:cxn ang="0">
                <a:pos x="connsiteX13255" y="connsiteY13255"/>
              </a:cxn>
              <a:cxn ang="0">
                <a:pos x="connsiteX13256" y="connsiteY13256"/>
              </a:cxn>
              <a:cxn ang="0">
                <a:pos x="connsiteX13257" y="connsiteY13257"/>
              </a:cxn>
              <a:cxn ang="0">
                <a:pos x="connsiteX13258" y="connsiteY13258"/>
              </a:cxn>
              <a:cxn ang="0">
                <a:pos x="connsiteX13259" y="connsiteY13259"/>
              </a:cxn>
              <a:cxn ang="0">
                <a:pos x="connsiteX13260" y="connsiteY13260"/>
              </a:cxn>
              <a:cxn ang="0">
                <a:pos x="connsiteX13261" y="connsiteY13261"/>
              </a:cxn>
              <a:cxn ang="0">
                <a:pos x="connsiteX13262" y="connsiteY13262"/>
              </a:cxn>
              <a:cxn ang="0">
                <a:pos x="connsiteX13263" y="connsiteY13263"/>
              </a:cxn>
              <a:cxn ang="0">
                <a:pos x="connsiteX13264" y="connsiteY13264"/>
              </a:cxn>
              <a:cxn ang="0">
                <a:pos x="connsiteX13265" y="connsiteY13265"/>
              </a:cxn>
              <a:cxn ang="0">
                <a:pos x="connsiteX13266" y="connsiteY13266"/>
              </a:cxn>
              <a:cxn ang="0">
                <a:pos x="connsiteX13267" y="connsiteY13267"/>
              </a:cxn>
              <a:cxn ang="0">
                <a:pos x="connsiteX13268" y="connsiteY13268"/>
              </a:cxn>
              <a:cxn ang="0">
                <a:pos x="connsiteX13269" y="connsiteY13269"/>
              </a:cxn>
              <a:cxn ang="0">
                <a:pos x="connsiteX13270" y="connsiteY13270"/>
              </a:cxn>
              <a:cxn ang="0">
                <a:pos x="connsiteX13271" y="connsiteY13271"/>
              </a:cxn>
              <a:cxn ang="0">
                <a:pos x="connsiteX13272" y="connsiteY13272"/>
              </a:cxn>
              <a:cxn ang="0">
                <a:pos x="connsiteX13273" y="connsiteY13273"/>
              </a:cxn>
              <a:cxn ang="0">
                <a:pos x="connsiteX13274" y="connsiteY13274"/>
              </a:cxn>
              <a:cxn ang="0">
                <a:pos x="connsiteX13275" y="connsiteY13275"/>
              </a:cxn>
              <a:cxn ang="0">
                <a:pos x="connsiteX13276" y="connsiteY13276"/>
              </a:cxn>
              <a:cxn ang="0">
                <a:pos x="connsiteX13277" y="connsiteY13277"/>
              </a:cxn>
              <a:cxn ang="0">
                <a:pos x="connsiteX13278" y="connsiteY13278"/>
              </a:cxn>
              <a:cxn ang="0">
                <a:pos x="connsiteX13279" y="connsiteY13279"/>
              </a:cxn>
              <a:cxn ang="0">
                <a:pos x="connsiteX13280" y="connsiteY13280"/>
              </a:cxn>
              <a:cxn ang="0">
                <a:pos x="connsiteX13281" y="connsiteY13281"/>
              </a:cxn>
              <a:cxn ang="0">
                <a:pos x="connsiteX13282" y="connsiteY13282"/>
              </a:cxn>
              <a:cxn ang="0">
                <a:pos x="connsiteX13283" y="connsiteY13283"/>
              </a:cxn>
              <a:cxn ang="0">
                <a:pos x="connsiteX13284" y="connsiteY13284"/>
              </a:cxn>
              <a:cxn ang="0">
                <a:pos x="connsiteX13285" y="connsiteY13285"/>
              </a:cxn>
              <a:cxn ang="0">
                <a:pos x="connsiteX13286" y="connsiteY13286"/>
              </a:cxn>
              <a:cxn ang="0">
                <a:pos x="connsiteX13287" y="connsiteY13287"/>
              </a:cxn>
              <a:cxn ang="0">
                <a:pos x="connsiteX13288" y="connsiteY13288"/>
              </a:cxn>
              <a:cxn ang="0">
                <a:pos x="connsiteX13289" y="connsiteY13289"/>
              </a:cxn>
              <a:cxn ang="0">
                <a:pos x="connsiteX13290" y="connsiteY13290"/>
              </a:cxn>
              <a:cxn ang="0">
                <a:pos x="connsiteX13291" y="connsiteY13291"/>
              </a:cxn>
              <a:cxn ang="0">
                <a:pos x="connsiteX13292" y="connsiteY13292"/>
              </a:cxn>
              <a:cxn ang="0">
                <a:pos x="connsiteX13293" y="connsiteY13293"/>
              </a:cxn>
              <a:cxn ang="0">
                <a:pos x="connsiteX13294" y="connsiteY13294"/>
              </a:cxn>
              <a:cxn ang="0">
                <a:pos x="connsiteX13295" y="connsiteY13295"/>
              </a:cxn>
              <a:cxn ang="0">
                <a:pos x="connsiteX13296" y="connsiteY13296"/>
              </a:cxn>
              <a:cxn ang="0">
                <a:pos x="connsiteX13297" y="connsiteY13297"/>
              </a:cxn>
              <a:cxn ang="0">
                <a:pos x="connsiteX13298" y="connsiteY13298"/>
              </a:cxn>
              <a:cxn ang="0">
                <a:pos x="connsiteX13299" y="connsiteY13299"/>
              </a:cxn>
              <a:cxn ang="0">
                <a:pos x="connsiteX13300" y="connsiteY13300"/>
              </a:cxn>
              <a:cxn ang="0">
                <a:pos x="connsiteX13301" y="connsiteY13301"/>
              </a:cxn>
              <a:cxn ang="0">
                <a:pos x="connsiteX13302" y="connsiteY13302"/>
              </a:cxn>
              <a:cxn ang="0">
                <a:pos x="connsiteX13303" y="connsiteY13303"/>
              </a:cxn>
              <a:cxn ang="0">
                <a:pos x="connsiteX13304" y="connsiteY13304"/>
              </a:cxn>
              <a:cxn ang="0">
                <a:pos x="connsiteX13305" y="connsiteY13305"/>
              </a:cxn>
              <a:cxn ang="0">
                <a:pos x="connsiteX13306" y="connsiteY13306"/>
              </a:cxn>
              <a:cxn ang="0">
                <a:pos x="connsiteX13307" y="connsiteY13307"/>
              </a:cxn>
              <a:cxn ang="0">
                <a:pos x="connsiteX13308" y="connsiteY13308"/>
              </a:cxn>
              <a:cxn ang="0">
                <a:pos x="connsiteX13309" y="connsiteY13309"/>
              </a:cxn>
              <a:cxn ang="0">
                <a:pos x="connsiteX13310" y="connsiteY13310"/>
              </a:cxn>
              <a:cxn ang="0">
                <a:pos x="connsiteX13311" y="connsiteY13311"/>
              </a:cxn>
              <a:cxn ang="0">
                <a:pos x="connsiteX13312" y="connsiteY13312"/>
              </a:cxn>
              <a:cxn ang="0">
                <a:pos x="connsiteX13313" y="connsiteY13313"/>
              </a:cxn>
              <a:cxn ang="0">
                <a:pos x="connsiteX13314" y="connsiteY13314"/>
              </a:cxn>
              <a:cxn ang="0">
                <a:pos x="connsiteX13315" y="connsiteY13315"/>
              </a:cxn>
              <a:cxn ang="0">
                <a:pos x="connsiteX13316" y="connsiteY13316"/>
              </a:cxn>
              <a:cxn ang="0">
                <a:pos x="connsiteX13317" y="connsiteY13317"/>
              </a:cxn>
              <a:cxn ang="0">
                <a:pos x="connsiteX13318" y="connsiteY13318"/>
              </a:cxn>
              <a:cxn ang="0">
                <a:pos x="connsiteX13319" y="connsiteY13319"/>
              </a:cxn>
              <a:cxn ang="0">
                <a:pos x="connsiteX13320" y="connsiteY13320"/>
              </a:cxn>
              <a:cxn ang="0">
                <a:pos x="connsiteX13321" y="connsiteY13321"/>
              </a:cxn>
              <a:cxn ang="0">
                <a:pos x="connsiteX13322" y="connsiteY13322"/>
              </a:cxn>
              <a:cxn ang="0">
                <a:pos x="connsiteX13323" y="connsiteY13323"/>
              </a:cxn>
              <a:cxn ang="0">
                <a:pos x="connsiteX13324" y="connsiteY13324"/>
              </a:cxn>
              <a:cxn ang="0">
                <a:pos x="connsiteX13325" y="connsiteY13325"/>
              </a:cxn>
              <a:cxn ang="0">
                <a:pos x="connsiteX13326" y="connsiteY13326"/>
              </a:cxn>
              <a:cxn ang="0">
                <a:pos x="connsiteX13327" y="connsiteY13327"/>
              </a:cxn>
              <a:cxn ang="0">
                <a:pos x="connsiteX13328" y="connsiteY13328"/>
              </a:cxn>
              <a:cxn ang="0">
                <a:pos x="connsiteX13329" y="connsiteY13329"/>
              </a:cxn>
              <a:cxn ang="0">
                <a:pos x="connsiteX13330" y="connsiteY13330"/>
              </a:cxn>
              <a:cxn ang="0">
                <a:pos x="connsiteX13331" y="connsiteY13331"/>
              </a:cxn>
              <a:cxn ang="0">
                <a:pos x="connsiteX13332" y="connsiteY13332"/>
              </a:cxn>
              <a:cxn ang="0">
                <a:pos x="connsiteX13333" y="connsiteY13333"/>
              </a:cxn>
              <a:cxn ang="0">
                <a:pos x="connsiteX13334" y="connsiteY13334"/>
              </a:cxn>
              <a:cxn ang="0">
                <a:pos x="connsiteX13335" y="connsiteY13335"/>
              </a:cxn>
              <a:cxn ang="0">
                <a:pos x="connsiteX13336" y="connsiteY13336"/>
              </a:cxn>
              <a:cxn ang="0">
                <a:pos x="connsiteX13337" y="connsiteY13337"/>
              </a:cxn>
              <a:cxn ang="0">
                <a:pos x="connsiteX13338" y="connsiteY13338"/>
              </a:cxn>
              <a:cxn ang="0">
                <a:pos x="connsiteX13339" y="connsiteY13339"/>
              </a:cxn>
              <a:cxn ang="0">
                <a:pos x="connsiteX13340" y="connsiteY13340"/>
              </a:cxn>
              <a:cxn ang="0">
                <a:pos x="connsiteX13341" y="connsiteY13341"/>
              </a:cxn>
              <a:cxn ang="0">
                <a:pos x="connsiteX13342" y="connsiteY13342"/>
              </a:cxn>
              <a:cxn ang="0">
                <a:pos x="connsiteX13343" y="connsiteY13343"/>
              </a:cxn>
              <a:cxn ang="0">
                <a:pos x="connsiteX13344" y="connsiteY13344"/>
              </a:cxn>
              <a:cxn ang="0">
                <a:pos x="connsiteX13345" y="connsiteY13345"/>
              </a:cxn>
              <a:cxn ang="0">
                <a:pos x="connsiteX13346" y="connsiteY13346"/>
              </a:cxn>
              <a:cxn ang="0">
                <a:pos x="connsiteX13347" y="connsiteY13347"/>
              </a:cxn>
              <a:cxn ang="0">
                <a:pos x="connsiteX13348" y="connsiteY13348"/>
              </a:cxn>
              <a:cxn ang="0">
                <a:pos x="connsiteX13349" y="connsiteY13349"/>
              </a:cxn>
              <a:cxn ang="0">
                <a:pos x="connsiteX13350" y="connsiteY13350"/>
              </a:cxn>
              <a:cxn ang="0">
                <a:pos x="connsiteX13351" y="connsiteY13351"/>
              </a:cxn>
              <a:cxn ang="0">
                <a:pos x="connsiteX13352" y="connsiteY13352"/>
              </a:cxn>
              <a:cxn ang="0">
                <a:pos x="connsiteX13353" y="connsiteY13353"/>
              </a:cxn>
              <a:cxn ang="0">
                <a:pos x="connsiteX13354" y="connsiteY13354"/>
              </a:cxn>
              <a:cxn ang="0">
                <a:pos x="connsiteX13355" y="connsiteY13355"/>
              </a:cxn>
              <a:cxn ang="0">
                <a:pos x="connsiteX13356" y="connsiteY13356"/>
              </a:cxn>
              <a:cxn ang="0">
                <a:pos x="connsiteX13357" y="connsiteY13357"/>
              </a:cxn>
              <a:cxn ang="0">
                <a:pos x="connsiteX13358" y="connsiteY13358"/>
              </a:cxn>
              <a:cxn ang="0">
                <a:pos x="connsiteX13359" y="connsiteY13359"/>
              </a:cxn>
              <a:cxn ang="0">
                <a:pos x="connsiteX13360" y="connsiteY13360"/>
              </a:cxn>
              <a:cxn ang="0">
                <a:pos x="connsiteX13361" y="connsiteY13361"/>
              </a:cxn>
              <a:cxn ang="0">
                <a:pos x="connsiteX13362" y="connsiteY13362"/>
              </a:cxn>
              <a:cxn ang="0">
                <a:pos x="connsiteX13363" y="connsiteY13363"/>
              </a:cxn>
              <a:cxn ang="0">
                <a:pos x="connsiteX13364" y="connsiteY13364"/>
              </a:cxn>
              <a:cxn ang="0">
                <a:pos x="connsiteX13365" y="connsiteY13365"/>
              </a:cxn>
              <a:cxn ang="0">
                <a:pos x="connsiteX13366" y="connsiteY13366"/>
              </a:cxn>
              <a:cxn ang="0">
                <a:pos x="connsiteX13367" y="connsiteY13367"/>
              </a:cxn>
              <a:cxn ang="0">
                <a:pos x="connsiteX13368" y="connsiteY13368"/>
              </a:cxn>
              <a:cxn ang="0">
                <a:pos x="connsiteX13369" y="connsiteY13369"/>
              </a:cxn>
              <a:cxn ang="0">
                <a:pos x="connsiteX13370" y="connsiteY13370"/>
              </a:cxn>
              <a:cxn ang="0">
                <a:pos x="connsiteX13371" y="connsiteY13371"/>
              </a:cxn>
              <a:cxn ang="0">
                <a:pos x="connsiteX13372" y="connsiteY13372"/>
              </a:cxn>
              <a:cxn ang="0">
                <a:pos x="connsiteX13373" y="connsiteY13373"/>
              </a:cxn>
              <a:cxn ang="0">
                <a:pos x="connsiteX13374" y="connsiteY13374"/>
              </a:cxn>
              <a:cxn ang="0">
                <a:pos x="connsiteX13375" y="connsiteY13375"/>
              </a:cxn>
              <a:cxn ang="0">
                <a:pos x="connsiteX13376" y="connsiteY13376"/>
              </a:cxn>
              <a:cxn ang="0">
                <a:pos x="connsiteX13377" y="connsiteY13377"/>
              </a:cxn>
              <a:cxn ang="0">
                <a:pos x="connsiteX13378" y="connsiteY13378"/>
              </a:cxn>
              <a:cxn ang="0">
                <a:pos x="connsiteX13379" y="connsiteY13379"/>
              </a:cxn>
              <a:cxn ang="0">
                <a:pos x="connsiteX13380" y="connsiteY13380"/>
              </a:cxn>
              <a:cxn ang="0">
                <a:pos x="connsiteX13381" y="connsiteY13381"/>
              </a:cxn>
              <a:cxn ang="0">
                <a:pos x="connsiteX13382" y="connsiteY13382"/>
              </a:cxn>
              <a:cxn ang="0">
                <a:pos x="connsiteX13383" y="connsiteY13383"/>
              </a:cxn>
              <a:cxn ang="0">
                <a:pos x="connsiteX13384" y="connsiteY13384"/>
              </a:cxn>
              <a:cxn ang="0">
                <a:pos x="connsiteX13385" y="connsiteY13385"/>
              </a:cxn>
              <a:cxn ang="0">
                <a:pos x="connsiteX13386" y="connsiteY13386"/>
              </a:cxn>
              <a:cxn ang="0">
                <a:pos x="connsiteX13387" y="connsiteY13387"/>
              </a:cxn>
              <a:cxn ang="0">
                <a:pos x="connsiteX13388" y="connsiteY13388"/>
              </a:cxn>
              <a:cxn ang="0">
                <a:pos x="connsiteX13389" y="connsiteY13389"/>
              </a:cxn>
              <a:cxn ang="0">
                <a:pos x="connsiteX13390" y="connsiteY13390"/>
              </a:cxn>
              <a:cxn ang="0">
                <a:pos x="connsiteX13391" y="connsiteY13391"/>
              </a:cxn>
              <a:cxn ang="0">
                <a:pos x="connsiteX13392" y="connsiteY13392"/>
              </a:cxn>
              <a:cxn ang="0">
                <a:pos x="connsiteX13393" y="connsiteY13393"/>
              </a:cxn>
              <a:cxn ang="0">
                <a:pos x="connsiteX13394" y="connsiteY13394"/>
              </a:cxn>
              <a:cxn ang="0">
                <a:pos x="connsiteX13395" y="connsiteY13395"/>
              </a:cxn>
              <a:cxn ang="0">
                <a:pos x="connsiteX13396" y="connsiteY13396"/>
              </a:cxn>
              <a:cxn ang="0">
                <a:pos x="connsiteX13397" y="connsiteY13397"/>
              </a:cxn>
              <a:cxn ang="0">
                <a:pos x="connsiteX13398" y="connsiteY13398"/>
              </a:cxn>
              <a:cxn ang="0">
                <a:pos x="connsiteX13399" y="connsiteY13399"/>
              </a:cxn>
              <a:cxn ang="0">
                <a:pos x="connsiteX13400" y="connsiteY13400"/>
              </a:cxn>
              <a:cxn ang="0">
                <a:pos x="connsiteX13401" y="connsiteY13401"/>
              </a:cxn>
              <a:cxn ang="0">
                <a:pos x="connsiteX13402" y="connsiteY13402"/>
              </a:cxn>
              <a:cxn ang="0">
                <a:pos x="connsiteX13403" y="connsiteY13403"/>
              </a:cxn>
              <a:cxn ang="0">
                <a:pos x="connsiteX13404" y="connsiteY13404"/>
              </a:cxn>
              <a:cxn ang="0">
                <a:pos x="connsiteX13405" y="connsiteY13405"/>
              </a:cxn>
              <a:cxn ang="0">
                <a:pos x="connsiteX13406" y="connsiteY13406"/>
              </a:cxn>
              <a:cxn ang="0">
                <a:pos x="connsiteX13407" y="connsiteY13407"/>
              </a:cxn>
              <a:cxn ang="0">
                <a:pos x="connsiteX13408" y="connsiteY13408"/>
              </a:cxn>
              <a:cxn ang="0">
                <a:pos x="connsiteX13409" y="connsiteY13409"/>
              </a:cxn>
              <a:cxn ang="0">
                <a:pos x="connsiteX13410" y="connsiteY13410"/>
              </a:cxn>
              <a:cxn ang="0">
                <a:pos x="connsiteX13411" y="connsiteY13411"/>
              </a:cxn>
              <a:cxn ang="0">
                <a:pos x="connsiteX13412" y="connsiteY13412"/>
              </a:cxn>
              <a:cxn ang="0">
                <a:pos x="connsiteX13413" y="connsiteY13413"/>
              </a:cxn>
              <a:cxn ang="0">
                <a:pos x="connsiteX13414" y="connsiteY13414"/>
              </a:cxn>
              <a:cxn ang="0">
                <a:pos x="connsiteX13415" y="connsiteY13415"/>
              </a:cxn>
              <a:cxn ang="0">
                <a:pos x="connsiteX13416" y="connsiteY13416"/>
              </a:cxn>
              <a:cxn ang="0">
                <a:pos x="connsiteX13417" y="connsiteY13417"/>
              </a:cxn>
              <a:cxn ang="0">
                <a:pos x="connsiteX13418" y="connsiteY13418"/>
              </a:cxn>
              <a:cxn ang="0">
                <a:pos x="connsiteX13419" y="connsiteY13419"/>
              </a:cxn>
              <a:cxn ang="0">
                <a:pos x="connsiteX13420" y="connsiteY13420"/>
              </a:cxn>
              <a:cxn ang="0">
                <a:pos x="connsiteX13421" y="connsiteY13421"/>
              </a:cxn>
              <a:cxn ang="0">
                <a:pos x="connsiteX13422" y="connsiteY13422"/>
              </a:cxn>
              <a:cxn ang="0">
                <a:pos x="connsiteX13423" y="connsiteY13423"/>
              </a:cxn>
              <a:cxn ang="0">
                <a:pos x="connsiteX13424" y="connsiteY13424"/>
              </a:cxn>
              <a:cxn ang="0">
                <a:pos x="connsiteX13425" y="connsiteY13425"/>
              </a:cxn>
              <a:cxn ang="0">
                <a:pos x="connsiteX13426" y="connsiteY13426"/>
              </a:cxn>
              <a:cxn ang="0">
                <a:pos x="connsiteX13427" y="connsiteY13427"/>
              </a:cxn>
              <a:cxn ang="0">
                <a:pos x="connsiteX13428" y="connsiteY13428"/>
              </a:cxn>
              <a:cxn ang="0">
                <a:pos x="connsiteX13429" y="connsiteY13429"/>
              </a:cxn>
              <a:cxn ang="0">
                <a:pos x="connsiteX13430" y="connsiteY13430"/>
              </a:cxn>
              <a:cxn ang="0">
                <a:pos x="connsiteX13431" y="connsiteY13431"/>
              </a:cxn>
              <a:cxn ang="0">
                <a:pos x="connsiteX13432" y="connsiteY13432"/>
              </a:cxn>
              <a:cxn ang="0">
                <a:pos x="connsiteX13433" y="connsiteY13433"/>
              </a:cxn>
              <a:cxn ang="0">
                <a:pos x="connsiteX13434" y="connsiteY13434"/>
              </a:cxn>
              <a:cxn ang="0">
                <a:pos x="connsiteX13435" y="connsiteY13435"/>
              </a:cxn>
              <a:cxn ang="0">
                <a:pos x="connsiteX13436" y="connsiteY13436"/>
              </a:cxn>
              <a:cxn ang="0">
                <a:pos x="connsiteX13437" y="connsiteY13437"/>
              </a:cxn>
              <a:cxn ang="0">
                <a:pos x="connsiteX13438" y="connsiteY13438"/>
              </a:cxn>
              <a:cxn ang="0">
                <a:pos x="connsiteX13439" y="connsiteY13439"/>
              </a:cxn>
              <a:cxn ang="0">
                <a:pos x="connsiteX13440" y="connsiteY13440"/>
              </a:cxn>
              <a:cxn ang="0">
                <a:pos x="connsiteX13441" y="connsiteY13441"/>
              </a:cxn>
              <a:cxn ang="0">
                <a:pos x="connsiteX13442" y="connsiteY13442"/>
              </a:cxn>
              <a:cxn ang="0">
                <a:pos x="connsiteX13443" y="connsiteY13443"/>
              </a:cxn>
              <a:cxn ang="0">
                <a:pos x="connsiteX13444" y="connsiteY13444"/>
              </a:cxn>
              <a:cxn ang="0">
                <a:pos x="connsiteX13445" y="connsiteY13445"/>
              </a:cxn>
              <a:cxn ang="0">
                <a:pos x="connsiteX13446" y="connsiteY13446"/>
              </a:cxn>
              <a:cxn ang="0">
                <a:pos x="connsiteX13447" y="connsiteY13447"/>
              </a:cxn>
              <a:cxn ang="0">
                <a:pos x="connsiteX13448" y="connsiteY13448"/>
              </a:cxn>
              <a:cxn ang="0">
                <a:pos x="connsiteX13449" y="connsiteY13449"/>
              </a:cxn>
              <a:cxn ang="0">
                <a:pos x="connsiteX13450" y="connsiteY13450"/>
              </a:cxn>
              <a:cxn ang="0">
                <a:pos x="connsiteX13451" y="connsiteY13451"/>
              </a:cxn>
              <a:cxn ang="0">
                <a:pos x="connsiteX13452" y="connsiteY13452"/>
              </a:cxn>
              <a:cxn ang="0">
                <a:pos x="connsiteX13453" y="connsiteY13453"/>
              </a:cxn>
              <a:cxn ang="0">
                <a:pos x="connsiteX13454" y="connsiteY13454"/>
              </a:cxn>
              <a:cxn ang="0">
                <a:pos x="connsiteX13455" y="connsiteY13455"/>
              </a:cxn>
              <a:cxn ang="0">
                <a:pos x="connsiteX13456" y="connsiteY13456"/>
              </a:cxn>
              <a:cxn ang="0">
                <a:pos x="connsiteX13457" y="connsiteY13457"/>
              </a:cxn>
              <a:cxn ang="0">
                <a:pos x="connsiteX13458" y="connsiteY13458"/>
              </a:cxn>
              <a:cxn ang="0">
                <a:pos x="connsiteX13459" y="connsiteY13459"/>
              </a:cxn>
              <a:cxn ang="0">
                <a:pos x="connsiteX13460" y="connsiteY13460"/>
              </a:cxn>
              <a:cxn ang="0">
                <a:pos x="connsiteX13461" y="connsiteY13461"/>
              </a:cxn>
              <a:cxn ang="0">
                <a:pos x="connsiteX13462" y="connsiteY13462"/>
              </a:cxn>
              <a:cxn ang="0">
                <a:pos x="connsiteX13463" y="connsiteY13463"/>
              </a:cxn>
              <a:cxn ang="0">
                <a:pos x="connsiteX13464" y="connsiteY13464"/>
              </a:cxn>
              <a:cxn ang="0">
                <a:pos x="connsiteX13465" y="connsiteY13465"/>
              </a:cxn>
              <a:cxn ang="0">
                <a:pos x="connsiteX13466" y="connsiteY13466"/>
              </a:cxn>
              <a:cxn ang="0">
                <a:pos x="connsiteX13467" y="connsiteY13467"/>
              </a:cxn>
              <a:cxn ang="0">
                <a:pos x="connsiteX13468" y="connsiteY13468"/>
              </a:cxn>
              <a:cxn ang="0">
                <a:pos x="connsiteX13469" y="connsiteY13469"/>
              </a:cxn>
              <a:cxn ang="0">
                <a:pos x="connsiteX13470" y="connsiteY13470"/>
              </a:cxn>
              <a:cxn ang="0">
                <a:pos x="connsiteX13471" y="connsiteY13471"/>
              </a:cxn>
              <a:cxn ang="0">
                <a:pos x="connsiteX13472" y="connsiteY13472"/>
              </a:cxn>
              <a:cxn ang="0">
                <a:pos x="connsiteX13473" y="connsiteY13473"/>
              </a:cxn>
              <a:cxn ang="0">
                <a:pos x="connsiteX13474" y="connsiteY13474"/>
              </a:cxn>
              <a:cxn ang="0">
                <a:pos x="connsiteX13475" y="connsiteY13475"/>
              </a:cxn>
              <a:cxn ang="0">
                <a:pos x="connsiteX13476" y="connsiteY13476"/>
              </a:cxn>
              <a:cxn ang="0">
                <a:pos x="connsiteX13477" y="connsiteY13477"/>
              </a:cxn>
              <a:cxn ang="0">
                <a:pos x="connsiteX13478" y="connsiteY13478"/>
              </a:cxn>
              <a:cxn ang="0">
                <a:pos x="connsiteX13479" y="connsiteY13479"/>
              </a:cxn>
              <a:cxn ang="0">
                <a:pos x="connsiteX13480" y="connsiteY13480"/>
              </a:cxn>
              <a:cxn ang="0">
                <a:pos x="connsiteX13481" y="connsiteY13481"/>
              </a:cxn>
              <a:cxn ang="0">
                <a:pos x="connsiteX13482" y="connsiteY13482"/>
              </a:cxn>
              <a:cxn ang="0">
                <a:pos x="connsiteX13483" y="connsiteY13483"/>
              </a:cxn>
              <a:cxn ang="0">
                <a:pos x="connsiteX13484" y="connsiteY13484"/>
              </a:cxn>
              <a:cxn ang="0">
                <a:pos x="connsiteX13485" y="connsiteY13485"/>
              </a:cxn>
              <a:cxn ang="0">
                <a:pos x="connsiteX13486" y="connsiteY13486"/>
              </a:cxn>
              <a:cxn ang="0">
                <a:pos x="connsiteX13487" y="connsiteY13487"/>
              </a:cxn>
              <a:cxn ang="0">
                <a:pos x="connsiteX13488" y="connsiteY13488"/>
              </a:cxn>
              <a:cxn ang="0">
                <a:pos x="connsiteX13489" y="connsiteY13489"/>
              </a:cxn>
              <a:cxn ang="0">
                <a:pos x="connsiteX13490" y="connsiteY13490"/>
              </a:cxn>
              <a:cxn ang="0">
                <a:pos x="connsiteX13491" y="connsiteY13491"/>
              </a:cxn>
              <a:cxn ang="0">
                <a:pos x="connsiteX13492" y="connsiteY13492"/>
              </a:cxn>
              <a:cxn ang="0">
                <a:pos x="connsiteX13493" y="connsiteY13493"/>
              </a:cxn>
              <a:cxn ang="0">
                <a:pos x="connsiteX13494" y="connsiteY13494"/>
              </a:cxn>
              <a:cxn ang="0">
                <a:pos x="connsiteX13495" y="connsiteY13495"/>
              </a:cxn>
              <a:cxn ang="0">
                <a:pos x="connsiteX13496" y="connsiteY13496"/>
              </a:cxn>
              <a:cxn ang="0">
                <a:pos x="connsiteX13497" y="connsiteY13497"/>
              </a:cxn>
              <a:cxn ang="0">
                <a:pos x="connsiteX13498" y="connsiteY13498"/>
              </a:cxn>
              <a:cxn ang="0">
                <a:pos x="connsiteX13499" y="connsiteY13499"/>
              </a:cxn>
              <a:cxn ang="0">
                <a:pos x="connsiteX13500" y="connsiteY13500"/>
              </a:cxn>
              <a:cxn ang="0">
                <a:pos x="connsiteX13501" y="connsiteY13501"/>
              </a:cxn>
              <a:cxn ang="0">
                <a:pos x="connsiteX13502" y="connsiteY13502"/>
              </a:cxn>
              <a:cxn ang="0">
                <a:pos x="connsiteX13503" y="connsiteY13503"/>
              </a:cxn>
              <a:cxn ang="0">
                <a:pos x="connsiteX13504" y="connsiteY13504"/>
              </a:cxn>
              <a:cxn ang="0">
                <a:pos x="connsiteX13505" y="connsiteY13505"/>
              </a:cxn>
              <a:cxn ang="0">
                <a:pos x="connsiteX13506" y="connsiteY13506"/>
              </a:cxn>
              <a:cxn ang="0">
                <a:pos x="connsiteX13507" y="connsiteY13507"/>
              </a:cxn>
              <a:cxn ang="0">
                <a:pos x="connsiteX13508" y="connsiteY13508"/>
              </a:cxn>
              <a:cxn ang="0">
                <a:pos x="connsiteX13509" y="connsiteY13509"/>
              </a:cxn>
              <a:cxn ang="0">
                <a:pos x="connsiteX13510" y="connsiteY13510"/>
              </a:cxn>
              <a:cxn ang="0">
                <a:pos x="connsiteX13511" y="connsiteY13511"/>
              </a:cxn>
              <a:cxn ang="0">
                <a:pos x="connsiteX13512" y="connsiteY13512"/>
              </a:cxn>
              <a:cxn ang="0">
                <a:pos x="connsiteX13513" y="connsiteY13513"/>
              </a:cxn>
              <a:cxn ang="0">
                <a:pos x="connsiteX13514" y="connsiteY13514"/>
              </a:cxn>
              <a:cxn ang="0">
                <a:pos x="connsiteX13515" y="connsiteY13515"/>
              </a:cxn>
              <a:cxn ang="0">
                <a:pos x="connsiteX13516" y="connsiteY13516"/>
              </a:cxn>
              <a:cxn ang="0">
                <a:pos x="connsiteX13517" y="connsiteY13517"/>
              </a:cxn>
              <a:cxn ang="0">
                <a:pos x="connsiteX13518" y="connsiteY13518"/>
              </a:cxn>
              <a:cxn ang="0">
                <a:pos x="connsiteX13519" y="connsiteY13519"/>
              </a:cxn>
              <a:cxn ang="0">
                <a:pos x="connsiteX13520" y="connsiteY13520"/>
              </a:cxn>
              <a:cxn ang="0">
                <a:pos x="connsiteX13521" y="connsiteY13521"/>
              </a:cxn>
              <a:cxn ang="0">
                <a:pos x="connsiteX13522" y="connsiteY13522"/>
              </a:cxn>
              <a:cxn ang="0">
                <a:pos x="connsiteX13523" y="connsiteY13523"/>
              </a:cxn>
              <a:cxn ang="0">
                <a:pos x="connsiteX13524" y="connsiteY13524"/>
              </a:cxn>
              <a:cxn ang="0">
                <a:pos x="connsiteX13525" y="connsiteY13525"/>
              </a:cxn>
              <a:cxn ang="0">
                <a:pos x="connsiteX13526" y="connsiteY13526"/>
              </a:cxn>
              <a:cxn ang="0">
                <a:pos x="connsiteX13527" y="connsiteY13527"/>
              </a:cxn>
              <a:cxn ang="0">
                <a:pos x="connsiteX13528" y="connsiteY13528"/>
              </a:cxn>
              <a:cxn ang="0">
                <a:pos x="connsiteX13529" y="connsiteY13529"/>
              </a:cxn>
              <a:cxn ang="0">
                <a:pos x="connsiteX13530" y="connsiteY13530"/>
              </a:cxn>
              <a:cxn ang="0">
                <a:pos x="connsiteX13531" y="connsiteY13531"/>
              </a:cxn>
              <a:cxn ang="0">
                <a:pos x="connsiteX13532" y="connsiteY13532"/>
              </a:cxn>
              <a:cxn ang="0">
                <a:pos x="connsiteX13533" y="connsiteY13533"/>
              </a:cxn>
              <a:cxn ang="0">
                <a:pos x="connsiteX13534" y="connsiteY13534"/>
              </a:cxn>
              <a:cxn ang="0">
                <a:pos x="connsiteX13535" y="connsiteY13535"/>
              </a:cxn>
              <a:cxn ang="0">
                <a:pos x="connsiteX13536" y="connsiteY13536"/>
              </a:cxn>
              <a:cxn ang="0">
                <a:pos x="connsiteX13537" y="connsiteY13537"/>
              </a:cxn>
              <a:cxn ang="0">
                <a:pos x="connsiteX13538" y="connsiteY13538"/>
              </a:cxn>
              <a:cxn ang="0">
                <a:pos x="connsiteX13539" y="connsiteY13539"/>
              </a:cxn>
              <a:cxn ang="0">
                <a:pos x="connsiteX13540" y="connsiteY13540"/>
              </a:cxn>
              <a:cxn ang="0">
                <a:pos x="connsiteX13541" y="connsiteY13541"/>
              </a:cxn>
              <a:cxn ang="0">
                <a:pos x="connsiteX13542" y="connsiteY13542"/>
              </a:cxn>
              <a:cxn ang="0">
                <a:pos x="connsiteX13543" y="connsiteY13543"/>
              </a:cxn>
              <a:cxn ang="0">
                <a:pos x="connsiteX13544" y="connsiteY13544"/>
              </a:cxn>
              <a:cxn ang="0">
                <a:pos x="connsiteX13545" y="connsiteY13545"/>
              </a:cxn>
              <a:cxn ang="0">
                <a:pos x="connsiteX13546" y="connsiteY13546"/>
              </a:cxn>
              <a:cxn ang="0">
                <a:pos x="connsiteX13547" y="connsiteY13547"/>
              </a:cxn>
              <a:cxn ang="0">
                <a:pos x="connsiteX13548" y="connsiteY13548"/>
              </a:cxn>
              <a:cxn ang="0">
                <a:pos x="connsiteX13549" y="connsiteY13549"/>
              </a:cxn>
              <a:cxn ang="0">
                <a:pos x="connsiteX13550" y="connsiteY13550"/>
              </a:cxn>
              <a:cxn ang="0">
                <a:pos x="connsiteX13551" y="connsiteY13551"/>
              </a:cxn>
              <a:cxn ang="0">
                <a:pos x="connsiteX13552" y="connsiteY13552"/>
              </a:cxn>
              <a:cxn ang="0">
                <a:pos x="connsiteX13553" y="connsiteY13553"/>
              </a:cxn>
              <a:cxn ang="0">
                <a:pos x="connsiteX13554" y="connsiteY13554"/>
              </a:cxn>
              <a:cxn ang="0">
                <a:pos x="connsiteX13555" y="connsiteY13555"/>
              </a:cxn>
              <a:cxn ang="0">
                <a:pos x="connsiteX13556" y="connsiteY13556"/>
              </a:cxn>
              <a:cxn ang="0">
                <a:pos x="connsiteX13557" y="connsiteY13557"/>
              </a:cxn>
              <a:cxn ang="0">
                <a:pos x="connsiteX13558" y="connsiteY13558"/>
              </a:cxn>
              <a:cxn ang="0">
                <a:pos x="connsiteX13559" y="connsiteY13559"/>
              </a:cxn>
              <a:cxn ang="0">
                <a:pos x="connsiteX13560" y="connsiteY13560"/>
              </a:cxn>
              <a:cxn ang="0">
                <a:pos x="connsiteX13561" y="connsiteY13561"/>
              </a:cxn>
              <a:cxn ang="0">
                <a:pos x="connsiteX13562" y="connsiteY13562"/>
              </a:cxn>
              <a:cxn ang="0">
                <a:pos x="connsiteX13563" y="connsiteY13563"/>
              </a:cxn>
              <a:cxn ang="0">
                <a:pos x="connsiteX13564" y="connsiteY13564"/>
              </a:cxn>
              <a:cxn ang="0">
                <a:pos x="connsiteX13565" y="connsiteY13565"/>
              </a:cxn>
              <a:cxn ang="0">
                <a:pos x="connsiteX13566" y="connsiteY13566"/>
              </a:cxn>
              <a:cxn ang="0">
                <a:pos x="connsiteX13567" y="connsiteY13567"/>
              </a:cxn>
              <a:cxn ang="0">
                <a:pos x="connsiteX13568" y="connsiteY13568"/>
              </a:cxn>
              <a:cxn ang="0">
                <a:pos x="connsiteX13569" y="connsiteY13569"/>
              </a:cxn>
              <a:cxn ang="0">
                <a:pos x="connsiteX13570" y="connsiteY13570"/>
              </a:cxn>
              <a:cxn ang="0">
                <a:pos x="connsiteX13571" y="connsiteY13571"/>
              </a:cxn>
              <a:cxn ang="0">
                <a:pos x="connsiteX13572" y="connsiteY13572"/>
              </a:cxn>
              <a:cxn ang="0">
                <a:pos x="connsiteX13573" y="connsiteY13573"/>
              </a:cxn>
              <a:cxn ang="0">
                <a:pos x="connsiteX13574" y="connsiteY13574"/>
              </a:cxn>
              <a:cxn ang="0">
                <a:pos x="connsiteX13575" y="connsiteY13575"/>
              </a:cxn>
              <a:cxn ang="0">
                <a:pos x="connsiteX13576" y="connsiteY13576"/>
              </a:cxn>
              <a:cxn ang="0">
                <a:pos x="connsiteX13577" y="connsiteY13577"/>
              </a:cxn>
              <a:cxn ang="0">
                <a:pos x="connsiteX13578" y="connsiteY13578"/>
              </a:cxn>
              <a:cxn ang="0">
                <a:pos x="connsiteX13579" y="connsiteY13579"/>
              </a:cxn>
              <a:cxn ang="0">
                <a:pos x="connsiteX13580" y="connsiteY13580"/>
              </a:cxn>
              <a:cxn ang="0">
                <a:pos x="connsiteX13581" y="connsiteY13581"/>
              </a:cxn>
              <a:cxn ang="0">
                <a:pos x="connsiteX13582" y="connsiteY13582"/>
              </a:cxn>
              <a:cxn ang="0">
                <a:pos x="connsiteX13583" y="connsiteY13583"/>
              </a:cxn>
              <a:cxn ang="0">
                <a:pos x="connsiteX13584" y="connsiteY13584"/>
              </a:cxn>
              <a:cxn ang="0">
                <a:pos x="connsiteX13585" y="connsiteY13585"/>
              </a:cxn>
              <a:cxn ang="0">
                <a:pos x="connsiteX13586" y="connsiteY13586"/>
              </a:cxn>
              <a:cxn ang="0">
                <a:pos x="connsiteX13587" y="connsiteY13587"/>
              </a:cxn>
              <a:cxn ang="0">
                <a:pos x="connsiteX13588" y="connsiteY13588"/>
              </a:cxn>
              <a:cxn ang="0">
                <a:pos x="connsiteX13589" y="connsiteY13589"/>
              </a:cxn>
              <a:cxn ang="0">
                <a:pos x="connsiteX13590" y="connsiteY13590"/>
              </a:cxn>
              <a:cxn ang="0">
                <a:pos x="connsiteX13591" y="connsiteY13591"/>
              </a:cxn>
              <a:cxn ang="0">
                <a:pos x="connsiteX13592" y="connsiteY13592"/>
              </a:cxn>
              <a:cxn ang="0">
                <a:pos x="connsiteX13593" y="connsiteY13593"/>
              </a:cxn>
              <a:cxn ang="0">
                <a:pos x="connsiteX13594" y="connsiteY13594"/>
              </a:cxn>
              <a:cxn ang="0">
                <a:pos x="connsiteX13595" y="connsiteY13595"/>
              </a:cxn>
              <a:cxn ang="0">
                <a:pos x="connsiteX13596" y="connsiteY13596"/>
              </a:cxn>
              <a:cxn ang="0">
                <a:pos x="connsiteX13597" y="connsiteY13597"/>
              </a:cxn>
              <a:cxn ang="0">
                <a:pos x="connsiteX13598" y="connsiteY13598"/>
              </a:cxn>
              <a:cxn ang="0">
                <a:pos x="connsiteX13599" y="connsiteY13599"/>
              </a:cxn>
              <a:cxn ang="0">
                <a:pos x="connsiteX13600" y="connsiteY13600"/>
              </a:cxn>
              <a:cxn ang="0">
                <a:pos x="connsiteX13601" y="connsiteY13601"/>
              </a:cxn>
              <a:cxn ang="0">
                <a:pos x="connsiteX13602" y="connsiteY13602"/>
              </a:cxn>
              <a:cxn ang="0">
                <a:pos x="connsiteX13603" y="connsiteY13603"/>
              </a:cxn>
              <a:cxn ang="0">
                <a:pos x="connsiteX13604" y="connsiteY13604"/>
              </a:cxn>
              <a:cxn ang="0">
                <a:pos x="connsiteX13605" y="connsiteY13605"/>
              </a:cxn>
              <a:cxn ang="0">
                <a:pos x="connsiteX13606" y="connsiteY13606"/>
              </a:cxn>
              <a:cxn ang="0">
                <a:pos x="connsiteX13607" y="connsiteY13607"/>
              </a:cxn>
              <a:cxn ang="0">
                <a:pos x="connsiteX13608" y="connsiteY13608"/>
              </a:cxn>
              <a:cxn ang="0">
                <a:pos x="connsiteX13609" y="connsiteY13609"/>
              </a:cxn>
              <a:cxn ang="0">
                <a:pos x="connsiteX13610" y="connsiteY13610"/>
              </a:cxn>
              <a:cxn ang="0">
                <a:pos x="connsiteX13611" y="connsiteY13611"/>
              </a:cxn>
              <a:cxn ang="0">
                <a:pos x="connsiteX13612" y="connsiteY13612"/>
              </a:cxn>
              <a:cxn ang="0">
                <a:pos x="connsiteX13613" y="connsiteY13613"/>
              </a:cxn>
              <a:cxn ang="0">
                <a:pos x="connsiteX13614" y="connsiteY13614"/>
              </a:cxn>
              <a:cxn ang="0">
                <a:pos x="connsiteX13615" y="connsiteY13615"/>
              </a:cxn>
              <a:cxn ang="0">
                <a:pos x="connsiteX13616" y="connsiteY13616"/>
              </a:cxn>
              <a:cxn ang="0">
                <a:pos x="connsiteX13617" y="connsiteY13617"/>
              </a:cxn>
              <a:cxn ang="0">
                <a:pos x="connsiteX13618" y="connsiteY13618"/>
              </a:cxn>
              <a:cxn ang="0">
                <a:pos x="connsiteX13619" y="connsiteY13619"/>
              </a:cxn>
              <a:cxn ang="0">
                <a:pos x="connsiteX13620" y="connsiteY13620"/>
              </a:cxn>
              <a:cxn ang="0">
                <a:pos x="connsiteX13621" y="connsiteY13621"/>
              </a:cxn>
              <a:cxn ang="0">
                <a:pos x="connsiteX13622" y="connsiteY13622"/>
              </a:cxn>
              <a:cxn ang="0">
                <a:pos x="connsiteX13623" y="connsiteY13623"/>
              </a:cxn>
              <a:cxn ang="0">
                <a:pos x="connsiteX13624" y="connsiteY13624"/>
              </a:cxn>
              <a:cxn ang="0">
                <a:pos x="connsiteX13625" y="connsiteY13625"/>
              </a:cxn>
              <a:cxn ang="0">
                <a:pos x="connsiteX13626" y="connsiteY13626"/>
              </a:cxn>
              <a:cxn ang="0">
                <a:pos x="connsiteX13627" y="connsiteY13627"/>
              </a:cxn>
              <a:cxn ang="0">
                <a:pos x="connsiteX13628" y="connsiteY13628"/>
              </a:cxn>
              <a:cxn ang="0">
                <a:pos x="connsiteX13629" y="connsiteY13629"/>
              </a:cxn>
              <a:cxn ang="0">
                <a:pos x="connsiteX13630" y="connsiteY13630"/>
              </a:cxn>
              <a:cxn ang="0">
                <a:pos x="connsiteX13631" y="connsiteY13631"/>
              </a:cxn>
              <a:cxn ang="0">
                <a:pos x="connsiteX13632" y="connsiteY13632"/>
              </a:cxn>
              <a:cxn ang="0">
                <a:pos x="connsiteX13633" y="connsiteY13633"/>
              </a:cxn>
              <a:cxn ang="0">
                <a:pos x="connsiteX13634" y="connsiteY13634"/>
              </a:cxn>
              <a:cxn ang="0">
                <a:pos x="connsiteX13635" y="connsiteY13635"/>
              </a:cxn>
              <a:cxn ang="0">
                <a:pos x="connsiteX13636" y="connsiteY13636"/>
              </a:cxn>
              <a:cxn ang="0">
                <a:pos x="connsiteX13637" y="connsiteY13637"/>
              </a:cxn>
              <a:cxn ang="0">
                <a:pos x="connsiteX13638" y="connsiteY13638"/>
              </a:cxn>
              <a:cxn ang="0">
                <a:pos x="connsiteX13639" y="connsiteY13639"/>
              </a:cxn>
              <a:cxn ang="0">
                <a:pos x="connsiteX13640" y="connsiteY13640"/>
              </a:cxn>
              <a:cxn ang="0">
                <a:pos x="connsiteX13641" y="connsiteY13641"/>
              </a:cxn>
              <a:cxn ang="0">
                <a:pos x="connsiteX13642" y="connsiteY13642"/>
              </a:cxn>
              <a:cxn ang="0">
                <a:pos x="connsiteX13643" y="connsiteY13643"/>
              </a:cxn>
              <a:cxn ang="0">
                <a:pos x="connsiteX13644" y="connsiteY13644"/>
              </a:cxn>
              <a:cxn ang="0">
                <a:pos x="connsiteX13645" y="connsiteY13645"/>
              </a:cxn>
              <a:cxn ang="0">
                <a:pos x="connsiteX13646" y="connsiteY13646"/>
              </a:cxn>
              <a:cxn ang="0">
                <a:pos x="connsiteX13647" y="connsiteY13647"/>
              </a:cxn>
              <a:cxn ang="0">
                <a:pos x="connsiteX13648" y="connsiteY13648"/>
              </a:cxn>
              <a:cxn ang="0">
                <a:pos x="connsiteX13649" y="connsiteY13649"/>
              </a:cxn>
              <a:cxn ang="0">
                <a:pos x="connsiteX13650" y="connsiteY13650"/>
              </a:cxn>
              <a:cxn ang="0">
                <a:pos x="connsiteX13651" y="connsiteY13651"/>
              </a:cxn>
              <a:cxn ang="0">
                <a:pos x="connsiteX13652" y="connsiteY13652"/>
              </a:cxn>
              <a:cxn ang="0">
                <a:pos x="connsiteX13653" y="connsiteY13653"/>
              </a:cxn>
              <a:cxn ang="0">
                <a:pos x="connsiteX13654" y="connsiteY13654"/>
              </a:cxn>
              <a:cxn ang="0">
                <a:pos x="connsiteX13655" y="connsiteY13655"/>
              </a:cxn>
              <a:cxn ang="0">
                <a:pos x="connsiteX13656" y="connsiteY13656"/>
              </a:cxn>
              <a:cxn ang="0">
                <a:pos x="connsiteX13657" y="connsiteY13657"/>
              </a:cxn>
              <a:cxn ang="0">
                <a:pos x="connsiteX13658" y="connsiteY13658"/>
              </a:cxn>
              <a:cxn ang="0">
                <a:pos x="connsiteX13659" y="connsiteY13659"/>
              </a:cxn>
              <a:cxn ang="0">
                <a:pos x="connsiteX13660" y="connsiteY13660"/>
              </a:cxn>
              <a:cxn ang="0">
                <a:pos x="connsiteX13661" y="connsiteY13661"/>
              </a:cxn>
              <a:cxn ang="0">
                <a:pos x="connsiteX13662" y="connsiteY13662"/>
              </a:cxn>
              <a:cxn ang="0">
                <a:pos x="connsiteX13663" y="connsiteY13663"/>
              </a:cxn>
              <a:cxn ang="0">
                <a:pos x="connsiteX13664" y="connsiteY13664"/>
              </a:cxn>
              <a:cxn ang="0">
                <a:pos x="connsiteX13665" y="connsiteY13665"/>
              </a:cxn>
              <a:cxn ang="0">
                <a:pos x="connsiteX13666" y="connsiteY13666"/>
              </a:cxn>
              <a:cxn ang="0">
                <a:pos x="connsiteX13667" y="connsiteY13667"/>
              </a:cxn>
              <a:cxn ang="0">
                <a:pos x="connsiteX13668" y="connsiteY13668"/>
              </a:cxn>
              <a:cxn ang="0">
                <a:pos x="connsiteX13669" y="connsiteY13669"/>
              </a:cxn>
              <a:cxn ang="0">
                <a:pos x="connsiteX13670" y="connsiteY13670"/>
              </a:cxn>
              <a:cxn ang="0">
                <a:pos x="connsiteX13671" y="connsiteY13671"/>
              </a:cxn>
              <a:cxn ang="0">
                <a:pos x="connsiteX13672" y="connsiteY13672"/>
              </a:cxn>
              <a:cxn ang="0">
                <a:pos x="connsiteX13673" y="connsiteY13673"/>
              </a:cxn>
              <a:cxn ang="0">
                <a:pos x="connsiteX13674" y="connsiteY13674"/>
              </a:cxn>
              <a:cxn ang="0">
                <a:pos x="connsiteX13675" y="connsiteY13675"/>
              </a:cxn>
              <a:cxn ang="0">
                <a:pos x="connsiteX13676" y="connsiteY13676"/>
              </a:cxn>
              <a:cxn ang="0">
                <a:pos x="connsiteX13677" y="connsiteY13677"/>
              </a:cxn>
              <a:cxn ang="0">
                <a:pos x="connsiteX13678" y="connsiteY13678"/>
              </a:cxn>
              <a:cxn ang="0">
                <a:pos x="connsiteX13679" y="connsiteY13679"/>
              </a:cxn>
              <a:cxn ang="0">
                <a:pos x="connsiteX13680" y="connsiteY13680"/>
              </a:cxn>
              <a:cxn ang="0">
                <a:pos x="connsiteX13681" y="connsiteY13681"/>
              </a:cxn>
              <a:cxn ang="0">
                <a:pos x="connsiteX13682" y="connsiteY13682"/>
              </a:cxn>
              <a:cxn ang="0">
                <a:pos x="connsiteX13683" y="connsiteY13683"/>
              </a:cxn>
              <a:cxn ang="0">
                <a:pos x="connsiteX13684" y="connsiteY13684"/>
              </a:cxn>
              <a:cxn ang="0">
                <a:pos x="connsiteX13685" y="connsiteY13685"/>
              </a:cxn>
              <a:cxn ang="0">
                <a:pos x="connsiteX13686" y="connsiteY13686"/>
              </a:cxn>
              <a:cxn ang="0">
                <a:pos x="connsiteX13687" y="connsiteY13687"/>
              </a:cxn>
              <a:cxn ang="0">
                <a:pos x="connsiteX13688" y="connsiteY13688"/>
              </a:cxn>
              <a:cxn ang="0">
                <a:pos x="connsiteX13689" y="connsiteY13689"/>
              </a:cxn>
              <a:cxn ang="0">
                <a:pos x="connsiteX13690" y="connsiteY13690"/>
              </a:cxn>
              <a:cxn ang="0">
                <a:pos x="connsiteX13691" y="connsiteY13691"/>
              </a:cxn>
              <a:cxn ang="0">
                <a:pos x="connsiteX13692" y="connsiteY13692"/>
              </a:cxn>
              <a:cxn ang="0">
                <a:pos x="connsiteX13693" y="connsiteY13693"/>
              </a:cxn>
              <a:cxn ang="0">
                <a:pos x="connsiteX13694" y="connsiteY13694"/>
              </a:cxn>
              <a:cxn ang="0">
                <a:pos x="connsiteX13695" y="connsiteY13695"/>
              </a:cxn>
              <a:cxn ang="0">
                <a:pos x="connsiteX13696" y="connsiteY13696"/>
              </a:cxn>
              <a:cxn ang="0">
                <a:pos x="connsiteX13697" y="connsiteY13697"/>
              </a:cxn>
              <a:cxn ang="0">
                <a:pos x="connsiteX13698" y="connsiteY13698"/>
              </a:cxn>
              <a:cxn ang="0">
                <a:pos x="connsiteX13699" y="connsiteY13699"/>
              </a:cxn>
              <a:cxn ang="0">
                <a:pos x="connsiteX13700" y="connsiteY13700"/>
              </a:cxn>
              <a:cxn ang="0">
                <a:pos x="connsiteX13701" y="connsiteY13701"/>
              </a:cxn>
              <a:cxn ang="0">
                <a:pos x="connsiteX13702" y="connsiteY13702"/>
              </a:cxn>
              <a:cxn ang="0">
                <a:pos x="connsiteX13703" y="connsiteY13703"/>
              </a:cxn>
              <a:cxn ang="0">
                <a:pos x="connsiteX13704" y="connsiteY13704"/>
              </a:cxn>
              <a:cxn ang="0">
                <a:pos x="connsiteX13705" y="connsiteY13705"/>
              </a:cxn>
              <a:cxn ang="0">
                <a:pos x="connsiteX13706" y="connsiteY13706"/>
              </a:cxn>
              <a:cxn ang="0">
                <a:pos x="connsiteX13707" y="connsiteY13707"/>
              </a:cxn>
              <a:cxn ang="0">
                <a:pos x="connsiteX13708" y="connsiteY13708"/>
              </a:cxn>
              <a:cxn ang="0">
                <a:pos x="connsiteX13709" y="connsiteY13709"/>
              </a:cxn>
              <a:cxn ang="0">
                <a:pos x="connsiteX13710" y="connsiteY13710"/>
              </a:cxn>
              <a:cxn ang="0">
                <a:pos x="connsiteX13711" y="connsiteY13711"/>
              </a:cxn>
              <a:cxn ang="0">
                <a:pos x="connsiteX13712" y="connsiteY13712"/>
              </a:cxn>
              <a:cxn ang="0">
                <a:pos x="connsiteX13713" y="connsiteY13713"/>
              </a:cxn>
              <a:cxn ang="0">
                <a:pos x="connsiteX13714" y="connsiteY13714"/>
              </a:cxn>
              <a:cxn ang="0">
                <a:pos x="connsiteX13715" y="connsiteY13715"/>
              </a:cxn>
              <a:cxn ang="0">
                <a:pos x="connsiteX13716" y="connsiteY13716"/>
              </a:cxn>
              <a:cxn ang="0">
                <a:pos x="connsiteX13717" y="connsiteY13717"/>
              </a:cxn>
              <a:cxn ang="0">
                <a:pos x="connsiteX13718" y="connsiteY13718"/>
              </a:cxn>
              <a:cxn ang="0">
                <a:pos x="connsiteX13719" y="connsiteY13719"/>
              </a:cxn>
              <a:cxn ang="0">
                <a:pos x="connsiteX13720" y="connsiteY13720"/>
              </a:cxn>
              <a:cxn ang="0">
                <a:pos x="connsiteX13721" y="connsiteY13721"/>
              </a:cxn>
              <a:cxn ang="0">
                <a:pos x="connsiteX13722" y="connsiteY13722"/>
              </a:cxn>
              <a:cxn ang="0">
                <a:pos x="connsiteX13723" y="connsiteY13723"/>
              </a:cxn>
              <a:cxn ang="0">
                <a:pos x="connsiteX13724" y="connsiteY13724"/>
              </a:cxn>
              <a:cxn ang="0">
                <a:pos x="connsiteX13725" y="connsiteY13725"/>
              </a:cxn>
              <a:cxn ang="0">
                <a:pos x="connsiteX13726" y="connsiteY13726"/>
              </a:cxn>
              <a:cxn ang="0">
                <a:pos x="connsiteX13727" y="connsiteY13727"/>
              </a:cxn>
              <a:cxn ang="0">
                <a:pos x="connsiteX13728" y="connsiteY13728"/>
              </a:cxn>
              <a:cxn ang="0">
                <a:pos x="connsiteX13729" y="connsiteY13729"/>
              </a:cxn>
              <a:cxn ang="0">
                <a:pos x="connsiteX13730" y="connsiteY13730"/>
              </a:cxn>
              <a:cxn ang="0">
                <a:pos x="connsiteX13731" y="connsiteY13731"/>
              </a:cxn>
              <a:cxn ang="0">
                <a:pos x="connsiteX13732" y="connsiteY13732"/>
              </a:cxn>
              <a:cxn ang="0">
                <a:pos x="connsiteX13733" y="connsiteY13733"/>
              </a:cxn>
              <a:cxn ang="0">
                <a:pos x="connsiteX13734" y="connsiteY13734"/>
              </a:cxn>
              <a:cxn ang="0">
                <a:pos x="connsiteX13735" y="connsiteY13735"/>
              </a:cxn>
              <a:cxn ang="0">
                <a:pos x="connsiteX13736" y="connsiteY13736"/>
              </a:cxn>
              <a:cxn ang="0">
                <a:pos x="connsiteX13737" y="connsiteY13737"/>
              </a:cxn>
              <a:cxn ang="0">
                <a:pos x="connsiteX13738" y="connsiteY13738"/>
              </a:cxn>
              <a:cxn ang="0">
                <a:pos x="connsiteX13739" y="connsiteY13739"/>
              </a:cxn>
              <a:cxn ang="0">
                <a:pos x="connsiteX13740" y="connsiteY13740"/>
              </a:cxn>
              <a:cxn ang="0">
                <a:pos x="connsiteX13741" y="connsiteY13741"/>
              </a:cxn>
              <a:cxn ang="0">
                <a:pos x="connsiteX13742" y="connsiteY13742"/>
              </a:cxn>
              <a:cxn ang="0">
                <a:pos x="connsiteX13743" y="connsiteY13743"/>
              </a:cxn>
              <a:cxn ang="0">
                <a:pos x="connsiteX13744" y="connsiteY13744"/>
              </a:cxn>
              <a:cxn ang="0">
                <a:pos x="connsiteX13745" y="connsiteY13745"/>
              </a:cxn>
              <a:cxn ang="0">
                <a:pos x="connsiteX13746" y="connsiteY13746"/>
              </a:cxn>
              <a:cxn ang="0">
                <a:pos x="connsiteX13747" y="connsiteY13747"/>
              </a:cxn>
              <a:cxn ang="0">
                <a:pos x="connsiteX13748" y="connsiteY13748"/>
              </a:cxn>
              <a:cxn ang="0">
                <a:pos x="connsiteX13749" y="connsiteY13749"/>
              </a:cxn>
              <a:cxn ang="0">
                <a:pos x="connsiteX13750" y="connsiteY13750"/>
              </a:cxn>
              <a:cxn ang="0">
                <a:pos x="connsiteX13751" y="connsiteY13751"/>
              </a:cxn>
              <a:cxn ang="0">
                <a:pos x="connsiteX13752" y="connsiteY13752"/>
              </a:cxn>
              <a:cxn ang="0">
                <a:pos x="connsiteX13753" y="connsiteY13753"/>
              </a:cxn>
              <a:cxn ang="0">
                <a:pos x="connsiteX13754" y="connsiteY13754"/>
              </a:cxn>
              <a:cxn ang="0">
                <a:pos x="connsiteX13755" y="connsiteY13755"/>
              </a:cxn>
              <a:cxn ang="0">
                <a:pos x="connsiteX13756" y="connsiteY13756"/>
              </a:cxn>
              <a:cxn ang="0">
                <a:pos x="connsiteX13757" y="connsiteY13757"/>
              </a:cxn>
              <a:cxn ang="0">
                <a:pos x="connsiteX13758" y="connsiteY13758"/>
              </a:cxn>
              <a:cxn ang="0">
                <a:pos x="connsiteX13759" y="connsiteY13759"/>
              </a:cxn>
              <a:cxn ang="0">
                <a:pos x="connsiteX13760" y="connsiteY13760"/>
              </a:cxn>
              <a:cxn ang="0">
                <a:pos x="connsiteX13761" y="connsiteY13761"/>
              </a:cxn>
              <a:cxn ang="0">
                <a:pos x="connsiteX13762" y="connsiteY13762"/>
              </a:cxn>
              <a:cxn ang="0">
                <a:pos x="connsiteX13763" y="connsiteY13763"/>
              </a:cxn>
              <a:cxn ang="0">
                <a:pos x="connsiteX13764" y="connsiteY13764"/>
              </a:cxn>
              <a:cxn ang="0">
                <a:pos x="connsiteX13765" y="connsiteY13765"/>
              </a:cxn>
              <a:cxn ang="0">
                <a:pos x="connsiteX13766" y="connsiteY13766"/>
              </a:cxn>
              <a:cxn ang="0">
                <a:pos x="connsiteX13767" y="connsiteY13767"/>
              </a:cxn>
              <a:cxn ang="0">
                <a:pos x="connsiteX13768" y="connsiteY13768"/>
              </a:cxn>
              <a:cxn ang="0">
                <a:pos x="connsiteX13769" y="connsiteY13769"/>
              </a:cxn>
              <a:cxn ang="0">
                <a:pos x="connsiteX13770" y="connsiteY13770"/>
              </a:cxn>
              <a:cxn ang="0">
                <a:pos x="connsiteX13771" y="connsiteY13771"/>
              </a:cxn>
              <a:cxn ang="0">
                <a:pos x="connsiteX13772" y="connsiteY13772"/>
              </a:cxn>
              <a:cxn ang="0">
                <a:pos x="connsiteX13773" y="connsiteY13773"/>
              </a:cxn>
              <a:cxn ang="0">
                <a:pos x="connsiteX13774" y="connsiteY13774"/>
              </a:cxn>
              <a:cxn ang="0">
                <a:pos x="connsiteX13775" y="connsiteY13775"/>
              </a:cxn>
              <a:cxn ang="0">
                <a:pos x="connsiteX13776" y="connsiteY13776"/>
              </a:cxn>
              <a:cxn ang="0">
                <a:pos x="connsiteX13777" y="connsiteY13777"/>
              </a:cxn>
              <a:cxn ang="0">
                <a:pos x="connsiteX13778" y="connsiteY13778"/>
              </a:cxn>
              <a:cxn ang="0">
                <a:pos x="connsiteX13779" y="connsiteY13779"/>
              </a:cxn>
              <a:cxn ang="0">
                <a:pos x="connsiteX13780" y="connsiteY13780"/>
              </a:cxn>
              <a:cxn ang="0">
                <a:pos x="connsiteX13781" y="connsiteY13781"/>
              </a:cxn>
              <a:cxn ang="0">
                <a:pos x="connsiteX13782" y="connsiteY13782"/>
              </a:cxn>
              <a:cxn ang="0">
                <a:pos x="connsiteX13783" y="connsiteY13783"/>
              </a:cxn>
              <a:cxn ang="0">
                <a:pos x="connsiteX13784" y="connsiteY13784"/>
              </a:cxn>
              <a:cxn ang="0">
                <a:pos x="connsiteX13785" y="connsiteY13785"/>
              </a:cxn>
              <a:cxn ang="0">
                <a:pos x="connsiteX13786" y="connsiteY13786"/>
              </a:cxn>
              <a:cxn ang="0">
                <a:pos x="connsiteX13787" y="connsiteY13787"/>
              </a:cxn>
              <a:cxn ang="0">
                <a:pos x="connsiteX13788" y="connsiteY13788"/>
              </a:cxn>
              <a:cxn ang="0">
                <a:pos x="connsiteX13789" y="connsiteY13789"/>
              </a:cxn>
              <a:cxn ang="0">
                <a:pos x="connsiteX13790" y="connsiteY13790"/>
              </a:cxn>
              <a:cxn ang="0">
                <a:pos x="connsiteX13791" y="connsiteY13791"/>
              </a:cxn>
              <a:cxn ang="0">
                <a:pos x="connsiteX13792" y="connsiteY13792"/>
              </a:cxn>
              <a:cxn ang="0">
                <a:pos x="connsiteX13793" y="connsiteY13793"/>
              </a:cxn>
              <a:cxn ang="0">
                <a:pos x="connsiteX13794" y="connsiteY13794"/>
              </a:cxn>
              <a:cxn ang="0">
                <a:pos x="connsiteX13795" y="connsiteY13795"/>
              </a:cxn>
              <a:cxn ang="0">
                <a:pos x="connsiteX13796" y="connsiteY13796"/>
              </a:cxn>
              <a:cxn ang="0">
                <a:pos x="connsiteX13797" y="connsiteY13797"/>
              </a:cxn>
              <a:cxn ang="0">
                <a:pos x="connsiteX13798" y="connsiteY13798"/>
              </a:cxn>
              <a:cxn ang="0">
                <a:pos x="connsiteX13799" y="connsiteY13799"/>
              </a:cxn>
              <a:cxn ang="0">
                <a:pos x="connsiteX13800" y="connsiteY13800"/>
              </a:cxn>
              <a:cxn ang="0">
                <a:pos x="connsiteX13801" y="connsiteY13801"/>
              </a:cxn>
              <a:cxn ang="0">
                <a:pos x="connsiteX13802" y="connsiteY13802"/>
              </a:cxn>
              <a:cxn ang="0">
                <a:pos x="connsiteX13803" y="connsiteY13803"/>
              </a:cxn>
              <a:cxn ang="0">
                <a:pos x="connsiteX13804" y="connsiteY13804"/>
              </a:cxn>
              <a:cxn ang="0">
                <a:pos x="connsiteX13805" y="connsiteY13805"/>
              </a:cxn>
              <a:cxn ang="0">
                <a:pos x="connsiteX13806" y="connsiteY13806"/>
              </a:cxn>
              <a:cxn ang="0">
                <a:pos x="connsiteX13807" y="connsiteY13807"/>
              </a:cxn>
              <a:cxn ang="0">
                <a:pos x="connsiteX13808" y="connsiteY13808"/>
              </a:cxn>
              <a:cxn ang="0">
                <a:pos x="connsiteX13809" y="connsiteY13809"/>
              </a:cxn>
              <a:cxn ang="0">
                <a:pos x="connsiteX13810" y="connsiteY13810"/>
              </a:cxn>
              <a:cxn ang="0">
                <a:pos x="connsiteX13811" y="connsiteY13811"/>
              </a:cxn>
              <a:cxn ang="0">
                <a:pos x="connsiteX13812" y="connsiteY13812"/>
              </a:cxn>
              <a:cxn ang="0">
                <a:pos x="connsiteX13813" y="connsiteY13813"/>
              </a:cxn>
              <a:cxn ang="0">
                <a:pos x="connsiteX13814" y="connsiteY13814"/>
              </a:cxn>
              <a:cxn ang="0">
                <a:pos x="connsiteX13815" y="connsiteY13815"/>
              </a:cxn>
              <a:cxn ang="0">
                <a:pos x="connsiteX13816" y="connsiteY13816"/>
              </a:cxn>
              <a:cxn ang="0">
                <a:pos x="connsiteX13817" y="connsiteY13817"/>
              </a:cxn>
              <a:cxn ang="0">
                <a:pos x="connsiteX13818" y="connsiteY13818"/>
              </a:cxn>
              <a:cxn ang="0">
                <a:pos x="connsiteX13819" y="connsiteY13819"/>
              </a:cxn>
              <a:cxn ang="0">
                <a:pos x="connsiteX13820" y="connsiteY13820"/>
              </a:cxn>
              <a:cxn ang="0">
                <a:pos x="connsiteX13821" y="connsiteY13821"/>
              </a:cxn>
              <a:cxn ang="0">
                <a:pos x="connsiteX13822" y="connsiteY13822"/>
              </a:cxn>
              <a:cxn ang="0">
                <a:pos x="connsiteX13823" y="connsiteY13823"/>
              </a:cxn>
              <a:cxn ang="0">
                <a:pos x="connsiteX13824" y="connsiteY13824"/>
              </a:cxn>
              <a:cxn ang="0">
                <a:pos x="connsiteX13825" y="connsiteY13825"/>
              </a:cxn>
              <a:cxn ang="0">
                <a:pos x="connsiteX13826" y="connsiteY13826"/>
              </a:cxn>
              <a:cxn ang="0">
                <a:pos x="connsiteX13827" y="connsiteY13827"/>
              </a:cxn>
              <a:cxn ang="0">
                <a:pos x="connsiteX13828" y="connsiteY13828"/>
              </a:cxn>
              <a:cxn ang="0">
                <a:pos x="connsiteX13829" y="connsiteY13829"/>
              </a:cxn>
              <a:cxn ang="0">
                <a:pos x="connsiteX13830" y="connsiteY13830"/>
              </a:cxn>
              <a:cxn ang="0">
                <a:pos x="connsiteX13831" y="connsiteY13831"/>
              </a:cxn>
              <a:cxn ang="0">
                <a:pos x="connsiteX13832" y="connsiteY13832"/>
              </a:cxn>
              <a:cxn ang="0">
                <a:pos x="connsiteX13833" y="connsiteY13833"/>
              </a:cxn>
              <a:cxn ang="0">
                <a:pos x="connsiteX13834" y="connsiteY13834"/>
              </a:cxn>
              <a:cxn ang="0">
                <a:pos x="connsiteX13835" y="connsiteY13835"/>
              </a:cxn>
              <a:cxn ang="0">
                <a:pos x="connsiteX13836" y="connsiteY13836"/>
              </a:cxn>
              <a:cxn ang="0">
                <a:pos x="connsiteX13837" y="connsiteY13837"/>
              </a:cxn>
              <a:cxn ang="0">
                <a:pos x="connsiteX13838" y="connsiteY13838"/>
              </a:cxn>
              <a:cxn ang="0">
                <a:pos x="connsiteX13839" y="connsiteY13839"/>
              </a:cxn>
              <a:cxn ang="0">
                <a:pos x="connsiteX13840" y="connsiteY13840"/>
              </a:cxn>
              <a:cxn ang="0">
                <a:pos x="connsiteX13841" y="connsiteY13841"/>
              </a:cxn>
              <a:cxn ang="0">
                <a:pos x="connsiteX13842" y="connsiteY13842"/>
              </a:cxn>
              <a:cxn ang="0">
                <a:pos x="connsiteX13843" y="connsiteY13843"/>
              </a:cxn>
              <a:cxn ang="0">
                <a:pos x="connsiteX13844" y="connsiteY13844"/>
              </a:cxn>
              <a:cxn ang="0">
                <a:pos x="connsiteX13845" y="connsiteY13845"/>
              </a:cxn>
              <a:cxn ang="0">
                <a:pos x="connsiteX13846" y="connsiteY13846"/>
              </a:cxn>
              <a:cxn ang="0">
                <a:pos x="connsiteX13847" y="connsiteY13847"/>
              </a:cxn>
              <a:cxn ang="0">
                <a:pos x="connsiteX13848" y="connsiteY13848"/>
              </a:cxn>
              <a:cxn ang="0">
                <a:pos x="connsiteX13849" y="connsiteY13849"/>
              </a:cxn>
              <a:cxn ang="0">
                <a:pos x="connsiteX13850" y="connsiteY13850"/>
              </a:cxn>
              <a:cxn ang="0">
                <a:pos x="connsiteX13851" y="connsiteY13851"/>
              </a:cxn>
              <a:cxn ang="0">
                <a:pos x="connsiteX13852" y="connsiteY13852"/>
              </a:cxn>
              <a:cxn ang="0">
                <a:pos x="connsiteX13853" y="connsiteY13853"/>
              </a:cxn>
              <a:cxn ang="0">
                <a:pos x="connsiteX13854" y="connsiteY13854"/>
              </a:cxn>
              <a:cxn ang="0">
                <a:pos x="connsiteX13855" y="connsiteY13855"/>
              </a:cxn>
              <a:cxn ang="0">
                <a:pos x="connsiteX13856" y="connsiteY13856"/>
              </a:cxn>
              <a:cxn ang="0">
                <a:pos x="connsiteX13857" y="connsiteY13857"/>
              </a:cxn>
              <a:cxn ang="0">
                <a:pos x="connsiteX13858" y="connsiteY13858"/>
              </a:cxn>
              <a:cxn ang="0">
                <a:pos x="connsiteX13859" y="connsiteY13859"/>
              </a:cxn>
              <a:cxn ang="0">
                <a:pos x="connsiteX13860" y="connsiteY13860"/>
              </a:cxn>
              <a:cxn ang="0">
                <a:pos x="connsiteX13861" y="connsiteY13861"/>
              </a:cxn>
              <a:cxn ang="0">
                <a:pos x="connsiteX13862" y="connsiteY13862"/>
              </a:cxn>
              <a:cxn ang="0">
                <a:pos x="connsiteX13863" y="connsiteY13863"/>
              </a:cxn>
              <a:cxn ang="0">
                <a:pos x="connsiteX13864" y="connsiteY13864"/>
              </a:cxn>
              <a:cxn ang="0">
                <a:pos x="connsiteX13865" y="connsiteY13865"/>
              </a:cxn>
              <a:cxn ang="0">
                <a:pos x="connsiteX13866" y="connsiteY13866"/>
              </a:cxn>
              <a:cxn ang="0">
                <a:pos x="connsiteX13867" y="connsiteY13867"/>
              </a:cxn>
              <a:cxn ang="0">
                <a:pos x="connsiteX13868" y="connsiteY13868"/>
              </a:cxn>
              <a:cxn ang="0">
                <a:pos x="connsiteX13869" y="connsiteY13869"/>
              </a:cxn>
              <a:cxn ang="0">
                <a:pos x="connsiteX13870" y="connsiteY13870"/>
              </a:cxn>
              <a:cxn ang="0">
                <a:pos x="connsiteX13871" y="connsiteY13871"/>
              </a:cxn>
              <a:cxn ang="0">
                <a:pos x="connsiteX13872" y="connsiteY13872"/>
              </a:cxn>
              <a:cxn ang="0">
                <a:pos x="connsiteX13873" y="connsiteY13873"/>
              </a:cxn>
              <a:cxn ang="0">
                <a:pos x="connsiteX13874" y="connsiteY13874"/>
              </a:cxn>
              <a:cxn ang="0">
                <a:pos x="connsiteX13875" y="connsiteY13875"/>
              </a:cxn>
              <a:cxn ang="0">
                <a:pos x="connsiteX13876" y="connsiteY13876"/>
              </a:cxn>
              <a:cxn ang="0">
                <a:pos x="connsiteX13877" y="connsiteY13877"/>
              </a:cxn>
              <a:cxn ang="0">
                <a:pos x="connsiteX13878" y="connsiteY13878"/>
              </a:cxn>
              <a:cxn ang="0">
                <a:pos x="connsiteX13879" y="connsiteY13879"/>
              </a:cxn>
              <a:cxn ang="0">
                <a:pos x="connsiteX13880" y="connsiteY13880"/>
              </a:cxn>
              <a:cxn ang="0">
                <a:pos x="connsiteX13881" y="connsiteY13881"/>
              </a:cxn>
              <a:cxn ang="0">
                <a:pos x="connsiteX13882" y="connsiteY13882"/>
              </a:cxn>
              <a:cxn ang="0">
                <a:pos x="connsiteX13883" y="connsiteY13883"/>
              </a:cxn>
              <a:cxn ang="0">
                <a:pos x="connsiteX13884" y="connsiteY13884"/>
              </a:cxn>
              <a:cxn ang="0">
                <a:pos x="connsiteX13885" y="connsiteY13885"/>
              </a:cxn>
              <a:cxn ang="0">
                <a:pos x="connsiteX13886" y="connsiteY13886"/>
              </a:cxn>
              <a:cxn ang="0">
                <a:pos x="connsiteX13887" y="connsiteY13887"/>
              </a:cxn>
              <a:cxn ang="0">
                <a:pos x="connsiteX13888" y="connsiteY13888"/>
              </a:cxn>
              <a:cxn ang="0">
                <a:pos x="connsiteX13889" y="connsiteY13889"/>
              </a:cxn>
              <a:cxn ang="0">
                <a:pos x="connsiteX13890" y="connsiteY13890"/>
              </a:cxn>
              <a:cxn ang="0">
                <a:pos x="connsiteX13891" y="connsiteY13891"/>
              </a:cxn>
              <a:cxn ang="0">
                <a:pos x="connsiteX13892" y="connsiteY13892"/>
              </a:cxn>
              <a:cxn ang="0">
                <a:pos x="connsiteX13893" y="connsiteY13893"/>
              </a:cxn>
              <a:cxn ang="0">
                <a:pos x="connsiteX13894" y="connsiteY13894"/>
              </a:cxn>
              <a:cxn ang="0">
                <a:pos x="connsiteX13895" y="connsiteY13895"/>
              </a:cxn>
              <a:cxn ang="0">
                <a:pos x="connsiteX13896" y="connsiteY13896"/>
              </a:cxn>
              <a:cxn ang="0">
                <a:pos x="connsiteX13897" y="connsiteY13897"/>
              </a:cxn>
              <a:cxn ang="0">
                <a:pos x="connsiteX13898" y="connsiteY13898"/>
              </a:cxn>
              <a:cxn ang="0">
                <a:pos x="connsiteX13899" y="connsiteY13899"/>
              </a:cxn>
              <a:cxn ang="0">
                <a:pos x="connsiteX13900" y="connsiteY13900"/>
              </a:cxn>
              <a:cxn ang="0">
                <a:pos x="connsiteX13901" y="connsiteY13901"/>
              </a:cxn>
              <a:cxn ang="0">
                <a:pos x="connsiteX13902" y="connsiteY13902"/>
              </a:cxn>
              <a:cxn ang="0">
                <a:pos x="connsiteX13903" y="connsiteY13903"/>
              </a:cxn>
              <a:cxn ang="0">
                <a:pos x="connsiteX13904" y="connsiteY13904"/>
              </a:cxn>
              <a:cxn ang="0">
                <a:pos x="connsiteX13905" y="connsiteY13905"/>
              </a:cxn>
              <a:cxn ang="0">
                <a:pos x="connsiteX13906" y="connsiteY13906"/>
              </a:cxn>
              <a:cxn ang="0">
                <a:pos x="connsiteX13907" y="connsiteY13907"/>
              </a:cxn>
              <a:cxn ang="0">
                <a:pos x="connsiteX13908" y="connsiteY13908"/>
              </a:cxn>
              <a:cxn ang="0">
                <a:pos x="connsiteX13909" y="connsiteY13909"/>
              </a:cxn>
              <a:cxn ang="0">
                <a:pos x="connsiteX13910" y="connsiteY13910"/>
              </a:cxn>
              <a:cxn ang="0">
                <a:pos x="connsiteX13911" y="connsiteY13911"/>
              </a:cxn>
              <a:cxn ang="0">
                <a:pos x="connsiteX13912" y="connsiteY13912"/>
              </a:cxn>
              <a:cxn ang="0">
                <a:pos x="connsiteX13913" y="connsiteY13913"/>
              </a:cxn>
              <a:cxn ang="0">
                <a:pos x="connsiteX13914" y="connsiteY13914"/>
              </a:cxn>
              <a:cxn ang="0">
                <a:pos x="connsiteX13915" y="connsiteY13915"/>
              </a:cxn>
              <a:cxn ang="0">
                <a:pos x="connsiteX13916" y="connsiteY13916"/>
              </a:cxn>
              <a:cxn ang="0">
                <a:pos x="connsiteX13917" y="connsiteY13917"/>
              </a:cxn>
              <a:cxn ang="0">
                <a:pos x="connsiteX13918" y="connsiteY13918"/>
              </a:cxn>
              <a:cxn ang="0">
                <a:pos x="connsiteX13919" y="connsiteY13919"/>
              </a:cxn>
              <a:cxn ang="0">
                <a:pos x="connsiteX13920" y="connsiteY13920"/>
              </a:cxn>
              <a:cxn ang="0">
                <a:pos x="connsiteX13921" y="connsiteY13921"/>
              </a:cxn>
              <a:cxn ang="0">
                <a:pos x="connsiteX13922" y="connsiteY13922"/>
              </a:cxn>
              <a:cxn ang="0">
                <a:pos x="connsiteX13923" y="connsiteY13923"/>
              </a:cxn>
              <a:cxn ang="0">
                <a:pos x="connsiteX13924" y="connsiteY13924"/>
              </a:cxn>
              <a:cxn ang="0">
                <a:pos x="connsiteX13925" y="connsiteY13925"/>
              </a:cxn>
              <a:cxn ang="0">
                <a:pos x="connsiteX13926" y="connsiteY13926"/>
              </a:cxn>
              <a:cxn ang="0">
                <a:pos x="connsiteX13927" y="connsiteY13927"/>
              </a:cxn>
              <a:cxn ang="0">
                <a:pos x="connsiteX13928" y="connsiteY13928"/>
              </a:cxn>
              <a:cxn ang="0">
                <a:pos x="connsiteX13929" y="connsiteY13929"/>
              </a:cxn>
              <a:cxn ang="0">
                <a:pos x="connsiteX13930" y="connsiteY13930"/>
              </a:cxn>
              <a:cxn ang="0">
                <a:pos x="connsiteX13931" y="connsiteY13931"/>
              </a:cxn>
              <a:cxn ang="0">
                <a:pos x="connsiteX13932" y="connsiteY13932"/>
              </a:cxn>
              <a:cxn ang="0">
                <a:pos x="connsiteX13933" y="connsiteY13933"/>
              </a:cxn>
              <a:cxn ang="0">
                <a:pos x="connsiteX13934" y="connsiteY13934"/>
              </a:cxn>
              <a:cxn ang="0">
                <a:pos x="connsiteX13935" y="connsiteY13935"/>
              </a:cxn>
              <a:cxn ang="0">
                <a:pos x="connsiteX13936" y="connsiteY13936"/>
              </a:cxn>
              <a:cxn ang="0">
                <a:pos x="connsiteX13937" y="connsiteY13937"/>
              </a:cxn>
              <a:cxn ang="0">
                <a:pos x="connsiteX13938" y="connsiteY13938"/>
              </a:cxn>
              <a:cxn ang="0">
                <a:pos x="connsiteX13939" y="connsiteY13939"/>
              </a:cxn>
              <a:cxn ang="0">
                <a:pos x="connsiteX13940" y="connsiteY13940"/>
              </a:cxn>
              <a:cxn ang="0">
                <a:pos x="connsiteX13941" y="connsiteY13941"/>
              </a:cxn>
              <a:cxn ang="0">
                <a:pos x="connsiteX13942" y="connsiteY13942"/>
              </a:cxn>
              <a:cxn ang="0">
                <a:pos x="connsiteX13943" y="connsiteY13943"/>
              </a:cxn>
              <a:cxn ang="0">
                <a:pos x="connsiteX13944" y="connsiteY13944"/>
              </a:cxn>
              <a:cxn ang="0">
                <a:pos x="connsiteX13945" y="connsiteY13945"/>
              </a:cxn>
              <a:cxn ang="0">
                <a:pos x="connsiteX13946" y="connsiteY13946"/>
              </a:cxn>
              <a:cxn ang="0">
                <a:pos x="connsiteX13947" y="connsiteY13947"/>
              </a:cxn>
              <a:cxn ang="0">
                <a:pos x="connsiteX13948" y="connsiteY13948"/>
              </a:cxn>
              <a:cxn ang="0">
                <a:pos x="connsiteX13949" y="connsiteY13949"/>
              </a:cxn>
              <a:cxn ang="0">
                <a:pos x="connsiteX13950" y="connsiteY13950"/>
              </a:cxn>
              <a:cxn ang="0">
                <a:pos x="connsiteX13951" y="connsiteY13951"/>
              </a:cxn>
              <a:cxn ang="0">
                <a:pos x="connsiteX13952" y="connsiteY13952"/>
              </a:cxn>
              <a:cxn ang="0">
                <a:pos x="connsiteX13953" y="connsiteY13953"/>
              </a:cxn>
              <a:cxn ang="0">
                <a:pos x="connsiteX13954" y="connsiteY13954"/>
              </a:cxn>
              <a:cxn ang="0">
                <a:pos x="connsiteX13955" y="connsiteY13955"/>
              </a:cxn>
              <a:cxn ang="0">
                <a:pos x="connsiteX13956" y="connsiteY13956"/>
              </a:cxn>
              <a:cxn ang="0">
                <a:pos x="connsiteX13957" y="connsiteY13957"/>
              </a:cxn>
              <a:cxn ang="0">
                <a:pos x="connsiteX13958" y="connsiteY13958"/>
              </a:cxn>
              <a:cxn ang="0">
                <a:pos x="connsiteX13959" y="connsiteY13959"/>
              </a:cxn>
              <a:cxn ang="0">
                <a:pos x="connsiteX13960" y="connsiteY13960"/>
              </a:cxn>
              <a:cxn ang="0">
                <a:pos x="connsiteX13961" y="connsiteY13961"/>
              </a:cxn>
              <a:cxn ang="0">
                <a:pos x="connsiteX13962" y="connsiteY13962"/>
              </a:cxn>
              <a:cxn ang="0">
                <a:pos x="connsiteX13963" y="connsiteY13963"/>
              </a:cxn>
              <a:cxn ang="0">
                <a:pos x="connsiteX13964" y="connsiteY13964"/>
              </a:cxn>
              <a:cxn ang="0">
                <a:pos x="connsiteX13965" y="connsiteY13965"/>
              </a:cxn>
              <a:cxn ang="0">
                <a:pos x="connsiteX13966" y="connsiteY13966"/>
              </a:cxn>
              <a:cxn ang="0">
                <a:pos x="connsiteX13967" y="connsiteY13967"/>
              </a:cxn>
              <a:cxn ang="0">
                <a:pos x="connsiteX13968" y="connsiteY13968"/>
              </a:cxn>
              <a:cxn ang="0">
                <a:pos x="connsiteX13969" y="connsiteY13969"/>
              </a:cxn>
              <a:cxn ang="0">
                <a:pos x="connsiteX13970" y="connsiteY13970"/>
              </a:cxn>
              <a:cxn ang="0">
                <a:pos x="connsiteX13971" y="connsiteY13971"/>
              </a:cxn>
              <a:cxn ang="0">
                <a:pos x="connsiteX13972" y="connsiteY13972"/>
              </a:cxn>
              <a:cxn ang="0">
                <a:pos x="connsiteX13973" y="connsiteY13973"/>
              </a:cxn>
              <a:cxn ang="0">
                <a:pos x="connsiteX13974" y="connsiteY13974"/>
              </a:cxn>
              <a:cxn ang="0">
                <a:pos x="connsiteX13975" y="connsiteY13975"/>
              </a:cxn>
              <a:cxn ang="0">
                <a:pos x="connsiteX13976" y="connsiteY13976"/>
              </a:cxn>
              <a:cxn ang="0">
                <a:pos x="connsiteX13977" y="connsiteY13977"/>
              </a:cxn>
              <a:cxn ang="0">
                <a:pos x="connsiteX13978" y="connsiteY13978"/>
              </a:cxn>
              <a:cxn ang="0">
                <a:pos x="connsiteX13979" y="connsiteY13979"/>
              </a:cxn>
              <a:cxn ang="0">
                <a:pos x="connsiteX13980" y="connsiteY13980"/>
              </a:cxn>
              <a:cxn ang="0">
                <a:pos x="connsiteX13981" y="connsiteY13981"/>
              </a:cxn>
              <a:cxn ang="0">
                <a:pos x="connsiteX13982" y="connsiteY13982"/>
              </a:cxn>
              <a:cxn ang="0">
                <a:pos x="connsiteX13983" y="connsiteY13983"/>
              </a:cxn>
              <a:cxn ang="0">
                <a:pos x="connsiteX13984" y="connsiteY13984"/>
              </a:cxn>
              <a:cxn ang="0">
                <a:pos x="connsiteX13985" y="connsiteY13985"/>
              </a:cxn>
              <a:cxn ang="0">
                <a:pos x="connsiteX13986" y="connsiteY13986"/>
              </a:cxn>
              <a:cxn ang="0">
                <a:pos x="connsiteX13987" y="connsiteY13987"/>
              </a:cxn>
              <a:cxn ang="0">
                <a:pos x="connsiteX13988" y="connsiteY13988"/>
              </a:cxn>
              <a:cxn ang="0">
                <a:pos x="connsiteX13989" y="connsiteY13989"/>
              </a:cxn>
              <a:cxn ang="0">
                <a:pos x="connsiteX13990" y="connsiteY13990"/>
              </a:cxn>
              <a:cxn ang="0">
                <a:pos x="connsiteX13991" y="connsiteY13991"/>
              </a:cxn>
              <a:cxn ang="0">
                <a:pos x="connsiteX13992" y="connsiteY13992"/>
              </a:cxn>
              <a:cxn ang="0">
                <a:pos x="connsiteX13993" y="connsiteY13993"/>
              </a:cxn>
              <a:cxn ang="0">
                <a:pos x="connsiteX13994" y="connsiteY13994"/>
              </a:cxn>
              <a:cxn ang="0">
                <a:pos x="connsiteX13995" y="connsiteY13995"/>
              </a:cxn>
              <a:cxn ang="0">
                <a:pos x="connsiteX13996" y="connsiteY13996"/>
              </a:cxn>
              <a:cxn ang="0">
                <a:pos x="connsiteX13997" y="connsiteY13997"/>
              </a:cxn>
              <a:cxn ang="0">
                <a:pos x="connsiteX13998" y="connsiteY13998"/>
              </a:cxn>
              <a:cxn ang="0">
                <a:pos x="connsiteX13999" y="connsiteY13999"/>
              </a:cxn>
              <a:cxn ang="0">
                <a:pos x="connsiteX14000" y="connsiteY14000"/>
              </a:cxn>
              <a:cxn ang="0">
                <a:pos x="connsiteX14001" y="connsiteY14001"/>
              </a:cxn>
              <a:cxn ang="0">
                <a:pos x="connsiteX14002" y="connsiteY14002"/>
              </a:cxn>
              <a:cxn ang="0">
                <a:pos x="connsiteX14003" y="connsiteY14003"/>
              </a:cxn>
              <a:cxn ang="0">
                <a:pos x="connsiteX14004" y="connsiteY14004"/>
              </a:cxn>
              <a:cxn ang="0">
                <a:pos x="connsiteX14005" y="connsiteY14005"/>
              </a:cxn>
              <a:cxn ang="0">
                <a:pos x="connsiteX14006" y="connsiteY14006"/>
              </a:cxn>
              <a:cxn ang="0">
                <a:pos x="connsiteX14007" y="connsiteY14007"/>
              </a:cxn>
              <a:cxn ang="0">
                <a:pos x="connsiteX14008" y="connsiteY14008"/>
              </a:cxn>
              <a:cxn ang="0">
                <a:pos x="connsiteX14009" y="connsiteY14009"/>
              </a:cxn>
              <a:cxn ang="0">
                <a:pos x="connsiteX14010" y="connsiteY14010"/>
              </a:cxn>
              <a:cxn ang="0">
                <a:pos x="connsiteX14011" y="connsiteY14011"/>
              </a:cxn>
              <a:cxn ang="0">
                <a:pos x="connsiteX14012" y="connsiteY14012"/>
              </a:cxn>
              <a:cxn ang="0">
                <a:pos x="connsiteX14013" y="connsiteY14013"/>
              </a:cxn>
              <a:cxn ang="0">
                <a:pos x="connsiteX14014" y="connsiteY14014"/>
              </a:cxn>
              <a:cxn ang="0">
                <a:pos x="connsiteX14015" y="connsiteY14015"/>
              </a:cxn>
              <a:cxn ang="0">
                <a:pos x="connsiteX14016" y="connsiteY14016"/>
              </a:cxn>
              <a:cxn ang="0">
                <a:pos x="connsiteX14017" y="connsiteY14017"/>
              </a:cxn>
              <a:cxn ang="0">
                <a:pos x="connsiteX14018" y="connsiteY14018"/>
              </a:cxn>
              <a:cxn ang="0">
                <a:pos x="connsiteX14019" y="connsiteY14019"/>
              </a:cxn>
              <a:cxn ang="0">
                <a:pos x="connsiteX14020" y="connsiteY14020"/>
              </a:cxn>
              <a:cxn ang="0">
                <a:pos x="connsiteX14021" y="connsiteY14021"/>
              </a:cxn>
              <a:cxn ang="0">
                <a:pos x="connsiteX14022" y="connsiteY14022"/>
              </a:cxn>
              <a:cxn ang="0">
                <a:pos x="connsiteX14023" y="connsiteY14023"/>
              </a:cxn>
              <a:cxn ang="0">
                <a:pos x="connsiteX14024" y="connsiteY14024"/>
              </a:cxn>
              <a:cxn ang="0">
                <a:pos x="connsiteX14025" y="connsiteY14025"/>
              </a:cxn>
              <a:cxn ang="0">
                <a:pos x="connsiteX14026" y="connsiteY14026"/>
              </a:cxn>
              <a:cxn ang="0">
                <a:pos x="connsiteX14027" y="connsiteY14027"/>
              </a:cxn>
              <a:cxn ang="0">
                <a:pos x="connsiteX14028" y="connsiteY14028"/>
              </a:cxn>
              <a:cxn ang="0">
                <a:pos x="connsiteX14029" y="connsiteY14029"/>
              </a:cxn>
              <a:cxn ang="0">
                <a:pos x="connsiteX14030" y="connsiteY14030"/>
              </a:cxn>
              <a:cxn ang="0">
                <a:pos x="connsiteX14031" y="connsiteY14031"/>
              </a:cxn>
              <a:cxn ang="0">
                <a:pos x="connsiteX14032" y="connsiteY14032"/>
              </a:cxn>
              <a:cxn ang="0">
                <a:pos x="connsiteX14033" y="connsiteY14033"/>
              </a:cxn>
              <a:cxn ang="0">
                <a:pos x="connsiteX14034" y="connsiteY14034"/>
              </a:cxn>
              <a:cxn ang="0">
                <a:pos x="connsiteX14035" y="connsiteY14035"/>
              </a:cxn>
              <a:cxn ang="0">
                <a:pos x="connsiteX14036" y="connsiteY14036"/>
              </a:cxn>
              <a:cxn ang="0">
                <a:pos x="connsiteX14037" y="connsiteY14037"/>
              </a:cxn>
              <a:cxn ang="0">
                <a:pos x="connsiteX14038" y="connsiteY14038"/>
              </a:cxn>
              <a:cxn ang="0">
                <a:pos x="connsiteX14039" y="connsiteY14039"/>
              </a:cxn>
              <a:cxn ang="0">
                <a:pos x="connsiteX14040" y="connsiteY14040"/>
              </a:cxn>
              <a:cxn ang="0">
                <a:pos x="connsiteX14041" y="connsiteY14041"/>
              </a:cxn>
              <a:cxn ang="0">
                <a:pos x="connsiteX14042" y="connsiteY14042"/>
              </a:cxn>
              <a:cxn ang="0">
                <a:pos x="connsiteX14043" y="connsiteY14043"/>
              </a:cxn>
              <a:cxn ang="0">
                <a:pos x="connsiteX14044" y="connsiteY14044"/>
              </a:cxn>
              <a:cxn ang="0">
                <a:pos x="connsiteX14045" y="connsiteY14045"/>
              </a:cxn>
              <a:cxn ang="0">
                <a:pos x="connsiteX14046" y="connsiteY14046"/>
              </a:cxn>
              <a:cxn ang="0">
                <a:pos x="connsiteX14047" y="connsiteY14047"/>
              </a:cxn>
              <a:cxn ang="0">
                <a:pos x="connsiteX14048" y="connsiteY14048"/>
              </a:cxn>
              <a:cxn ang="0">
                <a:pos x="connsiteX14049" y="connsiteY14049"/>
              </a:cxn>
              <a:cxn ang="0">
                <a:pos x="connsiteX14050" y="connsiteY14050"/>
              </a:cxn>
              <a:cxn ang="0">
                <a:pos x="connsiteX14051" y="connsiteY14051"/>
              </a:cxn>
              <a:cxn ang="0">
                <a:pos x="connsiteX14052" y="connsiteY14052"/>
              </a:cxn>
              <a:cxn ang="0">
                <a:pos x="connsiteX14053" y="connsiteY14053"/>
              </a:cxn>
              <a:cxn ang="0">
                <a:pos x="connsiteX14054" y="connsiteY14054"/>
              </a:cxn>
              <a:cxn ang="0">
                <a:pos x="connsiteX14055" y="connsiteY14055"/>
              </a:cxn>
              <a:cxn ang="0">
                <a:pos x="connsiteX14056" y="connsiteY14056"/>
              </a:cxn>
              <a:cxn ang="0">
                <a:pos x="connsiteX14057" y="connsiteY14057"/>
              </a:cxn>
              <a:cxn ang="0">
                <a:pos x="connsiteX14058" y="connsiteY14058"/>
              </a:cxn>
              <a:cxn ang="0">
                <a:pos x="connsiteX14059" y="connsiteY14059"/>
              </a:cxn>
              <a:cxn ang="0">
                <a:pos x="connsiteX14060" y="connsiteY14060"/>
              </a:cxn>
              <a:cxn ang="0">
                <a:pos x="connsiteX14061" y="connsiteY14061"/>
              </a:cxn>
              <a:cxn ang="0">
                <a:pos x="connsiteX14062" y="connsiteY14062"/>
              </a:cxn>
              <a:cxn ang="0">
                <a:pos x="connsiteX14063" y="connsiteY14063"/>
              </a:cxn>
              <a:cxn ang="0">
                <a:pos x="connsiteX14064" y="connsiteY14064"/>
              </a:cxn>
              <a:cxn ang="0">
                <a:pos x="connsiteX14065" y="connsiteY14065"/>
              </a:cxn>
              <a:cxn ang="0">
                <a:pos x="connsiteX14066" y="connsiteY14066"/>
              </a:cxn>
              <a:cxn ang="0">
                <a:pos x="connsiteX14067" y="connsiteY14067"/>
              </a:cxn>
              <a:cxn ang="0">
                <a:pos x="connsiteX14068" y="connsiteY14068"/>
              </a:cxn>
              <a:cxn ang="0">
                <a:pos x="connsiteX14069" y="connsiteY14069"/>
              </a:cxn>
              <a:cxn ang="0">
                <a:pos x="connsiteX14070" y="connsiteY14070"/>
              </a:cxn>
              <a:cxn ang="0">
                <a:pos x="connsiteX14071" y="connsiteY14071"/>
              </a:cxn>
              <a:cxn ang="0">
                <a:pos x="connsiteX14072" y="connsiteY14072"/>
              </a:cxn>
              <a:cxn ang="0">
                <a:pos x="connsiteX14073" y="connsiteY14073"/>
              </a:cxn>
              <a:cxn ang="0">
                <a:pos x="connsiteX14074" y="connsiteY14074"/>
              </a:cxn>
              <a:cxn ang="0">
                <a:pos x="connsiteX14075" y="connsiteY14075"/>
              </a:cxn>
              <a:cxn ang="0">
                <a:pos x="connsiteX14076" y="connsiteY14076"/>
              </a:cxn>
              <a:cxn ang="0">
                <a:pos x="connsiteX14077" y="connsiteY14077"/>
              </a:cxn>
              <a:cxn ang="0">
                <a:pos x="connsiteX14078" y="connsiteY14078"/>
              </a:cxn>
              <a:cxn ang="0">
                <a:pos x="connsiteX14079" y="connsiteY14079"/>
              </a:cxn>
              <a:cxn ang="0">
                <a:pos x="connsiteX14080" y="connsiteY14080"/>
              </a:cxn>
              <a:cxn ang="0">
                <a:pos x="connsiteX14081" y="connsiteY14081"/>
              </a:cxn>
              <a:cxn ang="0">
                <a:pos x="connsiteX14082" y="connsiteY14082"/>
              </a:cxn>
              <a:cxn ang="0">
                <a:pos x="connsiteX14083" y="connsiteY14083"/>
              </a:cxn>
              <a:cxn ang="0">
                <a:pos x="connsiteX14084" y="connsiteY14084"/>
              </a:cxn>
              <a:cxn ang="0">
                <a:pos x="connsiteX14085" y="connsiteY14085"/>
              </a:cxn>
              <a:cxn ang="0">
                <a:pos x="connsiteX14086" y="connsiteY14086"/>
              </a:cxn>
              <a:cxn ang="0">
                <a:pos x="connsiteX14087" y="connsiteY14087"/>
              </a:cxn>
              <a:cxn ang="0">
                <a:pos x="connsiteX14088" y="connsiteY14088"/>
              </a:cxn>
              <a:cxn ang="0">
                <a:pos x="connsiteX14089" y="connsiteY14089"/>
              </a:cxn>
              <a:cxn ang="0">
                <a:pos x="connsiteX14090" y="connsiteY14090"/>
              </a:cxn>
              <a:cxn ang="0">
                <a:pos x="connsiteX14091" y="connsiteY14091"/>
              </a:cxn>
              <a:cxn ang="0">
                <a:pos x="connsiteX14092" y="connsiteY14092"/>
              </a:cxn>
              <a:cxn ang="0">
                <a:pos x="connsiteX14093" y="connsiteY14093"/>
              </a:cxn>
              <a:cxn ang="0">
                <a:pos x="connsiteX14094" y="connsiteY14094"/>
              </a:cxn>
              <a:cxn ang="0">
                <a:pos x="connsiteX14095" y="connsiteY14095"/>
              </a:cxn>
              <a:cxn ang="0">
                <a:pos x="connsiteX14096" y="connsiteY14096"/>
              </a:cxn>
              <a:cxn ang="0">
                <a:pos x="connsiteX14097" y="connsiteY14097"/>
              </a:cxn>
              <a:cxn ang="0">
                <a:pos x="connsiteX14098" y="connsiteY14098"/>
              </a:cxn>
              <a:cxn ang="0">
                <a:pos x="connsiteX14099" y="connsiteY14099"/>
              </a:cxn>
              <a:cxn ang="0">
                <a:pos x="connsiteX14100" y="connsiteY14100"/>
              </a:cxn>
              <a:cxn ang="0">
                <a:pos x="connsiteX14101" y="connsiteY14101"/>
              </a:cxn>
              <a:cxn ang="0">
                <a:pos x="connsiteX14102" y="connsiteY14102"/>
              </a:cxn>
              <a:cxn ang="0">
                <a:pos x="connsiteX14103" y="connsiteY14103"/>
              </a:cxn>
              <a:cxn ang="0">
                <a:pos x="connsiteX14104" y="connsiteY14104"/>
              </a:cxn>
              <a:cxn ang="0">
                <a:pos x="connsiteX14105" y="connsiteY14105"/>
              </a:cxn>
              <a:cxn ang="0">
                <a:pos x="connsiteX14106" y="connsiteY14106"/>
              </a:cxn>
              <a:cxn ang="0">
                <a:pos x="connsiteX14107" y="connsiteY14107"/>
              </a:cxn>
              <a:cxn ang="0">
                <a:pos x="connsiteX14108" y="connsiteY14108"/>
              </a:cxn>
              <a:cxn ang="0">
                <a:pos x="connsiteX14109" y="connsiteY14109"/>
              </a:cxn>
              <a:cxn ang="0">
                <a:pos x="connsiteX14110" y="connsiteY14110"/>
              </a:cxn>
              <a:cxn ang="0">
                <a:pos x="connsiteX14111" y="connsiteY14111"/>
              </a:cxn>
              <a:cxn ang="0">
                <a:pos x="connsiteX14112" y="connsiteY14112"/>
              </a:cxn>
              <a:cxn ang="0">
                <a:pos x="connsiteX14113" y="connsiteY14113"/>
              </a:cxn>
              <a:cxn ang="0">
                <a:pos x="connsiteX14114" y="connsiteY14114"/>
              </a:cxn>
              <a:cxn ang="0">
                <a:pos x="connsiteX14115" y="connsiteY14115"/>
              </a:cxn>
              <a:cxn ang="0">
                <a:pos x="connsiteX14116" y="connsiteY14116"/>
              </a:cxn>
              <a:cxn ang="0">
                <a:pos x="connsiteX14117" y="connsiteY14117"/>
              </a:cxn>
              <a:cxn ang="0">
                <a:pos x="connsiteX14118" y="connsiteY14118"/>
              </a:cxn>
              <a:cxn ang="0">
                <a:pos x="connsiteX14119" y="connsiteY14119"/>
              </a:cxn>
              <a:cxn ang="0">
                <a:pos x="connsiteX14120" y="connsiteY14120"/>
              </a:cxn>
              <a:cxn ang="0">
                <a:pos x="connsiteX14121" y="connsiteY14121"/>
              </a:cxn>
              <a:cxn ang="0">
                <a:pos x="connsiteX14122" y="connsiteY14122"/>
              </a:cxn>
              <a:cxn ang="0">
                <a:pos x="connsiteX14123" y="connsiteY14123"/>
              </a:cxn>
              <a:cxn ang="0">
                <a:pos x="connsiteX14124" y="connsiteY14124"/>
              </a:cxn>
              <a:cxn ang="0">
                <a:pos x="connsiteX14125" y="connsiteY14125"/>
              </a:cxn>
              <a:cxn ang="0">
                <a:pos x="connsiteX14126" y="connsiteY14126"/>
              </a:cxn>
              <a:cxn ang="0">
                <a:pos x="connsiteX14127" y="connsiteY14127"/>
              </a:cxn>
              <a:cxn ang="0">
                <a:pos x="connsiteX14128" y="connsiteY14128"/>
              </a:cxn>
              <a:cxn ang="0">
                <a:pos x="connsiteX14129" y="connsiteY14129"/>
              </a:cxn>
              <a:cxn ang="0">
                <a:pos x="connsiteX14130" y="connsiteY14130"/>
              </a:cxn>
              <a:cxn ang="0">
                <a:pos x="connsiteX14131" y="connsiteY14131"/>
              </a:cxn>
              <a:cxn ang="0">
                <a:pos x="connsiteX14132" y="connsiteY14132"/>
              </a:cxn>
              <a:cxn ang="0">
                <a:pos x="connsiteX14133" y="connsiteY14133"/>
              </a:cxn>
              <a:cxn ang="0">
                <a:pos x="connsiteX14134" y="connsiteY14134"/>
              </a:cxn>
              <a:cxn ang="0">
                <a:pos x="connsiteX14135" y="connsiteY14135"/>
              </a:cxn>
              <a:cxn ang="0">
                <a:pos x="connsiteX14136" y="connsiteY14136"/>
              </a:cxn>
              <a:cxn ang="0">
                <a:pos x="connsiteX14137" y="connsiteY14137"/>
              </a:cxn>
              <a:cxn ang="0">
                <a:pos x="connsiteX14138" y="connsiteY14138"/>
              </a:cxn>
              <a:cxn ang="0">
                <a:pos x="connsiteX14139" y="connsiteY14139"/>
              </a:cxn>
              <a:cxn ang="0">
                <a:pos x="connsiteX14140" y="connsiteY14140"/>
              </a:cxn>
              <a:cxn ang="0">
                <a:pos x="connsiteX14141" y="connsiteY14141"/>
              </a:cxn>
              <a:cxn ang="0">
                <a:pos x="connsiteX14142" y="connsiteY14142"/>
              </a:cxn>
              <a:cxn ang="0">
                <a:pos x="connsiteX14143" y="connsiteY14143"/>
              </a:cxn>
              <a:cxn ang="0">
                <a:pos x="connsiteX14144" y="connsiteY14144"/>
              </a:cxn>
              <a:cxn ang="0">
                <a:pos x="connsiteX14145" y="connsiteY14145"/>
              </a:cxn>
              <a:cxn ang="0">
                <a:pos x="connsiteX14146" y="connsiteY14146"/>
              </a:cxn>
              <a:cxn ang="0">
                <a:pos x="connsiteX14147" y="connsiteY14147"/>
              </a:cxn>
              <a:cxn ang="0">
                <a:pos x="connsiteX14148" y="connsiteY14148"/>
              </a:cxn>
              <a:cxn ang="0">
                <a:pos x="connsiteX14149" y="connsiteY14149"/>
              </a:cxn>
              <a:cxn ang="0">
                <a:pos x="connsiteX14150" y="connsiteY14150"/>
              </a:cxn>
              <a:cxn ang="0">
                <a:pos x="connsiteX14151" y="connsiteY14151"/>
              </a:cxn>
              <a:cxn ang="0">
                <a:pos x="connsiteX14152" y="connsiteY14152"/>
              </a:cxn>
              <a:cxn ang="0">
                <a:pos x="connsiteX14153" y="connsiteY14153"/>
              </a:cxn>
              <a:cxn ang="0">
                <a:pos x="connsiteX14154" y="connsiteY14154"/>
              </a:cxn>
              <a:cxn ang="0">
                <a:pos x="connsiteX14155" y="connsiteY14155"/>
              </a:cxn>
              <a:cxn ang="0">
                <a:pos x="connsiteX14156" y="connsiteY14156"/>
              </a:cxn>
              <a:cxn ang="0">
                <a:pos x="connsiteX14157" y="connsiteY14157"/>
              </a:cxn>
              <a:cxn ang="0">
                <a:pos x="connsiteX14158" y="connsiteY14158"/>
              </a:cxn>
              <a:cxn ang="0">
                <a:pos x="connsiteX14159" y="connsiteY14159"/>
              </a:cxn>
              <a:cxn ang="0">
                <a:pos x="connsiteX14160" y="connsiteY14160"/>
              </a:cxn>
              <a:cxn ang="0">
                <a:pos x="connsiteX14161" y="connsiteY14161"/>
              </a:cxn>
              <a:cxn ang="0">
                <a:pos x="connsiteX14162" y="connsiteY14162"/>
              </a:cxn>
              <a:cxn ang="0">
                <a:pos x="connsiteX14163" y="connsiteY14163"/>
              </a:cxn>
              <a:cxn ang="0">
                <a:pos x="connsiteX14164" y="connsiteY14164"/>
              </a:cxn>
              <a:cxn ang="0">
                <a:pos x="connsiteX14165" y="connsiteY14165"/>
              </a:cxn>
              <a:cxn ang="0">
                <a:pos x="connsiteX14166" y="connsiteY14166"/>
              </a:cxn>
              <a:cxn ang="0">
                <a:pos x="connsiteX14167" y="connsiteY14167"/>
              </a:cxn>
              <a:cxn ang="0">
                <a:pos x="connsiteX14168" y="connsiteY14168"/>
              </a:cxn>
              <a:cxn ang="0">
                <a:pos x="connsiteX14169" y="connsiteY14169"/>
              </a:cxn>
              <a:cxn ang="0">
                <a:pos x="connsiteX14170" y="connsiteY14170"/>
              </a:cxn>
              <a:cxn ang="0">
                <a:pos x="connsiteX14171" y="connsiteY14171"/>
              </a:cxn>
              <a:cxn ang="0">
                <a:pos x="connsiteX14172" y="connsiteY14172"/>
              </a:cxn>
              <a:cxn ang="0">
                <a:pos x="connsiteX14173" y="connsiteY14173"/>
              </a:cxn>
              <a:cxn ang="0">
                <a:pos x="connsiteX14174" y="connsiteY14174"/>
              </a:cxn>
              <a:cxn ang="0">
                <a:pos x="connsiteX14175" y="connsiteY14175"/>
              </a:cxn>
              <a:cxn ang="0">
                <a:pos x="connsiteX14176" y="connsiteY14176"/>
              </a:cxn>
              <a:cxn ang="0">
                <a:pos x="connsiteX14177" y="connsiteY14177"/>
              </a:cxn>
              <a:cxn ang="0">
                <a:pos x="connsiteX14178" y="connsiteY14178"/>
              </a:cxn>
              <a:cxn ang="0">
                <a:pos x="connsiteX14179" y="connsiteY14179"/>
              </a:cxn>
              <a:cxn ang="0">
                <a:pos x="connsiteX14180" y="connsiteY14180"/>
              </a:cxn>
              <a:cxn ang="0">
                <a:pos x="connsiteX14181" y="connsiteY14181"/>
              </a:cxn>
              <a:cxn ang="0">
                <a:pos x="connsiteX14182" y="connsiteY14182"/>
              </a:cxn>
              <a:cxn ang="0">
                <a:pos x="connsiteX14183" y="connsiteY14183"/>
              </a:cxn>
              <a:cxn ang="0">
                <a:pos x="connsiteX14184" y="connsiteY14184"/>
              </a:cxn>
              <a:cxn ang="0">
                <a:pos x="connsiteX14185" y="connsiteY14185"/>
              </a:cxn>
              <a:cxn ang="0">
                <a:pos x="connsiteX14186" y="connsiteY14186"/>
              </a:cxn>
              <a:cxn ang="0">
                <a:pos x="connsiteX14187" y="connsiteY14187"/>
              </a:cxn>
              <a:cxn ang="0">
                <a:pos x="connsiteX14188" y="connsiteY14188"/>
              </a:cxn>
              <a:cxn ang="0">
                <a:pos x="connsiteX14189" y="connsiteY14189"/>
              </a:cxn>
              <a:cxn ang="0">
                <a:pos x="connsiteX14190" y="connsiteY14190"/>
              </a:cxn>
              <a:cxn ang="0">
                <a:pos x="connsiteX14191" y="connsiteY14191"/>
              </a:cxn>
              <a:cxn ang="0">
                <a:pos x="connsiteX14192" y="connsiteY14192"/>
              </a:cxn>
              <a:cxn ang="0">
                <a:pos x="connsiteX14193" y="connsiteY14193"/>
              </a:cxn>
              <a:cxn ang="0">
                <a:pos x="connsiteX14194" y="connsiteY14194"/>
              </a:cxn>
              <a:cxn ang="0">
                <a:pos x="connsiteX14195" y="connsiteY14195"/>
              </a:cxn>
              <a:cxn ang="0">
                <a:pos x="connsiteX14196" y="connsiteY14196"/>
              </a:cxn>
              <a:cxn ang="0">
                <a:pos x="connsiteX14197" y="connsiteY14197"/>
              </a:cxn>
              <a:cxn ang="0">
                <a:pos x="connsiteX14198" y="connsiteY14198"/>
              </a:cxn>
              <a:cxn ang="0">
                <a:pos x="connsiteX14199" y="connsiteY14199"/>
              </a:cxn>
              <a:cxn ang="0">
                <a:pos x="connsiteX14200" y="connsiteY14200"/>
              </a:cxn>
              <a:cxn ang="0">
                <a:pos x="connsiteX14201" y="connsiteY14201"/>
              </a:cxn>
              <a:cxn ang="0">
                <a:pos x="connsiteX14202" y="connsiteY14202"/>
              </a:cxn>
              <a:cxn ang="0">
                <a:pos x="connsiteX14203" y="connsiteY14203"/>
              </a:cxn>
              <a:cxn ang="0">
                <a:pos x="connsiteX14204" y="connsiteY14204"/>
              </a:cxn>
              <a:cxn ang="0">
                <a:pos x="connsiteX14205" y="connsiteY14205"/>
              </a:cxn>
              <a:cxn ang="0">
                <a:pos x="connsiteX14206" y="connsiteY14206"/>
              </a:cxn>
              <a:cxn ang="0">
                <a:pos x="connsiteX14207" y="connsiteY14207"/>
              </a:cxn>
              <a:cxn ang="0">
                <a:pos x="connsiteX14208" y="connsiteY14208"/>
              </a:cxn>
              <a:cxn ang="0">
                <a:pos x="connsiteX14209" y="connsiteY14209"/>
              </a:cxn>
              <a:cxn ang="0">
                <a:pos x="connsiteX14210" y="connsiteY14210"/>
              </a:cxn>
              <a:cxn ang="0">
                <a:pos x="connsiteX14211" y="connsiteY14211"/>
              </a:cxn>
              <a:cxn ang="0">
                <a:pos x="connsiteX14212" y="connsiteY14212"/>
              </a:cxn>
              <a:cxn ang="0">
                <a:pos x="connsiteX14213" y="connsiteY14213"/>
              </a:cxn>
              <a:cxn ang="0">
                <a:pos x="connsiteX14214" y="connsiteY14214"/>
              </a:cxn>
              <a:cxn ang="0">
                <a:pos x="connsiteX14215" y="connsiteY14215"/>
              </a:cxn>
              <a:cxn ang="0">
                <a:pos x="connsiteX14216" y="connsiteY14216"/>
              </a:cxn>
              <a:cxn ang="0">
                <a:pos x="connsiteX14217" y="connsiteY14217"/>
              </a:cxn>
              <a:cxn ang="0">
                <a:pos x="connsiteX14218" y="connsiteY14218"/>
              </a:cxn>
              <a:cxn ang="0">
                <a:pos x="connsiteX14219" y="connsiteY14219"/>
              </a:cxn>
              <a:cxn ang="0">
                <a:pos x="connsiteX14220" y="connsiteY14220"/>
              </a:cxn>
              <a:cxn ang="0">
                <a:pos x="connsiteX14221" y="connsiteY14221"/>
              </a:cxn>
              <a:cxn ang="0">
                <a:pos x="connsiteX14222" y="connsiteY14222"/>
              </a:cxn>
              <a:cxn ang="0">
                <a:pos x="connsiteX14223" y="connsiteY14223"/>
              </a:cxn>
              <a:cxn ang="0">
                <a:pos x="connsiteX14224" y="connsiteY14224"/>
              </a:cxn>
              <a:cxn ang="0">
                <a:pos x="connsiteX14225" y="connsiteY14225"/>
              </a:cxn>
              <a:cxn ang="0">
                <a:pos x="connsiteX14226" y="connsiteY14226"/>
              </a:cxn>
              <a:cxn ang="0">
                <a:pos x="connsiteX14227" y="connsiteY14227"/>
              </a:cxn>
              <a:cxn ang="0">
                <a:pos x="connsiteX14228" y="connsiteY14228"/>
              </a:cxn>
              <a:cxn ang="0">
                <a:pos x="connsiteX14229" y="connsiteY14229"/>
              </a:cxn>
              <a:cxn ang="0">
                <a:pos x="connsiteX14230" y="connsiteY14230"/>
              </a:cxn>
              <a:cxn ang="0">
                <a:pos x="connsiteX14231" y="connsiteY14231"/>
              </a:cxn>
              <a:cxn ang="0">
                <a:pos x="connsiteX14232" y="connsiteY14232"/>
              </a:cxn>
              <a:cxn ang="0">
                <a:pos x="connsiteX14233" y="connsiteY14233"/>
              </a:cxn>
              <a:cxn ang="0">
                <a:pos x="connsiteX14234" y="connsiteY14234"/>
              </a:cxn>
              <a:cxn ang="0">
                <a:pos x="connsiteX14235" y="connsiteY14235"/>
              </a:cxn>
              <a:cxn ang="0">
                <a:pos x="connsiteX14236" y="connsiteY14236"/>
              </a:cxn>
              <a:cxn ang="0">
                <a:pos x="connsiteX14237" y="connsiteY14237"/>
              </a:cxn>
              <a:cxn ang="0">
                <a:pos x="connsiteX14238" y="connsiteY14238"/>
              </a:cxn>
              <a:cxn ang="0">
                <a:pos x="connsiteX14239" y="connsiteY14239"/>
              </a:cxn>
              <a:cxn ang="0">
                <a:pos x="connsiteX14240" y="connsiteY14240"/>
              </a:cxn>
              <a:cxn ang="0">
                <a:pos x="connsiteX14241" y="connsiteY14241"/>
              </a:cxn>
              <a:cxn ang="0">
                <a:pos x="connsiteX14242" y="connsiteY14242"/>
              </a:cxn>
              <a:cxn ang="0">
                <a:pos x="connsiteX14243" y="connsiteY14243"/>
              </a:cxn>
              <a:cxn ang="0">
                <a:pos x="connsiteX14244" y="connsiteY14244"/>
              </a:cxn>
              <a:cxn ang="0">
                <a:pos x="connsiteX14245" y="connsiteY14245"/>
              </a:cxn>
              <a:cxn ang="0">
                <a:pos x="connsiteX14246" y="connsiteY14246"/>
              </a:cxn>
              <a:cxn ang="0">
                <a:pos x="connsiteX14247" y="connsiteY14247"/>
              </a:cxn>
              <a:cxn ang="0">
                <a:pos x="connsiteX14248" y="connsiteY14248"/>
              </a:cxn>
              <a:cxn ang="0">
                <a:pos x="connsiteX14249" y="connsiteY14249"/>
              </a:cxn>
              <a:cxn ang="0">
                <a:pos x="connsiteX14250" y="connsiteY14250"/>
              </a:cxn>
              <a:cxn ang="0">
                <a:pos x="connsiteX14251" y="connsiteY14251"/>
              </a:cxn>
              <a:cxn ang="0">
                <a:pos x="connsiteX14252" y="connsiteY14252"/>
              </a:cxn>
              <a:cxn ang="0">
                <a:pos x="connsiteX14253" y="connsiteY14253"/>
              </a:cxn>
              <a:cxn ang="0">
                <a:pos x="connsiteX14254" y="connsiteY14254"/>
              </a:cxn>
              <a:cxn ang="0">
                <a:pos x="connsiteX14255" y="connsiteY14255"/>
              </a:cxn>
              <a:cxn ang="0">
                <a:pos x="connsiteX14256" y="connsiteY14256"/>
              </a:cxn>
              <a:cxn ang="0">
                <a:pos x="connsiteX14257" y="connsiteY14257"/>
              </a:cxn>
              <a:cxn ang="0">
                <a:pos x="connsiteX14258" y="connsiteY14258"/>
              </a:cxn>
              <a:cxn ang="0">
                <a:pos x="connsiteX14259" y="connsiteY14259"/>
              </a:cxn>
              <a:cxn ang="0">
                <a:pos x="connsiteX14260" y="connsiteY14260"/>
              </a:cxn>
              <a:cxn ang="0">
                <a:pos x="connsiteX14261" y="connsiteY14261"/>
              </a:cxn>
              <a:cxn ang="0">
                <a:pos x="connsiteX14262" y="connsiteY14262"/>
              </a:cxn>
              <a:cxn ang="0">
                <a:pos x="connsiteX14263" y="connsiteY14263"/>
              </a:cxn>
              <a:cxn ang="0">
                <a:pos x="connsiteX14264" y="connsiteY14264"/>
              </a:cxn>
              <a:cxn ang="0">
                <a:pos x="connsiteX14265" y="connsiteY14265"/>
              </a:cxn>
              <a:cxn ang="0">
                <a:pos x="connsiteX14266" y="connsiteY14266"/>
              </a:cxn>
              <a:cxn ang="0">
                <a:pos x="connsiteX14267" y="connsiteY14267"/>
              </a:cxn>
              <a:cxn ang="0">
                <a:pos x="connsiteX14268" y="connsiteY14268"/>
              </a:cxn>
              <a:cxn ang="0">
                <a:pos x="connsiteX14269" y="connsiteY14269"/>
              </a:cxn>
              <a:cxn ang="0">
                <a:pos x="connsiteX14270" y="connsiteY14270"/>
              </a:cxn>
              <a:cxn ang="0">
                <a:pos x="connsiteX14271" y="connsiteY14271"/>
              </a:cxn>
              <a:cxn ang="0">
                <a:pos x="connsiteX14272" y="connsiteY14272"/>
              </a:cxn>
              <a:cxn ang="0">
                <a:pos x="connsiteX14273" y="connsiteY14273"/>
              </a:cxn>
              <a:cxn ang="0">
                <a:pos x="connsiteX14274" y="connsiteY14274"/>
              </a:cxn>
              <a:cxn ang="0">
                <a:pos x="connsiteX14275" y="connsiteY14275"/>
              </a:cxn>
              <a:cxn ang="0">
                <a:pos x="connsiteX14276" y="connsiteY14276"/>
              </a:cxn>
              <a:cxn ang="0">
                <a:pos x="connsiteX14277" y="connsiteY14277"/>
              </a:cxn>
              <a:cxn ang="0">
                <a:pos x="connsiteX14278" y="connsiteY14278"/>
              </a:cxn>
              <a:cxn ang="0">
                <a:pos x="connsiteX14279" y="connsiteY14279"/>
              </a:cxn>
              <a:cxn ang="0">
                <a:pos x="connsiteX14280" y="connsiteY14280"/>
              </a:cxn>
              <a:cxn ang="0">
                <a:pos x="connsiteX14281" y="connsiteY14281"/>
              </a:cxn>
              <a:cxn ang="0">
                <a:pos x="connsiteX14282" y="connsiteY14282"/>
              </a:cxn>
              <a:cxn ang="0">
                <a:pos x="connsiteX14283" y="connsiteY14283"/>
              </a:cxn>
              <a:cxn ang="0">
                <a:pos x="connsiteX14284" y="connsiteY14284"/>
              </a:cxn>
              <a:cxn ang="0">
                <a:pos x="connsiteX14285" y="connsiteY14285"/>
              </a:cxn>
              <a:cxn ang="0">
                <a:pos x="connsiteX14286" y="connsiteY14286"/>
              </a:cxn>
              <a:cxn ang="0">
                <a:pos x="connsiteX14287" y="connsiteY14287"/>
              </a:cxn>
              <a:cxn ang="0">
                <a:pos x="connsiteX14288" y="connsiteY14288"/>
              </a:cxn>
              <a:cxn ang="0">
                <a:pos x="connsiteX14289" y="connsiteY14289"/>
              </a:cxn>
              <a:cxn ang="0">
                <a:pos x="connsiteX14290" y="connsiteY14290"/>
              </a:cxn>
              <a:cxn ang="0">
                <a:pos x="connsiteX14291" y="connsiteY14291"/>
              </a:cxn>
              <a:cxn ang="0">
                <a:pos x="connsiteX14292" y="connsiteY14292"/>
              </a:cxn>
              <a:cxn ang="0">
                <a:pos x="connsiteX14293" y="connsiteY14293"/>
              </a:cxn>
              <a:cxn ang="0">
                <a:pos x="connsiteX14294" y="connsiteY14294"/>
              </a:cxn>
              <a:cxn ang="0">
                <a:pos x="connsiteX14295" y="connsiteY14295"/>
              </a:cxn>
              <a:cxn ang="0">
                <a:pos x="connsiteX14296" y="connsiteY14296"/>
              </a:cxn>
              <a:cxn ang="0">
                <a:pos x="connsiteX14297" y="connsiteY14297"/>
              </a:cxn>
              <a:cxn ang="0">
                <a:pos x="connsiteX14298" y="connsiteY14298"/>
              </a:cxn>
              <a:cxn ang="0">
                <a:pos x="connsiteX14299" y="connsiteY14299"/>
              </a:cxn>
              <a:cxn ang="0">
                <a:pos x="connsiteX14300" y="connsiteY14300"/>
              </a:cxn>
              <a:cxn ang="0">
                <a:pos x="connsiteX14301" y="connsiteY14301"/>
              </a:cxn>
              <a:cxn ang="0">
                <a:pos x="connsiteX14302" y="connsiteY14302"/>
              </a:cxn>
              <a:cxn ang="0">
                <a:pos x="connsiteX14303" y="connsiteY14303"/>
              </a:cxn>
              <a:cxn ang="0">
                <a:pos x="connsiteX14304" y="connsiteY14304"/>
              </a:cxn>
              <a:cxn ang="0">
                <a:pos x="connsiteX14305" y="connsiteY14305"/>
              </a:cxn>
              <a:cxn ang="0">
                <a:pos x="connsiteX14306" y="connsiteY14306"/>
              </a:cxn>
              <a:cxn ang="0">
                <a:pos x="connsiteX14307" y="connsiteY14307"/>
              </a:cxn>
              <a:cxn ang="0">
                <a:pos x="connsiteX14308" y="connsiteY14308"/>
              </a:cxn>
              <a:cxn ang="0">
                <a:pos x="connsiteX14309" y="connsiteY14309"/>
              </a:cxn>
              <a:cxn ang="0">
                <a:pos x="connsiteX14310" y="connsiteY14310"/>
              </a:cxn>
              <a:cxn ang="0">
                <a:pos x="connsiteX14311" y="connsiteY14311"/>
              </a:cxn>
              <a:cxn ang="0">
                <a:pos x="connsiteX14312" y="connsiteY14312"/>
              </a:cxn>
              <a:cxn ang="0">
                <a:pos x="connsiteX14313" y="connsiteY14313"/>
              </a:cxn>
              <a:cxn ang="0">
                <a:pos x="connsiteX14314" y="connsiteY14314"/>
              </a:cxn>
              <a:cxn ang="0">
                <a:pos x="connsiteX14315" y="connsiteY14315"/>
              </a:cxn>
              <a:cxn ang="0">
                <a:pos x="connsiteX14316" y="connsiteY14316"/>
              </a:cxn>
              <a:cxn ang="0">
                <a:pos x="connsiteX14317" y="connsiteY14317"/>
              </a:cxn>
              <a:cxn ang="0">
                <a:pos x="connsiteX14318" y="connsiteY14318"/>
              </a:cxn>
              <a:cxn ang="0">
                <a:pos x="connsiteX14319" y="connsiteY14319"/>
              </a:cxn>
              <a:cxn ang="0">
                <a:pos x="connsiteX14320" y="connsiteY14320"/>
              </a:cxn>
              <a:cxn ang="0">
                <a:pos x="connsiteX14321" y="connsiteY14321"/>
              </a:cxn>
              <a:cxn ang="0">
                <a:pos x="connsiteX14322" y="connsiteY14322"/>
              </a:cxn>
              <a:cxn ang="0">
                <a:pos x="connsiteX14323" y="connsiteY14323"/>
              </a:cxn>
              <a:cxn ang="0">
                <a:pos x="connsiteX14324" y="connsiteY14324"/>
              </a:cxn>
              <a:cxn ang="0">
                <a:pos x="connsiteX14325" y="connsiteY14325"/>
              </a:cxn>
              <a:cxn ang="0">
                <a:pos x="connsiteX14326" y="connsiteY14326"/>
              </a:cxn>
              <a:cxn ang="0">
                <a:pos x="connsiteX14327" y="connsiteY14327"/>
              </a:cxn>
              <a:cxn ang="0">
                <a:pos x="connsiteX14328" y="connsiteY14328"/>
              </a:cxn>
              <a:cxn ang="0">
                <a:pos x="connsiteX14329" y="connsiteY14329"/>
              </a:cxn>
              <a:cxn ang="0">
                <a:pos x="connsiteX14330" y="connsiteY14330"/>
              </a:cxn>
              <a:cxn ang="0">
                <a:pos x="connsiteX14331" y="connsiteY14331"/>
              </a:cxn>
              <a:cxn ang="0">
                <a:pos x="connsiteX14332" y="connsiteY14332"/>
              </a:cxn>
              <a:cxn ang="0">
                <a:pos x="connsiteX14333" y="connsiteY14333"/>
              </a:cxn>
              <a:cxn ang="0">
                <a:pos x="connsiteX14334" y="connsiteY14334"/>
              </a:cxn>
              <a:cxn ang="0">
                <a:pos x="connsiteX14335" y="connsiteY14335"/>
              </a:cxn>
              <a:cxn ang="0">
                <a:pos x="connsiteX14336" y="connsiteY14336"/>
              </a:cxn>
              <a:cxn ang="0">
                <a:pos x="connsiteX14337" y="connsiteY14337"/>
              </a:cxn>
              <a:cxn ang="0">
                <a:pos x="connsiteX14338" y="connsiteY14338"/>
              </a:cxn>
              <a:cxn ang="0">
                <a:pos x="connsiteX14339" y="connsiteY14339"/>
              </a:cxn>
              <a:cxn ang="0">
                <a:pos x="connsiteX14340" y="connsiteY14340"/>
              </a:cxn>
              <a:cxn ang="0">
                <a:pos x="connsiteX14341" y="connsiteY14341"/>
              </a:cxn>
              <a:cxn ang="0">
                <a:pos x="connsiteX14342" y="connsiteY14342"/>
              </a:cxn>
              <a:cxn ang="0">
                <a:pos x="connsiteX14343" y="connsiteY14343"/>
              </a:cxn>
              <a:cxn ang="0">
                <a:pos x="connsiteX14344" y="connsiteY14344"/>
              </a:cxn>
              <a:cxn ang="0">
                <a:pos x="connsiteX14345" y="connsiteY14345"/>
              </a:cxn>
              <a:cxn ang="0">
                <a:pos x="connsiteX14346" y="connsiteY14346"/>
              </a:cxn>
              <a:cxn ang="0">
                <a:pos x="connsiteX14347" y="connsiteY14347"/>
              </a:cxn>
              <a:cxn ang="0">
                <a:pos x="connsiteX14348" y="connsiteY14348"/>
              </a:cxn>
              <a:cxn ang="0">
                <a:pos x="connsiteX14349" y="connsiteY14349"/>
              </a:cxn>
              <a:cxn ang="0">
                <a:pos x="connsiteX14350" y="connsiteY14350"/>
              </a:cxn>
              <a:cxn ang="0">
                <a:pos x="connsiteX14351" y="connsiteY14351"/>
              </a:cxn>
              <a:cxn ang="0">
                <a:pos x="connsiteX14352" y="connsiteY14352"/>
              </a:cxn>
              <a:cxn ang="0">
                <a:pos x="connsiteX14353" y="connsiteY14353"/>
              </a:cxn>
              <a:cxn ang="0">
                <a:pos x="connsiteX14354" y="connsiteY14354"/>
              </a:cxn>
              <a:cxn ang="0">
                <a:pos x="connsiteX14355" y="connsiteY14355"/>
              </a:cxn>
              <a:cxn ang="0">
                <a:pos x="connsiteX14356" y="connsiteY14356"/>
              </a:cxn>
              <a:cxn ang="0">
                <a:pos x="connsiteX14357" y="connsiteY14357"/>
              </a:cxn>
              <a:cxn ang="0">
                <a:pos x="connsiteX14358" y="connsiteY14358"/>
              </a:cxn>
              <a:cxn ang="0">
                <a:pos x="connsiteX14359" y="connsiteY14359"/>
              </a:cxn>
              <a:cxn ang="0">
                <a:pos x="connsiteX14360" y="connsiteY14360"/>
              </a:cxn>
              <a:cxn ang="0">
                <a:pos x="connsiteX14361" y="connsiteY14361"/>
              </a:cxn>
              <a:cxn ang="0">
                <a:pos x="connsiteX14362" y="connsiteY14362"/>
              </a:cxn>
              <a:cxn ang="0">
                <a:pos x="connsiteX14363" y="connsiteY14363"/>
              </a:cxn>
              <a:cxn ang="0">
                <a:pos x="connsiteX14364" y="connsiteY14364"/>
              </a:cxn>
              <a:cxn ang="0">
                <a:pos x="connsiteX14365" y="connsiteY14365"/>
              </a:cxn>
              <a:cxn ang="0">
                <a:pos x="connsiteX14366" y="connsiteY14366"/>
              </a:cxn>
              <a:cxn ang="0">
                <a:pos x="connsiteX14367" y="connsiteY14367"/>
              </a:cxn>
              <a:cxn ang="0">
                <a:pos x="connsiteX14368" y="connsiteY14368"/>
              </a:cxn>
              <a:cxn ang="0">
                <a:pos x="connsiteX14369" y="connsiteY14369"/>
              </a:cxn>
              <a:cxn ang="0">
                <a:pos x="connsiteX14370" y="connsiteY14370"/>
              </a:cxn>
              <a:cxn ang="0">
                <a:pos x="connsiteX14371" y="connsiteY14371"/>
              </a:cxn>
              <a:cxn ang="0">
                <a:pos x="connsiteX14372" y="connsiteY14372"/>
              </a:cxn>
              <a:cxn ang="0">
                <a:pos x="connsiteX14373" y="connsiteY14373"/>
              </a:cxn>
              <a:cxn ang="0">
                <a:pos x="connsiteX14374" y="connsiteY14374"/>
              </a:cxn>
              <a:cxn ang="0">
                <a:pos x="connsiteX14375" y="connsiteY14375"/>
              </a:cxn>
              <a:cxn ang="0">
                <a:pos x="connsiteX14376" y="connsiteY14376"/>
              </a:cxn>
              <a:cxn ang="0">
                <a:pos x="connsiteX14377" y="connsiteY14377"/>
              </a:cxn>
              <a:cxn ang="0">
                <a:pos x="connsiteX14378" y="connsiteY14378"/>
              </a:cxn>
              <a:cxn ang="0">
                <a:pos x="connsiteX14379" y="connsiteY14379"/>
              </a:cxn>
              <a:cxn ang="0">
                <a:pos x="connsiteX14380" y="connsiteY14380"/>
              </a:cxn>
              <a:cxn ang="0">
                <a:pos x="connsiteX14381" y="connsiteY14381"/>
              </a:cxn>
              <a:cxn ang="0">
                <a:pos x="connsiteX14382" y="connsiteY14382"/>
              </a:cxn>
              <a:cxn ang="0">
                <a:pos x="connsiteX14383" y="connsiteY14383"/>
              </a:cxn>
              <a:cxn ang="0">
                <a:pos x="connsiteX14384" y="connsiteY14384"/>
              </a:cxn>
              <a:cxn ang="0">
                <a:pos x="connsiteX14385" y="connsiteY14385"/>
              </a:cxn>
              <a:cxn ang="0">
                <a:pos x="connsiteX14386" y="connsiteY14386"/>
              </a:cxn>
              <a:cxn ang="0">
                <a:pos x="connsiteX14387" y="connsiteY14387"/>
              </a:cxn>
              <a:cxn ang="0">
                <a:pos x="connsiteX14388" y="connsiteY14388"/>
              </a:cxn>
              <a:cxn ang="0">
                <a:pos x="connsiteX14389" y="connsiteY14389"/>
              </a:cxn>
              <a:cxn ang="0">
                <a:pos x="connsiteX14390" y="connsiteY14390"/>
              </a:cxn>
              <a:cxn ang="0">
                <a:pos x="connsiteX14391" y="connsiteY14391"/>
              </a:cxn>
              <a:cxn ang="0">
                <a:pos x="connsiteX14392" y="connsiteY14392"/>
              </a:cxn>
              <a:cxn ang="0">
                <a:pos x="connsiteX14393" y="connsiteY14393"/>
              </a:cxn>
              <a:cxn ang="0">
                <a:pos x="connsiteX14394" y="connsiteY14394"/>
              </a:cxn>
              <a:cxn ang="0">
                <a:pos x="connsiteX14395" y="connsiteY14395"/>
              </a:cxn>
              <a:cxn ang="0">
                <a:pos x="connsiteX14396" y="connsiteY14396"/>
              </a:cxn>
              <a:cxn ang="0">
                <a:pos x="connsiteX14397" y="connsiteY14397"/>
              </a:cxn>
              <a:cxn ang="0">
                <a:pos x="connsiteX14398" y="connsiteY14398"/>
              </a:cxn>
              <a:cxn ang="0">
                <a:pos x="connsiteX14399" y="connsiteY14399"/>
              </a:cxn>
              <a:cxn ang="0">
                <a:pos x="connsiteX14400" y="connsiteY14400"/>
              </a:cxn>
              <a:cxn ang="0">
                <a:pos x="connsiteX14401" y="connsiteY14401"/>
              </a:cxn>
              <a:cxn ang="0">
                <a:pos x="connsiteX14402" y="connsiteY14402"/>
              </a:cxn>
              <a:cxn ang="0">
                <a:pos x="connsiteX14403" y="connsiteY14403"/>
              </a:cxn>
              <a:cxn ang="0">
                <a:pos x="connsiteX14404" y="connsiteY14404"/>
              </a:cxn>
              <a:cxn ang="0">
                <a:pos x="connsiteX14405" y="connsiteY14405"/>
              </a:cxn>
              <a:cxn ang="0">
                <a:pos x="connsiteX14406" y="connsiteY14406"/>
              </a:cxn>
              <a:cxn ang="0">
                <a:pos x="connsiteX14407" y="connsiteY14407"/>
              </a:cxn>
              <a:cxn ang="0">
                <a:pos x="connsiteX14408" y="connsiteY14408"/>
              </a:cxn>
              <a:cxn ang="0">
                <a:pos x="connsiteX14409" y="connsiteY14409"/>
              </a:cxn>
              <a:cxn ang="0">
                <a:pos x="connsiteX14410" y="connsiteY14410"/>
              </a:cxn>
              <a:cxn ang="0">
                <a:pos x="connsiteX14411" y="connsiteY14411"/>
              </a:cxn>
              <a:cxn ang="0">
                <a:pos x="connsiteX14412" y="connsiteY14412"/>
              </a:cxn>
              <a:cxn ang="0">
                <a:pos x="connsiteX14413" y="connsiteY14413"/>
              </a:cxn>
              <a:cxn ang="0">
                <a:pos x="connsiteX14414" y="connsiteY14414"/>
              </a:cxn>
              <a:cxn ang="0">
                <a:pos x="connsiteX14415" y="connsiteY14415"/>
              </a:cxn>
              <a:cxn ang="0">
                <a:pos x="connsiteX14416" y="connsiteY14416"/>
              </a:cxn>
              <a:cxn ang="0">
                <a:pos x="connsiteX14417" y="connsiteY14417"/>
              </a:cxn>
              <a:cxn ang="0">
                <a:pos x="connsiteX14418" y="connsiteY14418"/>
              </a:cxn>
              <a:cxn ang="0">
                <a:pos x="connsiteX14419" y="connsiteY14419"/>
              </a:cxn>
              <a:cxn ang="0">
                <a:pos x="connsiteX14420" y="connsiteY14420"/>
              </a:cxn>
              <a:cxn ang="0">
                <a:pos x="connsiteX14421" y="connsiteY14421"/>
              </a:cxn>
              <a:cxn ang="0">
                <a:pos x="connsiteX14422" y="connsiteY14422"/>
              </a:cxn>
              <a:cxn ang="0">
                <a:pos x="connsiteX14423" y="connsiteY14423"/>
              </a:cxn>
              <a:cxn ang="0">
                <a:pos x="connsiteX14424" y="connsiteY14424"/>
              </a:cxn>
              <a:cxn ang="0">
                <a:pos x="connsiteX14425" y="connsiteY14425"/>
              </a:cxn>
              <a:cxn ang="0">
                <a:pos x="connsiteX14426" y="connsiteY14426"/>
              </a:cxn>
              <a:cxn ang="0">
                <a:pos x="connsiteX14427" y="connsiteY14427"/>
              </a:cxn>
              <a:cxn ang="0">
                <a:pos x="connsiteX14428" y="connsiteY14428"/>
              </a:cxn>
              <a:cxn ang="0">
                <a:pos x="connsiteX14429" y="connsiteY14429"/>
              </a:cxn>
              <a:cxn ang="0">
                <a:pos x="connsiteX14430" y="connsiteY14430"/>
              </a:cxn>
              <a:cxn ang="0">
                <a:pos x="connsiteX14431" y="connsiteY14431"/>
              </a:cxn>
              <a:cxn ang="0">
                <a:pos x="connsiteX14432" y="connsiteY14432"/>
              </a:cxn>
              <a:cxn ang="0">
                <a:pos x="connsiteX14433" y="connsiteY14433"/>
              </a:cxn>
              <a:cxn ang="0">
                <a:pos x="connsiteX14434" y="connsiteY14434"/>
              </a:cxn>
              <a:cxn ang="0">
                <a:pos x="connsiteX14435" y="connsiteY14435"/>
              </a:cxn>
              <a:cxn ang="0">
                <a:pos x="connsiteX14436" y="connsiteY14436"/>
              </a:cxn>
              <a:cxn ang="0">
                <a:pos x="connsiteX14437" y="connsiteY14437"/>
              </a:cxn>
              <a:cxn ang="0">
                <a:pos x="connsiteX14438" y="connsiteY14438"/>
              </a:cxn>
              <a:cxn ang="0">
                <a:pos x="connsiteX14439" y="connsiteY14439"/>
              </a:cxn>
              <a:cxn ang="0">
                <a:pos x="connsiteX14440" y="connsiteY14440"/>
              </a:cxn>
              <a:cxn ang="0">
                <a:pos x="connsiteX14441" y="connsiteY14441"/>
              </a:cxn>
              <a:cxn ang="0">
                <a:pos x="connsiteX14442" y="connsiteY14442"/>
              </a:cxn>
              <a:cxn ang="0">
                <a:pos x="connsiteX14443" y="connsiteY14443"/>
              </a:cxn>
              <a:cxn ang="0">
                <a:pos x="connsiteX14444" y="connsiteY14444"/>
              </a:cxn>
              <a:cxn ang="0">
                <a:pos x="connsiteX14445" y="connsiteY14445"/>
              </a:cxn>
              <a:cxn ang="0">
                <a:pos x="connsiteX14446" y="connsiteY14446"/>
              </a:cxn>
              <a:cxn ang="0">
                <a:pos x="connsiteX14447" y="connsiteY14447"/>
              </a:cxn>
              <a:cxn ang="0">
                <a:pos x="connsiteX14448" y="connsiteY14448"/>
              </a:cxn>
              <a:cxn ang="0">
                <a:pos x="connsiteX14449" y="connsiteY14449"/>
              </a:cxn>
              <a:cxn ang="0">
                <a:pos x="connsiteX14450" y="connsiteY14450"/>
              </a:cxn>
              <a:cxn ang="0">
                <a:pos x="connsiteX14451" y="connsiteY14451"/>
              </a:cxn>
              <a:cxn ang="0">
                <a:pos x="connsiteX14452" y="connsiteY14452"/>
              </a:cxn>
              <a:cxn ang="0">
                <a:pos x="connsiteX14453" y="connsiteY14453"/>
              </a:cxn>
              <a:cxn ang="0">
                <a:pos x="connsiteX14454" y="connsiteY14454"/>
              </a:cxn>
              <a:cxn ang="0">
                <a:pos x="connsiteX14455" y="connsiteY14455"/>
              </a:cxn>
              <a:cxn ang="0">
                <a:pos x="connsiteX14456" y="connsiteY14456"/>
              </a:cxn>
              <a:cxn ang="0">
                <a:pos x="connsiteX14457" y="connsiteY14457"/>
              </a:cxn>
              <a:cxn ang="0">
                <a:pos x="connsiteX14458" y="connsiteY14458"/>
              </a:cxn>
              <a:cxn ang="0">
                <a:pos x="connsiteX14459" y="connsiteY14459"/>
              </a:cxn>
              <a:cxn ang="0">
                <a:pos x="connsiteX14460" y="connsiteY14460"/>
              </a:cxn>
              <a:cxn ang="0">
                <a:pos x="connsiteX14461" y="connsiteY14461"/>
              </a:cxn>
              <a:cxn ang="0">
                <a:pos x="connsiteX14462" y="connsiteY14462"/>
              </a:cxn>
              <a:cxn ang="0">
                <a:pos x="connsiteX14463" y="connsiteY14463"/>
              </a:cxn>
              <a:cxn ang="0">
                <a:pos x="connsiteX14464" y="connsiteY14464"/>
              </a:cxn>
              <a:cxn ang="0">
                <a:pos x="connsiteX14465" y="connsiteY14465"/>
              </a:cxn>
              <a:cxn ang="0">
                <a:pos x="connsiteX14466" y="connsiteY14466"/>
              </a:cxn>
              <a:cxn ang="0">
                <a:pos x="connsiteX14467" y="connsiteY14467"/>
              </a:cxn>
              <a:cxn ang="0">
                <a:pos x="connsiteX14468" y="connsiteY14468"/>
              </a:cxn>
              <a:cxn ang="0">
                <a:pos x="connsiteX14469" y="connsiteY14469"/>
              </a:cxn>
              <a:cxn ang="0">
                <a:pos x="connsiteX14470" y="connsiteY14470"/>
              </a:cxn>
              <a:cxn ang="0">
                <a:pos x="connsiteX14471" y="connsiteY14471"/>
              </a:cxn>
              <a:cxn ang="0">
                <a:pos x="connsiteX14472" y="connsiteY14472"/>
              </a:cxn>
              <a:cxn ang="0">
                <a:pos x="connsiteX14473" y="connsiteY14473"/>
              </a:cxn>
              <a:cxn ang="0">
                <a:pos x="connsiteX14474" y="connsiteY14474"/>
              </a:cxn>
              <a:cxn ang="0">
                <a:pos x="connsiteX14475" y="connsiteY14475"/>
              </a:cxn>
              <a:cxn ang="0">
                <a:pos x="connsiteX14476" y="connsiteY14476"/>
              </a:cxn>
              <a:cxn ang="0">
                <a:pos x="connsiteX14477" y="connsiteY14477"/>
              </a:cxn>
              <a:cxn ang="0">
                <a:pos x="connsiteX14478" y="connsiteY14478"/>
              </a:cxn>
              <a:cxn ang="0">
                <a:pos x="connsiteX14479" y="connsiteY14479"/>
              </a:cxn>
              <a:cxn ang="0">
                <a:pos x="connsiteX14480" y="connsiteY14480"/>
              </a:cxn>
              <a:cxn ang="0">
                <a:pos x="connsiteX14481" y="connsiteY14481"/>
              </a:cxn>
              <a:cxn ang="0">
                <a:pos x="connsiteX14482" y="connsiteY14482"/>
              </a:cxn>
              <a:cxn ang="0">
                <a:pos x="connsiteX14483" y="connsiteY14483"/>
              </a:cxn>
              <a:cxn ang="0">
                <a:pos x="connsiteX14484" y="connsiteY14484"/>
              </a:cxn>
              <a:cxn ang="0">
                <a:pos x="connsiteX14485" y="connsiteY14485"/>
              </a:cxn>
              <a:cxn ang="0">
                <a:pos x="connsiteX14486" y="connsiteY14486"/>
              </a:cxn>
              <a:cxn ang="0">
                <a:pos x="connsiteX14487" y="connsiteY14487"/>
              </a:cxn>
              <a:cxn ang="0">
                <a:pos x="connsiteX14488" y="connsiteY14488"/>
              </a:cxn>
              <a:cxn ang="0">
                <a:pos x="connsiteX14489" y="connsiteY14489"/>
              </a:cxn>
              <a:cxn ang="0">
                <a:pos x="connsiteX14490" y="connsiteY14490"/>
              </a:cxn>
              <a:cxn ang="0">
                <a:pos x="connsiteX14491" y="connsiteY14491"/>
              </a:cxn>
              <a:cxn ang="0">
                <a:pos x="connsiteX14492" y="connsiteY14492"/>
              </a:cxn>
              <a:cxn ang="0">
                <a:pos x="connsiteX14493" y="connsiteY14493"/>
              </a:cxn>
              <a:cxn ang="0">
                <a:pos x="connsiteX14494" y="connsiteY14494"/>
              </a:cxn>
              <a:cxn ang="0">
                <a:pos x="connsiteX14495" y="connsiteY14495"/>
              </a:cxn>
              <a:cxn ang="0">
                <a:pos x="connsiteX14496" y="connsiteY14496"/>
              </a:cxn>
              <a:cxn ang="0">
                <a:pos x="connsiteX14497" y="connsiteY14497"/>
              </a:cxn>
              <a:cxn ang="0">
                <a:pos x="connsiteX14498" y="connsiteY14498"/>
              </a:cxn>
              <a:cxn ang="0">
                <a:pos x="connsiteX14499" y="connsiteY14499"/>
              </a:cxn>
              <a:cxn ang="0">
                <a:pos x="connsiteX14500" y="connsiteY14500"/>
              </a:cxn>
              <a:cxn ang="0">
                <a:pos x="connsiteX14501" y="connsiteY14501"/>
              </a:cxn>
              <a:cxn ang="0">
                <a:pos x="connsiteX14502" y="connsiteY14502"/>
              </a:cxn>
              <a:cxn ang="0">
                <a:pos x="connsiteX14503" y="connsiteY14503"/>
              </a:cxn>
              <a:cxn ang="0">
                <a:pos x="connsiteX14504" y="connsiteY14504"/>
              </a:cxn>
              <a:cxn ang="0">
                <a:pos x="connsiteX14505" y="connsiteY14505"/>
              </a:cxn>
              <a:cxn ang="0">
                <a:pos x="connsiteX14506" y="connsiteY14506"/>
              </a:cxn>
              <a:cxn ang="0">
                <a:pos x="connsiteX14507" y="connsiteY14507"/>
              </a:cxn>
              <a:cxn ang="0">
                <a:pos x="connsiteX14508" y="connsiteY14508"/>
              </a:cxn>
              <a:cxn ang="0">
                <a:pos x="connsiteX14509" y="connsiteY14509"/>
              </a:cxn>
              <a:cxn ang="0">
                <a:pos x="connsiteX14510" y="connsiteY14510"/>
              </a:cxn>
              <a:cxn ang="0">
                <a:pos x="connsiteX14511" y="connsiteY14511"/>
              </a:cxn>
              <a:cxn ang="0">
                <a:pos x="connsiteX14512" y="connsiteY14512"/>
              </a:cxn>
              <a:cxn ang="0">
                <a:pos x="connsiteX14513" y="connsiteY14513"/>
              </a:cxn>
              <a:cxn ang="0">
                <a:pos x="connsiteX14514" y="connsiteY14514"/>
              </a:cxn>
              <a:cxn ang="0">
                <a:pos x="connsiteX14515" y="connsiteY14515"/>
              </a:cxn>
              <a:cxn ang="0">
                <a:pos x="connsiteX14516" y="connsiteY14516"/>
              </a:cxn>
              <a:cxn ang="0">
                <a:pos x="connsiteX14517" y="connsiteY14517"/>
              </a:cxn>
              <a:cxn ang="0">
                <a:pos x="connsiteX14518" y="connsiteY14518"/>
              </a:cxn>
              <a:cxn ang="0">
                <a:pos x="connsiteX14519" y="connsiteY14519"/>
              </a:cxn>
              <a:cxn ang="0">
                <a:pos x="connsiteX14520" y="connsiteY14520"/>
              </a:cxn>
              <a:cxn ang="0">
                <a:pos x="connsiteX14521" y="connsiteY14521"/>
              </a:cxn>
              <a:cxn ang="0">
                <a:pos x="connsiteX14522" y="connsiteY14522"/>
              </a:cxn>
              <a:cxn ang="0">
                <a:pos x="connsiteX14523" y="connsiteY14523"/>
              </a:cxn>
              <a:cxn ang="0">
                <a:pos x="connsiteX14524" y="connsiteY14524"/>
              </a:cxn>
              <a:cxn ang="0">
                <a:pos x="connsiteX14525" y="connsiteY14525"/>
              </a:cxn>
              <a:cxn ang="0">
                <a:pos x="connsiteX14526" y="connsiteY14526"/>
              </a:cxn>
              <a:cxn ang="0">
                <a:pos x="connsiteX14527" y="connsiteY14527"/>
              </a:cxn>
              <a:cxn ang="0">
                <a:pos x="connsiteX14528" y="connsiteY14528"/>
              </a:cxn>
              <a:cxn ang="0">
                <a:pos x="connsiteX14529" y="connsiteY14529"/>
              </a:cxn>
              <a:cxn ang="0">
                <a:pos x="connsiteX14530" y="connsiteY14530"/>
              </a:cxn>
              <a:cxn ang="0">
                <a:pos x="connsiteX14531" y="connsiteY14531"/>
              </a:cxn>
              <a:cxn ang="0">
                <a:pos x="connsiteX14532" y="connsiteY14532"/>
              </a:cxn>
              <a:cxn ang="0">
                <a:pos x="connsiteX14533" y="connsiteY14533"/>
              </a:cxn>
              <a:cxn ang="0">
                <a:pos x="connsiteX14534" y="connsiteY14534"/>
              </a:cxn>
              <a:cxn ang="0">
                <a:pos x="connsiteX14535" y="connsiteY14535"/>
              </a:cxn>
              <a:cxn ang="0">
                <a:pos x="connsiteX14536" y="connsiteY14536"/>
              </a:cxn>
              <a:cxn ang="0">
                <a:pos x="connsiteX14537" y="connsiteY14537"/>
              </a:cxn>
              <a:cxn ang="0">
                <a:pos x="connsiteX14538" y="connsiteY14538"/>
              </a:cxn>
              <a:cxn ang="0">
                <a:pos x="connsiteX14539" y="connsiteY14539"/>
              </a:cxn>
              <a:cxn ang="0">
                <a:pos x="connsiteX14540" y="connsiteY14540"/>
              </a:cxn>
              <a:cxn ang="0">
                <a:pos x="connsiteX14541" y="connsiteY14541"/>
              </a:cxn>
              <a:cxn ang="0">
                <a:pos x="connsiteX14542" y="connsiteY14542"/>
              </a:cxn>
              <a:cxn ang="0">
                <a:pos x="connsiteX14543" y="connsiteY14543"/>
              </a:cxn>
              <a:cxn ang="0">
                <a:pos x="connsiteX14544" y="connsiteY14544"/>
              </a:cxn>
              <a:cxn ang="0">
                <a:pos x="connsiteX14545" y="connsiteY14545"/>
              </a:cxn>
              <a:cxn ang="0">
                <a:pos x="connsiteX14546" y="connsiteY14546"/>
              </a:cxn>
              <a:cxn ang="0">
                <a:pos x="connsiteX14547" y="connsiteY14547"/>
              </a:cxn>
              <a:cxn ang="0">
                <a:pos x="connsiteX14548" y="connsiteY14548"/>
              </a:cxn>
              <a:cxn ang="0">
                <a:pos x="connsiteX14549" y="connsiteY14549"/>
              </a:cxn>
              <a:cxn ang="0">
                <a:pos x="connsiteX14550" y="connsiteY14550"/>
              </a:cxn>
              <a:cxn ang="0">
                <a:pos x="connsiteX14551" y="connsiteY14551"/>
              </a:cxn>
              <a:cxn ang="0">
                <a:pos x="connsiteX14552" y="connsiteY14552"/>
              </a:cxn>
              <a:cxn ang="0">
                <a:pos x="connsiteX14553" y="connsiteY14553"/>
              </a:cxn>
              <a:cxn ang="0">
                <a:pos x="connsiteX14554" y="connsiteY14554"/>
              </a:cxn>
              <a:cxn ang="0">
                <a:pos x="connsiteX14555" y="connsiteY14555"/>
              </a:cxn>
              <a:cxn ang="0">
                <a:pos x="connsiteX14556" y="connsiteY14556"/>
              </a:cxn>
              <a:cxn ang="0">
                <a:pos x="connsiteX14557" y="connsiteY14557"/>
              </a:cxn>
              <a:cxn ang="0">
                <a:pos x="connsiteX14558" y="connsiteY14558"/>
              </a:cxn>
              <a:cxn ang="0">
                <a:pos x="connsiteX14559" y="connsiteY14559"/>
              </a:cxn>
              <a:cxn ang="0">
                <a:pos x="connsiteX14560" y="connsiteY14560"/>
              </a:cxn>
              <a:cxn ang="0">
                <a:pos x="connsiteX14561" y="connsiteY14561"/>
              </a:cxn>
              <a:cxn ang="0">
                <a:pos x="connsiteX14562" y="connsiteY14562"/>
              </a:cxn>
              <a:cxn ang="0">
                <a:pos x="connsiteX14563" y="connsiteY14563"/>
              </a:cxn>
              <a:cxn ang="0">
                <a:pos x="connsiteX14564" y="connsiteY14564"/>
              </a:cxn>
              <a:cxn ang="0">
                <a:pos x="connsiteX14565" y="connsiteY14565"/>
              </a:cxn>
              <a:cxn ang="0">
                <a:pos x="connsiteX14566" y="connsiteY14566"/>
              </a:cxn>
              <a:cxn ang="0">
                <a:pos x="connsiteX14567" y="connsiteY14567"/>
              </a:cxn>
              <a:cxn ang="0">
                <a:pos x="connsiteX14568" y="connsiteY14568"/>
              </a:cxn>
              <a:cxn ang="0">
                <a:pos x="connsiteX14569" y="connsiteY14569"/>
              </a:cxn>
              <a:cxn ang="0">
                <a:pos x="connsiteX14570" y="connsiteY14570"/>
              </a:cxn>
              <a:cxn ang="0">
                <a:pos x="connsiteX14571" y="connsiteY14571"/>
              </a:cxn>
              <a:cxn ang="0">
                <a:pos x="connsiteX14572" y="connsiteY14572"/>
              </a:cxn>
              <a:cxn ang="0">
                <a:pos x="connsiteX14573" y="connsiteY14573"/>
              </a:cxn>
              <a:cxn ang="0">
                <a:pos x="connsiteX14574" y="connsiteY14574"/>
              </a:cxn>
              <a:cxn ang="0">
                <a:pos x="connsiteX14575" y="connsiteY14575"/>
              </a:cxn>
              <a:cxn ang="0">
                <a:pos x="connsiteX14576" y="connsiteY14576"/>
              </a:cxn>
              <a:cxn ang="0">
                <a:pos x="connsiteX14577" y="connsiteY14577"/>
              </a:cxn>
              <a:cxn ang="0">
                <a:pos x="connsiteX14578" y="connsiteY14578"/>
              </a:cxn>
              <a:cxn ang="0">
                <a:pos x="connsiteX14579" y="connsiteY14579"/>
              </a:cxn>
              <a:cxn ang="0">
                <a:pos x="connsiteX14580" y="connsiteY14580"/>
              </a:cxn>
              <a:cxn ang="0">
                <a:pos x="connsiteX14581" y="connsiteY14581"/>
              </a:cxn>
              <a:cxn ang="0">
                <a:pos x="connsiteX14582" y="connsiteY14582"/>
              </a:cxn>
              <a:cxn ang="0">
                <a:pos x="connsiteX14583" y="connsiteY14583"/>
              </a:cxn>
              <a:cxn ang="0">
                <a:pos x="connsiteX14584" y="connsiteY14584"/>
              </a:cxn>
              <a:cxn ang="0">
                <a:pos x="connsiteX14585" y="connsiteY14585"/>
              </a:cxn>
              <a:cxn ang="0">
                <a:pos x="connsiteX14586" y="connsiteY14586"/>
              </a:cxn>
              <a:cxn ang="0">
                <a:pos x="connsiteX14587" y="connsiteY14587"/>
              </a:cxn>
              <a:cxn ang="0">
                <a:pos x="connsiteX14588" y="connsiteY14588"/>
              </a:cxn>
              <a:cxn ang="0">
                <a:pos x="connsiteX14589" y="connsiteY14589"/>
              </a:cxn>
              <a:cxn ang="0">
                <a:pos x="connsiteX14590" y="connsiteY14590"/>
              </a:cxn>
              <a:cxn ang="0">
                <a:pos x="connsiteX14591" y="connsiteY14591"/>
              </a:cxn>
              <a:cxn ang="0">
                <a:pos x="connsiteX14592" y="connsiteY14592"/>
              </a:cxn>
              <a:cxn ang="0">
                <a:pos x="connsiteX14593" y="connsiteY14593"/>
              </a:cxn>
              <a:cxn ang="0">
                <a:pos x="connsiteX14594" y="connsiteY14594"/>
              </a:cxn>
              <a:cxn ang="0">
                <a:pos x="connsiteX14595" y="connsiteY14595"/>
              </a:cxn>
              <a:cxn ang="0">
                <a:pos x="connsiteX14596" y="connsiteY14596"/>
              </a:cxn>
              <a:cxn ang="0">
                <a:pos x="connsiteX14597" y="connsiteY14597"/>
              </a:cxn>
              <a:cxn ang="0">
                <a:pos x="connsiteX14598" y="connsiteY14598"/>
              </a:cxn>
              <a:cxn ang="0">
                <a:pos x="connsiteX14599" y="connsiteY14599"/>
              </a:cxn>
              <a:cxn ang="0">
                <a:pos x="connsiteX14600" y="connsiteY14600"/>
              </a:cxn>
              <a:cxn ang="0">
                <a:pos x="connsiteX14601" y="connsiteY14601"/>
              </a:cxn>
              <a:cxn ang="0">
                <a:pos x="connsiteX14602" y="connsiteY14602"/>
              </a:cxn>
              <a:cxn ang="0">
                <a:pos x="connsiteX14603" y="connsiteY14603"/>
              </a:cxn>
              <a:cxn ang="0">
                <a:pos x="connsiteX14604" y="connsiteY14604"/>
              </a:cxn>
              <a:cxn ang="0">
                <a:pos x="connsiteX14605" y="connsiteY14605"/>
              </a:cxn>
              <a:cxn ang="0">
                <a:pos x="connsiteX14606" y="connsiteY14606"/>
              </a:cxn>
              <a:cxn ang="0">
                <a:pos x="connsiteX14607" y="connsiteY14607"/>
              </a:cxn>
              <a:cxn ang="0">
                <a:pos x="connsiteX14608" y="connsiteY14608"/>
              </a:cxn>
              <a:cxn ang="0">
                <a:pos x="connsiteX14609" y="connsiteY14609"/>
              </a:cxn>
              <a:cxn ang="0">
                <a:pos x="connsiteX14610" y="connsiteY14610"/>
              </a:cxn>
              <a:cxn ang="0">
                <a:pos x="connsiteX14611" y="connsiteY14611"/>
              </a:cxn>
              <a:cxn ang="0">
                <a:pos x="connsiteX14612" y="connsiteY14612"/>
              </a:cxn>
              <a:cxn ang="0">
                <a:pos x="connsiteX14613" y="connsiteY14613"/>
              </a:cxn>
              <a:cxn ang="0">
                <a:pos x="connsiteX14614" y="connsiteY14614"/>
              </a:cxn>
              <a:cxn ang="0">
                <a:pos x="connsiteX14615" y="connsiteY14615"/>
              </a:cxn>
              <a:cxn ang="0">
                <a:pos x="connsiteX14616" y="connsiteY14616"/>
              </a:cxn>
              <a:cxn ang="0">
                <a:pos x="connsiteX14617" y="connsiteY14617"/>
              </a:cxn>
              <a:cxn ang="0">
                <a:pos x="connsiteX14618" y="connsiteY14618"/>
              </a:cxn>
              <a:cxn ang="0">
                <a:pos x="connsiteX14619" y="connsiteY14619"/>
              </a:cxn>
              <a:cxn ang="0">
                <a:pos x="connsiteX14620" y="connsiteY14620"/>
              </a:cxn>
              <a:cxn ang="0">
                <a:pos x="connsiteX14621" y="connsiteY14621"/>
              </a:cxn>
              <a:cxn ang="0">
                <a:pos x="connsiteX14622" y="connsiteY14622"/>
              </a:cxn>
              <a:cxn ang="0">
                <a:pos x="connsiteX14623" y="connsiteY14623"/>
              </a:cxn>
              <a:cxn ang="0">
                <a:pos x="connsiteX14624" y="connsiteY14624"/>
              </a:cxn>
              <a:cxn ang="0">
                <a:pos x="connsiteX14625" y="connsiteY14625"/>
              </a:cxn>
              <a:cxn ang="0">
                <a:pos x="connsiteX14626" y="connsiteY14626"/>
              </a:cxn>
              <a:cxn ang="0">
                <a:pos x="connsiteX14627" y="connsiteY14627"/>
              </a:cxn>
              <a:cxn ang="0">
                <a:pos x="connsiteX14628" y="connsiteY14628"/>
              </a:cxn>
              <a:cxn ang="0">
                <a:pos x="connsiteX14629" y="connsiteY14629"/>
              </a:cxn>
              <a:cxn ang="0">
                <a:pos x="connsiteX14630" y="connsiteY14630"/>
              </a:cxn>
              <a:cxn ang="0">
                <a:pos x="connsiteX14631" y="connsiteY14631"/>
              </a:cxn>
              <a:cxn ang="0">
                <a:pos x="connsiteX14632" y="connsiteY14632"/>
              </a:cxn>
              <a:cxn ang="0">
                <a:pos x="connsiteX14633" y="connsiteY14633"/>
              </a:cxn>
              <a:cxn ang="0">
                <a:pos x="connsiteX14634" y="connsiteY14634"/>
              </a:cxn>
              <a:cxn ang="0">
                <a:pos x="connsiteX14635" y="connsiteY14635"/>
              </a:cxn>
              <a:cxn ang="0">
                <a:pos x="connsiteX14636" y="connsiteY14636"/>
              </a:cxn>
              <a:cxn ang="0">
                <a:pos x="connsiteX14637" y="connsiteY14637"/>
              </a:cxn>
              <a:cxn ang="0">
                <a:pos x="connsiteX14638" y="connsiteY14638"/>
              </a:cxn>
              <a:cxn ang="0">
                <a:pos x="connsiteX14639" y="connsiteY14639"/>
              </a:cxn>
              <a:cxn ang="0">
                <a:pos x="connsiteX14640" y="connsiteY14640"/>
              </a:cxn>
              <a:cxn ang="0">
                <a:pos x="connsiteX14641" y="connsiteY14641"/>
              </a:cxn>
              <a:cxn ang="0">
                <a:pos x="connsiteX14642" y="connsiteY14642"/>
              </a:cxn>
              <a:cxn ang="0">
                <a:pos x="connsiteX14643" y="connsiteY14643"/>
              </a:cxn>
              <a:cxn ang="0">
                <a:pos x="connsiteX14644" y="connsiteY14644"/>
              </a:cxn>
              <a:cxn ang="0">
                <a:pos x="connsiteX14645" y="connsiteY14645"/>
              </a:cxn>
              <a:cxn ang="0">
                <a:pos x="connsiteX14646" y="connsiteY14646"/>
              </a:cxn>
              <a:cxn ang="0">
                <a:pos x="connsiteX14647" y="connsiteY14647"/>
              </a:cxn>
              <a:cxn ang="0">
                <a:pos x="connsiteX14648" y="connsiteY14648"/>
              </a:cxn>
              <a:cxn ang="0">
                <a:pos x="connsiteX14649" y="connsiteY14649"/>
              </a:cxn>
              <a:cxn ang="0">
                <a:pos x="connsiteX14650" y="connsiteY14650"/>
              </a:cxn>
              <a:cxn ang="0">
                <a:pos x="connsiteX14651" y="connsiteY14651"/>
              </a:cxn>
              <a:cxn ang="0">
                <a:pos x="connsiteX14652" y="connsiteY14652"/>
              </a:cxn>
              <a:cxn ang="0">
                <a:pos x="connsiteX14653" y="connsiteY14653"/>
              </a:cxn>
              <a:cxn ang="0">
                <a:pos x="connsiteX14654" y="connsiteY14654"/>
              </a:cxn>
              <a:cxn ang="0">
                <a:pos x="connsiteX14655" y="connsiteY14655"/>
              </a:cxn>
              <a:cxn ang="0">
                <a:pos x="connsiteX14656" y="connsiteY14656"/>
              </a:cxn>
              <a:cxn ang="0">
                <a:pos x="connsiteX14657" y="connsiteY14657"/>
              </a:cxn>
              <a:cxn ang="0">
                <a:pos x="connsiteX14658" y="connsiteY14658"/>
              </a:cxn>
              <a:cxn ang="0">
                <a:pos x="connsiteX14659" y="connsiteY14659"/>
              </a:cxn>
              <a:cxn ang="0">
                <a:pos x="connsiteX14660" y="connsiteY14660"/>
              </a:cxn>
              <a:cxn ang="0">
                <a:pos x="connsiteX14661" y="connsiteY14661"/>
              </a:cxn>
              <a:cxn ang="0">
                <a:pos x="connsiteX14662" y="connsiteY14662"/>
              </a:cxn>
              <a:cxn ang="0">
                <a:pos x="connsiteX14663" y="connsiteY14663"/>
              </a:cxn>
              <a:cxn ang="0">
                <a:pos x="connsiteX14664" y="connsiteY14664"/>
              </a:cxn>
              <a:cxn ang="0">
                <a:pos x="connsiteX14665" y="connsiteY14665"/>
              </a:cxn>
              <a:cxn ang="0">
                <a:pos x="connsiteX14666" y="connsiteY14666"/>
              </a:cxn>
              <a:cxn ang="0">
                <a:pos x="connsiteX14667" y="connsiteY14667"/>
              </a:cxn>
              <a:cxn ang="0">
                <a:pos x="connsiteX14668" y="connsiteY14668"/>
              </a:cxn>
              <a:cxn ang="0">
                <a:pos x="connsiteX14669" y="connsiteY14669"/>
              </a:cxn>
              <a:cxn ang="0">
                <a:pos x="connsiteX14670" y="connsiteY14670"/>
              </a:cxn>
              <a:cxn ang="0">
                <a:pos x="connsiteX14671" y="connsiteY14671"/>
              </a:cxn>
              <a:cxn ang="0">
                <a:pos x="connsiteX14672" y="connsiteY14672"/>
              </a:cxn>
              <a:cxn ang="0">
                <a:pos x="connsiteX14673" y="connsiteY14673"/>
              </a:cxn>
              <a:cxn ang="0">
                <a:pos x="connsiteX14674" y="connsiteY14674"/>
              </a:cxn>
              <a:cxn ang="0">
                <a:pos x="connsiteX14675" y="connsiteY14675"/>
              </a:cxn>
              <a:cxn ang="0">
                <a:pos x="connsiteX14676" y="connsiteY14676"/>
              </a:cxn>
              <a:cxn ang="0">
                <a:pos x="connsiteX14677" y="connsiteY14677"/>
              </a:cxn>
              <a:cxn ang="0">
                <a:pos x="connsiteX14678" y="connsiteY14678"/>
              </a:cxn>
              <a:cxn ang="0">
                <a:pos x="connsiteX14679" y="connsiteY14679"/>
              </a:cxn>
              <a:cxn ang="0">
                <a:pos x="connsiteX14680" y="connsiteY14680"/>
              </a:cxn>
              <a:cxn ang="0">
                <a:pos x="connsiteX14681" y="connsiteY14681"/>
              </a:cxn>
              <a:cxn ang="0">
                <a:pos x="connsiteX14682" y="connsiteY14682"/>
              </a:cxn>
              <a:cxn ang="0">
                <a:pos x="connsiteX14683" y="connsiteY14683"/>
              </a:cxn>
              <a:cxn ang="0">
                <a:pos x="connsiteX14684" y="connsiteY14684"/>
              </a:cxn>
              <a:cxn ang="0">
                <a:pos x="connsiteX14685" y="connsiteY14685"/>
              </a:cxn>
              <a:cxn ang="0">
                <a:pos x="connsiteX14686" y="connsiteY14686"/>
              </a:cxn>
              <a:cxn ang="0">
                <a:pos x="connsiteX14687" y="connsiteY14687"/>
              </a:cxn>
              <a:cxn ang="0">
                <a:pos x="connsiteX14688" y="connsiteY14688"/>
              </a:cxn>
              <a:cxn ang="0">
                <a:pos x="connsiteX14689" y="connsiteY14689"/>
              </a:cxn>
              <a:cxn ang="0">
                <a:pos x="connsiteX14690" y="connsiteY14690"/>
              </a:cxn>
              <a:cxn ang="0">
                <a:pos x="connsiteX14691" y="connsiteY14691"/>
              </a:cxn>
              <a:cxn ang="0">
                <a:pos x="connsiteX14692" y="connsiteY14692"/>
              </a:cxn>
              <a:cxn ang="0">
                <a:pos x="connsiteX14693" y="connsiteY14693"/>
              </a:cxn>
              <a:cxn ang="0">
                <a:pos x="connsiteX14694" y="connsiteY14694"/>
              </a:cxn>
              <a:cxn ang="0">
                <a:pos x="connsiteX14695" y="connsiteY14695"/>
              </a:cxn>
              <a:cxn ang="0">
                <a:pos x="connsiteX14696" y="connsiteY14696"/>
              </a:cxn>
              <a:cxn ang="0">
                <a:pos x="connsiteX14697" y="connsiteY14697"/>
              </a:cxn>
              <a:cxn ang="0">
                <a:pos x="connsiteX14698" y="connsiteY14698"/>
              </a:cxn>
              <a:cxn ang="0">
                <a:pos x="connsiteX14699" y="connsiteY14699"/>
              </a:cxn>
              <a:cxn ang="0">
                <a:pos x="connsiteX14700" y="connsiteY14700"/>
              </a:cxn>
              <a:cxn ang="0">
                <a:pos x="connsiteX14701" y="connsiteY14701"/>
              </a:cxn>
              <a:cxn ang="0">
                <a:pos x="connsiteX14702" y="connsiteY14702"/>
              </a:cxn>
              <a:cxn ang="0">
                <a:pos x="connsiteX14703" y="connsiteY14703"/>
              </a:cxn>
              <a:cxn ang="0">
                <a:pos x="connsiteX14704" y="connsiteY14704"/>
              </a:cxn>
              <a:cxn ang="0">
                <a:pos x="connsiteX14705" y="connsiteY14705"/>
              </a:cxn>
              <a:cxn ang="0">
                <a:pos x="connsiteX14706" y="connsiteY14706"/>
              </a:cxn>
              <a:cxn ang="0">
                <a:pos x="connsiteX14707" y="connsiteY14707"/>
              </a:cxn>
              <a:cxn ang="0">
                <a:pos x="connsiteX14708" y="connsiteY14708"/>
              </a:cxn>
              <a:cxn ang="0">
                <a:pos x="connsiteX14709" y="connsiteY14709"/>
              </a:cxn>
              <a:cxn ang="0">
                <a:pos x="connsiteX14710" y="connsiteY14710"/>
              </a:cxn>
              <a:cxn ang="0">
                <a:pos x="connsiteX14711" y="connsiteY14711"/>
              </a:cxn>
              <a:cxn ang="0">
                <a:pos x="connsiteX14712" y="connsiteY14712"/>
              </a:cxn>
              <a:cxn ang="0">
                <a:pos x="connsiteX14713" y="connsiteY14713"/>
              </a:cxn>
              <a:cxn ang="0">
                <a:pos x="connsiteX14714" y="connsiteY14714"/>
              </a:cxn>
              <a:cxn ang="0">
                <a:pos x="connsiteX14715" y="connsiteY14715"/>
              </a:cxn>
              <a:cxn ang="0">
                <a:pos x="connsiteX14716" y="connsiteY14716"/>
              </a:cxn>
              <a:cxn ang="0">
                <a:pos x="connsiteX14717" y="connsiteY14717"/>
              </a:cxn>
              <a:cxn ang="0">
                <a:pos x="connsiteX14718" y="connsiteY14718"/>
              </a:cxn>
              <a:cxn ang="0">
                <a:pos x="connsiteX14719" y="connsiteY14719"/>
              </a:cxn>
              <a:cxn ang="0">
                <a:pos x="connsiteX14720" y="connsiteY14720"/>
              </a:cxn>
              <a:cxn ang="0">
                <a:pos x="connsiteX14721" y="connsiteY14721"/>
              </a:cxn>
              <a:cxn ang="0">
                <a:pos x="connsiteX14722" y="connsiteY14722"/>
              </a:cxn>
              <a:cxn ang="0">
                <a:pos x="connsiteX14723" y="connsiteY14723"/>
              </a:cxn>
              <a:cxn ang="0">
                <a:pos x="connsiteX14724" y="connsiteY14724"/>
              </a:cxn>
              <a:cxn ang="0">
                <a:pos x="connsiteX14725" y="connsiteY14725"/>
              </a:cxn>
              <a:cxn ang="0">
                <a:pos x="connsiteX14726" y="connsiteY14726"/>
              </a:cxn>
              <a:cxn ang="0">
                <a:pos x="connsiteX14727" y="connsiteY14727"/>
              </a:cxn>
              <a:cxn ang="0">
                <a:pos x="connsiteX14728" y="connsiteY14728"/>
              </a:cxn>
              <a:cxn ang="0">
                <a:pos x="connsiteX14729" y="connsiteY14729"/>
              </a:cxn>
              <a:cxn ang="0">
                <a:pos x="connsiteX14730" y="connsiteY14730"/>
              </a:cxn>
              <a:cxn ang="0">
                <a:pos x="connsiteX14731" y="connsiteY14731"/>
              </a:cxn>
              <a:cxn ang="0">
                <a:pos x="connsiteX14732" y="connsiteY14732"/>
              </a:cxn>
              <a:cxn ang="0">
                <a:pos x="connsiteX14733" y="connsiteY14733"/>
              </a:cxn>
              <a:cxn ang="0">
                <a:pos x="connsiteX14734" y="connsiteY14734"/>
              </a:cxn>
              <a:cxn ang="0">
                <a:pos x="connsiteX14735" y="connsiteY14735"/>
              </a:cxn>
              <a:cxn ang="0">
                <a:pos x="connsiteX14736" y="connsiteY14736"/>
              </a:cxn>
              <a:cxn ang="0">
                <a:pos x="connsiteX14737" y="connsiteY14737"/>
              </a:cxn>
              <a:cxn ang="0">
                <a:pos x="connsiteX14738" y="connsiteY14738"/>
              </a:cxn>
              <a:cxn ang="0">
                <a:pos x="connsiteX14739" y="connsiteY14739"/>
              </a:cxn>
              <a:cxn ang="0">
                <a:pos x="connsiteX14740" y="connsiteY14740"/>
              </a:cxn>
              <a:cxn ang="0">
                <a:pos x="connsiteX14741" y="connsiteY14741"/>
              </a:cxn>
              <a:cxn ang="0">
                <a:pos x="connsiteX14742" y="connsiteY14742"/>
              </a:cxn>
              <a:cxn ang="0">
                <a:pos x="connsiteX14743" y="connsiteY14743"/>
              </a:cxn>
              <a:cxn ang="0">
                <a:pos x="connsiteX14744" y="connsiteY14744"/>
              </a:cxn>
              <a:cxn ang="0">
                <a:pos x="connsiteX14745" y="connsiteY14745"/>
              </a:cxn>
              <a:cxn ang="0">
                <a:pos x="connsiteX14746" y="connsiteY14746"/>
              </a:cxn>
              <a:cxn ang="0">
                <a:pos x="connsiteX14747" y="connsiteY14747"/>
              </a:cxn>
              <a:cxn ang="0">
                <a:pos x="connsiteX14748" y="connsiteY14748"/>
              </a:cxn>
              <a:cxn ang="0">
                <a:pos x="connsiteX14749" y="connsiteY14749"/>
              </a:cxn>
              <a:cxn ang="0">
                <a:pos x="connsiteX14750" y="connsiteY14750"/>
              </a:cxn>
              <a:cxn ang="0">
                <a:pos x="connsiteX14751" y="connsiteY14751"/>
              </a:cxn>
              <a:cxn ang="0">
                <a:pos x="connsiteX14752" y="connsiteY14752"/>
              </a:cxn>
              <a:cxn ang="0">
                <a:pos x="connsiteX14753" y="connsiteY14753"/>
              </a:cxn>
              <a:cxn ang="0">
                <a:pos x="connsiteX14754" y="connsiteY14754"/>
              </a:cxn>
              <a:cxn ang="0">
                <a:pos x="connsiteX14755" y="connsiteY14755"/>
              </a:cxn>
              <a:cxn ang="0">
                <a:pos x="connsiteX14756" y="connsiteY14756"/>
              </a:cxn>
              <a:cxn ang="0">
                <a:pos x="connsiteX14757" y="connsiteY14757"/>
              </a:cxn>
              <a:cxn ang="0">
                <a:pos x="connsiteX14758" y="connsiteY14758"/>
              </a:cxn>
              <a:cxn ang="0">
                <a:pos x="connsiteX14759" y="connsiteY14759"/>
              </a:cxn>
              <a:cxn ang="0">
                <a:pos x="connsiteX14760" y="connsiteY14760"/>
              </a:cxn>
              <a:cxn ang="0">
                <a:pos x="connsiteX14761" y="connsiteY14761"/>
              </a:cxn>
              <a:cxn ang="0">
                <a:pos x="connsiteX14762" y="connsiteY14762"/>
              </a:cxn>
              <a:cxn ang="0">
                <a:pos x="connsiteX14763" y="connsiteY14763"/>
              </a:cxn>
              <a:cxn ang="0">
                <a:pos x="connsiteX14764" y="connsiteY14764"/>
              </a:cxn>
              <a:cxn ang="0">
                <a:pos x="connsiteX14765" y="connsiteY14765"/>
              </a:cxn>
              <a:cxn ang="0">
                <a:pos x="connsiteX14766" y="connsiteY14766"/>
              </a:cxn>
              <a:cxn ang="0">
                <a:pos x="connsiteX14767" y="connsiteY14767"/>
              </a:cxn>
              <a:cxn ang="0">
                <a:pos x="connsiteX14768" y="connsiteY14768"/>
              </a:cxn>
              <a:cxn ang="0">
                <a:pos x="connsiteX14769" y="connsiteY14769"/>
              </a:cxn>
              <a:cxn ang="0">
                <a:pos x="connsiteX14770" y="connsiteY14770"/>
              </a:cxn>
              <a:cxn ang="0">
                <a:pos x="connsiteX14771" y="connsiteY14771"/>
              </a:cxn>
              <a:cxn ang="0">
                <a:pos x="connsiteX14772" y="connsiteY14772"/>
              </a:cxn>
              <a:cxn ang="0">
                <a:pos x="connsiteX14773" y="connsiteY14773"/>
              </a:cxn>
              <a:cxn ang="0">
                <a:pos x="connsiteX14774" y="connsiteY14774"/>
              </a:cxn>
              <a:cxn ang="0">
                <a:pos x="connsiteX14775" y="connsiteY14775"/>
              </a:cxn>
              <a:cxn ang="0">
                <a:pos x="connsiteX14776" y="connsiteY14776"/>
              </a:cxn>
              <a:cxn ang="0">
                <a:pos x="connsiteX14777" y="connsiteY14777"/>
              </a:cxn>
              <a:cxn ang="0">
                <a:pos x="connsiteX14778" y="connsiteY14778"/>
              </a:cxn>
              <a:cxn ang="0">
                <a:pos x="connsiteX14779" y="connsiteY14779"/>
              </a:cxn>
              <a:cxn ang="0">
                <a:pos x="connsiteX14780" y="connsiteY14780"/>
              </a:cxn>
              <a:cxn ang="0">
                <a:pos x="connsiteX14781" y="connsiteY14781"/>
              </a:cxn>
              <a:cxn ang="0">
                <a:pos x="connsiteX14782" y="connsiteY14782"/>
              </a:cxn>
              <a:cxn ang="0">
                <a:pos x="connsiteX14783" y="connsiteY14783"/>
              </a:cxn>
              <a:cxn ang="0">
                <a:pos x="connsiteX14784" y="connsiteY14784"/>
              </a:cxn>
              <a:cxn ang="0">
                <a:pos x="connsiteX14785" y="connsiteY14785"/>
              </a:cxn>
              <a:cxn ang="0">
                <a:pos x="connsiteX14786" y="connsiteY14786"/>
              </a:cxn>
              <a:cxn ang="0">
                <a:pos x="connsiteX14787" y="connsiteY14787"/>
              </a:cxn>
              <a:cxn ang="0">
                <a:pos x="connsiteX14788" y="connsiteY14788"/>
              </a:cxn>
              <a:cxn ang="0">
                <a:pos x="connsiteX14789" y="connsiteY14789"/>
              </a:cxn>
              <a:cxn ang="0">
                <a:pos x="connsiteX14790" y="connsiteY14790"/>
              </a:cxn>
              <a:cxn ang="0">
                <a:pos x="connsiteX14791" y="connsiteY14791"/>
              </a:cxn>
              <a:cxn ang="0">
                <a:pos x="connsiteX14792" y="connsiteY14792"/>
              </a:cxn>
              <a:cxn ang="0">
                <a:pos x="connsiteX14793" y="connsiteY14793"/>
              </a:cxn>
              <a:cxn ang="0">
                <a:pos x="connsiteX14794" y="connsiteY14794"/>
              </a:cxn>
              <a:cxn ang="0">
                <a:pos x="connsiteX14795" y="connsiteY14795"/>
              </a:cxn>
              <a:cxn ang="0">
                <a:pos x="connsiteX14796" y="connsiteY14796"/>
              </a:cxn>
              <a:cxn ang="0">
                <a:pos x="connsiteX14797" y="connsiteY14797"/>
              </a:cxn>
              <a:cxn ang="0">
                <a:pos x="connsiteX14798" y="connsiteY14798"/>
              </a:cxn>
              <a:cxn ang="0">
                <a:pos x="connsiteX14799" y="connsiteY14799"/>
              </a:cxn>
              <a:cxn ang="0">
                <a:pos x="connsiteX14800" y="connsiteY14800"/>
              </a:cxn>
              <a:cxn ang="0">
                <a:pos x="connsiteX14801" y="connsiteY14801"/>
              </a:cxn>
              <a:cxn ang="0">
                <a:pos x="connsiteX14802" y="connsiteY14802"/>
              </a:cxn>
              <a:cxn ang="0">
                <a:pos x="connsiteX14803" y="connsiteY14803"/>
              </a:cxn>
              <a:cxn ang="0">
                <a:pos x="connsiteX14804" y="connsiteY14804"/>
              </a:cxn>
              <a:cxn ang="0">
                <a:pos x="connsiteX14805" y="connsiteY14805"/>
              </a:cxn>
              <a:cxn ang="0">
                <a:pos x="connsiteX14806" y="connsiteY14806"/>
              </a:cxn>
              <a:cxn ang="0">
                <a:pos x="connsiteX14807" y="connsiteY14807"/>
              </a:cxn>
              <a:cxn ang="0">
                <a:pos x="connsiteX14808" y="connsiteY14808"/>
              </a:cxn>
              <a:cxn ang="0">
                <a:pos x="connsiteX14809" y="connsiteY14809"/>
              </a:cxn>
              <a:cxn ang="0">
                <a:pos x="connsiteX14810" y="connsiteY14810"/>
              </a:cxn>
              <a:cxn ang="0">
                <a:pos x="connsiteX14811" y="connsiteY14811"/>
              </a:cxn>
              <a:cxn ang="0">
                <a:pos x="connsiteX14812" y="connsiteY14812"/>
              </a:cxn>
              <a:cxn ang="0">
                <a:pos x="connsiteX14813" y="connsiteY14813"/>
              </a:cxn>
              <a:cxn ang="0">
                <a:pos x="connsiteX14814" y="connsiteY14814"/>
              </a:cxn>
              <a:cxn ang="0">
                <a:pos x="connsiteX14815" y="connsiteY14815"/>
              </a:cxn>
              <a:cxn ang="0">
                <a:pos x="connsiteX14816" y="connsiteY14816"/>
              </a:cxn>
              <a:cxn ang="0">
                <a:pos x="connsiteX14817" y="connsiteY14817"/>
              </a:cxn>
              <a:cxn ang="0">
                <a:pos x="connsiteX14818" y="connsiteY14818"/>
              </a:cxn>
              <a:cxn ang="0">
                <a:pos x="connsiteX14819" y="connsiteY14819"/>
              </a:cxn>
              <a:cxn ang="0">
                <a:pos x="connsiteX14820" y="connsiteY14820"/>
              </a:cxn>
              <a:cxn ang="0">
                <a:pos x="connsiteX14821" y="connsiteY14821"/>
              </a:cxn>
              <a:cxn ang="0">
                <a:pos x="connsiteX14822" y="connsiteY14822"/>
              </a:cxn>
              <a:cxn ang="0">
                <a:pos x="connsiteX14823" y="connsiteY14823"/>
              </a:cxn>
              <a:cxn ang="0">
                <a:pos x="connsiteX14824" y="connsiteY14824"/>
              </a:cxn>
              <a:cxn ang="0">
                <a:pos x="connsiteX14825" y="connsiteY14825"/>
              </a:cxn>
              <a:cxn ang="0">
                <a:pos x="connsiteX14826" y="connsiteY14826"/>
              </a:cxn>
              <a:cxn ang="0">
                <a:pos x="connsiteX14827" y="connsiteY14827"/>
              </a:cxn>
              <a:cxn ang="0">
                <a:pos x="connsiteX14828" y="connsiteY14828"/>
              </a:cxn>
              <a:cxn ang="0">
                <a:pos x="connsiteX14829" y="connsiteY14829"/>
              </a:cxn>
              <a:cxn ang="0">
                <a:pos x="connsiteX14830" y="connsiteY14830"/>
              </a:cxn>
              <a:cxn ang="0">
                <a:pos x="connsiteX14831" y="connsiteY14831"/>
              </a:cxn>
              <a:cxn ang="0">
                <a:pos x="connsiteX14832" y="connsiteY14832"/>
              </a:cxn>
              <a:cxn ang="0">
                <a:pos x="connsiteX14833" y="connsiteY14833"/>
              </a:cxn>
              <a:cxn ang="0">
                <a:pos x="connsiteX14834" y="connsiteY14834"/>
              </a:cxn>
              <a:cxn ang="0">
                <a:pos x="connsiteX14835" y="connsiteY14835"/>
              </a:cxn>
              <a:cxn ang="0">
                <a:pos x="connsiteX14836" y="connsiteY14836"/>
              </a:cxn>
              <a:cxn ang="0">
                <a:pos x="connsiteX14837" y="connsiteY14837"/>
              </a:cxn>
              <a:cxn ang="0">
                <a:pos x="connsiteX14838" y="connsiteY14838"/>
              </a:cxn>
              <a:cxn ang="0">
                <a:pos x="connsiteX14839" y="connsiteY14839"/>
              </a:cxn>
              <a:cxn ang="0">
                <a:pos x="connsiteX14840" y="connsiteY14840"/>
              </a:cxn>
              <a:cxn ang="0">
                <a:pos x="connsiteX14841" y="connsiteY14841"/>
              </a:cxn>
              <a:cxn ang="0">
                <a:pos x="connsiteX14842" y="connsiteY14842"/>
              </a:cxn>
              <a:cxn ang="0">
                <a:pos x="connsiteX14843" y="connsiteY14843"/>
              </a:cxn>
              <a:cxn ang="0">
                <a:pos x="connsiteX14844" y="connsiteY14844"/>
              </a:cxn>
              <a:cxn ang="0">
                <a:pos x="connsiteX14845" y="connsiteY14845"/>
              </a:cxn>
              <a:cxn ang="0">
                <a:pos x="connsiteX14846" y="connsiteY14846"/>
              </a:cxn>
              <a:cxn ang="0">
                <a:pos x="connsiteX14847" y="connsiteY14847"/>
              </a:cxn>
              <a:cxn ang="0">
                <a:pos x="connsiteX14848" y="connsiteY14848"/>
              </a:cxn>
              <a:cxn ang="0">
                <a:pos x="connsiteX14849" y="connsiteY14849"/>
              </a:cxn>
              <a:cxn ang="0">
                <a:pos x="connsiteX14850" y="connsiteY14850"/>
              </a:cxn>
              <a:cxn ang="0">
                <a:pos x="connsiteX14851" y="connsiteY14851"/>
              </a:cxn>
              <a:cxn ang="0">
                <a:pos x="connsiteX14852" y="connsiteY14852"/>
              </a:cxn>
              <a:cxn ang="0">
                <a:pos x="connsiteX14853" y="connsiteY14853"/>
              </a:cxn>
              <a:cxn ang="0">
                <a:pos x="connsiteX14854" y="connsiteY14854"/>
              </a:cxn>
              <a:cxn ang="0">
                <a:pos x="connsiteX14855" y="connsiteY14855"/>
              </a:cxn>
              <a:cxn ang="0">
                <a:pos x="connsiteX14856" y="connsiteY14856"/>
              </a:cxn>
              <a:cxn ang="0">
                <a:pos x="connsiteX14857" y="connsiteY14857"/>
              </a:cxn>
              <a:cxn ang="0">
                <a:pos x="connsiteX14858" y="connsiteY14858"/>
              </a:cxn>
              <a:cxn ang="0">
                <a:pos x="connsiteX14859" y="connsiteY14859"/>
              </a:cxn>
              <a:cxn ang="0">
                <a:pos x="connsiteX14860" y="connsiteY14860"/>
              </a:cxn>
              <a:cxn ang="0">
                <a:pos x="connsiteX14861" y="connsiteY14861"/>
              </a:cxn>
              <a:cxn ang="0">
                <a:pos x="connsiteX14862" y="connsiteY14862"/>
              </a:cxn>
              <a:cxn ang="0">
                <a:pos x="connsiteX14863" y="connsiteY14863"/>
              </a:cxn>
              <a:cxn ang="0">
                <a:pos x="connsiteX14864" y="connsiteY14864"/>
              </a:cxn>
              <a:cxn ang="0">
                <a:pos x="connsiteX14865" y="connsiteY14865"/>
              </a:cxn>
              <a:cxn ang="0">
                <a:pos x="connsiteX14866" y="connsiteY14866"/>
              </a:cxn>
              <a:cxn ang="0">
                <a:pos x="connsiteX14867" y="connsiteY14867"/>
              </a:cxn>
              <a:cxn ang="0">
                <a:pos x="connsiteX14868" y="connsiteY14868"/>
              </a:cxn>
              <a:cxn ang="0">
                <a:pos x="connsiteX14869" y="connsiteY14869"/>
              </a:cxn>
              <a:cxn ang="0">
                <a:pos x="connsiteX14870" y="connsiteY14870"/>
              </a:cxn>
              <a:cxn ang="0">
                <a:pos x="connsiteX14871" y="connsiteY14871"/>
              </a:cxn>
              <a:cxn ang="0">
                <a:pos x="connsiteX14872" y="connsiteY14872"/>
              </a:cxn>
              <a:cxn ang="0">
                <a:pos x="connsiteX14873" y="connsiteY14873"/>
              </a:cxn>
              <a:cxn ang="0">
                <a:pos x="connsiteX14874" y="connsiteY14874"/>
              </a:cxn>
              <a:cxn ang="0">
                <a:pos x="connsiteX14875" y="connsiteY14875"/>
              </a:cxn>
              <a:cxn ang="0">
                <a:pos x="connsiteX14876" y="connsiteY14876"/>
              </a:cxn>
              <a:cxn ang="0">
                <a:pos x="connsiteX14877" y="connsiteY14877"/>
              </a:cxn>
              <a:cxn ang="0">
                <a:pos x="connsiteX14878" y="connsiteY14878"/>
              </a:cxn>
              <a:cxn ang="0">
                <a:pos x="connsiteX14879" y="connsiteY14879"/>
              </a:cxn>
              <a:cxn ang="0">
                <a:pos x="connsiteX14880" y="connsiteY14880"/>
              </a:cxn>
              <a:cxn ang="0">
                <a:pos x="connsiteX14881" y="connsiteY14881"/>
              </a:cxn>
              <a:cxn ang="0">
                <a:pos x="connsiteX14882" y="connsiteY14882"/>
              </a:cxn>
              <a:cxn ang="0">
                <a:pos x="connsiteX14883" y="connsiteY14883"/>
              </a:cxn>
              <a:cxn ang="0">
                <a:pos x="connsiteX14884" y="connsiteY14884"/>
              </a:cxn>
              <a:cxn ang="0">
                <a:pos x="connsiteX14885" y="connsiteY14885"/>
              </a:cxn>
              <a:cxn ang="0">
                <a:pos x="connsiteX14886" y="connsiteY14886"/>
              </a:cxn>
              <a:cxn ang="0">
                <a:pos x="connsiteX14887" y="connsiteY14887"/>
              </a:cxn>
              <a:cxn ang="0">
                <a:pos x="connsiteX14888" y="connsiteY14888"/>
              </a:cxn>
              <a:cxn ang="0">
                <a:pos x="connsiteX14889" y="connsiteY14889"/>
              </a:cxn>
              <a:cxn ang="0">
                <a:pos x="connsiteX14890" y="connsiteY14890"/>
              </a:cxn>
              <a:cxn ang="0">
                <a:pos x="connsiteX14891" y="connsiteY14891"/>
              </a:cxn>
              <a:cxn ang="0">
                <a:pos x="connsiteX14892" y="connsiteY14892"/>
              </a:cxn>
              <a:cxn ang="0">
                <a:pos x="connsiteX14893" y="connsiteY14893"/>
              </a:cxn>
              <a:cxn ang="0">
                <a:pos x="connsiteX14894" y="connsiteY14894"/>
              </a:cxn>
              <a:cxn ang="0">
                <a:pos x="connsiteX14895" y="connsiteY14895"/>
              </a:cxn>
              <a:cxn ang="0">
                <a:pos x="connsiteX14896" y="connsiteY14896"/>
              </a:cxn>
              <a:cxn ang="0">
                <a:pos x="connsiteX14897" y="connsiteY14897"/>
              </a:cxn>
              <a:cxn ang="0">
                <a:pos x="connsiteX14898" y="connsiteY14898"/>
              </a:cxn>
              <a:cxn ang="0">
                <a:pos x="connsiteX14899" y="connsiteY14899"/>
              </a:cxn>
              <a:cxn ang="0">
                <a:pos x="connsiteX14900" y="connsiteY14900"/>
              </a:cxn>
              <a:cxn ang="0">
                <a:pos x="connsiteX14901" y="connsiteY14901"/>
              </a:cxn>
              <a:cxn ang="0">
                <a:pos x="connsiteX14902" y="connsiteY14902"/>
              </a:cxn>
              <a:cxn ang="0">
                <a:pos x="connsiteX14903" y="connsiteY14903"/>
              </a:cxn>
              <a:cxn ang="0">
                <a:pos x="connsiteX14904" y="connsiteY14904"/>
              </a:cxn>
              <a:cxn ang="0">
                <a:pos x="connsiteX14905" y="connsiteY14905"/>
              </a:cxn>
              <a:cxn ang="0">
                <a:pos x="connsiteX14906" y="connsiteY14906"/>
              </a:cxn>
              <a:cxn ang="0">
                <a:pos x="connsiteX14907" y="connsiteY14907"/>
              </a:cxn>
              <a:cxn ang="0">
                <a:pos x="connsiteX14908" y="connsiteY14908"/>
              </a:cxn>
              <a:cxn ang="0">
                <a:pos x="connsiteX14909" y="connsiteY14909"/>
              </a:cxn>
              <a:cxn ang="0">
                <a:pos x="connsiteX14910" y="connsiteY14910"/>
              </a:cxn>
              <a:cxn ang="0">
                <a:pos x="connsiteX14911" y="connsiteY14911"/>
              </a:cxn>
              <a:cxn ang="0">
                <a:pos x="connsiteX14912" y="connsiteY14912"/>
              </a:cxn>
              <a:cxn ang="0">
                <a:pos x="connsiteX14913" y="connsiteY14913"/>
              </a:cxn>
              <a:cxn ang="0">
                <a:pos x="connsiteX14914" y="connsiteY14914"/>
              </a:cxn>
              <a:cxn ang="0">
                <a:pos x="connsiteX14915" y="connsiteY14915"/>
              </a:cxn>
              <a:cxn ang="0">
                <a:pos x="connsiteX14916" y="connsiteY14916"/>
              </a:cxn>
              <a:cxn ang="0">
                <a:pos x="connsiteX14917" y="connsiteY14917"/>
              </a:cxn>
              <a:cxn ang="0">
                <a:pos x="connsiteX14918" y="connsiteY14918"/>
              </a:cxn>
              <a:cxn ang="0">
                <a:pos x="connsiteX14919" y="connsiteY14919"/>
              </a:cxn>
              <a:cxn ang="0">
                <a:pos x="connsiteX14920" y="connsiteY14920"/>
              </a:cxn>
              <a:cxn ang="0">
                <a:pos x="connsiteX14921" y="connsiteY14921"/>
              </a:cxn>
              <a:cxn ang="0">
                <a:pos x="connsiteX14922" y="connsiteY14922"/>
              </a:cxn>
              <a:cxn ang="0">
                <a:pos x="connsiteX14923" y="connsiteY14923"/>
              </a:cxn>
              <a:cxn ang="0">
                <a:pos x="connsiteX14924" y="connsiteY14924"/>
              </a:cxn>
              <a:cxn ang="0">
                <a:pos x="connsiteX14925" y="connsiteY14925"/>
              </a:cxn>
              <a:cxn ang="0">
                <a:pos x="connsiteX14926" y="connsiteY14926"/>
              </a:cxn>
              <a:cxn ang="0">
                <a:pos x="connsiteX14927" y="connsiteY14927"/>
              </a:cxn>
              <a:cxn ang="0">
                <a:pos x="connsiteX14928" y="connsiteY14928"/>
              </a:cxn>
              <a:cxn ang="0">
                <a:pos x="connsiteX14929" y="connsiteY14929"/>
              </a:cxn>
              <a:cxn ang="0">
                <a:pos x="connsiteX14930" y="connsiteY14930"/>
              </a:cxn>
              <a:cxn ang="0">
                <a:pos x="connsiteX14931" y="connsiteY14931"/>
              </a:cxn>
              <a:cxn ang="0">
                <a:pos x="connsiteX14932" y="connsiteY14932"/>
              </a:cxn>
              <a:cxn ang="0">
                <a:pos x="connsiteX14933" y="connsiteY14933"/>
              </a:cxn>
              <a:cxn ang="0">
                <a:pos x="connsiteX14934" y="connsiteY14934"/>
              </a:cxn>
              <a:cxn ang="0">
                <a:pos x="connsiteX14935" y="connsiteY14935"/>
              </a:cxn>
              <a:cxn ang="0">
                <a:pos x="connsiteX14936" y="connsiteY14936"/>
              </a:cxn>
              <a:cxn ang="0">
                <a:pos x="connsiteX14937" y="connsiteY14937"/>
              </a:cxn>
              <a:cxn ang="0">
                <a:pos x="connsiteX14938" y="connsiteY14938"/>
              </a:cxn>
              <a:cxn ang="0">
                <a:pos x="connsiteX14939" y="connsiteY14939"/>
              </a:cxn>
              <a:cxn ang="0">
                <a:pos x="connsiteX14940" y="connsiteY14940"/>
              </a:cxn>
              <a:cxn ang="0">
                <a:pos x="connsiteX14941" y="connsiteY14941"/>
              </a:cxn>
              <a:cxn ang="0">
                <a:pos x="connsiteX14942" y="connsiteY14942"/>
              </a:cxn>
              <a:cxn ang="0">
                <a:pos x="connsiteX14943" y="connsiteY14943"/>
              </a:cxn>
              <a:cxn ang="0">
                <a:pos x="connsiteX14944" y="connsiteY14944"/>
              </a:cxn>
              <a:cxn ang="0">
                <a:pos x="connsiteX14945" y="connsiteY14945"/>
              </a:cxn>
              <a:cxn ang="0">
                <a:pos x="connsiteX14946" y="connsiteY14946"/>
              </a:cxn>
              <a:cxn ang="0">
                <a:pos x="connsiteX14947" y="connsiteY14947"/>
              </a:cxn>
              <a:cxn ang="0">
                <a:pos x="connsiteX14948" y="connsiteY14948"/>
              </a:cxn>
              <a:cxn ang="0">
                <a:pos x="connsiteX14949" y="connsiteY14949"/>
              </a:cxn>
              <a:cxn ang="0">
                <a:pos x="connsiteX14950" y="connsiteY14950"/>
              </a:cxn>
              <a:cxn ang="0">
                <a:pos x="connsiteX14951" y="connsiteY14951"/>
              </a:cxn>
              <a:cxn ang="0">
                <a:pos x="connsiteX14952" y="connsiteY14952"/>
              </a:cxn>
              <a:cxn ang="0">
                <a:pos x="connsiteX14953" y="connsiteY14953"/>
              </a:cxn>
              <a:cxn ang="0">
                <a:pos x="connsiteX14954" y="connsiteY14954"/>
              </a:cxn>
              <a:cxn ang="0">
                <a:pos x="connsiteX14955" y="connsiteY14955"/>
              </a:cxn>
              <a:cxn ang="0">
                <a:pos x="connsiteX14956" y="connsiteY14956"/>
              </a:cxn>
              <a:cxn ang="0">
                <a:pos x="connsiteX14957" y="connsiteY14957"/>
              </a:cxn>
              <a:cxn ang="0">
                <a:pos x="connsiteX14958" y="connsiteY14958"/>
              </a:cxn>
              <a:cxn ang="0">
                <a:pos x="connsiteX14959" y="connsiteY14959"/>
              </a:cxn>
              <a:cxn ang="0">
                <a:pos x="connsiteX14960" y="connsiteY14960"/>
              </a:cxn>
              <a:cxn ang="0">
                <a:pos x="connsiteX14961" y="connsiteY14961"/>
              </a:cxn>
              <a:cxn ang="0">
                <a:pos x="connsiteX14962" y="connsiteY14962"/>
              </a:cxn>
              <a:cxn ang="0">
                <a:pos x="connsiteX14963" y="connsiteY14963"/>
              </a:cxn>
              <a:cxn ang="0">
                <a:pos x="connsiteX14964" y="connsiteY14964"/>
              </a:cxn>
              <a:cxn ang="0">
                <a:pos x="connsiteX14965" y="connsiteY14965"/>
              </a:cxn>
              <a:cxn ang="0">
                <a:pos x="connsiteX14966" y="connsiteY14966"/>
              </a:cxn>
              <a:cxn ang="0">
                <a:pos x="connsiteX14967" y="connsiteY14967"/>
              </a:cxn>
              <a:cxn ang="0">
                <a:pos x="connsiteX14968" y="connsiteY14968"/>
              </a:cxn>
              <a:cxn ang="0">
                <a:pos x="connsiteX14969" y="connsiteY14969"/>
              </a:cxn>
              <a:cxn ang="0">
                <a:pos x="connsiteX14970" y="connsiteY14970"/>
              </a:cxn>
              <a:cxn ang="0">
                <a:pos x="connsiteX14971" y="connsiteY14971"/>
              </a:cxn>
              <a:cxn ang="0">
                <a:pos x="connsiteX14972" y="connsiteY14972"/>
              </a:cxn>
              <a:cxn ang="0">
                <a:pos x="connsiteX14973" y="connsiteY14973"/>
              </a:cxn>
              <a:cxn ang="0">
                <a:pos x="connsiteX14974" y="connsiteY14974"/>
              </a:cxn>
              <a:cxn ang="0">
                <a:pos x="connsiteX14975" y="connsiteY14975"/>
              </a:cxn>
              <a:cxn ang="0">
                <a:pos x="connsiteX14976" y="connsiteY14976"/>
              </a:cxn>
              <a:cxn ang="0">
                <a:pos x="connsiteX14977" y="connsiteY14977"/>
              </a:cxn>
              <a:cxn ang="0">
                <a:pos x="connsiteX14978" y="connsiteY14978"/>
              </a:cxn>
              <a:cxn ang="0">
                <a:pos x="connsiteX14979" y="connsiteY14979"/>
              </a:cxn>
              <a:cxn ang="0">
                <a:pos x="connsiteX14980" y="connsiteY14980"/>
              </a:cxn>
              <a:cxn ang="0">
                <a:pos x="connsiteX14981" y="connsiteY14981"/>
              </a:cxn>
              <a:cxn ang="0">
                <a:pos x="connsiteX14982" y="connsiteY14982"/>
              </a:cxn>
              <a:cxn ang="0">
                <a:pos x="connsiteX14983" y="connsiteY14983"/>
              </a:cxn>
              <a:cxn ang="0">
                <a:pos x="connsiteX14984" y="connsiteY14984"/>
              </a:cxn>
              <a:cxn ang="0">
                <a:pos x="connsiteX14985" y="connsiteY14985"/>
              </a:cxn>
              <a:cxn ang="0">
                <a:pos x="connsiteX14986" y="connsiteY14986"/>
              </a:cxn>
              <a:cxn ang="0">
                <a:pos x="connsiteX14987" y="connsiteY14987"/>
              </a:cxn>
              <a:cxn ang="0">
                <a:pos x="connsiteX14988" y="connsiteY14988"/>
              </a:cxn>
              <a:cxn ang="0">
                <a:pos x="connsiteX14989" y="connsiteY14989"/>
              </a:cxn>
              <a:cxn ang="0">
                <a:pos x="connsiteX14990" y="connsiteY14990"/>
              </a:cxn>
              <a:cxn ang="0">
                <a:pos x="connsiteX14991" y="connsiteY14991"/>
              </a:cxn>
              <a:cxn ang="0">
                <a:pos x="connsiteX14992" y="connsiteY14992"/>
              </a:cxn>
              <a:cxn ang="0">
                <a:pos x="connsiteX14993" y="connsiteY14993"/>
              </a:cxn>
              <a:cxn ang="0">
                <a:pos x="connsiteX14994" y="connsiteY14994"/>
              </a:cxn>
              <a:cxn ang="0">
                <a:pos x="connsiteX14995" y="connsiteY14995"/>
              </a:cxn>
              <a:cxn ang="0">
                <a:pos x="connsiteX14996" y="connsiteY14996"/>
              </a:cxn>
              <a:cxn ang="0">
                <a:pos x="connsiteX14997" y="connsiteY14997"/>
              </a:cxn>
              <a:cxn ang="0">
                <a:pos x="connsiteX14998" y="connsiteY14998"/>
              </a:cxn>
              <a:cxn ang="0">
                <a:pos x="connsiteX14999" y="connsiteY14999"/>
              </a:cxn>
              <a:cxn ang="0">
                <a:pos x="connsiteX15000" y="connsiteY15000"/>
              </a:cxn>
              <a:cxn ang="0">
                <a:pos x="connsiteX15001" y="connsiteY15001"/>
              </a:cxn>
              <a:cxn ang="0">
                <a:pos x="connsiteX15002" y="connsiteY15002"/>
              </a:cxn>
              <a:cxn ang="0">
                <a:pos x="connsiteX15003" y="connsiteY15003"/>
              </a:cxn>
              <a:cxn ang="0">
                <a:pos x="connsiteX15004" y="connsiteY15004"/>
              </a:cxn>
              <a:cxn ang="0">
                <a:pos x="connsiteX15005" y="connsiteY15005"/>
              </a:cxn>
              <a:cxn ang="0">
                <a:pos x="connsiteX15006" y="connsiteY15006"/>
              </a:cxn>
              <a:cxn ang="0">
                <a:pos x="connsiteX15007" y="connsiteY15007"/>
              </a:cxn>
              <a:cxn ang="0">
                <a:pos x="connsiteX15008" y="connsiteY15008"/>
              </a:cxn>
              <a:cxn ang="0">
                <a:pos x="connsiteX15009" y="connsiteY15009"/>
              </a:cxn>
              <a:cxn ang="0">
                <a:pos x="connsiteX15010" y="connsiteY15010"/>
              </a:cxn>
              <a:cxn ang="0">
                <a:pos x="connsiteX15011" y="connsiteY15011"/>
              </a:cxn>
              <a:cxn ang="0">
                <a:pos x="connsiteX15012" y="connsiteY15012"/>
              </a:cxn>
              <a:cxn ang="0">
                <a:pos x="connsiteX15013" y="connsiteY15013"/>
              </a:cxn>
              <a:cxn ang="0">
                <a:pos x="connsiteX15014" y="connsiteY15014"/>
              </a:cxn>
              <a:cxn ang="0">
                <a:pos x="connsiteX15015" y="connsiteY15015"/>
              </a:cxn>
              <a:cxn ang="0">
                <a:pos x="connsiteX15016" y="connsiteY15016"/>
              </a:cxn>
              <a:cxn ang="0">
                <a:pos x="connsiteX15017" y="connsiteY15017"/>
              </a:cxn>
              <a:cxn ang="0">
                <a:pos x="connsiteX15018" y="connsiteY15018"/>
              </a:cxn>
              <a:cxn ang="0">
                <a:pos x="connsiteX15019" y="connsiteY15019"/>
              </a:cxn>
              <a:cxn ang="0">
                <a:pos x="connsiteX15020" y="connsiteY15020"/>
              </a:cxn>
              <a:cxn ang="0">
                <a:pos x="connsiteX15021" y="connsiteY15021"/>
              </a:cxn>
              <a:cxn ang="0">
                <a:pos x="connsiteX15022" y="connsiteY15022"/>
              </a:cxn>
              <a:cxn ang="0">
                <a:pos x="connsiteX15023" y="connsiteY15023"/>
              </a:cxn>
              <a:cxn ang="0">
                <a:pos x="connsiteX15024" y="connsiteY15024"/>
              </a:cxn>
              <a:cxn ang="0">
                <a:pos x="connsiteX15025" y="connsiteY15025"/>
              </a:cxn>
              <a:cxn ang="0">
                <a:pos x="connsiteX15026" y="connsiteY15026"/>
              </a:cxn>
              <a:cxn ang="0">
                <a:pos x="connsiteX15027" y="connsiteY15027"/>
              </a:cxn>
              <a:cxn ang="0">
                <a:pos x="connsiteX15028" y="connsiteY15028"/>
              </a:cxn>
              <a:cxn ang="0">
                <a:pos x="connsiteX15029" y="connsiteY15029"/>
              </a:cxn>
              <a:cxn ang="0">
                <a:pos x="connsiteX15030" y="connsiteY15030"/>
              </a:cxn>
              <a:cxn ang="0">
                <a:pos x="connsiteX15031" y="connsiteY15031"/>
              </a:cxn>
              <a:cxn ang="0">
                <a:pos x="connsiteX15032" y="connsiteY15032"/>
              </a:cxn>
              <a:cxn ang="0">
                <a:pos x="connsiteX15033" y="connsiteY15033"/>
              </a:cxn>
              <a:cxn ang="0">
                <a:pos x="connsiteX15034" y="connsiteY15034"/>
              </a:cxn>
              <a:cxn ang="0">
                <a:pos x="connsiteX15035" y="connsiteY15035"/>
              </a:cxn>
              <a:cxn ang="0">
                <a:pos x="connsiteX15036" y="connsiteY15036"/>
              </a:cxn>
              <a:cxn ang="0">
                <a:pos x="connsiteX15037" y="connsiteY15037"/>
              </a:cxn>
              <a:cxn ang="0">
                <a:pos x="connsiteX15038" y="connsiteY15038"/>
              </a:cxn>
              <a:cxn ang="0">
                <a:pos x="connsiteX15039" y="connsiteY15039"/>
              </a:cxn>
              <a:cxn ang="0">
                <a:pos x="connsiteX15040" y="connsiteY15040"/>
              </a:cxn>
              <a:cxn ang="0">
                <a:pos x="connsiteX15041" y="connsiteY15041"/>
              </a:cxn>
              <a:cxn ang="0">
                <a:pos x="connsiteX15042" y="connsiteY15042"/>
              </a:cxn>
              <a:cxn ang="0">
                <a:pos x="connsiteX15043" y="connsiteY15043"/>
              </a:cxn>
              <a:cxn ang="0">
                <a:pos x="connsiteX15044" y="connsiteY15044"/>
              </a:cxn>
              <a:cxn ang="0">
                <a:pos x="connsiteX15045" y="connsiteY15045"/>
              </a:cxn>
              <a:cxn ang="0">
                <a:pos x="connsiteX15046" y="connsiteY15046"/>
              </a:cxn>
              <a:cxn ang="0">
                <a:pos x="connsiteX15047" y="connsiteY15047"/>
              </a:cxn>
              <a:cxn ang="0">
                <a:pos x="connsiteX15048" y="connsiteY15048"/>
              </a:cxn>
              <a:cxn ang="0">
                <a:pos x="connsiteX15049" y="connsiteY15049"/>
              </a:cxn>
              <a:cxn ang="0">
                <a:pos x="connsiteX15050" y="connsiteY15050"/>
              </a:cxn>
              <a:cxn ang="0">
                <a:pos x="connsiteX15051" y="connsiteY15051"/>
              </a:cxn>
              <a:cxn ang="0">
                <a:pos x="connsiteX15052" y="connsiteY15052"/>
              </a:cxn>
              <a:cxn ang="0">
                <a:pos x="connsiteX15053" y="connsiteY15053"/>
              </a:cxn>
              <a:cxn ang="0">
                <a:pos x="connsiteX15054" y="connsiteY15054"/>
              </a:cxn>
              <a:cxn ang="0">
                <a:pos x="connsiteX15055" y="connsiteY15055"/>
              </a:cxn>
              <a:cxn ang="0">
                <a:pos x="connsiteX15056" y="connsiteY15056"/>
              </a:cxn>
              <a:cxn ang="0">
                <a:pos x="connsiteX15057" y="connsiteY15057"/>
              </a:cxn>
              <a:cxn ang="0">
                <a:pos x="connsiteX15058" y="connsiteY15058"/>
              </a:cxn>
              <a:cxn ang="0">
                <a:pos x="connsiteX15059" y="connsiteY15059"/>
              </a:cxn>
              <a:cxn ang="0">
                <a:pos x="connsiteX15060" y="connsiteY15060"/>
              </a:cxn>
              <a:cxn ang="0">
                <a:pos x="connsiteX15061" y="connsiteY15061"/>
              </a:cxn>
              <a:cxn ang="0">
                <a:pos x="connsiteX15062" y="connsiteY15062"/>
              </a:cxn>
              <a:cxn ang="0">
                <a:pos x="connsiteX15063" y="connsiteY15063"/>
              </a:cxn>
              <a:cxn ang="0">
                <a:pos x="connsiteX15064" y="connsiteY15064"/>
              </a:cxn>
              <a:cxn ang="0">
                <a:pos x="connsiteX15065" y="connsiteY15065"/>
              </a:cxn>
              <a:cxn ang="0">
                <a:pos x="connsiteX15066" y="connsiteY15066"/>
              </a:cxn>
              <a:cxn ang="0">
                <a:pos x="connsiteX15067" y="connsiteY15067"/>
              </a:cxn>
              <a:cxn ang="0">
                <a:pos x="connsiteX15068" y="connsiteY15068"/>
              </a:cxn>
              <a:cxn ang="0">
                <a:pos x="connsiteX15069" y="connsiteY15069"/>
              </a:cxn>
              <a:cxn ang="0">
                <a:pos x="connsiteX15070" y="connsiteY15070"/>
              </a:cxn>
              <a:cxn ang="0">
                <a:pos x="connsiteX15071" y="connsiteY15071"/>
              </a:cxn>
              <a:cxn ang="0">
                <a:pos x="connsiteX15072" y="connsiteY15072"/>
              </a:cxn>
              <a:cxn ang="0">
                <a:pos x="connsiteX15073" y="connsiteY15073"/>
              </a:cxn>
              <a:cxn ang="0">
                <a:pos x="connsiteX15074" y="connsiteY15074"/>
              </a:cxn>
              <a:cxn ang="0">
                <a:pos x="connsiteX15075" y="connsiteY15075"/>
              </a:cxn>
              <a:cxn ang="0">
                <a:pos x="connsiteX15076" y="connsiteY15076"/>
              </a:cxn>
              <a:cxn ang="0">
                <a:pos x="connsiteX15077" y="connsiteY15077"/>
              </a:cxn>
              <a:cxn ang="0">
                <a:pos x="connsiteX15078" y="connsiteY15078"/>
              </a:cxn>
              <a:cxn ang="0">
                <a:pos x="connsiteX15079" y="connsiteY15079"/>
              </a:cxn>
              <a:cxn ang="0">
                <a:pos x="connsiteX15080" y="connsiteY15080"/>
              </a:cxn>
              <a:cxn ang="0">
                <a:pos x="connsiteX15081" y="connsiteY15081"/>
              </a:cxn>
              <a:cxn ang="0">
                <a:pos x="connsiteX15082" y="connsiteY15082"/>
              </a:cxn>
              <a:cxn ang="0">
                <a:pos x="connsiteX15083" y="connsiteY15083"/>
              </a:cxn>
              <a:cxn ang="0">
                <a:pos x="connsiteX15084" y="connsiteY15084"/>
              </a:cxn>
              <a:cxn ang="0">
                <a:pos x="connsiteX15085" y="connsiteY15085"/>
              </a:cxn>
              <a:cxn ang="0">
                <a:pos x="connsiteX15086" y="connsiteY15086"/>
              </a:cxn>
              <a:cxn ang="0">
                <a:pos x="connsiteX15087" y="connsiteY15087"/>
              </a:cxn>
              <a:cxn ang="0">
                <a:pos x="connsiteX15088" y="connsiteY15088"/>
              </a:cxn>
              <a:cxn ang="0">
                <a:pos x="connsiteX15089" y="connsiteY15089"/>
              </a:cxn>
              <a:cxn ang="0">
                <a:pos x="connsiteX15090" y="connsiteY15090"/>
              </a:cxn>
              <a:cxn ang="0">
                <a:pos x="connsiteX15091" y="connsiteY15091"/>
              </a:cxn>
              <a:cxn ang="0">
                <a:pos x="connsiteX15092" y="connsiteY15092"/>
              </a:cxn>
              <a:cxn ang="0">
                <a:pos x="connsiteX15093" y="connsiteY15093"/>
              </a:cxn>
              <a:cxn ang="0">
                <a:pos x="connsiteX15094" y="connsiteY15094"/>
              </a:cxn>
              <a:cxn ang="0">
                <a:pos x="connsiteX15095" y="connsiteY15095"/>
              </a:cxn>
              <a:cxn ang="0">
                <a:pos x="connsiteX15096" y="connsiteY15096"/>
              </a:cxn>
              <a:cxn ang="0">
                <a:pos x="connsiteX15097" y="connsiteY15097"/>
              </a:cxn>
              <a:cxn ang="0">
                <a:pos x="connsiteX15098" y="connsiteY15098"/>
              </a:cxn>
              <a:cxn ang="0">
                <a:pos x="connsiteX15099" y="connsiteY15099"/>
              </a:cxn>
              <a:cxn ang="0">
                <a:pos x="connsiteX15100" y="connsiteY15100"/>
              </a:cxn>
              <a:cxn ang="0">
                <a:pos x="connsiteX15101" y="connsiteY15101"/>
              </a:cxn>
              <a:cxn ang="0">
                <a:pos x="connsiteX15102" y="connsiteY15102"/>
              </a:cxn>
              <a:cxn ang="0">
                <a:pos x="connsiteX15103" y="connsiteY15103"/>
              </a:cxn>
              <a:cxn ang="0">
                <a:pos x="connsiteX15104" y="connsiteY15104"/>
              </a:cxn>
              <a:cxn ang="0">
                <a:pos x="connsiteX15105" y="connsiteY15105"/>
              </a:cxn>
              <a:cxn ang="0">
                <a:pos x="connsiteX15106" y="connsiteY15106"/>
              </a:cxn>
              <a:cxn ang="0">
                <a:pos x="connsiteX15107" y="connsiteY15107"/>
              </a:cxn>
              <a:cxn ang="0">
                <a:pos x="connsiteX15108" y="connsiteY15108"/>
              </a:cxn>
              <a:cxn ang="0">
                <a:pos x="connsiteX15109" y="connsiteY15109"/>
              </a:cxn>
              <a:cxn ang="0">
                <a:pos x="connsiteX15110" y="connsiteY15110"/>
              </a:cxn>
              <a:cxn ang="0">
                <a:pos x="connsiteX15111" y="connsiteY15111"/>
              </a:cxn>
              <a:cxn ang="0">
                <a:pos x="connsiteX15112" y="connsiteY15112"/>
              </a:cxn>
              <a:cxn ang="0">
                <a:pos x="connsiteX15113" y="connsiteY15113"/>
              </a:cxn>
              <a:cxn ang="0">
                <a:pos x="connsiteX15114" y="connsiteY15114"/>
              </a:cxn>
              <a:cxn ang="0">
                <a:pos x="connsiteX15115" y="connsiteY15115"/>
              </a:cxn>
              <a:cxn ang="0">
                <a:pos x="connsiteX15116" y="connsiteY15116"/>
              </a:cxn>
              <a:cxn ang="0">
                <a:pos x="connsiteX15117" y="connsiteY15117"/>
              </a:cxn>
              <a:cxn ang="0">
                <a:pos x="connsiteX15118" y="connsiteY15118"/>
              </a:cxn>
              <a:cxn ang="0">
                <a:pos x="connsiteX15119" y="connsiteY15119"/>
              </a:cxn>
              <a:cxn ang="0">
                <a:pos x="connsiteX15120" y="connsiteY15120"/>
              </a:cxn>
              <a:cxn ang="0">
                <a:pos x="connsiteX15121" y="connsiteY15121"/>
              </a:cxn>
              <a:cxn ang="0">
                <a:pos x="connsiteX15122" y="connsiteY15122"/>
              </a:cxn>
              <a:cxn ang="0">
                <a:pos x="connsiteX15123" y="connsiteY15123"/>
              </a:cxn>
              <a:cxn ang="0">
                <a:pos x="connsiteX15124" y="connsiteY15124"/>
              </a:cxn>
              <a:cxn ang="0">
                <a:pos x="connsiteX15125" y="connsiteY15125"/>
              </a:cxn>
              <a:cxn ang="0">
                <a:pos x="connsiteX15126" y="connsiteY15126"/>
              </a:cxn>
              <a:cxn ang="0">
                <a:pos x="connsiteX15127" y="connsiteY15127"/>
              </a:cxn>
              <a:cxn ang="0">
                <a:pos x="connsiteX15128" y="connsiteY15128"/>
              </a:cxn>
              <a:cxn ang="0">
                <a:pos x="connsiteX15129" y="connsiteY15129"/>
              </a:cxn>
              <a:cxn ang="0">
                <a:pos x="connsiteX15130" y="connsiteY15130"/>
              </a:cxn>
              <a:cxn ang="0">
                <a:pos x="connsiteX15131" y="connsiteY15131"/>
              </a:cxn>
              <a:cxn ang="0">
                <a:pos x="connsiteX15132" y="connsiteY15132"/>
              </a:cxn>
              <a:cxn ang="0">
                <a:pos x="connsiteX15133" y="connsiteY15133"/>
              </a:cxn>
              <a:cxn ang="0">
                <a:pos x="connsiteX15134" y="connsiteY15134"/>
              </a:cxn>
              <a:cxn ang="0">
                <a:pos x="connsiteX15135" y="connsiteY15135"/>
              </a:cxn>
              <a:cxn ang="0">
                <a:pos x="connsiteX15136" y="connsiteY15136"/>
              </a:cxn>
              <a:cxn ang="0">
                <a:pos x="connsiteX15137" y="connsiteY15137"/>
              </a:cxn>
              <a:cxn ang="0">
                <a:pos x="connsiteX15138" y="connsiteY15138"/>
              </a:cxn>
              <a:cxn ang="0">
                <a:pos x="connsiteX15139" y="connsiteY15139"/>
              </a:cxn>
              <a:cxn ang="0">
                <a:pos x="connsiteX15140" y="connsiteY15140"/>
              </a:cxn>
              <a:cxn ang="0">
                <a:pos x="connsiteX15141" y="connsiteY15141"/>
              </a:cxn>
              <a:cxn ang="0">
                <a:pos x="connsiteX15142" y="connsiteY15142"/>
              </a:cxn>
              <a:cxn ang="0">
                <a:pos x="connsiteX15143" y="connsiteY15143"/>
              </a:cxn>
              <a:cxn ang="0">
                <a:pos x="connsiteX15144" y="connsiteY15144"/>
              </a:cxn>
              <a:cxn ang="0">
                <a:pos x="connsiteX15145" y="connsiteY15145"/>
              </a:cxn>
              <a:cxn ang="0">
                <a:pos x="connsiteX15146" y="connsiteY15146"/>
              </a:cxn>
              <a:cxn ang="0">
                <a:pos x="connsiteX15147" y="connsiteY15147"/>
              </a:cxn>
              <a:cxn ang="0">
                <a:pos x="connsiteX15148" y="connsiteY15148"/>
              </a:cxn>
              <a:cxn ang="0">
                <a:pos x="connsiteX15149" y="connsiteY15149"/>
              </a:cxn>
              <a:cxn ang="0">
                <a:pos x="connsiteX15150" y="connsiteY15150"/>
              </a:cxn>
              <a:cxn ang="0">
                <a:pos x="connsiteX15151" y="connsiteY15151"/>
              </a:cxn>
              <a:cxn ang="0">
                <a:pos x="connsiteX15152" y="connsiteY15152"/>
              </a:cxn>
              <a:cxn ang="0">
                <a:pos x="connsiteX15153" y="connsiteY15153"/>
              </a:cxn>
              <a:cxn ang="0">
                <a:pos x="connsiteX15154" y="connsiteY15154"/>
              </a:cxn>
              <a:cxn ang="0">
                <a:pos x="connsiteX15155" y="connsiteY15155"/>
              </a:cxn>
              <a:cxn ang="0">
                <a:pos x="connsiteX15156" y="connsiteY15156"/>
              </a:cxn>
              <a:cxn ang="0">
                <a:pos x="connsiteX15157" y="connsiteY15157"/>
              </a:cxn>
              <a:cxn ang="0">
                <a:pos x="connsiteX15158" y="connsiteY15158"/>
              </a:cxn>
              <a:cxn ang="0">
                <a:pos x="connsiteX15159" y="connsiteY15159"/>
              </a:cxn>
              <a:cxn ang="0">
                <a:pos x="connsiteX15160" y="connsiteY15160"/>
              </a:cxn>
              <a:cxn ang="0">
                <a:pos x="connsiteX15161" y="connsiteY15161"/>
              </a:cxn>
              <a:cxn ang="0">
                <a:pos x="connsiteX15162" y="connsiteY15162"/>
              </a:cxn>
              <a:cxn ang="0">
                <a:pos x="connsiteX15163" y="connsiteY15163"/>
              </a:cxn>
              <a:cxn ang="0">
                <a:pos x="connsiteX15164" y="connsiteY15164"/>
              </a:cxn>
              <a:cxn ang="0">
                <a:pos x="connsiteX15165" y="connsiteY15165"/>
              </a:cxn>
              <a:cxn ang="0">
                <a:pos x="connsiteX15166" y="connsiteY15166"/>
              </a:cxn>
              <a:cxn ang="0">
                <a:pos x="connsiteX15167" y="connsiteY15167"/>
              </a:cxn>
              <a:cxn ang="0">
                <a:pos x="connsiteX15168" y="connsiteY15168"/>
              </a:cxn>
              <a:cxn ang="0">
                <a:pos x="connsiteX15169" y="connsiteY15169"/>
              </a:cxn>
              <a:cxn ang="0">
                <a:pos x="connsiteX15170" y="connsiteY15170"/>
              </a:cxn>
              <a:cxn ang="0">
                <a:pos x="connsiteX15171" y="connsiteY15171"/>
              </a:cxn>
              <a:cxn ang="0">
                <a:pos x="connsiteX15172" y="connsiteY15172"/>
              </a:cxn>
              <a:cxn ang="0">
                <a:pos x="connsiteX15173" y="connsiteY15173"/>
              </a:cxn>
              <a:cxn ang="0">
                <a:pos x="connsiteX15174" y="connsiteY15174"/>
              </a:cxn>
              <a:cxn ang="0">
                <a:pos x="connsiteX15175" y="connsiteY15175"/>
              </a:cxn>
              <a:cxn ang="0">
                <a:pos x="connsiteX15176" y="connsiteY15176"/>
              </a:cxn>
              <a:cxn ang="0">
                <a:pos x="connsiteX15177" y="connsiteY15177"/>
              </a:cxn>
              <a:cxn ang="0">
                <a:pos x="connsiteX15178" y="connsiteY15178"/>
              </a:cxn>
              <a:cxn ang="0">
                <a:pos x="connsiteX15179" y="connsiteY15179"/>
              </a:cxn>
              <a:cxn ang="0">
                <a:pos x="connsiteX15180" y="connsiteY15180"/>
              </a:cxn>
              <a:cxn ang="0">
                <a:pos x="connsiteX15181" y="connsiteY15181"/>
              </a:cxn>
              <a:cxn ang="0">
                <a:pos x="connsiteX15182" y="connsiteY15182"/>
              </a:cxn>
              <a:cxn ang="0">
                <a:pos x="connsiteX15183" y="connsiteY15183"/>
              </a:cxn>
              <a:cxn ang="0">
                <a:pos x="connsiteX15184" y="connsiteY15184"/>
              </a:cxn>
              <a:cxn ang="0">
                <a:pos x="connsiteX15185" y="connsiteY15185"/>
              </a:cxn>
              <a:cxn ang="0">
                <a:pos x="connsiteX15186" y="connsiteY15186"/>
              </a:cxn>
              <a:cxn ang="0">
                <a:pos x="connsiteX15187" y="connsiteY15187"/>
              </a:cxn>
              <a:cxn ang="0">
                <a:pos x="connsiteX15188" y="connsiteY15188"/>
              </a:cxn>
              <a:cxn ang="0">
                <a:pos x="connsiteX15189" y="connsiteY15189"/>
              </a:cxn>
              <a:cxn ang="0">
                <a:pos x="connsiteX15190" y="connsiteY15190"/>
              </a:cxn>
              <a:cxn ang="0">
                <a:pos x="connsiteX15191" y="connsiteY15191"/>
              </a:cxn>
              <a:cxn ang="0">
                <a:pos x="connsiteX15192" y="connsiteY15192"/>
              </a:cxn>
              <a:cxn ang="0">
                <a:pos x="connsiteX15193" y="connsiteY15193"/>
              </a:cxn>
              <a:cxn ang="0">
                <a:pos x="connsiteX15194" y="connsiteY15194"/>
              </a:cxn>
              <a:cxn ang="0">
                <a:pos x="connsiteX15195" y="connsiteY15195"/>
              </a:cxn>
              <a:cxn ang="0">
                <a:pos x="connsiteX15196" y="connsiteY15196"/>
              </a:cxn>
              <a:cxn ang="0">
                <a:pos x="connsiteX15197" y="connsiteY15197"/>
              </a:cxn>
              <a:cxn ang="0">
                <a:pos x="connsiteX15198" y="connsiteY15198"/>
              </a:cxn>
              <a:cxn ang="0">
                <a:pos x="connsiteX15199" y="connsiteY15199"/>
              </a:cxn>
              <a:cxn ang="0">
                <a:pos x="connsiteX15200" y="connsiteY15200"/>
              </a:cxn>
              <a:cxn ang="0">
                <a:pos x="connsiteX15201" y="connsiteY15201"/>
              </a:cxn>
              <a:cxn ang="0">
                <a:pos x="connsiteX15202" y="connsiteY15202"/>
              </a:cxn>
              <a:cxn ang="0">
                <a:pos x="connsiteX15203" y="connsiteY15203"/>
              </a:cxn>
              <a:cxn ang="0">
                <a:pos x="connsiteX15204" y="connsiteY15204"/>
              </a:cxn>
              <a:cxn ang="0">
                <a:pos x="connsiteX15205" y="connsiteY15205"/>
              </a:cxn>
              <a:cxn ang="0">
                <a:pos x="connsiteX15206" y="connsiteY15206"/>
              </a:cxn>
              <a:cxn ang="0">
                <a:pos x="connsiteX15207" y="connsiteY15207"/>
              </a:cxn>
              <a:cxn ang="0">
                <a:pos x="connsiteX15208" y="connsiteY15208"/>
              </a:cxn>
              <a:cxn ang="0">
                <a:pos x="connsiteX15209" y="connsiteY15209"/>
              </a:cxn>
              <a:cxn ang="0">
                <a:pos x="connsiteX15210" y="connsiteY15210"/>
              </a:cxn>
              <a:cxn ang="0">
                <a:pos x="connsiteX15211" y="connsiteY15211"/>
              </a:cxn>
              <a:cxn ang="0">
                <a:pos x="connsiteX15212" y="connsiteY15212"/>
              </a:cxn>
              <a:cxn ang="0">
                <a:pos x="connsiteX15213" y="connsiteY15213"/>
              </a:cxn>
              <a:cxn ang="0">
                <a:pos x="connsiteX15214" y="connsiteY15214"/>
              </a:cxn>
              <a:cxn ang="0">
                <a:pos x="connsiteX15215" y="connsiteY15215"/>
              </a:cxn>
              <a:cxn ang="0">
                <a:pos x="connsiteX15216" y="connsiteY15216"/>
              </a:cxn>
              <a:cxn ang="0">
                <a:pos x="connsiteX15217" y="connsiteY15217"/>
              </a:cxn>
              <a:cxn ang="0">
                <a:pos x="connsiteX15218" y="connsiteY15218"/>
              </a:cxn>
              <a:cxn ang="0">
                <a:pos x="connsiteX15219" y="connsiteY15219"/>
              </a:cxn>
              <a:cxn ang="0">
                <a:pos x="connsiteX15220" y="connsiteY15220"/>
              </a:cxn>
              <a:cxn ang="0">
                <a:pos x="connsiteX15221" y="connsiteY15221"/>
              </a:cxn>
              <a:cxn ang="0">
                <a:pos x="connsiteX15222" y="connsiteY15222"/>
              </a:cxn>
              <a:cxn ang="0">
                <a:pos x="connsiteX15223" y="connsiteY15223"/>
              </a:cxn>
              <a:cxn ang="0">
                <a:pos x="connsiteX15224" y="connsiteY15224"/>
              </a:cxn>
              <a:cxn ang="0">
                <a:pos x="connsiteX15225" y="connsiteY15225"/>
              </a:cxn>
              <a:cxn ang="0">
                <a:pos x="connsiteX15226" y="connsiteY15226"/>
              </a:cxn>
              <a:cxn ang="0">
                <a:pos x="connsiteX15227" y="connsiteY15227"/>
              </a:cxn>
              <a:cxn ang="0">
                <a:pos x="connsiteX15228" y="connsiteY15228"/>
              </a:cxn>
              <a:cxn ang="0">
                <a:pos x="connsiteX15229" y="connsiteY15229"/>
              </a:cxn>
              <a:cxn ang="0">
                <a:pos x="connsiteX15230" y="connsiteY15230"/>
              </a:cxn>
              <a:cxn ang="0">
                <a:pos x="connsiteX15231" y="connsiteY15231"/>
              </a:cxn>
              <a:cxn ang="0">
                <a:pos x="connsiteX15232" y="connsiteY15232"/>
              </a:cxn>
              <a:cxn ang="0">
                <a:pos x="connsiteX15233" y="connsiteY15233"/>
              </a:cxn>
              <a:cxn ang="0">
                <a:pos x="connsiteX15234" y="connsiteY15234"/>
              </a:cxn>
              <a:cxn ang="0">
                <a:pos x="connsiteX15235" y="connsiteY15235"/>
              </a:cxn>
              <a:cxn ang="0">
                <a:pos x="connsiteX15236" y="connsiteY15236"/>
              </a:cxn>
              <a:cxn ang="0">
                <a:pos x="connsiteX15237" y="connsiteY15237"/>
              </a:cxn>
              <a:cxn ang="0">
                <a:pos x="connsiteX15238" y="connsiteY15238"/>
              </a:cxn>
              <a:cxn ang="0">
                <a:pos x="connsiteX15239" y="connsiteY15239"/>
              </a:cxn>
              <a:cxn ang="0">
                <a:pos x="connsiteX15240" y="connsiteY15240"/>
              </a:cxn>
              <a:cxn ang="0">
                <a:pos x="connsiteX15241" y="connsiteY15241"/>
              </a:cxn>
              <a:cxn ang="0">
                <a:pos x="connsiteX15242" y="connsiteY15242"/>
              </a:cxn>
              <a:cxn ang="0">
                <a:pos x="connsiteX15243" y="connsiteY15243"/>
              </a:cxn>
              <a:cxn ang="0">
                <a:pos x="connsiteX15244" y="connsiteY15244"/>
              </a:cxn>
              <a:cxn ang="0">
                <a:pos x="connsiteX15245" y="connsiteY15245"/>
              </a:cxn>
              <a:cxn ang="0">
                <a:pos x="connsiteX15246" y="connsiteY15246"/>
              </a:cxn>
              <a:cxn ang="0">
                <a:pos x="connsiteX15247" y="connsiteY15247"/>
              </a:cxn>
              <a:cxn ang="0">
                <a:pos x="connsiteX15248" y="connsiteY15248"/>
              </a:cxn>
              <a:cxn ang="0">
                <a:pos x="connsiteX15249" y="connsiteY15249"/>
              </a:cxn>
              <a:cxn ang="0">
                <a:pos x="connsiteX15250" y="connsiteY15250"/>
              </a:cxn>
              <a:cxn ang="0">
                <a:pos x="connsiteX15251" y="connsiteY15251"/>
              </a:cxn>
              <a:cxn ang="0">
                <a:pos x="connsiteX15252" y="connsiteY15252"/>
              </a:cxn>
              <a:cxn ang="0">
                <a:pos x="connsiteX15253" y="connsiteY15253"/>
              </a:cxn>
              <a:cxn ang="0">
                <a:pos x="connsiteX15254" y="connsiteY15254"/>
              </a:cxn>
              <a:cxn ang="0">
                <a:pos x="connsiteX15255" y="connsiteY15255"/>
              </a:cxn>
              <a:cxn ang="0">
                <a:pos x="connsiteX15256" y="connsiteY15256"/>
              </a:cxn>
              <a:cxn ang="0">
                <a:pos x="connsiteX15257" y="connsiteY15257"/>
              </a:cxn>
              <a:cxn ang="0">
                <a:pos x="connsiteX15258" y="connsiteY15258"/>
              </a:cxn>
              <a:cxn ang="0">
                <a:pos x="connsiteX15259" y="connsiteY15259"/>
              </a:cxn>
              <a:cxn ang="0">
                <a:pos x="connsiteX15260" y="connsiteY15260"/>
              </a:cxn>
              <a:cxn ang="0">
                <a:pos x="connsiteX15261" y="connsiteY15261"/>
              </a:cxn>
              <a:cxn ang="0">
                <a:pos x="connsiteX15262" y="connsiteY15262"/>
              </a:cxn>
              <a:cxn ang="0">
                <a:pos x="connsiteX15263" y="connsiteY15263"/>
              </a:cxn>
              <a:cxn ang="0">
                <a:pos x="connsiteX15264" y="connsiteY15264"/>
              </a:cxn>
              <a:cxn ang="0">
                <a:pos x="connsiteX15265" y="connsiteY15265"/>
              </a:cxn>
              <a:cxn ang="0">
                <a:pos x="connsiteX15266" y="connsiteY15266"/>
              </a:cxn>
              <a:cxn ang="0">
                <a:pos x="connsiteX15267" y="connsiteY15267"/>
              </a:cxn>
              <a:cxn ang="0">
                <a:pos x="connsiteX15268" y="connsiteY15268"/>
              </a:cxn>
              <a:cxn ang="0">
                <a:pos x="connsiteX15269" y="connsiteY15269"/>
              </a:cxn>
              <a:cxn ang="0">
                <a:pos x="connsiteX15270" y="connsiteY15270"/>
              </a:cxn>
              <a:cxn ang="0">
                <a:pos x="connsiteX15271" y="connsiteY15271"/>
              </a:cxn>
              <a:cxn ang="0">
                <a:pos x="connsiteX15272" y="connsiteY15272"/>
              </a:cxn>
              <a:cxn ang="0">
                <a:pos x="connsiteX15273" y="connsiteY15273"/>
              </a:cxn>
              <a:cxn ang="0">
                <a:pos x="connsiteX15274" y="connsiteY15274"/>
              </a:cxn>
              <a:cxn ang="0">
                <a:pos x="connsiteX15275" y="connsiteY15275"/>
              </a:cxn>
              <a:cxn ang="0">
                <a:pos x="connsiteX15276" y="connsiteY15276"/>
              </a:cxn>
              <a:cxn ang="0">
                <a:pos x="connsiteX15277" y="connsiteY15277"/>
              </a:cxn>
              <a:cxn ang="0">
                <a:pos x="connsiteX15278" y="connsiteY15278"/>
              </a:cxn>
              <a:cxn ang="0">
                <a:pos x="connsiteX15279" y="connsiteY15279"/>
              </a:cxn>
              <a:cxn ang="0">
                <a:pos x="connsiteX15280" y="connsiteY15280"/>
              </a:cxn>
              <a:cxn ang="0">
                <a:pos x="connsiteX15281" y="connsiteY15281"/>
              </a:cxn>
              <a:cxn ang="0">
                <a:pos x="connsiteX15282" y="connsiteY15282"/>
              </a:cxn>
              <a:cxn ang="0">
                <a:pos x="connsiteX15283" y="connsiteY15283"/>
              </a:cxn>
              <a:cxn ang="0">
                <a:pos x="connsiteX15284" y="connsiteY15284"/>
              </a:cxn>
              <a:cxn ang="0">
                <a:pos x="connsiteX15285" y="connsiteY15285"/>
              </a:cxn>
              <a:cxn ang="0">
                <a:pos x="connsiteX15286" y="connsiteY15286"/>
              </a:cxn>
              <a:cxn ang="0">
                <a:pos x="connsiteX15287" y="connsiteY15287"/>
              </a:cxn>
              <a:cxn ang="0">
                <a:pos x="connsiteX15288" y="connsiteY15288"/>
              </a:cxn>
              <a:cxn ang="0">
                <a:pos x="connsiteX15289" y="connsiteY15289"/>
              </a:cxn>
              <a:cxn ang="0">
                <a:pos x="connsiteX15290" y="connsiteY15290"/>
              </a:cxn>
              <a:cxn ang="0">
                <a:pos x="connsiteX15291" y="connsiteY15291"/>
              </a:cxn>
              <a:cxn ang="0">
                <a:pos x="connsiteX15292" y="connsiteY15292"/>
              </a:cxn>
              <a:cxn ang="0">
                <a:pos x="connsiteX15293" y="connsiteY15293"/>
              </a:cxn>
              <a:cxn ang="0">
                <a:pos x="connsiteX15294" y="connsiteY15294"/>
              </a:cxn>
              <a:cxn ang="0">
                <a:pos x="connsiteX15295" y="connsiteY15295"/>
              </a:cxn>
              <a:cxn ang="0">
                <a:pos x="connsiteX15296" y="connsiteY15296"/>
              </a:cxn>
              <a:cxn ang="0">
                <a:pos x="connsiteX15297" y="connsiteY15297"/>
              </a:cxn>
              <a:cxn ang="0">
                <a:pos x="connsiteX15298" y="connsiteY15298"/>
              </a:cxn>
              <a:cxn ang="0">
                <a:pos x="connsiteX15299" y="connsiteY15299"/>
              </a:cxn>
              <a:cxn ang="0">
                <a:pos x="connsiteX15300" y="connsiteY15300"/>
              </a:cxn>
              <a:cxn ang="0">
                <a:pos x="connsiteX15301" y="connsiteY15301"/>
              </a:cxn>
              <a:cxn ang="0">
                <a:pos x="connsiteX15302" y="connsiteY15302"/>
              </a:cxn>
              <a:cxn ang="0">
                <a:pos x="connsiteX15303" y="connsiteY15303"/>
              </a:cxn>
              <a:cxn ang="0">
                <a:pos x="connsiteX15304" y="connsiteY15304"/>
              </a:cxn>
              <a:cxn ang="0">
                <a:pos x="connsiteX15305" y="connsiteY15305"/>
              </a:cxn>
              <a:cxn ang="0">
                <a:pos x="connsiteX15306" y="connsiteY15306"/>
              </a:cxn>
              <a:cxn ang="0">
                <a:pos x="connsiteX15307" y="connsiteY15307"/>
              </a:cxn>
              <a:cxn ang="0">
                <a:pos x="connsiteX15308" y="connsiteY15308"/>
              </a:cxn>
              <a:cxn ang="0">
                <a:pos x="connsiteX15309" y="connsiteY15309"/>
              </a:cxn>
              <a:cxn ang="0">
                <a:pos x="connsiteX15310" y="connsiteY15310"/>
              </a:cxn>
              <a:cxn ang="0">
                <a:pos x="connsiteX15311" y="connsiteY15311"/>
              </a:cxn>
              <a:cxn ang="0">
                <a:pos x="connsiteX15312" y="connsiteY15312"/>
              </a:cxn>
              <a:cxn ang="0">
                <a:pos x="connsiteX15313" y="connsiteY15313"/>
              </a:cxn>
              <a:cxn ang="0">
                <a:pos x="connsiteX15314" y="connsiteY15314"/>
              </a:cxn>
              <a:cxn ang="0">
                <a:pos x="connsiteX15315" y="connsiteY15315"/>
              </a:cxn>
              <a:cxn ang="0">
                <a:pos x="connsiteX15316" y="connsiteY15316"/>
              </a:cxn>
              <a:cxn ang="0">
                <a:pos x="connsiteX15317" y="connsiteY15317"/>
              </a:cxn>
              <a:cxn ang="0">
                <a:pos x="connsiteX15318" y="connsiteY15318"/>
              </a:cxn>
              <a:cxn ang="0">
                <a:pos x="connsiteX15319" y="connsiteY15319"/>
              </a:cxn>
              <a:cxn ang="0">
                <a:pos x="connsiteX15320" y="connsiteY15320"/>
              </a:cxn>
              <a:cxn ang="0">
                <a:pos x="connsiteX15321" y="connsiteY15321"/>
              </a:cxn>
              <a:cxn ang="0">
                <a:pos x="connsiteX15322" y="connsiteY15322"/>
              </a:cxn>
              <a:cxn ang="0">
                <a:pos x="connsiteX15323" y="connsiteY15323"/>
              </a:cxn>
              <a:cxn ang="0">
                <a:pos x="connsiteX15324" y="connsiteY15324"/>
              </a:cxn>
              <a:cxn ang="0">
                <a:pos x="connsiteX15325" y="connsiteY15325"/>
              </a:cxn>
              <a:cxn ang="0">
                <a:pos x="connsiteX15326" y="connsiteY15326"/>
              </a:cxn>
              <a:cxn ang="0">
                <a:pos x="connsiteX15327" y="connsiteY15327"/>
              </a:cxn>
              <a:cxn ang="0">
                <a:pos x="connsiteX15328" y="connsiteY15328"/>
              </a:cxn>
              <a:cxn ang="0">
                <a:pos x="connsiteX15329" y="connsiteY15329"/>
              </a:cxn>
              <a:cxn ang="0">
                <a:pos x="connsiteX15330" y="connsiteY15330"/>
              </a:cxn>
              <a:cxn ang="0">
                <a:pos x="connsiteX15331" y="connsiteY15331"/>
              </a:cxn>
              <a:cxn ang="0">
                <a:pos x="connsiteX15332" y="connsiteY15332"/>
              </a:cxn>
              <a:cxn ang="0">
                <a:pos x="connsiteX15333" y="connsiteY15333"/>
              </a:cxn>
              <a:cxn ang="0">
                <a:pos x="connsiteX15334" y="connsiteY15334"/>
              </a:cxn>
              <a:cxn ang="0">
                <a:pos x="connsiteX15335" y="connsiteY15335"/>
              </a:cxn>
              <a:cxn ang="0">
                <a:pos x="connsiteX15336" y="connsiteY15336"/>
              </a:cxn>
              <a:cxn ang="0">
                <a:pos x="connsiteX15337" y="connsiteY15337"/>
              </a:cxn>
              <a:cxn ang="0">
                <a:pos x="connsiteX15338" y="connsiteY15338"/>
              </a:cxn>
              <a:cxn ang="0">
                <a:pos x="connsiteX15339" y="connsiteY15339"/>
              </a:cxn>
              <a:cxn ang="0">
                <a:pos x="connsiteX15340" y="connsiteY15340"/>
              </a:cxn>
              <a:cxn ang="0">
                <a:pos x="connsiteX15341" y="connsiteY15341"/>
              </a:cxn>
              <a:cxn ang="0">
                <a:pos x="connsiteX15342" y="connsiteY15342"/>
              </a:cxn>
              <a:cxn ang="0">
                <a:pos x="connsiteX15343" y="connsiteY15343"/>
              </a:cxn>
              <a:cxn ang="0">
                <a:pos x="connsiteX15344" y="connsiteY15344"/>
              </a:cxn>
              <a:cxn ang="0">
                <a:pos x="connsiteX15345" y="connsiteY15345"/>
              </a:cxn>
              <a:cxn ang="0">
                <a:pos x="connsiteX15346" y="connsiteY15346"/>
              </a:cxn>
              <a:cxn ang="0">
                <a:pos x="connsiteX15347" y="connsiteY15347"/>
              </a:cxn>
              <a:cxn ang="0">
                <a:pos x="connsiteX15348" y="connsiteY15348"/>
              </a:cxn>
              <a:cxn ang="0">
                <a:pos x="connsiteX15349" y="connsiteY15349"/>
              </a:cxn>
              <a:cxn ang="0">
                <a:pos x="connsiteX15350" y="connsiteY15350"/>
              </a:cxn>
              <a:cxn ang="0">
                <a:pos x="connsiteX15351" y="connsiteY15351"/>
              </a:cxn>
              <a:cxn ang="0">
                <a:pos x="connsiteX15352" y="connsiteY15352"/>
              </a:cxn>
              <a:cxn ang="0">
                <a:pos x="connsiteX15353" y="connsiteY15353"/>
              </a:cxn>
              <a:cxn ang="0">
                <a:pos x="connsiteX15354" y="connsiteY15354"/>
              </a:cxn>
              <a:cxn ang="0">
                <a:pos x="connsiteX15355" y="connsiteY15355"/>
              </a:cxn>
              <a:cxn ang="0">
                <a:pos x="connsiteX15356" y="connsiteY15356"/>
              </a:cxn>
              <a:cxn ang="0">
                <a:pos x="connsiteX15357" y="connsiteY15357"/>
              </a:cxn>
              <a:cxn ang="0">
                <a:pos x="connsiteX15358" y="connsiteY15358"/>
              </a:cxn>
              <a:cxn ang="0">
                <a:pos x="connsiteX15359" y="connsiteY15359"/>
              </a:cxn>
              <a:cxn ang="0">
                <a:pos x="connsiteX15360" y="connsiteY15360"/>
              </a:cxn>
              <a:cxn ang="0">
                <a:pos x="connsiteX15361" y="connsiteY15361"/>
              </a:cxn>
              <a:cxn ang="0">
                <a:pos x="connsiteX15362" y="connsiteY15362"/>
              </a:cxn>
              <a:cxn ang="0">
                <a:pos x="connsiteX15363" y="connsiteY15363"/>
              </a:cxn>
              <a:cxn ang="0">
                <a:pos x="connsiteX15364" y="connsiteY15364"/>
              </a:cxn>
              <a:cxn ang="0">
                <a:pos x="connsiteX15365" y="connsiteY15365"/>
              </a:cxn>
              <a:cxn ang="0">
                <a:pos x="connsiteX15366" y="connsiteY15366"/>
              </a:cxn>
              <a:cxn ang="0">
                <a:pos x="connsiteX15367" y="connsiteY15367"/>
              </a:cxn>
              <a:cxn ang="0">
                <a:pos x="connsiteX15368" y="connsiteY15368"/>
              </a:cxn>
              <a:cxn ang="0">
                <a:pos x="connsiteX15369" y="connsiteY15369"/>
              </a:cxn>
              <a:cxn ang="0">
                <a:pos x="connsiteX15370" y="connsiteY15370"/>
              </a:cxn>
              <a:cxn ang="0">
                <a:pos x="connsiteX15371" y="connsiteY15371"/>
              </a:cxn>
              <a:cxn ang="0">
                <a:pos x="connsiteX15372" y="connsiteY15372"/>
              </a:cxn>
              <a:cxn ang="0">
                <a:pos x="connsiteX15373" y="connsiteY15373"/>
              </a:cxn>
              <a:cxn ang="0">
                <a:pos x="connsiteX15374" y="connsiteY15374"/>
              </a:cxn>
              <a:cxn ang="0">
                <a:pos x="connsiteX15375" y="connsiteY15375"/>
              </a:cxn>
              <a:cxn ang="0">
                <a:pos x="connsiteX15376" y="connsiteY15376"/>
              </a:cxn>
              <a:cxn ang="0">
                <a:pos x="connsiteX15377" y="connsiteY15377"/>
              </a:cxn>
              <a:cxn ang="0">
                <a:pos x="connsiteX15378" y="connsiteY15378"/>
              </a:cxn>
              <a:cxn ang="0">
                <a:pos x="connsiteX15379" y="connsiteY15379"/>
              </a:cxn>
              <a:cxn ang="0">
                <a:pos x="connsiteX15380" y="connsiteY15380"/>
              </a:cxn>
              <a:cxn ang="0">
                <a:pos x="connsiteX15381" y="connsiteY15381"/>
              </a:cxn>
              <a:cxn ang="0">
                <a:pos x="connsiteX15382" y="connsiteY15382"/>
              </a:cxn>
              <a:cxn ang="0">
                <a:pos x="connsiteX15383" y="connsiteY15383"/>
              </a:cxn>
              <a:cxn ang="0">
                <a:pos x="connsiteX15384" y="connsiteY15384"/>
              </a:cxn>
              <a:cxn ang="0">
                <a:pos x="connsiteX15385" y="connsiteY15385"/>
              </a:cxn>
              <a:cxn ang="0">
                <a:pos x="connsiteX15386" y="connsiteY15386"/>
              </a:cxn>
              <a:cxn ang="0">
                <a:pos x="connsiteX15387" y="connsiteY15387"/>
              </a:cxn>
              <a:cxn ang="0">
                <a:pos x="connsiteX15388" y="connsiteY15388"/>
              </a:cxn>
              <a:cxn ang="0">
                <a:pos x="connsiteX15389" y="connsiteY15389"/>
              </a:cxn>
              <a:cxn ang="0">
                <a:pos x="connsiteX15390" y="connsiteY15390"/>
              </a:cxn>
              <a:cxn ang="0">
                <a:pos x="connsiteX15391" y="connsiteY15391"/>
              </a:cxn>
              <a:cxn ang="0">
                <a:pos x="connsiteX15392" y="connsiteY15392"/>
              </a:cxn>
              <a:cxn ang="0">
                <a:pos x="connsiteX15393" y="connsiteY15393"/>
              </a:cxn>
              <a:cxn ang="0">
                <a:pos x="connsiteX15394" y="connsiteY15394"/>
              </a:cxn>
              <a:cxn ang="0">
                <a:pos x="connsiteX15395" y="connsiteY15395"/>
              </a:cxn>
              <a:cxn ang="0">
                <a:pos x="connsiteX15396" y="connsiteY15396"/>
              </a:cxn>
              <a:cxn ang="0">
                <a:pos x="connsiteX15397" y="connsiteY15397"/>
              </a:cxn>
              <a:cxn ang="0">
                <a:pos x="connsiteX15398" y="connsiteY15398"/>
              </a:cxn>
              <a:cxn ang="0">
                <a:pos x="connsiteX15399" y="connsiteY15399"/>
              </a:cxn>
              <a:cxn ang="0">
                <a:pos x="connsiteX15400" y="connsiteY15400"/>
              </a:cxn>
              <a:cxn ang="0">
                <a:pos x="connsiteX15401" y="connsiteY15401"/>
              </a:cxn>
              <a:cxn ang="0">
                <a:pos x="connsiteX15402" y="connsiteY15402"/>
              </a:cxn>
              <a:cxn ang="0">
                <a:pos x="connsiteX15403" y="connsiteY15403"/>
              </a:cxn>
              <a:cxn ang="0">
                <a:pos x="connsiteX15404" y="connsiteY15404"/>
              </a:cxn>
              <a:cxn ang="0">
                <a:pos x="connsiteX15405" y="connsiteY15405"/>
              </a:cxn>
              <a:cxn ang="0">
                <a:pos x="connsiteX15406" y="connsiteY15406"/>
              </a:cxn>
              <a:cxn ang="0">
                <a:pos x="connsiteX15407" y="connsiteY15407"/>
              </a:cxn>
              <a:cxn ang="0">
                <a:pos x="connsiteX15408" y="connsiteY15408"/>
              </a:cxn>
              <a:cxn ang="0">
                <a:pos x="connsiteX15409" y="connsiteY15409"/>
              </a:cxn>
              <a:cxn ang="0">
                <a:pos x="connsiteX15410" y="connsiteY15410"/>
              </a:cxn>
              <a:cxn ang="0">
                <a:pos x="connsiteX15411" y="connsiteY15411"/>
              </a:cxn>
              <a:cxn ang="0">
                <a:pos x="connsiteX15412" y="connsiteY15412"/>
              </a:cxn>
              <a:cxn ang="0">
                <a:pos x="connsiteX15413" y="connsiteY15413"/>
              </a:cxn>
              <a:cxn ang="0">
                <a:pos x="connsiteX15414" y="connsiteY15414"/>
              </a:cxn>
              <a:cxn ang="0">
                <a:pos x="connsiteX15415" y="connsiteY15415"/>
              </a:cxn>
              <a:cxn ang="0">
                <a:pos x="connsiteX15416" y="connsiteY15416"/>
              </a:cxn>
              <a:cxn ang="0">
                <a:pos x="connsiteX15417" y="connsiteY15417"/>
              </a:cxn>
              <a:cxn ang="0">
                <a:pos x="connsiteX15418" y="connsiteY15418"/>
              </a:cxn>
              <a:cxn ang="0">
                <a:pos x="connsiteX15419" y="connsiteY15419"/>
              </a:cxn>
              <a:cxn ang="0">
                <a:pos x="connsiteX15420" y="connsiteY15420"/>
              </a:cxn>
              <a:cxn ang="0">
                <a:pos x="connsiteX15421" y="connsiteY15421"/>
              </a:cxn>
              <a:cxn ang="0">
                <a:pos x="connsiteX15422" y="connsiteY15422"/>
              </a:cxn>
              <a:cxn ang="0">
                <a:pos x="connsiteX15423" y="connsiteY15423"/>
              </a:cxn>
              <a:cxn ang="0">
                <a:pos x="connsiteX15424" y="connsiteY15424"/>
              </a:cxn>
              <a:cxn ang="0">
                <a:pos x="connsiteX15425" y="connsiteY15425"/>
              </a:cxn>
              <a:cxn ang="0">
                <a:pos x="connsiteX15426" y="connsiteY15426"/>
              </a:cxn>
              <a:cxn ang="0">
                <a:pos x="connsiteX15427" y="connsiteY15427"/>
              </a:cxn>
              <a:cxn ang="0">
                <a:pos x="connsiteX15428" y="connsiteY15428"/>
              </a:cxn>
              <a:cxn ang="0">
                <a:pos x="connsiteX15429" y="connsiteY15429"/>
              </a:cxn>
              <a:cxn ang="0">
                <a:pos x="connsiteX15430" y="connsiteY15430"/>
              </a:cxn>
              <a:cxn ang="0">
                <a:pos x="connsiteX15431" y="connsiteY15431"/>
              </a:cxn>
              <a:cxn ang="0">
                <a:pos x="connsiteX15432" y="connsiteY15432"/>
              </a:cxn>
              <a:cxn ang="0">
                <a:pos x="connsiteX15433" y="connsiteY15433"/>
              </a:cxn>
              <a:cxn ang="0">
                <a:pos x="connsiteX15434" y="connsiteY15434"/>
              </a:cxn>
              <a:cxn ang="0">
                <a:pos x="connsiteX15435" y="connsiteY15435"/>
              </a:cxn>
              <a:cxn ang="0">
                <a:pos x="connsiteX15436" y="connsiteY15436"/>
              </a:cxn>
              <a:cxn ang="0">
                <a:pos x="connsiteX15437" y="connsiteY15437"/>
              </a:cxn>
              <a:cxn ang="0">
                <a:pos x="connsiteX15438" y="connsiteY15438"/>
              </a:cxn>
              <a:cxn ang="0">
                <a:pos x="connsiteX15439" y="connsiteY15439"/>
              </a:cxn>
              <a:cxn ang="0">
                <a:pos x="connsiteX15440" y="connsiteY15440"/>
              </a:cxn>
              <a:cxn ang="0">
                <a:pos x="connsiteX15441" y="connsiteY15441"/>
              </a:cxn>
              <a:cxn ang="0">
                <a:pos x="connsiteX15442" y="connsiteY15442"/>
              </a:cxn>
              <a:cxn ang="0">
                <a:pos x="connsiteX15443" y="connsiteY15443"/>
              </a:cxn>
              <a:cxn ang="0">
                <a:pos x="connsiteX15444" y="connsiteY15444"/>
              </a:cxn>
              <a:cxn ang="0">
                <a:pos x="connsiteX15445" y="connsiteY15445"/>
              </a:cxn>
              <a:cxn ang="0">
                <a:pos x="connsiteX15446" y="connsiteY15446"/>
              </a:cxn>
              <a:cxn ang="0">
                <a:pos x="connsiteX15447" y="connsiteY15447"/>
              </a:cxn>
              <a:cxn ang="0">
                <a:pos x="connsiteX15448" y="connsiteY15448"/>
              </a:cxn>
              <a:cxn ang="0">
                <a:pos x="connsiteX15449" y="connsiteY15449"/>
              </a:cxn>
              <a:cxn ang="0">
                <a:pos x="connsiteX15450" y="connsiteY15450"/>
              </a:cxn>
              <a:cxn ang="0">
                <a:pos x="connsiteX15451" y="connsiteY15451"/>
              </a:cxn>
              <a:cxn ang="0">
                <a:pos x="connsiteX15452" y="connsiteY15452"/>
              </a:cxn>
              <a:cxn ang="0">
                <a:pos x="connsiteX15453" y="connsiteY15453"/>
              </a:cxn>
              <a:cxn ang="0">
                <a:pos x="connsiteX15454" y="connsiteY15454"/>
              </a:cxn>
              <a:cxn ang="0">
                <a:pos x="connsiteX15455" y="connsiteY15455"/>
              </a:cxn>
              <a:cxn ang="0">
                <a:pos x="connsiteX15456" y="connsiteY15456"/>
              </a:cxn>
              <a:cxn ang="0">
                <a:pos x="connsiteX15457" y="connsiteY15457"/>
              </a:cxn>
              <a:cxn ang="0">
                <a:pos x="connsiteX15458" y="connsiteY15458"/>
              </a:cxn>
              <a:cxn ang="0">
                <a:pos x="connsiteX15459" y="connsiteY15459"/>
              </a:cxn>
              <a:cxn ang="0">
                <a:pos x="connsiteX15460" y="connsiteY15460"/>
              </a:cxn>
              <a:cxn ang="0">
                <a:pos x="connsiteX15461" y="connsiteY15461"/>
              </a:cxn>
              <a:cxn ang="0">
                <a:pos x="connsiteX15462" y="connsiteY15462"/>
              </a:cxn>
              <a:cxn ang="0">
                <a:pos x="connsiteX15463" y="connsiteY15463"/>
              </a:cxn>
              <a:cxn ang="0">
                <a:pos x="connsiteX15464" y="connsiteY15464"/>
              </a:cxn>
              <a:cxn ang="0">
                <a:pos x="connsiteX15465" y="connsiteY15465"/>
              </a:cxn>
              <a:cxn ang="0">
                <a:pos x="connsiteX15466" y="connsiteY15466"/>
              </a:cxn>
              <a:cxn ang="0">
                <a:pos x="connsiteX15467" y="connsiteY15467"/>
              </a:cxn>
              <a:cxn ang="0">
                <a:pos x="connsiteX15468" y="connsiteY15468"/>
              </a:cxn>
              <a:cxn ang="0">
                <a:pos x="connsiteX15469" y="connsiteY15469"/>
              </a:cxn>
              <a:cxn ang="0">
                <a:pos x="connsiteX15470" y="connsiteY15470"/>
              </a:cxn>
              <a:cxn ang="0">
                <a:pos x="connsiteX15471" y="connsiteY15471"/>
              </a:cxn>
              <a:cxn ang="0">
                <a:pos x="connsiteX15472" y="connsiteY15472"/>
              </a:cxn>
              <a:cxn ang="0">
                <a:pos x="connsiteX15473" y="connsiteY15473"/>
              </a:cxn>
              <a:cxn ang="0">
                <a:pos x="connsiteX15474" y="connsiteY15474"/>
              </a:cxn>
              <a:cxn ang="0">
                <a:pos x="connsiteX15475" y="connsiteY15475"/>
              </a:cxn>
              <a:cxn ang="0">
                <a:pos x="connsiteX15476" y="connsiteY15476"/>
              </a:cxn>
              <a:cxn ang="0">
                <a:pos x="connsiteX15477" y="connsiteY15477"/>
              </a:cxn>
              <a:cxn ang="0">
                <a:pos x="connsiteX15478" y="connsiteY15478"/>
              </a:cxn>
              <a:cxn ang="0">
                <a:pos x="connsiteX15479" y="connsiteY15479"/>
              </a:cxn>
              <a:cxn ang="0">
                <a:pos x="connsiteX15480" y="connsiteY15480"/>
              </a:cxn>
              <a:cxn ang="0">
                <a:pos x="connsiteX15481" y="connsiteY15481"/>
              </a:cxn>
              <a:cxn ang="0">
                <a:pos x="connsiteX15482" y="connsiteY15482"/>
              </a:cxn>
              <a:cxn ang="0">
                <a:pos x="connsiteX15483" y="connsiteY15483"/>
              </a:cxn>
              <a:cxn ang="0">
                <a:pos x="connsiteX15484" y="connsiteY15484"/>
              </a:cxn>
              <a:cxn ang="0">
                <a:pos x="connsiteX15485" y="connsiteY15485"/>
              </a:cxn>
              <a:cxn ang="0">
                <a:pos x="connsiteX15486" y="connsiteY15486"/>
              </a:cxn>
              <a:cxn ang="0">
                <a:pos x="connsiteX15487" y="connsiteY15487"/>
              </a:cxn>
              <a:cxn ang="0">
                <a:pos x="connsiteX15488" y="connsiteY15488"/>
              </a:cxn>
              <a:cxn ang="0">
                <a:pos x="connsiteX15489" y="connsiteY15489"/>
              </a:cxn>
              <a:cxn ang="0">
                <a:pos x="connsiteX15490" y="connsiteY15490"/>
              </a:cxn>
              <a:cxn ang="0">
                <a:pos x="connsiteX15491" y="connsiteY15491"/>
              </a:cxn>
              <a:cxn ang="0">
                <a:pos x="connsiteX15492" y="connsiteY15492"/>
              </a:cxn>
              <a:cxn ang="0">
                <a:pos x="connsiteX15493" y="connsiteY15493"/>
              </a:cxn>
              <a:cxn ang="0">
                <a:pos x="connsiteX15494" y="connsiteY15494"/>
              </a:cxn>
              <a:cxn ang="0">
                <a:pos x="connsiteX15495" y="connsiteY15495"/>
              </a:cxn>
              <a:cxn ang="0">
                <a:pos x="connsiteX15496" y="connsiteY15496"/>
              </a:cxn>
              <a:cxn ang="0">
                <a:pos x="connsiteX15497" y="connsiteY15497"/>
              </a:cxn>
              <a:cxn ang="0">
                <a:pos x="connsiteX15498" y="connsiteY15498"/>
              </a:cxn>
              <a:cxn ang="0">
                <a:pos x="connsiteX15499" y="connsiteY15499"/>
              </a:cxn>
              <a:cxn ang="0">
                <a:pos x="connsiteX15500" y="connsiteY15500"/>
              </a:cxn>
              <a:cxn ang="0">
                <a:pos x="connsiteX15501" y="connsiteY15501"/>
              </a:cxn>
              <a:cxn ang="0">
                <a:pos x="connsiteX15502" y="connsiteY15502"/>
              </a:cxn>
              <a:cxn ang="0">
                <a:pos x="connsiteX15503" y="connsiteY15503"/>
              </a:cxn>
              <a:cxn ang="0">
                <a:pos x="connsiteX15504" y="connsiteY15504"/>
              </a:cxn>
              <a:cxn ang="0">
                <a:pos x="connsiteX15505" y="connsiteY15505"/>
              </a:cxn>
              <a:cxn ang="0">
                <a:pos x="connsiteX15506" y="connsiteY15506"/>
              </a:cxn>
              <a:cxn ang="0">
                <a:pos x="connsiteX15507" y="connsiteY15507"/>
              </a:cxn>
              <a:cxn ang="0">
                <a:pos x="connsiteX15508" y="connsiteY15508"/>
              </a:cxn>
              <a:cxn ang="0">
                <a:pos x="connsiteX15509" y="connsiteY15509"/>
              </a:cxn>
              <a:cxn ang="0">
                <a:pos x="connsiteX15510" y="connsiteY15510"/>
              </a:cxn>
              <a:cxn ang="0">
                <a:pos x="connsiteX15511" y="connsiteY15511"/>
              </a:cxn>
              <a:cxn ang="0">
                <a:pos x="connsiteX15512" y="connsiteY15512"/>
              </a:cxn>
              <a:cxn ang="0">
                <a:pos x="connsiteX15513" y="connsiteY15513"/>
              </a:cxn>
              <a:cxn ang="0">
                <a:pos x="connsiteX15514" y="connsiteY15514"/>
              </a:cxn>
              <a:cxn ang="0">
                <a:pos x="connsiteX15515" y="connsiteY15515"/>
              </a:cxn>
              <a:cxn ang="0">
                <a:pos x="connsiteX15516" y="connsiteY15516"/>
              </a:cxn>
              <a:cxn ang="0">
                <a:pos x="connsiteX15517" y="connsiteY15517"/>
              </a:cxn>
              <a:cxn ang="0">
                <a:pos x="connsiteX15518" y="connsiteY15518"/>
              </a:cxn>
              <a:cxn ang="0">
                <a:pos x="connsiteX15519" y="connsiteY15519"/>
              </a:cxn>
              <a:cxn ang="0">
                <a:pos x="connsiteX15520" y="connsiteY15520"/>
              </a:cxn>
              <a:cxn ang="0">
                <a:pos x="connsiteX15521" y="connsiteY15521"/>
              </a:cxn>
              <a:cxn ang="0">
                <a:pos x="connsiteX15522" y="connsiteY15522"/>
              </a:cxn>
              <a:cxn ang="0">
                <a:pos x="connsiteX15523" y="connsiteY15523"/>
              </a:cxn>
              <a:cxn ang="0">
                <a:pos x="connsiteX15524" y="connsiteY15524"/>
              </a:cxn>
              <a:cxn ang="0">
                <a:pos x="connsiteX15525" y="connsiteY15525"/>
              </a:cxn>
              <a:cxn ang="0">
                <a:pos x="connsiteX15526" y="connsiteY15526"/>
              </a:cxn>
              <a:cxn ang="0">
                <a:pos x="connsiteX15527" y="connsiteY15527"/>
              </a:cxn>
              <a:cxn ang="0">
                <a:pos x="connsiteX15528" y="connsiteY15528"/>
              </a:cxn>
              <a:cxn ang="0">
                <a:pos x="connsiteX15529" y="connsiteY15529"/>
              </a:cxn>
              <a:cxn ang="0">
                <a:pos x="connsiteX15530" y="connsiteY15530"/>
              </a:cxn>
              <a:cxn ang="0">
                <a:pos x="connsiteX15531" y="connsiteY15531"/>
              </a:cxn>
              <a:cxn ang="0">
                <a:pos x="connsiteX15532" y="connsiteY15532"/>
              </a:cxn>
              <a:cxn ang="0">
                <a:pos x="connsiteX15533" y="connsiteY15533"/>
              </a:cxn>
              <a:cxn ang="0">
                <a:pos x="connsiteX15534" y="connsiteY15534"/>
              </a:cxn>
              <a:cxn ang="0">
                <a:pos x="connsiteX15535" y="connsiteY15535"/>
              </a:cxn>
              <a:cxn ang="0">
                <a:pos x="connsiteX15536" y="connsiteY15536"/>
              </a:cxn>
              <a:cxn ang="0">
                <a:pos x="connsiteX15537" y="connsiteY15537"/>
              </a:cxn>
              <a:cxn ang="0">
                <a:pos x="connsiteX15538" y="connsiteY15538"/>
              </a:cxn>
              <a:cxn ang="0">
                <a:pos x="connsiteX15539" y="connsiteY15539"/>
              </a:cxn>
              <a:cxn ang="0">
                <a:pos x="connsiteX15540" y="connsiteY15540"/>
              </a:cxn>
              <a:cxn ang="0">
                <a:pos x="connsiteX15541" y="connsiteY15541"/>
              </a:cxn>
              <a:cxn ang="0">
                <a:pos x="connsiteX15542" y="connsiteY15542"/>
              </a:cxn>
              <a:cxn ang="0">
                <a:pos x="connsiteX15543" y="connsiteY15543"/>
              </a:cxn>
              <a:cxn ang="0">
                <a:pos x="connsiteX15544" y="connsiteY15544"/>
              </a:cxn>
              <a:cxn ang="0">
                <a:pos x="connsiteX15545" y="connsiteY15545"/>
              </a:cxn>
              <a:cxn ang="0">
                <a:pos x="connsiteX15546" y="connsiteY15546"/>
              </a:cxn>
              <a:cxn ang="0">
                <a:pos x="connsiteX15547" y="connsiteY15547"/>
              </a:cxn>
              <a:cxn ang="0">
                <a:pos x="connsiteX15548" y="connsiteY15548"/>
              </a:cxn>
              <a:cxn ang="0">
                <a:pos x="connsiteX15549" y="connsiteY15549"/>
              </a:cxn>
              <a:cxn ang="0">
                <a:pos x="connsiteX15550" y="connsiteY15550"/>
              </a:cxn>
              <a:cxn ang="0">
                <a:pos x="connsiteX15551" y="connsiteY15551"/>
              </a:cxn>
              <a:cxn ang="0">
                <a:pos x="connsiteX15552" y="connsiteY15552"/>
              </a:cxn>
              <a:cxn ang="0">
                <a:pos x="connsiteX15553" y="connsiteY15553"/>
              </a:cxn>
              <a:cxn ang="0">
                <a:pos x="connsiteX15554" y="connsiteY15554"/>
              </a:cxn>
              <a:cxn ang="0">
                <a:pos x="connsiteX15555" y="connsiteY15555"/>
              </a:cxn>
              <a:cxn ang="0">
                <a:pos x="connsiteX15556" y="connsiteY15556"/>
              </a:cxn>
              <a:cxn ang="0">
                <a:pos x="connsiteX15557" y="connsiteY15557"/>
              </a:cxn>
              <a:cxn ang="0">
                <a:pos x="connsiteX15558" y="connsiteY15558"/>
              </a:cxn>
              <a:cxn ang="0">
                <a:pos x="connsiteX15559" y="connsiteY15559"/>
              </a:cxn>
              <a:cxn ang="0">
                <a:pos x="connsiteX15560" y="connsiteY15560"/>
              </a:cxn>
              <a:cxn ang="0">
                <a:pos x="connsiteX15561" y="connsiteY15561"/>
              </a:cxn>
              <a:cxn ang="0">
                <a:pos x="connsiteX15562" y="connsiteY15562"/>
              </a:cxn>
              <a:cxn ang="0">
                <a:pos x="connsiteX15563" y="connsiteY15563"/>
              </a:cxn>
              <a:cxn ang="0">
                <a:pos x="connsiteX15564" y="connsiteY15564"/>
              </a:cxn>
              <a:cxn ang="0">
                <a:pos x="connsiteX15565" y="connsiteY15565"/>
              </a:cxn>
              <a:cxn ang="0">
                <a:pos x="connsiteX15566" y="connsiteY15566"/>
              </a:cxn>
              <a:cxn ang="0">
                <a:pos x="connsiteX15567" y="connsiteY15567"/>
              </a:cxn>
              <a:cxn ang="0">
                <a:pos x="connsiteX15568" y="connsiteY15568"/>
              </a:cxn>
              <a:cxn ang="0">
                <a:pos x="connsiteX15569" y="connsiteY15569"/>
              </a:cxn>
              <a:cxn ang="0">
                <a:pos x="connsiteX15570" y="connsiteY15570"/>
              </a:cxn>
              <a:cxn ang="0">
                <a:pos x="connsiteX15571" y="connsiteY15571"/>
              </a:cxn>
              <a:cxn ang="0">
                <a:pos x="connsiteX15572" y="connsiteY15572"/>
              </a:cxn>
              <a:cxn ang="0">
                <a:pos x="connsiteX15573" y="connsiteY15573"/>
              </a:cxn>
              <a:cxn ang="0">
                <a:pos x="connsiteX15574" y="connsiteY15574"/>
              </a:cxn>
              <a:cxn ang="0">
                <a:pos x="connsiteX15575" y="connsiteY15575"/>
              </a:cxn>
              <a:cxn ang="0">
                <a:pos x="connsiteX15576" y="connsiteY15576"/>
              </a:cxn>
              <a:cxn ang="0">
                <a:pos x="connsiteX15577" y="connsiteY15577"/>
              </a:cxn>
              <a:cxn ang="0">
                <a:pos x="connsiteX15578" y="connsiteY15578"/>
              </a:cxn>
              <a:cxn ang="0">
                <a:pos x="connsiteX15579" y="connsiteY15579"/>
              </a:cxn>
              <a:cxn ang="0">
                <a:pos x="connsiteX15580" y="connsiteY15580"/>
              </a:cxn>
              <a:cxn ang="0">
                <a:pos x="connsiteX15581" y="connsiteY15581"/>
              </a:cxn>
              <a:cxn ang="0">
                <a:pos x="connsiteX15582" y="connsiteY15582"/>
              </a:cxn>
              <a:cxn ang="0">
                <a:pos x="connsiteX15583" y="connsiteY15583"/>
              </a:cxn>
              <a:cxn ang="0">
                <a:pos x="connsiteX15584" y="connsiteY15584"/>
              </a:cxn>
              <a:cxn ang="0">
                <a:pos x="connsiteX15585" y="connsiteY15585"/>
              </a:cxn>
              <a:cxn ang="0">
                <a:pos x="connsiteX15586" y="connsiteY15586"/>
              </a:cxn>
              <a:cxn ang="0">
                <a:pos x="connsiteX15587" y="connsiteY15587"/>
              </a:cxn>
              <a:cxn ang="0">
                <a:pos x="connsiteX15588" y="connsiteY15588"/>
              </a:cxn>
              <a:cxn ang="0">
                <a:pos x="connsiteX15589" y="connsiteY15589"/>
              </a:cxn>
              <a:cxn ang="0">
                <a:pos x="connsiteX15590" y="connsiteY15590"/>
              </a:cxn>
              <a:cxn ang="0">
                <a:pos x="connsiteX15591" y="connsiteY15591"/>
              </a:cxn>
              <a:cxn ang="0">
                <a:pos x="connsiteX15592" y="connsiteY15592"/>
              </a:cxn>
              <a:cxn ang="0">
                <a:pos x="connsiteX15593" y="connsiteY15593"/>
              </a:cxn>
              <a:cxn ang="0">
                <a:pos x="connsiteX15594" y="connsiteY15594"/>
              </a:cxn>
              <a:cxn ang="0">
                <a:pos x="connsiteX15595" y="connsiteY15595"/>
              </a:cxn>
              <a:cxn ang="0">
                <a:pos x="connsiteX15596" y="connsiteY15596"/>
              </a:cxn>
              <a:cxn ang="0">
                <a:pos x="connsiteX15597" y="connsiteY15597"/>
              </a:cxn>
              <a:cxn ang="0">
                <a:pos x="connsiteX15598" y="connsiteY15598"/>
              </a:cxn>
              <a:cxn ang="0">
                <a:pos x="connsiteX15599" y="connsiteY15599"/>
              </a:cxn>
              <a:cxn ang="0">
                <a:pos x="connsiteX15600" y="connsiteY15600"/>
              </a:cxn>
              <a:cxn ang="0">
                <a:pos x="connsiteX15601" y="connsiteY15601"/>
              </a:cxn>
              <a:cxn ang="0">
                <a:pos x="connsiteX15602" y="connsiteY15602"/>
              </a:cxn>
              <a:cxn ang="0">
                <a:pos x="connsiteX15603" y="connsiteY15603"/>
              </a:cxn>
              <a:cxn ang="0">
                <a:pos x="connsiteX15604" y="connsiteY15604"/>
              </a:cxn>
              <a:cxn ang="0">
                <a:pos x="connsiteX15605" y="connsiteY15605"/>
              </a:cxn>
              <a:cxn ang="0">
                <a:pos x="connsiteX15606" y="connsiteY15606"/>
              </a:cxn>
              <a:cxn ang="0">
                <a:pos x="connsiteX15607" y="connsiteY15607"/>
              </a:cxn>
              <a:cxn ang="0">
                <a:pos x="connsiteX15608" y="connsiteY15608"/>
              </a:cxn>
              <a:cxn ang="0">
                <a:pos x="connsiteX15609" y="connsiteY15609"/>
              </a:cxn>
              <a:cxn ang="0">
                <a:pos x="connsiteX15610" y="connsiteY15610"/>
              </a:cxn>
              <a:cxn ang="0">
                <a:pos x="connsiteX15611" y="connsiteY15611"/>
              </a:cxn>
              <a:cxn ang="0">
                <a:pos x="connsiteX15612" y="connsiteY15612"/>
              </a:cxn>
              <a:cxn ang="0">
                <a:pos x="connsiteX15613" y="connsiteY15613"/>
              </a:cxn>
              <a:cxn ang="0">
                <a:pos x="connsiteX15614" y="connsiteY15614"/>
              </a:cxn>
              <a:cxn ang="0">
                <a:pos x="connsiteX15615" y="connsiteY15615"/>
              </a:cxn>
              <a:cxn ang="0">
                <a:pos x="connsiteX15616" y="connsiteY15616"/>
              </a:cxn>
              <a:cxn ang="0">
                <a:pos x="connsiteX15617" y="connsiteY15617"/>
              </a:cxn>
              <a:cxn ang="0">
                <a:pos x="connsiteX15618" y="connsiteY15618"/>
              </a:cxn>
              <a:cxn ang="0">
                <a:pos x="connsiteX15619" y="connsiteY15619"/>
              </a:cxn>
              <a:cxn ang="0">
                <a:pos x="connsiteX15620" y="connsiteY15620"/>
              </a:cxn>
              <a:cxn ang="0">
                <a:pos x="connsiteX15621" y="connsiteY15621"/>
              </a:cxn>
              <a:cxn ang="0">
                <a:pos x="connsiteX15622" y="connsiteY15622"/>
              </a:cxn>
              <a:cxn ang="0">
                <a:pos x="connsiteX15623" y="connsiteY15623"/>
              </a:cxn>
              <a:cxn ang="0">
                <a:pos x="connsiteX15624" y="connsiteY15624"/>
              </a:cxn>
              <a:cxn ang="0">
                <a:pos x="connsiteX15625" y="connsiteY15625"/>
              </a:cxn>
              <a:cxn ang="0">
                <a:pos x="connsiteX15626" y="connsiteY15626"/>
              </a:cxn>
              <a:cxn ang="0">
                <a:pos x="connsiteX15627" y="connsiteY15627"/>
              </a:cxn>
              <a:cxn ang="0">
                <a:pos x="connsiteX15628" y="connsiteY15628"/>
              </a:cxn>
              <a:cxn ang="0">
                <a:pos x="connsiteX15629" y="connsiteY15629"/>
              </a:cxn>
              <a:cxn ang="0">
                <a:pos x="connsiteX15630" y="connsiteY15630"/>
              </a:cxn>
              <a:cxn ang="0">
                <a:pos x="connsiteX15631" y="connsiteY15631"/>
              </a:cxn>
              <a:cxn ang="0">
                <a:pos x="connsiteX15632" y="connsiteY15632"/>
              </a:cxn>
              <a:cxn ang="0">
                <a:pos x="connsiteX15633" y="connsiteY15633"/>
              </a:cxn>
              <a:cxn ang="0">
                <a:pos x="connsiteX15634" y="connsiteY15634"/>
              </a:cxn>
              <a:cxn ang="0">
                <a:pos x="connsiteX15635" y="connsiteY15635"/>
              </a:cxn>
              <a:cxn ang="0">
                <a:pos x="connsiteX15636" y="connsiteY15636"/>
              </a:cxn>
              <a:cxn ang="0">
                <a:pos x="connsiteX15637" y="connsiteY15637"/>
              </a:cxn>
              <a:cxn ang="0">
                <a:pos x="connsiteX15638" y="connsiteY15638"/>
              </a:cxn>
              <a:cxn ang="0">
                <a:pos x="connsiteX15639" y="connsiteY15639"/>
              </a:cxn>
              <a:cxn ang="0">
                <a:pos x="connsiteX15640" y="connsiteY15640"/>
              </a:cxn>
              <a:cxn ang="0">
                <a:pos x="connsiteX15641" y="connsiteY15641"/>
              </a:cxn>
              <a:cxn ang="0">
                <a:pos x="connsiteX15642" y="connsiteY15642"/>
              </a:cxn>
              <a:cxn ang="0">
                <a:pos x="connsiteX15643" y="connsiteY15643"/>
              </a:cxn>
              <a:cxn ang="0">
                <a:pos x="connsiteX15644" y="connsiteY15644"/>
              </a:cxn>
              <a:cxn ang="0">
                <a:pos x="connsiteX15645" y="connsiteY15645"/>
              </a:cxn>
              <a:cxn ang="0">
                <a:pos x="connsiteX15646" y="connsiteY15646"/>
              </a:cxn>
              <a:cxn ang="0">
                <a:pos x="connsiteX15647" y="connsiteY15647"/>
              </a:cxn>
              <a:cxn ang="0">
                <a:pos x="connsiteX15648" y="connsiteY15648"/>
              </a:cxn>
              <a:cxn ang="0">
                <a:pos x="connsiteX15649" y="connsiteY15649"/>
              </a:cxn>
              <a:cxn ang="0">
                <a:pos x="connsiteX15650" y="connsiteY15650"/>
              </a:cxn>
              <a:cxn ang="0">
                <a:pos x="connsiteX15651" y="connsiteY15651"/>
              </a:cxn>
              <a:cxn ang="0">
                <a:pos x="connsiteX15652" y="connsiteY15652"/>
              </a:cxn>
              <a:cxn ang="0">
                <a:pos x="connsiteX15653" y="connsiteY15653"/>
              </a:cxn>
              <a:cxn ang="0">
                <a:pos x="connsiteX15654" y="connsiteY15654"/>
              </a:cxn>
              <a:cxn ang="0">
                <a:pos x="connsiteX15655" y="connsiteY15655"/>
              </a:cxn>
              <a:cxn ang="0">
                <a:pos x="connsiteX15656" y="connsiteY15656"/>
              </a:cxn>
              <a:cxn ang="0">
                <a:pos x="connsiteX15657" y="connsiteY15657"/>
              </a:cxn>
              <a:cxn ang="0">
                <a:pos x="connsiteX15658" y="connsiteY15658"/>
              </a:cxn>
              <a:cxn ang="0">
                <a:pos x="connsiteX15659" y="connsiteY15659"/>
              </a:cxn>
              <a:cxn ang="0">
                <a:pos x="connsiteX15660" y="connsiteY15660"/>
              </a:cxn>
              <a:cxn ang="0">
                <a:pos x="connsiteX15661" y="connsiteY15661"/>
              </a:cxn>
              <a:cxn ang="0">
                <a:pos x="connsiteX15662" y="connsiteY15662"/>
              </a:cxn>
              <a:cxn ang="0">
                <a:pos x="connsiteX15663" y="connsiteY15663"/>
              </a:cxn>
              <a:cxn ang="0">
                <a:pos x="connsiteX15664" y="connsiteY15664"/>
              </a:cxn>
              <a:cxn ang="0">
                <a:pos x="connsiteX15665" y="connsiteY15665"/>
              </a:cxn>
              <a:cxn ang="0">
                <a:pos x="connsiteX15666" y="connsiteY15666"/>
              </a:cxn>
              <a:cxn ang="0">
                <a:pos x="connsiteX15667" y="connsiteY15667"/>
              </a:cxn>
              <a:cxn ang="0">
                <a:pos x="connsiteX15668" y="connsiteY15668"/>
              </a:cxn>
              <a:cxn ang="0">
                <a:pos x="connsiteX15669" y="connsiteY15669"/>
              </a:cxn>
              <a:cxn ang="0">
                <a:pos x="connsiteX15670" y="connsiteY15670"/>
              </a:cxn>
              <a:cxn ang="0">
                <a:pos x="connsiteX15671" y="connsiteY15671"/>
              </a:cxn>
              <a:cxn ang="0">
                <a:pos x="connsiteX15672" y="connsiteY15672"/>
              </a:cxn>
              <a:cxn ang="0">
                <a:pos x="connsiteX15673" y="connsiteY15673"/>
              </a:cxn>
              <a:cxn ang="0">
                <a:pos x="connsiteX15674" y="connsiteY15674"/>
              </a:cxn>
              <a:cxn ang="0">
                <a:pos x="connsiteX15675" y="connsiteY15675"/>
              </a:cxn>
              <a:cxn ang="0">
                <a:pos x="connsiteX15676" y="connsiteY15676"/>
              </a:cxn>
              <a:cxn ang="0">
                <a:pos x="connsiteX15677" y="connsiteY15677"/>
              </a:cxn>
              <a:cxn ang="0">
                <a:pos x="connsiteX15678" y="connsiteY15678"/>
              </a:cxn>
              <a:cxn ang="0">
                <a:pos x="connsiteX15679" y="connsiteY15679"/>
              </a:cxn>
              <a:cxn ang="0">
                <a:pos x="connsiteX15680" y="connsiteY15680"/>
              </a:cxn>
              <a:cxn ang="0">
                <a:pos x="connsiteX15681" y="connsiteY15681"/>
              </a:cxn>
              <a:cxn ang="0">
                <a:pos x="connsiteX15682" y="connsiteY15682"/>
              </a:cxn>
              <a:cxn ang="0">
                <a:pos x="connsiteX15683" y="connsiteY15683"/>
              </a:cxn>
              <a:cxn ang="0">
                <a:pos x="connsiteX15684" y="connsiteY15684"/>
              </a:cxn>
              <a:cxn ang="0">
                <a:pos x="connsiteX15685" y="connsiteY15685"/>
              </a:cxn>
              <a:cxn ang="0">
                <a:pos x="connsiteX15686" y="connsiteY15686"/>
              </a:cxn>
              <a:cxn ang="0">
                <a:pos x="connsiteX15687" y="connsiteY15687"/>
              </a:cxn>
              <a:cxn ang="0">
                <a:pos x="connsiteX15688" y="connsiteY15688"/>
              </a:cxn>
              <a:cxn ang="0">
                <a:pos x="connsiteX15689" y="connsiteY15689"/>
              </a:cxn>
              <a:cxn ang="0">
                <a:pos x="connsiteX15690" y="connsiteY15690"/>
              </a:cxn>
              <a:cxn ang="0">
                <a:pos x="connsiteX15691" y="connsiteY15691"/>
              </a:cxn>
              <a:cxn ang="0">
                <a:pos x="connsiteX15692" y="connsiteY15692"/>
              </a:cxn>
              <a:cxn ang="0">
                <a:pos x="connsiteX15693" y="connsiteY15693"/>
              </a:cxn>
              <a:cxn ang="0">
                <a:pos x="connsiteX15694" y="connsiteY15694"/>
              </a:cxn>
              <a:cxn ang="0">
                <a:pos x="connsiteX15695" y="connsiteY15695"/>
              </a:cxn>
              <a:cxn ang="0">
                <a:pos x="connsiteX15696" y="connsiteY15696"/>
              </a:cxn>
              <a:cxn ang="0">
                <a:pos x="connsiteX15697" y="connsiteY15697"/>
              </a:cxn>
              <a:cxn ang="0">
                <a:pos x="connsiteX15698" y="connsiteY15698"/>
              </a:cxn>
              <a:cxn ang="0">
                <a:pos x="connsiteX15699" y="connsiteY15699"/>
              </a:cxn>
              <a:cxn ang="0">
                <a:pos x="connsiteX15700" y="connsiteY15700"/>
              </a:cxn>
              <a:cxn ang="0">
                <a:pos x="connsiteX15701" y="connsiteY15701"/>
              </a:cxn>
              <a:cxn ang="0">
                <a:pos x="connsiteX15702" y="connsiteY15702"/>
              </a:cxn>
              <a:cxn ang="0">
                <a:pos x="connsiteX15703" y="connsiteY15703"/>
              </a:cxn>
              <a:cxn ang="0">
                <a:pos x="connsiteX15704" y="connsiteY15704"/>
              </a:cxn>
              <a:cxn ang="0">
                <a:pos x="connsiteX15705" y="connsiteY15705"/>
              </a:cxn>
              <a:cxn ang="0">
                <a:pos x="connsiteX15706" y="connsiteY15706"/>
              </a:cxn>
              <a:cxn ang="0">
                <a:pos x="connsiteX15707" y="connsiteY15707"/>
              </a:cxn>
              <a:cxn ang="0">
                <a:pos x="connsiteX15708" y="connsiteY15708"/>
              </a:cxn>
              <a:cxn ang="0">
                <a:pos x="connsiteX15709" y="connsiteY15709"/>
              </a:cxn>
              <a:cxn ang="0">
                <a:pos x="connsiteX15710" y="connsiteY15710"/>
              </a:cxn>
              <a:cxn ang="0">
                <a:pos x="connsiteX15711" y="connsiteY15711"/>
              </a:cxn>
              <a:cxn ang="0">
                <a:pos x="connsiteX15712" y="connsiteY15712"/>
              </a:cxn>
              <a:cxn ang="0">
                <a:pos x="connsiteX15713" y="connsiteY15713"/>
              </a:cxn>
              <a:cxn ang="0">
                <a:pos x="connsiteX15714" y="connsiteY15714"/>
              </a:cxn>
              <a:cxn ang="0">
                <a:pos x="connsiteX15715" y="connsiteY15715"/>
              </a:cxn>
              <a:cxn ang="0">
                <a:pos x="connsiteX15716" y="connsiteY15716"/>
              </a:cxn>
              <a:cxn ang="0">
                <a:pos x="connsiteX15717" y="connsiteY15717"/>
              </a:cxn>
              <a:cxn ang="0">
                <a:pos x="connsiteX15718" y="connsiteY15718"/>
              </a:cxn>
              <a:cxn ang="0">
                <a:pos x="connsiteX15719" y="connsiteY15719"/>
              </a:cxn>
              <a:cxn ang="0">
                <a:pos x="connsiteX15720" y="connsiteY15720"/>
              </a:cxn>
              <a:cxn ang="0">
                <a:pos x="connsiteX15721" y="connsiteY15721"/>
              </a:cxn>
              <a:cxn ang="0">
                <a:pos x="connsiteX15722" y="connsiteY15722"/>
              </a:cxn>
              <a:cxn ang="0">
                <a:pos x="connsiteX15723" y="connsiteY15723"/>
              </a:cxn>
              <a:cxn ang="0">
                <a:pos x="connsiteX15724" y="connsiteY15724"/>
              </a:cxn>
              <a:cxn ang="0">
                <a:pos x="connsiteX15725" y="connsiteY15725"/>
              </a:cxn>
              <a:cxn ang="0">
                <a:pos x="connsiteX15726" y="connsiteY15726"/>
              </a:cxn>
              <a:cxn ang="0">
                <a:pos x="connsiteX15727" y="connsiteY15727"/>
              </a:cxn>
              <a:cxn ang="0">
                <a:pos x="connsiteX15728" y="connsiteY15728"/>
              </a:cxn>
              <a:cxn ang="0">
                <a:pos x="connsiteX15729" y="connsiteY15729"/>
              </a:cxn>
              <a:cxn ang="0">
                <a:pos x="connsiteX15730" y="connsiteY15730"/>
              </a:cxn>
              <a:cxn ang="0">
                <a:pos x="connsiteX15731" y="connsiteY15731"/>
              </a:cxn>
              <a:cxn ang="0">
                <a:pos x="connsiteX15732" y="connsiteY15732"/>
              </a:cxn>
              <a:cxn ang="0">
                <a:pos x="connsiteX15733" y="connsiteY15733"/>
              </a:cxn>
              <a:cxn ang="0">
                <a:pos x="connsiteX15734" y="connsiteY15734"/>
              </a:cxn>
              <a:cxn ang="0">
                <a:pos x="connsiteX15735" y="connsiteY15735"/>
              </a:cxn>
              <a:cxn ang="0">
                <a:pos x="connsiteX15736" y="connsiteY15736"/>
              </a:cxn>
              <a:cxn ang="0">
                <a:pos x="connsiteX15737" y="connsiteY15737"/>
              </a:cxn>
              <a:cxn ang="0">
                <a:pos x="connsiteX15738" y="connsiteY15738"/>
              </a:cxn>
              <a:cxn ang="0">
                <a:pos x="connsiteX15739" y="connsiteY15739"/>
              </a:cxn>
              <a:cxn ang="0">
                <a:pos x="connsiteX15740" y="connsiteY15740"/>
              </a:cxn>
              <a:cxn ang="0">
                <a:pos x="connsiteX15741" y="connsiteY15741"/>
              </a:cxn>
              <a:cxn ang="0">
                <a:pos x="connsiteX15742" y="connsiteY15742"/>
              </a:cxn>
              <a:cxn ang="0">
                <a:pos x="connsiteX15743" y="connsiteY15743"/>
              </a:cxn>
              <a:cxn ang="0">
                <a:pos x="connsiteX15744" y="connsiteY15744"/>
              </a:cxn>
              <a:cxn ang="0">
                <a:pos x="connsiteX15745" y="connsiteY15745"/>
              </a:cxn>
              <a:cxn ang="0">
                <a:pos x="connsiteX15746" y="connsiteY15746"/>
              </a:cxn>
              <a:cxn ang="0">
                <a:pos x="connsiteX15747" y="connsiteY15747"/>
              </a:cxn>
              <a:cxn ang="0">
                <a:pos x="connsiteX15748" y="connsiteY15748"/>
              </a:cxn>
              <a:cxn ang="0">
                <a:pos x="connsiteX15749" y="connsiteY15749"/>
              </a:cxn>
              <a:cxn ang="0">
                <a:pos x="connsiteX15750" y="connsiteY15750"/>
              </a:cxn>
              <a:cxn ang="0">
                <a:pos x="connsiteX15751" y="connsiteY15751"/>
              </a:cxn>
              <a:cxn ang="0">
                <a:pos x="connsiteX15752" y="connsiteY15752"/>
              </a:cxn>
              <a:cxn ang="0">
                <a:pos x="connsiteX15753" y="connsiteY15753"/>
              </a:cxn>
              <a:cxn ang="0">
                <a:pos x="connsiteX15754" y="connsiteY15754"/>
              </a:cxn>
              <a:cxn ang="0">
                <a:pos x="connsiteX15755" y="connsiteY15755"/>
              </a:cxn>
              <a:cxn ang="0">
                <a:pos x="connsiteX15756" y="connsiteY15756"/>
              </a:cxn>
              <a:cxn ang="0">
                <a:pos x="connsiteX15757" y="connsiteY15757"/>
              </a:cxn>
              <a:cxn ang="0">
                <a:pos x="connsiteX15758" y="connsiteY15758"/>
              </a:cxn>
              <a:cxn ang="0">
                <a:pos x="connsiteX15759" y="connsiteY15759"/>
              </a:cxn>
              <a:cxn ang="0">
                <a:pos x="connsiteX15760" y="connsiteY15760"/>
              </a:cxn>
              <a:cxn ang="0">
                <a:pos x="connsiteX15761" y="connsiteY15761"/>
              </a:cxn>
              <a:cxn ang="0">
                <a:pos x="connsiteX15762" y="connsiteY15762"/>
              </a:cxn>
              <a:cxn ang="0">
                <a:pos x="connsiteX15763" y="connsiteY15763"/>
              </a:cxn>
              <a:cxn ang="0">
                <a:pos x="connsiteX15764" y="connsiteY15764"/>
              </a:cxn>
              <a:cxn ang="0">
                <a:pos x="connsiteX15765" y="connsiteY15765"/>
              </a:cxn>
              <a:cxn ang="0">
                <a:pos x="connsiteX15766" y="connsiteY15766"/>
              </a:cxn>
              <a:cxn ang="0">
                <a:pos x="connsiteX15767" y="connsiteY15767"/>
              </a:cxn>
              <a:cxn ang="0">
                <a:pos x="connsiteX15768" y="connsiteY15768"/>
              </a:cxn>
              <a:cxn ang="0">
                <a:pos x="connsiteX15769" y="connsiteY15769"/>
              </a:cxn>
              <a:cxn ang="0">
                <a:pos x="connsiteX15770" y="connsiteY15770"/>
              </a:cxn>
              <a:cxn ang="0">
                <a:pos x="connsiteX15771" y="connsiteY15771"/>
              </a:cxn>
              <a:cxn ang="0">
                <a:pos x="connsiteX15772" y="connsiteY15772"/>
              </a:cxn>
              <a:cxn ang="0">
                <a:pos x="connsiteX15773" y="connsiteY15773"/>
              </a:cxn>
              <a:cxn ang="0">
                <a:pos x="connsiteX15774" y="connsiteY15774"/>
              </a:cxn>
              <a:cxn ang="0">
                <a:pos x="connsiteX15775" y="connsiteY15775"/>
              </a:cxn>
              <a:cxn ang="0">
                <a:pos x="connsiteX15776" y="connsiteY15776"/>
              </a:cxn>
              <a:cxn ang="0">
                <a:pos x="connsiteX15777" y="connsiteY15777"/>
              </a:cxn>
              <a:cxn ang="0">
                <a:pos x="connsiteX15778" y="connsiteY15778"/>
              </a:cxn>
              <a:cxn ang="0">
                <a:pos x="connsiteX15779" y="connsiteY15779"/>
              </a:cxn>
              <a:cxn ang="0">
                <a:pos x="connsiteX15780" y="connsiteY15780"/>
              </a:cxn>
              <a:cxn ang="0">
                <a:pos x="connsiteX15781" y="connsiteY15781"/>
              </a:cxn>
              <a:cxn ang="0">
                <a:pos x="connsiteX15782" y="connsiteY15782"/>
              </a:cxn>
              <a:cxn ang="0">
                <a:pos x="connsiteX15783" y="connsiteY15783"/>
              </a:cxn>
              <a:cxn ang="0">
                <a:pos x="connsiteX15784" y="connsiteY15784"/>
              </a:cxn>
              <a:cxn ang="0">
                <a:pos x="connsiteX15785" y="connsiteY15785"/>
              </a:cxn>
              <a:cxn ang="0">
                <a:pos x="connsiteX15786" y="connsiteY15786"/>
              </a:cxn>
              <a:cxn ang="0">
                <a:pos x="connsiteX15787" y="connsiteY15787"/>
              </a:cxn>
              <a:cxn ang="0">
                <a:pos x="connsiteX15788" y="connsiteY15788"/>
              </a:cxn>
              <a:cxn ang="0">
                <a:pos x="connsiteX15789" y="connsiteY15789"/>
              </a:cxn>
              <a:cxn ang="0">
                <a:pos x="connsiteX15790" y="connsiteY15790"/>
              </a:cxn>
              <a:cxn ang="0">
                <a:pos x="connsiteX15791" y="connsiteY15791"/>
              </a:cxn>
              <a:cxn ang="0">
                <a:pos x="connsiteX15792" y="connsiteY15792"/>
              </a:cxn>
              <a:cxn ang="0">
                <a:pos x="connsiteX15793" y="connsiteY15793"/>
              </a:cxn>
              <a:cxn ang="0">
                <a:pos x="connsiteX15794" y="connsiteY15794"/>
              </a:cxn>
              <a:cxn ang="0">
                <a:pos x="connsiteX15795" y="connsiteY15795"/>
              </a:cxn>
              <a:cxn ang="0">
                <a:pos x="connsiteX15796" y="connsiteY15796"/>
              </a:cxn>
              <a:cxn ang="0">
                <a:pos x="connsiteX15797" y="connsiteY15797"/>
              </a:cxn>
              <a:cxn ang="0">
                <a:pos x="connsiteX15798" y="connsiteY15798"/>
              </a:cxn>
              <a:cxn ang="0">
                <a:pos x="connsiteX15799" y="connsiteY15799"/>
              </a:cxn>
              <a:cxn ang="0">
                <a:pos x="connsiteX15800" y="connsiteY15800"/>
              </a:cxn>
              <a:cxn ang="0">
                <a:pos x="connsiteX15801" y="connsiteY15801"/>
              </a:cxn>
              <a:cxn ang="0">
                <a:pos x="connsiteX15802" y="connsiteY15802"/>
              </a:cxn>
              <a:cxn ang="0">
                <a:pos x="connsiteX15803" y="connsiteY15803"/>
              </a:cxn>
              <a:cxn ang="0">
                <a:pos x="connsiteX15804" y="connsiteY15804"/>
              </a:cxn>
              <a:cxn ang="0">
                <a:pos x="connsiteX15805" y="connsiteY15805"/>
              </a:cxn>
              <a:cxn ang="0">
                <a:pos x="connsiteX15806" y="connsiteY15806"/>
              </a:cxn>
              <a:cxn ang="0">
                <a:pos x="connsiteX15807" y="connsiteY15807"/>
              </a:cxn>
              <a:cxn ang="0">
                <a:pos x="connsiteX15808" y="connsiteY15808"/>
              </a:cxn>
              <a:cxn ang="0">
                <a:pos x="connsiteX15809" y="connsiteY15809"/>
              </a:cxn>
              <a:cxn ang="0">
                <a:pos x="connsiteX15810" y="connsiteY15810"/>
              </a:cxn>
              <a:cxn ang="0">
                <a:pos x="connsiteX15811" y="connsiteY15811"/>
              </a:cxn>
              <a:cxn ang="0">
                <a:pos x="connsiteX15812" y="connsiteY15812"/>
              </a:cxn>
              <a:cxn ang="0">
                <a:pos x="connsiteX15813" y="connsiteY15813"/>
              </a:cxn>
              <a:cxn ang="0">
                <a:pos x="connsiteX15814" y="connsiteY15814"/>
              </a:cxn>
              <a:cxn ang="0">
                <a:pos x="connsiteX15815" y="connsiteY15815"/>
              </a:cxn>
              <a:cxn ang="0">
                <a:pos x="connsiteX15816" y="connsiteY15816"/>
              </a:cxn>
              <a:cxn ang="0">
                <a:pos x="connsiteX15817" y="connsiteY15817"/>
              </a:cxn>
              <a:cxn ang="0">
                <a:pos x="connsiteX15818" y="connsiteY15818"/>
              </a:cxn>
              <a:cxn ang="0">
                <a:pos x="connsiteX15819" y="connsiteY15819"/>
              </a:cxn>
              <a:cxn ang="0">
                <a:pos x="connsiteX15820" y="connsiteY15820"/>
              </a:cxn>
              <a:cxn ang="0">
                <a:pos x="connsiteX15821" y="connsiteY15821"/>
              </a:cxn>
              <a:cxn ang="0">
                <a:pos x="connsiteX15822" y="connsiteY15822"/>
              </a:cxn>
              <a:cxn ang="0">
                <a:pos x="connsiteX15823" y="connsiteY15823"/>
              </a:cxn>
              <a:cxn ang="0">
                <a:pos x="connsiteX15824" y="connsiteY15824"/>
              </a:cxn>
              <a:cxn ang="0">
                <a:pos x="connsiteX15825" y="connsiteY15825"/>
              </a:cxn>
              <a:cxn ang="0">
                <a:pos x="connsiteX15826" y="connsiteY15826"/>
              </a:cxn>
              <a:cxn ang="0">
                <a:pos x="connsiteX15827" y="connsiteY15827"/>
              </a:cxn>
              <a:cxn ang="0">
                <a:pos x="connsiteX15828" y="connsiteY15828"/>
              </a:cxn>
              <a:cxn ang="0">
                <a:pos x="connsiteX15829" y="connsiteY15829"/>
              </a:cxn>
              <a:cxn ang="0">
                <a:pos x="connsiteX15830" y="connsiteY15830"/>
              </a:cxn>
              <a:cxn ang="0">
                <a:pos x="connsiteX15831" y="connsiteY15831"/>
              </a:cxn>
              <a:cxn ang="0">
                <a:pos x="connsiteX15832" y="connsiteY15832"/>
              </a:cxn>
              <a:cxn ang="0">
                <a:pos x="connsiteX15833" y="connsiteY15833"/>
              </a:cxn>
              <a:cxn ang="0">
                <a:pos x="connsiteX15834" y="connsiteY15834"/>
              </a:cxn>
              <a:cxn ang="0">
                <a:pos x="connsiteX15835" y="connsiteY15835"/>
              </a:cxn>
              <a:cxn ang="0">
                <a:pos x="connsiteX15836" y="connsiteY15836"/>
              </a:cxn>
              <a:cxn ang="0">
                <a:pos x="connsiteX15837" y="connsiteY15837"/>
              </a:cxn>
              <a:cxn ang="0">
                <a:pos x="connsiteX15838" y="connsiteY15838"/>
              </a:cxn>
              <a:cxn ang="0">
                <a:pos x="connsiteX15839" y="connsiteY15839"/>
              </a:cxn>
              <a:cxn ang="0">
                <a:pos x="connsiteX15840" y="connsiteY15840"/>
              </a:cxn>
              <a:cxn ang="0">
                <a:pos x="connsiteX15841" y="connsiteY15841"/>
              </a:cxn>
              <a:cxn ang="0">
                <a:pos x="connsiteX15842" y="connsiteY15842"/>
              </a:cxn>
              <a:cxn ang="0">
                <a:pos x="connsiteX15843" y="connsiteY15843"/>
              </a:cxn>
              <a:cxn ang="0">
                <a:pos x="connsiteX15844" y="connsiteY15844"/>
              </a:cxn>
              <a:cxn ang="0">
                <a:pos x="connsiteX15845" y="connsiteY15845"/>
              </a:cxn>
              <a:cxn ang="0">
                <a:pos x="connsiteX15846" y="connsiteY15846"/>
              </a:cxn>
              <a:cxn ang="0">
                <a:pos x="connsiteX15847" y="connsiteY15847"/>
              </a:cxn>
              <a:cxn ang="0">
                <a:pos x="connsiteX15848" y="connsiteY15848"/>
              </a:cxn>
              <a:cxn ang="0">
                <a:pos x="connsiteX15849" y="connsiteY15849"/>
              </a:cxn>
              <a:cxn ang="0">
                <a:pos x="connsiteX15850" y="connsiteY15850"/>
              </a:cxn>
              <a:cxn ang="0">
                <a:pos x="connsiteX15851" y="connsiteY15851"/>
              </a:cxn>
              <a:cxn ang="0">
                <a:pos x="connsiteX15852" y="connsiteY15852"/>
              </a:cxn>
              <a:cxn ang="0">
                <a:pos x="connsiteX15853" y="connsiteY15853"/>
              </a:cxn>
              <a:cxn ang="0">
                <a:pos x="connsiteX15854" y="connsiteY15854"/>
              </a:cxn>
              <a:cxn ang="0">
                <a:pos x="connsiteX15855" y="connsiteY15855"/>
              </a:cxn>
              <a:cxn ang="0">
                <a:pos x="connsiteX15856" y="connsiteY15856"/>
              </a:cxn>
              <a:cxn ang="0">
                <a:pos x="connsiteX15857" y="connsiteY15857"/>
              </a:cxn>
              <a:cxn ang="0">
                <a:pos x="connsiteX15858" y="connsiteY15858"/>
              </a:cxn>
              <a:cxn ang="0">
                <a:pos x="connsiteX15859" y="connsiteY15859"/>
              </a:cxn>
              <a:cxn ang="0">
                <a:pos x="connsiteX15860" y="connsiteY15860"/>
              </a:cxn>
              <a:cxn ang="0">
                <a:pos x="connsiteX15861" y="connsiteY15861"/>
              </a:cxn>
              <a:cxn ang="0">
                <a:pos x="connsiteX15862" y="connsiteY15862"/>
              </a:cxn>
              <a:cxn ang="0">
                <a:pos x="connsiteX15863" y="connsiteY15863"/>
              </a:cxn>
              <a:cxn ang="0">
                <a:pos x="connsiteX15864" y="connsiteY15864"/>
              </a:cxn>
              <a:cxn ang="0">
                <a:pos x="connsiteX15865" y="connsiteY15865"/>
              </a:cxn>
              <a:cxn ang="0">
                <a:pos x="connsiteX15866" y="connsiteY15866"/>
              </a:cxn>
              <a:cxn ang="0">
                <a:pos x="connsiteX15867" y="connsiteY15867"/>
              </a:cxn>
              <a:cxn ang="0">
                <a:pos x="connsiteX15868" y="connsiteY15868"/>
              </a:cxn>
              <a:cxn ang="0">
                <a:pos x="connsiteX15869" y="connsiteY15869"/>
              </a:cxn>
              <a:cxn ang="0">
                <a:pos x="connsiteX15870" y="connsiteY15870"/>
              </a:cxn>
              <a:cxn ang="0">
                <a:pos x="connsiteX15871" y="connsiteY15871"/>
              </a:cxn>
              <a:cxn ang="0">
                <a:pos x="connsiteX15872" y="connsiteY15872"/>
              </a:cxn>
              <a:cxn ang="0">
                <a:pos x="connsiteX15873" y="connsiteY15873"/>
              </a:cxn>
              <a:cxn ang="0">
                <a:pos x="connsiteX15874" y="connsiteY15874"/>
              </a:cxn>
              <a:cxn ang="0">
                <a:pos x="connsiteX15875" y="connsiteY15875"/>
              </a:cxn>
              <a:cxn ang="0">
                <a:pos x="connsiteX15876" y="connsiteY15876"/>
              </a:cxn>
              <a:cxn ang="0">
                <a:pos x="connsiteX15877" y="connsiteY15877"/>
              </a:cxn>
              <a:cxn ang="0">
                <a:pos x="connsiteX15878" y="connsiteY15878"/>
              </a:cxn>
              <a:cxn ang="0">
                <a:pos x="connsiteX15879" y="connsiteY15879"/>
              </a:cxn>
              <a:cxn ang="0">
                <a:pos x="connsiteX15880" y="connsiteY15880"/>
              </a:cxn>
              <a:cxn ang="0">
                <a:pos x="connsiteX15881" y="connsiteY15881"/>
              </a:cxn>
              <a:cxn ang="0">
                <a:pos x="connsiteX15882" y="connsiteY15882"/>
              </a:cxn>
              <a:cxn ang="0">
                <a:pos x="connsiteX15883" y="connsiteY15883"/>
              </a:cxn>
              <a:cxn ang="0">
                <a:pos x="connsiteX15884" y="connsiteY15884"/>
              </a:cxn>
              <a:cxn ang="0">
                <a:pos x="connsiteX15885" y="connsiteY15885"/>
              </a:cxn>
              <a:cxn ang="0">
                <a:pos x="connsiteX15886" y="connsiteY15886"/>
              </a:cxn>
              <a:cxn ang="0">
                <a:pos x="connsiteX15887" y="connsiteY15887"/>
              </a:cxn>
              <a:cxn ang="0">
                <a:pos x="connsiteX15888" y="connsiteY15888"/>
              </a:cxn>
              <a:cxn ang="0">
                <a:pos x="connsiteX15889" y="connsiteY15889"/>
              </a:cxn>
              <a:cxn ang="0">
                <a:pos x="connsiteX15890" y="connsiteY15890"/>
              </a:cxn>
              <a:cxn ang="0">
                <a:pos x="connsiteX15891" y="connsiteY15891"/>
              </a:cxn>
              <a:cxn ang="0">
                <a:pos x="connsiteX15892" y="connsiteY15892"/>
              </a:cxn>
              <a:cxn ang="0">
                <a:pos x="connsiteX15893" y="connsiteY15893"/>
              </a:cxn>
              <a:cxn ang="0">
                <a:pos x="connsiteX15894" y="connsiteY15894"/>
              </a:cxn>
              <a:cxn ang="0">
                <a:pos x="connsiteX15895" y="connsiteY15895"/>
              </a:cxn>
              <a:cxn ang="0">
                <a:pos x="connsiteX15896" y="connsiteY15896"/>
              </a:cxn>
              <a:cxn ang="0">
                <a:pos x="connsiteX15897" y="connsiteY15897"/>
              </a:cxn>
              <a:cxn ang="0">
                <a:pos x="connsiteX15898" y="connsiteY15898"/>
              </a:cxn>
              <a:cxn ang="0">
                <a:pos x="connsiteX15899" y="connsiteY15899"/>
              </a:cxn>
              <a:cxn ang="0">
                <a:pos x="connsiteX15900" y="connsiteY15900"/>
              </a:cxn>
              <a:cxn ang="0">
                <a:pos x="connsiteX15901" y="connsiteY15901"/>
              </a:cxn>
              <a:cxn ang="0">
                <a:pos x="connsiteX15902" y="connsiteY15902"/>
              </a:cxn>
              <a:cxn ang="0">
                <a:pos x="connsiteX15903" y="connsiteY15903"/>
              </a:cxn>
              <a:cxn ang="0">
                <a:pos x="connsiteX15904" y="connsiteY15904"/>
              </a:cxn>
              <a:cxn ang="0">
                <a:pos x="connsiteX15905" y="connsiteY15905"/>
              </a:cxn>
              <a:cxn ang="0">
                <a:pos x="connsiteX15906" y="connsiteY15906"/>
              </a:cxn>
              <a:cxn ang="0">
                <a:pos x="connsiteX15907" y="connsiteY15907"/>
              </a:cxn>
              <a:cxn ang="0">
                <a:pos x="connsiteX15908" y="connsiteY15908"/>
              </a:cxn>
              <a:cxn ang="0">
                <a:pos x="connsiteX15909" y="connsiteY15909"/>
              </a:cxn>
              <a:cxn ang="0">
                <a:pos x="connsiteX15910" y="connsiteY15910"/>
              </a:cxn>
              <a:cxn ang="0">
                <a:pos x="connsiteX15911" y="connsiteY15911"/>
              </a:cxn>
              <a:cxn ang="0">
                <a:pos x="connsiteX15912" y="connsiteY15912"/>
              </a:cxn>
              <a:cxn ang="0">
                <a:pos x="connsiteX15913" y="connsiteY15913"/>
              </a:cxn>
              <a:cxn ang="0">
                <a:pos x="connsiteX15914" y="connsiteY15914"/>
              </a:cxn>
              <a:cxn ang="0">
                <a:pos x="connsiteX15915" y="connsiteY15915"/>
              </a:cxn>
              <a:cxn ang="0">
                <a:pos x="connsiteX15916" y="connsiteY15916"/>
              </a:cxn>
              <a:cxn ang="0">
                <a:pos x="connsiteX15917" y="connsiteY15917"/>
              </a:cxn>
              <a:cxn ang="0">
                <a:pos x="connsiteX15918" y="connsiteY15918"/>
              </a:cxn>
              <a:cxn ang="0">
                <a:pos x="connsiteX15919" y="connsiteY15919"/>
              </a:cxn>
              <a:cxn ang="0">
                <a:pos x="connsiteX15920" y="connsiteY15920"/>
              </a:cxn>
              <a:cxn ang="0">
                <a:pos x="connsiteX15921" y="connsiteY15921"/>
              </a:cxn>
              <a:cxn ang="0">
                <a:pos x="connsiteX15922" y="connsiteY15922"/>
              </a:cxn>
              <a:cxn ang="0">
                <a:pos x="connsiteX15923" y="connsiteY15923"/>
              </a:cxn>
              <a:cxn ang="0">
                <a:pos x="connsiteX15924" y="connsiteY15924"/>
              </a:cxn>
              <a:cxn ang="0">
                <a:pos x="connsiteX15925" y="connsiteY15925"/>
              </a:cxn>
              <a:cxn ang="0">
                <a:pos x="connsiteX15926" y="connsiteY15926"/>
              </a:cxn>
              <a:cxn ang="0">
                <a:pos x="connsiteX15927" y="connsiteY15927"/>
              </a:cxn>
              <a:cxn ang="0">
                <a:pos x="connsiteX15928" y="connsiteY15928"/>
              </a:cxn>
              <a:cxn ang="0">
                <a:pos x="connsiteX15929" y="connsiteY15929"/>
              </a:cxn>
              <a:cxn ang="0">
                <a:pos x="connsiteX15930" y="connsiteY15930"/>
              </a:cxn>
              <a:cxn ang="0">
                <a:pos x="connsiteX15931" y="connsiteY15931"/>
              </a:cxn>
              <a:cxn ang="0">
                <a:pos x="connsiteX15932" y="connsiteY15932"/>
              </a:cxn>
              <a:cxn ang="0">
                <a:pos x="connsiteX15933" y="connsiteY15933"/>
              </a:cxn>
              <a:cxn ang="0">
                <a:pos x="connsiteX15934" y="connsiteY15934"/>
              </a:cxn>
              <a:cxn ang="0">
                <a:pos x="connsiteX15935" y="connsiteY15935"/>
              </a:cxn>
              <a:cxn ang="0">
                <a:pos x="connsiteX15936" y="connsiteY15936"/>
              </a:cxn>
              <a:cxn ang="0">
                <a:pos x="connsiteX15937" y="connsiteY15937"/>
              </a:cxn>
              <a:cxn ang="0">
                <a:pos x="connsiteX15938" y="connsiteY15938"/>
              </a:cxn>
              <a:cxn ang="0">
                <a:pos x="connsiteX15939" y="connsiteY15939"/>
              </a:cxn>
              <a:cxn ang="0">
                <a:pos x="connsiteX15940" y="connsiteY15940"/>
              </a:cxn>
              <a:cxn ang="0">
                <a:pos x="connsiteX15941" y="connsiteY15941"/>
              </a:cxn>
              <a:cxn ang="0">
                <a:pos x="connsiteX15942" y="connsiteY15942"/>
              </a:cxn>
              <a:cxn ang="0">
                <a:pos x="connsiteX15943" y="connsiteY15943"/>
              </a:cxn>
              <a:cxn ang="0">
                <a:pos x="connsiteX15944" y="connsiteY15944"/>
              </a:cxn>
              <a:cxn ang="0">
                <a:pos x="connsiteX15945" y="connsiteY15945"/>
              </a:cxn>
              <a:cxn ang="0">
                <a:pos x="connsiteX15946" y="connsiteY15946"/>
              </a:cxn>
              <a:cxn ang="0">
                <a:pos x="connsiteX15947" y="connsiteY15947"/>
              </a:cxn>
              <a:cxn ang="0">
                <a:pos x="connsiteX15948" y="connsiteY15948"/>
              </a:cxn>
              <a:cxn ang="0">
                <a:pos x="connsiteX15949" y="connsiteY15949"/>
              </a:cxn>
              <a:cxn ang="0">
                <a:pos x="connsiteX15950" y="connsiteY15950"/>
              </a:cxn>
              <a:cxn ang="0">
                <a:pos x="connsiteX15951" y="connsiteY15951"/>
              </a:cxn>
              <a:cxn ang="0">
                <a:pos x="connsiteX15952" y="connsiteY15952"/>
              </a:cxn>
              <a:cxn ang="0">
                <a:pos x="connsiteX15953" y="connsiteY15953"/>
              </a:cxn>
              <a:cxn ang="0">
                <a:pos x="connsiteX15954" y="connsiteY15954"/>
              </a:cxn>
              <a:cxn ang="0">
                <a:pos x="connsiteX15955" y="connsiteY15955"/>
              </a:cxn>
              <a:cxn ang="0">
                <a:pos x="connsiteX15956" y="connsiteY15956"/>
              </a:cxn>
              <a:cxn ang="0">
                <a:pos x="connsiteX15957" y="connsiteY15957"/>
              </a:cxn>
              <a:cxn ang="0">
                <a:pos x="connsiteX15958" y="connsiteY15958"/>
              </a:cxn>
              <a:cxn ang="0">
                <a:pos x="connsiteX15959" y="connsiteY15959"/>
              </a:cxn>
              <a:cxn ang="0">
                <a:pos x="connsiteX15960" y="connsiteY15960"/>
              </a:cxn>
              <a:cxn ang="0">
                <a:pos x="connsiteX15961" y="connsiteY15961"/>
              </a:cxn>
              <a:cxn ang="0">
                <a:pos x="connsiteX15962" y="connsiteY15962"/>
              </a:cxn>
              <a:cxn ang="0">
                <a:pos x="connsiteX15963" y="connsiteY15963"/>
              </a:cxn>
              <a:cxn ang="0">
                <a:pos x="connsiteX15964" y="connsiteY15964"/>
              </a:cxn>
              <a:cxn ang="0">
                <a:pos x="connsiteX15965" y="connsiteY15965"/>
              </a:cxn>
              <a:cxn ang="0">
                <a:pos x="connsiteX15966" y="connsiteY15966"/>
              </a:cxn>
              <a:cxn ang="0">
                <a:pos x="connsiteX15967" y="connsiteY15967"/>
              </a:cxn>
              <a:cxn ang="0">
                <a:pos x="connsiteX15968" y="connsiteY15968"/>
              </a:cxn>
              <a:cxn ang="0">
                <a:pos x="connsiteX15969" y="connsiteY15969"/>
              </a:cxn>
              <a:cxn ang="0">
                <a:pos x="connsiteX15970" y="connsiteY15970"/>
              </a:cxn>
              <a:cxn ang="0">
                <a:pos x="connsiteX15971" y="connsiteY15971"/>
              </a:cxn>
              <a:cxn ang="0">
                <a:pos x="connsiteX15972" y="connsiteY15972"/>
              </a:cxn>
              <a:cxn ang="0">
                <a:pos x="connsiteX15973" y="connsiteY15973"/>
              </a:cxn>
              <a:cxn ang="0">
                <a:pos x="connsiteX15974" y="connsiteY15974"/>
              </a:cxn>
              <a:cxn ang="0">
                <a:pos x="connsiteX15975" y="connsiteY15975"/>
              </a:cxn>
              <a:cxn ang="0">
                <a:pos x="connsiteX15976" y="connsiteY15976"/>
              </a:cxn>
              <a:cxn ang="0">
                <a:pos x="connsiteX15977" y="connsiteY15977"/>
              </a:cxn>
              <a:cxn ang="0">
                <a:pos x="connsiteX15978" y="connsiteY15978"/>
              </a:cxn>
              <a:cxn ang="0">
                <a:pos x="connsiteX15979" y="connsiteY15979"/>
              </a:cxn>
              <a:cxn ang="0">
                <a:pos x="connsiteX15980" y="connsiteY15980"/>
              </a:cxn>
              <a:cxn ang="0">
                <a:pos x="connsiteX15981" y="connsiteY15981"/>
              </a:cxn>
              <a:cxn ang="0">
                <a:pos x="connsiteX15982" y="connsiteY15982"/>
              </a:cxn>
              <a:cxn ang="0">
                <a:pos x="connsiteX15983" y="connsiteY15983"/>
              </a:cxn>
              <a:cxn ang="0">
                <a:pos x="connsiteX15984" y="connsiteY15984"/>
              </a:cxn>
              <a:cxn ang="0">
                <a:pos x="connsiteX15985" y="connsiteY15985"/>
              </a:cxn>
              <a:cxn ang="0">
                <a:pos x="connsiteX15986" y="connsiteY15986"/>
              </a:cxn>
              <a:cxn ang="0">
                <a:pos x="connsiteX15987" y="connsiteY15987"/>
              </a:cxn>
              <a:cxn ang="0">
                <a:pos x="connsiteX15988" y="connsiteY15988"/>
              </a:cxn>
              <a:cxn ang="0">
                <a:pos x="connsiteX15989" y="connsiteY15989"/>
              </a:cxn>
              <a:cxn ang="0">
                <a:pos x="connsiteX15990" y="connsiteY15990"/>
              </a:cxn>
              <a:cxn ang="0">
                <a:pos x="connsiteX15991" y="connsiteY15991"/>
              </a:cxn>
              <a:cxn ang="0">
                <a:pos x="connsiteX15992" y="connsiteY15992"/>
              </a:cxn>
              <a:cxn ang="0">
                <a:pos x="connsiteX15993" y="connsiteY15993"/>
              </a:cxn>
              <a:cxn ang="0">
                <a:pos x="connsiteX15994" y="connsiteY15994"/>
              </a:cxn>
              <a:cxn ang="0">
                <a:pos x="connsiteX15995" y="connsiteY15995"/>
              </a:cxn>
              <a:cxn ang="0">
                <a:pos x="connsiteX15996" y="connsiteY15996"/>
              </a:cxn>
              <a:cxn ang="0">
                <a:pos x="connsiteX15997" y="connsiteY15997"/>
              </a:cxn>
              <a:cxn ang="0">
                <a:pos x="connsiteX15998" y="connsiteY15998"/>
              </a:cxn>
              <a:cxn ang="0">
                <a:pos x="connsiteX15999" y="connsiteY15999"/>
              </a:cxn>
              <a:cxn ang="0">
                <a:pos x="connsiteX16000" y="connsiteY16000"/>
              </a:cxn>
              <a:cxn ang="0">
                <a:pos x="connsiteX16001" y="connsiteY16001"/>
              </a:cxn>
              <a:cxn ang="0">
                <a:pos x="connsiteX16002" y="connsiteY16002"/>
              </a:cxn>
              <a:cxn ang="0">
                <a:pos x="connsiteX16003" y="connsiteY16003"/>
              </a:cxn>
              <a:cxn ang="0">
                <a:pos x="connsiteX16004" y="connsiteY16004"/>
              </a:cxn>
              <a:cxn ang="0">
                <a:pos x="connsiteX16005" y="connsiteY16005"/>
              </a:cxn>
              <a:cxn ang="0">
                <a:pos x="connsiteX16006" y="connsiteY16006"/>
              </a:cxn>
              <a:cxn ang="0">
                <a:pos x="connsiteX16007" y="connsiteY16007"/>
              </a:cxn>
              <a:cxn ang="0">
                <a:pos x="connsiteX16008" y="connsiteY16008"/>
              </a:cxn>
              <a:cxn ang="0">
                <a:pos x="connsiteX16009" y="connsiteY16009"/>
              </a:cxn>
              <a:cxn ang="0">
                <a:pos x="connsiteX16010" y="connsiteY16010"/>
              </a:cxn>
              <a:cxn ang="0">
                <a:pos x="connsiteX16011" y="connsiteY16011"/>
              </a:cxn>
              <a:cxn ang="0">
                <a:pos x="connsiteX16012" y="connsiteY16012"/>
              </a:cxn>
              <a:cxn ang="0">
                <a:pos x="connsiteX16013" y="connsiteY16013"/>
              </a:cxn>
              <a:cxn ang="0">
                <a:pos x="connsiteX16014" y="connsiteY16014"/>
              </a:cxn>
              <a:cxn ang="0">
                <a:pos x="connsiteX16015" y="connsiteY16015"/>
              </a:cxn>
              <a:cxn ang="0">
                <a:pos x="connsiteX16016" y="connsiteY16016"/>
              </a:cxn>
              <a:cxn ang="0">
                <a:pos x="connsiteX16017" y="connsiteY16017"/>
              </a:cxn>
              <a:cxn ang="0">
                <a:pos x="connsiteX16018" y="connsiteY16018"/>
              </a:cxn>
              <a:cxn ang="0">
                <a:pos x="connsiteX16019" y="connsiteY16019"/>
              </a:cxn>
              <a:cxn ang="0">
                <a:pos x="connsiteX16020" y="connsiteY16020"/>
              </a:cxn>
              <a:cxn ang="0">
                <a:pos x="connsiteX16021" y="connsiteY16021"/>
              </a:cxn>
              <a:cxn ang="0">
                <a:pos x="connsiteX16022" y="connsiteY16022"/>
              </a:cxn>
              <a:cxn ang="0">
                <a:pos x="connsiteX16023" y="connsiteY16023"/>
              </a:cxn>
              <a:cxn ang="0">
                <a:pos x="connsiteX16024" y="connsiteY16024"/>
              </a:cxn>
              <a:cxn ang="0">
                <a:pos x="connsiteX16025" y="connsiteY16025"/>
              </a:cxn>
              <a:cxn ang="0">
                <a:pos x="connsiteX16026" y="connsiteY16026"/>
              </a:cxn>
              <a:cxn ang="0">
                <a:pos x="connsiteX16027" y="connsiteY16027"/>
              </a:cxn>
              <a:cxn ang="0">
                <a:pos x="connsiteX16028" y="connsiteY16028"/>
              </a:cxn>
              <a:cxn ang="0">
                <a:pos x="connsiteX16029" y="connsiteY16029"/>
              </a:cxn>
              <a:cxn ang="0">
                <a:pos x="connsiteX16030" y="connsiteY16030"/>
              </a:cxn>
              <a:cxn ang="0">
                <a:pos x="connsiteX16031" y="connsiteY16031"/>
              </a:cxn>
              <a:cxn ang="0">
                <a:pos x="connsiteX16032" y="connsiteY16032"/>
              </a:cxn>
              <a:cxn ang="0">
                <a:pos x="connsiteX16033" y="connsiteY16033"/>
              </a:cxn>
              <a:cxn ang="0">
                <a:pos x="connsiteX16034" y="connsiteY16034"/>
              </a:cxn>
              <a:cxn ang="0">
                <a:pos x="connsiteX16035" y="connsiteY16035"/>
              </a:cxn>
              <a:cxn ang="0">
                <a:pos x="connsiteX16036" y="connsiteY16036"/>
              </a:cxn>
              <a:cxn ang="0">
                <a:pos x="connsiteX16037" y="connsiteY16037"/>
              </a:cxn>
              <a:cxn ang="0">
                <a:pos x="connsiteX16038" y="connsiteY16038"/>
              </a:cxn>
              <a:cxn ang="0">
                <a:pos x="connsiteX16039" y="connsiteY16039"/>
              </a:cxn>
              <a:cxn ang="0">
                <a:pos x="connsiteX16040" y="connsiteY16040"/>
              </a:cxn>
              <a:cxn ang="0">
                <a:pos x="connsiteX16041" y="connsiteY16041"/>
              </a:cxn>
              <a:cxn ang="0">
                <a:pos x="connsiteX16042" y="connsiteY16042"/>
              </a:cxn>
              <a:cxn ang="0">
                <a:pos x="connsiteX16043" y="connsiteY16043"/>
              </a:cxn>
              <a:cxn ang="0">
                <a:pos x="connsiteX16044" y="connsiteY16044"/>
              </a:cxn>
              <a:cxn ang="0">
                <a:pos x="connsiteX16045" y="connsiteY16045"/>
              </a:cxn>
              <a:cxn ang="0">
                <a:pos x="connsiteX16046" y="connsiteY16046"/>
              </a:cxn>
              <a:cxn ang="0">
                <a:pos x="connsiteX16047" y="connsiteY16047"/>
              </a:cxn>
              <a:cxn ang="0">
                <a:pos x="connsiteX16048" y="connsiteY16048"/>
              </a:cxn>
              <a:cxn ang="0">
                <a:pos x="connsiteX16049" y="connsiteY16049"/>
              </a:cxn>
              <a:cxn ang="0">
                <a:pos x="connsiteX16050" y="connsiteY16050"/>
              </a:cxn>
              <a:cxn ang="0">
                <a:pos x="connsiteX16051" y="connsiteY16051"/>
              </a:cxn>
              <a:cxn ang="0">
                <a:pos x="connsiteX16052" y="connsiteY16052"/>
              </a:cxn>
              <a:cxn ang="0">
                <a:pos x="connsiteX16053" y="connsiteY16053"/>
              </a:cxn>
              <a:cxn ang="0">
                <a:pos x="connsiteX16054" y="connsiteY16054"/>
              </a:cxn>
              <a:cxn ang="0">
                <a:pos x="connsiteX16055" y="connsiteY16055"/>
              </a:cxn>
              <a:cxn ang="0">
                <a:pos x="connsiteX16056" y="connsiteY16056"/>
              </a:cxn>
              <a:cxn ang="0">
                <a:pos x="connsiteX16057" y="connsiteY16057"/>
              </a:cxn>
              <a:cxn ang="0">
                <a:pos x="connsiteX16058" y="connsiteY16058"/>
              </a:cxn>
              <a:cxn ang="0">
                <a:pos x="connsiteX16059" y="connsiteY16059"/>
              </a:cxn>
              <a:cxn ang="0">
                <a:pos x="connsiteX16060" y="connsiteY16060"/>
              </a:cxn>
              <a:cxn ang="0">
                <a:pos x="connsiteX16061" y="connsiteY16061"/>
              </a:cxn>
              <a:cxn ang="0">
                <a:pos x="connsiteX16062" y="connsiteY16062"/>
              </a:cxn>
              <a:cxn ang="0">
                <a:pos x="connsiteX16063" y="connsiteY16063"/>
              </a:cxn>
              <a:cxn ang="0">
                <a:pos x="connsiteX16064" y="connsiteY16064"/>
              </a:cxn>
              <a:cxn ang="0">
                <a:pos x="connsiteX16065" y="connsiteY16065"/>
              </a:cxn>
              <a:cxn ang="0">
                <a:pos x="connsiteX16066" y="connsiteY16066"/>
              </a:cxn>
              <a:cxn ang="0">
                <a:pos x="connsiteX16067" y="connsiteY16067"/>
              </a:cxn>
              <a:cxn ang="0">
                <a:pos x="connsiteX16068" y="connsiteY16068"/>
              </a:cxn>
              <a:cxn ang="0">
                <a:pos x="connsiteX16069" y="connsiteY16069"/>
              </a:cxn>
              <a:cxn ang="0">
                <a:pos x="connsiteX16070" y="connsiteY16070"/>
              </a:cxn>
              <a:cxn ang="0">
                <a:pos x="connsiteX16071" y="connsiteY16071"/>
              </a:cxn>
              <a:cxn ang="0">
                <a:pos x="connsiteX16072" y="connsiteY16072"/>
              </a:cxn>
              <a:cxn ang="0">
                <a:pos x="connsiteX16073" y="connsiteY16073"/>
              </a:cxn>
              <a:cxn ang="0">
                <a:pos x="connsiteX16074" y="connsiteY16074"/>
              </a:cxn>
              <a:cxn ang="0">
                <a:pos x="connsiteX16075" y="connsiteY16075"/>
              </a:cxn>
              <a:cxn ang="0">
                <a:pos x="connsiteX16076" y="connsiteY16076"/>
              </a:cxn>
              <a:cxn ang="0">
                <a:pos x="connsiteX16077" y="connsiteY16077"/>
              </a:cxn>
              <a:cxn ang="0">
                <a:pos x="connsiteX16078" y="connsiteY16078"/>
              </a:cxn>
              <a:cxn ang="0">
                <a:pos x="connsiteX16079" y="connsiteY16079"/>
              </a:cxn>
              <a:cxn ang="0">
                <a:pos x="connsiteX16080" y="connsiteY16080"/>
              </a:cxn>
              <a:cxn ang="0">
                <a:pos x="connsiteX16081" y="connsiteY16081"/>
              </a:cxn>
              <a:cxn ang="0">
                <a:pos x="connsiteX16082" y="connsiteY16082"/>
              </a:cxn>
              <a:cxn ang="0">
                <a:pos x="connsiteX16083" y="connsiteY16083"/>
              </a:cxn>
              <a:cxn ang="0">
                <a:pos x="connsiteX16084" y="connsiteY16084"/>
              </a:cxn>
              <a:cxn ang="0">
                <a:pos x="connsiteX16085" y="connsiteY16085"/>
              </a:cxn>
              <a:cxn ang="0">
                <a:pos x="connsiteX16086" y="connsiteY16086"/>
              </a:cxn>
              <a:cxn ang="0">
                <a:pos x="connsiteX16087" y="connsiteY16087"/>
              </a:cxn>
              <a:cxn ang="0">
                <a:pos x="connsiteX16088" y="connsiteY16088"/>
              </a:cxn>
              <a:cxn ang="0">
                <a:pos x="connsiteX16089" y="connsiteY16089"/>
              </a:cxn>
              <a:cxn ang="0">
                <a:pos x="connsiteX16090" y="connsiteY16090"/>
              </a:cxn>
              <a:cxn ang="0">
                <a:pos x="connsiteX16091" y="connsiteY16091"/>
              </a:cxn>
              <a:cxn ang="0">
                <a:pos x="connsiteX16092" y="connsiteY16092"/>
              </a:cxn>
              <a:cxn ang="0">
                <a:pos x="connsiteX16093" y="connsiteY16093"/>
              </a:cxn>
              <a:cxn ang="0">
                <a:pos x="connsiteX16094" y="connsiteY16094"/>
              </a:cxn>
              <a:cxn ang="0">
                <a:pos x="connsiteX16095" y="connsiteY16095"/>
              </a:cxn>
              <a:cxn ang="0">
                <a:pos x="connsiteX16096" y="connsiteY16096"/>
              </a:cxn>
              <a:cxn ang="0">
                <a:pos x="connsiteX16097" y="connsiteY16097"/>
              </a:cxn>
              <a:cxn ang="0">
                <a:pos x="connsiteX16098" y="connsiteY16098"/>
              </a:cxn>
              <a:cxn ang="0">
                <a:pos x="connsiteX16099" y="connsiteY16099"/>
              </a:cxn>
              <a:cxn ang="0">
                <a:pos x="connsiteX16100" y="connsiteY16100"/>
              </a:cxn>
              <a:cxn ang="0">
                <a:pos x="connsiteX16101" y="connsiteY16101"/>
              </a:cxn>
              <a:cxn ang="0">
                <a:pos x="connsiteX16102" y="connsiteY16102"/>
              </a:cxn>
              <a:cxn ang="0">
                <a:pos x="connsiteX16103" y="connsiteY16103"/>
              </a:cxn>
              <a:cxn ang="0">
                <a:pos x="connsiteX16104" y="connsiteY16104"/>
              </a:cxn>
              <a:cxn ang="0">
                <a:pos x="connsiteX16105" y="connsiteY16105"/>
              </a:cxn>
              <a:cxn ang="0">
                <a:pos x="connsiteX16106" y="connsiteY16106"/>
              </a:cxn>
              <a:cxn ang="0">
                <a:pos x="connsiteX16107" y="connsiteY16107"/>
              </a:cxn>
              <a:cxn ang="0">
                <a:pos x="connsiteX16108" y="connsiteY16108"/>
              </a:cxn>
              <a:cxn ang="0">
                <a:pos x="connsiteX16109" y="connsiteY16109"/>
              </a:cxn>
              <a:cxn ang="0">
                <a:pos x="connsiteX16110" y="connsiteY16110"/>
              </a:cxn>
              <a:cxn ang="0">
                <a:pos x="connsiteX16111" y="connsiteY16111"/>
              </a:cxn>
              <a:cxn ang="0">
                <a:pos x="connsiteX16112" y="connsiteY16112"/>
              </a:cxn>
              <a:cxn ang="0">
                <a:pos x="connsiteX16113" y="connsiteY16113"/>
              </a:cxn>
              <a:cxn ang="0">
                <a:pos x="connsiteX16114" y="connsiteY16114"/>
              </a:cxn>
              <a:cxn ang="0">
                <a:pos x="connsiteX16115" y="connsiteY16115"/>
              </a:cxn>
              <a:cxn ang="0">
                <a:pos x="connsiteX16116" y="connsiteY16116"/>
              </a:cxn>
              <a:cxn ang="0">
                <a:pos x="connsiteX16117" y="connsiteY16117"/>
              </a:cxn>
              <a:cxn ang="0">
                <a:pos x="connsiteX16118" y="connsiteY16118"/>
              </a:cxn>
              <a:cxn ang="0">
                <a:pos x="connsiteX16119" y="connsiteY16119"/>
              </a:cxn>
              <a:cxn ang="0">
                <a:pos x="connsiteX16120" y="connsiteY16120"/>
              </a:cxn>
              <a:cxn ang="0">
                <a:pos x="connsiteX16121" y="connsiteY16121"/>
              </a:cxn>
              <a:cxn ang="0">
                <a:pos x="connsiteX16122" y="connsiteY16122"/>
              </a:cxn>
              <a:cxn ang="0">
                <a:pos x="connsiteX16123" y="connsiteY16123"/>
              </a:cxn>
              <a:cxn ang="0">
                <a:pos x="connsiteX16124" y="connsiteY16124"/>
              </a:cxn>
              <a:cxn ang="0">
                <a:pos x="connsiteX16125" y="connsiteY16125"/>
              </a:cxn>
              <a:cxn ang="0">
                <a:pos x="connsiteX16126" y="connsiteY16126"/>
              </a:cxn>
              <a:cxn ang="0">
                <a:pos x="connsiteX16127" y="connsiteY16127"/>
              </a:cxn>
              <a:cxn ang="0">
                <a:pos x="connsiteX16128" y="connsiteY16128"/>
              </a:cxn>
              <a:cxn ang="0">
                <a:pos x="connsiteX16129" y="connsiteY16129"/>
              </a:cxn>
              <a:cxn ang="0">
                <a:pos x="connsiteX16130" y="connsiteY16130"/>
              </a:cxn>
              <a:cxn ang="0">
                <a:pos x="connsiteX16131" y="connsiteY16131"/>
              </a:cxn>
              <a:cxn ang="0">
                <a:pos x="connsiteX16132" y="connsiteY16132"/>
              </a:cxn>
              <a:cxn ang="0">
                <a:pos x="connsiteX16133" y="connsiteY16133"/>
              </a:cxn>
              <a:cxn ang="0">
                <a:pos x="connsiteX16134" y="connsiteY16134"/>
              </a:cxn>
              <a:cxn ang="0">
                <a:pos x="connsiteX16135" y="connsiteY16135"/>
              </a:cxn>
              <a:cxn ang="0">
                <a:pos x="connsiteX16136" y="connsiteY16136"/>
              </a:cxn>
              <a:cxn ang="0">
                <a:pos x="connsiteX16137" y="connsiteY16137"/>
              </a:cxn>
              <a:cxn ang="0">
                <a:pos x="connsiteX16138" y="connsiteY16138"/>
              </a:cxn>
              <a:cxn ang="0">
                <a:pos x="connsiteX16139" y="connsiteY16139"/>
              </a:cxn>
              <a:cxn ang="0">
                <a:pos x="connsiteX16140" y="connsiteY16140"/>
              </a:cxn>
              <a:cxn ang="0">
                <a:pos x="connsiteX16141" y="connsiteY16141"/>
              </a:cxn>
              <a:cxn ang="0">
                <a:pos x="connsiteX16142" y="connsiteY16142"/>
              </a:cxn>
              <a:cxn ang="0">
                <a:pos x="connsiteX16143" y="connsiteY16143"/>
              </a:cxn>
              <a:cxn ang="0">
                <a:pos x="connsiteX16144" y="connsiteY16144"/>
              </a:cxn>
              <a:cxn ang="0">
                <a:pos x="connsiteX16145" y="connsiteY16145"/>
              </a:cxn>
              <a:cxn ang="0">
                <a:pos x="connsiteX16146" y="connsiteY16146"/>
              </a:cxn>
              <a:cxn ang="0">
                <a:pos x="connsiteX16147" y="connsiteY16147"/>
              </a:cxn>
              <a:cxn ang="0">
                <a:pos x="connsiteX16148" y="connsiteY16148"/>
              </a:cxn>
              <a:cxn ang="0">
                <a:pos x="connsiteX16149" y="connsiteY16149"/>
              </a:cxn>
              <a:cxn ang="0">
                <a:pos x="connsiteX16150" y="connsiteY16150"/>
              </a:cxn>
              <a:cxn ang="0">
                <a:pos x="connsiteX16151" y="connsiteY16151"/>
              </a:cxn>
              <a:cxn ang="0">
                <a:pos x="connsiteX16152" y="connsiteY16152"/>
              </a:cxn>
              <a:cxn ang="0">
                <a:pos x="connsiteX16153" y="connsiteY16153"/>
              </a:cxn>
              <a:cxn ang="0">
                <a:pos x="connsiteX16154" y="connsiteY16154"/>
              </a:cxn>
              <a:cxn ang="0">
                <a:pos x="connsiteX16155" y="connsiteY16155"/>
              </a:cxn>
              <a:cxn ang="0">
                <a:pos x="connsiteX16156" y="connsiteY16156"/>
              </a:cxn>
              <a:cxn ang="0">
                <a:pos x="connsiteX16157" y="connsiteY16157"/>
              </a:cxn>
              <a:cxn ang="0">
                <a:pos x="connsiteX16158" y="connsiteY16158"/>
              </a:cxn>
              <a:cxn ang="0">
                <a:pos x="connsiteX16159" y="connsiteY16159"/>
              </a:cxn>
              <a:cxn ang="0">
                <a:pos x="connsiteX16160" y="connsiteY16160"/>
              </a:cxn>
              <a:cxn ang="0">
                <a:pos x="connsiteX16161" y="connsiteY16161"/>
              </a:cxn>
              <a:cxn ang="0">
                <a:pos x="connsiteX16162" y="connsiteY16162"/>
              </a:cxn>
              <a:cxn ang="0">
                <a:pos x="connsiteX16163" y="connsiteY16163"/>
              </a:cxn>
              <a:cxn ang="0">
                <a:pos x="connsiteX16164" y="connsiteY16164"/>
              </a:cxn>
              <a:cxn ang="0">
                <a:pos x="connsiteX16165" y="connsiteY16165"/>
              </a:cxn>
              <a:cxn ang="0">
                <a:pos x="connsiteX16166" y="connsiteY16166"/>
              </a:cxn>
              <a:cxn ang="0">
                <a:pos x="connsiteX16167" y="connsiteY16167"/>
              </a:cxn>
              <a:cxn ang="0">
                <a:pos x="connsiteX16168" y="connsiteY16168"/>
              </a:cxn>
              <a:cxn ang="0">
                <a:pos x="connsiteX16169" y="connsiteY16169"/>
              </a:cxn>
              <a:cxn ang="0">
                <a:pos x="connsiteX16170" y="connsiteY16170"/>
              </a:cxn>
              <a:cxn ang="0">
                <a:pos x="connsiteX16171" y="connsiteY16171"/>
              </a:cxn>
              <a:cxn ang="0">
                <a:pos x="connsiteX16172" y="connsiteY16172"/>
              </a:cxn>
              <a:cxn ang="0">
                <a:pos x="connsiteX16173" y="connsiteY16173"/>
              </a:cxn>
              <a:cxn ang="0">
                <a:pos x="connsiteX16174" y="connsiteY16174"/>
              </a:cxn>
              <a:cxn ang="0">
                <a:pos x="connsiteX16175" y="connsiteY16175"/>
              </a:cxn>
              <a:cxn ang="0">
                <a:pos x="connsiteX16176" y="connsiteY16176"/>
              </a:cxn>
              <a:cxn ang="0">
                <a:pos x="connsiteX16177" y="connsiteY16177"/>
              </a:cxn>
              <a:cxn ang="0">
                <a:pos x="connsiteX16178" y="connsiteY16178"/>
              </a:cxn>
              <a:cxn ang="0">
                <a:pos x="connsiteX16179" y="connsiteY16179"/>
              </a:cxn>
              <a:cxn ang="0">
                <a:pos x="connsiteX16180" y="connsiteY16180"/>
              </a:cxn>
              <a:cxn ang="0">
                <a:pos x="connsiteX16181" y="connsiteY16181"/>
              </a:cxn>
              <a:cxn ang="0">
                <a:pos x="connsiteX16182" y="connsiteY16182"/>
              </a:cxn>
              <a:cxn ang="0">
                <a:pos x="connsiteX16183" y="connsiteY16183"/>
              </a:cxn>
              <a:cxn ang="0">
                <a:pos x="connsiteX16184" y="connsiteY16184"/>
              </a:cxn>
              <a:cxn ang="0">
                <a:pos x="connsiteX16185" y="connsiteY16185"/>
              </a:cxn>
              <a:cxn ang="0">
                <a:pos x="connsiteX16186" y="connsiteY16186"/>
              </a:cxn>
              <a:cxn ang="0">
                <a:pos x="connsiteX16187" y="connsiteY16187"/>
              </a:cxn>
              <a:cxn ang="0">
                <a:pos x="connsiteX16188" y="connsiteY16188"/>
              </a:cxn>
              <a:cxn ang="0">
                <a:pos x="connsiteX16189" y="connsiteY16189"/>
              </a:cxn>
              <a:cxn ang="0">
                <a:pos x="connsiteX16190" y="connsiteY16190"/>
              </a:cxn>
              <a:cxn ang="0">
                <a:pos x="connsiteX16191" y="connsiteY16191"/>
              </a:cxn>
              <a:cxn ang="0">
                <a:pos x="connsiteX16192" y="connsiteY16192"/>
              </a:cxn>
              <a:cxn ang="0">
                <a:pos x="connsiteX16193" y="connsiteY16193"/>
              </a:cxn>
              <a:cxn ang="0">
                <a:pos x="connsiteX16194" y="connsiteY16194"/>
              </a:cxn>
              <a:cxn ang="0">
                <a:pos x="connsiteX16195" y="connsiteY16195"/>
              </a:cxn>
              <a:cxn ang="0">
                <a:pos x="connsiteX16196" y="connsiteY16196"/>
              </a:cxn>
              <a:cxn ang="0">
                <a:pos x="connsiteX16197" y="connsiteY16197"/>
              </a:cxn>
              <a:cxn ang="0">
                <a:pos x="connsiteX16198" y="connsiteY16198"/>
              </a:cxn>
              <a:cxn ang="0">
                <a:pos x="connsiteX16199" y="connsiteY16199"/>
              </a:cxn>
              <a:cxn ang="0">
                <a:pos x="connsiteX16200" y="connsiteY16200"/>
              </a:cxn>
              <a:cxn ang="0">
                <a:pos x="connsiteX16201" y="connsiteY16201"/>
              </a:cxn>
              <a:cxn ang="0">
                <a:pos x="connsiteX16202" y="connsiteY16202"/>
              </a:cxn>
              <a:cxn ang="0">
                <a:pos x="connsiteX16203" y="connsiteY16203"/>
              </a:cxn>
              <a:cxn ang="0">
                <a:pos x="connsiteX16204" y="connsiteY16204"/>
              </a:cxn>
              <a:cxn ang="0">
                <a:pos x="connsiteX16205" y="connsiteY16205"/>
              </a:cxn>
              <a:cxn ang="0">
                <a:pos x="connsiteX16206" y="connsiteY16206"/>
              </a:cxn>
              <a:cxn ang="0">
                <a:pos x="connsiteX16207" y="connsiteY16207"/>
              </a:cxn>
              <a:cxn ang="0">
                <a:pos x="connsiteX16208" y="connsiteY16208"/>
              </a:cxn>
              <a:cxn ang="0">
                <a:pos x="connsiteX16209" y="connsiteY16209"/>
              </a:cxn>
              <a:cxn ang="0">
                <a:pos x="connsiteX16210" y="connsiteY16210"/>
              </a:cxn>
              <a:cxn ang="0">
                <a:pos x="connsiteX16211" y="connsiteY16211"/>
              </a:cxn>
              <a:cxn ang="0">
                <a:pos x="connsiteX16212" y="connsiteY16212"/>
              </a:cxn>
              <a:cxn ang="0">
                <a:pos x="connsiteX16213" y="connsiteY16213"/>
              </a:cxn>
              <a:cxn ang="0">
                <a:pos x="connsiteX16214" y="connsiteY16214"/>
              </a:cxn>
              <a:cxn ang="0">
                <a:pos x="connsiteX16215" y="connsiteY16215"/>
              </a:cxn>
              <a:cxn ang="0">
                <a:pos x="connsiteX16216" y="connsiteY16216"/>
              </a:cxn>
              <a:cxn ang="0">
                <a:pos x="connsiteX16217" y="connsiteY16217"/>
              </a:cxn>
              <a:cxn ang="0">
                <a:pos x="connsiteX16218" y="connsiteY16218"/>
              </a:cxn>
              <a:cxn ang="0">
                <a:pos x="connsiteX16219" y="connsiteY16219"/>
              </a:cxn>
              <a:cxn ang="0">
                <a:pos x="connsiteX16220" y="connsiteY16220"/>
              </a:cxn>
              <a:cxn ang="0">
                <a:pos x="connsiteX16221" y="connsiteY16221"/>
              </a:cxn>
              <a:cxn ang="0">
                <a:pos x="connsiteX16222" y="connsiteY16222"/>
              </a:cxn>
              <a:cxn ang="0">
                <a:pos x="connsiteX16223" y="connsiteY16223"/>
              </a:cxn>
              <a:cxn ang="0">
                <a:pos x="connsiteX16224" y="connsiteY16224"/>
              </a:cxn>
              <a:cxn ang="0">
                <a:pos x="connsiteX16225" y="connsiteY16225"/>
              </a:cxn>
              <a:cxn ang="0">
                <a:pos x="connsiteX16226" y="connsiteY16226"/>
              </a:cxn>
              <a:cxn ang="0">
                <a:pos x="connsiteX16227" y="connsiteY16227"/>
              </a:cxn>
              <a:cxn ang="0">
                <a:pos x="connsiteX16228" y="connsiteY16228"/>
              </a:cxn>
              <a:cxn ang="0">
                <a:pos x="connsiteX16229" y="connsiteY16229"/>
              </a:cxn>
              <a:cxn ang="0">
                <a:pos x="connsiteX16230" y="connsiteY16230"/>
              </a:cxn>
              <a:cxn ang="0">
                <a:pos x="connsiteX16231" y="connsiteY16231"/>
              </a:cxn>
              <a:cxn ang="0">
                <a:pos x="connsiteX16232" y="connsiteY16232"/>
              </a:cxn>
              <a:cxn ang="0">
                <a:pos x="connsiteX16233" y="connsiteY16233"/>
              </a:cxn>
              <a:cxn ang="0">
                <a:pos x="connsiteX16234" y="connsiteY16234"/>
              </a:cxn>
              <a:cxn ang="0">
                <a:pos x="connsiteX16235" y="connsiteY16235"/>
              </a:cxn>
              <a:cxn ang="0">
                <a:pos x="connsiteX16236" y="connsiteY16236"/>
              </a:cxn>
              <a:cxn ang="0">
                <a:pos x="connsiteX16237" y="connsiteY16237"/>
              </a:cxn>
              <a:cxn ang="0">
                <a:pos x="connsiteX16238" y="connsiteY16238"/>
              </a:cxn>
              <a:cxn ang="0">
                <a:pos x="connsiteX16239" y="connsiteY16239"/>
              </a:cxn>
              <a:cxn ang="0">
                <a:pos x="connsiteX16240" y="connsiteY16240"/>
              </a:cxn>
              <a:cxn ang="0">
                <a:pos x="connsiteX16241" y="connsiteY16241"/>
              </a:cxn>
              <a:cxn ang="0">
                <a:pos x="connsiteX16242" y="connsiteY16242"/>
              </a:cxn>
              <a:cxn ang="0">
                <a:pos x="connsiteX16243" y="connsiteY16243"/>
              </a:cxn>
              <a:cxn ang="0">
                <a:pos x="connsiteX16244" y="connsiteY16244"/>
              </a:cxn>
              <a:cxn ang="0">
                <a:pos x="connsiteX16245" y="connsiteY16245"/>
              </a:cxn>
              <a:cxn ang="0">
                <a:pos x="connsiteX16246" y="connsiteY16246"/>
              </a:cxn>
              <a:cxn ang="0">
                <a:pos x="connsiteX16247" y="connsiteY16247"/>
              </a:cxn>
              <a:cxn ang="0">
                <a:pos x="connsiteX16248" y="connsiteY16248"/>
              </a:cxn>
              <a:cxn ang="0">
                <a:pos x="connsiteX16249" y="connsiteY16249"/>
              </a:cxn>
              <a:cxn ang="0">
                <a:pos x="connsiteX16250" y="connsiteY16250"/>
              </a:cxn>
              <a:cxn ang="0">
                <a:pos x="connsiteX16251" y="connsiteY16251"/>
              </a:cxn>
              <a:cxn ang="0">
                <a:pos x="connsiteX16252" y="connsiteY16252"/>
              </a:cxn>
              <a:cxn ang="0">
                <a:pos x="connsiteX16253" y="connsiteY16253"/>
              </a:cxn>
              <a:cxn ang="0">
                <a:pos x="connsiteX16254" y="connsiteY16254"/>
              </a:cxn>
              <a:cxn ang="0">
                <a:pos x="connsiteX16255" y="connsiteY16255"/>
              </a:cxn>
              <a:cxn ang="0">
                <a:pos x="connsiteX16256" y="connsiteY16256"/>
              </a:cxn>
              <a:cxn ang="0">
                <a:pos x="connsiteX16257" y="connsiteY16257"/>
              </a:cxn>
              <a:cxn ang="0">
                <a:pos x="connsiteX16258" y="connsiteY16258"/>
              </a:cxn>
              <a:cxn ang="0">
                <a:pos x="connsiteX16259" y="connsiteY16259"/>
              </a:cxn>
              <a:cxn ang="0">
                <a:pos x="connsiteX16260" y="connsiteY16260"/>
              </a:cxn>
              <a:cxn ang="0">
                <a:pos x="connsiteX16261" y="connsiteY16261"/>
              </a:cxn>
              <a:cxn ang="0">
                <a:pos x="connsiteX16262" y="connsiteY16262"/>
              </a:cxn>
              <a:cxn ang="0">
                <a:pos x="connsiteX16263" y="connsiteY16263"/>
              </a:cxn>
              <a:cxn ang="0">
                <a:pos x="connsiteX16264" y="connsiteY16264"/>
              </a:cxn>
              <a:cxn ang="0">
                <a:pos x="connsiteX16265" y="connsiteY16265"/>
              </a:cxn>
              <a:cxn ang="0">
                <a:pos x="connsiteX16266" y="connsiteY16266"/>
              </a:cxn>
              <a:cxn ang="0">
                <a:pos x="connsiteX16267" y="connsiteY16267"/>
              </a:cxn>
              <a:cxn ang="0">
                <a:pos x="connsiteX16268" y="connsiteY16268"/>
              </a:cxn>
              <a:cxn ang="0">
                <a:pos x="connsiteX16269" y="connsiteY16269"/>
              </a:cxn>
              <a:cxn ang="0">
                <a:pos x="connsiteX16270" y="connsiteY16270"/>
              </a:cxn>
              <a:cxn ang="0">
                <a:pos x="connsiteX16271" y="connsiteY16271"/>
              </a:cxn>
              <a:cxn ang="0">
                <a:pos x="connsiteX16272" y="connsiteY16272"/>
              </a:cxn>
              <a:cxn ang="0">
                <a:pos x="connsiteX16273" y="connsiteY16273"/>
              </a:cxn>
              <a:cxn ang="0">
                <a:pos x="connsiteX16274" y="connsiteY16274"/>
              </a:cxn>
              <a:cxn ang="0">
                <a:pos x="connsiteX16275" y="connsiteY16275"/>
              </a:cxn>
              <a:cxn ang="0">
                <a:pos x="connsiteX16276" y="connsiteY16276"/>
              </a:cxn>
              <a:cxn ang="0">
                <a:pos x="connsiteX16277" y="connsiteY16277"/>
              </a:cxn>
              <a:cxn ang="0">
                <a:pos x="connsiteX16278" y="connsiteY16278"/>
              </a:cxn>
              <a:cxn ang="0">
                <a:pos x="connsiteX16279" y="connsiteY16279"/>
              </a:cxn>
              <a:cxn ang="0">
                <a:pos x="connsiteX16280" y="connsiteY16280"/>
              </a:cxn>
              <a:cxn ang="0">
                <a:pos x="connsiteX16281" y="connsiteY16281"/>
              </a:cxn>
              <a:cxn ang="0">
                <a:pos x="connsiteX16282" y="connsiteY16282"/>
              </a:cxn>
              <a:cxn ang="0">
                <a:pos x="connsiteX16283" y="connsiteY16283"/>
              </a:cxn>
              <a:cxn ang="0">
                <a:pos x="connsiteX16284" y="connsiteY16284"/>
              </a:cxn>
              <a:cxn ang="0">
                <a:pos x="connsiteX16285" y="connsiteY16285"/>
              </a:cxn>
              <a:cxn ang="0">
                <a:pos x="connsiteX16286" y="connsiteY16286"/>
              </a:cxn>
              <a:cxn ang="0">
                <a:pos x="connsiteX16287" y="connsiteY16287"/>
              </a:cxn>
              <a:cxn ang="0">
                <a:pos x="connsiteX16288" y="connsiteY16288"/>
              </a:cxn>
              <a:cxn ang="0">
                <a:pos x="connsiteX16289" y="connsiteY16289"/>
              </a:cxn>
              <a:cxn ang="0">
                <a:pos x="connsiteX16290" y="connsiteY16290"/>
              </a:cxn>
              <a:cxn ang="0">
                <a:pos x="connsiteX16291" y="connsiteY16291"/>
              </a:cxn>
              <a:cxn ang="0">
                <a:pos x="connsiteX16292" y="connsiteY16292"/>
              </a:cxn>
              <a:cxn ang="0">
                <a:pos x="connsiteX16293" y="connsiteY16293"/>
              </a:cxn>
              <a:cxn ang="0">
                <a:pos x="connsiteX16294" y="connsiteY16294"/>
              </a:cxn>
              <a:cxn ang="0">
                <a:pos x="connsiteX16295" y="connsiteY16295"/>
              </a:cxn>
              <a:cxn ang="0">
                <a:pos x="connsiteX16296" y="connsiteY16296"/>
              </a:cxn>
              <a:cxn ang="0">
                <a:pos x="connsiteX16297" y="connsiteY16297"/>
              </a:cxn>
              <a:cxn ang="0">
                <a:pos x="connsiteX16298" y="connsiteY16298"/>
              </a:cxn>
              <a:cxn ang="0">
                <a:pos x="connsiteX16299" y="connsiteY16299"/>
              </a:cxn>
              <a:cxn ang="0">
                <a:pos x="connsiteX16300" y="connsiteY16300"/>
              </a:cxn>
              <a:cxn ang="0">
                <a:pos x="connsiteX16301" y="connsiteY16301"/>
              </a:cxn>
              <a:cxn ang="0">
                <a:pos x="connsiteX16302" y="connsiteY16302"/>
              </a:cxn>
              <a:cxn ang="0">
                <a:pos x="connsiteX16303" y="connsiteY16303"/>
              </a:cxn>
              <a:cxn ang="0">
                <a:pos x="connsiteX16304" y="connsiteY16304"/>
              </a:cxn>
              <a:cxn ang="0">
                <a:pos x="connsiteX16305" y="connsiteY16305"/>
              </a:cxn>
              <a:cxn ang="0">
                <a:pos x="connsiteX16306" y="connsiteY16306"/>
              </a:cxn>
              <a:cxn ang="0">
                <a:pos x="connsiteX16307" y="connsiteY16307"/>
              </a:cxn>
              <a:cxn ang="0">
                <a:pos x="connsiteX16308" y="connsiteY16308"/>
              </a:cxn>
              <a:cxn ang="0">
                <a:pos x="connsiteX16309" y="connsiteY16309"/>
              </a:cxn>
              <a:cxn ang="0">
                <a:pos x="connsiteX16310" y="connsiteY16310"/>
              </a:cxn>
              <a:cxn ang="0">
                <a:pos x="connsiteX16311" y="connsiteY16311"/>
              </a:cxn>
              <a:cxn ang="0">
                <a:pos x="connsiteX16312" y="connsiteY16312"/>
              </a:cxn>
              <a:cxn ang="0">
                <a:pos x="connsiteX16313" y="connsiteY16313"/>
              </a:cxn>
              <a:cxn ang="0">
                <a:pos x="connsiteX16314" y="connsiteY16314"/>
              </a:cxn>
              <a:cxn ang="0">
                <a:pos x="connsiteX16315" y="connsiteY16315"/>
              </a:cxn>
              <a:cxn ang="0">
                <a:pos x="connsiteX16316" y="connsiteY16316"/>
              </a:cxn>
              <a:cxn ang="0">
                <a:pos x="connsiteX16317" y="connsiteY16317"/>
              </a:cxn>
              <a:cxn ang="0">
                <a:pos x="connsiteX16318" y="connsiteY16318"/>
              </a:cxn>
              <a:cxn ang="0">
                <a:pos x="connsiteX16319" y="connsiteY16319"/>
              </a:cxn>
              <a:cxn ang="0">
                <a:pos x="connsiteX16320" y="connsiteY16320"/>
              </a:cxn>
              <a:cxn ang="0">
                <a:pos x="connsiteX16321" y="connsiteY16321"/>
              </a:cxn>
              <a:cxn ang="0">
                <a:pos x="connsiteX16322" y="connsiteY16322"/>
              </a:cxn>
              <a:cxn ang="0">
                <a:pos x="connsiteX16323" y="connsiteY16323"/>
              </a:cxn>
              <a:cxn ang="0">
                <a:pos x="connsiteX16324" y="connsiteY16324"/>
              </a:cxn>
              <a:cxn ang="0">
                <a:pos x="connsiteX16325" y="connsiteY16325"/>
              </a:cxn>
              <a:cxn ang="0">
                <a:pos x="connsiteX16326" y="connsiteY16326"/>
              </a:cxn>
              <a:cxn ang="0">
                <a:pos x="connsiteX16327" y="connsiteY16327"/>
              </a:cxn>
              <a:cxn ang="0">
                <a:pos x="connsiteX16328" y="connsiteY16328"/>
              </a:cxn>
              <a:cxn ang="0">
                <a:pos x="connsiteX16329" y="connsiteY16329"/>
              </a:cxn>
              <a:cxn ang="0">
                <a:pos x="connsiteX16330" y="connsiteY16330"/>
              </a:cxn>
              <a:cxn ang="0">
                <a:pos x="connsiteX16331" y="connsiteY16331"/>
              </a:cxn>
              <a:cxn ang="0">
                <a:pos x="connsiteX16332" y="connsiteY16332"/>
              </a:cxn>
              <a:cxn ang="0">
                <a:pos x="connsiteX16333" y="connsiteY16333"/>
              </a:cxn>
              <a:cxn ang="0">
                <a:pos x="connsiteX16334" y="connsiteY16334"/>
              </a:cxn>
              <a:cxn ang="0">
                <a:pos x="connsiteX16335" y="connsiteY16335"/>
              </a:cxn>
              <a:cxn ang="0">
                <a:pos x="connsiteX16336" y="connsiteY16336"/>
              </a:cxn>
              <a:cxn ang="0">
                <a:pos x="connsiteX16337" y="connsiteY16337"/>
              </a:cxn>
              <a:cxn ang="0">
                <a:pos x="connsiteX16338" y="connsiteY16338"/>
              </a:cxn>
              <a:cxn ang="0">
                <a:pos x="connsiteX16339" y="connsiteY16339"/>
              </a:cxn>
              <a:cxn ang="0">
                <a:pos x="connsiteX16340" y="connsiteY16340"/>
              </a:cxn>
              <a:cxn ang="0">
                <a:pos x="connsiteX16341" y="connsiteY16341"/>
              </a:cxn>
              <a:cxn ang="0">
                <a:pos x="connsiteX16342" y="connsiteY16342"/>
              </a:cxn>
              <a:cxn ang="0">
                <a:pos x="connsiteX16343" y="connsiteY16343"/>
              </a:cxn>
              <a:cxn ang="0">
                <a:pos x="connsiteX16344" y="connsiteY16344"/>
              </a:cxn>
              <a:cxn ang="0">
                <a:pos x="connsiteX16345" y="connsiteY16345"/>
              </a:cxn>
              <a:cxn ang="0">
                <a:pos x="connsiteX16346" y="connsiteY16346"/>
              </a:cxn>
              <a:cxn ang="0">
                <a:pos x="connsiteX16347" y="connsiteY16347"/>
              </a:cxn>
              <a:cxn ang="0">
                <a:pos x="connsiteX16348" y="connsiteY16348"/>
              </a:cxn>
              <a:cxn ang="0">
                <a:pos x="connsiteX16349" y="connsiteY16349"/>
              </a:cxn>
              <a:cxn ang="0">
                <a:pos x="connsiteX16350" y="connsiteY16350"/>
              </a:cxn>
              <a:cxn ang="0">
                <a:pos x="connsiteX16351" y="connsiteY16351"/>
              </a:cxn>
              <a:cxn ang="0">
                <a:pos x="connsiteX16352" y="connsiteY16352"/>
              </a:cxn>
              <a:cxn ang="0">
                <a:pos x="connsiteX16353" y="connsiteY16353"/>
              </a:cxn>
              <a:cxn ang="0">
                <a:pos x="connsiteX16354" y="connsiteY16354"/>
              </a:cxn>
              <a:cxn ang="0">
                <a:pos x="connsiteX16355" y="connsiteY16355"/>
              </a:cxn>
              <a:cxn ang="0">
                <a:pos x="connsiteX16356" y="connsiteY16356"/>
              </a:cxn>
              <a:cxn ang="0">
                <a:pos x="connsiteX16357" y="connsiteY16357"/>
              </a:cxn>
              <a:cxn ang="0">
                <a:pos x="connsiteX16358" y="connsiteY16358"/>
              </a:cxn>
              <a:cxn ang="0">
                <a:pos x="connsiteX16359" y="connsiteY16359"/>
              </a:cxn>
              <a:cxn ang="0">
                <a:pos x="connsiteX16360" y="connsiteY16360"/>
              </a:cxn>
              <a:cxn ang="0">
                <a:pos x="connsiteX16361" y="connsiteY16361"/>
              </a:cxn>
              <a:cxn ang="0">
                <a:pos x="connsiteX16362" y="connsiteY16362"/>
              </a:cxn>
              <a:cxn ang="0">
                <a:pos x="connsiteX16363" y="connsiteY16363"/>
              </a:cxn>
              <a:cxn ang="0">
                <a:pos x="connsiteX16364" y="connsiteY16364"/>
              </a:cxn>
              <a:cxn ang="0">
                <a:pos x="connsiteX16365" y="connsiteY16365"/>
              </a:cxn>
              <a:cxn ang="0">
                <a:pos x="connsiteX16366" y="connsiteY16366"/>
              </a:cxn>
              <a:cxn ang="0">
                <a:pos x="connsiteX16367" y="connsiteY16367"/>
              </a:cxn>
              <a:cxn ang="0">
                <a:pos x="connsiteX16368" y="connsiteY16368"/>
              </a:cxn>
              <a:cxn ang="0">
                <a:pos x="connsiteX16369" y="connsiteY16369"/>
              </a:cxn>
              <a:cxn ang="0">
                <a:pos x="connsiteX16370" y="connsiteY16370"/>
              </a:cxn>
              <a:cxn ang="0">
                <a:pos x="connsiteX16371" y="connsiteY16371"/>
              </a:cxn>
              <a:cxn ang="0">
                <a:pos x="connsiteX16372" y="connsiteY16372"/>
              </a:cxn>
              <a:cxn ang="0">
                <a:pos x="connsiteX16373" y="connsiteY16373"/>
              </a:cxn>
              <a:cxn ang="0">
                <a:pos x="connsiteX16374" y="connsiteY16374"/>
              </a:cxn>
              <a:cxn ang="0">
                <a:pos x="connsiteX16375" y="connsiteY16375"/>
              </a:cxn>
              <a:cxn ang="0">
                <a:pos x="connsiteX16376" y="connsiteY16376"/>
              </a:cxn>
              <a:cxn ang="0">
                <a:pos x="connsiteX16377" y="connsiteY16377"/>
              </a:cxn>
              <a:cxn ang="0">
                <a:pos x="connsiteX16378" y="connsiteY16378"/>
              </a:cxn>
              <a:cxn ang="0">
                <a:pos x="connsiteX16379" y="connsiteY16379"/>
              </a:cxn>
              <a:cxn ang="0">
                <a:pos x="connsiteX16380" y="connsiteY16380"/>
              </a:cxn>
              <a:cxn ang="0">
                <a:pos x="connsiteX16381" y="connsiteY16381"/>
              </a:cxn>
              <a:cxn ang="0">
                <a:pos x="connsiteX16382" y="connsiteY16382"/>
              </a:cxn>
              <a:cxn ang="0">
                <a:pos x="connsiteX16383" y="connsiteY16383"/>
              </a:cxn>
              <a:cxn ang="0">
                <a:pos x="connsiteX16384" y="connsiteY16384"/>
              </a:cxn>
              <a:cxn ang="0">
                <a:pos x="connsiteX16385" y="connsiteY16385"/>
              </a:cxn>
              <a:cxn ang="0">
                <a:pos x="connsiteX16386" y="connsiteY16386"/>
              </a:cxn>
              <a:cxn ang="0">
                <a:pos x="connsiteX16387" y="connsiteY16387"/>
              </a:cxn>
              <a:cxn ang="0">
                <a:pos x="connsiteX16388" y="connsiteY16388"/>
              </a:cxn>
              <a:cxn ang="0">
                <a:pos x="connsiteX16389" y="connsiteY16389"/>
              </a:cxn>
              <a:cxn ang="0">
                <a:pos x="connsiteX16390" y="connsiteY16390"/>
              </a:cxn>
              <a:cxn ang="0">
                <a:pos x="connsiteX16391" y="connsiteY16391"/>
              </a:cxn>
              <a:cxn ang="0">
                <a:pos x="connsiteX16392" y="connsiteY16392"/>
              </a:cxn>
              <a:cxn ang="0">
                <a:pos x="connsiteX16393" y="connsiteY16393"/>
              </a:cxn>
              <a:cxn ang="0">
                <a:pos x="connsiteX16394" y="connsiteY16394"/>
              </a:cxn>
              <a:cxn ang="0">
                <a:pos x="connsiteX16395" y="connsiteY16395"/>
              </a:cxn>
              <a:cxn ang="0">
                <a:pos x="connsiteX16396" y="connsiteY16396"/>
              </a:cxn>
              <a:cxn ang="0">
                <a:pos x="connsiteX16397" y="connsiteY16397"/>
              </a:cxn>
              <a:cxn ang="0">
                <a:pos x="connsiteX16398" y="connsiteY16398"/>
              </a:cxn>
              <a:cxn ang="0">
                <a:pos x="connsiteX16399" y="connsiteY16399"/>
              </a:cxn>
              <a:cxn ang="0">
                <a:pos x="connsiteX16400" y="connsiteY16400"/>
              </a:cxn>
              <a:cxn ang="0">
                <a:pos x="connsiteX16401" y="connsiteY16401"/>
              </a:cxn>
              <a:cxn ang="0">
                <a:pos x="connsiteX16402" y="connsiteY16402"/>
              </a:cxn>
              <a:cxn ang="0">
                <a:pos x="connsiteX16403" y="connsiteY16403"/>
              </a:cxn>
              <a:cxn ang="0">
                <a:pos x="connsiteX16404" y="connsiteY16404"/>
              </a:cxn>
              <a:cxn ang="0">
                <a:pos x="connsiteX16405" y="connsiteY16405"/>
              </a:cxn>
              <a:cxn ang="0">
                <a:pos x="connsiteX16406" y="connsiteY16406"/>
              </a:cxn>
              <a:cxn ang="0">
                <a:pos x="connsiteX16407" y="connsiteY16407"/>
              </a:cxn>
              <a:cxn ang="0">
                <a:pos x="connsiteX16408" y="connsiteY16408"/>
              </a:cxn>
              <a:cxn ang="0">
                <a:pos x="connsiteX16409" y="connsiteY16409"/>
              </a:cxn>
              <a:cxn ang="0">
                <a:pos x="connsiteX16410" y="connsiteY16410"/>
              </a:cxn>
              <a:cxn ang="0">
                <a:pos x="connsiteX16411" y="connsiteY16411"/>
              </a:cxn>
              <a:cxn ang="0">
                <a:pos x="connsiteX16412" y="connsiteY16412"/>
              </a:cxn>
              <a:cxn ang="0">
                <a:pos x="connsiteX16413" y="connsiteY16413"/>
              </a:cxn>
              <a:cxn ang="0">
                <a:pos x="connsiteX16414" y="connsiteY16414"/>
              </a:cxn>
              <a:cxn ang="0">
                <a:pos x="connsiteX16415" y="connsiteY16415"/>
              </a:cxn>
              <a:cxn ang="0">
                <a:pos x="connsiteX16416" y="connsiteY16416"/>
              </a:cxn>
              <a:cxn ang="0">
                <a:pos x="connsiteX16417" y="connsiteY16417"/>
              </a:cxn>
              <a:cxn ang="0">
                <a:pos x="connsiteX16418" y="connsiteY16418"/>
              </a:cxn>
              <a:cxn ang="0">
                <a:pos x="connsiteX16419" y="connsiteY16419"/>
              </a:cxn>
              <a:cxn ang="0">
                <a:pos x="connsiteX16420" y="connsiteY16420"/>
              </a:cxn>
              <a:cxn ang="0">
                <a:pos x="connsiteX16421" y="connsiteY16421"/>
              </a:cxn>
              <a:cxn ang="0">
                <a:pos x="connsiteX16422" y="connsiteY16422"/>
              </a:cxn>
              <a:cxn ang="0">
                <a:pos x="connsiteX16423" y="connsiteY16423"/>
              </a:cxn>
              <a:cxn ang="0">
                <a:pos x="connsiteX16424" y="connsiteY16424"/>
              </a:cxn>
              <a:cxn ang="0">
                <a:pos x="connsiteX16425" y="connsiteY16425"/>
              </a:cxn>
              <a:cxn ang="0">
                <a:pos x="connsiteX16426" y="connsiteY16426"/>
              </a:cxn>
              <a:cxn ang="0">
                <a:pos x="connsiteX16427" y="connsiteY16427"/>
              </a:cxn>
              <a:cxn ang="0">
                <a:pos x="connsiteX16428" y="connsiteY16428"/>
              </a:cxn>
              <a:cxn ang="0">
                <a:pos x="connsiteX16429" y="connsiteY16429"/>
              </a:cxn>
              <a:cxn ang="0">
                <a:pos x="connsiteX16430" y="connsiteY16430"/>
              </a:cxn>
              <a:cxn ang="0">
                <a:pos x="connsiteX16431" y="connsiteY16431"/>
              </a:cxn>
              <a:cxn ang="0">
                <a:pos x="connsiteX16432" y="connsiteY16432"/>
              </a:cxn>
              <a:cxn ang="0">
                <a:pos x="connsiteX16433" y="connsiteY16433"/>
              </a:cxn>
              <a:cxn ang="0">
                <a:pos x="connsiteX16434" y="connsiteY16434"/>
              </a:cxn>
              <a:cxn ang="0">
                <a:pos x="connsiteX16435" y="connsiteY16435"/>
              </a:cxn>
              <a:cxn ang="0">
                <a:pos x="connsiteX16436" y="connsiteY16436"/>
              </a:cxn>
              <a:cxn ang="0">
                <a:pos x="connsiteX16437" y="connsiteY16437"/>
              </a:cxn>
              <a:cxn ang="0">
                <a:pos x="connsiteX16438" y="connsiteY16438"/>
              </a:cxn>
              <a:cxn ang="0">
                <a:pos x="connsiteX16439" y="connsiteY16439"/>
              </a:cxn>
              <a:cxn ang="0">
                <a:pos x="connsiteX16440" y="connsiteY16440"/>
              </a:cxn>
              <a:cxn ang="0">
                <a:pos x="connsiteX16441" y="connsiteY16441"/>
              </a:cxn>
              <a:cxn ang="0">
                <a:pos x="connsiteX16442" y="connsiteY16442"/>
              </a:cxn>
              <a:cxn ang="0">
                <a:pos x="connsiteX16443" y="connsiteY16443"/>
              </a:cxn>
              <a:cxn ang="0">
                <a:pos x="connsiteX16444" y="connsiteY16444"/>
              </a:cxn>
              <a:cxn ang="0">
                <a:pos x="connsiteX16445" y="connsiteY16445"/>
              </a:cxn>
              <a:cxn ang="0">
                <a:pos x="connsiteX16446" y="connsiteY16446"/>
              </a:cxn>
              <a:cxn ang="0">
                <a:pos x="connsiteX16447" y="connsiteY16447"/>
              </a:cxn>
              <a:cxn ang="0">
                <a:pos x="connsiteX16448" y="connsiteY16448"/>
              </a:cxn>
              <a:cxn ang="0">
                <a:pos x="connsiteX16449" y="connsiteY16449"/>
              </a:cxn>
              <a:cxn ang="0">
                <a:pos x="connsiteX16450" y="connsiteY16450"/>
              </a:cxn>
              <a:cxn ang="0">
                <a:pos x="connsiteX16451" y="connsiteY16451"/>
              </a:cxn>
              <a:cxn ang="0">
                <a:pos x="connsiteX16452" y="connsiteY16452"/>
              </a:cxn>
              <a:cxn ang="0">
                <a:pos x="connsiteX16453" y="connsiteY16453"/>
              </a:cxn>
              <a:cxn ang="0">
                <a:pos x="connsiteX16454" y="connsiteY16454"/>
              </a:cxn>
              <a:cxn ang="0">
                <a:pos x="connsiteX16455" y="connsiteY16455"/>
              </a:cxn>
              <a:cxn ang="0">
                <a:pos x="connsiteX16456" y="connsiteY16456"/>
              </a:cxn>
              <a:cxn ang="0">
                <a:pos x="connsiteX16457" y="connsiteY16457"/>
              </a:cxn>
              <a:cxn ang="0">
                <a:pos x="connsiteX16458" y="connsiteY16458"/>
              </a:cxn>
              <a:cxn ang="0">
                <a:pos x="connsiteX16459" y="connsiteY16459"/>
              </a:cxn>
              <a:cxn ang="0">
                <a:pos x="connsiteX16460" y="connsiteY16460"/>
              </a:cxn>
              <a:cxn ang="0">
                <a:pos x="connsiteX16461" y="connsiteY16461"/>
              </a:cxn>
              <a:cxn ang="0">
                <a:pos x="connsiteX16462" y="connsiteY16462"/>
              </a:cxn>
              <a:cxn ang="0">
                <a:pos x="connsiteX16463" y="connsiteY16463"/>
              </a:cxn>
              <a:cxn ang="0">
                <a:pos x="connsiteX16464" y="connsiteY16464"/>
              </a:cxn>
              <a:cxn ang="0">
                <a:pos x="connsiteX16465" y="connsiteY16465"/>
              </a:cxn>
              <a:cxn ang="0">
                <a:pos x="connsiteX16466" y="connsiteY16466"/>
              </a:cxn>
              <a:cxn ang="0">
                <a:pos x="connsiteX16467" y="connsiteY16467"/>
              </a:cxn>
              <a:cxn ang="0">
                <a:pos x="connsiteX16468" y="connsiteY16468"/>
              </a:cxn>
              <a:cxn ang="0">
                <a:pos x="connsiteX16469" y="connsiteY16469"/>
              </a:cxn>
              <a:cxn ang="0">
                <a:pos x="connsiteX16470" y="connsiteY16470"/>
              </a:cxn>
              <a:cxn ang="0">
                <a:pos x="connsiteX16471" y="connsiteY16471"/>
              </a:cxn>
              <a:cxn ang="0">
                <a:pos x="connsiteX16472" y="connsiteY16472"/>
              </a:cxn>
              <a:cxn ang="0">
                <a:pos x="connsiteX16473" y="connsiteY16473"/>
              </a:cxn>
              <a:cxn ang="0">
                <a:pos x="connsiteX16474" y="connsiteY16474"/>
              </a:cxn>
              <a:cxn ang="0">
                <a:pos x="connsiteX16475" y="connsiteY16475"/>
              </a:cxn>
              <a:cxn ang="0">
                <a:pos x="connsiteX16476" y="connsiteY16476"/>
              </a:cxn>
              <a:cxn ang="0">
                <a:pos x="connsiteX16477" y="connsiteY16477"/>
              </a:cxn>
              <a:cxn ang="0">
                <a:pos x="connsiteX16478" y="connsiteY16478"/>
              </a:cxn>
              <a:cxn ang="0">
                <a:pos x="connsiteX16479" y="connsiteY16479"/>
              </a:cxn>
              <a:cxn ang="0">
                <a:pos x="connsiteX16480" y="connsiteY16480"/>
              </a:cxn>
              <a:cxn ang="0">
                <a:pos x="connsiteX16481" y="connsiteY16481"/>
              </a:cxn>
              <a:cxn ang="0">
                <a:pos x="connsiteX16482" y="connsiteY16482"/>
              </a:cxn>
              <a:cxn ang="0">
                <a:pos x="connsiteX16483" y="connsiteY16483"/>
              </a:cxn>
              <a:cxn ang="0">
                <a:pos x="connsiteX16484" y="connsiteY16484"/>
              </a:cxn>
              <a:cxn ang="0">
                <a:pos x="connsiteX16485" y="connsiteY16485"/>
              </a:cxn>
              <a:cxn ang="0">
                <a:pos x="connsiteX16486" y="connsiteY16486"/>
              </a:cxn>
              <a:cxn ang="0">
                <a:pos x="connsiteX16487" y="connsiteY16487"/>
              </a:cxn>
              <a:cxn ang="0">
                <a:pos x="connsiteX16488" y="connsiteY16488"/>
              </a:cxn>
              <a:cxn ang="0">
                <a:pos x="connsiteX16489" y="connsiteY16489"/>
              </a:cxn>
              <a:cxn ang="0">
                <a:pos x="connsiteX16490" y="connsiteY16490"/>
              </a:cxn>
              <a:cxn ang="0">
                <a:pos x="connsiteX16491" y="connsiteY16491"/>
              </a:cxn>
              <a:cxn ang="0">
                <a:pos x="connsiteX16492" y="connsiteY16492"/>
              </a:cxn>
              <a:cxn ang="0">
                <a:pos x="connsiteX16493" y="connsiteY16493"/>
              </a:cxn>
              <a:cxn ang="0">
                <a:pos x="connsiteX16494" y="connsiteY16494"/>
              </a:cxn>
              <a:cxn ang="0">
                <a:pos x="connsiteX16495" y="connsiteY16495"/>
              </a:cxn>
              <a:cxn ang="0">
                <a:pos x="connsiteX16496" y="connsiteY16496"/>
              </a:cxn>
              <a:cxn ang="0">
                <a:pos x="connsiteX16497" y="connsiteY16497"/>
              </a:cxn>
              <a:cxn ang="0">
                <a:pos x="connsiteX16498" y="connsiteY16498"/>
              </a:cxn>
              <a:cxn ang="0">
                <a:pos x="connsiteX16499" y="connsiteY16499"/>
              </a:cxn>
              <a:cxn ang="0">
                <a:pos x="connsiteX16500" y="connsiteY16500"/>
              </a:cxn>
              <a:cxn ang="0">
                <a:pos x="connsiteX16501" y="connsiteY16501"/>
              </a:cxn>
              <a:cxn ang="0">
                <a:pos x="connsiteX16502" y="connsiteY16502"/>
              </a:cxn>
              <a:cxn ang="0">
                <a:pos x="connsiteX16503" y="connsiteY16503"/>
              </a:cxn>
              <a:cxn ang="0">
                <a:pos x="connsiteX16504" y="connsiteY16504"/>
              </a:cxn>
              <a:cxn ang="0">
                <a:pos x="connsiteX16505" y="connsiteY16505"/>
              </a:cxn>
              <a:cxn ang="0">
                <a:pos x="connsiteX16506" y="connsiteY16506"/>
              </a:cxn>
              <a:cxn ang="0">
                <a:pos x="connsiteX16507" y="connsiteY16507"/>
              </a:cxn>
              <a:cxn ang="0">
                <a:pos x="connsiteX16508" y="connsiteY16508"/>
              </a:cxn>
              <a:cxn ang="0">
                <a:pos x="connsiteX16509" y="connsiteY16509"/>
              </a:cxn>
              <a:cxn ang="0">
                <a:pos x="connsiteX16510" y="connsiteY16510"/>
              </a:cxn>
              <a:cxn ang="0">
                <a:pos x="connsiteX16511" y="connsiteY16511"/>
              </a:cxn>
              <a:cxn ang="0">
                <a:pos x="connsiteX16512" y="connsiteY16512"/>
              </a:cxn>
              <a:cxn ang="0">
                <a:pos x="connsiteX16513" y="connsiteY16513"/>
              </a:cxn>
              <a:cxn ang="0">
                <a:pos x="connsiteX16514" y="connsiteY16514"/>
              </a:cxn>
              <a:cxn ang="0">
                <a:pos x="connsiteX16515" y="connsiteY16515"/>
              </a:cxn>
              <a:cxn ang="0">
                <a:pos x="connsiteX16516" y="connsiteY16516"/>
              </a:cxn>
              <a:cxn ang="0">
                <a:pos x="connsiteX16517" y="connsiteY16517"/>
              </a:cxn>
              <a:cxn ang="0">
                <a:pos x="connsiteX16518" y="connsiteY16518"/>
              </a:cxn>
              <a:cxn ang="0">
                <a:pos x="connsiteX16519" y="connsiteY16519"/>
              </a:cxn>
              <a:cxn ang="0">
                <a:pos x="connsiteX16520" y="connsiteY16520"/>
              </a:cxn>
              <a:cxn ang="0">
                <a:pos x="connsiteX16521" y="connsiteY16521"/>
              </a:cxn>
              <a:cxn ang="0">
                <a:pos x="connsiteX16522" y="connsiteY16522"/>
              </a:cxn>
              <a:cxn ang="0">
                <a:pos x="connsiteX16523" y="connsiteY16523"/>
              </a:cxn>
              <a:cxn ang="0">
                <a:pos x="connsiteX16524" y="connsiteY16524"/>
              </a:cxn>
              <a:cxn ang="0">
                <a:pos x="connsiteX16525" y="connsiteY16525"/>
              </a:cxn>
              <a:cxn ang="0">
                <a:pos x="connsiteX16526" y="connsiteY16526"/>
              </a:cxn>
              <a:cxn ang="0">
                <a:pos x="connsiteX16527" y="connsiteY16527"/>
              </a:cxn>
              <a:cxn ang="0">
                <a:pos x="connsiteX16528" y="connsiteY16528"/>
              </a:cxn>
              <a:cxn ang="0">
                <a:pos x="connsiteX16529" y="connsiteY16529"/>
              </a:cxn>
              <a:cxn ang="0">
                <a:pos x="connsiteX16530" y="connsiteY16530"/>
              </a:cxn>
              <a:cxn ang="0">
                <a:pos x="connsiteX16531" y="connsiteY16531"/>
              </a:cxn>
              <a:cxn ang="0">
                <a:pos x="connsiteX16532" y="connsiteY16532"/>
              </a:cxn>
              <a:cxn ang="0">
                <a:pos x="connsiteX16533" y="connsiteY16533"/>
              </a:cxn>
              <a:cxn ang="0">
                <a:pos x="connsiteX16534" y="connsiteY16534"/>
              </a:cxn>
              <a:cxn ang="0">
                <a:pos x="connsiteX16535" y="connsiteY16535"/>
              </a:cxn>
              <a:cxn ang="0">
                <a:pos x="connsiteX16536" y="connsiteY16536"/>
              </a:cxn>
              <a:cxn ang="0">
                <a:pos x="connsiteX16537" y="connsiteY16537"/>
              </a:cxn>
              <a:cxn ang="0">
                <a:pos x="connsiteX16538" y="connsiteY16538"/>
              </a:cxn>
              <a:cxn ang="0">
                <a:pos x="connsiteX16539" y="connsiteY16539"/>
              </a:cxn>
              <a:cxn ang="0">
                <a:pos x="connsiteX16540" y="connsiteY16540"/>
              </a:cxn>
              <a:cxn ang="0">
                <a:pos x="connsiteX16541" y="connsiteY16541"/>
              </a:cxn>
              <a:cxn ang="0">
                <a:pos x="connsiteX16542" y="connsiteY16542"/>
              </a:cxn>
              <a:cxn ang="0">
                <a:pos x="connsiteX16543" y="connsiteY16543"/>
              </a:cxn>
              <a:cxn ang="0">
                <a:pos x="connsiteX16544" y="connsiteY16544"/>
              </a:cxn>
              <a:cxn ang="0">
                <a:pos x="connsiteX16545" y="connsiteY16545"/>
              </a:cxn>
              <a:cxn ang="0">
                <a:pos x="connsiteX16546" y="connsiteY16546"/>
              </a:cxn>
              <a:cxn ang="0">
                <a:pos x="connsiteX16547" y="connsiteY16547"/>
              </a:cxn>
              <a:cxn ang="0">
                <a:pos x="connsiteX16548" y="connsiteY16548"/>
              </a:cxn>
              <a:cxn ang="0">
                <a:pos x="connsiteX16549" y="connsiteY16549"/>
              </a:cxn>
              <a:cxn ang="0">
                <a:pos x="connsiteX16550" y="connsiteY16550"/>
              </a:cxn>
              <a:cxn ang="0">
                <a:pos x="connsiteX16551" y="connsiteY16551"/>
              </a:cxn>
              <a:cxn ang="0">
                <a:pos x="connsiteX16552" y="connsiteY16552"/>
              </a:cxn>
              <a:cxn ang="0">
                <a:pos x="connsiteX16553" y="connsiteY16553"/>
              </a:cxn>
              <a:cxn ang="0">
                <a:pos x="connsiteX16554" y="connsiteY16554"/>
              </a:cxn>
              <a:cxn ang="0">
                <a:pos x="connsiteX16555" y="connsiteY16555"/>
              </a:cxn>
              <a:cxn ang="0">
                <a:pos x="connsiteX16556" y="connsiteY16556"/>
              </a:cxn>
              <a:cxn ang="0">
                <a:pos x="connsiteX16557" y="connsiteY16557"/>
              </a:cxn>
              <a:cxn ang="0">
                <a:pos x="connsiteX16558" y="connsiteY16558"/>
              </a:cxn>
              <a:cxn ang="0">
                <a:pos x="connsiteX16559" y="connsiteY16559"/>
              </a:cxn>
              <a:cxn ang="0">
                <a:pos x="connsiteX16560" y="connsiteY16560"/>
              </a:cxn>
              <a:cxn ang="0">
                <a:pos x="connsiteX16561" y="connsiteY16561"/>
              </a:cxn>
              <a:cxn ang="0">
                <a:pos x="connsiteX16562" y="connsiteY16562"/>
              </a:cxn>
              <a:cxn ang="0">
                <a:pos x="connsiteX16563" y="connsiteY16563"/>
              </a:cxn>
              <a:cxn ang="0">
                <a:pos x="connsiteX16564" y="connsiteY16564"/>
              </a:cxn>
              <a:cxn ang="0">
                <a:pos x="connsiteX16565" y="connsiteY16565"/>
              </a:cxn>
              <a:cxn ang="0">
                <a:pos x="connsiteX16566" y="connsiteY16566"/>
              </a:cxn>
              <a:cxn ang="0">
                <a:pos x="connsiteX16567" y="connsiteY16567"/>
              </a:cxn>
              <a:cxn ang="0">
                <a:pos x="connsiteX16568" y="connsiteY16568"/>
              </a:cxn>
              <a:cxn ang="0">
                <a:pos x="connsiteX16569" y="connsiteY16569"/>
              </a:cxn>
              <a:cxn ang="0">
                <a:pos x="connsiteX16570" y="connsiteY16570"/>
              </a:cxn>
              <a:cxn ang="0">
                <a:pos x="connsiteX16571" y="connsiteY16571"/>
              </a:cxn>
              <a:cxn ang="0">
                <a:pos x="connsiteX16572" y="connsiteY16572"/>
              </a:cxn>
              <a:cxn ang="0">
                <a:pos x="connsiteX16573" y="connsiteY16573"/>
              </a:cxn>
              <a:cxn ang="0">
                <a:pos x="connsiteX16574" y="connsiteY16574"/>
              </a:cxn>
              <a:cxn ang="0">
                <a:pos x="connsiteX16575" y="connsiteY16575"/>
              </a:cxn>
              <a:cxn ang="0">
                <a:pos x="connsiteX16576" y="connsiteY16576"/>
              </a:cxn>
              <a:cxn ang="0">
                <a:pos x="connsiteX16577" y="connsiteY16577"/>
              </a:cxn>
              <a:cxn ang="0">
                <a:pos x="connsiteX16578" y="connsiteY16578"/>
              </a:cxn>
              <a:cxn ang="0">
                <a:pos x="connsiteX16579" y="connsiteY16579"/>
              </a:cxn>
              <a:cxn ang="0">
                <a:pos x="connsiteX16580" y="connsiteY16580"/>
              </a:cxn>
              <a:cxn ang="0">
                <a:pos x="connsiteX16581" y="connsiteY16581"/>
              </a:cxn>
              <a:cxn ang="0">
                <a:pos x="connsiteX16582" y="connsiteY16582"/>
              </a:cxn>
              <a:cxn ang="0">
                <a:pos x="connsiteX16583" y="connsiteY16583"/>
              </a:cxn>
              <a:cxn ang="0">
                <a:pos x="connsiteX16584" y="connsiteY16584"/>
              </a:cxn>
              <a:cxn ang="0">
                <a:pos x="connsiteX16585" y="connsiteY16585"/>
              </a:cxn>
              <a:cxn ang="0">
                <a:pos x="connsiteX16586" y="connsiteY16586"/>
              </a:cxn>
              <a:cxn ang="0">
                <a:pos x="connsiteX16587" y="connsiteY16587"/>
              </a:cxn>
              <a:cxn ang="0">
                <a:pos x="connsiteX16588" y="connsiteY16588"/>
              </a:cxn>
              <a:cxn ang="0">
                <a:pos x="connsiteX16589" y="connsiteY16589"/>
              </a:cxn>
              <a:cxn ang="0">
                <a:pos x="connsiteX16590" y="connsiteY16590"/>
              </a:cxn>
              <a:cxn ang="0">
                <a:pos x="connsiteX16591" y="connsiteY16591"/>
              </a:cxn>
              <a:cxn ang="0">
                <a:pos x="connsiteX16592" y="connsiteY16592"/>
              </a:cxn>
              <a:cxn ang="0">
                <a:pos x="connsiteX16593" y="connsiteY16593"/>
              </a:cxn>
              <a:cxn ang="0">
                <a:pos x="connsiteX16594" y="connsiteY16594"/>
              </a:cxn>
              <a:cxn ang="0">
                <a:pos x="connsiteX16595" y="connsiteY16595"/>
              </a:cxn>
              <a:cxn ang="0">
                <a:pos x="connsiteX16596" y="connsiteY16596"/>
              </a:cxn>
              <a:cxn ang="0">
                <a:pos x="connsiteX16597" y="connsiteY16597"/>
              </a:cxn>
              <a:cxn ang="0">
                <a:pos x="connsiteX16598" y="connsiteY16598"/>
              </a:cxn>
              <a:cxn ang="0">
                <a:pos x="connsiteX16599" y="connsiteY16599"/>
              </a:cxn>
              <a:cxn ang="0">
                <a:pos x="connsiteX16600" y="connsiteY16600"/>
              </a:cxn>
              <a:cxn ang="0">
                <a:pos x="connsiteX16601" y="connsiteY16601"/>
              </a:cxn>
              <a:cxn ang="0">
                <a:pos x="connsiteX16602" y="connsiteY16602"/>
              </a:cxn>
              <a:cxn ang="0">
                <a:pos x="connsiteX16603" y="connsiteY16603"/>
              </a:cxn>
              <a:cxn ang="0">
                <a:pos x="connsiteX16604" y="connsiteY16604"/>
              </a:cxn>
              <a:cxn ang="0">
                <a:pos x="connsiteX16605" y="connsiteY16605"/>
              </a:cxn>
              <a:cxn ang="0">
                <a:pos x="connsiteX16606" y="connsiteY16606"/>
              </a:cxn>
              <a:cxn ang="0">
                <a:pos x="connsiteX16607" y="connsiteY16607"/>
              </a:cxn>
              <a:cxn ang="0">
                <a:pos x="connsiteX16608" y="connsiteY16608"/>
              </a:cxn>
              <a:cxn ang="0">
                <a:pos x="connsiteX16609" y="connsiteY16609"/>
              </a:cxn>
              <a:cxn ang="0">
                <a:pos x="connsiteX16610" y="connsiteY16610"/>
              </a:cxn>
              <a:cxn ang="0">
                <a:pos x="connsiteX16611" y="connsiteY16611"/>
              </a:cxn>
              <a:cxn ang="0">
                <a:pos x="connsiteX16612" y="connsiteY16612"/>
              </a:cxn>
              <a:cxn ang="0">
                <a:pos x="connsiteX16613" y="connsiteY16613"/>
              </a:cxn>
              <a:cxn ang="0">
                <a:pos x="connsiteX16614" y="connsiteY16614"/>
              </a:cxn>
              <a:cxn ang="0">
                <a:pos x="connsiteX16615" y="connsiteY16615"/>
              </a:cxn>
              <a:cxn ang="0">
                <a:pos x="connsiteX16616" y="connsiteY16616"/>
              </a:cxn>
              <a:cxn ang="0">
                <a:pos x="connsiteX16617" y="connsiteY16617"/>
              </a:cxn>
              <a:cxn ang="0">
                <a:pos x="connsiteX16618" y="connsiteY16618"/>
              </a:cxn>
              <a:cxn ang="0">
                <a:pos x="connsiteX16619" y="connsiteY16619"/>
              </a:cxn>
              <a:cxn ang="0">
                <a:pos x="connsiteX16620" y="connsiteY16620"/>
              </a:cxn>
              <a:cxn ang="0">
                <a:pos x="connsiteX16621" y="connsiteY16621"/>
              </a:cxn>
              <a:cxn ang="0">
                <a:pos x="connsiteX16622" y="connsiteY16622"/>
              </a:cxn>
              <a:cxn ang="0">
                <a:pos x="connsiteX16623" y="connsiteY16623"/>
              </a:cxn>
              <a:cxn ang="0">
                <a:pos x="connsiteX16624" y="connsiteY16624"/>
              </a:cxn>
              <a:cxn ang="0">
                <a:pos x="connsiteX16625" y="connsiteY16625"/>
              </a:cxn>
              <a:cxn ang="0">
                <a:pos x="connsiteX16626" y="connsiteY16626"/>
              </a:cxn>
              <a:cxn ang="0">
                <a:pos x="connsiteX16627" y="connsiteY16627"/>
              </a:cxn>
              <a:cxn ang="0">
                <a:pos x="connsiteX16628" y="connsiteY16628"/>
              </a:cxn>
              <a:cxn ang="0">
                <a:pos x="connsiteX16629" y="connsiteY16629"/>
              </a:cxn>
              <a:cxn ang="0">
                <a:pos x="connsiteX16630" y="connsiteY16630"/>
              </a:cxn>
              <a:cxn ang="0">
                <a:pos x="connsiteX16631" y="connsiteY16631"/>
              </a:cxn>
              <a:cxn ang="0">
                <a:pos x="connsiteX16632" y="connsiteY16632"/>
              </a:cxn>
              <a:cxn ang="0">
                <a:pos x="connsiteX16633" y="connsiteY16633"/>
              </a:cxn>
              <a:cxn ang="0">
                <a:pos x="connsiteX16634" y="connsiteY16634"/>
              </a:cxn>
              <a:cxn ang="0">
                <a:pos x="connsiteX16635" y="connsiteY16635"/>
              </a:cxn>
              <a:cxn ang="0">
                <a:pos x="connsiteX16636" y="connsiteY16636"/>
              </a:cxn>
              <a:cxn ang="0">
                <a:pos x="connsiteX16637" y="connsiteY16637"/>
              </a:cxn>
              <a:cxn ang="0">
                <a:pos x="connsiteX16638" y="connsiteY16638"/>
              </a:cxn>
              <a:cxn ang="0">
                <a:pos x="connsiteX16639" y="connsiteY16639"/>
              </a:cxn>
              <a:cxn ang="0">
                <a:pos x="connsiteX16640" y="connsiteY16640"/>
              </a:cxn>
              <a:cxn ang="0">
                <a:pos x="connsiteX16641" y="connsiteY16641"/>
              </a:cxn>
              <a:cxn ang="0">
                <a:pos x="connsiteX16642" y="connsiteY16642"/>
              </a:cxn>
              <a:cxn ang="0">
                <a:pos x="connsiteX16643" y="connsiteY16643"/>
              </a:cxn>
              <a:cxn ang="0">
                <a:pos x="connsiteX16644" y="connsiteY16644"/>
              </a:cxn>
              <a:cxn ang="0">
                <a:pos x="connsiteX16645" y="connsiteY16645"/>
              </a:cxn>
              <a:cxn ang="0">
                <a:pos x="connsiteX16646" y="connsiteY16646"/>
              </a:cxn>
              <a:cxn ang="0">
                <a:pos x="connsiteX16647" y="connsiteY16647"/>
              </a:cxn>
              <a:cxn ang="0">
                <a:pos x="connsiteX16648" y="connsiteY16648"/>
              </a:cxn>
              <a:cxn ang="0">
                <a:pos x="connsiteX16649" y="connsiteY16649"/>
              </a:cxn>
              <a:cxn ang="0">
                <a:pos x="connsiteX16650" y="connsiteY16650"/>
              </a:cxn>
              <a:cxn ang="0">
                <a:pos x="connsiteX16651" y="connsiteY16651"/>
              </a:cxn>
              <a:cxn ang="0">
                <a:pos x="connsiteX16652" y="connsiteY16652"/>
              </a:cxn>
              <a:cxn ang="0">
                <a:pos x="connsiteX16653" y="connsiteY16653"/>
              </a:cxn>
              <a:cxn ang="0">
                <a:pos x="connsiteX16654" y="connsiteY16654"/>
              </a:cxn>
              <a:cxn ang="0">
                <a:pos x="connsiteX16655" y="connsiteY16655"/>
              </a:cxn>
              <a:cxn ang="0">
                <a:pos x="connsiteX16656" y="connsiteY16656"/>
              </a:cxn>
              <a:cxn ang="0">
                <a:pos x="connsiteX16657" y="connsiteY16657"/>
              </a:cxn>
              <a:cxn ang="0">
                <a:pos x="connsiteX16658" y="connsiteY16658"/>
              </a:cxn>
              <a:cxn ang="0">
                <a:pos x="connsiteX16659" y="connsiteY16659"/>
              </a:cxn>
              <a:cxn ang="0">
                <a:pos x="connsiteX16660" y="connsiteY16660"/>
              </a:cxn>
              <a:cxn ang="0">
                <a:pos x="connsiteX16661" y="connsiteY16661"/>
              </a:cxn>
              <a:cxn ang="0">
                <a:pos x="connsiteX16662" y="connsiteY16662"/>
              </a:cxn>
              <a:cxn ang="0">
                <a:pos x="connsiteX16663" y="connsiteY16663"/>
              </a:cxn>
              <a:cxn ang="0">
                <a:pos x="connsiteX16664" y="connsiteY16664"/>
              </a:cxn>
              <a:cxn ang="0">
                <a:pos x="connsiteX16665" y="connsiteY16665"/>
              </a:cxn>
              <a:cxn ang="0">
                <a:pos x="connsiteX16666" y="connsiteY16666"/>
              </a:cxn>
              <a:cxn ang="0">
                <a:pos x="connsiteX16667" y="connsiteY16667"/>
              </a:cxn>
              <a:cxn ang="0">
                <a:pos x="connsiteX16668" y="connsiteY16668"/>
              </a:cxn>
              <a:cxn ang="0">
                <a:pos x="connsiteX16669" y="connsiteY16669"/>
              </a:cxn>
              <a:cxn ang="0">
                <a:pos x="connsiteX16670" y="connsiteY16670"/>
              </a:cxn>
              <a:cxn ang="0">
                <a:pos x="connsiteX16671" y="connsiteY16671"/>
              </a:cxn>
              <a:cxn ang="0">
                <a:pos x="connsiteX16672" y="connsiteY16672"/>
              </a:cxn>
              <a:cxn ang="0">
                <a:pos x="connsiteX16673" y="connsiteY16673"/>
              </a:cxn>
              <a:cxn ang="0">
                <a:pos x="connsiteX16674" y="connsiteY16674"/>
              </a:cxn>
              <a:cxn ang="0">
                <a:pos x="connsiteX16675" y="connsiteY16675"/>
              </a:cxn>
              <a:cxn ang="0">
                <a:pos x="connsiteX16676" y="connsiteY16676"/>
              </a:cxn>
              <a:cxn ang="0">
                <a:pos x="connsiteX16677" y="connsiteY16677"/>
              </a:cxn>
              <a:cxn ang="0">
                <a:pos x="connsiteX16678" y="connsiteY16678"/>
              </a:cxn>
              <a:cxn ang="0">
                <a:pos x="connsiteX16679" y="connsiteY16679"/>
              </a:cxn>
              <a:cxn ang="0">
                <a:pos x="connsiteX16680" y="connsiteY16680"/>
              </a:cxn>
              <a:cxn ang="0">
                <a:pos x="connsiteX16681" y="connsiteY16681"/>
              </a:cxn>
              <a:cxn ang="0">
                <a:pos x="connsiteX16682" y="connsiteY16682"/>
              </a:cxn>
              <a:cxn ang="0">
                <a:pos x="connsiteX16683" y="connsiteY16683"/>
              </a:cxn>
              <a:cxn ang="0">
                <a:pos x="connsiteX16684" y="connsiteY16684"/>
              </a:cxn>
              <a:cxn ang="0">
                <a:pos x="connsiteX16685" y="connsiteY16685"/>
              </a:cxn>
              <a:cxn ang="0">
                <a:pos x="connsiteX16686" y="connsiteY16686"/>
              </a:cxn>
              <a:cxn ang="0">
                <a:pos x="connsiteX16687" y="connsiteY16687"/>
              </a:cxn>
              <a:cxn ang="0">
                <a:pos x="connsiteX16688" y="connsiteY16688"/>
              </a:cxn>
              <a:cxn ang="0">
                <a:pos x="connsiteX16689" y="connsiteY16689"/>
              </a:cxn>
              <a:cxn ang="0">
                <a:pos x="connsiteX16690" y="connsiteY16690"/>
              </a:cxn>
              <a:cxn ang="0">
                <a:pos x="connsiteX16691" y="connsiteY16691"/>
              </a:cxn>
              <a:cxn ang="0">
                <a:pos x="connsiteX16692" y="connsiteY16692"/>
              </a:cxn>
              <a:cxn ang="0">
                <a:pos x="connsiteX16693" y="connsiteY16693"/>
              </a:cxn>
              <a:cxn ang="0">
                <a:pos x="connsiteX16694" y="connsiteY16694"/>
              </a:cxn>
              <a:cxn ang="0">
                <a:pos x="connsiteX16695" y="connsiteY16695"/>
              </a:cxn>
              <a:cxn ang="0">
                <a:pos x="connsiteX16696" y="connsiteY16696"/>
              </a:cxn>
              <a:cxn ang="0">
                <a:pos x="connsiteX16697" y="connsiteY16697"/>
              </a:cxn>
              <a:cxn ang="0">
                <a:pos x="connsiteX16698" y="connsiteY16698"/>
              </a:cxn>
              <a:cxn ang="0">
                <a:pos x="connsiteX16699" y="connsiteY16699"/>
              </a:cxn>
              <a:cxn ang="0">
                <a:pos x="connsiteX16700" y="connsiteY16700"/>
              </a:cxn>
              <a:cxn ang="0">
                <a:pos x="connsiteX16701" y="connsiteY16701"/>
              </a:cxn>
              <a:cxn ang="0">
                <a:pos x="connsiteX16702" y="connsiteY16702"/>
              </a:cxn>
              <a:cxn ang="0">
                <a:pos x="connsiteX16703" y="connsiteY16703"/>
              </a:cxn>
              <a:cxn ang="0">
                <a:pos x="connsiteX16704" y="connsiteY16704"/>
              </a:cxn>
              <a:cxn ang="0">
                <a:pos x="connsiteX16705" y="connsiteY16705"/>
              </a:cxn>
              <a:cxn ang="0">
                <a:pos x="connsiteX16706" y="connsiteY16706"/>
              </a:cxn>
              <a:cxn ang="0">
                <a:pos x="connsiteX16707" y="connsiteY16707"/>
              </a:cxn>
              <a:cxn ang="0">
                <a:pos x="connsiteX16708" y="connsiteY16708"/>
              </a:cxn>
              <a:cxn ang="0">
                <a:pos x="connsiteX16709" y="connsiteY16709"/>
              </a:cxn>
              <a:cxn ang="0">
                <a:pos x="connsiteX16710" y="connsiteY16710"/>
              </a:cxn>
              <a:cxn ang="0">
                <a:pos x="connsiteX16711" y="connsiteY16711"/>
              </a:cxn>
              <a:cxn ang="0">
                <a:pos x="connsiteX16712" y="connsiteY16712"/>
              </a:cxn>
              <a:cxn ang="0">
                <a:pos x="connsiteX16713" y="connsiteY16713"/>
              </a:cxn>
              <a:cxn ang="0">
                <a:pos x="connsiteX16714" y="connsiteY16714"/>
              </a:cxn>
              <a:cxn ang="0">
                <a:pos x="connsiteX16715" y="connsiteY16715"/>
              </a:cxn>
              <a:cxn ang="0">
                <a:pos x="connsiteX16716" y="connsiteY16716"/>
              </a:cxn>
              <a:cxn ang="0">
                <a:pos x="connsiteX16717" y="connsiteY16717"/>
              </a:cxn>
              <a:cxn ang="0">
                <a:pos x="connsiteX16718" y="connsiteY16718"/>
              </a:cxn>
              <a:cxn ang="0">
                <a:pos x="connsiteX16719" y="connsiteY16719"/>
              </a:cxn>
              <a:cxn ang="0">
                <a:pos x="connsiteX16720" y="connsiteY16720"/>
              </a:cxn>
              <a:cxn ang="0">
                <a:pos x="connsiteX16721" y="connsiteY16721"/>
              </a:cxn>
              <a:cxn ang="0">
                <a:pos x="connsiteX16722" y="connsiteY16722"/>
              </a:cxn>
              <a:cxn ang="0">
                <a:pos x="connsiteX16723" y="connsiteY16723"/>
              </a:cxn>
              <a:cxn ang="0">
                <a:pos x="connsiteX16724" y="connsiteY16724"/>
              </a:cxn>
              <a:cxn ang="0">
                <a:pos x="connsiteX16725" y="connsiteY16725"/>
              </a:cxn>
              <a:cxn ang="0">
                <a:pos x="connsiteX16726" y="connsiteY16726"/>
              </a:cxn>
              <a:cxn ang="0">
                <a:pos x="connsiteX16727" y="connsiteY16727"/>
              </a:cxn>
              <a:cxn ang="0">
                <a:pos x="connsiteX16728" y="connsiteY16728"/>
              </a:cxn>
              <a:cxn ang="0">
                <a:pos x="connsiteX16729" y="connsiteY16729"/>
              </a:cxn>
              <a:cxn ang="0">
                <a:pos x="connsiteX16730" y="connsiteY16730"/>
              </a:cxn>
              <a:cxn ang="0">
                <a:pos x="connsiteX16731" y="connsiteY16731"/>
              </a:cxn>
              <a:cxn ang="0">
                <a:pos x="connsiteX16732" y="connsiteY16732"/>
              </a:cxn>
              <a:cxn ang="0">
                <a:pos x="connsiteX16733" y="connsiteY16733"/>
              </a:cxn>
              <a:cxn ang="0">
                <a:pos x="connsiteX16734" y="connsiteY16734"/>
              </a:cxn>
              <a:cxn ang="0">
                <a:pos x="connsiteX16735" y="connsiteY16735"/>
              </a:cxn>
              <a:cxn ang="0">
                <a:pos x="connsiteX16736" y="connsiteY16736"/>
              </a:cxn>
              <a:cxn ang="0">
                <a:pos x="connsiteX16737" y="connsiteY16737"/>
              </a:cxn>
              <a:cxn ang="0">
                <a:pos x="connsiteX16738" y="connsiteY16738"/>
              </a:cxn>
              <a:cxn ang="0">
                <a:pos x="connsiteX16739" y="connsiteY16739"/>
              </a:cxn>
              <a:cxn ang="0">
                <a:pos x="connsiteX16740" y="connsiteY16740"/>
              </a:cxn>
              <a:cxn ang="0">
                <a:pos x="connsiteX16741" y="connsiteY16741"/>
              </a:cxn>
              <a:cxn ang="0">
                <a:pos x="connsiteX16742" y="connsiteY16742"/>
              </a:cxn>
              <a:cxn ang="0">
                <a:pos x="connsiteX16743" y="connsiteY16743"/>
              </a:cxn>
              <a:cxn ang="0">
                <a:pos x="connsiteX16744" y="connsiteY16744"/>
              </a:cxn>
              <a:cxn ang="0">
                <a:pos x="connsiteX16745" y="connsiteY16745"/>
              </a:cxn>
              <a:cxn ang="0">
                <a:pos x="connsiteX16746" y="connsiteY16746"/>
              </a:cxn>
              <a:cxn ang="0">
                <a:pos x="connsiteX16747" y="connsiteY16747"/>
              </a:cxn>
              <a:cxn ang="0">
                <a:pos x="connsiteX16748" y="connsiteY16748"/>
              </a:cxn>
              <a:cxn ang="0">
                <a:pos x="connsiteX16749" y="connsiteY16749"/>
              </a:cxn>
              <a:cxn ang="0">
                <a:pos x="connsiteX16750" y="connsiteY16750"/>
              </a:cxn>
              <a:cxn ang="0">
                <a:pos x="connsiteX16751" y="connsiteY16751"/>
              </a:cxn>
              <a:cxn ang="0">
                <a:pos x="connsiteX16752" y="connsiteY16752"/>
              </a:cxn>
              <a:cxn ang="0">
                <a:pos x="connsiteX16753" y="connsiteY16753"/>
              </a:cxn>
              <a:cxn ang="0">
                <a:pos x="connsiteX16754" y="connsiteY16754"/>
              </a:cxn>
              <a:cxn ang="0">
                <a:pos x="connsiteX16755" y="connsiteY16755"/>
              </a:cxn>
              <a:cxn ang="0">
                <a:pos x="connsiteX16756" y="connsiteY16756"/>
              </a:cxn>
              <a:cxn ang="0">
                <a:pos x="connsiteX16757" y="connsiteY16757"/>
              </a:cxn>
              <a:cxn ang="0">
                <a:pos x="connsiteX16758" y="connsiteY16758"/>
              </a:cxn>
              <a:cxn ang="0">
                <a:pos x="connsiteX16759" y="connsiteY16759"/>
              </a:cxn>
              <a:cxn ang="0">
                <a:pos x="connsiteX16760" y="connsiteY16760"/>
              </a:cxn>
              <a:cxn ang="0">
                <a:pos x="connsiteX16761" y="connsiteY16761"/>
              </a:cxn>
              <a:cxn ang="0">
                <a:pos x="connsiteX16762" y="connsiteY16762"/>
              </a:cxn>
              <a:cxn ang="0">
                <a:pos x="connsiteX16763" y="connsiteY16763"/>
              </a:cxn>
              <a:cxn ang="0">
                <a:pos x="connsiteX16764" y="connsiteY16764"/>
              </a:cxn>
              <a:cxn ang="0">
                <a:pos x="connsiteX16765" y="connsiteY16765"/>
              </a:cxn>
              <a:cxn ang="0">
                <a:pos x="connsiteX16766" y="connsiteY16766"/>
              </a:cxn>
              <a:cxn ang="0">
                <a:pos x="connsiteX16767" y="connsiteY16767"/>
              </a:cxn>
              <a:cxn ang="0">
                <a:pos x="connsiteX16768" y="connsiteY16768"/>
              </a:cxn>
              <a:cxn ang="0">
                <a:pos x="connsiteX16769" y="connsiteY16769"/>
              </a:cxn>
              <a:cxn ang="0">
                <a:pos x="connsiteX16770" y="connsiteY16770"/>
              </a:cxn>
              <a:cxn ang="0">
                <a:pos x="connsiteX16771" y="connsiteY16771"/>
              </a:cxn>
              <a:cxn ang="0">
                <a:pos x="connsiteX16772" y="connsiteY16772"/>
              </a:cxn>
              <a:cxn ang="0">
                <a:pos x="connsiteX16773" y="connsiteY16773"/>
              </a:cxn>
              <a:cxn ang="0">
                <a:pos x="connsiteX16774" y="connsiteY16774"/>
              </a:cxn>
              <a:cxn ang="0">
                <a:pos x="connsiteX16775" y="connsiteY16775"/>
              </a:cxn>
              <a:cxn ang="0">
                <a:pos x="connsiteX16776" y="connsiteY16776"/>
              </a:cxn>
              <a:cxn ang="0">
                <a:pos x="connsiteX16777" y="connsiteY16777"/>
              </a:cxn>
              <a:cxn ang="0">
                <a:pos x="connsiteX16778" y="connsiteY16778"/>
              </a:cxn>
              <a:cxn ang="0">
                <a:pos x="connsiteX16779" y="connsiteY16779"/>
              </a:cxn>
              <a:cxn ang="0">
                <a:pos x="connsiteX16780" y="connsiteY16780"/>
              </a:cxn>
              <a:cxn ang="0">
                <a:pos x="connsiteX16781" y="connsiteY16781"/>
              </a:cxn>
              <a:cxn ang="0">
                <a:pos x="connsiteX16782" y="connsiteY16782"/>
              </a:cxn>
              <a:cxn ang="0">
                <a:pos x="connsiteX16783" y="connsiteY16783"/>
              </a:cxn>
              <a:cxn ang="0">
                <a:pos x="connsiteX16784" y="connsiteY16784"/>
              </a:cxn>
              <a:cxn ang="0">
                <a:pos x="connsiteX16785" y="connsiteY16785"/>
              </a:cxn>
              <a:cxn ang="0">
                <a:pos x="connsiteX16786" y="connsiteY16786"/>
              </a:cxn>
              <a:cxn ang="0">
                <a:pos x="connsiteX16787" y="connsiteY16787"/>
              </a:cxn>
              <a:cxn ang="0">
                <a:pos x="connsiteX16788" y="connsiteY16788"/>
              </a:cxn>
              <a:cxn ang="0">
                <a:pos x="connsiteX16789" y="connsiteY16789"/>
              </a:cxn>
              <a:cxn ang="0">
                <a:pos x="connsiteX16790" y="connsiteY16790"/>
              </a:cxn>
              <a:cxn ang="0">
                <a:pos x="connsiteX16791" y="connsiteY16791"/>
              </a:cxn>
              <a:cxn ang="0">
                <a:pos x="connsiteX16792" y="connsiteY16792"/>
              </a:cxn>
              <a:cxn ang="0">
                <a:pos x="connsiteX16793" y="connsiteY16793"/>
              </a:cxn>
              <a:cxn ang="0">
                <a:pos x="connsiteX16794" y="connsiteY16794"/>
              </a:cxn>
              <a:cxn ang="0">
                <a:pos x="connsiteX16795" y="connsiteY16795"/>
              </a:cxn>
              <a:cxn ang="0">
                <a:pos x="connsiteX16796" y="connsiteY16796"/>
              </a:cxn>
              <a:cxn ang="0">
                <a:pos x="connsiteX16797" y="connsiteY16797"/>
              </a:cxn>
              <a:cxn ang="0">
                <a:pos x="connsiteX16798" y="connsiteY16798"/>
              </a:cxn>
              <a:cxn ang="0">
                <a:pos x="connsiteX16799" y="connsiteY16799"/>
              </a:cxn>
              <a:cxn ang="0">
                <a:pos x="connsiteX16800" y="connsiteY16800"/>
              </a:cxn>
              <a:cxn ang="0">
                <a:pos x="connsiteX16801" y="connsiteY16801"/>
              </a:cxn>
              <a:cxn ang="0">
                <a:pos x="connsiteX16802" y="connsiteY16802"/>
              </a:cxn>
              <a:cxn ang="0">
                <a:pos x="connsiteX16803" y="connsiteY16803"/>
              </a:cxn>
              <a:cxn ang="0">
                <a:pos x="connsiteX16804" y="connsiteY16804"/>
              </a:cxn>
              <a:cxn ang="0">
                <a:pos x="connsiteX16805" y="connsiteY16805"/>
              </a:cxn>
              <a:cxn ang="0">
                <a:pos x="connsiteX16806" y="connsiteY16806"/>
              </a:cxn>
              <a:cxn ang="0">
                <a:pos x="connsiteX16807" y="connsiteY16807"/>
              </a:cxn>
              <a:cxn ang="0">
                <a:pos x="connsiteX16808" y="connsiteY16808"/>
              </a:cxn>
              <a:cxn ang="0">
                <a:pos x="connsiteX16809" y="connsiteY16809"/>
              </a:cxn>
              <a:cxn ang="0">
                <a:pos x="connsiteX16810" y="connsiteY16810"/>
              </a:cxn>
              <a:cxn ang="0">
                <a:pos x="connsiteX16811" y="connsiteY16811"/>
              </a:cxn>
              <a:cxn ang="0">
                <a:pos x="connsiteX16812" y="connsiteY16812"/>
              </a:cxn>
              <a:cxn ang="0">
                <a:pos x="connsiteX16813" y="connsiteY16813"/>
              </a:cxn>
              <a:cxn ang="0">
                <a:pos x="connsiteX16814" y="connsiteY16814"/>
              </a:cxn>
              <a:cxn ang="0">
                <a:pos x="connsiteX16815" y="connsiteY16815"/>
              </a:cxn>
              <a:cxn ang="0">
                <a:pos x="connsiteX16816" y="connsiteY16816"/>
              </a:cxn>
              <a:cxn ang="0">
                <a:pos x="connsiteX16817" y="connsiteY16817"/>
              </a:cxn>
              <a:cxn ang="0">
                <a:pos x="connsiteX16818" y="connsiteY16818"/>
              </a:cxn>
              <a:cxn ang="0">
                <a:pos x="connsiteX16819" y="connsiteY16819"/>
              </a:cxn>
              <a:cxn ang="0">
                <a:pos x="connsiteX16820" y="connsiteY16820"/>
              </a:cxn>
              <a:cxn ang="0">
                <a:pos x="connsiteX16821" y="connsiteY16821"/>
              </a:cxn>
              <a:cxn ang="0">
                <a:pos x="connsiteX16822" y="connsiteY16822"/>
              </a:cxn>
              <a:cxn ang="0">
                <a:pos x="connsiteX16823" y="connsiteY16823"/>
              </a:cxn>
              <a:cxn ang="0">
                <a:pos x="connsiteX16824" y="connsiteY16824"/>
              </a:cxn>
              <a:cxn ang="0">
                <a:pos x="connsiteX16825" y="connsiteY16825"/>
              </a:cxn>
              <a:cxn ang="0">
                <a:pos x="connsiteX16826" y="connsiteY16826"/>
              </a:cxn>
              <a:cxn ang="0">
                <a:pos x="connsiteX16827" y="connsiteY16827"/>
              </a:cxn>
              <a:cxn ang="0">
                <a:pos x="connsiteX16828" y="connsiteY16828"/>
              </a:cxn>
              <a:cxn ang="0">
                <a:pos x="connsiteX16829" y="connsiteY16829"/>
              </a:cxn>
              <a:cxn ang="0">
                <a:pos x="connsiteX16830" y="connsiteY16830"/>
              </a:cxn>
              <a:cxn ang="0">
                <a:pos x="connsiteX16831" y="connsiteY16831"/>
              </a:cxn>
              <a:cxn ang="0">
                <a:pos x="connsiteX16832" y="connsiteY16832"/>
              </a:cxn>
              <a:cxn ang="0">
                <a:pos x="connsiteX16833" y="connsiteY16833"/>
              </a:cxn>
              <a:cxn ang="0">
                <a:pos x="connsiteX16834" y="connsiteY16834"/>
              </a:cxn>
              <a:cxn ang="0">
                <a:pos x="connsiteX16835" y="connsiteY16835"/>
              </a:cxn>
              <a:cxn ang="0">
                <a:pos x="connsiteX16836" y="connsiteY16836"/>
              </a:cxn>
              <a:cxn ang="0">
                <a:pos x="connsiteX16837" y="connsiteY16837"/>
              </a:cxn>
              <a:cxn ang="0">
                <a:pos x="connsiteX16838" y="connsiteY16838"/>
              </a:cxn>
              <a:cxn ang="0">
                <a:pos x="connsiteX16839" y="connsiteY16839"/>
              </a:cxn>
              <a:cxn ang="0">
                <a:pos x="connsiteX16840" y="connsiteY16840"/>
              </a:cxn>
              <a:cxn ang="0">
                <a:pos x="connsiteX16841" y="connsiteY16841"/>
              </a:cxn>
              <a:cxn ang="0">
                <a:pos x="connsiteX16842" y="connsiteY16842"/>
              </a:cxn>
              <a:cxn ang="0">
                <a:pos x="connsiteX16843" y="connsiteY16843"/>
              </a:cxn>
              <a:cxn ang="0">
                <a:pos x="connsiteX16844" y="connsiteY16844"/>
              </a:cxn>
              <a:cxn ang="0">
                <a:pos x="connsiteX16845" y="connsiteY16845"/>
              </a:cxn>
              <a:cxn ang="0">
                <a:pos x="connsiteX16846" y="connsiteY16846"/>
              </a:cxn>
              <a:cxn ang="0">
                <a:pos x="connsiteX16847" y="connsiteY16847"/>
              </a:cxn>
              <a:cxn ang="0">
                <a:pos x="connsiteX16848" y="connsiteY16848"/>
              </a:cxn>
              <a:cxn ang="0">
                <a:pos x="connsiteX16849" y="connsiteY16849"/>
              </a:cxn>
              <a:cxn ang="0">
                <a:pos x="connsiteX16850" y="connsiteY16850"/>
              </a:cxn>
              <a:cxn ang="0">
                <a:pos x="connsiteX16851" y="connsiteY16851"/>
              </a:cxn>
              <a:cxn ang="0">
                <a:pos x="connsiteX16852" y="connsiteY16852"/>
              </a:cxn>
              <a:cxn ang="0">
                <a:pos x="connsiteX16853" y="connsiteY16853"/>
              </a:cxn>
              <a:cxn ang="0">
                <a:pos x="connsiteX16854" y="connsiteY16854"/>
              </a:cxn>
              <a:cxn ang="0">
                <a:pos x="connsiteX16855" y="connsiteY16855"/>
              </a:cxn>
              <a:cxn ang="0">
                <a:pos x="connsiteX16856" y="connsiteY16856"/>
              </a:cxn>
              <a:cxn ang="0">
                <a:pos x="connsiteX16857" y="connsiteY16857"/>
              </a:cxn>
              <a:cxn ang="0">
                <a:pos x="connsiteX16858" y="connsiteY16858"/>
              </a:cxn>
              <a:cxn ang="0">
                <a:pos x="connsiteX16859" y="connsiteY16859"/>
              </a:cxn>
              <a:cxn ang="0">
                <a:pos x="connsiteX16860" y="connsiteY16860"/>
              </a:cxn>
              <a:cxn ang="0">
                <a:pos x="connsiteX16861" y="connsiteY16861"/>
              </a:cxn>
              <a:cxn ang="0">
                <a:pos x="connsiteX16862" y="connsiteY16862"/>
              </a:cxn>
              <a:cxn ang="0">
                <a:pos x="connsiteX16863" y="connsiteY16863"/>
              </a:cxn>
              <a:cxn ang="0">
                <a:pos x="connsiteX16864" y="connsiteY16864"/>
              </a:cxn>
              <a:cxn ang="0">
                <a:pos x="connsiteX16865" y="connsiteY16865"/>
              </a:cxn>
              <a:cxn ang="0">
                <a:pos x="connsiteX16866" y="connsiteY16866"/>
              </a:cxn>
              <a:cxn ang="0">
                <a:pos x="connsiteX16867" y="connsiteY16867"/>
              </a:cxn>
              <a:cxn ang="0">
                <a:pos x="connsiteX16868" y="connsiteY16868"/>
              </a:cxn>
              <a:cxn ang="0">
                <a:pos x="connsiteX16869" y="connsiteY16869"/>
              </a:cxn>
              <a:cxn ang="0">
                <a:pos x="connsiteX16870" y="connsiteY16870"/>
              </a:cxn>
              <a:cxn ang="0">
                <a:pos x="connsiteX16871" y="connsiteY16871"/>
              </a:cxn>
              <a:cxn ang="0">
                <a:pos x="connsiteX16872" y="connsiteY16872"/>
              </a:cxn>
              <a:cxn ang="0">
                <a:pos x="connsiteX16873" y="connsiteY16873"/>
              </a:cxn>
              <a:cxn ang="0">
                <a:pos x="connsiteX16874" y="connsiteY16874"/>
              </a:cxn>
              <a:cxn ang="0">
                <a:pos x="connsiteX16875" y="connsiteY16875"/>
              </a:cxn>
              <a:cxn ang="0">
                <a:pos x="connsiteX16876" y="connsiteY16876"/>
              </a:cxn>
              <a:cxn ang="0">
                <a:pos x="connsiteX16877" y="connsiteY16877"/>
              </a:cxn>
              <a:cxn ang="0">
                <a:pos x="connsiteX16878" y="connsiteY16878"/>
              </a:cxn>
              <a:cxn ang="0">
                <a:pos x="connsiteX16879" y="connsiteY16879"/>
              </a:cxn>
              <a:cxn ang="0">
                <a:pos x="connsiteX16880" y="connsiteY16880"/>
              </a:cxn>
              <a:cxn ang="0">
                <a:pos x="connsiteX16881" y="connsiteY16881"/>
              </a:cxn>
              <a:cxn ang="0">
                <a:pos x="connsiteX16882" y="connsiteY16882"/>
              </a:cxn>
              <a:cxn ang="0">
                <a:pos x="connsiteX16883" y="connsiteY16883"/>
              </a:cxn>
              <a:cxn ang="0">
                <a:pos x="connsiteX16884" y="connsiteY16884"/>
              </a:cxn>
              <a:cxn ang="0">
                <a:pos x="connsiteX16885" y="connsiteY16885"/>
              </a:cxn>
              <a:cxn ang="0">
                <a:pos x="connsiteX16886" y="connsiteY16886"/>
              </a:cxn>
              <a:cxn ang="0">
                <a:pos x="connsiteX16887" y="connsiteY16887"/>
              </a:cxn>
              <a:cxn ang="0">
                <a:pos x="connsiteX16888" y="connsiteY16888"/>
              </a:cxn>
              <a:cxn ang="0">
                <a:pos x="connsiteX16889" y="connsiteY16889"/>
              </a:cxn>
              <a:cxn ang="0">
                <a:pos x="connsiteX16890" y="connsiteY16890"/>
              </a:cxn>
              <a:cxn ang="0">
                <a:pos x="connsiteX16891" y="connsiteY16891"/>
              </a:cxn>
              <a:cxn ang="0">
                <a:pos x="connsiteX16892" y="connsiteY16892"/>
              </a:cxn>
              <a:cxn ang="0">
                <a:pos x="connsiteX16893" y="connsiteY16893"/>
              </a:cxn>
              <a:cxn ang="0">
                <a:pos x="connsiteX16894" y="connsiteY16894"/>
              </a:cxn>
              <a:cxn ang="0">
                <a:pos x="connsiteX16895" y="connsiteY16895"/>
              </a:cxn>
              <a:cxn ang="0">
                <a:pos x="connsiteX16896" y="connsiteY16896"/>
              </a:cxn>
              <a:cxn ang="0">
                <a:pos x="connsiteX16897" y="connsiteY16897"/>
              </a:cxn>
              <a:cxn ang="0">
                <a:pos x="connsiteX16898" y="connsiteY16898"/>
              </a:cxn>
              <a:cxn ang="0">
                <a:pos x="connsiteX16899" y="connsiteY16899"/>
              </a:cxn>
              <a:cxn ang="0">
                <a:pos x="connsiteX16900" y="connsiteY16900"/>
              </a:cxn>
              <a:cxn ang="0">
                <a:pos x="connsiteX16901" y="connsiteY16901"/>
              </a:cxn>
              <a:cxn ang="0">
                <a:pos x="connsiteX16902" y="connsiteY16902"/>
              </a:cxn>
              <a:cxn ang="0">
                <a:pos x="connsiteX16903" y="connsiteY16903"/>
              </a:cxn>
              <a:cxn ang="0">
                <a:pos x="connsiteX16904" y="connsiteY16904"/>
              </a:cxn>
              <a:cxn ang="0">
                <a:pos x="connsiteX16905" y="connsiteY16905"/>
              </a:cxn>
              <a:cxn ang="0">
                <a:pos x="connsiteX16906" y="connsiteY16906"/>
              </a:cxn>
              <a:cxn ang="0">
                <a:pos x="connsiteX16907" y="connsiteY16907"/>
              </a:cxn>
              <a:cxn ang="0">
                <a:pos x="connsiteX16908" y="connsiteY16908"/>
              </a:cxn>
              <a:cxn ang="0">
                <a:pos x="connsiteX16909" y="connsiteY16909"/>
              </a:cxn>
              <a:cxn ang="0">
                <a:pos x="connsiteX16910" y="connsiteY16910"/>
              </a:cxn>
              <a:cxn ang="0">
                <a:pos x="connsiteX16911" y="connsiteY16911"/>
              </a:cxn>
              <a:cxn ang="0">
                <a:pos x="connsiteX16912" y="connsiteY16912"/>
              </a:cxn>
              <a:cxn ang="0">
                <a:pos x="connsiteX16913" y="connsiteY16913"/>
              </a:cxn>
              <a:cxn ang="0">
                <a:pos x="connsiteX16914" y="connsiteY16914"/>
              </a:cxn>
              <a:cxn ang="0">
                <a:pos x="connsiteX16915" y="connsiteY16915"/>
              </a:cxn>
              <a:cxn ang="0">
                <a:pos x="connsiteX16916" y="connsiteY16916"/>
              </a:cxn>
              <a:cxn ang="0">
                <a:pos x="connsiteX16917" y="connsiteY16917"/>
              </a:cxn>
              <a:cxn ang="0">
                <a:pos x="connsiteX16918" y="connsiteY16918"/>
              </a:cxn>
              <a:cxn ang="0">
                <a:pos x="connsiteX16919" y="connsiteY16919"/>
              </a:cxn>
              <a:cxn ang="0">
                <a:pos x="connsiteX16920" y="connsiteY16920"/>
              </a:cxn>
              <a:cxn ang="0">
                <a:pos x="connsiteX16921" y="connsiteY16921"/>
              </a:cxn>
              <a:cxn ang="0">
                <a:pos x="connsiteX16922" y="connsiteY16922"/>
              </a:cxn>
              <a:cxn ang="0">
                <a:pos x="connsiteX16923" y="connsiteY16923"/>
              </a:cxn>
              <a:cxn ang="0">
                <a:pos x="connsiteX16924" y="connsiteY16924"/>
              </a:cxn>
              <a:cxn ang="0">
                <a:pos x="connsiteX16925" y="connsiteY16925"/>
              </a:cxn>
              <a:cxn ang="0">
                <a:pos x="connsiteX16926" y="connsiteY16926"/>
              </a:cxn>
              <a:cxn ang="0">
                <a:pos x="connsiteX16927" y="connsiteY16927"/>
              </a:cxn>
              <a:cxn ang="0">
                <a:pos x="connsiteX16928" y="connsiteY16928"/>
              </a:cxn>
              <a:cxn ang="0">
                <a:pos x="connsiteX16929" y="connsiteY16929"/>
              </a:cxn>
              <a:cxn ang="0">
                <a:pos x="connsiteX16930" y="connsiteY16930"/>
              </a:cxn>
              <a:cxn ang="0">
                <a:pos x="connsiteX16931" y="connsiteY16931"/>
              </a:cxn>
              <a:cxn ang="0">
                <a:pos x="connsiteX16932" y="connsiteY16932"/>
              </a:cxn>
              <a:cxn ang="0">
                <a:pos x="connsiteX16933" y="connsiteY16933"/>
              </a:cxn>
              <a:cxn ang="0">
                <a:pos x="connsiteX16934" y="connsiteY16934"/>
              </a:cxn>
              <a:cxn ang="0">
                <a:pos x="connsiteX16935" y="connsiteY16935"/>
              </a:cxn>
              <a:cxn ang="0">
                <a:pos x="connsiteX16936" y="connsiteY16936"/>
              </a:cxn>
              <a:cxn ang="0">
                <a:pos x="connsiteX16937" y="connsiteY16937"/>
              </a:cxn>
              <a:cxn ang="0">
                <a:pos x="connsiteX16938" y="connsiteY16938"/>
              </a:cxn>
              <a:cxn ang="0">
                <a:pos x="connsiteX16939" y="connsiteY16939"/>
              </a:cxn>
              <a:cxn ang="0">
                <a:pos x="connsiteX16940" y="connsiteY16940"/>
              </a:cxn>
              <a:cxn ang="0">
                <a:pos x="connsiteX16941" y="connsiteY16941"/>
              </a:cxn>
              <a:cxn ang="0">
                <a:pos x="connsiteX16942" y="connsiteY16942"/>
              </a:cxn>
              <a:cxn ang="0">
                <a:pos x="connsiteX16943" y="connsiteY16943"/>
              </a:cxn>
              <a:cxn ang="0">
                <a:pos x="connsiteX16944" y="connsiteY16944"/>
              </a:cxn>
              <a:cxn ang="0">
                <a:pos x="connsiteX16945" y="connsiteY16945"/>
              </a:cxn>
              <a:cxn ang="0">
                <a:pos x="connsiteX16946" y="connsiteY16946"/>
              </a:cxn>
              <a:cxn ang="0">
                <a:pos x="connsiteX16947" y="connsiteY16947"/>
              </a:cxn>
              <a:cxn ang="0">
                <a:pos x="connsiteX16948" y="connsiteY16948"/>
              </a:cxn>
              <a:cxn ang="0">
                <a:pos x="connsiteX16949" y="connsiteY16949"/>
              </a:cxn>
              <a:cxn ang="0">
                <a:pos x="connsiteX16950" y="connsiteY16950"/>
              </a:cxn>
              <a:cxn ang="0">
                <a:pos x="connsiteX16951" y="connsiteY16951"/>
              </a:cxn>
              <a:cxn ang="0">
                <a:pos x="connsiteX16952" y="connsiteY16952"/>
              </a:cxn>
              <a:cxn ang="0">
                <a:pos x="connsiteX16953" y="connsiteY16953"/>
              </a:cxn>
              <a:cxn ang="0">
                <a:pos x="connsiteX16954" y="connsiteY16954"/>
              </a:cxn>
              <a:cxn ang="0">
                <a:pos x="connsiteX16955" y="connsiteY16955"/>
              </a:cxn>
              <a:cxn ang="0">
                <a:pos x="connsiteX16956" y="connsiteY16956"/>
              </a:cxn>
              <a:cxn ang="0">
                <a:pos x="connsiteX16957" y="connsiteY16957"/>
              </a:cxn>
              <a:cxn ang="0">
                <a:pos x="connsiteX16958" y="connsiteY16958"/>
              </a:cxn>
              <a:cxn ang="0">
                <a:pos x="connsiteX16959" y="connsiteY16959"/>
              </a:cxn>
              <a:cxn ang="0">
                <a:pos x="connsiteX16960" y="connsiteY16960"/>
              </a:cxn>
              <a:cxn ang="0">
                <a:pos x="connsiteX16961" y="connsiteY16961"/>
              </a:cxn>
              <a:cxn ang="0">
                <a:pos x="connsiteX16962" y="connsiteY16962"/>
              </a:cxn>
              <a:cxn ang="0">
                <a:pos x="connsiteX16963" y="connsiteY16963"/>
              </a:cxn>
              <a:cxn ang="0">
                <a:pos x="connsiteX16964" y="connsiteY16964"/>
              </a:cxn>
              <a:cxn ang="0">
                <a:pos x="connsiteX16965" y="connsiteY16965"/>
              </a:cxn>
              <a:cxn ang="0">
                <a:pos x="connsiteX16966" y="connsiteY16966"/>
              </a:cxn>
              <a:cxn ang="0">
                <a:pos x="connsiteX16967" y="connsiteY16967"/>
              </a:cxn>
              <a:cxn ang="0">
                <a:pos x="connsiteX16968" y="connsiteY16968"/>
              </a:cxn>
              <a:cxn ang="0">
                <a:pos x="connsiteX16969" y="connsiteY16969"/>
              </a:cxn>
              <a:cxn ang="0">
                <a:pos x="connsiteX16970" y="connsiteY16970"/>
              </a:cxn>
              <a:cxn ang="0">
                <a:pos x="connsiteX16971" y="connsiteY16971"/>
              </a:cxn>
              <a:cxn ang="0">
                <a:pos x="connsiteX16972" y="connsiteY16972"/>
              </a:cxn>
              <a:cxn ang="0">
                <a:pos x="connsiteX16973" y="connsiteY16973"/>
              </a:cxn>
              <a:cxn ang="0">
                <a:pos x="connsiteX16974" y="connsiteY16974"/>
              </a:cxn>
              <a:cxn ang="0">
                <a:pos x="connsiteX16975" y="connsiteY16975"/>
              </a:cxn>
              <a:cxn ang="0">
                <a:pos x="connsiteX16976" y="connsiteY16976"/>
              </a:cxn>
              <a:cxn ang="0">
                <a:pos x="connsiteX16977" y="connsiteY16977"/>
              </a:cxn>
              <a:cxn ang="0">
                <a:pos x="connsiteX16978" y="connsiteY16978"/>
              </a:cxn>
              <a:cxn ang="0">
                <a:pos x="connsiteX16979" y="connsiteY16979"/>
              </a:cxn>
              <a:cxn ang="0">
                <a:pos x="connsiteX16980" y="connsiteY16980"/>
              </a:cxn>
              <a:cxn ang="0">
                <a:pos x="connsiteX16981" y="connsiteY16981"/>
              </a:cxn>
              <a:cxn ang="0">
                <a:pos x="connsiteX16982" y="connsiteY16982"/>
              </a:cxn>
              <a:cxn ang="0">
                <a:pos x="connsiteX16983" y="connsiteY16983"/>
              </a:cxn>
              <a:cxn ang="0">
                <a:pos x="connsiteX16984" y="connsiteY16984"/>
              </a:cxn>
              <a:cxn ang="0">
                <a:pos x="connsiteX16985" y="connsiteY16985"/>
              </a:cxn>
              <a:cxn ang="0">
                <a:pos x="connsiteX16986" y="connsiteY16986"/>
              </a:cxn>
              <a:cxn ang="0">
                <a:pos x="connsiteX16987" y="connsiteY16987"/>
              </a:cxn>
              <a:cxn ang="0">
                <a:pos x="connsiteX16988" y="connsiteY16988"/>
              </a:cxn>
              <a:cxn ang="0">
                <a:pos x="connsiteX16989" y="connsiteY16989"/>
              </a:cxn>
              <a:cxn ang="0">
                <a:pos x="connsiteX16990" y="connsiteY16990"/>
              </a:cxn>
              <a:cxn ang="0">
                <a:pos x="connsiteX16991" y="connsiteY16991"/>
              </a:cxn>
              <a:cxn ang="0">
                <a:pos x="connsiteX16992" y="connsiteY16992"/>
              </a:cxn>
              <a:cxn ang="0">
                <a:pos x="connsiteX16993" y="connsiteY16993"/>
              </a:cxn>
              <a:cxn ang="0">
                <a:pos x="connsiteX16994" y="connsiteY16994"/>
              </a:cxn>
              <a:cxn ang="0">
                <a:pos x="connsiteX16995" y="connsiteY16995"/>
              </a:cxn>
              <a:cxn ang="0">
                <a:pos x="connsiteX16996" y="connsiteY16996"/>
              </a:cxn>
              <a:cxn ang="0">
                <a:pos x="connsiteX16997" y="connsiteY16997"/>
              </a:cxn>
              <a:cxn ang="0">
                <a:pos x="connsiteX16998" y="connsiteY16998"/>
              </a:cxn>
              <a:cxn ang="0">
                <a:pos x="connsiteX16999" y="connsiteY16999"/>
              </a:cxn>
              <a:cxn ang="0">
                <a:pos x="connsiteX17000" y="connsiteY17000"/>
              </a:cxn>
              <a:cxn ang="0">
                <a:pos x="connsiteX17001" y="connsiteY17001"/>
              </a:cxn>
              <a:cxn ang="0">
                <a:pos x="connsiteX17002" y="connsiteY17002"/>
              </a:cxn>
              <a:cxn ang="0">
                <a:pos x="connsiteX17003" y="connsiteY17003"/>
              </a:cxn>
              <a:cxn ang="0">
                <a:pos x="connsiteX17004" y="connsiteY17004"/>
              </a:cxn>
              <a:cxn ang="0">
                <a:pos x="connsiteX17005" y="connsiteY17005"/>
              </a:cxn>
              <a:cxn ang="0">
                <a:pos x="connsiteX17006" y="connsiteY17006"/>
              </a:cxn>
              <a:cxn ang="0">
                <a:pos x="connsiteX17007" y="connsiteY17007"/>
              </a:cxn>
              <a:cxn ang="0">
                <a:pos x="connsiteX17008" y="connsiteY17008"/>
              </a:cxn>
              <a:cxn ang="0">
                <a:pos x="connsiteX17009" y="connsiteY17009"/>
              </a:cxn>
              <a:cxn ang="0">
                <a:pos x="connsiteX17010" y="connsiteY17010"/>
              </a:cxn>
              <a:cxn ang="0">
                <a:pos x="connsiteX17011" y="connsiteY17011"/>
              </a:cxn>
              <a:cxn ang="0">
                <a:pos x="connsiteX17012" y="connsiteY17012"/>
              </a:cxn>
              <a:cxn ang="0">
                <a:pos x="connsiteX17013" y="connsiteY17013"/>
              </a:cxn>
              <a:cxn ang="0">
                <a:pos x="connsiteX17014" y="connsiteY17014"/>
              </a:cxn>
              <a:cxn ang="0">
                <a:pos x="connsiteX17015" y="connsiteY17015"/>
              </a:cxn>
              <a:cxn ang="0">
                <a:pos x="connsiteX17016" y="connsiteY17016"/>
              </a:cxn>
              <a:cxn ang="0">
                <a:pos x="connsiteX17017" y="connsiteY17017"/>
              </a:cxn>
              <a:cxn ang="0">
                <a:pos x="connsiteX17018" y="connsiteY17018"/>
              </a:cxn>
              <a:cxn ang="0">
                <a:pos x="connsiteX17019" y="connsiteY17019"/>
              </a:cxn>
              <a:cxn ang="0">
                <a:pos x="connsiteX17020" y="connsiteY17020"/>
              </a:cxn>
              <a:cxn ang="0">
                <a:pos x="connsiteX17021" y="connsiteY17021"/>
              </a:cxn>
              <a:cxn ang="0">
                <a:pos x="connsiteX17022" y="connsiteY17022"/>
              </a:cxn>
              <a:cxn ang="0">
                <a:pos x="connsiteX17023" y="connsiteY17023"/>
              </a:cxn>
              <a:cxn ang="0">
                <a:pos x="connsiteX17024" y="connsiteY17024"/>
              </a:cxn>
              <a:cxn ang="0">
                <a:pos x="connsiteX17025" y="connsiteY17025"/>
              </a:cxn>
              <a:cxn ang="0">
                <a:pos x="connsiteX17026" y="connsiteY17026"/>
              </a:cxn>
              <a:cxn ang="0">
                <a:pos x="connsiteX17027" y="connsiteY17027"/>
              </a:cxn>
              <a:cxn ang="0">
                <a:pos x="connsiteX17028" y="connsiteY17028"/>
              </a:cxn>
              <a:cxn ang="0">
                <a:pos x="connsiteX17029" y="connsiteY17029"/>
              </a:cxn>
              <a:cxn ang="0">
                <a:pos x="connsiteX17030" y="connsiteY17030"/>
              </a:cxn>
              <a:cxn ang="0">
                <a:pos x="connsiteX17031" y="connsiteY17031"/>
              </a:cxn>
              <a:cxn ang="0">
                <a:pos x="connsiteX17032" y="connsiteY17032"/>
              </a:cxn>
              <a:cxn ang="0">
                <a:pos x="connsiteX17033" y="connsiteY17033"/>
              </a:cxn>
              <a:cxn ang="0">
                <a:pos x="connsiteX17034" y="connsiteY17034"/>
              </a:cxn>
              <a:cxn ang="0">
                <a:pos x="connsiteX17035" y="connsiteY17035"/>
              </a:cxn>
              <a:cxn ang="0">
                <a:pos x="connsiteX17036" y="connsiteY17036"/>
              </a:cxn>
              <a:cxn ang="0">
                <a:pos x="connsiteX17037" y="connsiteY17037"/>
              </a:cxn>
              <a:cxn ang="0">
                <a:pos x="connsiteX17038" y="connsiteY17038"/>
              </a:cxn>
              <a:cxn ang="0">
                <a:pos x="connsiteX17039" y="connsiteY17039"/>
              </a:cxn>
              <a:cxn ang="0">
                <a:pos x="connsiteX17040" y="connsiteY17040"/>
              </a:cxn>
              <a:cxn ang="0">
                <a:pos x="connsiteX17041" y="connsiteY17041"/>
              </a:cxn>
              <a:cxn ang="0">
                <a:pos x="connsiteX17042" y="connsiteY17042"/>
              </a:cxn>
              <a:cxn ang="0">
                <a:pos x="connsiteX17043" y="connsiteY17043"/>
              </a:cxn>
              <a:cxn ang="0">
                <a:pos x="connsiteX17044" y="connsiteY17044"/>
              </a:cxn>
              <a:cxn ang="0">
                <a:pos x="connsiteX17045" y="connsiteY17045"/>
              </a:cxn>
              <a:cxn ang="0">
                <a:pos x="connsiteX17046" y="connsiteY17046"/>
              </a:cxn>
              <a:cxn ang="0">
                <a:pos x="connsiteX17047" y="connsiteY17047"/>
              </a:cxn>
              <a:cxn ang="0">
                <a:pos x="connsiteX17048" y="connsiteY17048"/>
              </a:cxn>
              <a:cxn ang="0">
                <a:pos x="connsiteX17049" y="connsiteY17049"/>
              </a:cxn>
              <a:cxn ang="0">
                <a:pos x="connsiteX17050" y="connsiteY17050"/>
              </a:cxn>
              <a:cxn ang="0">
                <a:pos x="connsiteX17051" y="connsiteY17051"/>
              </a:cxn>
              <a:cxn ang="0">
                <a:pos x="connsiteX17052" y="connsiteY17052"/>
              </a:cxn>
              <a:cxn ang="0">
                <a:pos x="connsiteX17053" y="connsiteY17053"/>
              </a:cxn>
              <a:cxn ang="0">
                <a:pos x="connsiteX17054" y="connsiteY17054"/>
              </a:cxn>
              <a:cxn ang="0">
                <a:pos x="connsiteX17055" y="connsiteY17055"/>
              </a:cxn>
              <a:cxn ang="0">
                <a:pos x="connsiteX17056" y="connsiteY17056"/>
              </a:cxn>
              <a:cxn ang="0">
                <a:pos x="connsiteX17057" y="connsiteY17057"/>
              </a:cxn>
              <a:cxn ang="0">
                <a:pos x="connsiteX17058" y="connsiteY17058"/>
              </a:cxn>
              <a:cxn ang="0">
                <a:pos x="connsiteX17059" y="connsiteY17059"/>
              </a:cxn>
              <a:cxn ang="0">
                <a:pos x="connsiteX17060" y="connsiteY17060"/>
              </a:cxn>
              <a:cxn ang="0">
                <a:pos x="connsiteX17061" y="connsiteY17061"/>
              </a:cxn>
              <a:cxn ang="0">
                <a:pos x="connsiteX17062" y="connsiteY17062"/>
              </a:cxn>
              <a:cxn ang="0">
                <a:pos x="connsiteX17063" y="connsiteY17063"/>
              </a:cxn>
              <a:cxn ang="0">
                <a:pos x="connsiteX17064" y="connsiteY17064"/>
              </a:cxn>
              <a:cxn ang="0">
                <a:pos x="connsiteX17065" y="connsiteY17065"/>
              </a:cxn>
              <a:cxn ang="0">
                <a:pos x="connsiteX17066" y="connsiteY17066"/>
              </a:cxn>
              <a:cxn ang="0">
                <a:pos x="connsiteX17067" y="connsiteY17067"/>
              </a:cxn>
              <a:cxn ang="0">
                <a:pos x="connsiteX17068" y="connsiteY17068"/>
              </a:cxn>
              <a:cxn ang="0">
                <a:pos x="connsiteX17069" y="connsiteY17069"/>
              </a:cxn>
              <a:cxn ang="0">
                <a:pos x="connsiteX17070" y="connsiteY17070"/>
              </a:cxn>
              <a:cxn ang="0">
                <a:pos x="connsiteX17071" y="connsiteY17071"/>
              </a:cxn>
              <a:cxn ang="0">
                <a:pos x="connsiteX17072" y="connsiteY17072"/>
              </a:cxn>
              <a:cxn ang="0">
                <a:pos x="connsiteX17073" y="connsiteY17073"/>
              </a:cxn>
              <a:cxn ang="0">
                <a:pos x="connsiteX17074" y="connsiteY17074"/>
              </a:cxn>
              <a:cxn ang="0">
                <a:pos x="connsiteX17075" y="connsiteY17075"/>
              </a:cxn>
              <a:cxn ang="0">
                <a:pos x="connsiteX17076" y="connsiteY17076"/>
              </a:cxn>
              <a:cxn ang="0">
                <a:pos x="connsiteX17077" y="connsiteY17077"/>
              </a:cxn>
              <a:cxn ang="0">
                <a:pos x="connsiteX17078" y="connsiteY17078"/>
              </a:cxn>
              <a:cxn ang="0">
                <a:pos x="connsiteX17079" y="connsiteY17079"/>
              </a:cxn>
              <a:cxn ang="0">
                <a:pos x="connsiteX17080" y="connsiteY17080"/>
              </a:cxn>
              <a:cxn ang="0">
                <a:pos x="connsiteX17081" y="connsiteY17081"/>
              </a:cxn>
              <a:cxn ang="0">
                <a:pos x="connsiteX17082" y="connsiteY17082"/>
              </a:cxn>
              <a:cxn ang="0">
                <a:pos x="connsiteX17083" y="connsiteY17083"/>
              </a:cxn>
              <a:cxn ang="0">
                <a:pos x="connsiteX17084" y="connsiteY17084"/>
              </a:cxn>
              <a:cxn ang="0">
                <a:pos x="connsiteX17085" y="connsiteY17085"/>
              </a:cxn>
              <a:cxn ang="0">
                <a:pos x="connsiteX17086" y="connsiteY17086"/>
              </a:cxn>
              <a:cxn ang="0">
                <a:pos x="connsiteX17087" y="connsiteY17087"/>
              </a:cxn>
              <a:cxn ang="0">
                <a:pos x="connsiteX17088" y="connsiteY17088"/>
              </a:cxn>
              <a:cxn ang="0">
                <a:pos x="connsiteX17089" y="connsiteY17089"/>
              </a:cxn>
              <a:cxn ang="0">
                <a:pos x="connsiteX17090" y="connsiteY17090"/>
              </a:cxn>
              <a:cxn ang="0">
                <a:pos x="connsiteX17091" y="connsiteY17091"/>
              </a:cxn>
              <a:cxn ang="0">
                <a:pos x="connsiteX17092" y="connsiteY17092"/>
              </a:cxn>
              <a:cxn ang="0">
                <a:pos x="connsiteX17093" y="connsiteY17093"/>
              </a:cxn>
              <a:cxn ang="0">
                <a:pos x="connsiteX17094" y="connsiteY17094"/>
              </a:cxn>
              <a:cxn ang="0">
                <a:pos x="connsiteX17095" y="connsiteY17095"/>
              </a:cxn>
              <a:cxn ang="0">
                <a:pos x="connsiteX17096" y="connsiteY17096"/>
              </a:cxn>
              <a:cxn ang="0">
                <a:pos x="connsiteX17097" y="connsiteY17097"/>
              </a:cxn>
              <a:cxn ang="0">
                <a:pos x="connsiteX17098" y="connsiteY17098"/>
              </a:cxn>
              <a:cxn ang="0">
                <a:pos x="connsiteX17099" y="connsiteY17099"/>
              </a:cxn>
              <a:cxn ang="0">
                <a:pos x="connsiteX17100" y="connsiteY17100"/>
              </a:cxn>
              <a:cxn ang="0">
                <a:pos x="connsiteX17101" y="connsiteY17101"/>
              </a:cxn>
              <a:cxn ang="0">
                <a:pos x="connsiteX17102" y="connsiteY17102"/>
              </a:cxn>
              <a:cxn ang="0">
                <a:pos x="connsiteX17103" y="connsiteY17103"/>
              </a:cxn>
              <a:cxn ang="0">
                <a:pos x="connsiteX17104" y="connsiteY17104"/>
              </a:cxn>
              <a:cxn ang="0">
                <a:pos x="connsiteX17105" y="connsiteY17105"/>
              </a:cxn>
              <a:cxn ang="0">
                <a:pos x="connsiteX17106" y="connsiteY17106"/>
              </a:cxn>
              <a:cxn ang="0">
                <a:pos x="connsiteX17107" y="connsiteY17107"/>
              </a:cxn>
              <a:cxn ang="0">
                <a:pos x="connsiteX17108" y="connsiteY17108"/>
              </a:cxn>
              <a:cxn ang="0">
                <a:pos x="connsiteX17109" y="connsiteY17109"/>
              </a:cxn>
              <a:cxn ang="0">
                <a:pos x="connsiteX17110" y="connsiteY17110"/>
              </a:cxn>
              <a:cxn ang="0">
                <a:pos x="connsiteX17111" y="connsiteY17111"/>
              </a:cxn>
              <a:cxn ang="0">
                <a:pos x="connsiteX17112" y="connsiteY17112"/>
              </a:cxn>
              <a:cxn ang="0">
                <a:pos x="connsiteX17113" y="connsiteY17113"/>
              </a:cxn>
              <a:cxn ang="0">
                <a:pos x="connsiteX17114" y="connsiteY17114"/>
              </a:cxn>
              <a:cxn ang="0">
                <a:pos x="connsiteX17115" y="connsiteY17115"/>
              </a:cxn>
              <a:cxn ang="0">
                <a:pos x="connsiteX17116" y="connsiteY17116"/>
              </a:cxn>
              <a:cxn ang="0">
                <a:pos x="connsiteX17117" y="connsiteY17117"/>
              </a:cxn>
              <a:cxn ang="0">
                <a:pos x="connsiteX17118" y="connsiteY17118"/>
              </a:cxn>
              <a:cxn ang="0">
                <a:pos x="connsiteX17119" y="connsiteY17119"/>
              </a:cxn>
              <a:cxn ang="0">
                <a:pos x="connsiteX17120" y="connsiteY17120"/>
              </a:cxn>
              <a:cxn ang="0">
                <a:pos x="connsiteX17121" y="connsiteY17121"/>
              </a:cxn>
              <a:cxn ang="0">
                <a:pos x="connsiteX17122" y="connsiteY17122"/>
              </a:cxn>
              <a:cxn ang="0">
                <a:pos x="connsiteX17123" y="connsiteY17123"/>
              </a:cxn>
              <a:cxn ang="0">
                <a:pos x="connsiteX17124" y="connsiteY17124"/>
              </a:cxn>
              <a:cxn ang="0">
                <a:pos x="connsiteX17125" y="connsiteY17125"/>
              </a:cxn>
              <a:cxn ang="0">
                <a:pos x="connsiteX17126" y="connsiteY17126"/>
              </a:cxn>
              <a:cxn ang="0">
                <a:pos x="connsiteX17127" y="connsiteY17127"/>
              </a:cxn>
              <a:cxn ang="0">
                <a:pos x="connsiteX17128" y="connsiteY17128"/>
              </a:cxn>
              <a:cxn ang="0">
                <a:pos x="connsiteX17129" y="connsiteY17129"/>
              </a:cxn>
              <a:cxn ang="0">
                <a:pos x="connsiteX17130" y="connsiteY17130"/>
              </a:cxn>
              <a:cxn ang="0">
                <a:pos x="connsiteX17131" y="connsiteY17131"/>
              </a:cxn>
              <a:cxn ang="0">
                <a:pos x="connsiteX17132" y="connsiteY17132"/>
              </a:cxn>
              <a:cxn ang="0">
                <a:pos x="connsiteX17133" y="connsiteY17133"/>
              </a:cxn>
              <a:cxn ang="0">
                <a:pos x="connsiteX17134" y="connsiteY17134"/>
              </a:cxn>
              <a:cxn ang="0">
                <a:pos x="connsiteX17135" y="connsiteY17135"/>
              </a:cxn>
              <a:cxn ang="0">
                <a:pos x="connsiteX17136" y="connsiteY17136"/>
              </a:cxn>
              <a:cxn ang="0">
                <a:pos x="connsiteX17137" y="connsiteY17137"/>
              </a:cxn>
              <a:cxn ang="0">
                <a:pos x="connsiteX17138" y="connsiteY17138"/>
              </a:cxn>
              <a:cxn ang="0">
                <a:pos x="connsiteX17139" y="connsiteY17139"/>
              </a:cxn>
              <a:cxn ang="0">
                <a:pos x="connsiteX17140" y="connsiteY17140"/>
              </a:cxn>
              <a:cxn ang="0">
                <a:pos x="connsiteX17141" y="connsiteY17141"/>
              </a:cxn>
              <a:cxn ang="0">
                <a:pos x="connsiteX17142" y="connsiteY17142"/>
              </a:cxn>
              <a:cxn ang="0">
                <a:pos x="connsiteX17143" y="connsiteY17143"/>
              </a:cxn>
              <a:cxn ang="0">
                <a:pos x="connsiteX17144" y="connsiteY17144"/>
              </a:cxn>
              <a:cxn ang="0">
                <a:pos x="connsiteX17145" y="connsiteY17145"/>
              </a:cxn>
              <a:cxn ang="0">
                <a:pos x="connsiteX17146" y="connsiteY17146"/>
              </a:cxn>
              <a:cxn ang="0">
                <a:pos x="connsiteX17147" y="connsiteY17147"/>
              </a:cxn>
              <a:cxn ang="0">
                <a:pos x="connsiteX17148" y="connsiteY17148"/>
              </a:cxn>
              <a:cxn ang="0">
                <a:pos x="connsiteX17149" y="connsiteY17149"/>
              </a:cxn>
              <a:cxn ang="0">
                <a:pos x="connsiteX17150" y="connsiteY17150"/>
              </a:cxn>
              <a:cxn ang="0">
                <a:pos x="connsiteX17151" y="connsiteY17151"/>
              </a:cxn>
              <a:cxn ang="0">
                <a:pos x="connsiteX17152" y="connsiteY17152"/>
              </a:cxn>
              <a:cxn ang="0">
                <a:pos x="connsiteX17153" y="connsiteY17153"/>
              </a:cxn>
              <a:cxn ang="0">
                <a:pos x="connsiteX17154" y="connsiteY17154"/>
              </a:cxn>
              <a:cxn ang="0">
                <a:pos x="connsiteX17155" y="connsiteY17155"/>
              </a:cxn>
              <a:cxn ang="0">
                <a:pos x="connsiteX17156" y="connsiteY17156"/>
              </a:cxn>
              <a:cxn ang="0">
                <a:pos x="connsiteX17157" y="connsiteY17157"/>
              </a:cxn>
              <a:cxn ang="0">
                <a:pos x="connsiteX17158" y="connsiteY17158"/>
              </a:cxn>
              <a:cxn ang="0">
                <a:pos x="connsiteX17159" y="connsiteY17159"/>
              </a:cxn>
              <a:cxn ang="0">
                <a:pos x="connsiteX17160" y="connsiteY17160"/>
              </a:cxn>
              <a:cxn ang="0">
                <a:pos x="connsiteX17161" y="connsiteY17161"/>
              </a:cxn>
              <a:cxn ang="0">
                <a:pos x="connsiteX17162" y="connsiteY17162"/>
              </a:cxn>
              <a:cxn ang="0">
                <a:pos x="connsiteX17163" y="connsiteY17163"/>
              </a:cxn>
              <a:cxn ang="0">
                <a:pos x="connsiteX17164" y="connsiteY17164"/>
              </a:cxn>
              <a:cxn ang="0">
                <a:pos x="connsiteX17165" y="connsiteY17165"/>
              </a:cxn>
              <a:cxn ang="0">
                <a:pos x="connsiteX17166" y="connsiteY17166"/>
              </a:cxn>
              <a:cxn ang="0">
                <a:pos x="connsiteX17167" y="connsiteY17167"/>
              </a:cxn>
              <a:cxn ang="0">
                <a:pos x="connsiteX17168" y="connsiteY17168"/>
              </a:cxn>
              <a:cxn ang="0">
                <a:pos x="connsiteX17169" y="connsiteY17169"/>
              </a:cxn>
              <a:cxn ang="0">
                <a:pos x="connsiteX17170" y="connsiteY17170"/>
              </a:cxn>
              <a:cxn ang="0">
                <a:pos x="connsiteX17171" y="connsiteY17171"/>
              </a:cxn>
              <a:cxn ang="0">
                <a:pos x="connsiteX17172" y="connsiteY17172"/>
              </a:cxn>
              <a:cxn ang="0">
                <a:pos x="connsiteX17173" y="connsiteY17173"/>
              </a:cxn>
              <a:cxn ang="0">
                <a:pos x="connsiteX17174" y="connsiteY17174"/>
              </a:cxn>
              <a:cxn ang="0">
                <a:pos x="connsiteX17175" y="connsiteY17175"/>
              </a:cxn>
              <a:cxn ang="0">
                <a:pos x="connsiteX17176" y="connsiteY17176"/>
              </a:cxn>
              <a:cxn ang="0">
                <a:pos x="connsiteX17177" y="connsiteY17177"/>
              </a:cxn>
              <a:cxn ang="0">
                <a:pos x="connsiteX17178" y="connsiteY17178"/>
              </a:cxn>
              <a:cxn ang="0">
                <a:pos x="connsiteX17179" y="connsiteY17179"/>
              </a:cxn>
              <a:cxn ang="0">
                <a:pos x="connsiteX17180" y="connsiteY17180"/>
              </a:cxn>
              <a:cxn ang="0">
                <a:pos x="connsiteX17181" y="connsiteY17181"/>
              </a:cxn>
              <a:cxn ang="0">
                <a:pos x="connsiteX17182" y="connsiteY17182"/>
              </a:cxn>
              <a:cxn ang="0">
                <a:pos x="connsiteX17183" y="connsiteY17183"/>
              </a:cxn>
              <a:cxn ang="0">
                <a:pos x="connsiteX17184" y="connsiteY17184"/>
              </a:cxn>
              <a:cxn ang="0">
                <a:pos x="connsiteX17185" y="connsiteY17185"/>
              </a:cxn>
              <a:cxn ang="0">
                <a:pos x="connsiteX17186" y="connsiteY17186"/>
              </a:cxn>
              <a:cxn ang="0">
                <a:pos x="connsiteX17187" y="connsiteY17187"/>
              </a:cxn>
              <a:cxn ang="0">
                <a:pos x="connsiteX17188" y="connsiteY17188"/>
              </a:cxn>
              <a:cxn ang="0">
                <a:pos x="connsiteX17189" y="connsiteY17189"/>
              </a:cxn>
              <a:cxn ang="0">
                <a:pos x="connsiteX17190" y="connsiteY17190"/>
              </a:cxn>
              <a:cxn ang="0">
                <a:pos x="connsiteX17191" y="connsiteY17191"/>
              </a:cxn>
              <a:cxn ang="0">
                <a:pos x="connsiteX17192" y="connsiteY17192"/>
              </a:cxn>
              <a:cxn ang="0">
                <a:pos x="connsiteX17193" y="connsiteY17193"/>
              </a:cxn>
              <a:cxn ang="0">
                <a:pos x="connsiteX17194" y="connsiteY17194"/>
              </a:cxn>
              <a:cxn ang="0">
                <a:pos x="connsiteX17195" y="connsiteY17195"/>
              </a:cxn>
              <a:cxn ang="0">
                <a:pos x="connsiteX17196" y="connsiteY17196"/>
              </a:cxn>
              <a:cxn ang="0">
                <a:pos x="connsiteX17197" y="connsiteY17197"/>
              </a:cxn>
              <a:cxn ang="0">
                <a:pos x="connsiteX17198" y="connsiteY17198"/>
              </a:cxn>
              <a:cxn ang="0">
                <a:pos x="connsiteX17199" y="connsiteY17199"/>
              </a:cxn>
              <a:cxn ang="0">
                <a:pos x="connsiteX17200" y="connsiteY17200"/>
              </a:cxn>
              <a:cxn ang="0">
                <a:pos x="connsiteX17201" y="connsiteY17201"/>
              </a:cxn>
              <a:cxn ang="0">
                <a:pos x="connsiteX17202" y="connsiteY17202"/>
              </a:cxn>
              <a:cxn ang="0">
                <a:pos x="connsiteX17203" y="connsiteY17203"/>
              </a:cxn>
              <a:cxn ang="0">
                <a:pos x="connsiteX17204" y="connsiteY17204"/>
              </a:cxn>
              <a:cxn ang="0">
                <a:pos x="connsiteX17205" y="connsiteY17205"/>
              </a:cxn>
              <a:cxn ang="0">
                <a:pos x="connsiteX17206" y="connsiteY17206"/>
              </a:cxn>
              <a:cxn ang="0">
                <a:pos x="connsiteX17207" y="connsiteY17207"/>
              </a:cxn>
              <a:cxn ang="0">
                <a:pos x="connsiteX17208" y="connsiteY17208"/>
              </a:cxn>
              <a:cxn ang="0">
                <a:pos x="connsiteX17209" y="connsiteY17209"/>
              </a:cxn>
              <a:cxn ang="0">
                <a:pos x="connsiteX17210" y="connsiteY17210"/>
              </a:cxn>
              <a:cxn ang="0">
                <a:pos x="connsiteX17211" y="connsiteY17211"/>
              </a:cxn>
              <a:cxn ang="0">
                <a:pos x="connsiteX17212" y="connsiteY17212"/>
              </a:cxn>
              <a:cxn ang="0">
                <a:pos x="connsiteX17213" y="connsiteY17213"/>
              </a:cxn>
              <a:cxn ang="0">
                <a:pos x="connsiteX17214" y="connsiteY17214"/>
              </a:cxn>
              <a:cxn ang="0">
                <a:pos x="connsiteX17215" y="connsiteY17215"/>
              </a:cxn>
              <a:cxn ang="0">
                <a:pos x="connsiteX17216" y="connsiteY17216"/>
              </a:cxn>
              <a:cxn ang="0">
                <a:pos x="connsiteX17217" y="connsiteY17217"/>
              </a:cxn>
              <a:cxn ang="0">
                <a:pos x="connsiteX17218" y="connsiteY17218"/>
              </a:cxn>
              <a:cxn ang="0">
                <a:pos x="connsiteX17219" y="connsiteY17219"/>
              </a:cxn>
              <a:cxn ang="0">
                <a:pos x="connsiteX17220" y="connsiteY17220"/>
              </a:cxn>
              <a:cxn ang="0">
                <a:pos x="connsiteX17221" y="connsiteY17221"/>
              </a:cxn>
              <a:cxn ang="0">
                <a:pos x="connsiteX17222" y="connsiteY17222"/>
              </a:cxn>
              <a:cxn ang="0">
                <a:pos x="connsiteX17223" y="connsiteY17223"/>
              </a:cxn>
              <a:cxn ang="0">
                <a:pos x="connsiteX17224" y="connsiteY17224"/>
              </a:cxn>
              <a:cxn ang="0">
                <a:pos x="connsiteX17225" y="connsiteY17225"/>
              </a:cxn>
              <a:cxn ang="0">
                <a:pos x="connsiteX17226" y="connsiteY17226"/>
              </a:cxn>
              <a:cxn ang="0">
                <a:pos x="connsiteX17227" y="connsiteY17227"/>
              </a:cxn>
              <a:cxn ang="0">
                <a:pos x="connsiteX17228" y="connsiteY17228"/>
              </a:cxn>
              <a:cxn ang="0">
                <a:pos x="connsiteX17229" y="connsiteY17229"/>
              </a:cxn>
              <a:cxn ang="0">
                <a:pos x="connsiteX17230" y="connsiteY17230"/>
              </a:cxn>
              <a:cxn ang="0">
                <a:pos x="connsiteX17231" y="connsiteY17231"/>
              </a:cxn>
              <a:cxn ang="0">
                <a:pos x="connsiteX17232" y="connsiteY17232"/>
              </a:cxn>
              <a:cxn ang="0">
                <a:pos x="connsiteX17233" y="connsiteY17233"/>
              </a:cxn>
              <a:cxn ang="0">
                <a:pos x="connsiteX17234" y="connsiteY17234"/>
              </a:cxn>
              <a:cxn ang="0">
                <a:pos x="connsiteX17235" y="connsiteY17235"/>
              </a:cxn>
              <a:cxn ang="0">
                <a:pos x="connsiteX17236" y="connsiteY17236"/>
              </a:cxn>
              <a:cxn ang="0">
                <a:pos x="connsiteX17237" y="connsiteY17237"/>
              </a:cxn>
              <a:cxn ang="0">
                <a:pos x="connsiteX17238" y="connsiteY17238"/>
              </a:cxn>
              <a:cxn ang="0">
                <a:pos x="connsiteX17239" y="connsiteY17239"/>
              </a:cxn>
              <a:cxn ang="0">
                <a:pos x="connsiteX17240" y="connsiteY17240"/>
              </a:cxn>
              <a:cxn ang="0">
                <a:pos x="connsiteX17241" y="connsiteY17241"/>
              </a:cxn>
              <a:cxn ang="0">
                <a:pos x="connsiteX17242" y="connsiteY17242"/>
              </a:cxn>
              <a:cxn ang="0">
                <a:pos x="connsiteX17243" y="connsiteY17243"/>
              </a:cxn>
              <a:cxn ang="0">
                <a:pos x="connsiteX17244" y="connsiteY17244"/>
              </a:cxn>
              <a:cxn ang="0">
                <a:pos x="connsiteX17245" y="connsiteY17245"/>
              </a:cxn>
              <a:cxn ang="0">
                <a:pos x="connsiteX17246" y="connsiteY17246"/>
              </a:cxn>
              <a:cxn ang="0">
                <a:pos x="connsiteX17247" y="connsiteY17247"/>
              </a:cxn>
              <a:cxn ang="0">
                <a:pos x="connsiteX17248" y="connsiteY17248"/>
              </a:cxn>
              <a:cxn ang="0">
                <a:pos x="connsiteX17249" y="connsiteY17249"/>
              </a:cxn>
              <a:cxn ang="0">
                <a:pos x="connsiteX17250" y="connsiteY17250"/>
              </a:cxn>
              <a:cxn ang="0">
                <a:pos x="connsiteX17251" y="connsiteY17251"/>
              </a:cxn>
              <a:cxn ang="0">
                <a:pos x="connsiteX17252" y="connsiteY17252"/>
              </a:cxn>
              <a:cxn ang="0">
                <a:pos x="connsiteX17253" y="connsiteY17253"/>
              </a:cxn>
              <a:cxn ang="0">
                <a:pos x="connsiteX17254" y="connsiteY17254"/>
              </a:cxn>
              <a:cxn ang="0">
                <a:pos x="connsiteX17255" y="connsiteY17255"/>
              </a:cxn>
              <a:cxn ang="0">
                <a:pos x="connsiteX17256" y="connsiteY17256"/>
              </a:cxn>
              <a:cxn ang="0">
                <a:pos x="connsiteX17257" y="connsiteY17257"/>
              </a:cxn>
              <a:cxn ang="0">
                <a:pos x="connsiteX17258" y="connsiteY17258"/>
              </a:cxn>
              <a:cxn ang="0">
                <a:pos x="connsiteX17259" y="connsiteY17259"/>
              </a:cxn>
              <a:cxn ang="0">
                <a:pos x="connsiteX17260" y="connsiteY17260"/>
              </a:cxn>
              <a:cxn ang="0">
                <a:pos x="connsiteX17261" y="connsiteY17261"/>
              </a:cxn>
              <a:cxn ang="0">
                <a:pos x="connsiteX17262" y="connsiteY17262"/>
              </a:cxn>
              <a:cxn ang="0">
                <a:pos x="connsiteX17263" y="connsiteY17263"/>
              </a:cxn>
              <a:cxn ang="0">
                <a:pos x="connsiteX17264" y="connsiteY17264"/>
              </a:cxn>
              <a:cxn ang="0">
                <a:pos x="connsiteX17265" y="connsiteY17265"/>
              </a:cxn>
              <a:cxn ang="0">
                <a:pos x="connsiteX17266" y="connsiteY17266"/>
              </a:cxn>
              <a:cxn ang="0">
                <a:pos x="connsiteX17267" y="connsiteY17267"/>
              </a:cxn>
              <a:cxn ang="0">
                <a:pos x="connsiteX17268" y="connsiteY17268"/>
              </a:cxn>
              <a:cxn ang="0">
                <a:pos x="connsiteX17269" y="connsiteY17269"/>
              </a:cxn>
              <a:cxn ang="0">
                <a:pos x="connsiteX17270" y="connsiteY17270"/>
              </a:cxn>
              <a:cxn ang="0">
                <a:pos x="connsiteX17271" y="connsiteY17271"/>
              </a:cxn>
              <a:cxn ang="0">
                <a:pos x="connsiteX17272" y="connsiteY17272"/>
              </a:cxn>
              <a:cxn ang="0">
                <a:pos x="connsiteX17273" y="connsiteY17273"/>
              </a:cxn>
              <a:cxn ang="0">
                <a:pos x="connsiteX17274" y="connsiteY17274"/>
              </a:cxn>
              <a:cxn ang="0">
                <a:pos x="connsiteX17275" y="connsiteY17275"/>
              </a:cxn>
              <a:cxn ang="0">
                <a:pos x="connsiteX17276" y="connsiteY17276"/>
              </a:cxn>
              <a:cxn ang="0">
                <a:pos x="connsiteX17277" y="connsiteY17277"/>
              </a:cxn>
              <a:cxn ang="0">
                <a:pos x="connsiteX17278" y="connsiteY17278"/>
              </a:cxn>
              <a:cxn ang="0">
                <a:pos x="connsiteX17279" y="connsiteY17279"/>
              </a:cxn>
              <a:cxn ang="0">
                <a:pos x="connsiteX17280" y="connsiteY17280"/>
              </a:cxn>
              <a:cxn ang="0">
                <a:pos x="connsiteX17281" y="connsiteY17281"/>
              </a:cxn>
              <a:cxn ang="0">
                <a:pos x="connsiteX17282" y="connsiteY17282"/>
              </a:cxn>
              <a:cxn ang="0">
                <a:pos x="connsiteX17283" y="connsiteY17283"/>
              </a:cxn>
              <a:cxn ang="0">
                <a:pos x="connsiteX17284" y="connsiteY17284"/>
              </a:cxn>
              <a:cxn ang="0">
                <a:pos x="connsiteX17285" y="connsiteY17285"/>
              </a:cxn>
              <a:cxn ang="0">
                <a:pos x="connsiteX17286" y="connsiteY17286"/>
              </a:cxn>
              <a:cxn ang="0">
                <a:pos x="connsiteX17287" y="connsiteY17287"/>
              </a:cxn>
              <a:cxn ang="0">
                <a:pos x="connsiteX17288" y="connsiteY17288"/>
              </a:cxn>
              <a:cxn ang="0">
                <a:pos x="connsiteX17289" y="connsiteY17289"/>
              </a:cxn>
              <a:cxn ang="0">
                <a:pos x="connsiteX17290" y="connsiteY17290"/>
              </a:cxn>
              <a:cxn ang="0">
                <a:pos x="connsiteX17291" y="connsiteY17291"/>
              </a:cxn>
              <a:cxn ang="0">
                <a:pos x="connsiteX17292" y="connsiteY17292"/>
              </a:cxn>
              <a:cxn ang="0">
                <a:pos x="connsiteX17293" y="connsiteY17293"/>
              </a:cxn>
              <a:cxn ang="0">
                <a:pos x="connsiteX17294" y="connsiteY17294"/>
              </a:cxn>
              <a:cxn ang="0">
                <a:pos x="connsiteX17295" y="connsiteY17295"/>
              </a:cxn>
              <a:cxn ang="0">
                <a:pos x="connsiteX17296" y="connsiteY17296"/>
              </a:cxn>
              <a:cxn ang="0">
                <a:pos x="connsiteX17297" y="connsiteY17297"/>
              </a:cxn>
              <a:cxn ang="0">
                <a:pos x="connsiteX17298" y="connsiteY17298"/>
              </a:cxn>
              <a:cxn ang="0">
                <a:pos x="connsiteX17299" y="connsiteY17299"/>
              </a:cxn>
              <a:cxn ang="0">
                <a:pos x="connsiteX17300" y="connsiteY17300"/>
              </a:cxn>
              <a:cxn ang="0">
                <a:pos x="connsiteX17301" y="connsiteY17301"/>
              </a:cxn>
              <a:cxn ang="0">
                <a:pos x="connsiteX17302" y="connsiteY17302"/>
              </a:cxn>
              <a:cxn ang="0">
                <a:pos x="connsiteX17303" y="connsiteY17303"/>
              </a:cxn>
              <a:cxn ang="0">
                <a:pos x="connsiteX17304" y="connsiteY17304"/>
              </a:cxn>
              <a:cxn ang="0">
                <a:pos x="connsiteX17305" y="connsiteY17305"/>
              </a:cxn>
              <a:cxn ang="0">
                <a:pos x="connsiteX17306" y="connsiteY17306"/>
              </a:cxn>
              <a:cxn ang="0">
                <a:pos x="connsiteX17307" y="connsiteY17307"/>
              </a:cxn>
              <a:cxn ang="0">
                <a:pos x="connsiteX17308" y="connsiteY17308"/>
              </a:cxn>
              <a:cxn ang="0">
                <a:pos x="connsiteX17309" y="connsiteY17309"/>
              </a:cxn>
              <a:cxn ang="0">
                <a:pos x="connsiteX17310" y="connsiteY17310"/>
              </a:cxn>
              <a:cxn ang="0">
                <a:pos x="connsiteX17311" y="connsiteY17311"/>
              </a:cxn>
              <a:cxn ang="0">
                <a:pos x="connsiteX17312" y="connsiteY17312"/>
              </a:cxn>
              <a:cxn ang="0">
                <a:pos x="connsiteX17313" y="connsiteY17313"/>
              </a:cxn>
              <a:cxn ang="0">
                <a:pos x="connsiteX17314" y="connsiteY17314"/>
              </a:cxn>
              <a:cxn ang="0">
                <a:pos x="connsiteX17315" y="connsiteY17315"/>
              </a:cxn>
              <a:cxn ang="0">
                <a:pos x="connsiteX17316" y="connsiteY17316"/>
              </a:cxn>
              <a:cxn ang="0">
                <a:pos x="connsiteX17317" y="connsiteY17317"/>
              </a:cxn>
              <a:cxn ang="0">
                <a:pos x="connsiteX17318" y="connsiteY17318"/>
              </a:cxn>
              <a:cxn ang="0">
                <a:pos x="connsiteX17319" y="connsiteY17319"/>
              </a:cxn>
              <a:cxn ang="0">
                <a:pos x="connsiteX17320" y="connsiteY17320"/>
              </a:cxn>
              <a:cxn ang="0">
                <a:pos x="connsiteX17321" y="connsiteY17321"/>
              </a:cxn>
              <a:cxn ang="0">
                <a:pos x="connsiteX17322" y="connsiteY17322"/>
              </a:cxn>
              <a:cxn ang="0">
                <a:pos x="connsiteX17323" y="connsiteY17323"/>
              </a:cxn>
              <a:cxn ang="0">
                <a:pos x="connsiteX17324" y="connsiteY17324"/>
              </a:cxn>
              <a:cxn ang="0">
                <a:pos x="connsiteX17325" y="connsiteY17325"/>
              </a:cxn>
              <a:cxn ang="0">
                <a:pos x="connsiteX17326" y="connsiteY17326"/>
              </a:cxn>
              <a:cxn ang="0">
                <a:pos x="connsiteX17327" y="connsiteY17327"/>
              </a:cxn>
              <a:cxn ang="0">
                <a:pos x="connsiteX17328" y="connsiteY17328"/>
              </a:cxn>
              <a:cxn ang="0">
                <a:pos x="connsiteX17329" y="connsiteY17329"/>
              </a:cxn>
              <a:cxn ang="0">
                <a:pos x="connsiteX17330" y="connsiteY17330"/>
              </a:cxn>
              <a:cxn ang="0">
                <a:pos x="connsiteX17331" y="connsiteY17331"/>
              </a:cxn>
              <a:cxn ang="0">
                <a:pos x="connsiteX17332" y="connsiteY17332"/>
              </a:cxn>
              <a:cxn ang="0">
                <a:pos x="connsiteX17333" y="connsiteY17333"/>
              </a:cxn>
              <a:cxn ang="0">
                <a:pos x="connsiteX17334" y="connsiteY17334"/>
              </a:cxn>
              <a:cxn ang="0">
                <a:pos x="connsiteX17335" y="connsiteY17335"/>
              </a:cxn>
              <a:cxn ang="0">
                <a:pos x="connsiteX17336" y="connsiteY17336"/>
              </a:cxn>
              <a:cxn ang="0">
                <a:pos x="connsiteX17337" y="connsiteY17337"/>
              </a:cxn>
              <a:cxn ang="0">
                <a:pos x="connsiteX17338" y="connsiteY17338"/>
              </a:cxn>
              <a:cxn ang="0">
                <a:pos x="connsiteX17339" y="connsiteY17339"/>
              </a:cxn>
              <a:cxn ang="0">
                <a:pos x="connsiteX17340" y="connsiteY17340"/>
              </a:cxn>
              <a:cxn ang="0">
                <a:pos x="connsiteX17341" y="connsiteY17341"/>
              </a:cxn>
              <a:cxn ang="0">
                <a:pos x="connsiteX17342" y="connsiteY17342"/>
              </a:cxn>
              <a:cxn ang="0">
                <a:pos x="connsiteX17343" y="connsiteY17343"/>
              </a:cxn>
              <a:cxn ang="0">
                <a:pos x="connsiteX17344" y="connsiteY17344"/>
              </a:cxn>
              <a:cxn ang="0">
                <a:pos x="connsiteX17345" y="connsiteY17345"/>
              </a:cxn>
              <a:cxn ang="0">
                <a:pos x="connsiteX17346" y="connsiteY17346"/>
              </a:cxn>
              <a:cxn ang="0">
                <a:pos x="connsiteX17347" y="connsiteY17347"/>
              </a:cxn>
              <a:cxn ang="0">
                <a:pos x="connsiteX17348" y="connsiteY17348"/>
              </a:cxn>
              <a:cxn ang="0">
                <a:pos x="connsiteX17349" y="connsiteY17349"/>
              </a:cxn>
              <a:cxn ang="0">
                <a:pos x="connsiteX17350" y="connsiteY17350"/>
              </a:cxn>
              <a:cxn ang="0">
                <a:pos x="connsiteX17351" y="connsiteY17351"/>
              </a:cxn>
              <a:cxn ang="0">
                <a:pos x="connsiteX17352" y="connsiteY17352"/>
              </a:cxn>
              <a:cxn ang="0">
                <a:pos x="connsiteX17353" y="connsiteY17353"/>
              </a:cxn>
              <a:cxn ang="0">
                <a:pos x="connsiteX17354" y="connsiteY17354"/>
              </a:cxn>
              <a:cxn ang="0">
                <a:pos x="connsiteX17355" y="connsiteY17355"/>
              </a:cxn>
              <a:cxn ang="0">
                <a:pos x="connsiteX17356" y="connsiteY17356"/>
              </a:cxn>
              <a:cxn ang="0">
                <a:pos x="connsiteX17357" y="connsiteY17357"/>
              </a:cxn>
              <a:cxn ang="0">
                <a:pos x="connsiteX17358" y="connsiteY17358"/>
              </a:cxn>
              <a:cxn ang="0">
                <a:pos x="connsiteX17359" y="connsiteY17359"/>
              </a:cxn>
              <a:cxn ang="0">
                <a:pos x="connsiteX17360" y="connsiteY17360"/>
              </a:cxn>
              <a:cxn ang="0">
                <a:pos x="connsiteX17361" y="connsiteY17361"/>
              </a:cxn>
              <a:cxn ang="0">
                <a:pos x="connsiteX17362" y="connsiteY17362"/>
              </a:cxn>
              <a:cxn ang="0">
                <a:pos x="connsiteX17363" y="connsiteY17363"/>
              </a:cxn>
              <a:cxn ang="0">
                <a:pos x="connsiteX17364" y="connsiteY17364"/>
              </a:cxn>
              <a:cxn ang="0">
                <a:pos x="connsiteX17365" y="connsiteY17365"/>
              </a:cxn>
              <a:cxn ang="0">
                <a:pos x="connsiteX17366" y="connsiteY17366"/>
              </a:cxn>
              <a:cxn ang="0">
                <a:pos x="connsiteX17367" y="connsiteY17367"/>
              </a:cxn>
              <a:cxn ang="0">
                <a:pos x="connsiteX17368" y="connsiteY17368"/>
              </a:cxn>
              <a:cxn ang="0">
                <a:pos x="connsiteX17369" y="connsiteY17369"/>
              </a:cxn>
              <a:cxn ang="0">
                <a:pos x="connsiteX17370" y="connsiteY17370"/>
              </a:cxn>
              <a:cxn ang="0">
                <a:pos x="connsiteX17371" y="connsiteY17371"/>
              </a:cxn>
              <a:cxn ang="0">
                <a:pos x="connsiteX17372" y="connsiteY17372"/>
              </a:cxn>
              <a:cxn ang="0">
                <a:pos x="connsiteX17373" y="connsiteY17373"/>
              </a:cxn>
              <a:cxn ang="0">
                <a:pos x="connsiteX17374" y="connsiteY17374"/>
              </a:cxn>
              <a:cxn ang="0">
                <a:pos x="connsiteX17375" y="connsiteY17375"/>
              </a:cxn>
              <a:cxn ang="0">
                <a:pos x="connsiteX17376" y="connsiteY17376"/>
              </a:cxn>
              <a:cxn ang="0">
                <a:pos x="connsiteX17377" y="connsiteY17377"/>
              </a:cxn>
              <a:cxn ang="0">
                <a:pos x="connsiteX17378" y="connsiteY17378"/>
              </a:cxn>
              <a:cxn ang="0">
                <a:pos x="connsiteX17379" y="connsiteY17379"/>
              </a:cxn>
              <a:cxn ang="0">
                <a:pos x="connsiteX17380" y="connsiteY17380"/>
              </a:cxn>
              <a:cxn ang="0">
                <a:pos x="connsiteX17381" y="connsiteY17381"/>
              </a:cxn>
              <a:cxn ang="0">
                <a:pos x="connsiteX17382" y="connsiteY17382"/>
              </a:cxn>
              <a:cxn ang="0">
                <a:pos x="connsiteX17383" y="connsiteY17383"/>
              </a:cxn>
              <a:cxn ang="0">
                <a:pos x="connsiteX17384" y="connsiteY17384"/>
              </a:cxn>
              <a:cxn ang="0">
                <a:pos x="connsiteX17385" y="connsiteY17385"/>
              </a:cxn>
              <a:cxn ang="0">
                <a:pos x="connsiteX17386" y="connsiteY17386"/>
              </a:cxn>
              <a:cxn ang="0">
                <a:pos x="connsiteX17387" y="connsiteY17387"/>
              </a:cxn>
              <a:cxn ang="0">
                <a:pos x="connsiteX17388" y="connsiteY17388"/>
              </a:cxn>
              <a:cxn ang="0">
                <a:pos x="connsiteX17389" y="connsiteY17389"/>
              </a:cxn>
              <a:cxn ang="0">
                <a:pos x="connsiteX17390" y="connsiteY17390"/>
              </a:cxn>
              <a:cxn ang="0">
                <a:pos x="connsiteX17391" y="connsiteY17391"/>
              </a:cxn>
              <a:cxn ang="0">
                <a:pos x="connsiteX17392" y="connsiteY17392"/>
              </a:cxn>
              <a:cxn ang="0">
                <a:pos x="connsiteX17393" y="connsiteY17393"/>
              </a:cxn>
              <a:cxn ang="0">
                <a:pos x="connsiteX17394" y="connsiteY17394"/>
              </a:cxn>
              <a:cxn ang="0">
                <a:pos x="connsiteX17395" y="connsiteY17395"/>
              </a:cxn>
              <a:cxn ang="0">
                <a:pos x="connsiteX17396" y="connsiteY17396"/>
              </a:cxn>
              <a:cxn ang="0">
                <a:pos x="connsiteX17397" y="connsiteY17397"/>
              </a:cxn>
              <a:cxn ang="0">
                <a:pos x="connsiteX17398" y="connsiteY17398"/>
              </a:cxn>
              <a:cxn ang="0">
                <a:pos x="connsiteX17399" y="connsiteY17399"/>
              </a:cxn>
              <a:cxn ang="0">
                <a:pos x="connsiteX17400" y="connsiteY17400"/>
              </a:cxn>
              <a:cxn ang="0">
                <a:pos x="connsiteX17401" y="connsiteY17401"/>
              </a:cxn>
              <a:cxn ang="0">
                <a:pos x="connsiteX17402" y="connsiteY17402"/>
              </a:cxn>
              <a:cxn ang="0">
                <a:pos x="connsiteX17403" y="connsiteY17403"/>
              </a:cxn>
              <a:cxn ang="0">
                <a:pos x="connsiteX17404" y="connsiteY17404"/>
              </a:cxn>
              <a:cxn ang="0">
                <a:pos x="connsiteX17405" y="connsiteY17405"/>
              </a:cxn>
              <a:cxn ang="0">
                <a:pos x="connsiteX17406" y="connsiteY17406"/>
              </a:cxn>
              <a:cxn ang="0">
                <a:pos x="connsiteX17407" y="connsiteY17407"/>
              </a:cxn>
              <a:cxn ang="0">
                <a:pos x="connsiteX17408" y="connsiteY17408"/>
              </a:cxn>
              <a:cxn ang="0">
                <a:pos x="connsiteX17409" y="connsiteY17409"/>
              </a:cxn>
              <a:cxn ang="0">
                <a:pos x="connsiteX17410" y="connsiteY17410"/>
              </a:cxn>
              <a:cxn ang="0">
                <a:pos x="connsiteX17411" y="connsiteY17411"/>
              </a:cxn>
              <a:cxn ang="0">
                <a:pos x="connsiteX17412" y="connsiteY17412"/>
              </a:cxn>
              <a:cxn ang="0">
                <a:pos x="connsiteX17413" y="connsiteY17413"/>
              </a:cxn>
              <a:cxn ang="0">
                <a:pos x="connsiteX17414" y="connsiteY17414"/>
              </a:cxn>
              <a:cxn ang="0">
                <a:pos x="connsiteX17415" y="connsiteY17415"/>
              </a:cxn>
              <a:cxn ang="0">
                <a:pos x="connsiteX17416" y="connsiteY17416"/>
              </a:cxn>
              <a:cxn ang="0">
                <a:pos x="connsiteX17417" y="connsiteY17417"/>
              </a:cxn>
              <a:cxn ang="0">
                <a:pos x="connsiteX17418" y="connsiteY17418"/>
              </a:cxn>
              <a:cxn ang="0">
                <a:pos x="connsiteX17419" y="connsiteY17419"/>
              </a:cxn>
              <a:cxn ang="0">
                <a:pos x="connsiteX17420" y="connsiteY17420"/>
              </a:cxn>
              <a:cxn ang="0">
                <a:pos x="connsiteX17421" y="connsiteY17421"/>
              </a:cxn>
              <a:cxn ang="0">
                <a:pos x="connsiteX17422" y="connsiteY17422"/>
              </a:cxn>
              <a:cxn ang="0">
                <a:pos x="connsiteX17423" y="connsiteY17423"/>
              </a:cxn>
              <a:cxn ang="0">
                <a:pos x="connsiteX17424" y="connsiteY17424"/>
              </a:cxn>
              <a:cxn ang="0">
                <a:pos x="connsiteX17425" y="connsiteY17425"/>
              </a:cxn>
              <a:cxn ang="0">
                <a:pos x="connsiteX17426" y="connsiteY17426"/>
              </a:cxn>
              <a:cxn ang="0">
                <a:pos x="connsiteX17427" y="connsiteY17427"/>
              </a:cxn>
              <a:cxn ang="0">
                <a:pos x="connsiteX17428" y="connsiteY17428"/>
              </a:cxn>
              <a:cxn ang="0">
                <a:pos x="connsiteX17429" y="connsiteY17429"/>
              </a:cxn>
              <a:cxn ang="0">
                <a:pos x="connsiteX17430" y="connsiteY17430"/>
              </a:cxn>
              <a:cxn ang="0">
                <a:pos x="connsiteX17431" y="connsiteY17431"/>
              </a:cxn>
              <a:cxn ang="0">
                <a:pos x="connsiteX17432" y="connsiteY17432"/>
              </a:cxn>
              <a:cxn ang="0">
                <a:pos x="connsiteX17433" y="connsiteY17433"/>
              </a:cxn>
              <a:cxn ang="0">
                <a:pos x="connsiteX17434" y="connsiteY17434"/>
              </a:cxn>
              <a:cxn ang="0">
                <a:pos x="connsiteX17435" y="connsiteY17435"/>
              </a:cxn>
              <a:cxn ang="0">
                <a:pos x="connsiteX17436" y="connsiteY17436"/>
              </a:cxn>
              <a:cxn ang="0">
                <a:pos x="connsiteX17437" y="connsiteY17437"/>
              </a:cxn>
              <a:cxn ang="0">
                <a:pos x="connsiteX17438" y="connsiteY17438"/>
              </a:cxn>
              <a:cxn ang="0">
                <a:pos x="connsiteX17439" y="connsiteY17439"/>
              </a:cxn>
              <a:cxn ang="0">
                <a:pos x="connsiteX17440" y="connsiteY17440"/>
              </a:cxn>
              <a:cxn ang="0">
                <a:pos x="connsiteX17441" y="connsiteY17441"/>
              </a:cxn>
              <a:cxn ang="0">
                <a:pos x="connsiteX17442" y="connsiteY17442"/>
              </a:cxn>
              <a:cxn ang="0">
                <a:pos x="connsiteX17443" y="connsiteY17443"/>
              </a:cxn>
              <a:cxn ang="0">
                <a:pos x="connsiteX17444" y="connsiteY17444"/>
              </a:cxn>
              <a:cxn ang="0">
                <a:pos x="connsiteX17445" y="connsiteY17445"/>
              </a:cxn>
              <a:cxn ang="0">
                <a:pos x="connsiteX17446" y="connsiteY17446"/>
              </a:cxn>
              <a:cxn ang="0">
                <a:pos x="connsiteX17447" y="connsiteY17447"/>
              </a:cxn>
              <a:cxn ang="0">
                <a:pos x="connsiteX17448" y="connsiteY17448"/>
              </a:cxn>
              <a:cxn ang="0">
                <a:pos x="connsiteX17449" y="connsiteY17449"/>
              </a:cxn>
              <a:cxn ang="0">
                <a:pos x="connsiteX17450" y="connsiteY17450"/>
              </a:cxn>
              <a:cxn ang="0">
                <a:pos x="connsiteX17451" y="connsiteY17451"/>
              </a:cxn>
              <a:cxn ang="0">
                <a:pos x="connsiteX17452" y="connsiteY17452"/>
              </a:cxn>
              <a:cxn ang="0">
                <a:pos x="connsiteX17453" y="connsiteY17453"/>
              </a:cxn>
              <a:cxn ang="0">
                <a:pos x="connsiteX17454" y="connsiteY17454"/>
              </a:cxn>
              <a:cxn ang="0">
                <a:pos x="connsiteX17455" y="connsiteY17455"/>
              </a:cxn>
              <a:cxn ang="0">
                <a:pos x="connsiteX17456" y="connsiteY17456"/>
              </a:cxn>
              <a:cxn ang="0">
                <a:pos x="connsiteX17457" y="connsiteY17457"/>
              </a:cxn>
              <a:cxn ang="0">
                <a:pos x="connsiteX17458" y="connsiteY17458"/>
              </a:cxn>
              <a:cxn ang="0">
                <a:pos x="connsiteX17459" y="connsiteY17459"/>
              </a:cxn>
              <a:cxn ang="0">
                <a:pos x="connsiteX17460" y="connsiteY17460"/>
              </a:cxn>
              <a:cxn ang="0">
                <a:pos x="connsiteX17461" y="connsiteY17461"/>
              </a:cxn>
              <a:cxn ang="0">
                <a:pos x="connsiteX17462" y="connsiteY17462"/>
              </a:cxn>
              <a:cxn ang="0">
                <a:pos x="connsiteX17463" y="connsiteY17463"/>
              </a:cxn>
              <a:cxn ang="0">
                <a:pos x="connsiteX17464" y="connsiteY17464"/>
              </a:cxn>
              <a:cxn ang="0">
                <a:pos x="connsiteX17465" y="connsiteY17465"/>
              </a:cxn>
              <a:cxn ang="0">
                <a:pos x="connsiteX17466" y="connsiteY17466"/>
              </a:cxn>
              <a:cxn ang="0">
                <a:pos x="connsiteX17467" y="connsiteY17467"/>
              </a:cxn>
              <a:cxn ang="0">
                <a:pos x="connsiteX17468" y="connsiteY17468"/>
              </a:cxn>
              <a:cxn ang="0">
                <a:pos x="connsiteX17469" y="connsiteY17469"/>
              </a:cxn>
              <a:cxn ang="0">
                <a:pos x="connsiteX17470" y="connsiteY17470"/>
              </a:cxn>
              <a:cxn ang="0">
                <a:pos x="connsiteX17471" y="connsiteY17471"/>
              </a:cxn>
              <a:cxn ang="0">
                <a:pos x="connsiteX17472" y="connsiteY17472"/>
              </a:cxn>
              <a:cxn ang="0">
                <a:pos x="connsiteX17473" y="connsiteY17473"/>
              </a:cxn>
              <a:cxn ang="0">
                <a:pos x="connsiteX17474" y="connsiteY17474"/>
              </a:cxn>
              <a:cxn ang="0">
                <a:pos x="connsiteX17475" y="connsiteY17475"/>
              </a:cxn>
              <a:cxn ang="0">
                <a:pos x="connsiteX17476" y="connsiteY17476"/>
              </a:cxn>
              <a:cxn ang="0">
                <a:pos x="connsiteX17477" y="connsiteY17477"/>
              </a:cxn>
              <a:cxn ang="0">
                <a:pos x="connsiteX17478" y="connsiteY17478"/>
              </a:cxn>
              <a:cxn ang="0">
                <a:pos x="connsiteX17479" y="connsiteY17479"/>
              </a:cxn>
              <a:cxn ang="0">
                <a:pos x="connsiteX17480" y="connsiteY17480"/>
              </a:cxn>
              <a:cxn ang="0">
                <a:pos x="connsiteX17481" y="connsiteY17481"/>
              </a:cxn>
              <a:cxn ang="0">
                <a:pos x="connsiteX17482" y="connsiteY17482"/>
              </a:cxn>
              <a:cxn ang="0">
                <a:pos x="connsiteX17483" y="connsiteY17483"/>
              </a:cxn>
              <a:cxn ang="0">
                <a:pos x="connsiteX17484" y="connsiteY17484"/>
              </a:cxn>
              <a:cxn ang="0">
                <a:pos x="connsiteX17485" y="connsiteY17485"/>
              </a:cxn>
              <a:cxn ang="0">
                <a:pos x="connsiteX17486" y="connsiteY17486"/>
              </a:cxn>
              <a:cxn ang="0">
                <a:pos x="connsiteX17487" y="connsiteY17487"/>
              </a:cxn>
              <a:cxn ang="0">
                <a:pos x="connsiteX17488" y="connsiteY17488"/>
              </a:cxn>
              <a:cxn ang="0">
                <a:pos x="connsiteX17489" y="connsiteY17489"/>
              </a:cxn>
              <a:cxn ang="0">
                <a:pos x="connsiteX17490" y="connsiteY17490"/>
              </a:cxn>
              <a:cxn ang="0">
                <a:pos x="connsiteX17491" y="connsiteY17491"/>
              </a:cxn>
              <a:cxn ang="0">
                <a:pos x="connsiteX17492" y="connsiteY17492"/>
              </a:cxn>
              <a:cxn ang="0">
                <a:pos x="connsiteX17493" y="connsiteY17493"/>
              </a:cxn>
              <a:cxn ang="0">
                <a:pos x="connsiteX17494" y="connsiteY17494"/>
              </a:cxn>
              <a:cxn ang="0">
                <a:pos x="connsiteX17495" y="connsiteY17495"/>
              </a:cxn>
              <a:cxn ang="0">
                <a:pos x="connsiteX17496" y="connsiteY17496"/>
              </a:cxn>
              <a:cxn ang="0">
                <a:pos x="connsiteX17497" y="connsiteY17497"/>
              </a:cxn>
              <a:cxn ang="0">
                <a:pos x="connsiteX17498" y="connsiteY17498"/>
              </a:cxn>
              <a:cxn ang="0">
                <a:pos x="connsiteX17499" y="connsiteY17499"/>
              </a:cxn>
              <a:cxn ang="0">
                <a:pos x="connsiteX17500" y="connsiteY17500"/>
              </a:cxn>
              <a:cxn ang="0">
                <a:pos x="connsiteX17501" y="connsiteY17501"/>
              </a:cxn>
              <a:cxn ang="0">
                <a:pos x="connsiteX17502" y="connsiteY17502"/>
              </a:cxn>
              <a:cxn ang="0">
                <a:pos x="connsiteX17503" y="connsiteY17503"/>
              </a:cxn>
              <a:cxn ang="0">
                <a:pos x="connsiteX17504" y="connsiteY17504"/>
              </a:cxn>
              <a:cxn ang="0">
                <a:pos x="connsiteX17505" y="connsiteY17505"/>
              </a:cxn>
              <a:cxn ang="0">
                <a:pos x="connsiteX17506" y="connsiteY17506"/>
              </a:cxn>
              <a:cxn ang="0">
                <a:pos x="connsiteX17507" y="connsiteY17507"/>
              </a:cxn>
              <a:cxn ang="0">
                <a:pos x="connsiteX17508" y="connsiteY17508"/>
              </a:cxn>
              <a:cxn ang="0">
                <a:pos x="connsiteX17509" y="connsiteY17509"/>
              </a:cxn>
              <a:cxn ang="0">
                <a:pos x="connsiteX17510" y="connsiteY17510"/>
              </a:cxn>
              <a:cxn ang="0">
                <a:pos x="connsiteX17511" y="connsiteY17511"/>
              </a:cxn>
              <a:cxn ang="0">
                <a:pos x="connsiteX17512" y="connsiteY17512"/>
              </a:cxn>
              <a:cxn ang="0">
                <a:pos x="connsiteX17513" y="connsiteY17513"/>
              </a:cxn>
              <a:cxn ang="0">
                <a:pos x="connsiteX17514" y="connsiteY17514"/>
              </a:cxn>
              <a:cxn ang="0">
                <a:pos x="connsiteX17515" y="connsiteY17515"/>
              </a:cxn>
              <a:cxn ang="0">
                <a:pos x="connsiteX17516" y="connsiteY17516"/>
              </a:cxn>
              <a:cxn ang="0">
                <a:pos x="connsiteX17517" y="connsiteY17517"/>
              </a:cxn>
              <a:cxn ang="0">
                <a:pos x="connsiteX17518" y="connsiteY17518"/>
              </a:cxn>
              <a:cxn ang="0">
                <a:pos x="connsiteX17519" y="connsiteY17519"/>
              </a:cxn>
              <a:cxn ang="0">
                <a:pos x="connsiteX17520" y="connsiteY17520"/>
              </a:cxn>
              <a:cxn ang="0">
                <a:pos x="connsiteX17521" y="connsiteY17521"/>
              </a:cxn>
              <a:cxn ang="0">
                <a:pos x="connsiteX17522" y="connsiteY17522"/>
              </a:cxn>
              <a:cxn ang="0">
                <a:pos x="connsiteX17523" y="connsiteY17523"/>
              </a:cxn>
              <a:cxn ang="0">
                <a:pos x="connsiteX17524" y="connsiteY17524"/>
              </a:cxn>
              <a:cxn ang="0">
                <a:pos x="connsiteX17525" y="connsiteY17525"/>
              </a:cxn>
              <a:cxn ang="0">
                <a:pos x="connsiteX17526" y="connsiteY17526"/>
              </a:cxn>
              <a:cxn ang="0">
                <a:pos x="connsiteX17527" y="connsiteY17527"/>
              </a:cxn>
              <a:cxn ang="0">
                <a:pos x="connsiteX17528" y="connsiteY17528"/>
              </a:cxn>
              <a:cxn ang="0">
                <a:pos x="connsiteX17529" y="connsiteY17529"/>
              </a:cxn>
              <a:cxn ang="0">
                <a:pos x="connsiteX17530" y="connsiteY17530"/>
              </a:cxn>
              <a:cxn ang="0">
                <a:pos x="connsiteX17531" y="connsiteY17531"/>
              </a:cxn>
              <a:cxn ang="0">
                <a:pos x="connsiteX17532" y="connsiteY17532"/>
              </a:cxn>
              <a:cxn ang="0">
                <a:pos x="connsiteX17533" y="connsiteY17533"/>
              </a:cxn>
              <a:cxn ang="0">
                <a:pos x="connsiteX17534" y="connsiteY17534"/>
              </a:cxn>
              <a:cxn ang="0">
                <a:pos x="connsiteX17535" y="connsiteY17535"/>
              </a:cxn>
              <a:cxn ang="0">
                <a:pos x="connsiteX17536" y="connsiteY17536"/>
              </a:cxn>
              <a:cxn ang="0">
                <a:pos x="connsiteX17537" y="connsiteY17537"/>
              </a:cxn>
              <a:cxn ang="0">
                <a:pos x="connsiteX17538" y="connsiteY17538"/>
              </a:cxn>
              <a:cxn ang="0">
                <a:pos x="connsiteX17539" y="connsiteY17539"/>
              </a:cxn>
              <a:cxn ang="0">
                <a:pos x="connsiteX17540" y="connsiteY17540"/>
              </a:cxn>
              <a:cxn ang="0">
                <a:pos x="connsiteX17541" y="connsiteY17541"/>
              </a:cxn>
              <a:cxn ang="0">
                <a:pos x="connsiteX17542" y="connsiteY17542"/>
              </a:cxn>
              <a:cxn ang="0">
                <a:pos x="connsiteX17543" y="connsiteY17543"/>
              </a:cxn>
              <a:cxn ang="0">
                <a:pos x="connsiteX17544" y="connsiteY17544"/>
              </a:cxn>
              <a:cxn ang="0">
                <a:pos x="connsiteX17545" y="connsiteY17545"/>
              </a:cxn>
              <a:cxn ang="0">
                <a:pos x="connsiteX17546" y="connsiteY17546"/>
              </a:cxn>
              <a:cxn ang="0">
                <a:pos x="connsiteX17547" y="connsiteY17547"/>
              </a:cxn>
              <a:cxn ang="0">
                <a:pos x="connsiteX17548" y="connsiteY17548"/>
              </a:cxn>
              <a:cxn ang="0">
                <a:pos x="connsiteX17549" y="connsiteY17549"/>
              </a:cxn>
              <a:cxn ang="0">
                <a:pos x="connsiteX17550" y="connsiteY17550"/>
              </a:cxn>
              <a:cxn ang="0">
                <a:pos x="connsiteX17551" y="connsiteY17551"/>
              </a:cxn>
              <a:cxn ang="0">
                <a:pos x="connsiteX17552" y="connsiteY17552"/>
              </a:cxn>
              <a:cxn ang="0">
                <a:pos x="connsiteX17553" y="connsiteY17553"/>
              </a:cxn>
              <a:cxn ang="0">
                <a:pos x="connsiteX17554" y="connsiteY17554"/>
              </a:cxn>
              <a:cxn ang="0">
                <a:pos x="connsiteX17555" y="connsiteY17555"/>
              </a:cxn>
              <a:cxn ang="0">
                <a:pos x="connsiteX17556" y="connsiteY17556"/>
              </a:cxn>
              <a:cxn ang="0">
                <a:pos x="connsiteX17557" y="connsiteY17557"/>
              </a:cxn>
              <a:cxn ang="0">
                <a:pos x="connsiteX17558" y="connsiteY17558"/>
              </a:cxn>
              <a:cxn ang="0">
                <a:pos x="connsiteX17559" y="connsiteY17559"/>
              </a:cxn>
              <a:cxn ang="0">
                <a:pos x="connsiteX17560" y="connsiteY17560"/>
              </a:cxn>
              <a:cxn ang="0">
                <a:pos x="connsiteX17561" y="connsiteY17561"/>
              </a:cxn>
              <a:cxn ang="0">
                <a:pos x="connsiteX17562" y="connsiteY17562"/>
              </a:cxn>
              <a:cxn ang="0">
                <a:pos x="connsiteX17563" y="connsiteY17563"/>
              </a:cxn>
              <a:cxn ang="0">
                <a:pos x="connsiteX17564" y="connsiteY17564"/>
              </a:cxn>
              <a:cxn ang="0">
                <a:pos x="connsiteX17565" y="connsiteY17565"/>
              </a:cxn>
              <a:cxn ang="0">
                <a:pos x="connsiteX17566" y="connsiteY17566"/>
              </a:cxn>
              <a:cxn ang="0">
                <a:pos x="connsiteX17567" y="connsiteY17567"/>
              </a:cxn>
              <a:cxn ang="0">
                <a:pos x="connsiteX17568" y="connsiteY17568"/>
              </a:cxn>
              <a:cxn ang="0">
                <a:pos x="connsiteX17569" y="connsiteY17569"/>
              </a:cxn>
              <a:cxn ang="0">
                <a:pos x="connsiteX17570" y="connsiteY17570"/>
              </a:cxn>
              <a:cxn ang="0">
                <a:pos x="connsiteX17571" y="connsiteY17571"/>
              </a:cxn>
              <a:cxn ang="0">
                <a:pos x="connsiteX17572" y="connsiteY17572"/>
              </a:cxn>
              <a:cxn ang="0">
                <a:pos x="connsiteX17573" y="connsiteY17573"/>
              </a:cxn>
              <a:cxn ang="0">
                <a:pos x="connsiteX17574" y="connsiteY17574"/>
              </a:cxn>
              <a:cxn ang="0">
                <a:pos x="connsiteX17575" y="connsiteY17575"/>
              </a:cxn>
              <a:cxn ang="0">
                <a:pos x="connsiteX17576" y="connsiteY17576"/>
              </a:cxn>
              <a:cxn ang="0">
                <a:pos x="connsiteX17577" y="connsiteY17577"/>
              </a:cxn>
              <a:cxn ang="0">
                <a:pos x="connsiteX17578" y="connsiteY17578"/>
              </a:cxn>
              <a:cxn ang="0">
                <a:pos x="connsiteX17579" y="connsiteY17579"/>
              </a:cxn>
              <a:cxn ang="0">
                <a:pos x="connsiteX17580" y="connsiteY17580"/>
              </a:cxn>
              <a:cxn ang="0">
                <a:pos x="connsiteX17581" y="connsiteY17581"/>
              </a:cxn>
              <a:cxn ang="0">
                <a:pos x="connsiteX17582" y="connsiteY17582"/>
              </a:cxn>
              <a:cxn ang="0">
                <a:pos x="connsiteX17583" y="connsiteY17583"/>
              </a:cxn>
              <a:cxn ang="0">
                <a:pos x="connsiteX17584" y="connsiteY17584"/>
              </a:cxn>
              <a:cxn ang="0">
                <a:pos x="connsiteX17585" y="connsiteY17585"/>
              </a:cxn>
              <a:cxn ang="0">
                <a:pos x="connsiteX17586" y="connsiteY17586"/>
              </a:cxn>
              <a:cxn ang="0">
                <a:pos x="connsiteX17587" y="connsiteY17587"/>
              </a:cxn>
              <a:cxn ang="0">
                <a:pos x="connsiteX17588" y="connsiteY17588"/>
              </a:cxn>
              <a:cxn ang="0">
                <a:pos x="connsiteX17589" y="connsiteY17589"/>
              </a:cxn>
              <a:cxn ang="0">
                <a:pos x="connsiteX17590" y="connsiteY17590"/>
              </a:cxn>
              <a:cxn ang="0">
                <a:pos x="connsiteX17591" y="connsiteY17591"/>
              </a:cxn>
              <a:cxn ang="0">
                <a:pos x="connsiteX17592" y="connsiteY17592"/>
              </a:cxn>
              <a:cxn ang="0">
                <a:pos x="connsiteX17593" y="connsiteY17593"/>
              </a:cxn>
              <a:cxn ang="0">
                <a:pos x="connsiteX17594" y="connsiteY17594"/>
              </a:cxn>
              <a:cxn ang="0">
                <a:pos x="connsiteX17595" y="connsiteY17595"/>
              </a:cxn>
              <a:cxn ang="0">
                <a:pos x="connsiteX17596" y="connsiteY17596"/>
              </a:cxn>
              <a:cxn ang="0">
                <a:pos x="connsiteX17597" y="connsiteY17597"/>
              </a:cxn>
              <a:cxn ang="0">
                <a:pos x="connsiteX17598" y="connsiteY17598"/>
              </a:cxn>
              <a:cxn ang="0">
                <a:pos x="connsiteX17599" y="connsiteY17599"/>
              </a:cxn>
              <a:cxn ang="0">
                <a:pos x="connsiteX17600" y="connsiteY17600"/>
              </a:cxn>
              <a:cxn ang="0">
                <a:pos x="connsiteX17601" y="connsiteY17601"/>
              </a:cxn>
              <a:cxn ang="0">
                <a:pos x="connsiteX17602" y="connsiteY17602"/>
              </a:cxn>
              <a:cxn ang="0">
                <a:pos x="connsiteX17603" y="connsiteY17603"/>
              </a:cxn>
              <a:cxn ang="0">
                <a:pos x="connsiteX17604" y="connsiteY17604"/>
              </a:cxn>
              <a:cxn ang="0">
                <a:pos x="connsiteX17605" y="connsiteY17605"/>
              </a:cxn>
              <a:cxn ang="0">
                <a:pos x="connsiteX17606" y="connsiteY17606"/>
              </a:cxn>
              <a:cxn ang="0">
                <a:pos x="connsiteX17607" y="connsiteY17607"/>
              </a:cxn>
              <a:cxn ang="0">
                <a:pos x="connsiteX17608" y="connsiteY17608"/>
              </a:cxn>
              <a:cxn ang="0">
                <a:pos x="connsiteX17609" y="connsiteY17609"/>
              </a:cxn>
              <a:cxn ang="0">
                <a:pos x="connsiteX17610" y="connsiteY17610"/>
              </a:cxn>
              <a:cxn ang="0">
                <a:pos x="connsiteX17611" y="connsiteY17611"/>
              </a:cxn>
              <a:cxn ang="0">
                <a:pos x="connsiteX17612" y="connsiteY17612"/>
              </a:cxn>
              <a:cxn ang="0">
                <a:pos x="connsiteX17613" y="connsiteY17613"/>
              </a:cxn>
              <a:cxn ang="0">
                <a:pos x="connsiteX17614" y="connsiteY17614"/>
              </a:cxn>
              <a:cxn ang="0">
                <a:pos x="connsiteX17615" y="connsiteY17615"/>
              </a:cxn>
              <a:cxn ang="0">
                <a:pos x="connsiteX17616" y="connsiteY17616"/>
              </a:cxn>
              <a:cxn ang="0">
                <a:pos x="connsiteX17617" y="connsiteY17617"/>
              </a:cxn>
              <a:cxn ang="0">
                <a:pos x="connsiteX17618" y="connsiteY17618"/>
              </a:cxn>
              <a:cxn ang="0">
                <a:pos x="connsiteX17619" y="connsiteY17619"/>
              </a:cxn>
              <a:cxn ang="0">
                <a:pos x="connsiteX17620" y="connsiteY17620"/>
              </a:cxn>
              <a:cxn ang="0">
                <a:pos x="connsiteX17621" y="connsiteY17621"/>
              </a:cxn>
              <a:cxn ang="0">
                <a:pos x="connsiteX17622" y="connsiteY17622"/>
              </a:cxn>
              <a:cxn ang="0">
                <a:pos x="connsiteX17623" y="connsiteY17623"/>
              </a:cxn>
              <a:cxn ang="0">
                <a:pos x="connsiteX17624" y="connsiteY17624"/>
              </a:cxn>
              <a:cxn ang="0">
                <a:pos x="connsiteX17625" y="connsiteY17625"/>
              </a:cxn>
              <a:cxn ang="0">
                <a:pos x="connsiteX17626" y="connsiteY17626"/>
              </a:cxn>
              <a:cxn ang="0">
                <a:pos x="connsiteX17627" y="connsiteY17627"/>
              </a:cxn>
              <a:cxn ang="0">
                <a:pos x="connsiteX17628" y="connsiteY17628"/>
              </a:cxn>
              <a:cxn ang="0">
                <a:pos x="connsiteX17629" y="connsiteY17629"/>
              </a:cxn>
              <a:cxn ang="0">
                <a:pos x="connsiteX17630" y="connsiteY17630"/>
              </a:cxn>
              <a:cxn ang="0">
                <a:pos x="connsiteX17631" y="connsiteY17631"/>
              </a:cxn>
              <a:cxn ang="0">
                <a:pos x="connsiteX17632" y="connsiteY17632"/>
              </a:cxn>
              <a:cxn ang="0">
                <a:pos x="connsiteX17633" y="connsiteY17633"/>
              </a:cxn>
              <a:cxn ang="0">
                <a:pos x="connsiteX17634" y="connsiteY17634"/>
              </a:cxn>
              <a:cxn ang="0">
                <a:pos x="connsiteX17635" y="connsiteY17635"/>
              </a:cxn>
              <a:cxn ang="0">
                <a:pos x="connsiteX17636" y="connsiteY17636"/>
              </a:cxn>
              <a:cxn ang="0">
                <a:pos x="connsiteX17637" y="connsiteY17637"/>
              </a:cxn>
              <a:cxn ang="0">
                <a:pos x="connsiteX17638" y="connsiteY17638"/>
              </a:cxn>
              <a:cxn ang="0">
                <a:pos x="connsiteX17639" y="connsiteY17639"/>
              </a:cxn>
              <a:cxn ang="0">
                <a:pos x="connsiteX17640" y="connsiteY17640"/>
              </a:cxn>
              <a:cxn ang="0">
                <a:pos x="connsiteX17641" y="connsiteY17641"/>
              </a:cxn>
              <a:cxn ang="0">
                <a:pos x="connsiteX17642" y="connsiteY17642"/>
              </a:cxn>
              <a:cxn ang="0">
                <a:pos x="connsiteX17643" y="connsiteY17643"/>
              </a:cxn>
              <a:cxn ang="0">
                <a:pos x="connsiteX17644" y="connsiteY17644"/>
              </a:cxn>
              <a:cxn ang="0">
                <a:pos x="connsiteX17645" y="connsiteY17645"/>
              </a:cxn>
              <a:cxn ang="0">
                <a:pos x="connsiteX17646" y="connsiteY17646"/>
              </a:cxn>
              <a:cxn ang="0">
                <a:pos x="connsiteX17647" y="connsiteY17647"/>
              </a:cxn>
              <a:cxn ang="0">
                <a:pos x="connsiteX17648" y="connsiteY17648"/>
              </a:cxn>
              <a:cxn ang="0">
                <a:pos x="connsiteX17649" y="connsiteY17649"/>
              </a:cxn>
              <a:cxn ang="0">
                <a:pos x="connsiteX17650" y="connsiteY17650"/>
              </a:cxn>
              <a:cxn ang="0">
                <a:pos x="connsiteX17651" y="connsiteY17651"/>
              </a:cxn>
              <a:cxn ang="0">
                <a:pos x="connsiteX17652" y="connsiteY17652"/>
              </a:cxn>
              <a:cxn ang="0">
                <a:pos x="connsiteX17653" y="connsiteY17653"/>
              </a:cxn>
              <a:cxn ang="0">
                <a:pos x="connsiteX17654" y="connsiteY17654"/>
              </a:cxn>
              <a:cxn ang="0">
                <a:pos x="connsiteX17655" y="connsiteY17655"/>
              </a:cxn>
              <a:cxn ang="0">
                <a:pos x="connsiteX17656" y="connsiteY17656"/>
              </a:cxn>
              <a:cxn ang="0">
                <a:pos x="connsiteX17657" y="connsiteY17657"/>
              </a:cxn>
              <a:cxn ang="0">
                <a:pos x="connsiteX17658" y="connsiteY17658"/>
              </a:cxn>
              <a:cxn ang="0">
                <a:pos x="connsiteX17659" y="connsiteY17659"/>
              </a:cxn>
              <a:cxn ang="0">
                <a:pos x="connsiteX17660" y="connsiteY17660"/>
              </a:cxn>
              <a:cxn ang="0">
                <a:pos x="connsiteX17661" y="connsiteY17661"/>
              </a:cxn>
              <a:cxn ang="0">
                <a:pos x="connsiteX17662" y="connsiteY17662"/>
              </a:cxn>
              <a:cxn ang="0">
                <a:pos x="connsiteX17663" y="connsiteY17663"/>
              </a:cxn>
              <a:cxn ang="0">
                <a:pos x="connsiteX17664" y="connsiteY17664"/>
              </a:cxn>
              <a:cxn ang="0">
                <a:pos x="connsiteX17665" y="connsiteY17665"/>
              </a:cxn>
              <a:cxn ang="0">
                <a:pos x="connsiteX17666" y="connsiteY17666"/>
              </a:cxn>
              <a:cxn ang="0">
                <a:pos x="connsiteX17667" y="connsiteY17667"/>
              </a:cxn>
              <a:cxn ang="0">
                <a:pos x="connsiteX17668" y="connsiteY17668"/>
              </a:cxn>
              <a:cxn ang="0">
                <a:pos x="connsiteX17669" y="connsiteY17669"/>
              </a:cxn>
              <a:cxn ang="0">
                <a:pos x="connsiteX17670" y="connsiteY17670"/>
              </a:cxn>
              <a:cxn ang="0">
                <a:pos x="connsiteX17671" y="connsiteY17671"/>
              </a:cxn>
              <a:cxn ang="0">
                <a:pos x="connsiteX17672" y="connsiteY17672"/>
              </a:cxn>
              <a:cxn ang="0">
                <a:pos x="connsiteX17673" y="connsiteY17673"/>
              </a:cxn>
              <a:cxn ang="0">
                <a:pos x="connsiteX17674" y="connsiteY17674"/>
              </a:cxn>
              <a:cxn ang="0">
                <a:pos x="connsiteX17675" y="connsiteY17675"/>
              </a:cxn>
              <a:cxn ang="0">
                <a:pos x="connsiteX17676" y="connsiteY17676"/>
              </a:cxn>
              <a:cxn ang="0">
                <a:pos x="connsiteX17677" y="connsiteY17677"/>
              </a:cxn>
              <a:cxn ang="0">
                <a:pos x="connsiteX17678" y="connsiteY17678"/>
              </a:cxn>
              <a:cxn ang="0">
                <a:pos x="connsiteX17679" y="connsiteY17679"/>
              </a:cxn>
              <a:cxn ang="0">
                <a:pos x="connsiteX17680" y="connsiteY17680"/>
              </a:cxn>
              <a:cxn ang="0">
                <a:pos x="connsiteX17681" y="connsiteY17681"/>
              </a:cxn>
              <a:cxn ang="0">
                <a:pos x="connsiteX17682" y="connsiteY17682"/>
              </a:cxn>
              <a:cxn ang="0">
                <a:pos x="connsiteX17683" y="connsiteY17683"/>
              </a:cxn>
              <a:cxn ang="0">
                <a:pos x="connsiteX17684" y="connsiteY17684"/>
              </a:cxn>
              <a:cxn ang="0">
                <a:pos x="connsiteX17685" y="connsiteY17685"/>
              </a:cxn>
              <a:cxn ang="0">
                <a:pos x="connsiteX17686" y="connsiteY17686"/>
              </a:cxn>
              <a:cxn ang="0">
                <a:pos x="connsiteX17687" y="connsiteY17687"/>
              </a:cxn>
              <a:cxn ang="0">
                <a:pos x="connsiteX17688" y="connsiteY17688"/>
              </a:cxn>
              <a:cxn ang="0">
                <a:pos x="connsiteX17689" y="connsiteY17689"/>
              </a:cxn>
              <a:cxn ang="0">
                <a:pos x="connsiteX17690" y="connsiteY17690"/>
              </a:cxn>
              <a:cxn ang="0">
                <a:pos x="connsiteX17691" y="connsiteY17691"/>
              </a:cxn>
              <a:cxn ang="0">
                <a:pos x="connsiteX17692" y="connsiteY17692"/>
              </a:cxn>
              <a:cxn ang="0">
                <a:pos x="connsiteX17693" y="connsiteY17693"/>
              </a:cxn>
              <a:cxn ang="0">
                <a:pos x="connsiteX17694" y="connsiteY17694"/>
              </a:cxn>
              <a:cxn ang="0">
                <a:pos x="connsiteX17695" y="connsiteY17695"/>
              </a:cxn>
              <a:cxn ang="0">
                <a:pos x="connsiteX17696" y="connsiteY17696"/>
              </a:cxn>
              <a:cxn ang="0">
                <a:pos x="connsiteX17697" y="connsiteY17697"/>
              </a:cxn>
              <a:cxn ang="0">
                <a:pos x="connsiteX17698" y="connsiteY17698"/>
              </a:cxn>
              <a:cxn ang="0">
                <a:pos x="connsiteX17699" y="connsiteY17699"/>
              </a:cxn>
              <a:cxn ang="0">
                <a:pos x="connsiteX17700" y="connsiteY17700"/>
              </a:cxn>
              <a:cxn ang="0">
                <a:pos x="connsiteX17701" y="connsiteY17701"/>
              </a:cxn>
              <a:cxn ang="0">
                <a:pos x="connsiteX17702" y="connsiteY17702"/>
              </a:cxn>
              <a:cxn ang="0">
                <a:pos x="connsiteX17703" y="connsiteY17703"/>
              </a:cxn>
              <a:cxn ang="0">
                <a:pos x="connsiteX17704" y="connsiteY17704"/>
              </a:cxn>
              <a:cxn ang="0">
                <a:pos x="connsiteX17705" y="connsiteY17705"/>
              </a:cxn>
              <a:cxn ang="0">
                <a:pos x="connsiteX17706" y="connsiteY17706"/>
              </a:cxn>
              <a:cxn ang="0">
                <a:pos x="connsiteX17707" y="connsiteY17707"/>
              </a:cxn>
              <a:cxn ang="0">
                <a:pos x="connsiteX17708" y="connsiteY17708"/>
              </a:cxn>
              <a:cxn ang="0">
                <a:pos x="connsiteX17709" y="connsiteY17709"/>
              </a:cxn>
              <a:cxn ang="0">
                <a:pos x="connsiteX17710" y="connsiteY17710"/>
              </a:cxn>
              <a:cxn ang="0">
                <a:pos x="connsiteX17711" y="connsiteY17711"/>
              </a:cxn>
              <a:cxn ang="0">
                <a:pos x="connsiteX17712" y="connsiteY17712"/>
              </a:cxn>
              <a:cxn ang="0">
                <a:pos x="connsiteX17713" y="connsiteY17713"/>
              </a:cxn>
              <a:cxn ang="0">
                <a:pos x="connsiteX17714" y="connsiteY17714"/>
              </a:cxn>
              <a:cxn ang="0">
                <a:pos x="connsiteX17715" y="connsiteY17715"/>
              </a:cxn>
              <a:cxn ang="0">
                <a:pos x="connsiteX17716" y="connsiteY17716"/>
              </a:cxn>
              <a:cxn ang="0">
                <a:pos x="connsiteX17717" y="connsiteY17717"/>
              </a:cxn>
              <a:cxn ang="0">
                <a:pos x="connsiteX17718" y="connsiteY17718"/>
              </a:cxn>
              <a:cxn ang="0">
                <a:pos x="connsiteX17719" y="connsiteY17719"/>
              </a:cxn>
              <a:cxn ang="0">
                <a:pos x="connsiteX17720" y="connsiteY17720"/>
              </a:cxn>
              <a:cxn ang="0">
                <a:pos x="connsiteX17721" y="connsiteY17721"/>
              </a:cxn>
              <a:cxn ang="0">
                <a:pos x="connsiteX17722" y="connsiteY17722"/>
              </a:cxn>
              <a:cxn ang="0">
                <a:pos x="connsiteX17723" y="connsiteY17723"/>
              </a:cxn>
              <a:cxn ang="0">
                <a:pos x="connsiteX17724" y="connsiteY17724"/>
              </a:cxn>
              <a:cxn ang="0">
                <a:pos x="connsiteX17725" y="connsiteY17725"/>
              </a:cxn>
              <a:cxn ang="0">
                <a:pos x="connsiteX17726" y="connsiteY17726"/>
              </a:cxn>
              <a:cxn ang="0">
                <a:pos x="connsiteX17727" y="connsiteY17727"/>
              </a:cxn>
              <a:cxn ang="0">
                <a:pos x="connsiteX17728" y="connsiteY17728"/>
              </a:cxn>
              <a:cxn ang="0">
                <a:pos x="connsiteX17729" y="connsiteY17729"/>
              </a:cxn>
              <a:cxn ang="0">
                <a:pos x="connsiteX17730" y="connsiteY17730"/>
              </a:cxn>
              <a:cxn ang="0">
                <a:pos x="connsiteX17731" y="connsiteY17731"/>
              </a:cxn>
              <a:cxn ang="0">
                <a:pos x="connsiteX17732" y="connsiteY17732"/>
              </a:cxn>
              <a:cxn ang="0">
                <a:pos x="connsiteX17733" y="connsiteY17733"/>
              </a:cxn>
              <a:cxn ang="0">
                <a:pos x="connsiteX17734" y="connsiteY17734"/>
              </a:cxn>
              <a:cxn ang="0">
                <a:pos x="connsiteX17735" y="connsiteY17735"/>
              </a:cxn>
              <a:cxn ang="0">
                <a:pos x="connsiteX17736" y="connsiteY17736"/>
              </a:cxn>
              <a:cxn ang="0">
                <a:pos x="connsiteX17737" y="connsiteY17737"/>
              </a:cxn>
              <a:cxn ang="0">
                <a:pos x="connsiteX17738" y="connsiteY17738"/>
              </a:cxn>
              <a:cxn ang="0">
                <a:pos x="connsiteX17739" y="connsiteY17739"/>
              </a:cxn>
              <a:cxn ang="0">
                <a:pos x="connsiteX17740" y="connsiteY17740"/>
              </a:cxn>
              <a:cxn ang="0">
                <a:pos x="connsiteX17741" y="connsiteY17741"/>
              </a:cxn>
              <a:cxn ang="0">
                <a:pos x="connsiteX17742" y="connsiteY17742"/>
              </a:cxn>
              <a:cxn ang="0">
                <a:pos x="connsiteX17743" y="connsiteY17743"/>
              </a:cxn>
              <a:cxn ang="0">
                <a:pos x="connsiteX17744" y="connsiteY17744"/>
              </a:cxn>
              <a:cxn ang="0">
                <a:pos x="connsiteX17745" y="connsiteY17745"/>
              </a:cxn>
              <a:cxn ang="0">
                <a:pos x="connsiteX17746" y="connsiteY17746"/>
              </a:cxn>
              <a:cxn ang="0">
                <a:pos x="connsiteX17747" y="connsiteY17747"/>
              </a:cxn>
              <a:cxn ang="0">
                <a:pos x="connsiteX17748" y="connsiteY17748"/>
              </a:cxn>
              <a:cxn ang="0">
                <a:pos x="connsiteX17749" y="connsiteY17749"/>
              </a:cxn>
              <a:cxn ang="0">
                <a:pos x="connsiteX17750" y="connsiteY17750"/>
              </a:cxn>
              <a:cxn ang="0">
                <a:pos x="connsiteX17751" y="connsiteY17751"/>
              </a:cxn>
              <a:cxn ang="0">
                <a:pos x="connsiteX17752" y="connsiteY17752"/>
              </a:cxn>
              <a:cxn ang="0">
                <a:pos x="connsiteX17753" y="connsiteY17753"/>
              </a:cxn>
              <a:cxn ang="0">
                <a:pos x="connsiteX17754" y="connsiteY17754"/>
              </a:cxn>
              <a:cxn ang="0">
                <a:pos x="connsiteX17755" y="connsiteY17755"/>
              </a:cxn>
              <a:cxn ang="0">
                <a:pos x="connsiteX17756" y="connsiteY17756"/>
              </a:cxn>
              <a:cxn ang="0">
                <a:pos x="connsiteX17757" y="connsiteY17757"/>
              </a:cxn>
              <a:cxn ang="0">
                <a:pos x="connsiteX17758" y="connsiteY17758"/>
              </a:cxn>
              <a:cxn ang="0">
                <a:pos x="connsiteX17759" y="connsiteY17759"/>
              </a:cxn>
              <a:cxn ang="0">
                <a:pos x="connsiteX17760" y="connsiteY17760"/>
              </a:cxn>
              <a:cxn ang="0">
                <a:pos x="connsiteX17761" y="connsiteY17761"/>
              </a:cxn>
              <a:cxn ang="0">
                <a:pos x="connsiteX17762" y="connsiteY17762"/>
              </a:cxn>
              <a:cxn ang="0">
                <a:pos x="connsiteX17763" y="connsiteY17763"/>
              </a:cxn>
              <a:cxn ang="0">
                <a:pos x="connsiteX17764" y="connsiteY17764"/>
              </a:cxn>
              <a:cxn ang="0">
                <a:pos x="connsiteX17765" y="connsiteY17765"/>
              </a:cxn>
              <a:cxn ang="0">
                <a:pos x="connsiteX17766" y="connsiteY17766"/>
              </a:cxn>
              <a:cxn ang="0">
                <a:pos x="connsiteX17767" y="connsiteY17767"/>
              </a:cxn>
              <a:cxn ang="0">
                <a:pos x="connsiteX17768" y="connsiteY17768"/>
              </a:cxn>
              <a:cxn ang="0">
                <a:pos x="connsiteX17769" y="connsiteY17769"/>
              </a:cxn>
              <a:cxn ang="0">
                <a:pos x="connsiteX17770" y="connsiteY17770"/>
              </a:cxn>
              <a:cxn ang="0">
                <a:pos x="connsiteX17771" y="connsiteY17771"/>
              </a:cxn>
              <a:cxn ang="0">
                <a:pos x="connsiteX17772" y="connsiteY17772"/>
              </a:cxn>
              <a:cxn ang="0">
                <a:pos x="connsiteX17773" y="connsiteY17773"/>
              </a:cxn>
              <a:cxn ang="0">
                <a:pos x="connsiteX17774" y="connsiteY17774"/>
              </a:cxn>
              <a:cxn ang="0">
                <a:pos x="connsiteX17775" y="connsiteY17775"/>
              </a:cxn>
              <a:cxn ang="0">
                <a:pos x="connsiteX17776" y="connsiteY17776"/>
              </a:cxn>
              <a:cxn ang="0">
                <a:pos x="connsiteX17777" y="connsiteY17777"/>
              </a:cxn>
              <a:cxn ang="0">
                <a:pos x="connsiteX17778" y="connsiteY17778"/>
              </a:cxn>
              <a:cxn ang="0">
                <a:pos x="connsiteX17779" y="connsiteY17779"/>
              </a:cxn>
              <a:cxn ang="0">
                <a:pos x="connsiteX17780" y="connsiteY17780"/>
              </a:cxn>
              <a:cxn ang="0">
                <a:pos x="connsiteX17781" y="connsiteY17781"/>
              </a:cxn>
              <a:cxn ang="0">
                <a:pos x="connsiteX17782" y="connsiteY17782"/>
              </a:cxn>
              <a:cxn ang="0">
                <a:pos x="connsiteX17783" y="connsiteY17783"/>
              </a:cxn>
              <a:cxn ang="0">
                <a:pos x="connsiteX17784" y="connsiteY17784"/>
              </a:cxn>
              <a:cxn ang="0">
                <a:pos x="connsiteX17785" y="connsiteY17785"/>
              </a:cxn>
              <a:cxn ang="0">
                <a:pos x="connsiteX17786" y="connsiteY17786"/>
              </a:cxn>
              <a:cxn ang="0">
                <a:pos x="connsiteX17787" y="connsiteY17787"/>
              </a:cxn>
              <a:cxn ang="0">
                <a:pos x="connsiteX17788" y="connsiteY17788"/>
              </a:cxn>
              <a:cxn ang="0">
                <a:pos x="connsiteX17789" y="connsiteY17789"/>
              </a:cxn>
              <a:cxn ang="0">
                <a:pos x="connsiteX17790" y="connsiteY17790"/>
              </a:cxn>
              <a:cxn ang="0">
                <a:pos x="connsiteX17791" y="connsiteY17791"/>
              </a:cxn>
              <a:cxn ang="0">
                <a:pos x="connsiteX17792" y="connsiteY17792"/>
              </a:cxn>
              <a:cxn ang="0">
                <a:pos x="connsiteX17793" y="connsiteY17793"/>
              </a:cxn>
              <a:cxn ang="0">
                <a:pos x="connsiteX17794" y="connsiteY17794"/>
              </a:cxn>
              <a:cxn ang="0">
                <a:pos x="connsiteX17795" y="connsiteY17795"/>
              </a:cxn>
              <a:cxn ang="0">
                <a:pos x="connsiteX17796" y="connsiteY17796"/>
              </a:cxn>
              <a:cxn ang="0">
                <a:pos x="connsiteX17797" y="connsiteY17797"/>
              </a:cxn>
              <a:cxn ang="0">
                <a:pos x="connsiteX17798" y="connsiteY17798"/>
              </a:cxn>
              <a:cxn ang="0">
                <a:pos x="connsiteX17799" y="connsiteY17799"/>
              </a:cxn>
              <a:cxn ang="0">
                <a:pos x="connsiteX17800" y="connsiteY17800"/>
              </a:cxn>
              <a:cxn ang="0">
                <a:pos x="connsiteX17801" y="connsiteY17801"/>
              </a:cxn>
              <a:cxn ang="0">
                <a:pos x="connsiteX17802" y="connsiteY17802"/>
              </a:cxn>
              <a:cxn ang="0">
                <a:pos x="connsiteX17803" y="connsiteY17803"/>
              </a:cxn>
              <a:cxn ang="0">
                <a:pos x="connsiteX17804" y="connsiteY17804"/>
              </a:cxn>
              <a:cxn ang="0">
                <a:pos x="connsiteX17805" y="connsiteY17805"/>
              </a:cxn>
              <a:cxn ang="0">
                <a:pos x="connsiteX17806" y="connsiteY17806"/>
              </a:cxn>
              <a:cxn ang="0">
                <a:pos x="connsiteX17807" y="connsiteY17807"/>
              </a:cxn>
              <a:cxn ang="0">
                <a:pos x="connsiteX17808" y="connsiteY17808"/>
              </a:cxn>
              <a:cxn ang="0">
                <a:pos x="connsiteX17809" y="connsiteY17809"/>
              </a:cxn>
              <a:cxn ang="0">
                <a:pos x="connsiteX17810" y="connsiteY17810"/>
              </a:cxn>
              <a:cxn ang="0">
                <a:pos x="connsiteX17811" y="connsiteY17811"/>
              </a:cxn>
              <a:cxn ang="0">
                <a:pos x="connsiteX17812" y="connsiteY17812"/>
              </a:cxn>
              <a:cxn ang="0">
                <a:pos x="connsiteX17813" y="connsiteY17813"/>
              </a:cxn>
              <a:cxn ang="0">
                <a:pos x="connsiteX17814" y="connsiteY17814"/>
              </a:cxn>
              <a:cxn ang="0">
                <a:pos x="connsiteX17815" y="connsiteY17815"/>
              </a:cxn>
              <a:cxn ang="0">
                <a:pos x="connsiteX17816" y="connsiteY17816"/>
              </a:cxn>
              <a:cxn ang="0">
                <a:pos x="connsiteX17817" y="connsiteY17817"/>
              </a:cxn>
              <a:cxn ang="0">
                <a:pos x="connsiteX17818" y="connsiteY17818"/>
              </a:cxn>
              <a:cxn ang="0">
                <a:pos x="connsiteX17819" y="connsiteY17819"/>
              </a:cxn>
              <a:cxn ang="0">
                <a:pos x="connsiteX17820" y="connsiteY17820"/>
              </a:cxn>
              <a:cxn ang="0">
                <a:pos x="connsiteX17821" y="connsiteY17821"/>
              </a:cxn>
              <a:cxn ang="0">
                <a:pos x="connsiteX17822" y="connsiteY17822"/>
              </a:cxn>
              <a:cxn ang="0">
                <a:pos x="connsiteX17823" y="connsiteY17823"/>
              </a:cxn>
              <a:cxn ang="0">
                <a:pos x="connsiteX17824" y="connsiteY17824"/>
              </a:cxn>
              <a:cxn ang="0">
                <a:pos x="connsiteX17825" y="connsiteY17825"/>
              </a:cxn>
              <a:cxn ang="0">
                <a:pos x="connsiteX17826" y="connsiteY17826"/>
              </a:cxn>
              <a:cxn ang="0">
                <a:pos x="connsiteX17827" y="connsiteY17827"/>
              </a:cxn>
              <a:cxn ang="0">
                <a:pos x="connsiteX17828" y="connsiteY17828"/>
              </a:cxn>
              <a:cxn ang="0">
                <a:pos x="connsiteX17829" y="connsiteY17829"/>
              </a:cxn>
              <a:cxn ang="0">
                <a:pos x="connsiteX17830" y="connsiteY17830"/>
              </a:cxn>
              <a:cxn ang="0">
                <a:pos x="connsiteX17831" y="connsiteY17831"/>
              </a:cxn>
              <a:cxn ang="0">
                <a:pos x="connsiteX17832" y="connsiteY17832"/>
              </a:cxn>
              <a:cxn ang="0">
                <a:pos x="connsiteX17833" y="connsiteY17833"/>
              </a:cxn>
              <a:cxn ang="0">
                <a:pos x="connsiteX17834" y="connsiteY17834"/>
              </a:cxn>
              <a:cxn ang="0">
                <a:pos x="connsiteX17835" y="connsiteY17835"/>
              </a:cxn>
              <a:cxn ang="0">
                <a:pos x="connsiteX17836" y="connsiteY17836"/>
              </a:cxn>
              <a:cxn ang="0">
                <a:pos x="connsiteX17837" y="connsiteY17837"/>
              </a:cxn>
              <a:cxn ang="0">
                <a:pos x="connsiteX17838" y="connsiteY17838"/>
              </a:cxn>
              <a:cxn ang="0">
                <a:pos x="connsiteX17839" y="connsiteY17839"/>
              </a:cxn>
              <a:cxn ang="0">
                <a:pos x="connsiteX17840" y="connsiteY17840"/>
              </a:cxn>
              <a:cxn ang="0">
                <a:pos x="connsiteX17841" y="connsiteY17841"/>
              </a:cxn>
              <a:cxn ang="0">
                <a:pos x="connsiteX17842" y="connsiteY17842"/>
              </a:cxn>
              <a:cxn ang="0">
                <a:pos x="connsiteX17843" y="connsiteY17843"/>
              </a:cxn>
              <a:cxn ang="0">
                <a:pos x="connsiteX17844" y="connsiteY17844"/>
              </a:cxn>
              <a:cxn ang="0">
                <a:pos x="connsiteX17845" y="connsiteY17845"/>
              </a:cxn>
              <a:cxn ang="0">
                <a:pos x="connsiteX17846" y="connsiteY17846"/>
              </a:cxn>
              <a:cxn ang="0">
                <a:pos x="connsiteX17847" y="connsiteY17847"/>
              </a:cxn>
              <a:cxn ang="0">
                <a:pos x="connsiteX17848" y="connsiteY17848"/>
              </a:cxn>
              <a:cxn ang="0">
                <a:pos x="connsiteX17849" y="connsiteY17849"/>
              </a:cxn>
              <a:cxn ang="0">
                <a:pos x="connsiteX17850" y="connsiteY17850"/>
              </a:cxn>
              <a:cxn ang="0">
                <a:pos x="connsiteX17851" y="connsiteY17851"/>
              </a:cxn>
              <a:cxn ang="0">
                <a:pos x="connsiteX17852" y="connsiteY17852"/>
              </a:cxn>
              <a:cxn ang="0">
                <a:pos x="connsiteX17853" y="connsiteY17853"/>
              </a:cxn>
              <a:cxn ang="0">
                <a:pos x="connsiteX17854" y="connsiteY17854"/>
              </a:cxn>
              <a:cxn ang="0">
                <a:pos x="connsiteX17855" y="connsiteY17855"/>
              </a:cxn>
              <a:cxn ang="0">
                <a:pos x="connsiteX17856" y="connsiteY17856"/>
              </a:cxn>
              <a:cxn ang="0">
                <a:pos x="connsiteX17857" y="connsiteY17857"/>
              </a:cxn>
              <a:cxn ang="0">
                <a:pos x="connsiteX17858" y="connsiteY17858"/>
              </a:cxn>
              <a:cxn ang="0">
                <a:pos x="connsiteX17859" y="connsiteY17859"/>
              </a:cxn>
              <a:cxn ang="0">
                <a:pos x="connsiteX17860" y="connsiteY17860"/>
              </a:cxn>
              <a:cxn ang="0">
                <a:pos x="connsiteX17861" y="connsiteY17861"/>
              </a:cxn>
              <a:cxn ang="0">
                <a:pos x="connsiteX17862" y="connsiteY17862"/>
              </a:cxn>
              <a:cxn ang="0">
                <a:pos x="connsiteX17863" y="connsiteY17863"/>
              </a:cxn>
              <a:cxn ang="0">
                <a:pos x="connsiteX17864" y="connsiteY17864"/>
              </a:cxn>
              <a:cxn ang="0">
                <a:pos x="connsiteX17865" y="connsiteY17865"/>
              </a:cxn>
              <a:cxn ang="0">
                <a:pos x="connsiteX17866" y="connsiteY17866"/>
              </a:cxn>
              <a:cxn ang="0">
                <a:pos x="connsiteX17867" y="connsiteY17867"/>
              </a:cxn>
              <a:cxn ang="0">
                <a:pos x="connsiteX17868" y="connsiteY17868"/>
              </a:cxn>
              <a:cxn ang="0">
                <a:pos x="connsiteX17869" y="connsiteY17869"/>
              </a:cxn>
              <a:cxn ang="0">
                <a:pos x="connsiteX17870" y="connsiteY17870"/>
              </a:cxn>
              <a:cxn ang="0">
                <a:pos x="connsiteX17871" y="connsiteY17871"/>
              </a:cxn>
              <a:cxn ang="0">
                <a:pos x="connsiteX17872" y="connsiteY17872"/>
              </a:cxn>
              <a:cxn ang="0">
                <a:pos x="connsiteX17873" y="connsiteY17873"/>
              </a:cxn>
              <a:cxn ang="0">
                <a:pos x="connsiteX17874" y="connsiteY17874"/>
              </a:cxn>
              <a:cxn ang="0">
                <a:pos x="connsiteX17875" y="connsiteY17875"/>
              </a:cxn>
              <a:cxn ang="0">
                <a:pos x="connsiteX17876" y="connsiteY17876"/>
              </a:cxn>
              <a:cxn ang="0">
                <a:pos x="connsiteX17877" y="connsiteY17877"/>
              </a:cxn>
              <a:cxn ang="0">
                <a:pos x="connsiteX17878" y="connsiteY17878"/>
              </a:cxn>
              <a:cxn ang="0">
                <a:pos x="connsiteX17879" y="connsiteY17879"/>
              </a:cxn>
              <a:cxn ang="0">
                <a:pos x="connsiteX17880" y="connsiteY17880"/>
              </a:cxn>
              <a:cxn ang="0">
                <a:pos x="connsiteX17881" y="connsiteY17881"/>
              </a:cxn>
              <a:cxn ang="0">
                <a:pos x="connsiteX17882" y="connsiteY17882"/>
              </a:cxn>
              <a:cxn ang="0">
                <a:pos x="connsiteX17883" y="connsiteY17883"/>
              </a:cxn>
              <a:cxn ang="0">
                <a:pos x="connsiteX17884" y="connsiteY17884"/>
              </a:cxn>
              <a:cxn ang="0">
                <a:pos x="connsiteX17885" y="connsiteY17885"/>
              </a:cxn>
              <a:cxn ang="0">
                <a:pos x="connsiteX17886" y="connsiteY17886"/>
              </a:cxn>
              <a:cxn ang="0">
                <a:pos x="connsiteX17887" y="connsiteY17887"/>
              </a:cxn>
              <a:cxn ang="0">
                <a:pos x="connsiteX17888" y="connsiteY17888"/>
              </a:cxn>
              <a:cxn ang="0">
                <a:pos x="connsiteX17889" y="connsiteY17889"/>
              </a:cxn>
              <a:cxn ang="0">
                <a:pos x="connsiteX17890" y="connsiteY17890"/>
              </a:cxn>
              <a:cxn ang="0">
                <a:pos x="connsiteX17891" y="connsiteY17891"/>
              </a:cxn>
              <a:cxn ang="0">
                <a:pos x="connsiteX17892" y="connsiteY17892"/>
              </a:cxn>
              <a:cxn ang="0">
                <a:pos x="connsiteX17893" y="connsiteY17893"/>
              </a:cxn>
              <a:cxn ang="0">
                <a:pos x="connsiteX17894" y="connsiteY17894"/>
              </a:cxn>
              <a:cxn ang="0">
                <a:pos x="connsiteX17895" y="connsiteY17895"/>
              </a:cxn>
              <a:cxn ang="0">
                <a:pos x="connsiteX17896" y="connsiteY17896"/>
              </a:cxn>
              <a:cxn ang="0">
                <a:pos x="connsiteX17897" y="connsiteY17897"/>
              </a:cxn>
              <a:cxn ang="0">
                <a:pos x="connsiteX17898" y="connsiteY17898"/>
              </a:cxn>
              <a:cxn ang="0">
                <a:pos x="connsiteX17899" y="connsiteY17899"/>
              </a:cxn>
              <a:cxn ang="0">
                <a:pos x="connsiteX17900" y="connsiteY17900"/>
              </a:cxn>
              <a:cxn ang="0">
                <a:pos x="connsiteX17901" y="connsiteY17901"/>
              </a:cxn>
              <a:cxn ang="0">
                <a:pos x="connsiteX17902" y="connsiteY17902"/>
              </a:cxn>
              <a:cxn ang="0">
                <a:pos x="connsiteX17903" y="connsiteY17903"/>
              </a:cxn>
              <a:cxn ang="0">
                <a:pos x="connsiteX17904" y="connsiteY17904"/>
              </a:cxn>
              <a:cxn ang="0">
                <a:pos x="connsiteX17905" y="connsiteY17905"/>
              </a:cxn>
              <a:cxn ang="0">
                <a:pos x="connsiteX17906" y="connsiteY17906"/>
              </a:cxn>
              <a:cxn ang="0">
                <a:pos x="connsiteX17907" y="connsiteY17907"/>
              </a:cxn>
              <a:cxn ang="0">
                <a:pos x="connsiteX17908" y="connsiteY17908"/>
              </a:cxn>
              <a:cxn ang="0">
                <a:pos x="connsiteX17909" y="connsiteY17909"/>
              </a:cxn>
              <a:cxn ang="0">
                <a:pos x="connsiteX17910" y="connsiteY17910"/>
              </a:cxn>
              <a:cxn ang="0">
                <a:pos x="connsiteX17911" y="connsiteY17911"/>
              </a:cxn>
              <a:cxn ang="0">
                <a:pos x="connsiteX17912" y="connsiteY17912"/>
              </a:cxn>
              <a:cxn ang="0">
                <a:pos x="connsiteX17913" y="connsiteY17913"/>
              </a:cxn>
              <a:cxn ang="0">
                <a:pos x="connsiteX17914" y="connsiteY17914"/>
              </a:cxn>
              <a:cxn ang="0">
                <a:pos x="connsiteX17915" y="connsiteY17915"/>
              </a:cxn>
              <a:cxn ang="0">
                <a:pos x="connsiteX17916" y="connsiteY17916"/>
              </a:cxn>
              <a:cxn ang="0">
                <a:pos x="connsiteX17917" y="connsiteY17917"/>
              </a:cxn>
              <a:cxn ang="0">
                <a:pos x="connsiteX17918" y="connsiteY17918"/>
              </a:cxn>
              <a:cxn ang="0">
                <a:pos x="connsiteX17919" y="connsiteY17919"/>
              </a:cxn>
              <a:cxn ang="0">
                <a:pos x="connsiteX17920" y="connsiteY17920"/>
              </a:cxn>
              <a:cxn ang="0">
                <a:pos x="connsiteX17921" y="connsiteY17921"/>
              </a:cxn>
              <a:cxn ang="0">
                <a:pos x="connsiteX17922" y="connsiteY17922"/>
              </a:cxn>
              <a:cxn ang="0">
                <a:pos x="connsiteX17923" y="connsiteY17923"/>
              </a:cxn>
              <a:cxn ang="0">
                <a:pos x="connsiteX17924" y="connsiteY17924"/>
              </a:cxn>
              <a:cxn ang="0">
                <a:pos x="connsiteX17925" y="connsiteY17925"/>
              </a:cxn>
              <a:cxn ang="0">
                <a:pos x="connsiteX17926" y="connsiteY17926"/>
              </a:cxn>
              <a:cxn ang="0">
                <a:pos x="connsiteX17927" y="connsiteY17927"/>
              </a:cxn>
              <a:cxn ang="0">
                <a:pos x="connsiteX17928" y="connsiteY17928"/>
              </a:cxn>
              <a:cxn ang="0">
                <a:pos x="connsiteX17929" y="connsiteY17929"/>
              </a:cxn>
              <a:cxn ang="0">
                <a:pos x="connsiteX17930" y="connsiteY17930"/>
              </a:cxn>
              <a:cxn ang="0">
                <a:pos x="connsiteX17931" y="connsiteY17931"/>
              </a:cxn>
              <a:cxn ang="0">
                <a:pos x="connsiteX17932" y="connsiteY17932"/>
              </a:cxn>
              <a:cxn ang="0">
                <a:pos x="connsiteX17933" y="connsiteY17933"/>
              </a:cxn>
              <a:cxn ang="0">
                <a:pos x="connsiteX17934" y="connsiteY17934"/>
              </a:cxn>
              <a:cxn ang="0">
                <a:pos x="connsiteX17935" y="connsiteY17935"/>
              </a:cxn>
              <a:cxn ang="0">
                <a:pos x="connsiteX17936" y="connsiteY17936"/>
              </a:cxn>
              <a:cxn ang="0">
                <a:pos x="connsiteX17937" y="connsiteY17937"/>
              </a:cxn>
              <a:cxn ang="0">
                <a:pos x="connsiteX17938" y="connsiteY17938"/>
              </a:cxn>
              <a:cxn ang="0">
                <a:pos x="connsiteX17939" y="connsiteY17939"/>
              </a:cxn>
              <a:cxn ang="0">
                <a:pos x="connsiteX17940" y="connsiteY17940"/>
              </a:cxn>
              <a:cxn ang="0">
                <a:pos x="connsiteX17941" y="connsiteY17941"/>
              </a:cxn>
              <a:cxn ang="0">
                <a:pos x="connsiteX17942" y="connsiteY17942"/>
              </a:cxn>
              <a:cxn ang="0">
                <a:pos x="connsiteX17943" y="connsiteY17943"/>
              </a:cxn>
              <a:cxn ang="0">
                <a:pos x="connsiteX17944" y="connsiteY17944"/>
              </a:cxn>
              <a:cxn ang="0">
                <a:pos x="connsiteX17945" y="connsiteY17945"/>
              </a:cxn>
              <a:cxn ang="0">
                <a:pos x="connsiteX17946" y="connsiteY17946"/>
              </a:cxn>
              <a:cxn ang="0">
                <a:pos x="connsiteX17947" y="connsiteY17947"/>
              </a:cxn>
              <a:cxn ang="0">
                <a:pos x="connsiteX17948" y="connsiteY17948"/>
              </a:cxn>
              <a:cxn ang="0">
                <a:pos x="connsiteX17949" y="connsiteY17949"/>
              </a:cxn>
              <a:cxn ang="0">
                <a:pos x="connsiteX17950" y="connsiteY17950"/>
              </a:cxn>
              <a:cxn ang="0">
                <a:pos x="connsiteX17951" y="connsiteY17951"/>
              </a:cxn>
              <a:cxn ang="0">
                <a:pos x="connsiteX17952" y="connsiteY17952"/>
              </a:cxn>
              <a:cxn ang="0">
                <a:pos x="connsiteX17953" y="connsiteY17953"/>
              </a:cxn>
              <a:cxn ang="0">
                <a:pos x="connsiteX17954" y="connsiteY17954"/>
              </a:cxn>
              <a:cxn ang="0">
                <a:pos x="connsiteX17955" y="connsiteY17955"/>
              </a:cxn>
              <a:cxn ang="0">
                <a:pos x="connsiteX17956" y="connsiteY17956"/>
              </a:cxn>
              <a:cxn ang="0">
                <a:pos x="connsiteX17957" y="connsiteY17957"/>
              </a:cxn>
              <a:cxn ang="0">
                <a:pos x="connsiteX17958" y="connsiteY17958"/>
              </a:cxn>
              <a:cxn ang="0">
                <a:pos x="connsiteX17959" y="connsiteY17959"/>
              </a:cxn>
              <a:cxn ang="0">
                <a:pos x="connsiteX17960" y="connsiteY17960"/>
              </a:cxn>
              <a:cxn ang="0">
                <a:pos x="connsiteX17961" y="connsiteY17961"/>
              </a:cxn>
              <a:cxn ang="0">
                <a:pos x="connsiteX17962" y="connsiteY17962"/>
              </a:cxn>
              <a:cxn ang="0">
                <a:pos x="connsiteX17963" y="connsiteY17963"/>
              </a:cxn>
              <a:cxn ang="0">
                <a:pos x="connsiteX17964" y="connsiteY17964"/>
              </a:cxn>
              <a:cxn ang="0">
                <a:pos x="connsiteX17965" y="connsiteY17965"/>
              </a:cxn>
              <a:cxn ang="0">
                <a:pos x="connsiteX17966" y="connsiteY17966"/>
              </a:cxn>
              <a:cxn ang="0">
                <a:pos x="connsiteX17967" y="connsiteY17967"/>
              </a:cxn>
              <a:cxn ang="0">
                <a:pos x="connsiteX17968" y="connsiteY17968"/>
              </a:cxn>
              <a:cxn ang="0">
                <a:pos x="connsiteX17969" y="connsiteY17969"/>
              </a:cxn>
              <a:cxn ang="0">
                <a:pos x="connsiteX17970" y="connsiteY17970"/>
              </a:cxn>
              <a:cxn ang="0">
                <a:pos x="connsiteX17971" y="connsiteY17971"/>
              </a:cxn>
              <a:cxn ang="0">
                <a:pos x="connsiteX17972" y="connsiteY17972"/>
              </a:cxn>
              <a:cxn ang="0">
                <a:pos x="connsiteX17973" y="connsiteY17973"/>
              </a:cxn>
              <a:cxn ang="0">
                <a:pos x="connsiteX17974" y="connsiteY17974"/>
              </a:cxn>
              <a:cxn ang="0">
                <a:pos x="connsiteX17975" y="connsiteY17975"/>
              </a:cxn>
              <a:cxn ang="0">
                <a:pos x="connsiteX17976" y="connsiteY17976"/>
              </a:cxn>
              <a:cxn ang="0">
                <a:pos x="connsiteX17977" y="connsiteY17977"/>
              </a:cxn>
              <a:cxn ang="0">
                <a:pos x="connsiteX17978" y="connsiteY17978"/>
              </a:cxn>
              <a:cxn ang="0">
                <a:pos x="connsiteX17979" y="connsiteY17979"/>
              </a:cxn>
              <a:cxn ang="0">
                <a:pos x="connsiteX17980" y="connsiteY17980"/>
              </a:cxn>
              <a:cxn ang="0">
                <a:pos x="connsiteX17981" y="connsiteY17981"/>
              </a:cxn>
              <a:cxn ang="0">
                <a:pos x="connsiteX17982" y="connsiteY17982"/>
              </a:cxn>
              <a:cxn ang="0">
                <a:pos x="connsiteX17983" y="connsiteY17983"/>
              </a:cxn>
              <a:cxn ang="0">
                <a:pos x="connsiteX17984" y="connsiteY17984"/>
              </a:cxn>
              <a:cxn ang="0">
                <a:pos x="connsiteX17985" y="connsiteY17985"/>
              </a:cxn>
              <a:cxn ang="0">
                <a:pos x="connsiteX17986" y="connsiteY17986"/>
              </a:cxn>
              <a:cxn ang="0">
                <a:pos x="connsiteX17987" y="connsiteY17987"/>
              </a:cxn>
              <a:cxn ang="0">
                <a:pos x="connsiteX17988" y="connsiteY17988"/>
              </a:cxn>
              <a:cxn ang="0">
                <a:pos x="connsiteX17989" y="connsiteY17989"/>
              </a:cxn>
              <a:cxn ang="0">
                <a:pos x="connsiteX17990" y="connsiteY17990"/>
              </a:cxn>
              <a:cxn ang="0">
                <a:pos x="connsiteX17991" y="connsiteY17991"/>
              </a:cxn>
              <a:cxn ang="0">
                <a:pos x="connsiteX17992" y="connsiteY17992"/>
              </a:cxn>
              <a:cxn ang="0">
                <a:pos x="connsiteX17993" y="connsiteY17993"/>
              </a:cxn>
              <a:cxn ang="0">
                <a:pos x="connsiteX17994" y="connsiteY17994"/>
              </a:cxn>
              <a:cxn ang="0">
                <a:pos x="connsiteX17995" y="connsiteY17995"/>
              </a:cxn>
              <a:cxn ang="0">
                <a:pos x="connsiteX17996" y="connsiteY17996"/>
              </a:cxn>
              <a:cxn ang="0">
                <a:pos x="connsiteX17997" y="connsiteY17997"/>
              </a:cxn>
              <a:cxn ang="0">
                <a:pos x="connsiteX17998" y="connsiteY17998"/>
              </a:cxn>
              <a:cxn ang="0">
                <a:pos x="connsiteX17999" y="connsiteY17999"/>
              </a:cxn>
              <a:cxn ang="0">
                <a:pos x="connsiteX18000" y="connsiteY18000"/>
              </a:cxn>
              <a:cxn ang="0">
                <a:pos x="connsiteX18001" y="connsiteY18001"/>
              </a:cxn>
              <a:cxn ang="0">
                <a:pos x="connsiteX18002" y="connsiteY18002"/>
              </a:cxn>
              <a:cxn ang="0">
                <a:pos x="connsiteX18003" y="connsiteY18003"/>
              </a:cxn>
              <a:cxn ang="0">
                <a:pos x="connsiteX18004" y="connsiteY18004"/>
              </a:cxn>
              <a:cxn ang="0">
                <a:pos x="connsiteX18005" y="connsiteY18005"/>
              </a:cxn>
              <a:cxn ang="0">
                <a:pos x="connsiteX18006" y="connsiteY18006"/>
              </a:cxn>
              <a:cxn ang="0">
                <a:pos x="connsiteX18007" y="connsiteY18007"/>
              </a:cxn>
              <a:cxn ang="0">
                <a:pos x="connsiteX18008" y="connsiteY18008"/>
              </a:cxn>
              <a:cxn ang="0">
                <a:pos x="connsiteX18009" y="connsiteY18009"/>
              </a:cxn>
              <a:cxn ang="0">
                <a:pos x="connsiteX18010" y="connsiteY18010"/>
              </a:cxn>
              <a:cxn ang="0">
                <a:pos x="connsiteX18011" y="connsiteY18011"/>
              </a:cxn>
              <a:cxn ang="0">
                <a:pos x="connsiteX18012" y="connsiteY18012"/>
              </a:cxn>
              <a:cxn ang="0">
                <a:pos x="connsiteX18013" y="connsiteY18013"/>
              </a:cxn>
              <a:cxn ang="0">
                <a:pos x="connsiteX18014" y="connsiteY18014"/>
              </a:cxn>
              <a:cxn ang="0">
                <a:pos x="connsiteX18015" y="connsiteY18015"/>
              </a:cxn>
              <a:cxn ang="0">
                <a:pos x="connsiteX18016" y="connsiteY18016"/>
              </a:cxn>
              <a:cxn ang="0">
                <a:pos x="connsiteX18017" y="connsiteY18017"/>
              </a:cxn>
              <a:cxn ang="0">
                <a:pos x="connsiteX18018" y="connsiteY18018"/>
              </a:cxn>
              <a:cxn ang="0">
                <a:pos x="connsiteX18019" y="connsiteY18019"/>
              </a:cxn>
              <a:cxn ang="0">
                <a:pos x="connsiteX18020" y="connsiteY18020"/>
              </a:cxn>
              <a:cxn ang="0">
                <a:pos x="connsiteX18021" y="connsiteY18021"/>
              </a:cxn>
              <a:cxn ang="0">
                <a:pos x="connsiteX18022" y="connsiteY18022"/>
              </a:cxn>
              <a:cxn ang="0">
                <a:pos x="connsiteX18023" y="connsiteY18023"/>
              </a:cxn>
              <a:cxn ang="0">
                <a:pos x="connsiteX18024" y="connsiteY18024"/>
              </a:cxn>
              <a:cxn ang="0">
                <a:pos x="connsiteX18025" y="connsiteY18025"/>
              </a:cxn>
              <a:cxn ang="0">
                <a:pos x="connsiteX18026" y="connsiteY18026"/>
              </a:cxn>
              <a:cxn ang="0">
                <a:pos x="connsiteX18027" y="connsiteY18027"/>
              </a:cxn>
              <a:cxn ang="0">
                <a:pos x="connsiteX18028" y="connsiteY18028"/>
              </a:cxn>
              <a:cxn ang="0">
                <a:pos x="connsiteX18029" y="connsiteY18029"/>
              </a:cxn>
              <a:cxn ang="0">
                <a:pos x="connsiteX18030" y="connsiteY18030"/>
              </a:cxn>
              <a:cxn ang="0">
                <a:pos x="connsiteX18031" y="connsiteY18031"/>
              </a:cxn>
              <a:cxn ang="0">
                <a:pos x="connsiteX18032" y="connsiteY18032"/>
              </a:cxn>
              <a:cxn ang="0">
                <a:pos x="connsiteX18033" y="connsiteY18033"/>
              </a:cxn>
              <a:cxn ang="0">
                <a:pos x="connsiteX18034" y="connsiteY18034"/>
              </a:cxn>
              <a:cxn ang="0">
                <a:pos x="connsiteX18035" y="connsiteY18035"/>
              </a:cxn>
              <a:cxn ang="0">
                <a:pos x="connsiteX18036" y="connsiteY18036"/>
              </a:cxn>
              <a:cxn ang="0">
                <a:pos x="connsiteX18037" y="connsiteY18037"/>
              </a:cxn>
              <a:cxn ang="0">
                <a:pos x="connsiteX18038" y="connsiteY18038"/>
              </a:cxn>
              <a:cxn ang="0">
                <a:pos x="connsiteX18039" y="connsiteY18039"/>
              </a:cxn>
              <a:cxn ang="0">
                <a:pos x="connsiteX18040" y="connsiteY18040"/>
              </a:cxn>
              <a:cxn ang="0">
                <a:pos x="connsiteX18041" y="connsiteY18041"/>
              </a:cxn>
              <a:cxn ang="0">
                <a:pos x="connsiteX18042" y="connsiteY18042"/>
              </a:cxn>
              <a:cxn ang="0">
                <a:pos x="connsiteX18043" y="connsiteY18043"/>
              </a:cxn>
              <a:cxn ang="0">
                <a:pos x="connsiteX18044" y="connsiteY18044"/>
              </a:cxn>
              <a:cxn ang="0">
                <a:pos x="connsiteX18045" y="connsiteY18045"/>
              </a:cxn>
              <a:cxn ang="0">
                <a:pos x="connsiteX18046" y="connsiteY18046"/>
              </a:cxn>
              <a:cxn ang="0">
                <a:pos x="connsiteX18047" y="connsiteY18047"/>
              </a:cxn>
              <a:cxn ang="0">
                <a:pos x="connsiteX18048" y="connsiteY18048"/>
              </a:cxn>
              <a:cxn ang="0">
                <a:pos x="connsiteX18049" y="connsiteY18049"/>
              </a:cxn>
              <a:cxn ang="0">
                <a:pos x="connsiteX18050" y="connsiteY18050"/>
              </a:cxn>
              <a:cxn ang="0">
                <a:pos x="connsiteX18051" y="connsiteY18051"/>
              </a:cxn>
              <a:cxn ang="0">
                <a:pos x="connsiteX18052" y="connsiteY18052"/>
              </a:cxn>
              <a:cxn ang="0">
                <a:pos x="connsiteX18053" y="connsiteY18053"/>
              </a:cxn>
              <a:cxn ang="0">
                <a:pos x="connsiteX18054" y="connsiteY18054"/>
              </a:cxn>
              <a:cxn ang="0">
                <a:pos x="connsiteX18055" y="connsiteY18055"/>
              </a:cxn>
              <a:cxn ang="0">
                <a:pos x="connsiteX18056" y="connsiteY18056"/>
              </a:cxn>
              <a:cxn ang="0">
                <a:pos x="connsiteX18057" y="connsiteY18057"/>
              </a:cxn>
              <a:cxn ang="0">
                <a:pos x="connsiteX18058" y="connsiteY18058"/>
              </a:cxn>
              <a:cxn ang="0">
                <a:pos x="connsiteX18059" y="connsiteY18059"/>
              </a:cxn>
              <a:cxn ang="0">
                <a:pos x="connsiteX18060" y="connsiteY18060"/>
              </a:cxn>
              <a:cxn ang="0">
                <a:pos x="connsiteX18061" y="connsiteY18061"/>
              </a:cxn>
              <a:cxn ang="0">
                <a:pos x="connsiteX18062" y="connsiteY18062"/>
              </a:cxn>
              <a:cxn ang="0">
                <a:pos x="connsiteX18063" y="connsiteY18063"/>
              </a:cxn>
              <a:cxn ang="0">
                <a:pos x="connsiteX18064" y="connsiteY18064"/>
              </a:cxn>
              <a:cxn ang="0">
                <a:pos x="connsiteX18065" y="connsiteY18065"/>
              </a:cxn>
              <a:cxn ang="0">
                <a:pos x="connsiteX18066" y="connsiteY18066"/>
              </a:cxn>
              <a:cxn ang="0">
                <a:pos x="connsiteX18067" y="connsiteY18067"/>
              </a:cxn>
              <a:cxn ang="0">
                <a:pos x="connsiteX18068" y="connsiteY18068"/>
              </a:cxn>
              <a:cxn ang="0">
                <a:pos x="connsiteX18069" y="connsiteY18069"/>
              </a:cxn>
              <a:cxn ang="0">
                <a:pos x="connsiteX18070" y="connsiteY18070"/>
              </a:cxn>
              <a:cxn ang="0">
                <a:pos x="connsiteX18071" y="connsiteY18071"/>
              </a:cxn>
              <a:cxn ang="0">
                <a:pos x="connsiteX18072" y="connsiteY18072"/>
              </a:cxn>
              <a:cxn ang="0">
                <a:pos x="connsiteX18073" y="connsiteY18073"/>
              </a:cxn>
              <a:cxn ang="0">
                <a:pos x="connsiteX18074" y="connsiteY18074"/>
              </a:cxn>
              <a:cxn ang="0">
                <a:pos x="connsiteX18075" y="connsiteY18075"/>
              </a:cxn>
              <a:cxn ang="0">
                <a:pos x="connsiteX18076" y="connsiteY18076"/>
              </a:cxn>
              <a:cxn ang="0">
                <a:pos x="connsiteX18077" y="connsiteY18077"/>
              </a:cxn>
              <a:cxn ang="0">
                <a:pos x="connsiteX18078" y="connsiteY18078"/>
              </a:cxn>
              <a:cxn ang="0">
                <a:pos x="connsiteX18079" y="connsiteY18079"/>
              </a:cxn>
              <a:cxn ang="0">
                <a:pos x="connsiteX18080" y="connsiteY18080"/>
              </a:cxn>
              <a:cxn ang="0">
                <a:pos x="connsiteX18081" y="connsiteY18081"/>
              </a:cxn>
              <a:cxn ang="0">
                <a:pos x="connsiteX18082" y="connsiteY18082"/>
              </a:cxn>
              <a:cxn ang="0">
                <a:pos x="connsiteX18083" y="connsiteY18083"/>
              </a:cxn>
              <a:cxn ang="0">
                <a:pos x="connsiteX18084" y="connsiteY18084"/>
              </a:cxn>
              <a:cxn ang="0">
                <a:pos x="connsiteX18085" y="connsiteY18085"/>
              </a:cxn>
              <a:cxn ang="0">
                <a:pos x="connsiteX18086" y="connsiteY18086"/>
              </a:cxn>
              <a:cxn ang="0">
                <a:pos x="connsiteX18087" y="connsiteY18087"/>
              </a:cxn>
              <a:cxn ang="0">
                <a:pos x="connsiteX18088" y="connsiteY18088"/>
              </a:cxn>
              <a:cxn ang="0">
                <a:pos x="connsiteX18089" y="connsiteY18089"/>
              </a:cxn>
              <a:cxn ang="0">
                <a:pos x="connsiteX18090" y="connsiteY18090"/>
              </a:cxn>
              <a:cxn ang="0">
                <a:pos x="connsiteX18091" y="connsiteY18091"/>
              </a:cxn>
              <a:cxn ang="0">
                <a:pos x="connsiteX18092" y="connsiteY18092"/>
              </a:cxn>
              <a:cxn ang="0">
                <a:pos x="connsiteX18093" y="connsiteY18093"/>
              </a:cxn>
              <a:cxn ang="0">
                <a:pos x="connsiteX18094" y="connsiteY18094"/>
              </a:cxn>
              <a:cxn ang="0">
                <a:pos x="connsiteX18095" y="connsiteY18095"/>
              </a:cxn>
              <a:cxn ang="0">
                <a:pos x="connsiteX18096" y="connsiteY18096"/>
              </a:cxn>
              <a:cxn ang="0">
                <a:pos x="connsiteX18097" y="connsiteY18097"/>
              </a:cxn>
              <a:cxn ang="0">
                <a:pos x="connsiteX18098" y="connsiteY18098"/>
              </a:cxn>
              <a:cxn ang="0">
                <a:pos x="connsiteX18099" y="connsiteY18099"/>
              </a:cxn>
              <a:cxn ang="0">
                <a:pos x="connsiteX18100" y="connsiteY18100"/>
              </a:cxn>
              <a:cxn ang="0">
                <a:pos x="connsiteX18101" y="connsiteY18101"/>
              </a:cxn>
              <a:cxn ang="0">
                <a:pos x="connsiteX18102" y="connsiteY18102"/>
              </a:cxn>
              <a:cxn ang="0">
                <a:pos x="connsiteX18103" y="connsiteY18103"/>
              </a:cxn>
              <a:cxn ang="0">
                <a:pos x="connsiteX18104" y="connsiteY18104"/>
              </a:cxn>
              <a:cxn ang="0">
                <a:pos x="connsiteX18105" y="connsiteY18105"/>
              </a:cxn>
              <a:cxn ang="0">
                <a:pos x="connsiteX18106" y="connsiteY18106"/>
              </a:cxn>
              <a:cxn ang="0">
                <a:pos x="connsiteX18107" y="connsiteY18107"/>
              </a:cxn>
              <a:cxn ang="0">
                <a:pos x="connsiteX18108" y="connsiteY18108"/>
              </a:cxn>
              <a:cxn ang="0">
                <a:pos x="connsiteX18109" y="connsiteY18109"/>
              </a:cxn>
              <a:cxn ang="0">
                <a:pos x="connsiteX18110" y="connsiteY18110"/>
              </a:cxn>
              <a:cxn ang="0">
                <a:pos x="connsiteX18111" y="connsiteY18111"/>
              </a:cxn>
              <a:cxn ang="0">
                <a:pos x="connsiteX18112" y="connsiteY18112"/>
              </a:cxn>
              <a:cxn ang="0">
                <a:pos x="connsiteX18113" y="connsiteY18113"/>
              </a:cxn>
              <a:cxn ang="0">
                <a:pos x="connsiteX18114" y="connsiteY18114"/>
              </a:cxn>
              <a:cxn ang="0">
                <a:pos x="connsiteX18115" y="connsiteY18115"/>
              </a:cxn>
              <a:cxn ang="0">
                <a:pos x="connsiteX18116" y="connsiteY18116"/>
              </a:cxn>
              <a:cxn ang="0">
                <a:pos x="connsiteX18117" y="connsiteY18117"/>
              </a:cxn>
              <a:cxn ang="0">
                <a:pos x="connsiteX18118" y="connsiteY18118"/>
              </a:cxn>
              <a:cxn ang="0">
                <a:pos x="connsiteX18119" y="connsiteY18119"/>
              </a:cxn>
              <a:cxn ang="0">
                <a:pos x="connsiteX18120" y="connsiteY18120"/>
              </a:cxn>
              <a:cxn ang="0">
                <a:pos x="connsiteX18121" y="connsiteY18121"/>
              </a:cxn>
              <a:cxn ang="0">
                <a:pos x="connsiteX18122" y="connsiteY18122"/>
              </a:cxn>
              <a:cxn ang="0">
                <a:pos x="connsiteX18123" y="connsiteY18123"/>
              </a:cxn>
              <a:cxn ang="0">
                <a:pos x="connsiteX18124" y="connsiteY18124"/>
              </a:cxn>
              <a:cxn ang="0">
                <a:pos x="connsiteX18125" y="connsiteY18125"/>
              </a:cxn>
              <a:cxn ang="0">
                <a:pos x="connsiteX18126" y="connsiteY18126"/>
              </a:cxn>
              <a:cxn ang="0">
                <a:pos x="connsiteX18127" y="connsiteY18127"/>
              </a:cxn>
              <a:cxn ang="0">
                <a:pos x="connsiteX18128" y="connsiteY18128"/>
              </a:cxn>
              <a:cxn ang="0">
                <a:pos x="connsiteX18129" y="connsiteY18129"/>
              </a:cxn>
              <a:cxn ang="0">
                <a:pos x="connsiteX18130" y="connsiteY18130"/>
              </a:cxn>
              <a:cxn ang="0">
                <a:pos x="connsiteX18131" y="connsiteY18131"/>
              </a:cxn>
              <a:cxn ang="0">
                <a:pos x="connsiteX18132" y="connsiteY18132"/>
              </a:cxn>
              <a:cxn ang="0">
                <a:pos x="connsiteX18133" y="connsiteY18133"/>
              </a:cxn>
              <a:cxn ang="0">
                <a:pos x="connsiteX18134" y="connsiteY18134"/>
              </a:cxn>
              <a:cxn ang="0">
                <a:pos x="connsiteX18135" y="connsiteY18135"/>
              </a:cxn>
              <a:cxn ang="0">
                <a:pos x="connsiteX18136" y="connsiteY18136"/>
              </a:cxn>
              <a:cxn ang="0">
                <a:pos x="connsiteX18137" y="connsiteY18137"/>
              </a:cxn>
              <a:cxn ang="0">
                <a:pos x="connsiteX18138" y="connsiteY18138"/>
              </a:cxn>
              <a:cxn ang="0">
                <a:pos x="connsiteX18139" y="connsiteY18139"/>
              </a:cxn>
              <a:cxn ang="0">
                <a:pos x="connsiteX18140" y="connsiteY18140"/>
              </a:cxn>
              <a:cxn ang="0">
                <a:pos x="connsiteX18141" y="connsiteY18141"/>
              </a:cxn>
              <a:cxn ang="0">
                <a:pos x="connsiteX18142" y="connsiteY18142"/>
              </a:cxn>
              <a:cxn ang="0">
                <a:pos x="connsiteX18143" y="connsiteY18143"/>
              </a:cxn>
              <a:cxn ang="0">
                <a:pos x="connsiteX18144" y="connsiteY18144"/>
              </a:cxn>
              <a:cxn ang="0">
                <a:pos x="connsiteX18145" y="connsiteY18145"/>
              </a:cxn>
              <a:cxn ang="0">
                <a:pos x="connsiteX18146" y="connsiteY18146"/>
              </a:cxn>
              <a:cxn ang="0">
                <a:pos x="connsiteX18147" y="connsiteY18147"/>
              </a:cxn>
              <a:cxn ang="0">
                <a:pos x="connsiteX18148" y="connsiteY18148"/>
              </a:cxn>
              <a:cxn ang="0">
                <a:pos x="connsiteX18149" y="connsiteY18149"/>
              </a:cxn>
              <a:cxn ang="0">
                <a:pos x="connsiteX18150" y="connsiteY18150"/>
              </a:cxn>
              <a:cxn ang="0">
                <a:pos x="connsiteX18151" y="connsiteY18151"/>
              </a:cxn>
              <a:cxn ang="0">
                <a:pos x="connsiteX18152" y="connsiteY18152"/>
              </a:cxn>
              <a:cxn ang="0">
                <a:pos x="connsiteX18153" y="connsiteY18153"/>
              </a:cxn>
              <a:cxn ang="0">
                <a:pos x="connsiteX18154" y="connsiteY18154"/>
              </a:cxn>
              <a:cxn ang="0">
                <a:pos x="connsiteX18155" y="connsiteY18155"/>
              </a:cxn>
              <a:cxn ang="0">
                <a:pos x="connsiteX18156" y="connsiteY18156"/>
              </a:cxn>
              <a:cxn ang="0">
                <a:pos x="connsiteX18157" y="connsiteY18157"/>
              </a:cxn>
              <a:cxn ang="0">
                <a:pos x="connsiteX18158" y="connsiteY18158"/>
              </a:cxn>
              <a:cxn ang="0">
                <a:pos x="connsiteX18159" y="connsiteY18159"/>
              </a:cxn>
              <a:cxn ang="0">
                <a:pos x="connsiteX18160" y="connsiteY18160"/>
              </a:cxn>
              <a:cxn ang="0">
                <a:pos x="connsiteX18161" y="connsiteY18161"/>
              </a:cxn>
              <a:cxn ang="0">
                <a:pos x="connsiteX18162" y="connsiteY18162"/>
              </a:cxn>
              <a:cxn ang="0">
                <a:pos x="connsiteX18163" y="connsiteY18163"/>
              </a:cxn>
              <a:cxn ang="0">
                <a:pos x="connsiteX18164" y="connsiteY18164"/>
              </a:cxn>
              <a:cxn ang="0">
                <a:pos x="connsiteX18165" y="connsiteY18165"/>
              </a:cxn>
              <a:cxn ang="0">
                <a:pos x="connsiteX18166" y="connsiteY18166"/>
              </a:cxn>
              <a:cxn ang="0">
                <a:pos x="connsiteX18167" y="connsiteY18167"/>
              </a:cxn>
              <a:cxn ang="0">
                <a:pos x="connsiteX18168" y="connsiteY18168"/>
              </a:cxn>
              <a:cxn ang="0">
                <a:pos x="connsiteX18169" y="connsiteY18169"/>
              </a:cxn>
              <a:cxn ang="0">
                <a:pos x="connsiteX18170" y="connsiteY18170"/>
              </a:cxn>
              <a:cxn ang="0">
                <a:pos x="connsiteX18171" y="connsiteY18171"/>
              </a:cxn>
              <a:cxn ang="0">
                <a:pos x="connsiteX18172" y="connsiteY18172"/>
              </a:cxn>
              <a:cxn ang="0">
                <a:pos x="connsiteX18173" y="connsiteY18173"/>
              </a:cxn>
              <a:cxn ang="0">
                <a:pos x="connsiteX18174" y="connsiteY18174"/>
              </a:cxn>
              <a:cxn ang="0">
                <a:pos x="connsiteX18175" y="connsiteY18175"/>
              </a:cxn>
              <a:cxn ang="0">
                <a:pos x="connsiteX18176" y="connsiteY18176"/>
              </a:cxn>
              <a:cxn ang="0">
                <a:pos x="connsiteX18177" y="connsiteY18177"/>
              </a:cxn>
              <a:cxn ang="0">
                <a:pos x="connsiteX18178" y="connsiteY18178"/>
              </a:cxn>
              <a:cxn ang="0">
                <a:pos x="connsiteX18179" y="connsiteY18179"/>
              </a:cxn>
              <a:cxn ang="0">
                <a:pos x="connsiteX18180" y="connsiteY18180"/>
              </a:cxn>
              <a:cxn ang="0">
                <a:pos x="connsiteX18181" y="connsiteY18181"/>
              </a:cxn>
              <a:cxn ang="0">
                <a:pos x="connsiteX18182" y="connsiteY18182"/>
              </a:cxn>
              <a:cxn ang="0">
                <a:pos x="connsiteX18183" y="connsiteY18183"/>
              </a:cxn>
              <a:cxn ang="0">
                <a:pos x="connsiteX18184" y="connsiteY18184"/>
              </a:cxn>
              <a:cxn ang="0">
                <a:pos x="connsiteX18185" y="connsiteY18185"/>
              </a:cxn>
              <a:cxn ang="0">
                <a:pos x="connsiteX18186" y="connsiteY18186"/>
              </a:cxn>
              <a:cxn ang="0">
                <a:pos x="connsiteX18187" y="connsiteY18187"/>
              </a:cxn>
              <a:cxn ang="0">
                <a:pos x="connsiteX18188" y="connsiteY18188"/>
              </a:cxn>
              <a:cxn ang="0">
                <a:pos x="connsiteX18189" y="connsiteY18189"/>
              </a:cxn>
              <a:cxn ang="0">
                <a:pos x="connsiteX18190" y="connsiteY18190"/>
              </a:cxn>
              <a:cxn ang="0">
                <a:pos x="connsiteX18191" y="connsiteY18191"/>
              </a:cxn>
              <a:cxn ang="0">
                <a:pos x="connsiteX18192" y="connsiteY18192"/>
              </a:cxn>
              <a:cxn ang="0">
                <a:pos x="connsiteX18193" y="connsiteY18193"/>
              </a:cxn>
              <a:cxn ang="0">
                <a:pos x="connsiteX18194" y="connsiteY18194"/>
              </a:cxn>
              <a:cxn ang="0">
                <a:pos x="connsiteX18195" y="connsiteY18195"/>
              </a:cxn>
              <a:cxn ang="0">
                <a:pos x="connsiteX18196" y="connsiteY18196"/>
              </a:cxn>
              <a:cxn ang="0">
                <a:pos x="connsiteX18197" y="connsiteY18197"/>
              </a:cxn>
              <a:cxn ang="0">
                <a:pos x="connsiteX18198" y="connsiteY18198"/>
              </a:cxn>
              <a:cxn ang="0">
                <a:pos x="connsiteX18199" y="connsiteY18199"/>
              </a:cxn>
              <a:cxn ang="0">
                <a:pos x="connsiteX18200" y="connsiteY18200"/>
              </a:cxn>
              <a:cxn ang="0">
                <a:pos x="connsiteX18201" y="connsiteY18201"/>
              </a:cxn>
              <a:cxn ang="0">
                <a:pos x="connsiteX18202" y="connsiteY18202"/>
              </a:cxn>
              <a:cxn ang="0">
                <a:pos x="connsiteX18203" y="connsiteY18203"/>
              </a:cxn>
              <a:cxn ang="0">
                <a:pos x="connsiteX18204" y="connsiteY18204"/>
              </a:cxn>
              <a:cxn ang="0">
                <a:pos x="connsiteX18205" y="connsiteY18205"/>
              </a:cxn>
              <a:cxn ang="0">
                <a:pos x="connsiteX18206" y="connsiteY18206"/>
              </a:cxn>
              <a:cxn ang="0">
                <a:pos x="connsiteX18207" y="connsiteY18207"/>
              </a:cxn>
              <a:cxn ang="0">
                <a:pos x="connsiteX18208" y="connsiteY18208"/>
              </a:cxn>
              <a:cxn ang="0">
                <a:pos x="connsiteX18209" y="connsiteY18209"/>
              </a:cxn>
              <a:cxn ang="0">
                <a:pos x="connsiteX18210" y="connsiteY18210"/>
              </a:cxn>
              <a:cxn ang="0">
                <a:pos x="connsiteX18211" y="connsiteY18211"/>
              </a:cxn>
              <a:cxn ang="0">
                <a:pos x="connsiteX18212" y="connsiteY18212"/>
              </a:cxn>
              <a:cxn ang="0">
                <a:pos x="connsiteX18213" y="connsiteY18213"/>
              </a:cxn>
              <a:cxn ang="0">
                <a:pos x="connsiteX18214" y="connsiteY18214"/>
              </a:cxn>
              <a:cxn ang="0">
                <a:pos x="connsiteX18215" y="connsiteY18215"/>
              </a:cxn>
              <a:cxn ang="0">
                <a:pos x="connsiteX18216" y="connsiteY18216"/>
              </a:cxn>
              <a:cxn ang="0">
                <a:pos x="connsiteX18217" y="connsiteY18217"/>
              </a:cxn>
              <a:cxn ang="0">
                <a:pos x="connsiteX18218" y="connsiteY18218"/>
              </a:cxn>
              <a:cxn ang="0">
                <a:pos x="connsiteX18219" y="connsiteY18219"/>
              </a:cxn>
              <a:cxn ang="0">
                <a:pos x="connsiteX18220" y="connsiteY18220"/>
              </a:cxn>
              <a:cxn ang="0">
                <a:pos x="connsiteX18221" y="connsiteY18221"/>
              </a:cxn>
              <a:cxn ang="0">
                <a:pos x="connsiteX18222" y="connsiteY18222"/>
              </a:cxn>
              <a:cxn ang="0">
                <a:pos x="connsiteX18223" y="connsiteY18223"/>
              </a:cxn>
              <a:cxn ang="0">
                <a:pos x="connsiteX18224" y="connsiteY18224"/>
              </a:cxn>
              <a:cxn ang="0">
                <a:pos x="connsiteX18225" y="connsiteY18225"/>
              </a:cxn>
              <a:cxn ang="0">
                <a:pos x="connsiteX18226" y="connsiteY18226"/>
              </a:cxn>
              <a:cxn ang="0">
                <a:pos x="connsiteX18227" y="connsiteY18227"/>
              </a:cxn>
              <a:cxn ang="0">
                <a:pos x="connsiteX18228" y="connsiteY18228"/>
              </a:cxn>
              <a:cxn ang="0">
                <a:pos x="connsiteX18229" y="connsiteY18229"/>
              </a:cxn>
              <a:cxn ang="0">
                <a:pos x="connsiteX18230" y="connsiteY18230"/>
              </a:cxn>
              <a:cxn ang="0">
                <a:pos x="connsiteX18231" y="connsiteY18231"/>
              </a:cxn>
              <a:cxn ang="0">
                <a:pos x="connsiteX18232" y="connsiteY18232"/>
              </a:cxn>
              <a:cxn ang="0">
                <a:pos x="connsiteX18233" y="connsiteY18233"/>
              </a:cxn>
              <a:cxn ang="0">
                <a:pos x="connsiteX18234" y="connsiteY18234"/>
              </a:cxn>
              <a:cxn ang="0">
                <a:pos x="connsiteX18235" y="connsiteY18235"/>
              </a:cxn>
              <a:cxn ang="0">
                <a:pos x="connsiteX18236" y="connsiteY18236"/>
              </a:cxn>
              <a:cxn ang="0">
                <a:pos x="connsiteX18237" y="connsiteY18237"/>
              </a:cxn>
              <a:cxn ang="0">
                <a:pos x="connsiteX18238" y="connsiteY18238"/>
              </a:cxn>
              <a:cxn ang="0">
                <a:pos x="connsiteX18239" y="connsiteY18239"/>
              </a:cxn>
              <a:cxn ang="0">
                <a:pos x="connsiteX18240" y="connsiteY18240"/>
              </a:cxn>
              <a:cxn ang="0">
                <a:pos x="connsiteX18241" y="connsiteY18241"/>
              </a:cxn>
              <a:cxn ang="0">
                <a:pos x="connsiteX18242" y="connsiteY18242"/>
              </a:cxn>
              <a:cxn ang="0">
                <a:pos x="connsiteX18243" y="connsiteY18243"/>
              </a:cxn>
              <a:cxn ang="0">
                <a:pos x="connsiteX18244" y="connsiteY18244"/>
              </a:cxn>
              <a:cxn ang="0">
                <a:pos x="connsiteX18245" y="connsiteY18245"/>
              </a:cxn>
              <a:cxn ang="0">
                <a:pos x="connsiteX18246" y="connsiteY18246"/>
              </a:cxn>
              <a:cxn ang="0">
                <a:pos x="connsiteX18247" y="connsiteY18247"/>
              </a:cxn>
              <a:cxn ang="0">
                <a:pos x="connsiteX18248" y="connsiteY18248"/>
              </a:cxn>
              <a:cxn ang="0">
                <a:pos x="connsiteX18249" y="connsiteY18249"/>
              </a:cxn>
              <a:cxn ang="0">
                <a:pos x="connsiteX18250" y="connsiteY18250"/>
              </a:cxn>
              <a:cxn ang="0">
                <a:pos x="connsiteX18251" y="connsiteY18251"/>
              </a:cxn>
              <a:cxn ang="0">
                <a:pos x="connsiteX18252" y="connsiteY18252"/>
              </a:cxn>
              <a:cxn ang="0">
                <a:pos x="connsiteX18253" y="connsiteY18253"/>
              </a:cxn>
              <a:cxn ang="0">
                <a:pos x="connsiteX18254" y="connsiteY18254"/>
              </a:cxn>
              <a:cxn ang="0">
                <a:pos x="connsiteX18255" y="connsiteY18255"/>
              </a:cxn>
              <a:cxn ang="0">
                <a:pos x="connsiteX18256" y="connsiteY18256"/>
              </a:cxn>
              <a:cxn ang="0">
                <a:pos x="connsiteX18257" y="connsiteY18257"/>
              </a:cxn>
              <a:cxn ang="0">
                <a:pos x="connsiteX18258" y="connsiteY18258"/>
              </a:cxn>
              <a:cxn ang="0">
                <a:pos x="connsiteX18259" y="connsiteY18259"/>
              </a:cxn>
              <a:cxn ang="0">
                <a:pos x="connsiteX18260" y="connsiteY18260"/>
              </a:cxn>
              <a:cxn ang="0">
                <a:pos x="connsiteX18261" y="connsiteY18261"/>
              </a:cxn>
              <a:cxn ang="0">
                <a:pos x="connsiteX18262" y="connsiteY18262"/>
              </a:cxn>
              <a:cxn ang="0">
                <a:pos x="connsiteX18263" y="connsiteY18263"/>
              </a:cxn>
              <a:cxn ang="0">
                <a:pos x="connsiteX18264" y="connsiteY18264"/>
              </a:cxn>
              <a:cxn ang="0">
                <a:pos x="connsiteX18265" y="connsiteY18265"/>
              </a:cxn>
              <a:cxn ang="0">
                <a:pos x="connsiteX18266" y="connsiteY18266"/>
              </a:cxn>
              <a:cxn ang="0">
                <a:pos x="connsiteX18267" y="connsiteY18267"/>
              </a:cxn>
              <a:cxn ang="0">
                <a:pos x="connsiteX18268" y="connsiteY18268"/>
              </a:cxn>
              <a:cxn ang="0">
                <a:pos x="connsiteX18269" y="connsiteY18269"/>
              </a:cxn>
              <a:cxn ang="0">
                <a:pos x="connsiteX18270" y="connsiteY18270"/>
              </a:cxn>
              <a:cxn ang="0">
                <a:pos x="connsiteX18271" y="connsiteY18271"/>
              </a:cxn>
              <a:cxn ang="0">
                <a:pos x="connsiteX18272" y="connsiteY18272"/>
              </a:cxn>
              <a:cxn ang="0">
                <a:pos x="connsiteX18273" y="connsiteY18273"/>
              </a:cxn>
              <a:cxn ang="0">
                <a:pos x="connsiteX18274" y="connsiteY18274"/>
              </a:cxn>
              <a:cxn ang="0">
                <a:pos x="connsiteX18275" y="connsiteY18275"/>
              </a:cxn>
              <a:cxn ang="0">
                <a:pos x="connsiteX18276" y="connsiteY18276"/>
              </a:cxn>
              <a:cxn ang="0">
                <a:pos x="connsiteX18277" y="connsiteY18277"/>
              </a:cxn>
              <a:cxn ang="0">
                <a:pos x="connsiteX18278" y="connsiteY18278"/>
              </a:cxn>
              <a:cxn ang="0">
                <a:pos x="connsiteX18279" y="connsiteY18279"/>
              </a:cxn>
              <a:cxn ang="0">
                <a:pos x="connsiteX18280" y="connsiteY18280"/>
              </a:cxn>
              <a:cxn ang="0">
                <a:pos x="connsiteX18281" y="connsiteY18281"/>
              </a:cxn>
              <a:cxn ang="0">
                <a:pos x="connsiteX18282" y="connsiteY18282"/>
              </a:cxn>
              <a:cxn ang="0">
                <a:pos x="connsiteX18283" y="connsiteY18283"/>
              </a:cxn>
              <a:cxn ang="0">
                <a:pos x="connsiteX18284" y="connsiteY18284"/>
              </a:cxn>
              <a:cxn ang="0">
                <a:pos x="connsiteX18285" y="connsiteY18285"/>
              </a:cxn>
              <a:cxn ang="0">
                <a:pos x="connsiteX18286" y="connsiteY18286"/>
              </a:cxn>
              <a:cxn ang="0">
                <a:pos x="connsiteX18287" y="connsiteY18287"/>
              </a:cxn>
              <a:cxn ang="0">
                <a:pos x="connsiteX18288" y="connsiteY18288"/>
              </a:cxn>
              <a:cxn ang="0">
                <a:pos x="connsiteX18289" y="connsiteY18289"/>
              </a:cxn>
              <a:cxn ang="0">
                <a:pos x="connsiteX18290" y="connsiteY18290"/>
              </a:cxn>
              <a:cxn ang="0">
                <a:pos x="connsiteX18291" y="connsiteY18291"/>
              </a:cxn>
              <a:cxn ang="0">
                <a:pos x="connsiteX18292" y="connsiteY18292"/>
              </a:cxn>
              <a:cxn ang="0">
                <a:pos x="connsiteX18293" y="connsiteY18293"/>
              </a:cxn>
              <a:cxn ang="0">
                <a:pos x="connsiteX18294" y="connsiteY18294"/>
              </a:cxn>
              <a:cxn ang="0">
                <a:pos x="connsiteX18295" y="connsiteY18295"/>
              </a:cxn>
              <a:cxn ang="0">
                <a:pos x="connsiteX18296" y="connsiteY18296"/>
              </a:cxn>
              <a:cxn ang="0">
                <a:pos x="connsiteX18297" y="connsiteY18297"/>
              </a:cxn>
              <a:cxn ang="0">
                <a:pos x="connsiteX18298" y="connsiteY18298"/>
              </a:cxn>
              <a:cxn ang="0">
                <a:pos x="connsiteX18299" y="connsiteY18299"/>
              </a:cxn>
              <a:cxn ang="0">
                <a:pos x="connsiteX18300" y="connsiteY18300"/>
              </a:cxn>
              <a:cxn ang="0">
                <a:pos x="connsiteX18301" y="connsiteY18301"/>
              </a:cxn>
              <a:cxn ang="0">
                <a:pos x="connsiteX18302" y="connsiteY18302"/>
              </a:cxn>
              <a:cxn ang="0">
                <a:pos x="connsiteX18303" y="connsiteY18303"/>
              </a:cxn>
              <a:cxn ang="0">
                <a:pos x="connsiteX18304" y="connsiteY18304"/>
              </a:cxn>
              <a:cxn ang="0">
                <a:pos x="connsiteX18305" y="connsiteY18305"/>
              </a:cxn>
              <a:cxn ang="0">
                <a:pos x="connsiteX18306" y="connsiteY18306"/>
              </a:cxn>
              <a:cxn ang="0">
                <a:pos x="connsiteX18307" y="connsiteY18307"/>
              </a:cxn>
              <a:cxn ang="0">
                <a:pos x="connsiteX18308" y="connsiteY18308"/>
              </a:cxn>
              <a:cxn ang="0">
                <a:pos x="connsiteX18309" y="connsiteY18309"/>
              </a:cxn>
              <a:cxn ang="0">
                <a:pos x="connsiteX18310" y="connsiteY18310"/>
              </a:cxn>
              <a:cxn ang="0">
                <a:pos x="connsiteX18311" y="connsiteY18311"/>
              </a:cxn>
              <a:cxn ang="0">
                <a:pos x="connsiteX18312" y="connsiteY18312"/>
              </a:cxn>
              <a:cxn ang="0">
                <a:pos x="connsiteX18313" y="connsiteY18313"/>
              </a:cxn>
              <a:cxn ang="0">
                <a:pos x="connsiteX18314" y="connsiteY18314"/>
              </a:cxn>
              <a:cxn ang="0">
                <a:pos x="connsiteX18315" y="connsiteY18315"/>
              </a:cxn>
              <a:cxn ang="0">
                <a:pos x="connsiteX18316" y="connsiteY18316"/>
              </a:cxn>
              <a:cxn ang="0">
                <a:pos x="connsiteX18317" y="connsiteY18317"/>
              </a:cxn>
              <a:cxn ang="0">
                <a:pos x="connsiteX18318" y="connsiteY18318"/>
              </a:cxn>
              <a:cxn ang="0">
                <a:pos x="connsiteX18319" y="connsiteY18319"/>
              </a:cxn>
              <a:cxn ang="0">
                <a:pos x="connsiteX18320" y="connsiteY18320"/>
              </a:cxn>
              <a:cxn ang="0">
                <a:pos x="connsiteX18321" y="connsiteY18321"/>
              </a:cxn>
              <a:cxn ang="0">
                <a:pos x="connsiteX18322" y="connsiteY18322"/>
              </a:cxn>
              <a:cxn ang="0">
                <a:pos x="connsiteX18323" y="connsiteY18323"/>
              </a:cxn>
              <a:cxn ang="0">
                <a:pos x="connsiteX18324" y="connsiteY18324"/>
              </a:cxn>
              <a:cxn ang="0">
                <a:pos x="connsiteX18325" y="connsiteY18325"/>
              </a:cxn>
              <a:cxn ang="0">
                <a:pos x="connsiteX18326" y="connsiteY18326"/>
              </a:cxn>
              <a:cxn ang="0">
                <a:pos x="connsiteX18327" y="connsiteY18327"/>
              </a:cxn>
              <a:cxn ang="0">
                <a:pos x="connsiteX18328" y="connsiteY18328"/>
              </a:cxn>
              <a:cxn ang="0">
                <a:pos x="connsiteX18329" y="connsiteY18329"/>
              </a:cxn>
              <a:cxn ang="0">
                <a:pos x="connsiteX18330" y="connsiteY18330"/>
              </a:cxn>
              <a:cxn ang="0">
                <a:pos x="connsiteX18331" y="connsiteY18331"/>
              </a:cxn>
              <a:cxn ang="0">
                <a:pos x="connsiteX18332" y="connsiteY18332"/>
              </a:cxn>
              <a:cxn ang="0">
                <a:pos x="connsiteX18333" y="connsiteY18333"/>
              </a:cxn>
              <a:cxn ang="0">
                <a:pos x="connsiteX18334" y="connsiteY18334"/>
              </a:cxn>
              <a:cxn ang="0">
                <a:pos x="connsiteX18335" y="connsiteY18335"/>
              </a:cxn>
              <a:cxn ang="0">
                <a:pos x="connsiteX18336" y="connsiteY18336"/>
              </a:cxn>
              <a:cxn ang="0">
                <a:pos x="connsiteX18337" y="connsiteY18337"/>
              </a:cxn>
              <a:cxn ang="0">
                <a:pos x="connsiteX18338" y="connsiteY18338"/>
              </a:cxn>
              <a:cxn ang="0">
                <a:pos x="connsiteX18339" y="connsiteY18339"/>
              </a:cxn>
              <a:cxn ang="0">
                <a:pos x="connsiteX18340" y="connsiteY18340"/>
              </a:cxn>
              <a:cxn ang="0">
                <a:pos x="connsiteX18341" y="connsiteY18341"/>
              </a:cxn>
              <a:cxn ang="0">
                <a:pos x="connsiteX18342" y="connsiteY18342"/>
              </a:cxn>
              <a:cxn ang="0">
                <a:pos x="connsiteX18343" y="connsiteY18343"/>
              </a:cxn>
              <a:cxn ang="0">
                <a:pos x="connsiteX18344" y="connsiteY18344"/>
              </a:cxn>
              <a:cxn ang="0">
                <a:pos x="connsiteX18345" y="connsiteY18345"/>
              </a:cxn>
              <a:cxn ang="0">
                <a:pos x="connsiteX18346" y="connsiteY18346"/>
              </a:cxn>
              <a:cxn ang="0">
                <a:pos x="connsiteX18347" y="connsiteY18347"/>
              </a:cxn>
              <a:cxn ang="0">
                <a:pos x="connsiteX18348" y="connsiteY18348"/>
              </a:cxn>
              <a:cxn ang="0">
                <a:pos x="connsiteX18349" y="connsiteY18349"/>
              </a:cxn>
              <a:cxn ang="0">
                <a:pos x="connsiteX18350" y="connsiteY18350"/>
              </a:cxn>
              <a:cxn ang="0">
                <a:pos x="connsiteX18351" y="connsiteY18351"/>
              </a:cxn>
              <a:cxn ang="0">
                <a:pos x="connsiteX18352" y="connsiteY18352"/>
              </a:cxn>
              <a:cxn ang="0">
                <a:pos x="connsiteX18353" y="connsiteY18353"/>
              </a:cxn>
              <a:cxn ang="0">
                <a:pos x="connsiteX18354" y="connsiteY18354"/>
              </a:cxn>
              <a:cxn ang="0">
                <a:pos x="connsiteX18355" y="connsiteY18355"/>
              </a:cxn>
              <a:cxn ang="0">
                <a:pos x="connsiteX18356" y="connsiteY18356"/>
              </a:cxn>
              <a:cxn ang="0">
                <a:pos x="connsiteX18357" y="connsiteY18357"/>
              </a:cxn>
              <a:cxn ang="0">
                <a:pos x="connsiteX18358" y="connsiteY18358"/>
              </a:cxn>
              <a:cxn ang="0">
                <a:pos x="connsiteX18359" y="connsiteY18359"/>
              </a:cxn>
              <a:cxn ang="0">
                <a:pos x="connsiteX18360" y="connsiteY18360"/>
              </a:cxn>
              <a:cxn ang="0">
                <a:pos x="connsiteX18361" y="connsiteY18361"/>
              </a:cxn>
              <a:cxn ang="0">
                <a:pos x="connsiteX18362" y="connsiteY18362"/>
              </a:cxn>
              <a:cxn ang="0">
                <a:pos x="connsiteX18363" y="connsiteY18363"/>
              </a:cxn>
              <a:cxn ang="0">
                <a:pos x="connsiteX18364" y="connsiteY18364"/>
              </a:cxn>
              <a:cxn ang="0">
                <a:pos x="connsiteX18365" y="connsiteY18365"/>
              </a:cxn>
              <a:cxn ang="0">
                <a:pos x="connsiteX18366" y="connsiteY18366"/>
              </a:cxn>
              <a:cxn ang="0">
                <a:pos x="connsiteX18367" y="connsiteY18367"/>
              </a:cxn>
              <a:cxn ang="0">
                <a:pos x="connsiteX18368" y="connsiteY18368"/>
              </a:cxn>
              <a:cxn ang="0">
                <a:pos x="connsiteX18369" y="connsiteY18369"/>
              </a:cxn>
              <a:cxn ang="0">
                <a:pos x="connsiteX18370" y="connsiteY18370"/>
              </a:cxn>
              <a:cxn ang="0">
                <a:pos x="connsiteX18371" y="connsiteY18371"/>
              </a:cxn>
              <a:cxn ang="0">
                <a:pos x="connsiteX18372" y="connsiteY18372"/>
              </a:cxn>
              <a:cxn ang="0">
                <a:pos x="connsiteX18373" y="connsiteY18373"/>
              </a:cxn>
              <a:cxn ang="0">
                <a:pos x="connsiteX18374" y="connsiteY18374"/>
              </a:cxn>
              <a:cxn ang="0">
                <a:pos x="connsiteX18375" y="connsiteY18375"/>
              </a:cxn>
              <a:cxn ang="0">
                <a:pos x="connsiteX18376" y="connsiteY18376"/>
              </a:cxn>
              <a:cxn ang="0">
                <a:pos x="connsiteX18377" y="connsiteY18377"/>
              </a:cxn>
              <a:cxn ang="0">
                <a:pos x="connsiteX18378" y="connsiteY18378"/>
              </a:cxn>
              <a:cxn ang="0">
                <a:pos x="connsiteX18379" y="connsiteY18379"/>
              </a:cxn>
              <a:cxn ang="0">
                <a:pos x="connsiteX18380" y="connsiteY18380"/>
              </a:cxn>
              <a:cxn ang="0">
                <a:pos x="connsiteX18381" y="connsiteY18381"/>
              </a:cxn>
              <a:cxn ang="0">
                <a:pos x="connsiteX18382" y="connsiteY18382"/>
              </a:cxn>
              <a:cxn ang="0">
                <a:pos x="connsiteX18383" y="connsiteY18383"/>
              </a:cxn>
              <a:cxn ang="0">
                <a:pos x="connsiteX18384" y="connsiteY18384"/>
              </a:cxn>
              <a:cxn ang="0">
                <a:pos x="connsiteX18385" y="connsiteY18385"/>
              </a:cxn>
              <a:cxn ang="0">
                <a:pos x="connsiteX18386" y="connsiteY18386"/>
              </a:cxn>
              <a:cxn ang="0">
                <a:pos x="connsiteX18387" y="connsiteY18387"/>
              </a:cxn>
              <a:cxn ang="0">
                <a:pos x="connsiteX18388" y="connsiteY18388"/>
              </a:cxn>
              <a:cxn ang="0">
                <a:pos x="connsiteX18389" y="connsiteY18389"/>
              </a:cxn>
              <a:cxn ang="0">
                <a:pos x="connsiteX18390" y="connsiteY18390"/>
              </a:cxn>
              <a:cxn ang="0">
                <a:pos x="connsiteX18391" y="connsiteY18391"/>
              </a:cxn>
              <a:cxn ang="0">
                <a:pos x="connsiteX18392" y="connsiteY18392"/>
              </a:cxn>
              <a:cxn ang="0">
                <a:pos x="connsiteX18393" y="connsiteY18393"/>
              </a:cxn>
              <a:cxn ang="0">
                <a:pos x="connsiteX18394" y="connsiteY18394"/>
              </a:cxn>
              <a:cxn ang="0">
                <a:pos x="connsiteX18395" y="connsiteY18395"/>
              </a:cxn>
              <a:cxn ang="0">
                <a:pos x="connsiteX18396" y="connsiteY18396"/>
              </a:cxn>
              <a:cxn ang="0">
                <a:pos x="connsiteX18397" y="connsiteY18397"/>
              </a:cxn>
              <a:cxn ang="0">
                <a:pos x="connsiteX18398" y="connsiteY18398"/>
              </a:cxn>
              <a:cxn ang="0">
                <a:pos x="connsiteX18399" y="connsiteY18399"/>
              </a:cxn>
              <a:cxn ang="0">
                <a:pos x="connsiteX18400" y="connsiteY18400"/>
              </a:cxn>
              <a:cxn ang="0">
                <a:pos x="connsiteX18401" y="connsiteY18401"/>
              </a:cxn>
              <a:cxn ang="0">
                <a:pos x="connsiteX18402" y="connsiteY18402"/>
              </a:cxn>
              <a:cxn ang="0">
                <a:pos x="connsiteX18403" y="connsiteY18403"/>
              </a:cxn>
              <a:cxn ang="0">
                <a:pos x="connsiteX18404" y="connsiteY18404"/>
              </a:cxn>
              <a:cxn ang="0">
                <a:pos x="connsiteX18405" y="connsiteY18405"/>
              </a:cxn>
              <a:cxn ang="0">
                <a:pos x="connsiteX18406" y="connsiteY18406"/>
              </a:cxn>
              <a:cxn ang="0">
                <a:pos x="connsiteX18407" y="connsiteY18407"/>
              </a:cxn>
              <a:cxn ang="0">
                <a:pos x="connsiteX18408" y="connsiteY18408"/>
              </a:cxn>
              <a:cxn ang="0">
                <a:pos x="connsiteX18409" y="connsiteY18409"/>
              </a:cxn>
              <a:cxn ang="0">
                <a:pos x="connsiteX18410" y="connsiteY18410"/>
              </a:cxn>
              <a:cxn ang="0">
                <a:pos x="connsiteX18411" y="connsiteY18411"/>
              </a:cxn>
              <a:cxn ang="0">
                <a:pos x="connsiteX18412" y="connsiteY18412"/>
              </a:cxn>
              <a:cxn ang="0">
                <a:pos x="connsiteX18413" y="connsiteY18413"/>
              </a:cxn>
              <a:cxn ang="0">
                <a:pos x="connsiteX18414" y="connsiteY18414"/>
              </a:cxn>
              <a:cxn ang="0">
                <a:pos x="connsiteX18415" y="connsiteY18415"/>
              </a:cxn>
              <a:cxn ang="0">
                <a:pos x="connsiteX18416" y="connsiteY18416"/>
              </a:cxn>
              <a:cxn ang="0">
                <a:pos x="connsiteX18417" y="connsiteY18417"/>
              </a:cxn>
              <a:cxn ang="0">
                <a:pos x="connsiteX18418" y="connsiteY18418"/>
              </a:cxn>
              <a:cxn ang="0">
                <a:pos x="connsiteX18419" y="connsiteY18419"/>
              </a:cxn>
              <a:cxn ang="0">
                <a:pos x="connsiteX18420" y="connsiteY18420"/>
              </a:cxn>
              <a:cxn ang="0">
                <a:pos x="connsiteX18421" y="connsiteY18421"/>
              </a:cxn>
              <a:cxn ang="0">
                <a:pos x="connsiteX18422" y="connsiteY18422"/>
              </a:cxn>
              <a:cxn ang="0">
                <a:pos x="connsiteX18423" y="connsiteY18423"/>
              </a:cxn>
              <a:cxn ang="0">
                <a:pos x="connsiteX18424" y="connsiteY18424"/>
              </a:cxn>
              <a:cxn ang="0">
                <a:pos x="connsiteX18425" y="connsiteY18425"/>
              </a:cxn>
              <a:cxn ang="0">
                <a:pos x="connsiteX18426" y="connsiteY18426"/>
              </a:cxn>
              <a:cxn ang="0">
                <a:pos x="connsiteX18427" y="connsiteY18427"/>
              </a:cxn>
              <a:cxn ang="0">
                <a:pos x="connsiteX18428" y="connsiteY18428"/>
              </a:cxn>
              <a:cxn ang="0">
                <a:pos x="connsiteX18429" y="connsiteY18429"/>
              </a:cxn>
              <a:cxn ang="0">
                <a:pos x="connsiteX18430" y="connsiteY18430"/>
              </a:cxn>
              <a:cxn ang="0">
                <a:pos x="connsiteX18431" y="connsiteY18431"/>
              </a:cxn>
              <a:cxn ang="0">
                <a:pos x="connsiteX18432" y="connsiteY18432"/>
              </a:cxn>
              <a:cxn ang="0">
                <a:pos x="connsiteX18433" y="connsiteY18433"/>
              </a:cxn>
              <a:cxn ang="0">
                <a:pos x="connsiteX18434" y="connsiteY18434"/>
              </a:cxn>
              <a:cxn ang="0">
                <a:pos x="connsiteX18435" y="connsiteY18435"/>
              </a:cxn>
              <a:cxn ang="0">
                <a:pos x="connsiteX18436" y="connsiteY18436"/>
              </a:cxn>
              <a:cxn ang="0">
                <a:pos x="connsiteX18437" y="connsiteY18437"/>
              </a:cxn>
              <a:cxn ang="0">
                <a:pos x="connsiteX18438" y="connsiteY18438"/>
              </a:cxn>
              <a:cxn ang="0">
                <a:pos x="connsiteX18439" y="connsiteY18439"/>
              </a:cxn>
              <a:cxn ang="0">
                <a:pos x="connsiteX18440" y="connsiteY18440"/>
              </a:cxn>
              <a:cxn ang="0">
                <a:pos x="connsiteX18441" y="connsiteY18441"/>
              </a:cxn>
              <a:cxn ang="0">
                <a:pos x="connsiteX18442" y="connsiteY18442"/>
              </a:cxn>
              <a:cxn ang="0">
                <a:pos x="connsiteX18443" y="connsiteY18443"/>
              </a:cxn>
              <a:cxn ang="0">
                <a:pos x="connsiteX18444" y="connsiteY18444"/>
              </a:cxn>
              <a:cxn ang="0">
                <a:pos x="connsiteX18445" y="connsiteY18445"/>
              </a:cxn>
              <a:cxn ang="0">
                <a:pos x="connsiteX18446" y="connsiteY18446"/>
              </a:cxn>
              <a:cxn ang="0">
                <a:pos x="connsiteX18447" y="connsiteY18447"/>
              </a:cxn>
              <a:cxn ang="0">
                <a:pos x="connsiteX18448" y="connsiteY18448"/>
              </a:cxn>
              <a:cxn ang="0">
                <a:pos x="connsiteX18449" y="connsiteY18449"/>
              </a:cxn>
              <a:cxn ang="0">
                <a:pos x="connsiteX18450" y="connsiteY18450"/>
              </a:cxn>
              <a:cxn ang="0">
                <a:pos x="connsiteX18451" y="connsiteY18451"/>
              </a:cxn>
              <a:cxn ang="0">
                <a:pos x="connsiteX18452" y="connsiteY18452"/>
              </a:cxn>
              <a:cxn ang="0">
                <a:pos x="connsiteX18453" y="connsiteY18453"/>
              </a:cxn>
              <a:cxn ang="0">
                <a:pos x="connsiteX18454" y="connsiteY18454"/>
              </a:cxn>
              <a:cxn ang="0">
                <a:pos x="connsiteX18455" y="connsiteY18455"/>
              </a:cxn>
              <a:cxn ang="0">
                <a:pos x="connsiteX18456" y="connsiteY18456"/>
              </a:cxn>
              <a:cxn ang="0">
                <a:pos x="connsiteX18457" y="connsiteY18457"/>
              </a:cxn>
              <a:cxn ang="0">
                <a:pos x="connsiteX18458" y="connsiteY18458"/>
              </a:cxn>
              <a:cxn ang="0">
                <a:pos x="connsiteX18459" y="connsiteY18459"/>
              </a:cxn>
              <a:cxn ang="0">
                <a:pos x="connsiteX18460" y="connsiteY18460"/>
              </a:cxn>
              <a:cxn ang="0">
                <a:pos x="connsiteX18461" y="connsiteY18461"/>
              </a:cxn>
              <a:cxn ang="0">
                <a:pos x="connsiteX18462" y="connsiteY18462"/>
              </a:cxn>
              <a:cxn ang="0">
                <a:pos x="connsiteX18463" y="connsiteY18463"/>
              </a:cxn>
              <a:cxn ang="0">
                <a:pos x="connsiteX18464" y="connsiteY18464"/>
              </a:cxn>
              <a:cxn ang="0">
                <a:pos x="connsiteX18465" y="connsiteY18465"/>
              </a:cxn>
              <a:cxn ang="0">
                <a:pos x="connsiteX18466" y="connsiteY18466"/>
              </a:cxn>
              <a:cxn ang="0">
                <a:pos x="connsiteX18467" y="connsiteY18467"/>
              </a:cxn>
              <a:cxn ang="0">
                <a:pos x="connsiteX18468" y="connsiteY18468"/>
              </a:cxn>
              <a:cxn ang="0">
                <a:pos x="connsiteX18469" y="connsiteY18469"/>
              </a:cxn>
              <a:cxn ang="0">
                <a:pos x="connsiteX18470" y="connsiteY18470"/>
              </a:cxn>
              <a:cxn ang="0">
                <a:pos x="connsiteX18471" y="connsiteY18471"/>
              </a:cxn>
              <a:cxn ang="0">
                <a:pos x="connsiteX18472" y="connsiteY18472"/>
              </a:cxn>
              <a:cxn ang="0">
                <a:pos x="connsiteX18473" y="connsiteY18473"/>
              </a:cxn>
              <a:cxn ang="0">
                <a:pos x="connsiteX18474" y="connsiteY18474"/>
              </a:cxn>
              <a:cxn ang="0">
                <a:pos x="connsiteX18475" y="connsiteY18475"/>
              </a:cxn>
              <a:cxn ang="0">
                <a:pos x="connsiteX18476" y="connsiteY18476"/>
              </a:cxn>
              <a:cxn ang="0">
                <a:pos x="connsiteX18477" y="connsiteY18477"/>
              </a:cxn>
              <a:cxn ang="0">
                <a:pos x="connsiteX18478" y="connsiteY18478"/>
              </a:cxn>
              <a:cxn ang="0">
                <a:pos x="connsiteX18479" y="connsiteY18479"/>
              </a:cxn>
              <a:cxn ang="0">
                <a:pos x="connsiteX18480" y="connsiteY18480"/>
              </a:cxn>
              <a:cxn ang="0">
                <a:pos x="connsiteX18481" y="connsiteY18481"/>
              </a:cxn>
              <a:cxn ang="0">
                <a:pos x="connsiteX18482" y="connsiteY18482"/>
              </a:cxn>
              <a:cxn ang="0">
                <a:pos x="connsiteX18483" y="connsiteY18483"/>
              </a:cxn>
              <a:cxn ang="0">
                <a:pos x="connsiteX18484" y="connsiteY18484"/>
              </a:cxn>
              <a:cxn ang="0">
                <a:pos x="connsiteX18485" y="connsiteY18485"/>
              </a:cxn>
              <a:cxn ang="0">
                <a:pos x="connsiteX18486" y="connsiteY18486"/>
              </a:cxn>
              <a:cxn ang="0">
                <a:pos x="connsiteX18487" y="connsiteY18487"/>
              </a:cxn>
              <a:cxn ang="0">
                <a:pos x="connsiteX18488" y="connsiteY18488"/>
              </a:cxn>
              <a:cxn ang="0">
                <a:pos x="connsiteX18489" y="connsiteY18489"/>
              </a:cxn>
              <a:cxn ang="0">
                <a:pos x="connsiteX18490" y="connsiteY18490"/>
              </a:cxn>
              <a:cxn ang="0">
                <a:pos x="connsiteX18491" y="connsiteY18491"/>
              </a:cxn>
              <a:cxn ang="0">
                <a:pos x="connsiteX18492" y="connsiteY18492"/>
              </a:cxn>
              <a:cxn ang="0">
                <a:pos x="connsiteX18493" y="connsiteY18493"/>
              </a:cxn>
              <a:cxn ang="0">
                <a:pos x="connsiteX18494" y="connsiteY18494"/>
              </a:cxn>
              <a:cxn ang="0">
                <a:pos x="connsiteX18495" y="connsiteY18495"/>
              </a:cxn>
              <a:cxn ang="0">
                <a:pos x="connsiteX18496" y="connsiteY18496"/>
              </a:cxn>
              <a:cxn ang="0">
                <a:pos x="connsiteX18497" y="connsiteY18497"/>
              </a:cxn>
              <a:cxn ang="0">
                <a:pos x="connsiteX18498" y="connsiteY18498"/>
              </a:cxn>
              <a:cxn ang="0">
                <a:pos x="connsiteX18499" y="connsiteY18499"/>
              </a:cxn>
              <a:cxn ang="0">
                <a:pos x="connsiteX18500" y="connsiteY18500"/>
              </a:cxn>
              <a:cxn ang="0">
                <a:pos x="connsiteX18501" y="connsiteY18501"/>
              </a:cxn>
              <a:cxn ang="0">
                <a:pos x="connsiteX18502" y="connsiteY18502"/>
              </a:cxn>
              <a:cxn ang="0">
                <a:pos x="connsiteX18503" y="connsiteY18503"/>
              </a:cxn>
              <a:cxn ang="0">
                <a:pos x="connsiteX18504" y="connsiteY18504"/>
              </a:cxn>
              <a:cxn ang="0">
                <a:pos x="connsiteX18505" y="connsiteY18505"/>
              </a:cxn>
              <a:cxn ang="0">
                <a:pos x="connsiteX18506" y="connsiteY18506"/>
              </a:cxn>
              <a:cxn ang="0">
                <a:pos x="connsiteX18507" y="connsiteY18507"/>
              </a:cxn>
              <a:cxn ang="0">
                <a:pos x="connsiteX18508" y="connsiteY18508"/>
              </a:cxn>
              <a:cxn ang="0">
                <a:pos x="connsiteX18509" y="connsiteY18509"/>
              </a:cxn>
              <a:cxn ang="0">
                <a:pos x="connsiteX18510" y="connsiteY18510"/>
              </a:cxn>
              <a:cxn ang="0">
                <a:pos x="connsiteX18511" y="connsiteY18511"/>
              </a:cxn>
              <a:cxn ang="0">
                <a:pos x="connsiteX18512" y="connsiteY18512"/>
              </a:cxn>
              <a:cxn ang="0">
                <a:pos x="connsiteX18513" y="connsiteY18513"/>
              </a:cxn>
              <a:cxn ang="0">
                <a:pos x="connsiteX18514" y="connsiteY18514"/>
              </a:cxn>
              <a:cxn ang="0">
                <a:pos x="connsiteX18515" y="connsiteY18515"/>
              </a:cxn>
              <a:cxn ang="0">
                <a:pos x="connsiteX18516" y="connsiteY18516"/>
              </a:cxn>
              <a:cxn ang="0">
                <a:pos x="connsiteX18517" y="connsiteY18517"/>
              </a:cxn>
              <a:cxn ang="0">
                <a:pos x="connsiteX18518" y="connsiteY18518"/>
              </a:cxn>
              <a:cxn ang="0">
                <a:pos x="connsiteX18519" y="connsiteY18519"/>
              </a:cxn>
              <a:cxn ang="0">
                <a:pos x="connsiteX18520" y="connsiteY18520"/>
              </a:cxn>
              <a:cxn ang="0">
                <a:pos x="connsiteX18521" y="connsiteY18521"/>
              </a:cxn>
              <a:cxn ang="0">
                <a:pos x="connsiteX18522" y="connsiteY18522"/>
              </a:cxn>
              <a:cxn ang="0">
                <a:pos x="connsiteX18523" y="connsiteY18523"/>
              </a:cxn>
              <a:cxn ang="0">
                <a:pos x="connsiteX18524" y="connsiteY18524"/>
              </a:cxn>
              <a:cxn ang="0">
                <a:pos x="connsiteX18525" y="connsiteY18525"/>
              </a:cxn>
              <a:cxn ang="0">
                <a:pos x="connsiteX18526" y="connsiteY18526"/>
              </a:cxn>
              <a:cxn ang="0">
                <a:pos x="connsiteX18527" y="connsiteY18527"/>
              </a:cxn>
              <a:cxn ang="0">
                <a:pos x="connsiteX18528" y="connsiteY18528"/>
              </a:cxn>
              <a:cxn ang="0">
                <a:pos x="connsiteX18529" y="connsiteY18529"/>
              </a:cxn>
              <a:cxn ang="0">
                <a:pos x="connsiteX18530" y="connsiteY18530"/>
              </a:cxn>
              <a:cxn ang="0">
                <a:pos x="connsiteX18531" y="connsiteY18531"/>
              </a:cxn>
              <a:cxn ang="0">
                <a:pos x="connsiteX18532" y="connsiteY18532"/>
              </a:cxn>
              <a:cxn ang="0">
                <a:pos x="connsiteX18533" y="connsiteY18533"/>
              </a:cxn>
              <a:cxn ang="0">
                <a:pos x="connsiteX18534" y="connsiteY18534"/>
              </a:cxn>
              <a:cxn ang="0">
                <a:pos x="connsiteX18535" y="connsiteY18535"/>
              </a:cxn>
              <a:cxn ang="0">
                <a:pos x="connsiteX18536" y="connsiteY18536"/>
              </a:cxn>
              <a:cxn ang="0">
                <a:pos x="connsiteX18537" y="connsiteY18537"/>
              </a:cxn>
              <a:cxn ang="0">
                <a:pos x="connsiteX18538" y="connsiteY18538"/>
              </a:cxn>
              <a:cxn ang="0">
                <a:pos x="connsiteX18539" y="connsiteY18539"/>
              </a:cxn>
              <a:cxn ang="0">
                <a:pos x="connsiteX18540" y="connsiteY18540"/>
              </a:cxn>
              <a:cxn ang="0">
                <a:pos x="connsiteX18541" y="connsiteY18541"/>
              </a:cxn>
              <a:cxn ang="0">
                <a:pos x="connsiteX18542" y="connsiteY18542"/>
              </a:cxn>
              <a:cxn ang="0">
                <a:pos x="connsiteX18543" y="connsiteY18543"/>
              </a:cxn>
              <a:cxn ang="0">
                <a:pos x="connsiteX18544" y="connsiteY18544"/>
              </a:cxn>
              <a:cxn ang="0">
                <a:pos x="connsiteX18545" y="connsiteY18545"/>
              </a:cxn>
              <a:cxn ang="0">
                <a:pos x="connsiteX18546" y="connsiteY18546"/>
              </a:cxn>
              <a:cxn ang="0">
                <a:pos x="connsiteX18547" y="connsiteY18547"/>
              </a:cxn>
              <a:cxn ang="0">
                <a:pos x="connsiteX18548" y="connsiteY18548"/>
              </a:cxn>
              <a:cxn ang="0">
                <a:pos x="connsiteX18549" y="connsiteY18549"/>
              </a:cxn>
              <a:cxn ang="0">
                <a:pos x="connsiteX18550" y="connsiteY18550"/>
              </a:cxn>
              <a:cxn ang="0">
                <a:pos x="connsiteX18551" y="connsiteY18551"/>
              </a:cxn>
              <a:cxn ang="0">
                <a:pos x="connsiteX18552" y="connsiteY18552"/>
              </a:cxn>
              <a:cxn ang="0">
                <a:pos x="connsiteX18553" y="connsiteY18553"/>
              </a:cxn>
              <a:cxn ang="0">
                <a:pos x="connsiteX18554" y="connsiteY18554"/>
              </a:cxn>
              <a:cxn ang="0">
                <a:pos x="connsiteX18555" y="connsiteY18555"/>
              </a:cxn>
              <a:cxn ang="0">
                <a:pos x="connsiteX18556" y="connsiteY18556"/>
              </a:cxn>
              <a:cxn ang="0">
                <a:pos x="connsiteX18557" y="connsiteY18557"/>
              </a:cxn>
              <a:cxn ang="0">
                <a:pos x="connsiteX18558" y="connsiteY18558"/>
              </a:cxn>
              <a:cxn ang="0">
                <a:pos x="connsiteX18559" y="connsiteY18559"/>
              </a:cxn>
              <a:cxn ang="0">
                <a:pos x="connsiteX18560" y="connsiteY18560"/>
              </a:cxn>
              <a:cxn ang="0">
                <a:pos x="connsiteX18561" y="connsiteY18561"/>
              </a:cxn>
              <a:cxn ang="0">
                <a:pos x="connsiteX18562" y="connsiteY18562"/>
              </a:cxn>
              <a:cxn ang="0">
                <a:pos x="connsiteX18563" y="connsiteY18563"/>
              </a:cxn>
              <a:cxn ang="0">
                <a:pos x="connsiteX18564" y="connsiteY18564"/>
              </a:cxn>
              <a:cxn ang="0">
                <a:pos x="connsiteX18565" y="connsiteY18565"/>
              </a:cxn>
              <a:cxn ang="0">
                <a:pos x="connsiteX18566" y="connsiteY18566"/>
              </a:cxn>
              <a:cxn ang="0">
                <a:pos x="connsiteX18567" y="connsiteY18567"/>
              </a:cxn>
              <a:cxn ang="0">
                <a:pos x="connsiteX18568" y="connsiteY18568"/>
              </a:cxn>
              <a:cxn ang="0">
                <a:pos x="connsiteX18569" y="connsiteY18569"/>
              </a:cxn>
              <a:cxn ang="0">
                <a:pos x="connsiteX18570" y="connsiteY18570"/>
              </a:cxn>
              <a:cxn ang="0">
                <a:pos x="connsiteX18571" y="connsiteY18571"/>
              </a:cxn>
              <a:cxn ang="0">
                <a:pos x="connsiteX18572" y="connsiteY18572"/>
              </a:cxn>
              <a:cxn ang="0">
                <a:pos x="connsiteX18573" y="connsiteY18573"/>
              </a:cxn>
              <a:cxn ang="0">
                <a:pos x="connsiteX18574" y="connsiteY18574"/>
              </a:cxn>
              <a:cxn ang="0">
                <a:pos x="connsiteX18575" y="connsiteY18575"/>
              </a:cxn>
              <a:cxn ang="0">
                <a:pos x="connsiteX18576" y="connsiteY18576"/>
              </a:cxn>
              <a:cxn ang="0">
                <a:pos x="connsiteX18577" y="connsiteY18577"/>
              </a:cxn>
              <a:cxn ang="0">
                <a:pos x="connsiteX18578" y="connsiteY18578"/>
              </a:cxn>
              <a:cxn ang="0">
                <a:pos x="connsiteX18579" y="connsiteY18579"/>
              </a:cxn>
              <a:cxn ang="0">
                <a:pos x="connsiteX18580" y="connsiteY18580"/>
              </a:cxn>
              <a:cxn ang="0">
                <a:pos x="connsiteX18581" y="connsiteY18581"/>
              </a:cxn>
              <a:cxn ang="0">
                <a:pos x="connsiteX18582" y="connsiteY18582"/>
              </a:cxn>
              <a:cxn ang="0">
                <a:pos x="connsiteX18583" y="connsiteY18583"/>
              </a:cxn>
              <a:cxn ang="0">
                <a:pos x="connsiteX18584" y="connsiteY18584"/>
              </a:cxn>
              <a:cxn ang="0">
                <a:pos x="connsiteX18585" y="connsiteY18585"/>
              </a:cxn>
              <a:cxn ang="0">
                <a:pos x="connsiteX18586" y="connsiteY18586"/>
              </a:cxn>
              <a:cxn ang="0">
                <a:pos x="connsiteX18587" y="connsiteY18587"/>
              </a:cxn>
              <a:cxn ang="0">
                <a:pos x="connsiteX18588" y="connsiteY18588"/>
              </a:cxn>
              <a:cxn ang="0">
                <a:pos x="connsiteX18589" y="connsiteY18589"/>
              </a:cxn>
              <a:cxn ang="0">
                <a:pos x="connsiteX18590" y="connsiteY18590"/>
              </a:cxn>
              <a:cxn ang="0">
                <a:pos x="connsiteX18591" y="connsiteY18591"/>
              </a:cxn>
              <a:cxn ang="0">
                <a:pos x="connsiteX18592" y="connsiteY18592"/>
              </a:cxn>
              <a:cxn ang="0">
                <a:pos x="connsiteX18593" y="connsiteY18593"/>
              </a:cxn>
              <a:cxn ang="0">
                <a:pos x="connsiteX18594" y="connsiteY18594"/>
              </a:cxn>
              <a:cxn ang="0">
                <a:pos x="connsiteX18595" y="connsiteY18595"/>
              </a:cxn>
              <a:cxn ang="0">
                <a:pos x="connsiteX18596" y="connsiteY18596"/>
              </a:cxn>
              <a:cxn ang="0">
                <a:pos x="connsiteX18597" y="connsiteY18597"/>
              </a:cxn>
              <a:cxn ang="0">
                <a:pos x="connsiteX18598" y="connsiteY18598"/>
              </a:cxn>
              <a:cxn ang="0">
                <a:pos x="connsiteX18599" y="connsiteY18599"/>
              </a:cxn>
              <a:cxn ang="0">
                <a:pos x="connsiteX18600" y="connsiteY18600"/>
              </a:cxn>
              <a:cxn ang="0">
                <a:pos x="connsiteX18601" y="connsiteY18601"/>
              </a:cxn>
              <a:cxn ang="0">
                <a:pos x="connsiteX18602" y="connsiteY18602"/>
              </a:cxn>
              <a:cxn ang="0">
                <a:pos x="connsiteX18603" y="connsiteY18603"/>
              </a:cxn>
              <a:cxn ang="0">
                <a:pos x="connsiteX18604" y="connsiteY18604"/>
              </a:cxn>
              <a:cxn ang="0">
                <a:pos x="connsiteX18605" y="connsiteY18605"/>
              </a:cxn>
              <a:cxn ang="0">
                <a:pos x="connsiteX18606" y="connsiteY18606"/>
              </a:cxn>
              <a:cxn ang="0">
                <a:pos x="connsiteX18607" y="connsiteY18607"/>
              </a:cxn>
              <a:cxn ang="0">
                <a:pos x="connsiteX18608" y="connsiteY18608"/>
              </a:cxn>
              <a:cxn ang="0">
                <a:pos x="connsiteX18609" y="connsiteY18609"/>
              </a:cxn>
              <a:cxn ang="0">
                <a:pos x="connsiteX18610" y="connsiteY18610"/>
              </a:cxn>
              <a:cxn ang="0">
                <a:pos x="connsiteX18611" y="connsiteY18611"/>
              </a:cxn>
              <a:cxn ang="0">
                <a:pos x="connsiteX18612" y="connsiteY18612"/>
              </a:cxn>
              <a:cxn ang="0">
                <a:pos x="connsiteX18613" y="connsiteY18613"/>
              </a:cxn>
              <a:cxn ang="0">
                <a:pos x="connsiteX18614" y="connsiteY18614"/>
              </a:cxn>
              <a:cxn ang="0">
                <a:pos x="connsiteX18615" y="connsiteY18615"/>
              </a:cxn>
              <a:cxn ang="0">
                <a:pos x="connsiteX18616" y="connsiteY18616"/>
              </a:cxn>
              <a:cxn ang="0">
                <a:pos x="connsiteX18617" y="connsiteY18617"/>
              </a:cxn>
              <a:cxn ang="0">
                <a:pos x="connsiteX18618" y="connsiteY18618"/>
              </a:cxn>
              <a:cxn ang="0">
                <a:pos x="connsiteX18619" y="connsiteY18619"/>
              </a:cxn>
              <a:cxn ang="0">
                <a:pos x="connsiteX18620" y="connsiteY18620"/>
              </a:cxn>
              <a:cxn ang="0">
                <a:pos x="connsiteX18621" y="connsiteY18621"/>
              </a:cxn>
              <a:cxn ang="0">
                <a:pos x="connsiteX18622" y="connsiteY18622"/>
              </a:cxn>
              <a:cxn ang="0">
                <a:pos x="connsiteX18623" y="connsiteY18623"/>
              </a:cxn>
              <a:cxn ang="0">
                <a:pos x="connsiteX18624" y="connsiteY18624"/>
              </a:cxn>
              <a:cxn ang="0">
                <a:pos x="connsiteX18625" y="connsiteY18625"/>
              </a:cxn>
              <a:cxn ang="0">
                <a:pos x="connsiteX18626" y="connsiteY18626"/>
              </a:cxn>
              <a:cxn ang="0">
                <a:pos x="connsiteX18627" y="connsiteY18627"/>
              </a:cxn>
              <a:cxn ang="0">
                <a:pos x="connsiteX18628" y="connsiteY18628"/>
              </a:cxn>
              <a:cxn ang="0">
                <a:pos x="connsiteX18629" y="connsiteY18629"/>
              </a:cxn>
              <a:cxn ang="0">
                <a:pos x="connsiteX18630" y="connsiteY18630"/>
              </a:cxn>
              <a:cxn ang="0">
                <a:pos x="connsiteX18631" y="connsiteY18631"/>
              </a:cxn>
              <a:cxn ang="0">
                <a:pos x="connsiteX18632" y="connsiteY18632"/>
              </a:cxn>
              <a:cxn ang="0">
                <a:pos x="connsiteX18633" y="connsiteY18633"/>
              </a:cxn>
              <a:cxn ang="0">
                <a:pos x="connsiteX18634" y="connsiteY18634"/>
              </a:cxn>
              <a:cxn ang="0">
                <a:pos x="connsiteX18635" y="connsiteY18635"/>
              </a:cxn>
              <a:cxn ang="0">
                <a:pos x="connsiteX18636" y="connsiteY18636"/>
              </a:cxn>
              <a:cxn ang="0">
                <a:pos x="connsiteX18637" y="connsiteY18637"/>
              </a:cxn>
              <a:cxn ang="0">
                <a:pos x="connsiteX18638" y="connsiteY18638"/>
              </a:cxn>
              <a:cxn ang="0">
                <a:pos x="connsiteX18639" y="connsiteY18639"/>
              </a:cxn>
              <a:cxn ang="0">
                <a:pos x="connsiteX18640" y="connsiteY18640"/>
              </a:cxn>
              <a:cxn ang="0">
                <a:pos x="connsiteX18641" y="connsiteY18641"/>
              </a:cxn>
              <a:cxn ang="0">
                <a:pos x="connsiteX18642" y="connsiteY18642"/>
              </a:cxn>
              <a:cxn ang="0">
                <a:pos x="connsiteX18643" y="connsiteY18643"/>
              </a:cxn>
              <a:cxn ang="0">
                <a:pos x="connsiteX18644" y="connsiteY18644"/>
              </a:cxn>
              <a:cxn ang="0">
                <a:pos x="connsiteX18645" y="connsiteY18645"/>
              </a:cxn>
              <a:cxn ang="0">
                <a:pos x="connsiteX18646" y="connsiteY18646"/>
              </a:cxn>
              <a:cxn ang="0">
                <a:pos x="connsiteX18647" y="connsiteY18647"/>
              </a:cxn>
              <a:cxn ang="0">
                <a:pos x="connsiteX18648" y="connsiteY18648"/>
              </a:cxn>
              <a:cxn ang="0">
                <a:pos x="connsiteX18649" y="connsiteY18649"/>
              </a:cxn>
              <a:cxn ang="0">
                <a:pos x="connsiteX18650" y="connsiteY18650"/>
              </a:cxn>
              <a:cxn ang="0">
                <a:pos x="connsiteX18651" y="connsiteY18651"/>
              </a:cxn>
              <a:cxn ang="0">
                <a:pos x="connsiteX18652" y="connsiteY18652"/>
              </a:cxn>
              <a:cxn ang="0">
                <a:pos x="connsiteX18653" y="connsiteY18653"/>
              </a:cxn>
              <a:cxn ang="0">
                <a:pos x="connsiteX18654" y="connsiteY18654"/>
              </a:cxn>
              <a:cxn ang="0">
                <a:pos x="connsiteX18655" y="connsiteY18655"/>
              </a:cxn>
              <a:cxn ang="0">
                <a:pos x="connsiteX18656" y="connsiteY18656"/>
              </a:cxn>
              <a:cxn ang="0">
                <a:pos x="connsiteX18657" y="connsiteY18657"/>
              </a:cxn>
              <a:cxn ang="0">
                <a:pos x="connsiteX18658" y="connsiteY18658"/>
              </a:cxn>
              <a:cxn ang="0">
                <a:pos x="connsiteX18659" y="connsiteY18659"/>
              </a:cxn>
              <a:cxn ang="0">
                <a:pos x="connsiteX18660" y="connsiteY18660"/>
              </a:cxn>
              <a:cxn ang="0">
                <a:pos x="connsiteX18661" y="connsiteY18661"/>
              </a:cxn>
              <a:cxn ang="0">
                <a:pos x="connsiteX18662" y="connsiteY18662"/>
              </a:cxn>
              <a:cxn ang="0">
                <a:pos x="connsiteX18663" y="connsiteY18663"/>
              </a:cxn>
              <a:cxn ang="0">
                <a:pos x="connsiteX18664" y="connsiteY18664"/>
              </a:cxn>
              <a:cxn ang="0">
                <a:pos x="connsiteX18665" y="connsiteY18665"/>
              </a:cxn>
              <a:cxn ang="0">
                <a:pos x="connsiteX18666" y="connsiteY18666"/>
              </a:cxn>
              <a:cxn ang="0">
                <a:pos x="connsiteX18667" y="connsiteY18667"/>
              </a:cxn>
              <a:cxn ang="0">
                <a:pos x="connsiteX18668" y="connsiteY18668"/>
              </a:cxn>
              <a:cxn ang="0">
                <a:pos x="connsiteX18669" y="connsiteY18669"/>
              </a:cxn>
              <a:cxn ang="0">
                <a:pos x="connsiteX18670" y="connsiteY18670"/>
              </a:cxn>
              <a:cxn ang="0">
                <a:pos x="connsiteX18671" y="connsiteY18671"/>
              </a:cxn>
              <a:cxn ang="0">
                <a:pos x="connsiteX18672" y="connsiteY18672"/>
              </a:cxn>
              <a:cxn ang="0">
                <a:pos x="connsiteX18673" y="connsiteY18673"/>
              </a:cxn>
              <a:cxn ang="0">
                <a:pos x="connsiteX18674" y="connsiteY18674"/>
              </a:cxn>
              <a:cxn ang="0">
                <a:pos x="connsiteX18675" y="connsiteY18675"/>
              </a:cxn>
              <a:cxn ang="0">
                <a:pos x="connsiteX18676" y="connsiteY18676"/>
              </a:cxn>
              <a:cxn ang="0">
                <a:pos x="connsiteX18677" y="connsiteY18677"/>
              </a:cxn>
              <a:cxn ang="0">
                <a:pos x="connsiteX18678" y="connsiteY18678"/>
              </a:cxn>
              <a:cxn ang="0">
                <a:pos x="connsiteX18679" y="connsiteY18679"/>
              </a:cxn>
              <a:cxn ang="0">
                <a:pos x="connsiteX18680" y="connsiteY18680"/>
              </a:cxn>
              <a:cxn ang="0">
                <a:pos x="connsiteX18681" y="connsiteY18681"/>
              </a:cxn>
              <a:cxn ang="0">
                <a:pos x="connsiteX18682" y="connsiteY18682"/>
              </a:cxn>
              <a:cxn ang="0">
                <a:pos x="connsiteX18683" y="connsiteY18683"/>
              </a:cxn>
              <a:cxn ang="0">
                <a:pos x="connsiteX18684" y="connsiteY18684"/>
              </a:cxn>
              <a:cxn ang="0">
                <a:pos x="connsiteX18685" y="connsiteY18685"/>
              </a:cxn>
              <a:cxn ang="0">
                <a:pos x="connsiteX18686" y="connsiteY18686"/>
              </a:cxn>
              <a:cxn ang="0">
                <a:pos x="connsiteX18687" y="connsiteY18687"/>
              </a:cxn>
              <a:cxn ang="0">
                <a:pos x="connsiteX18688" y="connsiteY18688"/>
              </a:cxn>
              <a:cxn ang="0">
                <a:pos x="connsiteX18689" y="connsiteY18689"/>
              </a:cxn>
              <a:cxn ang="0">
                <a:pos x="connsiteX18690" y="connsiteY18690"/>
              </a:cxn>
              <a:cxn ang="0">
                <a:pos x="connsiteX18691" y="connsiteY18691"/>
              </a:cxn>
              <a:cxn ang="0">
                <a:pos x="connsiteX18692" y="connsiteY18692"/>
              </a:cxn>
              <a:cxn ang="0">
                <a:pos x="connsiteX18693" y="connsiteY18693"/>
              </a:cxn>
              <a:cxn ang="0">
                <a:pos x="connsiteX18694" y="connsiteY18694"/>
              </a:cxn>
              <a:cxn ang="0">
                <a:pos x="connsiteX18695" y="connsiteY18695"/>
              </a:cxn>
              <a:cxn ang="0">
                <a:pos x="connsiteX18696" y="connsiteY18696"/>
              </a:cxn>
              <a:cxn ang="0">
                <a:pos x="connsiteX18697" y="connsiteY18697"/>
              </a:cxn>
              <a:cxn ang="0">
                <a:pos x="connsiteX18698" y="connsiteY18698"/>
              </a:cxn>
              <a:cxn ang="0">
                <a:pos x="connsiteX18699" y="connsiteY18699"/>
              </a:cxn>
              <a:cxn ang="0">
                <a:pos x="connsiteX18700" y="connsiteY18700"/>
              </a:cxn>
              <a:cxn ang="0">
                <a:pos x="connsiteX18701" y="connsiteY18701"/>
              </a:cxn>
              <a:cxn ang="0">
                <a:pos x="connsiteX18702" y="connsiteY18702"/>
              </a:cxn>
              <a:cxn ang="0">
                <a:pos x="connsiteX18703" y="connsiteY18703"/>
              </a:cxn>
              <a:cxn ang="0">
                <a:pos x="connsiteX18704" y="connsiteY18704"/>
              </a:cxn>
              <a:cxn ang="0">
                <a:pos x="connsiteX18705" y="connsiteY18705"/>
              </a:cxn>
              <a:cxn ang="0">
                <a:pos x="connsiteX18706" y="connsiteY18706"/>
              </a:cxn>
              <a:cxn ang="0">
                <a:pos x="connsiteX18707" y="connsiteY18707"/>
              </a:cxn>
              <a:cxn ang="0">
                <a:pos x="connsiteX18708" y="connsiteY18708"/>
              </a:cxn>
              <a:cxn ang="0">
                <a:pos x="connsiteX18709" y="connsiteY18709"/>
              </a:cxn>
              <a:cxn ang="0">
                <a:pos x="connsiteX18710" y="connsiteY18710"/>
              </a:cxn>
              <a:cxn ang="0">
                <a:pos x="connsiteX18711" y="connsiteY18711"/>
              </a:cxn>
              <a:cxn ang="0">
                <a:pos x="connsiteX18712" y="connsiteY18712"/>
              </a:cxn>
              <a:cxn ang="0">
                <a:pos x="connsiteX18713" y="connsiteY18713"/>
              </a:cxn>
              <a:cxn ang="0">
                <a:pos x="connsiteX18714" y="connsiteY18714"/>
              </a:cxn>
              <a:cxn ang="0">
                <a:pos x="connsiteX18715" y="connsiteY18715"/>
              </a:cxn>
              <a:cxn ang="0">
                <a:pos x="connsiteX18716" y="connsiteY18716"/>
              </a:cxn>
              <a:cxn ang="0">
                <a:pos x="connsiteX18717" y="connsiteY18717"/>
              </a:cxn>
              <a:cxn ang="0">
                <a:pos x="connsiteX18718" y="connsiteY18718"/>
              </a:cxn>
              <a:cxn ang="0">
                <a:pos x="connsiteX18719" y="connsiteY18719"/>
              </a:cxn>
              <a:cxn ang="0">
                <a:pos x="connsiteX18720" y="connsiteY18720"/>
              </a:cxn>
              <a:cxn ang="0">
                <a:pos x="connsiteX18721" y="connsiteY18721"/>
              </a:cxn>
              <a:cxn ang="0">
                <a:pos x="connsiteX18722" y="connsiteY18722"/>
              </a:cxn>
              <a:cxn ang="0">
                <a:pos x="connsiteX18723" y="connsiteY18723"/>
              </a:cxn>
              <a:cxn ang="0">
                <a:pos x="connsiteX18724" y="connsiteY18724"/>
              </a:cxn>
              <a:cxn ang="0">
                <a:pos x="connsiteX18725" y="connsiteY18725"/>
              </a:cxn>
              <a:cxn ang="0">
                <a:pos x="connsiteX18726" y="connsiteY18726"/>
              </a:cxn>
              <a:cxn ang="0">
                <a:pos x="connsiteX18727" y="connsiteY18727"/>
              </a:cxn>
              <a:cxn ang="0">
                <a:pos x="connsiteX18728" y="connsiteY18728"/>
              </a:cxn>
              <a:cxn ang="0">
                <a:pos x="connsiteX18729" y="connsiteY18729"/>
              </a:cxn>
              <a:cxn ang="0">
                <a:pos x="connsiteX18730" y="connsiteY18730"/>
              </a:cxn>
              <a:cxn ang="0">
                <a:pos x="connsiteX18731" y="connsiteY18731"/>
              </a:cxn>
              <a:cxn ang="0">
                <a:pos x="connsiteX18732" y="connsiteY18732"/>
              </a:cxn>
              <a:cxn ang="0">
                <a:pos x="connsiteX18733" y="connsiteY18733"/>
              </a:cxn>
              <a:cxn ang="0">
                <a:pos x="connsiteX18734" y="connsiteY18734"/>
              </a:cxn>
              <a:cxn ang="0">
                <a:pos x="connsiteX18735" y="connsiteY18735"/>
              </a:cxn>
              <a:cxn ang="0">
                <a:pos x="connsiteX18736" y="connsiteY18736"/>
              </a:cxn>
              <a:cxn ang="0">
                <a:pos x="connsiteX18737" y="connsiteY18737"/>
              </a:cxn>
              <a:cxn ang="0">
                <a:pos x="connsiteX18738" y="connsiteY18738"/>
              </a:cxn>
              <a:cxn ang="0">
                <a:pos x="connsiteX18739" y="connsiteY18739"/>
              </a:cxn>
              <a:cxn ang="0">
                <a:pos x="connsiteX18740" y="connsiteY18740"/>
              </a:cxn>
              <a:cxn ang="0">
                <a:pos x="connsiteX18741" y="connsiteY18741"/>
              </a:cxn>
              <a:cxn ang="0">
                <a:pos x="connsiteX18742" y="connsiteY18742"/>
              </a:cxn>
              <a:cxn ang="0">
                <a:pos x="connsiteX18743" y="connsiteY18743"/>
              </a:cxn>
              <a:cxn ang="0">
                <a:pos x="connsiteX18744" y="connsiteY18744"/>
              </a:cxn>
              <a:cxn ang="0">
                <a:pos x="connsiteX18745" y="connsiteY18745"/>
              </a:cxn>
              <a:cxn ang="0">
                <a:pos x="connsiteX18746" y="connsiteY18746"/>
              </a:cxn>
              <a:cxn ang="0">
                <a:pos x="connsiteX18747" y="connsiteY18747"/>
              </a:cxn>
              <a:cxn ang="0">
                <a:pos x="connsiteX18748" y="connsiteY18748"/>
              </a:cxn>
              <a:cxn ang="0">
                <a:pos x="connsiteX18749" y="connsiteY18749"/>
              </a:cxn>
              <a:cxn ang="0">
                <a:pos x="connsiteX18750" y="connsiteY18750"/>
              </a:cxn>
              <a:cxn ang="0">
                <a:pos x="connsiteX18751" y="connsiteY18751"/>
              </a:cxn>
              <a:cxn ang="0">
                <a:pos x="connsiteX18752" y="connsiteY18752"/>
              </a:cxn>
              <a:cxn ang="0">
                <a:pos x="connsiteX18753" y="connsiteY18753"/>
              </a:cxn>
              <a:cxn ang="0">
                <a:pos x="connsiteX18754" y="connsiteY18754"/>
              </a:cxn>
              <a:cxn ang="0">
                <a:pos x="connsiteX18755" y="connsiteY18755"/>
              </a:cxn>
              <a:cxn ang="0">
                <a:pos x="connsiteX18756" y="connsiteY18756"/>
              </a:cxn>
              <a:cxn ang="0">
                <a:pos x="connsiteX18757" y="connsiteY18757"/>
              </a:cxn>
              <a:cxn ang="0">
                <a:pos x="connsiteX18758" y="connsiteY18758"/>
              </a:cxn>
              <a:cxn ang="0">
                <a:pos x="connsiteX18759" y="connsiteY18759"/>
              </a:cxn>
              <a:cxn ang="0">
                <a:pos x="connsiteX18760" y="connsiteY18760"/>
              </a:cxn>
              <a:cxn ang="0">
                <a:pos x="connsiteX18761" y="connsiteY18761"/>
              </a:cxn>
              <a:cxn ang="0">
                <a:pos x="connsiteX18762" y="connsiteY18762"/>
              </a:cxn>
              <a:cxn ang="0">
                <a:pos x="connsiteX18763" y="connsiteY18763"/>
              </a:cxn>
              <a:cxn ang="0">
                <a:pos x="connsiteX18764" y="connsiteY18764"/>
              </a:cxn>
              <a:cxn ang="0">
                <a:pos x="connsiteX18765" y="connsiteY18765"/>
              </a:cxn>
              <a:cxn ang="0">
                <a:pos x="connsiteX18766" y="connsiteY18766"/>
              </a:cxn>
              <a:cxn ang="0">
                <a:pos x="connsiteX18767" y="connsiteY18767"/>
              </a:cxn>
              <a:cxn ang="0">
                <a:pos x="connsiteX18768" y="connsiteY18768"/>
              </a:cxn>
              <a:cxn ang="0">
                <a:pos x="connsiteX18769" y="connsiteY18769"/>
              </a:cxn>
              <a:cxn ang="0">
                <a:pos x="connsiteX18770" y="connsiteY18770"/>
              </a:cxn>
              <a:cxn ang="0">
                <a:pos x="connsiteX18771" y="connsiteY18771"/>
              </a:cxn>
              <a:cxn ang="0">
                <a:pos x="connsiteX18772" y="connsiteY18772"/>
              </a:cxn>
              <a:cxn ang="0">
                <a:pos x="connsiteX18773" y="connsiteY18773"/>
              </a:cxn>
              <a:cxn ang="0">
                <a:pos x="connsiteX18774" y="connsiteY18774"/>
              </a:cxn>
              <a:cxn ang="0">
                <a:pos x="connsiteX18775" y="connsiteY18775"/>
              </a:cxn>
              <a:cxn ang="0">
                <a:pos x="connsiteX18776" y="connsiteY18776"/>
              </a:cxn>
              <a:cxn ang="0">
                <a:pos x="connsiteX18777" y="connsiteY18777"/>
              </a:cxn>
              <a:cxn ang="0">
                <a:pos x="connsiteX18778" y="connsiteY18778"/>
              </a:cxn>
              <a:cxn ang="0">
                <a:pos x="connsiteX18779" y="connsiteY18779"/>
              </a:cxn>
              <a:cxn ang="0">
                <a:pos x="connsiteX18780" y="connsiteY18780"/>
              </a:cxn>
              <a:cxn ang="0">
                <a:pos x="connsiteX18781" y="connsiteY18781"/>
              </a:cxn>
              <a:cxn ang="0">
                <a:pos x="connsiteX18782" y="connsiteY18782"/>
              </a:cxn>
              <a:cxn ang="0">
                <a:pos x="connsiteX18783" y="connsiteY18783"/>
              </a:cxn>
              <a:cxn ang="0">
                <a:pos x="connsiteX18784" y="connsiteY18784"/>
              </a:cxn>
              <a:cxn ang="0">
                <a:pos x="connsiteX18785" y="connsiteY18785"/>
              </a:cxn>
              <a:cxn ang="0">
                <a:pos x="connsiteX18786" y="connsiteY18786"/>
              </a:cxn>
              <a:cxn ang="0">
                <a:pos x="connsiteX18787" y="connsiteY18787"/>
              </a:cxn>
              <a:cxn ang="0">
                <a:pos x="connsiteX18788" y="connsiteY18788"/>
              </a:cxn>
              <a:cxn ang="0">
                <a:pos x="connsiteX18789" y="connsiteY18789"/>
              </a:cxn>
              <a:cxn ang="0">
                <a:pos x="connsiteX18790" y="connsiteY18790"/>
              </a:cxn>
              <a:cxn ang="0">
                <a:pos x="connsiteX18791" y="connsiteY18791"/>
              </a:cxn>
              <a:cxn ang="0">
                <a:pos x="connsiteX18792" y="connsiteY18792"/>
              </a:cxn>
              <a:cxn ang="0">
                <a:pos x="connsiteX18793" y="connsiteY18793"/>
              </a:cxn>
              <a:cxn ang="0">
                <a:pos x="connsiteX18794" y="connsiteY18794"/>
              </a:cxn>
              <a:cxn ang="0">
                <a:pos x="connsiteX18795" y="connsiteY18795"/>
              </a:cxn>
              <a:cxn ang="0">
                <a:pos x="connsiteX18796" y="connsiteY18796"/>
              </a:cxn>
              <a:cxn ang="0">
                <a:pos x="connsiteX18797" y="connsiteY18797"/>
              </a:cxn>
              <a:cxn ang="0">
                <a:pos x="connsiteX18798" y="connsiteY18798"/>
              </a:cxn>
              <a:cxn ang="0">
                <a:pos x="connsiteX18799" y="connsiteY18799"/>
              </a:cxn>
              <a:cxn ang="0">
                <a:pos x="connsiteX18800" y="connsiteY18800"/>
              </a:cxn>
              <a:cxn ang="0">
                <a:pos x="connsiteX18801" y="connsiteY18801"/>
              </a:cxn>
              <a:cxn ang="0">
                <a:pos x="connsiteX18802" y="connsiteY18802"/>
              </a:cxn>
              <a:cxn ang="0">
                <a:pos x="connsiteX18803" y="connsiteY18803"/>
              </a:cxn>
              <a:cxn ang="0">
                <a:pos x="connsiteX18804" y="connsiteY18804"/>
              </a:cxn>
              <a:cxn ang="0">
                <a:pos x="connsiteX18805" y="connsiteY18805"/>
              </a:cxn>
              <a:cxn ang="0">
                <a:pos x="connsiteX18806" y="connsiteY18806"/>
              </a:cxn>
              <a:cxn ang="0">
                <a:pos x="connsiteX18807" y="connsiteY18807"/>
              </a:cxn>
              <a:cxn ang="0">
                <a:pos x="connsiteX18808" y="connsiteY18808"/>
              </a:cxn>
              <a:cxn ang="0">
                <a:pos x="connsiteX18809" y="connsiteY18809"/>
              </a:cxn>
              <a:cxn ang="0">
                <a:pos x="connsiteX18810" y="connsiteY18810"/>
              </a:cxn>
              <a:cxn ang="0">
                <a:pos x="connsiteX18811" y="connsiteY18811"/>
              </a:cxn>
              <a:cxn ang="0">
                <a:pos x="connsiteX18812" y="connsiteY18812"/>
              </a:cxn>
              <a:cxn ang="0">
                <a:pos x="connsiteX18813" y="connsiteY18813"/>
              </a:cxn>
              <a:cxn ang="0">
                <a:pos x="connsiteX18814" y="connsiteY18814"/>
              </a:cxn>
              <a:cxn ang="0">
                <a:pos x="connsiteX18815" y="connsiteY18815"/>
              </a:cxn>
              <a:cxn ang="0">
                <a:pos x="connsiteX18816" y="connsiteY18816"/>
              </a:cxn>
              <a:cxn ang="0">
                <a:pos x="connsiteX18817" y="connsiteY18817"/>
              </a:cxn>
              <a:cxn ang="0">
                <a:pos x="connsiteX18818" y="connsiteY18818"/>
              </a:cxn>
              <a:cxn ang="0">
                <a:pos x="connsiteX18819" y="connsiteY18819"/>
              </a:cxn>
              <a:cxn ang="0">
                <a:pos x="connsiteX18820" y="connsiteY18820"/>
              </a:cxn>
              <a:cxn ang="0">
                <a:pos x="connsiteX18821" y="connsiteY18821"/>
              </a:cxn>
              <a:cxn ang="0">
                <a:pos x="connsiteX18822" y="connsiteY18822"/>
              </a:cxn>
              <a:cxn ang="0">
                <a:pos x="connsiteX18823" y="connsiteY18823"/>
              </a:cxn>
              <a:cxn ang="0">
                <a:pos x="connsiteX18824" y="connsiteY18824"/>
              </a:cxn>
              <a:cxn ang="0">
                <a:pos x="connsiteX18825" y="connsiteY18825"/>
              </a:cxn>
              <a:cxn ang="0">
                <a:pos x="connsiteX18826" y="connsiteY18826"/>
              </a:cxn>
              <a:cxn ang="0">
                <a:pos x="connsiteX18827" y="connsiteY18827"/>
              </a:cxn>
              <a:cxn ang="0">
                <a:pos x="connsiteX18828" y="connsiteY18828"/>
              </a:cxn>
              <a:cxn ang="0">
                <a:pos x="connsiteX18829" y="connsiteY18829"/>
              </a:cxn>
              <a:cxn ang="0">
                <a:pos x="connsiteX18830" y="connsiteY18830"/>
              </a:cxn>
              <a:cxn ang="0">
                <a:pos x="connsiteX18831" y="connsiteY18831"/>
              </a:cxn>
              <a:cxn ang="0">
                <a:pos x="connsiteX18832" y="connsiteY18832"/>
              </a:cxn>
              <a:cxn ang="0">
                <a:pos x="connsiteX18833" y="connsiteY18833"/>
              </a:cxn>
              <a:cxn ang="0">
                <a:pos x="connsiteX18834" y="connsiteY18834"/>
              </a:cxn>
              <a:cxn ang="0">
                <a:pos x="connsiteX18835" y="connsiteY18835"/>
              </a:cxn>
              <a:cxn ang="0">
                <a:pos x="connsiteX18836" y="connsiteY18836"/>
              </a:cxn>
              <a:cxn ang="0">
                <a:pos x="connsiteX18837" y="connsiteY18837"/>
              </a:cxn>
              <a:cxn ang="0">
                <a:pos x="connsiteX18838" y="connsiteY18838"/>
              </a:cxn>
              <a:cxn ang="0">
                <a:pos x="connsiteX18839" y="connsiteY18839"/>
              </a:cxn>
              <a:cxn ang="0">
                <a:pos x="connsiteX18840" y="connsiteY18840"/>
              </a:cxn>
              <a:cxn ang="0">
                <a:pos x="connsiteX18841" y="connsiteY18841"/>
              </a:cxn>
              <a:cxn ang="0">
                <a:pos x="connsiteX18842" y="connsiteY18842"/>
              </a:cxn>
              <a:cxn ang="0">
                <a:pos x="connsiteX18843" y="connsiteY18843"/>
              </a:cxn>
              <a:cxn ang="0">
                <a:pos x="connsiteX18844" y="connsiteY18844"/>
              </a:cxn>
              <a:cxn ang="0">
                <a:pos x="connsiteX18845" y="connsiteY18845"/>
              </a:cxn>
              <a:cxn ang="0">
                <a:pos x="connsiteX18846" y="connsiteY18846"/>
              </a:cxn>
              <a:cxn ang="0">
                <a:pos x="connsiteX18847" y="connsiteY18847"/>
              </a:cxn>
              <a:cxn ang="0">
                <a:pos x="connsiteX18848" y="connsiteY18848"/>
              </a:cxn>
              <a:cxn ang="0">
                <a:pos x="connsiteX18849" y="connsiteY18849"/>
              </a:cxn>
              <a:cxn ang="0">
                <a:pos x="connsiteX18850" y="connsiteY18850"/>
              </a:cxn>
              <a:cxn ang="0">
                <a:pos x="connsiteX18851" y="connsiteY18851"/>
              </a:cxn>
              <a:cxn ang="0">
                <a:pos x="connsiteX18852" y="connsiteY18852"/>
              </a:cxn>
              <a:cxn ang="0">
                <a:pos x="connsiteX18853" y="connsiteY18853"/>
              </a:cxn>
              <a:cxn ang="0">
                <a:pos x="connsiteX18854" y="connsiteY18854"/>
              </a:cxn>
              <a:cxn ang="0">
                <a:pos x="connsiteX18855" y="connsiteY18855"/>
              </a:cxn>
              <a:cxn ang="0">
                <a:pos x="connsiteX18856" y="connsiteY18856"/>
              </a:cxn>
              <a:cxn ang="0">
                <a:pos x="connsiteX18857" y="connsiteY18857"/>
              </a:cxn>
              <a:cxn ang="0">
                <a:pos x="connsiteX18858" y="connsiteY18858"/>
              </a:cxn>
              <a:cxn ang="0">
                <a:pos x="connsiteX18859" y="connsiteY18859"/>
              </a:cxn>
              <a:cxn ang="0">
                <a:pos x="connsiteX18860" y="connsiteY18860"/>
              </a:cxn>
              <a:cxn ang="0">
                <a:pos x="connsiteX18861" y="connsiteY18861"/>
              </a:cxn>
              <a:cxn ang="0">
                <a:pos x="connsiteX18862" y="connsiteY18862"/>
              </a:cxn>
              <a:cxn ang="0">
                <a:pos x="connsiteX18863" y="connsiteY18863"/>
              </a:cxn>
              <a:cxn ang="0">
                <a:pos x="connsiteX18864" y="connsiteY18864"/>
              </a:cxn>
              <a:cxn ang="0">
                <a:pos x="connsiteX18865" y="connsiteY18865"/>
              </a:cxn>
              <a:cxn ang="0">
                <a:pos x="connsiteX18866" y="connsiteY18866"/>
              </a:cxn>
              <a:cxn ang="0">
                <a:pos x="connsiteX18867" y="connsiteY18867"/>
              </a:cxn>
              <a:cxn ang="0">
                <a:pos x="connsiteX18868" y="connsiteY18868"/>
              </a:cxn>
              <a:cxn ang="0">
                <a:pos x="connsiteX18869" y="connsiteY18869"/>
              </a:cxn>
              <a:cxn ang="0">
                <a:pos x="connsiteX18870" y="connsiteY18870"/>
              </a:cxn>
              <a:cxn ang="0">
                <a:pos x="connsiteX18871" y="connsiteY18871"/>
              </a:cxn>
              <a:cxn ang="0">
                <a:pos x="connsiteX18872" y="connsiteY18872"/>
              </a:cxn>
              <a:cxn ang="0">
                <a:pos x="connsiteX18873" y="connsiteY18873"/>
              </a:cxn>
              <a:cxn ang="0">
                <a:pos x="connsiteX18874" y="connsiteY18874"/>
              </a:cxn>
              <a:cxn ang="0">
                <a:pos x="connsiteX18875" y="connsiteY18875"/>
              </a:cxn>
              <a:cxn ang="0">
                <a:pos x="connsiteX18876" y="connsiteY18876"/>
              </a:cxn>
              <a:cxn ang="0">
                <a:pos x="connsiteX18877" y="connsiteY18877"/>
              </a:cxn>
              <a:cxn ang="0">
                <a:pos x="connsiteX18878" y="connsiteY18878"/>
              </a:cxn>
              <a:cxn ang="0">
                <a:pos x="connsiteX18879" y="connsiteY18879"/>
              </a:cxn>
              <a:cxn ang="0">
                <a:pos x="connsiteX18880" y="connsiteY18880"/>
              </a:cxn>
              <a:cxn ang="0">
                <a:pos x="connsiteX18881" y="connsiteY18881"/>
              </a:cxn>
              <a:cxn ang="0">
                <a:pos x="connsiteX18882" y="connsiteY18882"/>
              </a:cxn>
              <a:cxn ang="0">
                <a:pos x="connsiteX18883" y="connsiteY18883"/>
              </a:cxn>
              <a:cxn ang="0">
                <a:pos x="connsiteX18884" y="connsiteY18884"/>
              </a:cxn>
              <a:cxn ang="0">
                <a:pos x="connsiteX18885" y="connsiteY18885"/>
              </a:cxn>
              <a:cxn ang="0">
                <a:pos x="connsiteX18886" y="connsiteY18886"/>
              </a:cxn>
              <a:cxn ang="0">
                <a:pos x="connsiteX18887" y="connsiteY18887"/>
              </a:cxn>
              <a:cxn ang="0">
                <a:pos x="connsiteX18888" y="connsiteY18888"/>
              </a:cxn>
              <a:cxn ang="0">
                <a:pos x="connsiteX18889" y="connsiteY18889"/>
              </a:cxn>
              <a:cxn ang="0">
                <a:pos x="connsiteX18890" y="connsiteY18890"/>
              </a:cxn>
              <a:cxn ang="0">
                <a:pos x="connsiteX18891" y="connsiteY18891"/>
              </a:cxn>
              <a:cxn ang="0">
                <a:pos x="connsiteX18892" y="connsiteY18892"/>
              </a:cxn>
              <a:cxn ang="0">
                <a:pos x="connsiteX18893" y="connsiteY18893"/>
              </a:cxn>
              <a:cxn ang="0">
                <a:pos x="connsiteX18894" y="connsiteY18894"/>
              </a:cxn>
              <a:cxn ang="0">
                <a:pos x="connsiteX18895" y="connsiteY18895"/>
              </a:cxn>
              <a:cxn ang="0">
                <a:pos x="connsiteX18896" y="connsiteY18896"/>
              </a:cxn>
              <a:cxn ang="0">
                <a:pos x="connsiteX18897" y="connsiteY18897"/>
              </a:cxn>
              <a:cxn ang="0">
                <a:pos x="connsiteX18898" y="connsiteY18898"/>
              </a:cxn>
              <a:cxn ang="0">
                <a:pos x="connsiteX18899" y="connsiteY18899"/>
              </a:cxn>
              <a:cxn ang="0">
                <a:pos x="connsiteX18900" y="connsiteY18900"/>
              </a:cxn>
              <a:cxn ang="0">
                <a:pos x="connsiteX18901" y="connsiteY18901"/>
              </a:cxn>
              <a:cxn ang="0">
                <a:pos x="connsiteX18902" y="connsiteY18902"/>
              </a:cxn>
              <a:cxn ang="0">
                <a:pos x="connsiteX18903" y="connsiteY18903"/>
              </a:cxn>
              <a:cxn ang="0">
                <a:pos x="connsiteX18904" y="connsiteY18904"/>
              </a:cxn>
              <a:cxn ang="0">
                <a:pos x="connsiteX18905" y="connsiteY18905"/>
              </a:cxn>
              <a:cxn ang="0">
                <a:pos x="connsiteX18906" y="connsiteY18906"/>
              </a:cxn>
              <a:cxn ang="0">
                <a:pos x="connsiteX18907" y="connsiteY18907"/>
              </a:cxn>
              <a:cxn ang="0">
                <a:pos x="connsiteX18908" y="connsiteY18908"/>
              </a:cxn>
              <a:cxn ang="0">
                <a:pos x="connsiteX18909" y="connsiteY18909"/>
              </a:cxn>
              <a:cxn ang="0">
                <a:pos x="connsiteX18910" y="connsiteY18910"/>
              </a:cxn>
              <a:cxn ang="0">
                <a:pos x="connsiteX18911" y="connsiteY18911"/>
              </a:cxn>
              <a:cxn ang="0">
                <a:pos x="connsiteX18912" y="connsiteY18912"/>
              </a:cxn>
              <a:cxn ang="0">
                <a:pos x="connsiteX18913" y="connsiteY18913"/>
              </a:cxn>
              <a:cxn ang="0">
                <a:pos x="connsiteX18914" y="connsiteY18914"/>
              </a:cxn>
              <a:cxn ang="0">
                <a:pos x="connsiteX18915" y="connsiteY18915"/>
              </a:cxn>
              <a:cxn ang="0">
                <a:pos x="connsiteX18916" y="connsiteY18916"/>
              </a:cxn>
              <a:cxn ang="0">
                <a:pos x="connsiteX18917" y="connsiteY18917"/>
              </a:cxn>
              <a:cxn ang="0">
                <a:pos x="connsiteX18918" y="connsiteY18918"/>
              </a:cxn>
              <a:cxn ang="0">
                <a:pos x="connsiteX18919" y="connsiteY18919"/>
              </a:cxn>
              <a:cxn ang="0">
                <a:pos x="connsiteX18920" y="connsiteY18920"/>
              </a:cxn>
              <a:cxn ang="0">
                <a:pos x="connsiteX18921" y="connsiteY18921"/>
              </a:cxn>
              <a:cxn ang="0">
                <a:pos x="connsiteX18922" y="connsiteY18922"/>
              </a:cxn>
              <a:cxn ang="0">
                <a:pos x="connsiteX18923" y="connsiteY18923"/>
              </a:cxn>
              <a:cxn ang="0">
                <a:pos x="connsiteX18924" y="connsiteY18924"/>
              </a:cxn>
              <a:cxn ang="0">
                <a:pos x="connsiteX18925" y="connsiteY18925"/>
              </a:cxn>
              <a:cxn ang="0">
                <a:pos x="connsiteX18926" y="connsiteY18926"/>
              </a:cxn>
              <a:cxn ang="0">
                <a:pos x="connsiteX18927" y="connsiteY18927"/>
              </a:cxn>
              <a:cxn ang="0">
                <a:pos x="connsiteX18928" y="connsiteY18928"/>
              </a:cxn>
              <a:cxn ang="0">
                <a:pos x="connsiteX18929" y="connsiteY18929"/>
              </a:cxn>
              <a:cxn ang="0">
                <a:pos x="connsiteX18930" y="connsiteY18930"/>
              </a:cxn>
              <a:cxn ang="0">
                <a:pos x="connsiteX18931" y="connsiteY18931"/>
              </a:cxn>
              <a:cxn ang="0">
                <a:pos x="connsiteX18932" y="connsiteY18932"/>
              </a:cxn>
              <a:cxn ang="0">
                <a:pos x="connsiteX18933" y="connsiteY18933"/>
              </a:cxn>
              <a:cxn ang="0">
                <a:pos x="connsiteX18934" y="connsiteY18934"/>
              </a:cxn>
              <a:cxn ang="0">
                <a:pos x="connsiteX18935" y="connsiteY18935"/>
              </a:cxn>
              <a:cxn ang="0">
                <a:pos x="connsiteX18936" y="connsiteY18936"/>
              </a:cxn>
              <a:cxn ang="0">
                <a:pos x="connsiteX18937" y="connsiteY18937"/>
              </a:cxn>
              <a:cxn ang="0">
                <a:pos x="connsiteX18938" y="connsiteY18938"/>
              </a:cxn>
              <a:cxn ang="0">
                <a:pos x="connsiteX18939" y="connsiteY18939"/>
              </a:cxn>
              <a:cxn ang="0">
                <a:pos x="connsiteX18940" y="connsiteY18940"/>
              </a:cxn>
              <a:cxn ang="0">
                <a:pos x="connsiteX18941" y="connsiteY18941"/>
              </a:cxn>
              <a:cxn ang="0">
                <a:pos x="connsiteX18942" y="connsiteY18942"/>
              </a:cxn>
              <a:cxn ang="0">
                <a:pos x="connsiteX18943" y="connsiteY18943"/>
              </a:cxn>
              <a:cxn ang="0">
                <a:pos x="connsiteX18944" y="connsiteY18944"/>
              </a:cxn>
              <a:cxn ang="0">
                <a:pos x="connsiteX18945" y="connsiteY18945"/>
              </a:cxn>
              <a:cxn ang="0">
                <a:pos x="connsiteX18946" y="connsiteY18946"/>
              </a:cxn>
              <a:cxn ang="0">
                <a:pos x="connsiteX18947" y="connsiteY18947"/>
              </a:cxn>
              <a:cxn ang="0">
                <a:pos x="connsiteX18948" y="connsiteY18948"/>
              </a:cxn>
              <a:cxn ang="0">
                <a:pos x="connsiteX18949" y="connsiteY18949"/>
              </a:cxn>
              <a:cxn ang="0">
                <a:pos x="connsiteX18950" y="connsiteY18950"/>
              </a:cxn>
              <a:cxn ang="0">
                <a:pos x="connsiteX18951" y="connsiteY18951"/>
              </a:cxn>
              <a:cxn ang="0">
                <a:pos x="connsiteX18952" y="connsiteY18952"/>
              </a:cxn>
              <a:cxn ang="0">
                <a:pos x="connsiteX18953" y="connsiteY18953"/>
              </a:cxn>
              <a:cxn ang="0">
                <a:pos x="connsiteX18954" y="connsiteY18954"/>
              </a:cxn>
              <a:cxn ang="0">
                <a:pos x="connsiteX18955" y="connsiteY18955"/>
              </a:cxn>
              <a:cxn ang="0">
                <a:pos x="connsiteX18956" y="connsiteY18956"/>
              </a:cxn>
              <a:cxn ang="0">
                <a:pos x="connsiteX18957" y="connsiteY18957"/>
              </a:cxn>
              <a:cxn ang="0">
                <a:pos x="connsiteX18958" y="connsiteY18958"/>
              </a:cxn>
              <a:cxn ang="0">
                <a:pos x="connsiteX18959" y="connsiteY18959"/>
              </a:cxn>
              <a:cxn ang="0">
                <a:pos x="connsiteX18960" y="connsiteY18960"/>
              </a:cxn>
              <a:cxn ang="0">
                <a:pos x="connsiteX18961" y="connsiteY18961"/>
              </a:cxn>
              <a:cxn ang="0">
                <a:pos x="connsiteX18962" y="connsiteY18962"/>
              </a:cxn>
              <a:cxn ang="0">
                <a:pos x="connsiteX18963" y="connsiteY18963"/>
              </a:cxn>
              <a:cxn ang="0">
                <a:pos x="connsiteX18964" y="connsiteY18964"/>
              </a:cxn>
              <a:cxn ang="0">
                <a:pos x="connsiteX18965" y="connsiteY18965"/>
              </a:cxn>
              <a:cxn ang="0">
                <a:pos x="connsiteX18966" y="connsiteY18966"/>
              </a:cxn>
              <a:cxn ang="0">
                <a:pos x="connsiteX18967" y="connsiteY18967"/>
              </a:cxn>
              <a:cxn ang="0">
                <a:pos x="connsiteX18968" y="connsiteY18968"/>
              </a:cxn>
              <a:cxn ang="0">
                <a:pos x="connsiteX18969" y="connsiteY18969"/>
              </a:cxn>
              <a:cxn ang="0">
                <a:pos x="connsiteX18970" y="connsiteY18970"/>
              </a:cxn>
              <a:cxn ang="0">
                <a:pos x="connsiteX18971" y="connsiteY18971"/>
              </a:cxn>
              <a:cxn ang="0">
                <a:pos x="connsiteX18972" y="connsiteY18972"/>
              </a:cxn>
              <a:cxn ang="0">
                <a:pos x="connsiteX18973" y="connsiteY18973"/>
              </a:cxn>
              <a:cxn ang="0">
                <a:pos x="connsiteX18974" y="connsiteY18974"/>
              </a:cxn>
              <a:cxn ang="0">
                <a:pos x="connsiteX18975" y="connsiteY18975"/>
              </a:cxn>
              <a:cxn ang="0">
                <a:pos x="connsiteX18976" y="connsiteY18976"/>
              </a:cxn>
              <a:cxn ang="0">
                <a:pos x="connsiteX18977" y="connsiteY18977"/>
              </a:cxn>
              <a:cxn ang="0">
                <a:pos x="connsiteX18978" y="connsiteY18978"/>
              </a:cxn>
              <a:cxn ang="0">
                <a:pos x="connsiteX18979" y="connsiteY18979"/>
              </a:cxn>
              <a:cxn ang="0">
                <a:pos x="connsiteX18980" y="connsiteY18980"/>
              </a:cxn>
              <a:cxn ang="0">
                <a:pos x="connsiteX18981" y="connsiteY18981"/>
              </a:cxn>
              <a:cxn ang="0">
                <a:pos x="connsiteX18982" y="connsiteY18982"/>
              </a:cxn>
              <a:cxn ang="0">
                <a:pos x="connsiteX18983" y="connsiteY18983"/>
              </a:cxn>
              <a:cxn ang="0">
                <a:pos x="connsiteX18984" y="connsiteY18984"/>
              </a:cxn>
              <a:cxn ang="0">
                <a:pos x="connsiteX18985" y="connsiteY18985"/>
              </a:cxn>
              <a:cxn ang="0">
                <a:pos x="connsiteX18986" y="connsiteY18986"/>
              </a:cxn>
              <a:cxn ang="0">
                <a:pos x="connsiteX18987" y="connsiteY18987"/>
              </a:cxn>
              <a:cxn ang="0">
                <a:pos x="connsiteX18988" y="connsiteY18988"/>
              </a:cxn>
              <a:cxn ang="0">
                <a:pos x="connsiteX18989" y="connsiteY18989"/>
              </a:cxn>
              <a:cxn ang="0">
                <a:pos x="connsiteX18990" y="connsiteY18990"/>
              </a:cxn>
              <a:cxn ang="0">
                <a:pos x="connsiteX18991" y="connsiteY18991"/>
              </a:cxn>
              <a:cxn ang="0">
                <a:pos x="connsiteX18992" y="connsiteY18992"/>
              </a:cxn>
              <a:cxn ang="0">
                <a:pos x="connsiteX18993" y="connsiteY18993"/>
              </a:cxn>
              <a:cxn ang="0">
                <a:pos x="connsiteX18994" y="connsiteY18994"/>
              </a:cxn>
              <a:cxn ang="0">
                <a:pos x="connsiteX18995" y="connsiteY18995"/>
              </a:cxn>
              <a:cxn ang="0">
                <a:pos x="connsiteX18996" y="connsiteY18996"/>
              </a:cxn>
              <a:cxn ang="0">
                <a:pos x="connsiteX18997" y="connsiteY18997"/>
              </a:cxn>
              <a:cxn ang="0">
                <a:pos x="connsiteX18998" y="connsiteY18998"/>
              </a:cxn>
              <a:cxn ang="0">
                <a:pos x="connsiteX18999" y="connsiteY18999"/>
              </a:cxn>
              <a:cxn ang="0">
                <a:pos x="connsiteX19000" y="connsiteY19000"/>
              </a:cxn>
              <a:cxn ang="0">
                <a:pos x="connsiteX19001" y="connsiteY19001"/>
              </a:cxn>
              <a:cxn ang="0">
                <a:pos x="connsiteX19002" y="connsiteY19002"/>
              </a:cxn>
              <a:cxn ang="0">
                <a:pos x="connsiteX19003" y="connsiteY19003"/>
              </a:cxn>
              <a:cxn ang="0">
                <a:pos x="connsiteX19004" y="connsiteY19004"/>
              </a:cxn>
              <a:cxn ang="0">
                <a:pos x="connsiteX19005" y="connsiteY19005"/>
              </a:cxn>
              <a:cxn ang="0">
                <a:pos x="connsiteX19006" y="connsiteY19006"/>
              </a:cxn>
              <a:cxn ang="0">
                <a:pos x="connsiteX19007" y="connsiteY19007"/>
              </a:cxn>
              <a:cxn ang="0">
                <a:pos x="connsiteX19008" y="connsiteY19008"/>
              </a:cxn>
              <a:cxn ang="0">
                <a:pos x="connsiteX19009" y="connsiteY19009"/>
              </a:cxn>
              <a:cxn ang="0">
                <a:pos x="connsiteX19010" y="connsiteY19010"/>
              </a:cxn>
              <a:cxn ang="0">
                <a:pos x="connsiteX19011" y="connsiteY19011"/>
              </a:cxn>
              <a:cxn ang="0">
                <a:pos x="connsiteX19012" y="connsiteY19012"/>
              </a:cxn>
              <a:cxn ang="0">
                <a:pos x="connsiteX19013" y="connsiteY19013"/>
              </a:cxn>
              <a:cxn ang="0">
                <a:pos x="connsiteX19014" y="connsiteY19014"/>
              </a:cxn>
              <a:cxn ang="0">
                <a:pos x="connsiteX19015" y="connsiteY19015"/>
              </a:cxn>
              <a:cxn ang="0">
                <a:pos x="connsiteX19016" y="connsiteY19016"/>
              </a:cxn>
              <a:cxn ang="0">
                <a:pos x="connsiteX19017" y="connsiteY19017"/>
              </a:cxn>
              <a:cxn ang="0">
                <a:pos x="connsiteX19018" y="connsiteY19018"/>
              </a:cxn>
              <a:cxn ang="0">
                <a:pos x="connsiteX19019" y="connsiteY19019"/>
              </a:cxn>
              <a:cxn ang="0">
                <a:pos x="connsiteX19020" y="connsiteY19020"/>
              </a:cxn>
              <a:cxn ang="0">
                <a:pos x="connsiteX19021" y="connsiteY19021"/>
              </a:cxn>
              <a:cxn ang="0">
                <a:pos x="connsiteX19022" y="connsiteY19022"/>
              </a:cxn>
              <a:cxn ang="0">
                <a:pos x="connsiteX19023" y="connsiteY19023"/>
              </a:cxn>
              <a:cxn ang="0">
                <a:pos x="connsiteX19024" y="connsiteY19024"/>
              </a:cxn>
              <a:cxn ang="0">
                <a:pos x="connsiteX19025" y="connsiteY19025"/>
              </a:cxn>
              <a:cxn ang="0">
                <a:pos x="connsiteX19026" y="connsiteY19026"/>
              </a:cxn>
              <a:cxn ang="0">
                <a:pos x="connsiteX19027" y="connsiteY19027"/>
              </a:cxn>
              <a:cxn ang="0">
                <a:pos x="connsiteX19028" y="connsiteY19028"/>
              </a:cxn>
              <a:cxn ang="0">
                <a:pos x="connsiteX19029" y="connsiteY19029"/>
              </a:cxn>
              <a:cxn ang="0">
                <a:pos x="connsiteX19030" y="connsiteY19030"/>
              </a:cxn>
              <a:cxn ang="0">
                <a:pos x="connsiteX19031" y="connsiteY19031"/>
              </a:cxn>
              <a:cxn ang="0">
                <a:pos x="connsiteX19032" y="connsiteY19032"/>
              </a:cxn>
              <a:cxn ang="0">
                <a:pos x="connsiteX19033" y="connsiteY19033"/>
              </a:cxn>
              <a:cxn ang="0">
                <a:pos x="connsiteX19034" y="connsiteY19034"/>
              </a:cxn>
              <a:cxn ang="0">
                <a:pos x="connsiteX19035" y="connsiteY19035"/>
              </a:cxn>
              <a:cxn ang="0">
                <a:pos x="connsiteX19036" y="connsiteY19036"/>
              </a:cxn>
              <a:cxn ang="0">
                <a:pos x="connsiteX19037" y="connsiteY19037"/>
              </a:cxn>
              <a:cxn ang="0">
                <a:pos x="connsiteX19038" y="connsiteY19038"/>
              </a:cxn>
              <a:cxn ang="0">
                <a:pos x="connsiteX19039" y="connsiteY19039"/>
              </a:cxn>
              <a:cxn ang="0">
                <a:pos x="connsiteX19040" y="connsiteY19040"/>
              </a:cxn>
              <a:cxn ang="0">
                <a:pos x="connsiteX19041" y="connsiteY19041"/>
              </a:cxn>
              <a:cxn ang="0">
                <a:pos x="connsiteX19042" y="connsiteY19042"/>
              </a:cxn>
              <a:cxn ang="0">
                <a:pos x="connsiteX19043" y="connsiteY19043"/>
              </a:cxn>
              <a:cxn ang="0">
                <a:pos x="connsiteX19044" y="connsiteY19044"/>
              </a:cxn>
              <a:cxn ang="0">
                <a:pos x="connsiteX19045" y="connsiteY19045"/>
              </a:cxn>
              <a:cxn ang="0">
                <a:pos x="connsiteX19046" y="connsiteY19046"/>
              </a:cxn>
              <a:cxn ang="0">
                <a:pos x="connsiteX19047" y="connsiteY19047"/>
              </a:cxn>
              <a:cxn ang="0">
                <a:pos x="connsiteX19048" y="connsiteY19048"/>
              </a:cxn>
              <a:cxn ang="0">
                <a:pos x="connsiteX19049" y="connsiteY19049"/>
              </a:cxn>
              <a:cxn ang="0">
                <a:pos x="connsiteX19050" y="connsiteY19050"/>
              </a:cxn>
              <a:cxn ang="0">
                <a:pos x="connsiteX19051" y="connsiteY19051"/>
              </a:cxn>
              <a:cxn ang="0">
                <a:pos x="connsiteX19052" y="connsiteY19052"/>
              </a:cxn>
              <a:cxn ang="0">
                <a:pos x="connsiteX19053" y="connsiteY19053"/>
              </a:cxn>
              <a:cxn ang="0">
                <a:pos x="connsiteX19054" y="connsiteY19054"/>
              </a:cxn>
              <a:cxn ang="0">
                <a:pos x="connsiteX19055" y="connsiteY19055"/>
              </a:cxn>
              <a:cxn ang="0">
                <a:pos x="connsiteX19056" y="connsiteY19056"/>
              </a:cxn>
              <a:cxn ang="0">
                <a:pos x="connsiteX19057" y="connsiteY19057"/>
              </a:cxn>
              <a:cxn ang="0">
                <a:pos x="connsiteX19058" y="connsiteY19058"/>
              </a:cxn>
              <a:cxn ang="0">
                <a:pos x="connsiteX19059" y="connsiteY19059"/>
              </a:cxn>
              <a:cxn ang="0">
                <a:pos x="connsiteX19060" y="connsiteY19060"/>
              </a:cxn>
              <a:cxn ang="0">
                <a:pos x="connsiteX19061" y="connsiteY19061"/>
              </a:cxn>
              <a:cxn ang="0">
                <a:pos x="connsiteX19062" y="connsiteY19062"/>
              </a:cxn>
              <a:cxn ang="0">
                <a:pos x="connsiteX19063" y="connsiteY19063"/>
              </a:cxn>
              <a:cxn ang="0">
                <a:pos x="connsiteX19064" y="connsiteY19064"/>
              </a:cxn>
              <a:cxn ang="0">
                <a:pos x="connsiteX19065" y="connsiteY19065"/>
              </a:cxn>
              <a:cxn ang="0">
                <a:pos x="connsiteX19066" y="connsiteY19066"/>
              </a:cxn>
              <a:cxn ang="0">
                <a:pos x="connsiteX19067" y="connsiteY19067"/>
              </a:cxn>
              <a:cxn ang="0">
                <a:pos x="connsiteX19068" y="connsiteY19068"/>
              </a:cxn>
              <a:cxn ang="0">
                <a:pos x="connsiteX19069" y="connsiteY19069"/>
              </a:cxn>
              <a:cxn ang="0">
                <a:pos x="connsiteX19070" y="connsiteY19070"/>
              </a:cxn>
              <a:cxn ang="0">
                <a:pos x="connsiteX19071" y="connsiteY19071"/>
              </a:cxn>
              <a:cxn ang="0">
                <a:pos x="connsiteX19072" y="connsiteY19072"/>
              </a:cxn>
              <a:cxn ang="0">
                <a:pos x="connsiteX19073" y="connsiteY19073"/>
              </a:cxn>
              <a:cxn ang="0">
                <a:pos x="connsiteX19074" y="connsiteY19074"/>
              </a:cxn>
              <a:cxn ang="0">
                <a:pos x="connsiteX19075" y="connsiteY19075"/>
              </a:cxn>
              <a:cxn ang="0">
                <a:pos x="connsiteX19076" y="connsiteY19076"/>
              </a:cxn>
              <a:cxn ang="0">
                <a:pos x="connsiteX19077" y="connsiteY19077"/>
              </a:cxn>
              <a:cxn ang="0">
                <a:pos x="connsiteX19078" y="connsiteY19078"/>
              </a:cxn>
              <a:cxn ang="0">
                <a:pos x="connsiteX19079" y="connsiteY19079"/>
              </a:cxn>
              <a:cxn ang="0">
                <a:pos x="connsiteX19080" y="connsiteY19080"/>
              </a:cxn>
              <a:cxn ang="0">
                <a:pos x="connsiteX19081" y="connsiteY19081"/>
              </a:cxn>
              <a:cxn ang="0">
                <a:pos x="connsiteX19082" y="connsiteY19082"/>
              </a:cxn>
              <a:cxn ang="0">
                <a:pos x="connsiteX19083" y="connsiteY19083"/>
              </a:cxn>
              <a:cxn ang="0">
                <a:pos x="connsiteX19084" y="connsiteY19084"/>
              </a:cxn>
              <a:cxn ang="0">
                <a:pos x="connsiteX19085" y="connsiteY19085"/>
              </a:cxn>
              <a:cxn ang="0">
                <a:pos x="connsiteX19086" y="connsiteY19086"/>
              </a:cxn>
              <a:cxn ang="0">
                <a:pos x="connsiteX19087" y="connsiteY19087"/>
              </a:cxn>
              <a:cxn ang="0">
                <a:pos x="connsiteX19088" y="connsiteY19088"/>
              </a:cxn>
              <a:cxn ang="0">
                <a:pos x="connsiteX19089" y="connsiteY19089"/>
              </a:cxn>
              <a:cxn ang="0">
                <a:pos x="connsiteX19090" y="connsiteY19090"/>
              </a:cxn>
              <a:cxn ang="0">
                <a:pos x="connsiteX19091" y="connsiteY19091"/>
              </a:cxn>
              <a:cxn ang="0">
                <a:pos x="connsiteX19092" y="connsiteY19092"/>
              </a:cxn>
              <a:cxn ang="0">
                <a:pos x="connsiteX19093" y="connsiteY19093"/>
              </a:cxn>
              <a:cxn ang="0">
                <a:pos x="connsiteX19094" y="connsiteY19094"/>
              </a:cxn>
              <a:cxn ang="0">
                <a:pos x="connsiteX19095" y="connsiteY19095"/>
              </a:cxn>
              <a:cxn ang="0">
                <a:pos x="connsiteX19096" y="connsiteY19096"/>
              </a:cxn>
              <a:cxn ang="0">
                <a:pos x="connsiteX19097" y="connsiteY19097"/>
              </a:cxn>
              <a:cxn ang="0">
                <a:pos x="connsiteX19098" y="connsiteY19098"/>
              </a:cxn>
              <a:cxn ang="0">
                <a:pos x="connsiteX19099" y="connsiteY19099"/>
              </a:cxn>
              <a:cxn ang="0">
                <a:pos x="connsiteX19100" y="connsiteY19100"/>
              </a:cxn>
              <a:cxn ang="0">
                <a:pos x="connsiteX19101" y="connsiteY19101"/>
              </a:cxn>
              <a:cxn ang="0">
                <a:pos x="connsiteX19102" y="connsiteY19102"/>
              </a:cxn>
              <a:cxn ang="0">
                <a:pos x="connsiteX19103" y="connsiteY19103"/>
              </a:cxn>
              <a:cxn ang="0">
                <a:pos x="connsiteX19104" y="connsiteY19104"/>
              </a:cxn>
              <a:cxn ang="0">
                <a:pos x="connsiteX19105" y="connsiteY19105"/>
              </a:cxn>
              <a:cxn ang="0">
                <a:pos x="connsiteX19106" y="connsiteY19106"/>
              </a:cxn>
              <a:cxn ang="0">
                <a:pos x="connsiteX19107" y="connsiteY19107"/>
              </a:cxn>
              <a:cxn ang="0">
                <a:pos x="connsiteX19108" y="connsiteY19108"/>
              </a:cxn>
              <a:cxn ang="0">
                <a:pos x="connsiteX19109" y="connsiteY19109"/>
              </a:cxn>
              <a:cxn ang="0">
                <a:pos x="connsiteX19110" y="connsiteY19110"/>
              </a:cxn>
              <a:cxn ang="0">
                <a:pos x="connsiteX19111" y="connsiteY19111"/>
              </a:cxn>
              <a:cxn ang="0">
                <a:pos x="connsiteX19112" y="connsiteY19112"/>
              </a:cxn>
              <a:cxn ang="0">
                <a:pos x="connsiteX19113" y="connsiteY19113"/>
              </a:cxn>
              <a:cxn ang="0">
                <a:pos x="connsiteX19114" y="connsiteY19114"/>
              </a:cxn>
              <a:cxn ang="0">
                <a:pos x="connsiteX19115" y="connsiteY19115"/>
              </a:cxn>
              <a:cxn ang="0">
                <a:pos x="connsiteX19116" y="connsiteY19116"/>
              </a:cxn>
              <a:cxn ang="0">
                <a:pos x="connsiteX19117" y="connsiteY19117"/>
              </a:cxn>
              <a:cxn ang="0">
                <a:pos x="connsiteX19118" y="connsiteY19118"/>
              </a:cxn>
              <a:cxn ang="0">
                <a:pos x="connsiteX19119" y="connsiteY19119"/>
              </a:cxn>
              <a:cxn ang="0">
                <a:pos x="connsiteX19120" y="connsiteY19120"/>
              </a:cxn>
              <a:cxn ang="0">
                <a:pos x="connsiteX19121" y="connsiteY19121"/>
              </a:cxn>
              <a:cxn ang="0">
                <a:pos x="connsiteX19122" y="connsiteY19122"/>
              </a:cxn>
              <a:cxn ang="0">
                <a:pos x="connsiteX19123" y="connsiteY19123"/>
              </a:cxn>
              <a:cxn ang="0">
                <a:pos x="connsiteX19124" y="connsiteY19124"/>
              </a:cxn>
              <a:cxn ang="0">
                <a:pos x="connsiteX19125" y="connsiteY19125"/>
              </a:cxn>
              <a:cxn ang="0">
                <a:pos x="connsiteX19126" y="connsiteY19126"/>
              </a:cxn>
              <a:cxn ang="0">
                <a:pos x="connsiteX19127" y="connsiteY19127"/>
              </a:cxn>
              <a:cxn ang="0">
                <a:pos x="connsiteX19128" y="connsiteY19128"/>
              </a:cxn>
              <a:cxn ang="0">
                <a:pos x="connsiteX19129" y="connsiteY19129"/>
              </a:cxn>
              <a:cxn ang="0">
                <a:pos x="connsiteX19130" y="connsiteY19130"/>
              </a:cxn>
              <a:cxn ang="0">
                <a:pos x="connsiteX19131" y="connsiteY19131"/>
              </a:cxn>
              <a:cxn ang="0">
                <a:pos x="connsiteX19132" y="connsiteY19132"/>
              </a:cxn>
              <a:cxn ang="0">
                <a:pos x="connsiteX19133" y="connsiteY19133"/>
              </a:cxn>
              <a:cxn ang="0">
                <a:pos x="connsiteX19134" y="connsiteY19134"/>
              </a:cxn>
              <a:cxn ang="0">
                <a:pos x="connsiteX19135" y="connsiteY19135"/>
              </a:cxn>
              <a:cxn ang="0">
                <a:pos x="connsiteX19136" y="connsiteY19136"/>
              </a:cxn>
              <a:cxn ang="0">
                <a:pos x="connsiteX19137" y="connsiteY19137"/>
              </a:cxn>
              <a:cxn ang="0">
                <a:pos x="connsiteX19138" y="connsiteY19138"/>
              </a:cxn>
              <a:cxn ang="0">
                <a:pos x="connsiteX19139" y="connsiteY19139"/>
              </a:cxn>
              <a:cxn ang="0">
                <a:pos x="connsiteX19140" y="connsiteY19140"/>
              </a:cxn>
              <a:cxn ang="0">
                <a:pos x="connsiteX19141" y="connsiteY19141"/>
              </a:cxn>
              <a:cxn ang="0">
                <a:pos x="connsiteX19142" y="connsiteY19142"/>
              </a:cxn>
              <a:cxn ang="0">
                <a:pos x="connsiteX19143" y="connsiteY19143"/>
              </a:cxn>
              <a:cxn ang="0">
                <a:pos x="connsiteX19144" y="connsiteY19144"/>
              </a:cxn>
              <a:cxn ang="0">
                <a:pos x="connsiteX19145" y="connsiteY19145"/>
              </a:cxn>
              <a:cxn ang="0">
                <a:pos x="connsiteX19146" y="connsiteY19146"/>
              </a:cxn>
              <a:cxn ang="0">
                <a:pos x="connsiteX19147" y="connsiteY19147"/>
              </a:cxn>
              <a:cxn ang="0">
                <a:pos x="connsiteX19148" y="connsiteY19148"/>
              </a:cxn>
              <a:cxn ang="0">
                <a:pos x="connsiteX19149" y="connsiteY19149"/>
              </a:cxn>
              <a:cxn ang="0">
                <a:pos x="connsiteX19150" y="connsiteY19150"/>
              </a:cxn>
              <a:cxn ang="0">
                <a:pos x="connsiteX19151" y="connsiteY19151"/>
              </a:cxn>
              <a:cxn ang="0">
                <a:pos x="connsiteX19152" y="connsiteY19152"/>
              </a:cxn>
              <a:cxn ang="0">
                <a:pos x="connsiteX19153" y="connsiteY19153"/>
              </a:cxn>
              <a:cxn ang="0">
                <a:pos x="connsiteX19154" y="connsiteY19154"/>
              </a:cxn>
              <a:cxn ang="0">
                <a:pos x="connsiteX19155" y="connsiteY19155"/>
              </a:cxn>
              <a:cxn ang="0">
                <a:pos x="connsiteX19156" y="connsiteY19156"/>
              </a:cxn>
              <a:cxn ang="0">
                <a:pos x="connsiteX19157" y="connsiteY19157"/>
              </a:cxn>
              <a:cxn ang="0">
                <a:pos x="connsiteX19158" y="connsiteY19158"/>
              </a:cxn>
              <a:cxn ang="0">
                <a:pos x="connsiteX19159" y="connsiteY19159"/>
              </a:cxn>
              <a:cxn ang="0">
                <a:pos x="connsiteX19160" y="connsiteY19160"/>
              </a:cxn>
              <a:cxn ang="0">
                <a:pos x="connsiteX19161" y="connsiteY19161"/>
              </a:cxn>
              <a:cxn ang="0">
                <a:pos x="connsiteX19162" y="connsiteY19162"/>
              </a:cxn>
              <a:cxn ang="0">
                <a:pos x="connsiteX19163" y="connsiteY19163"/>
              </a:cxn>
              <a:cxn ang="0">
                <a:pos x="connsiteX19164" y="connsiteY19164"/>
              </a:cxn>
              <a:cxn ang="0">
                <a:pos x="connsiteX19165" y="connsiteY19165"/>
              </a:cxn>
              <a:cxn ang="0">
                <a:pos x="connsiteX19166" y="connsiteY19166"/>
              </a:cxn>
              <a:cxn ang="0">
                <a:pos x="connsiteX19167" y="connsiteY19167"/>
              </a:cxn>
              <a:cxn ang="0">
                <a:pos x="connsiteX19168" y="connsiteY19168"/>
              </a:cxn>
              <a:cxn ang="0">
                <a:pos x="connsiteX19169" y="connsiteY19169"/>
              </a:cxn>
              <a:cxn ang="0">
                <a:pos x="connsiteX19170" y="connsiteY19170"/>
              </a:cxn>
              <a:cxn ang="0">
                <a:pos x="connsiteX19171" y="connsiteY19171"/>
              </a:cxn>
              <a:cxn ang="0">
                <a:pos x="connsiteX19172" y="connsiteY19172"/>
              </a:cxn>
              <a:cxn ang="0">
                <a:pos x="connsiteX19173" y="connsiteY19173"/>
              </a:cxn>
              <a:cxn ang="0">
                <a:pos x="connsiteX19174" y="connsiteY19174"/>
              </a:cxn>
              <a:cxn ang="0">
                <a:pos x="connsiteX19175" y="connsiteY19175"/>
              </a:cxn>
              <a:cxn ang="0">
                <a:pos x="connsiteX19176" y="connsiteY19176"/>
              </a:cxn>
              <a:cxn ang="0">
                <a:pos x="connsiteX19177" y="connsiteY19177"/>
              </a:cxn>
              <a:cxn ang="0">
                <a:pos x="connsiteX19178" y="connsiteY19178"/>
              </a:cxn>
              <a:cxn ang="0">
                <a:pos x="connsiteX19179" y="connsiteY19179"/>
              </a:cxn>
              <a:cxn ang="0">
                <a:pos x="connsiteX19180" y="connsiteY19180"/>
              </a:cxn>
              <a:cxn ang="0">
                <a:pos x="connsiteX19181" y="connsiteY19181"/>
              </a:cxn>
              <a:cxn ang="0">
                <a:pos x="connsiteX19182" y="connsiteY19182"/>
              </a:cxn>
              <a:cxn ang="0">
                <a:pos x="connsiteX19183" y="connsiteY19183"/>
              </a:cxn>
              <a:cxn ang="0">
                <a:pos x="connsiteX19184" y="connsiteY19184"/>
              </a:cxn>
              <a:cxn ang="0">
                <a:pos x="connsiteX19185" y="connsiteY19185"/>
              </a:cxn>
              <a:cxn ang="0">
                <a:pos x="connsiteX19186" y="connsiteY19186"/>
              </a:cxn>
              <a:cxn ang="0">
                <a:pos x="connsiteX19187" y="connsiteY19187"/>
              </a:cxn>
              <a:cxn ang="0">
                <a:pos x="connsiteX19188" y="connsiteY19188"/>
              </a:cxn>
              <a:cxn ang="0">
                <a:pos x="connsiteX19189" y="connsiteY19189"/>
              </a:cxn>
              <a:cxn ang="0">
                <a:pos x="connsiteX19190" y="connsiteY19190"/>
              </a:cxn>
              <a:cxn ang="0">
                <a:pos x="connsiteX19191" y="connsiteY19191"/>
              </a:cxn>
              <a:cxn ang="0">
                <a:pos x="connsiteX19192" y="connsiteY19192"/>
              </a:cxn>
              <a:cxn ang="0">
                <a:pos x="connsiteX19193" y="connsiteY19193"/>
              </a:cxn>
              <a:cxn ang="0">
                <a:pos x="connsiteX19194" y="connsiteY19194"/>
              </a:cxn>
              <a:cxn ang="0">
                <a:pos x="connsiteX19195" y="connsiteY19195"/>
              </a:cxn>
              <a:cxn ang="0">
                <a:pos x="connsiteX19196" y="connsiteY19196"/>
              </a:cxn>
              <a:cxn ang="0">
                <a:pos x="connsiteX19197" y="connsiteY19197"/>
              </a:cxn>
              <a:cxn ang="0">
                <a:pos x="connsiteX19198" y="connsiteY19198"/>
              </a:cxn>
              <a:cxn ang="0">
                <a:pos x="connsiteX19199" y="connsiteY19199"/>
              </a:cxn>
              <a:cxn ang="0">
                <a:pos x="connsiteX19200" y="connsiteY19200"/>
              </a:cxn>
              <a:cxn ang="0">
                <a:pos x="connsiteX19201" y="connsiteY19201"/>
              </a:cxn>
              <a:cxn ang="0">
                <a:pos x="connsiteX19202" y="connsiteY19202"/>
              </a:cxn>
              <a:cxn ang="0">
                <a:pos x="connsiteX19203" y="connsiteY19203"/>
              </a:cxn>
              <a:cxn ang="0">
                <a:pos x="connsiteX19204" y="connsiteY19204"/>
              </a:cxn>
              <a:cxn ang="0">
                <a:pos x="connsiteX19205" y="connsiteY19205"/>
              </a:cxn>
              <a:cxn ang="0">
                <a:pos x="connsiteX19206" y="connsiteY19206"/>
              </a:cxn>
              <a:cxn ang="0">
                <a:pos x="connsiteX19207" y="connsiteY19207"/>
              </a:cxn>
              <a:cxn ang="0">
                <a:pos x="connsiteX19208" y="connsiteY19208"/>
              </a:cxn>
              <a:cxn ang="0">
                <a:pos x="connsiteX19209" y="connsiteY19209"/>
              </a:cxn>
              <a:cxn ang="0">
                <a:pos x="connsiteX19210" y="connsiteY19210"/>
              </a:cxn>
              <a:cxn ang="0">
                <a:pos x="connsiteX19211" y="connsiteY19211"/>
              </a:cxn>
              <a:cxn ang="0">
                <a:pos x="connsiteX19212" y="connsiteY19212"/>
              </a:cxn>
              <a:cxn ang="0">
                <a:pos x="connsiteX19213" y="connsiteY19213"/>
              </a:cxn>
              <a:cxn ang="0">
                <a:pos x="connsiteX19214" y="connsiteY19214"/>
              </a:cxn>
              <a:cxn ang="0">
                <a:pos x="connsiteX19215" y="connsiteY19215"/>
              </a:cxn>
              <a:cxn ang="0">
                <a:pos x="connsiteX19216" y="connsiteY19216"/>
              </a:cxn>
              <a:cxn ang="0">
                <a:pos x="connsiteX19217" y="connsiteY19217"/>
              </a:cxn>
              <a:cxn ang="0">
                <a:pos x="connsiteX19218" y="connsiteY19218"/>
              </a:cxn>
              <a:cxn ang="0">
                <a:pos x="connsiteX19219" y="connsiteY19219"/>
              </a:cxn>
              <a:cxn ang="0">
                <a:pos x="connsiteX19220" y="connsiteY19220"/>
              </a:cxn>
              <a:cxn ang="0">
                <a:pos x="connsiteX19221" y="connsiteY19221"/>
              </a:cxn>
              <a:cxn ang="0">
                <a:pos x="connsiteX19222" y="connsiteY19222"/>
              </a:cxn>
              <a:cxn ang="0">
                <a:pos x="connsiteX19223" y="connsiteY19223"/>
              </a:cxn>
              <a:cxn ang="0">
                <a:pos x="connsiteX19224" y="connsiteY19224"/>
              </a:cxn>
              <a:cxn ang="0">
                <a:pos x="connsiteX19225" y="connsiteY19225"/>
              </a:cxn>
              <a:cxn ang="0">
                <a:pos x="connsiteX19226" y="connsiteY19226"/>
              </a:cxn>
              <a:cxn ang="0">
                <a:pos x="connsiteX19227" y="connsiteY19227"/>
              </a:cxn>
              <a:cxn ang="0">
                <a:pos x="connsiteX19228" y="connsiteY19228"/>
              </a:cxn>
              <a:cxn ang="0">
                <a:pos x="connsiteX19229" y="connsiteY19229"/>
              </a:cxn>
              <a:cxn ang="0">
                <a:pos x="connsiteX19230" y="connsiteY19230"/>
              </a:cxn>
              <a:cxn ang="0">
                <a:pos x="connsiteX19231" y="connsiteY19231"/>
              </a:cxn>
              <a:cxn ang="0">
                <a:pos x="connsiteX19232" y="connsiteY19232"/>
              </a:cxn>
              <a:cxn ang="0">
                <a:pos x="connsiteX19233" y="connsiteY19233"/>
              </a:cxn>
              <a:cxn ang="0">
                <a:pos x="connsiteX19234" y="connsiteY19234"/>
              </a:cxn>
              <a:cxn ang="0">
                <a:pos x="connsiteX19235" y="connsiteY19235"/>
              </a:cxn>
              <a:cxn ang="0">
                <a:pos x="connsiteX19236" y="connsiteY19236"/>
              </a:cxn>
              <a:cxn ang="0">
                <a:pos x="connsiteX19237" y="connsiteY19237"/>
              </a:cxn>
              <a:cxn ang="0">
                <a:pos x="connsiteX19238" y="connsiteY19238"/>
              </a:cxn>
              <a:cxn ang="0">
                <a:pos x="connsiteX19239" y="connsiteY19239"/>
              </a:cxn>
              <a:cxn ang="0">
                <a:pos x="connsiteX19240" y="connsiteY19240"/>
              </a:cxn>
              <a:cxn ang="0">
                <a:pos x="connsiteX19241" y="connsiteY19241"/>
              </a:cxn>
              <a:cxn ang="0">
                <a:pos x="connsiteX19242" y="connsiteY19242"/>
              </a:cxn>
              <a:cxn ang="0">
                <a:pos x="connsiteX19243" y="connsiteY19243"/>
              </a:cxn>
              <a:cxn ang="0">
                <a:pos x="connsiteX19244" y="connsiteY19244"/>
              </a:cxn>
              <a:cxn ang="0">
                <a:pos x="connsiteX19245" y="connsiteY19245"/>
              </a:cxn>
              <a:cxn ang="0">
                <a:pos x="connsiteX19246" y="connsiteY19246"/>
              </a:cxn>
              <a:cxn ang="0">
                <a:pos x="connsiteX19247" y="connsiteY19247"/>
              </a:cxn>
              <a:cxn ang="0">
                <a:pos x="connsiteX19248" y="connsiteY19248"/>
              </a:cxn>
              <a:cxn ang="0">
                <a:pos x="connsiteX19249" y="connsiteY19249"/>
              </a:cxn>
              <a:cxn ang="0">
                <a:pos x="connsiteX19250" y="connsiteY19250"/>
              </a:cxn>
              <a:cxn ang="0">
                <a:pos x="connsiteX19251" y="connsiteY19251"/>
              </a:cxn>
              <a:cxn ang="0">
                <a:pos x="connsiteX19252" y="connsiteY19252"/>
              </a:cxn>
              <a:cxn ang="0">
                <a:pos x="connsiteX19253" y="connsiteY19253"/>
              </a:cxn>
              <a:cxn ang="0">
                <a:pos x="connsiteX19254" y="connsiteY19254"/>
              </a:cxn>
              <a:cxn ang="0">
                <a:pos x="connsiteX19255" y="connsiteY19255"/>
              </a:cxn>
              <a:cxn ang="0">
                <a:pos x="connsiteX19256" y="connsiteY19256"/>
              </a:cxn>
              <a:cxn ang="0">
                <a:pos x="connsiteX19257" y="connsiteY19257"/>
              </a:cxn>
              <a:cxn ang="0">
                <a:pos x="connsiteX19258" y="connsiteY19258"/>
              </a:cxn>
              <a:cxn ang="0">
                <a:pos x="connsiteX19259" y="connsiteY19259"/>
              </a:cxn>
              <a:cxn ang="0">
                <a:pos x="connsiteX19260" y="connsiteY19260"/>
              </a:cxn>
              <a:cxn ang="0">
                <a:pos x="connsiteX19261" y="connsiteY19261"/>
              </a:cxn>
              <a:cxn ang="0">
                <a:pos x="connsiteX19262" y="connsiteY19262"/>
              </a:cxn>
              <a:cxn ang="0">
                <a:pos x="connsiteX19263" y="connsiteY19263"/>
              </a:cxn>
              <a:cxn ang="0">
                <a:pos x="connsiteX19264" y="connsiteY19264"/>
              </a:cxn>
              <a:cxn ang="0">
                <a:pos x="connsiteX19265" y="connsiteY19265"/>
              </a:cxn>
              <a:cxn ang="0">
                <a:pos x="connsiteX19266" y="connsiteY19266"/>
              </a:cxn>
              <a:cxn ang="0">
                <a:pos x="connsiteX19267" y="connsiteY19267"/>
              </a:cxn>
              <a:cxn ang="0">
                <a:pos x="connsiteX19268" y="connsiteY19268"/>
              </a:cxn>
              <a:cxn ang="0">
                <a:pos x="connsiteX19269" y="connsiteY19269"/>
              </a:cxn>
              <a:cxn ang="0">
                <a:pos x="connsiteX19270" y="connsiteY19270"/>
              </a:cxn>
              <a:cxn ang="0">
                <a:pos x="connsiteX19271" y="connsiteY19271"/>
              </a:cxn>
              <a:cxn ang="0">
                <a:pos x="connsiteX19272" y="connsiteY19272"/>
              </a:cxn>
              <a:cxn ang="0">
                <a:pos x="connsiteX19273" y="connsiteY19273"/>
              </a:cxn>
              <a:cxn ang="0">
                <a:pos x="connsiteX19274" y="connsiteY19274"/>
              </a:cxn>
              <a:cxn ang="0">
                <a:pos x="connsiteX19275" y="connsiteY19275"/>
              </a:cxn>
              <a:cxn ang="0">
                <a:pos x="connsiteX19276" y="connsiteY19276"/>
              </a:cxn>
              <a:cxn ang="0">
                <a:pos x="connsiteX19277" y="connsiteY19277"/>
              </a:cxn>
              <a:cxn ang="0">
                <a:pos x="connsiteX19278" y="connsiteY19278"/>
              </a:cxn>
              <a:cxn ang="0">
                <a:pos x="connsiteX19279" y="connsiteY19279"/>
              </a:cxn>
              <a:cxn ang="0">
                <a:pos x="connsiteX19280" y="connsiteY19280"/>
              </a:cxn>
              <a:cxn ang="0">
                <a:pos x="connsiteX19281" y="connsiteY19281"/>
              </a:cxn>
              <a:cxn ang="0">
                <a:pos x="connsiteX19282" y="connsiteY19282"/>
              </a:cxn>
              <a:cxn ang="0">
                <a:pos x="connsiteX19283" y="connsiteY19283"/>
              </a:cxn>
              <a:cxn ang="0">
                <a:pos x="connsiteX19284" y="connsiteY19284"/>
              </a:cxn>
              <a:cxn ang="0">
                <a:pos x="connsiteX19285" y="connsiteY19285"/>
              </a:cxn>
              <a:cxn ang="0">
                <a:pos x="connsiteX19286" y="connsiteY19286"/>
              </a:cxn>
              <a:cxn ang="0">
                <a:pos x="connsiteX19287" y="connsiteY19287"/>
              </a:cxn>
              <a:cxn ang="0">
                <a:pos x="connsiteX19288" y="connsiteY19288"/>
              </a:cxn>
              <a:cxn ang="0">
                <a:pos x="connsiteX19289" y="connsiteY19289"/>
              </a:cxn>
              <a:cxn ang="0">
                <a:pos x="connsiteX19290" y="connsiteY19290"/>
              </a:cxn>
              <a:cxn ang="0">
                <a:pos x="connsiteX19291" y="connsiteY19291"/>
              </a:cxn>
              <a:cxn ang="0">
                <a:pos x="connsiteX19292" y="connsiteY19292"/>
              </a:cxn>
              <a:cxn ang="0">
                <a:pos x="connsiteX19293" y="connsiteY19293"/>
              </a:cxn>
              <a:cxn ang="0">
                <a:pos x="connsiteX19294" y="connsiteY19294"/>
              </a:cxn>
              <a:cxn ang="0">
                <a:pos x="connsiteX19295" y="connsiteY19295"/>
              </a:cxn>
              <a:cxn ang="0">
                <a:pos x="connsiteX19296" y="connsiteY19296"/>
              </a:cxn>
              <a:cxn ang="0">
                <a:pos x="connsiteX19297" y="connsiteY19297"/>
              </a:cxn>
              <a:cxn ang="0">
                <a:pos x="connsiteX19298" y="connsiteY19298"/>
              </a:cxn>
              <a:cxn ang="0">
                <a:pos x="connsiteX19299" y="connsiteY19299"/>
              </a:cxn>
              <a:cxn ang="0">
                <a:pos x="connsiteX19300" y="connsiteY19300"/>
              </a:cxn>
              <a:cxn ang="0">
                <a:pos x="connsiteX19301" y="connsiteY19301"/>
              </a:cxn>
              <a:cxn ang="0">
                <a:pos x="connsiteX19302" y="connsiteY19302"/>
              </a:cxn>
              <a:cxn ang="0">
                <a:pos x="connsiteX19303" y="connsiteY19303"/>
              </a:cxn>
              <a:cxn ang="0">
                <a:pos x="connsiteX19304" y="connsiteY19304"/>
              </a:cxn>
              <a:cxn ang="0">
                <a:pos x="connsiteX19305" y="connsiteY19305"/>
              </a:cxn>
              <a:cxn ang="0">
                <a:pos x="connsiteX19306" y="connsiteY19306"/>
              </a:cxn>
              <a:cxn ang="0">
                <a:pos x="connsiteX19307" y="connsiteY19307"/>
              </a:cxn>
              <a:cxn ang="0">
                <a:pos x="connsiteX19308" y="connsiteY19308"/>
              </a:cxn>
              <a:cxn ang="0">
                <a:pos x="connsiteX19309" y="connsiteY19309"/>
              </a:cxn>
              <a:cxn ang="0">
                <a:pos x="connsiteX19310" y="connsiteY19310"/>
              </a:cxn>
              <a:cxn ang="0">
                <a:pos x="connsiteX19311" y="connsiteY19311"/>
              </a:cxn>
              <a:cxn ang="0">
                <a:pos x="connsiteX19312" y="connsiteY19312"/>
              </a:cxn>
              <a:cxn ang="0">
                <a:pos x="connsiteX19313" y="connsiteY19313"/>
              </a:cxn>
              <a:cxn ang="0">
                <a:pos x="connsiteX19314" y="connsiteY19314"/>
              </a:cxn>
              <a:cxn ang="0">
                <a:pos x="connsiteX19315" y="connsiteY19315"/>
              </a:cxn>
              <a:cxn ang="0">
                <a:pos x="connsiteX19316" y="connsiteY19316"/>
              </a:cxn>
              <a:cxn ang="0">
                <a:pos x="connsiteX19317" y="connsiteY19317"/>
              </a:cxn>
              <a:cxn ang="0">
                <a:pos x="connsiteX19318" y="connsiteY19318"/>
              </a:cxn>
              <a:cxn ang="0">
                <a:pos x="connsiteX19319" y="connsiteY19319"/>
              </a:cxn>
              <a:cxn ang="0">
                <a:pos x="connsiteX19320" y="connsiteY19320"/>
              </a:cxn>
              <a:cxn ang="0">
                <a:pos x="connsiteX19321" y="connsiteY19321"/>
              </a:cxn>
              <a:cxn ang="0">
                <a:pos x="connsiteX19322" y="connsiteY19322"/>
              </a:cxn>
              <a:cxn ang="0">
                <a:pos x="connsiteX19323" y="connsiteY19323"/>
              </a:cxn>
              <a:cxn ang="0">
                <a:pos x="connsiteX19324" y="connsiteY19324"/>
              </a:cxn>
              <a:cxn ang="0">
                <a:pos x="connsiteX19325" y="connsiteY19325"/>
              </a:cxn>
              <a:cxn ang="0">
                <a:pos x="connsiteX19326" y="connsiteY19326"/>
              </a:cxn>
              <a:cxn ang="0">
                <a:pos x="connsiteX19327" y="connsiteY19327"/>
              </a:cxn>
              <a:cxn ang="0">
                <a:pos x="connsiteX19328" y="connsiteY19328"/>
              </a:cxn>
              <a:cxn ang="0">
                <a:pos x="connsiteX19329" y="connsiteY19329"/>
              </a:cxn>
              <a:cxn ang="0">
                <a:pos x="connsiteX19330" y="connsiteY19330"/>
              </a:cxn>
              <a:cxn ang="0">
                <a:pos x="connsiteX19331" y="connsiteY19331"/>
              </a:cxn>
              <a:cxn ang="0">
                <a:pos x="connsiteX19332" y="connsiteY19332"/>
              </a:cxn>
              <a:cxn ang="0">
                <a:pos x="connsiteX19333" y="connsiteY19333"/>
              </a:cxn>
              <a:cxn ang="0">
                <a:pos x="connsiteX19334" y="connsiteY19334"/>
              </a:cxn>
              <a:cxn ang="0">
                <a:pos x="connsiteX19335" y="connsiteY19335"/>
              </a:cxn>
              <a:cxn ang="0">
                <a:pos x="connsiteX19336" y="connsiteY19336"/>
              </a:cxn>
              <a:cxn ang="0">
                <a:pos x="connsiteX19337" y="connsiteY19337"/>
              </a:cxn>
              <a:cxn ang="0">
                <a:pos x="connsiteX19338" y="connsiteY19338"/>
              </a:cxn>
              <a:cxn ang="0">
                <a:pos x="connsiteX19339" y="connsiteY19339"/>
              </a:cxn>
              <a:cxn ang="0">
                <a:pos x="connsiteX19340" y="connsiteY19340"/>
              </a:cxn>
              <a:cxn ang="0">
                <a:pos x="connsiteX19341" y="connsiteY19341"/>
              </a:cxn>
              <a:cxn ang="0">
                <a:pos x="connsiteX19342" y="connsiteY19342"/>
              </a:cxn>
              <a:cxn ang="0">
                <a:pos x="connsiteX19343" y="connsiteY19343"/>
              </a:cxn>
              <a:cxn ang="0">
                <a:pos x="connsiteX19344" y="connsiteY19344"/>
              </a:cxn>
              <a:cxn ang="0">
                <a:pos x="connsiteX19345" y="connsiteY19345"/>
              </a:cxn>
              <a:cxn ang="0">
                <a:pos x="connsiteX19346" y="connsiteY19346"/>
              </a:cxn>
              <a:cxn ang="0">
                <a:pos x="connsiteX19347" y="connsiteY19347"/>
              </a:cxn>
              <a:cxn ang="0">
                <a:pos x="connsiteX19348" y="connsiteY19348"/>
              </a:cxn>
              <a:cxn ang="0">
                <a:pos x="connsiteX19349" y="connsiteY19349"/>
              </a:cxn>
              <a:cxn ang="0">
                <a:pos x="connsiteX19350" y="connsiteY19350"/>
              </a:cxn>
              <a:cxn ang="0">
                <a:pos x="connsiteX19351" y="connsiteY19351"/>
              </a:cxn>
              <a:cxn ang="0">
                <a:pos x="connsiteX19352" y="connsiteY19352"/>
              </a:cxn>
              <a:cxn ang="0">
                <a:pos x="connsiteX19353" y="connsiteY19353"/>
              </a:cxn>
              <a:cxn ang="0">
                <a:pos x="connsiteX19354" y="connsiteY19354"/>
              </a:cxn>
              <a:cxn ang="0">
                <a:pos x="connsiteX19355" y="connsiteY19355"/>
              </a:cxn>
              <a:cxn ang="0">
                <a:pos x="connsiteX19356" y="connsiteY19356"/>
              </a:cxn>
              <a:cxn ang="0">
                <a:pos x="connsiteX19357" y="connsiteY19357"/>
              </a:cxn>
              <a:cxn ang="0">
                <a:pos x="connsiteX19358" y="connsiteY19358"/>
              </a:cxn>
              <a:cxn ang="0">
                <a:pos x="connsiteX19359" y="connsiteY19359"/>
              </a:cxn>
              <a:cxn ang="0">
                <a:pos x="connsiteX19360" y="connsiteY19360"/>
              </a:cxn>
              <a:cxn ang="0">
                <a:pos x="connsiteX19361" y="connsiteY19361"/>
              </a:cxn>
              <a:cxn ang="0">
                <a:pos x="connsiteX19362" y="connsiteY19362"/>
              </a:cxn>
              <a:cxn ang="0">
                <a:pos x="connsiteX19363" y="connsiteY19363"/>
              </a:cxn>
              <a:cxn ang="0">
                <a:pos x="connsiteX19364" y="connsiteY19364"/>
              </a:cxn>
              <a:cxn ang="0">
                <a:pos x="connsiteX19365" y="connsiteY19365"/>
              </a:cxn>
              <a:cxn ang="0">
                <a:pos x="connsiteX19366" y="connsiteY19366"/>
              </a:cxn>
              <a:cxn ang="0">
                <a:pos x="connsiteX19367" y="connsiteY19367"/>
              </a:cxn>
              <a:cxn ang="0">
                <a:pos x="connsiteX19368" y="connsiteY19368"/>
              </a:cxn>
              <a:cxn ang="0">
                <a:pos x="connsiteX19369" y="connsiteY19369"/>
              </a:cxn>
              <a:cxn ang="0">
                <a:pos x="connsiteX19370" y="connsiteY19370"/>
              </a:cxn>
              <a:cxn ang="0">
                <a:pos x="connsiteX19371" y="connsiteY19371"/>
              </a:cxn>
              <a:cxn ang="0">
                <a:pos x="connsiteX19372" y="connsiteY19372"/>
              </a:cxn>
              <a:cxn ang="0">
                <a:pos x="connsiteX19373" y="connsiteY19373"/>
              </a:cxn>
              <a:cxn ang="0">
                <a:pos x="connsiteX19374" y="connsiteY19374"/>
              </a:cxn>
              <a:cxn ang="0">
                <a:pos x="connsiteX19375" y="connsiteY19375"/>
              </a:cxn>
              <a:cxn ang="0">
                <a:pos x="connsiteX19376" y="connsiteY19376"/>
              </a:cxn>
              <a:cxn ang="0">
                <a:pos x="connsiteX19377" y="connsiteY19377"/>
              </a:cxn>
              <a:cxn ang="0">
                <a:pos x="connsiteX19378" y="connsiteY19378"/>
              </a:cxn>
              <a:cxn ang="0">
                <a:pos x="connsiteX19379" y="connsiteY19379"/>
              </a:cxn>
              <a:cxn ang="0">
                <a:pos x="connsiteX19380" y="connsiteY19380"/>
              </a:cxn>
              <a:cxn ang="0">
                <a:pos x="connsiteX19381" y="connsiteY19381"/>
              </a:cxn>
              <a:cxn ang="0">
                <a:pos x="connsiteX19382" y="connsiteY19382"/>
              </a:cxn>
              <a:cxn ang="0">
                <a:pos x="connsiteX19383" y="connsiteY19383"/>
              </a:cxn>
              <a:cxn ang="0">
                <a:pos x="connsiteX19384" y="connsiteY19384"/>
              </a:cxn>
              <a:cxn ang="0">
                <a:pos x="connsiteX19385" y="connsiteY19385"/>
              </a:cxn>
              <a:cxn ang="0">
                <a:pos x="connsiteX19386" y="connsiteY19386"/>
              </a:cxn>
              <a:cxn ang="0">
                <a:pos x="connsiteX19387" y="connsiteY19387"/>
              </a:cxn>
              <a:cxn ang="0">
                <a:pos x="connsiteX19388" y="connsiteY19388"/>
              </a:cxn>
              <a:cxn ang="0">
                <a:pos x="connsiteX19389" y="connsiteY19389"/>
              </a:cxn>
              <a:cxn ang="0">
                <a:pos x="connsiteX19390" y="connsiteY19390"/>
              </a:cxn>
              <a:cxn ang="0">
                <a:pos x="connsiteX19391" y="connsiteY19391"/>
              </a:cxn>
              <a:cxn ang="0">
                <a:pos x="connsiteX19392" y="connsiteY19392"/>
              </a:cxn>
              <a:cxn ang="0">
                <a:pos x="connsiteX19393" y="connsiteY19393"/>
              </a:cxn>
              <a:cxn ang="0">
                <a:pos x="connsiteX19394" y="connsiteY19394"/>
              </a:cxn>
              <a:cxn ang="0">
                <a:pos x="connsiteX19395" y="connsiteY19395"/>
              </a:cxn>
              <a:cxn ang="0">
                <a:pos x="connsiteX19396" y="connsiteY19396"/>
              </a:cxn>
              <a:cxn ang="0">
                <a:pos x="connsiteX19397" y="connsiteY19397"/>
              </a:cxn>
              <a:cxn ang="0">
                <a:pos x="connsiteX19398" y="connsiteY19398"/>
              </a:cxn>
              <a:cxn ang="0">
                <a:pos x="connsiteX19399" y="connsiteY19399"/>
              </a:cxn>
              <a:cxn ang="0">
                <a:pos x="connsiteX19400" y="connsiteY19400"/>
              </a:cxn>
              <a:cxn ang="0">
                <a:pos x="connsiteX19401" y="connsiteY19401"/>
              </a:cxn>
              <a:cxn ang="0">
                <a:pos x="connsiteX19402" y="connsiteY19402"/>
              </a:cxn>
              <a:cxn ang="0">
                <a:pos x="connsiteX19403" y="connsiteY19403"/>
              </a:cxn>
              <a:cxn ang="0">
                <a:pos x="connsiteX19404" y="connsiteY19404"/>
              </a:cxn>
              <a:cxn ang="0">
                <a:pos x="connsiteX19405" y="connsiteY19405"/>
              </a:cxn>
              <a:cxn ang="0">
                <a:pos x="connsiteX19406" y="connsiteY19406"/>
              </a:cxn>
              <a:cxn ang="0">
                <a:pos x="connsiteX19407" y="connsiteY19407"/>
              </a:cxn>
              <a:cxn ang="0">
                <a:pos x="connsiteX19408" y="connsiteY19408"/>
              </a:cxn>
              <a:cxn ang="0">
                <a:pos x="connsiteX19409" y="connsiteY19409"/>
              </a:cxn>
              <a:cxn ang="0">
                <a:pos x="connsiteX19410" y="connsiteY19410"/>
              </a:cxn>
              <a:cxn ang="0">
                <a:pos x="connsiteX19411" y="connsiteY19411"/>
              </a:cxn>
              <a:cxn ang="0">
                <a:pos x="connsiteX19412" y="connsiteY19412"/>
              </a:cxn>
              <a:cxn ang="0">
                <a:pos x="connsiteX19413" y="connsiteY19413"/>
              </a:cxn>
              <a:cxn ang="0">
                <a:pos x="connsiteX19414" y="connsiteY19414"/>
              </a:cxn>
              <a:cxn ang="0">
                <a:pos x="connsiteX19415" y="connsiteY19415"/>
              </a:cxn>
              <a:cxn ang="0">
                <a:pos x="connsiteX19416" y="connsiteY19416"/>
              </a:cxn>
              <a:cxn ang="0">
                <a:pos x="connsiteX19417" y="connsiteY19417"/>
              </a:cxn>
              <a:cxn ang="0">
                <a:pos x="connsiteX19418" y="connsiteY19418"/>
              </a:cxn>
              <a:cxn ang="0">
                <a:pos x="connsiteX19419" y="connsiteY19419"/>
              </a:cxn>
              <a:cxn ang="0">
                <a:pos x="connsiteX19420" y="connsiteY19420"/>
              </a:cxn>
              <a:cxn ang="0">
                <a:pos x="connsiteX19421" y="connsiteY19421"/>
              </a:cxn>
              <a:cxn ang="0">
                <a:pos x="connsiteX19422" y="connsiteY19422"/>
              </a:cxn>
              <a:cxn ang="0">
                <a:pos x="connsiteX19423" y="connsiteY19423"/>
              </a:cxn>
              <a:cxn ang="0">
                <a:pos x="connsiteX19424" y="connsiteY19424"/>
              </a:cxn>
              <a:cxn ang="0">
                <a:pos x="connsiteX19425" y="connsiteY19425"/>
              </a:cxn>
              <a:cxn ang="0">
                <a:pos x="connsiteX19426" y="connsiteY19426"/>
              </a:cxn>
              <a:cxn ang="0">
                <a:pos x="connsiteX19427" y="connsiteY19427"/>
              </a:cxn>
              <a:cxn ang="0">
                <a:pos x="connsiteX19428" y="connsiteY19428"/>
              </a:cxn>
              <a:cxn ang="0">
                <a:pos x="connsiteX19429" y="connsiteY19429"/>
              </a:cxn>
              <a:cxn ang="0">
                <a:pos x="connsiteX19430" y="connsiteY19430"/>
              </a:cxn>
              <a:cxn ang="0">
                <a:pos x="connsiteX19431" y="connsiteY19431"/>
              </a:cxn>
              <a:cxn ang="0">
                <a:pos x="connsiteX19432" y="connsiteY19432"/>
              </a:cxn>
              <a:cxn ang="0">
                <a:pos x="connsiteX19433" y="connsiteY19433"/>
              </a:cxn>
              <a:cxn ang="0">
                <a:pos x="connsiteX19434" y="connsiteY19434"/>
              </a:cxn>
              <a:cxn ang="0">
                <a:pos x="connsiteX19435" y="connsiteY19435"/>
              </a:cxn>
              <a:cxn ang="0">
                <a:pos x="connsiteX19436" y="connsiteY19436"/>
              </a:cxn>
              <a:cxn ang="0">
                <a:pos x="connsiteX19437" y="connsiteY19437"/>
              </a:cxn>
              <a:cxn ang="0">
                <a:pos x="connsiteX19438" y="connsiteY19438"/>
              </a:cxn>
              <a:cxn ang="0">
                <a:pos x="connsiteX19439" y="connsiteY19439"/>
              </a:cxn>
              <a:cxn ang="0">
                <a:pos x="connsiteX19440" y="connsiteY19440"/>
              </a:cxn>
              <a:cxn ang="0">
                <a:pos x="connsiteX19441" y="connsiteY19441"/>
              </a:cxn>
              <a:cxn ang="0">
                <a:pos x="connsiteX19442" y="connsiteY19442"/>
              </a:cxn>
              <a:cxn ang="0">
                <a:pos x="connsiteX19443" y="connsiteY19443"/>
              </a:cxn>
              <a:cxn ang="0">
                <a:pos x="connsiteX19444" y="connsiteY19444"/>
              </a:cxn>
              <a:cxn ang="0">
                <a:pos x="connsiteX19445" y="connsiteY19445"/>
              </a:cxn>
              <a:cxn ang="0">
                <a:pos x="connsiteX19446" y="connsiteY19446"/>
              </a:cxn>
              <a:cxn ang="0">
                <a:pos x="connsiteX19447" y="connsiteY19447"/>
              </a:cxn>
              <a:cxn ang="0">
                <a:pos x="connsiteX19448" y="connsiteY19448"/>
              </a:cxn>
              <a:cxn ang="0">
                <a:pos x="connsiteX19449" y="connsiteY19449"/>
              </a:cxn>
              <a:cxn ang="0">
                <a:pos x="connsiteX19450" y="connsiteY19450"/>
              </a:cxn>
              <a:cxn ang="0">
                <a:pos x="connsiteX19451" y="connsiteY19451"/>
              </a:cxn>
              <a:cxn ang="0">
                <a:pos x="connsiteX19452" y="connsiteY19452"/>
              </a:cxn>
              <a:cxn ang="0">
                <a:pos x="connsiteX19453" y="connsiteY19453"/>
              </a:cxn>
              <a:cxn ang="0">
                <a:pos x="connsiteX19454" y="connsiteY19454"/>
              </a:cxn>
              <a:cxn ang="0">
                <a:pos x="connsiteX19455" y="connsiteY19455"/>
              </a:cxn>
              <a:cxn ang="0">
                <a:pos x="connsiteX19456" y="connsiteY19456"/>
              </a:cxn>
              <a:cxn ang="0">
                <a:pos x="connsiteX19457" y="connsiteY19457"/>
              </a:cxn>
              <a:cxn ang="0">
                <a:pos x="connsiteX19458" y="connsiteY19458"/>
              </a:cxn>
              <a:cxn ang="0">
                <a:pos x="connsiteX19459" y="connsiteY19459"/>
              </a:cxn>
              <a:cxn ang="0">
                <a:pos x="connsiteX19460" y="connsiteY19460"/>
              </a:cxn>
              <a:cxn ang="0">
                <a:pos x="connsiteX19461" y="connsiteY19461"/>
              </a:cxn>
              <a:cxn ang="0">
                <a:pos x="connsiteX19462" y="connsiteY19462"/>
              </a:cxn>
              <a:cxn ang="0">
                <a:pos x="connsiteX19463" y="connsiteY19463"/>
              </a:cxn>
              <a:cxn ang="0">
                <a:pos x="connsiteX19464" y="connsiteY19464"/>
              </a:cxn>
              <a:cxn ang="0">
                <a:pos x="connsiteX19465" y="connsiteY19465"/>
              </a:cxn>
              <a:cxn ang="0">
                <a:pos x="connsiteX19466" y="connsiteY19466"/>
              </a:cxn>
              <a:cxn ang="0">
                <a:pos x="connsiteX19467" y="connsiteY19467"/>
              </a:cxn>
              <a:cxn ang="0">
                <a:pos x="connsiteX19468" y="connsiteY19468"/>
              </a:cxn>
              <a:cxn ang="0">
                <a:pos x="connsiteX19469" y="connsiteY19469"/>
              </a:cxn>
              <a:cxn ang="0">
                <a:pos x="connsiteX19470" y="connsiteY19470"/>
              </a:cxn>
              <a:cxn ang="0">
                <a:pos x="connsiteX19471" y="connsiteY19471"/>
              </a:cxn>
              <a:cxn ang="0">
                <a:pos x="connsiteX19472" y="connsiteY19472"/>
              </a:cxn>
              <a:cxn ang="0">
                <a:pos x="connsiteX19473" y="connsiteY19473"/>
              </a:cxn>
              <a:cxn ang="0">
                <a:pos x="connsiteX19474" y="connsiteY19474"/>
              </a:cxn>
              <a:cxn ang="0">
                <a:pos x="connsiteX19475" y="connsiteY19475"/>
              </a:cxn>
              <a:cxn ang="0">
                <a:pos x="connsiteX19476" y="connsiteY19476"/>
              </a:cxn>
              <a:cxn ang="0">
                <a:pos x="connsiteX19477" y="connsiteY19477"/>
              </a:cxn>
              <a:cxn ang="0">
                <a:pos x="connsiteX19478" y="connsiteY19478"/>
              </a:cxn>
              <a:cxn ang="0">
                <a:pos x="connsiteX19479" y="connsiteY19479"/>
              </a:cxn>
              <a:cxn ang="0">
                <a:pos x="connsiteX19480" y="connsiteY19480"/>
              </a:cxn>
              <a:cxn ang="0">
                <a:pos x="connsiteX19481" y="connsiteY19481"/>
              </a:cxn>
              <a:cxn ang="0">
                <a:pos x="connsiteX19482" y="connsiteY19482"/>
              </a:cxn>
              <a:cxn ang="0">
                <a:pos x="connsiteX19483" y="connsiteY19483"/>
              </a:cxn>
              <a:cxn ang="0">
                <a:pos x="connsiteX19484" y="connsiteY19484"/>
              </a:cxn>
              <a:cxn ang="0">
                <a:pos x="connsiteX19485" y="connsiteY19485"/>
              </a:cxn>
              <a:cxn ang="0">
                <a:pos x="connsiteX19486" y="connsiteY19486"/>
              </a:cxn>
              <a:cxn ang="0">
                <a:pos x="connsiteX19487" y="connsiteY19487"/>
              </a:cxn>
              <a:cxn ang="0">
                <a:pos x="connsiteX19488" y="connsiteY19488"/>
              </a:cxn>
              <a:cxn ang="0">
                <a:pos x="connsiteX19489" y="connsiteY19489"/>
              </a:cxn>
              <a:cxn ang="0">
                <a:pos x="connsiteX19490" y="connsiteY19490"/>
              </a:cxn>
              <a:cxn ang="0">
                <a:pos x="connsiteX19491" y="connsiteY19491"/>
              </a:cxn>
              <a:cxn ang="0">
                <a:pos x="connsiteX19492" y="connsiteY19492"/>
              </a:cxn>
              <a:cxn ang="0">
                <a:pos x="connsiteX19493" y="connsiteY19493"/>
              </a:cxn>
              <a:cxn ang="0">
                <a:pos x="connsiteX19494" y="connsiteY19494"/>
              </a:cxn>
              <a:cxn ang="0">
                <a:pos x="connsiteX19495" y="connsiteY19495"/>
              </a:cxn>
              <a:cxn ang="0">
                <a:pos x="connsiteX19496" y="connsiteY19496"/>
              </a:cxn>
              <a:cxn ang="0">
                <a:pos x="connsiteX19497" y="connsiteY19497"/>
              </a:cxn>
              <a:cxn ang="0">
                <a:pos x="connsiteX19498" y="connsiteY19498"/>
              </a:cxn>
              <a:cxn ang="0">
                <a:pos x="connsiteX19499" y="connsiteY19499"/>
              </a:cxn>
              <a:cxn ang="0">
                <a:pos x="connsiteX19500" y="connsiteY19500"/>
              </a:cxn>
              <a:cxn ang="0">
                <a:pos x="connsiteX19501" y="connsiteY19501"/>
              </a:cxn>
              <a:cxn ang="0">
                <a:pos x="connsiteX19502" y="connsiteY19502"/>
              </a:cxn>
              <a:cxn ang="0">
                <a:pos x="connsiteX19503" y="connsiteY19503"/>
              </a:cxn>
              <a:cxn ang="0">
                <a:pos x="connsiteX19504" y="connsiteY19504"/>
              </a:cxn>
              <a:cxn ang="0">
                <a:pos x="connsiteX19505" y="connsiteY19505"/>
              </a:cxn>
              <a:cxn ang="0">
                <a:pos x="connsiteX19506" y="connsiteY19506"/>
              </a:cxn>
              <a:cxn ang="0">
                <a:pos x="connsiteX19507" y="connsiteY19507"/>
              </a:cxn>
              <a:cxn ang="0">
                <a:pos x="connsiteX19508" y="connsiteY19508"/>
              </a:cxn>
              <a:cxn ang="0">
                <a:pos x="connsiteX19509" y="connsiteY19509"/>
              </a:cxn>
              <a:cxn ang="0">
                <a:pos x="connsiteX19510" y="connsiteY19510"/>
              </a:cxn>
              <a:cxn ang="0">
                <a:pos x="connsiteX19511" y="connsiteY19511"/>
              </a:cxn>
              <a:cxn ang="0">
                <a:pos x="connsiteX19512" y="connsiteY19512"/>
              </a:cxn>
              <a:cxn ang="0">
                <a:pos x="connsiteX19513" y="connsiteY19513"/>
              </a:cxn>
              <a:cxn ang="0">
                <a:pos x="connsiteX19514" y="connsiteY19514"/>
              </a:cxn>
              <a:cxn ang="0">
                <a:pos x="connsiteX19515" y="connsiteY19515"/>
              </a:cxn>
              <a:cxn ang="0">
                <a:pos x="connsiteX19516" y="connsiteY19516"/>
              </a:cxn>
              <a:cxn ang="0">
                <a:pos x="connsiteX19517" y="connsiteY19517"/>
              </a:cxn>
              <a:cxn ang="0">
                <a:pos x="connsiteX19518" y="connsiteY19518"/>
              </a:cxn>
              <a:cxn ang="0">
                <a:pos x="connsiteX19519" y="connsiteY19519"/>
              </a:cxn>
              <a:cxn ang="0">
                <a:pos x="connsiteX19520" y="connsiteY19520"/>
              </a:cxn>
              <a:cxn ang="0">
                <a:pos x="connsiteX19521" y="connsiteY19521"/>
              </a:cxn>
              <a:cxn ang="0">
                <a:pos x="connsiteX19522" y="connsiteY19522"/>
              </a:cxn>
              <a:cxn ang="0">
                <a:pos x="connsiteX19523" y="connsiteY19523"/>
              </a:cxn>
              <a:cxn ang="0">
                <a:pos x="connsiteX19524" y="connsiteY19524"/>
              </a:cxn>
              <a:cxn ang="0">
                <a:pos x="connsiteX19525" y="connsiteY19525"/>
              </a:cxn>
              <a:cxn ang="0">
                <a:pos x="connsiteX19526" y="connsiteY19526"/>
              </a:cxn>
              <a:cxn ang="0">
                <a:pos x="connsiteX19527" y="connsiteY19527"/>
              </a:cxn>
              <a:cxn ang="0">
                <a:pos x="connsiteX19528" y="connsiteY19528"/>
              </a:cxn>
              <a:cxn ang="0">
                <a:pos x="connsiteX19529" y="connsiteY19529"/>
              </a:cxn>
              <a:cxn ang="0">
                <a:pos x="connsiteX19530" y="connsiteY19530"/>
              </a:cxn>
              <a:cxn ang="0">
                <a:pos x="connsiteX19531" y="connsiteY19531"/>
              </a:cxn>
              <a:cxn ang="0">
                <a:pos x="connsiteX19532" y="connsiteY19532"/>
              </a:cxn>
              <a:cxn ang="0">
                <a:pos x="connsiteX19533" y="connsiteY19533"/>
              </a:cxn>
              <a:cxn ang="0">
                <a:pos x="connsiteX19534" y="connsiteY19534"/>
              </a:cxn>
              <a:cxn ang="0">
                <a:pos x="connsiteX19535" y="connsiteY19535"/>
              </a:cxn>
              <a:cxn ang="0">
                <a:pos x="connsiteX19536" y="connsiteY19536"/>
              </a:cxn>
              <a:cxn ang="0">
                <a:pos x="connsiteX19537" y="connsiteY19537"/>
              </a:cxn>
              <a:cxn ang="0">
                <a:pos x="connsiteX19538" y="connsiteY19538"/>
              </a:cxn>
              <a:cxn ang="0">
                <a:pos x="connsiteX19539" y="connsiteY19539"/>
              </a:cxn>
              <a:cxn ang="0">
                <a:pos x="connsiteX19540" y="connsiteY19540"/>
              </a:cxn>
              <a:cxn ang="0">
                <a:pos x="connsiteX19541" y="connsiteY19541"/>
              </a:cxn>
              <a:cxn ang="0">
                <a:pos x="connsiteX19542" y="connsiteY19542"/>
              </a:cxn>
              <a:cxn ang="0">
                <a:pos x="connsiteX19543" y="connsiteY19543"/>
              </a:cxn>
              <a:cxn ang="0">
                <a:pos x="connsiteX19544" y="connsiteY19544"/>
              </a:cxn>
              <a:cxn ang="0">
                <a:pos x="connsiteX19545" y="connsiteY19545"/>
              </a:cxn>
              <a:cxn ang="0">
                <a:pos x="connsiteX19546" y="connsiteY19546"/>
              </a:cxn>
              <a:cxn ang="0">
                <a:pos x="connsiteX19547" y="connsiteY19547"/>
              </a:cxn>
              <a:cxn ang="0">
                <a:pos x="connsiteX19548" y="connsiteY19548"/>
              </a:cxn>
              <a:cxn ang="0">
                <a:pos x="connsiteX19549" y="connsiteY19549"/>
              </a:cxn>
              <a:cxn ang="0">
                <a:pos x="connsiteX19550" y="connsiteY19550"/>
              </a:cxn>
              <a:cxn ang="0">
                <a:pos x="connsiteX19551" y="connsiteY19551"/>
              </a:cxn>
              <a:cxn ang="0">
                <a:pos x="connsiteX19552" y="connsiteY19552"/>
              </a:cxn>
              <a:cxn ang="0">
                <a:pos x="connsiteX19553" y="connsiteY19553"/>
              </a:cxn>
              <a:cxn ang="0">
                <a:pos x="connsiteX19554" y="connsiteY19554"/>
              </a:cxn>
              <a:cxn ang="0">
                <a:pos x="connsiteX19555" y="connsiteY19555"/>
              </a:cxn>
              <a:cxn ang="0">
                <a:pos x="connsiteX19556" y="connsiteY19556"/>
              </a:cxn>
              <a:cxn ang="0">
                <a:pos x="connsiteX19557" y="connsiteY19557"/>
              </a:cxn>
              <a:cxn ang="0">
                <a:pos x="connsiteX19558" y="connsiteY19558"/>
              </a:cxn>
              <a:cxn ang="0">
                <a:pos x="connsiteX19559" y="connsiteY19559"/>
              </a:cxn>
              <a:cxn ang="0">
                <a:pos x="connsiteX19560" y="connsiteY19560"/>
              </a:cxn>
              <a:cxn ang="0">
                <a:pos x="connsiteX19561" y="connsiteY19561"/>
              </a:cxn>
              <a:cxn ang="0">
                <a:pos x="connsiteX19562" y="connsiteY19562"/>
              </a:cxn>
              <a:cxn ang="0">
                <a:pos x="connsiteX19563" y="connsiteY19563"/>
              </a:cxn>
              <a:cxn ang="0">
                <a:pos x="connsiteX19564" y="connsiteY19564"/>
              </a:cxn>
              <a:cxn ang="0">
                <a:pos x="connsiteX19565" y="connsiteY19565"/>
              </a:cxn>
              <a:cxn ang="0">
                <a:pos x="connsiteX19566" y="connsiteY19566"/>
              </a:cxn>
              <a:cxn ang="0">
                <a:pos x="connsiteX19567" y="connsiteY19567"/>
              </a:cxn>
              <a:cxn ang="0">
                <a:pos x="connsiteX19568" y="connsiteY19568"/>
              </a:cxn>
              <a:cxn ang="0">
                <a:pos x="connsiteX19569" y="connsiteY19569"/>
              </a:cxn>
              <a:cxn ang="0">
                <a:pos x="connsiteX19570" y="connsiteY19570"/>
              </a:cxn>
              <a:cxn ang="0">
                <a:pos x="connsiteX19571" y="connsiteY19571"/>
              </a:cxn>
              <a:cxn ang="0">
                <a:pos x="connsiteX19572" y="connsiteY19572"/>
              </a:cxn>
              <a:cxn ang="0">
                <a:pos x="connsiteX19573" y="connsiteY19573"/>
              </a:cxn>
              <a:cxn ang="0">
                <a:pos x="connsiteX19574" y="connsiteY19574"/>
              </a:cxn>
              <a:cxn ang="0">
                <a:pos x="connsiteX19575" y="connsiteY19575"/>
              </a:cxn>
              <a:cxn ang="0">
                <a:pos x="connsiteX19576" y="connsiteY19576"/>
              </a:cxn>
              <a:cxn ang="0">
                <a:pos x="connsiteX19577" y="connsiteY19577"/>
              </a:cxn>
              <a:cxn ang="0">
                <a:pos x="connsiteX19578" y="connsiteY19578"/>
              </a:cxn>
              <a:cxn ang="0">
                <a:pos x="connsiteX19579" y="connsiteY19579"/>
              </a:cxn>
              <a:cxn ang="0">
                <a:pos x="connsiteX19580" y="connsiteY19580"/>
              </a:cxn>
              <a:cxn ang="0">
                <a:pos x="connsiteX19581" y="connsiteY19581"/>
              </a:cxn>
              <a:cxn ang="0">
                <a:pos x="connsiteX19582" y="connsiteY19582"/>
              </a:cxn>
              <a:cxn ang="0">
                <a:pos x="connsiteX19583" y="connsiteY19583"/>
              </a:cxn>
              <a:cxn ang="0">
                <a:pos x="connsiteX19584" y="connsiteY19584"/>
              </a:cxn>
              <a:cxn ang="0">
                <a:pos x="connsiteX19585" y="connsiteY19585"/>
              </a:cxn>
              <a:cxn ang="0">
                <a:pos x="connsiteX19586" y="connsiteY19586"/>
              </a:cxn>
              <a:cxn ang="0">
                <a:pos x="connsiteX19587" y="connsiteY19587"/>
              </a:cxn>
              <a:cxn ang="0">
                <a:pos x="connsiteX19588" y="connsiteY19588"/>
              </a:cxn>
              <a:cxn ang="0">
                <a:pos x="connsiteX19589" y="connsiteY19589"/>
              </a:cxn>
              <a:cxn ang="0">
                <a:pos x="connsiteX19590" y="connsiteY19590"/>
              </a:cxn>
              <a:cxn ang="0">
                <a:pos x="connsiteX19591" y="connsiteY19591"/>
              </a:cxn>
              <a:cxn ang="0">
                <a:pos x="connsiteX19592" y="connsiteY19592"/>
              </a:cxn>
              <a:cxn ang="0">
                <a:pos x="connsiteX19593" y="connsiteY19593"/>
              </a:cxn>
              <a:cxn ang="0">
                <a:pos x="connsiteX19594" y="connsiteY19594"/>
              </a:cxn>
              <a:cxn ang="0">
                <a:pos x="connsiteX19595" y="connsiteY19595"/>
              </a:cxn>
              <a:cxn ang="0">
                <a:pos x="connsiteX19596" y="connsiteY19596"/>
              </a:cxn>
              <a:cxn ang="0">
                <a:pos x="connsiteX19597" y="connsiteY19597"/>
              </a:cxn>
              <a:cxn ang="0">
                <a:pos x="connsiteX19598" y="connsiteY19598"/>
              </a:cxn>
              <a:cxn ang="0">
                <a:pos x="connsiteX19599" y="connsiteY19599"/>
              </a:cxn>
              <a:cxn ang="0">
                <a:pos x="connsiteX19600" y="connsiteY19600"/>
              </a:cxn>
              <a:cxn ang="0">
                <a:pos x="connsiteX19601" y="connsiteY19601"/>
              </a:cxn>
              <a:cxn ang="0">
                <a:pos x="connsiteX19602" y="connsiteY19602"/>
              </a:cxn>
              <a:cxn ang="0">
                <a:pos x="connsiteX19603" y="connsiteY19603"/>
              </a:cxn>
              <a:cxn ang="0">
                <a:pos x="connsiteX19604" y="connsiteY19604"/>
              </a:cxn>
              <a:cxn ang="0">
                <a:pos x="connsiteX19605" y="connsiteY19605"/>
              </a:cxn>
              <a:cxn ang="0">
                <a:pos x="connsiteX19606" y="connsiteY19606"/>
              </a:cxn>
              <a:cxn ang="0">
                <a:pos x="connsiteX19607" y="connsiteY19607"/>
              </a:cxn>
              <a:cxn ang="0">
                <a:pos x="connsiteX19608" y="connsiteY19608"/>
              </a:cxn>
              <a:cxn ang="0">
                <a:pos x="connsiteX19609" y="connsiteY19609"/>
              </a:cxn>
              <a:cxn ang="0">
                <a:pos x="connsiteX19610" y="connsiteY19610"/>
              </a:cxn>
              <a:cxn ang="0">
                <a:pos x="connsiteX19611" y="connsiteY19611"/>
              </a:cxn>
              <a:cxn ang="0">
                <a:pos x="connsiteX19612" y="connsiteY19612"/>
              </a:cxn>
              <a:cxn ang="0">
                <a:pos x="connsiteX19613" y="connsiteY19613"/>
              </a:cxn>
              <a:cxn ang="0">
                <a:pos x="connsiteX19614" y="connsiteY19614"/>
              </a:cxn>
              <a:cxn ang="0">
                <a:pos x="connsiteX19615" y="connsiteY19615"/>
              </a:cxn>
              <a:cxn ang="0">
                <a:pos x="connsiteX19616" y="connsiteY19616"/>
              </a:cxn>
              <a:cxn ang="0">
                <a:pos x="connsiteX19617" y="connsiteY19617"/>
              </a:cxn>
              <a:cxn ang="0">
                <a:pos x="connsiteX19618" y="connsiteY19618"/>
              </a:cxn>
              <a:cxn ang="0">
                <a:pos x="connsiteX19619" y="connsiteY19619"/>
              </a:cxn>
              <a:cxn ang="0">
                <a:pos x="connsiteX19620" y="connsiteY19620"/>
              </a:cxn>
              <a:cxn ang="0">
                <a:pos x="connsiteX19621" y="connsiteY19621"/>
              </a:cxn>
              <a:cxn ang="0">
                <a:pos x="connsiteX19622" y="connsiteY19622"/>
              </a:cxn>
              <a:cxn ang="0">
                <a:pos x="connsiteX19623" y="connsiteY19623"/>
              </a:cxn>
              <a:cxn ang="0">
                <a:pos x="connsiteX19624" y="connsiteY19624"/>
              </a:cxn>
              <a:cxn ang="0">
                <a:pos x="connsiteX19625" y="connsiteY19625"/>
              </a:cxn>
              <a:cxn ang="0">
                <a:pos x="connsiteX19626" y="connsiteY19626"/>
              </a:cxn>
              <a:cxn ang="0">
                <a:pos x="connsiteX19627" y="connsiteY19627"/>
              </a:cxn>
              <a:cxn ang="0">
                <a:pos x="connsiteX19628" y="connsiteY19628"/>
              </a:cxn>
              <a:cxn ang="0">
                <a:pos x="connsiteX19629" y="connsiteY19629"/>
              </a:cxn>
              <a:cxn ang="0">
                <a:pos x="connsiteX19630" y="connsiteY19630"/>
              </a:cxn>
              <a:cxn ang="0">
                <a:pos x="connsiteX19631" y="connsiteY19631"/>
              </a:cxn>
              <a:cxn ang="0">
                <a:pos x="connsiteX19632" y="connsiteY19632"/>
              </a:cxn>
              <a:cxn ang="0">
                <a:pos x="connsiteX19633" y="connsiteY19633"/>
              </a:cxn>
              <a:cxn ang="0">
                <a:pos x="connsiteX19634" y="connsiteY19634"/>
              </a:cxn>
              <a:cxn ang="0">
                <a:pos x="connsiteX19635" y="connsiteY19635"/>
              </a:cxn>
              <a:cxn ang="0">
                <a:pos x="connsiteX19636" y="connsiteY19636"/>
              </a:cxn>
              <a:cxn ang="0">
                <a:pos x="connsiteX19637" y="connsiteY19637"/>
              </a:cxn>
              <a:cxn ang="0">
                <a:pos x="connsiteX19638" y="connsiteY19638"/>
              </a:cxn>
              <a:cxn ang="0">
                <a:pos x="connsiteX19639" y="connsiteY19639"/>
              </a:cxn>
              <a:cxn ang="0">
                <a:pos x="connsiteX19640" y="connsiteY19640"/>
              </a:cxn>
              <a:cxn ang="0">
                <a:pos x="connsiteX19641" y="connsiteY19641"/>
              </a:cxn>
              <a:cxn ang="0">
                <a:pos x="connsiteX19642" y="connsiteY19642"/>
              </a:cxn>
              <a:cxn ang="0">
                <a:pos x="connsiteX19643" y="connsiteY19643"/>
              </a:cxn>
              <a:cxn ang="0">
                <a:pos x="connsiteX19644" y="connsiteY19644"/>
              </a:cxn>
              <a:cxn ang="0">
                <a:pos x="connsiteX19645" y="connsiteY19645"/>
              </a:cxn>
              <a:cxn ang="0">
                <a:pos x="connsiteX19646" y="connsiteY19646"/>
              </a:cxn>
              <a:cxn ang="0">
                <a:pos x="connsiteX19647" y="connsiteY19647"/>
              </a:cxn>
              <a:cxn ang="0">
                <a:pos x="connsiteX19648" y="connsiteY19648"/>
              </a:cxn>
              <a:cxn ang="0">
                <a:pos x="connsiteX19649" y="connsiteY19649"/>
              </a:cxn>
              <a:cxn ang="0">
                <a:pos x="connsiteX19650" y="connsiteY19650"/>
              </a:cxn>
              <a:cxn ang="0">
                <a:pos x="connsiteX19651" y="connsiteY19651"/>
              </a:cxn>
              <a:cxn ang="0">
                <a:pos x="connsiteX19652" y="connsiteY19652"/>
              </a:cxn>
              <a:cxn ang="0">
                <a:pos x="connsiteX19653" y="connsiteY19653"/>
              </a:cxn>
              <a:cxn ang="0">
                <a:pos x="connsiteX19654" y="connsiteY19654"/>
              </a:cxn>
              <a:cxn ang="0">
                <a:pos x="connsiteX19655" y="connsiteY19655"/>
              </a:cxn>
              <a:cxn ang="0">
                <a:pos x="connsiteX19656" y="connsiteY19656"/>
              </a:cxn>
              <a:cxn ang="0">
                <a:pos x="connsiteX19657" y="connsiteY19657"/>
              </a:cxn>
              <a:cxn ang="0">
                <a:pos x="connsiteX19658" y="connsiteY19658"/>
              </a:cxn>
              <a:cxn ang="0">
                <a:pos x="connsiteX19659" y="connsiteY19659"/>
              </a:cxn>
              <a:cxn ang="0">
                <a:pos x="connsiteX19660" y="connsiteY19660"/>
              </a:cxn>
              <a:cxn ang="0">
                <a:pos x="connsiteX19661" y="connsiteY19661"/>
              </a:cxn>
              <a:cxn ang="0">
                <a:pos x="connsiteX19662" y="connsiteY19662"/>
              </a:cxn>
              <a:cxn ang="0">
                <a:pos x="connsiteX19663" y="connsiteY19663"/>
              </a:cxn>
              <a:cxn ang="0">
                <a:pos x="connsiteX19664" y="connsiteY19664"/>
              </a:cxn>
              <a:cxn ang="0">
                <a:pos x="connsiteX19665" y="connsiteY19665"/>
              </a:cxn>
              <a:cxn ang="0">
                <a:pos x="connsiteX19666" y="connsiteY19666"/>
              </a:cxn>
              <a:cxn ang="0">
                <a:pos x="connsiteX19667" y="connsiteY19667"/>
              </a:cxn>
              <a:cxn ang="0">
                <a:pos x="connsiteX19668" y="connsiteY19668"/>
              </a:cxn>
              <a:cxn ang="0">
                <a:pos x="connsiteX19669" y="connsiteY19669"/>
              </a:cxn>
              <a:cxn ang="0">
                <a:pos x="connsiteX19670" y="connsiteY19670"/>
              </a:cxn>
              <a:cxn ang="0">
                <a:pos x="connsiteX19671" y="connsiteY19671"/>
              </a:cxn>
              <a:cxn ang="0">
                <a:pos x="connsiteX19672" y="connsiteY19672"/>
              </a:cxn>
              <a:cxn ang="0">
                <a:pos x="connsiteX19673" y="connsiteY19673"/>
              </a:cxn>
              <a:cxn ang="0">
                <a:pos x="connsiteX19674" y="connsiteY19674"/>
              </a:cxn>
              <a:cxn ang="0">
                <a:pos x="connsiteX19675" y="connsiteY19675"/>
              </a:cxn>
              <a:cxn ang="0">
                <a:pos x="connsiteX19676" y="connsiteY19676"/>
              </a:cxn>
              <a:cxn ang="0">
                <a:pos x="connsiteX19677" y="connsiteY19677"/>
              </a:cxn>
              <a:cxn ang="0">
                <a:pos x="connsiteX19678" y="connsiteY19678"/>
              </a:cxn>
              <a:cxn ang="0">
                <a:pos x="connsiteX19679" y="connsiteY19679"/>
              </a:cxn>
              <a:cxn ang="0">
                <a:pos x="connsiteX19680" y="connsiteY19680"/>
              </a:cxn>
              <a:cxn ang="0">
                <a:pos x="connsiteX19681" y="connsiteY19681"/>
              </a:cxn>
              <a:cxn ang="0">
                <a:pos x="connsiteX19682" y="connsiteY19682"/>
              </a:cxn>
              <a:cxn ang="0">
                <a:pos x="connsiteX19683" y="connsiteY19683"/>
              </a:cxn>
              <a:cxn ang="0">
                <a:pos x="connsiteX19684" y="connsiteY19684"/>
              </a:cxn>
              <a:cxn ang="0">
                <a:pos x="connsiteX19685" y="connsiteY19685"/>
              </a:cxn>
              <a:cxn ang="0">
                <a:pos x="connsiteX19686" y="connsiteY19686"/>
              </a:cxn>
              <a:cxn ang="0">
                <a:pos x="connsiteX19687" y="connsiteY19687"/>
              </a:cxn>
              <a:cxn ang="0">
                <a:pos x="connsiteX19688" y="connsiteY19688"/>
              </a:cxn>
              <a:cxn ang="0">
                <a:pos x="connsiteX19689" y="connsiteY19689"/>
              </a:cxn>
              <a:cxn ang="0">
                <a:pos x="connsiteX19690" y="connsiteY19690"/>
              </a:cxn>
              <a:cxn ang="0">
                <a:pos x="connsiteX19691" y="connsiteY19691"/>
              </a:cxn>
              <a:cxn ang="0">
                <a:pos x="connsiteX19692" y="connsiteY19692"/>
              </a:cxn>
              <a:cxn ang="0">
                <a:pos x="connsiteX19693" y="connsiteY19693"/>
              </a:cxn>
              <a:cxn ang="0">
                <a:pos x="connsiteX19694" y="connsiteY19694"/>
              </a:cxn>
              <a:cxn ang="0">
                <a:pos x="connsiteX19695" y="connsiteY19695"/>
              </a:cxn>
              <a:cxn ang="0">
                <a:pos x="connsiteX19696" y="connsiteY19696"/>
              </a:cxn>
              <a:cxn ang="0">
                <a:pos x="connsiteX19697" y="connsiteY19697"/>
              </a:cxn>
              <a:cxn ang="0">
                <a:pos x="connsiteX19698" y="connsiteY19698"/>
              </a:cxn>
              <a:cxn ang="0">
                <a:pos x="connsiteX19699" y="connsiteY19699"/>
              </a:cxn>
              <a:cxn ang="0">
                <a:pos x="connsiteX19700" y="connsiteY19700"/>
              </a:cxn>
              <a:cxn ang="0">
                <a:pos x="connsiteX19701" y="connsiteY19701"/>
              </a:cxn>
              <a:cxn ang="0">
                <a:pos x="connsiteX19702" y="connsiteY19702"/>
              </a:cxn>
              <a:cxn ang="0">
                <a:pos x="connsiteX19703" y="connsiteY19703"/>
              </a:cxn>
              <a:cxn ang="0">
                <a:pos x="connsiteX19704" y="connsiteY19704"/>
              </a:cxn>
              <a:cxn ang="0">
                <a:pos x="connsiteX19705" y="connsiteY19705"/>
              </a:cxn>
              <a:cxn ang="0">
                <a:pos x="connsiteX19706" y="connsiteY19706"/>
              </a:cxn>
              <a:cxn ang="0">
                <a:pos x="connsiteX19707" y="connsiteY19707"/>
              </a:cxn>
              <a:cxn ang="0">
                <a:pos x="connsiteX19708" y="connsiteY19708"/>
              </a:cxn>
              <a:cxn ang="0">
                <a:pos x="connsiteX19709" y="connsiteY19709"/>
              </a:cxn>
              <a:cxn ang="0">
                <a:pos x="connsiteX19710" y="connsiteY19710"/>
              </a:cxn>
              <a:cxn ang="0">
                <a:pos x="connsiteX19711" y="connsiteY19711"/>
              </a:cxn>
              <a:cxn ang="0">
                <a:pos x="connsiteX19712" y="connsiteY19712"/>
              </a:cxn>
              <a:cxn ang="0">
                <a:pos x="connsiteX19713" y="connsiteY19713"/>
              </a:cxn>
              <a:cxn ang="0">
                <a:pos x="connsiteX19714" y="connsiteY19714"/>
              </a:cxn>
              <a:cxn ang="0">
                <a:pos x="connsiteX19715" y="connsiteY19715"/>
              </a:cxn>
              <a:cxn ang="0">
                <a:pos x="connsiteX19716" y="connsiteY19716"/>
              </a:cxn>
              <a:cxn ang="0">
                <a:pos x="connsiteX19717" y="connsiteY19717"/>
              </a:cxn>
              <a:cxn ang="0">
                <a:pos x="connsiteX19718" y="connsiteY19718"/>
              </a:cxn>
              <a:cxn ang="0">
                <a:pos x="connsiteX19719" y="connsiteY19719"/>
              </a:cxn>
              <a:cxn ang="0">
                <a:pos x="connsiteX19720" y="connsiteY19720"/>
              </a:cxn>
              <a:cxn ang="0">
                <a:pos x="connsiteX19721" y="connsiteY19721"/>
              </a:cxn>
              <a:cxn ang="0">
                <a:pos x="connsiteX19722" y="connsiteY19722"/>
              </a:cxn>
              <a:cxn ang="0">
                <a:pos x="connsiteX19723" y="connsiteY19723"/>
              </a:cxn>
              <a:cxn ang="0">
                <a:pos x="connsiteX19724" y="connsiteY19724"/>
              </a:cxn>
              <a:cxn ang="0">
                <a:pos x="connsiteX19725" y="connsiteY19725"/>
              </a:cxn>
              <a:cxn ang="0">
                <a:pos x="connsiteX19726" y="connsiteY19726"/>
              </a:cxn>
              <a:cxn ang="0">
                <a:pos x="connsiteX19727" y="connsiteY19727"/>
              </a:cxn>
              <a:cxn ang="0">
                <a:pos x="connsiteX19728" y="connsiteY19728"/>
              </a:cxn>
              <a:cxn ang="0">
                <a:pos x="connsiteX19729" y="connsiteY19729"/>
              </a:cxn>
              <a:cxn ang="0">
                <a:pos x="connsiteX19730" y="connsiteY19730"/>
              </a:cxn>
              <a:cxn ang="0">
                <a:pos x="connsiteX19731" y="connsiteY19731"/>
              </a:cxn>
              <a:cxn ang="0">
                <a:pos x="connsiteX19732" y="connsiteY19732"/>
              </a:cxn>
              <a:cxn ang="0">
                <a:pos x="connsiteX19733" y="connsiteY19733"/>
              </a:cxn>
              <a:cxn ang="0">
                <a:pos x="connsiteX19734" y="connsiteY19734"/>
              </a:cxn>
              <a:cxn ang="0">
                <a:pos x="connsiteX19735" y="connsiteY19735"/>
              </a:cxn>
              <a:cxn ang="0">
                <a:pos x="connsiteX19736" y="connsiteY19736"/>
              </a:cxn>
              <a:cxn ang="0">
                <a:pos x="connsiteX19737" y="connsiteY19737"/>
              </a:cxn>
              <a:cxn ang="0">
                <a:pos x="connsiteX19738" y="connsiteY19738"/>
              </a:cxn>
              <a:cxn ang="0">
                <a:pos x="connsiteX19739" y="connsiteY19739"/>
              </a:cxn>
              <a:cxn ang="0">
                <a:pos x="connsiteX19740" y="connsiteY19740"/>
              </a:cxn>
              <a:cxn ang="0">
                <a:pos x="connsiteX19741" y="connsiteY19741"/>
              </a:cxn>
              <a:cxn ang="0">
                <a:pos x="connsiteX19742" y="connsiteY19742"/>
              </a:cxn>
              <a:cxn ang="0">
                <a:pos x="connsiteX19743" y="connsiteY19743"/>
              </a:cxn>
              <a:cxn ang="0">
                <a:pos x="connsiteX19744" y="connsiteY19744"/>
              </a:cxn>
              <a:cxn ang="0">
                <a:pos x="connsiteX19745" y="connsiteY19745"/>
              </a:cxn>
              <a:cxn ang="0">
                <a:pos x="connsiteX19746" y="connsiteY19746"/>
              </a:cxn>
              <a:cxn ang="0">
                <a:pos x="connsiteX19747" y="connsiteY19747"/>
              </a:cxn>
              <a:cxn ang="0">
                <a:pos x="connsiteX19748" y="connsiteY19748"/>
              </a:cxn>
              <a:cxn ang="0">
                <a:pos x="connsiteX19749" y="connsiteY19749"/>
              </a:cxn>
              <a:cxn ang="0">
                <a:pos x="connsiteX19750" y="connsiteY19750"/>
              </a:cxn>
              <a:cxn ang="0">
                <a:pos x="connsiteX19751" y="connsiteY19751"/>
              </a:cxn>
              <a:cxn ang="0">
                <a:pos x="connsiteX19752" y="connsiteY19752"/>
              </a:cxn>
              <a:cxn ang="0">
                <a:pos x="connsiteX19753" y="connsiteY19753"/>
              </a:cxn>
              <a:cxn ang="0">
                <a:pos x="connsiteX19754" y="connsiteY19754"/>
              </a:cxn>
              <a:cxn ang="0">
                <a:pos x="connsiteX19755" y="connsiteY19755"/>
              </a:cxn>
              <a:cxn ang="0">
                <a:pos x="connsiteX19756" y="connsiteY19756"/>
              </a:cxn>
              <a:cxn ang="0">
                <a:pos x="connsiteX19757" y="connsiteY19757"/>
              </a:cxn>
              <a:cxn ang="0">
                <a:pos x="connsiteX19758" y="connsiteY19758"/>
              </a:cxn>
              <a:cxn ang="0">
                <a:pos x="connsiteX19759" y="connsiteY19759"/>
              </a:cxn>
              <a:cxn ang="0">
                <a:pos x="connsiteX19760" y="connsiteY19760"/>
              </a:cxn>
              <a:cxn ang="0">
                <a:pos x="connsiteX19761" y="connsiteY19761"/>
              </a:cxn>
              <a:cxn ang="0">
                <a:pos x="connsiteX19762" y="connsiteY19762"/>
              </a:cxn>
              <a:cxn ang="0">
                <a:pos x="connsiteX19763" y="connsiteY19763"/>
              </a:cxn>
              <a:cxn ang="0">
                <a:pos x="connsiteX19764" y="connsiteY19764"/>
              </a:cxn>
              <a:cxn ang="0">
                <a:pos x="connsiteX19765" y="connsiteY19765"/>
              </a:cxn>
              <a:cxn ang="0">
                <a:pos x="connsiteX19766" y="connsiteY19766"/>
              </a:cxn>
              <a:cxn ang="0">
                <a:pos x="connsiteX19767" y="connsiteY19767"/>
              </a:cxn>
              <a:cxn ang="0">
                <a:pos x="connsiteX19768" y="connsiteY19768"/>
              </a:cxn>
              <a:cxn ang="0">
                <a:pos x="connsiteX19769" y="connsiteY19769"/>
              </a:cxn>
              <a:cxn ang="0">
                <a:pos x="connsiteX19770" y="connsiteY19770"/>
              </a:cxn>
              <a:cxn ang="0">
                <a:pos x="connsiteX19771" y="connsiteY19771"/>
              </a:cxn>
              <a:cxn ang="0">
                <a:pos x="connsiteX19772" y="connsiteY19772"/>
              </a:cxn>
              <a:cxn ang="0">
                <a:pos x="connsiteX19773" y="connsiteY19773"/>
              </a:cxn>
              <a:cxn ang="0">
                <a:pos x="connsiteX19774" y="connsiteY19774"/>
              </a:cxn>
              <a:cxn ang="0">
                <a:pos x="connsiteX19775" y="connsiteY19775"/>
              </a:cxn>
              <a:cxn ang="0">
                <a:pos x="connsiteX19776" y="connsiteY19776"/>
              </a:cxn>
              <a:cxn ang="0">
                <a:pos x="connsiteX19777" y="connsiteY19777"/>
              </a:cxn>
              <a:cxn ang="0">
                <a:pos x="connsiteX19778" y="connsiteY19778"/>
              </a:cxn>
              <a:cxn ang="0">
                <a:pos x="connsiteX19779" y="connsiteY19779"/>
              </a:cxn>
              <a:cxn ang="0">
                <a:pos x="connsiteX19780" y="connsiteY19780"/>
              </a:cxn>
              <a:cxn ang="0">
                <a:pos x="connsiteX19781" y="connsiteY19781"/>
              </a:cxn>
              <a:cxn ang="0">
                <a:pos x="connsiteX19782" y="connsiteY19782"/>
              </a:cxn>
              <a:cxn ang="0">
                <a:pos x="connsiteX19783" y="connsiteY19783"/>
              </a:cxn>
              <a:cxn ang="0">
                <a:pos x="connsiteX19784" y="connsiteY19784"/>
              </a:cxn>
              <a:cxn ang="0">
                <a:pos x="connsiteX19785" y="connsiteY19785"/>
              </a:cxn>
              <a:cxn ang="0">
                <a:pos x="connsiteX19786" y="connsiteY19786"/>
              </a:cxn>
              <a:cxn ang="0">
                <a:pos x="connsiteX19787" y="connsiteY19787"/>
              </a:cxn>
              <a:cxn ang="0">
                <a:pos x="connsiteX19788" y="connsiteY19788"/>
              </a:cxn>
              <a:cxn ang="0">
                <a:pos x="connsiteX19789" y="connsiteY19789"/>
              </a:cxn>
              <a:cxn ang="0">
                <a:pos x="connsiteX19790" y="connsiteY19790"/>
              </a:cxn>
              <a:cxn ang="0">
                <a:pos x="connsiteX19791" y="connsiteY19791"/>
              </a:cxn>
              <a:cxn ang="0">
                <a:pos x="connsiteX19792" y="connsiteY19792"/>
              </a:cxn>
              <a:cxn ang="0">
                <a:pos x="connsiteX19793" y="connsiteY19793"/>
              </a:cxn>
              <a:cxn ang="0">
                <a:pos x="connsiteX19794" y="connsiteY19794"/>
              </a:cxn>
              <a:cxn ang="0">
                <a:pos x="connsiteX19795" y="connsiteY19795"/>
              </a:cxn>
              <a:cxn ang="0">
                <a:pos x="connsiteX19796" y="connsiteY19796"/>
              </a:cxn>
              <a:cxn ang="0">
                <a:pos x="connsiteX19797" y="connsiteY19797"/>
              </a:cxn>
              <a:cxn ang="0">
                <a:pos x="connsiteX19798" y="connsiteY19798"/>
              </a:cxn>
              <a:cxn ang="0">
                <a:pos x="connsiteX19799" y="connsiteY19799"/>
              </a:cxn>
              <a:cxn ang="0">
                <a:pos x="connsiteX19800" y="connsiteY19800"/>
              </a:cxn>
              <a:cxn ang="0">
                <a:pos x="connsiteX19801" y="connsiteY19801"/>
              </a:cxn>
              <a:cxn ang="0">
                <a:pos x="connsiteX19802" y="connsiteY19802"/>
              </a:cxn>
              <a:cxn ang="0">
                <a:pos x="connsiteX19803" y="connsiteY19803"/>
              </a:cxn>
              <a:cxn ang="0">
                <a:pos x="connsiteX19804" y="connsiteY19804"/>
              </a:cxn>
              <a:cxn ang="0">
                <a:pos x="connsiteX19805" y="connsiteY19805"/>
              </a:cxn>
              <a:cxn ang="0">
                <a:pos x="connsiteX19806" y="connsiteY19806"/>
              </a:cxn>
              <a:cxn ang="0">
                <a:pos x="connsiteX19807" y="connsiteY19807"/>
              </a:cxn>
              <a:cxn ang="0">
                <a:pos x="connsiteX19808" y="connsiteY19808"/>
              </a:cxn>
              <a:cxn ang="0">
                <a:pos x="connsiteX19809" y="connsiteY19809"/>
              </a:cxn>
              <a:cxn ang="0">
                <a:pos x="connsiteX19810" y="connsiteY19810"/>
              </a:cxn>
              <a:cxn ang="0">
                <a:pos x="connsiteX19811" y="connsiteY19811"/>
              </a:cxn>
              <a:cxn ang="0">
                <a:pos x="connsiteX19812" y="connsiteY19812"/>
              </a:cxn>
              <a:cxn ang="0">
                <a:pos x="connsiteX19813" y="connsiteY19813"/>
              </a:cxn>
              <a:cxn ang="0">
                <a:pos x="connsiteX19814" y="connsiteY19814"/>
              </a:cxn>
              <a:cxn ang="0">
                <a:pos x="connsiteX19815" y="connsiteY19815"/>
              </a:cxn>
              <a:cxn ang="0">
                <a:pos x="connsiteX19816" y="connsiteY19816"/>
              </a:cxn>
              <a:cxn ang="0">
                <a:pos x="connsiteX19817" y="connsiteY19817"/>
              </a:cxn>
              <a:cxn ang="0">
                <a:pos x="connsiteX19818" y="connsiteY19818"/>
              </a:cxn>
              <a:cxn ang="0">
                <a:pos x="connsiteX19819" y="connsiteY19819"/>
              </a:cxn>
              <a:cxn ang="0">
                <a:pos x="connsiteX19820" y="connsiteY19820"/>
              </a:cxn>
              <a:cxn ang="0">
                <a:pos x="connsiteX19821" y="connsiteY19821"/>
              </a:cxn>
              <a:cxn ang="0">
                <a:pos x="connsiteX19822" y="connsiteY19822"/>
              </a:cxn>
              <a:cxn ang="0">
                <a:pos x="connsiteX19823" y="connsiteY19823"/>
              </a:cxn>
              <a:cxn ang="0">
                <a:pos x="connsiteX19824" y="connsiteY19824"/>
              </a:cxn>
              <a:cxn ang="0">
                <a:pos x="connsiteX19825" y="connsiteY19825"/>
              </a:cxn>
              <a:cxn ang="0">
                <a:pos x="connsiteX19826" y="connsiteY19826"/>
              </a:cxn>
              <a:cxn ang="0">
                <a:pos x="connsiteX19827" y="connsiteY19827"/>
              </a:cxn>
              <a:cxn ang="0">
                <a:pos x="connsiteX19828" y="connsiteY19828"/>
              </a:cxn>
              <a:cxn ang="0">
                <a:pos x="connsiteX19829" y="connsiteY19829"/>
              </a:cxn>
              <a:cxn ang="0">
                <a:pos x="connsiteX19830" y="connsiteY19830"/>
              </a:cxn>
              <a:cxn ang="0">
                <a:pos x="connsiteX19831" y="connsiteY19831"/>
              </a:cxn>
              <a:cxn ang="0">
                <a:pos x="connsiteX19832" y="connsiteY19832"/>
              </a:cxn>
              <a:cxn ang="0">
                <a:pos x="connsiteX19833" y="connsiteY19833"/>
              </a:cxn>
              <a:cxn ang="0">
                <a:pos x="connsiteX19834" y="connsiteY19834"/>
              </a:cxn>
              <a:cxn ang="0">
                <a:pos x="connsiteX19835" y="connsiteY19835"/>
              </a:cxn>
              <a:cxn ang="0">
                <a:pos x="connsiteX19836" y="connsiteY19836"/>
              </a:cxn>
              <a:cxn ang="0">
                <a:pos x="connsiteX19837" y="connsiteY19837"/>
              </a:cxn>
              <a:cxn ang="0">
                <a:pos x="connsiteX19838" y="connsiteY19838"/>
              </a:cxn>
              <a:cxn ang="0">
                <a:pos x="connsiteX19839" y="connsiteY19839"/>
              </a:cxn>
              <a:cxn ang="0">
                <a:pos x="connsiteX19840" y="connsiteY19840"/>
              </a:cxn>
              <a:cxn ang="0">
                <a:pos x="connsiteX19841" y="connsiteY19841"/>
              </a:cxn>
              <a:cxn ang="0">
                <a:pos x="connsiteX19842" y="connsiteY19842"/>
              </a:cxn>
              <a:cxn ang="0">
                <a:pos x="connsiteX19843" y="connsiteY19843"/>
              </a:cxn>
              <a:cxn ang="0">
                <a:pos x="connsiteX19844" y="connsiteY19844"/>
              </a:cxn>
              <a:cxn ang="0">
                <a:pos x="connsiteX19845" y="connsiteY19845"/>
              </a:cxn>
              <a:cxn ang="0">
                <a:pos x="connsiteX19846" y="connsiteY19846"/>
              </a:cxn>
              <a:cxn ang="0">
                <a:pos x="connsiteX19847" y="connsiteY19847"/>
              </a:cxn>
              <a:cxn ang="0">
                <a:pos x="connsiteX19848" y="connsiteY19848"/>
              </a:cxn>
              <a:cxn ang="0">
                <a:pos x="connsiteX19849" y="connsiteY19849"/>
              </a:cxn>
              <a:cxn ang="0">
                <a:pos x="connsiteX19850" y="connsiteY19850"/>
              </a:cxn>
              <a:cxn ang="0">
                <a:pos x="connsiteX19851" y="connsiteY19851"/>
              </a:cxn>
              <a:cxn ang="0">
                <a:pos x="connsiteX19852" y="connsiteY19852"/>
              </a:cxn>
              <a:cxn ang="0">
                <a:pos x="connsiteX19853" y="connsiteY19853"/>
              </a:cxn>
              <a:cxn ang="0">
                <a:pos x="connsiteX19854" y="connsiteY19854"/>
              </a:cxn>
              <a:cxn ang="0">
                <a:pos x="connsiteX19855" y="connsiteY19855"/>
              </a:cxn>
              <a:cxn ang="0">
                <a:pos x="connsiteX19856" y="connsiteY19856"/>
              </a:cxn>
              <a:cxn ang="0">
                <a:pos x="connsiteX19857" y="connsiteY19857"/>
              </a:cxn>
              <a:cxn ang="0">
                <a:pos x="connsiteX19858" y="connsiteY19858"/>
              </a:cxn>
              <a:cxn ang="0">
                <a:pos x="connsiteX19859" y="connsiteY19859"/>
              </a:cxn>
              <a:cxn ang="0">
                <a:pos x="connsiteX19860" y="connsiteY19860"/>
              </a:cxn>
              <a:cxn ang="0">
                <a:pos x="connsiteX19861" y="connsiteY19861"/>
              </a:cxn>
              <a:cxn ang="0">
                <a:pos x="connsiteX19862" y="connsiteY19862"/>
              </a:cxn>
              <a:cxn ang="0">
                <a:pos x="connsiteX19863" y="connsiteY19863"/>
              </a:cxn>
              <a:cxn ang="0">
                <a:pos x="connsiteX19864" y="connsiteY19864"/>
              </a:cxn>
              <a:cxn ang="0">
                <a:pos x="connsiteX19865" y="connsiteY19865"/>
              </a:cxn>
              <a:cxn ang="0">
                <a:pos x="connsiteX19866" y="connsiteY19866"/>
              </a:cxn>
              <a:cxn ang="0">
                <a:pos x="connsiteX19867" y="connsiteY19867"/>
              </a:cxn>
              <a:cxn ang="0">
                <a:pos x="connsiteX19868" y="connsiteY19868"/>
              </a:cxn>
              <a:cxn ang="0">
                <a:pos x="connsiteX19869" y="connsiteY19869"/>
              </a:cxn>
              <a:cxn ang="0">
                <a:pos x="connsiteX19870" y="connsiteY19870"/>
              </a:cxn>
              <a:cxn ang="0">
                <a:pos x="connsiteX19871" y="connsiteY19871"/>
              </a:cxn>
              <a:cxn ang="0">
                <a:pos x="connsiteX19872" y="connsiteY19872"/>
              </a:cxn>
              <a:cxn ang="0">
                <a:pos x="connsiteX19873" y="connsiteY19873"/>
              </a:cxn>
              <a:cxn ang="0">
                <a:pos x="connsiteX19874" y="connsiteY19874"/>
              </a:cxn>
              <a:cxn ang="0">
                <a:pos x="connsiteX19875" y="connsiteY19875"/>
              </a:cxn>
              <a:cxn ang="0">
                <a:pos x="connsiteX19876" y="connsiteY19876"/>
              </a:cxn>
              <a:cxn ang="0">
                <a:pos x="connsiteX19877" y="connsiteY19877"/>
              </a:cxn>
              <a:cxn ang="0">
                <a:pos x="connsiteX19878" y="connsiteY19878"/>
              </a:cxn>
              <a:cxn ang="0">
                <a:pos x="connsiteX19879" y="connsiteY19879"/>
              </a:cxn>
              <a:cxn ang="0">
                <a:pos x="connsiteX19880" y="connsiteY19880"/>
              </a:cxn>
              <a:cxn ang="0">
                <a:pos x="connsiteX19881" y="connsiteY19881"/>
              </a:cxn>
              <a:cxn ang="0">
                <a:pos x="connsiteX19882" y="connsiteY19882"/>
              </a:cxn>
              <a:cxn ang="0">
                <a:pos x="connsiteX19883" y="connsiteY19883"/>
              </a:cxn>
              <a:cxn ang="0">
                <a:pos x="connsiteX19884" y="connsiteY19884"/>
              </a:cxn>
              <a:cxn ang="0">
                <a:pos x="connsiteX19885" y="connsiteY19885"/>
              </a:cxn>
              <a:cxn ang="0">
                <a:pos x="connsiteX19886" y="connsiteY19886"/>
              </a:cxn>
              <a:cxn ang="0">
                <a:pos x="connsiteX19887" y="connsiteY19887"/>
              </a:cxn>
              <a:cxn ang="0">
                <a:pos x="connsiteX19888" y="connsiteY19888"/>
              </a:cxn>
              <a:cxn ang="0">
                <a:pos x="connsiteX19889" y="connsiteY19889"/>
              </a:cxn>
              <a:cxn ang="0">
                <a:pos x="connsiteX19890" y="connsiteY19890"/>
              </a:cxn>
              <a:cxn ang="0">
                <a:pos x="connsiteX19891" y="connsiteY19891"/>
              </a:cxn>
              <a:cxn ang="0">
                <a:pos x="connsiteX19892" y="connsiteY19892"/>
              </a:cxn>
              <a:cxn ang="0">
                <a:pos x="connsiteX19893" y="connsiteY19893"/>
              </a:cxn>
              <a:cxn ang="0">
                <a:pos x="connsiteX19894" y="connsiteY19894"/>
              </a:cxn>
              <a:cxn ang="0">
                <a:pos x="connsiteX19895" y="connsiteY19895"/>
              </a:cxn>
              <a:cxn ang="0">
                <a:pos x="connsiteX19896" y="connsiteY19896"/>
              </a:cxn>
              <a:cxn ang="0">
                <a:pos x="connsiteX19897" y="connsiteY19897"/>
              </a:cxn>
              <a:cxn ang="0">
                <a:pos x="connsiteX19898" y="connsiteY19898"/>
              </a:cxn>
              <a:cxn ang="0">
                <a:pos x="connsiteX19899" y="connsiteY19899"/>
              </a:cxn>
              <a:cxn ang="0">
                <a:pos x="connsiteX19900" y="connsiteY19900"/>
              </a:cxn>
              <a:cxn ang="0">
                <a:pos x="connsiteX19901" y="connsiteY19901"/>
              </a:cxn>
              <a:cxn ang="0">
                <a:pos x="connsiteX19902" y="connsiteY19902"/>
              </a:cxn>
              <a:cxn ang="0">
                <a:pos x="connsiteX19903" y="connsiteY19903"/>
              </a:cxn>
              <a:cxn ang="0">
                <a:pos x="connsiteX19904" y="connsiteY19904"/>
              </a:cxn>
              <a:cxn ang="0">
                <a:pos x="connsiteX19905" y="connsiteY19905"/>
              </a:cxn>
              <a:cxn ang="0">
                <a:pos x="connsiteX19906" y="connsiteY19906"/>
              </a:cxn>
              <a:cxn ang="0">
                <a:pos x="connsiteX19907" y="connsiteY19907"/>
              </a:cxn>
              <a:cxn ang="0">
                <a:pos x="connsiteX19908" y="connsiteY19908"/>
              </a:cxn>
              <a:cxn ang="0">
                <a:pos x="connsiteX19909" y="connsiteY19909"/>
              </a:cxn>
              <a:cxn ang="0">
                <a:pos x="connsiteX19910" y="connsiteY19910"/>
              </a:cxn>
              <a:cxn ang="0">
                <a:pos x="connsiteX19911" y="connsiteY19911"/>
              </a:cxn>
              <a:cxn ang="0">
                <a:pos x="connsiteX19912" y="connsiteY19912"/>
              </a:cxn>
              <a:cxn ang="0">
                <a:pos x="connsiteX19913" y="connsiteY19913"/>
              </a:cxn>
              <a:cxn ang="0">
                <a:pos x="connsiteX19914" y="connsiteY19914"/>
              </a:cxn>
              <a:cxn ang="0">
                <a:pos x="connsiteX19915" y="connsiteY19915"/>
              </a:cxn>
              <a:cxn ang="0">
                <a:pos x="connsiteX19916" y="connsiteY19916"/>
              </a:cxn>
              <a:cxn ang="0">
                <a:pos x="connsiteX19917" y="connsiteY19917"/>
              </a:cxn>
              <a:cxn ang="0">
                <a:pos x="connsiteX19918" y="connsiteY19918"/>
              </a:cxn>
              <a:cxn ang="0">
                <a:pos x="connsiteX19919" y="connsiteY19919"/>
              </a:cxn>
              <a:cxn ang="0">
                <a:pos x="connsiteX19920" y="connsiteY19920"/>
              </a:cxn>
              <a:cxn ang="0">
                <a:pos x="connsiteX19921" y="connsiteY19921"/>
              </a:cxn>
              <a:cxn ang="0">
                <a:pos x="connsiteX19922" y="connsiteY19922"/>
              </a:cxn>
              <a:cxn ang="0">
                <a:pos x="connsiteX19923" y="connsiteY19923"/>
              </a:cxn>
              <a:cxn ang="0">
                <a:pos x="connsiteX19924" y="connsiteY19924"/>
              </a:cxn>
              <a:cxn ang="0">
                <a:pos x="connsiteX19925" y="connsiteY19925"/>
              </a:cxn>
              <a:cxn ang="0">
                <a:pos x="connsiteX19926" y="connsiteY19926"/>
              </a:cxn>
              <a:cxn ang="0">
                <a:pos x="connsiteX19927" y="connsiteY19927"/>
              </a:cxn>
              <a:cxn ang="0">
                <a:pos x="connsiteX19928" y="connsiteY19928"/>
              </a:cxn>
              <a:cxn ang="0">
                <a:pos x="connsiteX19929" y="connsiteY19929"/>
              </a:cxn>
              <a:cxn ang="0">
                <a:pos x="connsiteX19930" y="connsiteY19930"/>
              </a:cxn>
              <a:cxn ang="0">
                <a:pos x="connsiteX19931" y="connsiteY19931"/>
              </a:cxn>
              <a:cxn ang="0">
                <a:pos x="connsiteX19932" y="connsiteY19932"/>
              </a:cxn>
              <a:cxn ang="0">
                <a:pos x="connsiteX19933" y="connsiteY19933"/>
              </a:cxn>
              <a:cxn ang="0">
                <a:pos x="connsiteX19934" y="connsiteY19934"/>
              </a:cxn>
              <a:cxn ang="0">
                <a:pos x="connsiteX19935" y="connsiteY19935"/>
              </a:cxn>
              <a:cxn ang="0">
                <a:pos x="connsiteX19936" y="connsiteY19936"/>
              </a:cxn>
              <a:cxn ang="0">
                <a:pos x="connsiteX19937" y="connsiteY19937"/>
              </a:cxn>
              <a:cxn ang="0">
                <a:pos x="connsiteX19938" y="connsiteY19938"/>
              </a:cxn>
              <a:cxn ang="0">
                <a:pos x="connsiteX19939" y="connsiteY19939"/>
              </a:cxn>
              <a:cxn ang="0">
                <a:pos x="connsiteX19940" y="connsiteY19940"/>
              </a:cxn>
              <a:cxn ang="0">
                <a:pos x="connsiteX19941" y="connsiteY19941"/>
              </a:cxn>
              <a:cxn ang="0">
                <a:pos x="connsiteX19942" y="connsiteY19942"/>
              </a:cxn>
              <a:cxn ang="0">
                <a:pos x="connsiteX19943" y="connsiteY19943"/>
              </a:cxn>
              <a:cxn ang="0">
                <a:pos x="connsiteX19944" y="connsiteY19944"/>
              </a:cxn>
              <a:cxn ang="0">
                <a:pos x="connsiteX19945" y="connsiteY19945"/>
              </a:cxn>
              <a:cxn ang="0">
                <a:pos x="connsiteX19946" y="connsiteY19946"/>
              </a:cxn>
              <a:cxn ang="0">
                <a:pos x="connsiteX19947" y="connsiteY19947"/>
              </a:cxn>
              <a:cxn ang="0">
                <a:pos x="connsiteX19948" y="connsiteY19948"/>
              </a:cxn>
              <a:cxn ang="0">
                <a:pos x="connsiteX19949" y="connsiteY19949"/>
              </a:cxn>
              <a:cxn ang="0">
                <a:pos x="connsiteX19950" y="connsiteY19950"/>
              </a:cxn>
              <a:cxn ang="0">
                <a:pos x="connsiteX19951" y="connsiteY19951"/>
              </a:cxn>
              <a:cxn ang="0">
                <a:pos x="connsiteX19952" y="connsiteY19952"/>
              </a:cxn>
              <a:cxn ang="0">
                <a:pos x="connsiteX19953" y="connsiteY19953"/>
              </a:cxn>
              <a:cxn ang="0">
                <a:pos x="connsiteX19954" y="connsiteY19954"/>
              </a:cxn>
              <a:cxn ang="0">
                <a:pos x="connsiteX19955" y="connsiteY19955"/>
              </a:cxn>
              <a:cxn ang="0">
                <a:pos x="connsiteX19956" y="connsiteY19956"/>
              </a:cxn>
              <a:cxn ang="0">
                <a:pos x="connsiteX19957" y="connsiteY19957"/>
              </a:cxn>
              <a:cxn ang="0">
                <a:pos x="connsiteX19958" y="connsiteY19958"/>
              </a:cxn>
              <a:cxn ang="0">
                <a:pos x="connsiteX19959" y="connsiteY19959"/>
              </a:cxn>
              <a:cxn ang="0">
                <a:pos x="connsiteX19960" y="connsiteY19960"/>
              </a:cxn>
              <a:cxn ang="0">
                <a:pos x="connsiteX19961" y="connsiteY19961"/>
              </a:cxn>
              <a:cxn ang="0">
                <a:pos x="connsiteX19962" y="connsiteY19962"/>
              </a:cxn>
              <a:cxn ang="0">
                <a:pos x="connsiteX19963" y="connsiteY19963"/>
              </a:cxn>
              <a:cxn ang="0">
                <a:pos x="connsiteX19964" y="connsiteY19964"/>
              </a:cxn>
              <a:cxn ang="0">
                <a:pos x="connsiteX19965" y="connsiteY19965"/>
              </a:cxn>
              <a:cxn ang="0">
                <a:pos x="connsiteX19966" y="connsiteY19966"/>
              </a:cxn>
              <a:cxn ang="0">
                <a:pos x="connsiteX19967" y="connsiteY19967"/>
              </a:cxn>
              <a:cxn ang="0">
                <a:pos x="connsiteX19968" y="connsiteY19968"/>
              </a:cxn>
              <a:cxn ang="0">
                <a:pos x="connsiteX19969" y="connsiteY19969"/>
              </a:cxn>
              <a:cxn ang="0">
                <a:pos x="connsiteX19970" y="connsiteY19970"/>
              </a:cxn>
              <a:cxn ang="0">
                <a:pos x="connsiteX19971" y="connsiteY19971"/>
              </a:cxn>
              <a:cxn ang="0">
                <a:pos x="connsiteX19972" y="connsiteY19972"/>
              </a:cxn>
              <a:cxn ang="0">
                <a:pos x="connsiteX19973" y="connsiteY19973"/>
              </a:cxn>
              <a:cxn ang="0">
                <a:pos x="connsiteX19974" y="connsiteY19974"/>
              </a:cxn>
              <a:cxn ang="0">
                <a:pos x="connsiteX19975" y="connsiteY19975"/>
              </a:cxn>
              <a:cxn ang="0">
                <a:pos x="connsiteX19976" y="connsiteY19976"/>
              </a:cxn>
              <a:cxn ang="0">
                <a:pos x="connsiteX19977" y="connsiteY19977"/>
              </a:cxn>
              <a:cxn ang="0">
                <a:pos x="connsiteX19978" y="connsiteY19978"/>
              </a:cxn>
              <a:cxn ang="0">
                <a:pos x="connsiteX19979" y="connsiteY19979"/>
              </a:cxn>
              <a:cxn ang="0">
                <a:pos x="connsiteX19980" y="connsiteY19980"/>
              </a:cxn>
              <a:cxn ang="0">
                <a:pos x="connsiteX19981" y="connsiteY19981"/>
              </a:cxn>
              <a:cxn ang="0">
                <a:pos x="connsiteX19982" y="connsiteY19982"/>
              </a:cxn>
              <a:cxn ang="0">
                <a:pos x="connsiteX19983" y="connsiteY19983"/>
              </a:cxn>
              <a:cxn ang="0">
                <a:pos x="connsiteX19984" y="connsiteY19984"/>
              </a:cxn>
              <a:cxn ang="0">
                <a:pos x="connsiteX19985" y="connsiteY19985"/>
              </a:cxn>
              <a:cxn ang="0">
                <a:pos x="connsiteX19986" y="connsiteY19986"/>
              </a:cxn>
              <a:cxn ang="0">
                <a:pos x="connsiteX19987" y="connsiteY19987"/>
              </a:cxn>
              <a:cxn ang="0">
                <a:pos x="connsiteX19988" y="connsiteY19988"/>
              </a:cxn>
              <a:cxn ang="0">
                <a:pos x="connsiteX19989" y="connsiteY19989"/>
              </a:cxn>
              <a:cxn ang="0">
                <a:pos x="connsiteX19990" y="connsiteY19990"/>
              </a:cxn>
              <a:cxn ang="0">
                <a:pos x="connsiteX19991" y="connsiteY19991"/>
              </a:cxn>
              <a:cxn ang="0">
                <a:pos x="connsiteX19992" y="connsiteY19992"/>
              </a:cxn>
              <a:cxn ang="0">
                <a:pos x="connsiteX19993" y="connsiteY19993"/>
              </a:cxn>
              <a:cxn ang="0">
                <a:pos x="connsiteX19994" y="connsiteY19994"/>
              </a:cxn>
              <a:cxn ang="0">
                <a:pos x="connsiteX19995" y="connsiteY19995"/>
              </a:cxn>
              <a:cxn ang="0">
                <a:pos x="connsiteX19996" y="connsiteY19996"/>
              </a:cxn>
              <a:cxn ang="0">
                <a:pos x="connsiteX19997" y="connsiteY19997"/>
              </a:cxn>
              <a:cxn ang="0">
                <a:pos x="connsiteX19998" y="connsiteY19998"/>
              </a:cxn>
              <a:cxn ang="0">
                <a:pos x="connsiteX19999" y="connsiteY19999"/>
              </a:cxn>
              <a:cxn ang="0">
                <a:pos x="connsiteX20000" y="connsiteY20000"/>
              </a:cxn>
              <a:cxn ang="0">
                <a:pos x="connsiteX20001" y="connsiteY20001"/>
              </a:cxn>
              <a:cxn ang="0">
                <a:pos x="connsiteX20002" y="connsiteY20002"/>
              </a:cxn>
              <a:cxn ang="0">
                <a:pos x="connsiteX20003" y="connsiteY20003"/>
              </a:cxn>
              <a:cxn ang="0">
                <a:pos x="connsiteX20004" y="connsiteY20004"/>
              </a:cxn>
              <a:cxn ang="0">
                <a:pos x="connsiteX20005" y="connsiteY20005"/>
              </a:cxn>
              <a:cxn ang="0">
                <a:pos x="connsiteX20006" y="connsiteY20006"/>
              </a:cxn>
              <a:cxn ang="0">
                <a:pos x="connsiteX20007" y="connsiteY20007"/>
              </a:cxn>
              <a:cxn ang="0">
                <a:pos x="connsiteX20008" y="connsiteY20008"/>
              </a:cxn>
              <a:cxn ang="0">
                <a:pos x="connsiteX20009" y="connsiteY20009"/>
              </a:cxn>
              <a:cxn ang="0">
                <a:pos x="connsiteX20010" y="connsiteY20010"/>
              </a:cxn>
              <a:cxn ang="0">
                <a:pos x="connsiteX20011" y="connsiteY20011"/>
              </a:cxn>
              <a:cxn ang="0">
                <a:pos x="connsiteX20012" y="connsiteY20012"/>
              </a:cxn>
              <a:cxn ang="0">
                <a:pos x="connsiteX20013" y="connsiteY20013"/>
              </a:cxn>
              <a:cxn ang="0">
                <a:pos x="connsiteX20014" y="connsiteY20014"/>
              </a:cxn>
              <a:cxn ang="0">
                <a:pos x="connsiteX20015" y="connsiteY20015"/>
              </a:cxn>
              <a:cxn ang="0">
                <a:pos x="connsiteX20016" y="connsiteY20016"/>
              </a:cxn>
              <a:cxn ang="0">
                <a:pos x="connsiteX20017" y="connsiteY20017"/>
              </a:cxn>
              <a:cxn ang="0">
                <a:pos x="connsiteX20018" y="connsiteY20018"/>
              </a:cxn>
              <a:cxn ang="0">
                <a:pos x="connsiteX20019" y="connsiteY20019"/>
              </a:cxn>
              <a:cxn ang="0">
                <a:pos x="connsiteX20020" y="connsiteY20020"/>
              </a:cxn>
              <a:cxn ang="0">
                <a:pos x="connsiteX20021" y="connsiteY20021"/>
              </a:cxn>
              <a:cxn ang="0">
                <a:pos x="connsiteX20022" y="connsiteY20022"/>
              </a:cxn>
              <a:cxn ang="0">
                <a:pos x="connsiteX20023" y="connsiteY20023"/>
              </a:cxn>
              <a:cxn ang="0">
                <a:pos x="connsiteX20024" y="connsiteY20024"/>
              </a:cxn>
              <a:cxn ang="0">
                <a:pos x="connsiteX20025" y="connsiteY20025"/>
              </a:cxn>
              <a:cxn ang="0">
                <a:pos x="connsiteX20026" y="connsiteY20026"/>
              </a:cxn>
              <a:cxn ang="0">
                <a:pos x="connsiteX20027" y="connsiteY20027"/>
              </a:cxn>
              <a:cxn ang="0">
                <a:pos x="connsiteX20028" y="connsiteY20028"/>
              </a:cxn>
              <a:cxn ang="0">
                <a:pos x="connsiteX20029" y="connsiteY20029"/>
              </a:cxn>
              <a:cxn ang="0">
                <a:pos x="connsiteX20030" y="connsiteY20030"/>
              </a:cxn>
              <a:cxn ang="0">
                <a:pos x="connsiteX20031" y="connsiteY20031"/>
              </a:cxn>
              <a:cxn ang="0">
                <a:pos x="connsiteX20032" y="connsiteY20032"/>
              </a:cxn>
              <a:cxn ang="0">
                <a:pos x="connsiteX20033" y="connsiteY20033"/>
              </a:cxn>
              <a:cxn ang="0">
                <a:pos x="connsiteX20034" y="connsiteY20034"/>
              </a:cxn>
              <a:cxn ang="0">
                <a:pos x="connsiteX20035" y="connsiteY20035"/>
              </a:cxn>
              <a:cxn ang="0">
                <a:pos x="connsiteX20036" y="connsiteY20036"/>
              </a:cxn>
              <a:cxn ang="0">
                <a:pos x="connsiteX20037" y="connsiteY20037"/>
              </a:cxn>
              <a:cxn ang="0">
                <a:pos x="connsiteX20038" y="connsiteY20038"/>
              </a:cxn>
              <a:cxn ang="0">
                <a:pos x="connsiteX20039" y="connsiteY20039"/>
              </a:cxn>
              <a:cxn ang="0">
                <a:pos x="connsiteX20040" y="connsiteY20040"/>
              </a:cxn>
              <a:cxn ang="0">
                <a:pos x="connsiteX20041" y="connsiteY20041"/>
              </a:cxn>
              <a:cxn ang="0">
                <a:pos x="connsiteX20042" y="connsiteY20042"/>
              </a:cxn>
              <a:cxn ang="0">
                <a:pos x="connsiteX20043" y="connsiteY20043"/>
              </a:cxn>
              <a:cxn ang="0">
                <a:pos x="connsiteX20044" y="connsiteY20044"/>
              </a:cxn>
              <a:cxn ang="0">
                <a:pos x="connsiteX20045" y="connsiteY20045"/>
              </a:cxn>
              <a:cxn ang="0">
                <a:pos x="connsiteX20046" y="connsiteY20046"/>
              </a:cxn>
              <a:cxn ang="0">
                <a:pos x="connsiteX20047" y="connsiteY20047"/>
              </a:cxn>
              <a:cxn ang="0">
                <a:pos x="connsiteX20048" y="connsiteY20048"/>
              </a:cxn>
              <a:cxn ang="0">
                <a:pos x="connsiteX20049" y="connsiteY20049"/>
              </a:cxn>
              <a:cxn ang="0">
                <a:pos x="connsiteX20050" y="connsiteY20050"/>
              </a:cxn>
              <a:cxn ang="0">
                <a:pos x="connsiteX20051" y="connsiteY20051"/>
              </a:cxn>
              <a:cxn ang="0">
                <a:pos x="connsiteX20052" y="connsiteY20052"/>
              </a:cxn>
              <a:cxn ang="0">
                <a:pos x="connsiteX20053" y="connsiteY20053"/>
              </a:cxn>
              <a:cxn ang="0">
                <a:pos x="connsiteX20054" y="connsiteY20054"/>
              </a:cxn>
              <a:cxn ang="0">
                <a:pos x="connsiteX20055" y="connsiteY20055"/>
              </a:cxn>
              <a:cxn ang="0">
                <a:pos x="connsiteX20056" y="connsiteY20056"/>
              </a:cxn>
              <a:cxn ang="0">
                <a:pos x="connsiteX20057" y="connsiteY20057"/>
              </a:cxn>
              <a:cxn ang="0">
                <a:pos x="connsiteX20058" y="connsiteY20058"/>
              </a:cxn>
              <a:cxn ang="0">
                <a:pos x="connsiteX20059" y="connsiteY20059"/>
              </a:cxn>
              <a:cxn ang="0">
                <a:pos x="connsiteX20060" y="connsiteY20060"/>
              </a:cxn>
              <a:cxn ang="0">
                <a:pos x="connsiteX20061" y="connsiteY20061"/>
              </a:cxn>
              <a:cxn ang="0">
                <a:pos x="connsiteX20062" y="connsiteY20062"/>
              </a:cxn>
              <a:cxn ang="0">
                <a:pos x="connsiteX20063" y="connsiteY20063"/>
              </a:cxn>
              <a:cxn ang="0">
                <a:pos x="connsiteX20064" y="connsiteY20064"/>
              </a:cxn>
              <a:cxn ang="0">
                <a:pos x="connsiteX20065" y="connsiteY20065"/>
              </a:cxn>
              <a:cxn ang="0">
                <a:pos x="connsiteX20066" y="connsiteY20066"/>
              </a:cxn>
              <a:cxn ang="0">
                <a:pos x="connsiteX20067" y="connsiteY20067"/>
              </a:cxn>
              <a:cxn ang="0">
                <a:pos x="connsiteX20068" y="connsiteY20068"/>
              </a:cxn>
              <a:cxn ang="0">
                <a:pos x="connsiteX20069" y="connsiteY20069"/>
              </a:cxn>
              <a:cxn ang="0">
                <a:pos x="connsiteX20070" y="connsiteY20070"/>
              </a:cxn>
              <a:cxn ang="0">
                <a:pos x="connsiteX20071" y="connsiteY20071"/>
              </a:cxn>
              <a:cxn ang="0">
                <a:pos x="connsiteX20072" y="connsiteY20072"/>
              </a:cxn>
              <a:cxn ang="0">
                <a:pos x="connsiteX20073" y="connsiteY20073"/>
              </a:cxn>
              <a:cxn ang="0">
                <a:pos x="connsiteX20074" y="connsiteY20074"/>
              </a:cxn>
              <a:cxn ang="0">
                <a:pos x="connsiteX20075" y="connsiteY20075"/>
              </a:cxn>
              <a:cxn ang="0">
                <a:pos x="connsiteX20076" y="connsiteY20076"/>
              </a:cxn>
              <a:cxn ang="0">
                <a:pos x="connsiteX20077" y="connsiteY20077"/>
              </a:cxn>
              <a:cxn ang="0">
                <a:pos x="connsiteX20078" y="connsiteY20078"/>
              </a:cxn>
              <a:cxn ang="0">
                <a:pos x="connsiteX20079" y="connsiteY20079"/>
              </a:cxn>
              <a:cxn ang="0">
                <a:pos x="connsiteX20080" y="connsiteY20080"/>
              </a:cxn>
              <a:cxn ang="0">
                <a:pos x="connsiteX20081" y="connsiteY20081"/>
              </a:cxn>
              <a:cxn ang="0">
                <a:pos x="connsiteX20082" y="connsiteY20082"/>
              </a:cxn>
              <a:cxn ang="0">
                <a:pos x="connsiteX20083" y="connsiteY20083"/>
              </a:cxn>
              <a:cxn ang="0">
                <a:pos x="connsiteX20084" y="connsiteY20084"/>
              </a:cxn>
              <a:cxn ang="0">
                <a:pos x="connsiteX20085" y="connsiteY20085"/>
              </a:cxn>
              <a:cxn ang="0">
                <a:pos x="connsiteX20086" y="connsiteY20086"/>
              </a:cxn>
              <a:cxn ang="0">
                <a:pos x="connsiteX20087" y="connsiteY20087"/>
              </a:cxn>
              <a:cxn ang="0">
                <a:pos x="connsiteX20088" y="connsiteY20088"/>
              </a:cxn>
              <a:cxn ang="0">
                <a:pos x="connsiteX20089" y="connsiteY20089"/>
              </a:cxn>
              <a:cxn ang="0">
                <a:pos x="connsiteX20090" y="connsiteY20090"/>
              </a:cxn>
              <a:cxn ang="0">
                <a:pos x="connsiteX20091" y="connsiteY20091"/>
              </a:cxn>
              <a:cxn ang="0">
                <a:pos x="connsiteX20092" y="connsiteY20092"/>
              </a:cxn>
              <a:cxn ang="0">
                <a:pos x="connsiteX20093" y="connsiteY20093"/>
              </a:cxn>
              <a:cxn ang="0">
                <a:pos x="connsiteX20094" y="connsiteY20094"/>
              </a:cxn>
              <a:cxn ang="0">
                <a:pos x="connsiteX20095" y="connsiteY20095"/>
              </a:cxn>
              <a:cxn ang="0">
                <a:pos x="connsiteX20096" y="connsiteY20096"/>
              </a:cxn>
              <a:cxn ang="0">
                <a:pos x="connsiteX20097" y="connsiteY20097"/>
              </a:cxn>
              <a:cxn ang="0">
                <a:pos x="connsiteX20098" y="connsiteY20098"/>
              </a:cxn>
              <a:cxn ang="0">
                <a:pos x="connsiteX20099" y="connsiteY20099"/>
              </a:cxn>
              <a:cxn ang="0">
                <a:pos x="connsiteX20100" y="connsiteY20100"/>
              </a:cxn>
              <a:cxn ang="0">
                <a:pos x="connsiteX20101" y="connsiteY20101"/>
              </a:cxn>
              <a:cxn ang="0">
                <a:pos x="connsiteX20102" y="connsiteY20102"/>
              </a:cxn>
              <a:cxn ang="0">
                <a:pos x="connsiteX20103" y="connsiteY20103"/>
              </a:cxn>
              <a:cxn ang="0">
                <a:pos x="connsiteX20104" y="connsiteY20104"/>
              </a:cxn>
              <a:cxn ang="0">
                <a:pos x="connsiteX20105" y="connsiteY20105"/>
              </a:cxn>
              <a:cxn ang="0">
                <a:pos x="connsiteX20106" y="connsiteY20106"/>
              </a:cxn>
              <a:cxn ang="0">
                <a:pos x="connsiteX20107" y="connsiteY20107"/>
              </a:cxn>
              <a:cxn ang="0">
                <a:pos x="connsiteX20108" y="connsiteY20108"/>
              </a:cxn>
              <a:cxn ang="0">
                <a:pos x="connsiteX20109" y="connsiteY20109"/>
              </a:cxn>
              <a:cxn ang="0">
                <a:pos x="connsiteX20110" y="connsiteY20110"/>
              </a:cxn>
              <a:cxn ang="0">
                <a:pos x="connsiteX20111" y="connsiteY20111"/>
              </a:cxn>
              <a:cxn ang="0">
                <a:pos x="connsiteX20112" y="connsiteY20112"/>
              </a:cxn>
              <a:cxn ang="0">
                <a:pos x="connsiteX20113" y="connsiteY20113"/>
              </a:cxn>
              <a:cxn ang="0">
                <a:pos x="connsiteX20114" y="connsiteY20114"/>
              </a:cxn>
              <a:cxn ang="0">
                <a:pos x="connsiteX20115" y="connsiteY20115"/>
              </a:cxn>
              <a:cxn ang="0">
                <a:pos x="connsiteX20116" y="connsiteY20116"/>
              </a:cxn>
              <a:cxn ang="0">
                <a:pos x="connsiteX20117" y="connsiteY20117"/>
              </a:cxn>
              <a:cxn ang="0">
                <a:pos x="connsiteX20118" y="connsiteY20118"/>
              </a:cxn>
              <a:cxn ang="0">
                <a:pos x="connsiteX20119" y="connsiteY20119"/>
              </a:cxn>
              <a:cxn ang="0">
                <a:pos x="connsiteX20120" y="connsiteY20120"/>
              </a:cxn>
              <a:cxn ang="0">
                <a:pos x="connsiteX20121" y="connsiteY20121"/>
              </a:cxn>
              <a:cxn ang="0">
                <a:pos x="connsiteX20122" y="connsiteY20122"/>
              </a:cxn>
              <a:cxn ang="0">
                <a:pos x="connsiteX20123" y="connsiteY20123"/>
              </a:cxn>
              <a:cxn ang="0">
                <a:pos x="connsiteX20124" y="connsiteY20124"/>
              </a:cxn>
              <a:cxn ang="0">
                <a:pos x="connsiteX20125" y="connsiteY20125"/>
              </a:cxn>
              <a:cxn ang="0">
                <a:pos x="connsiteX20126" y="connsiteY20126"/>
              </a:cxn>
              <a:cxn ang="0">
                <a:pos x="connsiteX20127" y="connsiteY20127"/>
              </a:cxn>
              <a:cxn ang="0">
                <a:pos x="connsiteX20128" y="connsiteY20128"/>
              </a:cxn>
              <a:cxn ang="0">
                <a:pos x="connsiteX20129" y="connsiteY20129"/>
              </a:cxn>
              <a:cxn ang="0">
                <a:pos x="connsiteX20130" y="connsiteY20130"/>
              </a:cxn>
              <a:cxn ang="0">
                <a:pos x="connsiteX20131" y="connsiteY20131"/>
              </a:cxn>
              <a:cxn ang="0">
                <a:pos x="connsiteX20132" y="connsiteY20132"/>
              </a:cxn>
              <a:cxn ang="0">
                <a:pos x="connsiteX20133" y="connsiteY20133"/>
              </a:cxn>
              <a:cxn ang="0">
                <a:pos x="connsiteX20134" y="connsiteY20134"/>
              </a:cxn>
              <a:cxn ang="0">
                <a:pos x="connsiteX20135" y="connsiteY20135"/>
              </a:cxn>
              <a:cxn ang="0">
                <a:pos x="connsiteX20136" y="connsiteY20136"/>
              </a:cxn>
              <a:cxn ang="0">
                <a:pos x="connsiteX20137" y="connsiteY20137"/>
              </a:cxn>
              <a:cxn ang="0">
                <a:pos x="connsiteX20138" y="connsiteY20138"/>
              </a:cxn>
              <a:cxn ang="0">
                <a:pos x="connsiteX20139" y="connsiteY20139"/>
              </a:cxn>
              <a:cxn ang="0">
                <a:pos x="connsiteX20140" y="connsiteY20140"/>
              </a:cxn>
              <a:cxn ang="0">
                <a:pos x="connsiteX20141" y="connsiteY20141"/>
              </a:cxn>
              <a:cxn ang="0">
                <a:pos x="connsiteX20142" y="connsiteY20142"/>
              </a:cxn>
              <a:cxn ang="0">
                <a:pos x="connsiteX20143" y="connsiteY20143"/>
              </a:cxn>
              <a:cxn ang="0">
                <a:pos x="connsiteX20144" y="connsiteY20144"/>
              </a:cxn>
              <a:cxn ang="0">
                <a:pos x="connsiteX20145" y="connsiteY20145"/>
              </a:cxn>
              <a:cxn ang="0">
                <a:pos x="connsiteX20146" y="connsiteY20146"/>
              </a:cxn>
              <a:cxn ang="0">
                <a:pos x="connsiteX20147" y="connsiteY20147"/>
              </a:cxn>
              <a:cxn ang="0">
                <a:pos x="connsiteX20148" y="connsiteY20148"/>
              </a:cxn>
              <a:cxn ang="0">
                <a:pos x="connsiteX20149" y="connsiteY20149"/>
              </a:cxn>
              <a:cxn ang="0">
                <a:pos x="connsiteX20150" y="connsiteY20150"/>
              </a:cxn>
              <a:cxn ang="0">
                <a:pos x="connsiteX20151" y="connsiteY20151"/>
              </a:cxn>
              <a:cxn ang="0">
                <a:pos x="connsiteX20152" y="connsiteY20152"/>
              </a:cxn>
              <a:cxn ang="0">
                <a:pos x="connsiteX20153" y="connsiteY20153"/>
              </a:cxn>
              <a:cxn ang="0">
                <a:pos x="connsiteX20154" y="connsiteY20154"/>
              </a:cxn>
              <a:cxn ang="0">
                <a:pos x="connsiteX20155" y="connsiteY20155"/>
              </a:cxn>
              <a:cxn ang="0">
                <a:pos x="connsiteX20156" y="connsiteY20156"/>
              </a:cxn>
              <a:cxn ang="0">
                <a:pos x="connsiteX20157" y="connsiteY20157"/>
              </a:cxn>
              <a:cxn ang="0">
                <a:pos x="connsiteX20158" y="connsiteY20158"/>
              </a:cxn>
              <a:cxn ang="0">
                <a:pos x="connsiteX20159" y="connsiteY20159"/>
              </a:cxn>
              <a:cxn ang="0">
                <a:pos x="connsiteX20160" y="connsiteY20160"/>
              </a:cxn>
              <a:cxn ang="0">
                <a:pos x="connsiteX20161" y="connsiteY20161"/>
              </a:cxn>
              <a:cxn ang="0">
                <a:pos x="connsiteX20162" y="connsiteY20162"/>
              </a:cxn>
              <a:cxn ang="0">
                <a:pos x="connsiteX20163" y="connsiteY20163"/>
              </a:cxn>
              <a:cxn ang="0">
                <a:pos x="connsiteX20164" y="connsiteY20164"/>
              </a:cxn>
              <a:cxn ang="0">
                <a:pos x="connsiteX20165" y="connsiteY20165"/>
              </a:cxn>
              <a:cxn ang="0">
                <a:pos x="connsiteX20166" y="connsiteY20166"/>
              </a:cxn>
              <a:cxn ang="0">
                <a:pos x="connsiteX20167" y="connsiteY20167"/>
              </a:cxn>
              <a:cxn ang="0">
                <a:pos x="connsiteX20168" y="connsiteY20168"/>
              </a:cxn>
              <a:cxn ang="0">
                <a:pos x="connsiteX20169" y="connsiteY20169"/>
              </a:cxn>
              <a:cxn ang="0">
                <a:pos x="connsiteX20170" y="connsiteY20170"/>
              </a:cxn>
              <a:cxn ang="0">
                <a:pos x="connsiteX20171" y="connsiteY20171"/>
              </a:cxn>
              <a:cxn ang="0">
                <a:pos x="connsiteX20172" y="connsiteY20172"/>
              </a:cxn>
              <a:cxn ang="0">
                <a:pos x="connsiteX20173" y="connsiteY20173"/>
              </a:cxn>
              <a:cxn ang="0">
                <a:pos x="connsiteX20174" y="connsiteY20174"/>
              </a:cxn>
              <a:cxn ang="0">
                <a:pos x="connsiteX20175" y="connsiteY20175"/>
              </a:cxn>
              <a:cxn ang="0">
                <a:pos x="connsiteX20176" y="connsiteY20176"/>
              </a:cxn>
              <a:cxn ang="0">
                <a:pos x="connsiteX20177" y="connsiteY20177"/>
              </a:cxn>
              <a:cxn ang="0">
                <a:pos x="connsiteX20178" y="connsiteY20178"/>
              </a:cxn>
              <a:cxn ang="0">
                <a:pos x="connsiteX20179" y="connsiteY20179"/>
              </a:cxn>
              <a:cxn ang="0">
                <a:pos x="connsiteX20180" y="connsiteY20180"/>
              </a:cxn>
              <a:cxn ang="0">
                <a:pos x="connsiteX20181" y="connsiteY20181"/>
              </a:cxn>
              <a:cxn ang="0">
                <a:pos x="connsiteX20182" y="connsiteY20182"/>
              </a:cxn>
              <a:cxn ang="0">
                <a:pos x="connsiteX20183" y="connsiteY20183"/>
              </a:cxn>
              <a:cxn ang="0">
                <a:pos x="connsiteX20184" y="connsiteY20184"/>
              </a:cxn>
              <a:cxn ang="0">
                <a:pos x="connsiteX20185" y="connsiteY20185"/>
              </a:cxn>
              <a:cxn ang="0">
                <a:pos x="connsiteX20186" y="connsiteY20186"/>
              </a:cxn>
              <a:cxn ang="0">
                <a:pos x="connsiteX20187" y="connsiteY20187"/>
              </a:cxn>
              <a:cxn ang="0">
                <a:pos x="connsiteX20188" y="connsiteY20188"/>
              </a:cxn>
              <a:cxn ang="0">
                <a:pos x="connsiteX20189" y="connsiteY20189"/>
              </a:cxn>
              <a:cxn ang="0">
                <a:pos x="connsiteX20190" y="connsiteY20190"/>
              </a:cxn>
              <a:cxn ang="0">
                <a:pos x="connsiteX20191" y="connsiteY20191"/>
              </a:cxn>
              <a:cxn ang="0">
                <a:pos x="connsiteX20192" y="connsiteY20192"/>
              </a:cxn>
              <a:cxn ang="0">
                <a:pos x="connsiteX20193" y="connsiteY20193"/>
              </a:cxn>
              <a:cxn ang="0">
                <a:pos x="connsiteX20194" y="connsiteY20194"/>
              </a:cxn>
              <a:cxn ang="0">
                <a:pos x="connsiteX20195" y="connsiteY20195"/>
              </a:cxn>
              <a:cxn ang="0">
                <a:pos x="connsiteX20196" y="connsiteY20196"/>
              </a:cxn>
              <a:cxn ang="0">
                <a:pos x="connsiteX20197" y="connsiteY20197"/>
              </a:cxn>
              <a:cxn ang="0">
                <a:pos x="connsiteX20198" y="connsiteY20198"/>
              </a:cxn>
              <a:cxn ang="0">
                <a:pos x="connsiteX20199" y="connsiteY20199"/>
              </a:cxn>
              <a:cxn ang="0">
                <a:pos x="connsiteX20200" y="connsiteY20200"/>
              </a:cxn>
              <a:cxn ang="0">
                <a:pos x="connsiteX20201" y="connsiteY20201"/>
              </a:cxn>
              <a:cxn ang="0">
                <a:pos x="connsiteX20202" y="connsiteY20202"/>
              </a:cxn>
              <a:cxn ang="0">
                <a:pos x="connsiteX20203" y="connsiteY20203"/>
              </a:cxn>
              <a:cxn ang="0">
                <a:pos x="connsiteX20204" y="connsiteY20204"/>
              </a:cxn>
              <a:cxn ang="0">
                <a:pos x="connsiteX20205" y="connsiteY20205"/>
              </a:cxn>
              <a:cxn ang="0">
                <a:pos x="connsiteX20206" y="connsiteY20206"/>
              </a:cxn>
              <a:cxn ang="0">
                <a:pos x="connsiteX20207" y="connsiteY20207"/>
              </a:cxn>
              <a:cxn ang="0">
                <a:pos x="connsiteX20208" y="connsiteY20208"/>
              </a:cxn>
              <a:cxn ang="0">
                <a:pos x="connsiteX20209" y="connsiteY20209"/>
              </a:cxn>
              <a:cxn ang="0">
                <a:pos x="connsiteX20210" y="connsiteY20210"/>
              </a:cxn>
              <a:cxn ang="0">
                <a:pos x="connsiteX20211" y="connsiteY20211"/>
              </a:cxn>
              <a:cxn ang="0">
                <a:pos x="connsiteX20212" y="connsiteY20212"/>
              </a:cxn>
              <a:cxn ang="0">
                <a:pos x="connsiteX20213" y="connsiteY20213"/>
              </a:cxn>
              <a:cxn ang="0">
                <a:pos x="connsiteX20214" y="connsiteY20214"/>
              </a:cxn>
              <a:cxn ang="0">
                <a:pos x="connsiteX20215" y="connsiteY20215"/>
              </a:cxn>
              <a:cxn ang="0">
                <a:pos x="connsiteX20216" y="connsiteY20216"/>
              </a:cxn>
              <a:cxn ang="0">
                <a:pos x="connsiteX20217" y="connsiteY20217"/>
              </a:cxn>
              <a:cxn ang="0">
                <a:pos x="connsiteX20218" y="connsiteY20218"/>
              </a:cxn>
              <a:cxn ang="0">
                <a:pos x="connsiteX20219" y="connsiteY20219"/>
              </a:cxn>
              <a:cxn ang="0">
                <a:pos x="connsiteX20220" y="connsiteY20220"/>
              </a:cxn>
              <a:cxn ang="0">
                <a:pos x="connsiteX20221" y="connsiteY20221"/>
              </a:cxn>
              <a:cxn ang="0">
                <a:pos x="connsiteX20222" y="connsiteY20222"/>
              </a:cxn>
              <a:cxn ang="0">
                <a:pos x="connsiteX20223" y="connsiteY20223"/>
              </a:cxn>
              <a:cxn ang="0">
                <a:pos x="connsiteX20224" y="connsiteY20224"/>
              </a:cxn>
              <a:cxn ang="0">
                <a:pos x="connsiteX20225" y="connsiteY20225"/>
              </a:cxn>
              <a:cxn ang="0">
                <a:pos x="connsiteX20226" y="connsiteY20226"/>
              </a:cxn>
              <a:cxn ang="0">
                <a:pos x="connsiteX20227" y="connsiteY20227"/>
              </a:cxn>
              <a:cxn ang="0">
                <a:pos x="connsiteX20228" y="connsiteY20228"/>
              </a:cxn>
              <a:cxn ang="0">
                <a:pos x="connsiteX20229" y="connsiteY20229"/>
              </a:cxn>
              <a:cxn ang="0">
                <a:pos x="connsiteX20230" y="connsiteY20230"/>
              </a:cxn>
              <a:cxn ang="0">
                <a:pos x="connsiteX20231" y="connsiteY20231"/>
              </a:cxn>
              <a:cxn ang="0">
                <a:pos x="connsiteX20232" y="connsiteY20232"/>
              </a:cxn>
              <a:cxn ang="0">
                <a:pos x="connsiteX20233" y="connsiteY20233"/>
              </a:cxn>
              <a:cxn ang="0">
                <a:pos x="connsiteX20234" y="connsiteY20234"/>
              </a:cxn>
              <a:cxn ang="0">
                <a:pos x="connsiteX20235" y="connsiteY20235"/>
              </a:cxn>
              <a:cxn ang="0">
                <a:pos x="connsiteX20236" y="connsiteY20236"/>
              </a:cxn>
              <a:cxn ang="0">
                <a:pos x="connsiteX20237" y="connsiteY20237"/>
              </a:cxn>
              <a:cxn ang="0">
                <a:pos x="connsiteX20238" y="connsiteY20238"/>
              </a:cxn>
              <a:cxn ang="0">
                <a:pos x="connsiteX20239" y="connsiteY20239"/>
              </a:cxn>
              <a:cxn ang="0">
                <a:pos x="connsiteX20240" y="connsiteY20240"/>
              </a:cxn>
              <a:cxn ang="0">
                <a:pos x="connsiteX20241" y="connsiteY20241"/>
              </a:cxn>
              <a:cxn ang="0">
                <a:pos x="connsiteX20242" y="connsiteY20242"/>
              </a:cxn>
              <a:cxn ang="0">
                <a:pos x="connsiteX20243" y="connsiteY20243"/>
              </a:cxn>
              <a:cxn ang="0">
                <a:pos x="connsiteX20244" y="connsiteY20244"/>
              </a:cxn>
              <a:cxn ang="0">
                <a:pos x="connsiteX20245" y="connsiteY20245"/>
              </a:cxn>
              <a:cxn ang="0">
                <a:pos x="connsiteX20246" y="connsiteY20246"/>
              </a:cxn>
              <a:cxn ang="0">
                <a:pos x="connsiteX20247" y="connsiteY20247"/>
              </a:cxn>
              <a:cxn ang="0">
                <a:pos x="connsiteX20248" y="connsiteY20248"/>
              </a:cxn>
              <a:cxn ang="0">
                <a:pos x="connsiteX20249" y="connsiteY20249"/>
              </a:cxn>
              <a:cxn ang="0">
                <a:pos x="connsiteX20250" y="connsiteY20250"/>
              </a:cxn>
              <a:cxn ang="0">
                <a:pos x="connsiteX20251" y="connsiteY20251"/>
              </a:cxn>
              <a:cxn ang="0">
                <a:pos x="connsiteX20252" y="connsiteY20252"/>
              </a:cxn>
              <a:cxn ang="0">
                <a:pos x="connsiteX20253" y="connsiteY20253"/>
              </a:cxn>
              <a:cxn ang="0">
                <a:pos x="connsiteX20254" y="connsiteY20254"/>
              </a:cxn>
              <a:cxn ang="0">
                <a:pos x="connsiteX20255" y="connsiteY20255"/>
              </a:cxn>
              <a:cxn ang="0">
                <a:pos x="connsiteX20256" y="connsiteY20256"/>
              </a:cxn>
              <a:cxn ang="0">
                <a:pos x="connsiteX20257" y="connsiteY20257"/>
              </a:cxn>
              <a:cxn ang="0">
                <a:pos x="connsiteX20258" y="connsiteY20258"/>
              </a:cxn>
              <a:cxn ang="0">
                <a:pos x="connsiteX20259" y="connsiteY20259"/>
              </a:cxn>
              <a:cxn ang="0">
                <a:pos x="connsiteX20260" y="connsiteY20260"/>
              </a:cxn>
              <a:cxn ang="0">
                <a:pos x="connsiteX20261" y="connsiteY20261"/>
              </a:cxn>
              <a:cxn ang="0">
                <a:pos x="connsiteX20262" y="connsiteY20262"/>
              </a:cxn>
              <a:cxn ang="0">
                <a:pos x="connsiteX20263" y="connsiteY20263"/>
              </a:cxn>
              <a:cxn ang="0">
                <a:pos x="connsiteX20264" y="connsiteY20264"/>
              </a:cxn>
              <a:cxn ang="0">
                <a:pos x="connsiteX20265" y="connsiteY20265"/>
              </a:cxn>
              <a:cxn ang="0">
                <a:pos x="connsiteX20266" y="connsiteY20266"/>
              </a:cxn>
              <a:cxn ang="0">
                <a:pos x="connsiteX20267" y="connsiteY20267"/>
              </a:cxn>
              <a:cxn ang="0">
                <a:pos x="connsiteX20268" y="connsiteY20268"/>
              </a:cxn>
              <a:cxn ang="0">
                <a:pos x="connsiteX20269" y="connsiteY20269"/>
              </a:cxn>
              <a:cxn ang="0">
                <a:pos x="connsiteX20270" y="connsiteY20270"/>
              </a:cxn>
              <a:cxn ang="0">
                <a:pos x="connsiteX20271" y="connsiteY20271"/>
              </a:cxn>
              <a:cxn ang="0">
                <a:pos x="connsiteX20272" y="connsiteY20272"/>
              </a:cxn>
              <a:cxn ang="0">
                <a:pos x="connsiteX20273" y="connsiteY20273"/>
              </a:cxn>
              <a:cxn ang="0">
                <a:pos x="connsiteX20274" y="connsiteY20274"/>
              </a:cxn>
              <a:cxn ang="0">
                <a:pos x="connsiteX20275" y="connsiteY20275"/>
              </a:cxn>
              <a:cxn ang="0">
                <a:pos x="connsiteX20276" y="connsiteY20276"/>
              </a:cxn>
              <a:cxn ang="0">
                <a:pos x="connsiteX20277" y="connsiteY20277"/>
              </a:cxn>
              <a:cxn ang="0">
                <a:pos x="connsiteX20278" y="connsiteY20278"/>
              </a:cxn>
              <a:cxn ang="0">
                <a:pos x="connsiteX20279" y="connsiteY20279"/>
              </a:cxn>
              <a:cxn ang="0">
                <a:pos x="connsiteX20280" y="connsiteY20280"/>
              </a:cxn>
              <a:cxn ang="0">
                <a:pos x="connsiteX20281" y="connsiteY20281"/>
              </a:cxn>
              <a:cxn ang="0">
                <a:pos x="connsiteX20282" y="connsiteY20282"/>
              </a:cxn>
              <a:cxn ang="0">
                <a:pos x="connsiteX20283" y="connsiteY20283"/>
              </a:cxn>
              <a:cxn ang="0">
                <a:pos x="connsiteX20284" y="connsiteY20284"/>
              </a:cxn>
              <a:cxn ang="0">
                <a:pos x="connsiteX20285" y="connsiteY20285"/>
              </a:cxn>
              <a:cxn ang="0">
                <a:pos x="connsiteX20286" y="connsiteY20286"/>
              </a:cxn>
              <a:cxn ang="0">
                <a:pos x="connsiteX20287" y="connsiteY20287"/>
              </a:cxn>
              <a:cxn ang="0">
                <a:pos x="connsiteX20288" y="connsiteY20288"/>
              </a:cxn>
              <a:cxn ang="0">
                <a:pos x="connsiteX20289" y="connsiteY20289"/>
              </a:cxn>
              <a:cxn ang="0">
                <a:pos x="connsiteX20290" y="connsiteY20290"/>
              </a:cxn>
              <a:cxn ang="0">
                <a:pos x="connsiteX20291" y="connsiteY20291"/>
              </a:cxn>
              <a:cxn ang="0">
                <a:pos x="connsiteX20292" y="connsiteY20292"/>
              </a:cxn>
              <a:cxn ang="0">
                <a:pos x="connsiteX20293" y="connsiteY20293"/>
              </a:cxn>
              <a:cxn ang="0">
                <a:pos x="connsiteX20294" y="connsiteY20294"/>
              </a:cxn>
              <a:cxn ang="0">
                <a:pos x="connsiteX20295" y="connsiteY20295"/>
              </a:cxn>
              <a:cxn ang="0">
                <a:pos x="connsiteX20296" y="connsiteY20296"/>
              </a:cxn>
              <a:cxn ang="0">
                <a:pos x="connsiteX20297" y="connsiteY20297"/>
              </a:cxn>
              <a:cxn ang="0">
                <a:pos x="connsiteX20298" y="connsiteY20298"/>
              </a:cxn>
              <a:cxn ang="0">
                <a:pos x="connsiteX20299" y="connsiteY20299"/>
              </a:cxn>
              <a:cxn ang="0">
                <a:pos x="connsiteX20300" y="connsiteY20300"/>
              </a:cxn>
              <a:cxn ang="0">
                <a:pos x="connsiteX20301" y="connsiteY20301"/>
              </a:cxn>
              <a:cxn ang="0">
                <a:pos x="connsiteX20302" y="connsiteY20302"/>
              </a:cxn>
              <a:cxn ang="0">
                <a:pos x="connsiteX20303" y="connsiteY20303"/>
              </a:cxn>
              <a:cxn ang="0">
                <a:pos x="connsiteX20304" y="connsiteY20304"/>
              </a:cxn>
              <a:cxn ang="0">
                <a:pos x="connsiteX20305" y="connsiteY20305"/>
              </a:cxn>
              <a:cxn ang="0">
                <a:pos x="connsiteX20306" y="connsiteY20306"/>
              </a:cxn>
              <a:cxn ang="0">
                <a:pos x="connsiteX20307" y="connsiteY20307"/>
              </a:cxn>
              <a:cxn ang="0">
                <a:pos x="connsiteX20308" y="connsiteY20308"/>
              </a:cxn>
              <a:cxn ang="0">
                <a:pos x="connsiteX20309" y="connsiteY20309"/>
              </a:cxn>
              <a:cxn ang="0">
                <a:pos x="connsiteX20310" y="connsiteY20310"/>
              </a:cxn>
              <a:cxn ang="0">
                <a:pos x="connsiteX20311" y="connsiteY20311"/>
              </a:cxn>
              <a:cxn ang="0">
                <a:pos x="connsiteX20312" y="connsiteY20312"/>
              </a:cxn>
              <a:cxn ang="0">
                <a:pos x="connsiteX20313" y="connsiteY20313"/>
              </a:cxn>
              <a:cxn ang="0">
                <a:pos x="connsiteX20314" y="connsiteY20314"/>
              </a:cxn>
              <a:cxn ang="0">
                <a:pos x="connsiteX20315" y="connsiteY20315"/>
              </a:cxn>
              <a:cxn ang="0">
                <a:pos x="connsiteX20316" y="connsiteY20316"/>
              </a:cxn>
              <a:cxn ang="0">
                <a:pos x="connsiteX20317" y="connsiteY20317"/>
              </a:cxn>
              <a:cxn ang="0">
                <a:pos x="connsiteX20318" y="connsiteY20318"/>
              </a:cxn>
              <a:cxn ang="0">
                <a:pos x="connsiteX20319" y="connsiteY20319"/>
              </a:cxn>
              <a:cxn ang="0">
                <a:pos x="connsiteX20320" y="connsiteY20320"/>
              </a:cxn>
              <a:cxn ang="0">
                <a:pos x="connsiteX20321" y="connsiteY20321"/>
              </a:cxn>
              <a:cxn ang="0">
                <a:pos x="connsiteX20322" y="connsiteY20322"/>
              </a:cxn>
              <a:cxn ang="0">
                <a:pos x="connsiteX20323" y="connsiteY20323"/>
              </a:cxn>
              <a:cxn ang="0">
                <a:pos x="connsiteX20324" y="connsiteY20324"/>
              </a:cxn>
              <a:cxn ang="0">
                <a:pos x="connsiteX20325" y="connsiteY20325"/>
              </a:cxn>
              <a:cxn ang="0">
                <a:pos x="connsiteX20326" y="connsiteY20326"/>
              </a:cxn>
              <a:cxn ang="0">
                <a:pos x="connsiteX20327" y="connsiteY20327"/>
              </a:cxn>
              <a:cxn ang="0">
                <a:pos x="connsiteX20328" y="connsiteY20328"/>
              </a:cxn>
              <a:cxn ang="0">
                <a:pos x="connsiteX20329" y="connsiteY20329"/>
              </a:cxn>
              <a:cxn ang="0">
                <a:pos x="connsiteX20330" y="connsiteY20330"/>
              </a:cxn>
              <a:cxn ang="0">
                <a:pos x="connsiteX20331" y="connsiteY20331"/>
              </a:cxn>
              <a:cxn ang="0">
                <a:pos x="connsiteX20332" y="connsiteY20332"/>
              </a:cxn>
              <a:cxn ang="0">
                <a:pos x="connsiteX20333" y="connsiteY20333"/>
              </a:cxn>
              <a:cxn ang="0">
                <a:pos x="connsiteX20334" y="connsiteY20334"/>
              </a:cxn>
              <a:cxn ang="0">
                <a:pos x="connsiteX20335" y="connsiteY20335"/>
              </a:cxn>
              <a:cxn ang="0">
                <a:pos x="connsiteX20336" y="connsiteY20336"/>
              </a:cxn>
              <a:cxn ang="0">
                <a:pos x="connsiteX20337" y="connsiteY20337"/>
              </a:cxn>
              <a:cxn ang="0">
                <a:pos x="connsiteX20338" y="connsiteY20338"/>
              </a:cxn>
              <a:cxn ang="0">
                <a:pos x="connsiteX20339" y="connsiteY20339"/>
              </a:cxn>
              <a:cxn ang="0">
                <a:pos x="connsiteX20340" y="connsiteY20340"/>
              </a:cxn>
              <a:cxn ang="0">
                <a:pos x="connsiteX20341" y="connsiteY20341"/>
              </a:cxn>
              <a:cxn ang="0">
                <a:pos x="connsiteX20342" y="connsiteY20342"/>
              </a:cxn>
              <a:cxn ang="0">
                <a:pos x="connsiteX20343" y="connsiteY20343"/>
              </a:cxn>
              <a:cxn ang="0">
                <a:pos x="connsiteX20344" y="connsiteY20344"/>
              </a:cxn>
              <a:cxn ang="0">
                <a:pos x="connsiteX20345" y="connsiteY20345"/>
              </a:cxn>
              <a:cxn ang="0">
                <a:pos x="connsiteX20346" y="connsiteY20346"/>
              </a:cxn>
              <a:cxn ang="0">
                <a:pos x="connsiteX20347" y="connsiteY20347"/>
              </a:cxn>
              <a:cxn ang="0">
                <a:pos x="connsiteX20348" y="connsiteY20348"/>
              </a:cxn>
              <a:cxn ang="0">
                <a:pos x="connsiteX20349" y="connsiteY20349"/>
              </a:cxn>
              <a:cxn ang="0">
                <a:pos x="connsiteX20350" y="connsiteY20350"/>
              </a:cxn>
              <a:cxn ang="0">
                <a:pos x="connsiteX20351" y="connsiteY20351"/>
              </a:cxn>
              <a:cxn ang="0">
                <a:pos x="connsiteX20352" y="connsiteY20352"/>
              </a:cxn>
              <a:cxn ang="0">
                <a:pos x="connsiteX20353" y="connsiteY20353"/>
              </a:cxn>
              <a:cxn ang="0">
                <a:pos x="connsiteX20354" y="connsiteY20354"/>
              </a:cxn>
              <a:cxn ang="0">
                <a:pos x="connsiteX20355" y="connsiteY20355"/>
              </a:cxn>
              <a:cxn ang="0">
                <a:pos x="connsiteX20356" y="connsiteY20356"/>
              </a:cxn>
              <a:cxn ang="0">
                <a:pos x="connsiteX20357" y="connsiteY20357"/>
              </a:cxn>
              <a:cxn ang="0">
                <a:pos x="connsiteX20358" y="connsiteY20358"/>
              </a:cxn>
              <a:cxn ang="0">
                <a:pos x="connsiteX20359" y="connsiteY20359"/>
              </a:cxn>
              <a:cxn ang="0">
                <a:pos x="connsiteX20360" y="connsiteY20360"/>
              </a:cxn>
              <a:cxn ang="0">
                <a:pos x="connsiteX20361" y="connsiteY20361"/>
              </a:cxn>
              <a:cxn ang="0">
                <a:pos x="connsiteX20362" y="connsiteY20362"/>
              </a:cxn>
              <a:cxn ang="0">
                <a:pos x="connsiteX20363" y="connsiteY20363"/>
              </a:cxn>
              <a:cxn ang="0">
                <a:pos x="connsiteX20364" y="connsiteY20364"/>
              </a:cxn>
              <a:cxn ang="0">
                <a:pos x="connsiteX20365" y="connsiteY20365"/>
              </a:cxn>
              <a:cxn ang="0">
                <a:pos x="connsiteX20366" y="connsiteY20366"/>
              </a:cxn>
              <a:cxn ang="0">
                <a:pos x="connsiteX20367" y="connsiteY20367"/>
              </a:cxn>
              <a:cxn ang="0">
                <a:pos x="connsiteX20368" y="connsiteY20368"/>
              </a:cxn>
              <a:cxn ang="0">
                <a:pos x="connsiteX20369" y="connsiteY20369"/>
              </a:cxn>
              <a:cxn ang="0">
                <a:pos x="connsiteX20370" y="connsiteY20370"/>
              </a:cxn>
              <a:cxn ang="0">
                <a:pos x="connsiteX20371" y="connsiteY20371"/>
              </a:cxn>
              <a:cxn ang="0">
                <a:pos x="connsiteX20372" y="connsiteY20372"/>
              </a:cxn>
              <a:cxn ang="0">
                <a:pos x="connsiteX20373" y="connsiteY20373"/>
              </a:cxn>
              <a:cxn ang="0">
                <a:pos x="connsiteX20374" y="connsiteY20374"/>
              </a:cxn>
              <a:cxn ang="0">
                <a:pos x="connsiteX20375" y="connsiteY20375"/>
              </a:cxn>
              <a:cxn ang="0">
                <a:pos x="connsiteX20376" y="connsiteY20376"/>
              </a:cxn>
              <a:cxn ang="0">
                <a:pos x="connsiteX20377" y="connsiteY20377"/>
              </a:cxn>
              <a:cxn ang="0">
                <a:pos x="connsiteX20378" y="connsiteY20378"/>
              </a:cxn>
              <a:cxn ang="0">
                <a:pos x="connsiteX20379" y="connsiteY20379"/>
              </a:cxn>
              <a:cxn ang="0">
                <a:pos x="connsiteX20380" y="connsiteY20380"/>
              </a:cxn>
              <a:cxn ang="0">
                <a:pos x="connsiteX20381" y="connsiteY20381"/>
              </a:cxn>
              <a:cxn ang="0">
                <a:pos x="connsiteX20382" y="connsiteY20382"/>
              </a:cxn>
              <a:cxn ang="0">
                <a:pos x="connsiteX20383" y="connsiteY20383"/>
              </a:cxn>
              <a:cxn ang="0">
                <a:pos x="connsiteX20384" y="connsiteY20384"/>
              </a:cxn>
              <a:cxn ang="0">
                <a:pos x="connsiteX20385" y="connsiteY20385"/>
              </a:cxn>
              <a:cxn ang="0">
                <a:pos x="connsiteX20386" y="connsiteY20386"/>
              </a:cxn>
              <a:cxn ang="0">
                <a:pos x="connsiteX20387" y="connsiteY20387"/>
              </a:cxn>
              <a:cxn ang="0">
                <a:pos x="connsiteX20388" y="connsiteY20388"/>
              </a:cxn>
              <a:cxn ang="0">
                <a:pos x="connsiteX20389" y="connsiteY20389"/>
              </a:cxn>
              <a:cxn ang="0">
                <a:pos x="connsiteX20390" y="connsiteY20390"/>
              </a:cxn>
              <a:cxn ang="0">
                <a:pos x="connsiteX20391" y="connsiteY20391"/>
              </a:cxn>
              <a:cxn ang="0">
                <a:pos x="connsiteX20392" y="connsiteY20392"/>
              </a:cxn>
              <a:cxn ang="0">
                <a:pos x="connsiteX20393" y="connsiteY20393"/>
              </a:cxn>
              <a:cxn ang="0">
                <a:pos x="connsiteX20394" y="connsiteY20394"/>
              </a:cxn>
              <a:cxn ang="0">
                <a:pos x="connsiteX20395" y="connsiteY20395"/>
              </a:cxn>
              <a:cxn ang="0">
                <a:pos x="connsiteX20396" y="connsiteY20396"/>
              </a:cxn>
              <a:cxn ang="0">
                <a:pos x="connsiteX20397" y="connsiteY20397"/>
              </a:cxn>
              <a:cxn ang="0">
                <a:pos x="connsiteX20398" y="connsiteY20398"/>
              </a:cxn>
              <a:cxn ang="0">
                <a:pos x="connsiteX20399" y="connsiteY20399"/>
              </a:cxn>
              <a:cxn ang="0">
                <a:pos x="connsiteX20400" y="connsiteY20400"/>
              </a:cxn>
              <a:cxn ang="0">
                <a:pos x="connsiteX20401" y="connsiteY20401"/>
              </a:cxn>
              <a:cxn ang="0">
                <a:pos x="connsiteX20402" y="connsiteY20402"/>
              </a:cxn>
              <a:cxn ang="0">
                <a:pos x="connsiteX20403" y="connsiteY20403"/>
              </a:cxn>
              <a:cxn ang="0">
                <a:pos x="connsiteX20404" y="connsiteY20404"/>
              </a:cxn>
              <a:cxn ang="0">
                <a:pos x="connsiteX20405" y="connsiteY20405"/>
              </a:cxn>
              <a:cxn ang="0">
                <a:pos x="connsiteX20406" y="connsiteY20406"/>
              </a:cxn>
              <a:cxn ang="0">
                <a:pos x="connsiteX20407" y="connsiteY20407"/>
              </a:cxn>
              <a:cxn ang="0">
                <a:pos x="connsiteX20408" y="connsiteY20408"/>
              </a:cxn>
              <a:cxn ang="0">
                <a:pos x="connsiteX20409" y="connsiteY20409"/>
              </a:cxn>
              <a:cxn ang="0">
                <a:pos x="connsiteX20410" y="connsiteY20410"/>
              </a:cxn>
              <a:cxn ang="0">
                <a:pos x="connsiteX20411" y="connsiteY20411"/>
              </a:cxn>
              <a:cxn ang="0">
                <a:pos x="connsiteX20412" y="connsiteY20412"/>
              </a:cxn>
              <a:cxn ang="0">
                <a:pos x="connsiteX20413" y="connsiteY20413"/>
              </a:cxn>
              <a:cxn ang="0">
                <a:pos x="connsiteX20414" y="connsiteY20414"/>
              </a:cxn>
              <a:cxn ang="0">
                <a:pos x="connsiteX20415" y="connsiteY20415"/>
              </a:cxn>
              <a:cxn ang="0">
                <a:pos x="connsiteX20416" y="connsiteY20416"/>
              </a:cxn>
              <a:cxn ang="0">
                <a:pos x="connsiteX20417" y="connsiteY20417"/>
              </a:cxn>
              <a:cxn ang="0">
                <a:pos x="connsiteX20418" y="connsiteY20418"/>
              </a:cxn>
              <a:cxn ang="0">
                <a:pos x="connsiteX20419" y="connsiteY20419"/>
              </a:cxn>
              <a:cxn ang="0">
                <a:pos x="connsiteX20420" y="connsiteY20420"/>
              </a:cxn>
              <a:cxn ang="0">
                <a:pos x="connsiteX20421" y="connsiteY20421"/>
              </a:cxn>
              <a:cxn ang="0">
                <a:pos x="connsiteX20422" y="connsiteY20422"/>
              </a:cxn>
              <a:cxn ang="0">
                <a:pos x="connsiteX20423" y="connsiteY20423"/>
              </a:cxn>
              <a:cxn ang="0">
                <a:pos x="connsiteX20424" y="connsiteY20424"/>
              </a:cxn>
              <a:cxn ang="0">
                <a:pos x="connsiteX20425" y="connsiteY20425"/>
              </a:cxn>
              <a:cxn ang="0">
                <a:pos x="connsiteX20426" y="connsiteY20426"/>
              </a:cxn>
              <a:cxn ang="0">
                <a:pos x="connsiteX20427" y="connsiteY20427"/>
              </a:cxn>
              <a:cxn ang="0">
                <a:pos x="connsiteX20428" y="connsiteY20428"/>
              </a:cxn>
              <a:cxn ang="0">
                <a:pos x="connsiteX20429" y="connsiteY20429"/>
              </a:cxn>
              <a:cxn ang="0">
                <a:pos x="connsiteX20430" y="connsiteY20430"/>
              </a:cxn>
              <a:cxn ang="0">
                <a:pos x="connsiteX20431" y="connsiteY20431"/>
              </a:cxn>
              <a:cxn ang="0">
                <a:pos x="connsiteX20432" y="connsiteY20432"/>
              </a:cxn>
              <a:cxn ang="0">
                <a:pos x="connsiteX20433" y="connsiteY20433"/>
              </a:cxn>
              <a:cxn ang="0">
                <a:pos x="connsiteX20434" y="connsiteY20434"/>
              </a:cxn>
              <a:cxn ang="0">
                <a:pos x="connsiteX20435" y="connsiteY20435"/>
              </a:cxn>
              <a:cxn ang="0">
                <a:pos x="connsiteX20436" y="connsiteY20436"/>
              </a:cxn>
              <a:cxn ang="0">
                <a:pos x="connsiteX20437" y="connsiteY20437"/>
              </a:cxn>
              <a:cxn ang="0">
                <a:pos x="connsiteX20438" y="connsiteY20438"/>
              </a:cxn>
              <a:cxn ang="0">
                <a:pos x="connsiteX20439" y="connsiteY20439"/>
              </a:cxn>
              <a:cxn ang="0">
                <a:pos x="connsiteX20440" y="connsiteY20440"/>
              </a:cxn>
              <a:cxn ang="0">
                <a:pos x="connsiteX20441" y="connsiteY20441"/>
              </a:cxn>
              <a:cxn ang="0">
                <a:pos x="connsiteX20442" y="connsiteY20442"/>
              </a:cxn>
              <a:cxn ang="0">
                <a:pos x="connsiteX20443" y="connsiteY20443"/>
              </a:cxn>
              <a:cxn ang="0">
                <a:pos x="connsiteX20444" y="connsiteY20444"/>
              </a:cxn>
              <a:cxn ang="0">
                <a:pos x="connsiteX20445" y="connsiteY20445"/>
              </a:cxn>
              <a:cxn ang="0">
                <a:pos x="connsiteX20446" y="connsiteY20446"/>
              </a:cxn>
              <a:cxn ang="0">
                <a:pos x="connsiteX20447" y="connsiteY20447"/>
              </a:cxn>
              <a:cxn ang="0">
                <a:pos x="connsiteX20448" y="connsiteY20448"/>
              </a:cxn>
              <a:cxn ang="0">
                <a:pos x="connsiteX20449" y="connsiteY20449"/>
              </a:cxn>
              <a:cxn ang="0">
                <a:pos x="connsiteX20450" y="connsiteY20450"/>
              </a:cxn>
              <a:cxn ang="0">
                <a:pos x="connsiteX20451" y="connsiteY20451"/>
              </a:cxn>
              <a:cxn ang="0">
                <a:pos x="connsiteX20452" y="connsiteY20452"/>
              </a:cxn>
              <a:cxn ang="0">
                <a:pos x="connsiteX20453" y="connsiteY20453"/>
              </a:cxn>
              <a:cxn ang="0">
                <a:pos x="connsiteX20454" y="connsiteY20454"/>
              </a:cxn>
              <a:cxn ang="0">
                <a:pos x="connsiteX20455" y="connsiteY20455"/>
              </a:cxn>
              <a:cxn ang="0">
                <a:pos x="connsiteX20456" y="connsiteY20456"/>
              </a:cxn>
              <a:cxn ang="0">
                <a:pos x="connsiteX20457" y="connsiteY20457"/>
              </a:cxn>
              <a:cxn ang="0">
                <a:pos x="connsiteX20458" y="connsiteY20458"/>
              </a:cxn>
              <a:cxn ang="0">
                <a:pos x="connsiteX20459" y="connsiteY20459"/>
              </a:cxn>
              <a:cxn ang="0">
                <a:pos x="connsiteX20460" y="connsiteY20460"/>
              </a:cxn>
              <a:cxn ang="0">
                <a:pos x="connsiteX20461" y="connsiteY20461"/>
              </a:cxn>
              <a:cxn ang="0">
                <a:pos x="connsiteX20462" y="connsiteY20462"/>
              </a:cxn>
              <a:cxn ang="0">
                <a:pos x="connsiteX20463" y="connsiteY20463"/>
              </a:cxn>
              <a:cxn ang="0">
                <a:pos x="connsiteX20464" y="connsiteY20464"/>
              </a:cxn>
              <a:cxn ang="0">
                <a:pos x="connsiteX20465" y="connsiteY20465"/>
              </a:cxn>
              <a:cxn ang="0">
                <a:pos x="connsiteX20466" y="connsiteY20466"/>
              </a:cxn>
              <a:cxn ang="0">
                <a:pos x="connsiteX20467" y="connsiteY20467"/>
              </a:cxn>
              <a:cxn ang="0">
                <a:pos x="connsiteX20468" y="connsiteY20468"/>
              </a:cxn>
              <a:cxn ang="0">
                <a:pos x="connsiteX20469" y="connsiteY20469"/>
              </a:cxn>
              <a:cxn ang="0">
                <a:pos x="connsiteX20470" y="connsiteY20470"/>
              </a:cxn>
              <a:cxn ang="0">
                <a:pos x="connsiteX20471" y="connsiteY20471"/>
              </a:cxn>
              <a:cxn ang="0">
                <a:pos x="connsiteX20472" y="connsiteY20472"/>
              </a:cxn>
              <a:cxn ang="0">
                <a:pos x="connsiteX20473" y="connsiteY20473"/>
              </a:cxn>
              <a:cxn ang="0">
                <a:pos x="connsiteX20474" y="connsiteY20474"/>
              </a:cxn>
              <a:cxn ang="0">
                <a:pos x="connsiteX20475" y="connsiteY20475"/>
              </a:cxn>
              <a:cxn ang="0">
                <a:pos x="connsiteX20476" y="connsiteY20476"/>
              </a:cxn>
              <a:cxn ang="0">
                <a:pos x="connsiteX20477" y="connsiteY20477"/>
              </a:cxn>
              <a:cxn ang="0">
                <a:pos x="connsiteX20478" y="connsiteY20478"/>
              </a:cxn>
              <a:cxn ang="0">
                <a:pos x="connsiteX20479" y="connsiteY20479"/>
              </a:cxn>
              <a:cxn ang="0">
                <a:pos x="connsiteX20480" y="connsiteY20480"/>
              </a:cxn>
              <a:cxn ang="0">
                <a:pos x="connsiteX20481" y="connsiteY20481"/>
              </a:cxn>
              <a:cxn ang="0">
                <a:pos x="connsiteX20482" y="connsiteY20482"/>
              </a:cxn>
              <a:cxn ang="0">
                <a:pos x="connsiteX20483" y="connsiteY20483"/>
              </a:cxn>
              <a:cxn ang="0">
                <a:pos x="connsiteX20484" y="connsiteY20484"/>
              </a:cxn>
              <a:cxn ang="0">
                <a:pos x="connsiteX20485" y="connsiteY20485"/>
              </a:cxn>
              <a:cxn ang="0">
                <a:pos x="connsiteX20486" y="connsiteY20486"/>
              </a:cxn>
              <a:cxn ang="0">
                <a:pos x="connsiteX20487" y="connsiteY20487"/>
              </a:cxn>
              <a:cxn ang="0">
                <a:pos x="connsiteX20488" y="connsiteY20488"/>
              </a:cxn>
              <a:cxn ang="0">
                <a:pos x="connsiteX20489" y="connsiteY20489"/>
              </a:cxn>
              <a:cxn ang="0">
                <a:pos x="connsiteX20490" y="connsiteY20490"/>
              </a:cxn>
              <a:cxn ang="0">
                <a:pos x="connsiteX20491" y="connsiteY20491"/>
              </a:cxn>
              <a:cxn ang="0">
                <a:pos x="connsiteX20492" y="connsiteY20492"/>
              </a:cxn>
              <a:cxn ang="0">
                <a:pos x="connsiteX20493" y="connsiteY20493"/>
              </a:cxn>
              <a:cxn ang="0">
                <a:pos x="connsiteX20494" y="connsiteY20494"/>
              </a:cxn>
              <a:cxn ang="0">
                <a:pos x="connsiteX20495" y="connsiteY20495"/>
              </a:cxn>
              <a:cxn ang="0">
                <a:pos x="connsiteX20496" y="connsiteY20496"/>
              </a:cxn>
              <a:cxn ang="0">
                <a:pos x="connsiteX20497" y="connsiteY20497"/>
              </a:cxn>
              <a:cxn ang="0">
                <a:pos x="connsiteX20498" y="connsiteY20498"/>
              </a:cxn>
              <a:cxn ang="0">
                <a:pos x="connsiteX20499" y="connsiteY20499"/>
              </a:cxn>
              <a:cxn ang="0">
                <a:pos x="connsiteX20500" y="connsiteY20500"/>
              </a:cxn>
              <a:cxn ang="0">
                <a:pos x="connsiteX20501" y="connsiteY20501"/>
              </a:cxn>
              <a:cxn ang="0">
                <a:pos x="connsiteX20502" y="connsiteY20502"/>
              </a:cxn>
              <a:cxn ang="0">
                <a:pos x="connsiteX20503" y="connsiteY20503"/>
              </a:cxn>
              <a:cxn ang="0">
                <a:pos x="connsiteX20504" y="connsiteY20504"/>
              </a:cxn>
              <a:cxn ang="0">
                <a:pos x="connsiteX20505" y="connsiteY20505"/>
              </a:cxn>
              <a:cxn ang="0">
                <a:pos x="connsiteX20506" y="connsiteY20506"/>
              </a:cxn>
              <a:cxn ang="0">
                <a:pos x="connsiteX20507" y="connsiteY20507"/>
              </a:cxn>
              <a:cxn ang="0">
                <a:pos x="connsiteX20508" y="connsiteY20508"/>
              </a:cxn>
              <a:cxn ang="0">
                <a:pos x="connsiteX20509" y="connsiteY20509"/>
              </a:cxn>
              <a:cxn ang="0">
                <a:pos x="connsiteX20510" y="connsiteY20510"/>
              </a:cxn>
              <a:cxn ang="0">
                <a:pos x="connsiteX20511" y="connsiteY20511"/>
              </a:cxn>
              <a:cxn ang="0">
                <a:pos x="connsiteX20512" y="connsiteY20512"/>
              </a:cxn>
              <a:cxn ang="0">
                <a:pos x="connsiteX20513" y="connsiteY20513"/>
              </a:cxn>
              <a:cxn ang="0">
                <a:pos x="connsiteX20514" y="connsiteY20514"/>
              </a:cxn>
              <a:cxn ang="0">
                <a:pos x="connsiteX20515" y="connsiteY20515"/>
              </a:cxn>
              <a:cxn ang="0">
                <a:pos x="connsiteX20516" y="connsiteY20516"/>
              </a:cxn>
              <a:cxn ang="0">
                <a:pos x="connsiteX20517" y="connsiteY20517"/>
              </a:cxn>
              <a:cxn ang="0">
                <a:pos x="connsiteX20518" y="connsiteY20518"/>
              </a:cxn>
              <a:cxn ang="0">
                <a:pos x="connsiteX20519" y="connsiteY20519"/>
              </a:cxn>
              <a:cxn ang="0">
                <a:pos x="connsiteX20520" y="connsiteY20520"/>
              </a:cxn>
              <a:cxn ang="0">
                <a:pos x="connsiteX20521" y="connsiteY20521"/>
              </a:cxn>
              <a:cxn ang="0">
                <a:pos x="connsiteX20522" y="connsiteY20522"/>
              </a:cxn>
              <a:cxn ang="0">
                <a:pos x="connsiteX20523" y="connsiteY20523"/>
              </a:cxn>
              <a:cxn ang="0">
                <a:pos x="connsiteX20524" y="connsiteY20524"/>
              </a:cxn>
              <a:cxn ang="0">
                <a:pos x="connsiteX20525" y="connsiteY20525"/>
              </a:cxn>
              <a:cxn ang="0">
                <a:pos x="connsiteX20526" y="connsiteY20526"/>
              </a:cxn>
              <a:cxn ang="0">
                <a:pos x="connsiteX20527" y="connsiteY20527"/>
              </a:cxn>
              <a:cxn ang="0">
                <a:pos x="connsiteX20528" y="connsiteY20528"/>
              </a:cxn>
              <a:cxn ang="0">
                <a:pos x="connsiteX20529" y="connsiteY20529"/>
              </a:cxn>
              <a:cxn ang="0">
                <a:pos x="connsiteX20530" y="connsiteY20530"/>
              </a:cxn>
              <a:cxn ang="0">
                <a:pos x="connsiteX20531" y="connsiteY20531"/>
              </a:cxn>
              <a:cxn ang="0">
                <a:pos x="connsiteX20532" y="connsiteY20532"/>
              </a:cxn>
              <a:cxn ang="0">
                <a:pos x="connsiteX20533" y="connsiteY20533"/>
              </a:cxn>
              <a:cxn ang="0">
                <a:pos x="connsiteX20534" y="connsiteY20534"/>
              </a:cxn>
              <a:cxn ang="0">
                <a:pos x="connsiteX20535" y="connsiteY20535"/>
              </a:cxn>
              <a:cxn ang="0">
                <a:pos x="connsiteX20536" y="connsiteY20536"/>
              </a:cxn>
              <a:cxn ang="0">
                <a:pos x="connsiteX20537" y="connsiteY20537"/>
              </a:cxn>
              <a:cxn ang="0">
                <a:pos x="connsiteX20538" y="connsiteY20538"/>
              </a:cxn>
              <a:cxn ang="0">
                <a:pos x="connsiteX20539" y="connsiteY20539"/>
              </a:cxn>
              <a:cxn ang="0">
                <a:pos x="connsiteX20540" y="connsiteY20540"/>
              </a:cxn>
              <a:cxn ang="0">
                <a:pos x="connsiteX20541" y="connsiteY20541"/>
              </a:cxn>
              <a:cxn ang="0">
                <a:pos x="connsiteX20542" y="connsiteY20542"/>
              </a:cxn>
              <a:cxn ang="0">
                <a:pos x="connsiteX20543" y="connsiteY20543"/>
              </a:cxn>
              <a:cxn ang="0">
                <a:pos x="connsiteX20544" y="connsiteY20544"/>
              </a:cxn>
              <a:cxn ang="0">
                <a:pos x="connsiteX20545" y="connsiteY20545"/>
              </a:cxn>
              <a:cxn ang="0">
                <a:pos x="connsiteX20546" y="connsiteY20546"/>
              </a:cxn>
              <a:cxn ang="0">
                <a:pos x="connsiteX20547" y="connsiteY20547"/>
              </a:cxn>
              <a:cxn ang="0">
                <a:pos x="connsiteX20548" y="connsiteY20548"/>
              </a:cxn>
              <a:cxn ang="0">
                <a:pos x="connsiteX20549" y="connsiteY20549"/>
              </a:cxn>
              <a:cxn ang="0">
                <a:pos x="connsiteX20550" y="connsiteY20550"/>
              </a:cxn>
              <a:cxn ang="0">
                <a:pos x="connsiteX20551" y="connsiteY20551"/>
              </a:cxn>
              <a:cxn ang="0">
                <a:pos x="connsiteX20552" y="connsiteY20552"/>
              </a:cxn>
              <a:cxn ang="0">
                <a:pos x="connsiteX20553" y="connsiteY20553"/>
              </a:cxn>
              <a:cxn ang="0">
                <a:pos x="connsiteX20554" y="connsiteY20554"/>
              </a:cxn>
              <a:cxn ang="0">
                <a:pos x="connsiteX20555" y="connsiteY20555"/>
              </a:cxn>
              <a:cxn ang="0">
                <a:pos x="connsiteX20556" y="connsiteY20556"/>
              </a:cxn>
              <a:cxn ang="0">
                <a:pos x="connsiteX20557" y="connsiteY20557"/>
              </a:cxn>
              <a:cxn ang="0">
                <a:pos x="connsiteX20558" y="connsiteY20558"/>
              </a:cxn>
              <a:cxn ang="0">
                <a:pos x="connsiteX20559" y="connsiteY20559"/>
              </a:cxn>
              <a:cxn ang="0">
                <a:pos x="connsiteX20560" y="connsiteY20560"/>
              </a:cxn>
              <a:cxn ang="0">
                <a:pos x="connsiteX20561" y="connsiteY20561"/>
              </a:cxn>
              <a:cxn ang="0">
                <a:pos x="connsiteX20562" y="connsiteY20562"/>
              </a:cxn>
              <a:cxn ang="0">
                <a:pos x="connsiteX20563" y="connsiteY20563"/>
              </a:cxn>
              <a:cxn ang="0">
                <a:pos x="connsiteX20564" y="connsiteY20564"/>
              </a:cxn>
              <a:cxn ang="0">
                <a:pos x="connsiteX20565" y="connsiteY20565"/>
              </a:cxn>
              <a:cxn ang="0">
                <a:pos x="connsiteX20566" y="connsiteY20566"/>
              </a:cxn>
              <a:cxn ang="0">
                <a:pos x="connsiteX20567" y="connsiteY20567"/>
              </a:cxn>
              <a:cxn ang="0">
                <a:pos x="connsiteX20568" y="connsiteY20568"/>
              </a:cxn>
              <a:cxn ang="0">
                <a:pos x="connsiteX20569" y="connsiteY20569"/>
              </a:cxn>
              <a:cxn ang="0">
                <a:pos x="connsiteX20570" y="connsiteY20570"/>
              </a:cxn>
              <a:cxn ang="0">
                <a:pos x="connsiteX20571" y="connsiteY20571"/>
              </a:cxn>
              <a:cxn ang="0">
                <a:pos x="connsiteX20572" y="connsiteY20572"/>
              </a:cxn>
              <a:cxn ang="0">
                <a:pos x="connsiteX20573" y="connsiteY20573"/>
              </a:cxn>
              <a:cxn ang="0">
                <a:pos x="connsiteX20574" y="connsiteY20574"/>
              </a:cxn>
              <a:cxn ang="0">
                <a:pos x="connsiteX20575" y="connsiteY20575"/>
              </a:cxn>
              <a:cxn ang="0">
                <a:pos x="connsiteX20576" y="connsiteY20576"/>
              </a:cxn>
              <a:cxn ang="0">
                <a:pos x="connsiteX20577" y="connsiteY20577"/>
              </a:cxn>
              <a:cxn ang="0">
                <a:pos x="connsiteX20578" y="connsiteY20578"/>
              </a:cxn>
              <a:cxn ang="0">
                <a:pos x="connsiteX20579" y="connsiteY20579"/>
              </a:cxn>
              <a:cxn ang="0">
                <a:pos x="connsiteX20580" y="connsiteY20580"/>
              </a:cxn>
              <a:cxn ang="0">
                <a:pos x="connsiteX20581" y="connsiteY20581"/>
              </a:cxn>
              <a:cxn ang="0">
                <a:pos x="connsiteX20582" y="connsiteY20582"/>
              </a:cxn>
              <a:cxn ang="0">
                <a:pos x="connsiteX20583" y="connsiteY20583"/>
              </a:cxn>
              <a:cxn ang="0">
                <a:pos x="connsiteX20584" y="connsiteY20584"/>
              </a:cxn>
              <a:cxn ang="0">
                <a:pos x="connsiteX20585" y="connsiteY20585"/>
              </a:cxn>
              <a:cxn ang="0">
                <a:pos x="connsiteX20586" y="connsiteY20586"/>
              </a:cxn>
              <a:cxn ang="0">
                <a:pos x="connsiteX20587" y="connsiteY20587"/>
              </a:cxn>
              <a:cxn ang="0">
                <a:pos x="connsiteX20588" y="connsiteY20588"/>
              </a:cxn>
              <a:cxn ang="0">
                <a:pos x="connsiteX20589" y="connsiteY20589"/>
              </a:cxn>
              <a:cxn ang="0">
                <a:pos x="connsiteX20590" y="connsiteY20590"/>
              </a:cxn>
              <a:cxn ang="0">
                <a:pos x="connsiteX20591" y="connsiteY20591"/>
              </a:cxn>
              <a:cxn ang="0">
                <a:pos x="connsiteX20592" y="connsiteY20592"/>
              </a:cxn>
              <a:cxn ang="0">
                <a:pos x="connsiteX20593" y="connsiteY20593"/>
              </a:cxn>
              <a:cxn ang="0">
                <a:pos x="connsiteX20594" y="connsiteY20594"/>
              </a:cxn>
              <a:cxn ang="0">
                <a:pos x="connsiteX20595" y="connsiteY20595"/>
              </a:cxn>
              <a:cxn ang="0">
                <a:pos x="connsiteX20596" y="connsiteY20596"/>
              </a:cxn>
              <a:cxn ang="0">
                <a:pos x="connsiteX20597" y="connsiteY20597"/>
              </a:cxn>
              <a:cxn ang="0">
                <a:pos x="connsiteX20598" y="connsiteY20598"/>
              </a:cxn>
              <a:cxn ang="0">
                <a:pos x="connsiteX20599" y="connsiteY20599"/>
              </a:cxn>
              <a:cxn ang="0">
                <a:pos x="connsiteX20600" y="connsiteY20600"/>
              </a:cxn>
              <a:cxn ang="0">
                <a:pos x="connsiteX20601" y="connsiteY20601"/>
              </a:cxn>
              <a:cxn ang="0">
                <a:pos x="connsiteX20602" y="connsiteY20602"/>
              </a:cxn>
              <a:cxn ang="0">
                <a:pos x="connsiteX20603" y="connsiteY20603"/>
              </a:cxn>
              <a:cxn ang="0">
                <a:pos x="connsiteX20604" y="connsiteY20604"/>
              </a:cxn>
              <a:cxn ang="0">
                <a:pos x="connsiteX20605" y="connsiteY20605"/>
              </a:cxn>
              <a:cxn ang="0">
                <a:pos x="connsiteX20606" y="connsiteY20606"/>
              </a:cxn>
              <a:cxn ang="0">
                <a:pos x="connsiteX20607" y="connsiteY20607"/>
              </a:cxn>
              <a:cxn ang="0">
                <a:pos x="connsiteX20608" y="connsiteY20608"/>
              </a:cxn>
              <a:cxn ang="0">
                <a:pos x="connsiteX20609" y="connsiteY20609"/>
              </a:cxn>
              <a:cxn ang="0">
                <a:pos x="connsiteX20610" y="connsiteY20610"/>
              </a:cxn>
              <a:cxn ang="0">
                <a:pos x="connsiteX20611" y="connsiteY20611"/>
              </a:cxn>
              <a:cxn ang="0">
                <a:pos x="connsiteX20612" y="connsiteY20612"/>
              </a:cxn>
              <a:cxn ang="0">
                <a:pos x="connsiteX20613" y="connsiteY20613"/>
              </a:cxn>
              <a:cxn ang="0">
                <a:pos x="connsiteX20614" y="connsiteY20614"/>
              </a:cxn>
              <a:cxn ang="0">
                <a:pos x="connsiteX20615" y="connsiteY20615"/>
              </a:cxn>
              <a:cxn ang="0">
                <a:pos x="connsiteX20616" y="connsiteY20616"/>
              </a:cxn>
              <a:cxn ang="0">
                <a:pos x="connsiteX20617" y="connsiteY20617"/>
              </a:cxn>
              <a:cxn ang="0">
                <a:pos x="connsiteX20618" y="connsiteY20618"/>
              </a:cxn>
              <a:cxn ang="0">
                <a:pos x="connsiteX20619" y="connsiteY20619"/>
              </a:cxn>
              <a:cxn ang="0">
                <a:pos x="connsiteX20620" y="connsiteY20620"/>
              </a:cxn>
              <a:cxn ang="0">
                <a:pos x="connsiteX20621" y="connsiteY20621"/>
              </a:cxn>
              <a:cxn ang="0">
                <a:pos x="connsiteX20622" y="connsiteY20622"/>
              </a:cxn>
              <a:cxn ang="0">
                <a:pos x="connsiteX20623" y="connsiteY20623"/>
              </a:cxn>
              <a:cxn ang="0">
                <a:pos x="connsiteX20624" y="connsiteY20624"/>
              </a:cxn>
              <a:cxn ang="0">
                <a:pos x="connsiteX20625" y="connsiteY20625"/>
              </a:cxn>
              <a:cxn ang="0">
                <a:pos x="connsiteX20626" y="connsiteY20626"/>
              </a:cxn>
              <a:cxn ang="0">
                <a:pos x="connsiteX20627" y="connsiteY20627"/>
              </a:cxn>
              <a:cxn ang="0">
                <a:pos x="connsiteX20628" y="connsiteY20628"/>
              </a:cxn>
              <a:cxn ang="0">
                <a:pos x="connsiteX20629" y="connsiteY20629"/>
              </a:cxn>
              <a:cxn ang="0">
                <a:pos x="connsiteX20630" y="connsiteY20630"/>
              </a:cxn>
              <a:cxn ang="0">
                <a:pos x="connsiteX20631" y="connsiteY20631"/>
              </a:cxn>
              <a:cxn ang="0">
                <a:pos x="connsiteX20632" y="connsiteY20632"/>
              </a:cxn>
              <a:cxn ang="0">
                <a:pos x="connsiteX20633" y="connsiteY20633"/>
              </a:cxn>
              <a:cxn ang="0">
                <a:pos x="connsiteX20634" y="connsiteY20634"/>
              </a:cxn>
              <a:cxn ang="0">
                <a:pos x="connsiteX20635" y="connsiteY20635"/>
              </a:cxn>
              <a:cxn ang="0">
                <a:pos x="connsiteX20636" y="connsiteY20636"/>
              </a:cxn>
              <a:cxn ang="0">
                <a:pos x="connsiteX20637" y="connsiteY20637"/>
              </a:cxn>
              <a:cxn ang="0">
                <a:pos x="connsiteX20638" y="connsiteY20638"/>
              </a:cxn>
              <a:cxn ang="0">
                <a:pos x="connsiteX20639" y="connsiteY20639"/>
              </a:cxn>
              <a:cxn ang="0">
                <a:pos x="connsiteX20640" y="connsiteY20640"/>
              </a:cxn>
              <a:cxn ang="0">
                <a:pos x="connsiteX20641" y="connsiteY20641"/>
              </a:cxn>
              <a:cxn ang="0">
                <a:pos x="connsiteX20642" y="connsiteY20642"/>
              </a:cxn>
              <a:cxn ang="0">
                <a:pos x="connsiteX20643" y="connsiteY20643"/>
              </a:cxn>
              <a:cxn ang="0">
                <a:pos x="connsiteX20644" y="connsiteY20644"/>
              </a:cxn>
              <a:cxn ang="0">
                <a:pos x="connsiteX20645" y="connsiteY20645"/>
              </a:cxn>
              <a:cxn ang="0">
                <a:pos x="connsiteX20646" y="connsiteY20646"/>
              </a:cxn>
              <a:cxn ang="0">
                <a:pos x="connsiteX20647" y="connsiteY20647"/>
              </a:cxn>
              <a:cxn ang="0">
                <a:pos x="connsiteX20648" y="connsiteY20648"/>
              </a:cxn>
              <a:cxn ang="0">
                <a:pos x="connsiteX20649" y="connsiteY20649"/>
              </a:cxn>
              <a:cxn ang="0">
                <a:pos x="connsiteX20650" y="connsiteY20650"/>
              </a:cxn>
              <a:cxn ang="0">
                <a:pos x="connsiteX20651" y="connsiteY20651"/>
              </a:cxn>
              <a:cxn ang="0">
                <a:pos x="connsiteX20652" y="connsiteY20652"/>
              </a:cxn>
              <a:cxn ang="0">
                <a:pos x="connsiteX20653" y="connsiteY20653"/>
              </a:cxn>
              <a:cxn ang="0">
                <a:pos x="connsiteX20654" y="connsiteY20654"/>
              </a:cxn>
              <a:cxn ang="0">
                <a:pos x="connsiteX20655" y="connsiteY20655"/>
              </a:cxn>
              <a:cxn ang="0">
                <a:pos x="connsiteX20656" y="connsiteY20656"/>
              </a:cxn>
              <a:cxn ang="0">
                <a:pos x="connsiteX20657" y="connsiteY20657"/>
              </a:cxn>
              <a:cxn ang="0">
                <a:pos x="connsiteX20658" y="connsiteY20658"/>
              </a:cxn>
              <a:cxn ang="0">
                <a:pos x="connsiteX20659" y="connsiteY20659"/>
              </a:cxn>
              <a:cxn ang="0">
                <a:pos x="connsiteX20660" y="connsiteY20660"/>
              </a:cxn>
              <a:cxn ang="0">
                <a:pos x="connsiteX20661" y="connsiteY20661"/>
              </a:cxn>
              <a:cxn ang="0">
                <a:pos x="connsiteX20662" y="connsiteY20662"/>
              </a:cxn>
              <a:cxn ang="0">
                <a:pos x="connsiteX20663" y="connsiteY20663"/>
              </a:cxn>
              <a:cxn ang="0">
                <a:pos x="connsiteX20664" y="connsiteY20664"/>
              </a:cxn>
              <a:cxn ang="0">
                <a:pos x="connsiteX20665" y="connsiteY20665"/>
              </a:cxn>
              <a:cxn ang="0">
                <a:pos x="connsiteX20666" y="connsiteY20666"/>
              </a:cxn>
              <a:cxn ang="0">
                <a:pos x="connsiteX20667" y="connsiteY20667"/>
              </a:cxn>
              <a:cxn ang="0">
                <a:pos x="connsiteX20668" y="connsiteY20668"/>
              </a:cxn>
              <a:cxn ang="0">
                <a:pos x="connsiteX20669" y="connsiteY20669"/>
              </a:cxn>
              <a:cxn ang="0">
                <a:pos x="connsiteX20670" y="connsiteY20670"/>
              </a:cxn>
              <a:cxn ang="0">
                <a:pos x="connsiteX20671" y="connsiteY20671"/>
              </a:cxn>
              <a:cxn ang="0">
                <a:pos x="connsiteX20672" y="connsiteY20672"/>
              </a:cxn>
              <a:cxn ang="0">
                <a:pos x="connsiteX20673" y="connsiteY20673"/>
              </a:cxn>
              <a:cxn ang="0">
                <a:pos x="connsiteX20674" y="connsiteY20674"/>
              </a:cxn>
              <a:cxn ang="0">
                <a:pos x="connsiteX20675" y="connsiteY20675"/>
              </a:cxn>
              <a:cxn ang="0">
                <a:pos x="connsiteX20676" y="connsiteY20676"/>
              </a:cxn>
              <a:cxn ang="0">
                <a:pos x="connsiteX20677" y="connsiteY20677"/>
              </a:cxn>
              <a:cxn ang="0">
                <a:pos x="connsiteX20678" y="connsiteY20678"/>
              </a:cxn>
              <a:cxn ang="0">
                <a:pos x="connsiteX20679" y="connsiteY20679"/>
              </a:cxn>
              <a:cxn ang="0">
                <a:pos x="connsiteX20680" y="connsiteY20680"/>
              </a:cxn>
              <a:cxn ang="0">
                <a:pos x="connsiteX20681" y="connsiteY20681"/>
              </a:cxn>
              <a:cxn ang="0">
                <a:pos x="connsiteX20682" y="connsiteY20682"/>
              </a:cxn>
              <a:cxn ang="0">
                <a:pos x="connsiteX20683" y="connsiteY20683"/>
              </a:cxn>
              <a:cxn ang="0">
                <a:pos x="connsiteX20684" y="connsiteY20684"/>
              </a:cxn>
              <a:cxn ang="0">
                <a:pos x="connsiteX20685" y="connsiteY20685"/>
              </a:cxn>
              <a:cxn ang="0">
                <a:pos x="connsiteX20686" y="connsiteY20686"/>
              </a:cxn>
              <a:cxn ang="0">
                <a:pos x="connsiteX20687" y="connsiteY20687"/>
              </a:cxn>
              <a:cxn ang="0">
                <a:pos x="connsiteX20688" y="connsiteY20688"/>
              </a:cxn>
              <a:cxn ang="0">
                <a:pos x="connsiteX20689" y="connsiteY20689"/>
              </a:cxn>
              <a:cxn ang="0">
                <a:pos x="connsiteX20690" y="connsiteY20690"/>
              </a:cxn>
              <a:cxn ang="0">
                <a:pos x="connsiteX20691" y="connsiteY20691"/>
              </a:cxn>
              <a:cxn ang="0">
                <a:pos x="connsiteX20692" y="connsiteY20692"/>
              </a:cxn>
              <a:cxn ang="0">
                <a:pos x="connsiteX20693" y="connsiteY20693"/>
              </a:cxn>
              <a:cxn ang="0">
                <a:pos x="connsiteX20694" y="connsiteY20694"/>
              </a:cxn>
              <a:cxn ang="0">
                <a:pos x="connsiteX20695" y="connsiteY20695"/>
              </a:cxn>
              <a:cxn ang="0">
                <a:pos x="connsiteX20696" y="connsiteY20696"/>
              </a:cxn>
              <a:cxn ang="0">
                <a:pos x="connsiteX20697" y="connsiteY20697"/>
              </a:cxn>
              <a:cxn ang="0">
                <a:pos x="connsiteX20698" y="connsiteY20698"/>
              </a:cxn>
              <a:cxn ang="0">
                <a:pos x="connsiteX20699" y="connsiteY20699"/>
              </a:cxn>
              <a:cxn ang="0">
                <a:pos x="connsiteX20700" y="connsiteY20700"/>
              </a:cxn>
              <a:cxn ang="0">
                <a:pos x="connsiteX20701" y="connsiteY20701"/>
              </a:cxn>
              <a:cxn ang="0">
                <a:pos x="connsiteX20702" y="connsiteY20702"/>
              </a:cxn>
              <a:cxn ang="0">
                <a:pos x="connsiteX20703" y="connsiteY20703"/>
              </a:cxn>
              <a:cxn ang="0">
                <a:pos x="connsiteX20704" y="connsiteY20704"/>
              </a:cxn>
              <a:cxn ang="0">
                <a:pos x="connsiteX20705" y="connsiteY20705"/>
              </a:cxn>
              <a:cxn ang="0">
                <a:pos x="connsiteX20706" y="connsiteY20706"/>
              </a:cxn>
              <a:cxn ang="0">
                <a:pos x="connsiteX20707" y="connsiteY20707"/>
              </a:cxn>
              <a:cxn ang="0">
                <a:pos x="connsiteX20708" y="connsiteY20708"/>
              </a:cxn>
              <a:cxn ang="0">
                <a:pos x="connsiteX20709" y="connsiteY20709"/>
              </a:cxn>
              <a:cxn ang="0">
                <a:pos x="connsiteX20710" y="connsiteY20710"/>
              </a:cxn>
              <a:cxn ang="0">
                <a:pos x="connsiteX20711" y="connsiteY20711"/>
              </a:cxn>
              <a:cxn ang="0">
                <a:pos x="connsiteX20712" y="connsiteY20712"/>
              </a:cxn>
              <a:cxn ang="0">
                <a:pos x="connsiteX20713" y="connsiteY20713"/>
              </a:cxn>
              <a:cxn ang="0">
                <a:pos x="connsiteX20714" y="connsiteY20714"/>
              </a:cxn>
              <a:cxn ang="0">
                <a:pos x="connsiteX20715" y="connsiteY20715"/>
              </a:cxn>
              <a:cxn ang="0">
                <a:pos x="connsiteX20716" y="connsiteY20716"/>
              </a:cxn>
              <a:cxn ang="0">
                <a:pos x="connsiteX20717" y="connsiteY20717"/>
              </a:cxn>
              <a:cxn ang="0">
                <a:pos x="connsiteX20718" y="connsiteY20718"/>
              </a:cxn>
              <a:cxn ang="0">
                <a:pos x="connsiteX20719" y="connsiteY20719"/>
              </a:cxn>
              <a:cxn ang="0">
                <a:pos x="connsiteX20720" y="connsiteY20720"/>
              </a:cxn>
              <a:cxn ang="0">
                <a:pos x="connsiteX20721" y="connsiteY20721"/>
              </a:cxn>
              <a:cxn ang="0">
                <a:pos x="connsiteX20722" y="connsiteY20722"/>
              </a:cxn>
              <a:cxn ang="0">
                <a:pos x="connsiteX20723" y="connsiteY20723"/>
              </a:cxn>
              <a:cxn ang="0">
                <a:pos x="connsiteX20724" y="connsiteY20724"/>
              </a:cxn>
              <a:cxn ang="0">
                <a:pos x="connsiteX20725" y="connsiteY20725"/>
              </a:cxn>
              <a:cxn ang="0">
                <a:pos x="connsiteX20726" y="connsiteY20726"/>
              </a:cxn>
              <a:cxn ang="0">
                <a:pos x="connsiteX20727" y="connsiteY20727"/>
              </a:cxn>
              <a:cxn ang="0">
                <a:pos x="connsiteX20728" y="connsiteY20728"/>
              </a:cxn>
              <a:cxn ang="0">
                <a:pos x="connsiteX20729" y="connsiteY20729"/>
              </a:cxn>
              <a:cxn ang="0">
                <a:pos x="connsiteX20730" y="connsiteY20730"/>
              </a:cxn>
              <a:cxn ang="0">
                <a:pos x="connsiteX20731" y="connsiteY20731"/>
              </a:cxn>
              <a:cxn ang="0">
                <a:pos x="connsiteX20732" y="connsiteY20732"/>
              </a:cxn>
              <a:cxn ang="0">
                <a:pos x="connsiteX20733" y="connsiteY20733"/>
              </a:cxn>
              <a:cxn ang="0">
                <a:pos x="connsiteX20734" y="connsiteY20734"/>
              </a:cxn>
              <a:cxn ang="0">
                <a:pos x="connsiteX20735" y="connsiteY20735"/>
              </a:cxn>
              <a:cxn ang="0">
                <a:pos x="connsiteX20736" y="connsiteY20736"/>
              </a:cxn>
              <a:cxn ang="0">
                <a:pos x="connsiteX20737" y="connsiteY20737"/>
              </a:cxn>
              <a:cxn ang="0">
                <a:pos x="connsiteX20738" y="connsiteY20738"/>
              </a:cxn>
              <a:cxn ang="0">
                <a:pos x="connsiteX20739" y="connsiteY20739"/>
              </a:cxn>
              <a:cxn ang="0">
                <a:pos x="connsiteX20740" y="connsiteY20740"/>
              </a:cxn>
              <a:cxn ang="0">
                <a:pos x="connsiteX20741" y="connsiteY20741"/>
              </a:cxn>
              <a:cxn ang="0">
                <a:pos x="connsiteX20742" y="connsiteY20742"/>
              </a:cxn>
              <a:cxn ang="0">
                <a:pos x="connsiteX20743" y="connsiteY20743"/>
              </a:cxn>
              <a:cxn ang="0">
                <a:pos x="connsiteX20744" y="connsiteY20744"/>
              </a:cxn>
              <a:cxn ang="0">
                <a:pos x="connsiteX20745" y="connsiteY20745"/>
              </a:cxn>
              <a:cxn ang="0">
                <a:pos x="connsiteX20746" y="connsiteY20746"/>
              </a:cxn>
              <a:cxn ang="0">
                <a:pos x="connsiteX20747" y="connsiteY20747"/>
              </a:cxn>
              <a:cxn ang="0">
                <a:pos x="connsiteX20748" y="connsiteY20748"/>
              </a:cxn>
              <a:cxn ang="0">
                <a:pos x="connsiteX20749" y="connsiteY20749"/>
              </a:cxn>
              <a:cxn ang="0">
                <a:pos x="connsiteX20750" y="connsiteY20750"/>
              </a:cxn>
              <a:cxn ang="0">
                <a:pos x="connsiteX20751" y="connsiteY20751"/>
              </a:cxn>
              <a:cxn ang="0">
                <a:pos x="connsiteX20752" y="connsiteY20752"/>
              </a:cxn>
              <a:cxn ang="0">
                <a:pos x="connsiteX20753" y="connsiteY20753"/>
              </a:cxn>
              <a:cxn ang="0">
                <a:pos x="connsiteX20754" y="connsiteY20754"/>
              </a:cxn>
              <a:cxn ang="0">
                <a:pos x="connsiteX20755" y="connsiteY20755"/>
              </a:cxn>
              <a:cxn ang="0">
                <a:pos x="connsiteX20756" y="connsiteY20756"/>
              </a:cxn>
              <a:cxn ang="0">
                <a:pos x="connsiteX20757" y="connsiteY20757"/>
              </a:cxn>
              <a:cxn ang="0">
                <a:pos x="connsiteX20758" y="connsiteY20758"/>
              </a:cxn>
              <a:cxn ang="0">
                <a:pos x="connsiteX20759" y="connsiteY20759"/>
              </a:cxn>
              <a:cxn ang="0">
                <a:pos x="connsiteX20760" y="connsiteY20760"/>
              </a:cxn>
              <a:cxn ang="0">
                <a:pos x="connsiteX20761" y="connsiteY20761"/>
              </a:cxn>
              <a:cxn ang="0">
                <a:pos x="connsiteX20762" y="connsiteY20762"/>
              </a:cxn>
              <a:cxn ang="0">
                <a:pos x="connsiteX20763" y="connsiteY20763"/>
              </a:cxn>
              <a:cxn ang="0">
                <a:pos x="connsiteX20764" y="connsiteY20764"/>
              </a:cxn>
              <a:cxn ang="0">
                <a:pos x="connsiteX20765" y="connsiteY20765"/>
              </a:cxn>
              <a:cxn ang="0">
                <a:pos x="connsiteX20766" y="connsiteY20766"/>
              </a:cxn>
              <a:cxn ang="0">
                <a:pos x="connsiteX20767" y="connsiteY20767"/>
              </a:cxn>
              <a:cxn ang="0">
                <a:pos x="connsiteX20768" y="connsiteY20768"/>
              </a:cxn>
              <a:cxn ang="0">
                <a:pos x="connsiteX20769" y="connsiteY20769"/>
              </a:cxn>
              <a:cxn ang="0">
                <a:pos x="connsiteX20770" y="connsiteY20770"/>
              </a:cxn>
              <a:cxn ang="0">
                <a:pos x="connsiteX20771" y="connsiteY20771"/>
              </a:cxn>
              <a:cxn ang="0">
                <a:pos x="connsiteX20772" y="connsiteY20772"/>
              </a:cxn>
              <a:cxn ang="0">
                <a:pos x="connsiteX20773" y="connsiteY20773"/>
              </a:cxn>
              <a:cxn ang="0">
                <a:pos x="connsiteX20774" y="connsiteY20774"/>
              </a:cxn>
              <a:cxn ang="0">
                <a:pos x="connsiteX20775" y="connsiteY20775"/>
              </a:cxn>
              <a:cxn ang="0">
                <a:pos x="connsiteX20776" y="connsiteY20776"/>
              </a:cxn>
              <a:cxn ang="0">
                <a:pos x="connsiteX20777" y="connsiteY20777"/>
              </a:cxn>
              <a:cxn ang="0">
                <a:pos x="connsiteX20778" y="connsiteY20778"/>
              </a:cxn>
              <a:cxn ang="0">
                <a:pos x="connsiteX20779" y="connsiteY20779"/>
              </a:cxn>
              <a:cxn ang="0">
                <a:pos x="connsiteX20780" y="connsiteY20780"/>
              </a:cxn>
              <a:cxn ang="0">
                <a:pos x="connsiteX20781" y="connsiteY20781"/>
              </a:cxn>
              <a:cxn ang="0">
                <a:pos x="connsiteX20782" y="connsiteY20782"/>
              </a:cxn>
              <a:cxn ang="0">
                <a:pos x="connsiteX20783" y="connsiteY20783"/>
              </a:cxn>
              <a:cxn ang="0">
                <a:pos x="connsiteX20784" y="connsiteY20784"/>
              </a:cxn>
              <a:cxn ang="0">
                <a:pos x="connsiteX20785" y="connsiteY20785"/>
              </a:cxn>
              <a:cxn ang="0">
                <a:pos x="connsiteX20786" y="connsiteY20786"/>
              </a:cxn>
              <a:cxn ang="0">
                <a:pos x="connsiteX20787" y="connsiteY20787"/>
              </a:cxn>
              <a:cxn ang="0">
                <a:pos x="connsiteX20788" y="connsiteY20788"/>
              </a:cxn>
              <a:cxn ang="0">
                <a:pos x="connsiteX20789" y="connsiteY20789"/>
              </a:cxn>
              <a:cxn ang="0">
                <a:pos x="connsiteX20790" y="connsiteY20790"/>
              </a:cxn>
              <a:cxn ang="0">
                <a:pos x="connsiteX20791" y="connsiteY20791"/>
              </a:cxn>
              <a:cxn ang="0">
                <a:pos x="connsiteX20792" y="connsiteY20792"/>
              </a:cxn>
              <a:cxn ang="0">
                <a:pos x="connsiteX20793" y="connsiteY20793"/>
              </a:cxn>
              <a:cxn ang="0">
                <a:pos x="connsiteX20794" y="connsiteY20794"/>
              </a:cxn>
              <a:cxn ang="0">
                <a:pos x="connsiteX20795" y="connsiteY20795"/>
              </a:cxn>
              <a:cxn ang="0">
                <a:pos x="connsiteX20796" y="connsiteY20796"/>
              </a:cxn>
              <a:cxn ang="0">
                <a:pos x="connsiteX20797" y="connsiteY20797"/>
              </a:cxn>
              <a:cxn ang="0">
                <a:pos x="connsiteX20798" y="connsiteY20798"/>
              </a:cxn>
              <a:cxn ang="0">
                <a:pos x="connsiteX20799" y="connsiteY20799"/>
              </a:cxn>
              <a:cxn ang="0">
                <a:pos x="connsiteX20800" y="connsiteY20800"/>
              </a:cxn>
              <a:cxn ang="0">
                <a:pos x="connsiteX20801" y="connsiteY20801"/>
              </a:cxn>
              <a:cxn ang="0">
                <a:pos x="connsiteX20802" y="connsiteY20802"/>
              </a:cxn>
              <a:cxn ang="0">
                <a:pos x="connsiteX20803" y="connsiteY20803"/>
              </a:cxn>
              <a:cxn ang="0">
                <a:pos x="connsiteX20804" y="connsiteY20804"/>
              </a:cxn>
              <a:cxn ang="0">
                <a:pos x="connsiteX20805" y="connsiteY20805"/>
              </a:cxn>
              <a:cxn ang="0">
                <a:pos x="connsiteX20806" y="connsiteY20806"/>
              </a:cxn>
              <a:cxn ang="0">
                <a:pos x="connsiteX20807" y="connsiteY20807"/>
              </a:cxn>
              <a:cxn ang="0">
                <a:pos x="connsiteX20808" y="connsiteY20808"/>
              </a:cxn>
              <a:cxn ang="0">
                <a:pos x="connsiteX20809" y="connsiteY20809"/>
              </a:cxn>
              <a:cxn ang="0">
                <a:pos x="connsiteX20810" y="connsiteY20810"/>
              </a:cxn>
              <a:cxn ang="0">
                <a:pos x="connsiteX20811" y="connsiteY20811"/>
              </a:cxn>
              <a:cxn ang="0">
                <a:pos x="connsiteX20812" y="connsiteY20812"/>
              </a:cxn>
              <a:cxn ang="0">
                <a:pos x="connsiteX20813" y="connsiteY20813"/>
              </a:cxn>
              <a:cxn ang="0">
                <a:pos x="connsiteX20814" y="connsiteY20814"/>
              </a:cxn>
              <a:cxn ang="0">
                <a:pos x="connsiteX20815" y="connsiteY20815"/>
              </a:cxn>
              <a:cxn ang="0">
                <a:pos x="connsiteX20816" y="connsiteY20816"/>
              </a:cxn>
              <a:cxn ang="0">
                <a:pos x="connsiteX20817" y="connsiteY20817"/>
              </a:cxn>
              <a:cxn ang="0">
                <a:pos x="connsiteX20818" y="connsiteY20818"/>
              </a:cxn>
              <a:cxn ang="0">
                <a:pos x="connsiteX20819" y="connsiteY20819"/>
              </a:cxn>
              <a:cxn ang="0">
                <a:pos x="connsiteX20820" y="connsiteY20820"/>
              </a:cxn>
              <a:cxn ang="0">
                <a:pos x="connsiteX20821" y="connsiteY20821"/>
              </a:cxn>
              <a:cxn ang="0">
                <a:pos x="connsiteX20822" y="connsiteY20822"/>
              </a:cxn>
              <a:cxn ang="0">
                <a:pos x="connsiteX20823" y="connsiteY20823"/>
              </a:cxn>
              <a:cxn ang="0">
                <a:pos x="connsiteX20824" y="connsiteY20824"/>
              </a:cxn>
              <a:cxn ang="0">
                <a:pos x="connsiteX20825" y="connsiteY20825"/>
              </a:cxn>
              <a:cxn ang="0">
                <a:pos x="connsiteX20826" y="connsiteY20826"/>
              </a:cxn>
              <a:cxn ang="0">
                <a:pos x="connsiteX20827" y="connsiteY20827"/>
              </a:cxn>
              <a:cxn ang="0">
                <a:pos x="connsiteX20828" y="connsiteY20828"/>
              </a:cxn>
              <a:cxn ang="0">
                <a:pos x="connsiteX20829" y="connsiteY20829"/>
              </a:cxn>
              <a:cxn ang="0">
                <a:pos x="connsiteX20830" y="connsiteY20830"/>
              </a:cxn>
              <a:cxn ang="0">
                <a:pos x="connsiteX20831" y="connsiteY20831"/>
              </a:cxn>
              <a:cxn ang="0">
                <a:pos x="connsiteX20832" y="connsiteY20832"/>
              </a:cxn>
              <a:cxn ang="0">
                <a:pos x="connsiteX20833" y="connsiteY20833"/>
              </a:cxn>
              <a:cxn ang="0">
                <a:pos x="connsiteX20834" y="connsiteY20834"/>
              </a:cxn>
              <a:cxn ang="0">
                <a:pos x="connsiteX20835" y="connsiteY20835"/>
              </a:cxn>
              <a:cxn ang="0">
                <a:pos x="connsiteX20836" y="connsiteY20836"/>
              </a:cxn>
              <a:cxn ang="0">
                <a:pos x="connsiteX20837" y="connsiteY20837"/>
              </a:cxn>
              <a:cxn ang="0">
                <a:pos x="connsiteX20838" y="connsiteY20838"/>
              </a:cxn>
              <a:cxn ang="0">
                <a:pos x="connsiteX20839" y="connsiteY20839"/>
              </a:cxn>
              <a:cxn ang="0">
                <a:pos x="connsiteX20840" y="connsiteY20840"/>
              </a:cxn>
              <a:cxn ang="0">
                <a:pos x="connsiteX20841" y="connsiteY20841"/>
              </a:cxn>
              <a:cxn ang="0">
                <a:pos x="connsiteX20842" y="connsiteY20842"/>
              </a:cxn>
              <a:cxn ang="0">
                <a:pos x="connsiteX20843" y="connsiteY20843"/>
              </a:cxn>
              <a:cxn ang="0">
                <a:pos x="connsiteX20844" y="connsiteY20844"/>
              </a:cxn>
              <a:cxn ang="0">
                <a:pos x="connsiteX20845" y="connsiteY20845"/>
              </a:cxn>
              <a:cxn ang="0">
                <a:pos x="connsiteX20846" y="connsiteY20846"/>
              </a:cxn>
              <a:cxn ang="0">
                <a:pos x="connsiteX20847" y="connsiteY20847"/>
              </a:cxn>
              <a:cxn ang="0">
                <a:pos x="connsiteX20848" y="connsiteY20848"/>
              </a:cxn>
              <a:cxn ang="0">
                <a:pos x="connsiteX20849" y="connsiteY20849"/>
              </a:cxn>
              <a:cxn ang="0">
                <a:pos x="connsiteX20850" y="connsiteY20850"/>
              </a:cxn>
              <a:cxn ang="0">
                <a:pos x="connsiteX20851" y="connsiteY20851"/>
              </a:cxn>
              <a:cxn ang="0">
                <a:pos x="connsiteX20852" y="connsiteY20852"/>
              </a:cxn>
              <a:cxn ang="0">
                <a:pos x="connsiteX20853" y="connsiteY20853"/>
              </a:cxn>
              <a:cxn ang="0">
                <a:pos x="connsiteX20854" y="connsiteY20854"/>
              </a:cxn>
              <a:cxn ang="0">
                <a:pos x="connsiteX20855" y="connsiteY20855"/>
              </a:cxn>
              <a:cxn ang="0">
                <a:pos x="connsiteX20856" y="connsiteY20856"/>
              </a:cxn>
              <a:cxn ang="0">
                <a:pos x="connsiteX20857" y="connsiteY20857"/>
              </a:cxn>
              <a:cxn ang="0">
                <a:pos x="connsiteX20858" y="connsiteY20858"/>
              </a:cxn>
              <a:cxn ang="0">
                <a:pos x="connsiteX20859" y="connsiteY20859"/>
              </a:cxn>
              <a:cxn ang="0">
                <a:pos x="connsiteX20860" y="connsiteY20860"/>
              </a:cxn>
              <a:cxn ang="0">
                <a:pos x="connsiteX20861" y="connsiteY20861"/>
              </a:cxn>
              <a:cxn ang="0">
                <a:pos x="connsiteX20862" y="connsiteY20862"/>
              </a:cxn>
              <a:cxn ang="0">
                <a:pos x="connsiteX20863" y="connsiteY20863"/>
              </a:cxn>
              <a:cxn ang="0">
                <a:pos x="connsiteX20864" y="connsiteY20864"/>
              </a:cxn>
              <a:cxn ang="0">
                <a:pos x="connsiteX20865" y="connsiteY20865"/>
              </a:cxn>
              <a:cxn ang="0">
                <a:pos x="connsiteX20866" y="connsiteY20866"/>
              </a:cxn>
              <a:cxn ang="0">
                <a:pos x="connsiteX20867" y="connsiteY20867"/>
              </a:cxn>
              <a:cxn ang="0">
                <a:pos x="connsiteX20868" y="connsiteY20868"/>
              </a:cxn>
              <a:cxn ang="0">
                <a:pos x="connsiteX20869" y="connsiteY20869"/>
              </a:cxn>
              <a:cxn ang="0">
                <a:pos x="connsiteX20870" y="connsiteY20870"/>
              </a:cxn>
              <a:cxn ang="0">
                <a:pos x="connsiteX20871" y="connsiteY20871"/>
              </a:cxn>
              <a:cxn ang="0">
                <a:pos x="connsiteX20872" y="connsiteY20872"/>
              </a:cxn>
              <a:cxn ang="0">
                <a:pos x="connsiteX20873" y="connsiteY20873"/>
              </a:cxn>
              <a:cxn ang="0">
                <a:pos x="connsiteX20874" y="connsiteY20874"/>
              </a:cxn>
              <a:cxn ang="0">
                <a:pos x="connsiteX20875" y="connsiteY20875"/>
              </a:cxn>
              <a:cxn ang="0">
                <a:pos x="connsiteX20876" y="connsiteY20876"/>
              </a:cxn>
              <a:cxn ang="0">
                <a:pos x="connsiteX20877" y="connsiteY20877"/>
              </a:cxn>
              <a:cxn ang="0">
                <a:pos x="connsiteX20878" y="connsiteY20878"/>
              </a:cxn>
              <a:cxn ang="0">
                <a:pos x="connsiteX20879" y="connsiteY20879"/>
              </a:cxn>
              <a:cxn ang="0">
                <a:pos x="connsiteX20880" y="connsiteY20880"/>
              </a:cxn>
              <a:cxn ang="0">
                <a:pos x="connsiteX20881" y="connsiteY20881"/>
              </a:cxn>
              <a:cxn ang="0">
                <a:pos x="connsiteX20882" y="connsiteY20882"/>
              </a:cxn>
              <a:cxn ang="0">
                <a:pos x="connsiteX20883" y="connsiteY20883"/>
              </a:cxn>
              <a:cxn ang="0">
                <a:pos x="connsiteX20884" y="connsiteY20884"/>
              </a:cxn>
              <a:cxn ang="0">
                <a:pos x="connsiteX20885" y="connsiteY20885"/>
              </a:cxn>
              <a:cxn ang="0">
                <a:pos x="connsiteX20886" y="connsiteY20886"/>
              </a:cxn>
              <a:cxn ang="0">
                <a:pos x="connsiteX20887" y="connsiteY20887"/>
              </a:cxn>
              <a:cxn ang="0">
                <a:pos x="connsiteX20888" y="connsiteY20888"/>
              </a:cxn>
              <a:cxn ang="0">
                <a:pos x="connsiteX20889" y="connsiteY20889"/>
              </a:cxn>
              <a:cxn ang="0">
                <a:pos x="connsiteX20890" y="connsiteY20890"/>
              </a:cxn>
              <a:cxn ang="0">
                <a:pos x="connsiteX20891" y="connsiteY20891"/>
              </a:cxn>
              <a:cxn ang="0">
                <a:pos x="connsiteX20892" y="connsiteY20892"/>
              </a:cxn>
              <a:cxn ang="0">
                <a:pos x="connsiteX20893" y="connsiteY20893"/>
              </a:cxn>
              <a:cxn ang="0">
                <a:pos x="connsiteX20894" y="connsiteY20894"/>
              </a:cxn>
              <a:cxn ang="0">
                <a:pos x="connsiteX20895" y="connsiteY20895"/>
              </a:cxn>
              <a:cxn ang="0">
                <a:pos x="connsiteX20896" y="connsiteY20896"/>
              </a:cxn>
              <a:cxn ang="0">
                <a:pos x="connsiteX20897" y="connsiteY20897"/>
              </a:cxn>
              <a:cxn ang="0">
                <a:pos x="connsiteX20898" y="connsiteY20898"/>
              </a:cxn>
              <a:cxn ang="0">
                <a:pos x="connsiteX20899" y="connsiteY20899"/>
              </a:cxn>
              <a:cxn ang="0">
                <a:pos x="connsiteX20900" y="connsiteY20900"/>
              </a:cxn>
              <a:cxn ang="0">
                <a:pos x="connsiteX20901" y="connsiteY20901"/>
              </a:cxn>
              <a:cxn ang="0">
                <a:pos x="connsiteX20902" y="connsiteY20902"/>
              </a:cxn>
              <a:cxn ang="0">
                <a:pos x="connsiteX20903" y="connsiteY20903"/>
              </a:cxn>
              <a:cxn ang="0">
                <a:pos x="connsiteX20904" y="connsiteY20904"/>
              </a:cxn>
              <a:cxn ang="0">
                <a:pos x="connsiteX20905" y="connsiteY20905"/>
              </a:cxn>
              <a:cxn ang="0">
                <a:pos x="connsiteX20906" y="connsiteY20906"/>
              </a:cxn>
              <a:cxn ang="0">
                <a:pos x="connsiteX20907" y="connsiteY20907"/>
              </a:cxn>
              <a:cxn ang="0">
                <a:pos x="connsiteX20908" y="connsiteY20908"/>
              </a:cxn>
              <a:cxn ang="0">
                <a:pos x="connsiteX20909" y="connsiteY20909"/>
              </a:cxn>
              <a:cxn ang="0">
                <a:pos x="connsiteX20910" y="connsiteY20910"/>
              </a:cxn>
              <a:cxn ang="0">
                <a:pos x="connsiteX20911" y="connsiteY20911"/>
              </a:cxn>
              <a:cxn ang="0">
                <a:pos x="connsiteX20912" y="connsiteY20912"/>
              </a:cxn>
              <a:cxn ang="0">
                <a:pos x="connsiteX20913" y="connsiteY20913"/>
              </a:cxn>
              <a:cxn ang="0">
                <a:pos x="connsiteX20914" y="connsiteY20914"/>
              </a:cxn>
              <a:cxn ang="0">
                <a:pos x="connsiteX20915" y="connsiteY20915"/>
              </a:cxn>
              <a:cxn ang="0">
                <a:pos x="connsiteX20916" y="connsiteY20916"/>
              </a:cxn>
              <a:cxn ang="0">
                <a:pos x="connsiteX20917" y="connsiteY20917"/>
              </a:cxn>
              <a:cxn ang="0">
                <a:pos x="connsiteX20918" y="connsiteY20918"/>
              </a:cxn>
              <a:cxn ang="0">
                <a:pos x="connsiteX20919" y="connsiteY20919"/>
              </a:cxn>
              <a:cxn ang="0">
                <a:pos x="connsiteX20920" y="connsiteY20920"/>
              </a:cxn>
              <a:cxn ang="0">
                <a:pos x="connsiteX20921" y="connsiteY20921"/>
              </a:cxn>
              <a:cxn ang="0">
                <a:pos x="connsiteX20922" y="connsiteY20922"/>
              </a:cxn>
              <a:cxn ang="0">
                <a:pos x="connsiteX20923" y="connsiteY20923"/>
              </a:cxn>
              <a:cxn ang="0">
                <a:pos x="connsiteX20924" y="connsiteY20924"/>
              </a:cxn>
              <a:cxn ang="0">
                <a:pos x="connsiteX20925" y="connsiteY20925"/>
              </a:cxn>
              <a:cxn ang="0">
                <a:pos x="connsiteX20926" y="connsiteY20926"/>
              </a:cxn>
              <a:cxn ang="0">
                <a:pos x="connsiteX20927" y="connsiteY20927"/>
              </a:cxn>
              <a:cxn ang="0">
                <a:pos x="connsiteX20928" y="connsiteY20928"/>
              </a:cxn>
              <a:cxn ang="0">
                <a:pos x="connsiteX20929" y="connsiteY20929"/>
              </a:cxn>
              <a:cxn ang="0">
                <a:pos x="connsiteX20930" y="connsiteY20930"/>
              </a:cxn>
              <a:cxn ang="0">
                <a:pos x="connsiteX20931" y="connsiteY20931"/>
              </a:cxn>
              <a:cxn ang="0">
                <a:pos x="connsiteX20932" y="connsiteY20932"/>
              </a:cxn>
              <a:cxn ang="0">
                <a:pos x="connsiteX20933" y="connsiteY20933"/>
              </a:cxn>
              <a:cxn ang="0">
                <a:pos x="connsiteX20934" y="connsiteY20934"/>
              </a:cxn>
              <a:cxn ang="0">
                <a:pos x="connsiteX20935" y="connsiteY20935"/>
              </a:cxn>
              <a:cxn ang="0">
                <a:pos x="connsiteX20936" y="connsiteY20936"/>
              </a:cxn>
              <a:cxn ang="0">
                <a:pos x="connsiteX20937" y="connsiteY20937"/>
              </a:cxn>
              <a:cxn ang="0">
                <a:pos x="connsiteX20938" y="connsiteY20938"/>
              </a:cxn>
              <a:cxn ang="0">
                <a:pos x="connsiteX20939" y="connsiteY20939"/>
              </a:cxn>
              <a:cxn ang="0">
                <a:pos x="connsiteX20940" y="connsiteY20940"/>
              </a:cxn>
              <a:cxn ang="0">
                <a:pos x="connsiteX20941" y="connsiteY20941"/>
              </a:cxn>
              <a:cxn ang="0">
                <a:pos x="connsiteX20942" y="connsiteY20942"/>
              </a:cxn>
              <a:cxn ang="0">
                <a:pos x="connsiteX20943" y="connsiteY20943"/>
              </a:cxn>
              <a:cxn ang="0">
                <a:pos x="connsiteX20944" y="connsiteY20944"/>
              </a:cxn>
              <a:cxn ang="0">
                <a:pos x="connsiteX20945" y="connsiteY20945"/>
              </a:cxn>
              <a:cxn ang="0">
                <a:pos x="connsiteX20946" y="connsiteY20946"/>
              </a:cxn>
              <a:cxn ang="0">
                <a:pos x="connsiteX20947" y="connsiteY20947"/>
              </a:cxn>
              <a:cxn ang="0">
                <a:pos x="connsiteX20948" y="connsiteY20948"/>
              </a:cxn>
              <a:cxn ang="0">
                <a:pos x="connsiteX20949" y="connsiteY20949"/>
              </a:cxn>
              <a:cxn ang="0">
                <a:pos x="connsiteX20950" y="connsiteY20950"/>
              </a:cxn>
              <a:cxn ang="0">
                <a:pos x="connsiteX20951" y="connsiteY20951"/>
              </a:cxn>
              <a:cxn ang="0">
                <a:pos x="connsiteX20952" y="connsiteY20952"/>
              </a:cxn>
              <a:cxn ang="0">
                <a:pos x="connsiteX20953" y="connsiteY20953"/>
              </a:cxn>
              <a:cxn ang="0">
                <a:pos x="connsiteX20954" y="connsiteY20954"/>
              </a:cxn>
              <a:cxn ang="0">
                <a:pos x="connsiteX20955" y="connsiteY20955"/>
              </a:cxn>
              <a:cxn ang="0">
                <a:pos x="connsiteX20956" y="connsiteY20956"/>
              </a:cxn>
              <a:cxn ang="0">
                <a:pos x="connsiteX20957" y="connsiteY20957"/>
              </a:cxn>
              <a:cxn ang="0">
                <a:pos x="connsiteX20958" y="connsiteY20958"/>
              </a:cxn>
              <a:cxn ang="0">
                <a:pos x="connsiteX20959" y="connsiteY20959"/>
              </a:cxn>
              <a:cxn ang="0">
                <a:pos x="connsiteX20960" y="connsiteY20960"/>
              </a:cxn>
              <a:cxn ang="0">
                <a:pos x="connsiteX20961" y="connsiteY20961"/>
              </a:cxn>
              <a:cxn ang="0">
                <a:pos x="connsiteX20962" y="connsiteY20962"/>
              </a:cxn>
              <a:cxn ang="0">
                <a:pos x="connsiteX20963" y="connsiteY20963"/>
              </a:cxn>
              <a:cxn ang="0">
                <a:pos x="connsiteX20964" y="connsiteY20964"/>
              </a:cxn>
              <a:cxn ang="0">
                <a:pos x="connsiteX20965" y="connsiteY20965"/>
              </a:cxn>
              <a:cxn ang="0">
                <a:pos x="connsiteX20966" y="connsiteY20966"/>
              </a:cxn>
              <a:cxn ang="0">
                <a:pos x="connsiteX20967" y="connsiteY20967"/>
              </a:cxn>
              <a:cxn ang="0">
                <a:pos x="connsiteX20968" y="connsiteY20968"/>
              </a:cxn>
              <a:cxn ang="0">
                <a:pos x="connsiteX20969" y="connsiteY20969"/>
              </a:cxn>
              <a:cxn ang="0">
                <a:pos x="connsiteX20970" y="connsiteY20970"/>
              </a:cxn>
              <a:cxn ang="0">
                <a:pos x="connsiteX20971" y="connsiteY20971"/>
              </a:cxn>
              <a:cxn ang="0">
                <a:pos x="connsiteX20972" y="connsiteY20972"/>
              </a:cxn>
              <a:cxn ang="0">
                <a:pos x="connsiteX20973" y="connsiteY20973"/>
              </a:cxn>
              <a:cxn ang="0">
                <a:pos x="connsiteX20974" y="connsiteY20974"/>
              </a:cxn>
              <a:cxn ang="0">
                <a:pos x="connsiteX20975" y="connsiteY20975"/>
              </a:cxn>
              <a:cxn ang="0">
                <a:pos x="connsiteX20976" y="connsiteY20976"/>
              </a:cxn>
              <a:cxn ang="0">
                <a:pos x="connsiteX20977" y="connsiteY20977"/>
              </a:cxn>
              <a:cxn ang="0">
                <a:pos x="connsiteX20978" y="connsiteY20978"/>
              </a:cxn>
              <a:cxn ang="0">
                <a:pos x="connsiteX20979" y="connsiteY20979"/>
              </a:cxn>
              <a:cxn ang="0">
                <a:pos x="connsiteX20980" y="connsiteY20980"/>
              </a:cxn>
              <a:cxn ang="0">
                <a:pos x="connsiteX20981" y="connsiteY20981"/>
              </a:cxn>
              <a:cxn ang="0">
                <a:pos x="connsiteX20982" y="connsiteY20982"/>
              </a:cxn>
              <a:cxn ang="0">
                <a:pos x="connsiteX20983" y="connsiteY20983"/>
              </a:cxn>
              <a:cxn ang="0">
                <a:pos x="connsiteX20984" y="connsiteY20984"/>
              </a:cxn>
              <a:cxn ang="0">
                <a:pos x="connsiteX20985" y="connsiteY20985"/>
              </a:cxn>
              <a:cxn ang="0">
                <a:pos x="connsiteX20986" y="connsiteY20986"/>
              </a:cxn>
              <a:cxn ang="0">
                <a:pos x="connsiteX20987" y="connsiteY20987"/>
              </a:cxn>
              <a:cxn ang="0">
                <a:pos x="connsiteX20988" y="connsiteY20988"/>
              </a:cxn>
              <a:cxn ang="0">
                <a:pos x="connsiteX20989" y="connsiteY20989"/>
              </a:cxn>
              <a:cxn ang="0">
                <a:pos x="connsiteX20990" y="connsiteY20990"/>
              </a:cxn>
              <a:cxn ang="0">
                <a:pos x="connsiteX20991" y="connsiteY20991"/>
              </a:cxn>
              <a:cxn ang="0">
                <a:pos x="connsiteX20992" y="connsiteY20992"/>
              </a:cxn>
              <a:cxn ang="0">
                <a:pos x="connsiteX20993" y="connsiteY20993"/>
              </a:cxn>
              <a:cxn ang="0">
                <a:pos x="connsiteX20994" y="connsiteY20994"/>
              </a:cxn>
              <a:cxn ang="0">
                <a:pos x="connsiteX20995" y="connsiteY20995"/>
              </a:cxn>
              <a:cxn ang="0">
                <a:pos x="connsiteX20996" y="connsiteY20996"/>
              </a:cxn>
              <a:cxn ang="0">
                <a:pos x="connsiteX20997" y="connsiteY20997"/>
              </a:cxn>
              <a:cxn ang="0">
                <a:pos x="connsiteX20998" y="connsiteY20998"/>
              </a:cxn>
              <a:cxn ang="0">
                <a:pos x="connsiteX20999" y="connsiteY20999"/>
              </a:cxn>
              <a:cxn ang="0">
                <a:pos x="connsiteX21000" y="connsiteY21000"/>
              </a:cxn>
              <a:cxn ang="0">
                <a:pos x="connsiteX21001" y="connsiteY21001"/>
              </a:cxn>
              <a:cxn ang="0">
                <a:pos x="connsiteX21002" y="connsiteY21002"/>
              </a:cxn>
              <a:cxn ang="0">
                <a:pos x="connsiteX21003" y="connsiteY21003"/>
              </a:cxn>
              <a:cxn ang="0">
                <a:pos x="connsiteX21004" y="connsiteY21004"/>
              </a:cxn>
              <a:cxn ang="0">
                <a:pos x="connsiteX21005" y="connsiteY21005"/>
              </a:cxn>
              <a:cxn ang="0">
                <a:pos x="connsiteX21006" y="connsiteY21006"/>
              </a:cxn>
              <a:cxn ang="0">
                <a:pos x="connsiteX21007" y="connsiteY21007"/>
              </a:cxn>
              <a:cxn ang="0">
                <a:pos x="connsiteX21008" y="connsiteY21008"/>
              </a:cxn>
              <a:cxn ang="0">
                <a:pos x="connsiteX21009" y="connsiteY21009"/>
              </a:cxn>
              <a:cxn ang="0">
                <a:pos x="connsiteX21010" y="connsiteY21010"/>
              </a:cxn>
              <a:cxn ang="0">
                <a:pos x="connsiteX21011" y="connsiteY21011"/>
              </a:cxn>
              <a:cxn ang="0">
                <a:pos x="connsiteX21012" y="connsiteY21012"/>
              </a:cxn>
              <a:cxn ang="0">
                <a:pos x="connsiteX21013" y="connsiteY21013"/>
              </a:cxn>
              <a:cxn ang="0">
                <a:pos x="connsiteX21014" y="connsiteY21014"/>
              </a:cxn>
              <a:cxn ang="0">
                <a:pos x="connsiteX21015" y="connsiteY21015"/>
              </a:cxn>
              <a:cxn ang="0">
                <a:pos x="connsiteX21016" y="connsiteY21016"/>
              </a:cxn>
              <a:cxn ang="0">
                <a:pos x="connsiteX21017" y="connsiteY21017"/>
              </a:cxn>
              <a:cxn ang="0">
                <a:pos x="connsiteX21018" y="connsiteY21018"/>
              </a:cxn>
              <a:cxn ang="0">
                <a:pos x="connsiteX21019" y="connsiteY21019"/>
              </a:cxn>
              <a:cxn ang="0">
                <a:pos x="connsiteX21020" y="connsiteY21020"/>
              </a:cxn>
              <a:cxn ang="0">
                <a:pos x="connsiteX21021" y="connsiteY21021"/>
              </a:cxn>
              <a:cxn ang="0">
                <a:pos x="connsiteX21022" y="connsiteY21022"/>
              </a:cxn>
              <a:cxn ang="0">
                <a:pos x="connsiteX21023" y="connsiteY21023"/>
              </a:cxn>
              <a:cxn ang="0">
                <a:pos x="connsiteX21024" y="connsiteY21024"/>
              </a:cxn>
              <a:cxn ang="0">
                <a:pos x="connsiteX21025" y="connsiteY21025"/>
              </a:cxn>
              <a:cxn ang="0">
                <a:pos x="connsiteX21026" y="connsiteY21026"/>
              </a:cxn>
              <a:cxn ang="0">
                <a:pos x="connsiteX21027" y="connsiteY21027"/>
              </a:cxn>
              <a:cxn ang="0">
                <a:pos x="connsiteX21028" y="connsiteY21028"/>
              </a:cxn>
              <a:cxn ang="0">
                <a:pos x="connsiteX21029" y="connsiteY21029"/>
              </a:cxn>
              <a:cxn ang="0">
                <a:pos x="connsiteX21030" y="connsiteY21030"/>
              </a:cxn>
              <a:cxn ang="0">
                <a:pos x="connsiteX21031" y="connsiteY21031"/>
              </a:cxn>
              <a:cxn ang="0">
                <a:pos x="connsiteX21032" y="connsiteY21032"/>
              </a:cxn>
              <a:cxn ang="0">
                <a:pos x="connsiteX21033" y="connsiteY21033"/>
              </a:cxn>
              <a:cxn ang="0">
                <a:pos x="connsiteX21034" y="connsiteY21034"/>
              </a:cxn>
              <a:cxn ang="0">
                <a:pos x="connsiteX21035" y="connsiteY21035"/>
              </a:cxn>
              <a:cxn ang="0">
                <a:pos x="connsiteX21036" y="connsiteY21036"/>
              </a:cxn>
              <a:cxn ang="0">
                <a:pos x="connsiteX21037" y="connsiteY21037"/>
              </a:cxn>
              <a:cxn ang="0">
                <a:pos x="connsiteX21038" y="connsiteY21038"/>
              </a:cxn>
              <a:cxn ang="0">
                <a:pos x="connsiteX21039" y="connsiteY21039"/>
              </a:cxn>
              <a:cxn ang="0">
                <a:pos x="connsiteX21040" y="connsiteY21040"/>
              </a:cxn>
              <a:cxn ang="0">
                <a:pos x="connsiteX21041" y="connsiteY21041"/>
              </a:cxn>
              <a:cxn ang="0">
                <a:pos x="connsiteX21042" y="connsiteY21042"/>
              </a:cxn>
              <a:cxn ang="0">
                <a:pos x="connsiteX21043" y="connsiteY21043"/>
              </a:cxn>
              <a:cxn ang="0">
                <a:pos x="connsiteX21044" y="connsiteY21044"/>
              </a:cxn>
              <a:cxn ang="0">
                <a:pos x="connsiteX21045" y="connsiteY21045"/>
              </a:cxn>
              <a:cxn ang="0">
                <a:pos x="connsiteX21046" y="connsiteY21046"/>
              </a:cxn>
              <a:cxn ang="0">
                <a:pos x="connsiteX21047" y="connsiteY21047"/>
              </a:cxn>
              <a:cxn ang="0">
                <a:pos x="connsiteX21048" y="connsiteY21048"/>
              </a:cxn>
              <a:cxn ang="0">
                <a:pos x="connsiteX21049" y="connsiteY21049"/>
              </a:cxn>
              <a:cxn ang="0">
                <a:pos x="connsiteX21050" y="connsiteY21050"/>
              </a:cxn>
              <a:cxn ang="0">
                <a:pos x="connsiteX21051" y="connsiteY21051"/>
              </a:cxn>
              <a:cxn ang="0">
                <a:pos x="connsiteX21052" y="connsiteY21052"/>
              </a:cxn>
              <a:cxn ang="0">
                <a:pos x="connsiteX21053" y="connsiteY21053"/>
              </a:cxn>
              <a:cxn ang="0">
                <a:pos x="connsiteX21054" y="connsiteY21054"/>
              </a:cxn>
              <a:cxn ang="0">
                <a:pos x="connsiteX21055" y="connsiteY21055"/>
              </a:cxn>
              <a:cxn ang="0">
                <a:pos x="connsiteX21056" y="connsiteY21056"/>
              </a:cxn>
              <a:cxn ang="0">
                <a:pos x="connsiteX21057" y="connsiteY21057"/>
              </a:cxn>
              <a:cxn ang="0">
                <a:pos x="connsiteX21058" y="connsiteY21058"/>
              </a:cxn>
              <a:cxn ang="0">
                <a:pos x="connsiteX21059" y="connsiteY21059"/>
              </a:cxn>
              <a:cxn ang="0">
                <a:pos x="connsiteX21060" y="connsiteY21060"/>
              </a:cxn>
              <a:cxn ang="0">
                <a:pos x="connsiteX21061" y="connsiteY21061"/>
              </a:cxn>
              <a:cxn ang="0">
                <a:pos x="connsiteX21062" y="connsiteY21062"/>
              </a:cxn>
              <a:cxn ang="0">
                <a:pos x="connsiteX21063" y="connsiteY21063"/>
              </a:cxn>
              <a:cxn ang="0">
                <a:pos x="connsiteX21064" y="connsiteY21064"/>
              </a:cxn>
              <a:cxn ang="0">
                <a:pos x="connsiteX21065" y="connsiteY21065"/>
              </a:cxn>
              <a:cxn ang="0">
                <a:pos x="connsiteX21066" y="connsiteY21066"/>
              </a:cxn>
              <a:cxn ang="0">
                <a:pos x="connsiteX21067" y="connsiteY21067"/>
              </a:cxn>
              <a:cxn ang="0">
                <a:pos x="connsiteX21068" y="connsiteY21068"/>
              </a:cxn>
              <a:cxn ang="0">
                <a:pos x="connsiteX21069" y="connsiteY21069"/>
              </a:cxn>
              <a:cxn ang="0">
                <a:pos x="connsiteX21070" y="connsiteY21070"/>
              </a:cxn>
              <a:cxn ang="0">
                <a:pos x="connsiteX21071" y="connsiteY21071"/>
              </a:cxn>
              <a:cxn ang="0">
                <a:pos x="connsiteX21072" y="connsiteY21072"/>
              </a:cxn>
              <a:cxn ang="0">
                <a:pos x="connsiteX21073" y="connsiteY21073"/>
              </a:cxn>
              <a:cxn ang="0">
                <a:pos x="connsiteX21074" y="connsiteY21074"/>
              </a:cxn>
              <a:cxn ang="0">
                <a:pos x="connsiteX21075" y="connsiteY21075"/>
              </a:cxn>
              <a:cxn ang="0">
                <a:pos x="connsiteX21076" y="connsiteY21076"/>
              </a:cxn>
              <a:cxn ang="0">
                <a:pos x="connsiteX21077" y="connsiteY21077"/>
              </a:cxn>
              <a:cxn ang="0">
                <a:pos x="connsiteX21078" y="connsiteY21078"/>
              </a:cxn>
              <a:cxn ang="0">
                <a:pos x="connsiteX21079" y="connsiteY21079"/>
              </a:cxn>
              <a:cxn ang="0">
                <a:pos x="connsiteX21080" y="connsiteY21080"/>
              </a:cxn>
              <a:cxn ang="0">
                <a:pos x="connsiteX21081" y="connsiteY21081"/>
              </a:cxn>
              <a:cxn ang="0">
                <a:pos x="connsiteX21082" y="connsiteY21082"/>
              </a:cxn>
              <a:cxn ang="0">
                <a:pos x="connsiteX21083" y="connsiteY21083"/>
              </a:cxn>
              <a:cxn ang="0">
                <a:pos x="connsiteX21084" y="connsiteY21084"/>
              </a:cxn>
              <a:cxn ang="0">
                <a:pos x="connsiteX21085" y="connsiteY21085"/>
              </a:cxn>
              <a:cxn ang="0">
                <a:pos x="connsiteX21086" y="connsiteY21086"/>
              </a:cxn>
              <a:cxn ang="0">
                <a:pos x="connsiteX21087" y="connsiteY21087"/>
              </a:cxn>
              <a:cxn ang="0">
                <a:pos x="connsiteX21088" y="connsiteY21088"/>
              </a:cxn>
              <a:cxn ang="0">
                <a:pos x="connsiteX21089" y="connsiteY21089"/>
              </a:cxn>
              <a:cxn ang="0">
                <a:pos x="connsiteX21090" y="connsiteY21090"/>
              </a:cxn>
              <a:cxn ang="0">
                <a:pos x="connsiteX21091" y="connsiteY21091"/>
              </a:cxn>
              <a:cxn ang="0">
                <a:pos x="connsiteX21092" y="connsiteY21092"/>
              </a:cxn>
              <a:cxn ang="0">
                <a:pos x="connsiteX21093" y="connsiteY21093"/>
              </a:cxn>
              <a:cxn ang="0">
                <a:pos x="connsiteX21094" y="connsiteY21094"/>
              </a:cxn>
              <a:cxn ang="0">
                <a:pos x="connsiteX21095" y="connsiteY21095"/>
              </a:cxn>
              <a:cxn ang="0">
                <a:pos x="connsiteX21096" y="connsiteY21096"/>
              </a:cxn>
              <a:cxn ang="0">
                <a:pos x="connsiteX21097" y="connsiteY21097"/>
              </a:cxn>
              <a:cxn ang="0">
                <a:pos x="connsiteX21098" y="connsiteY21098"/>
              </a:cxn>
              <a:cxn ang="0">
                <a:pos x="connsiteX21099" y="connsiteY21099"/>
              </a:cxn>
              <a:cxn ang="0">
                <a:pos x="connsiteX21100" y="connsiteY21100"/>
              </a:cxn>
              <a:cxn ang="0">
                <a:pos x="connsiteX21101" y="connsiteY21101"/>
              </a:cxn>
              <a:cxn ang="0">
                <a:pos x="connsiteX21102" y="connsiteY21102"/>
              </a:cxn>
              <a:cxn ang="0">
                <a:pos x="connsiteX21103" y="connsiteY21103"/>
              </a:cxn>
              <a:cxn ang="0">
                <a:pos x="connsiteX21104" y="connsiteY21104"/>
              </a:cxn>
              <a:cxn ang="0">
                <a:pos x="connsiteX21105" y="connsiteY21105"/>
              </a:cxn>
              <a:cxn ang="0">
                <a:pos x="connsiteX21106" y="connsiteY21106"/>
              </a:cxn>
              <a:cxn ang="0">
                <a:pos x="connsiteX21107" y="connsiteY21107"/>
              </a:cxn>
              <a:cxn ang="0">
                <a:pos x="connsiteX21108" y="connsiteY21108"/>
              </a:cxn>
              <a:cxn ang="0">
                <a:pos x="connsiteX21109" y="connsiteY21109"/>
              </a:cxn>
              <a:cxn ang="0">
                <a:pos x="connsiteX21110" y="connsiteY21110"/>
              </a:cxn>
              <a:cxn ang="0">
                <a:pos x="connsiteX21111" y="connsiteY21111"/>
              </a:cxn>
              <a:cxn ang="0">
                <a:pos x="connsiteX21112" y="connsiteY21112"/>
              </a:cxn>
              <a:cxn ang="0">
                <a:pos x="connsiteX21113" y="connsiteY21113"/>
              </a:cxn>
              <a:cxn ang="0">
                <a:pos x="connsiteX21114" y="connsiteY21114"/>
              </a:cxn>
              <a:cxn ang="0">
                <a:pos x="connsiteX21115" y="connsiteY21115"/>
              </a:cxn>
              <a:cxn ang="0">
                <a:pos x="connsiteX21116" y="connsiteY21116"/>
              </a:cxn>
              <a:cxn ang="0">
                <a:pos x="connsiteX21117" y="connsiteY21117"/>
              </a:cxn>
              <a:cxn ang="0">
                <a:pos x="connsiteX21118" y="connsiteY21118"/>
              </a:cxn>
              <a:cxn ang="0">
                <a:pos x="connsiteX21119" y="connsiteY21119"/>
              </a:cxn>
              <a:cxn ang="0">
                <a:pos x="connsiteX21120" y="connsiteY21120"/>
              </a:cxn>
              <a:cxn ang="0">
                <a:pos x="connsiteX21121" y="connsiteY21121"/>
              </a:cxn>
              <a:cxn ang="0">
                <a:pos x="connsiteX21122" y="connsiteY21122"/>
              </a:cxn>
              <a:cxn ang="0">
                <a:pos x="connsiteX21123" y="connsiteY21123"/>
              </a:cxn>
              <a:cxn ang="0">
                <a:pos x="connsiteX21124" y="connsiteY21124"/>
              </a:cxn>
              <a:cxn ang="0">
                <a:pos x="connsiteX21125" y="connsiteY21125"/>
              </a:cxn>
              <a:cxn ang="0">
                <a:pos x="connsiteX21126" y="connsiteY21126"/>
              </a:cxn>
              <a:cxn ang="0">
                <a:pos x="connsiteX21127" y="connsiteY21127"/>
              </a:cxn>
              <a:cxn ang="0">
                <a:pos x="connsiteX21128" y="connsiteY21128"/>
              </a:cxn>
              <a:cxn ang="0">
                <a:pos x="connsiteX21129" y="connsiteY21129"/>
              </a:cxn>
              <a:cxn ang="0">
                <a:pos x="connsiteX21130" y="connsiteY21130"/>
              </a:cxn>
              <a:cxn ang="0">
                <a:pos x="connsiteX21131" y="connsiteY21131"/>
              </a:cxn>
              <a:cxn ang="0">
                <a:pos x="connsiteX21132" y="connsiteY21132"/>
              </a:cxn>
              <a:cxn ang="0">
                <a:pos x="connsiteX21133" y="connsiteY21133"/>
              </a:cxn>
              <a:cxn ang="0">
                <a:pos x="connsiteX21134" y="connsiteY21134"/>
              </a:cxn>
              <a:cxn ang="0">
                <a:pos x="connsiteX21135" y="connsiteY21135"/>
              </a:cxn>
              <a:cxn ang="0">
                <a:pos x="connsiteX21136" y="connsiteY21136"/>
              </a:cxn>
              <a:cxn ang="0">
                <a:pos x="connsiteX21137" y="connsiteY21137"/>
              </a:cxn>
              <a:cxn ang="0">
                <a:pos x="connsiteX21138" y="connsiteY21138"/>
              </a:cxn>
              <a:cxn ang="0">
                <a:pos x="connsiteX21139" y="connsiteY21139"/>
              </a:cxn>
              <a:cxn ang="0">
                <a:pos x="connsiteX21140" y="connsiteY21140"/>
              </a:cxn>
              <a:cxn ang="0">
                <a:pos x="connsiteX21141" y="connsiteY21141"/>
              </a:cxn>
              <a:cxn ang="0">
                <a:pos x="connsiteX21142" y="connsiteY21142"/>
              </a:cxn>
              <a:cxn ang="0">
                <a:pos x="connsiteX21143" y="connsiteY21143"/>
              </a:cxn>
              <a:cxn ang="0">
                <a:pos x="connsiteX21144" y="connsiteY21144"/>
              </a:cxn>
              <a:cxn ang="0">
                <a:pos x="connsiteX21145" y="connsiteY21145"/>
              </a:cxn>
              <a:cxn ang="0">
                <a:pos x="connsiteX21146" y="connsiteY21146"/>
              </a:cxn>
              <a:cxn ang="0">
                <a:pos x="connsiteX21147" y="connsiteY21147"/>
              </a:cxn>
              <a:cxn ang="0">
                <a:pos x="connsiteX21148" y="connsiteY21148"/>
              </a:cxn>
              <a:cxn ang="0">
                <a:pos x="connsiteX21149" y="connsiteY21149"/>
              </a:cxn>
              <a:cxn ang="0">
                <a:pos x="connsiteX21150" y="connsiteY21150"/>
              </a:cxn>
              <a:cxn ang="0">
                <a:pos x="connsiteX21151" y="connsiteY21151"/>
              </a:cxn>
              <a:cxn ang="0">
                <a:pos x="connsiteX21152" y="connsiteY21152"/>
              </a:cxn>
              <a:cxn ang="0">
                <a:pos x="connsiteX21153" y="connsiteY21153"/>
              </a:cxn>
              <a:cxn ang="0">
                <a:pos x="connsiteX21154" y="connsiteY21154"/>
              </a:cxn>
              <a:cxn ang="0">
                <a:pos x="connsiteX21155" y="connsiteY21155"/>
              </a:cxn>
              <a:cxn ang="0">
                <a:pos x="connsiteX21156" y="connsiteY21156"/>
              </a:cxn>
              <a:cxn ang="0">
                <a:pos x="connsiteX21157" y="connsiteY21157"/>
              </a:cxn>
              <a:cxn ang="0">
                <a:pos x="connsiteX21158" y="connsiteY21158"/>
              </a:cxn>
              <a:cxn ang="0">
                <a:pos x="connsiteX21159" y="connsiteY21159"/>
              </a:cxn>
              <a:cxn ang="0">
                <a:pos x="connsiteX21160" y="connsiteY21160"/>
              </a:cxn>
              <a:cxn ang="0">
                <a:pos x="connsiteX21161" y="connsiteY21161"/>
              </a:cxn>
              <a:cxn ang="0">
                <a:pos x="connsiteX21162" y="connsiteY21162"/>
              </a:cxn>
              <a:cxn ang="0">
                <a:pos x="connsiteX21163" y="connsiteY21163"/>
              </a:cxn>
              <a:cxn ang="0">
                <a:pos x="connsiteX21164" y="connsiteY21164"/>
              </a:cxn>
              <a:cxn ang="0">
                <a:pos x="connsiteX21165" y="connsiteY21165"/>
              </a:cxn>
              <a:cxn ang="0">
                <a:pos x="connsiteX21166" y="connsiteY21166"/>
              </a:cxn>
              <a:cxn ang="0">
                <a:pos x="connsiteX21167" y="connsiteY21167"/>
              </a:cxn>
              <a:cxn ang="0">
                <a:pos x="connsiteX21168" y="connsiteY21168"/>
              </a:cxn>
              <a:cxn ang="0">
                <a:pos x="connsiteX21169" y="connsiteY21169"/>
              </a:cxn>
              <a:cxn ang="0">
                <a:pos x="connsiteX21170" y="connsiteY21170"/>
              </a:cxn>
              <a:cxn ang="0">
                <a:pos x="connsiteX21171" y="connsiteY21171"/>
              </a:cxn>
              <a:cxn ang="0">
                <a:pos x="connsiteX21172" y="connsiteY21172"/>
              </a:cxn>
              <a:cxn ang="0">
                <a:pos x="connsiteX21173" y="connsiteY21173"/>
              </a:cxn>
              <a:cxn ang="0">
                <a:pos x="connsiteX21174" y="connsiteY21174"/>
              </a:cxn>
              <a:cxn ang="0">
                <a:pos x="connsiteX21175" y="connsiteY21175"/>
              </a:cxn>
              <a:cxn ang="0">
                <a:pos x="connsiteX21176" y="connsiteY21176"/>
              </a:cxn>
              <a:cxn ang="0">
                <a:pos x="connsiteX21177" y="connsiteY21177"/>
              </a:cxn>
              <a:cxn ang="0">
                <a:pos x="connsiteX21178" y="connsiteY21178"/>
              </a:cxn>
              <a:cxn ang="0">
                <a:pos x="connsiteX21179" y="connsiteY21179"/>
              </a:cxn>
              <a:cxn ang="0">
                <a:pos x="connsiteX21180" y="connsiteY21180"/>
              </a:cxn>
              <a:cxn ang="0">
                <a:pos x="connsiteX21181" y="connsiteY21181"/>
              </a:cxn>
              <a:cxn ang="0">
                <a:pos x="connsiteX21182" y="connsiteY21182"/>
              </a:cxn>
              <a:cxn ang="0">
                <a:pos x="connsiteX21183" y="connsiteY21183"/>
              </a:cxn>
              <a:cxn ang="0">
                <a:pos x="connsiteX21184" y="connsiteY21184"/>
              </a:cxn>
              <a:cxn ang="0">
                <a:pos x="connsiteX21185" y="connsiteY21185"/>
              </a:cxn>
              <a:cxn ang="0">
                <a:pos x="connsiteX21186" y="connsiteY21186"/>
              </a:cxn>
              <a:cxn ang="0">
                <a:pos x="connsiteX21187" y="connsiteY21187"/>
              </a:cxn>
              <a:cxn ang="0">
                <a:pos x="connsiteX21188" y="connsiteY21188"/>
              </a:cxn>
              <a:cxn ang="0">
                <a:pos x="connsiteX21189" y="connsiteY21189"/>
              </a:cxn>
              <a:cxn ang="0">
                <a:pos x="connsiteX21190" y="connsiteY21190"/>
              </a:cxn>
              <a:cxn ang="0">
                <a:pos x="connsiteX21191" y="connsiteY21191"/>
              </a:cxn>
              <a:cxn ang="0">
                <a:pos x="connsiteX21192" y="connsiteY21192"/>
              </a:cxn>
              <a:cxn ang="0">
                <a:pos x="connsiteX21193" y="connsiteY21193"/>
              </a:cxn>
              <a:cxn ang="0">
                <a:pos x="connsiteX21194" y="connsiteY21194"/>
              </a:cxn>
              <a:cxn ang="0">
                <a:pos x="connsiteX21195" y="connsiteY21195"/>
              </a:cxn>
              <a:cxn ang="0">
                <a:pos x="connsiteX21196" y="connsiteY21196"/>
              </a:cxn>
              <a:cxn ang="0">
                <a:pos x="connsiteX21197" y="connsiteY21197"/>
              </a:cxn>
              <a:cxn ang="0">
                <a:pos x="connsiteX21198" y="connsiteY21198"/>
              </a:cxn>
              <a:cxn ang="0">
                <a:pos x="connsiteX21199" y="connsiteY21199"/>
              </a:cxn>
              <a:cxn ang="0">
                <a:pos x="connsiteX21200" y="connsiteY21200"/>
              </a:cxn>
              <a:cxn ang="0">
                <a:pos x="connsiteX21201" y="connsiteY21201"/>
              </a:cxn>
              <a:cxn ang="0">
                <a:pos x="connsiteX21202" y="connsiteY21202"/>
              </a:cxn>
              <a:cxn ang="0">
                <a:pos x="connsiteX21203" y="connsiteY21203"/>
              </a:cxn>
              <a:cxn ang="0">
                <a:pos x="connsiteX21204" y="connsiteY21204"/>
              </a:cxn>
              <a:cxn ang="0">
                <a:pos x="connsiteX21205" y="connsiteY21205"/>
              </a:cxn>
              <a:cxn ang="0">
                <a:pos x="connsiteX21206" y="connsiteY21206"/>
              </a:cxn>
              <a:cxn ang="0">
                <a:pos x="connsiteX21207" y="connsiteY21207"/>
              </a:cxn>
              <a:cxn ang="0">
                <a:pos x="connsiteX21208" y="connsiteY21208"/>
              </a:cxn>
              <a:cxn ang="0">
                <a:pos x="connsiteX21209" y="connsiteY21209"/>
              </a:cxn>
              <a:cxn ang="0">
                <a:pos x="connsiteX21210" y="connsiteY21210"/>
              </a:cxn>
              <a:cxn ang="0">
                <a:pos x="connsiteX21211" y="connsiteY21211"/>
              </a:cxn>
              <a:cxn ang="0">
                <a:pos x="connsiteX21212" y="connsiteY21212"/>
              </a:cxn>
              <a:cxn ang="0">
                <a:pos x="connsiteX21213" y="connsiteY21213"/>
              </a:cxn>
              <a:cxn ang="0">
                <a:pos x="connsiteX21214" y="connsiteY21214"/>
              </a:cxn>
              <a:cxn ang="0">
                <a:pos x="connsiteX21215" y="connsiteY21215"/>
              </a:cxn>
              <a:cxn ang="0">
                <a:pos x="connsiteX21216" y="connsiteY21216"/>
              </a:cxn>
              <a:cxn ang="0">
                <a:pos x="connsiteX21217" y="connsiteY21217"/>
              </a:cxn>
              <a:cxn ang="0">
                <a:pos x="connsiteX21218" y="connsiteY21218"/>
              </a:cxn>
              <a:cxn ang="0">
                <a:pos x="connsiteX21219" y="connsiteY21219"/>
              </a:cxn>
              <a:cxn ang="0">
                <a:pos x="connsiteX21220" y="connsiteY21220"/>
              </a:cxn>
              <a:cxn ang="0">
                <a:pos x="connsiteX21221" y="connsiteY21221"/>
              </a:cxn>
              <a:cxn ang="0">
                <a:pos x="connsiteX21222" y="connsiteY21222"/>
              </a:cxn>
              <a:cxn ang="0">
                <a:pos x="connsiteX21223" y="connsiteY21223"/>
              </a:cxn>
              <a:cxn ang="0">
                <a:pos x="connsiteX21224" y="connsiteY21224"/>
              </a:cxn>
              <a:cxn ang="0">
                <a:pos x="connsiteX21225" y="connsiteY21225"/>
              </a:cxn>
              <a:cxn ang="0">
                <a:pos x="connsiteX21226" y="connsiteY21226"/>
              </a:cxn>
              <a:cxn ang="0">
                <a:pos x="connsiteX21227" y="connsiteY21227"/>
              </a:cxn>
              <a:cxn ang="0">
                <a:pos x="connsiteX21228" y="connsiteY21228"/>
              </a:cxn>
              <a:cxn ang="0">
                <a:pos x="connsiteX21229" y="connsiteY21229"/>
              </a:cxn>
              <a:cxn ang="0">
                <a:pos x="connsiteX21230" y="connsiteY21230"/>
              </a:cxn>
              <a:cxn ang="0">
                <a:pos x="connsiteX21231" y="connsiteY21231"/>
              </a:cxn>
              <a:cxn ang="0">
                <a:pos x="connsiteX21232" y="connsiteY21232"/>
              </a:cxn>
              <a:cxn ang="0">
                <a:pos x="connsiteX21233" y="connsiteY21233"/>
              </a:cxn>
              <a:cxn ang="0">
                <a:pos x="connsiteX21234" y="connsiteY21234"/>
              </a:cxn>
              <a:cxn ang="0">
                <a:pos x="connsiteX21235" y="connsiteY21235"/>
              </a:cxn>
              <a:cxn ang="0">
                <a:pos x="connsiteX21236" y="connsiteY21236"/>
              </a:cxn>
              <a:cxn ang="0">
                <a:pos x="connsiteX21237" y="connsiteY21237"/>
              </a:cxn>
              <a:cxn ang="0">
                <a:pos x="connsiteX21238" y="connsiteY21238"/>
              </a:cxn>
              <a:cxn ang="0">
                <a:pos x="connsiteX21239" y="connsiteY21239"/>
              </a:cxn>
              <a:cxn ang="0">
                <a:pos x="connsiteX21240" y="connsiteY21240"/>
              </a:cxn>
              <a:cxn ang="0">
                <a:pos x="connsiteX21241" y="connsiteY21241"/>
              </a:cxn>
              <a:cxn ang="0">
                <a:pos x="connsiteX21242" y="connsiteY21242"/>
              </a:cxn>
              <a:cxn ang="0">
                <a:pos x="connsiteX21243" y="connsiteY21243"/>
              </a:cxn>
              <a:cxn ang="0">
                <a:pos x="connsiteX21244" y="connsiteY21244"/>
              </a:cxn>
              <a:cxn ang="0">
                <a:pos x="connsiteX21245" y="connsiteY21245"/>
              </a:cxn>
              <a:cxn ang="0">
                <a:pos x="connsiteX21246" y="connsiteY21246"/>
              </a:cxn>
              <a:cxn ang="0">
                <a:pos x="connsiteX21247" y="connsiteY21247"/>
              </a:cxn>
              <a:cxn ang="0">
                <a:pos x="connsiteX21248" y="connsiteY21248"/>
              </a:cxn>
              <a:cxn ang="0">
                <a:pos x="connsiteX21249" y="connsiteY21249"/>
              </a:cxn>
              <a:cxn ang="0">
                <a:pos x="connsiteX21250" y="connsiteY21250"/>
              </a:cxn>
              <a:cxn ang="0">
                <a:pos x="connsiteX21251" y="connsiteY21251"/>
              </a:cxn>
              <a:cxn ang="0">
                <a:pos x="connsiteX21252" y="connsiteY21252"/>
              </a:cxn>
              <a:cxn ang="0">
                <a:pos x="connsiteX21253" y="connsiteY21253"/>
              </a:cxn>
              <a:cxn ang="0">
                <a:pos x="connsiteX21254" y="connsiteY21254"/>
              </a:cxn>
              <a:cxn ang="0">
                <a:pos x="connsiteX21255" y="connsiteY21255"/>
              </a:cxn>
              <a:cxn ang="0">
                <a:pos x="connsiteX21256" y="connsiteY21256"/>
              </a:cxn>
              <a:cxn ang="0">
                <a:pos x="connsiteX21257" y="connsiteY21257"/>
              </a:cxn>
              <a:cxn ang="0">
                <a:pos x="connsiteX21258" y="connsiteY21258"/>
              </a:cxn>
              <a:cxn ang="0">
                <a:pos x="connsiteX21259" y="connsiteY21259"/>
              </a:cxn>
              <a:cxn ang="0">
                <a:pos x="connsiteX21260" y="connsiteY21260"/>
              </a:cxn>
              <a:cxn ang="0">
                <a:pos x="connsiteX21261" y="connsiteY21261"/>
              </a:cxn>
              <a:cxn ang="0">
                <a:pos x="connsiteX21262" y="connsiteY21262"/>
              </a:cxn>
              <a:cxn ang="0">
                <a:pos x="connsiteX21263" y="connsiteY21263"/>
              </a:cxn>
              <a:cxn ang="0">
                <a:pos x="connsiteX21264" y="connsiteY21264"/>
              </a:cxn>
              <a:cxn ang="0">
                <a:pos x="connsiteX21265" y="connsiteY21265"/>
              </a:cxn>
              <a:cxn ang="0">
                <a:pos x="connsiteX21266" y="connsiteY21266"/>
              </a:cxn>
              <a:cxn ang="0">
                <a:pos x="connsiteX21267" y="connsiteY21267"/>
              </a:cxn>
              <a:cxn ang="0">
                <a:pos x="connsiteX21268" y="connsiteY21268"/>
              </a:cxn>
              <a:cxn ang="0">
                <a:pos x="connsiteX21269" y="connsiteY21269"/>
              </a:cxn>
              <a:cxn ang="0">
                <a:pos x="connsiteX21270" y="connsiteY21270"/>
              </a:cxn>
              <a:cxn ang="0">
                <a:pos x="connsiteX21271" y="connsiteY21271"/>
              </a:cxn>
              <a:cxn ang="0">
                <a:pos x="connsiteX21272" y="connsiteY21272"/>
              </a:cxn>
              <a:cxn ang="0">
                <a:pos x="connsiteX21273" y="connsiteY21273"/>
              </a:cxn>
              <a:cxn ang="0">
                <a:pos x="connsiteX21274" y="connsiteY21274"/>
              </a:cxn>
              <a:cxn ang="0">
                <a:pos x="connsiteX21275" y="connsiteY21275"/>
              </a:cxn>
              <a:cxn ang="0">
                <a:pos x="connsiteX21276" y="connsiteY21276"/>
              </a:cxn>
              <a:cxn ang="0">
                <a:pos x="connsiteX21277" y="connsiteY21277"/>
              </a:cxn>
              <a:cxn ang="0">
                <a:pos x="connsiteX21278" y="connsiteY21278"/>
              </a:cxn>
              <a:cxn ang="0">
                <a:pos x="connsiteX21279" y="connsiteY21279"/>
              </a:cxn>
              <a:cxn ang="0">
                <a:pos x="connsiteX21280" y="connsiteY21280"/>
              </a:cxn>
              <a:cxn ang="0">
                <a:pos x="connsiteX21281" y="connsiteY21281"/>
              </a:cxn>
              <a:cxn ang="0">
                <a:pos x="connsiteX21282" y="connsiteY21282"/>
              </a:cxn>
              <a:cxn ang="0">
                <a:pos x="connsiteX21283" y="connsiteY21283"/>
              </a:cxn>
              <a:cxn ang="0">
                <a:pos x="connsiteX21284" y="connsiteY21284"/>
              </a:cxn>
              <a:cxn ang="0">
                <a:pos x="connsiteX21285" y="connsiteY21285"/>
              </a:cxn>
              <a:cxn ang="0">
                <a:pos x="connsiteX21286" y="connsiteY21286"/>
              </a:cxn>
              <a:cxn ang="0">
                <a:pos x="connsiteX21287" y="connsiteY21287"/>
              </a:cxn>
              <a:cxn ang="0">
                <a:pos x="connsiteX21288" y="connsiteY21288"/>
              </a:cxn>
              <a:cxn ang="0">
                <a:pos x="connsiteX21289" y="connsiteY21289"/>
              </a:cxn>
              <a:cxn ang="0">
                <a:pos x="connsiteX21290" y="connsiteY21290"/>
              </a:cxn>
              <a:cxn ang="0">
                <a:pos x="connsiteX21291" y="connsiteY21291"/>
              </a:cxn>
              <a:cxn ang="0">
                <a:pos x="connsiteX21292" y="connsiteY21292"/>
              </a:cxn>
              <a:cxn ang="0">
                <a:pos x="connsiteX21293" y="connsiteY21293"/>
              </a:cxn>
              <a:cxn ang="0">
                <a:pos x="connsiteX21294" y="connsiteY21294"/>
              </a:cxn>
              <a:cxn ang="0">
                <a:pos x="connsiteX21295" y="connsiteY21295"/>
              </a:cxn>
              <a:cxn ang="0">
                <a:pos x="connsiteX21296" y="connsiteY21296"/>
              </a:cxn>
              <a:cxn ang="0">
                <a:pos x="connsiteX21297" y="connsiteY21297"/>
              </a:cxn>
              <a:cxn ang="0">
                <a:pos x="connsiteX21298" y="connsiteY21298"/>
              </a:cxn>
              <a:cxn ang="0">
                <a:pos x="connsiteX21299" y="connsiteY21299"/>
              </a:cxn>
              <a:cxn ang="0">
                <a:pos x="connsiteX21300" y="connsiteY21300"/>
              </a:cxn>
              <a:cxn ang="0">
                <a:pos x="connsiteX21301" y="connsiteY21301"/>
              </a:cxn>
              <a:cxn ang="0">
                <a:pos x="connsiteX21302" y="connsiteY21302"/>
              </a:cxn>
              <a:cxn ang="0">
                <a:pos x="connsiteX21303" y="connsiteY21303"/>
              </a:cxn>
              <a:cxn ang="0">
                <a:pos x="connsiteX21304" y="connsiteY21304"/>
              </a:cxn>
              <a:cxn ang="0">
                <a:pos x="connsiteX21305" y="connsiteY21305"/>
              </a:cxn>
              <a:cxn ang="0">
                <a:pos x="connsiteX21306" y="connsiteY21306"/>
              </a:cxn>
              <a:cxn ang="0">
                <a:pos x="connsiteX21307" y="connsiteY21307"/>
              </a:cxn>
              <a:cxn ang="0">
                <a:pos x="connsiteX21308" y="connsiteY21308"/>
              </a:cxn>
              <a:cxn ang="0">
                <a:pos x="connsiteX21309" y="connsiteY21309"/>
              </a:cxn>
              <a:cxn ang="0">
                <a:pos x="connsiteX21310" y="connsiteY21310"/>
              </a:cxn>
              <a:cxn ang="0">
                <a:pos x="connsiteX21311" y="connsiteY21311"/>
              </a:cxn>
              <a:cxn ang="0">
                <a:pos x="connsiteX21312" y="connsiteY21312"/>
              </a:cxn>
              <a:cxn ang="0">
                <a:pos x="connsiteX21313" y="connsiteY21313"/>
              </a:cxn>
              <a:cxn ang="0">
                <a:pos x="connsiteX21314" y="connsiteY21314"/>
              </a:cxn>
              <a:cxn ang="0">
                <a:pos x="connsiteX21315" y="connsiteY21315"/>
              </a:cxn>
              <a:cxn ang="0">
                <a:pos x="connsiteX21316" y="connsiteY21316"/>
              </a:cxn>
              <a:cxn ang="0">
                <a:pos x="connsiteX21317" y="connsiteY21317"/>
              </a:cxn>
              <a:cxn ang="0">
                <a:pos x="connsiteX21318" y="connsiteY21318"/>
              </a:cxn>
              <a:cxn ang="0">
                <a:pos x="connsiteX21319" y="connsiteY21319"/>
              </a:cxn>
              <a:cxn ang="0">
                <a:pos x="connsiteX21320" y="connsiteY21320"/>
              </a:cxn>
              <a:cxn ang="0">
                <a:pos x="connsiteX21321" y="connsiteY21321"/>
              </a:cxn>
              <a:cxn ang="0">
                <a:pos x="connsiteX21322" y="connsiteY21322"/>
              </a:cxn>
              <a:cxn ang="0">
                <a:pos x="connsiteX21323" y="connsiteY21323"/>
              </a:cxn>
              <a:cxn ang="0">
                <a:pos x="connsiteX21324" y="connsiteY21324"/>
              </a:cxn>
              <a:cxn ang="0">
                <a:pos x="connsiteX21325" y="connsiteY21325"/>
              </a:cxn>
              <a:cxn ang="0">
                <a:pos x="connsiteX21326" y="connsiteY21326"/>
              </a:cxn>
              <a:cxn ang="0">
                <a:pos x="connsiteX21327" y="connsiteY21327"/>
              </a:cxn>
              <a:cxn ang="0">
                <a:pos x="connsiteX21328" y="connsiteY21328"/>
              </a:cxn>
              <a:cxn ang="0">
                <a:pos x="connsiteX21329" y="connsiteY21329"/>
              </a:cxn>
              <a:cxn ang="0">
                <a:pos x="connsiteX21330" y="connsiteY21330"/>
              </a:cxn>
              <a:cxn ang="0">
                <a:pos x="connsiteX21331" y="connsiteY21331"/>
              </a:cxn>
              <a:cxn ang="0">
                <a:pos x="connsiteX21332" y="connsiteY21332"/>
              </a:cxn>
              <a:cxn ang="0">
                <a:pos x="connsiteX21333" y="connsiteY21333"/>
              </a:cxn>
              <a:cxn ang="0">
                <a:pos x="connsiteX21334" y="connsiteY21334"/>
              </a:cxn>
              <a:cxn ang="0">
                <a:pos x="connsiteX21335" y="connsiteY21335"/>
              </a:cxn>
              <a:cxn ang="0">
                <a:pos x="connsiteX21336" y="connsiteY21336"/>
              </a:cxn>
              <a:cxn ang="0">
                <a:pos x="connsiteX21337" y="connsiteY21337"/>
              </a:cxn>
              <a:cxn ang="0">
                <a:pos x="connsiteX21338" y="connsiteY21338"/>
              </a:cxn>
              <a:cxn ang="0">
                <a:pos x="connsiteX21339" y="connsiteY21339"/>
              </a:cxn>
              <a:cxn ang="0">
                <a:pos x="connsiteX21340" y="connsiteY21340"/>
              </a:cxn>
              <a:cxn ang="0">
                <a:pos x="connsiteX21341" y="connsiteY21341"/>
              </a:cxn>
              <a:cxn ang="0">
                <a:pos x="connsiteX21342" y="connsiteY21342"/>
              </a:cxn>
              <a:cxn ang="0">
                <a:pos x="connsiteX21343" y="connsiteY21343"/>
              </a:cxn>
              <a:cxn ang="0">
                <a:pos x="connsiteX21344" y="connsiteY21344"/>
              </a:cxn>
              <a:cxn ang="0">
                <a:pos x="connsiteX21345" y="connsiteY21345"/>
              </a:cxn>
              <a:cxn ang="0">
                <a:pos x="connsiteX21346" y="connsiteY21346"/>
              </a:cxn>
              <a:cxn ang="0">
                <a:pos x="connsiteX21347" y="connsiteY21347"/>
              </a:cxn>
              <a:cxn ang="0">
                <a:pos x="connsiteX21348" y="connsiteY21348"/>
              </a:cxn>
              <a:cxn ang="0">
                <a:pos x="connsiteX21349" y="connsiteY21349"/>
              </a:cxn>
              <a:cxn ang="0">
                <a:pos x="connsiteX21350" y="connsiteY21350"/>
              </a:cxn>
              <a:cxn ang="0">
                <a:pos x="connsiteX21351" y="connsiteY21351"/>
              </a:cxn>
              <a:cxn ang="0">
                <a:pos x="connsiteX21352" y="connsiteY21352"/>
              </a:cxn>
              <a:cxn ang="0">
                <a:pos x="connsiteX21353" y="connsiteY21353"/>
              </a:cxn>
              <a:cxn ang="0">
                <a:pos x="connsiteX21354" y="connsiteY21354"/>
              </a:cxn>
              <a:cxn ang="0">
                <a:pos x="connsiteX21355" y="connsiteY21355"/>
              </a:cxn>
              <a:cxn ang="0">
                <a:pos x="connsiteX21356" y="connsiteY21356"/>
              </a:cxn>
              <a:cxn ang="0">
                <a:pos x="connsiteX21357" y="connsiteY21357"/>
              </a:cxn>
              <a:cxn ang="0">
                <a:pos x="connsiteX21358" y="connsiteY21358"/>
              </a:cxn>
              <a:cxn ang="0">
                <a:pos x="connsiteX21359" y="connsiteY21359"/>
              </a:cxn>
              <a:cxn ang="0">
                <a:pos x="connsiteX21360" y="connsiteY21360"/>
              </a:cxn>
              <a:cxn ang="0">
                <a:pos x="connsiteX21361" y="connsiteY21361"/>
              </a:cxn>
              <a:cxn ang="0">
                <a:pos x="connsiteX21362" y="connsiteY21362"/>
              </a:cxn>
              <a:cxn ang="0">
                <a:pos x="connsiteX21363" y="connsiteY21363"/>
              </a:cxn>
              <a:cxn ang="0">
                <a:pos x="connsiteX21364" y="connsiteY21364"/>
              </a:cxn>
              <a:cxn ang="0">
                <a:pos x="connsiteX21365" y="connsiteY21365"/>
              </a:cxn>
              <a:cxn ang="0">
                <a:pos x="connsiteX21366" y="connsiteY21366"/>
              </a:cxn>
              <a:cxn ang="0">
                <a:pos x="connsiteX21367" y="connsiteY21367"/>
              </a:cxn>
              <a:cxn ang="0">
                <a:pos x="connsiteX21368" y="connsiteY21368"/>
              </a:cxn>
              <a:cxn ang="0">
                <a:pos x="connsiteX21369" y="connsiteY21369"/>
              </a:cxn>
              <a:cxn ang="0">
                <a:pos x="connsiteX21370" y="connsiteY21370"/>
              </a:cxn>
              <a:cxn ang="0">
                <a:pos x="connsiteX21371" y="connsiteY21371"/>
              </a:cxn>
              <a:cxn ang="0">
                <a:pos x="connsiteX21372" y="connsiteY21372"/>
              </a:cxn>
              <a:cxn ang="0">
                <a:pos x="connsiteX21373" y="connsiteY21373"/>
              </a:cxn>
              <a:cxn ang="0">
                <a:pos x="connsiteX21374" y="connsiteY21374"/>
              </a:cxn>
              <a:cxn ang="0">
                <a:pos x="connsiteX21375" y="connsiteY21375"/>
              </a:cxn>
              <a:cxn ang="0">
                <a:pos x="connsiteX21376" y="connsiteY21376"/>
              </a:cxn>
              <a:cxn ang="0">
                <a:pos x="connsiteX21377" y="connsiteY21377"/>
              </a:cxn>
              <a:cxn ang="0">
                <a:pos x="connsiteX21378" y="connsiteY21378"/>
              </a:cxn>
              <a:cxn ang="0">
                <a:pos x="connsiteX21379" y="connsiteY21379"/>
              </a:cxn>
              <a:cxn ang="0">
                <a:pos x="connsiteX21380" y="connsiteY21380"/>
              </a:cxn>
              <a:cxn ang="0">
                <a:pos x="connsiteX21381" y="connsiteY21381"/>
              </a:cxn>
              <a:cxn ang="0">
                <a:pos x="connsiteX21382" y="connsiteY21382"/>
              </a:cxn>
              <a:cxn ang="0">
                <a:pos x="connsiteX21383" y="connsiteY21383"/>
              </a:cxn>
              <a:cxn ang="0">
                <a:pos x="connsiteX21384" y="connsiteY21384"/>
              </a:cxn>
              <a:cxn ang="0">
                <a:pos x="connsiteX21385" y="connsiteY21385"/>
              </a:cxn>
              <a:cxn ang="0">
                <a:pos x="connsiteX21386" y="connsiteY21386"/>
              </a:cxn>
              <a:cxn ang="0">
                <a:pos x="connsiteX21387" y="connsiteY21387"/>
              </a:cxn>
              <a:cxn ang="0">
                <a:pos x="connsiteX21388" y="connsiteY21388"/>
              </a:cxn>
              <a:cxn ang="0">
                <a:pos x="connsiteX21389" y="connsiteY21389"/>
              </a:cxn>
              <a:cxn ang="0">
                <a:pos x="connsiteX21390" y="connsiteY21390"/>
              </a:cxn>
              <a:cxn ang="0">
                <a:pos x="connsiteX21391" y="connsiteY21391"/>
              </a:cxn>
              <a:cxn ang="0">
                <a:pos x="connsiteX21392" y="connsiteY21392"/>
              </a:cxn>
              <a:cxn ang="0">
                <a:pos x="connsiteX21393" y="connsiteY21393"/>
              </a:cxn>
              <a:cxn ang="0">
                <a:pos x="connsiteX21394" y="connsiteY21394"/>
              </a:cxn>
              <a:cxn ang="0">
                <a:pos x="connsiteX21395" y="connsiteY21395"/>
              </a:cxn>
              <a:cxn ang="0">
                <a:pos x="connsiteX21396" y="connsiteY21396"/>
              </a:cxn>
              <a:cxn ang="0">
                <a:pos x="connsiteX21397" y="connsiteY21397"/>
              </a:cxn>
              <a:cxn ang="0">
                <a:pos x="connsiteX21398" y="connsiteY21398"/>
              </a:cxn>
              <a:cxn ang="0">
                <a:pos x="connsiteX21399" y="connsiteY21399"/>
              </a:cxn>
              <a:cxn ang="0">
                <a:pos x="connsiteX21400" y="connsiteY21400"/>
              </a:cxn>
              <a:cxn ang="0">
                <a:pos x="connsiteX21401" y="connsiteY21401"/>
              </a:cxn>
              <a:cxn ang="0">
                <a:pos x="connsiteX21402" y="connsiteY21402"/>
              </a:cxn>
              <a:cxn ang="0">
                <a:pos x="connsiteX21403" y="connsiteY21403"/>
              </a:cxn>
              <a:cxn ang="0">
                <a:pos x="connsiteX21404" y="connsiteY21404"/>
              </a:cxn>
              <a:cxn ang="0">
                <a:pos x="connsiteX21405" y="connsiteY21405"/>
              </a:cxn>
              <a:cxn ang="0">
                <a:pos x="connsiteX21406" y="connsiteY21406"/>
              </a:cxn>
              <a:cxn ang="0">
                <a:pos x="connsiteX21407" y="connsiteY21407"/>
              </a:cxn>
              <a:cxn ang="0">
                <a:pos x="connsiteX21408" y="connsiteY21408"/>
              </a:cxn>
              <a:cxn ang="0">
                <a:pos x="connsiteX21409" y="connsiteY21409"/>
              </a:cxn>
              <a:cxn ang="0">
                <a:pos x="connsiteX21410" y="connsiteY21410"/>
              </a:cxn>
              <a:cxn ang="0">
                <a:pos x="connsiteX21411" y="connsiteY21411"/>
              </a:cxn>
              <a:cxn ang="0">
                <a:pos x="connsiteX21412" y="connsiteY21412"/>
              </a:cxn>
              <a:cxn ang="0">
                <a:pos x="connsiteX21413" y="connsiteY21413"/>
              </a:cxn>
              <a:cxn ang="0">
                <a:pos x="connsiteX21414" y="connsiteY21414"/>
              </a:cxn>
              <a:cxn ang="0">
                <a:pos x="connsiteX21415" y="connsiteY21415"/>
              </a:cxn>
              <a:cxn ang="0">
                <a:pos x="connsiteX21416" y="connsiteY21416"/>
              </a:cxn>
              <a:cxn ang="0">
                <a:pos x="connsiteX21417" y="connsiteY21417"/>
              </a:cxn>
              <a:cxn ang="0">
                <a:pos x="connsiteX21418" y="connsiteY21418"/>
              </a:cxn>
              <a:cxn ang="0">
                <a:pos x="connsiteX21419" y="connsiteY21419"/>
              </a:cxn>
              <a:cxn ang="0">
                <a:pos x="connsiteX21420" y="connsiteY21420"/>
              </a:cxn>
              <a:cxn ang="0">
                <a:pos x="connsiteX21421" y="connsiteY21421"/>
              </a:cxn>
              <a:cxn ang="0">
                <a:pos x="connsiteX21422" y="connsiteY21422"/>
              </a:cxn>
              <a:cxn ang="0">
                <a:pos x="connsiteX21423" y="connsiteY21423"/>
              </a:cxn>
              <a:cxn ang="0">
                <a:pos x="connsiteX21424" y="connsiteY21424"/>
              </a:cxn>
              <a:cxn ang="0">
                <a:pos x="connsiteX21425" y="connsiteY21425"/>
              </a:cxn>
              <a:cxn ang="0">
                <a:pos x="connsiteX21426" y="connsiteY21426"/>
              </a:cxn>
              <a:cxn ang="0">
                <a:pos x="connsiteX21427" y="connsiteY21427"/>
              </a:cxn>
              <a:cxn ang="0">
                <a:pos x="connsiteX21428" y="connsiteY21428"/>
              </a:cxn>
              <a:cxn ang="0">
                <a:pos x="connsiteX21429" y="connsiteY21429"/>
              </a:cxn>
              <a:cxn ang="0">
                <a:pos x="connsiteX21430" y="connsiteY21430"/>
              </a:cxn>
              <a:cxn ang="0">
                <a:pos x="connsiteX21431" y="connsiteY21431"/>
              </a:cxn>
              <a:cxn ang="0">
                <a:pos x="connsiteX21432" y="connsiteY21432"/>
              </a:cxn>
              <a:cxn ang="0">
                <a:pos x="connsiteX21433" y="connsiteY21433"/>
              </a:cxn>
              <a:cxn ang="0">
                <a:pos x="connsiteX21434" y="connsiteY21434"/>
              </a:cxn>
              <a:cxn ang="0">
                <a:pos x="connsiteX21435" y="connsiteY21435"/>
              </a:cxn>
              <a:cxn ang="0">
                <a:pos x="connsiteX21436" y="connsiteY21436"/>
              </a:cxn>
              <a:cxn ang="0">
                <a:pos x="connsiteX21437" y="connsiteY21437"/>
              </a:cxn>
              <a:cxn ang="0">
                <a:pos x="connsiteX21438" y="connsiteY21438"/>
              </a:cxn>
              <a:cxn ang="0">
                <a:pos x="connsiteX21439" y="connsiteY21439"/>
              </a:cxn>
              <a:cxn ang="0">
                <a:pos x="connsiteX21440" y="connsiteY21440"/>
              </a:cxn>
              <a:cxn ang="0">
                <a:pos x="connsiteX21441" y="connsiteY21441"/>
              </a:cxn>
              <a:cxn ang="0">
                <a:pos x="connsiteX21442" y="connsiteY21442"/>
              </a:cxn>
              <a:cxn ang="0">
                <a:pos x="connsiteX21443" y="connsiteY21443"/>
              </a:cxn>
              <a:cxn ang="0">
                <a:pos x="connsiteX21444" y="connsiteY21444"/>
              </a:cxn>
              <a:cxn ang="0">
                <a:pos x="connsiteX21445" y="connsiteY21445"/>
              </a:cxn>
              <a:cxn ang="0">
                <a:pos x="connsiteX21446" y="connsiteY21446"/>
              </a:cxn>
              <a:cxn ang="0">
                <a:pos x="connsiteX21447" y="connsiteY21447"/>
              </a:cxn>
              <a:cxn ang="0">
                <a:pos x="connsiteX21448" y="connsiteY21448"/>
              </a:cxn>
              <a:cxn ang="0">
                <a:pos x="connsiteX21449" y="connsiteY21449"/>
              </a:cxn>
              <a:cxn ang="0">
                <a:pos x="connsiteX21450" y="connsiteY21450"/>
              </a:cxn>
              <a:cxn ang="0">
                <a:pos x="connsiteX21451" y="connsiteY21451"/>
              </a:cxn>
              <a:cxn ang="0">
                <a:pos x="connsiteX21452" y="connsiteY21452"/>
              </a:cxn>
              <a:cxn ang="0">
                <a:pos x="connsiteX21453" y="connsiteY21453"/>
              </a:cxn>
              <a:cxn ang="0">
                <a:pos x="connsiteX21454" y="connsiteY21454"/>
              </a:cxn>
              <a:cxn ang="0">
                <a:pos x="connsiteX21455" y="connsiteY21455"/>
              </a:cxn>
              <a:cxn ang="0">
                <a:pos x="connsiteX21456" y="connsiteY21456"/>
              </a:cxn>
              <a:cxn ang="0">
                <a:pos x="connsiteX21457" y="connsiteY21457"/>
              </a:cxn>
              <a:cxn ang="0">
                <a:pos x="connsiteX21458" y="connsiteY21458"/>
              </a:cxn>
              <a:cxn ang="0">
                <a:pos x="connsiteX21459" y="connsiteY21459"/>
              </a:cxn>
              <a:cxn ang="0">
                <a:pos x="connsiteX21460" y="connsiteY21460"/>
              </a:cxn>
              <a:cxn ang="0">
                <a:pos x="connsiteX21461" y="connsiteY21461"/>
              </a:cxn>
              <a:cxn ang="0">
                <a:pos x="connsiteX21462" y="connsiteY21462"/>
              </a:cxn>
              <a:cxn ang="0">
                <a:pos x="connsiteX21463" y="connsiteY21463"/>
              </a:cxn>
              <a:cxn ang="0">
                <a:pos x="connsiteX21464" y="connsiteY21464"/>
              </a:cxn>
              <a:cxn ang="0">
                <a:pos x="connsiteX21465" y="connsiteY21465"/>
              </a:cxn>
              <a:cxn ang="0">
                <a:pos x="connsiteX21466" y="connsiteY21466"/>
              </a:cxn>
              <a:cxn ang="0">
                <a:pos x="connsiteX21467" y="connsiteY21467"/>
              </a:cxn>
              <a:cxn ang="0">
                <a:pos x="connsiteX21468" y="connsiteY21468"/>
              </a:cxn>
              <a:cxn ang="0">
                <a:pos x="connsiteX21469" y="connsiteY21469"/>
              </a:cxn>
              <a:cxn ang="0">
                <a:pos x="connsiteX21470" y="connsiteY21470"/>
              </a:cxn>
              <a:cxn ang="0">
                <a:pos x="connsiteX21471" y="connsiteY21471"/>
              </a:cxn>
              <a:cxn ang="0">
                <a:pos x="connsiteX21472" y="connsiteY21472"/>
              </a:cxn>
              <a:cxn ang="0">
                <a:pos x="connsiteX21473" y="connsiteY21473"/>
              </a:cxn>
              <a:cxn ang="0">
                <a:pos x="connsiteX21474" y="connsiteY21474"/>
              </a:cxn>
              <a:cxn ang="0">
                <a:pos x="connsiteX21475" y="connsiteY21475"/>
              </a:cxn>
              <a:cxn ang="0">
                <a:pos x="connsiteX21476" y="connsiteY21476"/>
              </a:cxn>
              <a:cxn ang="0">
                <a:pos x="connsiteX21477" y="connsiteY21477"/>
              </a:cxn>
              <a:cxn ang="0">
                <a:pos x="connsiteX21478" y="connsiteY21478"/>
              </a:cxn>
              <a:cxn ang="0">
                <a:pos x="connsiteX21479" y="connsiteY21479"/>
              </a:cxn>
              <a:cxn ang="0">
                <a:pos x="connsiteX21480" y="connsiteY21480"/>
              </a:cxn>
              <a:cxn ang="0">
                <a:pos x="connsiteX21481" y="connsiteY21481"/>
              </a:cxn>
              <a:cxn ang="0">
                <a:pos x="connsiteX21482" y="connsiteY21482"/>
              </a:cxn>
              <a:cxn ang="0">
                <a:pos x="connsiteX21483" y="connsiteY21483"/>
              </a:cxn>
              <a:cxn ang="0">
                <a:pos x="connsiteX21484" y="connsiteY21484"/>
              </a:cxn>
              <a:cxn ang="0">
                <a:pos x="connsiteX21485" y="connsiteY21485"/>
              </a:cxn>
              <a:cxn ang="0">
                <a:pos x="connsiteX21486" y="connsiteY21486"/>
              </a:cxn>
              <a:cxn ang="0">
                <a:pos x="connsiteX21487" y="connsiteY21487"/>
              </a:cxn>
              <a:cxn ang="0">
                <a:pos x="connsiteX21488" y="connsiteY21488"/>
              </a:cxn>
              <a:cxn ang="0">
                <a:pos x="connsiteX21489" y="connsiteY21489"/>
              </a:cxn>
              <a:cxn ang="0">
                <a:pos x="connsiteX21490" y="connsiteY21490"/>
              </a:cxn>
              <a:cxn ang="0">
                <a:pos x="connsiteX21491" y="connsiteY21491"/>
              </a:cxn>
              <a:cxn ang="0">
                <a:pos x="connsiteX21492" y="connsiteY21492"/>
              </a:cxn>
              <a:cxn ang="0">
                <a:pos x="connsiteX21493" y="connsiteY21493"/>
              </a:cxn>
              <a:cxn ang="0">
                <a:pos x="connsiteX21494" y="connsiteY21494"/>
              </a:cxn>
              <a:cxn ang="0">
                <a:pos x="connsiteX21495" y="connsiteY21495"/>
              </a:cxn>
              <a:cxn ang="0">
                <a:pos x="connsiteX21496" y="connsiteY21496"/>
              </a:cxn>
              <a:cxn ang="0">
                <a:pos x="connsiteX21497" y="connsiteY21497"/>
              </a:cxn>
              <a:cxn ang="0">
                <a:pos x="connsiteX21498" y="connsiteY21498"/>
              </a:cxn>
              <a:cxn ang="0">
                <a:pos x="connsiteX21499" y="connsiteY21499"/>
              </a:cxn>
              <a:cxn ang="0">
                <a:pos x="connsiteX21500" y="connsiteY21500"/>
              </a:cxn>
              <a:cxn ang="0">
                <a:pos x="connsiteX21501" y="connsiteY21501"/>
              </a:cxn>
              <a:cxn ang="0">
                <a:pos x="connsiteX21502" y="connsiteY21502"/>
              </a:cxn>
              <a:cxn ang="0">
                <a:pos x="connsiteX21503" y="connsiteY21503"/>
              </a:cxn>
              <a:cxn ang="0">
                <a:pos x="connsiteX21504" y="connsiteY21504"/>
              </a:cxn>
              <a:cxn ang="0">
                <a:pos x="connsiteX21505" y="connsiteY21505"/>
              </a:cxn>
              <a:cxn ang="0">
                <a:pos x="connsiteX21506" y="connsiteY21506"/>
              </a:cxn>
              <a:cxn ang="0">
                <a:pos x="connsiteX21507" y="connsiteY21507"/>
              </a:cxn>
              <a:cxn ang="0">
                <a:pos x="connsiteX21508" y="connsiteY21508"/>
              </a:cxn>
              <a:cxn ang="0">
                <a:pos x="connsiteX21509" y="connsiteY21509"/>
              </a:cxn>
              <a:cxn ang="0">
                <a:pos x="connsiteX21510" y="connsiteY21510"/>
              </a:cxn>
              <a:cxn ang="0">
                <a:pos x="connsiteX21511" y="connsiteY21511"/>
              </a:cxn>
              <a:cxn ang="0">
                <a:pos x="connsiteX21512" y="connsiteY21512"/>
              </a:cxn>
              <a:cxn ang="0">
                <a:pos x="connsiteX21513" y="connsiteY21513"/>
              </a:cxn>
              <a:cxn ang="0">
                <a:pos x="connsiteX21514" y="connsiteY21514"/>
              </a:cxn>
              <a:cxn ang="0">
                <a:pos x="connsiteX21515" y="connsiteY21515"/>
              </a:cxn>
              <a:cxn ang="0">
                <a:pos x="connsiteX21516" y="connsiteY21516"/>
              </a:cxn>
              <a:cxn ang="0">
                <a:pos x="connsiteX21517" y="connsiteY21517"/>
              </a:cxn>
              <a:cxn ang="0">
                <a:pos x="connsiteX21518" y="connsiteY21518"/>
              </a:cxn>
              <a:cxn ang="0">
                <a:pos x="connsiteX21519" y="connsiteY21519"/>
              </a:cxn>
              <a:cxn ang="0">
                <a:pos x="connsiteX21520" y="connsiteY21520"/>
              </a:cxn>
              <a:cxn ang="0">
                <a:pos x="connsiteX21521" y="connsiteY21521"/>
              </a:cxn>
              <a:cxn ang="0">
                <a:pos x="connsiteX21522" y="connsiteY21522"/>
              </a:cxn>
              <a:cxn ang="0">
                <a:pos x="connsiteX21523" y="connsiteY21523"/>
              </a:cxn>
              <a:cxn ang="0">
                <a:pos x="connsiteX21524" y="connsiteY21524"/>
              </a:cxn>
              <a:cxn ang="0">
                <a:pos x="connsiteX21525" y="connsiteY21525"/>
              </a:cxn>
              <a:cxn ang="0">
                <a:pos x="connsiteX21526" y="connsiteY21526"/>
              </a:cxn>
              <a:cxn ang="0">
                <a:pos x="connsiteX21527" y="connsiteY21527"/>
              </a:cxn>
              <a:cxn ang="0">
                <a:pos x="connsiteX21528" y="connsiteY21528"/>
              </a:cxn>
              <a:cxn ang="0">
                <a:pos x="connsiteX21529" y="connsiteY21529"/>
              </a:cxn>
              <a:cxn ang="0">
                <a:pos x="connsiteX21530" y="connsiteY21530"/>
              </a:cxn>
              <a:cxn ang="0">
                <a:pos x="connsiteX21531" y="connsiteY21531"/>
              </a:cxn>
              <a:cxn ang="0">
                <a:pos x="connsiteX21532" y="connsiteY21532"/>
              </a:cxn>
              <a:cxn ang="0">
                <a:pos x="connsiteX21533" y="connsiteY21533"/>
              </a:cxn>
              <a:cxn ang="0">
                <a:pos x="connsiteX21534" y="connsiteY21534"/>
              </a:cxn>
              <a:cxn ang="0">
                <a:pos x="connsiteX21535" y="connsiteY21535"/>
              </a:cxn>
              <a:cxn ang="0">
                <a:pos x="connsiteX21536" y="connsiteY21536"/>
              </a:cxn>
              <a:cxn ang="0">
                <a:pos x="connsiteX21537" y="connsiteY21537"/>
              </a:cxn>
              <a:cxn ang="0">
                <a:pos x="connsiteX21538" y="connsiteY21538"/>
              </a:cxn>
              <a:cxn ang="0">
                <a:pos x="connsiteX21539" y="connsiteY21539"/>
              </a:cxn>
              <a:cxn ang="0">
                <a:pos x="connsiteX21540" y="connsiteY21540"/>
              </a:cxn>
              <a:cxn ang="0">
                <a:pos x="connsiteX21541" y="connsiteY21541"/>
              </a:cxn>
              <a:cxn ang="0">
                <a:pos x="connsiteX21542" y="connsiteY21542"/>
              </a:cxn>
              <a:cxn ang="0">
                <a:pos x="connsiteX21543" y="connsiteY21543"/>
              </a:cxn>
              <a:cxn ang="0">
                <a:pos x="connsiteX21544" y="connsiteY21544"/>
              </a:cxn>
              <a:cxn ang="0">
                <a:pos x="connsiteX21545" y="connsiteY21545"/>
              </a:cxn>
              <a:cxn ang="0">
                <a:pos x="connsiteX21546" y="connsiteY21546"/>
              </a:cxn>
              <a:cxn ang="0">
                <a:pos x="connsiteX21547" y="connsiteY21547"/>
              </a:cxn>
              <a:cxn ang="0">
                <a:pos x="connsiteX21548" y="connsiteY21548"/>
              </a:cxn>
              <a:cxn ang="0">
                <a:pos x="connsiteX21549" y="connsiteY21549"/>
              </a:cxn>
              <a:cxn ang="0">
                <a:pos x="connsiteX21550" y="connsiteY21550"/>
              </a:cxn>
              <a:cxn ang="0">
                <a:pos x="connsiteX21551" y="connsiteY21551"/>
              </a:cxn>
              <a:cxn ang="0">
                <a:pos x="connsiteX21552" y="connsiteY21552"/>
              </a:cxn>
              <a:cxn ang="0">
                <a:pos x="connsiteX21553" y="connsiteY21553"/>
              </a:cxn>
              <a:cxn ang="0">
                <a:pos x="connsiteX21554" y="connsiteY21554"/>
              </a:cxn>
              <a:cxn ang="0">
                <a:pos x="connsiteX21555" y="connsiteY21555"/>
              </a:cxn>
              <a:cxn ang="0">
                <a:pos x="connsiteX21556" y="connsiteY21556"/>
              </a:cxn>
              <a:cxn ang="0">
                <a:pos x="connsiteX21557" y="connsiteY21557"/>
              </a:cxn>
              <a:cxn ang="0">
                <a:pos x="connsiteX21558" y="connsiteY21558"/>
              </a:cxn>
              <a:cxn ang="0">
                <a:pos x="connsiteX21559" y="connsiteY21559"/>
              </a:cxn>
              <a:cxn ang="0">
                <a:pos x="connsiteX21560" y="connsiteY21560"/>
              </a:cxn>
              <a:cxn ang="0">
                <a:pos x="connsiteX21561" y="connsiteY21561"/>
              </a:cxn>
              <a:cxn ang="0">
                <a:pos x="connsiteX21562" y="connsiteY21562"/>
              </a:cxn>
              <a:cxn ang="0">
                <a:pos x="connsiteX21563" y="connsiteY21563"/>
              </a:cxn>
              <a:cxn ang="0">
                <a:pos x="connsiteX21564" y="connsiteY21564"/>
              </a:cxn>
              <a:cxn ang="0">
                <a:pos x="connsiteX21565" y="connsiteY21565"/>
              </a:cxn>
              <a:cxn ang="0">
                <a:pos x="connsiteX21566" y="connsiteY21566"/>
              </a:cxn>
              <a:cxn ang="0">
                <a:pos x="connsiteX21567" y="connsiteY21567"/>
              </a:cxn>
              <a:cxn ang="0">
                <a:pos x="connsiteX21568" y="connsiteY21568"/>
              </a:cxn>
              <a:cxn ang="0">
                <a:pos x="connsiteX21569" y="connsiteY21569"/>
              </a:cxn>
              <a:cxn ang="0">
                <a:pos x="connsiteX21570" y="connsiteY21570"/>
              </a:cxn>
              <a:cxn ang="0">
                <a:pos x="connsiteX21571" y="connsiteY21571"/>
              </a:cxn>
              <a:cxn ang="0">
                <a:pos x="connsiteX21572" y="connsiteY21572"/>
              </a:cxn>
              <a:cxn ang="0">
                <a:pos x="connsiteX21573" y="connsiteY21573"/>
              </a:cxn>
              <a:cxn ang="0">
                <a:pos x="connsiteX21574" y="connsiteY21574"/>
              </a:cxn>
              <a:cxn ang="0">
                <a:pos x="connsiteX21575" y="connsiteY21575"/>
              </a:cxn>
              <a:cxn ang="0">
                <a:pos x="connsiteX21576" y="connsiteY21576"/>
              </a:cxn>
              <a:cxn ang="0">
                <a:pos x="connsiteX21577" y="connsiteY21577"/>
              </a:cxn>
              <a:cxn ang="0">
                <a:pos x="connsiteX21578" y="connsiteY21578"/>
              </a:cxn>
              <a:cxn ang="0">
                <a:pos x="connsiteX21579" y="connsiteY21579"/>
              </a:cxn>
              <a:cxn ang="0">
                <a:pos x="connsiteX21580" y="connsiteY21580"/>
              </a:cxn>
              <a:cxn ang="0">
                <a:pos x="connsiteX21581" y="connsiteY21581"/>
              </a:cxn>
              <a:cxn ang="0">
                <a:pos x="connsiteX21582" y="connsiteY21582"/>
              </a:cxn>
              <a:cxn ang="0">
                <a:pos x="connsiteX21583" y="connsiteY21583"/>
              </a:cxn>
              <a:cxn ang="0">
                <a:pos x="connsiteX21584" y="connsiteY21584"/>
              </a:cxn>
              <a:cxn ang="0">
                <a:pos x="connsiteX21585" y="connsiteY21585"/>
              </a:cxn>
              <a:cxn ang="0">
                <a:pos x="connsiteX21586" y="connsiteY21586"/>
              </a:cxn>
              <a:cxn ang="0">
                <a:pos x="connsiteX21587" y="connsiteY21587"/>
              </a:cxn>
              <a:cxn ang="0">
                <a:pos x="connsiteX21588" y="connsiteY21588"/>
              </a:cxn>
              <a:cxn ang="0">
                <a:pos x="connsiteX21589" y="connsiteY21589"/>
              </a:cxn>
              <a:cxn ang="0">
                <a:pos x="connsiteX21590" y="connsiteY21590"/>
              </a:cxn>
              <a:cxn ang="0">
                <a:pos x="connsiteX21591" y="connsiteY21591"/>
              </a:cxn>
              <a:cxn ang="0">
                <a:pos x="connsiteX21592" y="connsiteY21592"/>
              </a:cxn>
              <a:cxn ang="0">
                <a:pos x="connsiteX21593" y="connsiteY21593"/>
              </a:cxn>
              <a:cxn ang="0">
                <a:pos x="connsiteX21594" y="connsiteY21594"/>
              </a:cxn>
              <a:cxn ang="0">
                <a:pos x="connsiteX21595" y="connsiteY21595"/>
              </a:cxn>
              <a:cxn ang="0">
                <a:pos x="connsiteX21596" y="connsiteY21596"/>
              </a:cxn>
              <a:cxn ang="0">
                <a:pos x="connsiteX21597" y="connsiteY21597"/>
              </a:cxn>
              <a:cxn ang="0">
                <a:pos x="connsiteX21598" y="connsiteY21598"/>
              </a:cxn>
              <a:cxn ang="0">
                <a:pos x="connsiteX21599" y="connsiteY21599"/>
              </a:cxn>
              <a:cxn ang="0">
                <a:pos x="connsiteX21600" y="connsiteY21600"/>
              </a:cxn>
              <a:cxn ang="0">
                <a:pos x="connsiteX21601" y="connsiteY21601"/>
              </a:cxn>
              <a:cxn ang="0">
                <a:pos x="connsiteX21602" y="connsiteY21602"/>
              </a:cxn>
              <a:cxn ang="0">
                <a:pos x="connsiteX21603" y="connsiteY21603"/>
              </a:cxn>
              <a:cxn ang="0">
                <a:pos x="connsiteX21604" y="connsiteY21604"/>
              </a:cxn>
              <a:cxn ang="0">
                <a:pos x="connsiteX21605" y="connsiteY21605"/>
              </a:cxn>
              <a:cxn ang="0">
                <a:pos x="connsiteX21606" y="connsiteY21606"/>
              </a:cxn>
              <a:cxn ang="0">
                <a:pos x="connsiteX21607" y="connsiteY21607"/>
              </a:cxn>
              <a:cxn ang="0">
                <a:pos x="connsiteX21608" y="connsiteY21608"/>
              </a:cxn>
              <a:cxn ang="0">
                <a:pos x="connsiteX21609" y="connsiteY21609"/>
              </a:cxn>
              <a:cxn ang="0">
                <a:pos x="connsiteX21610" y="connsiteY21610"/>
              </a:cxn>
              <a:cxn ang="0">
                <a:pos x="connsiteX21611" y="connsiteY21611"/>
              </a:cxn>
              <a:cxn ang="0">
                <a:pos x="connsiteX21612" y="connsiteY21612"/>
              </a:cxn>
              <a:cxn ang="0">
                <a:pos x="connsiteX21613" y="connsiteY21613"/>
              </a:cxn>
              <a:cxn ang="0">
                <a:pos x="connsiteX21614" y="connsiteY21614"/>
              </a:cxn>
              <a:cxn ang="0">
                <a:pos x="connsiteX21615" y="connsiteY21615"/>
              </a:cxn>
              <a:cxn ang="0">
                <a:pos x="connsiteX21616" y="connsiteY21616"/>
              </a:cxn>
              <a:cxn ang="0">
                <a:pos x="connsiteX21617" y="connsiteY21617"/>
              </a:cxn>
              <a:cxn ang="0">
                <a:pos x="connsiteX21618" y="connsiteY21618"/>
              </a:cxn>
              <a:cxn ang="0">
                <a:pos x="connsiteX21619" y="connsiteY21619"/>
              </a:cxn>
              <a:cxn ang="0">
                <a:pos x="connsiteX21620" y="connsiteY21620"/>
              </a:cxn>
              <a:cxn ang="0">
                <a:pos x="connsiteX21621" y="connsiteY21621"/>
              </a:cxn>
              <a:cxn ang="0">
                <a:pos x="connsiteX21622" y="connsiteY21622"/>
              </a:cxn>
              <a:cxn ang="0">
                <a:pos x="connsiteX21623" y="connsiteY21623"/>
              </a:cxn>
              <a:cxn ang="0">
                <a:pos x="connsiteX21624" y="connsiteY21624"/>
              </a:cxn>
              <a:cxn ang="0">
                <a:pos x="connsiteX21625" y="connsiteY21625"/>
              </a:cxn>
              <a:cxn ang="0">
                <a:pos x="connsiteX21626" y="connsiteY21626"/>
              </a:cxn>
              <a:cxn ang="0">
                <a:pos x="connsiteX21627" y="connsiteY21627"/>
              </a:cxn>
              <a:cxn ang="0">
                <a:pos x="connsiteX21628" y="connsiteY21628"/>
              </a:cxn>
              <a:cxn ang="0">
                <a:pos x="connsiteX21629" y="connsiteY21629"/>
              </a:cxn>
              <a:cxn ang="0">
                <a:pos x="connsiteX21630" y="connsiteY21630"/>
              </a:cxn>
              <a:cxn ang="0">
                <a:pos x="connsiteX21631" y="connsiteY21631"/>
              </a:cxn>
              <a:cxn ang="0">
                <a:pos x="connsiteX21632" y="connsiteY21632"/>
              </a:cxn>
              <a:cxn ang="0">
                <a:pos x="connsiteX21633" y="connsiteY21633"/>
              </a:cxn>
              <a:cxn ang="0">
                <a:pos x="connsiteX21634" y="connsiteY21634"/>
              </a:cxn>
              <a:cxn ang="0">
                <a:pos x="connsiteX21635" y="connsiteY21635"/>
              </a:cxn>
              <a:cxn ang="0">
                <a:pos x="connsiteX21636" y="connsiteY21636"/>
              </a:cxn>
              <a:cxn ang="0">
                <a:pos x="connsiteX21637" y="connsiteY21637"/>
              </a:cxn>
              <a:cxn ang="0">
                <a:pos x="connsiteX21638" y="connsiteY21638"/>
              </a:cxn>
              <a:cxn ang="0">
                <a:pos x="connsiteX21639" y="connsiteY21639"/>
              </a:cxn>
              <a:cxn ang="0">
                <a:pos x="connsiteX21640" y="connsiteY21640"/>
              </a:cxn>
              <a:cxn ang="0">
                <a:pos x="connsiteX21641" y="connsiteY21641"/>
              </a:cxn>
              <a:cxn ang="0">
                <a:pos x="connsiteX21642" y="connsiteY21642"/>
              </a:cxn>
              <a:cxn ang="0">
                <a:pos x="connsiteX21643" y="connsiteY21643"/>
              </a:cxn>
              <a:cxn ang="0">
                <a:pos x="connsiteX21644" y="connsiteY21644"/>
              </a:cxn>
              <a:cxn ang="0">
                <a:pos x="connsiteX21645" y="connsiteY21645"/>
              </a:cxn>
              <a:cxn ang="0">
                <a:pos x="connsiteX21646" y="connsiteY21646"/>
              </a:cxn>
              <a:cxn ang="0">
                <a:pos x="connsiteX21647" y="connsiteY21647"/>
              </a:cxn>
              <a:cxn ang="0">
                <a:pos x="connsiteX21648" y="connsiteY21648"/>
              </a:cxn>
              <a:cxn ang="0">
                <a:pos x="connsiteX21649" y="connsiteY21649"/>
              </a:cxn>
              <a:cxn ang="0">
                <a:pos x="connsiteX21650" y="connsiteY21650"/>
              </a:cxn>
              <a:cxn ang="0">
                <a:pos x="connsiteX21651" y="connsiteY21651"/>
              </a:cxn>
              <a:cxn ang="0">
                <a:pos x="connsiteX21652" y="connsiteY21652"/>
              </a:cxn>
              <a:cxn ang="0">
                <a:pos x="connsiteX21653" y="connsiteY21653"/>
              </a:cxn>
              <a:cxn ang="0">
                <a:pos x="connsiteX21654" y="connsiteY21654"/>
              </a:cxn>
              <a:cxn ang="0">
                <a:pos x="connsiteX21655" y="connsiteY21655"/>
              </a:cxn>
              <a:cxn ang="0">
                <a:pos x="connsiteX21656" y="connsiteY21656"/>
              </a:cxn>
              <a:cxn ang="0">
                <a:pos x="connsiteX21657" y="connsiteY21657"/>
              </a:cxn>
              <a:cxn ang="0">
                <a:pos x="connsiteX21658" y="connsiteY21658"/>
              </a:cxn>
              <a:cxn ang="0">
                <a:pos x="connsiteX21659" y="connsiteY21659"/>
              </a:cxn>
              <a:cxn ang="0">
                <a:pos x="connsiteX21660" y="connsiteY21660"/>
              </a:cxn>
              <a:cxn ang="0">
                <a:pos x="connsiteX21661" y="connsiteY21661"/>
              </a:cxn>
              <a:cxn ang="0">
                <a:pos x="connsiteX21662" y="connsiteY21662"/>
              </a:cxn>
              <a:cxn ang="0">
                <a:pos x="connsiteX21663" y="connsiteY21663"/>
              </a:cxn>
              <a:cxn ang="0">
                <a:pos x="connsiteX21664" y="connsiteY21664"/>
              </a:cxn>
              <a:cxn ang="0">
                <a:pos x="connsiteX21665" y="connsiteY21665"/>
              </a:cxn>
              <a:cxn ang="0">
                <a:pos x="connsiteX21666" y="connsiteY21666"/>
              </a:cxn>
              <a:cxn ang="0">
                <a:pos x="connsiteX21667" y="connsiteY21667"/>
              </a:cxn>
              <a:cxn ang="0">
                <a:pos x="connsiteX21668" y="connsiteY21668"/>
              </a:cxn>
              <a:cxn ang="0">
                <a:pos x="connsiteX21669" y="connsiteY21669"/>
              </a:cxn>
              <a:cxn ang="0">
                <a:pos x="connsiteX21670" y="connsiteY21670"/>
              </a:cxn>
              <a:cxn ang="0">
                <a:pos x="connsiteX21671" y="connsiteY21671"/>
              </a:cxn>
              <a:cxn ang="0">
                <a:pos x="connsiteX21672" y="connsiteY21672"/>
              </a:cxn>
              <a:cxn ang="0">
                <a:pos x="connsiteX21673" y="connsiteY21673"/>
              </a:cxn>
              <a:cxn ang="0">
                <a:pos x="connsiteX21674" y="connsiteY21674"/>
              </a:cxn>
              <a:cxn ang="0">
                <a:pos x="connsiteX21675" y="connsiteY21675"/>
              </a:cxn>
              <a:cxn ang="0">
                <a:pos x="connsiteX21676" y="connsiteY21676"/>
              </a:cxn>
              <a:cxn ang="0">
                <a:pos x="connsiteX21677" y="connsiteY21677"/>
              </a:cxn>
              <a:cxn ang="0">
                <a:pos x="connsiteX21678" y="connsiteY21678"/>
              </a:cxn>
              <a:cxn ang="0">
                <a:pos x="connsiteX21679" y="connsiteY21679"/>
              </a:cxn>
              <a:cxn ang="0">
                <a:pos x="connsiteX21680" y="connsiteY21680"/>
              </a:cxn>
              <a:cxn ang="0">
                <a:pos x="connsiteX21681" y="connsiteY21681"/>
              </a:cxn>
              <a:cxn ang="0">
                <a:pos x="connsiteX21682" y="connsiteY21682"/>
              </a:cxn>
              <a:cxn ang="0">
                <a:pos x="connsiteX21683" y="connsiteY21683"/>
              </a:cxn>
              <a:cxn ang="0">
                <a:pos x="connsiteX21684" y="connsiteY21684"/>
              </a:cxn>
              <a:cxn ang="0">
                <a:pos x="connsiteX21685" y="connsiteY21685"/>
              </a:cxn>
              <a:cxn ang="0">
                <a:pos x="connsiteX21686" y="connsiteY21686"/>
              </a:cxn>
              <a:cxn ang="0">
                <a:pos x="connsiteX21687" y="connsiteY21687"/>
              </a:cxn>
              <a:cxn ang="0">
                <a:pos x="connsiteX21688" y="connsiteY21688"/>
              </a:cxn>
              <a:cxn ang="0">
                <a:pos x="connsiteX21689" y="connsiteY21689"/>
              </a:cxn>
              <a:cxn ang="0">
                <a:pos x="connsiteX21690" y="connsiteY21690"/>
              </a:cxn>
              <a:cxn ang="0">
                <a:pos x="connsiteX21691" y="connsiteY21691"/>
              </a:cxn>
              <a:cxn ang="0">
                <a:pos x="connsiteX21692" y="connsiteY21692"/>
              </a:cxn>
              <a:cxn ang="0">
                <a:pos x="connsiteX21693" y="connsiteY21693"/>
              </a:cxn>
              <a:cxn ang="0">
                <a:pos x="connsiteX21694" y="connsiteY21694"/>
              </a:cxn>
              <a:cxn ang="0">
                <a:pos x="connsiteX21695" y="connsiteY21695"/>
              </a:cxn>
              <a:cxn ang="0">
                <a:pos x="connsiteX21696" y="connsiteY21696"/>
              </a:cxn>
              <a:cxn ang="0">
                <a:pos x="connsiteX21697" y="connsiteY21697"/>
              </a:cxn>
              <a:cxn ang="0">
                <a:pos x="connsiteX21698" y="connsiteY21698"/>
              </a:cxn>
              <a:cxn ang="0">
                <a:pos x="connsiteX21699" y="connsiteY21699"/>
              </a:cxn>
              <a:cxn ang="0">
                <a:pos x="connsiteX21700" y="connsiteY21700"/>
              </a:cxn>
              <a:cxn ang="0">
                <a:pos x="connsiteX21701" y="connsiteY21701"/>
              </a:cxn>
              <a:cxn ang="0">
                <a:pos x="connsiteX21702" y="connsiteY21702"/>
              </a:cxn>
              <a:cxn ang="0">
                <a:pos x="connsiteX21703" y="connsiteY21703"/>
              </a:cxn>
              <a:cxn ang="0">
                <a:pos x="connsiteX21704" y="connsiteY21704"/>
              </a:cxn>
              <a:cxn ang="0">
                <a:pos x="connsiteX21705" y="connsiteY21705"/>
              </a:cxn>
              <a:cxn ang="0">
                <a:pos x="connsiteX21706" y="connsiteY21706"/>
              </a:cxn>
              <a:cxn ang="0">
                <a:pos x="connsiteX21707" y="connsiteY21707"/>
              </a:cxn>
              <a:cxn ang="0">
                <a:pos x="connsiteX21708" y="connsiteY21708"/>
              </a:cxn>
              <a:cxn ang="0">
                <a:pos x="connsiteX21709" y="connsiteY21709"/>
              </a:cxn>
              <a:cxn ang="0">
                <a:pos x="connsiteX21710" y="connsiteY21710"/>
              </a:cxn>
              <a:cxn ang="0">
                <a:pos x="connsiteX21711" y="connsiteY21711"/>
              </a:cxn>
              <a:cxn ang="0">
                <a:pos x="connsiteX21712" y="connsiteY21712"/>
              </a:cxn>
              <a:cxn ang="0">
                <a:pos x="connsiteX21713" y="connsiteY21713"/>
              </a:cxn>
              <a:cxn ang="0">
                <a:pos x="connsiteX21714" y="connsiteY21714"/>
              </a:cxn>
              <a:cxn ang="0">
                <a:pos x="connsiteX21715" y="connsiteY21715"/>
              </a:cxn>
              <a:cxn ang="0">
                <a:pos x="connsiteX21716" y="connsiteY21716"/>
              </a:cxn>
              <a:cxn ang="0">
                <a:pos x="connsiteX21717" y="connsiteY21717"/>
              </a:cxn>
              <a:cxn ang="0">
                <a:pos x="connsiteX21718" y="connsiteY21718"/>
              </a:cxn>
              <a:cxn ang="0">
                <a:pos x="connsiteX21719" y="connsiteY21719"/>
              </a:cxn>
              <a:cxn ang="0">
                <a:pos x="connsiteX21720" y="connsiteY21720"/>
              </a:cxn>
              <a:cxn ang="0">
                <a:pos x="connsiteX21721" y="connsiteY21721"/>
              </a:cxn>
              <a:cxn ang="0">
                <a:pos x="connsiteX21722" y="connsiteY21722"/>
              </a:cxn>
              <a:cxn ang="0">
                <a:pos x="connsiteX21723" y="connsiteY21723"/>
              </a:cxn>
              <a:cxn ang="0">
                <a:pos x="connsiteX21724" y="connsiteY21724"/>
              </a:cxn>
              <a:cxn ang="0">
                <a:pos x="connsiteX21725" y="connsiteY21725"/>
              </a:cxn>
              <a:cxn ang="0">
                <a:pos x="connsiteX21726" y="connsiteY21726"/>
              </a:cxn>
              <a:cxn ang="0">
                <a:pos x="connsiteX21727" y="connsiteY21727"/>
              </a:cxn>
              <a:cxn ang="0">
                <a:pos x="connsiteX21728" y="connsiteY21728"/>
              </a:cxn>
              <a:cxn ang="0">
                <a:pos x="connsiteX21729" y="connsiteY21729"/>
              </a:cxn>
              <a:cxn ang="0">
                <a:pos x="connsiteX21730" y="connsiteY21730"/>
              </a:cxn>
              <a:cxn ang="0">
                <a:pos x="connsiteX21731" y="connsiteY21731"/>
              </a:cxn>
              <a:cxn ang="0">
                <a:pos x="connsiteX21732" y="connsiteY21732"/>
              </a:cxn>
              <a:cxn ang="0">
                <a:pos x="connsiteX21733" y="connsiteY21733"/>
              </a:cxn>
              <a:cxn ang="0">
                <a:pos x="connsiteX21734" y="connsiteY21734"/>
              </a:cxn>
              <a:cxn ang="0">
                <a:pos x="connsiteX21735" y="connsiteY21735"/>
              </a:cxn>
              <a:cxn ang="0">
                <a:pos x="connsiteX21736" y="connsiteY21736"/>
              </a:cxn>
              <a:cxn ang="0">
                <a:pos x="connsiteX21737" y="connsiteY21737"/>
              </a:cxn>
              <a:cxn ang="0">
                <a:pos x="connsiteX21738" y="connsiteY21738"/>
              </a:cxn>
              <a:cxn ang="0">
                <a:pos x="connsiteX21739" y="connsiteY21739"/>
              </a:cxn>
              <a:cxn ang="0">
                <a:pos x="connsiteX21740" y="connsiteY21740"/>
              </a:cxn>
              <a:cxn ang="0">
                <a:pos x="connsiteX21741" y="connsiteY21741"/>
              </a:cxn>
              <a:cxn ang="0">
                <a:pos x="connsiteX21742" y="connsiteY21742"/>
              </a:cxn>
              <a:cxn ang="0">
                <a:pos x="connsiteX21743" y="connsiteY21743"/>
              </a:cxn>
              <a:cxn ang="0">
                <a:pos x="connsiteX21744" y="connsiteY21744"/>
              </a:cxn>
              <a:cxn ang="0">
                <a:pos x="connsiteX21745" y="connsiteY21745"/>
              </a:cxn>
              <a:cxn ang="0">
                <a:pos x="connsiteX21746" y="connsiteY21746"/>
              </a:cxn>
              <a:cxn ang="0">
                <a:pos x="connsiteX21747" y="connsiteY21747"/>
              </a:cxn>
              <a:cxn ang="0">
                <a:pos x="connsiteX21748" y="connsiteY21748"/>
              </a:cxn>
              <a:cxn ang="0">
                <a:pos x="connsiteX21749" y="connsiteY21749"/>
              </a:cxn>
              <a:cxn ang="0">
                <a:pos x="connsiteX21750" y="connsiteY21750"/>
              </a:cxn>
              <a:cxn ang="0">
                <a:pos x="connsiteX21751" y="connsiteY21751"/>
              </a:cxn>
              <a:cxn ang="0">
                <a:pos x="connsiteX21752" y="connsiteY21752"/>
              </a:cxn>
              <a:cxn ang="0">
                <a:pos x="connsiteX21753" y="connsiteY21753"/>
              </a:cxn>
              <a:cxn ang="0">
                <a:pos x="connsiteX21754" y="connsiteY21754"/>
              </a:cxn>
              <a:cxn ang="0">
                <a:pos x="connsiteX21755" y="connsiteY21755"/>
              </a:cxn>
              <a:cxn ang="0">
                <a:pos x="connsiteX21756" y="connsiteY21756"/>
              </a:cxn>
              <a:cxn ang="0">
                <a:pos x="connsiteX21757" y="connsiteY21757"/>
              </a:cxn>
              <a:cxn ang="0">
                <a:pos x="connsiteX21758" y="connsiteY21758"/>
              </a:cxn>
              <a:cxn ang="0">
                <a:pos x="connsiteX21759" y="connsiteY21759"/>
              </a:cxn>
              <a:cxn ang="0">
                <a:pos x="connsiteX21760" y="connsiteY21760"/>
              </a:cxn>
              <a:cxn ang="0">
                <a:pos x="connsiteX21761" y="connsiteY21761"/>
              </a:cxn>
              <a:cxn ang="0">
                <a:pos x="connsiteX21762" y="connsiteY21762"/>
              </a:cxn>
              <a:cxn ang="0">
                <a:pos x="connsiteX21763" y="connsiteY21763"/>
              </a:cxn>
              <a:cxn ang="0">
                <a:pos x="connsiteX21764" y="connsiteY21764"/>
              </a:cxn>
              <a:cxn ang="0">
                <a:pos x="connsiteX21765" y="connsiteY21765"/>
              </a:cxn>
              <a:cxn ang="0">
                <a:pos x="connsiteX21766" y="connsiteY21766"/>
              </a:cxn>
              <a:cxn ang="0">
                <a:pos x="connsiteX21767" y="connsiteY21767"/>
              </a:cxn>
              <a:cxn ang="0">
                <a:pos x="connsiteX21768" y="connsiteY21768"/>
              </a:cxn>
              <a:cxn ang="0">
                <a:pos x="connsiteX21769" y="connsiteY21769"/>
              </a:cxn>
              <a:cxn ang="0">
                <a:pos x="connsiteX21770" y="connsiteY21770"/>
              </a:cxn>
              <a:cxn ang="0">
                <a:pos x="connsiteX21771" y="connsiteY21771"/>
              </a:cxn>
              <a:cxn ang="0">
                <a:pos x="connsiteX21772" y="connsiteY21772"/>
              </a:cxn>
              <a:cxn ang="0">
                <a:pos x="connsiteX21773" y="connsiteY21773"/>
              </a:cxn>
              <a:cxn ang="0">
                <a:pos x="connsiteX21774" y="connsiteY21774"/>
              </a:cxn>
              <a:cxn ang="0">
                <a:pos x="connsiteX21775" y="connsiteY21775"/>
              </a:cxn>
              <a:cxn ang="0">
                <a:pos x="connsiteX21776" y="connsiteY21776"/>
              </a:cxn>
              <a:cxn ang="0">
                <a:pos x="connsiteX21777" y="connsiteY21777"/>
              </a:cxn>
              <a:cxn ang="0">
                <a:pos x="connsiteX21778" y="connsiteY21778"/>
              </a:cxn>
              <a:cxn ang="0">
                <a:pos x="connsiteX21779" y="connsiteY21779"/>
              </a:cxn>
              <a:cxn ang="0">
                <a:pos x="connsiteX21780" y="connsiteY21780"/>
              </a:cxn>
              <a:cxn ang="0">
                <a:pos x="connsiteX21781" y="connsiteY21781"/>
              </a:cxn>
              <a:cxn ang="0">
                <a:pos x="connsiteX21782" y="connsiteY21782"/>
              </a:cxn>
              <a:cxn ang="0">
                <a:pos x="connsiteX21783" y="connsiteY21783"/>
              </a:cxn>
              <a:cxn ang="0">
                <a:pos x="connsiteX21784" y="connsiteY21784"/>
              </a:cxn>
              <a:cxn ang="0">
                <a:pos x="connsiteX21785" y="connsiteY21785"/>
              </a:cxn>
              <a:cxn ang="0">
                <a:pos x="connsiteX21786" y="connsiteY21786"/>
              </a:cxn>
              <a:cxn ang="0">
                <a:pos x="connsiteX21787" y="connsiteY21787"/>
              </a:cxn>
              <a:cxn ang="0">
                <a:pos x="connsiteX21788" y="connsiteY21788"/>
              </a:cxn>
              <a:cxn ang="0">
                <a:pos x="connsiteX21789" y="connsiteY21789"/>
              </a:cxn>
              <a:cxn ang="0">
                <a:pos x="connsiteX21790" y="connsiteY21790"/>
              </a:cxn>
              <a:cxn ang="0">
                <a:pos x="connsiteX21791" y="connsiteY21791"/>
              </a:cxn>
              <a:cxn ang="0">
                <a:pos x="connsiteX21792" y="connsiteY21792"/>
              </a:cxn>
              <a:cxn ang="0">
                <a:pos x="connsiteX21793" y="connsiteY21793"/>
              </a:cxn>
              <a:cxn ang="0">
                <a:pos x="connsiteX21794" y="connsiteY21794"/>
              </a:cxn>
              <a:cxn ang="0">
                <a:pos x="connsiteX21795" y="connsiteY21795"/>
              </a:cxn>
              <a:cxn ang="0">
                <a:pos x="connsiteX21796" y="connsiteY21796"/>
              </a:cxn>
              <a:cxn ang="0">
                <a:pos x="connsiteX21797" y="connsiteY21797"/>
              </a:cxn>
              <a:cxn ang="0">
                <a:pos x="connsiteX21798" y="connsiteY21798"/>
              </a:cxn>
              <a:cxn ang="0">
                <a:pos x="connsiteX21799" y="connsiteY21799"/>
              </a:cxn>
              <a:cxn ang="0">
                <a:pos x="connsiteX21800" y="connsiteY21800"/>
              </a:cxn>
              <a:cxn ang="0">
                <a:pos x="connsiteX21801" y="connsiteY21801"/>
              </a:cxn>
              <a:cxn ang="0">
                <a:pos x="connsiteX21802" y="connsiteY21802"/>
              </a:cxn>
              <a:cxn ang="0">
                <a:pos x="connsiteX21803" y="connsiteY21803"/>
              </a:cxn>
              <a:cxn ang="0">
                <a:pos x="connsiteX21804" y="connsiteY21804"/>
              </a:cxn>
              <a:cxn ang="0">
                <a:pos x="connsiteX21805" y="connsiteY21805"/>
              </a:cxn>
              <a:cxn ang="0">
                <a:pos x="connsiteX21806" y="connsiteY21806"/>
              </a:cxn>
              <a:cxn ang="0">
                <a:pos x="connsiteX21807" y="connsiteY21807"/>
              </a:cxn>
              <a:cxn ang="0">
                <a:pos x="connsiteX21808" y="connsiteY21808"/>
              </a:cxn>
              <a:cxn ang="0">
                <a:pos x="connsiteX21809" y="connsiteY21809"/>
              </a:cxn>
              <a:cxn ang="0">
                <a:pos x="connsiteX21810" y="connsiteY21810"/>
              </a:cxn>
              <a:cxn ang="0">
                <a:pos x="connsiteX21811" y="connsiteY21811"/>
              </a:cxn>
              <a:cxn ang="0">
                <a:pos x="connsiteX21812" y="connsiteY21812"/>
              </a:cxn>
              <a:cxn ang="0">
                <a:pos x="connsiteX21813" y="connsiteY21813"/>
              </a:cxn>
              <a:cxn ang="0">
                <a:pos x="connsiteX21814" y="connsiteY21814"/>
              </a:cxn>
              <a:cxn ang="0">
                <a:pos x="connsiteX21815" y="connsiteY21815"/>
              </a:cxn>
              <a:cxn ang="0">
                <a:pos x="connsiteX21816" y="connsiteY21816"/>
              </a:cxn>
              <a:cxn ang="0">
                <a:pos x="connsiteX21817" y="connsiteY21817"/>
              </a:cxn>
              <a:cxn ang="0">
                <a:pos x="connsiteX21818" y="connsiteY21818"/>
              </a:cxn>
              <a:cxn ang="0">
                <a:pos x="connsiteX21819" y="connsiteY21819"/>
              </a:cxn>
              <a:cxn ang="0">
                <a:pos x="connsiteX21820" y="connsiteY21820"/>
              </a:cxn>
              <a:cxn ang="0">
                <a:pos x="connsiteX21821" y="connsiteY21821"/>
              </a:cxn>
              <a:cxn ang="0">
                <a:pos x="connsiteX21822" y="connsiteY21822"/>
              </a:cxn>
              <a:cxn ang="0">
                <a:pos x="connsiteX21823" y="connsiteY21823"/>
              </a:cxn>
              <a:cxn ang="0">
                <a:pos x="connsiteX21824" y="connsiteY21824"/>
              </a:cxn>
              <a:cxn ang="0">
                <a:pos x="connsiteX21825" y="connsiteY21825"/>
              </a:cxn>
              <a:cxn ang="0">
                <a:pos x="connsiteX21826" y="connsiteY21826"/>
              </a:cxn>
              <a:cxn ang="0">
                <a:pos x="connsiteX21827" y="connsiteY21827"/>
              </a:cxn>
              <a:cxn ang="0">
                <a:pos x="connsiteX21828" y="connsiteY21828"/>
              </a:cxn>
              <a:cxn ang="0">
                <a:pos x="connsiteX21829" y="connsiteY21829"/>
              </a:cxn>
              <a:cxn ang="0">
                <a:pos x="connsiteX21830" y="connsiteY21830"/>
              </a:cxn>
              <a:cxn ang="0">
                <a:pos x="connsiteX21831" y="connsiteY21831"/>
              </a:cxn>
              <a:cxn ang="0">
                <a:pos x="connsiteX21832" y="connsiteY21832"/>
              </a:cxn>
              <a:cxn ang="0">
                <a:pos x="connsiteX21833" y="connsiteY21833"/>
              </a:cxn>
              <a:cxn ang="0">
                <a:pos x="connsiteX21834" y="connsiteY21834"/>
              </a:cxn>
              <a:cxn ang="0">
                <a:pos x="connsiteX21835" y="connsiteY21835"/>
              </a:cxn>
              <a:cxn ang="0">
                <a:pos x="connsiteX21836" y="connsiteY21836"/>
              </a:cxn>
              <a:cxn ang="0">
                <a:pos x="connsiteX21837" y="connsiteY21837"/>
              </a:cxn>
              <a:cxn ang="0">
                <a:pos x="connsiteX21838" y="connsiteY21838"/>
              </a:cxn>
              <a:cxn ang="0">
                <a:pos x="connsiteX21839" y="connsiteY21839"/>
              </a:cxn>
              <a:cxn ang="0">
                <a:pos x="connsiteX21840" y="connsiteY21840"/>
              </a:cxn>
              <a:cxn ang="0">
                <a:pos x="connsiteX21841" y="connsiteY21841"/>
              </a:cxn>
              <a:cxn ang="0">
                <a:pos x="connsiteX21842" y="connsiteY21842"/>
              </a:cxn>
              <a:cxn ang="0">
                <a:pos x="connsiteX21843" y="connsiteY21843"/>
              </a:cxn>
              <a:cxn ang="0">
                <a:pos x="connsiteX21844" y="connsiteY21844"/>
              </a:cxn>
              <a:cxn ang="0">
                <a:pos x="connsiteX21845" y="connsiteY21845"/>
              </a:cxn>
              <a:cxn ang="0">
                <a:pos x="connsiteX21846" y="connsiteY21846"/>
              </a:cxn>
              <a:cxn ang="0">
                <a:pos x="connsiteX21847" y="connsiteY21847"/>
              </a:cxn>
              <a:cxn ang="0">
                <a:pos x="connsiteX21848" y="connsiteY21848"/>
              </a:cxn>
              <a:cxn ang="0">
                <a:pos x="connsiteX21849" y="connsiteY21849"/>
              </a:cxn>
              <a:cxn ang="0">
                <a:pos x="connsiteX21850" y="connsiteY21850"/>
              </a:cxn>
              <a:cxn ang="0">
                <a:pos x="connsiteX21851" y="connsiteY21851"/>
              </a:cxn>
              <a:cxn ang="0">
                <a:pos x="connsiteX21852" y="connsiteY21852"/>
              </a:cxn>
              <a:cxn ang="0">
                <a:pos x="connsiteX21853" y="connsiteY21853"/>
              </a:cxn>
              <a:cxn ang="0">
                <a:pos x="connsiteX21854" y="connsiteY21854"/>
              </a:cxn>
              <a:cxn ang="0">
                <a:pos x="connsiteX21855" y="connsiteY21855"/>
              </a:cxn>
              <a:cxn ang="0">
                <a:pos x="connsiteX21856" y="connsiteY21856"/>
              </a:cxn>
              <a:cxn ang="0">
                <a:pos x="connsiteX21857" y="connsiteY21857"/>
              </a:cxn>
              <a:cxn ang="0">
                <a:pos x="connsiteX21858" y="connsiteY21858"/>
              </a:cxn>
              <a:cxn ang="0">
                <a:pos x="connsiteX21859" y="connsiteY21859"/>
              </a:cxn>
              <a:cxn ang="0">
                <a:pos x="connsiteX21860" y="connsiteY21860"/>
              </a:cxn>
              <a:cxn ang="0">
                <a:pos x="connsiteX21861" y="connsiteY21861"/>
              </a:cxn>
              <a:cxn ang="0">
                <a:pos x="connsiteX21862" y="connsiteY21862"/>
              </a:cxn>
              <a:cxn ang="0">
                <a:pos x="connsiteX21863" y="connsiteY21863"/>
              </a:cxn>
              <a:cxn ang="0">
                <a:pos x="connsiteX21864" y="connsiteY21864"/>
              </a:cxn>
              <a:cxn ang="0">
                <a:pos x="connsiteX21865" y="connsiteY21865"/>
              </a:cxn>
              <a:cxn ang="0">
                <a:pos x="connsiteX21866" y="connsiteY21866"/>
              </a:cxn>
              <a:cxn ang="0">
                <a:pos x="connsiteX21867" y="connsiteY21867"/>
              </a:cxn>
              <a:cxn ang="0">
                <a:pos x="connsiteX21868" y="connsiteY21868"/>
              </a:cxn>
              <a:cxn ang="0">
                <a:pos x="connsiteX21869" y="connsiteY21869"/>
              </a:cxn>
              <a:cxn ang="0">
                <a:pos x="connsiteX21870" y="connsiteY21870"/>
              </a:cxn>
              <a:cxn ang="0">
                <a:pos x="connsiteX21871" y="connsiteY21871"/>
              </a:cxn>
              <a:cxn ang="0">
                <a:pos x="connsiteX21872" y="connsiteY21872"/>
              </a:cxn>
              <a:cxn ang="0">
                <a:pos x="connsiteX21873" y="connsiteY21873"/>
              </a:cxn>
              <a:cxn ang="0">
                <a:pos x="connsiteX21874" y="connsiteY21874"/>
              </a:cxn>
              <a:cxn ang="0">
                <a:pos x="connsiteX21875" y="connsiteY21875"/>
              </a:cxn>
              <a:cxn ang="0">
                <a:pos x="connsiteX21876" y="connsiteY21876"/>
              </a:cxn>
              <a:cxn ang="0">
                <a:pos x="connsiteX21877" y="connsiteY21877"/>
              </a:cxn>
              <a:cxn ang="0">
                <a:pos x="connsiteX21878" y="connsiteY21878"/>
              </a:cxn>
              <a:cxn ang="0">
                <a:pos x="connsiteX21879" y="connsiteY21879"/>
              </a:cxn>
              <a:cxn ang="0">
                <a:pos x="connsiteX21880" y="connsiteY21880"/>
              </a:cxn>
              <a:cxn ang="0">
                <a:pos x="connsiteX21881" y="connsiteY21881"/>
              </a:cxn>
              <a:cxn ang="0">
                <a:pos x="connsiteX21882" y="connsiteY21882"/>
              </a:cxn>
              <a:cxn ang="0">
                <a:pos x="connsiteX21883" y="connsiteY21883"/>
              </a:cxn>
              <a:cxn ang="0">
                <a:pos x="connsiteX21884" y="connsiteY21884"/>
              </a:cxn>
              <a:cxn ang="0">
                <a:pos x="connsiteX21885" y="connsiteY21885"/>
              </a:cxn>
              <a:cxn ang="0">
                <a:pos x="connsiteX21886" y="connsiteY21886"/>
              </a:cxn>
              <a:cxn ang="0">
                <a:pos x="connsiteX21887" y="connsiteY21887"/>
              </a:cxn>
              <a:cxn ang="0">
                <a:pos x="connsiteX21888" y="connsiteY21888"/>
              </a:cxn>
              <a:cxn ang="0">
                <a:pos x="connsiteX21889" y="connsiteY21889"/>
              </a:cxn>
              <a:cxn ang="0">
                <a:pos x="connsiteX21890" y="connsiteY21890"/>
              </a:cxn>
              <a:cxn ang="0">
                <a:pos x="connsiteX21891" y="connsiteY21891"/>
              </a:cxn>
              <a:cxn ang="0">
                <a:pos x="connsiteX21892" y="connsiteY21892"/>
              </a:cxn>
              <a:cxn ang="0">
                <a:pos x="connsiteX21893" y="connsiteY21893"/>
              </a:cxn>
              <a:cxn ang="0">
                <a:pos x="connsiteX21894" y="connsiteY21894"/>
              </a:cxn>
              <a:cxn ang="0">
                <a:pos x="connsiteX21895" y="connsiteY21895"/>
              </a:cxn>
              <a:cxn ang="0">
                <a:pos x="connsiteX21896" y="connsiteY21896"/>
              </a:cxn>
              <a:cxn ang="0">
                <a:pos x="connsiteX21897" y="connsiteY21897"/>
              </a:cxn>
              <a:cxn ang="0">
                <a:pos x="connsiteX21898" y="connsiteY21898"/>
              </a:cxn>
              <a:cxn ang="0">
                <a:pos x="connsiteX21899" y="connsiteY21899"/>
              </a:cxn>
              <a:cxn ang="0">
                <a:pos x="connsiteX21900" y="connsiteY21900"/>
              </a:cxn>
              <a:cxn ang="0">
                <a:pos x="connsiteX21901" y="connsiteY21901"/>
              </a:cxn>
              <a:cxn ang="0">
                <a:pos x="connsiteX21902" y="connsiteY21902"/>
              </a:cxn>
              <a:cxn ang="0">
                <a:pos x="connsiteX21903" y="connsiteY21903"/>
              </a:cxn>
              <a:cxn ang="0">
                <a:pos x="connsiteX21904" y="connsiteY21904"/>
              </a:cxn>
              <a:cxn ang="0">
                <a:pos x="connsiteX21905" y="connsiteY21905"/>
              </a:cxn>
              <a:cxn ang="0">
                <a:pos x="connsiteX21906" y="connsiteY21906"/>
              </a:cxn>
              <a:cxn ang="0">
                <a:pos x="connsiteX21907" y="connsiteY21907"/>
              </a:cxn>
              <a:cxn ang="0">
                <a:pos x="connsiteX21908" y="connsiteY21908"/>
              </a:cxn>
              <a:cxn ang="0">
                <a:pos x="connsiteX21909" y="connsiteY21909"/>
              </a:cxn>
              <a:cxn ang="0">
                <a:pos x="connsiteX21910" y="connsiteY21910"/>
              </a:cxn>
              <a:cxn ang="0">
                <a:pos x="connsiteX21911" y="connsiteY21911"/>
              </a:cxn>
              <a:cxn ang="0">
                <a:pos x="connsiteX21912" y="connsiteY21912"/>
              </a:cxn>
              <a:cxn ang="0">
                <a:pos x="connsiteX21913" y="connsiteY21913"/>
              </a:cxn>
              <a:cxn ang="0">
                <a:pos x="connsiteX21914" y="connsiteY21914"/>
              </a:cxn>
              <a:cxn ang="0">
                <a:pos x="connsiteX21915" y="connsiteY21915"/>
              </a:cxn>
              <a:cxn ang="0">
                <a:pos x="connsiteX21916" y="connsiteY21916"/>
              </a:cxn>
              <a:cxn ang="0">
                <a:pos x="connsiteX21917" y="connsiteY21917"/>
              </a:cxn>
              <a:cxn ang="0">
                <a:pos x="connsiteX21918" y="connsiteY21918"/>
              </a:cxn>
              <a:cxn ang="0">
                <a:pos x="connsiteX21919" y="connsiteY21919"/>
              </a:cxn>
              <a:cxn ang="0">
                <a:pos x="connsiteX21920" y="connsiteY21920"/>
              </a:cxn>
              <a:cxn ang="0">
                <a:pos x="connsiteX21921" y="connsiteY21921"/>
              </a:cxn>
              <a:cxn ang="0">
                <a:pos x="connsiteX21922" y="connsiteY21922"/>
              </a:cxn>
              <a:cxn ang="0">
                <a:pos x="connsiteX21923" y="connsiteY21923"/>
              </a:cxn>
              <a:cxn ang="0">
                <a:pos x="connsiteX21924" y="connsiteY21924"/>
              </a:cxn>
              <a:cxn ang="0">
                <a:pos x="connsiteX21925" y="connsiteY21925"/>
              </a:cxn>
              <a:cxn ang="0">
                <a:pos x="connsiteX21926" y="connsiteY21926"/>
              </a:cxn>
              <a:cxn ang="0">
                <a:pos x="connsiteX21927" y="connsiteY21927"/>
              </a:cxn>
              <a:cxn ang="0">
                <a:pos x="connsiteX21928" y="connsiteY21928"/>
              </a:cxn>
              <a:cxn ang="0">
                <a:pos x="connsiteX21929" y="connsiteY21929"/>
              </a:cxn>
              <a:cxn ang="0">
                <a:pos x="connsiteX21930" y="connsiteY21930"/>
              </a:cxn>
              <a:cxn ang="0">
                <a:pos x="connsiteX21931" y="connsiteY21931"/>
              </a:cxn>
              <a:cxn ang="0">
                <a:pos x="connsiteX21932" y="connsiteY21932"/>
              </a:cxn>
              <a:cxn ang="0">
                <a:pos x="connsiteX21933" y="connsiteY21933"/>
              </a:cxn>
              <a:cxn ang="0">
                <a:pos x="connsiteX21934" y="connsiteY21934"/>
              </a:cxn>
              <a:cxn ang="0">
                <a:pos x="connsiteX21935" y="connsiteY21935"/>
              </a:cxn>
              <a:cxn ang="0">
                <a:pos x="connsiteX21936" y="connsiteY21936"/>
              </a:cxn>
              <a:cxn ang="0">
                <a:pos x="connsiteX21937" y="connsiteY21937"/>
              </a:cxn>
              <a:cxn ang="0">
                <a:pos x="connsiteX21938" y="connsiteY21938"/>
              </a:cxn>
              <a:cxn ang="0">
                <a:pos x="connsiteX21939" y="connsiteY21939"/>
              </a:cxn>
              <a:cxn ang="0">
                <a:pos x="connsiteX21940" y="connsiteY21940"/>
              </a:cxn>
              <a:cxn ang="0">
                <a:pos x="connsiteX21941" y="connsiteY21941"/>
              </a:cxn>
              <a:cxn ang="0">
                <a:pos x="connsiteX21942" y="connsiteY21942"/>
              </a:cxn>
              <a:cxn ang="0">
                <a:pos x="connsiteX21943" y="connsiteY21943"/>
              </a:cxn>
              <a:cxn ang="0">
                <a:pos x="connsiteX21944" y="connsiteY21944"/>
              </a:cxn>
              <a:cxn ang="0">
                <a:pos x="connsiteX21945" y="connsiteY21945"/>
              </a:cxn>
              <a:cxn ang="0">
                <a:pos x="connsiteX21946" y="connsiteY21946"/>
              </a:cxn>
              <a:cxn ang="0">
                <a:pos x="connsiteX21947" y="connsiteY21947"/>
              </a:cxn>
              <a:cxn ang="0">
                <a:pos x="connsiteX21948" y="connsiteY21948"/>
              </a:cxn>
              <a:cxn ang="0">
                <a:pos x="connsiteX21949" y="connsiteY21949"/>
              </a:cxn>
              <a:cxn ang="0">
                <a:pos x="connsiteX21950" y="connsiteY21950"/>
              </a:cxn>
              <a:cxn ang="0">
                <a:pos x="connsiteX21951" y="connsiteY21951"/>
              </a:cxn>
              <a:cxn ang="0">
                <a:pos x="connsiteX21952" y="connsiteY21952"/>
              </a:cxn>
              <a:cxn ang="0">
                <a:pos x="connsiteX21953" y="connsiteY21953"/>
              </a:cxn>
              <a:cxn ang="0">
                <a:pos x="connsiteX21954" y="connsiteY21954"/>
              </a:cxn>
              <a:cxn ang="0">
                <a:pos x="connsiteX21955" y="connsiteY21955"/>
              </a:cxn>
              <a:cxn ang="0">
                <a:pos x="connsiteX21956" y="connsiteY21956"/>
              </a:cxn>
              <a:cxn ang="0">
                <a:pos x="connsiteX21957" y="connsiteY21957"/>
              </a:cxn>
              <a:cxn ang="0">
                <a:pos x="connsiteX21958" y="connsiteY21958"/>
              </a:cxn>
              <a:cxn ang="0">
                <a:pos x="connsiteX21959" y="connsiteY21959"/>
              </a:cxn>
              <a:cxn ang="0">
                <a:pos x="connsiteX21960" y="connsiteY21960"/>
              </a:cxn>
              <a:cxn ang="0">
                <a:pos x="connsiteX21961" y="connsiteY21961"/>
              </a:cxn>
              <a:cxn ang="0">
                <a:pos x="connsiteX21962" y="connsiteY21962"/>
              </a:cxn>
              <a:cxn ang="0">
                <a:pos x="connsiteX21963" y="connsiteY21963"/>
              </a:cxn>
              <a:cxn ang="0">
                <a:pos x="connsiteX21964" y="connsiteY21964"/>
              </a:cxn>
              <a:cxn ang="0">
                <a:pos x="connsiteX21965" y="connsiteY21965"/>
              </a:cxn>
              <a:cxn ang="0">
                <a:pos x="connsiteX21966" y="connsiteY21966"/>
              </a:cxn>
              <a:cxn ang="0">
                <a:pos x="connsiteX21967" y="connsiteY21967"/>
              </a:cxn>
              <a:cxn ang="0">
                <a:pos x="connsiteX21968" y="connsiteY21968"/>
              </a:cxn>
              <a:cxn ang="0">
                <a:pos x="connsiteX21969" y="connsiteY21969"/>
              </a:cxn>
              <a:cxn ang="0">
                <a:pos x="connsiteX21970" y="connsiteY21970"/>
              </a:cxn>
              <a:cxn ang="0">
                <a:pos x="connsiteX21971" y="connsiteY21971"/>
              </a:cxn>
              <a:cxn ang="0">
                <a:pos x="connsiteX21972" y="connsiteY21972"/>
              </a:cxn>
              <a:cxn ang="0">
                <a:pos x="connsiteX21973" y="connsiteY21973"/>
              </a:cxn>
              <a:cxn ang="0">
                <a:pos x="connsiteX21974" y="connsiteY21974"/>
              </a:cxn>
              <a:cxn ang="0">
                <a:pos x="connsiteX21975" y="connsiteY21975"/>
              </a:cxn>
              <a:cxn ang="0">
                <a:pos x="connsiteX21976" y="connsiteY21976"/>
              </a:cxn>
              <a:cxn ang="0">
                <a:pos x="connsiteX21977" y="connsiteY21977"/>
              </a:cxn>
              <a:cxn ang="0">
                <a:pos x="connsiteX21978" y="connsiteY21978"/>
              </a:cxn>
              <a:cxn ang="0">
                <a:pos x="connsiteX21979" y="connsiteY21979"/>
              </a:cxn>
              <a:cxn ang="0">
                <a:pos x="connsiteX21980" y="connsiteY21980"/>
              </a:cxn>
              <a:cxn ang="0">
                <a:pos x="connsiteX21981" y="connsiteY21981"/>
              </a:cxn>
              <a:cxn ang="0">
                <a:pos x="connsiteX21982" y="connsiteY21982"/>
              </a:cxn>
              <a:cxn ang="0">
                <a:pos x="connsiteX21983" y="connsiteY21983"/>
              </a:cxn>
              <a:cxn ang="0">
                <a:pos x="connsiteX21984" y="connsiteY21984"/>
              </a:cxn>
              <a:cxn ang="0">
                <a:pos x="connsiteX21985" y="connsiteY21985"/>
              </a:cxn>
              <a:cxn ang="0">
                <a:pos x="connsiteX21986" y="connsiteY21986"/>
              </a:cxn>
              <a:cxn ang="0">
                <a:pos x="connsiteX21987" y="connsiteY21987"/>
              </a:cxn>
              <a:cxn ang="0">
                <a:pos x="connsiteX21988" y="connsiteY21988"/>
              </a:cxn>
              <a:cxn ang="0">
                <a:pos x="connsiteX21989" y="connsiteY21989"/>
              </a:cxn>
              <a:cxn ang="0">
                <a:pos x="connsiteX21990" y="connsiteY21990"/>
              </a:cxn>
              <a:cxn ang="0">
                <a:pos x="connsiteX21991" y="connsiteY21991"/>
              </a:cxn>
              <a:cxn ang="0">
                <a:pos x="connsiteX21992" y="connsiteY21992"/>
              </a:cxn>
              <a:cxn ang="0">
                <a:pos x="connsiteX21993" y="connsiteY21993"/>
              </a:cxn>
              <a:cxn ang="0">
                <a:pos x="connsiteX21994" y="connsiteY21994"/>
              </a:cxn>
              <a:cxn ang="0">
                <a:pos x="connsiteX21995" y="connsiteY21995"/>
              </a:cxn>
              <a:cxn ang="0">
                <a:pos x="connsiteX21996" y="connsiteY21996"/>
              </a:cxn>
              <a:cxn ang="0">
                <a:pos x="connsiteX21997" y="connsiteY21997"/>
              </a:cxn>
              <a:cxn ang="0">
                <a:pos x="connsiteX21998" y="connsiteY21998"/>
              </a:cxn>
              <a:cxn ang="0">
                <a:pos x="connsiteX21999" y="connsiteY21999"/>
              </a:cxn>
              <a:cxn ang="0">
                <a:pos x="connsiteX22000" y="connsiteY22000"/>
              </a:cxn>
              <a:cxn ang="0">
                <a:pos x="connsiteX22001" y="connsiteY22001"/>
              </a:cxn>
              <a:cxn ang="0">
                <a:pos x="connsiteX22002" y="connsiteY22002"/>
              </a:cxn>
              <a:cxn ang="0">
                <a:pos x="connsiteX22003" y="connsiteY22003"/>
              </a:cxn>
              <a:cxn ang="0">
                <a:pos x="connsiteX22004" y="connsiteY22004"/>
              </a:cxn>
              <a:cxn ang="0">
                <a:pos x="connsiteX22005" y="connsiteY22005"/>
              </a:cxn>
              <a:cxn ang="0">
                <a:pos x="connsiteX22006" y="connsiteY22006"/>
              </a:cxn>
              <a:cxn ang="0">
                <a:pos x="connsiteX22007" y="connsiteY22007"/>
              </a:cxn>
              <a:cxn ang="0">
                <a:pos x="connsiteX22008" y="connsiteY22008"/>
              </a:cxn>
              <a:cxn ang="0">
                <a:pos x="connsiteX22009" y="connsiteY22009"/>
              </a:cxn>
              <a:cxn ang="0">
                <a:pos x="connsiteX22010" y="connsiteY22010"/>
              </a:cxn>
              <a:cxn ang="0">
                <a:pos x="connsiteX22011" y="connsiteY22011"/>
              </a:cxn>
              <a:cxn ang="0">
                <a:pos x="connsiteX22012" y="connsiteY22012"/>
              </a:cxn>
              <a:cxn ang="0">
                <a:pos x="connsiteX22013" y="connsiteY22013"/>
              </a:cxn>
              <a:cxn ang="0">
                <a:pos x="connsiteX22014" y="connsiteY22014"/>
              </a:cxn>
              <a:cxn ang="0">
                <a:pos x="connsiteX22015" y="connsiteY22015"/>
              </a:cxn>
              <a:cxn ang="0">
                <a:pos x="connsiteX22016" y="connsiteY22016"/>
              </a:cxn>
              <a:cxn ang="0">
                <a:pos x="connsiteX22017" y="connsiteY22017"/>
              </a:cxn>
              <a:cxn ang="0">
                <a:pos x="connsiteX22018" y="connsiteY22018"/>
              </a:cxn>
              <a:cxn ang="0">
                <a:pos x="connsiteX22019" y="connsiteY22019"/>
              </a:cxn>
              <a:cxn ang="0">
                <a:pos x="connsiteX22020" y="connsiteY22020"/>
              </a:cxn>
              <a:cxn ang="0">
                <a:pos x="connsiteX22021" y="connsiteY22021"/>
              </a:cxn>
              <a:cxn ang="0">
                <a:pos x="connsiteX22022" y="connsiteY22022"/>
              </a:cxn>
              <a:cxn ang="0">
                <a:pos x="connsiteX22023" y="connsiteY22023"/>
              </a:cxn>
              <a:cxn ang="0">
                <a:pos x="connsiteX22024" y="connsiteY22024"/>
              </a:cxn>
              <a:cxn ang="0">
                <a:pos x="connsiteX22025" y="connsiteY22025"/>
              </a:cxn>
              <a:cxn ang="0">
                <a:pos x="connsiteX22026" y="connsiteY22026"/>
              </a:cxn>
              <a:cxn ang="0">
                <a:pos x="connsiteX22027" y="connsiteY22027"/>
              </a:cxn>
              <a:cxn ang="0">
                <a:pos x="connsiteX22028" y="connsiteY22028"/>
              </a:cxn>
              <a:cxn ang="0">
                <a:pos x="connsiteX22029" y="connsiteY22029"/>
              </a:cxn>
              <a:cxn ang="0">
                <a:pos x="connsiteX22030" y="connsiteY22030"/>
              </a:cxn>
              <a:cxn ang="0">
                <a:pos x="connsiteX22031" y="connsiteY22031"/>
              </a:cxn>
              <a:cxn ang="0">
                <a:pos x="connsiteX22032" y="connsiteY22032"/>
              </a:cxn>
              <a:cxn ang="0">
                <a:pos x="connsiteX22033" y="connsiteY22033"/>
              </a:cxn>
              <a:cxn ang="0">
                <a:pos x="connsiteX22034" y="connsiteY22034"/>
              </a:cxn>
              <a:cxn ang="0">
                <a:pos x="connsiteX22035" y="connsiteY22035"/>
              </a:cxn>
              <a:cxn ang="0">
                <a:pos x="connsiteX22036" y="connsiteY22036"/>
              </a:cxn>
              <a:cxn ang="0">
                <a:pos x="connsiteX22037" y="connsiteY22037"/>
              </a:cxn>
              <a:cxn ang="0">
                <a:pos x="connsiteX22038" y="connsiteY22038"/>
              </a:cxn>
              <a:cxn ang="0">
                <a:pos x="connsiteX22039" y="connsiteY22039"/>
              </a:cxn>
              <a:cxn ang="0">
                <a:pos x="connsiteX22040" y="connsiteY22040"/>
              </a:cxn>
              <a:cxn ang="0">
                <a:pos x="connsiteX22041" y="connsiteY22041"/>
              </a:cxn>
              <a:cxn ang="0">
                <a:pos x="connsiteX22042" y="connsiteY22042"/>
              </a:cxn>
              <a:cxn ang="0">
                <a:pos x="connsiteX22043" y="connsiteY22043"/>
              </a:cxn>
              <a:cxn ang="0">
                <a:pos x="connsiteX22044" y="connsiteY22044"/>
              </a:cxn>
              <a:cxn ang="0">
                <a:pos x="connsiteX22045" y="connsiteY22045"/>
              </a:cxn>
              <a:cxn ang="0">
                <a:pos x="connsiteX22046" y="connsiteY22046"/>
              </a:cxn>
              <a:cxn ang="0">
                <a:pos x="connsiteX22047" y="connsiteY22047"/>
              </a:cxn>
              <a:cxn ang="0">
                <a:pos x="connsiteX22048" y="connsiteY22048"/>
              </a:cxn>
              <a:cxn ang="0">
                <a:pos x="connsiteX22049" y="connsiteY22049"/>
              </a:cxn>
              <a:cxn ang="0">
                <a:pos x="connsiteX22050" y="connsiteY22050"/>
              </a:cxn>
              <a:cxn ang="0">
                <a:pos x="connsiteX22051" y="connsiteY22051"/>
              </a:cxn>
              <a:cxn ang="0">
                <a:pos x="connsiteX22052" y="connsiteY22052"/>
              </a:cxn>
              <a:cxn ang="0">
                <a:pos x="connsiteX22053" y="connsiteY22053"/>
              </a:cxn>
              <a:cxn ang="0">
                <a:pos x="connsiteX22054" y="connsiteY22054"/>
              </a:cxn>
              <a:cxn ang="0">
                <a:pos x="connsiteX22055" y="connsiteY22055"/>
              </a:cxn>
              <a:cxn ang="0">
                <a:pos x="connsiteX22056" y="connsiteY22056"/>
              </a:cxn>
              <a:cxn ang="0">
                <a:pos x="connsiteX22057" y="connsiteY22057"/>
              </a:cxn>
              <a:cxn ang="0">
                <a:pos x="connsiteX22058" y="connsiteY22058"/>
              </a:cxn>
              <a:cxn ang="0">
                <a:pos x="connsiteX22059" y="connsiteY22059"/>
              </a:cxn>
              <a:cxn ang="0">
                <a:pos x="connsiteX22060" y="connsiteY22060"/>
              </a:cxn>
              <a:cxn ang="0">
                <a:pos x="connsiteX22061" y="connsiteY22061"/>
              </a:cxn>
              <a:cxn ang="0">
                <a:pos x="connsiteX22062" y="connsiteY22062"/>
              </a:cxn>
              <a:cxn ang="0">
                <a:pos x="connsiteX22063" y="connsiteY22063"/>
              </a:cxn>
              <a:cxn ang="0">
                <a:pos x="connsiteX22064" y="connsiteY22064"/>
              </a:cxn>
              <a:cxn ang="0">
                <a:pos x="connsiteX22065" y="connsiteY22065"/>
              </a:cxn>
              <a:cxn ang="0">
                <a:pos x="connsiteX22066" y="connsiteY22066"/>
              </a:cxn>
              <a:cxn ang="0">
                <a:pos x="connsiteX22067" y="connsiteY22067"/>
              </a:cxn>
              <a:cxn ang="0">
                <a:pos x="connsiteX22068" y="connsiteY22068"/>
              </a:cxn>
              <a:cxn ang="0">
                <a:pos x="connsiteX22069" y="connsiteY22069"/>
              </a:cxn>
              <a:cxn ang="0">
                <a:pos x="connsiteX22070" y="connsiteY22070"/>
              </a:cxn>
              <a:cxn ang="0">
                <a:pos x="connsiteX22071" y="connsiteY22071"/>
              </a:cxn>
              <a:cxn ang="0">
                <a:pos x="connsiteX22072" y="connsiteY22072"/>
              </a:cxn>
              <a:cxn ang="0">
                <a:pos x="connsiteX22073" y="connsiteY22073"/>
              </a:cxn>
              <a:cxn ang="0">
                <a:pos x="connsiteX22074" y="connsiteY22074"/>
              </a:cxn>
              <a:cxn ang="0">
                <a:pos x="connsiteX22075" y="connsiteY22075"/>
              </a:cxn>
              <a:cxn ang="0">
                <a:pos x="connsiteX22076" y="connsiteY22076"/>
              </a:cxn>
              <a:cxn ang="0">
                <a:pos x="connsiteX22077" y="connsiteY22077"/>
              </a:cxn>
              <a:cxn ang="0">
                <a:pos x="connsiteX22078" y="connsiteY22078"/>
              </a:cxn>
              <a:cxn ang="0">
                <a:pos x="connsiteX22079" y="connsiteY22079"/>
              </a:cxn>
              <a:cxn ang="0">
                <a:pos x="connsiteX22080" y="connsiteY22080"/>
              </a:cxn>
              <a:cxn ang="0">
                <a:pos x="connsiteX22081" y="connsiteY22081"/>
              </a:cxn>
              <a:cxn ang="0">
                <a:pos x="connsiteX22082" y="connsiteY22082"/>
              </a:cxn>
              <a:cxn ang="0">
                <a:pos x="connsiteX22083" y="connsiteY22083"/>
              </a:cxn>
              <a:cxn ang="0">
                <a:pos x="connsiteX22084" y="connsiteY22084"/>
              </a:cxn>
              <a:cxn ang="0">
                <a:pos x="connsiteX22085" y="connsiteY22085"/>
              </a:cxn>
              <a:cxn ang="0">
                <a:pos x="connsiteX22086" y="connsiteY22086"/>
              </a:cxn>
              <a:cxn ang="0">
                <a:pos x="connsiteX22087" y="connsiteY22087"/>
              </a:cxn>
              <a:cxn ang="0">
                <a:pos x="connsiteX22088" y="connsiteY22088"/>
              </a:cxn>
              <a:cxn ang="0">
                <a:pos x="connsiteX22089" y="connsiteY22089"/>
              </a:cxn>
              <a:cxn ang="0">
                <a:pos x="connsiteX22090" y="connsiteY22090"/>
              </a:cxn>
              <a:cxn ang="0">
                <a:pos x="connsiteX22091" y="connsiteY22091"/>
              </a:cxn>
              <a:cxn ang="0">
                <a:pos x="connsiteX22092" y="connsiteY22092"/>
              </a:cxn>
              <a:cxn ang="0">
                <a:pos x="connsiteX22093" y="connsiteY22093"/>
              </a:cxn>
              <a:cxn ang="0">
                <a:pos x="connsiteX22094" y="connsiteY22094"/>
              </a:cxn>
              <a:cxn ang="0">
                <a:pos x="connsiteX22095" y="connsiteY22095"/>
              </a:cxn>
              <a:cxn ang="0">
                <a:pos x="connsiteX22096" y="connsiteY22096"/>
              </a:cxn>
              <a:cxn ang="0">
                <a:pos x="connsiteX22097" y="connsiteY22097"/>
              </a:cxn>
              <a:cxn ang="0">
                <a:pos x="connsiteX22098" y="connsiteY22098"/>
              </a:cxn>
              <a:cxn ang="0">
                <a:pos x="connsiteX22099" y="connsiteY22099"/>
              </a:cxn>
              <a:cxn ang="0">
                <a:pos x="connsiteX22100" y="connsiteY22100"/>
              </a:cxn>
              <a:cxn ang="0">
                <a:pos x="connsiteX22101" y="connsiteY22101"/>
              </a:cxn>
              <a:cxn ang="0">
                <a:pos x="connsiteX22102" y="connsiteY22102"/>
              </a:cxn>
              <a:cxn ang="0">
                <a:pos x="connsiteX22103" y="connsiteY22103"/>
              </a:cxn>
              <a:cxn ang="0">
                <a:pos x="connsiteX22104" y="connsiteY22104"/>
              </a:cxn>
              <a:cxn ang="0">
                <a:pos x="connsiteX22105" y="connsiteY22105"/>
              </a:cxn>
              <a:cxn ang="0">
                <a:pos x="connsiteX22106" y="connsiteY22106"/>
              </a:cxn>
              <a:cxn ang="0">
                <a:pos x="connsiteX22107" y="connsiteY22107"/>
              </a:cxn>
              <a:cxn ang="0">
                <a:pos x="connsiteX22108" y="connsiteY22108"/>
              </a:cxn>
              <a:cxn ang="0">
                <a:pos x="connsiteX22109" y="connsiteY22109"/>
              </a:cxn>
              <a:cxn ang="0">
                <a:pos x="connsiteX22110" y="connsiteY22110"/>
              </a:cxn>
              <a:cxn ang="0">
                <a:pos x="connsiteX22111" y="connsiteY22111"/>
              </a:cxn>
              <a:cxn ang="0">
                <a:pos x="connsiteX22112" y="connsiteY22112"/>
              </a:cxn>
              <a:cxn ang="0">
                <a:pos x="connsiteX22113" y="connsiteY22113"/>
              </a:cxn>
              <a:cxn ang="0">
                <a:pos x="connsiteX22114" y="connsiteY22114"/>
              </a:cxn>
              <a:cxn ang="0">
                <a:pos x="connsiteX22115" y="connsiteY22115"/>
              </a:cxn>
              <a:cxn ang="0">
                <a:pos x="connsiteX22116" y="connsiteY22116"/>
              </a:cxn>
              <a:cxn ang="0">
                <a:pos x="connsiteX22117" y="connsiteY22117"/>
              </a:cxn>
              <a:cxn ang="0">
                <a:pos x="connsiteX22118" y="connsiteY22118"/>
              </a:cxn>
              <a:cxn ang="0">
                <a:pos x="connsiteX22119" y="connsiteY22119"/>
              </a:cxn>
              <a:cxn ang="0">
                <a:pos x="connsiteX22120" y="connsiteY22120"/>
              </a:cxn>
              <a:cxn ang="0">
                <a:pos x="connsiteX22121" y="connsiteY22121"/>
              </a:cxn>
              <a:cxn ang="0">
                <a:pos x="connsiteX22122" y="connsiteY22122"/>
              </a:cxn>
              <a:cxn ang="0">
                <a:pos x="connsiteX22123" y="connsiteY22123"/>
              </a:cxn>
              <a:cxn ang="0">
                <a:pos x="connsiteX22124" y="connsiteY22124"/>
              </a:cxn>
              <a:cxn ang="0">
                <a:pos x="connsiteX22125" y="connsiteY22125"/>
              </a:cxn>
              <a:cxn ang="0">
                <a:pos x="connsiteX22126" y="connsiteY22126"/>
              </a:cxn>
              <a:cxn ang="0">
                <a:pos x="connsiteX22127" y="connsiteY22127"/>
              </a:cxn>
              <a:cxn ang="0">
                <a:pos x="connsiteX22128" y="connsiteY22128"/>
              </a:cxn>
              <a:cxn ang="0">
                <a:pos x="connsiteX22129" y="connsiteY22129"/>
              </a:cxn>
              <a:cxn ang="0">
                <a:pos x="connsiteX22130" y="connsiteY22130"/>
              </a:cxn>
              <a:cxn ang="0">
                <a:pos x="connsiteX22131" y="connsiteY22131"/>
              </a:cxn>
              <a:cxn ang="0">
                <a:pos x="connsiteX22132" y="connsiteY22132"/>
              </a:cxn>
              <a:cxn ang="0">
                <a:pos x="connsiteX22133" y="connsiteY22133"/>
              </a:cxn>
              <a:cxn ang="0">
                <a:pos x="connsiteX22134" y="connsiteY22134"/>
              </a:cxn>
              <a:cxn ang="0">
                <a:pos x="connsiteX22135" y="connsiteY22135"/>
              </a:cxn>
              <a:cxn ang="0">
                <a:pos x="connsiteX22136" y="connsiteY22136"/>
              </a:cxn>
              <a:cxn ang="0">
                <a:pos x="connsiteX22137" y="connsiteY22137"/>
              </a:cxn>
              <a:cxn ang="0">
                <a:pos x="connsiteX22138" y="connsiteY22138"/>
              </a:cxn>
              <a:cxn ang="0">
                <a:pos x="connsiteX22139" y="connsiteY22139"/>
              </a:cxn>
              <a:cxn ang="0">
                <a:pos x="connsiteX22140" y="connsiteY22140"/>
              </a:cxn>
              <a:cxn ang="0">
                <a:pos x="connsiteX22141" y="connsiteY22141"/>
              </a:cxn>
              <a:cxn ang="0">
                <a:pos x="connsiteX22142" y="connsiteY22142"/>
              </a:cxn>
              <a:cxn ang="0">
                <a:pos x="connsiteX22143" y="connsiteY22143"/>
              </a:cxn>
              <a:cxn ang="0">
                <a:pos x="connsiteX22144" y="connsiteY22144"/>
              </a:cxn>
              <a:cxn ang="0">
                <a:pos x="connsiteX22145" y="connsiteY22145"/>
              </a:cxn>
              <a:cxn ang="0">
                <a:pos x="connsiteX22146" y="connsiteY22146"/>
              </a:cxn>
              <a:cxn ang="0">
                <a:pos x="connsiteX22147" y="connsiteY22147"/>
              </a:cxn>
              <a:cxn ang="0">
                <a:pos x="connsiteX22148" y="connsiteY22148"/>
              </a:cxn>
              <a:cxn ang="0">
                <a:pos x="connsiteX22149" y="connsiteY22149"/>
              </a:cxn>
              <a:cxn ang="0">
                <a:pos x="connsiteX22150" y="connsiteY22150"/>
              </a:cxn>
              <a:cxn ang="0">
                <a:pos x="connsiteX22151" y="connsiteY22151"/>
              </a:cxn>
              <a:cxn ang="0">
                <a:pos x="connsiteX22152" y="connsiteY22152"/>
              </a:cxn>
              <a:cxn ang="0">
                <a:pos x="connsiteX22153" y="connsiteY22153"/>
              </a:cxn>
              <a:cxn ang="0">
                <a:pos x="connsiteX22154" y="connsiteY22154"/>
              </a:cxn>
              <a:cxn ang="0">
                <a:pos x="connsiteX22155" y="connsiteY22155"/>
              </a:cxn>
              <a:cxn ang="0">
                <a:pos x="connsiteX22156" y="connsiteY22156"/>
              </a:cxn>
              <a:cxn ang="0">
                <a:pos x="connsiteX22157" y="connsiteY22157"/>
              </a:cxn>
              <a:cxn ang="0">
                <a:pos x="connsiteX22158" y="connsiteY22158"/>
              </a:cxn>
              <a:cxn ang="0">
                <a:pos x="connsiteX22159" y="connsiteY22159"/>
              </a:cxn>
              <a:cxn ang="0">
                <a:pos x="connsiteX22160" y="connsiteY22160"/>
              </a:cxn>
              <a:cxn ang="0">
                <a:pos x="connsiteX22161" y="connsiteY22161"/>
              </a:cxn>
              <a:cxn ang="0">
                <a:pos x="connsiteX22162" y="connsiteY22162"/>
              </a:cxn>
              <a:cxn ang="0">
                <a:pos x="connsiteX22163" y="connsiteY22163"/>
              </a:cxn>
              <a:cxn ang="0">
                <a:pos x="connsiteX22164" y="connsiteY22164"/>
              </a:cxn>
              <a:cxn ang="0">
                <a:pos x="connsiteX22165" y="connsiteY22165"/>
              </a:cxn>
              <a:cxn ang="0">
                <a:pos x="connsiteX22166" y="connsiteY22166"/>
              </a:cxn>
              <a:cxn ang="0">
                <a:pos x="connsiteX22167" y="connsiteY22167"/>
              </a:cxn>
              <a:cxn ang="0">
                <a:pos x="connsiteX22168" y="connsiteY22168"/>
              </a:cxn>
              <a:cxn ang="0">
                <a:pos x="connsiteX22169" y="connsiteY22169"/>
              </a:cxn>
              <a:cxn ang="0">
                <a:pos x="connsiteX22170" y="connsiteY22170"/>
              </a:cxn>
              <a:cxn ang="0">
                <a:pos x="connsiteX22171" y="connsiteY22171"/>
              </a:cxn>
              <a:cxn ang="0">
                <a:pos x="connsiteX22172" y="connsiteY22172"/>
              </a:cxn>
              <a:cxn ang="0">
                <a:pos x="connsiteX22173" y="connsiteY22173"/>
              </a:cxn>
              <a:cxn ang="0">
                <a:pos x="connsiteX22174" y="connsiteY22174"/>
              </a:cxn>
              <a:cxn ang="0">
                <a:pos x="connsiteX22175" y="connsiteY22175"/>
              </a:cxn>
              <a:cxn ang="0">
                <a:pos x="connsiteX22176" y="connsiteY22176"/>
              </a:cxn>
              <a:cxn ang="0">
                <a:pos x="connsiteX22177" y="connsiteY22177"/>
              </a:cxn>
              <a:cxn ang="0">
                <a:pos x="connsiteX22178" y="connsiteY22178"/>
              </a:cxn>
              <a:cxn ang="0">
                <a:pos x="connsiteX22179" y="connsiteY22179"/>
              </a:cxn>
              <a:cxn ang="0">
                <a:pos x="connsiteX22180" y="connsiteY22180"/>
              </a:cxn>
              <a:cxn ang="0">
                <a:pos x="connsiteX22181" y="connsiteY22181"/>
              </a:cxn>
              <a:cxn ang="0">
                <a:pos x="connsiteX22182" y="connsiteY22182"/>
              </a:cxn>
              <a:cxn ang="0">
                <a:pos x="connsiteX22183" y="connsiteY22183"/>
              </a:cxn>
              <a:cxn ang="0">
                <a:pos x="connsiteX22184" y="connsiteY22184"/>
              </a:cxn>
              <a:cxn ang="0">
                <a:pos x="connsiteX22185" y="connsiteY22185"/>
              </a:cxn>
              <a:cxn ang="0">
                <a:pos x="connsiteX22186" y="connsiteY22186"/>
              </a:cxn>
              <a:cxn ang="0">
                <a:pos x="connsiteX22187" y="connsiteY22187"/>
              </a:cxn>
              <a:cxn ang="0">
                <a:pos x="connsiteX22188" y="connsiteY22188"/>
              </a:cxn>
              <a:cxn ang="0">
                <a:pos x="connsiteX22189" y="connsiteY22189"/>
              </a:cxn>
              <a:cxn ang="0">
                <a:pos x="connsiteX22190" y="connsiteY22190"/>
              </a:cxn>
              <a:cxn ang="0">
                <a:pos x="connsiteX22191" y="connsiteY22191"/>
              </a:cxn>
              <a:cxn ang="0">
                <a:pos x="connsiteX22192" y="connsiteY22192"/>
              </a:cxn>
              <a:cxn ang="0">
                <a:pos x="connsiteX22193" y="connsiteY22193"/>
              </a:cxn>
              <a:cxn ang="0">
                <a:pos x="connsiteX22194" y="connsiteY22194"/>
              </a:cxn>
              <a:cxn ang="0">
                <a:pos x="connsiteX22195" y="connsiteY22195"/>
              </a:cxn>
              <a:cxn ang="0">
                <a:pos x="connsiteX22196" y="connsiteY22196"/>
              </a:cxn>
              <a:cxn ang="0">
                <a:pos x="connsiteX22197" y="connsiteY22197"/>
              </a:cxn>
              <a:cxn ang="0">
                <a:pos x="connsiteX22198" y="connsiteY22198"/>
              </a:cxn>
              <a:cxn ang="0">
                <a:pos x="connsiteX22199" y="connsiteY22199"/>
              </a:cxn>
              <a:cxn ang="0">
                <a:pos x="connsiteX22200" y="connsiteY22200"/>
              </a:cxn>
              <a:cxn ang="0">
                <a:pos x="connsiteX22201" y="connsiteY22201"/>
              </a:cxn>
              <a:cxn ang="0">
                <a:pos x="connsiteX22202" y="connsiteY22202"/>
              </a:cxn>
              <a:cxn ang="0">
                <a:pos x="connsiteX22203" y="connsiteY22203"/>
              </a:cxn>
              <a:cxn ang="0">
                <a:pos x="connsiteX22204" y="connsiteY22204"/>
              </a:cxn>
              <a:cxn ang="0">
                <a:pos x="connsiteX22205" y="connsiteY22205"/>
              </a:cxn>
              <a:cxn ang="0">
                <a:pos x="connsiteX22206" y="connsiteY22206"/>
              </a:cxn>
              <a:cxn ang="0">
                <a:pos x="connsiteX22207" y="connsiteY22207"/>
              </a:cxn>
              <a:cxn ang="0">
                <a:pos x="connsiteX22208" y="connsiteY22208"/>
              </a:cxn>
              <a:cxn ang="0">
                <a:pos x="connsiteX22209" y="connsiteY22209"/>
              </a:cxn>
              <a:cxn ang="0">
                <a:pos x="connsiteX22210" y="connsiteY22210"/>
              </a:cxn>
              <a:cxn ang="0">
                <a:pos x="connsiteX22211" y="connsiteY22211"/>
              </a:cxn>
              <a:cxn ang="0">
                <a:pos x="connsiteX22212" y="connsiteY22212"/>
              </a:cxn>
              <a:cxn ang="0">
                <a:pos x="connsiteX22213" y="connsiteY22213"/>
              </a:cxn>
              <a:cxn ang="0">
                <a:pos x="connsiteX22214" y="connsiteY22214"/>
              </a:cxn>
              <a:cxn ang="0">
                <a:pos x="connsiteX22215" y="connsiteY22215"/>
              </a:cxn>
              <a:cxn ang="0">
                <a:pos x="connsiteX22216" y="connsiteY22216"/>
              </a:cxn>
              <a:cxn ang="0">
                <a:pos x="connsiteX22217" y="connsiteY22217"/>
              </a:cxn>
              <a:cxn ang="0">
                <a:pos x="connsiteX22218" y="connsiteY22218"/>
              </a:cxn>
              <a:cxn ang="0">
                <a:pos x="connsiteX22219" y="connsiteY22219"/>
              </a:cxn>
              <a:cxn ang="0">
                <a:pos x="connsiteX22220" y="connsiteY22220"/>
              </a:cxn>
              <a:cxn ang="0">
                <a:pos x="connsiteX22221" y="connsiteY22221"/>
              </a:cxn>
              <a:cxn ang="0">
                <a:pos x="connsiteX22222" y="connsiteY22222"/>
              </a:cxn>
              <a:cxn ang="0">
                <a:pos x="connsiteX22223" y="connsiteY22223"/>
              </a:cxn>
              <a:cxn ang="0">
                <a:pos x="connsiteX22224" y="connsiteY22224"/>
              </a:cxn>
              <a:cxn ang="0">
                <a:pos x="connsiteX22225" y="connsiteY22225"/>
              </a:cxn>
              <a:cxn ang="0">
                <a:pos x="connsiteX22226" y="connsiteY22226"/>
              </a:cxn>
              <a:cxn ang="0">
                <a:pos x="connsiteX22227" y="connsiteY22227"/>
              </a:cxn>
              <a:cxn ang="0">
                <a:pos x="connsiteX22228" y="connsiteY22228"/>
              </a:cxn>
              <a:cxn ang="0">
                <a:pos x="connsiteX22229" y="connsiteY22229"/>
              </a:cxn>
              <a:cxn ang="0">
                <a:pos x="connsiteX22230" y="connsiteY22230"/>
              </a:cxn>
              <a:cxn ang="0">
                <a:pos x="connsiteX22231" y="connsiteY22231"/>
              </a:cxn>
              <a:cxn ang="0">
                <a:pos x="connsiteX22232" y="connsiteY22232"/>
              </a:cxn>
              <a:cxn ang="0">
                <a:pos x="connsiteX22233" y="connsiteY22233"/>
              </a:cxn>
              <a:cxn ang="0">
                <a:pos x="connsiteX22234" y="connsiteY22234"/>
              </a:cxn>
              <a:cxn ang="0">
                <a:pos x="connsiteX22235" y="connsiteY22235"/>
              </a:cxn>
              <a:cxn ang="0">
                <a:pos x="connsiteX22236" y="connsiteY22236"/>
              </a:cxn>
              <a:cxn ang="0">
                <a:pos x="connsiteX22237" y="connsiteY22237"/>
              </a:cxn>
              <a:cxn ang="0">
                <a:pos x="connsiteX22238" y="connsiteY22238"/>
              </a:cxn>
              <a:cxn ang="0">
                <a:pos x="connsiteX22239" y="connsiteY22239"/>
              </a:cxn>
              <a:cxn ang="0">
                <a:pos x="connsiteX22240" y="connsiteY22240"/>
              </a:cxn>
              <a:cxn ang="0">
                <a:pos x="connsiteX22241" y="connsiteY22241"/>
              </a:cxn>
              <a:cxn ang="0">
                <a:pos x="connsiteX22242" y="connsiteY22242"/>
              </a:cxn>
              <a:cxn ang="0">
                <a:pos x="connsiteX22243" y="connsiteY22243"/>
              </a:cxn>
              <a:cxn ang="0">
                <a:pos x="connsiteX22244" y="connsiteY22244"/>
              </a:cxn>
              <a:cxn ang="0">
                <a:pos x="connsiteX22245" y="connsiteY22245"/>
              </a:cxn>
              <a:cxn ang="0">
                <a:pos x="connsiteX22246" y="connsiteY22246"/>
              </a:cxn>
              <a:cxn ang="0">
                <a:pos x="connsiteX22247" y="connsiteY22247"/>
              </a:cxn>
              <a:cxn ang="0">
                <a:pos x="connsiteX22248" y="connsiteY22248"/>
              </a:cxn>
              <a:cxn ang="0">
                <a:pos x="connsiteX22249" y="connsiteY22249"/>
              </a:cxn>
              <a:cxn ang="0">
                <a:pos x="connsiteX22250" y="connsiteY22250"/>
              </a:cxn>
              <a:cxn ang="0">
                <a:pos x="connsiteX22251" y="connsiteY22251"/>
              </a:cxn>
              <a:cxn ang="0">
                <a:pos x="connsiteX22252" y="connsiteY22252"/>
              </a:cxn>
              <a:cxn ang="0">
                <a:pos x="connsiteX22253" y="connsiteY22253"/>
              </a:cxn>
              <a:cxn ang="0">
                <a:pos x="connsiteX22254" y="connsiteY22254"/>
              </a:cxn>
              <a:cxn ang="0">
                <a:pos x="connsiteX22255" y="connsiteY22255"/>
              </a:cxn>
              <a:cxn ang="0">
                <a:pos x="connsiteX22256" y="connsiteY22256"/>
              </a:cxn>
              <a:cxn ang="0">
                <a:pos x="connsiteX22257" y="connsiteY22257"/>
              </a:cxn>
              <a:cxn ang="0">
                <a:pos x="connsiteX22258" y="connsiteY22258"/>
              </a:cxn>
              <a:cxn ang="0">
                <a:pos x="connsiteX22259" y="connsiteY22259"/>
              </a:cxn>
              <a:cxn ang="0">
                <a:pos x="connsiteX22260" y="connsiteY22260"/>
              </a:cxn>
              <a:cxn ang="0">
                <a:pos x="connsiteX22261" y="connsiteY22261"/>
              </a:cxn>
              <a:cxn ang="0">
                <a:pos x="connsiteX22262" y="connsiteY22262"/>
              </a:cxn>
              <a:cxn ang="0">
                <a:pos x="connsiteX22263" y="connsiteY22263"/>
              </a:cxn>
              <a:cxn ang="0">
                <a:pos x="connsiteX22264" y="connsiteY22264"/>
              </a:cxn>
              <a:cxn ang="0">
                <a:pos x="connsiteX22265" y="connsiteY22265"/>
              </a:cxn>
              <a:cxn ang="0">
                <a:pos x="connsiteX22266" y="connsiteY22266"/>
              </a:cxn>
              <a:cxn ang="0">
                <a:pos x="connsiteX22267" y="connsiteY22267"/>
              </a:cxn>
              <a:cxn ang="0">
                <a:pos x="connsiteX22268" y="connsiteY22268"/>
              </a:cxn>
              <a:cxn ang="0">
                <a:pos x="connsiteX22269" y="connsiteY22269"/>
              </a:cxn>
              <a:cxn ang="0">
                <a:pos x="connsiteX22270" y="connsiteY22270"/>
              </a:cxn>
              <a:cxn ang="0">
                <a:pos x="connsiteX22271" y="connsiteY22271"/>
              </a:cxn>
              <a:cxn ang="0">
                <a:pos x="connsiteX22272" y="connsiteY22272"/>
              </a:cxn>
              <a:cxn ang="0">
                <a:pos x="connsiteX22273" y="connsiteY22273"/>
              </a:cxn>
              <a:cxn ang="0">
                <a:pos x="connsiteX22274" y="connsiteY22274"/>
              </a:cxn>
              <a:cxn ang="0">
                <a:pos x="connsiteX22275" y="connsiteY22275"/>
              </a:cxn>
              <a:cxn ang="0">
                <a:pos x="connsiteX22276" y="connsiteY22276"/>
              </a:cxn>
              <a:cxn ang="0">
                <a:pos x="connsiteX22277" y="connsiteY22277"/>
              </a:cxn>
              <a:cxn ang="0">
                <a:pos x="connsiteX22278" y="connsiteY22278"/>
              </a:cxn>
              <a:cxn ang="0">
                <a:pos x="connsiteX22279" y="connsiteY22279"/>
              </a:cxn>
              <a:cxn ang="0">
                <a:pos x="connsiteX22280" y="connsiteY22280"/>
              </a:cxn>
              <a:cxn ang="0">
                <a:pos x="connsiteX22281" y="connsiteY22281"/>
              </a:cxn>
              <a:cxn ang="0">
                <a:pos x="connsiteX22282" y="connsiteY22282"/>
              </a:cxn>
              <a:cxn ang="0">
                <a:pos x="connsiteX22283" y="connsiteY22283"/>
              </a:cxn>
              <a:cxn ang="0">
                <a:pos x="connsiteX22284" y="connsiteY22284"/>
              </a:cxn>
              <a:cxn ang="0">
                <a:pos x="connsiteX22285" y="connsiteY22285"/>
              </a:cxn>
              <a:cxn ang="0">
                <a:pos x="connsiteX22286" y="connsiteY22286"/>
              </a:cxn>
              <a:cxn ang="0">
                <a:pos x="connsiteX22287" y="connsiteY22287"/>
              </a:cxn>
              <a:cxn ang="0">
                <a:pos x="connsiteX22288" y="connsiteY22288"/>
              </a:cxn>
              <a:cxn ang="0">
                <a:pos x="connsiteX22289" y="connsiteY22289"/>
              </a:cxn>
              <a:cxn ang="0">
                <a:pos x="connsiteX22290" y="connsiteY22290"/>
              </a:cxn>
              <a:cxn ang="0">
                <a:pos x="connsiteX22291" y="connsiteY22291"/>
              </a:cxn>
              <a:cxn ang="0">
                <a:pos x="connsiteX22292" y="connsiteY22292"/>
              </a:cxn>
              <a:cxn ang="0">
                <a:pos x="connsiteX22293" y="connsiteY22293"/>
              </a:cxn>
              <a:cxn ang="0">
                <a:pos x="connsiteX22294" y="connsiteY22294"/>
              </a:cxn>
              <a:cxn ang="0">
                <a:pos x="connsiteX22295" y="connsiteY22295"/>
              </a:cxn>
              <a:cxn ang="0">
                <a:pos x="connsiteX22296" y="connsiteY22296"/>
              </a:cxn>
              <a:cxn ang="0">
                <a:pos x="connsiteX22297" y="connsiteY22297"/>
              </a:cxn>
              <a:cxn ang="0">
                <a:pos x="connsiteX22298" y="connsiteY22298"/>
              </a:cxn>
              <a:cxn ang="0">
                <a:pos x="connsiteX22299" y="connsiteY22299"/>
              </a:cxn>
              <a:cxn ang="0">
                <a:pos x="connsiteX22300" y="connsiteY22300"/>
              </a:cxn>
              <a:cxn ang="0">
                <a:pos x="connsiteX22301" y="connsiteY22301"/>
              </a:cxn>
              <a:cxn ang="0">
                <a:pos x="connsiteX22302" y="connsiteY22302"/>
              </a:cxn>
              <a:cxn ang="0">
                <a:pos x="connsiteX22303" y="connsiteY22303"/>
              </a:cxn>
              <a:cxn ang="0">
                <a:pos x="connsiteX22304" y="connsiteY22304"/>
              </a:cxn>
              <a:cxn ang="0">
                <a:pos x="connsiteX22305" y="connsiteY22305"/>
              </a:cxn>
              <a:cxn ang="0">
                <a:pos x="connsiteX22306" y="connsiteY22306"/>
              </a:cxn>
              <a:cxn ang="0">
                <a:pos x="connsiteX22307" y="connsiteY22307"/>
              </a:cxn>
              <a:cxn ang="0">
                <a:pos x="connsiteX22308" y="connsiteY22308"/>
              </a:cxn>
              <a:cxn ang="0">
                <a:pos x="connsiteX22309" y="connsiteY22309"/>
              </a:cxn>
              <a:cxn ang="0">
                <a:pos x="connsiteX22310" y="connsiteY22310"/>
              </a:cxn>
              <a:cxn ang="0">
                <a:pos x="connsiteX22311" y="connsiteY22311"/>
              </a:cxn>
              <a:cxn ang="0">
                <a:pos x="connsiteX22312" y="connsiteY22312"/>
              </a:cxn>
              <a:cxn ang="0">
                <a:pos x="connsiteX22313" y="connsiteY22313"/>
              </a:cxn>
              <a:cxn ang="0">
                <a:pos x="connsiteX22314" y="connsiteY22314"/>
              </a:cxn>
              <a:cxn ang="0">
                <a:pos x="connsiteX22315" y="connsiteY22315"/>
              </a:cxn>
              <a:cxn ang="0">
                <a:pos x="connsiteX22316" y="connsiteY22316"/>
              </a:cxn>
              <a:cxn ang="0">
                <a:pos x="connsiteX22317" y="connsiteY22317"/>
              </a:cxn>
              <a:cxn ang="0">
                <a:pos x="connsiteX22318" y="connsiteY22318"/>
              </a:cxn>
              <a:cxn ang="0">
                <a:pos x="connsiteX22319" y="connsiteY22319"/>
              </a:cxn>
              <a:cxn ang="0">
                <a:pos x="connsiteX22320" y="connsiteY22320"/>
              </a:cxn>
              <a:cxn ang="0">
                <a:pos x="connsiteX22321" y="connsiteY22321"/>
              </a:cxn>
              <a:cxn ang="0">
                <a:pos x="connsiteX22322" y="connsiteY22322"/>
              </a:cxn>
              <a:cxn ang="0">
                <a:pos x="connsiteX22323" y="connsiteY22323"/>
              </a:cxn>
              <a:cxn ang="0">
                <a:pos x="connsiteX22324" y="connsiteY22324"/>
              </a:cxn>
              <a:cxn ang="0">
                <a:pos x="connsiteX22325" y="connsiteY22325"/>
              </a:cxn>
              <a:cxn ang="0">
                <a:pos x="connsiteX22326" y="connsiteY22326"/>
              </a:cxn>
              <a:cxn ang="0">
                <a:pos x="connsiteX22327" y="connsiteY22327"/>
              </a:cxn>
              <a:cxn ang="0">
                <a:pos x="connsiteX22328" y="connsiteY22328"/>
              </a:cxn>
              <a:cxn ang="0">
                <a:pos x="connsiteX22329" y="connsiteY22329"/>
              </a:cxn>
              <a:cxn ang="0">
                <a:pos x="connsiteX22330" y="connsiteY22330"/>
              </a:cxn>
              <a:cxn ang="0">
                <a:pos x="connsiteX22331" y="connsiteY22331"/>
              </a:cxn>
              <a:cxn ang="0">
                <a:pos x="connsiteX22332" y="connsiteY22332"/>
              </a:cxn>
              <a:cxn ang="0">
                <a:pos x="connsiteX22333" y="connsiteY22333"/>
              </a:cxn>
              <a:cxn ang="0">
                <a:pos x="connsiteX22334" y="connsiteY22334"/>
              </a:cxn>
              <a:cxn ang="0">
                <a:pos x="connsiteX22335" y="connsiteY22335"/>
              </a:cxn>
              <a:cxn ang="0">
                <a:pos x="connsiteX22336" y="connsiteY22336"/>
              </a:cxn>
              <a:cxn ang="0">
                <a:pos x="connsiteX22337" y="connsiteY22337"/>
              </a:cxn>
              <a:cxn ang="0">
                <a:pos x="connsiteX22338" y="connsiteY22338"/>
              </a:cxn>
              <a:cxn ang="0">
                <a:pos x="connsiteX22339" y="connsiteY22339"/>
              </a:cxn>
              <a:cxn ang="0">
                <a:pos x="connsiteX22340" y="connsiteY22340"/>
              </a:cxn>
              <a:cxn ang="0">
                <a:pos x="connsiteX22341" y="connsiteY22341"/>
              </a:cxn>
              <a:cxn ang="0">
                <a:pos x="connsiteX22342" y="connsiteY22342"/>
              </a:cxn>
              <a:cxn ang="0">
                <a:pos x="connsiteX22343" y="connsiteY22343"/>
              </a:cxn>
              <a:cxn ang="0">
                <a:pos x="connsiteX22344" y="connsiteY22344"/>
              </a:cxn>
              <a:cxn ang="0">
                <a:pos x="connsiteX22345" y="connsiteY22345"/>
              </a:cxn>
              <a:cxn ang="0">
                <a:pos x="connsiteX22346" y="connsiteY22346"/>
              </a:cxn>
              <a:cxn ang="0">
                <a:pos x="connsiteX22347" y="connsiteY22347"/>
              </a:cxn>
              <a:cxn ang="0">
                <a:pos x="connsiteX22348" y="connsiteY22348"/>
              </a:cxn>
              <a:cxn ang="0">
                <a:pos x="connsiteX22349" y="connsiteY22349"/>
              </a:cxn>
              <a:cxn ang="0">
                <a:pos x="connsiteX22350" y="connsiteY22350"/>
              </a:cxn>
              <a:cxn ang="0">
                <a:pos x="connsiteX22351" y="connsiteY22351"/>
              </a:cxn>
              <a:cxn ang="0">
                <a:pos x="connsiteX22352" y="connsiteY22352"/>
              </a:cxn>
              <a:cxn ang="0">
                <a:pos x="connsiteX22353" y="connsiteY22353"/>
              </a:cxn>
              <a:cxn ang="0">
                <a:pos x="connsiteX22354" y="connsiteY22354"/>
              </a:cxn>
              <a:cxn ang="0">
                <a:pos x="connsiteX22355" y="connsiteY22355"/>
              </a:cxn>
              <a:cxn ang="0">
                <a:pos x="connsiteX22356" y="connsiteY22356"/>
              </a:cxn>
              <a:cxn ang="0">
                <a:pos x="connsiteX22357" y="connsiteY22357"/>
              </a:cxn>
              <a:cxn ang="0">
                <a:pos x="connsiteX22358" y="connsiteY22358"/>
              </a:cxn>
              <a:cxn ang="0">
                <a:pos x="connsiteX22359" y="connsiteY22359"/>
              </a:cxn>
              <a:cxn ang="0">
                <a:pos x="connsiteX22360" y="connsiteY22360"/>
              </a:cxn>
              <a:cxn ang="0">
                <a:pos x="connsiteX22361" y="connsiteY22361"/>
              </a:cxn>
              <a:cxn ang="0">
                <a:pos x="connsiteX22362" y="connsiteY22362"/>
              </a:cxn>
              <a:cxn ang="0">
                <a:pos x="connsiteX22363" y="connsiteY22363"/>
              </a:cxn>
              <a:cxn ang="0">
                <a:pos x="connsiteX22364" y="connsiteY22364"/>
              </a:cxn>
              <a:cxn ang="0">
                <a:pos x="connsiteX22365" y="connsiteY22365"/>
              </a:cxn>
              <a:cxn ang="0">
                <a:pos x="connsiteX22366" y="connsiteY22366"/>
              </a:cxn>
              <a:cxn ang="0">
                <a:pos x="connsiteX22367" y="connsiteY22367"/>
              </a:cxn>
              <a:cxn ang="0">
                <a:pos x="connsiteX22368" y="connsiteY22368"/>
              </a:cxn>
              <a:cxn ang="0">
                <a:pos x="connsiteX22369" y="connsiteY22369"/>
              </a:cxn>
              <a:cxn ang="0">
                <a:pos x="connsiteX22370" y="connsiteY22370"/>
              </a:cxn>
              <a:cxn ang="0">
                <a:pos x="connsiteX22371" y="connsiteY22371"/>
              </a:cxn>
              <a:cxn ang="0">
                <a:pos x="connsiteX22372" y="connsiteY22372"/>
              </a:cxn>
              <a:cxn ang="0">
                <a:pos x="connsiteX22373" y="connsiteY22373"/>
              </a:cxn>
              <a:cxn ang="0">
                <a:pos x="connsiteX22374" y="connsiteY22374"/>
              </a:cxn>
              <a:cxn ang="0">
                <a:pos x="connsiteX22375" y="connsiteY22375"/>
              </a:cxn>
              <a:cxn ang="0">
                <a:pos x="connsiteX22376" y="connsiteY22376"/>
              </a:cxn>
              <a:cxn ang="0">
                <a:pos x="connsiteX22377" y="connsiteY22377"/>
              </a:cxn>
              <a:cxn ang="0">
                <a:pos x="connsiteX22378" y="connsiteY22378"/>
              </a:cxn>
              <a:cxn ang="0">
                <a:pos x="connsiteX22379" y="connsiteY22379"/>
              </a:cxn>
              <a:cxn ang="0">
                <a:pos x="connsiteX22380" y="connsiteY22380"/>
              </a:cxn>
              <a:cxn ang="0">
                <a:pos x="connsiteX22381" y="connsiteY22381"/>
              </a:cxn>
              <a:cxn ang="0">
                <a:pos x="connsiteX22382" y="connsiteY22382"/>
              </a:cxn>
              <a:cxn ang="0">
                <a:pos x="connsiteX22383" y="connsiteY22383"/>
              </a:cxn>
              <a:cxn ang="0">
                <a:pos x="connsiteX22384" y="connsiteY22384"/>
              </a:cxn>
              <a:cxn ang="0">
                <a:pos x="connsiteX22385" y="connsiteY22385"/>
              </a:cxn>
              <a:cxn ang="0">
                <a:pos x="connsiteX22386" y="connsiteY22386"/>
              </a:cxn>
              <a:cxn ang="0">
                <a:pos x="connsiteX22387" y="connsiteY22387"/>
              </a:cxn>
              <a:cxn ang="0">
                <a:pos x="connsiteX22388" y="connsiteY22388"/>
              </a:cxn>
              <a:cxn ang="0">
                <a:pos x="connsiteX22389" y="connsiteY22389"/>
              </a:cxn>
              <a:cxn ang="0">
                <a:pos x="connsiteX22390" y="connsiteY22390"/>
              </a:cxn>
              <a:cxn ang="0">
                <a:pos x="connsiteX22391" y="connsiteY22391"/>
              </a:cxn>
              <a:cxn ang="0">
                <a:pos x="connsiteX22392" y="connsiteY22392"/>
              </a:cxn>
              <a:cxn ang="0">
                <a:pos x="connsiteX22393" y="connsiteY22393"/>
              </a:cxn>
              <a:cxn ang="0">
                <a:pos x="connsiteX22394" y="connsiteY22394"/>
              </a:cxn>
              <a:cxn ang="0">
                <a:pos x="connsiteX22395" y="connsiteY22395"/>
              </a:cxn>
              <a:cxn ang="0">
                <a:pos x="connsiteX22396" y="connsiteY22396"/>
              </a:cxn>
              <a:cxn ang="0">
                <a:pos x="connsiteX22397" y="connsiteY22397"/>
              </a:cxn>
              <a:cxn ang="0">
                <a:pos x="connsiteX22398" y="connsiteY22398"/>
              </a:cxn>
              <a:cxn ang="0">
                <a:pos x="connsiteX22399" y="connsiteY22399"/>
              </a:cxn>
              <a:cxn ang="0">
                <a:pos x="connsiteX22400" y="connsiteY22400"/>
              </a:cxn>
              <a:cxn ang="0">
                <a:pos x="connsiteX22401" y="connsiteY22401"/>
              </a:cxn>
              <a:cxn ang="0">
                <a:pos x="connsiteX22402" y="connsiteY22402"/>
              </a:cxn>
              <a:cxn ang="0">
                <a:pos x="connsiteX22403" y="connsiteY22403"/>
              </a:cxn>
              <a:cxn ang="0">
                <a:pos x="connsiteX22404" y="connsiteY22404"/>
              </a:cxn>
              <a:cxn ang="0">
                <a:pos x="connsiteX22405" y="connsiteY22405"/>
              </a:cxn>
              <a:cxn ang="0">
                <a:pos x="connsiteX22406" y="connsiteY22406"/>
              </a:cxn>
              <a:cxn ang="0">
                <a:pos x="connsiteX22407" y="connsiteY22407"/>
              </a:cxn>
              <a:cxn ang="0">
                <a:pos x="connsiteX22408" y="connsiteY22408"/>
              </a:cxn>
              <a:cxn ang="0">
                <a:pos x="connsiteX22409" y="connsiteY22409"/>
              </a:cxn>
              <a:cxn ang="0">
                <a:pos x="connsiteX22410" y="connsiteY22410"/>
              </a:cxn>
              <a:cxn ang="0">
                <a:pos x="connsiteX22411" y="connsiteY22411"/>
              </a:cxn>
              <a:cxn ang="0">
                <a:pos x="connsiteX22412" y="connsiteY22412"/>
              </a:cxn>
              <a:cxn ang="0">
                <a:pos x="connsiteX22413" y="connsiteY22413"/>
              </a:cxn>
              <a:cxn ang="0">
                <a:pos x="connsiteX22414" y="connsiteY22414"/>
              </a:cxn>
              <a:cxn ang="0">
                <a:pos x="connsiteX22415" y="connsiteY22415"/>
              </a:cxn>
              <a:cxn ang="0">
                <a:pos x="connsiteX22416" y="connsiteY22416"/>
              </a:cxn>
              <a:cxn ang="0">
                <a:pos x="connsiteX22417" y="connsiteY22417"/>
              </a:cxn>
              <a:cxn ang="0">
                <a:pos x="connsiteX22418" y="connsiteY22418"/>
              </a:cxn>
              <a:cxn ang="0">
                <a:pos x="connsiteX22419" y="connsiteY22419"/>
              </a:cxn>
              <a:cxn ang="0">
                <a:pos x="connsiteX22420" y="connsiteY22420"/>
              </a:cxn>
              <a:cxn ang="0">
                <a:pos x="connsiteX22421" y="connsiteY22421"/>
              </a:cxn>
              <a:cxn ang="0">
                <a:pos x="connsiteX22422" y="connsiteY22422"/>
              </a:cxn>
              <a:cxn ang="0">
                <a:pos x="connsiteX22423" y="connsiteY22423"/>
              </a:cxn>
              <a:cxn ang="0">
                <a:pos x="connsiteX22424" y="connsiteY22424"/>
              </a:cxn>
              <a:cxn ang="0">
                <a:pos x="connsiteX22425" y="connsiteY22425"/>
              </a:cxn>
              <a:cxn ang="0">
                <a:pos x="connsiteX22426" y="connsiteY22426"/>
              </a:cxn>
              <a:cxn ang="0">
                <a:pos x="connsiteX22427" y="connsiteY22427"/>
              </a:cxn>
              <a:cxn ang="0">
                <a:pos x="connsiteX22428" y="connsiteY22428"/>
              </a:cxn>
              <a:cxn ang="0">
                <a:pos x="connsiteX22429" y="connsiteY22429"/>
              </a:cxn>
              <a:cxn ang="0">
                <a:pos x="connsiteX22430" y="connsiteY22430"/>
              </a:cxn>
              <a:cxn ang="0">
                <a:pos x="connsiteX22431" y="connsiteY22431"/>
              </a:cxn>
              <a:cxn ang="0">
                <a:pos x="connsiteX22432" y="connsiteY22432"/>
              </a:cxn>
              <a:cxn ang="0">
                <a:pos x="connsiteX22433" y="connsiteY22433"/>
              </a:cxn>
              <a:cxn ang="0">
                <a:pos x="connsiteX22434" y="connsiteY22434"/>
              </a:cxn>
              <a:cxn ang="0">
                <a:pos x="connsiteX22435" y="connsiteY22435"/>
              </a:cxn>
              <a:cxn ang="0">
                <a:pos x="connsiteX22436" y="connsiteY22436"/>
              </a:cxn>
              <a:cxn ang="0">
                <a:pos x="connsiteX22437" y="connsiteY22437"/>
              </a:cxn>
              <a:cxn ang="0">
                <a:pos x="connsiteX22438" y="connsiteY22438"/>
              </a:cxn>
              <a:cxn ang="0">
                <a:pos x="connsiteX22439" y="connsiteY22439"/>
              </a:cxn>
              <a:cxn ang="0">
                <a:pos x="connsiteX22440" y="connsiteY22440"/>
              </a:cxn>
              <a:cxn ang="0">
                <a:pos x="connsiteX22441" y="connsiteY22441"/>
              </a:cxn>
              <a:cxn ang="0">
                <a:pos x="connsiteX22442" y="connsiteY22442"/>
              </a:cxn>
              <a:cxn ang="0">
                <a:pos x="connsiteX22443" y="connsiteY22443"/>
              </a:cxn>
              <a:cxn ang="0">
                <a:pos x="connsiteX22444" y="connsiteY22444"/>
              </a:cxn>
              <a:cxn ang="0">
                <a:pos x="connsiteX22445" y="connsiteY22445"/>
              </a:cxn>
              <a:cxn ang="0">
                <a:pos x="connsiteX22446" y="connsiteY22446"/>
              </a:cxn>
              <a:cxn ang="0">
                <a:pos x="connsiteX22447" y="connsiteY22447"/>
              </a:cxn>
              <a:cxn ang="0">
                <a:pos x="connsiteX22448" y="connsiteY22448"/>
              </a:cxn>
              <a:cxn ang="0">
                <a:pos x="connsiteX22449" y="connsiteY22449"/>
              </a:cxn>
              <a:cxn ang="0">
                <a:pos x="connsiteX22450" y="connsiteY22450"/>
              </a:cxn>
              <a:cxn ang="0">
                <a:pos x="connsiteX22451" y="connsiteY22451"/>
              </a:cxn>
              <a:cxn ang="0">
                <a:pos x="connsiteX22452" y="connsiteY22452"/>
              </a:cxn>
              <a:cxn ang="0">
                <a:pos x="connsiteX22453" y="connsiteY22453"/>
              </a:cxn>
              <a:cxn ang="0">
                <a:pos x="connsiteX22454" y="connsiteY22454"/>
              </a:cxn>
              <a:cxn ang="0">
                <a:pos x="connsiteX22455" y="connsiteY22455"/>
              </a:cxn>
              <a:cxn ang="0">
                <a:pos x="connsiteX22456" y="connsiteY22456"/>
              </a:cxn>
              <a:cxn ang="0">
                <a:pos x="connsiteX22457" y="connsiteY22457"/>
              </a:cxn>
              <a:cxn ang="0">
                <a:pos x="connsiteX22458" y="connsiteY22458"/>
              </a:cxn>
              <a:cxn ang="0">
                <a:pos x="connsiteX22459" y="connsiteY22459"/>
              </a:cxn>
              <a:cxn ang="0">
                <a:pos x="connsiteX22460" y="connsiteY22460"/>
              </a:cxn>
              <a:cxn ang="0">
                <a:pos x="connsiteX22461" y="connsiteY22461"/>
              </a:cxn>
              <a:cxn ang="0">
                <a:pos x="connsiteX22462" y="connsiteY22462"/>
              </a:cxn>
              <a:cxn ang="0">
                <a:pos x="connsiteX22463" y="connsiteY22463"/>
              </a:cxn>
              <a:cxn ang="0">
                <a:pos x="connsiteX22464" y="connsiteY22464"/>
              </a:cxn>
              <a:cxn ang="0">
                <a:pos x="connsiteX22465" y="connsiteY22465"/>
              </a:cxn>
              <a:cxn ang="0">
                <a:pos x="connsiteX22466" y="connsiteY22466"/>
              </a:cxn>
              <a:cxn ang="0">
                <a:pos x="connsiteX22467" y="connsiteY22467"/>
              </a:cxn>
              <a:cxn ang="0">
                <a:pos x="connsiteX22468" y="connsiteY22468"/>
              </a:cxn>
              <a:cxn ang="0">
                <a:pos x="connsiteX22469" y="connsiteY22469"/>
              </a:cxn>
              <a:cxn ang="0">
                <a:pos x="connsiteX22470" y="connsiteY22470"/>
              </a:cxn>
              <a:cxn ang="0">
                <a:pos x="connsiteX22471" y="connsiteY22471"/>
              </a:cxn>
              <a:cxn ang="0">
                <a:pos x="connsiteX22472" y="connsiteY22472"/>
              </a:cxn>
              <a:cxn ang="0">
                <a:pos x="connsiteX22473" y="connsiteY22473"/>
              </a:cxn>
              <a:cxn ang="0">
                <a:pos x="connsiteX22474" y="connsiteY22474"/>
              </a:cxn>
              <a:cxn ang="0">
                <a:pos x="connsiteX22475" y="connsiteY22475"/>
              </a:cxn>
              <a:cxn ang="0">
                <a:pos x="connsiteX22476" y="connsiteY22476"/>
              </a:cxn>
              <a:cxn ang="0">
                <a:pos x="connsiteX22477" y="connsiteY22477"/>
              </a:cxn>
              <a:cxn ang="0">
                <a:pos x="connsiteX22478" y="connsiteY22478"/>
              </a:cxn>
              <a:cxn ang="0">
                <a:pos x="connsiteX22479" y="connsiteY22479"/>
              </a:cxn>
              <a:cxn ang="0">
                <a:pos x="connsiteX22480" y="connsiteY22480"/>
              </a:cxn>
              <a:cxn ang="0">
                <a:pos x="connsiteX22481" y="connsiteY22481"/>
              </a:cxn>
              <a:cxn ang="0">
                <a:pos x="connsiteX22482" y="connsiteY22482"/>
              </a:cxn>
              <a:cxn ang="0">
                <a:pos x="connsiteX22483" y="connsiteY22483"/>
              </a:cxn>
              <a:cxn ang="0">
                <a:pos x="connsiteX22484" y="connsiteY22484"/>
              </a:cxn>
              <a:cxn ang="0">
                <a:pos x="connsiteX22485" y="connsiteY22485"/>
              </a:cxn>
              <a:cxn ang="0">
                <a:pos x="connsiteX22486" y="connsiteY22486"/>
              </a:cxn>
              <a:cxn ang="0">
                <a:pos x="connsiteX22487" y="connsiteY22487"/>
              </a:cxn>
              <a:cxn ang="0">
                <a:pos x="connsiteX22488" y="connsiteY22488"/>
              </a:cxn>
              <a:cxn ang="0">
                <a:pos x="connsiteX22489" y="connsiteY22489"/>
              </a:cxn>
              <a:cxn ang="0">
                <a:pos x="connsiteX22490" y="connsiteY22490"/>
              </a:cxn>
              <a:cxn ang="0">
                <a:pos x="connsiteX22491" y="connsiteY22491"/>
              </a:cxn>
              <a:cxn ang="0">
                <a:pos x="connsiteX22492" y="connsiteY22492"/>
              </a:cxn>
              <a:cxn ang="0">
                <a:pos x="connsiteX22493" y="connsiteY22493"/>
              </a:cxn>
              <a:cxn ang="0">
                <a:pos x="connsiteX22494" y="connsiteY22494"/>
              </a:cxn>
              <a:cxn ang="0">
                <a:pos x="connsiteX22495" y="connsiteY22495"/>
              </a:cxn>
              <a:cxn ang="0">
                <a:pos x="connsiteX22496" y="connsiteY22496"/>
              </a:cxn>
              <a:cxn ang="0">
                <a:pos x="connsiteX22497" y="connsiteY22497"/>
              </a:cxn>
              <a:cxn ang="0">
                <a:pos x="connsiteX22498" y="connsiteY22498"/>
              </a:cxn>
              <a:cxn ang="0">
                <a:pos x="connsiteX22499" y="connsiteY22499"/>
              </a:cxn>
              <a:cxn ang="0">
                <a:pos x="connsiteX22500" y="connsiteY22500"/>
              </a:cxn>
              <a:cxn ang="0">
                <a:pos x="connsiteX22501" y="connsiteY22501"/>
              </a:cxn>
              <a:cxn ang="0">
                <a:pos x="connsiteX22502" y="connsiteY22502"/>
              </a:cxn>
              <a:cxn ang="0">
                <a:pos x="connsiteX22503" y="connsiteY22503"/>
              </a:cxn>
              <a:cxn ang="0">
                <a:pos x="connsiteX22504" y="connsiteY22504"/>
              </a:cxn>
              <a:cxn ang="0">
                <a:pos x="connsiteX22505" y="connsiteY22505"/>
              </a:cxn>
              <a:cxn ang="0">
                <a:pos x="connsiteX22506" y="connsiteY22506"/>
              </a:cxn>
              <a:cxn ang="0">
                <a:pos x="connsiteX22507" y="connsiteY22507"/>
              </a:cxn>
              <a:cxn ang="0">
                <a:pos x="connsiteX22508" y="connsiteY22508"/>
              </a:cxn>
              <a:cxn ang="0">
                <a:pos x="connsiteX22509" y="connsiteY22509"/>
              </a:cxn>
              <a:cxn ang="0">
                <a:pos x="connsiteX22510" y="connsiteY22510"/>
              </a:cxn>
              <a:cxn ang="0">
                <a:pos x="connsiteX22511" y="connsiteY22511"/>
              </a:cxn>
              <a:cxn ang="0">
                <a:pos x="connsiteX22512" y="connsiteY22512"/>
              </a:cxn>
              <a:cxn ang="0">
                <a:pos x="connsiteX22513" y="connsiteY22513"/>
              </a:cxn>
              <a:cxn ang="0">
                <a:pos x="connsiteX22514" y="connsiteY22514"/>
              </a:cxn>
              <a:cxn ang="0">
                <a:pos x="connsiteX22515" y="connsiteY22515"/>
              </a:cxn>
              <a:cxn ang="0">
                <a:pos x="connsiteX22516" y="connsiteY22516"/>
              </a:cxn>
              <a:cxn ang="0">
                <a:pos x="connsiteX22517" y="connsiteY22517"/>
              </a:cxn>
              <a:cxn ang="0">
                <a:pos x="connsiteX22518" y="connsiteY22518"/>
              </a:cxn>
              <a:cxn ang="0">
                <a:pos x="connsiteX22519" y="connsiteY22519"/>
              </a:cxn>
              <a:cxn ang="0">
                <a:pos x="connsiteX22520" y="connsiteY22520"/>
              </a:cxn>
              <a:cxn ang="0">
                <a:pos x="connsiteX22521" y="connsiteY22521"/>
              </a:cxn>
              <a:cxn ang="0">
                <a:pos x="connsiteX22522" y="connsiteY22522"/>
              </a:cxn>
              <a:cxn ang="0">
                <a:pos x="connsiteX22523" y="connsiteY22523"/>
              </a:cxn>
              <a:cxn ang="0">
                <a:pos x="connsiteX22524" y="connsiteY22524"/>
              </a:cxn>
              <a:cxn ang="0">
                <a:pos x="connsiteX22525" y="connsiteY22525"/>
              </a:cxn>
              <a:cxn ang="0">
                <a:pos x="connsiteX22526" y="connsiteY22526"/>
              </a:cxn>
              <a:cxn ang="0">
                <a:pos x="connsiteX22527" y="connsiteY22527"/>
              </a:cxn>
              <a:cxn ang="0">
                <a:pos x="connsiteX22528" y="connsiteY22528"/>
              </a:cxn>
              <a:cxn ang="0">
                <a:pos x="connsiteX22529" y="connsiteY22529"/>
              </a:cxn>
              <a:cxn ang="0">
                <a:pos x="connsiteX22530" y="connsiteY22530"/>
              </a:cxn>
              <a:cxn ang="0">
                <a:pos x="connsiteX22531" y="connsiteY22531"/>
              </a:cxn>
              <a:cxn ang="0">
                <a:pos x="connsiteX22532" y="connsiteY22532"/>
              </a:cxn>
              <a:cxn ang="0">
                <a:pos x="connsiteX22533" y="connsiteY22533"/>
              </a:cxn>
              <a:cxn ang="0">
                <a:pos x="connsiteX22534" y="connsiteY22534"/>
              </a:cxn>
              <a:cxn ang="0">
                <a:pos x="connsiteX22535" y="connsiteY22535"/>
              </a:cxn>
              <a:cxn ang="0">
                <a:pos x="connsiteX22536" y="connsiteY22536"/>
              </a:cxn>
              <a:cxn ang="0">
                <a:pos x="connsiteX22537" y="connsiteY22537"/>
              </a:cxn>
              <a:cxn ang="0">
                <a:pos x="connsiteX22538" y="connsiteY22538"/>
              </a:cxn>
              <a:cxn ang="0">
                <a:pos x="connsiteX22539" y="connsiteY22539"/>
              </a:cxn>
              <a:cxn ang="0">
                <a:pos x="connsiteX22540" y="connsiteY22540"/>
              </a:cxn>
              <a:cxn ang="0">
                <a:pos x="connsiteX22541" y="connsiteY22541"/>
              </a:cxn>
              <a:cxn ang="0">
                <a:pos x="connsiteX22542" y="connsiteY22542"/>
              </a:cxn>
              <a:cxn ang="0">
                <a:pos x="connsiteX22543" y="connsiteY22543"/>
              </a:cxn>
              <a:cxn ang="0">
                <a:pos x="connsiteX22544" y="connsiteY22544"/>
              </a:cxn>
              <a:cxn ang="0">
                <a:pos x="connsiteX22545" y="connsiteY22545"/>
              </a:cxn>
              <a:cxn ang="0">
                <a:pos x="connsiteX22546" y="connsiteY22546"/>
              </a:cxn>
              <a:cxn ang="0">
                <a:pos x="connsiteX22547" y="connsiteY22547"/>
              </a:cxn>
              <a:cxn ang="0">
                <a:pos x="connsiteX22548" y="connsiteY22548"/>
              </a:cxn>
              <a:cxn ang="0">
                <a:pos x="connsiteX22549" y="connsiteY22549"/>
              </a:cxn>
              <a:cxn ang="0">
                <a:pos x="connsiteX22550" y="connsiteY22550"/>
              </a:cxn>
              <a:cxn ang="0">
                <a:pos x="connsiteX22551" y="connsiteY22551"/>
              </a:cxn>
              <a:cxn ang="0">
                <a:pos x="connsiteX22552" y="connsiteY22552"/>
              </a:cxn>
              <a:cxn ang="0">
                <a:pos x="connsiteX22553" y="connsiteY22553"/>
              </a:cxn>
              <a:cxn ang="0">
                <a:pos x="connsiteX22554" y="connsiteY22554"/>
              </a:cxn>
              <a:cxn ang="0">
                <a:pos x="connsiteX22555" y="connsiteY22555"/>
              </a:cxn>
              <a:cxn ang="0">
                <a:pos x="connsiteX22556" y="connsiteY22556"/>
              </a:cxn>
              <a:cxn ang="0">
                <a:pos x="connsiteX22557" y="connsiteY22557"/>
              </a:cxn>
              <a:cxn ang="0">
                <a:pos x="connsiteX22558" y="connsiteY22558"/>
              </a:cxn>
              <a:cxn ang="0">
                <a:pos x="connsiteX22559" y="connsiteY22559"/>
              </a:cxn>
              <a:cxn ang="0">
                <a:pos x="connsiteX22560" y="connsiteY22560"/>
              </a:cxn>
              <a:cxn ang="0">
                <a:pos x="connsiteX22561" y="connsiteY22561"/>
              </a:cxn>
              <a:cxn ang="0">
                <a:pos x="connsiteX22562" y="connsiteY22562"/>
              </a:cxn>
              <a:cxn ang="0">
                <a:pos x="connsiteX22563" y="connsiteY22563"/>
              </a:cxn>
              <a:cxn ang="0">
                <a:pos x="connsiteX22564" y="connsiteY22564"/>
              </a:cxn>
              <a:cxn ang="0">
                <a:pos x="connsiteX22565" y="connsiteY22565"/>
              </a:cxn>
              <a:cxn ang="0">
                <a:pos x="connsiteX22566" y="connsiteY22566"/>
              </a:cxn>
              <a:cxn ang="0">
                <a:pos x="connsiteX22567" y="connsiteY22567"/>
              </a:cxn>
              <a:cxn ang="0">
                <a:pos x="connsiteX22568" y="connsiteY22568"/>
              </a:cxn>
              <a:cxn ang="0">
                <a:pos x="connsiteX22569" y="connsiteY22569"/>
              </a:cxn>
              <a:cxn ang="0">
                <a:pos x="connsiteX22570" y="connsiteY22570"/>
              </a:cxn>
              <a:cxn ang="0">
                <a:pos x="connsiteX22571" y="connsiteY22571"/>
              </a:cxn>
              <a:cxn ang="0">
                <a:pos x="connsiteX22572" y="connsiteY22572"/>
              </a:cxn>
              <a:cxn ang="0">
                <a:pos x="connsiteX22573" y="connsiteY22573"/>
              </a:cxn>
              <a:cxn ang="0">
                <a:pos x="connsiteX22574" y="connsiteY22574"/>
              </a:cxn>
              <a:cxn ang="0">
                <a:pos x="connsiteX22575" y="connsiteY22575"/>
              </a:cxn>
              <a:cxn ang="0">
                <a:pos x="connsiteX22576" y="connsiteY22576"/>
              </a:cxn>
              <a:cxn ang="0">
                <a:pos x="connsiteX22577" y="connsiteY22577"/>
              </a:cxn>
              <a:cxn ang="0">
                <a:pos x="connsiteX22578" y="connsiteY22578"/>
              </a:cxn>
              <a:cxn ang="0">
                <a:pos x="connsiteX22579" y="connsiteY22579"/>
              </a:cxn>
              <a:cxn ang="0">
                <a:pos x="connsiteX22580" y="connsiteY22580"/>
              </a:cxn>
              <a:cxn ang="0">
                <a:pos x="connsiteX22581" y="connsiteY22581"/>
              </a:cxn>
              <a:cxn ang="0">
                <a:pos x="connsiteX22582" y="connsiteY22582"/>
              </a:cxn>
              <a:cxn ang="0">
                <a:pos x="connsiteX22583" y="connsiteY22583"/>
              </a:cxn>
              <a:cxn ang="0">
                <a:pos x="connsiteX22584" y="connsiteY22584"/>
              </a:cxn>
              <a:cxn ang="0">
                <a:pos x="connsiteX22585" y="connsiteY22585"/>
              </a:cxn>
              <a:cxn ang="0">
                <a:pos x="connsiteX22586" y="connsiteY22586"/>
              </a:cxn>
              <a:cxn ang="0">
                <a:pos x="connsiteX22587" y="connsiteY22587"/>
              </a:cxn>
              <a:cxn ang="0">
                <a:pos x="connsiteX22588" y="connsiteY22588"/>
              </a:cxn>
              <a:cxn ang="0">
                <a:pos x="connsiteX22589" y="connsiteY22589"/>
              </a:cxn>
              <a:cxn ang="0">
                <a:pos x="connsiteX22590" y="connsiteY22590"/>
              </a:cxn>
              <a:cxn ang="0">
                <a:pos x="connsiteX22591" y="connsiteY22591"/>
              </a:cxn>
              <a:cxn ang="0">
                <a:pos x="connsiteX22592" y="connsiteY22592"/>
              </a:cxn>
              <a:cxn ang="0">
                <a:pos x="connsiteX22593" y="connsiteY22593"/>
              </a:cxn>
              <a:cxn ang="0">
                <a:pos x="connsiteX22594" y="connsiteY22594"/>
              </a:cxn>
              <a:cxn ang="0">
                <a:pos x="connsiteX22595" y="connsiteY22595"/>
              </a:cxn>
              <a:cxn ang="0">
                <a:pos x="connsiteX22596" y="connsiteY22596"/>
              </a:cxn>
              <a:cxn ang="0">
                <a:pos x="connsiteX22597" y="connsiteY22597"/>
              </a:cxn>
              <a:cxn ang="0">
                <a:pos x="connsiteX22598" y="connsiteY22598"/>
              </a:cxn>
              <a:cxn ang="0">
                <a:pos x="connsiteX22599" y="connsiteY22599"/>
              </a:cxn>
              <a:cxn ang="0">
                <a:pos x="connsiteX22600" y="connsiteY22600"/>
              </a:cxn>
              <a:cxn ang="0">
                <a:pos x="connsiteX22601" y="connsiteY22601"/>
              </a:cxn>
              <a:cxn ang="0">
                <a:pos x="connsiteX22602" y="connsiteY22602"/>
              </a:cxn>
              <a:cxn ang="0">
                <a:pos x="connsiteX22603" y="connsiteY22603"/>
              </a:cxn>
              <a:cxn ang="0">
                <a:pos x="connsiteX22604" y="connsiteY22604"/>
              </a:cxn>
              <a:cxn ang="0">
                <a:pos x="connsiteX22605" y="connsiteY22605"/>
              </a:cxn>
              <a:cxn ang="0">
                <a:pos x="connsiteX22606" y="connsiteY22606"/>
              </a:cxn>
              <a:cxn ang="0">
                <a:pos x="connsiteX22607" y="connsiteY22607"/>
              </a:cxn>
              <a:cxn ang="0">
                <a:pos x="connsiteX22608" y="connsiteY22608"/>
              </a:cxn>
              <a:cxn ang="0">
                <a:pos x="connsiteX22609" y="connsiteY22609"/>
              </a:cxn>
              <a:cxn ang="0">
                <a:pos x="connsiteX22610" y="connsiteY22610"/>
              </a:cxn>
              <a:cxn ang="0">
                <a:pos x="connsiteX22611" y="connsiteY22611"/>
              </a:cxn>
              <a:cxn ang="0">
                <a:pos x="connsiteX22612" y="connsiteY22612"/>
              </a:cxn>
              <a:cxn ang="0">
                <a:pos x="connsiteX22613" y="connsiteY22613"/>
              </a:cxn>
              <a:cxn ang="0">
                <a:pos x="connsiteX22614" y="connsiteY22614"/>
              </a:cxn>
              <a:cxn ang="0">
                <a:pos x="connsiteX22615" y="connsiteY22615"/>
              </a:cxn>
              <a:cxn ang="0">
                <a:pos x="connsiteX22616" y="connsiteY22616"/>
              </a:cxn>
              <a:cxn ang="0">
                <a:pos x="connsiteX22617" y="connsiteY22617"/>
              </a:cxn>
              <a:cxn ang="0">
                <a:pos x="connsiteX22618" y="connsiteY22618"/>
              </a:cxn>
              <a:cxn ang="0">
                <a:pos x="connsiteX22619" y="connsiteY22619"/>
              </a:cxn>
              <a:cxn ang="0">
                <a:pos x="connsiteX22620" y="connsiteY22620"/>
              </a:cxn>
              <a:cxn ang="0">
                <a:pos x="connsiteX22621" y="connsiteY22621"/>
              </a:cxn>
              <a:cxn ang="0">
                <a:pos x="connsiteX22622" y="connsiteY22622"/>
              </a:cxn>
              <a:cxn ang="0">
                <a:pos x="connsiteX22623" y="connsiteY22623"/>
              </a:cxn>
              <a:cxn ang="0">
                <a:pos x="connsiteX22624" y="connsiteY22624"/>
              </a:cxn>
              <a:cxn ang="0">
                <a:pos x="connsiteX22625" y="connsiteY22625"/>
              </a:cxn>
              <a:cxn ang="0">
                <a:pos x="connsiteX22626" y="connsiteY22626"/>
              </a:cxn>
              <a:cxn ang="0">
                <a:pos x="connsiteX22627" y="connsiteY22627"/>
              </a:cxn>
              <a:cxn ang="0">
                <a:pos x="connsiteX22628" y="connsiteY22628"/>
              </a:cxn>
              <a:cxn ang="0">
                <a:pos x="connsiteX22629" y="connsiteY22629"/>
              </a:cxn>
              <a:cxn ang="0">
                <a:pos x="connsiteX22630" y="connsiteY22630"/>
              </a:cxn>
              <a:cxn ang="0">
                <a:pos x="connsiteX22631" y="connsiteY22631"/>
              </a:cxn>
              <a:cxn ang="0">
                <a:pos x="connsiteX22632" y="connsiteY22632"/>
              </a:cxn>
              <a:cxn ang="0">
                <a:pos x="connsiteX22633" y="connsiteY22633"/>
              </a:cxn>
              <a:cxn ang="0">
                <a:pos x="connsiteX22634" y="connsiteY22634"/>
              </a:cxn>
              <a:cxn ang="0">
                <a:pos x="connsiteX22635" y="connsiteY22635"/>
              </a:cxn>
              <a:cxn ang="0">
                <a:pos x="connsiteX22636" y="connsiteY22636"/>
              </a:cxn>
              <a:cxn ang="0">
                <a:pos x="connsiteX22637" y="connsiteY22637"/>
              </a:cxn>
              <a:cxn ang="0">
                <a:pos x="connsiteX22638" y="connsiteY22638"/>
              </a:cxn>
              <a:cxn ang="0">
                <a:pos x="connsiteX22639" y="connsiteY22639"/>
              </a:cxn>
              <a:cxn ang="0">
                <a:pos x="connsiteX22640" y="connsiteY22640"/>
              </a:cxn>
              <a:cxn ang="0">
                <a:pos x="connsiteX22641" y="connsiteY22641"/>
              </a:cxn>
              <a:cxn ang="0">
                <a:pos x="connsiteX22642" y="connsiteY22642"/>
              </a:cxn>
              <a:cxn ang="0">
                <a:pos x="connsiteX22643" y="connsiteY22643"/>
              </a:cxn>
              <a:cxn ang="0">
                <a:pos x="connsiteX22644" y="connsiteY22644"/>
              </a:cxn>
              <a:cxn ang="0">
                <a:pos x="connsiteX22645" y="connsiteY22645"/>
              </a:cxn>
              <a:cxn ang="0">
                <a:pos x="connsiteX22646" y="connsiteY22646"/>
              </a:cxn>
              <a:cxn ang="0">
                <a:pos x="connsiteX22647" y="connsiteY22647"/>
              </a:cxn>
              <a:cxn ang="0">
                <a:pos x="connsiteX22648" y="connsiteY22648"/>
              </a:cxn>
              <a:cxn ang="0">
                <a:pos x="connsiteX22649" y="connsiteY22649"/>
              </a:cxn>
              <a:cxn ang="0">
                <a:pos x="connsiteX22650" y="connsiteY22650"/>
              </a:cxn>
              <a:cxn ang="0">
                <a:pos x="connsiteX22651" y="connsiteY22651"/>
              </a:cxn>
              <a:cxn ang="0">
                <a:pos x="connsiteX22652" y="connsiteY22652"/>
              </a:cxn>
              <a:cxn ang="0">
                <a:pos x="connsiteX22653" y="connsiteY22653"/>
              </a:cxn>
              <a:cxn ang="0">
                <a:pos x="connsiteX22654" y="connsiteY22654"/>
              </a:cxn>
              <a:cxn ang="0">
                <a:pos x="connsiteX22655" y="connsiteY22655"/>
              </a:cxn>
              <a:cxn ang="0">
                <a:pos x="connsiteX22656" y="connsiteY22656"/>
              </a:cxn>
              <a:cxn ang="0">
                <a:pos x="connsiteX22657" y="connsiteY22657"/>
              </a:cxn>
              <a:cxn ang="0">
                <a:pos x="connsiteX22658" y="connsiteY22658"/>
              </a:cxn>
              <a:cxn ang="0">
                <a:pos x="connsiteX22659" y="connsiteY22659"/>
              </a:cxn>
              <a:cxn ang="0">
                <a:pos x="connsiteX22660" y="connsiteY22660"/>
              </a:cxn>
              <a:cxn ang="0">
                <a:pos x="connsiteX22661" y="connsiteY22661"/>
              </a:cxn>
              <a:cxn ang="0">
                <a:pos x="connsiteX22662" y="connsiteY22662"/>
              </a:cxn>
              <a:cxn ang="0">
                <a:pos x="connsiteX22663" y="connsiteY22663"/>
              </a:cxn>
              <a:cxn ang="0">
                <a:pos x="connsiteX22664" y="connsiteY22664"/>
              </a:cxn>
              <a:cxn ang="0">
                <a:pos x="connsiteX22665" y="connsiteY22665"/>
              </a:cxn>
              <a:cxn ang="0">
                <a:pos x="connsiteX22666" y="connsiteY22666"/>
              </a:cxn>
              <a:cxn ang="0">
                <a:pos x="connsiteX22667" y="connsiteY22667"/>
              </a:cxn>
              <a:cxn ang="0">
                <a:pos x="connsiteX22668" y="connsiteY22668"/>
              </a:cxn>
              <a:cxn ang="0">
                <a:pos x="connsiteX22669" y="connsiteY22669"/>
              </a:cxn>
              <a:cxn ang="0">
                <a:pos x="connsiteX22670" y="connsiteY22670"/>
              </a:cxn>
              <a:cxn ang="0">
                <a:pos x="connsiteX22671" y="connsiteY22671"/>
              </a:cxn>
              <a:cxn ang="0">
                <a:pos x="connsiteX22672" y="connsiteY22672"/>
              </a:cxn>
              <a:cxn ang="0">
                <a:pos x="connsiteX22673" y="connsiteY22673"/>
              </a:cxn>
              <a:cxn ang="0">
                <a:pos x="connsiteX22674" y="connsiteY22674"/>
              </a:cxn>
              <a:cxn ang="0">
                <a:pos x="connsiteX22675" y="connsiteY22675"/>
              </a:cxn>
              <a:cxn ang="0">
                <a:pos x="connsiteX22676" y="connsiteY22676"/>
              </a:cxn>
              <a:cxn ang="0">
                <a:pos x="connsiteX22677" y="connsiteY22677"/>
              </a:cxn>
              <a:cxn ang="0">
                <a:pos x="connsiteX22678" y="connsiteY22678"/>
              </a:cxn>
              <a:cxn ang="0">
                <a:pos x="connsiteX22679" y="connsiteY22679"/>
              </a:cxn>
              <a:cxn ang="0">
                <a:pos x="connsiteX22680" y="connsiteY22680"/>
              </a:cxn>
              <a:cxn ang="0">
                <a:pos x="connsiteX22681" y="connsiteY22681"/>
              </a:cxn>
              <a:cxn ang="0">
                <a:pos x="connsiteX22682" y="connsiteY22682"/>
              </a:cxn>
              <a:cxn ang="0">
                <a:pos x="connsiteX22683" y="connsiteY22683"/>
              </a:cxn>
              <a:cxn ang="0">
                <a:pos x="connsiteX22684" y="connsiteY22684"/>
              </a:cxn>
              <a:cxn ang="0">
                <a:pos x="connsiteX22685" y="connsiteY22685"/>
              </a:cxn>
              <a:cxn ang="0">
                <a:pos x="connsiteX22686" y="connsiteY22686"/>
              </a:cxn>
              <a:cxn ang="0">
                <a:pos x="connsiteX22687" y="connsiteY22687"/>
              </a:cxn>
              <a:cxn ang="0">
                <a:pos x="connsiteX22688" y="connsiteY22688"/>
              </a:cxn>
              <a:cxn ang="0">
                <a:pos x="connsiteX22689" y="connsiteY22689"/>
              </a:cxn>
              <a:cxn ang="0">
                <a:pos x="connsiteX22690" y="connsiteY22690"/>
              </a:cxn>
              <a:cxn ang="0">
                <a:pos x="connsiteX22691" y="connsiteY22691"/>
              </a:cxn>
              <a:cxn ang="0">
                <a:pos x="connsiteX22692" y="connsiteY22692"/>
              </a:cxn>
              <a:cxn ang="0">
                <a:pos x="connsiteX22693" y="connsiteY22693"/>
              </a:cxn>
              <a:cxn ang="0">
                <a:pos x="connsiteX22694" y="connsiteY22694"/>
              </a:cxn>
              <a:cxn ang="0">
                <a:pos x="connsiteX22695" y="connsiteY22695"/>
              </a:cxn>
              <a:cxn ang="0">
                <a:pos x="connsiteX22696" y="connsiteY22696"/>
              </a:cxn>
              <a:cxn ang="0">
                <a:pos x="connsiteX22697" y="connsiteY22697"/>
              </a:cxn>
              <a:cxn ang="0">
                <a:pos x="connsiteX22698" y="connsiteY22698"/>
              </a:cxn>
              <a:cxn ang="0">
                <a:pos x="connsiteX22699" y="connsiteY22699"/>
              </a:cxn>
              <a:cxn ang="0">
                <a:pos x="connsiteX22700" y="connsiteY22700"/>
              </a:cxn>
              <a:cxn ang="0">
                <a:pos x="connsiteX22701" y="connsiteY22701"/>
              </a:cxn>
              <a:cxn ang="0">
                <a:pos x="connsiteX22702" y="connsiteY22702"/>
              </a:cxn>
              <a:cxn ang="0">
                <a:pos x="connsiteX22703" y="connsiteY22703"/>
              </a:cxn>
              <a:cxn ang="0">
                <a:pos x="connsiteX22704" y="connsiteY22704"/>
              </a:cxn>
              <a:cxn ang="0">
                <a:pos x="connsiteX22705" y="connsiteY22705"/>
              </a:cxn>
              <a:cxn ang="0">
                <a:pos x="connsiteX22706" y="connsiteY22706"/>
              </a:cxn>
              <a:cxn ang="0">
                <a:pos x="connsiteX22707" y="connsiteY22707"/>
              </a:cxn>
              <a:cxn ang="0">
                <a:pos x="connsiteX22708" y="connsiteY22708"/>
              </a:cxn>
              <a:cxn ang="0">
                <a:pos x="connsiteX22709" y="connsiteY22709"/>
              </a:cxn>
              <a:cxn ang="0">
                <a:pos x="connsiteX22710" y="connsiteY22710"/>
              </a:cxn>
              <a:cxn ang="0">
                <a:pos x="connsiteX22711" y="connsiteY22711"/>
              </a:cxn>
              <a:cxn ang="0">
                <a:pos x="connsiteX22712" y="connsiteY22712"/>
              </a:cxn>
              <a:cxn ang="0">
                <a:pos x="connsiteX22713" y="connsiteY22713"/>
              </a:cxn>
              <a:cxn ang="0">
                <a:pos x="connsiteX22714" y="connsiteY22714"/>
              </a:cxn>
              <a:cxn ang="0">
                <a:pos x="connsiteX22715" y="connsiteY22715"/>
              </a:cxn>
              <a:cxn ang="0">
                <a:pos x="connsiteX22716" y="connsiteY22716"/>
              </a:cxn>
              <a:cxn ang="0">
                <a:pos x="connsiteX22717" y="connsiteY22717"/>
              </a:cxn>
              <a:cxn ang="0">
                <a:pos x="connsiteX22718" y="connsiteY22718"/>
              </a:cxn>
              <a:cxn ang="0">
                <a:pos x="connsiteX22719" y="connsiteY22719"/>
              </a:cxn>
              <a:cxn ang="0">
                <a:pos x="connsiteX22720" y="connsiteY22720"/>
              </a:cxn>
              <a:cxn ang="0">
                <a:pos x="connsiteX22721" y="connsiteY22721"/>
              </a:cxn>
              <a:cxn ang="0">
                <a:pos x="connsiteX22722" y="connsiteY22722"/>
              </a:cxn>
              <a:cxn ang="0">
                <a:pos x="connsiteX22723" y="connsiteY22723"/>
              </a:cxn>
              <a:cxn ang="0">
                <a:pos x="connsiteX22724" y="connsiteY22724"/>
              </a:cxn>
              <a:cxn ang="0">
                <a:pos x="connsiteX22725" y="connsiteY22725"/>
              </a:cxn>
              <a:cxn ang="0">
                <a:pos x="connsiteX22726" y="connsiteY22726"/>
              </a:cxn>
              <a:cxn ang="0">
                <a:pos x="connsiteX22727" y="connsiteY22727"/>
              </a:cxn>
              <a:cxn ang="0">
                <a:pos x="connsiteX22728" y="connsiteY22728"/>
              </a:cxn>
              <a:cxn ang="0">
                <a:pos x="connsiteX22729" y="connsiteY22729"/>
              </a:cxn>
              <a:cxn ang="0">
                <a:pos x="connsiteX22730" y="connsiteY22730"/>
              </a:cxn>
              <a:cxn ang="0">
                <a:pos x="connsiteX22731" y="connsiteY22731"/>
              </a:cxn>
              <a:cxn ang="0">
                <a:pos x="connsiteX22732" y="connsiteY22732"/>
              </a:cxn>
              <a:cxn ang="0">
                <a:pos x="connsiteX22733" y="connsiteY22733"/>
              </a:cxn>
              <a:cxn ang="0">
                <a:pos x="connsiteX22734" y="connsiteY22734"/>
              </a:cxn>
              <a:cxn ang="0">
                <a:pos x="connsiteX22735" y="connsiteY22735"/>
              </a:cxn>
              <a:cxn ang="0">
                <a:pos x="connsiteX22736" y="connsiteY22736"/>
              </a:cxn>
              <a:cxn ang="0">
                <a:pos x="connsiteX22737" y="connsiteY22737"/>
              </a:cxn>
              <a:cxn ang="0">
                <a:pos x="connsiteX22738" y="connsiteY22738"/>
              </a:cxn>
              <a:cxn ang="0">
                <a:pos x="connsiteX22739" y="connsiteY22739"/>
              </a:cxn>
              <a:cxn ang="0">
                <a:pos x="connsiteX22740" y="connsiteY22740"/>
              </a:cxn>
              <a:cxn ang="0">
                <a:pos x="connsiteX22741" y="connsiteY22741"/>
              </a:cxn>
              <a:cxn ang="0">
                <a:pos x="connsiteX22742" y="connsiteY22742"/>
              </a:cxn>
              <a:cxn ang="0">
                <a:pos x="connsiteX22743" y="connsiteY22743"/>
              </a:cxn>
              <a:cxn ang="0">
                <a:pos x="connsiteX22744" y="connsiteY22744"/>
              </a:cxn>
              <a:cxn ang="0">
                <a:pos x="connsiteX22745" y="connsiteY22745"/>
              </a:cxn>
              <a:cxn ang="0">
                <a:pos x="connsiteX22746" y="connsiteY22746"/>
              </a:cxn>
              <a:cxn ang="0">
                <a:pos x="connsiteX22747" y="connsiteY22747"/>
              </a:cxn>
              <a:cxn ang="0">
                <a:pos x="connsiteX22748" y="connsiteY22748"/>
              </a:cxn>
              <a:cxn ang="0">
                <a:pos x="connsiteX22749" y="connsiteY22749"/>
              </a:cxn>
              <a:cxn ang="0">
                <a:pos x="connsiteX22750" y="connsiteY22750"/>
              </a:cxn>
              <a:cxn ang="0">
                <a:pos x="connsiteX22751" y="connsiteY22751"/>
              </a:cxn>
              <a:cxn ang="0">
                <a:pos x="connsiteX22752" y="connsiteY22752"/>
              </a:cxn>
              <a:cxn ang="0">
                <a:pos x="connsiteX22753" y="connsiteY22753"/>
              </a:cxn>
              <a:cxn ang="0">
                <a:pos x="connsiteX22754" y="connsiteY22754"/>
              </a:cxn>
              <a:cxn ang="0">
                <a:pos x="connsiteX22755" y="connsiteY22755"/>
              </a:cxn>
              <a:cxn ang="0">
                <a:pos x="connsiteX22756" y="connsiteY22756"/>
              </a:cxn>
              <a:cxn ang="0">
                <a:pos x="connsiteX22757" y="connsiteY22757"/>
              </a:cxn>
              <a:cxn ang="0">
                <a:pos x="connsiteX22758" y="connsiteY22758"/>
              </a:cxn>
              <a:cxn ang="0">
                <a:pos x="connsiteX22759" y="connsiteY22759"/>
              </a:cxn>
              <a:cxn ang="0">
                <a:pos x="connsiteX22760" y="connsiteY22760"/>
              </a:cxn>
              <a:cxn ang="0">
                <a:pos x="connsiteX22761" y="connsiteY22761"/>
              </a:cxn>
              <a:cxn ang="0">
                <a:pos x="connsiteX22762" y="connsiteY22762"/>
              </a:cxn>
              <a:cxn ang="0">
                <a:pos x="connsiteX22763" y="connsiteY22763"/>
              </a:cxn>
              <a:cxn ang="0">
                <a:pos x="connsiteX22764" y="connsiteY22764"/>
              </a:cxn>
              <a:cxn ang="0">
                <a:pos x="connsiteX22765" y="connsiteY22765"/>
              </a:cxn>
              <a:cxn ang="0">
                <a:pos x="connsiteX22766" y="connsiteY22766"/>
              </a:cxn>
              <a:cxn ang="0">
                <a:pos x="connsiteX22767" y="connsiteY22767"/>
              </a:cxn>
              <a:cxn ang="0">
                <a:pos x="connsiteX22768" y="connsiteY22768"/>
              </a:cxn>
              <a:cxn ang="0">
                <a:pos x="connsiteX22769" y="connsiteY22769"/>
              </a:cxn>
              <a:cxn ang="0">
                <a:pos x="connsiteX22770" y="connsiteY22770"/>
              </a:cxn>
              <a:cxn ang="0">
                <a:pos x="connsiteX22771" y="connsiteY22771"/>
              </a:cxn>
              <a:cxn ang="0">
                <a:pos x="connsiteX22772" y="connsiteY22772"/>
              </a:cxn>
              <a:cxn ang="0">
                <a:pos x="connsiteX22773" y="connsiteY22773"/>
              </a:cxn>
              <a:cxn ang="0">
                <a:pos x="connsiteX22774" y="connsiteY22774"/>
              </a:cxn>
              <a:cxn ang="0">
                <a:pos x="connsiteX22775" y="connsiteY22775"/>
              </a:cxn>
              <a:cxn ang="0">
                <a:pos x="connsiteX22776" y="connsiteY22776"/>
              </a:cxn>
              <a:cxn ang="0">
                <a:pos x="connsiteX22777" y="connsiteY22777"/>
              </a:cxn>
              <a:cxn ang="0">
                <a:pos x="connsiteX22778" y="connsiteY22778"/>
              </a:cxn>
              <a:cxn ang="0">
                <a:pos x="connsiteX22779" y="connsiteY22779"/>
              </a:cxn>
              <a:cxn ang="0">
                <a:pos x="connsiteX22780" y="connsiteY22780"/>
              </a:cxn>
              <a:cxn ang="0">
                <a:pos x="connsiteX22781" y="connsiteY22781"/>
              </a:cxn>
              <a:cxn ang="0">
                <a:pos x="connsiteX22782" y="connsiteY22782"/>
              </a:cxn>
              <a:cxn ang="0">
                <a:pos x="connsiteX22783" y="connsiteY22783"/>
              </a:cxn>
              <a:cxn ang="0">
                <a:pos x="connsiteX22784" y="connsiteY22784"/>
              </a:cxn>
              <a:cxn ang="0">
                <a:pos x="connsiteX22785" y="connsiteY22785"/>
              </a:cxn>
              <a:cxn ang="0">
                <a:pos x="connsiteX22786" y="connsiteY22786"/>
              </a:cxn>
              <a:cxn ang="0">
                <a:pos x="connsiteX22787" y="connsiteY22787"/>
              </a:cxn>
              <a:cxn ang="0">
                <a:pos x="connsiteX22788" y="connsiteY22788"/>
              </a:cxn>
              <a:cxn ang="0">
                <a:pos x="connsiteX22789" y="connsiteY22789"/>
              </a:cxn>
              <a:cxn ang="0">
                <a:pos x="connsiteX22790" y="connsiteY22790"/>
              </a:cxn>
              <a:cxn ang="0">
                <a:pos x="connsiteX22791" y="connsiteY22791"/>
              </a:cxn>
              <a:cxn ang="0">
                <a:pos x="connsiteX22792" y="connsiteY22792"/>
              </a:cxn>
              <a:cxn ang="0">
                <a:pos x="connsiteX22793" y="connsiteY22793"/>
              </a:cxn>
              <a:cxn ang="0">
                <a:pos x="connsiteX22794" y="connsiteY22794"/>
              </a:cxn>
              <a:cxn ang="0">
                <a:pos x="connsiteX22795" y="connsiteY22795"/>
              </a:cxn>
              <a:cxn ang="0">
                <a:pos x="connsiteX22796" y="connsiteY22796"/>
              </a:cxn>
              <a:cxn ang="0">
                <a:pos x="connsiteX22797" y="connsiteY22797"/>
              </a:cxn>
              <a:cxn ang="0">
                <a:pos x="connsiteX22798" y="connsiteY22798"/>
              </a:cxn>
              <a:cxn ang="0">
                <a:pos x="connsiteX22799" y="connsiteY22799"/>
              </a:cxn>
              <a:cxn ang="0">
                <a:pos x="connsiteX22800" y="connsiteY22800"/>
              </a:cxn>
              <a:cxn ang="0">
                <a:pos x="connsiteX22801" y="connsiteY22801"/>
              </a:cxn>
              <a:cxn ang="0">
                <a:pos x="connsiteX22802" y="connsiteY22802"/>
              </a:cxn>
              <a:cxn ang="0">
                <a:pos x="connsiteX22803" y="connsiteY22803"/>
              </a:cxn>
              <a:cxn ang="0">
                <a:pos x="connsiteX22804" y="connsiteY22804"/>
              </a:cxn>
              <a:cxn ang="0">
                <a:pos x="connsiteX22805" y="connsiteY22805"/>
              </a:cxn>
              <a:cxn ang="0">
                <a:pos x="connsiteX22806" y="connsiteY22806"/>
              </a:cxn>
              <a:cxn ang="0">
                <a:pos x="connsiteX22807" y="connsiteY22807"/>
              </a:cxn>
              <a:cxn ang="0">
                <a:pos x="connsiteX22808" y="connsiteY22808"/>
              </a:cxn>
              <a:cxn ang="0">
                <a:pos x="connsiteX22809" y="connsiteY22809"/>
              </a:cxn>
              <a:cxn ang="0">
                <a:pos x="connsiteX22810" y="connsiteY22810"/>
              </a:cxn>
              <a:cxn ang="0">
                <a:pos x="connsiteX22811" y="connsiteY22811"/>
              </a:cxn>
              <a:cxn ang="0">
                <a:pos x="connsiteX22812" y="connsiteY22812"/>
              </a:cxn>
              <a:cxn ang="0">
                <a:pos x="connsiteX22813" y="connsiteY22813"/>
              </a:cxn>
              <a:cxn ang="0">
                <a:pos x="connsiteX22814" y="connsiteY22814"/>
              </a:cxn>
              <a:cxn ang="0">
                <a:pos x="connsiteX22815" y="connsiteY22815"/>
              </a:cxn>
              <a:cxn ang="0">
                <a:pos x="connsiteX22816" y="connsiteY22816"/>
              </a:cxn>
              <a:cxn ang="0">
                <a:pos x="connsiteX22817" y="connsiteY22817"/>
              </a:cxn>
              <a:cxn ang="0">
                <a:pos x="connsiteX22818" y="connsiteY22818"/>
              </a:cxn>
              <a:cxn ang="0">
                <a:pos x="connsiteX22819" y="connsiteY22819"/>
              </a:cxn>
              <a:cxn ang="0">
                <a:pos x="connsiteX22820" y="connsiteY22820"/>
              </a:cxn>
              <a:cxn ang="0">
                <a:pos x="connsiteX22821" y="connsiteY22821"/>
              </a:cxn>
              <a:cxn ang="0">
                <a:pos x="connsiteX22822" y="connsiteY22822"/>
              </a:cxn>
              <a:cxn ang="0">
                <a:pos x="connsiteX22823" y="connsiteY22823"/>
              </a:cxn>
              <a:cxn ang="0">
                <a:pos x="connsiteX22824" y="connsiteY22824"/>
              </a:cxn>
              <a:cxn ang="0">
                <a:pos x="connsiteX22825" y="connsiteY22825"/>
              </a:cxn>
              <a:cxn ang="0">
                <a:pos x="connsiteX22826" y="connsiteY22826"/>
              </a:cxn>
              <a:cxn ang="0">
                <a:pos x="connsiteX22827" y="connsiteY22827"/>
              </a:cxn>
              <a:cxn ang="0">
                <a:pos x="connsiteX22828" y="connsiteY22828"/>
              </a:cxn>
              <a:cxn ang="0">
                <a:pos x="connsiteX22829" y="connsiteY22829"/>
              </a:cxn>
              <a:cxn ang="0">
                <a:pos x="connsiteX22830" y="connsiteY22830"/>
              </a:cxn>
              <a:cxn ang="0">
                <a:pos x="connsiteX22831" y="connsiteY22831"/>
              </a:cxn>
              <a:cxn ang="0">
                <a:pos x="connsiteX22832" y="connsiteY22832"/>
              </a:cxn>
              <a:cxn ang="0">
                <a:pos x="connsiteX22833" y="connsiteY22833"/>
              </a:cxn>
              <a:cxn ang="0">
                <a:pos x="connsiteX22834" y="connsiteY22834"/>
              </a:cxn>
              <a:cxn ang="0">
                <a:pos x="connsiteX22835" y="connsiteY22835"/>
              </a:cxn>
              <a:cxn ang="0">
                <a:pos x="connsiteX22836" y="connsiteY22836"/>
              </a:cxn>
              <a:cxn ang="0">
                <a:pos x="connsiteX22837" y="connsiteY22837"/>
              </a:cxn>
              <a:cxn ang="0">
                <a:pos x="connsiteX22838" y="connsiteY22838"/>
              </a:cxn>
              <a:cxn ang="0">
                <a:pos x="connsiteX22839" y="connsiteY22839"/>
              </a:cxn>
              <a:cxn ang="0">
                <a:pos x="connsiteX22840" y="connsiteY22840"/>
              </a:cxn>
              <a:cxn ang="0">
                <a:pos x="connsiteX22841" y="connsiteY22841"/>
              </a:cxn>
              <a:cxn ang="0">
                <a:pos x="connsiteX22842" y="connsiteY22842"/>
              </a:cxn>
              <a:cxn ang="0">
                <a:pos x="connsiteX22843" y="connsiteY22843"/>
              </a:cxn>
              <a:cxn ang="0">
                <a:pos x="connsiteX22844" y="connsiteY22844"/>
              </a:cxn>
              <a:cxn ang="0">
                <a:pos x="connsiteX22845" y="connsiteY22845"/>
              </a:cxn>
              <a:cxn ang="0">
                <a:pos x="connsiteX22846" y="connsiteY22846"/>
              </a:cxn>
              <a:cxn ang="0">
                <a:pos x="connsiteX22847" y="connsiteY22847"/>
              </a:cxn>
              <a:cxn ang="0">
                <a:pos x="connsiteX22848" y="connsiteY22848"/>
              </a:cxn>
              <a:cxn ang="0">
                <a:pos x="connsiteX22849" y="connsiteY22849"/>
              </a:cxn>
              <a:cxn ang="0">
                <a:pos x="connsiteX22850" y="connsiteY22850"/>
              </a:cxn>
              <a:cxn ang="0">
                <a:pos x="connsiteX22851" y="connsiteY22851"/>
              </a:cxn>
              <a:cxn ang="0">
                <a:pos x="connsiteX22852" y="connsiteY22852"/>
              </a:cxn>
              <a:cxn ang="0">
                <a:pos x="connsiteX22853" y="connsiteY22853"/>
              </a:cxn>
              <a:cxn ang="0">
                <a:pos x="connsiteX22854" y="connsiteY22854"/>
              </a:cxn>
              <a:cxn ang="0">
                <a:pos x="connsiteX22855" y="connsiteY22855"/>
              </a:cxn>
              <a:cxn ang="0">
                <a:pos x="connsiteX22856" y="connsiteY22856"/>
              </a:cxn>
              <a:cxn ang="0">
                <a:pos x="connsiteX22857" y="connsiteY22857"/>
              </a:cxn>
              <a:cxn ang="0">
                <a:pos x="connsiteX22858" y="connsiteY22858"/>
              </a:cxn>
              <a:cxn ang="0">
                <a:pos x="connsiteX22859" y="connsiteY22859"/>
              </a:cxn>
              <a:cxn ang="0">
                <a:pos x="connsiteX22860" y="connsiteY22860"/>
              </a:cxn>
              <a:cxn ang="0">
                <a:pos x="connsiteX22861" y="connsiteY22861"/>
              </a:cxn>
              <a:cxn ang="0">
                <a:pos x="connsiteX22862" y="connsiteY22862"/>
              </a:cxn>
              <a:cxn ang="0">
                <a:pos x="connsiteX22863" y="connsiteY22863"/>
              </a:cxn>
              <a:cxn ang="0">
                <a:pos x="connsiteX22864" y="connsiteY22864"/>
              </a:cxn>
              <a:cxn ang="0">
                <a:pos x="connsiteX22865" y="connsiteY22865"/>
              </a:cxn>
              <a:cxn ang="0">
                <a:pos x="connsiteX22866" y="connsiteY22866"/>
              </a:cxn>
              <a:cxn ang="0">
                <a:pos x="connsiteX22867" y="connsiteY22867"/>
              </a:cxn>
              <a:cxn ang="0">
                <a:pos x="connsiteX22868" y="connsiteY22868"/>
              </a:cxn>
              <a:cxn ang="0">
                <a:pos x="connsiteX22869" y="connsiteY22869"/>
              </a:cxn>
              <a:cxn ang="0">
                <a:pos x="connsiteX22870" y="connsiteY22870"/>
              </a:cxn>
              <a:cxn ang="0">
                <a:pos x="connsiteX22871" y="connsiteY22871"/>
              </a:cxn>
              <a:cxn ang="0">
                <a:pos x="connsiteX22872" y="connsiteY22872"/>
              </a:cxn>
              <a:cxn ang="0">
                <a:pos x="connsiteX22873" y="connsiteY22873"/>
              </a:cxn>
              <a:cxn ang="0">
                <a:pos x="connsiteX22874" y="connsiteY22874"/>
              </a:cxn>
              <a:cxn ang="0">
                <a:pos x="connsiteX22875" y="connsiteY22875"/>
              </a:cxn>
              <a:cxn ang="0">
                <a:pos x="connsiteX22876" y="connsiteY22876"/>
              </a:cxn>
              <a:cxn ang="0">
                <a:pos x="connsiteX22877" y="connsiteY22877"/>
              </a:cxn>
              <a:cxn ang="0">
                <a:pos x="connsiteX22878" y="connsiteY22878"/>
              </a:cxn>
              <a:cxn ang="0">
                <a:pos x="connsiteX22879" y="connsiteY22879"/>
              </a:cxn>
              <a:cxn ang="0">
                <a:pos x="connsiteX22880" y="connsiteY22880"/>
              </a:cxn>
              <a:cxn ang="0">
                <a:pos x="connsiteX22881" y="connsiteY22881"/>
              </a:cxn>
              <a:cxn ang="0">
                <a:pos x="connsiteX22882" y="connsiteY22882"/>
              </a:cxn>
              <a:cxn ang="0">
                <a:pos x="connsiteX22883" y="connsiteY22883"/>
              </a:cxn>
              <a:cxn ang="0">
                <a:pos x="connsiteX22884" y="connsiteY22884"/>
              </a:cxn>
              <a:cxn ang="0">
                <a:pos x="connsiteX22885" y="connsiteY22885"/>
              </a:cxn>
              <a:cxn ang="0">
                <a:pos x="connsiteX22886" y="connsiteY22886"/>
              </a:cxn>
              <a:cxn ang="0">
                <a:pos x="connsiteX22887" y="connsiteY22887"/>
              </a:cxn>
              <a:cxn ang="0">
                <a:pos x="connsiteX22888" y="connsiteY22888"/>
              </a:cxn>
              <a:cxn ang="0">
                <a:pos x="connsiteX22889" y="connsiteY22889"/>
              </a:cxn>
              <a:cxn ang="0">
                <a:pos x="connsiteX22890" y="connsiteY22890"/>
              </a:cxn>
              <a:cxn ang="0">
                <a:pos x="connsiteX22891" y="connsiteY22891"/>
              </a:cxn>
              <a:cxn ang="0">
                <a:pos x="connsiteX22892" y="connsiteY22892"/>
              </a:cxn>
              <a:cxn ang="0">
                <a:pos x="connsiteX22893" y="connsiteY22893"/>
              </a:cxn>
              <a:cxn ang="0">
                <a:pos x="connsiteX22894" y="connsiteY22894"/>
              </a:cxn>
              <a:cxn ang="0">
                <a:pos x="connsiteX22895" y="connsiteY22895"/>
              </a:cxn>
              <a:cxn ang="0">
                <a:pos x="connsiteX22896" y="connsiteY22896"/>
              </a:cxn>
              <a:cxn ang="0">
                <a:pos x="connsiteX22897" y="connsiteY22897"/>
              </a:cxn>
              <a:cxn ang="0">
                <a:pos x="connsiteX22898" y="connsiteY22898"/>
              </a:cxn>
              <a:cxn ang="0">
                <a:pos x="connsiteX22899" y="connsiteY22899"/>
              </a:cxn>
              <a:cxn ang="0">
                <a:pos x="connsiteX22900" y="connsiteY22900"/>
              </a:cxn>
              <a:cxn ang="0">
                <a:pos x="connsiteX22901" y="connsiteY22901"/>
              </a:cxn>
              <a:cxn ang="0">
                <a:pos x="connsiteX22902" y="connsiteY22902"/>
              </a:cxn>
              <a:cxn ang="0">
                <a:pos x="connsiteX22903" y="connsiteY22903"/>
              </a:cxn>
              <a:cxn ang="0">
                <a:pos x="connsiteX22904" y="connsiteY22904"/>
              </a:cxn>
              <a:cxn ang="0">
                <a:pos x="connsiteX22905" y="connsiteY22905"/>
              </a:cxn>
              <a:cxn ang="0">
                <a:pos x="connsiteX22906" y="connsiteY22906"/>
              </a:cxn>
              <a:cxn ang="0">
                <a:pos x="connsiteX22907" y="connsiteY22907"/>
              </a:cxn>
              <a:cxn ang="0">
                <a:pos x="connsiteX22908" y="connsiteY22908"/>
              </a:cxn>
              <a:cxn ang="0">
                <a:pos x="connsiteX22909" y="connsiteY22909"/>
              </a:cxn>
              <a:cxn ang="0">
                <a:pos x="connsiteX22910" y="connsiteY22910"/>
              </a:cxn>
              <a:cxn ang="0">
                <a:pos x="connsiteX22911" y="connsiteY22911"/>
              </a:cxn>
              <a:cxn ang="0">
                <a:pos x="connsiteX22912" y="connsiteY22912"/>
              </a:cxn>
              <a:cxn ang="0">
                <a:pos x="connsiteX22913" y="connsiteY22913"/>
              </a:cxn>
              <a:cxn ang="0">
                <a:pos x="connsiteX22914" y="connsiteY22914"/>
              </a:cxn>
              <a:cxn ang="0">
                <a:pos x="connsiteX22915" y="connsiteY22915"/>
              </a:cxn>
              <a:cxn ang="0">
                <a:pos x="connsiteX22916" y="connsiteY22916"/>
              </a:cxn>
              <a:cxn ang="0">
                <a:pos x="connsiteX22917" y="connsiteY22917"/>
              </a:cxn>
              <a:cxn ang="0">
                <a:pos x="connsiteX22918" y="connsiteY22918"/>
              </a:cxn>
              <a:cxn ang="0">
                <a:pos x="connsiteX22919" y="connsiteY22919"/>
              </a:cxn>
              <a:cxn ang="0">
                <a:pos x="connsiteX22920" y="connsiteY22920"/>
              </a:cxn>
              <a:cxn ang="0">
                <a:pos x="connsiteX22921" y="connsiteY22921"/>
              </a:cxn>
              <a:cxn ang="0">
                <a:pos x="connsiteX22922" y="connsiteY22922"/>
              </a:cxn>
              <a:cxn ang="0">
                <a:pos x="connsiteX22923" y="connsiteY22923"/>
              </a:cxn>
              <a:cxn ang="0">
                <a:pos x="connsiteX22924" y="connsiteY22924"/>
              </a:cxn>
              <a:cxn ang="0">
                <a:pos x="connsiteX22925" y="connsiteY22925"/>
              </a:cxn>
              <a:cxn ang="0">
                <a:pos x="connsiteX22926" y="connsiteY22926"/>
              </a:cxn>
              <a:cxn ang="0">
                <a:pos x="connsiteX22927" y="connsiteY22927"/>
              </a:cxn>
              <a:cxn ang="0">
                <a:pos x="connsiteX22928" y="connsiteY22928"/>
              </a:cxn>
              <a:cxn ang="0">
                <a:pos x="connsiteX22929" y="connsiteY22929"/>
              </a:cxn>
              <a:cxn ang="0">
                <a:pos x="connsiteX22930" y="connsiteY22930"/>
              </a:cxn>
              <a:cxn ang="0">
                <a:pos x="connsiteX22931" y="connsiteY22931"/>
              </a:cxn>
              <a:cxn ang="0">
                <a:pos x="connsiteX22932" y="connsiteY22932"/>
              </a:cxn>
              <a:cxn ang="0">
                <a:pos x="connsiteX22933" y="connsiteY22933"/>
              </a:cxn>
              <a:cxn ang="0">
                <a:pos x="connsiteX22934" y="connsiteY22934"/>
              </a:cxn>
              <a:cxn ang="0">
                <a:pos x="connsiteX22935" y="connsiteY22935"/>
              </a:cxn>
              <a:cxn ang="0">
                <a:pos x="connsiteX22936" y="connsiteY22936"/>
              </a:cxn>
              <a:cxn ang="0">
                <a:pos x="connsiteX22937" y="connsiteY22937"/>
              </a:cxn>
              <a:cxn ang="0">
                <a:pos x="connsiteX22938" y="connsiteY22938"/>
              </a:cxn>
              <a:cxn ang="0">
                <a:pos x="connsiteX22939" y="connsiteY22939"/>
              </a:cxn>
              <a:cxn ang="0">
                <a:pos x="connsiteX22940" y="connsiteY22940"/>
              </a:cxn>
              <a:cxn ang="0">
                <a:pos x="connsiteX22941" y="connsiteY22941"/>
              </a:cxn>
              <a:cxn ang="0">
                <a:pos x="connsiteX22942" y="connsiteY22942"/>
              </a:cxn>
              <a:cxn ang="0">
                <a:pos x="connsiteX22943" y="connsiteY22943"/>
              </a:cxn>
              <a:cxn ang="0">
                <a:pos x="connsiteX22944" y="connsiteY22944"/>
              </a:cxn>
              <a:cxn ang="0">
                <a:pos x="connsiteX22945" y="connsiteY22945"/>
              </a:cxn>
              <a:cxn ang="0">
                <a:pos x="connsiteX22946" y="connsiteY22946"/>
              </a:cxn>
              <a:cxn ang="0">
                <a:pos x="connsiteX22947" y="connsiteY22947"/>
              </a:cxn>
              <a:cxn ang="0">
                <a:pos x="connsiteX22948" y="connsiteY22948"/>
              </a:cxn>
              <a:cxn ang="0">
                <a:pos x="connsiteX22949" y="connsiteY22949"/>
              </a:cxn>
              <a:cxn ang="0">
                <a:pos x="connsiteX22950" y="connsiteY22950"/>
              </a:cxn>
              <a:cxn ang="0">
                <a:pos x="connsiteX22951" y="connsiteY22951"/>
              </a:cxn>
              <a:cxn ang="0">
                <a:pos x="connsiteX22952" y="connsiteY22952"/>
              </a:cxn>
              <a:cxn ang="0">
                <a:pos x="connsiteX22953" y="connsiteY22953"/>
              </a:cxn>
              <a:cxn ang="0">
                <a:pos x="connsiteX22954" y="connsiteY22954"/>
              </a:cxn>
              <a:cxn ang="0">
                <a:pos x="connsiteX22955" y="connsiteY22955"/>
              </a:cxn>
              <a:cxn ang="0">
                <a:pos x="connsiteX22956" y="connsiteY22956"/>
              </a:cxn>
              <a:cxn ang="0">
                <a:pos x="connsiteX22957" y="connsiteY22957"/>
              </a:cxn>
              <a:cxn ang="0">
                <a:pos x="connsiteX22958" y="connsiteY22958"/>
              </a:cxn>
              <a:cxn ang="0">
                <a:pos x="connsiteX22959" y="connsiteY22959"/>
              </a:cxn>
              <a:cxn ang="0">
                <a:pos x="connsiteX22960" y="connsiteY22960"/>
              </a:cxn>
              <a:cxn ang="0">
                <a:pos x="connsiteX22961" y="connsiteY22961"/>
              </a:cxn>
              <a:cxn ang="0">
                <a:pos x="connsiteX22962" y="connsiteY22962"/>
              </a:cxn>
              <a:cxn ang="0">
                <a:pos x="connsiteX22963" y="connsiteY22963"/>
              </a:cxn>
              <a:cxn ang="0">
                <a:pos x="connsiteX22964" y="connsiteY22964"/>
              </a:cxn>
              <a:cxn ang="0">
                <a:pos x="connsiteX22965" y="connsiteY22965"/>
              </a:cxn>
              <a:cxn ang="0">
                <a:pos x="connsiteX22966" y="connsiteY22966"/>
              </a:cxn>
              <a:cxn ang="0">
                <a:pos x="connsiteX22967" y="connsiteY22967"/>
              </a:cxn>
              <a:cxn ang="0">
                <a:pos x="connsiteX22968" y="connsiteY22968"/>
              </a:cxn>
              <a:cxn ang="0">
                <a:pos x="connsiteX22969" y="connsiteY22969"/>
              </a:cxn>
              <a:cxn ang="0">
                <a:pos x="connsiteX22970" y="connsiteY22970"/>
              </a:cxn>
              <a:cxn ang="0">
                <a:pos x="connsiteX22971" y="connsiteY22971"/>
              </a:cxn>
              <a:cxn ang="0">
                <a:pos x="connsiteX22972" y="connsiteY22972"/>
              </a:cxn>
              <a:cxn ang="0">
                <a:pos x="connsiteX22973" y="connsiteY22973"/>
              </a:cxn>
              <a:cxn ang="0">
                <a:pos x="connsiteX22974" y="connsiteY22974"/>
              </a:cxn>
              <a:cxn ang="0">
                <a:pos x="connsiteX22975" y="connsiteY22975"/>
              </a:cxn>
              <a:cxn ang="0">
                <a:pos x="connsiteX22976" y="connsiteY22976"/>
              </a:cxn>
              <a:cxn ang="0">
                <a:pos x="connsiteX22977" y="connsiteY22977"/>
              </a:cxn>
              <a:cxn ang="0">
                <a:pos x="connsiteX22978" y="connsiteY22978"/>
              </a:cxn>
              <a:cxn ang="0">
                <a:pos x="connsiteX22979" y="connsiteY22979"/>
              </a:cxn>
              <a:cxn ang="0">
                <a:pos x="connsiteX22980" y="connsiteY22980"/>
              </a:cxn>
              <a:cxn ang="0">
                <a:pos x="connsiteX22981" y="connsiteY22981"/>
              </a:cxn>
              <a:cxn ang="0">
                <a:pos x="connsiteX22982" y="connsiteY22982"/>
              </a:cxn>
              <a:cxn ang="0">
                <a:pos x="connsiteX22983" y="connsiteY22983"/>
              </a:cxn>
              <a:cxn ang="0">
                <a:pos x="connsiteX22984" y="connsiteY22984"/>
              </a:cxn>
              <a:cxn ang="0">
                <a:pos x="connsiteX22985" y="connsiteY22985"/>
              </a:cxn>
              <a:cxn ang="0">
                <a:pos x="connsiteX22986" y="connsiteY22986"/>
              </a:cxn>
              <a:cxn ang="0">
                <a:pos x="connsiteX22987" y="connsiteY22987"/>
              </a:cxn>
              <a:cxn ang="0">
                <a:pos x="connsiteX22988" y="connsiteY22988"/>
              </a:cxn>
              <a:cxn ang="0">
                <a:pos x="connsiteX22989" y="connsiteY22989"/>
              </a:cxn>
              <a:cxn ang="0">
                <a:pos x="connsiteX22990" y="connsiteY22990"/>
              </a:cxn>
              <a:cxn ang="0">
                <a:pos x="connsiteX22991" y="connsiteY22991"/>
              </a:cxn>
              <a:cxn ang="0">
                <a:pos x="connsiteX22992" y="connsiteY22992"/>
              </a:cxn>
              <a:cxn ang="0">
                <a:pos x="connsiteX22993" y="connsiteY22993"/>
              </a:cxn>
              <a:cxn ang="0">
                <a:pos x="connsiteX22994" y="connsiteY22994"/>
              </a:cxn>
              <a:cxn ang="0">
                <a:pos x="connsiteX22995" y="connsiteY22995"/>
              </a:cxn>
              <a:cxn ang="0">
                <a:pos x="connsiteX22996" y="connsiteY22996"/>
              </a:cxn>
              <a:cxn ang="0">
                <a:pos x="connsiteX22997" y="connsiteY22997"/>
              </a:cxn>
              <a:cxn ang="0">
                <a:pos x="connsiteX22998" y="connsiteY22998"/>
              </a:cxn>
              <a:cxn ang="0">
                <a:pos x="connsiteX22999" y="connsiteY22999"/>
              </a:cxn>
              <a:cxn ang="0">
                <a:pos x="connsiteX23000" y="connsiteY23000"/>
              </a:cxn>
              <a:cxn ang="0">
                <a:pos x="connsiteX23001" y="connsiteY23001"/>
              </a:cxn>
              <a:cxn ang="0">
                <a:pos x="connsiteX23002" y="connsiteY23002"/>
              </a:cxn>
              <a:cxn ang="0">
                <a:pos x="connsiteX23003" y="connsiteY23003"/>
              </a:cxn>
              <a:cxn ang="0">
                <a:pos x="connsiteX23004" y="connsiteY23004"/>
              </a:cxn>
              <a:cxn ang="0">
                <a:pos x="connsiteX23005" y="connsiteY23005"/>
              </a:cxn>
              <a:cxn ang="0">
                <a:pos x="connsiteX23006" y="connsiteY23006"/>
              </a:cxn>
              <a:cxn ang="0">
                <a:pos x="connsiteX23007" y="connsiteY23007"/>
              </a:cxn>
              <a:cxn ang="0">
                <a:pos x="connsiteX23008" y="connsiteY23008"/>
              </a:cxn>
              <a:cxn ang="0">
                <a:pos x="connsiteX23009" y="connsiteY23009"/>
              </a:cxn>
              <a:cxn ang="0">
                <a:pos x="connsiteX23010" y="connsiteY23010"/>
              </a:cxn>
              <a:cxn ang="0">
                <a:pos x="connsiteX23011" y="connsiteY23011"/>
              </a:cxn>
              <a:cxn ang="0">
                <a:pos x="connsiteX23012" y="connsiteY23012"/>
              </a:cxn>
              <a:cxn ang="0">
                <a:pos x="connsiteX23013" y="connsiteY23013"/>
              </a:cxn>
              <a:cxn ang="0">
                <a:pos x="connsiteX23014" y="connsiteY23014"/>
              </a:cxn>
              <a:cxn ang="0">
                <a:pos x="connsiteX23015" y="connsiteY23015"/>
              </a:cxn>
              <a:cxn ang="0">
                <a:pos x="connsiteX23016" y="connsiteY23016"/>
              </a:cxn>
              <a:cxn ang="0">
                <a:pos x="connsiteX23017" y="connsiteY23017"/>
              </a:cxn>
              <a:cxn ang="0">
                <a:pos x="connsiteX23018" y="connsiteY23018"/>
              </a:cxn>
              <a:cxn ang="0">
                <a:pos x="connsiteX23019" y="connsiteY23019"/>
              </a:cxn>
              <a:cxn ang="0">
                <a:pos x="connsiteX23020" y="connsiteY23020"/>
              </a:cxn>
              <a:cxn ang="0">
                <a:pos x="connsiteX23021" y="connsiteY23021"/>
              </a:cxn>
              <a:cxn ang="0">
                <a:pos x="connsiteX23022" y="connsiteY23022"/>
              </a:cxn>
              <a:cxn ang="0">
                <a:pos x="connsiteX23023" y="connsiteY23023"/>
              </a:cxn>
              <a:cxn ang="0">
                <a:pos x="connsiteX23024" y="connsiteY23024"/>
              </a:cxn>
              <a:cxn ang="0">
                <a:pos x="connsiteX23025" y="connsiteY23025"/>
              </a:cxn>
              <a:cxn ang="0">
                <a:pos x="connsiteX23026" y="connsiteY23026"/>
              </a:cxn>
              <a:cxn ang="0">
                <a:pos x="connsiteX23027" y="connsiteY23027"/>
              </a:cxn>
              <a:cxn ang="0">
                <a:pos x="connsiteX23028" y="connsiteY23028"/>
              </a:cxn>
              <a:cxn ang="0">
                <a:pos x="connsiteX23029" y="connsiteY23029"/>
              </a:cxn>
              <a:cxn ang="0">
                <a:pos x="connsiteX23030" y="connsiteY23030"/>
              </a:cxn>
              <a:cxn ang="0">
                <a:pos x="connsiteX23031" y="connsiteY23031"/>
              </a:cxn>
              <a:cxn ang="0">
                <a:pos x="connsiteX23032" y="connsiteY23032"/>
              </a:cxn>
              <a:cxn ang="0">
                <a:pos x="connsiteX23033" y="connsiteY23033"/>
              </a:cxn>
              <a:cxn ang="0">
                <a:pos x="connsiteX23034" y="connsiteY23034"/>
              </a:cxn>
              <a:cxn ang="0">
                <a:pos x="connsiteX23035" y="connsiteY23035"/>
              </a:cxn>
              <a:cxn ang="0">
                <a:pos x="connsiteX23036" y="connsiteY23036"/>
              </a:cxn>
              <a:cxn ang="0">
                <a:pos x="connsiteX23037" y="connsiteY23037"/>
              </a:cxn>
              <a:cxn ang="0">
                <a:pos x="connsiteX23038" y="connsiteY23038"/>
              </a:cxn>
              <a:cxn ang="0">
                <a:pos x="connsiteX23039" y="connsiteY23039"/>
              </a:cxn>
              <a:cxn ang="0">
                <a:pos x="connsiteX23040" y="connsiteY23040"/>
              </a:cxn>
              <a:cxn ang="0">
                <a:pos x="connsiteX23041" y="connsiteY23041"/>
              </a:cxn>
              <a:cxn ang="0">
                <a:pos x="connsiteX23042" y="connsiteY23042"/>
              </a:cxn>
              <a:cxn ang="0">
                <a:pos x="connsiteX23043" y="connsiteY23043"/>
              </a:cxn>
              <a:cxn ang="0">
                <a:pos x="connsiteX23044" y="connsiteY23044"/>
              </a:cxn>
              <a:cxn ang="0">
                <a:pos x="connsiteX23045" y="connsiteY23045"/>
              </a:cxn>
              <a:cxn ang="0">
                <a:pos x="connsiteX23046" y="connsiteY23046"/>
              </a:cxn>
              <a:cxn ang="0">
                <a:pos x="connsiteX23047" y="connsiteY23047"/>
              </a:cxn>
              <a:cxn ang="0">
                <a:pos x="connsiteX23048" y="connsiteY23048"/>
              </a:cxn>
              <a:cxn ang="0">
                <a:pos x="connsiteX23049" y="connsiteY23049"/>
              </a:cxn>
              <a:cxn ang="0">
                <a:pos x="connsiteX23050" y="connsiteY23050"/>
              </a:cxn>
              <a:cxn ang="0">
                <a:pos x="connsiteX23051" y="connsiteY23051"/>
              </a:cxn>
              <a:cxn ang="0">
                <a:pos x="connsiteX23052" y="connsiteY23052"/>
              </a:cxn>
              <a:cxn ang="0">
                <a:pos x="connsiteX23053" y="connsiteY23053"/>
              </a:cxn>
              <a:cxn ang="0">
                <a:pos x="connsiteX23054" y="connsiteY23054"/>
              </a:cxn>
              <a:cxn ang="0">
                <a:pos x="connsiteX23055" y="connsiteY23055"/>
              </a:cxn>
              <a:cxn ang="0">
                <a:pos x="connsiteX23056" y="connsiteY23056"/>
              </a:cxn>
              <a:cxn ang="0">
                <a:pos x="connsiteX23057" y="connsiteY23057"/>
              </a:cxn>
              <a:cxn ang="0">
                <a:pos x="connsiteX23058" y="connsiteY23058"/>
              </a:cxn>
              <a:cxn ang="0">
                <a:pos x="connsiteX23059" y="connsiteY23059"/>
              </a:cxn>
              <a:cxn ang="0">
                <a:pos x="connsiteX23060" y="connsiteY23060"/>
              </a:cxn>
              <a:cxn ang="0">
                <a:pos x="connsiteX23061" y="connsiteY23061"/>
              </a:cxn>
              <a:cxn ang="0">
                <a:pos x="connsiteX23062" y="connsiteY23062"/>
              </a:cxn>
              <a:cxn ang="0">
                <a:pos x="connsiteX23063" y="connsiteY23063"/>
              </a:cxn>
              <a:cxn ang="0">
                <a:pos x="connsiteX23064" y="connsiteY23064"/>
              </a:cxn>
              <a:cxn ang="0">
                <a:pos x="connsiteX23065" y="connsiteY23065"/>
              </a:cxn>
              <a:cxn ang="0">
                <a:pos x="connsiteX23066" y="connsiteY23066"/>
              </a:cxn>
              <a:cxn ang="0">
                <a:pos x="connsiteX23067" y="connsiteY23067"/>
              </a:cxn>
              <a:cxn ang="0">
                <a:pos x="connsiteX23068" y="connsiteY23068"/>
              </a:cxn>
              <a:cxn ang="0">
                <a:pos x="connsiteX23069" y="connsiteY23069"/>
              </a:cxn>
              <a:cxn ang="0">
                <a:pos x="connsiteX23070" y="connsiteY23070"/>
              </a:cxn>
              <a:cxn ang="0">
                <a:pos x="connsiteX23071" y="connsiteY23071"/>
              </a:cxn>
              <a:cxn ang="0">
                <a:pos x="connsiteX23072" y="connsiteY23072"/>
              </a:cxn>
              <a:cxn ang="0">
                <a:pos x="connsiteX23073" y="connsiteY23073"/>
              </a:cxn>
              <a:cxn ang="0">
                <a:pos x="connsiteX23074" y="connsiteY23074"/>
              </a:cxn>
              <a:cxn ang="0">
                <a:pos x="connsiteX23075" y="connsiteY23075"/>
              </a:cxn>
              <a:cxn ang="0">
                <a:pos x="connsiteX23076" y="connsiteY23076"/>
              </a:cxn>
              <a:cxn ang="0">
                <a:pos x="connsiteX23077" y="connsiteY23077"/>
              </a:cxn>
              <a:cxn ang="0">
                <a:pos x="connsiteX23078" y="connsiteY23078"/>
              </a:cxn>
              <a:cxn ang="0">
                <a:pos x="connsiteX23079" y="connsiteY23079"/>
              </a:cxn>
              <a:cxn ang="0">
                <a:pos x="connsiteX23080" y="connsiteY23080"/>
              </a:cxn>
              <a:cxn ang="0">
                <a:pos x="connsiteX23081" y="connsiteY23081"/>
              </a:cxn>
              <a:cxn ang="0">
                <a:pos x="connsiteX23082" y="connsiteY23082"/>
              </a:cxn>
              <a:cxn ang="0">
                <a:pos x="connsiteX23083" y="connsiteY23083"/>
              </a:cxn>
              <a:cxn ang="0">
                <a:pos x="connsiteX23084" y="connsiteY23084"/>
              </a:cxn>
              <a:cxn ang="0">
                <a:pos x="connsiteX23085" y="connsiteY23085"/>
              </a:cxn>
              <a:cxn ang="0">
                <a:pos x="connsiteX23086" y="connsiteY23086"/>
              </a:cxn>
              <a:cxn ang="0">
                <a:pos x="connsiteX23087" y="connsiteY23087"/>
              </a:cxn>
              <a:cxn ang="0">
                <a:pos x="connsiteX23088" y="connsiteY23088"/>
              </a:cxn>
              <a:cxn ang="0">
                <a:pos x="connsiteX23089" y="connsiteY23089"/>
              </a:cxn>
              <a:cxn ang="0">
                <a:pos x="connsiteX23090" y="connsiteY23090"/>
              </a:cxn>
              <a:cxn ang="0">
                <a:pos x="connsiteX23091" y="connsiteY23091"/>
              </a:cxn>
              <a:cxn ang="0">
                <a:pos x="connsiteX23092" y="connsiteY23092"/>
              </a:cxn>
              <a:cxn ang="0">
                <a:pos x="connsiteX23093" y="connsiteY23093"/>
              </a:cxn>
              <a:cxn ang="0">
                <a:pos x="connsiteX23094" y="connsiteY23094"/>
              </a:cxn>
              <a:cxn ang="0">
                <a:pos x="connsiteX23095" y="connsiteY23095"/>
              </a:cxn>
              <a:cxn ang="0">
                <a:pos x="connsiteX23096" y="connsiteY23096"/>
              </a:cxn>
              <a:cxn ang="0">
                <a:pos x="connsiteX23097" y="connsiteY23097"/>
              </a:cxn>
              <a:cxn ang="0">
                <a:pos x="connsiteX23098" y="connsiteY23098"/>
              </a:cxn>
              <a:cxn ang="0">
                <a:pos x="connsiteX23099" y="connsiteY23099"/>
              </a:cxn>
              <a:cxn ang="0">
                <a:pos x="connsiteX23100" y="connsiteY23100"/>
              </a:cxn>
              <a:cxn ang="0">
                <a:pos x="connsiteX23101" y="connsiteY23101"/>
              </a:cxn>
              <a:cxn ang="0">
                <a:pos x="connsiteX23102" y="connsiteY23102"/>
              </a:cxn>
              <a:cxn ang="0">
                <a:pos x="connsiteX23103" y="connsiteY23103"/>
              </a:cxn>
              <a:cxn ang="0">
                <a:pos x="connsiteX23104" y="connsiteY23104"/>
              </a:cxn>
              <a:cxn ang="0">
                <a:pos x="connsiteX23105" y="connsiteY23105"/>
              </a:cxn>
              <a:cxn ang="0">
                <a:pos x="connsiteX23106" y="connsiteY23106"/>
              </a:cxn>
              <a:cxn ang="0">
                <a:pos x="connsiteX23107" y="connsiteY23107"/>
              </a:cxn>
              <a:cxn ang="0">
                <a:pos x="connsiteX23108" y="connsiteY23108"/>
              </a:cxn>
              <a:cxn ang="0">
                <a:pos x="connsiteX23109" y="connsiteY23109"/>
              </a:cxn>
              <a:cxn ang="0">
                <a:pos x="connsiteX23110" y="connsiteY23110"/>
              </a:cxn>
              <a:cxn ang="0">
                <a:pos x="connsiteX23111" y="connsiteY23111"/>
              </a:cxn>
              <a:cxn ang="0">
                <a:pos x="connsiteX23112" y="connsiteY23112"/>
              </a:cxn>
              <a:cxn ang="0">
                <a:pos x="connsiteX23113" y="connsiteY23113"/>
              </a:cxn>
              <a:cxn ang="0">
                <a:pos x="connsiteX23114" y="connsiteY23114"/>
              </a:cxn>
              <a:cxn ang="0">
                <a:pos x="connsiteX23115" y="connsiteY23115"/>
              </a:cxn>
              <a:cxn ang="0">
                <a:pos x="connsiteX23116" y="connsiteY23116"/>
              </a:cxn>
              <a:cxn ang="0">
                <a:pos x="connsiteX23117" y="connsiteY23117"/>
              </a:cxn>
              <a:cxn ang="0">
                <a:pos x="connsiteX23118" y="connsiteY23118"/>
              </a:cxn>
              <a:cxn ang="0">
                <a:pos x="connsiteX23119" y="connsiteY23119"/>
              </a:cxn>
              <a:cxn ang="0">
                <a:pos x="connsiteX23120" y="connsiteY23120"/>
              </a:cxn>
              <a:cxn ang="0">
                <a:pos x="connsiteX23121" y="connsiteY23121"/>
              </a:cxn>
              <a:cxn ang="0">
                <a:pos x="connsiteX23122" y="connsiteY23122"/>
              </a:cxn>
              <a:cxn ang="0">
                <a:pos x="connsiteX23123" y="connsiteY23123"/>
              </a:cxn>
              <a:cxn ang="0">
                <a:pos x="connsiteX23124" y="connsiteY23124"/>
              </a:cxn>
              <a:cxn ang="0">
                <a:pos x="connsiteX23125" y="connsiteY23125"/>
              </a:cxn>
              <a:cxn ang="0">
                <a:pos x="connsiteX23126" y="connsiteY23126"/>
              </a:cxn>
              <a:cxn ang="0">
                <a:pos x="connsiteX23127" y="connsiteY23127"/>
              </a:cxn>
              <a:cxn ang="0">
                <a:pos x="connsiteX23128" y="connsiteY23128"/>
              </a:cxn>
              <a:cxn ang="0">
                <a:pos x="connsiteX23129" y="connsiteY23129"/>
              </a:cxn>
              <a:cxn ang="0">
                <a:pos x="connsiteX23130" y="connsiteY23130"/>
              </a:cxn>
              <a:cxn ang="0">
                <a:pos x="connsiteX23131" y="connsiteY23131"/>
              </a:cxn>
              <a:cxn ang="0">
                <a:pos x="connsiteX23132" y="connsiteY23132"/>
              </a:cxn>
              <a:cxn ang="0">
                <a:pos x="connsiteX23133" y="connsiteY23133"/>
              </a:cxn>
              <a:cxn ang="0">
                <a:pos x="connsiteX23134" y="connsiteY23134"/>
              </a:cxn>
              <a:cxn ang="0">
                <a:pos x="connsiteX23135" y="connsiteY23135"/>
              </a:cxn>
              <a:cxn ang="0">
                <a:pos x="connsiteX23136" y="connsiteY23136"/>
              </a:cxn>
              <a:cxn ang="0">
                <a:pos x="connsiteX23137" y="connsiteY23137"/>
              </a:cxn>
              <a:cxn ang="0">
                <a:pos x="connsiteX23138" y="connsiteY23138"/>
              </a:cxn>
              <a:cxn ang="0">
                <a:pos x="connsiteX23139" y="connsiteY23139"/>
              </a:cxn>
              <a:cxn ang="0">
                <a:pos x="connsiteX23140" y="connsiteY23140"/>
              </a:cxn>
              <a:cxn ang="0">
                <a:pos x="connsiteX23141" y="connsiteY23141"/>
              </a:cxn>
              <a:cxn ang="0">
                <a:pos x="connsiteX23142" y="connsiteY23142"/>
              </a:cxn>
              <a:cxn ang="0">
                <a:pos x="connsiteX23143" y="connsiteY23143"/>
              </a:cxn>
              <a:cxn ang="0">
                <a:pos x="connsiteX23144" y="connsiteY23144"/>
              </a:cxn>
              <a:cxn ang="0">
                <a:pos x="connsiteX23145" y="connsiteY23145"/>
              </a:cxn>
              <a:cxn ang="0">
                <a:pos x="connsiteX23146" y="connsiteY23146"/>
              </a:cxn>
              <a:cxn ang="0">
                <a:pos x="connsiteX23147" y="connsiteY23147"/>
              </a:cxn>
              <a:cxn ang="0">
                <a:pos x="connsiteX23148" y="connsiteY23148"/>
              </a:cxn>
              <a:cxn ang="0">
                <a:pos x="connsiteX23149" y="connsiteY23149"/>
              </a:cxn>
              <a:cxn ang="0">
                <a:pos x="connsiteX23150" y="connsiteY23150"/>
              </a:cxn>
              <a:cxn ang="0">
                <a:pos x="connsiteX23151" y="connsiteY23151"/>
              </a:cxn>
              <a:cxn ang="0">
                <a:pos x="connsiteX23152" y="connsiteY23152"/>
              </a:cxn>
              <a:cxn ang="0">
                <a:pos x="connsiteX23153" y="connsiteY23153"/>
              </a:cxn>
              <a:cxn ang="0">
                <a:pos x="connsiteX23154" y="connsiteY23154"/>
              </a:cxn>
              <a:cxn ang="0">
                <a:pos x="connsiteX23155" y="connsiteY23155"/>
              </a:cxn>
              <a:cxn ang="0">
                <a:pos x="connsiteX23156" y="connsiteY23156"/>
              </a:cxn>
              <a:cxn ang="0">
                <a:pos x="connsiteX23157" y="connsiteY23157"/>
              </a:cxn>
              <a:cxn ang="0">
                <a:pos x="connsiteX23158" y="connsiteY23158"/>
              </a:cxn>
              <a:cxn ang="0">
                <a:pos x="connsiteX23159" y="connsiteY23159"/>
              </a:cxn>
              <a:cxn ang="0">
                <a:pos x="connsiteX23160" y="connsiteY23160"/>
              </a:cxn>
              <a:cxn ang="0">
                <a:pos x="connsiteX23161" y="connsiteY23161"/>
              </a:cxn>
              <a:cxn ang="0">
                <a:pos x="connsiteX23162" y="connsiteY23162"/>
              </a:cxn>
              <a:cxn ang="0">
                <a:pos x="connsiteX23163" y="connsiteY23163"/>
              </a:cxn>
              <a:cxn ang="0">
                <a:pos x="connsiteX23164" y="connsiteY23164"/>
              </a:cxn>
              <a:cxn ang="0">
                <a:pos x="connsiteX23165" y="connsiteY23165"/>
              </a:cxn>
              <a:cxn ang="0">
                <a:pos x="connsiteX23166" y="connsiteY23166"/>
              </a:cxn>
              <a:cxn ang="0">
                <a:pos x="connsiteX23167" y="connsiteY23167"/>
              </a:cxn>
              <a:cxn ang="0">
                <a:pos x="connsiteX23168" y="connsiteY23168"/>
              </a:cxn>
              <a:cxn ang="0">
                <a:pos x="connsiteX23169" y="connsiteY23169"/>
              </a:cxn>
              <a:cxn ang="0">
                <a:pos x="connsiteX23170" y="connsiteY23170"/>
              </a:cxn>
              <a:cxn ang="0">
                <a:pos x="connsiteX23171" y="connsiteY23171"/>
              </a:cxn>
              <a:cxn ang="0">
                <a:pos x="connsiteX23172" y="connsiteY23172"/>
              </a:cxn>
              <a:cxn ang="0">
                <a:pos x="connsiteX23173" y="connsiteY23173"/>
              </a:cxn>
              <a:cxn ang="0">
                <a:pos x="connsiteX23174" y="connsiteY23174"/>
              </a:cxn>
              <a:cxn ang="0">
                <a:pos x="connsiteX23175" y="connsiteY23175"/>
              </a:cxn>
              <a:cxn ang="0">
                <a:pos x="connsiteX23176" y="connsiteY23176"/>
              </a:cxn>
              <a:cxn ang="0">
                <a:pos x="connsiteX23177" y="connsiteY23177"/>
              </a:cxn>
              <a:cxn ang="0">
                <a:pos x="connsiteX23178" y="connsiteY23178"/>
              </a:cxn>
              <a:cxn ang="0">
                <a:pos x="connsiteX23179" y="connsiteY23179"/>
              </a:cxn>
              <a:cxn ang="0">
                <a:pos x="connsiteX23180" y="connsiteY23180"/>
              </a:cxn>
              <a:cxn ang="0">
                <a:pos x="connsiteX23181" y="connsiteY23181"/>
              </a:cxn>
              <a:cxn ang="0">
                <a:pos x="connsiteX23182" y="connsiteY23182"/>
              </a:cxn>
              <a:cxn ang="0">
                <a:pos x="connsiteX23183" y="connsiteY23183"/>
              </a:cxn>
              <a:cxn ang="0">
                <a:pos x="connsiteX23184" y="connsiteY23184"/>
              </a:cxn>
              <a:cxn ang="0">
                <a:pos x="connsiteX23185" y="connsiteY23185"/>
              </a:cxn>
              <a:cxn ang="0">
                <a:pos x="connsiteX23186" y="connsiteY23186"/>
              </a:cxn>
              <a:cxn ang="0">
                <a:pos x="connsiteX23187" y="connsiteY23187"/>
              </a:cxn>
              <a:cxn ang="0">
                <a:pos x="connsiteX23188" y="connsiteY23188"/>
              </a:cxn>
              <a:cxn ang="0">
                <a:pos x="connsiteX23189" y="connsiteY23189"/>
              </a:cxn>
              <a:cxn ang="0">
                <a:pos x="connsiteX23190" y="connsiteY23190"/>
              </a:cxn>
              <a:cxn ang="0">
                <a:pos x="connsiteX23191" y="connsiteY23191"/>
              </a:cxn>
              <a:cxn ang="0">
                <a:pos x="connsiteX23192" y="connsiteY23192"/>
              </a:cxn>
              <a:cxn ang="0">
                <a:pos x="connsiteX23193" y="connsiteY23193"/>
              </a:cxn>
              <a:cxn ang="0">
                <a:pos x="connsiteX23194" y="connsiteY23194"/>
              </a:cxn>
              <a:cxn ang="0">
                <a:pos x="connsiteX23195" y="connsiteY23195"/>
              </a:cxn>
              <a:cxn ang="0">
                <a:pos x="connsiteX23196" y="connsiteY23196"/>
              </a:cxn>
              <a:cxn ang="0">
                <a:pos x="connsiteX23197" y="connsiteY23197"/>
              </a:cxn>
              <a:cxn ang="0">
                <a:pos x="connsiteX23198" y="connsiteY23198"/>
              </a:cxn>
              <a:cxn ang="0">
                <a:pos x="connsiteX23199" y="connsiteY23199"/>
              </a:cxn>
              <a:cxn ang="0">
                <a:pos x="connsiteX23200" y="connsiteY23200"/>
              </a:cxn>
              <a:cxn ang="0">
                <a:pos x="connsiteX23201" y="connsiteY23201"/>
              </a:cxn>
              <a:cxn ang="0">
                <a:pos x="connsiteX23202" y="connsiteY23202"/>
              </a:cxn>
              <a:cxn ang="0">
                <a:pos x="connsiteX23203" y="connsiteY23203"/>
              </a:cxn>
              <a:cxn ang="0">
                <a:pos x="connsiteX23204" y="connsiteY23204"/>
              </a:cxn>
              <a:cxn ang="0">
                <a:pos x="connsiteX23205" y="connsiteY23205"/>
              </a:cxn>
              <a:cxn ang="0">
                <a:pos x="connsiteX23206" y="connsiteY23206"/>
              </a:cxn>
              <a:cxn ang="0">
                <a:pos x="connsiteX23207" y="connsiteY23207"/>
              </a:cxn>
              <a:cxn ang="0">
                <a:pos x="connsiteX23208" y="connsiteY23208"/>
              </a:cxn>
              <a:cxn ang="0">
                <a:pos x="connsiteX23209" y="connsiteY23209"/>
              </a:cxn>
              <a:cxn ang="0">
                <a:pos x="connsiteX23210" y="connsiteY23210"/>
              </a:cxn>
              <a:cxn ang="0">
                <a:pos x="connsiteX23211" y="connsiteY23211"/>
              </a:cxn>
              <a:cxn ang="0">
                <a:pos x="connsiteX23212" y="connsiteY23212"/>
              </a:cxn>
              <a:cxn ang="0">
                <a:pos x="connsiteX23213" y="connsiteY23213"/>
              </a:cxn>
              <a:cxn ang="0">
                <a:pos x="connsiteX23214" y="connsiteY23214"/>
              </a:cxn>
              <a:cxn ang="0">
                <a:pos x="connsiteX23215" y="connsiteY23215"/>
              </a:cxn>
              <a:cxn ang="0">
                <a:pos x="connsiteX23216" y="connsiteY23216"/>
              </a:cxn>
              <a:cxn ang="0">
                <a:pos x="connsiteX23217" y="connsiteY23217"/>
              </a:cxn>
              <a:cxn ang="0">
                <a:pos x="connsiteX23218" y="connsiteY23218"/>
              </a:cxn>
              <a:cxn ang="0">
                <a:pos x="connsiteX23219" y="connsiteY23219"/>
              </a:cxn>
              <a:cxn ang="0">
                <a:pos x="connsiteX23220" y="connsiteY23220"/>
              </a:cxn>
              <a:cxn ang="0">
                <a:pos x="connsiteX23221" y="connsiteY23221"/>
              </a:cxn>
              <a:cxn ang="0">
                <a:pos x="connsiteX23222" y="connsiteY23222"/>
              </a:cxn>
              <a:cxn ang="0">
                <a:pos x="connsiteX23223" y="connsiteY23223"/>
              </a:cxn>
              <a:cxn ang="0">
                <a:pos x="connsiteX23224" y="connsiteY23224"/>
              </a:cxn>
              <a:cxn ang="0">
                <a:pos x="connsiteX23225" y="connsiteY23225"/>
              </a:cxn>
              <a:cxn ang="0">
                <a:pos x="connsiteX23226" y="connsiteY23226"/>
              </a:cxn>
              <a:cxn ang="0">
                <a:pos x="connsiteX23227" y="connsiteY23227"/>
              </a:cxn>
              <a:cxn ang="0">
                <a:pos x="connsiteX23228" y="connsiteY23228"/>
              </a:cxn>
              <a:cxn ang="0">
                <a:pos x="connsiteX23229" y="connsiteY23229"/>
              </a:cxn>
              <a:cxn ang="0">
                <a:pos x="connsiteX23230" y="connsiteY23230"/>
              </a:cxn>
              <a:cxn ang="0">
                <a:pos x="connsiteX23231" y="connsiteY23231"/>
              </a:cxn>
              <a:cxn ang="0">
                <a:pos x="connsiteX23232" y="connsiteY23232"/>
              </a:cxn>
              <a:cxn ang="0">
                <a:pos x="connsiteX23233" y="connsiteY23233"/>
              </a:cxn>
              <a:cxn ang="0">
                <a:pos x="connsiteX23234" y="connsiteY23234"/>
              </a:cxn>
              <a:cxn ang="0">
                <a:pos x="connsiteX23235" y="connsiteY23235"/>
              </a:cxn>
              <a:cxn ang="0">
                <a:pos x="connsiteX23236" y="connsiteY23236"/>
              </a:cxn>
              <a:cxn ang="0">
                <a:pos x="connsiteX23237" y="connsiteY23237"/>
              </a:cxn>
              <a:cxn ang="0">
                <a:pos x="connsiteX23238" y="connsiteY23238"/>
              </a:cxn>
              <a:cxn ang="0">
                <a:pos x="connsiteX23239" y="connsiteY23239"/>
              </a:cxn>
              <a:cxn ang="0">
                <a:pos x="connsiteX23240" y="connsiteY23240"/>
              </a:cxn>
              <a:cxn ang="0">
                <a:pos x="connsiteX23241" y="connsiteY23241"/>
              </a:cxn>
              <a:cxn ang="0">
                <a:pos x="connsiteX23242" y="connsiteY23242"/>
              </a:cxn>
              <a:cxn ang="0">
                <a:pos x="connsiteX23243" y="connsiteY23243"/>
              </a:cxn>
              <a:cxn ang="0">
                <a:pos x="connsiteX23244" y="connsiteY23244"/>
              </a:cxn>
              <a:cxn ang="0">
                <a:pos x="connsiteX23245" y="connsiteY23245"/>
              </a:cxn>
              <a:cxn ang="0">
                <a:pos x="connsiteX23246" y="connsiteY23246"/>
              </a:cxn>
              <a:cxn ang="0">
                <a:pos x="connsiteX23247" y="connsiteY23247"/>
              </a:cxn>
              <a:cxn ang="0">
                <a:pos x="connsiteX23248" y="connsiteY23248"/>
              </a:cxn>
              <a:cxn ang="0">
                <a:pos x="connsiteX23249" y="connsiteY23249"/>
              </a:cxn>
              <a:cxn ang="0">
                <a:pos x="connsiteX23250" y="connsiteY23250"/>
              </a:cxn>
              <a:cxn ang="0">
                <a:pos x="connsiteX23251" y="connsiteY23251"/>
              </a:cxn>
              <a:cxn ang="0">
                <a:pos x="connsiteX23252" y="connsiteY23252"/>
              </a:cxn>
              <a:cxn ang="0">
                <a:pos x="connsiteX23253" y="connsiteY23253"/>
              </a:cxn>
              <a:cxn ang="0">
                <a:pos x="connsiteX23254" y="connsiteY23254"/>
              </a:cxn>
              <a:cxn ang="0">
                <a:pos x="connsiteX23255" y="connsiteY23255"/>
              </a:cxn>
              <a:cxn ang="0">
                <a:pos x="connsiteX23256" y="connsiteY23256"/>
              </a:cxn>
              <a:cxn ang="0">
                <a:pos x="connsiteX23257" y="connsiteY23257"/>
              </a:cxn>
              <a:cxn ang="0">
                <a:pos x="connsiteX23258" y="connsiteY23258"/>
              </a:cxn>
              <a:cxn ang="0">
                <a:pos x="connsiteX23259" y="connsiteY23259"/>
              </a:cxn>
              <a:cxn ang="0">
                <a:pos x="connsiteX23260" y="connsiteY23260"/>
              </a:cxn>
              <a:cxn ang="0">
                <a:pos x="connsiteX23261" y="connsiteY23261"/>
              </a:cxn>
              <a:cxn ang="0">
                <a:pos x="connsiteX23262" y="connsiteY23262"/>
              </a:cxn>
              <a:cxn ang="0">
                <a:pos x="connsiteX23263" y="connsiteY23263"/>
              </a:cxn>
              <a:cxn ang="0">
                <a:pos x="connsiteX23264" y="connsiteY23264"/>
              </a:cxn>
              <a:cxn ang="0">
                <a:pos x="connsiteX23265" y="connsiteY23265"/>
              </a:cxn>
              <a:cxn ang="0">
                <a:pos x="connsiteX23266" y="connsiteY23266"/>
              </a:cxn>
              <a:cxn ang="0">
                <a:pos x="connsiteX23267" y="connsiteY23267"/>
              </a:cxn>
              <a:cxn ang="0">
                <a:pos x="connsiteX23268" y="connsiteY23268"/>
              </a:cxn>
              <a:cxn ang="0">
                <a:pos x="connsiteX23269" y="connsiteY23269"/>
              </a:cxn>
              <a:cxn ang="0">
                <a:pos x="connsiteX23270" y="connsiteY23270"/>
              </a:cxn>
              <a:cxn ang="0">
                <a:pos x="connsiteX23271" y="connsiteY23271"/>
              </a:cxn>
              <a:cxn ang="0">
                <a:pos x="connsiteX23272" y="connsiteY23272"/>
              </a:cxn>
              <a:cxn ang="0">
                <a:pos x="connsiteX23273" y="connsiteY23273"/>
              </a:cxn>
              <a:cxn ang="0">
                <a:pos x="connsiteX23274" y="connsiteY23274"/>
              </a:cxn>
              <a:cxn ang="0">
                <a:pos x="connsiteX23275" y="connsiteY23275"/>
              </a:cxn>
              <a:cxn ang="0">
                <a:pos x="connsiteX23276" y="connsiteY23276"/>
              </a:cxn>
              <a:cxn ang="0">
                <a:pos x="connsiteX23277" y="connsiteY23277"/>
              </a:cxn>
              <a:cxn ang="0">
                <a:pos x="connsiteX23278" y="connsiteY23278"/>
              </a:cxn>
              <a:cxn ang="0">
                <a:pos x="connsiteX23279" y="connsiteY23279"/>
              </a:cxn>
              <a:cxn ang="0">
                <a:pos x="connsiteX23280" y="connsiteY23280"/>
              </a:cxn>
              <a:cxn ang="0">
                <a:pos x="connsiteX23281" y="connsiteY23281"/>
              </a:cxn>
              <a:cxn ang="0">
                <a:pos x="connsiteX23282" y="connsiteY23282"/>
              </a:cxn>
              <a:cxn ang="0">
                <a:pos x="connsiteX23283" y="connsiteY23283"/>
              </a:cxn>
              <a:cxn ang="0">
                <a:pos x="connsiteX23284" y="connsiteY23284"/>
              </a:cxn>
              <a:cxn ang="0">
                <a:pos x="connsiteX23285" y="connsiteY23285"/>
              </a:cxn>
              <a:cxn ang="0">
                <a:pos x="connsiteX23286" y="connsiteY23286"/>
              </a:cxn>
              <a:cxn ang="0">
                <a:pos x="connsiteX23287" y="connsiteY23287"/>
              </a:cxn>
              <a:cxn ang="0">
                <a:pos x="connsiteX23288" y="connsiteY23288"/>
              </a:cxn>
              <a:cxn ang="0">
                <a:pos x="connsiteX23289" y="connsiteY23289"/>
              </a:cxn>
              <a:cxn ang="0">
                <a:pos x="connsiteX23290" y="connsiteY23290"/>
              </a:cxn>
              <a:cxn ang="0">
                <a:pos x="connsiteX23291" y="connsiteY23291"/>
              </a:cxn>
              <a:cxn ang="0">
                <a:pos x="connsiteX23292" y="connsiteY23292"/>
              </a:cxn>
              <a:cxn ang="0">
                <a:pos x="connsiteX23293" y="connsiteY23293"/>
              </a:cxn>
              <a:cxn ang="0">
                <a:pos x="connsiteX23294" y="connsiteY23294"/>
              </a:cxn>
              <a:cxn ang="0">
                <a:pos x="connsiteX23295" y="connsiteY23295"/>
              </a:cxn>
              <a:cxn ang="0">
                <a:pos x="connsiteX23296" y="connsiteY23296"/>
              </a:cxn>
              <a:cxn ang="0">
                <a:pos x="connsiteX23297" y="connsiteY23297"/>
              </a:cxn>
              <a:cxn ang="0">
                <a:pos x="connsiteX23298" y="connsiteY23298"/>
              </a:cxn>
              <a:cxn ang="0">
                <a:pos x="connsiteX23299" y="connsiteY23299"/>
              </a:cxn>
              <a:cxn ang="0">
                <a:pos x="connsiteX23300" y="connsiteY23300"/>
              </a:cxn>
              <a:cxn ang="0">
                <a:pos x="connsiteX23301" y="connsiteY23301"/>
              </a:cxn>
              <a:cxn ang="0">
                <a:pos x="connsiteX23302" y="connsiteY23302"/>
              </a:cxn>
              <a:cxn ang="0">
                <a:pos x="connsiteX23303" y="connsiteY23303"/>
              </a:cxn>
              <a:cxn ang="0">
                <a:pos x="connsiteX23304" y="connsiteY23304"/>
              </a:cxn>
              <a:cxn ang="0">
                <a:pos x="connsiteX23305" y="connsiteY23305"/>
              </a:cxn>
              <a:cxn ang="0">
                <a:pos x="connsiteX23306" y="connsiteY23306"/>
              </a:cxn>
              <a:cxn ang="0">
                <a:pos x="connsiteX23307" y="connsiteY23307"/>
              </a:cxn>
              <a:cxn ang="0">
                <a:pos x="connsiteX23308" y="connsiteY23308"/>
              </a:cxn>
              <a:cxn ang="0">
                <a:pos x="connsiteX23309" y="connsiteY23309"/>
              </a:cxn>
              <a:cxn ang="0">
                <a:pos x="connsiteX23310" y="connsiteY23310"/>
              </a:cxn>
              <a:cxn ang="0">
                <a:pos x="connsiteX23311" y="connsiteY23311"/>
              </a:cxn>
              <a:cxn ang="0">
                <a:pos x="connsiteX23312" y="connsiteY23312"/>
              </a:cxn>
              <a:cxn ang="0">
                <a:pos x="connsiteX23313" y="connsiteY23313"/>
              </a:cxn>
              <a:cxn ang="0">
                <a:pos x="connsiteX23314" y="connsiteY23314"/>
              </a:cxn>
              <a:cxn ang="0">
                <a:pos x="connsiteX23315" y="connsiteY23315"/>
              </a:cxn>
              <a:cxn ang="0">
                <a:pos x="connsiteX23316" y="connsiteY23316"/>
              </a:cxn>
              <a:cxn ang="0">
                <a:pos x="connsiteX23317" y="connsiteY23317"/>
              </a:cxn>
              <a:cxn ang="0">
                <a:pos x="connsiteX23318" y="connsiteY23318"/>
              </a:cxn>
              <a:cxn ang="0">
                <a:pos x="connsiteX23319" y="connsiteY23319"/>
              </a:cxn>
              <a:cxn ang="0">
                <a:pos x="connsiteX23320" y="connsiteY23320"/>
              </a:cxn>
              <a:cxn ang="0">
                <a:pos x="connsiteX23321" y="connsiteY23321"/>
              </a:cxn>
              <a:cxn ang="0">
                <a:pos x="connsiteX23322" y="connsiteY23322"/>
              </a:cxn>
              <a:cxn ang="0">
                <a:pos x="connsiteX23323" y="connsiteY23323"/>
              </a:cxn>
              <a:cxn ang="0">
                <a:pos x="connsiteX23324" y="connsiteY23324"/>
              </a:cxn>
              <a:cxn ang="0">
                <a:pos x="connsiteX23325" y="connsiteY23325"/>
              </a:cxn>
              <a:cxn ang="0">
                <a:pos x="connsiteX23326" y="connsiteY23326"/>
              </a:cxn>
              <a:cxn ang="0">
                <a:pos x="connsiteX23327" y="connsiteY23327"/>
              </a:cxn>
              <a:cxn ang="0">
                <a:pos x="connsiteX23328" y="connsiteY23328"/>
              </a:cxn>
              <a:cxn ang="0">
                <a:pos x="connsiteX23329" y="connsiteY23329"/>
              </a:cxn>
              <a:cxn ang="0">
                <a:pos x="connsiteX23330" y="connsiteY23330"/>
              </a:cxn>
              <a:cxn ang="0">
                <a:pos x="connsiteX23331" y="connsiteY23331"/>
              </a:cxn>
              <a:cxn ang="0">
                <a:pos x="connsiteX23332" y="connsiteY23332"/>
              </a:cxn>
              <a:cxn ang="0">
                <a:pos x="connsiteX23333" y="connsiteY23333"/>
              </a:cxn>
              <a:cxn ang="0">
                <a:pos x="connsiteX23334" y="connsiteY23334"/>
              </a:cxn>
              <a:cxn ang="0">
                <a:pos x="connsiteX23335" y="connsiteY23335"/>
              </a:cxn>
              <a:cxn ang="0">
                <a:pos x="connsiteX23336" y="connsiteY23336"/>
              </a:cxn>
              <a:cxn ang="0">
                <a:pos x="connsiteX23337" y="connsiteY23337"/>
              </a:cxn>
              <a:cxn ang="0">
                <a:pos x="connsiteX23338" y="connsiteY23338"/>
              </a:cxn>
              <a:cxn ang="0">
                <a:pos x="connsiteX23339" y="connsiteY23339"/>
              </a:cxn>
              <a:cxn ang="0">
                <a:pos x="connsiteX23340" y="connsiteY23340"/>
              </a:cxn>
              <a:cxn ang="0">
                <a:pos x="connsiteX23341" y="connsiteY23341"/>
              </a:cxn>
              <a:cxn ang="0">
                <a:pos x="connsiteX23342" y="connsiteY23342"/>
              </a:cxn>
              <a:cxn ang="0">
                <a:pos x="connsiteX23343" y="connsiteY23343"/>
              </a:cxn>
              <a:cxn ang="0">
                <a:pos x="connsiteX23344" y="connsiteY23344"/>
              </a:cxn>
              <a:cxn ang="0">
                <a:pos x="connsiteX23345" y="connsiteY23345"/>
              </a:cxn>
              <a:cxn ang="0">
                <a:pos x="connsiteX23346" y="connsiteY23346"/>
              </a:cxn>
              <a:cxn ang="0">
                <a:pos x="connsiteX23347" y="connsiteY23347"/>
              </a:cxn>
              <a:cxn ang="0">
                <a:pos x="connsiteX23348" y="connsiteY23348"/>
              </a:cxn>
              <a:cxn ang="0">
                <a:pos x="connsiteX23349" y="connsiteY23349"/>
              </a:cxn>
              <a:cxn ang="0">
                <a:pos x="connsiteX23350" y="connsiteY23350"/>
              </a:cxn>
              <a:cxn ang="0">
                <a:pos x="connsiteX23351" y="connsiteY23351"/>
              </a:cxn>
              <a:cxn ang="0">
                <a:pos x="connsiteX23352" y="connsiteY23352"/>
              </a:cxn>
              <a:cxn ang="0">
                <a:pos x="connsiteX23353" y="connsiteY23353"/>
              </a:cxn>
              <a:cxn ang="0">
                <a:pos x="connsiteX23354" y="connsiteY23354"/>
              </a:cxn>
              <a:cxn ang="0">
                <a:pos x="connsiteX23355" y="connsiteY23355"/>
              </a:cxn>
              <a:cxn ang="0">
                <a:pos x="connsiteX23356" y="connsiteY23356"/>
              </a:cxn>
              <a:cxn ang="0">
                <a:pos x="connsiteX23357" y="connsiteY23357"/>
              </a:cxn>
              <a:cxn ang="0">
                <a:pos x="connsiteX23358" y="connsiteY23358"/>
              </a:cxn>
              <a:cxn ang="0">
                <a:pos x="connsiteX23359" y="connsiteY23359"/>
              </a:cxn>
              <a:cxn ang="0">
                <a:pos x="connsiteX23360" y="connsiteY23360"/>
              </a:cxn>
              <a:cxn ang="0">
                <a:pos x="connsiteX23361" y="connsiteY23361"/>
              </a:cxn>
              <a:cxn ang="0">
                <a:pos x="connsiteX23362" y="connsiteY23362"/>
              </a:cxn>
              <a:cxn ang="0">
                <a:pos x="connsiteX23363" y="connsiteY23363"/>
              </a:cxn>
              <a:cxn ang="0">
                <a:pos x="connsiteX23364" y="connsiteY23364"/>
              </a:cxn>
              <a:cxn ang="0">
                <a:pos x="connsiteX23365" y="connsiteY23365"/>
              </a:cxn>
              <a:cxn ang="0">
                <a:pos x="connsiteX23366" y="connsiteY23366"/>
              </a:cxn>
              <a:cxn ang="0">
                <a:pos x="connsiteX23367" y="connsiteY23367"/>
              </a:cxn>
              <a:cxn ang="0">
                <a:pos x="connsiteX23368" y="connsiteY23368"/>
              </a:cxn>
              <a:cxn ang="0">
                <a:pos x="connsiteX23369" y="connsiteY23369"/>
              </a:cxn>
              <a:cxn ang="0">
                <a:pos x="connsiteX23370" y="connsiteY23370"/>
              </a:cxn>
              <a:cxn ang="0">
                <a:pos x="connsiteX23371" y="connsiteY23371"/>
              </a:cxn>
              <a:cxn ang="0">
                <a:pos x="connsiteX23372" y="connsiteY23372"/>
              </a:cxn>
              <a:cxn ang="0">
                <a:pos x="connsiteX23373" y="connsiteY23373"/>
              </a:cxn>
              <a:cxn ang="0">
                <a:pos x="connsiteX23374" y="connsiteY23374"/>
              </a:cxn>
              <a:cxn ang="0">
                <a:pos x="connsiteX23375" y="connsiteY23375"/>
              </a:cxn>
              <a:cxn ang="0">
                <a:pos x="connsiteX23376" y="connsiteY23376"/>
              </a:cxn>
              <a:cxn ang="0">
                <a:pos x="connsiteX23377" y="connsiteY23377"/>
              </a:cxn>
              <a:cxn ang="0">
                <a:pos x="connsiteX23378" y="connsiteY23378"/>
              </a:cxn>
              <a:cxn ang="0">
                <a:pos x="connsiteX23379" y="connsiteY23379"/>
              </a:cxn>
              <a:cxn ang="0">
                <a:pos x="connsiteX23380" y="connsiteY23380"/>
              </a:cxn>
              <a:cxn ang="0">
                <a:pos x="connsiteX23381" y="connsiteY23381"/>
              </a:cxn>
              <a:cxn ang="0">
                <a:pos x="connsiteX23382" y="connsiteY23382"/>
              </a:cxn>
              <a:cxn ang="0">
                <a:pos x="connsiteX23383" y="connsiteY23383"/>
              </a:cxn>
              <a:cxn ang="0">
                <a:pos x="connsiteX23384" y="connsiteY23384"/>
              </a:cxn>
              <a:cxn ang="0">
                <a:pos x="connsiteX23385" y="connsiteY23385"/>
              </a:cxn>
              <a:cxn ang="0">
                <a:pos x="connsiteX23386" y="connsiteY23386"/>
              </a:cxn>
              <a:cxn ang="0">
                <a:pos x="connsiteX23387" y="connsiteY23387"/>
              </a:cxn>
              <a:cxn ang="0">
                <a:pos x="connsiteX23388" y="connsiteY23388"/>
              </a:cxn>
              <a:cxn ang="0">
                <a:pos x="connsiteX23389" y="connsiteY23389"/>
              </a:cxn>
              <a:cxn ang="0">
                <a:pos x="connsiteX23390" y="connsiteY23390"/>
              </a:cxn>
              <a:cxn ang="0">
                <a:pos x="connsiteX23391" y="connsiteY23391"/>
              </a:cxn>
              <a:cxn ang="0">
                <a:pos x="connsiteX23392" y="connsiteY23392"/>
              </a:cxn>
              <a:cxn ang="0">
                <a:pos x="connsiteX23393" y="connsiteY23393"/>
              </a:cxn>
              <a:cxn ang="0">
                <a:pos x="connsiteX23394" y="connsiteY23394"/>
              </a:cxn>
              <a:cxn ang="0">
                <a:pos x="connsiteX23395" y="connsiteY23395"/>
              </a:cxn>
              <a:cxn ang="0">
                <a:pos x="connsiteX23396" y="connsiteY23396"/>
              </a:cxn>
              <a:cxn ang="0">
                <a:pos x="connsiteX23397" y="connsiteY23397"/>
              </a:cxn>
              <a:cxn ang="0">
                <a:pos x="connsiteX23398" y="connsiteY23398"/>
              </a:cxn>
              <a:cxn ang="0">
                <a:pos x="connsiteX23399" y="connsiteY23399"/>
              </a:cxn>
              <a:cxn ang="0">
                <a:pos x="connsiteX23400" y="connsiteY23400"/>
              </a:cxn>
              <a:cxn ang="0">
                <a:pos x="connsiteX23401" y="connsiteY23401"/>
              </a:cxn>
              <a:cxn ang="0">
                <a:pos x="connsiteX23402" y="connsiteY23402"/>
              </a:cxn>
              <a:cxn ang="0">
                <a:pos x="connsiteX23403" y="connsiteY23403"/>
              </a:cxn>
              <a:cxn ang="0">
                <a:pos x="connsiteX23404" y="connsiteY23404"/>
              </a:cxn>
              <a:cxn ang="0">
                <a:pos x="connsiteX23405" y="connsiteY23405"/>
              </a:cxn>
              <a:cxn ang="0">
                <a:pos x="connsiteX23406" y="connsiteY23406"/>
              </a:cxn>
              <a:cxn ang="0">
                <a:pos x="connsiteX23407" y="connsiteY23407"/>
              </a:cxn>
              <a:cxn ang="0">
                <a:pos x="connsiteX23408" y="connsiteY23408"/>
              </a:cxn>
              <a:cxn ang="0">
                <a:pos x="connsiteX23409" y="connsiteY23409"/>
              </a:cxn>
              <a:cxn ang="0">
                <a:pos x="connsiteX23410" y="connsiteY23410"/>
              </a:cxn>
              <a:cxn ang="0">
                <a:pos x="connsiteX23411" y="connsiteY23411"/>
              </a:cxn>
              <a:cxn ang="0">
                <a:pos x="connsiteX23412" y="connsiteY23412"/>
              </a:cxn>
              <a:cxn ang="0">
                <a:pos x="connsiteX23413" y="connsiteY23413"/>
              </a:cxn>
              <a:cxn ang="0">
                <a:pos x="connsiteX23414" y="connsiteY23414"/>
              </a:cxn>
              <a:cxn ang="0">
                <a:pos x="connsiteX23415" y="connsiteY23415"/>
              </a:cxn>
              <a:cxn ang="0">
                <a:pos x="connsiteX23416" y="connsiteY23416"/>
              </a:cxn>
              <a:cxn ang="0">
                <a:pos x="connsiteX23417" y="connsiteY23417"/>
              </a:cxn>
              <a:cxn ang="0">
                <a:pos x="connsiteX23418" y="connsiteY23418"/>
              </a:cxn>
              <a:cxn ang="0">
                <a:pos x="connsiteX23419" y="connsiteY23419"/>
              </a:cxn>
              <a:cxn ang="0">
                <a:pos x="connsiteX23420" y="connsiteY23420"/>
              </a:cxn>
              <a:cxn ang="0">
                <a:pos x="connsiteX23421" y="connsiteY23421"/>
              </a:cxn>
              <a:cxn ang="0">
                <a:pos x="connsiteX23422" y="connsiteY23422"/>
              </a:cxn>
              <a:cxn ang="0">
                <a:pos x="connsiteX23423" y="connsiteY23423"/>
              </a:cxn>
              <a:cxn ang="0">
                <a:pos x="connsiteX23424" y="connsiteY23424"/>
              </a:cxn>
              <a:cxn ang="0">
                <a:pos x="connsiteX23425" y="connsiteY23425"/>
              </a:cxn>
              <a:cxn ang="0">
                <a:pos x="connsiteX23426" y="connsiteY23426"/>
              </a:cxn>
              <a:cxn ang="0">
                <a:pos x="connsiteX23427" y="connsiteY23427"/>
              </a:cxn>
              <a:cxn ang="0">
                <a:pos x="connsiteX23428" y="connsiteY23428"/>
              </a:cxn>
              <a:cxn ang="0">
                <a:pos x="connsiteX23429" y="connsiteY23429"/>
              </a:cxn>
              <a:cxn ang="0">
                <a:pos x="connsiteX23430" y="connsiteY23430"/>
              </a:cxn>
              <a:cxn ang="0">
                <a:pos x="connsiteX23431" y="connsiteY23431"/>
              </a:cxn>
              <a:cxn ang="0">
                <a:pos x="connsiteX23432" y="connsiteY23432"/>
              </a:cxn>
              <a:cxn ang="0">
                <a:pos x="connsiteX23433" y="connsiteY23433"/>
              </a:cxn>
              <a:cxn ang="0">
                <a:pos x="connsiteX23434" y="connsiteY23434"/>
              </a:cxn>
              <a:cxn ang="0">
                <a:pos x="connsiteX23435" y="connsiteY23435"/>
              </a:cxn>
              <a:cxn ang="0">
                <a:pos x="connsiteX23436" y="connsiteY23436"/>
              </a:cxn>
              <a:cxn ang="0">
                <a:pos x="connsiteX23437" y="connsiteY23437"/>
              </a:cxn>
              <a:cxn ang="0">
                <a:pos x="connsiteX23438" y="connsiteY23438"/>
              </a:cxn>
              <a:cxn ang="0">
                <a:pos x="connsiteX23439" y="connsiteY23439"/>
              </a:cxn>
              <a:cxn ang="0">
                <a:pos x="connsiteX23440" y="connsiteY23440"/>
              </a:cxn>
              <a:cxn ang="0">
                <a:pos x="connsiteX23441" y="connsiteY23441"/>
              </a:cxn>
              <a:cxn ang="0">
                <a:pos x="connsiteX23442" y="connsiteY23442"/>
              </a:cxn>
              <a:cxn ang="0">
                <a:pos x="connsiteX23443" y="connsiteY23443"/>
              </a:cxn>
              <a:cxn ang="0">
                <a:pos x="connsiteX23444" y="connsiteY23444"/>
              </a:cxn>
              <a:cxn ang="0">
                <a:pos x="connsiteX23445" y="connsiteY23445"/>
              </a:cxn>
              <a:cxn ang="0">
                <a:pos x="connsiteX23446" y="connsiteY23446"/>
              </a:cxn>
              <a:cxn ang="0">
                <a:pos x="connsiteX23447" y="connsiteY23447"/>
              </a:cxn>
              <a:cxn ang="0">
                <a:pos x="connsiteX23448" y="connsiteY23448"/>
              </a:cxn>
              <a:cxn ang="0">
                <a:pos x="connsiteX23449" y="connsiteY23449"/>
              </a:cxn>
              <a:cxn ang="0">
                <a:pos x="connsiteX23450" y="connsiteY23450"/>
              </a:cxn>
              <a:cxn ang="0">
                <a:pos x="connsiteX23451" y="connsiteY23451"/>
              </a:cxn>
              <a:cxn ang="0">
                <a:pos x="connsiteX23452" y="connsiteY23452"/>
              </a:cxn>
              <a:cxn ang="0">
                <a:pos x="connsiteX23453" y="connsiteY23453"/>
              </a:cxn>
              <a:cxn ang="0">
                <a:pos x="connsiteX23454" y="connsiteY23454"/>
              </a:cxn>
              <a:cxn ang="0">
                <a:pos x="connsiteX23455" y="connsiteY23455"/>
              </a:cxn>
              <a:cxn ang="0">
                <a:pos x="connsiteX23456" y="connsiteY23456"/>
              </a:cxn>
              <a:cxn ang="0">
                <a:pos x="connsiteX23457" y="connsiteY23457"/>
              </a:cxn>
              <a:cxn ang="0">
                <a:pos x="connsiteX23458" y="connsiteY23458"/>
              </a:cxn>
              <a:cxn ang="0">
                <a:pos x="connsiteX23459" y="connsiteY23459"/>
              </a:cxn>
              <a:cxn ang="0">
                <a:pos x="connsiteX23460" y="connsiteY23460"/>
              </a:cxn>
              <a:cxn ang="0">
                <a:pos x="connsiteX23461" y="connsiteY23461"/>
              </a:cxn>
              <a:cxn ang="0">
                <a:pos x="connsiteX23462" y="connsiteY23462"/>
              </a:cxn>
              <a:cxn ang="0">
                <a:pos x="connsiteX23463" y="connsiteY23463"/>
              </a:cxn>
              <a:cxn ang="0">
                <a:pos x="connsiteX23464" y="connsiteY23464"/>
              </a:cxn>
              <a:cxn ang="0">
                <a:pos x="connsiteX23465" y="connsiteY23465"/>
              </a:cxn>
              <a:cxn ang="0">
                <a:pos x="connsiteX23466" y="connsiteY23466"/>
              </a:cxn>
              <a:cxn ang="0">
                <a:pos x="connsiteX23467" y="connsiteY23467"/>
              </a:cxn>
              <a:cxn ang="0">
                <a:pos x="connsiteX23468" y="connsiteY23468"/>
              </a:cxn>
              <a:cxn ang="0">
                <a:pos x="connsiteX23469" y="connsiteY23469"/>
              </a:cxn>
              <a:cxn ang="0">
                <a:pos x="connsiteX23470" y="connsiteY23470"/>
              </a:cxn>
              <a:cxn ang="0">
                <a:pos x="connsiteX23471" y="connsiteY23471"/>
              </a:cxn>
              <a:cxn ang="0">
                <a:pos x="connsiteX23472" y="connsiteY23472"/>
              </a:cxn>
              <a:cxn ang="0">
                <a:pos x="connsiteX23473" y="connsiteY23473"/>
              </a:cxn>
              <a:cxn ang="0">
                <a:pos x="connsiteX23474" y="connsiteY23474"/>
              </a:cxn>
              <a:cxn ang="0">
                <a:pos x="connsiteX23475" y="connsiteY23475"/>
              </a:cxn>
              <a:cxn ang="0">
                <a:pos x="connsiteX23476" y="connsiteY23476"/>
              </a:cxn>
              <a:cxn ang="0">
                <a:pos x="connsiteX23477" y="connsiteY23477"/>
              </a:cxn>
              <a:cxn ang="0">
                <a:pos x="connsiteX23478" y="connsiteY23478"/>
              </a:cxn>
              <a:cxn ang="0">
                <a:pos x="connsiteX23479" y="connsiteY23479"/>
              </a:cxn>
              <a:cxn ang="0">
                <a:pos x="connsiteX23480" y="connsiteY23480"/>
              </a:cxn>
              <a:cxn ang="0">
                <a:pos x="connsiteX23481" y="connsiteY23481"/>
              </a:cxn>
              <a:cxn ang="0">
                <a:pos x="connsiteX23482" y="connsiteY23482"/>
              </a:cxn>
              <a:cxn ang="0">
                <a:pos x="connsiteX23483" y="connsiteY23483"/>
              </a:cxn>
              <a:cxn ang="0">
                <a:pos x="connsiteX23484" y="connsiteY23484"/>
              </a:cxn>
              <a:cxn ang="0">
                <a:pos x="connsiteX23485" y="connsiteY23485"/>
              </a:cxn>
              <a:cxn ang="0">
                <a:pos x="connsiteX23486" y="connsiteY23486"/>
              </a:cxn>
              <a:cxn ang="0">
                <a:pos x="connsiteX23487" y="connsiteY23487"/>
              </a:cxn>
              <a:cxn ang="0">
                <a:pos x="connsiteX23488" y="connsiteY23488"/>
              </a:cxn>
              <a:cxn ang="0">
                <a:pos x="connsiteX23489" y="connsiteY23489"/>
              </a:cxn>
              <a:cxn ang="0">
                <a:pos x="connsiteX23490" y="connsiteY23490"/>
              </a:cxn>
              <a:cxn ang="0">
                <a:pos x="connsiteX23491" y="connsiteY23491"/>
              </a:cxn>
              <a:cxn ang="0">
                <a:pos x="connsiteX23492" y="connsiteY23492"/>
              </a:cxn>
              <a:cxn ang="0">
                <a:pos x="connsiteX23493" y="connsiteY23493"/>
              </a:cxn>
              <a:cxn ang="0">
                <a:pos x="connsiteX23494" y="connsiteY23494"/>
              </a:cxn>
              <a:cxn ang="0">
                <a:pos x="connsiteX23495" y="connsiteY23495"/>
              </a:cxn>
              <a:cxn ang="0">
                <a:pos x="connsiteX23496" y="connsiteY23496"/>
              </a:cxn>
              <a:cxn ang="0">
                <a:pos x="connsiteX23497" y="connsiteY23497"/>
              </a:cxn>
              <a:cxn ang="0">
                <a:pos x="connsiteX23498" y="connsiteY23498"/>
              </a:cxn>
              <a:cxn ang="0">
                <a:pos x="connsiteX23499" y="connsiteY23499"/>
              </a:cxn>
              <a:cxn ang="0">
                <a:pos x="connsiteX23500" y="connsiteY23500"/>
              </a:cxn>
              <a:cxn ang="0">
                <a:pos x="connsiteX23501" y="connsiteY23501"/>
              </a:cxn>
              <a:cxn ang="0">
                <a:pos x="connsiteX23502" y="connsiteY23502"/>
              </a:cxn>
              <a:cxn ang="0">
                <a:pos x="connsiteX23503" y="connsiteY23503"/>
              </a:cxn>
              <a:cxn ang="0">
                <a:pos x="connsiteX23504" y="connsiteY23504"/>
              </a:cxn>
              <a:cxn ang="0">
                <a:pos x="connsiteX23505" y="connsiteY23505"/>
              </a:cxn>
              <a:cxn ang="0">
                <a:pos x="connsiteX23506" y="connsiteY23506"/>
              </a:cxn>
              <a:cxn ang="0">
                <a:pos x="connsiteX23507" y="connsiteY23507"/>
              </a:cxn>
              <a:cxn ang="0">
                <a:pos x="connsiteX23508" y="connsiteY23508"/>
              </a:cxn>
              <a:cxn ang="0">
                <a:pos x="connsiteX23509" y="connsiteY23509"/>
              </a:cxn>
              <a:cxn ang="0">
                <a:pos x="connsiteX23510" y="connsiteY23510"/>
              </a:cxn>
              <a:cxn ang="0">
                <a:pos x="connsiteX23511" y="connsiteY23511"/>
              </a:cxn>
              <a:cxn ang="0">
                <a:pos x="connsiteX23512" y="connsiteY23512"/>
              </a:cxn>
              <a:cxn ang="0">
                <a:pos x="connsiteX23513" y="connsiteY23513"/>
              </a:cxn>
              <a:cxn ang="0">
                <a:pos x="connsiteX23514" y="connsiteY23514"/>
              </a:cxn>
              <a:cxn ang="0">
                <a:pos x="connsiteX23515" y="connsiteY23515"/>
              </a:cxn>
              <a:cxn ang="0">
                <a:pos x="connsiteX23516" y="connsiteY23516"/>
              </a:cxn>
              <a:cxn ang="0">
                <a:pos x="connsiteX23517" y="connsiteY23517"/>
              </a:cxn>
              <a:cxn ang="0">
                <a:pos x="connsiteX23518" y="connsiteY23518"/>
              </a:cxn>
              <a:cxn ang="0">
                <a:pos x="connsiteX23519" y="connsiteY23519"/>
              </a:cxn>
              <a:cxn ang="0">
                <a:pos x="connsiteX23520" y="connsiteY23520"/>
              </a:cxn>
              <a:cxn ang="0">
                <a:pos x="connsiteX23521" y="connsiteY23521"/>
              </a:cxn>
              <a:cxn ang="0">
                <a:pos x="connsiteX23522" y="connsiteY23522"/>
              </a:cxn>
              <a:cxn ang="0">
                <a:pos x="connsiteX23523" y="connsiteY23523"/>
              </a:cxn>
              <a:cxn ang="0">
                <a:pos x="connsiteX23524" y="connsiteY23524"/>
              </a:cxn>
              <a:cxn ang="0">
                <a:pos x="connsiteX23525" y="connsiteY23525"/>
              </a:cxn>
              <a:cxn ang="0">
                <a:pos x="connsiteX23526" y="connsiteY23526"/>
              </a:cxn>
              <a:cxn ang="0">
                <a:pos x="connsiteX23527" y="connsiteY23527"/>
              </a:cxn>
              <a:cxn ang="0">
                <a:pos x="connsiteX23528" y="connsiteY23528"/>
              </a:cxn>
              <a:cxn ang="0">
                <a:pos x="connsiteX23529" y="connsiteY23529"/>
              </a:cxn>
              <a:cxn ang="0">
                <a:pos x="connsiteX23530" y="connsiteY23530"/>
              </a:cxn>
              <a:cxn ang="0">
                <a:pos x="connsiteX23531" y="connsiteY23531"/>
              </a:cxn>
              <a:cxn ang="0">
                <a:pos x="connsiteX23532" y="connsiteY23532"/>
              </a:cxn>
              <a:cxn ang="0">
                <a:pos x="connsiteX23533" y="connsiteY23533"/>
              </a:cxn>
              <a:cxn ang="0">
                <a:pos x="connsiteX23534" y="connsiteY23534"/>
              </a:cxn>
              <a:cxn ang="0">
                <a:pos x="connsiteX23535" y="connsiteY23535"/>
              </a:cxn>
              <a:cxn ang="0">
                <a:pos x="connsiteX23536" y="connsiteY23536"/>
              </a:cxn>
              <a:cxn ang="0">
                <a:pos x="connsiteX23537" y="connsiteY23537"/>
              </a:cxn>
              <a:cxn ang="0">
                <a:pos x="connsiteX23538" y="connsiteY23538"/>
              </a:cxn>
              <a:cxn ang="0">
                <a:pos x="connsiteX23539" y="connsiteY23539"/>
              </a:cxn>
              <a:cxn ang="0">
                <a:pos x="connsiteX23540" y="connsiteY23540"/>
              </a:cxn>
              <a:cxn ang="0">
                <a:pos x="connsiteX23541" y="connsiteY23541"/>
              </a:cxn>
              <a:cxn ang="0">
                <a:pos x="connsiteX23542" y="connsiteY23542"/>
              </a:cxn>
              <a:cxn ang="0">
                <a:pos x="connsiteX23543" y="connsiteY23543"/>
              </a:cxn>
              <a:cxn ang="0">
                <a:pos x="connsiteX23544" y="connsiteY23544"/>
              </a:cxn>
              <a:cxn ang="0">
                <a:pos x="connsiteX23545" y="connsiteY23545"/>
              </a:cxn>
              <a:cxn ang="0">
                <a:pos x="connsiteX23546" y="connsiteY23546"/>
              </a:cxn>
              <a:cxn ang="0">
                <a:pos x="connsiteX23547" y="connsiteY23547"/>
              </a:cxn>
              <a:cxn ang="0">
                <a:pos x="connsiteX23548" y="connsiteY23548"/>
              </a:cxn>
              <a:cxn ang="0">
                <a:pos x="connsiteX23549" y="connsiteY23549"/>
              </a:cxn>
              <a:cxn ang="0">
                <a:pos x="connsiteX23550" y="connsiteY23550"/>
              </a:cxn>
              <a:cxn ang="0">
                <a:pos x="connsiteX23551" y="connsiteY23551"/>
              </a:cxn>
              <a:cxn ang="0">
                <a:pos x="connsiteX23552" y="connsiteY23552"/>
              </a:cxn>
              <a:cxn ang="0">
                <a:pos x="connsiteX23553" y="connsiteY23553"/>
              </a:cxn>
              <a:cxn ang="0">
                <a:pos x="connsiteX23554" y="connsiteY23554"/>
              </a:cxn>
              <a:cxn ang="0">
                <a:pos x="connsiteX23555" y="connsiteY23555"/>
              </a:cxn>
              <a:cxn ang="0">
                <a:pos x="connsiteX23556" y="connsiteY23556"/>
              </a:cxn>
              <a:cxn ang="0">
                <a:pos x="connsiteX23557" y="connsiteY23557"/>
              </a:cxn>
              <a:cxn ang="0">
                <a:pos x="connsiteX23558" y="connsiteY23558"/>
              </a:cxn>
              <a:cxn ang="0">
                <a:pos x="connsiteX23559" y="connsiteY23559"/>
              </a:cxn>
              <a:cxn ang="0">
                <a:pos x="connsiteX23560" y="connsiteY23560"/>
              </a:cxn>
              <a:cxn ang="0">
                <a:pos x="connsiteX23561" y="connsiteY23561"/>
              </a:cxn>
              <a:cxn ang="0">
                <a:pos x="connsiteX23562" y="connsiteY23562"/>
              </a:cxn>
              <a:cxn ang="0">
                <a:pos x="connsiteX23563" y="connsiteY23563"/>
              </a:cxn>
              <a:cxn ang="0">
                <a:pos x="connsiteX23564" y="connsiteY23564"/>
              </a:cxn>
              <a:cxn ang="0">
                <a:pos x="connsiteX23565" y="connsiteY23565"/>
              </a:cxn>
              <a:cxn ang="0">
                <a:pos x="connsiteX23566" y="connsiteY23566"/>
              </a:cxn>
              <a:cxn ang="0">
                <a:pos x="connsiteX23567" y="connsiteY23567"/>
              </a:cxn>
              <a:cxn ang="0">
                <a:pos x="connsiteX23568" y="connsiteY23568"/>
              </a:cxn>
              <a:cxn ang="0">
                <a:pos x="connsiteX23569" y="connsiteY23569"/>
              </a:cxn>
              <a:cxn ang="0">
                <a:pos x="connsiteX23570" y="connsiteY23570"/>
              </a:cxn>
              <a:cxn ang="0">
                <a:pos x="connsiteX23571" y="connsiteY23571"/>
              </a:cxn>
              <a:cxn ang="0">
                <a:pos x="connsiteX23572" y="connsiteY23572"/>
              </a:cxn>
              <a:cxn ang="0">
                <a:pos x="connsiteX23573" y="connsiteY23573"/>
              </a:cxn>
              <a:cxn ang="0">
                <a:pos x="connsiteX23574" y="connsiteY23574"/>
              </a:cxn>
              <a:cxn ang="0">
                <a:pos x="connsiteX23575" y="connsiteY23575"/>
              </a:cxn>
              <a:cxn ang="0">
                <a:pos x="connsiteX23576" y="connsiteY23576"/>
              </a:cxn>
              <a:cxn ang="0">
                <a:pos x="connsiteX23577" y="connsiteY23577"/>
              </a:cxn>
              <a:cxn ang="0">
                <a:pos x="connsiteX23578" y="connsiteY23578"/>
              </a:cxn>
              <a:cxn ang="0">
                <a:pos x="connsiteX23579" y="connsiteY23579"/>
              </a:cxn>
              <a:cxn ang="0">
                <a:pos x="connsiteX23580" y="connsiteY23580"/>
              </a:cxn>
              <a:cxn ang="0">
                <a:pos x="connsiteX23581" y="connsiteY23581"/>
              </a:cxn>
              <a:cxn ang="0">
                <a:pos x="connsiteX23582" y="connsiteY23582"/>
              </a:cxn>
              <a:cxn ang="0">
                <a:pos x="connsiteX23583" y="connsiteY23583"/>
              </a:cxn>
              <a:cxn ang="0">
                <a:pos x="connsiteX23584" y="connsiteY23584"/>
              </a:cxn>
              <a:cxn ang="0">
                <a:pos x="connsiteX23585" y="connsiteY23585"/>
              </a:cxn>
              <a:cxn ang="0">
                <a:pos x="connsiteX23586" y="connsiteY23586"/>
              </a:cxn>
              <a:cxn ang="0">
                <a:pos x="connsiteX23587" y="connsiteY23587"/>
              </a:cxn>
              <a:cxn ang="0">
                <a:pos x="connsiteX23588" y="connsiteY23588"/>
              </a:cxn>
              <a:cxn ang="0">
                <a:pos x="connsiteX23589" y="connsiteY23589"/>
              </a:cxn>
              <a:cxn ang="0">
                <a:pos x="connsiteX23590" y="connsiteY23590"/>
              </a:cxn>
              <a:cxn ang="0">
                <a:pos x="connsiteX23591" y="connsiteY23591"/>
              </a:cxn>
              <a:cxn ang="0">
                <a:pos x="connsiteX23592" y="connsiteY23592"/>
              </a:cxn>
              <a:cxn ang="0">
                <a:pos x="connsiteX23593" y="connsiteY23593"/>
              </a:cxn>
              <a:cxn ang="0">
                <a:pos x="connsiteX23594" y="connsiteY23594"/>
              </a:cxn>
              <a:cxn ang="0">
                <a:pos x="connsiteX23595" y="connsiteY23595"/>
              </a:cxn>
              <a:cxn ang="0">
                <a:pos x="connsiteX23596" y="connsiteY23596"/>
              </a:cxn>
              <a:cxn ang="0">
                <a:pos x="connsiteX23597" y="connsiteY23597"/>
              </a:cxn>
              <a:cxn ang="0">
                <a:pos x="connsiteX23598" y="connsiteY23598"/>
              </a:cxn>
              <a:cxn ang="0">
                <a:pos x="connsiteX23599" y="connsiteY23599"/>
              </a:cxn>
              <a:cxn ang="0">
                <a:pos x="connsiteX23600" y="connsiteY23600"/>
              </a:cxn>
              <a:cxn ang="0">
                <a:pos x="connsiteX23601" y="connsiteY23601"/>
              </a:cxn>
              <a:cxn ang="0">
                <a:pos x="connsiteX23602" y="connsiteY23602"/>
              </a:cxn>
              <a:cxn ang="0">
                <a:pos x="connsiteX23603" y="connsiteY23603"/>
              </a:cxn>
              <a:cxn ang="0">
                <a:pos x="connsiteX23604" y="connsiteY23604"/>
              </a:cxn>
              <a:cxn ang="0">
                <a:pos x="connsiteX23605" y="connsiteY23605"/>
              </a:cxn>
              <a:cxn ang="0">
                <a:pos x="connsiteX23606" y="connsiteY23606"/>
              </a:cxn>
              <a:cxn ang="0">
                <a:pos x="connsiteX23607" y="connsiteY23607"/>
              </a:cxn>
              <a:cxn ang="0">
                <a:pos x="connsiteX23608" y="connsiteY23608"/>
              </a:cxn>
              <a:cxn ang="0">
                <a:pos x="connsiteX23609" y="connsiteY23609"/>
              </a:cxn>
              <a:cxn ang="0">
                <a:pos x="connsiteX23610" y="connsiteY23610"/>
              </a:cxn>
              <a:cxn ang="0">
                <a:pos x="connsiteX23611" y="connsiteY23611"/>
              </a:cxn>
              <a:cxn ang="0">
                <a:pos x="connsiteX23612" y="connsiteY23612"/>
              </a:cxn>
              <a:cxn ang="0">
                <a:pos x="connsiteX23613" y="connsiteY23613"/>
              </a:cxn>
              <a:cxn ang="0">
                <a:pos x="connsiteX23614" y="connsiteY23614"/>
              </a:cxn>
              <a:cxn ang="0">
                <a:pos x="connsiteX23615" y="connsiteY23615"/>
              </a:cxn>
              <a:cxn ang="0">
                <a:pos x="connsiteX23616" y="connsiteY23616"/>
              </a:cxn>
              <a:cxn ang="0">
                <a:pos x="connsiteX23617" y="connsiteY23617"/>
              </a:cxn>
              <a:cxn ang="0">
                <a:pos x="connsiteX23618" y="connsiteY23618"/>
              </a:cxn>
              <a:cxn ang="0">
                <a:pos x="connsiteX23619" y="connsiteY23619"/>
              </a:cxn>
              <a:cxn ang="0">
                <a:pos x="connsiteX23620" y="connsiteY23620"/>
              </a:cxn>
              <a:cxn ang="0">
                <a:pos x="connsiteX23621" y="connsiteY23621"/>
              </a:cxn>
              <a:cxn ang="0">
                <a:pos x="connsiteX23622" y="connsiteY23622"/>
              </a:cxn>
              <a:cxn ang="0">
                <a:pos x="connsiteX23623" y="connsiteY23623"/>
              </a:cxn>
              <a:cxn ang="0">
                <a:pos x="connsiteX23624" y="connsiteY23624"/>
              </a:cxn>
              <a:cxn ang="0">
                <a:pos x="connsiteX23625" y="connsiteY23625"/>
              </a:cxn>
              <a:cxn ang="0">
                <a:pos x="connsiteX23626" y="connsiteY23626"/>
              </a:cxn>
              <a:cxn ang="0">
                <a:pos x="connsiteX23627" y="connsiteY23627"/>
              </a:cxn>
              <a:cxn ang="0">
                <a:pos x="connsiteX23628" y="connsiteY23628"/>
              </a:cxn>
              <a:cxn ang="0">
                <a:pos x="connsiteX23629" y="connsiteY23629"/>
              </a:cxn>
              <a:cxn ang="0">
                <a:pos x="connsiteX23630" y="connsiteY23630"/>
              </a:cxn>
              <a:cxn ang="0">
                <a:pos x="connsiteX23631" y="connsiteY23631"/>
              </a:cxn>
              <a:cxn ang="0">
                <a:pos x="connsiteX23632" y="connsiteY23632"/>
              </a:cxn>
              <a:cxn ang="0">
                <a:pos x="connsiteX23633" y="connsiteY23633"/>
              </a:cxn>
              <a:cxn ang="0">
                <a:pos x="connsiteX23634" y="connsiteY23634"/>
              </a:cxn>
              <a:cxn ang="0">
                <a:pos x="connsiteX23635" y="connsiteY23635"/>
              </a:cxn>
              <a:cxn ang="0">
                <a:pos x="connsiteX23636" y="connsiteY23636"/>
              </a:cxn>
              <a:cxn ang="0">
                <a:pos x="connsiteX23637" y="connsiteY23637"/>
              </a:cxn>
              <a:cxn ang="0">
                <a:pos x="connsiteX23638" y="connsiteY23638"/>
              </a:cxn>
              <a:cxn ang="0">
                <a:pos x="connsiteX23639" y="connsiteY23639"/>
              </a:cxn>
              <a:cxn ang="0">
                <a:pos x="connsiteX23640" y="connsiteY23640"/>
              </a:cxn>
              <a:cxn ang="0">
                <a:pos x="connsiteX23641" y="connsiteY23641"/>
              </a:cxn>
              <a:cxn ang="0">
                <a:pos x="connsiteX23642" y="connsiteY23642"/>
              </a:cxn>
              <a:cxn ang="0">
                <a:pos x="connsiteX23643" y="connsiteY23643"/>
              </a:cxn>
              <a:cxn ang="0">
                <a:pos x="connsiteX23644" y="connsiteY23644"/>
              </a:cxn>
              <a:cxn ang="0">
                <a:pos x="connsiteX23645" y="connsiteY23645"/>
              </a:cxn>
              <a:cxn ang="0">
                <a:pos x="connsiteX23646" y="connsiteY23646"/>
              </a:cxn>
              <a:cxn ang="0">
                <a:pos x="connsiteX23647" y="connsiteY23647"/>
              </a:cxn>
              <a:cxn ang="0">
                <a:pos x="connsiteX23648" y="connsiteY23648"/>
              </a:cxn>
              <a:cxn ang="0">
                <a:pos x="connsiteX23649" y="connsiteY23649"/>
              </a:cxn>
              <a:cxn ang="0">
                <a:pos x="connsiteX23650" y="connsiteY23650"/>
              </a:cxn>
              <a:cxn ang="0">
                <a:pos x="connsiteX23651" y="connsiteY23651"/>
              </a:cxn>
              <a:cxn ang="0">
                <a:pos x="connsiteX23652" y="connsiteY23652"/>
              </a:cxn>
              <a:cxn ang="0">
                <a:pos x="connsiteX23653" y="connsiteY23653"/>
              </a:cxn>
              <a:cxn ang="0">
                <a:pos x="connsiteX23654" y="connsiteY23654"/>
              </a:cxn>
              <a:cxn ang="0">
                <a:pos x="connsiteX23655" y="connsiteY23655"/>
              </a:cxn>
              <a:cxn ang="0">
                <a:pos x="connsiteX23656" y="connsiteY23656"/>
              </a:cxn>
              <a:cxn ang="0">
                <a:pos x="connsiteX23657" y="connsiteY23657"/>
              </a:cxn>
              <a:cxn ang="0">
                <a:pos x="connsiteX23658" y="connsiteY23658"/>
              </a:cxn>
              <a:cxn ang="0">
                <a:pos x="connsiteX23659" y="connsiteY23659"/>
              </a:cxn>
              <a:cxn ang="0">
                <a:pos x="connsiteX23660" y="connsiteY23660"/>
              </a:cxn>
              <a:cxn ang="0">
                <a:pos x="connsiteX23661" y="connsiteY23661"/>
              </a:cxn>
              <a:cxn ang="0">
                <a:pos x="connsiteX23662" y="connsiteY23662"/>
              </a:cxn>
              <a:cxn ang="0">
                <a:pos x="connsiteX23663" y="connsiteY23663"/>
              </a:cxn>
              <a:cxn ang="0">
                <a:pos x="connsiteX23664" y="connsiteY23664"/>
              </a:cxn>
              <a:cxn ang="0">
                <a:pos x="connsiteX23665" y="connsiteY23665"/>
              </a:cxn>
              <a:cxn ang="0">
                <a:pos x="connsiteX23666" y="connsiteY23666"/>
              </a:cxn>
              <a:cxn ang="0">
                <a:pos x="connsiteX23667" y="connsiteY23667"/>
              </a:cxn>
              <a:cxn ang="0">
                <a:pos x="connsiteX23668" y="connsiteY23668"/>
              </a:cxn>
              <a:cxn ang="0">
                <a:pos x="connsiteX23669" y="connsiteY23669"/>
              </a:cxn>
              <a:cxn ang="0">
                <a:pos x="connsiteX23670" y="connsiteY23670"/>
              </a:cxn>
              <a:cxn ang="0">
                <a:pos x="connsiteX23671" y="connsiteY23671"/>
              </a:cxn>
              <a:cxn ang="0">
                <a:pos x="connsiteX23672" y="connsiteY23672"/>
              </a:cxn>
              <a:cxn ang="0">
                <a:pos x="connsiteX23673" y="connsiteY23673"/>
              </a:cxn>
              <a:cxn ang="0">
                <a:pos x="connsiteX23674" y="connsiteY23674"/>
              </a:cxn>
              <a:cxn ang="0">
                <a:pos x="connsiteX23675" y="connsiteY23675"/>
              </a:cxn>
              <a:cxn ang="0">
                <a:pos x="connsiteX23676" y="connsiteY23676"/>
              </a:cxn>
              <a:cxn ang="0">
                <a:pos x="connsiteX23677" y="connsiteY23677"/>
              </a:cxn>
              <a:cxn ang="0">
                <a:pos x="connsiteX23678" y="connsiteY23678"/>
              </a:cxn>
              <a:cxn ang="0">
                <a:pos x="connsiteX23679" y="connsiteY23679"/>
              </a:cxn>
              <a:cxn ang="0">
                <a:pos x="connsiteX23680" y="connsiteY23680"/>
              </a:cxn>
              <a:cxn ang="0">
                <a:pos x="connsiteX23681" y="connsiteY23681"/>
              </a:cxn>
              <a:cxn ang="0">
                <a:pos x="connsiteX23682" y="connsiteY23682"/>
              </a:cxn>
              <a:cxn ang="0">
                <a:pos x="connsiteX23683" y="connsiteY23683"/>
              </a:cxn>
              <a:cxn ang="0">
                <a:pos x="connsiteX23684" y="connsiteY23684"/>
              </a:cxn>
              <a:cxn ang="0">
                <a:pos x="connsiteX23685" y="connsiteY23685"/>
              </a:cxn>
              <a:cxn ang="0">
                <a:pos x="connsiteX23686" y="connsiteY23686"/>
              </a:cxn>
              <a:cxn ang="0">
                <a:pos x="connsiteX23687" y="connsiteY23687"/>
              </a:cxn>
              <a:cxn ang="0">
                <a:pos x="connsiteX23688" y="connsiteY23688"/>
              </a:cxn>
              <a:cxn ang="0">
                <a:pos x="connsiteX23689" y="connsiteY23689"/>
              </a:cxn>
              <a:cxn ang="0">
                <a:pos x="connsiteX23690" y="connsiteY23690"/>
              </a:cxn>
              <a:cxn ang="0">
                <a:pos x="connsiteX23691" y="connsiteY23691"/>
              </a:cxn>
              <a:cxn ang="0">
                <a:pos x="connsiteX23692" y="connsiteY23692"/>
              </a:cxn>
              <a:cxn ang="0">
                <a:pos x="connsiteX23693" y="connsiteY23693"/>
              </a:cxn>
              <a:cxn ang="0">
                <a:pos x="connsiteX23694" y="connsiteY23694"/>
              </a:cxn>
              <a:cxn ang="0">
                <a:pos x="connsiteX23695" y="connsiteY23695"/>
              </a:cxn>
              <a:cxn ang="0">
                <a:pos x="connsiteX23696" y="connsiteY23696"/>
              </a:cxn>
              <a:cxn ang="0">
                <a:pos x="connsiteX23697" y="connsiteY23697"/>
              </a:cxn>
              <a:cxn ang="0">
                <a:pos x="connsiteX23698" y="connsiteY23698"/>
              </a:cxn>
              <a:cxn ang="0">
                <a:pos x="connsiteX23699" y="connsiteY23699"/>
              </a:cxn>
              <a:cxn ang="0">
                <a:pos x="connsiteX23700" y="connsiteY23700"/>
              </a:cxn>
              <a:cxn ang="0">
                <a:pos x="connsiteX23701" y="connsiteY23701"/>
              </a:cxn>
              <a:cxn ang="0">
                <a:pos x="connsiteX23702" y="connsiteY23702"/>
              </a:cxn>
              <a:cxn ang="0">
                <a:pos x="connsiteX23703" y="connsiteY23703"/>
              </a:cxn>
              <a:cxn ang="0">
                <a:pos x="connsiteX23704" y="connsiteY23704"/>
              </a:cxn>
              <a:cxn ang="0">
                <a:pos x="connsiteX23705" y="connsiteY23705"/>
              </a:cxn>
              <a:cxn ang="0">
                <a:pos x="connsiteX23706" y="connsiteY23706"/>
              </a:cxn>
              <a:cxn ang="0">
                <a:pos x="connsiteX23707" y="connsiteY23707"/>
              </a:cxn>
              <a:cxn ang="0">
                <a:pos x="connsiteX23708" y="connsiteY23708"/>
              </a:cxn>
              <a:cxn ang="0">
                <a:pos x="connsiteX23709" y="connsiteY23709"/>
              </a:cxn>
              <a:cxn ang="0">
                <a:pos x="connsiteX23710" y="connsiteY23710"/>
              </a:cxn>
              <a:cxn ang="0">
                <a:pos x="connsiteX23711" y="connsiteY23711"/>
              </a:cxn>
              <a:cxn ang="0">
                <a:pos x="connsiteX23712" y="connsiteY23712"/>
              </a:cxn>
              <a:cxn ang="0">
                <a:pos x="connsiteX23713" y="connsiteY23713"/>
              </a:cxn>
              <a:cxn ang="0">
                <a:pos x="connsiteX23714" y="connsiteY23714"/>
              </a:cxn>
              <a:cxn ang="0">
                <a:pos x="connsiteX23715" y="connsiteY23715"/>
              </a:cxn>
              <a:cxn ang="0">
                <a:pos x="connsiteX23716" y="connsiteY23716"/>
              </a:cxn>
              <a:cxn ang="0">
                <a:pos x="connsiteX23717" y="connsiteY23717"/>
              </a:cxn>
              <a:cxn ang="0">
                <a:pos x="connsiteX23718" y="connsiteY23718"/>
              </a:cxn>
              <a:cxn ang="0">
                <a:pos x="connsiteX23719" y="connsiteY23719"/>
              </a:cxn>
              <a:cxn ang="0">
                <a:pos x="connsiteX23720" y="connsiteY23720"/>
              </a:cxn>
              <a:cxn ang="0">
                <a:pos x="connsiteX23721" y="connsiteY23721"/>
              </a:cxn>
              <a:cxn ang="0">
                <a:pos x="connsiteX23722" y="connsiteY23722"/>
              </a:cxn>
              <a:cxn ang="0">
                <a:pos x="connsiteX23723" y="connsiteY23723"/>
              </a:cxn>
              <a:cxn ang="0">
                <a:pos x="connsiteX23724" y="connsiteY23724"/>
              </a:cxn>
              <a:cxn ang="0">
                <a:pos x="connsiteX23725" y="connsiteY23725"/>
              </a:cxn>
              <a:cxn ang="0">
                <a:pos x="connsiteX23726" y="connsiteY23726"/>
              </a:cxn>
              <a:cxn ang="0">
                <a:pos x="connsiteX23727" y="connsiteY23727"/>
              </a:cxn>
              <a:cxn ang="0">
                <a:pos x="connsiteX23728" y="connsiteY23728"/>
              </a:cxn>
              <a:cxn ang="0">
                <a:pos x="connsiteX23729" y="connsiteY23729"/>
              </a:cxn>
              <a:cxn ang="0">
                <a:pos x="connsiteX23730" y="connsiteY23730"/>
              </a:cxn>
              <a:cxn ang="0">
                <a:pos x="connsiteX23731" y="connsiteY23731"/>
              </a:cxn>
              <a:cxn ang="0">
                <a:pos x="connsiteX23732" y="connsiteY23732"/>
              </a:cxn>
              <a:cxn ang="0">
                <a:pos x="connsiteX23733" y="connsiteY23733"/>
              </a:cxn>
              <a:cxn ang="0">
                <a:pos x="connsiteX23734" y="connsiteY23734"/>
              </a:cxn>
              <a:cxn ang="0">
                <a:pos x="connsiteX23735" y="connsiteY23735"/>
              </a:cxn>
              <a:cxn ang="0">
                <a:pos x="connsiteX23736" y="connsiteY23736"/>
              </a:cxn>
              <a:cxn ang="0">
                <a:pos x="connsiteX23737" y="connsiteY23737"/>
              </a:cxn>
              <a:cxn ang="0">
                <a:pos x="connsiteX23738" y="connsiteY23738"/>
              </a:cxn>
              <a:cxn ang="0">
                <a:pos x="connsiteX23739" y="connsiteY23739"/>
              </a:cxn>
              <a:cxn ang="0">
                <a:pos x="connsiteX23740" y="connsiteY23740"/>
              </a:cxn>
              <a:cxn ang="0">
                <a:pos x="connsiteX23741" y="connsiteY23741"/>
              </a:cxn>
              <a:cxn ang="0">
                <a:pos x="connsiteX23742" y="connsiteY23742"/>
              </a:cxn>
              <a:cxn ang="0">
                <a:pos x="connsiteX23743" y="connsiteY23743"/>
              </a:cxn>
              <a:cxn ang="0">
                <a:pos x="connsiteX23744" y="connsiteY23744"/>
              </a:cxn>
              <a:cxn ang="0">
                <a:pos x="connsiteX23745" y="connsiteY23745"/>
              </a:cxn>
              <a:cxn ang="0">
                <a:pos x="connsiteX23746" y="connsiteY23746"/>
              </a:cxn>
              <a:cxn ang="0">
                <a:pos x="connsiteX23747" y="connsiteY23747"/>
              </a:cxn>
              <a:cxn ang="0">
                <a:pos x="connsiteX23748" y="connsiteY23748"/>
              </a:cxn>
              <a:cxn ang="0">
                <a:pos x="connsiteX23749" y="connsiteY23749"/>
              </a:cxn>
              <a:cxn ang="0">
                <a:pos x="connsiteX23750" y="connsiteY23750"/>
              </a:cxn>
              <a:cxn ang="0">
                <a:pos x="connsiteX23751" y="connsiteY23751"/>
              </a:cxn>
              <a:cxn ang="0">
                <a:pos x="connsiteX23752" y="connsiteY23752"/>
              </a:cxn>
              <a:cxn ang="0">
                <a:pos x="connsiteX23753" y="connsiteY23753"/>
              </a:cxn>
              <a:cxn ang="0">
                <a:pos x="connsiteX23754" y="connsiteY23754"/>
              </a:cxn>
              <a:cxn ang="0">
                <a:pos x="connsiteX23755" y="connsiteY23755"/>
              </a:cxn>
              <a:cxn ang="0">
                <a:pos x="connsiteX23756" y="connsiteY23756"/>
              </a:cxn>
              <a:cxn ang="0">
                <a:pos x="connsiteX23757" y="connsiteY23757"/>
              </a:cxn>
              <a:cxn ang="0">
                <a:pos x="connsiteX23758" y="connsiteY23758"/>
              </a:cxn>
              <a:cxn ang="0">
                <a:pos x="connsiteX23759" y="connsiteY23759"/>
              </a:cxn>
              <a:cxn ang="0">
                <a:pos x="connsiteX23760" y="connsiteY23760"/>
              </a:cxn>
              <a:cxn ang="0">
                <a:pos x="connsiteX23761" y="connsiteY23761"/>
              </a:cxn>
              <a:cxn ang="0">
                <a:pos x="connsiteX23762" y="connsiteY23762"/>
              </a:cxn>
              <a:cxn ang="0">
                <a:pos x="connsiteX23763" y="connsiteY23763"/>
              </a:cxn>
              <a:cxn ang="0">
                <a:pos x="connsiteX23764" y="connsiteY23764"/>
              </a:cxn>
              <a:cxn ang="0">
                <a:pos x="connsiteX23765" y="connsiteY23765"/>
              </a:cxn>
              <a:cxn ang="0">
                <a:pos x="connsiteX23766" y="connsiteY23766"/>
              </a:cxn>
              <a:cxn ang="0">
                <a:pos x="connsiteX23767" y="connsiteY23767"/>
              </a:cxn>
              <a:cxn ang="0">
                <a:pos x="connsiteX23768" y="connsiteY23768"/>
              </a:cxn>
              <a:cxn ang="0">
                <a:pos x="connsiteX23769" y="connsiteY23769"/>
              </a:cxn>
              <a:cxn ang="0">
                <a:pos x="connsiteX23770" y="connsiteY23770"/>
              </a:cxn>
              <a:cxn ang="0">
                <a:pos x="connsiteX23771" y="connsiteY23771"/>
              </a:cxn>
              <a:cxn ang="0">
                <a:pos x="connsiteX23772" y="connsiteY23772"/>
              </a:cxn>
              <a:cxn ang="0">
                <a:pos x="connsiteX23773" y="connsiteY23773"/>
              </a:cxn>
              <a:cxn ang="0">
                <a:pos x="connsiteX23774" y="connsiteY23774"/>
              </a:cxn>
              <a:cxn ang="0">
                <a:pos x="connsiteX23775" y="connsiteY23775"/>
              </a:cxn>
              <a:cxn ang="0">
                <a:pos x="connsiteX23776" y="connsiteY23776"/>
              </a:cxn>
              <a:cxn ang="0">
                <a:pos x="connsiteX23777" y="connsiteY23777"/>
              </a:cxn>
              <a:cxn ang="0">
                <a:pos x="connsiteX23778" y="connsiteY23778"/>
              </a:cxn>
              <a:cxn ang="0">
                <a:pos x="connsiteX23779" y="connsiteY23779"/>
              </a:cxn>
              <a:cxn ang="0">
                <a:pos x="connsiteX23780" y="connsiteY23780"/>
              </a:cxn>
              <a:cxn ang="0">
                <a:pos x="connsiteX23781" y="connsiteY23781"/>
              </a:cxn>
              <a:cxn ang="0">
                <a:pos x="connsiteX23782" y="connsiteY23782"/>
              </a:cxn>
              <a:cxn ang="0">
                <a:pos x="connsiteX23783" y="connsiteY23783"/>
              </a:cxn>
              <a:cxn ang="0">
                <a:pos x="connsiteX23784" y="connsiteY23784"/>
              </a:cxn>
              <a:cxn ang="0">
                <a:pos x="connsiteX23785" y="connsiteY23785"/>
              </a:cxn>
              <a:cxn ang="0">
                <a:pos x="connsiteX23786" y="connsiteY23786"/>
              </a:cxn>
              <a:cxn ang="0">
                <a:pos x="connsiteX23787" y="connsiteY23787"/>
              </a:cxn>
              <a:cxn ang="0">
                <a:pos x="connsiteX23788" y="connsiteY23788"/>
              </a:cxn>
              <a:cxn ang="0">
                <a:pos x="connsiteX23789" y="connsiteY23789"/>
              </a:cxn>
              <a:cxn ang="0">
                <a:pos x="connsiteX23790" y="connsiteY23790"/>
              </a:cxn>
              <a:cxn ang="0">
                <a:pos x="connsiteX23791" y="connsiteY23791"/>
              </a:cxn>
              <a:cxn ang="0">
                <a:pos x="connsiteX23792" y="connsiteY23792"/>
              </a:cxn>
              <a:cxn ang="0">
                <a:pos x="connsiteX23793" y="connsiteY23793"/>
              </a:cxn>
              <a:cxn ang="0">
                <a:pos x="connsiteX23794" y="connsiteY23794"/>
              </a:cxn>
              <a:cxn ang="0">
                <a:pos x="connsiteX23795" y="connsiteY23795"/>
              </a:cxn>
              <a:cxn ang="0">
                <a:pos x="connsiteX23796" y="connsiteY23796"/>
              </a:cxn>
              <a:cxn ang="0">
                <a:pos x="connsiteX23797" y="connsiteY23797"/>
              </a:cxn>
              <a:cxn ang="0">
                <a:pos x="connsiteX23798" y="connsiteY23798"/>
              </a:cxn>
              <a:cxn ang="0">
                <a:pos x="connsiteX23799" y="connsiteY23799"/>
              </a:cxn>
              <a:cxn ang="0">
                <a:pos x="connsiteX23800" y="connsiteY23800"/>
              </a:cxn>
              <a:cxn ang="0">
                <a:pos x="connsiteX23801" y="connsiteY23801"/>
              </a:cxn>
              <a:cxn ang="0">
                <a:pos x="connsiteX23802" y="connsiteY23802"/>
              </a:cxn>
              <a:cxn ang="0">
                <a:pos x="connsiteX23803" y="connsiteY23803"/>
              </a:cxn>
              <a:cxn ang="0">
                <a:pos x="connsiteX23804" y="connsiteY23804"/>
              </a:cxn>
              <a:cxn ang="0">
                <a:pos x="connsiteX23805" y="connsiteY23805"/>
              </a:cxn>
              <a:cxn ang="0">
                <a:pos x="connsiteX23806" y="connsiteY23806"/>
              </a:cxn>
              <a:cxn ang="0">
                <a:pos x="connsiteX23807" y="connsiteY23807"/>
              </a:cxn>
              <a:cxn ang="0">
                <a:pos x="connsiteX23808" y="connsiteY23808"/>
              </a:cxn>
              <a:cxn ang="0">
                <a:pos x="connsiteX23809" y="connsiteY23809"/>
              </a:cxn>
              <a:cxn ang="0">
                <a:pos x="connsiteX23810" y="connsiteY23810"/>
              </a:cxn>
              <a:cxn ang="0">
                <a:pos x="connsiteX23811" y="connsiteY23811"/>
              </a:cxn>
              <a:cxn ang="0">
                <a:pos x="connsiteX23812" y="connsiteY23812"/>
              </a:cxn>
              <a:cxn ang="0">
                <a:pos x="connsiteX23813" y="connsiteY23813"/>
              </a:cxn>
              <a:cxn ang="0">
                <a:pos x="connsiteX23814" y="connsiteY23814"/>
              </a:cxn>
              <a:cxn ang="0">
                <a:pos x="connsiteX23815" y="connsiteY23815"/>
              </a:cxn>
              <a:cxn ang="0">
                <a:pos x="connsiteX23816" y="connsiteY23816"/>
              </a:cxn>
              <a:cxn ang="0">
                <a:pos x="connsiteX23817" y="connsiteY23817"/>
              </a:cxn>
              <a:cxn ang="0">
                <a:pos x="connsiteX23818" y="connsiteY23818"/>
              </a:cxn>
              <a:cxn ang="0">
                <a:pos x="connsiteX23819" y="connsiteY23819"/>
              </a:cxn>
              <a:cxn ang="0">
                <a:pos x="connsiteX23820" y="connsiteY23820"/>
              </a:cxn>
              <a:cxn ang="0">
                <a:pos x="connsiteX23821" y="connsiteY23821"/>
              </a:cxn>
              <a:cxn ang="0">
                <a:pos x="connsiteX23822" y="connsiteY23822"/>
              </a:cxn>
              <a:cxn ang="0">
                <a:pos x="connsiteX23823" y="connsiteY23823"/>
              </a:cxn>
              <a:cxn ang="0">
                <a:pos x="connsiteX23824" y="connsiteY23824"/>
              </a:cxn>
              <a:cxn ang="0">
                <a:pos x="connsiteX23825" y="connsiteY23825"/>
              </a:cxn>
              <a:cxn ang="0">
                <a:pos x="connsiteX23826" y="connsiteY23826"/>
              </a:cxn>
              <a:cxn ang="0">
                <a:pos x="connsiteX23827" y="connsiteY23827"/>
              </a:cxn>
              <a:cxn ang="0">
                <a:pos x="connsiteX23828" y="connsiteY23828"/>
              </a:cxn>
              <a:cxn ang="0">
                <a:pos x="connsiteX23829" y="connsiteY23829"/>
              </a:cxn>
              <a:cxn ang="0">
                <a:pos x="connsiteX23830" y="connsiteY23830"/>
              </a:cxn>
              <a:cxn ang="0">
                <a:pos x="connsiteX23831" y="connsiteY23831"/>
              </a:cxn>
              <a:cxn ang="0">
                <a:pos x="connsiteX23832" y="connsiteY23832"/>
              </a:cxn>
              <a:cxn ang="0">
                <a:pos x="connsiteX23833" y="connsiteY23833"/>
              </a:cxn>
              <a:cxn ang="0">
                <a:pos x="connsiteX23834" y="connsiteY23834"/>
              </a:cxn>
              <a:cxn ang="0">
                <a:pos x="connsiteX23835" y="connsiteY23835"/>
              </a:cxn>
              <a:cxn ang="0">
                <a:pos x="connsiteX23836" y="connsiteY23836"/>
              </a:cxn>
              <a:cxn ang="0">
                <a:pos x="connsiteX23837" y="connsiteY23837"/>
              </a:cxn>
              <a:cxn ang="0">
                <a:pos x="connsiteX23838" y="connsiteY23838"/>
              </a:cxn>
              <a:cxn ang="0">
                <a:pos x="connsiteX23839" y="connsiteY23839"/>
              </a:cxn>
              <a:cxn ang="0">
                <a:pos x="connsiteX23840" y="connsiteY23840"/>
              </a:cxn>
              <a:cxn ang="0">
                <a:pos x="connsiteX23841" y="connsiteY23841"/>
              </a:cxn>
              <a:cxn ang="0">
                <a:pos x="connsiteX23842" y="connsiteY23842"/>
              </a:cxn>
              <a:cxn ang="0">
                <a:pos x="connsiteX23843" y="connsiteY23843"/>
              </a:cxn>
              <a:cxn ang="0">
                <a:pos x="connsiteX23844" y="connsiteY23844"/>
              </a:cxn>
              <a:cxn ang="0">
                <a:pos x="connsiteX23845" y="connsiteY23845"/>
              </a:cxn>
              <a:cxn ang="0">
                <a:pos x="connsiteX23846" y="connsiteY23846"/>
              </a:cxn>
              <a:cxn ang="0">
                <a:pos x="connsiteX23847" y="connsiteY23847"/>
              </a:cxn>
              <a:cxn ang="0">
                <a:pos x="connsiteX23848" y="connsiteY23848"/>
              </a:cxn>
              <a:cxn ang="0">
                <a:pos x="connsiteX23849" y="connsiteY23849"/>
              </a:cxn>
              <a:cxn ang="0">
                <a:pos x="connsiteX23850" y="connsiteY23850"/>
              </a:cxn>
              <a:cxn ang="0">
                <a:pos x="connsiteX23851" y="connsiteY23851"/>
              </a:cxn>
              <a:cxn ang="0">
                <a:pos x="connsiteX23852" y="connsiteY23852"/>
              </a:cxn>
              <a:cxn ang="0">
                <a:pos x="connsiteX23853" y="connsiteY23853"/>
              </a:cxn>
              <a:cxn ang="0">
                <a:pos x="connsiteX23854" y="connsiteY23854"/>
              </a:cxn>
              <a:cxn ang="0">
                <a:pos x="connsiteX23855" y="connsiteY23855"/>
              </a:cxn>
              <a:cxn ang="0">
                <a:pos x="connsiteX23856" y="connsiteY23856"/>
              </a:cxn>
              <a:cxn ang="0">
                <a:pos x="connsiteX23857" y="connsiteY23857"/>
              </a:cxn>
              <a:cxn ang="0">
                <a:pos x="connsiteX23858" y="connsiteY23858"/>
              </a:cxn>
              <a:cxn ang="0">
                <a:pos x="connsiteX23859" y="connsiteY23859"/>
              </a:cxn>
              <a:cxn ang="0">
                <a:pos x="connsiteX23860" y="connsiteY23860"/>
              </a:cxn>
              <a:cxn ang="0">
                <a:pos x="connsiteX23861" y="connsiteY23861"/>
              </a:cxn>
              <a:cxn ang="0">
                <a:pos x="connsiteX23862" y="connsiteY23862"/>
              </a:cxn>
              <a:cxn ang="0">
                <a:pos x="connsiteX23863" y="connsiteY23863"/>
              </a:cxn>
              <a:cxn ang="0">
                <a:pos x="connsiteX23864" y="connsiteY23864"/>
              </a:cxn>
              <a:cxn ang="0">
                <a:pos x="connsiteX23865" y="connsiteY23865"/>
              </a:cxn>
              <a:cxn ang="0">
                <a:pos x="connsiteX23866" y="connsiteY23866"/>
              </a:cxn>
              <a:cxn ang="0">
                <a:pos x="connsiteX23867" y="connsiteY23867"/>
              </a:cxn>
              <a:cxn ang="0">
                <a:pos x="connsiteX23868" y="connsiteY23868"/>
              </a:cxn>
              <a:cxn ang="0">
                <a:pos x="connsiteX23869" y="connsiteY23869"/>
              </a:cxn>
              <a:cxn ang="0">
                <a:pos x="connsiteX23870" y="connsiteY23870"/>
              </a:cxn>
              <a:cxn ang="0">
                <a:pos x="connsiteX23871" y="connsiteY23871"/>
              </a:cxn>
              <a:cxn ang="0">
                <a:pos x="connsiteX23872" y="connsiteY23872"/>
              </a:cxn>
              <a:cxn ang="0">
                <a:pos x="connsiteX23873" y="connsiteY23873"/>
              </a:cxn>
              <a:cxn ang="0">
                <a:pos x="connsiteX23874" y="connsiteY23874"/>
              </a:cxn>
              <a:cxn ang="0">
                <a:pos x="connsiteX23875" y="connsiteY23875"/>
              </a:cxn>
              <a:cxn ang="0">
                <a:pos x="connsiteX23876" y="connsiteY23876"/>
              </a:cxn>
              <a:cxn ang="0">
                <a:pos x="connsiteX23877" y="connsiteY23877"/>
              </a:cxn>
              <a:cxn ang="0">
                <a:pos x="connsiteX23878" y="connsiteY23878"/>
              </a:cxn>
              <a:cxn ang="0">
                <a:pos x="connsiteX23879" y="connsiteY23879"/>
              </a:cxn>
              <a:cxn ang="0">
                <a:pos x="connsiteX23880" y="connsiteY23880"/>
              </a:cxn>
              <a:cxn ang="0">
                <a:pos x="connsiteX23881" y="connsiteY23881"/>
              </a:cxn>
              <a:cxn ang="0">
                <a:pos x="connsiteX23882" y="connsiteY23882"/>
              </a:cxn>
              <a:cxn ang="0">
                <a:pos x="connsiteX23883" y="connsiteY23883"/>
              </a:cxn>
              <a:cxn ang="0">
                <a:pos x="connsiteX23884" y="connsiteY23884"/>
              </a:cxn>
              <a:cxn ang="0">
                <a:pos x="connsiteX23885" y="connsiteY23885"/>
              </a:cxn>
              <a:cxn ang="0">
                <a:pos x="connsiteX23886" y="connsiteY23886"/>
              </a:cxn>
              <a:cxn ang="0">
                <a:pos x="connsiteX23887" y="connsiteY23887"/>
              </a:cxn>
              <a:cxn ang="0">
                <a:pos x="connsiteX23888" y="connsiteY23888"/>
              </a:cxn>
              <a:cxn ang="0">
                <a:pos x="connsiteX23889" y="connsiteY23889"/>
              </a:cxn>
              <a:cxn ang="0">
                <a:pos x="connsiteX23890" y="connsiteY23890"/>
              </a:cxn>
              <a:cxn ang="0">
                <a:pos x="connsiteX23891" y="connsiteY23891"/>
              </a:cxn>
              <a:cxn ang="0">
                <a:pos x="connsiteX23892" y="connsiteY23892"/>
              </a:cxn>
              <a:cxn ang="0">
                <a:pos x="connsiteX23893" y="connsiteY23893"/>
              </a:cxn>
              <a:cxn ang="0">
                <a:pos x="connsiteX23894" y="connsiteY23894"/>
              </a:cxn>
              <a:cxn ang="0">
                <a:pos x="connsiteX23895" y="connsiteY23895"/>
              </a:cxn>
              <a:cxn ang="0">
                <a:pos x="connsiteX23896" y="connsiteY23896"/>
              </a:cxn>
              <a:cxn ang="0">
                <a:pos x="connsiteX23897" y="connsiteY23897"/>
              </a:cxn>
              <a:cxn ang="0">
                <a:pos x="connsiteX23898" y="connsiteY23898"/>
              </a:cxn>
              <a:cxn ang="0">
                <a:pos x="connsiteX23899" y="connsiteY23899"/>
              </a:cxn>
              <a:cxn ang="0">
                <a:pos x="connsiteX23900" y="connsiteY23900"/>
              </a:cxn>
              <a:cxn ang="0">
                <a:pos x="connsiteX23901" y="connsiteY23901"/>
              </a:cxn>
              <a:cxn ang="0">
                <a:pos x="connsiteX23902" y="connsiteY23902"/>
              </a:cxn>
              <a:cxn ang="0">
                <a:pos x="connsiteX23903" y="connsiteY23903"/>
              </a:cxn>
              <a:cxn ang="0">
                <a:pos x="connsiteX23904" y="connsiteY23904"/>
              </a:cxn>
              <a:cxn ang="0">
                <a:pos x="connsiteX23905" y="connsiteY23905"/>
              </a:cxn>
              <a:cxn ang="0">
                <a:pos x="connsiteX23906" y="connsiteY23906"/>
              </a:cxn>
              <a:cxn ang="0">
                <a:pos x="connsiteX23907" y="connsiteY23907"/>
              </a:cxn>
              <a:cxn ang="0">
                <a:pos x="connsiteX23908" y="connsiteY23908"/>
              </a:cxn>
              <a:cxn ang="0">
                <a:pos x="connsiteX23909" y="connsiteY23909"/>
              </a:cxn>
              <a:cxn ang="0">
                <a:pos x="connsiteX23910" y="connsiteY23910"/>
              </a:cxn>
              <a:cxn ang="0">
                <a:pos x="connsiteX23911" y="connsiteY23911"/>
              </a:cxn>
              <a:cxn ang="0">
                <a:pos x="connsiteX23912" y="connsiteY23912"/>
              </a:cxn>
              <a:cxn ang="0">
                <a:pos x="connsiteX23913" y="connsiteY23913"/>
              </a:cxn>
              <a:cxn ang="0">
                <a:pos x="connsiteX23914" y="connsiteY23914"/>
              </a:cxn>
              <a:cxn ang="0">
                <a:pos x="connsiteX23915" y="connsiteY23915"/>
              </a:cxn>
              <a:cxn ang="0">
                <a:pos x="connsiteX23916" y="connsiteY23916"/>
              </a:cxn>
              <a:cxn ang="0">
                <a:pos x="connsiteX23917" y="connsiteY23917"/>
              </a:cxn>
              <a:cxn ang="0">
                <a:pos x="connsiteX23918" y="connsiteY23918"/>
              </a:cxn>
              <a:cxn ang="0">
                <a:pos x="connsiteX23919" y="connsiteY23919"/>
              </a:cxn>
              <a:cxn ang="0">
                <a:pos x="connsiteX23920" y="connsiteY23920"/>
              </a:cxn>
              <a:cxn ang="0">
                <a:pos x="connsiteX23921" y="connsiteY23921"/>
              </a:cxn>
              <a:cxn ang="0">
                <a:pos x="connsiteX23922" y="connsiteY23922"/>
              </a:cxn>
              <a:cxn ang="0">
                <a:pos x="connsiteX23923" y="connsiteY23923"/>
              </a:cxn>
              <a:cxn ang="0">
                <a:pos x="connsiteX23924" y="connsiteY23924"/>
              </a:cxn>
              <a:cxn ang="0">
                <a:pos x="connsiteX23925" y="connsiteY23925"/>
              </a:cxn>
              <a:cxn ang="0">
                <a:pos x="connsiteX23926" y="connsiteY23926"/>
              </a:cxn>
              <a:cxn ang="0">
                <a:pos x="connsiteX23927" y="connsiteY23927"/>
              </a:cxn>
              <a:cxn ang="0">
                <a:pos x="connsiteX23928" y="connsiteY23928"/>
              </a:cxn>
              <a:cxn ang="0">
                <a:pos x="connsiteX23929" y="connsiteY23929"/>
              </a:cxn>
              <a:cxn ang="0">
                <a:pos x="connsiteX23930" y="connsiteY23930"/>
              </a:cxn>
              <a:cxn ang="0">
                <a:pos x="connsiteX23931" y="connsiteY23931"/>
              </a:cxn>
              <a:cxn ang="0">
                <a:pos x="connsiteX23932" y="connsiteY23932"/>
              </a:cxn>
              <a:cxn ang="0">
                <a:pos x="connsiteX23933" y="connsiteY23933"/>
              </a:cxn>
              <a:cxn ang="0">
                <a:pos x="connsiteX23934" y="connsiteY23934"/>
              </a:cxn>
              <a:cxn ang="0">
                <a:pos x="connsiteX23935" y="connsiteY23935"/>
              </a:cxn>
              <a:cxn ang="0">
                <a:pos x="connsiteX23936" y="connsiteY23936"/>
              </a:cxn>
              <a:cxn ang="0">
                <a:pos x="connsiteX23937" y="connsiteY23937"/>
              </a:cxn>
              <a:cxn ang="0">
                <a:pos x="connsiteX23938" y="connsiteY23938"/>
              </a:cxn>
              <a:cxn ang="0">
                <a:pos x="connsiteX23939" y="connsiteY23939"/>
              </a:cxn>
              <a:cxn ang="0">
                <a:pos x="connsiteX23940" y="connsiteY23940"/>
              </a:cxn>
              <a:cxn ang="0">
                <a:pos x="connsiteX23941" y="connsiteY23941"/>
              </a:cxn>
              <a:cxn ang="0">
                <a:pos x="connsiteX23942" y="connsiteY23942"/>
              </a:cxn>
              <a:cxn ang="0">
                <a:pos x="connsiteX23943" y="connsiteY23943"/>
              </a:cxn>
              <a:cxn ang="0">
                <a:pos x="connsiteX23944" y="connsiteY23944"/>
              </a:cxn>
              <a:cxn ang="0">
                <a:pos x="connsiteX23945" y="connsiteY23945"/>
              </a:cxn>
              <a:cxn ang="0">
                <a:pos x="connsiteX23946" y="connsiteY23946"/>
              </a:cxn>
              <a:cxn ang="0">
                <a:pos x="connsiteX23947" y="connsiteY23947"/>
              </a:cxn>
              <a:cxn ang="0">
                <a:pos x="connsiteX23948" y="connsiteY23948"/>
              </a:cxn>
              <a:cxn ang="0">
                <a:pos x="connsiteX23949" y="connsiteY23949"/>
              </a:cxn>
              <a:cxn ang="0">
                <a:pos x="connsiteX23950" y="connsiteY23950"/>
              </a:cxn>
              <a:cxn ang="0">
                <a:pos x="connsiteX23951" y="connsiteY23951"/>
              </a:cxn>
              <a:cxn ang="0">
                <a:pos x="connsiteX23952" y="connsiteY23952"/>
              </a:cxn>
              <a:cxn ang="0">
                <a:pos x="connsiteX23953" y="connsiteY23953"/>
              </a:cxn>
              <a:cxn ang="0">
                <a:pos x="connsiteX23954" y="connsiteY23954"/>
              </a:cxn>
              <a:cxn ang="0">
                <a:pos x="connsiteX23955" y="connsiteY23955"/>
              </a:cxn>
              <a:cxn ang="0">
                <a:pos x="connsiteX23956" y="connsiteY23956"/>
              </a:cxn>
              <a:cxn ang="0">
                <a:pos x="connsiteX23957" y="connsiteY23957"/>
              </a:cxn>
              <a:cxn ang="0">
                <a:pos x="connsiteX23958" y="connsiteY23958"/>
              </a:cxn>
              <a:cxn ang="0">
                <a:pos x="connsiteX23959" y="connsiteY23959"/>
              </a:cxn>
              <a:cxn ang="0">
                <a:pos x="connsiteX23960" y="connsiteY23960"/>
              </a:cxn>
              <a:cxn ang="0">
                <a:pos x="connsiteX23961" y="connsiteY23961"/>
              </a:cxn>
              <a:cxn ang="0">
                <a:pos x="connsiteX23962" y="connsiteY23962"/>
              </a:cxn>
              <a:cxn ang="0">
                <a:pos x="connsiteX23963" y="connsiteY23963"/>
              </a:cxn>
              <a:cxn ang="0">
                <a:pos x="connsiteX23964" y="connsiteY23964"/>
              </a:cxn>
              <a:cxn ang="0">
                <a:pos x="connsiteX23965" y="connsiteY23965"/>
              </a:cxn>
              <a:cxn ang="0">
                <a:pos x="connsiteX23966" y="connsiteY23966"/>
              </a:cxn>
              <a:cxn ang="0">
                <a:pos x="connsiteX23967" y="connsiteY23967"/>
              </a:cxn>
              <a:cxn ang="0">
                <a:pos x="connsiteX23968" y="connsiteY23968"/>
              </a:cxn>
              <a:cxn ang="0">
                <a:pos x="connsiteX23969" y="connsiteY23969"/>
              </a:cxn>
              <a:cxn ang="0">
                <a:pos x="connsiteX23970" y="connsiteY23970"/>
              </a:cxn>
              <a:cxn ang="0">
                <a:pos x="connsiteX23971" y="connsiteY23971"/>
              </a:cxn>
              <a:cxn ang="0">
                <a:pos x="connsiteX23972" y="connsiteY23972"/>
              </a:cxn>
              <a:cxn ang="0">
                <a:pos x="connsiteX23973" y="connsiteY23973"/>
              </a:cxn>
              <a:cxn ang="0">
                <a:pos x="connsiteX23974" y="connsiteY23974"/>
              </a:cxn>
              <a:cxn ang="0">
                <a:pos x="connsiteX23975" y="connsiteY23975"/>
              </a:cxn>
              <a:cxn ang="0">
                <a:pos x="connsiteX23976" y="connsiteY23976"/>
              </a:cxn>
              <a:cxn ang="0">
                <a:pos x="connsiteX23977" y="connsiteY23977"/>
              </a:cxn>
              <a:cxn ang="0">
                <a:pos x="connsiteX23978" y="connsiteY23978"/>
              </a:cxn>
              <a:cxn ang="0">
                <a:pos x="connsiteX23979" y="connsiteY23979"/>
              </a:cxn>
              <a:cxn ang="0">
                <a:pos x="connsiteX23980" y="connsiteY23980"/>
              </a:cxn>
              <a:cxn ang="0">
                <a:pos x="connsiteX23981" y="connsiteY23981"/>
              </a:cxn>
              <a:cxn ang="0">
                <a:pos x="connsiteX23982" y="connsiteY23982"/>
              </a:cxn>
              <a:cxn ang="0">
                <a:pos x="connsiteX23983" y="connsiteY23983"/>
              </a:cxn>
              <a:cxn ang="0">
                <a:pos x="connsiteX23984" y="connsiteY23984"/>
              </a:cxn>
              <a:cxn ang="0">
                <a:pos x="connsiteX23985" y="connsiteY23985"/>
              </a:cxn>
              <a:cxn ang="0">
                <a:pos x="connsiteX23986" y="connsiteY23986"/>
              </a:cxn>
              <a:cxn ang="0">
                <a:pos x="connsiteX23987" y="connsiteY23987"/>
              </a:cxn>
              <a:cxn ang="0">
                <a:pos x="connsiteX23988" y="connsiteY23988"/>
              </a:cxn>
              <a:cxn ang="0">
                <a:pos x="connsiteX23989" y="connsiteY23989"/>
              </a:cxn>
              <a:cxn ang="0">
                <a:pos x="connsiteX23990" y="connsiteY23990"/>
              </a:cxn>
              <a:cxn ang="0">
                <a:pos x="connsiteX23991" y="connsiteY23991"/>
              </a:cxn>
              <a:cxn ang="0">
                <a:pos x="connsiteX23992" y="connsiteY23992"/>
              </a:cxn>
              <a:cxn ang="0">
                <a:pos x="connsiteX23993" y="connsiteY23993"/>
              </a:cxn>
              <a:cxn ang="0">
                <a:pos x="connsiteX23994" y="connsiteY23994"/>
              </a:cxn>
              <a:cxn ang="0">
                <a:pos x="connsiteX23995" y="connsiteY23995"/>
              </a:cxn>
              <a:cxn ang="0">
                <a:pos x="connsiteX23996" y="connsiteY23996"/>
              </a:cxn>
              <a:cxn ang="0">
                <a:pos x="connsiteX23997" y="connsiteY23997"/>
              </a:cxn>
              <a:cxn ang="0">
                <a:pos x="connsiteX23998" y="connsiteY23998"/>
              </a:cxn>
              <a:cxn ang="0">
                <a:pos x="connsiteX23999" y="connsiteY23999"/>
              </a:cxn>
              <a:cxn ang="0">
                <a:pos x="connsiteX24000" y="connsiteY24000"/>
              </a:cxn>
              <a:cxn ang="0">
                <a:pos x="connsiteX24001" y="connsiteY24001"/>
              </a:cxn>
              <a:cxn ang="0">
                <a:pos x="connsiteX24002" y="connsiteY24002"/>
              </a:cxn>
              <a:cxn ang="0">
                <a:pos x="connsiteX24003" y="connsiteY24003"/>
              </a:cxn>
              <a:cxn ang="0">
                <a:pos x="connsiteX24004" y="connsiteY24004"/>
              </a:cxn>
              <a:cxn ang="0">
                <a:pos x="connsiteX24005" y="connsiteY24005"/>
              </a:cxn>
              <a:cxn ang="0">
                <a:pos x="connsiteX24006" y="connsiteY24006"/>
              </a:cxn>
              <a:cxn ang="0">
                <a:pos x="connsiteX24007" y="connsiteY24007"/>
              </a:cxn>
              <a:cxn ang="0">
                <a:pos x="connsiteX24008" y="connsiteY24008"/>
              </a:cxn>
              <a:cxn ang="0">
                <a:pos x="connsiteX24009" y="connsiteY24009"/>
              </a:cxn>
              <a:cxn ang="0">
                <a:pos x="connsiteX24010" y="connsiteY24010"/>
              </a:cxn>
              <a:cxn ang="0">
                <a:pos x="connsiteX24011" y="connsiteY24011"/>
              </a:cxn>
              <a:cxn ang="0">
                <a:pos x="connsiteX24012" y="connsiteY24012"/>
              </a:cxn>
              <a:cxn ang="0">
                <a:pos x="connsiteX24013" y="connsiteY24013"/>
              </a:cxn>
              <a:cxn ang="0">
                <a:pos x="connsiteX24014" y="connsiteY24014"/>
              </a:cxn>
              <a:cxn ang="0">
                <a:pos x="connsiteX24015" y="connsiteY24015"/>
              </a:cxn>
              <a:cxn ang="0">
                <a:pos x="connsiteX24016" y="connsiteY24016"/>
              </a:cxn>
              <a:cxn ang="0">
                <a:pos x="connsiteX24017" y="connsiteY24017"/>
              </a:cxn>
              <a:cxn ang="0">
                <a:pos x="connsiteX24018" y="connsiteY24018"/>
              </a:cxn>
              <a:cxn ang="0">
                <a:pos x="connsiteX24019" y="connsiteY24019"/>
              </a:cxn>
              <a:cxn ang="0">
                <a:pos x="connsiteX24020" y="connsiteY24020"/>
              </a:cxn>
              <a:cxn ang="0">
                <a:pos x="connsiteX24021" y="connsiteY24021"/>
              </a:cxn>
              <a:cxn ang="0">
                <a:pos x="connsiteX24022" y="connsiteY24022"/>
              </a:cxn>
              <a:cxn ang="0">
                <a:pos x="connsiteX24023" y="connsiteY24023"/>
              </a:cxn>
              <a:cxn ang="0">
                <a:pos x="connsiteX24024" y="connsiteY24024"/>
              </a:cxn>
              <a:cxn ang="0">
                <a:pos x="connsiteX24025" y="connsiteY24025"/>
              </a:cxn>
              <a:cxn ang="0">
                <a:pos x="connsiteX24026" y="connsiteY24026"/>
              </a:cxn>
              <a:cxn ang="0">
                <a:pos x="connsiteX24027" y="connsiteY24027"/>
              </a:cxn>
              <a:cxn ang="0">
                <a:pos x="connsiteX24028" y="connsiteY24028"/>
              </a:cxn>
              <a:cxn ang="0">
                <a:pos x="connsiteX24029" y="connsiteY24029"/>
              </a:cxn>
              <a:cxn ang="0">
                <a:pos x="connsiteX24030" y="connsiteY24030"/>
              </a:cxn>
              <a:cxn ang="0">
                <a:pos x="connsiteX24031" y="connsiteY24031"/>
              </a:cxn>
              <a:cxn ang="0">
                <a:pos x="connsiteX24032" y="connsiteY24032"/>
              </a:cxn>
              <a:cxn ang="0">
                <a:pos x="connsiteX24033" y="connsiteY24033"/>
              </a:cxn>
              <a:cxn ang="0">
                <a:pos x="connsiteX24034" y="connsiteY24034"/>
              </a:cxn>
              <a:cxn ang="0">
                <a:pos x="connsiteX24035" y="connsiteY24035"/>
              </a:cxn>
              <a:cxn ang="0">
                <a:pos x="connsiteX24036" y="connsiteY24036"/>
              </a:cxn>
              <a:cxn ang="0">
                <a:pos x="connsiteX24037" y="connsiteY24037"/>
              </a:cxn>
              <a:cxn ang="0">
                <a:pos x="connsiteX24038" y="connsiteY24038"/>
              </a:cxn>
              <a:cxn ang="0">
                <a:pos x="connsiteX24039" y="connsiteY24039"/>
              </a:cxn>
              <a:cxn ang="0">
                <a:pos x="connsiteX24040" y="connsiteY24040"/>
              </a:cxn>
              <a:cxn ang="0">
                <a:pos x="connsiteX24041" y="connsiteY24041"/>
              </a:cxn>
              <a:cxn ang="0">
                <a:pos x="connsiteX24042" y="connsiteY24042"/>
              </a:cxn>
              <a:cxn ang="0">
                <a:pos x="connsiteX24043" y="connsiteY24043"/>
              </a:cxn>
              <a:cxn ang="0">
                <a:pos x="connsiteX24044" y="connsiteY24044"/>
              </a:cxn>
              <a:cxn ang="0">
                <a:pos x="connsiteX24045" y="connsiteY24045"/>
              </a:cxn>
              <a:cxn ang="0">
                <a:pos x="connsiteX24046" y="connsiteY24046"/>
              </a:cxn>
              <a:cxn ang="0">
                <a:pos x="connsiteX24047" y="connsiteY24047"/>
              </a:cxn>
              <a:cxn ang="0">
                <a:pos x="connsiteX24048" y="connsiteY24048"/>
              </a:cxn>
              <a:cxn ang="0">
                <a:pos x="connsiteX24049" y="connsiteY24049"/>
              </a:cxn>
              <a:cxn ang="0">
                <a:pos x="connsiteX24050" y="connsiteY24050"/>
              </a:cxn>
              <a:cxn ang="0">
                <a:pos x="connsiteX24051" y="connsiteY24051"/>
              </a:cxn>
              <a:cxn ang="0">
                <a:pos x="connsiteX24052" y="connsiteY24052"/>
              </a:cxn>
              <a:cxn ang="0">
                <a:pos x="connsiteX24053" y="connsiteY24053"/>
              </a:cxn>
              <a:cxn ang="0">
                <a:pos x="connsiteX24054" y="connsiteY24054"/>
              </a:cxn>
              <a:cxn ang="0">
                <a:pos x="connsiteX24055" y="connsiteY24055"/>
              </a:cxn>
              <a:cxn ang="0">
                <a:pos x="connsiteX24056" y="connsiteY24056"/>
              </a:cxn>
              <a:cxn ang="0">
                <a:pos x="connsiteX24057" y="connsiteY24057"/>
              </a:cxn>
              <a:cxn ang="0">
                <a:pos x="connsiteX24058" y="connsiteY24058"/>
              </a:cxn>
              <a:cxn ang="0">
                <a:pos x="connsiteX24059" y="connsiteY24059"/>
              </a:cxn>
              <a:cxn ang="0">
                <a:pos x="connsiteX24060" y="connsiteY24060"/>
              </a:cxn>
              <a:cxn ang="0">
                <a:pos x="connsiteX24061" y="connsiteY24061"/>
              </a:cxn>
              <a:cxn ang="0">
                <a:pos x="connsiteX24062" y="connsiteY24062"/>
              </a:cxn>
              <a:cxn ang="0">
                <a:pos x="connsiteX24063" y="connsiteY24063"/>
              </a:cxn>
              <a:cxn ang="0">
                <a:pos x="connsiteX24064" y="connsiteY24064"/>
              </a:cxn>
              <a:cxn ang="0">
                <a:pos x="connsiteX24065" y="connsiteY24065"/>
              </a:cxn>
              <a:cxn ang="0">
                <a:pos x="connsiteX24066" y="connsiteY24066"/>
              </a:cxn>
              <a:cxn ang="0">
                <a:pos x="connsiteX24067" y="connsiteY24067"/>
              </a:cxn>
              <a:cxn ang="0">
                <a:pos x="connsiteX24068" y="connsiteY24068"/>
              </a:cxn>
              <a:cxn ang="0">
                <a:pos x="connsiteX24069" y="connsiteY24069"/>
              </a:cxn>
              <a:cxn ang="0">
                <a:pos x="connsiteX24070" y="connsiteY24070"/>
              </a:cxn>
              <a:cxn ang="0">
                <a:pos x="connsiteX24071" y="connsiteY24071"/>
              </a:cxn>
              <a:cxn ang="0">
                <a:pos x="connsiteX24072" y="connsiteY24072"/>
              </a:cxn>
              <a:cxn ang="0">
                <a:pos x="connsiteX24073" y="connsiteY24073"/>
              </a:cxn>
              <a:cxn ang="0">
                <a:pos x="connsiteX24074" y="connsiteY24074"/>
              </a:cxn>
              <a:cxn ang="0">
                <a:pos x="connsiteX24075" y="connsiteY24075"/>
              </a:cxn>
              <a:cxn ang="0">
                <a:pos x="connsiteX24076" y="connsiteY24076"/>
              </a:cxn>
              <a:cxn ang="0">
                <a:pos x="connsiteX24077" y="connsiteY24077"/>
              </a:cxn>
              <a:cxn ang="0">
                <a:pos x="connsiteX24078" y="connsiteY24078"/>
              </a:cxn>
              <a:cxn ang="0">
                <a:pos x="connsiteX24079" y="connsiteY24079"/>
              </a:cxn>
              <a:cxn ang="0">
                <a:pos x="connsiteX24080" y="connsiteY24080"/>
              </a:cxn>
              <a:cxn ang="0">
                <a:pos x="connsiteX24081" y="connsiteY24081"/>
              </a:cxn>
              <a:cxn ang="0">
                <a:pos x="connsiteX24082" y="connsiteY24082"/>
              </a:cxn>
              <a:cxn ang="0">
                <a:pos x="connsiteX24083" y="connsiteY24083"/>
              </a:cxn>
              <a:cxn ang="0">
                <a:pos x="connsiteX24084" y="connsiteY24084"/>
              </a:cxn>
              <a:cxn ang="0">
                <a:pos x="connsiteX24085" y="connsiteY24085"/>
              </a:cxn>
              <a:cxn ang="0">
                <a:pos x="connsiteX24086" y="connsiteY24086"/>
              </a:cxn>
              <a:cxn ang="0">
                <a:pos x="connsiteX24087" y="connsiteY24087"/>
              </a:cxn>
              <a:cxn ang="0">
                <a:pos x="connsiteX24088" y="connsiteY24088"/>
              </a:cxn>
              <a:cxn ang="0">
                <a:pos x="connsiteX24089" y="connsiteY24089"/>
              </a:cxn>
              <a:cxn ang="0">
                <a:pos x="connsiteX24090" y="connsiteY24090"/>
              </a:cxn>
              <a:cxn ang="0">
                <a:pos x="connsiteX24091" y="connsiteY24091"/>
              </a:cxn>
              <a:cxn ang="0">
                <a:pos x="connsiteX24092" y="connsiteY24092"/>
              </a:cxn>
              <a:cxn ang="0">
                <a:pos x="connsiteX24093" y="connsiteY24093"/>
              </a:cxn>
              <a:cxn ang="0">
                <a:pos x="connsiteX24094" y="connsiteY24094"/>
              </a:cxn>
              <a:cxn ang="0">
                <a:pos x="connsiteX24095" y="connsiteY24095"/>
              </a:cxn>
              <a:cxn ang="0">
                <a:pos x="connsiteX24096" y="connsiteY24096"/>
              </a:cxn>
              <a:cxn ang="0">
                <a:pos x="connsiteX24097" y="connsiteY24097"/>
              </a:cxn>
              <a:cxn ang="0">
                <a:pos x="connsiteX24098" y="connsiteY24098"/>
              </a:cxn>
              <a:cxn ang="0">
                <a:pos x="connsiteX24099" y="connsiteY24099"/>
              </a:cxn>
              <a:cxn ang="0">
                <a:pos x="connsiteX24100" y="connsiteY24100"/>
              </a:cxn>
              <a:cxn ang="0">
                <a:pos x="connsiteX24101" y="connsiteY24101"/>
              </a:cxn>
              <a:cxn ang="0">
                <a:pos x="connsiteX24102" y="connsiteY24102"/>
              </a:cxn>
              <a:cxn ang="0">
                <a:pos x="connsiteX24103" y="connsiteY24103"/>
              </a:cxn>
              <a:cxn ang="0">
                <a:pos x="connsiteX24104" y="connsiteY24104"/>
              </a:cxn>
              <a:cxn ang="0">
                <a:pos x="connsiteX24105" y="connsiteY24105"/>
              </a:cxn>
              <a:cxn ang="0">
                <a:pos x="connsiteX24106" y="connsiteY24106"/>
              </a:cxn>
              <a:cxn ang="0">
                <a:pos x="connsiteX24107" y="connsiteY24107"/>
              </a:cxn>
              <a:cxn ang="0">
                <a:pos x="connsiteX24108" y="connsiteY24108"/>
              </a:cxn>
              <a:cxn ang="0">
                <a:pos x="connsiteX24109" y="connsiteY24109"/>
              </a:cxn>
              <a:cxn ang="0">
                <a:pos x="connsiteX24110" y="connsiteY24110"/>
              </a:cxn>
              <a:cxn ang="0">
                <a:pos x="connsiteX24111" y="connsiteY24111"/>
              </a:cxn>
              <a:cxn ang="0">
                <a:pos x="connsiteX24112" y="connsiteY24112"/>
              </a:cxn>
              <a:cxn ang="0">
                <a:pos x="connsiteX24113" y="connsiteY24113"/>
              </a:cxn>
              <a:cxn ang="0">
                <a:pos x="connsiteX24114" y="connsiteY24114"/>
              </a:cxn>
              <a:cxn ang="0">
                <a:pos x="connsiteX24115" y="connsiteY24115"/>
              </a:cxn>
              <a:cxn ang="0">
                <a:pos x="connsiteX24116" y="connsiteY24116"/>
              </a:cxn>
              <a:cxn ang="0">
                <a:pos x="connsiteX24117" y="connsiteY24117"/>
              </a:cxn>
              <a:cxn ang="0">
                <a:pos x="connsiteX24118" y="connsiteY24118"/>
              </a:cxn>
              <a:cxn ang="0">
                <a:pos x="connsiteX24119" y="connsiteY24119"/>
              </a:cxn>
              <a:cxn ang="0">
                <a:pos x="connsiteX24120" y="connsiteY24120"/>
              </a:cxn>
              <a:cxn ang="0">
                <a:pos x="connsiteX24121" y="connsiteY24121"/>
              </a:cxn>
              <a:cxn ang="0">
                <a:pos x="connsiteX24122" y="connsiteY24122"/>
              </a:cxn>
              <a:cxn ang="0">
                <a:pos x="connsiteX24123" y="connsiteY24123"/>
              </a:cxn>
              <a:cxn ang="0">
                <a:pos x="connsiteX24124" y="connsiteY24124"/>
              </a:cxn>
              <a:cxn ang="0">
                <a:pos x="connsiteX24125" y="connsiteY24125"/>
              </a:cxn>
              <a:cxn ang="0">
                <a:pos x="connsiteX24126" y="connsiteY24126"/>
              </a:cxn>
              <a:cxn ang="0">
                <a:pos x="connsiteX24127" y="connsiteY24127"/>
              </a:cxn>
              <a:cxn ang="0">
                <a:pos x="connsiteX24128" y="connsiteY24128"/>
              </a:cxn>
              <a:cxn ang="0">
                <a:pos x="connsiteX24129" y="connsiteY24129"/>
              </a:cxn>
              <a:cxn ang="0">
                <a:pos x="connsiteX24130" y="connsiteY24130"/>
              </a:cxn>
              <a:cxn ang="0">
                <a:pos x="connsiteX24131" y="connsiteY24131"/>
              </a:cxn>
              <a:cxn ang="0">
                <a:pos x="connsiteX24132" y="connsiteY24132"/>
              </a:cxn>
              <a:cxn ang="0">
                <a:pos x="connsiteX24133" y="connsiteY24133"/>
              </a:cxn>
              <a:cxn ang="0">
                <a:pos x="connsiteX24134" y="connsiteY24134"/>
              </a:cxn>
              <a:cxn ang="0">
                <a:pos x="connsiteX24135" y="connsiteY24135"/>
              </a:cxn>
              <a:cxn ang="0">
                <a:pos x="connsiteX24136" y="connsiteY24136"/>
              </a:cxn>
              <a:cxn ang="0">
                <a:pos x="connsiteX24137" y="connsiteY24137"/>
              </a:cxn>
              <a:cxn ang="0">
                <a:pos x="connsiteX24138" y="connsiteY24138"/>
              </a:cxn>
              <a:cxn ang="0">
                <a:pos x="connsiteX24139" y="connsiteY24139"/>
              </a:cxn>
              <a:cxn ang="0">
                <a:pos x="connsiteX24140" y="connsiteY24140"/>
              </a:cxn>
              <a:cxn ang="0">
                <a:pos x="connsiteX24141" y="connsiteY24141"/>
              </a:cxn>
              <a:cxn ang="0">
                <a:pos x="connsiteX24142" y="connsiteY24142"/>
              </a:cxn>
              <a:cxn ang="0">
                <a:pos x="connsiteX24143" y="connsiteY24143"/>
              </a:cxn>
              <a:cxn ang="0">
                <a:pos x="connsiteX24144" y="connsiteY24144"/>
              </a:cxn>
              <a:cxn ang="0">
                <a:pos x="connsiteX24145" y="connsiteY24145"/>
              </a:cxn>
              <a:cxn ang="0">
                <a:pos x="connsiteX24146" y="connsiteY24146"/>
              </a:cxn>
              <a:cxn ang="0">
                <a:pos x="connsiteX24147" y="connsiteY24147"/>
              </a:cxn>
              <a:cxn ang="0">
                <a:pos x="connsiteX24148" y="connsiteY24148"/>
              </a:cxn>
              <a:cxn ang="0">
                <a:pos x="connsiteX24149" y="connsiteY24149"/>
              </a:cxn>
              <a:cxn ang="0">
                <a:pos x="connsiteX24150" y="connsiteY24150"/>
              </a:cxn>
              <a:cxn ang="0">
                <a:pos x="connsiteX24151" y="connsiteY24151"/>
              </a:cxn>
              <a:cxn ang="0">
                <a:pos x="connsiteX24152" y="connsiteY24152"/>
              </a:cxn>
              <a:cxn ang="0">
                <a:pos x="connsiteX24153" y="connsiteY24153"/>
              </a:cxn>
              <a:cxn ang="0">
                <a:pos x="connsiteX24154" y="connsiteY24154"/>
              </a:cxn>
              <a:cxn ang="0">
                <a:pos x="connsiteX24155" y="connsiteY24155"/>
              </a:cxn>
              <a:cxn ang="0">
                <a:pos x="connsiteX24156" y="connsiteY24156"/>
              </a:cxn>
              <a:cxn ang="0">
                <a:pos x="connsiteX24157" y="connsiteY24157"/>
              </a:cxn>
              <a:cxn ang="0">
                <a:pos x="connsiteX24158" y="connsiteY24158"/>
              </a:cxn>
              <a:cxn ang="0">
                <a:pos x="connsiteX24159" y="connsiteY24159"/>
              </a:cxn>
              <a:cxn ang="0">
                <a:pos x="connsiteX24160" y="connsiteY24160"/>
              </a:cxn>
              <a:cxn ang="0">
                <a:pos x="connsiteX24161" y="connsiteY24161"/>
              </a:cxn>
              <a:cxn ang="0">
                <a:pos x="connsiteX24162" y="connsiteY24162"/>
              </a:cxn>
              <a:cxn ang="0">
                <a:pos x="connsiteX24163" y="connsiteY24163"/>
              </a:cxn>
              <a:cxn ang="0">
                <a:pos x="connsiteX24164" y="connsiteY24164"/>
              </a:cxn>
              <a:cxn ang="0">
                <a:pos x="connsiteX24165" y="connsiteY24165"/>
              </a:cxn>
              <a:cxn ang="0">
                <a:pos x="connsiteX24166" y="connsiteY24166"/>
              </a:cxn>
              <a:cxn ang="0">
                <a:pos x="connsiteX24167" y="connsiteY24167"/>
              </a:cxn>
              <a:cxn ang="0">
                <a:pos x="connsiteX24168" y="connsiteY24168"/>
              </a:cxn>
              <a:cxn ang="0">
                <a:pos x="connsiteX24169" y="connsiteY24169"/>
              </a:cxn>
              <a:cxn ang="0">
                <a:pos x="connsiteX24170" y="connsiteY24170"/>
              </a:cxn>
              <a:cxn ang="0">
                <a:pos x="connsiteX24171" y="connsiteY24171"/>
              </a:cxn>
              <a:cxn ang="0">
                <a:pos x="connsiteX24172" y="connsiteY24172"/>
              </a:cxn>
              <a:cxn ang="0">
                <a:pos x="connsiteX24173" y="connsiteY24173"/>
              </a:cxn>
              <a:cxn ang="0">
                <a:pos x="connsiteX24174" y="connsiteY24174"/>
              </a:cxn>
              <a:cxn ang="0">
                <a:pos x="connsiteX24175" y="connsiteY24175"/>
              </a:cxn>
              <a:cxn ang="0">
                <a:pos x="connsiteX24176" y="connsiteY24176"/>
              </a:cxn>
              <a:cxn ang="0">
                <a:pos x="connsiteX24177" y="connsiteY24177"/>
              </a:cxn>
              <a:cxn ang="0">
                <a:pos x="connsiteX24178" y="connsiteY24178"/>
              </a:cxn>
              <a:cxn ang="0">
                <a:pos x="connsiteX24179" y="connsiteY24179"/>
              </a:cxn>
              <a:cxn ang="0">
                <a:pos x="connsiteX24180" y="connsiteY24180"/>
              </a:cxn>
              <a:cxn ang="0">
                <a:pos x="connsiteX24181" y="connsiteY24181"/>
              </a:cxn>
              <a:cxn ang="0">
                <a:pos x="connsiteX24182" y="connsiteY24182"/>
              </a:cxn>
              <a:cxn ang="0">
                <a:pos x="connsiteX24183" y="connsiteY24183"/>
              </a:cxn>
              <a:cxn ang="0">
                <a:pos x="connsiteX24184" y="connsiteY24184"/>
              </a:cxn>
              <a:cxn ang="0">
                <a:pos x="connsiteX24185" y="connsiteY24185"/>
              </a:cxn>
              <a:cxn ang="0">
                <a:pos x="connsiteX24186" y="connsiteY24186"/>
              </a:cxn>
              <a:cxn ang="0">
                <a:pos x="connsiteX24187" y="connsiteY24187"/>
              </a:cxn>
              <a:cxn ang="0">
                <a:pos x="connsiteX24188" y="connsiteY24188"/>
              </a:cxn>
              <a:cxn ang="0">
                <a:pos x="connsiteX24189" y="connsiteY24189"/>
              </a:cxn>
              <a:cxn ang="0">
                <a:pos x="connsiteX24190" y="connsiteY24190"/>
              </a:cxn>
              <a:cxn ang="0">
                <a:pos x="connsiteX24191" y="connsiteY24191"/>
              </a:cxn>
              <a:cxn ang="0">
                <a:pos x="connsiteX24192" y="connsiteY24192"/>
              </a:cxn>
              <a:cxn ang="0">
                <a:pos x="connsiteX24193" y="connsiteY24193"/>
              </a:cxn>
              <a:cxn ang="0">
                <a:pos x="connsiteX24194" y="connsiteY24194"/>
              </a:cxn>
              <a:cxn ang="0">
                <a:pos x="connsiteX24195" y="connsiteY24195"/>
              </a:cxn>
              <a:cxn ang="0">
                <a:pos x="connsiteX24196" y="connsiteY24196"/>
              </a:cxn>
              <a:cxn ang="0">
                <a:pos x="connsiteX24197" y="connsiteY24197"/>
              </a:cxn>
              <a:cxn ang="0">
                <a:pos x="connsiteX24198" y="connsiteY24198"/>
              </a:cxn>
              <a:cxn ang="0">
                <a:pos x="connsiteX24199" y="connsiteY24199"/>
              </a:cxn>
              <a:cxn ang="0">
                <a:pos x="connsiteX24200" y="connsiteY24200"/>
              </a:cxn>
              <a:cxn ang="0">
                <a:pos x="connsiteX24201" y="connsiteY24201"/>
              </a:cxn>
              <a:cxn ang="0">
                <a:pos x="connsiteX24202" y="connsiteY24202"/>
              </a:cxn>
              <a:cxn ang="0">
                <a:pos x="connsiteX24203" y="connsiteY24203"/>
              </a:cxn>
              <a:cxn ang="0">
                <a:pos x="connsiteX24204" y="connsiteY24204"/>
              </a:cxn>
              <a:cxn ang="0">
                <a:pos x="connsiteX24205" y="connsiteY24205"/>
              </a:cxn>
              <a:cxn ang="0">
                <a:pos x="connsiteX24206" y="connsiteY24206"/>
              </a:cxn>
              <a:cxn ang="0">
                <a:pos x="connsiteX24207" y="connsiteY24207"/>
              </a:cxn>
              <a:cxn ang="0">
                <a:pos x="connsiteX24208" y="connsiteY24208"/>
              </a:cxn>
              <a:cxn ang="0">
                <a:pos x="connsiteX24209" y="connsiteY24209"/>
              </a:cxn>
              <a:cxn ang="0">
                <a:pos x="connsiteX24210" y="connsiteY24210"/>
              </a:cxn>
              <a:cxn ang="0">
                <a:pos x="connsiteX24211" y="connsiteY24211"/>
              </a:cxn>
              <a:cxn ang="0">
                <a:pos x="connsiteX24212" y="connsiteY24212"/>
              </a:cxn>
              <a:cxn ang="0">
                <a:pos x="connsiteX24213" y="connsiteY24213"/>
              </a:cxn>
              <a:cxn ang="0">
                <a:pos x="connsiteX24214" y="connsiteY24214"/>
              </a:cxn>
              <a:cxn ang="0">
                <a:pos x="connsiteX24215" y="connsiteY24215"/>
              </a:cxn>
              <a:cxn ang="0">
                <a:pos x="connsiteX24216" y="connsiteY24216"/>
              </a:cxn>
              <a:cxn ang="0">
                <a:pos x="connsiteX24217" y="connsiteY24217"/>
              </a:cxn>
              <a:cxn ang="0">
                <a:pos x="connsiteX24218" y="connsiteY24218"/>
              </a:cxn>
              <a:cxn ang="0">
                <a:pos x="connsiteX24219" y="connsiteY24219"/>
              </a:cxn>
              <a:cxn ang="0">
                <a:pos x="connsiteX24220" y="connsiteY24220"/>
              </a:cxn>
              <a:cxn ang="0">
                <a:pos x="connsiteX24221" y="connsiteY24221"/>
              </a:cxn>
              <a:cxn ang="0">
                <a:pos x="connsiteX24222" y="connsiteY24222"/>
              </a:cxn>
              <a:cxn ang="0">
                <a:pos x="connsiteX24223" y="connsiteY24223"/>
              </a:cxn>
              <a:cxn ang="0">
                <a:pos x="connsiteX24224" y="connsiteY24224"/>
              </a:cxn>
              <a:cxn ang="0">
                <a:pos x="connsiteX24225" y="connsiteY24225"/>
              </a:cxn>
              <a:cxn ang="0">
                <a:pos x="connsiteX24226" y="connsiteY24226"/>
              </a:cxn>
              <a:cxn ang="0">
                <a:pos x="connsiteX24227" y="connsiteY24227"/>
              </a:cxn>
              <a:cxn ang="0">
                <a:pos x="connsiteX24228" y="connsiteY24228"/>
              </a:cxn>
              <a:cxn ang="0">
                <a:pos x="connsiteX24229" y="connsiteY24229"/>
              </a:cxn>
              <a:cxn ang="0">
                <a:pos x="connsiteX24230" y="connsiteY24230"/>
              </a:cxn>
              <a:cxn ang="0">
                <a:pos x="connsiteX24231" y="connsiteY24231"/>
              </a:cxn>
              <a:cxn ang="0">
                <a:pos x="connsiteX24232" y="connsiteY24232"/>
              </a:cxn>
              <a:cxn ang="0">
                <a:pos x="connsiteX24233" y="connsiteY24233"/>
              </a:cxn>
              <a:cxn ang="0">
                <a:pos x="connsiteX24234" y="connsiteY24234"/>
              </a:cxn>
              <a:cxn ang="0">
                <a:pos x="connsiteX24235" y="connsiteY24235"/>
              </a:cxn>
              <a:cxn ang="0">
                <a:pos x="connsiteX24236" y="connsiteY24236"/>
              </a:cxn>
              <a:cxn ang="0">
                <a:pos x="connsiteX24237" y="connsiteY24237"/>
              </a:cxn>
              <a:cxn ang="0">
                <a:pos x="connsiteX24238" y="connsiteY24238"/>
              </a:cxn>
              <a:cxn ang="0">
                <a:pos x="connsiteX24239" y="connsiteY24239"/>
              </a:cxn>
              <a:cxn ang="0">
                <a:pos x="connsiteX24240" y="connsiteY24240"/>
              </a:cxn>
              <a:cxn ang="0">
                <a:pos x="connsiteX24241" y="connsiteY24241"/>
              </a:cxn>
              <a:cxn ang="0">
                <a:pos x="connsiteX24242" y="connsiteY24242"/>
              </a:cxn>
              <a:cxn ang="0">
                <a:pos x="connsiteX24243" y="connsiteY24243"/>
              </a:cxn>
              <a:cxn ang="0">
                <a:pos x="connsiteX24244" y="connsiteY24244"/>
              </a:cxn>
              <a:cxn ang="0">
                <a:pos x="connsiteX24245" y="connsiteY24245"/>
              </a:cxn>
              <a:cxn ang="0">
                <a:pos x="connsiteX24246" y="connsiteY24246"/>
              </a:cxn>
              <a:cxn ang="0">
                <a:pos x="connsiteX24247" y="connsiteY24247"/>
              </a:cxn>
              <a:cxn ang="0">
                <a:pos x="connsiteX24248" y="connsiteY24248"/>
              </a:cxn>
              <a:cxn ang="0">
                <a:pos x="connsiteX24249" y="connsiteY24249"/>
              </a:cxn>
              <a:cxn ang="0">
                <a:pos x="connsiteX24250" y="connsiteY24250"/>
              </a:cxn>
              <a:cxn ang="0">
                <a:pos x="connsiteX24251" y="connsiteY24251"/>
              </a:cxn>
              <a:cxn ang="0">
                <a:pos x="connsiteX24252" y="connsiteY24252"/>
              </a:cxn>
              <a:cxn ang="0">
                <a:pos x="connsiteX24253" y="connsiteY24253"/>
              </a:cxn>
              <a:cxn ang="0">
                <a:pos x="connsiteX24254" y="connsiteY24254"/>
              </a:cxn>
              <a:cxn ang="0">
                <a:pos x="connsiteX24255" y="connsiteY24255"/>
              </a:cxn>
              <a:cxn ang="0">
                <a:pos x="connsiteX24256" y="connsiteY24256"/>
              </a:cxn>
              <a:cxn ang="0">
                <a:pos x="connsiteX24257" y="connsiteY24257"/>
              </a:cxn>
              <a:cxn ang="0">
                <a:pos x="connsiteX24258" y="connsiteY24258"/>
              </a:cxn>
              <a:cxn ang="0">
                <a:pos x="connsiteX24259" y="connsiteY24259"/>
              </a:cxn>
              <a:cxn ang="0">
                <a:pos x="connsiteX24260" y="connsiteY24260"/>
              </a:cxn>
              <a:cxn ang="0">
                <a:pos x="connsiteX24261" y="connsiteY24261"/>
              </a:cxn>
              <a:cxn ang="0">
                <a:pos x="connsiteX24262" y="connsiteY24262"/>
              </a:cxn>
              <a:cxn ang="0">
                <a:pos x="connsiteX24263" y="connsiteY24263"/>
              </a:cxn>
              <a:cxn ang="0">
                <a:pos x="connsiteX24264" y="connsiteY24264"/>
              </a:cxn>
              <a:cxn ang="0">
                <a:pos x="connsiteX24265" y="connsiteY24265"/>
              </a:cxn>
              <a:cxn ang="0">
                <a:pos x="connsiteX24266" y="connsiteY24266"/>
              </a:cxn>
              <a:cxn ang="0">
                <a:pos x="connsiteX24267" y="connsiteY24267"/>
              </a:cxn>
              <a:cxn ang="0">
                <a:pos x="connsiteX24268" y="connsiteY24268"/>
              </a:cxn>
              <a:cxn ang="0">
                <a:pos x="connsiteX24269" y="connsiteY24269"/>
              </a:cxn>
              <a:cxn ang="0">
                <a:pos x="connsiteX24270" y="connsiteY24270"/>
              </a:cxn>
              <a:cxn ang="0">
                <a:pos x="connsiteX24271" y="connsiteY24271"/>
              </a:cxn>
              <a:cxn ang="0">
                <a:pos x="connsiteX24272" y="connsiteY24272"/>
              </a:cxn>
              <a:cxn ang="0">
                <a:pos x="connsiteX24273" y="connsiteY24273"/>
              </a:cxn>
              <a:cxn ang="0">
                <a:pos x="connsiteX24274" y="connsiteY24274"/>
              </a:cxn>
              <a:cxn ang="0">
                <a:pos x="connsiteX24275" y="connsiteY24275"/>
              </a:cxn>
              <a:cxn ang="0">
                <a:pos x="connsiteX24276" y="connsiteY24276"/>
              </a:cxn>
              <a:cxn ang="0">
                <a:pos x="connsiteX24277" y="connsiteY24277"/>
              </a:cxn>
              <a:cxn ang="0">
                <a:pos x="connsiteX24278" y="connsiteY24278"/>
              </a:cxn>
              <a:cxn ang="0">
                <a:pos x="connsiteX24279" y="connsiteY24279"/>
              </a:cxn>
              <a:cxn ang="0">
                <a:pos x="connsiteX24280" y="connsiteY24280"/>
              </a:cxn>
              <a:cxn ang="0">
                <a:pos x="connsiteX24281" y="connsiteY24281"/>
              </a:cxn>
              <a:cxn ang="0">
                <a:pos x="connsiteX24282" y="connsiteY24282"/>
              </a:cxn>
              <a:cxn ang="0">
                <a:pos x="connsiteX24283" y="connsiteY24283"/>
              </a:cxn>
              <a:cxn ang="0">
                <a:pos x="connsiteX24284" y="connsiteY24284"/>
              </a:cxn>
              <a:cxn ang="0">
                <a:pos x="connsiteX24285" y="connsiteY24285"/>
              </a:cxn>
              <a:cxn ang="0">
                <a:pos x="connsiteX24286" y="connsiteY24286"/>
              </a:cxn>
              <a:cxn ang="0">
                <a:pos x="connsiteX24287" y="connsiteY24287"/>
              </a:cxn>
              <a:cxn ang="0">
                <a:pos x="connsiteX24288" y="connsiteY24288"/>
              </a:cxn>
              <a:cxn ang="0">
                <a:pos x="connsiteX24289" y="connsiteY24289"/>
              </a:cxn>
              <a:cxn ang="0">
                <a:pos x="connsiteX24290" y="connsiteY24290"/>
              </a:cxn>
              <a:cxn ang="0">
                <a:pos x="connsiteX24291" y="connsiteY24291"/>
              </a:cxn>
              <a:cxn ang="0">
                <a:pos x="connsiteX24292" y="connsiteY24292"/>
              </a:cxn>
              <a:cxn ang="0">
                <a:pos x="connsiteX24293" y="connsiteY24293"/>
              </a:cxn>
              <a:cxn ang="0">
                <a:pos x="connsiteX24294" y="connsiteY24294"/>
              </a:cxn>
              <a:cxn ang="0">
                <a:pos x="connsiteX24295" y="connsiteY24295"/>
              </a:cxn>
              <a:cxn ang="0">
                <a:pos x="connsiteX24296" y="connsiteY24296"/>
              </a:cxn>
              <a:cxn ang="0">
                <a:pos x="connsiteX24297" y="connsiteY24297"/>
              </a:cxn>
              <a:cxn ang="0">
                <a:pos x="connsiteX24298" y="connsiteY24298"/>
              </a:cxn>
              <a:cxn ang="0">
                <a:pos x="connsiteX24299" y="connsiteY24299"/>
              </a:cxn>
              <a:cxn ang="0">
                <a:pos x="connsiteX24300" y="connsiteY24300"/>
              </a:cxn>
              <a:cxn ang="0">
                <a:pos x="connsiteX24301" y="connsiteY24301"/>
              </a:cxn>
              <a:cxn ang="0">
                <a:pos x="connsiteX24302" y="connsiteY24302"/>
              </a:cxn>
              <a:cxn ang="0">
                <a:pos x="connsiteX24303" y="connsiteY24303"/>
              </a:cxn>
              <a:cxn ang="0">
                <a:pos x="connsiteX24304" y="connsiteY24304"/>
              </a:cxn>
              <a:cxn ang="0">
                <a:pos x="connsiteX24305" y="connsiteY24305"/>
              </a:cxn>
              <a:cxn ang="0">
                <a:pos x="connsiteX24306" y="connsiteY24306"/>
              </a:cxn>
              <a:cxn ang="0">
                <a:pos x="connsiteX24307" y="connsiteY24307"/>
              </a:cxn>
              <a:cxn ang="0">
                <a:pos x="connsiteX24308" y="connsiteY24308"/>
              </a:cxn>
              <a:cxn ang="0">
                <a:pos x="connsiteX24309" y="connsiteY24309"/>
              </a:cxn>
              <a:cxn ang="0">
                <a:pos x="connsiteX24310" y="connsiteY24310"/>
              </a:cxn>
              <a:cxn ang="0">
                <a:pos x="connsiteX24311" y="connsiteY24311"/>
              </a:cxn>
              <a:cxn ang="0">
                <a:pos x="connsiteX24312" y="connsiteY24312"/>
              </a:cxn>
              <a:cxn ang="0">
                <a:pos x="connsiteX24313" y="connsiteY24313"/>
              </a:cxn>
              <a:cxn ang="0">
                <a:pos x="connsiteX24314" y="connsiteY24314"/>
              </a:cxn>
              <a:cxn ang="0">
                <a:pos x="connsiteX24315" y="connsiteY24315"/>
              </a:cxn>
              <a:cxn ang="0">
                <a:pos x="connsiteX24316" y="connsiteY24316"/>
              </a:cxn>
              <a:cxn ang="0">
                <a:pos x="connsiteX24317" y="connsiteY24317"/>
              </a:cxn>
              <a:cxn ang="0">
                <a:pos x="connsiteX24318" y="connsiteY24318"/>
              </a:cxn>
              <a:cxn ang="0">
                <a:pos x="connsiteX24319" y="connsiteY24319"/>
              </a:cxn>
              <a:cxn ang="0">
                <a:pos x="connsiteX24320" y="connsiteY24320"/>
              </a:cxn>
              <a:cxn ang="0">
                <a:pos x="connsiteX24321" y="connsiteY24321"/>
              </a:cxn>
              <a:cxn ang="0">
                <a:pos x="connsiteX24322" y="connsiteY24322"/>
              </a:cxn>
              <a:cxn ang="0">
                <a:pos x="connsiteX24323" y="connsiteY24323"/>
              </a:cxn>
              <a:cxn ang="0">
                <a:pos x="connsiteX24324" y="connsiteY24324"/>
              </a:cxn>
              <a:cxn ang="0">
                <a:pos x="connsiteX24325" y="connsiteY24325"/>
              </a:cxn>
              <a:cxn ang="0">
                <a:pos x="connsiteX24326" y="connsiteY24326"/>
              </a:cxn>
              <a:cxn ang="0">
                <a:pos x="connsiteX24327" y="connsiteY24327"/>
              </a:cxn>
              <a:cxn ang="0">
                <a:pos x="connsiteX24328" y="connsiteY24328"/>
              </a:cxn>
              <a:cxn ang="0">
                <a:pos x="connsiteX24329" y="connsiteY24329"/>
              </a:cxn>
              <a:cxn ang="0">
                <a:pos x="connsiteX24330" y="connsiteY24330"/>
              </a:cxn>
              <a:cxn ang="0">
                <a:pos x="connsiteX24331" y="connsiteY24331"/>
              </a:cxn>
              <a:cxn ang="0">
                <a:pos x="connsiteX24332" y="connsiteY24332"/>
              </a:cxn>
              <a:cxn ang="0">
                <a:pos x="connsiteX24333" y="connsiteY24333"/>
              </a:cxn>
              <a:cxn ang="0">
                <a:pos x="connsiteX24334" y="connsiteY24334"/>
              </a:cxn>
              <a:cxn ang="0">
                <a:pos x="connsiteX24335" y="connsiteY24335"/>
              </a:cxn>
              <a:cxn ang="0">
                <a:pos x="connsiteX24336" y="connsiteY24336"/>
              </a:cxn>
              <a:cxn ang="0">
                <a:pos x="connsiteX24337" y="connsiteY24337"/>
              </a:cxn>
              <a:cxn ang="0">
                <a:pos x="connsiteX24338" y="connsiteY24338"/>
              </a:cxn>
              <a:cxn ang="0">
                <a:pos x="connsiteX24339" y="connsiteY24339"/>
              </a:cxn>
              <a:cxn ang="0">
                <a:pos x="connsiteX24340" y="connsiteY24340"/>
              </a:cxn>
              <a:cxn ang="0">
                <a:pos x="connsiteX24341" y="connsiteY24341"/>
              </a:cxn>
              <a:cxn ang="0">
                <a:pos x="connsiteX24342" y="connsiteY24342"/>
              </a:cxn>
              <a:cxn ang="0">
                <a:pos x="connsiteX24343" y="connsiteY24343"/>
              </a:cxn>
              <a:cxn ang="0">
                <a:pos x="connsiteX24344" y="connsiteY24344"/>
              </a:cxn>
              <a:cxn ang="0">
                <a:pos x="connsiteX24345" y="connsiteY24345"/>
              </a:cxn>
              <a:cxn ang="0">
                <a:pos x="connsiteX24346" y="connsiteY24346"/>
              </a:cxn>
              <a:cxn ang="0">
                <a:pos x="connsiteX24347" y="connsiteY24347"/>
              </a:cxn>
              <a:cxn ang="0">
                <a:pos x="connsiteX24348" y="connsiteY24348"/>
              </a:cxn>
              <a:cxn ang="0">
                <a:pos x="connsiteX24349" y="connsiteY24349"/>
              </a:cxn>
              <a:cxn ang="0">
                <a:pos x="connsiteX24350" y="connsiteY24350"/>
              </a:cxn>
              <a:cxn ang="0">
                <a:pos x="connsiteX24351" y="connsiteY24351"/>
              </a:cxn>
              <a:cxn ang="0">
                <a:pos x="connsiteX24352" y="connsiteY24352"/>
              </a:cxn>
              <a:cxn ang="0">
                <a:pos x="connsiteX24353" y="connsiteY24353"/>
              </a:cxn>
              <a:cxn ang="0">
                <a:pos x="connsiteX24354" y="connsiteY24354"/>
              </a:cxn>
              <a:cxn ang="0">
                <a:pos x="connsiteX24355" y="connsiteY24355"/>
              </a:cxn>
              <a:cxn ang="0">
                <a:pos x="connsiteX24356" y="connsiteY24356"/>
              </a:cxn>
              <a:cxn ang="0">
                <a:pos x="connsiteX24357" y="connsiteY24357"/>
              </a:cxn>
              <a:cxn ang="0">
                <a:pos x="connsiteX24358" y="connsiteY24358"/>
              </a:cxn>
              <a:cxn ang="0">
                <a:pos x="connsiteX24359" y="connsiteY24359"/>
              </a:cxn>
              <a:cxn ang="0">
                <a:pos x="connsiteX24360" y="connsiteY24360"/>
              </a:cxn>
              <a:cxn ang="0">
                <a:pos x="connsiteX24361" y="connsiteY24361"/>
              </a:cxn>
              <a:cxn ang="0">
                <a:pos x="connsiteX24362" y="connsiteY24362"/>
              </a:cxn>
              <a:cxn ang="0">
                <a:pos x="connsiteX24363" y="connsiteY24363"/>
              </a:cxn>
              <a:cxn ang="0">
                <a:pos x="connsiteX24364" y="connsiteY24364"/>
              </a:cxn>
              <a:cxn ang="0">
                <a:pos x="connsiteX24365" y="connsiteY24365"/>
              </a:cxn>
              <a:cxn ang="0">
                <a:pos x="connsiteX24366" y="connsiteY24366"/>
              </a:cxn>
              <a:cxn ang="0">
                <a:pos x="connsiteX24367" y="connsiteY24367"/>
              </a:cxn>
              <a:cxn ang="0">
                <a:pos x="connsiteX24368" y="connsiteY24368"/>
              </a:cxn>
              <a:cxn ang="0">
                <a:pos x="connsiteX24369" y="connsiteY24369"/>
              </a:cxn>
              <a:cxn ang="0">
                <a:pos x="connsiteX24370" y="connsiteY24370"/>
              </a:cxn>
              <a:cxn ang="0">
                <a:pos x="connsiteX24371" y="connsiteY24371"/>
              </a:cxn>
              <a:cxn ang="0">
                <a:pos x="connsiteX24372" y="connsiteY24372"/>
              </a:cxn>
              <a:cxn ang="0">
                <a:pos x="connsiteX24373" y="connsiteY24373"/>
              </a:cxn>
              <a:cxn ang="0">
                <a:pos x="connsiteX24374" y="connsiteY24374"/>
              </a:cxn>
              <a:cxn ang="0">
                <a:pos x="connsiteX24375" y="connsiteY24375"/>
              </a:cxn>
              <a:cxn ang="0">
                <a:pos x="connsiteX24376" y="connsiteY24376"/>
              </a:cxn>
              <a:cxn ang="0">
                <a:pos x="connsiteX24377" y="connsiteY24377"/>
              </a:cxn>
              <a:cxn ang="0">
                <a:pos x="connsiteX24378" y="connsiteY24378"/>
              </a:cxn>
              <a:cxn ang="0">
                <a:pos x="connsiteX24379" y="connsiteY24379"/>
              </a:cxn>
              <a:cxn ang="0">
                <a:pos x="connsiteX24380" y="connsiteY24380"/>
              </a:cxn>
              <a:cxn ang="0">
                <a:pos x="connsiteX24381" y="connsiteY24381"/>
              </a:cxn>
              <a:cxn ang="0">
                <a:pos x="connsiteX24382" y="connsiteY24382"/>
              </a:cxn>
              <a:cxn ang="0">
                <a:pos x="connsiteX24383" y="connsiteY24383"/>
              </a:cxn>
              <a:cxn ang="0">
                <a:pos x="connsiteX24384" y="connsiteY24384"/>
              </a:cxn>
              <a:cxn ang="0">
                <a:pos x="connsiteX24385" y="connsiteY24385"/>
              </a:cxn>
              <a:cxn ang="0">
                <a:pos x="connsiteX24386" y="connsiteY24386"/>
              </a:cxn>
              <a:cxn ang="0">
                <a:pos x="connsiteX24387" y="connsiteY24387"/>
              </a:cxn>
              <a:cxn ang="0">
                <a:pos x="connsiteX24388" y="connsiteY24388"/>
              </a:cxn>
              <a:cxn ang="0">
                <a:pos x="connsiteX24389" y="connsiteY24389"/>
              </a:cxn>
              <a:cxn ang="0">
                <a:pos x="connsiteX24390" y="connsiteY24390"/>
              </a:cxn>
              <a:cxn ang="0">
                <a:pos x="connsiteX24391" y="connsiteY24391"/>
              </a:cxn>
              <a:cxn ang="0">
                <a:pos x="connsiteX24392" y="connsiteY24392"/>
              </a:cxn>
              <a:cxn ang="0">
                <a:pos x="connsiteX24393" y="connsiteY24393"/>
              </a:cxn>
              <a:cxn ang="0">
                <a:pos x="connsiteX24394" y="connsiteY24394"/>
              </a:cxn>
              <a:cxn ang="0">
                <a:pos x="connsiteX24395" y="connsiteY24395"/>
              </a:cxn>
              <a:cxn ang="0">
                <a:pos x="connsiteX24396" y="connsiteY24396"/>
              </a:cxn>
              <a:cxn ang="0">
                <a:pos x="connsiteX24397" y="connsiteY24397"/>
              </a:cxn>
              <a:cxn ang="0">
                <a:pos x="connsiteX24398" y="connsiteY24398"/>
              </a:cxn>
              <a:cxn ang="0">
                <a:pos x="connsiteX24399" y="connsiteY24399"/>
              </a:cxn>
              <a:cxn ang="0">
                <a:pos x="connsiteX24400" y="connsiteY24400"/>
              </a:cxn>
              <a:cxn ang="0">
                <a:pos x="connsiteX24401" y="connsiteY24401"/>
              </a:cxn>
              <a:cxn ang="0">
                <a:pos x="connsiteX24402" y="connsiteY24402"/>
              </a:cxn>
              <a:cxn ang="0">
                <a:pos x="connsiteX24403" y="connsiteY24403"/>
              </a:cxn>
              <a:cxn ang="0">
                <a:pos x="connsiteX24404" y="connsiteY24404"/>
              </a:cxn>
              <a:cxn ang="0">
                <a:pos x="connsiteX24405" y="connsiteY24405"/>
              </a:cxn>
              <a:cxn ang="0">
                <a:pos x="connsiteX24406" y="connsiteY24406"/>
              </a:cxn>
              <a:cxn ang="0">
                <a:pos x="connsiteX24407" y="connsiteY24407"/>
              </a:cxn>
              <a:cxn ang="0">
                <a:pos x="connsiteX24408" y="connsiteY24408"/>
              </a:cxn>
              <a:cxn ang="0">
                <a:pos x="connsiteX24409" y="connsiteY24409"/>
              </a:cxn>
              <a:cxn ang="0">
                <a:pos x="connsiteX24410" y="connsiteY24410"/>
              </a:cxn>
              <a:cxn ang="0">
                <a:pos x="connsiteX24411" y="connsiteY24411"/>
              </a:cxn>
              <a:cxn ang="0">
                <a:pos x="connsiteX24412" y="connsiteY24412"/>
              </a:cxn>
              <a:cxn ang="0">
                <a:pos x="connsiteX24413" y="connsiteY24413"/>
              </a:cxn>
              <a:cxn ang="0">
                <a:pos x="connsiteX24414" y="connsiteY24414"/>
              </a:cxn>
              <a:cxn ang="0">
                <a:pos x="connsiteX24415" y="connsiteY24415"/>
              </a:cxn>
              <a:cxn ang="0">
                <a:pos x="connsiteX24416" y="connsiteY24416"/>
              </a:cxn>
              <a:cxn ang="0">
                <a:pos x="connsiteX24417" y="connsiteY24417"/>
              </a:cxn>
              <a:cxn ang="0">
                <a:pos x="connsiteX24418" y="connsiteY24418"/>
              </a:cxn>
              <a:cxn ang="0">
                <a:pos x="connsiteX24419" y="connsiteY24419"/>
              </a:cxn>
              <a:cxn ang="0">
                <a:pos x="connsiteX24420" y="connsiteY24420"/>
              </a:cxn>
              <a:cxn ang="0">
                <a:pos x="connsiteX24421" y="connsiteY24421"/>
              </a:cxn>
              <a:cxn ang="0">
                <a:pos x="connsiteX24422" y="connsiteY24422"/>
              </a:cxn>
              <a:cxn ang="0">
                <a:pos x="connsiteX24423" y="connsiteY24423"/>
              </a:cxn>
              <a:cxn ang="0">
                <a:pos x="connsiteX24424" y="connsiteY24424"/>
              </a:cxn>
              <a:cxn ang="0">
                <a:pos x="connsiteX24425" y="connsiteY24425"/>
              </a:cxn>
              <a:cxn ang="0">
                <a:pos x="connsiteX24426" y="connsiteY24426"/>
              </a:cxn>
              <a:cxn ang="0">
                <a:pos x="connsiteX24427" y="connsiteY24427"/>
              </a:cxn>
              <a:cxn ang="0">
                <a:pos x="connsiteX24428" y="connsiteY24428"/>
              </a:cxn>
              <a:cxn ang="0">
                <a:pos x="connsiteX24429" y="connsiteY24429"/>
              </a:cxn>
              <a:cxn ang="0">
                <a:pos x="connsiteX24430" y="connsiteY24430"/>
              </a:cxn>
              <a:cxn ang="0">
                <a:pos x="connsiteX24431" y="connsiteY24431"/>
              </a:cxn>
              <a:cxn ang="0">
                <a:pos x="connsiteX24432" y="connsiteY24432"/>
              </a:cxn>
              <a:cxn ang="0">
                <a:pos x="connsiteX24433" y="connsiteY24433"/>
              </a:cxn>
              <a:cxn ang="0">
                <a:pos x="connsiteX24434" y="connsiteY24434"/>
              </a:cxn>
              <a:cxn ang="0">
                <a:pos x="connsiteX24435" y="connsiteY24435"/>
              </a:cxn>
              <a:cxn ang="0">
                <a:pos x="connsiteX24436" y="connsiteY24436"/>
              </a:cxn>
              <a:cxn ang="0">
                <a:pos x="connsiteX24437" y="connsiteY24437"/>
              </a:cxn>
              <a:cxn ang="0">
                <a:pos x="connsiteX24438" y="connsiteY24438"/>
              </a:cxn>
              <a:cxn ang="0">
                <a:pos x="connsiteX24439" y="connsiteY24439"/>
              </a:cxn>
              <a:cxn ang="0">
                <a:pos x="connsiteX24440" y="connsiteY24440"/>
              </a:cxn>
              <a:cxn ang="0">
                <a:pos x="connsiteX24441" y="connsiteY24441"/>
              </a:cxn>
              <a:cxn ang="0">
                <a:pos x="connsiteX24442" y="connsiteY24442"/>
              </a:cxn>
              <a:cxn ang="0">
                <a:pos x="connsiteX24443" y="connsiteY24443"/>
              </a:cxn>
              <a:cxn ang="0">
                <a:pos x="connsiteX24444" y="connsiteY24444"/>
              </a:cxn>
              <a:cxn ang="0">
                <a:pos x="connsiteX24445" y="connsiteY24445"/>
              </a:cxn>
              <a:cxn ang="0">
                <a:pos x="connsiteX24446" y="connsiteY24446"/>
              </a:cxn>
              <a:cxn ang="0">
                <a:pos x="connsiteX24447" y="connsiteY24447"/>
              </a:cxn>
              <a:cxn ang="0">
                <a:pos x="connsiteX24448" y="connsiteY24448"/>
              </a:cxn>
              <a:cxn ang="0">
                <a:pos x="connsiteX24449" y="connsiteY24449"/>
              </a:cxn>
              <a:cxn ang="0">
                <a:pos x="connsiteX24450" y="connsiteY24450"/>
              </a:cxn>
              <a:cxn ang="0">
                <a:pos x="connsiteX24451" y="connsiteY24451"/>
              </a:cxn>
              <a:cxn ang="0">
                <a:pos x="connsiteX24452" y="connsiteY24452"/>
              </a:cxn>
              <a:cxn ang="0">
                <a:pos x="connsiteX24453" y="connsiteY24453"/>
              </a:cxn>
              <a:cxn ang="0">
                <a:pos x="connsiteX24454" y="connsiteY24454"/>
              </a:cxn>
              <a:cxn ang="0">
                <a:pos x="connsiteX24455" y="connsiteY24455"/>
              </a:cxn>
              <a:cxn ang="0">
                <a:pos x="connsiteX24456" y="connsiteY24456"/>
              </a:cxn>
              <a:cxn ang="0">
                <a:pos x="connsiteX24457" y="connsiteY24457"/>
              </a:cxn>
              <a:cxn ang="0">
                <a:pos x="connsiteX24458" y="connsiteY24458"/>
              </a:cxn>
              <a:cxn ang="0">
                <a:pos x="connsiteX24459" y="connsiteY24459"/>
              </a:cxn>
              <a:cxn ang="0">
                <a:pos x="connsiteX24460" y="connsiteY24460"/>
              </a:cxn>
              <a:cxn ang="0">
                <a:pos x="connsiteX24461" y="connsiteY24461"/>
              </a:cxn>
              <a:cxn ang="0">
                <a:pos x="connsiteX24462" y="connsiteY24462"/>
              </a:cxn>
              <a:cxn ang="0">
                <a:pos x="connsiteX24463" y="connsiteY24463"/>
              </a:cxn>
              <a:cxn ang="0">
                <a:pos x="connsiteX24464" y="connsiteY24464"/>
              </a:cxn>
              <a:cxn ang="0">
                <a:pos x="connsiteX24465" y="connsiteY24465"/>
              </a:cxn>
              <a:cxn ang="0">
                <a:pos x="connsiteX24466" y="connsiteY24466"/>
              </a:cxn>
              <a:cxn ang="0">
                <a:pos x="connsiteX24467" y="connsiteY24467"/>
              </a:cxn>
              <a:cxn ang="0">
                <a:pos x="connsiteX24468" y="connsiteY24468"/>
              </a:cxn>
              <a:cxn ang="0">
                <a:pos x="connsiteX24469" y="connsiteY24469"/>
              </a:cxn>
              <a:cxn ang="0">
                <a:pos x="connsiteX24470" y="connsiteY24470"/>
              </a:cxn>
              <a:cxn ang="0">
                <a:pos x="connsiteX24471" y="connsiteY24471"/>
              </a:cxn>
              <a:cxn ang="0">
                <a:pos x="connsiteX24472" y="connsiteY24472"/>
              </a:cxn>
              <a:cxn ang="0">
                <a:pos x="connsiteX24473" y="connsiteY24473"/>
              </a:cxn>
              <a:cxn ang="0">
                <a:pos x="connsiteX24474" y="connsiteY24474"/>
              </a:cxn>
              <a:cxn ang="0">
                <a:pos x="connsiteX24475" y="connsiteY24475"/>
              </a:cxn>
              <a:cxn ang="0">
                <a:pos x="connsiteX24476" y="connsiteY24476"/>
              </a:cxn>
              <a:cxn ang="0">
                <a:pos x="connsiteX24477" y="connsiteY24477"/>
              </a:cxn>
              <a:cxn ang="0">
                <a:pos x="connsiteX24478" y="connsiteY24478"/>
              </a:cxn>
              <a:cxn ang="0">
                <a:pos x="connsiteX24479" y="connsiteY24479"/>
              </a:cxn>
              <a:cxn ang="0">
                <a:pos x="connsiteX24480" y="connsiteY24480"/>
              </a:cxn>
              <a:cxn ang="0">
                <a:pos x="connsiteX24481" y="connsiteY24481"/>
              </a:cxn>
              <a:cxn ang="0">
                <a:pos x="connsiteX24482" y="connsiteY24482"/>
              </a:cxn>
              <a:cxn ang="0">
                <a:pos x="connsiteX24483" y="connsiteY24483"/>
              </a:cxn>
              <a:cxn ang="0">
                <a:pos x="connsiteX24484" y="connsiteY24484"/>
              </a:cxn>
              <a:cxn ang="0">
                <a:pos x="connsiteX24485" y="connsiteY24485"/>
              </a:cxn>
              <a:cxn ang="0">
                <a:pos x="connsiteX24486" y="connsiteY24486"/>
              </a:cxn>
              <a:cxn ang="0">
                <a:pos x="connsiteX24487" y="connsiteY24487"/>
              </a:cxn>
              <a:cxn ang="0">
                <a:pos x="connsiteX24488" y="connsiteY24488"/>
              </a:cxn>
              <a:cxn ang="0">
                <a:pos x="connsiteX24489" y="connsiteY24489"/>
              </a:cxn>
              <a:cxn ang="0">
                <a:pos x="connsiteX24490" y="connsiteY24490"/>
              </a:cxn>
              <a:cxn ang="0">
                <a:pos x="connsiteX24491" y="connsiteY24491"/>
              </a:cxn>
              <a:cxn ang="0">
                <a:pos x="connsiteX24492" y="connsiteY24492"/>
              </a:cxn>
              <a:cxn ang="0">
                <a:pos x="connsiteX24493" y="connsiteY24493"/>
              </a:cxn>
              <a:cxn ang="0">
                <a:pos x="connsiteX24494" y="connsiteY24494"/>
              </a:cxn>
              <a:cxn ang="0">
                <a:pos x="connsiteX24495" y="connsiteY24495"/>
              </a:cxn>
              <a:cxn ang="0">
                <a:pos x="connsiteX24496" y="connsiteY24496"/>
              </a:cxn>
              <a:cxn ang="0">
                <a:pos x="connsiteX24497" y="connsiteY24497"/>
              </a:cxn>
              <a:cxn ang="0">
                <a:pos x="connsiteX24498" y="connsiteY24498"/>
              </a:cxn>
              <a:cxn ang="0">
                <a:pos x="connsiteX24499" y="connsiteY24499"/>
              </a:cxn>
              <a:cxn ang="0">
                <a:pos x="connsiteX24500" y="connsiteY24500"/>
              </a:cxn>
              <a:cxn ang="0">
                <a:pos x="connsiteX24501" y="connsiteY24501"/>
              </a:cxn>
              <a:cxn ang="0">
                <a:pos x="connsiteX24502" y="connsiteY24502"/>
              </a:cxn>
              <a:cxn ang="0">
                <a:pos x="connsiteX24503" y="connsiteY24503"/>
              </a:cxn>
              <a:cxn ang="0">
                <a:pos x="connsiteX24504" y="connsiteY24504"/>
              </a:cxn>
              <a:cxn ang="0">
                <a:pos x="connsiteX24505" y="connsiteY24505"/>
              </a:cxn>
              <a:cxn ang="0">
                <a:pos x="connsiteX24506" y="connsiteY24506"/>
              </a:cxn>
              <a:cxn ang="0">
                <a:pos x="connsiteX24507" y="connsiteY24507"/>
              </a:cxn>
              <a:cxn ang="0">
                <a:pos x="connsiteX24508" y="connsiteY24508"/>
              </a:cxn>
              <a:cxn ang="0">
                <a:pos x="connsiteX24509" y="connsiteY24509"/>
              </a:cxn>
              <a:cxn ang="0">
                <a:pos x="connsiteX24510" y="connsiteY24510"/>
              </a:cxn>
              <a:cxn ang="0">
                <a:pos x="connsiteX24511" y="connsiteY24511"/>
              </a:cxn>
              <a:cxn ang="0">
                <a:pos x="connsiteX24512" y="connsiteY24512"/>
              </a:cxn>
              <a:cxn ang="0">
                <a:pos x="connsiteX24513" y="connsiteY24513"/>
              </a:cxn>
              <a:cxn ang="0">
                <a:pos x="connsiteX24514" y="connsiteY24514"/>
              </a:cxn>
              <a:cxn ang="0">
                <a:pos x="connsiteX24515" y="connsiteY24515"/>
              </a:cxn>
              <a:cxn ang="0">
                <a:pos x="connsiteX24516" y="connsiteY24516"/>
              </a:cxn>
              <a:cxn ang="0">
                <a:pos x="connsiteX24517" y="connsiteY24517"/>
              </a:cxn>
              <a:cxn ang="0">
                <a:pos x="connsiteX24518" y="connsiteY24518"/>
              </a:cxn>
              <a:cxn ang="0">
                <a:pos x="connsiteX24519" y="connsiteY24519"/>
              </a:cxn>
              <a:cxn ang="0">
                <a:pos x="connsiteX24520" y="connsiteY24520"/>
              </a:cxn>
              <a:cxn ang="0">
                <a:pos x="connsiteX24521" y="connsiteY24521"/>
              </a:cxn>
              <a:cxn ang="0">
                <a:pos x="connsiteX24522" y="connsiteY24522"/>
              </a:cxn>
              <a:cxn ang="0">
                <a:pos x="connsiteX24523" y="connsiteY24523"/>
              </a:cxn>
              <a:cxn ang="0">
                <a:pos x="connsiteX24524" y="connsiteY24524"/>
              </a:cxn>
              <a:cxn ang="0">
                <a:pos x="connsiteX24525" y="connsiteY24525"/>
              </a:cxn>
              <a:cxn ang="0">
                <a:pos x="connsiteX24526" y="connsiteY24526"/>
              </a:cxn>
              <a:cxn ang="0">
                <a:pos x="connsiteX24527" y="connsiteY24527"/>
              </a:cxn>
              <a:cxn ang="0">
                <a:pos x="connsiteX24528" y="connsiteY24528"/>
              </a:cxn>
              <a:cxn ang="0">
                <a:pos x="connsiteX24529" y="connsiteY24529"/>
              </a:cxn>
              <a:cxn ang="0">
                <a:pos x="connsiteX24530" y="connsiteY24530"/>
              </a:cxn>
              <a:cxn ang="0">
                <a:pos x="connsiteX24531" y="connsiteY24531"/>
              </a:cxn>
              <a:cxn ang="0">
                <a:pos x="connsiteX24532" y="connsiteY24532"/>
              </a:cxn>
              <a:cxn ang="0">
                <a:pos x="connsiteX24533" y="connsiteY24533"/>
              </a:cxn>
              <a:cxn ang="0">
                <a:pos x="connsiteX24534" y="connsiteY24534"/>
              </a:cxn>
              <a:cxn ang="0">
                <a:pos x="connsiteX24535" y="connsiteY24535"/>
              </a:cxn>
              <a:cxn ang="0">
                <a:pos x="connsiteX24536" y="connsiteY24536"/>
              </a:cxn>
              <a:cxn ang="0">
                <a:pos x="connsiteX24537" y="connsiteY24537"/>
              </a:cxn>
              <a:cxn ang="0">
                <a:pos x="connsiteX24538" y="connsiteY24538"/>
              </a:cxn>
              <a:cxn ang="0">
                <a:pos x="connsiteX24539" y="connsiteY24539"/>
              </a:cxn>
              <a:cxn ang="0">
                <a:pos x="connsiteX24540" y="connsiteY24540"/>
              </a:cxn>
              <a:cxn ang="0">
                <a:pos x="connsiteX24541" y="connsiteY24541"/>
              </a:cxn>
              <a:cxn ang="0">
                <a:pos x="connsiteX24542" y="connsiteY24542"/>
              </a:cxn>
              <a:cxn ang="0">
                <a:pos x="connsiteX24543" y="connsiteY24543"/>
              </a:cxn>
              <a:cxn ang="0">
                <a:pos x="connsiteX24544" y="connsiteY24544"/>
              </a:cxn>
              <a:cxn ang="0">
                <a:pos x="connsiteX24545" y="connsiteY24545"/>
              </a:cxn>
              <a:cxn ang="0">
                <a:pos x="connsiteX24546" y="connsiteY24546"/>
              </a:cxn>
              <a:cxn ang="0">
                <a:pos x="connsiteX24547" y="connsiteY24547"/>
              </a:cxn>
              <a:cxn ang="0">
                <a:pos x="connsiteX24548" y="connsiteY24548"/>
              </a:cxn>
              <a:cxn ang="0">
                <a:pos x="connsiteX24549" y="connsiteY24549"/>
              </a:cxn>
              <a:cxn ang="0">
                <a:pos x="connsiteX24550" y="connsiteY24550"/>
              </a:cxn>
              <a:cxn ang="0">
                <a:pos x="connsiteX24551" y="connsiteY24551"/>
              </a:cxn>
              <a:cxn ang="0">
                <a:pos x="connsiteX24552" y="connsiteY24552"/>
              </a:cxn>
              <a:cxn ang="0">
                <a:pos x="connsiteX24553" y="connsiteY24553"/>
              </a:cxn>
              <a:cxn ang="0">
                <a:pos x="connsiteX24554" y="connsiteY24554"/>
              </a:cxn>
              <a:cxn ang="0">
                <a:pos x="connsiteX24555" y="connsiteY24555"/>
              </a:cxn>
              <a:cxn ang="0">
                <a:pos x="connsiteX24556" y="connsiteY24556"/>
              </a:cxn>
              <a:cxn ang="0">
                <a:pos x="connsiteX24557" y="connsiteY24557"/>
              </a:cxn>
              <a:cxn ang="0">
                <a:pos x="connsiteX24558" y="connsiteY24558"/>
              </a:cxn>
              <a:cxn ang="0">
                <a:pos x="connsiteX24559" y="connsiteY24559"/>
              </a:cxn>
              <a:cxn ang="0">
                <a:pos x="connsiteX24560" y="connsiteY24560"/>
              </a:cxn>
              <a:cxn ang="0">
                <a:pos x="connsiteX24561" y="connsiteY24561"/>
              </a:cxn>
              <a:cxn ang="0">
                <a:pos x="connsiteX24562" y="connsiteY24562"/>
              </a:cxn>
              <a:cxn ang="0">
                <a:pos x="connsiteX24563" y="connsiteY24563"/>
              </a:cxn>
              <a:cxn ang="0">
                <a:pos x="connsiteX24564" y="connsiteY24564"/>
              </a:cxn>
              <a:cxn ang="0">
                <a:pos x="connsiteX24565" y="connsiteY24565"/>
              </a:cxn>
              <a:cxn ang="0">
                <a:pos x="connsiteX24566" y="connsiteY24566"/>
              </a:cxn>
              <a:cxn ang="0">
                <a:pos x="connsiteX24567" y="connsiteY24567"/>
              </a:cxn>
              <a:cxn ang="0">
                <a:pos x="connsiteX24568" y="connsiteY24568"/>
              </a:cxn>
              <a:cxn ang="0">
                <a:pos x="connsiteX24569" y="connsiteY24569"/>
              </a:cxn>
              <a:cxn ang="0">
                <a:pos x="connsiteX24570" y="connsiteY24570"/>
              </a:cxn>
              <a:cxn ang="0">
                <a:pos x="connsiteX24571" y="connsiteY24571"/>
              </a:cxn>
              <a:cxn ang="0">
                <a:pos x="connsiteX24572" y="connsiteY24572"/>
              </a:cxn>
              <a:cxn ang="0">
                <a:pos x="connsiteX24573" y="connsiteY24573"/>
              </a:cxn>
              <a:cxn ang="0">
                <a:pos x="connsiteX24574" y="connsiteY24574"/>
              </a:cxn>
              <a:cxn ang="0">
                <a:pos x="connsiteX24575" y="connsiteY24575"/>
              </a:cxn>
              <a:cxn ang="0">
                <a:pos x="connsiteX24576" y="connsiteY24576"/>
              </a:cxn>
              <a:cxn ang="0">
                <a:pos x="connsiteX24577" y="connsiteY24577"/>
              </a:cxn>
              <a:cxn ang="0">
                <a:pos x="connsiteX24578" y="connsiteY24578"/>
              </a:cxn>
              <a:cxn ang="0">
                <a:pos x="connsiteX24579" y="connsiteY24579"/>
              </a:cxn>
              <a:cxn ang="0">
                <a:pos x="connsiteX24580" y="connsiteY24580"/>
              </a:cxn>
              <a:cxn ang="0">
                <a:pos x="connsiteX24581" y="connsiteY24581"/>
              </a:cxn>
              <a:cxn ang="0">
                <a:pos x="connsiteX24582" y="connsiteY24582"/>
              </a:cxn>
              <a:cxn ang="0">
                <a:pos x="connsiteX24583" y="connsiteY24583"/>
              </a:cxn>
              <a:cxn ang="0">
                <a:pos x="connsiteX24584" y="connsiteY24584"/>
              </a:cxn>
              <a:cxn ang="0">
                <a:pos x="connsiteX24585" y="connsiteY24585"/>
              </a:cxn>
              <a:cxn ang="0">
                <a:pos x="connsiteX24586" y="connsiteY24586"/>
              </a:cxn>
              <a:cxn ang="0">
                <a:pos x="connsiteX24587" y="connsiteY24587"/>
              </a:cxn>
              <a:cxn ang="0">
                <a:pos x="connsiteX24588" y="connsiteY24588"/>
              </a:cxn>
              <a:cxn ang="0">
                <a:pos x="connsiteX24589" y="connsiteY24589"/>
              </a:cxn>
              <a:cxn ang="0">
                <a:pos x="connsiteX24590" y="connsiteY24590"/>
              </a:cxn>
              <a:cxn ang="0">
                <a:pos x="connsiteX24591" y="connsiteY24591"/>
              </a:cxn>
              <a:cxn ang="0">
                <a:pos x="connsiteX24592" y="connsiteY24592"/>
              </a:cxn>
              <a:cxn ang="0">
                <a:pos x="connsiteX24593" y="connsiteY24593"/>
              </a:cxn>
              <a:cxn ang="0">
                <a:pos x="connsiteX24594" y="connsiteY24594"/>
              </a:cxn>
              <a:cxn ang="0">
                <a:pos x="connsiteX24595" y="connsiteY24595"/>
              </a:cxn>
              <a:cxn ang="0">
                <a:pos x="connsiteX24596" y="connsiteY24596"/>
              </a:cxn>
              <a:cxn ang="0">
                <a:pos x="connsiteX24597" y="connsiteY24597"/>
              </a:cxn>
              <a:cxn ang="0">
                <a:pos x="connsiteX24598" y="connsiteY24598"/>
              </a:cxn>
              <a:cxn ang="0">
                <a:pos x="connsiteX24599" y="connsiteY24599"/>
              </a:cxn>
              <a:cxn ang="0">
                <a:pos x="connsiteX24600" y="connsiteY24600"/>
              </a:cxn>
              <a:cxn ang="0">
                <a:pos x="connsiteX24601" y="connsiteY24601"/>
              </a:cxn>
              <a:cxn ang="0">
                <a:pos x="connsiteX24602" y="connsiteY24602"/>
              </a:cxn>
              <a:cxn ang="0">
                <a:pos x="connsiteX24603" y="connsiteY24603"/>
              </a:cxn>
              <a:cxn ang="0">
                <a:pos x="connsiteX24604" y="connsiteY24604"/>
              </a:cxn>
              <a:cxn ang="0">
                <a:pos x="connsiteX24605" y="connsiteY24605"/>
              </a:cxn>
              <a:cxn ang="0">
                <a:pos x="connsiteX24606" y="connsiteY24606"/>
              </a:cxn>
              <a:cxn ang="0">
                <a:pos x="connsiteX24607" y="connsiteY24607"/>
              </a:cxn>
              <a:cxn ang="0">
                <a:pos x="connsiteX24608" y="connsiteY24608"/>
              </a:cxn>
              <a:cxn ang="0">
                <a:pos x="connsiteX24609" y="connsiteY24609"/>
              </a:cxn>
              <a:cxn ang="0">
                <a:pos x="connsiteX24610" y="connsiteY24610"/>
              </a:cxn>
              <a:cxn ang="0">
                <a:pos x="connsiteX24611" y="connsiteY24611"/>
              </a:cxn>
              <a:cxn ang="0">
                <a:pos x="connsiteX24612" y="connsiteY24612"/>
              </a:cxn>
              <a:cxn ang="0">
                <a:pos x="connsiteX24613" y="connsiteY24613"/>
              </a:cxn>
              <a:cxn ang="0">
                <a:pos x="connsiteX24614" y="connsiteY24614"/>
              </a:cxn>
              <a:cxn ang="0">
                <a:pos x="connsiteX24615" y="connsiteY24615"/>
              </a:cxn>
              <a:cxn ang="0">
                <a:pos x="connsiteX24616" y="connsiteY24616"/>
              </a:cxn>
              <a:cxn ang="0">
                <a:pos x="connsiteX24617" y="connsiteY24617"/>
              </a:cxn>
              <a:cxn ang="0">
                <a:pos x="connsiteX24618" y="connsiteY24618"/>
              </a:cxn>
              <a:cxn ang="0">
                <a:pos x="connsiteX24619" y="connsiteY24619"/>
              </a:cxn>
              <a:cxn ang="0">
                <a:pos x="connsiteX24620" y="connsiteY24620"/>
              </a:cxn>
              <a:cxn ang="0">
                <a:pos x="connsiteX24621" y="connsiteY24621"/>
              </a:cxn>
              <a:cxn ang="0">
                <a:pos x="connsiteX24622" y="connsiteY24622"/>
              </a:cxn>
              <a:cxn ang="0">
                <a:pos x="connsiteX24623" y="connsiteY24623"/>
              </a:cxn>
              <a:cxn ang="0">
                <a:pos x="connsiteX24624" y="connsiteY24624"/>
              </a:cxn>
              <a:cxn ang="0">
                <a:pos x="connsiteX24625" y="connsiteY24625"/>
              </a:cxn>
              <a:cxn ang="0">
                <a:pos x="connsiteX24626" y="connsiteY24626"/>
              </a:cxn>
              <a:cxn ang="0">
                <a:pos x="connsiteX24627" y="connsiteY24627"/>
              </a:cxn>
              <a:cxn ang="0">
                <a:pos x="connsiteX24628" y="connsiteY24628"/>
              </a:cxn>
              <a:cxn ang="0">
                <a:pos x="connsiteX24629" y="connsiteY24629"/>
              </a:cxn>
              <a:cxn ang="0">
                <a:pos x="connsiteX24630" y="connsiteY24630"/>
              </a:cxn>
              <a:cxn ang="0">
                <a:pos x="connsiteX24631" y="connsiteY24631"/>
              </a:cxn>
              <a:cxn ang="0">
                <a:pos x="connsiteX24632" y="connsiteY24632"/>
              </a:cxn>
              <a:cxn ang="0">
                <a:pos x="connsiteX24633" y="connsiteY24633"/>
              </a:cxn>
              <a:cxn ang="0">
                <a:pos x="connsiteX24634" y="connsiteY24634"/>
              </a:cxn>
              <a:cxn ang="0">
                <a:pos x="connsiteX24635" y="connsiteY24635"/>
              </a:cxn>
              <a:cxn ang="0">
                <a:pos x="connsiteX24636" y="connsiteY24636"/>
              </a:cxn>
              <a:cxn ang="0">
                <a:pos x="connsiteX24637" y="connsiteY24637"/>
              </a:cxn>
              <a:cxn ang="0">
                <a:pos x="connsiteX24638" y="connsiteY24638"/>
              </a:cxn>
              <a:cxn ang="0">
                <a:pos x="connsiteX24639" y="connsiteY24639"/>
              </a:cxn>
              <a:cxn ang="0">
                <a:pos x="connsiteX24640" y="connsiteY24640"/>
              </a:cxn>
              <a:cxn ang="0">
                <a:pos x="connsiteX24641" y="connsiteY24641"/>
              </a:cxn>
              <a:cxn ang="0">
                <a:pos x="connsiteX24642" y="connsiteY24642"/>
              </a:cxn>
              <a:cxn ang="0">
                <a:pos x="connsiteX24643" y="connsiteY24643"/>
              </a:cxn>
              <a:cxn ang="0">
                <a:pos x="connsiteX24644" y="connsiteY24644"/>
              </a:cxn>
              <a:cxn ang="0">
                <a:pos x="connsiteX24645" y="connsiteY24645"/>
              </a:cxn>
              <a:cxn ang="0">
                <a:pos x="connsiteX24646" y="connsiteY24646"/>
              </a:cxn>
              <a:cxn ang="0">
                <a:pos x="connsiteX24647" y="connsiteY24647"/>
              </a:cxn>
              <a:cxn ang="0">
                <a:pos x="connsiteX24648" y="connsiteY24648"/>
              </a:cxn>
              <a:cxn ang="0">
                <a:pos x="connsiteX24649" y="connsiteY24649"/>
              </a:cxn>
              <a:cxn ang="0">
                <a:pos x="connsiteX24650" y="connsiteY24650"/>
              </a:cxn>
              <a:cxn ang="0">
                <a:pos x="connsiteX24651" y="connsiteY24651"/>
              </a:cxn>
              <a:cxn ang="0">
                <a:pos x="connsiteX24652" y="connsiteY24652"/>
              </a:cxn>
              <a:cxn ang="0">
                <a:pos x="connsiteX24653" y="connsiteY24653"/>
              </a:cxn>
              <a:cxn ang="0">
                <a:pos x="connsiteX24654" y="connsiteY24654"/>
              </a:cxn>
              <a:cxn ang="0">
                <a:pos x="connsiteX24655" y="connsiteY24655"/>
              </a:cxn>
              <a:cxn ang="0">
                <a:pos x="connsiteX24656" y="connsiteY24656"/>
              </a:cxn>
              <a:cxn ang="0">
                <a:pos x="connsiteX24657" y="connsiteY24657"/>
              </a:cxn>
              <a:cxn ang="0">
                <a:pos x="connsiteX24658" y="connsiteY24658"/>
              </a:cxn>
              <a:cxn ang="0">
                <a:pos x="connsiteX24659" y="connsiteY24659"/>
              </a:cxn>
              <a:cxn ang="0">
                <a:pos x="connsiteX24660" y="connsiteY24660"/>
              </a:cxn>
              <a:cxn ang="0">
                <a:pos x="connsiteX24661" y="connsiteY24661"/>
              </a:cxn>
              <a:cxn ang="0">
                <a:pos x="connsiteX24662" y="connsiteY24662"/>
              </a:cxn>
              <a:cxn ang="0">
                <a:pos x="connsiteX24663" y="connsiteY24663"/>
              </a:cxn>
              <a:cxn ang="0">
                <a:pos x="connsiteX24664" y="connsiteY24664"/>
              </a:cxn>
              <a:cxn ang="0">
                <a:pos x="connsiteX24665" y="connsiteY24665"/>
              </a:cxn>
              <a:cxn ang="0">
                <a:pos x="connsiteX24666" y="connsiteY24666"/>
              </a:cxn>
              <a:cxn ang="0">
                <a:pos x="connsiteX24667" y="connsiteY24667"/>
              </a:cxn>
              <a:cxn ang="0">
                <a:pos x="connsiteX24668" y="connsiteY24668"/>
              </a:cxn>
              <a:cxn ang="0">
                <a:pos x="connsiteX24669" y="connsiteY24669"/>
              </a:cxn>
              <a:cxn ang="0">
                <a:pos x="connsiteX24670" y="connsiteY24670"/>
              </a:cxn>
              <a:cxn ang="0">
                <a:pos x="connsiteX24671" y="connsiteY24671"/>
              </a:cxn>
              <a:cxn ang="0">
                <a:pos x="connsiteX24672" y="connsiteY24672"/>
              </a:cxn>
              <a:cxn ang="0">
                <a:pos x="connsiteX24673" y="connsiteY24673"/>
              </a:cxn>
              <a:cxn ang="0">
                <a:pos x="connsiteX24674" y="connsiteY24674"/>
              </a:cxn>
              <a:cxn ang="0">
                <a:pos x="connsiteX24675" y="connsiteY24675"/>
              </a:cxn>
              <a:cxn ang="0">
                <a:pos x="connsiteX24676" y="connsiteY24676"/>
              </a:cxn>
              <a:cxn ang="0">
                <a:pos x="connsiteX24677" y="connsiteY24677"/>
              </a:cxn>
              <a:cxn ang="0">
                <a:pos x="connsiteX24678" y="connsiteY24678"/>
              </a:cxn>
              <a:cxn ang="0">
                <a:pos x="connsiteX24679" y="connsiteY24679"/>
              </a:cxn>
              <a:cxn ang="0">
                <a:pos x="connsiteX24680" y="connsiteY24680"/>
              </a:cxn>
              <a:cxn ang="0">
                <a:pos x="connsiteX24681" y="connsiteY24681"/>
              </a:cxn>
              <a:cxn ang="0">
                <a:pos x="connsiteX24682" y="connsiteY24682"/>
              </a:cxn>
              <a:cxn ang="0">
                <a:pos x="connsiteX24683" y="connsiteY24683"/>
              </a:cxn>
              <a:cxn ang="0">
                <a:pos x="connsiteX24684" y="connsiteY24684"/>
              </a:cxn>
              <a:cxn ang="0">
                <a:pos x="connsiteX24685" y="connsiteY24685"/>
              </a:cxn>
              <a:cxn ang="0">
                <a:pos x="connsiteX24686" y="connsiteY24686"/>
              </a:cxn>
              <a:cxn ang="0">
                <a:pos x="connsiteX24687" y="connsiteY24687"/>
              </a:cxn>
              <a:cxn ang="0">
                <a:pos x="connsiteX24688" y="connsiteY24688"/>
              </a:cxn>
              <a:cxn ang="0">
                <a:pos x="connsiteX24689" y="connsiteY24689"/>
              </a:cxn>
              <a:cxn ang="0">
                <a:pos x="connsiteX24690" y="connsiteY24690"/>
              </a:cxn>
              <a:cxn ang="0">
                <a:pos x="connsiteX24691" y="connsiteY24691"/>
              </a:cxn>
              <a:cxn ang="0">
                <a:pos x="connsiteX24692" y="connsiteY24692"/>
              </a:cxn>
              <a:cxn ang="0">
                <a:pos x="connsiteX24693" y="connsiteY24693"/>
              </a:cxn>
              <a:cxn ang="0">
                <a:pos x="connsiteX24694" y="connsiteY24694"/>
              </a:cxn>
              <a:cxn ang="0">
                <a:pos x="connsiteX24695" y="connsiteY24695"/>
              </a:cxn>
              <a:cxn ang="0">
                <a:pos x="connsiteX24696" y="connsiteY24696"/>
              </a:cxn>
              <a:cxn ang="0">
                <a:pos x="connsiteX24697" y="connsiteY24697"/>
              </a:cxn>
              <a:cxn ang="0">
                <a:pos x="connsiteX24698" y="connsiteY24698"/>
              </a:cxn>
              <a:cxn ang="0">
                <a:pos x="connsiteX24699" y="connsiteY24699"/>
              </a:cxn>
              <a:cxn ang="0">
                <a:pos x="connsiteX24700" y="connsiteY24700"/>
              </a:cxn>
              <a:cxn ang="0">
                <a:pos x="connsiteX24701" y="connsiteY24701"/>
              </a:cxn>
              <a:cxn ang="0">
                <a:pos x="connsiteX24702" y="connsiteY24702"/>
              </a:cxn>
              <a:cxn ang="0">
                <a:pos x="connsiteX24703" y="connsiteY24703"/>
              </a:cxn>
              <a:cxn ang="0">
                <a:pos x="connsiteX24704" y="connsiteY24704"/>
              </a:cxn>
              <a:cxn ang="0">
                <a:pos x="connsiteX24705" y="connsiteY24705"/>
              </a:cxn>
              <a:cxn ang="0">
                <a:pos x="connsiteX24706" y="connsiteY24706"/>
              </a:cxn>
              <a:cxn ang="0">
                <a:pos x="connsiteX24707" y="connsiteY24707"/>
              </a:cxn>
              <a:cxn ang="0">
                <a:pos x="connsiteX24708" y="connsiteY24708"/>
              </a:cxn>
              <a:cxn ang="0">
                <a:pos x="connsiteX24709" y="connsiteY24709"/>
              </a:cxn>
              <a:cxn ang="0">
                <a:pos x="connsiteX24710" y="connsiteY24710"/>
              </a:cxn>
              <a:cxn ang="0">
                <a:pos x="connsiteX24711" y="connsiteY24711"/>
              </a:cxn>
              <a:cxn ang="0">
                <a:pos x="connsiteX24712" y="connsiteY24712"/>
              </a:cxn>
              <a:cxn ang="0">
                <a:pos x="connsiteX24713" y="connsiteY24713"/>
              </a:cxn>
              <a:cxn ang="0">
                <a:pos x="connsiteX24714" y="connsiteY24714"/>
              </a:cxn>
              <a:cxn ang="0">
                <a:pos x="connsiteX24715" y="connsiteY24715"/>
              </a:cxn>
              <a:cxn ang="0">
                <a:pos x="connsiteX24716" y="connsiteY24716"/>
              </a:cxn>
              <a:cxn ang="0">
                <a:pos x="connsiteX24717" y="connsiteY24717"/>
              </a:cxn>
              <a:cxn ang="0">
                <a:pos x="connsiteX24718" y="connsiteY24718"/>
              </a:cxn>
              <a:cxn ang="0">
                <a:pos x="connsiteX24719" y="connsiteY24719"/>
              </a:cxn>
              <a:cxn ang="0">
                <a:pos x="connsiteX24720" y="connsiteY24720"/>
              </a:cxn>
              <a:cxn ang="0">
                <a:pos x="connsiteX24721" y="connsiteY24721"/>
              </a:cxn>
              <a:cxn ang="0">
                <a:pos x="connsiteX24722" y="connsiteY24722"/>
              </a:cxn>
              <a:cxn ang="0">
                <a:pos x="connsiteX24723" y="connsiteY24723"/>
              </a:cxn>
              <a:cxn ang="0">
                <a:pos x="connsiteX24724" y="connsiteY24724"/>
              </a:cxn>
              <a:cxn ang="0">
                <a:pos x="connsiteX24725" y="connsiteY24725"/>
              </a:cxn>
              <a:cxn ang="0">
                <a:pos x="connsiteX24726" y="connsiteY24726"/>
              </a:cxn>
              <a:cxn ang="0">
                <a:pos x="connsiteX24727" y="connsiteY24727"/>
              </a:cxn>
              <a:cxn ang="0">
                <a:pos x="connsiteX24728" y="connsiteY24728"/>
              </a:cxn>
              <a:cxn ang="0">
                <a:pos x="connsiteX24729" y="connsiteY24729"/>
              </a:cxn>
              <a:cxn ang="0">
                <a:pos x="connsiteX24730" y="connsiteY24730"/>
              </a:cxn>
              <a:cxn ang="0">
                <a:pos x="connsiteX24731" y="connsiteY24731"/>
              </a:cxn>
              <a:cxn ang="0">
                <a:pos x="connsiteX24732" y="connsiteY24732"/>
              </a:cxn>
              <a:cxn ang="0">
                <a:pos x="connsiteX24733" y="connsiteY24733"/>
              </a:cxn>
              <a:cxn ang="0">
                <a:pos x="connsiteX24734" y="connsiteY24734"/>
              </a:cxn>
              <a:cxn ang="0">
                <a:pos x="connsiteX24735" y="connsiteY24735"/>
              </a:cxn>
              <a:cxn ang="0">
                <a:pos x="connsiteX24736" y="connsiteY24736"/>
              </a:cxn>
              <a:cxn ang="0">
                <a:pos x="connsiteX24737" y="connsiteY24737"/>
              </a:cxn>
              <a:cxn ang="0">
                <a:pos x="connsiteX24738" y="connsiteY24738"/>
              </a:cxn>
              <a:cxn ang="0">
                <a:pos x="connsiteX24739" y="connsiteY24739"/>
              </a:cxn>
              <a:cxn ang="0">
                <a:pos x="connsiteX24740" y="connsiteY24740"/>
              </a:cxn>
              <a:cxn ang="0">
                <a:pos x="connsiteX24741" y="connsiteY24741"/>
              </a:cxn>
              <a:cxn ang="0">
                <a:pos x="connsiteX24742" y="connsiteY24742"/>
              </a:cxn>
              <a:cxn ang="0">
                <a:pos x="connsiteX24743" y="connsiteY24743"/>
              </a:cxn>
              <a:cxn ang="0">
                <a:pos x="connsiteX24744" y="connsiteY24744"/>
              </a:cxn>
              <a:cxn ang="0">
                <a:pos x="connsiteX24745" y="connsiteY24745"/>
              </a:cxn>
              <a:cxn ang="0">
                <a:pos x="connsiteX24746" y="connsiteY24746"/>
              </a:cxn>
              <a:cxn ang="0">
                <a:pos x="connsiteX24747" y="connsiteY24747"/>
              </a:cxn>
              <a:cxn ang="0">
                <a:pos x="connsiteX24748" y="connsiteY24748"/>
              </a:cxn>
              <a:cxn ang="0">
                <a:pos x="connsiteX24749" y="connsiteY24749"/>
              </a:cxn>
              <a:cxn ang="0">
                <a:pos x="connsiteX24750" y="connsiteY24750"/>
              </a:cxn>
              <a:cxn ang="0">
                <a:pos x="connsiteX24751" y="connsiteY24751"/>
              </a:cxn>
              <a:cxn ang="0">
                <a:pos x="connsiteX24752" y="connsiteY24752"/>
              </a:cxn>
              <a:cxn ang="0">
                <a:pos x="connsiteX24753" y="connsiteY24753"/>
              </a:cxn>
              <a:cxn ang="0">
                <a:pos x="connsiteX24754" y="connsiteY24754"/>
              </a:cxn>
              <a:cxn ang="0">
                <a:pos x="connsiteX24755" y="connsiteY24755"/>
              </a:cxn>
              <a:cxn ang="0">
                <a:pos x="connsiteX24756" y="connsiteY24756"/>
              </a:cxn>
              <a:cxn ang="0">
                <a:pos x="connsiteX24757" y="connsiteY24757"/>
              </a:cxn>
              <a:cxn ang="0">
                <a:pos x="connsiteX24758" y="connsiteY24758"/>
              </a:cxn>
              <a:cxn ang="0">
                <a:pos x="connsiteX24759" y="connsiteY24759"/>
              </a:cxn>
              <a:cxn ang="0">
                <a:pos x="connsiteX24760" y="connsiteY24760"/>
              </a:cxn>
              <a:cxn ang="0">
                <a:pos x="connsiteX24761" y="connsiteY24761"/>
              </a:cxn>
              <a:cxn ang="0">
                <a:pos x="connsiteX24762" y="connsiteY24762"/>
              </a:cxn>
              <a:cxn ang="0">
                <a:pos x="connsiteX24763" y="connsiteY24763"/>
              </a:cxn>
              <a:cxn ang="0">
                <a:pos x="connsiteX24764" y="connsiteY24764"/>
              </a:cxn>
              <a:cxn ang="0">
                <a:pos x="connsiteX24765" y="connsiteY24765"/>
              </a:cxn>
              <a:cxn ang="0">
                <a:pos x="connsiteX24766" y="connsiteY24766"/>
              </a:cxn>
              <a:cxn ang="0">
                <a:pos x="connsiteX24767" y="connsiteY24767"/>
              </a:cxn>
              <a:cxn ang="0">
                <a:pos x="connsiteX24768" y="connsiteY24768"/>
              </a:cxn>
              <a:cxn ang="0">
                <a:pos x="connsiteX24769" y="connsiteY24769"/>
              </a:cxn>
              <a:cxn ang="0">
                <a:pos x="connsiteX24770" y="connsiteY24770"/>
              </a:cxn>
              <a:cxn ang="0">
                <a:pos x="connsiteX24771" y="connsiteY24771"/>
              </a:cxn>
              <a:cxn ang="0">
                <a:pos x="connsiteX24772" y="connsiteY24772"/>
              </a:cxn>
              <a:cxn ang="0">
                <a:pos x="connsiteX24773" y="connsiteY24773"/>
              </a:cxn>
              <a:cxn ang="0">
                <a:pos x="connsiteX24774" y="connsiteY24774"/>
              </a:cxn>
              <a:cxn ang="0">
                <a:pos x="connsiteX24775" y="connsiteY24775"/>
              </a:cxn>
              <a:cxn ang="0">
                <a:pos x="connsiteX24776" y="connsiteY24776"/>
              </a:cxn>
              <a:cxn ang="0">
                <a:pos x="connsiteX24777" y="connsiteY24777"/>
              </a:cxn>
              <a:cxn ang="0">
                <a:pos x="connsiteX24778" y="connsiteY24778"/>
              </a:cxn>
              <a:cxn ang="0">
                <a:pos x="connsiteX24779" y="connsiteY24779"/>
              </a:cxn>
              <a:cxn ang="0">
                <a:pos x="connsiteX24780" y="connsiteY24780"/>
              </a:cxn>
              <a:cxn ang="0">
                <a:pos x="connsiteX24781" y="connsiteY24781"/>
              </a:cxn>
              <a:cxn ang="0">
                <a:pos x="connsiteX24782" y="connsiteY24782"/>
              </a:cxn>
              <a:cxn ang="0">
                <a:pos x="connsiteX24783" y="connsiteY24783"/>
              </a:cxn>
              <a:cxn ang="0">
                <a:pos x="connsiteX24784" y="connsiteY24784"/>
              </a:cxn>
              <a:cxn ang="0">
                <a:pos x="connsiteX24785" y="connsiteY24785"/>
              </a:cxn>
              <a:cxn ang="0">
                <a:pos x="connsiteX24786" y="connsiteY24786"/>
              </a:cxn>
              <a:cxn ang="0">
                <a:pos x="connsiteX24787" y="connsiteY24787"/>
              </a:cxn>
              <a:cxn ang="0">
                <a:pos x="connsiteX24788" y="connsiteY24788"/>
              </a:cxn>
              <a:cxn ang="0">
                <a:pos x="connsiteX24789" y="connsiteY24789"/>
              </a:cxn>
              <a:cxn ang="0">
                <a:pos x="connsiteX24790" y="connsiteY24790"/>
              </a:cxn>
              <a:cxn ang="0">
                <a:pos x="connsiteX24791" y="connsiteY24791"/>
              </a:cxn>
              <a:cxn ang="0">
                <a:pos x="connsiteX24792" y="connsiteY24792"/>
              </a:cxn>
              <a:cxn ang="0">
                <a:pos x="connsiteX24793" y="connsiteY24793"/>
              </a:cxn>
              <a:cxn ang="0">
                <a:pos x="connsiteX24794" y="connsiteY24794"/>
              </a:cxn>
              <a:cxn ang="0">
                <a:pos x="connsiteX24795" y="connsiteY24795"/>
              </a:cxn>
              <a:cxn ang="0">
                <a:pos x="connsiteX24796" y="connsiteY24796"/>
              </a:cxn>
              <a:cxn ang="0">
                <a:pos x="connsiteX24797" y="connsiteY24797"/>
              </a:cxn>
              <a:cxn ang="0">
                <a:pos x="connsiteX24798" y="connsiteY24798"/>
              </a:cxn>
              <a:cxn ang="0">
                <a:pos x="connsiteX24799" y="connsiteY24799"/>
              </a:cxn>
              <a:cxn ang="0">
                <a:pos x="connsiteX24800" y="connsiteY24800"/>
              </a:cxn>
              <a:cxn ang="0">
                <a:pos x="connsiteX24801" y="connsiteY24801"/>
              </a:cxn>
              <a:cxn ang="0">
                <a:pos x="connsiteX24802" y="connsiteY24802"/>
              </a:cxn>
              <a:cxn ang="0">
                <a:pos x="connsiteX24803" y="connsiteY24803"/>
              </a:cxn>
              <a:cxn ang="0">
                <a:pos x="connsiteX24804" y="connsiteY24804"/>
              </a:cxn>
              <a:cxn ang="0">
                <a:pos x="connsiteX24805" y="connsiteY24805"/>
              </a:cxn>
              <a:cxn ang="0">
                <a:pos x="connsiteX24806" y="connsiteY24806"/>
              </a:cxn>
              <a:cxn ang="0">
                <a:pos x="connsiteX24807" y="connsiteY24807"/>
              </a:cxn>
              <a:cxn ang="0">
                <a:pos x="connsiteX24808" y="connsiteY24808"/>
              </a:cxn>
              <a:cxn ang="0">
                <a:pos x="connsiteX24809" y="connsiteY24809"/>
              </a:cxn>
              <a:cxn ang="0">
                <a:pos x="connsiteX24810" y="connsiteY24810"/>
              </a:cxn>
              <a:cxn ang="0">
                <a:pos x="connsiteX24811" y="connsiteY24811"/>
              </a:cxn>
              <a:cxn ang="0">
                <a:pos x="connsiteX24812" y="connsiteY24812"/>
              </a:cxn>
              <a:cxn ang="0">
                <a:pos x="connsiteX24813" y="connsiteY24813"/>
              </a:cxn>
              <a:cxn ang="0">
                <a:pos x="connsiteX24814" y="connsiteY24814"/>
              </a:cxn>
              <a:cxn ang="0">
                <a:pos x="connsiteX24815" y="connsiteY24815"/>
              </a:cxn>
              <a:cxn ang="0">
                <a:pos x="connsiteX24816" y="connsiteY24816"/>
              </a:cxn>
              <a:cxn ang="0">
                <a:pos x="connsiteX24817" y="connsiteY24817"/>
              </a:cxn>
              <a:cxn ang="0">
                <a:pos x="connsiteX24818" y="connsiteY24818"/>
              </a:cxn>
              <a:cxn ang="0">
                <a:pos x="connsiteX24819" y="connsiteY24819"/>
              </a:cxn>
              <a:cxn ang="0">
                <a:pos x="connsiteX24820" y="connsiteY24820"/>
              </a:cxn>
              <a:cxn ang="0">
                <a:pos x="connsiteX24821" y="connsiteY24821"/>
              </a:cxn>
              <a:cxn ang="0">
                <a:pos x="connsiteX24822" y="connsiteY24822"/>
              </a:cxn>
              <a:cxn ang="0">
                <a:pos x="connsiteX24823" y="connsiteY24823"/>
              </a:cxn>
              <a:cxn ang="0">
                <a:pos x="connsiteX24824" y="connsiteY24824"/>
              </a:cxn>
              <a:cxn ang="0">
                <a:pos x="connsiteX24825" y="connsiteY24825"/>
              </a:cxn>
              <a:cxn ang="0">
                <a:pos x="connsiteX24826" y="connsiteY24826"/>
              </a:cxn>
              <a:cxn ang="0">
                <a:pos x="connsiteX24827" y="connsiteY24827"/>
              </a:cxn>
              <a:cxn ang="0">
                <a:pos x="connsiteX24828" y="connsiteY24828"/>
              </a:cxn>
              <a:cxn ang="0">
                <a:pos x="connsiteX24829" y="connsiteY24829"/>
              </a:cxn>
              <a:cxn ang="0">
                <a:pos x="connsiteX24830" y="connsiteY24830"/>
              </a:cxn>
              <a:cxn ang="0">
                <a:pos x="connsiteX24831" y="connsiteY24831"/>
              </a:cxn>
              <a:cxn ang="0">
                <a:pos x="connsiteX24832" y="connsiteY24832"/>
              </a:cxn>
              <a:cxn ang="0">
                <a:pos x="connsiteX24833" y="connsiteY24833"/>
              </a:cxn>
              <a:cxn ang="0">
                <a:pos x="connsiteX24834" y="connsiteY24834"/>
              </a:cxn>
              <a:cxn ang="0">
                <a:pos x="connsiteX24835" y="connsiteY24835"/>
              </a:cxn>
              <a:cxn ang="0">
                <a:pos x="connsiteX24836" y="connsiteY24836"/>
              </a:cxn>
              <a:cxn ang="0">
                <a:pos x="connsiteX24837" y="connsiteY24837"/>
              </a:cxn>
              <a:cxn ang="0">
                <a:pos x="connsiteX24838" y="connsiteY24838"/>
              </a:cxn>
              <a:cxn ang="0">
                <a:pos x="connsiteX24839" y="connsiteY24839"/>
              </a:cxn>
              <a:cxn ang="0">
                <a:pos x="connsiteX24840" y="connsiteY24840"/>
              </a:cxn>
              <a:cxn ang="0">
                <a:pos x="connsiteX24841" y="connsiteY24841"/>
              </a:cxn>
              <a:cxn ang="0">
                <a:pos x="connsiteX24842" y="connsiteY24842"/>
              </a:cxn>
              <a:cxn ang="0">
                <a:pos x="connsiteX24843" y="connsiteY24843"/>
              </a:cxn>
              <a:cxn ang="0">
                <a:pos x="connsiteX24844" y="connsiteY24844"/>
              </a:cxn>
              <a:cxn ang="0">
                <a:pos x="connsiteX24845" y="connsiteY24845"/>
              </a:cxn>
              <a:cxn ang="0">
                <a:pos x="connsiteX24846" y="connsiteY24846"/>
              </a:cxn>
              <a:cxn ang="0">
                <a:pos x="connsiteX24847" y="connsiteY24847"/>
              </a:cxn>
              <a:cxn ang="0">
                <a:pos x="connsiteX24848" y="connsiteY24848"/>
              </a:cxn>
              <a:cxn ang="0">
                <a:pos x="connsiteX24849" y="connsiteY24849"/>
              </a:cxn>
              <a:cxn ang="0">
                <a:pos x="connsiteX24850" y="connsiteY24850"/>
              </a:cxn>
              <a:cxn ang="0">
                <a:pos x="connsiteX24851" y="connsiteY24851"/>
              </a:cxn>
              <a:cxn ang="0">
                <a:pos x="connsiteX24852" y="connsiteY24852"/>
              </a:cxn>
              <a:cxn ang="0">
                <a:pos x="connsiteX24853" y="connsiteY24853"/>
              </a:cxn>
              <a:cxn ang="0">
                <a:pos x="connsiteX24854" y="connsiteY24854"/>
              </a:cxn>
              <a:cxn ang="0">
                <a:pos x="connsiteX24855" y="connsiteY24855"/>
              </a:cxn>
              <a:cxn ang="0">
                <a:pos x="connsiteX24856" y="connsiteY24856"/>
              </a:cxn>
              <a:cxn ang="0">
                <a:pos x="connsiteX24857" y="connsiteY24857"/>
              </a:cxn>
              <a:cxn ang="0">
                <a:pos x="connsiteX24858" y="connsiteY24858"/>
              </a:cxn>
              <a:cxn ang="0">
                <a:pos x="connsiteX24859" y="connsiteY24859"/>
              </a:cxn>
              <a:cxn ang="0">
                <a:pos x="connsiteX24860" y="connsiteY24860"/>
              </a:cxn>
              <a:cxn ang="0">
                <a:pos x="connsiteX24861" y="connsiteY24861"/>
              </a:cxn>
              <a:cxn ang="0">
                <a:pos x="connsiteX24862" y="connsiteY24862"/>
              </a:cxn>
              <a:cxn ang="0">
                <a:pos x="connsiteX24863" y="connsiteY24863"/>
              </a:cxn>
              <a:cxn ang="0">
                <a:pos x="connsiteX24864" y="connsiteY24864"/>
              </a:cxn>
              <a:cxn ang="0">
                <a:pos x="connsiteX24865" y="connsiteY24865"/>
              </a:cxn>
              <a:cxn ang="0">
                <a:pos x="connsiteX24866" y="connsiteY24866"/>
              </a:cxn>
              <a:cxn ang="0">
                <a:pos x="connsiteX24867" y="connsiteY24867"/>
              </a:cxn>
              <a:cxn ang="0">
                <a:pos x="connsiteX24868" y="connsiteY24868"/>
              </a:cxn>
              <a:cxn ang="0">
                <a:pos x="connsiteX24869" y="connsiteY24869"/>
              </a:cxn>
              <a:cxn ang="0">
                <a:pos x="connsiteX24870" y="connsiteY24870"/>
              </a:cxn>
              <a:cxn ang="0">
                <a:pos x="connsiteX24871" y="connsiteY24871"/>
              </a:cxn>
              <a:cxn ang="0">
                <a:pos x="connsiteX24872" y="connsiteY24872"/>
              </a:cxn>
              <a:cxn ang="0">
                <a:pos x="connsiteX24873" y="connsiteY24873"/>
              </a:cxn>
              <a:cxn ang="0">
                <a:pos x="connsiteX24874" y="connsiteY24874"/>
              </a:cxn>
              <a:cxn ang="0">
                <a:pos x="connsiteX24875" y="connsiteY24875"/>
              </a:cxn>
              <a:cxn ang="0">
                <a:pos x="connsiteX24876" y="connsiteY24876"/>
              </a:cxn>
              <a:cxn ang="0">
                <a:pos x="connsiteX24877" y="connsiteY24877"/>
              </a:cxn>
              <a:cxn ang="0">
                <a:pos x="connsiteX24878" y="connsiteY24878"/>
              </a:cxn>
              <a:cxn ang="0">
                <a:pos x="connsiteX24879" y="connsiteY24879"/>
              </a:cxn>
              <a:cxn ang="0">
                <a:pos x="connsiteX24880" y="connsiteY24880"/>
              </a:cxn>
              <a:cxn ang="0">
                <a:pos x="connsiteX24881" y="connsiteY24881"/>
              </a:cxn>
              <a:cxn ang="0">
                <a:pos x="connsiteX24882" y="connsiteY24882"/>
              </a:cxn>
              <a:cxn ang="0">
                <a:pos x="connsiteX24883" y="connsiteY24883"/>
              </a:cxn>
              <a:cxn ang="0">
                <a:pos x="connsiteX24884" y="connsiteY24884"/>
              </a:cxn>
              <a:cxn ang="0">
                <a:pos x="connsiteX24885" y="connsiteY24885"/>
              </a:cxn>
              <a:cxn ang="0">
                <a:pos x="connsiteX24886" y="connsiteY24886"/>
              </a:cxn>
              <a:cxn ang="0">
                <a:pos x="connsiteX24887" y="connsiteY24887"/>
              </a:cxn>
              <a:cxn ang="0">
                <a:pos x="connsiteX24888" y="connsiteY24888"/>
              </a:cxn>
              <a:cxn ang="0">
                <a:pos x="connsiteX24889" y="connsiteY24889"/>
              </a:cxn>
              <a:cxn ang="0">
                <a:pos x="connsiteX24890" y="connsiteY24890"/>
              </a:cxn>
              <a:cxn ang="0">
                <a:pos x="connsiteX24891" y="connsiteY24891"/>
              </a:cxn>
              <a:cxn ang="0">
                <a:pos x="connsiteX24892" y="connsiteY24892"/>
              </a:cxn>
              <a:cxn ang="0">
                <a:pos x="connsiteX24893" y="connsiteY24893"/>
              </a:cxn>
              <a:cxn ang="0">
                <a:pos x="connsiteX24894" y="connsiteY24894"/>
              </a:cxn>
              <a:cxn ang="0">
                <a:pos x="connsiteX24895" y="connsiteY24895"/>
              </a:cxn>
              <a:cxn ang="0">
                <a:pos x="connsiteX24896" y="connsiteY24896"/>
              </a:cxn>
              <a:cxn ang="0">
                <a:pos x="connsiteX24897" y="connsiteY24897"/>
              </a:cxn>
              <a:cxn ang="0">
                <a:pos x="connsiteX24898" y="connsiteY24898"/>
              </a:cxn>
              <a:cxn ang="0">
                <a:pos x="connsiteX24899" y="connsiteY24899"/>
              </a:cxn>
              <a:cxn ang="0">
                <a:pos x="connsiteX24900" y="connsiteY24900"/>
              </a:cxn>
              <a:cxn ang="0">
                <a:pos x="connsiteX24901" y="connsiteY24901"/>
              </a:cxn>
              <a:cxn ang="0">
                <a:pos x="connsiteX24902" y="connsiteY24902"/>
              </a:cxn>
              <a:cxn ang="0">
                <a:pos x="connsiteX24903" y="connsiteY24903"/>
              </a:cxn>
              <a:cxn ang="0">
                <a:pos x="connsiteX24904" y="connsiteY24904"/>
              </a:cxn>
              <a:cxn ang="0">
                <a:pos x="connsiteX24905" y="connsiteY24905"/>
              </a:cxn>
              <a:cxn ang="0">
                <a:pos x="connsiteX24906" y="connsiteY24906"/>
              </a:cxn>
              <a:cxn ang="0">
                <a:pos x="connsiteX24907" y="connsiteY24907"/>
              </a:cxn>
              <a:cxn ang="0">
                <a:pos x="connsiteX24908" y="connsiteY24908"/>
              </a:cxn>
              <a:cxn ang="0">
                <a:pos x="connsiteX24909" y="connsiteY24909"/>
              </a:cxn>
              <a:cxn ang="0">
                <a:pos x="connsiteX24910" y="connsiteY24910"/>
              </a:cxn>
              <a:cxn ang="0">
                <a:pos x="connsiteX24911" y="connsiteY24911"/>
              </a:cxn>
              <a:cxn ang="0">
                <a:pos x="connsiteX24912" y="connsiteY24912"/>
              </a:cxn>
              <a:cxn ang="0">
                <a:pos x="connsiteX24913" y="connsiteY24913"/>
              </a:cxn>
              <a:cxn ang="0">
                <a:pos x="connsiteX24914" y="connsiteY24914"/>
              </a:cxn>
              <a:cxn ang="0">
                <a:pos x="connsiteX24915" y="connsiteY24915"/>
              </a:cxn>
              <a:cxn ang="0">
                <a:pos x="connsiteX24916" y="connsiteY24916"/>
              </a:cxn>
              <a:cxn ang="0">
                <a:pos x="connsiteX24917" y="connsiteY24917"/>
              </a:cxn>
              <a:cxn ang="0">
                <a:pos x="connsiteX24918" y="connsiteY24918"/>
              </a:cxn>
              <a:cxn ang="0">
                <a:pos x="connsiteX24919" y="connsiteY24919"/>
              </a:cxn>
              <a:cxn ang="0">
                <a:pos x="connsiteX24920" y="connsiteY24920"/>
              </a:cxn>
              <a:cxn ang="0">
                <a:pos x="connsiteX24921" y="connsiteY24921"/>
              </a:cxn>
              <a:cxn ang="0">
                <a:pos x="connsiteX24922" y="connsiteY24922"/>
              </a:cxn>
              <a:cxn ang="0">
                <a:pos x="connsiteX24923" y="connsiteY24923"/>
              </a:cxn>
              <a:cxn ang="0">
                <a:pos x="connsiteX24924" y="connsiteY24924"/>
              </a:cxn>
              <a:cxn ang="0">
                <a:pos x="connsiteX24925" y="connsiteY24925"/>
              </a:cxn>
              <a:cxn ang="0">
                <a:pos x="connsiteX24926" y="connsiteY24926"/>
              </a:cxn>
              <a:cxn ang="0">
                <a:pos x="connsiteX24927" y="connsiteY24927"/>
              </a:cxn>
              <a:cxn ang="0">
                <a:pos x="connsiteX24928" y="connsiteY24928"/>
              </a:cxn>
              <a:cxn ang="0">
                <a:pos x="connsiteX24929" y="connsiteY24929"/>
              </a:cxn>
              <a:cxn ang="0">
                <a:pos x="connsiteX24930" y="connsiteY24930"/>
              </a:cxn>
              <a:cxn ang="0">
                <a:pos x="connsiteX24931" y="connsiteY24931"/>
              </a:cxn>
              <a:cxn ang="0">
                <a:pos x="connsiteX24932" y="connsiteY24932"/>
              </a:cxn>
              <a:cxn ang="0">
                <a:pos x="connsiteX24933" y="connsiteY24933"/>
              </a:cxn>
              <a:cxn ang="0">
                <a:pos x="connsiteX24934" y="connsiteY24934"/>
              </a:cxn>
              <a:cxn ang="0">
                <a:pos x="connsiteX24935" y="connsiteY24935"/>
              </a:cxn>
              <a:cxn ang="0">
                <a:pos x="connsiteX24936" y="connsiteY24936"/>
              </a:cxn>
              <a:cxn ang="0">
                <a:pos x="connsiteX24937" y="connsiteY24937"/>
              </a:cxn>
              <a:cxn ang="0">
                <a:pos x="connsiteX24938" y="connsiteY24938"/>
              </a:cxn>
              <a:cxn ang="0">
                <a:pos x="connsiteX24939" y="connsiteY24939"/>
              </a:cxn>
              <a:cxn ang="0">
                <a:pos x="connsiteX24940" y="connsiteY24940"/>
              </a:cxn>
              <a:cxn ang="0">
                <a:pos x="connsiteX24941" y="connsiteY24941"/>
              </a:cxn>
              <a:cxn ang="0">
                <a:pos x="connsiteX24942" y="connsiteY24942"/>
              </a:cxn>
              <a:cxn ang="0">
                <a:pos x="connsiteX24943" y="connsiteY24943"/>
              </a:cxn>
              <a:cxn ang="0">
                <a:pos x="connsiteX24944" y="connsiteY24944"/>
              </a:cxn>
              <a:cxn ang="0">
                <a:pos x="connsiteX24945" y="connsiteY24945"/>
              </a:cxn>
              <a:cxn ang="0">
                <a:pos x="connsiteX24946" y="connsiteY24946"/>
              </a:cxn>
              <a:cxn ang="0">
                <a:pos x="connsiteX24947" y="connsiteY24947"/>
              </a:cxn>
              <a:cxn ang="0">
                <a:pos x="connsiteX24948" y="connsiteY24948"/>
              </a:cxn>
              <a:cxn ang="0">
                <a:pos x="connsiteX24949" y="connsiteY24949"/>
              </a:cxn>
              <a:cxn ang="0">
                <a:pos x="connsiteX24950" y="connsiteY24950"/>
              </a:cxn>
              <a:cxn ang="0">
                <a:pos x="connsiteX24951" y="connsiteY24951"/>
              </a:cxn>
              <a:cxn ang="0">
                <a:pos x="connsiteX24952" y="connsiteY24952"/>
              </a:cxn>
              <a:cxn ang="0">
                <a:pos x="connsiteX24953" y="connsiteY24953"/>
              </a:cxn>
              <a:cxn ang="0">
                <a:pos x="connsiteX24954" y="connsiteY24954"/>
              </a:cxn>
              <a:cxn ang="0">
                <a:pos x="connsiteX24955" y="connsiteY24955"/>
              </a:cxn>
              <a:cxn ang="0">
                <a:pos x="connsiteX24956" y="connsiteY24956"/>
              </a:cxn>
              <a:cxn ang="0">
                <a:pos x="connsiteX24957" y="connsiteY24957"/>
              </a:cxn>
              <a:cxn ang="0">
                <a:pos x="connsiteX24958" y="connsiteY24958"/>
              </a:cxn>
              <a:cxn ang="0">
                <a:pos x="connsiteX24959" y="connsiteY24959"/>
              </a:cxn>
              <a:cxn ang="0">
                <a:pos x="connsiteX24960" y="connsiteY24960"/>
              </a:cxn>
              <a:cxn ang="0">
                <a:pos x="connsiteX24961" y="connsiteY24961"/>
              </a:cxn>
              <a:cxn ang="0">
                <a:pos x="connsiteX24962" y="connsiteY24962"/>
              </a:cxn>
              <a:cxn ang="0">
                <a:pos x="connsiteX24963" y="connsiteY24963"/>
              </a:cxn>
              <a:cxn ang="0">
                <a:pos x="connsiteX24964" y="connsiteY24964"/>
              </a:cxn>
              <a:cxn ang="0">
                <a:pos x="connsiteX24965" y="connsiteY24965"/>
              </a:cxn>
              <a:cxn ang="0">
                <a:pos x="connsiteX24966" y="connsiteY24966"/>
              </a:cxn>
              <a:cxn ang="0">
                <a:pos x="connsiteX24967" y="connsiteY24967"/>
              </a:cxn>
              <a:cxn ang="0">
                <a:pos x="connsiteX24968" y="connsiteY24968"/>
              </a:cxn>
              <a:cxn ang="0">
                <a:pos x="connsiteX24969" y="connsiteY24969"/>
              </a:cxn>
              <a:cxn ang="0">
                <a:pos x="connsiteX24970" y="connsiteY24970"/>
              </a:cxn>
              <a:cxn ang="0">
                <a:pos x="connsiteX24971" y="connsiteY24971"/>
              </a:cxn>
              <a:cxn ang="0">
                <a:pos x="connsiteX24972" y="connsiteY24972"/>
              </a:cxn>
              <a:cxn ang="0">
                <a:pos x="connsiteX24973" y="connsiteY24973"/>
              </a:cxn>
              <a:cxn ang="0">
                <a:pos x="connsiteX24974" y="connsiteY24974"/>
              </a:cxn>
              <a:cxn ang="0">
                <a:pos x="connsiteX24975" y="connsiteY24975"/>
              </a:cxn>
              <a:cxn ang="0">
                <a:pos x="connsiteX24976" y="connsiteY24976"/>
              </a:cxn>
              <a:cxn ang="0">
                <a:pos x="connsiteX24977" y="connsiteY24977"/>
              </a:cxn>
              <a:cxn ang="0">
                <a:pos x="connsiteX24978" y="connsiteY24978"/>
              </a:cxn>
              <a:cxn ang="0">
                <a:pos x="connsiteX24979" y="connsiteY24979"/>
              </a:cxn>
              <a:cxn ang="0">
                <a:pos x="connsiteX24980" y="connsiteY24980"/>
              </a:cxn>
              <a:cxn ang="0">
                <a:pos x="connsiteX24981" y="connsiteY24981"/>
              </a:cxn>
              <a:cxn ang="0">
                <a:pos x="connsiteX24982" y="connsiteY24982"/>
              </a:cxn>
              <a:cxn ang="0">
                <a:pos x="connsiteX24983" y="connsiteY24983"/>
              </a:cxn>
              <a:cxn ang="0">
                <a:pos x="connsiteX24984" y="connsiteY24984"/>
              </a:cxn>
              <a:cxn ang="0">
                <a:pos x="connsiteX24985" y="connsiteY24985"/>
              </a:cxn>
              <a:cxn ang="0">
                <a:pos x="connsiteX24986" y="connsiteY24986"/>
              </a:cxn>
              <a:cxn ang="0">
                <a:pos x="connsiteX24987" y="connsiteY24987"/>
              </a:cxn>
              <a:cxn ang="0">
                <a:pos x="connsiteX24988" y="connsiteY24988"/>
              </a:cxn>
              <a:cxn ang="0">
                <a:pos x="connsiteX24989" y="connsiteY24989"/>
              </a:cxn>
              <a:cxn ang="0">
                <a:pos x="connsiteX24990" y="connsiteY24990"/>
              </a:cxn>
              <a:cxn ang="0">
                <a:pos x="connsiteX24991" y="connsiteY24991"/>
              </a:cxn>
              <a:cxn ang="0">
                <a:pos x="connsiteX24992" y="connsiteY24992"/>
              </a:cxn>
              <a:cxn ang="0">
                <a:pos x="connsiteX24993" y="connsiteY24993"/>
              </a:cxn>
              <a:cxn ang="0">
                <a:pos x="connsiteX24994" y="connsiteY24994"/>
              </a:cxn>
              <a:cxn ang="0">
                <a:pos x="connsiteX24995" y="connsiteY24995"/>
              </a:cxn>
              <a:cxn ang="0">
                <a:pos x="connsiteX24996" y="connsiteY24996"/>
              </a:cxn>
              <a:cxn ang="0">
                <a:pos x="connsiteX24997" y="connsiteY24997"/>
              </a:cxn>
              <a:cxn ang="0">
                <a:pos x="connsiteX24998" y="connsiteY24998"/>
              </a:cxn>
              <a:cxn ang="0">
                <a:pos x="connsiteX24999" y="connsiteY24999"/>
              </a:cxn>
              <a:cxn ang="0">
                <a:pos x="connsiteX25000" y="connsiteY25000"/>
              </a:cxn>
              <a:cxn ang="0">
                <a:pos x="connsiteX25001" y="connsiteY25001"/>
              </a:cxn>
              <a:cxn ang="0">
                <a:pos x="connsiteX25002" y="connsiteY25002"/>
              </a:cxn>
              <a:cxn ang="0">
                <a:pos x="connsiteX25003" y="connsiteY25003"/>
              </a:cxn>
              <a:cxn ang="0">
                <a:pos x="connsiteX25004" y="connsiteY25004"/>
              </a:cxn>
              <a:cxn ang="0">
                <a:pos x="connsiteX25005" y="connsiteY25005"/>
              </a:cxn>
              <a:cxn ang="0">
                <a:pos x="connsiteX25006" y="connsiteY25006"/>
              </a:cxn>
              <a:cxn ang="0">
                <a:pos x="connsiteX25007" y="connsiteY25007"/>
              </a:cxn>
              <a:cxn ang="0">
                <a:pos x="connsiteX25008" y="connsiteY25008"/>
              </a:cxn>
              <a:cxn ang="0">
                <a:pos x="connsiteX25009" y="connsiteY25009"/>
              </a:cxn>
              <a:cxn ang="0">
                <a:pos x="connsiteX25010" y="connsiteY25010"/>
              </a:cxn>
              <a:cxn ang="0">
                <a:pos x="connsiteX25011" y="connsiteY25011"/>
              </a:cxn>
              <a:cxn ang="0">
                <a:pos x="connsiteX25012" y="connsiteY25012"/>
              </a:cxn>
              <a:cxn ang="0">
                <a:pos x="connsiteX25013" y="connsiteY25013"/>
              </a:cxn>
              <a:cxn ang="0">
                <a:pos x="connsiteX25014" y="connsiteY25014"/>
              </a:cxn>
              <a:cxn ang="0">
                <a:pos x="connsiteX25015" y="connsiteY25015"/>
              </a:cxn>
              <a:cxn ang="0">
                <a:pos x="connsiteX25016" y="connsiteY25016"/>
              </a:cxn>
              <a:cxn ang="0">
                <a:pos x="connsiteX25017" y="connsiteY25017"/>
              </a:cxn>
              <a:cxn ang="0">
                <a:pos x="connsiteX25018" y="connsiteY25018"/>
              </a:cxn>
              <a:cxn ang="0">
                <a:pos x="connsiteX25019" y="connsiteY25019"/>
              </a:cxn>
              <a:cxn ang="0">
                <a:pos x="connsiteX25020" y="connsiteY25020"/>
              </a:cxn>
              <a:cxn ang="0">
                <a:pos x="connsiteX25021" y="connsiteY25021"/>
              </a:cxn>
              <a:cxn ang="0">
                <a:pos x="connsiteX25022" y="connsiteY25022"/>
              </a:cxn>
              <a:cxn ang="0">
                <a:pos x="connsiteX25023" y="connsiteY25023"/>
              </a:cxn>
              <a:cxn ang="0">
                <a:pos x="connsiteX25024" y="connsiteY25024"/>
              </a:cxn>
              <a:cxn ang="0">
                <a:pos x="connsiteX25025" y="connsiteY25025"/>
              </a:cxn>
              <a:cxn ang="0">
                <a:pos x="connsiteX25026" y="connsiteY25026"/>
              </a:cxn>
              <a:cxn ang="0">
                <a:pos x="connsiteX25027" y="connsiteY25027"/>
              </a:cxn>
              <a:cxn ang="0">
                <a:pos x="connsiteX25028" y="connsiteY25028"/>
              </a:cxn>
              <a:cxn ang="0">
                <a:pos x="connsiteX25029" y="connsiteY25029"/>
              </a:cxn>
              <a:cxn ang="0">
                <a:pos x="connsiteX25030" y="connsiteY25030"/>
              </a:cxn>
              <a:cxn ang="0">
                <a:pos x="connsiteX25031" y="connsiteY25031"/>
              </a:cxn>
              <a:cxn ang="0">
                <a:pos x="connsiteX25032" y="connsiteY25032"/>
              </a:cxn>
              <a:cxn ang="0">
                <a:pos x="connsiteX25033" y="connsiteY25033"/>
              </a:cxn>
              <a:cxn ang="0">
                <a:pos x="connsiteX25034" y="connsiteY25034"/>
              </a:cxn>
              <a:cxn ang="0">
                <a:pos x="connsiteX25035" y="connsiteY25035"/>
              </a:cxn>
              <a:cxn ang="0">
                <a:pos x="connsiteX25036" y="connsiteY25036"/>
              </a:cxn>
              <a:cxn ang="0">
                <a:pos x="connsiteX25037" y="connsiteY25037"/>
              </a:cxn>
              <a:cxn ang="0">
                <a:pos x="connsiteX25038" y="connsiteY25038"/>
              </a:cxn>
              <a:cxn ang="0">
                <a:pos x="connsiteX25039" y="connsiteY25039"/>
              </a:cxn>
              <a:cxn ang="0">
                <a:pos x="connsiteX25040" y="connsiteY25040"/>
              </a:cxn>
              <a:cxn ang="0">
                <a:pos x="connsiteX25041" y="connsiteY25041"/>
              </a:cxn>
              <a:cxn ang="0">
                <a:pos x="connsiteX25042" y="connsiteY25042"/>
              </a:cxn>
              <a:cxn ang="0">
                <a:pos x="connsiteX25043" y="connsiteY25043"/>
              </a:cxn>
              <a:cxn ang="0">
                <a:pos x="connsiteX25044" y="connsiteY25044"/>
              </a:cxn>
              <a:cxn ang="0">
                <a:pos x="connsiteX25045" y="connsiteY25045"/>
              </a:cxn>
              <a:cxn ang="0">
                <a:pos x="connsiteX25046" y="connsiteY25046"/>
              </a:cxn>
              <a:cxn ang="0">
                <a:pos x="connsiteX25047" y="connsiteY25047"/>
              </a:cxn>
              <a:cxn ang="0">
                <a:pos x="connsiteX25048" y="connsiteY25048"/>
              </a:cxn>
              <a:cxn ang="0">
                <a:pos x="connsiteX25049" y="connsiteY25049"/>
              </a:cxn>
              <a:cxn ang="0">
                <a:pos x="connsiteX25050" y="connsiteY25050"/>
              </a:cxn>
              <a:cxn ang="0">
                <a:pos x="connsiteX25051" y="connsiteY25051"/>
              </a:cxn>
              <a:cxn ang="0">
                <a:pos x="connsiteX25052" y="connsiteY25052"/>
              </a:cxn>
              <a:cxn ang="0">
                <a:pos x="connsiteX25053" y="connsiteY25053"/>
              </a:cxn>
              <a:cxn ang="0">
                <a:pos x="connsiteX25054" y="connsiteY25054"/>
              </a:cxn>
              <a:cxn ang="0">
                <a:pos x="connsiteX25055" y="connsiteY25055"/>
              </a:cxn>
              <a:cxn ang="0">
                <a:pos x="connsiteX25056" y="connsiteY25056"/>
              </a:cxn>
              <a:cxn ang="0">
                <a:pos x="connsiteX25057" y="connsiteY25057"/>
              </a:cxn>
              <a:cxn ang="0">
                <a:pos x="connsiteX25058" y="connsiteY25058"/>
              </a:cxn>
              <a:cxn ang="0">
                <a:pos x="connsiteX25059" y="connsiteY25059"/>
              </a:cxn>
              <a:cxn ang="0">
                <a:pos x="connsiteX25060" y="connsiteY25060"/>
              </a:cxn>
              <a:cxn ang="0">
                <a:pos x="connsiteX25061" y="connsiteY25061"/>
              </a:cxn>
              <a:cxn ang="0">
                <a:pos x="connsiteX25062" y="connsiteY25062"/>
              </a:cxn>
              <a:cxn ang="0">
                <a:pos x="connsiteX25063" y="connsiteY25063"/>
              </a:cxn>
              <a:cxn ang="0">
                <a:pos x="connsiteX25064" y="connsiteY25064"/>
              </a:cxn>
              <a:cxn ang="0">
                <a:pos x="connsiteX25065" y="connsiteY25065"/>
              </a:cxn>
              <a:cxn ang="0">
                <a:pos x="connsiteX25066" y="connsiteY25066"/>
              </a:cxn>
              <a:cxn ang="0">
                <a:pos x="connsiteX25067" y="connsiteY25067"/>
              </a:cxn>
              <a:cxn ang="0">
                <a:pos x="connsiteX25068" y="connsiteY25068"/>
              </a:cxn>
              <a:cxn ang="0">
                <a:pos x="connsiteX25069" y="connsiteY25069"/>
              </a:cxn>
              <a:cxn ang="0">
                <a:pos x="connsiteX25070" y="connsiteY25070"/>
              </a:cxn>
              <a:cxn ang="0">
                <a:pos x="connsiteX25071" y="connsiteY25071"/>
              </a:cxn>
              <a:cxn ang="0">
                <a:pos x="connsiteX25072" y="connsiteY25072"/>
              </a:cxn>
              <a:cxn ang="0">
                <a:pos x="connsiteX25073" y="connsiteY25073"/>
              </a:cxn>
              <a:cxn ang="0">
                <a:pos x="connsiteX25074" y="connsiteY25074"/>
              </a:cxn>
              <a:cxn ang="0">
                <a:pos x="connsiteX25075" y="connsiteY25075"/>
              </a:cxn>
              <a:cxn ang="0">
                <a:pos x="connsiteX25076" y="connsiteY25076"/>
              </a:cxn>
              <a:cxn ang="0">
                <a:pos x="connsiteX25077" y="connsiteY25077"/>
              </a:cxn>
              <a:cxn ang="0">
                <a:pos x="connsiteX25078" y="connsiteY25078"/>
              </a:cxn>
              <a:cxn ang="0">
                <a:pos x="connsiteX25079" y="connsiteY25079"/>
              </a:cxn>
              <a:cxn ang="0">
                <a:pos x="connsiteX25080" y="connsiteY25080"/>
              </a:cxn>
              <a:cxn ang="0">
                <a:pos x="connsiteX25081" y="connsiteY25081"/>
              </a:cxn>
              <a:cxn ang="0">
                <a:pos x="connsiteX25082" y="connsiteY25082"/>
              </a:cxn>
              <a:cxn ang="0">
                <a:pos x="connsiteX25083" y="connsiteY25083"/>
              </a:cxn>
              <a:cxn ang="0">
                <a:pos x="connsiteX25084" y="connsiteY25084"/>
              </a:cxn>
              <a:cxn ang="0">
                <a:pos x="connsiteX25085" y="connsiteY25085"/>
              </a:cxn>
              <a:cxn ang="0">
                <a:pos x="connsiteX25086" y="connsiteY25086"/>
              </a:cxn>
              <a:cxn ang="0">
                <a:pos x="connsiteX25087" y="connsiteY25087"/>
              </a:cxn>
              <a:cxn ang="0">
                <a:pos x="connsiteX25088" y="connsiteY25088"/>
              </a:cxn>
              <a:cxn ang="0">
                <a:pos x="connsiteX25089" y="connsiteY25089"/>
              </a:cxn>
              <a:cxn ang="0">
                <a:pos x="connsiteX25090" y="connsiteY25090"/>
              </a:cxn>
              <a:cxn ang="0">
                <a:pos x="connsiteX25091" y="connsiteY25091"/>
              </a:cxn>
              <a:cxn ang="0">
                <a:pos x="connsiteX25092" y="connsiteY25092"/>
              </a:cxn>
              <a:cxn ang="0">
                <a:pos x="connsiteX25093" y="connsiteY25093"/>
              </a:cxn>
              <a:cxn ang="0">
                <a:pos x="connsiteX25094" y="connsiteY25094"/>
              </a:cxn>
              <a:cxn ang="0">
                <a:pos x="connsiteX25095" y="connsiteY25095"/>
              </a:cxn>
              <a:cxn ang="0">
                <a:pos x="connsiteX25096" y="connsiteY25096"/>
              </a:cxn>
              <a:cxn ang="0">
                <a:pos x="connsiteX25097" y="connsiteY25097"/>
              </a:cxn>
              <a:cxn ang="0">
                <a:pos x="connsiteX25098" y="connsiteY25098"/>
              </a:cxn>
              <a:cxn ang="0">
                <a:pos x="connsiteX25099" y="connsiteY25099"/>
              </a:cxn>
              <a:cxn ang="0">
                <a:pos x="connsiteX25100" y="connsiteY25100"/>
              </a:cxn>
              <a:cxn ang="0">
                <a:pos x="connsiteX25101" y="connsiteY25101"/>
              </a:cxn>
              <a:cxn ang="0">
                <a:pos x="connsiteX25102" y="connsiteY25102"/>
              </a:cxn>
              <a:cxn ang="0">
                <a:pos x="connsiteX25103" y="connsiteY25103"/>
              </a:cxn>
              <a:cxn ang="0">
                <a:pos x="connsiteX25104" y="connsiteY25104"/>
              </a:cxn>
              <a:cxn ang="0">
                <a:pos x="connsiteX25105" y="connsiteY25105"/>
              </a:cxn>
              <a:cxn ang="0">
                <a:pos x="connsiteX25106" y="connsiteY25106"/>
              </a:cxn>
              <a:cxn ang="0">
                <a:pos x="connsiteX25107" y="connsiteY25107"/>
              </a:cxn>
              <a:cxn ang="0">
                <a:pos x="connsiteX25108" y="connsiteY25108"/>
              </a:cxn>
              <a:cxn ang="0">
                <a:pos x="connsiteX25109" y="connsiteY25109"/>
              </a:cxn>
              <a:cxn ang="0">
                <a:pos x="connsiteX25110" y="connsiteY25110"/>
              </a:cxn>
              <a:cxn ang="0">
                <a:pos x="connsiteX25111" y="connsiteY25111"/>
              </a:cxn>
              <a:cxn ang="0">
                <a:pos x="connsiteX25112" y="connsiteY25112"/>
              </a:cxn>
              <a:cxn ang="0">
                <a:pos x="connsiteX25113" y="connsiteY25113"/>
              </a:cxn>
              <a:cxn ang="0">
                <a:pos x="connsiteX25114" y="connsiteY25114"/>
              </a:cxn>
              <a:cxn ang="0">
                <a:pos x="connsiteX25115" y="connsiteY25115"/>
              </a:cxn>
              <a:cxn ang="0">
                <a:pos x="connsiteX25116" y="connsiteY25116"/>
              </a:cxn>
              <a:cxn ang="0">
                <a:pos x="connsiteX25117" y="connsiteY25117"/>
              </a:cxn>
              <a:cxn ang="0">
                <a:pos x="connsiteX25118" y="connsiteY25118"/>
              </a:cxn>
              <a:cxn ang="0">
                <a:pos x="connsiteX25119" y="connsiteY25119"/>
              </a:cxn>
              <a:cxn ang="0">
                <a:pos x="connsiteX25120" y="connsiteY25120"/>
              </a:cxn>
              <a:cxn ang="0">
                <a:pos x="connsiteX25121" y="connsiteY25121"/>
              </a:cxn>
              <a:cxn ang="0">
                <a:pos x="connsiteX25122" y="connsiteY25122"/>
              </a:cxn>
              <a:cxn ang="0">
                <a:pos x="connsiteX25123" y="connsiteY25123"/>
              </a:cxn>
              <a:cxn ang="0">
                <a:pos x="connsiteX25124" y="connsiteY25124"/>
              </a:cxn>
              <a:cxn ang="0">
                <a:pos x="connsiteX25125" y="connsiteY25125"/>
              </a:cxn>
              <a:cxn ang="0">
                <a:pos x="connsiteX25126" y="connsiteY25126"/>
              </a:cxn>
              <a:cxn ang="0">
                <a:pos x="connsiteX25127" y="connsiteY25127"/>
              </a:cxn>
              <a:cxn ang="0">
                <a:pos x="connsiteX25128" y="connsiteY25128"/>
              </a:cxn>
              <a:cxn ang="0">
                <a:pos x="connsiteX25129" y="connsiteY25129"/>
              </a:cxn>
              <a:cxn ang="0">
                <a:pos x="connsiteX25130" y="connsiteY25130"/>
              </a:cxn>
              <a:cxn ang="0">
                <a:pos x="connsiteX25131" y="connsiteY25131"/>
              </a:cxn>
              <a:cxn ang="0">
                <a:pos x="connsiteX25132" y="connsiteY25132"/>
              </a:cxn>
              <a:cxn ang="0">
                <a:pos x="connsiteX25133" y="connsiteY25133"/>
              </a:cxn>
              <a:cxn ang="0">
                <a:pos x="connsiteX25134" y="connsiteY25134"/>
              </a:cxn>
              <a:cxn ang="0">
                <a:pos x="connsiteX25135" y="connsiteY25135"/>
              </a:cxn>
              <a:cxn ang="0">
                <a:pos x="connsiteX25136" y="connsiteY25136"/>
              </a:cxn>
              <a:cxn ang="0">
                <a:pos x="connsiteX25137" y="connsiteY25137"/>
              </a:cxn>
              <a:cxn ang="0">
                <a:pos x="connsiteX25138" y="connsiteY25138"/>
              </a:cxn>
              <a:cxn ang="0">
                <a:pos x="connsiteX25139" y="connsiteY25139"/>
              </a:cxn>
              <a:cxn ang="0">
                <a:pos x="connsiteX25140" y="connsiteY25140"/>
              </a:cxn>
              <a:cxn ang="0">
                <a:pos x="connsiteX25141" y="connsiteY25141"/>
              </a:cxn>
              <a:cxn ang="0">
                <a:pos x="connsiteX25142" y="connsiteY25142"/>
              </a:cxn>
              <a:cxn ang="0">
                <a:pos x="connsiteX25143" y="connsiteY25143"/>
              </a:cxn>
              <a:cxn ang="0">
                <a:pos x="connsiteX25144" y="connsiteY25144"/>
              </a:cxn>
              <a:cxn ang="0">
                <a:pos x="connsiteX25145" y="connsiteY25145"/>
              </a:cxn>
              <a:cxn ang="0">
                <a:pos x="connsiteX25146" y="connsiteY25146"/>
              </a:cxn>
              <a:cxn ang="0">
                <a:pos x="connsiteX25147" y="connsiteY25147"/>
              </a:cxn>
              <a:cxn ang="0">
                <a:pos x="connsiteX25148" y="connsiteY25148"/>
              </a:cxn>
              <a:cxn ang="0">
                <a:pos x="connsiteX25149" y="connsiteY25149"/>
              </a:cxn>
              <a:cxn ang="0">
                <a:pos x="connsiteX25150" y="connsiteY25150"/>
              </a:cxn>
              <a:cxn ang="0">
                <a:pos x="connsiteX25151" y="connsiteY25151"/>
              </a:cxn>
              <a:cxn ang="0">
                <a:pos x="connsiteX25152" y="connsiteY25152"/>
              </a:cxn>
              <a:cxn ang="0">
                <a:pos x="connsiteX25153" y="connsiteY25153"/>
              </a:cxn>
              <a:cxn ang="0">
                <a:pos x="connsiteX25154" y="connsiteY25154"/>
              </a:cxn>
              <a:cxn ang="0">
                <a:pos x="connsiteX25155" y="connsiteY25155"/>
              </a:cxn>
              <a:cxn ang="0">
                <a:pos x="connsiteX25156" y="connsiteY25156"/>
              </a:cxn>
              <a:cxn ang="0">
                <a:pos x="connsiteX25157" y="connsiteY25157"/>
              </a:cxn>
              <a:cxn ang="0">
                <a:pos x="connsiteX25158" y="connsiteY25158"/>
              </a:cxn>
              <a:cxn ang="0">
                <a:pos x="connsiteX25159" y="connsiteY25159"/>
              </a:cxn>
              <a:cxn ang="0">
                <a:pos x="connsiteX25160" y="connsiteY25160"/>
              </a:cxn>
              <a:cxn ang="0">
                <a:pos x="connsiteX25161" y="connsiteY25161"/>
              </a:cxn>
              <a:cxn ang="0">
                <a:pos x="connsiteX25162" y="connsiteY25162"/>
              </a:cxn>
              <a:cxn ang="0">
                <a:pos x="connsiteX25163" y="connsiteY25163"/>
              </a:cxn>
              <a:cxn ang="0">
                <a:pos x="connsiteX25164" y="connsiteY25164"/>
              </a:cxn>
              <a:cxn ang="0">
                <a:pos x="connsiteX25165" y="connsiteY25165"/>
              </a:cxn>
              <a:cxn ang="0">
                <a:pos x="connsiteX25166" y="connsiteY25166"/>
              </a:cxn>
              <a:cxn ang="0">
                <a:pos x="connsiteX25167" y="connsiteY25167"/>
              </a:cxn>
              <a:cxn ang="0">
                <a:pos x="connsiteX25168" y="connsiteY25168"/>
              </a:cxn>
              <a:cxn ang="0">
                <a:pos x="connsiteX25169" y="connsiteY25169"/>
              </a:cxn>
              <a:cxn ang="0">
                <a:pos x="connsiteX25170" y="connsiteY25170"/>
              </a:cxn>
              <a:cxn ang="0">
                <a:pos x="connsiteX25171" y="connsiteY25171"/>
              </a:cxn>
              <a:cxn ang="0">
                <a:pos x="connsiteX25172" y="connsiteY25172"/>
              </a:cxn>
              <a:cxn ang="0">
                <a:pos x="connsiteX25173" y="connsiteY25173"/>
              </a:cxn>
              <a:cxn ang="0">
                <a:pos x="connsiteX25174" y="connsiteY25174"/>
              </a:cxn>
              <a:cxn ang="0">
                <a:pos x="connsiteX25175" y="connsiteY25175"/>
              </a:cxn>
              <a:cxn ang="0">
                <a:pos x="connsiteX25176" y="connsiteY25176"/>
              </a:cxn>
              <a:cxn ang="0">
                <a:pos x="connsiteX25177" y="connsiteY25177"/>
              </a:cxn>
              <a:cxn ang="0">
                <a:pos x="connsiteX25178" y="connsiteY25178"/>
              </a:cxn>
              <a:cxn ang="0">
                <a:pos x="connsiteX25179" y="connsiteY25179"/>
              </a:cxn>
              <a:cxn ang="0">
                <a:pos x="connsiteX25180" y="connsiteY25180"/>
              </a:cxn>
              <a:cxn ang="0">
                <a:pos x="connsiteX25181" y="connsiteY25181"/>
              </a:cxn>
              <a:cxn ang="0">
                <a:pos x="connsiteX25182" y="connsiteY25182"/>
              </a:cxn>
              <a:cxn ang="0">
                <a:pos x="connsiteX25183" y="connsiteY25183"/>
              </a:cxn>
              <a:cxn ang="0">
                <a:pos x="connsiteX25184" y="connsiteY25184"/>
              </a:cxn>
              <a:cxn ang="0">
                <a:pos x="connsiteX25185" y="connsiteY25185"/>
              </a:cxn>
              <a:cxn ang="0">
                <a:pos x="connsiteX25186" y="connsiteY25186"/>
              </a:cxn>
              <a:cxn ang="0">
                <a:pos x="connsiteX25187" y="connsiteY25187"/>
              </a:cxn>
              <a:cxn ang="0">
                <a:pos x="connsiteX25188" y="connsiteY25188"/>
              </a:cxn>
              <a:cxn ang="0">
                <a:pos x="connsiteX25189" y="connsiteY25189"/>
              </a:cxn>
              <a:cxn ang="0">
                <a:pos x="connsiteX25190" y="connsiteY25190"/>
              </a:cxn>
              <a:cxn ang="0">
                <a:pos x="connsiteX25191" y="connsiteY25191"/>
              </a:cxn>
              <a:cxn ang="0">
                <a:pos x="connsiteX25192" y="connsiteY25192"/>
              </a:cxn>
              <a:cxn ang="0">
                <a:pos x="connsiteX25193" y="connsiteY25193"/>
              </a:cxn>
              <a:cxn ang="0">
                <a:pos x="connsiteX25194" y="connsiteY25194"/>
              </a:cxn>
              <a:cxn ang="0">
                <a:pos x="connsiteX25195" y="connsiteY25195"/>
              </a:cxn>
              <a:cxn ang="0">
                <a:pos x="connsiteX25196" y="connsiteY25196"/>
              </a:cxn>
              <a:cxn ang="0">
                <a:pos x="connsiteX25197" y="connsiteY25197"/>
              </a:cxn>
              <a:cxn ang="0">
                <a:pos x="connsiteX25198" y="connsiteY25198"/>
              </a:cxn>
              <a:cxn ang="0">
                <a:pos x="connsiteX25199" y="connsiteY25199"/>
              </a:cxn>
              <a:cxn ang="0">
                <a:pos x="connsiteX25200" y="connsiteY25200"/>
              </a:cxn>
              <a:cxn ang="0">
                <a:pos x="connsiteX25201" y="connsiteY25201"/>
              </a:cxn>
              <a:cxn ang="0">
                <a:pos x="connsiteX25202" y="connsiteY25202"/>
              </a:cxn>
              <a:cxn ang="0">
                <a:pos x="connsiteX25203" y="connsiteY25203"/>
              </a:cxn>
              <a:cxn ang="0">
                <a:pos x="connsiteX25204" y="connsiteY25204"/>
              </a:cxn>
              <a:cxn ang="0">
                <a:pos x="connsiteX25205" y="connsiteY25205"/>
              </a:cxn>
              <a:cxn ang="0">
                <a:pos x="connsiteX25206" y="connsiteY25206"/>
              </a:cxn>
              <a:cxn ang="0">
                <a:pos x="connsiteX25207" y="connsiteY25207"/>
              </a:cxn>
              <a:cxn ang="0">
                <a:pos x="connsiteX25208" y="connsiteY25208"/>
              </a:cxn>
              <a:cxn ang="0">
                <a:pos x="connsiteX25209" y="connsiteY25209"/>
              </a:cxn>
              <a:cxn ang="0">
                <a:pos x="connsiteX25210" y="connsiteY25210"/>
              </a:cxn>
              <a:cxn ang="0">
                <a:pos x="connsiteX25211" y="connsiteY25211"/>
              </a:cxn>
              <a:cxn ang="0">
                <a:pos x="connsiteX25212" y="connsiteY25212"/>
              </a:cxn>
              <a:cxn ang="0">
                <a:pos x="connsiteX25213" y="connsiteY25213"/>
              </a:cxn>
              <a:cxn ang="0">
                <a:pos x="connsiteX25214" y="connsiteY25214"/>
              </a:cxn>
              <a:cxn ang="0">
                <a:pos x="connsiteX25215" y="connsiteY25215"/>
              </a:cxn>
              <a:cxn ang="0">
                <a:pos x="connsiteX25216" y="connsiteY25216"/>
              </a:cxn>
              <a:cxn ang="0">
                <a:pos x="connsiteX25217" y="connsiteY25217"/>
              </a:cxn>
              <a:cxn ang="0">
                <a:pos x="connsiteX25218" y="connsiteY25218"/>
              </a:cxn>
              <a:cxn ang="0">
                <a:pos x="connsiteX25219" y="connsiteY25219"/>
              </a:cxn>
              <a:cxn ang="0">
                <a:pos x="connsiteX25220" y="connsiteY25220"/>
              </a:cxn>
              <a:cxn ang="0">
                <a:pos x="connsiteX25221" y="connsiteY25221"/>
              </a:cxn>
              <a:cxn ang="0">
                <a:pos x="connsiteX25222" y="connsiteY25222"/>
              </a:cxn>
              <a:cxn ang="0">
                <a:pos x="connsiteX25223" y="connsiteY25223"/>
              </a:cxn>
              <a:cxn ang="0">
                <a:pos x="connsiteX25224" y="connsiteY25224"/>
              </a:cxn>
              <a:cxn ang="0">
                <a:pos x="connsiteX25225" y="connsiteY25225"/>
              </a:cxn>
              <a:cxn ang="0">
                <a:pos x="connsiteX25226" y="connsiteY25226"/>
              </a:cxn>
              <a:cxn ang="0">
                <a:pos x="connsiteX25227" y="connsiteY25227"/>
              </a:cxn>
              <a:cxn ang="0">
                <a:pos x="connsiteX25228" y="connsiteY25228"/>
              </a:cxn>
              <a:cxn ang="0">
                <a:pos x="connsiteX25229" y="connsiteY25229"/>
              </a:cxn>
              <a:cxn ang="0">
                <a:pos x="connsiteX25230" y="connsiteY25230"/>
              </a:cxn>
              <a:cxn ang="0">
                <a:pos x="connsiteX25231" y="connsiteY25231"/>
              </a:cxn>
              <a:cxn ang="0">
                <a:pos x="connsiteX25232" y="connsiteY25232"/>
              </a:cxn>
              <a:cxn ang="0">
                <a:pos x="connsiteX25233" y="connsiteY25233"/>
              </a:cxn>
              <a:cxn ang="0">
                <a:pos x="connsiteX25234" y="connsiteY25234"/>
              </a:cxn>
              <a:cxn ang="0">
                <a:pos x="connsiteX25235" y="connsiteY25235"/>
              </a:cxn>
              <a:cxn ang="0">
                <a:pos x="connsiteX25236" y="connsiteY25236"/>
              </a:cxn>
              <a:cxn ang="0">
                <a:pos x="connsiteX25237" y="connsiteY25237"/>
              </a:cxn>
              <a:cxn ang="0">
                <a:pos x="connsiteX25238" y="connsiteY25238"/>
              </a:cxn>
              <a:cxn ang="0">
                <a:pos x="connsiteX25239" y="connsiteY25239"/>
              </a:cxn>
              <a:cxn ang="0">
                <a:pos x="connsiteX25240" y="connsiteY25240"/>
              </a:cxn>
              <a:cxn ang="0">
                <a:pos x="connsiteX25241" y="connsiteY25241"/>
              </a:cxn>
              <a:cxn ang="0">
                <a:pos x="connsiteX25242" y="connsiteY25242"/>
              </a:cxn>
              <a:cxn ang="0">
                <a:pos x="connsiteX25243" y="connsiteY25243"/>
              </a:cxn>
              <a:cxn ang="0">
                <a:pos x="connsiteX25244" y="connsiteY25244"/>
              </a:cxn>
              <a:cxn ang="0">
                <a:pos x="connsiteX25245" y="connsiteY25245"/>
              </a:cxn>
              <a:cxn ang="0">
                <a:pos x="connsiteX25246" y="connsiteY25246"/>
              </a:cxn>
              <a:cxn ang="0">
                <a:pos x="connsiteX25247" y="connsiteY25247"/>
              </a:cxn>
              <a:cxn ang="0">
                <a:pos x="connsiteX25248" y="connsiteY25248"/>
              </a:cxn>
              <a:cxn ang="0">
                <a:pos x="connsiteX25249" y="connsiteY25249"/>
              </a:cxn>
              <a:cxn ang="0">
                <a:pos x="connsiteX25250" y="connsiteY25250"/>
              </a:cxn>
              <a:cxn ang="0">
                <a:pos x="connsiteX25251" y="connsiteY25251"/>
              </a:cxn>
              <a:cxn ang="0">
                <a:pos x="connsiteX25252" y="connsiteY25252"/>
              </a:cxn>
              <a:cxn ang="0">
                <a:pos x="connsiteX25253" y="connsiteY25253"/>
              </a:cxn>
              <a:cxn ang="0">
                <a:pos x="connsiteX25254" y="connsiteY25254"/>
              </a:cxn>
              <a:cxn ang="0">
                <a:pos x="connsiteX25255" y="connsiteY25255"/>
              </a:cxn>
              <a:cxn ang="0">
                <a:pos x="connsiteX25256" y="connsiteY25256"/>
              </a:cxn>
              <a:cxn ang="0">
                <a:pos x="connsiteX25257" y="connsiteY25257"/>
              </a:cxn>
              <a:cxn ang="0">
                <a:pos x="connsiteX25258" y="connsiteY25258"/>
              </a:cxn>
              <a:cxn ang="0">
                <a:pos x="connsiteX25259" y="connsiteY25259"/>
              </a:cxn>
              <a:cxn ang="0">
                <a:pos x="connsiteX25260" y="connsiteY25260"/>
              </a:cxn>
              <a:cxn ang="0">
                <a:pos x="connsiteX25261" y="connsiteY25261"/>
              </a:cxn>
              <a:cxn ang="0">
                <a:pos x="connsiteX25262" y="connsiteY25262"/>
              </a:cxn>
              <a:cxn ang="0">
                <a:pos x="connsiteX25263" y="connsiteY25263"/>
              </a:cxn>
              <a:cxn ang="0">
                <a:pos x="connsiteX25264" y="connsiteY25264"/>
              </a:cxn>
              <a:cxn ang="0">
                <a:pos x="connsiteX25265" y="connsiteY25265"/>
              </a:cxn>
              <a:cxn ang="0">
                <a:pos x="connsiteX25266" y="connsiteY25266"/>
              </a:cxn>
              <a:cxn ang="0">
                <a:pos x="connsiteX25267" y="connsiteY25267"/>
              </a:cxn>
              <a:cxn ang="0">
                <a:pos x="connsiteX25268" y="connsiteY25268"/>
              </a:cxn>
              <a:cxn ang="0">
                <a:pos x="connsiteX25269" y="connsiteY25269"/>
              </a:cxn>
              <a:cxn ang="0">
                <a:pos x="connsiteX25270" y="connsiteY25270"/>
              </a:cxn>
              <a:cxn ang="0">
                <a:pos x="connsiteX25271" y="connsiteY25271"/>
              </a:cxn>
              <a:cxn ang="0">
                <a:pos x="connsiteX25272" y="connsiteY25272"/>
              </a:cxn>
              <a:cxn ang="0">
                <a:pos x="connsiteX25273" y="connsiteY25273"/>
              </a:cxn>
              <a:cxn ang="0">
                <a:pos x="connsiteX25274" y="connsiteY25274"/>
              </a:cxn>
              <a:cxn ang="0">
                <a:pos x="connsiteX25275" y="connsiteY25275"/>
              </a:cxn>
              <a:cxn ang="0">
                <a:pos x="connsiteX25276" y="connsiteY25276"/>
              </a:cxn>
              <a:cxn ang="0">
                <a:pos x="connsiteX25277" y="connsiteY25277"/>
              </a:cxn>
              <a:cxn ang="0">
                <a:pos x="connsiteX25278" y="connsiteY25278"/>
              </a:cxn>
              <a:cxn ang="0">
                <a:pos x="connsiteX25279" y="connsiteY25279"/>
              </a:cxn>
              <a:cxn ang="0">
                <a:pos x="connsiteX25280" y="connsiteY25280"/>
              </a:cxn>
              <a:cxn ang="0">
                <a:pos x="connsiteX25281" y="connsiteY25281"/>
              </a:cxn>
              <a:cxn ang="0">
                <a:pos x="connsiteX25282" y="connsiteY25282"/>
              </a:cxn>
              <a:cxn ang="0">
                <a:pos x="connsiteX25283" y="connsiteY25283"/>
              </a:cxn>
              <a:cxn ang="0">
                <a:pos x="connsiteX25284" y="connsiteY25284"/>
              </a:cxn>
              <a:cxn ang="0">
                <a:pos x="connsiteX25285" y="connsiteY25285"/>
              </a:cxn>
              <a:cxn ang="0">
                <a:pos x="connsiteX25286" y="connsiteY25286"/>
              </a:cxn>
              <a:cxn ang="0">
                <a:pos x="connsiteX25287" y="connsiteY25287"/>
              </a:cxn>
              <a:cxn ang="0">
                <a:pos x="connsiteX25288" y="connsiteY25288"/>
              </a:cxn>
              <a:cxn ang="0">
                <a:pos x="connsiteX25289" y="connsiteY25289"/>
              </a:cxn>
              <a:cxn ang="0">
                <a:pos x="connsiteX25290" y="connsiteY25290"/>
              </a:cxn>
              <a:cxn ang="0">
                <a:pos x="connsiteX25291" y="connsiteY25291"/>
              </a:cxn>
              <a:cxn ang="0">
                <a:pos x="connsiteX25292" y="connsiteY25292"/>
              </a:cxn>
              <a:cxn ang="0">
                <a:pos x="connsiteX25293" y="connsiteY25293"/>
              </a:cxn>
              <a:cxn ang="0">
                <a:pos x="connsiteX25294" y="connsiteY25294"/>
              </a:cxn>
              <a:cxn ang="0">
                <a:pos x="connsiteX25295" y="connsiteY25295"/>
              </a:cxn>
              <a:cxn ang="0">
                <a:pos x="connsiteX25296" y="connsiteY25296"/>
              </a:cxn>
              <a:cxn ang="0">
                <a:pos x="connsiteX25297" y="connsiteY25297"/>
              </a:cxn>
              <a:cxn ang="0">
                <a:pos x="connsiteX25298" y="connsiteY25298"/>
              </a:cxn>
              <a:cxn ang="0">
                <a:pos x="connsiteX25299" y="connsiteY25299"/>
              </a:cxn>
              <a:cxn ang="0">
                <a:pos x="connsiteX25300" y="connsiteY25300"/>
              </a:cxn>
              <a:cxn ang="0">
                <a:pos x="connsiteX25301" y="connsiteY25301"/>
              </a:cxn>
              <a:cxn ang="0">
                <a:pos x="connsiteX25302" y="connsiteY25302"/>
              </a:cxn>
              <a:cxn ang="0">
                <a:pos x="connsiteX25303" y="connsiteY25303"/>
              </a:cxn>
              <a:cxn ang="0">
                <a:pos x="connsiteX25304" y="connsiteY25304"/>
              </a:cxn>
              <a:cxn ang="0">
                <a:pos x="connsiteX25305" y="connsiteY25305"/>
              </a:cxn>
              <a:cxn ang="0">
                <a:pos x="connsiteX25306" y="connsiteY25306"/>
              </a:cxn>
              <a:cxn ang="0">
                <a:pos x="connsiteX25307" y="connsiteY25307"/>
              </a:cxn>
              <a:cxn ang="0">
                <a:pos x="connsiteX25308" y="connsiteY25308"/>
              </a:cxn>
              <a:cxn ang="0">
                <a:pos x="connsiteX25309" y="connsiteY25309"/>
              </a:cxn>
              <a:cxn ang="0">
                <a:pos x="connsiteX25310" y="connsiteY25310"/>
              </a:cxn>
              <a:cxn ang="0">
                <a:pos x="connsiteX25311" y="connsiteY25311"/>
              </a:cxn>
              <a:cxn ang="0">
                <a:pos x="connsiteX25312" y="connsiteY25312"/>
              </a:cxn>
              <a:cxn ang="0">
                <a:pos x="connsiteX25313" y="connsiteY25313"/>
              </a:cxn>
              <a:cxn ang="0">
                <a:pos x="connsiteX25314" y="connsiteY25314"/>
              </a:cxn>
              <a:cxn ang="0">
                <a:pos x="connsiteX25315" y="connsiteY25315"/>
              </a:cxn>
              <a:cxn ang="0">
                <a:pos x="connsiteX25316" y="connsiteY25316"/>
              </a:cxn>
              <a:cxn ang="0">
                <a:pos x="connsiteX25317" y="connsiteY25317"/>
              </a:cxn>
              <a:cxn ang="0">
                <a:pos x="connsiteX25318" y="connsiteY25318"/>
              </a:cxn>
              <a:cxn ang="0">
                <a:pos x="connsiteX25319" y="connsiteY25319"/>
              </a:cxn>
              <a:cxn ang="0">
                <a:pos x="connsiteX25320" y="connsiteY25320"/>
              </a:cxn>
              <a:cxn ang="0">
                <a:pos x="connsiteX25321" y="connsiteY25321"/>
              </a:cxn>
              <a:cxn ang="0">
                <a:pos x="connsiteX25322" y="connsiteY25322"/>
              </a:cxn>
              <a:cxn ang="0">
                <a:pos x="connsiteX25323" y="connsiteY25323"/>
              </a:cxn>
              <a:cxn ang="0">
                <a:pos x="connsiteX25324" y="connsiteY25324"/>
              </a:cxn>
              <a:cxn ang="0">
                <a:pos x="connsiteX25325" y="connsiteY25325"/>
              </a:cxn>
              <a:cxn ang="0">
                <a:pos x="connsiteX25326" y="connsiteY25326"/>
              </a:cxn>
              <a:cxn ang="0">
                <a:pos x="connsiteX25327" y="connsiteY25327"/>
              </a:cxn>
              <a:cxn ang="0">
                <a:pos x="connsiteX25328" y="connsiteY25328"/>
              </a:cxn>
              <a:cxn ang="0">
                <a:pos x="connsiteX25329" y="connsiteY25329"/>
              </a:cxn>
              <a:cxn ang="0">
                <a:pos x="connsiteX25330" y="connsiteY25330"/>
              </a:cxn>
              <a:cxn ang="0">
                <a:pos x="connsiteX25331" y="connsiteY25331"/>
              </a:cxn>
              <a:cxn ang="0">
                <a:pos x="connsiteX25332" y="connsiteY25332"/>
              </a:cxn>
              <a:cxn ang="0">
                <a:pos x="connsiteX25333" y="connsiteY25333"/>
              </a:cxn>
              <a:cxn ang="0">
                <a:pos x="connsiteX25334" y="connsiteY25334"/>
              </a:cxn>
              <a:cxn ang="0">
                <a:pos x="connsiteX25335" y="connsiteY25335"/>
              </a:cxn>
              <a:cxn ang="0">
                <a:pos x="connsiteX25336" y="connsiteY25336"/>
              </a:cxn>
              <a:cxn ang="0">
                <a:pos x="connsiteX25337" y="connsiteY25337"/>
              </a:cxn>
              <a:cxn ang="0">
                <a:pos x="connsiteX25338" y="connsiteY25338"/>
              </a:cxn>
              <a:cxn ang="0">
                <a:pos x="connsiteX25339" y="connsiteY25339"/>
              </a:cxn>
              <a:cxn ang="0">
                <a:pos x="connsiteX25340" y="connsiteY25340"/>
              </a:cxn>
              <a:cxn ang="0">
                <a:pos x="connsiteX25341" y="connsiteY25341"/>
              </a:cxn>
              <a:cxn ang="0">
                <a:pos x="connsiteX25342" y="connsiteY25342"/>
              </a:cxn>
              <a:cxn ang="0">
                <a:pos x="connsiteX25343" y="connsiteY25343"/>
              </a:cxn>
              <a:cxn ang="0">
                <a:pos x="connsiteX25344" y="connsiteY25344"/>
              </a:cxn>
              <a:cxn ang="0">
                <a:pos x="connsiteX25345" y="connsiteY25345"/>
              </a:cxn>
              <a:cxn ang="0">
                <a:pos x="connsiteX25346" y="connsiteY25346"/>
              </a:cxn>
              <a:cxn ang="0">
                <a:pos x="connsiteX25347" y="connsiteY25347"/>
              </a:cxn>
              <a:cxn ang="0">
                <a:pos x="connsiteX25348" y="connsiteY25348"/>
              </a:cxn>
              <a:cxn ang="0">
                <a:pos x="connsiteX25349" y="connsiteY25349"/>
              </a:cxn>
              <a:cxn ang="0">
                <a:pos x="connsiteX25350" y="connsiteY25350"/>
              </a:cxn>
              <a:cxn ang="0">
                <a:pos x="connsiteX25351" y="connsiteY25351"/>
              </a:cxn>
              <a:cxn ang="0">
                <a:pos x="connsiteX25352" y="connsiteY25352"/>
              </a:cxn>
              <a:cxn ang="0">
                <a:pos x="connsiteX25353" y="connsiteY25353"/>
              </a:cxn>
              <a:cxn ang="0">
                <a:pos x="connsiteX25354" y="connsiteY25354"/>
              </a:cxn>
              <a:cxn ang="0">
                <a:pos x="connsiteX25355" y="connsiteY25355"/>
              </a:cxn>
              <a:cxn ang="0">
                <a:pos x="connsiteX25356" y="connsiteY25356"/>
              </a:cxn>
              <a:cxn ang="0">
                <a:pos x="connsiteX25357" y="connsiteY25357"/>
              </a:cxn>
              <a:cxn ang="0">
                <a:pos x="connsiteX25358" y="connsiteY25358"/>
              </a:cxn>
              <a:cxn ang="0">
                <a:pos x="connsiteX25359" y="connsiteY25359"/>
              </a:cxn>
              <a:cxn ang="0">
                <a:pos x="connsiteX25360" y="connsiteY25360"/>
              </a:cxn>
              <a:cxn ang="0">
                <a:pos x="connsiteX25361" y="connsiteY25361"/>
              </a:cxn>
              <a:cxn ang="0">
                <a:pos x="connsiteX25362" y="connsiteY25362"/>
              </a:cxn>
              <a:cxn ang="0">
                <a:pos x="connsiteX25363" y="connsiteY25363"/>
              </a:cxn>
              <a:cxn ang="0">
                <a:pos x="connsiteX25364" y="connsiteY25364"/>
              </a:cxn>
              <a:cxn ang="0">
                <a:pos x="connsiteX25365" y="connsiteY25365"/>
              </a:cxn>
              <a:cxn ang="0">
                <a:pos x="connsiteX25366" y="connsiteY25366"/>
              </a:cxn>
              <a:cxn ang="0">
                <a:pos x="connsiteX25367" y="connsiteY25367"/>
              </a:cxn>
              <a:cxn ang="0">
                <a:pos x="connsiteX25368" y="connsiteY25368"/>
              </a:cxn>
              <a:cxn ang="0">
                <a:pos x="connsiteX25369" y="connsiteY25369"/>
              </a:cxn>
              <a:cxn ang="0">
                <a:pos x="connsiteX25370" y="connsiteY25370"/>
              </a:cxn>
              <a:cxn ang="0">
                <a:pos x="connsiteX25371" y="connsiteY25371"/>
              </a:cxn>
              <a:cxn ang="0">
                <a:pos x="connsiteX25372" y="connsiteY25372"/>
              </a:cxn>
              <a:cxn ang="0">
                <a:pos x="connsiteX25373" y="connsiteY25373"/>
              </a:cxn>
              <a:cxn ang="0">
                <a:pos x="connsiteX25374" y="connsiteY25374"/>
              </a:cxn>
              <a:cxn ang="0">
                <a:pos x="connsiteX25375" y="connsiteY25375"/>
              </a:cxn>
              <a:cxn ang="0">
                <a:pos x="connsiteX25376" y="connsiteY25376"/>
              </a:cxn>
              <a:cxn ang="0">
                <a:pos x="connsiteX25377" y="connsiteY25377"/>
              </a:cxn>
              <a:cxn ang="0">
                <a:pos x="connsiteX25378" y="connsiteY25378"/>
              </a:cxn>
              <a:cxn ang="0">
                <a:pos x="connsiteX25379" y="connsiteY25379"/>
              </a:cxn>
              <a:cxn ang="0">
                <a:pos x="connsiteX25380" y="connsiteY25380"/>
              </a:cxn>
              <a:cxn ang="0">
                <a:pos x="connsiteX25381" y="connsiteY25381"/>
              </a:cxn>
              <a:cxn ang="0">
                <a:pos x="connsiteX25382" y="connsiteY25382"/>
              </a:cxn>
              <a:cxn ang="0">
                <a:pos x="connsiteX25383" y="connsiteY25383"/>
              </a:cxn>
              <a:cxn ang="0">
                <a:pos x="connsiteX25384" y="connsiteY25384"/>
              </a:cxn>
              <a:cxn ang="0">
                <a:pos x="connsiteX25385" y="connsiteY25385"/>
              </a:cxn>
              <a:cxn ang="0">
                <a:pos x="connsiteX25386" y="connsiteY25386"/>
              </a:cxn>
              <a:cxn ang="0">
                <a:pos x="connsiteX25387" y="connsiteY25387"/>
              </a:cxn>
              <a:cxn ang="0">
                <a:pos x="connsiteX25388" y="connsiteY25388"/>
              </a:cxn>
              <a:cxn ang="0">
                <a:pos x="connsiteX25389" y="connsiteY25389"/>
              </a:cxn>
              <a:cxn ang="0">
                <a:pos x="connsiteX25390" y="connsiteY25390"/>
              </a:cxn>
              <a:cxn ang="0">
                <a:pos x="connsiteX25391" y="connsiteY25391"/>
              </a:cxn>
              <a:cxn ang="0">
                <a:pos x="connsiteX25392" y="connsiteY25392"/>
              </a:cxn>
              <a:cxn ang="0">
                <a:pos x="connsiteX25393" y="connsiteY25393"/>
              </a:cxn>
              <a:cxn ang="0">
                <a:pos x="connsiteX25394" y="connsiteY25394"/>
              </a:cxn>
              <a:cxn ang="0">
                <a:pos x="connsiteX25395" y="connsiteY25395"/>
              </a:cxn>
              <a:cxn ang="0">
                <a:pos x="connsiteX25396" y="connsiteY25396"/>
              </a:cxn>
              <a:cxn ang="0">
                <a:pos x="connsiteX25397" y="connsiteY25397"/>
              </a:cxn>
              <a:cxn ang="0">
                <a:pos x="connsiteX25398" y="connsiteY25398"/>
              </a:cxn>
              <a:cxn ang="0">
                <a:pos x="connsiteX25399" y="connsiteY25399"/>
              </a:cxn>
              <a:cxn ang="0">
                <a:pos x="connsiteX25400" y="connsiteY25400"/>
              </a:cxn>
              <a:cxn ang="0">
                <a:pos x="connsiteX25401" y="connsiteY25401"/>
              </a:cxn>
              <a:cxn ang="0">
                <a:pos x="connsiteX25402" y="connsiteY25402"/>
              </a:cxn>
              <a:cxn ang="0">
                <a:pos x="connsiteX25403" y="connsiteY25403"/>
              </a:cxn>
              <a:cxn ang="0">
                <a:pos x="connsiteX25404" y="connsiteY25404"/>
              </a:cxn>
              <a:cxn ang="0">
                <a:pos x="connsiteX25405" y="connsiteY25405"/>
              </a:cxn>
              <a:cxn ang="0">
                <a:pos x="connsiteX25406" y="connsiteY25406"/>
              </a:cxn>
              <a:cxn ang="0">
                <a:pos x="connsiteX25407" y="connsiteY25407"/>
              </a:cxn>
              <a:cxn ang="0">
                <a:pos x="connsiteX25408" y="connsiteY25408"/>
              </a:cxn>
              <a:cxn ang="0">
                <a:pos x="connsiteX25409" y="connsiteY25409"/>
              </a:cxn>
              <a:cxn ang="0">
                <a:pos x="connsiteX25410" y="connsiteY25410"/>
              </a:cxn>
              <a:cxn ang="0">
                <a:pos x="connsiteX25411" y="connsiteY25411"/>
              </a:cxn>
              <a:cxn ang="0">
                <a:pos x="connsiteX25412" y="connsiteY25412"/>
              </a:cxn>
              <a:cxn ang="0">
                <a:pos x="connsiteX25413" y="connsiteY25413"/>
              </a:cxn>
              <a:cxn ang="0">
                <a:pos x="connsiteX25414" y="connsiteY25414"/>
              </a:cxn>
              <a:cxn ang="0">
                <a:pos x="connsiteX25415" y="connsiteY25415"/>
              </a:cxn>
              <a:cxn ang="0">
                <a:pos x="connsiteX25416" y="connsiteY25416"/>
              </a:cxn>
              <a:cxn ang="0">
                <a:pos x="connsiteX25417" y="connsiteY25417"/>
              </a:cxn>
              <a:cxn ang="0">
                <a:pos x="connsiteX25418" y="connsiteY25418"/>
              </a:cxn>
              <a:cxn ang="0">
                <a:pos x="connsiteX25419" y="connsiteY25419"/>
              </a:cxn>
              <a:cxn ang="0">
                <a:pos x="connsiteX25420" y="connsiteY25420"/>
              </a:cxn>
              <a:cxn ang="0">
                <a:pos x="connsiteX25421" y="connsiteY25421"/>
              </a:cxn>
              <a:cxn ang="0">
                <a:pos x="connsiteX25422" y="connsiteY25422"/>
              </a:cxn>
              <a:cxn ang="0">
                <a:pos x="connsiteX25423" y="connsiteY25423"/>
              </a:cxn>
              <a:cxn ang="0">
                <a:pos x="connsiteX25424" y="connsiteY25424"/>
              </a:cxn>
              <a:cxn ang="0">
                <a:pos x="connsiteX25425" y="connsiteY25425"/>
              </a:cxn>
              <a:cxn ang="0">
                <a:pos x="connsiteX25426" y="connsiteY25426"/>
              </a:cxn>
              <a:cxn ang="0">
                <a:pos x="connsiteX25427" y="connsiteY25427"/>
              </a:cxn>
              <a:cxn ang="0">
                <a:pos x="connsiteX25428" y="connsiteY25428"/>
              </a:cxn>
              <a:cxn ang="0">
                <a:pos x="connsiteX25429" y="connsiteY25429"/>
              </a:cxn>
              <a:cxn ang="0">
                <a:pos x="connsiteX25430" y="connsiteY25430"/>
              </a:cxn>
              <a:cxn ang="0">
                <a:pos x="connsiteX25431" y="connsiteY25431"/>
              </a:cxn>
              <a:cxn ang="0">
                <a:pos x="connsiteX25432" y="connsiteY25432"/>
              </a:cxn>
              <a:cxn ang="0">
                <a:pos x="connsiteX25433" y="connsiteY25433"/>
              </a:cxn>
              <a:cxn ang="0">
                <a:pos x="connsiteX25434" y="connsiteY25434"/>
              </a:cxn>
              <a:cxn ang="0">
                <a:pos x="connsiteX25435" y="connsiteY25435"/>
              </a:cxn>
              <a:cxn ang="0">
                <a:pos x="connsiteX25436" y="connsiteY25436"/>
              </a:cxn>
              <a:cxn ang="0">
                <a:pos x="connsiteX25437" y="connsiteY25437"/>
              </a:cxn>
              <a:cxn ang="0">
                <a:pos x="connsiteX25438" y="connsiteY25438"/>
              </a:cxn>
              <a:cxn ang="0">
                <a:pos x="connsiteX25439" y="connsiteY25439"/>
              </a:cxn>
              <a:cxn ang="0">
                <a:pos x="connsiteX25440" y="connsiteY25440"/>
              </a:cxn>
              <a:cxn ang="0">
                <a:pos x="connsiteX25441" y="connsiteY25441"/>
              </a:cxn>
              <a:cxn ang="0">
                <a:pos x="connsiteX25442" y="connsiteY25442"/>
              </a:cxn>
              <a:cxn ang="0">
                <a:pos x="connsiteX25443" y="connsiteY25443"/>
              </a:cxn>
              <a:cxn ang="0">
                <a:pos x="connsiteX25444" y="connsiteY25444"/>
              </a:cxn>
              <a:cxn ang="0">
                <a:pos x="connsiteX25445" y="connsiteY25445"/>
              </a:cxn>
              <a:cxn ang="0">
                <a:pos x="connsiteX25446" y="connsiteY25446"/>
              </a:cxn>
              <a:cxn ang="0">
                <a:pos x="connsiteX25447" y="connsiteY25447"/>
              </a:cxn>
              <a:cxn ang="0">
                <a:pos x="connsiteX25448" y="connsiteY25448"/>
              </a:cxn>
              <a:cxn ang="0">
                <a:pos x="connsiteX25449" y="connsiteY25449"/>
              </a:cxn>
              <a:cxn ang="0">
                <a:pos x="connsiteX25450" y="connsiteY25450"/>
              </a:cxn>
              <a:cxn ang="0">
                <a:pos x="connsiteX25451" y="connsiteY25451"/>
              </a:cxn>
              <a:cxn ang="0">
                <a:pos x="connsiteX25452" y="connsiteY25452"/>
              </a:cxn>
              <a:cxn ang="0">
                <a:pos x="connsiteX25453" y="connsiteY25453"/>
              </a:cxn>
              <a:cxn ang="0">
                <a:pos x="connsiteX25454" y="connsiteY25454"/>
              </a:cxn>
              <a:cxn ang="0">
                <a:pos x="connsiteX25455" y="connsiteY25455"/>
              </a:cxn>
              <a:cxn ang="0">
                <a:pos x="connsiteX25456" y="connsiteY25456"/>
              </a:cxn>
              <a:cxn ang="0">
                <a:pos x="connsiteX25457" y="connsiteY25457"/>
              </a:cxn>
              <a:cxn ang="0">
                <a:pos x="connsiteX25458" y="connsiteY25458"/>
              </a:cxn>
              <a:cxn ang="0">
                <a:pos x="connsiteX25459" y="connsiteY25459"/>
              </a:cxn>
              <a:cxn ang="0">
                <a:pos x="connsiteX25460" y="connsiteY25460"/>
              </a:cxn>
              <a:cxn ang="0">
                <a:pos x="connsiteX25461" y="connsiteY25461"/>
              </a:cxn>
              <a:cxn ang="0">
                <a:pos x="connsiteX25462" y="connsiteY25462"/>
              </a:cxn>
              <a:cxn ang="0">
                <a:pos x="connsiteX25463" y="connsiteY25463"/>
              </a:cxn>
              <a:cxn ang="0">
                <a:pos x="connsiteX25464" y="connsiteY25464"/>
              </a:cxn>
              <a:cxn ang="0">
                <a:pos x="connsiteX25465" y="connsiteY25465"/>
              </a:cxn>
              <a:cxn ang="0">
                <a:pos x="connsiteX25466" y="connsiteY25466"/>
              </a:cxn>
              <a:cxn ang="0">
                <a:pos x="connsiteX25467" y="connsiteY25467"/>
              </a:cxn>
              <a:cxn ang="0">
                <a:pos x="connsiteX25468" y="connsiteY25468"/>
              </a:cxn>
              <a:cxn ang="0">
                <a:pos x="connsiteX25469" y="connsiteY25469"/>
              </a:cxn>
              <a:cxn ang="0">
                <a:pos x="connsiteX25470" y="connsiteY25470"/>
              </a:cxn>
              <a:cxn ang="0">
                <a:pos x="connsiteX25471" y="connsiteY25471"/>
              </a:cxn>
              <a:cxn ang="0">
                <a:pos x="connsiteX25472" y="connsiteY25472"/>
              </a:cxn>
              <a:cxn ang="0">
                <a:pos x="connsiteX25473" y="connsiteY25473"/>
              </a:cxn>
              <a:cxn ang="0">
                <a:pos x="connsiteX25474" y="connsiteY25474"/>
              </a:cxn>
              <a:cxn ang="0">
                <a:pos x="connsiteX25475" y="connsiteY25475"/>
              </a:cxn>
              <a:cxn ang="0">
                <a:pos x="connsiteX25476" y="connsiteY25476"/>
              </a:cxn>
              <a:cxn ang="0">
                <a:pos x="connsiteX25477" y="connsiteY25477"/>
              </a:cxn>
              <a:cxn ang="0">
                <a:pos x="connsiteX25478" y="connsiteY25478"/>
              </a:cxn>
              <a:cxn ang="0">
                <a:pos x="connsiteX25479" y="connsiteY25479"/>
              </a:cxn>
              <a:cxn ang="0">
                <a:pos x="connsiteX25480" y="connsiteY25480"/>
              </a:cxn>
              <a:cxn ang="0">
                <a:pos x="connsiteX25481" y="connsiteY25481"/>
              </a:cxn>
              <a:cxn ang="0">
                <a:pos x="connsiteX25482" y="connsiteY25482"/>
              </a:cxn>
              <a:cxn ang="0">
                <a:pos x="connsiteX25483" y="connsiteY25483"/>
              </a:cxn>
              <a:cxn ang="0">
                <a:pos x="connsiteX25484" y="connsiteY25484"/>
              </a:cxn>
              <a:cxn ang="0">
                <a:pos x="connsiteX25485" y="connsiteY25485"/>
              </a:cxn>
              <a:cxn ang="0">
                <a:pos x="connsiteX25486" y="connsiteY25486"/>
              </a:cxn>
              <a:cxn ang="0">
                <a:pos x="connsiteX25487" y="connsiteY25487"/>
              </a:cxn>
              <a:cxn ang="0">
                <a:pos x="connsiteX25488" y="connsiteY25488"/>
              </a:cxn>
              <a:cxn ang="0">
                <a:pos x="connsiteX25489" y="connsiteY25489"/>
              </a:cxn>
              <a:cxn ang="0">
                <a:pos x="connsiteX25490" y="connsiteY25490"/>
              </a:cxn>
              <a:cxn ang="0">
                <a:pos x="connsiteX25491" y="connsiteY25491"/>
              </a:cxn>
              <a:cxn ang="0">
                <a:pos x="connsiteX25492" y="connsiteY25492"/>
              </a:cxn>
              <a:cxn ang="0">
                <a:pos x="connsiteX25493" y="connsiteY25493"/>
              </a:cxn>
              <a:cxn ang="0">
                <a:pos x="connsiteX25494" y="connsiteY25494"/>
              </a:cxn>
              <a:cxn ang="0">
                <a:pos x="connsiteX25495" y="connsiteY25495"/>
              </a:cxn>
              <a:cxn ang="0">
                <a:pos x="connsiteX25496" y="connsiteY25496"/>
              </a:cxn>
              <a:cxn ang="0">
                <a:pos x="connsiteX25497" y="connsiteY25497"/>
              </a:cxn>
              <a:cxn ang="0">
                <a:pos x="connsiteX25498" y="connsiteY25498"/>
              </a:cxn>
              <a:cxn ang="0">
                <a:pos x="connsiteX25499" y="connsiteY25499"/>
              </a:cxn>
              <a:cxn ang="0">
                <a:pos x="connsiteX25500" y="connsiteY25500"/>
              </a:cxn>
              <a:cxn ang="0">
                <a:pos x="connsiteX25501" y="connsiteY25501"/>
              </a:cxn>
              <a:cxn ang="0">
                <a:pos x="connsiteX25502" y="connsiteY25502"/>
              </a:cxn>
              <a:cxn ang="0">
                <a:pos x="connsiteX25503" y="connsiteY25503"/>
              </a:cxn>
              <a:cxn ang="0">
                <a:pos x="connsiteX25504" y="connsiteY25504"/>
              </a:cxn>
              <a:cxn ang="0">
                <a:pos x="connsiteX25505" y="connsiteY25505"/>
              </a:cxn>
              <a:cxn ang="0">
                <a:pos x="connsiteX25506" y="connsiteY25506"/>
              </a:cxn>
              <a:cxn ang="0">
                <a:pos x="connsiteX25507" y="connsiteY25507"/>
              </a:cxn>
              <a:cxn ang="0">
                <a:pos x="connsiteX25508" y="connsiteY25508"/>
              </a:cxn>
              <a:cxn ang="0">
                <a:pos x="connsiteX25509" y="connsiteY25509"/>
              </a:cxn>
              <a:cxn ang="0">
                <a:pos x="connsiteX25510" y="connsiteY25510"/>
              </a:cxn>
              <a:cxn ang="0">
                <a:pos x="connsiteX25511" y="connsiteY25511"/>
              </a:cxn>
              <a:cxn ang="0">
                <a:pos x="connsiteX25512" y="connsiteY25512"/>
              </a:cxn>
              <a:cxn ang="0">
                <a:pos x="connsiteX25513" y="connsiteY25513"/>
              </a:cxn>
              <a:cxn ang="0">
                <a:pos x="connsiteX25514" y="connsiteY25514"/>
              </a:cxn>
              <a:cxn ang="0">
                <a:pos x="connsiteX25515" y="connsiteY25515"/>
              </a:cxn>
              <a:cxn ang="0">
                <a:pos x="connsiteX25516" y="connsiteY25516"/>
              </a:cxn>
              <a:cxn ang="0">
                <a:pos x="connsiteX25517" y="connsiteY25517"/>
              </a:cxn>
              <a:cxn ang="0">
                <a:pos x="connsiteX25518" y="connsiteY25518"/>
              </a:cxn>
              <a:cxn ang="0">
                <a:pos x="connsiteX25519" y="connsiteY25519"/>
              </a:cxn>
              <a:cxn ang="0">
                <a:pos x="connsiteX25520" y="connsiteY25520"/>
              </a:cxn>
              <a:cxn ang="0">
                <a:pos x="connsiteX25521" y="connsiteY25521"/>
              </a:cxn>
              <a:cxn ang="0">
                <a:pos x="connsiteX25522" y="connsiteY25522"/>
              </a:cxn>
              <a:cxn ang="0">
                <a:pos x="connsiteX25523" y="connsiteY25523"/>
              </a:cxn>
              <a:cxn ang="0">
                <a:pos x="connsiteX25524" y="connsiteY25524"/>
              </a:cxn>
              <a:cxn ang="0">
                <a:pos x="connsiteX25525" y="connsiteY25525"/>
              </a:cxn>
              <a:cxn ang="0">
                <a:pos x="connsiteX25526" y="connsiteY25526"/>
              </a:cxn>
              <a:cxn ang="0">
                <a:pos x="connsiteX25527" y="connsiteY25527"/>
              </a:cxn>
              <a:cxn ang="0">
                <a:pos x="connsiteX25528" y="connsiteY25528"/>
              </a:cxn>
              <a:cxn ang="0">
                <a:pos x="connsiteX25529" y="connsiteY25529"/>
              </a:cxn>
              <a:cxn ang="0">
                <a:pos x="connsiteX25530" y="connsiteY25530"/>
              </a:cxn>
              <a:cxn ang="0">
                <a:pos x="connsiteX25531" y="connsiteY25531"/>
              </a:cxn>
              <a:cxn ang="0">
                <a:pos x="connsiteX25532" y="connsiteY25532"/>
              </a:cxn>
              <a:cxn ang="0">
                <a:pos x="connsiteX25533" y="connsiteY25533"/>
              </a:cxn>
              <a:cxn ang="0">
                <a:pos x="connsiteX25534" y="connsiteY25534"/>
              </a:cxn>
              <a:cxn ang="0">
                <a:pos x="connsiteX25535" y="connsiteY25535"/>
              </a:cxn>
              <a:cxn ang="0">
                <a:pos x="connsiteX25536" y="connsiteY25536"/>
              </a:cxn>
              <a:cxn ang="0">
                <a:pos x="connsiteX25537" y="connsiteY25537"/>
              </a:cxn>
              <a:cxn ang="0">
                <a:pos x="connsiteX25538" y="connsiteY25538"/>
              </a:cxn>
              <a:cxn ang="0">
                <a:pos x="connsiteX25539" y="connsiteY25539"/>
              </a:cxn>
              <a:cxn ang="0">
                <a:pos x="connsiteX25540" y="connsiteY25540"/>
              </a:cxn>
              <a:cxn ang="0">
                <a:pos x="connsiteX25541" y="connsiteY25541"/>
              </a:cxn>
              <a:cxn ang="0">
                <a:pos x="connsiteX25542" y="connsiteY25542"/>
              </a:cxn>
              <a:cxn ang="0">
                <a:pos x="connsiteX25543" y="connsiteY25543"/>
              </a:cxn>
              <a:cxn ang="0">
                <a:pos x="connsiteX25544" y="connsiteY25544"/>
              </a:cxn>
              <a:cxn ang="0">
                <a:pos x="connsiteX25545" y="connsiteY25545"/>
              </a:cxn>
              <a:cxn ang="0">
                <a:pos x="connsiteX25546" y="connsiteY25546"/>
              </a:cxn>
              <a:cxn ang="0">
                <a:pos x="connsiteX25547" y="connsiteY25547"/>
              </a:cxn>
              <a:cxn ang="0">
                <a:pos x="connsiteX25548" y="connsiteY25548"/>
              </a:cxn>
              <a:cxn ang="0">
                <a:pos x="connsiteX25549" y="connsiteY25549"/>
              </a:cxn>
              <a:cxn ang="0">
                <a:pos x="connsiteX25550" y="connsiteY25550"/>
              </a:cxn>
              <a:cxn ang="0">
                <a:pos x="connsiteX25551" y="connsiteY25551"/>
              </a:cxn>
              <a:cxn ang="0">
                <a:pos x="connsiteX25552" y="connsiteY25552"/>
              </a:cxn>
              <a:cxn ang="0">
                <a:pos x="connsiteX25553" y="connsiteY25553"/>
              </a:cxn>
              <a:cxn ang="0">
                <a:pos x="connsiteX25554" y="connsiteY25554"/>
              </a:cxn>
              <a:cxn ang="0">
                <a:pos x="connsiteX25555" y="connsiteY25555"/>
              </a:cxn>
              <a:cxn ang="0">
                <a:pos x="connsiteX25556" y="connsiteY25556"/>
              </a:cxn>
              <a:cxn ang="0">
                <a:pos x="connsiteX25557" y="connsiteY25557"/>
              </a:cxn>
              <a:cxn ang="0">
                <a:pos x="connsiteX25558" y="connsiteY25558"/>
              </a:cxn>
              <a:cxn ang="0">
                <a:pos x="connsiteX25559" y="connsiteY25559"/>
              </a:cxn>
              <a:cxn ang="0">
                <a:pos x="connsiteX25560" y="connsiteY25560"/>
              </a:cxn>
              <a:cxn ang="0">
                <a:pos x="connsiteX25561" y="connsiteY25561"/>
              </a:cxn>
              <a:cxn ang="0">
                <a:pos x="connsiteX25562" y="connsiteY25562"/>
              </a:cxn>
              <a:cxn ang="0">
                <a:pos x="connsiteX25563" y="connsiteY25563"/>
              </a:cxn>
              <a:cxn ang="0">
                <a:pos x="connsiteX25564" y="connsiteY25564"/>
              </a:cxn>
              <a:cxn ang="0">
                <a:pos x="connsiteX25565" y="connsiteY25565"/>
              </a:cxn>
              <a:cxn ang="0">
                <a:pos x="connsiteX25566" y="connsiteY25566"/>
              </a:cxn>
              <a:cxn ang="0">
                <a:pos x="connsiteX25567" y="connsiteY25567"/>
              </a:cxn>
              <a:cxn ang="0">
                <a:pos x="connsiteX25568" y="connsiteY25568"/>
              </a:cxn>
              <a:cxn ang="0">
                <a:pos x="connsiteX25569" y="connsiteY25569"/>
              </a:cxn>
              <a:cxn ang="0">
                <a:pos x="connsiteX25570" y="connsiteY25570"/>
              </a:cxn>
              <a:cxn ang="0">
                <a:pos x="connsiteX25571" y="connsiteY25571"/>
              </a:cxn>
              <a:cxn ang="0">
                <a:pos x="connsiteX25572" y="connsiteY25572"/>
              </a:cxn>
              <a:cxn ang="0">
                <a:pos x="connsiteX25573" y="connsiteY25573"/>
              </a:cxn>
              <a:cxn ang="0">
                <a:pos x="connsiteX25574" y="connsiteY25574"/>
              </a:cxn>
              <a:cxn ang="0">
                <a:pos x="connsiteX25575" y="connsiteY25575"/>
              </a:cxn>
              <a:cxn ang="0">
                <a:pos x="connsiteX25576" y="connsiteY25576"/>
              </a:cxn>
              <a:cxn ang="0">
                <a:pos x="connsiteX25577" y="connsiteY25577"/>
              </a:cxn>
              <a:cxn ang="0">
                <a:pos x="connsiteX25578" y="connsiteY25578"/>
              </a:cxn>
              <a:cxn ang="0">
                <a:pos x="connsiteX25579" y="connsiteY25579"/>
              </a:cxn>
              <a:cxn ang="0">
                <a:pos x="connsiteX25580" y="connsiteY25580"/>
              </a:cxn>
              <a:cxn ang="0">
                <a:pos x="connsiteX25581" y="connsiteY25581"/>
              </a:cxn>
              <a:cxn ang="0">
                <a:pos x="connsiteX25582" y="connsiteY25582"/>
              </a:cxn>
              <a:cxn ang="0">
                <a:pos x="connsiteX25583" y="connsiteY25583"/>
              </a:cxn>
              <a:cxn ang="0">
                <a:pos x="connsiteX25584" y="connsiteY25584"/>
              </a:cxn>
              <a:cxn ang="0">
                <a:pos x="connsiteX25585" y="connsiteY25585"/>
              </a:cxn>
              <a:cxn ang="0">
                <a:pos x="connsiteX25586" y="connsiteY25586"/>
              </a:cxn>
              <a:cxn ang="0">
                <a:pos x="connsiteX25587" y="connsiteY25587"/>
              </a:cxn>
              <a:cxn ang="0">
                <a:pos x="connsiteX25588" y="connsiteY25588"/>
              </a:cxn>
              <a:cxn ang="0">
                <a:pos x="connsiteX25589" y="connsiteY25589"/>
              </a:cxn>
              <a:cxn ang="0">
                <a:pos x="connsiteX25590" y="connsiteY25590"/>
              </a:cxn>
              <a:cxn ang="0">
                <a:pos x="connsiteX25591" y="connsiteY25591"/>
              </a:cxn>
              <a:cxn ang="0">
                <a:pos x="connsiteX25592" y="connsiteY25592"/>
              </a:cxn>
              <a:cxn ang="0">
                <a:pos x="connsiteX25593" y="connsiteY25593"/>
              </a:cxn>
              <a:cxn ang="0">
                <a:pos x="connsiteX25594" y="connsiteY25594"/>
              </a:cxn>
              <a:cxn ang="0">
                <a:pos x="connsiteX25595" y="connsiteY25595"/>
              </a:cxn>
              <a:cxn ang="0">
                <a:pos x="connsiteX25596" y="connsiteY25596"/>
              </a:cxn>
              <a:cxn ang="0">
                <a:pos x="connsiteX25597" y="connsiteY25597"/>
              </a:cxn>
              <a:cxn ang="0">
                <a:pos x="connsiteX25598" y="connsiteY25598"/>
              </a:cxn>
              <a:cxn ang="0">
                <a:pos x="connsiteX25599" y="connsiteY25599"/>
              </a:cxn>
              <a:cxn ang="0">
                <a:pos x="connsiteX25600" y="connsiteY25600"/>
              </a:cxn>
              <a:cxn ang="0">
                <a:pos x="connsiteX25601" y="connsiteY25601"/>
              </a:cxn>
              <a:cxn ang="0">
                <a:pos x="connsiteX25602" y="connsiteY25602"/>
              </a:cxn>
              <a:cxn ang="0">
                <a:pos x="connsiteX25603" y="connsiteY25603"/>
              </a:cxn>
              <a:cxn ang="0">
                <a:pos x="connsiteX25604" y="connsiteY25604"/>
              </a:cxn>
              <a:cxn ang="0">
                <a:pos x="connsiteX25605" y="connsiteY25605"/>
              </a:cxn>
              <a:cxn ang="0">
                <a:pos x="connsiteX25606" y="connsiteY25606"/>
              </a:cxn>
              <a:cxn ang="0">
                <a:pos x="connsiteX25607" y="connsiteY25607"/>
              </a:cxn>
              <a:cxn ang="0">
                <a:pos x="connsiteX25608" y="connsiteY25608"/>
              </a:cxn>
              <a:cxn ang="0">
                <a:pos x="connsiteX25609" y="connsiteY25609"/>
              </a:cxn>
              <a:cxn ang="0">
                <a:pos x="connsiteX25610" y="connsiteY25610"/>
              </a:cxn>
              <a:cxn ang="0">
                <a:pos x="connsiteX25611" y="connsiteY25611"/>
              </a:cxn>
              <a:cxn ang="0">
                <a:pos x="connsiteX25612" y="connsiteY25612"/>
              </a:cxn>
              <a:cxn ang="0">
                <a:pos x="connsiteX25613" y="connsiteY25613"/>
              </a:cxn>
              <a:cxn ang="0">
                <a:pos x="connsiteX25614" y="connsiteY25614"/>
              </a:cxn>
              <a:cxn ang="0">
                <a:pos x="connsiteX25615" y="connsiteY25615"/>
              </a:cxn>
              <a:cxn ang="0">
                <a:pos x="connsiteX25616" y="connsiteY25616"/>
              </a:cxn>
              <a:cxn ang="0">
                <a:pos x="connsiteX25617" y="connsiteY25617"/>
              </a:cxn>
              <a:cxn ang="0">
                <a:pos x="connsiteX25618" y="connsiteY25618"/>
              </a:cxn>
              <a:cxn ang="0">
                <a:pos x="connsiteX25619" y="connsiteY25619"/>
              </a:cxn>
              <a:cxn ang="0">
                <a:pos x="connsiteX25620" y="connsiteY25620"/>
              </a:cxn>
              <a:cxn ang="0">
                <a:pos x="connsiteX25621" y="connsiteY25621"/>
              </a:cxn>
              <a:cxn ang="0">
                <a:pos x="connsiteX25622" y="connsiteY25622"/>
              </a:cxn>
              <a:cxn ang="0">
                <a:pos x="connsiteX25623" y="connsiteY25623"/>
              </a:cxn>
              <a:cxn ang="0">
                <a:pos x="connsiteX25624" y="connsiteY25624"/>
              </a:cxn>
              <a:cxn ang="0">
                <a:pos x="connsiteX25625" y="connsiteY25625"/>
              </a:cxn>
              <a:cxn ang="0">
                <a:pos x="connsiteX25626" y="connsiteY25626"/>
              </a:cxn>
              <a:cxn ang="0">
                <a:pos x="connsiteX25627" y="connsiteY25627"/>
              </a:cxn>
              <a:cxn ang="0">
                <a:pos x="connsiteX25628" y="connsiteY25628"/>
              </a:cxn>
              <a:cxn ang="0">
                <a:pos x="connsiteX25629" y="connsiteY25629"/>
              </a:cxn>
              <a:cxn ang="0">
                <a:pos x="connsiteX25630" y="connsiteY25630"/>
              </a:cxn>
              <a:cxn ang="0">
                <a:pos x="connsiteX25631" y="connsiteY25631"/>
              </a:cxn>
              <a:cxn ang="0">
                <a:pos x="connsiteX25632" y="connsiteY25632"/>
              </a:cxn>
              <a:cxn ang="0">
                <a:pos x="connsiteX25633" y="connsiteY25633"/>
              </a:cxn>
              <a:cxn ang="0">
                <a:pos x="connsiteX25634" y="connsiteY25634"/>
              </a:cxn>
              <a:cxn ang="0">
                <a:pos x="connsiteX25635" y="connsiteY25635"/>
              </a:cxn>
              <a:cxn ang="0">
                <a:pos x="connsiteX25636" y="connsiteY25636"/>
              </a:cxn>
              <a:cxn ang="0">
                <a:pos x="connsiteX25637" y="connsiteY25637"/>
              </a:cxn>
              <a:cxn ang="0">
                <a:pos x="connsiteX25638" y="connsiteY25638"/>
              </a:cxn>
              <a:cxn ang="0">
                <a:pos x="connsiteX25639" y="connsiteY25639"/>
              </a:cxn>
              <a:cxn ang="0">
                <a:pos x="connsiteX25640" y="connsiteY25640"/>
              </a:cxn>
              <a:cxn ang="0">
                <a:pos x="connsiteX25641" y="connsiteY25641"/>
              </a:cxn>
              <a:cxn ang="0">
                <a:pos x="connsiteX25642" y="connsiteY25642"/>
              </a:cxn>
              <a:cxn ang="0">
                <a:pos x="connsiteX25643" y="connsiteY25643"/>
              </a:cxn>
              <a:cxn ang="0">
                <a:pos x="connsiteX25644" y="connsiteY25644"/>
              </a:cxn>
              <a:cxn ang="0">
                <a:pos x="connsiteX25645" y="connsiteY25645"/>
              </a:cxn>
              <a:cxn ang="0">
                <a:pos x="connsiteX25646" y="connsiteY25646"/>
              </a:cxn>
              <a:cxn ang="0">
                <a:pos x="connsiteX25647" y="connsiteY25647"/>
              </a:cxn>
              <a:cxn ang="0">
                <a:pos x="connsiteX25648" y="connsiteY25648"/>
              </a:cxn>
              <a:cxn ang="0">
                <a:pos x="connsiteX25649" y="connsiteY25649"/>
              </a:cxn>
              <a:cxn ang="0">
                <a:pos x="connsiteX25650" y="connsiteY25650"/>
              </a:cxn>
              <a:cxn ang="0">
                <a:pos x="connsiteX25651" y="connsiteY25651"/>
              </a:cxn>
              <a:cxn ang="0">
                <a:pos x="connsiteX25652" y="connsiteY25652"/>
              </a:cxn>
              <a:cxn ang="0">
                <a:pos x="connsiteX25653" y="connsiteY25653"/>
              </a:cxn>
              <a:cxn ang="0">
                <a:pos x="connsiteX25654" y="connsiteY25654"/>
              </a:cxn>
              <a:cxn ang="0">
                <a:pos x="connsiteX25655" y="connsiteY25655"/>
              </a:cxn>
              <a:cxn ang="0">
                <a:pos x="connsiteX25656" y="connsiteY25656"/>
              </a:cxn>
              <a:cxn ang="0">
                <a:pos x="connsiteX25657" y="connsiteY25657"/>
              </a:cxn>
              <a:cxn ang="0">
                <a:pos x="connsiteX25658" y="connsiteY25658"/>
              </a:cxn>
              <a:cxn ang="0">
                <a:pos x="connsiteX25659" y="connsiteY25659"/>
              </a:cxn>
              <a:cxn ang="0">
                <a:pos x="connsiteX25660" y="connsiteY25660"/>
              </a:cxn>
              <a:cxn ang="0">
                <a:pos x="connsiteX25661" y="connsiteY25661"/>
              </a:cxn>
              <a:cxn ang="0">
                <a:pos x="connsiteX25662" y="connsiteY25662"/>
              </a:cxn>
              <a:cxn ang="0">
                <a:pos x="connsiteX25663" y="connsiteY25663"/>
              </a:cxn>
              <a:cxn ang="0">
                <a:pos x="connsiteX25664" y="connsiteY25664"/>
              </a:cxn>
              <a:cxn ang="0">
                <a:pos x="connsiteX25665" y="connsiteY25665"/>
              </a:cxn>
              <a:cxn ang="0">
                <a:pos x="connsiteX25666" y="connsiteY25666"/>
              </a:cxn>
              <a:cxn ang="0">
                <a:pos x="connsiteX25667" y="connsiteY25667"/>
              </a:cxn>
              <a:cxn ang="0">
                <a:pos x="connsiteX25668" y="connsiteY25668"/>
              </a:cxn>
              <a:cxn ang="0">
                <a:pos x="connsiteX25669" y="connsiteY25669"/>
              </a:cxn>
              <a:cxn ang="0">
                <a:pos x="connsiteX25670" y="connsiteY25670"/>
              </a:cxn>
              <a:cxn ang="0">
                <a:pos x="connsiteX25671" y="connsiteY25671"/>
              </a:cxn>
              <a:cxn ang="0">
                <a:pos x="connsiteX25672" y="connsiteY25672"/>
              </a:cxn>
              <a:cxn ang="0">
                <a:pos x="connsiteX25673" y="connsiteY25673"/>
              </a:cxn>
              <a:cxn ang="0">
                <a:pos x="connsiteX25674" y="connsiteY25674"/>
              </a:cxn>
              <a:cxn ang="0">
                <a:pos x="connsiteX25675" y="connsiteY25675"/>
              </a:cxn>
              <a:cxn ang="0">
                <a:pos x="connsiteX25676" y="connsiteY25676"/>
              </a:cxn>
              <a:cxn ang="0">
                <a:pos x="connsiteX25677" y="connsiteY25677"/>
              </a:cxn>
              <a:cxn ang="0">
                <a:pos x="connsiteX25678" y="connsiteY25678"/>
              </a:cxn>
              <a:cxn ang="0">
                <a:pos x="connsiteX25679" y="connsiteY25679"/>
              </a:cxn>
              <a:cxn ang="0">
                <a:pos x="connsiteX25680" y="connsiteY25680"/>
              </a:cxn>
              <a:cxn ang="0">
                <a:pos x="connsiteX25681" y="connsiteY25681"/>
              </a:cxn>
              <a:cxn ang="0">
                <a:pos x="connsiteX25682" y="connsiteY25682"/>
              </a:cxn>
              <a:cxn ang="0">
                <a:pos x="connsiteX25683" y="connsiteY25683"/>
              </a:cxn>
              <a:cxn ang="0">
                <a:pos x="connsiteX25684" y="connsiteY25684"/>
              </a:cxn>
              <a:cxn ang="0">
                <a:pos x="connsiteX25685" y="connsiteY25685"/>
              </a:cxn>
              <a:cxn ang="0">
                <a:pos x="connsiteX25686" y="connsiteY25686"/>
              </a:cxn>
              <a:cxn ang="0">
                <a:pos x="connsiteX25687" y="connsiteY25687"/>
              </a:cxn>
              <a:cxn ang="0">
                <a:pos x="connsiteX25688" y="connsiteY25688"/>
              </a:cxn>
              <a:cxn ang="0">
                <a:pos x="connsiteX25689" y="connsiteY25689"/>
              </a:cxn>
              <a:cxn ang="0">
                <a:pos x="connsiteX25690" y="connsiteY25690"/>
              </a:cxn>
              <a:cxn ang="0">
                <a:pos x="connsiteX25691" y="connsiteY25691"/>
              </a:cxn>
              <a:cxn ang="0">
                <a:pos x="connsiteX25692" y="connsiteY25692"/>
              </a:cxn>
              <a:cxn ang="0">
                <a:pos x="connsiteX25693" y="connsiteY25693"/>
              </a:cxn>
              <a:cxn ang="0">
                <a:pos x="connsiteX25694" y="connsiteY25694"/>
              </a:cxn>
              <a:cxn ang="0">
                <a:pos x="connsiteX25695" y="connsiteY25695"/>
              </a:cxn>
              <a:cxn ang="0">
                <a:pos x="connsiteX25696" y="connsiteY25696"/>
              </a:cxn>
              <a:cxn ang="0">
                <a:pos x="connsiteX25697" y="connsiteY25697"/>
              </a:cxn>
              <a:cxn ang="0">
                <a:pos x="connsiteX25698" y="connsiteY25698"/>
              </a:cxn>
              <a:cxn ang="0">
                <a:pos x="connsiteX25699" y="connsiteY25699"/>
              </a:cxn>
              <a:cxn ang="0">
                <a:pos x="connsiteX25700" y="connsiteY25700"/>
              </a:cxn>
              <a:cxn ang="0">
                <a:pos x="connsiteX25701" y="connsiteY25701"/>
              </a:cxn>
              <a:cxn ang="0">
                <a:pos x="connsiteX25702" y="connsiteY25702"/>
              </a:cxn>
              <a:cxn ang="0">
                <a:pos x="connsiteX25703" y="connsiteY25703"/>
              </a:cxn>
              <a:cxn ang="0">
                <a:pos x="connsiteX25704" y="connsiteY25704"/>
              </a:cxn>
              <a:cxn ang="0">
                <a:pos x="connsiteX25705" y="connsiteY25705"/>
              </a:cxn>
              <a:cxn ang="0">
                <a:pos x="connsiteX25706" y="connsiteY25706"/>
              </a:cxn>
              <a:cxn ang="0">
                <a:pos x="connsiteX25707" y="connsiteY25707"/>
              </a:cxn>
              <a:cxn ang="0">
                <a:pos x="connsiteX25708" y="connsiteY25708"/>
              </a:cxn>
              <a:cxn ang="0">
                <a:pos x="connsiteX25709" y="connsiteY25709"/>
              </a:cxn>
              <a:cxn ang="0">
                <a:pos x="connsiteX25710" y="connsiteY25710"/>
              </a:cxn>
              <a:cxn ang="0">
                <a:pos x="connsiteX25711" y="connsiteY25711"/>
              </a:cxn>
              <a:cxn ang="0">
                <a:pos x="connsiteX25712" y="connsiteY25712"/>
              </a:cxn>
              <a:cxn ang="0">
                <a:pos x="connsiteX25713" y="connsiteY25713"/>
              </a:cxn>
              <a:cxn ang="0">
                <a:pos x="connsiteX25714" y="connsiteY25714"/>
              </a:cxn>
              <a:cxn ang="0">
                <a:pos x="connsiteX25715" y="connsiteY25715"/>
              </a:cxn>
              <a:cxn ang="0">
                <a:pos x="connsiteX25716" y="connsiteY25716"/>
              </a:cxn>
              <a:cxn ang="0">
                <a:pos x="connsiteX25717" y="connsiteY25717"/>
              </a:cxn>
              <a:cxn ang="0">
                <a:pos x="connsiteX25718" y="connsiteY25718"/>
              </a:cxn>
              <a:cxn ang="0">
                <a:pos x="connsiteX25719" y="connsiteY25719"/>
              </a:cxn>
              <a:cxn ang="0">
                <a:pos x="connsiteX25720" y="connsiteY25720"/>
              </a:cxn>
              <a:cxn ang="0">
                <a:pos x="connsiteX25721" y="connsiteY25721"/>
              </a:cxn>
              <a:cxn ang="0">
                <a:pos x="connsiteX25722" y="connsiteY25722"/>
              </a:cxn>
              <a:cxn ang="0">
                <a:pos x="connsiteX25723" y="connsiteY25723"/>
              </a:cxn>
              <a:cxn ang="0">
                <a:pos x="connsiteX25724" y="connsiteY25724"/>
              </a:cxn>
              <a:cxn ang="0">
                <a:pos x="connsiteX25725" y="connsiteY25725"/>
              </a:cxn>
              <a:cxn ang="0">
                <a:pos x="connsiteX25726" y="connsiteY25726"/>
              </a:cxn>
              <a:cxn ang="0">
                <a:pos x="connsiteX25727" y="connsiteY25727"/>
              </a:cxn>
              <a:cxn ang="0">
                <a:pos x="connsiteX25728" y="connsiteY25728"/>
              </a:cxn>
              <a:cxn ang="0">
                <a:pos x="connsiteX25729" y="connsiteY25729"/>
              </a:cxn>
              <a:cxn ang="0">
                <a:pos x="connsiteX25730" y="connsiteY25730"/>
              </a:cxn>
              <a:cxn ang="0">
                <a:pos x="connsiteX25731" y="connsiteY25731"/>
              </a:cxn>
              <a:cxn ang="0">
                <a:pos x="connsiteX25732" y="connsiteY25732"/>
              </a:cxn>
              <a:cxn ang="0">
                <a:pos x="connsiteX25733" y="connsiteY25733"/>
              </a:cxn>
              <a:cxn ang="0">
                <a:pos x="connsiteX25734" y="connsiteY25734"/>
              </a:cxn>
              <a:cxn ang="0">
                <a:pos x="connsiteX25735" y="connsiteY25735"/>
              </a:cxn>
              <a:cxn ang="0">
                <a:pos x="connsiteX25736" y="connsiteY25736"/>
              </a:cxn>
              <a:cxn ang="0">
                <a:pos x="connsiteX25737" y="connsiteY25737"/>
              </a:cxn>
              <a:cxn ang="0">
                <a:pos x="connsiteX25738" y="connsiteY25738"/>
              </a:cxn>
              <a:cxn ang="0">
                <a:pos x="connsiteX25739" y="connsiteY25739"/>
              </a:cxn>
              <a:cxn ang="0">
                <a:pos x="connsiteX25740" y="connsiteY25740"/>
              </a:cxn>
              <a:cxn ang="0">
                <a:pos x="connsiteX25741" y="connsiteY25741"/>
              </a:cxn>
              <a:cxn ang="0">
                <a:pos x="connsiteX25742" y="connsiteY25742"/>
              </a:cxn>
              <a:cxn ang="0">
                <a:pos x="connsiteX25743" y="connsiteY25743"/>
              </a:cxn>
              <a:cxn ang="0">
                <a:pos x="connsiteX25744" y="connsiteY25744"/>
              </a:cxn>
              <a:cxn ang="0">
                <a:pos x="connsiteX25745" y="connsiteY25745"/>
              </a:cxn>
              <a:cxn ang="0">
                <a:pos x="connsiteX25746" y="connsiteY25746"/>
              </a:cxn>
              <a:cxn ang="0">
                <a:pos x="connsiteX25747" y="connsiteY25747"/>
              </a:cxn>
              <a:cxn ang="0">
                <a:pos x="connsiteX25748" y="connsiteY25748"/>
              </a:cxn>
              <a:cxn ang="0">
                <a:pos x="connsiteX25749" y="connsiteY25749"/>
              </a:cxn>
              <a:cxn ang="0">
                <a:pos x="connsiteX25750" y="connsiteY25750"/>
              </a:cxn>
              <a:cxn ang="0">
                <a:pos x="connsiteX25751" y="connsiteY25751"/>
              </a:cxn>
              <a:cxn ang="0">
                <a:pos x="connsiteX25752" y="connsiteY25752"/>
              </a:cxn>
              <a:cxn ang="0">
                <a:pos x="connsiteX25753" y="connsiteY25753"/>
              </a:cxn>
              <a:cxn ang="0">
                <a:pos x="connsiteX25754" y="connsiteY25754"/>
              </a:cxn>
              <a:cxn ang="0">
                <a:pos x="connsiteX25755" y="connsiteY25755"/>
              </a:cxn>
              <a:cxn ang="0">
                <a:pos x="connsiteX25756" y="connsiteY25756"/>
              </a:cxn>
              <a:cxn ang="0">
                <a:pos x="connsiteX25757" y="connsiteY25757"/>
              </a:cxn>
              <a:cxn ang="0">
                <a:pos x="connsiteX25758" y="connsiteY25758"/>
              </a:cxn>
              <a:cxn ang="0">
                <a:pos x="connsiteX25759" y="connsiteY25759"/>
              </a:cxn>
              <a:cxn ang="0">
                <a:pos x="connsiteX25760" y="connsiteY25760"/>
              </a:cxn>
              <a:cxn ang="0">
                <a:pos x="connsiteX25761" y="connsiteY25761"/>
              </a:cxn>
              <a:cxn ang="0">
                <a:pos x="connsiteX25762" y="connsiteY25762"/>
              </a:cxn>
              <a:cxn ang="0">
                <a:pos x="connsiteX25763" y="connsiteY25763"/>
              </a:cxn>
              <a:cxn ang="0">
                <a:pos x="connsiteX25764" y="connsiteY25764"/>
              </a:cxn>
              <a:cxn ang="0">
                <a:pos x="connsiteX25765" y="connsiteY25765"/>
              </a:cxn>
              <a:cxn ang="0">
                <a:pos x="connsiteX25766" y="connsiteY25766"/>
              </a:cxn>
              <a:cxn ang="0">
                <a:pos x="connsiteX25767" y="connsiteY25767"/>
              </a:cxn>
              <a:cxn ang="0">
                <a:pos x="connsiteX25768" y="connsiteY25768"/>
              </a:cxn>
              <a:cxn ang="0">
                <a:pos x="connsiteX25769" y="connsiteY25769"/>
              </a:cxn>
              <a:cxn ang="0">
                <a:pos x="connsiteX25770" y="connsiteY25770"/>
              </a:cxn>
              <a:cxn ang="0">
                <a:pos x="connsiteX25771" y="connsiteY25771"/>
              </a:cxn>
              <a:cxn ang="0">
                <a:pos x="connsiteX25772" y="connsiteY25772"/>
              </a:cxn>
              <a:cxn ang="0">
                <a:pos x="connsiteX25773" y="connsiteY25773"/>
              </a:cxn>
              <a:cxn ang="0">
                <a:pos x="connsiteX25774" y="connsiteY25774"/>
              </a:cxn>
              <a:cxn ang="0">
                <a:pos x="connsiteX25775" y="connsiteY25775"/>
              </a:cxn>
              <a:cxn ang="0">
                <a:pos x="connsiteX25776" y="connsiteY25776"/>
              </a:cxn>
              <a:cxn ang="0">
                <a:pos x="connsiteX25777" y="connsiteY25777"/>
              </a:cxn>
              <a:cxn ang="0">
                <a:pos x="connsiteX25778" y="connsiteY25778"/>
              </a:cxn>
              <a:cxn ang="0">
                <a:pos x="connsiteX25779" y="connsiteY25779"/>
              </a:cxn>
              <a:cxn ang="0">
                <a:pos x="connsiteX25780" y="connsiteY25780"/>
              </a:cxn>
              <a:cxn ang="0">
                <a:pos x="connsiteX25781" y="connsiteY25781"/>
              </a:cxn>
              <a:cxn ang="0">
                <a:pos x="connsiteX25782" y="connsiteY25782"/>
              </a:cxn>
              <a:cxn ang="0">
                <a:pos x="connsiteX25783" y="connsiteY25783"/>
              </a:cxn>
              <a:cxn ang="0">
                <a:pos x="connsiteX25784" y="connsiteY25784"/>
              </a:cxn>
              <a:cxn ang="0">
                <a:pos x="connsiteX25785" y="connsiteY25785"/>
              </a:cxn>
              <a:cxn ang="0">
                <a:pos x="connsiteX25786" y="connsiteY25786"/>
              </a:cxn>
              <a:cxn ang="0">
                <a:pos x="connsiteX25787" y="connsiteY25787"/>
              </a:cxn>
              <a:cxn ang="0">
                <a:pos x="connsiteX25788" y="connsiteY25788"/>
              </a:cxn>
              <a:cxn ang="0">
                <a:pos x="connsiteX25789" y="connsiteY25789"/>
              </a:cxn>
              <a:cxn ang="0">
                <a:pos x="connsiteX25790" y="connsiteY25790"/>
              </a:cxn>
              <a:cxn ang="0">
                <a:pos x="connsiteX25791" y="connsiteY25791"/>
              </a:cxn>
              <a:cxn ang="0">
                <a:pos x="connsiteX25792" y="connsiteY25792"/>
              </a:cxn>
              <a:cxn ang="0">
                <a:pos x="connsiteX25793" y="connsiteY25793"/>
              </a:cxn>
              <a:cxn ang="0">
                <a:pos x="connsiteX25794" y="connsiteY25794"/>
              </a:cxn>
              <a:cxn ang="0">
                <a:pos x="connsiteX25795" y="connsiteY25795"/>
              </a:cxn>
              <a:cxn ang="0">
                <a:pos x="connsiteX25796" y="connsiteY25796"/>
              </a:cxn>
              <a:cxn ang="0">
                <a:pos x="connsiteX25797" y="connsiteY25797"/>
              </a:cxn>
              <a:cxn ang="0">
                <a:pos x="connsiteX25798" y="connsiteY25798"/>
              </a:cxn>
              <a:cxn ang="0">
                <a:pos x="connsiteX25799" y="connsiteY25799"/>
              </a:cxn>
              <a:cxn ang="0">
                <a:pos x="connsiteX25800" y="connsiteY25800"/>
              </a:cxn>
              <a:cxn ang="0">
                <a:pos x="connsiteX25801" y="connsiteY25801"/>
              </a:cxn>
              <a:cxn ang="0">
                <a:pos x="connsiteX25802" y="connsiteY25802"/>
              </a:cxn>
              <a:cxn ang="0">
                <a:pos x="connsiteX25803" y="connsiteY25803"/>
              </a:cxn>
              <a:cxn ang="0">
                <a:pos x="connsiteX25804" y="connsiteY25804"/>
              </a:cxn>
              <a:cxn ang="0">
                <a:pos x="connsiteX25805" y="connsiteY25805"/>
              </a:cxn>
              <a:cxn ang="0">
                <a:pos x="connsiteX25806" y="connsiteY25806"/>
              </a:cxn>
              <a:cxn ang="0">
                <a:pos x="connsiteX25807" y="connsiteY25807"/>
              </a:cxn>
              <a:cxn ang="0">
                <a:pos x="connsiteX25808" y="connsiteY25808"/>
              </a:cxn>
              <a:cxn ang="0">
                <a:pos x="connsiteX25809" y="connsiteY25809"/>
              </a:cxn>
              <a:cxn ang="0">
                <a:pos x="connsiteX25810" y="connsiteY25810"/>
              </a:cxn>
              <a:cxn ang="0">
                <a:pos x="connsiteX25811" y="connsiteY25811"/>
              </a:cxn>
              <a:cxn ang="0">
                <a:pos x="connsiteX25812" y="connsiteY25812"/>
              </a:cxn>
              <a:cxn ang="0">
                <a:pos x="connsiteX25813" y="connsiteY25813"/>
              </a:cxn>
              <a:cxn ang="0">
                <a:pos x="connsiteX25814" y="connsiteY25814"/>
              </a:cxn>
              <a:cxn ang="0">
                <a:pos x="connsiteX25815" y="connsiteY25815"/>
              </a:cxn>
              <a:cxn ang="0">
                <a:pos x="connsiteX25816" y="connsiteY25816"/>
              </a:cxn>
              <a:cxn ang="0">
                <a:pos x="connsiteX25817" y="connsiteY25817"/>
              </a:cxn>
              <a:cxn ang="0">
                <a:pos x="connsiteX25818" y="connsiteY25818"/>
              </a:cxn>
              <a:cxn ang="0">
                <a:pos x="connsiteX25819" y="connsiteY25819"/>
              </a:cxn>
              <a:cxn ang="0">
                <a:pos x="connsiteX25820" y="connsiteY25820"/>
              </a:cxn>
              <a:cxn ang="0">
                <a:pos x="connsiteX25821" y="connsiteY25821"/>
              </a:cxn>
              <a:cxn ang="0">
                <a:pos x="connsiteX25822" y="connsiteY25822"/>
              </a:cxn>
              <a:cxn ang="0">
                <a:pos x="connsiteX25823" y="connsiteY25823"/>
              </a:cxn>
              <a:cxn ang="0">
                <a:pos x="connsiteX25824" y="connsiteY25824"/>
              </a:cxn>
              <a:cxn ang="0">
                <a:pos x="connsiteX25825" y="connsiteY25825"/>
              </a:cxn>
              <a:cxn ang="0">
                <a:pos x="connsiteX25826" y="connsiteY25826"/>
              </a:cxn>
              <a:cxn ang="0">
                <a:pos x="connsiteX25827" y="connsiteY25827"/>
              </a:cxn>
              <a:cxn ang="0">
                <a:pos x="connsiteX25828" y="connsiteY25828"/>
              </a:cxn>
              <a:cxn ang="0">
                <a:pos x="connsiteX25829" y="connsiteY25829"/>
              </a:cxn>
              <a:cxn ang="0">
                <a:pos x="connsiteX25830" y="connsiteY25830"/>
              </a:cxn>
              <a:cxn ang="0">
                <a:pos x="connsiteX25831" y="connsiteY25831"/>
              </a:cxn>
              <a:cxn ang="0">
                <a:pos x="connsiteX25832" y="connsiteY25832"/>
              </a:cxn>
              <a:cxn ang="0">
                <a:pos x="connsiteX25833" y="connsiteY25833"/>
              </a:cxn>
              <a:cxn ang="0">
                <a:pos x="connsiteX25834" y="connsiteY25834"/>
              </a:cxn>
              <a:cxn ang="0">
                <a:pos x="connsiteX25835" y="connsiteY25835"/>
              </a:cxn>
              <a:cxn ang="0">
                <a:pos x="connsiteX25836" y="connsiteY25836"/>
              </a:cxn>
              <a:cxn ang="0">
                <a:pos x="connsiteX25837" y="connsiteY25837"/>
              </a:cxn>
              <a:cxn ang="0">
                <a:pos x="connsiteX25838" y="connsiteY25838"/>
              </a:cxn>
              <a:cxn ang="0">
                <a:pos x="connsiteX25839" y="connsiteY25839"/>
              </a:cxn>
              <a:cxn ang="0">
                <a:pos x="connsiteX25840" y="connsiteY25840"/>
              </a:cxn>
              <a:cxn ang="0">
                <a:pos x="connsiteX25841" y="connsiteY25841"/>
              </a:cxn>
              <a:cxn ang="0">
                <a:pos x="connsiteX25842" y="connsiteY25842"/>
              </a:cxn>
              <a:cxn ang="0">
                <a:pos x="connsiteX25843" y="connsiteY25843"/>
              </a:cxn>
              <a:cxn ang="0">
                <a:pos x="connsiteX25844" y="connsiteY25844"/>
              </a:cxn>
              <a:cxn ang="0">
                <a:pos x="connsiteX25845" y="connsiteY25845"/>
              </a:cxn>
              <a:cxn ang="0">
                <a:pos x="connsiteX25846" y="connsiteY25846"/>
              </a:cxn>
              <a:cxn ang="0">
                <a:pos x="connsiteX25847" y="connsiteY25847"/>
              </a:cxn>
              <a:cxn ang="0">
                <a:pos x="connsiteX25848" y="connsiteY25848"/>
              </a:cxn>
              <a:cxn ang="0">
                <a:pos x="connsiteX25849" y="connsiteY25849"/>
              </a:cxn>
              <a:cxn ang="0">
                <a:pos x="connsiteX25850" y="connsiteY25850"/>
              </a:cxn>
              <a:cxn ang="0">
                <a:pos x="connsiteX25851" y="connsiteY25851"/>
              </a:cxn>
              <a:cxn ang="0">
                <a:pos x="connsiteX25852" y="connsiteY25852"/>
              </a:cxn>
              <a:cxn ang="0">
                <a:pos x="connsiteX25853" y="connsiteY25853"/>
              </a:cxn>
              <a:cxn ang="0">
                <a:pos x="connsiteX25854" y="connsiteY25854"/>
              </a:cxn>
              <a:cxn ang="0">
                <a:pos x="connsiteX25855" y="connsiteY25855"/>
              </a:cxn>
              <a:cxn ang="0">
                <a:pos x="connsiteX25856" y="connsiteY25856"/>
              </a:cxn>
              <a:cxn ang="0">
                <a:pos x="connsiteX25857" y="connsiteY25857"/>
              </a:cxn>
              <a:cxn ang="0">
                <a:pos x="connsiteX25858" y="connsiteY25858"/>
              </a:cxn>
              <a:cxn ang="0">
                <a:pos x="connsiteX25859" y="connsiteY25859"/>
              </a:cxn>
              <a:cxn ang="0">
                <a:pos x="connsiteX25860" y="connsiteY25860"/>
              </a:cxn>
              <a:cxn ang="0">
                <a:pos x="connsiteX25861" y="connsiteY25861"/>
              </a:cxn>
              <a:cxn ang="0">
                <a:pos x="connsiteX25862" y="connsiteY25862"/>
              </a:cxn>
              <a:cxn ang="0">
                <a:pos x="connsiteX25863" y="connsiteY25863"/>
              </a:cxn>
              <a:cxn ang="0">
                <a:pos x="connsiteX25864" y="connsiteY25864"/>
              </a:cxn>
              <a:cxn ang="0">
                <a:pos x="connsiteX25865" y="connsiteY25865"/>
              </a:cxn>
              <a:cxn ang="0">
                <a:pos x="connsiteX25866" y="connsiteY25866"/>
              </a:cxn>
              <a:cxn ang="0">
                <a:pos x="connsiteX25867" y="connsiteY25867"/>
              </a:cxn>
              <a:cxn ang="0">
                <a:pos x="connsiteX25868" y="connsiteY25868"/>
              </a:cxn>
              <a:cxn ang="0">
                <a:pos x="connsiteX25869" y="connsiteY25869"/>
              </a:cxn>
              <a:cxn ang="0">
                <a:pos x="connsiteX25870" y="connsiteY25870"/>
              </a:cxn>
              <a:cxn ang="0">
                <a:pos x="connsiteX25871" y="connsiteY25871"/>
              </a:cxn>
              <a:cxn ang="0">
                <a:pos x="connsiteX25872" y="connsiteY25872"/>
              </a:cxn>
              <a:cxn ang="0">
                <a:pos x="connsiteX25873" y="connsiteY25873"/>
              </a:cxn>
              <a:cxn ang="0">
                <a:pos x="connsiteX25874" y="connsiteY25874"/>
              </a:cxn>
              <a:cxn ang="0">
                <a:pos x="connsiteX25875" y="connsiteY25875"/>
              </a:cxn>
              <a:cxn ang="0">
                <a:pos x="connsiteX25876" y="connsiteY25876"/>
              </a:cxn>
              <a:cxn ang="0">
                <a:pos x="connsiteX25877" y="connsiteY25877"/>
              </a:cxn>
              <a:cxn ang="0">
                <a:pos x="connsiteX25878" y="connsiteY25878"/>
              </a:cxn>
              <a:cxn ang="0">
                <a:pos x="connsiteX25879" y="connsiteY25879"/>
              </a:cxn>
              <a:cxn ang="0">
                <a:pos x="connsiteX25880" y="connsiteY25880"/>
              </a:cxn>
              <a:cxn ang="0">
                <a:pos x="connsiteX25881" y="connsiteY25881"/>
              </a:cxn>
              <a:cxn ang="0">
                <a:pos x="connsiteX25882" y="connsiteY25882"/>
              </a:cxn>
              <a:cxn ang="0">
                <a:pos x="connsiteX25883" y="connsiteY25883"/>
              </a:cxn>
              <a:cxn ang="0">
                <a:pos x="connsiteX25884" y="connsiteY25884"/>
              </a:cxn>
              <a:cxn ang="0">
                <a:pos x="connsiteX25885" y="connsiteY25885"/>
              </a:cxn>
              <a:cxn ang="0">
                <a:pos x="connsiteX25886" y="connsiteY25886"/>
              </a:cxn>
              <a:cxn ang="0">
                <a:pos x="connsiteX25887" y="connsiteY25887"/>
              </a:cxn>
              <a:cxn ang="0">
                <a:pos x="connsiteX25888" y="connsiteY25888"/>
              </a:cxn>
              <a:cxn ang="0">
                <a:pos x="connsiteX25889" y="connsiteY25889"/>
              </a:cxn>
              <a:cxn ang="0">
                <a:pos x="connsiteX25890" y="connsiteY25890"/>
              </a:cxn>
              <a:cxn ang="0">
                <a:pos x="connsiteX25891" y="connsiteY25891"/>
              </a:cxn>
              <a:cxn ang="0">
                <a:pos x="connsiteX25892" y="connsiteY25892"/>
              </a:cxn>
              <a:cxn ang="0">
                <a:pos x="connsiteX25893" y="connsiteY25893"/>
              </a:cxn>
              <a:cxn ang="0">
                <a:pos x="connsiteX25894" y="connsiteY25894"/>
              </a:cxn>
              <a:cxn ang="0">
                <a:pos x="connsiteX25895" y="connsiteY25895"/>
              </a:cxn>
              <a:cxn ang="0">
                <a:pos x="connsiteX25896" y="connsiteY25896"/>
              </a:cxn>
              <a:cxn ang="0">
                <a:pos x="connsiteX25897" y="connsiteY25897"/>
              </a:cxn>
              <a:cxn ang="0">
                <a:pos x="connsiteX25898" y="connsiteY25898"/>
              </a:cxn>
              <a:cxn ang="0">
                <a:pos x="connsiteX25899" y="connsiteY25899"/>
              </a:cxn>
              <a:cxn ang="0">
                <a:pos x="connsiteX25900" y="connsiteY25900"/>
              </a:cxn>
              <a:cxn ang="0">
                <a:pos x="connsiteX25901" y="connsiteY25901"/>
              </a:cxn>
              <a:cxn ang="0">
                <a:pos x="connsiteX25902" y="connsiteY25902"/>
              </a:cxn>
              <a:cxn ang="0">
                <a:pos x="connsiteX25903" y="connsiteY25903"/>
              </a:cxn>
              <a:cxn ang="0">
                <a:pos x="connsiteX25904" y="connsiteY25904"/>
              </a:cxn>
              <a:cxn ang="0">
                <a:pos x="connsiteX25905" y="connsiteY25905"/>
              </a:cxn>
              <a:cxn ang="0">
                <a:pos x="connsiteX25906" y="connsiteY25906"/>
              </a:cxn>
              <a:cxn ang="0">
                <a:pos x="connsiteX25907" y="connsiteY25907"/>
              </a:cxn>
              <a:cxn ang="0">
                <a:pos x="connsiteX25908" y="connsiteY25908"/>
              </a:cxn>
              <a:cxn ang="0">
                <a:pos x="connsiteX25909" y="connsiteY25909"/>
              </a:cxn>
              <a:cxn ang="0">
                <a:pos x="connsiteX25910" y="connsiteY25910"/>
              </a:cxn>
              <a:cxn ang="0">
                <a:pos x="connsiteX25911" y="connsiteY25911"/>
              </a:cxn>
              <a:cxn ang="0">
                <a:pos x="connsiteX25912" y="connsiteY25912"/>
              </a:cxn>
              <a:cxn ang="0">
                <a:pos x="connsiteX25913" y="connsiteY25913"/>
              </a:cxn>
              <a:cxn ang="0">
                <a:pos x="connsiteX25914" y="connsiteY25914"/>
              </a:cxn>
              <a:cxn ang="0">
                <a:pos x="connsiteX25915" y="connsiteY25915"/>
              </a:cxn>
              <a:cxn ang="0">
                <a:pos x="connsiteX25916" y="connsiteY25916"/>
              </a:cxn>
              <a:cxn ang="0">
                <a:pos x="connsiteX25917" y="connsiteY25917"/>
              </a:cxn>
              <a:cxn ang="0">
                <a:pos x="connsiteX25918" y="connsiteY25918"/>
              </a:cxn>
              <a:cxn ang="0">
                <a:pos x="connsiteX25919" y="connsiteY25919"/>
              </a:cxn>
              <a:cxn ang="0">
                <a:pos x="connsiteX25920" y="connsiteY25920"/>
              </a:cxn>
              <a:cxn ang="0">
                <a:pos x="connsiteX25921" y="connsiteY25921"/>
              </a:cxn>
              <a:cxn ang="0">
                <a:pos x="connsiteX25922" y="connsiteY25922"/>
              </a:cxn>
              <a:cxn ang="0">
                <a:pos x="connsiteX25923" y="connsiteY25923"/>
              </a:cxn>
              <a:cxn ang="0">
                <a:pos x="connsiteX25924" y="connsiteY25924"/>
              </a:cxn>
              <a:cxn ang="0">
                <a:pos x="connsiteX25925" y="connsiteY25925"/>
              </a:cxn>
              <a:cxn ang="0">
                <a:pos x="connsiteX25926" y="connsiteY25926"/>
              </a:cxn>
              <a:cxn ang="0">
                <a:pos x="connsiteX25927" y="connsiteY25927"/>
              </a:cxn>
              <a:cxn ang="0">
                <a:pos x="connsiteX25928" y="connsiteY25928"/>
              </a:cxn>
              <a:cxn ang="0">
                <a:pos x="connsiteX25929" y="connsiteY25929"/>
              </a:cxn>
              <a:cxn ang="0">
                <a:pos x="connsiteX25930" y="connsiteY25930"/>
              </a:cxn>
              <a:cxn ang="0">
                <a:pos x="connsiteX25931" y="connsiteY25931"/>
              </a:cxn>
              <a:cxn ang="0">
                <a:pos x="connsiteX25932" y="connsiteY25932"/>
              </a:cxn>
              <a:cxn ang="0">
                <a:pos x="connsiteX25933" y="connsiteY25933"/>
              </a:cxn>
              <a:cxn ang="0">
                <a:pos x="connsiteX25934" y="connsiteY25934"/>
              </a:cxn>
              <a:cxn ang="0">
                <a:pos x="connsiteX25935" y="connsiteY25935"/>
              </a:cxn>
              <a:cxn ang="0">
                <a:pos x="connsiteX25936" y="connsiteY25936"/>
              </a:cxn>
              <a:cxn ang="0">
                <a:pos x="connsiteX25937" y="connsiteY25937"/>
              </a:cxn>
              <a:cxn ang="0">
                <a:pos x="connsiteX25938" y="connsiteY25938"/>
              </a:cxn>
              <a:cxn ang="0">
                <a:pos x="connsiteX25939" y="connsiteY25939"/>
              </a:cxn>
              <a:cxn ang="0">
                <a:pos x="connsiteX25940" y="connsiteY25940"/>
              </a:cxn>
              <a:cxn ang="0">
                <a:pos x="connsiteX25941" y="connsiteY25941"/>
              </a:cxn>
              <a:cxn ang="0">
                <a:pos x="connsiteX25942" y="connsiteY25942"/>
              </a:cxn>
              <a:cxn ang="0">
                <a:pos x="connsiteX25943" y="connsiteY25943"/>
              </a:cxn>
              <a:cxn ang="0">
                <a:pos x="connsiteX25944" y="connsiteY25944"/>
              </a:cxn>
              <a:cxn ang="0">
                <a:pos x="connsiteX25945" y="connsiteY25945"/>
              </a:cxn>
              <a:cxn ang="0">
                <a:pos x="connsiteX25946" y="connsiteY25946"/>
              </a:cxn>
              <a:cxn ang="0">
                <a:pos x="connsiteX25947" y="connsiteY25947"/>
              </a:cxn>
              <a:cxn ang="0">
                <a:pos x="connsiteX25948" y="connsiteY25948"/>
              </a:cxn>
              <a:cxn ang="0">
                <a:pos x="connsiteX25949" y="connsiteY25949"/>
              </a:cxn>
              <a:cxn ang="0">
                <a:pos x="connsiteX25950" y="connsiteY25950"/>
              </a:cxn>
              <a:cxn ang="0">
                <a:pos x="connsiteX25951" y="connsiteY25951"/>
              </a:cxn>
              <a:cxn ang="0">
                <a:pos x="connsiteX25952" y="connsiteY25952"/>
              </a:cxn>
              <a:cxn ang="0">
                <a:pos x="connsiteX25953" y="connsiteY25953"/>
              </a:cxn>
              <a:cxn ang="0">
                <a:pos x="connsiteX25954" y="connsiteY25954"/>
              </a:cxn>
              <a:cxn ang="0">
                <a:pos x="connsiteX25955" y="connsiteY25955"/>
              </a:cxn>
              <a:cxn ang="0">
                <a:pos x="connsiteX25956" y="connsiteY25956"/>
              </a:cxn>
              <a:cxn ang="0">
                <a:pos x="connsiteX25957" y="connsiteY25957"/>
              </a:cxn>
              <a:cxn ang="0">
                <a:pos x="connsiteX25958" y="connsiteY25958"/>
              </a:cxn>
              <a:cxn ang="0">
                <a:pos x="connsiteX25959" y="connsiteY25959"/>
              </a:cxn>
              <a:cxn ang="0">
                <a:pos x="connsiteX25960" y="connsiteY25960"/>
              </a:cxn>
              <a:cxn ang="0">
                <a:pos x="connsiteX25961" y="connsiteY25961"/>
              </a:cxn>
              <a:cxn ang="0">
                <a:pos x="connsiteX25962" y="connsiteY25962"/>
              </a:cxn>
              <a:cxn ang="0">
                <a:pos x="connsiteX25963" y="connsiteY25963"/>
              </a:cxn>
              <a:cxn ang="0">
                <a:pos x="connsiteX25964" y="connsiteY25964"/>
              </a:cxn>
              <a:cxn ang="0">
                <a:pos x="connsiteX25965" y="connsiteY25965"/>
              </a:cxn>
              <a:cxn ang="0">
                <a:pos x="connsiteX25966" y="connsiteY25966"/>
              </a:cxn>
              <a:cxn ang="0">
                <a:pos x="connsiteX25967" y="connsiteY25967"/>
              </a:cxn>
              <a:cxn ang="0">
                <a:pos x="connsiteX25968" y="connsiteY25968"/>
              </a:cxn>
              <a:cxn ang="0">
                <a:pos x="connsiteX25969" y="connsiteY25969"/>
              </a:cxn>
              <a:cxn ang="0">
                <a:pos x="connsiteX25970" y="connsiteY25970"/>
              </a:cxn>
              <a:cxn ang="0">
                <a:pos x="connsiteX25971" y="connsiteY25971"/>
              </a:cxn>
              <a:cxn ang="0">
                <a:pos x="connsiteX25972" y="connsiteY25972"/>
              </a:cxn>
              <a:cxn ang="0">
                <a:pos x="connsiteX25973" y="connsiteY25973"/>
              </a:cxn>
              <a:cxn ang="0">
                <a:pos x="connsiteX25974" y="connsiteY25974"/>
              </a:cxn>
              <a:cxn ang="0">
                <a:pos x="connsiteX25975" y="connsiteY25975"/>
              </a:cxn>
              <a:cxn ang="0">
                <a:pos x="connsiteX25976" y="connsiteY25976"/>
              </a:cxn>
              <a:cxn ang="0">
                <a:pos x="connsiteX25977" y="connsiteY25977"/>
              </a:cxn>
              <a:cxn ang="0">
                <a:pos x="connsiteX25978" y="connsiteY25978"/>
              </a:cxn>
              <a:cxn ang="0">
                <a:pos x="connsiteX25979" y="connsiteY25979"/>
              </a:cxn>
              <a:cxn ang="0">
                <a:pos x="connsiteX25980" y="connsiteY25980"/>
              </a:cxn>
              <a:cxn ang="0">
                <a:pos x="connsiteX25981" y="connsiteY25981"/>
              </a:cxn>
              <a:cxn ang="0">
                <a:pos x="connsiteX25982" y="connsiteY25982"/>
              </a:cxn>
              <a:cxn ang="0">
                <a:pos x="connsiteX25983" y="connsiteY25983"/>
              </a:cxn>
              <a:cxn ang="0">
                <a:pos x="connsiteX25984" y="connsiteY25984"/>
              </a:cxn>
              <a:cxn ang="0">
                <a:pos x="connsiteX25985" y="connsiteY25985"/>
              </a:cxn>
              <a:cxn ang="0">
                <a:pos x="connsiteX25986" y="connsiteY25986"/>
              </a:cxn>
              <a:cxn ang="0">
                <a:pos x="connsiteX25987" y="connsiteY25987"/>
              </a:cxn>
              <a:cxn ang="0">
                <a:pos x="connsiteX25988" y="connsiteY25988"/>
              </a:cxn>
              <a:cxn ang="0">
                <a:pos x="connsiteX25989" y="connsiteY25989"/>
              </a:cxn>
              <a:cxn ang="0">
                <a:pos x="connsiteX25990" y="connsiteY25990"/>
              </a:cxn>
              <a:cxn ang="0">
                <a:pos x="connsiteX25991" y="connsiteY25991"/>
              </a:cxn>
              <a:cxn ang="0">
                <a:pos x="connsiteX25992" y="connsiteY25992"/>
              </a:cxn>
              <a:cxn ang="0">
                <a:pos x="connsiteX25993" y="connsiteY25993"/>
              </a:cxn>
              <a:cxn ang="0">
                <a:pos x="connsiteX25994" y="connsiteY25994"/>
              </a:cxn>
              <a:cxn ang="0">
                <a:pos x="connsiteX25995" y="connsiteY25995"/>
              </a:cxn>
              <a:cxn ang="0">
                <a:pos x="connsiteX25996" y="connsiteY25996"/>
              </a:cxn>
              <a:cxn ang="0">
                <a:pos x="connsiteX25997" y="connsiteY25997"/>
              </a:cxn>
              <a:cxn ang="0">
                <a:pos x="connsiteX25998" y="connsiteY25998"/>
              </a:cxn>
              <a:cxn ang="0">
                <a:pos x="connsiteX25999" y="connsiteY25999"/>
              </a:cxn>
              <a:cxn ang="0">
                <a:pos x="connsiteX26000" y="connsiteY26000"/>
              </a:cxn>
              <a:cxn ang="0">
                <a:pos x="connsiteX26001" y="connsiteY26001"/>
              </a:cxn>
              <a:cxn ang="0">
                <a:pos x="connsiteX26002" y="connsiteY26002"/>
              </a:cxn>
              <a:cxn ang="0">
                <a:pos x="connsiteX26003" y="connsiteY26003"/>
              </a:cxn>
              <a:cxn ang="0">
                <a:pos x="connsiteX26004" y="connsiteY26004"/>
              </a:cxn>
              <a:cxn ang="0">
                <a:pos x="connsiteX26005" y="connsiteY26005"/>
              </a:cxn>
              <a:cxn ang="0">
                <a:pos x="connsiteX26006" y="connsiteY26006"/>
              </a:cxn>
              <a:cxn ang="0">
                <a:pos x="connsiteX26007" y="connsiteY26007"/>
              </a:cxn>
              <a:cxn ang="0">
                <a:pos x="connsiteX26008" y="connsiteY26008"/>
              </a:cxn>
              <a:cxn ang="0">
                <a:pos x="connsiteX26009" y="connsiteY26009"/>
              </a:cxn>
              <a:cxn ang="0">
                <a:pos x="connsiteX26010" y="connsiteY26010"/>
              </a:cxn>
              <a:cxn ang="0">
                <a:pos x="connsiteX26011" y="connsiteY26011"/>
              </a:cxn>
              <a:cxn ang="0">
                <a:pos x="connsiteX26012" y="connsiteY26012"/>
              </a:cxn>
              <a:cxn ang="0">
                <a:pos x="connsiteX26013" y="connsiteY26013"/>
              </a:cxn>
              <a:cxn ang="0">
                <a:pos x="connsiteX26014" y="connsiteY26014"/>
              </a:cxn>
              <a:cxn ang="0">
                <a:pos x="connsiteX26015" y="connsiteY26015"/>
              </a:cxn>
              <a:cxn ang="0">
                <a:pos x="connsiteX26016" y="connsiteY26016"/>
              </a:cxn>
              <a:cxn ang="0">
                <a:pos x="connsiteX26017" y="connsiteY26017"/>
              </a:cxn>
              <a:cxn ang="0">
                <a:pos x="connsiteX26018" y="connsiteY26018"/>
              </a:cxn>
              <a:cxn ang="0">
                <a:pos x="connsiteX26019" y="connsiteY26019"/>
              </a:cxn>
              <a:cxn ang="0">
                <a:pos x="connsiteX26020" y="connsiteY26020"/>
              </a:cxn>
              <a:cxn ang="0">
                <a:pos x="connsiteX26021" y="connsiteY26021"/>
              </a:cxn>
              <a:cxn ang="0">
                <a:pos x="connsiteX26022" y="connsiteY26022"/>
              </a:cxn>
              <a:cxn ang="0">
                <a:pos x="connsiteX26023" y="connsiteY26023"/>
              </a:cxn>
              <a:cxn ang="0">
                <a:pos x="connsiteX26024" y="connsiteY26024"/>
              </a:cxn>
              <a:cxn ang="0">
                <a:pos x="connsiteX26025" y="connsiteY26025"/>
              </a:cxn>
              <a:cxn ang="0">
                <a:pos x="connsiteX26026" y="connsiteY26026"/>
              </a:cxn>
              <a:cxn ang="0">
                <a:pos x="connsiteX26027" y="connsiteY26027"/>
              </a:cxn>
              <a:cxn ang="0">
                <a:pos x="connsiteX26028" y="connsiteY26028"/>
              </a:cxn>
              <a:cxn ang="0">
                <a:pos x="connsiteX26029" y="connsiteY26029"/>
              </a:cxn>
              <a:cxn ang="0">
                <a:pos x="connsiteX26030" y="connsiteY26030"/>
              </a:cxn>
              <a:cxn ang="0">
                <a:pos x="connsiteX26031" y="connsiteY26031"/>
              </a:cxn>
              <a:cxn ang="0">
                <a:pos x="connsiteX26032" y="connsiteY26032"/>
              </a:cxn>
              <a:cxn ang="0">
                <a:pos x="connsiteX26033" y="connsiteY26033"/>
              </a:cxn>
              <a:cxn ang="0">
                <a:pos x="connsiteX26034" y="connsiteY26034"/>
              </a:cxn>
              <a:cxn ang="0">
                <a:pos x="connsiteX26035" y="connsiteY26035"/>
              </a:cxn>
              <a:cxn ang="0">
                <a:pos x="connsiteX26036" y="connsiteY26036"/>
              </a:cxn>
              <a:cxn ang="0">
                <a:pos x="connsiteX26037" y="connsiteY26037"/>
              </a:cxn>
              <a:cxn ang="0">
                <a:pos x="connsiteX26038" y="connsiteY26038"/>
              </a:cxn>
              <a:cxn ang="0">
                <a:pos x="connsiteX26039" y="connsiteY26039"/>
              </a:cxn>
              <a:cxn ang="0">
                <a:pos x="connsiteX26040" y="connsiteY26040"/>
              </a:cxn>
              <a:cxn ang="0">
                <a:pos x="connsiteX26041" y="connsiteY26041"/>
              </a:cxn>
              <a:cxn ang="0">
                <a:pos x="connsiteX26042" y="connsiteY26042"/>
              </a:cxn>
              <a:cxn ang="0">
                <a:pos x="connsiteX26043" y="connsiteY26043"/>
              </a:cxn>
              <a:cxn ang="0">
                <a:pos x="connsiteX26044" y="connsiteY26044"/>
              </a:cxn>
              <a:cxn ang="0">
                <a:pos x="connsiteX26045" y="connsiteY26045"/>
              </a:cxn>
              <a:cxn ang="0">
                <a:pos x="connsiteX26046" y="connsiteY26046"/>
              </a:cxn>
              <a:cxn ang="0">
                <a:pos x="connsiteX26047" y="connsiteY26047"/>
              </a:cxn>
              <a:cxn ang="0">
                <a:pos x="connsiteX26048" y="connsiteY26048"/>
              </a:cxn>
              <a:cxn ang="0">
                <a:pos x="connsiteX26049" y="connsiteY26049"/>
              </a:cxn>
              <a:cxn ang="0">
                <a:pos x="connsiteX26050" y="connsiteY26050"/>
              </a:cxn>
              <a:cxn ang="0">
                <a:pos x="connsiteX26051" y="connsiteY26051"/>
              </a:cxn>
              <a:cxn ang="0">
                <a:pos x="connsiteX26052" y="connsiteY26052"/>
              </a:cxn>
              <a:cxn ang="0">
                <a:pos x="connsiteX26053" y="connsiteY26053"/>
              </a:cxn>
              <a:cxn ang="0">
                <a:pos x="connsiteX26054" y="connsiteY26054"/>
              </a:cxn>
              <a:cxn ang="0">
                <a:pos x="connsiteX26055" y="connsiteY26055"/>
              </a:cxn>
              <a:cxn ang="0">
                <a:pos x="connsiteX26056" y="connsiteY26056"/>
              </a:cxn>
              <a:cxn ang="0">
                <a:pos x="connsiteX26057" y="connsiteY26057"/>
              </a:cxn>
              <a:cxn ang="0">
                <a:pos x="connsiteX26058" y="connsiteY26058"/>
              </a:cxn>
              <a:cxn ang="0">
                <a:pos x="connsiteX26059" y="connsiteY26059"/>
              </a:cxn>
              <a:cxn ang="0">
                <a:pos x="connsiteX26060" y="connsiteY26060"/>
              </a:cxn>
              <a:cxn ang="0">
                <a:pos x="connsiteX26061" y="connsiteY26061"/>
              </a:cxn>
              <a:cxn ang="0">
                <a:pos x="connsiteX26062" y="connsiteY26062"/>
              </a:cxn>
              <a:cxn ang="0">
                <a:pos x="connsiteX26063" y="connsiteY26063"/>
              </a:cxn>
              <a:cxn ang="0">
                <a:pos x="connsiteX26064" y="connsiteY26064"/>
              </a:cxn>
              <a:cxn ang="0">
                <a:pos x="connsiteX26065" y="connsiteY26065"/>
              </a:cxn>
              <a:cxn ang="0">
                <a:pos x="connsiteX26066" y="connsiteY26066"/>
              </a:cxn>
              <a:cxn ang="0">
                <a:pos x="connsiteX26067" y="connsiteY26067"/>
              </a:cxn>
              <a:cxn ang="0">
                <a:pos x="connsiteX26068" y="connsiteY26068"/>
              </a:cxn>
              <a:cxn ang="0">
                <a:pos x="connsiteX26069" y="connsiteY26069"/>
              </a:cxn>
              <a:cxn ang="0">
                <a:pos x="connsiteX26070" y="connsiteY26070"/>
              </a:cxn>
              <a:cxn ang="0">
                <a:pos x="connsiteX26071" y="connsiteY26071"/>
              </a:cxn>
              <a:cxn ang="0">
                <a:pos x="connsiteX26072" y="connsiteY26072"/>
              </a:cxn>
              <a:cxn ang="0">
                <a:pos x="connsiteX26073" y="connsiteY26073"/>
              </a:cxn>
              <a:cxn ang="0">
                <a:pos x="connsiteX26074" y="connsiteY26074"/>
              </a:cxn>
              <a:cxn ang="0">
                <a:pos x="connsiteX26075" y="connsiteY26075"/>
              </a:cxn>
              <a:cxn ang="0">
                <a:pos x="connsiteX26076" y="connsiteY26076"/>
              </a:cxn>
              <a:cxn ang="0">
                <a:pos x="connsiteX26077" y="connsiteY26077"/>
              </a:cxn>
              <a:cxn ang="0">
                <a:pos x="connsiteX26078" y="connsiteY26078"/>
              </a:cxn>
              <a:cxn ang="0">
                <a:pos x="connsiteX26079" y="connsiteY26079"/>
              </a:cxn>
              <a:cxn ang="0">
                <a:pos x="connsiteX26080" y="connsiteY26080"/>
              </a:cxn>
              <a:cxn ang="0">
                <a:pos x="connsiteX26081" y="connsiteY26081"/>
              </a:cxn>
              <a:cxn ang="0">
                <a:pos x="connsiteX26082" y="connsiteY26082"/>
              </a:cxn>
              <a:cxn ang="0">
                <a:pos x="connsiteX26083" y="connsiteY26083"/>
              </a:cxn>
              <a:cxn ang="0">
                <a:pos x="connsiteX26084" y="connsiteY26084"/>
              </a:cxn>
              <a:cxn ang="0">
                <a:pos x="connsiteX26085" y="connsiteY26085"/>
              </a:cxn>
              <a:cxn ang="0">
                <a:pos x="connsiteX26086" y="connsiteY26086"/>
              </a:cxn>
              <a:cxn ang="0">
                <a:pos x="connsiteX26087" y="connsiteY26087"/>
              </a:cxn>
              <a:cxn ang="0">
                <a:pos x="connsiteX26088" y="connsiteY26088"/>
              </a:cxn>
              <a:cxn ang="0">
                <a:pos x="connsiteX26089" y="connsiteY26089"/>
              </a:cxn>
              <a:cxn ang="0">
                <a:pos x="connsiteX26090" y="connsiteY26090"/>
              </a:cxn>
              <a:cxn ang="0">
                <a:pos x="connsiteX26091" y="connsiteY26091"/>
              </a:cxn>
              <a:cxn ang="0">
                <a:pos x="connsiteX26092" y="connsiteY26092"/>
              </a:cxn>
              <a:cxn ang="0">
                <a:pos x="connsiteX26093" y="connsiteY26093"/>
              </a:cxn>
              <a:cxn ang="0">
                <a:pos x="connsiteX26094" y="connsiteY26094"/>
              </a:cxn>
              <a:cxn ang="0">
                <a:pos x="connsiteX26095" y="connsiteY26095"/>
              </a:cxn>
              <a:cxn ang="0">
                <a:pos x="connsiteX26096" y="connsiteY26096"/>
              </a:cxn>
              <a:cxn ang="0">
                <a:pos x="connsiteX26097" y="connsiteY26097"/>
              </a:cxn>
              <a:cxn ang="0">
                <a:pos x="connsiteX26098" y="connsiteY26098"/>
              </a:cxn>
              <a:cxn ang="0">
                <a:pos x="connsiteX26099" y="connsiteY26099"/>
              </a:cxn>
              <a:cxn ang="0">
                <a:pos x="connsiteX26100" y="connsiteY26100"/>
              </a:cxn>
              <a:cxn ang="0">
                <a:pos x="connsiteX26101" y="connsiteY26101"/>
              </a:cxn>
              <a:cxn ang="0">
                <a:pos x="connsiteX26102" y="connsiteY26102"/>
              </a:cxn>
              <a:cxn ang="0">
                <a:pos x="connsiteX26103" y="connsiteY26103"/>
              </a:cxn>
              <a:cxn ang="0">
                <a:pos x="connsiteX26104" y="connsiteY26104"/>
              </a:cxn>
              <a:cxn ang="0">
                <a:pos x="connsiteX26105" y="connsiteY26105"/>
              </a:cxn>
              <a:cxn ang="0">
                <a:pos x="connsiteX26106" y="connsiteY26106"/>
              </a:cxn>
              <a:cxn ang="0">
                <a:pos x="connsiteX26107" y="connsiteY26107"/>
              </a:cxn>
              <a:cxn ang="0">
                <a:pos x="connsiteX26108" y="connsiteY26108"/>
              </a:cxn>
              <a:cxn ang="0">
                <a:pos x="connsiteX26109" y="connsiteY26109"/>
              </a:cxn>
              <a:cxn ang="0">
                <a:pos x="connsiteX26110" y="connsiteY26110"/>
              </a:cxn>
              <a:cxn ang="0">
                <a:pos x="connsiteX26111" y="connsiteY26111"/>
              </a:cxn>
              <a:cxn ang="0">
                <a:pos x="connsiteX26112" y="connsiteY26112"/>
              </a:cxn>
              <a:cxn ang="0">
                <a:pos x="connsiteX26113" y="connsiteY26113"/>
              </a:cxn>
              <a:cxn ang="0">
                <a:pos x="connsiteX26114" y="connsiteY26114"/>
              </a:cxn>
              <a:cxn ang="0">
                <a:pos x="connsiteX26115" y="connsiteY26115"/>
              </a:cxn>
              <a:cxn ang="0">
                <a:pos x="connsiteX26116" y="connsiteY26116"/>
              </a:cxn>
              <a:cxn ang="0">
                <a:pos x="connsiteX26117" y="connsiteY26117"/>
              </a:cxn>
              <a:cxn ang="0">
                <a:pos x="connsiteX26118" y="connsiteY26118"/>
              </a:cxn>
              <a:cxn ang="0">
                <a:pos x="connsiteX26119" y="connsiteY26119"/>
              </a:cxn>
              <a:cxn ang="0">
                <a:pos x="connsiteX26120" y="connsiteY26120"/>
              </a:cxn>
              <a:cxn ang="0">
                <a:pos x="connsiteX26121" y="connsiteY26121"/>
              </a:cxn>
              <a:cxn ang="0">
                <a:pos x="connsiteX26122" y="connsiteY26122"/>
              </a:cxn>
              <a:cxn ang="0">
                <a:pos x="connsiteX26123" y="connsiteY26123"/>
              </a:cxn>
              <a:cxn ang="0">
                <a:pos x="connsiteX26124" y="connsiteY26124"/>
              </a:cxn>
              <a:cxn ang="0">
                <a:pos x="connsiteX26125" y="connsiteY26125"/>
              </a:cxn>
              <a:cxn ang="0">
                <a:pos x="connsiteX26126" y="connsiteY26126"/>
              </a:cxn>
              <a:cxn ang="0">
                <a:pos x="connsiteX26127" y="connsiteY26127"/>
              </a:cxn>
              <a:cxn ang="0">
                <a:pos x="connsiteX26128" y="connsiteY26128"/>
              </a:cxn>
              <a:cxn ang="0">
                <a:pos x="connsiteX26129" y="connsiteY26129"/>
              </a:cxn>
              <a:cxn ang="0">
                <a:pos x="connsiteX26130" y="connsiteY26130"/>
              </a:cxn>
              <a:cxn ang="0">
                <a:pos x="connsiteX26131" y="connsiteY26131"/>
              </a:cxn>
              <a:cxn ang="0">
                <a:pos x="connsiteX26132" y="connsiteY26132"/>
              </a:cxn>
              <a:cxn ang="0">
                <a:pos x="connsiteX26133" y="connsiteY26133"/>
              </a:cxn>
              <a:cxn ang="0">
                <a:pos x="connsiteX26134" y="connsiteY26134"/>
              </a:cxn>
              <a:cxn ang="0">
                <a:pos x="connsiteX26135" y="connsiteY26135"/>
              </a:cxn>
              <a:cxn ang="0">
                <a:pos x="connsiteX26136" y="connsiteY26136"/>
              </a:cxn>
              <a:cxn ang="0">
                <a:pos x="connsiteX26137" y="connsiteY26137"/>
              </a:cxn>
              <a:cxn ang="0">
                <a:pos x="connsiteX26138" y="connsiteY26138"/>
              </a:cxn>
              <a:cxn ang="0">
                <a:pos x="connsiteX26139" y="connsiteY26139"/>
              </a:cxn>
              <a:cxn ang="0">
                <a:pos x="connsiteX26140" y="connsiteY26140"/>
              </a:cxn>
              <a:cxn ang="0">
                <a:pos x="connsiteX26141" y="connsiteY26141"/>
              </a:cxn>
              <a:cxn ang="0">
                <a:pos x="connsiteX26142" y="connsiteY26142"/>
              </a:cxn>
              <a:cxn ang="0">
                <a:pos x="connsiteX26143" y="connsiteY26143"/>
              </a:cxn>
              <a:cxn ang="0">
                <a:pos x="connsiteX26144" y="connsiteY26144"/>
              </a:cxn>
              <a:cxn ang="0">
                <a:pos x="connsiteX26145" y="connsiteY26145"/>
              </a:cxn>
              <a:cxn ang="0">
                <a:pos x="connsiteX26146" y="connsiteY26146"/>
              </a:cxn>
              <a:cxn ang="0">
                <a:pos x="connsiteX26147" y="connsiteY26147"/>
              </a:cxn>
              <a:cxn ang="0">
                <a:pos x="connsiteX26148" y="connsiteY26148"/>
              </a:cxn>
              <a:cxn ang="0">
                <a:pos x="connsiteX26149" y="connsiteY26149"/>
              </a:cxn>
              <a:cxn ang="0">
                <a:pos x="connsiteX26150" y="connsiteY26150"/>
              </a:cxn>
              <a:cxn ang="0">
                <a:pos x="connsiteX26151" y="connsiteY26151"/>
              </a:cxn>
              <a:cxn ang="0">
                <a:pos x="connsiteX26152" y="connsiteY26152"/>
              </a:cxn>
              <a:cxn ang="0">
                <a:pos x="connsiteX26153" y="connsiteY26153"/>
              </a:cxn>
              <a:cxn ang="0">
                <a:pos x="connsiteX26154" y="connsiteY26154"/>
              </a:cxn>
              <a:cxn ang="0">
                <a:pos x="connsiteX26155" y="connsiteY26155"/>
              </a:cxn>
              <a:cxn ang="0">
                <a:pos x="connsiteX26156" y="connsiteY26156"/>
              </a:cxn>
              <a:cxn ang="0">
                <a:pos x="connsiteX26157" y="connsiteY26157"/>
              </a:cxn>
              <a:cxn ang="0">
                <a:pos x="connsiteX26158" y="connsiteY26158"/>
              </a:cxn>
              <a:cxn ang="0">
                <a:pos x="connsiteX26159" y="connsiteY26159"/>
              </a:cxn>
              <a:cxn ang="0">
                <a:pos x="connsiteX26160" y="connsiteY26160"/>
              </a:cxn>
              <a:cxn ang="0">
                <a:pos x="connsiteX26161" y="connsiteY26161"/>
              </a:cxn>
              <a:cxn ang="0">
                <a:pos x="connsiteX26162" y="connsiteY26162"/>
              </a:cxn>
              <a:cxn ang="0">
                <a:pos x="connsiteX26163" y="connsiteY26163"/>
              </a:cxn>
              <a:cxn ang="0">
                <a:pos x="connsiteX26164" y="connsiteY26164"/>
              </a:cxn>
              <a:cxn ang="0">
                <a:pos x="connsiteX26165" y="connsiteY26165"/>
              </a:cxn>
              <a:cxn ang="0">
                <a:pos x="connsiteX26166" y="connsiteY26166"/>
              </a:cxn>
              <a:cxn ang="0">
                <a:pos x="connsiteX26167" y="connsiteY26167"/>
              </a:cxn>
              <a:cxn ang="0">
                <a:pos x="connsiteX26168" y="connsiteY26168"/>
              </a:cxn>
              <a:cxn ang="0">
                <a:pos x="connsiteX26169" y="connsiteY26169"/>
              </a:cxn>
              <a:cxn ang="0">
                <a:pos x="connsiteX26170" y="connsiteY26170"/>
              </a:cxn>
              <a:cxn ang="0">
                <a:pos x="connsiteX26171" y="connsiteY26171"/>
              </a:cxn>
              <a:cxn ang="0">
                <a:pos x="connsiteX26172" y="connsiteY26172"/>
              </a:cxn>
              <a:cxn ang="0">
                <a:pos x="connsiteX26173" y="connsiteY26173"/>
              </a:cxn>
              <a:cxn ang="0">
                <a:pos x="connsiteX26174" y="connsiteY26174"/>
              </a:cxn>
              <a:cxn ang="0">
                <a:pos x="connsiteX26175" y="connsiteY26175"/>
              </a:cxn>
              <a:cxn ang="0">
                <a:pos x="connsiteX26176" y="connsiteY26176"/>
              </a:cxn>
              <a:cxn ang="0">
                <a:pos x="connsiteX26177" y="connsiteY26177"/>
              </a:cxn>
              <a:cxn ang="0">
                <a:pos x="connsiteX26178" y="connsiteY26178"/>
              </a:cxn>
              <a:cxn ang="0">
                <a:pos x="connsiteX26179" y="connsiteY26179"/>
              </a:cxn>
              <a:cxn ang="0">
                <a:pos x="connsiteX26180" y="connsiteY26180"/>
              </a:cxn>
              <a:cxn ang="0">
                <a:pos x="connsiteX26181" y="connsiteY26181"/>
              </a:cxn>
              <a:cxn ang="0">
                <a:pos x="connsiteX26182" y="connsiteY26182"/>
              </a:cxn>
              <a:cxn ang="0">
                <a:pos x="connsiteX26183" y="connsiteY26183"/>
              </a:cxn>
              <a:cxn ang="0">
                <a:pos x="connsiteX26184" y="connsiteY26184"/>
              </a:cxn>
              <a:cxn ang="0">
                <a:pos x="connsiteX26185" y="connsiteY26185"/>
              </a:cxn>
              <a:cxn ang="0">
                <a:pos x="connsiteX26186" y="connsiteY26186"/>
              </a:cxn>
              <a:cxn ang="0">
                <a:pos x="connsiteX26187" y="connsiteY26187"/>
              </a:cxn>
              <a:cxn ang="0">
                <a:pos x="connsiteX26188" y="connsiteY26188"/>
              </a:cxn>
              <a:cxn ang="0">
                <a:pos x="connsiteX26189" y="connsiteY26189"/>
              </a:cxn>
              <a:cxn ang="0">
                <a:pos x="connsiteX26190" y="connsiteY26190"/>
              </a:cxn>
              <a:cxn ang="0">
                <a:pos x="connsiteX26191" y="connsiteY26191"/>
              </a:cxn>
              <a:cxn ang="0">
                <a:pos x="connsiteX26192" y="connsiteY26192"/>
              </a:cxn>
              <a:cxn ang="0">
                <a:pos x="connsiteX26193" y="connsiteY26193"/>
              </a:cxn>
              <a:cxn ang="0">
                <a:pos x="connsiteX26194" y="connsiteY26194"/>
              </a:cxn>
              <a:cxn ang="0">
                <a:pos x="connsiteX26195" y="connsiteY26195"/>
              </a:cxn>
              <a:cxn ang="0">
                <a:pos x="connsiteX26196" y="connsiteY26196"/>
              </a:cxn>
              <a:cxn ang="0">
                <a:pos x="connsiteX26197" y="connsiteY26197"/>
              </a:cxn>
              <a:cxn ang="0">
                <a:pos x="connsiteX26198" y="connsiteY26198"/>
              </a:cxn>
              <a:cxn ang="0">
                <a:pos x="connsiteX26199" y="connsiteY26199"/>
              </a:cxn>
              <a:cxn ang="0">
                <a:pos x="connsiteX26200" y="connsiteY26200"/>
              </a:cxn>
              <a:cxn ang="0">
                <a:pos x="connsiteX26201" y="connsiteY26201"/>
              </a:cxn>
              <a:cxn ang="0">
                <a:pos x="connsiteX26202" y="connsiteY26202"/>
              </a:cxn>
              <a:cxn ang="0">
                <a:pos x="connsiteX26203" y="connsiteY26203"/>
              </a:cxn>
              <a:cxn ang="0">
                <a:pos x="connsiteX26204" y="connsiteY26204"/>
              </a:cxn>
              <a:cxn ang="0">
                <a:pos x="connsiteX26205" y="connsiteY26205"/>
              </a:cxn>
              <a:cxn ang="0">
                <a:pos x="connsiteX26206" y="connsiteY26206"/>
              </a:cxn>
              <a:cxn ang="0">
                <a:pos x="connsiteX26207" y="connsiteY26207"/>
              </a:cxn>
              <a:cxn ang="0">
                <a:pos x="connsiteX26208" y="connsiteY26208"/>
              </a:cxn>
              <a:cxn ang="0">
                <a:pos x="connsiteX26209" y="connsiteY26209"/>
              </a:cxn>
              <a:cxn ang="0">
                <a:pos x="connsiteX26210" y="connsiteY26210"/>
              </a:cxn>
              <a:cxn ang="0">
                <a:pos x="connsiteX26211" y="connsiteY26211"/>
              </a:cxn>
              <a:cxn ang="0">
                <a:pos x="connsiteX26212" y="connsiteY26212"/>
              </a:cxn>
              <a:cxn ang="0">
                <a:pos x="connsiteX26213" y="connsiteY26213"/>
              </a:cxn>
              <a:cxn ang="0">
                <a:pos x="connsiteX26214" y="connsiteY26214"/>
              </a:cxn>
              <a:cxn ang="0">
                <a:pos x="connsiteX26215" y="connsiteY26215"/>
              </a:cxn>
              <a:cxn ang="0">
                <a:pos x="connsiteX26216" y="connsiteY26216"/>
              </a:cxn>
              <a:cxn ang="0">
                <a:pos x="connsiteX26217" y="connsiteY26217"/>
              </a:cxn>
              <a:cxn ang="0">
                <a:pos x="connsiteX26218" y="connsiteY26218"/>
              </a:cxn>
              <a:cxn ang="0">
                <a:pos x="connsiteX26219" y="connsiteY26219"/>
              </a:cxn>
              <a:cxn ang="0">
                <a:pos x="connsiteX26220" y="connsiteY26220"/>
              </a:cxn>
              <a:cxn ang="0">
                <a:pos x="connsiteX26221" y="connsiteY26221"/>
              </a:cxn>
              <a:cxn ang="0">
                <a:pos x="connsiteX26222" y="connsiteY26222"/>
              </a:cxn>
              <a:cxn ang="0">
                <a:pos x="connsiteX26223" y="connsiteY26223"/>
              </a:cxn>
              <a:cxn ang="0">
                <a:pos x="connsiteX26224" y="connsiteY26224"/>
              </a:cxn>
              <a:cxn ang="0">
                <a:pos x="connsiteX26225" y="connsiteY26225"/>
              </a:cxn>
              <a:cxn ang="0">
                <a:pos x="connsiteX26226" y="connsiteY26226"/>
              </a:cxn>
              <a:cxn ang="0">
                <a:pos x="connsiteX26227" y="connsiteY26227"/>
              </a:cxn>
              <a:cxn ang="0">
                <a:pos x="connsiteX26228" y="connsiteY26228"/>
              </a:cxn>
              <a:cxn ang="0">
                <a:pos x="connsiteX26229" y="connsiteY26229"/>
              </a:cxn>
              <a:cxn ang="0">
                <a:pos x="connsiteX26230" y="connsiteY26230"/>
              </a:cxn>
              <a:cxn ang="0">
                <a:pos x="connsiteX26231" y="connsiteY26231"/>
              </a:cxn>
              <a:cxn ang="0">
                <a:pos x="connsiteX26232" y="connsiteY26232"/>
              </a:cxn>
              <a:cxn ang="0">
                <a:pos x="connsiteX26233" y="connsiteY26233"/>
              </a:cxn>
              <a:cxn ang="0">
                <a:pos x="connsiteX26234" y="connsiteY26234"/>
              </a:cxn>
              <a:cxn ang="0">
                <a:pos x="connsiteX26235" y="connsiteY26235"/>
              </a:cxn>
              <a:cxn ang="0">
                <a:pos x="connsiteX26236" y="connsiteY26236"/>
              </a:cxn>
              <a:cxn ang="0">
                <a:pos x="connsiteX26237" y="connsiteY26237"/>
              </a:cxn>
              <a:cxn ang="0">
                <a:pos x="connsiteX26238" y="connsiteY26238"/>
              </a:cxn>
              <a:cxn ang="0">
                <a:pos x="connsiteX26239" y="connsiteY26239"/>
              </a:cxn>
              <a:cxn ang="0">
                <a:pos x="connsiteX26240" y="connsiteY26240"/>
              </a:cxn>
              <a:cxn ang="0">
                <a:pos x="connsiteX26241" y="connsiteY26241"/>
              </a:cxn>
              <a:cxn ang="0">
                <a:pos x="connsiteX26242" y="connsiteY26242"/>
              </a:cxn>
              <a:cxn ang="0">
                <a:pos x="connsiteX26243" y="connsiteY26243"/>
              </a:cxn>
              <a:cxn ang="0">
                <a:pos x="connsiteX26244" y="connsiteY26244"/>
              </a:cxn>
              <a:cxn ang="0">
                <a:pos x="connsiteX26245" y="connsiteY26245"/>
              </a:cxn>
              <a:cxn ang="0">
                <a:pos x="connsiteX26246" y="connsiteY26246"/>
              </a:cxn>
              <a:cxn ang="0">
                <a:pos x="connsiteX26247" y="connsiteY26247"/>
              </a:cxn>
              <a:cxn ang="0">
                <a:pos x="connsiteX26248" y="connsiteY26248"/>
              </a:cxn>
              <a:cxn ang="0">
                <a:pos x="connsiteX26249" y="connsiteY26249"/>
              </a:cxn>
              <a:cxn ang="0">
                <a:pos x="connsiteX26250" y="connsiteY26250"/>
              </a:cxn>
              <a:cxn ang="0">
                <a:pos x="connsiteX26251" y="connsiteY26251"/>
              </a:cxn>
              <a:cxn ang="0">
                <a:pos x="connsiteX26252" y="connsiteY26252"/>
              </a:cxn>
              <a:cxn ang="0">
                <a:pos x="connsiteX26253" y="connsiteY26253"/>
              </a:cxn>
              <a:cxn ang="0">
                <a:pos x="connsiteX26254" y="connsiteY26254"/>
              </a:cxn>
              <a:cxn ang="0">
                <a:pos x="connsiteX26255" y="connsiteY26255"/>
              </a:cxn>
              <a:cxn ang="0">
                <a:pos x="connsiteX26256" y="connsiteY26256"/>
              </a:cxn>
              <a:cxn ang="0">
                <a:pos x="connsiteX26257" y="connsiteY26257"/>
              </a:cxn>
              <a:cxn ang="0">
                <a:pos x="connsiteX26258" y="connsiteY26258"/>
              </a:cxn>
              <a:cxn ang="0">
                <a:pos x="connsiteX26259" y="connsiteY26259"/>
              </a:cxn>
              <a:cxn ang="0">
                <a:pos x="connsiteX26260" y="connsiteY26260"/>
              </a:cxn>
              <a:cxn ang="0">
                <a:pos x="connsiteX26261" y="connsiteY26261"/>
              </a:cxn>
              <a:cxn ang="0">
                <a:pos x="connsiteX26262" y="connsiteY26262"/>
              </a:cxn>
              <a:cxn ang="0">
                <a:pos x="connsiteX26263" y="connsiteY26263"/>
              </a:cxn>
              <a:cxn ang="0">
                <a:pos x="connsiteX26264" y="connsiteY26264"/>
              </a:cxn>
              <a:cxn ang="0">
                <a:pos x="connsiteX26265" y="connsiteY26265"/>
              </a:cxn>
              <a:cxn ang="0">
                <a:pos x="connsiteX26266" y="connsiteY26266"/>
              </a:cxn>
              <a:cxn ang="0">
                <a:pos x="connsiteX26267" y="connsiteY26267"/>
              </a:cxn>
              <a:cxn ang="0">
                <a:pos x="connsiteX26268" y="connsiteY26268"/>
              </a:cxn>
              <a:cxn ang="0">
                <a:pos x="connsiteX26269" y="connsiteY26269"/>
              </a:cxn>
              <a:cxn ang="0">
                <a:pos x="connsiteX26270" y="connsiteY26270"/>
              </a:cxn>
              <a:cxn ang="0">
                <a:pos x="connsiteX26271" y="connsiteY26271"/>
              </a:cxn>
              <a:cxn ang="0">
                <a:pos x="connsiteX26272" y="connsiteY26272"/>
              </a:cxn>
              <a:cxn ang="0">
                <a:pos x="connsiteX26273" y="connsiteY26273"/>
              </a:cxn>
              <a:cxn ang="0">
                <a:pos x="connsiteX26274" y="connsiteY26274"/>
              </a:cxn>
              <a:cxn ang="0">
                <a:pos x="connsiteX26275" y="connsiteY26275"/>
              </a:cxn>
              <a:cxn ang="0">
                <a:pos x="connsiteX26276" y="connsiteY26276"/>
              </a:cxn>
              <a:cxn ang="0">
                <a:pos x="connsiteX26277" y="connsiteY26277"/>
              </a:cxn>
              <a:cxn ang="0">
                <a:pos x="connsiteX26278" y="connsiteY26278"/>
              </a:cxn>
              <a:cxn ang="0">
                <a:pos x="connsiteX26279" y="connsiteY26279"/>
              </a:cxn>
              <a:cxn ang="0">
                <a:pos x="connsiteX26280" y="connsiteY26280"/>
              </a:cxn>
              <a:cxn ang="0">
                <a:pos x="connsiteX26281" y="connsiteY26281"/>
              </a:cxn>
              <a:cxn ang="0">
                <a:pos x="connsiteX26282" y="connsiteY26282"/>
              </a:cxn>
              <a:cxn ang="0">
                <a:pos x="connsiteX26283" y="connsiteY26283"/>
              </a:cxn>
              <a:cxn ang="0">
                <a:pos x="connsiteX26284" y="connsiteY26284"/>
              </a:cxn>
              <a:cxn ang="0">
                <a:pos x="connsiteX26285" y="connsiteY26285"/>
              </a:cxn>
              <a:cxn ang="0">
                <a:pos x="connsiteX26286" y="connsiteY26286"/>
              </a:cxn>
              <a:cxn ang="0">
                <a:pos x="connsiteX26287" y="connsiteY26287"/>
              </a:cxn>
              <a:cxn ang="0">
                <a:pos x="connsiteX26288" y="connsiteY26288"/>
              </a:cxn>
              <a:cxn ang="0">
                <a:pos x="connsiteX26289" y="connsiteY26289"/>
              </a:cxn>
              <a:cxn ang="0">
                <a:pos x="connsiteX26290" y="connsiteY26290"/>
              </a:cxn>
              <a:cxn ang="0">
                <a:pos x="connsiteX26291" y="connsiteY26291"/>
              </a:cxn>
              <a:cxn ang="0">
                <a:pos x="connsiteX26292" y="connsiteY26292"/>
              </a:cxn>
              <a:cxn ang="0">
                <a:pos x="connsiteX26293" y="connsiteY26293"/>
              </a:cxn>
              <a:cxn ang="0">
                <a:pos x="connsiteX26294" y="connsiteY26294"/>
              </a:cxn>
              <a:cxn ang="0">
                <a:pos x="connsiteX26295" y="connsiteY26295"/>
              </a:cxn>
              <a:cxn ang="0">
                <a:pos x="connsiteX26296" y="connsiteY26296"/>
              </a:cxn>
              <a:cxn ang="0">
                <a:pos x="connsiteX26297" y="connsiteY26297"/>
              </a:cxn>
              <a:cxn ang="0">
                <a:pos x="connsiteX26298" y="connsiteY26298"/>
              </a:cxn>
              <a:cxn ang="0">
                <a:pos x="connsiteX26299" y="connsiteY26299"/>
              </a:cxn>
              <a:cxn ang="0">
                <a:pos x="connsiteX26300" y="connsiteY26300"/>
              </a:cxn>
              <a:cxn ang="0">
                <a:pos x="connsiteX26301" y="connsiteY26301"/>
              </a:cxn>
              <a:cxn ang="0">
                <a:pos x="connsiteX26302" y="connsiteY26302"/>
              </a:cxn>
              <a:cxn ang="0">
                <a:pos x="connsiteX26303" y="connsiteY26303"/>
              </a:cxn>
              <a:cxn ang="0">
                <a:pos x="connsiteX26304" y="connsiteY26304"/>
              </a:cxn>
              <a:cxn ang="0">
                <a:pos x="connsiteX26305" y="connsiteY26305"/>
              </a:cxn>
              <a:cxn ang="0">
                <a:pos x="connsiteX26306" y="connsiteY26306"/>
              </a:cxn>
              <a:cxn ang="0">
                <a:pos x="connsiteX26307" y="connsiteY26307"/>
              </a:cxn>
              <a:cxn ang="0">
                <a:pos x="connsiteX26308" y="connsiteY26308"/>
              </a:cxn>
              <a:cxn ang="0">
                <a:pos x="connsiteX26309" y="connsiteY26309"/>
              </a:cxn>
              <a:cxn ang="0">
                <a:pos x="connsiteX26310" y="connsiteY26310"/>
              </a:cxn>
              <a:cxn ang="0">
                <a:pos x="connsiteX26311" y="connsiteY26311"/>
              </a:cxn>
              <a:cxn ang="0">
                <a:pos x="connsiteX26312" y="connsiteY26312"/>
              </a:cxn>
              <a:cxn ang="0">
                <a:pos x="connsiteX26313" y="connsiteY26313"/>
              </a:cxn>
              <a:cxn ang="0">
                <a:pos x="connsiteX26314" y="connsiteY26314"/>
              </a:cxn>
              <a:cxn ang="0">
                <a:pos x="connsiteX26315" y="connsiteY26315"/>
              </a:cxn>
              <a:cxn ang="0">
                <a:pos x="connsiteX26316" y="connsiteY26316"/>
              </a:cxn>
              <a:cxn ang="0">
                <a:pos x="connsiteX26317" y="connsiteY26317"/>
              </a:cxn>
              <a:cxn ang="0">
                <a:pos x="connsiteX26318" y="connsiteY26318"/>
              </a:cxn>
              <a:cxn ang="0">
                <a:pos x="connsiteX26319" y="connsiteY26319"/>
              </a:cxn>
              <a:cxn ang="0">
                <a:pos x="connsiteX26320" y="connsiteY26320"/>
              </a:cxn>
              <a:cxn ang="0">
                <a:pos x="connsiteX26321" y="connsiteY26321"/>
              </a:cxn>
              <a:cxn ang="0">
                <a:pos x="connsiteX26322" y="connsiteY26322"/>
              </a:cxn>
              <a:cxn ang="0">
                <a:pos x="connsiteX26323" y="connsiteY26323"/>
              </a:cxn>
              <a:cxn ang="0">
                <a:pos x="connsiteX26324" y="connsiteY26324"/>
              </a:cxn>
              <a:cxn ang="0">
                <a:pos x="connsiteX26325" y="connsiteY26325"/>
              </a:cxn>
              <a:cxn ang="0">
                <a:pos x="connsiteX26326" y="connsiteY26326"/>
              </a:cxn>
              <a:cxn ang="0">
                <a:pos x="connsiteX26327" y="connsiteY26327"/>
              </a:cxn>
              <a:cxn ang="0">
                <a:pos x="connsiteX26328" y="connsiteY26328"/>
              </a:cxn>
              <a:cxn ang="0">
                <a:pos x="connsiteX26329" y="connsiteY26329"/>
              </a:cxn>
              <a:cxn ang="0">
                <a:pos x="connsiteX26330" y="connsiteY26330"/>
              </a:cxn>
              <a:cxn ang="0">
                <a:pos x="connsiteX26331" y="connsiteY26331"/>
              </a:cxn>
              <a:cxn ang="0">
                <a:pos x="connsiteX26332" y="connsiteY26332"/>
              </a:cxn>
              <a:cxn ang="0">
                <a:pos x="connsiteX26333" y="connsiteY26333"/>
              </a:cxn>
              <a:cxn ang="0">
                <a:pos x="connsiteX26334" y="connsiteY26334"/>
              </a:cxn>
              <a:cxn ang="0">
                <a:pos x="connsiteX26335" y="connsiteY26335"/>
              </a:cxn>
              <a:cxn ang="0">
                <a:pos x="connsiteX26336" y="connsiteY26336"/>
              </a:cxn>
              <a:cxn ang="0">
                <a:pos x="connsiteX26337" y="connsiteY26337"/>
              </a:cxn>
              <a:cxn ang="0">
                <a:pos x="connsiteX26338" y="connsiteY26338"/>
              </a:cxn>
              <a:cxn ang="0">
                <a:pos x="connsiteX26339" y="connsiteY26339"/>
              </a:cxn>
              <a:cxn ang="0">
                <a:pos x="connsiteX26340" y="connsiteY26340"/>
              </a:cxn>
              <a:cxn ang="0">
                <a:pos x="connsiteX26341" y="connsiteY26341"/>
              </a:cxn>
              <a:cxn ang="0">
                <a:pos x="connsiteX26342" y="connsiteY26342"/>
              </a:cxn>
              <a:cxn ang="0">
                <a:pos x="connsiteX26343" y="connsiteY26343"/>
              </a:cxn>
              <a:cxn ang="0">
                <a:pos x="connsiteX26344" y="connsiteY26344"/>
              </a:cxn>
              <a:cxn ang="0">
                <a:pos x="connsiteX26345" y="connsiteY26345"/>
              </a:cxn>
              <a:cxn ang="0">
                <a:pos x="connsiteX26346" y="connsiteY26346"/>
              </a:cxn>
              <a:cxn ang="0">
                <a:pos x="connsiteX26347" y="connsiteY26347"/>
              </a:cxn>
              <a:cxn ang="0">
                <a:pos x="connsiteX26348" y="connsiteY26348"/>
              </a:cxn>
              <a:cxn ang="0">
                <a:pos x="connsiteX26349" y="connsiteY26349"/>
              </a:cxn>
              <a:cxn ang="0">
                <a:pos x="connsiteX26350" y="connsiteY26350"/>
              </a:cxn>
              <a:cxn ang="0">
                <a:pos x="connsiteX26351" y="connsiteY26351"/>
              </a:cxn>
              <a:cxn ang="0">
                <a:pos x="connsiteX26352" y="connsiteY26352"/>
              </a:cxn>
              <a:cxn ang="0">
                <a:pos x="connsiteX26353" y="connsiteY26353"/>
              </a:cxn>
              <a:cxn ang="0">
                <a:pos x="connsiteX26354" y="connsiteY26354"/>
              </a:cxn>
              <a:cxn ang="0">
                <a:pos x="connsiteX26355" y="connsiteY26355"/>
              </a:cxn>
              <a:cxn ang="0">
                <a:pos x="connsiteX26356" y="connsiteY26356"/>
              </a:cxn>
              <a:cxn ang="0">
                <a:pos x="connsiteX26357" y="connsiteY26357"/>
              </a:cxn>
              <a:cxn ang="0">
                <a:pos x="connsiteX26358" y="connsiteY26358"/>
              </a:cxn>
              <a:cxn ang="0">
                <a:pos x="connsiteX26359" y="connsiteY26359"/>
              </a:cxn>
              <a:cxn ang="0">
                <a:pos x="connsiteX26360" y="connsiteY26360"/>
              </a:cxn>
              <a:cxn ang="0">
                <a:pos x="connsiteX26361" y="connsiteY26361"/>
              </a:cxn>
              <a:cxn ang="0">
                <a:pos x="connsiteX26362" y="connsiteY26362"/>
              </a:cxn>
              <a:cxn ang="0">
                <a:pos x="connsiteX26363" y="connsiteY26363"/>
              </a:cxn>
              <a:cxn ang="0">
                <a:pos x="connsiteX26364" y="connsiteY26364"/>
              </a:cxn>
              <a:cxn ang="0">
                <a:pos x="connsiteX26365" y="connsiteY26365"/>
              </a:cxn>
              <a:cxn ang="0">
                <a:pos x="connsiteX26366" y="connsiteY26366"/>
              </a:cxn>
              <a:cxn ang="0">
                <a:pos x="connsiteX26367" y="connsiteY26367"/>
              </a:cxn>
              <a:cxn ang="0">
                <a:pos x="connsiteX26368" y="connsiteY26368"/>
              </a:cxn>
              <a:cxn ang="0">
                <a:pos x="connsiteX26369" y="connsiteY26369"/>
              </a:cxn>
              <a:cxn ang="0">
                <a:pos x="connsiteX26370" y="connsiteY26370"/>
              </a:cxn>
              <a:cxn ang="0">
                <a:pos x="connsiteX26371" y="connsiteY26371"/>
              </a:cxn>
              <a:cxn ang="0">
                <a:pos x="connsiteX26372" y="connsiteY26372"/>
              </a:cxn>
              <a:cxn ang="0">
                <a:pos x="connsiteX26373" y="connsiteY26373"/>
              </a:cxn>
              <a:cxn ang="0">
                <a:pos x="connsiteX26374" y="connsiteY26374"/>
              </a:cxn>
              <a:cxn ang="0">
                <a:pos x="connsiteX26375" y="connsiteY26375"/>
              </a:cxn>
              <a:cxn ang="0">
                <a:pos x="connsiteX26376" y="connsiteY26376"/>
              </a:cxn>
              <a:cxn ang="0">
                <a:pos x="connsiteX26377" y="connsiteY26377"/>
              </a:cxn>
              <a:cxn ang="0">
                <a:pos x="connsiteX26378" y="connsiteY26378"/>
              </a:cxn>
              <a:cxn ang="0">
                <a:pos x="connsiteX26379" y="connsiteY26379"/>
              </a:cxn>
              <a:cxn ang="0">
                <a:pos x="connsiteX26380" y="connsiteY26380"/>
              </a:cxn>
              <a:cxn ang="0">
                <a:pos x="connsiteX26381" y="connsiteY26381"/>
              </a:cxn>
              <a:cxn ang="0">
                <a:pos x="connsiteX26382" y="connsiteY26382"/>
              </a:cxn>
              <a:cxn ang="0">
                <a:pos x="connsiteX26383" y="connsiteY26383"/>
              </a:cxn>
              <a:cxn ang="0">
                <a:pos x="connsiteX26384" y="connsiteY26384"/>
              </a:cxn>
              <a:cxn ang="0">
                <a:pos x="connsiteX26385" y="connsiteY26385"/>
              </a:cxn>
              <a:cxn ang="0">
                <a:pos x="connsiteX26386" y="connsiteY26386"/>
              </a:cxn>
              <a:cxn ang="0">
                <a:pos x="connsiteX26387" y="connsiteY26387"/>
              </a:cxn>
              <a:cxn ang="0">
                <a:pos x="connsiteX26388" y="connsiteY26388"/>
              </a:cxn>
              <a:cxn ang="0">
                <a:pos x="connsiteX26389" y="connsiteY26389"/>
              </a:cxn>
              <a:cxn ang="0">
                <a:pos x="connsiteX26390" y="connsiteY26390"/>
              </a:cxn>
              <a:cxn ang="0">
                <a:pos x="connsiteX26391" y="connsiteY26391"/>
              </a:cxn>
              <a:cxn ang="0">
                <a:pos x="connsiteX26392" y="connsiteY26392"/>
              </a:cxn>
              <a:cxn ang="0">
                <a:pos x="connsiteX26393" y="connsiteY26393"/>
              </a:cxn>
              <a:cxn ang="0">
                <a:pos x="connsiteX26394" y="connsiteY26394"/>
              </a:cxn>
              <a:cxn ang="0">
                <a:pos x="connsiteX26395" y="connsiteY26395"/>
              </a:cxn>
              <a:cxn ang="0">
                <a:pos x="connsiteX26396" y="connsiteY26396"/>
              </a:cxn>
              <a:cxn ang="0">
                <a:pos x="connsiteX26397" y="connsiteY26397"/>
              </a:cxn>
              <a:cxn ang="0">
                <a:pos x="connsiteX26398" y="connsiteY26398"/>
              </a:cxn>
              <a:cxn ang="0">
                <a:pos x="connsiteX26399" y="connsiteY26399"/>
              </a:cxn>
              <a:cxn ang="0">
                <a:pos x="connsiteX26400" y="connsiteY26400"/>
              </a:cxn>
              <a:cxn ang="0">
                <a:pos x="connsiteX26401" y="connsiteY26401"/>
              </a:cxn>
              <a:cxn ang="0">
                <a:pos x="connsiteX26402" y="connsiteY26402"/>
              </a:cxn>
              <a:cxn ang="0">
                <a:pos x="connsiteX26403" y="connsiteY26403"/>
              </a:cxn>
              <a:cxn ang="0">
                <a:pos x="connsiteX26404" y="connsiteY26404"/>
              </a:cxn>
              <a:cxn ang="0">
                <a:pos x="connsiteX26405" y="connsiteY26405"/>
              </a:cxn>
              <a:cxn ang="0">
                <a:pos x="connsiteX26406" y="connsiteY26406"/>
              </a:cxn>
              <a:cxn ang="0">
                <a:pos x="connsiteX26407" y="connsiteY26407"/>
              </a:cxn>
              <a:cxn ang="0">
                <a:pos x="connsiteX26408" y="connsiteY26408"/>
              </a:cxn>
              <a:cxn ang="0">
                <a:pos x="connsiteX26409" y="connsiteY26409"/>
              </a:cxn>
              <a:cxn ang="0">
                <a:pos x="connsiteX26410" y="connsiteY26410"/>
              </a:cxn>
              <a:cxn ang="0">
                <a:pos x="connsiteX26411" y="connsiteY26411"/>
              </a:cxn>
              <a:cxn ang="0">
                <a:pos x="connsiteX26412" y="connsiteY26412"/>
              </a:cxn>
              <a:cxn ang="0">
                <a:pos x="connsiteX26413" y="connsiteY26413"/>
              </a:cxn>
              <a:cxn ang="0">
                <a:pos x="connsiteX26414" y="connsiteY26414"/>
              </a:cxn>
              <a:cxn ang="0">
                <a:pos x="connsiteX26415" y="connsiteY26415"/>
              </a:cxn>
              <a:cxn ang="0">
                <a:pos x="connsiteX26416" y="connsiteY26416"/>
              </a:cxn>
              <a:cxn ang="0">
                <a:pos x="connsiteX26417" y="connsiteY26417"/>
              </a:cxn>
              <a:cxn ang="0">
                <a:pos x="connsiteX26418" y="connsiteY26418"/>
              </a:cxn>
              <a:cxn ang="0">
                <a:pos x="connsiteX26419" y="connsiteY26419"/>
              </a:cxn>
              <a:cxn ang="0">
                <a:pos x="connsiteX26420" y="connsiteY26420"/>
              </a:cxn>
              <a:cxn ang="0">
                <a:pos x="connsiteX26421" y="connsiteY26421"/>
              </a:cxn>
              <a:cxn ang="0">
                <a:pos x="connsiteX26422" y="connsiteY26422"/>
              </a:cxn>
              <a:cxn ang="0">
                <a:pos x="connsiteX26423" y="connsiteY26423"/>
              </a:cxn>
              <a:cxn ang="0">
                <a:pos x="connsiteX26424" y="connsiteY26424"/>
              </a:cxn>
              <a:cxn ang="0">
                <a:pos x="connsiteX26425" y="connsiteY26425"/>
              </a:cxn>
              <a:cxn ang="0">
                <a:pos x="connsiteX26426" y="connsiteY26426"/>
              </a:cxn>
              <a:cxn ang="0">
                <a:pos x="connsiteX26427" y="connsiteY26427"/>
              </a:cxn>
              <a:cxn ang="0">
                <a:pos x="connsiteX26428" y="connsiteY26428"/>
              </a:cxn>
              <a:cxn ang="0">
                <a:pos x="connsiteX26429" y="connsiteY26429"/>
              </a:cxn>
              <a:cxn ang="0">
                <a:pos x="connsiteX26430" y="connsiteY26430"/>
              </a:cxn>
              <a:cxn ang="0">
                <a:pos x="connsiteX26431" y="connsiteY26431"/>
              </a:cxn>
              <a:cxn ang="0">
                <a:pos x="connsiteX26432" y="connsiteY26432"/>
              </a:cxn>
              <a:cxn ang="0">
                <a:pos x="connsiteX26433" y="connsiteY26433"/>
              </a:cxn>
              <a:cxn ang="0">
                <a:pos x="connsiteX26434" y="connsiteY26434"/>
              </a:cxn>
              <a:cxn ang="0">
                <a:pos x="connsiteX26435" y="connsiteY26435"/>
              </a:cxn>
              <a:cxn ang="0">
                <a:pos x="connsiteX26436" y="connsiteY26436"/>
              </a:cxn>
              <a:cxn ang="0">
                <a:pos x="connsiteX26437" y="connsiteY26437"/>
              </a:cxn>
              <a:cxn ang="0">
                <a:pos x="connsiteX26438" y="connsiteY26438"/>
              </a:cxn>
              <a:cxn ang="0">
                <a:pos x="connsiteX26439" y="connsiteY26439"/>
              </a:cxn>
              <a:cxn ang="0">
                <a:pos x="connsiteX26440" y="connsiteY26440"/>
              </a:cxn>
              <a:cxn ang="0">
                <a:pos x="connsiteX26441" y="connsiteY26441"/>
              </a:cxn>
              <a:cxn ang="0">
                <a:pos x="connsiteX26442" y="connsiteY26442"/>
              </a:cxn>
              <a:cxn ang="0">
                <a:pos x="connsiteX26443" y="connsiteY26443"/>
              </a:cxn>
              <a:cxn ang="0">
                <a:pos x="connsiteX26444" y="connsiteY26444"/>
              </a:cxn>
              <a:cxn ang="0">
                <a:pos x="connsiteX26445" y="connsiteY26445"/>
              </a:cxn>
              <a:cxn ang="0">
                <a:pos x="connsiteX26446" y="connsiteY26446"/>
              </a:cxn>
              <a:cxn ang="0">
                <a:pos x="connsiteX26447" y="connsiteY26447"/>
              </a:cxn>
              <a:cxn ang="0">
                <a:pos x="connsiteX26448" y="connsiteY26448"/>
              </a:cxn>
              <a:cxn ang="0">
                <a:pos x="connsiteX26449" y="connsiteY26449"/>
              </a:cxn>
              <a:cxn ang="0">
                <a:pos x="connsiteX26450" y="connsiteY26450"/>
              </a:cxn>
              <a:cxn ang="0">
                <a:pos x="connsiteX26451" y="connsiteY26451"/>
              </a:cxn>
              <a:cxn ang="0">
                <a:pos x="connsiteX26452" y="connsiteY26452"/>
              </a:cxn>
              <a:cxn ang="0">
                <a:pos x="connsiteX26453" y="connsiteY26453"/>
              </a:cxn>
              <a:cxn ang="0">
                <a:pos x="connsiteX26454" y="connsiteY26454"/>
              </a:cxn>
              <a:cxn ang="0">
                <a:pos x="connsiteX26455" y="connsiteY26455"/>
              </a:cxn>
              <a:cxn ang="0">
                <a:pos x="connsiteX26456" y="connsiteY26456"/>
              </a:cxn>
              <a:cxn ang="0">
                <a:pos x="connsiteX26457" y="connsiteY26457"/>
              </a:cxn>
              <a:cxn ang="0">
                <a:pos x="connsiteX26458" y="connsiteY26458"/>
              </a:cxn>
              <a:cxn ang="0">
                <a:pos x="connsiteX26459" y="connsiteY26459"/>
              </a:cxn>
              <a:cxn ang="0">
                <a:pos x="connsiteX26460" y="connsiteY26460"/>
              </a:cxn>
              <a:cxn ang="0">
                <a:pos x="connsiteX26461" y="connsiteY26461"/>
              </a:cxn>
              <a:cxn ang="0">
                <a:pos x="connsiteX26462" y="connsiteY26462"/>
              </a:cxn>
              <a:cxn ang="0">
                <a:pos x="connsiteX26463" y="connsiteY26463"/>
              </a:cxn>
              <a:cxn ang="0">
                <a:pos x="connsiteX26464" y="connsiteY26464"/>
              </a:cxn>
              <a:cxn ang="0">
                <a:pos x="connsiteX26465" y="connsiteY26465"/>
              </a:cxn>
              <a:cxn ang="0">
                <a:pos x="connsiteX26466" y="connsiteY26466"/>
              </a:cxn>
              <a:cxn ang="0">
                <a:pos x="connsiteX26467" y="connsiteY26467"/>
              </a:cxn>
              <a:cxn ang="0">
                <a:pos x="connsiteX26468" y="connsiteY26468"/>
              </a:cxn>
              <a:cxn ang="0">
                <a:pos x="connsiteX26469" y="connsiteY26469"/>
              </a:cxn>
              <a:cxn ang="0">
                <a:pos x="connsiteX26470" y="connsiteY26470"/>
              </a:cxn>
              <a:cxn ang="0">
                <a:pos x="connsiteX26471" y="connsiteY26471"/>
              </a:cxn>
              <a:cxn ang="0">
                <a:pos x="connsiteX26472" y="connsiteY26472"/>
              </a:cxn>
              <a:cxn ang="0">
                <a:pos x="connsiteX26473" y="connsiteY26473"/>
              </a:cxn>
              <a:cxn ang="0">
                <a:pos x="connsiteX26474" y="connsiteY26474"/>
              </a:cxn>
              <a:cxn ang="0">
                <a:pos x="connsiteX26475" y="connsiteY26475"/>
              </a:cxn>
              <a:cxn ang="0">
                <a:pos x="connsiteX26476" y="connsiteY26476"/>
              </a:cxn>
              <a:cxn ang="0">
                <a:pos x="connsiteX26477" y="connsiteY26477"/>
              </a:cxn>
              <a:cxn ang="0">
                <a:pos x="connsiteX26478" y="connsiteY26478"/>
              </a:cxn>
              <a:cxn ang="0">
                <a:pos x="connsiteX26479" y="connsiteY26479"/>
              </a:cxn>
              <a:cxn ang="0">
                <a:pos x="connsiteX26480" y="connsiteY26480"/>
              </a:cxn>
              <a:cxn ang="0">
                <a:pos x="connsiteX26481" y="connsiteY26481"/>
              </a:cxn>
              <a:cxn ang="0">
                <a:pos x="connsiteX26482" y="connsiteY26482"/>
              </a:cxn>
              <a:cxn ang="0">
                <a:pos x="connsiteX26483" y="connsiteY26483"/>
              </a:cxn>
              <a:cxn ang="0">
                <a:pos x="connsiteX26484" y="connsiteY26484"/>
              </a:cxn>
              <a:cxn ang="0">
                <a:pos x="connsiteX26485" y="connsiteY26485"/>
              </a:cxn>
              <a:cxn ang="0">
                <a:pos x="connsiteX26486" y="connsiteY26486"/>
              </a:cxn>
              <a:cxn ang="0">
                <a:pos x="connsiteX26487" y="connsiteY26487"/>
              </a:cxn>
              <a:cxn ang="0">
                <a:pos x="connsiteX26488" y="connsiteY26488"/>
              </a:cxn>
              <a:cxn ang="0">
                <a:pos x="connsiteX26489" y="connsiteY26489"/>
              </a:cxn>
              <a:cxn ang="0">
                <a:pos x="connsiteX26490" y="connsiteY26490"/>
              </a:cxn>
              <a:cxn ang="0">
                <a:pos x="connsiteX26491" y="connsiteY26491"/>
              </a:cxn>
              <a:cxn ang="0">
                <a:pos x="connsiteX26492" y="connsiteY26492"/>
              </a:cxn>
              <a:cxn ang="0">
                <a:pos x="connsiteX26493" y="connsiteY26493"/>
              </a:cxn>
              <a:cxn ang="0">
                <a:pos x="connsiteX26494" y="connsiteY26494"/>
              </a:cxn>
              <a:cxn ang="0">
                <a:pos x="connsiteX26495" y="connsiteY26495"/>
              </a:cxn>
              <a:cxn ang="0">
                <a:pos x="connsiteX26496" y="connsiteY26496"/>
              </a:cxn>
              <a:cxn ang="0">
                <a:pos x="connsiteX26497" y="connsiteY26497"/>
              </a:cxn>
              <a:cxn ang="0">
                <a:pos x="connsiteX26498" y="connsiteY26498"/>
              </a:cxn>
              <a:cxn ang="0">
                <a:pos x="connsiteX26499" y="connsiteY26499"/>
              </a:cxn>
              <a:cxn ang="0">
                <a:pos x="connsiteX26500" y="connsiteY26500"/>
              </a:cxn>
              <a:cxn ang="0">
                <a:pos x="connsiteX26501" y="connsiteY26501"/>
              </a:cxn>
              <a:cxn ang="0">
                <a:pos x="connsiteX26502" y="connsiteY26502"/>
              </a:cxn>
              <a:cxn ang="0">
                <a:pos x="connsiteX26503" y="connsiteY26503"/>
              </a:cxn>
              <a:cxn ang="0">
                <a:pos x="connsiteX26504" y="connsiteY26504"/>
              </a:cxn>
              <a:cxn ang="0">
                <a:pos x="connsiteX26505" y="connsiteY26505"/>
              </a:cxn>
              <a:cxn ang="0">
                <a:pos x="connsiteX26506" y="connsiteY26506"/>
              </a:cxn>
              <a:cxn ang="0">
                <a:pos x="connsiteX26507" y="connsiteY26507"/>
              </a:cxn>
              <a:cxn ang="0">
                <a:pos x="connsiteX26508" y="connsiteY26508"/>
              </a:cxn>
              <a:cxn ang="0">
                <a:pos x="connsiteX26509" y="connsiteY26509"/>
              </a:cxn>
              <a:cxn ang="0">
                <a:pos x="connsiteX26510" y="connsiteY26510"/>
              </a:cxn>
              <a:cxn ang="0">
                <a:pos x="connsiteX26511" y="connsiteY26511"/>
              </a:cxn>
              <a:cxn ang="0">
                <a:pos x="connsiteX26512" y="connsiteY26512"/>
              </a:cxn>
              <a:cxn ang="0">
                <a:pos x="connsiteX26513" y="connsiteY26513"/>
              </a:cxn>
              <a:cxn ang="0">
                <a:pos x="connsiteX26514" y="connsiteY26514"/>
              </a:cxn>
              <a:cxn ang="0">
                <a:pos x="connsiteX26515" y="connsiteY26515"/>
              </a:cxn>
              <a:cxn ang="0">
                <a:pos x="connsiteX26516" y="connsiteY26516"/>
              </a:cxn>
              <a:cxn ang="0">
                <a:pos x="connsiteX26517" y="connsiteY26517"/>
              </a:cxn>
              <a:cxn ang="0">
                <a:pos x="connsiteX26518" y="connsiteY26518"/>
              </a:cxn>
              <a:cxn ang="0">
                <a:pos x="connsiteX26519" y="connsiteY26519"/>
              </a:cxn>
              <a:cxn ang="0">
                <a:pos x="connsiteX26520" y="connsiteY26520"/>
              </a:cxn>
              <a:cxn ang="0">
                <a:pos x="connsiteX26521" y="connsiteY26521"/>
              </a:cxn>
              <a:cxn ang="0">
                <a:pos x="connsiteX26522" y="connsiteY26522"/>
              </a:cxn>
              <a:cxn ang="0">
                <a:pos x="connsiteX26523" y="connsiteY26523"/>
              </a:cxn>
              <a:cxn ang="0">
                <a:pos x="connsiteX26524" y="connsiteY26524"/>
              </a:cxn>
              <a:cxn ang="0">
                <a:pos x="connsiteX26525" y="connsiteY26525"/>
              </a:cxn>
              <a:cxn ang="0">
                <a:pos x="connsiteX26526" y="connsiteY26526"/>
              </a:cxn>
              <a:cxn ang="0">
                <a:pos x="connsiteX26527" y="connsiteY26527"/>
              </a:cxn>
              <a:cxn ang="0">
                <a:pos x="connsiteX26528" y="connsiteY26528"/>
              </a:cxn>
              <a:cxn ang="0">
                <a:pos x="connsiteX26529" y="connsiteY26529"/>
              </a:cxn>
              <a:cxn ang="0">
                <a:pos x="connsiteX26530" y="connsiteY26530"/>
              </a:cxn>
              <a:cxn ang="0">
                <a:pos x="connsiteX26531" y="connsiteY26531"/>
              </a:cxn>
              <a:cxn ang="0">
                <a:pos x="connsiteX26532" y="connsiteY26532"/>
              </a:cxn>
              <a:cxn ang="0">
                <a:pos x="connsiteX26533" y="connsiteY26533"/>
              </a:cxn>
              <a:cxn ang="0">
                <a:pos x="connsiteX26534" y="connsiteY26534"/>
              </a:cxn>
              <a:cxn ang="0">
                <a:pos x="connsiteX26535" y="connsiteY26535"/>
              </a:cxn>
              <a:cxn ang="0">
                <a:pos x="connsiteX26536" y="connsiteY26536"/>
              </a:cxn>
              <a:cxn ang="0">
                <a:pos x="connsiteX26537" y="connsiteY26537"/>
              </a:cxn>
              <a:cxn ang="0">
                <a:pos x="connsiteX26538" y="connsiteY26538"/>
              </a:cxn>
              <a:cxn ang="0">
                <a:pos x="connsiteX26539" y="connsiteY26539"/>
              </a:cxn>
              <a:cxn ang="0">
                <a:pos x="connsiteX26540" y="connsiteY26540"/>
              </a:cxn>
              <a:cxn ang="0">
                <a:pos x="connsiteX26541" y="connsiteY26541"/>
              </a:cxn>
              <a:cxn ang="0">
                <a:pos x="connsiteX26542" y="connsiteY26542"/>
              </a:cxn>
              <a:cxn ang="0">
                <a:pos x="connsiteX26543" y="connsiteY26543"/>
              </a:cxn>
              <a:cxn ang="0">
                <a:pos x="connsiteX26544" y="connsiteY26544"/>
              </a:cxn>
              <a:cxn ang="0">
                <a:pos x="connsiteX26545" y="connsiteY26545"/>
              </a:cxn>
              <a:cxn ang="0">
                <a:pos x="connsiteX26546" y="connsiteY26546"/>
              </a:cxn>
              <a:cxn ang="0">
                <a:pos x="connsiteX26547" y="connsiteY26547"/>
              </a:cxn>
              <a:cxn ang="0">
                <a:pos x="connsiteX26548" y="connsiteY26548"/>
              </a:cxn>
              <a:cxn ang="0">
                <a:pos x="connsiteX26549" y="connsiteY26549"/>
              </a:cxn>
              <a:cxn ang="0">
                <a:pos x="connsiteX26550" y="connsiteY26550"/>
              </a:cxn>
              <a:cxn ang="0">
                <a:pos x="connsiteX26551" y="connsiteY26551"/>
              </a:cxn>
              <a:cxn ang="0">
                <a:pos x="connsiteX26552" y="connsiteY26552"/>
              </a:cxn>
              <a:cxn ang="0">
                <a:pos x="connsiteX26553" y="connsiteY26553"/>
              </a:cxn>
              <a:cxn ang="0">
                <a:pos x="connsiteX26554" y="connsiteY26554"/>
              </a:cxn>
              <a:cxn ang="0">
                <a:pos x="connsiteX26555" y="connsiteY26555"/>
              </a:cxn>
              <a:cxn ang="0">
                <a:pos x="connsiteX26556" y="connsiteY26556"/>
              </a:cxn>
              <a:cxn ang="0">
                <a:pos x="connsiteX26557" y="connsiteY26557"/>
              </a:cxn>
              <a:cxn ang="0">
                <a:pos x="connsiteX26558" y="connsiteY26558"/>
              </a:cxn>
              <a:cxn ang="0">
                <a:pos x="connsiteX26559" y="connsiteY26559"/>
              </a:cxn>
              <a:cxn ang="0">
                <a:pos x="connsiteX26560" y="connsiteY26560"/>
              </a:cxn>
              <a:cxn ang="0">
                <a:pos x="connsiteX26561" y="connsiteY26561"/>
              </a:cxn>
              <a:cxn ang="0">
                <a:pos x="connsiteX26562" y="connsiteY26562"/>
              </a:cxn>
              <a:cxn ang="0">
                <a:pos x="connsiteX26563" y="connsiteY26563"/>
              </a:cxn>
              <a:cxn ang="0">
                <a:pos x="connsiteX26564" y="connsiteY26564"/>
              </a:cxn>
              <a:cxn ang="0">
                <a:pos x="connsiteX26565" y="connsiteY26565"/>
              </a:cxn>
              <a:cxn ang="0">
                <a:pos x="connsiteX26566" y="connsiteY26566"/>
              </a:cxn>
              <a:cxn ang="0">
                <a:pos x="connsiteX26567" y="connsiteY26567"/>
              </a:cxn>
              <a:cxn ang="0">
                <a:pos x="connsiteX26568" y="connsiteY26568"/>
              </a:cxn>
              <a:cxn ang="0">
                <a:pos x="connsiteX26569" y="connsiteY26569"/>
              </a:cxn>
              <a:cxn ang="0">
                <a:pos x="connsiteX26570" y="connsiteY26570"/>
              </a:cxn>
              <a:cxn ang="0">
                <a:pos x="connsiteX26571" y="connsiteY26571"/>
              </a:cxn>
              <a:cxn ang="0">
                <a:pos x="connsiteX26572" y="connsiteY26572"/>
              </a:cxn>
              <a:cxn ang="0">
                <a:pos x="connsiteX26573" y="connsiteY26573"/>
              </a:cxn>
              <a:cxn ang="0">
                <a:pos x="connsiteX26574" y="connsiteY26574"/>
              </a:cxn>
              <a:cxn ang="0">
                <a:pos x="connsiteX26575" y="connsiteY26575"/>
              </a:cxn>
              <a:cxn ang="0">
                <a:pos x="connsiteX26576" y="connsiteY26576"/>
              </a:cxn>
              <a:cxn ang="0">
                <a:pos x="connsiteX26577" y="connsiteY26577"/>
              </a:cxn>
              <a:cxn ang="0">
                <a:pos x="connsiteX26578" y="connsiteY26578"/>
              </a:cxn>
              <a:cxn ang="0">
                <a:pos x="connsiteX26579" y="connsiteY26579"/>
              </a:cxn>
              <a:cxn ang="0">
                <a:pos x="connsiteX26580" y="connsiteY26580"/>
              </a:cxn>
              <a:cxn ang="0">
                <a:pos x="connsiteX26581" y="connsiteY26581"/>
              </a:cxn>
              <a:cxn ang="0">
                <a:pos x="connsiteX26582" y="connsiteY26582"/>
              </a:cxn>
              <a:cxn ang="0">
                <a:pos x="connsiteX26583" y="connsiteY26583"/>
              </a:cxn>
              <a:cxn ang="0">
                <a:pos x="connsiteX26584" y="connsiteY26584"/>
              </a:cxn>
              <a:cxn ang="0">
                <a:pos x="connsiteX26585" y="connsiteY26585"/>
              </a:cxn>
              <a:cxn ang="0">
                <a:pos x="connsiteX26586" y="connsiteY26586"/>
              </a:cxn>
              <a:cxn ang="0">
                <a:pos x="connsiteX26587" y="connsiteY26587"/>
              </a:cxn>
              <a:cxn ang="0">
                <a:pos x="connsiteX26588" y="connsiteY26588"/>
              </a:cxn>
              <a:cxn ang="0">
                <a:pos x="connsiteX26589" y="connsiteY26589"/>
              </a:cxn>
              <a:cxn ang="0">
                <a:pos x="connsiteX26590" y="connsiteY26590"/>
              </a:cxn>
              <a:cxn ang="0">
                <a:pos x="connsiteX26591" y="connsiteY26591"/>
              </a:cxn>
              <a:cxn ang="0">
                <a:pos x="connsiteX26592" y="connsiteY26592"/>
              </a:cxn>
              <a:cxn ang="0">
                <a:pos x="connsiteX26593" y="connsiteY26593"/>
              </a:cxn>
              <a:cxn ang="0">
                <a:pos x="connsiteX26594" y="connsiteY26594"/>
              </a:cxn>
              <a:cxn ang="0">
                <a:pos x="connsiteX26595" y="connsiteY26595"/>
              </a:cxn>
              <a:cxn ang="0">
                <a:pos x="connsiteX26596" y="connsiteY26596"/>
              </a:cxn>
              <a:cxn ang="0">
                <a:pos x="connsiteX26597" y="connsiteY26597"/>
              </a:cxn>
              <a:cxn ang="0">
                <a:pos x="connsiteX26598" y="connsiteY26598"/>
              </a:cxn>
              <a:cxn ang="0">
                <a:pos x="connsiteX26599" y="connsiteY26599"/>
              </a:cxn>
              <a:cxn ang="0">
                <a:pos x="connsiteX26600" y="connsiteY26600"/>
              </a:cxn>
              <a:cxn ang="0">
                <a:pos x="connsiteX26601" y="connsiteY26601"/>
              </a:cxn>
              <a:cxn ang="0">
                <a:pos x="connsiteX26602" y="connsiteY26602"/>
              </a:cxn>
              <a:cxn ang="0">
                <a:pos x="connsiteX26603" y="connsiteY26603"/>
              </a:cxn>
              <a:cxn ang="0">
                <a:pos x="connsiteX26604" y="connsiteY26604"/>
              </a:cxn>
              <a:cxn ang="0">
                <a:pos x="connsiteX26605" y="connsiteY26605"/>
              </a:cxn>
              <a:cxn ang="0">
                <a:pos x="connsiteX26606" y="connsiteY26606"/>
              </a:cxn>
              <a:cxn ang="0">
                <a:pos x="connsiteX26607" y="connsiteY26607"/>
              </a:cxn>
              <a:cxn ang="0">
                <a:pos x="connsiteX26608" y="connsiteY26608"/>
              </a:cxn>
              <a:cxn ang="0">
                <a:pos x="connsiteX26609" y="connsiteY26609"/>
              </a:cxn>
              <a:cxn ang="0">
                <a:pos x="connsiteX26610" y="connsiteY26610"/>
              </a:cxn>
              <a:cxn ang="0">
                <a:pos x="connsiteX26611" y="connsiteY26611"/>
              </a:cxn>
              <a:cxn ang="0">
                <a:pos x="connsiteX26612" y="connsiteY26612"/>
              </a:cxn>
              <a:cxn ang="0">
                <a:pos x="connsiteX26613" y="connsiteY26613"/>
              </a:cxn>
              <a:cxn ang="0">
                <a:pos x="connsiteX26614" y="connsiteY26614"/>
              </a:cxn>
              <a:cxn ang="0">
                <a:pos x="connsiteX26615" y="connsiteY26615"/>
              </a:cxn>
              <a:cxn ang="0">
                <a:pos x="connsiteX26616" y="connsiteY26616"/>
              </a:cxn>
              <a:cxn ang="0">
                <a:pos x="connsiteX26617" y="connsiteY26617"/>
              </a:cxn>
              <a:cxn ang="0">
                <a:pos x="connsiteX26618" y="connsiteY26618"/>
              </a:cxn>
              <a:cxn ang="0">
                <a:pos x="connsiteX26619" y="connsiteY26619"/>
              </a:cxn>
              <a:cxn ang="0">
                <a:pos x="connsiteX26620" y="connsiteY26620"/>
              </a:cxn>
              <a:cxn ang="0">
                <a:pos x="connsiteX26621" y="connsiteY26621"/>
              </a:cxn>
              <a:cxn ang="0">
                <a:pos x="connsiteX26622" y="connsiteY26622"/>
              </a:cxn>
              <a:cxn ang="0">
                <a:pos x="connsiteX26623" y="connsiteY26623"/>
              </a:cxn>
              <a:cxn ang="0">
                <a:pos x="connsiteX26624" y="connsiteY26624"/>
              </a:cxn>
              <a:cxn ang="0">
                <a:pos x="connsiteX26625" y="connsiteY26625"/>
              </a:cxn>
              <a:cxn ang="0">
                <a:pos x="connsiteX26626" y="connsiteY26626"/>
              </a:cxn>
              <a:cxn ang="0">
                <a:pos x="connsiteX26627" y="connsiteY26627"/>
              </a:cxn>
              <a:cxn ang="0">
                <a:pos x="connsiteX26628" y="connsiteY26628"/>
              </a:cxn>
              <a:cxn ang="0">
                <a:pos x="connsiteX26629" y="connsiteY26629"/>
              </a:cxn>
              <a:cxn ang="0">
                <a:pos x="connsiteX26630" y="connsiteY26630"/>
              </a:cxn>
              <a:cxn ang="0">
                <a:pos x="connsiteX26631" y="connsiteY26631"/>
              </a:cxn>
              <a:cxn ang="0">
                <a:pos x="connsiteX26632" y="connsiteY26632"/>
              </a:cxn>
              <a:cxn ang="0">
                <a:pos x="connsiteX26633" y="connsiteY26633"/>
              </a:cxn>
              <a:cxn ang="0">
                <a:pos x="connsiteX26634" y="connsiteY26634"/>
              </a:cxn>
              <a:cxn ang="0">
                <a:pos x="connsiteX26635" y="connsiteY26635"/>
              </a:cxn>
              <a:cxn ang="0">
                <a:pos x="connsiteX26636" y="connsiteY26636"/>
              </a:cxn>
              <a:cxn ang="0">
                <a:pos x="connsiteX26637" y="connsiteY26637"/>
              </a:cxn>
              <a:cxn ang="0">
                <a:pos x="connsiteX26638" y="connsiteY26638"/>
              </a:cxn>
              <a:cxn ang="0">
                <a:pos x="connsiteX26639" y="connsiteY26639"/>
              </a:cxn>
              <a:cxn ang="0">
                <a:pos x="connsiteX26640" y="connsiteY26640"/>
              </a:cxn>
              <a:cxn ang="0">
                <a:pos x="connsiteX26641" y="connsiteY26641"/>
              </a:cxn>
              <a:cxn ang="0">
                <a:pos x="connsiteX26642" y="connsiteY26642"/>
              </a:cxn>
              <a:cxn ang="0">
                <a:pos x="connsiteX26643" y="connsiteY26643"/>
              </a:cxn>
              <a:cxn ang="0">
                <a:pos x="connsiteX26644" y="connsiteY26644"/>
              </a:cxn>
              <a:cxn ang="0">
                <a:pos x="connsiteX26645" y="connsiteY26645"/>
              </a:cxn>
              <a:cxn ang="0">
                <a:pos x="connsiteX26646" y="connsiteY26646"/>
              </a:cxn>
              <a:cxn ang="0">
                <a:pos x="connsiteX26647" y="connsiteY26647"/>
              </a:cxn>
              <a:cxn ang="0">
                <a:pos x="connsiteX26648" y="connsiteY26648"/>
              </a:cxn>
              <a:cxn ang="0">
                <a:pos x="connsiteX26649" y="connsiteY26649"/>
              </a:cxn>
              <a:cxn ang="0">
                <a:pos x="connsiteX26650" y="connsiteY26650"/>
              </a:cxn>
              <a:cxn ang="0">
                <a:pos x="connsiteX26651" y="connsiteY26651"/>
              </a:cxn>
              <a:cxn ang="0">
                <a:pos x="connsiteX26652" y="connsiteY26652"/>
              </a:cxn>
              <a:cxn ang="0">
                <a:pos x="connsiteX26653" y="connsiteY26653"/>
              </a:cxn>
              <a:cxn ang="0">
                <a:pos x="connsiteX26654" y="connsiteY26654"/>
              </a:cxn>
              <a:cxn ang="0">
                <a:pos x="connsiteX26655" y="connsiteY26655"/>
              </a:cxn>
              <a:cxn ang="0">
                <a:pos x="connsiteX26656" y="connsiteY26656"/>
              </a:cxn>
              <a:cxn ang="0">
                <a:pos x="connsiteX26657" y="connsiteY26657"/>
              </a:cxn>
              <a:cxn ang="0">
                <a:pos x="connsiteX26658" y="connsiteY26658"/>
              </a:cxn>
              <a:cxn ang="0">
                <a:pos x="connsiteX26659" y="connsiteY26659"/>
              </a:cxn>
              <a:cxn ang="0">
                <a:pos x="connsiteX26660" y="connsiteY26660"/>
              </a:cxn>
              <a:cxn ang="0">
                <a:pos x="connsiteX26661" y="connsiteY26661"/>
              </a:cxn>
              <a:cxn ang="0">
                <a:pos x="connsiteX26662" y="connsiteY26662"/>
              </a:cxn>
              <a:cxn ang="0">
                <a:pos x="connsiteX26663" y="connsiteY26663"/>
              </a:cxn>
              <a:cxn ang="0">
                <a:pos x="connsiteX26664" y="connsiteY26664"/>
              </a:cxn>
              <a:cxn ang="0">
                <a:pos x="connsiteX26665" y="connsiteY26665"/>
              </a:cxn>
              <a:cxn ang="0">
                <a:pos x="connsiteX26666" y="connsiteY26666"/>
              </a:cxn>
              <a:cxn ang="0">
                <a:pos x="connsiteX26667" y="connsiteY26667"/>
              </a:cxn>
              <a:cxn ang="0">
                <a:pos x="connsiteX26668" y="connsiteY26668"/>
              </a:cxn>
              <a:cxn ang="0">
                <a:pos x="connsiteX26669" y="connsiteY26669"/>
              </a:cxn>
              <a:cxn ang="0">
                <a:pos x="connsiteX26670" y="connsiteY26670"/>
              </a:cxn>
              <a:cxn ang="0">
                <a:pos x="connsiteX26671" y="connsiteY26671"/>
              </a:cxn>
              <a:cxn ang="0">
                <a:pos x="connsiteX26672" y="connsiteY26672"/>
              </a:cxn>
              <a:cxn ang="0">
                <a:pos x="connsiteX26673" y="connsiteY26673"/>
              </a:cxn>
              <a:cxn ang="0">
                <a:pos x="connsiteX26674" y="connsiteY26674"/>
              </a:cxn>
              <a:cxn ang="0">
                <a:pos x="connsiteX26675" y="connsiteY26675"/>
              </a:cxn>
              <a:cxn ang="0">
                <a:pos x="connsiteX26676" y="connsiteY26676"/>
              </a:cxn>
              <a:cxn ang="0">
                <a:pos x="connsiteX26677" y="connsiteY26677"/>
              </a:cxn>
              <a:cxn ang="0">
                <a:pos x="connsiteX26678" y="connsiteY26678"/>
              </a:cxn>
              <a:cxn ang="0">
                <a:pos x="connsiteX26679" y="connsiteY26679"/>
              </a:cxn>
              <a:cxn ang="0">
                <a:pos x="connsiteX26680" y="connsiteY26680"/>
              </a:cxn>
              <a:cxn ang="0">
                <a:pos x="connsiteX26681" y="connsiteY26681"/>
              </a:cxn>
              <a:cxn ang="0">
                <a:pos x="connsiteX26682" y="connsiteY26682"/>
              </a:cxn>
              <a:cxn ang="0">
                <a:pos x="connsiteX26683" y="connsiteY26683"/>
              </a:cxn>
              <a:cxn ang="0">
                <a:pos x="connsiteX26684" y="connsiteY26684"/>
              </a:cxn>
              <a:cxn ang="0">
                <a:pos x="connsiteX26685" y="connsiteY26685"/>
              </a:cxn>
              <a:cxn ang="0">
                <a:pos x="connsiteX26686" y="connsiteY26686"/>
              </a:cxn>
              <a:cxn ang="0">
                <a:pos x="connsiteX26687" y="connsiteY26687"/>
              </a:cxn>
              <a:cxn ang="0">
                <a:pos x="connsiteX26688" y="connsiteY26688"/>
              </a:cxn>
              <a:cxn ang="0">
                <a:pos x="connsiteX26689" y="connsiteY26689"/>
              </a:cxn>
              <a:cxn ang="0">
                <a:pos x="connsiteX26690" y="connsiteY26690"/>
              </a:cxn>
              <a:cxn ang="0">
                <a:pos x="connsiteX26691" y="connsiteY26691"/>
              </a:cxn>
              <a:cxn ang="0">
                <a:pos x="connsiteX26692" y="connsiteY26692"/>
              </a:cxn>
              <a:cxn ang="0">
                <a:pos x="connsiteX26693" y="connsiteY26693"/>
              </a:cxn>
              <a:cxn ang="0">
                <a:pos x="connsiteX26694" y="connsiteY26694"/>
              </a:cxn>
              <a:cxn ang="0">
                <a:pos x="connsiteX26695" y="connsiteY26695"/>
              </a:cxn>
              <a:cxn ang="0">
                <a:pos x="connsiteX26696" y="connsiteY26696"/>
              </a:cxn>
              <a:cxn ang="0">
                <a:pos x="connsiteX26697" y="connsiteY26697"/>
              </a:cxn>
              <a:cxn ang="0">
                <a:pos x="connsiteX26698" y="connsiteY26698"/>
              </a:cxn>
              <a:cxn ang="0">
                <a:pos x="connsiteX26699" y="connsiteY26699"/>
              </a:cxn>
              <a:cxn ang="0">
                <a:pos x="connsiteX26700" y="connsiteY26700"/>
              </a:cxn>
              <a:cxn ang="0">
                <a:pos x="connsiteX26701" y="connsiteY26701"/>
              </a:cxn>
              <a:cxn ang="0">
                <a:pos x="connsiteX26702" y="connsiteY26702"/>
              </a:cxn>
              <a:cxn ang="0">
                <a:pos x="connsiteX26703" y="connsiteY26703"/>
              </a:cxn>
              <a:cxn ang="0">
                <a:pos x="connsiteX26704" y="connsiteY26704"/>
              </a:cxn>
              <a:cxn ang="0">
                <a:pos x="connsiteX26705" y="connsiteY26705"/>
              </a:cxn>
              <a:cxn ang="0">
                <a:pos x="connsiteX26706" y="connsiteY26706"/>
              </a:cxn>
              <a:cxn ang="0">
                <a:pos x="connsiteX26707" y="connsiteY26707"/>
              </a:cxn>
              <a:cxn ang="0">
                <a:pos x="connsiteX26708" y="connsiteY26708"/>
              </a:cxn>
              <a:cxn ang="0">
                <a:pos x="connsiteX26709" y="connsiteY26709"/>
              </a:cxn>
              <a:cxn ang="0">
                <a:pos x="connsiteX26710" y="connsiteY26710"/>
              </a:cxn>
              <a:cxn ang="0">
                <a:pos x="connsiteX26711" y="connsiteY26711"/>
              </a:cxn>
              <a:cxn ang="0">
                <a:pos x="connsiteX26712" y="connsiteY26712"/>
              </a:cxn>
              <a:cxn ang="0">
                <a:pos x="connsiteX26713" y="connsiteY26713"/>
              </a:cxn>
              <a:cxn ang="0">
                <a:pos x="connsiteX26714" y="connsiteY26714"/>
              </a:cxn>
              <a:cxn ang="0">
                <a:pos x="connsiteX26715" y="connsiteY26715"/>
              </a:cxn>
              <a:cxn ang="0">
                <a:pos x="connsiteX26716" y="connsiteY26716"/>
              </a:cxn>
              <a:cxn ang="0">
                <a:pos x="connsiteX26717" y="connsiteY26717"/>
              </a:cxn>
              <a:cxn ang="0">
                <a:pos x="connsiteX26718" y="connsiteY26718"/>
              </a:cxn>
              <a:cxn ang="0">
                <a:pos x="connsiteX26719" y="connsiteY26719"/>
              </a:cxn>
              <a:cxn ang="0">
                <a:pos x="connsiteX26720" y="connsiteY26720"/>
              </a:cxn>
              <a:cxn ang="0">
                <a:pos x="connsiteX26721" y="connsiteY26721"/>
              </a:cxn>
              <a:cxn ang="0">
                <a:pos x="connsiteX26722" y="connsiteY26722"/>
              </a:cxn>
              <a:cxn ang="0">
                <a:pos x="connsiteX26723" y="connsiteY26723"/>
              </a:cxn>
              <a:cxn ang="0">
                <a:pos x="connsiteX26724" y="connsiteY26724"/>
              </a:cxn>
              <a:cxn ang="0">
                <a:pos x="connsiteX26725" y="connsiteY26725"/>
              </a:cxn>
              <a:cxn ang="0">
                <a:pos x="connsiteX26726" y="connsiteY26726"/>
              </a:cxn>
              <a:cxn ang="0">
                <a:pos x="connsiteX26727" y="connsiteY26727"/>
              </a:cxn>
              <a:cxn ang="0">
                <a:pos x="connsiteX26728" y="connsiteY26728"/>
              </a:cxn>
              <a:cxn ang="0">
                <a:pos x="connsiteX26729" y="connsiteY26729"/>
              </a:cxn>
              <a:cxn ang="0">
                <a:pos x="connsiteX26730" y="connsiteY26730"/>
              </a:cxn>
              <a:cxn ang="0">
                <a:pos x="connsiteX26731" y="connsiteY26731"/>
              </a:cxn>
              <a:cxn ang="0">
                <a:pos x="connsiteX26732" y="connsiteY26732"/>
              </a:cxn>
              <a:cxn ang="0">
                <a:pos x="connsiteX26733" y="connsiteY26733"/>
              </a:cxn>
              <a:cxn ang="0">
                <a:pos x="connsiteX26734" y="connsiteY26734"/>
              </a:cxn>
              <a:cxn ang="0">
                <a:pos x="connsiteX26735" y="connsiteY26735"/>
              </a:cxn>
              <a:cxn ang="0">
                <a:pos x="connsiteX26736" y="connsiteY26736"/>
              </a:cxn>
              <a:cxn ang="0">
                <a:pos x="connsiteX26737" y="connsiteY26737"/>
              </a:cxn>
              <a:cxn ang="0">
                <a:pos x="connsiteX26738" y="connsiteY26738"/>
              </a:cxn>
              <a:cxn ang="0">
                <a:pos x="connsiteX26739" y="connsiteY26739"/>
              </a:cxn>
              <a:cxn ang="0">
                <a:pos x="connsiteX26740" y="connsiteY26740"/>
              </a:cxn>
              <a:cxn ang="0">
                <a:pos x="connsiteX26741" y="connsiteY26741"/>
              </a:cxn>
              <a:cxn ang="0">
                <a:pos x="connsiteX26742" y="connsiteY26742"/>
              </a:cxn>
              <a:cxn ang="0">
                <a:pos x="connsiteX26743" y="connsiteY26743"/>
              </a:cxn>
              <a:cxn ang="0">
                <a:pos x="connsiteX26744" y="connsiteY26744"/>
              </a:cxn>
              <a:cxn ang="0">
                <a:pos x="connsiteX26745" y="connsiteY26745"/>
              </a:cxn>
              <a:cxn ang="0">
                <a:pos x="connsiteX26746" y="connsiteY26746"/>
              </a:cxn>
              <a:cxn ang="0">
                <a:pos x="connsiteX26747" y="connsiteY26747"/>
              </a:cxn>
              <a:cxn ang="0">
                <a:pos x="connsiteX26748" y="connsiteY26748"/>
              </a:cxn>
              <a:cxn ang="0">
                <a:pos x="connsiteX26749" y="connsiteY26749"/>
              </a:cxn>
              <a:cxn ang="0">
                <a:pos x="connsiteX26750" y="connsiteY26750"/>
              </a:cxn>
              <a:cxn ang="0">
                <a:pos x="connsiteX26751" y="connsiteY26751"/>
              </a:cxn>
              <a:cxn ang="0">
                <a:pos x="connsiteX26752" y="connsiteY26752"/>
              </a:cxn>
              <a:cxn ang="0">
                <a:pos x="connsiteX26753" y="connsiteY26753"/>
              </a:cxn>
              <a:cxn ang="0">
                <a:pos x="connsiteX26754" y="connsiteY26754"/>
              </a:cxn>
              <a:cxn ang="0">
                <a:pos x="connsiteX26755" y="connsiteY26755"/>
              </a:cxn>
              <a:cxn ang="0">
                <a:pos x="connsiteX26756" y="connsiteY26756"/>
              </a:cxn>
              <a:cxn ang="0">
                <a:pos x="connsiteX26757" y="connsiteY26757"/>
              </a:cxn>
              <a:cxn ang="0">
                <a:pos x="connsiteX26758" y="connsiteY26758"/>
              </a:cxn>
              <a:cxn ang="0">
                <a:pos x="connsiteX26759" y="connsiteY26759"/>
              </a:cxn>
              <a:cxn ang="0">
                <a:pos x="connsiteX26760" y="connsiteY26760"/>
              </a:cxn>
              <a:cxn ang="0">
                <a:pos x="connsiteX26761" y="connsiteY26761"/>
              </a:cxn>
              <a:cxn ang="0">
                <a:pos x="connsiteX26762" y="connsiteY26762"/>
              </a:cxn>
              <a:cxn ang="0">
                <a:pos x="connsiteX26763" y="connsiteY26763"/>
              </a:cxn>
              <a:cxn ang="0">
                <a:pos x="connsiteX26764" y="connsiteY26764"/>
              </a:cxn>
              <a:cxn ang="0">
                <a:pos x="connsiteX26765" y="connsiteY26765"/>
              </a:cxn>
              <a:cxn ang="0">
                <a:pos x="connsiteX26766" y="connsiteY26766"/>
              </a:cxn>
              <a:cxn ang="0">
                <a:pos x="connsiteX26767" y="connsiteY26767"/>
              </a:cxn>
              <a:cxn ang="0">
                <a:pos x="connsiteX26768" y="connsiteY26768"/>
              </a:cxn>
              <a:cxn ang="0">
                <a:pos x="connsiteX26769" y="connsiteY26769"/>
              </a:cxn>
              <a:cxn ang="0">
                <a:pos x="connsiteX26770" y="connsiteY26770"/>
              </a:cxn>
              <a:cxn ang="0">
                <a:pos x="connsiteX26771" y="connsiteY26771"/>
              </a:cxn>
              <a:cxn ang="0">
                <a:pos x="connsiteX26772" y="connsiteY26772"/>
              </a:cxn>
              <a:cxn ang="0">
                <a:pos x="connsiteX26773" y="connsiteY26773"/>
              </a:cxn>
              <a:cxn ang="0">
                <a:pos x="connsiteX26774" y="connsiteY26774"/>
              </a:cxn>
              <a:cxn ang="0">
                <a:pos x="connsiteX26775" y="connsiteY26775"/>
              </a:cxn>
              <a:cxn ang="0">
                <a:pos x="connsiteX26776" y="connsiteY26776"/>
              </a:cxn>
              <a:cxn ang="0">
                <a:pos x="connsiteX26777" y="connsiteY26777"/>
              </a:cxn>
              <a:cxn ang="0">
                <a:pos x="connsiteX26778" y="connsiteY26778"/>
              </a:cxn>
              <a:cxn ang="0">
                <a:pos x="connsiteX26779" y="connsiteY26779"/>
              </a:cxn>
              <a:cxn ang="0">
                <a:pos x="connsiteX26780" y="connsiteY26780"/>
              </a:cxn>
              <a:cxn ang="0">
                <a:pos x="connsiteX26781" y="connsiteY26781"/>
              </a:cxn>
              <a:cxn ang="0">
                <a:pos x="connsiteX26782" y="connsiteY26782"/>
              </a:cxn>
              <a:cxn ang="0">
                <a:pos x="connsiteX26783" y="connsiteY26783"/>
              </a:cxn>
              <a:cxn ang="0">
                <a:pos x="connsiteX26784" y="connsiteY26784"/>
              </a:cxn>
              <a:cxn ang="0">
                <a:pos x="connsiteX26785" y="connsiteY26785"/>
              </a:cxn>
              <a:cxn ang="0">
                <a:pos x="connsiteX26786" y="connsiteY26786"/>
              </a:cxn>
              <a:cxn ang="0">
                <a:pos x="connsiteX26787" y="connsiteY26787"/>
              </a:cxn>
              <a:cxn ang="0">
                <a:pos x="connsiteX26788" y="connsiteY26788"/>
              </a:cxn>
              <a:cxn ang="0">
                <a:pos x="connsiteX26789" y="connsiteY26789"/>
              </a:cxn>
              <a:cxn ang="0">
                <a:pos x="connsiteX26790" y="connsiteY26790"/>
              </a:cxn>
              <a:cxn ang="0">
                <a:pos x="connsiteX26791" y="connsiteY26791"/>
              </a:cxn>
              <a:cxn ang="0">
                <a:pos x="connsiteX26792" y="connsiteY26792"/>
              </a:cxn>
              <a:cxn ang="0">
                <a:pos x="connsiteX26793" y="connsiteY26793"/>
              </a:cxn>
              <a:cxn ang="0">
                <a:pos x="connsiteX26794" y="connsiteY26794"/>
              </a:cxn>
              <a:cxn ang="0">
                <a:pos x="connsiteX26795" y="connsiteY26795"/>
              </a:cxn>
              <a:cxn ang="0">
                <a:pos x="connsiteX26796" y="connsiteY26796"/>
              </a:cxn>
              <a:cxn ang="0">
                <a:pos x="connsiteX26797" y="connsiteY26797"/>
              </a:cxn>
              <a:cxn ang="0">
                <a:pos x="connsiteX26798" y="connsiteY26798"/>
              </a:cxn>
              <a:cxn ang="0">
                <a:pos x="connsiteX26799" y="connsiteY26799"/>
              </a:cxn>
              <a:cxn ang="0">
                <a:pos x="connsiteX26800" y="connsiteY26800"/>
              </a:cxn>
              <a:cxn ang="0">
                <a:pos x="connsiteX26801" y="connsiteY26801"/>
              </a:cxn>
              <a:cxn ang="0">
                <a:pos x="connsiteX26802" y="connsiteY26802"/>
              </a:cxn>
              <a:cxn ang="0">
                <a:pos x="connsiteX26803" y="connsiteY26803"/>
              </a:cxn>
              <a:cxn ang="0">
                <a:pos x="connsiteX26804" y="connsiteY26804"/>
              </a:cxn>
              <a:cxn ang="0">
                <a:pos x="connsiteX26805" y="connsiteY26805"/>
              </a:cxn>
              <a:cxn ang="0">
                <a:pos x="connsiteX26806" y="connsiteY26806"/>
              </a:cxn>
              <a:cxn ang="0">
                <a:pos x="connsiteX26807" y="connsiteY26807"/>
              </a:cxn>
              <a:cxn ang="0">
                <a:pos x="connsiteX26808" y="connsiteY26808"/>
              </a:cxn>
              <a:cxn ang="0">
                <a:pos x="connsiteX26809" y="connsiteY26809"/>
              </a:cxn>
              <a:cxn ang="0">
                <a:pos x="connsiteX26810" y="connsiteY26810"/>
              </a:cxn>
              <a:cxn ang="0">
                <a:pos x="connsiteX26811" y="connsiteY26811"/>
              </a:cxn>
              <a:cxn ang="0">
                <a:pos x="connsiteX26812" y="connsiteY26812"/>
              </a:cxn>
              <a:cxn ang="0">
                <a:pos x="connsiteX26813" y="connsiteY26813"/>
              </a:cxn>
              <a:cxn ang="0">
                <a:pos x="connsiteX26814" y="connsiteY26814"/>
              </a:cxn>
              <a:cxn ang="0">
                <a:pos x="connsiteX26815" y="connsiteY26815"/>
              </a:cxn>
              <a:cxn ang="0">
                <a:pos x="connsiteX26816" y="connsiteY26816"/>
              </a:cxn>
              <a:cxn ang="0">
                <a:pos x="connsiteX26817" y="connsiteY26817"/>
              </a:cxn>
              <a:cxn ang="0">
                <a:pos x="connsiteX26818" y="connsiteY26818"/>
              </a:cxn>
              <a:cxn ang="0">
                <a:pos x="connsiteX26819" y="connsiteY26819"/>
              </a:cxn>
              <a:cxn ang="0">
                <a:pos x="connsiteX26820" y="connsiteY26820"/>
              </a:cxn>
              <a:cxn ang="0">
                <a:pos x="connsiteX26821" y="connsiteY26821"/>
              </a:cxn>
              <a:cxn ang="0">
                <a:pos x="connsiteX26822" y="connsiteY26822"/>
              </a:cxn>
              <a:cxn ang="0">
                <a:pos x="connsiteX26823" y="connsiteY26823"/>
              </a:cxn>
              <a:cxn ang="0">
                <a:pos x="connsiteX26824" y="connsiteY26824"/>
              </a:cxn>
              <a:cxn ang="0">
                <a:pos x="connsiteX26825" y="connsiteY26825"/>
              </a:cxn>
              <a:cxn ang="0">
                <a:pos x="connsiteX26826" y="connsiteY26826"/>
              </a:cxn>
              <a:cxn ang="0">
                <a:pos x="connsiteX26827" y="connsiteY26827"/>
              </a:cxn>
              <a:cxn ang="0">
                <a:pos x="connsiteX26828" y="connsiteY26828"/>
              </a:cxn>
              <a:cxn ang="0">
                <a:pos x="connsiteX26829" y="connsiteY26829"/>
              </a:cxn>
              <a:cxn ang="0">
                <a:pos x="connsiteX26830" y="connsiteY26830"/>
              </a:cxn>
              <a:cxn ang="0">
                <a:pos x="connsiteX26831" y="connsiteY26831"/>
              </a:cxn>
              <a:cxn ang="0">
                <a:pos x="connsiteX26832" y="connsiteY26832"/>
              </a:cxn>
              <a:cxn ang="0">
                <a:pos x="connsiteX26833" y="connsiteY26833"/>
              </a:cxn>
              <a:cxn ang="0">
                <a:pos x="connsiteX26834" y="connsiteY26834"/>
              </a:cxn>
              <a:cxn ang="0">
                <a:pos x="connsiteX26835" y="connsiteY26835"/>
              </a:cxn>
              <a:cxn ang="0">
                <a:pos x="connsiteX26836" y="connsiteY26836"/>
              </a:cxn>
              <a:cxn ang="0">
                <a:pos x="connsiteX26837" y="connsiteY26837"/>
              </a:cxn>
              <a:cxn ang="0">
                <a:pos x="connsiteX26838" y="connsiteY26838"/>
              </a:cxn>
              <a:cxn ang="0">
                <a:pos x="connsiteX26839" y="connsiteY26839"/>
              </a:cxn>
              <a:cxn ang="0">
                <a:pos x="connsiteX26840" y="connsiteY26840"/>
              </a:cxn>
              <a:cxn ang="0">
                <a:pos x="connsiteX26841" y="connsiteY26841"/>
              </a:cxn>
              <a:cxn ang="0">
                <a:pos x="connsiteX26842" y="connsiteY26842"/>
              </a:cxn>
              <a:cxn ang="0">
                <a:pos x="connsiteX26843" y="connsiteY26843"/>
              </a:cxn>
              <a:cxn ang="0">
                <a:pos x="connsiteX26844" y="connsiteY26844"/>
              </a:cxn>
              <a:cxn ang="0">
                <a:pos x="connsiteX26845" y="connsiteY26845"/>
              </a:cxn>
              <a:cxn ang="0">
                <a:pos x="connsiteX26846" y="connsiteY26846"/>
              </a:cxn>
              <a:cxn ang="0">
                <a:pos x="connsiteX26847" y="connsiteY26847"/>
              </a:cxn>
              <a:cxn ang="0">
                <a:pos x="connsiteX26848" y="connsiteY26848"/>
              </a:cxn>
              <a:cxn ang="0">
                <a:pos x="connsiteX26849" y="connsiteY26849"/>
              </a:cxn>
              <a:cxn ang="0">
                <a:pos x="connsiteX26850" y="connsiteY26850"/>
              </a:cxn>
              <a:cxn ang="0">
                <a:pos x="connsiteX26851" y="connsiteY26851"/>
              </a:cxn>
              <a:cxn ang="0">
                <a:pos x="connsiteX26852" y="connsiteY26852"/>
              </a:cxn>
              <a:cxn ang="0">
                <a:pos x="connsiteX26853" y="connsiteY26853"/>
              </a:cxn>
              <a:cxn ang="0">
                <a:pos x="connsiteX26854" y="connsiteY26854"/>
              </a:cxn>
              <a:cxn ang="0">
                <a:pos x="connsiteX26855" y="connsiteY26855"/>
              </a:cxn>
              <a:cxn ang="0">
                <a:pos x="connsiteX26856" y="connsiteY26856"/>
              </a:cxn>
              <a:cxn ang="0">
                <a:pos x="connsiteX26857" y="connsiteY26857"/>
              </a:cxn>
              <a:cxn ang="0">
                <a:pos x="connsiteX26858" y="connsiteY26858"/>
              </a:cxn>
              <a:cxn ang="0">
                <a:pos x="connsiteX26859" y="connsiteY26859"/>
              </a:cxn>
              <a:cxn ang="0">
                <a:pos x="connsiteX26860" y="connsiteY26860"/>
              </a:cxn>
              <a:cxn ang="0">
                <a:pos x="connsiteX26861" y="connsiteY26861"/>
              </a:cxn>
              <a:cxn ang="0">
                <a:pos x="connsiteX26862" y="connsiteY26862"/>
              </a:cxn>
              <a:cxn ang="0">
                <a:pos x="connsiteX26863" y="connsiteY26863"/>
              </a:cxn>
              <a:cxn ang="0">
                <a:pos x="connsiteX26864" y="connsiteY26864"/>
              </a:cxn>
              <a:cxn ang="0">
                <a:pos x="connsiteX26865" y="connsiteY26865"/>
              </a:cxn>
              <a:cxn ang="0">
                <a:pos x="connsiteX26866" y="connsiteY26866"/>
              </a:cxn>
              <a:cxn ang="0">
                <a:pos x="connsiteX26867" y="connsiteY26867"/>
              </a:cxn>
              <a:cxn ang="0">
                <a:pos x="connsiteX26868" y="connsiteY26868"/>
              </a:cxn>
              <a:cxn ang="0">
                <a:pos x="connsiteX26869" y="connsiteY26869"/>
              </a:cxn>
              <a:cxn ang="0">
                <a:pos x="connsiteX26870" y="connsiteY26870"/>
              </a:cxn>
              <a:cxn ang="0">
                <a:pos x="connsiteX26871" y="connsiteY26871"/>
              </a:cxn>
              <a:cxn ang="0">
                <a:pos x="connsiteX26872" y="connsiteY26872"/>
              </a:cxn>
              <a:cxn ang="0">
                <a:pos x="connsiteX26873" y="connsiteY26873"/>
              </a:cxn>
              <a:cxn ang="0">
                <a:pos x="connsiteX26874" y="connsiteY26874"/>
              </a:cxn>
              <a:cxn ang="0">
                <a:pos x="connsiteX26875" y="connsiteY26875"/>
              </a:cxn>
              <a:cxn ang="0">
                <a:pos x="connsiteX26876" y="connsiteY26876"/>
              </a:cxn>
              <a:cxn ang="0">
                <a:pos x="connsiteX26877" y="connsiteY26877"/>
              </a:cxn>
              <a:cxn ang="0">
                <a:pos x="connsiteX26878" y="connsiteY26878"/>
              </a:cxn>
              <a:cxn ang="0">
                <a:pos x="connsiteX26879" y="connsiteY26879"/>
              </a:cxn>
              <a:cxn ang="0">
                <a:pos x="connsiteX26880" y="connsiteY26880"/>
              </a:cxn>
              <a:cxn ang="0">
                <a:pos x="connsiteX26881" y="connsiteY26881"/>
              </a:cxn>
              <a:cxn ang="0">
                <a:pos x="connsiteX26882" y="connsiteY26882"/>
              </a:cxn>
              <a:cxn ang="0">
                <a:pos x="connsiteX26883" y="connsiteY26883"/>
              </a:cxn>
              <a:cxn ang="0">
                <a:pos x="connsiteX26884" y="connsiteY26884"/>
              </a:cxn>
              <a:cxn ang="0">
                <a:pos x="connsiteX26885" y="connsiteY26885"/>
              </a:cxn>
              <a:cxn ang="0">
                <a:pos x="connsiteX26886" y="connsiteY26886"/>
              </a:cxn>
              <a:cxn ang="0">
                <a:pos x="connsiteX26887" y="connsiteY26887"/>
              </a:cxn>
              <a:cxn ang="0">
                <a:pos x="connsiteX26888" y="connsiteY26888"/>
              </a:cxn>
              <a:cxn ang="0">
                <a:pos x="connsiteX26889" y="connsiteY26889"/>
              </a:cxn>
              <a:cxn ang="0">
                <a:pos x="connsiteX26890" y="connsiteY26890"/>
              </a:cxn>
              <a:cxn ang="0">
                <a:pos x="connsiteX26891" y="connsiteY26891"/>
              </a:cxn>
              <a:cxn ang="0">
                <a:pos x="connsiteX26892" y="connsiteY26892"/>
              </a:cxn>
              <a:cxn ang="0">
                <a:pos x="connsiteX26893" y="connsiteY26893"/>
              </a:cxn>
              <a:cxn ang="0">
                <a:pos x="connsiteX26894" y="connsiteY26894"/>
              </a:cxn>
              <a:cxn ang="0">
                <a:pos x="connsiteX26895" y="connsiteY26895"/>
              </a:cxn>
              <a:cxn ang="0">
                <a:pos x="connsiteX26896" y="connsiteY26896"/>
              </a:cxn>
              <a:cxn ang="0">
                <a:pos x="connsiteX26897" y="connsiteY26897"/>
              </a:cxn>
              <a:cxn ang="0">
                <a:pos x="connsiteX26898" y="connsiteY26898"/>
              </a:cxn>
              <a:cxn ang="0">
                <a:pos x="connsiteX26899" y="connsiteY26899"/>
              </a:cxn>
              <a:cxn ang="0">
                <a:pos x="connsiteX26900" y="connsiteY26900"/>
              </a:cxn>
              <a:cxn ang="0">
                <a:pos x="connsiteX26901" y="connsiteY26901"/>
              </a:cxn>
              <a:cxn ang="0">
                <a:pos x="connsiteX26902" y="connsiteY26902"/>
              </a:cxn>
              <a:cxn ang="0">
                <a:pos x="connsiteX26903" y="connsiteY26903"/>
              </a:cxn>
              <a:cxn ang="0">
                <a:pos x="connsiteX26904" y="connsiteY26904"/>
              </a:cxn>
              <a:cxn ang="0">
                <a:pos x="connsiteX26905" y="connsiteY26905"/>
              </a:cxn>
              <a:cxn ang="0">
                <a:pos x="connsiteX26906" y="connsiteY26906"/>
              </a:cxn>
              <a:cxn ang="0">
                <a:pos x="connsiteX26907" y="connsiteY26907"/>
              </a:cxn>
              <a:cxn ang="0">
                <a:pos x="connsiteX26908" y="connsiteY26908"/>
              </a:cxn>
              <a:cxn ang="0">
                <a:pos x="connsiteX26909" y="connsiteY26909"/>
              </a:cxn>
              <a:cxn ang="0">
                <a:pos x="connsiteX26910" y="connsiteY26910"/>
              </a:cxn>
              <a:cxn ang="0">
                <a:pos x="connsiteX26911" y="connsiteY26911"/>
              </a:cxn>
              <a:cxn ang="0">
                <a:pos x="connsiteX26912" y="connsiteY26912"/>
              </a:cxn>
              <a:cxn ang="0">
                <a:pos x="connsiteX26913" y="connsiteY26913"/>
              </a:cxn>
              <a:cxn ang="0">
                <a:pos x="connsiteX26914" y="connsiteY26914"/>
              </a:cxn>
              <a:cxn ang="0">
                <a:pos x="connsiteX26915" y="connsiteY26915"/>
              </a:cxn>
              <a:cxn ang="0">
                <a:pos x="connsiteX26916" y="connsiteY26916"/>
              </a:cxn>
              <a:cxn ang="0">
                <a:pos x="connsiteX26917" y="connsiteY26917"/>
              </a:cxn>
              <a:cxn ang="0">
                <a:pos x="connsiteX26918" y="connsiteY26918"/>
              </a:cxn>
              <a:cxn ang="0">
                <a:pos x="connsiteX26919" y="connsiteY26919"/>
              </a:cxn>
              <a:cxn ang="0">
                <a:pos x="connsiteX26920" y="connsiteY26920"/>
              </a:cxn>
              <a:cxn ang="0">
                <a:pos x="connsiteX26921" y="connsiteY26921"/>
              </a:cxn>
              <a:cxn ang="0">
                <a:pos x="connsiteX26922" y="connsiteY26922"/>
              </a:cxn>
              <a:cxn ang="0">
                <a:pos x="connsiteX26923" y="connsiteY26923"/>
              </a:cxn>
              <a:cxn ang="0">
                <a:pos x="connsiteX26924" y="connsiteY26924"/>
              </a:cxn>
              <a:cxn ang="0">
                <a:pos x="connsiteX26925" y="connsiteY26925"/>
              </a:cxn>
              <a:cxn ang="0">
                <a:pos x="connsiteX26926" y="connsiteY26926"/>
              </a:cxn>
              <a:cxn ang="0">
                <a:pos x="connsiteX26927" y="connsiteY26927"/>
              </a:cxn>
              <a:cxn ang="0">
                <a:pos x="connsiteX26928" y="connsiteY26928"/>
              </a:cxn>
              <a:cxn ang="0">
                <a:pos x="connsiteX26929" y="connsiteY26929"/>
              </a:cxn>
              <a:cxn ang="0">
                <a:pos x="connsiteX26930" y="connsiteY26930"/>
              </a:cxn>
              <a:cxn ang="0">
                <a:pos x="connsiteX26931" y="connsiteY26931"/>
              </a:cxn>
              <a:cxn ang="0">
                <a:pos x="connsiteX26932" y="connsiteY26932"/>
              </a:cxn>
              <a:cxn ang="0">
                <a:pos x="connsiteX26933" y="connsiteY26933"/>
              </a:cxn>
              <a:cxn ang="0">
                <a:pos x="connsiteX26934" y="connsiteY26934"/>
              </a:cxn>
              <a:cxn ang="0">
                <a:pos x="connsiteX26935" y="connsiteY26935"/>
              </a:cxn>
              <a:cxn ang="0">
                <a:pos x="connsiteX26936" y="connsiteY26936"/>
              </a:cxn>
              <a:cxn ang="0">
                <a:pos x="connsiteX26937" y="connsiteY26937"/>
              </a:cxn>
              <a:cxn ang="0">
                <a:pos x="connsiteX26938" y="connsiteY26938"/>
              </a:cxn>
              <a:cxn ang="0">
                <a:pos x="connsiteX26939" y="connsiteY26939"/>
              </a:cxn>
              <a:cxn ang="0">
                <a:pos x="connsiteX26940" y="connsiteY26940"/>
              </a:cxn>
              <a:cxn ang="0">
                <a:pos x="connsiteX26941" y="connsiteY26941"/>
              </a:cxn>
              <a:cxn ang="0">
                <a:pos x="connsiteX26942" y="connsiteY26942"/>
              </a:cxn>
              <a:cxn ang="0">
                <a:pos x="connsiteX26943" y="connsiteY26943"/>
              </a:cxn>
              <a:cxn ang="0">
                <a:pos x="connsiteX26944" y="connsiteY26944"/>
              </a:cxn>
              <a:cxn ang="0">
                <a:pos x="connsiteX26945" y="connsiteY26945"/>
              </a:cxn>
              <a:cxn ang="0">
                <a:pos x="connsiteX26946" y="connsiteY26946"/>
              </a:cxn>
              <a:cxn ang="0">
                <a:pos x="connsiteX26947" y="connsiteY26947"/>
              </a:cxn>
              <a:cxn ang="0">
                <a:pos x="connsiteX26948" y="connsiteY26948"/>
              </a:cxn>
              <a:cxn ang="0">
                <a:pos x="connsiteX26949" y="connsiteY26949"/>
              </a:cxn>
              <a:cxn ang="0">
                <a:pos x="connsiteX26950" y="connsiteY26950"/>
              </a:cxn>
              <a:cxn ang="0">
                <a:pos x="connsiteX26951" y="connsiteY26951"/>
              </a:cxn>
              <a:cxn ang="0">
                <a:pos x="connsiteX26952" y="connsiteY26952"/>
              </a:cxn>
              <a:cxn ang="0">
                <a:pos x="connsiteX26953" y="connsiteY26953"/>
              </a:cxn>
              <a:cxn ang="0">
                <a:pos x="connsiteX26954" y="connsiteY26954"/>
              </a:cxn>
              <a:cxn ang="0">
                <a:pos x="connsiteX26955" y="connsiteY26955"/>
              </a:cxn>
              <a:cxn ang="0">
                <a:pos x="connsiteX26956" y="connsiteY26956"/>
              </a:cxn>
              <a:cxn ang="0">
                <a:pos x="connsiteX26957" y="connsiteY26957"/>
              </a:cxn>
              <a:cxn ang="0">
                <a:pos x="connsiteX26958" y="connsiteY26958"/>
              </a:cxn>
              <a:cxn ang="0">
                <a:pos x="connsiteX26959" y="connsiteY26959"/>
              </a:cxn>
              <a:cxn ang="0">
                <a:pos x="connsiteX26960" y="connsiteY26960"/>
              </a:cxn>
              <a:cxn ang="0">
                <a:pos x="connsiteX26961" y="connsiteY26961"/>
              </a:cxn>
              <a:cxn ang="0">
                <a:pos x="connsiteX26962" y="connsiteY26962"/>
              </a:cxn>
              <a:cxn ang="0">
                <a:pos x="connsiteX26963" y="connsiteY26963"/>
              </a:cxn>
              <a:cxn ang="0">
                <a:pos x="connsiteX26964" y="connsiteY26964"/>
              </a:cxn>
              <a:cxn ang="0">
                <a:pos x="connsiteX26965" y="connsiteY26965"/>
              </a:cxn>
              <a:cxn ang="0">
                <a:pos x="connsiteX26966" y="connsiteY26966"/>
              </a:cxn>
              <a:cxn ang="0">
                <a:pos x="connsiteX26967" y="connsiteY26967"/>
              </a:cxn>
              <a:cxn ang="0">
                <a:pos x="connsiteX26968" y="connsiteY26968"/>
              </a:cxn>
              <a:cxn ang="0">
                <a:pos x="connsiteX26969" y="connsiteY26969"/>
              </a:cxn>
              <a:cxn ang="0">
                <a:pos x="connsiteX26970" y="connsiteY26970"/>
              </a:cxn>
              <a:cxn ang="0">
                <a:pos x="connsiteX26971" y="connsiteY26971"/>
              </a:cxn>
              <a:cxn ang="0">
                <a:pos x="connsiteX26972" y="connsiteY26972"/>
              </a:cxn>
              <a:cxn ang="0">
                <a:pos x="connsiteX26973" y="connsiteY26973"/>
              </a:cxn>
              <a:cxn ang="0">
                <a:pos x="connsiteX26974" y="connsiteY26974"/>
              </a:cxn>
              <a:cxn ang="0">
                <a:pos x="connsiteX26975" y="connsiteY26975"/>
              </a:cxn>
              <a:cxn ang="0">
                <a:pos x="connsiteX26976" y="connsiteY26976"/>
              </a:cxn>
              <a:cxn ang="0">
                <a:pos x="connsiteX26977" y="connsiteY26977"/>
              </a:cxn>
              <a:cxn ang="0">
                <a:pos x="connsiteX26978" y="connsiteY26978"/>
              </a:cxn>
              <a:cxn ang="0">
                <a:pos x="connsiteX26979" y="connsiteY26979"/>
              </a:cxn>
              <a:cxn ang="0">
                <a:pos x="connsiteX26980" y="connsiteY26980"/>
              </a:cxn>
              <a:cxn ang="0">
                <a:pos x="connsiteX26981" y="connsiteY26981"/>
              </a:cxn>
              <a:cxn ang="0">
                <a:pos x="connsiteX26982" y="connsiteY26982"/>
              </a:cxn>
              <a:cxn ang="0">
                <a:pos x="connsiteX26983" y="connsiteY26983"/>
              </a:cxn>
              <a:cxn ang="0">
                <a:pos x="connsiteX26984" y="connsiteY26984"/>
              </a:cxn>
              <a:cxn ang="0">
                <a:pos x="connsiteX26985" y="connsiteY26985"/>
              </a:cxn>
              <a:cxn ang="0">
                <a:pos x="connsiteX26986" y="connsiteY26986"/>
              </a:cxn>
              <a:cxn ang="0">
                <a:pos x="connsiteX26987" y="connsiteY26987"/>
              </a:cxn>
              <a:cxn ang="0">
                <a:pos x="connsiteX26988" y="connsiteY26988"/>
              </a:cxn>
              <a:cxn ang="0">
                <a:pos x="connsiteX26989" y="connsiteY26989"/>
              </a:cxn>
              <a:cxn ang="0">
                <a:pos x="connsiteX26990" y="connsiteY26990"/>
              </a:cxn>
              <a:cxn ang="0">
                <a:pos x="connsiteX26991" y="connsiteY26991"/>
              </a:cxn>
              <a:cxn ang="0">
                <a:pos x="connsiteX26992" y="connsiteY26992"/>
              </a:cxn>
              <a:cxn ang="0">
                <a:pos x="connsiteX26993" y="connsiteY26993"/>
              </a:cxn>
              <a:cxn ang="0">
                <a:pos x="connsiteX26994" y="connsiteY26994"/>
              </a:cxn>
              <a:cxn ang="0">
                <a:pos x="connsiteX26995" y="connsiteY26995"/>
              </a:cxn>
              <a:cxn ang="0">
                <a:pos x="connsiteX26996" y="connsiteY26996"/>
              </a:cxn>
              <a:cxn ang="0">
                <a:pos x="connsiteX26997" y="connsiteY26997"/>
              </a:cxn>
              <a:cxn ang="0">
                <a:pos x="connsiteX26998" y="connsiteY26998"/>
              </a:cxn>
              <a:cxn ang="0">
                <a:pos x="connsiteX26999" y="connsiteY26999"/>
              </a:cxn>
              <a:cxn ang="0">
                <a:pos x="connsiteX27000" y="connsiteY27000"/>
              </a:cxn>
              <a:cxn ang="0">
                <a:pos x="connsiteX27001" y="connsiteY27001"/>
              </a:cxn>
              <a:cxn ang="0">
                <a:pos x="connsiteX27002" y="connsiteY27002"/>
              </a:cxn>
              <a:cxn ang="0">
                <a:pos x="connsiteX27003" y="connsiteY27003"/>
              </a:cxn>
              <a:cxn ang="0">
                <a:pos x="connsiteX27004" y="connsiteY27004"/>
              </a:cxn>
              <a:cxn ang="0">
                <a:pos x="connsiteX27005" y="connsiteY27005"/>
              </a:cxn>
              <a:cxn ang="0">
                <a:pos x="connsiteX27006" y="connsiteY27006"/>
              </a:cxn>
              <a:cxn ang="0">
                <a:pos x="connsiteX27007" y="connsiteY27007"/>
              </a:cxn>
              <a:cxn ang="0">
                <a:pos x="connsiteX27008" y="connsiteY27008"/>
              </a:cxn>
              <a:cxn ang="0">
                <a:pos x="connsiteX27009" y="connsiteY27009"/>
              </a:cxn>
              <a:cxn ang="0">
                <a:pos x="connsiteX27010" y="connsiteY27010"/>
              </a:cxn>
              <a:cxn ang="0">
                <a:pos x="connsiteX27011" y="connsiteY27011"/>
              </a:cxn>
              <a:cxn ang="0">
                <a:pos x="connsiteX27012" y="connsiteY27012"/>
              </a:cxn>
              <a:cxn ang="0">
                <a:pos x="connsiteX27013" y="connsiteY27013"/>
              </a:cxn>
              <a:cxn ang="0">
                <a:pos x="connsiteX27014" y="connsiteY27014"/>
              </a:cxn>
              <a:cxn ang="0">
                <a:pos x="connsiteX27015" y="connsiteY27015"/>
              </a:cxn>
              <a:cxn ang="0">
                <a:pos x="connsiteX27016" y="connsiteY27016"/>
              </a:cxn>
              <a:cxn ang="0">
                <a:pos x="connsiteX27017" y="connsiteY27017"/>
              </a:cxn>
              <a:cxn ang="0">
                <a:pos x="connsiteX27018" y="connsiteY27018"/>
              </a:cxn>
              <a:cxn ang="0">
                <a:pos x="connsiteX27019" y="connsiteY27019"/>
              </a:cxn>
              <a:cxn ang="0">
                <a:pos x="connsiteX27020" y="connsiteY27020"/>
              </a:cxn>
              <a:cxn ang="0">
                <a:pos x="connsiteX27021" y="connsiteY27021"/>
              </a:cxn>
              <a:cxn ang="0">
                <a:pos x="connsiteX27022" y="connsiteY27022"/>
              </a:cxn>
              <a:cxn ang="0">
                <a:pos x="connsiteX27023" y="connsiteY27023"/>
              </a:cxn>
              <a:cxn ang="0">
                <a:pos x="connsiteX27024" y="connsiteY27024"/>
              </a:cxn>
              <a:cxn ang="0">
                <a:pos x="connsiteX27025" y="connsiteY27025"/>
              </a:cxn>
              <a:cxn ang="0">
                <a:pos x="connsiteX27026" y="connsiteY27026"/>
              </a:cxn>
              <a:cxn ang="0">
                <a:pos x="connsiteX27027" y="connsiteY27027"/>
              </a:cxn>
              <a:cxn ang="0">
                <a:pos x="connsiteX27028" y="connsiteY27028"/>
              </a:cxn>
              <a:cxn ang="0">
                <a:pos x="connsiteX27029" y="connsiteY27029"/>
              </a:cxn>
              <a:cxn ang="0">
                <a:pos x="connsiteX27030" y="connsiteY27030"/>
              </a:cxn>
              <a:cxn ang="0">
                <a:pos x="connsiteX27031" y="connsiteY27031"/>
              </a:cxn>
              <a:cxn ang="0">
                <a:pos x="connsiteX27032" y="connsiteY27032"/>
              </a:cxn>
              <a:cxn ang="0">
                <a:pos x="connsiteX27033" y="connsiteY27033"/>
              </a:cxn>
              <a:cxn ang="0">
                <a:pos x="connsiteX27034" y="connsiteY27034"/>
              </a:cxn>
              <a:cxn ang="0">
                <a:pos x="connsiteX27035" y="connsiteY27035"/>
              </a:cxn>
              <a:cxn ang="0">
                <a:pos x="connsiteX27036" y="connsiteY27036"/>
              </a:cxn>
              <a:cxn ang="0">
                <a:pos x="connsiteX27037" y="connsiteY27037"/>
              </a:cxn>
              <a:cxn ang="0">
                <a:pos x="connsiteX27038" y="connsiteY27038"/>
              </a:cxn>
              <a:cxn ang="0">
                <a:pos x="connsiteX27039" y="connsiteY27039"/>
              </a:cxn>
              <a:cxn ang="0">
                <a:pos x="connsiteX27040" y="connsiteY27040"/>
              </a:cxn>
              <a:cxn ang="0">
                <a:pos x="connsiteX27041" y="connsiteY27041"/>
              </a:cxn>
              <a:cxn ang="0">
                <a:pos x="connsiteX27042" y="connsiteY27042"/>
              </a:cxn>
              <a:cxn ang="0">
                <a:pos x="connsiteX27043" y="connsiteY27043"/>
              </a:cxn>
              <a:cxn ang="0">
                <a:pos x="connsiteX27044" y="connsiteY27044"/>
              </a:cxn>
              <a:cxn ang="0">
                <a:pos x="connsiteX27045" y="connsiteY27045"/>
              </a:cxn>
              <a:cxn ang="0">
                <a:pos x="connsiteX27046" y="connsiteY27046"/>
              </a:cxn>
              <a:cxn ang="0">
                <a:pos x="connsiteX27047" y="connsiteY27047"/>
              </a:cxn>
              <a:cxn ang="0">
                <a:pos x="connsiteX27048" y="connsiteY27048"/>
              </a:cxn>
              <a:cxn ang="0">
                <a:pos x="connsiteX27049" y="connsiteY27049"/>
              </a:cxn>
              <a:cxn ang="0">
                <a:pos x="connsiteX27050" y="connsiteY27050"/>
              </a:cxn>
              <a:cxn ang="0">
                <a:pos x="connsiteX27051" y="connsiteY27051"/>
              </a:cxn>
              <a:cxn ang="0">
                <a:pos x="connsiteX27052" y="connsiteY27052"/>
              </a:cxn>
              <a:cxn ang="0">
                <a:pos x="connsiteX27053" y="connsiteY27053"/>
              </a:cxn>
              <a:cxn ang="0">
                <a:pos x="connsiteX27054" y="connsiteY27054"/>
              </a:cxn>
              <a:cxn ang="0">
                <a:pos x="connsiteX27055" y="connsiteY27055"/>
              </a:cxn>
              <a:cxn ang="0">
                <a:pos x="connsiteX27056" y="connsiteY27056"/>
              </a:cxn>
              <a:cxn ang="0">
                <a:pos x="connsiteX27057" y="connsiteY27057"/>
              </a:cxn>
              <a:cxn ang="0">
                <a:pos x="connsiteX27058" y="connsiteY27058"/>
              </a:cxn>
              <a:cxn ang="0">
                <a:pos x="connsiteX27059" y="connsiteY27059"/>
              </a:cxn>
              <a:cxn ang="0">
                <a:pos x="connsiteX27060" y="connsiteY27060"/>
              </a:cxn>
              <a:cxn ang="0">
                <a:pos x="connsiteX27061" y="connsiteY27061"/>
              </a:cxn>
              <a:cxn ang="0">
                <a:pos x="connsiteX27062" y="connsiteY27062"/>
              </a:cxn>
              <a:cxn ang="0">
                <a:pos x="connsiteX27063" y="connsiteY27063"/>
              </a:cxn>
              <a:cxn ang="0">
                <a:pos x="connsiteX27064" y="connsiteY27064"/>
              </a:cxn>
              <a:cxn ang="0">
                <a:pos x="connsiteX27065" y="connsiteY27065"/>
              </a:cxn>
              <a:cxn ang="0">
                <a:pos x="connsiteX27066" y="connsiteY27066"/>
              </a:cxn>
              <a:cxn ang="0">
                <a:pos x="connsiteX27067" y="connsiteY27067"/>
              </a:cxn>
              <a:cxn ang="0">
                <a:pos x="connsiteX27068" y="connsiteY27068"/>
              </a:cxn>
              <a:cxn ang="0">
                <a:pos x="connsiteX27069" y="connsiteY27069"/>
              </a:cxn>
              <a:cxn ang="0">
                <a:pos x="connsiteX27070" y="connsiteY27070"/>
              </a:cxn>
              <a:cxn ang="0">
                <a:pos x="connsiteX27071" y="connsiteY27071"/>
              </a:cxn>
              <a:cxn ang="0">
                <a:pos x="connsiteX27072" y="connsiteY27072"/>
              </a:cxn>
              <a:cxn ang="0">
                <a:pos x="connsiteX27073" y="connsiteY27073"/>
              </a:cxn>
              <a:cxn ang="0">
                <a:pos x="connsiteX27074" y="connsiteY27074"/>
              </a:cxn>
              <a:cxn ang="0">
                <a:pos x="connsiteX27075" y="connsiteY27075"/>
              </a:cxn>
              <a:cxn ang="0">
                <a:pos x="connsiteX27076" y="connsiteY27076"/>
              </a:cxn>
              <a:cxn ang="0">
                <a:pos x="connsiteX27077" y="connsiteY27077"/>
              </a:cxn>
              <a:cxn ang="0">
                <a:pos x="connsiteX27078" y="connsiteY27078"/>
              </a:cxn>
              <a:cxn ang="0">
                <a:pos x="connsiteX27079" y="connsiteY27079"/>
              </a:cxn>
              <a:cxn ang="0">
                <a:pos x="connsiteX27080" y="connsiteY27080"/>
              </a:cxn>
              <a:cxn ang="0">
                <a:pos x="connsiteX27081" y="connsiteY27081"/>
              </a:cxn>
              <a:cxn ang="0">
                <a:pos x="connsiteX27082" y="connsiteY27082"/>
              </a:cxn>
              <a:cxn ang="0">
                <a:pos x="connsiteX27083" y="connsiteY27083"/>
              </a:cxn>
              <a:cxn ang="0">
                <a:pos x="connsiteX27084" y="connsiteY27084"/>
              </a:cxn>
              <a:cxn ang="0">
                <a:pos x="connsiteX27085" y="connsiteY27085"/>
              </a:cxn>
              <a:cxn ang="0">
                <a:pos x="connsiteX27086" y="connsiteY27086"/>
              </a:cxn>
              <a:cxn ang="0">
                <a:pos x="connsiteX27087" y="connsiteY27087"/>
              </a:cxn>
              <a:cxn ang="0">
                <a:pos x="connsiteX27088" y="connsiteY27088"/>
              </a:cxn>
              <a:cxn ang="0">
                <a:pos x="connsiteX27089" y="connsiteY27089"/>
              </a:cxn>
              <a:cxn ang="0">
                <a:pos x="connsiteX27090" y="connsiteY27090"/>
              </a:cxn>
              <a:cxn ang="0">
                <a:pos x="connsiteX27091" y="connsiteY27091"/>
              </a:cxn>
              <a:cxn ang="0">
                <a:pos x="connsiteX27092" y="connsiteY27092"/>
              </a:cxn>
              <a:cxn ang="0">
                <a:pos x="connsiteX27093" y="connsiteY27093"/>
              </a:cxn>
              <a:cxn ang="0">
                <a:pos x="connsiteX27094" y="connsiteY27094"/>
              </a:cxn>
              <a:cxn ang="0">
                <a:pos x="connsiteX27095" y="connsiteY27095"/>
              </a:cxn>
              <a:cxn ang="0">
                <a:pos x="connsiteX27096" y="connsiteY27096"/>
              </a:cxn>
              <a:cxn ang="0">
                <a:pos x="connsiteX27097" y="connsiteY27097"/>
              </a:cxn>
              <a:cxn ang="0">
                <a:pos x="connsiteX27098" y="connsiteY27098"/>
              </a:cxn>
              <a:cxn ang="0">
                <a:pos x="connsiteX27099" y="connsiteY27099"/>
              </a:cxn>
              <a:cxn ang="0">
                <a:pos x="connsiteX27100" y="connsiteY27100"/>
              </a:cxn>
              <a:cxn ang="0">
                <a:pos x="connsiteX27101" y="connsiteY27101"/>
              </a:cxn>
              <a:cxn ang="0">
                <a:pos x="connsiteX27102" y="connsiteY27102"/>
              </a:cxn>
              <a:cxn ang="0">
                <a:pos x="connsiteX27103" y="connsiteY27103"/>
              </a:cxn>
              <a:cxn ang="0">
                <a:pos x="connsiteX27104" y="connsiteY27104"/>
              </a:cxn>
              <a:cxn ang="0">
                <a:pos x="connsiteX27105" y="connsiteY27105"/>
              </a:cxn>
              <a:cxn ang="0">
                <a:pos x="connsiteX27106" y="connsiteY27106"/>
              </a:cxn>
              <a:cxn ang="0">
                <a:pos x="connsiteX27107" y="connsiteY27107"/>
              </a:cxn>
              <a:cxn ang="0">
                <a:pos x="connsiteX27108" y="connsiteY27108"/>
              </a:cxn>
              <a:cxn ang="0">
                <a:pos x="connsiteX27109" y="connsiteY27109"/>
              </a:cxn>
              <a:cxn ang="0">
                <a:pos x="connsiteX27110" y="connsiteY27110"/>
              </a:cxn>
              <a:cxn ang="0">
                <a:pos x="connsiteX27111" y="connsiteY27111"/>
              </a:cxn>
              <a:cxn ang="0">
                <a:pos x="connsiteX27112" y="connsiteY27112"/>
              </a:cxn>
              <a:cxn ang="0">
                <a:pos x="connsiteX27113" y="connsiteY27113"/>
              </a:cxn>
              <a:cxn ang="0">
                <a:pos x="connsiteX27114" y="connsiteY27114"/>
              </a:cxn>
              <a:cxn ang="0">
                <a:pos x="connsiteX27115" y="connsiteY27115"/>
              </a:cxn>
              <a:cxn ang="0">
                <a:pos x="connsiteX27116" y="connsiteY27116"/>
              </a:cxn>
              <a:cxn ang="0">
                <a:pos x="connsiteX27117" y="connsiteY27117"/>
              </a:cxn>
              <a:cxn ang="0">
                <a:pos x="connsiteX27118" y="connsiteY27118"/>
              </a:cxn>
              <a:cxn ang="0">
                <a:pos x="connsiteX27119" y="connsiteY27119"/>
              </a:cxn>
              <a:cxn ang="0">
                <a:pos x="connsiteX27120" y="connsiteY27120"/>
              </a:cxn>
              <a:cxn ang="0">
                <a:pos x="connsiteX27121" y="connsiteY27121"/>
              </a:cxn>
              <a:cxn ang="0">
                <a:pos x="connsiteX27122" y="connsiteY27122"/>
              </a:cxn>
              <a:cxn ang="0">
                <a:pos x="connsiteX27123" y="connsiteY27123"/>
              </a:cxn>
              <a:cxn ang="0">
                <a:pos x="connsiteX27124" y="connsiteY27124"/>
              </a:cxn>
              <a:cxn ang="0">
                <a:pos x="connsiteX27125" y="connsiteY27125"/>
              </a:cxn>
              <a:cxn ang="0">
                <a:pos x="connsiteX27126" y="connsiteY27126"/>
              </a:cxn>
              <a:cxn ang="0">
                <a:pos x="connsiteX27127" y="connsiteY27127"/>
              </a:cxn>
              <a:cxn ang="0">
                <a:pos x="connsiteX27128" y="connsiteY27128"/>
              </a:cxn>
              <a:cxn ang="0">
                <a:pos x="connsiteX27129" y="connsiteY27129"/>
              </a:cxn>
              <a:cxn ang="0">
                <a:pos x="connsiteX27130" y="connsiteY27130"/>
              </a:cxn>
              <a:cxn ang="0">
                <a:pos x="connsiteX27131" y="connsiteY27131"/>
              </a:cxn>
              <a:cxn ang="0">
                <a:pos x="connsiteX27132" y="connsiteY27132"/>
              </a:cxn>
              <a:cxn ang="0">
                <a:pos x="connsiteX27133" y="connsiteY27133"/>
              </a:cxn>
              <a:cxn ang="0">
                <a:pos x="connsiteX27134" y="connsiteY27134"/>
              </a:cxn>
              <a:cxn ang="0">
                <a:pos x="connsiteX27135" y="connsiteY27135"/>
              </a:cxn>
              <a:cxn ang="0">
                <a:pos x="connsiteX27136" y="connsiteY27136"/>
              </a:cxn>
              <a:cxn ang="0">
                <a:pos x="connsiteX27137" y="connsiteY27137"/>
              </a:cxn>
              <a:cxn ang="0">
                <a:pos x="connsiteX27138" y="connsiteY27138"/>
              </a:cxn>
              <a:cxn ang="0">
                <a:pos x="connsiteX27139" y="connsiteY27139"/>
              </a:cxn>
              <a:cxn ang="0">
                <a:pos x="connsiteX27140" y="connsiteY27140"/>
              </a:cxn>
              <a:cxn ang="0">
                <a:pos x="connsiteX27141" y="connsiteY27141"/>
              </a:cxn>
              <a:cxn ang="0">
                <a:pos x="connsiteX27142" y="connsiteY27142"/>
              </a:cxn>
              <a:cxn ang="0">
                <a:pos x="connsiteX27143" y="connsiteY27143"/>
              </a:cxn>
              <a:cxn ang="0">
                <a:pos x="connsiteX27144" y="connsiteY27144"/>
              </a:cxn>
              <a:cxn ang="0">
                <a:pos x="connsiteX27145" y="connsiteY27145"/>
              </a:cxn>
              <a:cxn ang="0">
                <a:pos x="connsiteX27146" y="connsiteY27146"/>
              </a:cxn>
              <a:cxn ang="0">
                <a:pos x="connsiteX27147" y="connsiteY27147"/>
              </a:cxn>
              <a:cxn ang="0">
                <a:pos x="connsiteX27148" y="connsiteY27148"/>
              </a:cxn>
              <a:cxn ang="0">
                <a:pos x="connsiteX27149" y="connsiteY27149"/>
              </a:cxn>
              <a:cxn ang="0">
                <a:pos x="connsiteX27150" y="connsiteY27150"/>
              </a:cxn>
              <a:cxn ang="0">
                <a:pos x="connsiteX27151" y="connsiteY27151"/>
              </a:cxn>
              <a:cxn ang="0">
                <a:pos x="connsiteX27152" y="connsiteY27152"/>
              </a:cxn>
              <a:cxn ang="0">
                <a:pos x="connsiteX27153" y="connsiteY27153"/>
              </a:cxn>
              <a:cxn ang="0">
                <a:pos x="connsiteX27154" y="connsiteY27154"/>
              </a:cxn>
              <a:cxn ang="0">
                <a:pos x="connsiteX27155" y="connsiteY27155"/>
              </a:cxn>
              <a:cxn ang="0">
                <a:pos x="connsiteX27156" y="connsiteY27156"/>
              </a:cxn>
              <a:cxn ang="0">
                <a:pos x="connsiteX27157" y="connsiteY27157"/>
              </a:cxn>
              <a:cxn ang="0">
                <a:pos x="connsiteX27158" y="connsiteY27158"/>
              </a:cxn>
              <a:cxn ang="0">
                <a:pos x="connsiteX27159" y="connsiteY27159"/>
              </a:cxn>
              <a:cxn ang="0">
                <a:pos x="connsiteX27160" y="connsiteY27160"/>
              </a:cxn>
              <a:cxn ang="0">
                <a:pos x="connsiteX27161" y="connsiteY27161"/>
              </a:cxn>
              <a:cxn ang="0">
                <a:pos x="connsiteX27162" y="connsiteY27162"/>
              </a:cxn>
              <a:cxn ang="0">
                <a:pos x="connsiteX27163" y="connsiteY27163"/>
              </a:cxn>
              <a:cxn ang="0">
                <a:pos x="connsiteX27164" y="connsiteY27164"/>
              </a:cxn>
              <a:cxn ang="0">
                <a:pos x="connsiteX27165" y="connsiteY27165"/>
              </a:cxn>
              <a:cxn ang="0">
                <a:pos x="connsiteX27166" y="connsiteY27166"/>
              </a:cxn>
              <a:cxn ang="0">
                <a:pos x="connsiteX27167" y="connsiteY27167"/>
              </a:cxn>
              <a:cxn ang="0">
                <a:pos x="connsiteX27168" y="connsiteY27168"/>
              </a:cxn>
              <a:cxn ang="0">
                <a:pos x="connsiteX27169" y="connsiteY27169"/>
              </a:cxn>
              <a:cxn ang="0">
                <a:pos x="connsiteX27170" y="connsiteY27170"/>
              </a:cxn>
              <a:cxn ang="0">
                <a:pos x="connsiteX27171" y="connsiteY27171"/>
              </a:cxn>
              <a:cxn ang="0">
                <a:pos x="connsiteX27172" y="connsiteY27172"/>
              </a:cxn>
              <a:cxn ang="0">
                <a:pos x="connsiteX27173" y="connsiteY27173"/>
              </a:cxn>
              <a:cxn ang="0">
                <a:pos x="connsiteX27174" y="connsiteY27174"/>
              </a:cxn>
              <a:cxn ang="0">
                <a:pos x="connsiteX27175" y="connsiteY27175"/>
              </a:cxn>
              <a:cxn ang="0">
                <a:pos x="connsiteX27176" y="connsiteY27176"/>
              </a:cxn>
              <a:cxn ang="0">
                <a:pos x="connsiteX27177" y="connsiteY27177"/>
              </a:cxn>
              <a:cxn ang="0">
                <a:pos x="connsiteX27178" y="connsiteY27178"/>
              </a:cxn>
              <a:cxn ang="0">
                <a:pos x="connsiteX27179" y="connsiteY27179"/>
              </a:cxn>
              <a:cxn ang="0">
                <a:pos x="connsiteX27180" y="connsiteY27180"/>
              </a:cxn>
              <a:cxn ang="0">
                <a:pos x="connsiteX27181" y="connsiteY27181"/>
              </a:cxn>
              <a:cxn ang="0">
                <a:pos x="connsiteX27182" y="connsiteY27182"/>
              </a:cxn>
              <a:cxn ang="0">
                <a:pos x="connsiteX27183" y="connsiteY27183"/>
              </a:cxn>
              <a:cxn ang="0">
                <a:pos x="connsiteX27184" y="connsiteY27184"/>
              </a:cxn>
              <a:cxn ang="0">
                <a:pos x="connsiteX27185" y="connsiteY27185"/>
              </a:cxn>
              <a:cxn ang="0">
                <a:pos x="connsiteX27186" y="connsiteY27186"/>
              </a:cxn>
              <a:cxn ang="0">
                <a:pos x="connsiteX27187" y="connsiteY27187"/>
              </a:cxn>
              <a:cxn ang="0">
                <a:pos x="connsiteX27188" y="connsiteY27188"/>
              </a:cxn>
              <a:cxn ang="0">
                <a:pos x="connsiteX27189" y="connsiteY27189"/>
              </a:cxn>
              <a:cxn ang="0">
                <a:pos x="connsiteX27190" y="connsiteY27190"/>
              </a:cxn>
              <a:cxn ang="0">
                <a:pos x="connsiteX27191" y="connsiteY27191"/>
              </a:cxn>
              <a:cxn ang="0">
                <a:pos x="connsiteX27192" y="connsiteY27192"/>
              </a:cxn>
              <a:cxn ang="0">
                <a:pos x="connsiteX27193" y="connsiteY27193"/>
              </a:cxn>
              <a:cxn ang="0">
                <a:pos x="connsiteX27194" y="connsiteY27194"/>
              </a:cxn>
              <a:cxn ang="0">
                <a:pos x="connsiteX27195" y="connsiteY27195"/>
              </a:cxn>
              <a:cxn ang="0">
                <a:pos x="connsiteX27196" y="connsiteY27196"/>
              </a:cxn>
              <a:cxn ang="0">
                <a:pos x="connsiteX27197" y="connsiteY27197"/>
              </a:cxn>
              <a:cxn ang="0">
                <a:pos x="connsiteX27198" y="connsiteY27198"/>
              </a:cxn>
              <a:cxn ang="0">
                <a:pos x="connsiteX27199" y="connsiteY27199"/>
              </a:cxn>
              <a:cxn ang="0">
                <a:pos x="connsiteX27200" y="connsiteY27200"/>
              </a:cxn>
              <a:cxn ang="0">
                <a:pos x="connsiteX27201" y="connsiteY27201"/>
              </a:cxn>
              <a:cxn ang="0">
                <a:pos x="connsiteX27202" y="connsiteY27202"/>
              </a:cxn>
              <a:cxn ang="0">
                <a:pos x="connsiteX27203" y="connsiteY27203"/>
              </a:cxn>
              <a:cxn ang="0">
                <a:pos x="connsiteX27204" y="connsiteY27204"/>
              </a:cxn>
              <a:cxn ang="0">
                <a:pos x="connsiteX27205" y="connsiteY27205"/>
              </a:cxn>
              <a:cxn ang="0">
                <a:pos x="connsiteX27206" y="connsiteY27206"/>
              </a:cxn>
              <a:cxn ang="0">
                <a:pos x="connsiteX27207" y="connsiteY27207"/>
              </a:cxn>
              <a:cxn ang="0">
                <a:pos x="connsiteX27208" y="connsiteY27208"/>
              </a:cxn>
              <a:cxn ang="0">
                <a:pos x="connsiteX27209" y="connsiteY27209"/>
              </a:cxn>
              <a:cxn ang="0">
                <a:pos x="connsiteX27210" y="connsiteY27210"/>
              </a:cxn>
              <a:cxn ang="0">
                <a:pos x="connsiteX27211" y="connsiteY27211"/>
              </a:cxn>
              <a:cxn ang="0">
                <a:pos x="connsiteX27212" y="connsiteY27212"/>
              </a:cxn>
              <a:cxn ang="0">
                <a:pos x="connsiteX27213" y="connsiteY27213"/>
              </a:cxn>
              <a:cxn ang="0">
                <a:pos x="connsiteX27214" y="connsiteY27214"/>
              </a:cxn>
              <a:cxn ang="0">
                <a:pos x="connsiteX27215" y="connsiteY27215"/>
              </a:cxn>
              <a:cxn ang="0">
                <a:pos x="connsiteX27216" y="connsiteY27216"/>
              </a:cxn>
              <a:cxn ang="0">
                <a:pos x="connsiteX27217" y="connsiteY27217"/>
              </a:cxn>
              <a:cxn ang="0">
                <a:pos x="connsiteX27218" y="connsiteY27218"/>
              </a:cxn>
              <a:cxn ang="0">
                <a:pos x="connsiteX27219" y="connsiteY27219"/>
              </a:cxn>
              <a:cxn ang="0">
                <a:pos x="connsiteX27220" y="connsiteY27220"/>
              </a:cxn>
              <a:cxn ang="0">
                <a:pos x="connsiteX27221" y="connsiteY27221"/>
              </a:cxn>
              <a:cxn ang="0">
                <a:pos x="connsiteX27222" y="connsiteY27222"/>
              </a:cxn>
              <a:cxn ang="0">
                <a:pos x="connsiteX27223" y="connsiteY27223"/>
              </a:cxn>
              <a:cxn ang="0">
                <a:pos x="connsiteX27224" y="connsiteY27224"/>
              </a:cxn>
              <a:cxn ang="0">
                <a:pos x="connsiteX27225" y="connsiteY27225"/>
              </a:cxn>
              <a:cxn ang="0">
                <a:pos x="connsiteX27226" y="connsiteY27226"/>
              </a:cxn>
              <a:cxn ang="0">
                <a:pos x="connsiteX27227" y="connsiteY27227"/>
              </a:cxn>
              <a:cxn ang="0">
                <a:pos x="connsiteX27228" y="connsiteY27228"/>
              </a:cxn>
              <a:cxn ang="0">
                <a:pos x="connsiteX27229" y="connsiteY27229"/>
              </a:cxn>
              <a:cxn ang="0">
                <a:pos x="connsiteX27230" y="connsiteY27230"/>
              </a:cxn>
              <a:cxn ang="0">
                <a:pos x="connsiteX27231" y="connsiteY27231"/>
              </a:cxn>
              <a:cxn ang="0">
                <a:pos x="connsiteX27232" y="connsiteY27232"/>
              </a:cxn>
              <a:cxn ang="0">
                <a:pos x="connsiteX27233" y="connsiteY27233"/>
              </a:cxn>
              <a:cxn ang="0">
                <a:pos x="connsiteX27234" y="connsiteY27234"/>
              </a:cxn>
              <a:cxn ang="0">
                <a:pos x="connsiteX27235" y="connsiteY27235"/>
              </a:cxn>
              <a:cxn ang="0">
                <a:pos x="connsiteX27236" y="connsiteY27236"/>
              </a:cxn>
              <a:cxn ang="0">
                <a:pos x="connsiteX27237" y="connsiteY27237"/>
              </a:cxn>
              <a:cxn ang="0">
                <a:pos x="connsiteX27238" y="connsiteY27238"/>
              </a:cxn>
              <a:cxn ang="0">
                <a:pos x="connsiteX27239" y="connsiteY27239"/>
              </a:cxn>
              <a:cxn ang="0">
                <a:pos x="connsiteX27240" y="connsiteY27240"/>
              </a:cxn>
              <a:cxn ang="0">
                <a:pos x="connsiteX27241" y="connsiteY27241"/>
              </a:cxn>
              <a:cxn ang="0">
                <a:pos x="connsiteX27242" y="connsiteY27242"/>
              </a:cxn>
              <a:cxn ang="0">
                <a:pos x="connsiteX27243" y="connsiteY27243"/>
              </a:cxn>
              <a:cxn ang="0">
                <a:pos x="connsiteX27244" y="connsiteY27244"/>
              </a:cxn>
              <a:cxn ang="0">
                <a:pos x="connsiteX27245" y="connsiteY27245"/>
              </a:cxn>
              <a:cxn ang="0">
                <a:pos x="connsiteX27246" y="connsiteY27246"/>
              </a:cxn>
              <a:cxn ang="0">
                <a:pos x="connsiteX27247" y="connsiteY27247"/>
              </a:cxn>
              <a:cxn ang="0">
                <a:pos x="connsiteX27248" y="connsiteY27248"/>
              </a:cxn>
              <a:cxn ang="0">
                <a:pos x="connsiteX27249" y="connsiteY27249"/>
              </a:cxn>
              <a:cxn ang="0">
                <a:pos x="connsiteX27250" y="connsiteY27250"/>
              </a:cxn>
              <a:cxn ang="0">
                <a:pos x="connsiteX27251" y="connsiteY27251"/>
              </a:cxn>
              <a:cxn ang="0">
                <a:pos x="connsiteX27252" y="connsiteY27252"/>
              </a:cxn>
              <a:cxn ang="0">
                <a:pos x="connsiteX27253" y="connsiteY27253"/>
              </a:cxn>
              <a:cxn ang="0">
                <a:pos x="connsiteX27254" y="connsiteY27254"/>
              </a:cxn>
              <a:cxn ang="0">
                <a:pos x="connsiteX27255" y="connsiteY27255"/>
              </a:cxn>
              <a:cxn ang="0">
                <a:pos x="connsiteX27256" y="connsiteY27256"/>
              </a:cxn>
              <a:cxn ang="0">
                <a:pos x="connsiteX27257" y="connsiteY27257"/>
              </a:cxn>
              <a:cxn ang="0">
                <a:pos x="connsiteX27258" y="connsiteY27258"/>
              </a:cxn>
              <a:cxn ang="0">
                <a:pos x="connsiteX27259" y="connsiteY27259"/>
              </a:cxn>
              <a:cxn ang="0">
                <a:pos x="connsiteX27260" y="connsiteY27260"/>
              </a:cxn>
              <a:cxn ang="0">
                <a:pos x="connsiteX27261" y="connsiteY27261"/>
              </a:cxn>
              <a:cxn ang="0">
                <a:pos x="connsiteX27262" y="connsiteY27262"/>
              </a:cxn>
              <a:cxn ang="0">
                <a:pos x="connsiteX27263" y="connsiteY27263"/>
              </a:cxn>
              <a:cxn ang="0">
                <a:pos x="connsiteX27264" y="connsiteY27264"/>
              </a:cxn>
              <a:cxn ang="0">
                <a:pos x="connsiteX27265" y="connsiteY27265"/>
              </a:cxn>
              <a:cxn ang="0">
                <a:pos x="connsiteX27266" y="connsiteY27266"/>
              </a:cxn>
              <a:cxn ang="0">
                <a:pos x="connsiteX27267" y="connsiteY27267"/>
              </a:cxn>
              <a:cxn ang="0">
                <a:pos x="connsiteX27268" y="connsiteY27268"/>
              </a:cxn>
              <a:cxn ang="0">
                <a:pos x="connsiteX27269" y="connsiteY27269"/>
              </a:cxn>
              <a:cxn ang="0">
                <a:pos x="connsiteX27270" y="connsiteY27270"/>
              </a:cxn>
              <a:cxn ang="0">
                <a:pos x="connsiteX27271" y="connsiteY27271"/>
              </a:cxn>
              <a:cxn ang="0">
                <a:pos x="connsiteX27272" y="connsiteY27272"/>
              </a:cxn>
              <a:cxn ang="0">
                <a:pos x="connsiteX27273" y="connsiteY27273"/>
              </a:cxn>
              <a:cxn ang="0">
                <a:pos x="connsiteX27274" y="connsiteY27274"/>
              </a:cxn>
              <a:cxn ang="0">
                <a:pos x="connsiteX27275" y="connsiteY27275"/>
              </a:cxn>
              <a:cxn ang="0">
                <a:pos x="connsiteX27276" y="connsiteY27276"/>
              </a:cxn>
              <a:cxn ang="0">
                <a:pos x="connsiteX27277" y="connsiteY27277"/>
              </a:cxn>
              <a:cxn ang="0">
                <a:pos x="connsiteX27278" y="connsiteY27278"/>
              </a:cxn>
              <a:cxn ang="0">
                <a:pos x="connsiteX27279" y="connsiteY27279"/>
              </a:cxn>
              <a:cxn ang="0">
                <a:pos x="connsiteX27280" y="connsiteY27280"/>
              </a:cxn>
              <a:cxn ang="0">
                <a:pos x="connsiteX27281" y="connsiteY27281"/>
              </a:cxn>
              <a:cxn ang="0">
                <a:pos x="connsiteX27282" y="connsiteY27282"/>
              </a:cxn>
              <a:cxn ang="0">
                <a:pos x="connsiteX27283" y="connsiteY27283"/>
              </a:cxn>
              <a:cxn ang="0">
                <a:pos x="connsiteX27284" y="connsiteY27284"/>
              </a:cxn>
              <a:cxn ang="0">
                <a:pos x="connsiteX27285" y="connsiteY27285"/>
              </a:cxn>
              <a:cxn ang="0">
                <a:pos x="connsiteX27286" y="connsiteY27286"/>
              </a:cxn>
              <a:cxn ang="0">
                <a:pos x="connsiteX27287" y="connsiteY27287"/>
              </a:cxn>
              <a:cxn ang="0">
                <a:pos x="connsiteX27288" y="connsiteY27288"/>
              </a:cxn>
              <a:cxn ang="0">
                <a:pos x="connsiteX27289" y="connsiteY27289"/>
              </a:cxn>
              <a:cxn ang="0">
                <a:pos x="connsiteX27290" y="connsiteY27290"/>
              </a:cxn>
              <a:cxn ang="0">
                <a:pos x="connsiteX27291" y="connsiteY27291"/>
              </a:cxn>
              <a:cxn ang="0">
                <a:pos x="connsiteX27292" y="connsiteY27292"/>
              </a:cxn>
              <a:cxn ang="0">
                <a:pos x="connsiteX27293" y="connsiteY27293"/>
              </a:cxn>
              <a:cxn ang="0">
                <a:pos x="connsiteX27294" y="connsiteY27294"/>
              </a:cxn>
              <a:cxn ang="0">
                <a:pos x="connsiteX27295" y="connsiteY27295"/>
              </a:cxn>
              <a:cxn ang="0">
                <a:pos x="connsiteX27296" y="connsiteY27296"/>
              </a:cxn>
              <a:cxn ang="0">
                <a:pos x="connsiteX27297" y="connsiteY27297"/>
              </a:cxn>
              <a:cxn ang="0">
                <a:pos x="connsiteX27298" y="connsiteY27298"/>
              </a:cxn>
              <a:cxn ang="0">
                <a:pos x="connsiteX27299" y="connsiteY27299"/>
              </a:cxn>
              <a:cxn ang="0">
                <a:pos x="connsiteX27300" y="connsiteY27300"/>
              </a:cxn>
              <a:cxn ang="0">
                <a:pos x="connsiteX27301" y="connsiteY27301"/>
              </a:cxn>
              <a:cxn ang="0">
                <a:pos x="connsiteX27302" y="connsiteY27302"/>
              </a:cxn>
              <a:cxn ang="0">
                <a:pos x="connsiteX27303" y="connsiteY27303"/>
              </a:cxn>
              <a:cxn ang="0">
                <a:pos x="connsiteX27304" y="connsiteY27304"/>
              </a:cxn>
              <a:cxn ang="0">
                <a:pos x="connsiteX27305" y="connsiteY27305"/>
              </a:cxn>
              <a:cxn ang="0">
                <a:pos x="connsiteX27306" y="connsiteY27306"/>
              </a:cxn>
              <a:cxn ang="0">
                <a:pos x="connsiteX27307" y="connsiteY27307"/>
              </a:cxn>
              <a:cxn ang="0">
                <a:pos x="connsiteX27308" y="connsiteY27308"/>
              </a:cxn>
              <a:cxn ang="0">
                <a:pos x="connsiteX27309" y="connsiteY27309"/>
              </a:cxn>
              <a:cxn ang="0">
                <a:pos x="connsiteX27310" y="connsiteY27310"/>
              </a:cxn>
              <a:cxn ang="0">
                <a:pos x="connsiteX27311" y="connsiteY27311"/>
              </a:cxn>
              <a:cxn ang="0">
                <a:pos x="connsiteX27312" y="connsiteY27312"/>
              </a:cxn>
              <a:cxn ang="0">
                <a:pos x="connsiteX27313" y="connsiteY27313"/>
              </a:cxn>
              <a:cxn ang="0">
                <a:pos x="connsiteX27314" y="connsiteY27314"/>
              </a:cxn>
              <a:cxn ang="0">
                <a:pos x="connsiteX27315" y="connsiteY27315"/>
              </a:cxn>
              <a:cxn ang="0">
                <a:pos x="connsiteX27316" y="connsiteY27316"/>
              </a:cxn>
              <a:cxn ang="0">
                <a:pos x="connsiteX27317" y="connsiteY27317"/>
              </a:cxn>
              <a:cxn ang="0">
                <a:pos x="connsiteX27318" y="connsiteY27318"/>
              </a:cxn>
              <a:cxn ang="0">
                <a:pos x="connsiteX27319" y="connsiteY27319"/>
              </a:cxn>
              <a:cxn ang="0">
                <a:pos x="connsiteX27320" y="connsiteY27320"/>
              </a:cxn>
              <a:cxn ang="0">
                <a:pos x="connsiteX27321" y="connsiteY27321"/>
              </a:cxn>
              <a:cxn ang="0">
                <a:pos x="connsiteX27322" y="connsiteY27322"/>
              </a:cxn>
              <a:cxn ang="0">
                <a:pos x="connsiteX27323" y="connsiteY27323"/>
              </a:cxn>
              <a:cxn ang="0">
                <a:pos x="connsiteX27324" y="connsiteY27324"/>
              </a:cxn>
              <a:cxn ang="0">
                <a:pos x="connsiteX27325" y="connsiteY27325"/>
              </a:cxn>
              <a:cxn ang="0">
                <a:pos x="connsiteX27326" y="connsiteY27326"/>
              </a:cxn>
              <a:cxn ang="0">
                <a:pos x="connsiteX27327" y="connsiteY27327"/>
              </a:cxn>
              <a:cxn ang="0">
                <a:pos x="connsiteX27328" y="connsiteY27328"/>
              </a:cxn>
              <a:cxn ang="0">
                <a:pos x="connsiteX27329" y="connsiteY27329"/>
              </a:cxn>
              <a:cxn ang="0">
                <a:pos x="connsiteX27330" y="connsiteY27330"/>
              </a:cxn>
              <a:cxn ang="0">
                <a:pos x="connsiteX27331" y="connsiteY27331"/>
              </a:cxn>
              <a:cxn ang="0">
                <a:pos x="connsiteX27332" y="connsiteY27332"/>
              </a:cxn>
              <a:cxn ang="0">
                <a:pos x="connsiteX27333" y="connsiteY27333"/>
              </a:cxn>
              <a:cxn ang="0">
                <a:pos x="connsiteX27334" y="connsiteY27334"/>
              </a:cxn>
              <a:cxn ang="0">
                <a:pos x="connsiteX27335" y="connsiteY27335"/>
              </a:cxn>
              <a:cxn ang="0">
                <a:pos x="connsiteX27336" y="connsiteY27336"/>
              </a:cxn>
              <a:cxn ang="0">
                <a:pos x="connsiteX27337" y="connsiteY27337"/>
              </a:cxn>
              <a:cxn ang="0">
                <a:pos x="connsiteX27338" y="connsiteY27338"/>
              </a:cxn>
              <a:cxn ang="0">
                <a:pos x="connsiteX27339" y="connsiteY27339"/>
              </a:cxn>
              <a:cxn ang="0">
                <a:pos x="connsiteX27340" y="connsiteY27340"/>
              </a:cxn>
              <a:cxn ang="0">
                <a:pos x="connsiteX27341" y="connsiteY27341"/>
              </a:cxn>
              <a:cxn ang="0">
                <a:pos x="connsiteX27342" y="connsiteY27342"/>
              </a:cxn>
              <a:cxn ang="0">
                <a:pos x="connsiteX27343" y="connsiteY27343"/>
              </a:cxn>
              <a:cxn ang="0">
                <a:pos x="connsiteX27344" y="connsiteY27344"/>
              </a:cxn>
              <a:cxn ang="0">
                <a:pos x="connsiteX27345" y="connsiteY27345"/>
              </a:cxn>
              <a:cxn ang="0">
                <a:pos x="connsiteX27346" y="connsiteY27346"/>
              </a:cxn>
              <a:cxn ang="0">
                <a:pos x="connsiteX27347" y="connsiteY27347"/>
              </a:cxn>
              <a:cxn ang="0">
                <a:pos x="connsiteX27348" y="connsiteY27348"/>
              </a:cxn>
              <a:cxn ang="0">
                <a:pos x="connsiteX27349" y="connsiteY27349"/>
              </a:cxn>
              <a:cxn ang="0">
                <a:pos x="connsiteX27350" y="connsiteY27350"/>
              </a:cxn>
              <a:cxn ang="0">
                <a:pos x="connsiteX27351" y="connsiteY27351"/>
              </a:cxn>
              <a:cxn ang="0">
                <a:pos x="connsiteX27352" y="connsiteY27352"/>
              </a:cxn>
              <a:cxn ang="0">
                <a:pos x="connsiteX27353" y="connsiteY27353"/>
              </a:cxn>
              <a:cxn ang="0">
                <a:pos x="connsiteX27354" y="connsiteY27354"/>
              </a:cxn>
              <a:cxn ang="0">
                <a:pos x="connsiteX27355" y="connsiteY27355"/>
              </a:cxn>
              <a:cxn ang="0">
                <a:pos x="connsiteX27356" y="connsiteY27356"/>
              </a:cxn>
              <a:cxn ang="0">
                <a:pos x="connsiteX27357" y="connsiteY27357"/>
              </a:cxn>
              <a:cxn ang="0">
                <a:pos x="connsiteX27358" y="connsiteY27358"/>
              </a:cxn>
              <a:cxn ang="0">
                <a:pos x="connsiteX27359" y="connsiteY27359"/>
              </a:cxn>
              <a:cxn ang="0">
                <a:pos x="connsiteX27360" y="connsiteY27360"/>
              </a:cxn>
              <a:cxn ang="0">
                <a:pos x="connsiteX27361" y="connsiteY27361"/>
              </a:cxn>
              <a:cxn ang="0">
                <a:pos x="connsiteX27362" y="connsiteY27362"/>
              </a:cxn>
              <a:cxn ang="0">
                <a:pos x="connsiteX27363" y="connsiteY27363"/>
              </a:cxn>
              <a:cxn ang="0">
                <a:pos x="connsiteX27364" y="connsiteY27364"/>
              </a:cxn>
              <a:cxn ang="0">
                <a:pos x="connsiteX27365" y="connsiteY27365"/>
              </a:cxn>
              <a:cxn ang="0">
                <a:pos x="connsiteX27366" y="connsiteY27366"/>
              </a:cxn>
              <a:cxn ang="0">
                <a:pos x="connsiteX27367" y="connsiteY27367"/>
              </a:cxn>
              <a:cxn ang="0">
                <a:pos x="connsiteX27368" y="connsiteY27368"/>
              </a:cxn>
              <a:cxn ang="0">
                <a:pos x="connsiteX27369" y="connsiteY27369"/>
              </a:cxn>
              <a:cxn ang="0">
                <a:pos x="connsiteX27370" y="connsiteY27370"/>
              </a:cxn>
              <a:cxn ang="0">
                <a:pos x="connsiteX27371" y="connsiteY27371"/>
              </a:cxn>
              <a:cxn ang="0">
                <a:pos x="connsiteX27372" y="connsiteY27372"/>
              </a:cxn>
              <a:cxn ang="0">
                <a:pos x="connsiteX27373" y="connsiteY27373"/>
              </a:cxn>
              <a:cxn ang="0">
                <a:pos x="connsiteX27374" y="connsiteY27374"/>
              </a:cxn>
              <a:cxn ang="0">
                <a:pos x="connsiteX27375" y="connsiteY27375"/>
              </a:cxn>
              <a:cxn ang="0">
                <a:pos x="connsiteX27376" y="connsiteY27376"/>
              </a:cxn>
              <a:cxn ang="0">
                <a:pos x="connsiteX27377" y="connsiteY27377"/>
              </a:cxn>
              <a:cxn ang="0">
                <a:pos x="connsiteX27378" y="connsiteY27378"/>
              </a:cxn>
              <a:cxn ang="0">
                <a:pos x="connsiteX27379" y="connsiteY27379"/>
              </a:cxn>
              <a:cxn ang="0">
                <a:pos x="connsiteX27380" y="connsiteY27380"/>
              </a:cxn>
              <a:cxn ang="0">
                <a:pos x="connsiteX27381" y="connsiteY27381"/>
              </a:cxn>
              <a:cxn ang="0">
                <a:pos x="connsiteX27382" y="connsiteY27382"/>
              </a:cxn>
              <a:cxn ang="0">
                <a:pos x="connsiteX27383" y="connsiteY27383"/>
              </a:cxn>
              <a:cxn ang="0">
                <a:pos x="connsiteX27384" y="connsiteY27384"/>
              </a:cxn>
              <a:cxn ang="0">
                <a:pos x="connsiteX27385" y="connsiteY27385"/>
              </a:cxn>
              <a:cxn ang="0">
                <a:pos x="connsiteX27386" y="connsiteY27386"/>
              </a:cxn>
              <a:cxn ang="0">
                <a:pos x="connsiteX27387" y="connsiteY27387"/>
              </a:cxn>
              <a:cxn ang="0">
                <a:pos x="connsiteX27388" y="connsiteY27388"/>
              </a:cxn>
              <a:cxn ang="0">
                <a:pos x="connsiteX27389" y="connsiteY27389"/>
              </a:cxn>
              <a:cxn ang="0">
                <a:pos x="connsiteX27390" y="connsiteY27390"/>
              </a:cxn>
              <a:cxn ang="0">
                <a:pos x="connsiteX27391" y="connsiteY27391"/>
              </a:cxn>
              <a:cxn ang="0">
                <a:pos x="connsiteX27392" y="connsiteY27392"/>
              </a:cxn>
              <a:cxn ang="0">
                <a:pos x="connsiteX27393" y="connsiteY27393"/>
              </a:cxn>
              <a:cxn ang="0">
                <a:pos x="connsiteX27394" y="connsiteY27394"/>
              </a:cxn>
              <a:cxn ang="0">
                <a:pos x="connsiteX27395" y="connsiteY27395"/>
              </a:cxn>
              <a:cxn ang="0">
                <a:pos x="connsiteX27396" y="connsiteY27396"/>
              </a:cxn>
              <a:cxn ang="0">
                <a:pos x="connsiteX27397" y="connsiteY27397"/>
              </a:cxn>
              <a:cxn ang="0">
                <a:pos x="connsiteX27398" y="connsiteY27398"/>
              </a:cxn>
              <a:cxn ang="0">
                <a:pos x="connsiteX27399" y="connsiteY27399"/>
              </a:cxn>
              <a:cxn ang="0">
                <a:pos x="connsiteX27400" y="connsiteY27400"/>
              </a:cxn>
              <a:cxn ang="0">
                <a:pos x="connsiteX27401" y="connsiteY27401"/>
              </a:cxn>
              <a:cxn ang="0">
                <a:pos x="connsiteX27402" y="connsiteY27402"/>
              </a:cxn>
              <a:cxn ang="0">
                <a:pos x="connsiteX27403" y="connsiteY27403"/>
              </a:cxn>
              <a:cxn ang="0">
                <a:pos x="connsiteX27404" y="connsiteY27404"/>
              </a:cxn>
              <a:cxn ang="0">
                <a:pos x="connsiteX27405" y="connsiteY27405"/>
              </a:cxn>
              <a:cxn ang="0">
                <a:pos x="connsiteX27406" y="connsiteY27406"/>
              </a:cxn>
              <a:cxn ang="0">
                <a:pos x="connsiteX27407" y="connsiteY27407"/>
              </a:cxn>
              <a:cxn ang="0">
                <a:pos x="connsiteX27408" y="connsiteY27408"/>
              </a:cxn>
              <a:cxn ang="0">
                <a:pos x="connsiteX27409" y="connsiteY27409"/>
              </a:cxn>
              <a:cxn ang="0">
                <a:pos x="connsiteX27410" y="connsiteY27410"/>
              </a:cxn>
              <a:cxn ang="0">
                <a:pos x="connsiteX27411" y="connsiteY27411"/>
              </a:cxn>
              <a:cxn ang="0">
                <a:pos x="connsiteX27412" y="connsiteY27412"/>
              </a:cxn>
              <a:cxn ang="0">
                <a:pos x="connsiteX27413" y="connsiteY27413"/>
              </a:cxn>
              <a:cxn ang="0">
                <a:pos x="connsiteX27414" y="connsiteY27414"/>
              </a:cxn>
              <a:cxn ang="0">
                <a:pos x="connsiteX27415" y="connsiteY27415"/>
              </a:cxn>
              <a:cxn ang="0">
                <a:pos x="connsiteX27416" y="connsiteY27416"/>
              </a:cxn>
              <a:cxn ang="0">
                <a:pos x="connsiteX27417" y="connsiteY27417"/>
              </a:cxn>
              <a:cxn ang="0">
                <a:pos x="connsiteX27418" y="connsiteY27418"/>
              </a:cxn>
              <a:cxn ang="0">
                <a:pos x="connsiteX27419" y="connsiteY27419"/>
              </a:cxn>
              <a:cxn ang="0">
                <a:pos x="connsiteX27420" y="connsiteY27420"/>
              </a:cxn>
              <a:cxn ang="0">
                <a:pos x="connsiteX27421" y="connsiteY27421"/>
              </a:cxn>
              <a:cxn ang="0">
                <a:pos x="connsiteX27422" y="connsiteY27422"/>
              </a:cxn>
              <a:cxn ang="0">
                <a:pos x="connsiteX27423" y="connsiteY27423"/>
              </a:cxn>
              <a:cxn ang="0">
                <a:pos x="connsiteX27424" y="connsiteY27424"/>
              </a:cxn>
              <a:cxn ang="0">
                <a:pos x="connsiteX27425" y="connsiteY27425"/>
              </a:cxn>
              <a:cxn ang="0">
                <a:pos x="connsiteX27426" y="connsiteY27426"/>
              </a:cxn>
              <a:cxn ang="0">
                <a:pos x="connsiteX27427" y="connsiteY27427"/>
              </a:cxn>
              <a:cxn ang="0">
                <a:pos x="connsiteX27428" y="connsiteY27428"/>
              </a:cxn>
              <a:cxn ang="0">
                <a:pos x="connsiteX27429" y="connsiteY27429"/>
              </a:cxn>
              <a:cxn ang="0">
                <a:pos x="connsiteX27430" y="connsiteY27430"/>
              </a:cxn>
              <a:cxn ang="0">
                <a:pos x="connsiteX27431" y="connsiteY27431"/>
              </a:cxn>
              <a:cxn ang="0">
                <a:pos x="connsiteX27432" y="connsiteY27432"/>
              </a:cxn>
              <a:cxn ang="0">
                <a:pos x="connsiteX27433" y="connsiteY27433"/>
              </a:cxn>
              <a:cxn ang="0">
                <a:pos x="connsiteX27434" y="connsiteY27434"/>
              </a:cxn>
              <a:cxn ang="0">
                <a:pos x="connsiteX27435" y="connsiteY27435"/>
              </a:cxn>
              <a:cxn ang="0">
                <a:pos x="connsiteX27436" y="connsiteY27436"/>
              </a:cxn>
              <a:cxn ang="0">
                <a:pos x="connsiteX27437" y="connsiteY27437"/>
              </a:cxn>
              <a:cxn ang="0">
                <a:pos x="connsiteX27438" y="connsiteY27438"/>
              </a:cxn>
              <a:cxn ang="0">
                <a:pos x="connsiteX27439" y="connsiteY27439"/>
              </a:cxn>
              <a:cxn ang="0">
                <a:pos x="connsiteX27440" y="connsiteY27440"/>
              </a:cxn>
              <a:cxn ang="0">
                <a:pos x="connsiteX27441" y="connsiteY27441"/>
              </a:cxn>
              <a:cxn ang="0">
                <a:pos x="connsiteX27442" y="connsiteY27442"/>
              </a:cxn>
              <a:cxn ang="0">
                <a:pos x="connsiteX27443" y="connsiteY27443"/>
              </a:cxn>
              <a:cxn ang="0">
                <a:pos x="connsiteX27444" y="connsiteY27444"/>
              </a:cxn>
              <a:cxn ang="0">
                <a:pos x="connsiteX27445" y="connsiteY27445"/>
              </a:cxn>
              <a:cxn ang="0">
                <a:pos x="connsiteX27446" y="connsiteY27446"/>
              </a:cxn>
              <a:cxn ang="0">
                <a:pos x="connsiteX27447" y="connsiteY27447"/>
              </a:cxn>
              <a:cxn ang="0">
                <a:pos x="connsiteX27448" y="connsiteY27448"/>
              </a:cxn>
              <a:cxn ang="0">
                <a:pos x="connsiteX27449" y="connsiteY27449"/>
              </a:cxn>
              <a:cxn ang="0">
                <a:pos x="connsiteX27450" y="connsiteY27450"/>
              </a:cxn>
              <a:cxn ang="0">
                <a:pos x="connsiteX27451" y="connsiteY27451"/>
              </a:cxn>
              <a:cxn ang="0">
                <a:pos x="connsiteX27452" y="connsiteY27452"/>
              </a:cxn>
              <a:cxn ang="0">
                <a:pos x="connsiteX27453" y="connsiteY27453"/>
              </a:cxn>
              <a:cxn ang="0">
                <a:pos x="connsiteX27454" y="connsiteY27454"/>
              </a:cxn>
              <a:cxn ang="0">
                <a:pos x="connsiteX27455" y="connsiteY27455"/>
              </a:cxn>
              <a:cxn ang="0">
                <a:pos x="connsiteX27456" y="connsiteY27456"/>
              </a:cxn>
              <a:cxn ang="0">
                <a:pos x="connsiteX27457" y="connsiteY27457"/>
              </a:cxn>
              <a:cxn ang="0">
                <a:pos x="connsiteX27458" y="connsiteY27458"/>
              </a:cxn>
              <a:cxn ang="0">
                <a:pos x="connsiteX27459" y="connsiteY27459"/>
              </a:cxn>
              <a:cxn ang="0">
                <a:pos x="connsiteX27460" y="connsiteY27460"/>
              </a:cxn>
              <a:cxn ang="0">
                <a:pos x="connsiteX27461" y="connsiteY27461"/>
              </a:cxn>
              <a:cxn ang="0">
                <a:pos x="connsiteX27462" y="connsiteY27462"/>
              </a:cxn>
              <a:cxn ang="0">
                <a:pos x="connsiteX27463" y="connsiteY27463"/>
              </a:cxn>
              <a:cxn ang="0">
                <a:pos x="connsiteX27464" y="connsiteY27464"/>
              </a:cxn>
              <a:cxn ang="0">
                <a:pos x="connsiteX27465" y="connsiteY27465"/>
              </a:cxn>
              <a:cxn ang="0">
                <a:pos x="connsiteX27466" y="connsiteY27466"/>
              </a:cxn>
              <a:cxn ang="0">
                <a:pos x="connsiteX27467" y="connsiteY27467"/>
              </a:cxn>
              <a:cxn ang="0">
                <a:pos x="connsiteX27468" y="connsiteY27468"/>
              </a:cxn>
              <a:cxn ang="0">
                <a:pos x="connsiteX27469" y="connsiteY27469"/>
              </a:cxn>
              <a:cxn ang="0">
                <a:pos x="connsiteX27470" y="connsiteY27470"/>
              </a:cxn>
              <a:cxn ang="0">
                <a:pos x="connsiteX27471" y="connsiteY27471"/>
              </a:cxn>
              <a:cxn ang="0">
                <a:pos x="connsiteX27472" y="connsiteY27472"/>
              </a:cxn>
              <a:cxn ang="0">
                <a:pos x="connsiteX27473" y="connsiteY27473"/>
              </a:cxn>
              <a:cxn ang="0">
                <a:pos x="connsiteX27474" y="connsiteY27474"/>
              </a:cxn>
              <a:cxn ang="0">
                <a:pos x="connsiteX27475" y="connsiteY27475"/>
              </a:cxn>
              <a:cxn ang="0">
                <a:pos x="connsiteX27476" y="connsiteY27476"/>
              </a:cxn>
              <a:cxn ang="0">
                <a:pos x="connsiteX27477" y="connsiteY27477"/>
              </a:cxn>
              <a:cxn ang="0">
                <a:pos x="connsiteX27478" y="connsiteY27478"/>
              </a:cxn>
              <a:cxn ang="0">
                <a:pos x="connsiteX27479" y="connsiteY27479"/>
              </a:cxn>
              <a:cxn ang="0">
                <a:pos x="connsiteX27480" y="connsiteY27480"/>
              </a:cxn>
              <a:cxn ang="0">
                <a:pos x="connsiteX27481" y="connsiteY27481"/>
              </a:cxn>
              <a:cxn ang="0">
                <a:pos x="connsiteX27482" y="connsiteY27482"/>
              </a:cxn>
              <a:cxn ang="0">
                <a:pos x="connsiteX27483" y="connsiteY27483"/>
              </a:cxn>
              <a:cxn ang="0">
                <a:pos x="connsiteX27484" y="connsiteY27484"/>
              </a:cxn>
              <a:cxn ang="0">
                <a:pos x="connsiteX27485" y="connsiteY27485"/>
              </a:cxn>
              <a:cxn ang="0">
                <a:pos x="connsiteX27486" y="connsiteY27486"/>
              </a:cxn>
              <a:cxn ang="0">
                <a:pos x="connsiteX27487" y="connsiteY27487"/>
              </a:cxn>
              <a:cxn ang="0">
                <a:pos x="connsiteX27488" y="connsiteY27488"/>
              </a:cxn>
              <a:cxn ang="0">
                <a:pos x="connsiteX27489" y="connsiteY27489"/>
              </a:cxn>
              <a:cxn ang="0">
                <a:pos x="connsiteX27490" y="connsiteY27490"/>
              </a:cxn>
              <a:cxn ang="0">
                <a:pos x="connsiteX27491" y="connsiteY27491"/>
              </a:cxn>
              <a:cxn ang="0">
                <a:pos x="connsiteX27492" y="connsiteY27492"/>
              </a:cxn>
              <a:cxn ang="0">
                <a:pos x="connsiteX27493" y="connsiteY27493"/>
              </a:cxn>
              <a:cxn ang="0">
                <a:pos x="connsiteX27494" y="connsiteY27494"/>
              </a:cxn>
              <a:cxn ang="0">
                <a:pos x="connsiteX27495" y="connsiteY27495"/>
              </a:cxn>
              <a:cxn ang="0">
                <a:pos x="connsiteX27496" y="connsiteY27496"/>
              </a:cxn>
              <a:cxn ang="0">
                <a:pos x="connsiteX27497" y="connsiteY27497"/>
              </a:cxn>
              <a:cxn ang="0">
                <a:pos x="connsiteX27498" y="connsiteY27498"/>
              </a:cxn>
              <a:cxn ang="0">
                <a:pos x="connsiteX27499" y="connsiteY27499"/>
              </a:cxn>
              <a:cxn ang="0">
                <a:pos x="connsiteX27500" y="connsiteY27500"/>
              </a:cxn>
              <a:cxn ang="0">
                <a:pos x="connsiteX27501" y="connsiteY27501"/>
              </a:cxn>
              <a:cxn ang="0">
                <a:pos x="connsiteX27502" y="connsiteY27502"/>
              </a:cxn>
              <a:cxn ang="0">
                <a:pos x="connsiteX27503" y="connsiteY27503"/>
              </a:cxn>
              <a:cxn ang="0">
                <a:pos x="connsiteX27504" y="connsiteY27504"/>
              </a:cxn>
              <a:cxn ang="0">
                <a:pos x="connsiteX27505" y="connsiteY27505"/>
              </a:cxn>
              <a:cxn ang="0">
                <a:pos x="connsiteX27506" y="connsiteY27506"/>
              </a:cxn>
              <a:cxn ang="0">
                <a:pos x="connsiteX27507" y="connsiteY27507"/>
              </a:cxn>
              <a:cxn ang="0">
                <a:pos x="connsiteX27508" y="connsiteY27508"/>
              </a:cxn>
              <a:cxn ang="0">
                <a:pos x="connsiteX27509" y="connsiteY27509"/>
              </a:cxn>
              <a:cxn ang="0">
                <a:pos x="connsiteX27510" y="connsiteY27510"/>
              </a:cxn>
              <a:cxn ang="0">
                <a:pos x="connsiteX27511" y="connsiteY27511"/>
              </a:cxn>
              <a:cxn ang="0">
                <a:pos x="connsiteX27512" y="connsiteY27512"/>
              </a:cxn>
              <a:cxn ang="0">
                <a:pos x="connsiteX27513" y="connsiteY27513"/>
              </a:cxn>
              <a:cxn ang="0">
                <a:pos x="connsiteX27514" y="connsiteY27514"/>
              </a:cxn>
              <a:cxn ang="0">
                <a:pos x="connsiteX27515" y="connsiteY27515"/>
              </a:cxn>
              <a:cxn ang="0">
                <a:pos x="connsiteX27516" y="connsiteY27516"/>
              </a:cxn>
              <a:cxn ang="0">
                <a:pos x="connsiteX27517" y="connsiteY27517"/>
              </a:cxn>
              <a:cxn ang="0">
                <a:pos x="connsiteX27518" y="connsiteY27518"/>
              </a:cxn>
              <a:cxn ang="0">
                <a:pos x="connsiteX27519" y="connsiteY27519"/>
              </a:cxn>
              <a:cxn ang="0">
                <a:pos x="connsiteX27520" y="connsiteY27520"/>
              </a:cxn>
              <a:cxn ang="0">
                <a:pos x="connsiteX27521" y="connsiteY27521"/>
              </a:cxn>
              <a:cxn ang="0">
                <a:pos x="connsiteX27522" y="connsiteY27522"/>
              </a:cxn>
              <a:cxn ang="0">
                <a:pos x="connsiteX27523" y="connsiteY27523"/>
              </a:cxn>
              <a:cxn ang="0">
                <a:pos x="connsiteX27524" y="connsiteY27524"/>
              </a:cxn>
              <a:cxn ang="0">
                <a:pos x="connsiteX27525" y="connsiteY27525"/>
              </a:cxn>
              <a:cxn ang="0">
                <a:pos x="connsiteX27526" y="connsiteY27526"/>
              </a:cxn>
              <a:cxn ang="0">
                <a:pos x="connsiteX27527" y="connsiteY27527"/>
              </a:cxn>
              <a:cxn ang="0">
                <a:pos x="connsiteX27528" y="connsiteY27528"/>
              </a:cxn>
              <a:cxn ang="0">
                <a:pos x="connsiteX27529" y="connsiteY27529"/>
              </a:cxn>
              <a:cxn ang="0">
                <a:pos x="connsiteX27530" y="connsiteY27530"/>
              </a:cxn>
              <a:cxn ang="0">
                <a:pos x="connsiteX27531" y="connsiteY27531"/>
              </a:cxn>
              <a:cxn ang="0">
                <a:pos x="connsiteX27532" y="connsiteY27532"/>
              </a:cxn>
              <a:cxn ang="0">
                <a:pos x="connsiteX27533" y="connsiteY27533"/>
              </a:cxn>
              <a:cxn ang="0">
                <a:pos x="connsiteX27534" y="connsiteY27534"/>
              </a:cxn>
              <a:cxn ang="0">
                <a:pos x="connsiteX27535" y="connsiteY27535"/>
              </a:cxn>
              <a:cxn ang="0">
                <a:pos x="connsiteX27536" y="connsiteY27536"/>
              </a:cxn>
              <a:cxn ang="0">
                <a:pos x="connsiteX27537" y="connsiteY27537"/>
              </a:cxn>
              <a:cxn ang="0">
                <a:pos x="connsiteX27538" y="connsiteY27538"/>
              </a:cxn>
              <a:cxn ang="0">
                <a:pos x="connsiteX27539" y="connsiteY27539"/>
              </a:cxn>
              <a:cxn ang="0">
                <a:pos x="connsiteX27540" y="connsiteY27540"/>
              </a:cxn>
              <a:cxn ang="0">
                <a:pos x="connsiteX27541" y="connsiteY27541"/>
              </a:cxn>
              <a:cxn ang="0">
                <a:pos x="connsiteX27542" y="connsiteY27542"/>
              </a:cxn>
              <a:cxn ang="0">
                <a:pos x="connsiteX27543" y="connsiteY27543"/>
              </a:cxn>
              <a:cxn ang="0">
                <a:pos x="connsiteX27544" y="connsiteY27544"/>
              </a:cxn>
              <a:cxn ang="0">
                <a:pos x="connsiteX27545" y="connsiteY27545"/>
              </a:cxn>
              <a:cxn ang="0">
                <a:pos x="connsiteX27546" y="connsiteY27546"/>
              </a:cxn>
              <a:cxn ang="0">
                <a:pos x="connsiteX27547" y="connsiteY27547"/>
              </a:cxn>
              <a:cxn ang="0">
                <a:pos x="connsiteX27548" y="connsiteY27548"/>
              </a:cxn>
              <a:cxn ang="0">
                <a:pos x="connsiteX27549" y="connsiteY27549"/>
              </a:cxn>
              <a:cxn ang="0">
                <a:pos x="connsiteX27550" y="connsiteY27550"/>
              </a:cxn>
              <a:cxn ang="0">
                <a:pos x="connsiteX27551" y="connsiteY27551"/>
              </a:cxn>
              <a:cxn ang="0">
                <a:pos x="connsiteX27552" y="connsiteY27552"/>
              </a:cxn>
              <a:cxn ang="0">
                <a:pos x="connsiteX27553" y="connsiteY27553"/>
              </a:cxn>
              <a:cxn ang="0">
                <a:pos x="connsiteX27554" y="connsiteY27554"/>
              </a:cxn>
              <a:cxn ang="0">
                <a:pos x="connsiteX27555" y="connsiteY27555"/>
              </a:cxn>
              <a:cxn ang="0">
                <a:pos x="connsiteX27556" y="connsiteY27556"/>
              </a:cxn>
              <a:cxn ang="0">
                <a:pos x="connsiteX27557" y="connsiteY27557"/>
              </a:cxn>
              <a:cxn ang="0">
                <a:pos x="connsiteX27558" y="connsiteY27558"/>
              </a:cxn>
              <a:cxn ang="0">
                <a:pos x="connsiteX27559" y="connsiteY27559"/>
              </a:cxn>
              <a:cxn ang="0">
                <a:pos x="connsiteX27560" y="connsiteY27560"/>
              </a:cxn>
              <a:cxn ang="0">
                <a:pos x="connsiteX27561" y="connsiteY27561"/>
              </a:cxn>
              <a:cxn ang="0">
                <a:pos x="connsiteX27562" y="connsiteY27562"/>
              </a:cxn>
              <a:cxn ang="0">
                <a:pos x="connsiteX27563" y="connsiteY27563"/>
              </a:cxn>
              <a:cxn ang="0">
                <a:pos x="connsiteX27564" y="connsiteY27564"/>
              </a:cxn>
              <a:cxn ang="0">
                <a:pos x="connsiteX27565" y="connsiteY27565"/>
              </a:cxn>
              <a:cxn ang="0">
                <a:pos x="connsiteX27566" y="connsiteY27566"/>
              </a:cxn>
              <a:cxn ang="0">
                <a:pos x="connsiteX27567" y="connsiteY27567"/>
              </a:cxn>
              <a:cxn ang="0">
                <a:pos x="connsiteX27568" y="connsiteY27568"/>
              </a:cxn>
              <a:cxn ang="0">
                <a:pos x="connsiteX27569" y="connsiteY27569"/>
              </a:cxn>
              <a:cxn ang="0">
                <a:pos x="connsiteX27570" y="connsiteY27570"/>
              </a:cxn>
              <a:cxn ang="0">
                <a:pos x="connsiteX27571" y="connsiteY27571"/>
              </a:cxn>
              <a:cxn ang="0">
                <a:pos x="connsiteX27572" y="connsiteY27572"/>
              </a:cxn>
              <a:cxn ang="0">
                <a:pos x="connsiteX27573" y="connsiteY27573"/>
              </a:cxn>
              <a:cxn ang="0">
                <a:pos x="connsiteX27574" y="connsiteY27574"/>
              </a:cxn>
              <a:cxn ang="0">
                <a:pos x="connsiteX27575" y="connsiteY27575"/>
              </a:cxn>
              <a:cxn ang="0">
                <a:pos x="connsiteX27576" y="connsiteY27576"/>
              </a:cxn>
              <a:cxn ang="0">
                <a:pos x="connsiteX27577" y="connsiteY27577"/>
              </a:cxn>
              <a:cxn ang="0">
                <a:pos x="connsiteX27578" y="connsiteY27578"/>
              </a:cxn>
              <a:cxn ang="0">
                <a:pos x="connsiteX27579" y="connsiteY27579"/>
              </a:cxn>
              <a:cxn ang="0">
                <a:pos x="connsiteX27580" y="connsiteY27580"/>
              </a:cxn>
              <a:cxn ang="0">
                <a:pos x="connsiteX27581" y="connsiteY27581"/>
              </a:cxn>
              <a:cxn ang="0">
                <a:pos x="connsiteX27582" y="connsiteY27582"/>
              </a:cxn>
              <a:cxn ang="0">
                <a:pos x="connsiteX27583" y="connsiteY27583"/>
              </a:cxn>
              <a:cxn ang="0">
                <a:pos x="connsiteX27584" y="connsiteY27584"/>
              </a:cxn>
              <a:cxn ang="0">
                <a:pos x="connsiteX27585" y="connsiteY27585"/>
              </a:cxn>
              <a:cxn ang="0">
                <a:pos x="connsiteX27586" y="connsiteY27586"/>
              </a:cxn>
              <a:cxn ang="0">
                <a:pos x="connsiteX27587" y="connsiteY27587"/>
              </a:cxn>
              <a:cxn ang="0">
                <a:pos x="connsiteX27588" y="connsiteY27588"/>
              </a:cxn>
              <a:cxn ang="0">
                <a:pos x="connsiteX27589" y="connsiteY27589"/>
              </a:cxn>
              <a:cxn ang="0">
                <a:pos x="connsiteX27590" y="connsiteY27590"/>
              </a:cxn>
              <a:cxn ang="0">
                <a:pos x="connsiteX27591" y="connsiteY27591"/>
              </a:cxn>
              <a:cxn ang="0">
                <a:pos x="connsiteX27592" y="connsiteY27592"/>
              </a:cxn>
              <a:cxn ang="0">
                <a:pos x="connsiteX27593" y="connsiteY27593"/>
              </a:cxn>
              <a:cxn ang="0">
                <a:pos x="connsiteX27594" y="connsiteY27594"/>
              </a:cxn>
              <a:cxn ang="0">
                <a:pos x="connsiteX27595" y="connsiteY27595"/>
              </a:cxn>
              <a:cxn ang="0">
                <a:pos x="connsiteX27596" y="connsiteY27596"/>
              </a:cxn>
              <a:cxn ang="0">
                <a:pos x="connsiteX27597" y="connsiteY27597"/>
              </a:cxn>
              <a:cxn ang="0">
                <a:pos x="connsiteX27598" y="connsiteY27598"/>
              </a:cxn>
              <a:cxn ang="0">
                <a:pos x="connsiteX27599" y="connsiteY27599"/>
              </a:cxn>
              <a:cxn ang="0">
                <a:pos x="connsiteX27600" y="connsiteY27600"/>
              </a:cxn>
              <a:cxn ang="0">
                <a:pos x="connsiteX27601" y="connsiteY27601"/>
              </a:cxn>
              <a:cxn ang="0">
                <a:pos x="connsiteX27602" y="connsiteY27602"/>
              </a:cxn>
              <a:cxn ang="0">
                <a:pos x="connsiteX27603" y="connsiteY27603"/>
              </a:cxn>
              <a:cxn ang="0">
                <a:pos x="connsiteX27604" y="connsiteY27604"/>
              </a:cxn>
              <a:cxn ang="0">
                <a:pos x="connsiteX27605" y="connsiteY27605"/>
              </a:cxn>
              <a:cxn ang="0">
                <a:pos x="connsiteX27606" y="connsiteY27606"/>
              </a:cxn>
              <a:cxn ang="0">
                <a:pos x="connsiteX27607" y="connsiteY27607"/>
              </a:cxn>
              <a:cxn ang="0">
                <a:pos x="connsiteX27608" y="connsiteY27608"/>
              </a:cxn>
              <a:cxn ang="0">
                <a:pos x="connsiteX27609" y="connsiteY27609"/>
              </a:cxn>
              <a:cxn ang="0">
                <a:pos x="connsiteX27610" y="connsiteY27610"/>
              </a:cxn>
              <a:cxn ang="0">
                <a:pos x="connsiteX27611" y="connsiteY27611"/>
              </a:cxn>
              <a:cxn ang="0">
                <a:pos x="connsiteX27612" y="connsiteY27612"/>
              </a:cxn>
              <a:cxn ang="0">
                <a:pos x="connsiteX27613" y="connsiteY27613"/>
              </a:cxn>
              <a:cxn ang="0">
                <a:pos x="connsiteX27614" y="connsiteY27614"/>
              </a:cxn>
              <a:cxn ang="0">
                <a:pos x="connsiteX27615" y="connsiteY27615"/>
              </a:cxn>
              <a:cxn ang="0">
                <a:pos x="connsiteX27616" y="connsiteY27616"/>
              </a:cxn>
              <a:cxn ang="0">
                <a:pos x="connsiteX27617" y="connsiteY27617"/>
              </a:cxn>
              <a:cxn ang="0">
                <a:pos x="connsiteX27618" y="connsiteY27618"/>
              </a:cxn>
              <a:cxn ang="0">
                <a:pos x="connsiteX27619" y="connsiteY27619"/>
              </a:cxn>
              <a:cxn ang="0">
                <a:pos x="connsiteX27620" y="connsiteY27620"/>
              </a:cxn>
              <a:cxn ang="0">
                <a:pos x="connsiteX27621" y="connsiteY27621"/>
              </a:cxn>
              <a:cxn ang="0">
                <a:pos x="connsiteX27622" y="connsiteY27622"/>
              </a:cxn>
              <a:cxn ang="0">
                <a:pos x="connsiteX27623" y="connsiteY27623"/>
              </a:cxn>
              <a:cxn ang="0">
                <a:pos x="connsiteX27624" y="connsiteY27624"/>
              </a:cxn>
              <a:cxn ang="0">
                <a:pos x="connsiteX27625" y="connsiteY27625"/>
              </a:cxn>
              <a:cxn ang="0">
                <a:pos x="connsiteX27626" y="connsiteY27626"/>
              </a:cxn>
              <a:cxn ang="0">
                <a:pos x="connsiteX27627" y="connsiteY27627"/>
              </a:cxn>
              <a:cxn ang="0">
                <a:pos x="connsiteX27628" y="connsiteY27628"/>
              </a:cxn>
              <a:cxn ang="0">
                <a:pos x="connsiteX27629" y="connsiteY27629"/>
              </a:cxn>
              <a:cxn ang="0">
                <a:pos x="connsiteX27630" y="connsiteY27630"/>
              </a:cxn>
              <a:cxn ang="0">
                <a:pos x="connsiteX27631" y="connsiteY27631"/>
              </a:cxn>
              <a:cxn ang="0">
                <a:pos x="connsiteX27632" y="connsiteY27632"/>
              </a:cxn>
              <a:cxn ang="0">
                <a:pos x="connsiteX27633" y="connsiteY27633"/>
              </a:cxn>
              <a:cxn ang="0">
                <a:pos x="connsiteX27634" y="connsiteY27634"/>
              </a:cxn>
              <a:cxn ang="0">
                <a:pos x="connsiteX27635" y="connsiteY27635"/>
              </a:cxn>
              <a:cxn ang="0">
                <a:pos x="connsiteX27636" y="connsiteY27636"/>
              </a:cxn>
              <a:cxn ang="0">
                <a:pos x="connsiteX27637" y="connsiteY27637"/>
              </a:cxn>
              <a:cxn ang="0">
                <a:pos x="connsiteX27638" y="connsiteY27638"/>
              </a:cxn>
              <a:cxn ang="0">
                <a:pos x="connsiteX27639" y="connsiteY27639"/>
              </a:cxn>
              <a:cxn ang="0">
                <a:pos x="connsiteX27640" y="connsiteY27640"/>
              </a:cxn>
              <a:cxn ang="0">
                <a:pos x="connsiteX27641" y="connsiteY27641"/>
              </a:cxn>
              <a:cxn ang="0">
                <a:pos x="connsiteX27642" y="connsiteY27642"/>
              </a:cxn>
              <a:cxn ang="0">
                <a:pos x="connsiteX27643" y="connsiteY27643"/>
              </a:cxn>
              <a:cxn ang="0">
                <a:pos x="connsiteX27644" y="connsiteY27644"/>
              </a:cxn>
              <a:cxn ang="0">
                <a:pos x="connsiteX27645" y="connsiteY27645"/>
              </a:cxn>
              <a:cxn ang="0">
                <a:pos x="connsiteX27646" y="connsiteY27646"/>
              </a:cxn>
              <a:cxn ang="0">
                <a:pos x="connsiteX27647" y="connsiteY27647"/>
              </a:cxn>
              <a:cxn ang="0">
                <a:pos x="connsiteX27648" y="connsiteY27648"/>
              </a:cxn>
              <a:cxn ang="0">
                <a:pos x="connsiteX27649" y="connsiteY27649"/>
              </a:cxn>
              <a:cxn ang="0">
                <a:pos x="connsiteX27650" y="connsiteY27650"/>
              </a:cxn>
              <a:cxn ang="0">
                <a:pos x="connsiteX27651" y="connsiteY27651"/>
              </a:cxn>
              <a:cxn ang="0">
                <a:pos x="connsiteX27652" y="connsiteY27652"/>
              </a:cxn>
              <a:cxn ang="0">
                <a:pos x="connsiteX27653" y="connsiteY27653"/>
              </a:cxn>
              <a:cxn ang="0">
                <a:pos x="connsiteX27654" y="connsiteY27654"/>
              </a:cxn>
              <a:cxn ang="0">
                <a:pos x="connsiteX27655" y="connsiteY27655"/>
              </a:cxn>
              <a:cxn ang="0">
                <a:pos x="connsiteX27656" y="connsiteY27656"/>
              </a:cxn>
              <a:cxn ang="0">
                <a:pos x="connsiteX27657" y="connsiteY27657"/>
              </a:cxn>
              <a:cxn ang="0">
                <a:pos x="connsiteX27658" y="connsiteY27658"/>
              </a:cxn>
              <a:cxn ang="0">
                <a:pos x="connsiteX27659" y="connsiteY27659"/>
              </a:cxn>
              <a:cxn ang="0">
                <a:pos x="connsiteX27660" y="connsiteY27660"/>
              </a:cxn>
              <a:cxn ang="0">
                <a:pos x="connsiteX27661" y="connsiteY27661"/>
              </a:cxn>
              <a:cxn ang="0">
                <a:pos x="connsiteX27662" y="connsiteY27662"/>
              </a:cxn>
              <a:cxn ang="0">
                <a:pos x="connsiteX27663" y="connsiteY27663"/>
              </a:cxn>
              <a:cxn ang="0">
                <a:pos x="connsiteX27664" y="connsiteY27664"/>
              </a:cxn>
              <a:cxn ang="0">
                <a:pos x="connsiteX27665" y="connsiteY27665"/>
              </a:cxn>
              <a:cxn ang="0">
                <a:pos x="connsiteX27666" y="connsiteY27666"/>
              </a:cxn>
              <a:cxn ang="0">
                <a:pos x="connsiteX27667" y="connsiteY27667"/>
              </a:cxn>
              <a:cxn ang="0">
                <a:pos x="connsiteX27668" y="connsiteY27668"/>
              </a:cxn>
              <a:cxn ang="0">
                <a:pos x="connsiteX27669" y="connsiteY27669"/>
              </a:cxn>
              <a:cxn ang="0">
                <a:pos x="connsiteX27670" y="connsiteY27670"/>
              </a:cxn>
              <a:cxn ang="0">
                <a:pos x="connsiteX27671" y="connsiteY27671"/>
              </a:cxn>
              <a:cxn ang="0">
                <a:pos x="connsiteX27672" y="connsiteY27672"/>
              </a:cxn>
              <a:cxn ang="0">
                <a:pos x="connsiteX27673" y="connsiteY27673"/>
              </a:cxn>
              <a:cxn ang="0">
                <a:pos x="connsiteX27674" y="connsiteY27674"/>
              </a:cxn>
              <a:cxn ang="0">
                <a:pos x="connsiteX27675" y="connsiteY27675"/>
              </a:cxn>
              <a:cxn ang="0">
                <a:pos x="connsiteX27676" y="connsiteY27676"/>
              </a:cxn>
              <a:cxn ang="0">
                <a:pos x="connsiteX27677" y="connsiteY27677"/>
              </a:cxn>
              <a:cxn ang="0">
                <a:pos x="connsiteX27678" y="connsiteY27678"/>
              </a:cxn>
              <a:cxn ang="0">
                <a:pos x="connsiteX27679" y="connsiteY27679"/>
              </a:cxn>
              <a:cxn ang="0">
                <a:pos x="connsiteX27680" y="connsiteY27680"/>
              </a:cxn>
              <a:cxn ang="0">
                <a:pos x="connsiteX27681" y="connsiteY27681"/>
              </a:cxn>
              <a:cxn ang="0">
                <a:pos x="connsiteX27682" y="connsiteY27682"/>
              </a:cxn>
              <a:cxn ang="0">
                <a:pos x="connsiteX27683" y="connsiteY27683"/>
              </a:cxn>
              <a:cxn ang="0">
                <a:pos x="connsiteX27684" y="connsiteY27684"/>
              </a:cxn>
              <a:cxn ang="0">
                <a:pos x="connsiteX27685" y="connsiteY27685"/>
              </a:cxn>
              <a:cxn ang="0">
                <a:pos x="connsiteX27686" y="connsiteY27686"/>
              </a:cxn>
              <a:cxn ang="0">
                <a:pos x="connsiteX27687" y="connsiteY27687"/>
              </a:cxn>
              <a:cxn ang="0">
                <a:pos x="connsiteX27688" y="connsiteY27688"/>
              </a:cxn>
              <a:cxn ang="0">
                <a:pos x="connsiteX27689" y="connsiteY27689"/>
              </a:cxn>
              <a:cxn ang="0">
                <a:pos x="connsiteX27690" y="connsiteY27690"/>
              </a:cxn>
              <a:cxn ang="0">
                <a:pos x="connsiteX27691" y="connsiteY27691"/>
              </a:cxn>
              <a:cxn ang="0">
                <a:pos x="connsiteX27692" y="connsiteY27692"/>
              </a:cxn>
              <a:cxn ang="0">
                <a:pos x="connsiteX27693" y="connsiteY27693"/>
              </a:cxn>
              <a:cxn ang="0">
                <a:pos x="connsiteX27694" y="connsiteY27694"/>
              </a:cxn>
              <a:cxn ang="0">
                <a:pos x="connsiteX27695" y="connsiteY27695"/>
              </a:cxn>
              <a:cxn ang="0">
                <a:pos x="connsiteX27696" y="connsiteY27696"/>
              </a:cxn>
              <a:cxn ang="0">
                <a:pos x="connsiteX27697" y="connsiteY27697"/>
              </a:cxn>
              <a:cxn ang="0">
                <a:pos x="connsiteX27698" y="connsiteY27698"/>
              </a:cxn>
              <a:cxn ang="0">
                <a:pos x="connsiteX27699" y="connsiteY27699"/>
              </a:cxn>
              <a:cxn ang="0">
                <a:pos x="connsiteX27700" y="connsiteY27700"/>
              </a:cxn>
              <a:cxn ang="0">
                <a:pos x="connsiteX27701" y="connsiteY27701"/>
              </a:cxn>
              <a:cxn ang="0">
                <a:pos x="connsiteX27702" y="connsiteY27702"/>
              </a:cxn>
              <a:cxn ang="0">
                <a:pos x="connsiteX27703" y="connsiteY27703"/>
              </a:cxn>
              <a:cxn ang="0">
                <a:pos x="connsiteX27704" y="connsiteY27704"/>
              </a:cxn>
              <a:cxn ang="0">
                <a:pos x="connsiteX27705" y="connsiteY27705"/>
              </a:cxn>
              <a:cxn ang="0">
                <a:pos x="connsiteX27706" y="connsiteY27706"/>
              </a:cxn>
              <a:cxn ang="0">
                <a:pos x="connsiteX27707" y="connsiteY27707"/>
              </a:cxn>
              <a:cxn ang="0">
                <a:pos x="connsiteX27708" y="connsiteY27708"/>
              </a:cxn>
              <a:cxn ang="0">
                <a:pos x="connsiteX27709" y="connsiteY27709"/>
              </a:cxn>
              <a:cxn ang="0">
                <a:pos x="connsiteX27710" y="connsiteY27710"/>
              </a:cxn>
              <a:cxn ang="0">
                <a:pos x="connsiteX27711" y="connsiteY27711"/>
              </a:cxn>
              <a:cxn ang="0">
                <a:pos x="connsiteX27712" y="connsiteY27712"/>
              </a:cxn>
              <a:cxn ang="0">
                <a:pos x="connsiteX27713" y="connsiteY27713"/>
              </a:cxn>
              <a:cxn ang="0">
                <a:pos x="connsiteX27714" y="connsiteY27714"/>
              </a:cxn>
              <a:cxn ang="0">
                <a:pos x="connsiteX27715" y="connsiteY27715"/>
              </a:cxn>
              <a:cxn ang="0">
                <a:pos x="connsiteX27716" y="connsiteY27716"/>
              </a:cxn>
              <a:cxn ang="0">
                <a:pos x="connsiteX27717" y="connsiteY27717"/>
              </a:cxn>
              <a:cxn ang="0">
                <a:pos x="connsiteX27718" y="connsiteY27718"/>
              </a:cxn>
              <a:cxn ang="0">
                <a:pos x="connsiteX27719" y="connsiteY27719"/>
              </a:cxn>
              <a:cxn ang="0">
                <a:pos x="connsiteX27720" y="connsiteY27720"/>
              </a:cxn>
              <a:cxn ang="0">
                <a:pos x="connsiteX27721" y="connsiteY27721"/>
              </a:cxn>
              <a:cxn ang="0">
                <a:pos x="connsiteX27722" y="connsiteY27722"/>
              </a:cxn>
              <a:cxn ang="0">
                <a:pos x="connsiteX27723" y="connsiteY27723"/>
              </a:cxn>
              <a:cxn ang="0">
                <a:pos x="connsiteX27724" y="connsiteY27724"/>
              </a:cxn>
              <a:cxn ang="0">
                <a:pos x="connsiteX27725" y="connsiteY27725"/>
              </a:cxn>
              <a:cxn ang="0">
                <a:pos x="connsiteX27726" y="connsiteY27726"/>
              </a:cxn>
              <a:cxn ang="0">
                <a:pos x="connsiteX27727" y="connsiteY27727"/>
              </a:cxn>
              <a:cxn ang="0">
                <a:pos x="connsiteX27728" y="connsiteY27728"/>
              </a:cxn>
              <a:cxn ang="0">
                <a:pos x="connsiteX27729" y="connsiteY27729"/>
              </a:cxn>
              <a:cxn ang="0">
                <a:pos x="connsiteX27730" y="connsiteY27730"/>
              </a:cxn>
              <a:cxn ang="0">
                <a:pos x="connsiteX27731" y="connsiteY27731"/>
              </a:cxn>
              <a:cxn ang="0">
                <a:pos x="connsiteX27732" y="connsiteY27732"/>
              </a:cxn>
              <a:cxn ang="0">
                <a:pos x="connsiteX27733" y="connsiteY27733"/>
              </a:cxn>
              <a:cxn ang="0">
                <a:pos x="connsiteX27734" y="connsiteY27734"/>
              </a:cxn>
              <a:cxn ang="0">
                <a:pos x="connsiteX27735" y="connsiteY27735"/>
              </a:cxn>
              <a:cxn ang="0">
                <a:pos x="connsiteX27736" y="connsiteY27736"/>
              </a:cxn>
              <a:cxn ang="0">
                <a:pos x="connsiteX27737" y="connsiteY27737"/>
              </a:cxn>
              <a:cxn ang="0">
                <a:pos x="connsiteX27738" y="connsiteY27738"/>
              </a:cxn>
              <a:cxn ang="0">
                <a:pos x="connsiteX27739" y="connsiteY27739"/>
              </a:cxn>
              <a:cxn ang="0">
                <a:pos x="connsiteX27740" y="connsiteY27740"/>
              </a:cxn>
              <a:cxn ang="0">
                <a:pos x="connsiteX27741" y="connsiteY27741"/>
              </a:cxn>
              <a:cxn ang="0">
                <a:pos x="connsiteX27742" y="connsiteY27742"/>
              </a:cxn>
              <a:cxn ang="0">
                <a:pos x="connsiteX27743" y="connsiteY27743"/>
              </a:cxn>
              <a:cxn ang="0">
                <a:pos x="connsiteX27744" y="connsiteY27744"/>
              </a:cxn>
              <a:cxn ang="0">
                <a:pos x="connsiteX27745" y="connsiteY27745"/>
              </a:cxn>
              <a:cxn ang="0">
                <a:pos x="connsiteX27746" y="connsiteY27746"/>
              </a:cxn>
              <a:cxn ang="0">
                <a:pos x="connsiteX27747" y="connsiteY27747"/>
              </a:cxn>
              <a:cxn ang="0">
                <a:pos x="connsiteX27748" y="connsiteY27748"/>
              </a:cxn>
              <a:cxn ang="0">
                <a:pos x="connsiteX27749" y="connsiteY27749"/>
              </a:cxn>
              <a:cxn ang="0">
                <a:pos x="connsiteX27750" y="connsiteY27750"/>
              </a:cxn>
              <a:cxn ang="0">
                <a:pos x="connsiteX27751" y="connsiteY27751"/>
              </a:cxn>
              <a:cxn ang="0">
                <a:pos x="connsiteX27752" y="connsiteY27752"/>
              </a:cxn>
              <a:cxn ang="0">
                <a:pos x="connsiteX27753" y="connsiteY27753"/>
              </a:cxn>
              <a:cxn ang="0">
                <a:pos x="connsiteX27754" y="connsiteY27754"/>
              </a:cxn>
              <a:cxn ang="0">
                <a:pos x="connsiteX27755" y="connsiteY27755"/>
              </a:cxn>
              <a:cxn ang="0">
                <a:pos x="connsiteX27756" y="connsiteY27756"/>
              </a:cxn>
              <a:cxn ang="0">
                <a:pos x="connsiteX27757" y="connsiteY27757"/>
              </a:cxn>
              <a:cxn ang="0">
                <a:pos x="connsiteX27758" y="connsiteY27758"/>
              </a:cxn>
              <a:cxn ang="0">
                <a:pos x="connsiteX27759" y="connsiteY27759"/>
              </a:cxn>
              <a:cxn ang="0">
                <a:pos x="connsiteX27760" y="connsiteY27760"/>
              </a:cxn>
              <a:cxn ang="0">
                <a:pos x="connsiteX27761" y="connsiteY27761"/>
              </a:cxn>
              <a:cxn ang="0">
                <a:pos x="connsiteX27762" y="connsiteY27762"/>
              </a:cxn>
              <a:cxn ang="0">
                <a:pos x="connsiteX27763" y="connsiteY27763"/>
              </a:cxn>
              <a:cxn ang="0">
                <a:pos x="connsiteX27764" y="connsiteY27764"/>
              </a:cxn>
              <a:cxn ang="0">
                <a:pos x="connsiteX27765" y="connsiteY27765"/>
              </a:cxn>
              <a:cxn ang="0">
                <a:pos x="connsiteX27766" y="connsiteY27766"/>
              </a:cxn>
              <a:cxn ang="0">
                <a:pos x="connsiteX27767" y="connsiteY27767"/>
              </a:cxn>
              <a:cxn ang="0">
                <a:pos x="connsiteX27768" y="connsiteY27768"/>
              </a:cxn>
              <a:cxn ang="0">
                <a:pos x="connsiteX27769" y="connsiteY27769"/>
              </a:cxn>
              <a:cxn ang="0">
                <a:pos x="connsiteX27770" y="connsiteY27770"/>
              </a:cxn>
              <a:cxn ang="0">
                <a:pos x="connsiteX27771" y="connsiteY27771"/>
              </a:cxn>
              <a:cxn ang="0">
                <a:pos x="connsiteX27772" y="connsiteY27772"/>
              </a:cxn>
              <a:cxn ang="0">
                <a:pos x="connsiteX27773" y="connsiteY27773"/>
              </a:cxn>
              <a:cxn ang="0">
                <a:pos x="connsiteX27774" y="connsiteY27774"/>
              </a:cxn>
              <a:cxn ang="0">
                <a:pos x="connsiteX27775" y="connsiteY27775"/>
              </a:cxn>
              <a:cxn ang="0">
                <a:pos x="connsiteX27776" y="connsiteY27776"/>
              </a:cxn>
              <a:cxn ang="0">
                <a:pos x="connsiteX27777" y="connsiteY27777"/>
              </a:cxn>
              <a:cxn ang="0">
                <a:pos x="connsiteX27778" y="connsiteY27778"/>
              </a:cxn>
              <a:cxn ang="0">
                <a:pos x="connsiteX27779" y="connsiteY27779"/>
              </a:cxn>
              <a:cxn ang="0">
                <a:pos x="connsiteX27780" y="connsiteY27780"/>
              </a:cxn>
              <a:cxn ang="0">
                <a:pos x="connsiteX27781" y="connsiteY27781"/>
              </a:cxn>
              <a:cxn ang="0">
                <a:pos x="connsiteX27782" y="connsiteY27782"/>
              </a:cxn>
              <a:cxn ang="0">
                <a:pos x="connsiteX27783" y="connsiteY27783"/>
              </a:cxn>
              <a:cxn ang="0">
                <a:pos x="connsiteX27784" y="connsiteY27784"/>
              </a:cxn>
              <a:cxn ang="0">
                <a:pos x="connsiteX27785" y="connsiteY27785"/>
              </a:cxn>
              <a:cxn ang="0">
                <a:pos x="connsiteX27786" y="connsiteY27786"/>
              </a:cxn>
              <a:cxn ang="0">
                <a:pos x="connsiteX27787" y="connsiteY27787"/>
              </a:cxn>
              <a:cxn ang="0">
                <a:pos x="connsiteX27788" y="connsiteY27788"/>
              </a:cxn>
              <a:cxn ang="0">
                <a:pos x="connsiteX27789" y="connsiteY27789"/>
              </a:cxn>
              <a:cxn ang="0">
                <a:pos x="connsiteX27790" y="connsiteY27790"/>
              </a:cxn>
              <a:cxn ang="0">
                <a:pos x="connsiteX27791" y="connsiteY27791"/>
              </a:cxn>
              <a:cxn ang="0">
                <a:pos x="connsiteX27792" y="connsiteY27792"/>
              </a:cxn>
              <a:cxn ang="0">
                <a:pos x="connsiteX27793" y="connsiteY27793"/>
              </a:cxn>
              <a:cxn ang="0">
                <a:pos x="connsiteX27794" y="connsiteY27794"/>
              </a:cxn>
              <a:cxn ang="0">
                <a:pos x="connsiteX27795" y="connsiteY27795"/>
              </a:cxn>
              <a:cxn ang="0">
                <a:pos x="connsiteX27796" y="connsiteY27796"/>
              </a:cxn>
              <a:cxn ang="0">
                <a:pos x="connsiteX27797" y="connsiteY27797"/>
              </a:cxn>
              <a:cxn ang="0">
                <a:pos x="connsiteX27798" y="connsiteY27798"/>
              </a:cxn>
              <a:cxn ang="0">
                <a:pos x="connsiteX27799" y="connsiteY27799"/>
              </a:cxn>
              <a:cxn ang="0">
                <a:pos x="connsiteX27800" y="connsiteY27800"/>
              </a:cxn>
              <a:cxn ang="0">
                <a:pos x="connsiteX27801" y="connsiteY27801"/>
              </a:cxn>
              <a:cxn ang="0">
                <a:pos x="connsiteX27802" y="connsiteY27802"/>
              </a:cxn>
              <a:cxn ang="0">
                <a:pos x="connsiteX27803" y="connsiteY27803"/>
              </a:cxn>
              <a:cxn ang="0">
                <a:pos x="connsiteX27804" y="connsiteY27804"/>
              </a:cxn>
              <a:cxn ang="0">
                <a:pos x="connsiteX27805" y="connsiteY27805"/>
              </a:cxn>
              <a:cxn ang="0">
                <a:pos x="connsiteX27806" y="connsiteY27806"/>
              </a:cxn>
              <a:cxn ang="0">
                <a:pos x="connsiteX27807" y="connsiteY27807"/>
              </a:cxn>
              <a:cxn ang="0">
                <a:pos x="connsiteX27808" y="connsiteY27808"/>
              </a:cxn>
              <a:cxn ang="0">
                <a:pos x="connsiteX27809" y="connsiteY27809"/>
              </a:cxn>
              <a:cxn ang="0">
                <a:pos x="connsiteX27810" y="connsiteY27810"/>
              </a:cxn>
              <a:cxn ang="0">
                <a:pos x="connsiteX27811" y="connsiteY27811"/>
              </a:cxn>
              <a:cxn ang="0">
                <a:pos x="connsiteX27812" y="connsiteY27812"/>
              </a:cxn>
              <a:cxn ang="0">
                <a:pos x="connsiteX27813" y="connsiteY27813"/>
              </a:cxn>
              <a:cxn ang="0">
                <a:pos x="connsiteX27814" y="connsiteY27814"/>
              </a:cxn>
              <a:cxn ang="0">
                <a:pos x="connsiteX27815" y="connsiteY27815"/>
              </a:cxn>
              <a:cxn ang="0">
                <a:pos x="connsiteX27816" y="connsiteY27816"/>
              </a:cxn>
              <a:cxn ang="0">
                <a:pos x="connsiteX27817" y="connsiteY27817"/>
              </a:cxn>
              <a:cxn ang="0">
                <a:pos x="connsiteX27818" y="connsiteY27818"/>
              </a:cxn>
              <a:cxn ang="0">
                <a:pos x="connsiteX27819" y="connsiteY27819"/>
              </a:cxn>
              <a:cxn ang="0">
                <a:pos x="connsiteX27820" y="connsiteY27820"/>
              </a:cxn>
              <a:cxn ang="0">
                <a:pos x="connsiteX27821" y="connsiteY27821"/>
              </a:cxn>
              <a:cxn ang="0">
                <a:pos x="connsiteX27822" y="connsiteY27822"/>
              </a:cxn>
              <a:cxn ang="0">
                <a:pos x="connsiteX27823" y="connsiteY27823"/>
              </a:cxn>
              <a:cxn ang="0">
                <a:pos x="connsiteX27824" y="connsiteY27824"/>
              </a:cxn>
              <a:cxn ang="0">
                <a:pos x="connsiteX27825" y="connsiteY27825"/>
              </a:cxn>
              <a:cxn ang="0">
                <a:pos x="connsiteX27826" y="connsiteY27826"/>
              </a:cxn>
              <a:cxn ang="0">
                <a:pos x="connsiteX27827" y="connsiteY27827"/>
              </a:cxn>
              <a:cxn ang="0">
                <a:pos x="connsiteX27828" y="connsiteY27828"/>
              </a:cxn>
              <a:cxn ang="0">
                <a:pos x="connsiteX27829" y="connsiteY27829"/>
              </a:cxn>
              <a:cxn ang="0">
                <a:pos x="connsiteX27830" y="connsiteY27830"/>
              </a:cxn>
              <a:cxn ang="0">
                <a:pos x="connsiteX27831" y="connsiteY27831"/>
              </a:cxn>
              <a:cxn ang="0">
                <a:pos x="connsiteX27832" y="connsiteY27832"/>
              </a:cxn>
              <a:cxn ang="0">
                <a:pos x="connsiteX27833" y="connsiteY27833"/>
              </a:cxn>
              <a:cxn ang="0">
                <a:pos x="connsiteX27834" y="connsiteY27834"/>
              </a:cxn>
              <a:cxn ang="0">
                <a:pos x="connsiteX27835" y="connsiteY27835"/>
              </a:cxn>
              <a:cxn ang="0">
                <a:pos x="connsiteX27836" y="connsiteY27836"/>
              </a:cxn>
              <a:cxn ang="0">
                <a:pos x="connsiteX27837" y="connsiteY27837"/>
              </a:cxn>
              <a:cxn ang="0">
                <a:pos x="connsiteX27838" y="connsiteY27838"/>
              </a:cxn>
              <a:cxn ang="0">
                <a:pos x="connsiteX27839" y="connsiteY27839"/>
              </a:cxn>
              <a:cxn ang="0">
                <a:pos x="connsiteX27840" y="connsiteY27840"/>
              </a:cxn>
              <a:cxn ang="0">
                <a:pos x="connsiteX27841" y="connsiteY27841"/>
              </a:cxn>
              <a:cxn ang="0">
                <a:pos x="connsiteX27842" y="connsiteY27842"/>
              </a:cxn>
              <a:cxn ang="0">
                <a:pos x="connsiteX27843" y="connsiteY27843"/>
              </a:cxn>
              <a:cxn ang="0">
                <a:pos x="connsiteX27844" y="connsiteY27844"/>
              </a:cxn>
              <a:cxn ang="0">
                <a:pos x="connsiteX27845" y="connsiteY27845"/>
              </a:cxn>
              <a:cxn ang="0">
                <a:pos x="connsiteX27846" y="connsiteY27846"/>
              </a:cxn>
              <a:cxn ang="0">
                <a:pos x="connsiteX27847" y="connsiteY27847"/>
              </a:cxn>
              <a:cxn ang="0">
                <a:pos x="connsiteX27848" y="connsiteY27848"/>
              </a:cxn>
              <a:cxn ang="0">
                <a:pos x="connsiteX27849" y="connsiteY27849"/>
              </a:cxn>
              <a:cxn ang="0">
                <a:pos x="connsiteX27850" y="connsiteY27850"/>
              </a:cxn>
              <a:cxn ang="0">
                <a:pos x="connsiteX27851" y="connsiteY27851"/>
              </a:cxn>
              <a:cxn ang="0">
                <a:pos x="connsiteX27852" y="connsiteY27852"/>
              </a:cxn>
              <a:cxn ang="0">
                <a:pos x="connsiteX27853" y="connsiteY27853"/>
              </a:cxn>
              <a:cxn ang="0">
                <a:pos x="connsiteX27854" y="connsiteY27854"/>
              </a:cxn>
              <a:cxn ang="0">
                <a:pos x="connsiteX27855" y="connsiteY27855"/>
              </a:cxn>
              <a:cxn ang="0">
                <a:pos x="connsiteX27856" y="connsiteY27856"/>
              </a:cxn>
              <a:cxn ang="0">
                <a:pos x="connsiteX27857" y="connsiteY27857"/>
              </a:cxn>
              <a:cxn ang="0">
                <a:pos x="connsiteX27858" y="connsiteY27858"/>
              </a:cxn>
              <a:cxn ang="0">
                <a:pos x="connsiteX27859" y="connsiteY27859"/>
              </a:cxn>
              <a:cxn ang="0">
                <a:pos x="connsiteX27860" y="connsiteY27860"/>
              </a:cxn>
              <a:cxn ang="0">
                <a:pos x="connsiteX27861" y="connsiteY27861"/>
              </a:cxn>
              <a:cxn ang="0">
                <a:pos x="connsiteX27862" y="connsiteY27862"/>
              </a:cxn>
              <a:cxn ang="0">
                <a:pos x="connsiteX27863" y="connsiteY27863"/>
              </a:cxn>
              <a:cxn ang="0">
                <a:pos x="connsiteX27864" y="connsiteY27864"/>
              </a:cxn>
              <a:cxn ang="0">
                <a:pos x="connsiteX27865" y="connsiteY27865"/>
              </a:cxn>
              <a:cxn ang="0">
                <a:pos x="connsiteX27866" y="connsiteY27866"/>
              </a:cxn>
              <a:cxn ang="0">
                <a:pos x="connsiteX27867" y="connsiteY27867"/>
              </a:cxn>
              <a:cxn ang="0">
                <a:pos x="connsiteX27868" y="connsiteY27868"/>
              </a:cxn>
              <a:cxn ang="0">
                <a:pos x="connsiteX27869" y="connsiteY27869"/>
              </a:cxn>
              <a:cxn ang="0">
                <a:pos x="connsiteX27870" y="connsiteY27870"/>
              </a:cxn>
              <a:cxn ang="0">
                <a:pos x="connsiteX27871" y="connsiteY27871"/>
              </a:cxn>
              <a:cxn ang="0">
                <a:pos x="connsiteX27872" y="connsiteY27872"/>
              </a:cxn>
              <a:cxn ang="0">
                <a:pos x="connsiteX27873" y="connsiteY27873"/>
              </a:cxn>
              <a:cxn ang="0">
                <a:pos x="connsiteX27874" y="connsiteY27874"/>
              </a:cxn>
              <a:cxn ang="0">
                <a:pos x="connsiteX27875" y="connsiteY27875"/>
              </a:cxn>
              <a:cxn ang="0">
                <a:pos x="connsiteX27876" y="connsiteY27876"/>
              </a:cxn>
              <a:cxn ang="0">
                <a:pos x="connsiteX27877" y="connsiteY27877"/>
              </a:cxn>
              <a:cxn ang="0">
                <a:pos x="connsiteX27878" y="connsiteY27878"/>
              </a:cxn>
              <a:cxn ang="0">
                <a:pos x="connsiteX27879" y="connsiteY27879"/>
              </a:cxn>
              <a:cxn ang="0">
                <a:pos x="connsiteX27880" y="connsiteY27880"/>
              </a:cxn>
              <a:cxn ang="0">
                <a:pos x="connsiteX27881" y="connsiteY27881"/>
              </a:cxn>
              <a:cxn ang="0">
                <a:pos x="connsiteX27882" y="connsiteY27882"/>
              </a:cxn>
              <a:cxn ang="0">
                <a:pos x="connsiteX27883" y="connsiteY27883"/>
              </a:cxn>
              <a:cxn ang="0">
                <a:pos x="connsiteX27884" y="connsiteY27884"/>
              </a:cxn>
              <a:cxn ang="0">
                <a:pos x="connsiteX27885" y="connsiteY27885"/>
              </a:cxn>
              <a:cxn ang="0">
                <a:pos x="connsiteX27886" y="connsiteY27886"/>
              </a:cxn>
              <a:cxn ang="0">
                <a:pos x="connsiteX27887" y="connsiteY27887"/>
              </a:cxn>
              <a:cxn ang="0">
                <a:pos x="connsiteX27888" y="connsiteY27888"/>
              </a:cxn>
              <a:cxn ang="0">
                <a:pos x="connsiteX27889" y="connsiteY27889"/>
              </a:cxn>
              <a:cxn ang="0">
                <a:pos x="connsiteX27890" y="connsiteY27890"/>
              </a:cxn>
              <a:cxn ang="0">
                <a:pos x="connsiteX27891" y="connsiteY27891"/>
              </a:cxn>
              <a:cxn ang="0">
                <a:pos x="connsiteX27892" y="connsiteY27892"/>
              </a:cxn>
              <a:cxn ang="0">
                <a:pos x="connsiteX27893" y="connsiteY27893"/>
              </a:cxn>
              <a:cxn ang="0">
                <a:pos x="connsiteX27894" y="connsiteY27894"/>
              </a:cxn>
              <a:cxn ang="0">
                <a:pos x="connsiteX27895" y="connsiteY27895"/>
              </a:cxn>
              <a:cxn ang="0">
                <a:pos x="connsiteX27896" y="connsiteY27896"/>
              </a:cxn>
              <a:cxn ang="0">
                <a:pos x="connsiteX27897" y="connsiteY27897"/>
              </a:cxn>
              <a:cxn ang="0">
                <a:pos x="connsiteX27898" y="connsiteY27898"/>
              </a:cxn>
              <a:cxn ang="0">
                <a:pos x="connsiteX27899" y="connsiteY27899"/>
              </a:cxn>
              <a:cxn ang="0">
                <a:pos x="connsiteX27900" y="connsiteY27900"/>
              </a:cxn>
              <a:cxn ang="0">
                <a:pos x="connsiteX27901" y="connsiteY27901"/>
              </a:cxn>
              <a:cxn ang="0">
                <a:pos x="connsiteX27902" y="connsiteY27902"/>
              </a:cxn>
              <a:cxn ang="0">
                <a:pos x="connsiteX27903" y="connsiteY27903"/>
              </a:cxn>
              <a:cxn ang="0">
                <a:pos x="connsiteX27904" y="connsiteY27904"/>
              </a:cxn>
              <a:cxn ang="0">
                <a:pos x="connsiteX27905" y="connsiteY27905"/>
              </a:cxn>
              <a:cxn ang="0">
                <a:pos x="connsiteX27906" y="connsiteY27906"/>
              </a:cxn>
              <a:cxn ang="0">
                <a:pos x="connsiteX27907" y="connsiteY27907"/>
              </a:cxn>
              <a:cxn ang="0">
                <a:pos x="connsiteX27908" y="connsiteY27908"/>
              </a:cxn>
              <a:cxn ang="0">
                <a:pos x="connsiteX27909" y="connsiteY27909"/>
              </a:cxn>
              <a:cxn ang="0">
                <a:pos x="connsiteX27910" y="connsiteY27910"/>
              </a:cxn>
              <a:cxn ang="0">
                <a:pos x="connsiteX27911" y="connsiteY27911"/>
              </a:cxn>
              <a:cxn ang="0">
                <a:pos x="connsiteX27912" y="connsiteY27912"/>
              </a:cxn>
              <a:cxn ang="0">
                <a:pos x="connsiteX27913" y="connsiteY27913"/>
              </a:cxn>
              <a:cxn ang="0">
                <a:pos x="connsiteX27914" y="connsiteY27914"/>
              </a:cxn>
              <a:cxn ang="0">
                <a:pos x="connsiteX27915" y="connsiteY27915"/>
              </a:cxn>
              <a:cxn ang="0">
                <a:pos x="connsiteX27916" y="connsiteY27916"/>
              </a:cxn>
              <a:cxn ang="0">
                <a:pos x="connsiteX27917" y="connsiteY27917"/>
              </a:cxn>
              <a:cxn ang="0">
                <a:pos x="connsiteX27918" y="connsiteY27918"/>
              </a:cxn>
              <a:cxn ang="0">
                <a:pos x="connsiteX27919" y="connsiteY27919"/>
              </a:cxn>
              <a:cxn ang="0">
                <a:pos x="connsiteX27920" y="connsiteY27920"/>
              </a:cxn>
              <a:cxn ang="0">
                <a:pos x="connsiteX27921" y="connsiteY27921"/>
              </a:cxn>
              <a:cxn ang="0">
                <a:pos x="connsiteX27922" y="connsiteY27922"/>
              </a:cxn>
              <a:cxn ang="0">
                <a:pos x="connsiteX27923" y="connsiteY27923"/>
              </a:cxn>
              <a:cxn ang="0">
                <a:pos x="connsiteX27924" y="connsiteY27924"/>
              </a:cxn>
              <a:cxn ang="0">
                <a:pos x="connsiteX27925" y="connsiteY27925"/>
              </a:cxn>
              <a:cxn ang="0">
                <a:pos x="connsiteX27926" y="connsiteY27926"/>
              </a:cxn>
              <a:cxn ang="0">
                <a:pos x="connsiteX27927" y="connsiteY27927"/>
              </a:cxn>
              <a:cxn ang="0">
                <a:pos x="connsiteX27928" y="connsiteY27928"/>
              </a:cxn>
              <a:cxn ang="0">
                <a:pos x="connsiteX27929" y="connsiteY27929"/>
              </a:cxn>
              <a:cxn ang="0">
                <a:pos x="connsiteX27930" y="connsiteY27930"/>
              </a:cxn>
              <a:cxn ang="0">
                <a:pos x="connsiteX27931" y="connsiteY27931"/>
              </a:cxn>
              <a:cxn ang="0">
                <a:pos x="connsiteX27932" y="connsiteY27932"/>
              </a:cxn>
              <a:cxn ang="0">
                <a:pos x="connsiteX27933" y="connsiteY27933"/>
              </a:cxn>
              <a:cxn ang="0">
                <a:pos x="connsiteX27934" y="connsiteY27934"/>
              </a:cxn>
              <a:cxn ang="0">
                <a:pos x="connsiteX27935" y="connsiteY27935"/>
              </a:cxn>
              <a:cxn ang="0">
                <a:pos x="connsiteX27936" y="connsiteY27936"/>
              </a:cxn>
              <a:cxn ang="0">
                <a:pos x="connsiteX27937" y="connsiteY27937"/>
              </a:cxn>
              <a:cxn ang="0">
                <a:pos x="connsiteX27938" y="connsiteY27938"/>
              </a:cxn>
              <a:cxn ang="0">
                <a:pos x="connsiteX27939" y="connsiteY27939"/>
              </a:cxn>
              <a:cxn ang="0">
                <a:pos x="connsiteX27940" y="connsiteY27940"/>
              </a:cxn>
              <a:cxn ang="0">
                <a:pos x="connsiteX27941" y="connsiteY27941"/>
              </a:cxn>
              <a:cxn ang="0">
                <a:pos x="connsiteX27942" y="connsiteY27942"/>
              </a:cxn>
              <a:cxn ang="0">
                <a:pos x="connsiteX27943" y="connsiteY27943"/>
              </a:cxn>
              <a:cxn ang="0">
                <a:pos x="connsiteX27944" y="connsiteY27944"/>
              </a:cxn>
              <a:cxn ang="0">
                <a:pos x="connsiteX27945" y="connsiteY27945"/>
              </a:cxn>
              <a:cxn ang="0">
                <a:pos x="connsiteX27946" y="connsiteY27946"/>
              </a:cxn>
              <a:cxn ang="0">
                <a:pos x="connsiteX27947" y="connsiteY27947"/>
              </a:cxn>
              <a:cxn ang="0">
                <a:pos x="connsiteX27948" y="connsiteY27948"/>
              </a:cxn>
              <a:cxn ang="0">
                <a:pos x="connsiteX27949" y="connsiteY27949"/>
              </a:cxn>
              <a:cxn ang="0">
                <a:pos x="connsiteX27950" y="connsiteY27950"/>
              </a:cxn>
              <a:cxn ang="0">
                <a:pos x="connsiteX27951" y="connsiteY27951"/>
              </a:cxn>
              <a:cxn ang="0">
                <a:pos x="connsiteX27952" y="connsiteY27952"/>
              </a:cxn>
              <a:cxn ang="0">
                <a:pos x="connsiteX27953" y="connsiteY27953"/>
              </a:cxn>
              <a:cxn ang="0">
                <a:pos x="connsiteX27954" y="connsiteY27954"/>
              </a:cxn>
              <a:cxn ang="0">
                <a:pos x="connsiteX27955" y="connsiteY27955"/>
              </a:cxn>
              <a:cxn ang="0">
                <a:pos x="connsiteX27956" y="connsiteY27956"/>
              </a:cxn>
              <a:cxn ang="0">
                <a:pos x="connsiteX27957" y="connsiteY27957"/>
              </a:cxn>
              <a:cxn ang="0">
                <a:pos x="connsiteX27958" y="connsiteY27958"/>
              </a:cxn>
              <a:cxn ang="0">
                <a:pos x="connsiteX27959" y="connsiteY27959"/>
              </a:cxn>
              <a:cxn ang="0">
                <a:pos x="connsiteX27960" y="connsiteY27960"/>
              </a:cxn>
              <a:cxn ang="0">
                <a:pos x="connsiteX27961" y="connsiteY27961"/>
              </a:cxn>
              <a:cxn ang="0">
                <a:pos x="connsiteX27962" y="connsiteY27962"/>
              </a:cxn>
              <a:cxn ang="0">
                <a:pos x="connsiteX27963" y="connsiteY27963"/>
              </a:cxn>
              <a:cxn ang="0">
                <a:pos x="connsiteX27964" y="connsiteY27964"/>
              </a:cxn>
              <a:cxn ang="0">
                <a:pos x="connsiteX27965" y="connsiteY27965"/>
              </a:cxn>
              <a:cxn ang="0">
                <a:pos x="connsiteX27966" y="connsiteY27966"/>
              </a:cxn>
              <a:cxn ang="0">
                <a:pos x="connsiteX27967" y="connsiteY27967"/>
              </a:cxn>
              <a:cxn ang="0">
                <a:pos x="connsiteX27968" y="connsiteY27968"/>
              </a:cxn>
              <a:cxn ang="0">
                <a:pos x="connsiteX27969" y="connsiteY27969"/>
              </a:cxn>
              <a:cxn ang="0">
                <a:pos x="connsiteX27970" y="connsiteY27970"/>
              </a:cxn>
              <a:cxn ang="0">
                <a:pos x="connsiteX27971" y="connsiteY27971"/>
              </a:cxn>
              <a:cxn ang="0">
                <a:pos x="connsiteX27972" y="connsiteY27972"/>
              </a:cxn>
              <a:cxn ang="0">
                <a:pos x="connsiteX27973" y="connsiteY27973"/>
              </a:cxn>
              <a:cxn ang="0">
                <a:pos x="connsiteX27974" y="connsiteY27974"/>
              </a:cxn>
              <a:cxn ang="0">
                <a:pos x="connsiteX27975" y="connsiteY27975"/>
              </a:cxn>
              <a:cxn ang="0">
                <a:pos x="connsiteX27976" y="connsiteY27976"/>
              </a:cxn>
              <a:cxn ang="0">
                <a:pos x="connsiteX27977" y="connsiteY27977"/>
              </a:cxn>
              <a:cxn ang="0">
                <a:pos x="connsiteX27978" y="connsiteY27978"/>
              </a:cxn>
              <a:cxn ang="0">
                <a:pos x="connsiteX27979" y="connsiteY27979"/>
              </a:cxn>
              <a:cxn ang="0">
                <a:pos x="connsiteX27980" y="connsiteY27980"/>
              </a:cxn>
              <a:cxn ang="0">
                <a:pos x="connsiteX27981" y="connsiteY27981"/>
              </a:cxn>
              <a:cxn ang="0">
                <a:pos x="connsiteX27982" y="connsiteY27982"/>
              </a:cxn>
              <a:cxn ang="0">
                <a:pos x="connsiteX27983" y="connsiteY27983"/>
              </a:cxn>
              <a:cxn ang="0">
                <a:pos x="connsiteX27984" y="connsiteY27984"/>
              </a:cxn>
              <a:cxn ang="0">
                <a:pos x="connsiteX27985" y="connsiteY27985"/>
              </a:cxn>
              <a:cxn ang="0">
                <a:pos x="connsiteX27986" y="connsiteY27986"/>
              </a:cxn>
              <a:cxn ang="0">
                <a:pos x="connsiteX27987" y="connsiteY27987"/>
              </a:cxn>
              <a:cxn ang="0">
                <a:pos x="connsiteX27988" y="connsiteY27988"/>
              </a:cxn>
              <a:cxn ang="0">
                <a:pos x="connsiteX27989" y="connsiteY27989"/>
              </a:cxn>
              <a:cxn ang="0">
                <a:pos x="connsiteX27990" y="connsiteY27990"/>
              </a:cxn>
              <a:cxn ang="0">
                <a:pos x="connsiteX27991" y="connsiteY27991"/>
              </a:cxn>
              <a:cxn ang="0">
                <a:pos x="connsiteX27992" y="connsiteY27992"/>
              </a:cxn>
              <a:cxn ang="0">
                <a:pos x="connsiteX27993" y="connsiteY27993"/>
              </a:cxn>
              <a:cxn ang="0">
                <a:pos x="connsiteX27994" y="connsiteY27994"/>
              </a:cxn>
              <a:cxn ang="0">
                <a:pos x="connsiteX27995" y="connsiteY27995"/>
              </a:cxn>
              <a:cxn ang="0">
                <a:pos x="connsiteX27996" y="connsiteY27996"/>
              </a:cxn>
              <a:cxn ang="0">
                <a:pos x="connsiteX27997" y="connsiteY27997"/>
              </a:cxn>
              <a:cxn ang="0">
                <a:pos x="connsiteX27998" y="connsiteY27998"/>
              </a:cxn>
              <a:cxn ang="0">
                <a:pos x="connsiteX27999" y="connsiteY27999"/>
              </a:cxn>
              <a:cxn ang="0">
                <a:pos x="connsiteX28000" y="connsiteY28000"/>
              </a:cxn>
              <a:cxn ang="0">
                <a:pos x="connsiteX28001" y="connsiteY28001"/>
              </a:cxn>
              <a:cxn ang="0">
                <a:pos x="connsiteX28002" y="connsiteY28002"/>
              </a:cxn>
              <a:cxn ang="0">
                <a:pos x="connsiteX28003" y="connsiteY28003"/>
              </a:cxn>
              <a:cxn ang="0">
                <a:pos x="connsiteX28004" y="connsiteY28004"/>
              </a:cxn>
              <a:cxn ang="0">
                <a:pos x="connsiteX28005" y="connsiteY28005"/>
              </a:cxn>
              <a:cxn ang="0">
                <a:pos x="connsiteX28006" y="connsiteY28006"/>
              </a:cxn>
              <a:cxn ang="0">
                <a:pos x="connsiteX28007" y="connsiteY28007"/>
              </a:cxn>
              <a:cxn ang="0">
                <a:pos x="connsiteX28008" y="connsiteY28008"/>
              </a:cxn>
              <a:cxn ang="0">
                <a:pos x="connsiteX28009" y="connsiteY28009"/>
              </a:cxn>
              <a:cxn ang="0">
                <a:pos x="connsiteX28010" y="connsiteY28010"/>
              </a:cxn>
              <a:cxn ang="0">
                <a:pos x="connsiteX28011" y="connsiteY28011"/>
              </a:cxn>
              <a:cxn ang="0">
                <a:pos x="connsiteX28012" y="connsiteY28012"/>
              </a:cxn>
              <a:cxn ang="0">
                <a:pos x="connsiteX28013" y="connsiteY28013"/>
              </a:cxn>
              <a:cxn ang="0">
                <a:pos x="connsiteX28014" y="connsiteY28014"/>
              </a:cxn>
              <a:cxn ang="0">
                <a:pos x="connsiteX28015" y="connsiteY28015"/>
              </a:cxn>
              <a:cxn ang="0">
                <a:pos x="connsiteX28016" y="connsiteY28016"/>
              </a:cxn>
              <a:cxn ang="0">
                <a:pos x="connsiteX28017" y="connsiteY28017"/>
              </a:cxn>
              <a:cxn ang="0">
                <a:pos x="connsiteX28018" y="connsiteY28018"/>
              </a:cxn>
              <a:cxn ang="0">
                <a:pos x="connsiteX28019" y="connsiteY28019"/>
              </a:cxn>
              <a:cxn ang="0">
                <a:pos x="connsiteX28020" y="connsiteY28020"/>
              </a:cxn>
              <a:cxn ang="0">
                <a:pos x="connsiteX28021" y="connsiteY28021"/>
              </a:cxn>
              <a:cxn ang="0">
                <a:pos x="connsiteX28022" y="connsiteY28022"/>
              </a:cxn>
              <a:cxn ang="0">
                <a:pos x="connsiteX28023" y="connsiteY28023"/>
              </a:cxn>
              <a:cxn ang="0">
                <a:pos x="connsiteX28024" y="connsiteY28024"/>
              </a:cxn>
              <a:cxn ang="0">
                <a:pos x="connsiteX28025" y="connsiteY28025"/>
              </a:cxn>
              <a:cxn ang="0">
                <a:pos x="connsiteX28026" y="connsiteY28026"/>
              </a:cxn>
              <a:cxn ang="0">
                <a:pos x="connsiteX28027" y="connsiteY28027"/>
              </a:cxn>
              <a:cxn ang="0">
                <a:pos x="connsiteX28028" y="connsiteY28028"/>
              </a:cxn>
              <a:cxn ang="0">
                <a:pos x="connsiteX28029" y="connsiteY28029"/>
              </a:cxn>
              <a:cxn ang="0">
                <a:pos x="connsiteX28030" y="connsiteY28030"/>
              </a:cxn>
              <a:cxn ang="0">
                <a:pos x="connsiteX28031" y="connsiteY28031"/>
              </a:cxn>
              <a:cxn ang="0">
                <a:pos x="connsiteX28032" y="connsiteY28032"/>
              </a:cxn>
              <a:cxn ang="0">
                <a:pos x="connsiteX28033" y="connsiteY28033"/>
              </a:cxn>
              <a:cxn ang="0">
                <a:pos x="connsiteX28034" y="connsiteY28034"/>
              </a:cxn>
              <a:cxn ang="0">
                <a:pos x="connsiteX28035" y="connsiteY28035"/>
              </a:cxn>
              <a:cxn ang="0">
                <a:pos x="connsiteX28036" y="connsiteY28036"/>
              </a:cxn>
              <a:cxn ang="0">
                <a:pos x="connsiteX28037" y="connsiteY28037"/>
              </a:cxn>
              <a:cxn ang="0">
                <a:pos x="connsiteX28038" y="connsiteY28038"/>
              </a:cxn>
              <a:cxn ang="0">
                <a:pos x="connsiteX28039" y="connsiteY28039"/>
              </a:cxn>
              <a:cxn ang="0">
                <a:pos x="connsiteX28040" y="connsiteY28040"/>
              </a:cxn>
              <a:cxn ang="0">
                <a:pos x="connsiteX28041" y="connsiteY28041"/>
              </a:cxn>
              <a:cxn ang="0">
                <a:pos x="connsiteX28042" y="connsiteY28042"/>
              </a:cxn>
              <a:cxn ang="0">
                <a:pos x="connsiteX28043" y="connsiteY28043"/>
              </a:cxn>
              <a:cxn ang="0">
                <a:pos x="connsiteX28044" y="connsiteY28044"/>
              </a:cxn>
              <a:cxn ang="0">
                <a:pos x="connsiteX28045" y="connsiteY28045"/>
              </a:cxn>
              <a:cxn ang="0">
                <a:pos x="connsiteX28046" y="connsiteY28046"/>
              </a:cxn>
              <a:cxn ang="0">
                <a:pos x="connsiteX28047" y="connsiteY28047"/>
              </a:cxn>
              <a:cxn ang="0">
                <a:pos x="connsiteX28048" y="connsiteY28048"/>
              </a:cxn>
              <a:cxn ang="0">
                <a:pos x="connsiteX28049" y="connsiteY28049"/>
              </a:cxn>
              <a:cxn ang="0">
                <a:pos x="connsiteX28050" y="connsiteY28050"/>
              </a:cxn>
              <a:cxn ang="0">
                <a:pos x="connsiteX28051" y="connsiteY28051"/>
              </a:cxn>
              <a:cxn ang="0">
                <a:pos x="connsiteX28052" y="connsiteY28052"/>
              </a:cxn>
              <a:cxn ang="0">
                <a:pos x="connsiteX28053" y="connsiteY28053"/>
              </a:cxn>
              <a:cxn ang="0">
                <a:pos x="connsiteX28054" y="connsiteY28054"/>
              </a:cxn>
              <a:cxn ang="0">
                <a:pos x="connsiteX28055" y="connsiteY28055"/>
              </a:cxn>
              <a:cxn ang="0">
                <a:pos x="connsiteX28056" y="connsiteY28056"/>
              </a:cxn>
              <a:cxn ang="0">
                <a:pos x="connsiteX28057" y="connsiteY28057"/>
              </a:cxn>
              <a:cxn ang="0">
                <a:pos x="connsiteX28058" y="connsiteY28058"/>
              </a:cxn>
              <a:cxn ang="0">
                <a:pos x="connsiteX28059" y="connsiteY28059"/>
              </a:cxn>
              <a:cxn ang="0">
                <a:pos x="connsiteX28060" y="connsiteY28060"/>
              </a:cxn>
              <a:cxn ang="0">
                <a:pos x="connsiteX28061" y="connsiteY28061"/>
              </a:cxn>
              <a:cxn ang="0">
                <a:pos x="connsiteX28062" y="connsiteY28062"/>
              </a:cxn>
              <a:cxn ang="0">
                <a:pos x="connsiteX28063" y="connsiteY28063"/>
              </a:cxn>
              <a:cxn ang="0">
                <a:pos x="connsiteX28064" y="connsiteY28064"/>
              </a:cxn>
              <a:cxn ang="0">
                <a:pos x="connsiteX28065" y="connsiteY28065"/>
              </a:cxn>
              <a:cxn ang="0">
                <a:pos x="connsiteX28066" y="connsiteY28066"/>
              </a:cxn>
              <a:cxn ang="0">
                <a:pos x="connsiteX28067" y="connsiteY28067"/>
              </a:cxn>
              <a:cxn ang="0">
                <a:pos x="connsiteX28068" y="connsiteY28068"/>
              </a:cxn>
              <a:cxn ang="0">
                <a:pos x="connsiteX28069" y="connsiteY28069"/>
              </a:cxn>
              <a:cxn ang="0">
                <a:pos x="connsiteX28070" y="connsiteY28070"/>
              </a:cxn>
              <a:cxn ang="0">
                <a:pos x="connsiteX28071" y="connsiteY28071"/>
              </a:cxn>
              <a:cxn ang="0">
                <a:pos x="connsiteX28072" y="connsiteY28072"/>
              </a:cxn>
              <a:cxn ang="0">
                <a:pos x="connsiteX28073" y="connsiteY28073"/>
              </a:cxn>
              <a:cxn ang="0">
                <a:pos x="connsiteX28074" y="connsiteY28074"/>
              </a:cxn>
              <a:cxn ang="0">
                <a:pos x="connsiteX28075" y="connsiteY28075"/>
              </a:cxn>
              <a:cxn ang="0">
                <a:pos x="connsiteX28076" y="connsiteY28076"/>
              </a:cxn>
              <a:cxn ang="0">
                <a:pos x="connsiteX28077" y="connsiteY28077"/>
              </a:cxn>
              <a:cxn ang="0">
                <a:pos x="connsiteX28078" y="connsiteY28078"/>
              </a:cxn>
              <a:cxn ang="0">
                <a:pos x="connsiteX28079" y="connsiteY28079"/>
              </a:cxn>
              <a:cxn ang="0">
                <a:pos x="connsiteX28080" y="connsiteY28080"/>
              </a:cxn>
              <a:cxn ang="0">
                <a:pos x="connsiteX28081" y="connsiteY28081"/>
              </a:cxn>
              <a:cxn ang="0">
                <a:pos x="connsiteX28082" y="connsiteY28082"/>
              </a:cxn>
              <a:cxn ang="0">
                <a:pos x="connsiteX28083" y="connsiteY28083"/>
              </a:cxn>
              <a:cxn ang="0">
                <a:pos x="connsiteX28084" y="connsiteY28084"/>
              </a:cxn>
              <a:cxn ang="0">
                <a:pos x="connsiteX28085" y="connsiteY28085"/>
              </a:cxn>
              <a:cxn ang="0">
                <a:pos x="connsiteX28086" y="connsiteY28086"/>
              </a:cxn>
              <a:cxn ang="0">
                <a:pos x="connsiteX28087" y="connsiteY28087"/>
              </a:cxn>
              <a:cxn ang="0">
                <a:pos x="connsiteX28088" y="connsiteY28088"/>
              </a:cxn>
              <a:cxn ang="0">
                <a:pos x="connsiteX28089" y="connsiteY28089"/>
              </a:cxn>
              <a:cxn ang="0">
                <a:pos x="connsiteX28090" y="connsiteY28090"/>
              </a:cxn>
              <a:cxn ang="0">
                <a:pos x="connsiteX28091" y="connsiteY28091"/>
              </a:cxn>
              <a:cxn ang="0">
                <a:pos x="connsiteX28092" y="connsiteY28092"/>
              </a:cxn>
              <a:cxn ang="0">
                <a:pos x="connsiteX28093" y="connsiteY28093"/>
              </a:cxn>
              <a:cxn ang="0">
                <a:pos x="connsiteX28094" y="connsiteY28094"/>
              </a:cxn>
              <a:cxn ang="0">
                <a:pos x="connsiteX28095" y="connsiteY28095"/>
              </a:cxn>
              <a:cxn ang="0">
                <a:pos x="connsiteX28096" y="connsiteY28096"/>
              </a:cxn>
              <a:cxn ang="0">
                <a:pos x="connsiteX28097" y="connsiteY28097"/>
              </a:cxn>
              <a:cxn ang="0">
                <a:pos x="connsiteX28098" y="connsiteY28098"/>
              </a:cxn>
              <a:cxn ang="0">
                <a:pos x="connsiteX28099" y="connsiteY28099"/>
              </a:cxn>
              <a:cxn ang="0">
                <a:pos x="connsiteX28100" y="connsiteY28100"/>
              </a:cxn>
              <a:cxn ang="0">
                <a:pos x="connsiteX28101" y="connsiteY28101"/>
              </a:cxn>
              <a:cxn ang="0">
                <a:pos x="connsiteX28102" y="connsiteY28102"/>
              </a:cxn>
              <a:cxn ang="0">
                <a:pos x="connsiteX28103" y="connsiteY28103"/>
              </a:cxn>
              <a:cxn ang="0">
                <a:pos x="connsiteX28104" y="connsiteY28104"/>
              </a:cxn>
              <a:cxn ang="0">
                <a:pos x="connsiteX28105" y="connsiteY28105"/>
              </a:cxn>
              <a:cxn ang="0">
                <a:pos x="connsiteX28106" y="connsiteY28106"/>
              </a:cxn>
              <a:cxn ang="0">
                <a:pos x="connsiteX28107" y="connsiteY28107"/>
              </a:cxn>
              <a:cxn ang="0">
                <a:pos x="connsiteX28108" y="connsiteY28108"/>
              </a:cxn>
              <a:cxn ang="0">
                <a:pos x="connsiteX28109" y="connsiteY28109"/>
              </a:cxn>
              <a:cxn ang="0">
                <a:pos x="connsiteX28110" y="connsiteY28110"/>
              </a:cxn>
              <a:cxn ang="0">
                <a:pos x="connsiteX28111" y="connsiteY28111"/>
              </a:cxn>
              <a:cxn ang="0">
                <a:pos x="connsiteX28112" y="connsiteY28112"/>
              </a:cxn>
              <a:cxn ang="0">
                <a:pos x="connsiteX28113" y="connsiteY28113"/>
              </a:cxn>
              <a:cxn ang="0">
                <a:pos x="connsiteX28114" y="connsiteY28114"/>
              </a:cxn>
              <a:cxn ang="0">
                <a:pos x="connsiteX28115" y="connsiteY28115"/>
              </a:cxn>
              <a:cxn ang="0">
                <a:pos x="connsiteX28116" y="connsiteY28116"/>
              </a:cxn>
              <a:cxn ang="0">
                <a:pos x="connsiteX28117" y="connsiteY28117"/>
              </a:cxn>
              <a:cxn ang="0">
                <a:pos x="connsiteX28118" y="connsiteY28118"/>
              </a:cxn>
              <a:cxn ang="0">
                <a:pos x="connsiteX28119" y="connsiteY28119"/>
              </a:cxn>
              <a:cxn ang="0">
                <a:pos x="connsiteX28120" y="connsiteY28120"/>
              </a:cxn>
              <a:cxn ang="0">
                <a:pos x="connsiteX28121" y="connsiteY28121"/>
              </a:cxn>
              <a:cxn ang="0">
                <a:pos x="connsiteX28122" y="connsiteY28122"/>
              </a:cxn>
              <a:cxn ang="0">
                <a:pos x="connsiteX28123" y="connsiteY28123"/>
              </a:cxn>
              <a:cxn ang="0">
                <a:pos x="connsiteX28124" y="connsiteY28124"/>
              </a:cxn>
              <a:cxn ang="0">
                <a:pos x="connsiteX28125" y="connsiteY28125"/>
              </a:cxn>
              <a:cxn ang="0">
                <a:pos x="connsiteX28126" y="connsiteY28126"/>
              </a:cxn>
              <a:cxn ang="0">
                <a:pos x="connsiteX28127" y="connsiteY28127"/>
              </a:cxn>
              <a:cxn ang="0">
                <a:pos x="connsiteX28128" y="connsiteY28128"/>
              </a:cxn>
              <a:cxn ang="0">
                <a:pos x="connsiteX28129" y="connsiteY28129"/>
              </a:cxn>
              <a:cxn ang="0">
                <a:pos x="connsiteX28130" y="connsiteY28130"/>
              </a:cxn>
              <a:cxn ang="0">
                <a:pos x="connsiteX28131" y="connsiteY28131"/>
              </a:cxn>
              <a:cxn ang="0">
                <a:pos x="connsiteX28132" y="connsiteY28132"/>
              </a:cxn>
              <a:cxn ang="0">
                <a:pos x="connsiteX28133" y="connsiteY28133"/>
              </a:cxn>
              <a:cxn ang="0">
                <a:pos x="connsiteX28134" y="connsiteY28134"/>
              </a:cxn>
              <a:cxn ang="0">
                <a:pos x="connsiteX28135" y="connsiteY28135"/>
              </a:cxn>
              <a:cxn ang="0">
                <a:pos x="connsiteX28136" y="connsiteY28136"/>
              </a:cxn>
              <a:cxn ang="0">
                <a:pos x="connsiteX28137" y="connsiteY28137"/>
              </a:cxn>
              <a:cxn ang="0">
                <a:pos x="connsiteX28138" y="connsiteY28138"/>
              </a:cxn>
              <a:cxn ang="0">
                <a:pos x="connsiteX28139" y="connsiteY28139"/>
              </a:cxn>
              <a:cxn ang="0">
                <a:pos x="connsiteX28140" y="connsiteY28140"/>
              </a:cxn>
              <a:cxn ang="0">
                <a:pos x="connsiteX28141" y="connsiteY28141"/>
              </a:cxn>
              <a:cxn ang="0">
                <a:pos x="connsiteX28142" y="connsiteY28142"/>
              </a:cxn>
              <a:cxn ang="0">
                <a:pos x="connsiteX28143" y="connsiteY28143"/>
              </a:cxn>
              <a:cxn ang="0">
                <a:pos x="connsiteX28144" y="connsiteY28144"/>
              </a:cxn>
              <a:cxn ang="0">
                <a:pos x="connsiteX28145" y="connsiteY28145"/>
              </a:cxn>
              <a:cxn ang="0">
                <a:pos x="connsiteX28146" y="connsiteY28146"/>
              </a:cxn>
              <a:cxn ang="0">
                <a:pos x="connsiteX28147" y="connsiteY28147"/>
              </a:cxn>
              <a:cxn ang="0">
                <a:pos x="connsiteX28148" y="connsiteY28148"/>
              </a:cxn>
              <a:cxn ang="0">
                <a:pos x="connsiteX28149" y="connsiteY28149"/>
              </a:cxn>
              <a:cxn ang="0">
                <a:pos x="connsiteX28150" y="connsiteY28150"/>
              </a:cxn>
              <a:cxn ang="0">
                <a:pos x="connsiteX28151" y="connsiteY28151"/>
              </a:cxn>
              <a:cxn ang="0">
                <a:pos x="connsiteX28152" y="connsiteY28152"/>
              </a:cxn>
              <a:cxn ang="0">
                <a:pos x="connsiteX28153" y="connsiteY28153"/>
              </a:cxn>
              <a:cxn ang="0">
                <a:pos x="connsiteX28154" y="connsiteY28154"/>
              </a:cxn>
              <a:cxn ang="0">
                <a:pos x="connsiteX28155" y="connsiteY28155"/>
              </a:cxn>
              <a:cxn ang="0">
                <a:pos x="connsiteX28156" y="connsiteY28156"/>
              </a:cxn>
              <a:cxn ang="0">
                <a:pos x="connsiteX28157" y="connsiteY28157"/>
              </a:cxn>
              <a:cxn ang="0">
                <a:pos x="connsiteX28158" y="connsiteY28158"/>
              </a:cxn>
              <a:cxn ang="0">
                <a:pos x="connsiteX28159" y="connsiteY28159"/>
              </a:cxn>
              <a:cxn ang="0">
                <a:pos x="connsiteX28160" y="connsiteY28160"/>
              </a:cxn>
              <a:cxn ang="0">
                <a:pos x="connsiteX28161" y="connsiteY28161"/>
              </a:cxn>
              <a:cxn ang="0">
                <a:pos x="connsiteX28162" y="connsiteY28162"/>
              </a:cxn>
              <a:cxn ang="0">
                <a:pos x="connsiteX28163" y="connsiteY28163"/>
              </a:cxn>
              <a:cxn ang="0">
                <a:pos x="connsiteX28164" y="connsiteY28164"/>
              </a:cxn>
              <a:cxn ang="0">
                <a:pos x="connsiteX28165" y="connsiteY28165"/>
              </a:cxn>
              <a:cxn ang="0">
                <a:pos x="connsiteX28166" y="connsiteY28166"/>
              </a:cxn>
              <a:cxn ang="0">
                <a:pos x="connsiteX28167" y="connsiteY28167"/>
              </a:cxn>
              <a:cxn ang="0">
                <a:pos x="connsiteX28168" y="connsiteY28168"/>
              </a:cxn>
              <a:cxn ang="0">
                <a:pos x="connsiteX28169" y="connsiteY28169"/>
              </a:cxn>
              <a:cxn ang="0">
                <a:pos x="connsiteX28170" y="connsiteY28170"/>
              </a:cxn>
              <a:cxn ang="0">
                <a:pos x="connsiteX28171" y="connsiteY28171"/>
              </a:cxn>
              <a:cxn ang="0">
                <a:pos x="connsiteX28172" y="connsiteY28172"/>
              </a:cxn>
              <a:cxn ang="0">
                <a:pos x="connsiteX28173" y="connsiteY28173"/>
              </a:cxn>
              <a:cxn ang="0">
                <a:pos x="connsiteX28174" y="connsiteY28174"/>
              </a:cxn>
              <a:cxn ang="0">
                <a:pos x="connsiteX28175" y="connsiteY28175"/>
              </a:cxn>
              <a:cxn ang="0">
                <a:pos x="connsiteX28176" y="connsiteY28176"/>
              </a:cxn>
              <a:cxn ang="0">
                <a:pos x="connsiteX28177" y="connsiteY28177"/>
              </a:cxn>
              <a:cxn ang="0">
                <a:pos x="connsiteX28178" y="connsiteY28178"/>
              </a:cxn>
              <a:cxn ang="0">
                <a:pos x="connsiteX28179" y="connsiteY28179"/>
              </a:cxn>
              <a:cxn ang="0">
                <a:pos x="connsiteX28180" y="connsiteY28180"/>
              </a:cxn>
              <a:cxn ang="0">
                <a:pos x="connsiteX28181" y="connsiteY28181"/>
              </a:cxn>
              <a:cxn ang="0">
                <a:pos x="connsiteX28182" y="connsiteY28182"/>
              </a:cxn>
              <a:cxn ang="0">
                <a:pos x="connsiteX28183" y="connsiteY28183"/>
              </a:cxn>
              <a:cxn ang="0">
                <a:pos x="connsiteX28184" y="connsiteY28184"/>
              </a:cxn>
              <a:cxn ang="0">
                <a:pos x="connsiteX28185" y="connsiteY28185"/>
              </a:cxn>
              <a:cxn ang="0">
                <a:pos x="connsiteX28186" y="connsiteY28186"/>
              </a:cxn>
              <a:cxn ang="0">
                <a:pos x="connsiteX28187" y="connsiteY28187"/>
              </a:cxn>
              <a:cxn ang="0">
                <a:pos x="connsiteX28188" y="connsiteY28188"/>
              </a:cxn>
              <a:cxn ang="0">
                <a:pos x="connsiteX28189" y="connsiteY28189"/>
              </a:cxn>
              <a:cxn ang="0">
                <a:pos x="connsiteX28190" y="connsiteY28190"/>
              </a:cxn>
              <a:cxn ang="0">
                <a:pos x="connsiteX28191" y="connsiteY28191"/>
              </a:cxn>
              <a:cxn ang="0">
                <a:pos x="connsiteX28192" y="connsiteY28192"/>
              </a:cxn>
              <a:cxn ang="0">
                <a:pos x="connsiteX28193" y="connsiteY28193"/>
              </a:cxn>
              <a:cxn ang="0">
                <a:pos x="connsiteX28194" y="connsiteY28194"/>
              </a:cxn>
              <a:cxn ang="0">
                <a:pos x="connsiteX28195" y="connsiteY28195"/>
              </a:cxn>
              <a:cxn ang="0">
                <a:pos x="connsiteX28196" y="connsiteY28196"/>
              </a:cxn>
              <a:cxn ang="0">
                <a:pos x="connsiteX28197" y="connsiteY28197"/>
              </a:cxn>
              <a:cxn ang="0">
                <a:pos x="connsiteX28198" y="connsiteY28198"/>
              </a:cxn>
              <a:cxn ang="0">
                <a:pos x="connsiteX28199" y="connsiteY28199"/>
              </a:cxn>
              <a:cxn ang="0">
                <a:pos x="connsiteX28200" y="connsiteY28200"/>
              </a:cxn>
              <a:cxn ang="0">
                <a:pos x="connsiteX28201" y="connsiteY28201"/>
              </a:cxn>
              <a:cxn ang="0">
                <a:pos x="connsiteX28202" y="connsiteY28202"/>
              </a:cxn>
              <a:cxn ang="0">
                <a:pos x="connsiteX28203" y="connsiteY28203"/>
              </a:cxn>
              <a:cxn ang="0">
                <a:pos x="connsiteX28204" y="connsiteY28204"/>
              </a:cxn>
              <a:cxn ang="0">
                <a:pos x="connsiteX28205" y="connsiteY28205"/>
              </a:cxn>
              <a:cxn ang="0">
                <a:pos x="connsiteX28206" y="connsiteY28206"/>
              </a:cxn>
              <a:cxn ang="0">
                <a:pos x="connsiteX28207" y="connsiteY28207"/>
              </a:cxn>
              <a:cxn ang="0">
                <a:pos x="connsiteX28208" y="connsiteY28208"/>
              </a:cxn>
              <a:cxn ang="0">
                <a:pos x="connsiteX28209" y="connsiteY28209"/>
              </a:cxn>
              <a:cxn ang="0">
                <a:pos x="connsiteX28210" y="connsiteY28210"/>
              </a:cxn>
              <a:cxn ang="0">
                <a:pos x="connsiteX28211" y="connsiteY28211"/>
              </a:cxn>
              <a:cxn ang="0">
                <a:pos x="connsiteX28212" y="connsiteY28212"/>
              </a:cxn>
              <a:cxn ang="0">
                <a:pos x="connsiteX28213" y="connsiteY28213"/>
              </a:cxn>
              <a:cxn ang="0">
                <a:pos x="connsiteX28214" y="connsiteY28214"/>
              </a:cxn>
              <a:cxn ang="0">
                <a:pos x="connsiteX28215" y="connsiteY28215"/>
              </a:cxn>
              <a:cxn ang="0">
                <a:pos x="connsiteX28216" y="connsiteY28216"/>
              </a:cxn>
              <a:cxn ang="0">
                <a:pos x="connsiteX28217" y="connsiteY28217"/>
              </a:cxn>
              <a:cxn ang="0">
                <a:pos x="connsiteX28218" y="connsiteY28218"/>
              </a:cxn>
              <a:cxn ang="0">
                <a:pos x="connsiteX28219" y="connsiteY28219"/>
              </a:cxn>
              <a:cxn ang="0">
                <a:pos x="connsiteX28220" y="connsiteY28220"/>
              </a:cxn>
              <a:cxn ang="0">
                <a:pos x="connsiteX28221" y="connsiteY28221"/>
              </a:cxn>
              <a:cxn ang="0">
                <a:pos x="connsiteX28222" y="connsiteY28222"/>
              </a:cxn>
              <a:cxn ang="0">
                <a:pos x="connsiteX28223" y="connsiteY28223"/>
              </a:cxn>
              <a:cxn ang="0">
                <a:pos x="connsiteX28224" y="connsiteY28224"/>
              </a:cxn>
              <a:cxn ang="0">
                <a:pos x="connsiteX28225" y="connsiteY28225"/>
              </a:cxn>
              <a:cxn ang="0">
                <a:pos x="connsiteX28226" y="connsiteY28226"/>
              </a:cxn>
              <a:cxn ang="0">
                <a:pos x="connsiteX28227" y="connsiteY28227"/>
              </a:cxn>
              <a:cxn ang="0">
                <a:pos x="connsiteX28228" y="connsiteY28228"/>
              </a:cxn>
              <a:cxn ang="0">
                <a:pos x="connsiteX28229" y="connsiteY28229"/>
              </a:cxn>
              <a:cxn ang="0">
                <a:pos x="connsiteX28230" y="connsiteY28230"/>
              </a:cxn>
              <a:cxn ang="0">
                <a:pos x="connsiteX28231" y="connsiteY28231"/>
              </a:cxn>
              <a:cxn ang="0">
                <a:pos x="connsiteX28232" y="connsiteY28232"/>
              </a:cxn>
              <a:cxn ang="0">
                <a:pos x="connsiteX28233" y="connsiteY28233"/>
              </a:cxn>
              <a:cxn ang="0">
                <a:pos x="connsiteX28234" y="connsiteY28234"/>
              </a:cxn>
              <a:cxn ang="0">
                <a:pos x="connsiteX28235" y="connsiteY28235"/>
              </a:cxn>
              <a:cxn ang="0">
                <a:pos x="connsiteX28236" y="connsiteY28236"/>
              </a:cxn>
              <a:cxn ang="0">
                <a:pos x="connsiteX28237" y="connsiteY28237"/>
              </a:cxn>
              <a:cxn ang="0">
                <a:pos x="connsiteX28238" y="connsiteY28238"/>
              </a:cxn>
              <a:cxn ang="0">
                <a:pos x="connsiteX28239" y="connsiteY28239"/>
              </a:cxn>
              <a:cxn ang="0">
                <a:pos x="connsiteX28240" y="connsiteY28240"/>
              </a:cxn>
              <a:cxn ang="0">
                <a:pos x="connsiteX28241" y="connsiteY28241"/>
              </a:cxn>
              <a:cxn ang="0">
                <a:pos x="connsiteX28242" y="connsiteY28242"/>
              </a:cxn>
              <a:cxn ang="0">
                <a:pos x="connsiteX28243" y="connsiteY28243"/>
              </a:cxn>
              <a:cxn ang="0">
                <a:pos x="connsiteX28244" y="connsiteY28244"/>
              </a:cxn>
              <a:cxn ang="0">
                <a:pos x="connsiteX28245" y="connsiteY28245"/>
              </a:cxn>
              <a:cxn ang="0">
                <a:pos x="connsiteX28246" y="connsiteY28246"/>
              </a:cxn>
              <a:cxn ang="0">
                <a:pos x="connsiteX28247" y="connsiteY28247"/>
              </a:cxn>
              <a:cxn ang="0">
                <a:pos x="connsiteX28248" y="connsiteY28248"/>
              </a:cxn>
              <a:cxn ang="0">
                <a:pos x="connsiteX28249" y="connsiteY28249"/>
              </a:cxn>
              <a:cxn ang="0">
                <a:pos x="connsiteX28250" y="connsiteY28250"/>
              </a:cxn>
              <a:cxn ang="0">
                <a:pos x="connsiteX28251" y="connsiteY28251"/>
              </a:cxn>
              <a:cxn ang="0">
                <a:pos x="connsiteX28252" y="connsiteY28252"/>
              </a:cxn>
              <a:cxn ang="0">
                <a:pos x="connsiteX28253" y="connsiteY28253"/>
              </a:cxn>
              <a:cxn ang="0">
                <a:pos x="connsiteX28254" y="connsiteY28254"/>
              </a:cxn>
              <a:cxn ang="0">
                <a:pos x="connsiteX28255" y="connsiteY28255"/>
              </a:cxn>
              <a:cxn ang="0">
                <a:pos x="connsiteX28256" y="connsiteY28256"/>
              </a:cxn>
              <a:cxn ang="0">
                <a:pos x="connsiteX28257" y="connsiteY28257"/>
              </a:cxn>
              <a:cxn ang="0">
                <a:pos x="connsiteX28258" y="connsiteY28258"/>
              </a:cxn>
              <a:cxn ang="0">
                <a:pos x="connsiteX28259" y="connsiteY28259"/>
              </a:cxn>
              <a:cxn ang="0">
                <a:pos x="connsiteX28260" y="connsiteY28260"/>
              </a:cxn>
              <a:cxn ang="0">
                <a:pos x="connsiteX28261" y="connsiteY28261"/>
              </a:cxn>
              <a:cxn ang="0">
                <a:pos x="connsiteX28262" y="connsiteY28262"/>
              </a:cxn>
              <a:cxn ang="0">
                <a:pos x="connsiteX28263" y="connsiteY28263"/>
              </a:cxn>
              <a:cxn ang="0">
                <a:pos x="connsiteX28264" y="connsiteY28264"/>
              </a:cxn>
              <a:cxn ang="0">
                <a:pos x="connsiteX28265" y="connsiteY28265"/>
              </a:cxn>
              <a:cxn ang="0">
                <a:pos x="connsiteX28266" y="connsiteY28266"/>
              </a:cxn>
              <a:cxn ang="0">
                <a:pos x="connsiteX28267" y="connsiteY28267"/>
              </a:cxn>
              <a:cxn ang="0">
                <a:pos x="connsiteX28268" y="connsiteY28268"/>
              </a:cxn>
              <a:cxn ang="0">
                <a:pos x="connsiteX28269" y="connsiteY28269"/>
              </a:cxn>
              <a:cxn ang="0">
                <a:pos x="connsiteX28270" y="connsiteY28270"/>
              </a:cxn>
              <a:cxn ang="0">
                <a:pos x="connsiteX28271" y="connsiteY28271"/>
              </a:cxn>
              <a:cxn ang="0">
                <a:pos x="connsiteX28272" y="connsiteY28272"/>
              </a:cxn>
              <a:cxn ang="0">
                <a:pos x="connsiteX28273" y="connsiteY28273"/>
              </a:cxn>
              <a:cxn ang="0">
                <a:pos x="connsiteX28274" y="connsiteY28274"/>
              </a:cxn>
              <a:cxn ang="0">
                <a:pos x="connsiteX28275" y="connsiteY28275"/>
              </a:cxn>
              <a:cxn ang="0">
                <a:pos x="connsiteX28276" y="connsiteY28276"/>
              </a:cxn>
              <a:cxn ang="0">
                <a:pos x="connsiteX28277" y="connsiteY28277"/>
              </a:cxn>
              <a:cxn ang="0">
                <a:pos x="connsiteX28278" y="connsiteY28278"/>
              </a:cxn>
              <a:cxn ang="0">
                <a:pos x="connsiteX28279" y="connsiteY28279"/>
              </a:cxn>
              <a:cxn ang="0">
                <a:pos x="connsiteX28280" y="connsiteY28280"/>
              </a:cxn>
              <a:cxn ang="0">
                <a:pos x="connsiteX28281" y="connsiteY28281"/>
              </a:cxn>
              <a:cxn ang="0">
                <a:pos x="connsiteX28282" y="connsiteY28282"/>
              </a:cxn>
              <a:cxn ang="0">
                <a:pos x="connsiteX28283" y="connsiteY28283"/>
              </a:cxn>
              <a:cxn ang="0">
                <a:pos x="connsiteX28284" y="connsiteY28284"/>
              </a:cxn>
              <a:cxn ang="0">
                <a:pos x="connsiteX28285" y="connsiteY28285"/>
              </a:cxn>
              <a:cxn ang="0">
                <a:pos x="connsiteX28286" y="connsiteY28286"/>
              </a:cxn>
              <a:cxn ang="0">
                <a:pos x="connsiteX28287" y="connsiteY28287"/>
              </a:cxn>
              <a:cxn ang="0">
                <a:pos x="connsiteX28288" y="connsiteY28288"/>
              </a:cxn>
              <a:cxn ang="0">
                <a:pos x="connsiteX28289" y="connsiteY28289"/>
              </a:cxn>
              <a:cxn ang="0">
                <a:pos x="connsiteX28290" y="connsiteY28290"/>
              </a:cxn>
              <a:cxn ang="0">
                <a:pos x="connsiteX28291" y="connsiteY28291"/>
              </a:cxn>
              <a:cxn ang="0">
                <a:pos x="connsiteX28292" y="connsiteY28292"/>
              </a:cxn>
              <a:cxn ang="0">
                <a:pos x="connsiteX28293" y="connsiteY28293"/>
              </a:cxn>
              <a:cxn ang="0">
                <a:pos x="connsiteX28294" y="connsiteY28294"/>
              </a:cxn>
              <a:cxn ang="0">
                <a:pos x="connsiteX28295" y="connsiteY28295"/>
              </a:cxn>
              <a:cxn ang="0">
                <a:pos x="connsiteX28296" y="connsiteY28296"/>
              </a:cxn>
              <a:cxn ang="0">
                <a:pos x="connsiteX28297" y="connsiteY28297"/>
              </a:cxn>
              <a:cxn ang="0">
                <a:pos x="connsiteX28298" y="connsiteY28298"/>
              </a:cxn>
              <a:cxn ang="0">
                <a:pos x="connsiteX28299" y="connsiteY28299"/>
              </a:cxn>
              <a:cxn ang="0">
                <a:pos x="connsiteX28300" y="connsiteY28300"/>
              </a:cxn>
              <a:cxn ang="0">
                <a:pos x="connsiteX28301" y="connsiteY28301"/>
              </a:cxn>
              <a:cxn ang="0">
                <a:pos x="connsiteX28302" y="connsiteY28302"/>
              </a:cxn>
              <a:cxn ang="0">
                <a:pos x="connsiteX28303" y="connsiteY28303"/>
              </a:cxn>
              <a:cxn ang="0">
                <a:pos x="connsiteX28304" y="connsiteY28304"/>
              </a:cxn>
              <a:cxn ang="0">
                <a:pos x="connsiteX28305" y="connsiteY28305"/>
              </a:cxn>
              <a:cxn ang="0">
                <a:pos x="connsiteX28306" y="connsiteY28306"/>
              </a:cxn>
              <a:cxn ang="0">
                <a:pos x="connsiteX28307" y="connsiteY28307"/>
              </a:cxn>
              <a:cxn ang="0">
                <a:pos x="connsiteX28308" y="connsiteY28308"/>
              </a:cxn>
              <a:cxn ang="0">
                <a:pos x="connsiteX28309" y="connsiteY28309"/>
              </a:cxn>
              <a:cxn ang="0">
                <a:pos x="connsiteX28310" y="connsiteY28310"/>
              </a:cxn>
              <a:cxn ang="0">
                <a:pos x="connsiteX28311" y="connsiteY28311"/>
              </a:cxn>
              <a:cxn ang="0">
                <a:pos x="connsiteX28312" y="connsiteY28312"/>
              </a:cxn>
              <a:cxn ang="0">
                <a:pos x="connsiteX28313" y="connsiteY28313"/>
              </a:cxn>
              <a:cxn ang="0">
                <a:pos x="connsiteX28314" y="connsiteY28314"/>
              </a:cxn>
              <a:cxn ang="0">
                <a:pos x="connsiteX28315" y="connsiteY28315"/>
              </a:cxn>
              <a:cxn ang="0">
                <a:pos x="connsiteX28316" y="connsiteY28316"/>
              </a:cxn>
              <a:cxn ang="0">
                <a:pos x="connsiteX28317" y="connsiteY28317"/>
              </a:cxn>
              <a:cxn ang="0">
                <a:pos x="connsiteX28318" y="connsiteY28318"/>
              </a:cxn>
              <a:cxn ang="0">
                <a:pos x="connsiteX28319" y="connsiteY28319"/>
              </a:cxn>
              <a:cxn ang="0">
                <a:pos x="connsiteX28320" y="connsiteY28320"/>
              </a:cxn>
              <a:cxn ang="0">
                <a:pos x="connsiteX28321" y="connsiteY28321"/>
              </a:cxn>
              <a:cxn ang="0">
                <a:pos x="connsiteX28322" y="connsiteY28322"/>
              </a:cxn>
              <a:cxn ang="0">
                <a:pos x="connsiteX28323" y="connsiteY28323"/>
              </a:cxn>
              <a:cxn ang="0">
                <a:pos x="connsiteX28324" y="connsiteY28324"/>
              </a:cxn>
              <a:cxn ang="0">
                <a:pos x="connsiteX28325" y="connsiteY28325"/>
              </a:cxn>
              <a:cxn ang="0">
                <a:pos x="connsiteX28326" y="connsiteY28326"/>
              </a:cxn>
              <a:cxn ang="0">
                <a:pos x="connsiteX28327" y="connsiteY28327"/>
              </a:cxn>
              <a:cxn ang="0">
                <a:pos x="connsiteX28328" y="connsiteY28328"/>
              </a:cxn>
              <a:cxn ang="0">
                <a:pos x="connsiteX28329" y="connsiteY28329"/>
              </a:cxn>
              <a:cxn ang="0">
                <a:pos x="connsiteX28330" y="connsiteY28330"/>
              </a:cxn>
              <a:cxn ang="0">
                <a:pos x="connsiteX28331" y="connsiteY28331"/>
              </a:cxn>
              <a:cxn ang="0">
                <a:pos x="connsiteX28332" y="connsiteY28332"/>
              </a:cxn>
              <a:cxn ang="0">
                <a:pos x="connsiteX28333" y="connsiteY28333"/>
              </a:cxn>
              <a:cxn ang="0">
                <a:pos x="connsiteX28334" y="connsiteY28334"/>
              </a:cxn>
              <a:cxn ang="0">
                <a:pos x="connsiteX28335" y="connsiteY28335"/>
              </a:cxn>
              <a:cxn ang="0">
                <a:pos x="connsiteX28336" y="connsiteY28336"/>
              </a:cxn>
              <a:cxn ang="0">
                <a:pos x="connsiteX28337" y="connsiteY28337"/>
              </a:cxn>
              <a:cxn ang="0">
                <a:pos x="connsiteX28338" y="connsiteY28338"/>
              </a:cxn>
              <a:cxn ang="0">
                <a:pos x="connsiteX28339" y="connsiteY28339"/>
              </a:cxn>
              <a:cxn ang="0">
                <a:pos x="connsiteX28340" y="connsiteY28340"/>
              </a:cxn>
              <a:cxn ang="0">
                <a:pos x="connsiteX28341" y="connsiteY28341"/>
              </a:cxn>
              <a:cxn ang="0">
                <a:pos x="connsiteX28342" y="connsiteY28342"/>
              </a:cxn>
              <a:cxn ang="0">
                <a:pos x="connsiteX28343" y="connsiteY28343"/>
              </a:cxn>
              <a:cxn ang="0">
                <a:pos x="connsiteX28344" y="connsiteY28344"/>
              </a:cxn>
              <a:cxn ang="0">
                <a:pos x="connsiteX28345" y="connsiteY28345"/>
              </a:cxn>
              <a:cxn ang="0">
                <a:pos x="connsiteX28346" y="connsiteY28346"/>
              </a:cxn>
              <a:cxn ang="0">
                <a:pos x="connsiteX28347" y="connsiteY28347"/>
              </a:cxn>
              <a:cxn ang="0">
                <a:pos x="connsiteX28348" y="connsiteY28348"/>
              </a:cxn>
              <a:cxn ang="0">
                <a:pos x="connsiteX28349" y="connsiteY28349"/>
              </a:cxn>
              <a:cxn ang="0">
                <a:pos x="connsiteX28350" y="connsiteY28350"/>
              </a:cxn>
              <a:cxn ang="0">
                <a:pos x="connsiteX28351" y="connsiteY28351"/>
              </a:cxn>
              <a:cxn ang="0">
                <a:pos x="connsiteX28352" y="connsiteY28352"/>
              </a:cxn>
              <a:cxn ang="0">
                <a:pos x="connsiteX28353" y="connsiteY28353"/>
              </a:cxn>
              <a:cxn ang="0">
                <a:pos x="connsiteX28354" y="connsiteY28354"/>
              </a:cxn>
              <a:cxn ang="0">
                <a:pos x="connsiteX28355" y="connsiteY28355"/>
              </a:cxn>
              <a:cxn ang="0">
                <a:pos x="connsiteX28356" y="connsiteY28356"/>
              </a:cxn>
              <a:cxn ang="0">
                <a:pos x="connsiteX28357" y="connsiteY28357"/>
              </a:cxn>
              <a:cxn ang="0">
                <a:pos x="connsiteX28358" y="connsiteY28358"/>
              </a:cxn>
              <a:cxn ang="0">
                <a:pos x="connsiteX28359" y="connsiteY28359"/>
              </a:cxn>
              <a:cxn ang="0">
                <a:pos x="connsiteX28360" y="connsiteY28360"/>
              </a:cxn>
              <a:cxn ang="0">
                <a:pos x="connsiteX28361" y="connsiteY28361"/>
              </a:cxn>
              <a:cxn ang="0">
                <a:pos x="connsiteX28362" y="connsiteY28362"/>
              </a:cxn>
              <a:cxn ang="0">
                <a:pos x="connsiteX28363" y="connsiteY28363"/>
              </a:cxn>
              <a:cxn ang="0">
                <a:pos x="connsiteX28364" y="connsiteY28364"/>
              </a:cxn>
              <a:cxn ang="0">
                <a:pos x="connsiteX28365" y="connsiteY28365"/>
              </a:cxn>
              <a:cxn ang="0">
                <a:pos x="connsiteX28366" y="connsiteY28366"/>
              </a:cxn>
              <a:cxn ang="0">
                <a:pos x="connsiteX28367" y="connsiteY28367"/>
              </a:cxn>
              <a:cxn ang="0">
                <a:pos x="connsiteX28368" y="connsiteY28368"/>
              </a:cxn>
              <a:cxn ang="0">
                <a:pos x="connsiteX28369" y="connsiteY28369"/>
              </a:cxn>
              <a:cxn ang="0">
                <a:pos x="connsiteX28370" y="connsiteY28370"/>
              </a:cxn>
              <a:cxn ang="0">
                <a:pos x="connsiteX28371" y="connsiteY28371"/>
              </a:cxn>
              <a:cxn ang="0">
                <a:pos x="connsiteX28372" y="connsiteY28372"/>
              </a:cxn>
              <a:cxn ang="0">
                <a:pos x="connsiteX28373" y="connsiteY28373"/>
              </a:cxn>
              <a:cxn ang="0">
                <a:pos x="connsiteX28374" y="connsiteY28374"/>
              </a:cxn>
              <a:cxn ang="0">
                <a:pos x="connsiteX28375" y="connsiteY28375"/>
              </a:cxn>
              <a:cxn ang="0">
                <a:pos x="connsiteX28376" y="connsiteY28376"/>
              </a:cxn>
              <a:cxn ang="0">
                <a:pos x="connsiteX28377" y="connsiteY28377"/>
              </a:cxn>
              <a:cxn ang="0">
                <a:pos x="connsiteX28378" y="connsiteY28378"/>
              </a:cxn>
              <a:cxn ang="0">
                <a:pos x="connsiteX28379" y="connsiteY28379"/>
              </a:cxn>
              <a:cxn ang="0">
                <a:pos x="connsiteX28380" y="connsiteY28380"/>
              </a:cxn>
              <a:cxn ang="0">
                <a:pos x="connsiteX28381" y="connsiteY28381"/>
              </a:cxn>
              <a:cxn ang="0">
                <a:pos x="connsiteX28382" y="connsiteY28382"/>
              </a:cxn>
              <a:cxn ang="0">
                <a:pos x="connsiteX28383" y="connsiteY28383"/>
              </a:cxn>
              <a:cxn ang="0">
                <a:pos x="connsiteX28384" y="connsiteY28384"/>
              </a:cxn>
              <a:cxn ang="0">
                <a:pos x="connsiteX28385" y="connsiteY28385"/>
              </a:cxn>
              <a:cxn ang="0">
                <a:pos x="connsiteX28386" y="connsiteY28386"/>
              </a:cxn>
              <a:cxn ang="0">
                <a:pos x="connsiteX28387" y="connsiteY28387"/>
              </a:cxn>
              <a:cxn ang="0">
                <a:pos x="connsiteX28388" y="connsiteY28388"/>
              </a:cxn>
              <a:cxn ang="0">
                <a:pos x="connsiteX28389" y="connsiteY28389"/>
              </a:cxn>
              <a:cxn ang="0">
                <a:pos x="connsiteX28390" y="connsiteY28390"/>
              </a:cxn>
              <a:cxn ang="0">
                <a:pos x="connsiteX28391" y="connsiteY28391"/>
              </a:cxn>
              <a:cxn ang="0">
                <a:pos x="connsiteX28392" y="connsiteY28392"/>
              </a:cxn>
              <a:cxn ang="0">
                <a:pos x="connsiteX28393" y="connsiteY28393"/>
              </a:cxn>
              <a:cxn ang="0">
                <a:pos x="connsiteX28394" y="connsiteY28394"/>
              </a:cxn>
              <a:cxn ang="0">
                <a:pos x="connsiteX28395" y="connsiteY28395"/>
              </a:cxn>
              <a:cxn ang="0">
                <a:pos x="connsiteX28396" y="connsiteY28396"/>
              </a:cxn>
              <a:cxn ang="0">
                <a:pos x="connsiteX28397" y="connsiteY28397"/>
              </a:cxn>
              <a:cxn ang="0">
                <a:pos x="connsiteX28398" y="connsiteY28398"/>
              </a:cxn>
              <a:cxn ang="0">
                <a:pos x="connsiteX28399" y="connsiteY28399"/>
              </a:cxn>
              <a:cxn ang="0">
                <a:pos x="connsiteX28400" y="connsiteY28400"/>
              </a:cxn>
              <a:cxn ang="0">
                <a:pos x="connsiteX28401" y="connsiteY28401"/>
              </a:cxn>
              <a:cxn ang="0">
                <a:pos x="connsiteX28402" y="connsiteY28402"/>
              </a:cxn>
              <a:cxn ang="0">
                <a:pos x="connsiteX28403" y="connsiteY28403"/>
              </a:cxn>
              <a:cxn ang="0">
                <a:pos x="connsiteX28404" y="connsiteY28404"/>
              </a:cxn>
              <a:cxn ang="0">
                <a:pos x="connsiteX28405" y="connsiteY28405"/>
              </a:cxn>
              <a:cxn ang="0">
                <a:pos x="connsiteX28406" y="connsiteY28406"/>
              </a:cxn>
              <a:cxn ang="0">
                <a:pos x="connsiteX28407" y="connsiteY28407"/>
              </a:cxn>
              <a:cxn ang="0">
                <a:pos x="connsiteX28408" y="connsiteY28408"/>
              </a:cxn>
              <a:cxn ang="0">
                <a:pos x="connsiteX28409" y="connsiteY28409"/>
              </a:cxn>
              <a:cxn ang="0">
                <a:pos x="connsiteX28410" y="connsiteY28410"/>
              </a:cxn>
              <a:cxn ang="0">
                <a:pos x="connsiteX28411" y="connsiteY28411"/>
              </a:cxn>
              <a:cxn ang="0">
                <a:pos x="connsiteX28412" y="connsiteY28412"/>
              </a:cxn>
              <a:cxn ang="0">
                <a:pos x="connsiteX28413" y="connsiteY28413"/>
              </a:cxn>
              <a:cxn ang="0">
                <a:pos x="connsiteX28414" y="connsiteY28414"/>
              </a:cxn>
              <a:cxn ang="0">
                <a:pos x="connsiteX28415" y="connsiteY28415"/>
              </a:cxn>
              <a:cxn ang="0">
                <a:pos x="connsiteX28416" y="connsiteY28416"/>
              </a:cxn>
              <a:cxn ang="0">
                <a:pos x="connsiteX28417" y="connsiteY28417"/>
              </a:cxn>
              <a:cxn ang="0">
                <a:pos x="connsiteX28418" y="connsiteY28418"/>
              </a:cxn>
              <a:cxn ang="0">
                <a:pos x="connsiteX28419" y="connsiteY28419"/>
              </a:cxn>
              <a:cxn ang="0">
                <a:pos x="connsiteX28420" y="connsiteY28420"/>
              </a:cxn>
              <a:cxn ang="0">
                <a:pos x="connsiteX28421" y="connsiteY28421"/>
              </a:cxn>
              <a:cxn ang="0">
                <a:pos x="connsiteX28422" y="connsiteY28422"/>
              </a:cxn>
              <a:cxn ang="0">
                <a:pos x="connsiteX28423" y="connsiteY28423"/>
              </a:cxn>
              <a:cxn ang="0">
                <a:pos x="connsiteX28424" y="connsiteY28424"/>
              </a:cxn>
              <a:cxn ang="0">
                <a:pos x="connsiteX28425" y="connsiteY28425"/>
              </a:cxn>
              <a:cxn ang="0">
                <a:pos x="connsiteX28426" y="connsiteY28426"/>
              </a:cxn>
              <a:cxn ang="0">
                <a:pos x="connsiteX28427" y="connsiteY28427"/>
              </a:cxn>
              <a:cxn ang="0">
                <a:pos x="connsiteX28428" y="connsiteY28428"/>
              </a:cxn>
              <a:cxn ang="0">
                <a:pos x="connsiteX28429" y="connsiteY28429"/>
              </a:cxn>
              <a:cxn ang="0">
                <a:pos x="connsiteX28430" y="connsiteY28430"/>
              </a:cxn>
              <a:cxn ang="0">
                <a:pos x="connsiteX28431" y="connsiteY28431"/>
              </a:cxn>
              <a:cxn ang="0">
                <a:pos x="connsiteX28432" y="connsiteY28432"/>
              </a:cxn>
              <a:cxn ang="0">
                <a:pos x="connsiteX28433" y="connsiteY28433"/>
              </a:cxn>
              <a:cxn ang="0">
                <a:pos x="connsiteX28434" y="connsiteY28434"/>
              </a:cxn>
              <a:cxn ang="0">
                <a:pos x="connsiteX28435" y="connsiteY28435"/>
              </a:cxn>
              <a:cxn ang="0">
                <a:pos x="connsiteX28436" y="connsiteY28436"/>
              </a:cxn>
              <a:cxn ang="0">
                <a:pos x="connsiteX28437" y="connsiteY28437"/>
              </a:cxn>
              <a:cxn ang="0">
                <a:pos x="connsiteX28438" y="connsiteY28438"/>
              </a:cxn>
              <a:cxn ang="0">
                <a:pos x="connsiteX28439" y="connsiteY28439"/>
              </a:cxn>
              <a:cxn ang="0">
                <a:pos x="connsiteX28440" y="connsiteY28440"/>
              </a:cxn>
              <a:cxn ang="0">
                <a:pos x="connsiteX28441" y="connsiteY28441"/>
              </a:cxn>
              <a:cxn ang="0">
                <a:pos x="connsiteX28442" y="connsiteY28442"/>
              </a:cxn>
              <a:cxn ang="0">
                <a:pos x="connsiteX28443" y="connsiteY28443"/>
              </a:cxn>
              <a:cxn ang="0">
                <a:pos x="connsiteX28444" y="connsiteY28444"/>
              </a:cxn>
              <a:cxn ang="0">
                <a:pos x="connsiteX28445" y="connsiteY28445"/>
              </a:cxn>
              <a:cxn ang="0">
                <a:pos x="connsiteX28446" y="connsiteY28446"/>
              </a:cxn>
              <a:cxn ang="0">
                <a:pos x="connsiteX28447" y="connsiteY28447"/>
              </a:cxn>
              <a:cxn ang="0">
                <a:pos x="connsiteX28448" y="connsiteY28448"/>
              </a:cxn>
              <a:cxn ang="0">
                <a:pos x="connsiteX28449" y="connsiteY28449"/>
              </a:cxn>
              <a:cxn ang="0">
                <a:pos x="connsiteX28450" y="connsiteY28450"/>
              </a:cxn>
              <a:cxn ang="0">
                <a:pos x="connsiteX28451" y="connsiteY28451"/>
              </a:cxn>
              <a:cxn ang="0">
                <a:pos x="connsiteX28452" y="connsiteY28452"/>
              </a:cxn>
              <a:cxn ang="0">
                <a:pos x="connsiteX28453" y="connsiteY28453"/>
              </a:cxn>
              <a:cxn ang="0">
                <a:pos x="connsiteX28454" y="connsiteY28454"/>
              </a:cxn>
              <a:cxn ang="0">
                <a:pos x="connsiteX28455" y="connsiteY28455"/>
              </a:cxn>
              <a:cxn ang="0">
                <a:pos x="connsiteX28456" y="connsiteY28456"/>
              </a:cxn>
              <a:cxn ang="0">
                <a:pos x="connsiteX28457" y="connsiteY28457"/>
              </a:cxn>
              <a:cxn ang="0">
                <a:pos x="connsiteX28458" y="connsiteY28458"/>
              </a:cxn>
              <a:cxn ang="0">
                <a:pos x="connsiteX28459" y="connsiteY28459"/>
              </a:cxn>
              <a:cxn ang="0">
                <a:pos x="connsiteX28460" y="connsiteY28460"/>
              </a:cxn>
              <a:cxn ang="0">
                <a:pos x="connsiteX28461" y="connsiteY28461"/>
              </a:cxn>
              <a:cxn ang="0">
                <a:pos x="connsiteX28462" y="connsiteY28462"/>
              </a:cxn>
              <a:cxn ang="0">
                <a:pos x="connsiteX28463" y="connsiteY28463"/>
              </a:cxn>
              <a:cxn ang="0">
                <a:pos x="connsiteX28464" y="connsiteY28464"/>
              </a:cxn>
              <a:cxn ang="0">
                <a:pos x="connsiteX28465" y="connsiteY28465"/>
              </a:cxn>
              <a:cxn ang="0">
                <a:pos x="connsiteX28466" y="connsiteY28466"/>
              </a:cxn>
              <a:cxn ang="0">
                <a:pos x="connsiteX28467" y="connsiteY28467"/>
              </a:cxn>
              <a:cxn ang="0">
                <a:pos x="connsiteX28468" y="connsiteY28468"/>
              </a:cxn>
              <a:cxn ang="0">
                <a:pos x="connsiteX28469" y="connsiteY28469"/>
              </a:cxn>
              <a:cxn ang="0">
                <a:pos x="connsiteX28470" y="connsiteY28470"/>
              </a:cxn>
              <a:cxn ang="0">
                <a:pos x="connsiteX28471" y="connsiteY28471"/>
              </a:cxn>
              <a:cxn ang="0">
                <a:pos x="connsiteX28472" y="connsiteY28472"/>
              </a:cxn>
              <a:cxn ang="0">
                <a:pos x="connsiteX28473" y="connsiteY28473"/>
              </a:cxn>
              <a:cxn ang="0">
                <a:pos x="connsiteX28474" y="connsiteY28474"/>
              </a:cxn>
              <a:cxn ang="0">
                <a:pos x="connsiteX28475" y="connsiteY28475"/>
              </a:cxn>
              <a:cxn ang="0">
                <a:pos x="connsiteX28476" y="connsiteY28476"/>
              </a:cxn>
              <a:cxn ang="0">
                <a:pos x="connsiteX28477" y="connsiteY28477"/>
              </a:cxn>
              <a:cxn ang="0">
                <a:pos x="connsiteX28478" y="connsiteY28478"/>
              </a:cxn>
              <a:cxn ang="0">
                <a:pos x="connsiteX28479" y="connsiteY28479"/>
              </a:cxn>
              <a:cxn ang="0">
                <a:pos x="connsiteX28480" y="connsiteY28480"/>
              </a:cxn>
              <a:cxn ang="0">
                <a:pos x="connsiteX28481" y="connsiteY28481"/>
              </a:cxn>
              <a:cxn ang="0">
                <a:pos x="connsiteX28482" y="connsiteY28482"/>
              </a:cxn>
              <a:cxn ang="0">
                <a:pos x="connsiteX28483" y="connsiteY28483"/>
              </a:cxn>
              <a:cxn ang="0">
                <a:pos x="connsiteX28484" y="connsiteY28484"/>
              </a:cxn>
              <a:cxn ang="0">
                <a:pos x="connsiteX28485" y="connsiteY28485"/>
              </a:cxn>
              <a:cxn ang="0">
                <a:pos x="connsiteX28486" y="connsiteY28486"/>
              </a:cxn>
              <a:cxn ang="0">
                <a:pos x="connsiteX28487" y="connsiteY28487"/>
              </a:cxn>
              <a:cxn ang="0">
                <a:pos x="connsiteX28488" y="connsiteY28488"/>
              </a:cxn>
              <a:cxn ang="0">
                <a:pos x="connsiteX28489" y="connsiteY28489"/>
              </a:cxn>
              <a:cxn ang="0">
                <a:pos x="connsiteX28490" y="connsiteY28490"/>
              </a:cxn>
              <a:cxn ang="0">
                <a:pos x="connsiteX28491" y="connsiteY28491"/>
              </a:cxn>
              <a:cxn ang="0">
                <a:pos x="connsiteX28492" y="connsiteY28492"/>
              </a:cxn>
              <a:cxn ang="0">
                <a:pos x="connsiteX28493" y="connsiteY28493"/>
              </a:cxn>
              <a:cxn ang="0">
                <a:pos x="connsiteX28494" y="connsiteY28494"/>
              </a:cxn>
              <a:cxn ang="0">
                <a:pos x="connsiteX28495" y="connsiteY28495"/>
              </a:cxn>
              <a:cxn ang="0">
                <a:pos x="connsiteX28496" y="connsiteY28496"/>
              </a:cxn>
              <a:cxn ang="0">
                <a:pos x="connsiteX28497" y="connsiteY28497"/>
              </a:cxn>
              <a:cxn ang="0">
                <a:pos x="connsiteX28498" y="connsiteY28498"/>
              </a:cxn>
              <a:cxn ang="0">
                <a:pos x="connsiteX28499" y="connsiteY28499"/>
              </a:cxn>
              <a:cxn ang="0">
                <a:pos x="connsiteX28500" y="connsiteY28500"/>
              </a:cxn>
              <a:cxn ang="0">
                <a:pos x="connsiteX28501" y="connsiteY28501"/>
              </a:cxn>
              <a:cxn ang="0">
                <a:pos x="connsiteX28502" y="connsiteY28502"/>
              </a:cxn>
              <a:cxn ang="0">
                <a:pos x="connsiteX28503" y="connsiteY28503"/>
              </a:cxn>
              <a:cxn ang="0">
                <a:pos x="connsiteX28504" y="connsiteY28504"/>
              </a:cxn>
              <a:cxn ang="0">
                <a:pos x="connsiteX28505" y="connsiteY28505"/>
              </a:cxn>
              <a:cxn ang="0">
                <a:pos x="connsiteX28506" y="connsiteY28506"/>
              </a:cxn>
              <a:cxn ang="0">
                <a:pos x="connsiteX28507" y="connsiteY28507"/>
              </a:cxn>
              <a:cxn ang="0">
                <a:pos x="connsiteX28508" y="connsiteY28508"/>
              </a:cxn>
              <a:cxn ang="0">
                <a:pos x="connsiteX28509" y="connsiteY28509"/>
              </a:cxn>
              <a:cxn ang="0">
                <a:pos x="connsiteX28510" y="connsiteY28510"/>
              </a:cxn>
              <a:cxn ang="0">
                <a:pos x="connsiteX28511" y="connsiteY28511"/>
              </a:cxn>
              <a:cxn ang="0">
                <a:pos x="connsiteX28512" y="connsiteY28512"/>
              </a:cxn>
              <a:cxn ang="0">
                <a:pos x="connsiteX28513" y="connsiteY28513"/>
              </a:cxn>
              <a:cxn ang="0">
                <a:pos x="connsiteX28514" y="connsiteY28514"/>
              </a:cxn>
              <a:cxn ang="0">
                <a:pos x="connsiteX28515" y="connsiteY28515"/>
              </a:cxn>
              <a:cxn ang="0">
                <a:pos x="connsiteX28516" y="connsiteY28516"/>
              </a:cxn>
              <a:cxn ang="0">
                <a:pos x="connsiteX28517" y="connsiteY28517"/>
              </a:cxn>
              <a:cxn ang="0">
                <a:pos x="connsiteX28518" y="connsiteY28518"/>
              </a:cxn>
              <a:cxn ang="0">
                <a:pos x="connsiteX28519" y="connsiteY28519"/>
              </a:cxn>
              <a:cxn ang="0">
                <a:pos x="connsiteX28520" y="connsiteY28520"/>
              </a:cxn>
              <a:cxn ang="0">
                <a:pos x="connsiteX28521" y="connsiteY28521"/>
              </a:cxn>
              <a:cxn ang="0">
                <a:pos x="connsiteX28522" y="connsiteY28522"/>
              </a:cxn>
              <a:cxn ang="0">
                <a:pos x="connsiteX28523" y="connsiteY28523"/>
              </a:cxn>
              <a:cxn ang="0">
                <a:pos x="connsiteX28524" y="connsiteY28524"/>
              </a:cxn>
              <a:cxn ang="0">
                <a:pos x="connsiteX28525" y="connsiteY28525"/>
              </a:cxn>
              <a:cxn ang="0">
                <a:pos x="connsiteX28526" y="connsiteY28526"/>
              </a:cxn>
              <a:cxn ang="0">
                <a:pos x="connsiteX28527" y="connsiteY28527"/>
              </a:cxn>
              <a:cxn ang="0">
                <a:pos x="connsiteX28528" y="connsiteY28528"/>
              </a:cxn>
              <a:cxn ang="0">
                <a:pos x="connsiteX28529" y="connsiteY28529"/>
              </a:cxn>
              <a:cxn ang="0">
                <a:pos x="connsiteX28530" y="connsiteY28530"/>
              </a:cxn>
              <a:cxn ang="0">
                <a:pos x="connsiteX28531" y="connsiteY28531"/>
              </a:cxn>
              <a:cxn ang="0">
                <a:pos x="connsiteX28532" y="connsiteY28532"/>
              </a:cxn>
              <a:cxn ang="0">
                <a:pos x="connsiteX28533" y="connsiteY28533"/>
              </a:cxn>
              <a:cxn ang="0">
                <a:pos x="connsiteX28534" y="connsiteY28534"/>
              </a:cxn>
              <a:cxn ang="0">
                <a:pos x="connsiteX28535" y="connsiteY28535"/>
              </a:cxn>
              <a:cxn ang="0">
                <a:pos x="connsiteX28536" y="connsiteY28536"/>
              </a:cxn>
              <a:cxn ang="0">
                <a:pos x="connsiteX28537" y="connsiteY28537"/>
              </a:cxn>
              <a:cxn ang="0">
                <a:pos x="connsiteX28538" y="connsiteY28538"/>
              </a:cxn>
              <a:cxn ang="0">
                <a:pos x="connsiteX28539" y="connsiteY28539"/>
              </a:cxn>
              <a:cxn ang="0">
                <a:pos x="connsiteX28540" y="connsiteY28540"/>
              </a:cxn>
              <a:cxn ang="0">
                <a:pos x="connsiteX28541" y="connsiteY28541"/>
              </a:cxn>
              <a:cxn ang="0">
                <a:pos x="connsiteX28542" y="connsiteY28542"/>
              </a:cxn>
              <a:cxn ang="0">
                <a:pos x="connsiteX28543" y="connsiteY28543"/>
              </a:cxn>
              <a:cxn ang="0">
                <a:pos x="connsiteX28544" y="connsiteY28544"/>
              </a:cxn>
              <a:cxn ang="0">
                <a:pos x="connsiteX28545" y="connsiteY28545"/>
              </a:cxn>
              <a:cxn ang="0">
                <a:pos x="connsiteX28546" y="connsiteY28546"/>
              </a:cxn>
              <a:cxn ang="0">
                <a:pos x="connsiteX28547" y="connsiteY28547"/>
              </a:cxn>
              <a:cxn ang="0">
                <a:pos x="connsiteX28548" y="connsiteY28548"/>
              </a:cxn>
              <a:cxn ang="0">
                <a:pos x="connsiteX28549" y="connsiteY28549"/>
              </a:cxn>
              <a:cxn ang="0">
                <a:pos x="connsiteX28550" y="connsiteY28550"/>
              </a:cxn>
              <a:cxn ang="0">
                <a:pos x="connsiteX28551" y="connsiteY28551"/>
              </a:cxn>
              <a:cxn ang="0">
                <a:pos x="connsiteX28552" y="connsiteY28552"/>
              </a:cxn>
              <a:cxn ang="0">
                <a:pos x="connsiteX28553" y="connsiteY28553"/>
              </a:cxn>
              <a:cxn ang="0">
                <a:pos x="connsiteX28554" y="connsiteY28554"/>
              </a:cxn>
              <a:cxn ang="0">
                <a:pos x="connsiteX28555" y="connsiteY28555"/>
              </a:cxn>
              <a:cxn ang="0">
                <a:pos x="connsiteX28556" y="connsiteY28556"/>
              </a:cxn>
              <a:cxn ang="0">
                <a:pos x="connsiteX28557" y="connsiteY28557"/>
              </a:cxn>
              <a:cxn ang="0">
                <a:pos x="connsiteX28558" y="connsiteY28558"/>
              </a:cxn>
              <a:cxn ang="0">
                <a:pos x="connsiteX28559" y="connsiteY28559"/>
              </a:cxn>
              <a:cxn ang="0">
                <a:pos x="connsiteX28560" y="connsiteY28560"/>
              </a:cxn>
              <a:cxn ang="0">
                <a:pos x="connsiteX28561" y="connsiteY28561"/>
              </a:cxn>
              <a:cxn ang="0">
                <a:pos x="connsiteX28562" y="connsiteY28562"/>
              </a:cxn>
              <a:cxn ang="0">
                <a:pos x="connsiteX28563" y="connsiteY28563"/>
              </a:cxn>
              <a:cxn ang="0">
                <a:pos x="connsiteX28564" y="connsiteY28564"/>
              </a:cxn>
              <a:cxn ang="0">
                <a:pos x="connsiteX28565" y="connsiteY28565"/>
              </a:cxn>
              <a:cxn ang="0">
                <a:pos x="connsiteX28566" y="connsiteY28566"/>
              </a:cxn>
              <a:cxn ang="0">
                <a:pos x="connsiteX28567" y="connsiteY28567"/>
              </a:cxn>
              <a:cxn ang="0">
                <a:pos x="connsiteX28568" y="connsiteY28568"/>
              </a:cxn>
              <a:cxn ang="0">
                <a:pos x="connsiteX28569" y="connsiteY28569"/>
              </a:cxn>
              <a:cxn ang="0">
                <a:pos x="connsiteX28570" y="connsiteY28570"/>
              </a:cxn>
              <a:cxn ang="0">
                <a:pos x="connsiteX28571" y="connsiteY28571"/>
              </a:cxn>
              <a:cxn ang="0">
                <a:pos x="connsiteX28572" y="connsiteY28572"/>
              </a:cxn>
              <a:cxn ang="0">
                <a:pos x="connsiteX28573" y="connsiteY28573"/>
              </a:cxn>
              <a:cxn ang="0">
                <a:pos x="connsiteX28574" y="connsiteY28574"/>
              </a:cxn>
              <a:cxn ang="0">
                <a:pos x="connsiteX28575" y="connsiteY28575"/>
              </a:cxn>
              <a:cxn ang="0">
                <a:pos x="connsiteX28576" y="connsiteY28576"/>
              </a:cxn>
              <a:cxn ang="0">
                <a:pos x="connsiteX28577" y="connsiteY28577"/>
              </a:cxn>
              <a:cxn ang="0">
                <a:pos x="connsiteX28578" y="connsiteY28578"/>
              </a:cxn>
              <a:cxn ang="0">
                <a:pos x="connsiteX28579" y="connsiteY28579"/>
              </a:cxn>
              <a:cxn ang="0">
                <a:pos x="connsiteX28580" y="connsiteY28580"/>
              </a:cxn>
              <a:cxn ang="0">
                <a:pos x="connsiteX28581" y="connsiteY28581"/>
              </a:cxn>
              <a:cxn ang="0">
                <a:pos x="connsiteX28582" y="connsiteY28582"/>
              </a:cxn>
              <a:cxn ang="0">
                <a:pos x="connsiteX28583" y="connsiteY28583"/>
              </a:cxn>
              <a:cxn ang="0">
                <a:pos x="connsiteX28584" y="connsiteY28584"/>
              </a:cxn>
              <a:cxn ang="0">
                <a:pos x="connsiteX28585" y="connsiteY28585"/>
              </a:cxn>
              <a:cxn ang="0">
                <a:pos x="connsiteX28586" y="connsiteY28586"/>
              </a:cxn>
              <a:cxn ang="0">
                <a:pos x="connsiteX28587" y="connsiteY28587"/>
              </a:cxn>
              <a:cxn ang="0">
                <a:pos x="connsiteX28588" y="connsiteY28588"/>
              </a:cxn>
              <a:cxn ang="0">
                <a:pos x="connsiteX28589" y="connsiteY28589"/>
              </a:cxn>
              <a:cxn ang="0">
                <a:pos x="connsiteX28590" y="connsiteY28590"/>
              </a:cxn>
              <a:cxn ang="0">
                <a:pos x="connsiteX28591" y="connsiteY28591"/>
              </a:cxn>
              <a:cxn ang="0">
                <a:pos x="connsiteX28592" y="connsiteY28592"/>
              </a:cxn>
              <a:cxn ang="0">
                <a:pos x="connsiteX28593" y="connsiteY28593"/>
              </a:cxn>
              <a:cxn ang="0">
                <a:pos x="connsiteX28594" y="connsiteY28594"/>
              </a:cxn>
              <a:cxn ang="0">
                <a:pos x="connsiteX28595" y="connsiteY28595"/>
              </a:cxn>
              <a:cxn ang="0">
                <a:pos x="connsiteX28596" y="connsiteY28596"/>
              </a:cxn>
              <a:cxn ang="0">
                <a:pos x="connsiteX28597" y="connsiteY28597"/>
              </a:cxn>
              <a:cxn ang="0">
                <a:pos x="connsiteX28598" y="connsiteY28598"/>
              </a:cxn>
              <a:cxn ang="0">
                <a:pos x="connsiteX28599" y="connsiteY28599"/>
              </a:cxn>
              <a:cxn ang="0">
                <a:pos x="connsiteX28600" y="connsiteY28600"/>
              </a:cxn>
              <a:cxn ang="0">
                <a:pos x="connsiteX28601" y="connsiteY28601"/>
              </a:cxn>
              <a:cxn ang="0">
                <a:pos x="connsiteX28602" y="connsiteY28602"/>
              </a:cxn>
              <a:cxn ang="0">
                <a:pos x="connsiteX28603" y="connsiteY28603"/>
              </a:cxn>
              <a:cxn ang="0">
                <a:pos x="connsiteX28604" y="connsiteY28604"/>
              </a:cxn>
              <a:cxn ang="0">
                <a:pos x="connsiteX28605" y="connsiteY28605"/>
              </a:cxn>
              <a:cxn ang="0">
                <a:pos x="connsiteX28606" y="connsiteY28606"/>
              </a:cxn>
              <a:cxn ang="0">
                <a:pos x="connsiteX28607" y="connsiteY28607"/>
              </a:cxn>
              <a:cxn ang="0">
                <a:pos x="connsiteX28608" y="connsiteY28608"/>
              </a:cxn>
              <a:cxn ang="0">
                <a:pos x="connsiteX28609" y="connsiteY28609"/>
              </a:cxn>
              <a:cxn ang="0">
                <a:pos x="connsiteX28610" y="connsiteY28610"/>
              </a:cxn>
              <a:cxn ang="0">
                <a:pos x="connsiteX28611" y="connsiteY28611"/>
              </a:cxn>
              <a:cxn ang="0">
                <a:pos x="connsiteX28612" y="connsiteY28612"/>
              </a:cxn>
              <a:cxn ang="0">
                <a:pos x="connsiteX28613" y="connsiteY28613"/>
              </a:cxn>
              <a:cxn ang="0">
                <a:pos x="connsiteX28614" y="connsiteY28614"/>
              </a:cxn>
              <a:cxn ang="0">
                <a:pos x="connsiteX28615" y="connsiteY28615"/>
              </a:cxn>
              <a:cxn ang="0">
                <a:pos x="connsiteX28616" y="connsiteY28616"/>
              </a:cxn>
              <a:cxn ang="0">
                <a:pos x="connsiteX28617" y="connsiteY28617"/>
              </a:cxn>
              <a:cxn ang="0">
                <a:pos x="connsiteX28618" y="connsiteY28618"/>
              </a:cxn>
              <a:cxn ang="0">
                <a:pos x="connsiteX28619" y="connsiteY28619"/>
              </a:cxn>
              <a:cxn ang="0">
                <a:pos x="connsiteX28620" y="connsiteY28620"/>
              </a:cxn>
              <a:cxn ang="0">
                <a:pos x="connsiteX28621" y="connsiteY28621"/>
              </a:cxn>
              <a:cxn ang="0">
                <a:pos x="connsiteX28622" y="connsiteY28622"/>
              </a:cxn>
              <a:cxn ang="0">
                <a:pos x="connsiteX28623" y="connsiteY28623"/>
              </a:cxn>
              <a:cxn ang="0">
                <a:pos x="connsiteX28624" y="connsiteY28624"/>
              </a:cxn>
              <a:cxn ang="0">
                <a:pos x="connsiteX28625" y="connsiteY28625"/>
              </a:cxn>
              <a:cxn ang="0">
                <a:pos x="connsiteX28626" y="connsiteY28626"/>
              </a:cxn>
              <a:cxn ang="0">
                <a:pos x="connsiteX28627" y="connsiteY28627"/>
              </a:cxn>
              <a:cxn ang="0">
                <a:pos x="connsiteX28628" y="connsiteY28628"/>
              </a:cxn>
              <a:cxn ang="0">
                <a:pos x="connsiteX28629" y="connsiteY28629"/>
              </a:cxn>
              <a:cxn ang="0">
                <a:pos x="connsiteX28630" y="connsiteY28630"/>
              </a:cxn>
              <a:cxn ang="0">
                <a:pos x="connsiteX28631" y="connsiteY28631"/>
              </a:cxn>
              <a:cxn ang="0">
                <a:pos x="connsiteX28632" y="connsiteY28632"/>
              </a:cxn>
              <a:cxn ang="0">
                <a:pos x="connsiteX28633" y="connsiteY28633"/>
              </a:cxn>
              <a:cxn ang="0">
                <a:pos x="connsiteX28634" y="connsiteY28634"/>
              </a:cxn>
              <a:cxn ang="0">
                <a:pos x="connsiteX28635" y="connsiteY28635"/>
              </a:cxn>
              <a:cxn ang="0">
                <a:pos x="connsiteX28636" y="connsiteY28636"/>
              </a:cxn>
              <a:cxn ang="0">
                <a:pos x="connsiteX28637" y="connsiteY28637"/>
              </a:cxn>
              <a:cxn ang="0">
                <a:pos x="connsiteX28638" y="connsiteY28638"/>
              </a:cxn>
              <a:cxn ang="0">
                <a:pos x="connsiteX28639" y="connsiteY28639"/>
              </a:cxn>
              <a:cxn ang="0">
                <a:pos x="connsiteX28640" y="connsiteY28640"/>
              </a:cxn>
              <a:cxn ang="0">
                <a:pos x="connsiteX28641" y="connsiteY28641"/>
              </a:cxn>
              <a:cxn ang="0">
                <a:pos x="connsiteX28642" y="connsiteY28642"/>
              </a:cxn>
              <a:cxn ang="0">
                <a:pos x="connsiteX28643" y="connsiteY28643"/>
              </a:cxn>
              <a:cxn ang="0">
                <a:pos x="connsiteX28644" y="connsiteY28644"/>
              </a:cxn>
              <a:cxn ang="0">
                <a:pos x="connsiteX28645" y="connsiteY28645"/>
              </a:cxn>
              <a:cxn ang="0">
                <a:pos x="connsiteX28646" y="connsiteY28646"/>
              </a:cxn>
              <a:cxn ang="0">
                <a:pos x="connsiteX28647" y="connsiteY28647"/>
              </a:cxn>
              <a:cxn ang="0">
                <a:pos x="connsiteX28648" y="connsiteY28648"/>
              </a:cxn>
              <a:cxn ang="0">
                <a:pos x="connsiteX28649" y="connsiteY28649"/>
              </a:cxn>
              <a:cxn ang="0">
                <a:pos x="connsiteX28650" y="connsiteY28650"/>
              </a:cxn>
              <a:cxn ang="0">
                <a:pos x="connsiteX28651" y="connsiteY28651"/>
              </a:cxn>
              <a:cxn ang="0">
                <a:pos x="connsiteX28652" y="connsiteY28652"/>
              </a:cxn>
              <a:cxn ang="0">
                <a:pos x="connsiteX28653" y="connsiteY28653"/>
              </a:cxn>
              <a:cxn ang="0">
                <a:pos x="connsiteX28654" y="connsiteY28654"/>
              </a:cxn>
              <a:cxn ang="0">
                <a:pos x="connsiteX28655" y="connsiteY28655"/>
              </a:cxn>
              <a:cxn ang="0">
                <a:pos x="connsiteX28656" y="connsiteY28656"/>
              </a:cxn>
              <a:cxn ang="0">
                <a:pos x="connsiteX28657" y="connsiteY28657"/>
              </a:cxn>
              <a:cxn ang="0">
                <a:pos x="connsiteX28658" y="connsiteY28658"/>
              </a:cxn>
              <a:cxn ang="0">
                <a:pos x="connsiteX28659" y="connsiteY28659"/>
              </a:cxn>
              <a:cxn ang="0">
                <a:pos x="connsiteX28660" y="connsiteY28660"/>
              </a:cxn>
              <a:cxn ang="0">
                <a:pos x="connsiteX28661" y="connsiteY28661"/>
              </a:cxn>
              <a:cxn ang="0">
                <a:pos x="connsiteX28662" y="connsiteY28662"/>
              </a:cxn>
              <a:cxn ang="0">
                <a:pos x="connsiteX28663" y="connsiteY28663"/>
              </a:cxn>
              <a:cxn ang="0">
                <a:pos x="connsiteX28664" y="connsiteY28664"/>
              </a:cxn>
              <a:cxn ang="0">
                <a:pos x="connsiteX28665" y="connsiteY28665"/>
              </a:cxn>
              <a:cxn ang="0">
                <a:pos x="connsiteX28666" y="connsiteY28666"/>
              </a:cxn>
              <a:cxn ang="0">
                <a:pos x="connsiteX28667" y="connsiteY28667"/>
              </a:cxn>
              <a:cxn ang="0">
                <a:pos x="connsiteX28668" y="connsiteY28668"/>
              </a:cxn>
              <a:cxn ang="0">
                <a:pos x="connsiteX28669" y="connsiteY28669"/>
              </a:cxn>
              <a:cxn ang="0">
                <a:pos x="connsiteX28670" y="connsiteY28670"/>
              </a:cxn>
              <a:cxn ang="0">
                <a:pos x="connsiteX28671" y="connsiteY28671"/>
              </a:cxn>
              <a:cxn ang="0">
                <a:pos x="connsiteX28672" y="connsiteY28672"/>
              </a:cxn>
              <a:cxn ang="0">
                <a:pos x="connsiteX28673" y="connsiteY28673"/>
              </a:cxn>
              <a:cxn ang="0">
                <a:pos x="connsiteX28674" y="connsiteY28674"/>
              </a:cxn>
              <a:cxn ang="0">
                <a:pos x="connsiteX28675" y="connsiteY28675"/>
              </a:cxn>
              <a:cxn ang="0">
                <a:pos x="connsiteX28676" y="connsiteY28676"/>
              </a:cxn>
              <a:cxn ang="0">
                <a:pos x="connsiteX28677" y="connsiteY28677"/>
              </a:cxn>
              <a:cxn ang="0">
                <a:pos x="connsiteX28678" y="connsiteY28678"/>
              </a:cxn>
              <a:cxn ang="0">
                <a:pos x="connsiteX28679" y="connsiteY28679"/>
              </a:cxn>
              <a:cxn ang="0">
                <a:pos x="connsiteX28680" y="connsiteY28680"/>
              </a:cxn>
              <a:cxn ang="0">
                <a:pos x="connsiteX28681" y="connsiteY28681"/>
              </a:cxn>
              <a:cxn ang="0">
                <a:pos x="connsiteX28682" y="connsiteY28682"/>
              </a:cxn>
              <a:cxn ang="0">
                <a:pos x="connsiteX28683" y="connsiteY28683"/>
              </a:cxn>
              <a:cxn ang="0">
                <a:pos x="connsiteX28684" y="connsiteY28684"/>
              </a:cxn>
              <a:cxn ang="0">
                <a:pos x="connsiteX28685" y="connsiteY28685"/>
              </a:cxn>
              <a:cxn ang="0">
                <a:pos x="connsiteX28686" y="connsiteY28686"/>
              </a:cxn>
              <a:cxn ang="0">
                <a:pos x="connsiteX28687" y="connsiteY28687"/>
              </a:cxn>
              <a:cxn ang="0">
                <a:pos x="connsiteX28688" y="connsiteY28688"/>
              </a:cxn>
              <a:cxn ang="0">
                <a:pos x="connsiteX28689" y="connsiteY28689"/>
              </a:cxn>
              <a:cxn ang="0">
                <a:pos x="connsiteX28690" y="connsiteY28690"/>
              </a:cxn>
              <a:cxn ang="0">
                <a:pos x="connsiteX28691" y="connsiteY28691"/>
              </a:cxn>
              <a:cxn ang="0">
                <a:pos x="connsiteX28692" y="connsiteY28692"/>
              </a:cxn>
              <a:cxn ang="0">
                <a:pos x="connsiteX28693" y="connsiteY28693"/>
              </a:cxn>
              <a:cxn ang="0">
                <a:pos x="connsiteX28694" y="connsiteY28694"/>
              </a:cxn>
              <a:cxn ang="0">
                <a:pos x="connsiteX28695" y="connsiteY28695"/>
              </a:cxn>
              <a:cxn ang="0">
                <a:pos x="connsiteX28696" y="connsiteY28696"/>
              </a:cxn>
              <a:cxn ang="0">
                <a:pos x="connsiteX28697" y="connsiteY28697"/>
              </a:cxn>
              <a:cxn ang="0">
                <a:pos x="connsiteX28698" y="connsiteY28698"/>
              </a:cxn>
              <a:cxn ang="0">
                <a:pos x="connsiteX28699" y="connsiteY28699"/>
              </a:cxn>
              <a:cxn ang="0">
                <a:pos x="connsiteX28700" y="connsiteY28700"/>
              </a:cxn>
              <a:cxn ang="0">
                <a:pos x="connsiteX28701" y="connsiteY28701"/>
              </a:cxn>
              <a:cxn ang="0">
                <a:pos x="connsiteX28702" y="connsiteY28702"/>
              </a:cxn>
              <a:cxn ang="0">
                <a:pos x="connsiteX28703" y="connsiteY28703"/>
              </a:cxn>
              <a:cxn ang="0">
                <a:pos x="connsiteX28704" y="connsiteY28704"/>
              </a:cxn>
              <a:cxn ang="0">
                <a:pos x="connsiteX28705" y="connsiteY28705"/>
              </a:cxn>
              <a:cxn ang="0">
                <a:pos x="connsiteX28706" y="connsiteY28706"/>
              </a:cxn>
              <a:cxn ang="0">
                <a:pos x="connsiteX28707" y="connsiteY28707"/>
              </a:cxn>
              <a:cxn ang="0">
                <a:pos x="connsiteX28708" y="connsiteY28708"/>
              </a:cxn>
              <a:cxn ang="0">
                <a:pos x="connsiteX28709" y="connsiteY28709"/>
              </a:cxn>
              <a:cxn ang="0">
                <a:pos x="connsiteX28710" y="connsiteY28710"/>
              </a:cxn>
              <a:cxn ang="0">
                <a:pos x="connsiteX28711" y="connsiteY28711"/>
              </a:cxn>
              <a:cxn ang="0">
                <a:pos x="connsiteX28712" y="connsiteY28712"/>
              </a:cxn>
              <a:cxn ang="0">
                <a:pos x="connsiteX28713" y="connsiteY28713"/>
              </a:cxn>
              <a:cxn ang="0">
                <a:pos x="connsiteX28714" y="connsiteY28714"/>
              </a:cxn>
              <a:cxn ang="0">
                <a:pos x="connsiteX28715" y="connsiteY28715"/>
              </a:cxn>
              <a:cxn ang="0">
                <a:pos x="connsiteX28716" y="connsiteY28716"/>
              </a:cxn>
              <a:cxn ang="0">
                <a:pos x="connsiteX28717" y="connsiteY28717"/>
              </a:cxn>
              <a:cxn ang="0">
                <a:pos x="connsiteX28718" y="connsiteY28718"/>
              </a:cxn>
              <a:cxn ang="0">
                <a:pos x="connsiteX28719" y="connsiteY28719"/>
              </a:cxn>
              <a:cxn ang="0">
                <a:pos x="connsiteX28720" y="connsiteY28720"/>
              </a:cxn>
              <a:cxn ang="0">
                <a:pos x="connsiteX28721" y="connsiteY28721"/>
              </a:cxn>
              <a:cxn ang="0">
                <a:pos x="connsiteX28722" y="connsiteY28722"/>
              </a:cxn>
              <a:cxn ang="0">
                <a:pos x="connsiteX28723" y="connsiteY28723"/>
              </a:cxn>
              <a:cxn ang="0">
                <a:pos x="connsiteX28724" y="connsiteY28724"/>
              </a:cxn>
              <a:cxn ang="0">
                <a:pos x="connsiteX28725" y="connsiteY28725"/>
              </a:cxn>
              <a:cxn ang="0">
                <a:pos x="connsiteX28726" y="connsiteY28726"/>
              </a:cxn>
              <a:cxn ang="0">
                <a:pos x="connsiteX28727" y="connsiteY28727"/>
              </a:cxn>
              <a:cxn ang="0">
                <a:pos x="connsiteX28728" y="connsiteY28728"/>
              </a:cxn>
              <a:cxn ang="0">
                <a:pos x="connsiteX28729" y="connsiteY28729"/>
              </a:cxn>
              <a:cxn ang="0">
                <a:pos x="connsiteX28730" y="connsiteY28730"/>
              </a:cxn>
              <a:cxn ang="0">
                <a:pos x="connsiteX28731" y="connsiteY28731"/>
              </a:cxn>
              <a:cxn ang="0">
                <a:pos x="connsiteX28732" y="connsiteY28732"/>
              </a:cxn>
              <a:cxn ang="0">
                <a:pos x="connsiteX28733" y="connsiteY28733"/>
              </a:cxn>
              <a:cxn ang="0">
                <a:pos x="connsiteX28734" y="connsiteY28734"/>
              </a:cxn>
              <a:cxn ang="0">
                <a:pos x="connsiteX28735" y="connsiteY28735"/>
              </a:cxn>
              <a:cxn ang="0">
                <a:pos x="connsiteX28736" y="connsiteY28736"/>
              </a:cxn>
              <a:cxn ang="0">
                <a:pos x="connsiteX28737" y="connsiteY28737"/>
              </a:cxn>
              <a:cxn ang="0">
                <a:pos x="connsiteX28738" y="connsiteY28738"/>
              </a:cxn>
              <a:cxn ang="0">
                <a:pos x="connsiteX28739" y="connsiteY28739"/>
              </a:cxn>
              <a:cxn ang="0">
                <a:pos x="connsiteX28740" y="connsiteY28740"/>
              </a:cxn>
              <a:cxn ang="0">
                <a:pos x="connsiteX28741" y="connsiteY28741"/>
              </a:cxn>
              <a:cxn ang="0">
                <a:pos x="connsiteX28742" y="connsiteY28742"/>
              </a:cxn>
              <a:cxn ang="0">
                <a:pos x="connsiteX28743" y="connsiteY28743"/>
              </a:cxn>
              <a:cxn ang="0">
                <a:pos x="connsiteX28744" y="connsiteY28744"/>
              </a:cxn>
              <a:cxn ang="0">
                <a:pos x="connsiteX28745" y="connsiteY28745"/>
              </a:cxn>
              <a:cxn ang="0">
                <a:pos x="connsiteX28746" y="connsiteY28746"/>
              </a:cxn>
              <a:cxn ang="0">
                <a:pos x="connsiteX28747" y="connsiteY28747"/>
              </a:cxn>
              <a:cxn ang="0">
                <a:pos x="connsiteX28748" y="connsiteY28748"/>
              </a:cxn>
              <a:cxn ang="0">
                <a:pos x="connsiteX28749" y="connsiteY28749"/>
              </a:cxn>
              <a:cxn ang="0">
                <a:pos x="connsiteX28750" y="connsiteY28750"/>
              </a:cxn>
              <a:cxn ang="0">
                <a:pos x="connsiteX28751" y="connsiteY28751"/>
              </a:cxn>
              <a:cxn ang="0">
                <a:pos x="connsiteX28752" y="connsiteY28752"/>
              </a:cxn>
              <a:cxn ang="0">
                <a:pos x="connsiteX28753" y="connsiteY28753"/>
              </a:cxn>
              <a:cxn ang="0">
                <a:pos x="connsiteX28754" y="connsiteY28754"/>
              </a:cxn>
              <a:cxn ang="0">
                <a:pos x="connsiteX28755" y="connsiteY28755"/>
              </a:cxn>
              <a:cxn ang="0">
                <a:pos x="connsiteX28756" y="connsiteY28756"/>
              </a:cxn>
              <a:cxn ang="0">
                <a:pos x="connsiteX28757" y="connsiteY28757"/>
              </a:cxn>
              <a:cxn ang="0">
                <a:pos x="connsiteX28758" y="connsiteY28758"/>
              </a:cxn>
              <a:cxn ang="0">
                <a:pos x="connsiteX28759" y="connsiteY28759"/>
              </a:cxn>
              <a:cxn ang="0">
                <a:pos x="connsiteX28760" y="connsiteY28760"/>
              </a:cxn>
              <a:cxn ang="0">
                <a:pos x="connsiteX28761" y="connsiteY28761"/>
              </a:cxn>
              <a:cxn ang="0">
                <a:pos x="connsiteX28762" y="connsiteY28762"/>
              </a:cxn>
              <a:cxn ang="0">
                <a:pos x="connsiteX28763" y="connsiteY28763"/>
              </a:cxn>
              <a:cxn ang="0">
                <a:pos x="connsiteX28764" y="connsiteY28764"/>
              </a:cxn>
              <a:cxn ang="0">
                <a:pos x="connsiteX28765" y="connsiteY28765"/>
              </a:cxn>
              <a:cxn ang="0">
                <a:pos x="connsiteX28766" y="connsiteY28766"/>
              </a:cxn>
              <a:cxn ang="0">
                <a:pos x="connsiteX28767" y="connsiteY28767"/>
              </a:cxn>
              <a:cxn ang="0">
                <a:pos x="connsiteX28768" y="connsiteY28768"/>
              </a:cxn>
              <a:cxn ang="0">
                <a:pos x="connsiteX28769" y="connsiteY28769"/>
              </a:cxn>
              <a:cxn ang="0">
                <a:pos x="connsiteX28770" y="connsiteY28770"/>
              </a:cxn>
              <a:cxn ang="0">
                <a:pos x="connsiteX28771" y="connsiteY28771"/>
              </a:cxn>
              <a:cxn ang="0">
                <a:pos x="connsiteX28772" y="connsiteY28772"/>
              </a:cxn>
              <a:cxn ang="0">
                <a:pos x="connsiteX28773" y="connsiteY28773"/>
              </a:cxn>
              <a:cxn ang="0">
                <a:pos x="connsiteX28774" y="connsiteY28774"/>
              </a:cxn>
              <a:cxn ang="0">
                <a:pos x="connsiteX28775" y="connsiteY28775"/>
              </a:cxn>
              <a:cxn ang="0">
                <a:pos x="connsiteX28776" y="connsiteY28776"/>
              </a:cxn>
              <a:cxn ang="0">
                <a:pos x="connsiteX28777" y="connsiteY28777"/>
              </a:cxn>
              <a:cxn ang="0">
                <a:pos x="connsiteX28778" y="connsiteY28778"/>
              </a:cxn>
              <a:cxn ang="0">
                <a:pos x="connsiteX28779" y="connsiteY28779"/>
              </a:cxn>
              <a:cxn ang="0">
                <a:pos x="connsiteX28780" y="connsiteY28780"/>
              </a:cxn>
              <a:cxn ang="0">
                <a:pos x="connsiteX28781" y="connsiteY28781"/>
              </a:cxn>
              <a:cxn ang="0">
                <a:pos x="connsiteX28782" y="connsiteY28782"/>
              </a:cxn>
              <a:cxn ang="0">
                <a:pos x="connsiteX28783" y="connsiteY28783"/>
              </a:cxn>
              <a:cxn ang="0">
                <a:pos x="connsiteX28784" y="connsiteY28784"/>
              </a:cxn>
              <a:cxn ang="0">
                <a:pos x="connsiteX28785" y="connsiteY28785"/>
              </a:cxn>
              <a:cxn ang="0">
                <a:pos x="connsiteX28786" y="connsiteY28786"/>
              </a:cxn>
              <a:cxn ang="0">
                <a:pos x="connsiteX28787" y="connsiteY28787"/>
              </a:cxn>
              <a:cxn ang="0">
                <a:pos x="connsiteX28788" y="connsiteY28788"/>
              </a:cxn>
              <a:cxn ang="0">
                <a:pos x="connsiteX28789" y="connsiteY28789"/>
              </a:cxn>
              <a:cxn ang="0">
                <a:pos x="connsiteX28790" y="connsiteY28790"/>
              </a:cxn>
              <a:cxn ang="0">
                <a:pos x="connsiteX28791" y="connsiteY28791"/>
              </a:cxn>
              <a:cxn ang="0">
                <a:pos x="connsiteX28792" y="connsiteY28792"/>
              </a:cxn>
              <a:cxn ang="0">
                <a:pos x="connsiteX28793" y="connsiteY28793"/>
              </a:cxn>
              <a:cxn ang="0">
                <a:pos x="connsiteX28794" y="connsiteY28794"/>
              </a:cxn>
              <a:cxn ang="0">
                <a:pos x="connsiteX28795" y="connsiteY28795"/>
              </a:cxn>
              <a:cxn ang="0">
                <a:pos x="connsiteX28796" y="connsiteY28796"/>
              </a:cxn>
              <a:cxn ang="0">
                <a:pos x="connsiteX28797" y="connsiteY28797"/>
              </a:cxn>
              <a:cxn ang="0">
                <a:pos x="connsiteX28798" y="connsiteY28798"/>
              </a:cxn>
              <a:cxn ang="0">
                <a:pos x="connsiteX28799" y="connsiteY28799"/>
              </a:cxn>
              <a:cxn ang="0">
                <a:pos x="connsiteX28800" y="connsiteY28800"/>
              </a:cxn>
              <a:cxn ang="0">
                <a:pos x="connsiteX28801" y="connsiteY28801"/>
              </a:cxn>
              <a:cxn ang="0">
                <a:pos x="connsiteX28802" y="connsiteY28802"/>
              </a:cxn>
              <a:cxn ang="0">
                <a:pos x="connsiteX28803" y="connsiteY28803"/>
              </a:cxn>
              <a:cxn ang="0">
                <a:pos x="connsiteX28804" y="connsiteY28804"/>
              </a:cxn>
              <a:cxn ang="0">
                <a:pos x="connsiteX28805" y="connsiteY28805"/>
              </a:cxn>
              <a:cxn ang="0">
                <a:pos x="connsiteX28806" y="connsiteY28806"/>
              </a:cxn>
              <a:cxn ang="0">
                <a:pos x="connsiteX28807" y="connsiteY28807"/>
              </a:cxn>
              <a:cxn ang="0">
                <a:pos x="connsiteX28808" y="connsiteY28808"/>
              </a:cxn>
              <a:cxn ang="0">
                <a:pos x="connsiteX28809" y="connsiteY28809"/>
              </a:cxn>
              <a:cxn ang="0">
                <a:pos x="connsiteX28810" y="connsiteY28810"/>
              </a:cxn>
              <a:cxn ang="0">
                <a:pos x="connsiteX28811" y="connsiteY28811"/>
              </a:cxn>
              <a:cxn ang="0">
                <a:pos x="connsiteX28812" y="connsiteY28812"/>
              </a:cxn>
              <a:cxn ang="0">
                <a:pos x="connsiteX28813" y="connsiteY28813"/>
              </a:cxn>
              <a:cxn ang="0">
                <a:pos x="connsiteX28814" y="connsiteY28814"/>
              </a:cxn>
              <a:cxn ang="0">
                <a:pos x="connsiteX28815" y="connsiteY28815"/>
              </a:cxn>
              <a:cxn ang="0">
                <a:pos x="connsiteX28816" y="connsiteY28816"/>
              </a:cxn>
              <a:cxn ang="0">
                <a:pos x="connsiteX28817" y="connsiteY28817"/>
              </a:cxn>
              <a:cxn ang="0">
                <a:pos x="connsiteX28818" y="connsiteY28818"/>
              </a:cxn>
              <a:cxn ang="0">
                <a:pos x="connsiteX28819" y="connsiteY28819"/>
              </a:cxn>
              <a:cxn ang="0">
                <a:pos x="connsiteX28820" y="connsiteY28820"/>
              </a:cxn>
              <a:cxn ang="0">
                <a:pos x="connsiteX28821" y="connsiteY28821"/>
              </a:cxn>
              <a:cxn ang="0">
                <a:pos x="connsiteX28822" y="connsiteY28822"/>
              </a:cxn>
              <a:cxn ang="0">
                <a:pos x="connsiteX28823" y="connsiteY28823"/>
              </a:cxn>
              <a:cxn ang="0">
                <a:pos x="connsiteX28824" y="connsiteY28824"/>
              </a:cxn>
              <a:cxn ang="0">
                <a:pos x="connsiteX28825" y="connsiteY28825"/>
              </a:cxn>
              <a:cxn ang="0">
                <a:pos x="connsiteX28826" y="connsiteY28826"/>
              </a:cxn>
              <a:cxn ang="0">
                <a:pos x="connsiteX28827" y="connsiteY28827"/>
              </a:cxn>
              <a:cxn ang="0">
                <a:pos x="connsiteX28828" y="connsiteY28828"/>
              </a:cxn>
              <a:cxn ang="0">
                <a:pos x="connsiteX28829" y="connsiteY28829"/>
              </a:cxn>
              <a:cxn ang="0">
                <a:pos x="connsiteX28830" y="connsiteY28830"/>
              </a:cxn>
              <a:cxn ang="0">
                <a:pos x="connsiteX28831" y="connsiteY28831"/>
              </a:cxn>
              <a:cxn ang="0">
                <a:pos x="connsiteX28832" y="connsiteY28832"/>
              </a:cxn>
              <a:cxn ang="0">
                <a:pos x="connsiteX28833" y="connsiteY28833"/>
              </a:cxn>
              <a:cxn ang="0">
                <a:pos x="connsiteX28834" y="connsiteY28834"/>
              </a:cxn>
              <a:cxn ang="0">
                <a:pos x="connsiteX28835" y="connsiteY28835"/>
              </a:cxn>
              <a:cxn ang="0">
                <a:pos x="connsiteX28836" y="connsiteY28836"/>
              </a:cxn>
              <a:cxn ang="0">
                <a:pos x="connsiteX28837" y="connsiteY28837"/>
              </a:cxn>
              <a:cxn ang="0">
                <a:pos x="connsiteX28838" y="connsiteY28838"/>
              </a:cxn>
              <a:cxn ang="0">
                <a:pos x="connsiteX28839" y="connsiteY28839"/>
              </a:cxn>
              <a:cxn ang="0">
                <a:pos x="connsiteX28840" y="connsiteY28840"/>
              </a:cxn>
              <a:cxn ang="0">
                <a:pos x="connsiteX28841" y="connsiteY28841"/>
              </a:cxn>
              <a:cxn ang="0">
                <a:pos x="connsiteX28842" y="connsiteY28842"/>
              </a:cxn>
              <a:cxn ang="0">
                <a:pos x="connsiteX28843" y="connsiteY28843"/>
              </a:cxn>
              <a:cxn ang="0">
                <a:pos x="connsiteX28844" y="connsiteY28844"/>
              </a:cxn>
              <a:cxn ang="0">
                <a:pos x="connsiteX28845" y="connsiteY28845"/>
              </a:cxn>
              <a:cxn ang="0">
                <a:pos x="connsiteX28846" y="connsiteY28846"/>
              </a:cxn>
              <a:cxn ang="0">
                <a:pos x="connsiteX28847" y="connsiteY28847"/>
              </a:cxn>
              <a:cxn ang="0">
                <a:pos x="connsiteX28848" y="connsiteY28848"/>
              </a:cxn>
              <a:cxn ang="0">
                <a:pos x="connsiteX28849" y="connsiteY28849"/>
              </a:cxn>
              <a:cxn ang="0">
                <a:pos x="connsiteX28850" y="connsiteY28850"/>
              </a:cxn>
              <a:cxn ang="0">
                <a:pos x="connsiteX28851" y="connsiteY28851"/>
              </a:cxn>
              <a:cxn ang="0">
                <a:pos x="connsiteX28852" y="connsiteY28852"/>
              </a:cxn>
              <a:cxn ang="0">
                <a:pos x="connsiteX28853" y="connsiteY28853"/>
              </a:cxn>
              <a:cxn ang="0">
                <a:pos x="connsiteX28854" y="connsiteY28854"/>
              </a:cxn>
              <a:cxn ang="0">
                <a:pos x="connsiteX28855" y="connsiteY28855"/>
              </a:cxn>
              <a:cxn ang="0">
                <a:pos x="connsiteX28856" y="connsiteY28856"/>
              </a:cxn>
              <a:cxn ang="0">
                <a:pos x="connsiteX28857" y="connsiteY28857"/>
              </a:cxn>
              <a:cxn ang="0">
                <a:pos x="connsiteX28858" y="connsiteY28858"/>
              </a:cxn>
              <a:cxn ang="0">
                <a:pos x="connsiteX28859" y="connsiteY28859"/>
              </a:cxn>
              <a:cxn ang="0">
                <a:pos x="connsiteX28860" y="connsiteY28860"/>
              </a:cxn>
              <a:cxn ang="0">
                <a:pos x="connsiteX28861" y="connsiteY28861"/>
              </a:cxn>
              <a:cxn ang="0">
                <a:pos x="connsiteX28862" y="connsiteY28862"/>
              </a:cxn>
              <a:cxn ang="0">
                <a:pos x="connsiteX28863" y="connsiteY28863"/>
              </a:cxn>
              <a:cxn ang="0">
                <a:pos x="connsiteX28864" y="connsiteY28864"/>
              </a:cxn>
              <a:cxn ang="0">
                <a:pos x="connsiteX28865" y="connsiteY28865"/>
              </a:cxn>
              <a:cxn ang="0">
                <a:pos x="connsiteX28866" y="connsiteY28866"/>
              </a:cxn>
              <a:cxn ang="0">
                <a:pos x="connsiteX28867" y="connsiteY28867"/>
              </a:cxn>
              <a:cxn ang="0">
                <a:pos x="connsiteX28868" y="connsiteY28868"/>
              </a:cxn>
              <a:cxn ang="0">
                <a:pos x="connsiteX28869" y="connsiteY28869"/>
              </a:cxn>
              <a:cxn ang="0">
                <a:pos x="connsiteX28870" y="connsiteY28870"/>
              </a:cxn>
              <a:cxn ang="0">
                <a:pos x="connsiteX28871" y="connsiteY28871"/>
              </a:cxn>
              <a:cxn ang="0">
                <a:pos x="connsiteX28872" y="connsiteY28872"/>
              </a:cxn>
              <a:cxn ang="0">
                <a:pos x="connsiteX28873" y="connsiteY28873"/>
              </a:cxn>
              <a:cxn ang="0">
                <a:pos x="connsiteX28874" y="connsiteY28874"/>
              </a:cxn>
              <a:cxn ang="0">
                <a:pos x="connsiteX28875" y="connsiteY28875"/>
              </a:cxn>
              <a:cxn ang="0">
                <a:pos x="connsiteX28876" y="connsiteY28876"/>
              </a:cxn>
              <a:cxn ang="0">
                <a:pos x="connsiteX28877" y="connsiteY28877"/>
              </a:cxn>
              <a:cxn ang="0">
                <a:pos x="connsiteX28878" y="connsiteY28878"/>
              </a:cxn>
              <a:cxn ang="0">
                <a:pos x="connsiteX28879" y="connsiteY28879"/>
              </a:cxn>
              <a:cxn ang="0">
                <a:pos x="connsiteX28880" y="connsiteY28880"/>
              </a:cxn>
              <a:cxn ang="0">
                <a:pos x="connsiteX28881" y="connsiteY28881"/>
              </a:cxn>
              <a:cxn ang="0">
                <a:pos x="connsiteX28882" y="connsiteY28882"/>
              </a:cxn>
              <a:cxn ang="0">
                <a:pos x="connsiteX28883" y="connsiteY28883"/>
              </a:cxn>
              <a:cxn ang="0">
                <a:pos x="connsiteX28884" y="connsiteY28884"/>
              </a:cxn>
              <a:cxn ang="0">
                <a:pos x="connsiteX28885" y="connsiteY28885"/>
              </a:cxn>
              <a:cxn ang="0">
                <a:pos x="connsiteX28886" y="connsiteY28886"/>
              </a:cxn>
              <a:cxn ang="0">
                <a:pos x="connsiteX28887" y="connsiteY28887"/>
              </a:cxn>
              <a:cxn ang="0">
                <a:pos x="connsiteX28888" y="connsiteY28888"/>
              </a:cxn>
              <a:cxn ang="0">
                <a:pos x="connsiteX28889" y="connsiteY28889"/>
              </a:cxn>
              <a:cxn ang="0">
                <a:pos x="connsiteX28890" y="connsiteY28890"/>
              </a:cxn>
              <a:cxn ang="0">
                <a:pos x="connsiteX28891" y="connsiteY28891"/>
              </a:cxn>
              <a:cxn ang="0">
                <a:pos x="connsiteX28892" y="connsiteY28892"/>
              </a:cxn>
              <a:cxn ang="0">
                <a:pos x="connsiteX28893" y="connsiteY28893"/>
              </a:cxn>
              <a:cxn ang="0">
                <a:pos x="connsiteX28894" y="connsiteY28894"/>
              </a:cxn>
              <a:cxn ang="0">
                <a:pos x="connsiteX28895" y="connsiteY28895"/>
              </a:cxn>
              <a:cxn ang="0">
                <a:pos x="connsiteX28896" y="connsiteY28896"/>
              </a:cxn>
              <a:cxn ang="0">
                <a:pos x="connsiteX28897" y="connsiteY28897"/>
              </a:cxn>
              <a:cxn ang="0">
                <a:pos x="connsiteX28898" y="connsiteY28898"/>
              </a:cxn>
              <a:cxn ang="0">
                <a:pos x="connsiteX28899" y="connsiteY28899"/>
              </a:cxn>
              <a:cxn ang="0">
                <a:pos x="connsiteX28900" y="connsiteY28900"/>
              </a:cxn>
              <a:cxn ang="0">
                <a:pos x="connsiteX28901" y="connsiteY28901"/>
              </a:cxn>
              <a:cxn ang="0">
                <a:pos x="connsiteX28902" y="connsiteY28902"/>
              </a:cxn>
              <a:cxn ang="0">
                <a:pos x="connsiteX28903" y="connsiteY28903"/>
              </a:cxn>
              <a:cxn ang="0">
                <a:pos x="connsiteX28904" y="connsiteY28904"/>
              </a:cxn>
              <a:cxn ang="0">
                <a:pos x="connsiteX28905" y="connsiteY28905"/>
              </a:cxn>
              <a:cxn ang="0">
                <a:pos x="connsiteX28906" y="connsiteY28906"/>
              </a:cxn>
              <a:cxn ang="0">
                <a:pos x="connsiteX28907" y="connsiteY28907"/>
              </a:cxn>
              <a:cxn ang="0">
                <a:pos x="connsiteX28908" y="connsiteY28908"/>
              </a:cxn>
              <a:cxn ang="0">
                <a:pos x="connsiteX28909" y="connsiteY28909"/>
              </a:cxn>
              <a:cxn ang="0">
                <a:pos x="connsiteX28910" y="connsiteY28910"/>
              </a:cxn>
              <a:cxn ang="0">
                <a:pos x="connsiteX28911" y="connsiteY28911"/>
              </a:cxn>
              <a:cxn ang="0">
                <a:pos x="connsiteX28912" y="connsiteY28912"/>
              </a:cxn>
              <a:cxn ang="0">
                <a:pos x="connsiteX28913" y="connsiteY28913"/>
              </a:cxn>
              <a:cxn ang="0">
                <a:pos x="connsiteX28914" y="connsiteY28914"/>
              </a:cxn>
              <a:cxn ang="0">
                <a:pos x="connsiteX28915" y="connsiteY28915"/>
              </a:cxn>
              <a:cxn ang="0">
                <a:pos x="connsiteX28916" y="connsiteY28916"/>
              </a:cxn>
              <a:cxn ang="0">
                <a:pos x="connsiteX28917" y="connsiteY28917"/>
              </a:cxn>
              <a:cxn ang="0">
                <a:pos x="connsiteX28918" y="connsiteY28918"/>
              </a:cxn>
              <a:cxn ang="0">
                <a:pos x="connsiteX28919" y="connsiteY28919"/>
              </a:cxn>
              <a:cxn ang="0">
                <a:pos x="connsiteX28920" y="connsiteY28920"/>
              </a:cxn>
              <a:cxn ang="0">
                <a:pos x="connsiteX28921" y="connsiteY28921"/>
              </a:cxn>
              <a:cxn ang="0">
                <a:pos x="connsiteX28922" y="connsiteY28922"/>
              </a:cxn>
              <a:cxn ang="0">
                <a:pos x="connsiteX28923" y="connsiteY28923"/>
              </a:cxn>
              <a:cxn ang="0">
                <a:pos x="connsiteX28924" y="connsiteY28924"/>
              </a:cxn>
              <a:cxn ang="0">
                <a:pos x="connsiteX28925" y="connsiteY28925"/>
              </a:cxn>
              <a:cxn ang="0">
                <a:pos x="connsiteX28926" y="connsiteY28926"/>
              </a:cxn>
              <a:cxn ang="0">
                <a:pos x="connsiteX28927" y="connsiteY28927"/>
              </a:cxn>
              <a:cxn ang="0">
                <a:pos x="connsiteX28928" y="connsiteY28928"/>
              </a:cxn>
              <a:cxn ang="0">
                <a:pos x="connsiteX28929" y="connsiteY28929"/>
              </a:cxn>
              <a:cxn ang="0">
                <a:pos x="connsiteX28930" y="connsiteY28930"/>
              </a:cxn>
              <a:cxn ang="0">
                <a:pos x="connsiteX28931" y="connsiteY28931"/>
              </a:cxn>
              <a:cxn ang="0">
                <a:pos x="connsiteX28932" y="connsiteY28932"/>
              </a:cxn>
              <a:cxn ang="0">
                <a:pos x="connsiteX28933" y="connsiteY28933"/>
              </a:cxn>
              <a:cxn ang="0">
                <a:pos x="connsiteX28934" y="connsiteY28934"/>
              </a:cxn>
              <a:cxn ang="0">
                <a:pos x="connsiteX28935" y="connsiteY28935"/>
              </a:cxn>
              <a:cxn ang="0">
                <a:pos x="connsiteX28936" y="connsiteY28936"/>
              </a:cxn>
              <a:cxn ang="0">
                <a:pos x="connsiteX28937" y="connsiteY28937"/>
              </a:cxn>
              <a:cxn ang="0">
                <a:pos x="connsiteX28938" y="connsiteY28938"/>
              </a:cxn>
              <a:cxn ang="0">
                <a:pos x="connsiteX28939" y="connsiteY28939"/>
              </a:cxn>
              <a:cxn ang="0">
                <a:pos x="connsiteX28940" y="connsiteY28940"/>
              </a:cxn>
              <a:cxn ang="0">
                <a:pos x="connsiteX28941" y="connsiteY28941"/>
              </a:cxn>
              <a:cxn ang="0">
                <a:pos x="connsiteX28942" y="connsiteY28942"/>
              </a:cxn>
              <a:cxn ang="0">
                <a:pos x="connsiteX28943" y="connsiteY28943"/>
              </a:cxn>
              <a:cxn ang="0">
                <a:pos x="connsiteX28944" y="connsiteY28944"/>
              </a:cxn>
              <a:cxn ang="0">
                <a:pos x="connsiteX28945" y="connsiteY28945"/>
              </a:cxn>
              <a:cxn ang="0">
                <a:pos x="connsiteX28946" y="connsiteY28946"/>
              </a:cxn>
              <a:cxn ang="0">
                <a:pos x="connsiteX28947" y="connsiteY28947"/>
              </a:cxn>
              <a:cxn ang="0">
                <a:pos x="connsiteX28948" y="connsiteY28948"/>
              </a:cxn>
              <a:cxn ang="0">
                <a:pos x="connsiteX28949" y="connsiteY28949"/>
              </a:cxn>
              <a:cxn ang="0">
                <a:pos x="connsiteX28950" y="connsiteY28950"/>
              </a:cxn>
              <a:cxn ang="0">
                <a:pos x="connsiteX28951" y="connsiteY28951"/>
              </a:cxn>
              <a:cxn ang="0">
                <a:pos x="connsiteX28952" y="connsiteY28952"/>
              </a:cxn>
              <a:cxn ang="0">
                <a:pos x="connsiteX28953" y="connsiteY28953"/>
              </a:cxn>
              <a:cxn ang="0">
                <a:pos x="connsiteX28954" y="connsiteY28954"/>
              </a:cxn>
              <a:cxn ang="0">
                <a:pos x="connsiteX28955" y="connsiteY28955"/>
              </a:cxn>
              <a:cxn ang="0">
                <a:pos x="connsiteX28956" y="connsiteY28956"/>
              </a:cxn>
              <a:cxn ang="0">
                <a:pos x="connsiteX28957" y="connsiteY28957"/>
              </a:cxn>
              <a:cxn ang="0">
                <a:pos x="connsiteX28958" y="connsiteY28958"/>
              </a:cxn>
              <a:cxn ang="0">
                <a:pos x="connsiteX28959" y="connsiteY28959"/>
              </a:cxn>
              <a:cxn ang="0">
                <a:pos x="connsiteX28960" y="connsiteY28960"/>
              </a:cxn>
              <a:cxn ang="0">
                <a:pos x="connsiteX28961" y="connsiteY28961"/>
              </a:cxn>
              <a:cxn ang="0">
                <a:pos x="connsiteX28962" y="connsiteY28962"/>
              </a:cxn>
              <a:cxn ang="0">
                <a:pos x="connsiteX28963" y="connsiteY28963"/>
              </a:cxn>
              <a:cxn ang="0">
                <a:pos x="connsiteX28964" y="connsiteY28964"/>
              </a:cxn>
              <a:cxn ang="0">
                <a:pos x="connsiteX28965" y="connsiteY28965"/>
              </a:cxn>
              <a:cxn ang="0">
                <a:pos x="connsiteX28966" y="connsiteY28966"/>
              </a:cxn>
              <a:cxn ang="0">
                <a:pos x="connsiteX28967" y="connsiteY28967"/>
              </a:cxn>
              <a:cxn ang="0">
                <a:pos x="connsiteX28968" y="connsiteY28968"/>
              </a:cxn>
              <a:cxn ang="0">
                <a:pos x="connsiteX28969" y="connsiteY28969"/>
              </a:cxn>
              <a:cxn ang="0">
                <a:pos x="connsiteX28970" y="connsiteY28970"/>
              </a:cxn>
              <a:cxn ang="0">
                <a:pos x="connsiteX28971" y="connsiteY28971"/>
              </a:cxn>
              <a:cxn ang="0">
                <a:pos x="connsiteX28972" y="connsiteY28972"/>
              </a:cxn>
              <a:cxn ang="0">
                <a:pos x="connsiteX28973" y="connsiteY28973"/>
              </a:cxn>
              <a:cxn ang="0">
                <a:pos x="connsiteX28974" y="connsiteY28974"/>
              </a:cxn>
              <a:cxn ang="0">
                <a:pos x="connsiteX28975" y="connsiteY28975"/>
              </a:cxn>
              <a:cxn ang="0">
                <a:pos x="connsiteX28976" y="connsiteY28976"/>
              </a:cxn>
              <a:cxn ang="0">
                <a:pos x="connsiteX28977" y="connsiteY28977"/>
              </a:cxn>
              <a:cxn ang="0">
                <a:pos x="connsiteX28978" y="connsiteY28978"/>
              </a:cxn>
              <a:cxn ang="0">
                <a:pos x="connsiteX28979" y="connsiteY28979"/>
              </a:cxn>
              <a:cxn ang="0">
                <a:pos x="connsiteX28980" y="connsiteY28980"/>
              </a:cxn>
              <a:cxn ang="0">
                <a:pos x="connsiteX28981" y="connsiteY28981"/>
              </a:cxn>
              <a:cxn ang="0">
                <a:pos x="connsiteX28982" y="connsiteY28982"/>
              </a:cxn>
              <a:cxn ang="0">
                <a:pos x="connsiteX28983" y="connsiteY28983"/>
              </a:cxn>
              <a:cxn ang="0">
                <a:pos x="connsiteX28984" y="connsiteY28984"/>
              </a:cxn>
              <a:cxn ang="0">
                <a:pos x="connsiteX28985" y="connsiteY28985"/>
              </a:cxn>
              <a:cxn ang="0">
                <a:pos x="connsiteX28986" y="connsiteY28986"/>
              </a:cxn>
              <a:cxn ang="0">
                <a:pos x="connsiteX28987" y="connsiteY28987"/>
              </a:cxn>
              <a:cxn ang="0">
                <a:pos x="connsiteX28988" y="connsiteY28988"/>
              </a:cxn>
              <a:cxn ang="0">
                <a:pos x="connsiteX28989" y="connsiteY28989"/>
              </a:cxn>
              <a:cxn ang="0">
                <a:pos x="connsiteX28990" y="connsiteY28990"/>
              </a:cxn>
              <a:cxn ang="0">
                <a:pos x="connsiteX28991" y="connsiteY28991"/>
              </a:cxn>
              <a:cxn ang="0">
                <a:pos x="connsiteX28992" y="connsiteY28992"/>
              </a:cxn>
              <a:cxn ang="0">
                <a:pos x="connsiteX28993" y="connsiteY28993"/>
              </a:cxn>
              <a:cxn ang="0">
                <a:pos x="connsiteX28994" y="connsiteY28994"/>
              </a:cxn>
              <a:cxn ang="0">
                <a:pos x="connsiteX28995" y="connsiteY28995"/>
              </a:cxn>
              <a:cxn ang="0">
                <a:pos x="connsiteX28996" y="connsiteY28996"/>
              </a:cxn>
              <a:cxn ang="0">
                <a:pos x="connsiteX28997" y="connsiteY28997"/>
              </a:cxn>
              <a:cxn ang="0">
                <a:pos x="connsiteX28998" y="connsiteY28998"/>
              </a:cxn>
              <a:cxn ang="0">
                <a:pos x="connsiteX28999" y="connsiteY28999"/>
              </a:cxn>
              <a:cxn ang="0">
                <a:pos x="connsiteX29000" y="connsiteY29000"/>
              </a:cxn>
              <a:cxn ang="0">
                <a:pos x="connsiteX29001" y="connsiteY29001"/>
              </a:cxn>
              <a:cxn ang="0">
                <a:pos x="connsiteX29002" y="connsiteY29002"/>
              </a:cxn>
              <a:cxn ang="0">
                <a:pos x="connsiteX29003" y="connsiteY29003"/>
              </a:cxn>
              <a:cxn ang="0">
                <a:pos x="connsiteX29004" y="connsiteY29004"/>
              </a:cxn>
              <a:cxn ang="0">
                <a:pos x="connsiteX29005" y="connsiteY29005"/>
              </a:cxn>
              <a:cxn ang="0">
                <a:pos x="connsiteX29006" y="connsiteY29006"/>
              </a:cxn>
              <a:cxn ang="0">
                <a:pos x="connsiteX29007" y="connsiteY29007"/>
              </a:cxn>
              <a:cxn ang="0">
                <a:pos x="connsiteX29008" y="connsiteY29008"/>
              </a:cxn>
              <a:cxn ang="0">
                <a:pos x="connsiteX29009" y="connsiteY29009"/>
              </a:cxn>
              <a:cxn ang="0">
                <a:pos x="connsiteX29010" y="connsiteY29010"/>
              </a:cxn>
              <a:cxn ang="0">
                <a:pos x="connsiteX29011" y="connsiteY29011"/>
              </a:cxn>
              <a:cxn ang="0">
                <a:pos x="connsiteX29012" y="connsiteY29012"/>
              </a:cxn>
              <a:cxn ang="0">
                <a:pos x="connsiteX29013" y="connsiteY29013"/>
              </a:cxn>
              <a:cxn ang="0">
                <a:pos x="connsiteX29014" y="connsiteY29014"/>
              </a:cxn>
              <a:cxn ang="0">
                <a:pos x="connsiteX29015" y="connsiteY29015"/>
              </a:cxn>
              <a:cxn ang="0">
                <a:pos x="connsiteX29016" y="connsiteY29016"/>
              </a:cxn>
              <a:cxn ang="0">
                <a:pos x="connsiteX29017" y="connsiteY29017"/>
              </a:cxn>
              <a:cxn ang="0">
                <a:pos x="connsiteX29018" y="connsiteY29018"/>
              </a:cxn>
              <a:cxn ang="0">
                <a:pos x="connsiteX29019" y="connsiteY29019"/>
              </a:cxn>
              <a:cxn ang="0">
                <a:pos x="connsiteX29020" y="connsiteY29020"/>
              </a:cxn>
              <a:cxn ang="0">
                <a:pos x="connsiteX29021" y="connsiteY29021"/>
              </a:cxn>
              <a:cxn ang="0">
                <a:pos x="connsiteX29022" y="connsiteY29022"/>
              </a:cxn>
              <a:cxn ang="0">
                <a:pos x="connsiteX29023" y="connsiteY29023"/>
              </a:cxn>
              <a:cxn ang="0">
                <a:pos x="connsiteX29024" y="connsiteY29024"/>
              </a:cxn>
              <a:cxn ang="0">
                <a:pos x="connsiteX29025" y="connsiteY29025"/>
              </a:cxn>
              <a:cxn ang="0">
                <a:pos x="connsiteX29026" y="connsiteY29026"/>
              </a:cxn>
              <a:cxn ang="0">
                <a:pos x="connsiteX29027" y="connsiteY29027"/>
              </a:cxn>
              <a:cxn ang="0">
                <a:pos x="connsiteX29028" y="connsiteY29028"/>
              </a:cxn>
              <a:cxn ang="0">
                <a:pos x="connsiteX29029" y="connsiteY29029"/>
              </a:cxn>
              <a:cxn ang="0">
                <a:pos x="connsiteX29030" y="connsiteY29030"/>
              </a:cxn>
              <a:cxn ang="0">
                <a:pos x="connsiteX29031" y="connsiteY29031"/>
              </a:cxn>
              <a:cxn ang="0">
                <a:pos x="connsiteX29032" y="connsiteY29032"/>
              </a:cxn>
              <a:cxn ang="0">
                <a:pos x="connsiteX29033" y="connsiteY29033"/>
              </a:cxn>
              <a:cxn ang="0">
                <a:pos x="connsiteX29034" y="connsiteY29034"/>
              </a:cxn>
              <a:cxn ang="0">
                <a:pos x="connsiteX29035" y="connsiteY29035"/>
              </a:cxn>
              <a:cxn ang="0">
                <a:pos x="connsiteX29036" y="connsiteY29036"/>
              </a:cxn>
              <a:cxn ang="0">
                <a:pos x="connsiteX29037" y="connsiteY29037"/>
              </a:cxn>
              <a:cxn ang="0">
                <a:pos x="connsiteX29038" y="connsiteY29038"/>
              </a:cxn>
              <a:cxn ang="0">
                <a:pos x="connsiteX29039" y="connsiteY29039"/>
              </a:cxn>
              <a:cxn ang="0">
                <a:pos x="connsiteX29040" y="connsiteY29040"/>
              </a:cxn>
              <a:cxn ang="0">
                <a:pos x="connsiteX29041" y="connsiteY29041"/>
              </a:cxn>
              <a:cxn ang="0">
                <a:pos x="connsiteX29042" y="connsiteY29042"/>
              </a:cxn>
              <a:cxn ang="0">
                <a:pos x="connsiteX29043" y="connsiteY29043"/>
              </a:cxn>
              <a:cxn ang="0">
                <a:pos x="connsiteX29044" y="connsiteY29044"/>
              </a:cxn>
              <a:cxn ang="0">
                <a:pos x="connsiteX29045" y="connsiteY29045"/>
              </a:cxn>
              <a:cxn ang="0">
                <a:pos x="connsiteX29046" y="connsiteY29046"/>
              </a:cxn>
              <a:cxn ang="0">
                <a:pos x="connsiteX29047" y="connsiteY29047"/>
              </a:cxn>
              <a:cxn ang="0">
                <a:pos x="connsiteX29048" y="connsiteY29048"/>
              </a:cxn>
              <a:cxn ang="0">
                <a:pos x="connsiteX29049" y="connsiteY29049"/>
              </a:cxn>
              <a:cxn ang="0">
                <a:pos x="connsiteX29050" y="connsiteY29050"/>
              </a:cxn>
              <a:cxn ang="0">
                <a:pos x="connsiteX29051" y="connsiteY29051"/>
              </a:cxn>
              <a:cxn ang="0">
                <a:pos x="connsiteX29052" y="connsiteY29052"/>
              </a:cxn>
              <a:cxn ang="0">
                <a:pos x="connsiteX29053" y="connsiteY29053"/>
              </a:cxn>
              <a:cxn ang="0">
                <a:pos x="connsiteX29054" y="connsiteY29054"/>
              </a:cxn>
              <a:cxn ang="0">
                <a:pos x="connsiteX29055" y="connsiteY29055"/>
              </a:cxn>
              <a:cxn ang="0">
                <a:pos x="connsiteX29056" y="connsiteY29056"/>
              </a:cxn>
              <a:cxn ang="0">
                <a:pos x="connsiteX29057" y="connsiteY29057"/>
              </a:cxn>
              <a:cxn ang="0">
                <a:pos x="connsiteX29058" y="connsiteY29058"/>
              </a:cxn>
              <a:cxn ang="0">
                <a:pos x="connsiteX29059" y="connsiteY29059"/>
              </a:cxn>
              <a:cxn ang="0">
                <a:pos x="connsiteX29060" y="connsiteY29060"/>
              </a:cxn>
              <a:cxn ang="0">
                <a:pos x="connsiteX29061" y="connsiteY29061"/>
              </a:cxn>
              <a:cxn ang="0">
                <a:pos x="connsiteX29062" y="connsiteY29062"/>
              </a:cxn>
              <a:cxn ang="0">
                <a:pos x="connsiteX29063" y="connsiteY29063"/>
              </a:cxn>
              <a:cxn ang="0">
                <a:pos x="connsiteX29064" y="connsiteY29064"/>
              </a:cxn>
              <a:cxn ang="0">
                <a:pos x="connsiteX29065" y="connsiteY29065"/>
              </a:cxn>
              <a:cxn ang="0">
                <a:pos x="connsiteX29066" y="connsiteY29066"/>
              </a:cxn>
              <a:cxn ang="0">
                <a:pos x="connsiteX29067" y="connsiteY29067"/>
              </a:cxn>
              <a:cxn ang="0">
                <a:pos x="connsiteX29068" y="connsiteY29068"/>
              </a:cxn>
              <a:cxn ang="0">
                <a:pos x="connsiteX29069" y="connsiteY29069"/>
              </a:cxn>
              <a:cxn ang="0">
                <a:pos x="connsiteX29070" y="connsiteY29070"/>
              </a:cxn>
              <a:cxn ang="0">
                <a:pos x="connsiteX29071" y="connsiteY29071"/>
              </a:cxn>
              <a:cxn ang="0">
                <a:pos x="connsiteX29072" y="connsiteY29072"/>
              </a:cxn>
              <a:cxn ang="0">
                <a:pos x="connsiteX29073" y="connsiteY29073"/>
              </a:cxn>
              <a:cxn ang="0">
                <a:pos x="connsiteX29074" y="connsiteY29074"/>
              </a:cxn>
              <a:cxn ang="0">
                <a:pos x="connsiteX29075" y="connsiteY29075"/>
              </a:cxn>
              <a:cxn ang="0">
                <a:pos x="connsiteX29076" y="connsiteY29076"/>
              </a:cxn>
              <a:cxn ang="0">
                <a:pos x="connsiteX29077" y="connsiteY29077"/>
              </a:cxn>
              <a:cxn ang="0">
                <a:pos x="connsiteX29078" y="connsiteY29078"/>
              </a:cxn>
              <a:cxn ang="0">
                <a:pos x="connsiteX29079" y="connsiteY29079"/>
              </a:cxn>
              <a:cxn ang="0">
                <a:pos x="connsiteX29080" y="connsiteY29080"/>
              </a:cxn>
              <a:cxn ang="0">
                <a:pos x="connsiteX29081" y="connsiteY29081"/>
              </a:cxn>
              <a:cxn ang="0">
                <a:pos x="connsiteX29082" y="connsiteY29082"/>
              </a:cxn>
              <a:cxn ang="0">
                <a:pos x="connsiteX29083" y="connsiteY29083"/>
              </a:cxn>
              <a:cxn ang="0">
                <a:pos x="connsiteX29084" y="connsiteY29084"/>
              </a:cxn>
              <a:cxn ang="0">
                <a:pos x="connsiteX29085" y="connsiteY29085"/>
              </a:cxn>
              <a:cxn ang="0">
                <a:pos x="connsiteX29086" y="connsiteY29086"/>
              </a:cxn>
              <a:cxn ang="0">
                <a:pos x="connsiteX29087" y="connsiteY29087"/>
              </a:cxn>
              <a:cxn ang="0">
                <a:pos x="connsiteX29088" y="connsiteY29088"/>
              </a:cxn>
              <a:cxn ang="0">
                <a:pos x="connsiteX29089" y="connsiteY29089"/>
              </a:cxn>
              <a:cxn ang="0">
                <a:pos x="connsiteX29090" y="connsiteY29090"/>
              </a:cxn>
              <a:cxn ang="0">
                <a:pos x="connsiteX29091" y="connsiteY29091"/>
              </a:cxn>
              <a:cxn ang="0">
                <a:pos x="connsiteX29092" y="connsiteY29092"/>
              </a:cxn>
              <a:cxn ang="0">
                <a:pos x="connsiteX29093" y="connsiteY29093"/>
              </a:cxn>
              <a:cxn ang="0">
                <a:pos x="connsiteX29094" y="connsiteY29094"/>
              </a:cxn>
              <a:cxn ang="0">
                <a:pos x="connsiteX29095" y="connsiteY29095"/>
              </a:cxn>
              <a:cxn ang="0">
                <a:pos x="connsiteX29096" y="connsiteY29096"/>
              </a:cxn>
              <a:cxn ang="0">
                <a:pos x="connsiteX29097" y="connsiteY29097"/>
              </a:cxn>
              <a:cxn ang="0">
                <a:pos x="connsiteX29098" y="connsiteY29098"/>
              </a:cxn>
              <a:cxn ang="0">
                <a:pos x="connsiteX29099" y="connsiteY29099"/>
              </a:cxn>
              <a:cxn ang="0">
                <a:pos x="connsiteX29100" y="connsiteY29100"/>
              </a:cxn>
              <a:cxn ang="0">
                <a:pos x="connsiteX29101" y="connsiteY29101"/>
              </a:cxn>
              <a:cxn ang="0">
                <a:pos x="connsiteX29102" y="connsiteY29102"/>
              </a:cxn>
              <a:cxn ang="0">
                <a:pos x="connsiteX29103" y="connsiteY29103"/>
              </a:cxn>
              <a:cxn ang="0">
                <a:pos x="connsiteX29104" y="connsiteY29104"/>
              </a:cxn>
              <a:cxn ang="0">
                <a:pos x="connsiteX29105" y="connsiteY29105"/>
              </a:cxn>
              <a:cxn ang="0">
                <a:pos x="connsiteX29106" y="connsiteY29106"/>
              </a:cxn>
              <a:cxn ang="0">
                <a:pos x="connsiteX29107" y="connsiteY29107"/>
              </a:cxn>
              <a:cxn ang="0">
                <a:pos x="connsiteX29108" y="connsiteY29108"/>
              </a:cxn>
              <a:cxn ang="0">
                <a:pos x="connsiteX29109" y="connsiteY29109"/>
              </a:cxn>
              <a:cxn ang="0">
                <a:pos x="connsiteX29110" y="connsiteY29110"/>
              </a:cxn>
              <a:cxn ang="0">
                <a:pos x="connsiteX29111" y="connsiteY29111"/>
              </a:cxn>
              <a:cxn ang="0">
                <a:pos x="connsiteX29112" y="connsiteY29112"/>
              </a:cxn>
              <a:cxn ang="0">
                <a:pos x="connsiteX29113" y="connsiteY29113"/>
              </a:cxn>
              <a:cxn ang="0">
                <a:pos x="connsiteX29114" y="connsiteY29114"/>
              </a:cxn>
              <a:cxn ang="0">
                <a:pos x="connsiteX29115" y="connsiteY29115"/>
              </a:cxn>
              <a:cxn ang="0">
                <a:pos x="connsiteX29116" y="connsiteY29116"/>
              </a:cxn>
              <a:cxn ang="0">
                <a:pos x="connsiteX29117" y="connsiteY29117"/>
              </a:cxn>
              <a:cxn ang="0">
                <a:pos x="connsiteX29118" y="connsiteY29118"/>
              </a:cxn>
              <a:cxn ang="0">
                <a:pos x="connsiteX29119" y="connsiteY29119"/>
              </a:cxn>
              <a:cxn ang="0">
                <a:pos x="connsiteX29120" y="connsiteY29120"/>
              </a:cxn>
              <a:cxn ang="0">
                <a:pos x="connsiteX29121" y="connsiteY29121"/>
              </a:cxn>
              <a:cxn ang="0">
                <a:pos x="connsiteX29122" y="connsiteY29122"/>
              </a:cxn>
              <a:cxn ang="0">
                <a:pos x="connsiteX29123" y="connsiteY29123"/>
              </a:cxn>
              <a:cxn ang="0">
                <a:pos x="connsiteX29124" y="connsiteY29124"/>
              </a:cxn>
              <a:cxn ang="0">
                <a:pos x="connsiteX29125" y="connsiteY29125"/>
              </a:cxn>
              <a:cxn ang="0">
                <a:pos x="connsiteX29126" y="connsiteY29126"/>
              </a:cxn>
              <a:cxn ang="0">
                <a:pos x="connsiteX29127" y="connsiteY29127"/>
              </a:cxn>
              <a:cxn ang="0">
                <a:pos x="connsiteX29128" y="connsiteY29128"/>
              </a:cxn>
              <a:cxn ang="0">
                <a:pos x="connsiteX29129" y="connsiteY29129"/>
              </a:cxn>
              <a:cxn ang="0">
                <a:pos x="connsiteX29130" y="connsiteY29130"/>
              </a:cxn>
              <a:cxn ang="0">
                <a:pos x="connsiteX29131" y="connsiteY29131"/>
              </a:cxn>
              <a:cxn ang="0">
                <a:pos x="connsiteX29132" y="connsiteY29132"/>
              </a:cxn>
              <a:cxn ang="0">
                <a:pos x="connsiteX29133" y="connsiteY29133"/>
              </a:cxn>
              <a:cxn ang="0">
                <a:pos x="connsiteX29134" y="connsiteY29134"/>
              </a:cxn>
              <a:cxn ang="0">
                <a:pos x="connsiteX29135" y="connsiteY29135"/>
              </a:cxn>
              <a:cxn ang="0">
                <a:pos x="connsiteX29136" y="connsiteY29136"/>
              </a:cxn>
              <a:cxn ang="0">
                <a:pos x="connsiteX29137" y="connsiteY29137"/>
              </a:cxn>
              <a:cxn ang="0">
                <a:pos x="connsiteX29138" y="connsiteY29138"/>
              </a:cxn>
              <a:cxn ang="0">
                <a:pos x="connsiteX29139" y="connsiteY29139"/>
              </a:cxn>
              <a:cxn ang="0">
                <a:pos x="connsiteX29140" y="connsiteY29140"/>
              </a:cxn>
              <a:cxn ang="0">
                <a:pos x="connsiteX29141" y="connsiteY29141"/>
              </a:cxn>
              <a:cxn ang="0">
                <a:pos x="connsiteX29142" y="connsiteY29142"/>
              </a:cxn>
              <a:cxn ang="0">
                <a:pos x="connsiteX29143" y="connsiteY29143"/>
              </a:cxn>
              <a:cxn ang="0">
                <a:pos x="connsiteX29144" y="connsiteY29144"/>
              </a:cxn>
              <a:cxn ang="0">
                <a:pos x="connsiteX29145" y="connsiteY29145"/>
              </a:cxn>
              <a:cxn ang="0">
                <a:pos x="connsiteX29146" y="connsiteY29146"/>
              </a:cxn>
              <a:cxn ang="0">
                <a:pos x="connsiteX29147" y="connsiteY29147"/>
              </a:cxn>
              <a:cxn ang="0">
                <a:pos x="connsiteX29148" y="connsiteY29148"/>
              </a:cxn>
              <a:cxn ang="0">
                <a:pos x="connsiteX29149" y="connsiteY29149"/>
              </a:cxn>
              <a:cxn ang="0">
                <a:pos x="connsiteX29150" y="connsiteY29150"/>
              </a:cxn>
              <a:cxn ang="0">
                <a:pos x="connsiteX29151" y="connsiteY29151"/>
              </a:cxn>
              <a:cxn ang="0">
                <a:pos x="connsiteX29152" y="connsiteY29152"/>
              </a:cxn>
              <a:cxn ang="0">
                <a:pos x="connsiteX29153" y="connsiteY29153"/>
              </a:cxn>
              <a:cxn ang="0">
                <a:pos x="connsiteX29154" y="connsiteY29154"/>
              </a:cxn>
              <a:cxn ang="0">
                <a:pos x="connsiteX29155" y="connsiteY29155"/>
              </a:cxn>
              <a:cxn ang="0">
                <a:pos x="connsiteX29156" y="connsiteY29156"/>
              </a:cxn>
              <a:cxn ang="0">
                <a:pos x="connsiteX29157" y="connsiteY29157"/>
              </a:cxn>
              <a:cxn ang="0">
                <a:pos x="connsiteX29158" y="connsiteY29158"/>
              </a:cxn>
              <a:cxn ang="0">
                <a:pos x="connsiteX29159" y="connsiteY29159"/>
              </a:cxn>
              <a:cxn ang="0">
                <a:pos x="connsiteX29160" y="connsiteY29160"/>
              </a:cxn>
              <a:cxn ang="0">
                <a:pos x="connsiteX29161" y="connsiteY29161"/>
              </a:cxn>
              <a:cxn ang="0">
                <a:pos x="connsiteX29162" y="connsiteY29162"/>
              </a:cxn>
              <a:cxn ang="0">
                <a:pos x="connsiteX29163" y="connsiteY29163"/>
              </a:cxn>
              <a:cxn ang="0">
                <a:pos x="connsiteX29164" y="connsiteY29164"/>
              </a:cxn>
              <a:cxn ang="0">
                <a:pos x="connsiteX29165" y="connsiteY29165"/>
              </a:cxn>
              <a:cxn ang="0">
                <a:pos x="connsiteX29166" y="connsiteY29166"/>
              </a:cxn>
              <a:cxn ang="0">
                <a:pos x="connsiteX29167" y="connsiteY29167"/>
              </a:cxn>
              <a:cxn ang="0">
                <a:pos x="connsiteX29168" y="connsiteY29168"/>
              </a:cxn>
              <a:cxn ang="0">
                <a:pos x="connsiteX29169" y="connsiteY29169"/>
              </a:cxn>
              <a:cxn ang="0">
                <a:pos x="connsiteX29170" y="connsiteY29170"/>
              </a:cxn>
              <a:cxn ang="0">
                <a:pos x="connsiteX29171" y="connsiteY29171"/>
              </a:cxn>
              <a:cxn ang="0">
                <a:pos x="connsiteX29172" y="connsiteY29172"/>
              </a:cxn>
              <a:cxn ang="0">
                <a:pos x="connsiteX29173" y="connsiteY29173"/>
              </a:cxn>
              <a:cxn ang="0">
                <a:pos x="connsiteX29174" y="connsiteY29174"/>
              </a:cxn>
              <a:cxn ang="0">
                <a:pos x="connsiteX29175" y="connsiteY29175"/>
              </a:cxn>
              <a:cxn ang="0">
                <a:pos x="connsiteX29176" y="connsiteY29176"/>
              </a:cxn>
              <a:cxn ang="0">
                <a:pos x="connsiteX29177" y="connsiteY29177"/>
              </a:cxn>
              <a:cxn ang="0">
                <a:pos x="connsiteX29178" y="connsiteY29178"/>
              </a:cxn>
              <a:cxn ang="0">
                <a:pos x="connsiteX29179" y="connsiteY29179"/>
              </a:cxn>
              <a:cxn ang="0">
                <a:pos x="connsiteX29180" y="connsiteY29180"/>
              </a:cxn>
              <a:cxn ang="0">
                <a:pos x="connsiteX29181" y="connsiteY29181"/>
              </a:cxn>
              <a:cxn ang="0">
                <a:pos x="connsiteX29182" y="connsiteY29182"/>
              </a:cxn>
              <a:cxn ang="0">
                <a:pos x="connsiteX29183" y="connsiteY29183"/>
              </a:cxn>
              <a:cxn ang="0">
                <a:pos x="connsiteX29184" y="connsiteY29184"/>
              </a:cxn>
              <a:cxn ang="0">
                <a:pos x="connsiteX29185" y="connsiteY29185"/>
              </a:cxn>
              <a:cxn ang="0">
                <a:pos x="connsiteX29186" y="connsiteY29186"/>
              </a:cxn>
              <a:cxn ang="0">
                <a:pos x="connsiteX29187" y="connsiteY29187"/>
              </a:cxn>
              <a:cxn ang="0">
                <a:pos x="connsiteX29188" y="connsiteY29188"/>
              </a:cxn>
              <a:cxn ang="0">
                <a:pos x="connsiteX29189" y="connsiteY29189"/>
              </a:cxn>
              <a:cxn ang="0">
                <a:pos x="connsiteX29190" y="connsiteY29190"/>
              </a:cxn>
              <a:cxn ang="0">
                <a:pos x="connsiteX29191" y="connsiteY29191"/>
              </a:cxn>
              <a:cxn ang="0">
                <a:pos x="connsiteX29192" y="connsiteY29192"/>
              </a:cxn>
              <a:cxn ang="0">
                <a:pos x="connsiteX29193" y="connsiteY29193"/>
              </a:cxn>
              <a:cxn ang="0">
                <a:pos x="connsiteX29194" y="connsiteY29194"/>
              </a:cxn>
              <a:cxn ang="0">
                <a:pos x="connsiteX29195" y="connsiteY29195"/>
              </a:cxn>
              <a:cxn ang="0">
                <a:pos x="connsiteX29196" y="connsiteY29196"/>
              </a:cxn>
              <a:cxn ang="0">
                <a:pos x="connsiteX29197" y="connsiteY29197"/>
              </a:cxn>
              <a:cxn ang="0">
                <a:pos x="connsiteX29198" y="connsiteY29198"/>
              </a:cxn>
              <a:cxn ang="0">
                <a:pos x="connsiteX29199" y="connsiteY29199"/>
              </a:cxn>
              <a:cxn ang="0">
                <a:pos x="connsiteX29200" y="connsiteY29200"/>
              </a:cxn>
              <a:cxn ang="0">
                <a:pos x="connsiteX29201" y="connsiteY29201"/>
              </a:cxn>
              <a:cxn ang="0">
                <a:pos x="connsiteX29202" y="connsiteY29202"/>
              </a:cxn>
              <a:cxn ang="0">
                <a:pos x="connsiteX29203" y="connsiteY29203"/>
              </a:cxn>
              <a:cxn ang="0">
                <a:pos x="connsiteX29204" y="connsiteY29204"/>
              </a:cxn>
              <a:cxn ang="0">
                <a:pos x="connsiteX29205" y="connsiteY29205"/>
              </a:cxn>
              <a:cxn ang="0">
                <a:pos x="connsiteX29206" y="connsiteY29206"/>
              </a:cxn>
              <a:cxn ang="0">
                <a:pos x="connsiteX29207" y="connsiteY29207"/>
              </a:cxn>
              <a:cxn ang="0">
                <a:pos x="connsiteX29208" y="connsiteY29208"/>
              </a:cxn>
              <a:cxn ang="0">
                <a:pos x="connsiteX29209" y="connsiteY29209"/>
              </a:cxn>
              <a:cxn ang="0">
                <a:pos x="connsiteX29210" y="connsiteY29210"/>
              </a:cxn>
              <a:cxn ang="0">
                <a:pos x="connsiteX29211" y="connsiteY29211"/>
              </a:cxn>
              <a:cxn ang="0">
                <a:pos x="connsiteX29212" y="connsiteY29212"/>
              </a:cxn>
              <a:cxn ang="0">
                <a:pos x="connsiteX29213" y="connsiteY29213"/>
              </a:cxn>
              <a:cxn ang="0">
                <a:pos x="connsiteX29214" y="connsiteY29214"/>
              </a:cxn>
              <a:cxn ang="0">
                <a:pos x="connsiteX29215" y="connsiteY29215"/>
              </a:cxn>
              <a:cxn ang="0">
                <a:pos x="connsiteX29216" y="connsiteY29216"/>
              </a:cxn>
              <a:cxn ang="0">
                <a:pos x="connsiteX29217" y="connsiteY29217"/>
              </a:cxn>
              <a:cxn ang="0">
                <a:pos x="connsiteX29218" y="connsiteY29218"/>
              </a:cxn>
              <a:cxn ang="0">
                <a:pos x="connsiteX29219" y="connsiteY29219"/>
              </a:cxn>
              <a:cxn ang="0">
                <a:pos x="connsiteX29220" y="connsiteY29220"/>
              </a:cxn>
              <a:cxn ang="0">
                <a:pos x="connsiteX29221" y="connsiteY29221"/>
              </a:cxn>
              <a:cxn ang="0">
                <a:pos x="connsiteX29222" y="connsiteY29222"/>
              </a:cxn>
              <a:cxn ang="0">
                <a:pos x="connsiteX29223" y="connsiteY29223"/>
              </a:cxn>
              <a:cxn ang="0">
                <a:pos x="connsiteX29224" y="connsiteY29224"/>
              </a:cxn>
              <a:cxn ang="0">
                <a:pos x="connsiteX29225" y="connsiteY29225"/>
              </a:cxn>
              <a:cxn ang="0">
                <a:pos x="connsiteX29226" y="connsiteY29226"/>
              </a:cxn>
              <a:cxn ang="0">
                <a:pos x="connsiteX29227" y="connsiteY29227"/>
              </a:cxn>
              <a:cxn ang="0">
                <a:pos x="connsiteX29228" y="connsiteY29228"/>
              </a:cxn>
              <a:cxn ang="0">
                <a:pos x="connsiteX29229" y="connsiteY29229"/>
              </a:cxn>
              <a:cxn ang="0">
                <a:pos x="connsiteX29230" y="connsiteY29230"/>
              </a:cxn>
              <a:cxn ang="0">
                <a:pos x="connsiteX29231" y="connsiteY29231"/>
              </a:cxn>
              <a:cxn ang="0">
                <a:pos x="connsiteX29232" y="connsiteY29232"/>
              </a:cxn>
              <a:cxn ang="0">
                <a:pos x="connsiteX29233" y="connsiteY29233"/>
              </a:cxn>
              <a:cxn ang="0">
                <a:pos x="connsiteX29234" y="connsiteY29234"/>
              </a:cxn>
              <a:cxn ang="0">
                <a:pos x="connsiteX29235" y="connsiteY29235"/>
              </a:cxn>
              <a:cxn ang="0">
                <a:pos x="connsiteX29236" y="connsiteY29236"/>
              </a:cxn>
              <a:cxn ang="0">
                <a:pos x="connsiteX29237" y="connsiteY29237"/>
              </a:cxn>
              <a:cxn ang="0">
                <a:pos x="connsiteX29238" y="connsiteY29238"/>
              </a:cxn>
              <a:cxn ang="0">
                <a:pos x="connsiteX29239" y="connsiteY29239"/>
              </a:cxn>
              <a:cxn ang="0">
                <a:pos x="connsiteX29240" y="connsiteY29240"/>
              </a:cxn>
              <a:cxn ang="0">
                <a:pos x="connsiteX29241" y="connsiteY29241"/>
              </a:cxn>
              <a:cxn ang="0">
                <a:pos x="connsiteX29242" y="connsiteY29242"/>
              </a:cxn>
              <a:cxn ang="0">
                <a:pos x="connsiteX29243" y="connsiteY29243"/>
              </a:cxn>
              <a:cxn ang="0">
                <a:pos x="connsiteX29244" y="connsiteY29244"/>
              </a:cxn>
              <a:cxn ang="0">
                <a:pos x="connsiteX29245" y="connsiteY29245"/>
              </a:cxn>
              <a:cxn ang="0">
                <a:pos x="connsiteX29246" y="connsiteY29246"/>
              </a:cxn>
              <a:cxn ang="0">
                <a:pos x="connsiteX29247" y="connsiteY29247"/>
              </a:cxn>
              <a:cxn ang="0">
                <a:pos x="connsiteX29248" y="connsiteY29248"/>
              </a:cxn>
              <a:cxn ang="0">
                <a:pos x="connsiteX29249" y="connsiteY29249"/>
              </a:cxn>
              <a:cxn ang="0">
                <a:pos x="connsiteX29250" y="connsiteY29250"/>
              </a:cxn>
              <a:cxn ang="0">
                <a:pos x="connsiteX29251" y="connsiteY29251"/>
              </a:cxn>
              <a:cxn ang="0">
                <a:pos x="connsiteX29252" y="connsiteY29252"/>
              </a:cxn>
              <a:cxn ang="0">
                <a:pos x="connsiteX29253" y="connsiteY29253"/>
              </a:cxn>
              <a:cxn ang="0">
                <a:pos x="connsiteX29254" y="connsiteY29254"/>
              </a:cxn>
              <a:cxn ang="0">
                <a:pos x="connsiteX29255" y="connsiteY29255"/>
              </a:cxn>
              <a:cxn ang="0">
                <a:pos x="connsiteX29256" y="connsiteY29256"/>
              </a:cxn>
              <a:cxn ang="0">
                <a:pos x="connsiteX29257" y="connsiteY29257"/>
              </a:cxn>
              <a:cxn ang="0">
                <a:pos x="connsiteX29258" y="connsiteY29258"/>
              </a:cxn>
              <a:cxn ang="0">
                <a:pos x="connsiteX29259" y="connsiteY29259"/>
              </a:cxn>
              <a:cxn ang="0">
                <a:pos x="connsiteX29260" y="connsiteY29260"/>
              </a:cxn>
              <a:cxn ang="0">
                <a:pos x="connsiteX29261" y="connsiteY29261"/>
              </a:cxn>
              <a:cxn ang="0">
                <a:pos x="connsiteX29262" y="connsiteY29262"/>
              </a:cxn>
              <a:cxn ang="0">
                <a:pos x="connsiteX29263" y="connsiteY29263"/>
              </a:cxn>
              <a:cxn ang="0">
                <a:pos x="connsiteX29264" y="connsiteY29264"/>
              </a:cxn>
              <a:cxn ang="0">
                <a:pos x="connsiteX29265" y="connsiteY29265"/>
              </a:cxn>
              <a:cxn ang="0">
                <a:pos x="connsiteX29266" y="connsiteY29266"/>
              </a:cxn>
              <a:cxn ang="0">
                <a:pos x="connsiteX29267" y="connsiteY29267"/>
              </a:cxn>
              <a:cxn ang="0">
                <a:pos x="connsiteX29268" y="connsiteY29268"/>
              </a:cxn>
              <a:cxn ang="0">
                <a:pos x="connsiteX29269" y="connsiteY29269"/>
              </a:cxn>
              <a:cxn ang="0">
                <a:pos x="connsiteX29270" y="connsiteY29270"/>
              </a:cxn>
              <a:cxn ang="0">
                <a:pos x="connsiteX29271" y="connsiteY29271"/>
              </a:cxn>
              <a:cxn ang="0">
                <a:pos x="connsiteX29272" y="connsiteY29272"/>
              </a:cxn>
              <a:cxn ang="0">
                <a:pos x="connsiteX29273" y="connsiteY29273"/>
              </a:cxn>
              <a:cxn ang="0">
                <a:pos x="connsiteX29274" y="connsiteY29274"/>
              </a:cxn>
              <a:cxn ang="0">
                <a:pos x="connsiteX29275" y="connsiteY29275"/>
              </a:cxn>
              <a:cxn ang="0">
                <a:pos x="connsiteX29276" y="connsiteY29276"/>
              </a:cxn>
              <a:cxn ang="0">
                <a:pos x="connsiteX29277" y="connsiteY29277"/>
              </a:cxn>
              <a:cxn ang="0">
                <a:pos x="connsiteX29278" y="connsiteY29278"/>
              </a:cxn>
              <a:cxn ang="0">
                <a:pos x="connsiteX29279" y="connsiteY29279"/>
              </a:cxn>
              <a:cxn ang="0">
                <a:pos x="connsiteX29280" y="connsiteY29280"/>
              </a:cxn>
              <a:cxn ang="0">
                <a:pos x="connsiteX29281" y="connsiteY29281"/>
              </a:cxn>
              <a:cxn ang="0">
                <a:pos x="connsiteX29282" y="connsiteY29282"/>
              </a:cxn>
              <a:cxn ang="0">
                <a:pos x="connsiteX29283" y="connsiteY29283"/>
              </a:cxn>
              <a:cxn ang="0">
                <a:pos x="connsiteX29284" y="connsiteY29284"/>
              </a:cxn>
              <a:cxn ang="0">
                <a:pos x="connsiteX29285" y="connsiteY29285"/>
              </a:cxn>
              <a:cxn ang="0">
                <a:pos x="connsiteX29286" y="connsiteY29286"/>
              </a:cxn>
              <a:cxn ang="0">
                <a:pos x="connsiteX29287" y="connsiteY29287"/>
              </a:cxn>
              <a:cxn ang="0">
                <a:pos x="connsiteX29288" y="connsiteY29288"/>
              </a:cxn>
              <a:cxn ang="0">
                <a:pos x="connsiteX29289" y="connsiteY29289"/>
              </a:cxn>
              <a:cxn ang="0">
                <a:pos x="connsiteX29290" y="connsiteY29290"/>
              </a:cxn>
              <a:cxn ang="0">
                <a:pos x="connsiteX29291" y="connsiteY29291"/>
              </a:cxn>
              <a:cxn ang="0">
                <a:pos x="connsiteX29292" y="connsiteY29292"/>
              </a:cxn>
              <a:cxn ang="0">
                <a:pos x="connsiteX29293" y="connsiteY29293"/>
              </a:cxn>
              <a:cxn ang="0">
                <a:pos x="connsiteX29294" y="connsiteY29294"/>
              </a:cxn>
              <a:cxn ang="0">
                <a:pos x="connsiteX29295" y="connsiteY29295"/>
              </a:cxn>
              <a:cxn ang="0">
                <a:pos x="connsiteX29296" y="connsiteY29296"/>
              </a:cxn>
              <a:cxn ang="0">
                <a:pos x="connsiteX29297" y="connsiteY29297"/>
              </a:cxn>
              <a:cxn ang="0">
                <a:pos x="connsiteX29298" y="connsiteY29298"/>
              </a:cxn>
              <a:cxn ang="0">
                <a:pos x="connsiteX29299" y="connsiteY29299"/>
              </a:cxn>
              <a:cxn ang="0">
                <a:pos x="connsiteX29300" y="connsiteY29300"/>
              </a:cxn>
              <a:cxn ang="0">
                <a:pos x="connsiteX29301" y="connsiteY29301"/>
              </a:cxn>
              <a:cxn ang="0">
                <a:pos x="connsiteX29302" y="connsiteY29302"/>
              </a:cxn>
              <a:cxn ang="0">
                <a:pos x="connsiteX29303" y="connsiteY29303"/>
              </a:cxn>
              <a:cxn ang="0">
                <a:pos x="connsiteX29304" y="connsiteY29304"/>
              </a:cxn>
              <a:cxn ang="0">
                <a:pos x="connsiteX29305" y="connsiteY29305"/>
              </a:cxn>
              <a:cxn ang="0">
                <a:pos x="connsiteX29306" y="connsiteY29306"/>
              </a:cxn>
              <a:cxn ang="0">
                <a:pos x="connsiteX29307" y="connsiteY29307"/>
              </a:cxn>
              <a:cxn ang="0">
                <a:pos x="connsiteX29308" y="connsiteY29308"/>
              </a:cxn>
              <a:cxn ang="0">
                <a:pos x="connsiteX29309" y="connsiteY29309"/>
              </a:cxn>
              <a:cxn ang="0">
                <a:pos x="connsiteX29310" y="connsiteY29310"/>
              </a:cxn>
              <a:cxn ang="0">
                <a:pos x="connsiteX29311" y="connsiteY29311"/>
              </a:cxn>
              <a:cxn ang="0">
                <a:pos x="connsiteX29312" y="connsiteY29312"/>
              </a:cxn>
              <a:cxn ang="0">
                <a:pos x="connsiteX29313" y="connsiteY29313"/>
              </a:cxn>
              <a:cxn ang="0">
                <a:pos x="connsiteX29314" y="connsiteY29314"/>
              </a:cxn>
              <a:cxn ang="0">
                <a:pos x="connsiteX29315" y="connsiteY29315"/>
              </a:cxn>
              <a:cxn ang="0">
                <a:pos x="connsiteX29316" y="connsiteY29316"/>
              </a:cxn>
              <a:cxn ang="0">
                <a:pos x="connsiteX29317" y="connsiteY29317"/>
              </a:cxn>
              <a:cxn ang="0">
                <a:pos x="connsiteX29318" y="connsiteY29318"/>
              </a:cxn>
              <a:cxn ang="0">
                <a:pos x="connsiteX29319" y="connsiteY29319"/>
              </a:cxn>
              <a:cxn ang="0">
                <a:pos x="connsiteX29320" y="connsiteY29320"/>
              </a:cxn>
              <a:cxn ang="0">
                <a:pos x="connsiteX29321" y="connsiteY29321"/>
              </a:cxn>
              <a:cxn ang="0">
                <a:pos x="connsiteX29322" y="connsiteY29322"/>
              </a:cxn>
              <a:cxn ang="0">
                <a:pos x="connsiteX29323" y="connsiteY29323"/>
              </a:cxn>
              <a:cxn ang="0">
                <a:pos x="connsiteX29324" y="connsiteY29324"/>
              </a:cxn>
              <a:cxn ang="0">
                <a:pos x="connsiteX29325" y="connsiteY29325"/>
              </a:cxn>
              <a:cxn ang="0">
                <a:pos x="connsiteX29326" y="connsiteY29326"/>
              </a:cxn>
              <a:cxn ang="0">
                <a:pos x="connsiteX29327" y="connsiteY29327"/>
              </a:cxn>
              <a:cxn ang="0">
                <a:pos x="connsiteX29328" y="connsiteY29328"/>
              </a:cxn>
              <a:cxn ang="0">
                <a:pos x="connsiteX29329" y="connsiteY29329"/>
              </a:cxn>
              <a:cxn ang="0">
                <a:pos x="connsiteX29330" y="connsiteY29330"/>
              </a:cxn>
              <a:cxn ang="0">
                <a:pos x="connsiteX29331" y="connsiteY29331"/>
              </a:cxn>
              <a:cxn ang="0">
                <a:pos x="connsiteX29332" y="connsiteY29332"/>
              </a:cxn>
              <a:cxn ang="0">
                <a:pos x="connsiteX29333" y="connsiteY29333"/>
              </a:cxn>
              <a:cxn ang="0">
                <a:pos x="connsiteX29334" y="connsiteY29334"/>
              </a:cxn>
              <a:cxn ang="0">
                <a:pos x="connsiteX29335" y="connsiteY29335"/>
              </a:cxn>
              <a:cxn ang="0">
                <a:pos x="connsiteX29336" y="connsiteY29336"/>
              </a:cxn>
              <a:cxn ang="0">
                <a:pos x="connsiteX29337" y="connsiteY29337"/>
              </a:cxn>
              <a:cxn ang="0">
                <a:pos x="connsiteX29338" y="connsiteY29338"/>
              </a:cxn>
              <a:cxn ang="0">
                <a:pos x="connsiteX29339" y="connsiteY29339"/>
              </a:cxn>
              <a:cxn ang="0">
                <a:pos x="connsiteX29340" y="connsiteY29340"/>
              </a:cxn>
              <a:cxn ang="0">
                <a:pos x="connsiteX29341" y="connsiteY29341"/>
              </a:cxn>
              <a:cxn ang="0">
                <a:pos x="connsiteX29342" y="connsiteY29342"/>
              </a:cxn>
              <a:cxn ang="0">
                <a:pos x="connsiteX29343" y="connsiteY29343"/>
              </a:cxn>
              <a:cxn ang="0">
                <a:pos x="connsiteX29344" y="connsiteY29344"/>
              </a:cxn>
              <a:cxn ang="0">
                <a:pos x="connsiteX29345" y="connsiteY29345"/>
              </a:cxn>
              <a:cxn ang="0">
                <a:pos x="connsiteX29346" y="connsiteY29346"/>
              </a:cxn>
              <a:cxn ang="0">
                <a:pos x="connsiteX29347" y="connsiteY29347"/>
              </a:cxn>
              <a:cxn ang="0">
                <a:pos x="connsiteX29348" y="connsiteY29348"/>
              </a:cxn>
              <a:cxn ang="0">
                <a:pos x="connsiteX29349" y="connsiteY29349"/>
              </a:cxn>
              <a:cxn ang="0">
                <a:pos x="connsiteX29350" y="connsiteY29350"/>
              </a:cxn>
              <a:cxn ang="0">
                <a:pos x="connsiteX29351" y="connsiteY29351"/>
              </a:cxn>
              <a:cxn ang="0">
                <a:pos x="connsiteX29352" y="connsiteY29352"/>
              </a:cxn>
              <a:cxn ang="0">
                <a:pos x="connsiteX29353" y="connsiteY29353"/>
              </a:cxn>
              <a:cxn ang="0">
                <a:pos x="connsiteX29354" y="connsiteY29354"/>
              </a:cxn>
              <a:cxn ang="0">
                <a:pos x="connsiteX29355" y="connsiteY29355"/>
              </a:cxn>
              <a:cxn ang="0">
                <a:pos x="connsiteX29356" y="connsiteY29356"/>
              </a:cxn>
              <a:cxn ang="0">
                <a:pos x="connsiteX29357" y="connsiteY29357"/>
              </a:cxn>
              <a:cxn ang="0">
                <a:pos x="connsiteX29358" y="connsiteY29358"/>
              </a:cxn>
              <a:cxn ang="0">
                <a:pos x="connsiteX29359" y="connsiteY29359"/>
              </a:cxn>
              <a:cxn ang="0">
                <a:pos x="connsiteX29360" y="connsiteY29360"/>
              </a:cxn>
              <a:cxn ang="0">
                <a:pos x="connsiteX29361" y="connsiteY29361"/>
              </a:cxn>
              <a:cxn ang="0">
                <a:pos x="connsiteX29362" y="connsiteY29362"/>
              </a:cxn>
              <a:cxn ang="0">
                <a:pos x="connsiteX29363" y="connsiteY29363"/>
              </a:cxn>
              <a:cxn ang="0">
                <a:pos x="connsiteX29364" y="connsiteY29364"/>
              </a:cxn>
              <a:cxn ang="0">
                <a:pos x="connsiteX29365" y="connsiteY29365"/>
              </a:cxn>
              <a:cxn ang="0">
                <a:pos x="connsiteX29366" y="connsiteY29366"/>
              </a:cxn>
              <a:cxn ang="0">
                <a:pos x="connsiteX29367" y="connsiteY29367"/>
              </a:cxn>
              <a:cxn ang="0">
                <a:pos x="connsiteX29368" y="connsiteY29368"/>
              </a:cxn>
              <a:cxn ang="0">
                <a:pos x="connsiteX29369" y="connsiteY29369"/>
              </a:cxn>
              <a:cxn ang="0">
                <a:pos x="connsiteX29370" y="connsiteY29370"/>
              </a:cxn>
              <a:cxn ang="0">
                <a:pos x="connsiteX29371" y="connsiteY29371"/>
              </a:cxn>
              <a:cxn ang="0">
                <a:pos x="connsiteX29372" y="connsiteY29372"/>
              </a:cxn>
              <a:cxn ang="0">
                <a:pos x="connsiteX29373" y="connsiteY29373"/>
              </a:cxn>
              <a:cxn ang="0">
                <a:pos x="connsiteX29374" y="connsiteY29374"/>
              </a:cxn>
              <a:cxn ang="0">
                <a:pos x="connsiteX29375" y="connsiteY29375"/>
              </a:cxn>
              <a:cxn ang="0">
                <a:pos x="connsiteX29376" y="connsiteY29376"/>
              </a:cxn>
              <a:cxn ang="0">
                <a:pos x="connsiteX29377" y="connsiteY29377"/>
              </a:cxn>
              <a:cxn ang="0">
                <a:pos x="connsiteX29378" y="connsiteY29378"/>
              </a:cxn>
              <a:cxn ang="0">
                <a:pos x="connsiteX29379" y="connsiteY29379"/>
              </a:cxn>
              <a:cxn ang="0">
                <a:pos x="connsiteX29380" y="connsiteY29380"/>
              </a:cxn>
              <a:cxn ang="0">
                <a:pos x="connsiteX29381" y="connsiteY29381"/>
              </a:cxn>
              <a:cxn ang="0">
                <a:pos x="connsiteX29382" y="connsiteY29382"/>
              </a:cxn>
              <a:cxn ang="0">
                <a:pos x="connsiteX29383" y="connsiteY29383"/>
              </a:cxn>
              <a:cxn ang="0">
                <a:pos x="connsiteX29384" y="connsiteY29384"/>
              </a:cxn>
              <a:cxn ang="0">
                <a:pos x="connsiteX29385" y="connsiteY29385"/>
              </a:cxn>
              <a:cxn ang="0">
                <a:pos x="connsiteX29386" y="connsiteY29386"/>
              </a:cxn>
              <a:cxn ang="0">
                <a:pos x="connsiteX29387" y="connsiteY29387"/>
              </a:cxn>
              <a:cxn ang="0">
                <a:pos x="connsiteX29388" y="connsiteY29388"/>
              </a:cxn>
              <a:cxn ang="0">
                <a:pos x="connsiteX29389" y="connsiteY29389"/>
              </a:cxn>
              <a:cxn ang="0">
                <a:pos x="connsiteX29390" y="connsiteY29390"/>
              </a:cxn>
              <a:cxn ang="0">
                <a:pos x="connsiteX29391" y="connsiteY29391"/>
              </a:cxn>
              <a:cxn ang="0">
                <a:pos x="connsiteX29392" y="connsiteY29392"/>
              </a:cxn>
              <a:cxn ang="0">
                <a:pos x="connsiteX29393" y="connsiteY29393"/>
              </a:cxn>
              <a:cxn ang="0">
                <a:pos x="connsiteX29394" y="connsiteY29394"/>
              </a:cxn>
              <a:cxn ang="0">
                <a:pos x="connsiteX29395" y="connsiteY29395"/>
              </a:cxn>
              <a:cxn ang="0">
                <a:pos x="connsiteX29396" y="connsiteY29396"/>
              </a:cxn>
              <a:cxn ang="0">
                <a:pos x="connsiteX29397" y="connsiteY29397"/>
              </a:cxn>
              <a:cxn ang="0">
                <a:pos x="connsiteX29398" y="connsiteY29398"/>
              </a:cxn>
              <a:cxn ang="0">
                <a:pos x="connsiteX29399" y="connsiteY29399"/>
              </a:cxn>
              <a:cxn ang="0">
                <a:pos x="connsiteX29400" y="connsiteY29400"/>
              </a:cxn>
              <a:cxn ang="0">
                <a:pos x="connsiteX29401" y="connsiteY29401"/>
              </a:cxn>
              <a:cxn ang="0">
                <a:pos x="connsiteX29402" y="connsiteY29402"/>
              </a:cxn>
              <a:cxn ang="0">
                <a:pos x="connsiteX29403" y="connsiteY29403"/>
              </a:cxn>
              <a:cxn ang="0">
                <a:pos x="connsiteX29404" y="connsiteY29404"/>
              </a:cxn>
              <a:cxn ang="0">
                <a:pos x="connsiteX29405" y="connsiteY29405"/>
              </a:cxn>
              <a:cxn ang="0">
                <a:pos x="connsiteX29406" y="connsiteY29406"/>
              </a:cxn>
              <a:cxn ang="0">
                <a:pos x="connsiteX29407" y="connsiteY29407"/>
              </a:cxn>
              <a:cxn ang="0">
                <a:pos x="connsiteX29408" y="connsiteY29408"/>
              </a:cxn>
              <a:cxn ang="0">
                <a:pos x="connsiteX29409" y="connsiteY29409"/>
              </a:cxn>
              <a:cxn ang="0">
                <a:pos x="connsiteX29410" y="connsiteY29410"/>
              </a:cxn>
              <a:cxn ang="0">
                <a:pos x="connsiteX29411" y="connsiteY29411"/>
              </a:cxn>
              <a:cxn ang="0">
                <a:pos x="connsiteX29412" y="connsiteY29412"/>
              </a:cxn>
              <a:cxn ang="0">
                <a:pos x="connsiteX29413" y="connsiteY29413"/>
              </a:cxn>
              <a:cxn ang="0">
                <a:pos x="connsiteX29414" y="connsiteY29414"/>
              </a:cxn>
              <a:cxn ang="0">
                <a:pos x="connsiteX29415" y="connsiteY29415"/>
              </a:cxn>
              <a:cxn ang="0">
                <a:pos x="connsiteX29416" y="connsiteY29416"/>
              </a:cxn>
              <a:cxn ang="0">
                <a:pos x="connsiteX29417" y="connsiteY29417"/>
              </a:cxn>
              <a:cxn ang="0">
                <a:pos x="connsiteX29418" y="connsiteY29418"/>
              </a:cxn>
              <a:cxn ang="0">
                <a:pos x="connsiteX29419" y="connsiteY29419"/>
              </a:cxn>
              <a:cxn ang="0">
                <a:pos x="connsiteX29420" y="connsiteY29420"/>
              </a:cxn>
              <a:cxn ang="0">
                <a:pos x="connsiteX29421" y="connsiteY29421"/>
              </a:cxn>
              <a:cxn ang="0">
                <a:pos x="connsiteX29422" y="connsiteY29422"/>
              </a:cxn>
              <a:cxn ang="0">
                <a:pos x="connsiteX29423" y="connsiteY29423"/>
              </a:cxn>
              <a:cxn ang="0">
                <a:pos x="connsiteX29424" y="connsiteY29424"/>
              </a:cxn>
              <a:cxn ang="0">
                <a:pos x="connsiteX29425" y="connsiteY29425"/>
              </a:cxn>
              <a:cxn ang="0">
                <a:pos x="connsiteX29426" y="connsiteY29426"/>
              </a:cxn>
              <a:cxn ang="0">
                <a:pos x="connsiteX29427" y="connsiteY29427"/>
              </a:cxn>
              <a:cxn ang="0">
                <a:pos x="connsiteX29428" y="connsiteY29428"/>
              </a:cxn>
              <a:cxn ang="0">
                <a:pos x="connsiteX29429" y="connsiteY29429"/>
              </a:cxn>
              <a:cxn ang="0">
                <a:pos x="connsiteX29430" y="connsiteY29430"/>
              </a:cxn>
              <a:cxn ang="0">
                <a:pos x="connsiteX29431" y="connsiteY29431"/>
              </a:cxn>
              <a:cxn ang="0">
                <a:pos x="connsiteX29432" y="connsiteY29432"/>
              </a:cxn>
              <a:cxn ang="0">
                <a:pos x="connsiteX29433" y="connsiteY29433"/>
              </a:cxn>
              <a:cxn ang="0">
                <a:pos x="connsiteX29434" y="connsiteY29434"/>
              </a:cxn>
              <a:cxn ang="0">
                <a:pos x="connsiteX29435" y="connsiteY29435"/>
              </a:cxn>
              <a:cxn ang="0">
                <a:pos x="connsiteX29436" y="connsiteY29436"/>
              </a:cxn>
              <a:cxn ang="0">
                <a:pos x="connsiteX29437" y="connsiteY29437"/>
              </a:cxn>
              <a:cxn ang="0">
                <a:pos x="connsiteX29438" y="connsiteY29438"/>
              </a:cxn>
              <a:cxn ang="0">
                <a:pos x="connsiteX29439" y="connsiteY29439"/>
              </a:cxn>
              <a:cxn ang="0">
                <a:pos x="connsiteX29440" y="connsiteY29440"/>
              </a:cxn>
              <a:cxn ang="0">
                <a:pos x="connsiteX29441" y="connsiteY29441"/>
              </a:cxn>
              <a:cxn ang="0">
                <a:pos x="connsiteX29442" y="connsiteY29442"/>
              </a:cxn>
              <a:cxn ang="0">
                <a:pos x="connsiteX29443" y="connsiteY29443"/>
              </a:cxn>
              <a:cxn ang="0">
                <a:pos x="connsiteX29444" y="connsiteY29444"/>
              </a:cxn>
              <a:cxn ang="0">
                <a:pos x="connsiteX29445" y="connsiteY29445"/>
              </a:cxn>
              <a:cxn ang="0">
                <a:pos x="connsiteX29446" y="connsiteY29446"/>
              </a:cxn>
              <a:cxn ang="0">
                <a:pos x="connsiteX29447" y="connsiteY29447"/>
              </a:cxn>
              <a:cxn ang="0">
                <a:pos x="connsiteX29448" y="connsiteY29448"/>
              </a:cxn>
              <a:cxn ang="0">
                <a:pos x="connsiteX29449" y="connsiteY29449"/>
              </a:cxn>
              <a:cxn ang="0">
                <a:pos x="connsiteX29450" y="connsiteY29450"/>
              </a:cxn>
              <a:cxn ang="0">
                <a:pos x="connsiteX29451" y="connsiteY29451"/>
              </a:cxn>
              <a:cxn ang="0">
                <a:pos x="connsiteX29452" y="connsiteY29452"/>
              </a:cxn>
              <a:cxn ang="0">
                <a:pos x="connsiteX29453" y="connsiteY29453"/>
              </a:cxn>
              <a:cxn ang="0">
                <a:pos x="connsiteX29454" y="connsiteY29454"/>
              </a:cxn>
              <a:cxn ang="0">
                <a:pos x="connsiteX29455" y="connsiteY29455"/>
              </a:cxn>
              <a:cxn ang="0">
                <a:pos x="connsiteX29456" y="connsiteY29456"/>
              </a:cxn>
              <a:cxn ang="0">
                <a:pos x="connsiteX29457" y="connsiteY29457"/>
              </a:cxn>
              <a:cxn ang="0">
                <a:pos x="connsiteX29458" y="connsiteY29458"/>
              </a:cxn>
              <a:cxn ang="0">
                <a:pos x="connsiteX29459" y="connsiteY29459"/>
              </a:cxn>
              <a:cxn ang="0">
                <a:pos x="connsiteX29460" y="connsiteY29460"/>
              </a:cxn>
              <a:cxn ang="0">
                <a:pos x="connsiteX29461" y="connsiteY29461"/>
              </a:cxn>
              <a:cxn ang="0">
                <a:pos x="connsiteX29462" y="connsiteY29462"/>
              </a:cxn>
              <a:cxn ang="0">
                <a:pos x="connsiteX29463" y="connsiteY29463"/>
              </a:cxn>
              <a:cxn ang="0">
                <a:pos x="connsiteX29464" y="connsiteY29464"/>
              </a:cxn>
              <a:cxn ang="0">
                <a:pos x="connsiteX29465" y="connsiteY29465"/>
              </a:cxn>
              <a:cxn ang="0">
                <a:pos x="connsiteX29466" y="connsiteY29466"/>
              </a:cxn>
              <a:cxn ang="0">
                <a:pos x="connsiteX29467" y="connsiteY29467"/>
              </a:cxn>
              <a:cxn ang="0">
                <a:pos x="connsiteX29468" y="connsiteY29468"/>
              </a:cxn>
              <a:cxn ang="0">
                <a:pos x="connsiteX29469" y="connsiteY29469"/>
              </a:cxn>
              <a:cxn ang="0">
                <a:pos x="connsiteX29470" y="connsiteY29470"/>
              </a:cxn>
              <a:cxn ang="0">
                <a:pos x="connsiteX29471" y="connsiteY29471"/>
              </a:cxn>
              <a:cxn ang="0">
                <a:pos x="connsiteX29472" y="connsiteY29472"/>
              </a:cxn>
              <a:cxn ang="0">
                <a:pos x="connsiteX29473" y="connsiteY29473"/>
              </a:cxn>
              <a:cxn ang="0">
                <a:pos x="connsiteX29474" y="connsiteY29474"/>
              </a:cxn>
              <a:cxn ang="0">
                <a:pos x="connsiteX29475" y="connsiteY29475"/>
              </a:cxn>
              <a:cxn ang="0">
                <a:pos x="connsiteX29476" y="connsiteY29476"/>
              </a:cxn>
              <a:cxn ang="0">
                <a:pos x="connsiteX29477" y="connsiteY29477"/>
              </a:cxn>
              <a:cxn ang="0">
                <a:pos x="connsiteX29478" y="connsiteY29478"/>
              </a:cxn>
              <a:cxn ang="0">
                <a:pos x="connsiteX29479" y="connsiteY29479"/>
              </a:cxn>
              <a:cxn ang="0">
                <a:pos x="connsiteX29480" y="connsiteY29480"/>
              </a:cxn>
              <a:cxn ang="0">
                <a:pos x="connsiteX29481" y="connsiteY29481"/>
              </a:cxn>
              <a:cxn ang="0">
                <a:pos x="connsiteX29482" y="connsiteY29482"/>
              </a:cxn>
              <a:cxn ang="0">
                <a:pos x="connsiteX29483" y="connsiteY29483"/>
              </a:cxn>
              <a:cxn ang="0">
                <a:pos x="connsiteX29484" y="connsiteY29484"/>
              </a:cxn>
              <a:cxn ang="0">
                <a:pos x="connsiteX29485" y="connsiteY29485"/>
              </a:cxn>
              <a:cxn ang="0">
                <a:pos x="connsiteX29486" y="connsiteY29486"/>
              </a:cxn>
              <a:cxn ang="0">
                <a:pos x="connsiteX29487" y="connsiteY29487"/>
              </a:cxn>
              <a:cxn ang="0">
                <a:pos x="connsiteX29488" y="connsiteY29488"/>
              </a:cxn>
              <a:cxn ang="0">
                <a:pos x="connsiteX29489" y="connsiteY29489"/>
              </a:cxn>
              <a:cxn ang="0">
                <a:pos x="connsiteX29490" y="connsiteY29490"/>
              </a:cxn>
              <a:cxn ang="0">
                <a:pos x="connsiteX29491" y="connsiteY29491"/>
              </a:cxn>
              <a:cxn ang="0">
                <a:pos x="connsiteX29492" y="connsiteY29492"/>
              </a:cxn>
              <a:cxn ang="0">
                <a:pos x="connsiteX29493" y="connsiteY29493"/>
              </a:cxn>
              <a:cxn ang="0">
                <a:pos x="connsiteX29494" y="connsiteY29494"/>
              </a:cxn>
              <a:cxn ang="0">
                <a:pos x="connsiteX29495" y="connsiteY29495"/>
              </a:cxn>
              <a:cxn ang="0">
                <a:pos x="connsiteX29496" y="connsiteY29496"/>
              </a:cxn>
              <a:cxn ang="0">
                <a:pos x="connsiteX29497" y="connsiteY29497"/>
              </a:cxn>
              <a:cxn ang="0">
                <a:pos x="connsiteX29498" y="connsiteY29498"/>
              </a:cxn>
              <a:cxn ang="0">
                <a:pos x="connsiteX29499" y="connsiteY29499"/>
              </a:cxn>
              <a:cxn ang="0">
                <a:pos x="connsiteX29500" y="connsiteY29500"/>
              </a:cxn>
              <a:cxn ang="0">
                <a:pos x="connsiteX29501" y="connsiteY29501"/>
              </a:cxn>
              <a:cxn ang="0">
                <a:pos x="connsiteX29502" y="connsiteY29502"/>
              </a:cxn>
              <a:cxn ang="0">
                <a:pos x="connsiteX29503" y="connsiteY29503"/>
              </a:cxn>
              <a:cxn ang="0">
                <a:pos x="connsiteX29504" y="connsiteY29504"/>
              </a:cxn>
              <a:cxn ang="0">
                <a:pos x="connsiteX29505" y="connsiteY29505"/>
              </a:cxn>
              <a:cxn ang="0">
                <a:pos x="connsiteX29506" y="connsiteY29506"/>
              </a:cxn>
              <a:cxn ang="0">
                <a:pos x="connsiteX29507" y="connsiteY29507"/>
              </a:cxn>
              <a:cxn ang="0">
                <a:pos x="connsiteX29508" y="connsiteY29508"/>
              </a:cxn>
              <a:cxn ang="0">
                <a:pos x="connsiteX29509" y="connsiteY29509"/>
              </a:cxn>
              <a:cxn ang="0">
                <a:pos x="connsiteX29510" y="connsiteY29510"/>
              </a:cxn>
              <a:cxn ang="0">
                <a:pos x="connsiteX29511" y="connsiteY29511"/>
              </a:cxn>
              <a:cxn ang="0">
                <a:pos x="connsiteX29512" y="connsiteY29512"/>
              </a:cxn>
              <a:cxn ang="0">
                <a:pos x="connsiteX29513" y="connsiteY29513"/>
              </a:cxn>
              <a:cxn ang="0">
                <a:pos x="connsiteX29514" y="connsiteY29514"/>
              </a:cxn>
              <a:cxn ang="0">
                <a:pos x="connsiteX29515" y="connsiteY29515"/>
              </a:cxn>
              <a:cxn ang="0">
                <a:pos x="connsiteX29516" y="connsiteY29516"/>
              </a:cxn>
              <a:cxn ang="0">
                <a:pos x="connsiteX29517" y="connsiteY29517"/>
              </a:cxn>
              <a:cxn ang="0">
                <a:pos x="connsiteX29518" y="connsiteY29518"/>
              </a:cxn>
              <a:cxn ang="0">
                <a:pos x="connsiteX29519" y="connsiteY29519"/>
              </a:cxn>
              <a:cxn ang="0">
                <a:pos x="connsiteX29520" y="connsiteY29520"/>
              </a:cxn>
              <a:cxn ang="0">
                <a:pos x="connsiteX29521" y="connsiteY29521"/>
              </a:cxn>
              <a:cxn ang="0">
                <a:pos x="connsiteX29522" y="connsiteY29522"/>
              </a:cxn>
              <a:cxn ang="0">
                <a:pos x="connsiteX29523" y="connsiteY29523"/>
              </a:cxn>
              <a:cxn ang="0">
                <a:pos x="connsiteX29524" y="connsiteY29524"/>
              </a:cxn>
              <a:cxn ang="0">
                <a:pos x="connsiteX29525" y="connsiteY29525"/>
              </a:cxn>
              <a:cxn ang="0">
                <a:pos x="connsiteX29526" y="connsiteY29526"/>
              </a:cxn>
              <a:cxn ang="0">
                <a:pos x="connsiteX29527" y="connsiteY29527"/>
              </a:cxn>
              <a:cxn ang="0">
                <a:pos x="connsiteX29528" y="connsiteY29528"/>
              </a:cxn>
              <a:cxn ang="0">
                <a:pos x="connsiteX29529" y="connsiteY29529"/>
              </a:cxn>
              <a:cxn ang="0">
                <a:pos x="connsiteX29530" y="connsiteY29530"/>
              </a:cxn>
              <a:cxn ang="0">
                <a:pos x="connsiteX29531" y="connsiteY29531"/>
              </a:cxn>
              <a:cxn ang="0">
                <a:pos x="connsiteX29532" y="connsiteY29532"/>
              </a:cxn>
              <a:cxn ang="0">
                <a:pos x="connsiteX29533" y="connsiteY29533"/>
              </a:cxn>
              <a:cxn ang="0">
                <a:pos x="connsiteX29534" y="connsiteY29534"/>
              </a:cxn>
              <a:cxn ang="0">
                <a:pos x="connsiteX29535" y="connsiteY29535"/>
              </a:cxn>
              <a:cxn ang="0">
                <a:pos x="connsiteX29536" y="connsiteY29536"/>
              </a:cxn>
              <a:cxn ang="0">
                <a:pos x="connsiteX29537" y="connsiteY29537"/>
              </a:cxn>
              <a:cxn ang="0">
                <a:pos x="connsiteX29538" y="connsiteY29538"/>
              </a:cxn>
              <a:cxn ang="0">
                <a:pos x="connsiteX29539" y="connsiteY29539"/>
              </a:cxn>
              <a:cxn ang="0">
                <a:pos x="connsiteX29540" y="connsiteY29540"/>
              </a:cxn>
              <a:cxn ang="0">
                <a:pos x="connsiteX29541" y="connsiteY29541"/>
              </a:cxn>
              <a:cxn ang="0">
                <a:pos x="connsiteX29542" y="connsiteY29542"/>
              </a:cxn>
              <a:cxn ang="0">
                <a:pos x="connsiteX29543" y="connsiteY29543"/>
              </a:cxn>
              <a:cxn ang="0">
                <a:pos x="connsiteX29544" y="connsiteY29544"/>
              </a:cxn>
              <a:cxn ang="0">
                <a:pos x="connsiteX29545" y="connsiteY29545"/>
              </a:cxn>
              <a:cxn ang="0">
                <a:pos x="connsiteX29546" y="connsiteY29546"/>
              </a:cxn>
              <a:cxn ang="0">
                <a:pos x="connsiteX29547" y="connsiteY29547"/>
              </a:cxn>
              <a:cxn ang="0">
                <a:pos x="connsiteX29548" y="connsiteY29548"/>
              </a:cxn>
              <a:cxn ang="0">
                <a:pos x="connsiteX29549" y="connsiteY29549"/>
              </a:cxn>
              <a:cxn ang="0">
                <a:pos x="connsiteX29550" y="connsiteY29550"/>
              </a:cxn>
              <a:cxn ang="0">
                <a:pos x="connsiteX29551" y="connsiteY29551"/>
              </a:cxn>
              <a:cxn ang="0">
                <a:pos x="connsiteX29552" y="connsiteY29552"/>
              </a:cxn>
              <a:cxn ang="0">
                <a:pos x="connsiteX29553" y="connsiteY29553"/>
              </a:cxn>
              <a:cxn ang="0">
                <a:pos x="connsiteX29554" y="connsiteY29554"/>
              </a:cxn>
              <a:cxn ang="0">
                <a:pos x="connsiteX29555" y="connsiteY29555"/>
              </a:cxn>
              <a:cxn ang="0">
                <a:pos x="connsiteX29556" y="connsiteY29556"/>
              </a:cxn>
              <a:cxn ang="0">
                <a:pos x="connsiteX29557" y="connsiteY29557"/>
              </a:cxn>
              <a:cxn ang="0">
                <a:pos x="connsiteX29558" y="connsiteY29558"/>
              </a:cxn>
              <a:cxn ang="0">
                <a:pos x="connsiteX29559" y="connsiteY29559"/>
              </a:cxn>
              <a:cxn ang="0">
                <a:pos x="connsiteX29560" y="connsiteY29560"/>
              </a:cxn>
              <a:cxn ang="0">
                <a:pos x="connsiteX29561" y="connsiteY29561"/>
              </a:cxn>
              <a:cxn ang="0">
                <a:pos x="connsiteX29562" y="connsiteY29562"/>
              </a:cxn>
              <a:cxn ang="0">
                <a:pos x="connsiteX29563" y="connsiteY29563"/>
              </a:cxn>
              <a:cxn ang="0">
                <a:pos x="connsiteX29564" y="connsiteY29564"/>
              </a:cxn>
              <a:cxn ang="0">
                <a:pos x="connsiteX29565" y="connsiteY29565"/>
              </a:cxn>
              <a:cxn ang="0">
                <a:pos x="connsiteX29566" y="connsiteY29566"/>
              </a:cxn>
              <a:cxn ang="0">
                <a:pos x="connsiteX29567" y="connsiteY29567"/>
              </a:cxn>
              <a:cxn ang="0">
                <a:pos x="connsiteX29568" y="connsiteY29568"/>
              </a:cxn>
              <a:cxn ang="0">
                <a:pos x="connsiteX29569" y="connsiteY29569"/>
              </a:cxn>
              <a:cxn ang="0">
                <a:pos x="connsiteX29570" y="connsiteY29570"/>
              </a:cxn>
              <a:cxn ang="0">
                <a:pos x="connsiteX29571" y="connsiteY29571"/>
              </a:cxn>
              <a:cxn ang="0">
                <a:pos x="connsiteX29572" y="connsiteY29572"/>
              </a:cxn>
              <a:cxn ang="0">
                <a:pos x="connsiteX29573" y="connsiteY29573"/>
              </a:cxn>
              <a:cxn ang="0">
                <a:pos x="connsiteX29574" y="connsiteY29574"/>
              </a:cxn>
              <a:cxn ang="0">
                <a:pos x="connsiteX29575" y="connsiteY29575"/>
              </a:cxn>
              <a:cxn ang="0">
                <a:pos x="connsiteX29576" y="connsiteY29576"/>
              </a:cxn>
              <a:cxn ang="0">
                <a:pos x="connsiteX29577" y="connsiteY29577"/>
              </a:cxn>
              <a:cxn ang="0">
                <a:pos x="connsiteX29578" y="connsiteY29578"/>
              </a:cxn>
              <a:cxn ang="0">
                <a:pos x="connsiteX29579" y="connsiteY29579"/>
              </a:cxn>
              <a:cxn ang="0">
                <a:pos x="connsiteX29580" y="connsiteY29580"/>
              </a:cxn>
              <a:cxn ang="0">
                <a:pos x="connsiteX29581" y="connsiteY29581"/>
              </a:cxn>
              <a:cxn ang="0">
                <a:pos x="connsiteX29582" y="connsiteY29582"/>
              </a:cxn>
              <a:cxn ang="0">
                <a:pos x="connsiteX29583" y="connsiteY29583"/>
              </a:cxn>
              <a:cxn ang="0">
                <a:pos x="connsiteX29584" y="connsiteY29584"/>
              </a:cxn>
              <a:cxn ang="0">
                <a:pos x="connsiteX29585" y="connsiteY29585"/>
              </a:cxn>
              <a:cxn ang="0">
                <a:pos x="connsiteX29586" y="connsiteY29586"/>
              </a:cxn>
              <a:cxn ang="0">
                <a:pos x="connsiteX29587" y="connsiteY29587"/>
              </a:cxn>
              <a:cxn ang="0">
                <a:pos x="connsiteX29588" y="connsiteY29588"/>
              </a:cxn>
              <a:cxn ang="0">
                <a:pos x="connsiteX29589" y="connsiteY29589"/>
              </a:cxn>
              <a:cxn ang="0">
                <a:pos x="connsiteX29590" y="connsiteY29590"/>
              </a:cxn>
              <a:cxn ang="0">
                <a:pos x="connsiteX29591" y="connsiteY29591"/>
              </a:cxn>
              <a:cxn ang="0">
                <a:pos x="connsiteX29592" y="connsiteY29592"/>
              </a:cxn>
              <a:cxn ang="0">
                <a:pos x="connsiteX29593" y="connsiteY29593"/>
              </a:cxn>
              <a:cxn ang="0">
                <a:pos x="connsiteX29594" y="connsiteY29594"/>
              </a:cxn>
              <a:cxn ang="0">
                <a:pos x="connsiteX29595" y="connsiteY29595"/>
              </a:cxn>
              <a:cxn ang="0">
                <a:pos x="connsiteX29596" y="connsiteY29596"/>
              </a:cxn>
              <a:cxn ang="0">
                <a:pos x="connsiteX29597" y="connsiteY29597"/>
              </a:cxn>
              <a:cxn ang="0">
                <a:pos x="connsiteX29598" y="connsiteY29598"/>
              </a:cxn>
              <a:cxn ang="0">
                <a:pos x="connsiteX29599" y="connsiteY29599"/>
              </a:cxn>
              <a:cxn ang="0">
                <a:pos x="connsiteX29600" y="connsiteY29600"/>
              </a:cxn>
              <a:cxn ang="0">
                <a:pos x="connsiteX29601" y="connsiteY29601"/>
              </a:cxn>
              <a:cxn ang="0">
                <a:pos x="connsiteX29602" y="connsiteY29602"/>
              </a:cxn>
              <a:cxn ang="0">
                <a:pos x="connsiteX29603" y="connsiteY29603"/>
              </a:cxn>
              <a:cxn ang="0">
                <a:pos x="connsiteX29604" y="connsiteY29604"/>
              </a:cxn>
              <a:cxn ang="0">
                <a:pos x="connsiteX29605" y="connsiteY29605"/>
              </a:cxn>
              <a:cxn ang="0">
                <a:pos x="connsiteX29606" y="connsiteY29606"/>
              </a:cxn>
              <a:cxn ang="0">
                <a:pos x="connsiteX29607" y="connsiteY29607"/>
              </a:cxn>
              <a:cxn ang="0">
                <a:pos x="connsiteX29608" y="connsiteY29608"/>
              </a:cxn>
              <a:cxn ang="0">
                <a:pos x="connsiteX29609" y="connsiteY29609"/>
              </a:cxn>
              <a:cxn ang="0">
                <a:pos x="connsiteX29610" y="connsiteY29610"/>
              </a:cxn>
              <a:cxn ang="0">
                <a:pos x="connsiteX29611" y="connsiteY29611"/>
              </a:cxn>
              <a:cxn ang="0">
                <a:pos x="connsiteX29612" y="connsiteY29612"/>
              </a:cxn>
              <a:cxn ang="0">
                <a:pos x="connsiteX29613" y="connsiteY29613"/>
              </a:cxn>
              <a:cxn ang="0">
                <a:pos x="connsiteX29614" y="connsiteY29614"/>
              </a:cxn>
              <a:cxn ang="0">
                <a:pos x="connsiteX29615" y="connsiteY29615"/>
              </a:cxn>
              <a:cxn ang="0">
                <a:pos x="connsiteX29616" y="connsiteY29616"/>
              </a:cxn>
              <a:cxn ang="0">
                <a:pos x="connsiteX29617" y="connsiteY29617"/>
              </a:cxn>
              <a:cxn ang="0">
                <a:pos x="connsiteX29618" y="connsiteY29618"/>
              </a:cxn>
              <a:cxn ang="0">
                <a:pos x="connsiteX29619" y="connsiteY29619"/>
              </a:cxn>
              <a:cxn ang="0">
                <a:pos x="connsiteX29620" y="connsiteY29620"/>
              </a:cxn>
              <a:cxn ang="0">
                <a:pos x="connsiteX29621" y="connsiteY29621"/>
              </a:cxn>
              <a:cxn ang="0">
                <a:pos x="connsiteX29622" y="connsiteY29622"/>
              </a:cxn>
              <a:cxn ang="0">
                <a:pos x="connsiteX29623" y="connsiteY29623"/>
              </a:cxn>
              <a:cxn ang="0">
                <a:pos x="connsiteX29624" y="connsiteY29624"/>
              </a:cxn>
              <a:cxn ang="0">
                <a:pos x="connsiteX29625" y="connsiteY29625"/>
              </a:cxn>
              <a:cxn ang="0">
                <a:pos x="connsiteX29626" y="connsiteY29626"/>
              </a:cxn>
              <a:cxn ang="0">
                <a:pos x="connsiteX29627" y="connsiteY29627"/>
              </a:cxn>
              <a:cxn ang="0">
                <a:pos x="connsiteX29628" y="connsiteY29628"/>
              </a:cxn>
              <a:cxn ang="0">
                <a:pos x="connsiteX29629" y="connsiteY29629"/>
              </a:cxn>
              <a:cxn ang="0">
                <a:pos x="connsiteX29630" y="connsiteY29630"/>
              </a:cxn>
              <a:cxn ang="0">
                <a:pos x="connsiteX29631" y="connsiteY29631"/>
              </a:cxn>
              <a:cxn ang="0">
                <a:pos x="connsiteX29632" y="connsiteY29632"/>
              </a:cxn>
              <a:cxn ang="0">
                <a:pos x="connsiteX29633" y="connsiteY29633"/>
              </a:cxn>
              <a:cxn ang="0">
                <a:pos x="connsiteX29634" y="connsiteY29634"/>
              </a:cxn>
              <a:cxn ang="0">
                <a:pos x="connsiteX29635" y="connsiteY29635"/>
              </a:cxn>
              <a:cxn ang="0">
                <a:pos x="connsiteX29636" y="connsiteY29636"/>
              </a:cxn>
              <a:cxn ang="0">
                <a:pos x="connsiteX29637" y="connsiteY29637"/>
              </a:cxn>
              <a:cxn ang="0">
                <a:pos x="connsiteX29638" y="connsiteY29638"/>
              </a:cxn>
              <a:cxn ang="0">
                <a:pos x="connsiteX29639" y="connsiteY29639"/>
              </a:cxn>
              <a:cxn ang="0">
                <a:pos x="connsiteX29640" y="connsiteY29640"/>
              </a:cxn>
              <a:cxn ang="0">
                <a:pos x="connsiteX29641" y="connsiteY29641"/>
              </a:cxn>
              <a:cxn ang="0">
                <a:pos x="connsiteX29642" y="connsiteY29642"/>
              </a:cxn>
              <a:cxn ang="0">
                <a:pos x="connsiteX29643" y="connsiteY29643"/>
              </a:cxn>
              <a:cxn ang="0">
                <a:pos x="connsiteX29644" y="connsiteY29644"/>
              </a:cxn>
              <a:cxn ang="0">
                <a:pos x="connsiteX29645" y="connsiteY29645"/>
              </a:cxn>
              <a:cxn ang="0">
                <a:pos x="connsiteX29646" y="connsiteY29646"/>
              </a:cxn>
              <a:cxn ang="0">
                <a:pos x="connsiteX29647" y="connsiteY29647"/>
              </a:cxn>
              <a:cxn ang="0">
                <a:pos x="connsiteX29648" y="connsiteY29648"/>
              </a:cxn>
              <a:cxn ang="0">
                <a:pos x="connsiteX29649" y="connsiteY29649"/>
              </a:cxn>
              <a:cxn ang="0">
                <a:pos x="connsiteX29650" y="connsiteY29650"/>
              </a:cxn>
              <a:cxn ang="0">
                <a:pos x="connsiteX29651" y="connsiteY29651"/>
              </a:cxn>
              <a:cxn ang="0">
                <a:pos x="connsiteX29652" y="connsiteY29652"/>
              </a:cxn>
              <a:cxn ang="0">
                <a:pos x="connsiteX29653" y="connsiteY29653"/>
              </a:cxn>
              <a:cxn ang="0">
                <a:pos x="connsiteX29654" y="connsiteY29654"/>
              </a:cxn>
              <a:cxn ang="0">
                <a:pos x="connsiteX29655" y="connsiteY29655"/>
              </a:cxn>
              <a:cxn ang="0">
                <a:pos x="connsiteX29656" y="connsiteY29656"/>
              </a:cxn>
              <a:cxn ang="0">
                <a:pos x="connsiteX29657" y="connsiteY29657"/>
              </a:cxn>
              <a:cxn ang="0">
                <a:pos x="connsiteX29658" y="connsiteY29658"/>
              </a:cxn>
              <a:cxn ang="0">
                <a:pos x="connsiteX29659" y="connsiteY29659"/>
              </a:cxn>
              <a:cxn ang="0">
                <a:pos x="connsiteX29660" y="connsiteY29660"/>
              </a:cxn>
              <a:cxn ang="0">
                <a:pos x="connsiteX29661" y="connsiteY29661"/>
              </a:cxn>
              <a:cxn ang="0">
                <a:pos x="connsiteX29662" y="connsiteY29662"/>
              </a:cxn>
              <a:cxn ang="0">
                <a:pos x="connsiteX29663" y="connsiteY29663"/>
              </a:cxn>
              <a:cxn ang="0">
                <a:pos x="connsiteX29664" y="connsiteY29664"/>
              </a:cxn>
              <a:cxn ang="0">
                <a:pos x="connsiteX29665" y="connsiteY29665"/>
              </a:cxn>
              <a:cxn ang="0">
                <a:pos x="connsiteX29666" y="connsiteY29666"/>
              </a:cxn>
              <a:cxn ang="0">
                <a:pos x="connsiteX29667" y="connsiteY29667"/>
              </a:cxn>
              <a:cxn ang="0">
                <a:pos x="connsiteX29668" y="connsiteY29668"/>
              </a:cxn>
              <a:cxn ang="0">
                <a:pos x="connsiteX29669" y="connsiteY29669"/>
              </a:cxn>
              <a:cxn ang="0">
                <a:pos x="connsiteX29670" y="connsiteY29670"/>
              </a:cxn>
              <a:cxn ang="0">
                <a:pos x="connsiteX29671" y="connsiteY29671"/>
              </a:cxn>
              <a:cxn ang="0">
                <a:pos x="connsiteX29672" y="connsiteY29672"/>
              </a:cxn>
              <a:cxn ang="0">
                <a:pos x="connsiteX29673" y="connsiteY29673"/>
              </a:cxn>
              <a:cxn ang="0">
                <a:pos x="connsiteX29674" y="connsiteY29674"/>
              </a:cxn>
              <a:cxn ang="0">
                <a:pos x="connsiteX29675" y="connsiteY29675"/>
              </a:cxn>
              <a:cxn ang="0">
                <a:pos x="connsiteX29676" y="connsiteY29676"/>
              </a:cxn>
              <a:cxn ang="0">
                <a:pos x="connsiteX29677" y="connsiteY29677"/>
              </a:cxn>
              <a:cxn ang="0">
                <a:pos x="connsiteX29678" y="connsiteY29678"/>
              </a:cxn>
              <a:cxn ang="0">
                <a:pos x="connsiteX29679" y="connsiteY29679"/>
              </a:cxn>
              <a:cxn ang="0">
                <a:pos x="connsiteX29680" y="connsiteY29680"/>
              </a:cxn>
              <a:cxn ang="0">
                <a:pos x="connsiteX29681" y="connsiteY29681"/>
              </a:cxn>
              <a:cxn ang="0">
                <a:pos x="connsiteX29682" y="connsiteY29682"/>
              </a:cxn>
              <a:cxn ang="0">
                <a:pos x="connsiteX29683" y="connsiteY29683"/>
              </a:cxn>
              <a:cxn ang="0">
                <a:pos x="connsiteX29684" y="connsiteY29684"/>
              </a:cxn>
              <a:cxn ang="0">
                <a:pos x="connsiteX29685" y="connsiteY29685"/>
              </a:cxn>
              <a:cxn ang="0">
                <a:pos x="connsiteX29686" y="connsiteY29686"/>
              </a:cxn>
              <a:cxn ang="0">
                <a:pos x="connsiteX29687" y="connsiteY29687"/>
              </a:cxn>
              <a:cxn ang="0">
                <a:pos x="connsiteX29688" y="connsiteY29688"/>
              </a:cxn>
              <a:cxn ang="0">
                <a:pos x="connsiteX29689" y="connsiteY29689"/>
              </a:cxn>
              <a:cxn ang="0">
                <a:pos x="connsiteX29690" y="connsiteY29690"/>
              </a:cxn>
              <a:cxn ang="0">
                <a:pos x="connsiteX29691" y="connsiteY29691"/>
              </a:cxn>
              <a:cxn ang="0">
                <a:pos x="connsiteX29692" y="connsiteY29692"/>
              </a:cxn>
              <a:cxn ang="0">
                <a:pos x="connsiteX29693" y="connsiteY29693"/>
              </a:cxn>
              <a:cxn ang="0">
                <a:pos x="connsiteX29694" y="connsiteY29694"/>
              </a:cxn>
              <a:cxn ang="0">
                <a:pos x="connsiteX29695" y="connsiteY29695"/>
              </a:cxn>
              <a:cxn ang="0">
                <a:pos x="connsiteX29696" y="connsiteY29696"/>
              </a:cxn>
              <a:cxn ang="0">
                <a:pos x="connsiteX29697" y="connsiteY29697"/>
              </a:cxn>
              <a:cxn ang="0">
                <a:pos x="connsiteX29698" y="connsiteY29698"/>
              </a:cxn>
              <a:cxn ang="0">
                <a:pos x="connsiteX29699" y="connsiteY29699"/>
              </a:cxn>
              <a:cxn ang="0">
                <a:pos x="connsiteX29700" y="connsiteY29700"/>
              </a:cxn>
              <a:cxn ang="0">
                <a:pos x="connsiteX29701" y="connsiteY29701"/>
              </a:cxn>
              <a:cxn ang="0">
                <a:pos x="connsiteX29702" y="connsiteY29702"/>
              </a:cxn>
              <a:cxn ang="0">
                <a:pos x="connsiteX29703" y="connsiteY29703"/>
              </a:cxn>
              <a:cxn ang="0">
                <a:pos x="connsiteX29704" y="connsiteY29704"/>
              </a:cxn>
              <a:cxn ang="0">
                <a:pos x="connsiteX29705" y="connsiteY29705"/>
              </a:cxn>
              <a:cxn ang="0">
                <a:pos x="connsiteX29706" y="connsiteY29706"/>
              </a:cxn>
              <a:cxn ang="0">
                <a:pos x="connsiteX29707" y="connsiteY29707"/>
              </a:cxn>
              <a:cxn ang="0">
                <a:pos x="connsiteX29708" y="connsiteY29708"/>
              </a:cxn>
              <a:cxn ang="0">
                <a:pos x="connsiteX29709" y="connsiteY29709"/>
              </a:cxn>
              <a:cxn ang="0">
                <a:pos x="connsiteX29710" y="connsiteY29710"/>
              </a:cxn>
              <a:cxn ang="0">
                <a:pos x="connsiteX29711" y="connsiteY29711"/>
              </a:cxn>
              <a:cxn ang="0">
                <a:pos x="connsiteX29712" y="connsiteY29712"/>
              </a:cxn>
              <a:cxn ang="0">
                <a:pos x="connsiteX29713" y="connsiteY29713"/>
              </a:cxn>
              <a:cxn ang="0">
                <a:pos x="connsiteX29714" y="connsiteY29714"/>
              </a:cxn>
              <a:cxn ang="0">
                <a:pos x="connsiteX29715" y="connsiteY29715"/>
              </a:cxn>
              <a:cxn ang="0">
                <a:pos x="connsiteX29716" y="connsiteY29716"/>
              </a:cxn>
              <a:cxn ang="0">
                <a:pos x="connsiteX29717" y="connsiteY29717"/>
              </a:cxn>
              <a:cxn ang="0">
                <a:pos x="connsiteX29718" y="connsiteY29718"/>
              </a:cxn>
              <a:cxn ang="0">
                <a:pos x="connsiteX29719" y="connsiteY29719"/>
              </a:cxn>
              <a:cxn ang="0">
                <a:pos x="connsiteX29720" y="connsiteY29720"/>
              </a:cxn>
              <a:cxn ang="0">
                <a:pos x="connsiteX29721" y="connsiteY29721"/>
              </a:cxn>
              <a:cxn ang="0">
                <a:pos x="connsiteX29722" y="connsiteY29722"/>
              </a:cxn>
              <a:cxn ang="0">
                <a:pos x="connsiteX29723" y="connsiteY29723"/>
              </a:cxn>
              <a:cxn ang="0">
                <a:pos x="connsiteX29724" y="connsiteY29724"/>
              </a:cxn>
              <a:cxn ang="0">
                <a:pos x="connsiteX29725" y="connsiteY29725"/>
              </a:cxn>
              <a:cxn ang="0">
                <a:pos x="connsiteX29726" y="connsiteY29726"/>
              </a:cxn>
              <a:cxn ang="0">
                <a:pos x="connsiteX29727" y="connsiteY29727"/>
              </a:cxn>
              <a:cxn ang="0">
                <a:pos x="connsiteX29728" y="connsiteY29728"/>
              </a:cxn>
              <a:cxn ang="0">
                <a:pos x="connsiteX29729" y="connsiteY29729"/>
              </a:cxn>
              <a:cxn ang="0">
                <a:pos x="connsiteX29730" y="connsiteY29730"/>
              </a:cxn>
              <a:cxn ang="0">
                <a:pos x="connsiteX29731" y="connsiteY29731"/>
              </a:cxn>
              <a:cxn ang="0">
                <a:pos x="connsiteX29732" y="connsiteY29732"/>
              </a:cxn>
              <a:cxn ang="0">
                <a:pos x="connsiteX29733" y="connsiteY29733"/>
              </a:cxn>
              <a:cxn ang="0">
                <a:pos x="connsiteX29734" y="connsiteY29734"/>
              </a:cxn>
              <a:cxn ang="0">
                <a:pos x="connsiteX29735" y="connsiteY29735"/>
              </a:cxn>
              <a:cxn ang="0">
                <a:pos x="connsiteX29736" y="connsiteY29736"/>
              </a:cxn>
              <a:cxn ang="0">
                <a:pos x="connsiteX29737" y="connsiteY29737"/>
              </a:cxn>
              <a:cxn ang="0">
                <a:pos x="connsiteX29738" y="connsiteY29738"/>
              </a:cxn>
              <a:cxn ang="0">
                <a:pos x="connsiteX29739" y="connsiteY29739"/>
              </a:cxn>
              <a:cxn ang="0">
                <a:pos x="connsiteX29740" y="connsiteY29740"/>
              </a:cxn>
              <a:cxn ang="0">
                <a:pos x="connsiteX29741" y="connsiteY29741"/>
              </a:cxn>
              <a:cxn ang="0">
                <a:pos x="connsiteX29742" y="connsiteY29742"/>
              </a:cxn>
              <a:cxn ang="0">
                <a:pos x="connsiteX29743" y="connsiteY29743"/>
              </a:cxn>
              <a:cxn ang="0">
                <a:pos x="connsiteX29744" y="connsiteY29744"/>
              </a:cxn>
              <a:cxn ang="0">
                <a:pos x="connsiteX29745" y="connsiteY29745"/>
              </a:cxn>
              <a:cxn ang="0">
                <a:pos x="connsiteX29746" y="connsiteY29746"/>
              </a:cxn>
              <a:cxn ang="0">
                <a:pos x="connsiteX29747" y="connsiteY29747"/>
              </a:cxn>
              <a:cxn ang="0">
                <a:pos x="connsiteX29748" y="connsiteY29748"/>
              </a:cxn>
              <a:cxn ang="0">
                <a:pos x="connsiteX29749" y="connsiteY29749"/>
              </a:cxn>
              <a:cxn ang="0">
                <a:pos x="connsiteX29750" y="connsiteY29750"/>
              </a:cxn>
              <a:cxn ang="0">
                <a:pos x="connsiteX29751" y="connsiteY29751"/>
              </a:cxn>
              <a:cxn ang="0">
                <a:pos x="connsiteX29752" y="connsiteY29752"/>
              </a:cxn>
              <a:cxn ang="0">
                <a:pos x="connsiteX29753" y="connsiteY29753"/>
              </a:cxn>
              <a:cxn ang="0">
                <a:pos x="connsiteX29754" y="connsiteY29754"/>
              </a:cxn>
              <a:cxn ang="0">
                <a:pos x="connsiteX29755" y="connsiteY29755"/>
              </a:cxn>
              <a:cxn ang="0">
                <a:pos x="connsiteX29756" y="connsiteY29756"/>
              </a:cxn>
              <a:cxn ang="0">
                <a:pos x="connsiteX29757" y="connsiteY29757"/>
              </a:cxn>
              <a:cxn ang="0">
                <a:pos x="connsiteX29758" y="connsiteY29758"/>
              </a:cxn>
              <a:cxn ang="0">
                <a:pos x="connsiteX29759" y="connsiteY29759"/>
              </a:cxn>
              <a:cxn ang="0">
                <a:pos x="connsiteX29760" y="connsiteY29760"/>
              </a:cxn>
              <a:cxn ang="0">
                <a:pos x="connsiteX29761" y="connsiteY29761"/>
              </a:cxn>
              <a:cxn ang="0">
                <a:pos x="connsiteX29762" y="connsiteY29762"/>
              </a:cxn>
              <a:cxn ang="0">
                <a:pos x="connsiteX29763" y="connsiteY29763"/>
              </a:cxn>
              <a:cxn ang="0">
                <a:pos x="connsiteX29764" y="connsiteY29764"/>
              </a:cxn>
              <a:cxn ang="0">
                <a:pos x="connsiteX29765" y="connsiteY29765"/>
              </a:cxn>
              <a:cxn ang="0">
                <a:pos x="connsiteX29766" y="connsiteY29766"/>
              </a:cxn>
              <a:cxn ang="0">
                <a:pos x="connsiteX29767" y="connsiteY29767"/>
              </a:cxn>
              <a:cxn ang="0">
                <a:pos x="connsiteX29768" y="connsiteY29768"/>
              </a:cxn>
              <a:cxn ang="0">
                <a:pos x="connsiteX29769" y="connsiteY29769"/>
              </a:cxn>
              <a:cxn ang="0">
                <a:pos x="connsiteX29770" y="connsiteY29770"/>
              </a:cxn>
              <a:cxn ang="0">
                <a:pos x="connsiteX29771" y="connsiteY29771"/>
              </a:cxn>
              <a:cxn ang="0">
                <a:pos x="connsiteX29772" y="connsiteY29772"/>
              </a:cxn>
              <a:cxn ang="0">
                <a:pos x="connsiteX29773" y="connsiteY29773"/>
              </a:cxn>
              <a:cxn ang="0">
                <a:pos x="connsiteX29774" y="connsiteY29774"/>
              </a:cxn>
              <a:cxn ang="0">
                <a:pos x="connsiteX29775" y="connsiteY29775"/>
              </a:cxn>
              <a:cxn ang="0">
                <a:pos x="connsiteX29776" y="connsiteY29776"/>
              </a:cxn>
              <a:cxn ang="0">
                <a:pos x="connsiteX29777" y="connsiteY29777"/>
              </a:cxn>
              <a:cxn ang="0">
                <a:pos x="connsiteX29778" y="connsiteY29778"/>
              </a:cxn>
              <a:cxn ang="0">
                <a:pos x="connsiteX29779" y="connsiteY29779"/>
              </a:cxn>
              <a:cxn ang="0">
                <a:pos x="connsiteX29780" y="connsiteY29780"/>
              </a:cxn>
              <a:cxn ang="0">
                <a:pos x="connsiteX29781" y="connsiteY29781"/>
              </a:cxn>
              <a:cxn ang="0">
                <a:pos x="connsiteX29782" y="connsiteY29782"/>
              </a:cxn>
              <a:cxn ang="0">
                <a:pos x="connsiteX29783" y="connsiteY29783"/>
              </a:cxn>
              <a:cxn ang="0">
                <a:pos x="connsiteX29784" y="connsiteY29784"/>
              </a:cxn>
              <a:cxn ang="0">
                <a:pos x="connsiteX29785" y="connsiteY29785"/>
              </a:cxn>
              <a:cxn ang="0">
                <a:pos x="connsiteX29786" y="connsiteY29786"/>
              </a:cxn>
              <a:cxn ang="0">
                <a:pos x="connsiteX29787" y="connsiteY29787"/>
              </a:cxn>
              <a:cxn ang="0">
                <a:pos x="connsiteX29788" y="connsiteY29788"/>
              </a:cxn>
              <a:cxn ang="0">
                <a:pos x="connsiteX29789" y="connsiteY29789"/>
              </a:cxn>
              <a:cxn ang="0">
                <a:pos x="connsiteX29790" y="connsiteY29790"/>
              </a:cxn>
              <a:cxn ang="0">
                <a:pos x="connsiteX29791" y="connsiteY29791"/>
              </a:cxn>
              <a:cxn ang="0">
                <a:pos x="connsiteX29792" y="connsiteY29792"/>
              </a:cxn>
              <a:cxn ang="0">
                <a:pos x="connsiteX29793" y="connsiteY29793"/>
              </a:cxn>
              <a:cxn ang="0">
                <a:pos x="connsiteX29794" y="connsiteY29794"/>
              </a:cxn>
              <a:cxn ang="0">
                <a:pos x="connsiteX29795" y="connsiteY29795"/>
              </a:cxn>
              <a:cxn ang="0">
                <a:pos x="connsiteX29796" y="connsiteY29796"/>
              </a:cxn>
              <a:cxn ang="0">
                <a:pos x="connsiteX29797" y="connsiteY29797"/>
              </a:cxn>
              <a:cxn ang="0">
                <a:pos x="connsiteX29798" y="connsiteY29798"/>
              </a:cxn>
              <a:cxn ang="0">
                <a:pos x="connsiteX29799" y="connsiteY29799"/>
              </a:cxn>
              <a:cxn ang="0">
                <a:pos x="connsiteX29800" y="connsiteY29800"/>
              </a:cxn>
              <a:cxn ang="0">
                <a:pos x="connsiteX29801" y="connsiteY29801"/>
              </a:cxn>
              <a:cxn ang="0">
                <a:pos x="connsiteX29802" y="connsiteY29802"/>
              </a:cxn>
              <a:cxn ang="0">
                <a:pos x="connsiteX29803" y="connsiteY29803"/>
              </a:cxn>
              <a:cxn ang="0">
                <a:pos x="connsiteX29804" y="connsiteY29804"/>
              </a:cxn>
              <a:cxn ang="0">
                <a:pos x="connsiteX29805" y="connsiteY29805"/>
              </a:cxn>
              <a:cxn ang="0">
                <a:pos x="connsiteX29806" y="connsiteY29806"/>
              </a:cxn>
              <a:cxn ang="0">
                <a:pos x="connsiteX29807" y="connsiteY29807"/>
              </a:cxn>
              <a:cxn ang="0">
                <a:pos x="connsiteX29808" y="connsiteY29808"/>
              </a:cxn>
              <a:cxn ang="0">
                <a:pos x="connsiteX29809" y="connsiteY29809"/>
              </a:cxn>
              <a:cxn ang="0">
                <a:pos x="connsiteX29810" y="connsiteY29810"/>
              </a:cxn>
              <a:cxn ang="0">
                <a:pos x="connsiteX29811" y="connsiteY29811"/>
              </a:cxn>
              <a:cxn ang="0">
                <a:pos x="connsiteX29812" y="connsiteY29812"/>
              </a:cxn>
              <a:cxn ang="0">
                <a:pos x="connsiteX29813" y="connsiteY29813"/>
              </a:cxn>
              <a:cxn ang="0">
                <a:pos x="connsiteX29814" y="connsiteY29814"/>
              </a:cxn>
              <a:cxn ang="0">
                <a:pos x="connsiteX29815" y="connsiteY29815"/>
              </a:cxn>
              <a:cxn ang="0">
                <a:pos x="connsiteX29816" y="connsiteY29816"/>
              </a:cxn>
              <a:cxn ang="0">
                <a:pos x="connsiteX29817" y="connsiteY29817"/>
              </a:cxn>
              <a:cxn ang="0">
                <a:pos x="connsiteX29818" y="connsiteY29818"/>
              </a:cxn>
              <a:cxn ang="0">
                <a:pos x="connsiteX29819" y="connsiteY29819"/>
              </a:cxn>
              <a:cxn ang="0">
                <a:pos x="connsiteX29820" y="connsiteY29820"/>
              </a:cxn>
              <a:cxn ang="0">
                <a:pos x="connsiteX29821" y="connsiteY29821"/>
              </a:cxn>
              <a:cxn ang="0">
                <a:pos x="connsiteX29822" y="connsiteY29822"/>
              </a:cxn>
              <a:cxn ang="0">
                <a:pos x="connsiteX29823" y="connsiteY29823"/>
              </a:cxn>
              <a:cxn ang="0">
                <a:pos x="connsiteX29824" y="connsiteY29824"/>
              </a:cxn>
              <a:cxn ang="0">
                <a:pos x="connsiteX29825" y="connsiteY29825"/>
              </a:cxn>
              <a:cxn ang="0">
                <a:pos x="connsiteX29826" y="connsiteY29826"/>
              </a:cxn>
              <a:cxn ang="0">
                <a:pos x="connsiteX29827" y="connsiteY29827"/>
              </a:cxn>
              <a:cxn ang="0">
                <a:pos x="connsiteX29828" y="connsiteY29828"/>
              </a:cxn>
              <a:cxn ang="0">
                <a:pos x="connsiteX29829" y="connsiteY29829"/>
              </a:cxn>
              <a:cxn ang="0">
                <a:pos x="connsiteX29830" y="connsiteY29830"/>
              </a:cxn>
              <a:cxn ang="0">
                <a:pos x="connsiteX29831" y="connsiteY29831"/>
              </a:cxn>
              <a:cxn ang="0">
                <a:pos x="connsiteX29832" y="connsiteY29832"/>
              </a:cxn>
              <a:cxn ang="0">
                <a:pos x="connsiteX29833" y="connsiteY29833"/>
              </a:cxn>
              <a:cxn ang="0">
                <a:pos x="connsiteX29834" y="connsiteY29834"/>
              </a:cxn>
              <a:cxn ang="0">
                <a:pos x="connsiteX29835" y="connsiteY29835"/>
              </a:cxn>
              <a:cxn ang="0">
                <a:pos x="connsiteX29836" y="connsiteY29836"/>
              </a:cxn>
              <a:cxn ang="0">
                <a:pos x="connsiteX29837" y="connsiteY29837"/>
              </a:cxn>
              <a:cxn ang="0">
                <a:pos x="connsiteX29838" y="connsiteY29838"/>
              </a:cxn>
              <a:cxn ang="0">
                <a:pos x="connsiteX29839" y="connsiteY29839"/>
              </a:cxn>
              <a:cxn ang="0">
                <a:pos x="connsiteX29840" y="connsiteY29840"/>
              </a:cxn>
              <a:cxn ang="0">
                <a:pos x="connsiteX29841" y="connsiteY29841"/>
              </a:cxn>
              <a:cxn ang="0">
                <a:pos x="connsiteX29842" y="connsiteY29842"/>
              </a:cxn>
              <a:cxn ang="0">
                <a:pos x="connsiteX29843" y="connsiteY29843"/>
              </a:cxn>
              <a:cxn ang="0">
                <a:pos x="connsiteX29844" y="connsiteY29844"/>
              </a:cxn>
              <a:cxn ang="0">
                <a:pos x="connsiteX29845" y="connsiteY29845"/>
              </a:cxn>
              <a:cxn ang="0">
                <a:pos x="connsiteX29846" y="connsiteY29846"/>
              </a:cxn>
              <a:cxn ang="0">
                <a:pos x="connsiteX29847" y="connsiteY29847"/>
              </a:cxn>
              <a:cxn ang="0">
                <a:pos x="connsiteX29848" y="connsiteY29848"/>
              </a:cxn>
              <a:cxn ang="0">
                <a:pos x="connsiteX29849" y="connsiteY29849"/>
              </a:cxn>
              <a:cxn ang="0">
                <a:pos x="connsiteX29850" y="connsiteY29850"/>
              </a:cxn>
              <a:cxn ang="0">
                <a:pos x="connsiteX29851" y="connsiteY29851"/>
              </a:cxn>
              <a:cxn ang="0">
                <a:pos x="connsiteX29852" y="connsiteY29852"/>
              </a:cxn>
              <a:cxn ang="0">
                <a:pos x="connsiteX29853" y="connsiteY29853"/>
              </a:cxn>
              <a:cxn ang="0">
                <a:pos x="connsiteX29854" y="connsiteY29854"/>
              </a:cxn>
              <a:cxn ang="0">
                <a:pos x="connsiteX29855" y="connsiteY29855"/>
              </a:cxn>
              <a:cxn ang="0">
                <a:pos x="connsiteX29856" y="connsiteY29856"/>
              </a:cxn>
              <a:cxn ang="0">
                <a:pos x="connsiteX29857" y="connsiteY29857"/>
              </a:cxn>
              <a:cxn ang="0">
                <a:pos x="connsiteX29858" y="connsiteY29858"/>
              </a:cxn>
              <a:cxn ang="0">
                <a:pos x="connsiteX29859" y="connsiteY29859"/>
              </a:cxn>
              <a:cxn ang="0">
                <a:pos x="connsiteX29860" y="connsiteY29860"/>
              </a:cxn>
              <a:cxn ang="0">
                <a:pos x="connsiteX29861" y="connsiteY29861"/>
              </a:cxn>
              <a:cxn ang="0">
                <a:pos x="connsiteX29862" y="connsiteY29862"/>
              </a:cxn>
              <a:cxn ang="0">
                <a:pos x="connsiteX29863" y="connsiteY29863"/>
              </a:cxn>
              <a:cxn ang="0">
                <a:pos x="connsiteX29864" y="connsiteY29864"/>
              </a:cxn>
              <a:cxn ang="0">
                <a:pos x="connsiteX29865" y="connsiteY29865"/>
              </a:cxn>
              <a:cxn ang="0">
                <a:pos x="connsiteX29866" y="connsiteY29866"/>
              </a:cxn>
              <a:cxn ang="0">
                <a:pos x="connsiteX29867" y="connsiteY29867"/>
              </a:cxn>
              <a:cxn ang="0">
                <a:pos x="connsiteX29868" y="connsiteY29868"/>
              </a:cxn>
              <a:cxn ang="0">
                <a:pos x="connsiteX29869" y="connsiteY29869"/>
              </a:cxn>
              <a:cxn ang="0">
                <a:pos x="connsiteX29870" y="connsiteY29870"/>
              </a:cxn>
              <a:cxn ang="0">
                <a:pos x="connsiteX29871" y="connsiteY29871"/>
              </a:cxn>
              <a:cxn ang="0">
                <a:pos x="connsiteX29872" y="connsiteY29872"/>
              </a:cxn>
              <a:cxn ang="0">
                <a:pos x="connsiteX29873" y="connsiteY29873"/>
              </a:cxn>
              <a:cxn ang="0">
                <a:pos x="connsiteX29874" y="connsiteY29874"/>
              </a:cxn>
              <a:cxn ang="0">
                <a:pos x="connsiteX29875" y="connsiteY29875"/>
              </a:cxn>
              <a:cxn ang="0">
                <a:pos x="connsiteX29876" y="connsiteY29876"/>
              </a:cxn>
              <a:cxn ang="0">
                <a:pos x="connsiteX29877" y="connsiteY29877"/>
              </a:cxn>
              <a:cxn ang="0">
                <a:pos x="connsiteX29878" y="connsiteY29878"/>
              </a:cxn>
              <a:cxn ang="0">
                <a:pos x="connsiteX29879" y="connsiteY29879"/>
              </a:cxn>
              <a:cxn ang="0">
                <a:pos x="connsiteX29880" y="connsiteY29880"/>
              </a:cxn>
              <a:cxn ang="0">
                <a:pos x="connsiteX29881" y="connsiteY29881"/>
              </a:cxn>
              <a:cxn ang="0">
                <a:pos x="connsiteX29882" y="connsiteY29882"/>
              </a:cxn>
              <a:cxn ang="0">
                <a:pos x="connsiteX29883" y="connsiteY29883"/>
              </a:cxn>
              <a:cxn ang="0">
                <a:pos x="connsiteX29884" y="connsiteY29884"/>
              </a:cxn>
              <a:cxn ang="0">
                <a:pos x="connsiteX29885" y="connsiteY29885"/>
              </a:cxn>
              <a:cxn ang="0">
                <a:pos x="connsiteX29886" y="connsiteY29886"/>
              </a:cxn>
              <a:cxn ang="0">
                <a:pos x="connsiteX29887" y="connsiteY29887"/>
              </a:cxn>
              <a:cxn ang="0">
                <a:pos x="connsiteX29888" y="connsiteY29888"/>
              </a:cxn>
              <a:cxn ang="0">
                <a:pos x="connsiteX29889" y="connsiteY29889"/>
              </a:cxn>
              <a:cxn ang="0">
                <a:pos x="connsiteX29890" y="connsiteY29890"/>
              </a:cxn>
              <a:cxn ang="0">
                <a:pos x="connsiteX29891" y="connsiteY29891"/>
              </a:cxn>
              <a:cxn ang="0">
                <a:pos x="connsiteX29892" y="connsiteY29892"/>
              </a:cxn>
              <a:cxn ang="0">
                <a:pos x="connsiteX29893" y="connsiteY29893"/>
              </a:cxn>
              <a:cxn ang="0">
                <a:pos x="connsiteX29894" y="connsiteY29894"/>
              </a:cxn>
              <a:cxn ang="0">
                <a:pos x="connsiteX29895" y="connsiteY29895"/>
              </a:cxn>
              <a:cxn ang="0">
                <a:pos x="connsiteX29896" y="connsiteY29896"/>
              </a:cxn>
              <a:cxn ang="0">
                <a:pos x="connsiteX29897" y="connsiteY29897"/>
              </a:cxn>
              <a:cxn ang="0">
                <a:pos x="connsiteX29898" y="connsiteY29898"/>
              </a:cxn>
              <a:cxn ang="0">
                <a:pos x="connsiteX29899" y="connsiteY29899"/>
              </a:cxn>
              <a:cxn ang="0">
                <a:pos x="connsiteX29900" y="connsiteY29900"/>
              </a:cxn>
              <a:cxn ang="0">
                <a:pos x="connsiteX29901" y="connsiteY29901"/>
              </a:cxn>
              <a:cxn ang="0">
                <a:pos x="connsiteX29902" y="connsiteY29902"/>
              </a:cxn>
              <a:cxn ang="0">
                <a:pos x="connsiteX29903" y="connsiteY29903"/>
              </a:cxn>
              <a:cxn ang="0">
                <a:pos x="connsiteX29904" y="connsiteY29904"/>
              </a:cxn>
              <a:cxn ang="0">
                <a:pos x="connsiteX29905" y="connsiteY29905"/>
              </a:cxn>
              <a:cxn ang="0">
                <a:pos x="connsiteX29906" y="connsiteY29906"/>
              </a:cxn>
              <a:cxn ang="0">
                <a:pos x="connsiteX29907" y="connsiteY29907"/>
              </a:cxn>
              <a:cxn ang="0">
                <a:pos x="connsiteX29908" y="connsiteY29908"/>
              </a:cxn>
              <a:cxn ang="0">
                <a:pos x="connsiteX29909" y="connsiteY29909"/>
              </a:cxn>
              <a:cxn ang="0">
                <a:pos x="connsiteX29910" y="connsiteY29910"/>
              </a:cxn>
              <a:cxn ang="0">
                <a:pos x="connsiteX29911" y="connsiteY29911"/>
              </a:cxn>
              <a:cxn ang="0">
                <a:pos x="connsiteX29912" y="connsiteY29912"/>
              </a:cxn>
              <a:cxn ang="0">
                <a:pos x="connsiteX29913" y="connsiteY29913"/>
              </a:cxn>
              <a:cxn ang="0">
                <a:pos x="connsiteX29914" y="connsiteY29914"/>
              </a:cxn>
              <a:cxn ang="0">
                <a:pos x="connsiteX29915" y="connsiteY29915"/>
              </a:cxn>
              <a:cxn ang="0">
                <a:pos x="connsiteX29916" y="connsiteY29916"/>
              </a:cxn>
              <a:cxn ang="0">
                <a:pos x="connsiteX29917" y="connsiteY29917"/>
              </a:cxn>
              <a:cxn ang="0">
                <a:pos x="connsiteX29918" y="connsiteY29918"/>
              </a:cxn>
              <a:cxn ang="0">
                <a:pos x="connsiteX29919" y="connsiteY29919"/>
              </a:cxn>
              <a:cxn ang="0">
                <a:pos x="connsiteX29920" y="connsiteY29920"/>
              </a:cxn>
              <a:cxn ang="0">
                <a:pos x="connsiteX29921" y="connsiteY29921"/>
              </a:cxn>
              <a:cxn ang="0">
                <a:pos x="connsiteX29922" y="connsiteY29922"/>
              </a:cxn>
              <a:cxn ang="0">
                <a:pos x="connsiteX29923" y="connsiteY29923"/>
              </a:cxn>
              <a:cxn ang="0">
                <a:pos x="connsiteX29924" y="connsiteY29924"/>
              </a:cxn>
              <a:cxn ang="0">
                <a:pos x="connsiteX29925" y="connsiteY29925"/>
              </a:cxn>
              <a:cxn ang="0">
                <a:pos x="connsiteX29926" y="connsiteY29926"/>
              </a:cxn>
              <a:cxn ang="0">
                <a:pos x="connsiteX29927" y="connsiteY29927"/>
              </a:cxn>
              <a:cxn ang="0">
                <a:pos x="connsiteX29928" y="connsiteY29928"/>
              </a:cxn>
              <a:cxn ang="0">
                <a:pos x="connsiteX29929" y="connsiteY29929"/>
              </a:cxn>
              <a:cxn ang="0">
                <a:pos x="connsiteX29930" y="connsiteY29930"/>
              </a:cxn>
              <a:cxn ang="0">
                <a:pos x="connsiteX29931" y="connsiteY29931"/>
              </a:cxn>
              <a:cxn ang="0">
                <a:pos x="connsiteX29932" y="connsiteY29932"/>
              </a:cxn>
              <a:cxn ang="0">
                <a:pos x="connsiteX29933" y="connsiteY29933"/>
              </a:cxn>
              <a:cxn ang="0">
                <a:pos x="connsiteX29934" y="connsiteY29934"/>
              </a:cxn>
              <a:cxn ang="0">
                <a:pos x="connsiteX29935" y="connsiteY29935"/>
              </a:cxn>
              <a:cxn ang="0">
                <a:pos x="connsiteX29936" y="connsiteY29936"/>
              </a:cxn>
              <a:cxn ang="0">
                <a:pos x="connsiteX29937" y="connsiteY29937"/>
              </a:cxn>
              <a:cxn ang="0">
                <a:pos x="connsiteX29938" y="connsiteY29938"/>
              </a:cxn>
              <a:cxn ang="0">
                <a:pos x="connsiteX29939" y="connsiteY29939"/>
              </a:cxn>
              <a:cxn ang="0">
                <a:pos x="connsiteX29940" y="connsiteY29940"/>
              </a:cxn>
              <a:cxn ang="0">
                <a:pos x="connsiteX29941" y="connsiteY29941"/>
              </a:cxn>
              <a:cxn ang="0">
                <a:pos x="connsiteX29942" y="connsiteY29942"/>
              </a:cxn>
              <a:cxn ang="0">
                <a:pos x="connsiteX29943" y="connsiteY29943"/>
              </a:cxn>
              <a:cxn ang="0">
                <a:pos x="connsiteX29944" y="connsiteY29944"/>
              </a:cxn>
              <a:cxn ang="0">
                <a:pos x="connsiteX29945" y="connsiteY29945"/>
              </a:cxn>
              <a:cxn ang="0">
                <a:pos x="connsiteX29946" y="connsiteY29946"/>
              </a:cxn>
              <a:cxn ang="0">
                <a:pos x="connsiteX29947" y="connsiteY29947"/>
              </a:cxn>
              <a:cxn ang="0">
                <a:pos x="connsiteX29948" y="connsiteY29948"/>
              </a:cxn>
              <a:cxn ang="0">
                <a:pos x="connsiteX29949" y="connsiteY29949"/>
              </a:cxn>
              <a:cxn ang="0">
                <a:pos x="connsiteX29950" y="connsiteY29950"/>
              </a:cxn>
              <a:cxn ang="0">
                <a:pos x="connsiteX29951" y="connsiteY29951"/>
              </a:cxn>
              <a:cxn ang="0">
                <a:pos x="connsiteX29952" y="connsiteY29952"/>
              </a:cxn>
              <a:cxn ang="0">
                <a:pos x="connsiteX29953" y="connsiteY29953"/>
              </a:cxn>
              <a:cxn ang="0">
                <a:pos x="connsiteX29954" y="connsiteY29954"/>
              </a:cxn>
              <a:cxn ang="0">
                <a:pos x="connsiteX29955" y="connsiteY29955"/>
              </a:cxn>
              <a:cxn ang="0">
                <a:pos x="connsiteX29956" y="connsiteY29956"/>
              </a:cxn>
              <a:cxn ang="0">
                <a:pos x="connsiteX29957" y="connsiteY29957"/>
              </a:cxn>
              <a:cxn ang="0">
                <a:pos x="connsiteX29958" y="connsiteY29958"/>
              </a:cxn>
              <a:cxn ang="0">
                <a:pos x="connsiteX29959" y="connsiteY29959"/>
              </a:cxn>
              <a:cxn ang="0">
                <a:pos x="connsiteX29960" y="connsiteY29960"/>
              </a:cxn>
              <a:cxn ang="0">
                <a:pos x="connsiteX29961" y="connsiteY29961"/>
              </a:cxn>
              <a:cxn ang="0">
                <a:pos x="connsiteX29962" y="connsiteY29962"/>
              </a:cxn>
              <a:cxn ang="0">
                <a:pos x="connsiteX29963" y="connsiteY29963"/>
              </a:cxn>
              <a:cxn ang="0">
                <a:pos x="connsiteX29964" y="connsiteY29964"/>
              </a:cxn>
              <a:cxn ang="0">
                <a:pos x="connsiteX29965" y="connsiteY29965"/>
              </a:cxn>
              <a:cxn ang="0">
                <a:pos x="connsiteX29966" y="connsiteY29966"/>
              </a:cxn>
              <a:cxn ang="0">
                <a:pos x="connsiteX29967" y="connsiteY29967"/>
              </a:cxn>
              <a:cxn ang="0">
                <a:pos x="connsiteX29968" y="connsiteY29968"/>
              </a:cxn>
              <a:cxn ang="0">
                <a:pos x="connsiteX29969" y="connsiteY29969"/>
              </a:cxn>
              <a:cxn ang="0">
                <a:pos x="connsiteX29970" y="connsiteY29970"/>
              </a:cxn>
              <a:cxn ang="0">
                <a:pos x="connsiteX29971" y="connsiteY29971"/>
              </a:cxn>
              <a:cxn ang="0">
                <a:pos x="connsiteX29972" y="connsiteY29972"/>
              </a:cxn>
              <a:cxn ang="0">
                <a:pos x="connsiteX29973" y="connsiteY29973"/>
              </a:cxn>
              <a:cxn ang="0">
                <a:pos x="connsiteX29974" y="connsiteY29974"/>
              </a:cxn>
              <a:cxn ang="0">
                <a:pos x="connsiteX29975" y="connsiteY29975"/>
              </a:cxn>
              <a:cxn ang="0">
                <a:pos x="connsiteX29976" y="connsiteY29976"/>
              </a:cxn>
              <a:cxn ang="0">
                <a:pos x="connsiteX29977" y="connsiteY29977"/>
              </a:cxn>
              <a:cxn ang="0">
                <a:pos x="connsiteX29978" y="connsiteY29978"/>
              </a:cxn>
              <a:cxn ang="0">
                <a:pos x="connsiteX29979" y="connsiteY29979"/>
              </a:cxn>
              <a:cxn ang="0">
                <a:pos x="connsiteX29980" y="connsiteY29980"/>
              </a:cxn>
              <a:cxn ang="0">
                <a:pos x="connsiteX29981" y="connsiteY29981"/>
              </a:cxn>
              <a:cxn ang="0">
                <a:pos x="connsiteX29982" y="connsiteY29982"/>
              </a:cxn>
              <a:cxn ang="0">
                <a:pos x="connsiteX29983" y="connsiteY29983"/>
              </a:cxn>
              <a:cxn ang="0">
                <a:pos x="connsiteX29984" y="connsiteY29984"/>
              </a:cxn>
              <a:cxn ang="0">
                <a:pos x="connsiteX29985" y="connsiteY29985"/>
              </a:cxn>
              <a:cxn ang="0">
                <a:pos x="connsiteX29986" y="connsiteY29986"/>
              </a:cxn>
              <a:cxn ang="0">
                <a:pos x="connsiteX29987" y="connsiteY29987"/>
              </a:cxn>
              <a:cxn ang="0">
                <a:pos x="connsiteX29988" y="connsiteY29988"/>
              </a:cxn>
              <a:cxn ang="0">
                <a:pos x="connsiteX29989" y="connsiteY29989"/>
              </a:cxn>
              <a:cxn ang="0">
                <a:pos x="connsiteX29990" y="connsiteY29990"/>
              </a:cxn>
              <a:cxn ang="0">
                <a:pos x="connsiteX29991" y="connsiteY29991"/>
              </a:cxn>
              <a:cxn ang="0">
                <a:pos x="connsiteX29992" y="connsiteY29992"/>
              </a:cxn>
              <a:cxn ang="0">
                <a:pos x="connsiteX29993" y="connsiteY29993"/>
              </a:cxn>
              <a:cxn ang="0">
                <a:pos x="connsiteX29994" y="connsiteY29994"/>
              </a:cxn>
              <a:cxn ang="0">
                <a:pos x="connsiteX29995" y="connsiteY29995"/>
              </a:cxn>
              <a:cxn ang="0">
                <a:pos x="connsiteX29996" y="connsiteY29996"/>
              </a:cxn>
              <a:cxn ang="0">
                <a:pos x="connsiteX29997" y="connsiteY29997"/>
              </a:cxn>
              <a:cxn ang="0">
                <a:pos x="connsiteX29998" y="connsiteY29998"/>
              </a:cxn>
              <a:cxn ang="0">
                <a:pos x="connsiteX29999" y="connsiteY29999"/>
              </a:cxn>
              <a:cxn ang="0">
                <a:pos x="connsiteX30000" y="connsiteY30000"/>
              </a:cxn>
              <a:cxn ang="0">
                <a:pos x="connsiteX30001" y="connsiteY30001"/>
              </a:cxn>
              <a:cxn ang="0">
                <a:pos x="connsiteX30002" y="connsiteY30002"/>
              </a:cxn>
              <a:cxn ang="0">
                <a:pos x="connsiteX30003" y="connsiteY30003"/>
              </a:cxn>
              <a:cxn ang="0">
                <a:pos x="connsiteX30004" y="connsiteY30004"/>
              </a:cxn>
              <a:cxn ang="0">
                <a:pos x="connsiteX30005" y="connsiteY30005"/>
              </a:cxn>
              <a:cxn ang="0">
                <a:pos x="connsiteX30006" y="connsiteY30006"/>
              </a:cxn>
              <a:cxn ang="0">
                <a:pos x="connsiteX30007" y="connsiteY30007"/>
              </a:cxn>
              <a:cxn ang="0">
                <a:pos x="connsiteX30008" y="connsiteY30008"/>
              </a:cxn>
              <a:cxn ang="0">
                <a:pos x="connsiteX30009" y="connsiteY30009"/>
              </a:cxn>
              <a:cxn ang="0">
                <a:pos x="connsiteX30010" y="connsiteY30010"/>
              </a:cxn>
              <a:cxn ang="0">
                <a:pos x="connsiteX30011" y="connsiteY30011"/>
              </a:cxn>
              <a:cxn ang="0">
                <a:pos x="connsiteX30012" y="connsiteY30012"/>
              </a:cxn>
              <a:cxn ang="0">
                <a:pos x="connsiteX30013" y="connsiteY30013"/>
              </a:cxn>
              <a:cxn ang="0">
                <a:pos x="connsiteX30014" y="connsiteY30014"/>
              </a:cxn>
              <a:cxn ang="0">
                <a:pos x="connsiteX30015" y="connsiteY30015"/>
              </a:cxn>
              <a:cxn ang="0">
                <a:pos x="connsiteX30016" y="connsiteY30016"/>
              </a:cxn>
              <a:cxn ang="0">
                <a:pos x="connsiteX30017" y="connsiteY30017"/>
              </a:cxn>
              <a:cxn ang="0">
                <a:pos x="connsiteX30018" y="connsiteY30018"/>
              </a:cxn>
              <a:cxn ang="0">
                <a:pos x="connsiteX30019" y="connsiteY30019"/>
              </a:cxn>
              <a:cxn ang="0">
                <a:pos x="connsiteX30020" y="connsiteY30020"/>
              </a:cxn>
              <a:cxn ang="0">
                <a:pos x="connsiteX30021" y="connsiteY30021"/>
              </a:cxn>
              <a:cxn ang="0">
                <a:pos x="connsiteX30022" y="connsiteY30022"/>
              </a:cxn>
              <a:cxn ang="0">
                <a:pos x="connsiteX30023" y="connsiteY30023"/>
              </a:cxn>
              <a:cxn ang="0">
                <a:pos x="connsiteX30024" y="connsiteY30024"/>
              </a:cxn>
              <a:cxn ang="0">
                <a:pos x="connsiteX30025" y="connsiteY30025"/>
              </a:cxn>
              <a:cxn ang="0">
                <a:pos x="connsiteX30026" y="connsiteY30026"/>
              </a:cxn>
              <a:cxn ang="0">
                <a:pos x="connsiteX30027" y="connsiteY30027"/>
              </a:cxn>
              <a:cxn ang="0">
                <a:pos x="connsiteX30028" y="connsiteY30028"/>
              </a:cxn>
              <a:cxn ang="0">
                <a:pos x="connsiteX30029" y="connsiteY30029"/>
              </a:cxn>
              <a:cxn ang="0">
                <a:pos x="connsiteX30030" y="connsiteY30030"/>
              </a:cxn>
              <a:cxn ang="0">
                <a:pos x="connsiteX30031" y="connsiteY30031"/>
              </a:cxn>
              <a:cxn ang="0">
                <a:pos x="connsiteX30032" y="connsiteY30032"/>
              </a:cxn>
              <a:cxn ang="0">
                <a:pos x="connsiteX30033" y="connsiteY30033"/>
              </a:cxn>
              <a:cxn ang="0">
                <a:pos x="connsiteX30034" y="connsiteY30034"/>
              </a:cxn>
              <a:cxn ang="0">
                <a:pos x="connsiteX30035" y="connsiteY30035"/>
              </a:cxn>
              <a:cxn ang="0">
                <a:pos x="connsiteX30036" y="connsiteY30036"/>
              </a:cxn>
              <a:cxn ang="0">
                <a:pos x="connsiteX30037" y="connsiteY30037"/>
              </a:cxn>
              <a:cxn ang="0">
                <a:pos x="connsiteX30038" y="connsiteY30038"/>
              </a:cxn>
              <a:cxn ang="0">
                <a:pos x="connsiteX30039" y="connsiteY30039"/>
              </a:cxn>
              <a:cxn ang="0">
                <a:pos x="connsiteX30040" y="connsiteY30040"/>
              </a:cxn>
              <a:cxn ang="0">
                <a:pos x="connsiteX30041" y="connsiteY30041"/>
              </a:cxn>
              <a:cxn ang="0">
                <a:pos x="connsiteX30042" y="connsiteY30042"/>
              </a:cxn>
              <a:cxn ang="0">
                <a:pos x="connsiteX30043" y="connsiteY30043"/>
              </a:cxn>
              <a:cxn ang="0">
                <a:pos x="connsiteX30044" y="connsiteY30044"/>
              </a:cxn>
              <a:cxn ang="0">
                <a:pos x="connsiteX30045" y="connsiteY30045"/>
              </a:cxn>
              <a:cxn ang="0">
                <a:pos x="connsiteX30046" y="connsiteY30046"/>
              </a:cxn>
              <a:cxn ang="0">
                <a:pos x="connsiteX30047" y="connsiteY30047"/>
              </a:cxn>
              <a:cxn ang="0">
                <a:pos x="connsiteX30048" y="connsiteY30048"/>
              </a:cxn>
              <a:cxn ang="0">
                <a:pos x="connsiteX30049" y="connsiteY30049"/>
              </a:cxn>
              <a:cxn ang="0">
                <a:pos x="connsiteX30050" y="connsiteY30050"/>
              </a:cxn>
              <a:cxn ang="0">
                <a:pos x="connsiteX30051" y="connsiteY30051"/>
              </a:cxn>
              <a:cxn ang="0">
                <a:pos x="connsiteX30052" y="connsiteY30052"/>
              </a:cxn>
              <a:cxn ang="0">
                <a:pos x="connsiteX30053" y="connsiteY30053"/>
              </a:cxn>
              <a:cxn ang="0">
                <a:pos x="connsiteX30054" y="connsiteY30054"/>
              </a:cxn>
              <a:cxn ang="0">
                <a:pos x="connsiteX30055" y="connsiteY30055"/>
              </a:cxn>
              <a:cxn ang="0">
                <a:pos x="connsiteX30056" y="connsiteY30056"/>
              </a:cxn>
              <a:cxn ang="0">
                <a:pos x="connsiteX30057" y="connsiteY30057"/>
              </a:cxn>
              <a:cxn ang="0">
                <a:pos x="connsiteX30058" y="connsiteY30058"/>
              </a:cxn>
              <a:cxn ang="0">
                <a:pos x="connsiteX30059" y="connsiteY30059"/>
              </a:cxn>
              <a:cxn ang="0">
                <a:pos x="connsiteX30060" y="connsiteY30060"/>
              </a:cxn>
              <a:cxn ang="0">
                <a:pos x="connsiteX30061" y="connsiteY30061"/>
              </a:cxn>
              <a:cxn ang="0">
                <a:pos x="connsiteX30062" y="connsiteY30062"/>
              </a:cxn>
              <a:cxn ang="0">
                <a:pos x="connsiteX30063" y="connsiteY30063"/>
              </a:cxn>
              <a:cxn ang="0">
                <a:pos x="connsiteX30064" y="connsiteY30064"/>
              </a:cxn>
              <a:cxn ang="0">
                <a:pos x="connsiteX30065" y="connsiteY30065"/>
              </a:cxn>
              <a:cxn ang="0">
                <a:pos x="connsiteX30066" y="connsiteY30066"/>
              </a:cxn>
              <a:cxn ang="0">
                <a:pos x="connsiteX30067" y="connsiteY30067"/>
              </a:cxn>
              <a:cxn ang="0">
                <a:pos x="connsiteX30068" y="connsiteY30068"/>
              </a:cxn>
              <a:cxn ang="0">
                <a:pos x="connsiteX30069" y="connsiteY30069"/>
              </a:cxn>
              <a:cxn ang="0">
                <a:pos x="connsiteX30070" y="connsiteY30070"/>
              </a:cxn>
              <a:cxn ang="0">
                <a:pos x="connsiteX30071" y="connsiteY30071"/>
              </a:cxn>
              <a:cxn ang="0">
                <a:pos x="connsiteX30072" y="connsiteY30072"/>
              </a:cxn>
              <a:cxn ang="0">
                <a:pos x="connsiteX30073" y="connsiteY30073"/>
              </a:cxn>
              <a:cxn ang="0">
                <a:pos x="connsiteX30074" y="connsiteY30074"/>
              </a:cxn>
              <a:cxn ang="0">
                <a:pos x="connsiteX30075" y="connsiteY30075"/>
              </a:cxn>
              <a:cxn ang="0">
                <a:pos x="connsiteX30076" y="connsiteY30076"/>
              </a:cxn>
              <a:cxn ang="0">
                <a:pos x="connsiteX30077" y="connsiteY30077"/>
              </a:cxn>
              <a:cxn ang="0">
                <a:pos x="connsiteX30078" y="connsiteY30078"/>
              </a:cxn>
              <a:cxn ang="0">
                <a:pos x="connsiteX30079" y="connsiteY30079"/>
              </a:cxn>
              <a:cxn ang="0">
                <a:pos x="connsiteX30080" y="connsiteY30080"/>
              </a:cxn>
              <a:cxn ang="0">
                <a:pos x="connsiteX30081" y="connsiteY30081"/>
              </a:cxn>
              <a:cxn ang="0">
                <a:pos x="connsiteX30082" y="connsiteY30082"/>
              </a:cxn>
              <a:cxn ang="0">
                <a:pos x="connsiteX30083" y="connsiteY30083"/>
              </a:cxn>
              <a:cxn ang="0">
                <a:pos x="connsiteX30084" y="connsiteY30084"/>
              </a:cxn>
              <a:cxn ang="0">
                <a:pos x="connsiteX30085" y="connsiteY30085"/>
              </a:cxn>
              <a:cxn ang="0">
                <a:pos x="connsiteX30086" y="connsiteY30086"/>
              </a:cxn>
              <a:cxn ang="0">
                <a:pos x="connsiteX30087" y="connsiteY30087"/>
              </a:cxn>
              <a:cxn ang="0">
                <a:pos x="connsiteX30088" y="connsiteY30088"/>
              </a:cxn>
              <a:cxn ang="0">
                <a:pos x="connsiteX30089" y="connsiteY30089"/>
              </a:cxn>
              <a:cxn ang="0">
                <a:pos x="connsiteX30090" y="connsiteY30090"/>
              </a:cxn>
              <a:cxn ang="0">
                <a:pos x="connsiteX30091" y="connsiteY30091"/>
              </a:cxn>
              <a:cxn ang="0">
                <a:pos x="connsiteX30092" y="connsiteY30092"/>
              </a:cxn>
              <a:cxn ang="0">
                <a:pos x="connsiteX30093" y="connsiteY30093"/>
              </a:cxn>
              <a:cxn ang="0">
                <a:pos x="connsiteX30094" y="connsiteY30094"/>
              </a:cxn>
              <a:cxn ang="0">
                <a:pos x="connsiteX30095" y="connsiteY30095"/>
              </a:cxn>
              <a:cxn ang="0">
                <a:pos x="connsiteX30096" y="connsiteY30096"/>
              </a:cxn>
              <a:cxn ang="0">
                <a:pos x="connsiteX30097" y="connsiteY30097"/>
              </a:cxn>
              <a:cxn ang="0">
                <a:pos x="connsiteX30098" y="connsiteY30098"/>
              </a:cxn>
              <a:cxn ang="0">
                <a:pos x="connsiteX30099" y="connsiteY30099"/>
              </a:cxn>
              <a:cxn ang="0">
                <a:pos x="connsiteX30100" y="connsiteY30100"/>
              </a:cxn>
              <a:cxn ang="0">
                <a:pos x="connsiteX30101" y="connsiteY30101"/>
              </a:cxn>
              <a:cxn ang="0">
                <a:pos x="connsiteX30102" y="connsiteY30102"/>
              </a:cxn>
              <a:cxn ang="0">
                <a:pos x="connsiteX30103" y="connsiteY30103"/>
              </a:cxn>
              <a:cxn ang="0">
                <a:pos x="connsiteX30104" y="connsiteY30104"/>
              </a:cxn>
              <a:cxn ang="0">
                <a:pos x="connsiteX30105" y="connsiteY30105"/>
              </a:cxn>
              <a:cxn ang="0">
                <a:pos x="connsiteX30106" y="connsiteY30106"/>
              </a:cxn>
              <a:cxn ang="0">
                <a:pos x="connsiteX30107" y="connsiteY30107"/>
              </a:cxn>
              <a:cxn ang="0">
                <a:pos x="connsiteX30108" y="connsiteY30108"/>
              </a:cxn>
              <a:cxn ang="0">
                <a:pos x="connsiteX30109" y="connsiteY30109"/>
              </a:cxn>
              <a:cxn ang="0">
                <a:pos x="connsiteX30110" y="connsiteY30110"/>
              </a:cxn>
              <a:cxn ang="0">
                <a:pos x="connsiteX30111" y="connsiteY30111"/>
              </a:cxn>
              <a:cxn ang="0">
                <a:pos x="connsiteX30112" y="connsiteY30112"/>
              </a:cxn>
              <a:cxn ang="0">
                <a:pos x="connsiteX30113" y="connsiteY30113"/>
              </a:cxn>
              <a:cxn ang="0">
                <a:pos x="connsiteX30114" y="connsiteY30114"/>
              </a:cxn>
              <a:cxn ang="0">
                <a:pos x="connsiteX30115" y="connsiteY30115"/>
              </a:cxn>
              <a:cxn ang="0">
                <a:pos x="connsiteX30116" y="connsiteY30116"/>
              </a:cxn>
              <a:cxn ang="0">
                <a:pos x="connsiteX30117" y="connsiteY30117"/>
              </a:cxn>
              <a:cxn ang="0">
                <a:pos x="connsiteX30118" y="connsiteY30118"/>
              </a:cxn>
              <a:cxn ang="0">
                <a:pos x="connsiteX30119" y="connsiteY30119"/>
              </a:cxn>
              <a:cxn ang="0">
                <a:pos x="connsiteX30120" y="connsiteY30120"/>
              </a:cxn>
              <a:cxn ang="0">
                <a:pos x="connsiteX30121" y="connsiteY30121"/>
              </a:cxn>
              <a:cxn ang="0">
                <a:pos x="connsiteX30122" y="connsiteY30122"/>
              </a:cxn>
              <a:cxn ang="0">
                <a:pos x="connsiteX30123" y="connsiteY30123"/>
              </a:cxn>
              <a:cxn ang="0">
                <a:pos x="connsiteX30124" y="connsiteY30124"/>
              </a:cxn>
              <a:cxn ang="0">
                <a:pos x="connsiteX30125" y="connsiteY30125"/>
              </a:cxn>
              <a:cxn ang="0">
                <a:pos x="connsiteX30126" y="connsiteY30126"/>
              </a:cxn>
              <a:cxn ang="0">
                <a:pos x="connsiteX30127" y="connsiteY30127"/>
              </a:cxn>
              <a:cxn ang="0">
                <a:pos x="connsiteX30128" y="connsiteY30128"/>
              </a:cxn>
              <a:cxn ang="0">
                <a:pos x="connsiteX30129" y="connsiteY30129"/>
              </a:cxn>
              <a:cxn ang="0">
                <a:pos x="connsiteX30130" y="connsiteY30130"/>
              </a:cxn>
              <a:cxn ang="0">
                <a:pos x="connsiteX30131" y="connsiteY30131"/>
              </a:cxn>
              <a:cxn ang="0">
                <a:pos x="connsiteX30132" y="connsiteY30132"/>
              </a:cxn>
              <a:cxn ang="0">
                <a:pos x="connsiteX30133" y="connsiteY30133"/>
              </a:cxn>
              <a:cxn ang="0">
                <a:pos x="connsiteX30134" y="connsiteY30134"/>
              </a:cxn>
              <a:cxn ang="0">
                <a:pos x="connsiteX30135" y="connsiteY30135"/>
              </a:cxn>
              <a:cxn ang="0">
                <a:pos x="connsiteX30136" y="connsiteY30136"/>
              </a:cxn>
              <a:cxn ang="0">
                <a:pos x="connsiteX30137" y="connsiteY30137"/>
              </a:cxn>
              <a:cxn ang="0">
                <a:pos x="connsiteX30138" y="connsiteY30138"/>
              </a:cxn>
              <a:cxn ang="0">
                <a:pos x="connsiteX30139" y="connsiteY30139"/>
              </a:cxn>
              <a:cxn ang="0">
                <a:pos x="connsiteX30140" y="connsiteY30140"/>
              </a:cxn>
              <a:cxn ang="0">
                <a:pos x="connsiteX30141" y="connsiteY30141"/>
              </a:cxn>
              <a:cxn ang="0">
                <a:pos x="connsiteX30142" y="connsiteY30142"/>
              </a:cxn>
              <a:cxn ang="0">
                <a:pos x="connsiteX30143" y="connsiteY30143"/>
              </a:cxn>
              <a:cxn ang="0">
                <a:pos x="connsiteX30144" y="connsiteY30144"/>
              </a:cxn>
              <a:cxn ang="0">
                <a:pos x="connsiteX30145" y="connsiteY30145"/>
              </a:cxn>
              <a:cxn ang="0">
                <a:pos x="connsiteX30146" y="connsiteY30146"/>
              </a:cxn>
              <a:cxn ang="0">
                <a:pos x="connsiteX30147" y="connsiteY30147"/>
              </a:cxn>
              <a:cxn ang="0">
                <a:pos x="connsiteX30148" y="connsiteY30148"/>
              </a:cxn>
              <a:cxn ang="0">
                <a:pos x="connsiteX30149" y="connsiteY30149"/>
              </a:cxn>
              <a:cxn ang="0">
                <a:pos x="connsiteX30150" y="connsiteY30150"/>
              </a:cxn>
              <a:cxn ang="0">
                <a:pos x="connsiteX30151" y="connsiteY30151"/>
              </a:cxn>
              <a:cxn ang="0">
                <a:pos x="connsiteX30152" y="connsiteY30152"/>
              </a:cxn>
              <a:cxn ang="0">
                <a:pos x="connsiteX30153" y="connsiteY30153"/>
              </a:cxn>
              <a:cxn ang="0">
                <a:pos x="connsiteX30154" y="connsiteY30154"/>
              </a:cxn>
              <a:cxn ang="0">
                <a:pos x="connsiteX30155" y="connsiteY30155"/>
              </a:cxn>
              <a:cxn ang="0">
                <a:pos x="connsiteX30156" y="connsiteY30156"/>
              </a:cxn>
              <a:cxn ang="0">
                <a:pos x="connsiteX30157" y="connsiteY30157"/>
              </a:cxn>
              <a:cxn ang="0">
                <a:pos x="connsiteX30158" y="connsiteY30158"/>
              </a:cxn>
              <a:cxn ang="0">
                <a:pos x="connsiteX30159" y="connsiteY30159"/>
              </a:cxn>
              <a:cxn ang="0">
                <a:pos x="connsiteX30160" y="connsiteY30160"/>
              </a:cxn>
              <a:cxn ang="0">
                <a:pos x="connsiteX30161" y="connsiteY30161"/>
              </a:cxn>
              <a:cxn ang="0">
                <a:pos x="connsiteX30162" y="connsiteY30162"/>
              </a:cxn>
              <a:cxn ang="0">
                <a:pos x="connsiteX30163" y="connsiteY30163"/>
              </a:cxn>
              <a:cxn ang="0">
                <a:pos x="connsiteX30164" y="connsiteY30164"/>
              </a:cxn>
              <a:cxn ang="0">
                <a:pos x="connsiteX30165" y="connsiteY30165"/>
              </a:cxn>
              <a:cxn ang="0">
                <a:pos x="connsiteX30166" y="connsiteY30166"/>
              </a:cxn>
              <a:cxn ang="0">
                <a:pos x="connsiteX30167" y="connsiteY30167"/>
              </a:cxn>
              <a:cxn ang="0">
                <a:pos x="connsiteX30168" y="connsiteY30168"/>
              </a:cxn>
              <a:cxn ang="0">
                <a:pos x="connsiteX30169" y="connsiteY30169"/>
              </a:cxn>
              <a:cxn ang="0">
                <a:pos x="connsiteX30170" y="connsiteY30170"/>
              </a:cxn>
              <a:cxn ang="0">
                <a:pos x="connsiteX30171" y="connsiteY30171"/>
              </a:cxn>
              <a:cxn ang="0">
                <a:pos x="connsiteX30172" y="connsiteY30172"/>
              </a:cxn>
              <a:cxn ang="0">
                <a:pos x="connsiteX30173" y="connsiteY30173"/>
              </a:cxn>
              <a:cxn ang="0">
                <a:pos x="connsiteX30174" y="connsiteY30174"/>
              </a:cxn>
              <a:cxn ang="0">
                <a:pos x="connsiteX30175" y="connsiteY30175"/>
              </a:cxn>
              <a:cxn ang="0">
                <a:pos x="connsiteX30176" y="connsiteY30176"/>
              </a:cxn>
              <a:cxn ang="0">
                <a:pos x="connsiteX30177" y="connsiteY30177"/>
              </a:cxn>
              <a:cxn ang="0">
                <a:pos x="connsiteX30178" y="connsiteY30178"/>
              </a:cxn>
              <a:cxn ang="0">
                <a:pos x="connsiteX30179" y="connsiteY30179"/>
              </a:cxn>
              <a:cxn ang="0">
                <a:pos x="connsiteX30180" y="connsiteY30180"/>
              </a:cxn>
              <a:cxn ang="0">
                <a:pos x="connsiteX30181" y="connsiteY30181"/>
              </a:cxn>
              <a:cxn ang="0">
                <a:pos x="connsiteX30182" y="connsiteY30182"/>
              </a:cxn>
              <a:cxn ang="0">
                <a:pos x="connsiteX30183" y="connsiteY30183"/>
              </a:cxn>
              <a:cxn ang="0">
                <a:pos x="connsiteX30184" y="connsiteY30184"/>
              </a:cxn>
              <a:cxn ang="0">
                <a:pos x="connsiteX30185" y="connsiteY30185"/>
              </a:cxn>
              <a:cxn ang="0">
                <a:pos x="connsiteX30186" y="connsiteY30186"/>
              </a:cxn>
              <a:cxn ang="0">
                <a:pos x="connsiteX30187" y="connsiteY30187"/>
              </a:cxn>
              <a:cxn ang="0">
                <a:pos x="connsiteX30188" y="connsiteY30188"/>
              </a:cxn>
              <a:cxn ang="0">
                <a:pos x="connsiteX30189" y="connsiteY30189"/>
              </a:cxn>
              <a:cxn ang="0">
                <a:pos x="connsiteX30190" y="connsiteY30190"/>
              </a:cxn>
              <a:cxn ang="0">
                <a:pos x="connsiteX30191" y="connsiteY30191"/>
              </a:cxn>
              <a:cxn ang="0">
                <a:pos x="connsiteX30192" y="connsiteY30192"/>
              </a:cxn>
              <a:cxn ang="0">
                <a:pos x="connsiteX30193" y="connsiteY30193"/>
              </a:cxn>
              <a:cxn ang="0">
                <a:pos x="connsiteX30194" y="connsiteY30194"/>
              </a:cxn>
              <a:cxn ang="0">
                <a:pos x="connsiteX30195" y="connsiteY30195"/>
              </a:cxn>
              <a:cxn ang="0">
                <a:pos x="connsiteX30196" y="connsiteY30196"/>
              </a:cxn>
              <a:cxn ang="0">
                <a:pos x="connsiteX30197" y="connsiteY30197"/>
              </a:cxn>
              <a:cxn ang="0">
                <a:pos x="connsiteX30198" y="connsiteY30198"/>
              </a:cxn>
              <a:cxn ang="0">
                <a:pos x="connsiteX30199" y="connsiteY30199"/>
              </a:cxn>
              <a:cxn ang="0">
                <a:pos x="connsiteX30200" y="connsiteY30200"/>
              </a:cxn>
              <a:cxn ang="0">
                <a:pos x="connsiteX30201" y="connsiteY30201"/>
              </a:cxn>
              <a:cxn ang="0">
                <a:pos x="connsiteX30202" y="connsiteY30202"/>
              </a:cxn>
              <a:cxn ang="0">
                <a:pos x="connsiteX30203" y="connsiteY30203"/>
              </a:cxn>
              <a:cxn ang="0">
                <a:pos x="connsiteX30204" y="connsiteY30204"/>
              </a:cxn>
              <a:cxn ang="0">
                <a:pos x="connsiteX30205" y="connsiteY30205"/>
              </a:cxn>
              <a:cxn ang="0">
                <a:pos x="connsiteX30206" y="connsiteY30206"/>
              </a:cxn>
              <a:cxn ang="0">
                <a:pos x="connsiteX30207" y="connsiteY30207"/>
              </a:cxn>
              <a:cxn ang="0">
                <a:pos x="connsiteX30208" y="connsiteY30208"/>
              </a:cxn>
              <a:cxn ang="0">
                <a:pos x="connsiteX30209" y="connsiteY30209"/>
              </a:cxn>
              <a:cxn ang="0">
                <a:pos x="connsiteX30210" y="connsiteY30210"/>
              </a:cxn>
              <a:cxn ang="0">
                <a:pos x="connsiteX30211" y="connsiteY30211"/>
              </a:cxn>
              <a:cxn ang="0">
                <a:pos x="connsiteX30212" y="connsiteY30212"/>
              </a:cxn>
              <a:cxn ang="0">
                <a:pos x="connsiteX30213" y="connsiteY30213"/>
              </a:cxn>
              <a:cxn ang="0">
                <a:pos x="connsiteX30214" y="connsiteY30214"/>
              </a:cxn>
              <a:cxn ang="0">
                <a:pos x="connsiteX30215" y="connsiteY30215"/>
              </a:cxn>
              <a:cxn ang="0">
                <a:pos x="connsiteX30216" y="connsiteY30216"/>
              </a:cxn>
              <a:cxn ang="0">
                <a:pos x="connsiteX30217" y="connsiteY30217"/>
              </a:cxn>
              <a:cxn ang="0">
                <a:pos x="connsiteX30218" y="connsiteY30218"/>
              </a:cxn>
              <a:cxn ang="0">
                <a:pos x="connsiteX30219" y="connsiteY30219"/>
              </a:cxn>
              <a:cxn ang="0">
                <a:pos x="connsiteX30220" y="connsiteY30220"/>
              </a:cxn>
              <a:cxn ang="0">
                <a:pos x="connsiteX30221" y="connsiteY30221"/>
              </a:cxn>
              <a:cxn ang="0">
                <a:pos x="connsiteX30222" y="connsiteY30222"/>
              </a:cxn>
              <a:cxn ang="0">
                <a:pos x="connsiteX30223" y="connsiteY30223"/>
              </a:cxn>
              <a:cxn ang="0">
                <a:pos x="connsiteX30224" y="connsiteY30224"/>
              </a:cxn>
              <a:cxn ang="0">
                <a:pos x="connsiteX30225" y="connsiteY30225"/>
              </a:cxn>
              <a:cxn ang="0">
                <a:pos x="connsiteX30226" y="connsiteY30226"/>
              </a:cxn>
              <a:cxn ang="0">
                <a:pos x="connsiteX30227" y="connsiteY30227"/>
              </a:cxn>
              <a:cxn ang="0">
                <a:pos x="connsiteX30228" y="connsiteY30228"/>
              </a:cxn>
              <a:cxn ang="0">
                <a:pos x="connsiteX30229" y="connsiteY30229"/>
              </a:cxn>
              <a:cxn ang="0">
                <a:pos x="connsiteX30230" y="connsiteY30230"/>
              </a:cxn>
              <a:cxn ang="0">
                <a:pos x="connsiteX30231" y="connsiteY30231"/>
              </a:cxn>
              <a:cxn ang="0">
                <a:pos x="connsiteX30232" y="connsiteY30232"/>
              </a:cxn>
              <a:cxn ang="0">
                <a:pos x="connsiteX30233" y="connsiteY30233"/>
              </a:cxn>
              <a:cxn ang="0">
                <a:pos x="connsiteX30234" y="connsiteY30234"/>
              </a:cxn>
              <a:cxn ang="0">
                <a:pos x="connsiteX30235" y="connsiteY30235"/>
              </a:cxn>
              <a:cxn ang="0">
                <a:pos x="connsiteX30236" y="connsiteY30236"/>
              </a:cxn>
              <a:cxn ang="0">
                <a:pos x="connsiteX30237" y="connsiteY30237"/>
              </a:cxn>
              <a:cxn ang="0">
                <a:pos x="connsiteX30238" y="connsiteY30238"/>
              </a:cxn>
              <a:cxn ang="0">
                <a:pos x="connsiteX30239" y="connsiteY30239"/>
              </a:cxn>
              <a:cxn ang="0">
                <a:pos x="connsiteX30240" y="connsiteY30240"/>
              </a:cxn>
              <a:cxn ang="0">
                <a:pos x="connsiteX30241" y="connsiteY30241"/>
              </a:cxn>
              <a:cxn ang="0">
                <a:pos x="connsiteX30242" y="connsiteY30242"/>
              </a:cxn>
              <a:cxn ang="0">
                <a:pos x="connsiteX30243" y="connsiteY30243"/>
              </a:cxn>
              <a:cxn ang="0">
                <a:pos x="connsiteX30244" y="connsiteY30244"/>
              </a:cxn>
              <a:cxn ang="0">
                <a:pos x="connsiteX30245" y="connsiteY30245"/>
              </a:cxn>
              <a:cxn ang="0">
                <a:pos x="connsiteX30246" y="connsiteY30246"/>
              </a:cxn>
              <a:cxn ang="0">
                <a:pos x="connsiteX30247" y="connsiteY30247"/>
              </a:cxn>
              <a:cxn ang="0">
                <a:pos x="connsiteX30248" y="connsiteY30248"/>
              </a:cxn>
              <a:cxn ang="0">
                <a:pos x="connsiteX30249" y="connsiteY30249"/>
              </a:cxn>
              <a:cxn ang="0">
                <a:pos x="connsiteX30250" y="connsiteY30250"/>
              </a:cxn>
              <a:cxn ang="0">
                <a:pos x="connsiteX30251" y="connsiteY30251"/>
              </a:cxn>
              <a:cxn ang="0">
                <a:pos x="connsiteX30252" y="connsiteY30252"/>
              </a:cxn>
              <a:cxn ang="0">
                <a:pos x="connsiteX30253" y="connsiteY30253"/>
              </a:cxn>
              <a:cxn ang="0">
                <a:pos x="connsiteX30254" y="connsiteY30254"/>
              </a:cxn>
              <a:cxn ang="0">
                <a:pos x="connsiteX30255" y="connsiteY30255"/>
              </a:cxn>
              <a:cxn ang="0">
                <a:pos x="connsiteX30256" y="connsiteY30256"/>
              </a:cxn>
              <a:cxn ang="0">
                <a:pos x="connsiteX30257" y="connsiteY30257"/>
              </a:cxn>
              <a:cxn ang="0">
                <a:pos x="connsiteX30258" y="connsiteY30258"/>
              </a:cxn>
              <a:cxn ang="0">
                <a:pos x="connsiteX30259" y="connsiteY30259"/>
              </a:cxn>
              <a:cxn ang="0">
                <a:pos x="connsiteX30260" y="connsiteY30260"/>
              </a:cxn>
              <a:cxn ang="0">
                <a:pos x="connsiteX30261" y="connsiteY30261"/>
              </a:cxn>
              <a:cxn ang="0">
                <a:pos x="connsiteX30262" y="connsiteY30262"/>
              </a:cxn>
              <a:cxn ang="0">
                <a:pos x="connsiteX30263" y="connsiteY30263"/>
              </a:cxn>
              <a:cxn ang="0">
                <a:pos x="connsiteX30264" y="connsiteY30264"/>
              </a:cxn>
              <a:cxn ang="0">
                <a:pos x="connsiteX30265" y="connsiteY30265"/>
              </a:cxn>
              <a:cxn ang="0">
                <a:pos x="connsiteX30266" y="connsiteY30266"/>
              </a:cxn>
              <a:cxn ang="0">
                <a:pos x="connsiteX30267" y="connsiteY30267"/>
              </a:cxn>
              <a:cxn ang="0">
                <a:pos x="connsiteX30268" y="connsiteY30268"/>
              </a:cxn>
              <a:cxn ang="0">
                <a:pos x="connsiteX30269" y="connsiteY30269"/>
              </a:cxn>
              <a:cxn ang="0">
                <a:pos x="connsiteX30270" y="connsiteY30270"/>
              </a:cxn>
              <a:cxn ang="0">
                <a:pos x="connsiteX30271" y="connsiteY30271"/>
              </a:cxn>
              <a:cxn ang="0">
                <a:pos x="connsiteX30272" y="connsiteY30272"/>
              </a:cxn>
              <a:cxn ang="0">
                <a:pos x="connsiteX30273" y="connsiteY30273"/>
              </a:cxn>
              <a:cxn ang="0">
                <a:pos x="connsiteX30274" y="connsiteY30274"/>
              </a:cxn>
              <a:cxn ang="0">
                <a:pos x="connsiteX30275" y="connsiteY30275"/>
              </a:cxn>
              <a:cxn ang="0">
                <a:pos x="connsiteX30276" y="connsiteY30276"/>
              </a:cxn>
              <a:cxn ang="0">
                <a:pos x="connsiteX30277" y="connsiteY30277"/>
              </a:cxn>
              <a:cxn ang="0">
                <a:pos x="connsiteX30278" y="connsiteY30278"/>
              </a:cxn>
              <a:cxn ang="0">
                <a:pos x="connsiteX30279" y="connsiteY30279"/>
              </a:cxn>
              <a:cxn ang="0">
                <a:pos x="connsiteX30280" y="connsiteY30280"/>
              </a:cxn>
              <a:cxn ang="0">
                <a:pos x="connsiteX30281" y="connsiteY30281"/>
              </a:cxn>
              <a:cxn ang="0">
                <a:pos x="connsiteX30282" y="connsiteY30282"/>
              </a:cxn>
              <a:cxn ang="0">
                <a:pos x="connsiteX30283" y="connsiteY30283"/>
              </a:cxn>
              <a:cxn ang="0">
                <a:pos x="connsiteX30284" y="connsiteY30284"/>
              </a:cxn>
              <a:cxn ang="0">
                <a:pos x="connsiteX30285" y="connsiteY30285"/>
              </a:cxn>
              <a:cxn ang="0">
                <a:pos x="connsiteX30286" y="connsiteY30286"/>
              </a:cxn>
              <a:cxn ang="0">
                <a:pos x="connsiteX30287" y="connsiteY30287"/>
              </a:cxn>
              <a:cxn ang="0">
                <a:pos x="connsiteX30288" y="connsiteY30288"/>
              </a:cxn>
              <a:cxn ang="0">
                <a:pos x="connsiteX30289" y="connsiteY30289"/>
              </a:cxn>
              <a:cxn ang="0">
                <a:pos x="connsiteX30290" y="connsiteY30290"/>
              </a:cxn>
              <a:cxn ang="0">
                <a:pos x="connsiteX30291" y="connsiteY30291"/>
              </a:cxn>
              <a:cxn ang="0">
                <a:pos x="connsiteX30292" y="connsiteY30292"/>
              </a:cxn>
              <a:cxn ang="0">
                <a:pos x="connsiteX30293" y="connsiteY30293"/>
              </a:cxn>
              <a:cxn ang="0">
                <a:pos x="connsiteX30294" y="connsiteY30294"/>
              </a:cxn>
              <a:cxn ang="0">
                <a:pos x="connsiteX30295" y="connsiteY30295"/>
              </a:cxn>
              <a:cxn ang="0">
                <a:pos x="connsiteX30296" y="connsiteY30296"/>
              </a:cxn>
              <a:cxn ang="0">
                <a:pos x="connsiteX30297" y="connsiteY30297"/>
              </a:cxn>
              <a:cxn ang="0">
                <a:pos x="connsiteX30298" y="connsiteY30298"/>
              </a:cxn>
              <a:cxn ang="0">
                <a:pos x="connsiteX30299" y="connsiteY30299"/>
              </a:cxn>
              <a:cxn ang="0">
                <a:pos x="connsiteX30300" y="connsiteY30300"/>
              </a:cxn>
              <a:cxn ang="0">
                <a:pos x="connsiteX30301" y="connsiteY30301"/>
              </a:cxn>
              <a:cxn ang="0">
                <a:pos x="connsiteX30302" y="connsiteY30302"/>
              </a:cxn>
              <a:cxn ang="0">
                <a:pos x="connsiteX30303" y="connsiteY30303"/>
              </a:cxn>
              <a:cxn ang="0">
                <a:pos x="connsiteX30304" y="connsiteY30304"/>
              </a:cxn>
              <a:cxn ang="0">
                <a:pos x="connsiteX30305" y="connsiteY30305"/>
              </a:cxn>
              <a:cxn ang="0">
                <a:pos x="connsiteX30306" y="connsiteY30306"/>
              </a:cxn>
              <a:cxn ang="0">
                <a:pos x="connsiteX30307" y="connsiteY30307"/>
              </a:cxn>
              <a:cxn ang="0">
                <a:pos x="connsiteX30308" y="connsiteY30308"/>
              </a:cxn>
              <a:cxn ang="0">
                <a:pos x="connsiteX30309" y="connsiteY30309"/>
              </a:cxn>
              <a:cxn ang="0">
                <a:pos x="connsiteX30310" y="connsiteY30310"/>
              </a:cxn>
              <a:cxn ang="0">
                <a:pos x="connsiteX30311" y="connsiteY30311"/>
              </a:cxn>
              <a:cxn ang="0">
                <a:pos x="connsiteX30312" y="connsiteY30312"/>
              </a:cxn>
              <a:cxn ang="0">
                <a:pos x="connsiteX30313" y="connsiteY30313"/>
              </a:cxn>
              <a:cxn ang="0">
                <a:pos x="connsiteX30314" y="connsiteY30314"/>
              </a:cxn>
              <a:cxn ang="0">
                <a:pos x="connsiteX30315" y="connsiteY30315"/>
              </a:cxn>
              <a:cxn ang="0">
                <a:pos x="connsiteX30316" y="connsiteY30316"/>
              </a:cxn>
              <a:cxn ang="0">
                <a:pos x="connsiteX30317" y="connsiteY30317"/>
              </a:cxn>
              <a:cxn ang="0">
                <a:pos x="connsiteX30318" y="connsiteY30318"/>
              </a:cxn>
              <a:cxn ang="0">
                <a:pos x="connsiteX30319" y="connsiteY30319"/>
              </a:cxn>
              <a:cxn ang="0">
                <a:pos x="connsiteX30320" y="connsiteY30320"/>
              </a:cxn>
              <a:cxn ang="0">
                <a:pos x="connsiteX30321" y="connsiteY30321"/>
              </a:cxn>
              <a:cxn ang="0">
                <a:pos x="connsiteX30322" y="connsiteY30322"/>
              </a:cxn>
              <a:cxn ang="0">
                <a:pos x="connsiteX30323" y="connsiteY30323"/>
              </a:cxn>
              <a:cxn ang="0">
                <a:pos x="connsiteX30324" y="connsiteY30324"/>
              </a:cxn>
              <a:cxn ang="0">
                <a:pos x="connsiteX30325" y="connsiteY30325"/>
              </a:cxn>
              <a:cxn ang="0">
                <a:pos x="connsiteX30326" y="connsiteY30326"/>
              </a:cxn>
              <a:cxn ang="0">
                <a:pos x="connsiteX30327" y="connsiteY30327"/>
              </a:cxn>
              <a:cxn ang="0">
                <a:pos x="connsiteX30328" y="connsiteY30328"/>
              </a:cxn>
              <a:cxn ang="0">
                <a:pos x="connsiteX30329" y="connsiteY30329"/>
              </a:cxn>
              <a:cxn ang="0">
                <a:pos x="connsiteX30330" y="connsiteY30330"/>
              </a:cxn>
              <a:cxn ang="0">
                <a:pos x="connsiteX30331" y="connsiteY30331"/>
              </a:cxn>
              <a:cxn ang="0">
                <a:pos x="connsiteX30332" y="connsiteY30332"/>
              </a:cxn>
              <a:cxn ang="0">
                <a:pos x="connsiteX30333" y="connsiteY30333"/>
              </a:cxn>
              <a:cxn ang="0">
                <a:pos x="connsiteX30334" y="connsiteY30334"/>
              </a:cxn>
              <a:cxn ang="0">
                <a:pos x="connsiteX30335" y="connsiteY30335"/>
              </a:cxn>
              <a:cxn ang="0">
                <a:pos x="connsiteX30336" y="connsiteY30336"/>
              </a:cxn>
              <a:cxn ang="0">
                <a:pos x="connsiteX30337" y="connsiteY30337"/>
              </a:cxn>
              <a:cxn ang="0">
                <a:pos x="connsiteX30338" y="connsiteY30338"/>
              </a:cxn>
              <a:cxn ang="0">
                <a:pos x="connsiteX30339" y="connsiteY30339"/>
              </a:cxn>
              <a:cxn ang="0">
                <a:pos x="connsiteX30340" y="connsiteY30340"/>
              </a:cxn>
              <a:cxn ang="0">
                <a:pos x="connsiteX30341" y="connsiteY30341"/>
              </a:cxn>
              <a:cxn ang="0">
                <a:pos x="connsiteX30342" y="connsiteY30342"/>
              </a:cxn>
              <a:cxn ang="0">
                <a:pos x="connsiteX30343" y="connsiteY30343"/>
              </a:cxn>
              <a:cxn ang="0">
                <a:pos x="connsiteX30344" y="connsiteY30344"/>
              </a:cxn>
              <a:cxn ang="0">
                <a:pos x="connsiteX30345" y="connsiteY30345"/>
              </a:cxn>
              <a:cxn ang="0">
                <a:pos x="connsiteX30346" y="connsiteY30346"/>
              </a:cxn>
              <a:cxn ang="0">
                <a:pos x="connsiteX30347" y="connsiteY30347"/>
              </a:cxn>
              <a:cxn ang="0">
                <a:pos x="connsiteX30348" y="connsiteY30348"/>
              </a:cxn>
              <a:cxn ang="0">
                <a:pos x="connsiteX30349" y="connsiteY30349"/>
              </a:cxn>
              <a:cxn ang="0">
                <a:pos x="connsiteX30350" y="connsiteY30350"/>
              </a:cxn>
              <a:cxn ang="0">
                <a:pos x="connsiteX30351" y="connsiteY30351"/>
              </a:cxn>
              <a:cxn ang="0">
                <a:pos x="connsiteX30352" y="connsiteY30352"/>
              </a:cxn>
              <a:cxn ang="0">
                <a:pos x="connsiteX30353" y="connsiteY30353"/>
              </a:cxn>
              <a:cxn ang="0">
                <a:pos x="connsiteX30354" y="connsiteY30354"/>
              </a:cxn>
              <a:cxn ang="0">
                <a:pos x="connsiteX30355" y="connsiteY30355"/>
              </a:cxn>
              <a:cxn ang="0">
                <a:pos x="connsiteX30356" y="connsiteY30356"/>
              </a:cxn>
              <a:cxn ang="0">
                <a:pos x="connsiteX30357" y="connsiteY30357"/>
              </a:cxn>
              <a:cxn ang="0">
                <a:pos x="connsiteX30358" y="connsiteY30358"/>
              </a:cxn>
              <a:cxn ang="0">
                <a:pos x="connsiteX30359" y="connsiteY30359"/>
              </a:cxn>
              <a:cxn ang="0">
                <a:pos x="connsiteX30360" y="connsiteY30360"/>
              </a:cxn>
              <a:cxn ang="0">
                <a:pos x="connsiteX30361" y="connsiteY30361"/>
              </a:cxn>
              <a:cxn ang="0">
                <a:pos x="connsiteX30362" y="connsiteY30362"/>
              </a:cxn>
              <a:cxn ang="0">
                <a:pos x="connsiteX30363" y="connsiteY30363"/>
              </a:cxn>
              <a:cxn ang="0">
                <a:pos x="connsiteX30364" y="connsiteY30364"/>
              </a:cxn>
              <a:cxn ang="0">
                <a:pos x="connsiteX30365" y="connsiteY30365"/>
              </a:cxn>
              <a:cxn ang="0">
                <a:pos x="connsiteX30366" y="connsiteY30366"/>
              </a:cxn>
              <a:cxn ang="0">
                <a:pos x="connsiteX30367" y="connsiteY30367"/>
              </a:cxn>
              <a:cxn ang="0">
                <a:pos x="connsiteX30368" y="connsiteY30368"/>
              </a:cxn>
              <a:cxn ang="0">
                <a:pos x="connsiteX30369" y="connsiteY30369"/>
              </a:cxn>
              <a:cxn ang="0">
                <a:pos x="connsiteX30370" y="connsiteY30370"/>
              </a:cxn>
              <a:cxn ang="0">
                <a:pos x="connsiteX30371" y="connsiteY30371"/>
              </a:cxn>
              <a:cxn ang="0">
                <a:pos x="connsiteX30372" y="connsiteY30372"/>
              </a:cxn>
              <a:cxn ang="0">
                <a:pos x="connsiteX30373" y="connsiteY30373"/>
              </a:cxn>
              <a:cxn ang="0">
                <a:pos x="connsiteX30374" y="connsiteY30374"/>
              </a:cxn>
              <a:cxn ang="0">
                <a:pos x="connsiteX30375" y="connsiteY30375"/>
              </a:cxn>
              <a:cxn ang="0">
                <a:pos x="connsiteX30376" y="connsiteY30376"/>
              </a:cxn>
              <a:cxn ang="0">
                <a:pos x="connsiteX30377" y="connsiteY30377"/>
              </a:cxn>
              <a:cxn ang="0">
                <a:pos x="connsiteX30378" y="connsiteY30378"/>
              </a:cxn>
              <a:cxn ang="0">
                <a:pos x="connsiteX30379" y="connsiteY30379"/>
              </a:cxn>
              <a:cxn ang="0">
                <a:pos x="connsiteX30380" y="connsiteY30380"/>
              </a:cxn>
              <a:cxn ang="0">
                <a:pos x="connsiteX30381" y="connsiteY30381"/>
              </a:cxn>
              <a:cxn ang="0">
                <a:pos x="connsiteX30382" y="connsiteY30382"/>
              </a:cxn>
              <a:cxn ang="0">
                <a:pos x="connsiteX30383" y="connsiteY30383"/>
              </a:cxn>
              <a:cxn ang="0">
                <a:pos x="connsiteX30384" y="connsiteY30384"/>
              </a:cxn>
              <a:cxn ang="0">
                <a:pos x="connsiteX30385" y="connsiteY30385"/>
              </a:cxn>
              <a:cxn ang="0">
                <a:pos x="connsiteX30386" y="connsiteY30386"/>
              </a:cxn>
              <a:cxn ang="0">
                <a:pos x="connsiteX30387" y="connsiteY30387"/>
              </a:cxn>
              <a:cxn ang="0">
                <a:pos x="connsiteX30388" y="connsiteY30388"/>
              </a:cxn>
              <a:cxn ang="0">
                <a:pos x="connsiteX30389" y="connsiteY30389"/>
              </a:cxn>
              <a:cxn ang="0">
                <a:pos x="connsiteX30390" y="connsiteY30390"/>
              </a:cxn>
              <a:cxn ang="0">
                <a:pos x="connsiteX30391" y="connsiteY30391"/>
              </a:cxn>
              <a:cxn ang="0">
                <a:pos x="connsiteX30392" y="connsiteY30392"/>
              </a:cxn>
              <a:cxn ang="0">
                <a:pos x="connsiteX30393" y="connsiteY30393"/>
              </a:cxn>
              <a:cxn ang="0">
                <a:pos x="connsiteX30394" y="connsiteY30394"/>
              </a:cxn>
              <a:cxn ang="0">
                <a:pos x="connsiteX30395" y="connsiteY30395"/>
              </a:cxn>
              <a:cxn ang="0">
                <a:pos x="connsiteX30396" y="connsiteY30396"/>
              </a:cxn>
              <a:cxn ang="0">
                <a:pos x="connsiteX30397" y="connsiteY30397"/>
              </a:cxn>
              <a:cxn ang="0">
                <a:pos x="connsiteX30398" y="connsiteY30398"/>
              </a:cxn>
              <a:cxn ang="0">
                <a:pos x="connsiteX30399" y="connsiteY30399"/>
              </a:cxn>
              <a:cxn ang="0">
                <a:pos x="connsiteX30400" y="connsiteY30400"/>
              </a:cxn>
              <a:cxn ang="0">
                <a:pos x="connsiteX30401" y="connsiteY30401"/>
              </a:cxn>
              <a:cxn ang="0">
                <a:pos x="connsiteX30402" y="connsiteY30402"/>
              </a:cxn>
              <a:cxn ang="0">
                <a:pos x="connsiteX30403" y="connsiteY30403"/>
              </a:cxn>
              <a:cxn ang="0">
                <a:pos x="connsiteX30404" y="connsiteY30404"/>
              </a:cxn>
              <a:cxn ang="0">
                <a:pos x="connsiteX30405" y="connsiteY30405"/>
              </a:cxn>
              <a:cxn ang="0">
                <a:pos x="connsiteX30406" y="connsiteY30406"/>
              </a:cxn>
              <a:cxn ang="0">
                <a:pos x="connsiteX30407" y="connsiteY30407"/>
              </a:cxn>
              <a:cxn ang="0">
                <a:pos x="connsiteX30408" y="connsiteY30408"/>
              </a:cxn>
              <a:cxn ang="0">
                <a:pos x="connsiteX30409" y="connsiteY30409"/>
              </a:cxn>
              <a:cxn ang="0">
                <a:pos x="connsiteX30410" y="connsiteY30410"/>
              </a:cxn>
              <a:cxn ang="0">
                <a:pos x="connsiteX30411" y="connsiteY30411"/>
              </a:cxn>
              <a:cxn ang="0">
                <a:pos x="connsiteX30412" y="connsiteY30412"/>
              </a:cxn>
              <a:cxn ang="0">
                <a:pos x="connsiteX30413" y="connsiteY30413"/>
              </a:cxn>
              <a:cxn ang="0">
                <a:pos x="connsiteX30414" y="connsiteY30414"/>
              </a:cxn>
              <a:cxn ang="0">
                <a:pos x="connsiteX30415" y="connsiteY30415"/>
              </a:cxn>
              <a:cxn ang="0">
                <a:pos x="connsiteX30416" y="connsiteY30416"/>
              </a:cxn>
              <a:cxn ang="0">
                <a:pos x="connsiteX30417" y="connsiteY30417"/>
              </a:cxn>
              <a:cxn ang="0">
                <a:pos x="connsiteX30418" y="connsiteY30418"/>
              </a:cxn>
              <a:cxn ang="0">
                <a:pos x="connsiteX30419" y="connsiteY30419"/>
              </a:cxn>
              <a:cxn ang="0">
                <a:pos x="connsiteX30420" y="connsiteY30420"/>
              </a:cxn>
              <a:cxn ang="0">
                <a:pos x="connsiteX30421" y="connsiteY30421"/>
              </a:cxn>
              <a:cxn ang="0">
                <a:pos x="connsiteX30422" y="connsiteY30422"/>
              </a:cxn>
              <a:cxn ang="0">
                <a:pos x="connsiteX30423" y="connsiteY30423"/>
              </a:cxn>
              <a:cxn ang="0">
                <a:pos x="connsiteX30424" y="connsiteY30424"/>
              </a:cxn>
              <a:cxn ang="0">
                <a:pos x="connsiteX30425" y="connsiteY30425"/>
              </a:cxn>
              <a:cxn ang="0">
                <a:pos x="connsiteX30426" y="connsiteY30426"/>
              </a:cxn>
              <a:cxn ang="0">
                <a:pos x="connsiteX30427" y="connsiteY30427"/>
              </a:cxn>
              <a:cxn ang="0">
                <a:pos x="connsiteX30428" y="connsiteY30428"/>
              </a:cxn>
              <a:cxn ang="0">
                <a:pos x="connsiteX30429" y="connsiteY30429"/>
              </a:cxn>
              <a:cxn ang="0">
                <a:pos x="connsiteX30430" y="connsiteY30430"/>
              </a:cxn>
              <a:cxn ang="0">
                <a:pos x="connsiteX30431" y="connsiteY30431"/>
              </a:cxn>
              <a:cxn ang="0">
                <a:pos x="connsiteX30432" y="connsiteY30432"/>
              </a:cxn>
              <a:cxn ang="0">
                <a:pos x="connsiteX30433" y="connsiteY30433"/>
              </a:cxn>
              <a:cxn ang="0">
                <a:pos x="connsiteX30434" y="connsiteY30434"/>
              </a:cxn>
              <a:cxn ang="0">
                <a:pos x="connsiteX30435" y="connsiteY30435"/>
              </a:cxn>
              <a:cxn ang="0">
                <a:pos x="connsiteX30436" y="connsiteY30436"/>
              </a:cxn>
              <a:cxn ang="0">
                <a:pos x="connsiteX30437" y="connsiteY30437"/>
              </a:cxn>
              <a:cxn ang="0">
                <a:pos x="connsiteX30438" y="connsiteY30438"/>
              </a:cxn>
              <a:cxn ang="0">
                <a:pos x="connsiteX30439" y="connsiteY30439"/>
              </a:cxn>
              <a:cxn ang="0">
                <a:pos x="connsiteX30440" y="connsiteY30440"/>
              </a:cxn>
              <a:cxn ang="0">
                <a:pos x="connsiteX30441" y="connsiteY30441"/>
              </a:cxn>
              <a:cxn ang="0">
                <a:pos x="connsiteX30442" y="connsiteY30442"/>
              </a:cxn>
              <a:cxn ang="0">
                <a:pos x="connsiteX30443" y="connsiteY30443"/>
              </a:cxn>
              <a:cxn ang="0">
                <a:pos x="connsiteX30444" y="connsiteY30444"/>
              </a:cxn>
              <a:cxn ang="0">
                <a:pos x="connsiteX30445" y="connsiteY30445"/>
              </a:cxn>
              <a:cxn ang="0">
                <a:pos x="connsiteX30446" y="connsiteY30446"/>
              </a:cxn>
              <a:cxn ang="0">
                <a:pos x="connsiteX30447" y="connsiteY30447"/>
              </a:cxn>
              <a:cxn ang="0">
                <a:pos x="connsiteX30448" y="connsiteY30448"/>
              </a:cxn>
              <a:cxn ang="0">
                <a:pos x="connsiteX30449" y="connsiteY30449"/>
              </a:cxn>
              <a:cxn ang="0">
                <a:pos x="connsiteX30450" y="connsiteY30450"/>
              </a:cxn>
              <a:cxn ang="0">
                <a:pos x="connsiteX30451" y="connsiteY30451"/>
              </a:cxn>
              <a:cxn ang="0">
                <a:pos x="connsiteX30452" y="connsiteY30452"/>
              </a:cxn>
              <a:cxn ang="0">
                <a:pos x="connsiteX30453" y="connsiteY30453"/>
              </a:cxn>
              <a:cxn ang="0">
                <a:pos x="connsiteX30454" y="connsiteY30454"/>
              </a:cxn>
              <a:cxn ang="0">
                <a:pos x="connsiteX30455" y="connsiteY30455"/>
              </a:cxn>
              <a:cxn ang="0">
                <a:pos x="connsiteX30456" y="connsiteY30456"/>
              </a:cxn>
              <a:cxn ang="0">
                <a:pos x="connsiteX30457" y="connsiteY30457"/>
              </a:cxn>
              <a:cxn ang="0">
                <a:pos x="connsiteX30458" y="connsiteY30458"/>
              </a:cxn>
              <a:cxn ang="0">
                <a:pos x="connsiteX30459" y="connsiteY30459"/>
              </a:cxn>
              <a:cxn ang="0">
                <a:pos x="connsiteX30460" y="connsiteY30460"/>
              </a:cxn>
              <a:cxn ang="0">
                <a:pos x="connsiteX30461" y="connsiteY30461"/>
              </a:cxn>
              <a:cxn ang="0">
                <a:pos x="connsiteX30462" y="connsiteY30462"/>
              </a:cxn>
              <a:cxn ang="0">
                <a:pos x="connsiteX30463" y="connsiteY30463"/>
              </a:cxn>
              <a:cxn ang="0">
                <a:pos x="connsiteX30464" y="connsiteY30464"/>
              </a:cxn>
              <a:cxn ang="0">
                <a:pos x="connsiteX30465" y="connsiteY30465"/>
              </a:cxn>
              <a:cxn ang="0">
                <a:pos x="connsiteX30466" y="connsiteY30466"/>
              </a:cxn>
              <a:cxn ang="0">
                <a:pos x="connsiteX30467" y="connsiteY30467"/>
              </a:cxn>
              <a:cxn ang="0">
                <a:pos x="connsiteX30468" y="connsiteY30468"/>
              </a:cxn>
              <a:cxn ang="0">
                <a:pos x="connsiteX30469" y="connsiteY30469"/>
              </a:cxn>
              <a:cxn ang="0">
                <a:pos x="connsiteX30470" y="connsiteY30470"/>
              </a:cxn>
              <a:cxn ang="0">
                <a:pos x="connsiteX30471" y="connsiteY30471"/>
              </a:cxn>
              <a:cxn ang="0">
                <a:pos x="connsiteX30472" y="connsiteY30472"/>
              </a:cxn>
              <a:cxn ang="0">
                <a:pos x="connsiteX30473" y="connsiteY30473"/>
              </a:cxn>
              <a:cxn ang="0">
                <a:pos x="connsiteX30474" y="connsiteY30474"/>
              </a:cxn>
              <a:cxn ang="0">
                <a:pos x="connsiteX30475" y="connsiteY30475"/>
              </a:cxn>
              <a:cxn ang="0">
                <a:pos x="connsiteX30476" y="connsiteY30476"/>
              </a:cxn>
              <a:cxn ang="0">
                <a:pos x="connsiteX30477" y="connsiteY30477"/>
              </a:cxn>
              <a:cxn ang="0">
                <a:pos x="connsiteX30478" y="connsiteY30478"/>
              </a:cxn>
              <a:cxn ang="0">
                <a:pos x="connsiteX30479" y="connsiteY30479"/>
              </a:cxn>
              <a:cxn ang="0">
                <a:pos x="connsiteX30480" y="connsiteY30480"/>
              </a:cxn>
              <a:cxn ang="0">
                <a:pos x="connsiteX30481" y="connsiteY30481"/>
              </a:cxn>
              <a:cxn ang="0">
                <a:pos x="connsiteX30482" y="connsiteY30482"/>
              </a:cxn>
              <a:cxn ang="0">
                <a:pos x="connsiteX30483" y="connsiteY30483"/>
              </a:cxn>
              <a:cxn ang="0">
                <a:pos x="connsiteX30484" y="connsiteY30484"/>
              </a:cxn>
              <a:cxn ang="0">
                <a:pos x="connsiteX30485" y="connsiteY30485"/>
              </a:cxn>
              <a:cxn ang="0">
                <a:pos x="connsiteX30486" y="connsiteY30486"/>
              </a:cxn>
              <a:cxn ang="0">
                <a:pos x="connsiteX30487" y="connsiteY30487"/>
              </a:cxn>
              <a:cxn ang="0">
                <a:pos x="connsiteX30488" y="connsiteY30488"/>
              </a:cxn>
              <a:cxn ang="0">
                <a:pos x="connsiteX30489" y="connsiteY30489"/>
              </a:cxn>
              <a:cxn ang="0">
                <a:pos x="connsiteX30490" y="connsiteY30490"/>
              </a:cxn>
              <a:cxn ang="0">
                <a:pos x="connsiteX30491" y="connsiteY30491"/>
              </a:cxn>
              <a:cxn ang="0">
                <a:pos x="connsiteX30492" y="connsiteY30492"/>
              </a:cxn>
              <a:cxn ang="0">
                <a:pos x="connsiteX30493" y="connsiteY30493"/>
              </a:cxn>
              <a:cxn ang="0">
                <a:pos x="connsiteX30494" y="connsiteY30494"/>
              </a:cxn>
              <a:cxn ang="0">
                <a:pos x="connsiteX30495" y="connsiteY30495"/>
              </a:cxn>
              <a:cxn ang="0">
                <a:pos x="connsiteX30496" y="connsiteY30496"/>
              </a:cxn>
              <a:cxn ang="0">
                <a:pos x="connsiteX30497" y="connsiteY30497"/>
              </a:cxn>
              <a:cxn ang="0">
                <a:pos x="connsiteX30498" y="connsiteY30498"/>
              </a:cxn>
              <a:cxn ang="0">
                <a:pos x="connsiteX30499" y="connsiteY30499"/>
              </a:cxn>
              <a:cxn ang="0">
                <a:pos x="connsiteX30500" y="connsiteY30500"/>
              </a:cxn>
              <a:cxn ang="0">
                <a:pos x="connsiteX30501" y="connsiteY30501"/>
              </a:cxn>
              <a:cxn ang="0">
                <a:pos x="connsiteX30502" y="connsiteY30502"/>
              </a:cxn>
              <a:cxn ang="0">
                <a:pos x="connsiteX30503" y="connsiteY30503"/>
              </a:cxn>
              <a:cxn ang="0">
                <a:pos x="connsiteX30504" y="connsiteY30504"/>
              </a:cxn>
              <a:cxn ang="0">
                <a:pos x="connsiteX30505" y="connsiteY30505"/>
              </a:cxn>
              <a:cxn ang="0">
                <a:pos x="connsiteX30506" y="connsiteY30506"/>
              </a:cxn>
              <a:cxn ang="0">
                <a:pos x="connsiteX30507" y="connsiteY30507"/>
              </a:cxn>
              <a:cxn ang="0">
                <a:pos x="connsiteX30508" y="connsiteY30508"/>
              </a:cxn>
              <a:cxn ang="0">
                <a:pos x="connsiteX30509" y="connsiteY30509"/>
              </a:cxn>
              <a:cxn ang="0">
                <a:pos x="connsiteX30510" y="connsiteY30510"/>
              </a:cxn>
              <a:cxn ang="0">
                <a:pos x="connsiteX30511" y="connsiteY30511"/>
              </a:cxn>
              <a:cxn ang="0">
                <a:pos x="connsiteX30512" y="connsiteY30512"/>
              </a:cxn>
              <a:cxn ang="0">
                <a:pos x="connsiteX30513" y="connsiteY30513"/>
              </a:cxn>
              <a:cxn ang="0">
                <a:pos x="connsiteX30514" y="connsiteY30514"/>
              </a:cxn>
              <a:cxn ang="0">
                <a:pos x="connsiteX30515" y="connsiteY30515"/>
              </a:cxn>
              <a:cxn ang="0">
                <a:pos x="connsiteX30516" y="connsiteY30516"/>
              </a:cxn>
              <a:cxn ang="0">
                <a:pos x="connsiteX30517" y="connsiteY30517"/>
              </a:cxn>
              <a:cxn ang="0">
                <a:pos x="connsiteX30518" y="connsiteY30518"/>
              </a:cxn>
              <a:cxn ang="0">
                <a:pos x="connsiteX30519" y="connsiteY30519"/>
              </a:cxn>
              <a:cxn ang="0">
                <a:pos x="connsiteX30520" y="connsiteY30520"/>
              </a:cxn>
              <a:cxn ang="0">
                <a:pos x="connsiteX30521" y="connsiteY30521"/>
              </a:cxn>
              <a:cxn ang="0">
                <a:pos x="connsiteX30522" y="connsiteY30522"/>
              </a:cxn>
              <a:cxn ang="0">
                <a:pos x="connsiteX30523" y="connsiteY30523"/>
              </a:cxn>
              <a:cxn ang="0">
                <a:pos x="connsiteX30524" y="connsiteY30524"/>
              </a:cxn>
              <a:cxn ang="0">
                <a:pos x="connsiteX30525" y="connsiteY30525"/>
              </a:cxn>
              <a:cxn ang="0">
                <a:pos x="connsiteX30526" y="connsiteY30526"/>
              </a:cxn>
              <a:cxn ang="0">
                <a:pos x="connsiteX30527" y="connsiteY30527"/>
              </a:cxn>
              <a:cxn ang="0">
                <a:pos x="connsiteX30528" y="connsiteY30528"/>
              </a:cxn>
              <a:cxn ang="0">
                <a:pos x="connsiteX30529" y="connsiteY30529"/>
              </a:cxn>
              <a:cxn ang="0">
                <a:pos x="connsiteX30530" y="connsiteY30530"/>
              </a:cxn>
              <a:cxn ang="0">
                <a:pos x="connsiteX30531" y="connsiteY30531"/>
              </a:cxn>
              <a:cxn ang="0">
                <a:pos x="connsiteX30532" y="connsiteY30532"/>
              </a:cxn>
              <a:cxn ang="0">
                <a:pos x="connsiteX30533" y="connsiteY30533"/>
              </a:cxn>
              <a:cxn ang="0">
                <a:pos x="connsiteX30534" y="connsiteY30534"/>
              </a:cxn>
              <a:cxn ang="0">
                <a:pos x="connsiteX30535" y="connsiteY30535"/>
              </a:cxn>
              <a:cxn ang="0">
                <a:pos x="connsiteX30536" y="connsiteY30536"/>
              </a:cxn>
              <a:cxn ang="0">
                <a:pos x="connsiteX30537" y="connsiteY30537"/>
              </a:cxn>
              <a:cxn ang="0">
                <a:pos x="connsiteX30538" y="connsiteY30538"/>
              </a:cxn>
              <a:cxn ang="0">
                <a:pos x="connsiteX30539" y="connsiteY30539"/>
              </a:cxn>
              <a:cxn ang="0">
                <a:pos x="connsiteX30540" y="connsiteY30540"/>
              </a:cxn>
              <a:cxn ang="0">
                <a:pos x="connsiteX30541" y="connsiteY30541"/>
              </a:cxn>
              <a:cxn ang="0">
                <a:pos x="connsiteX30542" y="connsiteY30542"/>
              </a:cxn>
              <a:cxn ang="0">
                <a:pos x="connsiteX30543" y="connsiteY30543"/>
              </a:cxn>
              <a:cxn ang="0">
                <a:pos x="connsiteX30544" y="connsiteY30544"/>
              </a:cxn>
              <a:cxn ang="0">
                <a:pos x="connsiteX30545" y="connsiteY30545"/>
              </a:cxn>
              <a:cxn ang="0">
                <a:pos x="connsiteX30546" y="connsiteY30546"/>
              </a:cxn>
              <a:cxn ang="0">
                <a:pos x="connsiteX30547" y="connsiteY30547"/>
              </a:cxn>
              <a:cxn ang="0">
                <a:pos x="connsiteX30548" y="connsiteY30548"/>
              </a:cxn>
              <a:cxn ang="0">
                <a:pos x="connsiteX30549" y="connsiteY30549"/>
              </a:cxn>
              <a:cxn ang="0">
                <a:pos x="connsiteX30550" y="connsiteY30550"/>
              </a:cxn>
              <a:cxn ang="0">
                <a:pos x="connsiteX30551" y="connsiteY30551"/>
              </a:cxn>
              <a:cxn ang="0">
                <a:pos x="connsiteX30552" y="connsiteY30552"/>
              </a:cxn>
              <a:cxn ang="0">
                <a:pos x="connsiteX30553" y="connsiteY30553"/>
              </a:cxn>
              <a:cxn ang="0">
                <a:pos x="connsiteX30554" y="connsiteY30554"/>
              </a:cxn>
              <a:cxn ang="0">
                <a:pos x="connsiteX30555" y="connsiteY30555"/>
              </a:cxn>
              <a:cxn ang="0">
                <a:pos x="connsiteX30556" y="connsiteY30556"/>
              </a:cxn>
              <a:cxn ang="0">
                <a:pos x="connsiteX30557" y="connsiteY30557"/>
              </a:cxn>
              <a:cxn ang="0">
                <a:pos x="connsiteX30558" y="connsiteY30558"/>
              </a:cxn>
              <a:cxn ang="0">
                <a:pos x="connsiteX30559" y="connsiteY30559"/>
              </a:cxn>
              <a:cxn ang="0">
                <a:pos x="connsiteX30560" y="connsiteY30560"/>
              </a:cxn>
              <a:cxn ang="0">
                <a:pos x="connsiteX30561" y="connsiteY30561"/>
              </a:cxn>
              <a:cxn ang="0">
                <a:pos x="connsiteX30562" y="connsiteY30562"/>
              </a:cxn>
              <a:cxn ang="0">
                <a:pos x="connsiteX30563" y="connsiteY30563"/>
              </a:cxn>
              <a:cxn ang="0">
                <a:pos x="connsiteX30564" y="connsiteY30564"/>
              </a:cxn>
              <a:cxn ang="0">
                <a:pos x="connsiteX30565" y="connsiteY30565"/>
              </a:cxn>
              <a:cxn ang="0">
                <a:pos x="connsiteX30566" y="connsiteY30566"/>
              </a:cxn>
              <a:cxn ang="0">
                <a:pos x="connsiteX30567" y="connsiteY30567"/>
              </a:cxn>
              <a:cxn ang="0">
                <a:pos x="connsiteX30568" y="connsiteY30568"/>
              </a:cxn>
              <a:cxn ang="0">
                <a:pos x="connsiteX30569" y="connsiteY30569"/>
              </a:cxn>
              <a:cxn ang="0">
                <a:pos x="connsiteX30570" y="connsiteY30570"/>
              </a:cxn>
              <a:cxn ang="0">
                <a:pos x="connsiteX30571" y="connsiteY30571"/>
              </a:cxn>
              <a:cxn ang="0">
                <a:pos x="connsiteX30572" y="connsiteY30572"/>
              </a:cxn>
              <a:cxn ang="0">
                <a:pos x="connsiteX30573" y="connsiteY30573"/>
              </a:cxn>
              <a:cxn ang="0">
                <a:pos x="connsiteX30574" y="connsiteY30574"/>
              </a:cxn>
              <a:cxn ang="0">
                <a:pos x="connsiteX30575" y="connsiteY30575"/>
              </a:cxn>
              <a:cxn ang="0">
                <a:pos x="connsiteX30576" y="connsiteY30576"/>
              </a:cxn>
              <a:cxn ang="0">
                <a:pos x="connsiteX30577" y="connsiteY30577"/>
              </a:cxn>
              <a:cxn ang="0">
                <a:pos x="connsiteX30578" y="connsiteY30578"/>
              </a:cxn>
              <a:cxn ang="0">
                <a:pos x="connsiteX30579" y="connsiteY30579"/>
              </a:cxn>
              <a:cxn ang="0">
                <a:pos x="connsiteX30580" y="connsiteY30580"/>
              </a:cxn>
              <a:cxn ang="0">
                <a:pos x="connsiteX30581" y="connsiteY30581"/>
              </a:cxn>
              <a:cxn ang="0">
                <a:pos x="connsiteX30582" y="connsiteY30582"/>
              </a:cxn>
              <a:cxn ang="0">
                <a:pos x="connsiteX30583" y="connsiteY30583"/>
              </a:cxn>
              <a:cxn ang="0">
                <a:pos x="connsiteX30584" y="connsiteY30584"/>
              </a:cxn>
              <a:cxn ang="0">
                <a:pos x="connsiteX30585" y="connsiteY30585"/>
              </a:cxn>
              <a:cxn ang="0">
                <a:pos x="connsiteX30586" y="connsiteY30586"/>
              </a:cxn>
              <a:cxn ang="0">
                <a:pos x="connsiteX30587" y="connsiteY30587"/>
              </a:cxn>
              <a:cxn ang="0">
                <a:pos x="connsiteX30588" y="connsiteY30588"/>
              </a:cxn>
              <a:cxn ang="0">
                <a:pos x="connsiteX30589" y="connsiteY30589"/>
              </a:cxn>
              <a:cxn ang="0">
                <a:pos x="connsiteX30590" y="connsiteY30590"/>
              </a:cxn>
              <a:cxn ang="0">
                <a:pos x="connsiteX30591" y="connsiteY30591"/>
              </a:cxn>
              <a:cxn ang="0">
                <a:pos x="connsiteX30592" y="connsiteY30592"/>
              </a:cxn>
              <a:cxn ang="0">
                <a:pos x="connsiteX30593" y="connsiteY30593"/>
              </a:cxn>
              <a:cxn ang="0">
                <a:pos x="connsiteX30594" y="connsiteY30594"/>
              </a:cxn>
              <a:cxn ang="0">
                <a:pos x="connsiteX30595" y="connsiteY30595"/>
              </a:cxn>
              <a:cxn ang="0">
                <a:pos x="connsiteX30596" y="connsiteY30596"/>
              </a:cxn>
              <a:cxn ang="0">
                <a:pos x="connsiteX30597" y="connsiteY30597"/>
              </a:cxn>
              <a:cxn ang="0">
                <a:pos x="connsiteX30598" y="connsiteY30598"/>
              </a:cxn>
              <a:cxn ang="0">
                <a:pos x="connsiteX30599" y="connsiteY30599"/>
              </a:cxn>
              <a:cxn ang="0">
                <a:pos x="connsiteX30600" y="connsiteY30600"/>
              </a:cxn>
              <a:cxn ang="0">
                <a:pos x="connsiteX30601" y="connsiteY30601"/>
              </a:cxn>
              <a:cxn ang="0">
                <a:pos x="connsiteX30602" y="connsiteY30602"/>
              </a:cxn>
              <a:cxn ang="0">
                <a:pos x="connsiteX30603" y="connsiteY30603"/>
              </a:cxn>
              <a:cxn ang="0">
                <a:pos x="connsiteX30604" y="connsiteY30604"/>
              </a:cxn>
              <a:cxn ang="0">
                <a:pos x="connsiteX30605" y="connsiteY30605"/>
              </a:cxn>
              <a:cxn ang="0">
                <a:pos x="connsiteX30606" y="connsiteY30606"/>
              </a:cxn>
              <a:cxn ang="0">
                <a:pos x="connsiteX30607" y="connsiteY30607"/>
              </a:cxn>
              <a:cxn ang="0">
                <a:pos x="connsiteX30608" y="connsiteY30608"/>
              </a:cxn>
              <a:cxn ang="0">
                <a:pos x="connsiteX30609" y="connsiteY30609"/>
              </a:cxn>
              <a:cxn ang="0">
                <a:pos x="connsiteX30610" y="connsiteY30610"/>
              </a:cxn>
              <a:cxn ang="0">
                <a:pos x="connsiteX30611" y="connsiteY30611"/>
              </a:cxn>
              <a:cxn ang="0">
                <a:pos x="connsiteX30612" y="connsiteY30612"/>
              </a:cxn>
              <a:cxn ang="0">
                <a:pos x="connsiteX30613" y="connsiteY30613"/>
              </a:cxn>
              <a:cxn ang="0">
                <a:pos x="connsiteX30614" y="connsiteY30614"/>
              </a:cxn>
              <a:cxn ang="0">
                <a:pos x="connsiteX30615" y="connsiteY30615"/>
              </a:cxn>
              <a:cxn ang="0">
                <a:pos x="connsiteX30616" y="connsiteY30616"/>
              </a:cxn>
              <a:cxn ang="0">
                <a:pos x="connsiteX30617" y="connsiteY30617"/>
              </a:cxn>
              <a:cxn ang="0">
                <a:pos x="connsiteX30618" y="connsiteY30618"/>
              </a:cxn>
              <a:cxn ang="0">
                <a:pos x="connsiteX30619" y="connsiteY30619"/>
              </a:cxn>
              <a:cxn ang="0">
                <a:pos x="connsiteX30620" y="connsiteY30620"/>
              </a:cxn>
              <a:cxn ang="0">
                <a:pos x="connsiteX30621" y="connsiteY30621"/>
              </a:cxn>
              <a:cxn ang="0">
                <a:pos x="connsiteX30622" y="connsiteY30622"/>
              </a:cxn>
              <a:cxn ang="0">
                <a:pos x="connsiteX30623" y="connsiteY30623"/>
              </a:cxn>
              <a:cxn ang="0">
                <a:pos x="connsiteX30624" y="connsiteY30624"/>
              </a:cxn>
              <a:cxn ang="0">
                <a:pos x="connsiteX30625" y="connsiteY30625"/>
              </a:cxn>
              <a:cxn ang="0">
                <a:pos x="connsiteX30626" y="connsiteY30626"/>
              </a:cxn>
              <a:cxn ang="0">
                <a:pos x="connsiteX30627" y="connsiteY30627"/>
              </a:cxn>
              <a:cxn ang="0">
                <a:pos x="connsiteX30628" y="connsiteY30628"/>
              </a:cxn>
              <a:cxn ang="0">
                <a:pos x="connsiteX30629" y="connsiteY30629"/>
              </a:cxn>
              <a:cxn ang="0">
                <a:pos x="connsiteX30630" y="connsiteY30630"/>
              </a:cxn>
              <a:cxn ang="0">
                <a:pos x="connsiteX30631" y="connsiteY30631"/>
              </a:cxn>
              <a:cxn ang="0">
                <a:pos x="connsiteX30632" y="connsiteY30632"/>
              </a:cxn>
              <a:cxn ang="0">
                <a:pos x="connsiteX30633" y="connsiteY30633"/>
              </a:cxn>
              <a:cxn ang="0">
                <a:pos x="connsiteX30634" y="connsiteY30634"/>
              </a:cxn>
              <a:cxn ang="0">
                <a:pos x="connsiteX30635" y="connsiteY30635"/>
              </a:cxn>
              <a:cxn ang="0">
                <a:pos x="connsiteX30636" y="connsiteY30636"/>
              </a:cxn>
              <a:cxn ang="0">
                <a:pos x="connsiteX30637" y="connsiteY30637"/>
              </a:cxn>
              <a:cxn ang="0">
                <a:pos x="connsiteX30638" y="connsiteY30638"/>
              </a:cxn>
              <a:cxn ang="0">
                <a:pos x="connsiteX30639" y="connsiteY30639"/>
              </a:cxn>
              <a:cxn ang="0">
                <a:pos x="connsiteX30640" y="connsiteY30640"/>
              </a:cxn>
              <a:cxn ang="0">
                <a:pos x="connsiteX30641" y="connsiteY30641"/>
              </a:cxn>
              <a:cxn ang="0">
                <a:pos x="connsiteX30642" y="connsiteY30642"/>
              </a:cxn>
              <a:cxn ang="0">
                <a:pos x="connsiteX30643" y="connsiteY30643"/>
              </a:cxn>
              <a:cxn ang="0">
                <a:pos x="connsiteX30644" y="connsiteY30644"/>
              </a:cxn>
              <a:cxn ang="0">
                <a:pos x="connsiteX30645" y="connsiteY30645"/>
              </a:cxn>
              <a:cxn ang="0">
                <a:pos x="connsiteX30646" y="connsiteY30646"/>
              </a:cxn>
              <a:cxn ang="0">
                <a:pos x="connsiteX30647" y="connsiteY30647"/>
              </a:cxn>
              <a:cxn ang="0">
                <a:pos x="connsiteX30648" y="connsiteY30648"/>
              </a:cxn>
              <a:cxn ang="0">
                <a:pos x="connsiteX30649" y="connsiteY30649"/>
              </a:cxn>
              <a:cxn ang="0">
                <a:pos x="connsiteX30650" y="connsiteY30650"/>
              </a:cxn>
              <a:cxn ang="0">
                <a:pos x="connsiteX30651" y="connsiteY30651"/>
              </a:cxn>
              <a:cxn ang="0">
                <a:pos x="connsiteX30652" y="connsiteY30652"/>
              </a:cxn>
              <a:cxn ang="0">
                <a:pos x="connsiteX30653" y="connsiteY30653"/>
              </a:cxn>
              <a:cxn ang="0">
                <a:pos x="connsiteX30654" y="connsiteY30654"/>
              </a:cxn>
              <a:cxn ang="0">
                <a:pos x="connsiteX30655" y="connsiteY30655"/>
              </a:cxn>
              <a:cxn ang="0">
                <a:pos x="connsiteX30656" y="connsiteY30656"/>
              </a:cxn>
              <a:cxn ang="0">
                <a:pos x="connsiteX30657" y="connsiteY30657"/>
              </a:cxn>
              <a:cxn ang="0">
                <a:pos x="connsiteX30658" y="connsiteY30658"/>
              </a:cxn>
              <a:cxn ang="0">
                <a:pos x="connsiteX30659" y="connsiteY30659"/>
              </a:cxn>
              <a:cxn ang="0">
                <a:pos x="connsiteX30660" y="connsiteY30660"/>
              </a:cxn>
              <a:cxn ang="0">
                <a:pos x="connsiteX30661" y="connsiteY30661"/>
              </a:cxn>
              <a:cxn ang="0">
                <a:pos x="connsiteX30662" y="connsiteY30662"/>
              </a:cxn>
              <a:cxn ang="0">
                <a:pos x="connsiteX30663" y="connsiteY30663"/>
              </a:cxn>
              <a:cxn ang="0">
                <a:pos x="connsiteX30664" y="connsiteY30664"/>
              </a:cxn>
              <a:cxn ang="0">
                <a:pos x="connsiteX30665" y="connsiteY30665"/>
              </a:cxn>
              <a:cxn ang="0">
                <a:pos x="connsiteX30666" y="connsiteY30666"/>
              </a:cxn>
              <a:cxn ang="0">
                <a:pos x="connsiteX30667" y="connsiteY30667"/>
              </a:cxn>
              <a:cxn ang="0">
                <a:pos x="connsiteX30668" y="connsiteY30668"/>
              </a:cxn>
              <a:cxn ang="0">
                <a:pos x="connsiteX30669" y="connsiteY30669"/>
              </a:cxn>
              <a:cxn ang="0">
                <a:pos x="connsiteX30670" y="connsiteY30670"/>
              </a:cxn>
              <a:cxn ang="0">
                <a:pos x="connsiteX30671" y="connsiteY30671"/>
              </a:cxn>
              <a:cxn ang="0">
                <a:pos x="connsiteX30672" y="connsiteY30672"/>
              </a:cxn>
              <a:cxn ang="0">
                <a:pos x="connsiteX30673" y="connsiteY30673"/>
              </a:cxn>
              <a:cxn ang="0">
                <a:pos x="connsiteX30674" y="connsiteY30674"/>
              </a:cxn>
              <a:cxn ang="0">
                <a:pos x="connsiteX30675" y="connsiteY30675"/>
              </a:cxn>
              <a:cxn ang="0">
                <a:pos x="connsiteX30676" y="connsiteY30676"/>
              </a:cxn>
              <a:cxn ang="0">
                <a:pos x="connsiteX30677" y="connsiteY30677"/>
              </a:cxn>
              <a:cxn ang="0">
                <a:pos x="connsiteX30678" y="connsiteY30678"/>
              </a:cxn>
              <a:cxn ang="0">
                <a:pos x="connsiteX30679" y="connsiteY30679"/>
              </a:cxn>
              <a:cxn ang="0">
                <a:pos x="connsiteX30680" y="connsiteY30680"/>
              </a:cxn>
              <a:cxn ang="0">
                <a:pos x="connsiteX30681" y="connsiteY30681"/>
              </a:cxn>
              <a:cxn ang="0">
                <a:pos x="connsiteX30682" y="connsiteY30682"/>
              </a:cxn>
              <a:cxn ang="0">
                <a:pos x="connsiteX30683" y="connsiteY30683"/>
              </a:cxn>
              <a:cxn ang="0">
                <a:pos x="connsiteX30684" y="connsiteY30684"/>
              </a:cxn>
              <a:cxn ang="0">
                <a:pos x="connsiteX30685" y="connsiteY30685"/>
              </a:cxn>
              <a:cxn ang="0">
                <a:pos x="connsiteX30686" y="connsiteY30686"/>
              </a:cxn>
              <a:cxn ang="0">
                <a:pos x="connsiteX30687" y="connsiteY30687"/>
              </a:cxn>
              <a:cxn ang="0">
                <a:pos x="connsiteX30688" y="connsiteY30688"/>
              </a:cxn>
              <a:cxn ang="0">
                <a:pos x="connsiteX30689" y="connsiteY30689"/>
              </a:cxn>
              <a:cxn ang="0">
                <a:pos x="connsiteX30690" y="connsiteY30690"/>
              </a:cxn>
              <a:cxn ang="0">
                <a:pos x="connsiteX30691" y="connsiteY30691"/>
              </a:cxn>
              <a:cxn ang="0">
                <a:pos x="connsiteX30692" y="connsiteY30692"/>
              </a:cxn>
              <a:cxn ang="0">
                <a:pos x="connsiteX30693" y="connsiteY30693"/>
              </a:cxn>
              <a:cxn ang="0">
                <a:pos x="connsiteX30694" y="connsiteY30694"/>
              </a:cxn>
              <a:cxn ang="0">
                <a:pos x="connsiteX30695" y="connsiteY30695"/>
              </a:cxn>
              <a:cxn ang="0">
                <a:pos x="connsiteX30696" y="connsiteY30696"/>
              </a:cxn>
              <a:cxn ang="0">
                <a:pos x="connsiteX30697" y="connsiteY30697"/>
              </a:cxn>
              <a:cxn ang="0">
                <a:pos x="connsiteX30698" y="connsiteY30698"/>
              </a:cxn>
              <a:cxn ang="0">
                <a:pos x="connsiteX30699" y="connsiteY30699"/>
              </a:cxn>
              <a:cxn ang="0">
                <a:pos x="connsiteX30700" y="connsiteY30700"/>
              </a:cxn>
              <a:cxn ang="0">
                <a:pos x="connsiteX30701" y="connsiteY30701"/>
              </a:cxn>
              <a:cxn ang="0">
                <a:pos x="connsiteX30702" y="connsiteY30702"/>
              </a:cxn>
              <a:cxn ang="0">
                <a:pos x="connsiteX30703" y="connsiteY30703"/>
              </a:cxn>
              <a:cxn ang="0">
                <a:pos x="connsiteX30704" y="connsiteY30704"/>
              </a:cxn>
              <a:cxn ang="0">
                <a:pos x="connsiteX30705" y="connsiteY30705"/>
              </a:cxn>
              <a:cxn ang="0">
                <a:pos x="connsiteX30706" y="connsiteY30706"/>
              </a:cxn>
              <a:cxn ang="0">
                <a:pos x="connsiteX30707" y="connsiteY30707"/>
              </a:cxn>
              <a:cxn ang="0">
                <a:pos x="connsiteX30708" y="connsiteY30708"/>
              </a:cxn>
              <a:cxn ang="0">
                <a:pos x="connsiteX30709" y="connsiteY30709"/>
              </a:cxn>
              <a:cxn ang="0">
                <a:pos x="connsiteX30710" y="connsiteY30710"/>
              </a:cxn>
              <a:cxn ang="0">
                <a:pos x="connsiteX30711" y="connsiteY30711"/>
              </a:cxn>
              <a:cxn ang="0">
                <a:pos x="connsiteX30712" y="connsiteY30712"/>
              </a:cxn>
              <a:cxn ang="0">
                <a:pos x="connsiteX30713" y="connsiteY30713"/>
              </a:cxn>
              <a:cxn ang="0">
                <a:pos x="connsiteX30714" y="connsiteY30714"/>
              </a:cxn>
              <a:cxn ang="0">
                <a:pos x="connsiteX30715" y="connsiteY30715"/>
              </a:cxn>
              <a:cxn ang="0">
                <a:pos x="connsiteX30716" y="connsiteY30716"/>
              </a:cxn>
              <a:cxn ang="0">
                <a:pos x="connsiteX30717" y="connsiteY30717"/>
              </a:cxn>
              <a:cxn ang="0">
                <a:pos x="connsiteX30718" y="connsiteY30718"/>
              </a:cxn>
              <a:cxn ang="0">
                <a:pos x="connsiteX30719" y="connsiteY30719"/>
              </a:cxn>
              <a:cxn ang="0">
                <a:pos x="connsiteX30720" y="connsiteY30720"/>
              </a:cxn>
              <a:cxn ang="0">
                <a:pos x="connsiteX30721" y="connsiteY30721"/>
              </a:cxn>
              <a:cxn ang="0">
                <a:pos x="connsiteX30722" y="connsiteY30722"/>
              </a:cxn>
              <a:cxn ang="0">
                <a:pos x="connsiteX30723" y="connsiteY30723"/>
              </a:cxn>
              <a:cxn ang="0">
                <a:pos x="connsiteX30724" y="connsiteY30724"/>
              </a:cxn>
              <a:cxn ang="0">
                <a:pos x="connsiteX30725" y="connsiteY30725"/>
              </a:cxn>
              <a:cxn ang="0">
                <a:pos x="connsiteX30726" y="connsiteY30726"/>
              </a:cxn>
              <a:cxn ang="0">
                <a:pos x="connsiteX30727" y="connsiteY30727"/>
              </a:cxn>
              <a:cxn ang="0">
                <a:pos x="connsiteX30728" y="connsiteY30728"/>
              </a:cxn>
              <a:cxn ang="0">
                <a:pos x="connsiteX30729" y="connsiteY30729"/>
              </a:cxn>
              <a:cxn ang="0">
                <a:pos x="connsiteX30730" y="connsiteY30730"/>
              </a:cxn>
              <a:cxn ang="0">
                <a:pos x="connsiteX30731" y="connsiteY30731"/>
              </a:cxn>
              <a:cxn ang="0">
                <a:pos x="connsiteX30732" y="connsiteY30732"/>
              </a:cxn>
              <a:cxn ang="0">
                <a:pos x="connsiteX30733" y="connsiteY30733"/>
              </a:cxn>
              <a:cxn ang="0">
                <a:pos x="connsiteX30734" y="connsiteY30734"/>
              </a:cxn>
              <a:cxn ang="0">
                <a:pos x="connsiteX30735" y="connsiteY30735"/>
              </a:cxn>
              <a:cxn ang="0">
                <a:pos x="connsiteX30736" y="connsiteY30736"/>
              </a:cxn>
              <a:cxn ang="0">
                <a:pos x="connsiteX30737" y="connsiteY30737"/>
              </a:cxn>
              <a:cxn ang="0">
                <a:pos x="connsiteX30738" y="connsiteY30738"/>
              </a:cxn>
              <a:cxn ang="0">
                <a:pos x="connsiteX30739" y="connsiteY30739"/>
              </a:cxn>
              <a:cxn ang="0">
                <a:pos x="connsiteX30740" y="connsiteY30740"/>
              </a:cxn>
              <a:cxn ang="0">
                <a:pos x="connsiteX30741" y="connsiteY30741"/>
              </a:cxn>
              <a:cxn ang="0">
                <a:pos x="connsiteX30742" y="connsiteY30742"/>
              </a:cxn>
              <a:cxn ang="0">
                <a:pos x="connsiteX30743" y="connsiteY30743"/>
              </a:cxn>
              <a:cxn ang="0">
                <a:pos x="connsiteX30744" y="connsiteY30744"/>
              </a:cxn>
              <a:cxn ang="0">
                <a:pos x="connsiteX30745" y="connsiteY30745"/>
              </a:cxn>
              <a:cxn ang="0">
                <a:pos x="connsiteX30746" y="connsiteY30746"/>
              </a:cxn>
              <a:cxn ang="0">
                <a:pos x="connsiteX30747" y="connsiteY30747"/>
              </a:cxn>
              <a:cxn ang="0">
                <a:pos x="connsiteX30748" y="connsiteY30748"/>
              </a:cxn>
              <a:cxn ang="0">
                <a:pos x="connsiteX30749" y="connsiteY30749"/>
              </a:cxn>
              <a:cxn ang="0">
                <a:pos x="connsiteX30750" y="connsiteY30750"/>
              </a:cxn>
              <a:cxn ang="0">
                <a:pos x="connsiteX30751" y="connsiteY30751"/>
              </a:cxn>
              <a:cxn ang="0">
                <a:pos x="connsiteX30752" y="connsiteY30752"/>
              </a:cxn>
              <a:cxn ang="0">
                <a:pos x="connsiteX30753" y="connsiteY30753"/>
              </a:cxn>
              <a:cxn ang="0">
                <a:pos x="connsiteX30754" y="connsiteY30754"/>
              </a:cxn>
              <a:cxn ang="0">
                <a:pos x="connsiteX30755" y="connsiteY30755"/>
              </a:cxn>
              <a:cxn ang="0">
                <a:pos x="connsiteX30756" y="connsiteY30756"/>
              </a:cxn>
              <a:cxn ang="0">
                <a:pos x="connsiteX30757" y="connsiteY30757"/>
              </a:cxn>
              <a:cxn ang="0">
                <a:pos x="connsiteX30758" y="connsiteY30758"/>
              </a:cxn>
              <a:cxn ang="0">
                <a:pos x="connsiteX30759" y="connsiteY30759"/>
              </a:cxn>
              <a:cxn ang="0">
                <a:pos x="connsiteX30760" y="connsiteY30760"/>
              </a:cxn>
              <a:cxn ang="0">
                <a:pos x="connsiteX30761" y="connsiteY30761"/>
              </a:cxn>
              <a:cxn ang="0">
                <a:pos x="connsiteX30762" y="connsiteY30762"/>
              </a:cxn>
              <a:cxn ang="0">
                <a:pos x="connsiteX30763" y="connsiteY30763"/>
              </a:cxn>
              <a:cxn ang="0">
                <a:pos x="connsiteX30764" y="connsiteY30764"/>
              </a:cxn>
              <a:cxn ang="0">
                <a:pos x="connsiteX30765" y="connsiteY30765"/>
              </a:cxn>
              <a:cxn ang="0">
                <a:pos x="connsiteX30766" y="connsiteY30766"/>
              </a:cxn>
              <a:cxn ang="0">
                <a:pos x="connsiteX30767" y="connsiteY30767"/>
              </a:cxn>
              <a:cxn ang="0">
                <a:pos x="connsiteX30768" y="connsiteY30768"/>
              </a:cxn>
              <a:cxn ang="0">
                <a:pos x="connsiteX30769" y="connsiteY30769"/>
              </a:cxn>
              <a:cxn ang="0">
                <a:pos x="connsiteX30770" y="connsiteY30770"/>
              </a:cxn>
              <a:cxn ang="0">
                <a:pos x="connsiteX30771" y="connsiteY30771"/>
              </a:cxn>
              <a:cxn ang="0">
                <a:pos x="connsiteX30772" y="connsiteY30772"/>
              </a:cxn>
              <a:cxn ang="0">
                <a:pos x="connsiteX30773" y="connsiteY30773"/>
              </a:cxn>
              <a:cxn ang="0">
                <a:pos x="connsiteX30774" y="connsiteY30774"/>
              </a:cxn>
              <a:cxn ang="0">
                <a:pos x="connsiteX30775" y="connsiteY30775"/>
              </a:cxn>
              <a:cxn ang="0">
                <a:pos x="connsiteX30776" y="connsiteY30776"/>
              </a:cxn>
              <a:cxn ang="0">
                <a:pos x="connsiteX30777" y="connsiteY30777"/>
              </a:cxn>
              <a:cxn ang="0">
                <a:pos x="connsiteX30778" y="connsiteY30778"/>
              </a:cxn>
              <a:cxn ang="0">
                <a:pos x="connsiteX30779" y="connsiteY30779"/>
              </a:cxn>
              <a:cxn ang="0">
                <a:pos x="connsiteX30780" y="connsiteY30780"/>
              </a:cxn>
              <a:cxn ang="0">
                <a:pos x="connsiteX30781" y="connsiteY30781"/>
              </a:cxn>
              <a:cxn ang="0">
                <a:pos x="connsiteX30782" y="connsiteY30782"/>
              </a:cxn>
              <a:cxn ang="0">
                <a:pos x="connsiteX30783" y="connsiteY30783"/>
              </a:cxn>
              <a:cxn ang="0">
                <a:pos x="connsiteX30784" y="connsiteY30784"/>
              </a:cxn>
              <a:cxn ang="0">
                <a:pos x="connsiteX30785" y="connsiteY30785"/>
              </a:cxn>
              <a:cxn ang="0">
                <a:pos x="connsiteX30786" y="connsiteY30786"/>
              </a:cxn>
              <a:cxn ang="0">
                <a:pos x="connsiteX30787" y="connsiteY30787"/>
              </a:cxn>
              <a:cxn ang="0">
                <a:pos x="connsiteX30788" y="connsiteY30788"/>
              </a:cxn>
              <a:cxn ang="0">
                <a:pos x="connsiteX30789" y="connsiteY30789"/>
              </a:cxn>
              <a:cxn ang="0">
                <a:pos x="connsiteX30790" y="connsiteY30790"/>
              </a:cxn>
              <a:cxn ang="0">
                <a:pos x="connsiteX30791" y="connsiteY30791"/>
              </a:cxn>
              <a:cxn ang="0">
                <a:pos x="connsiteX30792" y="connsiteY30792"/>
              </a:cxn>
              <a:cxn ang="0">
                <a:pos x="connsiteX30793" y="connsiteY30793"/>
              </a:cxn>
              <a:cxn ang="0">
                <a:pos x="connsiteX30794" y="connsiteY30794"/>
              </a:cxn>
              <a:cxn ang="0">
                <a:pos x="connsiteX30795" y="connsiteY30795"/>
              </a:cxn>
              <a:cxn ang="0">
                <a:pos x="connsiteX30796" y="connsiteY30796"/>
              </a:cxn>
              <a:cxn ang="0">
                <a:pos x="connsiteX30797" y="connsiteY30797"/>
              </a:cxn>
              <a:cxn ang="0">
                <a:pos x="connsiteX30798" y="connsiteY30798"/>
              </a:cxn>
              <a:cxn ang="0">
                <a:pos x="connsiteX30799" y="connsiteY30799"/>
              </a:cxn>
              <a:cxn ang="0">
                <a:pos x="connsiteX30800" y="connsiteY30800"/>
              </a:cxn>
              <a:cxn ang="0">
                <a:pos x="connsiteX30801" y="connsiteY30801"/>
              </a:cxn>
              <a:cxn ang="0">
                <a:pos x="connsiteX30802" y="connsiteY30802"/>
              </a:cxn>
              <a:cxn ang="0">
                <a:pos x="connsiteX30803" y="connsiteY30803"/>
              </a:cxn>
              <a:cxn ang="0">
                <a:pos x="connsiteX30804" y="connsiteY30804"/>
              </a:cxn>
              <a:cxn ang="0">
                <a:pos x="connsiteX30805" y="connsiteY30805"/>
              </a:cxn>
              <a:cxn ang="0">
                <a:pos x="connsiteX30806" y="connsiteY30806"/>
              </a:cxn>
              <a:cxn ang="0">
                <a:pos x="connsiteX30807" y="connsiteY30807"/>
              </a:cxn>
              <a:cxn ang="0">
                <a:pos x="connsiteX30808" y="connsiteY30808"/>
              </a:cxn>
              <a:cxn ang="0">
                <a:pos x="connsiteX30809" y="connsiteY30809"/>
              </a:cxn>
              <a:cxn ang="0">
                <a:pos x="connsiteX30810" y="connsiteY30810"/>
              </a:cxn>
              <a:cxn ang="0">
                <a:pos x="connsiteX30811" y="connsiteY30811"/>
              </a:cxn>
              <a:cxn ang="0">
                <a:pos x="connsiteX30812" y="connsiteY30812"/>
              </a:cxn>
              <a:cxn ang="0">
                <a:pos x="connsiteX30813" y="connsiteY30813"/>
              </a:cxn>
              <a:cxn ang="0">
                <a:pos x="connsiteX30814" y="connsiteY30814"/>
              </a:cxn>
              <a:cxn ang="0">
                <a:pos x="connsiteX30815" y="connsiteY30815"/>
              </a:cxn>
              <a:cxn ang="0">
                <a:pos x="connsiteX30816" y="connsiteY30816"/>
              </a:cxn>
              <a:cxn ang="0">
                <a:pos x="connsiteX30817" y="connsiteY30817"/>
              </a:cxn>
              <a:cxn ang="0">
                <a:pos x="connsiteX30818" y="connsiteY30818"/>
              </a:cxn>
              <a:cxn ang="0">
                <a:pos x="connsiteX30819" y="connsiteY30819"/>
              </a:cxn>
              <a:cxn ang="0">
                <a:pos x="connsiteX30820" y="connsiteY30820"/>
              </a:cxn>
              <a:cxn ang="0">
                <a:pos x="connsiteX30821" y="connsiteY30821"/>
              </a:cxn>
              <a:cxn ang="0">
                <a:pos x="connsiteX30822" y="connsiteY30822"/>
              </a:cxn>
              <a:cxn ang="0">
                <a:pos x="connsiteX30823" y="connsiteY30823"/>
              </a:cxn>
              <a:cxn ang="0">
                <a:pos x="connsiteX30824" y="connsiteY30824"/>
              </a:cxn>
              <a:cxn ang="0">
                <a:pos x="connsiteX30825" y="connsiteY30825"/>
              </a:cxn>
              <a:cxn ang="0">
                <a:pos x="connsiteX30826" y="connsiteY30826"/>
              </a:cxn>
              <a:cxn ang="0">
                <a:pos x="connsiteX30827" y="connsiteY30827"/>
              </a:cxn>
              <a:cxn ang="0">
                <a:pos x="connsiteX30828" y="connsiteY30828"/>
              </a:cxn>
              <a:cxn ang="0">
                <a:pos x="connsiteX30829" y="connsiteY30829"/>
              </a:cxn>
              <a:cxn ang="0">
                <a:pos x="connsiteX30830" y="connsiteY30830"/>
              </a:cxn>
              <a:cxn ang="0">
                <a:pos x="connsiteX30831" y="connsiteY30831"/>
              </a:cxn>
              <a:cxn ang="0">
                <a:pos x="connsiteX30832" y="connsiteY30832"/>
              </a:cxn>
              <a:cxn ang="0">
                <a:pos x="connsiteX30833" y="connsiteY30833"/>
              </a:cxn>
              <a:cxn ang="0">
                <a:pos x="connsiteX30834" y="connsiteY30834"/>
              </a:cxn>
              <a:cxn ang="0">
                <a:pos x="connsiteX30835" y="connsiteY30835"/>
              </a:cxn>
              <a:cxn ang="0">
                <a:pos x="connsiteX30836" y="connsiteY30836"/>
              </a:cxn>
              <a:cxn ang="0">
                <a:pos x="connsiteX30837" y="connsiteY30837"/>
              </a:cxn>
              <a:cxn ang="0">
                <a:pos x="connsiteX30838" y="connsiteY30838"/>
              </a:cxn>
              <a:cxn ang="0">
                <a:pos x="connsiteX30839" y="connsiteY30839"/>
              </a:cxn>
              <a:cxn ang="0">
                <a:pos x="connsiteX30840" y="connsiteY30840"/>
              </a:cxn>
              <a:cxn ang="0">
                <a:pos x="connsiteX30841" y="connsiteY30841"/>
              </a:cxn>
              <a:cxn ang="0">
                <a:pos x="connsiteX30842" y="connsiteY30842"/>
              </a:cxn>
              <a:cxn ang="0">
                <a:pos x="connsiteX30843" y="connsiteY30843"/>
              </a:cxn>
              <a:cxn ang="0">
                <a:pos x="connsiteX30844" y="connsiteY30844"/>
              </a:cxn>
              <a:cxn ang="0">
                <a:pos x="connsiteX30845" y="connsiteY30845"/>
              </a:cxn>
              <a:cxn ang="0">
                <a:pos x="connsiteX30846" y="connsiteY30846"/>
              </a:cxn>
              <a:cxn ang="0">
                <a:pos x="connsiteX30847" y="connsiteY30847"/>
              </a:cxn>
              <a:cxn ang="0">
                <a:pos x="connsiteX30848" y="connsiteY30848"/>
              </a:cxn>
              <a:cxn ang="0">
                <a:pos x="connsiteX30849" y="connsiteY30849"/>
              </a:cxn>
              <a:cxn ang="0">
                <a:pos x="connsiteX30850" y="connsiteY30850"/>
              </a:cxn>
              <a:cxn ang="0">
                <a:pos x="connsiteX30851" y="connsiteY30851"/>
              </a:cxn>
              <a:cxn ang="0">
                <a:pos x="connsiteX30852" y="connsiteY30852"/>
              </a:cxn>
              <a:cxn ang="0">
                <a:pos x="connsiteX30853" y="connsiteY30853"/>
              </a:cxn>
              <a:cxn ang="0">
                <a:pos x="connsiteX30854" y="connsiteY30854"/>
              </a:cxn>
              <a:cxn ang="0">
                <a:pos x="connsiteX30855" y="connsiteY30855"/>
              </a:cxn>
              <a:cxn ang="0">
                <a:pos x="connsiteX30856" y="connsiteY30856"/>
              </a:cxn>
              <a:cxn ang="0">
                <a:pos x="connsiteX30857" y="connsiteY30857"/>
              </a:cxn>
              <a:cxn ang="0">
                <a:pos x="connsiteX30858" y="connsiteY30858"/>
              </a:cxn>
              <a:cxn ang="0">
                <a:pos x="connsiteX30859" y="connsiteY30859"/>
              </a:cxn>
              <a:cxn ang="0">
                <a:pos x="connsiteX30860" y="connsiteY30860"/>
              </a:cxn>
              <a:cxn ang="0">
                <a:pos x="connsiteX30861" y="connsiteY30861"/>
              </a:cxn>
              <a:cxn ang="0">
                <a:pos x="connsiteX30862" y="connsiteY30862"/>
              </a:cxn>
              <a:cxn ang="0">
                <a:pos x="connsiteX30863" y="connsiteY30863"/>
              </a:cxn>
              <a:cxn ang="0">
                <a:pos x="connsiteX30864" y="connsiteY30864"/>
              </a:cxn>
              <a:cxn ang="0">
                <a:pos x="connsiteX30865" y="connsiteY30865"/>
              </a:cxn>
              <a:cxn ang="0">
                <a:pos x="connsiteX30866" y="connsiteY30866"/>
              </a:cxn>
              <a:cxn ang="0">
                <a:pos x="connsiteX30867" y="connsiteY30867"/>
              </a:cxn>
              <a:cxn ang="0">
                <a:pos x="connsiteX30868" y="connsiteY30868"/>
              </a:cxn>
              <a:cxn ang="0">
                <a:pos x="connsiteX30869" y="connsiteY30869"/>
              </a:cxn>
              <a:cxn ang="0">
                <a:pos x="connsiteX30870" y="connsiteY30870"/>
              </a:cxn>
              <a:cxn ang="0">
                <a:pos x="connsiteX30871" y="connsiteY30871"/>
              </a:cxn>
              <a:cxn ang="0">
                <a:pos x="connsiteX30872" y="connsiteY30872"/>
              </a:cxn>
              <a:cxn ang="0">
                <a:pos x="connsiteX30873" y="connsiteY30873"/>
              </a:cxn>
              <a:cxn ang="0">
                <a:pos x="connsiteX30874" y="connsiteY30874"/>
              </a:cxn>
              <a:cxn ang="0">
                <a:pos x="connsiteX30875" y="connsiteY30875"/>
              </a:cxn>
              <a:cxn ang="0">
                <a:pos x="connsiteX30876" y="connsiteY30876"/>
              </a:cxn>
              <a:cxn ang="0">
                <a:pos x="connsiteX30877" y="connsiteY30877"/>
              </a:cxn>
              <a:cxn ang="0">
                <a:pos x="connsiteX30878" y="connsiteY30878"/>
              </a:cxn>
              <a:cxn ang="0">
                <a:pos x="connsiteX30879" y="connsiteY30879"/>
              </a:cxn>
              <a:cxn ang="0">
                <a:pos x="connsiteX30880" y="connsiteY30880"/>
              </a:cxn>
              <a:cxn ang="0">
                <a:pos x="connsiteX30881" y="connsiteY30881"/>
              </a:cxn>
              <a:cxn ang="0">
                <a:pos x="connsiteX30882" y="connsiteY30882"/>
              </a:cxn>
              <a:cxn ang="0">
                <a:pos x="connsiteX30883" y="connsiteY30883"/>
              </a:cxn>
              <a:cxn ang="0">
                <a:pos x="connsiteX30884" y="connsiteY30884"/>
              </a:cxn>
              <a:cxn ang="0">
                <a:pos x="connsiteX30885" y="connsiteY30885"/>
              </a:cxn>
              <a:cxn ang="0">
                <a:pos x="connsiteX30886" y="connsiteY30886"/>
              </a:cxn>
              <a:cxn ang="0">
                <a:pos x="connsiteX30887" y="connsiteY30887"/>
              </a:cxn>
              <a:cxn ang="0">
                <a:pos x="connsiteX30888" y="connsiteY30888"/>
              </a:cxn>
              <a:cxn ang="0">
                <a:pos x="connsiteX30889" y="connsiteY30889"/>
              </a:cxn>
              <a:cxn ang="0">
                <a:pos x="connsiteX30890" y="connsiteY30890"/>
              </a:cxn>
              <a:cxn ang="0">
                <a:pos x="connsiteX30891" y="connsiteY30891"/>
              </a:cxn>
              <a:cxn ang="0">
                <a:pos x="connsiteX30892" y="connsiteY30892"/>
              </a:cxn>
              <a:cxn ang="0">
                <a:pos x="connsiteX30893" y="connsiteY30893"/>
              </a:cxn>
              <a:cxn ang="0">
                <a:pos x="connsiteX30894" y="connsiteY30894"/>
              </a:cxn>
              <a:cxn ang="0">
                <a:pos x="connsiteX30895" y="connsiteY30895"/>
              </a:cxn>
              <a:cxn ang="0">
                <a:pos x="connsiteX30896" y="connsiteY30896"/>
              </a:cxn>
              <a:cxn ang="0">
                <a:pos x="connsiteX30897" y="connsiteY30897"/>
              </a:cxn>
              <a:cxn ang="0">
                <a:pos x="connsiteX30898" y="connsiteY30898"/>
              </a:cxn>
              <a:cxn ang="0">
                <a:pos x="connsiteX30899" y="connsiteY30899"/>
              </a:cxn>
              <a:cxn ang="0">
                <a:pos x="connsiteX30900" y="connsiteY30900"/>
              </a:cxn>
              <a:cxn ang="0">
                <a:pos x="connsiteX30901" y="connsiteY30901"/>
              </a:cxn>
              <a:cxn ang="0">
                <a:pos x="connsiteX30902" y="connsiteY30902"/>
              </a:cxn>
              <a:cxn ang="0">
                <a:pos x="connsiteX30903" y="connsiteY30903"/>
              </a:cxn>
              <a:cxn ang="0">
                <a:pos x="connsiteX30904" y="connsiteY30904"/>
              </a:cxn>
              <a:cxn ang="0">
                <a:pos x="connsiteX30905" y="connsiteY30905"/>
              </a:cxn>
              <a:cxn ang="0">
                <a:pos x="connsiteX30906" y="connsiteY30906"/>
              </a:cxn>
              <a:cxn ang="0">
                <a:pos x="connsiteX30907" y="connsiteY30907"/>
              </a:cxn>
              <a:cxn ang="0">
                <a:pos x="connsiteX30908" y="connsiteY30908"/>
              </a:cxn>
              <a:cxn ang="0">
                <a:pos x="connsiteX30909" y="connsiteY30909"/>
              </a:cxn>
              <a:cxn ang="0">
                <a:pos x="connsiteX30910" y="connsiteY30910"/>
              </a:cxn>
              <a:cxn ang="0">
                <a:pos x="connsiteX30911" y="connsiteY30911"/>
              </a:cxn>
              <a:cxn ang="0">
                <a:pos x="connsiteX30912" y="connsiteY30912"/>
              </a:cxn>
              <a:cxn ang="0">
                <a:pos x="connsiteX30913" y="connsiteY30913"/>
              </a:cxn>
              <a:cxn ang="0">
                <a:pos x="connsiteX30914" y="connsiteY30914"/>
              </a:cxn>
              <a:cxn ang="0">
                <a:pos x="connsiteX30915" y="connsiteY30915"/>
              </a:cxn>
              <a:cxn ang="0">
                <a:pos x="connsiteX30916" y="connsiteY30916"/>
              </a:cxn>
              <a:cxn ang="0">
                <a:pos x="connsiteX30917" y="connsiteY30917"/>
              </a:cxn>
              <a:cxn ang="0">
                <a:pos x="connsiteX30918" y="connsiteY30918"/>
              </a:cxn>
              <a:cxn ang="0">
                <a:pos x="connsiteX30919" y="connsiteY30919"/>
              </a:cxn>
              <a:cxn ang="0">
                <a:pos x="connsiteX30920" y="connsiteY30920"/>
              </a:cxn>
              <a:cxn ang="0">
                <a:pos x="connsiteX30921" y="connsiteY30921"/>
              </a:cxn>
              <a:cxn ang="0">
                <a:pos x="connsiteX30922" y="connsiteY30922"/>
              </a:cxn>
              <a:cxn ang="0">
                <a:pos x="connsiteX30923" y="connsiteY30923"/>
              </a:cxn>
              <a:cxn ang="0">
                <a:pos x="connsiteX30924" y="connsiteY30924"/>
              </a:cxn>
              <a:cxn ang="0">
                <a:pos x="connsiteX30925" y="connsiteY30925"/>
              </a:cxn>
              <a:cxn ang="0">
                <a:pos x="connsiteX30926" y="connsiteY30926"/>
              </a:cxn>
              <a:cxn ang="0">
                <a:pos x="connsiteX30927" y="connsiteY30927"/>
              </a:cxn>
              <a:cxn ang="0">
                <a:pos x="connsiteX30928" y="connsiteY30928"/>
              </a:cxn>
              <a:cxn ang="0">
                <a:pos x="connsiteX30929" y="connsiteY30929"/>
              </a:cxn>
              <a:cxn ang="0">
                <a:pos x="connsiteX30930" y="connsiteY30930"/>
              </a:cxn>
              <a:cxn ang="0">
                <a:pos x="connsiteX30931" y="connsiteY30931"/>
              </a:cxn>
              <a:cxn ang="0">
                <a:pos x="connsiteX30932" y="connsiteY30932"/>
              </a:cxn>
              <a:cxn ang="0">
                <a:pos x="connsiteX30933" y="connsiteY30933"/>
              </a:cxn>
              <a:cxn ang="0">
                <a:pos x="connsiteX30934" y="connsiteY30934"/>
              </a:cxn>
              <a:cxn ang="0">
                <a:pos x="connsiteX30935" y="connsiteY30935"/>
              </a:cxn>
              <a:cxn ang="0">
                <a:pos x="connsiteX30936" y="connsiteY30936"/>
              </a:cxn>
              <a:cxn ang="0">
                <a:pos x="connsiteX30937" y="connsiteY30937"/>
              </a:cxn>
              <a:cxn ang="0">
                <a:pos x="connsiteX30938" y="connsiteY30938"/>
              </a:cxn>
              <a:cxn ang="0">
                <a:pos x="connsiteX30939" y="connsiteY30939"/>
              </a:cxn>
              <a:cxn ang="0">
                <a:pos x="connsiteX30940" y="connsiteY30940"/>
              </a:cxn>
              <a:cxn ang="0">
                <a:pos x="connsiteX30941" y="connsiteY30941"/>
              </a:cxn>
              <a:cxn ang="0">
                <a:pos x="connsiteX30942" y="connsiteY30942"/>
              </a:cxn>
              <a:cxn ang="0">
                <a:pos x="connsiteX30943" y="connsiteY30943"/>
              </a:cxn>
              <a:cxn ang="0">
                <a:pos x="connsiteX30944" y="connsiteY30944"/>
              </a:cxn>
              <a:cxn ang="0">
                <a:pos x="connsiteX30945" y="connsiteY30945"/>
              </a:cxn>
              <a:cxn ang="0">
                <a:pos x="connsiteX30946" y="connsiteY30946"/>
              </a:cxn>
              <a:cxn ang="0">
                <a:pos x="connsiteX30947" y="connsiteY30947"/>
              </a:cxn>
              <a:cxn ang="0">
                <a:pos x="connsiteX30948" y="connsiteY30948"/>
              </a:cxn>
              <a:cxn ang="0">
                <a:pos x="connsiteX30949" y="connsiteY30949"/>
              </a:cxn>
              <a:cxn ang="0">
                <a:pos x="connsiteX30950" y="connsiteY30950"/>
              </a:cxn>
              <a:cxn ang="0">
                <a:pos x="connsiteX30951" y="connsiteY30951"/>
              </a:cxn>
              <a:cxn ang="0">
                <a:pos x="connsiteX30952" y="connsiteY30952"/>
              </a:cxn>
              <a:cxn ang="0">
                <a:pos x="connsiteX30953" y="connsiteY30953"/>
              </a:cxn>
              <a:cxn ang="0">
                <a:pos x="connsiteX30954" y="connsiteY30954"/>
              </a:cxn>
              <a:cxn ang="0">
                <a:pos x="connsiteX30955" y="connsiteY30955"/>
              </a:cxn>
              <a:cxn ang="0">
                <a:pos x="connsiteX30956" y="connsiteY30956"/>
              </a:cxn>
              <a:cxn ang="0">
                <a:pos x="connsiteX30957" y="connsiteY30957"/>
              </a:cxn>
              <a:cxn ang="0">
                <a:pos x="connsiteX30958" y="connsiteY30958"/>
              </a:cxn>
              <a:cxn ang="0">
                <a:pos x="connsiteX30959" y="connsiteY30959"/>
              </a:cxn>
              <a:cxn ang="0">
                <a:pos x="connsiteX30960" y="connsiteY30960"/>
              </a:cxn>
              <a:cxn ang="0">
                <a:pos x="connsiteX30961" y="connsiteY30961"/>
              </a:cxn>
              <a:cxn ang="0">
                <a:pos x="connsiteX30962" y="connsiteY30962"/>
              </a:cxn>
              <a:cxn ang="0">
                <a:pos x="connsiteX30963" y="connsiteY30963"/>
              </a:cxn>
              <a:cxn ang="0">
                <a:pos x="connsiteX30964" y="connsiteY30964"/>
              </a:cxn>
              <a:cxn ang="0">
                <a:pos x="connsiteX30965" y="connsiteY30965"/>
              </a:cxn>
              <a:cxn ang="0">
                <a:pos x="connsiteX30966" y="connsiteY30966"/>
              </a:cxn>
              <a:cxn ang="0">
                <a:pos x="connsiteX30967" y="connsiteY30967"/>
              </a:cxn>
              <a:cxn ang="0">
                <a:pos x="connsiteX30968" y="connsiteY30968"/>
              </a:cxn>
              <a:cxn ang="0">
                <a:pos x="connsiteX30969" y="connsiteY30969"/>
              </a:cxn>
              <a:cxn ang="0">
                <a:pos x="connsiteX30970" y="connsiteY30970"/>
              </a:cxn>
              <a:cxn ang="0">
                <a:pos x="connsiteX30971" y="connsiteY30971"/>
              </a:cxn>
              <a:cxn ang="0">
                <a:pos x="connsiteX30972" y="connsiteY30972"/>
              </a:cxn>
              <a:cxn ang="0">
                <a:pos x="connsiteX30973" y="connsiteY30973"/>
              </a:cxn>
              <a:cxn ang="0">
                <a:pos x="connsiteX30974" y="connsiteY30974"/>
              </a:cxn>
              <a:cxn ang="0">
                <a:pos x="connsiteX30975" y="connsiteY30975"/>
              </a:cxn>
              <a:cxn ang="0">
                <a:pos x="connsiteX30976" y="connsiteY30976"/>
              </a:cxn>
              <a:cxn ang="0">
                <a:pos x="connsiteX30977" y="connsiteY30977"/>
              </a:cxn>
              <a:cxn ang="0">
                <a:pos x="connsiteX30978" y="connsiteY30978"/>
              </a:cxn>
              <a:cxn ang="0">
                <a:pos x="connsiteX30979" y="connsiteY30979"/>
              </a:cxn>
              <a:cxn ang="0">
                <a:pos x="connsiteX30980" y="connsiteY30980"/>
              </a:cxn>
              <a:cxn ang="0">
                <a:pos x="connsiteX30981" y="connsiteY30981"/>
              </a:cxn>
              <a:cxn ang="0">
                <a:pos x="connsiteX30982" y="connsiteY30982"/>
              </a:cxn>
              <a:cxn ang="0">
                <a:pos x="connsiteX30983" y="connsiteY30983"/>
              </a:cxn>
              <a:cxn ang="0">
                <a:pos x="connsiteX30984" y="connsiteY30984"/>
              </a:cxn>
              <a:cxn ang="0">
                <a:pos x="connsiteX30985" y="connsiteY30985"/>
              </a:cxn>
              <a:cxn ang="0">
                <a:pos x="connsiteX30986" y="connsiteY30986"/>
              </a:cxn>
              <a:cxn ang="0">
                <a:pos x="connsiteX30987" y="connsiteY30987"/>
              </a:cxn>
              <a:cxn ang="0">
                <a:pos x="connsiteX30988" y="connsiteY30988"/>
              </a:cxn>
              <a:cxn ang="0">
                <a:pos x="connsiteX30989" y="connsiteY30989"/>
              </a:cxn>
              <a:cxn ang="0">
                <a:pos x="connsiteX30990" y="connsiteY30990"/>
              </a:cxn>
              <a:cxn ang="0">
                <a:pos x="connsiteX30991" y="connsiteY30991"/>
              </a:cxn>
              <a:cxn ang="0">
                <a:pos x="connsiteX30992" y="connsiteY30992"/>
              </a:cxn>
              <a:cxn ang="0">
                <a:pos x="connsiteX30993" y="connsiteY30993"/>
              </a:cxn>
              <a:cxn ang="0">
                <a:pos x="connsiteX30994" y="connsiteY30994"/>
              </a:cxn>
              <a:cxn ang="0">
                <a:pos x="connsiteX30995" y="connsiteY30995"/>
              </a:cxn>
              <a:cxn ang="0">
                <a:pos x="connsiteX30996" y="connsiteY30996"/>
              </a:cxn>
              <a:cxn ang="0">
                <a:pos x="connsiteX30997" y="connsiteY30997"/>
              </a:cxn>
              <a:cxn ang="0">
                <a:pos x="connsiteX30998" y="connsiteY30998"/>
              </a:cxn>
              <a:cxn ang="0">
                <a:pos x="connsiteX30999" y="connsiteY30999"/>
              </a:cxn>
              <a:cxn ang="0">
                <a:pos x="connsiteX31000" y="connsiteY31000"/>
              </a:cxn>
              <a:cxn ang="0">
                <a:pos x="connsiteX31001" y="connsiteY31001"/>
              </a:cxn>
              <a:cxn ang="0">
                <a:pos x="connsiteX31002" y="connsiteY31002"/>
              </a:cxn>
              <a:cxn ang="0">
                <a:pos x="connsiteX31003" y="connsiteY31003"/>
              </a:cxn>
              <a:cxn ang="0">
                <a:pos x="connsiteX31004" y="connsiteY31004"/>
              </a:cxn>
              <a:cxn ang="0">
                <a:pos x="connsiteX31005" y="connsiteY31005"/>
              </a:cxn>
              <a:cxn ang="0">
                <a:pos x="connsiteX31006" y="connsiteY31006"/>
              </a:cxn>
              <a:cxn ang="0">
                <a:pos x="connsiteX31007" y="connsiteY31007"/>
              </a:cxn>
              <a:cxn ang="0">
                <a:pos x="connsiteX31008" y="connsiteY31008"/>
              </a:cxn>
              <a:cxn ang="0">
                <a:pos x="connsiteX31009" y="connsiteY31009"/>
              </a:cxn>
              <a:cxn ang="0">
                <a:pos x="connsiteX31010" y="connsiteY31010"/>
              </a:cxn>
              <a:cxn ang="0">
                <a:pos x="connsiteX31011" y="connsiteY31011"/>
              </a:cxn>
              <a:cxn ang="0">
                <a:pos x="connsiteX31012" y="connsiteY31012"/>
              </a:cxn>
              <a:cxn ang="0">
                <a:pos x="connsiteX31013" y="connsiteY31013"/>
              </a:cxn>
              <a:cxn ang="0">
                <a:pos x="connsiteX31014" y="connsiteY31014"/>
              </a:cxn>
              <a:cxn ang="0">
                <a:pos x="connsiteX31015" y="connsiteY31015"/>
              </a:cxn>
              <a:cxn ang="0">
                <a:pos x="connsiteX31016" y="connsiteY31016"/>
              </a:cxn>
              <a:cxn ang="0">
                <a:pos x="connsiteX31017" y="connsiteY31017"/>
              </a:cxn>
              <a:cxn ang="0">
                <a:pos x="connsiteX31018" y="connsiteY31018"/>
              </a:cxn>
              <a:cxn ang="0">
                <a:pos x="connsiteX31019" y="connsiteY31019"/>
              </a:cxn>
              <a:cxn ang="0">
                <a:pos x="connsiteX31020" y="connsiteY31020"/>
              </a:cxn>
              <a:cxn ang="0">
                <a:pos x="connsiteX31021" y="connsiteY31021"/>
              </a:cxn>
              <a:cxn ang="0">
                <a:pos x="connsiteX31022" y="connsiteY31022"/>
              </a:cxn>
              <a:cxn ang="0">
                <a:pos x="connsiteX31023" y="connsiteY31023"/>
              </a:cxn>
              <a:cxn ang="0">
                <a:pos x="connsiteX31024" y="connsiteY31024"/>
              </a:cxn>
              <a:cxn ang="0">
                <a:pos x="connsiteX31025" y="connsiteY31025"/>
              </a:cxn>
              <a:cxn ang="0">
                <a:pos x="connsiteX31026" y="connsiteY31026"/>
              </a:cxn>
              <a:cxn ang="0">
                <a:pos x="connsiteX31027" y="connsiteY31027"/>
              </a:cxn>
              <a:cxn ang="0">
                <a:pos x="connsiteX31028" y="connsiteY31028"/>
              </a:cxn>
              <a:cxn ang="0">
                <a:pos x="connsiteX31029" y="connsiteY31029"/>
              </a:cxn>
              <a:cxn ang="0">
                <a:pos x="connsiteX31030" y="connsiteY31030"/>
              </a:cxn>
              <a:cxn ang="0">
                <a:pos x="connsiteX31031" y="connsiteY31031"/>
              </a:cxn>
              <a:cxn ang="0">
                <a:pos x="connsiteX31032" y="connsiteY31032"/>
              </a:cxn>
              <a:cxn ang="0">
                <a:pos x="connsiteX31033" y="connsiteY31033"/>
              </a:cxn>
              <a:cxn ang="0">
                <a:pos x="connsiteX31034" y="connsiteY31034"/>
              </a:cxn>
              <a:cxn ang="0">
                <a:pos x="connsiteX31035" y="connsiteY31035"/>
              </a:cxn>
              <a:cxn ang="0">
                <a:pos x="connsiteX31036" y="connsiteY31036"/>
              </a:cxn>
              <a:cxn ang="0">
                <a:pos x="connsiteX31037" y="connsiteY31037"/>
              </a:cxn>
              <a:cxn ang="0">
                <a:pos x="connsiteX31038" y="connsiteY31038"/>
              </a:cxn>
              <a:cxn ang="0">
                <a:pos x="connsiteX31039" y="connsiteY31039"/>
              </a:cxn>
              <a:cxn ang="0">
                <a:pos x="connsiteX31040" y="connsiteY31040"/>
              </a:cxn>
              <a:cxn ang="0">
                <a:pos x="connsiteX31041" y="connsiteY31041"/>
              </a:cxn>
              <a:cxn ang="0">
                <a:pos x="connsiteX31042" y="connsiteY31042"/>
              </a:cxn>
              <a:cxn ang="0">
                <a:pos x="connsiteX31043" y="connsiteY31043"/>
              </a:cxn>
              <a:cxn ang="0">
                <a:pos x="connsiteX31044" y="connsiteY31044"/>
              </a:cxn>
              <a:cxn ang="0">
                <a:pos x="connsiteX31045" y="connsiteY31045"/>
              </a:cxn>
              <a:cxn ang="0">
                <a:pos x="connsiteX31046" y="connsiteY31046"/>
              </a:cxn>
              <a:cxn ang="0">
                <a:pos x="connsiteX31047" y="connsiteY31047"/>
              </a:cxn>
              <a:cxn ang="0">
                <a:pos x="connsiteX31048" y="connsiteY31048"/>
              </a:cxn>
              <a:cxn ang="0">
                <a:pos x="connsiteX31049" y="connsiteY31049"/>
              </a:cxn>
              <a:cxn ang="0">
                <a:pos x="connsiteX31050" y="connsiteY31050"/>
              </a:cxn>
              <a:cxn ang="0">
                <a:pos x="connsiteX31051" y="connsiteY31051"/>
              </a:cxn>
              <a:cxn ang="0">
                <a:pos x="connsiteX31052" y="connsiteY31052"/>
              </a:cxn>
              <a:cxn ang="0">
                <a:pos x="connsiteX31053" y="connsiteY31053"/>
              </a:cxn>
              <a:cxn ang="0">
                <a:pos x="connsiteX31054" y="connsiteY31054"/>
              </a:cxn>
              <a:cxn ang="0">
                <a:pos x="connsiteX31055" y="connsiteY31055"/>
              </a:cxn>
              <a:cxn ang="0">
                <a:pos x="connsiteX31056" y="connsiteY31056"/>
              </a:cxn>
              <a:cxn ang="0">
                <a:pos x="connsiteX31057" y="connsiteY31057"/>
              </a:cxn>
              <a:cxn ang="0">
                <a:pos x="connsiteX31058" y="connsiteY31058"/>
              </a:cxn>
              <a:cxn ang="0">
                <a:pos x="connsiteX31059" y="connsiteY31059"/>
              </a:cxn>
              <a:cxn ang="0">
                <a:pos x="connsiteX31060" y="connsiteY31060"/>
              </a:cxn>
              <a:cxn ang="0">
                <a:pos x="connsiteX31061" y="connsiteY31061"/>
              </a:cxn>
              <a:cxn ang="0">
                <a:pos x="connsiteX31062" y="connsiteY31062"/>
              </a:cxn>
              <a:cxn ang="0">
                <a:pos x="connsiteX31063" y="connsiteY31063"/>
              </a:cxn>
              <a:cxn ang="0">
                <a:pos x="connsiteX31064" y="connsiteY31064"/>
              </a:cxn>
              <a:cxn ang="0">
                <a:pos x="connsiteX31065" y="connsiteY31065"/>
              </a:cxn>
              <a:cxn ang="0">
                <a:pos x="connsiteX31066" y="connsiteY31066"/>
              </a:cxn>
              <a:cxn ang="0">
                <a:pos x="connsiteX31067" y="connsiteY31067"/>
              </a:cxn>
              <a:cxn ang="0">
                <a:pos x="connsiteX31068" y="connsiteY31068"/>
              </a:cxn>
              <a:cxn ang="0">
                <a:pos x="connsiteX31069" y="connsiteY31069"/>
              </a:cxn>
              <a:cxn ang="0">
                <a:pos x="connsiteX31070" y="connsiteY31070"/>
              </a:cxn>
              <a:cxn ang="0">
                <a:pos x="connsiteX31071" y="connsiteY31071"/>
              </a:cxn>
              <a:cxn ang="0">
                <a:pos x="connsiteX31072" y="connsiteY31072"/>
              </a:cxn>
              <a:cxn ang="0">
                <a:pos x="connsiteX31073" y="connsiteY31073"/>
              </a:cxn>
              <a:cxn ang="0">
                <a:pos x="connsiteX31074" y="connsiteY31074"/>
              </a:cxn>
              <a:cxn ang="0">
                <a:pos x="connsiteX31075" y="connsiteY31075"/>
              </a:cxn>
              <a:cxn ang="0">
                <a:pos x="connsiteX31076" y="connsiteY31076"/>
              </a:cxn>
              <a:cxn ang="0">
                <a:pos x="connsiteX31077" y="connsiteY31077"/>
              </a:cxn>
              <a:cxn ang="0">
                <a:pos x="connsiteX31078" y="connsiteY31078"/>
              </a:cxn>
              <a:cxn ang="0">
                <a:pos x="connsiteX31079" y="connsiteY31079"/>
              </a:cxn>
              <a:cxn ang="0">
                <a:pos x="connsiteX31080" y="connsiteY31080"/>
              </a:cxn>
              <a:cxn ang="0">
                <a:pos x="connsiteX31081" y="connsiteY31081"/>
              </a:cxn>
              <a:cxn ang="0">
                <a:pos x="connsiteX31082" y="connsiteY31082"/>
              </a:cxn>
              <a:cxn ang="0">
                <a:pos x="connsiteX31083" y="connsiteY31083"/>
              </a:cxn>
              <a:cxn ang="0">
                <a:pos x="connsiteX31084" y="connsiteY31084"/>
              </a:cxn>
              <a:cxn ang="0">
                <a:pos x="connsiteX31085" y="connsiteY31085"/>
              </a:cxn>
              <a:cxn ang="0">
                <a:pos x="connsiteX31086" y="connsiteY31086"/>
              </a:cxn>
              <a:cxn ang="0">
                <a:pos x="connsiteX31087" y="connsiteY31087"/>
              </a:cxn>
              <a:cxn ang="0">
                <a:pos x="connsiteX31088" y="connsiteY31088"/>
              </a:cxn>
              <a:cxn ang="0">
                <a:pos x="connsiteX31089" y="connsiteY31089"/>
              </a:cxn>
              <a:cxn ang="0">
                <a:pos x="connsiteX31090" y="connsiteY31090"/>
              </a:cxn>
              <a:cxn ang="0">
                <a:pos x="connsiteX31091" y="connsiteY31091"/>
              </a:cxn>
              <a:cxn ang="0">
                <a:pos x="connsiteX31092" y="connsiteY31092"/>
              </a:cxn>
              <a:cxn ang="0">
                <a:pos x="connsiteX31093" y="connsiteY31093"/>
              </a:cxn>
              <a:cxn ang="0">
                <a:pos x="connsiteX31094" y="connsiteY31094"/>
              </a:cxn>
              <a:cxn ang="0">
                <a:pos x="connsiteX31095" y="connsiteY31095"/>
              </a:cxn>
              <a:cxn ang="0">
                <a:pos x="connsiteX31096" y="connsiteY31096"/>
              </a:cxn>
              <a:cxn ang="0">
                <a:pos x="connsiteX31097" y="connsiteY31097"/>
              </a:cxn>
              <a:cxn ang="0">
                <a:pos x="connsiteX31098" y="connsiteY31098"/>
              </a:cxn>
              <a:cxn ang="0">
                <a:pos x="connsiteX31099" y="connsiteY31099"/>
              </a:cxn>
              <a:cxn ang="0">
                <a:pos x="connsiteX31100" y="connsiteY31100"/>
              </a:cxn>
              <a:cxn ang="0">
                <a:pos x="connsiteX31101" y="connsiteY31101"/>
              </a:cxn>
              <a:cxn ang="0">
                <a:pos x="connsiteX31102" y="connsiteY31102"/>
              </a:cxn>
              <a:cxn ang="0">
                <a:pos x="connsiteX31103" y="connsiteY31103"/>
              </a:cxn>
              <a:cxn ang="0">
                <a:pos x="connsiteX31104" y="connsiteY31104"/>
              </a:cxn>
              <a:cxn ang="0">
                <a:pos x="connsiteX31105" y="connsiteY31105"/>
              </a:cxn>
              <a:cxn ang="0">
                <a:pos x="connsiteX31106" y="connsiteY31106"/>
              </a:cxn>
              <a:cxn ang="0">
                <a:pos x="connsiteX31107" y="connsiteY31107"/>
              </a:cxn>
              <a:cxn ang="0">
                <a:pos x="connsiteX31108" y="connsiteY31108"/>
              </a:cxn>
              <a:cxn ang="0">
                <a:pos x="connsiteX31109" y="connsiteY31109"/>
              </a:cxn>
              <a:cxn ang="0">
                <a:pos x="connsiteX31110" y="connsiteY31110"/>
              </a:cxn>
              <a:cxn ang="0">
                <a:pos x="connsiteX31111" y="connsiteY31111"/>
              </a:cxn>
              <a:cxn ang="0">
                <a:pos x="connsiteX31112" y="connsiteY31112"/>
              </a:cxn>
              <a:cxn ang="0">
                <a:pos x="connsiteX31113" y="connsiteY31113"/>
              </a:cxn>
              <a:cxn ang="0">
                <a:pos x="connsiteX31114" y="connsiteY31114"/>
              </a:cxn>
              <a:cxn ang="0">
                <a:pos x="connsiteX31115" y="connsiteY31115"/>
              </a:cxn>
              <a:cxn ang="0">
                <a:pos x="connsiteX31116" y="connsiteY31116"/>
              </a:cxn>
              <a:cxn ang="0">
                <a:pos x="connsiteX31117" y="connsiteY31117"/>
              </a:cxn>
              <a:cxn ang="0">
                <a:pos x="connsiteX31118" y="connsiteY31118"/>
              </a:cxn>
              <a:cxn ang="0">
                <a:pos x="connsiteX31119" y="connsiteY31119"/>
              </a:cxn>
              <a:cxn ang="0">
                <a:pos x="connsiteX31120" y="connsiteY31120"/>
              </a:cxn>
              <a:cxn ang="0">
                <a:pos x="connsiteX31121" y="connsiteY31121"/>
              </a:cxn>
              <a:cxn ang="0">
                <a:pos x="connsiteX31122" y="connsiteY31122"/>
              </a:cxn>
              <a:cxn ang="0">
                <a:pos x="connsiteX31123" y="connsiteY31123"/>
              </a:cxn>
              <a:cxn ang="0">
                <a:pos x="connsiteX31124" y="connsiteY31124"/>
              </a:cxn>
              <a:cxn ang="0">
                <a:pos x="connsiteX31125" y="connsiteY31125"/>
              </a:cxn>
              <a:cxn ang="0">
                <a:pos x="connsiteX31126" y="connsiteY31126"/>
              </a:cxn>
              <a:cxn ang="0">
                <a:pos x="connsiteX31127" y="connsiteY31127"/>
              </a:cxn>
              <a:cxn ang="0">
                <a:pos x="connsiteX31128" y="connsiteY31128"/>
              </a:cxn>
              <a:cxn ang="0">
                <a:pos x="connsiteX31129" y="connsiteY31129"/>
              </a:cxn>
              <a:cxn ang="0">
                <a:pos x="connsiteX31130" y="connsiteY31130"/>
              </a:cxn>
              <a:cxn ang="0">
                <a:pos x="connsiteX31131" y="connsiteY31131"/>
              </a:cxn>
              <a:cxn ang="0">
                <a:pos x="connsiteX31132" y="connsiteY31132"/>
              </a:cxn>
              <a:cxn ang="0">
                <a:pos x="connsiteX31133" y="connsiteY31133"/>
              </a:cxn>
              <a:cxn ang="0">
                <a:pos x="connsiteX31134" y="connsiteY31134"/>
              </a:cxn>
              <a:cxn ang="0">
                <a:pos x="connsiteX31135" y="connsiteY31135"/>
              </a:cxn>
              <a:cxn ang="0">
                <a:pos x="connsiteX31136" y="connsiteY31136"/>
              </a:cxn>
              <a:cxn ang="0">
                <a:pos x="connsiteX31137" y="connsiteY31137"/>
              </a:cxn>
              <a:cxn ang="0">
                <a:pos x="connsiteX31138" y="connsiteY31138"/>
              </a:cxn>
              <a:cxn ang="0">
                <a:pos x="connsiteX31139" y="connsiteY31139"/>
              </a:cxn>
              <a:cxn ang="0">
                <a:pos x="connsiteX31140" y="connsiteY31140"/>
              </a:cxn>
              <a:cxn ang="0">
                <a:pos x="connsiteX31141" y="connsiteY31141"/>
              </a:cxn>
              <a:cxn ang="0">
                <a:pos x="connsiteX31142" y="connsiteY31142"/>
              </a:cxn>
              <a:cxn ang="0">
                <a:pos x="connsiteX31143" y="connsiteY31143"/>
              </a:cxn>
              <a:cxn ang="0">
                <a:pos x="connsiteX31144" y="connsiteY31144"/>
              </a:cxn>
              <a:cxn ang="0">
                <a:pos x="connsiteX31145" y="connsiteY31145"/>
              </a:cxn>
              <a:cxn ang="0">
                <a:pos x="connsiteX31146" y="connsiteY31146"/>
              </a:cxn>
              <a:cxn ang="0">
                <a:pos x="connsiteX31147" y="connsiteY31147"/>
              </a:cxn>
              <a:cxn ang="0">
                <a:pos x="connsiteX31148" y="connsiteY31148"/>
              </a:cxn>
              <a:cxn ang="0">
                <a:pos x="connsiteX31149" y="connsiteY31149"/>
              </a:cxn>
              <a:cxn ang="0">
                <a:pos x="connsiteX31150" y="connsiteY31150"/>
              </a:cxn>
              <a:cxn ang="0">
                <a:pos x="connsiteX31151" y="connsiteY31151"/>
              </a:cxn>
              <a:cxn ang="0">
                <a:pos x="connsiteX31152" y="connsiteY31152"/>
              </a:cxn>
              <a:cxn ang="0">
                <a:pos x="connsiteX31153" y="connsiteY31153"/>
              </a:cxn>
              <a:cxn ang="0">
                <a:pos x="connsiteX31154" y="connsiteY31154"/>
              </a:cxn>
              <a:cxn ang="0">
                <a:pos x="connsiteX31155" y="connsiteY31155"/>
              </a:cxn>
              <a:cxn ang="0">
                <a:pos x="connsiteX31156" y="connsiteY31156"/>
              </a:cxn>
              <a:cxn ang="0">
                <a:pos x="connsiteX31157" y="connsiteY31157"/>
              </a:cxn>
              <a:cxn ang="0">
                <a:pos x="connsiteX31158" y="connsiteY31158"/>
              </a:cxn>
              <a:cxn ang="0">
                <a:pos x="connsiteX31159" y="connsiteY31159"/>
              </a:cxn>
              <a:cxn ang="0">
                <a:pos x="connsiteX31160" y="connsiteY31160"/>
              </a:cxn>
              <a:cxn ang="0">
                <a:pos x="connsiteX31161" y="connsiteY31161"/>
              </a:cxn>
              <a:cxn ang="0">
                <a:pos x="connsiteX31162" y="connsiteY31162"/>
              </a:cxn>
              <a:cxn ang="0">
                <a:pos x="connsiteX31163" y="connsiteY31163"/>
              </a:cxn>
              <a:cxn ang="0">
                <a:pos x="connsiteX31164" y="connsiteY31164"/>
              </a:cxn>
              <a:cxn ang="0">
                <a:pos x="connsiteX31165" y="connsiteY31165"/>
              </a:cxn>
              <a:cxn ang="0">
                <a:pos x="connsiteX31166" y="connsiteY31166"/>
              </a:cxn>
              <a:cxn ang="0">
                <a:pos x="connsiteX31167" y="connsiteY31167"/>
              </a:cxn>
              <a:cxn ang="0">
                <a:pos x="connsiteX31168" y="connsiteY31168"/>
              </a:cxn>
              <a:cxn ang="0">
                <a:pos x="connsiteX31169" y="connsiteY31169"/>
              </a:cxn>
              <a:cxn ang="0">
                <a:pos x="connsiteX31170" y="connsiteY31170"/>
              </a:cxn>
              <a:cxn ang="0">
                <a:pos x="connsiteX31171" y="connsiteY31171"/>
              </a:cxn>
              <a:cxn ang="0">
                <a:pos x="connsiteX31172" y="connsiteY31172"/>
              </a:cxn>
              <a:cxn ang="0">
                <a:pos x="connsiteX31173" y="connsiteY31173"/>
              </a:cxn>
              <a:cxn ang="0">
                <a:pos x="connsiteX31174" y="connsiteY31174"/>
              </a:cxn>
              <a:cxn ang="0">
                <a:pos x="connsiteX31175" y="connsiteY31175"/>
              </a:cxn>
              <a:cxn ang="0">
                <a:pos x="connsiteX31176" y="connsiteY31176"/>
              </a:cxn>
              <a:cxn ang="0">
                <a:pos x="connsiteX31177" y="connsiteY31177"/>
              </a:cxn>
              <a:cxn ang="0">
                <a:pos x="connsiteX31178" y="connsiteY31178"/>
              </a:cxn>
              <a:cxn ang="0">
                <a:pos x="connsiteX31179" y="connsiteY31179"/>
              </a:cxn>
              <a:cxn ang="0">
                <a:pos x="connsiteX31180" y="connsiteY31180"/>
              </a:cxn>
              <a:cxn ang="0">
                <a:pos x="connsiteX31181" y="connsiteY31181"/>
              </a:cxn>
              <a:cxn ang="0">
                <a:pos x="connsiteX31182" y="connsiteY31182"/>
              </a:cxn>
              <a:cxn ang="0">
                <a:pos x="connsiteX31183" y="connsiteY31183"/>
              </a:cxn>
              <a:cxn ang="0">
                <a:pos x="connsiteX31184" y="connsiteY31184"/>
              </a:cxn>
              <a:cxn ang="0">
                <a:pos x="connsiteX31185" y="connsiteY31185"/>
              </a:cxn>
              <a:cxn ang="0">
                <a:pos x="connsiteX31186" y="connsiteY31186"/>
              </a:cxn>
              <a:cxn ang="0">
                <a:pos x="connsiteX31187" y="connsiteY31187"/>
              </a:cxn>
              <a:cxn ang="0">
                <a:pos x="connsiteX31188" y="connsiteY31188"/>
              </a:cxn>
              <a:cxn ang="0">
                <a:pos x="connsiteX31189" y="connsiteY31189"/>
              </a:cxn>
              <a:cxn ang="0">
                <a:pos x="connsiteX31190" y="connsiteY31190"/>
              </a:cxn>
              <a:cxn ang="0">
                <a:pos x="connsiteX31191" y="connsiteY31191"/>
              </a:cxn>
              <a:cxn ang="0">
                <a:pos x="connsiteX31192" y="connsiteY31192"/>
              </a:cxn>
              <a:cxn ang="0">
                <a:pos x="connsiteX31193" y="connsiteY31193"/>
              </a:cxn>
              <a:cxn ang="0">
                <a:pos x="connsiteX31194" y="connsiteY31194"/>
              </a:cxn>
              <a:cxn ang="0">
                <a:pos x="connsiteX31195" y="connsiteY31195"/>
              </a:cxn>
              <a:cxn ang="0">
                <a:pos x="connsiteX31196" y="connsiteY31196"/>
              </a:cxn>
              <a:cxn ang="0">
                <a:pos x="connsiteX31197" y="connsiteY31197"/>
              </a:cxn>
              <a:cxn ang="0">
                <a:pos x="connsiteX31198" y="connsiteY31198"/>
              </a:cxn>
              <a:cxn ang="0">
                <a:pos x="connsiteX31199" y="connsiteY31199"/>
              </a:cxn>
              <a:cxn ang="0">
                <a:pos x="connsiteX31200" y="connsiteY31200"/>
              </a:cxn>
              <a:cxn ang="0">
                <a:pos x="connsiteX31201" y="connsiteY31201"/>
              </a:cxn>
              <a:cxn ang="0">
                <a:pos x="connsiteX31202" y="connsiteY31202"/>
              </a:cxn>
              <a:cxn ang="0">
                <a:pos x="connsiteX31203" y="connsiteY31203"/>
              </a:cxn>
              <a:cxn ang="0">
                <a:pos x="connsiteX31204" y="connsiteY31204"/>
              </a:cxn>
              <a:cxn ang="0">
                <a:pos x="connsiteX31205" y="connsiteY31205"/>
              </a:cxn>
              <a:cxn ang="0">
                <a:pos x="connsiteX31206" y="connsiteY31206"/>
              </a:cxn>
              <a:cxn ang="0">
                <a:pos x="connsiteX31207" y="connsiteY31207"/>
              </a:cxn>
              <a:cxn ang="0">
                <a:pos x="connsiteX31208" y="connsiteY31208"/>
              </a:cxn>
              <a:cxn ang="0">
                <a:pos x="connsiteX31209" y="connsiteY31209"/>
              </a:cxn>
              <a:cxn ang="0">
                <a:pos x="connsiteX31210" y="connsiteY31210"/>
              </a:cxn>
              <a:cxn ang="0">
                <a:pos x="connsiteX31211" y="connsiteY31211"/>
              </a:cxn>
              <a:cxn ang="0">
                <a:pos x="connsiteX31212" y="connsiteY31212"/>
              </a:cxn>
              <a:cxn ang="0">
                <a:pos x="connsiteX31213" y="connsiteY31213"/>
              </a:cxn>
              <a:cxn ang="0">
                <a:pos x="connsiteX31214" y="connsiteY31214"/>
              </a:cxn>
              <a:cxn ang="0">
                <a:pos x="connsiteX31215" y="connsiteY31215"/>
              </a:cxn>
              <a:cxn ang="0">
                <a:pos x="connsiteX31216" y="connsiteY31216"/>
              </a:cxn>
              <a:cxn ang="0">
                <a:pos x="connsiteX31217" y="connsiteY31217"/>
              </a:cxn>
              <a:cxn ang="0">
                <a:pos x="connsiteX31218" y="connsiteY31218"/>
              </a:cxn>
              <a:cxn ang="0">
                <a:pos x="connsiteX31219" y="connsiteY31219"/>
              </a:cxn>
              <a:cxn ang="0">
                <a:pos x="connsiteX31220" y="connsiteY31220"/>
              </a:cxn>
              <a:cxn ang="0">
                <a:pos x="connsiteX31221" y="connsiteY31221"/>
              </a:cxn>
              <a:cxn ang="0">
                <a:pos x="connsiteX31222" y="connsiteY31222"/>
              </a:cxn>
              <a:cxn ang="0">
                <a:pos x="connsiteX31223" y="connsiteY31223"/>
              </a:cxn>
              <a:cxn ang="0">
                <a:pos x="connsiteX31224" y="connsiteY31224"/>
              </a:cxn>
              <a:cxn ang="0">
                <a:pos x="connsiteX31225" y="connsiteY31225"/>
              </a:cxn>
              <a:cxn ang="0">
                <a:pos x="connsiteX31226" y="connsiteY31226"/>
              </a:cxn>
              <a:cxn ang="0">
                <a:pos x="connsiteX31227" y="connsiteY31227"/>
              </a:cxn>
              <a:cxn ang="0">
                <a:pos x="connsiteX31228" y="connsiteY31228"/>
              </a:cxn>
              <a:cxn ang="0">
                <a:pos x="connsiteX31229" y="connsiteY31229"/>
              </a:cxn>
              <a:cxn ang="0">
                <a:pos x="connsiteX31230" y="connsiteY31230"/>
              </a:cxn>
              <a:cxn ang="0">
                <a:pos x="connsiteX31231" y="connsiteY31231"/>
              </a:cxn>
              <a:cxn ang="0">
                <a:pos x="connsiteX31232" y="connsiteY31232"/>
              </a:cxn>
              <a:cxn ang="0">
                <a:pos x="connsiteX31233" y="connsiteY31233"/>
              </a:cxn>
              <a:cxn ang="0">
                <a:pos x="connsiteX31234" y="connsiteY31234"/>
              </a:cxn>
              <a:cxn ang="0">
                <a:pos x="connsiteX31235" y="connsiteY31235"/>
              </a:cxn>
              <a:cxn ang="0">
                <a:pos x="connsiteX31236" y="connsiteY31236"/>
              </a:cxn>
              <a:cxn ang="0">
                <a:pos x="connsiteX31237" y="connsiteY31237"/>
              </a:cxn>
              <a:cxn ang="0">
                <a:pos x="connsiteX31238" y="connsiteY31238"/>
              </a:cxn>
              <a:cxn ang="0">
                <a:pos x="connsiteX31239" y="connsiteY31239"/>
              </a:cxn>
              <a:cxn ang="0">
                <a:pos x="connsiteX31240" y="connsiteY31240"/>
              </a:cxn>
              <a:cxn ang="0">
                <a:pos x="connsiteX31241" y="connsiteY31241"/>
              </a:cxn>
              <a:cxn ang="0">
                <a:pos x="connsiteX31242" y="connsiteY31242"/>
              </a:cxn>
              <a:cxn ang="0">
                <a:pos x="connsiteX31243" y="connsiteY31243"/>
              </a:cxn>
              <a:cxn ang="0">
                <a:pos x="connsiteX31244" y="connsiteY31244"/>
              </a:cxn>
              <a:cxn ang="0">
                <a:pos x="connsiteX31245" y="connsiteY31245"/>
              </a:cxn>
              <a:cxn ang="0">
                <a:pos x="connsiteX31246" y="connsiteY31246"/>
              </a:cxn>
              <a:cxn ang="0">
                <a:pos x="connsiteX31247" y="connsiteY31247"/>
              </a:cxn>
              <a:cxn ang="0">
                <a:pos x="connsiteX31248" y="connsiteY31248"/>
              </a:cxn>
              <a:cxn ang="0">
                <a:pos x="connsiteX31249" y="connsiteY31249"/>
              </a:cxn>
              <a:cxn ang="0">
                <a:pos x="connsiteX31250" y="connsiteY31250"/>
              </a:cxn>
              <a:cxn ang="0">
                <a:pos x="connsiteX31251" y="connsiteY31251"/>
              </a:cxn>
              <a:cxn ang="0">
                <a:pos x="connsiteX31252" y="connsiteY31252"/>
              </a:cxn>
              <a:cxn ang="0">
                <a:pos x="connsiteX31253" y="connsiteY31253"/>
              </a:cxn>
              <a:cxn ang="0">
                <a:pos x="connsiteX31254" y="connsiteY31254"/>
              </a:cxn>
              <a:cxn ang="0">
                <a:pos x="connsiteX31255" y="connsiteY31255"/>
              </a:cxn>
              <a:cxn ang="0">
                <a:pos x="connsiteX31256" y="connsiteY31256"/>
              </a:cxn>
              <a:cxn ang="0">
                <a:pos x="connsiteX31257" y="connsiteY31257"/>
              </a:cxn>
              <a:cxn ang="0">
                <a:pos x="connsiteX31258" y="connsiteY31258"/>
              </a:cxn>
              <a:cxn ang="0">
                <a:pos x="connsiteX31259" y="connsiteY31259"/>
              </a:cxn>
              <a:cxn ang="0">
                <a:pos x="connsiteX31260" y="connsiteY31260"/>
              </a:cxn>
              <a:cxn ang="0">
                <a:pos x="connsiteX31261" y="connsiteY31261"/>
              </a:cxn>
              <a:cxn ang="0">
                <a:pos x="connsiteX31262" y="connsiteY31262"/>
              </a:cxn>
              <a:cxn ang="0">
                <a:pos x="connsiteX31263" y="connsiteY31263"/>
              </a:cxn>
              <a:cxn ang="0">
                <a:pos x="connsiteX31264" y="connsiteY31264"/>
              </a:cxn>
              <a:cxn ang="0">
                <a:pos x="connsiteX31265" y="connsiteY31265"/>
              </a:cxn>
              <a:cxn ang="0">
                <a:pos x="connsiteX31266" y="connsiteY31266"/>
              </a:cxn>
              <a:cxn ang="0">
                <a:pos x="connsiteX31267" y="connsiteY31267"/>
              </a:cxn>
              <a:cxn ang="0">
                <a:pos x="connsiteX31268" y="connsiteY31268"/>
              </a:cxn>
              <a:cxn ang="0">
                <a:pos x="connsiteX31269" y="connsiteY31269"/>
              </a:cxn>
              <a:cxn ang="0">
                <a:pos x="connsiteX31270" y="connsiteY31270"/>
              </a:cxn>
              <a:cxn ang="0">
                <a:pos x="connsiteX31271" y="connsiteY31271"/>
              </a:cxn>
              <a:cxn ang="0">
                <a:pos x="connsiteX31272" y="connsiteY31272"/>
              </a:cxn>
              <a:cxn ang="0">
                <a:pos x="connsiteX31273" y="connsiteY31273"/>
              </a:cxn>
              <a:cxn ang="0">
                <a:pos x="connsiteX31274" y="connsiteY31274"/>
              </a:cxn>
              <a:cxn ang="0">
                <a:pos x="connsiteX31275" y="connsiteY31275"/>
              </a:cxn>
              <a:cxn ang="0">
                <a:pos x="connsiteX31276" y="connsiteY31276"/>
              </a:cxn>
              <a:cxn ang="0">
                <a:pos x="connsiteX31277" y="connsiteY31277"/>
              </a:cxn>
              <a:cxn ang="0">
                <a:pos x="connsiteX31278" y="connsiteY31278"/>
              </a:cxn>
              <a:cxn ang="0">
                <a:pos x="connsiteX31279" y="connsiteY31279"/>
              </a:cxn>
              <a:cxn ang="0">
                <a:pos x="connsiteX31280" y="connsiteY31280"/>
              </a:cxn>
              <a:cxn ang="0">
                <a:pos x="connsiteX31281" y="connsiteY31281"/>
              </a:cxn>
              <a:cxn ang="0">
                <a:pos x="connsiteX31282" y="connsiteY31282"/>
              </a:cxn>
              <a:cxn ang="0">
                <a:pos x="connsiteX31283" y="connsiteY31283"/>
              </a:cxn>
              <a:cxn ang="0">
                <a:pos x="connsiteX31284" y="connsiteY31284"/>
              </a:cxn>
              <a:cxn ang="0">
                <a:pos x="connsiteX31285" y="connsiteY31285"/>
              </a:cxn>
              <a:cxn ang="0">
                <a:pos x="connsiteX31286" y="connsiteY31286"/>
              </a:cxn>
              <a:cxn ang="0">
                <a:pos x="connsiteX31287" y="connsiteY31287"/>
              </a:cxn>
              <a:cxn ang="0">
                <a:pos x="connsiteX31288" y="connsiteY31288"/>
              </a:cxn>
              <a:cxn ang="0">
                <a:pos x="connsiteX31289" y="connsiteY31289"/>
              </a:cxn>
              <a:cxn ang="0">
                <a:pos x="connsiteX31290" y="connsiteY31290"/>
              </a:cxn>
              <a:cxn ang="0">
                <a:pos x="connsiteX31291" y="connsiteY31291"/>
              </a:cxn>
              <a:cxn ang="0">
                <a:pos x="connsiteX31292" y="connsiteY31292"/>
              </a:cxn>
              <a:cxn ang="0">
                <a:pos x="connsiteX31293" y="connsiteY31293"/>
              </a:cxn>
              <a:cxn ang="0">
                <a:pos x="connsiteX31294" y="connsiteY31294"/>
              </a:cxn>
              <a:cxn ang="0">
                <a:pos x="connsiteX31295" y="connsiteY31295"/>
              </a:cxn>
              <a:cxn ang="0">
                <a:pos x="connsiteX31296" y="connsiteY31296"/>
              </a:cxn>
              <a:cxn ang="0">
                <a:pos x="connsiteX31297" y="connsiteY31297"/>
              </a:cxn>
              <a:cxn ang="0">
                <a:pos x="connsiteX31298" y="connsiteY31298"/>
              </a:cxn>
              <a:cxn ang="0">
                <a:pos x="connsiteX31299" y="connsiteY31299"/>
              </a:cxn>
              <a:cxn ang="0">
                <a:pos x="connsiteX31300" y="connsiteY31300"/>
              </a:cxn>
              <a:cxn ang="0">
                <a:pos x="connsiteX31301" y="connsiteY31301"/>
              </a:cxn>
              <a:cxn ang="0">
                <a:pos x="connsiteX31302" y="connsiteY31302"/>
              </a:cxn>
              <a:cxn ang="0">
                <a:pos x="connsiteX31303" y="connsiteY31303"/>
              </a:cxn>
              <a:cxn ang="0">
                <a:pos x="connsiteX31304" y="connsiteY31304"/>
              </a:cxn>
              <a:cxn ang="0">
                <a:pos x="connsiteX31305" y="connsiteY31305"/>
              </a:cxn>
              <a:cxn ang="0">
                <a:pos x="connsiteX31306" y="connsiteY31306"/>
              </a:cxn>
              <a:cxn ang="0">
                <a:pos x="connsiteX31307" y="connsiteY31307"/>
              </a:cxn>
              <a:cxn ang="0">
                <a:pos x="connsiteX31308" y="connsiteY31308"/>
              </a:cxn>
              <a:cxn ang="0">
                <a:pos x="connsiteX31309" y="connsiteY31309"/>
              </a:cxn>
              <a:cxn ang="0">
                <a:pos x="connsiteX31310" y="connsiteY31310"/>
              </a:cxn>
              <a:cxn ang="0">
                <a:pos x="connsiteX31311" y="connsiteY31311"/>
              </a:cxn>
              <a:cxn ang="0">
                <a:pos x="connsiteX31312" y="connsiteY31312"/>
              </a:cxn>
              <a:cxn ang="0">
                <a:pos x="connsiteX31313" y="connsiteY31313"/>
              </a:cxn>
              <a:cxn ang="0">
                <a:pos x="connsiteX31314" y="connsiteY31314"/>
              </a:cxn>
              <a:cxn ang="0">
                <a:pos x="connsiteX31315" y="connsiteY31315"/>
              </a:cxn>
              <a:cxn ang="0">
                <a:pos x="connsiteX31316" y="connsiteY31316"/>
              </a:cxn>
              <a:cxn ang="0">
                <a:pos x="connsiteX31317" y="connsiteY31317"/>
              </a:cxn>
              <a:cxn ang="0">
                <a:pos x="connsiteX31318" y="connsiteY31318"/>
              </a:cxn>
              <a:cxn ang="0">
                <a:pos x="connsiteX31319" y="connsiteY31319"/>
              </a:cxn>
              <a:cxn ang="0">
                <a:pos x="connsiteX31320" y="connsiteY31320"/>
              </a:cxn>
              <a:cxn ang="0">
                <a:pos x="connsiteX31321" y="connsiteY31321"/>
              </a:cxn>
              <a:cxn ang="0">
                <a:pos x="connsiteX31322" y="connsiteY31322"/>
              </a:cxn>
              <a:cxn ang="0">
                <a:pos x="connsiteX31323" y="connsiteY31323"/>
              </a:cxn>
              <a:cxn ang="0">
                <a:pos x="connsiteX31324" y="connsiteY31324"/>
              </a:cxn>
              <a:cxn ang="0">
                <a:pos x="connsiteX31325" y="connsiteY31325"/>
              </a:cxn>
              <a:cxn ang="0">
                <a:pos x="connsiteX31326" y="connsiteY31326"/>
              </a:cxn>
              <a:cxn ang="0">
                <a:pos x="connsiteX31327" y="connsiteY31327"/>
              </a:cxn>
              <a:cxn ang="0">
                <a:pos x="connsiteX31328" y="connsiteY31328"/>
              </a:cxn>
              <a:cxn ang="0">
                <a:pos x="connsiteX31329" y="connsiteY31329"/>
              </a:cxn>
              <a:cxn ang="0">
                <a:pos x="connsiteX31330" y="connsiteY31330"/>
              </a:cxn>
              <a:cxn ang="0">
                <a:pos x="connsiteX31331" y="connsiteY31331"/>
              </a:cxn>
              <a:cxn ang="0">
                <a:pos x="connsiteX31332" y="connsiteY31332"/>
              </a:cxn>
              <a:cxn ang="0">
                <a:pos x="connsiteX31333" y="connsiteY31333"/>
              </a:cxn>
              <a:cxn ang="0">
                <a:pos x="connsiteX31334" y="connsiteY31334"/>
              </a:cxn>
              <a:cxn ang="0">
                <a:pos x="connsiteX31335" y="connsiteY31335"/>
              </a:cxn>
              <a:cxn ang="0">
                <a:pos x="connsiteX31336" y="connsiteY31336"/>
              </a:cxn>
              <a:cxn ang="0">
                <a:pos x="connsiteX31337" y="connsiteY31337"/>
              </a:cxn>
              <a:cxn ang="0">
                <a:pos x="connsiteX31338" y="connsiteY31338"/>
              </a:cxn>
              <a:cxn ang="0">
                <a:pos x="connsiteX31339" y="connsiteY31339"/>
              </a:cxn>
              <a:cxn ang="0">
                <a:pos x="connsiteX31340" y="connsiteY31340"/>
              </a:cxn>
              <a:cxn ang="0">
                <a:pos x="connsiteX31341" y="connsiteY31341"/>
              </a:cxn>
              <a:cxn ang="0">
                <a:pos x="connsiteX31342" y="connsiteY31342"/>
              </a:cxn>
              <a:cxn ang="0">
                <a:pos x="connsiteX31343" y="connsiteY31343"/>
              </a:cxn>
              <a:cxn ang="0">
                <a:pos x="connsiteX31344" y="connsiteY31344"/>
              </a:cxn>
              <a:cxn ang="0">
                <a:pos x="connsiteX31345" y="connsiteY31345"/>
              </a:cxn>
              <a:cxn ang="0">
                <a:pos x="connsiteX31346" y="connsiteY31346"/>
              </a:cxn>
              <a:cxn ang="0">
                <a:pos x="connsiteX31347" y="connsiteY31347"/>
              </a:cxn>
              <a:cxn ang="0">
                <a:pos x="connsiteX31348" y="connsiteY31348"/>
              </a:cxn>
              <a:cxn ang="0">
                <a:pos x="connsiteX31349" y="connsiteY31349"/>
              </a:cxn>
              <a:cxn ang="0">
                <a:pos x="connsiteX31350" y="connsiteY31350"/>
              </a:cxn>
              <a:cxn ang="0">
                <a:pos x="connsiteX31351" y="connsiteY31351"/>
              </a:cxn>
              <a:cxn ang="0">
                <a:pos x="connsiteX31352" y="connsiteY31352"/>
              </a:cxn>
              <a:cxn ang="0">
                <a:pos x="connsiteX31353" y="connsiteY31353"/>
              </a:cxn>
              <a:cxn ang="0">
                <a:pos x="connsiteX31354" y="connsiteY31354"/>
              </a:cxn>
              <a:cxn ang="0">
                <a:pos x="connsiteX31355" y="connsiteY31355"/>
              </a:cxn>
              <a:cxn ang="0">
                <a:pos x="connsiteX31356" y="connsiteY31356"/>
              </a:cxn>
              <a:cxn ang="0">
                <a:pos x="connsiteX31357" y="connsiteY31357"/>
              </a:cxn>
              <a:cxn ang="0">
                <a:pos x="connsiteX31358" y="connsiteY31358"/>
              </a:cxn>
              <a:cxn ang="0">
                <a:pos x="connsiteX31359" y="connsiteY31359"/>
              </a:cxn>
              <a:cxn ang="0">
                <a:pos x="connsiteX31360" y="connsiteY31360"/>
              </a:cxn>
              <a:cxn ang="0">
                <a:pos x="connsiteX31361" y="connsiteY31361"/>
              </a:cxn>
              <a:cxn ang="0">
                <a:pos x="connsiteX31362" y="connsiteY31362"/>
              </a:cxn>
              <a:cxn ang="0">
                <a:pos x="connsiteX31363" y="connsiteY31363"/>
              </a:cxn>
              <a:cxn ang="0">
                <a:pos x="connsiteX31364" y="connsiteY31364"/>
              </a:cxn>
              <a:cxn ang="0">
                <a:pos x="connsiteX31365" y="connsiteY31365"/>
              </a:cxn>
              <a:cxn ang="0">
                <a:pos x="connsiteX31366" y="connsiteY31366"/>
              </a:cxn>
              <a:cxn ang="0">
                <a:pos x="connsiteX31367" y="connsiteY31367"/>
              </a:cxn>
              <a:cxn ang="0">
                <a:pos x="connsiteX31368" y="connsiteY31368"/>
              </a:cxn>
              <a:cxn ang="0">
                <a:pos x="connsiteX31369" y="connsiteY31369"/>
              </a:cxn>
              <a:cxn ang="0">
                <a:pos x="connsiteX31370" y="connsiteY31370"/>
              </a:cxn>
              <a:cxn ang="0">
                <a:pos x="connsiteX31371" y="connsiteY31371"/>
              </a:cxn>
              <a:cxn ang="0">
                <a:pos x="connsiteX31372" y="connsiteY31372"/>
              </a:cxn>
              <a:cxn ang="0">
                <a:pos x="connsiteX31373" y="connsiteY31373"/>
              </a:cxn>
              <a:cxn ang="0">
                <a:pos x="connsiteX31374" y="connsiteY31374"/>
              </a:cxn>
              <a:cxn ang="0">
                <a:pos x="connsiteX31375" y="connsiteY31375"/>
              </a:cxn>
              <a:cxn ang="0">
                <a:pos x="connsiteX31376" y="connsiteY31376"/>
              </a:cxn>
              <a:cxn ang="0">
                <a:pos x="connsiteX31377" y="connsiteY31377"/>
              </a:cxn>
              <a:cxn ang="0">
                <a:pos x="connsiteX31378" y="connsiteY31378"/>
              </a:cxn>
              <a:cxn ang="0">
                <a:pos x="connsiteX31379" y="connsiteY31379"/>
              </a:cxn>
              <a:cxn ang="0">
                <a:pos x="connsiteX31380" y="connsiteY31380"/>
              </a:cxn>
              <a:cxn ang="0">
                <a:pos x="connsiteX31381" y="connsiteY31381"/>
              </a:cxn>
              <a:cxn ang="0">
                <a:pos x="connsiteX31382" y="connsiteY31382"/>
              </a:cxn>
              <a:cxn ang="0">
                <a:pos x="connsiteX31383" y="connsiteY31383"/>
              </a:cxn>
              <a:cxn ang="0">
                <a:pos x="connsiteX31384" y="connsiteY31384"/>
              </a:cxn>
              <a:cxn ang="0">
                <a:pos x="connsiteX31385" y="connsiteY31385"/>
              </a:cxn>
              <a:cxn ang="0">
                <a:pos x="connsiteX31386" y="connsiteY31386"/>
              </a:cxn>
              <a:cxn ang="0">
                <a:pos x="connsiteX31387" y="connsiteY31387"/>
              </a:cxn>
              <a:cxn ang="0">
                <a:pos x="connsiteX31388" y="connsiteY31388"/>
              </a:cxn>
              <a:cxn ang="0">
                <a:pos x="connsiteX31389" y="connsiteY31389"/>
              </a:cxn>
              <a:cxn ang="0">
                <a:pos x="connsiteX31390" y="connsiteY31390"/>
              </a:cxn>
              <a:cxn ang="0">
                <a:pos x="connsiteX31391" y="connsiteY31391"/>
              </a:cxn>
              <a:cxn ang="0">
                <a:pos x="connsiteX31392" y="connsiteY31392"/>
              </a:cxn>
              <a:cxn ang="0">
                <a:pos x="connsiteX31393" y="connsiteY31393"/>
              </a:cxn>
              <a:cxn ang="0">
                <a:pos x="connsiteX31394" y="connsiteY31394"/>
              </a:cxn>
              <a:cxn ang="0">
                <a:pos x="connsiteX31395" y="connsiteY31395"/>
              </a:cxn>
              <a:cxn ang="0">
                <a:pos x="connsiteX31396" y="connsiteY31396"/>
              </a:cxn>
              <a:cxn ang="0">
                <a:pos x="connsiteX31397" y="connsiteY31397"/>
              </a:cxn>
              <a:cxn ang="0">
                <a:pos x="connsiteX31398" y="connsiteY31398"/>
              </a:cxn>
              <a:cxn ang="0">
                <a:pos x="connsiteX31399" y="connsiteY31399"/>
              </a:cxn>
              <a:cxn ang="0">
                <a:pos x="connsiteX31400" y="connsiteY31400"/>
              </a:cxn>
              <a:cxn ang="0">
                <a:pos x="connsiteX31401" y="connsiteY31401"/>
              </a:cxn>
              <a:cxn ang="0">
                <a:pos x="connsiteX31402" y="connsiteY31402"/>
              </a:cxn>
              <a:cxn ang="0">
                <a:pos x="connsiteX31403" y="connsiteY31403"/>
              </a:cxn>
              <a:cxn ang="0">
                <a:pos x="connsiteX31404" y="connsiteY31404"/>
              </a:cxn>
              <a:cxn ang="0">
                <a:pos x="connsiteX31405" y="connsiteY31405"/>
              </a:cxn>
              <a:cxn ang="0">
                <a:pos x="connsiteX31406" y="connsiteY31406"/>
              </a:cxn>
              <a:cxn ang="0">
                <a:pos x="connsiteX31407" y="connsiteY31407"/>
              </a:cxn>
              <a:cxn ang="0">
                <a:pos x="connsiteX31408" y="connsiteY31408"/>
              </a:cxn>
              <a:cxn ang="0">
                <a:pos x="connsiteX31409" y="connsiteY31409"/>
              </a:cxn>
              <a:cxn ang="0">
                <a:pos x="connsiteX31410" y="connsiteY31410"/>
              </a:cxn>
              <a:cxn ang="0">
                <a:pos x="connsiteX31411" y="connsiteY31411"/>
              </a:cxn>
              <a:cxn ang="0">
                <a:pos x="connsiteX31412" y="connsiteY31412"/>
              </a:cxn>
              <a:cxn ang="0">
                <a:pos x="connsiteX31413" y="connsiteY31413"/>
              </a:cxn>
              <a:cxn ang="0">
                <a:pos x="connsiteX31414" y="connsiteY31414"/>
              </a:cxn>
              <a:cxn ang="0">
                <a:pos x="connsiteX31415" y="connsiteY31415"/>
              </a:cxn>
              <a:cxn ang="0">
                <a:pos x="connsiteX31416" y="connsiteY31416"/>
              </a:cxn>
              <a:cxn ang="0">
                <a:pos x="connsiteX31417" y="connsiteY31417"/>
              </a:cxn>
              <a:cxn ang="0">
                <a:pos x="connsiteX31418" y="connsiteY31418"/>
              </a:cxn>
              <a:cxn ang="0">
                <a:pos x="connsiteX31419" y="connsiteY31419"/>
              </a:cxn>
              <a:cxn ang="0">
                <a:pos x="connsiteX31420" y="connsiteY31420"/>
              </a:cxn>
              <a:cxn ang="0">
                <a:pos x="connsiteX31421" y="connsiteY31421"/>
              </a:cxn>
              <a:cxn ang="0">
                <a:pos x="connsiteX31422" y="connsiteY31422"/>
              </a:cxn>
              <a:cxn ang="0">
                <a:pos x="connsiteX31423" y="connsiteY31423"/>
              </a:cxn>
              <a:cxn ang="0">
                <a:pos x="connsiteX31424" y="connsiteY31424"/>
              </a:cxn>
              <a:cxn ang="0">
                <a:pos x="connsiteX31425" y="connsiteY31425"/>
              </a:cxn>
              <a:cxn ang="0">
                <a:pos x="connsiteX31426" y="connsiteY31426"/>
              </a:cxn>
              <a:cxn ang="0">
                <a:pos x="connsiteX31427" y="connsiteY31427"/>
              </a:cxn>
              <a:cxn ang="0">
                <a:pos x="connsiteX31428" y="connsiteY31428"/>
              </a:cxn>
              <a:cxn ang="0">
                <a:pos x="connsiteX31429" y="connsiteY31429"/>
              </a:cxn>
              <a:cxn ang="0">
                <a:pos x="connsiteX31430" y="connsiteY31430"/>
              </a:cxn>
              <a:cxn ang="0">
                <a:pos x="connsiteX31431" y="connsiteY31431"/>
              </a:cxn>
              <a:cxn ang="0">
                <a:pos x="connsiteX31432" y="connsiteY31432"/>
              </a:cxn>
              <a:cxn ang="0">
                <a:pos x="connsiteX31433" y="connsiteY31433"/>
              </a:cxn>
              <a:cxn ang="0">
                <a:pos x="connsiteX31434" y="connsiteY31434"/>
              </a:cxn>
              <a:cxn ang="0">
                <a:pos x="connsiteX31435" y="connsiteY31435"/>
              </a:cxn>
              <a:cxn ang="0">
                <a:pos x="connsiteX31436" y="connsiteY31436"/>
              </a:cxn>
              <a:cxn ang="0">
                <a:pos x="connsiteX31437" y="connsiteY31437"/>
              </a:cxn>
              <a:cxn ang="0">
                <a:pos x="connsiteX31438" y="connsiteY31438"/>
              </a:cxn>
              <a:cxn ang="0">
                <a:pos x="connsiteX31439" y="connsiteY31439"/>
              </a:cxn>
              <a:cxn ang="0">
                <a:pos x="connsiteX31440" y="connsiteY31440"/>
              </a:cxn>
              <a:cxn ang="0">
                <a:pos x="connsiteX31441" y="connsiteY31441"/>
              </a:cxn>
              <a:cxn ang="0">
                <a:pos x="connsiteX31442" y="connsiteY31442"/>
              </a:cxn>
              <a:cxn ang="0">
                <a:pos x="connsiteX31443" y="connsiteY31443"/>
              </a:cxn>
              <a:cxn ang="0">
                <a:pos x="connsiteX31444" y="connsiteY31444"/>
              </a:cxn>
              <a:cxn ang="0">
                <a:pos x="connsiteX31445" y="connsiteY31445"/>
              </a:cxn>
              <a:cxn ang="0">
                <a:pos x="connsiteX31446" y="connsiteY31446"/>
              </a:cxn>
              <a:cxn ang="0">
                <a:pos x="connsiteX31447" y="connsiteY31447"/>
              </a:cxn>
              <a:cxn ang="0">
                <a:pos x="connsiteX31448" y="connsiteY31448"/>
              </a:cxn>
              <a:cxn ang="0">
                <a:pos x="connsiteX31449" y="connsiteY31449"/>
              </a:cxn>
              <a:cxn ang="0">
                <a:pos x="connsiteX31450" y="connsiteY31450"/>
              </a:cxn>
              <a:cxn ang="0">
                <a:pos x="connsiteX31451" y="connsiteY31451"/>
              </a:cxn>
              <a:cxn ang="0">
                <a:pos x="connsiteX31452" y="connsiteY31452"/>
              </a:cxn>
              <a:cxn ang="0">
                <a:pos x="connsiteX31453" y="connsiteY31453"/>
              </a:cxn>
              <a:cxn ang="0">
                <a:pos x="connsiteX31454" y="connsiteY31454"/>
              </a:cxn>
              <a:cxn ang="0">
                <a:pos x="connsiteX31455" y="connsiteY31455"/>
              </a:cxn>
              <a:cxn ang="0">
                <a:pos x="connsiteX31456" y="connsiteY31456"/>
              </a:cxn>
              <a:cxn ang="0">
                <a:pos x="connsiteX31457" y="connsiteY31457"/>
              </a:cxn>
              <a:cxn ang="0">
                <a:pos x="connsiteX31458" y="connsiteY31458"/>
              </a:cxn>
              <a:cxn ang="0">
                <a:pos x="connsiteX31459" y="connsiteY31459"/>
              </a:cxn>
              <a:cxn ang="0">
                <a:pos x="connsiteX31460" y="connsiteY31460"/>
              </a:cxn>
              <a:cxn ang="0">
                <a:pos x="connsiteX31461" y="connsiteY31461"/>
              </a:cxn>
              <a:cxn ang="0">
                <a:pos x="connsiteX31462" y="connsiteY31462"/>
              </a:cxn>
              <a:cxn ang="0">
                <a:pos x="connsiteX31463" y="connsiteY31463"/>
              </a:cxn>
              <a:cxn ang="0">
                <a:pos x="connsiteX31464" y="connsiteY31464"/>
              </a:cxn>
              <a:cxn ang="0">
                <a:pos x="connsiteX31465" y="connsiteY31465"/>
              </a:cxn>
              <a:cxn ang="0">
                <a:pos x="connsiteX31466" y="connsiteY31466"/>
              </a:cxn>
              <a:cxn ang="0">
                <a:pos x="connsiteX31467" y="connsiteY31467"/>
              </a:cxn>
              <a:cxn ang="0">
                <a:pos x="connsiteX31468" y="connsiteY31468"/>
              </a:cxn>
              <a:cxn ang="0">
                <a:pos x="connsiteX31469" y="connsiteY31469"/>
              </a:cxn>
              <a:cxn ang="0">
                <a:pos x="connsiteX31470" y="connsiteY31470"/>
              </a:cxn>
              <a:cxn ang="0">
                <a:pos x="connsiteX31471" y="connsiteY31471"/>
              </a:cxn>
              <a:cxn ang="0">
                <a:pos x="connsiteX31472" y="connsiteY31472"/>
              </a:cxn>
              <a:cxn ang="0">
                <a:pos x="connsiteX31473" y="connsiteY31473"/>
              </a:cxn>
              <a:cxn ang="0">
                <a:pos x="connsiteX31474" y="connsiteY31474"/>
              </a:cxn>
              <a:cxn ang="0">
                <a:pos x="connsiteX31475" y="connsiteY31475"/>
              </a:cxn>
              <a:cxn ang="0">
                <a:pos x="connsiteX31476" y="connsiteY31476"/>
              </a:cxn>
              <a:cxn ang="0">
                <a:pos x="connsiteX31477" y="connsiteY31477"/>
              </a:cxn>
              <a:cxn ang="0">
                <a:pos x="connsiteX31478" y="connsiteY31478"/>
              </a:cxn>
              <a:cxn ang="0">
                <a:pos x="connsiteX31479" y="connsiteY31479"/>
              </a:cxn>
              <a:cxn ang="0">
                <a:pos x="connsiteX31480" y="connsiteY31480"/>
              </a:cxn>
              <a:cxn ang="0">
                <a:pos x="connsiteX31481" y="connsiteY31481"/>
              </a:cxn>
              <a:cxn ang="0">
                <a:pos x="connsiteX31482" y="connsiteY31482"/>
              </a:cxn>
              <a:cxn ang="0">
                <a:pos x="connsiteX31483" y="connsiteY31483"/>
              </a:cxn>
              <a:cxn ang="0">
                <a:pos x="connsiteX31484" y="connsiteY31484"/>
              </a:cxn>
              <a:cxn ang="0">
                <a:pos x="connsiteX31485" y="connsiteY31485"/>
              </a:cxn>
              <a:cxn ang="0">
                <a:pos x="connsiteX31486" y="connsiteY31486"/>
              </a:cxn>
              <a:cxn ang="0">
                <a:pos x="connsiteX31487" y="connsiteY31487"/>
              </a:cxn>
              <a:cxn ang="0">
                <a:pos x="connsiteX31488" y="connsiteY31488"/>
              </a:cxn>
              <a:cxn ang="0">
                <a:pos x="connsiteX31489" y="connsiteY31489"/>
              </a:cxn>
              <a:cxn ang="0">
                <a:pos x="connsiteX31490" y="connsiteY31490"/>
              </a:cxn>
              <a:cxn ang="0">
                <a:pos x="connsiteX31491" y="connsiteY31491"/>
              </a:cxn>
              <a:cxn ang="0">
                <a:pos x="connsiteX31492" y="connsiteY31492"/>
              </a:cxn>
              <a:cxn ang="0">
                <a:pos x="connsiteX31493" y="connsiteY31493"/>
              </a:cxn>
              <a:cxn ang="0">
                <a:pos x="connsiteX31494" y="connsiteY31494"/>
              </a:cxn>
              <a:cxn ang="0">
                <a:pos x="connsiteX31495" y="connsiteY31495"/>
              </a:cxn>
              <a:cxn ang="0">
                <a:pos x="connsiteX31496" y="connsiteY31496"/>
              </a:cxn>
              <a:cxn ang="0">
                <a:pos x="connsiteX31497" y="connsiteY31497"/>
              </a:cxn>
              <a:cxn ang="0">
                <a:pos x="connsiteX31498" y="connsiteY31498"/>
              </a:cxn>
              <a:cxn ang="0">
                <a:pos x="connsiteX31499" y="connsiteY31499"/>
              </a:cxn>
              <a:cxn ang="0">
                <a:pos x="connsiteX31500" y="connsiteY31500"/>
              </a:cxn>
              <a:cxn ang="0">
                <a:pos x="connsiteX31501" y="connsiteY31501"/>
              </a:cxn>
              <a:cxn ang="0">
                <a:pos x="connsiteX31502" y="connsiteY31502"/>
              </a:cxn>
              <a:cxn ang="0">
                <a:pos x="connsiteX31503" y="connsiteY31503"/>
              </a:cxn>
              <a:cxn ang="0">
                <a:pos x="connsiteX31504" y="connsiteY31504"/>
              </a:cxn>
              <a:cxn ang="0">
                <a:pos x="connsiteX31505" y="connsiteY31505"/>
              </a:cxn>
              <a:cxn ang="0">
                <a:pos x="connsiteX31506" y="connsiteY31506"/>
              </a:cxn>
              <a:cxn ang="0">
                <a:pos x="connsiteX31507" y="connsiteY31507"/>
              </a:cxn>
              <a:cxn ang="0">
                <a:pos x="connsiteX31508" y="connsiteY31508"/>
              </a:cxn>
              <a:cxn ang="0">
                <a:pos x="connsiteX31509" y="connsiteY31509"/>
              </a:cxn>
              <a:cxn ang="0">
                <a:pos x="connsiteX31510" y="connsiteY31510"/>
              </a:cxn>
              <a:cxn ang="0">
                <a:pos x="connsiteX31511" y="connsiteY31511"/>
              </a:cxn>
              <a:cxn ang="0">
                <a:pos x="connsiteX31512" y="connsiteY31512"/>
              </a:cxn>
              <a:cxn ang="0">
                <a:pos x="connsiteX31513" y="connsiteY31513"/>
              </a:cxn>
              <a:cxn ang="0">
                <a:pos x="connsiteX31514" y="connsiteY31514"/>
              </a:cxn>
              <a:cxn ang="0">
                <a:pos x="connsiteX31515" y="connsiteY31515"/>
              </a:cxn>
              <a:cxn ang="0">
                <a:pos x="connsiteX31516" y="connsiteY31516"/>
              </a:cxn>
              <a:cxn ang="0">
                <a:pos x="connsiteX31517" y="connsiteY31517"/>
              </a:cxn>
              <a:cxn ang="0">
                <a:pos x="connsiteX31518" y="connsiteY31518"/>
              </a:cxn>
              <a:cxn ang="0">
                <a:pos x="connsiteX31519" y="connsiteY31519"/>
              </a:cxn>
              <a:cxn ang="0">
                <a:pos x="connsiteX31520" y="connsiteY31520"/>
              </a:cxn>
              <a:cxn ang="0">
                <a:pos x="connsiteX31521" y="connsiteY31521"/>
              </a:cxn>
              <a:cxn ang="0">
                <a:pos x="connsiteX31522" y="connsiteY31522"/>
              </a:cxn>
              <a:cxn ang="0">
                <a:pos x="connsiteX31523" y="connsiteY31523"/>
              </a:cxn>
              <a:cxn ang="0">
                <a:pos x="connsiteX31524" y="connsiteY31524"/>
              </a:cxn>
              <a:cxn ang="0">
                <a:pos x="connsiteX31525" y="connsiteY31525"/>
              </a:cxn>
              <a:cxn ang="0">
                <a:pos x="connsiteX31526" y="connsiteY31526"/>
              </a:cxn>
              <a:cxn ang="0">
                <a:pos x="connsiteX31527" y="connsiteY31527"/>
              </a:cxn>
              <a:cxn ang="0">
                <a:pos x="connsiteX31528" y="connsiteY31528"/>
              </a:cxn>
              <a:cxn ang="0">
                <a:pos x="connsiteX31529" y="connsiteY31529"/>
              </a:cxn>
              <a:cxn ang="0">
                <a:pos x="connsiteX31530" y="connsiteY31530"/>
              </a:cxn>
              <a:cxn ang="0">
                <a:pos x="connsiteX31531" y="connsiteY31531"/>
              </a:cxn>
              <a:cxn ang="0">
                <a:pos x="connsiteX31532" y="connsiteY31532"/>
              </a:cxn>
              <a:cxn ang="0">
                <a:pos x="connsiteX31533" y="connsiteY31533"/>
              </a:cxn>
              <a:cxn ang="0">
                <a:pos x="connsiteX31534" y="connsiteY31534"/>
              </a:cxn>
              <a:cxn ang="0">
                <a:pos x="connsiteX31535" y="connsiteY31535"/>
              </a:cxn>
              <a:cxn ang="0">
                <a:pos x="connsiteX31536" y="connsiteY31536"/>
              </a:cxn>
              <a:cxn ang="0">
                <a:pos x="connsiteX31537" y="connsiteY31537"/>
              </a:cxn>
              <a:cxn ang="0">
                <a:pos x="connsiteX31538" y="connsiteY31538"/>
              </a:cxn>
              <a:cxn ang="0">
                <a:pos x="connsiteX31539" y="connsiteY31539"/>
              </a:cxn>
              <a:cxn ang="0">
                <a:pos x="connsiteX31540" y="connsiteY31540"/>
              </a:cxn>
              <a:cxn ang="0">
                <a:pos x="connsiteX31541" y="connsiteY31541"/>
              </a:cxn>
              <a:cxn ang="0">
                <a:pos x="connsiteX31542" y="connsiteY31542"/>
              </a:cxn>
              <a:cxn ang="0">
                <a:pos x="connsiteX31543" y="connsiteY31543"/>
              </a:cxn>
              <a:cxn ang="0">
                <a:pos x="connsiteX31544" y="connsiteY31544"/>
              </a:cxn>
              <a:cxn ang="0">
                <a:pos x="connsiteX31545" y="connsiteY31545"/>
              </a:cxn>
              <a:cxn ang="0">
                <a:pos x="connsiteX31546" y="connsiteY31546"/>
              </a:cxn>
              <a:cxn ang="0">
                <a:pos x="connsiteX31547" y="connsiteY31547"/>
              </a:cxn>
              <a:cxn ang="0">
                <a:pos x="connsiteX31548" y="connsiteY31548"/>
              </a:cxn>
              <a:cxn ang="0">
                <a:pos x="connsiteX31549" y="connsiteY31549"/>
              </a:cxn>
              <a:cxn ang="0">
                <a:pos x="connsiteX31550" y="connsiteY31550"/>
              </a:cxn>
              <a:cxn ang="0">
                <a:pos x="connsiteX31551" y="connsiteY31551"/>
              </a:cxn>
              <a:cxn ang="0">
                <a:pos x="connsiteX31552" y="connsiteY31552"/>
              </a:cxn>
              <a:cxn ang="0">
                <a:pos x="connsiteX31553" y="connsiteY31553"/>
              </a:cxn>
              <a:cxn ang="0">
                <a:pos x="connsiteX31554" y="connsiteY31554"/>
              </a:cxn>
              <a:cxn ang="0">
                <a:pos x="connsiteX31555" y="connsiteY31555"/>
              </a:cxn>
              <a:cxn ang="0">
                <a:pos x="connsiteX31556" y="connsiteY31556"/>
              </a:cxn>
              <a:cxn ang="0">
                <a:pos x="connsiteX31557" y="connsiteY31557"/>
              </a:cxn>
              <a:cxn ang="0">
                <a:pos x="connsiteX31558" y="connsiteY31558"/>
              </a:cxn>
              <a:cxn ang="0">
                <a:pos x="connsiteX31559" y="connsiteY31559"/>
              </a:cxn>
              <a:cxn ang="0">
                <a:pos x="connsiteX31560" y="connsiteY31560"/>
              </a:cxn>
              <a:cxn ang="0">
                <a:pos x="connsiteX31561" y="connsiteY31561"/>
              </a:cxn>
              <a:cxn ang="0">
                <a:pos x="connsiteX31562" y="connsiteY31562"/>
              </a:cxn>
              <a:cxn ang="0">
                <a:pos x="connsiteX31563" y="connsiteY31563"/>
              </a:cxn>
              <a:cxn ang="0">
                <a:pos x="connsiteX31564" y="connsiteY31564"/>
              </a:cxn>
              <a:cxn ang="0">
                <a:pos x="connsiteX31565" y="connsiteY31565"/>
              </a:cxn>
              <a:cxn ang="0">
                <a:pos x="connsiteX31566" y="connsiteY31566"/>
              </a:cxn>
              <a:cxn ang="0">
                <a:pos x="connsiteX31567" y="connsiteY31567"/>
              </a:cxn>
              <a:cxn ang="0">
                <a:pos x="connsiteX31568" y="connsiteY31568"/>
              </a:cxn>
              <a:cxn ang="0">
                <a:pos x="connsiteX31569" y="connsiteY31569"/>
              </a:cxn>
              <a:cxn ang="0">
                <a:pos x="connsiteX31570" y="connsiteY31570"/>
              </a:cxn>
              <a:cxn ang="0">
                <a:pos x="connsiteX31571" y="connsiteY31571"/>
              </a:cxn>
              <a:cxn ang="0">
                <a:pos x="connsiteX31572" y="connsiteY31572"/>
              </a:cxn>
              <a:cxn ang="0">
                <a:pos x="connsiteX31573" y="connsiteY31573"/>
              </a:cxn>
              <a:cxn ang="0">
                <a:pos x="connsiteX31574" y="connsiteY31574"/>
              </a:cxn>
              <a:cxn ang="0">
                <a:pos x="connsiteX31575" y="connsiteY31575"/>
              </a:cxn>
              <a:cxn ang="0">
                <a:pos x="connsiteX31576" y="connsiteY31576"/>
              </a:cxn>
              <a:cxn ang="0">
                <a:pos x="connsiteX31577" y="connsiteY31577"/>
              </a:cxn>
              <a:cxn ang="0">
                <a:pos x="connsiteX31578" y="connsiteY31578"/>
              </a:cxn>
              <a:cxn ang="0">
                <a:pos x="connsiteX31579" y="connsiteY31579"/>
              </a:cxn>
              <a:cxn ang="0">
                <a:pos x="connsiteX31580" y="connsiteY31580"/>
              </a:cxn>
              <a:cxn ang="0">
                <a:pos x="connsiteX31581" y="connsiteY31581"/>
              </a:cxn>
              <a:cxn ang="0">
                <a:pos x="connsiteX31582" y="connsiteY31582"/>
              </a:cxn>
              <a:cxn ang="0">
                <a:pos x="connsiteX31583" y="connsiteY31583"/>
              </a:cxn>
              <a:cxn ang="0">
                <a:pos x="connsiteX31584" y="connsiteY31584"/>
              </a:cxn>
              <a:cxn ang="0">
                <a:pos x="connsiteX31585" y="connsiteY31585"/>
              </a:cxn>
              <a:cxn ang="0">
                <a:pos x="connsiteX31586" y="connsiteY31586"/>
              </a:cxn>
              <a:cxn ang="0">
                <a:pos x="connsiteX31587" y="connsiteY31587"/>
              </a:cxn>
              <a:cxn ang="0">
                <a:pos x="connsiteX31588" y="connsiteY31588"/>
              </a:cxn>
              <a:cxn ang="0">
                <a:pos x="connsiteX31589" y="connsiteY31589"/>
              </a:cxn>
              <a:cxn ang="0">
                <a:pos x="connsiteX31590" y="connsiteY31590"/>
              </a:cxn>
              <a:cxn ang="0">
                <a:pos x="connsiteX31591" y="connsiteY31591"/>
              </a:cxn>
              <a:cxn ang="0">
                <a:pos x="connsiteX31592" y="connsiteY31592"/>
              </a:cxn>
              <a:cxn ang="0">
                <a:pos x="connsiteX31593" y="connsiteY31593"/>
              </a:cxn>
              <a:cxn ang="0">
                <a:pos x="connsiteX31594" y="connsiteY31594"/>
              </a:cxn>
              <a:cxn ang="0">
                <a:pos x="connsiteX31595" y="connsiteY31595"/>
              </a:cxn>
              <a:cxn ang="0">
                <a:pos x="connsiteX31596" y="connsiteY31596"/>
              </a:cxn>
              <a:cxn ang="0">
                <a:pos x="connsiteX31597" y="connsiteY31597"/>
              </a:cxn>
              <a:cxn ang="0">
                <a:pos x="connsiteX31598" y="connsiteY31598"/>
              </a:cxn>
              <a:cxn ang="0">
                <a:pos x="connsiteX31599" y="connsiteY31599"/>
              </a:cxn>
              <a:cxn ang="0">
                <a:pos x="connsiteX31600" y="connsiteY31600"/>
              </a:cxn>
              <a:cxn ang="0">
                <a:pos x="connsiteX31601" y="connsiteY31601"/>
              </a:cxn>
              <a:cxn ang="0">
                <a:pos x="connsiteX31602" y="connsiteY31602"/>
              </a:cxn>
              <a:cxn ang="0">
                <a:pos x="connsiteX31603" y="connsiteY31603"/>
              </a:cxn>
              <a:cxn ang="0">
                <a:pos x="connsiteX31604" y="connsiteY31604"/>
              </a:cxn>
              <a:cxn ang="0">
                <a:pos x="connsiteX31605" y="connsiteY31605"/>
              </a:cxn>
              <a:cxn ang="0">
                <a:pos x="connsiteX31606" y="connsiteY31606"/>
              </a:cxn>
              <a:cxn ang="0">
                <a:pos x="connsiteX31607" y="connsiteY31607"/>
              </a:cxn>
              <a:cxn ang="0">
                <a:pos x="connsiteX31608" y="connsiteY31608"/>
              </a:cxn>
              <a:cxn ang="0">
                <a:pos x="connsiteX31609" y="connsiteY31609"/>
              </a:cxn>
              <a:cxn ang="0">
                <a:pos x="connsiteX31610" y="connsiteY31610"/>
              </a:cxn>
              <a:cxn ang="0">
                <a:pos x="connsiteX31611" y="connsiteY31611"/>
              </a:cxn>
              <a:cxn ang="0">
                <a:pos x="connsiteX31612" y="connsiteY31612"/>
              </a:cxn>
              <a:cxn ang="0">
                <a:pos x="connsiteX31613" y="connsiteY31613"/>
              </a:cxn>
              <a:cxn ang="0">
                <a:pos x="connsiteX31614" y="connsiteY31614"/>
              </a:cxn>
              <a:cxn ang="0">
                <a:pos x="connsiteX31615" y="connsiteY31615"/>
              </a:cxn>
              <a:cxn ang="0">
                <a:pos x="connsiteX31616" y="connsiteY31616"/>
              </a:cxn>
              <a:cxn ang="0">
                <a:pos x="connsiteX31617" y="connsiteY31617"/>
              </a:cxn>
              <a:cxn ang="0">
                <a:pos x="connsiteX31618" y="connsiteY31618"/>
              </a:cxn>
              <a:cxn ang="0">
                <a:pos x="connsiteX31619" y="connsiteY31619"/>
              </a:cxn>
              <a:cxn ang="0">
                <a:pos x="connsiteX31620" y="connsiteY31620"/>
              </a:cxn>
              <a:cxn ang="0">
                <a:pos x="connsiteX31621" y="connsiteY31621"/>
              </a:cxn>
              <a:cxn ang="0">
                <a:pos x="connsiteX31622" y="connsiteY31622"/>
              </a:cxn>
              <a:cxn ang="0">
                <a:pos x="connsiteX31623" y="connsiteY31623"/>
              </a:cxn>
              <a:cxn ang="0">
                <a:pos x="connsiteX31624" y="connsiteY31624"/>
              </a:cxn>
              <a:cxn ang="0">
                <a:pos x="connsiteX31625" y="connsiteY31625"/>
              </a:cxn>
              <a:cxn ang="0">
                <a:pos x="connsiteX31626" y="connsiteY31626"/>
              </a:cxn>
              <a:cxn ang="0">
                <a:pos x="connsiteX31627" y="connsiteY31627"/>
              </a:cxn>
              <a:cxn ang="0">
                <a:pos x="connsiteX31628" y="connsiteY31628"/>
              </a:cxn>
              <a:cxn ang="0">
                <a:pos x="connsiteX31629" y="connsiteY31629"/>
              </a:cxn>
              <a:cxn ang="0">
                <a:pos x="connsiteX31630" y="connsiteY31630"/>
              </a:cxn>
              <a:cxn ang="0">
                <a:pos x="connsiteX31631" y="connsiteY31631"/>
              </a:cxn>
              <a:cxn ang="0">
                <a:pos x="connsiteX31632" y="connsiteY31632"/>
              </a:cxn>
              <a:cxn ang="0">
                <a:pos x="connsiteX31633" y="connsiteY31633"/>
              </a:cxn>
              <a:cxn ang="0">
                <a:pos x="connsiteX31634" y="connsiteY31634"/>
              </a:cxn>
              <a:cxn ang="0">
                <a:pos x="connsiteX31635" y="connsiteY31635"/>
              </a:cxn>
              <a:cxn ang="0">
                <a:pos x="connsiteX31636" y="connsiteY31636"/>
              </a:cxn>
              <a:cxn ang="0">
                <a:pos x="connsiteX31637" y="connsiteY31637"/>
              </a:cxn>
              <a:cxn ang="0">
                <a:pos x="connsiteX31638" y="connsiteY31638"/>
              </a:cxn>
              <a:cxn ang="0">
                <a:pos x="connsiteX31639" y="connsiteY31639"/>
              </a:cxn>
              <a:cxn ang="0">
                <a:pos x="connsiteX31640" y="connsiteY31640"/>
              </a:cxn>
              <a:cxn ang="0">
                <a:pos x="connsiteX31641" y="connsiteY31641"/>
              </a:cxn>
              <a:cxn ang="0">
                <a:pos x="connsiteX31642" y="connsiteY31642"/>
              </a:cxn>
              <a:cxn ang="0">
                <a:pos x="connsiteX31643" y="connsiteY31643"/>
              </a:cxn>
              <a:cxn ang="0">
                <a:pos x="connsiteX31644" y="connsiteY31644"/>
              </a:cxn>
              <a:cxn ang="0">
                <a:pos x="connsiteX31645" y="connsiteY31645"/>
              </a:cxn>
              <a:cxn ang="0">
                <a:pos x="connsiteX31646" y="connsiteY31646"/>
              </a:cxn>
              <a:cxn ang="0">
                <a:pos x="connsiteX31647" y="connsiteY31647"/>
              </a:cxn>
              <a:cxn ang="0">
                <a:pos x="connsiteX31648" y="connsiteY31648"/>
              </a:cxn>
              <a:cxn ang="0">
                <a:pos x="connsiteX31649" y="connsiteY31649"/>
              </a:cxn>
              <a:cxn ang="0">
                <a:pos x="connsiteX31650" y="connsiteY31650"/>
              </a:cxn>
              <a:cxn ang="0">
                <a:pos x="connsiteX31651" y="connsiteY31651"/>
              </a:cxn>
              <a:cxn ang="0">
                <a:pos x="connsiteX31652" y="connsiteY31652"/>
              </a:cxn>
              <a:cxn ang="0">
                <a:pos x="connsiteX31653" y="connsiteY31653"/>
              </a:cxn>
              <a:cxn ang="0">
                <a:pos x="connsiteX31654" y="connsiteY31654"/>
              </a:cxn>
              <a:cxn ang="0">
                <a:pos x="connsiteX31655" y="connsiteY31655"/>
              </a:cxn>
              <a:cxn ang="0">
                <a:pos x="connsiteX31656" y="connsiteY31656"/>
              </a:cxn>
              <a:cxn ang="0">
                <a:pos x="connsiteX31657" y="connsiteY31657"/>
              </a:cxn>
              <a:cxn ang="0">
                <a:pos x="connsiteX31658" y="connsiteY31658"/>
              </a:cxn>
              <a:cxn ang="0">
                <a:pos x="connsiteX31659" y="connsiteY31659"/>
              </a:cxn>
              <a:cxn ang="0">
                <a:pos x="connsiteX31660" y="connsiteY31660"/>
              </a:cxn>
              <a:cxn ang="0">
                <a:pos x="connsiteX31661" y="connsiteY31661"/>
              </a:cxn>
              <a:cxn ang="0">
                <a:pos x="connsiteX31662" y="connsiteY31662"/>
              </a:cxn>
              <a:cxn ang="0">
                <a:pos x="connsiteX31663" y="connsiteY31663"/>
              </a:cxn>
              <a:cxn ang="0">
                <a:pos x="connsiteX31664" y="connsiteY31664"/>
              </a:cxn>
              <a:cxn ang="0">
                <a:pos x="connsiteX31665" y="connsiteY31665"/>
              </a:cxn>
              <a:cxn ang="0">
                <a:pos x="connsiteX31666" y="connsiteY31666"/>
              </a:cxn>
              <a:cxn ang="0">
                <a:pos x="connsiteX31667" y="connsiteY31667"/>
              </a:cxn>
              <a:cxn ang="0">
                <a:pos x="connsiteX31668" y="connsiteY31668"/>
              </a:cxn>
              <a:cxn ang="0">
                <a:pos x="connsiteX31669" y="connsiteY31669"/>
              </a:cxn>
              <a:cxn ang="0">
                <a:pos x="connsiteX31670" y="connsiteY31670"/>
              </a:cxn>
              <a:cxn ang="0">
                <a:pos x="connsiteX31671" y="connsiteY31671"/>
              </a:cxn>
              <a:cxn ang="0">
                <a:pos x="connsiteX31672" y="connsiteY31672"/>
              </a:cxn>
              <a:cxn ang="0">
                <a:pos x="connsiteX31673" y="connsiteY31673"/>
              </a:cxn>
              <a:cxn ang="0">
                <a:pos x="connsiteX31674" y="connsiteY31674"/>
              </a:cxn>
              <a:cxn ang="0">
                <a:pos x="connsiteX31675" y="connsiteY31675"/>
              </a:cxn>
              <a:cxn ang="0">
                <a:pos x="connsiteX31676" y="connsiteY31676"/>
              </a:cxn>
              <a:cxn ang="0">
                <a:pos x="connsiteX31677" y="connsiteY31677"/>
              </a:cxn>
              <a:cxn ang="0">
                <a:pos x="connsiteX31678" y="connsiteY31678"/>
              </a:cxn>
              <a:cxn ang="0">
                <a:pos x="connsiteX31679" y="connsiteY31679"/>
              </a:cxn>
              <a:cxn ang="0">
                <a:pos x="connsiteX31680" y="connsiteY31680"/>
              </a:cxn>
              <a:cxn ang="0">
                <a:pos x="connsiteX31681" y="connsiteY31681"/>
              </a:cxn>
              <a:cxn ang="0">
                <a:pos x="connsiteX31682" y="connsiteY31682"/>
              </a:cxn>
              <a:cxn ang="0">
                <a:pos x="connsiteX31683" y="connsiteY31683"/>
              </a:cxn>
              <a:cxn ang="0">
                <a:pos x="connsiteX31684" y="connsiteY31684"/>
              </a:cxn>
              <a:cxn ang="0">
                <a:pos x="connsiteX31685" y="connsiteY31685"/>
              </a:cxn>
              <a:cxn ang="0">
                <a:pos x="connsiteX31686" y="connsiteY31686"/>
              </a:cxn>
              <a:cxn ang="0">
                <a:pos x="connsiteX31687" y="connsiteY31687"/>
              </a:cxn>
              <a:cxn ang="0">
                <a:pos x="connsiteX31688" y="connsiteY31688"/>
              </a:cxn>
              <a:cxn ang="0">
                <a:pos x="connsiteX31689" y="connsiteY31689"/>
              </a:cxn>
              <a:cxn ang="0">
                <a:pos x="connsiteX31690" y="connsiteY31690"/>
              </a:cxn>
              <a:cxn ang="0">
                <a:pos x="connsiteX31691" y="connsiteY31691"/>
              </a:cxn>
              <a:cxn ang="0">
                <a:pos x="connsiteX31692" y="connsiteY31692"/>
              </a:cxn>
              <a:cxn ang="0">
                <a:pos x="connsiteX31693" y="connsiteY31693"/>
              </a:cxn>
              <a:cxn ang="0">
                <a:pos x="connsiteX31694" y="connsiteY31694"/>
              </a:cxn>
              <a:cxn ang="0">
                <a:pos x="connsiteX31695" y="connsiteY31695"/>
              </a:cxn>
              <a:cxn ang="0">
                <a:pos x="connsiteX31696" y="connsiteY31696"/>
              </a:cxn>
              <a:cxn ang="0">
                <a:pos x="connsiteX31697" y="connsiteY31697"/>
              </a:cxn>
              <a:cxn ang="0">
                <a:pos x="connsiteX31698" y="connsiteY31698"/>
              </a:cxn>
              <a:cxn ang="0">
                <a:pos x="connsiteX31699" y="connsiteY31699"/>
              </a:cxn>
              <a:cxn ang="0">
                <a:pos x="connsiteX31700" y="connsiteY31700"/>
              </a:cxn>
              <a:cxn ang="0">
                <a:pos x="connsiteX31701" y="connsiteY31701"/>
              </a:cxn>
              <a:cxn ang="0">
                <a:pos x="connsiteX31702" y="connsiteY31702"/>
              </a:cxn>
              <a:cxn ang="0">
                <a:pos x="connsiteX31703" y="connsiteY31703"/>
              </a:cxn>
              <a:cxn ang="0">
                <a:pos x="connsiteX31704" y="connsiteY31704"/>
              </a:cxn>
              <a:cxn ang="0">
                <a:pos x="connsiteX31705" y="connsiteY31705"/>
              </a:cxn>
              <a:cxn ang="0">
                <a:pos x="connsiteX31706" y="connsiteY31706"/>
              </a:cxn>
              <a:cxn ang="0">
                <a:pos x="connsiteX31707" y="connsiteY31707"/>
              </a:cxn>
              <a:cxn ang="0">
                <a:pos x="connsiteX31708" y="connsiteY31708"/>
              </a:cxn>
              <a:cxn ang="0">
                <a:pos x="connsiteX31709" y="connsiteY31709"/>
              </a:cxn>
              <a:cxn ang="0">
                <a:pos x="connsiteX31710" y="connsiteY31710"/>
              </a:cxn>
              <a:cxn ang="0">
                <a:pos x="connsiteX31711" y="connsiteY31711"/>
              </a:cxn>
              <a:cxn ang="0">
                <a:pos x="connsiteX31712" y="connsiteY31712"/>
              </a:cxn>
              <a:cxn ang="0">
                <a:pos x="connsiteX31713" y="connsiteY31713"/>
              </a:cxn>
              <a:cxn ang="0">
                <a:pos x="connsiteX31714" y="connsiteY31714"/>
              </a:cxn>
              <a:cxn ang="0">
                <a:pos x="connsiteX31715" y="connsiteY31715"/>
              </a:cxn>
              <a:cxn ang="0">
                <a:pos x="connsiteX31716" y="connsiteY31716"/>
              </a:cxn>
              <a:cxn ang="0">
                <a:pos x="connsiteX31717" y="connsiteY31717"/>
              </a:cxn>
              <a:cxn ang="0">
                <a:pos x="connsiteX31718" y="connsiteY31718"/>
              </a:cxn>
              <a:cxn ang="0">
                <a:pos x="connsiteX31719" y="connsiteY31719"/>
              </a:cxn>
              <a:cxn ang="0">
                <a:pos x="connsiteX31720" y="connsiteY31720"/>
              </a:cxn>
              <a:cxn ang="0">
                <a:pos x="connsiteX31721" y="connsiteY31721"/>
              </a:cxn>
              <a:cxn ang="0">
                <a:pos x="connsiteX31722" y="connsiteY31722"/>
              </a:cxn>
              <a:cxn ang="0">
                <a:pos x="connsiteX31723" y="connsiteY31723"/>
              </a:cxn>
              <a:cxn ang="0">
                <a:pos x="connsiteX31724" y="connsiteY31724"/>
              </a:cxn>
              <a:cxn ang="0">
                <a:pos x="connsiteX31725" y="connsiteY31725"/>
              </a:cxn>
              <a:cxn ang="0">
                <a:pos x="connsiteX31726" y="connsiteY31726"/>
              </a:cxn>
              <a:cxn ang="0">
                <a:pos x="connsiteX31727" y="connsiteY31727"/>
              </a:cxn>
              <a:cxn ang="0">
                <a:pos x="connsiteX31728" y="connsiteY31728"/>
              </a:cxn>
              <a:cxn ang="0">
                <a:pos x="connsiteX31729" y="connsiteY31729"/>
              </a:cxn>
              <a:cxn ang="0">
                <a:pos x="connsiteX31730" y="connsiteY31730"/>
              </a:cxn>
              <a:cxn ang="0">
                <a:pos x="connsiteX31731" y="connsiteY31731"/>
              </a:cxn>
              <a:cxn ang="0">
                <a:pos x="connsiteX31732" y="connsiteY31732"/>
              </a:cxn>
              <a:cxn ang="0">
                <a:pos x="connsiteX31733" y="connsiteY31733"/>
              </a:cxn>
              <a:cxn ang="0">
                <a:pos x="connsiteX31734" y="connsiteY31734"/>
              </a:cxn>
              <a:cxn ang="0">
                <a:pos x="connsiteX31735" y="connsiteY31735"/>
              </a:cxn>
              <a:cxn ang="0">
                <a:pos x="connsiteX31736" y="connsiteY31736"/>
              </a:cxn>
              <a:cxn ang="0">
                <a:pos x="connsiteX31737" y="connsiteY31737"/>
              </a:cxn>
              <a:cxn ang="0">
                <a:pos x="connsiteX31738" y="connsiteY31738"/>
              </a:cxn>
              <a:cxn ang="0">
                <a:pos x="connsiteX31739" y="connsiteY31739"/>
              </a:cxn>
              <a:cxn ang="0">
                <a:pos x="connsiteX31740" y="connsiteY31740"/>
              </a:cxn>
              <a:cxn ang="0">
                <a:pos x="connsiteX31741" y="connsiteY31741"/>
              </a:cxn>
              <a:cxn ang="0">
                <a:pos x="connsiteX31742" y="connsiteY31742"/>
              </a:cxn>
              <a:cxn ang="0">
                <a:pos x="connsiteX31743" y="connsiteY31743"/>
              </a:cxn>
              <a:cxn ang="0">
                <a:pos x="connsiteX31744" y="connsiteY31744"/>
              </a:cxn>
              <a:cxn ang="0">
                <a:pos x="connsiteX31745" y="connsiteY31745"/>
              </a:cxn>
              <a:cxn ang="0">
                <a:pos x="connsiteX31746" y="connsiteY31746"/>
              </a:cxn>
              <a:cxn ang="0">
                <a:pos x="connsiteX31747" y="connsiteY31747"/>
              </a:cxn>
              <a:cxn ang="0">
                <a:pos x="connsiteX31748" y="connsiteY31748"/>
              </a:cxn>
              <a:cxn ang="0">
                <a:pos x="connsiteX31749" y="connsiteY31749"/>
              </a:cxn>
              <a:cxn ang="0">
                <a:pos x="connsiteX31750" y="connsiteY31750"/>
              </a:cxn>
              <a:cxn ang="0">
                <a:pos x="connsiteX31751" y="connsiteY31751"/>
              </a:cxn>
              <a:cxn ang="0">
                <a:pos x="connsiteX31752" y="connsiteY31752"/>
              </a:cxn>
              <a:cxn ang="0">
                <a:pos x="connsiteX31753" y="connsiteY31753"/>
              </a:cxn>
              <a:cxn ang="0">
                <a:pos x="connsiteX31754" y="connsiteY31754"/>
              </a:cxn>
              <a:cxn ang="0">
                <a:pos x="connsiteX31755" y="connsiteY31755"/>
              </a:cxn>
              <a:cxn ang="0">
                <a:pos x="connsiteX31756" y="connsiteY31756"/>
              </a:cxn>
              <a:cxn ang="0">
                <a:pos x="connsiteX31757" y="connsiteY31757"/>
              </a:cxn>
              <a:cxn ang="0">
                <a:pos x="connsiteX31758" y="connsiteY31758"/>
              </a:cxn>
              <a:cxn ang="0">
                <a:pos x="connsiteX31759" y="connsiteY31759"/>
              </a:cxn>
              <a:cxn ang="0">
                <a:pos x="connsiteX31760" y="connsiteY31760"/>
              </a:cxn>
              <a:cxn ang="0">
                <a:pos x="connsiteX31761" y="connsiteY31761"/>
              </a:cxn>
              <a:cxn ang="0">
                <a:pos x="connsiteX31762" y="connsiteY31762"/>
              </a:cxn>
              <a:cxn ang="0">
                <a:pos x="connsiteX31763" y="connsiteY31763"/>
              </a:cxn>
              <a:cxn ang="0">
                <a:pos x="connsiteX31764" y="connsiteY31764"/>
              </a:cxn>
              <a:cxn ang="0">
                <a:pos x="connsiteX31765" y="connsiteY31765"/>
              </a:cxn>
              <a:cxn ang="0">
                <a:pos x="connsiteX31766" y="connsiteY31766"/>
              </a:cxn>
              <a:cxn ang="0">
                <a:pos x="connsiteX31767" y="connsiteY31767"/>
              </a:cxn>
              <a:cxn ang="0">
                <a:pos x="connsiteX31768" y="connsiteY31768"/>
              </a:cxn>
              <a:cxn ang="0">
                <a:pos x="connsiteX31769" y="connsiteY31769"/>
              </a:cxn>
              <a:cxn ang="0">
                <a:pos x="connsiteX31770" y="connsiteY31770"/>
              </a:cxn>
              <a:cxn ang="0">
                <a:pos x="connsiteX31771" y="connsiteY31771"/>
              </a:cxn>
              <a:cxn ang="0">
                <a:pos x="connsiteX31772" y="connsiteY31772"/>
              </a:cxn>
              <a:cxn ang="0">
                <a:pos x="connsiteX31773" y="connsiteY31773"/>
              </a:cxn>
              <a:cxn ang="0">
                <a:pos x="connsiteX31774" y="connsiteY31774"/>
              </a:cxn>
              <a:cxn ang="0">
                <a:pos x="connsiteX31775" y="connsiteY31775"/>
              </a:cxn>
              <a:cxn ang="0">
                <a:pos x="connsiteX31776" y="connsiteY31776"/>
              </a:cxn>
              <a:cxn ang="0">
                <a:pos x="connsiteX31777" y="connsiteY31777"/>
              </a:cxn>
              <a:cxn ang="0">
                <a:pos x="connsiteX31778" y="connsiteY31778"/>
              </a:cxn>
              <a:cxn ang="0">
                <a:pos x="connsiteX31779" y="connsiteY31779"/>
              </a:cxn>
              <a:cxn ang="0">
                <a:pos x="connsiteX31780" y="connsiteY31780"/>
              </a:cxn>
              <a:cxn ang="0">
                <a:pos x="connsiteX31781" y="connsiteY31781"/>
              </a:cxn>
              <a:cxn ang="0">
                <a:pos x="connsiteX31782" y="connsiteY31782"/>
              </a:cxn>
              <a:cxn ang="0">
                <a:pos x="connsiteX31783" y="connsiteY31783"/>
              </a:cxn>
              <a:cxn ang="0">
                <a:pos x="connsiteX31784" y="connsiteY31784"/>
              </a:cxn>
              <a:cxn ang="0">
                <a:pos x="connsiteX31785" y="connsiteY31785"/>
              </a:cxn>
              <a:cxn ang="0">
                <a:pos x="connsiteX31786" y="connsiteY31786"/>
              </a:cxn>
              <a:cxn ang="0">
                <a:pos x="connsiteX31787" y="connsiteY31787"/>
              </a:cxn>
              <a:cxn ang="0">
                <a:pos x="connsiteX31788" y="connsiteY31788"/>
              </a:cxn>
              <a:cxn ang="0">
                <a:pos x="connsiteX31789" y="connsiteY31789"/>
              </a:cxn>
              <a:cxn ang="0">
                <a:pos x="connsiteX31790" y="connsiteY31790"/>
              </a:cxn>
              <a:cxn ang="0">
                <a:pos x="connsiteX31791" y="connsiteY31791"/>
              </a:cxn>
              <a:cxn ang="0">
                <a:pos x="connsiteX31792" y="connsiteY31792"/>
              </a:cxn>
              <a:cxn ang="0">
                <a:pos x="connsiteX31793" y="connsiteY31793"/>
              </a:cxn>
              <a:cxn ang="0">
                <a:pos x="connsiteX31794" y="connsiteY31794"/>
              </a:cxn>
              <a:cxn ang="0">
                <a:pos x="connsiteX31795" y="connsiteY31795"/>
              </a:cxn>
              <a:cxn ang="0">
                <a:pos x="connsiteX31796" y="connsiteY31796"/>
              </a:cxn>
              <a:cxn ang="0">
                <a:pos x="connsiteX31797" y="connsiteY31797"/>
              </a:cxn>
              <a:cxn ang="0">
                <a:pos x="connsiteX31798" y="connsiteY31798"/>
              </a:cxn>
              <a:cxn ang="0">
                <a:pos x="connsiteX31799" y="connsiteY31799"/>
              </a:cxn>
              <a:cxn ang="0">
                <a:pos x="connsiteX31800" y="connsiteY31800"/>
              </a:cxn>
              <a:cxn ang="0">
                <a:pos x="connsiteX31801" y="connsiteY31801"/>
              </a:cxn>
              <a:cxn ang="0">
                <a:pos x="connsiteX31802" y="connsiteY31802"/>
              </a:cxn>
              <a:cxn ang="0">
                <a:pos x="connsiteX31803" y="connsiteY31803"/>
              </a:cxn>
              <a:cxn ang="0">
                <a:pos x="connsiteX31804" y="connsiteY31804"/>
              </a:cxn>
              <a:cxn ang="0">
                <a:pos x="connsiteX31805" y="connsiteY31805"/>
              </a:cxn>
              <a:cxn ang="0">
                <a:pos x="connsiteX31806" y="connsiteY31806"/>
              </a:cxn>
              <a:cxn ang="0">
                <a:pos x="connsiteX31807" y="connsiteY31807"/>
              </a:cxn>
              <a:cxn ang="0">
                <a:pos x="connsiteX31808" y="connsiteY31808"/>
              </a:cxn>
              <a:cxn ang="0">
                <a:pos x="connsiteX31809" y="connsiteY31809"/>
              </a:cxn>
              <a:cxn ang="0">
                <a:pos x="connsiteX31810" y="connsiteY31810"/>
              </a:cxn>
              <a:cxn ang="0">
                <a:pos x="connsiteX31811" y="connsiteY31811"/>
              </a:cxn>
              <a:cxn ang="0">
                <a:pos x="connsiteX31812" y="connsiteY31812"/>
              </a:cxn>
              <a:cxn ang="0">
                <a:pos x="connsiteX31813" y="connsiteY31813"/>
              </a:cxn>
              <a:cxn ang="0">
                <a:pos x="connsiteX31814" y="connsiteY31814"/>
              </a:cxn>
              <a:cxn ang="0">
                <a:pos x="connsiteX31815" y="connsiteY31815"/>
              </a:cxn>
              <a:cxn ang="0">
                <a:pos x="connsiteX31816" y="connsiteY31816"/>
              </a:cxn>
              <a:cxn ang="0">
                <a:pos x="connsiteX31817" y="connsiteY31817"/>
              </a:cxn>
              <a:cxn ang="0">
                <a:pos x="connsiteX31818" y="connsiteY31818"/>
              </a:cxn>
              <a:cxn ang="0">
                <a:pos x="connsiteX31819" y="connsiteY31819"/>
              </a:cxn>
              <a:cxn ang="0">
                <a:pos x="connsiteX31820" y="connsiteY31820"/>
              </a:cxn>
              <a:cxn ang="0">
                <a:pos x="connsiteX31821" y="connsiteY31821"/>
              </a:cxn>
              <a:cxn ang="0">
                <a:pos x="connsiteX31822" y="connsiteY31822"/>
              </a:cxn>
              <a:cxn ang="0">
                <a:pos x="connsiteX31823" y="connsiteY31823"/>
              </a:cxn>
              <a:cxn ang="0">
                <a:pos x="connsiteX31824" y="connsiteY31824"/>
              </a:cxn>
              <a:cxn ang="0">
                <a:pos x="connsiteX31825" y="connsiteY31825"/>
              </a:cxn>
              <a:cxn ang="0">
                <a:pos x="connsiteX31826" y="connsiteY31826"/>
              </a:cxn>
              <a:cxn ang="0">
                <a:pos x="connsiteX31827" y="connsiteY31827"/>
              </a:cxn>
              <a:cxn ang="0">
                <a:pos x="connsiteX31828" y="connsiteY31828"/>
              </a:cxn>
              <a:cxn ang="0">
                <a:pos x="connsiteX31829" y="connsiteY31829"/>
              </a:cxn>
              <a:cxn ang="0">
                <a:pos x="connsiteX31830" y="connsiteY31830"/>
              </a:cxn>
              <a:cxn ang="0">
                <a:pos x="connsiteX31831" y="connsiteY31831"/>
              </a:cxn>
              <a:cxn ang="0">
                <a:pos x="connsiteX31832" y="connsiteY31832"/>
              </a:cxn>
              <a:cxn ang="0">
                <a:pos x="connsiteX31833" y="connsiteY31833"/>
              </a:cxn>
              <a:cxn ang="0">
                <a:pos x="connsiteX31834" y="connsiteY31834"/>
              </a:cxn>
              <a:cxn ang="0">
                <a:pos x="connsiteX31835" y="connsiteY31835"/>
              </a:cxn>
              <a:cxn ang="0">
                <a:pos x="connsiteX31836" y="connsiteY31836"/>
              </a:cxn>
              <a:cxn ang="0">
                <a:pos x="connsiteX31837" y="connsiteY31837"/>
              </a:cxn>
              <a:cxn ang="0">
                <a:pos x="connsiteX31838" y="connsiteY31838"/>
              </a:cxn>
              <a:cxn ang="0">
                <a:pos x="connsiteX31839" y="connsiteY31839"/>
              </a:cxn>
              <a:cxn ang="0">
                <a:pos x="connsiteX31840" y="connsiteY31840"/>
              </a:cxn>
              <a:cxn ang="0">
                <a:pos x="connsiteX31841" y="connsiteY31841"/>
              </a:cxn>
              <a:cxn ang="0">
                <a:pos x="connsiteX31842" y="connsiteY31842"/>
              </a:cxn>
              <a:cxn ang="0">
                <a:pos x="connsiteX31843" y="connsiteY31843"/>
              </a:cxn>
              <a:cxn ang="0">
                <a:pos x="connsiteX31844" y="connsiteY31844"/>
              </a:cxn>
              <a:cxn ang="0">
                <a:pos x="connsiteX31845" y="connsiteY31845"/>
              </a:cxn>
              <a:cxn ang="0">
                <a:pos x="connsiteX31846" y="connsiteY31846"/>
              </a:cxn>
              <a:cxn ang="0">
                <a:pos x="connsiteX31847" y="connsiteY31847"/>
              </a:cxn>
              <a:cxn ang="0">
                <a:pos x="connsiteX31848" y="connsiteY31848"/>
              </a:cxn>
              <a:cxn ang="0">
                <a:pos x="connsiteX31849" y="connsiteY31849"/>
              </a:cxn>
              <a:cxn ang="0">
                <a:pos x="connsiteX31850" y="connsiteY31850"/>
              </a:cxn>
              <a:cxn ang="0">
                <a:pos x="connsiteX31851" y="connsiteY31851"/>
              </a:cxn>
              <a:cxn ang="0">
                <a:pos x="connsiteX31852" y="connsiteY31852"/>
              </a:cxn>
              <a:cxn ang="0">
                <a:pos x="connsiteX31853" y="connsiteY31853"/>
              </a:cxn>
              <a:cxn ang="0">
                <a:pos x="connsiteX31854" y="connsiteY31854"/>
              </a:cxn>
              <a:cxn ang="0">
                <a:pos x="connsiteX31855" y="connsiteY31855"/>
              </a:cxn>
              <a:cxn ang="0">
                <a:pos x="connsiteX31856" y="connsiteY31856"/>
              </a:cxn>
              <a:cxn ang="0">
                <a:pos x="connsiteX31857" y="connsiteY31857"/>
              </a:cxn>
              <a:cxn ang="0">
                <a:pos x="connsiteX31858" y="connsiteY31858"/>
              </a:cxn>
              <a:cxn ang="0">
                <a:pos x="connsiteX31859" y="connsiteY31859"/>
              </a:cxn>
              <a:cxn ang="0">
                <a:pos x="connsiteX31860" y="connsiteY31860"/>
              </a:cxn>
              <a:cxn ang="0">
                <a:pos x="connsiteX31861" y="connsiteY31861"/>
              </a:cxn>
              <a:cxn ang="0">
                <a:pos x="connsiteX31862" y="connsiteY31862"/>
              </a:cxn>
              <a:cxn ang="0">
                <a:pos x="connsiteX31863" y="connsiteY31863"/>
              </a:cxn>
              <a:cxn ang="0">
                <a:pos x="connsiteX31864" y="connsiteY31864"/>
              </a:cxn>
              <a:cxn ang="0">
                <a:pos x="connsiteX31865" y="connsiteY31865"/>
              </a:cxn>
              <a:cxn ang="0">
                <a:pos x="connsiteX31866" y="connsiteY31866"/>
              </a:cxn>
              <a:cxn ang="0">
                <a:pos x="connsiteX31867" y="connsiteY31867"/>
              </a:cxn>
              <a:cxn ang="0">
                <a:pos x="connsiteX31868" y="connsiteY31868"/>
              </a:cxn>
              <a:cxn ang="0">
                <a:pos x="connsiteX31869" y="connsiteY31869"/>
              </a:cxn>
              <a:cxn ang="0">
                <a:pos x="connsiteX31870" y="connsiteY31870"/>
              </a:cxn>
              <a:cxn ang="0">
                <a:pos x="connsiteX31871" y="connsiteY31871"/>
              </a:cxn>
              <a:cxn ang="0">
                <a:pos x="connsiteX31872" y="connsiteY31872"/>
              </a:cxn>
              <a:cxn ang="0">
                <a:pos x="connsiteX31873" y="connsiteY31873"/>
              </a:cxn>
              <a:cxn ang="0">
                <a:pos x="connsiteX31874" y="connsiteY31874"/>
              </a:cxn>
              <a:cxn ang="0">
                <a:pos x="connsiteX31875" y="connsiteY31875"/>
              </a:cxn>
              <a:cxn ang="0">
                <a:pos x="connsiteX31876" y="connsiteY31876"/>
              </a:cxn>
              <a:cxn ang="0">
                <a:pos x="connsiteX31877" y="connsiteY31877"/>
              </a:cxn>
              <a:cxn ang="0">
                <a:pos x="connsiteX31878" y="connsiteY31878"/>
              </a:cxn>
              <a:cxn ang="0">
                <a:pos x="connsiteX31879" y="connsiteY31879"/>
              </a:cxn>
              <a:cxn ang="0">
                <a:pos x="connsiteX31880" y="connsiteY31880"/>
              </a:cxn>
              <a:cxn ang="0">
                <a:pos x="connsiteX31881" y="connsiteY31881"/>
              </a:cxn>
              <a:cxn ang="0">
                <a:pos x="connsiteX31882" y="connsiteY31882"/>
              </a:cxn>
              <a:cxn ang="0">
                <a:pos x="connsiteX31883" y="connsiteY31883"/>
              </a:cxn>
              <a:cxn ang="0">
                <a:pos x="connsiteX31884" y="connsiteY31884"/>
              </a:cxn>
              <a:cxn ang="0">
                <a:pos x="connsiteX31885" y="connsiteY31885"/>
              </a:cxn>
              <a:cxn ang="0">
                <a:pos x="connsiteX31886" y="connsiteY31886"/>
              </a:cxn>
              <a:cxn ang="0">
                <a:pos x="connsiteX31887" y="connsiteY31887"/>
              </a:cxn>
              <a:cxn ang="0">
                <a:pos x="connsiteX31888" y="connsiteY31888"/>
              </a:cxn>
              <a:cxn ang="0">
                <a:pos x="connsiteX31889" y="connsiteY31889"/>
              </a:cxn>
              <a:cxn ang="0">
                <a:pos x="connsiteX31890" y="connsiteY31890"/>
              </a:cxn>
              <a:cxn ang="0">
                <a:pos x="connsiteX31891" y="connsiteY31891"/>
              </a:cxn>
              <a:cxn ang="0">
                <a:pos x="connsiteX31892" y="connsiteY31892"/>
              </a:cxn>
              <a:cxn ang="0">
                <a:pos x="connsiteX31893" y="connsiteY31893"/>
              </a:cxn>
              <a:cxn ang="0">
                <a:pos x="connsiteX31894" y="connsiteY31894"/>
              </a:cxn>
              <a:cxn ang="0">
                <a:pos x="connsiteX31895" y="connsiteY31895"/>
              </a:cxn>
              <a:cxn ang="0">
                <a:pos x="connsiteX31896" y="connsiteY31896"/>
              </a:cxn>
              <a:cxn ang="0">
                <a:pos x="connsiteX31897" y="connsiteY31897"/>
              </a:cxn>
              <a:cxn ang="0">
                <a:pos x="connsiteX31898" y="connsiteY31898"/>
              </a:cxn>
              <a:cxn ang="0">
                <a:pos x="connsiteX31899" y="connsiteY31899"/>
              </a:cxn>
              <a:cxn ang="0">
                <a:pos x="connsiteX31900" y="connsiteY31900"/>
              </a:cxn>
              <a:cxn ang="0">
                <a:pos x="connsiteX31901" y="connsiteY31901"/>
              </a:cxn>
              <a:cxn ang="0">
                <a:pos x="connsiteX31902" y="connsiteY31902"/>
              </a:cxn>
              <a:cxn ang="0">
                <a:pos x="connsiteX31903" y="connsiteY31903"/>
              </a:cxn>
              <a:cxn ang="0">
                <a:pos x="connsiteX31904" y="connsiteY31904"/>
              </a:cxn>
              <a:cxn ang="0">
                <a:pos x="connsiteX31905" y="connsiteY31905"/>
              </a:cxn>
              <a:cxn ang="0">
                <a:pos x="connsiteX31906" y="connsiteY31906"/>
              </a:cxn>
              <a:cxn ang="0">
                <a:pos x="connsiteX31907" y="connsiteY31907"/>
              </a:cxn>
              <a:cxn ang="0">
                <a:pos x="connsiteX31908" y="connsiteY31908"/>
              </a:cxn>
              <a:cxn ang="0">
                <a:pos x="connsiteX31909" y="connsiteY31909"/>
              </a:cxn>
              <a:cxn ang="0">
                <a:pos x="connsiteX31910" y="connsiteY31910"/>
              </a:cxn>
              <a:cxn ang="0">
                <a:pos x="connsiteX31911" y="connsiteY31911"/>
              </a:cxn>
              <a:cxn ang="0">
                <a:pos x="connsiteX31912" y="connsiteY31912"/>
              </a:cxn>
              <a:cxn ang="0">
                <a:pos x="connsiteX31913" y="connsiteY31913"/>
              </a:cxn>
              <a:cxn ang="0">
                <a:pos x="connsiteX31914" y="connsiteY31914"/>
              </a:cxn>
              <a:cxn ang="0">
                <a:pos x="connsiteX31915" y="connsiteY31915"/>
              </a:cxn>
              <a:cxn ang="0">
                <a:pos x="connsiteX31916" y="connsiteY31916"/>
              </a:cxn>
              <a:cxn ang="0">
                <a:pos x="connsiteX31917" y="connsiteY31917"/>
              </a:cxn>
              <a:cxn ang="0">
                <a:pos x="connsiteX31918" y="connsiteY31918"/>
              </a:cxn>
              <a:cxn ang="0">
                <a:pos x="connsiteX31919" y="connsiteY31919"/>
              </a:cxn>
              <a:cxn ang="0">
                <a:pos x="connsiteX31920" y="connsiteY31920"/>
              </a:cxn>
              <a:cxn ang="0">
                <a:pos x="connsiteX31921" y="connsiteY31921"/>
              </a:cxn>
              <a:cxn ang="0">
                <a:pos x="connsiteX31922" y="connsiteY31922"/>
              </a:cxn>
              <a:cxn ang="0">
                <a:pos x="connsiteX31923" y="connsiteY31923"/>
              </a:cxn>
              <a:cxn ang="0">
                <a:pos x="connsiteX31924" y="connsiteY31924"/>
              </a:cxn>
              <a:cxn ang="0">
                <a:pos x="connsiteX31925" y="connsiteY31925"/>
              </a:cxn>
              <a:cxn ang="0">
                <a:pos x="connsiteX31926" y="connsiteY31926"/>
              </a:cxn>
              <a:cxn ang="0">
                <a:pos x="connsiteX31927" y="connsiteY31927"/>
              </a:cxn>
              <a:cxn ang="0">
                <a:pos x="connsiteX31928" y="connsiteY31928"/>
              </a:cxn>
              <a:cxn ang="0">
                <a:pos x="connsiteX31929" y="connsiteY31929"/>
              </a:cxn>
              <a:cxn ang="0">
                <a:pos x="connsiteX31930" y="connsiteY31930"/>
              </a:cxn>
              <a:cxn ang="0">
                <a:pos x="connsiteX31931" y="connsiteY31931"/>
              </a:cxn>
              <a:cxn ang="0">
                <a:pos x="connsiteX31932" y="connsiteY31932"/>
              </a:cxn>
              <a:cxn ang="0">
                <a:pos x="connsiteX31933" y="connsiteY31933"/>
              </a:cxn>
              <a:cxn ang="0">
                <a:pos x="connsiteX31934" y="connsiteY31934"/>
              </a:cxn>
              <a:cxn ang="0">
                <a:pos x="connsiteX31935" y="connsiteY31935"/>
              </a:cxn>
              <a:cxn ang="0">
                <a:pos x="connsiteX31936" y="connsiteY31936"/>
              </a:cxn>
              <a:cxn ang="0">
                <a:pos x="connsiteX31937" y="connsiteY31937"/>
              </a:cxn>
              <a:cxn ang="0">
                <a:pos x="connsiteX31938" y="connsiteY31938"/>
              </a:cxn>
              <a:cxn ang="0">
                <a:pos x="connsiteX31939" y="connsiteY31939"/>
              </a:cxn>
              <a:cxn ang="0">
                <a:pos x="connsiteX31940" y="connsiteY31940"/>
              </a:cxn>
              <a:cxn ang="0">
                <a:pos x="connsiteX31941" y="connsiteY31941"/>
              </a:cxn>
              <a:cxn ang="0">
                <a:pos x="connsiteX31942" y="connsiteY31942"/>
              </a:cxn>
              <a:cxn ang="0">
                <a:pos x="connsiteX31943" y="connsiteY31943"/>
              </a:cxn>
              <a:cxn ang="0">
                <a:pos x="connsiteX31944" y="connsiteY31944"/>
              </a:cxn>
              <a:cxn ang="0">
                <a:pos x="connsiteX31945" y="connsiteY31945"/>
              </a:cxn>
              <a:cxn ang="0">
                <a:pos x="connsiteX31946" y="connsiteY31946"/>
              </a:cxn>
              <a:cxn ang="0">
                <a:pos x="connsiteX31947" y="connsiteY31947"/>
              </a:cxn>
              <a:cxn ang="0">
                <a:pos x="connsiteX31948" y="connsiteY31948"/>
              </a:cxn>
              <a:cxn ang="0">
                <a:pos x="connsiteX31949" y="connsiteY31949"/>
              </a:cxn>
              <a:cxn ang="0">
                <a:pos x="connsiteX31950" y="connsiteY31950"/>
              </a:cxn>
              <a:cxn ang="0">
                <a:pos x="connsiteX31951" y="connsiteY31951"/>
              </a:cxn>
              <a:cxn ang="0">
                <a:pos x="connsiteX31952" y="connsiteY31952"/>
              </a:cxn>
              <a:cxn ang="0">
                <a:pos x="connsiteX31953" y="connsiteY31953"/>
              </a:cxn>
              <a:cxn ang="0">
                <a:pos x="connsiteX31954" y="connsiteY31954"/>
              </a:cxn>
              <a:cxn ang="0">
                <a:pos x="connsiteX31955" y="connsiteY31955"/>
              </a:cxn>
              <a:cxn ang="0">
                <a:pos x="connsiteX31956" y="connsiteY31956"/>
              </a:cxn>
              <a:cxn ang="0">
                <a:pos x="connsiteX31957" y="connsiteY31957"/>
              </a:cxn>
              <a:cxn ang="0">
                <a:pos x="connsiteX31958" y="connsiteY31958"/>
              </a:cxn>
              <a:cxn ang="0">
                <a:pos x="connsiteX31959" y="connsiteY31959"/>
              </a:cxn>
              <a:cxn ang="0">
                <a:pos x="connsiteX31960" y="connsiteY31960"/>
              </a:cxn>
              <a:cxn ang="0">
                <a:pos x="connsiteX31961" y="connsiteY31961"/>
              </a:cxn>
              <a:cxn ang="0">
                <a:pos x="connsiteX31962" y="connsiteY31962"/>
              </a:cxn>
              <a:cxn ang="0">
                <a:pos x="connsiteX31963" y="connsiteY31963"/>
              </a:cxn>
              <a:cxn ang="0">
                <a:pos x="connsiteX31964" y="connsiteY31964"/>
              </a:cxn>
              <a:cxn ang="0">
                <a:pos x="connsiteX31965" y="connsiteY31965"/>
              </a:cxn>
              <a:cxn ang="0">
                <a:pos x="connsiteX31966" y="connsiteY31966"/>
              </a:cxn>
              <a:cxn ang="0">
                <a:pos x="connsiteX31967" y="connsiteY31967"/>
              </a:cxn>
              <a:cxn ang="0">
                <a:pos x="connsiteX31968" y="connsiteY31968"/>
              </a:cxn>
              <a:cxn ang="0">
                <a:pos x="connsiteX31969" y="connsiteY31969"/>
              </a:cxn>
              <a:cxn ang="0">
                <a:pos x="connsiteX31970" y="connsiteY31970"/>
              </a:cxn>
              <a:cxn ang="0">
                <a:pos x="connsiteX31971" y="connsiteY31971"/>
              </a:cxn>
              <a:cxn ang="0">
                <a:pos x="connsiteX31972" y="connsiteY31972"/>
              </a:cxn>
              <a:cxn ang="0">
                <a:pos x="connsiteX31973" y="connsiteY31973"/>
              </a:cxn>
              <a:cxn ang="0">
                <a:pos x="connsiteX31974" y="connsiteY31974"/>
              </a:cxn>
              <a:cxn ang="0">
                <a:pos x="connsiteX31975" y="connsiteY31975"/>
              </a:cxn>
              <a:cxn ang="0">
                <a:pos x="connsiteX31976" y="connsiteY31976"/>
              </a:cxn>
              <a:cxn ang="0">
                <a:pos x="connsiteX31977" y="connsiteY31977"/>
              </a:cxn>
              <a:cxn ang="0">
                <a:pos x="connsiteX31978" y="connsiteY31978"/>
              </a:cxn>
              <a:cxn ang="0">
                <a:pos x="connsiteX31979" y="connsiteY31979"/>
              </a:cxn>
              <a:cxn ang="0">
                <a:pos x="connsiteX31980" y="connsiteY31980"/>
              </a:cxn>
              <a:cxn ang="0">
                <a:pos x="connsiteX31981" y="connsiteY31981"/>
              </a:cxn>
              <a:cxn ang="0">
                <a:pos x="connsiteX31982" y="connsiteY31982"/>
              </a:cxn>
              <a:cxn ang="0">
                <a:pos x="connsiteX31983" y="connsiteY31983"/>
              </a:cxn>
              <a:cxn ang="0">
                <a:pos x="connsiteX31984" y="connsiteY31984"/>
              </a:cxn>
              <a:cxn ang="0">
                <a:pos x="connsiteX31985" y="connsiteY31985"/>
              </a:cxn>
              <a:cxn ang="0">
                <a:pos x="connsiteX31986" y="connsiteY31986"/>
              </a:cxn>
              <a:cxn ang="0">
                <a:pos x="connsiteX31987" y="connsiteY31987"/>
              </a:cxn>
              <a:cxn ang="0">
                <a:pos x="connsiteX31988" y="connsiteY31988"/>
              </a:cxn>
              <a:cxn ang="0">
                <a:pos x="connsiteX31989" y="connsiteY31989"/>
              </a:cxn>
              <a:cxn ang="0">
                <a:pos x="connsiteX31990" y="connsiteY31990"/>
              </a:cxn>
              <a:cxn ang="0">
                <a:pos x="connsiteX31991" y="connsiteY31991"/>
              </a:cxn>
              <a:cxn ang="0">
                <a:pos x="connsiteX31992" y="connsiteY31992"/>
              </a:cxn>
              <a:cxn ang="0">
                <a:pos x="connsiteX31993" y="connsiteY31993"/>
              </a:cxn>
              <a:cxn ang="0">
                <a:pos x="connsiteX31994" y="connsiteY31994"/>
              </a:cxn>
              <a:cxn ang="0">
                <a:pos x="connsiteX31995" y="connsiteY31995"/>
              </a:cxn>
              <a:cxn ang="0">
                <a:pos x="connsiteX31996" y="connsiteY31996"/>
              </a:cxn>
              <a:cxn ang="0">
                <a:pos x="connsiteX31997" y="connsiteY31997"/>
              </a:cxn>
              <a:cxn ang="0">
                <a:pos x="connsiteX31998" y="connsiteY31998"/>
              </a:cxn>
              <a:cxn ang="0">
                <a:pos x="connsiteX31999" y="connsiteY31999"/>
              </a:cxn>
              <a:cxn ang="0">
                <a:pos x="connsiteX32000" y="connsiteY32000"/>
              </a:cxn>
              <a:cxn ang="0">
                <a:pos x="connsiteX32001" y="connsiteY32001"/>
              </a:cxn>
              <a:cxn ang="0">
                <a:pos x="connsiteX32002" y="connsiteY32002"/>
              </a:cxn>
              <a:cxn ang="0">
                <a:pos x="connsiteX32003" y="connsiteY32003"/>
              </a:cxn>
              <a:cxn ang="0">
                <a:pos x="connsiteX32004" y="connsiteY32004"/>
              </a:cxn>
              <a:cxn ang="0">
                <a:pos x="connsiteX32005" y="connsiteY32005"/>
              </a:cxn>
              <a:cxn ang="0">
                <a:pos x="connsiteX32006" y="connsiteY32006"/>
              </a:cxn>
              <a:cxn ang="0">
                <a:pos x="connsiteX32007" y="connsiteY32007"/>
              </a:cxn>
              <a:cxn ang="0">
                <a:pos x="connsiteX32008" y="connsiteY32008"/>
              </a:cxn>
              <a:cxn ang="0">
                <a:pos x="connsiteX32009" y="connsiteY32009"/>
              </a:cxn>
              <a:cxn ang="0">
                <a:pos x="connsiteX32010" y="connsiteY32010"/>
              </a:cxn>
              <a:cxn ang="0">
                <a:pos x="connsiteX32011" y="connsiteY32011"/>
              </a:cxn>
              <a:cxn ang="0">
                <a:pos x="connsiteX32012" y="connsiteY32012"/>
              </a:cxn>
              <a:cxn ang="0">
                <a:pos x="connsiteX32013" y="connsiteY32013"/>
              </a:cxn>
              <a:cxn ang="0">
                <a:pos x="connsiteX32014" y="connsiteY32014"/>
              </a:cxn>
              <a:cxn ang="0">
                <a:pos x="connsiteX32015" y="connsiteY32015"/>
              </a:cxn>
              <a:cxn ang="0">
                <a:pos x="connsiteX32016" y="connsiteY32016"/>
              </a:cxn>
              <a:cxn ang="0">
                <a:pos x="connsiteX32017" y="connsiteY32017"/>
              </a:cxn>
              <a:cxn ang="0">
                <a:pos x="connsiteX32018" y="connsiteY32018"/>
              </a:cxn>
              <a:cxn ang="0">
                <a:pos x="connsiteX32019" y="connsiteY32019"/>
              </a:cxn>
              <a:cxn ang="0">
                <a:pos x="connsiteX32020" y="connsiteY32020"/>
              </a:cxn>
              <a:cxn ang="0">
                <a:pos x="connsiteX32021" y="connsiteY32021"/>
              </a:cxn>
              <a:cxn ang="0">
                <a:pos x="connsiteX32022" y="connsiteY32022"/>
              </a:cxn>
              <a:cxn ang="0">
                <a:pos x="connsiteX32023" y="connsiteY32023"/>
              </a:cxn>
              <a:cxn ang="0">
                <a:pos x="connsiteX32024" y="connsiteY32024"/>
              </a:cxn>
              <a:cxn ang="0">
                <a:pos x="connsiteX32025" y="connsiteY32025"/>
              </a:cxn>
              <a:cxn ang="0">
                <a:pos x="connsiteX32026" y="connsiteY32026"/>
              </a:cxn>
              <a:cxn ang="0">
                <a:pos x="connsiteX32027" y="connsiteY32027"/>
              </a:cxn>
              <a:cxn ang="0">
                <a:pos x="connsiteX32028" y="connsiteY32028"/>
              </a:cxn>
              <a:cxn ang="0">
                <a:pos x="connsiteX32029" y="connsiteY32029"/>
              </a:cxn>
              <a:cxn ang="0">
                <a:pos x="connsiteX32030" y="connsiteY32030"/>
              </a:cxn>
              <a:cxn ang="0">
                <a:pos x="connsiteX32031" y="connsiteY32031"/>
              </a:cxn>
              <a:cxn ang="0">
                <a:pos x="connsiteX32032" y="connsiteY32032"/>
              </a:cxn>
              <a:cxn ang="0">
                <a:pos x="connsiteX32033" y="connsiteY32033"/>
              </a:cxn>
              <a:cxn ang="0">
                <a:pos x="connsiteX32034" y="connsiteY32034"/>
              </a:cxn>
              <a:cxn ang="0">
                <a:pos x="connsiteX32035" y="connsiteY32035"/>
              </a:cxn>
              <a:cxn ang="0">
                <a:pos x="connsiteX32036" y="connsiteY32036"/>
              </a:cxn>
              <a:cxn ang="0">
                <a:pos x="connsiteX32037" y="connsiteY32037"/>
              </a:cxn>
              <a:cxn ang="0">
                <a:pos x="connsiteX32038" y="connsiteY32038"/>
              </a:cxn>
              <a:cxn ang="0">
                <a:pos x="connsiteX32039" y="connsiteY32039"/>
              </a:cxn>
              <a:cxn ang="0">
                <a:pos x="connsiteX32040" y="connsiteY32040"/>
              </a:cxn>
              <a:cxn ang="0">
                <a:pos x="connsiteX32041" y="connsiteY32041"/>
              </a:cxn>
              <a:cxn ang="0">
                <a:pos x="connsiteX32042" y="connsiteY32042"/>
              </a:cxn>
              <a:cxn ang="0">
                <a:pos x="connsiteX32043" y="connsiteY32043"/>
              </a:cxn>
              <a:cxn ang="0">
                <a:pos x="connsiteX32044" y="connsiteY32044"/>
              </a:cxn>
              <a:cxn ang="0">
                <a:pos x="connsiteX32045" y="connsiteY32045"/>
              </a:cxn>
              <a:cxn ang="0">
                <a:pos x="connsiteX32046" y="connsiteY32046"/>
              </a:cxn>
              <a:cxn ang="0">
                <a:pos x="connsiteX32047" y="connsiteY32047"/>
              </a:cxn>
              <a:cxn ang="0">
                <a:pos x="connsiteX32048" y="connsiteY32048"/>
              </a:cxn>
              <a:cxn ang="0">
                <a:pos x="connsiteX32049" y="connsiteY32049"/>
              </a:cxn>
              <a:cxn ang="0">
                <a:pos x="connsiteX32050" y="connsiteY32050"/>
              </a:cxn>
              <a:cxn ang="0">
                <a:pos x="connsiteX32051" y="connsiteY32051"/>
              </a:cxn>
              <a:cxn ang="0">
                <a:pos x="connsiteX32052" y="connsiteY32052"/>
              </a:cxn>
              <a:cxn ang="0">
                <a:pos x="connsiteX32053" y="connsiteY32053"/>
              </a:cxn>
              <a:cxn ang="0">
                <a:pos x="connsiteX32054" y="connsiteY32054"/>
              </a:cxn>
              <a:cxn ang="0">
                <a:pos x="connsiteX32055" y="connsiteY32055"/>
              </a:cxn>
              <a:cxn ang="0">
                <a:pos x="connsiteX32056" y="connsiteY32056"/>
              </a:cxn>
              <a:cxn ang="0">
                <a:pos x="connsiteX32057" y="connsiteY32057"/>
              </a:cxn>
              <a:cxn ang="0">
                <a:pos x="connsiteX32058" y="connsiteY32058"/>
              </a:cxn>
              <a:cxn ang="0">
                <a:pos x="connsiteX32059" y="connsiteY32059"/>
              </a:cxn>
              <a:cxn ang="0">
                <a:pos x="connsiteX32060" y="connsiteY32060"/>
              </a:cxn>
              <a:cxn ang="0">
                <a:pos x="connsiteX32061" y="connsiteY32061"/>
              </a:cxn>
              <a:cxn ang="0">
                <a:pos x="connsiteX32062" y="connsiteY32062"/>
              </a:cxn>
              <a:cxn ang="0">
                <a:pos x="connsiteX32063" y="connsiteY32063"/>
              </a:cxn>
              <a:cxn ang="0">
                <a:pos x="connsiteX32064" y="connsiteY32064"/>
              </a:cxn>
              <a:cxn ang="0">
                <a:pos x="connsiteX32065" y="connsiteY32065"/>
              </a:cxn>
              <a:cxn ang="0">
                <a:pos x="connsiteX32066" y="connsiteY32066"/>
              </a:cxn>
              <a:cxn ang="0">
                <a:pos x="connsiteX32067" y="connsiteY32067"/>
              </a:cxn>
              <a:cxn ang="0">
                <a:pos x="connsiteX32068" y="connsiteY32068"/>
              </a:cxn>
              <a:cxn ang="0">
                <a:pos x="connsiteX32069" y="connsiteY32069"/>
              </a:cxn>
              <a:cxn ang="0">
                <a:pos x="connsiteX32070" y="connsiteY32070"/>
              </a:cxn>
              <a:cxn ang="0">
                <a:pos x="connsiteX32071" y="connsiteY32071"/>
              </a:cxn>
              <a:cxn ang="0">
                <a:pos x="connsiteX32072" y="connsiteY32072"/>
              </a:cxn>
              <a:cxn ang="0">
                <a:pos x="connsiteX32073" y="connsiteY32073"/>
              </a:cxn>
              <a:cxn ang="0">
                <a:pos x="connsiteX32074" y="connsiteY32074"/>
              </a:cxn>
              <a:cxn ang="0">
                <a:pos x="connsiteX32075" y="connsiteY32075"/>
              </a:cxn>
              <a:cxn ang="0">
                <a:pos x="connsiteX32076" y="connsiteY32076"/>
              </a:cxn>
              <a:cxn ang="0">
                <a:pos x="connsiteX32077" y="connsiteY32077"/>
              </a:cxn>
              <a:cxn ang="0">
                <a:pos x="connsiteX32078" y="connsiteY32078"/>
              </a:cxn>
              <a:cxn ang="0">
                <a:pos x="connsiteX32079" y="connsiteY32079"/>
              </a:cxn>
              <a:cxn ang="0">
                <a:pos x="connsiteX32080" y="connsiteY32080"/>
              </a:cxn>
              <a:cxn ang="0">
                <a:pos x="connsiteX32081" y="connsiteY32081"/>
              </a:cxn>
              <a:cxn ang="0">
                <a:pos x="connsiteX32082" y="connsiteY32082"/>
              </a:cxn>
              <a:cxn ang="0">
                <a:pos x="connsiteX32083" y="connsiteY32083"/>
              </a:cxn>
              <a:cxn ang="0">
                <a:pos x="connsiteX32084" y="connsiteY32084"/>
              </a:cxn>
              <a:cxn ang="0">
                <a:pos x="connsiteX32085" y="connsiteY32085"/>
              </a:cxn>
              <a:cxn ang="0">
                <a:pos x="connsiteX32086" y="connsiteY32086"/>
              </a:cxn>
              <a:cxn ang="0">
                <a:pos x="connsiteX32087" y="connsiteY32087"/>
              </a:cxn>
              <a:cxn ang="0">
                <a:pos x="connsiteX32088" y="connsiteY32088"/>
              </a:cxn>
              <a:cxn ang="0">
                <a:pos x="connsiteX32089" y="connsiteY32089"/>
              </a:cxn>
              <a:cxn ang="0">
                <a:pos x="connsiteX32090" y="connsiteY32090"/>
              </a:cxn>
              <a:cxn ang="0">
                <a:pos x="connsiteX32091" y="connsiteY32091"/>
              </a:cxn>
              <a:cxn ang="0">
                <a:pos x="connsiteX32092" y="connsiteY32092"/>
              </a:cxn>
              <a:cxn ang="0">
                <a:pos x="connsiteX32093" y="connsiteY32093"/>
              </a:cxn>
              <a:cxn ang="0">
                <a:pos x="connsiteX32094" y="connsiteY32094"/>
              </a:cxn>
              <a:cxn ang="0">
                <a:pos x="connsiteX32095" y="connsiteY32095"/>
              </a:cxn>
              <a:cxn ang="0">
                <a:pos x="connsiteX32096" y="connsiteY32096"/>
              </a:cxn>
              <a:cxn ang="0">
                <a:pos x="connsiteX32097" y="connsiteY32097"/>
              </a:cxn>
              <a:cxn ang="0">
                <a:pos x="connsiteX32098" y="connsiteY32098"/>
              </a:cxn>
              <a:cxn ang="0">
                <a:pos x="connsiteX32099" y="connsiteY32099"/>
              </a:cxn>
              <a:cxn ang="0">
                <a:pos x="connsiteX32100" y="connsiteY32100"/>
              </a:cxn>
              <a:cxn ang="0">
                <a:pos x="connsiteX32101" y="connsiteY32101"/>
              </a:cxn>
              <a:cxn ang="0">
                <a:pos x="connsiteX32102" y="connsiteY32102"/>
              </a:cxn>
              <a:cxn ang="0">
                <a:pos x="connsiteX32103" y="connsiteY32103"/>
              </a:cxn>
              <a:cxn ang="0">
                <a:pos x="connsiteX32104" y="connsiteY32104"/>
              </a:cxn>
              <a:cxn ang="0">
                <a:pos x="connsiteX32105" y="connsiteY32105"/>
              </a:cxn>
              <a:cxn ang="0">
                <a:pos x="connsiteX32106" y="connsiteY32106"/>
              </a:cxn>
              <a:cxn ang="0">
                <a:pos x="connsiteX32107" y="connsiteY32107"/>
              </a:cxn>
              <a:cxn ang="0">
                <a:pos x="connsiteX32108" y="connsiteY32108"/>
              </a:cxn>
              <a:cxn ang="0">
                <a:pos x="connsiteX32109" y="connsiteY32109"/>
              </a:cxn>
              <a:cxn ang="0">
                <a:pos x="connsiteX32110" y="connsiteY32110"/>
              </a:cxn>
              <a:cxn ang="0">
                <a:pos x="connsiteX32111" y="connsiteY32111"/>
              </a:cxn>
              <a:cxn ang="0">
                <a:pos x="connsiteX32112" y="connsiteY32112"/>
              </a:cxn>
              <a:cxn ang="0">
                <a:pos x="connsiteX32113" y="connsiteY32113"/>
              </a:cxn>
              <a:cxn ang="0">
                <a:pos x="connsiteX32114" y="connsiteY32114"/>
              </a:cxn>
              <a:cxn ang="0">
                <a:pos x="connsiteX32115" y="connsiteY32115"/>
              </a:cxn>
              <a:cxn ang="0">
                <a:pos x="connsiteX32116" y="connsiteY32116"/>
              </a:cxn>
              <a:cxn ang="0">
                <a:pos x="connsiteX32117" y="connsiteY32117"/>
              </a:cxn>
              <a:cxn ang="0">
                <a:pos x="connsiteX32118" y="connsiteY32118"/>
              </a:cxn>
              <a:cxn ang="0">
                <a:pos x="connsiteX32119" y="connsiteY32119"/>
              </a:cxn>
              <a:cxn ang="0">
                <a:pos x="connsiteX32120" y="connsiteY32120"/>
              </a:cxn>
              <a:cxn ang="0">
                <a:pos x="connsiteX32121" y="connsiteY32121"/>
              </a:cxn>
              <a:cxn ang="0">
                <a:pos x="connsiteX32122" y="connsiteY32122"/>
              </a:cxn>
              <a:cxn ang="0">
                <a:pos x="connsiteX32123" y="connsiteY32123"/>
              </a:cxn>
              <a:cxn ang="0">
                <a:pos x="connsiteX32124" y="connsiteY32124"/>
              </a:cxn>
              <a:cxn ang="0">
                <a:pos x="connsiteX32125" y="connsiteY32125"/>
              </a:cxn>
              <a:cxn ang="0">
                <a:pos x="connsiteX32126" y="connsiteY32126"/>
              </a:cxn>
              <a:cxn ang="0">
                <a:pos x="connsiteX32127" y="connsiteY32127"/>
              </a:cxn>
              <a:cxn ang="0">
                <a:pos x="connsiteX32128" y="connsiteY32128"/>
              </a:cxn>
              <a:cxn ang="0">
                <a:pos x="connsiteX32129" y="connsiteY32129"/>
              </a:cxn>
              <a:cxn ang="0">
                <a:pos x="connsiteX32130" y="connsiteY32130"/>
              </a:cxn>
              <a:cxn ang="0">
                <a:pos x="connsiteX32131" y="connsiteY32131"/>
              </a:cxn>
              <a:cxn ang="0">
                <a:pos x="connsiteX32132" y="connsiteY32132"/>
              </a:cxn>
              <a:cxn ang="0">
                <a:pos x="connsiteX32133" y="connsiteY32133"/>
              </a:cxn>
              <a:cxn ang="0">
                <a:pos x="connsiteX32134" y="connsiteY32134"/>
              </a:cxn>
              <a:cxn ang="0">
                <a:pos x="connsiteX32135" y="connsiteY32135"/>
              </a:cxn>
              <a:cxn ang="0">
                <a:pos x="connsiteX32136" y="connsiteY32136"/>
              </a:cxn>
              <a:cxn ang="0">
                <a:pos x="connsiteX32137" y="connsiteY32137"/>
              </a:cxn>
              <a:cxn ang="0">
                <a:pos x="connsiteX32138" y="connsiteY32138"/>
              </a:cxn>
              <a:cxn ang="0">
                <a:pos x="connsiteX32139" y="connsiteY32139"/>
              </a:cxn>
              <a:cxn ang="0">
                <a:pos x="connsiteX32140" y="connsiteY32140"/>
              </a:cxn>
              <a:cxn ang="0">
                <a:pos x="connsiteX32141" y="connsiteY32141"/>
              </a:cxn>
              <a:cxn ang="0">
                <a:pos x="connsiteX32142" y="connsiteY32142"/>
              </a:cxn>
              <a:cxn ang="0">
                <a:pos x="connsiteX32143" y="connsiteY32143"/>
              </a:cxn>
              <a:cxn ang="0">
                <a:pos x="connsiteX32144" y="connsiteY32144"/>
              </a:cxn>
              <a:cxn ang="0">
                <a:pos x="connsiteX32145" y="connsiteY32145"/>
              </a:cxn>
              <a:cxn ang="0">
                <a:pos x="connsiteX32146" y="connsiteY32146"/>
              </a:cxn>
              <a:cxn ang="0">
                <a:pos x="connsiteX32147" y="connsiteY32147"/>
              </a:cxn>
              <a:cxn ang="0">
                <a:pos x="connsiteX32148" y="connsiteY32148"/>
              </a:cxn>
              <a:cxn ang="0">
                <a:pos x="connsiteX32149" y="connsiteY32149"/>
              </a:cxn>
              <a:cxn ang="0">
                <a:pos x="connsiteX32150" y="connsiteY32150"/>
              </a:cxn>
              <a:cxn ang="0">
                <a:pos x="connsiteX32151" y="connsiteY32151"/>
              </a:cxn>
              <a:cxn ang="0">
                <a:pos x="connsiteX32152" y="connsiteY32152"/>
              </a:cxn>
              <a:cxn ang="0">
                <a:pos x="connsiteX32153" y="connsiteY32153"/>
              </a:cxn>
              <a:cxn ang="0">
                <a:pos x="connsiteX32154" y="connsiteY32154"/>
              </a:cxn>
              <a:cxn ang="0">
                <a:pos x="connsiteX32155" y="connsiteY32155"/>
              </a:cxn>
              <a:cxn ang="0">
                <a:pos x="connsiteX32156" y="connsiteY32156"/>
              </a:cxn>
              <a:cxn ang="0">
                <a:pos x="connsiteX32157" y="connsiteY32157"/>
              </a:cxn>
              <a:cxn ang="0">
                <a:pos x="connsiteX32158" y="connsiteY32158"/>
              </a:cxn>
              <a:cxn ang="0">
                <a:pos x="connsiteX32159" y="connsiteY32159"/>
              </a:cxn>
              <a:cxn ang="0">
                <a:pos x="connsiteX32160" y="connsiteY32160"/>
              </a:cxn>
              <a:cxn ang="0">
                <a:pos x="connsiteX32161" y="connsiteY32161"/>
              </a:cxn>
              <a:cxn ang="0">
                <a:pos x="connsiteX32162" y="connsiteY32162"/>
              </a:cxn>
              <a:cxn ang="0">
                <a:pos x="connsiteX32163" y="connsiteY32163"/>
              </a:cxn>
              <a:cxn ang="0">
                <a:pos x="connsiteX32164" y="connsiteY32164"/>
              </a:cxn>
              <a:cxn ang="0">
                <a:pos x="connsiteX32165" y="connsiteY32165"/>
              </a:cxn>
              <a:cxn ang="0">
                <a:pos x="connsiteX32166" y="connsiteY32166"/>
              </a:cxn>
              <a:cxn ang="0">
                <a:pos x="connsiteX32167" y="connsiteY32167"/>
              </a:cxn>
              <a:cxn ang="0">
                <a:pos x="connsiteX32168" y="connsiteY32168"/>
              </a:cxn>
              <a:cxn ang="0">
                <a:pos x="connsiteX32169" y="connsiteY32169"/>
              </a:cxn>
              <a:cxn ang="0">
                <a:pos x="connsiteX32170" y="connsiteY32170"/>
              </a:cxn>
              <a:cxn ang="0">
                <a:pos x="connsiteX32171" y="connsiteY32171"/>
              </a:cxn>
              <a:cxn ang="0">
                <a:pos x="connsiteX32172" y="connsiteY32172"/>
              </a:cxn>
              <a:cxn ang="0">
                <a:pos x="connsiteX32173" y="connsiteY32173"/>
              </a:cxn>
              <a:cxn ang="0">
                <a:pos x="connsiteX32174" y="connsiteY32174"/>
              </a:cxn>
              <a:cxn ang="0">
                <a:pos x="connsiteX32175" y="connsiteY32175"/>
              </a:cxn>
              <a:cxn ang="0">
                <a:pos x="connsiteX32176" y="connsiteY32176"/>
              </a:cxn>
              <a:cxn ang="0">
                <a:pos x="connsiteX32177" y="connsiteY32177"/>
              </a:cxn>
              <a:cxn ang="0">
                <a:pos x="connsiteX32178" y="connsiteY32178"/>
              </a:cxn>
              <a:cxn ang="0">
                <a:pos x="connsiteX32179" y="connsiteY32179"/>
              </a:cxn>
              <a:cxn ang="0">
                <a:pos x="connsiteX32180" y="connsiteY32180"/>
              </a:cxn>
              <a:cxn ang="0">
                <a:pos x="connsiteX32181" y="connsiteY32181"/>
              </a:cxn>
              <a:cxn ang="0">
                <a:pos x="connsiteX32182" y="connsiteY32182"/>
              </a:cxn>
              <a:cxn ang="0">
                <a:pos x="connsiteX32183" y="connsiteY32183"/>
              </a:cxn>
              <a:cxn ang="0">
                <a:pos x="connsiteX32184" y="connsiteY32184"/>
              </a:cxn>
              <a:cxn ang="0">
                <a:pos x="connsiteX32185" y="connsiteY32185"/>
              </a:cxn>
              <a:cxn ang="0">
                <a:pos x="connsiteX32186" y="connsiteY32186"/>
              </a:cxn>
              <a:cxn ang="0">
                <a:pos x="connsiteX32187" y="connsiteY32187"/>
              </a:cxn>
              <a:cxn ang="0">
                <a:pos x="connsiteX32188" y="connsiteY32188"/>
              </a:cxn>
              <a:cxn ang="0">
                <a:pos x="connsiteX32189" y="connsiteY32189"/>
              </a:cxn>
              <a:cxn ang="0">
                <a:pos x="connsiteX32190" y="connsiteY32190"/>
              </a:cxn>
              <a:cxn ang="0">
                <a:pos x="connsiteX32191" y="connsiteY32191"/>
              </a:cxn>
              <a:cxn ang="0">
                <a:pos x="connsiteX32192" y="connsiteY32192"/>
              </a:cxn>
              <a:cxn ang="0">
                <a:pos x="connsiteX32193" y="connsiteY32193"/>
              </a:cxn>
              <a:cxn ang="0">
                <a:pos x="connsiteX32194" y="connsiteY32194"/>
              </a:cxn>
              <a:cxn ang="0">
                <a:pos x="connsiteX32195" y="connsiteY32195"/>
              </a:cxn>
              <a:cxn ang="0">
                <a:pos x="connsiteX32196" y="connsiteY32196"/>
              </a:cxn>
              <a:cxn ang="0">
                <a:pos x="connsiteX32197" y="connsiteY32197"/>
              </a:cxn>
              <a:cxn ang="0">
                <a:pos x="connsiteX32198" y="connsiteY32198"/>
              </a:cxn>
              <a:cxn ang="0">
                <a:pos x="connsiteX32199" y="connsiteY32199"/>
              </a:cxn>
              <a:cxn ang="0">
                <a:pos x="connsiteX32200" y="connsiteY32200"/>
              </a:cxn>
              <a:cxn ang="0">
                <a:pos x="connsiteX32201" y="connsiteY32201"/>
              </a:cxn>
              <a:cxn ang="0">
                <a:pos x="connsiteX32202" y="connsiteY32202"/>
              </a:cxn>
              <a:cxn ang="0">
                <a:pos x="connsiteX32203" y="connsiteY32203"/>
              </a:cxn>
              <a:cxn ang="0">
                <a:pos x="connsiteX32204" y="connsiteY32204"/>
              </a:cxn>
              <a:cxn ang="0">
                <a:pos x="connsiteX32205" y="connsiteY32205"/>
              </a:cxn>
              <a:cxn ang="0">
                <a:pos x="connsiteX32206" y="connsiteY32206"/>
              </a:cxn>
              <a:cxn ang="0">
                <a:pos x="connsiteX32207" y="connsiteY32207"/>
              </a:cxn>
              <a:cxn ang="0">
                <a:pos x="connsiteX32208" y="connsiteY32208"/>
              </a:cxn>
              <a:cxn ang="0">
                <a:pos x="connsiteX32209" y="connsiteY32209"/>
              </a:cxn>
              <a:cxn ang="0">
                <a:pos x="connsiteX32210" y="connsiteY32210"/>
              </a:cxn>
              <a:cxn ang="0">
                <a:pos x="connsiteX32211" y="connsiteY32211"/>
              </a:cxn>
              <a:cxn ang="0">
                <a:pos x="connsiteX32212" y="connsiteY32212"/>
              </a:cxn>
              <a:cxn ang="0">
                <a:pos x="connsiteX32213" y="connsiteY32213"/>
              </a:cxn>
              <a:cxn ang="0">
                <a:pos x="connsiteX32214" y="connsiteY32214"/>
              </a:cxn>
              <a:cxn ang="0">
                <a:pos x="connsiteX32215" y="connsiteY32215"/>
              </a:cxn>
              <a:cxn ang="0">
                <a:pos x="connsiteX32216" y="connsiteY32216"/>
              </a:cxn>
              <a:cxn ang="0">
                <a:pos x="connsiteX32217" y="connsiteY32217"/>
              </a:cxn>
              <a:cxn ang="0">
                <a:pos x="connsiteX32218" y="connsiteY32218"/>
              </a:cxn>
              <a:cxn ang="0">
                <a:pos x="connsiteX32219" y="connsiteY32219"/>
              </a:cxn>
              <a:cxn ang="0">
                <a:pos x="connsiteX32220" y="connsiteY32220"/>
              </a:cxn>
              <a:cxn ang="0">
                <a:pos x="connsiteX32221" y="connsiteY32221"/>
              </a:cxn>
              <a:cxn ang="0">
                <a:pos x="connsiteX32222" y="connsiteY32222"/>
              </a:cxn>
              <a:cxn ang="0">
                <a:pos x="connsiteX32223" y="connsiteY32223"/>
              </a:cxn>
              <a:cxn ang="0">
                <a:pos x="connsiteX32224" y="connsiteY32224"/>
              </a:cxn>
              <a:cxn ang="0">
                <a:pos x="connsiteX32225" y="connsiteY32225"/>
              </a:cxn>
              <a:cxn ang="0">
                <a:pos x="connsiteX32226" y="connsiteY32226"/>
              </a:cxn>
              <a:cxn ang="0">
                <a:pos x="connsiteX32227" y="connsiteY32227"/>
              </a:cxn>
              <a:cxn ang="0">
                <a:pos x="connsiteX32228" y="connsiteY32228"/>
              </a:cxn>
              <a:cxn ang="0">
                <a:pos x="connsiteX32229" y="connsiteY32229"/>
              </a:cxn>
              <a:cxn ang="0">
                <a:pos x="connsiteX32230" y="connsiteY32230"/>
              </a:cxn>
              <a:cxn ang="0">
                <a:pos x="connsiteX32231" y="connsiteY32231"/>
              </a:cxn>
              <a:cxn ang="0">
                <a:pos x="connsiteX32232" y="connsiteY32232"/>
              </a:cxn>
              <a:cxn ang="0">
                <a:pos x="connsiteX32233" y="connsiteY32233"/>
              </a:cxn>
              <a:cxn ang="0">
                <a:pos x="connsiteX32234" y="connsiteY32234"/>
              </a:cxn>
              <a:cxn ang="0">
                <a:pos x="connsiteX32235" y="connsiteY32235"/>
              </a:cxn>
              <a:cxn ang="0">
                <a:pos x="connsiteX32236" y="connsiteY32236"/>
              </a:cxn>
              <a:cxn ang="0">
                <a:pos x="connsiteX32237" y="connsiteY32237"/>
              </a:cxn>
              <a:cxn ang="0">
                <a:pos x="connsiteX32238" y="connsiteY32238"/>
              </a:cxn>
              <a:cxn ang="0">
                <a:pos x="connsiteX32239" y="connsiteY32239"/>
              </a:cxn>
              <a:cxn ang="0">
                <a:pos x="connsiteX32240" y="connsiteY32240"/>
              </a:cxn>
              <a:cxn ang="0">
                <a:pos x="connsiteX32241" y="connsiteY32241"/>
              </a:cxn>
              <a:cxn ang="0">
                <a:pos x="connsiteX32242" y="connsiteY32242"/>
              </a:cxn>
              <a:cxn ang="0">
                <a:pos x="connsiteX32243" y="connsiteY32243"/>
              </a:cxn>
              <a:cxn ang="0">
                <a:pos x="connsiteX32244" y="connsiteY32244"/>
              </a:cxn>
              <a:cxn ang="0">
                <a:pos x="connsiteX32245" y="connsiteY32245"/>
              </a:cxn>
              <a:cxn ang="0">
                <a:pos x="connsiteX32246" y="connsiteY32246"/>
              </a:cxn>
              <a:cxn ang="0">
                <a:pos x="connsiteX32247" y="connsiteY32247"/>
              </a:cxn>
              <a:cxn ang="0">
                <a:pos x="connsiteX32248" y="connsiteY32248"/>
              </a:cxn>
              <a:cxn ang="0">
                <a:pos x="connsiteX32249" y="connsiteY32249"/>
              </a:cxn>
              <a:cxn ang="0">
                <a:pos x="connsiteX32250" y="connsiteY32250"/>
              </a:cxn>
              <a:cxn ang="0">
                <a:pos x="connsiteX32251" y="connsiteY32251"/>
              </a:cxn>
              <a:cxn ang="0">
                <a:pos x="connsiteX32252" y="connsiteY32252"/>
              </a:cxn>
              <a:cxn ang="0">
                <a:pos x="connsiteX32253" y="connsiteY32253"/>
              </a:cxn>
              <a:cxn ang="0">
                <a:pos x="connsiteX32254" y="connsiteY32254"/>
              </a:cxn>
              <a:cxn ang="0">
                <a:pos x="connsiteX32255" y="connsiteY32255"/>
              </a:cxn>
              <a:cxn ang="0">
                <a:pos x="connsiteX32256" y="connsiteY32256"/>
              </a:cxn>
              <a:cxn ang="0">
                <a:pos x="connsiteX32257" y="connsiteY32257"/>
              </a:cxn>
              <a:cxn ang="0">
                <a:pos x="connsiteX32258" y="connsiteY32258"/>
              </a:cxn>
              <a:cxn ang="0">
                <a:pos x="connsiteX32259" y="connsiteY32259"/>
              </a:cxn>
              <a:cxn ang="0">
                <a:pos x="connsiteX32260" y="connsiteY32260"/>
              </a:cxn>
              <a:cxn ang="0">
                <a:pos x="connsiteX32261" y="connsiteY32261"/>
              </a:cxn>
              <a:cxn ang="0">
                <a:pos x="connsiteX32262" y="connsiteY32262"/>
              </a:cxn>
              <a:cxn ang="0">
                <a:pos x="connsiteX32263" y="connsiteY32263"/>
              </a:cxn>
              <a:cxn ang="0">
                <a:pos x="connsiteX32264" y="connsiteY32264"/>
              </a:cxn>
              <a:cxn ang="0">
                <a:pos x="connsiteX32265" y="connsiteY32265"/>
              </a:cxn>
              <a:cxn ang="0">
                <a:pos x="connsiteX32266" y="connsiteY32266"/>
              </a:cxn>
              <a:cxn ang="0">
                <a:pos x="connsiteX32267" y="connsiteY32267"/>
              </a:cxn>
              <a:cxn ang="0">
                <a:pos x="connsiteX32268" y="connsiteY32268"/>
              </a:cxn>
              <a:cxn ang="0">
                <a:pos x="connsiteX32269" y="connsiteY32269"/>
              </a:cxn>
              <a:cxn ang="0">
                <a:pos x="connsiteX32270" y="connsiteY32270"/>
              </a:cxn>
              <a:cxn ang="0">
                <a:pos x="connsiteX32271" y="connsiteY32271"/>
              </a:cxn>
              <a:cxn ang="0">
                <a:pos x="connsiteX32272" y="connsiteY32272"/>
              </a:cxn>
              <a:cxn ang="0">
                <a:pos x="connsiteX32273" y="connsiteY32273"/>
              </a:cxn>
              <a:cxn ang="0">
                <a:pos x="connsiteX32274" y="connsiteY32274"/>
              </a:cxn>
              <a:cxn ang="0">
                <a:pos x="connsiteX32275" y="connsiteY32275"/>
              </a:cxn>
              <a:cxn ang="0">
                <a:pos x="connsiteX32276" y="connsiteY32276"/>
              </a:cxn>
              <a:cxn ang="0">
                <a:pos x="connsiteX32277" y="connsiteY32277"/>
              </a:cxn>
              <a:cxn ang="0">
                <a:pos x="connsiteX32278" y="connsiteY32278"/>
              </a:cxn>
              <a:cxn ang="0">
                <a:pos x="connsiteX32279" y="connsiteY32279"/>
              </a:cxn>
              <a:cxn ang="0">
                <a:pos x="connsiteX32280" y="connsiteY32280"/>
              </a:cxn>
              <a:cxn ang="0">
                <a:pos x="connsiteX32281" y="connsiteY32281"/>
              </a:cxn>
              <a:cxn ang="0">
                <a:pos x="connsiteX32282" y="connsiteY32282"/>
              </a:cxn>
              <a:cxn ang="0">
                <a:pos x="connsiteX32283" y="connsiteY32283"/>
              </a:cxn>
              <a:cxn ang="0">
                <a:pos x="connsiteX32284" y="connsiteY32284"/>
              </a:cxn>
              <a:cxn ang="0">
                <a:pos x="connsiteX32285" y="connsiteY32285"/>
              </a:cxn>
              <a:cxn ang="0">
                <a:pos x="connsiteX32286" y="connsiteY32286"/>
              </a:cxn>
              <a:cxn ang="0">
                <a:pos x="connsiteX32287" y="connsiteY32287"/>
              </a:cxn>
              <a:cxn ang="0">
                <a:pos x="connsiteX32288" y="connsiteY32288"/>
              </a:cxn>
              <a:cxn ang="0">
                <a:pos x="connsiteX32289" y="connsiteY32289"/>
              </a:cxn>
              <a:cxn ang="0">
                <a:pos x="connsiteX32290" y="connsiteY32290"/>
              </a:cxn>
              <a:cxn ang="0">
                <a:pos x="connsiteX32291" y="connsiteY32291"/>
              </a:cxn>
              <a:cxn ang="0">
                <a:pos x="connsiteX32292" y="connsiteY32292"/>
              </a:cxn>
              <a:cxn ang="0">
                <a:pos x="connsiteX32293" y="connsiteY32293"/>
              </a:cxn>
              <a:cxn ang="0">
                <a:pos x="connsiteX32294" y="connsiteY32294"/>
              </a:cxn>
              <a:cxn ang="0">
                <a:pos x="connsiteX32295" y="connsiteY32295"/>
              </a:cxn>
              <a:cxn ang="0">
                <a:pos x="connsiteX32296" y="connsiteY32296"/>
              </a:cxn>
              <a:cxn ang="0">
                <a:pos x="connsiteX32297" y="connsiteY32297"/>
              </a:cxn>
              <a:cxn ang="0">
                <a:pos x="connsiteX32298" y="connsiteY32298"/>
              </a:cxn>
              <a:cxn ang="0">
                <a:pos x="connsiteX32299" y="connsiteY32299"/>
              </a:cxn>
              <a:cxn ang="0">
                <a:pos x="connsiteX32300" y="connsiteY32300"/>
              </a:cxn>
              <a:cxn ang="0">
                <a:pos x="connsiteX32301" y="connsiteY32301"/>
              </a:cxn>
              <a:cxn ang="0">
                <a:pos x="connsiteX32302" y="connsiteY32302"/>
              </a:cxn>
              <a:cxn ang="0">
                <a:pos x="connsiteX32303" y="connsiteY32303"/>
              </a:cxn>
              <a:cxn ang="0">
                <a:pos x="connsiteX32304" y="connsiteY32304"/>
              </a:cxn>
              <a:cxn ang="0">
                <a:pos x="connsiteX32305" y="connsiteY32305"/>
              </a:cxn>
              <a:cxn ang="0">
                <a:pos x="connsiteX32306" y="connsiteY32306"/>
              </a:cxn>
              <a:cxn ang="0">
                <a:pos x="connsiteX32307" y="connsiteY32307"/>
              </a:cxn>
              <a:cxn ang="0">
                <a:pos x="connsiteX32308" y="connsiteY32308"/>
              </a:cxn>
              <a:cxn ang="0">
                <a:pos x="connsiteX32309" y="connsiteY32309"/>
              </a:cxn>
              <a:cxn ang="0">
                <a:pos x="connsiteX32310" y="connsiteY32310"/>
              </a:cxn>
              <a:cxn ang="0">
                <a:pos x="connsiteX32311" y="connsiteY32311"/>
              </a:cxn>
              <a:cxn ang="0">
                <a:pos x="connsiteX32312" y="connsiteY32312"/>
              </a:cxn>
              <a:cxn ang="0">
                <a:pos x="connsiteX32313" y="connsiteY32313"/>
              </a:cxn>
              <a:cxn ang="0">
                <a:pos x="connsiteX32314" y="connsiteY32314"/>
              </a:cxn>
              <a:cxn ang="0">
                <a:pos x="connsiteX32315" y="connsiteY32315"/>
              </a:cxn>
              <a:cxn ang="0">
                <a:pos x="connsiteX32316" y="connsiteY32316"/>
              </a:cxn>
              <a:cxn ang="0">
                <a:pos x="connsiteX32317" y="connsiteY32317"/>
              </a:cxn>
              <a:cxn ang="0">
                <a:pos x="connsiteX32318" y="connsiteY32318"/>
              </a:cxn>
              <a:cxn ang="0">
                <a:pos x="connsiteX32319" y="connsiteY32319"/>
              </a:cxn>
              <a:cxn ang="0">
                <a:pos x="connsiteX32320" y="connsiteY32320"/>
              </a:cxn>
              <a:cxn ang="0">
                <a:pos x="connsiteX32321" y="connsiteY32321"/>
              </a:cxn>
              <a:cxn ang="0">
                <a:pos x="connsiteX32322" y="connsiteY32322"/>
              </a:cxn>
              <a:cxn ang="0">
                <a:pos x="connsiteX32323" y="connsiteY32323"/>
              </a:cxn>
              <a:cxn ang="0">
                <a:pos x="connsiteX32324" y="connsiteY32324"/>
              </a:cxn>
              <a:cxn ang="0">
                <a:pos x="connsiteX32325" y="connsiteY32325"/>
              </a:cxn>
              <a:cxn ang="0">
                <a:pos x="connsiteX32326" y="connsiteY32326"/>
              </a:cxn>
              <a:cxn ang="0">
                <a:pos x="connsiteX32327" y="connsiteY32327"/>
              </a:cxn>
              <a:cxn ang="0">
                <a:pos x="connsiteX32328" y="connsiteY32328"/>
              </a:cxn>
              <a:cxn ang="0">
                <a:pos x="connsiteX32329" y="connsiteY32329"/>
              </a:cxn>
              <a:cxn ang="0">
                <a:pos x="connsiteX32330" y="connsiteY32330"/>
              </a:cxn>
              <a:cxn ang="0">
                <a:pos x="connsiteX32331" y="connsiteY32331"/>
              </a:cxn>
              <a:cxn ang="0">
                <a:pos x="connsiteX32332" y="connsiteY32332"/>
              </a:cxn>
              <a:cxn ang="0">
                <a:pos x="connsiteX32333" y="connsiteY32333"/>
              </a:cxn>
              <a:cxn ang="0">
                <a:pos x="connsiteX32334" y="connsiteY32334"/>
              </a:cxn>
              <a:cxn ang="0">
                <a:pos x="connsiteX32335" y="connsiteY32335"/>
              </a:cxn>
              <a:cxn ang="0">
                <a:pos x="connsiteX32336" y="connsiteY32336"/>
              </a:cxn>
              <a:cxn ang="0">
                <a:pos x="connsiteX32337" y="connsiteY32337"/>
              </a:cxn>
              <a:cxn ang="0">
                <a:pos x="connsiteX32338" y="connsiteY32338"/>
              </a:cxn>
              <a:cxn ang="0">
                <a:pos x="connsiteX32339" y="connsiteY32339"/>
              </a:cxn>
              <a:cxn ang="0">
                <a:pos x="connsiteX32340" y="connsiteY32340"/>
              </a:cxn>
              <a:cxn ang="0">
                <a:pos x="connsiteX32341" y="connsiteY32341"/>
              </a:cxn>
              <a:cxn ang="0">
                <a:pos x="connsiteX32342" y="connsiteY32342"/>
              </a:cxn>
              <a:cxn ang="0">
                <a:pos x="connsiteX32343" y="connsiteY32343"/>
              </a:cxn>
              <a:cxn ang="0">
                <a:pos x="connsiteX32344" y="connsiteY32344"/>
              </a:cxn>
              <a:cxn ang="0">
                <a:pos x="connsiteX32345" y="connsiteY32345"/>
              </a:cxn>
              <a:cxn ang="0">
                <a:pos x="connsiteX32346" y="connsiteY32346"/>
              </a:cxn>
              <a:cxn ang="0">
                <a:pos x="connsiteX32347" y="connsiteY32347"/>
              </a:cxn>
              <a:cxn ang="0">
                <a:pos x="connsiteX32348" y="connsiteY32348"/>
              </a:cxn>
              <a:cxn ang="0">
                <a:pos x="connsiteX32349" y="connsiteY32349"/>
              </a:cxn>
              <a:cxn ang="0">
                <a:pos x="connsiteX32350" y="connsiteY32350"/>
              </a:cxn>
              <a:cxn ang="0">
                <a:pos x="connsiteX32351" y="connsiteY32351"/>
              </a:cxn>
              <a:cxn ang="0">
                <a:pos x="connsiteX32352" y="connsiteY32352"/>
              </a:cxn>
              <a:cxn ang="0">
                <a:pos x="connsiteX32353" y="connsiteY32353"/>
              </a:cxn>
              <a:cxn ang="0">
                <a:pos x="connsiteX32354" y="connsiteY32354"/>
              </a:cxn>
              <a:cxn ang="0">
                <a:pos x="connsiteX32355" y="connsiteY32355"/>
              </a:cxn>
              <a:cxn ang="0">
                <a:pos x="connsiteX32356" y="connsiteY32356"/>
              </a:cxn>
              <a:cxn ang="0">
                <a:pos x="connsiteX32357" y="connsiteY32357"/>
              </a:cxn>
              <a:cxn ang="0">
                <a:pos x="connsiteX32358" y="connsiteY32358"/>
              </a:cxn>
              <a:cxn ang="0">
                <a:pos x="connsiteX32359" y="connsiteY32359"/>
              </a:cxn>
              <a:cxn ang="0">
                <a:pos x="connsiteX32360" y="connsiteY32360"/>
              </a:cxn>
              <a:cxn ang="0">
                <a:pos x="connsiteX32361" y="connsiteY32361"/>
              </a:cxn>
              <a:cxn ang="0">
                <a:pos x="connsiteX32362" y="connsiteY32362"/>
              </a:cxn>
              <a:cxn ang="0">
                <a:pos x="connsiteX32363" y="connsiteY32363"/>
              </a:cxn>
              <a:cxn ang="0">
                <a:pos x="connsiteX32364" y="connsiteY32364"/>
              </a:cxn>
              <a:cxn ang="0">
                <a:pos x="connsiteX32365" y="connsiteY32365"/>
              </a:cxn>
              <a:cxn ang="0">
                <a:pos x="connsiteX32366" y="connsiteY32366"/>
              </a:cxn>
              <a:cxn ang="0">
                <a:pos x="connsiteX32367" y="connsiteY32367"/>
              </a:cxn>
              <a:cxn ang="0">
                <a:pos x="connsiteX32368" y="connsiteY32368"/>
              </a:cxn>
              <a:cxn ang="0">
                <a:pos x="connsiteX32369" y="connsiteY32369"/>
              </a:cxn>
              <a:cxn ang="0">
                <a:pos x="connsiteX32370" y="connsiteY32370"/>
              </a:cxn>
              <a:cxn ang="0">
                <a:pos x="connsiteX32371" y="connsiteY32371"/>
              </a:cxn>
              <a:cxn ang="0">
                <a:pos x="connsiteX32372" y="connsiteY32372"/>
              </a:cxn>
              <a:cxn ang="0">
                <a:pos x="connsiteX32373" y="connsiteY32373"/>
              </a:cxn>
              <a:cxn ang="0">
                <a:pos x="connsiteX32374" y="connsiteY32374"/>
              </a:cxn>
              <a:cxn ang="0">
                <a:pos x="connsiteX32375" y="connsiteY32375"/>
              </a:cxn>
              <a:cxn ang="0">
                <a:pos x="connsiteX32376" y="connsiteY32376"/>
              </a:cxn>
              <a:cxn ang="0">
                <a:pos x="connsiteX32377" y="connsiteY32377"/>
              </a:cxn>
              <a:cxn ang="0">
                <a:pos x="connsiteX32378" y="connsiteY32378"/>
              </a:cxn>
              <a:cxn ang="0">
                <a:pos x="connsiteX32379" y="connsiteY32379"/>
              </a:cxn>
              <a:cxn ang="0">
                <a:pos x="connsiteX32380" y="connsiteY32380"/>
              </a:cxn>
              <a:cxn ang="0">
                <a:pos x="connsiteX32381" y="connsiteY32381"/>
              </a:cxn>
              <a:cxn ang="0">
                <a:pos x="connsiteX32382" y="connsiteY32382"/>
              </a:cxn>
              <a:cxn ang="0">
                <a:pos x="connsiteX32383" y="connsiteY32383"/>
              </a:cxn>
              <a:cxn ang="0">
                <a:pos x="connsiteX32384" y="connsiteY32384"/>
              </a:cxn>
              <a:cxn ang="0">
                <a:pos x="connsiteX32385" y="connsiteY32385"/>
              </a:cxn>
              <a:cxn ang="0">
                <a:pos x="connsiteX32386" y="connsiteY32386"/>
              </a:cxn>
              <a:cxn ang="0">
                <a:pos x="connsiteX32387" y="connsiteY32387"/>
              </a:cxn>
              <a:cxn ang="0">
                <a:pos x="connsiteX32388" y="connsiteY32388"/>
              </a:cxn>
              <a:cxn ang="0">
                <a:pos x="connsiteX32389" y="connsiteY32389"/>
              </a:cxn>
              <a:cxn ang="0">
                <a:pos x="connsiteX32390" y="connsiteY32390"/>
              </a:cxn>
              <a:cxn ang="0">
                <a:pos x="connsiteX32391" y="connsiteY32391"/>
              </a:cxn>
              <a:cxn ang="0">
                <a:pos x="connsiteX32392" y="connsiteY32392"/>
              </a:cxn>
              <a:cxn ang="0">
                <a:pos x="connsiteX32393" y="connsiteY32393"/>
              </a:cxn>
              <a:cxn ang="0">
                <a:pos x="connsiteX32394" y="connsiteY32394"/>
              </a:cxn>
              <a:cxn ang="0">
                <a:pos x="connsiteX32395" y="connsiteY32395"/>
              </a:cxn>
              <a:cxn ang="0">
                <a:pos x="connsiteX32396" y="connsiteY32396"/>
              </a:cxn>
              <a:cxn ang="0">
                <a:pos x="connsiteX32397" y="connsiteY32397"/>
              </a:cxn>
              <a:cxn ang="0">
                <a:pos x="connsiteX32398" y="connsiteY32398"/>
              </a:cxn>
              <a:cxn ang="0">
                <a:pos x="connsiteX32399" y="connsiteY32399"/>
              </a:cxn>
              <a:cxn ang="0">
                <a:pos x="connsiteX32400" y="connsiteY32400"/>
              </a:cxn>
              <a:cxn ang="0">
                <a:pos x="connsiteX32401" y="connsiteY32401"/>
              </a:cxn>
              <a:cxn ang="0">
                <a:pos x="connsiteX32402" y="connsiteY32402"/>
              </a:cxn>
              <a:cxn ang="0">
                <a:pos x="connsiteX32403" y="connsiteY32403"/>
              </a:cxn>
              <a:cxn ang="0">
                <a:pos x="connsiteX32404" y="connsiteY32404"/>
              </a:cxn>
              <a:cxn ang="0">
                <a:pos x="connsiteX32405" y="connsiteY32405"/>
              </a:cxn>
              <a:cxn ang="0">
                <a:pos x="connsiteX32406" y="connsiteY32406"/>
              </a:cxn>
              <a:cxn ang="0">
                <a:pos x="connsiteX32407" y="connsiteY32407"/>
              </a:cxn>
              <a:cxn ang="0">
                <a:pos x="connsiteX32408" y="connsiteY32408"/>
              </a:cxn>
              <a:cxn ang="0">
                <a:pos x="connsiteX32409" y="connsiteY32409"/>
              </a:cxn>
              <a:cxn ang="0">
                <a:pos x="connsiteX32410" y="connsiteY32410"/>
              </a:cxn>
              <a:cxn ang="0">
                <a:pos x="connsiteX32411" y="connsiteY32411"/>
              </a:cxn>
              <a:cxn ang="0">
                <a:pos x="connsiteX32412" y="connsiteY32412"/>
              </a:cxn>
              <a:cxn ang="0">
                <a:pos x="connsiteX32413" y="connsiteY32413"/>
              </a:cxn>
              <a:cxn ang="0">
                <a:pos x="connsiteX32414" y="connsiteY32414"/>
              </a:cxn>
              <a:cxn ang="0">
                <a:pos x="connsiteX32415" y="connsiteY32415"/>
              </a:cxn>
              <a:cxn ang="0">
                <a:pos x="connsiteX32416" y="connsiteY32416"/>
              </a:cxn>
              <a:cxn ang="0">
                <a:pos x="connsiteX32417" y="connsiteY32417"/>
              </a:cxn>
              <a:cxn ang="0">
                <a:pos x="connsiteX32418" y="connsiteY32418"/>
              </a:cxn>
              <a:cxn ang="0">
                <a:pos x="connsiteX32419" y="connsiteY32419"/>
              </a:cxn>
              <a:cxn ang="0">
                <a:pos x="connsiteX32420" y="connsiteY32420"/>
              </a:cxn>
              <a:cxn ang="0">
                <a:pos x="connsiteX32421" y="connsiteY32421"/>
              </a:cxn>
              <a:cxn ang="0">
                <a:pos x="connsiteX32422" y="connsiteY32422"/>
              </a:cxn>
              <a:cxn ang="0">
                <a:pos x="connsiteX32423" y="connsiteY32423"/>
              </a:cxn>
              <a:cxn ang="0">
                <a:pos x="connsiteX32424" y="connsiteY32424"/>
              </a:cxn>
              <a:cxn ang="0">
                <a:pos x="connsiteX32425" y="connsiteY32425"/>
              </a:cxn>
              <a:cxn ang="0">
                <a:pos x="connsiteX32426" y="connsiteY32426"/>
              </a:cxn>
              <a:cxn ang="0">
                <a:pos x="connsiteX32427" y="connsiteY32427"/>
              </a:cxn>
              <a:cxn ang="0">
                <a:pos x="connsiteX32428" y="connsiteY32428"/>
              </a:cxn>
              <a:cxn ang="0">
                <a:pos x="connsiteX32429" y="connsiteY32429"/>
              </a:cxn>
              <a:cxn ang="0">
                <a:pos x="connsiteX32430" y="connsiteY32430"/>
              </a:cxn>
              <a:cxn ang="0">
                <a:pos x="connsiteX32431" y="connsiteY32431"/>
              </a:cxn>
              <a:cxn ang="0">
                <a:pos x="connsiteX32432" y="connsiteY32432"/>
              </a:cxn>
              <a:cxn ang="0">
                <a:pos x="connsiteX32433" y="connsiteY32433"/>
              </a:cxn>
              <a:cxn ang="0">
                <a:pos x="connsiteX32434" y="connsiteY32434"/>
              </a:cxn>
              <a:cxn ang="0">
                <a:pos x="connsiteX32435" y="connsiteY32435"/>
              </a:cxn>
              <a:cxn ang="0">
                <a:pos x="connsiteX32436" y="connsiteY32436"/>
              </a:cxn>
              <a:cxn ang="0">
                <a:pos x="connsiteX32437" y="connsiteY32437"/>
              </a:cxn>
              <a:cxn ang="0">
                <a:pos x="connsiteX32438" y="connsiteY32438"/>
              </a:cxn>
              <a:cxn ang="0">
                <a:pos x="connsiteX32439" y="connsiteY32439"/>
              </a:cxn>
              <a:cxn ang="0">
                <a:pos x="connsiteX32440" y="connsiteY32440"/>
              </a:cxn>
              <a:cxn ang="0">
                <a:pos x="connsiteX32441" y="connsiteY32441"/>
              </a:cxn>
              <a:cxn ang="0">
                <a:pos x="connsiteX32442" y="connsiteY32442"/>
              </a:cxn>
              <a:cxn ang="0">
                <a:pos x="connsiteX32443" y="connsiteY32443"/>
              </a:cxn>
              <a:cxn ang="0">
                <a:pos x="connsiteX32444" y="connsiteY32444"/>
              </a:cxn>
              <a:cxn ang="0">
                <a:pos x="connsiteX32445" y="connsiteY32445"/>
              </a:cxn>
              <a:cxn ang="0">
                <a:pos x="connsiteX32446" y="connsiteY32446"/>
              </a:cxn>
              <a:cxn ang="0">
                <a:pos x="connsiteX32447" y="connsiteY32447"/>
              </a:cxn>
              <a:cxn ang="0">
                <a:pos x="connsiteX32448" y="connsiteY32448"/>
              </a:cxn>
              <a:cxn ang="0">
                <a:pos x="connsiteX32449" y="connsiteY32449"/>
              </a:cxn>
              <a:cxn ang="0">
                <a:pos x="connsiteX32450" y="connsiteY32450"/>
              </a:cxn>
              <a:cxn ang="0">
                <a:pos x="connsiteX32451" y="connsiteY32451"/>
              </a:cxn>
              <a:cxn ang="0">
                <a:pos x="connsiteX32452" y="connsiteY32452"/>
              </a:cxn>
              <a:cxn ang="0">
                <a:pos x="connsiteX32453" y="connsiteY32453"/>
              </a:cxn>
              <a:cxn ang="0">
                <a:pos x="connsiteX32454" y="connsiteY32454"/>
              </a:cxn>
              <a:cxn ang="0">
                <a:pos x="connsiteX32455" y="connsiteY32455"/>
              </a:cxn>
              <a:cxn ang="0">
                <a:pos x="connsiteX32456" y="connsiteY32456"/>
              </a:cxn>
              <a:cxn ang="0">
                <a:pos x="connsiteX32457" y="connsiteY32457"/>
              </a:cxn>
              <a:cxn ang="0">
                <a:pos x="connsiteX32458" y="connsiteY32458"/>
              </a:cxn>
              <a:cxn ang="0">
                <a:pos x="connsiteX32459" y="connsiteY32459"/>
              </a:cxn>
              <a:cxn ang="0">
                <a:pos x="connsiteX32460" y="connsiteY32460"/>
              </a:cxn>
              <a:cxn ang="0">
                <a:pos x="connsiteX32461" y="connsiteY32461"/>
              </a:cxn>
              <a:cxn ang="0">
                <a:pos x="connsiteX32462" y="connsiteY32462"/>
              </a:cxn>
              <a:cxn ang="0">
                <a:pos x="connsiteX32463" y="connsiteY32463"/>
              </a:cxn>
              <a:cxn ang="0">
                <a:pos x="connsiteX32464" y="connsiteY32464"/>
              </a:cxn>
              <a:cxn ang="0">
                <a:pos x="connsiteX32465" y="connsiteY32465"/>
              </a:cxn>
              <a:cxn ang="0">
                <a:pos x="connsiteX32466" y="connsiteY32466"/>
              </a:cxn>
              <a:cxn ang="0">
                <a:pos x="connsiteX32467" y="connsiteY32467"/>
              </a:cxn>
              <a:cxn ang="0">
                <a:pos x="connsiteX32468" y="connsiteY32468"/>
              </a:cxn>
              <a:cxn ang="0">
                <a:pos x="connsiteX32469" y="connsiteY32469"/>
              </a:cxn>
              <a:cxn ang="0">
                <a:pos x="connsiteX32470" y="connsiteY32470"/>
              </a:cxn>
              <a:cxn ang="0">
                <a:pos x="connsiteX32471" y="connsiteY32471"/>
              </a:cxn>
              <a:cxn ang="0">
                <a:pos x="connsiteX32472" y="connsiteY32472"/>
              </a:cxn>
              <a:cxn ang="0">
                <a:pos x="connsiteX32473" y="connsiteY32473"/>
              </a:cxn>
              <a:cxn ang="0">
                <a:pos x="connsiteX32474" y="connsiteY32474"/>
              </a:cxn>
              <a:cxn ang="0">
                <a:pos x="connsiteX32475" y="connsiteY32475"/>
              </a:cxn>
              <a:cxn ang="0">
                <a:pos x="connsiteX32476" y="connsiteY32476"/>
              </a:cxn>
              <a:cxn ang="0">
                <a:pos x="connsiteX32477" y="connsiteY32477"/>
              </a:cxn>
              <a:cxn ang="0">
                <a:pos x="connsiteX32478" y="connsiteY32478"/>
              </a:cxn>
              <a:cxn ang="0">
                <a:pos x="connsiteX32479" y="connsiteY32479"/>
              </a:cxn>
              <a:cxn ang="0">
                <a:pos x="connsiteX32480" y="connsiteY32480"/>
              </a:cxn>
              <a:cxn ang="0">
                <a:pos x="connsiteX32481" y="connsiteY32481"/>
              </a:cxn>
              <a:cxn ang="0">
                <a:pos x="connsiteX32482" y="connsiteY32482"/>
              </a:cxn>
              <a:cxn ang="0">
                <a:pos x="connsiteX32483" y="connsiteY32483"/>
              </a:cxn>
              <a:cxn ang="0">
                <a:pos x="connsiteX32484" y="connsiteY32484"/>
              </a:cxn>
              <a:cxn ang="0">
                <a:pos x="connsiteX32485" y="connsiteY32485"/>
              </a:cxn>
              <a:cxn ang="0">
                <a:pos x="connsiteX32486" y="connsiteY32486"/>
              </a:cxn>
              <a:cxn ang="0">
                <a:pos x="connsiteX32487" y="connsiteY32487"/>
              </a:cxn>
              <a:cxn ang="0">
                <a:pos x="connsiteX32488" y="connsiteY32488"/>
              </a:cxn>
              <a:cxn ang="0">
                <a:pos x="connsiteX32489" y="connsiteY32489"/>
              </a:cxn>
              <a:cxn ang="0">
                <a:pos x="connsiteX32490" y="connsiteY32490"/>
              </a:cxn>
              <a:cxn ang="0">
                <a:pos x="connsiteX32491" y="connsiteY32491"/>
              </a:cxn>
              <a:cxn ang="0">
                <a:pos x="connsiteX32492" y="connsiteY32492"/>
              </a:cxn>
              <a:cxn ang="0">
                <a:pos x="connsiteX32493" y="connsiteY32493"/>
              </a:cxn>
              <a:cxn ang="0">
                <a:pos x="connsiteX32494" y="connsiteY32494"/>
              </a:cxn>
              <a:cxn ang="0">
                <a:pos x="connsiteX32495" y="connsiteY32495"/>
              </a:cxn>
              <a:cxn ang="0">
                <a:pos x="connsiteX32496" y="connsiteY32496"/>
              </a:cxn>
              <a:cxn ang="0">
                <a:pos x="connsiteX32497" y="connsiteY32497"/>
              </a:cxn>
              <a:cxn ang="0">
                <a:pos x="connsiteX32498" y="connsiteY32498"/>
              </a:cxn>
              <a:cxn ang="0">
                <a:pos x="connsiteX32499" y="connsiteY32499"/>
              </a:cxn>
              <a:cxn ang="0">
                <a:pos x="connsiteX32500" y="connsiteY32500"/>
              </a:cxn>
              <a:cxn ang="0">
                <a:pos x="connsiteX32501" y="connsiteY32501"/>
              </a:cxn>
              <a:cxn ang="0">
                <a:pos x="connsiteX32502" y="connsiteY32502"/>
              </a:cxn>
              <a:cxn ang="0">
                <a:pos x="connsiteX32503" y="connsiteY32503"/>
              </a:cxn>
              <a:cxn ang="0">
                <a:pos x="connsiteX32504" y="connsiteY32504"/>
              </a:cxn>
              <a:cxn ang="0">
                <a:pos x="connsiteX32505" y="connsiteY32505"/>
              </a:cxn>
              <a:cxn ang="0">
                <a:pos x="connsiteX32506" y="connsiteY32506"/>
              </a:cxn>
              <a:cxn ang="0">
                <a:pos x="connsiteX32507" y="connsiteY32507"/>
              </a:cxn>
              <a:cxn ang="0">
                <a:pos x="connsiteX32508" y="connsiteY32508"/>
              </a:cxn>
              <a:cxn ang="0">
                <a:pos x="connsiteX32509" y="connsiteY32509"/>
              </a:cxn>
              <a:cxn ang="0">
                <a:pos x="connsiteX32510" y="connsiteY32510"/>
              </a:cxn>
              <a:cxn ang="0">
                <a:pos x="connsiteX32511" y="connsiteY32511"/>
              </a:cxn>
              <a:cxn ang="0">
                <a:pos x="connsiteX32512" y="connsiteY32512"/>
              </a:cxn>
              <a:cxn ang="0">
                <a:pos x="connsiteX32513" y="connsiteY32513"/>
              </a:cxn>
              <a:cxn ang="0">
                <a:pos x="connsiteX32514" y="connsiteY32514"/>
              </a:cxn>
              <a:cxn ang="0">
                <a:pos x="connsiteX32515" y="connsiteY32515"/>
              </a:cxn>
              <a:cxn ang="0">
                <a:pos x="connsiteX32516" y="connsiteY32516"/>
              </a:cxn>
              <a:cxn ang="0">
                <a:pos x="connsiteX32517" y="connsiteY32517"/>
              </a:cxn>
              <a:cxn ang="0">
                <a:pos x="connsiteX32518" y="connsiteY32518"/>
              </a:cxn>
              <a:cxn ang="0">
                <a:pos x="connsiteX32519" y="connsiteY32519"/>
              </a:cxn>
              <a:cxn ang="0">
                <a:pos x="connsiteX32520" y="connsiteY32520"/>
              </a:cxn>
              <a:cxn ang="0">
                <a:pos x="connsiteX32521" y="connsiteY32521"/>
              </a:cxn>
              <a:cxn ang="0">
                <a:pos x="connsiteX32522" y="connsiteY32522"/>
              </a:cxn>
              <a:cxn ang="0">
                <a:pos x="connsiteX32523" y="connsiteY32523"/>
              </a:cxn>
              <a:cxn ang="0">
                <a:pos x="connsiteX32524" y="connsiteY32524"/>
              </a:cxn>
              <a:cxn ang="0">
                <a:pos x="connsiteX32525" y="connsiteY32525"/>
              </a:cxn>
              <a:cxn ang="0">
                <a:pos x="connsiteX32526" y="connsiteY32526"/>
              </a:cxn>
              <a:cxn ang="0">
                <a:pos x="connsiteX32527" y="connsiteY32527"/>
              </a:cxn>
              <a:cxn ang="0">
                <a:pos x="connsiteX32528" y="connsiteY32528"/>
              </a:cxn>
              <a:cxn ang="0">
                <a:pos x="connsiteX32529" y="connsiteY32529"/>
              </a:cxn>
              <a:cxn ang="0">
                <a:pos x="connsiteX32530" y="connsiteY32530"/>
              </a:cxn>
              <a:cxn ang="0">
                <a:pos x="connsiteX32531" y="connsiteY32531"/>
              </a:cxn>
              <a:cxn ang="0">
                <a:pos x="connsiteX32532" y="connsiteY32532"/>
              </a:cxn>
              <a:cxn ang="0">
                <a:pos x="connsiteX32533" y="connsiteY32533"/>
              </a:cxn>
              <a:cxn ang="0">
                <a:pos x="connsiteX32534" y="connsiteY32534"/>
              </a:cxn>
              <a:cxn ang="0">
                <a:pos x="connsiteX32535" y="connsiteY32535"/>
              </a:cxn>
              <a:cxn ang="0">
                <a:pos x="connsiteX32536" y="connsiteY32536"/>
              </a:cxn>
              <a:cxn ang="0">
                <a:pos x="connsiteX32537" y="connsiteY32537"/>
              </a:cxn>
              <a:cxn ang="0">
                <a:pos x="connsiteX32538" y="connsiteY32538"/>
              </a:cxn>
              <a:cxn ang="0">
                <a:pos x="connsiteX32539" y="connsiteY32539"/>
              </a:cxn>
              <a:cxn ang="0">
                <a:pos x="connsiteX32540" y="connsiteY32540"/>
              </a:cxn>
              <a:cxn ang="0">
                <a:pos x="connsiteX32541" y="connsiteY32541"/>
              </a:cxn>
              <a:cxn ang="0">
                <a:pos x="connsiteX32542" y="connsiteY32542"/>
              </a:cxn>
              <a:cxn ang="0">
                <a:pos x="connsiteX32543" y="connsiteY32543"/>
              </a:cxn>
              <a:cxn ang="0">
                <a:pos x="connsiteX32544" y="connsiteY32544"/>
              </a:cxn>
              <a:cxn ang="0">
                <a:pos x="connsiteX32545" y="connsiteY32545"/>
              </a:cxn>
              <a:cxn ang="0">
                <a:pos x="connsiteX32546" y="connsiteY32546"/>
              </a:cxn>
              <a:cxn ang="0">
                <a:pos x="connsiteX32547" y="connsiteY32547"/>
              </a:cxn>
              <a:cxn ang="0">
                <a:pos x="connsiteX32548" y="connsiteY32548"/>
              </a:cxn>
              <a:cxn ang="0">
                <a:pos x="connsiteX32549" y="connsiteY32549"/>
              </a:cxn>
              <a:cxn ang="0">
                <a:pos x="connsiteX32550" y="connsiteY32550"/>
              </a:cxn>
              <a:cxn ang="0">
                <a:pos x="connsiteX32551" y="connsiteY32551"/>
              </a:cxn>
              <a:cxn ang="0">
                <a:pos x="connsiteX32552" y="connsiteY32552"/>
              </a:cxn>
              <a:cxn ang="0">
                <a:pos x="connsiteX32553" y="connsiteY32553"/>
              </a:cxn>
              <a:cxn ang="0">
                <a:pos x="connsiteX32554" y="connsiteY32554"/>
              </a:cxn>
              <a:cxn ang="0">
                <a:pos x="connsiteX32555" y="connsiteY32555"/>
              </a:cxn>
              <a:cxn ang="0">
                <a:pos x="connsiteX32556" y="connsiteY32556"/>
              </a:cxn>
              <a:cxn ang="0">
                <a:pos x="connsiteX32557" y="connsiteY32557"/>
              </a:cxn>
              <a:cxn ang="0">
                <a:pos x="connsiteX32558" y="connsiteY32558"/>
              </a:cxn>
              <a:cxn ang="0">
                <a:pos x="connsiteX32559" y="connsiteY32559"/>
              </a:cxn>
              <a:cxn ang="0">
                <a:pos x="connsiteX32560" y="connsiteY32560"/>
              </a:cxn>
              <a:cxn ang="0">
                <a:pos x="connsiteX32561" y="connsiteY32561"/>
              </a:cxn>
              <a:cxn ang="0">
                <a:pos x="connsiteX32562" y="connsiteY32562"/>
              </a:cxn>
              <a:cxn ang="0">
                <a:pos x="connsiteX32563" y="connsiteY32563"/>
              </a:cxn>
              <a:cxn ang="0">
                <a:pos x="connsiteX32564" y="connsiteY32564"/>
              </a:cxn>
              <a:cxn ang="0">
                <a:pos x="connsiteX32565" y="connsiteY32565"/>
              </a:cxn>
              <a:cxn ang="0">
                <a:pos x="connsiteX32566" y="connsiteY32566"/>
              </a:cxn>
              <a:cxn ang="0">
                <a:pos x="connsiteX32567" y="connsiteY32567"/>
              </a:cxn>
              <a:cxn ang="0">
                <a:pos x="connsiteX32568" y="connsiteY32568"/>
              </a:cxn>
              <a:cxn ang="0">
                <a:pos x="connsiteX32569" y="connsiteY32569"/>
              </a:cxn>
              <a:cxn ang="0">
                <a:pos x="connsiteX32570" y="connsiteY32570"/>
              </a:cxn>
              <a:cxn ang="0">
                <a:pos x="connsiteX32571" y="connsiteY32571"/>
              </a:cxn>
              <a:cxn ang="0">
                <a:pos x="connsiteX32572" y="connsiteY32572"/>
              </a:cxn>
              <a:cxn ang="0">
                <a:pos x="connsiteX32573" y="connsiteY32573"/>
              </a:cxn>
              <a:cxn ang="0">
                <a:pos x="connsiteX32574" y="connsiteY32574"/>
              </a:cxn>
              <a:cxn ang="0">
                <a:pos x="connsiteX32575" y="connsiteY32575"/>
              </a:cxn>
              <a:cxn ang="0">
                <a:pos x="connsiteX32576" y="connsiteY32576"/>
              </a:cxn>
              <a:cxn ang="0">
                <a:pos x="connsiteX32577" y="connsiteY32577"/>
              </a:cxn>
              <a:cxn ang="0">
                <a:pos x="connsiteX32578" y="connsiteY32578"/>
              </a:cxn>
              <a:cxn ang="0">
                <a:pos x="connsiteX32579" y="connsiteY32579"/>
              </a:cxn>
              <a:cxn ang="0">
                <a:pos x="connsiteX32580" y="connsiteY32580"/>
              </a:cxn>
              <a:cxn ang="0">
                <a:pos x="connsiteX32581" y="connsiteY32581"/>
              </a:cxn>
              <a:cxn ang="0">
                <a:pos x="connsiteX32582" y="connsiteY32582"/>
              </a:cxn>
              <a:cxn ang="0">
                <a:pos x="connsiteX32583" y="connsiteY32583"/>
              </a:cxn>
              <a:cxn ang="0">
                <a:pos x="connsiteX32584" y="connsiteY32584"/>
              </a:cxn>
              <a:cxn ang="0">
                <a:pos x="connsiteX32585" y="connsiteY32585"/>
              </a:cxn>
              <a:cxn ang="0">
                <a:pos x="connsiteX32586" y="connsiteY32586"/>
              </a:cxn>
              <a:cxn ang="0">
                <a:pos x="connsiteX32587" y="connsiteY32587"/>
              </a:cxn>
              <a:cxn ang="0">
                <a:pos x="connsiteX32588" y="connsiteY32588"/>
              </a:cxn>
              <a:cxn ang="0">
                <a:pos x="connsiteX32589" y="connsiteY32589"/>
              </a:cxn>
              <a:cxn ang="0">
                <a:pos x="connsiteX32590" y="connsiteY32590"/>
              </a:cxn>
              <a:cxn ang="0">
                <a:pos x="connsiteX32591" y="connsiteY32591"/>
              </a:cxn>
              <a:cxn ang="0">
                <a:pos x="connsiteX32592" y="connsiteY32592"/>
              </a:cxn>
              <a:cxn ang="0">
                <a:pos x="connsiteX32593" y="connsiteY32593"/>
              </a:cxn>
              <a:cxn ang="0">
                <a:pos x="connsiteX32594" y="connsiteY32594"/>
              </a:cxn>
              <a:cxn ang="0">
                <a:pos x="connsiteX32595" y="connsiteY32595"/>
              </a:cxn>
              <a:cxn ang="0">
                <a:pos x="connsiteX32596" y="connsiteY32596"/>
              </a:cxn>
              <a:cxn ang="0">
                <a:pos x="connsiteX32597" y="connsiteY32597"/>
              </a:cxn>
              <a:cxn ang="0">
                <a:pos x="connsiteX32598" y="connsiteY32598"/>
              </a:cxn>
              <a:cxn ang="0">
                <a:pos x="connsiteX32599" y="connsiteY32599"/>
              </a:cxn>
              <a:cxn ang="0">
                <a:pos x="connsiteX32600" y="connsiteY32600"/>
              </a:cxn>
              <a:cxn ang="0">
                <a:pos x="connsiteX32601" y="connsiteY32601"/>
              </a:cxn>
              <a:cxn ang="0">
                <a:pos x="connsiteX32602" y="connsiteY32602"/>
              </a:cxn>
              <a:cxn ang="0">
                <a:pos x="connsiteX32603" y="connsiteY32603"/>
              </a:cxn>
              <a:cxn ang="0">
                <a:pos x="connsiteX32604" y="connsiteY32604"/>
              </a:cxn>
              <a:cxn ang="0">
                <a:pos x="connsiteX32605" y="connsiteY32605"/>
              </a:cxn>
              <a:cxn ang="0">
                <a:pos x="connsiteX32606" y="connsiteY32606"/>
              </a:cxn>
              <a:cxn ang="0">
                <a:pos x="connsiteX32607" y="connsiteY32607"/>
              </a:cxn>
              <a:cxn ang="0">
                <a:pos x="connsiteX32608" y="connsiteY32608"/>
              </a:cxn>
              <a:cxn ang="0">
                <a:pos x="connsiteX32609" y="connsiteY32609"/>
              </a:cxn>
              <a:cxn ang="0">
                <a:pos x="connsiteX32610" y="connsiteY32610"/>
              </a:cxn>
              <a:cxn ang="0">
                <a:pos x="connsiteX32611" y="connsiteY32611"/>
              </a:cxn>
              <a:cxn ang="0">
                <a:pos x="connsiteX32612" y="connsiteY32612"/>
              </a:cxn>
              <a:cxn ang="0">
                <a:pos x="connsiteX32613" y="connsiteY32613"/>
              </a:cxn>
              <a:cxn ang="0">
                <a:pos x="connsiteX32614" y="connsiteY32614"/>
              </a:cxn>
              <a:cxn ang="0">
                <a:pos x="connsiteX32615" y="connsiteY32615"/>
              </a:cxn>
              <a:cxn ang="0">
                <a:pos x="connsiteX32616" y="connsiteY32616"/>
              </a:cxn>
              <a:cxn ang="0">
                <a:pos x="connsiteX32617" y="connsiteY32617"/>
              </a:cxn>
              <a:cxn ang="0">
                <a:pos x="connsiteX32618" y="connsiteY32618"/>
              </a:cxn>
              <a:cxn ang="0">
                <a:pos x="connsiteX32619" y="connsiteY32619"/>
              </a:cxn>
              <a:cxn ang="0">
                <a:pos x="connsiteX32620" y="connsiteY32620"/>
              </a:cxn>
              <a:cxn ang="0">
                <a:pos x="connsiteX32621" y="connsiteY32621"/>
              </a:cxn>
              <a:cxn ang="0">
                <a:pos x="connsiteX32622" y="connsiteY32622"/>
              </a:cxn>
              <a:cxn ang="0">
                <a:pos x="connsiteX32623" y="connsiteY32623"/>
              </a:cxn>
              <a:cxn ang="0">
                <a:pos x="connsiteX32624" y="connsiteY32624"/>
              </a:cxn>
              <a:cxn ang="0">
                <a:pos x="connsiteX32625" y="connsiteY32625"/>
              </a:cxn>
              <a:cxn ang="0">
                <a:pos x="connsiteX32626" y="connsiteY32626"/>
              </a:cxn>
              <a:cxn ang="0">
                <a:pos x="connsiteX32627" y="connsiteY32627"/>
              </a:cxn>
              <a:cxn ang="0">
                <a:pos x="connsiteX32628" y="connsiteY32628"/>
              </a:cxn>
              <a:cxn ang="0">
                <a:pos x="connsiteX32629" y="connsiteY32629"/>
              </a:cxn>
              <a:cxn ang="0">
                <a:pos x="connsiteX32630" y="connsiteY32630"/>
              </a:cxn>
              <a:cxn ang="0">
                <a:pos x="connsiteX32631" y="connsiteY32631"/>
              </a:cxn>
              <a:cxn ang="0">
                <a:pos x="connsiteX32632" y="connsiteY32632"/>
              </a:cxn>
              <a:cxn ang="0">
                <a:pos x="connsiteX32633" y="connsiteY32633"/>
              </a:cxn>
              <a:cxn ang="0">
                <a:pos x="connsiteX32634" y="connsiteY32634"/>
              </a:cxn>
              <a:cxn ang="0">
                <a:pos x="connsiteX32635" y="connsiteY32635"/>
              </a:cxn>
              <a:cxn ang="0">
                <a:pos x="connsiteX32636" y="connsiteY32636"/>
              </a:cxn>
              <a:cxn ang="0">
                <a:pos x="connsiteX32637" y="connsiteY32637"/>
              </a:cxn>
              <a:cxn ang="0">
                <a:pos x="connsiteX32638" y="connsiteY32638"/>
              </a:cxn>
              <a:cxn ang="0">
                <a:pos x="connsiteX32639" y="connsiteY32639"/>
              </a:cxn>
              <a:cxn ang="0">
                <a:pos x="connsiteX32640" y="connsiteY32640"/>
              </a:cxn>
              <a:cxn ang="0">
                <a:pos x="connsiteX32641" y="connsiteY32641"/>
              </a:cxn>
              <a:cxn ang="0">
                <a:pos x="connsiteX32642" y="connsiteY32642"/>
              </a:cxn>
              <a:cxn ang="0">
                <a:pos x="connsiteX32643" y="connsiteY32643"/>
              </a:cxn>
              <a:cxn ang="0">
                <a:pos x="connsiteX32644" y="connsiteY32644"/>
              </a:cxn>
              <a:cxn ang="0">
                <a:pos x="connsiteX32645" y="connsiteY32645"/>
              </a:cxn>
              <a:cxn ang="0">
                <a:pos x="connsiteX32646" y="connsiteY32646"/>
              </a:cxn>
              <a:cxn ang="0">
                <a:pos x="connsiteX32647" y="connsiteY32647"/>
              </a:cxn>
              <a:cxn ang="0">
                <a:pos x="connsiteX32648" y="connsiteY32648"/>
              </a:cxn>
              <a:cxn ang="0">
                <a:pos x="connsiteX32649" y="connsiteY32649"/>
              </a:cxn>
              <a:cxn ang="0">
                <a:pos x="connsiteX32650" y="connsiteY32650"/>
              </a:cxn>
              <a:cxn ang="0">
                <a:pos x="connsiteX32651" y="connsiteY32651"/>
              </a:cxn>
              <a:cxn ang="0">
                <a:pos x="connsiteX32652" y="connsiteY32652"/>
              </a:cxn>
              <a:cxn ang="0">
                <a:pos x="connsiteX32653" y="connsiteY32653"/>
              </a:cxn>
              <a:cxn ang="0">
                <a:pos x="connsiteX32654" y="connsiteY32654"/>
              </a:cxn>
              <a:cxn ang="0">
                <a:pos x="connsiteX32655" y="connsiteY32655"/>
              </a:cxn>
              <a:cxn ang="0">
                <a:pos x="connsiteX32656" y="connsiteY32656"/>
              </a:cxn>
              <a:cxn ang="0">
                <a:pos x="connsiteX32657" y="connsiteY32657"/>
              </a:cxn>
              <a:cxn ang="0">
                <a:pos x="connsiteX32658" y="connsiteY32658"/>
              </a:cxn>
              <a:cxn ang="0">
                <a:pos x="connsiteX32659" y="connsiteY32659"/>
              </a:cxn>
              <a:cxn ang="0">
                <a:pos x="connsiteX32660" y="connsiteY32660"/>
              </a:cxn>
              <a:cxn ang="0">
                <a:pos x="connsiteX32661" y="connsiteY32661"/>
              </a:cxn>
              <a:cxn ang="0">
                <a:pos x="connsiteX32662" y="connsiteY32662"/>
              </a:cxn>
              <a:cxn ang="0">
                <a:pos x="connsiteX32663" y="connsiteY32663"/>
              </a:cxn>
              <a:cxn ang="0">
                <a:pos x="connsiteX32664" y="connsiteY32664"/>
              </a:cxn>
              <a:cxn ang="0">
                <a:pos x="connsiteX32665" y="connsiteY32665"/>
              </a:cxn>
              <a:cxn ang="0">
                <a:pos x="connsiteX32666" y="connsiteY32666"/>
              </a:cxn>
              <a:cxn ang="0">
                <a:pos x="connsiteX32667" y="connsiteY32667"/>
              </a:cxn>
              <a:cxn ang="0">
                <a:pos x="connsiteX32668" y="connsiteY32668"/>
              </a:cxn>
              <a:cxn ang="0">
                <a:pos x="connsiteX32669" y="connsiteY32669"/>
              </a:cxn>
              <a:cxn ang="0">
                <a:pos x="connsiteX32670" y="connsiteY32670"/>
              </a:cxn>
              <a:cxn ang="0">
                <a:pos x="connsiteX32671" y="connsiteY32671"/>
              </a:cxn>
              <a:cxn ang="0">
                <a:pos x="connsiteX32672" y="connsiteY32672"/>
              </a:cxn>
              <a:cxn ang="0">
                <a:pos x="connsiteX32673" y="connsiteY32673"/>
              </a:cxn>
              <a:cxn ang="0">
                <a:pos x="connsiteX32674" y="connsiteY32674"/>
              </a:cxn>
              <a:cxn ang="0">
                <a:pos x="connsiteX32675" y="connsiteY32675"/>
              </a:cxn>
              <a:cxn ang="0">
                <a:pos x="connsiteX32676" y="connsiteY32676"/>
              </a:cxn>
              <a:cxn ang="0">
                <a:pos x="connsiteX32677" y="connsiteY32677"/>
              </a:cxn>
              <a:cxn ang="0">
                <a:pos x="connsiteX32678" y="connsiteY32678"/>
              </a:cxn>
              <a:cxn ang="0">
                <a:pos x="connsiteX32679" y="connsiteY32679"/>
              </a:cxn>
              <a:cxn ang="0">
                <a:pos x="connsiteX32680" y="connsiteY32680"/>
              </a:cxn>
              <a:cxn ang="0">
                <a:pos x="connsiteX32681" y="connsiteY32681"/>
              </a:cxn>
              <a:cxn ang="0">
                <a:pos x="connsiteX32682" y="connsiteY32682"/>
              </a:cxn>
              <a:cxn ang="0">
                <a:pos x="connsiteX32683" y="connsiteY32683"/>
              </a:cxn>
              <a:cxn ang="0">
                <a:pos x="connsiteX32684" y="connsiteY32684"/>
              </a:cxn>
              <a:cxn ang="0">
                <a:pos x="connsiteX32685" y="connsiteY32685"/>
              </a:cxn>
              <a:cxn ang="0">
                <a:pos x="connsiteX32686" y="connsiteY32686"/>
              </a:cxn>
              <a:cxn ang="0">
                <a:pos x="connsiteX32687" y="connsiteY32687"/>
              </a:cxn>
              <a:cxn ang="0">
                <a:pos x="connsiteX32688" y="connsiteY32688"/>
              </a:cxn>
              <a:cxn ang="0">
                <a:pos x="connsiteX32689" y="connsiteY32689"/>
              </a:cxn>
              <a:cxn ang="0">
                <a:pos x="connsiteX32690" y="connsiteY32690"/>
              </a:cxn>
              <a:cxn ang="0">
                <a:pos x="connsiteX32691" y="connsiteY32691"/>
              </a:cxn>
              <a:cxn ang="0">
                <a:pos x="connsiteX32692" y="connsiteY32692"/>
              </a:cxn>
              <a:cxn ang="0">
                <a:pos x="connsiteX32693" y="connsiteY32693"/>
              </a:cxn>
              <a:cxn ang="0">
                <a:pos x="connsiteX32694" y="connsiteY32694"/>
              </a:cxn>
              <a:cxn ang="0">
                <a:pos x="connsiteX32695" y="connsiteY32695"/>
              </a:cxn>
              <a:cxn ang="0">
                <a:pos x="connsiteX32696" y="connsiteY32696"/>
              </a:cxn>
              <a:cxn ang="0">
                <a:pos x="connsiteX32697" y="connsiteY32697"/>
              </a:cxn>
              <a:cxn ang="0">
                <a:pos x="connsiteX32698" y="connsiteY32698"/>
              </a:cxn>
              <a:cxn ang="0">
                <a:pos x="connsiteX32699" y="connsiteY32699"/>
              </a:cxn>
              <a:cxn ang="0">
                <a:pos x="connsiteX32700" y="connsiteY32700"/>
              </a:cxn>
              <a:cxn ang="0">
                <a:pos x="connsiteX32701" y="connsiteY32701"/>
              </a:cxn>
              <a:cxn ang="0">
                <a:pos x="connsiteX32702" y="connsiteY32702"/>
              </a:cxn>
              <a:cxn ang="0">
                <a:pos x="connsiteX32703" y="connsiteY32703"/>
              </a:cxn>
              <a:cxn ang="0">
                <a:pos x="connsiteX32704" y="connsiteY32704"/>
              </a:cxn>
              <a:cxn ang="0">
                <a:pos x="connsiteX32705" y="connsiteY32705"/>
              </a:cxn>
              <a:cxn ang="0">
                <a:pos x="connsiteX32706" y="connsiteY32706"/>
              </a:cxn>
              <a:cxn ang="0">
                <a:pos x="connsiteX32707" y="connsiteY32707"/>
              </a:cxn>
              <a:cxn ang="0">
                <a:pos x="connsiteX32708" y="connsiteY32708"/>
              </a:cxn>
              <a:cxn ang="0">
                <a:pos x="connsiteX32709" y="connsiteY32709"/>
              </a:cxn>
              <a:cxn ang="0">
                <a:pos x="connsiteX32710" y="connsiteY32710"/>
              </a:cxn>
              <a:cxn ang="0">
                <a:pos x="connsiteX32711" y="connsiteY32711"/>
              </a:cxn>
              <a:cxn ang="0">
                <a:pos x="connsiteX32712" y="connsiteY32712"/>
              </a:cxn>
              <a:cxn ang="0">
                <a:pos x="connsiteX32713" y="connsiteY32713"/>
              </a:cxn>
              <a:cxn ang="0">
                <a:pos x="connsiteX32714" y="connsiteY32714"/>
              </a:cxn>
              <a:cxn ang="0">
                <a:pos x="connsiteX32715" y="connsiteY32715"/>
              </a:cxn>
              <a:cxn ang="0">
                <a:pos x="connsiteX32716" y="connsiteY32716"/>
              </a:cxn>
              <a:cxn ang="0">
                <a:pos x="connsiteX32717" y="connsiteY32717"/>
              </a:cxn>
              <a:cxn ang="0">
                <a:pos x="connsiteX32718" y="connsiteY32718"/>
              </a:cxn>
              <a:cxn ang="0">
                <a:pos x="connsiteX32719" y="connsiteY32719"/>
              </a:cxn>
              <a:cxn ang="0">
                <a:pos x="connsiteX32720" y="connsiteY32720"/>
              </a:cxn>
              <a:cxn ang="0">
                <a:pos x="connsiteX32721" y="connsiteY32721"/>
              </a:cxn>
              <a:cxn ang="0">
                <a:pos x="connsiteX32722" y="connsiteY32722"/>
              </a:cxn>
              <a:cxn ang="0">
                <a:pos x="connsiteX32723" y="connsiteY32723"/>
              </a:cxn>
              <a:cxn ang="0">
                <a:pos x="connsiteX32724" y="connsiteY32724"/>
              </a:cxn>
              <a:cxn ang="0">
                <a:pos x="connsiteX32725" y="connsiteY32725"/>
              </a:cxn>
              <a:cxn ang="0">
                <a:pos x="connsiteX32726" y="connsiteY32726"/>
              </a:cxn>
              <a:cxn ang="0">
                <a:pos x="connsiteX32727" y="connsiteY32727"/>
              </a:cxn>
              <a:cxn ang="0">
                <a:pos x="connsiteX32728" y="connsiteY32728"/>
              </a:cxn>
              <a:cxn ang="0">
                <a:pos x="connsiteX32729" y="connsiteY32729"/>
              </a:cxn>
              <a:cxn ang="0">
                <a:pos x="connsiteX32730" y="connsiteY32730"/>
              </a:cxn>
              <a:cxn ang="0">
                <a:pos x="connsiteX32731" y="connsiteY32731"/>
              </a:cxn>
              <a:cxn ang="0">
                <a:pos x="connsiteX32732" y="connsiteY32732"/>
              </a:cxn>
              <a:cxn ang="0">
                <a:pos x="connsiteX32733" y="connsiteY32733"/>
              </a:cxn>
              <a:cxn ang="0">
                <a:pos x="connsiteX32734" y="connsiteY32734"/>
              </a:cxn>
              <a:cxn ang="0">
                <a:pos x="connsiteX32735" y="connsiteY32735"/>
              </a:cxn>
              <a:cxn ang="0">
                <a:pos x="connsiteX32736" y="connsiteY32736"/>
              </a:cxn>
              <a:cxn ang="0">
                <a:pos x="connsiteX32737" y="connsiteY32737"/>
              </a:cxn>
              <a:cxn ang="0">
                <a:pos x="connsiteX32738" y="connsiteY32738"/>
              </a:cxn>
              <a:cxn ang="0">
                <a:pos x="connsiteX32739" y="connsiteY32739"/>
              </a:cxn>
              <a:cxn ang="0">
                <a:pos x="connsiteX32740" y="connsiteY32740"/>
              </a:cxn>
              <a:cxn ang="0">
                <a:pos x="connsiteX32741" y="connsiteY32741"/>
              </a:cxn>
              <a:cxn ang="0">
                <a:pos x="connsiteX32742" y="connsiteY32742"/>
              </a:cxn>
              <a:cxn ang="0">
                <a:pos x="connsiteX32743" y="connsiteY32743"/>
              </a:cxn>
              <a:cxn ang="0">
                <a:pos x="connsiteX32744" y="connsiteY32744"/>
              </a:cxn>
              <a:cxn ang="0">
                <a:pos x="connsiteX32745" y="connsiteY32745"/>
              </a:cxn>
              <a:cxn ang="0">
                <a:pos x="connsiteX32746" y="connsiteY32746"/>
              </a:cxn>
              <a:cxn ang="0">
                <a:pos x="connsiteX32747" y="connsiteY32747"/>
              </a:cxn>
              <a:cxn ang="0">
                <a:pos x="connsiteX32748" y="connsiteY32748"/>
              </a:cxn>
              <a:cxn ang="0">
                <a:pos x="connsiteX32749" y="connsiteY32749"/>
              </a:cxn>
              <a:cxn ang="0">
                <a:pos x="connsiteX32750" y="connsiteY32750"/>
              </a:cxn>
              <a:cxn ang="0">
                <a:pos x="connsiteX32751" y="connsiteY32751"/>
              </a:cxn>
              <a:cxn ang="0">
                <a:pos x="connsiteX32752" y="connsiteY32752"/>
              </a:cxn>
              <a:cxn ang="0">
                <a:pos x="connsiteX32753" y="connsiteY32753"/>
              </a:cxn>
              <a:cxn ang="0">
                <a:pos x="connsiteX32754" y="connsiteY32754"/>
              </a:cxn>
              <a:cxn ang="0">
                <a:pos x="connsiteX32755" y="connsiteY32755"/>
              </a:cxn>
              <a:cxn ang="0">
                <a:pos x="connsiteX32756" y="connsiteY32756"/>
              </a:cxn>
              <a:cxn ang="0">
                <a:pos x="connsiteX32757" y="connsiteY32757"/>
              </a:cxn>
              <a:cxn ang="0">
                <a:pos x="connsiteX32758" y="connsiteY32758"/>
              </a:cxn>
              <a:cxn ang="0">
                <a:pos x="connsiteX32759" y="connsiteY32759"/>
              </a:cxn>
              <a:cxn ang="0">
                <a:pos x="connsiteX32760" y="connsiteY32760"/>
              </a:cxn>
              <a:cxn ang="0">
                <a:pos x="connsiteX32761" y="connsiteY32761"/>
              </a:cxn>
              <a:cxn ang="0">
                <a:pos x="connsiteX32762" y="connsiteY32762"/>
              </a:cxn>
              <a:cxn ang="0">
                <a:pos x="connsiteX32763" y="connsiteY32763"/>
              </a:cxn>
              <a:cxn ang="0">
                <a:pos x="connsiteX32764" y="connsiteY32764"/>
              </a:cxn>
              <a:cxn ang="0">
                <a:pos x="connsiteX32765" y="connsiteY32765"/>
              </a:cxn>
              <a:cxn ang="0">
                <a:pos x="connsiteX32766" y="connsiteY32766"/>
              </a:cxn>
              <a:cxn ang="0">
                <a:pos x="connsiteX32767" y="connsiteY32767"/>
              </a:cxn>
              <a:cxn ang="0">
                <a:pos x="connsiteX32768" y="connsiteY32768"/>
              </a:cxn>
              <a:cxn ang="0">
                <a:pos x="connsiteX32769" y="connsiteY32769"/>
              </a:cxn>
              <a:cxn ang="0">
                <a:pos x="connsiteX32770" y="connsiteY32770"/>
              </a:cxn>
              <a:cxn ang="0">
                <a:pos x="connsiteX32771" y="connsiteY32771"/>
              </a:cxn>
              <a:cxn ang="0">
                <a:pos x="connsiteX32772" y="connsiteY32772"/>
              </a:cxn>
              <a:cxn ang="0">
                <a:pos x="connsiteX32773" y="connsiteY32773"/>
              </a:cxn>
              <a:cxn ang="0">
                <a:pos x="connsiteX32774" y="connsiteY32774"/>
              </a:cxn>
              <a:cxn ang="0">
                <a:pos x="connsiteX32775" y="connsiteY32775"/>
              </a:cxn>
              <a:cxn ang="0">
                <a:pos x="connsiteX32776" y="connsiteY32776"/>
              </a:cxn>
              <a:cxn ang="0">
                <a:pos x="connsiteX32777" y="connsiteY32777"/>
              </a:cxn>
              <a:cxn ang="0">
                <a:pos x="connsiteX32778" y="connsiteY32778"/>
              </a:cxn>
              <a:cxn ang="0">
                <a:pos x="connsiteX32779" y="connsiteY32779"/>
              </a:cxn>
              <a:cxn ang="0">
                <a:pos x="connsiteX32780" y="connsiteY32780"/>
              </a:cxn>
              <a:cxn ang="0">
                <a:pos x="connsiteX32781" y="connsiteY32781"/>
              </a:cxn>
              <a:cxn ang="0">
                <a:pos x="connsiteX32782" y="connsiteY32782"/>
              </a:cxn>
              <a:cxn ang="0">
                <a:pos x="connsiteX32783" y="connsiteY32783"/>
              </a:cxn>
              <a:cxn ang="0">
                <a:pos x="connsiteX32784" y="connsiteY32784"/>
              </a:cxn>
              <a:cxn ang="0">
                <a:pos x="connsiteX32785" y="connsiteY32785"/>
              </a:cxn>
              <a:cxn ang="0">
                <a:pos x="connsiteX32786" y="connsiteY32786"/>
              </a:cxn>
              <a:cxn ang="0">
                <a:pos x="connsiteX32787" y="connsiteY32787"/>
              </a:cxn>
              <a:cxn ang="0">
                <a:pos x="connsiteX32788" y="connsiteY32788"/>
              </a:cxn>
              <a:cxn ang="0">
                <a:pos x="connsiteX32789" y="connsiteY32789"/>
              </a:cxn>
              <a:cxn ang="0">
                <a:pos x="connsiteX32790" y="connsiteY32790"/>
              </a:cxn>
              <a:cxn ang="0">
                <a:pos x="connsiteX32791" y="connsiteY32791"/>
              </a:cxn>
              <a:cxn ang="0">
                <a:pos x="connsiteX32792" y="connsiteY32792"/>
              </a:cxn>
              <a:cxn ang="0">
                <a:pos x="connsiteX32793" y="connsiteY32793"/>
              </a:cxn>
              <a:cxn ang="0">
                <a:pos x="connsiteX32794" y="connsiteY32794"/>
              </a:cxn>
              <a:cxn ang="0">
                <a:pos x="connsiteX32795" y="connsiteY32795"/>
              </a:cxn>
              <a:cxn ang="0">
                <a:pos x="connsiteX32796" y="connsiteY32796"/>
              </a:cxn>
              <a:cxn ang="0">
                <a:pos x="connsiteX32797" y="connsiteY32797"/>
              </a:cxn>
              <a:cxn ang="0">
                <a:pos x="connsiteX32798" y="connsiteY32798"/>
              </a:cxn>
              <a:cxn ang="0">
                <a:pos x="connsiteX32799" y="connsiteY32799"/>
              </a:cxn>
              <a:cxn ang="0">
                <a:pos x="connsiteX32800" y="connsiteY32800"/>
              </a:cxn>
              <a:cxn ang="0">
                <a:pos x="connsiteX32801" y="connsiteY32801"/>
              </a:cxn>
              <a:cxn ang="0">
                <a:pos x="connsiteX32802" y="connsiteY32802"/>
              </a:cxn>
              <a:cxn ang="0">
                <a:pos x="connsiteX32803" y="connsiteY32803"/>
              </a:cxn>
              <a:cxn ang="0">
                <a:pos x="connsiteX32804" y="connsiteY32804"/>
              </a:cxn>
              <a:cxn ang="0">
                <a:pos x="connsiteX32805" y="connsiteY32805"/>
              </a:cxn>
              <a:cxn ang="0">
                <a:pos x="connsiteX32806" y="connsiteY32806"/>
              </a:cxn>
              <a:cxn ang="0">
                <a:pos x="connsiteX32807" y="connsiteY32807"/>
              </a:cxn>
              <a:cxn ang="0">
                <a:pos x="connsiteX32808" y="connsiteY32808"/>
              </a:cxn>
              <a:cxn ang="0">
                <a:pos x="connsiteX32809" y="connsiteY32809"/>
              </a:cxn>
              <a:cxn ang="0">
                <a:pos x="connsiteX32810" y="connsiteY32810"/>
              </a:cxn>
              <a:cxn ang="0">
                <a:pos x="connsiteX32811" y="connsiteY32811"/>
              </a:cxn>
              <a:cxn ang="0">
                <a:pos x="connsiteX32812" y="connsiteY32812"/>
              </a:cxn>
              <a:cxn ang="0">
                <a:pos x="connsiteX32813" y="connsiteY32813"/>
              </a:cxn>
              <a:cxn ang="0">
                <a:pos x="connsiteX32814" y="connsiteY32814"/>
              </a:cxn>
              <a:cxn ang="0">
                <a:pos x="connsiteX32815" y="connsiteY32815"/>
              </a:cxn>
              <a:cxn ang="0">
                <a:pos x="connsiteX32816" y="connsiteY32816"/>
              </a:cxn>
              <a:cxn ang="0">
                <a:pos x="connsiteX32817" y="connsiteY32817"/>
              </a:cxn>
              <a:cxn ang="0">
                <a:pos x="connsiteX32818" y="connsiteY32818"/>
              </a:cxn>
              <a:cxn ang="0">
                <a:pos x="connsiteX32819" y="connsiteY32819"/>
              </a:cxn>
              <a:cxn ang="0">
                <a:pos x="connsiteX32820" y="connsiteY32820"/>
              </a:cxn>
              <a:cxn ang="0">
                <a:pos x="connsiteX32821" y="connsiteY32821"/>
              </a:cxn>
              <a:cxn ang="0">
                <a:pos x="connsiteX32822" y="connsiteY32822"/>
              </a:cxn>
              <a:cxn ang="0">
                <a:pos x="connsiteX32823" y="connsiteY32823"/>
              </a:cxn>
              <a:cxn ang="0">
                <a:pos x="connsiteX32824" y="connsiteY32824"/>
              </a:cxn>
              <a:cxn ang="0">
                <a:pos x="connsiteX32825" y="connsiteY32825"/>
              </a:cxn>
              <a:cxn ang="0">
                <a:pos x="connsiteX32826" y="connsiteY32826"/>
              </a:cxn>
              <a:cxn ang="0">
                <a:pos x="connsiteX32827" y="connsiteY32827"/>
              </a:cxn>
              <a:cxn ang="0">
                <a:pos x="connsiteX32828" y="connsiteY32828"/>
              </a:cxn>
              <a:cxn ang="0">
                <a:pos x="connsiteX32829" y="connsiteY32829"/>
              </a:cxn>
              <a:cxn ang="0">
                <a:pos x="connsiteX32830" y="connsiteY32830"/>
              </a:cxn>
              <a:cxn ang="0">
                <a:pos x="connsiteX32831" y="connsiteY32831"/>
              </a:cxn>
              <a:cxn ang="0">
                <a:pos x="connsiteX32832" y="connsiteY32832"/>
              </a:cxn>
              <a:cxn ang="0">
                <a:pos x="connsiteX32833" y="connsiteY32833"/>
              </a:cxn>
              <a:cxn ang="0">
                <a:pos x="connsiteX32834" y="connsiteY32834"/>
              </a:cxn>
              <a:cxn ang="0">
                <a:pos x="connsiteX32835" y="connsiteY32835"/>
              </a:cxn>
              <a:cxn ang="0">
                <a:pos x="connsiteX32836" y="connsiteY32836"/>
              </a:cxn>
              <a:cxn ang="0">
                <a:pos x="connsiteX32837" y="connsiteY32837"/>
              </a:cxn>
              <a:cxn ang="0">
                <a:pos x="connsiteX32838" y="connsiteY32838"/>
              </a:cxn>
              <a:cxn ang="0">
                <a:pos x="connsiteX32839" y="connsiteY32839"/>
              </a:cxn>
              <a:cxn ang="0">
                <a:pos x="connsiteX32840" y="connsiteY32840"/>
              </a:cxn>
              <a:cxn ang="0">
                <a:pos x="connsiteX32841" y="connsiteY32841"/>
              </a:cxn>
              <a:cxn ang="0">
                <a:pos x="connsiteX32842" y="connsiteY32842"/>
              </a:cxn>
              <a:cxn ang="0">
                <a:pos x="connsiteX32843" y="connsiteY32843"/>
              </a:cxn>
              <a:cxn ang="0">
                <a:pos x="connsiteX32844" y="connsiteY32844"/>
              </a:cxn>
              <a:cxn ang="0">
                <a:pos x="connsiteX32845" y="connsiteY32845"/>
              </a:cxn>
              <a:cxn ang="0">
                <a:pos x="connsiteX32846" y="connsiteY32846"/>
              </a:cxn>
              <a:cxn ang="0">
                <a:pos x="connsiteX32847" y="connsiteY32847"/>
              </a:cxn>
              <a:cxn ang="0">
                <a:pos x="connsiteX32848" y="connsiteY32848"/>
              </a:cxn>
              <a:cxn ang="0">
                <a:pos x="connsiteX32849" y="connsiteY32849"/>
              </a:cxn>
              <a:cxn ang="0">
                <a:pos x="connsiteX32850" y="connsiteY32850"/>
              </a:cxn>
              <a:cxn ang="0">
                <a:pos x="connsiteX32851" y="connsiteY32851"/>
              </a:cxn>
              <a:cxn ang="0">
                <a:pos x="connsiteX32852" y="connsiteY32852"/>
              </a:cxn>
              <a:cxn ang="0">
                <a:pos x="connsiteX32853" y="connsiteY32853"/>
              </a:cxn>
              <a:cxn ang="0">
                <a:pos x="connsiteX32854" y="connsiteY32854"/>
              </a:cxn>
              <a:cxn ang="0">
                <a:pos x="connsiteX32855" y="connsiteY32855"/>
              </a:cxn>
              <a:cxn ang="0">
                <a:pos x="connsiteX32856" y="connsiteY32856"/>
              </a:cxn>
              <a:cxn ang="0">
                <a:pos x="connsiteX32857" y="connsiteY32857"/>
              </a:cxn>
              <a:cxn ang="0">
                <a:pos x="connsiteX32858" y="connsiteY32858"/>
              </a:cxn>
              <a:cxn ang="0">
                <a:pos x="connsiteX32859" y="connsiteY32859"/>
              </a:cxn>
              <a:cxn ang="0">
                <a:pos x="connsiteX32860" y="connsiteY32860"/>
              </a:cxn>
              <a:cxn ang="0">
                <a:pos x="connsiteX32861" y="connsiteY32861"/>
              </a:cxn>
              <a:cxn ang="0">
                <a:pos x="connsiteX32862" y="connsiteY32862"/>
              </a:cxn>
              <a:cxn ang="0">
                <a:pos x="connsiteX32863" y="connsiteY32863"/>
              </a:cxn>
              <a:cxn ang="0">
                <a:pos x="connsiteX32864" y="connsiteY32864"/>
              </a:cxn>
              <a:cxn ang="0">
                <a:pos x="connsiteX32865" y="connsiteY32865"/>
              </a:cxn>
              <a:cxn ang="0">
                <a:pos x="connsiteX32866" y="connsiteY32866"/>
              </a:cxn>
              <a:cxn ang="0">
                <a:pos x="connsiteX32867" y="connsiteY32867"/>
              </a:cxn>
              <a:cxn ang="0">
                <a:pos x="connsiteX32868" y="connsiteY32868"/>
              </a:cxn>
              <a:cxn ang="0">
                <a:pos x="connsiteX32869" y="connsiteY32869"/>
              </a:cxn>
              <a:cxn ang="0">
                <a:pos x="connsiteX32870" y="connsiteY32870"/>
              </a:cxn>
              <a:cxn ang="0">
                <a:pos x="connsiteX32871" y="connsiteY32871"/>
              </a:cxn>
              <a:cxn ang="0">
                <a:pos x="connsiteX32872" y="connsiteY32872"/>
              </a:cxn>
              <a:cxn ang="0">
                <a:pos x="connsiteX32873" y="connsiteY32873"/>
              </a:cxn>
              <a:cxn ang="0">
                <a:pos x="connsiteX32874" y="connsiteY32874"/>
              </a:cxn>
              <a:cxn ang="0">
                <a:pos x="connsiteX32875" y="connsiteY32875"/>
              </a:cxn>
              <a:cxn ang="0">
                <a:pos x="connsiteX32876" y="connsiteY32876"/>
              </a:cxn>
              <a:cxn ang="0">
                <a:pos x="connsiteX32877" y="connsiteY32877"/>
              </a:cxn>
              <a:cxn ang="0">
                <a:pos x="connsiteX32878" y="connsiteY32878"/>
              </a:cxn>
              <a:cxn ang="0">
                <a:pos x="connsiteX32879" y="connsiteY32879"/>
              </a:cxn>
              <a:cxn ang="0">
                <a:pos x="connsiteX32880" y="connsiteY32880"/>
              </a:cxn>
              <a:cxn ang="0">
                <a:pos x="connsiteX32881" y="connsiteY32881"/>
              </a:cxn>
              <a:cxn ang="0">
                <a:pos x="connsiteX32882" y="connsiteY32882"/>
              </a:cxn>
              <a:cxn ang="0">
                <a:pos x="connsiteX32883" y="connsiteY32883"/>
              </a:cxn>
              <a:cxn ang="0">
                <a:pos x="connsiteX32884" y="connsiteY32884"/>
              </a:cxn>
              <a:cxn ang="0">
                <a:pos x="connsiteX32885" y="connsiteY32885"/>
              </a:cxn>
              <a:cxn ang="0">
                <a:pos x="connsiteX32886" y="connsiteY32886"/>
              </a:cxn>
              <a:cxn ang="0">
                <a:pos x="connsiteX32887" y="connsiteY32887"/>
              </a:cxn>
              <a:cxn ang="0">
                <a:pos x="connsiteX32888" y="connsiteY32888"/>
              </a:cxn>
              <a:cxn ang="0">
                <a:pos x="connsiteX32889" y="connsiteY32889"/>
              </a:cxn>
              <a:cxn ang="0">
                <a:pos x="connsiteX32890" y="connsiteY32890"/>
              </a:cxn>
              <a:cxn ang="0">
                <a:pos x="connsiteX32891" y="connsiteY32891"/>
              </a:cxn>
              <a:cxn ang="0">
                <a:pos x="connsiteX32892" y="connsiteY32892"/>
              </a:cxn>
              <a:cxn ang="0">
                <a:pos x="connsiteX32893" y="connsiteY32893"/>
              </a:cxn>
              <a:cxn ang="0">
                <a:pos x="connsiteX32894" y="connsiteY32894"/>
              </a:cxn>
              <a:cxn ang="0">
                <a:pos x="connsiteX32895" y="connsiteY32895"/>
              </a:cxn>
              <a:cxn ang="0">
                <a:pos x="connsiteX32896" y="connsiteY32896"/>
              </a:cxn>
              <a:cxn ang="0">
                <a:pos x="connsiteX32897" y="connsiteY32897"/>
              </a:cxn>
              <a:cxn ang="0">
                <a:pos x="connsiteX32898" y="connsiteY32898"/>
              </a:cxn>
              <a:cxn ang="0">
                <a:pos x="connsiteX32899" y="connsiteY32899"/>
              </a:cxn>
              <a:cxn ang="0">
                <a:pos x="connsiteX32900" y="connsiteY32900"/>
              </a:cxn>
              <a:cxn ang="0">
                <a:pos x="connsiteX32901" y="connsiteY32901"/>
              </a:cxn>
              <a:cxn ang="0">
                <a:pos x="connsiteX32902" y="connsiteY32902"/>
              </a:cxn>
              <a:cxn ang="0">
                <a:pos x="connsiteX32903" y="connsiteY32903"/>
              </a:cxn>
              <a:cxn ang="0">
                <a:pos x="connsiteX32904" y="connsiteY32904"/>
              </a:cxn>
              <a:cxn ang="0">
                <a:pos x="connsiteX32905" y="connsiteY32905"/>
              </a:cxn>
              <a:cxn ang="0">
                <a:pos x="connsiteX32906" y="connsiteY32906"/>
              </a:cxn>
              <a:cxn ang="0">
                <a:pos x="connsiteX32907" y="connsiteY32907"/>
              </a:cxn>
              <a:cxn ang="0">
                <a:pos x="connsiteX32908" y="connsiteY32908"/>
              </a:cxn>
              <a:cxn ang="0">
                <a:pos x="connsiteX32909" y="connsiteY32909"/>
              </a:cxn>
              <a:cxn ang="0">
                <a:pos x="connsiteX32910" y="connsiteY32910"/>
              </a:cxn>
              <a:cxn ang="0">
                <a:pos x="connsiteX32911" y="connsiteY32911"/>
              </a:cxn>
              <a:cxn ang="0">
                <a:pos x="connsiteX32912" y="connsiteY32912"/>
              </a:cxn>
              <a:cxn ang="0">
                <a:pos x="connsiteX32913" y="connsiteY32913"/>
              </a:cxn>
              <a:cxn ang="0">
                <a:pos x="connsiteX32914" y="connsiteY32914"/>
              </a:cxn>
              <a:cxn ang="0">
                <a:pos x="connsiteX32915" y="connsiteY32915"/>
              </a:cxn>
              <a:cxn ang="0">
                <a:pos x="connsiteX32916" y="connsiteY32916"/>
              </a:cxn>
              <a:cxn ang="0">
                <a:pos x="connsiteX32917" y="connsiteY32917"/>
              </a:cxn>
              <a:cxn ang="0">
                <a:pos x="connsiteX32918" y="connsiteY32918"/>
              </a:cxn>
              <a:cxn ang="0">
                <a:pos x="connsiteX32919" y="connsiteY32919"/>
              </a:cxn>
              <a:cxn ang="0">
                <a:pos x="connsiteX32920" y="connsiteY32920"/>
              </a:cxn>
              <a:cxn ang="0">
                <a:pos x="connsiteX32921" y="connsiteY32921"/>
              </a:cxn>
              <a:cxn ang="0">
                <a:pos x="connsiteX32922" y="connsiteY32922"/>
              </a:cxn>
              <a:cxn ang="0">
                <a:pos x="connsiteX32923" y="connsiteY32923"/>
              </a:cxn>
              <a:cxn ang="0">
                <a:pos x="connsiteX32924" y="connsiteY32924"/>
              </a:cxn>
              <a:cxn ang="0">
                <a:pos x="connsiteX32925" y="connsiteY32925"/>
              </a:cxn>
              <a:cxn ang="0">
                <a:pos x="connsiteX32926" y="connsiteY32926"/>
              </a:cxn>
              <a:cxn ang="0">
                <a:pos x="connsiteX32927" y="connsiteY32927"/>
              </a:cxn>
              <a:cxn ang="0">
                <a:pos x="connsiteX32928" y="connsiteY32928"/>
              </a:cxn>
              <a:cxn ang="0">
                <a:pos x="connsiteX32929" y="connsiteY32929"/>
              </a:cxn>
              <a:cxn ang="0">
                <a:pos x="connsiteX32930" y="connsiteY32930"/>
              </a:cxn>
              <a:cxn ang="0">
                <a:pos x="connsiteX32931" y="connsiteY32931"/>
              </a:cxn>
              <a:cxn ang="0">
                <a:pos x="connsiteX32932" y="connsiteY32932"/>
              </a:cxn>
              <a:cxn ang="0">
                <a:pos x="connsiteX32933" y="connsiteY32933"/>
              </a:cxn>
              <a:cxn ang="0">
                <a:pos x="connsiteX32934" y="connsiteY32934"/>
              </a:cxn>
              <a:cxn ang="0">
                <a:pos x="connsiteX32935" y="connsiteY32935"/>
              </a:cxn>
              <a:cxn ang="0">
                <a:pos x="connsiteX32936" y="connsiteY32936"/>
              </a:cxn>
              <a:cxn ang="0">
                <a:pos x="connsiteX32937" y="connsiteY32937"/>
              </a:cxn>
              <a:cxn ang="0">
                <a:pos x="connsiteX32938" y="connsiteY32938"/>
              </a:cxn>
              <a:cxn ang="0">
                <a:pos x="connsiteX32939" y="connsiteY32939"/>
              </a:cxn>
              <a:cxn ang="0">
                <a:pos x="connsiteX32940" y="connsiteY32940"/>
              </a:cxn>
              <a:cxn ang="0">
                <a:pos x="connsiteX32941" y="connsiteY32941"/>
              </a:cxn>
              <a:cxn ang="0">
                <a:pos x="connsiteX32942" y="connsiteY32942"/>
              </a:cxn>
              <a:cxn ang="0">
                <a:pos x="connsiteX32943" y="connsiteY32943"/>
              </a:cxn>
              <a:cxn ang="0">
                <a:pos x="connsiteX32944" y="connsiteY32944"/>
              </a:cxn>
              <a:cxn ang="0">
                <a:pos x="connsiteX32945" y="connsiteY32945"/>
              </a:cxn>
              <a:cxn ang="0">
                <a:pos x="connsiteX32946" y="connsiteY32946"/>
              </a:cxn>
              <a:cxn ang="0">
                <a:pos x="connsiteX32947" y="connsiteY32947"/>
              </a:cxn>
              <a:cxn ang="0">
                <a:pos x="connsiteX32948" y="connsiteY32948"/>
              </a:cxn>
              <a:cxn ang="0">
                <a:pos x="connsiteX32949" y="connsiteY32949"/>
              </a:cxn>
              <a:cxn ang="0">
                <a:pos x="connsiteX32950" y="connsiteY32950"/>
              </a:cxn>
              <a:cxn ang="0">
                <a:pos x="connsiteX32951" y="connsiteY32951"/>
              </a:cxn>
              <a:cxn ang="0">
                <a:pos x="connsiteX32952" y="connsiteY32952"/>
              </a:cxn>
              <a:cxn ang="0">
                <a:pos x="connsiteX32953" y="connsiteY32953"/>
              </a:cxn>
              <a:cxn ang="0">
                <a:pos x="connsiteX32954" y="connsiteY32954"/>
              </a:cxn>
              <a:cxn ang="0">
                <a:pos x="connsiteX32955" y="connsiteY32955"/>
              </a:cxn>
              <a:cxn ang="0">
                <a:pos x="connsiteX32956" y="connsiteY32956"/>
              </a:cxn>
              <a:cxn ang="0">
                <a:pos x="connsiteX32957" y="connsiteY32957"/>
              </a:cxn>
              <a:cxn ang="0">
                <a:pos x="connsiteX32958" y="connsiteY32958"/>
              </a:cxn>
              <a:cxn ang="0">
                <a:pos x="connsiteX32959" y="connsiteY32959"/>
              </a:cxn>
              <a:cxn ang="0">
                <a:pos x="connsiteX32960" y="connsiteY32960"/>
              </a:cxn>
              <a:cxn ang="0">
                <a:pos x="connsiteX32961" y="connsiteY32961"/>
              </a:cxn>
              <a:cxn ang="0">
                <a:pos x="connsiteX32962" y="connsiteY32962"/>
              </a:cxn>
              <a:cxn ang="0">
                <a:pos x="connsiteX32963" y="connsiteY32963"/>
              </a:cxn>
              <a:cxn ang="0">
                <a:pos x="connsiteX32964" y="connsiteY32964"/>
              </a:cxn>
              <a:cxn ang="0">
                <a:pos x="connsiteX32965" y="connsiteY32965"/>
              </a:cxn>
              <a:cxn ang="0">
                <a:pos x="connsiteX32966" y="connsiteY32966"/>
              </a:cxn>
              <a:cxn ang="0">
                <a:pos x="connsiteX32967" y="connsiteY32967"/>
              </a:cxn>
              <a:cxn ang="0">
                <a:pos x="connsiteX32968" y="connsiteY32968"/>
              </a:cxn>
              <a:cxn ang="0">
                <a:pos x="connsiteX32969" y="connsiteY32969"/>
              </a:cxn>
              <a:cxn ang="0">
                <a:pos x="connsiteX32970" y="connsiteY32970"/>
              </a:cxn>
              <a:cxn ang="0">
                <a:pos x="connsiteX32971" y="connsiteY32971"/>
              </a:cxn>
              <a:cxn ang="0">
                <a:pos x="connsiteX32972" y="connsiteY32972"/>
              </a:cxn>
              <a:cxn ang="0">
                <a:pos x="connsiteX32973" y="connsiteY32973"/>
              </a:cxn>
              <a:cxn ang="0">
                <a:pos x="connsiteX32974" y="connsiteY32974"/>
              </a:cxn>
              <a:cxn ang="0">
                <a:pos x="connsiteX32975" y="connsiteY32975"/>
              </a:cxn>
              <a:cxn ang="0">
                <a:pos x="connsiteX32976" y="connsiteY32976"/>
              </a:cxn>
              <a:cxn ang="0">
                <a:pos x="connsiteX32977" y="connsiteY32977"/>
              </a:cxn>
              <a:cxn ang="0">
                <a:pos x="connsiteX32978" y="connsiteY32978"/>
              </a:cxn>
              <a:cxn ang="0">
                <a:pos x="connsiteX32979" y="connsiteY32979"/>
              </a:cxn>
              <a:cxn ang="0">
                <a:pos x="connsiteX32980" y="connsiteY32980"/>
              </a:cxn>
              <a:cxn ang="0">
                <a:pos x="connsiteX32981" y="connsiteY32981"/>
              </a:cxn>
              <a:cxn ang="0">
                <a:pos x="connsiteX32982" y="connsiteY32982"/>
              </a:cxn>
              <a:cxn ang="0">
                <a:pos x="connsiteX32983" y="connsiteY32983"/>
              </a:cxn>
              <a:cxn ang="0">
                <a:pos x="connsiteX32984" y="connsiteY32984"/>
              </a:cxn>
              <a:cxn ang="0">
                <a:pos x="connsiteX32985" y="connsiteY32985"/>
              </a:cxn>
              <a:cxn ang="0">
                <a:pos x="connsiteX32986" y="connsiteY32986"/>
              </a:cxn>
              <a:cxn ang="0">
                <a:pos x="connsiteX32987" y="connsiteY32987"/>
              </a:cxn>
              <a:cxn ang="0">
                <a:pos x="connsiteX32988" y="connsiteY32988"/>
              </a:cxn>
              <a:cxn ang="0">
                <a:pos x="connsiteX32989" y="connsiteY32989"/>
              </a:cxn>
              <a:cxn ang="0">
                <a:pos x="connsiteX32990" y="connsiteY32990"/>
              </a:cxn>
              <a:cxn ang="0">
                <a:pos x="connsiteX32991" y="connsiteY32991"/>
              </a:cxn>
              <a:cxn ang="0">
                <a:pos x="connsiteX32992" y="connsiteY32992"/>
              </a:cxn>
              <a:cxn ang="0">
                <a:pos x="connsiteX32993" y="connsiteY32993"/>
              </a:cxn>
              <a:cxn ang="0">
                <a:pos x="connsiteX32994" y="connsiteY32994"/>
              </a:cxn>
              <a:cxn ang="0">
                <a:pos x="connsiteX32995" y="connsiteY32995"/>
              </a:cxn>
              <a:cxn ang="0">
                <a:pos x="connsiteX32996" y="connsiteY32996"/>
              </a:cxn>
              <a:cxn ang="0">
                <a:pos x="connsiteX32997" y="connsiteY32997"/>
              </a:cxn>
              <a:cxn ang="0">
                <a:pos x="connsiteX32998" y="connsiteY32998"/>
              </a:cxn>
              <a:cxn ang="0">
                <a:pos x="connsiteX32999" y="connsiteY32999"/>
              </a:cxn>
              <a:cxn ang="0">
                <a:pos x="connsiteX33000" y="connsiteY33000"/>
              </a:cxn>
              <a:cxn ang="0">
                <a:pos x="connsiteX33001" y="connsiteY33001"/>
              </a:cxn>
              <a:cxn ang="0">
                <a:pos x="connsiteX33002" y="connsiteY33002"/>
              </a:cxn>
              <a:cxn ang="0">
                <a:pos x="connsiteX33003" y="connsiteY33003"/>
              </a:cxn>
              <a:cxn ang="0">
                <a:pos x="connsiteX33004" y="connsiteY33004"/>
              </a:cxn>
              <a:cxn ang="0">
                <a:pos x="connsiteX33005" y="connsiteY33005"/>
              </a:cxn>
              <a:cxn ang="0">
                <a:pos x="connsiteX33006" y="connsiteY33006"/>
              </a:cxn>
              <a:cxn ang="0">
                <a:pos x="connsiteX33007" y="connsiteY33007"/>
              </a:cxn>
              <a:cxn ang="0">
                <a:pos x="connsiteX33008" y="connsiteY33008"/>
              </a:cxn>
              <a:cxn ang="0">
                <a:pos x="connsiteX33009" y="connsiteY33009"/>
              </a:cxn>
              <a:cxn ang="0">
                <a:pos x="connsiteX33010" y="connsiteY33010"/>
              </a:cxn>
              <a:cxn ang="0">
                <a:pos x="connsiteX33011" y="connsiteY33011"/>
              </a:cxn>
              <a:cxn ang="0">
                <a:pos x="connsiteX33012" y="connsiteY33012"/>
              </a:cxn>
              <a:cxn ang="0">
                <a:pos x="connsiteX33013" y="connsiteY33013"/>
              </a:cxn>
              <a:cxn ang="0">
                <a:pos x="connsiteX33014" y="connsiteY33014"/>
              </a:cxn>
              <a:cxn ang="0">
                <a:pos x="connsiteX33015" y="connsiteY33015"/>
              </a:cxn>
              <a:cxn ang="0">
                <a:pos x="connsiteX33016" y="connsiteY33016"/>
              </a:cxn>
              <a:cxn ang="0">
                <a:pos x="connsiteX33017" y="connsiteY33017"/>
              </a:cxn>
              <a:cxn ang="0">
                <a:pos x="connsiteX33018" y="connsiteY33018"/>
              </a:cxn>
              <a:cxn ang="0">
                <a:pos x="connsiteX33019" y="connsiteY33019"/>
              </a:cxn>
              <a:cxn ang="0">
                <a:pos x="connsiteX33020" y="connsiteY33020"/>
              </a:cxn>
              <a:cxn ang="0">
                <a:pos x="connsiteX33021" y="connsiteY33021"/>
              </a:cxn>
              <a:cxn ang="0">
                <a:pos x="connsiteX33022" y="connsiteY33022"/>
              </a:cxn>
              <a:cxn ang="0">
                <a:pos x="connsiteX33023" y="connsiteY33023"/>
              </a:cxn>
              <a:cxn ang="0">
                <a:pos x="connsiteX33024" y="connsiteY33024"/>
              </a:cxn>
              <a:cxn ang="0">
                <a:pos x="connsiteX33025" y="connsiteY33025"/>
              </a:cxn>
              <a:cxn ang="0">
                <a:pos x="connsiteX33026" y="connsiteY33026"/>
              </a:cxn>
              <a:cxn ang="0">
                <a:pos x="connsiteX33027" y="connsiteY33027"/>
              </a:cxn>
              <a:cxn ang="0">
                <a:pos x="connsiteX33028" y="connsiteY33028"/>
              </a:cxn>
              <a:cxn ang="0">
                <a:pos x="connsiteX33029" y="connsiteY33029"/>
              </a:cxn>
              <a:cxn ang="0">
                <a:pos x="connsiteX33030" y="connsiteY33030"/>
              </a:cxn>
              <a:cxn ang="0">
                <a:pos x="connsiteX33031" y="connsiteY33031"/>
              </a:cxn>
              <a:cxn ang="0">
                <a:pos x="connsiteX33032" y="connsiteY33032"/>
              </a:cxn>
              <a:cxn ang="0">
                <a:pos x="connsiteX33033" y="connsiteY33033"/>
              </a:cxn>
              <a:cxn ang="0">
                <a:pos x="connsiteX33034" y="connsiteY33034"/>
              </a:cxn>
              <a:cxn ang="0">
                <a:pos x="connsiteX33035" y="connsiteY33035"/>
              </a:cxn>
              <a:cxn ang="0">
                <a:pos x="connsiteX33036" y="connsiteY33036"/>
              </a:cxn>
              <a:cxn ang="0">
                <a:pos x="connsiteX33037" y="connsiteY33037"/>
              </a:cxn>
              <a:cxn ang="0">
                <a:pos x="connsiteX33038" y="connsiteY33038"/>
              </a:cxn>
              <a:cxn ang="0">
                <a:pos x="connsiteX33039" y="connsiteY33039"/>
              </a:cxn>
              <a:cxn ang="0">
                <a:pos x="connsiteX33040" y="connsiteY33040"/>
              </a:cxn>
              <a:cxn ang="0">
                <a:pos x="connsiteX33041" y="connsiteY33041"/>
              </a:cxn>
              <a:cxn ang="0">
                <a:pos x="connsiteX33042" y="connsiteY33042"/>
              </a:cxn>
              <a:cxn ang="0">
                <a:pos x="connsiteX33043" y="connsiteY33043"/>
              </a:cxn>
              <a:cxn ang="0">
                <a:pos x="connsiteX33044" y="connsiteY33044"/>
              </a:cxn>
              <a:cxn ang="0">
                <a:pos x="connsiteX33045" y="connsiteY33045"/>
              </a:cxn>
              <a:cxn ang="0">
                <a:pos x="connsiteX33046" y="connsiteY33046"/>
              </a:cxn>
              <a:cxn ang="0">
                <a:pos x="connsiteX33047" y="connsiteY33047"/>
              </a:cxn>
              <a:cxn ang="0">
                <a:pos x="connsiteX33048" y="connsiteY33048"/>
              </a:cxn>
              <a:cxn ang="0">
                <a:pos x="connsiteX33049" y="connsiteY33049"/>
              </a:cxn>
              <a:cxn ang="0">
                <a:pos x="connsiteX33050" y="connsiteY33050"/>
              </a:cxn>
              <a:cxn ang="0">
                <a:pos x="connsiteX33051" y="connsiteY33051"/>
              </a:cxn>
              <a:cxn ang="0">
                <a:pos x="connsiteX33052" y="connsiteY33052"/>
              </a:cxn>
              <a:cxn ang="0">
                <a:pos x="connsiteX33053" y="connsiteY33053"/>
              </a:cxn>
              <a:cxn ang="0">
                <a:pos x="connsiteX33054" y="connsiteY33054"/>
              </a:cxn>
              <a:cxn ang="0">
                <a:pos x="connsiteX33055" y="connsiteY33055"/>
              </a:cxn>
              <a:cxn ang="0">
                <a:pos x="connsiteX33056" y="connsiteY33056"/>
              </a:cxn>
              <a:cxn ang="0">
                <a:pos x="connsiteX33057" y="connsiteY33057"/>
              </a:cxn>
              <a:cxn ang="0">
                <a:pos x="connsiteX33058" y="connsiteY33058"/>
              </a:cxn>
              <a:cxn ang="0">
                <a:pos x="connsiteX33059" y="connsiteY33059"/>
              </a:cxn>
              <a:cxn ang="0">
                <a:pos x="connsiteX33060" y="connsiteY33060"/>
              </a:cxn>
              <a:cxn ang="0">
                <a:pos x="connsiteX33061" y="connsiteY33061"/>
              </a:cxn>
              <a:cxn ang="0">
                <a:pos x="connsiteX33062" y="connsiteY33062"/>
              </a:cxn>
              <a:cxn ang="0">
                <a:pos x="connsiteX33063" y="connsiteY33063"/>
              </a:cxn>
              <a:cxn ang="0">
                <a:pos x="connsiteX33064" y="connsiteY33064"/>
              </a:cxn>
              <a:cxn ang="0">
                <a:pos x="connsiteX33065" y="connsiteY33065"/>
              </a:cxn>
              <a:cxn ang="0">
                <a:pos x="connsiteX33066" y="connsiteY33066"/>
              </a:cxn>
              <a:cxn ang="0">
                <a:pos x="connsiteX33067" y="connsiteY33067"/>
              </a:cxn>
              <a:cxn ang="0">
                <a:pos x="connsiteX33068" y="connsiteY33068"/>
              </a:cxn>
              <a:cxn ang="0">
                <a:pos x="connsiteX33069" y="connsiteY33069"/>
              </a:cxn>
              <a:cxn ang="0">
                <a:pos x="connsiteX33070" y="connsiteY33070"/>
              </a:cxn>
              <a:cxn ang="0">
                <a:pos x="connsiteX33071" y="connsiteY33071"/>
              </a:cxn>
              <a:cxn ang="0">
                <a:pos x="connsiteX33072" y="connsiteY33072"/>
              </a:cxn>
              <a:cxn ang="0">
                <a:pos x="connsiteX33073" y="connsiteY33073"/>
              </a:cxn>
              <a:cxn ang="0">
                <a:pos x="connsiteX33074" y="connsiteY33074"/>
              </a:cxn>
              <a:cxn ang="0">
                <a:pos x="connsiteX33075" y="connsiteY33075"/>
              </a:cxn>
              <a:cxn ang="0">
                <a:pos x="connsiteX33076" y="connsiteY33076"/>
              </a:cxn>
              <a:cxn ang="0">
                <a:pos x="connsiteX33077" y="connsiteY33077"/>
              </a:cxn>
              <a:cxn ang="0">
                <a:pos x="connsiteX33078" y="connsiteY33078"/>
              </a:cxn>
              <a:cxn ang="0">
                <a:pos x="connsiteX33079" y="connsiteY33079"/>
              </a:cxn>
              <a:cxn ang="0">
                <a:pos x="connsiteX33080" y="connsiteY33080"/>
              </a:cxn>
              <a:cxn ang="0">
                <a:pos x="connsiteX33081" y="connsiteY33081"/>
              </a:cxn>
              <a:cxn ang="0">
                <a:pos x="connsiteX33082" y="connsiteY33082"/>
              </a:cxn>
              <a:cxn ang="0">
                <a:pos x="connsiteX33083" y="connsiteY33083"/>
              </a:cxn>
              <a:cxn ang="0">
                <a:pos x="connsiteX33084" y="connsiteY33084"/>
              </a:cxn>
              <a:cxn ang="0">
                <a:pos x="connsiteX33085" y="connsiteY33085"/>
              </a:cxn>
              <a:cxn ang="0">
                <a:pos x="connsiteX33086" y="connsiteY33086"/>
              </a:cxn>
              <a:cxn ang="0">
                <a:pos x="connsiteX33087" y="connsiteY33087"/>
              </a:cxn>
              <a:cxn ang="0">
                <a:pos x="connsiteX33088" y="connsiteY33088"/>
              </a:cxn>
              <a:cxn ang="0">
                <a:pos x="connsiteX33089" y="connsiteY33089"/>
              </a:cxn>
              <a:cxn ang="0">
                <a:pos x="connsiteX33090" y="connsiteY33090"/>
              </a:cxn>
              <a:cxn ang="0">
                <a:pos x="connsiteX33091" y="connsiteY33091"/>
              </a:cxn>
              <a:cxn ang="0">
                <a:pos x="connsiteX33092" y="connsiteY33092"/>
              </a:cxn>
              <a:cxn ang="0">
                <a:pos x="connsiteX33093" y="connsiteY33093"/>
              </a:cxn>
              <a:cxn ang="0">
                <a:pos x="connsiteX33094" y="connsiteY33094"/>
              </a:cxn>
              <a:cxn ang="0">
                <a:pos x="connsiteX33095" y="connsiteY33095"/>
              </a:cxn>
              <a:cxn ang="0">
                <a:pos x="connsiteX33096" y="connsiteY33096"/>
              </a:cxn>
              <a:cxn ang="0">
                <a:pos x="connsiteX33097" y="connsiteY33097"/>
              </a:cxn>
              <a:cxn ang="0">
                <a:pos x="connsiteX33098" y="connsiteY33098"/>
              </a:cxn>
              <a:cxn ang="0">
                <a:pos x="connsiteX33099" y="connsiteY33099"/>
              </a:cxn>
              <a:cxn ang="0">
                <a:pos x="connsiteX33100" y="connsiteY33100"/>
              </a:cxn>
              <a:cxn ang="0">
                <a:pos x="connsiteX33101" y="connsiteY33101"/>
              </a:cxn>
              <a:cxn ang="0">
                <a:pos x="connsiteX33102" y="connsiteY33102"/>
              </a:cxn>
              <a:cxn ang="0">
                <a:pos x="connsiteX33103" y="connsiteY33103"/>
              </a:cxn>
              <a:cxn ang="0">
                <a:pos x="connsiteX33104" y="connsiteY33104"/>
              </a:cxn>
              <a:cxn ang="0">
                <a:pos x="connsiteX33105" y="connsiteY33105"/>
              </a:cxn>
              <a:cxn ang="0">
                <a:pos x="connsiteX33106" y="connsiteY33106"/>
              </a:cxn>
              <a:cxn ang="0">
                <a:pos x="connsiteX33107" y="connsiteY33107"/>
              </a:cxn>
              <a:cxn ang="0">
                <a:pos x="connsiteX33108" y="connsiteY33108"/>
              </a:cxn>
              <a:cxn ang="0">
                <a:pos x="connsiteX33109" y="connsiteY33109"/>
              </a:cxn>
              <a:cxn ang="0">
                <a:pos x="connsiteX33110" y="connsiteY33110"/>
              </a:cxn>
              <a:cxn ang="0">
                <a:pos x="connsiteX33111" y="connsiteY33111"/>
              </a:cxn>
              <a:cxn ang="0">
                <a:pos x="connsiteX33112" y="connsiteY33112"/>
              </a:cxn>
              <a:cxn ang="0">
                <a:pos x="connsiteX33113" y="connsiteY33113"/>
              </a:cxn>
              <a:cxn ang="0">
                <a:pos x="connsiteX33114" y="connsiteY33114"/>
              </a:cxn>
              <a:cxn ang="0">
                <a:pos x="connsiteX33115" y="connsiteY33115"/>
              </a:cxn>
              <a:cxn ang="0">
                <a:pos x="connsiteX33116" y="connsiteY33116"/>
              </a:cxn>
              <a:cxn ang="0">
                <a:pos x="connsiteX33117" y="connsiteY33117"/>
              </a:cxn>
              <a:cxn ang="0">
                <a:pos x="connsiteX33118" y="connsiteY33118"/>
              </a:cxn>
              <a:cxn ang="0">
                <a:pos x="connsiteX33119" y="connsiteY33119"/>
              </a:cxn>
              <a:cxn ang="0">
                <a:pos x="connsiteX33120" y="connsiteY33120"/>
              </a:cxn>
              <a:cxn ang="0">
                <a:pos x="connsiteX33121" y="connsiteY33121"/>
              </a:cxn>
              <a:cxn ang="0">
                <a:pos x="connsiteX33122" y="connsiteY33122"/>
              </a:cxn>
              <a:cxn ang="0">
                <a:pos x="connsiteX33123" y="connsiteY33123"/>
              </a:cxn>
              <a:cxn ang="0">
                <a:pos x="connsiteX33124" y="connsiteY33124"/>
              </a:cxn>
              <a:cxn ang="0">
                <a:pos x="connsiteX33125" y="connsiteY33125"/>
              </a:cxn>
              <a:cxn ang="0">
                <a:pos x="connsiteX33126" y="connsiteY33126"/>
              </a:cxn>
              <a:cxn ang="0">
                <a:pos x="connsiteX33127" y="connsiteY33127"/>
              </a:cxn>
              <a:cxn ang="0">
                <a:pos x="connsiteX33128" y="connsiteY33128"/>
              </a:cxn>
              <a:cxn ang="0">
                <a:pos x="connsiteX33129" y="connsiteY33129"/>
              </a:cxn>
              <a:cxn ang="0">
                <a:pos x="connsiteX33130" y="connsiteY33130"/>
              </a:cxn>
              <a:cxn ang="0">
                <a:pos x="connsiteX33131" y="connsiteY33131"/>
              </a:cxn>
              <a:cxn ang="0">
                <a:pos x="connsiteX33132" y="connsiteY33132"/>
              </a:cxn>
              <a:cxn ang="0">
                <a:pos x="connsiteX33133" y="connsiteY33133"/>
              </a:cxn>
              <a:cxn ang="0">
                <a:pos x="connsiteX33134" y="connsiteY33134"/>
              </a:cxn>
              <a:cxn ang="0">
                <a:pos x="connsiteX33135" y="connsiteY33135"/>
              </a:cxn>
              <a:cxn ang="0">
                <a:pos x="connsiteX33136" y="connsiteY33136"/>
              </a:cxn>
              <a:cxn ang="0">
                <a:pos x="connsiteX33137" y="connsiteY33137"/>
              </a:cxn>
              <a:cxn ang="0">
                <a:pos x="connsiteX33138" y="connsiteY33138"/>
              </a:cxn>
              <a:cxn ang="0">
                <a:pos x="connsiteX33139" y="connsiteY33139"/>
              </a:cxn>
              <a:cxn ang="0">
                <a:pos x="connsiteX33140" y="connsiteY33140"/>
              </a:cxn>
              <a:cxn ang="0">
                <a:pos x="connsiteX33141" y="connsiteY33141"/>
              </a:cxn>
              <a:cxn ang="0">
                <a:pos x="connsiteX33142" y="connsiteY33142"/>
              </a:cxn>
              <a:cxn ang="0">
                <a:pos x="connsiteX33143" y="connsiteY33143"/>
              </a:cxn>
              <a:cxn ang="0">
                <a:pos x="connsiteX33144" y="connsiteY33144"/>
              </a:cxn>
              <a:cxn ang="0">
                <a:pos x="connsiteX33145" y="connsiteY33145"/>
              </a:cxn>
              <a:cxn ang="0">
                <a:pos x="connsiteX33146" y="connsiteY33146"/>
              </a:cxn>
              <a:cxn ang="0">
                <a:pos x="connsiteX33147" y="connsiteY33147"/>
              </a:cxn>
              <a:cxn ang="0">
                <a:pos x="connsiteX33148" y="connsiteY33148"/>
              </a:cxn>
              <a:cxn ang="0">
                <a:pos x="connsiteX33149" y="connsiteY33149"/>
              </a:cxn>
              <a:cxn ang="0">
                <a:pos x="connsiteX33150" y="connsiteY33150"/>
              </a:cxn>
              <a:cxn ang="0">
                <a:pos x="connsiteX33151" y="connsiteY33151"/>
              </a:cxn>
              <a:cxn ang="0">
                <a:pos x="connsiteX33152" y="connsiteY33152"/>
              </a:cxn>
              <a:cxn ang="0">
                <a:pos x="connsiteX33153" y="connsiteY33153"/>
              </a:cxn>
              <a:cxn ang="0">
                <a:pos x="connsiteX33154" y="connsiteY33154"/>
              </a:cxn>
              <a:cxn ang="0">
                <a:pos x="connsiteX33155" y="connsiteY33155"/>
              </a:cxn>
              <a:cxn ang="0">
                <a:pos x="connsiteX33156" y="connsiteY33156"/>
              </a:cxn>
              <a:cxn ang="0">
                <a:pos x="connsiteX33157" y="connsiteY33157"/>
              </a:cxn>
              <a:cxn ang="0">
                <a:pos x="connsiteX33158" y="connsiteY33158"/>
              </a:cxn>
              <a:cxn ang="0">
                <a:pos x="connsiteX33159" y="connsiteY33159"/>
              </a:cxn>
              <a:cxn ang="0">
                <a:pos x="connsiteX33160" y="connsiteY33160"/>
              </a:cxn>
              <a:cxn ang="0">
                <a:pos x="connsiteX33161" y="connsiteY33161"/>
              </a:cxn>
              <a:cxn ang="0">
                <a:pos x="connsiteX33162" y="connsiteY33162"/>
              </a:cxn>
              <a:cxn ang="0">
                <a:pos x="connsiteX33163" y="connsiteY33163"/>
              </a:cxn>
              <a:cxn ang="0">
                <a:pos x="connsiteX33164" y="connsiteY33164"/>
              </a:cxn>
              <a:cxn ang="0">
                <a:pos x="connsiteX33165" y="connsiteY33165"/>
              </a:cxn>
              <a:cxn ang="0">
                <a:pos x="connsiteX33166" y="connsiteY33166"/>
              </a:cxn>
              <a:cxn ang="0">
                <a:pos x="connsiteX33167" y="connsiteY33167"/>
              </a:cxn>
              <a:cxn ang="0">
                <a:pos x="connsiteX33168" y="connsiteY33168"/>
              </a:cxn>
              <a:cxn ang="0">
                <a:pos x="connsiteX33169" y="connsiteY33169"/>
              </a:cxn>
              <a:cxn ang="0">
                <a:pos x="connsiteX33170" y="connsiteY33170"/>
              </a:cxn>
              <a:cxn ang="0">
                <a:pos x="connsiteX33171" y="connsiteY33171"/>
              </a:cxn>
              <a:cxn ang="0">
                <a:pos x="connsiteX33172" y="connsiteY33172"/>
              </a:cxn>
              <a:cxn ang="0">
                <a:pos x="connsiteX33173" y="connsiteY33173"/>
              </a:cxn>
              <a:cxn ang="0">
                <a:pos x="connsiteX33174" y="connsiteY33174"/>
              </a:cxn>
              <a:cxn ang="0">
                <a:pos x="connsiteX33175" y="connsiteY33175"/>
              </a:cxn>
              <a:cxn ang="0">
                <a:pos x="connsiteX33176" y="connsiteY33176"/>
              </a:cxn>
              <a:cxn ang="0">
                <a:pos x="connsiteX33177" y="connsiteY33177"/>
              </a:cxn>
              <a:cxn ang="0">
                <a:pos x="connsiteX33178" y="connsiteY33178"/>
              </a:cxn>
              <a:cxn ang="0">
                <a:pos x="connsiteX33179" y="connsiteY33179"/>
              </a:cxn>
              <a:cxn ang="0">
                <a:pos x="connsiteX33180" y="connsiteY33180"/>
              </a:cxn>
              <a:cxn ang="0">
                <a:pos x="connsiteX33181" y="connsiteY33181"/>
              </a:cxn>
              <a:cxn ang="0">
                <a:pos x="connsiteX33182" y="connsiteY33182"/>
              </a:cxn>
              <a:cxn ang="0">
                <a:pos x="connsiteX33183" y="connsiteY33183"/>
              </a:cxn>
              <a:cxn ang="0">
                <a:pos x="connsiteX33184" y="connsiteY33184"/>
              </a:cxn>
              <a:cxn ang="0">
                <a:pos x="connsiteX33185" y="connsiteY33185"/>
              </a:cxn>
              <a:cxn ang="0">
                <a:pos x="connsiteX33186" y="connsiteY33186"/>
              </a:cxn>
              <a:cxn ang="0">
                <a:pos x="connsiteX33187" y="connsiteY33187"/>
              </a:cxn>
              <a:cxn ang="0">
                <a:pos x="connsiteX33188" y="connsiteY33188"/>
              </a:cxn>
              <a:cxn ang="0">
                <a:pos x="connsiteX33189" y="connsiteY33189"/>
              </a:cxn>
              <a:cxn ang="0">
                <a:pos x="connsiteX33190" y="connsiteY33190"/>
              </a:cxn>
              <a:cxn ang="0">
                <a:pos x="connsiteX33191" y="connsiteY33191"/>
              </a:cxn>
              <a:cxn ang="0">
                <a:pos x="connsiteX33192" y="connsiteY33192"/>
              </a:cxn>
              <a:cxn ang="0">
                <a:pos x="connsiteX33193" y="connsiteY33193"/>
              </a:cxn>
              <a:cxn ang="0">
                <a:pos x="connsiteX33194" y="connsiteY33194"/>
              </a:cxn>
              <a:cxn ang="0">
                <a:pos x="connsiteX33195" y="connsiteY33195"/>
              </a:cxn>
              <a:cxn ang="0">
                <a:pos x="connsiteX33196" y="connsiteY33196"/>
              </a:cxn>
              <a:cxn ang="0">
                <a:pos x="connsiteX33197" y="connsiteY33197"/>
              </a:cxn>
              <a:cxn ang="0">
                <a:pos x="connsiteX33198" y="connsiteY33198"/>
              </a:cxn>
              <a:cxn ang="0">
                <a:pos x="connsiteX33199" y="connsiteY33199"/>
              </a:cxn>
              <a:cxn ang="0">
                <a:pos x="connsiteX33200" y="connsiteY33200"/>
              </a:cxn>
              <a:cxn ang="0">
                <a:pos x="connsiteX33201" y="connsiteY33201"/>
              </a:cxn>
              <a:cxn ang="0">
                <a:pos x="connsiteX33202" y="connsiteY33202"/>
              </a:cxn>
              <a:cxn ang="0">
                <a:pos x="connsiteX33203" y="connsiteY33203"/>
              </a:cxn>
              <a:cxn ang="0">
                <a:pos x="connsiteX33204" y="connsiteY33204"/>
              </a:cxn>
              <a:cxn ang="0">
                <a:pos x="connsiteX33205" y="connsiteY33205"/>
              </a:cxn>
              <a:cxn ang="0">
                <a:pos x="connsiteX33206" y="connsiteY33206"/>
              </a:cxn>
              <a:cxn ang="0">
                <a:pos x="connsiteX33207" y="connsiteY33207"/>
              </a:cxn>
              <a:cxn ang="0">
                <a:pos x="connsiteX33208" y="connsiteY33208"/>
              </a:cxn>
              <a:cxn ang="0">
                <a:pos x="connsiteX33209" y="connsiteY33209"/>
              </a:cxn>
              <a:cxn ang="0">
                <a:pos x="connsiteX33210" y="connsiteY33210"/>
              </a:cxn>
              <a:cxn ang="0">
                <a:pos x="connsiteX33211" y="connsiteY33211"/>
              </a:cxn>
              <a:cxn ang="0">
                <a:pos x="connsiteX33212" y="connsiteY33212"/>
              </a:cxn>
              <a:cxn ang="0">
                <a:pos x="connsiteX33213" y="connsiteY33213"/>
              </a:cxn>
              <a:cxn ang="0">
                <a:pos x="connsiteX33214" y="connsiteY33214"/>
              </a:cxn>
              <a:cxn ang="0">
                <a:pos x="connsiteX33215" y="connsiteY33215"/>
              </a:cxn>
              <a:cxn ang="0">
                <a:pos x="connsiteX33216" y="connsiteY33216"/>
              </a:cxn>
              <a:cxn ang="0">
                <a:pos x="connsiteX33217" y="connsiteY33217"/>
              </a:cxn>
              <a:cxn ang="0">
                <a:pos x="connsiteX33218" y="connsiteY33218"/>
              </a:cxn>
              <a:cxn ang="0">
                <a:pos x="connsiteX33219" y="connsiteY33219"/>
              </a:cxn>
              <a:cxn ang="0">
                <a:pos x="connsiteX33220" y="connsiteY33220"/>
              </a:cxn>
              <a:cxn ang="0">
                <a:pos x="connsiteX33221" y="connsiteY33221"/>
              </a:cxn>
              <a:cxn ang="0">
                <a:pos x="connsiteX33222" y="connsiteY33222"/>
              </a:cxn>
              <a:cxn ang="0">
                <a:pos x="connsiteX33223" y="connsiteY33223"/>
              </a:cxn>
              <a:cxn ang="0">
                <a:pos x="connsiteX33224" y="connsiteY33224"/>
              </a:cxn>
              <a:cxn ang="0">
                <a:pos x="connsiteX33225" y="connsiteY33225"/>
              </a:cxn>
              <a:cxn ang="0">
                <a:pos x="connsiteX33226" y="connsiteY33226"/>
              </a:cxn>
              <a:cxn ang="0">
                <a:pos x="connsiteX33227" y="connsiteY33227"/>
              </a:cxn>
              <a:cxn ang="0">
                <a:pos x="connsiteX33228" y="connsiteY33228"/>
              </a:cxn>
              <a:cxn ang="0">
                <a:pos x="connsiteX33229" y="connsiteY33229"/>
              </a:cxn>
              <a:cxn ang="0">
                <a:pos x="connsiteX33230" y="connsiteY33230"/>
              </a:cxn>
              <a:cxn ang="0">
                <a:pos x="connsiteX33231" y="connsiteY33231"/>
              </a:cxn>
              <a:cxn ang="0">
                <a:pos x="connsiteX33232" y="connsiteY33232"/>
              </a:cxn>
              <a:cxn ang="0">
                <a:pos x="connsiteX33233" y="connsiteY33233"/>
              </a:cxn>
              <a:cxn ang="0">
                <a:pos x="connsiteX33234" y="connsiteY33234"/>
              </a:cxn>
              <a:cxn ang="0">
                <a:pos x="connsiteX33235" y="connsiteY33235"/>
              </a:cxn>
              <a:cxn ang="0">
                <a:pos x="connsiteX33236" y="connsiteY33236"/>
              </a:cxn>
              <a:cxn ang="0">
                <a:pos x="connsiteX33237" y="connsiteY33237"/>
              </a:cxn>
              <a:cxn ang="0">
                <a:pos x="connsiteX33238" y="connsiteY33238"/>
              </a:cxn>
              <a:cxn ang="0">
                <a:pos x="connsiteX33239" y="connsiteY33239"/>
              </a:cxn>
              <a:cxn ang="0">
                <a:pos x="connsiteX33240" y="connsiteY33240"/>
              </a:cxn>
              <a:cxn ang="0">
                <a:pos x="connsiteX33241" y="connsiteY33241"/>
              </a:cxn>
              <a:cxn ang="0">
                <a:pos x="connsiteX33242" y="connsiteY33242"/>
              </a:cxn>
              <a:cxn ang="0">
                <a:pos x="connsiteX33243" y="connsiteY33243"/>
              </a:cxn>
              <a:cxn ang="0">
                <a:pos x="connsiteX33244" y="connsiteY33244"/>
              </a:cxn>
              <a:cxn ang="0">
                <a:pos x="connsiteX33245" y="connsiteY33245"/>
              </a:cxn>
              <a:cxn ang="0">
                <a:pos x="connsiteX33246" y="connsiteY33246"/>
              </a:cxn>
              <a:cxn ang="0">
                <a:pos x="connsiteX33247" y="connsiteY33247"/>
              </a:cxn>
              <a:cxn ang="0">
                <a:pos x="connsiteX33248" y="connsiteY33248"/>
              </a:cxn>
              <a:cxn ang="0">
                <a:pos x="connsiteX33249" y="connsiteY33249"/>
              </a:cxn>
              <a:cxn ang="0">
                <a:pos x="connsiteX33250" y="connsiteY33250"/>
              </a:cxn>
              <a:cxn ang="0">
                <a:pos x="connsiteX33251" y="connsiteY33251"/>
              </a:cxn>
              <a:cxn ang="0">
                <a:pos x="connsiteX33252" y="connsiteY33252"/>
              </a:cxn>
              <a:cxn ang="0">
                <a:pos x="connsiteX33253" y="connsiteY33253"/>
              </a:cxn>
              <a:cxn ang="0">
                <a:pos x="connsiteX33254" y="connsiteY33254"/>
              </a:cxn>
              <a:cxn ang="0">
                <a:pos x="connsiteX33255" y="connsiteY33255"/>
              </a:cxn>
              <a:cxn ang="0">
                <a:pos x="connsiteX33256" y="connsiteY33256"/>
              </a:cxn>
              <a:cxn ang="0">
                <a:pos x="connsiteX33257" y="connsiteY33257"/>
              </a:cxn>
              <a:cxn ang="0">
                <a:pos x="connsiteX33258" y="connsiteY33258"/>
              </a:cxn>
              <a:cxn ang="0">
                <a:pos x="connsiteX33259" y="connsiteY33259"/>
              </a:cxn>
              <a:cxn ang="0">
                <a:pos x="connsiteX33260" y="connsiteY33260"/>
              </a:cxn>
              <a:cxn ang="0">
                <a:pos x="connsiteX33261" y="connsiteY33261"/>
              </a:cxn>
              <a:cxn ang="0">
                <a:pos x="connsiteX33262" y="connsiteY33262"/>
              </a:cxn>
              <a:cxn ang="0">
                <a:pos x="connsiteX33263" y="connsiteY33263"/>
              </a:cxn>
              <a:cxn ang="0">
                <a:pos x="connsiteX33264" y="connsiteY33264"/>
              </a:cxn>
              <a:cxn ang="0">
                <a:pos x="connsiteX33265" y="connsiteY33265"/>
              </a:cxn>
              <a:cxn ang="0">
                <a:pos x="connsiteX33266" y="connsiteY33266"/>
              </a:cxn>
              <a:cxn ang="0">
                <a:pos x="connsiteX33267" y="connsiteY33267"/>
              </a:cxn>
              <a:cxn ang="0">
                <a:pos x="connsiteX33268" y="connsiteY33268"/>
              </a:cxn>
              <a:cxn ang="0">
                <a:pos x="connsiteX33269" y="connsiteY33269"/>
              </a:cxn>
              <a:cxn ang="0">
                <a:pos x="connsiteX33270" y="connsiteY33270"/>
              </a:cxn>
              <a:cxn ang="0">
                <a:pos x="connsiteX33271" y="connsiteY33271"/>
              </a:cxn>
              <a:cxn ang="0">
                <a:pos x="connsiteX33272" y="connsiteY33272"/>
              </a:cxn>
              <a:cxn ang="0">
                <a:pos x="connsiteX33273" y="connsiteY33273"/>
              </a:cxn>
              <a:cxn ang="0">
                <a:pos x="connsiteX33274" y="connsiteY33274"/>
              </a:cxn>
              <a:cxn ang="0">
                <a:pos x="connsiteX33275" y="connsiteY33275"/>
              </a:cxn>
              <a:cxn ang="0">
                <a:pos x="connsiteX33276" y="connsiteY33276"/>
              </a:cxn>
              <a:cxn ang="0">
                <a:pos x="connsiteX33277" y="connsiteY33277"/>
              </a:cxn>
              <a:cxn ang="0">
                <a:pos x="connsiteX33278" y="connsiteY33278"/>
              </a:cxn>
              <a:cxn ang="0">
                <a:pos x="connsiteX33279" y="connsiteY33279"/>
              </a:cxn>
              <a:cxn ang="0">
                <a:pos x="connsiteX33280" y="connsiteY33280"/>
              </a:cxn>
              <a:cxn ang="0">
                <a:pos x="connsiteX33281" y="connsiteY33281"/>
              </a:cxn>
              <a:cxn ang="0">
                <a:pos x="connsiteX33282" y="connsiteY33282"/>
              </a:cxn>
              <a:cxn ang="0">
                <a:pos x="connsiteX33283" y="connsiteY33283"/>
              </a:cxn>
              <a:cxn ang="0">
                <a:pos x="connsiteX33284" y="connsiteY33284"/>
              </a:cxn>
              <a:cxn ang="0">
                <a:pos x="connsiteX33285" y="connsiteY33285"/>
              </a:cxn>
              <a:cxn ang="0">
                <a:pos x="connsiteX33286" y="connsiteY33286"/>
              </a:cxn>
              <a:cxn ang="0">
                <a:pos x="connsiteX33287" y="connsiteY33287"/>
              </a:cxn>
              <a:cxn ang="0">
                <a:pos x="connsiteX33288" y="connsiteY33288"/>
              </a:cxn>
              <a:cxn ang="0">
                <a:pos x="connsiteX33289" y="connsiteY33289"/>
              </a:cxn>
              <a:cxn ang="0">
                <a:pos x="connsiteX33290" y="connsiteY33290"/>
              </a:cxn>
              <a:cxn ang="0">
                <a:pos x="connsiteX33291" y="connsiteY33291"/>
              </a:cxn>
              <a:cxn ang="0">
                <a:pos x="connsiteX33292" y="connsiteY33292"/>
              </a:cxn>
              <a:cxn ang="0">
                <a:pos x="connsiteX33293" y="connsiteY33293"/>
              </a:cxn>
              <a:cxn ang="0">
                <a:pos x="connsiteX33294" y="connsiteY33294"/>
              </a:cxn>
              <a:cxn ang="0">
                <a:pos x="connsiteX33295" y="connsiteY33295"/>
              </a:cxn>
              <a:cxn ang="0">
                <a:pos x="connsiteX33296" y="connsiteY33296"/>
              </a:cxn>
              <a:cxn ang="0">
                <a:pos x="connsiteX33297" y="connsiteY33297"/>
              </a:cxn>
              <a:cxn ang="0">
                <a:pos x="connsiteX33298" y="connsiteY33298"/>
              </a:cxn>
              <a:cxn ang="0">
                <a:pos x="connsiteX33299" y="connsiteY33299"/>
              </a:cxn>
              <a:cxn ang="0">
                <a:pos x="connsiteX33300" y="connsiteY33300"/>
              </a:cxn>
              <a:cxn ang="0">
                <a:pos x="connsiteX33301" y="connsiteY33301"/>
              </a:cxn>
              <a:cxn ang="0">
                <a:pos x="connsiteX33302" y="connsiteY33302"/>
              </a:cxn>
              <a:cxn ang="0">
                <a:pos x="connsiteX33303" y="connsiteY33303"/>
              </a:cxn>
              <a:cxn ang="0">
                <a:pos x="connsiteX33304" y="connsiteY33304"/>
              </a:cxn>
              <a:cxn ang="0">
                <a:pos x="connsiteX33305" y="connsiteY33305"/>
              </a:cxn>
              <a:cxn ang="0">
                <a:pos x="connsiteX33306" y="connsiteY33306"/>
              </a:cxn>
              <a:cxn ang="0">
                <a:pos x="connsiteX33307" y="connsiteY33307"/>
              </a:cxn>
              <a:cxn ang="0">
                <a:pos x="connsiteX33308" y="connsiteY33308"/>
              </a:cxn>
              <a:cxn ang="0">
                <a:pos x="connsiteX33309" y="connsiteY33309"/>
              </a:cxn>
              <a:cxn ang="0">
                <a:pos x="connsiteX33310" y="connsiteY33310"/>
              </a:cxn>
              <a:cxn ang="0">
                <a:pos x="connsiteX33311" y="connsiteY33311"/>
              </a:cxn>
              <a:cxn ang="0">
                <a:pos x="connsiteX33312" y="connsiteY33312"/>
              </a:cxn>
              <a:cxn ang="0">
                <a:pos x="connsiteX33313" y="connsiteY33313"/>
              </a:cxn>
              <a:cxn ang="0">
                <a:pos x="connsiteX33314" y="connsiteY33314"/>
              </a:cxn>
              <a:cxn ang="0">
                <a:pos x="connsiteX33315" y="connsiteY33315"/>
              </a:cxn>
              <a:cxn ang="0">
                <a:pos x="connsiteX33316" y="connsiteY33316"/>
              </a:cxn>
              <a:cxn ang="0">
                <a:pos x="connsiteX33317" y="connsiteY33317"/>
              </a:cxn>
              <a:cxn ang="0">
                <a:pos x="connsiteX33318" y="connsiteY33318"/>
              </a:cxn>
              <a:cxn ang="0">
                <a:pos x="connsiteX33319" y="connsiteY33319"/>
              </a:cxn>
              <a:cxn ang="0">
                <a:pos x="connsiteX33320" y="connsiteY33320"/>
              </a:cxn>
              <a:cxn ang="0">
                <a:pos x="connsiteX33321" y="connsiteY33321"/>
              </a:cxn>
              <a:cxn ang="0">
                <a:pos x="connsiteX33322" y="connsiteY33322"/>
              </a:cxn>
              <a:cxn ang="0">
                <a:pos x="connsiteX33323" y="connsiteY33323"/>
              </a:cxn>
              <a:cxn ang="0">
                <a:pos x="connsiteX33324" y="connsiteY33324"/>
              </a:cxn>
              <a:cxn ang="0">
                <a:pos x="connsiteX33325" y="connsiteY33325"/>
              </a:cxn>
              <a:cxn ang="0">
                <a:pos x="connsiteX33326" y="connsiteY33326"/>
              </a:cxn>
              <a:cxn ang="0">
                <a:pos x="connsiteX33327" y="connsiteY33327"/>
              </a:cxn>
              <a:cxn ang="0">
                <a:pos x="connsiteX33328" y="connsiteY33328"/>
              </a:cxn>
              <a:cxn ang="0">
                <a:pos x="connsiteX33329" y="connsiteY33329"/>
              </a:cxn>
              <a:cxn ang="0">
                <a:pos x="connsiteX33330" y="connsiteY33330"/>
              </a:cxn>
              <a:cxn ang="0">
                <a:pos x="connsiteX33331" y="connsiteY33331"/>
              </a:cxn>
              <a:cxn ang="0">
                <a:pos x="connsiteX33332" y="connsiteY33332"/>
              </a:cxn>
              <a:cxn ang="0">
                <a:pos x="connsiteX33333" y="connsiteY33333"/>
              </a:cxn>
              <a:cxn ang="0">
                <a:pos x="connsiteX33334" y="connsiteY33334"/>
              </a:cxn>
              <a:cxn ang="0">
                <a:pos x="connsiteX33335" y="connsiteY33335"/>
              </a:cxn>
              <a:cxn ang="0">
                <a:pos x="connsiteX33336" y="connsiteY33336"/>
              </a:cxn>
              <a:cxn ang="0">
                <a:pos x="connsiteX33337" y="connsiteY33337"/>
              </a:cxn>
              <a:cxn ang="0">
                <a:pos x="connsiteX33338" y="connsiteY33338"/>
              </a:cxn>
              <a:cxn ang="0">
                <a:pos x="connsiteX33339" y="connsiteY33339"/>
              </a:cxn>
              <a:cxn ang="0">
                <a:pos x="connsiteX33340" y="connsiteY33340"/>
              </a:cxn>
              <a:cxn ang="0">
                <a:pos x="connsiteX33341" y="connsiteY33341"/>
              </a:cxn>
              <a:cxn ang="0">
                <a:pos x="connsiteX33342" y="connsiteY33342"/>
              </a:cxn>
              <a:cxn ang="0">
                <a:pos x="connsiteX33343" y="connsiteY33343"/>
              </a:cxn>
              <a:cxn ang="0">
                <a:pos x="connsiteX33344" y="connsiteY33344"/>
              </a:cxn>
              <a:cxn ang="0">
                <a:pos x="connsiteX33345" y="connsiteY33345"/>
              </a:cxn>
              <a:cxn ang="0">
                <a:pos x="connsiteX33346" y="connsiteY33346"/>
              </a:cxn>
              <a:cxn ang="0">
                <a:pos x="connsiteX33347" y="connsiteY33347"/>
              </a:cxn>
              <a:cxn ang="0">
                <a:pos x="connsiteX33348" y="connsiteY33348"/>
              </a:cxn>
              <a:cxn ang="0">
                <a:pos x="connsiteX33349" y="connsiteY33349"/>
              </a:cxn>
              <a:cxn ang="0">
                <a:pos x="connsiteX33350" y="connsiteY33350"/>
              </a:cxn>
              <a:cxn ang="0">
                <a:pos x="connsiteX33351" y="connsiteY33351"/>
              </a:cxn>
              <a:cxn ang="0">
                <a:pos x="connsiteX33352" y="connsiteY33352"/>
              </a:cxn>
              <a:cxn ang="0">
                <a:pos x="connsiteX33353" y="connsiteY33353"/>
              </a:cxn>
              <a:cxn ang="0">
                <a:pos x="connsiteX33354" y="connsiteY33354"/>
              </a:cxn>
              <a:cxn ang="0">
                <a:pos x="connsiteX33355" y="connsiteY33355"/>
              </a:cxn>
              <a:cxn ang="0">
                <a:pos x="connsiteX33356" y="connsiteY33356"/>
              </a:cxn>
              <a:cxn ang="0">
                <a:pos x="connsiteX33357" y="connsiteY33357"/>
              </a:cxn>
              <a:cxn ang="0">
                <a:pos x="connsiteX33358" y="connsiteY33358"/>
              </a:cxn>
              <a:cxn ang="0">
                <a:pos x="connsiteX33359" y="connsiteY33359"/>
              </a:cxn>
              <a:cxn ang="0">
                <a:pos x="connsiteX33360" y="connsiteY33360"/>
              </a:cxn>
              <a:cxn ang="0">
                <a:pos x="connsiteX33361" y="connsiteY33361"/>
              </a:cxn>
              <a:cxn ang="0">
                <a:pos x="connsiteX33362" y="connsiteY33362"/>
              </a:cxn>
              <a:cxn ang="0">
                <a:pos x="connsiteX33363" y="connsiteY33363"/>
              </a:cxn>
              <a:cxn ang="0">
                <a:pos x="connsiteX33364" y="connsiteY33364"/>
              </a:cxn>
              <a:cxn ang="0">
                <a:pos x="connsiteX33365" y="connsiteY33365"/>
              </a:cxn>
              <a:cxn ang="0">
                <a:pos x="connsiteX33366" y="connsiteY33366"/>
              </a:cxn>
              <a:cxn ang="0">
                <a:pos x="connsiteX33367" y="connsiteY33367"/>
              </a:cxn>
              <a:cxn ang="0">
                <a:pos x="connsiteX33368" y="connsiteY33368"/>
              </a:cxn>
              <a:cxn ang="0">
                <a:pos x="connsiteX33369" y="connsiteY33369"/>
              </a:cxn>
              <a:cxn ang="0">
                <a:pos x="connsiteX33370" y="connsiteY33370"/>
              </a:cxn>
              <a:cxn ang="0">
                <a:pos x="connsiteX33371" y="connsiteY33371"/>
              </a:cxn>
              <a:cxn ang="0">
                <a:pos x="connsiteX33372" y="connsiteY33372"/>
              </a:cxn>
              <a:cxn ang="0">
                <a:pos x="connsiteX33373" y="connsiteY33373"/>
              </a:cxn>
              <a:cxn ang="0">
                <a:pos x="connsiteX33374" y="connsiteY33374"/>
              </a:cxn>
              <a:cxn ang="0">
                <a:pos x="connsiteX33375" y="connsiteY33375"/>
              </a:cxn>
              <a:cxn ang="0">
                <a:pos x="connsiteX33376" y="connsiteY33376"/>
              </a:cxn>
              <a:cxn ang="0">
                <a:pos x="connsiteX33377" y="connsiteY33377"/>
              </a:cxn>
              <a:cxn ang="0">
                <a:pos x="connsiteX33378" y="connsiteY33378"/>
              </a:cxn>
              <a:cxn ang="0">
                <a:pos x="connsiteX33379" y="connsiteY33379"/>
              </a:cxn>
              <a:cxn ang="0">
                <a:pos x="connsiteX33380" y="connsiteY33380"/>
              </a:cxn>
              <a:cxn ang="0">
                <a:pos x="connsiteX33381" y="connsiteY33381"/>
              </a:cxn>
              <a:cxn ang="0">
                <a:pos x="connsiteX33382" y="connsiteY33382"/>
              </a:cxn>
              <a:cxn ang="0">
                <a:pos x="connsiteX33383" y="connsiteY33383"/>
              </a:cxn>
              <a:cxn ang="0">
                <a:pos x="connsiteX33384" y="connsiteY33384"/>
              </a:cxn>
              <a:cxn ang="0">
                <a:pos x="connsiteX33385" y="connsiteY33385"/>
              </a:cxn>
              <a:cxn ang="0">
                <a:pos x="connsiteX33386" y="connsiteY33386"/>
              </a:cxn>
              <a:cxn ang="0">
                <a:pos x="connsiteX33387" y="connsiteY33387"/>
              </a:cxn>
              <a:cxn ang="0">
                <a:pos x="connsiteX33388" y="connsiteY33388"/>
              </a:cxn>
              <a:cxn ang="0">
                <a:pos x="connsiteX33389" y="connsiteY33389"/>
              </a:cxn>
              <a:cxn ang="0">
                <a:pos x="connsiteX33390" y="connsiteY33390"/>
              </a:cxn>
              <a:cxn ang="0">
                <a:pos x="connsiteX33391" y="connsiteY33391"/>
              </a:cxn>
              <a:cxn ang="0">
                <a:pos x="connsiteX33392" y="connsiteY33392"/>
              </a:cxn>
              <a:cxn ang="0">
                <a:pos x="connsiteX33393" y="connsiteY33393"/>
              </a:cxn>
              <a:cxn ang="0">
                <a:pos x="connsiteX33394" y="connsiteY33394"/>
              </a:cxn>
              <a:cxn ang="0">
                <a:pos x="connsiteX33395" y="connsiteY33395"/>
              </a:cxn>
              <a:cxn ang="0">
                <a:pos x="connsiteX33396" y="connsiteY33396"/>
              </a:cxn>
              <a:cxn ang="0">
                <a:pos x="connsiteX33397" y="connsiteY33397"/>
              </a:cxn>
              <a:cxn ang="0">
                <a:pos x="connsiteX33398" y="connsiteY33398"/>
              </a:cxn>
              <a:cxn ang="0">
                <a:pos x="connsiteX33399" y="connsiteY33399"/>
              </a:cxn>
              <a:cxn ang="0">
                <a:pos x="connsiteX33400" y="connsiteY33400"/>
              </a:cxn>
              <a:cxn ang="0">
                <a:pos x="connsiteX33401" y="connsiteY33401"/>
              </a:cxn>
              <a:cxn ang="0">
                <a:pos x="connsiteX33402" y="connsiteY33402"/>
              </a:cxn>
              <a:cxn ang="0">
                <a:pos x="connsiteX33403" y="connsiteY33403"/>
              </a:cxn>
              <a:cxn ang="0">
                <a:pos x="connsiteX33404" y="connsiteY33404"/>
              </a:cxn>
              <a:cxn ang="0">
                <a:pos x="connsiteX33405" y="connsiteY33405"/>
              </a:cxn>
              <a:cxn ang="0">
                <a:pos x="connsiteX33406" y="connsiteY33406"/>
              </a:cxn>
              <a:cxn ang="0">
                <a:pos x="connsiteX33407" y="connsiteY33407"/>
              </a:cxn>
              <a:cxn ang="0">
                <a:pos x="connsiteX33408" y="connsiteY33408"/>
              </a:cxn>
              <a:cxn ang="0">
                <a:pos x="connsiteX33409" y="connsiteY33409"/>
              </a:cxn>
              <a:cxn ang="0">
                <a:pos x="connsiteX33410" y="connsiteY33410"/>
              </a:cxn>
              <a:cxn ang="0">
                <a:pos x="connsiteX33411" y="connsiteY33411"/>
              </a:cxn>
              <a:cxn ang="0">
                <a:pos x="connsiteX33412" y="connsiteY33412"/>
              </a:cxn>
              <a:cxn ang="0">
                <a:pos x="connsiteX33413" y="connsiteY33413"/>
              </a:cxn>
              <a:cxn ang="0">
                <a:pos x="connsiteX33414" y="connsiteY33414"/>
              </a:cxn>
              <a:cxn ang="0">
                <a:pos x="connsiteX33415" y="connsiteY33415"/>
              </a:cxn>
              <a:cxn ang="0">
                <a:pos x="connsiteX33416" y="connsiteY33416"/>
              </a:cxn>
              <a:cxn ang="0">
                <a:pos x="connsiteX33417" y="connsiteY33417"/>
              </a:cxn>
              <a:cxn ang="0">
                <a:pos x="connsiteX33418" y="connsiteY33418"/>
              </a:cxn>
              <a:cxn ang="0">
                <a:pos x="connsiteX33419" y="connsiteY33419"/>
              </a:cxn>
              <a:cxn ang="0">
                <a:pos x="connsiteX33420" y="connsiteY33420"/>
              </a:cxn>
              <a:cxn ang="0">
                <a:pos x="connsiteX33421" y="connsiteY33421"/>
              </a:cxn>
              <a:cxn ang="0">
                <a:pos x="connsiteX33422" y="connsiteY33422"/>
              </a:cxn>
              <a:cxn ang="0">
                <a:pos x="connsiteX33423" y="connsiteY33423"/>
              </a:cxn>
              <a:cxn ang="0">
                <a:pos x="connsiteX33424" y="connsiteY33424"/>
              </a:cxn>
              <a:cxn ang="0">
                <a:pos x="connsiteX33425" y="connsiteY33425"/>
              </a:cxn>
              <a:cxn ang="0">
                <a:pos x="connsiteX33426" y="connsiteY33426"/>
              </a:cxn>
              <a:cxn ang="0">
                <a:pos x="connsiteX33427" y="connsiteY33427"/>
              </a:cxn>
              <a:cxn ang="0">
                <a:pos x="connsiteX33428" y="connsiteY33428"/>
              </a:cxn>
              <a:cxn ang="0">
                <a:pos x="connsiteX33429" y="connsiteY33429"/>
              </a:cxn>
              <a:cxn ang="0">
                <a:pos x="connsiteX33430" y="connsiteY33430"/>
              </a:cxn>
              <a:cxn ang="0">
                <a:pos x="connsiteX33431" y="connsiteY33431"/>
              </a:cxn>
              <a:cxn ang="0">
                <a:pos x="connsiteX33432" y="connsiteY33432"/>
              </a:cxn>
              <a:cxn ang="0">
                <a:pos x="connsiteX33433" y="connsiteY33433"/>
              </a:cxn>
              <a:cxn ang="0">
                <a:pos x="connsiteX33434" y="connsiteY33434"/>
              </a:cxn>
              <a:cxn ang="0">
                <a:pos x="connsiteX33435" y="connsiteY33435"/>
              </a:cxn>
              <a:cxn ang="0">
                <a:pos x="connsiteX33436" y="connsiteY33436"/>
              </a:cxn>
              <a:cxn ang="0">
                <a:pos x="connsiteX33437" y="connsiteY33437"/>
              </a:cxn>
              <a:cxn ang="0">
                <a:pos x="connsiteX33438" y="connsiteY33438"/>
              </a:cxn>
              <a:cxn ang="0">
                <a:pos x="connsiteX33439" y="connsiteY33439"/>
              </a:cxn>
              <a:cxn ang="0">
                <a:pos x="connsiteX33440" y="connsiteY33440"/>
              </a:cxn>
              <a:cxn ang="0">
                <a:pos x="connsiteX33441" y="connsiteY33441"/>
              </a:cxn>
              <a:cxn ang="0">
                <a:pos x="connsiteX33442" y="connsiteY33442"/>
              </a:cxn>
              <a:cxn ang="0">
                <a:pos x="connsiteX33443" y="connsiteY33443"/>
              </a:cxn>
              <a:cxn ang="0">
                <a:pos x="connsiteX33444" y="connsiteY33444"/>
              </a:cxn>
              <a:cxn ang="0">
                <a:pos x="connsiteX33445" y="connsiteY33445"/>
              </a:cxn>
              <a:cxn ang="0">
                <a:pos x="connsiteX33446" y="connsiteY33446"/>
              </a:cxn>
              <a:cxn ang="0">
                <a:pos x="connsiteX33447" y="connsiteY33447"/>
              </a:cxn>
              <a:cxn ang="0">
                <a:pos x="connsiteX33448" y="connsiteY33448"/>
              </a:cxn>
              <a:cxn ang="0">
                <a:pos x="connsiteX33449" y="connsiteY33449"/>
              </a:cxn>
              <a:cxn ang="0">
                <a:pos x="connsiteX33450" y="connsiteY33450"/>
              </a:cxn>
              <a:cxn ang="0">
                <a:pos x="connsiteX33451" y="connsiteY33451"/>
              </a:cxn>
              <a:cxn ang="0">
                <a:pos x="connsiteX33452" y="connsiteY33452"/>
              </a:cxn>
              <a:cxn ang="0">
                <a:pos x="connsiteX33453" y="connsiteY33453"/>
              </a:cxn>
              <a:cxn ang="0">
                <a:pos x="connsiteX33454" y="connsiteY33454"/>
              </a:cxn>
              <a:cxn ang="0">
                <a:pos x="connsiteX33455" y="connsiteY33455"/>
              </a:cxn>
              <a:cxn ang="0">
                <a:pos x="connsiteX33456" y="connsiteY33456"/>
              </a:cxn>
              <a:cxn ang="0">
                <a:pos x="connsiteX33457" y="connsiteY33457"/>
              </a:cxn>
              <a:cxn ang="0">
                <a:pos x="connsiteX33458" y="connsiteY33458"/>
              </a:cxn>
              <a:cxn ang="0">
                <a:pos x="connsiteX33459" y="connsiteY33459"/>
              </a:cxn>
              <a:cxn ang="0">
                <a:pos x="connsiteX33460" y="connsiteY33460"/>
              </a:cxn>
              <a:cxn ang="0">
                <a:pos x="connsiteX33461" y="connsiteY33461"/>
              </a:cxn>
              <a:cxn ang="0">
                <a:pos x="connsiteX33462" y="connsiteY33462"/>
              </a:cxn>
              <a:cxn ang="0">
                <a:pos x="connsiteX33463" y="connsiteY33463"/>
              </a:cxn>
              <a:cxn ang="0">
                <a:pos x="connsiteX33464" y="connsiteY33464"/>
              </a:cxn>
              <a:cxn ang="0">
                <a:pos x="connsiteX33465" y="connsiteY33465"/>
              </a:cxn>
              <a:cxn ang="0">
                <a:pos x="connsiteX33466" y="connsiteY33466"/>
              </a:cxn>
              <a:cxn ang="0">
                <a:pos x="connsiteX33467" y="connsiteY33467"/>
              </a:cxn>
              <a:cxn ang="0">
                <a:pos x="connsiteX33468" y="connsiteY33468"/>
              </a:cxn>
              <a:cxn ang="0">
                <a:pos x="connsiteX33469" y="connsiteY33469"/>
              </a:cxn>
              <a:cxn ang="0">
                <a:pos x="connsiteX33470" y="connsiteY33470"/>
              </a:cxn>
              <a:cxn ang="0">
                <a:pos x="connsiteX33471" y="connsiteY33471"/>
              </a:cxn>
              <a:cxn ang="0">
                <a:pos x="connsiteX33472" y="connsiteY33472"/>
              </a:cxn>
              <a:cxn ang="0">
                <a:pos x="connsiteX33473" y="connsiteY33473"/>
              </a:cxn>
              <a:cxn ang="0">
                <a:pos x="connsiteX33474" y="connsiteY33474"/>
              </a:cxn>
              <a:cxn ang="0">
                <a:pos x="connsiteX33475" y="connsiteY33475"/>
              </a:cxn>
              <a:cxn ang="0">
                <a:pos x="connsiteX33476" y="connsiteY33476"/>
              </a:cxn>
              <a:cxn ang="0">
                <a:pos x="connsiteX33477" y="connsiteY33477"/>
              </a:cxn>
              <a:cxn ang="0">
                <a:pos x="connsiteX33478" y="connsiteY33478"/>
              </a:cxn>
              <a:cxn ang="0">
                <a:pos x="connsiteX33479" y="connsiteY33479"/>
              </a:cxn>
              <a:cxn ang="0">
                <a:pos x="connsiteX33480" y="connsiteY33480"/>
              </a:cxn>
              <a:cxn ang="0">
                <a:pos x="connsiteX33481" y="connsiteY33481"/>
              </a:cxn>
              <a:cxn ang="0">
                <a:pos x="connsiteX33482" y="connsiteY33482"/>
              </a:cxn>
              <a:cxn ang="0">
                <a:pos x="connsiteX33483" y="connsiteY33483"/>
              </a:cxn>
              <a:cxn ang="0">
                <a:pos x="connsiteX33484" y="connsiteY33484"/>
              </a:cxn>
              <a:cxn ang="0">
                <a:pos x="connsiteX33485" y="connsiteY33485"/>
              </a:cxn>
              <a:cxn ang="0">
                <a:pos x="connsiteX33486" y="connsiteY33486"/>
              </a:cxn>
              <a:cxn ang="0">
                <a:pos x="connsiteX33487" y="connsiteY33487"/>
              </a:cxn>
              <a:cxn ang="0">
                <a:pos x="connsiteX33488" y="connsiteY33488"/>
              </a:cxn>
              <a:cxn ang="0">
                <a:pos x="connsiteX33489" y="connsiteY33489"/>
              </a:cxn>
              <a:cxn ang="0">
                <a:pos x="connsiteX33490" y="connsiteY33490"/>
              </a:cxn>
              <a:cxn ang="0">
                <a:pos x="connsiteX33491" y="connsiteY33491"/>
              </a:cxn>
              <a:cxn ang="0">
                <a:pos x="connsiteX33492" y="connsiteY33492"/>
              </a:cxn>
              <a:cxn ang="0">
                <a:pos x="connsiteX33493" y="connsiteY33493"/>
              </a:cxn>
              <a:cxn ang="0">
                <a:pos x="connsiteX33494" y="connsiteY33494"/>
              </a:cxn>
              <a:cxn ang="0">
                <a:pos x="connsiteX33495" y="connsiteY33495"/>
              </a:cxn>
              <a:cxn ang="0">
                <a:pos x="connsiteX33496" y="connsiteY33496"/>
              </a:cxn>
              <a:cxn ang="0">
                <a:pos x="connsiteX33497" y="connsiteY33497"/>
              </a:cxn>
              <a:cxn ang="0">
                <a:pos x="connsiteX33498" y="connsiteY33498"/>
              </a:cxn>
              <a:cxn ang="0">
                <a:pos x="connsiteX33499" y="connsiteY33499"/>
              </a:cxn>
              <a:cxn ang="0">
                <a:pos x="connsiteX33500" y="connsiteY33500"/>
              </a:cxn>
              <a:cxn ang="0">
                <a:pos x="connsiteX33501" y="connsiteY33501"/>
              </a:cxn>
              <a:cxn ang="0">
                <a:pos x="connsiteX33502" y="connsiteY33502"/>
              </a:cxn>
              <a:cxn ang="0">
                <a:pos x="connsiteX33503" y="connsiteY33503"/>
              </a:cxn>
              <a:cxn ang="0">
                <a:pos x="connsiteX33504" y="connsiteY33504"/>
              </a:cxn>
              <a:cxn ang="0">
                <a:pos x="connsiteX33505" y="connsiteY33505"/>
              </a:cxn>
              <a:cxn ang="0">
                <a:pos x="connsiteX33506" y="connsiteY33506"/>
              </a:cxn>
              <a:cxn ang="0">
                <a:pos x="connsiteX33507" y="connsiteY33507"/>
              </a:cxn>
              <a:cxn ang="0">
                <a:pos x="connsiteX33508" y="connsiteY33508"/>
              </a:cxn>
              <a:cxn ang="0">
                <a:pos x="connsiteX33509" y="connsiteY33509"/>
              </a:cxn>
              <a:cxn ang="0">
                <a:pos x="connsiteX33510" y="connsiteY33510"/>
              </a:cxn>
              <a:cxn ang="0">
                <a:pos x="connsiteX33511" y="connsiteY33511"/>
              </a:cxn>
              <a:cxn ang="0">
                <a:pos x="connsiteX33512" y="connsiteY33512"/>
              </a:cxn>
              <a:cxn ang="0">
                <a:pos x="connsiteX33513" y="connsiteY33513"/>
              </a:cxn>
              <a:cxn ang="0">
                <a:pos x="connsiteX33514" y="connsiteY33514"/>
              </a:cxn>
              <a:cxn ang="0">
                <a:pos x="connsiteX33515" y="connsiteY33515"/>
              </a:cxn>
              <a:cxn ang="0">
                <a:pos x="connsiteX33516" y="connsiteY33516"/>
              </a:cxn>
              <a:cxn ang="0">
                <a:pos x="connsiteX33517" y="connsiteY33517"/>
              </a:cxn>
              <a:cxn ang="0">
                <a:pos x="connsiteX33518" y="connsiteY33518"/>
              </a:cxn>
              <a:cxn ang="0">
                <a:pos x="connsiteX33519" y="connsiteY33519"/>
              </a:cxn>
              <a:cxn ang="0">
                <a:pos x="connsiteX33520" y="connsiteY33520"/>
              </a:cxn>
              <a:cxn ang="0">
                <a:pos x="connsiteX33521" y="connsiteY33521"/>
              </a:cxn>
              <a:cxn ang="0">
                <a:pos x="connsiteX33522" y="connsiteY33522"/>
              </a:cxn>
              <a:cxn ang="0">
                <a:pos x="connsiteX33523" y="connsiteY33523"/>
              </a:cxn>
              <a:cxn ang="0">
                <a:pos x="connsiteX33524" y="connsiteY33524"/>
              </a:cxn>
              <a:cxn ang="0">
                <a:pos x="connsiteX33525" y="connsiteY33525"/>
              </a:cxn>
              <a:cxn ang="0">
                <a:pos x="connsiteX33526" y="connsiteY33526"/>
              </a:cxn>
              <a:cxn ang="0">
                <a:pos x="connsiteX33527" y="connsiteY33527"/>
              </a:cxn>
              <a:cxn ang="0">
                <a:pos x="connsiteX33528" y="connsiteY33528"/>
              </a:cxn>
              <a:cxn ang="0">
                <a:pos x="connsiteX33529" y="connsiteY33529"/>
              </a:cxn>
              <a:cxn ang="0">
                <a:pos x="connsiteX33530" y="connsiteY33530"/>
              </a:cxn>
              <a:cxn ang="0">
                <a:pos x="connsiteX33531" y="connsiteY33531"/>
              </a:cxn>
              <a:cxn ang="0">
                <a:pos x="connsiteX33532" y="connsiteY33532"/>
              </a:cxn>
              <a:cxn ang="0">
                <a:pos x="connsiteX33533" y="connsiteY33533"/>
              </a:cxn>
              <a:cxn ang="0">
                <a:pos x="connsiteX33534" y="connsiteY33534"/>
              </a:cxn>
              <a:cxn ang="0">
                <a:pos x="connsiteX33535" y="connsiteY33535"/>
              </a:cxn>
              <a:cxn ang="0">
                <a:pos x="connsiteX33536" y="connsiteY33536"/>
              </a:cxn>
              <a:cxn ang="0">
                <a:pos x="connsiteX33537" y="connsiteY33537"/>
              </a:cxn>
              <a:cxn ang="0">
                <a:pos x="connsiteX33538" y="connsiteY33538"/>
              </a:cxn>
              <a:cxn ang="0">
                <a:pos x="connsiteX33539" y="connsiteY33539"/>
              </a:cxn>
              <a:cxn ang="0">
                <a:pos x="connsiteX33540" y="connsiteY33540"/>
              </a:cxn>
              <a:cxn ang="0">
                <a:pos x="connsiteX33541" y="connsiteY33541"/>
              </a:cxn>
              <a:cxn ang="0">
                <a:pos x="connsiteX33542" y="connsiteY33542"/>
              </a:cxn>
              <a:cxn ang="0">
                <a:pos x="connsiteX33543" y="connsiteY33543"/>
              </a:cxn>
              <a:cxn ang="0">
                <a:pos x="connsiteX33544" y="connsiteY33544"/>
              </a:cxn>
              <a:cxn ang="0">
                <a:pos x="connsiteX33545" y="connsiteY33545"/>
              </a:cxn>
              <a:cxn ang="0">
                <a:pos x="connsiteX33546" y="connsiteY33546"/>
              </a:cxn>
              <a:cxn ang="0">
                <a:pos x="connsiteX33547" y="connsiteY33547"/>
              </a:cxn>
              <a:cxn ang="0">
                <a:pos x="connsiteX33548" y="connsiteY33548"/>
              </a:cxn>
              <a:cxn ang="0">
                <a:pos x="connsiteX33549" y="connsiteY33549"/>
              </a:cxn>
              <a:cxn ang="0">
                <a:pos x="connsiteX33550" y="connsiteY33550"/>
              </a:cxn>
              <a:cxn ang="0">
                <a:pos x="connsiteX33551" y="connsiteY33551"/>
              </a:cxn>
              <a:cxn ang="0">
                <a:pos x="connsiteX33552" y="connsiteY33552"/>
              </a:cxn>
              <a:cxn ang="0">
                <a:pos x="connsiteX33553" y="connsiteY33553"/>
              </a:cxn>
              <a:cxn ang="0">
                <a:pos x="connsiteX33554" y="connsiteY33554"/>
              </a:cxn>
              <a:cxn ang="0">
                <a:pos x="connsiteX33555" y="connsiteY33555"/>
              </a:cxn>
              <a:cxn ang="0">
                <a:pos x="connsiteX33556" y="connsiteY33556"/>
              </a:cxn>
              <a:cxn ang="0">
                <a:pos x="connsiteX33557" y="connsiteY33557"/>
              </a:cxn>
              <a:cxn ang="0">
                <a:pos x="connsiteX33558" y="connsiteY33558"/>
              </a:cxn>
              <a:cxn ang="0">
                <a:pos x="connsiteX33559" y="connsiteY33559"/>
              </a:cxn>
              <a:cxn ang="0">
                <a:pos x="connsiteX33560" y="connsiteY33560"/>
              </a:cxn>
              <a:cxn ang="0">
                <a:pos x="connsiteX33561" y="connsiteY33561"/>
              </a:cxn>
              <a:cxn ang="0">
                <a:pos x="connsiteX33562" y="connsiteY33562"/>
              </a:cxn>
              <a:cxn ang="0">
                <a:pos x="connsiteX33563" y="connsiteY33563"/>
              </a:cxn>
              <a:cxn ang="0">
                <a:pos x="connsiteX33564" y="connsiteY33564"/>
              </a:cxn>
              <a:cxn ang="0">
                <a:pos x="connsiteX33565" y="connsiteY33565"/>
              </a:cxn>
              <a:cxn ang="0">
                <a:pos x="connsiteX33566" y="connsiteY33566"/>
              </a:cxn>
              <a:cxn ang="0">
                <a:pos x="connsiteX33567" y="connsiteY33567"/>
              </a:cxn>
              <a:cxn ang="0">
                <a:pos x="connsiteX33568" y="connsiteY33568"/>
              </a:cxn>
              <a:cxn ang="0">
                <a:pos x="connsiteX33569" y="connsiteY33569"/>
              </a:cxn>
              <a:cxn ang="0">
                <a:pos x="connsiteX33570" y="connsiteY33570"/>
              </a:cxn>
              <a:cxn ang="0">
                <a:pos x="connsiteX33571" y="connsiteY33571"/>
              </a:cxn>
              <a:cxn ang="0">
                <a:pos x="connsiteX33572" y="connsiteY33572"/>
              </a:cxn>
              <a:cxn ang="0">
                <a:pos x="connsiteX33573" y="connsiteY33573"/>
              </a:cxn>
              <a:cxn ang="0">
                <a:pos x="connsiteX33574" y="connsiteY33574"/>
              </a:cxn>
              <a:cxn ang="0">
                <a:pos x="connsiteX33575" y="connsiteY33575"/>
              </a:cxn>
              <a:cxn ang="0">
                <a:pos x="connsiteX33576" y="connsiteY33576"/>
              </a:cxn>
              <a:cxn ang="0">
                <a:pos x="connsiteX33577" y="connsiteY33577"/>
              </a:cxn>
              <a:cxn ang="0">
                <a:pos x="connsiteX33578" y="connsiteY33578"/>
              </a:cxn>
              <a:cxn ang="0">
                <a:pos x="connsiteX33579" y="connsiteY33579"/>
              </a:cxn>
              <a:cxn ang="0">
                <a:pos x="connsiteX33580" y="connsiteY33580"/>
              </a:cxn>
              <a:cxn ang="0">
                <a:pos x="connsiteX33581" y="connsiteY33581"/>
              </a:cxn>
              <a:cxn ang="0">
                <a:pos x="connsiteX33582" y="connsiteY33582"/>
              </a:cxn>
              <a:cxn ang="0">
                <a:pos x="connsiteX33583" y="connsiteY33583"/>
              </a:cxn>
              <a:cxn ang="0">
                <a:pos x="connsiteX33584" y="connsiteY33584"/>
              </a:cxn>
              <a:cxn ang="0">
                <a:pos x="connsiteX33585" y="connsiteY33585"/>
              </a:cxn>
              <a:cxn ang="0">
                <a:pos x="connsiteX33586" y="connsiteY33586"/>
              </a:cxn>
              <a:cxn ang="0">
                <a:pos x="connsiteX33587" y="connsiteY33587"/>
              </a:cxn>
              <a:cxn ang="0">
                <a:pos x="connsiteX33588" y="connsiteY33588"/>
              </a:cxn>
              <a:cxn ang="0">
                <a:pos x="connsiteX33589" y="connsiteY33589"/>
              </a:cxn>
              <a:cxn ang="0">
                <a:pos x="connsiteX33590" y="connsiteY33590"/>
              </a:cxn>
              <a:cxn ang="0">
                <a:pos x="connsiteX33591" y="connsiteY33591"/>
              </a:cxn>
              <a:cxn ang="0">
                <a:pos x="connsiteX33592" y="connsiteY33592"/>
              </a:cxn>
              <a:cxn ang="0">
                <a:pos x="connsiteX33593" y="connsiteY33593"/>
              </a:cxn>
              <a:cxn ang="0">
                <a:pos x="connsiteX33594" y="connsiteY33594"/>
              </a:cxn>
              <a:cxn ang="0">
                <a:pos x="connsiteX33595" y="connsiteY33595"/>
              </a:cxn>
              <a:cxn ang="0">
                <a:pos x="connsiteX33596" y="connsiteY33596"/>
              </a:cxn>
              <a:cxn ang="0">
                <a:pos x="connsiteX33597" y="connsiteY33597"/>
              </a:cxn>
              <a:cxn ang="0">
                <a:pos x="connsiteX33598" y="connsiteY33598"/>
              </a:cxn>
              <a:cxn ang="0">
                <a:pos x="connsiteX33599" y="connsiteY33599"/>
              </a:cxn>
              <a:cxn ang="0">
                <a:pos x="connsiteX33600" y="connsiteY33600"/>
              </a:cxn>
              <a:cxn ang="0">
                <a:pos x="connsiteX33601" y="connsiteY33601"/>
              </a:cxn>
              <a:cxn ang="0">
                <a:pos x="connsiteX33602" y="connsiteY33602"/>
              </a:cxn>
              <a:cxn ang="0">
                <a:pos x="connsiteX33603" y="connsiteY33603"/>
              </a:cxn>
              <a:cxn ang="0">
                <a:pos x="connsiteX33604" y="connsiteY33604"/>
              </a:cxn>
              <a:cxn ang="0">
                <a:pos x="connsiteX33605" y="connsiteY33605"/>
              </a:cxn>
              <a:cxn ang="0">
                <a:pos x="connsiteX33606" y="connsiteY33606"/>
              </a:cxn>
              <a:cxn ang="0">
                <a:pos x="connsiteX33607" y="connsiteY33607"/>
              </a:cxn>
              <a:cxn ang="0">
                <a:pos x="connsiteX33608" y="connsiteY33608"/>
              </a:cxn>
              <a:cxn ang="0">
                <a:pos x="connsiteX33609" y="connsiteY33609"/>
              </a:cxn>
              <a:cxn ang="0">
                <a:pos x="connsiteX33610" y="connsiteY33610"/>
              </a:cxn>
              <a:cxn ang="0">
                <a:pos x="connsiteX33611" y="connsiteY33611"/>
              </a:cxn>
              <a:cxn ang="0">
                <a:pos x="connsiteX33612" y="connsiteY33612"/>
              </a:cxn>
              <a:cxn ang="0">
                <a:pos x="connsiteX33613" y="connsiteY33613"/>
              </a:cxn>
              <a:cxn ang="0">
                <a:pos x="connsiteX33614" y="connsiteY33614"/>
              </a:cxn>
              <a:cxn ang="0">
                <a:pos x="connsiteX33615" y="connsiteY33615"/>
              </a:cxn>
              <a:cxn ang="0">
                <a:pos x="connsiteX33616" y="connsiteY33616"/>
              </a:cxn>
              <a:cxn ang="0">
                <a:pos x="connsiteX33617" y="connsiteY33617"/>
              </a:cxn>
              <a:cxn ang="0">
                <a:pos x="connsiteX33618" y="connsiteY33618"/>
              </a:cxn>
              <a:cxn ang="0">
                <a:pos x="connsiteX33619" y="connsiteY33619"/>
              </a:cxn>
              <a:cxn ang="0">
                <a:pos x="connsiteX33620" y="connsiteY33620"/>
              </a:cxn>
              <a:cxn ang="0">
                <a:pos x="connsiteX33621" y="connsiteY33621"/>
              </a:cxn>
              <a:cxn ang="0">
                <a:pos x="connsiteX33622" y="connsiteY33622"/>
              </a:cxn>
              <a:cxn ang="0">
                <a:pos x="connsiteX33623" y="connsiteY33623"/>
              </a:cxn>
              <a:cxn ang="0">
                <a:pos x="connsiteX33624" y="connsiteY33624"/>
              </a:cxn>
              <a:cxn ang="0">
                <a:pos x="connsiteX33625" y="connsiteY33625"/>
              </a:cxn>
              <a:cxn ang="0">
                <a:pos x="connsiteX33626" y="connsiteY33626"/>
              </a:cxn>
              <a:cxn ang="0">
                <a:pos x="connsiteX33627" y="connsiteY33627"/>
              </a:cxn>
              <a:cxn ang="0">
                <a:pos x="connsiteX33628" y="connsiteY33628"/>
              </a:cxn>
              <a:cxn ang="0">
                <a:pos x="connsiteX33629" y="connsiteY33629"/>
              </a:cxn>
              <a:cxn ang="0">
                <a:pos x="connsiteX33630" y="connsiteY33630"/>
              </a:cxn>
              <a:cxn ang="0">
                <a:pos x="connsiteX33631" y="connsiteY33631"/>
              </a:cxn>
              <a:cxn ang="0">
                <a:pos x="connsiteX33632" y="connsiteY33632"/>
              </a:cxn>
              <a:cxn ang="0">
                <a:pos x="connsiteX33633" y="connsiteY33633"/>
              </a:cxn>
              <a:cxn ang="0">
                <a:pos x="connsiteX33634" y="connsiteY33634"/>
              </a:cxn>
              <a:cxn ang="0">
                <a:pos x="connsiteX33635" y="connsiteY33635"/>
              </a:cxn>
              <a:cxn ang="0">
                <a:pos x="connsiteX33636" y="connsiteY33636"/>
              </a:cxn>
              <a:cxn ang="0">
                <a:pos x="connsiteX33637" y="connsiteY33637"/>
              </a:cxn>
              <a:cxn ang="0">
                <a:pos x="connsiteX33638" y="connsiteY33638"/>
              </a:cxn>
              <a:cxn ang="0">
                <a:pos x="connsiteX33639" y="connsiteY33639"/>
              </a:cxn>
              <a:cxn ang="0">
                <a:pos x="connsiteX33640" y="connsiteY33640"/>
              </a:cxn>
              <a:cxn ang="0">
                <a:pos x="connsiteX33641" y="connsiteY33641"/>
              </a:cxn>
              <a:cxn ang="0">
                <a:pos x="connsiteX33642" y="connsiteY33642"/>
              </a:cxn>
              <a:cxn ang="0">
                <a:pos x="connsiteX33643" y="connsiteY33643"/>
              </a:cxn>
              <a:cxn ang="0">
                <a:pos x="connsiteX33644" y="connsiteY33644"/>
              </a:cxn>
              <a:cxn ang="0">
                <a:pos x="connsiteX33645" y="connsiteY33645"/>
              </a:cxn>
              <a:cxn ang="0">
                <a:pos x="connsiteX33646" y="connsiteY33646"/>
              </a:cxn>
              <a:cxn ang="0">
                <a:pos x="connsiteX33647" y="connsiteY33647"/>
              </a:cxn>
              <a:cxn ang="0">
                <a:pos x="connsiteX33648" y="connsiteY33648"/>
              </a:cxn>
              <a:cxn ang="0">
                <a:pos x="connsiteX33649" y="connsiteY33649"/>
              </a:cxn>
              <a:cxn ang="0">
                <a:pos x="connsiteX33650" y="connsiteY33650"/>
              </a:cxn>
              <a:cxn ang="0">
                <a:pos x="connsiteX33651" y="connsiteY33651"/>
              </a:cxn>
              <a:cxn ang="0">
                <a:pos x="connsiteX33652" y="connsiteY33652"/>
              </a:cxn>
              <a:cxn ang="0">
                <a:pos x="connsiteX33653" y="connsiteY33653"/>
              </a:cxn>
              <a:cxn ang="0">
                <a:pos x="connsiteX33654" y="connsiteY33654"/>
              </a:cxn>
              <a:cxn ang="0">
                <a:pos x="connsiteX33655" y="connsiteY33655"/>
              </a:cxn>
              <a:cxn ang="0">
                <a:pos x="connsiteX33656" y="connsiteY33656"/>
              </a:cxn>
              <a:cxn ang="0">
                <a:pos x="connsiteX33657" y="connsiteY33657"/>
              </a:cxn>
              <a:cxn ang="0">
                <a:pos x="connsiteX33658" y="connsiteY33658"/>
              </a:cxn>
              <a:cxn ang="0">
                <a:pos x="connsiteX33659" y="connsiteY33659"/>
              </a:cxn>
              <a:cxn ang="0">
                <a:pos x="connsiteX33660" y="connsiteY33660"/>
              </a:cxn>
              <a:cxn ang="0">
                <a:pos x="connsiteX33661" y="connsiteY33661"/>
              </a:cxn>
              <a:cxn ang="0">
                <a:pos x="connsiteX33662" y="connsiteY33662"/>
              </a:cxn>
              <a:cxn ang="0">
                <a:pos x="connsiteX33663" y="connsiteY33663"/>
              </a:cxn>
              <a:cxn ang="0">
                <a:pos x="connsiteX33664" y="connsiteY33664"/>
              </a:cxn>
              <a:cxn ang="0">
                <a:pos x="connsiteX33665" y="connsiteY33665"/>
              </a:cxn>
              <a:cxn ang="0">
                <a:pos x="connsiteX33666" y="connsiteY33666"/>
              </a:cxn>
              <a:cxn ang="0">
                <a:pos x="connsiteX33667" y="connsiteY33667"/>
              </a:cxn>
              <a:cxn ang="0">
                <a:pos x="connsiteX33668" y="connsiteY33668"/>
              </a:cxn>
              <a:cxn ang="0">
                <a:pos x="connsiteX33669" y="connsiteY33669"/>
              </a:cxn>
              <a:cxn ang="0">
                <a:pos x="connsiteX33670" y="connsiteY33670"/>
              </a:cxn>
              <a:cxn ang="0">
                <a:pos x="connsiteX33671" y="connsiteY33671"/>
              </a:cxn>
              <a:cxn ang="0">
                <a:pos x="connsiteX33672" y="connsiteY33672"/>
              </a:cxn>
              <a:cxn ang="0">
                <a:pos x="connsiteX33673" y="connsiteY33673"/>
              </a:cxn>
              <a:cxn ang="0">
                <a:pos x="connsiteX33674" y="connsiteY33674"/>
              </a:cxn>
              <a:cxn ang="0">
                <a:pos x="connsiteX33675" y="connsiteY33675"/>
              </a:cxn>
              <a:cxn ang="0">
                <a:pos x="connsiteX33676" y="connsiteY33676"/>
              </a:cxn>
              <a:cxn ang="0">
                <a:pos x="connsiteX33677" y="connsiteY33677"/>
              </a:cxn>
              <a:cxn ang="0">
                <a:pos x="connsiteX33678" y="connsiteY33678"/>
              </a:cxn>
              <a:cxn ang="0">
                <a:pos x="connsiteX33679" y="connsiteY33679"/>
              </a:cxn>
              <a:cxn ang="0">
                <a:pos x="connsiteX33680" y="connsiteY33680"/>
              </a:cxn>
              <a:cxn ang="0">
                <a:pos x="connsiteX33681" y="connsiteY33681"/>
              </a:cxn>
              <a:cxn ang="0">
                <a:pos x="connsiteX33682" y="connsiteY33682"/>
              </a:cxn>
              <a:cxn ang="0">
                <a:pos x="connsiteX33683" y="connsiteY33683"/>
              </a:cxn>
              <a:cxn ang="0">
                <a:pos x="connsiteX33684" y="connsiteY33684"/>
              </a:cxn>
              <a:cxn ang="0">
                <a:pos x="connsiteX33685" y="connsiteY33685"/>
              </a:cxn>
              <a:cxn ang="0">
                <a:pos x="connsiteX33686" y="connsiteY33686"/>
              </a:cxn>
              <a:cxn ang="0">
                <a:pos x="connsiteX33687" y="connsiteY33687"/>
              </a:cxn>
              <a:cxn ang="0">
                <a:pos x="connsiteX33688" y="connsiteY33688"/>
              </a:cxn>
              <a:cxn ang="0">
                <a:pos x="connsiteX33689" y="connsiteY33689"/>
              </a:cxn>
              <a:cxn ang="0">
                <a:pos x="connsiteX33690" y="connsiteY33690"/>
              </a:cxn>
              <a:cxn ang="0">
                <a:pos x="connsiteX33691" y="connsiteY33691"/>
              </a:cxn>
              <a:cxn ang="0">
                <a:pos x="connsiteX33692" y="connsiteY33692"/>
              </a:cxn>
              <a:cxn ang="0">
                <a:pos x="connsiteX33693" y="connsiteY33693"/>
              </a:cxn>
              <a:cxn ang="0">
                <a:pos x="connsiteX33694" y="connsiteY33694"/>
              </a:cxn>
              <a:cxn ang="0">
                <a:pos x="connsiteX33695" y="connsiteY33695"/>
              </a:cxn>
              <a:cxn ang="0">
                <a:pos x="connsiteX33696" y="connsiteY33696"/>
              </a:cxn>
              <a:cxn ang="0">
                <a:pos x="connsiteX33697" y="connsiteY33697"/>
              </a:cxn>
              <a:cxn ang="0">
                <a:pos x="connsiteX33698" y="connsiteY33698"/>
              </a:cxn>
              <a:cxn ang="0">
                <a:pos x="connsiteX33699" y="connsiteY33699"/>
              </a:cxn>
              <a:cxn ang="0">
                <a:pos x="connsiteX33700" y="connsiteY33700"/>
              </a:cxn>
              <a:cxn ang="0">
                <a:pos x="connsiteX33701" y="connsiteY33701"/>
              </a:cxn>
              <a:cxn ang="0">
                <a:pos x="connsiteX33702" y="connsiteY33702"/>
              </a:cxn>
              <a:cxn ang="0">
                <a:pos x="connsiteX33703" y="connsiteY33703"/>
              </a:cxn>
              <a:cxn ang="0">
                <a:pos x="connsiteX33704" y="connsiteY33704"/>
              </a:cxn>
              <a:cxn ang="0">
                <a:pos x="connsiteX33705" y="connsiteY33705"/>
              </a:cxn>
              <a:cxn ang="0">
                <a:pos x="connsiteX33706" y="connsiteY33706"/>
              </a:cxn>
              <a:cxn ang="0">
                <a:pos x="connsiteX33707" y="connsiteY33707"/>
              </a:cxn>
              <a:cxn ang="0">
                <a:pos x="connsiteX33708" y="connsiteY33708"/>
              </a:cxn>
              <a:cxn ang="0">
                <a:pos x="connsiteX33709" y="connsiteY33709"/>
              </a:cxn>
              <a:cxn ang="0">
                <a:pos x="connsiteX33710" y="connsiteY33710"/>
              </a:cxn>
              <a:cxn ang="0">
                <a:pos x="connsiteX33711" y="connsiteY33711"/>
              </a:cxn>
              <a:cxn ang="0">
                <a:pos x="connsiteX33712" y="connsiteY33712"/>
              </a:cxn>
              <a:cxn ang="0">
                <a:pos x="connsiteX33713" y="connsiteY33713"/>
              </a:cxn>
              <a:cxn ang="0">
                <a:pos x="connsiteX33714" y="connsiteY33714"/>
              </a:cxn>
              <a:cxn ang="0">
                <a:pos x="connsiteX33715" y="connsiteY33715"/>
              </a:cxn>
              <a:cxn ang="0">
                <a:pos x="connsiteX33716" y="connsiteY33716"/>
              </a:cxn>
              <a:cxn ang="0">
                <a:pos x="connsiteX33717" y="connsiteY33717"/>
              </a:cxn>
              <a:cxn ang="0">
                <a:pos x="connsiteX33718" y="connsiteY33718"/>
              </a:cxn>
              <a:cxn ang="0">
                <a:pos x="connsiteX33719" y="connsiteY33719"/>
              </a:cxn>
              <a:cxn ang="0">
                <a:pos x="connsiteX33720" y="connsiteY33720"/>
              </a:cxn>
              <a:cxn ang="0">
                <a:pos x="connsiteX33721" y="connsiteY33721"/>
              </a:cxn>
              <a:cxn ang="0">
                <a:pos x="connsiteX33722" y="connsiteY33722"/>
              </a:cxn>
              <a:cxn ang="0">
                <a:pos x="connsiteX33723" y="connsiteY33723"/>
              </a:cxn>
              <a:cxn ang="0">
                <a:pos x="connsiteX33724" y="connsiteY33724"/>
              </a:cxn>
              <a:cxn ang="0">
                <a:pos x="connsiteX33725" y="connsiteY33725"/>
              </a:cxn>
              <a:cxn ang="0">
                <a:pos x="connsiteX33726" y="connsiteY33726"/>
              </a:cxn>
              <a:cxn ang="0">
                <a:pos x="connsiteX33727" y="connsiteY33727"/>
              </a:cxn>
              <a:cxn ang="0">
                <a:pos x="connsiteX33728" y="connsiteY33728"/>
              </a:cxn>
              <a:cxn ang="0">
                <a:pos x="connsiteX33729" y="connsiteY33729"/>
              </a:cxn>
              <a:cxn ang="0">
                <a:pos x="connsiteX33730" y="connsiteY33730"/>
              </a:cxn>
              <a:cxn ang="0">
                <a:pos x="connsiteX33731" y="connsiteY33731"/>
              </a:cxn>
              <a:cxn ang="0">
                <a:pos x="connsiteX33732" y="connsiteY33732"/>
              </a:cxn>
              <a:cxn ang="0">
                <a:pos x="connsiteX33733" y="connsiteY33733"/>
              </a:cxn>
              <a:cxn ang="0">
                <a:pos x="connsiteX33734" y="connsiteY33734"/>
              </a:cxn>
              <a:cxn ang="0">
                <a:pos x="connsiteX33735" y="connsiteY33735"/>
              </a:cxn>
              <a:cxn ang="0">
                <a:pos x="connsiteX33736" y="connsiteY33736"/>
              </a:cxn>
              <a:cxn ang="0">
                <a:pos x="connsiteX33737" y="connsiteY33737"/>
              </a:cxn>
              <a:cxn ang="0">
                <a:pos x="connsiteX33738" y="connsiteY33738"/>
              </a:cxn>
              <a:cxn ang="0">
                <a:pos x="connsiteX33739" y="connsiteY33739"/>
              </a:cxn>
              <a:cxn ang="0">
                <a:pos x="connsiteX33740" y="connsiteY33740"/>
              </a:cxn>
              <a:cxn ang="0">
                <a:pos x="connsiteX33741" y="connsiteY33741"/>
              </a:cxn>
              <a:cxn ang="0">
                <a:pos x="connsiteX33742" y="connsiteY33742"/>
              </a:cxn>
              <a:cxn ang="0">
                <a:pos x="connsiteX33743" y="connsiteY33743"/>
              </a:cxn>
              <a:cxn ang="0">
                <a:pos x="connsiteX33744" y="connsiteY33744"/>
              </a:cxn>
              <a:cxn ang="0">
                <a:pos x="connsiteX33745" y="connsiteY33745"/>
              </a:cxn>
              <a:cxn ang="0">
                <a:pos x="connsiteX33746" y="connsiteY33746"/>
              </a:cxn>
              <a:cxn ang="0">
                <a:pos x="connsiteX33747" y="connsiteY33747"/>
              </a:cxn>
              <a:cxn ang="0">
                <a:pos x="connsiteX33748" y="connsiteY33748"/>
              </a:cxn>
              <a:cxn ang="0">
                <a:pos x="connsiteX33749" y="connsiteY33749"/>
              </a:cxn>
              <a:cxn ang="0">
                <a:pos x="connsiteX33750" y="connsiteY33750"/>
              </a:cxn>
              <a:cxn ang="0">
                <a:pos x="connsiteX33751" y="connsiteY33751"/>
              </a:cxn>
              <a:cxn ang="0">
                <a:pos x="connsiteX33752" y="connsiteY33752"/>
              </a:cxn>
              <a:cxn ang="0">
                <a:pos x="connsiteX33753" y="connsiteY33753"/>
              </a:cxn>
              <a:cxn ang="0">
                <a:pos x="connsiteX33754" y="connsiteY33754"/>
              </a:cxn>
              <a:cxn ang="0">
                <a:pos x="connsiteX33755" y="connsiteY33755"/>
              </a:cxn>
              <a:cxn ang="0">
                <a:pos x="connsiteX33756" y="connsiteY33756"/>
              </a:cxn>
              <a:cxn ang="0">
                <a:pos x="connsiteX33757" y="connsiteY33757"/>
              </a:cxn>
              <a:cxn ang="0">
                <a:pos x="connsiteX33758" y="connsiteY33758"/>
              </a:cxn>
              <a:cxn ang="0">
                <a:pos x="connsiteX33759" y="connsiteY33759"/>
              </a:cxn>
              <a:cxn ang="0">
                <a:pos x="connsiteX33760" y="connsiteY33760"/>
              </a:cxn>
              <a:cxn ang="0">
                <a:pos x="connsiteX33761" y="connsiteY33761"/>
              </a:cxn>
              <a:cxn ang="0">
                <a:pos x="connsiteX33762" y="connsiteY33762"/>
              </a:cxn>
              <a:cxn ang="0">
                <a:pos x="connsiteX33763" y="connsiteY33763"/>
              </a:cxn>
              <a:cxn ang="0">
                <a:pos x="connsiteX33764" y="connsiteY33764"/>
              </a:cxn>
              <a:cxn ang="0">
                <a:pos x="connsiteX33765" y="connsiteY33765"/>
              </a:cxn>
              <a:cxn ang="0">
                <a:pos x="connsiteX33766" y="connsiteY33766"/>
              </a:cxn>
              <a:cxn ang="0">
                <a:pos x="connsiteX33767" y="connsiteY33767"/>
              </a:cxn>
              <a:cxn ang="0">
                <a:pos x="connsiteX33768" y="connsiteY33768"/>
              </a:cxn>
              <a:cxn ang="0">
                <a:pos x="connsiteX33769" y="connsiteY33769"/>
              </a:cxn>
              <a:cxn ang="0">
                <a:pos x="connsiteX33770" y="connsiteY33770"/>
              </a:cxn>
              <a:cxn ang="0">
                <a:pos x="connsiteX33771" y="connsiteY33771"/>
              </a:cxn>
              <a:cxn ang="0">
                <a:pos x="connsiteX33772" y="connsiteY33772"/>
              </a:cxn>
              <a:cxn ang="0">
                <a:pos x="connsiteX33773" y="connsiteY33773"/>
              </a:cxn>
              <a:cxn ang="0">
                <a:pos x="connsiteX33774" y="connsiteY33774"/>
              </a:cxn>
              <a:cxn ang="0">
                <a:pos x="connsiteX33775" y="connsiteY33775"/>
              </a:cxn>
              <a:cxn ang="0">
                <a:pos x="connsiteX33776" y="connsiteY33776"/>
              </a:cxn>
              <a:cxn ang="0">
                <a:pos x="connsiteX33777" y="connsiteY33777"/>
              </a:cxn>
              <a:cxn ang="0">
                <a:pos x="connsiteX33778" y="connsiteY33778"/>
              </a:cxn>
              <a:cxn ang="0">
                <a:pos x="connsiteX33779" y="connsiteY33779"/>
              </a:cxn>
              <a:cxn ang="0">
                <a:pos x="connsiteX33780" y="connsiteY33780"/>
              </a:cxn>
              <a:cxn ang="0">
                <a:pos x="connsiteX33781" y="connsiteY33781"/>
              </a:cxn>
              <a:cxn ang="0">
                <a:pos x="connsiteX33782" y="connsiteY33782"/>
              </a:cxn>
              <a:cxn ang="0">
                <a:pos x="connsiteX33783" y="connsiteY33783"/>
              </a:cxn>
              <a:cxn ang="0">
                <a:pos x="connsiteX33784" y="connsiteY33784"/>
              </a:cxn>
              <a:cxn ang="0">
                <a:pos x="connsiteX33785" y="connsiteY33785"/>
              </a:cxn>
              <a:cxn ang="0">
                <a:pos x="connsiteX33786" y="connsiteY33786"/>
              </a:cxn>
              <a:cxn ang="0">
                <a:pos x="connsiteX33787" y="connsiteY33787"/>
              </a:cxn>
              <a:cxn ang="0">
                <a:pos x="connsiteX33788" y="connsiteY33788"/>
              </a:cxn>
              <a:cxn ang="0">
                <a:pos x="connsiteX33789" y="connsiteY33789"/>
              </a:cxn>
              <a:cxn ang="0">
                <a:pos x="connsiteX33790" y="connsiteY33790"/>
              </a:cxn>
              <a:cxn ang="0">
                <a:pos x="connsiteX33791" y="connsiteY33791"/>
              </a:cxn>
              <a:cxn ang="0">
                <a:pos x="connsiteX33792" y="connsiteY33792"/>
              </a:cxn>
              <a:cxn ang="0">
                <a:pos x="connsiteX33793" y="connsiteY33793"/>
              </a:cxn>
              <a:cxn ang="0">
                <a:pos x="connsiteX33794" y="connsiteY33794"/>
              </a:cxn>
              <a:cxn ang="0">
                <a:pos x="connsiteX33795" y="connsiteY33795"/>
              </a:cxn>
              <a:cxn ang="0">
                <a:pos x="connsiteX33796" y="connsiteY33796"/>
              </a:cxn>
              <a:cxn ang="0">
                <a:pos x="connsiteX33797" y="connsiteY33797"/>
              </a:cxn>
              <a:cxn ang="0">
                <a:pos x="connsiteX33798" y="connsiteY33798"/>
              </a:cxn>
              <a:cxn ang="0">
                <a:pos x="connsiteX33799" y="connsiteY33799"/>
              </a:cxn>
              <a:cxn ang="0">
                <a:pos x="connsiteX33800" y="connsiteY33800"/>
              </a:cxn>
              <a:cxn ang="0">
                <a:pos x="connsiteX33801" y="connsiteY33801"/>
              </a:cxn>
              <a:cxn ang="0">
                <a:pos x="connsiteX33802" y="connsiteY33802"/>
              </a:cxn>
              <a:cxn ang="0">
                <a:pos x="connsiteX33803" y="connsiteY33803"/>
              </a:cxn>
              <a:cxn ang="0">
                <a:pos x="connsiteX33804" y="connsiteY33804"/>
              </a:cxn>
              <a:cxn ang="0">
                <a:pos x="connsiteX33805" y="connsiteY33805"/>
              </a:cxn>
              <a:cxn ang="0">
                <a:pos x="connsiteX33806" y="connsiteY33806"/>
              </a:cxn>
              <a:cxn ang="0">
                <a:pos x="connsiteX33807" y="connsiteY33807"/>
              </a:cxn>
              <a:cxn ang="0">
                <a:pos x="connsiteX33808" y="connsiteY33808"/>
              </a:cxn>
              <a:cxn ang="0">
                <a:pos x="connsiteX33809" y="connsiteY33809"/>
              </a:cxn>
              <a:cxn ang="0">
                <a:pos x="connsiteX33810" y="connsiteY33810"/>
              </a:cxn>
              <a:cxn ang="0">
                <a:pos x="connsiteX33811" y="connsiteY33811"/>
              </a:cxn>
              <a:cxn ang="0">
                <a:pos x="connsiteX33812" y="connsiteY33812"/>
              </a:cxn>
              <a:cxn ang="0">
                <a:pos x="connsiteX33813" y="connsiteY33813"/>
              </a:cxn>
              <a:cxn ang="0">
                <a:pos x="connsiteX33814" y="connsiteY33814"/>
              </a:cxn>
              <a:cxn ang="0">
                <a:pos x="connsiteX33815" y="connsiteY33815"/>
              </a:cxn>
              <a:cxn ang="0">
                <a:pos x="connsiteX33816" y="connsiteY33816"/>
              </a:cxn>
              <a:cxn ang="0">
                <a:pos x="connsiteX33817" y="connsiteY33817"/>
              </a:cxn>
              <a:cxn ang="0">
                <a:pos x="connsiteX33818" y="connsiteY33818"/>
              </a:cxn>
              <a:cxn ang="0">
                <a:pos x="connsiteX33819" y="connsiteY33819"/>
              </a:cxn>
              <a:cxn ang="0">
                <a:pos x="connsiteX33820" y="connsiteY33820"/>
              </a:cxn>
              <a:cxn ang="0">
                <a:pos x="connsiteX33821" y="connsiteY33821"/>
              </a:cxn>
              <a:cxn ang="0">
                <a:pos x="connsiteX33822" y="connsiteY33822"/>
              </a:cxn>
              <a:cxn ang="0">
                <a:pos x="connsiteX33823" y="connsiteY33823"/>
              </a:cxn>
              <a:cxn ang="0">
                <a:pos x="connsiteX33824" y="connsiteY33824"/>
              </a:cxn>
              <a:cxn ang="0">
                <a:pos x="connsiteX33825" y="connsiteY33825"/>
              </a:cxn>
              <a:cxn ang="0">
                <a:pos x="connsiteX33826" y="connsiteY33826"/>
              </a:cxn>
              <a:cxn ang="0">
                <a:pos x="connsiteX33827" y="connsiteY33827"/>
              </a:cxn>
              <a:cxn ang="0">
                <a:pos x="connsiteX33828" y="connsiteY33828"/>
              </a:cxn>
              <a:cxn ang="0">
                <a:pos x="connsiteX33829" y="connsiteY33829"/>
              </a:cxn>
              <a:cxn ang="0">
                <a:pos x="connsiteX33830" y="connsiteY33830"/>
              </a:cxn>
              <a:cxn ang="0">
                <a:pos x="connsiteX33831" y="connsiteY33831"/>
              </a:cxn>
              <a:cxn ang="0">
                <a:pos x="connsiteX33832" y="connsiteY33832"/>
              </a:cxn>
              <a:cxn ang="0">
                <a:pos x="connsiteX33833" y="connsiteY33833"/>
              </a:cxn>
              <a:cxn ang="0">
                <a:pos x="connsiteX33834" y="connsiteY33834"/>
              </a:cxn>
              <a:cxn ang="0">
                <a:pos x="connsiteX33835" y="connsiteY33835"/>
              </a:cxn>
              <a:cxn ang="0">
                <a:pos x="connsiteX33836" y="connsiteY33836"/>
              </a:cxn>
              <a:cxn ang="0">
                <a:pos x="connsiteX33837" y="connsiteY33837"/>
              </a:cxn>
              <a:cxn ang="0">
                <a:pos x="connsiteX33838" y="connsiteY33838"/>
              </a:cxn>
              <a:cxn ang="0">
                <a:pos x="connsiteX33839" y="connsiteY33839"/>
              </a:cxn>
              <a:cxn ang="0">
                <a:pos x="connsiteX33840" y="connsiteY33840"/>
              </a:cxn>
              <a:cxn ang="0">
                <a:pos x="connsiteX33841" y="connsiteY33841"/>
              </a:cxn>
              <a:cxn ang="0">
                <a:pos x="connsiteX33842" y="connsiteY33842"/>
              </a:cxn>
              <a:cxn ang="0">
                <a:pos x="connsiteX33843" y="connsiteY33843"/>
              </a:cxn>
              <a:cxn ang="0">
                <a:pos x="connsiteX33844" y="connsiteY33844"/>
              </a:cxn>
              <a:cxn ang="0">
                <a:pos x="connsiteX33845" y="connsiteY33845"/>
              </a:cxn>
              <a:cxn ang="0">
                <a:pos x="connsiteX33846" y="connsiteY33846"/>
              </a:cxn>
              <a:cxn ang="0">
                <a:pos x="connsiteX33847" y="connsiteY33847"/>
              </a:cxn>
              <a:cxn ang="0">
                <a:pos x="connsiteX33848" y="connsiteY33848"/>
              </a:cxn>
              <a:cxn ang="0">
                <a:pos x="connsiteX33849" y="connsiteY33849"/>
              </a:cxn>
              <a:cxn ang="0">
                <a:pos x="connsiteX33850" y="connsiteY33850"/>
              </a:cxn>
              <a:cxn ang="0">
                <a:pos x="connsiteX33851" y="connsiteY33851"/>
              </a:cxn>
              <a:cxn ang="0">
                <a:pos x="connsiteX33852" y="connsiteY33852"/>
              </a:cxn>
              <a:cxn ang="0">
                <a:pos x="connsiteX33853" y="connsiteY33853"/>
              </a:cxn>
              <a:cxn ang="0">
                <a:pos x="connsiteX33854" y="connsiteY33854"/>
              </a:cxn>
              <a:cxn ang="0">
                <a:pos x="connsiteX33855" y="connsiteY33855"/>
              </a:cxn>
              <a:cxn ang="0">
                <a:pos x="connsiteX33856" y="connsiteY33856"/>
              </a:cxn>
              <a:cxn ang="0">
                <a:pos x="connsiteX33857" y="connsiteY33857"/>
              </a:cxn>
              <a:cxn ang="0">
                <a:pos x="connsiteX33858" y="connsiteY33858"/>
              </a:cxn>
              <a:cxn ang="0">
                <a:pos x="connsiteX33859" y="connsiteY33859"/>
              </a:cxn>
              <a:cxn ang="0">
                <a:pos x="connsiteX33860" y="connsiteY33860"/>
              </a:cxn>
              <a:cxn ang="0">
                <a:pos x="connsiteX33861" y="connsiteY33861"/>
              </a:cxn>
              <a:cxn ang="0">
                <a:pos x="connsiteX33862" y="connsiteY33862"/>
              </a:cxn>
              <a:cxn ang="0">
                <a:pos x="connsiteX33863" y="connsiteY33863"/>
              </a:cxn>
              <a:cxn ang="0">
                <a:pos x="connsiteX33864" y="connsiteY33864"/>
              </a:cxn>
              <a:cxn ang="0">
                <a:pos x="connsiteX33865" y="connsiteY33865"/>
              </a:cxn>
              <a:cxn ang="0">
                <a:pos x="connsiteX33866" y="connsiteY33866"/>
              </a:cxn>
              <a:cxn ang="0">
                <a:pos x="connsiteX33867" y="connsiteY33867"/>
              </a:cxn>
              <a:cxn ang="0">
                <a:pos x="connsiteX33868" y="connsiteY33868"/>
              </a:cxn>
              <a:cxn ang="0">
                <a:pos x="connsiteX33869" y="connsiteY33869"/>
              </a:cxn>
              <a:cxn ang="0">
                <a:pos x="connsiteX33870" y="connsiteY33870"/>
              </a:cxn>
              <a:cxn ang="0">
                <a:pos x="connsiteX33871" y="connsiteY33871"/>
              </a:cxn>
              <a:cxn ang="0">
                <a:pos x="connsiteX33872" y="connsiteY33872"/>
              </a:cxn>
              <a:cxn ang="0">
                <a:pos x="connsiteX33873" y="connsiteY33873"/>
              </a:cxn>
              <a:cxn ang="0">
                <a:pos x="connsiteX33874" y="connsiteY33874"/>
              </a:cxn>
              <a:cxn ang="0">
                <a:pos x="connsiteX33875" y="connsiteY33875"/>
              </a:cxn>
              <a:cxn ang="0">
                <a:pos x="connsiteX33876" y="connsiteY33876"/>
              </a:cxn>
              <a:cxn ang="0">
                <a:pos x="connsiteX33877" y="connsiteY33877"/>
              </a:cxn>
              <a:cxn ang="0">
                <a:pos x="connsiteX33878" y="connsiteY33878"/>
              </a:cxn>
              <a:cxn ang="0">
                <a:pos x="connsiteX33879" y="connsiteY33879"/>
              </a:cxn>
              <a:cxn ang="0">
                <a:pos x="connsiteX33880" y="connsiteY33880"/>
              </a:cxn>
              <a:cxn ang="0">
                <a:pos x="connsiteX33881" y="connsiteY33881"/>
              </a:cxn>
              <a:cxn ang="0">
                <a:pos x="connsiteX33882" y="connsiteY33882"/>
              </a:cxn>
              <a:cxn ang="0">
                <a:pos x="connsiteX33883" y="connsiteY33883"/>
              </a:cxn>
              <a:cxn ang="0">
                <a:pos x="connsiteX33884" y="connsiteY33884"/>
              </a:cxn>
              <a:cxn ang="0">
                <a:pos x="connsiteX33885" y="connsiteY33885"/>
              </a:cxn>
              <a:cxn ang="0">
                <a:pos x="connsiteX33886" y="connsiteY33886"/>
              </a:cxn>
              <a:cxn ang="0">
                <a:pos x="connsiteX33887" y="connsiteY33887"/>
              </a:cxn>
              <a:cxn ang="0">
                <a:pos x="connsiteX33888" y="connsiteY33888"/>
              </a:cxn>
              <a:cxn ang="0">
                <a:pos x="connsiteX33889" y="connsiteY33889"/>
              </a:cxn>
              <a:cxn ang="0">
                <a:pos x="connsiteX33890" y="connsiteY33890"/>
              </a:cxn>
              <a:cxn ang="0">
                <a:pos x="connsiteX33891" y="connsiteY33891"/>
              </a:cxn>
              <a:cxn ang="0">
                <a:pos x="connsiteX33892" y="connsiteY33892"/>
              </a:cxn>
              <a:cxn ang="0">
                <a:pos x="connsiteX33893" y="connsiteY33893"/>
              </a:cxn>
              <a:cxn ang="0">
                <a:pos x="connsiteX33894" y="connsiteY33894"/>
              </a:cxn>
              <a:cxn ang="0">
                <a:pos x="connsiteX33895" y="connsiteY33895"/>
              </a:cxn>
              <a:cxn ang="0">
                <a:pos x="connsiteX33896" y="connsiteY33896"/>
              </a:cxn>
              <a:cxn ang="0">
                <a:pos x="connsiteX33897" y="connsiteY33897"/>
              </a:cxn>
              <a:cxn ang="0">
                <a:pos x="connsiteX33898" y="connsiteY33898"/>
              </a:cxn>
              <a:cxn ang="0">
                <a:pos x="connsiteX33899" y="connsiteY33899"/>
              </a:cxn>
              <a:cxn ang="0">
                <a:pos x="connsiteX33900" y="connsiteY33900"/>
              </a:cxn>
              <a:cxn ang="0">
                <a:pos x="connsiteX33901" y="connsiteY33901"/>
              </a:cxn>
              <a:cxn ang="0">
                <a:pos x="connsiteX33902" y="connsiteY33902"/>
              </a:cxn>
              <a:cxn ang="0">
                <a:pos x="connsiteX33903" y="connsiteY33903"/>
              </a:cxn>
              <a:cxn ang="0">
                <a:pos x="connsiteX33904" y="connsiteY33904"/>
              </a:cxn>
              <a:cxn ang="0">
                <a:pos x="connsiteX33905" y="connsiteY33905"/>
              </a:cxn>
              <a:cxn ang="0">
                <a:pos x="connsiteX33906" y="connsiteY33906"/>
              </a:cxn>
              <a:cxn ang="0">
                <a:pos x="connsiteX33907" y="connsiteY33907"/>
              </a:cxn>
              <a:cxn ang="0">
                <a:pos x="connsiteX33908" y="connsiteY33908"/>
              </a:cxn>
              <a:cxn ang="0">
                <a:pos x="connsiteX33909" y="connsiteY33909"/>
              </a:cxn>
              <a:cxn ang="0">
                <a:pos x="connsiteX33910" y="connsiteY33910"/>
              </a:cxn>
              <a:cxn ang="0">
                <a:pos x="connsiteX33911" y="connsiteY33911"/>
              </a:cxn>
              <a:cxn ang="0">
                <a:pos x="connsiteX33912" y="connsiteY33912"/>
              </a:cxn>
              <a:cxn ang="0">
                <a:pos x="connsiteX33913" y="connsiteY33913"/>
              </a:cxn>
              <a:cxn ang="0">
                <a:pos x="connsiteX33914" y="connsiteY33914"/>
              </a:cxn>
              <a:cxn ang="0">
                <a:pos x="connsiteX33915" y="connsiteY33915"/>
              </a:cxn>
              <a:cxn ang="0">
                <a:pos x="connsiteX33916" y="connsiteY33916"/>
              </a:cxn>
              <a:cxn ang="0">
                <a:pos x="connsiteX33917" y="connsiteY33917"/>
              </a:cxn>
              <a:cxn ang="0">
                <a:pos x="connsiteX33918" y="connsiteY33918"/>
              </a:cxn>
              <a:cxn ang="0">
                <a:pos x="connsiteX33919" y="connsiteY33919"/>
              </a:cxn>
              <a:cxn ang="0">
                <a:pos x="connsiteX33920" y="connsiteY33920"/>
              </a:cxn>
              <a:cxn ang="0">
                <a:pos x="connsiteX33921" y="connsiteY33921"/>
              </a:cxn>
              <a:cxn ang="0">
                <a:pos x="connsiteX33922" y="connsiteY33922"/>
              </a:cxn>
              <a:cxn ang="0">
                <a:pos x="connsiteX33923" y="connsiteY33923"/>
              </a:cxn>
              <a:cxn ang="0">
                <a:pos x="connsiteX33924" y="connsiteY33924"/>
              </a:cxn>
              <a:cxn ang="0">
                <a:pos x="connsiteX33925" y="connsiteY33925"/>
              </a:cxn>
              <a:cxn ang="0">
                <a:pos x="connsiteX33926" y="connsiteY33926"/>
              </a:cxn>
              <a:cxn ang="0">
                <a:pos x="connsiteX33927" y="connsiteY33927"/>
              </a:cxn>
              <a:cxn ang="0">
                <a:pos x="connsiteX33928" y="connsiteY33928"/>
              </a:cxn>
              <a:cxn ang="0">
                <a:pos x="connsiteX33929" y="connsiteY33929"/>
              </a:cxn>
              <a:cxn ang="0">
                <a:pos x="connsiteX33930" y="connsiteY33930"/>
              </a:cxn>
              <a:cxn ang="0">
                <a:pos x="connsiteX33931" y="connsiteY33931"/>
              </a:cxn>
              <a:cxn ang="0">
                <a:pos x="connsiteX33932" y="connsiteY33932"/>
              </a:cxn>
              <a:cxn ang="0">
                <a:pos x="connsiteX33933" y="connsiteY33933"/>
              </a:cxn>
              <a:cxn ang="0">
                <a:pos x="connsiteX33934" y="connsiteY33934"/>
              </a:cxn>
              <a:cxn ang="0">
                <a:pos x="connsiteX33935" y="connsiteY33935"/>
              </a:cxn>
              <a:cxn ang="0">
                <a:pos x="connsiteX33936" y="connsiteY33936"/>
              </a:cxn>
              <a:cxn ang="0">
                <a:pos x="connsiteX33937" y="connsiteY33937"/>
              </a:cxn>
              <a:cxn ang="0">
                <a:pos x="connsiteX33938" y="connsiteY33938"/>
              </a:cxn>
              <a:cxn ang="0">
                <a:pos x="connsiteX33939" y="connsiteY33939"/>
              </a:cxn>
              <a:cxn ang="0">
                <a:pos x="connsiteX33940" y="connsiteY33940"/>
              </a:cxn>
              <a:cxn ang="0">
                <a:pos x="connsiteX33941" y="connsiteY33941"/>
              </a:cxn>
              <a:cxn ang="0">
                <a:pos x="connsiteX33942" y="connsiteY33942"/>
              </a:cxn>
              <a:cxn ang="0">
                <a:pos x="connsiteX33943" y="connsiteY33943"/>
              </a:cxn>
              <a:cxn ang="0">
                <a:pos x="connsiteX33944" y="connsiteY33944"/>
              </a:cxn>
              <a:cxn ang="0">
                <a:pos x="connsiteX33945" y="connsiteY33945"/>
              </a:cxn>
              <a:cxn ang="0">
                <a:pos x="connsiteX33946" y="connsiteY33946"/>
              </a:cxn>
              <a:cxn ang="0">
                <a:pos x="connsiteX33947" y="connsiteY33947"/>
              </a:cxn>
              <a:cxn ang="0">
                <a:pos x="connsiteX33948" y="connsiteY33948"/>
              </a:cxn>
              <a:cxn ang="0">
                <a:pos x="connsiteX33949" y="connsiteY33949"/>
              </a:cxn>
              <a:cxn ang="0">
                <a:pos x="connsiteX33950" y="connsiteY33950"/>
              </a:cxn>
              <a:cxn ang="0">
                <a:pos x="connsiteX33951" y="connsiteY33951"/>
              </a:cxn>
              <a:cxn ang="0">
                <a:pos x="connsiteX33952" y="connsiteY33952"/>
              </a:cxn>
              <a:cxn ang="0">
                <a:pos x="connsiteX33953" y="connsiteY33953"/>
              </a:cxn>
              <a:cxn ang="0">
                <a:pos x="connsiteX33954" y="connsiteY33954"/>
              </a:cxn>
              <a:cxn ang="0">
                <a:pos x="connsiteX33955" y="connsiteY33955"/>
              </a:cxn>
              <a:cxn ang="0">
                <a:pos x="connsiteX33956" y="connsiteY33956"/>
              </a:cxn>
              <a:cxn ang="0">
                <a:pos x="connsiteX33957" y="connsiteY33957"/>
              </a:cxn>
              <a:cxn ang="0">
                <a:pos x="connsiteX33958" y="connsiteY33958"/>
              </a:cxn>
              <a:cxn ang="0">
                <a:pos x="connsiteX33959" y="connsiteY33959"/>
              </a:cxn>
              <a:cxn ang="0">
                <a:pos x="connsiteX33960" y="connsiteY33960"/>
              </a:cxn>
              <a:cxn ang="0">
                <a:pos x="connsiteX33961" y="connsiteY33961"/>
              </a:cxn>
              <a:cxn ang="0">
                <a:pos x="connsiteX33962" y="connsiteY33962"/>
              </a:cxn>
              <a:cxn ang="0">
                <a:pos x="connsiteX33963" y="connsiteY33963"/>
              </a:cxn>
              <a:cxn ang="0">
                <a:pos x="connsiteX33964" y="connsiteY33964"/>
              </a:cxn>
              <a:cxn ang="0">
                <a:pos x="connsiteX33965" y="connsiteY33965"/>
              </a:cxn>
              <a:cxn ang="0">
                <a:pos x="connsiteX33966" y="connsiteY33966"/>
              </a:cxn>
              <a:cxn ang="0">
                <a:pos x="connsiteX33967" y="connsiteY33967"/>
              </a:cxn>
              <a:cxn ang="0">
                <a:pos x="connsiteX33968" y="connsiteY33968"/>
              </a:cxn>
              <a:cxn ang="0">
                <a:pos x="connsiteX33969" y="connsiteY33969"/>
              </a:cxn>
              <a:cxn ang="0">
                <a:pos x="connsiteX33970" y="connsiteY33970"/>
              </a:cxn>
              <a:cxn ang="0">
                <a:pos x="connsiteX33971" y="connsiteY33971"/>
              </a:cxn>
              <a:cxn ang="0">
                <a:pos x="connsiteX33972" y="connsiteY33972"/>
              </a:cxn>
              <a:cxn ang="0">
                <a:pos x="connsiteX33973" y="connsiteY33973"/>
              </a:cxn>
              <a:cxn ang="0">
                <a:pos x="connsiteX33974" y="connsiteY33974"/>
              </a:cxn>
              <a:cxn ang="0">
                <a:pos x="connsiteX33975" y="connsiteY33975"/>
              </a:cxn>
              <a:cxn ang="0">
                <a:pos x="connsiteX33976" y="connsiteY33976"/>
              </a:cxn>
              <a:cxn ang="0">
                <a:pos x="connsiteX33977" y="connsiteY33977"/>
              </a:cxn>
              <a:cxn ang="0">
                <a:pos x="connsiteX33978" y="connsiteY33978"/>
              </a:cxn>
              <a:cxn ang="0">
                <a:pos x="connsiteX33979" y="connsiteY33979"/>
              </a:cxn>
              <a:cxn ang="0">
                <a:pos x="connsiteX33980" y="connsiteY33980"/>
              </a:cxn>
              <a:cxn ang="0">
                <a:pos x="connsiteX33981" y="connsiteY33981"/>
              </a:cxn>
              <a:cxn ang="0">
                <a:pos x="connsiteX33982" y="connsiteY33982"/>
              </a:cxn>
              <a:cxn ang="0">
                <a:pos x="connsiteX33983" y="connsiteY33983"/>
              </a:cxn>
              <a:cxn ang="0">
                <a:pos x="connsiteX33984" y="connsiteY33984"/>
              </a:cxn>
              <a:cxn ang="0">
                <a:pos x="connsiteX33985" y="connsiteY33985"/>
              </a:cxn>
              <a:cxn ang="0">
                <a:pos x="connsiteX33986" y="connsiteY33986"/>
              </a:cxn>
              <a:cxn ang="0">
                <a:pos x="connsiteX33987" y="connsiteY33987"/>
              </a:cxn>
              <a:cxn ang="0">
                <a:pos x="connsiteX33988" y="connsiteY33988"/>
              </a:cxn>
              <a:cxn ang="0">
                <a:pos x="connsiteX33989" y="connsiteY33989"/>
              </a:cxn>
              <a:cxn ang="0">
                <a:pos x="connsiteX33990" y="connsiteY33990"/>
              </a:cxn>
              <a:cxn ang="0">
                <a:pos x="connsiteX33991" y="connsiteY33991"/>
              </a:cxn>
              <a:cxn ang="0">
                <a:pos x="connsiteX33992" y="connsiteY33992"/>
              </a:cxn>
              <a:cxn ang="0">
                <a:pos x="connsiteX33993" y="connsiteY33993"/>
              </a:cxn>
              <a:cxn ang="0">
                <a:pos x="connsiteX33994" y="connsiteY33994"/>
              </a:cxn>
              <a:cxn ang="0">
                <a:pos x="connsiteX33995" y="connsiteY33995"/>
              </a:cxn>
              <a:cxn ang="0">
                <a:pos x="connsiteX33996" y="connsiteY33996"/>
              </a:cxn>
              <a:cxn ang="0">
                <a:pos x="connsiteX33997" y="connsiteY33997"/>
              </a:cxn>
              <a:cxn ang="0">
                <a:pos x="connsiteX33998" y="connsiteY33998"/>
              </a:cxn>
              <a:cxn ang="0">
                <a:pos x="connsiteX33999" y="connsiteY33999"/>
              </a:cxn>
              <a:cxn ang="0">
                <a:pos x="connsiteX34000" y="connsiteY34000"/>
              </a:cxn>
              <a:cxn ang="0">
                <a:pos x="connsiteX34001" y="connsiteY34001"/>
              </a:cxn>
              <a:cxn ang="0">
                <a:pos x="connsiteX34002" y="connsiteY34002"/>
              </a:cxn>
              <a:cxn ang="0">
                <a:pos x="connsiteX34003" y="connsiteY34003"/>
              </a:cxn>
              <a:cxn ang="0">
                <a:pos x="connsiteX34004" y="connsiteY34004"/>
              </a:cxn>
              <a:cxn ang="0">
                <a:pos x="connsiteX34005" y="connsiteY34005"/>
              </a:cxn>
              <a:cxn ang="0">
                <a:pos x="connsiteX34006" y="connsiteY34006"/>
              </a:cxn>
              <a:cxn ang="0">
                <a:pos x="connsiteX34007" y="connsiteY34007"/>
              </a:cxn>
              <a:cxn ang="0">
                <a:pos x="connsiteX34008" y="connsiteY34008"/>
              </a:cxn>
              <a:cxn ang="0">
                <a:pos x="connsiteX34009" y="connsiteY34009"/>
              </a:cxn>
              <a:cxn ang="0">
                <a:pos x="connsiteX34010" y="connsiteY34010"/>
              </a:cxn>
              <a:cxn ang="0">
                <a:pos x="connsiteX34011" y="connsiteY34011"/>
              </a:cxn>
              <a:cxn ang="0">
                <a:pos x="connsiteX34012" y="connsiteY34012"/>
              </a:cxn>
              <a:cxn ang="0">
                <a:pos x="connsiteX34013" y="connsiteY34013"/>
              </a:cxn>
              <a:cxn ang="0">
                <a:pos x="connsiteX34014" y="connsiteY34014"/>
              </a:cxn>
              <a:cxn ang="0">
                <a:pos x="connsiteX34015" y="connsiteY34015"/>
              </a:cxn>
              <a:cxn ang="0">
                <a:pos x="connsiteX34016" y="connsiteY34016"/>
              </a:cxn>
              <a:cxn ang="0">
                <a:pos x="connsiteX34017" y="connsiteY34017"/>
              </a:cxn>
              <a:cxn ang="0">
                <a:pos x="connsiteX34018" y="connsiteY34018"/>
              </a:cxn>
              <a:cxn ang="0">
                <a:pos x="connsiteX34019" y="connsiteY34019"/>
              </a:cxn>
              <a:cxn ang="0">
                <a:pos x="connsiteX34020" y="connsiteY34020"/>
              </a:cxn>
              <a:cxn ang="0">
                <a:pos x="connsiteX34021" y="connsiteY34021"/>
              </a:cxn>
              <a:cxn ang="0">
                <a:pos x="connsiteX34022" y="connsiteY34022"/>
              </a:cxn>
              <a:cxn ang="0">
                <a:pos x="connsiteX34023" y="connsiteY34023"/>
              </a:cxn>
              <a:cxn ang="0">
                <a:pos x="connsiteX34024" y="connsiteY34024"/>
              </a:cxn>
              <a:cxn ang="0">
                <a:pos x="connsiteX34025" y="connsiteY34025"/>
              </a:cxn>
              <a:cxn ang="0">
                <a:pos x="connsiteX34026" y="connsiteY34026"/>
              </a:cxn>
              <a:cxn ang="0">
                <a:pos x="connsiteX34027" y="connsiteY34027"/>
              </a:cxn>
              <a:cxn ang="0">
                <a:pos x="connsiteX34028" y="connsiteY34028"/>
              </a:cxn>
              <a:cxn ang="0">
                <a:pos x="connsiteX34029" y="connsiteY34029"/>
              </a:cxn>
              <a:cxn ang="0">
                <a:pos x="connsiteX34030" y="connsiteY34030"/>
              </a:cxn>
              <a:cxn ang="0">
                <a:pos x="connsiteX34031" y="connsiteY34031"/>
              </a:cxn>
              <a:cxn ang="0">
                <a:pos x="connsiteX34032" y="connsiteY34032"/>
              </a:cxn>
              <a:cxn ang="0">
                <a:pos x="connsiteX34033" y="connsiteY34033"/>
              </a:cxn>
              <a:cxn ang="0">
                <a:pos x="connsiteX34034" y="connsiteY34034"/>
              </a:cxn>
              <a:cxn ang="0">
                <a:pos x="connsiteX34035" y="connsiteY34035"/>
              </a:cxn>
              <a:cxn ang="0">
                <a:pos x="connsiteX34036" y="connsiteY34036"/>
              </a:cxn>
              <a:cxn ang="0">
                <a:pos x="connsiteX34037" y="connsiteY34037"/>
              </a:cxn>
              <a:cxn ang="0">
                <a:pos x="connsiteX34038" y="connsiteY34038"/>
              </a:cxn>
              <a:cxn ang="0">
                <a:pos x="connsiteX34039" y="connsiteY34039"/>
              </a:cxn>
              <a:cxn ang="0">
                <a:pos x="connsiteX34040" y="connsiteY34040"/>
              </a:cxn>
              <a:cxn ang="0">
                <a:pos x="connsiteX34041" y="connsiteY34041"/>
              </a:cxn>
              <a:cxn ang="0">
                <a:pos x="connsiteX34042" y="connsiteY34042"/>
              </a:cxn>
              <a:cxn ang="0">
                <a:pos x="connsiteX34043" y="connsiteY34043"/>
              </a:cxn>
              <a:cxn ang="0">
                <a:pos x="connsiteX34044" y="connsiteY34044"/>
              </a:cxn>
              <a:cxn ang="0">
                <a:pos x="connsiteX34045" y="connsiteY34045"/>
              </a:cxn>
              <a:cxn ang="0">
                <a:pos x="connsiteX34046" y="connsiteY34046"/>
              </a:cxn>
              <a:cxn ang="0">
                <a:pos x="connsiteX34047" y="connsiteY34047"/>
              </a:cxn>
              <a:cxn ang="0">
                <a:pos x="connsiteX34048" y="connsiteY34048"/>
              </a:cxn>
              <a:cxn ang="0">
                <a:pos x="connsiteX34049" y="connsiteY34049"/>
              </a:cxn>
              <a:cxn ang="0">
                <a:pos x="connsiteX34050" y="connsiteY34050"/>
              </a:cxn>
              <a:cxn ang="0">
                <a:pos x="connsiteX34051" y="connsiteY34051"/>
              </a:cxn>
              <a:cxn ang="0">
                <a:pos x="connsiteX34052" y="connsiteY34052"/>
              </a:cxn>
              <a:cxn ang="0">
                <a:pos x="connsiteX34053" y="connsiteY34053"/>
              </a:cxn>
              <a:cxn ang="0">
                <a:pos x="connsiteX34054" y="connsiteY34054"/>
              </a:cxn>
              <a:cxn ang="0">
                <a:pos x="connsiteX34055" y="connsiteY34055"/>
              </a:cxn>
              <a:cxn ang="0">
                <a:pos x="connsiteX34056" y="connsiteY34056"/>
              </a:cxn>
              <a:cxn ang="0">
                <a:pos x="connsiteX34057" y="connsiteY34057"/>
              </a:cxn>
              <a:cxn ang="0">
                <a:pos x="connsiteX34058" y="connsiteY34058"/>
              </a:cxn>
              <a:cxn ang="0">
                <a:pos x="connsiteX34059" y="connsiteY34059"/>
              </a:cxn>
              <a:cxn ang="0">
                <a:pos x="connsiteX34060" y="connsiteY34060"/>
              </a:cxn>
              <a:cxn ang="0">
                <a:pos x="connsiteX34061" y="connsiteY34061"/>
              </a:cxn>
              <a:cxn ang="0">
                <a:pos x="connsiteX34062" y="connsiteY34062"/>
              </a:cxn>
              <a:cxn ang="0">
                <a:pos x="connsiteX34063" y="connsiteY34063"/>
              </a:cxn>
              <a:cxn ang="0">
                <a:pos x="connsiteX34064" y="connsiteY34064"/>
              </a:cxn>
              <a:cxn ang="0">
                <a:pos x="connsiteX34065" y="connsiteY34065"/>
              </a:cxn>
              <a:cxn ang="0">
                <a:pos x="connsiteX34066" y="connsiteY34066"/>
              </a:cxn>
              <a:cxn ang="0">
                <a:pos x="connsiteX34067" y="connsiteY34067"/>
              </a:cxn>
              <a:cxn ang="0">
                <a:pos x="connsiteX34068" y="connsiteY34068"/>
              </a:cxn>
              <a:cxn ang="0">
                <a:pos x="connsiteX34069" y="connsiteY34069"/>
              </a:cxn>
              <a:cxn ang="0">
                <a:pos x="connsiteX34070" y="connsiteY34070"/>
              </a:cxn>
              <a:cxn ang="0">
                <a:pos x="connsiteX34071" y="connsiteY34071"/>
              </a:cxn>
              <a:cxn ang="0">
                <a:pos x="connsiteX34072" y="connsiteY34072"/>
              </a:cxn>
              <a:cxn ang="0">
                <a:pos x="connsiteX34073" y="connsiteY34073"/>
              </a:cxn>
              <a:cxn ang="0">
                <a:pos x="connsiteX34074" y="connsiteY34074"/>
              </a:cxn>
              <a:cxn ang="0">
                <a:pos x="connsiteX34075" y="connsiteY34075"/>
              </a:cxn>
              <a:cxn ang="0">
                <a:pos x="connsiteX34076" y="connsiteY34076"/>
              </a:cxn>
              <a:cxn ang="0">
                <a:pos x="connsiteX34077" y="connsiteY34077"/>
              </a:cxn>
              <a:cxn ang="0">
                <a:pos x="connsiteX34078" y="connsiteY34078"/>
              </a:cxn>
              <a:cxn ang="0">
                <a:pos x="connsiteX34079" y="connsiteY34079"/>
              </a:cxn>
              <a:cxn ang="0">
                <a:pos x="connsiteX34080" y="connsiteY34080"/>
              </a:cxn>
              <a:cxn ang="0">
                <a:pos x="connsiteX34081" y="connsiteY34081"/>
              </a:cxn>
              <a:cxn ang="0">
                <a:pos x="connsiteX34082" y="connsiteY34082"/>
              </a:cxn>
              <a:cxn ang="0">
                <a:pos x="connsiteX34083" y="connsiteY34083"/>
              </a:cxn>
              <a:cxn ang="0">
                <a:pos x="connsiteX34084" y="connsiteY34084"/>
              </a:cxn>
              <a:cxn ang="0">
                <a:pos x="connsiteX34085" y="connsiteY34085"/>
              </a:cxn>
              <a:cxn ang="0">
                <a:pos x="connsiteX34086" y="connsiteY34086"/>
              </a:cxn>
              <a:cxn ang="0">
                <a:pos x="connsiteX34087" y="connsiteY34087"/>
              </a:cxn>
              <a:cxn ang="0">
                <a:pos x="connsiteX34088" y="connsiteY34088"/>
              </a:cxn>
              <a:cxn ang="0">
                <a:pos x="connsiteX34089" y="connsiteY34089"/>
              </a:cxn>
              <a:cxn ang="0">
                <a:pos x="connsiteX34090" y="connsiteY34090"/>
              </a:cxn>
              <a:cxn ang="0">
                <a:pos x="connsiteX34091" y="connsiteY34091"/>
              </a:cxn>
              <a:cxn ang="0">
                <a:pos x="connsiteX34092" y="connsiteY34092"/>
              </a:cxn>
              <a:cxn ang="0">
                <a:pos x="connsiteX34093" y="connsiteY34093"/>
              </a:cxn>
              <a:cxn ang="0">
                <a:pos x="connsiteX34094" y="connsiteY34094"/>
              </a:cxn>
              <a:cxn ang="0">
                <a:pos x="connsiteX34095" y="connsiteY34095"/>
              </a:cxn>
              <a:cxn ang="0">
                <a:pos x="connsiteX34096" y="connsiteY34096"/>
              </a:cxn>
              <a:cxn ang="0">
                <a:pos x="connsiteX34097" y="connsiteY34097"/>
              </a:cxn>
              <a:cxn ang="0">
                <a:pos x="connsiteX34098" y="connsiteY34098"/>
              </a:cxn>
              <a:cxn ang="0">
                <a:pos x="connsiteX34099" y="connsiteY34099"/>
              </a:cxn>
              <a:cxn ang="0">
                <a:pos x="connsiteX34100" y="connsiteY34100"/>
              </a:cxn>
              <a:cxn ang="0">
                <a:pos x="connsiteX34101" y="connsiteY34101"/>
              </a:cxn>
              <a:cxn ang="0">
                <a:pos x="connsiteX34102" y="connsiteY34102"/>
              </a:cxn>
              <a:cxn ang="0">
                <a:pos x="connsiteX34103" y="connsiteY34103"/>
              </a:cxn>
              <a:cxn ang="0">
                <a:pos x="connsiteX34104" y="connsiteY34104"/>
              </a:cxn>
              <a:cxn ang="0">
                <a:pos x="connsiteX34105" y="connsiteY34105"/>
              </a:cxn>
              <a:cxn ang="0">
                <a:pos x="connsiteX34106" y="connsiteY34106"/>
              </a:cxn>
              <a:cxn ang="0">
                <a:pos x="connsiteX34107" y="connsiteY34107"/>
              </a:cxn>
              <a:cxn ang="0">
                <a:pos x="connsiteX34108" y="connsiteY34108"/>
              </a:cxn>
              <a:cxn ang="0">
                <a:pos x="connsiteX34109" y="connsiteY34109"/>
              </a:cxn>
              <a:cxn ang="0">
                <a:pos x="connsiteX34110" y="connsiteY34110"/>
              </a:cxn>
              <a:cxn ang="0">
                <a:pos x="connsiteX34111" y="connsiteY34111"/>
              </a:cxn>
              <a:cxn ang="0">
                <a:pos x="connsiteX34112" y="connsiteY34112"/>
              </a:cxn>
              <a:cxn ang="0">
                <a:pos x="connsiteX34113" y="connsiteY34113"/>
              </a:cxn>
              <a:cxn ang="0">
                <a:pos x="connsiteX34114" y="connsiteY34114"/>
              </a:cxn>
              <a:cxn ang="0">
                <a:pos x="connsiteX34115" y="connsiteY34115"/>
              </a:cxn>
              <a:cxn ang="0">
                <a:pos x="connsiteX34116" y="connsiteY34116"/>
              </a:cxn>
              <a:cxn ang="0">
                <a:pos x="connsiteX34117" y="connsiteY34117"/>
              </a:cxn>
              <a:cxn ang="0">
                <a:pos x="connsiteX34118" y="connsiteY34118"/>
              </a:cxn>
              <a:cxn ang="0">
                <a:pos x="connsiteX34119" y="connsiteY34119"/>
              </a:cxn>
              <a:cxn ang="0">
                <a:pos x="connsiteX34120" y="connsiteY34120"/>
              </a:cxn>
              <a:cxn ang="0">
                <a:pos x="connsiteX34121" y="connsiteY34121"/>
              </a:cxn>
              <a:cxn ang="0">
                <a:pos x="connsiteX34122" y="connsiteY34122"/>
              </a:cxn>
              <a:cxn ang="0">
                <a:pos x="connsiteX34123" y="connsiteY34123"/>
              </a:cxn>
              <a:cxn ang="0">
                <a:pos x="connsiteX34124" y="connsiteY34124"/>
              </a:cxn>
              <a:cxn ang="0">
                <a:pos x="connsiteX34125" y="connsiteY34125"/>
              </a:cxn>
              <a:cxn ang="0">
                <a:pos x="connsiteX34126" y="connsiteY34126"/>
              </a:cxn>
              <a:cxn ang="0">
                <a:pos x="connsiteX34127" y="connsiteY34127"/>
              </a:cxn>
              <a:cxn ang="0">
                <a:pos x="connsiteX34128" y="connsiteY34128"/>
              </a:cxn>
              <a:cxn ang="0">
                <a:pos x="connsiteX34129" y="connsiteY34129"/>
              </a:cxn>
              <a:cxn ang="0">
                <a:pos x="connsiteX34130" y="connsiteY34130"/>
              </a:cxn>
              <a:cxn ang="0">
                <a:pos x="connsiteX34131" y="connsiteY34131"/>
              </a:cxn>
              <a:cxn ang="0">
                <a:pos x="connsiteX34132" y="connsiteY34132"/>
              </a:cxn>
              <a:cxn ang="0">
                <a:pos x="connsiteX34133" y="connsiteY34133"/>
              </a:cxn>
              <a:cxn ang="0">
                <a:pos x="connsiteX34134" y="connsiteY34134"/>
              </a:cxn>
              <a:cxn ang="0">
                <a:pos x="connsiteX34135" y="connsiteY34135"/>
              </a:cxn>
              <a:cxn ang="0">
                <a:pos x="connsiteX34136" y="connsiteY34136"/>
              </a:cxn>
              <a:cxn ang="0">
                <a:pos x="connsiteX34137" y="connsiteY34137"/>
              </a:cxn>
              <a:cxn ang="0">
                <a:pos x="connsiteX34138" y="connsiteY34138"/>
              </a:cxn>
              <a:cxn ang="0">
                <a:pos x="connsiteX34139" y="connsiteY34139"/>
              </a:cxn>
              <a:cxn ang="0">
                <a:pos x="connsiteX34140" y="connsiteY34140"/>
              </a:cxn>
              <a:cxn ang="0">
                <a:pos x="connsiteX34141" y="connsiteY34141"/>
              </a:cxn>
              <a:cxn ang="0">
                <a:pos x="connsiteX34142" y="connsiteY34142"/>
              </a:cxn>
              <a:cxn ang="0">
                <a:pos x="connsiteX34143" y="connsiteY34143"/>
              </a:cxn>
              <a:cxn ang="0">
                <a:pos x="connsiteX34144" y="connsiteY34144"/>
              </a:cxn>
              <a:cxn ang="0">
                <a:pos x="connsiteX34145" y="connsiteY34145"/>
              </a:cxn>
              <a:cxn ang="0">
                <a:pos x="connsiteX34146" y="connsiteY34146"/>
              </a:cxn>
              <a:cxn ang="0">
                <a:pos x="connsiteX34147" y="connsiteY34147"/>
              </a:cxn>
              <a:cxn ang="0">
                <a:pos x="connsiteX34148" y="connsiteY34148"/>
              </a:cxn>
              <a:cxn ang="0">
                <a:pos x="connsiteX34149" y="connsiteY34149"/>
              </a:cxn>
              <a:cxn ang="0">
                <a:pos x="connsiteX34150" y="connsiteY34150"/>
              </a:cxn>
              <a:cxn ang="0">
                <a:pos x="connsiteX34151" y="connsiteY34151"/>
              </a:cxn>
              <a:cxn ang="0">
                <a:pos x="connsiteX34152" y="connsiteY34152"/>
              </a:cxn>
              <a:cxn ang="0">
                <a:pos x="connsiteX34153" y="connsiteY34153"/>
              </a:cxn>
              <a:cxn ang="0">
                <a:pos x="connsiteX34154" y="connsiteY34154"/>
              </a:cxn>
              <a:cxn ang="0">
                <a:pos x="connsiteX34155" y="connsiteY34155"/>
              </a:cxn>
              <a:cxn ang="0">
                <a:pos x="connsiteX34156" y="connsiteY34156"/>
              </a:cxn>
              <a:cxn ang="0">
                <a:pos x="connsiteX34157" y="connsiteY34157"/>
              </a:cxn>
              <a:cxn ang="0">
                <a:pos x="connsiteX34158" y="connsiteY34158"/>
              </a:cxn>
              <a:cxn ang="0">
                <a:pos x="connsiteX34159" y="connsiteY34159"/>
              </a:cxn>
              <a:cxn ang="0">
                <a:pos x="connsiteX34160" y="connsiteY34160"/>
              </a:cxn>
              <a:cxn ang="0">
                <a:pos x="connsiteX34161" y="connsiteY34161"/>
              </a:cxn>
              <a:cxn ang="0">
                <a:pos x="connsiteX34162" y="connsiteY34162"/>
              </a:cxn>
              <a:cxn ang="0">
                <a:pos x="connsiteX34163" y="connsiteY34163"/>
              </a:cxn>
              <a:cxn ang="0">
                <a:pos x="connsiteX34164" y="connsiteY34164"/>
              </a:cxn>
              <a:cxn ang="0">
                <a:pos x="connsiteX34165" y="connsiteY34165"/>
              </a:cxn>
              <a:cxn ang="0">
                <a:pos x="connsiteX34166" y="connsiteY34166"/>
              </a:cxn>
              <a:cxn ang="0">
                <a:pos x="connsiteX34167" y="connsiteY34167"/>
              </a:cxn>
              <a:cxn ang="0">
                <a:pos x="connsiteX34168" y="connsiteY34168"/>
              </a:cxn>
              <a:cxn ang="0">
                <a:pos x="connsiteX34169" y="connsiteY34169"/>
              </a:cxn>
              <a:cxn ang="0">
                <a:pos x="connsiteX34170" y="connsiteY34170"/>
              </a:cxn>
              <a:cxn ang="0">
                <a:pos x="connsiteX34171" y="connsiteY34171"/>
              </a:cxn>
              <a:cxn ang="0">
                <a:pos x="connsiteX34172" y="connsiteY34172"/>
              </a:cxn>
              <a:cxn ang="0">
                <a:pos x="connsiteX34173" y="connsiteY34173"/>
              </a:cxn>
              <a:cxn ang="0">
                <a:pos x="connsiteX34174" y="connsiteY34174"/>
              </a:cxn>
              <a:cxn ang="0">
                <a:pos x="connsiteX34175" y="connsiteY34175"/>
              </a:cxn>
              <a:cxn ang="0">
                <a:pos x="connsiteX34176" y="connsiteY34176"/>
              </a:cxn>
              <a:cxn ang="0">
                <a:pos x="connsiteX34177" y="connsiteY34177"/>
              </a:cxn>
              <a:cxn ang="0">
                <a:pos x="connsiteX34178" y="connsiteY34178"/>
              </a:cxn>
              <a:cxn ang="0">
                <a:pos x="connsiteX34179" y="connsiteY34179"/>
              </a:cxn>
              <a:cxn ang="0">
                <a:pos x="connsiteX34180" y="connsiteY34180"/>
              </a:cxn>
              <a:cxn ang="0">
                <a:pos x="connsiteX34181" y="connsiteY34181"/>
              </a:cxn>
              <a:cxn ang="0">
                <a:pos x="connsiteX34182" y="connsiteY34182"/>
              </a:cxn>
              <a:cxn ang="0">
                <a:pos x="connsiteX34183" y="connsiteY34183"/>
              </a:cxn>
              <a:cxn ang="0">
                <a:pos x="connsiteX34184" y="connsiteY34184"/>
              </a:cxn>
              <a:cxn ang="0">
                <a:pos x="connsiteX34185" y="connsiteY34185"/>
              </a:cxn>
              <a:cxn ang="0">
                <a:pos x="connsiteX34186" y="connsiteY34186"/>
              </a:cxn>
              <a:cxn ang="0">
                <a:pos x="connsiteX34187" y="connsiteY34187"/>
              </a:cxn>
              <a:cxn ang="0">
                <a:pos x="connsiteX34188" y="connsiteY34188"/>
              </a:cxn>
              <a:cxn ang="0">
                <a:pos x="connsiteX34189" y="connsiteY34189"/>
              </a:cxn>
              <a:cxn ang="0">
                <a:pos x="connsiteX34190" y="connsiteY34190"/>
              </a:cxn>
              <a:cxn ang="0">
                <a:pos x="connsiteX34191" y="connsiteY34191"/>
              </a:cxn>
              <a:cxn ang="0">
                <a:pos x="connsiteX34192" y="connsiteY34192"/>
              </a:cxn>
              <a:cxn ang="0">
                <a:pos x="connsiteX34193" y="connsiteY34193"/>
              </a:cxn>
              <a:cxn ang="0">
                <a:pos x="connsiteX34194" y="connsiteY34194"/>
              </a:cxn>
              <a:cxn ang="0">
                <a:pos x="connsiteX34195" y="connsiteY34195"/>
              </a:cxn>
              <a:cxn ang="0">
                <a:pos x="connsiteX34196" y="connsiteY34196"/>
              </a:cxn>
              <a:cxn ang="0">
                <a:pos x="connsiteX34197" y="connsiteY34197"/>
              </a:cxn>
              <a:cxn ang="0">
                <a:pos x="connsiteX34198" y="connsiteY34198"/>
              </a:cxn>
              <a:cxn ang="0">
                <a:pos x="connsiteX34199" y="connsiteY34199"/>
              </a:cxn>
              <a:cxn ang="0">
                <a:pos x="connsiteX34200" y="connsiteY34200"/>
              </a:cxn>
              <a:cxn ang="0">
                <a:pos x="connsiteX34201" y="connsiteY34201"/>
              </a:cxn>
              <a:cxn ang="0">
                <a:pos x="connsiteX34202" y="connsiteY34202"/>
              </a:cxn>
              <a:cxn ang="0">
                <a:pos x="connsiteX34203" y="connsiteY34203"/>
              </a:cxn>
              <a:cxn ang="0">
                <a:pos x="connsiteX34204" y="connsiteY34204"/>
              </a:cxn>
              <a:cxn ang="0">
                <a:pos x="connsiteX34205" y="connsiteY34205"/>
              </a:cxn>
              <a:cxn ang="0">
                <a:pos x="connsiteX34206" y="connsiteY34206"/>
              </a:cxn>
              <a:cxn ang="0">
                <a:pos x="connsiteX34207" y="connsiteY34207"/>
              </a:cxn>
              <a:cxn ang="0">
                <a:pos x="connsiteX34208" y="connsiteY34208"/>
              </a:cxn>
              <a:cxn ang="0">
                <a:pos x="connsiteX34209" y="connsiteY34209"/>
              </a:cxn>
              <a:cxn ang="0">
                <a:pos x="connsiteX34210" y="connsiteY34210"/>
              </a:cxn>
              <a:cxn ang="0">
                <a:pos x="connsiteX34211" y="connsiteY34211"/>
              </a:cxn>
              <a:cxn ang="0">
                <a:pos x="connsiteX34212" y="connsiteY34212"/>
              </a:cxn>
              <a:cxn ang="0">
                <a:pos x="connsiteX34213" y="connsiteY34213"/>
              </a:cxn>
              <a:cxn ang="0">
                <a:pos x="connsiteX34214" y="connsiteY34214"/>
              </a:cxn>
              <a:cxn ang="0">
                <a:pos x="connsiteX34215" y="connsiteY34215"/>
              </a:cxn>
              <a:cxn ang="0">
                <a:pos x="connsiteX34216" y="connsiteY34216"/>
              </a:cxn>
              <a:cxn ang="0">
                <a:pos x="connsiteX34217" y="connsiteY34217"/>
              </a:cxn>
              <a:cxn ang="0">
                <a:pos x="connsiteX34218" y="connsiteY34218"/>
              </a:cxn>
              <a:cxn ang="0">
                <a:pos x="connsiteX34219" y="connsiteY34219"/>
              </a:cxn>
              <a:cxn ang="0">
                <a:pos x="connsiteX34220" y="connsiteY34220"/>
              </a:cxn>
              <a:cxn ang="0">
                <a:pos x="connsiteX34221" y="connsiteY34221"/>
              </a:cxn>
              <a:cxn ang="0">
                <a:pos x="connsiteX34222" y="connsiteY34222"/>
              </a:cxn>
              <a:cxn ang="0">
                <a:pos x="connsiteX34223" y="connsiteY34223"/>
              </a:cxn>
              <a:cxn ang="0">
                <a:pos x="connsiteX34224" y="connsiteY34224"/>
              </a:cxn>
              <a:cxn ang="0">
                <a:pos x="connsiteX34225" y="connsiteY34225"/>
              </a:cxn>
              <a:cxn ang="0">
                <a:pos x="connsiteX34226" y="connsiteY34226"/>
              </a:cxn>
              <a:cxn ang="0">
                <a:pos x="connsiteX34227" y="connsiteY34227"/>
              </a:cxn>
              <a:cxn ang="0">
                <a:pos x="connsiteX34228" y="connsiteY34228"/>
              </a:cxn>
              <a:cxn ang="0">
                <a:pos x="connsiteX34229" y="connsiteY34229"/>
              </a:cxn>
              <a:cxn ang="0">
                <a:pos x="connsiteX34230" y="connsiteY34230"/>
              </a:cxn>
              <a:cxn ang="0">
                <a:pos x="connsiteX34231" y="connsiteY34231"/>
              </a:cxn>
              <a:cxn ang="0">
                <a:pos x="connsiteX34232" y="connsiteY34232"/>
              </a:cxn>
              <a:cxn ang="0">
                <a:pos x="connsiteX34233" y="connsiteY34233"/>
              </a:cxn>
              <a:cxn ang="0">
                <a:pos x="connsiteX34234" y="connsiteY34234"/>
              </a:cxn>
              <a:cxn ang="0">
                <a:pos x="connsiteX34235" y="connsiteY34235"/>
              </a:cxn>
              <a:cxn ang="0">
                <a:pos x="connsiteX34236" y="connsiteY34236"/>
              </a:cxn>
              <a:cxn ang="0">
                <a:pos x="connsiteX34237" y="connsiteY34237"/>
              </a:cxn>
              <a:cxn ang="0">
                <a:pos x="connsiteX34238" y="connsiteY34238"/>
              </a:cxn>
              <a:cxn ang="0">
                <a:pos x="connsiteX34239" y="connsiteY34239"/>
              </a:cxn>
              <a:cxn ang="0">
                <a:pos x="connsiteX34240" y="connsiteY34240"/>
              </a:cxn>
              <a:cxn ang="0">
                <a:pos x="connsiteX34241" y="connsiteY34241"/>
              </a:cxn>
              <a:cxn ang="0">
                <a:pos x="connsiteX34242" y="connsiteY34242"/>
              </a:cxn>
              <a:cxn ang="0">
                <a:pos x="connsiteX34243" y="connsiteY34243"/>
              </a:cxn>
              <a:cxn ang="0">
                <a:pos x="connsiteX34244" y="connsiteY34244"/>
              </a:cxn>
              <a:cxn ang="0">
                <a:pos x="connsiteX34245" y="connsiteY34245"/>
              </a:cxn>
              <a:cxn ang="0">
                <a:pos x="connsiteX34246" y="connsiteY34246"/>
              </a:cxn>
              <a:cxn ang="0">
                <a:pos x="connsiteX34247" y="connsiteY34247"/>
              </a:cxn>
              <a:cxn ang="0">
                <a:pos x="connsiteX34248" y="connsiteY34248"/>
              </a:cxn>
              <a:cxn ang="0">
                <a:pos x="connsiteX34249" y="connsiteY34249"/>
              </a:cxn>
              <a:cxn ang="0">
                <a:pos x="connsiteX34250" y="connsiteY34250"/>
              </a:cxn>
              <a:cxn ang="0">
                <a:pos x="connsiteX34251" y="connsiteY34251"/>
              </a:cxn>
              <a:cxn ang="0">
                <a:pos x="connsiteX34252" y="connsiteY34252"/>
              </a:cxn>
              <a:cxn ang="0">
                <a:pos x="connsiteX34253" y="connsiteY34253"/>
              </a:cxn>
              <a:cxn ang="0">
                <a:pos x="connsiteX34254" y="connsiteY34254"/>
              </a:cxn>
              <a:cxn ang="0">
                <a:pos x="connsiteX34255" y="connsiteY34255"/>
              </a:cxn>
              <a:cxn ang="0">
                <a:pos x="connsiteX34256" y="connsiteY34256"/>
              </a:cxn>
              <a:cxn ang="0">
                <a:pos x="connsiteX34257" y="connsiteY34257"/>
              </a:cxn>
              <a:cxn ang="0">
                <a:pos x="connsiteX34258" y="connsiteY34258"/>
              </a:cxn>
              <a:cxn ang="0">
                <a:pos x="connsiteX34259" y="connsiteY34259"/>
              </a:cxn>
              <a:cxn ang="0">
                <a:pos x="connsiteX34260" y="connsiteY34260"/>
              </a:cxn>
              <a:cxn ang="0">
                <a:pos x="connsiteX34261" y="connsiteY34261"/>
              </a:cxn>
              <a:cxn ang="0">
                <a:pos x="connsiteX34262" y="connsiteY34262"/>
              </a:cxn>
              <a:cxn ang="0">
                <a:pos x="connsiteX34263" y="connsiteY34263"/>
              </a:cxn>
              <a:cxn ang="0">
                <a:pos x="connsiteX34264" y="connsiteY34264"/>
              </a:cxn>
              <a:cxn ang="0">
                <a:pos x="connsiteX34265" y="connsiteY34265"/>
              </a:cxn>
              <a:cxn ang="0">
                <a:pos x="connsiteX34266" y="connsiteY34266"/>
              </a:cxn>
              <a:cxn ang="0">
                <a:pos x="connsiteX34267" y="connsiteY34267"/>
              </a:cxn>
              <a:cxn ang="0">
                <a:pos x="connsiteX34268" y="connsiteY34268"/>
              </a:cxn>
              <a:cxn ang="0">
                <a:pos x="connsiteX34269" y="connsiteY34269"/>
              </a:cxn>
              <a:cxn ang="0">
                <a:pos x="connsiteX34270" y="connsiteY34270"/>
              </a:cxn>
              <a:cxn ang="0">
                <a:pos x="connsiteX34271" y="connsiteY34271"/>
              </a:cxn>
              <a:cxn ang="0">
                <a:pos x="connsiteX34272" y="connsiteY34272"/>
              </a:cxn>
              <a:cxn ang="0">
                <a:pos x="connsiteX34273" y="connsiteY34273"/>
              </a:cxn>
              <a:cxn ang="0">
                <a:pos x="connsiteX34274" y="connsiteY34274"/>
              </a:cxn>
              <a:cxn ang="0">
                <a:pos x="connsiteX34275" y="connsiteY34275"/>
              </a:cxn>
              <a:cxn ang="0">
                <a:pos x="connsiteX34276" y="connsiteY34276"/>
              </a:cxn>
              <a:cxn ang="0">
                <a:pos x="connsiteX34277" y="connsiteY34277"/>
              </a:cxn>
              <a:cxn ang="0">
                <a:pos x="connsiteX34278" y="connsiteY34278"/>
              </a:cxn>
              <a:cxn ang="0">
                <a:pos x="connsiteX34279" y="connsiteY34279"/>
              </a:cxn>
              <a:cxn ang="0">
                <a:pos x="connsiteX34280" y="connsiteY34280"/>
              </a:cxn>
              <a:cxn ang="0">
                <a:pos x="connsiteX34281" y="connsiteY34281"/>
              </a:cxn>
              <a:cxn ang="0">
                <a:pos x="connsiteX34282" y="connsiteY34282"/>
              </a:cxn>
              <a:cxn ang="0">
                <a:pos x="connsiteX34283" y="connsiteY34283"/>
              </a:cxn>
              <a:cxn ang="0">
                <a:pos x="connsiteX34284" y="connsiteY34284"/>
              </a:cxn>
              <a:cxn ang="0">
                <a:pos x="connsiteX34285" y="connsiteY34285"/>
              </a:cxn>
              <a:cxn ang="0">
                <a:pos x="connsiteX34286" y="connsiteY34286"/>
              </a:cxn>
              <a:cxn ang="0">
                <a:pos x="connsiteX34287" y="connsiteY34287"/>
              </a:cxn>
              <a:cxn ang="0">
                <a:pos x="connsiteX34288" y="connsiteY34288"/>
              </a:cxn>
              <a:cxn ang="0">
                <a:pos x="connsiteX34289" y="connsiteY34289"/>
              </a:cxn>
              <a:cxn ang="0">
                <a:pos x="connsiteX34290" y="connsiteY34290"/>
              </a:cxn>
              <a:cxn ang="0">
                <a:pos x="connsiteX34291" y="connsiteY34291"/>
              </a:cxn>
              <a:cxn ang="0">
                <a:pos x="connsiteX34292" y="connsiteY34292"/>
              </a:cxn>
              <a:cxn ang="0">
                <a:pos x="connsiteX34293" y="connsiteY34293"/>
              </a:cxn>
              <a:cxn ang="0">
                <a:pos x="connsiteX34294" y="connsiteY34294"/>
              </a:cxn>
              <a:cxn ang="0">
                <a:pos x="connsiteX34295" y="connsiteY34295"/>
              </a:cxn>
              <a:cxn ang="0">
                <a:pos x="connsiteX34296" y="connsiteY34296"/>
              </a:cxn>
              <a:cxn ang="0">
                <a:pos x="connsiteX34297" y="connsiteY34297"/>
              </a:cxn>
              <a:cxn ang="0">
                <a:pos x="connsiteX34298" y="connsiteY34298"/>
              </a:cxn>
              <a:cxn ang="0">
                <a:pos x="connsiteX34299" y="connsiteY34299"/>
              </a:cxn>
              <a:cxn ang="0">
                <a:pos x="connsiteX34300" y="connsiteY34300"/>
              </a:cxn>
              <a:cxn ang="0">
                <a:pos x="connsiteX34301" y="connsiteY34301"/>
              </a:cxn>
              <a:cxn ang="0">
                <a:pos x="connsiteX34302" y="connsiteY34302"/>
              </a:cxn>
              <a:cxn ang="0">
                <a:pos x="connsiteX34303" y="connsiteY34303"/>
              </a:cxn>
              <a:cxn ang="0">
                <a:pos x="connsiteX34304" y="connsiteY34304"/>
              </a:cxn>
              <a:cxn ang="0">
                <a:pos x="connsiteX34305" y="connsiteY34305"/>
              </a:cxn>
              <a:cxn ang="0">
                <a:pos x="connsiteX34306" y="connsiteY34306"/>
              </a:cxn>
              <a:cxn ang="0">
                <a:pos x="connsiteX34307" y="connsiteY34307"/>
              </a:cxn>
              <a:cxn ang="0">
                <a:pos x="connsiteX34308" y="connsiteY34308"/>
              </a:cxn>
              <a:cxn ang="0">
                <a:pos x="connsiteX34309" y="connsiteY34309"/>
              </a:cxn>
              <a:cxn ang="0">
                <a:pos x="connsiteX34310" y="connsiteY34310"/>
              </a:cxn>
              <a:cxn ang="0">
                <a:pos x="connsiteX34311" y="connsiteY34311"/>
              </a:cxn>
              <a:cxn ang="0">
                <a:pos x="connsiteX34312" y="connsiteY34312"/>
              </a:cxn>
              <a:cxn ang="0">
                <a:pos x="connsiteX34313" y="connsiteY34313"/>
              </a:cxn>
              <a:cxn ang="0">
                <a:pos x="connsiteX34314" y="connsiteY34314"/>
              </a:cxn>
              <a:cxn ang="0">
                <a:pos x="connsiteX34315" y="connsiteY34315"/>
              </a:cxn>
              <a:cxn ang="0">
                <a:pos x="connsiteX34316" y="connsiteY34316"/>
              </a:cxn>
              <a:cxn ang="0">
                <a:pos x="connsiteX34317" y="connsiteY34317"/>
              </a:cxn>
              <a:cxn ang="0">
                <a:pos x="connsiteX34318" y="connsiteY34318"/>
              </a:cxn>
              <a:cxn ang="0">
                <a:pos x="connsiteX34319" y="connsiteY34319"/>
              </a:cxn>
              <a:cxn ang="0">
                <a:pos x="connsiteX34320" y="connsiteY34320"/>
              </a:cxn>
              <a:cxn ang="0">
                <a:pos x="connsiteX34321" y="connsiteY34321"/>
              </a:cxn>
              <a:cxn ang="0">
                <a:pos x="connsiteX34322" y="connsiteY34322"/>
              </a:cxn>
              <a:cxn ang="0">
                <a:pos x="connsiteX34323" y="connsiteY34323"/>
              </a:cxn>
              <a:cxn ang="0">
                <a:pos x="connsiteX34324" y="connsiteY34324"/>
              </a:cxn>
              <a:cxn ang="0">
                <a:pos x="connsiteX34325" y="connsiteY34325"/>
              </a:cxn>
              <a:cxn ang="0">
                <a:pos x="connsiteX34326" y="connsiteY34326"/>
              </a:cxn>
              <a:cxn ang="0">
                <a:pos x="connsiteX34327" y="connsiteY34327"/>
              </a:cxn>
              <a:cxn ang="0">
                <a:pos x="connsiteX34328" y="connsiteY34328"/>
              </a:cxn>
              <a:cxn ang="0">
                <a:pos x="connsiteX34329" y="connsiteY34329"/>
              </a:cxn>
              <a:cxn ang="0">
                <a:pos x="connsiteX34330" y="connsiteY34330"/>
              </a:cxn>
              <a:cxn ang="0">
                <a:pos x="connsiteX34331" y="connsiteY34331"/>
              </a:cxn>
              <a:cxn ang="0">
                <a:pos x="connsiteX34332" y="connsiteY34332"/>
              </a:cxn>
              <a:cxn ang="0">
                <a:pos x="connsiteX34333" y="connsiteY34333"/>
              </a:cxn>
              <a:cxn ang="0">
                <a:pos x="connsiteX34334" y="connsiteY34334"/>
              </a:cxn>
              <a:cxn ang="0">
                <a:pos x="connsiteX34335" y="connsiteY34335"/>
              </a:cxn>
              <a:cxn ang="0">
                <a:pos x="connsiteX34336" y="connsiteY34336"/>
              </a:cxn>
              <a:cxn ang="0">
                <a:pos x="connsiteX34337" y="connsiteY34337"/>
              </a:cxn>
              <a:cxn ang="0">
                <a:pos x="connsiteX34338" y="connsiteY34338"/>
              </a:cxn>
              <a:cxn ang="0">
                <a:pos x="connsiteX34339" y="connsiteY34339"/>
              </a:cxn>
              <a:cxn ang="0">
                <a:pos x="connsiteX34340" y="connsiteY34340"/>
              </a:cxn>
              <a:cxn ang="0">
                <a:pos x="connsiteX34341" y="connsiteY34341"/>
              </a:cxn>
              <a:cxn ang="0">
                <a:pos x="connsiteX34342" y="connsiteY34342"/>
              </a:cxn>
              <a:cxn ang="0">
                <a:pos x="connsiteX34343" y="connsiteY34343"/>
              </a:cxn>
              <a:cxn ang="0">
                <a:pos x="connsiteX34344" y="connsiteY34344"/>
              </a:cxn>
              <a:cxn ang="0">
                <a:pos x="connsiteX34345" y="connsiteY34345"/>
              </a:cxn>
              <a:cxn ang="0">
                <a:pos x="connsiteX34346" y="connsiteY34346"/>
              </a:cxn>
              <a:cxn ang="0">
                <a:pos x="connsiteX34347" y="connsiteY34347"/>
              </a:cxn>
              <a:cxn ang="0">
                <a:pos x="connsiteX34348" y="connsiteY34348"/>
              </a:cxn>
              <a:cxn ang="0">
                <a:pos x="connsiteX34349" y="connsiteY34349"/>
              </a:cxn>
              <a:cxn ang="0">
                <a:pos x="connsiteX34350" y="connsiteY34350"/>
              </a:cxn>
              <a:cxn ang="0">
                <a:pos x="connsiteX34351" y="connsiteY34351"/>
              </a:cxn>
              <a:cxn ang="0">
                <a:pos x="connsiteX34352" y="connsiteY34352"/>
              </a:cxn>
              <a:cxn ang="0">
                <a:pos x="connsiteX34353" y="connsiteY34353"/>
              </a:cxn>
              <a:cxn ang="0">
                <a:pos x="connsiteX34354" y="connsiteY34354"/>
              </a:cxn>
              <a:cxn ang="0">
                <a:pos x="connsiteX34355" y="connsiteY34355"/>
              </a:cxn>
              <a:cxn ang="0">
                <a:pos x="connsiteX34356" y="connsiteY34356"/>
              </a:cxn>
              <a:cxn ang="0">
                <a:pos x="connsiteX34357" y="connsiteY34357"/>
              </a:cxn>
              <a:cxn ang="0">
                <a:pos x="connsiteX34358" y="connsiteY34358"/>
              </a:cxn>
              <a:cxn ang="0">
                <a:pos x="connsiteX34359" y="connsiteY34359"/>
              </a:cxn>
              <a:cxn ang="0">
                <a:pos x="connsiteX34360" y="connsiteY34360"/>
              </a:cxn>
              <a:cxn ang="0">
                <a:pos x="connsiteX34361" y="connsiteY34361"/>
              </a:cxn>
              <a:cxn ang="0">
                <a:pos x="connsiteX34362" y="connsiteY34362"/>
              </a:cxn>
              <a:cxn ang="0">
                <a:pos x="connsiteX34363" y="connsiteY34363"/>
              </a:cxn>
              <a:cxn ang="0">
                <a:pos x="connsiteX34364" y="connsiteY34364"/>
              </a:cxn>
              <a:cxn ang="0">
                <a:pos x="connsiteX34365" y="connsiteY34365"/>
              </a:cxn>
              <a:cxn ang="0">
                <a:pos x="connsiteX34366" y="connsiteY34366"/>
              </a:cxn>
              <a:cxn ang="0">
                <a:pos x="connsiteX34367" y="connsiteY34367"/>
              </a:cxn>
              <a:cxn ang="0">
                <a:pos x="connsiteX34368" y="connsiteY34368"/>
              </a:cxn>
              <a:cxn ang="0">
                <a:pos x="connsiteX34369" y="connsiteY34369"/>
              </a:cxn>
              <a:cxn ang="0">
                <a:pos x="connsiteX34370" y="connsiteY34370"/>
              </a:cxn>
              <a:cxn ang="0">
                <a:pos x="connsiteX34371" y="connsiteY34371"/>
              </a:cxn>
              <a:cxn ang="0">
                <a:pos x="connsiteX34372" y="connsiteY34372"/>
              </a:cxn>
              <a:cxn ang="0">
                <a:pos x="connsiteX34373" y="connsiteY34373"/>
              </a:cxn>
              <a:cxn ang="0">
                <a:pos x="connsiteX34374" y="connsiteY34374"/>
              </a:cxn>
              <a:cxn ang="0">
                <a:pos x="connsiteX34375" y="connsiteY34375"/>
              </a:cxn>
              <a:cxn ang="0">
                <a:pos x="connsiteX34376" y="connsiteY34376"/>
              </a:cxn>
              <a:cxn ang="0">
                <a:pos x="connsiteX34377" y="connsiteY34377"/>
              </a:cxn>
              <a:cxn ang="0">
                <a:pos x="connsiteX34378" y="connsiteY34378"/>
              </a:cxn>
              <a:cxn ang="0">
                <a:pos x="connsiteX34379" y="connsiteY34379"/>
              </a:cxn>
              <a:cxn ang="0">
                <a:pos x="connsiteX34380" y="connsiteY34380"/>
              </a:cxn>
              <a:cxn ang="0">
                <a:pos x="connsiteX34381" y="connsiteY34381"/>
              </a:cxn>
              <a:cxn ang="0">
                <a:pos x="connsiteX34382" y="connsiteY34382"/>
              </a:cxn>
              <a:cxn ang="0">
                <a:pos x="connsiteX34383" y="connsiteY34383"/>
              </a:cxn>
              <a:cxn ang="0">
                <a:pos x="connsiteX34384" y="connsiteY34384"/>
              </a:cxn>
              <a:cxn ang="0">
                <a:pos x="connsiteX34385" y="connsiteY34385"/>
              </a:cxn>
              <a:cxn ang="0">
                <a:pos x="connsiteX34386" y="connsiteY34386"/>
              </a:cxn>
              <a:cxn ang="0">
                <a:pos x="connsiteX34387" y="connsiteY34387"/>
              </a:cxn>
              <a:cxn ang="0">
                <a:pos x="connsiteX34388" y="connsiteY34388"/>
              </a:cxn>
              <a:cxn ang="0">
                <a:pos x="connsiteX34389" y="connsiteY34389"/>
              </a:cxn>
              <a:cxn ang="0">
                <a:pos x="connsiteX34390" y="connsiteY34390"/>
              </a:cxn>
              <a:cxn ang="0">
                <a:pos x="connsiteX34391" y="connsiteY34391"/>
              </a:cxn>
              <a:cxn ang="0">
                <a:pos x="connsiteX34392" y="connsiteY34392"/>
              </a:cxn>
              <a:cxn ang="0">
                <a:pos x="connsiteX34393" y="connsiteY34393"/>
              </a:cxn>
              <a:cxn ang="0">
                <a:pos x="connsiteX34394" y="connsiteY34394"/>
              </a:cxn>
              <a:cxn ang="0">
                <a:pos x="connsiteX34395" y="connsiteY34395"/>
              </a:cxn>
              <a:cxn ang="0">
                <a:pos x="connsiteX34396" y="connsiteY34396"/>
              </a:cxn>
              <a:cxn ang="0">
                <a:pos x="connsiteX34397" y="connsiteY34397"/>
              </a:cxn>
              <a:cxn ang="0">
                <a:pos x="connsiteX34398" y="connsiteY34398"/>
              </a:cxn>
              <a:cxn ang="0">
                <a:pos x="connsiteX34399" y="connsiteY34399"/>
              </a:cxn>
              <a:cxn ang="0">
                <a:pos x="connsiteX34400" y="connsiteY34400"/>
              </a:cxn>
              <a:cxn ang="0">
                <a:pos x="connsiteX34401" y="connsiteY34401"/>
              </a:cxn>
              <a:cxn ang="0">
                <a:pos x="connsiteX34402" y="connsiteY34402"/>
              </a:cxn>
              <a:cxn ang="0">
                <a:pos x="connsiteX34403" y="connsiteY34403"/>
              </a:cxn>
              <a:cxn ang="0">
                <a:pos x="connsiteX34404" y="connsiteY34404"/>
              </a:cxn>
              <a:cxn ang="0">
                <a:pos x="connsiteX34405" y="connsiteY34405"/>
              </a:cxn>
              <a:cxn ang="0">
                <a:pos x="connsiteX34406" y="connsiteY34406"/>
              </a:cxn>
              <a:cxn ang="0">
                <a:pos x="connsiteX34407" y="connsiteY34407"/>
              </a:cxn>
              <a:cxn ang="0">
                <a:pos x="connsiteX34408" y="connsiteY34408"/>
              </a:cxn>
              <a:cxn ang="0">
                <a:pos x="connsiteX34409" y="connsiteY34409"/>
              </a:cxn>
              <a:cxn ang="0">
                <a:pos x="connsiteX34410" y="connsiteY34410"/>
              </a:cxn>
              <a:cxn ang="0">
                <a:pos x="connsiteX34411" y="connsiteY34411"/>
              </a:cxn>
              <a:cxn ang="0">
                <a:pos x="connsiteX34412" y="connsiteY34412"/>
              </a:cxn>
              <a:cxn ang="0">
                <a:pos x="connsiteX34413" y="connsiteY34413"/>
              </a:cxn>
              <a:cxn ang="0">
                <a:pos x="connsiteX34414" y="connsiteY34414"/>
              </a:cxn>
              <a:cxn ang="0">
                <a:pos x="connsiteX34415" y="connsiteY34415"/>
              </a:cxn>
              <a:cxn ang="0">
                <a:pos x="connsiteX34416" y="connsiteY34416"/>
              </a:cxn>
              <a:cxn ang="0">
                <a:pos x="connsiteX34417" y="connsiteY34417"/>
              </a:cxn>
              <a:cxn ang="0">
                <a:pos x="connsiteX34418" y="connsiteY34418"/>
              </a:cxn>
              <a:cxn ang="0">
                <a:pos x="connsiteX34419" y="connsiteY34419"/>
              </a:cxn>
              <a:cxn ang="0">
                <a:pos x="connsiteX34420" y="connsiteY34420"/>
              </a:cxn>
              <a:cxn ang="0">
                <a:pos x="connsiteX34421" y="connsiteY34421"/>
              </a:cxn>
              <a:cxn ang="0">
                <a:pos x="connsiteX34422" y="connsiteY34422"/>
              </a:cxn>
              <a:cxn ang="0">
                <a:pos x="connsiteX34423" y="connsiteY34423"/>
              </a:cxn>
              <a:cxn ang="0">
                <a:pos x="connsiteX34424" y="connsiteY34424"/>
              </a:cxn>
              <a:cxn ang="0">
                <a:pos x="connsiteX34425" y="connsiteY34425"/>
              </a:cxn>
              <a:cxn ang="0">
                <a:pos x="connsiteX34426" y="connsiteY34426"/>
              </a:cxn>
              <a:cxn ang="0">
                <a:pos x="connsiteX34427" y="connsiteY34427"/>
              </a:cxn>
              <a:cxn ang="0">
                <a:pos x="connsiteX34428" y="connsiteY34428"/>
              </a:cxn>
              <a:cxn ang="0">
                <a:pos x="connsiteX34429" y="connsiteY34429"/>
              </a:cxn>
              <a:cxn ang="0">
                <a:pos x="connsiteX34430" y="connsiteY34430"/>
              </a:cxn>
              <a:cxn ang="0">
                <a:pos x="connsiteX34431" y="connsiteY34431"/>
              </a:cxn>
              <a:cxn ang="0">
                <a:pos x="connsiteX34432" y="connsiteY34432"/>
              </a:cxn>
              <a:cxn ang="0">
                <a:pos x="connsiteX34433" y="connsiteY34433"/>
              </a:cxn>
              <a:cxn ang="0">
                <a:pos x="connsiteX34434" y="connsiteY34434"/>
              </a:cxn>
              <a:cxn ang="0">
                <a:pos x="connsiteX34435" y="connsiteY34435"/>
              </a:cxn>
              <a:cxn ang="0">
                <a:pos x="connsiteX34436" y="connsiteY34436"/>
              </a:cxn>
              <a:cxn ang="0">
                <a:pos x="connsiteX34437" y="connsiteY34437"/>
              </a:cxn>
              <a:cxn ang="0">
                <a:pos x="connsiteX34438" y="connsiteY34438"/>
              </a:cxn>
              <a:cxn ang="0">
                <a:pos x="connsiteX34439" y="connsiteY34439"/>
              </a:cxn>
              <a:cxn ang="0">
                <a:pos x="connsiteX34440" y="connsiteY34440"/>
              </a:cxn>
              <a:cxn ang="0">
                <a:pos x="connsiteX34441" y="connsiteY34441"/>
              </a:cxn>
              <a:cxn ang="0">
                <a:pos x="connsiteX34442" y="connsiteY34442"/>
              </a:cxn>
              <a:cxn ang="0">
                <a:pos x="connsiteX34443" y="connsiteY34443"/>
              </a:cxn>
              <a:cxn ang="0">
                <a:pos x="connsiteX34444" y="connsiteY34444"/>
              </a:cxn>
              <a:cxn ang="0">
                <a:pos x="connsiteX34445" y="connsiteY34445"/>
              </a:cxn>
              <a:cxn ang="0">
                <a:pos x="connsiteX34446" y="connsiteY34446"/>
              </a:cxn>
              <a:cxn ang="0">
                <a:pos x="connsiteX34447" y="connsiteY34447"/>
              </a:cxn>
              <a:cxn ang="0">
                <a:pos x="connsiteX34448" y="connsiteY34448"/>
              </a:cxn>
              <a:cxn ang="0">
                <a:pos x="connsiteX34449" y="connsiteY34449"/>
              </a:cxn>
              <a:cxn ang="0">
                <a:pos x="connsiteX34450" y="connsiteY34450"/>
              </a:cxn>
              <a:cxn ang="0">
                <a:pos x="connsiteX34451" y="connsiteY34451"/>
              </a:cxn>
              <a:cxn ang="0">
                <a:pos x="connsiteX34452" y="connsiteY34452"/>
              </a:cxn>
              <a:cxn ang="0">
                <a:pos x="connsiteX34453" y="connsiteY34453"/>
              </a:cxn>
              <a:cxn ang="0">
                <a:pos x="connsiteX34454" y="connsiteY34454"/>
              </a:cxn>
              <a:cxn ang="0">
                <a:pos x="connsiteX34455" y="connsiteY34455"/>
              </a:cxn>
              <a:cxn ang="0">
                <a:pos x="connsiteX34456" y="connsiteY34456"/>
              </a:cxn>
              <a:cxn ang="0">
                <a:pos x="connsiteX34457" y="connsiteY34457"/>
              </a:cxn>
              <a:cxn ang="0">
                <a:pos x="connsiteX34458" y="connsiteY34458"/>
              </a:cxn>
              <a:cxn ang="0">
                <a:pos x="connsiteX34459" y="connsiteY34459"/>
              </a:cxn>
              <a:cxn ang="0">
                <a:pos x="connsiteX34460" y="connsiteY34460"/>
              </a:cxn>
              <a:cxn ang="0">
                <a:pos x="connsiteX34461" y="connsiteY34461"/>
              </a:cxn>
              <a:cxn ang="0">
                <a:pos x="connsiteX34462" y="connsiteY34462"/>
              </a:cxn>
              <a:cxn ang="0">
                <a:pos x="connsiteX34463" y="connsiteY34463"/>
              </a:cxn>
              <a:cxn ang="0">
                <a:pos x="connsiteX34464" y="connsiteY34464"/>
              </a:cxn>
              <a:cxn ang="0">
                <a:pos x="connsiteX34465" y="connsiteY34465"/>
              </a:cxn>
              <a:cxn ang="0">
                <a:pos x="connsiteX34466" y="connsiteY34466"/>
              </a:cxn>
              <a:cxn ang="0">
                <a:pos x="connsiteX34467" y="connsiteY34467"/>
              </a:cxn>
              <a:cxn ang="0">
                <a:pos x="connsiteX34468" y="connsiteY34468"/>
              </a:cxn>
              <a:cxn ang="0">
                <a:pos x="connsiteX34469" y="connsiteY34469"/>
              </a:cxn>
              <a:cxn ang="0">
                <a:pos x="connsiteX34470" y="connsiteY34470"/>
              </a:cxn>
              <a:cxn ang="0">
                <a:pos x="connsiteX34471" y="connsiteY34471"/>
              </a:cxn>
              <a:cxn ang="0">
                <a:pos x="connsiteX34472" y="connsiteY34472"/>
              </a:cxn>
              <a:cxn ang="0">
                <a:pos x="connsiteX34473" y="connsiteY34473"/>
              </a:cxn>
              <a:cxn ang="0">
                <a:pos x="connsiteX34474" y="connsiteY34474"/>
              </a:cxn>
              <a:cxn ang="0">
                <a:pos x="connsiteX34475" y="connsiteY34475"/>
              </a:cxn>
              <a:cxn ang="0">
                <a:pos x="connsiteX34476" y="connsiteY34476"/>
              </a:cxn>
              <a:cxn ang="0">
                <a:pos x="connsiteX34477" y="connsiteY34477"/>
              </a:cxn>
              <a:cxn ang="0">
                <a:pos x="connsiteX34478" y="connsiteY34478"/>
              </a:cxn>
              <a:cxn ang="0">
                <a:pos x="connsiteX34479" y="connsiteY34479"/>
              </a:cxn>
              <a:cxn ang="0">
                <a:pos x="connsiteX34480" y="connsiteY34480"/>
              </a:cxn>
              <a:cxn ang="0">
                <a:pos x="connsiteX34481" y="connsiteY34481"/>
              </a:cxn>
              <a:cxn ang="0">
                <a:pos x="connsiteX34482" y="connsiteY34482"/>
              </a:cxn>
              <a:cxn ang="0">
                <a:pos x="connsiteX34483" y="connsiteY34483"/>
              </a:cxn>
              <a:cxn ang="0">
                <a:pos x="connsiteX34484" y="connsiteY34484"/>
              </a:cxn>
              <a:cxn ang="0">
                <a:pos x="connsiteX34485" y="connsiteY34485"/>
              </a:cxn>
              <a:cxn ang="0">
                <a:pos x="connsiteX34486" y="connsiteY34486"/>
              </a:cxn>
              <a:cxn ang="0">
                <a:pos x="connsiteX34487" y="connsiteY34487"/>
              </a:cxn>
              <a:cxn ang="0">
                <a:pos x="connsiteX34488" y="connsiteY34488"/>
              </a:cxn>
              <a:cxn ang="0">
                <a:pos x="connsiteX34489" y="connsiteY34489"/>
              </a:cxn>
              <a:cxn ang="0">
                <a:pos x="connsiteX34490" y="connsiteY34490"/>
              </a:cxn>
              <a:cxn ang="0">
                <a:pos x="connsiteX34491" y="connsiteY34491"/>
              </a:cxn>
              <a:cxn ang="0">
                <a:pos x="connsiteX34492" y="connsiteY34492"/>
              </a:cxn>
              <a:cxn ang="0">
                <a:pos x="connsiteX34493" y="connsiteY34493"/>
              </a:cxn>
              <a:cxn ang="0">
                <a:pos x="connsiteX34494" y="connsiteY34494"/>
              </a:cxn>
              <a:cxn ang="0">
                <a:pos x="connsiteX34495" y="connsiteY34495"/>
              </a:cxn>
              <a:cxn ang="0">
                <a:pos x="connsiteX34496" y="connsiteY34496"/>
              </a:cxn>
              <a:cxn ang="0">
                <a:pos x="connsiteX34497" y="connsiteY34497"/>
              </a:cxn>
              <a:cxn ang="0">
                <a:pos x="connsiteX34498" y="connsiteY34498"/>
              </a:cxn>
              <a:cxn ang="0">
                <a:pos x="connsiteX34499" y="connsiteY34499"/>
              </a:cxn>
              <a:cxn ang="0">
                <a:pos x="connsiteX34500" y="connsiteY34500"/>
              </a:cxn>
              <a:cxn ang="0">
                <a:pos x="connsiteX34501" y="connsiteY34501"/>
              </a:cxn>
              <a:cxn ang="0">
                <a:pos x="connsiteX34502" y="connsiteY34502"/>
              </a:cxn>
              <a:cxn ang="0">
                <a:pos x="connsiteX34503" y="connsiteY34503"/>
              </a:cxn>
              <a:cxn ang="0">
                <a:pos x="connsiteX34504" y="connsiteY34504"/>
              </a:cxn>
              <a:cxn ang="0">
                <a:pos x="connsiteX34505" y="connsiteY34505"/>
              </a:cxn>
              <a:cxn ang="0">
                <a:pos x="connsiteX34506" y="connsiteY34506"/>
              </a:cxn>
              <a:cxn ang="0">
                <a:pos x="connsiteX34507" y="connsiteY34507"/>
              </a:cxn>
              <a:cxn ang="0">
                <a:pos x="connsiteX34508" y="connsiteY34508"/>
              </a:cxn>
              <a:cxn ang="0">
                <a:pos x="connsiteX34509" y="connsiteY34509"/>
              </a:cxn>
              <a:cxn ang="0">
                <a:pos x="connsiteX34510" y="connsiteY34510"/>
              </a:cxn>
              <a:cxn ang="0">
                <a:pos x="connsiteX34511" y="connsiteY34511"/>
              </a:cxn>
              <a:cxn ang="0">
                <a:pos x="connsiteX34512" y="connsiteY34512"/>
              </a:cxn>
              <a:cxn ang="0">
                <a:pos x="connsiteX34513" y="connsiteY34513"/>
              </a:cxn>
              <a:cxn ang="0">
                <a:pos x="connsiteX34514" y="connsiteY34514"/>
              </a:cxn>
              <a:cxn ang="0">
                <a:pos x="connsiteX34515" y="connsiteY34515"/>
              </a:cxn>
              <a:cxn ang="0">
                <a:pos x="connsiteX34516" y="connsiteY34516"/>
              </a:cxn>
              <a:cxn ang="0">
                <a:pos x="connsiteX34517" y="connsiteY34517"/>
              </a:cxn>
              <a:cxn ang="0">
                <a:pos x="connsiteX34518" y="connsiteY34518"/>
              </a:cxn>
              <a:cxn ang="0">
                <a:pos x="connsiteX34519" y="connsiteY34519"/>
              </a:cxn>
              <a:cxn ang="0">
                <a:pos x="connsiteX34520" y="connsiteY34520"/>
              </a:cxn>
              <a:cxn ang="0">
                <a:pos x="connsiteX34521" y="connsiteY34521"/>
              </a:cxn>
              <a:cxn ang="0">
                <a:pos x="connsiteX34522" y="connsiteY34522"/>
              </a:cxn>
              <a:cxn ang="0">
                <a:pos x="connsiteX34523" y="connsiteY34523"/>
              </a:cxn>
              <a:cxn ang="0">
                <a:pos x="connsiteX34524" y="connsiteY34524"/>
              </a:cxn>
              <a:cxn ang="0">
                <a:pos x="connsiteX34525" y="connsiteY34525"/>
              </a:cxn>
              <a:cxn ang="0">
                <a:pos x="connsiteX34526" y="connsiteY34526"/>
              </a:cxn>
              <a:cxn ang="0">
                <a:pos x="connsiteX34527" y="connsiteY34527"/>
              </a:cxn>
              <a:cxn ang="0">
                <a:pos x="connsiteX34528" y="connsiteY34528"/>
              </a:cxn>
              <a:cxn ang="0">
                <a:pos x="connsiteX34529" y="connsiteY34529"/>
              </a:cxn>
              <a:cxn ang="0">
                <a:pos x="connsiteX34530" y="connsiteY34530"/>
              </a:cxn>
              <a:cxn ang="0">
                <a:pos x="connsiteX34531" y="connsiteY34531"/>
              </a:cxn>
              <a:cxn ang="0">
                <a:pos x="connsiteX34532" y="connsiteY34532"/>
              </a:cxn>
              <a:cxn ang="0">
                <a:pos x="connsiteX34533" y="connsiteY34533"/>
              </a:cxn>
              <a:cxn ang="0">
                <a:pos x="connsiteX34534" y="connsiteY34534"/>
              </a:cxn>
              <a:cxn ang="0">
                <a:pos x="connsiteX34535" y="connsiteY34535"/>
              </a:cxn>
              <a:cxn ang="0">
                <a:pos x="connsiteX34536" y="connsiteY34536"/>
              </a:cxn>
              <a:cxn ang="0">
                <a:pos x="connsiteX34537" y="connsiteY34537"/>
              </a:cxn>
              <a:cxn ang="0">
                <a:pos x="connsiteX34538" y="connsiteY34538"/>
              </a:cxn>
              <a:cxn ang="0">
                <a:pos x="connsiteX34539" y="connsiteY34539"/>
              </a:cxn>
              <a:cxn ang="0">
                <a:pos x="connsiteX34540" y="connsiteY34540"/>
              </a:cxn>
              <a:cxn ang="0">
                <a:pos x="connsiteX34541" y="connsiteY34541"/>
              </a:cxn>
              <a:cxn ang="0">
                <a:pos x="connsiteX34542" y="connsiteY34542"/>
              </a:cxn>
              <a:cxn ang="0">
                <a:pos x="connsiteX34543" y="connsiteY34543"/>
              </a:cxn>
              <a:cxn ang="0">
                <a:pos x="connsiteX34544" y="connsiteY34544"/>
              </a:cxn>
              <a:cxn ang="0">
                <a:pos x="connsiteX34545" y="connsiteY34545"/>
              </a:cxn>
              <a:cxn ang="0">
                <a:pos x="connsiteX34546" y="connsiteY34546"/>
              </a:cxn>
              <a:cxn ang="0">
                <a:pos x="connsiteX34547" y="connsiteY34547"/>
              </a:cxn>
              <a:cxn ang="0">
                <a:pos x="connsiteX34548" y="connsiteY34548"/>
              </a:cxn>
              <a:cxn ang="0">
                <a:pos x="connsiteX34549" y="connsiteY34549"/>
              </a:cxn>
              <a:cxn ang="0">
                <a:pos x="connsiteX34550" y="connsiteY34550"/>
              </a:cxn>
              <a:cxn ang="0">
                <a:pos x="connsiteX34551" y="connsiteY34551"/>
              </a:cxn>
              <a:cxn ang="0">
                <a:pos x="connsiteX34552" y="connsiteY34552"/>
              </a:cxn>
              <a:cxn ang="0">
                <a:pos x="connsiteX34553" y="connsiteY34553"/>
              </a:cxn>
              <a:cxn ang="0">
                <a:pos x="connsiteX34554" y="connsiteY34554"/>
              </a:cxn>
              <a:cxn ang="0">
                <a:pos x="connsiteX34555" y="connsiteY34555"/>
              </a:cxn>
              <a:cxn ang="0">
                <a:pos x="connsiteX34556" y="connsiteY34556"/>
              </a:cxn>
              <a:cxn ang="0">
                <a:pos x="connsiteX34557" y="connsiteY34557"/>
              </a:cxn>
              <a:cxn ang="0">
                <a:pos x="connsiteX34558" y="connsiteY34558"/>
              </a:cxn>
              <a:cxn ang="0">
                <a:pos x="connsiteX34559" y="connsiteY34559"/>
              </a:cxn>
              <a:cxn ang="0">
                <a:pos x="connsiteX34560" y="connsiteY34560"/>
              </a:cxn>
              <a:cxn ang="0">
                <a:pos x="connsiteX34561" y="connsiteY34561"/>
              </a:cxn>
              <a:cxn ang="0">
                <a:pos x="connsiteX34562" y="connsiteY34562"/>
              </a:cxn>
              <a:cxn ang="0">
                <a:pos x="connsiteX34563" y="connsiteY34563"/>
              </a:cxn>
              <a:cxn ang="0">
                <a:pos x="connsiteX34564" y="connsiteY34564"/>
              </a:cxn>
              <a:cxn ang="0">
                <a:pos x="connsiteX34565" y="connsiteY34565"/>
              </a:cxn>
              <a:cxn ang="0">
                <a:pos x="connsiteX34566" y="connsiteY34566"/>
              </a:cxn>
              <a:cxn ang="0">
                <a:pos x="connsiteX34567" y="connsiteY34567"/>
              </a:cxn>
              <a:cxn ang="0">
                <a:pos x="connsiteX34568" y="connsiteY34568"/>
              </a:cxn>
              <a:cxn ang="0">
                <a:pos x="connsiteX34569" y="connsiteY34569"/>
              </a:cxn>
              <a:cxn ang="0">
                <a:pos x="connsiteX34570" y="connsiteY34570"/>
              </a:cxn>
              <a:cxn ang="0">
                <a:pos x="connsiteX34571" y="connsiteY34571"/>
              </a:cxn>
              <a:cxn ang="0">
                <a:pos x="connsiteX34572" y="connsiteY34572"/>
              </a:cxn>
              <a:cxn ang="0">
                <a:pos x="connsiteX34573" y="connsiteY34573"/>
              </a:cxn>
              <a:cxn ang="0">
                <a:pos x="connsiteX34574" y="connsiteY34574"/>
              </a:cxn>
              <a:cxn ang="0">
                <a:pos x="connsiteX34575" y="connsiteY34575"/>
              </a:cxn>
              <a:cxn ang="0">
                <a:pos x="connsiteX34576" y="connsiteY34576"/>
              </a:cxn>
              <a:cxn ang="0">
                <a:pos x="connsiteX34577" y="connsiteY34577"/>
              </a:cxn>
              <a:cxn ang="0">
                <a:pos x="connsiteX34578" y="connsiteY34578"/>
              </a:cxn>
              <a:cxn ang="0">
                <a:pos x="connsiteX34579" y="connsiteY34579"/>
              </a:cxn>
              <a:cxn ang="0">
                <a:pos x="connsiteX34580" y="connsiteY34580"/>
              </a:cxn>
              <a:cxn ang="0">
                <a:pos x="connsiteX34581" y="connsiteY34581"/>
              </a:cxn>
              <a:cxn ang="0">
                <a:pos x="connsiteX34582" y="connsiteY34582"/>
              </a:cxn>
              <a:cxn ang="0">
                <a:pos x="connsiteX34583" y="connsiteY34583"/>
              </a:cxn>
              <a:cxn ang="0">
                <a:pos x="connsiteX34584" y="connsiteY34584"/>
              </a:cxn>
              <a:cxn ang="0">
                <a:pos x="connsiteX34585" y="connsiteY34585"/>
              </a:cxn>
              <a:cxn ang="0">
                <a:pos x="connsiteX34586" y="connsiteY34586"/>
              </a:cxn>
              <a:cxn ang="0">
                <a:pos x="connsiteX34587" y="connsiteY34587"/>
              </a:cxn>
              <a:cxn ang="0">
                <a:pos x="connsiteX34588" y="connsiteY34588"/>
              </a:cxn>
              <a:cxn ang="0">
                <a:pos x="connsiteX34589" y="connsiteY34589"/>
              </a:cxn>
              <a:cxn ang="0">
                <a:pos x="connsiteX34590" y="connsiteY34590"/>
              </a:cxn>
              <a:cxn ang="0">
                <a:pos x="connsiteX34591" y="connsiteY34591"/>
              </a:cxn>
              <a:cxn ang="0">
                <a:pos x="connsiteX34592" y="connsiteY34592"/>
              </a:cxn>
              <a:cxn ang="0">
                <a:pos x="connsiteX34593" y="connsiteY34593"/>
              </a:cxn>
              <a:cxn ang="0">
                <a:pos x="connsiteX34594" y="connsiteY34594"/>
              </a:cxn>
              <a:cxn ang="0">
                <a:pos x="connsiteX34595" y="connsiteY34595"/>
              </a:cxn>
              <a:cxn ang="0">
                <a:pos x="connsiteX34596" y="connsiteY34596"/>
              </a:cxn>
              <a:cxn ang="0">
                <a:pos x="connsiteX34597" y="connsiteY34597"/>
              </a:cxn>
              <a:cxn ang="0">
                <a:pos x="connsiteX34598" y="connsiteY34598"/>
              </a:cxn>
              <a:cxn ang="0">
                <a:pos x="connsiteX34599" y="connsiteY34599"/>
              </a:cxn>
              <a:cxn ang="0">
                <a:pos x="connsiteX34600" y="connsiteY34600"/>
              </a:cxn>
              <a:cxn ang="0">
                <a:pos x="connsiteX34601" y="connsiteY34601"/>
              </a:cxn>
              <a:cxn ang="0">
                <a:pos x="connsiteX34602" y="connsiteY34602"/>
              </a:cxn>
              <a:cxn ang="0">
                <a:pos x="connsiteX34603" y="connsiteY34603"/>
              </a:cxn>
              <a:cxn ang="0">
                <a:pos x="connsiteX34604" y="connsiteY34604"/>
              </a:cxn>
              <a:cxn ang="0">
                <a:pos x="connsiteX34605" y="connsiteY34605"/>
              </a:cxn>
              <a:cxn ang="0">
                <a:pos x="connsiteX34606" y="connsiteY34606"/>
              </a:cxn>
              <a:cxn ang="0">
                <a:pos x="connsiteX34607" y="connsiteY34607"/>
              </a:cxn>
              <a:cxn ang="0">
                <a:pos x="connsiteX34608" y="connsiteY34608"/>
              </a:cxn>
              <a:cxn ang="0">
                <a:pos x="connsiteX34609" y="connsiteY34609"/>
              </a:cxn>
              <a:cxn ang="0">
                <a:pos x="connsiteX34610" y="connsiteY34610"/>
              </a:cxn>
              <a:cxn ang="0">
                <a:pos x="connsiteX34611" y="connsiteY34611"/>
              </a:cxn>
              <a:cxn ang="0">
                <a:pos x="connsiteX34612" y="connsiteY34612"/>
              </a:cxn>
              <a:cxn ang="0">
                <a:pos x="connsiteX34613" y="connsiteY34613"/>
              </a:cxn>
              <a:cxn ang="0">
                <a:pos x="connsiteX34614" y="connsiteY34614"/>
              </a:cxn>
              <a:cxn ang="0">
                <a:pos x="connsiteX34615" y="connsiteY34615"/>
              </a:cxn>
              <a:cxn ang="0">
                <a:pos x="connsiteX34616" y="connsiteY34616"/>
              </a:cxn>
              <a:cxn ang="0">
                <a:pos x="connsiteX34617" y="connsiteY34617"/>
              </a:cxn>
              <a:cxn ang="0">
                <a:pos x="connsiteX34618" y="connsiteY34618"/>
              </a:cxn>
              <a:cxn ang="0">
                <a:pos x="connsiteX34619" y="connsiteY34619"/>
              </a:cxn>
              <a:cxn ang="0">
                <a:pos x="connsiteX34620" y="connsiteY34620"/>
              </a:cxn>
              <a:cxn ang="0">
                <a:pos x="connsiteX34621" y="connsiteY34621"/>
              </a:cxn>
              <a:cxn ang="0">
                <a:pos x="connsiteX34622" y="connsiteY34622"/>
              </a:cxn>
              <a:cxn ang="0">
                <a:pos x="connsiteX34623" y="connsiteY34623"/>
              </a:cxn>
              <a:cxn ang="0">
                <a:pos x="connsiteX34624" y="connsiteY34624"/>
              </a:cxn>
              <a:cxn ang="0">
                <a:pos x="connsiteX34625" y="connsiteY34625"/>
              </a:cxn>
              <a:cxn ang="0">
                <a:pos x="connsiteX34626" y="connsiteY34626"/>
              </a:cxn>
              <a:cxn ang="0">
                <a:pos x="connsiteX34627" y="connsiteY34627"/>
              </a:cxn>
              <a:cxn ang="0">
                <a:pos x="connsiteX34628" y="connsiteY34628"/>
              </a:cxn>
              <a:cxn ang="0">
                <a:pos x="connsiteX34629" y="connsiteY34629"/>
              </a:cxn>
              <a:cxn ang="0">
                <a:pos x="connsiteX34630" y="connsiteY34630"/>
              </a:cxn>
              <a:cxn ang="0">
                <a:pos x="connsiteX34631" y="connsiteY34631"/>
              </a:cxn>
              <a:cxn ang="0">
                <a:pos x="connsiteX34632" y="connsiteY34632"/>
              </a:cxn>
              <a:cxn ang="0">
                <a:pos x="connsiteX34633" y="connsiteY34633"/>
              </a:cxn>
              <a:cxn ang="0">
                <a:pos x="connsiteX34634" y="connsiteY34634"/>
              </a:cxn>
              <a:cxn ang="0">
                <a:pos x="connsiteX34635" y="connsiteY34635"/>
              </a:cxn>
              <a:cxn ang="0">
                <a:pos x="connsiteX34636" y="connsiteY34636"/>
              </a:cxn>
              <a:cxn ang="0">
                <a:pos x="connsiteX34637" y="connsiteY34637"/>
              </a:cxn>
              <a:cxn ang="0">
                <a:pos x="connsiteX34638" y="connsiteY34638"/>
              </a:cxn>
              <a:cxn ang="0">
                <a:pos x="connsiteX34639" y="connsiteY34639"/>
              </a:cxn>
              <a:cxn ang="0">
                <a:pos x="connsiteX34640" y="connsiteY34640"/>
              </a:cxn>
              <a:cxn ang="0">
                <a:pos x="connsiteX34641" y="connsiteY34641"/>
              </a:cxn>
              <a:cxn ang="0">
                <a:pos x="connsiteX34642" y="connsiteY34642"/>
              </a:cxn>
              <a:cxn ang="0">
                <a:pos x="connsiteX34643" y="connsiteY34643"/>
              </a:cxn>
              <a:cxn ang="0">
                <a:pos x="connsiteX34644" y="connsiteY34644"/>
              </a:cxn>
              <a:cxn ang="0">
                <a:pos x="connsiteX34645" y="connsiteY34645"/>
              </a:cxn>
              <a:cxn ang="0">
                <a:pos x="connsiteX34646" y="connsiteY34646"/>
              </a:cxn>
              <a:cxn ang="0">
                <a:pos x="connsiteX34647" y="connsiteY34647"/>
              </a:cxn>
              <a:cxn ang="0">
                <a:pos x="connsiteX34648" y="connsiteY34648"/>
              </a:cxn>
              <a:cxn ang="0">
                <a:pos x="connsiteX34649" y="connsiteY34649"/>
              </a:cxn>
              <a:cxn ang="0">
                <a:pos x="connsiteX34650" y="connsiteY34650"/>
              </a:cxn>
              <a:cxn ang="0">
                <a:pos x="connsiteX34651" y="connsiteY34651"/>
              </a:cxn>
              <a:cxn ang="0">
                <a:pos x="connsiteX34652" y="connsiteY34652"/>
              </a:cxn>
              <a:cxn ang="0">
                <a:pos x="connsiteX34653" y="connsiteY34653"/>
              </a:cxn>
              <a:cxn ang="0">
                <a:pos x="connsiteX34654" y="connsiteY34654"/>
              </a:cxn>
              <a:cxn ang="0">
                <a:pos x="connsiteX34655" y="connsiteY34655"/>
              </a:cxn>
              <a:cxn ang="0">
                <a:pos x="connsiteX34656" y="connsiteY34656"/>
              </a:cxn>
              <a:cxn ang="0">
                <a:pos x="connsiteX34657" y="connsiteY34657"/>
              </a:cxn>
              <a:cxn ang="0">
                <a:pos x="connsiteX34658" y="connsiteY34658"/>
              </a:cxn>
              <a:cxn ang="0">
                <a:pos x="connsiteX34659" y="connsiteY34659"/>
              </a:cxn>
              <a:cxn ang="0">
                <a:pos x="connsiteX34660" y="connsiteY34660"/>
              </a:cxn>
              <a:cxn ang="0">
                <a:pos x="connsiteX34661" y="connsiteY34661"/>
              </a:cxn>
              <a:cxn ang="0">
                <a:pos x="connsiteX34662" y="connsiteY34662"/>
              </a:cxn>
              <a:cxn ang="0">
                <a:pos x="connsiteX34663" y="connsiteY34663"/>
              </a:cxn>
              <a:cxn ang="0">
                <a:pos x="connsiteX34664" y="connsiteY34664"/>
              </a:cxn>
              <a:cxn ang="0">
                <a:pos x="connsiteX34665" y="connsiteY34665"/>
              </a:cxn>
              <a:cxn ang="0">
                <a:pos x="connsiteX34666" y="connsiteY34666"/>
              </a:cxn>
              <a:cxn ang="0">
                <a:pos x="connsiteX34667" y="connsiteY34667"/>
              </a:cxn>
              <a:cxn ang="0">
                <a:pos x="connsiteX34668" y="connsiteY34668"/>
              </a:cxn>
              <a:cxn ang="0">
                <a:pos x="connsiteX34669" y="connsiteY34669"/>
              </a:cxn>
              <a:cxn ang="0">
                <a:pos x="connsiteX34670" y="connsiteY34670"/>
              </a:cxn>
              <a:cxn ang="0">
                <a:pos x="connsiteX34671" y="connsiteY34671"/>
              </a:cxn>
              <a:cxn ang="0">
                <a:pos x="connsiteX34672" y="connsiteY34672"/>
              </a:cxn>
              <a:cxn ang="0">
                <a:pos x="connsiteX34673" y="connsiteY34673"/>
              </a:cxn>
              <a:cxn ang="0">
                <a:pos x="connsiteX34674" y="connsiteY34674"/>
              </a:cxn>
              <a:cxn ang="0">
                <a:pos x="connsiteX34675" y="connsiteY34675"/>
              </a:cxn>
              <a:cxn ang="0">
                <a:pos x="connsiteX34676" y="connsiteY34676"/>
              </a:cxn>
              <a:cxn ang="0">
                <a:pos x="connsiteX34677" y="connsiteY34677"/>
              </a:cxn>
              <a:cxn ang="0">
                <a:pos x="connsiteX34678" y="connsiteY34678"/>
              </a:cxn>
              <a:cxn ang="0">
                <a:pos x="connsiteX34679" y="connsiteY34679"/>
              </a:cxn>
              <a:cxn ang="0">
                <a:pos x="connsiteX34680" y="connsiteY34680"/>
              </a:cxn>
              <a:cxn ang="0">
                <a:pos x="connsiteX34681" y="connsiteY34681"/>
              </a:cxn>
              <a:cxn ang="0">
                <a:pos x="connsiteX34682" y="connsiteY34682"/>
              </a:cxn>
              <a:cxn ang="0">
                <a:pos x="connsiteX34683" y="connsiteY34683"/>
              </a:cxn>
              <a:cxn ang="0">
                <a:pos x="connsiteX34684" y="connsiteY34684"/>
              </a:cxn>
              <a:cxn ang="0">
                <a:pos x="connsiteX34685" y="connsiteY34685"/>
              </a:cxn>
              <a:cxn ang="0">
                <a:pos x="connsiteX34686" y="connsiteY34686"/>
              </a:cxn>
              <a:cxn ang="0">
                <a:pos x="connsiteX34687" y="connsiteY34687"/>
              </a:cxn>
              <a:cxn ang="0">
                <a:pos x="connsiteX34688" y="connsiteY34688"/>
              </a:cxn>
              <a:cxn ang="0">
                <a:pos x="connsiteX34689" y="connsiteY34689"/>
              </a:cxn>
              <a:cxn ang="0">
                <a:pos x="connsiteX34690" y="connsiteY34690"/>
              </a:cxn>
              <a:cxn ang="0">
                <a:pos x="connsiteX34691" y="connsiteY34691"/>
              </a:cxn>
              <a:cxn ang="0">
                <a:pos x="connsiteX34692" y="connsiteY34692"/>
              </a:cxn>
              <a:cxn ang="0">
                <a:pos x="connsiteX34693" y="connsiteY34693"/>
              </a:cxn>
              <a:cxn ang="0">
                <a:pos x="connsiteX34694" y="connsiteY34694"/>
              </a:cxn>
              <a:cxn ang="0">
                <a:pos x="connsiteX34695" y="connsiteY34695"/>
              </a:cxn>
              <a:cxn ang="0">
                <a:pos x="connsiteX34696" y="connsiteY34696"/>
              </a:cxn>
              <a:cxn ang="0">
                <a:pos x="connsiteX34697" y="connsiteY34697"/>
              </a:cxn>
              <a:cxn ang="0">
                <a:pos x="connsiteX34698" y="connsiteY34698"/>
              </a:cxn>
              <a:cxn ang="0">
                <a:pos x="connsiteX34699" y="connsiteY34699"/>
              </a:cxn>
              <a:cxn ang="0">
                <a:pos x="connsiteX34700" y="connsiteY34700"/>
              </a:cxn>
              <a:cxn ang="0">
                <a:pos x="connsiteX34701" y="connsiteY34701"/>
              </a:cxn>
              <a:cxn ang="0">
                <a:pos x="connsiteX34702" y="connsiteY34702"/>
              </a:cxn>
              <a:cxn ang="0">
                <a:pos x="connsiteX34703" y="connsiteY34703"/>
              </a:cxn>
              <a:cxn ang="0">
                <a:pos x="connsiteX34704" y="connsiteY34704"/>
              </a:cxn>
              <a:cxn ang="0">
                <a:pos x="connsiteX34705" y="connsiteY34705"/>
              </a:cxn>
              <a:cxn ang="0">
                <a:pos x="connsiteX34706" y="connsiteY34706"/>
              </a:cxn>
              <a:cxn ang="0">
                <a:pos x="connsiteX34707" y="connsiteY34707"/>
              </a:cxn>
              <a:cxn ang="0">
                <a:pos x="connsiteX34708" y="connsiteY34708"/>
              </a:cxn>
              <a:cxn ang="0">
                <a:pos x="connsiteX34709" y="connsiteY34709"/>
              </a:cxn>
              <a:cxn ang="0">
                <a:pos x="connsiteX34710" y="connsiteY34710"/>
              </a:cxn>
              <a:cxn ang="0">
                <a:pos x="connsiteX34711" y="connsiteY34711"/>
              </a:cxn>
              <a:cxn ang="0">
                <a:pos x="connsiteX34712" y="connsiteY34712"/>
              </a:cxn>
              <a:cxn ang="0">
                <a:pos x="connsiteX34713" y="connsiteY34713"/>
              </a:cxn>
              <a:cxn ang="0">
                <a:pos x="connsiteX34714" y="connsiteY34714"/>
              </a:cxn>
              <a:cxn ang="0">
                <a:pos x="connsiteX34715" y="connsiteY34715"/>
              </a:cxn>
              <a:cxn ang="0">
                <a:pos x="connsiteX34716" y="connsiteY34716"/>
              </a:cxn>
              <a:cxn ang="0">
                <a:pos x="connsiteX34717" y="connsiteY34717"/>
              </a:cxn>
              <a:cxn ang="0">
                <a:pos x="connsiteX34718" y="connsiteY34718"/>
              </a:cxn>
              <a:cxn ang="0">
                <a:pos x="connsiteX34719" y="connsiteY34719"/>
              </a:cxn>
              <a:cxn ang="0">
                <a:pos x="connsiteX34720" y="connsiteY34720"/>
              </a:cxn>
              <a:cxn ang="0">
                <a:pos x="connsiteX34721" y="connsiteY34721"/>
              </a:cxn>
              <a:cxn ang="0">
                <a:pos x="connsiteX34722" y="connsiteY34722"/>
              </a:cxn>
              <a:cxn ang="0">
                <a:pos x="connsiteX34723" y="connsiteY34723"/>
              </a:cxn>
              <a:cxn ang="0">
                <a:pos x="connsiteX34724" y="connsiteY34724"/>
              </a:cxn>
              <a:cxn ang="0">
                <a:pos x="connsiteX34725" y="connsiteY34725"/>
              </a:cxn>
              <a:cxn ang="0">
                <a:pos x="connsiteX34726" y="connsiteY34726"/>
              </a:cxn>
              <a:cxn ang="0">
                <a:pos x="connsiteX34727" y="connsiteY34727"/>
              </a:cxn>
              <a:cxn ang="0">
                <a:pos x="connsiteX34728" y="connsiteY34728"/>
              </a:cxn>
              <a:cxn ang="0">
                <a:pos x="connsiteX34729" y="connsiteY34729"/>
              </a:cxn>
              <a:cxn ang="0">
                <a:pos x="connsiteX34730" y="connsiteY34730"/>
              </a:cxn>
              <a:cxn ang="0">
                <a:pos x="connsiteX34731" y="connsiteY34731"/>
              </a:cxn>
              <a:cxn ang="0">
                <a:pos x="connsiteX34732" y="connsiteY34732"/>
              </a:cxn>
              <a:cxn ang="0">
                <a:pos x="connsiteX34733" y="connsiteY34733"/>
              </a:cxn>
              <a:cxn ang="0">
                <a:pos x="connsiteX34734" y="connsiteY34734"/>
              </a:cxn>
              <a:cxn ang="0">
                <a:pos x="connsiteX34735" y="connsiteY34735"/>
              </a:cxn>
              <a:cxn ang="0">
                <a:pos x="connsiteX34736" y="connsiteY34736"/>
              </a:cxn>
              <a:cxn ang="0">
                <a:pos x="connsiteX34737" y="connsiteY34737"/>
              </a:cxn>
              <a:cxn ang="0">
                <a:pos x="connsiteX34738" y="connsiteY34738"/>
              </a:cxn>
              <a:cxn ang="0">
                <a:pos x="connsiteX34739" y="connsiteY34739"/>
              </a:cxn>
              <a:cxn ang="0">
                <a:pos x="connsiteX34740" y="connsiteY34740"/>
              </a:cxn>
              <a:cxn ang="0">
                <a:pos x="connsiteX34741" y="connsiteY34741"/>
              </a:cxn>
              <a:cxn ang="0">
                <a:pos x="connsiteX34742" y="connsiteY34742"/>
              </a:cxn>
              <a:cxn ang="0">
                <a:pos x="connsiteX34743" y="connsiteY34743"/>
              </a:cxn>
              <a:cxn ang="0">
                <a:pos x="connsiteX34744" y="connsiteY34744"/>
              </a:cxn>
              <a:cxn ang="0">
                <a:pos x="connsiteX34745" y="connsiteY34745"/>
              </a:cxn>
              <a:cxn ang="0">
                <a:pos x="connsiteX34746" y="connsiteY34746"/>
              </a:cxn>
              <a:cxn ang="0">
                <a:pos x="connsiteX34747" y="connsiteY34747"/>
              </a:cxn>
              <a:cxn ang="0">
                <a:pos x="connsiteX34748" y="connsiteY34748"/>
              </a:cxn>
              <a:cxn ang="0">
                <a:pos x="connsiteX34749" y="connsiteY34749"/>
              </a:cxn>
              <a:cxn ang="0">
                <a:pos x="connsiteX34750" y="connsiteY34750"/>
              </a:cxn>
              <a:cxn ang="0">
                <a:pos x="connsiteX34751" y="connsiteY34751"/>
              </a:cxn>
              <a:cxn ang="0">
                <a:pos x="connsiteX34752" y="connsiteY34752"/>
              </a:cxn>
              <a:cxn ang="0">
                <a:pos x="connsiteX34753" y="connsiteY34753"/>
              </a:cxn>
              <a:cxn ang="0">
                <a:pos x="connsiteX34754" y="connsiteY34754"/>
              </a:cxn>
              <a:cxn ang="0">
                <a:pos x="connsiteX34755" y="connsiteY34755"/>
              </a:cxn>
              <a:cxn ang="0">
                <a:pos x="connsiteX34756" y="connsiteY34756"/>
              </a:cxn>
              <a:cxn ang="0">
                <a:pos x="connsiteX34757" y="connsiteY34757"/>
              </a:cxn>
              <a:cxn ang="0">
                <a:pos x="connsiteX34758" y="connsiteY34758"/>
              </a:cxn>
              <a:cxn ang="0">
                <a:pos x="connsiteX34759" y="connsiteY34759"/>
              </a:cxn>
              <a:cxn ang="0">
                <a:pos x="connsiteX34760" y="connsiteY34760"/>
              </a:cxn>
              <a:cxn ang="0">
                <a:pos x="connsiteX34761" y="connsiteY34761"/>
              </a:cxn>
              <a:cxn ang="0">
                <a:pos x="connsiteX34762" y="connsiteY34762"/>
              </a:cxn>
              <a:cxn ang="0">
                <a:pos x="connsiteX34763" y="connsiteY34763"/>
              </a:cxn>
              <a:cxn ang="0">
                <a:pos x="connsiteX34764" y="connsiteY34764"/>
              </a:cxn>
              <a:cxn ang="0">
                <a:pos x="connsiteX34765" y="connsiteY34765"/>
              </a:cxn>
              <a:cxn ang="0">
                <a:pos x="connsiteX34766" y="connsiteY34766"/>
              </a:cxn>
              <a:cxn ang="0">
                <a:pos x="connsiteX34767" y="connsiteY34767"/>
              </a:cxn>
              <a:cxn ang="0">
                <a:pos x="connsiteX34768" y="connsiteY34768"/>
              </a:cxn>
              <a:cxn ang="0">
                <a:pos x="connsiteX34769" y="connsiteY34769"/>
              </a:cxn>
              <a:cxn ang="0">
                <a:pos x="connsiteX34770" y="connsiteY34770"/>
              </a:cxn>
              <a:cxn ang="0">
                <a:pos x="connsiteX34771" y="connsiteY34771"/>
              </a:cxn>
              <a:cxn ang="0">
                <a:pos x="connsiteX34772" y="connsiteY34772"/>
              </a:cxn>
              <a:cxn ang="0">
                <a:pos x="connsiteX34773" y="connsiteY34773"/>
              </a:cxn>
              <a:cxn ang="0">
                <a:pos x="connsiteX34774" y="connsiteY34774"/>
              </a:cxn>
              <a:cxn ang="0">
                <a:pos x="connsiteX34775" y="connsiteY34775"/>
              </a:cxn>
              <a:cxn ang="0">
                <a:pos x="connsiteX34776" y="connsiteY34776"/>
              </a:cxn>
              <a:cxn ang="0">
                <a:pos x="connsiteX34777" y="connsiteY34777"/>
              </a:cxn>
              <a:cxn ang="0">
                <a:pos x="connsiteX34778" y="connsiteY34778"/>
              </a:cxn>
              <a:cxn ang="0">
                <a:pos x="connsiteX34779" y="connsiteY34779"/>
              </a:cxn>
              <a:cxn ang="0">
                <a:pos x="connsiteX34780" y="connsiteY34780"/>
              </a:cxn>
              <a:cxn ang="0">
                <a:pos x="connsiteX34781" y="connsiteY34781"/>
              </a:cxn>
              <a:cxn ang="0">
                <a:pos x="connsiteX34782" y="connsiteY34782"/>
              </a:cxn>
              <a:cxn ang="0">
                <a:pos x="connsiteX34783" y="connsiteY34783"/>
              </a:cxn>
              <a:cxn ang="0">
                <a:pos x="connsiteX34784" y="connsiteY34784"/>
              </a:cxn>
              <a:cxn ang="0">
                <a:pos x="connsiteX34785" y="connsiteY34785"/>
              </a:cxn>
              <a:cxn ang="0">
                <a:pos x="connsiteX34786" y="connsiteY34786"/>
              </a:cxn>
              <a:cxn ang="0">
                <a:pos x="connsiteX34787" y="connsiteY34787"/>
              </a:cxn>
              <a:cxn ang="0">
                <a:pos x="connsiteX34788" y="connsiteY34788"/>
              </a:cxn>
              <a:cxn ang="0">
                <a:pos x="connsiteX34789" y="connsiteY34789"/>
              </a:cxn>
              <a:cxn ang="0">
                <a:pos x="connsiteX34790" y="connsiteY34790"/>
              </a:cxn>
              <a:cxn ang="0">
                <a:pos x="connsiteX34791" y="connsiteY34791"/>
              </a:cxn>
              <a:cxn ang="0">
                <a:pos x="connsiteX34792" y="connsiteY34792"/>
              </a:cxn>
              <a:cxn ang="0">
                <a:pos x="connsiteX34793" y="connsiteY34793"/>
              </a:cxn>
              <a:cxn ang="0">
                <a:pos x="connsiteX34794" y="connsiteY34794"/>
              </a:cxn>
              <a:cxn ang="0">
                <a:pos x="connsiteX34795" y="connsiteY34795"/>
              </a:cxn>
              <a:cxn ang="0">
                <a:pos x="connsiteX34796" y="connsiteY34796"/>
              </a:cxn>
              <a:cxn ang="0">
                <a:pos x="connsiteX34797" y="connsiteY34797"/>
              </a:cxn>
              <a:cxn ang="0">
                <a:pos x="connsiteX34798" y="connsiteY34798"/>
              </a:cxn>
              <a:cxn ang="0">
                <a:pos x="connsiteX34799" y="connsiteY34799"/>
              </a:cxn>
              <a:cxn ang="0">
                <a:pos x="connsiteX34800" y="connsiteY34800"/>
              </a:cxn>
              <a:cxn ang="0">
                <a:pos x="connsiteX34801" y="connsiteY34801"/>
              </a:cxn>
              <a:cxn ang="0">
                <a:pos x="connsiteX34802" y="connsiteY34802"/>
              </a:cxn>
              <a:cxn ang="0">
                <a:pos x="connsiteX34803" y="connsiteY34803"/>
              </a:cxn>
              <a:cxn ang="0">
                <a:pos x="connsiteX34804" y="connsiteY34804"/>
              </a:cxn>
              <a:cxn ang="0">
                <a:pos x="connsiteX34805" y="connsiteY34805"/>
              </a:cxn>
              <a:cxn ang="0">
                <a:pos x="connsiteX34806" y="connsiteY34806"/>
              </a:cxn>
              <a:cxn ang="0">
                <a:pos x="connsiteX34807" y="connsiteY34807"/>
              </a:cxn>
              <a:cxn ang="0">
                <a:pos x="connsiteX34808" y="connsiteY34808"/>
              </a:cxn>
              <a:cxn ang="0">
                <a:pos x="connsiteX34809" y="connsiteY34809"/>
              </a:cxn>
              <a:cxn ang="0">
                <a:pos x="connsiteX34810" y="connsiteY34810"/>
              </a:cxn>
              <a:cxn ang="0">
                <a:pos x="connsiteX34811" y="connsiteY34811"/>
              </a:cxn>
              <a:cxn ang="0">
                <a:pos x="connsiteX34812" y="connsiteY34812"/>
              </a:cxn>
              <a:cxn ang="0">
                <a:pos x="connsiteX34813" y="connsiteY34813"/>
              </a:cxn>
              <a:cxn ang="0">
                <a:pos x="connsiteX34814" y="connsiteY34814"/>
              </a:cxn>
              <a:cxn ang="0">
                <a:pos x="connsiteX34815" y="connsiteY34815"/>
              </a:cxn>
              <a:cxn ang="0">
                <a:pos x="connsiteX34816" y="connsiteY34816"/>
              </a:cxn>
              <a:cxn ang="0">
                <a:pos x="connsiteX34817" y="connsiteY34817"/>
              </a:cxn>
              <a:cxn ang="0">
                <a:pos x="connsiteX34818" y="connsiteY34818"/>
              </a:cxn>
              <a:cxn ang="0">
                <a:pos x="connsiteX34819" y="connsiteY34819"/>
              </a:cxn>
              <a:cxn ang="0">
                <a:pos x="connsiteX34820" y="connsiteY34820"/>
              </a:cxn>
              <a:cxn ang="0">
                <a:pos x="connsiteX34821" y="connsiteY34821"/>
              </a:cxn>
              <a:cxn ang="0">
                <a:pos x="connsiteX34822" y="connsiteY34822"/>
              </a:cxn>
              <a:cxn ang="0">
                <a:pos x="connsiteX34823" y="connsiteY34823"/>
              </a:cxn>
              <a:cxn ang="0">
                <a:pos x="connsiteX34824" y="connsiteY34824"/>
              </a:cxn>
              <a:cxn ang="0">
                <a:pos x="connsiteX34825" y="connsiteY34825"/>
              </a:cxn>
              <a:cxn ang="0">
                <a:pos x="connsiteX34826" y="connsiteY34826"/>
              </a:cxn>
              <a:cxn ang="0">
                <a:pos x="connsiteX34827" y="connsiteY34827"/>
              </a:cxn>
              <a:cxn ang="0">
                <a:pos x="connsiteX34828" y="connsiteY34828"/>
              </a:cxn>
              <a:cxn ang="0">
                <a:pos x="connsiteX34829" y="connsiteY34829"/>
              </a:cxn>
              <a:cxn ang="0">
                <a:pos x="connsiteX34830" y="connsiteY34830"/>
              </a:cxn>
              <a:cxn ang="0">
                <a:pos x="connsiteX34831" y="connsiteY34831"/>
              </a:cxn>
              <a:cxn ang="0">
                <a:pos x="connsiteX34832" y="connsiteY34832"/>
              </a:cxn>
              <a:cxn ang="0">
                <a:pos x="connsiteX34833" y="connsiteY34833"/>
              </a:cxn>
              <a:cxn ang="0">
                <a:pos x="connsiteX34834" y="connsiteY34834"/>
              </a:cxn>
              <a:cxn ang="0">
                <a:pos x="connsiteX34835" y="connsiteY34835"/>
              </a:cxn>
              <a:cxn ang="0">
                <a:pos x="connsiteX34836" y="connsiteY34836"/>
              </a:cxn>
              <a:cxn ang="0">
                <a:pos x="connsiteX34837" y="connsiteY34837"/>
              </a:cxn>
              <a:cxn ang="0">
                <a:pos x="connsiteX34838" y="connsiteY34838"/>
              </a:cxn>
              <a:cxn ang="0">
                <a:pos x="connsiteX34839" y="connsiteY34839"/>
              </a:cxn>
              <a:cxn ang="0">
                <a:pos x="connsiteX34840" y="connsiteY34840"/>
              </a:cxn>
              <a:cxn ang="0">
                <a:pos x="connsiteX34841" y="connsiteY34841"/>
              </a:cxn>
              <a:cxn ang="0">
                <a:pos x="connsiteX34842" y="connsiteY34842"/>
              </a:cxn>
              <a:cxn ang="0">
                <a:pos x="connsiteX34843" y="connsiteY34843"/>
              </a:cxn>
              <a:cxn ang="0">
                <a:pos x="connsiteX34844" y="connsiteY34844"/>
              </a:cxn>
              <a:cxn ang="0">
                <a:pos x="connsiteX34845" y="connsiteY34845"/>
              </a:cxn>
              <a:cxn ang="0">
                <a:pos x="connsiteX34846" y="connsiteY34846"/>
              </a:cxn>
              <a:cxn ang="0">
                <a:pos x="connsiteX34847" y="connsiteY34847"/>
              </a:cxn>
              <a:cxn ang="0">
                <a:pos x="connsiteX34848" y="connsiteY34848"/>
              </a:cxn>
              <a:cxn ang="0">
                <a:pos x="connsiteX34849" y="connsiteY34849"/>
              </a:cxn>
              <a:cxn ang="0">
                <a:pos x="connsiteX34850" y="connsiteY34850"/>
              </a:cxn>
              <a:cxn ang="0">
                <a:pos x="connsiteX34851" y="connsiteY34851"/>
              </a:cxn>
              <a:cxn ang="0">
                <a:pos x="connsiteX34852" y="connsiteY34852"/>
              </a:cxn>
              <a:cxn ang="0">
                <a:pos x="connsiteX34853" y="connsiteY34853"/>
              </a:cxn>
              <a:cxn ang="0">
                <a:pos x="connsiteX34854" y="connsiteY34854"/>
              </a:cxn>
              <a:cxn ang="0">
                <a:pos x="connsiteX34855" y="connsiteY34855"/>
              </a:cxn>
              <a:cxn ang="0">
                <a:pos x="connsiteX34856" y="connsiteY34856"/>
              </a:cxn>
              <a:cxn ang="0">
                <a:pos x="connsiteX34857" y="connsiteY34857"/>
              </a:cxn>
              <a:cxn ang="0">
                <a:pos x="connsiteX34858" y="connsiteY34858"/>
              </a:cxn>
              <a:cxn ang="0">
                <a:pos x="connsiteX34859" y="connsiteY34859"/>
              </a:cxn>
              <a:cxn ang="0">
                <a:pos x="connsiteX34860" y="connsiteY34860"/>
              </a:cxn>
              <a:cxn ang="0">
                <a:pos x="connsiteX34861" y="connsiteY34861"/>
              </a:cxn>
              <a:cxn ang="0">
                <a:pos x="connsiteX34862" y="connsiteY34862"/>
              </a:cxn>
              <a:cxn ang="0">
                <a:pos x="connsiteX34863" y="connsiteY34863"/>
              </a:cxn>
              <a:cxn ang="0">
                <a:pos x="connsiteX34864" y="connsiteY34864"/>
              </a:cxn>
              <a:cxn ang="0">
                <a:pos x="connsiteX34865" y="connsiteY34865"/>
              </a:cxn>
              <a:cxn ang="0">
                <a:pos x="connsiteX34866" y="connsiteY34866"/>
              </a:cxn>
              <a:cxn ang="0">
                <a:pos x="connsiteX34867" y="connsiteY34867"/>
              </a:cxn>
              <a:cxn ang="0">
                <a:pos x="connsiteX34868" y="connsiteY34868"/>
              </a:cxn>
              <a:cxn ang="0">
                <a:pos x="connsiteX34869" y="connsiteY34869"/>
              </a:cxn>
              <a:cxn ang="0">
                <a:pos x="connsiteX34870" y="connsiteY34870"/>
              </a:cxn>
              <a:cxn ang="0">
                <a:pos x="connsiteX34871" y="connsiteY34871"/>
              </a:cxn>
              <a:cxn ang="0">
                <a:pos x="connsiteX34872" y="connsiteY34872"/>
              </a:cxn>
              <a:cxn ang="0">
                <a:pos x="connsiteX34873" y="connsiteY34873"/>
              </a:cxn>
              <a:cxn ang="0">
                <a:pos x="connsiteX34874" y="connsiteY34874"/>
              </a:cxn>
              <a:cxn ang="0">
                <a:pos x="connsiteX34875" y="connsiteY34875"/>
              </a:cxn>
              <a:cxn ang="0">
                <a:pos x="connsiteX34876" y="connsiteY34876"/>
              </a:cxn>
              <a:cxn ang="0">
                <a:pos x="connsiteX34877" y="connsiteY34877"/>
              </a:cxn>
              <a:cxn ang="0">
                <a:pos x="connsiteX34878" y="connsiteY34878"/>
              </a:cxn>
              <a:cxn ang="0">
                <a:pos x="connsiteX34879" y="connsiteY34879"/>
              </a:cxn>
              <a:cxn ang="0">
                <a:pos x="connsiteX34880" y="connsiteY34880"/>
              </a:cxn>
              <a:cxn ang="0">
                <a:pos x="connsiteX34881" y="connsiteY34881"/>
              </a:cxn>
              <a:cxn ang="0">
                <a:pos x="connsiteX34882" y="connsiteY34882"/>
              </a:cxn>
              <a:cxn ang="0">
                <a:pos x="connsiteX34883" y="connsiteY34883"/>
              </a:cxn>
              <a:cxn ang="0">
                <a:pos x="connsiteX34884" y="connsiteY34884"/>
              </a:cxn>
              <a:cxn ang="0">
                <a:pos x="connsiteX34885" y="connsiteY34885"/>
              </a:cxn>
              <a:cxn ang="0">
                <a:pos x="connsiteX34886" y="connsiteY34886"/>
              </a:cxn>
              <a:cxn ang="0">
                <a:pos x="connsiteX34887" y="connsiteY34887"/>
              </a:cxn>
              <a:cxn ang="0">
                <a:pos x="connsiteX34888" y="connsiteY34888"/>
              </a:cxn>
              <a:cxn ang="0">
                <a:pos x="connsiteX34889" y="connsiteY34889"/>
              </a:cxn>
              <a:cxn ang="0">
                <a:pos x="connsiteX34890" y="connsiteY34890"/>
              </a:cxn>
              <a:cxn ang="0">
                <a:pos x="connsiteX34891" y="connsiteY34891"/>
              </a:cxn>
              <a:cxn ang="0">
                <a:pos x="connsiteX34892" y="connsiteY34892"/>
              </a:cxn>
              <a:cxn ang="0">
                <a:pos x="connsiteX34893" y="connsiteY34893"/>
              </a:cxn>
              <a:cxn ang="0">
                <a:pos x="connsiteX34894" y="connsiteY34894"/>
              </a:cxn>
              <a:cxn ang="0">
                <a:pos x="connsiteX34895" y="connsiteY34895"/>
              </a:cxn>
              <a:cxn ang="0">
                <a:pos x="connsiteX34896" y="connsiteY34896"/>
              </a:cxn>
              <a:cxn ang="0">
                <a:pos x="connsiteX34897" y="connsiteY34897"/>
              </a:cxn>
              <a:cxn ang="0">
                <a:pos x="connsiteX34898" y="connsiteY34898"/>
              </a:cxn>
              <a:cxn ang="0">
                <a:pos x="connsiteX34899" y="connsiteY34899"/>
              </a:cxn>
              <a:cxn ang="0">
                <a:pos x="connsiteX34900" y="connsiteY34900"/>
              </a:cxn>
              <a:cxn ang="0">
                <a:pos x="connsiteX34901" y="connsiteY34901"/>
              </a:cxn>
              <a:cxn ang="0">
                <a:pos x="connsiteX34902" y="connsiteY34902"/>
              </a:cxn>
              <a:cxn ang="0">
                <a:pos x="connsiteX34903" y="connsiteY34903"/>
              </a:cxn>
              <a:cxn ang="0">
                <a:pos x="connsiteX34904" y="connsiteY34904"/>
              </a:cxn>
              <a:cxn ang="0">
                <a:pos x="connsiteX34905" y="connsiteY34905"/>
              </a:cxn>
              <a:cxn ang="0">
                <a:pos x="connsiteX34906" y="connsiteY34906"/>
              </a:cxn>
              <a:cxn ang="0">
                <a:pos x="connsiteX34907" y="connsiteY34907"/>
              </a:cxn>
              <a:cxn ang="0">
                <a:pos x="connsiteX34908" y="connsiteY34908"/>
              </a:cxn>
              <a:cxn ang="0">
                <a:pos x="connsiteX34909" y="connsiteY34909"/>
              </a:cxn>
              <a:cxn ang="0">
                <a:pos x="connsiteX34910" y="connsiteY34910"/>
              </a:cxn>
              <a:cxn ang="0">
                <a:pos x="connsiteX34911" y="connsiteY34911"/>
              </a:cxn>
              <a:cxn ang="0">
                <a:pos x="connsiteX34912" y="connsiteY34912"/>
              </a:cxn>
              <a:cxn ang="0">
                <a:pos x="connsiteX34913" y="connsiteY34913"/>
              </a:cxn>
              <a:cxn ang="0">
                <a:pos x="connsiteX34914" y="connsiteY34914"/>
              </a:cxn>
              <a:cxn ang="0">
                <a:pos x="connsiteX34915" y="connsiteY34915"/>
              </a:cxn>
              <a:cxn ang="0">
                <a:pos x="connsiteX34916" y="connsiteY34916"/>
              </a:cxn>
              <a:cxn ang="0">
                <a:pos x="connsiteX34917" y="connsiteY34917"/>
              </a:cxn>
              <a:cxn ang="0">
                <a:pos x="connsiteX34918" y="connsiteY34918"/>
              </a:cxn>
              <a:cxn ang="0">
                <a:pos x="connsiteX34919" y="connsiteY34919"/>
              </a:cxn>
              <a:cxn ang="0">
                <a:pos x="connsiteX34920" y="connsiteY34920"/>
              </a:cxn>
              <a:cxn ang="0">
                <a:pos x="connsiteX34921" y="connsiteY34921"/>
              </a:cxn>
              <a:cxn ang="0">
                <a:pos x="connsiteX34922" y="connsiteY34922"/>
              </a:cxn>
              <a:cxn ang="0">
                <a:pos x="connsiteX34923" y="connsiteY34923"/>
              </a:cxn>
              <a:cxn ang="0">
                <a:pos x="connsiteX34924" y="connsiteY34924"/>
              </a:cxn>
              <a:cxn ang="0">
                <a:pos x="connsiteX34925" y="connsiteY34925"/>
              </a:cxn>
              <a:cxn ang="0">
                <a:pos x="connsiteX34926" y="connsiteY34926"/>
              </a:cxn>
              <a:cxn ang="0">
                <a:pos x="connsiteX34927" y="connsiteY34927"/>
              </a:cxn>
              <a:cxn ang="0">
                <a:pos x="connsiteX34928" y="connsiteY34928"/>
              </a:cxn>
              <a:cxn ang="0">
                <a:pos x="connsiteX34929" y="connsiteY34929"/>
              </a:cxn>
              <a:cxn ang="0">
                <a:pos x="connsiteX34930" y="connsiteY34930"/>
              </a:cxn>
              <a:cxn ang="0">
                <a:pos x="connsiteX34931" y="connsiteY34931"/>
              </a:cxn>
              <a:cxn ang="0">
                <a:pos x="connsiteX34932" y="connsiteY34932"/>
              </a:cxn>
              <a:cxn ang="0">
                <a:pos x="connsiteX34933" y="connsiteY34933"/>
              </a:cxn>
              <a:cxn ang="0">
                <a:pos x="connsiteX34934" y="connsiteY34934"/>
              </a:cxn>
              <a:cxn ang="0">
                <a:pos x="connsiteX34935" y="connsiteY34935"/>
              </a:cxn>
              <a:cxn ang="0">
                <a:pos x="connsiteX34936" y="connsiteY34936"/>
              </a:cxn>
              <a:cxn ang="0">
                <a:pos x="connsiteX34937" y="connsiteY34937"/>
              </a:cxn>
              <a:cxn ang="0">
                <a:pos x="connsiteX34938" y="connsiteY34938"/>
              </a:cxn>
              <a:cxn ang="0">
                <a:pos x="connsiteX34939" y="connsiteY34939"/>
              </a:cxn>
              <a:cxn ang="0">
                <a:pos x="connsiteX34940" y="connsiteY34940"/>
              </a:cxn>
              <a:cxn ang="0">
                <a:pos x="connsiteX34941" y="connsiteY34941"/>
              </a:cxn>
              <a:cxn ang="0">
                <a:pos x="connsiteX34942" y="connsiteY34942"/>
              </a:cxn>
              <a:cxn ang="0">
                <a:pos x="connsiteX34943" y="connsiteY34943"/>
              </a:cxn>
              <a:cxn ang="0">
                <a:pos x="connsiteX34944" y="connsiteY34944"/>
              </a:cxn>
              <a:cxn ang="0">
                <a:pos x="connsiteX34945" y="connsiteY34945"/>
              </a:cxn>
              <a:cxn ang="0">
                <a:pos x="connsiteX34946" y="connsiteY34946"/>
              </a:cxn>
              <a:cxn ang="0">
                <a:pos x="connsiteX34947" y="connsiteY34947"/>
              </a:cxn>
              <a:cxn ang="0">
                <a:pos x="connsiteX34948" y="connsiteY34948"/>
              </a:cxn>
              <a:cxn ang="0">
                <a:pos x="connsiteX34949" y="connsiteY34949"/>
              </a:cxn>
              <a:cxn ang="0">
                <a:pos x="connsiteX34950" y="connsiteY34950"/>
              </a:cxn>
              <a:cxn ang="0">
                <a:pos x="connsiteX34951" y="connsiteY34951"/>
              </a:cxn>
              <a:cxn ang="0">
                <a:pos x="connsiteX34952" y="connsiteY34952"/>
              </a:cxn>
              <a:cxn ang="0">
                <a:pos x="connsiteX34953" y="connsiteY34953"/>
              </a:cxn>
              <a:cxn ang="0">
                <a:pos x="connsiteX34954" y="connsiteY34954"/>
              </a:cxn>
              <a:cxn ang="0">
                <a:pos x="connsiteX34955" y="connsiteY34955"/>
              </a:cxn>
              <a:cxn ang="0">
                <a:pos x="connsiteX34956" y="connsiteY34956"/>
              </a:cxn>
              <a:cxn ang="0">
                <a:pos x="connsiteX34957" y="connsiteY34957"/>
              </a:cxn>
              <a:cxn ang="0">
                <a:pos x="connsiteX34958" y="connsiteY34958"/>
              </a:cxn>
              <a:cxn ang="0">
                <a:pos x="connsiteX34959" y="connsiteY34959"/>
              </a:cxn>
              <a:cxn ang="0">
                <a:pos x="connsiteX34960" y="connsiteY34960"/>
              </a:cxn>
              <a:cxn ang="0">
                <a:pos x="connsiteX34961" y="connsiteY34961"/>
              </a:cxn>
              <a:cxn ang="0">
                <a:pos x="connsiteX34962" y="connsiteY34962"/>
              </a:cxn>
              <a:cxn ang="0">
                <a:pos x="connsiteX34963" y="connsiteY34963"/>
              </a:cxn>
              <a:cxn ang="0">
                <a:pos x="connsiteX34964" y="connsiteY34964"/>
              </a:cxn>
              <a:cxn ang="0">
                <a:pos x="connsiteX34965" y="connsiteY34965"/>
              </a:cxn>
              <a:cxn ang="0">
                <a:pos x="connsiteX34966" y="connsiteY34966"/>
              </a:cxn>
              <a:cxn ang="0">
                <a:pos x="connsiteX34967" y="connsiteY34967"/>
              </a:cxn>
              <a:cxn ang="0">
                <a:pos x="connsiteX34968" y="connsiteY34968"/>
              </a:cxn>
              <a:cxn ang="0">
                <a:pos x="connsiteX34969" y="connsiteY34969"/>
              </a:cxn>
              <a:cxn ang="0">
                <a:pos x="connsiteX34970" y="connsiteY34970"/>
              </a:cxn>
              <a:cxn ang="0">
                <a:pos x="connsiteX34971" y="connsiteY34971"/>
              </a:cxn>
              <a:cxn ang="0">
                <a:pos x="connsiteX34972" y="connsiteY34972"/>
              </a:cxn>
              <a:cxn ang="0">
                <a:pos x="connsiteX34973" y="connsiteY34973"/>
              </a:cxn>
              <a:cxn ang="0">
                <a:pos x="connsiteX34974" y="connsiteY34974"/>
              </a:cxn>
              <a:cxn ang="0">
                <a:pos x="connsiteX34975" y="connsiteY34975"/>
              </a:cxn>
              <a:cxn ang="0">
                <a:pos x="connsiteX34976" y="connsiteY34976"/>
              </a:cxn>
              <a:cxn ang="0">
                <a:pos x="connsiteX34977" y="connsiteY34977"/>
              </a:cxn>
              <a:cxn ang="0">
                <a:pos x="connsiteX34978" y="connsiteY34978"/>
              </a:cxn>
              <a:cxn ang="0">
                <a:pos x="connsiteX34979" y="connsiteY34979"/>
              </a:cxn>
              <a:cxn ang="0">
                <a:pos x="connsiteX34980" y="connsiteY34980"/>
              </a:cxn>
              <a:cxn ang="0">
                <a:pos x="connsiteX34981" y="connsiteY34981"/>
              </a:cxn>
              <a:cxn ang="0">
                <a:pos x="connsiteX34982" y="connsiteY34982"/>
              </a:cxn>
              <a:cxn ang="0">
                <a:pos x="connsiteX34983" y="connsiteY34983"/>
              </a:cxn>
              <a:cxn ang="0">
                <a:pos x="connsiteX34984" y="connsiteY34984"/>
              </a:cxn>
              <a:cxn ang="0">
                <a:pos x="connsiteX34985" y="connsiteY34985"/>
              </a:cxn>
              <a:cxn ang="0">
                <a:pos x="connsiteX34986" y="connsiteY34986"/>
              </a:cxn>
              <a:cxn ang="0">
                <a:pos x="connsiteX34987" y="connsiteY34987"/>
              </a:cxn>
              <a:cxn ang="0">
                <a:pos x="connsiteX34988" y="connsiteY34988"/>
              </a:cxn>
              <a:cxn ang="0">
                <a:pos x="connsiteX34989" y="connsiteY34989"/>
              </a:cxn>
              <a:cxn ang="0">
                <a:pos x="connsiteX34990" y="connsiteY34990"/>
              </a:cxn>
              <a:cxn ang="0">
                <a:pos x="connsiteX34991" y="connsiteY34991"/>
              </a:cxn>
              <a:cxn ang="0">
                <a:pos x="connsiteX34992" y="connsiteY34992"/>
              </a:cxn>
              <a:cxn ang="0">
                <a:pos x="connsiteX34993" y="connsiteY34993"/>
              </a:cxn>
              <a:cxn ang="0">
                <a:pos x="connsiteX34994" y="connsiteY34994"/>
              </a:cxn>
              <a:cxn ang="0">
                <a:pos x="connsiteX34995" y="connsiteY34995"/>
              </a:cxn>
              <a:cxn ang="0">
                <a:pos x="connsiteX34996" y="connsiteY34996"/>
              </a:cxn>
              <a:cxn ang="0">
                <a:pos x="connsiteX34997" y="connsiteY34997"/>
              </a:cxn>
              <a:cxn ang="0">
                <a:pos x="connsiteX34998" y="connsiteY34998"/>
              </a:cxn>
              <a:cxn ang="0">
                <a:pos x="connsiteX34999" y="connsiteY34999"/>
              </a:cxn>
              <a:cxn ang="0">
                <a:pos x="connsiteX35000" y="connsiteY35000"/>
              </a:cxn>
              <a:cxn ang="0">
                <a:pos x="connsiteX35001" y="connsiteY35001"/>
              </a:cxn>
              <a:cxn ang="0">
                <a:pos x="connsiteX35002" y="connsiteY35002"/>
              </a:cxn>
              <a:cxn ang="0">
                <a:pos x="connsiteX35003" y="connsiteY35003"/>
              </a:cxn>
              <a:cxn ang="0">
                <a:pos x="connsiteX35004" y="connsiteY35004"/>
              </a:cxn>
              <a:cxn ang="0">
                <a:pos x="connsiteX35005" y="connsiteY35005"/>
              </a:cxn>
              <a:cxn ang="0">
                <a:pos x="connsiteX35006" y="connsiteY35006"/>
              </a:cxn>
              <a:cxn ang="0">
                <a:pos x="connsiteX35007" y="connsiteY35007"/>
              </a:cxn>
              <a:cxn ang="0">
                <a:pos x="connsiteX35008" y="connsiteY35008"/>
              </a:cxn>
              <a:cxn ang="0">
                <a:pos x="connsiteX35009" y="connsiteY35009"/>
              </a:cxn>
              <a:cxn ang="0">
                <a:pos x="connsiteX35010" y="connsiteY35010"/>
              </a:cxn>
              <a:cxn ang="0">
                <a:pos x="connsiteX35011" y="connsiteY35011"/>
              </a:cxn>
              <a:cxn ang="0">
                <a:pos x="connsiteX35012" y="connsiteY35012"/>
              </a:cxn>
              <a:cxn ang="0">
                <a:pos x="connsiteX35013" y="connsiteY35013"/>
              </a:cxn>
              <a:cxn ang="0">
                <a:pos x="connsiteX35014" y="connsiteY35014"/>
              </a:cxn>
              <a:cxn ang="0">
                <a:pos x="connsiteX35015" y="connsiteY35015"/>
              </a:cxn>
              <a:cxn ang="0">
                <a:pos x="connsiteX35016" y="connsiteY35016"/>
              </a:cxn>
              <a:cxn ang="0">
                <a:pos x="connsiteX35017" y="connsiteY35017"/>
              </a:cxn>
              <a:cxn ang="0">
                <a:pos x="connsiteX35018" y="connsiteY35018"/>
              </a:cxn>
              <a:cxn ang="0">
                <a:pos x="connsiteX35019" y="connsiteY35019"/>
              </a:cxn>
              <a:cxn ang="0">
                <a:pos x="connsiteX35020" y="connsiteY35020"/>
              </a:cxn>
              <a:cxn ang="0">
                <a:pos x="connsiteX35021" y="connsiteY35021"/>
              </a:cxn>
              <a:cxn ang="0">
                <a:pos x="connsiteX35022" y="connsiteY35022"/>
              </a:cxn>
              <a:cxn ang="0">
                <a:pos x="connsiteX35023" y="connsiteY35023"/>
              </a:cxn>
              <a:cxn ang="0">
                <a:pos x="connsiteX35024" y="connsiteY35024"/>
              </a:cxn>
              <a:cxn ang="0">
                <a:pos x="connsiteX35025" y="connsiteY35025"/>
              </a:cxn>
              <a:cxn ang="0">
                <a:pos x="connsiteX35026" y="connsiteY35026"/>
              </a:cxn>
              <a:cxn ang="0">
                <a:pos x="connsiteX35027" y="connsiteY35027"/>
              </a:cxn>
              <a:cxn ang="0">
                <a:pos x="connsiteX35028" y="connsiteY35028"/>
              </a:cxn>
              <a:cxn ang="0">
                <a:pos x="connsiteX35029" y="connsiteY35029"/>
              </a:cxn>
              <a:cxn ang="0">
                <a:pos x="connsiteX35030" y="connsiteY35030"/>
              </a:cxn>
              <a:cxn ang="0">
                <a:pos x="connsiteX35031" y="connsiteY35031"/>
              </a:cxn>
              <a:cxn ang="0">
                <a:pos x="connsiteX35032" y="connsiteY35032"/>
              </a:cxn>
              <a:cxn ang="0">
                <a:pos x="connsiteX35033" y="connsiteY35033"/>
              </a:cxn>
              <a:cxn ang="0">
                <a:pos x="connsiteX35034" y="connsiteY35034"/>
              </a:cxn>
              <a:cxn ang="0">
                <a:pos x="connsiteX35035" y="connsiteY35035"/>
              </a:cxn>
              <a:cxn ang="0">
                <a:pos x="connsiteX35036" y="connsiteY35036"/>
              </a:cxn>
              <a:cxn ang="0">
                <a:pos x="connsiteX35037" y="connsiteY35037"/>
              </a:cxn>
              <a:cxn ang="0">
                <a:pos x="connsiteX35038" y="connsiteY35038"/>
              </a:cxn>
              <a:cxn ang="0">
                <a:pos x="connsiteX35039" y="connsiteY35039"/>
              </a:cxn>
              <a:cxn ang="0">
                <a:pos x="connsiteX35040" y="connsiteY35040"/>
              </a:cxn>
              <a:cxn ang="0">
                <a:pos x="connsiteX35041" y="connsiteY35041"/>
              </a:cxn>
              <a:cxn ang="0">
                <a:pos x="connsiteX35042" y="connsiteY35042"/>
              </a:cxn>
              <a:cxn ang="0">
                <a:pos x="connsiteX35043" y="connsiteY35043"/>
              </a:cxn>
              <a:cxn ang="0">
                <a:pos x="connsiteX35044" y="connsiteY35044"/>
              </a:cxn>
              <a:cxn ang="0">
                <a:pos x="connsiteX35045" y="connsiteY35045"/>
              </a:cxn>
              <a:cxn ang="0">
                <a:pos x="connsiteX35046" y="connsiteY35046"/>
              </a:cxn>
              <a:cxn ang="0">
                <a:pos x="connsiteX35047" y="connsiteY35047"/>
              </a:cxn>
              <a:cxn ang="0">
                <a:pos x="connsiteX35048" y="connsiteY35048"/>
              </a:cxn>
              <a:cxn ang="0">
                <a:pos x="connsiteX35049" y="connsiteY35049"/>
              </a:cxn>
              <a:cxn ang="0">
                <a:pos x="connsiteX35050" y="connsiteY35050"/>
              </a:cxn>
              <a:cxn ang="0">
                <a:pos x="connsiteX35051" y="connsiteY35051"/>
              </a:cxn>
              <a:cxn ang="0">
                <a:pos x="connsiteX35052" y="connsiteY35052"/>
              </a:cxn>
              <a:cxn ang="0">
                <a:pos x="connsiteX35053" y="connsiteY35053"/>
              </a:cxn>
              <a:cxn ang="0">
                <a:pos x="connsiteX35054" y="connsiteY35054"/>
              </a:cxn>
              <a:cxn ang="0">
                <a:pos x="connsiteX35055" y="connsiteY35055"/>
              </a:cxn>
              <a:cxn ang="0">
                <a:pos x="connsiteX35056" y="connsiteY35056"/>
              </a:cxn>
              <a:cxn ang="0">
                <a:pos x="connsiteX35057" y="connsiteY35057"/>
              </a:cxn>
              <a:cxn ang="0">
                <a:pos x="connsiteX35058" y="connsiteY35058"/>
              </a:cxn>
              <a:cxn ang="0">
                <a:pos x="connsiteX35059" y="connsiteY35059"/>
              </a:cxn>
              <a:cxn ang="0">
                <a:pos x="connsiteX35060" y="connsiteY35060"/>
              </a:cxn>
              <a:cxn ang="0">
                <a:pos x="connsiteX35061" y="connsiteY35061"/>
              </a:cxn>
              <a:cxn ang="0">
                <a:pos x="connsiteX35062" y="connsiteY35062"/>
              </a:cxn>
              <a:cxn ang="0">
                <a:pos x="connsiteX35063" y="connsiteY35063"/>
              </a:cxn>
              <a:cxn ang="0">
                <a:pos x="connsiteX35064" y="connsiteY35064"/>
              </a:cxn>
              <a:cxn ang="0">
                <a:pos x="connsiteX35065" y="connsiteY35065"/>
              </a:cxn>
              <a:cxn ang="0">
                <a:pos x="connsiteX35066" y="connsiteY35066"/>
              </a:cxn>
              <a:cxn ang="0">
                <a:pos x="connsiteX35067" y="connsiteY35067"/>
              </a:cxn>
              <a:cxn ang="0">
                <a:pos x="connsiteX35068" y="connsiteY35068"/>
              </a:cxn>
              <a:cxn ang="0">
                <a:pos x="connsiteX35069" y="connsiteY35069"/>
              </a:cxn>
              <a:cxn ang="0">
                <a:pos x="connsiteX35070" y="connsiteY35070"/>
              </a:cxn>
              <a:cxn ang="0">
                <a:pos x="connsiteX35071" y="connsiteY35071"/>
              </a:cxn>
              <a:cxn ang="0">
                <a:pos x="connsiteX35072" y="connsiteY35072"/>
              </a:cxn>
              <a:cxn ang="0">
                <a:pos x="connsiteX35073" y="connsiteY35073"/>
              </a:cxn>
              <a:cxn ang="0">
                <a:pos x="connsiteX35074" y="connsiteY35074"/>
              </a:cxn>
              <a:cxn ang="0">
                <a:pos x="connsiteX35075" y="connsiteY35075"/>
              </a:cxn>
              <a:cxn ang="0">
                <a:pos x="connsiteX35076" y="connsiteY35076"/>
              </a:cxn>
              <a:cxn ang="0">
                <a:pos x="connsiteX35077" y="connsiteY35077"/>
              </a:cxn>
              <a:cxn ang="0">
                <a:pos x="connsiteX35078" y="connsiteY35078"/>
              </a:cxn>
              <a:cxn ang="0">
                <a:pos x="connsiteX35079" y="connsiteY35079"/>
              </a:cxn>
              <a:cxn ang="0">
                <a:pos x="connsiteX35080" y="connsiteY35080"/>
              </a:cxn>
              <a:cxn ang="0">
                <a:pos x="connsiteX35081" y="connsiteY35081"/>
              </a:cxn>
              <a:cxn ang="0">
                <a:pos x="connsiteX35082" y="connsiteY35082"/>
              </a:cxn>
              <a:cxn ang="0">
                <a:pos x="connsiteX35083" y="connsiteY35083"/>
              </a:cxn>
              <a:cxn ang="0">
                <a:pos x="connsiteX35084" y="connsiteY35084"/>
              </a:cxn>
              <a:cxn ang="0">
                <a:pos x="connsiteX35085" y="connsiteY35085"/>
              </a:cxn>
              <a:cxn ang="0">
                <a:pos x="connsiteX35086" y="connsiteY35086"/>
              </a:cxn>
              <a:cxn ang="0">
                <a:pos x="connsiteX35087" y="connsiteY35087"/>
              </a:cxn>
              <a:cxn ang="0">
                <a:pos x="connsiteX35088" y="connsiteY35088"/>
              </a:cxn>
              <a:cxn ang="0">
                <a:pos x="connsiteX35089" y="connsiteY35089"/>
              </a:cxn>
              <a:cxn ang="0">
                <a:pos x="connsiteX35090" y="connsiteY35090"/>
              </a:cxn>
              <a:cxn ang="0">
                <a:pos x="connsiteX35091" y="connsiteY35091"/>
              </a:cxn>
              <a:cxn ang="0">
                <a:pos x="connsiteX35092" y="connsiteY35092"/>
              </a:cxn>
              <a:cxn ang="0">
                <a:pos x="connsiteX35093" y="connsiteY35093"/>
              </a:cxn>
              <a:cxn ang="0">
                <a:pos x="connsiteX35094" y="connsiteY35094"/>
              </a:cxn>
              <a:cxn ang="0">
                <a:pos x="connsiteX35095" y="connsiteY35095"/>
              </a:cxn>
              <a:cxn ang="0">
                <a:pos x="connsiteX35096" y="connsiteY35096"/>
              </a:cxn>
              <a:cxn ang="0">
                <a:pos x="connsiteX35097" y="connsiteY35097"/>
              </a:cxn>
              <a:cxn ang="0">
                <a:pos x="connsiteX35098" y="connsiteY35098"/>
              </a:cxn>
              <a:cxn ang="0">
                <a:pos x="connsiteX35099" y="connsiteY35099"/>
              </a:cxn>
              <a:cxn ang="0">
                <a:pos x="connsiteX35100" y="connsiteY35100"/>
              </a:cxn>
              <a:cxn ang="0">
                <a:pos x="connsiteX35101" y="connsiteY35101"/>
              </a:cxn>
              <a:cxn ang="0">
                <a:pos x="connsiteX35102" y="connsiteY35102"/>
              </a:cxn>
              <a:cxn ang="0">
                <a:pos x="connsiteX35103" y="connsiteY35103"/>
              </a:cxn>
              <a:cxn ang="0">
                <a:pos x="connsiteX35104" y="connsiteY35104"/>
              </a:cxn>
              <a:cxn ang="0">
                <a:pos x="connsiteX35105" y="connsiteY35105"/>
              </a:cxn>
              <a:cxn ang="0">
                <a:pos x="connsiteX35106" y="connsiteY35106"/>
              </a:cxn>
              <a:cxn ang="0">
                <a:pos x="connsiteX35107" y="connsiteY35107"/>
              </a:cxn>
              <a:cxn ang="0">
                <a:pos x="connsiteX35108" y="connsiteY35108"/>
              </a:cxn>
              <a:cxn ang="0">
                <a:pos x="connsiteX35109" y="connsiteY35109"/>
              </a:cxn>
              <a:cxn ang="0">
                <a:pos x="connsiteX35110" y="connsiteY35110"/>
              </a:cxn>
              <a:cxn ang="0">
                <a:pos x="connsiteX35111" y="connsiteY35111"/>
              </a:cxn>
              <a:cxn ang="0">
                <a:pos x="connsiteX35112" y="connsiteY35112"/>
              </a:cxn>
              <a:cxn ang="0">
                <a:pos x="connsiteX35113" y="connsiteY35113"/>
              </a:cxn>
              <a:cxn ang="0">
                <a:pos x="connsiteX35114" y="connsiteY35114"/>
              </a:cxn>
              <a:cxn ang="0">
                <a:pos x="connsiteX35115" y="connsiteY35115"/>
              </a:cxn>
              <a:cxn ang="0">
                <a:pos x="connsiteX35116" y="connsiteY35116"/>
              </a:cxn>
              <a:cxn ang="0">
                <a:pos x="connsiteX35117" y="connsiteY35117"/>
              </a:cxn>
              <a:cxn ang="0">
                <a:pos x="connsiteX35118" y="connsiteY35118"/>
              </a:cxn>
              <a:cxn ang="0">
                <a:pos x="connsiteX35119" y="connsiteY35119"/>
              </a:cxn>
              <a:cxn ang="0">
                <a:pos x="connsiteX35120" y="connsiteY35120"/>
              </a:cxn>
              <a:cxn ang="0">
                <a:pos x="connsiteX35121" y="connsiteY35121"/>
              </a:cxn>
              <a:cxn ang="0">
                <a:pos x="connsiteX35122" y="connsiteY35122"/>
              </a:cxn>
              <a:cxn ang="0">
                <a:pos x="connsiteX35123" y="connsiteY35123"/>
              </a:cxn>
              <a:cxn ang="0">
                <a:pos x="connsiteX35124" y="connsiteY35124"/>
              </a:cxn>
              <a:cxn ang="0">
                <a:pos x="connsiteX35125" y="connsiteY35125"/>
              </a:cxn>
              <a:cxn ang="0">
                <a:pos x="connsiteX35126" y="connsiteY35126"/>
              </a:cxn>
              <a:cxn ang="0">
                <a:pos x="connsiteX35127" y="connsiteY35127"/>
              </a:cxn>
              <a:cxn ang="0">
                <a:pos x="connsiteX35128" y="connsiteY35128"/>
              </a:cxn>
              <a:cxn ang="0">
                <a:pos x="connsiteX35129" y="connsiteY35129"/>
              </a:cxn>
              <a:cxn ang="0">
                <a:pos x="connsiteX35130" y="connsiteY35130"/>
              </a:cxn>
              <a:cxn ang="0">
                <a:pos x="connsiteX35131" y="connsiteY35131"/>
              </a:cxn>
              <a:cxn ang="0">
                <a:pos x="connsiteX35132" y="connsiteY35132"/>
              </a:cxn>
              <a:cxn ang="0">
                <a:pos x="connsiteX35133" y="connsiteY35133"/>
              </a:cxn>
              <a:cxn ang="0">
                <a:pos x="connsiteX35134" y="connsiteY35134"/>
              </a:cxn>
              <a:cxn ang="0">
                <a:pos x="connsiteX35135" y="connsiteY35135"/>
              </a:cxn>
              <a:cxn ang="0">
                <a:pos x="connsiteX35136" y="connsiteY35136"/>
              </a:cxn>
              <a:cxn ang="0">
                <a:pos x="connsiteX35137" y="connsiteY35137"/>
              </a:cxn>
              <a:cxn ang="0">
                <a:pos x="connsiteX35138" y="connsiteY35138"/>
              </a:cxn>
              <a:cxn ang="0">
                <a:pos x="connsiteX35139" y="connsiteY35139"/>
              </a:cxn>
              <a:cxn ang="0">
                <a:pos x="connsiteX35140" y="connsiteY35140"/>
              </a:cxn>
              <a:cxn ang="0">
                <a:pos x="connsiteX35141" y="connsiteY35141"/>
              </a:cxn>
              <a:cxn ang="0">
                <a:pos x="connsiteX35142" y="connsiteY35142"/>
              </a:cxn>
              <a:cxn ang="0">
                <a:pos x="connsiteX35143" y="connsiteY35143"/>
              </a:cxn>
              <a:cxn ang="0">
                <a:pos x="connsiteX35144" y="connsiteY35144"/>
              </a:cxn>
              <a:cxn ang="0">
                <a:pos x="connsiteX35145" y="connsiteY35145"/>
              </a:cxn>
              <a:cxn ang="0">
                <a:pos x="connsiteX35146" y="connsiteY35146"/>
              </a:cxn>
              <a:cxn ang="0">
                <a:pos x="connsiteX35147" y="connsiteY35147"/>
              </a:cxn>
              <a:cxn ang="0">
                <a:pos x="connsiteX35148" y="connsiteY35148"/>
              </a:cxn>
              <a:cxn ang="0">
                <a:pos x="connsiteX35149" y="connsiteY35149"/>
              </a:cxn>
              <a:cxn ang="0">
                <a:pos x="connsiteX35150" y="connsiteY35150"/>
              </a:cxn>
              <a:cxn ang="0">
                <a:pos x="connsiteX35151" y="connsiteY35151"/>
              </a:cxn>
              <a:cxn ang="0">
                <a:pos x="connsiteX35152" y="connsiteY35152"/>
              </a:cxn>
              <a:cxn ang="0">
                <a:pos x="connsiteX35153" y="connsiteY35153"/>
              </a:cxn>
              <a:cxn ang="0">
                <a:pos x="connsiteX35154" y="connsiteY35154"/>
              </a:cxn>
              <a:cxn ang="0">
                <a:pos x="connsiteX35155" y="connsiteY35155"/>
              </a:cxn>
              <a:cxn ang="0">
                <a:pos x="connsiteX35156" y="connsiteY35156"/>
              </a:cxn>
              <a:cxn ang="0">
                <a:pos x="connsiteX35157" y="connsiteY35157"/>
              </a:cxn>
              <a:cxn ang="0">
                <a:pos x="connsiteX35158" y="connsiteY35158"/>
              </a:cxn>
              <a:cxn ang="0">
                <a:pos x="connsiteX35159" y="connsiteY35159"/>
              </a:cxn>
              <a:cxn ang="0">
                <a:pos x="connsiteX35160" y="connsiteY35160"/>
              </a:cxn>
              <a:cxn ang="0">
                <a:pos x="connsiteX35161" y="connsiteY35161"/>
              </a:cxn>
              <a:cxn ang="0">
                <a:pos x="connsiteX35162" y="connsiteY35162"/>
              </a:cxn>
              <a:cxn ang="0">
                <a:pos x="connsiteX35163" y="connsiteY35163"/>
              </a:cxn>
              <a:cxn ang="0">
                <a:pos x="connsiteX35164" y="connsiteY35164"/>
              </a:cxn>
              <a:cxn ang="0">
                <a:pos x="connsiteX35165" y="connsiteY35165"/>
              </a:cxn>
              <a:cxn ang="0">
                <a:pos x="connsiteX35166" y="connsiteY35166"/>
              </a:cxn>
              <a:cxn ang="0">
                <a:pos x="connsiteX35167" y="connsiteY35167"/>
              </a:cxn>
              <a:cxn ang="0">
                <a:pos x="connsiteX35168" y="connsiteY35168"/>
              </a:cxn>
              <a:cxn ang="0">
                <a:pos x="connsiteX35169" y="connsiteY35169"/>
              </a:cxn>
              <a:cxn ang="0">
                <a:pos x="connsiteX35170" y="connsiteY35170"/>
              </a:cxn>
              <a:cxn ang="0">
                <a:pos x="connsiteX35171" y="connsiteY35171"/>
              </a:cxn>
              <a:cxn ang="0">
                <a:pos x="connsiteX35172" y="connsiteY35172"/>
              </a:cxn>
              <a:cxn ang="0">
                <a:pos x="connsiteX35173" y="connsiteY35173"/>
              </a:cxn>
              <a:cxn ang="0">
                <a:pos x="connsiteX35174" y="connsiteY35174"/>
              </a:cxn>
              <a:cxn ang="0">
                <a:pos x="connsiteX35175" y="connsiteY35175"/>
              </a:cxn>
              <a:cxn ang="0">
                <a:pos x="connsiteX35176" y="connsiteY35176"/>
              </a:cxn>
              <a:cxn ang="0">
                <a:pos x="connsiteX35177" y="connsiteY35177"/>
              </a:cxn>
              <a:cxn ang="0">
                <a:pos x="connsiteX35178" y="connsiteY35178"/>
              </a:cxn>
              <a:cxn ang="0">
                <a:pos x="connsiteX35179" y="connsiteY35179"/>
              </a:cxn>
              <a:cxn ang="0">
                <a:pos x="connsiteX35180" y="connsiteY35180"/>
              </a:cxn>
              <a:cxn ang="0">
                <a:pos x="connsiteX35181" y="connsiteY35181"/>
              </a:cxn>
              <a:cxn ang="0">
                <a:pos x="connsiteX35182" y="connsiteY35182"/>
              </a:cxn>
              <a:cxn ang="0">
                <a:pos x="connsiteX35183" y="connsiteY35183"/>
              </a:cxn>
              <a:cxn ang="0">
                <a:pos x="connsiteX35184" y="connsiteY35184"/>
              </a:cxn>
              <a:cxn ang="0">
                <a:pos x="connsiteX35185" y="connsiteY35185"/>
              </a:cxn>
              <a:cxn ang="0">
                <a:pos x="connsiteX35186" y="connsiteY35186"/>
              </a:cxn>
              <a:cxn ang="0">
                <a:pos x="connsiteX35187" y="connsiteY35187"/>
              </a:cxn>
              <a:cxn ang="0">
                <a:pos x="connsiteX35188" y="connsiteY35188"/>
              </a:cxn>
              <a:cxn ang="0">
                <a:pos x="connsiteX35189" y="connsiteY35189"/>
              </a:cxn>
              <a:cxn ang="0">
                <a:pos x="connsiteX35190" y="connsiteY35190"/>
              </a:cxn>
              <a:cxn ang="0">
                <a:pos x="connsiteX35191" y="connsiteY35191"/>
              </a:cxn>
              <a:cxn ang="0">
                <a:pos x="connsiteX35192" y="connsiteY35192"/>
              </a:cxn>
              <a:cxn ang="0">
                <a:pos x="connsiteX35193" y="connsiteY35193"/>
              </a:cxn>
              <a:cxn ang="0">
                <a:pos x="connsiteX35194" y="connsiteY35194"/>
              </a:cxn>
              <a:cxn ang="0">
                <a:pos x="connsiteX35195" y="connsiteY35195"/>
              </a:cxn>
              <a:cxn ang="0">
                <a:pos x="connsiteX35196" y="connsiteY35196"/>
              </a:cxn>
              <a:cxn ang="0">
                <a:pos x="connsiteX35197" y="connsiteY35197"/>
              </a:cxn>
              <a:cxn ang="0">
                <a:pos x="connsiteX35198" y="connsiteY35198"/>
              </a:cxn>
              <a:cxn ang="0">
                <a:pos x="connsiteX35199" y="connsiteY35199"/>
              </a:cxn>
              <a:cxn ang="0">
                <a:pos x="connsiteX35200" y="connsiteY35200"/>
              </a:cxn>
              <a:cxn ang="0">
                <a:pos x="connsiteX35201" y="connsiteY35201"/>
              </a:cxn>
              <a:cxn ang="0">
                <a:pos x="connsiteX35202" y="connsiteY35202"/>
              </a:cxn>
              <a:cxn ang="0">
                <a:pos x="connsiteX35203" y="connsiteY35203"/>
              </a:cxn>
              <a:cxn ang="0">
                <a:pos x="connsiteX35204" y="connsiteY35204"/>
              </a:cxn>
              <a:cxn ang="0">
                <a:pos x="connsiteX35205" y="connsiteY35205"/>
              </a:cxn>
              <a:cxn ang="0">
                <a:pos x="connsiteX35206" y="connsiteY35206"/>
              </a:cxn>
              <a:cxn ang="0">
                <a:pos x="connsiteX35207" y="connsiteY35207"/>
              </a:cxn>
              <a:cxn ang="0">
                <a:pos x="connsiteX35208" y="connsiteY35208"/>
              </a:cxn>
              <a:cxn ang="0">
                <a:pos x="connsiteX35209" y="connsiteY35209"/>
              </a:cxn>
              <a:cxn ang="0">
                <a:pos x="connsiteX35210" y="connsiteY35210"/>
              </a:cxn>
              <a:cxn ang="0">
                <a:pos x="connsiteX35211" y="connsiteY35211"/>
              </a:cxn>
              <a:cxn ang="0">
                <a:pos x="connsiteX35212" y="connsiteY35212"/>
              </a:cxn>
              <a:cxn ang="0">
                <a:pos x="connsiteX35213" y="connsiteY35213"/>
              </a:cxn>
              <a:cxn ang="0">
                <a:pos x="connsiteX35214" y="connsiteY35214"/>
              </a:cxn>
              <a:cxn ang="0">
                <a:pos x="connsiteX35215" y="connsiteY35215"/>
              </a:cxn>
              <a:cxn ang="0">
                <a:pos x="connsiteX35216" y="connsiteY35216"/>
              </a:cxn>
              <a:cxn ang="0">
                <a:pos x="connsiteX35217" y="connsiteY35217"/>
              </a:cxn>
              <a:cxn ang="0">
                <a:pos x="connsiteX35218" y="connsiteY35218"/>
              </a:cxn>
              <a:cxn ang="0">
                <a:pos x="connsiteX35219" y="connsiteY35219"/>
              </a:cxn>
              <a:cxn ang="0">
                <a:pos x="connsiteX35220" y="connsiteY35220"/>
              </a:cxn>
              <a:cxn ang="0">
                <a:pos x="connsiteX35221" y="connsiteY35221"/>
              </a:cxn>
              <a:cxn ang="0">
                <a:pos x="connsiteX35222" y="connsiteY35222"/>
              </a:cxn>
              <a:cxn ang="0">
                <a:pos x="connsiteX35223" y="connsiteY35223"/>
              </a:cxn>
              <a:cxn ang="0">
                <a:pos x="connsiteX35224" y="connsiteY35224"/>
              </a:cxn>
              <a:cxn ang="0">
                <a:pos x="connsiteX35225" y="connsiteY35225"/>
              </a:cxn>
              <a:cxn ang="0">
                <a:pos x="connsiteX35226" y="connsiteY35226"/>
              </a:cxn>
              <a:cxn ang="0">
                <a:pos x="connsiteX35227" y="connsiteY35227"/>
              </a:cxn>
              <a:cxn ang="0">
                <a:pos x="connsiteX35228" y="connsiteY35228"/>
              </a:cxn>
              <a:cxn ang="0">
                <a:pos x="connsiteX35229" y="connsiteY35229"/>
              </a:cxn>
              <a:cxn ang="0">
                <a:pos x="connsiteX35230" y="connsiteY35230"/>
              </a:cxn>
              <a:cxn ang="0">
                <a:pos x="connsiteX35231" y="connsiteY35231"/>
              </a:cxn>
              <a:cxn ang="0">
                <a:pos x="connsiteX35232" y="connsiteY35232"/>
              </a:cxn>
              <a:cxn ang="0">
                <a:pos x="connsiteX35233" y="connsiteY35233"/>
              </a:cxn>
              <a:cxn ang="0">
                <a:pos x="connsiteX35234" y="connsiteY35234"/>
              </a:cxn>
              <a:cxn ang="0">
                <a:pos x="connsiteX35235" y="connsiteY35235"/>
              </a:cxn>
              <a:cxn ang="0">
                <a:pos x="connsiteX35236" y="connsiteY35236"/>
              </a:cxn>
              <a:cxn ang="0">
                <a:pos x="connsiteX35237" y="connsiteY35237"/>
              </a:cxn>
              <a:cxn ang="0">
                <a:pos x="connsiteX35238" y="connsiteY35238"/>
              </a:cxn>
              <a:cxn ang="0">
                <a:pos x="connsiteX35239" y="connsiteY35239"/>
              </a:cxn>
              <a:cxn ang="0">
                <a:pos x="connsiteX35240" y="connsiteY35240"/>
              </a:cxn>
              <a:cxn ang="0">
                <a:pos x="connsiteX35241" y="connsiteY35241"/>
              </a:cxn>
              <a:cxn ang="0">
                <a:pos x="connsiteX35242" y="connsiteY35242"/>
              </a:cxn>
              <a:cxn ang="0">
                <a:pos x="connsiteX35243" y="connsiteY35243"/>
              </a:cxn>
              <a:cxn ang="0">
                <a:pos x="connsiteX35244" y="connsiteY35244"/>
              </a:cxn>
              <a:cxn ang="0">
                <a:pos x="connsiteX35245" y="connsiteY35245"/>
              </a:cxn>
              <a:cxn ang="0">
                <a:pos x="connsiteX35246" y="connsiteY35246"/>
              </a:cxn>
              <a:cxn ang="0">
                <a:pos x="connsiteX35247" y="connsiteY35247"/>
              </a:cxn>
              <a:cxn ang="0">
                <a:pos x="connsiteX35248" y="connsiteY35248"/>
              </a:cxn>
              <a:cxn ang="0">
                <a:pos x="connsiteX35249" y="connsiteY35249"/>
              </a:cxn>
              <a:cxn ang="0">
                <a:pos x="connsiteX35250" y="connsiteY35250"/>
              </a:cxn>
              <a:cxn ang="0">
                <a:pos x="connsiteX35251" y="connsiteY35251"/>
              </a:cxn>
              <a:cxn ang="0">
                <a:pos x="connsiteX35252" y="connsiteY35252"/>
              </a:cxn>
              <a:cxn ang="0">
                <a:pos x="connsiteX35253" y="connsiteY35253"/>
              </a:cxn>
              <a:cxn ang="0">
                <a:pos x="connsiteX35254" y="connsiteY35254"/>
              </a:cxn>
              <a:cxn ang="0">
                <a:pos x="connsiteX35255" y="connsiteY35255"/>
              </a:cxn>
              <a:cxn ang="0">
                <a:pos x="connsiteX35256" y="connsiteY35256"/>
              </a:cxn>
              <a:cxn ang="0">
                <a:pos x="connsiteX35257" y="connsiteY35257"/>
              </a:cxn>
              <a:cxn ang="0">
                <a:pos x="connsiteX35258" y="connsiteY35258"/>
              </a:cxn>
              <a:cxn ang="0">
                <a:pos x="connsiteX35259" y="connsiteY35259"/>
              </a:cxn>
              <a:cxn ang="0">
                <a:pos x="connsiteX35260" y="connsiteY35260"/>
              </a:cxn>
              <a:cxn ang="0">
                <a:pos x="connsiteX35261" y="connsiteY35261"/>
              </a:cxn>
              <a:cxn ang="0">
                <a:pos x="connsiteX35262" y="connsiteY35262"/>
              </a:cxn>
              <a:cxn ang="0">
                <a:pos x="connsiteX35263" y="connsiteY35263"/>
              </a:cxn>
              <a:cxn ang="0">
                <a:pos x="connsiteX35264" y="connsiteY35264"/>
              </a:cxn>
              <a:cxn ang="0">
                <a:pos x="connsiteX35265" y="connsiteY35265"/>
              </a:cxn>
              <a:cxn ang="0">
                <a:pos x="connsiteX35266" y="connsiteY35266"/>
              </a:cxn>
              <a:cxn ang="0">
                <a:pos x="connsiteX35267" y="connsiteY35267"/>
              </a:cxn>
              <a:cxn ang="0">
                <a:pos x="connsiteX35268" y="connsiteY35268"/>
              </a:cxn>
              <a:cxn ang="0">
                <a:pos x="connsiteX35269" y="connsiteY35269"/>
              </a:cxn>
              <a:cxn ang="0">
                <a:pos x="connsiteX35270" y="connsiteY35270"/>
              </a:cxn>
              <a:cxn ang="0">
                <a:pos x="connsiteX35271" y="connsiteY35271"/>
              </a:cxn>
              <a:cxn ang="0">
                <a:pos x="connsiteX35272" y="connsiteY35272"/>
              </a:cxn>
              <a:cxn ang="0">
                <a:pos x="connsiteX35273" y="connsiteY35273"/>
              </a:cxn>
              <a:cxn ang="0">
                <a:pos x="connsiteX35274" y="connsiteY35274"/>
              </a:cxn>
              <a:cxn ang="0">
                <a:pos x="connsiteX35275" y="connsiteY35275"/>
              </a:cxn>
              <a:cxn ang="0">
                <a:pos x="connsiteX35276" y="connsiteY35276"/>
              </a:cxn>
              <a:cxn ang="0">
                <a:pos x="connsiteX35277" y="connsiteY35277"/>
              </a:cxn>
              <a:cxn ang="0">
                <a:pos x="connsiteX35278" y="connsiteY35278"/>
              </a:cxn>
              <a:cxn ang="0">
                <a:pos x="connsiteX35279" y="connsiteY35279"/>
              </a:cxn>
              <a:cxn ang="0">
                <a:pos x="connsiteX35280" y="connsiteY35280"/>
              </a:cxn>
              <a:cxn ang="0">
                <a:pos x="connsiteX35281" y="connsiteY35281"/>
              </a:cxn>
              <a:cxn ang="0">
                <a:pos x="connsiteX35282" y="connsiteY35282"/>
              </a:cxn>
              <a:cxn ang="0">
                <a:pos x="connsiteX35283" y="connsiteY35283"/>
              </a:cxn>
              <a:cxn ang="0">
                <a:pos x="connsiteX35284" y="connsiteY35284"/>
              </a:cxn>
              <a:cxn ang="0">
                <a:pos x="connsiteX35285" y="connsiteY35285"/>
              </a:cxn>
              <a:cxn ang="0">
                <a:pos x="connsiteX35286" y="connsiteY35286"/>
              </a:cxn>
              <a:cxn ang="0">
                <a:pos x="connsiteX35287" y="connsiteY35287"/>
              </a:cxn>
              <a:cxn ang="0">
                <a:pos x="connsiteX35288" y="connsiteY35288"/>
              </a:cxn>
              <a:cxn ang="0">
                <a:pos x="connsiteX35289" y="connsiteY35289"/>
              </a:cxn>
              <a:cxn ang="0">
                <a:pos x="connsiteX35290" y="connsiteY35290"/>
              </a:cxn>
              <a:cxn ang="0">
                <a:pos x="connsiteX35291" y="connsiteY35291"/>
              </a:cxn>
              <a:cxn ang="0">
                <a:pos x="connsiteX35292" y="connsiteY35292"/>
              </a:cxn>
              <a:cxn ang="0">
                <a:pos x="connsiteX35293" y="connsiteY35293"/>
              </a:cxn>
              <a:cxn ang="0">
                <a:pos x="connsiteX35294" y="connsiteY35294"/>
              </a:cxn>
              <a:cxn ang="0">
                <a:pos x="connsiteX35295" y="connsiteY35295"/>
              </a:cxn>
              <a:cxn ang="0">
                <a:pos x="connsiteX35296" y="connsiteY35296"/>
              </a:cxn>
              <a:cxn ang="0">
                <a:pos x="connsiteX35297" y="connsiteY35297"/>
              </a:cxn>
              <a:cxn ang="0">
                <a:pos x="connsiteX35298" y="connsiteY35298"/>
              </a:cxn>
              <a:cxn ang="0">
                <a:pos x="connsiteX35299" y="connsiteY35299"/>
              </a:cxn>
              <a:cxn ang="0">
                <a:pos x="connsiteX35300" y="connsiteY35300"/>
              </a:cxn>
              <a:cxn ang="0">
                <a:pos x="connsiteX35301" y="connsiteY35301"/>
              </a:cxn>
              <a:cxn ang="0">
                <a:pos x="connsiteX35302" y="connsiteY35302"/>
              </a:cxn>
              <a:cxn ang="0">
                <a:pos x="connsiteX35303" y="connsiteY35303"/>
              </a:cxn>
              <a:cxn ang="0">
                <a:pos x="connsiteX35304" y="connsiteY35304"/>
              </a:cxn>
              <a:cxn ang="0">
                <a:pos x="connsiteX35305" y="connsiteY35305"/>
              </a:cxn>
              <a:cxn ang="0">
                <a:pos x="connsiteX35306" y="connsiteY35306"/>
              </a:cxn>
              <a:cxn ang="0">
                <a:pos x="connsiteX35307" y="connsiteY35307"/>
              </a:cxn>
              <a:cxn ang="0">
                <a:pos x="connsiteX35308" y="connsiteY35308"/>
              </a:cxn>
              <a:cxn ang="0">
                <a:pos x="connsiteX35309" y="connsiteY35309"/>
              </a:cxn>
              <a:cxn ang="0">
                <a:pos x="connsiteX35310" y="connsiteY35310"/>
              </a:cxn>
              <a:cxn ang="0">
                <a:pos x="connsiteX35311" y="connsiteY35311"/>
              </a:cxn>
              <a:cxn ang="0">
                <a:pos x="connsiteX35312" y="connsiteY35312"/>
              </a:cxn>
              <a:cxn ang="0">
                <a:pos x="connsiteX35313" y="connsiteY35313"/>
              </a:cxn>
              <a:cxn ang="0">
                <a:pos x="connsiteX35314" y="connsiteY35314"/>
              </a:cxn>
              <a:cxn ang="0">
                <a:pos x="connsiteX35315" y="connsiteY35315"/>
              </a:cxn>
              <a:cxn ang="0">
                <a:pos x="connsiteX35316" y="connsiteY35316"/>
              </a:cxn>
              <a:cxn ang="0">
                <a:pos x="connsiteX35317" y="connsiteY35317"/>
              </a:cxn>
              <a:cxn ang="0">
                <a:pos x="connsiteX35318" y="connsiteY35318"/>
              </a:cxn>
              <a:cxn ang="0">
                <a:pos x="connsiteX35319" y="connsiteY35319"/>
              </a:cxn>
              <a:cxn ang="0">
                <a:pos x="connsiteX35320" y="connsiteY35320"/>
              </a:cxn>
              <a:cxn ang="0">
                <a:pos x="connsiteX35321" y="connsiteY35321"/>
              </a:cxn>
              <a:cxn ang="0">
                <a:pos x="connsiteX35322" y="connsiteY35322"/>
              </a:cxn>
              <a:cxn ang="0">
                <a:pos x="connsiteX35323" y="connsiteY35323"/>
              </a:cxn>
              <a:cxn ang="0">
                <a:pos x="connsiteX35324" y="connsiteY35324"/>
              </a:cxn>
              <a:cxn ang="0">
                <a:pos x="connsiteX35325" y="connsiteY35325"/>
              </a:cxn>
              <a:cxn ang="0">
                <a:pos x="connsiteX35326" y="connsiteY35326"/>
              </a:cxn>
              <a:cxn ang="0">
                <a:pos x="connsiteX35327" y="connsiteY35327"/>
              </a:cxn>
              <a:cxn ang="0">
                <a:pos x="connsiteX35328" y="connsiteY35328"/>
              </a:cxn>
              <a:cxn ang="0">
                <a:pos x="connsiteX35329" y="connsiteY35329"/>
              </a:cxn>
              <a:cxn ang="0">
                <a:pos x="connsiteX35330" y="connsiteY35330"/>
              </a:cxn>
              <a:cxn ang="0">
                <a:pos x="connsiteX35331" y="connsiteY35331"/>
              </a:cxn>
              <a:cxn ang="0">
                <a:pos x="connsiteX35332" y="connsiteY35332"/>
              </a:cxn>
              <a:cxn ang="0">
                <a:pos x="connsiteX35333" y="connsiteY35333"/>
              </a:cxn>
              <a:cxn ang="0">
                <a:pos x="connsiteX35334" y="connsiteY35334"/>
              </a:cxn>
              <a:cxn ang="0">
                <a:pos x="connsiteX35335" y="connsiteY35335"/>
              </a:cxn>
              <a:cxn ang="0">
                <a:pos x="connsiteX35336" y="connsiteY35336"/>
              </a:cxn>
              <a:cxn ang="0">
                <a:pos x="connsiteX35337" y="connsiteY35337"/>
              </a:cxn>
              <a:cxn ang="0">
                <a:pos x="connsiteX35338" y="connsiteY35338"/>
              </a:cxn>
              <a:cxn ang="0">
                <a:pos x="connsiteX35339" y="connsiteY35339"/>
              </a:cxn>
              <a:cxn ang="0">
                <a:pos x="connsiteX35340" y="connsiteY35340"/>
              </a:cxn>
              <a:cxn ang="0">
                <a:pos x="connsiteX35341" y="connsiteY35341"/>
              </a:cxn>
              <a:cxn ang="0">
                <a:pos x="connsiteX35342" y="connsiteY35342"/>
              </a:cxn>
              <a:cxn ang="0">
                <a:pos x="connsiteX35343" y="connsiteY35343"/>
              </a:cxn>
              <a:cxn ang="0">
                <a:pos x="connsiteX35344" y="connsiteY35344"/>
              </a:cxn>
              <a:cxn ang="0">
                <a:pos x="connsiteX35345" y="connsiteY35345"/>
              </a:cxn>
              <a:cxn ang="0">
                <a:pos x="connsiteX35346" y="connsiteY35346"/>
              </a:cxn>
              <a:cxn ang="0">
                <a:pos x="connsiteX35347" y="connsiteY35347"/>
              </a:cxn>
              <a:cxn ang="0">
                <a:pos x="connsiteX35348" y="connsiteY35348"/>
              </a:cxn>
              <a:cxn ang="0">
                <a:pos x="connsiteX35349" y="connsiteY35349"/>
              </a:cxn>
              <a:cxn ang="0">
                <a:pos x="connsiteX35350" y="connsiteY35350"/>
              </a:cxn>
              <a:cxn ang="0">
                <a:pos x="connsiteX35351" y="connsiteY35351"/>
              </a:cxn>
              <a:cxn ang="0">
                <a:pos x="connsiteX35352" y="connsiteY35352"/>
              </a:cxn>
              <a:cxn ang="0">
                <a:pos x="connsiteX35353" y="connsiteY35353"/>
              </a:cxn>
              <a:cxn ang="0">
                <a:pos x="connsiteX35354" y="connsiteY35354"/>
              </a:cxn>
              <a:cxn ang="0">
                <a:pos x="connsiteX35355" y="connsiteY35355"/>
              </a:cxn>
              <a:cxn ang="0">
                <a:pos x="connsiteX35356" y="connsiteY35356"/>
              </a:cxn>
              <a:cxn ang="0">
                <a:pos x="connsiteX35357" y="connsiteY35357"/>
              </a:cxn>
              <a:cxn ang="0">
                <a:pos x="connsiteX35358" y="connsiteY35358"/>
              </a:cxn>
              <a:cxn ang="0">
                <a:pos x="connsiteX35359" y="connsiteY35359"/>
              </a:cxn>
              <a:cxn ang="0">
                <a:pos x="connsiteX35360" y="connsiteY35360"/>
              </a:cxn>
              <a:cxn ang="0">
                <a:pos x="connsiteX35361" y="connsiteY35361"/>
              </a:cxn>
              <a:cxn ang="0">
                <a:pos x="connsiteX35362" y="connsiteY35362"/>
              </a:cxn>
              <a:cxn ang="0">
                <a:pos x="connsiteX35363" y="connsiteY35363"/>
              </a:cxn>
              <a:cxn ang="0">
                <a:pos x="connsiteX35364" y="connsiteY35364"/>
              </a:cxn>
              <a:cxn ang="0">
                <a:pos x="connsiteX35365" y="connsiteY35365"/>
              </a:cxn>
              <a:cxn ang="0">
                <a:pos x="connsiteX35366" y="connsiteY35366"/>
              </a:cxn>
              <a:cxn ang="0">
                <a:pos x="connsiteX35367" y="connsiteY35367"/>
              </a:cxn>
              <a:cxn ang="0">
                <a:pos x="connsiteX35368" y="connsiteY35368"/>
              </a:cxn>
              <a:cxn ang="0">
                <a:pos x="connsiteX35369" y="connsiteY35369"/>
              </a:cxn>
              <a:cxn ang="0">
                <a:pos x="connsiteX35370" y="connsiteY35370"/>
              </a:cxn>
              <a:cxn ang="0">
                <a:pos x="connsiteX35371" y="connsiteY35371"/>
              </a:cxn>
              <a:cxn ang="0">
                <a:pos x="connsiteX35372" y="connsiteY35372"/>
              </a:cxn>
              <a:cxn ang="0">
                <a:pos x="connsiteX35373" y="connsiteY35373"/>
              </a:cxn>
              <a:cxn ang="0">
                <a:pos x="connsiteX35374" y="connsiteY35374"/>
              </a:cxn>
              <a:cxn ang="0">
                <a:pos x="connsiteX35375" y="connsiteY35375"/>
              </a:cxn>
              <a:cxn ang="0">
                <a:pos x="connsiteX35376" y="connsiteY35376"/>
              </a:cxn>
              <a:cxn ang="0">
                <a:pos x="connsiteX35377" y="connsiteY35377"/>
              </a:cxn>
              <a:cxn ang="0">
                <a:pos x="connsiteX35378" y="connsiteY35378"/>
              </a:cxn>
              <a:cxn ang="0">
                <a:pos x="connsiteX35379" y="connsiteY35379"/>
              </a:cxn>
              <a:cxn ang="0">
                <a:pos x="connsiteX35380" y="connsiteY35380"/>
              </a:cxn>
              <a:cxn ang="0">
                <a:pos x="connsiteX35381" y="connsiteY35381"/>
              </a:cxn>
              <a:cxn ang="0">
                <a:pos x="connsiteX35382" y="connsiteY35382"/>
              </a:cxn>
              <a:cxn ang="0">
                <a:pos x="connsiteX35383" y="connsiteY35383"/>
              </a:cxn>
              <a:cxn ang="0">
                <a:pos x="connsiteX35384" y="connsiteY35384"/>
              </a:cxn>
              <a:cxn ang="0">
                <a:pos x="connsiteX35385" y="connsiteY35385"/>
              </a:cxn>
              <a:cxn ang="0">
                <a:pos x="connsiteX35386" y="connsiteY35386"/>
              </a:cxn>
              <a:cxn ang="0">
                <a:pos x="connsiteX35387" y="connsiteY35387"/>
              </a:cxn>
              <a:cxn ang="0">
                <a:pos x="connsiteX35388" y="connsiteY35388"/>
              </a:cxn>
              <a:cxn ang="0">
                <a:pos x="connsiteX35389" y="connsiteY35389"/>
              </a:cxn>
              <a:cxn ang="0">
                <a:pos x="connsiteX35390" y="connsiteY35390"/>
              </a:cxn>
              <a:cxn ang="0">
                <a:pos x="connsiteX35391" y="connsiteY35391"/>
              </a:cxn>
              <a:cxn ang="0">
                <a:pos x="connsiteX35392" y="connsiteY35392"/>
              </a:cxn>
              <a:cxn ang="0">
                <a:pos x="connsiteX35393" y="connsiteY35393"/>
              </a:cxn>
              <a:cxn ang="0">
                <a:pos x="connsiteX35394" y="connsiteY35394"/>
              </a:cxn>
              <a:cxn ang="0">
                <a:pos x="connsiteX35395" y="connsiteY35395"/>
              </a:cxn>
              <a:cxn ang="0">
                <a:pos x="connsiteX35396" y="connsiteY35396"/>
              </a:cxn>
              <a:cxn ang="0">
                <a:pos x="connsiteX35397" y="connsiteY35397"/>
              </a:cxn>
              <a:cxn ang="0">
                <a:pos x="connsiteX35398" y="connsiteY35398"/>
              </a:cxn>
              <a:cxn ang="0">
                <a:pos x="connsiteX35399" y="connsiteY35399"/>
              </a:cxn>
              <a:cxn ang="0">
                <a:pos x="connsiteX35400" y="connsiteY35400"/>
              </a:cxn>
              <a:cxn ang="0">
                <a:pos x="connsiteX35401" y="connsiteY35401"/>
              </a:cxn>
              <a:cxn ang="0">
                <a:pos x="connsiteX35402" y="connsiteY35402"/>
              </a:cxn>
              <a:cxn ang="0">
                <a:pos x="connsiteX35403" y="connsiteY35403"/>
              </a:cxn>
              <a:cxn ang="0">
                <a:pos x="connsiteX35404" y="connsiteY35404"/>
              </a:cxn>
              <a:cxn ang="0">
                <a:pos x="connsiteX35405" y="connsiteY35405"/>
              </a:cxn>
              <a:cxn ang="0">
                <a:pos x="connsiteX35406" y="connsiteY35406"/>
              </a:cxn>
              <a:cxn ang="0">
                <a:pos x="connsiteX35407" y="connsiteY35407"/>
              </a:cxn>
              <a:cxn ang="0">
                <a:pos x="connsiteX35408" y="connsiteY35408"/>
              </a:cxn>
              <a:cxn ang="0">
                <a:pos x="connsiteX35409" y="connsiteY35409"/>
              </a:cxn>
              <a:cxn ang="0">
                <a:pos x="connsiteX35410" y="connsiteY35410"/>
              </a:cxn>
              <a:cxn ang="0">
                <a:pos x="connsiteX35411" y="connsiteY35411"/>
              </a:cxn>
              <a:cxn ang="0">
                <a:pos x="connsiteX35412" y="connsiteY35412"/>
              </a:cxn>
              <a:cxn ang="0">
                <a:pos x="connsiteX35413" y="connsiteY35413"/>
              </a:cxn>
              <a:cxn ang="0">
                <a:pos x="connsiteX35414" y="connsiteY35414"/>
              </a:cxn>
              <a:cxn ang="0">
                <a:pos x="connsiteX35415" y="connsiteY35415"/>
              </a:cxn>
              <a:cxn ang="0">
                <a:pos x="connsiteX35416" y="connsiteY35416"/>
              </a:cxn>
              <a:cxn ang="0">
                <a:pos x="connsiteX35417" y="connsiteY35417"/>
              </a:cxn>
              <a:cxn ang="0">
                <a:pos x="connsiteX35418" y="connsiteY35418"/>
              </a:cxn>
              <a:cxn ang="0">
                <a:pos x="connsiteX35419" y="connsiteY35419"/>
              </a:cxn>
              <a:cxn ang="0">
                <a:pos x="connsiteX35420" y="connsiteY35420"/>
              </a:cxn>
              <a:cxn ang="0">
                <a:pos x="connsiteX35421" y="connsiteY35421"/>
              </a:cxn>
              <a:cxn ang="0">
                <a:pos x="connsiteX35422" y="connsiteY35422"/>
              </a:cxn>
              <a:cxn ang="0">
                <a:pos x="connsiteX35423" y="connsiteY35423"/>
              </a:cxn>
              <a:cxn ang="0">
                <a:pos x="connsiteX35424" y="connsiteY35424"/>
              </a:cxn>
              <a:cxn ang="0">
                <a:pos x="connsiteX35425" y="connsiteY35425"/>
              </a:cxn>
              <a:cxn ang="0">
                <a:pos x="connsiteX35426" y="connsiteY35426"/>
              </a:cxn>
              <a:cxn ang="0">
                <a:pos x="connsiteX35427" y="connsiteY35427"/>
              </a:cxn>
              <a:cxn ang="0">
                <a:pos x="connsiteX35428" y="connsiteY35428"/>
              </a:cxn>
              <a:cxn ang="0">
                <a:pos x="connsiteX35429" y="connsiteY35429"/>
              </a:cxn>
              <a:cxn ang="0">
                <a:pos x="connsiteX35430" y="connsiteY35430"/>
              </a:cxn>
              <a:cxn ang="0">
                <a:pos x="connsiteX35431" y="connsiteY35431"/>
              </a:cxn>
              <a:cxn ang="0">
                <a:pos x="connsiteX35432" y="connsiteY35432"/>
              </a:cxn>
              <a:cxn ang="0">
                <a:pos x="connsiteX35433" y="connsiteY35433"/>
              </a:cxn>
              <a:cxn ang="0">
                <a:pos x="connsiteX35434" y="connsiteY35434"/>
              </a:cxn>
              <a:cxn ang="0">
                <a:pos x="connsiteX35435" y="connsiteY35435"/>
              </a:cxn>
              <a:cxn ang="0">
                <a:pos x="connsiteX35436" y="connsiteY35436"/>
              </a:cxn>
              <a:cxn ang="0">
                <a:pos x="connsiteX35437" y="connsiteY35437"/>
              </a:cxn>
              <a:cxn ang="0">
                <a:pos x="connsiteX35438" y="connsiteY35438"/>
              </a:cxn>
              <a:cxn ang="0">
                <a:pos x="connsiteX35439" y="connsiteY35439"/>
              </a:cxn>
              <a:cxn ang="0">
                <a:pos x="connsiteX35440" y="connsiteY35440"/>
              </a:cxn>
              <a:cxn ang="0">
                <a:pos x="connsiteX35441" y="connsiteY35441"/>
              </a:cxn>
              <a:cxn ang="0">
                <a:pos x="connsiteX35442" y="connsiteY35442"/>
              </a:cxn>
              <a:cxn ang="0">
                <a:pos x="connsiteX35443" y="connsiteY35443"/>
              </a:cxn>
              <a:cxn ang="0">
                <a:pos x="connsiteX35444" y="connsiteY35444"/>
              </a:cxn>
              <a:cxn ang="0">
                <a:pos x="connsiteX35445" y="connsiteY35445"/>
              </a:cxn>
              <a:cxn ang="0">
                <a:pos x="connsiteX35446" y="connsiteY35446"/>
              </a:cxn>
              <a:cxn ang="0">
                <a:pos x="connsiteX35447" y="connsiteY35447"/>
              </a:cxn>
              <a:cxn ang="0">
                <a:pos x="connsiteX35448" y="connsiteY35448"/>
              </a:cxn>
              <a:cxn ang="0">
                <a:pos x="connsiteX35449" y="connsiteY35449"/>
              </a:cxn>
              <a:cxn ang="0">
                <a:pos x="connsiteX35450" y="connsiteY35450"/>
              </a:cxn>
              <a:cxn ang="0">
                <a:pos x="connsiteX35451" y="connsiteY35451"/>
              </a:cxn>
              <a:cxn ang="0">
                <a:pos x="connsiteX35452" y="connsiteY35452"/>
              </a:cxn>
              <a:cxn ang="0">
                <a:pos x="connsiteX35453" y="connsiteY35453"/>
              </a:cxn>
              <a:cxn ang="0">
                <a:pos x="connsiteX35454" y="connsiteY35454"/>
              </a:cxn>
              <a:cxn ang="0">
                <a:pos x="connsiteX35455" y="connsiteY35455"/>
              </a:cxn>
              <a:cxn ang="0">
                <a:pos x="connsiteX35456" y="connsiteY35456"/>
              </a:cxn>
              <a:cxn ang="0">
                <a:pos x="connsiteX35457" y="connsiteY35457"/>
              </a:cxn>
              <a:cxn ang="0">
                <a:pos x="connsiteX35458" y="connsiteY35458"/>
              </a:cxn>
              <a:cxn ang="0">
                <a:pos x="connsiteX35459" y="connsiteY35459"/>
              </a:cxn>
              <a:cxn ang="0">
                <a:pos x="connsiteX35460" y="connsiteY35460"/>
              </a:cxn>
              <a:cxn ang="0">
                <a:pos x="connsiteX35461" y="connsiteY35461"/>
              </a:cxn>
              <a:cxn ang="0">
                <a:pos x="connsiteX35462" y="connsiteY35462"/>
              </a:cxn>
              <a:cxn ang="0">
                <a:pos x="connsiteX35463" y="connsiteY35463"/>
              </a:cxn>
              <a:cxn ang="0">
                <a:pos x="connsiteX35464" y="connsiteY35464"/>
              </a:cxn>
              <a:cxn ang="0">
                <a:pos x="connsiteX35465" y="connsiteY35465"/>
              </a:cxn>
              <a:cxn ang="0">
                <a:pos x="connsiteX35466" y="connsiteY35466"/>
              </a:cxn>
              <a:cxn ang="0">
                <a:pos x="connsiteX35467" y="connsiteY35467"/>
              </a:cxn>
              <a:cxn ang="0">
                <a:pos x="connsiteX35468" y="connsiteY35468"/>
              </a:cxn>
              <a:cxn ang="0">
                <a:pos x="connsiteX35469" y="connsiteY35469"/>
              </a:cxn>
              <a:cxn ang="0">
                <a:pos x="connsiteX35470" y="connsiteY35470"/>
              </a:cxn>
              <a:cxn ang="0">
                <a:pos x="connsiteX35471" y="connsiteY35471"/>
              </a:cxn>
              <a:cxn ang="0">
                <a:pos x="connsiteX35472" y="connsiteY35472"/>
              </a:cxn>
              <a:cxn ang="0">
                <a:pos x="connsiteX35473" y="connsiteY35473"/>
              </a:cxn>
              <a:cxn ang="0">
                <a:pos x="connsiteX35474" y="connsiteY35474"/>
              </a:cxn>
              <a:cxn ang="0">
                <a:pos x="connsiteX35475" y="connsiteY35475"/>
              </a:cxn>
              <a:cxn ang="0">
                <a:pos x="connsiteX35476" y="connsiteY35476"/>
              </a:cxn>
              <a:cxn ang="0">
                <a:pos x="connsiteX35477" y="connsiteY35477"/>
              </a:cxn>
              <a:cxn ang="0">
                <a:pos x="connsiteX35478" y="connsiteY35478"/>
              </a:cxn>
              <a:cxn ang="0">
                <a:pos x="connsiteX35479" y="connsiteY35479"/>
              </a:cxn>
              <a:cxn ang="0">
                <a:pos x="connsiteX35480" y="connsiteY35480"/>
              </a:cxn>
              <a:cxn ang="0">
                <a:pos x="connsiteX35481" y="connsiteY35481"/>
              </a:cxn>
              <a:cxn ang="0">
                <a:pos x="connsiteX35482" y="connsiteY35482"/>
              </a:cxn>
              <a:cxn ang="0">
                <a:pos x="connsiteX35483" y="connsiteY35483"/>
              </a:cxn>
              <a:cxn ang="0">
                <a:pos x="connsiteX35484" y="connsiteY35484"/>
              </a:cxn>
              <a:cxn ang="0">
                <a:pos x="connsiteX35485" y="connsiteY35485"/>
              </a:cxn>
              <a:cxn ang="0">
                <a:pos x="connsiteX35486" y="connsiteY35486"/>
              </a:cxn>
              <a:cxn ang="0">
                <a:pos x="connsiteX35487" y="connsiteY35487"/>
              </a:cxn>
              <a:cxn ang="0">
                <a:pos x="connsiteX35488" y="connsiteY35488"/>
              </a:cxn>
              <a:cxn ang="0">
                <a:pos x="connsiteX35489" y="connsiteY35489"/>
              </a:cxn>
              <a:cxn ang="0">
                <a:pos x="connsiteX35490" y="connsiteY35490"/>
              </a:cxn>
              <a:cxn ang="0">
                <a:pos x="connsiteX35491" y="connsiteY35491"/>
              </a:cxn>
              <a:cxn ang="0">
                <a:pos x="connsiteX35492" y="connsiteY35492"/>
              </a:cxn>
              <a:cxn ang="0">
                <a:pos x="connsiteX35493" y="connsiteY35493"/>
              </a:cxn>
              <a:cxn ang="0">
                <a:pos x="connsiteX35494" y="connsiteY35494"/>
              </a:cxn>
              <a:cxn ang="0">
                <a:pos x="connsiteX35495" y="connsiteY35495"/>
              </a:cxn>
              <a:cxn ang="0">
                <a:pos x="connsiteX35496" y="connsiteY35496"/>
              </a:cxn>
              <a:cxn ang="0">
                <a:pos x="connsiteX35497" y="connsiteY35497"/>
              </a:cxn>
              <a:cxn ang="0">
                <a:pos x="connsiteX35498" y="connsiteY35498"/>
              </a:cxn>
              <a:cxn ang="0">
                <a:pos x="connsiteX35499" y="connsiteY35499"/>
              </a:cxn>
              <a:cxn ang="0">
                <a:pos x="connsiteX35500" y="connsiteY35500"/>
              </a:cxn>
              <a:cxn ang="0">
                <a:pos x="connsiteX35501" y="connsiteY35501"/>
              </a:cxn>
              <a:cxn ang="0">
                <a:pos x="connsiteX35502" y="connsiteY35502"/>
              </a:cxn>
              <a:cxn ang="0">
                <a:pos x="connsiteX35503" y="connsiteY35503"/>
              </a:cxn>
              <a:cxn ang="0">
                <a:pos x="connsiteX35504" y="connsiteY35504"/>
              </a:cxn>
              <a:cxn ang="0">
                <a:pos x="connsiteX35505" y="connsiteY35505"/>
              </a:cxn>
              <a:cxn ang="0">
                <a:pos x="connsiteX35506" y="connsiteY35506"/>
              </a:cxn>
              <a:cxn ang="0">
                <a:pos x="connsiteX35507" y="connsiteY35507"/>
              </a:cxn>
              <a:cxn ang="0">
                <a:pos x="connsiteX35508" y="connsiteY35508"/>
              </a:cxn>
              <a:cxn ang="0">
                <a:pos x="connsiteX35509" y="connsiteY35509"/>
              </a:cxn>
              <a:cxn ang="0">
                <a:pos x="connsiteX35510" y="connsiteY35510"/>
              </a:cxn>
              <a:cxn ang="0">
                <a:pos x="connsiteX35511" y="connsiteY35511"/>
              </a:cxn>
              <a:cxn ang="0">
                <a:pos x="connsiteX35512" y="connsiteY35512"/>
              </a:cxn>
              <a:cxn ang="0">
                <a:pos x="connsiteX35513" y="connsiteY35513"/>
              </a:cxn>
              <a:cxn ang="0">
                <a:pos x="connsiteX35514" y="connsiteY35514"/>
              </a:cxn>
              <a:cxn ang="0">
                <a:pos x="connsiteX35515" y="connsiteY35515"/>
              </a:cxn>
              <a:cxn ang="0">
                <a:pos x="connsiteX35516" y="connsiteY35516"/>
              </a:cxn>
              <a:cxn ang="0">
                <a:pos x="connsiteX35517" y="connsiteY35517"/>
              </a:cxn>
              <a:cxn ang="0">
                <a:pos x="connsiteX35518" y="connsiteY35518"/>
              </a:cxn>
              <a:cxn ang="0">
                <a:pos x="connsiteX35519" y="connsiteY35519"/>
              </a:cxn>
              <a:cxn ang="0">
                <a:pos x="connsiteX35520" y="connsiteY35520"/>
              </a:cxn>
              <a:cxn ang="0">
                <a:pos x="connsiteX35521" y="connsiteY35521"/>
              </a:cxn>
              <a:cxn ang="0">
                <a:pos x="connsiteX35522" y="connsiteY35522"/>
              </a:cxn>
              <a:cxn ang="0">
                <a:pos x="connsiteX35523" y="connsiteY35523"/>
              </a:cxn>
              <a:cxn ang="0">
                <a:pos x="connsiteX35524" y="connsiteY35524"/>
              </a:cxn>
              <a:cxn ang="0">
                <a:pos x="connsiteX35525" y="connsiteY35525"/>
              </a:cxn>
              <a:cxn ang="0">
                <a:pos x="connsiteX35526" y="connsiteY35526"/>
              </a:cxn>
              <a:cxn ang="0">
                <a:pos x="connsiteX35527" y="connsiteY35527"/>
              </a:cxn>
              <a:cxn ang="0">
                <a:pos x="connsiteX35528" y="connsiteY35528"/>
              </a:cxn>
              <a:cxn ang="0">
                <a:pos x="connsiteX35529" y="connsiteY35529"/>
              </a:cxn>
              <a:cxn ang="0">
                <a:pos x="connsiteX35530" y="connsiteY35530"/>
              </a:cxn>
              <a:cxn ang="0">
                <a:pos x="connsiteX35531" y="connsiteY35531"/>
              </a:cxn>
              <a:cxn ang="0">
                <a:pos x="connsiteX35532" y="connsiteY35532"/>
              </a:cxn>
              <a:cxn ang="0">
                <a:pos x="connsiteX35533" y="connsiteY35533"/>
              </a:cxn>
              <a:cxn ang="0">
                <a:pos x="connsiteX35534" y="connsiteY35534"/>
              </a:cxn>
              <a:cxn ang="0">
                <a:pos x="connsiteX35535" y="connsiteY35535"/>
              </a:cxn>
              <a:cxn ang="0">
                <a:pos x="connsiteX35536" y="connsiteY35536"/>
              </a:cxn>
              <a:cxn ang="0">
                <a:pos x="connsiteX35537" y="connsiteY35537"/>
              </a:cxn>
              <a:cxn ang="0">
                <a:pos x="connsiteX35538" y="connsiteY35538"/>
              </a:cxn>
              <a:cxn ang="0">
                <a:pos x="connsiteX35539" y="connsiteY35539"/>
              </a:cxn>
              <a:cxn ang="0">
                <a:pos x="connsiteX35540" y="connsiteY35540"/>
              </a:cxn>
              <a:cxn ang="0">
                <a:pos x="connsiteX35541" y="connsiteY35541"/>
              </a:cxn>
              <a:cxn ang="0">
                <a:pos x="connsiteX35542" y="connsiteY35542"/>
              </a:cxn>
              <a:cxn ang="0">
                <a:pos x="connsiteX35543" y="connsiteY35543"/>
              </a:cxn>
              <a:cxn ang="0">
                <a:pos x="connsiteX35544" y="connsiteY35544"/>
              </a:cxn>
              <a:cxn ang="0">
                <a:pos x="connsiteX35545" y="connsiteY35545"/>
              </a:cxn>
              <a:cxn ang="0">
                <a:pos x="connsiteX35546" y="connsiteY35546"/>
              </a:cxn>
              <a:cxn ang="0">
                <a:pos x="connsiteX35547" y="connsiteY35547"/>
              </a:cxn>
              <a:cxn ang="0">
                <a:pos x="connsiteX35548" y="connsiteY35548"/>
              </a:cxn>
              <a:cxn ang="0">
                <a:pos x="connsiteX35549" y="connsiteY35549"/>
              </a:cxn>
              <a:cxn ang="0">
                <a:pos x="connsiteX35550" y="connsiteY35550"/>
              </a:cxn>
              <a:cxn ang="0">
                <a:pos x="connsiteX35551" y="connsiteY35551"/>
              </a:cxn>
              <a:cxn ang="0">
                <a:pos x="connsiteX35552" y="connsiteY35552"/>
              </a:cxn>
              <a:cxn ang="0">
                <a:pos x="connsiteX35553" y="connsiteY35553"/>
              </a:cxn>
              <a:cxn ang="0">
                <a:pos x="connsiteX35554" y="connsiteY35554"/>
              </a:cxn>
              <a:cxn ang="0">
                <a:pos x="connsiteX35555" y="connsiteY35555"/>
              </a:cxn>
              <a:cxn ang="0">
                <a:pos x="connsiteX35556" y="connsiteY35556"/>
              </a:cxn>
              <a:cxn ang="0">
                <a:pos x="connsiteX35557" y="connsiteY35557"/>
              </a:cxn>
              <a:cxn ang="0">
                <a:pos x="connsiteX35558" y="connsiteY35558"/>
              </a:cxn>
              <a:cxn ang="0">
                <a:pos x="connsiteX35559" y="connsiteY35559"/>
              </a:cxn>
              <a:cxn ang="0">
                <a:pos x="connsiteX35560" y="connsiteY35560"/>
              </a:cxn>
              <a:cxn ang="0">
                <a:pos x="connsiteX35561" y="connsiteY35561"/>
              </a:cxn>
              <a:cxn ang="0">
                <a:pos x="connsiteX35562" y="connsiteY35562"/>
              </a:cxn>
              <a:cxn ang="0">
                <a:pos x="connsiteX35563" y="connsiteY35563"/>
              </a:cxn>
              <a:cxn ang="0">
                <a:pos x="connsiteX35564" y="connsiteY35564"/>
              </a:cxn>
              <a:cxn ang="0">
                <a:pos x="connsiteX35565" y="connsiteY35565"/>
              </a:cxn>
              <a:cxn ang="0">
                <a:pos x="connsiteX35566" y="connsiteY35566"/>
              </a:cxn>
              <a:cxn ang="0">
                <a:pos x="connsiteX35567" y="connsiteY35567"/>
              </a:cxn>
              <a:cxn ang="0">
                <a:pos x="connsiteX35568" y="connsiteY35568"/>
              </a:cxn>
              <a:cxn ang="0">
                <a:pos x="connsiteX35569" y="connsiteY35569"/>
              </a:cxn>
              <a:cxn ang="0">
                <a:pos x="connsiteX35570" y="connsiteY35570"/>
              </a:cxn>
              <a:cxn ang="0">
                <a:pos x="connsiteX35571" y="connsiteY35571"/>
              </a:cxn>
              <a:cxn ang="0">
                <a:pos x="connsiteX35572" y="connsiteY35572"/>
              </a:cxn>
              <a:cxn ang="0">
                <a:pos x="connsiteX35573" y="connsiteY35573"/>
              </a:cxn>
              <a:cxn ang="0">
                <a:pos x="connsiteX35574" y="connsiteY35574"/>
              </a:cxn>
              <a:cxn ang="0">
                <a:pos x="connsiteX35575" y="connsiteY35575"/>
              </a:cxn>
              <a:cxn ang="0">
                <a:pos x="connsiteX35576" y="connsiteY35576"/>
              </a:cxn>
              <a:cxn ang="0">
                <a:pos x="connsiteX35577" y="connsiteY35577"/>
              </a:cxn>
              <a:cxn ang="0">
                <a:pos x="connsiteX35578" y="connsiteY35578"/>
              </a:cxn>
              <a:cxn ang="0">
                <a:pos x="connsiteX35579" y="connsiteY35579"/>
              </a:cxn>
              <a:cxn ang="0">
                <a:pos x="connsiteX35580" y="connsiteY35580"/>
              </a:cxn>
              <a:cxn ang="0">
                <a:pos x="connsiteX35581" y="connsiteY35581"/>
              </a:cxn>
              <a:cxn ang="0">
                <a:pos x="connsiteX35582" y="connsiteY35582"/>
              </a:cxn>
              <a:cxn ang="0">
                <a:pos x="connsiteX35583" y="connsiteY35583"/>
              </a:cxn>
              <a:cxn ang="0">
                <a:pos x="connsiteX35584" y="connsiteY35584"/>
              </a:cxn>
              <a:cxn ang="0">
                <a:pos x="connsiteX35585" y="connsiteY35585"/>
              </a:cxn>
              <a:cxn ang="0">
                <a:pos x="connsiteX35586" y="connsiteY35586"/>
              </a:cxn>
              <a:cxn ang="0">
                <a:pos x="connsiteX35587" y="connsiteY35587"/>
              </a:cxn>
              <a:cxn ang="0">
                <a:pos x="connsiteX35588" y="connsiteY35588"/>
              </a:cxn>
              <a:cxn ang="0">
                <a:pos x="connsiteX35589" y="connsiteY35589"/>
              </a:cxn>
              <a:cxn ang="0">
                <a:pos x="connsiteX35590" y="connsiteY35590"/>
              </a:cxn>
              <a:cxn ang="0">
                <a:pos x="connsiteX35591" y="connsiteY35591"/>
              </a:cxn>
              <a:cxn ang="0">
                <a:pos x="connsiteX35592" y="connsiteY35592"/>
              </a:cxn>
              <a:cxn ang="0">
                <a:pos x="connsiteX35593" y="connsiteY35593"/>
              </a:cxn>
              <a:cxn ang="0">
                <a:pos x="connsiteX35594" y="connsiteY35594"/>
              </a:cxn>
              <a:cxn ang="0">
                <a:pos x="connsiteX35595" y="connsiteY35595"/>
              </a:cxn>
              <a:cxn ang="0">
                <a:pos x="connsiteX35596" y="connsiteY35596"/>
              </a:cxn>
              <a:cxn ang="0">
                <a:pos x="connsiteX35597" y="connsiteY35597"/>
              </a:cxn>
              <a:cxn ang="0">
                <a:pos x="connsiteX35598" y="connsiteY35598"/>
              </a:cxn>
              <a:cxn ang="0">
                <a:pos x="connsiteX35599" y="connsiteY35599"/>
              </a:cxn>
              <a:cxn ang="0">
                <a:pos x="connsiteX35600" y="connsiteY35600"/>
              </a:cxn>
              <a:cxn ang="0">
                <a:pos x="connsiteX35601" y="connsiteY35601"/>
              </a:cxn>
              <a:cxn ang="0">
                <a:pos x="connsiteX35602" y="connsiteY35602"/>
              </a:cxn>
              <a:cxn ang="0">
                <a:pos x="connsiteX35603" y="connsiteY35603"/>
              </a:cxn>
              <a:cxn ang="0">
                <a:pos x="connsiteX35604" y="connsiteY35604"/>
              </a:cxn>
              <a:cxn ang="0">
                <a:pos x="connsiteX35605" y="connsiteY35605"/>
              </a:cxn>
              <a:cxn ang="0">
                <a:pos x="connsiteX35606" y="connsiteY35606"/>
              </a:cxn>
              <a:cxn ang="0">
                <a:pos x="connsiteX35607" y="connsiteY35607"/>
              </a:cxn>
              <a:cxn ang="0">
                <a:pos x="connsiteX35608" y="connsiteY35608"/>
              </a:cxn>
              <a:cxn ang="0">
                <a:pos x="connsiteX35609" y="connsiteY35609"/>
              </a:cxn>
              <a:cxn ang="0">
                <a:pos x="connsiteX35610" y="connsiteY35610"/>
              </a:cxn>
              <a:cxn ang="0">
                <a:pos x="connsiteX35611" y="connsiteY35611"/>
              </a:cxn>
              <a:cxn ang="0">
                <a:pos x="connsiteX35612" y="connsiteY35612"/>
              </a:cxn>
              <a:cxn ang="0">
                <a:pos x="connsiteX35613" y="connsiteY35613"/>
              </a:cxn>
              <a:cxn ang="0">
                <a:pos x="connsiteX35614" y="connsiteY35614"/>
              </a:cxn>
              <a:cxn ang="0">
                <a:pos x="connsiteX35615" y="connsiteY35615"/>
              </a:cxn>
              <a:cxn ang="0">
                <a:pos x="connsiteX35616" y="connsiteY35616"/>
              </a:cxn>
              <a:cxn ang="0">
                <a:pos x="connsiteX35617" y="connsiteY35617"/>
              </a:cxn>
              <a:cxn ang="0">
                <a:pos x="connsiteX35618" y="connsiteY35618"/>
              </a:cxn>
              <a:cxn ang="0">
                <a:pos x="connsiteX35619" y="connsiteY35619"/>
              </a:cxn>
              <a:cxn ang="0">
                <a:pos x="connsiteX35620" y="connsiteY35620"/>
              </a:cxn>
              <a:cxn ang="0">
                <a:pos x="connsiteX35621" y="connsiteY35621"/>
              </a:cxn>
              <a:cxn ang="0">
                <a:pos x="connsiteX35622" y="connsiteY35622"/>
              </a:cxn>
              <a:cxn ang="0">
                <a:pos x="connsiteX35623" y="connsiteY35623"/>
              </a:cxn>
              <a:cxn ang="0">
                <a:pos x="connsiteX35624" y="connsiteY35624"/>
              </a:cxn>
              <a:cxn ang="0">
                <a:pos x="connsiteX35625" y="connsiteY35625"/>
              </a:cxn>
              <a:cxn ang="0">
                <a:pos x="connsiteX35626" y="connsiteY35626"/>
              </a:cxn>
              <a:cxn ang="0">
                <a:pos x="connsiteX35627" y="connsiteY35627"/>
              </a:cxn>
              <a:cxn ang="0">
                <a:pos x="connsiteX35628" y="connsiteY35628"/>
              </a:cxn>
              <a:cxn ang="0">
                <a:pos x="connsiteX35629" y="connsiteY35629"/>
              </a:cxn>
              <a:cxn ang="0">
                <a:pos x="connsiteX35630" y="connsiteY35630"/>
              </a:cxn>
              <a:cxn ang="0">
                <a:pos x="connsiteX35631" y="connsiteY35631"/>
              </a:cxn>
              <a:cxn ang="0">
                <a:pos x="connsiteX35632" y="connsiteY35632"/>
              </a:cxn>
              <a:cxn ang="0">
                <a:pos x="connsiteX35633" y="connsiteY35633"/>
              </a:cxn>
              <a:cxn ang="0">
                <a:pos x="connsiteX35634" y="connsiteY35634"/>
              </a:cxn>
              <a:cxn ang="0">
                <a:pos x="connsiteX35635" y="connsiteY35635"/>
              </a:cxn>
              <a:cxn ang="0">
                <a:pos x="connsiteX35636" y="connsiteY35636"/>
              </a:cxn>
              <a:cxn ang="0">
                <a:pos x="connsiteX35637" y="connsiteY35637"/>
              </a:cxn>
              <a:cxn ang="0">
                <a:pos x="connsiteX35638" y="connsiteY35638"/>
              </a:cxn>
              <a:cxn ang="0">
                <a:pos x="connsiteX35639" y="connsiteY35639"/>
              </a:cxn>
              <a:cxn ang="0">
                <a:pos x="connsiteX35640" y="connsiteY35640"/>
              </a:cxn>
              <a:cxn ang="0">
                <a:pos x="connsiteX35641" y="connsiteY35641"/>
              </a:cxn>
              <a:cxn ang="0">
                <a:pos x="connsiteX35642" y="connsiteY35642"/>
              </a:cxn>
              <a:cxn ang="0">
                <a:pos x="connsiteX35643" y="connsiteY35643"/>
              </a:cxn>
              <a:cxn ang="0">
                <a:pos x="connsiteX35644" y="connsiteY35644"/>
              </a:cxn>
              <a:cxn ang="0">
                <a:pos x="connsiteX35645" y="connsiteY35645"/>
              </a:cxn>
              <a:cxn ang="0">
                <a:pos x="connsiteX35646" y="connsiteY35646"/>
              </a:cxn>
              <a:cxn ang="0">
                <a:pos x="connsiteX35647" y="connsiteY35647"/>
              </a:cxn>
              <a:cxn ang="0">
                <a:pos x="connsiteX35648" y="connsiteY35648"/>
              </a:cxn>
              <a:cxn ang="0">
                <a:pos x="connsiteX35649" y="connsiteY35649"/>
              </a:cxn>
              <a:cxn ang="0">
                <a:pos x="connsiteX35650" y="connsiteY35650"/>
              </a:cxn>
              <a:cxn ang="0">
                <a:pos x="connsiteX35651" y="connsiteY35651"/>
              </a:cxn>
              <a:cxn ang="0">
                <a:pos x="connsiteX35652" y="connsiteY35652"/>
              </a:cxn>
              <a:cxn ang="0">
                <a:pos x="connsiteX35653" y="connsiteY35653"/>
              </a:cxn>
              <a:cxn ang="0">
                <a:pos x="connsiteX35654" y="connsiteY35654"/>
              </a:cxn>
              <a:cxn ang="0">
                <a:pos x="connsiteX35655" y="connsiteY35655"/>
              </a:cxn>
              <a:cxn ang="0">
                <a:pos x="connsiteX35656" y="connsiteY35656"/>
              </a:cxn>
              <a:cxn ang="0">
                <a:pos x="connsiteX35657" y="connsiteY35657"/>
              </a:cxn>
              <a:cxn ang="0">
                <a:pos x="connsiteX35658" y="connsiteY35658"/>
              </a:cxn>
              <a:cxn ang="0">
                <a:pos x="connsiteX35659" y="connsiteY35659"/>
              </a:cxn>
              <a:cxn ang="0">
                <a:pos x="connsiteX35660" y="connsiteY35660"/>
              </a:cxn>
              <a:cxn ang="0">
                <a:pos x="connsiteX35661" y="connsiteY35661"/>
              </a:cxn>
              <a:cxn ang="0">
                <a:pos x="connsiteX35662" y="connsiteY35662"/>
              </a:cxn>
              <a:cxn ang="0">
                <a:pos x="connsiteX35663" y="connsiteY35663"/>
              </a:cxn>
              <a:cxn ang="0">
                <a:pos x="connsiteX35664" y="connsiteY35664"/>
              </a:cxn>
              <a:cxn ang="0">
                <a:pos x="connsiteX35665" y="connsiteY35665"/>
              </a:cxn>
              <a:cxn ang="0">
                <a:pos x="connsiteX35666" y="connsiteY35666"/>
              </a:cxn>
              <a:cxn ang="0">
                <a:pos x="connsiteX35667" y="connsiteY35667"/>
              </a:cxn>
              <a:cxn ang="0">
                <a:pos x="connsiteX35668" y="connsiteY35668"/>
              </a:cxn>
              <a:cxn ang="0">
                <a:pos x="connsiteX35669" y="connsiteY35669"/>
              </a:cxn>
              <a:cxn ang="0">
                <a:pos x="connsiteX35670" y="connsiteY35670"/>
              </a:cxn>
              <a:cxn ang="0">
                <a:pos x="connsiteX35671" y="connsiteY35671"/>
              </a:cxn>
              <a:cxn ang="0">
                <a:pos x="connsiteX35672" y="connsiteY35672"/>
              </a:cxn>
              <a:cxn ang="0">
                <a:pos x="connsiteX35673" y="connsiteY35673"/>
              </a:cxn>
              <a:cxn ang="0">
                <a:pos x="connsiteX35674" y="connsiteY35674"/>
              </a:cxn>
              <a:cxn ang="0">
                <a:pos x="connsiteX35675" y="connsiteY35675"/>
              </a:cxn>
              <a:cxn ang="0">
                <a:pos x="connsiteX35676" y="connsiteY35676"/>
              </a:cxn>
              <a:cxn ang="0">
                <a:pos x="connsiteX35677" y="connsiteY35677"/>
              </a:cxn>
              <a:cxn ang="0">
                <a:pos x="connsiteX35678" y="connsiteY35678"/>
              </a:cxn>
              <a:cxn ang="0">
                <a:pos x="connsiteX35679" y="connsiteY35679"/>
              </a:cxn>
              <a:cxn ang="0">
                <a:pos x="connsiteX35680" y="connsiteY35680"/>
              </a:cxn>
              <a:cxn ang="0">
                <a:pos x="connsiteX35681" y="connsiteY35681"/>
              </a:cxn>
              <a:cxn ang="0">
                <a:pos x="connsiteX35682" y="connsiteY35682"/>
              </a:cxn>
              <a:cxn ang="0">
                <a:pos x="connsiteX35683" y="connsiteY35683"/>
              </a:cxn>
              <a:cxn ang="0">
                <a:pos x="connsiteX35684" y="connsiteY35684"/>
              </a:cxn>
              <a:cxn ang="0">
                <a:pos x="connsiteX35685" y="connsiteY35685"/>
              </a:cxn>
              <a:cxn ang="0">
                <a:pos x="connsiteX35686" y="connsiteY35686"/>
              </a:cxn>
              <a:cxn ang="0">
                <a:pos x="connsiteX35687" y="connsiteY35687"/>
              </a:cxn>
              <a:cxn ang="0">
                <a:pos x="connsiteX35688" y="connsiteY35688"/>
              </a:cxn>
              <a:cxn ang="0">
                <a:pos x="connsiteX35689" y="connsiteY35689"/>
              </a:cxn>
              <a:cxn ang="0">
                <a:pos x="connsiteX35690" y="connsiteY35690"/>
              </a:cxn>
              <a:cxn ang="0">
                <a:pos x="connsiteX35691" y="connsiteY35691"/>
              </a:cxn>
              <a:cxn ang="0">
                <a:pos x="connsiteX35692" y="connsiteY35692"/>
              </a:cxn>
              <a:cxn ang="0">
                <a:pos x="connsiteX35693" y="connsiteY35693"/>
              </a:cxn>
              <a:cxn ang="0">
                <a:pos x="connsiteX35694" y="connsiteY35694"/>
              </a:cxn>
              <a:cxn ang="0">
                <a:pos x="connsiteX35695" y="connsiteY35695"/>
              </a:cxn>
              <a:cxn ang="0">
                <a:pos x="connsiteX35696" y="connsiteY35696"/>
              </a:cxn>
              <a:cxn ang="0">
                <a:pos x="connsiteX35697" y="connsiteY35697"/>
              </a:cxn>
              <a:cxn ang="0">
                <a:pos x="connsiteX35698" y="connsiteY35698"/>
              </a:cxn>
              <a:cxn ang="0">
                <a:pos x="connsiteX35699" y="connsiteY35699"/>
              </a:cxn>
              <a:cxn ang="0">
                <a:pos x="connsiteX35700" y="connsiteY35700"/>
              </a:cxn>
              <a:cxn ang="0">
                <a:pos x="connsiteX35701" y="connsiteY35701"/>
              </a:cxn>
              <a:cxn ang="0">
                <a:pos x="connsiteX35702" y="connsiteY35702"/>
              </a:cxn>
              <a:cxn ang="0">
                <a:pos x="connsiteX35703" y="connsiteY35703"/>
              </a:cxn>
              <a:cxn ang="0">
                <a:pos x="connsiteX35704" y="connsiteY35704"/>
              </a:cxn>
              <a:cxn ang="0">
                <a:pos x="connsiteX35705" y="connsiteY35705"/>
              </a:cxn>
              <a:cxn ang="0">
                <a:pos x="connsiteX35706" y="connsiteY35706"/>
              </a:cxn>
              <a:cxn ang="0">
                <a:pos x="connsiteX35707" y="connsiteY35707"/>
              </a:cxn>
              <a:cxn ang="0">
                <a:pos x="connsiteX35708" y="connsiteY35708"/>
              </a:cxn>
              <a:cxn ang="0">
                <a:pos x="connsiteX35709" y="connsiteY35709"/>
              </a:cxn>
              <a:cxn ang="0">
                <a:pos x="connsiteX35710" y="connsiteY35710"/>
              </a:cxn>
              <a:cxn ang="0">
                <a:pos x="connsiteX35711" y="connsiteY35711"/>
              </a:cxn>
              <a:cxn ang="0">
                <a:pos x="connsiteX35712" y="connsiteY35712"/>
              </a:cxn>
              <a:cxn ang="0">
                <a:pos x="connsiteX35713" y="connsiteY35713"/>
              </a:cxn>
              <a:cxn ang="0">
                <a:pos x="connsiteX35714" y="connsiteY35714"/>
              </a:cxn>
              <a:cxn ang="0">
                <a:pos x="connsiteX35715" y="connsiteY35715"/>
              </a:cxn>
              <a:cxn ang="0">
                <a:pos x="connsiteX35716" y="connsiteY35716"/>
              </a:cxn>
              <a:cxn ang="0">
                <a:pos x="connsiteX35717" y="connsiteY35717"/>
              </a:cxn>
              <a:cxn ang="0">
                <a:pos x="connsiteX35718" y="connsiteY35718"/>
              </a:cxn>
              <a:cxn ang="0">
                <a:pos x="connsiteX35719" y="connsiteY35719"/>
              </a:cxn>
              <a:cxn ang="0">
                <a:pos x="connsiteX35720" y="connsiteY35720"/>
              </a:cxn>
              <a:cxn ang="0">
                <a:pos x="connsiteX35721" y="connsiteY35721"/>
              </a:cxn>
              <a:cxn ang="0">
                <a:pos x="connsiteX35722" y="connsiteY35722"/>
              </a:cxn>
              <a:cxn ang="0">
                <a:pos x="connsiteX35723" y="connsiteY35723"/>
              </a:cxn>
              <a:cxn ang="0">
                <a:pos x="connsiteX35724" y="connsiteY35724"/>
              </a:cxn>
              <a:cxn ang="0">
                <a:pos x="connsiteX35725" y="connsiteY35725"/>
              </a:cxn>
              <a:cxn ang="0">
                <a:pos x="connsiteX35726" y="connsiteY35726"/>
              </a:cxn>
              <a:cxn ang="0">
                <a:pos x="connsiteX35727" y="connsiteY35727"/>
              </a:cxn>
              <a:cxn ang="0">
                <a:pos x="connsiteX35728" y="connsiteY35728"/>
              </a:cxn>
              <a:cxn ang="0">
                <a:pos x="connsiteX35729" y="connsiteY35729"/>
              </a:cxn>
              <a:cxn ang="0">
                <a:pos x="connsiteX35730" y="connsiteY35730"/>
              </a:cxn>
              <a:cxn ang="0">
                <a:pos x="connsiteX35731" y="connsiteY35731"/>
              </a:cxn>
              <a:cxn ang="0">
                <a:pos x="connsiteX35732" y="connsiteY35732"/>
              </a:cxn>
              <a:cxn ang="0">
                <a:pos x="connsiteX35733" y="connsiteY35733"/>
              </a:cxn>
              <a:cxn ang="0">
                <a:pos x="connsiteX35734" y="connsiteY35734"/>
              </a:cxn>
              <a:cxn ang="0">
                <a:pos x="connsiteX35735" y="connsiteY35735"/>
              </a:cxn>
              <a:cxn ang="0">
                <a:pos x="connsiteX35736" y="connsiteY35736"/>
              </a:cxn>
              <a:cxn ang="0">
                <a:pos x="connsiteX35737" y="connsiteY35737"/>
              </a:cxn>
              <a:cxn ang="0">
                <a:pos x="connsiteX35738" y="connsiteY35738"/>
              </a:cxn>
              <a:cxn ang="0">
                <a:pos x="connsiteX35739" y="connsiteY35739"/>
              </a:cxn>
              <a:cxn ang="0">
                <a:pos x="connsiteX35740" y="connsiteY35740"/>
              </a:cxn>
              <a:cxn ang="0">
                <a:pos x="connsiteX35741" y="connsiteY35741"/>
              </a:cxn>
              <a:cxn ang="0">
                <a:pos x="connsiteX35742" y="connsiteY35742"/>
              </a:cxn>
              <a:cxn ang="0">
                <a:pos x="connsiteX35743" y="connsiteY35743"/>
              </a:cxn>
              <a:cxn ang="0">
                <a:pos x="connsiteX35744" y="connsiteY35744"/>
              </a:cxn>
              <a:cxn ang="0">
                <a:pos x="connsiteX35745" y="connsiteY35745"/>
              </a:cxn>
              <a:cxn ang="0">
                <a:pos x="connsiteX35746" y="connsiteY35746"/>
              </a:cxn>
              <a:cxn ang="0">
                <a:pos x="connsiteX35747" y="connsiteY35747"/>
              </a:cxn>
              <a:cxn ang="0">
                <a:pos x="connsiteX35748" y="connsiteY35748"/>
              </a:cxn>
              <a:cxn ang="0">
                <a:pos x="connsiteX35749" y="connsiteY35749"/>
              </a:cxn>
              <a:cxn ang="0">
                <a:pos x="connsiteX35750" y="connsiteY35750"/>
              </a:cxn>
              <a:cxn ang="0">
                <a:pos x="connsiteX35751" y="connsiteY35751"/>
              </a:cxn>
              <a:cxn ang="0">
                <a:pos x="connsiteX35752" y="connsiteY35752"/>
              </a:cxn>
              <a:cxn ang="0">
                <a:pos x="connsiteX35753" y="connsiteY35753"/>
              </a:cxn>
              <a:cxn ang="0">
                <a:pos x="connsiteX35754" y="connsiteY35754"/>
              </a:cxn>
              <a:cxn ang="0">
                <a:pos x="connsiteX35755" y="connsiteY35755"/>
              </a:cxn>
              <a:cxn ang="0">
                <a:pos x="connsiteX35756" y="connsiteY35756"/>
              </a:cxn>
              <a:cxn ang="0">
                <a:pos x="connsiteX35757" y="connsiteY35757"/>
              </a:cxn>
              <a:cxn ang="0">
                <a:pos x="connsiteX35758" y="connsiteY35758"/>
              </a:cxn>
              <a:cxn ang="0">
                <a:pos x="connsiteX35759" y="connsiteY35759"/>
              </a:cxn>
              <a:cxn ang="0">
                <a:pos x="connsiteX35760" y="connsiteY35760"/>
              </a:cxn>
              <a:cxn ang="0">
                <a:pos x="connsiteX35761" y="connsiteY35761"/>
              </a:cxn>
              <a:cxn ang="0">
                <a:pos x="connsiteX35762" y="connsiteY35762"/>
              </a:cxn>
              <a:cxn ang="0">
                <a:pos x="connsiteX35763" y="connsiteY35763"/>
              </a:cxn>
              <a:cxn ang="0">
                <a:pos x="connsiteX35764" y="connsiteY35764"/>
              </a:cxn>
              <a:cxn ang="0">
                <a:pos x="connsiteX35765" y="connsiteY35765"/>
              </a:cxn>
              <a:cxn ang="0">
                <a:pos x="connsiteX35766" y="connsiteY35766"/>
              </a:cxn>
              <a:cxn ang="0">
                <a:pos x="connsiteX35767" y="connsiteY35767"/>
              </a:cxn>
              <a:cxn ang="0">
                <a:pos x="connsiteX35768" y="connsiteY35768"/>
              </a:cxn>
              <a:cxn ang="0">
                <a:pos x="connsiteX35769" y="connsiteY35769"/>
              </a:cxn>
              <a:cxn ang="0">
                <a:pos x="connsiteX35770" y="connsiteY35770"/>
              </a:cxn>
              <a:cxn ang="0">
                <a:pos x="connsiteX35771" y="connsiteY35771"/>
              </a:cxn>
              <a:cxn ang="0">
                <a:pos x="connsiteX35772" y="connsiteY35772"/>
              </a:cxn>
              <a:cxn ang="0">
                <a:pos x="connsiteX35773" y="connsiteY35773"/>
              </a:cxn>
              <a:cxn ang="0">
                <a:pos x="connsiteX35774" y="connsiteY35774"/>
              </a:cxn>
              <a:cxn ang="0">
                <a:pos x="connsiteX35775" y="connsiteY35775"/>
              </a:cxn>
              <a:cxn ang="0">
                <a:pos x="connsiteX35776" y="connsiteY35776"/>
              </a:cxn>
              <a:cxn ang="0">
                <a:pos x="connsiteX35777" y="connsiteY35777"/>
              </a:cxn>
              <a:cxn ang="0">
                <a:pos x="connsiteX35778" y="connsiteY35778"/>
              </a:cxn>
              <a:cxn ang="0">
                <a:pos x="connsiteX35779" y="connsiteY35779"/>
              </a:cxn>
              <a:cxn ang="0">
                <a:pos x="connsiteX35780" y="connsiteY35780"/>
              </a:cxn>
              <a:cxn ang="0">
                <a:pos x="connsiteX35781" y="connsiteY35781"/>
              </a:cxn>
              <a:cxn ang="0">
                <a:pos x="connsiteX35782" y="connsiteY35782"/>
              </a:cxn>
              <a:cxn ang="0">
                <a:pos x="connsiteX35783" y="connsiteY35783"/>
              </a:cxn>
              <a:cxn ang="0">
                <a:pos x="connsiteX35784" y="connsiteY35784"/>
              </a:cxn>
              <a:cxn ang="0">
                <a:pos x="connsiteX35785" y="connsiteY35785"/>
              </a:cxn>
              <a:cxn ang="0">
                <a:pos x="connsiteX35786" y="connsiteY35786"/>
              </a:cxn>
              <a:cxn ang="0">
                <a:pos x="connsiteX35787" y="connsiteY35787"/>
              </a:cxn>
              <a:cxn ang="0">
                <a:pos x="connsiteX35788" y="connsiteY35788"/>
              </a:cxn>
              <a:cxn ang="0">
                <a:pos x="connsiteX35789" y="connsiteY35789"/>
              </a:cxn>
              <a:cxn ang="0">
                <a:pos x="connsiteX35790" y="connsiteY35790"/>
              </a:cxn>
              <a:cxn ang="0">
                <a:pos x="connsiteX35791" y="connsiteY35791"/>
              </a:cxn>
              <a:cxn ang="0">
                <a:pos x="connsiteX35792" y="connsiteY35792"/>
              </a:cxn>
              <a:cxn ang="0">
                <a:pos x="connsiteX35793" y="connsiteY35793"/>
              </a:cxn>
              <a:cxn ang="0">
                <a:pos x="connsiteX35794" y="connsiteY35794"/>
              </a:cxn>
              <a:cxn ang="0">
                <a:pos x="connsiteX35795" y="connsiteY35795"/>
              </a:cxn>
              <a:cxn ang="0">
                <a:pos x="connsiteX35796" y="connsiteY35796"/>
              </a:cxn>
              <a:cxn ang="0">
                <a:pos x="connsiteX35797" y="connsiteY35797"/>
              </a:cxn>
              <a:cxn ang="0">
                <a:pos x="connsiteX35798" y="connsiteY35798"/>
              </a:cxn>
              <a:cxn ang="0">
                <a:pos x="connsiteX35799" y="connsiteY35799"/>
              </a:cxn>
              <a:cxn ang="0">
                <a:pos x="connsiteX35800" y="connsiteY35800"/>
              </a:cxn>
              <a:cxn ang="0">
                <a:pos x="connsiteX35801" y="connsiteY35801"/>
              </a:cxn>
              <a:cxn ang="0">
                <a:pos x="connsiteX35802" y="connsiteY35802"/>
              </a:cxn>
              <a:cxn ang="0">
                <a:pos x="connsiteX35803" y="connsiteY35803"/>
              </a:cxn>
              <a:cxn ang="0">
                <a:pos x="connsiteX35804" y="connsiteY35804"/>
              </a:cxn>
              <a:cxn ang="0">
                <a:pos x="connsiteX35805" y="connsiteY35805"/>
              </a:cxn>
              <a:cxn ang="0">
                <a:pos x="connsiteX35806" y="connsiteY35806"/>
              </a:cxn>
              <a:cxn ang="0">
                <a:pos x="connsiteX35807" y="connsiteY35807"/>
              </a:cxn>
              <a:cxn ang="0">
                <a:pos x="connsiteX35808" y="connsiteY35808"/>
              </a:cxn>
              <a:cxn ang="0">
                <a:pos x="connsiteX35809" y="connsiteY35809"/>
              </a:cxn>
              <a:cxn ang="0">
                <a:pos x="connsiteX35810" y="connsiteY35810"/>
              </a:cxn>
              <a:cxn ang="0">
                <a:pos x="connsiteX35811" y="connsiteY35811"/>
              </a:cxn>
              <a:cxn ang="0">
                <a:pos x="connsiteX35812" y="connsiteY35812"/>
              </a:cxn>
              <a:cxn ang="0">
                <a:pos x="connsiteX35813" y="connsiteY35813"/>
              </a:cxn>
              <a:cxn ang="0">
                <a:pos x="connsiteX35814" y="connsiteY35814"/>
              </a:cxn>
              <a:cxn ang="0">
                <a:pos x="connsiteX35815" y="connsiteY35815"/>
              </a:cxn>
              <a:cxn ang="0">
                <a:pos x="connsiteX35816" y="connsiteY35816"/>
              </a:cxn>
              <a:cxn ang="0">
                <a:pos x="connsiteX35817" y="connsiteY35817"/>
              </a:cxn>
              <a:cxn ang="0">
                <a:pos x="connsiteX35818" y="connsiteY35818"/>
              </a:cxn>
              <a:cxn ang="0">
                <a:pos x="connsiteX35819" y="connsiteY35819"/>
              </a:cxn>
              <a:cxn ang="0">
                <a:pos x="connsiteX35820" y="connsiteY35820"/>
              </a:cxn>
              <a:cxn ang="0">
                <a:pos x="connsiteX35821" y="connsiteY35821"/>
              </a:cxn>
              <a:cxn ang="0">
                <a:pos x="connsiteX35822" y="connsiteY35822"/>
              </a:cxn>
              <a:cxn ang="0">
                <a:pos x="connsiteX35823" y="connsiteY35823"/>
              </a:cxn>
              <a:cxn ang="0">
                <a:pos x="connsiteX35824" y="connsiteY35824"/>
              </a:cxn>
              <a:cxn ang="0">
                <a:pos x="connsiteX35825" y="connsiteY35825"/>
              </a:cxn>
              <a:cxn ang="0">
                <a:pos x="connsiteX35826" y="connsiteY35826"/>
              </a:cxn>
              <a:cxn ang="0">
                <a:pos x="connsiteX35827" y="connsiteY35827"/>
              </a:cxn>
              <a:cxn ang="0">
                <a:pos x="connsiteX35828" y="connsiteY35828"/>
              </a:cxn>
              <a:cxn ang="0">
                <a:pos x="connsiteX35829" y="connsiteY35829"/>
              </a:cxn>
              <a:cxn ang="0">
                <a:pos x="connsiteX35830" y="connsiteY35830"/>
              </a:cxn>
              <a:cxn ang="0">
                <a:pos x="connsiteX35831" y="connsiteY35831"/>
              </a:cxn>
              <a:cxn ang="0">
                <a:pos x="connsiteX35832" y="connsiteY35832"/>
              </a:cxn>
              <a:cxn ang="0">
                <a:pos x="connsiteX35833" y="connsiteY35833"/>
              </a:cxn>
              <a:cxn ang="0">
                <a:pos x="connsiteX35834" y="connsiteY35834"/>
              </a:cxn>
              <a:cxn ang="0">
                <a:pos x="connsiteX35835" y="connsiteY35835"/>
              </a:cxn>
              <a:cxn ang="0">
                <a:pos x="connsiteX35836" y="connsiteY35836"/>
              </a:cxn>
              <a:cxn ang="0">
                <a:pos x="connsiteX35837" y="connsiteY35837"/>
              </a:cxn>
              <a:cxn ang="0">
                <a:pos x="connsiteX35838" y="connsiteY35838"/>
              </a:cxn>
              <a:cxn ang="0">
                <a:pos x="connsiteX35839" y="connsiteY35839"/>
              </a:cxn>
              <a:cxn ang="0">
                <a:pos x="connsiteX35840" y="connsiteY35840"/>
              </a:cxn>
              <a:cxn ang="0">
                <a:pos x="connsiteX35841" y="connsiteY35841"/>
              </a:cxn>
              <a:cxn ang="0">
                <a:pos x="connsiteX35842" y="connsiteY35842"/>
              </a:cxn>
              <a:cxn ang="0">
                <a:pos x="connsiteX35843" y="connsiteY35843"/>
              </a:cxn>
              <a:cxn ang="0">
                <a:pos x="connsiteX35844" y="connsiteY35844"/>
              </a:cxn>
              <a:cxn ang="0">
                <a:pos x="connsiteX35845" y="connsiteY35845"/>
              </a:cxn>
              <a:cxn ang="0">
                <a:pos x="connsiteX35846" y="connsiteY35846"/>
              </a:cxn>
              <a:cxn ang="0">
                <a:pos x="connsiteX35847" y="connsiteY35847"/>
              </a:cxn>
              <a:cxn ang="0">
                <a:pos x="connsiteX35848" y="connsiteY35848"/>
              </a:cxn>
              <a:cxn ang="0">
                <a:pos x="connsiteX35849" y="connsiteY35849"/>
              </a:cxn>
              <a:cxn ang="0">
                <a:pos x="connsiteX35850" y="connsiteY35850"/>
              </a:cxn>
              <a:cxn ang="0">
                <a:pos x="connsiteX35851" y="connsiteY35851"/>
              </a:cxn>
              <a:cxn ang="0">
                <a:pos x="connsiteX35852" y="connsiteY35852"/>
              </a:cxn>
              <a:cxn ang="0">
                <a:pos x="connsiteX35853" y="connsiteY35853"/>
              </a:cxn>
              <a:cxn ang="0">
                <a:pos x="connsiteX35854" y="connsiteY35854"/>
              </a:cxn>
              <a:cxn ang="0">
                <a:pos x="connsiteX35855" y="connsiteY35855"/>
              </a:cxn>
              <a:cxn ang="0">
                <a:pos x="connsiteX35856" y="connsiteY35856"/>
              </a:cxn>
              <a:cxn ang="0">
                <a:pos x="connsiteX35857" y="connsiteY35857"/>
              </a:cxn>
              <a:cxn ang="0">
                <a:pos x="connsiteX35858" y="connsiteY35858"/>
              </a:cxn>
              <a:cxn ang="0">
                <a:pos x="connsiteX35859" y="connsiteY35859"/>
              </a:cxn>
              <a:cxn ang="0">
                <a:pos x="connsiteX35860" y="connsiteY35860"/>
              </a:cxn>
              <a:cxn ang="0">
                <a:pos x="connsiteX35861" y="connsiteY35861"/>
              </a:cxn>
              <a:cxn ang="0">
                <a:pos x="connsiteX35862" y="connsiteY35862"/>
              </a:cxn>
              <a:cxn ang="0">
                <a:pos x="connsiteX35863" y="connsiteY35863"/>
              </a:cxn>
              <a:cxn ang="0">
                <a:pos x="connsiteX35864" y="connsiteY35864"/>
              </a:cxn>
              <a:cxn ang="0">
                <a:pos x="connsiteX35865" y="connsiteY35865"/>
              </a:cxn>
              <a:cxn ang="0">
                <a:pos x="connsiteX35866" y="connsiteY35866"/>
              </a:cxn>
              <a:cxn ang="0">
                <a:pos x="connsiteX35867" y="connsiteY35867"/>
              </a:cxn>
              <a:cxn ang="0">
                <a:pos x="connsiteX35868" y="connsiteY35868"/>
              </a:cxn>
              <a:cxn ang="0">
                <a:pos x="connsiteX35869" y="connsiteY35869"/>
              </a:cxn>
              <a:cxn ang="0">
                <a:pos x="connsiteX35870" y="connsiteY35870"/>
              </a:cxn>
              <a:cxn ang="0">
                <a:pos x="connsiteX35871" y="connsiteY35871"/>
              </a:cxn>
              <a:cxn ang="0">
                <a:pos x="connsiteX35872" y="connsiteY35872"/>
              </a:cxn>
              <a:cxn ang="0">
                <a:pos x="connsiteX35873" y="connsiteY35873"/>
              </a:cxn>
              <a:cxn ang="0">
                <a:pos x="connsiteX35874" y="connsiteY35874"/>
              </a:cxn>
              <a:cxn ang="0">
                <a:pos x="connsiteX35875" y="connsiteY35875"/>
              </a:cxn>
              <a:cxn ang="0">
                <a:pos x="connsiteX35876" y="connsiteY35876"/>
              </a:cxn>
              <a:cxn ang="0">
                <a:pos x="connsiteX35877" y="connsiteY35877"/>
              </a:cxn>
              <a:cxn ang="0">
                <a:pos x="connsiteX35878" y="connsiteY35878"/>
              </a:cxn>
              <a:cxn ang="0">
                <a:pos x="connsiteX35879" y="connsiteY35879"/>
              </a:cxn>
              <a:cxn ang="0">
                <a:pos x="connsiteX35880" y="connsiteY35880"/>
              </a:cxn>
              <a:cxn ang="0">
                <a:pos x="connsiteX35881" y="connsiteY35881"/>
              </a:cxn>
              <a:cxn ang="0">
                <a:pos x="connsiteX35882" y="connsiteY35882"/>
              </a:cxn>
              <a:cxn ang="0">
                <a:pos x="connsiteX35883" y="connsiteY35883"/>
              </a:cxn>
              <a:cxn ang="0">
                <a:pos x="connsiteX35884" y="connsiteY35884"/>
              </a:cxn>
              <a:cxn ang="0">
                <a:pos x="connsiteX35885" y="connsiteY35885"/>
              </a:cxn>
              <a:cxn ang="0">
                <a:pos x="connsiteX35886" y="connsiteY35886"/>
              </a:cxn>
              <a:cxn ang="0">
                <a:pos x="connsiteX35887" y="connsiteY35887"/>
              </a:cxn>
              <a:cxn ang="0">
                <a:pos x="connsiteX35888" y="connsiteY35888"/>
              </a:cxn>
              <a:cxn ang="0">
                <a:pos x="connsiteX35889" y="connsiteY35889"/>
              </a:cxn>
              <a:cxn ang="0">
                <a:pos x="connsiteX35890" y="connsiteY35890"/>
              </a:cxn>
              <a:cxn ang="0">
                <a:pos x="connsiteX35891" y="connsiteY35891"/>
              </a:cxn>
              <a:cxn ang="0">
                <a:pos x="connsiteX35892" y="connsiteY35892"/>
              </a:cxn>
              <a:cxn ang="0">
                <a:pos x="connsiteX35893" y="connsiteY35893"/>
              </a:cxn>
              <a:cxn ang="0">
                <a:pos x="connsiteX35894" y="connsiteY35894"/>
              </a:cxn>
              <a:cxn ang="0">
                <a:pos x="connsiteX35895" y="connsiteY35895"/>
              </a:cxn>
              <a:cxn ang="0">
                <a:pos x="connsiteX35896" y="connsiteY35896"/>
              </a:cxn>
              <a:cxn ang="0">
                <a:pos x="connsiteX35897" y="connsiteY35897"/>
              </a:cxn>
              <a:cxn ang="0">
                <a:pos x="connsiteX35898" y="connsiteY35898"/>
              </a:cxn>
              <a:cxn ang="0">
                <a:pos x="connsiteX35899" y="connsiteY35899"/>
              </a:cxn>
              <a:cxn ang="0">
                <a:pos x="connsiteX35900" y="connsiteY35900"/>
              </a:cxn>
              <a:cxn ang="0">
                <a:pos x="connsiteX35901" y="connsiteY35901"/>
              </a:cxn>
              <a:cxn ang="0">
                <a:pos x="connsiteX35902" y="connsiteY35902"/>
              </a:cxn>
              <a:cxn ang="0">
                <a:pos x="connsiteX35903" y="connsiteY35903"/>
              </a:cxn>
              <a:cxn ang="0">
                <a:pos x="connsiteX35904" y="connsiteY35904"/>
              </a:cxn>
              <a:cxn ang="0">
                <a:pos x="connsiteX35905" y="connsiteY35905"/>
              </a:cxn>
              <a:cxn ang="0">
                <a:pos x="connsiteX35906" y="connsiteY35906"/>
              </a:cxn>
              <a:cxn ang="0">
                <a:pos x="connsiteX35907" y="connsiteY35907"/>
              </a:cxn>
              <a:cxn ang="0">
                <a:pos x="connsiteX35908" y="connsiteY35908"/>
              </a:cxn>
              <a:cxn ang="0">
                <a:pos x="connsiteX35909" y="connsiteY35909"/>
              </a:cxn>
              <a:cxn ang="0">
                <a:pos x="connsiteX35910" y="connsiteY35910"/>
              </a:cxn>
              <a:cxn ang="0">
                <a:pos x="connsiteX35911" y="connsiteY35911"/>
              </a:cxn>
              <a:cxn ang="0">
                <a:pos x="connsiteX35912" y="connsiteY35912"/>
              </a:cxn>
              <a:cxn ang="0">
                <a:pos x="connsiteX35913" y="connsiteY35913"/>
              </a:cxn>
              <a:cxn ang="0">
                <a:pos x="connsiteX35914" y="connsiteY35914"/>
              </a:cxn>
              <a:cxn ang="0">
                <a:pos x="connsiteX35915" y="connsiteY35915"/>
              </a:cxn>
              <a:cxn ang="0">
                <a:pos x="connsiteX35916" y="connsiteY35916"/>
              </a:cxn>
              <a:cxn ang="0">
                <a:pos x="connsiteX35917" y="connsiteY35917"/>
              </a:cxn>
              <a:cxn ang="0">
                <a:pos x="connsiteX35918" y="connsiteY35918"/>
              </a:cxn>
              <a:cxn ang="0">
                <a:pos x="connsiteX35919" y="connsiteY35919"/>
              </a:cxn>
              <a:cxn ang="0">
                <a:pos x="connsiteX35920" y="connsiteY35920"/>
              </a:cxn>
              <a:cxn ang="0">
                <a:pos x="connsiteX35921" y="connsiteY35921"/>
              </a:cxn>
              <a:cxn ang="0">
                <a:pos x="connsiteX35922" y="connsiteY35922"/>
              </a:cxn>
              <a:cxn ang="0">
                <a:pos x="connsiteX35923" y="connsiteY35923"/>
              </a:cxn>
              <a:cxn ang="0">
                <a:pos x="connsiteX35924" y="connsiteY35924"/>
              </a:cxn>
              <a:cxn ang="0">
                <a:pos x="connsiteX35925" y="connsiteY35925"/>
              </a:cxn>
              <a:cxn ang="0">
                <a:pos x="connsiteX35926" y="connsiteY35926"/>
              </a:cxn>
              <a:cxn ang="0">
                <a:pos x="connsiteX35927" y="connsiteY35927"/>
              </a:cxn>
              <a:cxn ang="0">
                <a:pos x="connsiteX35928" y="connsiteY35928"/>
              </a:cxn>
              <a:cxn ang="0">
                <a:pos x="connsiteX35929" y="connsiteY35929"/>
              </a:cxn>
              <a:cxn ang="0">
                <a:pos x="connsiteX35930" y="connsiteY35930"/>
              </a:cxn>
              <a:cxn ang="0">
                <a:pos x="connsiteX35931" y="connsiteY35931"/>
              </a:cxn>
              <a:cxn ang="0">
                <a:pos x="connsiteX35932" y="connsiteY35932"/>
              </a:cxn>
              <a:cxn ang="0">
                <a:pos x="connsiteX35933" y="connsiteY35933"/>
              </a:cxn>
              <a:cxn ang="0">
                <a:pos x="connsiteX35934" y="connsiteY35934"/>
              </a:cxn>
              <a:cxn ang="0">
                <a:pos x="connsiteX35935" y="connsiteY35935"/>
              </a:cxn>
              <a:cxn ang="0">
                <a:pos x="connsiteX35936" y="connsiteY35936"/>
              </a:cxn>
              <a:cxn ang="0">
                <a:pos x="connsiteX35937" y="connsiteY35937"/>
              </a:cxn>
              <a:cxn ang="0">
                <a:pos x="connsiteX35938" y="connsiteY35938"/>
              </a:cxn>
              <a:cxn ang="0">
                <a:pos x="connsiteX35939" y="connsiteY35939"/>
              </a:cxn>
              <a:cxn ang="0">
                <a:pos x="connsiteX35940" y="connsiteY35940"/>
              </a:cxn>
              <a:cxn ang="0">
                <a:pos x="connsiteX35941" y="connsiteY35941"/>
              </a:cxn>
              <a:cxn ang="0">
                <a:pos x="connsiteX35942" y="connsiteY35942"/>
              </a:cxn>
              <a:cxn ang="0">
                <a:pos x="connsiteX35943" y="connsiteY35943"/>
              </a:cxn>
              <a:cxn ang="0">
                <a:pos x="connsiteX35944" y="connsiteY35944"/>
              </a:cxn>
              <a:cxn ang="0">
                <a:pos x="connsiteX35945" y="connsiteY35945"/>
              </a:cxn>
              <a:cxn ang="0">
                <a:pos x="connsiteX35946" y="connsiteY35946"/>
              </a:cxn>
              <a:cxn ang="0">
                <a:pos x="connsiteX35947" y="connsiteY35947"/>
              </a:cxn>
              <a:cxn ang="0">
                <a:pos x="connsiteX35948" y="connsiteY35948"/>
              </a:cxn>
              <a:cxn ang="0">
                <a:pos x="connsiteX35949" y="connsiteY35949"/>
              </a:cxn>
              <a:cxn ang="0">
                <a:pos x="connsiteX35950" y="connsiteY35950"/>
              </a:cxn>
              <a:cxn ang="0">
                <a:pos x="connsiteX35951" y="connsiteY35951"/>
              </a:cxn>
              <a:cxn ang="0">
                <a:pos x="connsiteX35952" y="connsiteY35952"/>
              </a:cxn>
              <a:cxn ang="0">
                <a:pos x="connsiteX35953" y="connsiteY35953"/>
              </a:cxn>
              <a:cxn ang="0">
                <a:pos x="connsiteX35954" y="connsiteY35954"/>
              </a:cxn>
              <a:cxn ang="0">
                <a:pos x="connsiteX35955" y="connsiteY35955"/>
              </a:cxn>
              <a:cxn ang="0">
                <a:pos x="connsiteX35956" y="connsiteY35956"/>
              </a:cxn>
              <a:cxn ang="0">
                <a:pos x="connsiteX35957" y="connsiteY35957"/>
              </a:cxn>
              <a:cxn ang="0">
                <a:pos x="connsiteX35958" y="connsiteY35958"/>
              </a:cxn>
              <a:cxn ang="0">
                <a:pos x="connsiteX35959" y="connsiteY35959"/>
              </a:cxn>
              <a:cxn ang="0">
                <a:pos x="connsiteX35960" y="connsiteY35960"/>
              </a:cxn>
              <a:cxn ang="0">
                <a:pos x="connsiteX35961" y="connsiteY35961"/>
              </a:cxn>
              <a:cxn ang="0">
                <a:pos x="connsiteX35962" y="connsiteY35962"/>
              </a:cxn>
              <a:cxn ang="0">
                <a:pos x="connsiteX35963" y="connsiteY35963"/>
              </a:cxn>
              <a:cxn ang="0">
                <a:pos x="connsiteX35964" y="connsiteY35964"/>
              </a:cxn>
              <a:cxn ang="0">
                <a:pos x="connsiteX35965" y="connsiteY35965"/>
              </a:cxn>
              <a:cxn ang="0">
                <a:pos x="connsiteX35966" y="connsiteY35966"/>
              </a:cxn>
              <a:cxn ang="0">
                <a:pos x="connsiteX35967" y="connsiteY35967"/>
              </a:cxn>
              <a:cxn ang="0">
                <a:pos x="connsiteX35968" y="connsiteY35968"/>
              </a:cxn>
              <a:cxn ang="0">
                <a:pos x="connsiteX35969" y="connsiteY35969"/>
              </a:cxn>
              <a:cxn ang="0">
                <a:pos x="connsiteX35970" y="connsiteY35970"/>
              </a:cxn>
              <a:cxn ang="0">
                <a:pos x="connsiteX35971" y="connsiteY35971"/>
              </a:cxn>
              <a:cxn ang="0">
                <a:pos x="connsiteX35972" y="connsiteY35972"/>
              </a:cxn>
              <a:cxn ang="0">
                <a:pos x="connsiteX35973" y="connsiteY35973"/>
              </a:cxn>
              <a:cxn ang="0">
                <a:pos x="connsiteX35974" y="connsiteY35974"/>
              </a:cxn>
              <a:cxn ang="0">
                <a:pos x="connsiteX35975" y="connsiteY35975"/>
              </a:cxn>
              <a:cxn ang="0">
                <a:pos x="connsiteX35976" y="connsiteY35976"/>
              </a:cxn>
              <a:cxn ang="0">
                <a:pos x="connsiteX35977" y="connsiteY35977"/>
              </a:cxn>
              <a:cxn ang="0">
                <a:pos x="connsiteX35978" y="connsiteY35978"/>
              </a:cxn>
              <a:cxn ang="0">
                <a:pos x="connsiteX35979" y="connsiteY35979"/>
              </a:cxn>
              <a:cxn ang="0">
                <a:pos x="connsiteX35980" y="connsiteY35980"/>
              </a:cxn>
              <a:cxn ang="0">
                <a:pos x="connsiteX35981" y="connsiteY35981"/>
              </a:cxn>
              <a:cxn ang="0">
                <a:pos x="connsiteX35982" y="connsiteY35982"/>
              </a:cxn>
              <a:cxn ang="0">
                <a:pos x="connsiteX35983" y="connsiteY35983"/>
              </a:cxn>
              <a:cxn ang="0">
                <a:pos x="connsiteX35984" y="connsiteY35984"/>
              </a:cxn>
              <a:cxn ang="0">
                <a:pos x="connsiteX35985" y="connsiteY35985"/>
              </a:cxn>
              <a:cxn ang="0">
                <a:pos x="connsiteX35986" y="connsiteY35986"/>
              </a:cxn>
              <a:cxn ang="0">
                <a:pos x="connsiteX35987" y="connsiteY35987"/>
              </a:cxn>
              <a:cxn ang="0">
                <a:pos x="connsiteX35988" y="connsiteY35988"/>
              </a:cxn>
              <a:cxn ang="0">
                <a:pos x="connsiteX35989" y="connsiteY35989"/>
              </a:cxn>
              <a:cxn ang="0">
                <a:pos x="connsiteX35990" y="connsiteY35990"/>
              </a:cxn>
              <a:cxn ang="0">
                <a:pos x="connsiteX35991" y="connsiteY35991"/>
              </a:cxn>
              <a:cxn ang="0">
                <a:pos x="connsiteX35992" y="connsiteY35992"/>
              </a:cxn>
              <a:cxn ang="0">
                <a:pos x="connsiteX35993" y="connsiteY35993"/>
              </a:cxn>
              <a:cxn ang="0">
                <a:pos x="connsiteX35994" y="connsiteY35994"/>
              </a:cxn>
              <a:cxn ang="0">
                <a:pos x="connsiteX35995" y="connsiteY35995"/>
              </a:cxn>
              <a:cxn ang="0">
                <a:pos x="connsiteX35996" y="connsiteY35996"/>
              </a:cxn>
              <a:cxn ang="0">
                <a:pos x="connsiteX35997" y="connsiteY35997"/>
              </a:cxn>
              <a:cxn ang="0">
                <a:pos x="connsiteX35998" y="connsiteY35998"/>
              </a:cxn>
              <a:cxn ang="0">
                <a:pos x="connsiteX35999" y="connsiteY35999"/>
              </a:cxn>
              <a:cxn ang="0">
                <a:pos x="connsiteX36000" y="connsiteY36000"/>
              </a:cxn>
              <a:cxn ang="0">
                <a:pos x="connsiteX36001" y="connsiteY36001"/>
              </a:cxn>
              <a:cxn ang="0">
                <a:pos x="connsiteX36002" y="connsiteY36002"/>
              </a:cxn>
              <a:cxn ang="0">
                <a:pos x="connsiteX36003" y="connsiteY36003"/>
              </a:cxn>
              <a:cxn ang="0">
                <a:pos x="connsiteX36004" y="connsiteY36004"/>
              </a:cxn>
              <a:cxn ang="0">
                <a:pos x="connsiteX36005" y="connsiteY36005"/>
              </a:cxn>
              <a:cxn ang="0">
                <a:pos x="connsiteX36006" y="connsiteY36006"/>
              </a:cxn>
              <a:cxn ang="0">
                <a:pos x="connsiteX36007" y="connsiteY36007"/>
              </a:cxn>
              <a:cxn ang="0">
                <a:pos x="connsiteX36008" y="connsiteY36008"/>
              </a:cxn>
              <a:cxn ang="0">
                <a:pos x="connsiteX36009" y="connsiteY36009"/>
              </a:cxn>
              <a:cxn ang="0">
                <a:pos x="connsiteX36010" y="connsiteY36010"/>
              </a:cxn>
              <a:cxn ang="0">
                <a:pos x="connsiteX36011" y="connsiteY36011"/>
              </a:cxn>
              <a:cxn ang="0">
                <a:pos x="connsiteX36012" y="connsiteY36012"/>
              </a:cxn>
              <a:cxn ang="0">
                <a:pos x="connsiteX36013" y="connsiteY36013"/>
              </a:cxn>
              <a:cxn ang="0">
                <a:pos x="connsiteX36014" y="connsiteY36014"/>
              </a:cxn>
              <a:cxn ang="0">
                <a:pos x="connsiteX36015" y="connsiteY36015"/>
              </a:cxn>
              <a:cxn ang="0">
                <a:pos x="connsiteX36016" y="connsiteY36016"/>
              </a:cxn>
              <a:cxn ang="0">
                <a:pos x="connsiteX36017" y="connsiteY36017"/>
              </a:cxn>
              <a:cxn ang="0">
                <a:pos x="connsiteX36018" y="connsiteY36018"/>
              </a:cxn>
              <a:cxn ang="0">
                <a:pos x="connsiteX36019" y="connsiteY36019"/>
              </a:cxn>
              <a:cxn ang="0">
                <a:pos x="connsiteX36020" y="connsiteY36020"/>
              </a:cxn>
              <a:cxn ang="0">
                <a:pos x="connsiteX36021" y="connsiteY36021"/>
              </a:cxn>
              <a:cxn ang="0">
                <a:pos x="connsiteX36022" y="connsiteY36022"/>
              </a:cxn>
              <a:cxn ang="0">
                <a:pos x="connsiteX36023" y="connsiteY36023"/>
              </a:cxn>
              <a:cxn ang="0">
                <a:pos x="connsiteX36024" y="connsiteY36024"/>
              </a:cxn>
              <a:cxn ang="0">
                <a:pos x="connsiteX36025" y="connsiteY36025"/>
              </a:cxn>
              <a:cxn ang="0">
                <a:pos x="connsiteX36026" y="connsiteY36026"/>
              </a:cxn>
              <a:cxn ang="0">
                <a:pos x="connsiteX36027" y="connsiteY36027"/>
              </a:cxn>
              <a:cxn ang="0">
                <a:pos x="connsiteX36028" y="connsiteY36028"/>
              </a:cxn>
              <a:cxn ang="0">
                <a:pos x="connsiteX36029" y="connsiteY36029"/>
              </a:cxn>
              <a:cxn ang="0">
                <a:pos x="connsiteX36030" y="connsiteY36030"/>
              </a:cxn>
              <a:cxn ang="0">
                <a:pos x="connsiteX36031" y="connsiteY36031"/>
              </a:cxn>
              <a:cxn ang="0">
                <a:pos x="connsiteX36032" y="connsiteY36032"/>
              </a:cxn>
              <a:cxn ang="0">
                <a:pos x="connsiteX36033" y="connsiteY36033"/>
              </a:cxn>
              <a:cxn ang="0">
                <a:pos x="connsiteX36034" y="connsiteY36034"/>
              </a:cxn>
              <a:cxn ang="0">
                <a:pos x="connsiteX36035" y="connsiteY36035"/>
              </a:cxn>
              <a:cxn ang="0">
                <a:pos x="connsiteX36036" y="connsiteY36036"/>
              </a:cxn>
              <a:cxn ang="0">
                <a:pos x="connsiteX36037" y="connsiteY36037"/>
              </a:cxn>
              <a:cxn ang="0">
                <a:pos x="connsiteX36038" y="connsiteY36038"/>
              </a:cxn>
              <a:cxn ang="0">
                <a:pos x="connsiteX36039" y="connsiteY36039"/>
              </a:cxn>
              <a:cxn ang="0">
                <a:pos x="connsiteX36040" y="connsiteY36040"/>
              </a:cxn>
              <a:cxn ang="0">
                <a:pos x="connsiteX36041" y="connsiteY36041"/>
              </a:cxn>
              <a:cxn ang="0">
                <a:pos x="connsiteX36042" y="connsiteY36042"/>
              </a:cxn>
              <a:cxn ang="0">
                <a:pos x="connsiteX36043" y="connsiteY36043"/>
              </a:cxn>
              <a:cxn ang="0">
                <a:pos x="connsiteX36044" y="connsiteY36044"/>
              </a:cxn>
              <a:cxn ang="0">
                <a:pos x="connsiteX36045" y="connsiteY36045"/>
              </a:cxn>
              <a:cxn ang="0">
                <a:pos x="connsiteX36046" y="connsiteY36046"/>
              </a:cxn>
              <a:cxn ang="0">
                <a:pos x="connsiteX36047" y="connsiteY36047"/>
              </a:cxn>
              <a:cxn ang="0">
                <a:pos x="connsiteX36048" y="connsiteY36048"/>
              </a:cxn>
              <a:cxn ang="0">
                <a:pos x="connsiteX36049" y="connsiteY36049"/>
              </a:cxn>
              <a:cxn ang="0">
                <a:pos x="connsiteX36050" y="connsiteY36050"/>
              </a:cxn>
              <a:cxn ang="0">
                <a:pos x="connsiteX36051" y="connsiteY36051"/>
              </a:cxn>
              <a:cxn ang="0">
                <a:pos x="connsiteX36052" y="connsiteY36052"/>
              </a:cxn>
              <a:cxn ang="0">
                <a:pos x="connsiteX36053" y="connsiteY36053"/>
              </a:cxn>
              <a:cxn ang="0">
                <a:pos x="connsiteX36054" y="connsiteY36054"/>
              </a:cxn>
              <a:cxn ang="0">
                <a:pos x="connsiteX36055" y="connsiteY36055"/>
              </a:cxn>
              <a:cxn ang="0">
                <a:pos x="connsiteX36056" y="connsiteY36056"/>
              </a:cxn>
              <a:cxn ang="0">
                <a:pos x="connsiteX36057" y="connsiteY36057"/>
              </a:cxn>
              <a:cxn ang="0">
                <a:pos x="connsiteX36058" y="connsiteY36058"/>
              </a:cxn>
              <a:cxn ang="0">
                <a:pos x="connsiteX36059" y="connsiteY36059"/>
              </a:cxn>
              <a:cxn ang="0">
                <a:pos x="connsiteX36060" y="connsiteY36060"/>
              </a:cxn>
              <a:cxn ang="0">
                <a:pos x="connsiteX36061" y="connsiteY36061"/>
              </a:cxn>
              <a:cxn ang="0">
                <a:pos x="connsiteX36062" y="connsiteY36062"/>
              </a:cxn>
              <a:cxn ang="0">
                <a:pos x="connsiteX36063" y="connsiteY36063"/>
              </a:cxn>
              <a:cxn ang="0">
                <a:pos x="connsiteX36064" y="connsiteY36064"/>
              </a:cxn>
              <a:cxn ang="0">
                <a:pos x="connsiteX36065" y="connsiteY36065"/>
              </a:cxn>
              <a:cxn ang="0">
                <a:pos x="connsiteX36066" y="connsiteY36066"/>
              </a:cxn>
              <a:cxn ang="0">
                <a:pos x="connsiteX36067" y="connsiteY36067"/>
              </a:cxn>
              <a:cxn ang="0">
                <a:pos x="connsiteX36068" y="connsiteY36068"/>
              </a:cxn>
              <a:cxn ang="0">
                <a:pos x="connsiteX36069" y="connsiteY36069"/>
              </a:cxn>
              <a:cxn ang="0">
                <a:pos x="connsiteX36070" y="connsiteY36070"/>
              </a:cxn>
              <a:cxn ang="0">
                <a:pos x="connsiteX36071" y="connsiteY36071"/>
              </a:cxn>
              <a:cxn ang="0">
                <a:pos x="connsiteX36072" y="connsiteY36072"/>
              </a:cxn>
              <a:cxn ang="0">
                <a:pos x="connsiteX36073" y="connsiteY36073"/>
              </a:cxn>
              <a:cxn ang="0">
                <a:pos x="connsiteX36074" y="connsiteY36074"/>
              </a:cxn>
              <a:cxn ang="0">
                <a:pos x="connsiteX36075" y="connsiteY36075"/>
              </a:cxn>
              <a:cxn ang="0">
                <a:pos x="connsiteX36076" y="connsiteY36076"/>
              </a:cxn>
              <a:cxn ang="0">
                <a:pos x="connsiteX36077" y="connsiteY36077"/>
              </a:cxn>
              <a:cxn ang="0">
                <a:pos x="connsiteX36078" y="connsiteY36078"/>
              </a:cxn>
              <a:cxn ang="0">
                <a:pos x="connsiteX36079" y="connsiteY36079"/>
              </a:cxn>
              <a:cxn ang="0">
                <a:pos x="connsiteX36080" y="connsiteY36080"/>
              </a:cxn>
              <a:cxn ang="0">
                <a:pos x="connsiteX36081" y="connsiteY36081"/>
              </a:cxn>
              <a:cxn ang="0">
                <a:pos x="connsiteX36082" y="connsiteY36082"/>
              </a:cxn>
              <a:cxn ang="0">
                <a:pos x="connsiteX36083" y="connsiteY36083"/>
              </a:cxn>
              <a:cxn ang="0">
                <a:pos x="connsiteX36084" y="connsiteY36084"/>
              </a:cxn>
              <a:cxn ang="0">
                <a:pos x="connsiteX36085" y="connsiteY36085"/>
              </a:cxn>
              <a:cxn ang="0">
                <a:pos x="connsiteX36086" y="connsiteY36086"/>
              </a:cxn>
              <a:cxn ang="0">
                <a:pos x="connsiteX36087" y="connsiteY36087"/>
              </a:cxn>
              <a:cxn ang="0">
                <a:pos x="connsiteX36088" y="connsiteY36088"/>
              </a:cxn>
              <a:cxn ang="0">
                <a:pos x="connsiteX36089" y="connsiteY36089"/>
              </a:cxn>
              <a:cxn ang="0">
                <a:pos x="connsiteX36090" y="connsiteY36090"/>
              </a:cxn>
              <a:cxn ang="0">
                <a:pos x="connsiteX36091" y="connsiteY36091"/>
              </a:cxn>
              <a:cxn ang="0">
                <a:pos x="connsiteX36092" y="connsiteY36092"/>
              </a:cxn>
              <a:cxn ang="0">
                <a:pos x="connsiteX36093" y="connsiteY36093"/>
              </a:cxn>
              <a:cxn ang="0">
                <a:pos x="connsiteX36094" y="connsiteY36094"/>
              </a:cxn>
              <a:cxn ang="0">
                <a:pos x="connsiteX36095" y="connsiteY36095"/>
              </a:cxn>
              <a:cxn ang="0">
                <a:pos x="connsiteX36096" y="connsiteY36096"/>
              </a:cxn>
              <a:cxn ang="0">
                <a:pos x="connsiteX36097" y="connsiteY36097"/>
              </a:cxn>
              <a:cxn ang="0">
                <a:pos x="connsiteX36098" y="connsiteY36098"/>
              </a:cxn>
              <a:cxn ang="0">
                <a:pos x="connsiteX36099" y="connsiteY36099"/>
              </a:cxn>
              <a:cxn ang="0">
                <a:pos x="connsiteX36100" y="connsiteY36100"/>
              </a:cxn>
              <a:cxn ang="0">
                <a:pos x="connsiteX36101" y="connsiteY36101"/>
              </a:cxn>
              <a:cxn ang="0">
                <a:pos x="connsiteX36102" y="connsiteY36102"/>
              </a:cxn>
              <a:cxn ang="0">
                <a:pos x="connsiteX36103" y="connsiteY36103"/>
              </a:cxn>
              <a:cxn ang="0">
                <a:pos x="connsiteX36104" y="connsiteY36104"/>
              </a:cxn>
              <a:cxn ang="0">
                <a:pos x="connsiteX36105" y="connsiteY36105"/>
              </a:cxn>
              <a:cxn ang="0">
                <a:pos x="connsiteX36106" y="connsiteY36106"/>
              </a:cxn>
              <a:cxn ang="0">
                <a:pos x="connsiteX36107" y="connsiteY36107"/>
              </a:cxn>
              <a:cxn ang="0">
                <a:pos x="connsiteX36108" y="connsiteY36108"/>
              </a:cxn>
              <a:cxn ang="0">
                <a:pos x="connsiteX36109" y="connsiteY36109"/>
              </a:cxn>
              <a:cxn ang="0">
                <a:pos x="connsiteX36110" y="connsiteY36110"/>
              </a:cxn>
              <a:cxn ang="0">
                <a:pos x="connsiteX36111" y="connsiteY36111"/>
              </a:cxn>
              <a:cxn ang="0">
                <a:pos x="connsiteX36112" y="connsiteY36112"/>
              </a:cxn>
              <a:cxn ang="0">
                <a:pos x="connsiteX36113" y="connsiteY36113"/>
              </a:cxn>
              <a:cxn ang="0">
                <a:pos x="connsiteX36114" y="connsiteY36114"/>
              </a:cxn>
              <a:cxn ang="0">
                <a:pos x="connsiteX36115" y="connsiteY36115"/>
              </a:cxn>
              <a:cxn ang="0">
                <a:pos x="connsiteX36116" y="connsiteY36116"/>
              </a:cxn>
              <a:cxn ang="0">
                <a:pos x="connsiteX36117" y="connsiteY36117"/>
              </a:cxn>
              <a:cxn ang="0">
                <a:pos x="connsiteX36118" y="connsiteY36118"/>
              </a:cxn>
              <a:cxn ang="0">
                <a:pos x="connsiteX36119" y="connsiteY36119"/>
              </a:cxn>
              <a:cxn ang="0">
                <a:pos x="connsiteX36120" y="connsiteY36120"/>
              </a:cxn>
              <a:cxn ang="0">
                <a:pos x="connsiteX36121" y="connsiteY36121"/>
              </a:cxn>
              <a:cxn ang="0">
                <a:pos x="connsiteX36122" y="connsiteY36122"/>
              </a:cxn>
              <a:cxn ang="0">
                <a:pos x="connsiteX36123" y="connsiteY36123"/>
              </a:cxn>
              <a:cxn ang="0">
                <a:pos x="connsiteX36124" y="connsiteY36124"/>
              </a:cxn>
              <a:cxn ang="0">
                <a:pos x="connsiteX36125" y="connsiteY36125"/>
              </a:cxn>
              <a:cxn ang="0">
                <a:pos x="connsiteX36126" y="connsiteY36126"/>
              </a:cxn>
              <a:cxn ang="0">
                <a:pos x="connsiteX36127" y="connsiteY36127"/>
              </a:cxn>
              <a:cxn ang="0">
                <a:pos x="connsiteX36128" y="connsiteY36128"/>
              </a:cxn>
              <a:cxn ang="0">
                <a:pos x="connsiteX36129" y="connsiteY36129"/>
              </a:cxn>
              <a:cxn ang="0">
                <a:pos x="connsiteX36130" y="connsiteY36130"/>
              </a:cxn>
              <a:cxn ang="0">
                <a:pos x="connsiteX36131" y="connsiteY36131"/>
              </a:cxn>
              <a:cxn ang="0">
                <a:pos x="connsiteX36132" y="connsiteY36132"/>
              </a:cxn>
              <a:cxn ang="0">
                <a:pos x="connsiteX36133" y="connsiteY36133"/>
              </a:cxn>
              <a:cxn ang="0">
                <a:pos x="connsiteX36134" y="connsiteY36134"/>
              </a:cxn>
              <a:cxn ang="0">
                <a:pos x="connsiteX36135" y="connsiteY36135"/>
              </a:cxn>
              <a:cxn ang="0">
                <a:pos x="connsiteX36136" y="connsiteY36136"/>
              </a:cxn>
              <a:cxn ang="0">
                <a:pos x="connsiteX36137" y="connsiteY36137"/>
              </a:cxn>
              <a:cxn ang="0">
                <a:pos x="connsiteX36138" y="connsiteY36138"/>
              </a:cxn>
              <a:cxn ang="0">
                <a:pos x="connsiteX36139" y="connsiteY36139"/>
              </a:cxn>
              <a:cxn ang="0">
                <a:pos x="connsiteX36140" y="connsiteY36140"/>
              </a:cxn>
              <a:cxn ang="0">
                <a:pos x="connsiteX36141" y="connsiteY36141"/>
              </a:cxn>
              <a:cxn ang="0">
                <a:pos x="connsiteX36142" y="connsiteY36142"/>
              </a:cxn>
              <a:cxn ang="0">
                <a:pos x="connsiteX36143" y="connsiteY36143"/>
              </a:cxn>
              <a:cxn ang="0">
                <a:pos x="connsiteX36144" y="connsiteY36144"/>
              </a:cxn>
              <a:cxn ang="0">
                <a:pos x="connsiteX36145" y="connsiteY36145"/>
              </a:cxn>
              <a:cxn ang="0">
                <a:pos x="connsiteX36146" y="connsiteY36146"/>
              </a:cxn>
              <a:cxn ang="0">
                <a:pos x="connsiteX36147" y="connsiteY36147"/>
              </a:cxn>
              <a:cxn ang="0">
                <a:pos x="connsiteX36148" y="connsiteY36148"/>
              </a:cxn>
              <a:cxn ang="0">
                <a:pos x="connsiteX36149" y="connsiteY36149"/>
              </a:cxn>
              <a:cxn ang="0">
                <a:pos x="connsiteX36150" y="connsiteY36150"/>
              </a:cxn>
              <a:cxn ang="0">
                <a:pos x="connsiteX36151" y="connsiteY36151"/>
              </a:cxn>
              <a:cxn ang="0">
                <a:pos x="connsiteX36152" y="connsiteY36152"/>
              </a:cxn>
              <a:cxn ang="0">
                <a:pos x="connsiteX36153" y="connsiteY36153"/>
              </a:cxn>
              <a:cxn ang="0">
                <a:pos x="connsiteX36154" y="connsiteY36154"/>
              </a:cxn>
              <a:cxn ang="0">
                <a:pos x="connsiteX36155" y="connsiteY36155"/>
              </a:cxn>
              <a:cxn ang="0">
                <a:pos x="connsiteX36156" y="connsiteY36156"/>
              </a:cxn>
              <a:cxn ang="0">
                <a:pos x="connsiteX36157" y="connsiteY36157"/>
              </a:cxn>
              <a:cxn ang="0">
                <a:pos x="connsiteX36158" y="connsiteY36158"/>
              </a:cxn>
              <a:cxn ang="0">
                <a:pos x="connsiteX36159" y="connsiteY36159"/>
              </a:cxn>
              <a:cxn ang="0">
                <a:pos x="connsiteX36160" y="connsiteY36160"/>
              </a:cxn>
              <a:cxn ang="0">
                <a:pos x="connsiteX36161" y="connsiteY36161"/>
              </a:cxn>
              <a:cxn ang="0">
                <a:pos x="connsiteX36162" y="connsiteY36162"/>
              </a:cxn>
              <a:cxn ang="0">
                <a:pos x="connsiteX36163" y="connsiteY36163"/>
              </a:cxn>
              <a:cxn ang="0">
                <a:pos x="connsiteX36164" y="connsiteY36164"/>
              </a:cxn>
              <a:cxn ang="0">
                <a:pos x="connsiteX36165" y="connsiteY36165"/>
              </a:cxn>
              <a:cxn ang="0">
                <a:pos x="connsiteX36166" y="connsiteY36166"/>
              </a:cxn>
              <a:cxn ang="0">
                <a:pos x="connsiteX36167" y="connsiteY36167"/>
              </a:cxn>
              <a:cxn ang="0">
                <a:pos x="connsiteX36168" y="connsiteY36168"/>
              </a:cxn>
              <a:cxn ang="0">
                <a:pos x="connsiteX36169" y="connsiteY36169"/>
              </a:cxn>
              <a:cxn ang="0">
                <a:pos x="connsiteX36170" y="connsiteY36170"/>
              </a:cxn>
              <a:cxn ang="0">
                <a:pos x="connsiteX36171" y="connsiteY36171"/>
              </a:cxn>
              <a:cxn ang="0">
                <a:pos x="connsiteX36172" y="connsiteY36172"/>
              </a:cxn>
              <a:cxn ang="0">
                <a:pos x="connsiteX36173" y="connsiteY36173"/>
              </a:cxn>
              <a:cxn ang="0">
                <a:pos x="connsiteX36174" y="connsiteY36174"/>
              </a:cxn>
              <a:cxn ang="0">
                <a:pos x="connsiteX36175" y="connsiteY36175"/>
              </a:cxn>
              <a:cxn ang="0">
                <a:pos x="connsiteX36176" y="connsiteY36176"/>
              </a:cxn>
              <a:cxn ang="0">
                <a:pos x="connsiteX36177" y="connsiteY36177"/>
              </a:cxn>
              <a:cxn ang="0">
                <a:pos x="connsiteX36178" y="connsiteY36178"/>
              </a:cxn>
              <a:cxn ang="0">
                <a:pos x="connsiteX36179" y="connsiteY36179"/>
              </a:cxn>
              <a:cxn ang="0">
                <a:pos x="connsiteX36180" y="connsiteY36180"/>
              </a:cxn>
              <a:cxn ang="0">
                <a:pos x="connsiteX36181" y="connsiteY36181"/>
              </a:cxn>
              <a:cxn ang="0">
                <a:pos x="connsiteX36182" y="connsiteY36182"/>
              </a:cxn>
              <a:cxn ang="0">
                <a:pos x="connsiteX36183" y="connsiteY36183"/>
              </a:cxn>
              <a:cxn ang="0">
                <a:pos x="connsiteX36184" y="connsiteY36184"/>
              </a:cxn>
              <a:cxn ang="0">
                <a:pos x="connsiteX36185" y="connsiteY36185"/>
              </a:cxn>
              <a:cxn ang="0">
                <a:pos x="connsiteX36186" y="connsiteY36186"/>
              </a:cxn>
              <a:cxn ang="0">
                <a:pos x="connsiteX36187" y="connsiteY36187"/>
              </a:cxn>
              <a:cxn ang="0">
                <a:pos x="connsiteX36188" y="connsiteY36188"/>
              </a:cxn>
              <a:cxn ang="0">
                <a:pos x="connsiteX36189" y="connsiteY36189"/>
              </a:cxn>
              <a:cxn ang="0">
                <a:pos x="connsiteX36190" y="connsiteY36190"/>
              </a:cxn>
              <a:cxn ang="0">
                <a:pos x="connsiteX36191" y="connsiteY36191"/>
              </a:cxn>
              <a:cxn ang="0">
                <a:pos x="connsiteX36192" y="connsiteY36192"/>
              </a:cxn>
              <a:cxn ang="0">
                <a:pos x="connsiteX36193" y="connsiteY36193"/>
              </a:cxn>
              <a:cxn ang="0">
                <a:pos x="connsiteX36194" y="connsiteY36194"/>
              </a:cxn>
              <a:cxn ang="0">
                <a:pos x="connsiteX36195" y="connsiteY36195"/>
              </a:cxn>
              <a:cxn ang="0">
                <a:pos x="connsiteX36196" y="connsiteY36196"/>
              </a:cxn>
              <a:cxn ang="0">
                <a:pos x="connsiteX36197" y="connsiteY36197"/>
              </a:cxn>
              <a:cxn ang="0">
                <a:pos x="connsiteX36198" y="connsiteY36198"/>
              </a:cxn>
              <a:cxn ang="0">
                <a:pos x="connsiteX36199" y="connsiteY36199"/>
              </a:cxn>
              <a:cxn ang="0">
                <a:pos x="connsiteX36200" y="connsiteY36200"/>
              </a:cxn>
              <a:cxn ang="0">
                <a:pos x="connsiteX36201" y="connsiteY36201"/>
              </a:cxn>
              <a:cxn ang="0">
                <a:pos x="connsiteX36202" y="connsiteY36202"/>
              </a:cxn>
              <a:cxn ang="0">
                <a:pos x="connsiteX36203" y="connsiteY36203"/>
              </a:cxn>
              <a:cxn ang="0">
                <a:pos x="connsiteX36204" y="connsiteY36204"/>
              </a:cxn>
              <a:cxn ang="0">
                <a:pos x="connsiteX36205" y="connsiteY36205"/>
              </a:cxn>
              <a:cxn ang="0">
                <a:pos x="connsiteX36206" y="connsiteY36206"/>
              </a:cxn>
              <a:cxn ang="0">
                <a:pos x="connsiteX36207" y="connsiteY36207"/>
              </a:cxn>
              <a:cxn ang="0">
                <a:pos x="connsiteX36208" y="connsiteY36208"/>
              </a:cxn>
              <a:cxn ang="0">
                <a:pos x="connsiteX36209" y="connsiteY36209"/>
              </a:cxn>
              <a:cxn ang="0">
                <a:pos x="connsiteX36210" y="connsiteY36210"/>
              </a:cxn>
              <a:cxn ang="0">
                <a:pos x="connsiteX36211" y="connsiteY36211"/>
              </a:cxn>
              <a:cxn ang="0">
                <a:pos x="connsiteX36212" y="connsiteY36212"/>
              </a:cxn>
              <a:cxn ang="0">
                <a:pos x="connsiteX36213" y="connsiteY36213"/>
              </a:cxn>
              <a:cxn ang="0">
                <a:pos x="connsiteX36214" y="connsiteY36214"/>
              </a:cxn>
              <a:cxn ang="0">
                <a:pos x="connsiteX36215" y="connsiteY36215"/>
              </a:cxn>
              <a:cxn ang="0">
                <a:pos x="connsiteX36216" y="connsiteY36216"/>
              </a:cxn>
              <a:cxn ang="0">
                <a:pos x="connsiteX36217" y="connsiteY36217"/>
              </a:cxn>
              <a:cxn ang="0">
                <a:pos x="connsiteX36218" y="connsiteY36218"/>
              </a:cxn>
              <a:cxn ang="0">
                <a:pos x="connsiteX36219" y="connsiteY36219"/>
              </a:cxn>
              <a:cxn ang="0">
                <a:pos x="connsiteX36220" y="connsiteY36220"/>
              </a:cxn>
              <a:cxn ang="0">
                <a:pos x="connsiteX36221" y="connsiteY36221"/>
              </a:cxn>
              <a:cxn ang="0">
                <a:pos x="connsiteX36222" y="connsiteY36222"/>
              </a:cxn>
              <a:cxn ang="0">
                <a:pos x="connsiteX36223" y="connsiteY36223"/>
              </a:cxn>
              <a:cxn ang="0">
                <a:pos x="connsiteX36224" y="connsiteY36224"/>
              </a:cxn>
              <a:cxn ang="0">
                <a:pos x="connsiteX36225" y="connsiteY36225"/>
              </a:cxn>
              <a:cxn ang="0">
                <a:pos x="connsiteX36226" y="connsiteY36226"/>
              </a:cxn>
              <a:cxn ang="0">
                <a:pos x="connsiteX36227" y="connsiteY36227"/>
              </a:cxn>
              <a:cxn ang="0">
                <a:pos x="connsiteX36228" y="connsiteY36228"/>
              </a:cxn>
              <a:cxn ang="0">
                <a:pos x="connsiteX36229" y="connsiteY36229"/>
              </a:cxn>
              <a:cxn ang="0">
                <a:pos x="connsiteX36230" y="connsiteY36230"/>
              </a:cxn>
              <a:cxn ang="0">
                <a:pos x="connsiteX36231" y="connsiteY36231"/>
              </a:cxn>
              <a:cxn ang="0">
                <a:pos x="connsiteX36232" y="connsiteY36232"/>
              </a:cxn>
              <a:cxn ang="0">
                <a:pos x="connsiteX36233" y="connsiteY36233"/>
              </a:cxn>
              <a:cxn ang="0">
                <a:pos x="connsiteX36234" y="connsiteY36234"/>
              </a:cxn>
              <a:cxn ang="0">
                <a:pos x="connsiteX36235" y="connsiteY36235"/>
              </a:cxn>
              <a:cxn ang="0">
                <a:pos x="connsiteX36236" y="connsiteY36236"/>
              </a:cxn>
              <a:cxn ang="0">
                <a:pos x="connsiteX36237" y="connsiteY36237"/>
              </a:cxn>
              <a:cxn ang="0">
                <a:pos x="connsiteX36238" y="connsiteY36238"/>
              </a:cxn>
              <a:cxn ang="0">
                <a:pos x="connsiteX36239" y="connsiteY36239"/>
              </a:cxn>
              <a:cxn ang="0">
                <a:pos x="connsiteX36240" y="connsiteY36240"/>
              </a:cxn>
              <a:cxn ang="0">
                <a:pos x="connsiteX36241" y="connsiteY36241"/>
              </a:cxn>
              <a:cxn ang="0">
                <a:pos x="connsiteX36242" y="connsiteY36242"/>
              </a:cxn>
              <a:cxn ang="0">
                <a:pos x="connsiteX36243" y="connsiteY36243"/>
              </a:cxn>
              <a:cxn ang="0">
                <a:pos x="connsiteX36244" y="connsiteY36244"/>
              </a:cxn>
              <a:cxn ang="0">
                <a:pos x="connsiteX36245" y="connsiteY36245"/>
              </a:cxn>
              <a:cxn ang="0">
                <a:pos x="connsiteX36246" y="connsiteY36246"/>
              </a:cxn>
              <a:cxn ang="0">
                <a:pos x="connsiteX36247" y="connsiteY36247"/>
              </a:cxn>
              <a:cxn ang="0">
                <a:pos x="connsiteX36248" y="connsiteY36248"/>
              </a:cxn>
              <a:cxn ang="0">
                <a:pos x="connsiteX36249" y="connsiteY36249"/>
              </a:cxn>
              <a:cxn ang="0">
                <a:pos x="connsiteX36250" y="connsiteY36250"/>
              </a:cxn>
              <a:cxn ang="0">
                <a:pos x="connsiteX36251" y="connsiteY36251"/>
              </a:cxn>
              <a:cxn ang="0">
                <a:pos x="connsiteX36252" y="connsiteY36252"/>
              </a:cxn>
              <a:cxn ang="0">
                <a:pos x="connsiteX36253" y="connsiteY36253"/>
              </a:cxn>
              <a:cxn ang="0">
                <a:pos x="connsiteX36254" y="connsiteY36254"/>
              </a:cxn>
              <a:cxn ang="0">
                <a:pos x="connsiteX36255" y="connsiteY36255"/>
              </a:cxn>
              <a:cxn ang="0">
                <a:pos x="connsiteX36256" y="connsiteY36256"/>
              </a:cxn>
              <a:cxn ang="0">
                <a:pos x="connsiteX36257" y="connsiteY36257"/>
              </a:cxn>
              <a:cxn ang="0">
                <a:pos x="connsiteX36258" y="connsiteY36258"/>
              </a:cxn>
              <a:cxn ang="0">
                <a:pos x="connsiteX36259" y="connsiteY36259"/>
              </a:cxn>
              <a:cxn ang="0">
                <a:pos x="connsiteX36260" y="connsiteY36260"/>
              </a:cxn>
              <a:cxn ang="0">
                <a:pos x="connsiteX36261" y="connsiteY36261"/>
              </a:cxn>
              <a:cxn ang="0">
                <a:pos x="connsiteX36262" y="connsiteY36262"/>
              </a:cxn>
              <a:cxn ang="0">
                <a:pos x="connsiteX36263" y="connsiteY36263"/>
              </a:cxn>
              <a:cxn ang="0">
                <a:pos x="connsiteX36264" y="connsiteY36264"/>
              </a:cxn>
              <a:cxn ang="0">
                <a:pos x="connsiteX36265" y="connsiteY36265"/>
              </a:cxn>
              <a:cxn ang="0">
                <a:pos x="connsiteX36266" y="connsiteY36266"/>
              </a:cxn>
              <a:cxn ang="0">
                <a:pos x="connsiteX36267" y="connsiteY36267"/>
              </a:cxn>
              <a:cxn ang="0">
                <a:pos x="connsiteX36268" y="connsiteY36268"/>
              </a:cxn>
              <a:cxn ang="0">
                <a:pos x="connsiteX36269" y="connsiteY36269"/>
              </a:cxn>
              <a:cxn ang="0">
                <a:pos x="connsiteX36270" y="connsiteY36270"/>
              </a:cxn>
              <a:cxn ang="0">
                <a:pos x="connsiteX36271" y="connsiteY36271"/>
              </a:cxn>
              <a:cxn ang="0">
                <a:pos x="connsiteX36272" y="connsiteY36272"/>
              </a:cxn>
              <a:cxn ang="0">
                <a:pos x="connsiteX36273" y="connsiteY36273"/>
              </a:cxn>
              <a:cxn ang="0">
                <a:pos x="connsiteX36274" y="connsiteY36274"/>
              </a:cxn>
              <a:cxn ang="0">
                <a:pos x="connsiteX36275" y="connsiteY36275"/>
              </a:cxn>
              <a:cxn ang="0">
                <a:pos x="connsiteX36276" y="connsiteY36276"/>
              </a:cxn>
              <a:cxn ang="0">
                <a:pos x="connsiteX36277" y="connsiteY36277"/>
              </a:cxn>
              <a:cxn ang="0">
                <a:pos x="connsiteX36278" y="connsiteY36278"/>
              </a:cxn>
              <a:cxn ang="0">
                <a:pos x="connsiteX36279" y="connsiteY36279"/>
              </a:cxn>
              <a:cxn ang="0">
                <a:pos x="connsiteX36280" y="connsiteY36280"/>
              </a:cxn>
              <a:cxn ang="0">
                <a:pos x="connsiteX36281" y="connsiteY36281"/>
              </a:cxn>
              <a:cxn ang="0">
                <a:pos x="connsiteX36282" y="connsiteY36282"/>
              </a:cxn>
              <a:cxn ang="0">
                <a:pos x="connsiteX36283" y="connsiteY36283"/>
              </a:cxn>
              <a:cxn ang="0">
                <a:pos x="connsiteX36284" y="connsiteY36284"/>
              </a:cxn>
              <a:cxn ang="0">
                <a:pos x="connsiteX36285" y="connsiteY36285"/>
              </a:cxn>
              <a:cxn ang="0">
                <a:pos x="connsiteX36286" y="connsiteY36286"/>
              </a:cxn>
              <a:cxn ang="0">
                <a:pos x="connsiteX36287" y="connsiteY36287"/>
              </a:cxn>
              <a:cxn ang="0">
                <a:pos x="connsiteX36288" y="connsiteY36288"/>
              </a:cxn>
              <a:cxn ang="0">
                <a:pos x="connsiteX36289" y="connsiteY36289"/>
              </a:cxn>
              <a:cxn ang="0">
                <a:pos x="connsiteX36290" y="connsiteY36290"/>
              </a:cxn>
              <a:cxn ang="0">
                <a:pos x="connsiteX36291" y="connsiteY36291"/>
              </a:cxn>
              <a:cxn ang="0">
                <a:pos x="connsiteX36292" y="connsiteY36292"/>
              </a:cxn>
              <a:cxn ang="0">
                <a:pos x="connsiteX36293" y="connsiteY36293"/>
              </a:cxn>
              <a:cxn ang="0">
                <a:pos x="connsiteX36294" y="connsiteY36294"/>
              </a:cxn>
              <a:cxn ang="0">
                <a:pos x="connsiteX36295" y="connsiteY36295"/>
              </a:cxn>
              <a:cxn ang="0">
                <a:pos x="connsiteX36296" y="connsiteY36296"/>
              </a:cxn>
              <a:cxn ang="0">
                <a:pos x="connsiteX36297" y="connsiteY36297"/>
              </a:cxn>
              <a:cxn ang="0">
                <a:pos x="connsiteX36298" y="connsiteY36298"/>
              </a:cxn>
              <a:cxn ang="0">
                <a:pos x="connsiteX36299" y="connsiteY36299"/>
              </a:cxn>
              <a:cxn ang="0">
                <a:pos x="connsiteX36300" y="connsiteY36300"/>
              </a:cxn>
              <a:cxn ang="0">
                <a:pos x="connsiteX36301" y="connsiteY36301"/>
              </a:cxn>
              <a:cxn ang="0">
                <a:pos x="connsiteX36302" y="connsiteY36302"/>
              </a:cxn>
              <a:cxn ang="0">
                <a:pos x="connsiteX36303" y="connsiteY36303"/>
              </a:cxn>
              <a:cxn ang="0">
                <a:pos x="connsiteX36304" y="connsiteY36304"/>
              </a:cxn>
              <a:cxn ang="0">
                <a:pos x="connsiteX36305" y="connsiteY36305"/>
              </a:cxn>
              <a:cxn ang="0">
                <a:pos x="connsiteX36306" y="connsiteY36306"/>
              </a:cxn>
              <a:cxn ang="0">
                <a:pos x="connsiteX36307" y="connsiteY36307"/>
              </a:cxn>
              <a:cxn ang="0">
                <a:pos x="connsiteX36308" y="connsiteY36308"/>
              </a:cxn>
              <a:cxn ang="0">
                <a:pos x="connsiteX36309" y="connsiteY36309"/>
              </a:cxn>
              <a:cxn ang="0">
                <a:pos x="connsiteX36310" y="connsiteY36310"/>
              </a:cxn>
              <a:cxn ang="0">
                <a:pos x="connsiteX36311" y="connsiteY36311"/>
              </a:cxn>
              <a:cxn ang="0">
                <a:pos x="connsiteX36312" y="connsiteY36312"/>
              </a:cxn>
              <a:cxn ang="0">
                <a:pos x="connsiteX36313" y="connsiteY36313"/>
              </a:cxn>
              <a:cxn ang="0">
                <a:pos x="connsiteX36314" y="connsiteY36314"/>
              </a:cxn>
              <a:cxn ang="0">
                <a:pos x="connsiteX36315" y="connsiteY36315"/>
              </a:cxn>
              <a:cxn ang="0">
                <a:pos x="connsiteX36316" y="connsiteY36316"/>
              </a:cxn>
              <a:cxn ang="0">
                <a:pos x="connsiteX36317" y="connsiteY36317"/>
              </a:cxn>
              <a:cxn ang="0">
                <a:pos x="connsiteX36318" y="connsiteY36318"/>
              </a:cxn>
              <a:cxn ang="0">
                <a:pos x="connsiteX36319" y="connsiteY36319"/>
              </a:cxn>
              <a:cxn ang="0">
                <a:pos x="connsiteX36320" y="connsiteY36320"/>
              </a:cxn>
              <a:cxn ang="0">
                <a:pos x="connsiteX36321" y="connsiteY36321"/>
              </a:cxn>
              <a:cxn ang="0">
                <a:pos x="connsiteX36322" y="connsiteY36322"/>
              </a:cxn>
              <a:cxn ang="0">
                <a:pos x="connsiteX36323" y="connsiteY36323"/>
              </a:cxn>
              <a:cxn ang="0">
                <a:pos x="connsiteX36324" y="connsiteY36324"/>
              </a:cxn>
              <a:cxn ang="0">
                <a:pos x="connsiteX36325" y="connsiteY36325"/>
              </a:cxn>
              <a:cxn ang="0">
                <a:pos x="connsiteX36326" y="connsiteY36326"/>
              </a:cxn>
              <a:cxn ang="0">
                <a:pos x="connsiteX36327" y="connsiteY36327"/>
              </a:cxn>
              <a:cxn ang="0">
                <a:pos x="connsiteX36328" y="connsiteY36328"/>
              </a:cxn>
              <a:cxn ang="0">
                <a:pos x="connsiteX36329" y="connsiteY36329"/>
              </a:cxn>
              <a:cxn ang="0">
                <a:pos x="connsiteX36330" y="connsiteY36330"/>
              </a:cxn>
              <a:cxn ang="0">
                <a:pos x="connsiteX36331" y="connsiteY36331"/>
              </a:cxn>
              <a:cxn ang="0">
                <a:pos x="connsiteX36332" y="connsiteY36332"/>
              </a:cxn>
              <a:cxn ang="0">
                <a:pos x="connsiteX36333" y="connsiteY36333"/>
              </a:cxn>
              <a:cxn ang="0">
                <a:pos x="connsiteX36334" y="connsiteY36334"/>
              </a:cxn>
              <a:cxn ang="0">
                <a:pos x="connsiteX36335" y="connsiteY36335"/>
              </a:cxn>
              <a:cxn ang="0">
                <a:pos x="connsiteX36336" y="connsiteY36336"/>
              </a:cxn>
              <a:cxn ang="0">
                <a:pos x="connsiteX36337" y="connsiteY36337"/>
              </a:cxn>
              <a:cxn ang="0">
                <a:pos x="connsiteX36338" y="connsiteY36338"/>
              </a:cxn>
              <a:cxn ang="0">
                <a:pos x="connsiteX36339" y="connsiteY36339"/>
              </a:cxn>
              <a:cxn ang="0">
                <a:pos x="connsiteX36340" y="connsiteY36340"/>
              </a:cxn>
              <a:cxn ang="0">
                <a:pos x="connsiteX36341" y="connsiteY36341"/>
              </a:cxn>
              <a:cxn ang="0">
                <a:pos x="connsiteX36342" y="connsiteY36342"/>
              </a:cxn>
              <a:cxn ang="0">
                <a:pos x="connsiteX36343" y="connsiteY36343"/>
              </a:cxn>
              <a:cxn ang="0">
                <a:pos x="connsiteX36344" y="connsiteY36344"/>
              </a:cxn>
              <a:cxn ang="0">
                <a:pos x="connsiteX36345" y="connsiteY36345"/>
              </a:cxn>
              <a:cxn ang="0">
                <a:pos x="connsiteX36346" y="connsiteY36346"/>
              </a:cxn>
              <a:cxn ang="0">
                <a:pos x="connsiteX36347" y="connsiteY36347"/>
              </a:cxn>
              <a:cxn ang="0">
                <a:pos x="connsiteX36348" y="connsiteY36348"/>
              </a:cxn>
              <a:cxn ang="0">
                <a:pos x="connsiteX36349" y="connsiteY36349"/>
              </a:cxn>
              <a:cxn ang="0">
                <a:pos x="connsiteX36350" y="connsiteY36350"/>
              </a:cxn>
              <a:cxn ang="0">
                <a:pos x="connsiteX36351" y="connsiteY36351"/>
              </a:cxn>
              <a:cxn ang="0">
                <a:pos x="connsiteX36352" y="connsiteY36352"/>
              </a:cxn>
              <a:cxn ang="0">
                <a:pos x="connsiteX36353" y="connsiteY36353"/>
              </a:cxn>
              <a:cxn ang="0">
                <a:pos x="connsiteX36354" y="connsiteY36354"/>
              </a:cxn>
              <a:cxn ang="0">
                <a:pos x="connsiteX36355" y="connsiteY36355"/>
              </a:cxn>
              <a:cxn ang="0">
                <a:pos x="connsiteX36356" y="connsiteY36356"/>
              </a:cxn>
              <a:cxn ang="0">
                <a:pos x="connsiteX36357" y="connsiteY36357"/>
              </a:cxn>
              <a:cxn ang="0">
                <a:pos x="connsiteX36358" y="connsiteY36358"/>
              </a:cxn>
              <a:cxn ang="0">
                <a:pos x="connsiteX36359" y="connsiteY36359"/>
              </a:cxn>
              <a:cxn ang="0">
                <a:pos x="connsiteX36360" y="connsiteY36360"/>
              </a:cxn>
              <a:cxn ang="0">
                <a:pos x="connsiteX36361" y="connsiteY36361"/>
              </a:cxn>
              <a:cxn ang="0">
                <a:pos x="connsiteX36362" y="connsiteY36362"/>
              </a:cxn>
              <a:cxn ang="0">
                <a:pos x="connsiteX36363" y="connsiteY36363"/>
              </a:cxn>
              <a:cxn ang="0">
                <a:pos x="connsiteX36364" y="connsiteY36364"/>
              </a:cxn>
              <a:cxn ang="0">
                <a:pos x="connsiteX36365" y="connsiteY36365"/>
              </a:cxn>
              <a:cxn ang="0">
                <a:pos x="connsiteX36366" y="connsiteY36366"/>
              </a:cxn>
              <a:cxn ang="0">
                <a:pos x="connsiteX36367" y="connsiteY36367"/>
              </a:cxn>
              <a:cxn ang="0">
                <a:pos x="connsiteX36368" y="connsiteY36368"/>
              </a:cxn>
              <a:cxn ang="0">
                <a:pos x="connsiteX36369" y="connsiteY36369"/>
              </a:cxn>
              <a:cxn ang="0">
                <a:pos x="connsiteX36370" y="connsiteY36370"/>
              </a:cxn>
              <a:cxn ang="0">
                <a:pos x="connsiteX36371" y="connsiteY36371"/>
              </a:cxn>
              <a:cxn ang="0">
                <a:pos x="connsiteX36372" y="connsiteY36372"/>
              </a:cxn>
              <a:cxn ang="0">
                <a:pos x="connsiteX36373" y="connsiteY36373"/>
              </a:cxn>
              <a:cxn ang="0">
                <a:pos x="connsiteX36374" y="connsiteY36374"/>
              </a:cxn>
              <a:cxn ang="0">
                <a:pos x="connsiteX36375" y="connsiteY36375"/>
              </a:cxn>
              <a:cxn ang="0">
                <a:pos x="connsiteX36376" y="connsiteY36376"/>
              </a:cxn>
              <a:cxn ang="0">
                <a:pos x="connsiteX36377" y="connsiteY36377"/>
              </a:cxn>
              <a:cxn ang="0">
                <a:pos x="connsiteX36378" y="connsiteY36378"/>
              </a:cxn>
              <a:cxn ang="0">
                <a:pos x="connsiteX36379" y="connsiteY36379"/>
              </a:cxn>
              <a:cxn ang="0">
                <a:pos x="connsiteX36380" y="connsiteY36380"/>
              </a:cxn>
              <a:cxn ang="0">
                <a:pos x="connsiteX36381" y="connsiteY36381"/>
              </a:cxn>
              <a:cxn ang="0">
                <a:pos x="connsiteX36382" y="connsiteY36382"/>
              </a:cxn>
              <a:cxn ang="0">
                <a:pos x="connsiteX36383" y="connsiteY36383"/>
              </a:cxn>
              <a:cxn ang="0">
                <a:pos x="connsiteX36384" y="connsiteY36384"/>
              </a:cxn>
              <a:cxn ang="0">
                <a:pos x="connsiteX36385" y="connsiteY36385"/>
              </a:cxn>
              <a:cxn ang="0">
                <a:pos x="connsiteX36386" y="connsiteY36386"/>
              </a:cxn>
              <a:cxn ang="0">
                <a:pos x="connsiteX36387" y="connsiteY36387"/>
              </a:cxn>
              <a:cxn ang="0">
                <a:pos x="connsiteX36388" y="connsiteY36388"/>
              </a:cxn>
              <a:cxn ang="0">
                <a:pos x="connsiteX36389" y="connsiteY36389"/>
              </a:cxn>
              <a:cxn ang="0">
                <a:pos x="connsiteX36390" y="connsiteY36390"/>
              </a:cxn>
              <a:cxn ang="0">
                <a:pos x="connsiteX36391" y="connsiteY36391"/>
              </a:cxn>
              <a:cxn ang="0">
                <a:pos x="connsiteX36392" y="connsiteY36392"/>
              </a:cxn>
              <a:cxn ang="0">
                <a:pos x="connsiteX36393" y="connsiteY36393"/>
              </a:cxn>
              <a:cxn ang="0">
                <a:pos x="connsiteX36394" y="connsiteY36394"/>
              </a:cxn>
              <a:cxn ang="0">
                <a:pos x="connsiteX36395" y="connsiteY36395"/>
              </a:cxn>
              <a:cxn ang="0">
                <a:pos x="connsiteX36396" y="connsiteY36396"/>
              </a:cxn>
              <a:cxn ang="0">
                <a:pos x="connsiteX36397" y="connsiteY36397"/>
              </a:cxn>
              <a:cxn ang="0">
                <a:pos x="connsiteX36398" y="connsiteY36398"/>
              </a:cxn>
              <a:cxn ang="0">
                <a:pos x="connsiteX36399" y="connsiteY36399"/>
              </a:cxn>
              <a:cxn ang="0">
                <a:pos x="connsiteX36400" y="connsiteY36400"/>
              </a:cxn>
              <a:cxn ang="0">
                <a:pos x="connsiteX36401" y="connsiteY36401"/>
              </a:cxn>
              <a:cxn ang="0">
                <a:pos x="connsiteX36402" y="connsiteY36402"/>
              </a:cxn>
              <a:cxn ang="0">
                <a:pos x="connsiteX36403" y="connsiteY36403"/>
              </a:cxn>
              <a:cxn ang="0">
                <a:pos x="connsiteX36404" y="connsiteY36404"/>
              </a:cxn>
              <a:cxn ang="0">
                <a:pos x="connsiteX36405" y="connsiteY36405"/>
              </a:cxn>
              <a:cxn ang="0">
                <a:pos x="connsiteX36406" y="connsiteY36406"/>
              </a:cxn>
              <a:cxn ang="0">
                <a:pos x="connsiteX36407" y="connsiteY36407"/>
              </a:cxn>
              <a:cxn ang="0">
                <a:pos x="connsiteX36408" y="connsiteY36408"/>
              </a:cxn>
              <a:cxn ang="0">
                <a:pos x="connsiteX36409" y="connsiteY36409"/>
              </a:cxn>
              <a:cxn ang="0">
                <a:pos x="connsiteX36410" y="connsiteY36410"/>
              </a:cxn>
              <a:cxn ang="0">
                <a:pos x="connsiteX36411" y="connsiteY36411"/>
              </a:cxn>
              <a:cxn ang="0">
                <a:pos x="connsiteX36412" y="connsiteY36412"/>
              </a:cxn>
              <a:cxn ang="0">
                <a:pos x="connsiteX36413" y="connsiteY36413"/>
              </a:cxn>
              <a:cxn ang="0">
                <a:pos x="connsiteX36414" y="connsiteY36414"/>
              </a:cxn>
              <a:cxn ang="0">
                <a:pos x="connsiteX36415" y="connsiteY36415"/>
              </a:cxn>
              <a:cxn ang="0">
                <a:pos x="connsiteX36416" y="connsiteY36416"/>
              </a:cxn>
              <a:cxn ang="0">
                <a:pos x="connsiteX36417" y="connsiteY36417"/>
              </a:cxn>
              <a:cxn ang="0">
                <a:pos x="connsiteX36418" y="connsiteY36418"/>
              </a:cxn>
              <a:cxn ang="0">
                <a:pos x="connsiteX36419" y="connsiteY36419"/>
              </a:cxn>
              <a:cxn ang="0">
                <a:pos x="connsiteX36420" y="connsiteY36420"/>
              </a:cxn>
              <a:cxn ang="0">
                <a:pos x="connsiteX36421" y="connsiteY36421"/>
              </a:cxn>
              <a:cxn ang="0">
                <a:pos x="connsiteX36422" y="connsiteY36422"/>
              </a:cxn>
              <a:cxn ang="0">
                <a:pos x="connsiteX36423" y="connsiteY36423"/>
              </a:cxn>
              <a:cxn ang="0">
                <a:pos x="connsiteX36424" y="connsiteY36424"/>
              </a:cxn>
              <a:cxn ang="0">
                <a:pos x="connsiteX36425" y="connsiteY36425"/>
              </a:cxn>
              <a:cxn ang="0">
                <a:pos x="connsiteX36426" y="connsiteY36426"/>
              </a:cxn>
              <a:cxn ang="0">
                <a:pos x="connsiteX36427" y="connsiteY36427"/>
              </a:cxn>
              <a:cxn ang="0">
                <a:pos x="connsiteX36428" y="connsiteY36428"/>
              </a:cxn>
              <a:cxn ang="0">
                <a:pos x="connsiteX36429" y="connsiteY36429"/>
              </a:cxn>
              <a:cxn ang="0">
                <a:pos x="connsiteX36430" y="connsiteY36430"/>
              </a:cxn>
              <a:cxn ang="0">
                <a:pos x="connsiteX36431" y="connsiteY36431"/>
              </a:cxn>
              <a:cxn ang="0">
                <a:pos x="connsiteX36432" y="connsiteY36432"/>
              </a:cxn>
              <a:cxn ang="0">
                <a:pos x="connsiteX36433" y="connsiteY36433"/>
              </a:cxn>
              <a:cxn ang="0">
                <a:pos x="connsiteX36434" y="connsiteY36434"/>
              </a:cxn>
              <a:cxn ang="0">
                <a:pos x="connsiteX36435" y="connsiteY36435"/>
              </a:cxn>
              <a:cxn ang="0">
                <a:pos x="connsiteX36436" y="connsiteY36436"/>
              </a:cxn>
              <a:cxn ang="0">
                <a:pos x="connsiteX36437" y="connsiteY36437"/>
              </a:cxn>
              <a:cxn ang="0">
                <a:pos x="connsiteX36438" y="connsiteY36438"/>
              </a:cxn>
              <a:cxn ang="0">
                <a:pos x="connsiteX36439" y="connsiteY36439"/>
              </a:cxn>
              <a:cxn ang="0">
                <a:pos x="connsiteX36440" y="connsiteY36440"/>
              </a:cxn>
              <a:cxn ang="0">
                <a:pos x="connsiteX36441" y="connsiteY36441"/>
              </a:cxn>
              <a:cxn ang="0">
                <a:pos x="connsiteX36442" y="connsiteY36442"/>
              </a:cxn>
              <a:cxn ang="0">
                <a:pos x="connsiteX36443" y="connsiteY36443"/>
              </a:cxn>
              <a:cxn ang="0">
                <a:pos x="connsiteX36444" y="connsiteY36444"/>
              </a:cxn>
              <a:cxn ang="0">
                <a:pos x="connsiteX36445" y="connsiteY36445"/>
              </a:cxn>
              <a:cxn ang="0">
                <a:pos x="connsiteX36446" y="connsiteY36446"/>
              </a:cxn>
              <a:cxn ang="0">
                <a:pos x="connsiteX36447" y="connsiteY36447"/>
              </a:cxn>
              <a:cxn ang="0">
                <a:pos x="connsiteX36448" y="connsiteY36448"/>
              </a:cxn>
              <a:cxn ang="0">
                <a:pos x="connsiteX36449" y="connsiteY36449"/>
              </a:cxn>
              <a:cxn ang="0">
                <a:pos x="connsiteX36450" y="connsiteY36450"/>
              </a:cxn>
              <a:cxn ang="0">
                <a:pos x="connsiteX36451" y="connsiteY36451"/>
              </a:cxn>
              <a:cxn ang="0">
                <a:pos x="connsiteX36452" y="connsiteY36452"/>
              </a:cxn>
              <a:cxn ang="0">
                <a:pos x="connsiteX36453" y="connsiteY36453"/>
              </a:cxn>
              <a:cxn ang="0">
                <a:pos x="connsiteX36454" y="connsiteY36454"/>
              </a:cxn>
              <a:cxn ang="0">
                <a:pos x="connsiteX36455" y="connsiteY36455"/>
              </a:cxn>
              <a:cxn ang="0">
                <a:pos x="connsiteX36456" y="connsiteY36456"/>
              </a:cxn>
              <a:cxn ang="0">
                <a:pos x="connsiteX36457" y="connsiteY36457"/>
              </a:cxn>
              <a:cxn ang="0">
                <a:pos x="connsiteX36458" y="connsiteY36458"/>
              </a:cxn>
              <a:cxn ang="0">
                <a:pos x="connsiteX36459" y="connsiteY36459"/>
              </a:cxn>
              <a:cxn ang="0">
                <a:pos x="connsiteX36460" y="connsiteY36460"/>
              </a:cxn>
              <a:cxn ang="0">
                <a:pos x="connsiteX36461" y="connsiteY36461"/>
              </a:cxn>
              <a:cxn ang="0">
                <a:pos x="connsiteX36462" y="connsiteY36462"/>
              </a:cxn>
              <a:cxn ang="0">
                <a:pos x="connsiteX36463" y="connsiteY36463"/>
              </a:cxn>
              <a:cxn ang="0">
                <a:pos x="connsiteX36464" y="connsiteY36464"/>
              </a:cxn>
              <a:cxn ang="0">
                <a:pos x="connsiteX36465" y="connsiteY36465"/>
              </a:cxn>
              <a:cxn ang="0">
                <a:pos x="connsiteX36466" y="connsiteY36466"/>
              </a:cxn>
              <a:cxn ang="0">
                <a:pos x="connsiteX36467" y="connsiteY36467"/>
              </a:cxn>
              <a:cxn ang="0">
                <a:pos x="connsiteX36468" y="connsiteY36468"/>
              </a:cxn>
              <a:cxn ang="0">
                <a:pos x="connsiteX36469" y="connsiteY36469"/>
              </a:cxn>
              <a:cxn ang="0">
                <a:pos x="connsiteX36470" y="connsiteY36470"/>
              </a:cxn>
              <a:cxn ang="0">
                <a:pos x="connsiteX36471" y="connsiteY36471"/>
              </a:cxn>
              <a:cxn ang="0">
                <a:pos x="connsiteX36472" y="connsiteY36472"/>
              </a:cxn>
              <a:cxn ang="0">
                <a:pos x="connsiteX36473" y="connsiteY36473"/>
              </a:cxn>
              <a:cxn ang="0">
                <a:pos x="connsiteX36474" y="connsiteY36474"/>
              </a:cxn>
              <a:cxn ang="0">
                <a:pos x="connsiteX36475" y="connsiteY36475"/>
              </a:cxn>
              <a:cxn ang="0">
                <a:pos x="connsiteX36476" y="connsiteY36476"/>
              </a:cxn>
              <a:cxn ang="0">
                <a:pos x="connsiteX36477" y="connsiteY36477"/>
              </a:cxn>
              <a:cxn ang="0">
                <a:pos x="connsiteX36478" y="connsiteY36478"/>
              </a:cxn>
              <a:cxn ang="0">
                <a:pos x="connsiteX36479" y="connsiteY36479"/>
              </a:cxn>
              <a:cxn ang="0">
                <a:pos x="connsiteX36480" y="connsiteY36480"/>
              </a:cxn>
              <a:cxn ang="0">
                <a:pos x="connsiteX36481" y="connsiteY36481"/>
              </a:cxn>
              <a:cxn ang="0">
                <a:pos x="connsiteX36482" y="connsiteY36482"/>
              </a:cxn>
              <a:cxn ang="0">
                <a:pos x="connsiteX36483" y="connsiteY36483"/>
              </a:cxn>
              <a:cxn ang="0">
                <a:pos x="connsiteX36484" y="connsiteY36484"/>
              </a:cxn>
              <a:cxn ang="0">
                <a:pos x="connsiteX36485" y="connsiteY36485"/>
              </a:cxn>
              <a:cxn ang="0">
                <a:pos x="connsiteX36486" y="connsiteY36486"/>
              </a:cxn>
              <a:cxn ang="0">
                <a:pos x="connsiteX36487" y="connsiteY36487"/>
              </a:cxn>
              <a:cxn ang="0">
                <a:pos x="connsiteX36488" y="connsiteY36488"/>
              </a:cxn>
              <a:cxn ang="0">
                <a:pos x="connsiteX36489" y="connsiteY36489"/>
              </a:cxn>
              <a:cxn ang="0">
                <a:pos x="connsiteX36490" y="connsiteY36490"/>
              </a:cxn>
              <a:cxn ang="0">
                <a:pos x="connsiteX36491" y="connsiteY36491"/>
              </a:cxn>
              <a:cxn ang="0">
                <a:pos x="connsiteX36492" y="connsiteY36492"/>
              </a:cxn>
              <a:cxn ang="0">
                <a:pos x="connsiteX36493" y="connsiteY36493"/>
              </a:cxn>
              <a:cxn ang="0">
                <a:pos x="connsiteX36494" y="connsiteY36494"/>
              </a:cxn>
              <a:cxn ang="0">
                <a:pos x="connsiteX36495" y="connsiteY36495"/>
              </a:cxn>
              <a:cxn ang="0">
                <a:pos x="connsiteX36496" y="connsiteY36496"/>
              </a:cxn>
              <a:cxn ang="0">
                <a:pos x="connsiteX36497" y="connsiteY36497"/>
              </a:cxn>
              <a:cxn ang="0">
                <a:pos x="connsiteX36498" y="connsiteY36498"/>
              </a:cxn>
              <a:cxn ang="0">
                <a:pos x="connsiteX36499" y="connsiteY36499"/>
              </a:cxn>
              <a:cxn ang="0">
                <a:pos x="connsiteX36500" y="connsiteY36500"/>
              </a:cxn>
              <a:cxn ang="0">
                <a:pos x="connsiteX36501" y="connsiteY36501"/>
              </a:cxn>
              <a:cxn ang="0">
                <a:pos x="connsiteX36502" y="connsiteY36502"/>
              </a:cxn>
              <a:cxn ang="0">
                <a:pos x="connsiteX36503" y="connsiteY36503"/>
              </a:cxn>
              <a:cxn ang="0">
                <a:pos x="connsiteX36504" y="connsiteY36504"/>
              </a:cxn>
              <a:cxn ang="0">
                <a:pos x="connsiteX36505" y="connsiteY36505"/>
              </a:cxn>
              <a:cxn ang="0">
                <a:pos x="connsiteX36506" y="connsiteY36506"/>
              </a:cxn>
              <a:cxn ang="0">
                <a:pos x="connsiteX36507" y="connsiteY36507"/>
              </a:cxn>
              <a:cxn ang="0">
                <a:pos x="connsiteX36508" y="connsiteY36508"/>
              </a:cxn>
              <a:cxn ang="0">
                <a:pos x="connsiteX36509" y="connsiteY36509"/>
              </a:cxn>
              <a:cxn ang="0">
                <a:pos x="connsiteX36510" y="connsiteY36510"/>
              </a:cxn>
              <a:cxn ang="0">
                <a:pos x="connsiteX36511" y="connsiteY36511"/>
              </a:cxn>
              <a:cxn ang="0">
                <a:pos x="connsiteX36512" y="connsiteY36512"/>
              </a:cxn>
              <a:cxn ang="0">
                <a:pos x="connsiteX36513" y="connsiteY36513"/>
              </a:cxn>
              <a:cxn ang="0">
                <a:pos x="connsiteX36514" y="connsiteY36514"/>
              </a:cxn>
              <a:cxn ang="0">
                <a:pos x="connsiteX36515" y="connsiteY36515"/>
              </a:cxn>
              <a:cxn ang="0">
                <a:pos x="connsiteX36516" y="connsiteY36516"/>
              </a:cxn>
              <a:cxn ang="0">
                <a:pos x="connsiteX36517" y="connsiteY36517"/>
              </a:cxn>
              <a:cxn ang="0">
                <a:pos x="connsiteX36518" y="connsiteY36518"/>
              </a:cxn>
              <a:cxn ang="0">
                <a:pos x="connsiteX36519" y="connsiteY36519"/>
              </a:cxn>
              <a:cxn ang="0">
                <a:pos x="connsiteX36520" y="connsiteY36520"/>
              </a:cxn>
              <a:cxn ang="0">
                <a:pos x="connsiteX36521" y="connsiteY36521"/>
              </a:cxn>
              <a:cxn ang="0">
                <a:pos x="connsiteX36522" y="connsiteY36522"/>
              </a:cxn>
              <a:cxn ang="0">
                <a:pos x="connsiteX36523" y="connsiteY36523"/>
              </a:cxn>
              <a:cxn ang="0">
                <a:pos x="connsiteX36524" y="connsiteY36524"/>
              </a:cxn>
              <a:cxn ang="0">
                <a:pos x="connsiteX36525" y="connsiteY36525"/>
              </a:cxn>
              <a:cxn ang="0">
                <a:pos x="connsiteX36526" y="connsiteY36526"/>
              </a:cxn>
              <a:cxn ang="0">
                <a:pos x="connsiteX36527" y="connsiteY36527"/>
              </a:cxn>
              <a:cxn ang="0">
                <a:pos x="connsiteX36528" y="connsiteY36528"/>
              </a:cxn>
              <a:cxn ang="0">
                <a:pos x="connsiteX36529" y="connsiteY36529"/>
              </a:cxn>
              <a:cxn ang="0">
                <a:pos x="connsiteX36530" y="connsiteY36530"/>
              </a:cxn>
              <a:cxn ang="0">
                <a:pos x="connsiteX36531" y="connsiteY36531"/>
              </a:cxn>
              <a:cxn ang="0">
                <a:pos x="connsiteX36532" y="connsiteY36532"/>
              </a:cxn>
              <a:cxn ang="0">
                <a:pos x="connsiteX36533" y="connsiteY36533"/>
              </a:cxn>
              <a:cxn ang="0">
                <a:pos x="connsiteX36534" y="connsiteY36534"/>
              </a:cxn>
              <a:cxn ang="0">
                <a:pos x="connsiteX36535" y="connsiteY36535"/>
              </a:cxn>
              <a:cxn ang="0">
                <a:pos x="connsiteX36536" y="connsiteY36536"/>
              </a:cxn>
              <a:cxn ang="0">
                <a:pos x="connsiteX36537" y="connsiteY36537"/>
              </a:cxn>
              <a:cxn ang="0">
                <a:pos x="connsiteX36538" y="connsiteY36538"/>
              </a:cxn>
              <a:cxn ang="0">
                <a:pos x="connsiteX36539" y="connsiteY36539"/>
              </a:cxn>
              <a:cxn ang="0">
                <a:pos x="connsiteX36540" y="connsiteY36540"/>
              </a:cxn>
              <a:cxn ang="0">
                <a:pos x="connsiteX36541" y="connsiteY36541"/>
              </a:cxn>
              <a:cxn ang="0">
                <a:pos x="connsiteX36542" y="connsiteY36542"/>
              </a:cxn>
              <a:cxn ang="0">
                <a:pos x="connsiteX36543" y="connsiteY36543"/>
              </a:cxn>
              <a:cxn ang="0">
                <a:pos x="connsiteX36544" y="connsiteY36544"/>
              </a:cxn>
              <a:cxn ang="0">
                <a:pos x="connsiteX36545" y="connsiteY36545"/>
              </a:cxn>
              <a:cxn ang="0">
                <a:pos x="connsiteX36546" y="connsiteY36546"/>
              </a:cxn>
              <a:cxn ang="0">
                <a:pos x="connsiteX36547" y="connsiteY36547"/>
              </a:cxn>
              <a:cxn ang="0">
                <a:pos x="connsiteX36548" y="connsiteY36548"/>
              </a:cxn>
              <a:cxn ang="0">
                <a:pos x="connsiteX36549" y="connsiteY36549"/>
              </a:cxn>
              <a:cxn ang="0">
                <a:pos x="connsiteX36550" y="connsiteY36550"/>
              </a:cxn>
              <a:cxn ang="0">
                <a:pos x="connsiteX36551" y="connsiteY36551"/>
              </a:cxn>
              <a:cxn ang="0">
                <a:pos x="connsiteX36552" y="connsiteY36552"/>
              </a:cxn>
              <a:cxn ang="0">
                <a:pos x="connsiteX36553" y="connsiteY36553"/>
              </a:cxn>
              <a:cxn ang="0">
                <a:pos x="connsiteX36554" y="connsiteY36554"/>
              </a:cxn>
              <a:cxn ang="0">
                <a:pos x="connsiteX36555" y="connsiteY36555"/>
              </a:cxn>
              <a:cxn ang="0">
                <a:pos x="connsiteX36556" y="connsiteY36556"/>
              </a:cxn>
              <a:cxn ang="0">
                <a:pos x="connsiteX36557" y="connsiteY36557"/>
              </a:cxn>
              <a:cxn ang="0">
                <a:pos x="connsiteX36558" y="connsiteY36558"/>
              </a:cxn>
              <a:cxn ang="0">
                <a:pos x="connsiteX36559" y="connsiteY36559"/>
              </a:cxn>
              <a:cxn ang="0">
                <a:pos x="connsiteX36560" y="connsiteY36560"/>
              </a:cxn>
              <a:cxn ang="0">
                <a:pos x="connsiteX36561" y="connsiteY36561"/>
              </a:cxn>
              <a:cxn ang="0">
                <a:pos x="connsiteX36562" y="connsiteY36562"/>
              </a:cxn>
              <a:cxn ang="0">
                <a:pos x="connsiteX36563" y="connsiteY36563"/>
              </a:cxn>
              <a:cxn ang="0">
                <a:pos x="connsiteX36564" y="connsiteY36564"/>
              </a:cxn>
              <a:cxn ang="0">
                <a:pos x="connsiteX36565" y="connsiteY36565"/>
              </a:cxn>
              <a:cxn ang="0">
                <a:pos x="connsiteX36566" y="connsiteY36566"/>
              </a:cxn>
              <a:cxn ang="0">
                <a:pos x="connsiteX36567" y="connsiteY36567"/>
              </a:cxn>
              <a:cxn ang="0">
                <a:pos x="connsiteX36568" y="connsiteY36568"/>
              </a:cxn>
              <a:cxn ang="0">
                <a:pos x="connsiteX36569" y="connsiteY36569"/>
              </a:cxn>
              <a:cxn ang="0">
                <a:pos x="connsiteX36570" y="connsiteY36570"/>
              </a:cxn>
              <a:cxn ang="0">
                <a:pos x="connsiteX36571" y="connsiteY36571"/>
              </a:cxn>
              <a:cxn ang="0">
                <a:pos x="connsiteX36572" y="connsiteY36572"/>
              </a:cxn>
              <a:cxn ang="0">
                <a:pos x="connsiteX36573" y="connsiteY36573"/>
              </a:cxn>
              <a:cxn ang="0">
                <a:pos x="connsiteX36574" y="connsiteY36574"/>
              </a:cxn>
              <a:cxn ang="0">
                <a:pos x="connsiteX36575" y="connsiteY36575"/>
              </a:cxn>
              <a:cxn ang="0">
                <a:pos x="connsiteX36576" y="connsiteY36576"/>
              </a:cxn>
              <a:cxn ang="0">
                <a:pos x="connsiteX36577" y="connsiteY36577"/>
              </a:cxn>
              <a:cxn ang="0">
                <a:pos x="connsiteX36578" y="connsiteY36578"/>
              </a:cxn>
              <a:cxn ang="0">
                <a:pos x="connsiteX36579" y="connsiteY36579"/>
              </a:cxn>
              <a:cxn ang="0">
                <a:pos x="connsiteX36580" y="connsiteY36580"/>
              </a:cxn>
              <a:cxn ang="0">
                <a:pos x="connsiteX36581" y="connsiteY36581"/>
              </a:cxn>
              <a:cxn ang="0">
                <a:pos x="connsiteX36582" y="connsiteY36582"/>
              </a:cxn>
              <a:cxn ang="0">
                <a:pos x="connsiteX36583" y="connsiteY36583"/>
              </a:cxn>
              <a:cxn ang="0">
                <a:pos x="connsiteX36584" y="connsiteY36584"/>
              </a:cxn>
              <a:cxn ang="0">
                <a:pos x="connsiteX36585" y="connsiteY36585"/>
              </a:cxn>
              <a:cxn ang="0">
                <a:pos x="connsiteX36586" y="connsiteY36586"/>
              </a:cxn>
              <a:cxn ang="0">
                <a:pos x="connsiteX36587" y="connsiteY36587"/>
              </a:cxn>
              <a:cxn ang="0">
                <a:pos x="connsiteX36588" y="connsiteY36588"/>
              </a:cxn>
              <a:cxn ang="0">
                <a:pos x="connsiteX36589" y="connsiteY36589"/>
              </a:cxn>
              <a:cxn ang="0">
                <a:pos x="connsiteX36590" y="connsiteY36590"/>
              </a:cxn>
              <a:cxn ang="0">
                <a:pos x="connsiteX36591" y="connsiteY36591"/>
              </a:cxn>
              <a:cxn ang="0">
                <a:pos x="connsiteX36592" y="connsiteY36592"/>
              </a:cxn>
              <a:cxn ang="0">
                <a:pos x="connsiteX36593" y="connsiteY36593"/>
              </a:cxn>
              <a:cxn ang="0">
                <a:pos x="connsiteX36594" y="connsiteY36594"/>
              </a:cxn>
              <a:cxn ang="0">
                <a:pos x="connsiteX36595" y="connsiteY36595"/>
              </a:cxn>
              <a:cxn ang="0">
                <a:pos x="connsiteX36596" y="connsiteY36596"/>
              </a:cxn>
              <a:cxn ang="0">
                <a:pos x="connsiteX36597" y="connsiteY36597"/>
              </a:cxn>
              <a:cxn ang="0">
                <a:pos x="connsiteX36598" y="connsiteY36598"/>
              </a:cxn>
              <a:cxn ang="0">
                <a:pos x="connsiteX36599" y="connsiteY36599"/>
              </a:cxn>
              <a:cxn ang="0">
                <a:pos x="connsiteX36600" y="connsiteY36600"/>
              </a:cxn>
              <a:cxn ang="0">
                <a:pos x="connsiteX36601" y="connsiteY36601"/>
              </a:cxn>
              <a:cxn ang="0">
                <a:pos x="connsiteX36602" y="connsiteY36602"/>
              </a:cxn>
              <a:cxn ang="0">
                <a:pos x="connsiteX36603" y="connsiteY36603"/>
              </a:cxn>
              <a:cxn ang="0">
                <a:pos x="connsiteX36604" y="connsiteY36604"/>
              </a:cxn>
              <a:cxn ang="0">
                <a:pos x="connsiteX36605" y="connsiteY36605"/>
              </a:cxn>
              <a:cxn ang="0">
                <a:pos x="connsiteX36606" y="connsiteY36606"/>
              </a:cxn>
              <a:cxn ang="0">
                <a:pos x="connsiteX36607" y="connsiteY36607"/>
              </a:cxn>
              <a:cxn ang="0">
                <a:pos x="connsiteX36608" y="connsiteY36608"/>
              </a:cxn>
              <a:cxn ang="0">
                <a:pos x="connsiteX36609" y="connsiteY36609"/>
              </a:cxn>
              <a:cxn ang="0">
                <a:pos x="connsiteX36610" y="connsiteY36610"/>
              </a:cxn>
              <a:cxn ang="0">
                <a:pos x="connsiteX36611" y="connsiteY36611"/>
              </a:cxn>
              <a:cxn ang="0">
                <a:pos x="connsiteX36612" y="connsiteY36612"/>
              </a:cxn>
              <a:cxn ang="0">
                <a:pos x="connsiteX36613" y="connsiteY36613"/>
              </a:cxn>
              <a:cxn ang="0">
                <a:pos x="connsiteX36614" y="connsiteY36614"/>
              </a:cxn>
              <a:cxn ang="0">
                <a:pos x="connsiteX36615" y="connsiteY36615"/>
              </a:cxn>
              <a:cxn ang="0">
                <a:pos x="connsiteX36616" y="connsiteY36616"/>
              </a:cxn>
              <a:cxn ang="0">
                <a:pos x="connsiteX36617" y="connsiteY36617"/>
              </a:cxn>
              <a:cxn ang="0">
                <a:pos x="connsiteX36618" y="connsiteY36618"/>
              </a:cxn>
              <a:cxn ang="0">
                <a:pos x="connsiteX36619" y="connsiteY36619"/>
              </a:cxn>
              <a:cxn ang="0">
                <a:pos x="connsiteX36620" y="connsiteY36620"/>
              </a:cxn>
              <a:cxn ang="0">
                <a:pos x="connsiteX36621" y="connsiteY36621"/>
              </a:cxn>
              <a:cxn ang="0">
                <a:pos x="connsiteX36622" y="connsiteY36622"/>
              </a:cxn>
              <a:cxn ang="0">
                <a:pos x="connsiteX36623" y="connsiteY36623"/>
              </a:cxn>
              <a:cxn ang="0">
                <a:pos x="connsiteX36624" y="connsiteY36624"/>
              </a:cxn>
              <a:cxn ang="0">
                <a:pos x="connsiteX36625" y="connsiteY36625"/>
              </a:cxn>
              <a:cxn ang="0">
                <a:pos x="connsiteX36626" y="connsiteY36626"/>
              </a:cxn>
              <a:cxn ang="0">
                <a:pos x="connsiteX36627" y="connsiteY36627"/>
              </a:cxn>
              <a:cxn ang="0">
                <a:pos x="connsiteX36628" y="connsiteY36628"/>
              </a:cxn>
              <a:cxn ang="0">
                <a:pos x="connsiteX36629" y="connsiteY36629"/>
              </a:cxn>
              <a:cxn ang="0">
                <a:pos x="connsiteX36630" y="connsiteY36630"/>
              </a:cxn>
              <a:cxn ang="0">
                <a:pos x="connsiteX36631" y="connsiteY36631"/>
              </a:cxn>
              <a:cxn ang="0">
                <a:pos x="connsiteX36632" y="connsiteY36632"/>
              </a:cxn>
              <a:cxn ang="0">
                <a:pos x="connsiteX36633" y="connsiteY36633"/>
              </a:cxn>
              <a:cxn ang="0">
                <a:pos x="connsiteX36634" y="connsiteY36634"/>
              </a:cxn>
              <a:cxn ang="0">
                <a:pos x="connsiteX36635" y="connsiteY36635"/>
              </a:cxn>
              <a:cxn ang="0">
                <a:pos x="connsiteX36636" y="connsiteY36636"/>
              </a:cxn>
              <a:cxn ang="0">
                <a:pos x="connsiteX36637" y="connsiteY36637"/>
              </a:cxn>
              <a:cxn ang="0">
                <a:pos x="connsiteX36638" y="connsiteY36638"/>
              </a:cxn>
              <a:cxn ang="0">
                <a:pos x="connsiteX36639" y="connsiteY36639"/>
              </a:cxn>
              <a:cxn ang="0">
                <a:pos x="connsiteX36640" y="connsiteY36640"/>
              </a:cxn>
              <a:cxn ang="0">
                <a:pos x="connsiteX36641" y="connsiteY36641"/>
              </a:cxn>
              <a:cxn ang="0">
                <a:pos x="connsiteX36642" y="connsiteY36642"/>
              </a:cxn>
              <a:cxn ang="0">
                <a:pos x="connsiteX36643" y="connsiteY36643"/>
              </a:cxn>
              <a:cxn ang="0">
                <a:pos x="connsiteX36644" y="connsiteY36644"/>
              </a:cxn>
              <a:cxn ang="0">
                <a:pos x="connsiteX36645" y="connsiteY36645"/>
              </a:cxn>
              <a:cxn ang="0">
                <a:pos x="connsiteX36646" y="connsiteY36646"/>
              </a:cxn>
              <a:cxn ang="0">
                <a:pos x="connsiteX36647" y="connsiteY36647"/>
              </a:cxn>
              <a:cxn ang="0">
                <a:pos x="connsiteX36648" y="connsiteY36648"/>
              </a:cxn>
              <a:cxn ang="0">
                <a:pos x="connsiteX36649" y="connsiteY36649"/>
              </a:cxn>
              <a:cxn ang="0">
                <a:pos x="connsiteX36650" y="connsiteY36650"/>
              </a:cxn>
              <a:cxn ang="0">
                <a:pos x="connsiteX36651" y="connsiteY36651"/>
              </a:cxn>
              <a:cxn ang="0">
                <a:pos x="connsiteX36652" y="connsiteY36652"/>
              </a:cxn>
              <a:cxn ang="0">
                <a:pos x="connsiteX36653" y="connsiteY36653"/>
              </a:cxn>
              <a:cxn ang="0">
                <a:pos x="connsiteX36654" y="connsiteY36654"/>
              </a:cxn>
              <a:cxn ang="0">
                <a:pos x="connsiteX36655" y="connsiteY36655"/>
              </a:cxn>
              <a:cxn ang="0">
                <a:pos x="connsiteX36656" y="connsiteY36656"/>
              </a:cxn>
              <a:cxn ang="0">
                <a:pos x="connsiteX36657" y="connsiteY36657"/>
              </a:cxn>
              <a:cxn ang="0">
                <a:pos x="connsiteX36658" y="connsiteY36658"/>
              </a:cxn>
              <a:cxn ang="0">
                <a:pos x="connsiteX36659" y="connsiteY36659"/>
              </a:cxn>
              <a:cxn ang="0">
                <a:pos x="connsiteX36660" y="connsiteY36660"/>
              </a:cxn>
              <a:cxn ang="0">
                <a:pos x="connsiteX36661" y="connsiteY36661"/>
              </a:cxn>
              <a:cxn ang="0">
                <a:pos x="connsiteX36662" y="connsiteY36662"/>
              </a:cxn>
              <a:cxn ang="0">
                <a:pos x="connsiteX36663" y="connsiteY36663"/>
              </a:cxn>
              <a:cxn ang="0">
                <a:pos x="connsiteX36664" y="connsiteY36664"/>
              </a:cxn>
              <a:cxn ang="0">
                <a:pos x="connsiteX36665" y="connsiteY36665"/>
              </a:cxn>
              <a:cxn ang="0">
                <a:pos x="connsiteX36666" y="connsiteY36666"/>
              </a:cxn>
              <a:cxn ang="0">
                <a:pos x="connsiteX36667" y="connsiteY36667"/>
              </a:cxn>
              <a:cxn ang="0">
                <a:pos x="connsiteX36668" y="connsiteY36668"/>
              </a:cxn>
              <a:cxn ang="0">
                <a:pos x="connsiteX36669" y="connsiteY36669"/>
              </a:cxn>
              <a:cxn ang="0">
                <a:pos x="connsiteX36670" y="connsiteY36670"/>
              </a:cxn>
              <a:cxn ang="0">
                <a:pos x="connsiteX36671" y="connsiteY36671"/>
              </a:cxn>
              <a:cxn ang="0">
                <a:pos x="connsiteX36672" y="connsiteY36672"/>
              </a:cxn>
              <a:cxn ang="0">
                <a:pos x="connsiteX36673" y="connsiteY36673"/>
              </a:cxn>
              <a:cxn ang="0">
                <a:pos x="connsiteX36674" y="connsiteY36674"/>
              </a:cxn>
              <a:cxn ang="0">
                <a:pos x="connsiteX36675" y="connsiteY36675"/>
              </a:cxn>
              <a:cxn ang="0">
                <a:pos x="connsiteX36676" y="connsiteY36676"/>
              </a:cxn>
              <a:cxn ang="0">
                <a:pos x="connsiteX36677" y="connsiteY36677"/>
              </a:cxn>
              <a:cxn ang="0">
                <a:pos x="connsiteX36678" y="connsiteY36678"/>
              </a:cxn>
              <a:cxn ang="0">
                <a:pos x="connsiteX36679" y="connsiteY36679"/>
              </a:cxn>
              <a:cxn ang="0">
                <a:pos x="connsiteX36680" y="connsiteY36680"/>
              </a:cxn>
              <a:cxn ang="0">
                <a:pos x="connsiteX36681" y="connsiteY36681"/>
              </a:cxn>
              <a:cxn ang="0">
                <a:pos x="connsiteX36682" y="connsiteY36682"/>
              </a:cxn>
              <a:cxn ang="0">
                <a:pos x="connsiteX36683" y="connsiteY36683"/>
              </a:cxn>
              <a:cxn ang="0">
                <a:pos x="connsiteX36684" y="connsiteY36684"/>
              </a:cxn>
              <a:cxn ang="0">
                <a:pos x="connsiteX36685" y="connsiteY36685"/>
              </a:cxn>
              <a:cxn ang="0">
                <a:pos x="connsiteX36686" y="connsiteY36686"/>
              </a:cxn>
              <a:cxn ang="0">
                <a:pos x="connsiteX36687" y="connsiteY36687"/>
              </a:cxn>
              <a:cxn ang="0">
                <a:pos x="connsiteX36688" y="connsiteY36688"/>
              </a:cxn>
              <a:cxn ang="0">
                <a:pos x="connsiteX36689" y="connsiteY36689"/>
              </a:cxn>
              <a:cxn ang="0">
                <a:pos x="connsiteX36690" y="connsiteY36690"/>
              </a:cxn>
              <a:cxn ang="0">
                <a:pos x="connsiteX36691" y="connsiteY36691"/>
              </a:cxn>
              <a:cxn ang="0">
                <a:pos x="connsiteX36692" y="connsiteY36692"/>
              </a:cxn>
              <a:cxn ang="0">
                <a:pos x="connsiteX36693" y="connsiteY36693"/>
              </a:cxn>
              <a:cxn ang="0">
                <a:pos x="connsiteX36694" y="connsiteY36694"/>
              </a:cxn>
              <a:cxn ang="0">
                <a:pos x="connsiteX36695" y="connsiteY36695"/>
              </a:cxn>
              <a:cxn ang="0">
                <a:pos x="connsiteX36696" y="connsiteY36696"/>
              </a:cxn>
              <a:cxn ang="0">
                <a:pos x="connsiteX36697" y="connsiteY36697"/>
              </a:cxn>
              <a:cxn ang="0">
                <a:pos x="connsiteX36698" y="connsiteY36698"/>
              </a:cxn>
              <a:cxn ang="0">
                <a:pos x="connsiteX36699" y="connsiteY36699"/>
              </a:cxn>
              <a:cxn ang="0">
                <a:pos x="connsiteX36700" y="connsiteY36700"/>
              </a:cxn>
              <a:cxn ang="0">
                <a:pos x="connsiteX36701" y="connsiteY36701"/>
              </a:cxn>
              <a:cxn ang="0">
                <a:pos x="connsiteX36702" y="connsiteY36702"/>
              </a:cxn>
              <a:cxn ang="0">
                <a:pos x="connsiteX36703" y="connsiteY36703"/>
              </a:cxn>
              <a:cxn ang="0">
                <a:pos x="connsiteX36704" y="connsiteY36704"/>
              </a:cxn>
              <a:cxn ang="0">
                <a:pos x="connsiteX36705" y="connsiteY36705"/>
              </a:cxn>
              <a:cxn ang="0">
                <a:pos x="connsiteX36706" y="connsiteY36706"/>
              </a:cxn>
              <a:cxn ang="0">
                <a:pos x="connsiteX36707" y="connsiteY36707"/>
              </a:cxn>
              <a:cxn ang="0">
                <a:pos x="connsiteX36708" y="connsiteY36708"/>
              </a:cxn>
              <a:cxn ang="0">
                <a:pos x="connsiteX36709" y="connsiteY36709"/>
              </a:cxn>
              <a:cxn ang="0">
                <a:pos x="connsiteX36710" y="connsiteY36710"/>
              </a:cxn>
              <a:cxn ang="0">
                <a:pos x="connsiteX36711" y="connsiteY36711"/>
              </a:cxn>
              <a:cxn ang="0">
                <a:pos x="connsiteX36712" y="connsiteY36712"/>
              </a:cxn>
              <a:cxn ang="0">
                <a:pos x="connsiteX36713" y="connsiteY36713"/>
              </a:cxn>
              <a:cxn ang="0">
                <a:pos x="connsiteX36714" y="connsiteY36714"/>
              </a:cxn>
              <a:cxn ang="0">
                <a:pos x="connsiteX36715" y="connsiteY36715"/>
              </a:cxn>
              <a:cxn ang="0">
                <a:pos x="connsiteX36716" y="connsiteY36716"/>
              </a:cxn>
              <a:cxn ang="0">
                <a:pos x="connsiteX36717" y="connsiteY36717"/>
              </a:cxn>
              <a:cxn ang="0">
                <a:pos x="connsiteX36718" y="connsiteY36718"/>
              </a:cxn>
              <a:cxn ang="0">
                <a:pos x="connsiteX36719" y="connsiteY36719"/>
              </a:cxn>
              <a:cxn ang="0">
                <a:pos x="connsiteX36720" y="connsiteY36720"/>
              </a:cxn>
              <a:cxn ang="0">
                <a:pos x="connsiteX36721" y="connsiteY36721"/>
              </a:cxn>
              <a:cxn ang="0">
                <a:pos x="connsiteX36722" y="connsiteY36722"/>
              </a:cxn>
              <a:cxn ang="0">
                <a:pos x="connsiteX36723" y="connsiteY36723"/>
              </a:cxn>
              <a:cxn ang="0">
                <a:pos x="connsiteX36724" y="connsiteY36724"/>
              </a:cxn>
              <a:cxn ang="0">
                <a:pos x="connsiteX36725" y="connsiteY36725"/>
              </a:cxn>
              <a:cxn ang="0">
                <a:pos x="connsiteX36726" y="connsiteY36726"/>
              </a:cxn>
              <a:cxn ang="0">
                <a:pos x="connsiteX36727" y="connsiteY36727"/>
              </a:cxn>
              <a:cxn ang="0">
                <a:pos x="connsiteX36728" y="connsiteY36728"/>
              </a:cxn>
              <a:cxn ang="0">
                <a:pos x="connsiteX36729" y="connsiteY36729"/>
              </a:cxn>
              <a:cxn ang="0">
                <a:pos x="connsiteX36730" y="connsiteY36730"/>
              </a:cxn>
              <a:cxn ang="0">
                <a:pos x="connsiteX36731" y="connsiteY36731"/>
              </a:cxn>
              <a:cxn ang="0">
                <a:pos x="connsiteX36732" y="connsiteY36732"/>
              </a:cxn>
              <a:cxn ang="0">
                <a:pos x="connsiteX36733" y="connsiteY36733"/>
              </a:cxn>
              <a:cxn ang="0">
                <a:pos x="connsiteX36734" y="connsiteY36734"/>
              </a:cxn>
              <a:cxn ang="0">
                <a:pos x="connsiteX36735" y="connsiteY36735"/>
              </a:cxn>
              <a:cxn ang="0">
                <a:pos x="connsiteX36736" y="connsiteY36736"/>
              </a:cxn>
              <a:cxn ang="0">
                <a:pos x="connsiteX36737" y="connsiteY36737"/>
              </a:cxn>
              <a:cxn ang="0">
                <a:pos x="connsiteX36738" y="connsiteY36738"/>
              </a:cxn>
              <a:cxn ang="0">
                <a:pos x="connsiteX36739" y="connsiteY36739"/>
              </a:cxn>
              <a:cxn ang="0">
                <a:pos x="connsiteX36740" y="connsiteY36740"/>
              </a:cxn>
              <a:cxn ang="0">
                <a:pos x="connsiteX36741" y="connsiteY36741"/>
              </a:cxn>
              <a:cxn ang="0">
                <a:pos x="connsiteX36742" y="connsiteY36742"/>
              </a:cxn>
              <a:cxn ang="0">
                <a:pos x="connsiteX36743" y="connsiteY36743"/>
              </a:cxn>
              <a:cxn ang="0">
                <a:pos x="connsiteX36744" y="connsiteY36744"/>
              </a:cxn>
              <a:cxn ang="0">
                <a:pos x="connsiteX36745" y="connsiteY36745"/>
              </a:cxn>
              <a:cxn ang="0">
                <a:pos x="connsiteX36746" y="connsiteY36746"/>
              </a:cxn>
              <a:cxn ang="0">
                <a:pos x="connsiteX36747" y="connsiteY36747"/>
              </a:cxn>
              <a:cxn ang="0">
                <a:pos x="connsiteX36748" y="connsiteY36748"/>
              </a:cxn>
              <a:cxn ang="0">
                <a:pos x="connsiteX36749" y="connsiteY36749"/>
              </a:cxn>
              <a:cxn ang="0">
                <a:pos x="connsiteX36750" y="connsiteY36750"/>
              </a:cxn>
              <a:cxn ang="0">
                <a:pos x="connsiteX36751" y="connsiteY36751"/>
              </a:cxn>
              <a:cxn ang="0">
                <a:pos x="connsiteX36752" y="connsiteY36752"/>
              </a:cxn>
              <a:cxn ang="0">
                <a:pos x="connsiteX36753" y="connsiteY36753"/>
              </a:cxn>
              <a:cxn ang="0">
                <a:pos x="connsiteX36754" y="connsiteY36754"/>
              </a:cxn>
              <a:cxn ang="0">
                <a:pos x="connsiteX36755" y="connsiteY36755"/>
              </a:cxn>
              <a:cxn ang="0">
                <a:pos x="connsiteX36756" y="connsiteY36756"/>
              </a:cxn>
              <a:cxn ang="0">
                <a:pos x="connsiteX36757" y="connsiteY36757"/>
              </a:cxn>
              <a:cxn ang="0">
                <a:pos x="connsiteX36758" y="connsiteY36758"/>
              </a:cxn>
              <a:cxn ang="0">
                <a:pos x="connsiteX36759" y="connsiteY36759"/>
              </a:cxn>
              <a:cxn ang="0">
                <a:pos x="connsiteX36760" y="connsiteY36760"/>
              </a:cxn>
              <a:cxn ang="0">
                <a:pos x="connsiteX36761" y="connsiteY36761"/>
              </a:cxn>
              <a:cxn ang="0">
                <a:pos x="connsiteX36762" y="connsiteY36762"/>
              </a:cxn>
              <a:cxn ang="0">
                <a:pos x="connsiteX36763" y="connsiteY36763"/>
              </a:cxn>
              <a:cxn ang="0">
                <a:pos x="connsiteX36764" y="connsiteY36764"/>
              </a:cxn>
              <a:cxn ang="0">
                <a:pos x="connsiteX36765" y="connsiteY36765"/>
              </a:cxn>
              <a:cxn ang="0">
                <a:pos x="connsiteX36766" y="connsiteY36766"/>
              </a:cxn>
              <a:cxn ang="0">
                <a:pos x="connsiteX36767" y="connsiteY36767"/>
              </a:cxn>
              <a:cxn ang="0">
                <a:pos x="connsiteX36768" y="connsiteY36768"/>
              </a:cxn>
              <a:cxn ang="0">
                <a:pos x="connsiteX36769" y="connsiteY36769"/>
              </a:cxn>
              <a:cxn ang="0">
                <a:pos x="connsiteX36770" y="connsiteY36770"/>
              </a:cxn>
              <a:cxn ang="0">
                <a:pos x="connsiteX36771" y="connsiteY36771"/>
              </a:cxn>
              <a:cxn ang="0">
                <a:pos x="connsiteX36772" y="connsiteY36772"/>
              </a:cxn>
              <a:cxn ang="0">
                <a:pos x="connsiteX36773" y="connsiteY36773"/>
              </a:cxn>
              <a:cxn ang="0">
                <a:pos x="connsiteX36774" y="connsiteY36774"/>
              </a:cxn>
              <a:cxn ang="0">
                <a:pos x="connsiteX36775" y="connsiteY36775"/>
              </a:cxn>
              <a:cxn ang="0">
                <a:pos x="connsiteX36776" y="connsiteY36776"/>
              </a:cxn>
              <a:cxn ang="0">
                <a:pos x="connsiteX36777" y="connsiteY36777"/>
              </a:cxn>
              <a:cxn ang="0">
                <a:pos x="connsiteX36778" y="connsiteY36778"/>
              </a:cxn>
              <a:cxn ang="0">
                <a:pos x="connsiteX36779" y="connsiteY36779"/>
              </a:cxn>
              <a:cxn ang="0">
                <a:pos x="connsiteX36780" y="connsiteY36780"/>
              </a:cxn>
              <a:cxn ang="0">
                <a:pos x="connsiteX36781" y="connsiteY36781"/>
              </a:cxn>
              <a:cxn ang="0">
                <a:pos x="connsiteX36782" y="connsiteY36782"/>
              </a:cxn>
              <a:cxn ang="0">
                <a:pos x="connsiteX36783" y="connsiteY36783"/>
              </a:cxn>
              <a:cxn ang="0">
                <a:pos x="connsiteX36784" y="connsiteY36784"/>
              </a:cxn>
              <a:cxn ang="0">
                <a:pos x="connsiteX36785" y="connsiteY36785"/>
              </a:cxn>
              <a:cxn ang="0">
                <a:pos x="connsiteX36786" y="connsiteY36786"/>
              </a:cxn>
              <a:cxn ang="0">
                <a:pos x="connsiteX36787" y="connsiteY36787"/>
              </a:cxn>
              <a:cxn ang="0">
                <a:pos x="connsiteX36788" y="connsiteY36788"/>
              </a:cxn>
              <a:cxn ang="0">
                <a:pos x="connsiteX36789" y="connsiteY36789"/>
              </a:cxn>
              <a:cxn ang="0">
                <a:pos x="connsiteX36790" y="connsiteY36790"/>
              </a:cxn>
              <a:cxn ang="0">
                <a:pos x="connsiteX36791" y="connsiteY36791"/>
              </a:cxn>
              <a:cxn ang="0">
                <a:pos x="connsiteX36792" y="connsiteY36792"/>
              </a:cxn>
              <a:cxn ang="0">
                <a:pos x="connsiteX36793" y="connsiteY36793"/>
              </a:cxn>
              <a:cxn ang="0">
                <a:pos x="connsiteX36794" y="connsiteY36794"/>
              </a:cxn>
              <a:cxn ang="0">
                <a:pos x="connsiteX36795" y="connsiteY36795"/>
              </a:cxn>
              <a:cxn ang="0">
                <a:pos x="connsiteX36796" y="connsiteY36796"/>
              </a:cxn>
              <a:cxn ang="0">
                <a:pos x="connsiteX36797" y="connsiteY36797"/>
              </a:cxn>
              <a:cxn ang="0">
                <a:pos x="connsiteX36798" y="connsiteY36798"/>
              </a:cxn>
              <a:cxn ang="0">
                <a:pos x="connsiteX36799" y="connsiteY36799"/>
              </a:cxn>
              <a:cxn ang="0">
                <a:pos x="connsiteX36800" y="connsiteY36800"/>
              </a:cxn>
              <a:cxn ang="0">
                <a:pos x="connsiteX36801" y="connsiteY36801"/>
              </a:cxn>
              <a:cxn ang="0">
                <a:pos x="connsiteX36802" y="connsiteY36802"/>
              </a:cxn>
              <a:cxn ang="0">
                <a:pos x="connsiteX36803" y="connsiteY36803"/>
              </a:cxn>
              <a:cxn ang="0">
                <a:pos x="connsiteX36804" y="connsiteY36804"/>
              </a:cxn>
              <a:cxn ang="0">
                <a:pos x="connsiteX36805" y="connsiteY36805"/>
              </a:cxn>
              <a:cxn ang="0">
                <a:pos x="connsiteX36806" y="connsiteY36806"/>
              </a:cxn>
              <a:cxn ang="0">
                <a:pos x="connsiteX36807" y="connsiteY36807"/>
              </a:cxn>
              <a:cxn ang="0">
                <a:pos x="connsiteX36808" y="connsiteY36808"/>
              </a:cxn>
              <a:cxn ang="0">
                <a:pos x="connsiteX36809" y="connsiteY36809"/>
              </a:cxn>
              <a:cxn ang="0">
                <a:pos x="connsiteX36810" y="connsiteY36810"/>
              </a:cxn>
              <a:cxn ang="0">
                <a:pos x="connsiteX36811" y="connsiteY36811"/>
              </a:cxn>
              <a:cxn ang="0">
                <a:pos x="connsiteX36812" y="connsiteY36812"/>
              </a:cxn>
              <a:cxn ang="0">
                <a:pos x="connsiteX36813" y="connsiteY36813"/>
              </a:cxn>
              <a:cxn ang="0">
                <a:pos x="connsiteX36814" y="connsiteY36814"/>
              </a:cxn>
              <a:cxn ang="0">
                <a:pos x="connsiteX36815" y="connsiteY36815"/>
              </a:cxn>
              <a:cxn ang="0">
                <a:pos x="connsiteX36816" y="connsiteY36816"/>
              </a:cxn>
              <a:cxn ang="0">
                <a:pos x="connsiteX36817" y="connsiteY36817"/>
              </a:cxn>
              <a:cxn ang="0">
                <a:pos x="connsiteX36818" y="connsiteY36818"/>
              </a:cxn>
              <a:cxn ang="0">
                <a:pos x="connsiteX36819" y="connsiteY36819"/>
              </a:cxn>
              <a:cxn ang="0">
                <a:pos x="connsiteX36820" y="connsiteY36820"/>
              </a:cxn>
              <a:cxn ang="0">
                <a:pos x="connsiteX36821" y="connsiteY36821"/>
              </a:cxn>
              <a:cxn ang="0">
                <a:pos x="connsiteX36822" y="connsiteY36822"/>
              </a:cxn>
              <a:cxn ang="0">
                <a:pos x="connsiteX36823" y="connsiteY36823"/>
              </a:cxn>
              <a:cxn ang="0">
                <a:pos x="connsiteX36824" y="connsiteY36824"/>
              </a:cxn>
              <a:cxn ang="0">
                <a:pos x="connsiteX36825" y="connsiteY36825"/>
              </a:cxn>
              <a:cxn ang="0">
                <a:pos x="connsiteX36826" y="connsiteY36826"/>
              </a:cxn>
              <a:cxn ang="0">
                <a:pos x="connsiteX36827" y="connsiteY36827"/>
              </a:cxn>
              <a:cxn ang="0">
                <a:pos x="connsiteX36828" y="connsiteY36828"/>
              </a:cxn>
              <a:cxn ang="0">
                <a:pos x="connsiteX36829" y="connsiteY36829"/>
              </a:cxn>
              <a:cxn ang="0">
                <a:pos x="connsiteX36830" y="connsiteY36830"/>
              </a:cxn>
              <a:cxn ang="0">
                <a:pos x="connsiteX36831" y="connsiteY36831"/>
              </a:cxn>
              <a:cxn ang="0">
                <a:pos x="connsiteX36832" y="connsiteY36832"/>
              </a:cxn>
              <a:cxn ang="0">
                <a:pos x="connsiteX36833" y="connsiteY36833"/>
              </a:cxn>
              <a:cxn ang="0">
                <a:pos x="connsiteX36834" y="connsiteY36834"/>
              </a:cxn>
              <a:cxn ang="0">
                <a:pos x="connsiteX36835" y="connsiteY36835"/>
              </a:cxn>
              <a:cxn ang="0">
                <a:pos x="connsiteX36836" y="connsiteY36836"/>
              </a:cxn>
              <a:cxn ang="0">
                <a:pos x="connsiteX36837" y="connsiteY36837"/>
              </a:cxn>
              <a:cxn ang="0">
                <a:pos x="connsiteX36838" y="connsiteY36838"/>
              </a:cxn>
              <a:cxn ang="0">
                <a:pos x="connsiteX36839" y="connsiteY36839"/>
              </a:cxn>
              <a:cxn ang="0">
                <a:pos x="connsiteX36840" y="connsiteY36840"/>
              </a:cxn>
              <a:cxn ang="0">
                <a:pos x="connsiteX36841" y="connsiteY36841"/>
              </a:cxn>
              <a:cxn ang="0">
                <a:pos x="connsiteX36842" y="connsiteY36842"/>
              </a:cxn>
              <a:cxn ang="0">
                <a:pos x="connsiteX36843" y="connsiteY36843"/>
              </a:cxn>
              <a:cxn ang="0">
                <a:pos x="connsiteX36844" y="connsiteY36844"/>
              </a:cxn>
              <a:cxn ang="0">
                <a:pos x="connsiteX36845" y="connsiteY36845"/>
              </a:cxn>
              <a:cxn ang="0">
                <a:pos x="connsiteX36846" y="connsiteY36846"/>
              </a:cxn>
              <a:cxn ang="0">
                <a:pos x="connsiteX36847" y="connsiteY36847"/>
              </a:cxn>
              <a:cxn ang="0">
                <a:pos x="connsiteX36848" y="connsiteY36848"/>
              </a:cxn>
              <a:cxn ang="0">
                <a:pos x="connsiteX36849" y="connsiteY36849"/>
              </a:cxn>
              <a:cxn ang="0">
                <a:pos x="connsiteX36850" y="connsiteY36850"/>
              </a:cxn>
              <a:cxn ang="0">
                <a:pos x="connsiteX36851" y="connsiteY36851"/>
              </a:cxn>
              <a:cxn ang="0">
                <a:pos x="connsiteX36852" y="connsiteY36852"/>
              </a:cxn>
              <a:cxn ang="0">
                <a:pos x="connsiteX36853" y="connsiteY36853"/>
              </a:cxn>
              <a:cxn ang="0">
                <a:pos x="connsiteX36854" y="connsiteY36854"/>
              </a:cxn>
              <a:cxn ang="0">
                <a:pos x="connsiteX36855" y="connsiteY36855"/>
              </a:cxn>
              <a:cxn ang="0">
                <a:pos x="connsiteX36856" y="connsiteY36856"/>
              </a:cxn>
              <a:cxn ang="0">
                <a:pos x="connsiteX36857" y="connsiteY36857"/>
              </a:cxn>
              <a:cxn ang="0">
                <a:pos x="connsiteX36858" y="connsiteY36858"/>
              </a:cxn>
              <a:cxn ang="0">
                <a:pos x="connsiteX36859" y="connsiteY36859"/>
              </a:cxn>
              <a:cxn ang="0">
                <a:pos x="connsiteX36860" y="connsiteY36860"/>
              </a:cxn>
              <a:cxn ang="0">
                <a:pos x="connsiteX36861" y="connsiteY36861"/>
              </a:cxn>
              <a:cxn ang="0">
                <a:pos x="connsiteX36862" y="connsiteY36862"/>
              </a:cxn>
              <a:cxn ang="0">
                <a:pos x="connsiteX36863" y="connsiteY36863"/>
              </a:cxn>
              <a:cxn ang="0">
                <a:pos x="connsiteX36864" y="connsiteY36864"/>
              </a:cxn>
              <a:cxn ang="0">
                <a:pos x="connsiteX36865" y="connsiteY36865"/>
              </a:cxn>
              <a:cxn ang="0">
                <a:pos x="connsiteX36866" y="connsiteY36866"/>
              </a:cxn>
              <a:cxn ang="0">
                <a:pos x="connsiteX36867" y="connsiteY36867"/>
              </a:cxn>
              <a:cxn ang="0">
                <a:pos x="connsiteX36868" y="connsiteY36868"/>
              </a:cxn>
              <a:cxn ang="0">
                <a:pos x="connsiteX36869" y="connsiteY36869"/>
              </a:cxn>
              <a:cxn ang="0">
                <a:pos x="connsiteX36870" y="connsiteY36870"/>
              </a:cxn>
              <a:cxn ang="0">
                <a:pos x="connsiteX36871" y="connsiteY36871"/>
              </a:cxn>
              <a:cxn ang="0">
                <a:pos x="connsiteX36872" y="connsiteY36872"/>
              </a:cxn>
              <a:cxn ang="0">
                <a:pos x="connsiteX36873" y="connsiteY36873"/>
              </a:cxn>
              <a:cxn ang="0">
                <a:pos x="connsiteX36874" y="connsiteY36874"/>
              </a:cxn>
              <a:cxn ang="0">
                <a:pos x="connsiteX36875" y="connsiteY36875"/>
              </a:cxn>
              <a:cxn ang="0">
                <a:pos x="connsiteX36876" y="connsiteY36876"/>
              </a:cxn>
              <a:cxn ang="0">
                <a:pos x="connsiteX36877" y="connsiteY36877"/>
              </a:cxn>
              <a:cxn ang="0">
                <a:pos x="connsiteX36878" y="connsiteY36878"/>
              </a:cxn>
              <a:cxn ang="0">
                <a:pos x="connsiteX36879" y="connsiteY36879"/>
              </a:cxn>
              <a:cxn ang="0">
                <a:pos x="connsiteX36880" y="connsiteY36880"/>
              </a:cxn>
              <a:cxn ang="0">
                <a:pos x="connsiteX36881" y="connsiteY36881"/>
              </a:cxn>
              <a:cxn ang="0">
                <a:pos x="connsiteX36882" y="connsiteY36882"/>
              </a:cxn>
              <a:cxn ang="0">
                <a:pos x="connsiteX36883" y="connsiteY36883"/>
              </a:cxn>
              <a:cxn ang="0">
                <a:pos x="connsiteX36884" y="connsiteY36884"/>
              </a:cxn>
              <a:cxn ang="0">
                <a:pos x="connsiteX36885" y="connsiteY36885"/>
              </a:cxn>
              <a:cxn ang="0">
                <a:pos x="connsiteX36886" y="connsiteY36886"/>
              </a:cxn>
              <a:cxn ang="0">
                <a:pos x="connsiteX36887" y="connsiteY36887"/>
              </a:cxn>
              <a:cxn ang="0">
                <a:pos x="connsiteX36888" y="connsiteY36888"/>
              </a:cxn>
              <a:cxn ang="0">
                <a:pos x="connsiteX36889" y="connsiteY36889"/>
              </a:cxn>
              <a:cxn ang="0">
                <a:pos x="connsiteX36890" y="connsiteY36890"/>
              </a:cxn>
              <a:cxn ang="0">
                <a:pos x="connsiteX36891" y="connsiteY36891"/>
              </a:cxn>
              <a:cxn ang="0">
                <a:pos x="connsiteX36892" y="connsiteY36892"/>
              </a:cxn>
              <a:cxn ang="0">
                <a:pos x="connsiteX36893" y="connsiteY36893"/>
              </a:cxn>
              <a:cxn ang="0">
                <a:pos x="connsiteX36894" y="connsiteY36894"/>
              </a:cxn>
              <a:cxn ang="0">
                <a:pos x="connsiteX36895" y="connsiteY36895"/>
              </a:cxn>
              <a:cxn ang="0">
                <a:pos x="connsiteX36896" y="connsiteY36896"/>
              </a:cxn>
              <a:cxn ang="0">
                <a:pos x="connsiteX36897" y="connsiteY36897"/>
              </a:cxn>
              <a:cxn ang="0">
                <a:pos x="connsiteX36898" y="connsiteY36898"/>
              </a:cxn>
              <a:cxn ang="0">
                <a:pos x="connsiteX36899" y="connsiteY36899"/>
              </a:cxn>
              <a:cxn ang="0">
                <a:pos x="connsiteX36900" y="connsiteY36900"/>
              </a:cxn>
              <a:cxn ang="0">
                <a:pos x="connsiteX36901" y="connsiteY36901"/>
              </a:cxn>
              <a:cxn ang="0">
                <a:pos x="connsiteX36902" y="connsiteY36902"/>
              </a:cxn>
              <a:cxn ang="0">
                <a:pos x="connsiteX36903" y="connsiteY36903"/>
              </a:cxn>
              <a:cxn ang="0">
                <a:pos x="connsiteX36904" y="connsiteY36904"/>
              </a:cxn>
              <a:cxn ang="0">
                <a:pos x="connsiteX36905" y="connsiteY36905"/>
              </a:cxn>
              <a:cxn ang="0">
                <a:pos x="connsiteX36906" y="connsiteY36906"/>
              </a:cxn>
              <a:cxn ang="0">
                <a:pos x="connsiteX36907" y="connsiteY36907"/>
              </a:cxn>
              <a:cxn ang="0">
                <a:pos x="connsiteX36908" y="connsiteY36908"/>
              </a:cxn>
              <a:cxn ang="0">
                <a:pos x="connsiteX36909" y="connsiteY36909"/>
              </a:cxn>
              <a:cxn ang="0">
                <a:pos x="connsiteX36910" y="connsiteY36910"/>
              </a:cxn>
              <a:cxn ang="0">
                <a:pos x="connsiteX36911" y="connsiteY36911"/>
              </a:cxn>
              <a:cxn ang="0">
                <a:pos x="connsiteX36912" y="connsiteY36912"/>
              </a:cxn>
              <a:cxn ang="0">
                <a:pos x="connsiteX36913" y="connsiteY36913"/>
              </a:cxn>
              <a:cxn ang="0">
                <a:pos x="connsiteX36914" y="connsiteY36914"/>
              </a:cxn>
              <a:cxn ang="0">
                <a:pos x="connsiteX36915" y="connsiteY36915"/>
              </a:cxn>
              <a:cxn ang="0">
                <a:pos x="connsiteX36916" y="connsiteY36916"/>
              </a:cxn>
              <a:cxn ang="0">
                <a:pos x="connsiteX36917" y="connsiteY36917"/>
              </a:cxn>
              <a:cxn ang="0">
                <a:pos x="connsiteX36918" y="connsiteY36918"/>
              </a:cxn>
              <a:cxn ang="0">
                <a:pos x="connsiteX36919" y="connsiteY36919"/>
              </a:cxn>
              <a:cxn ang="0">
                <a:pos x="connsiteX36920" y="connsiteY36920"/>
              </a:cxn>
              <a:cxn ang="0">
                <a:pos x="connsiteX36921" y="connsiteY36921"/>
              </a:cxn>
              <a:cxn ang="0">
                <a:pos x="connsiteX36922" y="connsiteY36922"/>
              </a:cxn>
              <a:cxn ang="0">
                <a:pos x="connsiteX36923" y="connsiteY36923"/>
              </a:cxn>
              <a:cxn ang="0">
                <a:pos x="connsiteX36924" y="connsiteY36924"/>
              </a:cxn>
              <a:cxn ang="0">
                <a:pos x="connsiteX36925" y="connsiteY36925"/>
              </a:cxn>
              <a:cxn ang="0">
                <a:pos x="connsiteX36926" y="connsiteY36926"/>
              </a:cxn>
              <a:cxn ang="0">
                <a:pos x="connsiteX36927" y="connsiteY36927"/>
              </a:cxn>
              <a:cxn ang="0">
                <a:pos x="connsiteX36928" y="connsiteY36928"/>
              </a:cxn>
              <a:cxn ang="0">
                <a:pos x="connsiteX36929" y="connsiteY36929"/>
              </a:cxn>
              <a:cxn ang="0">
                <a:pos x="connsiteX36930" y="connsiteY36930"/>
              </a:cxn>
              <a:cxn ang="0">
                <a:pos x="connsiteX36931" y="connsiteY36931"/>
              </a:cxn>
              <a:cxn ang="0">
                <a:pos x="connsiteX36932" y="connsiteY36932"/>
              </a:cxn>
              <a:cxn ang="0">
                <a:pos x="connsiteX36933" y="connsiteY36933"/>
              </a:cxn>
              <a:cxn ang="0">
                <a:pos x="connsiteX36934" y="connsiteY36934"/>
              </a:cxn>
              <a:cxn ang="0">
                <a:pos x="connsiteX36935" y="connsiteY36935"/>
              </a:cxn>
              <a:cxn ang="0">
                <a:pos x="connsiteX36936" y="connsiteY36936"/>
              </a:cxn>
              <a:cxn ang="0">
                <a:pos x="connsiteX36937" y="connsiteY36937"/>
              </a:cxn>
              <a:cxn ang="0">
                <a:pos x="connsiteX36938" y="connsiteY36938"/>
              </a:cxn>
              <a:cxn ang="0">
                <a:pos x="connsiteX36939" y="connsiteY36939"/>
              </a:cxn>
              <a:cxn ang="0">
                <a:pos x="connsiteX36940" y="connsiteY36940"/>
              </a:cxn>
              <a:cxn ang="0">
                <a:pos x="connsiteX36941" y="connsiteY36941"/>
              </a:cxn>
              <a:cxn ang="0">
                <a:pos x="connsiteX36942" y="connsiteY36942"/>
              </a:cxn>
              <a:cxn ang="0">
                <a:pos x="connsiteX36943" y="connsiteY36943"/>
              </a:cxn>
              <a:cxn ang="0">
                <a:pos x="connsiteX36944" y="connsiteY36944"/>
              </a:cxn>
              <a:cxn ang="0">
                <a:pos x="connsiteX36945" y="connsiteY36945"/>
              </a:cxn>
              <a:cxn ang="0">
                <a:pos x="connsiteX36946" y="connsiteY36946"/>
              </a:cxn>
              <a:cxn ang="0">
                <a:pos x="connsiteX36947" y="connsiteY36947"/>
              </a:cxn>
              <a:cxn ang="0">
                <a:pos x="connsiteX36948" y="connsiteY36948"/>
              </a:cxn>
              <a:cxn ang="0">
                <a:pos x="connsiteX36949" y="connsiteY36949"/>
              </a:cxn>
              <a:cxn ang="0">
                <a:pos x="connsiteX36950" y="connsiteY36950"/>
              </a:cxn>
              <a:cxn ang="0">
                <a:pos x="connsiteX36951" y="connsiteY36951"/>
              </a:cxn>
              <a:cxn ang="0">
                <a:pos x="connsiteX36952" y="connsiteY36952"/>
              </a:cxn>
              <a:cxn ang="0">
                <a:pos x="connsiteX36953" y="connsiteY36953"/>
              </a:cxn>
              <a:cxn ang="0">
                <a:pos x="connsiteX36954" y="connsiteY36954"/>
              </a:cxn>
              <a:cxn ang="0">
                <a:pos x="connsiteX36955" y="connsiteY36955"/>
              </a:cxn>
              <a:cxn ang="0">
                <a:pos x="connsiteX36956" y="connsiteY36956"/>
              </a:cxn>
              <a:cxn ang="0">
                <a:pos x="connsiteX36957" y="connsiteY36957"/>
              </a:cxn>
              <a:cxn ang="0">
                <a:pos x="connsiteX36958" y="connsiteY36958"/>
              </a:cxn>
              <a:cxn ang="0">
                <a:pos x="connsiteX36959" y="connsiteY36959"/>
              </a:cxn>
              <a:cxn ang="0">
                <a:pos x="connsiteX36960" y="connsiteY36960"/>
              </a:cxn>
              <a:cxn ang="0">
                <a:pos x="connsiteX36961" y="connsiteY36961"/>
              </a:cxn>
              <a:cxn ang="0">
                <a:pos x="connsiteX36962" y="connsiteY36962"/>
              </a:cxn>
              <a:cxn ang="0">
                <a:pos x="connsiteX36963" y="connsiteY36963"/>
              </a:cxn>
              <a:cxn ang="0">
                <a:pos x="connsiteX36964" y="connsiteY36964"/>
              </a:cxn>
              <a:cxn ang="0">
                <a:pos x="connsiteX36965" y="connsiteY36965"/>
              </a:cxn>
              <a:cxn ang="0">
                <a:pos x="connsiteX36966" y="connsiteY36966"/>
              </a:cxn>
              <a:cxn ang="0">
                <a:pos x="connsiteX36967" y="connsiteY36967"/>
              </a:cxn>
              <a:cxn ang="0">
                <a:pos x="connsiteX36968" y="connsiteY36968"/>
              </a:cxn>
              <a:cxn ang="0">
                <a:pos x="connsiteX36969" y="connsiteY36969"/>
              </a:cxn>
              <a:cxn ang="0">
                <a:pos x="connsiteX36970" y="connsiteY36970"/>
              </a:cxn>
              <a:cxn ang="0">
                <a:pos x="connsiteX36971" y="connsiteY36971"/>
              </a:cxn>
              <a:cxn ang="0">
                <a:pos x="connsiteX36972" y="connsiteY36972"/>
              </a:cxn>
              <a:cxn ang="0">
                <a:pos x="connsiteX36973" y="connsiteY36973"/>
              </a:cxn>
              <a:cxn ang="0">
                <a:pos x="connsiteX36974" y="connsiteY36974"/>
              </a:cxn>
              <a:cxn ang="0">
                <a:pos x="connsiteX36975" y="connsiteY36975"/>
              </a:cxn>
              <a:cxn ang="0">
                <a:pos x="connsiteX36976" y="connsiteY36976"/>
              </a:cxn>
              <a:cxn ang="0">
                <a:pos x="connsiteX36977" y="connsiteY36977"/>
              </a:cxn>
              <a:cxn ang="0">
                <a:pos x="connsiteX36978" y="connsiteY36978"/>
              </a:cxn>
              <a:cxn ang="0">
                <a:pos x="connsiteX36979" y="connsiteY36979"/>
              </a:cxn>
              <a:cxn ang="0">
                <a:pos x="connsiteX36980" y="connsiteY36980"/>
              </a:cxn>
              <a:cxn ang="0">
                <a:pos x="connsiteX36981" y="connsiteY36981"/>
              </a:cxn>
              <a:cxn ang="0">
                <a:pos x="connsiteX36982" y="connsiteY36982"/>
              </a:cxn>
              <a:cxn ang="0">
                <a:pos x="connsiteX36983" y="connsiteY36983"/>
              </a:cxn>
              <a:cxn ang="0">
                <a:pos x="connsiteX36984" y="connsiteY36984"/>
              </a:cxn>
              <a:cxn ang="0">
                <a:pos x="connsiteX36985" y="connsiteY36985"/>
              </a:cxn>
              <a:cxn ang="0">
                <a:pos x="connsiteX36986" y="connsiteY36986"/>
              </a:cxn>
              <a:cxn ang="0">
                <a:pos x="connsiteX36987" y="connsiteY36987"/>
              </a:cxn>
              <a:cxn ang="0">
                <a:pos x="connsiteX36988" y="connsiteY36988"/>
              </a:cxn>
              <a:cxn ang="0">
                <a:pos x="connsiteX36989" y="connsiteY36989"/>
              </a:cxn>
              <a:cxn ang="0">
                <a:pos x="connsiteX36990" y="connsiteY36990"/>
              </a:cxn>
              <a:cxn ang="0">
                <a:pos x="connsiteX36991" y="connsiteY36991"/>
              </a:cxn>
              <a:cxn ang="0">
                <a:pos x="connsiteX36992" y="connsiteY36992"/>
              </a:cxn>
              <a:cxn ang="0">
                <a:pos x="connsiteX36993" y="connsiteY36993"/>
              </a:cxn>
              <a:cxn ang="0">
                <a:pos x="connsiteX36994" y="connsiteY36994"/>
              </a:cxn>
              <a:cxn ang="0">
                <a:pos x="connsiteX36995" y="connsiteY36995"/>
              </a:cxn>
              <a:cxn ang="0">
                <a:pos x="connsiteX36996" y="connsiteY36996"/>
              </a:cxn>
              <a:cxn ang="0">
                <a:pos x="connsiteX36997" y="connsiteY36997"/>
              </a:cxn>
              <a:cxn ang="0">
                <a:pos x="connsiteX36998" y="connsiteY36998"/>
              </a:cxn>
              <a:cxn ang="0">
                <a:pos x="connsiteX36999" y="connsiteY36999"/>
              </a:cxn>
              <a:cxn ang="0">
                <a:pos x="connsiteX37000" y="connsiteY37000"/>
              </a:cxn>
              <a:cxn ang="0">
                <a:pos x="connsiteX37001" y="connsiteY37001"/>
              </a:cxn>
              <a:cxn ang="0">
                <a:pos x="connsiteX37002" y="connsiteY37002"/>
              </a:cxn>
              <a:cxn ang="0">
                <a:pos x="connsiteX37003" y="connsiteY37003"/>
              </a:cxn>
              <a:cxn ang="0">
                <a:pos x="connsiteX37004" y="connsiteY37004"/>
              </a:cxn>
              <a:cxn ang="0">
                <a:pos x="connsiteX37005" y="connsiteY37005"/>
              </a:cxn>
              <a:cxn ang="0">
                <a:pos x="connsiteX37006" y="connsiteY37006"/>
              </a:cxn>
              <a:cxn ang="0">
                <a:pos x="connsiteX37007" y="connsiteY37007"/>
              </a:cxn>
              <a:cxn ang="0">
                <a:pos x="connsiteX37008" y="connsiteY37008"/>
              </a:cxn>
              <a:cxn ang="0">
                <a:pos x="connsiteX37009" y="connsiteY37009"/>
              </a:cxn>
              <a:cxn ang="0">
                <a:pos x="connsiteX37010" y="connsiteY37010"/>
              </a:cxn>
              <a:cxn ang="0">
                <a:pos x="connsiteX37011" y="connsiteY37011"/>
              </a:cxn>
              <a:cxn ang="0">
                <a:pos x="connsiteX37012" y="connsiteY37012"/>
              </a:cxn>
              <a:cxn ang="0">
                <a:pos x="connsiteX37013" y="connsiteY37013"/>
              </a:cxn>
              <a:cxn ang="0">
                <a:pos x="connsiteX37014" y="connsiteY37014"/>
              </a:cxn>
              <a:cxn ang="0">
                <a:pos x="connsiteX37015" y="connsiteY37015"/>
              </a:cxn>
              <a:cxn ang="0">
                <a:pos x="connsiteX37016" y="connsiteY37016"/>
              </a:cxn>
              <a:cxn ang="0">
                <a:pos x="connsiteX37017" y="connsiteY37017"/>
              </a:cxn>
              <a:cxn ang="0">
                <a:pos x="connsiteX37018" y="connsiteY37018"/>
              </a:cxn>
              <a:cxn ang="0">
                <a:pos x="connsiteX37019" y="connsiteY37019"/>
              </a:cxn>
              <a:cxn ang="0">
                <a:pos x="connsiteX37020" y="connsiteY37020"/>
              </a:cxn>
              <a:cxn ang="0">
                <a:pos x="connsiteX37021" y="connsiteY37021"/>
              </a:cxn>
              <a:cxn ang="0">
                <a:pos x="connsiteX37022" y="connsiteY37022"/>
              </a:cxn>
              <a:cxn ang="0">
                <a:pos x="connsiteX37023" y="connsiteY37023"/>
              </a:cxn>
              <a:cxn ang="0">
                <a:pos x="connsiteX37024" y="connsiteY37024"/>
              </a:cxn>
              <a:cxn ang="0">
                <a:pos x="connsiteX37025" y="connsiteY37025"/>
              </a:cxn>
              <a:cxn ang="0">
                <a:pos x="connsiteX37026" y="connsiteY37026"/>
              </a:cxn>
              <a:cxn ang="0">
                <a:pos x="connsiteX37027" y="connsiteY37027"/>
              </a:cxn>
              <a:cxn ang="0">
                <a:pos x="connsiteX37028" y="connsiteY37028"/>
              </a:cxn>
              <a:cxn ang="0">
                <a:pos x="connsiteX37029" y="connsiteY37029"/>
              </a:cxn>
              <a:cxn ang="0">
                <a:pos x="connsiteX37030" y="connsiteY37030"/>
              </a:cxn>
              <a:cxn ang="0">
                <a:pos x="connsiteX37031" y="connsiteY37031"/>
              </a:cxn>
              <a:cxn ang="0">
                <a:pos x="connsiteX37032" y="connsiteY37032"/>
              </a:cxn>
              <a:cxn ang="0">
                <a:pos x="connsiteX37033" y="connsiteY37033"/>
              </a:cxn>
              <a:cxn ang="0">
                <a:pos x="connsiteX37034" y="connsiteY37034"/>
              </a:cxn>
              <a:cxn ang="0">
                <a:pos x="connsiteX37035" y="connsiteY37035"/>
              </a:cxn>
              <a:cxn ang="0">
                <a:pos x="connsiteX37036" y="connsiteY37036"/>
              </a:cxn>
              <a:cxn ang="0">
                <a:pos x="connsiteX37037" y="connsiteY37037"/>
              </a:cxn>
              <a:cxn ang="0">
                <a:pos x="connsiteX37038" y="connsiteY37038"/>
              </a:cxn>
              <a:cxn ang="0">
                <a:pos x="connsiteX37039" y="connsiteY37039"/>
              </a:cxn>
              <a:cxn ang="0">
                <a:pos x="connsiteX37040" y="connsiteY37040"/>
              </a:cxn>
              <a:cxn ang="0">
                <a:pos x="connsiteX37041" y="connsiteY37041"/>
              </a:cxn>
              <a:cxn ang="0">
                <a:pos x="connsiteX37042" y="connsiteY37042"/>
              </a:cxn>
              <a:cxn ang="0">
                <a:pos x="connsiteX37043" y="connsiteY37043"/>
              </a:cxn>
              <a:cxn ang="0">
                <a:pos x="connsiteX37044" y="connsiteY37044"/>
              </a:cxn>
              <a:cxn ang="0">
                <a:pos x="connsiteX37045" y="connsiteY37045"/>
              </a:cxn>
              <a:cxn ang="0">
                <a:pos x="connsiteX37046" y="connsiteY37046"/>
              </a:cxn>
              <a:cxn ang="0">
                <a:pos x="connsiteX37047" y="connsiteY37047"/>
              </a:cxn>
              <a:cxn ang="0">
                <a:pos x="connsiteX37048" y="connsiteY37048"/>
              </a:cxn>
              <a:cxn ang="0">
                <a:pos x="connsiteX37049" y="connsiteY37049"/>
              </a:cxn>
              <a:cxn ang="0">
                <a:pos x="connsiteX37050" y="connsiteY37050"/>
              </a:cxn>
              <a:cxn ang="0">
                <a:pos x="connsiteX37051" y="connsiteY37051"/>
              </a:cxn>
              <a:cxn ang="0">
                <a:pos x="connsiteX37052" y="connsiteY37052"/>
              </a:cxn>
              <a:cxn ang="0">
                <a:pos x="connsiteX37053" y="connsiteY37053"/>
              </a:cxn>
              <a:cxn ang="0">
                <a:pos x="connsiteX37054" y="connsiteY37054"/>
              </a:cxn>
              <a:cxn ang="0">
                <a:pos x="connsiteX37055" y="connsiteY37055"/>
              </a:cxn>
              <a:cxn ang="0">
                <a:pos x="connsiteX37056" y="connsiteY37056"/>
              </a:cxn>
              <a:cxn ang="0">
                <a:pos x="connsiteX37057" y="connsiteY37057"/>
              </a:cxn>
              <a:cxn ang="0">
                <a:pos x="connsiteX37058" y="connsiteY37058"/>
              </a:cxn>
              <a:cxn ang="0">
                <a:pos x="connsiteX37059" y="connsiteY37059"/>
              </a:cxn>
              <a:cxn ang="0">
                <a:pos x="connsiteX37060" y="connsiteY37060"/>
              </a:cxn>
              <a:cxn ang="0">
                <a:pos x="connsiteX37061" y="connsiteY37061"/>
              </a:cxn>
              <a:cxn ang="0">
                <a:pos x="connsiteX37062" y="connsiteY37062"/>
              </a:cxn>
              <a:cxn ang="0">
                <a:pos x="connsiteX37063" y="connsiteY37063"/>
              </a:cxn>
              <a:cxn ang="0">
                <a:pos x="connsiteX37064" y="connsiteY37064"/>
              </a:cxn>
              <a:cxn ang="0">
                <a:pos x="connsiteX37065" y="connsiteY37065"/>
              </a:cxn>
              <a:cxn ang="0">
                <a:pos x="connsiteX37066" y="connsiteY37066"/>
              </a:cxn>
              <a:cxn ang="0">
                <a:pos x="connsiteX37067" y="connsiteY37067"/>
              </a:cxn>
              <a:cxn ang="0">
                <a:pos x="connsiteX37068" y="connsiteY37068"/>
              </a:cxn>
              <a:cxn ang="0">
                <a:pos x="connsiteX37069" y="connsiteY37069"/>
              </a:cxn>
              <a:cxn ang="0">
                <a:pos x="connsiteX37070" y="connsiteY37070"/>
              </a:cxn>
              <a:cxn ang="0">
                <a:pos x="connsiteX37071" y="connsiteY37071"/>
              </a:cxn>
              <a:cxn ang="0">
                <a:pos x="connsiteX37072" y="connsiteY37072"/>
              </a:cxn>
              <a:cxn ang="0">
                <a:pos x="connsiteX37073" y="connsiteY37073"/>
              </a:cxn>
              <a:cxn ang="0">
                <a:pos x="connsiteX37074" y="connsiteY37074"/>
              </a:cxn>
              <a:cxn ang="0">
                <a:pos x="connsiteX37075" y="connsiteY37075"/>
              </a:cxn>
              <a:cxn ang="0">
                <a:pos x="connsiteX37076" y="connsiteY37076"/>
              </a:cxn>
              <a:cxn ang="0">
                <a:pos x="connsiteX37077" y="connsiteY37077"/>
              </a:cxn>
              <a:cxn ang="0">
                <a:pos x="connsiteX37078" y="connsiteY37078"/>
              </a:cxn>
              <a:cxn ang="0">
                <a:pos x="connsiteX37079" y="connsiteY37079"/>
              </a:cxn>
              <a:cxn ang="0">
                <a:pos x="connsiteX37080" y="connsiteY37080"/>
              </a:cxn>
              <a:cxn ang="0">
                <a:pos x="connsiteX37081" y="connsiteY37081"/>
              </a:cxn>
              <a:cxn ang="0">
                <a:pos x="connsiteX37082" y="connsiteY37082"/>
              </a:cxn>
              <a:cxn ang="0">
                <a:pos x="connsiteX37083" y="connsiteY37083"/>
              </a:cxn>
              <a:cxn ang="0">
                <a:pos x="connsiteX37084" y="connsiteY37084"/>
              </a:cxn>
              <a:cxn ang="0">
                <a:pos x="connsiteX37085" y="connsiteY37085"/>
              </a:cxn>
              <a:cxn ang="0">
                <a:pos x="connsiteX37086" y="connsiteY37086"/>
              </a:cxn>
              <a:cxn ang="0">
                <a:pos x="connsiteX37087" y="connsiteY37087"/>
              </a:cxn>
              <a:cxn ang="0">
                <a:pos x="connsiteX37088" y="connsiteY37088"/>
              </a:cxn>
              <a:cxn ang="0">
                <a:pos x="connsiteX37089" y="connsiteY37089"/>
              </a:cxn>
              <a:cxn ang="0">
                <a:pos x="connsiteX37090" y="connsiteY37090"/>
              </a:cxn>
              <a:cxn ang="0">
                <a:pos x="connsiteX37091" y="connsiteY37091"/>
              </a:cxn>
              <a:cxn ang="0">
                <a:pos x="connsiteX37092" y="connsiteY37092"/>
              </a:cxn>
              <a:cxn ang="0">
                <a:pos x="connsiteX37093" y="connsiteY37093"/>
              </a:cxn>
              <a:cxn ang="0">
                <a:pos x="connsiteX37094" y="connsiteY37094"/>
              </a:cxn>
              <a:cxn ang="0">
                <a:pos x="connsiteX37095" y="connsiteY37095"/>
              </a:cxn>
              <a:cxn ang="0">
                <a:pos x="connsiteX37096" y="connsiteY37096"/>
              </a:cxn>
              <a:cxn ang="0">
                <a:pos x="connsiteX37097" y="connsiteY37097"/>
              </a:cxn>
              <a:cxn ang="0">
                <a:pos x="connsiteX37098" y="connsiteY37098"/>
              </a:cxn>
              <a:cxn ang="0">
                <a:pos x="connsiteX37099" y="connsiteY37099"/>
              </a:cxn>
              <a:cxn ang="0">
                <a:pos x="connsiteX37100" y="connsiteY37100"/>
              </a:cxn>
              <a:cxn ang="0">
                <a:pos x="connsiteX37101" y="connsiteY37101"/>
              </a:cxn>
              <a:cxn ang="0">
                <a:pos x="connsiteX37102" y="connsiteY37102"/>
              </a:cxn>
              <a:cxn ang="0">
                <a:pos x="connsiteX37103" y="connsiteY37103"/>
              </a:cxn>
              <a:cxn ang="0">
                <a:pos x="connsiteX37104" y="connsiteY37104"/>
              </a:cxn>
              <a:cxn ang="0">
                <a:pos x="connsiteX37105" y="connsiteY37105"/>
              </a:cxn>
              <a:cxn ang="0">
                <a:pos x="connsiteX37106" y="connsiteY37106"/>
              </a:cxn>
              <a:cxn ang="0">
                <a:pos x="connsiteX37107" y="connsiteY37107"/>
              </a:cxn>
              <a:cxn ang="0">
                <a:pos x="connsiteX37108" y="connsiteY37108"/>
              </a:cxn>
              <a:cxn ang="0">
                <a:pos x="connsiteX37109" y="connsiteY37109"/>
              </a:cxn>
              <a:cxn ang="0">
                <a:pos x="connsiteX37110" y="connsiteY37110"/>
              </a:cxn>
              <a:cxn ang="0">
                <a:pos x="connsiteX37111" y="connsiteY37111"/>
              </a:cxn>
              <a:cxn ang="0">
                <a:pos x="connsiteX37112" y="connsiteY37112"/>
              </a:cxn>
              <a:cxn ang="0">
                <a:pos x="connsiteX37113" y="connsiteY37113"/>
              </a:cxn>
              <a:cxn ang="0">
                <a:pos x="connsiteX37114" y="connsiteY37114"/>
              </a:cxn>
              <a:cxn ang="0">
                <a:pos x="connsiteX37115" y="connsiteY37115"/>
              </a:cxn>
              <a:cxn ang="0">
                <a:pos x="connsiteX37116" y="connsiteY37116"/>
              </a:cxn>
              <a:cxn ang="0">
                <a:pos x="connsiteX37117" y="connsiteY37117"/>
              </a:cxn>
              <a:cxn ang="0">
                <a:pos x="connsiteX37118" y="connsiteY37118"/>
              </a:cxn>
              <a:cxn ang="0">
                <a:pos x="connsiteX37119" y="connsiteY37119"/>
              </a:cxn>
              <a:cxn ang="0">
                <a:pos x="connsiteX37120" y="connsiteY37120"/>
              </a:cxn>
              <a:cxn ang="0">
                <a:pos x="connsiteX37121" y="connsiteY37121"/>
              </a:cxn>
              <a:cxn ang="0">
                <a:pos x="connsiteX37122" y="connsiteY37122"/>
              </a:cxn>
              <a:cxn ang="0">
                <a:pos x="connsiteX37123" y="connsiteY37123"/>
              </a:cxn>
              <a:cxn ang="0">
                <a:pos x="connsiteX37124" y="connsiteY37124"/>
              </a:cxn>
              <a:cxn ang="0">
                <a:pos x="connsiteX37125" y="connsiteY37125"/>
              </a:cxn>
              <a:cxn ang="0">
                <a:pos x="connsiteX37126" y="connsiteY37126"/>
              </a:cxn>
              <a:cxn ang="0">
                <a:pos x="connsiteX37127" y="connsiteY37127"/>
              </a:cxn>
              <a:cxn ang="0">
                <a:pos x="connsiteX37128" y="connsiteY37128"/>
              </a:cxn>
              <a:cxn ang="0">
                <a:pos x="connsiteX37129" y="connsiteY37129"/>
              </a:cxn>
              <a:cxn ang="0">
                <a:pos x="connsiteX37130" y="connsiteY37130"/>
              </a:cxn>
              <a:cxn ang="0">
                <a:pos x="connsiteX37131" y="connsiteY37131"/>
              </a:cxn>
              <a:cxn ang="0">
                <a:pos x="connsiteX37132" y="connsiteY37132"/>
              </a:cxn>
              <a:cxn ang="0">
                <a:pos x="connsiteX37133" y="connsiteY37133"/>
              </a:cxn>
              <a:cxn ang="0">
                <a:pos x="connsiteX37134" y="connsiteY37134"/>
              </a:cxn>
              <a:cxn ang="0">
                <a:pos x="connsiteX37135" y="connsiteY37135"/>
              </a:cxn>
              <a:cxn ang="0">
                <a:pos x="connsiteX37136" y="connsiteY37136"/>
              </a:cxn>
              <a:cxn ang="0">
                <a:pos x="connsiteX37137" y="connsiteY37137"/>
              </a:cxn>
              <a:cxn ang="0">
                <a:pos x="connsiteX37138" y="connsiteY37138"/>
              </a:cxn>
              <a:cxn ang="0">
                <a:pos x="connsiteX37139" y="connsiteY37139"/>
              </a:cxn>
              <a:cxn ang="0">
                <a:pos x="connsiteX37140" y="connsiteY37140"/>
              </a:cxn>
              <a:cxn ang="0">
                <a:pos x="connsiteX37141" y="connsiteY37141"/>
              </a:cxn>
              <a:cxn ang="0">
                <a:pos x="connsiteX37142" y="connsiteY37142"/>
              </a:cxn>
              <a:cxn ang="0">
                <a:pos x="connsiteX37143" y="connsiteY37143"/>
              </a:cxn>
              <a:cxn ang="0">
                <a:pos x="connsiteX37144" y="connsiteY37144"/>
              </a:cxn>
              <a:cxn ang="0">
                <a:pos x="connsiteX37145" y="connsiteY37145"/>
              </a:cxn>
              <a:cxn ang="0">
                <a:pos x="connsiteX37146" y="connsiteY37146"/>
              </a:cxn>
              <a:cxn ang="0">
                <a:pos x="connsiteX37147" y="connsiteY37147"/>
              </a:cxn>
              <a:cxn ang="0">
                <a:pos x="connsiteX37148" y="connsiteY37148"/>
              </a:cxn>
              <a:cxn ang="0">
                <a:pos x="connsiteX37149" y="connsiteY37149"/>
              </a:cxn>
              <a:cxn ang="0">
                <a:pos x="connsiteX37150" y="connsiteY37150"/>
              </a:cxn>
              <a:cxn ang="0">
                <a:pos x="connsiteX37151" y="connsiteY37151"/>
              </a:cxn>
              <a:cxn ang="0">
                <a:pos x="connsiteX37152" y="connsiteY37152"/>
              </a:cxn>
              <a:cxn ang="0">
                <a:pos x="connsiteX37153" y="connsiteY37153"/>
              </a:cxn>
              <a:cxn ang="0">
                <a:pos x="connsiteX37154" y="connsiteY37154"/>
              </a:cxn>
              <a:cxn ang="0">
                <a:pos x="connsiteX37155" y="connsiteY37155"/>
              </a:cxn>
              <a:cxn ang="0">
                <a:pos x="connsiteX37156" y="connsiteY37156"/>
              </a:cxn>
              <a:cxn ang="0">
                <a:pos x="connsiteX37157" y="connsiteY37157"/>
              </a:cxn>
              <a:cxn ang="0">
                <a:pos x="connsiteX37158" y="connsiteY37158"/>
              </a:cxn>
              <a:cxn ang="0">
                <a:pos x="connsiteX37159" y="connsiteY37159"/>
              </a:cxn>
              <a:cxn ang="0">
                <a:pos x="connsiteX37160" y="connsiteY37160"/>
              </a:cxn>
              <a:cxn ang="0">
                <a:pos x="connsiteX37161" y="connsiteY37161"/>
              </a:cxn>
              <a:cxn ang="0">
                <a:pos x="connsiteX37162" y="connsiteY37162"/>
              </a:cxn>
              <a:cxn ang="0">
                <a:pos x="connsiteX37163" y="connsiteY37163"/>
              </a:cxn>
              <a:cxn ang="0">
                <a:pos x="connsiteX37164" y="connsiteY37164"/>
              </a:cxn>
              <a:cxn ang="0">
                <a:pos x="connsiteX37165" y="connsiteY37165"/>
              </a:cxn>
              <a:cxn ang="0">
                <a:pos x="connsiteX37166" y="connsiteY37166"/>
              </a:cxn>
              <a:cxn ang="0">
                <a:pos x="connsiteX37167" y="connsiteY37167"/>
              </a:cxn>
              <a:cxn ang="0">
                <a:pos x="connsiteX37168" y="connsiteY37168"/>
              </a:cxn>
              <a:cxn ang="0">
                <a:pos x="connsiteX37169" y="connsiteY37169"/>
              </a:cxn>
              <a:cxn ang="0">
                <a:pos x="connsiteX37170" y="connsiteY37170"/>
              </a:cxn>
              <a:cxn ang="0">
                <a:pos x="connsiteX37171" y="connsiteY37171"/>
              </a:cxn>
              <a:cxn ang="0">
                <a:pos x="connsiteX37172" y="connsiteY37172"/>
              </a:cxn>
              <a:cxn ang="0">
                <a:pos x="connsiteX37173" y="connsiteY37173"/>
              </a:cxn>
              <a:cxn ang="0">
                <a:pos x="connsiteX37174" y="connsiteY37174"/>
              </a:cxn>
              <a:cxn ang="0">
                <a:pos x="connsiteX37175" y="connsiteY37175"/>
              </a:cxn>
              <a:cxn ang="0">
                <a:pos x="connsiteX37176" y="connsiteY37176"/>
              </a:cxn>
              <a:cxn ang="0">
                <a:pos x="connsiteX37177" y="connsiteY37177"/>
              </a:cxn>
              <a:cxn ang="0">
                <a:pos x="connsiteX37178" y="connsiteY37178"/>
              </a:cxn>
              <a:cxn ang="0">
                <a:pos x="connsiteX37179" y="connsiteY37179"/>
              </a:cxn>
              <a:cxn ang="0">
                <a:pos x="connsiteX37180" y="connsiteY37180"/>
              </a:cxn>
              <a:cxn ang="0">
                <a:pos x="connsiteX37181" y="connsiteY37181"/>
              </a:cxn>
              <a:cxn ang="0">
                <a:pos x="connsiteX37182" y="connsiteY37182"/>
              </a:cxn>
              <a:cxn ang="0">
                <a:pos x="connsiteX37183" y="connsiteY37183"/>
              </a:cxn>
              <a:cxn ang="0">
                <a:pos x="connsiteX37184" y="connsiteY37184"/>
              </a:cxn>
              <a:cxn ang="0">
                <a:pos x="connsiteX37185" y="connsiteY37185"/>
              </a:cxn>
              <a:cxn ang="0">
                <a:pos x="connsiteX37186" y="connsiteY37186"/>
              </a:cxn>
              <a:cxn ang="0">
                <a:pos x="connsiteX37187" y="connsiteY37187"/>
              </a:cxn>
              <a:cxn ang="0">
                <a:pos x="connsiteX37188" y="connsiteY37188"/>
              </a:cxn>
              <a:cxn ang="0">
                <a:pos x="connsiteX37189" y="connsiteY37189"/>
              </a:cxn>
              <a:cxn ang="0">
                <a:pos x="connsiteX37190" y="connsiteY37190"/>
              </a:cxn>
              <a:cxn ang="0">
                <a:pos x="connsiteX37191" y="connsiteY37191"/>
              </a:cxn>
              <a:cxn ang="0">
                <a:pos x="connsiteX37192" y="connsiteY37192"/>
              </a:cxn>
              <a:cxn ang="0">
                <a:pos x="connsiteX37193" y="connsiteY37193"/>
              </a:cxn>
              <a:cxn ang="0">
                <a:pos x="connsiteX37194" y="connsiteY37194"/>
              </a:cxn>
              <a:cxn ang="0">
                <a:pos x="connsiteX37195" y="connsiteY37195"/>
              </a:cxn>
              <a:cxn ang="0">
                <a:pos x="connsiteX37196" y="connsiteY37196"/>
              </a:cxn>
              <a:cxn ang="0">
                <a:pos x="connsiteX37197" y="connsiteY37197"/>
              </a:cxn>
              <a:cxn ang="0">
                <a:pos x="connsiteX37198" y="connsiteY37198"/>
              </a:cxn>
              <a:cxn ang="0">
                <a:pos x="connsiteX37199" y="connsiteY37199"/>
              </a:cxn>
              <a:cxn ang="0">
                <a:pos x="connsiteX37200" y="connsiteY37200"/>
              </a:cxn>
              <a:cxn ang="0">
                <a:pos x="connsiteX37201" y="connsiteY37201"/>
              </a:cxn>
              <a:cxn ang="0">
                <a:pos x="connsiteX37202" y="connsiteY37202"/>
              </a:cxn>
              <a:cxn ang="0">
                <a:pos x="connsiteX37203" y="connsiteY37203"/>
              </a:cxn>
              <a:cxn ang="0">
                <a:pos x="connsiteX37204" y="connsiteY37204"/>
              </a:cxn>
              <a:cxn ang="0">
                <a:pos x="connsiteX37205" y="connsiteY37205"/>
              </a:cxn>
              <a:cxn ang="0">
                <a:pos x="connsiteX37206" y="connsiteY37206"/>
              </a:cxn>
              <a:cxn ang="0">
                <a:pos x="connsiteX37207" y="connsiteY37207"/>
              </a:cxn>
              <a:cxn ang="0">
                <a:pos x="connsiteX37208" y="connsiteY37208"/>
              </a:cxn>
              <a:cxn ang="0">
                <a:pos x="connsiteX37209" y="connsiteY37209"/>
              </a:cxn>
              <a:cxn ang="0">
                <a:pos x="connsiteX37210" y="connsiteY37210"/>
              </a:cxn>
              <a:cxn ang="0">
                <a:pos x="connsiteX37211" y="connsiteY37211"/>
              </a:cxn>
              <a:cxn ang="0">
                <a:pos x="connsiteX37212" y="connsiteY37212"/>
              </a:cxn>
              <a:cxn ang="0">
                <a:pos x="connsiteX37213" y="connsiteY37213"/>
              </a:cxn>
              <a:cxn ang="0">
                <a:pos x="connsiteX37214" y="connsiteY37214"/>
              </a:cxn>
              <a:cxn ang="0">
                <a:pos x="connsiteX37215" y="connsiteY37215"/>
              </a:cxn>
              <a:cxn ang="0">
                <a:pos x="connsiteX37216" y="connsiteY37216"/>
              </a:cxn>
              <a:cxn ang="0">
                <a:pos x="connsiteX37217" y="connsiteY37217"/>
              </a:cxn>
              <a:cxn ang="0">
                <a:pos x="connsiteX37218" y="connsiteY37218"/>
              </a:cxn>
              <a:cxn ang="0">
                <a:pos x="connsiteX37219" y="connsiteY37219"/>
              </a:cxn>
              <a:cxn ang="0">
                <a:pos x="connsiteX37220" y="connsiteY37220"/>
              </a:cxn>
              <a:cxn ang="0">
                <a:pos x="connsiteX37221" y="connsiteY37221"/>
              </a:cxn>
              <a:cxn ang="0">
                <a:pos x="connsiteX37222" y="connsiteY37222"/>
              </a:cxn>
              <a:cxn ang="0">
                <a:pos x="connsiteX37223" y="connsiteY37223"/>
              </a:cxn>
              <a:cxn ang="0">
                <a:pos x="connsiteX37224" y="connsiteY37224"/>
              </a:cxn>
              <a:cxn ang="0">
                <a:pos x="connsiteX37225" y="connsiteY37225"/>
              </a:cxn>
              <a:cxn ang="0">
                <a:pos x="connsiteX37226" y="connsiteY37226"/>
              </a:cxn>
              <a:cxn ang="0">
                <a:pos x="connsiteX37227" y="connsiteY37227"/>
              </a:cxn>
              <a:cxn ang="0">
                <a:pos x="connsiteX37228" y="connsiteY37228"/>
              </a:cxn>
              <a:cxn ang="0">
                <a:pos x="connsiteX37229" y="connsiteY37229"/>
              </a:cxn>
              <a:cxn ang="0">
                <a:pos x="connsiteX37230" y="connsiteY37230"/>
              </a:cxn>
              <a:cxn ang="0">
                <a:pos x="connsiteX37231" y="connsiteY37231"/>
              </a:cxn>
              <a:cxn ang="0">
                <a:pos x="connsiteX37232" y="connsiteY37232"/>
              </a:cxn>
              <a:cxn ang="0">
                <a:pos x="connsiteX37233" y="connsiteY37233"/>
              </a:cxn>
              <a:cxn ang="0">
                <a:pos x="connsiteX37234" y="connsiteY37234"/>
              </a:cxn>
              <a:cxn ang="0">
                <a:pos x="connsiteX37235" y="connsiteY37235"/>
              </a:cxn>
              <a:cxn ang="0">
                <a:pos x="connsiteX37236" y="connsiteY37236"/>
              </a:cxn>
              <a:cxn ang="0">
                <a:pos x="connsiteX37237" y="connsiteY37237"/>
              </a:cxn>
              <a:cxn ang="0">
                <a:pos x="connsiteX37238" y="connsiteY37238"/>
              </a:cxn>
              <a:cxn ang="0">
                <a:pos x="connsiteX37239" y="connsiteY37239"/>
              </a:cxn>
              <a:cxn ang="0">
                <a:pos x="connsiteX37240" y="connsiteY37240"/>
              </a:cxn>
              <a:cxn ang="0">
                <a:pos x="connsiteX37241" y="connsiteY37241"/>
              </a:cxn>
              <a:cxn ang="0">
                <a:pos x="connsiteX37242" y="connsiteY37242"/>
              </a:cxn>
              <a:cxn ang="0">
                <a:pos x="connsiteX37243" y="connsiteY37243"/>
              </a:cxn>
              <a:cxn ang="0">
                <a:pos x="connsiteX37244" y="connsiteY37244"/>
              </a:cxn>
              <a:cxn ang="0">
                <a:pos x="connsiteX37245" y="connsiteY37245"/>
              </a:cxn>
              <a:cxn ang="0">
                <a:pos x="connsiteX37246" y="connsiteY37246"/>
              </a:cxn>
              <a:cxn ang="0">
                <a:pos x="connsiteX37247" y="connsiteY37247"/>
              </a:cxn>
              <a:cxn ang="0">
                <a:pos x="connsiteX37248" y="connsiteY37248"/>
              </a:cxn>
              <a:cxn ang="0">
                <a:pos x="connsiteX37249" y="connsiteY37249"/>
              </a:cxn>
              <a:cxn ang="0">
                <a:pos x="connsiteX37250" y="connsiteY37250"/>
              </a:cxn>
              <a:cxn ang="0">
                <a:pos x="connsiteX37251" y="connsiteY37251"/>
              </a:cxn>
              <a:cxn ang="0">
                <a:pos x="connsiteX37252" y="connsiteY37252"/>
              </a:cxn>
              <a:cxn ang="0">
                <a:pos x="connsiteX37253" y="connsiteY37253"/>
              </a:cxn>
              <a:cxn ang="0">
                <a:pos x="connsiteX37254" y="connsiteY37254"/>
              </a:cxn>
              <a:cxn ang="0">
                <a:pos x="connsiteX37255" y="connsiteY37255"/>
              </a:cxn>
              <a:cxn ang="0">
                <a:pos x="connsiteX37256" y="connsiteY37256"/>
              </a:cxn>
              <a:cxn ang="0">
                <a:pos x="connsiteX37257" y="connsiteY37257"/>
              </a:cxn>
              <a:cxn ang="0">
                <a:pos x="connsiteX37258" y="connsiteY37258"/>
              </a:cxn>
              <a:cxn ang="0">
                <a:pos x="connsiteX37259" y="connsiteY37259"/>
              </a:cxn>
              <a:cxn ang="0">
                <a:pos x="connsiteX37260" y="connsiteY37260"/>
              </a:cxn>
              <a:cxn ang="0">
                <a:pos x="connsiteX37261" y="connsiteY37261"/>
              </a:cxn>
              <a:cxn ang="0">
                <a:pos x="connsiteX37262" y="connsiteY37262"/>
              </a:cxn>
              <a:cxn ang="0">
                <a:pos x="connsiteX37263" y="connsiteY37263"/>
              </a:cxn>
              <a:cxn ang="0">
                <a:pos x="connsiteX37264" y="connsiteY37264"/>
              </a:cxn>
              <a:cxn ang="0">
                <a:pos x="connsiteX37265" y="connsiteY37265"/>
              </a:cxn>
              <a:cxn ang="0">
                <a:pos x="connsiteX37266" y="connsiteY37266"/>
              </a:cxn>
              <a:cxn ang="0">
                <a:pos x="connsiteX37267" y="connsiteY37267"/>
              </a:cxn>
              <a:cxn ang="0">
                <a:pos x="connsiteX37268" y="connsiteY37268"/>
              </a:cxn>
              <a:cxn ang="0">
                <a:pos x="connsiteX37269" y="connsiteY37269"/>
              </a:cxn>
              <a:cxn ang="0">
                <a:pos x="connsiteX37270" y="connsiteY37270"/>
              </a:cxn>
              <a:cxn ang="0">
                <a:pos x="connsiteX37271" y="connsiteY37271"/>
              </a:cxn>
              <a:cxn ang="0">
                <a:pos x="connsiteX37272" y="connsiteY37272"/>
              </a:cxn>
              <a:cxn ang="0">
                <a:pos x="connsiteX37273" y="connsiteY37273"/>
              </a:cxn>
              <a:cxn ang="0">
                <a:pos x="connsiteX37274" y="connsiteY37274"/>
              </a:cxn>
              <a:cxn ang="0">
                <a:pos x="connsiteX37275" y="connsiteY37275"/>
              </a:cxn>
              <a:cxn ang="0">
                <a:pos x="connsiteX37276" y="connsiteY37276"/>
              </a:cxn>
              <a:cxn ang="0">
                <a:pos x="connsiteX37277" y="connsiteY37277"/>
              </a:cxn>
              <a:cxn ang="0">
                <a:pos x="connsiteX37278" y="connsiteY37278"/>
              </a:cxn>
              <a:cxn ang="0">
                <a:pos x="connsiteX37279" y="connsiteY37279"/>
              </a:cxn>
              <a:cxn ang="0">
                <a:pos x="connsiteX37280" y="connsiteY37280"/>
              </a:cxn>
              <a:cxn ang="0">
                <a:pos x="connsiteX37281" y="connsiteY37281"/>
              </a:cxn>
              <a:cxn ang="0">
                <a:pos x="connsiteX37282" y="connsiteY37282"/>
              </a:cxn>
              <a:cxn ang="0">
                <a:pos x="connsiteX37283" y="connsiteY37283"/>
              </a:cxn>
              <a:cxn ang="0">
                <a:pos x="connsiteX37284" y="connsiteY37284"/>
              </a:cxn>
              <a:cxn ang="0">
                <a:pos x="connsiteX37285" y="connsiteY37285"/>
              </a:cxn>
              <a:cxn ang="0">
                <a:pos x="connsiteX37286" y="connsiteY37286"/>
              </a:cxn>
              <a:cxn ang="0">
                <a:pos x="connsiteX37287" y="connsiteY37287"/>
              </a:cxn>
              <a:cxn ang="0">
                <a:pos x="connsiteX37288" y="connsiteY37288"/>
              </a:cxn>
              <a:cxn ang="0">
                <a:pos x="connsiteX37289" y="connsiteY37289"/>
              </a:cxn>
              <a:cxn ang="0">
                <a:pos x="connsiteX37290" y="connsiteY37290"/>
              </a:cxn>
              <a:cxn ang="0">
                <a:pos x="connsiteX37291" y="connsiteY37291"/>
              </a:cxn>
              <a:cxn ang="0">
                <a:pos x="connsiteX37292" y="connsiteY37292"/>
              </a:cxn>
              <a:cxn ang="0">
                <a:pos x="connsiteX37293" y="connsiteY37293"/>
              </a:cxn>
              <a:cxn ang="0">
                <a:pos x="connsiteX37294" y="connsiteY37294"/>
              </a:cxn>
              <a:cxn ang="0">
                <a:pos x="connsiteX37295" y="connsiteY37295"/>
              </a:cxn>
              <a:cxn ang="0">
                <a:pos x="connsiteX37296" y="connsiteY37296"/>
              </a:cxn>
              <a:cxn ang="0">
                <a:pos x="connsiteX37297" y="connsiteY37297"/>
              </a:cxn>
              <a:cxn ang="0">
                <a:pos x="connsiteX37298" y="connsiteY37298"/>
              </a:cxn>
              <a:cxn ang="0">
                <a:pos x="connsiteX37299" y="connsiteY37299"/>
              </a:cxn>
              <a:cxn ang="0">
                <a:pos x="connsiteX37300" y="connsiteY37300"/>
              </a:cxn>
              <a:cxn ang="0">
                <a:pos x="connsiteX37301" y="connsiteY37301"/>
              </a:cxn>
              <a:cxn ang="0">
                <a:pos x="connsiteX37302" y="connsiteY37302"/>
              </a:cxn>
              <a:cxn ang="0">
                <a:pos x="connsiteX37303" y="connsiteY37303"/>
              </a:cxn>
              <a:cxn ang="0">
                <a:pos x="connsiteX37304" y="connsiteY37304"/>
              </a:cxn>
              <a:cxn ang="0">
                <a:pos x="connsiteX37305" y="connsiteY37305"/>
              </a:cxn>
              <a:cxn ang="0">
                <a:pos x="connsiteX37306" y="connsiteY37306"/>
              </a:cxn>
              <a:cxn ang="0">
                <a:pos x="connsiteX37307" y="connsiteY37307"/>
              </a:cxn>
              <a:cxn ang="0">
                <a:pos x="connsiteX37308" y="connsiteY37308"/>
              </a:cxn>
              <a:cxn ang="0">
                <a:pos x="connsiteX37309" y="connsiteY37309"/>
              </a:cxn>
              <a:cxn ang="0">
                <a:pos x="connsiteX37310" y="connsiteY37310"/>
              </a:cxn>
              <a:cxn ang="0">
                <a:pos x="connsiteX37311" y="connsiteY37311"/>
              </a:cxn>
              <a:cxn ang="0">
                <a:pos x="connsiteX37312" y="connsiteY37312"/>
              </a:cxn>
              <a:cxn ang="0">
                <a:pos x="connsiteX37313" y="connsiteY37313"/>
              </a:cxn>
              <a:cxn ang="0">
                <a:pos x="connsiteX37314" y="connsiteY37314"/>
              </a:cxn>
              <a:cxn ang="0">
                <a:pos x="connsiteX37315" y="connsiteY37315"/>
              </a:cxn>
              <a:cxn ang="0">
                <a:pos x="connsiteX37316" y="connsiteY37316"/>
              </a:cxn>
              <a:cxn ang="0">
                <a:pos x="connsiteX37317" y="connsiteY37317"/>
              </a:cxn>
              <a:cxn ang="0">
                <a:pos x="connsiteX37318" y="connsiteY37318"/>
              </a:cxn>
              <a:cxn ang="0">
                <a:pos x="connsiteX37319" y="connsiteY37319"/>
              </a:cxn>
              <a:cxn ang="0">
                <a:pos x="connsiteX37320" y="connsiteY37320"/>
              </a:cxn>
              <a:cxn ang="0">
                <a:pos x="connsiteX37321" y="connsiteY37321"/>
              </a:cxn>
              <a:cxn ang="0">
                <a:pos x="connsiteX37322" y="connsiteY37322"/>
              </a:cxn>
              <a:cxn ang="0">
                <a:pos x="connsiteX37323" y="connsiteY37323"/>
              </a:cxn>
              <a:cxn ang="0">
                <a:pos x="connsiteX37324" y="connsiteY37324"/>
              </a:cxn>
              <a:cxn ang="0">
                <a:pos x="connsiteX37325" y="connsiteY37325"/>
              </a:cxn>
              <a:cxn ang="0">
                <a:pos x="connsiteX37326" y="connsiteY37326"/>
              </a:cxn>
              <a:cxn ang="0">
                <a:pos x="connsiteX37327" y="connsiteY37327"/>
              </a:cxn>
              <a:cxn ang="0">
                <a:pos x="connsiteX37328" y="connsiteY37328"/>
              </a:cxn>
              <a:cxn ang="0">
                <a:pos x="connsiteX37329" y="connsiteY37329"/>
              </a:cxn>
              <a:cxn ang="0">
                <a:pos x="connsiteX37330" y="connsiteY37330"/>
              </a:cxn>
              <a:cxn ang="0">
                <a:pos x="connsiteX37331" y="connsiteY37331"/>
              </a:cxn>
              <a:cxn ang="0">
                <a:pos x="connsiteX37332" y="connsiteY37332"/>
              </a:cxn>
              <a:cxn ang="0">
                <a:pos x="connsiteX37333" y="connsiteY37333"/>
              </a:cxn>
              <a:cxn ang="0">
                <a:pos x="connsiteX37334" y="connsiteY37334"/>
              </a:cxn>
              <a:cxn ang="0">
                <a:pos x="connsiteX37335" y="connsiteY37335"/>
              </a:cxn>
              <a:cxn ang="0">
                <a:pos x="connsiteX37336" y="connsiteY37336"/>
              </a:cxn>
              <a:cxn ang="0">
                <a:pos x="connsiteX37337" y="connsiteY37337"/>
              </a:cxn>
              <a:cxn ang="0">
                <a:pos x="connsiteX37338" y="connsiteY37338"/>
              </a:cxn>
              <a:cxn ang="0">
                <a:pos x="connsiteX37339" y="connsiteY37339"/>
              </a:cxn>
              <a:cxn ang="0">
                <a:pos x="connsiteX37340" y="connsiteY37340"/>
              </a:cxn>
              <a:cxn ang="0">
                <a:pos x="connsiteX37341" y="connsiteY37341"/>
              </a:cxn>
              <a:cxn ang="0">
                <a:pos x="connsiteX37342" y="connsiteY37342"/>
              </a:cxn>
              <a:cxn ang="0">
                <a:pos x="connsiteX37343" y="connsiteY37343"/>
              </a:cxn>
              <a:cxn ang="0">
                <a:pos x="connsiteX37344" y="connsiteY37344"/>
              </a:cxn>
              <a:cxn ang="0">
                <a:pos x="connsiteX37345" y="connsiteY37345"/>
              </a:cxn>
              <a:cxn ang="0">
                <a:pos x="connsiteX37346" y="connsiteY37346"/>
              </a:cxn>
              <a:cxn ang="0">
                <a:pos x="connsiteX37347" y="connsiteY37347"/>
              </a:cxn>
              <a:cxn ang="0">
                <a:pos x="connsiteX37348" y="connsiteY37348"/>
              </a:cxn>
              <a:cxn ang="0">
                <a:pos x="connsiteX37349" y="connsiteY37349"/>
              </a:cxn>
              <a:cxn ang="0">
                <a:pos x="connsiteX37350" y="connsiteY37350"/>
              </a:cxn>
              <a:cxn ang="0">
                <a:pos x="connsiteX37351" y="connsiteY37351"/>
              </a:cxn>
              <a:cxn ang="0">
                <a:pos x="connsiteX37352" y="connsiteY37352"/>
              </a:cxn>
              <a:cxn ang="0">
                <a:pos x="connsiteX37353" y="connsiteY37353"/>
              </a:cxn>
              <a:cxn ang="0">
                <a:pos x="connsiteX37354" y="connsiteY37354"/>
              </a:cxn>
              <a:cxn ang="0">
                <a:pos x="connsiteX37355" y="connsiteY37355"/>
              </a:cxn>
              <a:cxn ang="0">
                <a:pos x="connsiteX37356" y="connsiteY37356"/>
              </a:cxn>
              <a:cxn ang="0">
                <a:pos x="connsiteX37357" y="connsiteY37357"/>
              </a:cxn>
              <a:cxn ang="0">
                <a:pos x="connsiteX37358" y="connsiteY37358"/>
              </a:cxn>
              <a:cxn ang="0">
                <a:pos x="connsiteX37359" y="connsiteY37359"/>
              </a:cxn>
              <a:cxn ang="0">
                <a:pos x="connsiteX37360" y="connsiteY37360"/>
              </a:cxn>
              <a:cxn ang="0">
                <a:pos x="connsiteX37361" y="connsiteY37361"/>
              </a:cxn>
              <a:cxn ang="0">
                <a:pos x="connsiteX37362" y="connsiteY37362"/>
              </a:cxn>
              <a:cxn ang="0">
                <a:pos x="connsiteX37363" y="connsiteY37363"/>
              </a:cxn>
              <a:cxn ang="0">
                <a:pos x="connsiteX37364" y="connsiteY37364"/>
              </a:cxn>
              <a:cxn ang="0">
                <a:pos x="connsiteX37365" y="connsiteY37365"/>
              </a:cxn>
              <a:cxn ang="0">
                <a:pos x="connsiteX37366" y="connsiteY37366"/>
              </a:cxn>
              <a:cxn ang="0">
                <a:pos x="connsiteX37367" y="connsiteY37367"/>
              </a:cxn>
              <a:cxn ang="0">
                <a:pos x="connsiteX37368" y="connsiteY37368"/>
              </a:cxn>
              <a:cxn ang="0">
                <a:pos x="connsiteX37369" y="connsiteY37369"/>
              </a:cxn>
              <a:cxn ang="0">
                <a:pos x="connsiteX37370" y="connsiteY37370"/>
              </a:cxn>
              <a:cxn ang="0">
                <a:pos x="connsiteX37371" y="connsiteY37371"/>
              </a:cxn>
              <a:cxn ang="0">
                <a:pos x="connsiteX37372" y="connsiteY37372"/>
              </a:cxn>
              <a:cxn ang="0">
                <a:pos x="connsiteX37373" y="connsiteY37373"/>
              </a:cxn>
              <a:cxn ang="0">
                <a:pos x="connsiteX37374" y="connsiteY37374"/>
              </a:cxn>
              <a:cxn ang="0">
                <a:pos x="connsiteX37375" y="connsiteY37375"/>
              </a:cxn>
              <a:cxn ang="0">
                <a:pos x="connsiteX37376" y="connsiteY37376"/>
              </a:cxn>
              <a:cxn ang="0">
                <a:pos x="connsiteX37377" y="connsiteY37377"/>
              </a:cxn>
              <a:cxn ang="0">
                <a:pos x="connsiteX37378" y="connsiteY37378"/>
              </a:cxn>
              <a:cxn ang="0">
                <a:pos x="connsiteX37379" y="connsiteY37379"/>
              </a:cxn>
              <a:cxn ang="0">
                <a:pos x="connsiteX37380" y="connsiteY37380"/>
              </a:cxn>
              <a:cxn ang="0">
                <a:pos x="connsiteX37381" y="connsiteY37381"/>
              </a:cxn>
              <a:cxn ang="0">
                <a:pos x="connsiteX37382" y="connsiteY37382"/>
              </a:cxn>
              <a:cxn ang="0">
                <a:pos x="connsiteX37383" y="connsiteY37383"/>
              </a:cxn>
              <a:cxn ang="0">
                <a:pos x="connsiteX37384" y="connsiteY37384"/>
              </a:cxn>
              <a:cxn ang="0">
                <a:pos x="connsiteX37385" y="connsiteY37385"/>
              </a:cxn>
              <a:cxn ang="0">
                <a:pos x="connsiteX37386" y="connsiteY37386"/>
              </a:cxn>
              <a:cxn ang="0">
                <a:pos x="connsiteX37387" y="connsiteY37387"/>
              </a:cxn>
              <a:cxn ang="0">
                <a:pos x="connsiteX37388" y="connsiteY37388"/>
              </a:cxn>
              <a:cxn ang="0">
                <a:pos x="connsiteX37389" y="connsiteY37389"/>
              </a:cxn>
              <a:cxn ang="0">
                <a:pos x="connsiteX37390" y="connsiteY37390"/>
              </a:cxn>
              <a:cxn ang="0">
                <a:pos x="connsiteX37391" y="connsiteY37391"/>
              </a:cxn>
              <a:cxn ang="0">
                <a:pos x="connsiteX37392" y="connsiteY37392"/>
              </a:cxn>
              <a:cxn ang="0">
                <a:pos x="connsiteX37393" y="connsiteY37393"/>
              </a:cxn>
              <a:cxn ang="0">
                <a:pos x="connsiteX37394" y="connsiteY37394"/>
              </a:cxn>
              <a:cxn ang="0">
                <a:pos x="connsiteX37395" y="connsiteY37395"/>
              </a:cxn>
              <a:cxn ang="0">
                <a:pos x="connsiteX37396" y="connsiteY37396"/>
              </a:cxn>
              <a:cxn ang="0">
                <a:pos x="connsiteX37397" y="connsiteY37397"/>
              </a:cxn>
              <a:cxn ang="0">
                <a:pos x="connsiteX37398" y="connsiteY37398"/>
              </a:cxn>
              <a:cxn ang="0">
                <a:pos x="connsiteX37399" y="connsiteY37399"/>
              </a:cxn>
              <a:cxn ang="0">
                <a:pos x="connsiteX37400" y="connsiteY37400"/>
              </a:cxn>
              <a:cxn ang="0">
                <a:pos x="connsiteX37401" y="connsiteY37401"/>
              </a:cxn>
              <a:cxn ang="0">
                <a:pos x="connsiteX37402" y="connsiteY37402"/>
              </a:cxn>
              <a:cxn ang="0">
                <a:pos x="connsiteX37403" y="connsiteY37403"/>
              </a:cxn>
              <a:cxn ang="0">
                <a:pos x="connsiteX37404" y="connsiteY37404"/>
              </a:cxn>
              <a:cxn ang="0">
                <a:pos x="connsiteX37405" y="connsiteY37405"/>
              </a:cxn>
              <a:cxn ang="0">
                <a:pos x="connsiteX37406" y="connsiteY37406"/>
              </a:cxn>
              <a:cxn ang="0">
                <a:pos x="connsiteX37407" y="connsiteY37407"/>
              </a:cxn>
              <a:cxn ang="0">
                <a:pos x="connsiteX37408" y="connsiteY37408"/>
              </a:cxn>
              <a:cxn ang="0">
                <a:pos x="connsiteX37409" y="connsiteY37409"/>
              </a:cxn>
              <a:cxn ang="0">
                <a:pos x="connsiteX37410" y="connsiteY37410"/>
              </a:cxn>
              <a:cxn ang="0">
                <a:pos x="connsiteX37411" y="connsiteY37411"/>
              </a:cxn>
              <a:cxn ang="0">
                <a:pos x="connsiteX37412" y="connsiteY37412"/>
              </a:cxn>
              <a:cxn ang="0">
                <a:pos x="connsiteX37413" y="connsiteY37413"/>
              </a:cxn>
              <a:cxn ang="0">
                <a:pos x="connsiteX37414" y="connsiteY37414"/>
              </a:cxn>
              <a:cxn ang="0">
                <a:pos x="connsiteX37415" y="connsiteY37415"/>
              </a:cxn>
              <a:cxn ang="0">
                <a:pos x="connsiteX37416" y="connsiteY37416"/>
              </a:cxn>
              <a:cxn ang="0">
                <a:pos x="connsiteX37417" y="connsiteY37417"/>
              </a:cxn>
              <a:cxn ang="0">
                <a:pos x="connsiteX37418" y="connsiteY37418"/>
              </a:cxn>
              <a:cxn ang="0">
                <a:pos x="connsiteX37419" y="connsiteY37419"/>
              </a:cxn>
              <a:cxn ang="0">
                <a:pos x="connsiteX37420" y="connsiteY37420"/>
              </a:cxn>
              <a:cxn ang="0">
                <a:pos x="connsiteX37421" y="connsiteY37421"/>
              </a:cxn>
              <a:cxn ang="0">
                <a:pos x="connsiteX37422" y="connsiteY37422"/>
              </a:cxn>
              <a:cxn ang="0">
                <a:pos x="connsiteX37423" y="connsiteY37423"/>
              </a:cxn>
              <a:cxn ang="0">
                <a:pos x="connsiteX37424" y="connsiteY37424"/>
              </a:cxn>
              <a:cxn ang="0">
                <a:pos x="connsiteX37425" y="connsiteY37425"/>
              </a:cxn>
              <a:cxn ang="0">
                <a:pos x="connsiteX37426" y="connsiteY37426"/>
              </a:cxn>
              <a:cxn ang="0">
                <a:pos x="connsiteX37427" y="connsiteY37427"/>
              </a:cxn>
              <a:cxn ang="0">
                <a:pos x="connsiteX37428" y="connsiteY37428"/>
              </a:cxn>
              <a:cxn ang="0">
                <a:pos x="connsiteX37429" y="connsiteY37429"/>
              </a:cxn>
              <a:cxn ang="0">
                <a:pos x="connsiteX37430" y="connsiteY37430"/>
              </a:cxn>
              <a:cxn ang="0">
                <a:pos x="connsiteX37431" y="connsiteY37431"/>
              </a:cxn>
              <a:cxn ang="0">
                <a:pos x="connsiteX37432" y="connsiteY37432"/>
              </a:cxn>
              <a:cxn ang="0">
                <a:pos x="connsiteX37433" y="connsiteY37433"/>
              </a:cxn>
              <a:cxn ang="0">
                <a:pos x="connsiteX37434" y="connsiteY37434"/>
              </a:cxn>
              <a:cxn ang="0">
                <a:pos x="connsiteX37435" y="connsiteY37435"/>
              </a:cxn>
              <a:cxn ang="0">
                <a:pos x="connsiteX37436" y="connsiteY37436"/>
              </a:cxn>
              <a:cxn ang="0">
                <a:pos x="connsiteX37437" y="connsiteY37437"/>
              </a:cxn>
              <a:cxn ang="0">
                <a:pos x="connsiteX37438" y="connsiteY37438"/>
              </a:cxn>
              <a:cxn ang="0">
                <a:pos x="connsiteX37439" y="connsiteY37439"/>
              </a:cxn>
              <a:cxn ang="0">
                <a:pos x="connsiteX37440" y="connsiteY37440"/>
              </a:cxn>
              <a:cxn ang="0">
                <a:pos x="connsiteX37441" y="connsiteY37441"/>
              </a:cxn>
              <a:cxn ang="0">
                <a:pos x="connsiteX37442" y="connsiteY37442"/>
              </a:cxn>
              <a:cxn ang="0">
                <a:pos x="connsiteX37443" y="connsiteY37443"/>
              </a:cxn>
              <a:cxn ang="0">
                <a:pos x="connsiteX37444" y="connsiteY37444"/>
              </a:cxn>
              <a:cxn ang="0">
                <a:pos x="connsiteX37445" y="connsiteY37445"/>
              </a:cxn>
              <a:cxn ang="0">
                <a:pos x="connsiteX37446" y="connsiteY37446"/>
              </a:cxn>
              <a:cxn ang="0">
                <a:pos x="connsiteX37447" y="connsiteY37447"/>
              </a:cxn>
              <a:cxn ang="0">
                <a:pos x="connsiteX37448" y="connsiteY37448"/>
              </a:cxn>
              <a:cxn ang="0">
                <a:pos x="connsiteX37449" y="connsiteY37449"/>
              </a:cxn>
              <a:cxn ang="0">
                <a:pos x="connsiteX37450" y="connsiteY37450"/>
              </a:cxn>
              <a:cxn ang="0">
                <a:pos x="connsiteX37451" y="connsiteY37451"/>
              </a:cxn>
              <a:cxn ang="0">
                <a:pos x="connsiteX37452" y="connsiteY37452"/>
              </a:cxn>
              <a:cxn ang="0">
                <a:pos x="connsiteX37453" y="connsiteY37453"/>
              </a:cxn>
              <a:cxn ang="0">
                <a:pos x="connsiteX37454" y="connsiteY37454"/>
              </a:cxn>
              <a:cxn ang="0">
                <a:pos x="connsiteX37455" y="connsiteY37455"/>
              </a:cxn>
              <a:cxn ang="0">
                <a:pos x="connsiteX37456" y="connsiteY37456"/>
              </a:cxn>
              <a:cxn ang="0">
                <a:pos x="connsiteX37457" y="connsiteY37457"/>
              </a:cxn>
              <a:cxn ang="0">
                <a:pos x="connsiteX37458" y="connsiteY37458"/>
              </a:cxn>
              <a:cxn ang="0">
                <a:pos x="connsiteX37459" y="connsiteY37459"/>
              </a:cxn>
              <a:cxn ang="0">
                <a:pos x="connsiteX37460" y="connsiteY37460"/>
              </a:cxn>
              <a:cxn ang="0">
                <a:pos x="connsiteX37461" y="connsiteY37461"/>
              </a:cxn>
              <a:cxn ang="0">
                <a:pos x="connsiteX37462" y="connsiteY37462"/>
              </a:cxn>
              <a:cxn ang="0">
                <a:pos x="connsiteX37463" y="connsiteY37463"/>
              </a:cxn>
              <a:cxn ang="0">
                <a:pos x="connsiteX37464" y="connsiteY37464"/>
              </a:cxn>
              <a:cxn ang="0">
                <a:pos x="connsiteX37465" y="connsiteY37465"/>
              </a:cxn>
              <a:cxn ang="0">
                <a:pos x="connsiteX37466" y="connsiteY37466"/>
              </a:cxn>
              <a:cxn ang="0">
                <a:pos x="connsiteX37467" y="connsiteY37467"/>
              </a:cxn>
              <a:cxn ang="0">
                <a:pos x="connsiteX37468" y="connsiteY37468"/>
              </a:cxn>
              <a:cxn ang="0">
                <a:pos x="connsiteX37469" y="connsiteY37469"/>
              </a:cxn>
              <a:cxn ang="0">
                <a:pos x="connsiteX37470" y="connsiteY37470"/>
              </a:cxn>
              <a:cxn ang="0">
                <a:pos x="connsiteX37471" y="connsiteY37471"/>
              </a:cxn>
              <a:cxn ang="0">
                <a:pos x="connsiteX37472" y="connsiteY37472"/>
              </a:cxn>
              <a:cxn ang="0">
                <a:pos x="connsiteX37473" y="connsiteY37473"/>
              </a:cxn>
              <a:cxn ang="0">
                <a:pos x="connsiteX37474" y="connsiteY37474"/>
              </a:cxn>
              <a:cxn ang="0">
                <a:pos x="connsiteX37475" y="connsiteY37475"/>
              </a:cxn>
              <a:cxn ang="0">
                <a:pos x="connsiteX37476" y="connsiteY37476"/>
              </a:cxn>
              <a:cxn ang="0">
                <a:pos x="connsiteX37477" y="connsiteY37477"/>
              </a:cxn>
              <a:cxn ang="0">
                <a:pos x="connsiteX37478" y="connsiteY37478"/>
              </a:cxn>
              <a:cxn ang="0">
                <a:pos x="connsiteX37479" y="connsiteY37479"/>
              </a:cxn>
              <a:cxn ang="0">
                <a:pos x="connsiteX37480" y="connsiteY37480"/>
              </a:cxn>
              <a:cxn ang="0">
                <a:pos x="connsiteX37481" y="connsiteY37481"/>
              </a:cxn>
              <a:cxn ang="0">
                <a:pos x="connsiteX37482" y="connsiteY37482"/>
              </a:cxn>
              <a:cxn ang="0">
                <a:pos x="connsiteX37483" y="connsiteY37483"/>
              </a:cxn>
              <a:cxn ang="0">
                <a:pos x="connsiteX37484" y="connsiteY37484"/>
              </a:cxn>
              <a:cxn ang="0">
                <a:pos x="connsiteX37485" y="connsiteY37485"/>
              </a:cxn>
              <a:cxn ang="0">
                <a:pos x="connsiteX37486" y="connsiteY37486"/>
              </a:cxn>
              <a:cxn ang="0">
                <a:pos x="connsiteX37487" y="connsiteY37487"/>
              </a:cxn>
              <a:cxn ang="0">
                <a:pos x="connsiteX37488" y="connsiteY37488"/>
              </a:cxn>
              <a:cxn ang="0">
                <a:pos x="connsiteX37489" y="connsiteY37489"/>
              </a:cxn>
              <a:cxn ang="0">
                <a:pos x="connsiteX37490" y="connsiteY37490"/>
              </a:cxn>
              <a:cxn ang="0">
                <a:pos x="connsiteX37491" y="connsiteY37491"/>
              </a:cxn>
              <a:cxn ang="0">
                <a:pos x="connsiteX37492" y="connsiteY37492"/>
              </a:cxn>
              <a:cxn ang="0">
                <a:pos x="connsiteX37493" y="connsiteY37493"/>
              </a:cxn>
              <a:cxn ang="0">
                <a:pos x="connsiteX37494" y="connsiteY37494"/>
              </a:cxn>
              <a:cxn ang="0">
                <a:pos x="connsiteX37495" y="connsiteY37495"/>
              </a:cxn>
              <a:cxn ang="0">
                <a:pos x="connsiteX37496" y="connsiteY37496"/>
              </a:cxn>
              <a:cxn ang="0">
                <a:pos x="connsiteX37497" y="connsiteY37497"/>
              </a:cxn>
              <a:cxn ang="0">
                <a:pos x="connsiteX37498" y="connsiteY37498"/>
              </a:cxn>
              <a:cxn ang="0">
                <a:pos x="connsiteX37499" y="connsiteY37499"/>
              </a:cxn>
              <a:cxn ang="0">
                <a:pos x="connsiteX37500" y="connsiteY37500"/>
              </a:cxn>
              <a:cxn ang="0">
                <a:pos x="connsiteX37501" y="connsiteY37501"/>
              </a:cxn>
              <a:cxn ang="0">
                <a:pos x="connsiteX37502" y="connsiteY37502"/>
              </a:cxn>
              <a:cxn ang="0">
                <a:pos x="connsiteX37503" y="connsiteY37503"/>
              </a:cxn>
              <a:cxn ang="0">
                <a:pos x="connsiteX37504" y="connsiteY37504"/>
              </a:cxn>
              <a:cxn ang="0">
                <a:pos x="connsiteX37505" y="connsiteY37505"/>
              </a:cxn>
              <a:cxn ang="0">
                <a:pos x="connsiteX37506" y="connsiteY37506"/>
              </a:cxn>
              <a:cxn ang="0">
                <a:pos x="connsiteX37507" y="connsiteY37507"/>
              </a:cxn>
              <a:cxn ang="0">
                <a:pos x="connsiteX37508" y="connsiteY37508"/>
              </a:cxn>
              <a:cxn ang="0">
                <a:pos x="connsiteX37509" y="connsiteY37509"/>
              </a:cxn>
              <a:cxn ang="0">
                <a:pos x="connsiteX37510" y="connsiteY37510"/>
              </a:cxn>
              <a:cxn ang="0">
                <a:pos x="connsiteX37511" y="connsiteY37511"/>
              </a:cxn>
              <a:cxn ang="0">
                <a:pos x="connsiteX37512" y="connsiteY37512"/>
              </a:cxn>
              <a:cxn ang="0">
                <a:pos x="connsiteX37513" y="connsiteY37513"/>
              </a:cxn>
              <a:cxn ang="0">
                <a:pos x="connsiteX37514" y="connsiteY37514"/>
              </a:cxn>
              <a:cxn ang="0">
                <a:pos x="connsiteX37515" y="connsiteY37515"/>
              </a:cxn>
              <a:cxn ang="0">
                <a:pos x="connsiteX37516" y="connsiteY37516"/>
              </a:cxn>
              <a:cxn ang="0">
                <a:pos x="connsiteX37517" y="connsiteY37517"/>
              </a:cxn>
              <a:cxn ang="0">
                <a:pos x="connsiteX37518" y="connsiteY37518"/>
              </a:cxn>
              <a:cxn ang="0">
                <a:pos x="connsiteX37519" y="connsiteY37519"/>
              </a:cxn>
              <a:cxn ang="0">
                <a:pos x="connsiteX37520" y="connsiteY37520"/>
              </a:cxn>
              <a:cxn ang="0">
                <a:pos x="connsiteX37521" y="connsiteY37521"/>
              </a:cxn>
              <a:cxn ang="0">
                <a:pos x="connsiteX37522" y="connsiteY37522"/>
              </a:cxn>
              <a:cxn ang="0">
                <a:pos x="connsiteX37523" y="connsiteY37523"/>
              </a:cxn>
              <a:cxn ang="0">
                <a:pos x="connsiteX37524" y="connsiteY37524"/>
              </a:cxn>
              <a:cxn ang="0">
                <a:pos x="connsiteX37525" y="connsiteY37525"/>
              </a:cxn>
              <a:cxn ang="0">
                <a:pos x="connsiteX37526" y="connsiteY37526"/>
              </a:cxn>
              <a:cxn ang="0">
                <a:pos x="connsiteX37527" y="connsiteY37527"/>
              </a:cxn>
              <a:cxn ang="0">
                <a:pos x="connsiteX37528" y="connsiteY37528"/>
              </a:cxn>
              <a:cxn ang="0">
                <a:pos x="connsiteX37529" y="connsiteY37529"/>
              </a:cxn>
              <a:cxn ang="0">
                <a:pos x="connsiteX37530" y="connsiteY37530"/>
              </a:cxn>
              <a:cxn ang="0">
                <a:pos x="connsiteX37531" y="connsiteY37531"/>
              </a:cxn>
              <a:cxn ang="0">
                <a:pos x="connsiteX37532" y="connsiteY37532"/>
              </a:cxn>
              <a:cxn ang="0">
                <a:pos x="connsiteX37533" y="connsiteY37533"/>
              </a:cxn>
              <a:cxn ang="0">
                <a:pos x="connsiteX37534" y="connsiteY37534"/>
              </a:cxn>
              <a:cxn ang="0">
                <a:pos x="connsiteX37535" y="connsiteY37535"/>
              </a:cxn>
              <a:cxn ang="0">
                <a:pos x="connsiteX37536" y="connsiteY37536"/>
              </a:cxn>
              <a:cxn ang="0">
                <a:pos x="connsiteX37537" y="connsiteY37537"/>
              </a:cxn>
              <a:cxn ang="0">
                <a:pos x="connsiteX37538" y="connsiteY37538"/>
              </a:cxn>
              <a:cxn ang="0">
                <a:pos x="connsiteX37539" y="connsiteY37539"/>
              </a:cxn>
              <a:cxn ang="0">
                <a:pos x="connsiteX37540" y="connsiteY37540"/>
              </a:cxn>
              <a:cxn ang="0">
                <a:pos x="connsiteX37541" y="connsiteY37541"/>
              </a:cxn>
              <a:cxn ang="0">
                <a:pos x="connsiteX37542" y="connsiteY37542"/>
              </a:cxn>
              <a:cxn ang="0">
                <a:pos x="connsiteX37543" y="connsiteY37543"/>
              </a:cxn>
              <a:cxn ang="0">
                <a:pos x="connsiteX37544" y="connsiteY37544"/>
              </a:cxn>
              <a:cxn ang="0">
                <a:pos x="connsiteX37545" y="connsiteY37545"/>
              </a:cxn>
              <a:cxn ang="0">
                <a:pos x="connsiteX37546" y="connsiteY37546"/>
              </a:cxn>
              <a:cxn ang="0">
                <a:pos x="connsiteX37547" y="connsiteY37547"/>
              </a:cxn>
              <a:cxn ang="0">
                <a:pos x="connsiteX37548" y="connsiteY37548"/>
              </a:cxn>
              <a:cxn ang="0">
                <a:pos x="connsiteX37549" y="connsiteY37549"/>
              </a:cxn>
              <a:cxn ang="0">
                <a:pos x="connsiteX37550" y="connsiteY37550"/>
              </a:cxn>
              <a:cxn ang="0">
                <a:pos x="connsiteX37551" y="connsiteY37551"/>
              </a:cxn>
              <a:cxn ang="0">
                <a:pos x="connsiteX37552" y="connsiteY37552"/>
              </a:cxn>
              <a:cxn ang="0">
                <a:pos x="connsiteX37553" y="connsiteY37553"/>
              </a:cxn>
              <a:cxn ang="0">
                <a:pos x="connsiteX37554" y="connsiteY37554"/>
              </a:cxn>
              <a:cxn ang="0">
                <a:pos x="connsiteX37555" y="connsiteY37555"/>
              </a:cxn>
              <a:cxn ang="0">
                <a:pos x="connsiteX37556" y="connsiteY37556"/>
              </a:cxn>
              <a:cxn ang="0">
                <a:pos x="connsiteX37557" y="connsiteY37557"/>
              </a:cxn>
              <a:cxn ang="0">
                <a:pos x="connsiteX37558" y="connsiteY37558"/>
              </a:cxn>
              <a:cxn ang="0">
                <a:pos x="connsiteX37559" y="connsiteY37559"/>
              </a:cxn>
              <a:cxn ang="0">
                <a:pos x="connsiteX37560" y="connsiteY37560"/>
              </a:cxn>
              <a:cxn ang="0">
                <a:pos x="connsiteX37561" y="connsiteY37561"/>
              </a:cxn>
              <a:cxn ang="0">
                <a:pos x="connsiteX37562" y="connsiteY37562"/>
              </a:cxn>
              <a:cxn ang="0">
                <a:pos x="connsiteX37563" y="connsiteY37563"/>
              </a:cxn>
              <a:cxn ang="0">
                <a:pos x="connsiteX37564" y="connsiteY37564"/>
              </a:cxn>
              <a:cxn ang="0">
                <a:pos x="connsiteX37565" y="connsiteY37565"/>
              </a:cxn>
              <a:cxn ang="0">
                <a:pos x="connsiteX37566" y="connsiteY37566"/>
              </a:cxn>
              <a:cxn ang="0">
                <a:pos x="connsiteX37567" y="connsiteY37567"/>
              </a:cxn>
              <a:cxn ang="0">
                <a:pos x="connsiteX37568" y="connsiteY37568"/>
              </a:cxn>
              <a:cxn ang="0">
                <a:pos x="connsiteX37569" y="connsiteY37569"/>
              </a:cxn>
              <a:cxn ang="0">
                <a:pos x="connsiteX37570" y="connsiteY37570"/>
              </a:cxn>
              <a:cxn ang="0">
                <a:pos x="connsiteX37571" y="connsiteY37571"/>
              </a:cxn>
              <a:cxn ang="0">
                <a:pos x="connsiteX37572" y="connsiteY37572"/>
              </a:cxn>
              <a:cxn ang="0">
                <a:pos x="connsiteX37573" y="connsiteY37573"/>
              </a:cxn>
              <a:cxn ang="0">
                <a:pos x="connsiteX37574" y="connsiteY37574"/>
              </a:cxn>
              <a:cxn ang="0">
                <a:pos x="connsiteX37575" y="connsiteY37575"/>
              </a:cxn>
              <a:cxn ang="0">
                <a:pos x="connsiteX37576" y="connsiteY37576"/>
              </a:cxn>
              <a:cxn ang="0">
                <a:pos x="connsiteX37577" y="connsiteY37577"/>
              </a:cxn>
              <a:cxn ang="0">
                <a:pos x="connsiteX37578" y="connsiteY37578"/>
              </a:cxn>
              <a:cxn ang="0">
                <a:pos x="connsiteX37579" y="connsiteY37579"/>
              </a:cxn>
              <a:cxn ang="0">
                <a:pos x="connsiteX37580" y="connsiteY37580"/>
              </a:cxn>
              <a:cxn ang="0">
                <a:pos x="connsiteX37581" y="connsiteY37581"/>
              </a:cxn>
              <a:cxn ang="0">
                <a:pos x="connsiteX37582" y="connsiteY37582"/>
              </a:cxn>
              <a:cxn ang="0">
                <a:pos x="connsiteX37583" y="connsiteY37583"/>
              </a:cxn>
              <a:cxn ang="0">
                <a:pos x="connsiteX37584" y="connsiteY37584"/>
              </a:cxn>
              <a:cxn ang="0">
                <a:pos x="connsiteX37585" y="connsiteY37585"/>
              </a:cxn>
              <a:cxn ang="0">
                <a:pos x="connsiteX37586" y="connsiteY37586"/>
              </a:cxn>
              <a:cxn ang="0">
                <a:pos x="connsiteX37587" y="connsiteY37587"/>
              </a:cxn>
              <a:cxn ang="0">
                <a:pos x="connsiteX37588" y="connsiteY37588"/>
              </a:cxn>
              <a:cxn ang="0">
                <a:pos x="connsiteX37589" y="connsiteY37589"/>
              </a:cxn>
              <a:cxn ang="0">
                <a:pos x="connsiteX37590" y="connsiteY37590"/>
              </a:cxn>
              <a:cxn ang="0">
                <a:pos x="connsiteX37591" y="connsiteY37591"/>
              </a:cxn>
              <a:cxn ang="0">
                <a:pos x="connsiteX37592" y="connsiteY37592"/>
              </a:cxn>
              <a:cxn ang="0">
                <a:pos x="connsiteX37593" y="connsiteY37593"/>
              </a:cxn>
              <a:cxn ang="0">
                <a:pos x="connsiteX37594" y="connsiteY37594"/>
              </a:cxn>
              <a:cxn ang="0">
                <a:pos x="connsiteX37595" y="connsiteY37595"/>
              </a:cxn>
              <a:cxn ang="0">
                <a:pos x="connsiteX37596" y="connsiteY37596"/>
              </a:cxn>
              <a:cxn ang="0">
                <a:pos x="connsiteX37597" y="connsiteY37597"/>
              </a:cxn>
              <a:cxn ang="0">
                <a:pos x="connsiteX37598" y="connsiteY37598"/>
              </a:cxn>
              <a:cxn ang="0">
                <a:pos x="connsiteX37599" y="connsiteY37599"/>
              </a:cxn>
              <a:cxn ang="0">
                <a:pos x="connsiteX37600" y="connsiteY37600"/>
              </a:cxn>
              <a:cxn ang="0">
                <a:pos x="connsiteX37601" y="connsiteY37601"/>
              </a:cxn>
              <a:cxn ang="0">
                <a:pos x="connsiteX37602" y="connsiteY37602"/>
              </a:cxn>
              <a:cxn ang="0">
                <a:pos x="connsiteX37603" y="connsiteY37603"/>
              </a:cxn>
              <a:cxn ang="0">
                <a:pos x="connsiteX37604" y="connsiteY37604"/>
              </a:cxn>
              <a:cxn ang="0">
                <a:pos x="connsiteX37605" y="connsiteY37605"/>
              </a:cxn>
              <a:cxn ang="0">
                <a:pos x="connsiteX37606" y="connsiteY37606"/>
              </a:cxn>
              <a:cxn ang="0">
                <a:pos x="connsiteX37607" y="connsiteY37607"/>
              </a:cxn>
              <a:cxn ang="0">
                <a:pos x="connsiteX37608" y="connsiteY37608"/>
              </a:cxn>
              <a:cxn ang="0">
                <a:pos x="connsiteX37609" y="connsiteY37609"/>
              </a:cxn>
              <a:cxn ang="0">
                <a:pos x="connsiteX37610" y="connsiteY37610"/>
              </a:cxn>
              <a:cxn ang="0">
                <a:pos x="connsiteX37611" y="connsiteY37611"/>
              </a:cxn>
              <a:cxn ang="0">
                <a:pos x="connsiteX37612" y="connsiteY37612"/>
              </a:cxn>
              <a:cxn ang="0">
                <a:pos x="connsiteX37613" y="connsiteY37613"/>
              </a:cxn>
              <a:cxn ang="0">
                <a:pos x="connsiteX37614" y="connsiteY37614"/>
              </a:cxn>
              <a:cxn ang="0">
                <a:pos x="connsiteX37615" y="connsiteY37615"/>
              </a:cxn>
              <a:cxn ang="0">
                <a:pos x="connsiteX37616" y="connsiteY37616"/>
              </a:cxn>
              <a:cxn ang="0">
                <a:pos x="connsiteX37617" y="connsiteY37617"/>
              </a:cxn>
              <a:cxn ang="0">
                <a:pos x="connsiteX37618" y="connsiteY37618"/>
              </a:cxn>
              <a:cxn ang="0">
                <a:pos x="connsiteX37619" y="connsiteY37619"/>
              </a:cxn>
              <a:cxn ang="0">
                <a:pos x="connsiteX37620" y="connsiteY37620"/>
              </a:cxn>
              <a:cxn ang="0">
                <a:pos x="connsiteX37621" y="connsiteY37621"/>
              </a:cxn>
              <a:cxn ang="0">
                <a:pos x="connsiteX37622" y="connsiteY37622"/>
              </a:cxn>
              <a:cxn ang="0">
                <a:pos x="connsiteX37623" y="connsiteY37623"/>
              </a:cxn>
              <a:cxn ang="0">
                <a:pos x="connsiteX37624" y="connsiteY37624"/>
              </a:cxn>
              <a:cxn ang="0">
                <a:pos x="connsiteX37625" y="connsiteY37625"/>
              </a:cxn>
              <a:cxn ang="0">
                <a:pos x="connsiteX37626" y="connsiteY37626"/>
              </a:cxn>
              <a:cxn ang="0">
                <a:pos x="connsiteX37627" y="connsiteY37627"/>
              </a:cxn>
              <a:cxn ang="0">
                <a:pos x="connsiteX37628" y="connsiteY37628"/>
              </a:cxn>
              <a:cxn ang="0">
                <a:pos x="connsiteX37629" y="connsiteY37629"/>
              </a:cxn>
              <a:cxn ang="0">
                <a:pos x="connsiteX37630" y="connsiteY37630"/>
              </a:cxn>
              <a:cxn ang="0">
                <a:pos x="connsiteX37631" y="connsiteY37631"/>
              </a:cxn>
              <a:cxn ang="0">
                <a:pos x="connsiteX37632" y="connsiteY37632"/>
              </a:cxn>
              <a:cxn ang="0">
                <a:pos x="connsiteX37633" y="connsiteY37633"/>
              </a:cxn>
              <a:cxn ang="0">
                <a:pos x="connsiteX37634" y="connsiteY37634"/>
              </a:cxn>
              <a:cxn ang="0">
                <a:pos x="connsiteX37635" y="connsiteY37635"/>
              </a:cxn>
              <a:cxn ang="0">
                <a:pos x="connsiteX37636" y="connsiteY37636"/>
              </a:cxn>
              <a:cxn ang="0">
                <a:pos x="connsiteX37637" y="connsiteY37637"/>
              </a:cxn>
              <a:cxn ang="0">
                <a:pos x="connsiteX37638" y="connsiteY37638"/>
              </a:cxn>
              <a:cxn ang="0">
                <a:pos x="connsiteX37639" y="connsiteY37639"/>
              </a:cxn>
              <a:cxn ang="0">
                <a:pos x="connsiteX37640" y="connsiteY37640"/>
              </a:cxn>
              <a:cxn ang="0">
                <a:pos x="connsiteX37641" y="connsiteY37641"/>
              </a:cxn>
              <a:cxn ang="0">
                <a:pos x="connsiteX37642" y="connsiteY37642"/>
              </a:cxn>
              <a:cxn ang="0">
                <a:pos x="connsiteX37643" y="connsiteY37643"/>
              </a:cxn>
              <a:cxn ang="0">
                <a:pos x="connsiteX37644" y="connsiteY37644"/>
              </a:cxn>
              <a:cxn ang="0">
                <a:pos x="connsiteX37645" y="connsiteY37645"/>
              </a:cxn>
              <a:cxn ang="0">
                <a:pos x="connsiteX37646" y="connsiteY37646"/>
              </a:cxn>
              <a:cxn ang="0">
                <a:pos x="connsiteX37647" y="connsiteY37647"/>
              </a:cxn>
              <a:cxn ang="0">
                <a:pos x="connsiteX37648" y="connsiteY37648"/>
              </a:cxn>
              <a:cxn ang="0">
                <a:pos x="connsiteX37649" y="connsiteY37649"/>
              </a:cxn>
              <a:cxn ang="0">
                <a:pos x="connsiteX37650" y="connsiteY37650"/>
              </a:cxn>
              <a:cxn ang="0">
                <a:pos x="connsiteX37651" y="connsiteY37651"/>
              </a:cxn>
              <a:cxn ang="0">
                <a:pos x="connsiteX37652" y="connsiteY37652"/>
              </a:cxn>
              <a:cxn ang="0">
                <a:pos x="connsiteX37653" y="connsiteY37653"/>
              </a:cxn>
              <a:cxn ang="0">
                <a:pos x="connsiteX37654" y="connsiteY37654"/>
              </a:cxn>
              <a:cxn ang="0">
                <a:pos x="connsiteX37655" y="connsiteY37655"/>
              </a:cxn>
              <a:cxn ang="0">
                <a:pos x="connsiteX37656" y="connsiteY37656"/>
              </a:cxn>
              <a:cxn ang="0">
                <a:pos x="connsiteX37657" y="connsiteY37657"/>
              </a:cxn>
              <a:cxn ang="0">
                <a:pos x="connsiteX37658" y="connsiteY37658"/>
              </a:cxn>
              <a:cxn ang="0">
                <a:pos x="connsiteX37659" y="connsiteY37659"/>
              </a:cxn>
              <a:cxn ang="0">
                <a:pos x="connsiteX37660" y="connsiteY37660"/>
              </a:cxn>
              <a:cxn ang="0">
                <a:pos x="connsiteX37661" y="connsiteY37661"/>
              </a:cxn>
              <a:cxn ang="0">
                <a:pos x="connsiteX37662" y="connsiteY37662"/>
              </a:cxn>
              <a:cxn ang="0">
                <a:pos x="connsiteX37663" y="connsiteY37663"/>
              </a:cxn>
              <a:cxn ang="0">
                <a:pos x="connsiteX37664" y="connsiteY37664"/>
              </a:cxn>
              <a:cxn ang="0">
                <a:pos x="connsiteX37665" y="connsiteY37665"/>
              </a:cxn>
              <a:cxn ang="0">
                <a:pos x="connsiteX37666" y="connsiteY37666"/>
              </a:cxn>
              <a:cxn ang="0">
                <a:pos x="connsiteX37667" y="connsiteY37667"/>
              </a:cxn>
              <a:cxn ang="0">
                <a:pos x="connsiteX37668" y="connsiteY37668"/>
              </a:cxn>
              <a:cxn ang="0">
                <a:pos x="connsiteX37669" y="connsiteY37669"/>
              </a:cxn>
              <a:cxn ang="0">
                <a:pos x="connsiteX37670" y="connsiteY37670"/>
              </a:cxn>
              <a:cxn ang="0">
                <a:pos x="connsiteX37671" y="connsiteY37671"/>
              </a:cxn>
              <a:cxn ang="0">
                <a:pos x="connsiteX37672" y="connsiteY37672"/>
              </a:cxn>
              <a:cxn ang="0">
                <a:pos x="connsiteX37673" y="connsiteY37673"/>
              </a:cxn>
              <a:cxn ang="0">
                <a:pos x="connsiteX37674" y="connsiteY37674"/>
              </a:cxn>
              <a:cxn ang="0">
                <a:pos x="connsiteX37675" y="connsiteY37675"/>
              </a:cxn>
              <a:cxn ang="0">
                <a:pos x="connsiteX37676" y="connsiteY37676"/>
              </a:cxn>
              <a:cxn ang="0">
                <a:pos x="connsiteX37677" y="connsiteY37677"/>
              </a:cxn>
              <a:cxn ang="0">
                <a:pos x="connsiteX37678" y="connsiteY37678"/>
              </a:cxn>
              <a:cxn ang="0">
                <a:pos x="connsiteX37679" y="connsiteY37679"/>
              </a:cxn>
              <a:cxn ang="0">
                <a:pos x="connsiteX37680" y="connsiteY37680"/>
              </a:cxn>
              <a:cxn ang="0">
                <a:pos x="connsiteX37681" y="connsiteY37681"/>
              </a:cxn>
              <a:cxn ang="0">
                <a:pos x="connsiteX37682" y="connsiteY37682"/>
              </a:cxn>
              <a:cxn ang="0">
                <a:pos x="connsiteX37683" y="connsiteY37683"/>
              </a:cxn>
              <a:cxn ang="0">
                <a:pos x="connsiteX37684" y="connsiteY37684"/>
              </a:cxn>
              <a:cxn ang="0">
                <a:pos x="connsiteX37685" y="connsiteY37685"/>
              </a:cxn>
              <a:cxn ang="0">
                <a:pos x="connsiteX37686" y="connsiteY37686"/>
              </a:cxn>
              <a:cxn ang="0">
                <a:pos x="connsiteX37687" y="connsiteY37687"/>
              </a:cxn>
              <a:cxn ang="0">
                <a:pos x="connsiteX37688" y="connsiteY37688"/>
              </a:cxn>
              <a:cxn ang="0">
                <a:pos x="connsiteX37689" y="connsiteY37689"/>
              </a:cxn>
              <a:cxn ang="0">
                <a:pos x="connsiteX37690" y="connsiteY37690"/>
              </a:cxn>
              <a:cxn ang="0">
                <a:pos x="connsiteX37691" y="connsiteY37691"/>
              </a:cxn>
              <a:cxn ang="0">
                <a:pos x="connsiteX37692" y="connsiteY37692"/>
              </a:cxn>
              <a:cxn ang="0">
                <a:pos x="connsiteX37693" y="connsiteY37693"/>
              </a:cxn>
              <a:cxn ang="0">
                <a:pos x="connsiteX37694" y="connsiteY37694"/>
              </a:cxn>
              <a:cxn ang="0">
                <a:pos x="connsiteX37695" y="connsiteY37695"/>
              </a:cxn>
              <a:cxn ang="0">
                <a:pos x="connsiteX37696" y="connsiteY37696"/>
              </a:cxn>
              <a:cxn ang="0">
                <a:pos x="connsiteX37697" y="connsiteY37697"/>
              </a:cxn>
              <a:cxn ang="0">
                <a:pos x="connsiteX37698" y="connsiteY37698"/>
              </a:cxn>
              <a:cxn ang="0">
                <a:pos x="connsiteX37699" y="connsiteY37699"/>
              </a:cxn>
              <a:cxn ang="0">
                <a:pos x="connsiteX37700" y="connsiteY37700"/>
              </a:cxn>
              <a:cxn ang="0">
                <a:pos x="connsiteX37701" y="connsiteY37701"/>
              </a:cxn>
              <a:cxn ang="0">
                <a:pos x="connsiteX37702" y="connsiteY37702"/>
              </a:cxn>
              <a:cxn ang="0">
                <a:pos x="connsiteX37703" y="connsiteY37703"/>
              </a:cxn>
              <a:cxn ang="0">
                <a:pos x="connsiteX37704" y="connsiteY37704"/>
              </a:cxn>
              <a:cxn ang="0">
                <a:pos x="connsiteX37705" y="connsiteY37705"/>
              </a:cxn>
              <a:cxn ang="0">
                <a:pos x="connsiteX37706" y="connsiteY37706"/>
              </a:cxn>
              <a:cxn ang="0">
                <a:pos x="connsiteX37707" y="connsiteY37707"/>
              </a:cxn>
              <a:cxn ang="0">
                <a:pos x="connsiteX37708" y="connsiteY37708"/>
              </a:cxn>
              <a:cxn ang="0">
                <a:pos x="connsiteX37709" y="connsiteY37709"/>
              </a:cxn>
              <a:cxn ang="0">
                <a:pos x="connsiteX37710" y="connsiteY37710"/>
              </a:cxn>
              <a:cxn ang="0">
                <a:pos x="connsiteX37711" y="connsiteY37711"/>
              </a:cxn>
              <a:cxn ang="0">
                <a:pos x="connsiteX37712" y="connsiteY37712"/>
              </a:cxn>
              <a:cxn ang="0">
                <a:pos x="connsiteX37713" y="connsiteY37713"/>
              </a:cxn>
              <a:cxn ang="0">
                <a:pos x="connsiteX37714" y="connsiteY37714"/>
              </a:cxn>
              <a:cxn ang="0">
                <a:pos x="connsiteX37715" y="connsiteY37715"/>
              </a:cxn>
              <a:cxn ang="0">
                <a:pos x="connsiteX37716" y="connsiteY37716"/>
              </a:cxn>
              <a:cxn ang="0">
                <a:pos x="connsiteX37717" y="connsiteY37717"/>
              </a:cxn>
              <a:cxn ang="0">
                <a:pos x="connsiteX37718" y="connsiteY37718"/>
              </a:cxn>
              <a:cxn ang="0">
                <a:pos x="connsiteX37719" y="connsiteY37719"/>
              </a:cxn>
              <a:cxn ang="0">
                <a:pos x="connsiteX37720" y="connsiteY37720"/>
              </a:cxn>
              <a:cxn ang="0">
                <a:pos x="connsiteX37721" y="connsiteY37721"/>
              </a:cxn>
              <a:cxn ang="0">
                <a:pos x="connsiteX37722" y="connsiteY37722"/>
              </a:cxn>
              <a:cxn ang="0">
                <a:pos x="connsiteX37723" y="connsiteY37723"/>
              </a:cxn>
              <a:cxn ang="0">
                <a:pos x="connsiteX37724" y="connsiteY37724"/>
              </a:cxn>
              <a:cxn ang="0">
                <a:pos x="connsiteX37725" y="connsiteY37725"/>
              </a:cxn>
              <a:cxn ang="0">
                <a:pos x="connsiteX37726" y="connsiteY37726"/>
              </a:cxn>
              <a:cxn ang="0">
                <a:pos x="connsiteX37727" y="connsiteY37727"/>
              </a:cxn>
              <a:cxn ang="0">
                <a:pos x="connsiteX37728" y="connsiteY37728"/>
              </a:cxn>
              <a:cxn ang="0">
                <a:pos x="connsiteX37729" y="connsiteY37729"/>
              </a:cxn>
              <a:cxn ang="0">
                <a:pos x="connsiteX37730" y="connsiteY37730"/>
              </a:cxn>
              <a:cxn ang="0">
                <a:pos x="connsiteX37731" y="connsiteY37731"/>
              </a:cxn>
              <a:cxn ang="0">
                <a:pos x="connsiteX37732" y="connsiteY37732"/>
              </a:cxn>
              <a:cxn ang="0">
                <a:pos x="connsiteX37733" y="connsiteY37733"/>
              </a:cxn>
              <a:cxn ang="0">
                <a:pos x="connsiteX37734" y="connsiteY37734"/>
              </a:cxn>
              <a:cxn ang="0">
                <a:pos x="connsiteX37735" y="connsiteY37735"/>
              </a:cxn>
              <a:cxn ang="0">
                <a:pos x="connsiteX37736" y="connsiteY37736"/>
              </a:cxn>
              <a:cxn ang="0">
                <a:pos x="connsiteX37737" y="connsiteY37737"/>
              </a:cxn>
              <a:cxn ang="0">
                <a:pos x="connsiteX37738" y="connsiteY37738"/>
              </a:cxn>
              <a:cxn ang="0">
                <a:pos x="connsiteX37739" y="connsiteY37739"/>
              </a:cxn>
              <a:cxn ang="0">
                <a:pos x="connsiteX37740" y="connsiteY37740"/>
              </a:cxn>
              <a:cxn ang="0">
                <a:pos x="connsiteX37741" y="connsiteY37741"/>
              </a:cxn>
              <a:cxn ang="0">
                <a:pos x="connsiteX37742" y="connsiteY37742"/>
              </a:cxn>
              <a:cxn ang="0">
                <a:pos x="connsiteX37743" y="connsiteY37743"/>
              </a:cxn>
              <a:cxn ang="0">
                <a:pos x="connsiteX37744" y="connsiteY37744"/>
              </a:cxn>
              <a:cxn ang="0">
                <a:pos x="connsiteX37745" y="connsiteY37745"/>
              </a:cxn>
              <a:cxn ang="0">
                <a:pos x="connsiteX37746" y="connsiteY37746"/>
              </a:cxn>
              <a:cxn ang="0">
                <a:pos x="connsiteX37747" y="connsiteY37747"/>
              </a:cxn>
              <a:cxn ang="0">
                <a:pos x="connsiteX37748" y="connsiteY37748"/>
              </a:cxn>
              <a:cxn ang="0">
                <a:pos x="connsiteX37749" y="connsiteY37749"/>
              </a:cxn>
              <a:cxn ang="0">
                <a:pos x="connsiteX37750" y="connsiteY37750"/>
              </a:cxn>
              <a:cxn ang="0">
                <a:pos x="connsiteX37751" y="connsiteY37751"/>
              </a:cxn>
              <a:cxn ang="0">
                <a:pos x="connsiteX37752" y="connsiteY37752"/>
              </a:cxn>
              <a:cxn ang="0">
                <a:pos x="connsiteX37753" y="connsiteY37753"/>
              </a:cxn>
              <a:cxn ang="0">
                <a:pos x="connsiteX37754" y="connsiteY37754"/>
              </a:cxn>
              <a:cxn ang="0">
                <a:pos x="connsiteX37755" y="connsiteY37755"/>
              </a:cxn>
              <a:cxn ang="0">
                <a:pos x="connsiteX37756" y="connsiteY37756"/>
              </a:cxn>
              <a:cxn ang="0">
                <a:pos x="connsiteX37757" y="connsiteY37757"/>
              </a:cxn>
              <a:cxn ang="0">
                <a:pos x="connsiteX37758" y="connsiteY37758"/>
              </a:cxn>
              <a:cxn ang="0">
                <a:pos x="connsiteX37759" y="connsiteY37759"/>
              </a:cxn>
              <a:cxn ang="0">
                <a:pos x="connsiteX37760" y="connsiteY37760"/>
              </a:cxn>
              <a:cxn ang="0">
                <a:pos x="connsiteX37761" y="connsiteY37761"/>
              </a:cxn>
              <a:cxn ang="0">
                <a:pos x="connsiteX37762" y="connsiteY37762"/>
              </a:cxn>
              <a:cxn ang="0">
                <a:pos x="connsiteX37763" y="connsiteY37763"/>
              </a:cxn>
              <a:cxn ang="0">
                <a:pos x="connsiteX37764" y="connsiteY37764"/>
              </a:cxn>
              <a:cxn ang="0">
                <a:pos x="connsiteX37765" y="connsiteY37765"/>
              </a:cxn>
              <a:cxn ang="0">
                <a:pos x="connsiteX37766" y="connsiteY37766"/>
              </a:cxn>
              <a:cxn ang="0">
                <a:pos x="connsiteX37767" y="connsiteY37767"/>
              </a:cxn>
              <a:cxn ang="0">
                <a:pos x="connsiteX37768" y="connsiteY37768"/>
              </a:cxn>
              <a:cxn ang="0">
                <a:pos x="connsiteX37769" y="connsiteY37769"/>
              </a:cxn>
              <a:cxn ang="0">
                <a:pos x="connsiteX37770" y="connsiteY37770"/>
              </a:cxn>
              <a:cxn ang="0">
                <a:pos x="connsiteX37771" y="connsiteY37771"/>
              </a:cxn>
              <a:cxn ang="0">
                <a:pos x="connsiteX37772" y="connsiteY37772"/>
              </a:cxn>
              <a:cxn ang="0">
                <a:pos x="connsiteX37773" y="connsiteY37773"/>
              </a:cxn>
              <a:cxn ang="0">
                <a:pos x="connsiteX37774" y="connsiteY37774"/>
              </a:cxn>
              <a:cxn ang="0">
                <a:pos x="connsiteX37775" y="connsiteY37775"/>
              </a:cxn>
              <a:cxn ang="0">
                <a:pos x="connsiteX37776" y="connsiteY37776"/>
              </a:cxn>
              <a:cxn ang="0">
                <a:pos x="connsiteX37777" y="connsiteY37777"/>
              </a:cxn>
              <a:cxn ang="0">
                <a:pos x="connsiteX37778" y="connsiteY37778"/>
              </a:cxn>
              <a:cxn ang="0">
                <a:pos x="connsiteX37779" y="connsiteY37779"/>
              </a:cxn>
              <a:cxn ang="0">
                <a:pos x="connsiteX37780" y="connsiteY37780"/>
              </a:cxn>
              <a:cxn ang="0">
                <a:pos x="connsiteX37781" y="connsiteY37781"/>
              </a:cxn>
              <a:cxn ang="0">
                <a:pos x="connsiteX37782" y="connsiteY37782"/>
              </a:cxn>
              <a:cxn ang="0">
                <a:pos x="connsiteX37783" y="connsiteY37783"/>
              </a:cxn>
              <a:cxn ang="0">
                <a:pos x="connsiteX37784" y="connsiteY37784"/>
              </a:cxn>
              <a:cxn ang="0">
                <a:pos x="connsiteX37785" y="connsiteY37785"/>
              </a:cxn>
              <a:cxn ang="0">
                <a:pos x="connsiteX37786" y="connsiteY37786"/>
              </a:cxn>
              <a:cxn ang="0">
                <a:pos x="connsiteX37787" y="connsiteY37787"/>
              </a:cxn>
              <a:cxn ang="0">
                <a:pos x="connsiteX37788" y="connsiteY37788"/>
              </a:cxn>
              <a:cxn ang="0">
                <a:pos x="connsiteX37789" y="connsiteY37789"/>
              </a:cxn>
              <a:cxn ang="0">
                <a:pos x="connsiteX37790" y="connsiteY37790"/>
              </a:cxn>
              <a:cxn ang="0">
                <a:pos x="connsiteX37791" y="connsiteY37791"/>
              </a:cxn>
              <a:cxn ang="0">
                <a:pos x="connsiteX37792" y="connsiteY37792"/>
              </a:cxn>
              <a:cxn ang="0">
                <a:pos x="connsiteX37793" y="connsiteY37793"/>
              </a:cxn>
              <a:cxn ang="0">
                <a:pos x="connsiteX37794" y="connsiteY37794"/>
              </a:cxn>
              <a:cxn ang="0">
                <a:pos x="connsiteX37795" y="connsiteY37795"/>
              </a:cxn>
              <a:cxn ang="0">
                <a:pos x="connsiteX37796" y="connsiteY37796"/>
              </a:cxn>
              <a:cxn ang="0">
                <a:pos x="connsiteX37797" y="connsiteY37797"/>
              </a:cxn>
              <a:cxn ang="0">
                <a:pos x="connsiteX37798" y="connsiteY37798"/>
              </a:cxn>
              <a:cxn ang="0">
                <a:pos x="connsiteX37799" y="connsiteY37799"/>
              </a:cxn>
              <a:cxn ang="0">
                <a:pos x="connsiteX37800" y="connsiteY37800"/>
              </a:cxn>
              <a:cxn ang="0">
                <a:pos x="connsiteX37801" y="connsiteY37801"/>
              </a:cxn>
              <a:cxn ang="0">
                <a:pos x="connsiteX37802" y="connsiteY37802"/>
              </a:cxn>
              <a:cxn ang="0">
                <a:pos x="connsiteX37803" y="connsiteY37803"/>
              </a:cxn>
              <a:cxn ang="0">
                <a:pos x="connsiteX37804" y="connsiteY37804"/>
              </a:cxn>
              <a:cxn ang="0">
                <a:pos x="connsiteX37805" y="connsiteY37805"/>
              </a:cxn>
              <a:cxn ang="0">
                <a:pos x="connsiteX37806" y="connsiteY37806"/>
              </a:cxn>
              <a:cxn ang="0">
                <a:pos x="connsiteX37807" y="connsiteY37807"/>
              </a:cxn>
              <a:cxn ang="0">
                <a:pos x="connsiteX37808" y="connsiteY37808"/>
              </a:cxn>
              <a:cxn ang="0">
                <a:pos x="connsiteX37809" y="connsiteY37809"/>
              </a:cxn>
              <a:cxn ang="0">
                <a:pos x="connsiteX37810" y="connsiteY37810"/>
              </a:cxn>
              <a:cxn ang="0">
                <a:pos x="connsiteX37811" y="connsiteY37811"/>
              </a:cxn>
              <a:cxn ang="0">
                <a:pos x="connsiteX37812" y="connsiteY37812"/>
              </a:cxn>
              <a:cxn ang="0">
                <a:pos x="connsiteX37813" y="connsiteY37813"/>
              </a:cxn>
              <a:cxn ang="0">
                <a:pos x="connsiteX37814" y="connsiteY37814"/>
              </a:cxn>
              <a:cxn ang="0">
                <a:pos x="connsiteX37815" y="connsiteY37815"/>
              </a:cxn>
              <a:cxn ang="0">
                <a:pos x="connsiteX37816" y="connsiteY37816"/>
              </a:cxn>
              <a:cxn ang="0">
                <a:pos x="connsiteX37817" y="connsiteY37817"/>
              </a:cxn>
              <a:cxn ang="0">
                <a:pos x="connsiteX37818" y="connsiteY37818"/>
              </a:cxn>
              <a:cxn ang="0">
                <a:pos x="connsiteX37819" y="connsiteY37819"/>
              </a:cxn>
              <a:cxn ang="0">
                <a:pos x="connsiteX37820" y="connsiteY37820"/>
              </a:cxn>
              <a:cxn ang="0">
                <a:pos x="connsiteX37821" y="connsiteY37821"/>
              </a:cxn>
              <a:cxn ang="0">
                <a:pos x="connsiteX37822" y="connsiteY37822"/>
              </a:cxn>
              <a:cxn ang="0">
                <a:pos x="connsiteX37823" y="connsiteY37823"/>
              </a:cxn>
              <a:cxn ang="0">
                <a:pos x="connsiteX37824" y="connsiteY37824"/>
              </a:cxn>
              <a:cxn ang="0">
                <a:pos x="connsiteX37825" y="connsiteY37825"/>
              </a:cxn>
              <a:cxn ang="0">
                <a:pos x="connsiteX37826" y="connsiteY37826"/>
              </a:cxn>
              <a:cxn ang="0">
                <a:pos x="connsiteX37827" y="connsiteY37827"/>
              </a:cxn>
              <a:cxn ang="0">
                <a:pos x="connsiteX37828" y="connsiteY37828"/>
              </a:cxn>
              <a:cxn ang="0">
                <a:pos x="connsiteX37829" y="connsiteY37829"/>
              </a:cxn>
              <a:cxn ang="0">
                <a:pos x="connsiteX37830" y="connsiteY37830"/>
              </a:cxn>
              <a:cxn ang="0">
                <a:pos x="connsiteX37831" y="connsiteY37831"/>
              </a:cxn>
              <a:cxn ang="0">
                <a:pos x="connsiteX37832" y="connsiteY37832"/>
              </a:cxn>
              <a:cxn ang="0">
                <a:pos x="connsiteX37833" y="connsiteY37833"/>
              </a:cxn>
              <a:cxn ang="0">
                <a:pos x="connsiteX37834" y="connsiteY37834"/>
              </a:cxn>
              <a:cxn ang="0">
                <a:pos x="connsiteX37835" y="connsiteY37835"/>
              </a:cxn>
              <a:cxn ang="0">
                <a:pos x="connsiteX37836" y="connsiteY37836"/>
              </a:cxn>
              <a:cxn ang="0">
                <a:pos x="connsiteX37837" y="connsiteY37837"/>
              </a:cxn>
              <a:cxn ang="0">
                <a:pos x="connsiteX37838" y="connsiteY37838"/>
              </a:cxn>
              <a:cxn ang="0">
                <a:pos x="connsiteX37839" y="connsiteY37839"/>
              </a:cxn>
              <a:cxn ang="0">
                <a:pos x="connsiteX37840" y="connsiteY37840"/>
              </a:cxn>
              <a:cxn ang="0">
                <a:pos x="connsiteX37841" y="connsiteY37841"/>
              </a:cxn>
              <a:cxn ang="0">
                <a:pos x="connsiteX37842" y="connsiteY37842"/>
              </a:cxn>
              <a:cxn ang="0">
                <a:pos x="connsiteX37843" y="connsiteY37843"/>
              </a:cxn>
              <a:cxn ang="0">
                <a:pos x="connsiteX37844" y="connsiteY37844"/>
              </a:cxn>
              <a:cxn ang="0">
                <a:pos x="connsiteX37845" y="connsiteY37845"/>
              </a:cxn>
              <a:cxn ang="0">
                <a:pos x="connsiteX37846" y="connsiteY37846"/>
              </a:cxn>
              <a:cxn ang="0">
                <a:pos x="connsiteX37847" y="connsiteY37847"/>
              </a:cxn>
              <a:cxn ang="0">
                <a:pos x="connsiteX37848" y="connsiteY37848"/>
              </a:cxn>
              <a:cxn ang="0">
                <a:pos x="connsiteX37849" y="connsiteY37849"/>
              </a:cxn>
              <a:cxn ang="0">
                <a:pos x="connsiteX37850" y="connsiteY37850"/>
              </a:cxn>
              <a:cxn ang="0">
                <a:pos x="connsiteX37851" y="connsiteY37851"/>
              </a:cxn>
              <a:cxn ang="0">
                <a:pos x="connsiteX37852" y="connsiteY37852"/>
              </a:cxn>
              <a:cxn ang="0">
                <a:pos x="connsiteX37853" y="connsiteY37853"/>
              </a:cxn>
              <a:cxn ang="0">
                <a:pos x="connsiteX37854" y="connsiteY37854"/>
              </a:cxn>
              <a:cxn ang="0">
                <a:pos x="connsiteX37855" y="connsiteY37855"/>
              </a:cxn>
              <a:cxn ang="0">
                <a:pos x="connsiteX37856" y="connsiteY37856"/>
              </a:cxn>
              <a:cxn ang="0">
                <a:pos x="connsiteX37857" y="connsiteY37857"/>
              </a:cxn>
              <a:cxn ang="0">
                <a:pos x="connsiteX37858" y="connsiteY37858"/>
              </a:cxn>
              <a:cxn ang="0">
                <a:pos x="connsiteX37859" y="connsiteY37859"/>
              </a:cxn>
              <a:cxn ang="0">
                <a:pos x="connsiteX37860" y="connsiteY37860"/>
              </a:cxn>
              <a:cxn ang="0">
                <a:pos x="connsiteX37861" y="connsiteY37861"/>
              </a:cxn>
              <a:cxn ang="0">
                <a:pos x="connsiteX37862" y="connsiteY37862"/>
              </a:cxn>
              <a:cxn ang="0">
                <a:pos x="connsiteX37863" y="connsiteY37863"/>
              </a:cxn>
              <a:cxn ang="0">
                <a:pos x="connsiteX37864" y="connsiteY37864"/>
              </a:cxn>
              <a:cxn ang="0">
                <a:pos x="connsiteX37865" y="connsiteY37865"/>
              </a:cxn>
              <a:cxn ang="0">
                <a:pos x="connsiteX37866" y="connsiteY37866"/>
              </a:cxn>
              <a:cxn ang="0">
                <a:pos x="connsiteX37867" y="connsiteY37867"/>
              </a:cxn>
              <a:cxn ang="0">
                <a:pos x="connsiteX37868" y="connsiteY37868"/>
              </a:cxn>
              <a:cxn ang="0">
                <a:pos x="connsiteX37869" y="connsiteY37869"/>
              </a:cxn>
              <a:cxn ang="0">
                <a:pos x="connsiteX37870" y="connsiteY37870"/>
              </a:cxn>
              <a:cxn ang="0">
                <a:pos x="connsiteX37871" y="connsiteY37871"/>
              </a:cxn>
              <a:cxn ang="0">
                <a:pos x="connsiteX37872" y="connsiteY37872"/>
              </a:cxn>
              <a:cxn ang="0">
                <a:pos x="connsiteX37873" y="connsiteY37873"/>
              </a:cxn>
              <a:cxn ang="0">
                <a:pos x="connsiteX37874" y="connsiteY37874"/>
              </a:cxn>
              <a:cxn ang="0">
                <a:pos x="connsiteX37875" y="connsiteY37875"/>
              </a:cxn>
              <a:cxn ang="0">
                <a:pos x="connsiteX37876" y="connsiteY37876"/>
              </a:cxn>
              <a:cxn ang="0">
                <a:pos x="connsiteX37877" y="connsiteY37877"/>
              </a:cxn>
              <a:cxn ang="0">
                <a:pos x="connsiteX37878" y="connsiteY37878"/>
              </a:cxn>
              <a:cxn ang="0">
                <a:pos x="connsiteX37879" y="connsiteY37879"/>
              </a:cxn>
              <a:cxn ang="0">
                <a:pos x="connsiteX37880" y="connsiteY37880"/>
              </a:cxn>
              <a:cxn ang="0">
                <a:pos x="connsiteX37881" y="connsiteY37881"/>
              </a:cxn>
              <a:cxn ang="0">
                <a:pos x="connsiteX37882" y="connsiteY37882"/>
              </a:cxn>
              <a:cxn ang="0">
                <a:pos x="connsiteX37883" y="connsiteY37883"/>
              </a:cxn>
              <a:cxn ang="0">
                <a:pos x="connsiteX37884" y="connsiteY37884"/>
              </a:cxn>
              <a:cxn ang="0">
                <a:pos x="connsiteX37885" y="connsiteY37885"/>
              </a:cxn>
              <a:cxn ang="0">
                <a:pos x="connsiteX37886" y="connsiteY37886"/>
              </a:cxn>
              <a:cxn ang="0">
                <a:pos x="connsiteX37887" y="connsiteY37887"/>
              </a:cxn>
              <a:cxn ang="0">
                <a:pos x="connsiteX37888" y="connsiteY37888"/>
              </a:cxn>
              <a:cxn ang="0">
                <a:pos x="connsiteX37889" y="connsiteY37889"/>
              </a:cxn>
              <a:cxn ang="0">
                <a:pos x="connsiteX37890" y="connsiteY37890"/>
              </a:cxn>
              <a:cxn ang="0">
                <a:pos x="connsiteX37891" y="connsiteY37891"/>
              </a:cxn>
              <a:cxn ang="0">
                <a:pos x="connsiteX37892" y="connsiteY37892"/>
              </a:cxn>
              <a:cxn ang="0">
                <a:pos x="connsiteX37893" y="connsiteY37893"/>
              </a:cxn>
              <a:cxn ang="0">
                <a:pos x="connsiteX37894" y="connsiteY37894"/>
              </a:cxn>
              <a:cxn ang="0">
                <a:pos x="connsiteX37895" y="connsiteY37895"/>
              </a:cxn>
              <a:cxn ang="0">
                <a:pos x="connsiteX37896" y="connsiteY37896"/>
              </a:cxn>
              <a:cxn ang="0">
                <a:pos x="connsiteX37897" y="connsiteY37897"/>
              </a:cxn>
              <a:cxn ang="0">
                <a:pos x="connsiteX37898" y="connsiteY37898"/>
              </a:cxn>
              <a:cxn ang="0">
                <a:pos x="connsiteX37899" y="connsiteY37899"/>
              </a:cxn>
              <a:cxn ang="0">
                <a:pos x="connsiteX37900" y="connsiteY37900"/>
              </a:cxn>
              <a:cxn ang="0">
                <a:pos x="connsiteX37901" y="connsiteY37901"/>
              </a:cxn>
              <a:cxn ang="0">
                <a:pos x="connsiteX37902" y="connsiteY37902"/>
              </a:cxn>
              <a:cxn ang="0">
                <a:pos x="connsiteX37903" y="connsiteY37903"/>
              </a:cxn>
              <a:cxn ang="0">
                <a:pos x="connsiteX37904" y="connsiteY37904"/>
              </a:cxn>
              <a:cxn ang="0">
                <a:pos x="connsiteX37905" y="connsiteY37905"/>
              </a:cxn>
              <a:cxn ang="0">
                <a:pos x="connsiteX37906" y="connsiteY37906"/>
              </a:cxn>
              <a:cxn ang="0">
                <a:pos x="connsiteX37907" y="connsiteY37907"/>
              </a:cxn>
              <a:cxn ang="0">
                <a:pos x="connsiteX37908" y="connsiteY37908"/>
              </a:cxn>
              <a:cxn ang="0">
                <a:pos x="connsiteX37909" y="connsiteY37909"/>
              </a:cxn>
              <a:cxn ang="0">
                <a:pos x="connsiteX37910" y="connsiteY37910"/>
              </a:cxn>
              <a:cxn ang="0">
                <a:pos x="connsiteX37911" y="connsiteY37911"/>
              </a:cxn>
              <a:cxn ang="0">
                <a:pos x="connsiteX37912" y="connsiteY37912"/>
              </a:cxn>
              <a:cxn ang="0">
                <a:pos x="connsiteX37913" y="connsiteY37913"/>
              </a:cxn>
              <a:cxn ang="0">
                <a:pos x="connsiteX37914" y="connsiteY37914"/>
              </a:cxn>
              <a:cxn ang="0">
                <a:pos x="connsiteX37915" y="connsiteY37915"/>
              </a:cxn>
              <a:cxn ang="0">
                <a:pos x="connsiteX37916" y="connsiteY37916"/>
              </a:cxn>
              <a:cxn ang="0">
                <a:pos x="connsiteX37917" y="connsiteY37917"/>
              </a:cxn>
              <a:cxn ang="0">
                <a:pos x="connsiteX37918" y="connsiteY37918"/>
              </a:cxn>
              <a:cxn ang="0">
                <a:pos x="connsiteX37919" y="connsiteY37919"/>
              </a:cxn>
              <a:cxn ang="0">
                <a:pos x="connsiteX37920" y="connsiteY37920"/>
              </a:cxn>
              <a:cxn ang="0">
                <a:pos x="connsiteX37921" y="connsiteY37921"/>
              </a:cxn>
              <a:cxn ang="0">
                <a:pos x="connsiteX37922" y="connsiteY37922"/>
              </a:cxn>
              <a:cxn ang="0">
                <a:pos x="connsiteX37923" y="connsiteY37923"/>
              </a:cxn>
              <a:cxn ang="0">
                <a:pos x="connsiteX37924" y="connsiteY37924"/>
              </a:cxn>
              <a:cxn ang="0">
                <a:pos x="connsiteX37925" y="connsiteY37925"/>
              </a:cxn>
              <a:cxn ang="0">
                <a:pos x="connsiteX37926" y="connsiteY37926"/>
              </a:cxn>
              <a:cxn ang="0">
                <a:pos x="connsiteX37927" y="connsiteY37927"/>
              </a:cxn>
              <a:cxn ang="0">
                <a:pos x="connsiteX37928" y="connsiteY37928"/>
              </a:cxn>
              <a:cxn ang="0">
                <a:pos x="connsiteX37929" y="connsiteY37929"/>
              </a:cxn>
              <a:cxn ang="0">
                <a:pos x="connsiteX37930" y="connsiteY37930"/>
              </a:cxn>
              <a:cxn ang="0">
                <a:pos x="connsiteX37931" y="connsiteY37931"/>
              </a:cxn>
              <a:cxn ang="0">
                <a:pos x="connsiteX37932" y="connsiteY37932"/>
              </a:cxn>
              <a:cxn ang="0">
                <a:pos x="connsiteX37933" y="connsiteY37933"/>
              </a:cxn>
              <a:cxn ang="0">
                <a:pos x="connsiteX37934" y="connsiteY37934"/>
              </a:cxn>
              <a:cxn ang="0">
                <a:pos x="connsiteX37935" y="connsiteY37935"/>
              </a:cxn>
              <a:cxn ang="0">
                <a:pos x="connsiteX37936" y="connsiteY37936"/>
              </a:cxn>
              <a:cxn ang="0">
                <a:pos x="connsiteX37937" y="connsiteY37937"/>
              </a:cxn>
              <a:cxn ang="0">
                <a:pos x="connsiteX37938" y="connsiteY37938"/>
              </a:cxn>
              <a:cxn ang="0">
                <a:pos x="connsiteX37939" y="connsiteY37939"/>
              </a:cxn>
              <a:cxn ang="0">
                <a:pos x="connsiteX37940" y="connsiteY37940"/>
              </a:cxn>
              <a:cxn ang="0">
                <a:pos x="connsiteX37941" y="connsiteY37941"/>
              </a:cxn>
              <a:cxn ang="0">
                <a:pos x="connsiteX37942" y="connsiteY37942"/>
              </a:cxn>
              <a:cxn ang="0">
                <a:pos x="connsiteX37943" y="connsiteY37943"/>
              </a:cxn>
              <a:cxn ang="0">
                <a:pos x="connsiteX37944" y="connsiteY37944"/>
              </a:cxn>
              <a:cxn ang="0">
                <a:pos x="connsiteX37945" y="connsiteY37945"/>
              </a:cxn>
              <a:cxn ang="0">
                <a:pos x="connsiteX37946" y="connsiteY37946"/>
              </a:cxn>
              <a:cxn ang="0">
                <a:pos x="connsiteX37947" y="connsiteY37947"/>
              </a:cxn>
              <a:cxn ang="0">
                <a:pos x="connsiteX37948" y="connsiteY37948"/>
              </a:cxn>
              <a:cxn ang="0">
                <a:pos x="connsiteX37949" y="connsiteY37949"/>
              </a:cxn>
              <a:cxn ang="0">
                <a:pos x="connsiteX37950" y="connsiteY37950"/>
              </a:cxn>
              <a:cxn ang="0">
                <a:pos x="connsiteX37951" y="connsiteY37951"/>
              </a:cxn>
              <a:cxn ang="0">
                <a:pos x="connsiteX37952" y="connsiteY37952"/>
              </a:cxn>
              <a:cxn ang="0">
                <a:pos x="connsiteX37953" y="connsiteY37953"/>
              </a:cxn>
              <a:cxn ang="0">
                <a:pos x="connsiteX37954" y="connsiteY37954"/>
              </a:cxn>
              <a:cxn ang="0">
                <a:pos x="connsiteX37955" y="connsiteY37955"/>
              </a:cxn>
              <a:cxn ang="0">
                <a:pos x="connsiteX37956" y="connsiteY37956"/>
              </a:cxn>
              <a:cxn ang="0">
                <a:pos x="connsiteX37957" y="connsiteY37957"/>
              </a:cxn>
              <a:cxn ang="0">
                <a:pos x="connsiteX37958" y="connsiteY37958"/>
              </a:cxn>
              <a:cxn ang="0">
                <a:pos x="connsiteX37959" y="connsiteY37959"/>
              </a:cxn>
              <a:cxn ang="0">
                <a:pos x="connsiteX37960" y="connsiteY37960"/>
              </a:cxn>
              <a:cxn ang="0">
                <a:pos x="connsiteX37961" y="connsiteY37961"/>
              </a:cxn>
              <a:cxn ang="0">
                <a:pos x="connsiteX37962" y="connsiteY37962"/>
              </a:cxn>
              <a:cxn ang="0">
                <a:pos x="connsiteX37963" y="connsiteY37963"/>
              </a:cxn>
              <a:cxn ang="0">
                <a:pos x="connsiteX37964" y="connsiteY37964"/>
              </a:cxn>
              <a:cxn ang="0">
                <a:pos x="connsiteX37965" y="connsiteY37965"/>
              </a:cxn>
              <a:cxn ang="0">
                <a:pos x="connsiteX37966" y="connsiteY37966"/>
              </a:cxn>
              <a:cxn ang="0">
                <a:pos x="connsiteX37967" y="connsiteY37967"/>
              </a:cxn>
              <a:cxn ang="0">
                <a:pos x="connsiteX37968" y="connsiteY37968"/>
              </a:cxn>
              <a:cxn ang="0">
                <a:pos x="connsiteX37969" y="connsiteY37969"/>
              </a:cxn>
              <a:cxn ang="0">
                <a:pos x="connsiteX37970" y="connsiteY37970"/>
              </a:cxn>
              <a:cxn ang="0">
                <a:pos x="connsiteX37971" y="connsiteY37971"/>
              </a:cxn>
              <a:cxn ang="0">
                <a:pos x="connsiteX37972" y="connsiteY37972"/>
              </a:cxn>
              <a:cxn ang="0">
                <a:pos x="connsiteX37973" y="connsiteY37973"/>
              </a:cxn>
              <a:cxn ang="0">
                <a:pos x="connsiteX37974" y="connsiteY37974"/>
              </a:cxn>
              <a:cxn ang="0">
                <a:pos x="connsiteX37975" y="connsiteY37975"/>
              </a:cxn>
              <a:cxn ang="0">
                <a:pos x="connsiteX37976" y="connsiteY37976"/>
              </a:cxn>
              <a:cxn ang="0">
                <a:pos x="connsiteX37977" y="connsiteY37977"/>
              </a:cxn>
              <a:cxn ang="0">
                <a:pos x="connsiteX37978" y="connsiteY37978"/>
              </a:cxn>
              <a:cxn ang="0">
                <a:pos x="connsiteX37979" y="connsiteY37979"/>
              </a:cxn>
              <a:cxn ang="0">
                <a:pos x="connsiteX37980" y="connsiteY37980"/>
              </a:cxn>
              <a:cxn ang="0">
                <a:pos x="connsiteX37981" y="connsiteY37981"/>
              </a:cxn>
              <a:cxn ang="0">
                <a:pos x="connsiteX37982" y="connsiteY37982"/>
              </a:cxn>
              <a:cxn ang="0">
                <a:pos x="connsiteX37983" y="connsiteY37983"/>
              </a:cxn>
              <a:cxn ang="0">
                <a:pos x="connsiteX37984" y="connsiteY37984"/>
              </a:cxn>
              <a:cxn ang="0">
                <a:pos x="connsiteX37985" y="connsiteY37985"/>
              </a:cxn>
              <a:cxn ang="0">
                <a:pos x="connsiteX37986" y="connsiteY37986"/>
              </a:cxn>
              <a:cxn ang="0">
                <a:pos x="connsiteX37987" y="connsiteY37987"/>
              </a:cxn>
              <a:cxn ang="0">
                <a:pos x="connsiteX37988" y="connsiteY37988"/>
              </a:cxn>
              <a:cxn ang="0">
                <a:pos x="connsiteX37989" y="connsiteY37989"/>
              </a:cxn>
              <a:cxn ang="0">
                <a:pos x="connsiteX37990" y="connsiteY37990"/>
              </a:cxn>
              <a:cxn ang="0">
                <a:pos x="connsiteX37991" y="connsiteY37991"/>
              </a:cxn>
              <a:cxn ang="0">
                <a:pos x="connsiteX37992" y="connsiteY37992"/>
              </a:cxn>
              <a:cxn ang="0">
                <a:pos x="connsiteX37993" y="connsiteY37993"/>
              </a:cxn>
              <a:cxn ang="0">
                <a:pos x="connsiteX37994" y="connsiteY37994"/>
              </a:cxn>
              <a:cxn ang="0">
                <a:pos x="connsiteX37995" y="connsiteY37995"/>
              </a:cxn>
              <a:cxn ang="0">
                <a:pos x="connsiteX37996" y="connsiteY37996"/>
              </a:cxn>
              <a:cxn ang="0">
                <a:pos x="connsiteX37997" y="connsiteY37997"/>
              </a:cxn>
              <a:cxn ang="0">
                <a:pos x="connsiteX37998" y="connsiteY37998"/>
              </a:cxn>
              <a:cxn ang="0">
                <a:pos x="connsiteX37999" y="connsiteY37999"/>
              </a:cxn>
              <a:cxn ang="0">
                <a:pos x="connsiteX38000" y="connsiteY38000"/>
              </a:cxn>
              <a:cxn ang="0">
                <a:pos x="connsiteX38001" y="connsiteY38001"/>
              </a:cxn>
              <a:cxn ang="0">
                <a:pos x="connsiteX38002" y="connsiteY38002"/>
              </a:cxn>
              <a:cxn ang="0">
                <a:pos x="connsiteX38003" y="connsiteY38003"/>
              </a:cxn>
              <a:cxn ang="0">
                <a:pos x="connsiteX38004" y="connsiteY38004"/>
              </a:cxn>
              <a:cxn ang="0">
                <a:pos x="connsiteX38005" y="connsiteY38005"/>
              </a:cxn>
              <a:cxn ang="0">
                <a:pos x="connsiteX38006" y="connsiteY38006"/>
              </a:cxn>
              <a:cxn ang="0">
                <a:pos x="connsiteX38007" y="connsiteY38007"/>
              </a:cxn>
              <a:cxn ang="0">
                <a:pos x="connsiteX38008" y="connsiteY38008"/>
              </a:cxn>
              <a:cxn ang="0">
                <a:pos x="connsiteX38009" y="connsiteY38009"/>
              </a:cxn>
              <a:cxn ang="0">
                <a:pos x="connsiteX38010" y="connsiteY38010"/>
              </a:cxn>
              <a:cxn ang="0">
                <a:pos x="connsiteX38011" y="connsiteY38011"/>
              </a:cxn>
              <a:cxn ang="0">
                <a:pos x="connsiteX38012" y="connsiteY38012"/>
              </a:cxn>
              <a:cxn ang="0">
                <a:pos x="connsiteX38013" y="connsiteY38013"/>
              </a:cxn>
              <a:cxn ang="0">
                <a:pos x="connsiteX38014" y="connsiteY38014"/>
              </a:cxn>
              <a:cxn ang="0">
                <a:pos x="connsiteX38015" y="connsiteY38015"/>
              </a:cxn>
              <a:cxn ang="0">
                <a:pos x="connsiteX38016" y="connsiteY38016"/>
              </a:cxn>
              <a:cxn ang="0">
                <a:pos x="connsiteX38017" y="connsiteY38017"/>
              </a:cxn>
              <a:cxn ang="0">
                <a:pos x="connsiteX38018" y="connsiteY38018"/>
              </a:cxn>
              <a:cxn ang="0">
                <a:pos x="connsiteX38019" y="connsiteY38019"/>
              </a:cxn>
              <a:cxn ang="0">
                <a:pos x="connsiteX38020" y="connsiteY38020"/>
              </a:cxn>
              <a:cxn ang="0">
                <a:pos x="connsiteX38021" y="connsiteY38021"/>
              </a:cxn>
              <a:cxn ang="0">
                <a:pos x="connsiteX38022" y="connsiteY38022"/>
              </a:cxn>
              <a:cxn ang="0">
                <a:pos x="connsiteX38023" y="connsiteY38023"/>
              </a:cxn>
              <a:cxn ang="0">
                <a:pos x="connsiteX38024" y="connsiteY38024"/>
              </a:cxn>
              <a:cxn ang="0">
                <a:pos x="connsiteX38025" y="connsiteY38025"/>
              </a:cxn>
              <a:cxn ang="0">
                <a:pos x="connsiteX38026" y="connsiteY38026"/>
              </a:cxn>
              <a:cxn ang="0">
                <a:pos x="connsiteX38027" y="connsiteY38027"/>
              </a:cxn>
              <a:cxn ang="0">
                <a:pos x="connsiteX38028" y="connsiteY38028"/>
              </a:cxn>
              <a:cxn ang="0">
                <a:pos x="connsiteX38029" y="connsiteY38029"/>
              </a:cxn>
              <a:cxn ang="0">
                <a:pos x="connsiteX38030" y="connsiteY38030"/>
              </a:cxn>
              <a:cxn ang="0">
                <a:pos x="connsiteX38031" y="connsiteY38031"/>
              </a:cxn>
              <a:cxn ang="0">
                <a:pos x="connsiteX38032" y="connsiteY38032"/>
              </a:cxn>
              <a:cxn ang="0">
                <a:pos x="connsiteX38033" y="connsiteY38033"/>
              </a:cxn>
              <a:cxn ang="0">
                <a:pos x="connsiteX38034" y="connsiteY38034"/>
              </a:cxn>
              <a:cxn ang="0">
                <a:pos x="connsiteX38035" y="connsiteY38035"/>
              </a:cxn>
              <a:cxn ang="0">
                <a:pos x="connsiteX38036" y="connsiteY38036"/>
              </a:cxn>
              <a:cxn ang="0">
                <a:pos x="connsiteX38037" y="connsiteY38037"/>
              </a:cxn>
              <a:cxn ang="0">
                <a:pos x="connsiteX38038" y="connsiteY38038"/>
              </a:cxn>
              <a:cxn ang="0">
                <a:pos x="connsiteX38039" y="connsiteY38039"/>
              </a:cxn>
              <a:cxn ang="0">
                <a:pos x="connsiteX38040" y="connsiteY38040"/>
              </a:cxn>
              <a:cxn ang="0">
                <a:pos x="connsiteX38041" y="connsiteY38041"/>
              </a:cxn>
              <a:cxn ang="0">
                <a:pos x="connsiteX38042" y="connsiteY38042"/>
              </a:cxn>
              <a:cxn ang="0">
                <a:pos x="connsiteX38043" y="connsiteY38043"/>
              </a:cxn>
              <a:cxn ang="0">
                <a:pos x="connsiteX38044" y="connsiteY38044"/>
              </a:cxn>
              <a:cxn ang="0">
                <a:pos x="connsiteX38045" y="connsiteY38045"/>
              </a:cxn>
              <a:cxn ang="0">
                <a:pos x="connsiteX38046" y="connsiteY38046"/>
              </a:cxn>
              <a:cxn ang="0">
                <a:pos x="connsiteX38047" y="connsiteY38047"/>
              </a:cxn>
              <a:cxn ang="0">
                <a:pos x="connsiteX38048" y="connsiteY38048"/>
              </a:cxn>
              <a:cxn ang="0">
                <a:pos x="connsiteX38049" y="connsiteY38049"/>
              </a:cxn>
              <a:cxn ang="0">
                <a:pos x="connsiteX38050" y="connsiteY38050"/>
              </a:cxn>
              <a:cxn ang="0">
                <a:pos x="connsiteX38051" y="connsiteY38051"/>
              </a:cxn>
              <a:cxn ang="0">
                <a:pos x="connsiteX38052" y="connsiteY38052"/>
              </a:cxn>
              <a:cxn ang="0">
                <a:pos x="connsiteX38053" y="connsiteY38053"/>
              </a:cxn>
              <a:cxn ang="0">
                <a:pos x="connsiteX38054" y="connsiteY38054"/>
              </a:cxn>
              <a:cxn ang="0">
                <a:pos x="connsiteX38055" y="connsiteY38055"/>
              </a:cxn>
              <a:cxn ang="0">
                <a:pos x="connsiteX38056" y="connsiteY38056"/>
              </a:cxn>
              <a:cxn ang="0">
                <a:pos x="connsiteX38057" y="connsiteY38057"/>
              </a:cxn>
              <a:cxn ang="0">
                <a:pos x="connsiteX38058" y="connsiteY38058"/>
              </a:cxn>
              <a:cxn ang="0">
                <a:pos x="connsiteX38059" y="connsiteY38059"/>
              </a:cxn>
              <a:cxn ang="0">
                <a:pos x="connsiteX38060" y="connsiteY38060"/>
              </a:cxn>
              <a:cxn ang="0">
                <a:pos x="connsiteX38061" y="connsiteY38061"/>
              </a:cxn>
              <a:cxn ang="0">
                <a:pos x="connsiteX38062" y="connsiteY38062"/>
              </a:cxn>
              <a:cxn ang="0">
                <a:pos x="connsiteX38063" y="connsiteY38063"/>
              </a:cxn>
              <a:cxn ang="0">
                <a:pos x="connsiteX38064" y="connsiteY38064"/>
              </a:cxn>
              <a:cxn ang="0">
                <a:pos x="connsiteX38065" y="connsiteY38065"/>
              </a:cxn>
              <a:cxn ang="0">
                <a:pos x="connsiteX38066" y="connsiteY38066"/>
              </a:cxn>
              <a:cxn ang="0">
                <a:pos x="connsiteX38067" y="connsiteY38067"/>
              </a:cxn>
              <a:cxn ang="0">
                <a:pos x="connsiteX38068" y="connsiteY38068"/>
              </a:cxn>
              <a:cxn ang="0">
                <a:pos x="connsiteX38069" y="connsiteY38069"/>
              </a:cxn>
              <a:cxn ang="0">
                <a:pos x="connsiteX38070" y="connsiteY38070"/>
              </a:cxn>
              <a:cxn ang="0">
                <a:pos x="connsiteX38071" y="connsiteY38071"/>
              </a:cxn>
              <a:cxn ang="0">
                <a:pos x="connsiteX38072" y="connsiteY38072"/>
              </a:cxn>
              <a:cxn ang="0">
                <a:pos x="connsiteX38073" y="connsiteY38073"/>
              </a:cxn>
              <a:cxn ang="0">
                <a:pos x="connsiteX38074" y="connsiteY38074"/>
              </a:cxn>
              <a:cxn ang="0">
                <a:pos x="connsiteX38075" y="connsiteY38075"/>
              </a:cxn>
              <a:cxn ang="0">
                <a:pos x="connsiteX38076" y="connsiteY38076"/>
              </a:cxn>
              <a:cxn ang="0">
                <a:pos x="connsiteX38077" y="connsiteY38077"/>
              </a:cxn>
              <a:cxn ang="0">
                <a:pos x="connsiteX38078" y="connsiteY38078"/>
              </a:cxn>
              <a:cxn ang="0">
                <a:pos x="connsiteX38079" y="connsiteY38079"/>
              </a:cxn>
              <a:cxn ang="0">
                <a:pos x="connsiteX38080" y="connsiteY38080"/>
              </a:cxn>
              <a:cxn ang="0">
                <a:pos x="connsiteX38081" y="connsiteY38081"/>
              </a:cxn>
              <a:cxn ang="0">
                <a:pos x="connsiteX38082" y="connsiteY38082"/>
              </a:cxn>
              <a:cxn ang="0">
                <a:pos x="connsiteX38083" y="connsiteY38083"/>
              </a:cxn>
              <a:cxn ang="0">
                <a:pos x="connsiteX38084" y="connsiteY38084"/>
              </a:cxn>
              <a:cxn ang="0">
                <a:pos x="connsiteX38085" y="connsiteY38085"/>
              </a:cxn>
              <a:cxn ang="0">
                <a:pos x="connsiteX38086" y="connsiteY38086"/>
              </a:cxn>
              <a:cxn ang="0">
                <a:pos x="connsiteX38087" y="connsiteY38087"/>
              </a:cxn>
              <a:cxn ang="0">
                <a:pos x="connsiteX38088" y="connsiteY38088"/>
              </a:cxn>
              <a:cxn ang="0">
                <a:pos x="connsiteX38089" y="connsiteY38089"/>
              </a:cxn>
              <a:cxn ang="0">
                <a:pos x="connsiteX38090" y="connsiteY38090"/>
              </a:cxn>
              <a:cxn ang="0">
                <a:pos x="connsiteX38091" y="connsiteY38091"/>
              </a:cxn>
              <a:cxn ang="0">
                <a:pos x="connsiteX38092" y="connsiteY38092"/>
              </a:cxn>
              <a:cxn ang="0">
                <a:pos x="connsiteX38093" y="connsiteY38093"/>
              </a:cxn>
              <a:cxn ang="0">
                <a:pos x="connsiteX38094" y="connsiteY38094"/>
              </a:cxn>
              <a:cxn ang="0">
                <a:pos x="connsiteX38095" y="connsiteY38095"/>
              </a:cxn>
              <a:cxn ang="0">
                <a:pos x="connsiteX38096" y="connsiteY38096"/>
              </a:cxn>
              <a:cxn ang="0">
                <a:pos x="connsiteX38097" y="connsiteY38097"/>
              </a:cxn>
              <a:cxn ang="0">
                <a:pos x="connsiteX38098" y="connsiteY38098"/>
              </a:cxn>
              <a:cxn ang="0">
                <a:pos x="connsiteX38099" y="connsiteY38099"/>
              </a:cxn>
              <a:cxn ang="0">
                <a:pos x="connsiteX38100" y="connsiteY38100"/>
              </a:cxn>
              <a:cxn ang="0">
                <a:pos x="connsiteX38101" y="connsiteY38101"/>
              </a:cxn>
              <a:cxn ang="0">
                <a:pos x="connsiteX38102" y="connsiteY38102"/>
              </a:cxn>
              <a:cxn ang="0">
                <a:pos x="connsiteX38103" y="connsiteY38103"/>
              </a:cxn>
              <a:cxn ang="0">
                <a:pos x="connsiteX38104" y="connsiteY38104"/>
              </a:cxn>
              <a:cxn ang="0">
                <a:pos x="connsiteX38105" y="connsiteY38105"/>
              </a:cxn>
              <a:cxn ang="0">
                <a:pos x="connsiteX38106" y="connsiteY38106"/>
              </a:cxn>
              <a:cxn ang="0">
                <a:pos x="connsiteX38107" y="connsiteY38107"/>
              </a:cxn>
              <a:cxn ang="0">
                <a:pos x="connsiteX38108" y="connsiteY38108"/>
              </a:cxn>
              <a:cxn ang="0">
                <a:pos x="connsiteX38109" y="connsiteY38109"/>
              </a:cxn>
              <a:cxn ang="0">
                <a:pos x="connsiteX38110" y="connsiteY38110"/>
              </a:cxn>
              <a:cxn ang="0">
                <a:pos x="connsiteX38111" y="connsiteY38111"/>
              </a:cxn>
              <a:cxn ang="0">
                <a:pos x="connsiteX38112" y="connsiteY38112"/>
              </a:cxn>
              <a:cxn ang="0">
                <a:pos x="connsiteX38113" y="connsiteY38113"/>
              </a:cxn>
              <a:cxn ang="0">
                <a:pos x="connsiteX38114" y="connsiteY38114"/>
              </a:cxn>
              <a:cxn ang="0">
                <a:pos x="connsiteX38115" y="connsiteY38115"/>
              </a:cxn>
              <a:cxn ang="0">
                <a:pos x="connsiteX38116" y="connsiteY38116"/>
              </a:cxn>
              <a:cxn ang="0">
                <a:pos x="connsiteX38117" y="connsiteY38117"/>
              </a:cxn>
              <a:cxn ang="0">
                <a:pos x="connsiteX38118" y="connsiteY38118"/>
              </a:cxn>
              <a:cxn ang="0">
                <a:pos x="connsiteX38119" y="connsiteY38119"/>
              </a:cxn>
              <a:cxn ang="0">
                <a:pos x="connsiteX38120" y="connsiteY38120"/>
              </a:cxn>
              <a:cxn ang="0">
                <a:pos x="connsiteX38121" y="connsiteY38121"/>
              </a:cxn>
              <a:cxn ang="0">
                <a:pos x="connsiteX38122" y="connsiteY38122"/>
              </a:cxn>
              <a:cxn ang="0">
                <a:pos x="connsiteX38123" y="connsiteY38123"/>
              </a:cxn>
              <a:cxn ang="0">
                <a:pos x="connsiteX38124" y="connsiteY38124"/>
              </a:cxn>
              <a:cxn ang="0">
                <a:pos x="connsiteX38125" y="connsiteY38125"/>
              </a:cxn>
              <a:cxn ang="0">
                <a:pos x="connsiteX38126" y="connsiteY38126"/>
              </a:cxn>
              <a:cxn ang="0">
                <a:pos x="connsiteX38127" y="connsiteY38127"/>
              </a:cxn>
              <a:cxn ang="0">
                <a:pos x="connsiteX38128" y="connsiteY38128"/>
              </a:cxn>
              <a:cxn ang="0">
                <a:pos x="connsiteX38129" y="connsiteY38129"/>
              </a:cxn>
              <a:cxn ang="0">
                <a:pos x="connsiteX38130" y="connsiteY38130"/>
              </a:cxn>
              <a:cxn ang="0">
                <a:pos x="connsiteX38131" y="connsiteY38131"/>
              </a:cxn>
              <a:cxn ang="0">
                <a:pos x="connsiteX38132" y="connsiteY38132"/>
              </a:cxn>
              <a:cxn ang="0">
                <a:pos x="connsiteX38133" y="connsiteY38133"/>
              </a:cxn>
              <a:cxn ang="0">
                <a:pos x="connsiteX38134" y="connsiteY38134"/>
              </a:cxn>
              <a:cxn ang="0">
                <a:pos x="connsiteX38135" y="connsiteY38135"/>
              </a:cxn>
              <a:cxn ang="0">
                <a:pos x="connsiteX38136" y="connsiteY38136"/>
              </a:cxn>
              <a:cxn ang="0">
                <a:pos x="connsiteX38137" y="connsiteY38137"/>
              </a:cxn>
              <a:cxn ang="0">
                <a:pos x="connsiteX38138" y="connsiteY38138"/>
              </a:cxn>
              <a:cxn ang="0">
                <a:pos x="connsiteX38139" y="connsiteY38139"/>
              </a:cxn>
              <a:cxn ang="0">
                <a:pos x="connsiteX38140" y="connsiteY38140"/>
              </a:cxn>
              <a:cxn ang="0">
                <a:pos x="connsiteX38141" y="connsiteY38141"/>
              </a:cxn>
              <a:cxn ang="0">
                <a:pos x="connsiteX38142" y="connsiteY38142"/>
              </a:cxn>
              <a:cxn ang="0">
                <a:pos x="connsiteX38143" y="connsiteY38143"/>
              </a:cxn>
              <a:cxn ang="0">
                <a:pos x="connsiteX38144" y="connsiteY38144"/>
              </a:cxn>
              <a:cxn ang="0">
                <a:pos x="connsiteX38145" y="connsiteY38145"/>
              </a:cxn>
              <a:cxn ang="0">
                <a:pos x="connsiteX38146" y="connsiteY38146"/>
              </a:cxn>
              <a:cxn ang="0">
                <a:pos x="connsiteX38147" y="connsiteY38147"/>
              </a:cxn>
              <a:cxn ang="0">
                <a:pos x="connsiteX38148" y="connsiteY38148"/>
              </a:cxn>
              <a:cxn ang="0">
                <a:pos x="connsiteX38149" y="connsiteY38149"/>
              </a:cxn>
              <a:cxn ang="0">
                <a:pos x="connsiteX38150" y="connsiteY38150"/>
              </a:cxn>
              <a:cxn ang="0">
                <a:pos x="connsiteX38151" y="connsiteY38151"/>
              </a:cxn>
              <a:cxn ang="0">
                <a:pos x="connsiteX38152" y="connsiteY38152"/>
              </a:cxn>
              <a:cxn ang="0">
                <a:pos x="connsiteX38153" y="connsiteY38153"/>
              </a:cxn>
              <a:cxn ang="0">
                <a:pos x="connsiteX38154" y="connsiteY38154"/>
              </a:cxn>
              <a:cxn ang="0">
                <a:pos x="connsiteX38155" y="connsiteY38155"/>
              </a:cxn>
              <a:cxn ang="0">
                <a:pos x="connsiteX38156" y="connsiteY38156"/>
              </a:cxn>
              <a:cxn ang="0">
                <a:pos x="connsiteX38157" y="connsiteY38157"/>
              </a:cxn>
              <a:cxn ang="0">
                <a:pos x="connsiteX38158" y="connsiteY38158"/>
              </a:cxn>
              <a:cxn ang="0">
                <a:pos x="connsiteX38159" y="connsiteY38159"/>
              </a:cxn>
              <a:cxn ang="0">
                <a:pos x="connsiteX38160" y="connsiteY38160"/>
              </a:cxn>
              <a:cxn ang="0">
                <a:pos x="connsiteX38161" y="connsiteY38161"/>
              </a:cxn>
              <a:cxn ang="0">
                <a:pos x="connsiteX38162" y="connsiteY38162"/>
              </a:cxn>
              <a:cxn ang="0">
                <a:pos x="connsiteX38163" y="connsiteY38163"/>
              </a:cxn>
              <a:cxn ang="0">
                <a:pos x="connsiteX38164" y="connsiteY38164"/>
              </a:cxn>
              <a:cxn ang="0">
                <a:pos x="connsiteX38165" y="connsiteY38165"/>
              </a:cxn>
              <a:cxn ang="0">
                <a:pos x="connsiteX38166" y="connsiteY38166"/>
              </a:cxn>
              <a:cxn ang="0">
                <a:pos x="connsiteX38167" y="connsiteY38167"/>
              </a:cxn>
              <a:cxn ang="0">
                <a:pos x="connsiteX38168" y="connsiteY38168"/>
              </a:cxn>
              <a:cxn ang="0">
                <a:pos x="connsiteX38169" y="connsiteY38169"/>
              </a:cxn>
              <a:cxn ang="0">
                <a:pos x="connsiteX38170" y="connsiteY38170"/>
              </a:cxn>
              <a:cxn ang="0">
                <a:pos x="connsiteX38171" y="connsiteY38171"/>
              </a:cxn>
              <a:cxn ang="0">
                <a:pos x="connsiteX38172" y="connsiteY38172"/>
              </a:cxn>
              <a:cxn ang="0">
                <a:pos x="connsiteX38173" y="connsiteY38173"/>
              </a:cxn>
              <a:cxn ang="0">
                <a:pos x="connsiteX38174" y="connsiteY38174"/>
              </a:cxn>
              <a:cxn ang="0">
                <a:pos x="connsiteX38175" y="connsiteY38175"/>
              </a:cxn>
              <a:cxn ang="0">
                <a:pos x="connsiteX38176" y="connsiteY38176"/>
              </a:cxn>
              <a:cxn ang="0">
                <a:pos x="connsiteX38177" y="connsiteY38177"/>
              </a:cxn>
              <a:cxn ang="0">
                <a:pos x="connsiteX38178" y="connsiteY38178"/>
              </a:cxn>
              <a:cxn ang="0">
                <a:pos x="connsiteX38179" y="connsiteY38179"/>
              </a:cxn>
              <a:cxn ang="0">
                <a:pos x="connsiteX38180" y="connsiteY38180"/>
              </a:cxn>
              <a:cxn ang="0">
                <a:pos x="connsiteX38181" y="connsiteY38181"/>
              </a:cxn>
              <a:cxn ang="0">
                <a:pos x="connsiteX38182" y="connsiteY38182"/>
              </a:cxn>
              <a:cxn ang="0">
                <a:pos x="connsiteX38183" y="connsiteY38183"/>
              </a:cxn>
              <a:cxn ang="0">
                <a:pos x="connsiteX38184" y="connsiteY38184"/>
              </a:cxn>
              <a:cxn ang="0">
                <a:pos x="connsiteX38185" y="connsiteY38185"/>
              </a:cxn>
              <a:cxn ang="0">
                <a:pos x="connsiteX38186" y="connsiteY38186"/>
              </a:cxn>
              <a:cxn ang="0">
                <a:pos x="connsiteX38187" y="connsiteY38187"/>
              </a:cxn>
              <a:cxn ang="0">
                <a:pos x="connsiteX38188" y="connsiteY38188"/>
              </a:cxn>
              <a:cxn ang="0">
                <a:pos x="connsiteX38189" y="connsiteY38189"/>
              </a:cxn>
              <a:cxn ang="0">
                <a:pos x="connsiteX38190" y="connsiteY38190"/>
              </a:cxn>
              <a:cxn ang="0">
                <a:pos x="connsiteX38191" y="connsiteY38191"/>
              </a:cxn>
              <a:cxn ang="0">
                <a:pos x="connsiteX38192" y="connsiteY38192"/>
              </a:cxn>
              <a:cxn ang="0">
                <a:pos x="connsiteX38193" y="connsiteY38193"/>
              </a:cxn>
              <a:cxn ang="0">
                <a:pos x="connsiteX38194" y="connsiteY38194"/>
              </a:cxn>
              <a:cxn ang="0">
                <a:pos x="connsiteX38195" y="connsiteY38195"/>
              </a:cxn>
              <a:cxn ang="0">
                <a:pos x="connsiteX38196" y="connsiteY38196"/>
              </a:cxn>
              <a:cxn ang="0">
                <a:pos x="connsiteX38197" y="connsiteY38197"/>
              </a:cxn>
              <a:cxn ang="0">
                <a:pos x="connsiteX38198" y="connsiteY38198"/>
              </a:cxn>
              <a:cxn ang="0">
                <a:pos x="connsiteX38199" y="connsiteY38199"/>
              </a:cxn>
              <a:cxn ang="0">
                <a:pos x="connsiteX38200" y="connsiteY38200"/>
              </a:cxn>
              <a:cxn ang="0">
                <a:pos x="connsiteX38201" y="connsiteY38201"/>
              </a:cxn>
              <a:cxn ang="0">
                <a:pos x="connsiteX38202" y="connsiteY38202"/>
              </a:cxn>
              <a:cxn ang="0">
                <a:pos x="connsiteX38203" y="connsiteY38203"/>
              </a:cxn>
              <a:cxn ang="0">
                <a:pos x="connsiteX38204" y="connsiteY38204"/>
              </a:cxn>
              <a:cxn ang="0">
                <a:pos x="connsiteX38205" y="connsiteY38205"/>
              </a:cxn>
              <a:cxn ang="0">
                <a:pos x="connsiteX38206" y="connsiteY38206"/>
              </a:cxn>
              <a:cxn ang="0">
                <a:pos x="connsiteX38207" y="connsiteY38207"/>
              </a:cxn>
              <a:cxn ang="0">
                <a:pos x="connsiteX38208" y="connsiteY38208"/>
              </a:cxn>
              <a:cxn ang="0">
                <a:pos x="connsiteX38209" y="connsiteY38209"/>
              </a:cxn>
              <a:cxn ang="0">
                <a:pos x="connsiteX38210" y="connsiteY38210"/>
              </a:cxn>
              <a:cxn ang="0">
                <a:pos x="connsiteX38211" y="connsiteY38211"/>
              </a:cxn>
              <a:cxn ang="0">
                <a:pos x="connsiteX38212" y="connsiteY38212"/>
              </a:cxn>
              <a:cxn ang="0">
                <a:pos x="connsiteX38213" y="connsiteY38213"/>
              </a:cxn>
              <a:cxn ang="0">
                <a:pos x="connsiteX38214" y="connsiteY38214"/>
              </a:cxn>
              <a:cxn ang="0">
                <a:pos x="connsiteX38215" y="connsiteY38215"/>
              </a:cxn>
              <a:cxn ang="0">
                <a:pos x="connsiteX38216" y="connsiteY38216"/>
              </a:cxn>
              <a:cxn ang="0">
                <a:pos x="connsiteX38217" y="connsiteY38217"/>
              </a:cxn>
              <a:cxn ang="0">
                <a:pos x="connsiteX38218" y="connsiteY38218"/>
              </a:cxn>
              <a:cxn ang="0">
                <a:pos x="connsiteX38219" y="connsiteY38219"/>
              </a:cxn>
              <a:cxn ang="0">
                <a:pos x="connsiteX38220" y="connsiteY38220"/>
              </a:cxn>
              <a:cxn ang="0">
                <a:pos x="connsiteX38221" y="connsiteY38221"/>
              </a:cxn>
              <a:cxn ang="0">
                <a:pos x="connsiteX38222" y="connsiteY38222"/>
              </a:cxn>
              <a:cxn ang="0">
                <a:pos x="connsiteX38223" y="connsiteY38223"/>
              </a:cxn>
              <a:cxn ang="0">
                <a:pos x="connsiteX38224" y="connsiteY38224"/>
              </a:cxn>
              <a:cxn ang="0">
                <a:pos x="connsiteX38225" y="connsiteY38225"/>
              </a:cxn>
              <a:cxn ang="0">
                <a:pos x="connsiteX38226" y="connsiteY38226"/>
              </a:cxn>
              <a:cxn ang="0">
                <a:pos x="connsiteX38227" y="connsiteY38227"/>
              </a:cxn>
              <a:cxn ang="0">
                <a:pos x="connsiteX38228" y="connsiteY38228"/>
              </a:cxn>
              <a:cxn ang="0">
                <a:pos x="connsiteX38229" y="connsiteY38229"/>
              </a:cxn>
              <a:cxn ang="0">
                <a:pos x="connsiteX38230" y="connsiteY38230"/>
              </a:cxn>
              <a:cxn ang="0">
                <a:pos x="connsiteX38231" y="connsiteY38231"/>
              </a:cxn>
              <a:cxn ang="0">
                <a:pos x="connsiteX38232" y="connsiteY38232"/>
              </a:cxn>
              <a:cxn ang="0">
                <a:pos x="connsiteX38233" y="connsiteY38233"/>
              </a:cxn>
              <a:cxn ang="0">
                <a:pos x="connsiteX38234" y="connsiteY38234"/>
              </a:cxn>
              <a:cxn ang="0">
                <a:pos x="connsiteX38235" y="connsiteY38235"/>
              </a:cxn>
              <a:cxn ang="0">
                <a:pos x="connsiteX38236" y="connsiteY38236"/>
              </a:cxn>
              <a:cxn ang="0">
                <a:pos x="connsiteX38237" y="connsiteY38237"/>
              </a:cxn>
              <a:cxn ang="0">
                <a:pos x="connsiteX38238" y="connsiteY38238"/>
              </a:cxn>
              <a:cxn ang="0">
                <a:pos x="connsiteX38239" y="connsiteY38239"/>
              </a:cxn>
              <a:cxn ang="0">
                <a:pos x="connsiteX38240" y="connsiteY38240"/>
              </a:cxn>
              <a:cxn ang="0">
                <a:pos x="connsiteX38241" y="connsiteY38241"/>
              </a:cxn>
              <a:cxn ang="0">
                <a:pos x="connsiteX38242" y="connsiteY38242"/>
              </a:cxn>
              <a:cxn ang="0">
                <a:pos x="connsiteX38243" y="connsiteY38243"/>
              </a:cxn>
              <a:cxn ang="0">
                <a:pos x="connsiteX38244" y="connsiteY38244"/>
              </a:cxn>
              <a:cxn ang="0">
                <a:pos x="connsiteX38245" y="connsiteY38245"/>
              </a:cxn>
              <a:cxn ang="0">
                <a:pos x="connsiteX38246" y="connsiteY38246"/>
              </a:cxn>
              <a:cxn ang="0">
                <a:pos x="connsiteX38247" y="connsiteY38247"/>
              </a:cxn>
              <a:cxn ang="0">
                <a:pos x="connsiteX38248" y="connsiteY38248"/>
              </a:cxn>
              <a:cxn ang="0">
                <a:pos x="connsiteX38249" y="connsiteY38249"/>
              </a:cxn>
              <a:cxn ang="0">
                <a:pos x="connsiteX38250" y="connsiteY38250"/>
              </a:cxn>
              <a:cxn ang="0">
                <a:pos x="connsiteX38251" y="connsiteY38251"/>
              </a:cxn>
              <a:cxn ang="0">
                <a:pos x="connsiteX38252" y="connsiteY38252"/>
              </a:cxn>
              <a:cxn ang="0">
                <a:pos x="connsiteX38253" y="connsiteY38253"/>
              </a:cxn>
              <a:cxn ang="0">
                <a:pos x="connsiteX38254" y="connsiteY38254"/>
              </a:cxn>
              <a:cxn ang="0">
                <a:pos x="connsiteX38255" y="connsiteY38255"/>
              </a:cxn>
              <a:cxn ang="0">
                <a:pos x="connsiteX38256" y="connsiteY38256"/>
              </a:cxn>
              <a:cxn ang="0">
                <a:pos x="connsiteX38257" y="connsiteY38257"/>
              </a:cxn>
              <a:cxn ang="0">
                <a:pos x="connsiteX38258" y="connsiteY38258"/>
              </a:cxn>
              <a:cxn ang="0">
                <a:pos x="connsiteX38259" y="connsiteY38259"/>
              </a:cxn>
              <a:cxn ang="0">
                <a:pos x="connsiteX38260" y="connsiteY38260"/>
              </a:cxn>
              <a:cxn ang="0">
                <a:pos x="connsiteX38261" y="connsiteY38261"/>
              </a:cxn>
              <a:cxn ang="0">
                <a:pos x="connsiteX38262" y="connsiteY38262"/>
              </a:cxn>
              <a:cxn ang="0">
                <a:pos x="connsiteX38263" y="connsiteY38263"/>
              </a:cxn>
              <a:cxn ang="0">
                <a:pos x="connsiteX38264" y="connsiteY38264"/>
              </a:cxn>
              <a:cxn ang="0">
                <a:pos x="connsiteX38265" y="connsiteY38265"/>
              </a:cxn>
              <a:cxn ang="0">
                <a:pos x="connsiteX38266" y="connsiteY38266"/>
              </a:cxn>
              <a:cxn ang="0">
                <a:pos x="connsiteX38267" y="connsiteY38267"/>
              </a:cxn>
              <a:cxn ang="0">
                <a:pos x="connsiteX38268" y="connsiteY38268"/>
              </a:cxn>
              <a:cxn ang="0">
                <a:pos x="connsiteX38269" y="connsiteY38269"/>
              </a:cxn>
              <a:cxn ang="0">
                <a:pos x="connsiteX38270" y="connsiteY38270"/>
              </a:cxn>
              <a:cxn ang="0">
                <a:pos x="connsiteX38271" y="connsiteY38271"/>
              </a:cxn>
              <a:cxn ang="0">
                <a:pos x="connsiteX38272" y="connsiteY38272"/>
              </a:cxn>
              <a:cxn ang="0">
                <a:pos x="connsiteX38273" y="connsiteY38273"/>
              </a:cxn>
              <a:cxn ang="0">
                <a:pos x="connsiteX38274" y="connsiteY38274"/>
              </a:cxn>
              <a:cxn ang="0">
                <a:pos x="connsiteX38275" y="connsiteY38275"/>
              </a:cxn>
              <a:cxn ang="0">
                <a:pos x="connsiteX38276" y="connsiteY38276"/>
              </a:cxn>
              <a:cxn ang="0">
                <a:pos x="connsiteX38277" y="connsiteY38277"/>
              </a:cxn>
              <a:cxn ang="0">
                <a:pos x="connsiteX38278" y="connsiteY38278"/>
              </a:cxn>
              <a:cxn ang="0">
                <a:pos x="connsiteX38279" y="connsiteY38279"/>
              </a:cxn>
              <a:cxn ang="0">
                <a:pos x="connsiteX38280" y="connsiteY38280"/>
              </a:cxn>
              <a:cxn ang="0">
                <a:pos x="connsiteX38281" y="connsiteY38281"/>
              </a:cxn>
              <a:cxn ang="0">
                <a:pos x="connsiteX38282" y="connsiteY38282"/>
              </a:cxn>
              <a:cxn ang="0">
                <a:pos x="connsiteX38283" y="connsiteY38283"/>
              </a:cxn>
              <a:cxn ang="0">
                <a:pos x="connsiteX38284" y="connsiteY38284"/>
              </a:cxn>
              <a:cxn ang="0">
                <a:pos x="connsiteX38285" y="connsiteY38285"/>
              </a:cxn>
              <a:cxn ang="0">
                <a:pos x="connsiteX38286" y="connsiteY38286"/>
              </a:cxn>
              <a:cxn ang="0">
                <a:pos x="connsiteX38287" y="connsiteY38287"/>
              </a:cxn>
              <a:cxn ang="0">
                <a:pos x="connsiteX38288" y="connsiteY38288"/>
              </a:cxn>
              <a:cxn ang="0">
                <a:pos x="connsiteX38289" y="connsiteY38289"/>
              </a:cxn>
              <a:cxn ang="0">
                <a:pos x="connsiteX38290" y="connsiteY38290"/>
              </a:cxn>
              <a:cxn ang="0">
                <a:pos x="connsiteX38291" y="connsiteY38291"/>
              </a:cxn>
              <a:cxn ang="0">
                <a:pos x="connsiteX38292" y="connsiteY38292"/>
              </a:cxn>
              <a:cxn ang="0">
                <a:pos x="connsiteX38293" y="connsiteY38293"/>
              </a:cxn>
              <a:cxn ang="0">
                <a:pos x="connsiteX38294" y="connsiteY38294"/>
              </a:cxn>
              <a:cxn ang="0">
                <a:pos x="connsiteX38295" y="connsiteY38295"/>
              </a:cxn>
              <a:cxn ang="0">
                <a:pos x="connsiteX38296" y="connsiteY38296"/>
              </a:cxn>
              <a:cxn ang="0">
                <a:pos x="connsiteX38297" y="connsiteY38297"/>
              </a:cxn>
              <a:cxn ang="0">
                <a:pos x="connsiteX38298" y="connsiteY38298"/>
              </a:cxn>
              <a:cxn ang="0">
                <a:pos x="connsiteX38299" y="connsiteY38299"/>
              </a:cxn>
              <a:cxn ang="0">
                <a:pos x="connsiteX38300" y="connsiteY38300"/>
              </a:cxn>
              <a:cxn ang="0">
                <a:pos x="connsiteX38301" y="connsiteY38301"/>
              </a:cxn>
              <a:cxn ang="0">
                <a:pos x="connsiteX38302" y="connsiteY38302"/>
              </a:cxn>
              <a:cxn ang="0">
                <a:pos x="connsiteX38303" y="connsiteY38303"/>
              </a:cxn>
              <a:cxn ang="0">
                <a:pos x="connsiteX38304" y="connsiteY38304"/>
              </a:cxn>
              <a:cxn ang="0">
                <a:pos x="connsiteX38305" y="connsiteY38305"/>
              </a:cxn>
              <a:cxn ang="0">
                <a:pos x="connsiteX38306" y="connsiteY38306"/>
              </a:cxn>
              <a:cxn ang="0">
                <a:pos x="connsiteX38307" y="connsiteY38307"/>
              </a:cxn>
              <a:cxn ang="0">
                <a:pos x="connsiteX38308" y="connsiteY38308"/>
              </a:cxn>
              <a:cxn ang="0">
                <a:pos x="connsiteX38309" y="connsiteY38309"/>
              </a:cxn>
              <a:cxn ang="0">
                <a:pos x="connsiteX38310" y="connsiteY38310"/>
              </a:cxn>
              <a:cxn ang="0">
                <a:pos x="connsiteX38311" y="connsiteY38311"/>
              </a:cxn>
              <a:cxn ang="0">
                <a:pos x="connsiteX38312" y="connsiteY38312"/>
              </a:cxn>
              <a:cxn ang="0">
                <a:pos x="connsiteX38313" y="connsiteY38313"/>
              </a:cxn>
              <a:cxn ang="0">
                <a:pos x="connsiteX38314" y="connsiteY38314"/>
              </a:cxn>
              <a:cxn ang="0">
                <a:pos x="connsiteX38315" y="connsiteY38315"/>
              </a:cxn>
              <a:cxn ang="0">
                <a:pos x="connsiteX38316" y="connsiteY38316"/>
              </a:cxn>
              <a:cxn ang="0">
                <a:pos x="connsiteX38317" y="connsiteY38317"/>
              </a:cxn>
              <a:cxn ang="0">
                <a:pos x="connsiteX38318" y="connsiteY38318"/>
              </a:cxn>
              <a:cxn ang="0">
                <a:pos x="connsiteX38319" y="connsiteY38319"/>
              </a:cxn>
              <a:cxn ang="0">
                <a:pos x="connsiteX38320" y="connsiteY38320"/>
              </a:cxn>
              <a:cxn ang="0">
                <a:pos x="connsiteX38321" y="connsiteY38321"/>
              </a:cxn>
              <a:cxn ang="0">
                <a:pos x="connsiteX38322" y="connsiteY38322"/>
              </a:cxn>
              <a:cxn ang="0">
                <a:pos x="connsiteX38323" y="connsiteY38323"/>
              </a:cxn>
              <a:cxn ang="0">
                <a:pos x="connsiteX38324" y="connsiteY38324"/>
              </a:cxn>
              <a:cxn ang="0">
                <a:pos x="connsiteX38325" y="connsiteY38325"/>
              </a:cxn>
              <a:cxn ang="0">
                <a:pos x="connsiteX38326" y="connsiteY38326"/>
              </a:cxn>
              <a:cxn ang="0">
                <a:pos x="connsiteX38327" y="connsiteY38327"/>
              </a:cxn>
              <a:cxn ang="0">
                <a:pos x="connsiteX38328" y="connsiteY38328"/>
              </a:cxn>
              <a:cxn ang="0">
                <a:pos x="connsiteX38329" y="connsiteY38329"/>
              </a:cxn>
              <a:cxn ang="0">
                <a:pos x="connsiteX38330" y="connsiteY38330"/>
              </a:cxn>
              <a:cxn ang="0">
                <a:pos x="connsiteX38331" y="connsiteY38331"/>
              </a:cxn>
              <a:cxn ang="0">
                <a:pos x="connsiteX38332" y="connsiteY38332"/>
              </a:cxn>
              <a:cxn ang="0">
                <a:pos x="connsiteX38333" y="connsiteY38333"/>
              </a:cxn>
              <a:cxn ang="0">
                <a:pos x="connsiteX38334" y="connsiteY38334"/>
              </a:cxn>
              <a:cxn ang="0">
                <a:pos x="connsiteX38335" y="connsiteY38335"/>
              </a:cxn>
              <a:cxn ang="0">
                <a:pos x="connsiteX38336" y="connsiteY38336"/>
              </a:cxn>
              <a:cxn ang="0">
                <a:pos x="connsiteX38337" y="connsiteY38337"/>
              </a:cxn>
              <a:cxn ang="0">
                <a:pos x="connsiteX38338" y="connsiteY38338"/>
              </a:cxn>
              <a:cxn ang="0">
                <a:pos x="connsiteX38339" y="connsiteY38339"/>
              </a:cxn>
              <a:cxn ang="0">
                <a:pos x="connsiteX38340" y="connsiteY38340"/>
              </a:cxn>
              <a:cxn ang="0">
                <a:pos x="connsiteX38341" y="connsiteY38341"/>
              </a:cxn>
              <a:cxn ang="0">
                <a:pos x="connsiteX38342" y="connsiteY38342"/>
              </a:cxn>
              <a:cxn ang="0">
                <a:pos x="connsiteX38343" y="connsiteY38343"/>
              </a:cxn>
              <a:cxn ang="0">
                <a:pos x="connsiteX38344" y="connsiteY38344"/>
              </a:cxn>
              <a:cxn ang="0">
                <a:pos x="connsiteX38345" y="connsiteY38345"/>
              </a:cxn>
              <a:cxn ang="0">
                <a:pos x="connsiteX38346" y="connsiteY38346"/>
              </a:cxn>
              <a:cxn ang="0">
                <a:pos x="connsiteX38347" y="connsiteY38347"/>
              </a:cxn>
              <a:cxn ang="0">
                <a:pos x="connsiteX38348" y="connsiteY38348"/>
              </a:cxn>
              <a:cxn ang="0">
                <a:pos x="connsiteX38349" y="connsiteY38349"/>
              </a:cxn>
              <a:cxn ang="0">
                <a:pos x="connsiteX38350" y="connsiteY38350"/>
              </a:cxn>
              <a:cxn ang="0">
                <a:pos x="connsiteX38351" y="connsiteY38351"/>
              </a:cxn>
              <a:cxn ang="0">
                <a:pos x="connsiteX38352" y="connsiteY38352"/>
              </a:cxn>
              <a:cxn ang="0">
                <a:pos x="connsiteX38353" y="connsiteY38353"/>
              </a:cxn>
              <a:cxn ang="0">
                <a:pos x="connsiteX38354" y="connsiteY38354"/>
              </a:cxn>
              <a:cxn ang="0">
                <a:pos x="connsiteX38355" y="connsiteY38355"/>
              </a:cxn>
              <a:cxn ang="0">
                <a:pos x="connsiteX38356" y="connsiteY38356"/>
              </a:cxn>
              <a:cxn ang="0">
                <a:pos x="connsiteX38357" y="connsiteY38357"/>
              </a:cxn>
              <a:cxn ang="0">
                <a:pos x="connsiteX38358" y="connsiteY38358"/>
              </a:cxn>
              <a:cxn ang="0">
                <a:pos x="connsiteX38359" y="connsiteY38359"/>
              </a:cxn>
              <a:cxn ang="0">
                <a:pos x="connsiteX38360" y="connsiteY38360"/>
              </a:cxn>
              <a:cxn ang="0">
                <a:pos x="connsiteX38361" y="connsiteY38361"/>
              </a:cxn>
              <a:cxn ang="0">
                <a:pos x="connsiteX38362" y="connsiteY38362"/>
              </a:cxn>
              <a:cxn ang="0">
                <a:pos x="connsiteX38363" y="connsiteY38363"/>
              </a:cxn>
              <a:cxn ang="0">
                <a:pos x="connsiteX38364" y="connsiteY38364"/>
              </a:cxn>
              <a:cxn ang="0">
                <a:pos x="connsiteX38365" y="connsiteY38365"/>
              </a:cxn>
              <a:cxn ang="0">
                <a:pos x="connsiteX38366" y="connsiteY38366"/>
              </a:cxn>
              <a:cxn ang="0">
                <a:pos x="connsiteX38367" y="connsiteY38367"/>
              </a:cxn>
              <a:cxn ang="0">
                <a:pos x="connsiteX38368" y="connsiteY38368"/>
              </a:cxn>
              <a:cxn ang="0">
                <a:pos x="connsiteX38369" y="connsiteY38369"/>
              </a:cxn>
              <a:cxn ang="0">
                <a:pos x="connsiteX38370" y="connsiteY38370"/>
              </a:cxn>
              <a:cxn ang="0">
                <a:pos x="connsiteX38371" y="connsiteY38371"/>
              </a:cxn>
              <a:cxn ang="0">
                <a:pos x="connsiteX38372" y="connsiteY38372"/>
              </a:cxn>
              <a:cxn ang="0">
                <a:pos x="connsiteX38373" y="connsiteY38373"/>
              </a:cxn>
              <a:cxn ang="0">
                <a:pos x="connsiteX38374" y="connsiteY38374"/>
              </a:cxn>
              <a:cxn ang="0">
                <a:pos x="connsiteX38375" y="connsiteY38375"/>
              </a:cxn>
              <a:cxn ang="0">
                <a:pos x="connsiteX38376" y="connsiteY38376"/>
              </a:cxn>
              <a:cxn ang="0">
                <a:pos x="connsiteX38377" y="connsiteY38377"/>
              </a:cxn>
              <a:cxn ang="0">
                <a:pos x="connsiteX38378" y="connsiteY38378"/>
              </a:cxn>
              <a:cxn ang="0">
                <a:pos x="connsiteX38379" y="connsiteY38379"/>
              </a:cxn>
              <a:cxn ang="0">
                <a:pos x="connsiteX38380" y="connsiteY38380"/>
              </a:cxn>
              <a:cxn ang="0">
                <a:pos x="connsiteX38381" y="connsiteY38381"/>
              </a:cxn>
              <a:cxn ang="0">
                <a:pos x="connsiteX38382" y="connsiteY38382"/>
              </a:cxn>
              <a:cxn ang="0">
                <a:pos x="connsiteX38383" y="connsiteY38383"/>
              </a:cxn>
              <a:cxn ang="0">
                <a:pos x="connsiteX38384" y="connsiteY38384"/>
              </a:cxn>
              <a:cxn ang="0">
                <a:pos x="connsiteX38385" y="connsiteY38385"/>
              </a:cxn>
              <a:cxn ang="0">
                <a:pos x="connsiteX38386" y="connsiteY38386"/>
              </a:cxn>
              <a:cxn ang="0">
                <a:pos x="connsiteX38387" y="connsiteY38387"/>
              </a:cxn>
              <a:cxn ang="0">
                <a:pos x="connsiteX38388" y="connsiteY38388"/>
              </a:cxn>
              <a:cxn ang="0">
                <a:pos x="connsiteX38389" y="connsiteY38389"/>
              </a:cxn>
              <a:cxn ang="0">
                <a:pos x="connsiteX38390" y="connsiteY38390"/>
              </a:cxn>
              <a:cxn ang="0">
                <a:pos x="connsiteX38391" y="connsiteY38391"/>
              </a:cxn>
              <a:cxn ang="0">
                <a:pos x="connsiteX38392" y="connsiteY38392"/>
              </a:cxn>
              <a:cxn ang="0">
                <a:pos x="connsiteX38393" y="connsiteY38393"/>
              </a:cxn>
              <a:cxn ang="0">
                <a:pos x="connsiteX38394" y="connsiteY38394"/>
              </a:cxn>
              <a:cxn ang="0">
                <a:pos x="connsiteX38395" y="connsiteY38395"/>
              </a:cxn>
              <a:cxn ang="0">
                <a:pos x="connsiteX38396" y="connsiteY38396"/>
              </a:cxn>
              <a:cxn ang="0">
                <a:pos x="connsiteX38397" y="connsiteY38397"/>
              </a:cxn>
              <a:cxn ang="0">
                <a:pos x="connsiteX38398" y="connsiteY38398"/>
              </a:cxn>
              <a:cxn ang="0">
                <a:pos x="connsiteX38399" y="connsiteY38399"/>
              </a:cxn>
              <a:cxn ang="0">
                <a:pos x="connsiteX38400" y="connsiteY38400"/>
              </a:cxn>
              <a:cxn ang="0">
                <a:pos x="connsiteX38401" y="connsiteY38401"/>
              </a:cxn>
              <a:cxn ang="0">
                <a:pos x="connsiteX38402" y="connsiteY38402"/>
              </a:cxn>
              <a:cxn ang="0">
                <a:pos x="connsiteX38403" y="connsiteY38403"/>
              </a:cxn>
              <a:cxn ang="0">
                <a:pos x="connsiteX38404" y="connsiteY38404"/>
              </a:cxn>
              <a:cxn ang="0">
                <a:pos x="connsiteX38405" y="connsiteY38405"/>
              </a:cxn>
              <a:cxn ang="0">
                <a:pos x="connsiteX38406" y="connsiteY38406"/>
              </a:cxn>
              <a:cxn ang="0">
                <a:pos x="connsiteX38407" y="connsiteY38407"/>
              </a:cxn>
              <a:cxn ang="0">
                <a:pos x="connsiteX38408" y="connsiteY38408"/>
              </a:cxn>
              <a:cxn ang="0">
                <a:pos x="connsiteX38409" y="connsiteY38409"/>
              </a:cxn>
              <a:cxn ang="0">
                <a:pos x="connsiteX38410" y="connsiteY38410"/>
              </a:cxn>
              <a:cxn ang="0">
                <a:pos x="connsiteX38411" y="connsiteY38411"/>
              </a:cxn>
              <a:cxn ang="0">
                <a:pos x="connsiteX38412" y="connsiteY38412"/>
              </a:cxn>
              <a:cxn ang="0">
                <a:pos x="connsiteX38413" y="connsiteY38413"/>
              </a:cxn>
              <a:cxn ang="0">
                <a:pos x="connsiteX38414" y="connsiteY38414"/>
              </a:cxn>
              <a:cxn ang="0">
                <a:pos x="connsiteX38415" y="connsiteY38415"/>
              </a:cxn>
              <a:cxn ang="0">
                <a:pos x="connsiteX38416" y="connsiteY38416"/>
              </a:cxn>
              <a:cxn ang="0">
                <a:pos x="connsiteX38417" y="connsiteY38417"/>
              </a:cxn>
              <a:cxn ang="0">
                <a:pos x="connsiteX38418" y="connsiteY38418"/>
              </a:cxn>
              <a:cxn ang="0">
                <a:pos x="connsiteX38419" y="connsiteY38419"/>
              </a:cxn>
              <a:cxn ang="0">
                <a:pos x="connsiteX38420" y="connsiteY38420"/>
              </a:cxn>
              <a:cxn ang="0">
                <a:pos x="connsiteX38421" y="connsiteY38421"/>
              </a:cxn>
              <a:cxn ang="0">
                <a:pos x="connsiteX38422" y="connsiteY38422"/>
              </a:cxn>
              <a:cxn ang="0">
                <a:pos x="connsiteX38423" y="connsiteY38423"/>
              </a:cxn>
              <a:cxn ang="0">
                <a:pos x="connsiteX38424" y="connsiteY38424"/>
              </a:cxn>
              <a:cxn ang="0">
                <a:pos x="connsiteX38425" y="connsiteY38425"/>
              </a:cxn>
              <a:cxn ang="0">
                <a:pos x="connsiteX38426" y="connsiteY38426"/>
              </a:cxn>
              <a:cxn ang="0">
                <a:pos x="connsiteX38427" y="connsiteY38427"/>
              </a:cxn>
              <a:cxn ang="0">
                <a:pos x="connsiteX38428" y="connsiteY38428"/>
              </a:cxn>
              <a:cxn ang="0">
                <a:pos x="connsiteX38429" y="connsiteY38429"/>
              </a:cxn>
              <a:cxn ang="0">
                <a:pos x="connsiteX38430" y="connsiteY38430"/>
              </a:cxn>
              <a:cxn ang="0">
                <a:pos x="connsiteX38431" y="connsiteY38431"/>
              </a:cxn>
              <a:cxn ang="0">
                <a:pos x="connsiteX38432" y="connsiteY38432"/>
              </a:cxn>
              <a:cxn ang="0">
                <a:pos x="connsiteX38433" y="connsiteY38433"/>
              </a:cxn>
              <a:cxn ang="0">
                <a:pos x="connsiteX38434" y="connsiteY38434"/>
              </a:cxn>
              <a:cxn ang="0">
                <a:pos x="connsiteX38435" y="connsiteY38435"/>
              </a:cxn>
              <a:cxn ang="0">
                <a:pos x="connsiteX38436" y="connsiteY38436"/>
              </a:cxn>
              <a:cxn ang="0">
                <a:pos x="connsiteX38437" y="connsiteY38437"/>
              </a:cxn>
              <a:cxn ang="0">
                <a:pos x="connsiteX38438" y="connsiteY38438"/>
              </a:cxn>
              <a:cxn ang="0">
                <a:pos x="connsiteX38439" y="connsiteY38439"/>
              </a:cxn>
              <a:cxn ang="0">
                <a:pos x="connsiteX38440" y="connsiteY38440"/>
              </a:cxn>
              <a:cxn ang="0">
                <a:pos x="connsiteX38441" y="connsiteY38441"/>
              </a:cxn>
              <a:cxn ang="0">
                <a:pos x="connsiteX38442" y="connsiteY38442"/>
              </a:cxn>
              <a:cxn ang="0">
                <a:pos x="connsiteX38443" y="connsiteY38443"/>
              </a:cxn>
              <a:cxn ang="0">
                <a:pos x="connsiteX38444" y="connsiteY38444"/>
              </a:cxn>
              <a:cxn ang="0">
                <a:pos x="connsiteX38445" y="connsiteY38445"/>
              </a:cxn>
              <a:cxn ang="0">
                <a:pos x="connsiteX38446" y="connsiteY38446"/>
              </a:cxn>
              <a:cxn ang="0">
                <a:pos x="connsiteX38447" y="connsiteY38447"/>
              </a:cxn>
              <a:cxn ang="0">
                <a:pos x="connsiteX38448" y="connsiteY38448"/>
              </a:cxn>
              <a:cxn ang="0">
                <a:pos x="connsiteX38449" y="connsiteY38449"/>
              </a:cxn>
              <a:cxn ang="0">
                <a:pos x="connsiteX38450" y="connsiteY38450"/>
              </a:cxn>
              <a:cxn ang="0">
                <a:pos x="connsiteX38451" y="connsiteY38451"/>
              </a:cxn>
              <a:cxn ang="0">
                <a:pos x="connsiteX38452" y="connsiteY38452"/>
              </a:cxn>
              <a:cxn ang="0">
                <a:pos x="connsiteX38453" y="connsiteY38453"/>
              </a:cxn>
              <a:cxn ang="0">
                <a:pos x="connsiteX38454" y="connsiteY38454"/>
              </a:cxn>
              <a:cxn ang="0">
                <a:pos x="connsiteX38455" y="connsiteY38455"/>
              </a:cxn>
              <a:cxn ang="0">
                <a:pos x="connsiteX38456" y="connsiteY38456"/>
              </a:cxn>
              <a:cxn ang="0">
                <a:pos x="connsiteX38457" y="connsiteY38457"/>
              </a:cxn>
              <a:cxn ang="0">
                <a:pos x="connsiteX38458" y="connsiteY38458"/>
              </a:cxn>
              <a:cxn ang="0">
                <a:pos x="connsiteX38459" y="connsiteY38459"/>
              </a:cxn>
              <a:cxn ang="0">
                <a:pos x="connsiteX38460" y="connsiteY38460"/>
              </a:cxn>
              <a:cxn ang="0">
                <a:pos x="connsiteX38461" y="connsiteY38461"/>
              </a:cxn>
              <a:cxn ang="0">
                <a:pos x="connsiteX38462" y="connsiteY38462"/>
              </a:cxn>
              <a:cxn ang="0">
                <a:pos x="connsiteX38463" y="connsiteY38463"/>
              </a:cxn>
              <a:cxn ang="0">
                <a:pos x="connsiteX38464" y="connsiteY38464"/>
              </a:cxn>
              <a:cxn ang="0">
                <a:pos x="connsiteX38465" y="connsiteY38465"/>
              </a:cxn>
              <a:cxn ang="0">
                <a:pos x="connsiteX38466" y="connsiteY38466"/>
              </a:cxn>
              <a:cxn ang="0">
                <a:pos x="connsiteX38467" y="connsiteY38467"/>
              </a:cxn>
              <a:cxn ang="0">
                <a:pos x="connsiteX38468" y="connsiteY38468"/>
              </a:cxn>
              <a:cxn ang="0">
                <a:pos x="connsiteX38469" y="connsiteY38469"/>
              </a:cxn>
              <a:cxn ang="0">
                <a:pos x="connsiteX38470" y="connsiteY38470"/>
              </a:cxn>
              <a:cxn ang="0">
                <a:pos x="connsiteX38471" y="connsiteY38471"/>
              </a:cxn>
              <a:cxn ang="0">
                <a:pos x="connsiteX38472" y="connsiteY38472"/>
              </a:cxn>
              <a:cxn ang="0">
                <a:pos x="connsiteX38473" y="connsiteY38473"/>
              </a:cxn>
              <a:cxn ang="0">
                <a:pos x="connsiteX38474" y="connsiteY38474"/>
              </a:cxn>
              <a:cxn ang="0">
                <a:pos x="connsiteX38475" y="connsiteY38475"/>
              </a:cxn>
              <a:cxn ang="0">
                <a:pos x="connsiteX38476" y="connsiteY38476"/>
              </a:cxn>
              <a:cxn ang="0">
                <a:pos x="connsiteX38477" y="connsiteY38477"/>
              </a:cxn>
              <a:cxn ang="0">
                <a:pos x="connsiteX38478" y="connsiteY38478"/>
              </a:cxn>
              <a:cxn ang="0">
                <a:pos x="connsiteX38479" y="connsiteY38479"/>
              </a:cxn>
              <a:cxn ang="0">
                <a:pos x="connsiteX38480" y="connsiteY38480"/>
              </a:cxn>
              <a:cxn ang="0">
                <a:pos x="connsiteX38481" y="connsiteY38481"/>
              </a:cxn>
              <a:cxn ang="0">
                <a:pos x="connsiteX38482" y="connsiteY38482"/>
              </a:cxn>
              <a:cxn ang="0">
                <a:pos x="connsiteX38483" y="connsiteY38483"/>
              </a:cxn>
              <a:cxn ang="0">
                <a:pos x="connsiteX38484" y="connsiteY38484"/>
              </a:cxn>
              <a:cxn ang="0">
                <a:pos x="connsiteX38485" y="connsiteY38485"/>
              </a:cxn>
              <a:cxn ang="0">
                <a:pos x="connsiteX38486" y="connsiteY38486"/>
              </a:cxn>
              <a:cxn ang="0">
                <a:pos x="connsiteX38487" y="connsiteY38487"/>
              </a:cxn>
              <a:cxn ang="0">
                <a:pos x="connsiteX38488" y="connsiteY38488"/>
              </a:cxn>
              <a:cxn ang="0">
                <a:pos x="connsiteX38489" y="connsiteY38489"/>
              </a:cxn>
              <a:cxn ang="0">
                <a:pos x="connsiteX38490" y="connsiteY38490"/>
              </a:cxn>
              <a:cxn ang="0">
                <a:pos x="connsiteX38491" y="connsiteY38491"/>
              </a:cxn>
              <a:cxn ang="0">
                <a:pos x="connsiteX38492" y="connsiteY38492"/>
              </a:cxn>
              <a:cxn ang="0">
                <a:pos x="connsiteX38493" y="connsiteY38493"/>
              </a:cxn>
              <a:cxn ang="0">
                <a:pos x="connsiteX38494" y="connsiteY38494"/>
              </a:cxn>
              <a:cxn ang="0">
                <a:pos x="connsiteX38495" y="connsiteY38495"/>
              </a:cxn>
              <a:cxn ang="0">
                <a:pos x="connsiteX38496" y="connsiteY38496"/>
              </a:cxn>
              <a:cxn ang="0">
                <a:pos x="connsiteX38497" y="connsiteY38497"/>
              </a:cxn>
              <a:cxn ang="0">
                <a:pos x="connsiteX38498" y="connsiteY38498"/>
              </a:cxn>
              <a:cxn ang="0">
                <a:pos x="connsiteX38499" y="connsiteY38499"/>
              </a:cxn>
              <a:cxn ang="0">
                <a:pos x="connsiteX38500" y="connsiteY38500"/>
              </a:cxn>
              <a:cxn ang="0">
                <a:pos x="connsiteX38501" y="connsiteY38501"/>
              </a:cxn>
              <a:cxn ang="0">
                <a:pos x="connsiteX38502" y="connsiteY38502"/>
              </a:cxn>
              <a:cxn ang="0">
                <a:pos x="connsiteX38503" y="connsiteY38503"/>
              </a:cxn>
              <a:cxn ang="0">
                <a:pos x="connsiteX38504" y="connsiteY38504"/>
              </a:cxn>
              <a:cxn ang="0">
                <a:pos x="connsiteX38505" y="connsiteY38505"/>
              </a:cxn>
              <a:cxn ang="0">
                <a:pos x="connsiteX38506" y="connsiteY38506"/>
              </a:cxn>
              <a:cxn ang="0">
                <a:pos x="connsiteX38507" y="connsiteY38507"/>
              </a:cxn>
              <a:cxn ang="0">
                <a:pos x="connsiteX38508" y="connsiteY38508"/>
              </a:cxn>
              <a:cxn ang="0">
                <a:pos x="connsiteX38509" y="connsiteY38509"/>
              </a:cxn>
              <a:cxn ang="0">
                <a:pos x="connsiteX38510" y="connsiteY38510"/>
              </a:cxn>
              <a:cxn ang="0">
                <a:pos x="connsiteX38511" y="connsiteY38511"/>
              </a:cxn>
              <a:cxn ang="0">
                <a:pos x="connsiteX38512" y="connsiteY38512"/>
              </a:cxn>
              <a:cxn ang="0">
                <a:pos x="connsiteX38513" y="connsiteY38513"/>
              </a:cxn>
              <a:cxn ang="0">
                <a:pos x="connsiteX38514" y="connsiteY38514"/>
              </a:cxn>
              <a:cxn ang="0">
                <a:pos x="connsiteX38515" y="connsiteY38515"/>
              </a:cxn>
              <a:cxn ang="0">
                <a:pos x="connsiteX38516" y="connsiteY38516"/>
              </a:cxn>
              <a:cxn ang="0">
                <a:pos x="connsiteX38517" y="connsiteY38517"/>
              </a:cxn>
              <a:cxn ang="0">
                <a:pos x="connsiteX38518" y="connsiteY38518"/>
              </a:cxn>
              <a:cxn ang="0">
                <a:pos x="connsiteX38519" y="connsiteY38519"/>
              </a:cxn>
              <a:cxn ang="0">
                <a:pos x="connsiteX38520" y="connsiteY38520"/>
              </a:cxn>
              <a:cxn ang="0">
                <a:pos x="connsiteX38521" y="connsiteY38521"/>
              </a:cxn>
              <a:cxn ang="0">
                <a:pos x="connsiteX38522" y="connsiteY38522"/>
              </a:cxn>
              <a:cxn ang="0">
                <a:pos x="connsiteX38523" y="connsiteY38523"/>
              </a:cxn>
              <a:cxn ang="0">
                <a:pos x="connsiteX38524" y="connsiteY38524"/>
              </a:cxn>
              <a:cxn ang="0">
                <a:pos x="connsiteX38525" y="connsiteY38525"/>
              </a:cxn>
              <a:cxn ang="0">
                <a:pos x="connsiteX38526" y="connsiteY38526"/>
              </a:cxn>
              <a:cxn ang="0">
                <a:pos x="connsiteX38527" y="connsiteY38527"/>
              </a:cxn>
              <a:cxn ang="0">
                <a:pos x="connsiteX38528" y="connsiteY38528"/>
              </a:cxn>
              <a:cxn ang="0">
                <a:pos x="connsiteX38529" y="connsiteY38529"/>
              </a:cxn>
              <a:cxn ang="0">
                <a:pos x="connsiteX38530" y="connsiteY38530"/>
              </a:cxn>
              <a:cxn ang="0">
                <a:pos x="connsiteX38531" y="connsiteY38531"/>
              </a:cxn>
              <a:cxn ang="0">
                <a:pos x="connsiteX38532" y="connsiteY38532"/>
              </a:cxn>
              <a:cxn ang="0">
                <a:pos x="connsiteX38533" y="connsiteY38533"/>
              </a:cxn>
              <a:cxn ang="0">
                <a:pos x="connsiteX38534" y="connsiteY38534"/>
              </a:cxn>
              <a:cxn ang="0">
                <a:pos x="connsiteX38535" y="connsiteY38535"/>
              </a:cxn>
              <a:cxn ang="0">
                <a:pos x="connsiteX38536" y="connsiteY38536"/>
              </a:cxn>
              <a:cxn ang="0">
                <a:pos x="connsiteX38537" y="connsiteY38537"/>
              </a:cxn>
              <a:cxn ang="0">
                <a:pos x="connsiteX38538" y="connsiteY38538"/>
              </a:cxn>
              <a:cxn ang="0">
                <a:pos x="connsiteX38539" y="connsiteY38539"/>
              </a:cxn>
              <a:cxn ang="0">
                <a:pos x="connsiteX38540" y="connsiteY38540"/>
              </a:cxn>
              <a:cxn ang="0">
                <a:pos x="connsiteX38541" y="connsiteY38541"/>
              </a:cxn>
              <a:cxn ang="0">
                <a:pos x="connsiteX38542" y="connsiteY38542"/>
              </a:cxn>
              <a:cxn ang="0">
                <a:pos x="connsiteX38543" y="connsiteY38543"/>
              </a:cxn>
              <a:cxn ang="0">
                <a:pos x="connsiteX38544" y="connsiteY38544"/>
              </a:cxn>
              <a:cxn ang="0">
                <a:pos x="connsiteX38545" y="connsiteY38545"/>
              </a:cxn>
              <a:cxn ang="0">
                <a:pos x="connsiteX38546" y="connsiteY38546"/>
              </a:cxn>
              <a:cxn ang="0">
                <a:pos x="connsiteX38547" y="connsiteY38547"/>
              </a:cxn>
              <a:cxn ang="0">
                <a:pos x="connsiteX38548" y="connsiteY38548"/>
              </a:cxn>
              <a:cxn ang="0">
                <a:pos x="connsiteX38549" y="connsiteY38549"/>
              </a:cxn>
              <a:cxn ang="0">
                <a:pos x="connsiteX38550" y="connsiteY38550"/>
              </a:cxn>
              <a:cxn ang="0">
                <a:pos x="connsiteX38551" y="connsiteY38551"/>
              </a:cxn>
              <a:cxn ang="0">
                <a:pos x="connsiteX38552" y="connsiteY38552"/>
              </a:cxn>
              <a:cxn ang="0">
                <a:pos x="connsiteX38553" y="connsiteY38553"/>
              </a:cxn>
              <a:cxn ang="0">
                <a:pos x="connsiteX38554" y="connsiteY38554"/>
              </a:cxn>
              <a:cxn ang="0">
                <a:pos x="connsiteX38555" y="connsiteY38555"/>
              </a:cxn>
              <a:cxn ang="0">
                <a:pos x="connsiteX38556" y="connsiteY38556"/>
              </a:cxn>
              <a:cxn ang="0">
                <a:pos x="connsiteX38557" y="connsiteY38557"/>
              </a:cxn>
              <a:cxn ang="0">
                <a:pos x="connsiteX38558" y="connsiteY38558"/>
              </a:cxn>
              <a:cxn ang="0">
                <a:pos x="connsiteX38559" y="connsiteY38559"/>
              </a:cxn>
              <a:cxn ang="0">
                <a:pos x="connsiteX38560" y="connsiteY38560"/>
              </a:cxn>
              <a:cxn ang="0">
                <a:pos x="connsiteX38561" y="connsiteY38561"/>
              </a:cxn>
              <a:cxn ang="0">
                <a:pos x="connsiteX38562" y="connsiteY38562"/>
              </a:cxn>
              <a:cxn ang="0">
                <a:pos x="connsiteX38563" y="connsiteY38563"/>
              </a:cxn>
              <a:cxn ang="0">
                <a:pos x="connsiteX38564" y="connsiteY38564"/>
              </a:cxn>
              <a:cxn ang="0">
                <a:pos x="connsiteX38565" y="connsiteY38565"/>
              </a:cxn>
              <a:cxn ang="0">
                <a:pos x="connsiteX38566" y="connsiteY38566"/>
              </a:cxn>
              <a:cxn ang="0">
                <a:pos x="connsiteX38567" y="connsiteY38567"/>
              </a:cxn>
              <a:cxn ang="0">
                <a:pos x="connsiteX38568" y="connsiteY38568"/>
              </a:cxn>
              <a:cxn ang="0">
                <a:pos x="connsiteX38569" y="connsiteY38569"/>
              </a:cxn>
              <a:cxn ang="0">
                <a:pos x="connsiteX38570" y="connsiteY38570"/>
              </a:cxn>
              <a:cxn ang="0">
                <a:pos x="connsiteX38571" y="connsiteY38571"/>
              </a:cxn>
              <a:cxn ang="0">
                <a:pos x="connsiteX38572" y="connsiteY38572"/>
              </a:cxn>
              <a:cxn ang="0">
                <a:pos x="connsiteX38573" y="connsiteY38573"/>
              </a:cxn>
              <a:cxn ang="0">
                <a:pos x="connsiteX38574" y="connsiteY38574"/>
              </a:cxn>
              <a:cxn ang="0">
                <a:pos x="connsiteX38575" y="connsiteY38575"/>
              </a:cxn>
              <a:cxn ang="0">
                <a:pos x="connsiteX38576" y="connsiteY38576"/>
              </a:cxn>
              <a:cxn ang="0">
                <a:pos x="connsiteX38577" y="connsiteY38577"/>
              </a:cxn>
              <a:cxn ang="0">
                <a:pos x="connsiteX38578" y="connsiteY38578"/>
              </a:cxn>
              <a:cxn ang="0">
                <a:pos x="connsiteX38579" y="connsiteY38579"/>
              </a:cxn>
              <a:cxn ang="0">
                <a:pos x="connsiteX38580" y="connsiteY38580"/>
              </a:cxn>
              <a:cxn ang="0">
                <a:pos x="connsiteX38581" y="connsiteY38581"/>
              </a:cxn>
              <a:cxn ang="0">
                <a:pos x="connsiteX38582" y="connsiteY38582"/>
              </a:cxn>
              <a:cxn ang="0">
                <a:pos x="connsiteX38583" y="connsiteY38583"/>
              </a:cxn>
              <a:cxn ang="0">
                <a:pos x="connsiteX38584" y="connsiteY38584"/>
              </a:cxn>
              <a:cxn ang="0">
                <a:pos x="connsiteX38585" y="connsiteY38585"/>
              </a:cxn>
              <a:cxn ang="0">
                <a:pos x="connsiteX38586" y="connsiteY38586"/>
              </a:cxn>
              <a:cxn ang="0">
                <a:pos x="connsiteX38587" y="connsiteY38587"/>
              </a:cxn>
              <a:cxn ang="0">
                <a:pos x="connsiteX38588" y="connsiteY38588"/>
              </a:cxn>
              <a:cxn ang="0">
                <a:pos x="connsiteX38589" y="connsiteY38589"/>
              </a:cxn>
              <a:cxn ang="0">
                <a:pos x="connsiteX38590" y="connsiteY38590"/>
              </a:cxn>
              <a:cxn ang="0">
                <a:pos x="connsiteX38591" y="connsiteY38591"/>
              </a:cxn>
              <a:cxn ang="0">
                <a:pos x="connsiteX38592" y="connsiteY38592"/>
              </a:cxn>
              <a:cxn ang="0">
                <a:pos x="connsiteX38593" y="connsiteY38593"/>
              </a:cxn>
              <a:cxn ang="0">
                <a:pos x="connsiteX38594" y="connsiteY38594"/>
              </a:cxn>
              <a:cxn ang="0">
                <a:pos x="connsiteX38595" y="connsiteY38595"/>
              </a:cxn>
              <a:cxn ang="0">
                <a:pos x="connsiteX38596" y="connsiteY38596"/>
              </a:cxn>
              <a:cxn ang="0">
                <a:pos x="connsiteX38597" y="connsiteY38597"/>
              </a:cxn>
              <a:cxn ang="0">
                <a:pos x="connsiteX38598" y="connsiteY38598"/>
              </a:cxn>
              <a:cxn ang="0">
                <a:pos x="connsiteX38599" y="connsiteY38599"/>
              </a:cxn>
              <a:cxn ang="0">
                <a:pos x="connsiteX38600" y="connsiteY38600"/>
              </a:cxn>
              <a:cxn ang="0">
                <a:pos x="connsiteX38601" y="connsiteY38601"/>
              </a:cxn>
              <a:cxn ang="0">
                <a:pos x="connsiteX38602" y="connsiteY38602"/>
              </a:cxn>
              <a:cxn ang="0">
                <a:pos x="connsiteX38603" y="connsiteY38603"/>
              </a:cxn>
              <a:cxn ang="0">
                <a:pos x="connsiteX38604" y="connsiteY38604"/>
              </a:cxn>
              <a:cxn ang="0">
                <a:pos x="connsiteX38605" y="connsiteY38605"/>
              </a:cxn>
              <a:cxn ang="0">
                <a:pos x="connsiteX38606" y="connsiteY38606"/>
              </a:cxn>
              <a:cxn ang="0">
                <a:pos x="connsiteX38607" y="connsiteY38607"/>
              </a:cxn>
              <a:cxn ang="0">
                <a:pos x="connsiteX38608" y="connsiteY38608"/>
              </a:cxn>
              <a:cxn ang="0">
                <a:pos x="connsiteX38609" y="connsiteY38609"/>
              </a:cxn>
              <a:cxn ang="0">
                <a:pos x="connsiteX38610" y="connsiteY38610"/>
              </a:cxn>
              <a:cxn ang="0">
                <a:pos x="connsiteX38611" y="connsiteY38611"/>
              </a:cxn>
              <a:cxn ang="0">
                <a:pos x="connsiteX38612" y="connsiteY38612"/>
              </a:cxn>
              <a:cxn ang="0">
                <a:pos x="connsiteX38613" y="connsiteY38613"/>
              </a:cxn>
              <a:cxn ang="0">
                <a:pos x="connsiteX38614" y="connsiteY38614"/>
              </a:cxn>
              <a:cxn ang="0">
                <a:pos x="connsiteX38615" y="connsiteY38615"/>
              </a:cxn>
              <a:cxn ang="0">
                <a:pos x="connsiteX38616" y="connsiteY38616"/>
              </a:cxn>
              <a:cxn ang="0">
                <a:pos x="connsiteX38617" y="connsiteY38617"/>
              </a:cxn>
              <a:cxn ang="0">
                <a:pos x="connsiteX38618" y="connsiteY38618"/>
              </a:cxn>
              <a:cxn ang="0">
                <a:pos x="connsiteX38619" y="connsiteY38619"/>
              </a:cxn>
              <a:cxn ang="0">
                <a:pos x="connsiteX38620" y="connsiteY38620"/>
              </a:cxn>
              <a:cxn ang="0">
                <a:pos x="connsiteX38621" y="connsiteY38621"/>
              </a:cxn>
              <a:cxn ang="0">
                <a:pos x="connsiteX38622" y="connsiteY38622"/>
              </a:cxn>
              <a:cxn ang="0">
                <a:pos x="connsiteX38623" y="connsiteY38623"/>
              </a:cxn>
              <a:cxn ang="0">
                <a:pos x="connsiteX38624" y="connsiteY38624"/>
              </a:cxn>
              <a:cxn ang="0">
                <a:pos x="connsiteX38625" y="connsiteY38625"/>
              </a:cxn>
              <a:cxn ang="0">
                <a:pos x="connsiteX38626" y="connsiteY38626"/>
              </a:cxn>
              <a:cxn ang="0">
                <a:pos x="connsiteX38627" y="connsiteY38627"/>
              </a:cxn>
              <a:cxn ang="0">
                <a:pos x="connsiteX38628" y="connsiteY38628"/>
              </a:cxn>
              <a:cxn ang="0">
                <a:pos x="connsiteX38629" y="connsiteY38629"/>
              </a:cxn>
              <a:cxn ang="0">
                <a:pos x="connsiteX38630" y="connsiteY38630"/>
              </a:cxn>
              <a:cxn ang="0">
                <a:pos x="connsiteX38631" y="connsiteY38631"/>
              </a:cxn>
              <a:cxn ang="0">
                <a:pos x="connsiteX38632" y="connsiteY38632"/>
              </a:cxn>
              <a:cxn ang="0">
                <a:pos x="connsiteX38633" y="connsiteY38633"/>
              </a:cxn>
              <a:cxn ang="0">
                <a:pos x="connsiteX38634" y="connsiteY38634"/>
              </a:cxn>
              <a:cxn ang="0">
                <a:pos x="connsiteX38635" y="connsiteY38635"/>
              </a:cxn>
              <a:cxn ang="0">
                <a:pos x="connsiteX38636" y="connsiteY38636"/>
              </a:cxn>
              <a:cxn ang="0">
                <a:pos x="connsiteX38637" y="connsiteY38637"/>
              </a:cxn>
              <a:cxn ang="0">
                <a:pos x="connsiteX38638" y="connsiteY38638"/>
              </a:cxn>
              <a:cxn ang="0">
                <a:pos x="connsiteX38639" y="connsiteY38639"/>
              </a:cxn>
              <a:cxn ang="0">
                <a:pos x="connsiteX38640" y="connsiteY38640"/>
              </a:cxn>
              <a:cxn ang="0">
                <a:pos x="connsiteX38641" y="connsiteY38641"/>
              </a:cxn>
              <a:cxn ang="0">
                <a:pos x="connsiteX38642" y="connsiteY38642"/>
              </a:cxn>
              <a:cxn ang="0">
                <a:pos x="connsiteX38643" y="connsiteY38643"/>
              </a:cxn>
              <a:cxn ang="0">
                <a:pos x="connsiteX38644" y="connsiteY38644"/>
              </a:cxn>
              <a:cxn ang="0">
                <a:pos x="connsiteX38645" y="connsiteY38645"/>
              </a:cxn>
              <a:cxn ang="0">
                <a:pos x="connsiteX38646" y="connsiteY38646"/>
              </a:cxn>
              <a:cxn ang="0">
                <a:pos x="connsiteX38647" y="connsiteY38647"/>
              </a:cxn>
              <a:cxn ang="0">
                <a:pos x="connsiteX38648" y="connsiteY38648"/>
              </a:cxn>
              <a:cxn ang="0">
                <a:pos x="connsiteX38649" y="connsiteY38649"/>
              </a:cxn>
              <a:cxn ang="0">
                <a:pos x="connsiteX38650" y="connsiteY38650"/>
              </a:cxn>
              <a:cxn ang="0">
                <a:pos x="connsiteX38651" y="connsiteY38651"/>
              </a:cxn>
              <a:cxn ang="0">
                <a:pos x="connsiteX38652" y="connsiteY38652"/>
              </a:cxn>
              <a:cxn ang="0">
                <a:pos x="connsiteX38653" y="connsiteY38653"/>
              </a:cxn>
              <a:cxn ang="0">
                <a:pos x="connsiteX38654" y="connsiteY38654"/>
              </a:cxn>
              <a:cxn ang="0">
                <a:pos x="connsiteX38655" y="connsiteY38655"/>
              </a:cxn>
              <a:cxn ang="0">
                <a:pos x="connsiteX38656" y="connsiteY38656"/>
              </a:cxn>
              <a:cxn ang="0">
                <a:pos x="connsiteX38657" y="connsiteY38657"/>
              </a:cxn>
              <a:cxn ang="0">
                <a:pos x="connsiteX38658" y="connsiteY38658"/>
              </a:cxn>
              <a:cxn ang="0">
                <a:pos x="connsiteX38659" y="connsiteY38659"/>
              </a:cxn>
              <a:cxn ang="0">
                <a:pos x="connsiteX38660" y="connsiteY38660"/>
              </a:cxn>
              <a:cxn ang="0">
                <a:pos x="connsiteX38661" y="connsiteY38661"/>
              </a:cxn>
              <a:cxn ang="0">
                <a:pos x="connsiteX38662" y="connsiteY38662"/>
              </a:cxn>
              <a:cxn ang="0">
                <a:pos x="connsiteX38663" y="connsiteY38663"/>
              </a:cxn>
              <a:cxn ang="0">
                <a:pos x="connsiteX38664" y="connsiteY38664"/>
              </a:cxn>
              <a:cxn ang="0">
                <a:pos x="connsiteX38665" y="connsiteY38665"/>
              </a:cxn>
              <a:cxn ang="0">
                <a:pos x="connsiteX38666" y="connsiteY38666"/>
              </a:cxn>
              <a:cxn ang="0">
                <a:pos x="connsiteX38667" y="connsiteY38667"/>
              </a:cxn>
              <a:cxn ang="0">
                <a:pos x="connsiteX38668" y="connsiteY38668"/>
              </a:cxn>
              <a:cxn ang="0">
                <a:pos x="connsiteX38669" y="connsiteY38669"/>
              </a:cxn>
              <a:cxn ang="0">
                <a:pos x="connsiteX38670" y="connsiteY38670"/>
              </a:cxn>
              <a:cxn ang="0">
                <a:pos x="connsiteX38671" y="connsiteY38671"/>
              </a:cxn>
              <a:cxn ang="0">
                <a:pos x="connsiteX38672" y="connsiteY38672"/>
              </a:cxn>
              <a:cxn ang="0">
                <a:pos x="connsiteX38673" y="connsiteY38673"/>
              </a:cxn>
              <a:cxn ang="0">
                <a:pos x="connsiteX38674" y="connsiteY38674"/>
              </a:cxn>
              <a:cxn ang="0">
                <a:pos x="connsiteX38675" y="connsiteY38675"/>
              </a:cxn>
              <a:cxn ang="0">
                <a:pos x="connsiteX38676" y="connsiteY38676"/>
              </a:cxn>
              <a:cxn ang="0">
                <a:pos x="connsiteX38677" y="connsiteY38677"/>
              </a:cxn>
              <a:cxn ang="0">
                <a:pos x="connsiteX38678" y="connsiteY38678"/>
              </a:cxn>
              <a:cxn ang="0">
                <a:pos x="connsiteX38679" y="connsiteY38679"/>
              </a:cxn>
              <a:cxn ang="0">
                <a:pos x="connsiteX38680" y="connsiteY38680"/>
              </a:cxn>
              <a:cxn ang="0">
                <a:pos x="connsiteX38681" y="connsiteY38681"/>
              </a:cxn>
              <a:cxn ang="0">
                <a:pos x="connsiteX38682" y="connsiteY38682"/>
              </a:cxn>
              <a:cxn ang="0">
                <a:pos x="connsiteX38683" y="connsiteY38683"/>
              </a:cxn>
              <a:cxn ang="0">
                <a:pos x="connsiteX38684" y="connsiteY38684"/>
              </a:cxn>
              <a:cxn ang="0">
                <a:pos x="connsiteX38685" y="connsiteY38685"/>
              </a:cxn>
              <a:cxn ang="0">
                <a:pos x="connsiteX38686" y="connsiteY38686"/>
              </a:cxn>
              <a:cxn ang="0">
                <a:pos x="connsiteX38687" y="connsiteY38687"/>
              </a:cxn>
              <a:cxn ang="0">
                <a:pos x="connsiteX38688" y="connsiteY38688"/>
              </a:cxn>
              <a:cxn ang="0">
                <a:pos x="connsiteX38689" y="connsiteY38689"/>
              </a:cxn>
              <a:cxn ang="0">
                <a:pos x="connsiteX38690" y="connsiteY38690"/>
              </a:cxn>
              <a:cxn ang="0">
                <a:pos x="connsiteX38691" y="connsiteY38691"/>
              </a:cxn>
              <a:cxn ang="0">
                <a:pos x="connsiteX38692" y="connsiteY38692"/>
              </a:cxn>
              <a:cxn ang="0">
                <a:pos x="connsiteX38693" y="connsiteY38693"/>
              </a:cxn>
              <a:cxn ang="0">
                <a:pos x="connsiteX38694" y="connsiteY38694"/>
              </a:cxn>
              <a:cxn ang="0">
                <a:pos x="connsiteX38695" y="connsiteY38695"/>
              </a:cxn>
              <a:cxn ang="0">
                <a:pos x="connsiteX38696" y="connsiteY38696"/>
              </a:cxn>
              <a:cxn ang="0">
                <a:pos x="connsiteX38697" y="connsiteY38697"/>
              </a:cxn>
              <a:cxn ang="0">
                <a:pos x="connsiteX38698" y="connsiteY38698"/>
              </a:cxn>
              <a:cxn ang="0">
                <a:pos x="connsiteX38699" y="connsiteY38699"/>
              </a:cxn>
              <a:cxn ang="0">
                <a:pos x="connsiteX38700" y="connsiteY38700"/>
              </a:cxn>
              <a:cxn ang="0">
                <a:pos x="connsiteX38701" y="connsiteY38701"/>
              </a:cxn>
              <a:cxn ang="0">
                <a:pos x="connsiteX38702" y="connsiteY38702"/>
              </a:cxn>
              <a:cxn ang="0">
                <a:pos x="connsiteX38703" y="connsiteY38703"/>
              </a:cxn>
              <a:cxn ang="0">
                <a:pos x="connsiteX38704" y="connsiteY38704"/>
              </a:cxn>
              <a:cxn ang="0">
                <a:pos x="connsiteX38705" y="connsiteY38705"/>
              </a:cxn>
              <a:cxn ang="0">
                <a:pos x="connsiteX38706" y="connsiteY38706"/>
              </a:cxn>
              <a:cxn ang="0">
                <a:pos x="connsiteX38707" y="connsiteY38707"/>
              </a:cxn>
              <a:cxn ang="0">
                <a:pos x="connsiteX38708" y="connsiteY38708"/>
              </a:cxn>
              <a:cxn ang="0">
                <a:pos x="connsiteX38709" y="connsiteY38709"/>
              </a:cxn>
              <a:cxn ang="0">
                <a:pos x="connsiteX38710" y="connsiteY38710"/>
              </a:cxn>
              <a:cxn ang="0">
                <a:pos x="connsiteX38711" y="connsiteY38711"/>
              </a:cxn>
              <a:cxn ang="0">
                <a:pos x="connsiteX38712" y="connsiteY38712"/>
              </a:cxn>
              <a:cxn ang="0">
                <a:pos x="connsiteX38713" y="connsiteY38713"/>
              </a:cxn>
              <a:cxn ang="0">
                <a:pos x="connsiteX38714" y="connsiteY38714"/>
              </a:cxn>
              <a:cxn ang="0">
                <a:pos x="connsiteX38715" y="connsiteY38715"/>
              </a:cxn>
              <a:cxn ang="0">
                <a:pos x="connsiteX38716" y="connsiteY38716"/>
              </a:cxn>
              <a:cxn ang="0">
                <a:pos x="connsiteX38717" y="connsiteY38717"/>
              </a:cxn>
              <a:cxn ang="0">
                <a:pos x="connsiteX38718" y="connsiteY38718"/>
              </a:cxn>
              <a:cxn ang="0">
                <a:pos x="connsiteX38719" y="connsiteY38719"/>
              </a:cxn>
              <a:cxn ang="0">
                <a:pos x="connsiteX38720" y="connsiteY38720"/>
              </a:cxn>
              <a:cxn ang="0">
                <a:pos x="connsiteX38721" y="connsiteY38721"/>
              </a:cxn>
              <a:cxn ang="0">
                <a:pos x="connsiteX38722" y="connsiteY38722"/>
              </a:cxn>
              <a:cxn ang="0">
                <a:pos x="connsiteX38723" y="connsiteY38723"/>
              </a:cxn>
              <a:cxn ang="0">
                <a:pos x="connsiteX38724" y="connsiteY38724"/>
              </a:cxn>
              <a:cxn ang="0">
                <a:pos x="connsiteX38725" y="connsiteY38725"/>
              </a:cxn>
              <a:cxn ang="0">
                <a:pos x="connsiteX38726" y="connsiteY38726"/>
              </a:cxn>
              <a:cxn ang="0">
                <a:pos x="connsiteX38727" y="connsiteY38727"/>
              </a:cxn>
              <a:cxn ang="0">
                <a:pos x="connsiteX38728" y="connsiteY38728"/>
              </a:cxn>
              <a:cxn ang="0">
                <a:pos x="connsiteX38729" y="connsiteY38729"/>
              </a:cxn>
              <a:cxn ang="0">
                <a:pos x="connsiteX38730" y="connsiteY38730"/>
              </a:cxn>
              <a:cxn ang="0">
                <a:pos x="connsiteX38731" y="connsiteY38731"/>
              </a:cxn>
              <a:cxn ang="0">
                <a:pos x="connsiteX38732" y="connsiteY38732"/>
              </a:cxn>
              <a:cxn ang="0">
                <a:pos x="connsiteX38733" y="connsiteY38733"/>
              </a:cxn>
              <a:cxn ang="0">
                <a:pos x="connsiteX38734" y="connsiteY38734"/>
              </a:cxn>
              <a:cxn ang="0">
                <a:pos x="connsiteX38735" y="connsiteY38735"/>
              </a:cxn>
              <a:cxn ang="0">
                <a:pos x="connsiteX38736" y="connsiteY38736"/>
              </a:cxn>
              <a:cxn ang="0">
                <a:pos x="connsiteX38737" y="connsiteY38737"/>
              </a:cxn>
              <a:cxn ang="0">
                <a:pos x="connsiteX38738" y="connsiteY38738"/>
              </a:cxn>
              <a:cxn ang="0">
                <a:pos x="connsiteX38739" y="connsiteY38739"/>
              </a:cxn>
              <a:cxn ang="0">
                <a:pos x="connsiteX38740" y="connsiteY38740"/>
              </a:cxn>
              <a:cxn ang="0">
                <a:pos x="connsiteX38741" y="connsiteY38741"/>
              </a:cxn>
              <a:cxn ang="0">
                <a:pos x="connsiteX38742" y="connsiteY38742"/>
              </a:cxn>
              <a:cxn ang="0">
                <a:pos x="connsiteX38743" y="connsiteY38743"/>
              </a:cxn>
              <a:cxn ang="0">
                <a:pos x="connsiteX38744" y="connsiteY38744"/>
              </a:cxn>
              <a:cxn ang="0">
                <a:pos x="connsiteX38745" y="connsiteY38745"/>
              </a:cxn>
              <a:cxn ang="0">
                <a:pos x="connsiteX38746" y="connsiteY38746"/>
              </a:cxn>
              <a:cxn ang="0">
                <a:pos x="connsiteX38747" y="connsiteY38747"/>
              </a:cxn>
              <a:cxn ang="0">
                <a:pos x="connsiteX38748" y="connsiteY38748"/>
              </a:cxn>
              <a:cxn ang="0">
                <a:pos x="connsiteX38749" y="connsiteY38749"/>
              </a:cxn>
              <a:cxn ang="0">
                <a:pos x="connsiteX38750" y="connsiteY38750"/>
              </a:cxn>
              <a:cxn ang="0">
                <a:pos x="connsiteX38751" y="connsiteY38751"/>
              </a:cxn>
              <a:cxn ang="0">
                <a:pos x="connsiteX38752" y="connsiteY38752"/>
              </a:cxn>
              <a:cxn ang="0">
                <a:pos x="connsiteX38753" y="connsiteY38753"/>
              </a:cxn>
              <a:cxn ang="0">
                <a:pos x="connsiteX38754" y="connsiteY38754"/>
              </a:cxn>
              <a:cxn ang="0">
                <a:pos x="connsiteX38755" y="connsiteY38755"/>
              </a:cxn>
              <a:cxn ang="0">
                <a:pos x="connsiteX38756" y="connsiteY38756"/>
              </a:cxn>
              <a:cxn ang="0">
                <a:pos x="connsiteX38757" y="connsiteY38757"/>
              </a:cxn>
              <a:cxn ang="0">
                <a:pos x="connsiteX38758" y="connsiteY38758"/>
              </a:cxn>
              <a:cxn ang="0">
                <a:pos x="connsiteX38759" y="connsiteY38759"/>
              </a:cxn>
              <a:cxn ang="0">
                <a:pos x="connsiteX38760" y="connsiteY38760"/>
              </a:cxn>
              <a:cxn ang="0">
                <a:pos x="connsiteX38761" y="connsiteY38761"/>
              </a:cxn>
              <a:cxn ang="0">
                <a:pos x="connsiteX38762" y="connsiteY38762"/>
              </a:cxn>
              <a:cxn ang="0">
                <a:pos x="connsiteX38763" y="connsiteY38763"/>
              </a:cxn>
              <a:cxn ang="0">
                <a:pos x="connsiteX38764" y="connsiteY38764"/>
              </a:cxn>
              <a:cxn ang="0">
                <a:pos x="connsiteX38765" y="connsiteY38765"/>
              </a:cxn>
              <a:cxn ang="0">
                <a:pos x="connsiteX38766" y="connsiteY38766"/>
              </a:cxn>
              <a:cxn ang="0">
                <a:pos x="connsiteX38767" y="connsiteY38767"/>
              </a:cxn>
              <a:cxn ang="0">
                <a:pos x="connsiteX38768" y="connsiteY38768"/>
              </a:cxn>
              <a:cxn ang="0">
                <a:pos x="connsiteX38769" y="connsiteY38769"/>
              </a:cxn>
              <a:cxn ang="0">
                <a:pos x="connsiteX38770" y="connsiteY38770"/>
              </a:cxn>
              <a:cxn ang="0">
                <a:pos x="connsiteX38771" y="connsiteY38771"/>
              </a:cxn>
              <a:cxn ang="0">
                <a:pos x="connsiteX38772" y="connsiteY38772"/>
              </a:cxn>
              <a:cxn ang="0">
                <a:pos x="connsiteX38773" y="connsiteY38773"/>
              </a:cxn>
              <a:cxn ang="0">
                <a:pos x="connsiteX38774" y="connsiteY38774"/>
              </a:cxn>
              <a:cxn ang="0">
                <a:pos x="connsiteX38775" y="connsiteY38775"/>
              </a:cxn>
              <a:cxn ang="0">
                <a:pos x="connsiteX38776" y="connsiteY38776"/>
              </a:cxn>
              <a:cxn ang="0">
                <a:pos x="connsiteX38777" y="connsiteY38777"/>
              </a:cxn>
              <a:cxn ang="0">
                <a:pos x="connsiteX38778" y="connsiteY38778"/>
              </a:cxn>
              <a:cxn ang="0">
                <a:pos x="connsiteX38779" y="connsiteY38779"/>
              </a:cxn>
              <a:cxn ang="0">
                <a:pos x="connsiteX38780" y="connsiteY38780"/>
              </a:cxn>
              <a:cxn ang="0">
                <a:pos x="connsiteX38781" y="connsiteY38781"/>
              </a:cxn>
              <a:cxn ang="0">
                <a:pos x="connsiteX38782" y="connsiteY38782"/>
              </a:cxn>
              <a:cxn ang="0">
                <a:pos x="connsiteX38783" y="connsiteY38783"/>
              </a:cxn>
              <a:cxn ang="0">
                <a:pos x="connsiteX38784" y="connsiteY38784"/>
              </a:cxn>
              <a:cxn ang="0">
                <a:pos x="connsiteX38785" y="connsiteY38785"/>
              </a:cxn>
              <a:cxn ang="0">
                <a:pos x="connsiteX38786" y="connsiteY38786"/>
              </a:cxn>
              <a:cxn ang="0">
                <a:pos x="connsiteX38787" y="connsiteY38787"/>
              </a:cxn>
              <a:cxn ang="0">
                <a:pos x="connsiteX38788" y="connsiteY38788"/>
              </a:cxn>
              <a:cxn ang="0">
                <a:pos x="connsiteX38789" y="connsiteY38789"/>
              </a:cxn>
              <a:cxn ang="0">
                <a:pos x="connsiteX38790" y="connsiteY38790"/>
              </a:cxn>
              <a:cxn ang="0">
                <a:pos x="connsiteX38791" y="connsiteY38791"/>
              </a:cxn>
              <a:cxn ang="0">
                <a:pos x="connsiteX38792" y="connsiteY38792"/>
              </a:cxn>
              <a:cxn ang="0">
                <a:pos x="connsiteX38793" y="connsiteY38793"/>
              </a:cxn>
              <a:cxn ang="0">
                <a:pos x="connsiteX38794" y="connsiteY38794"/>
              </a:cxn>
              <a:cxn ang="0">
                <a:pos x="connsiteX38795" y="connsiteY38795"/>
              </a:cxn>
              <a:cxn ang="0">
                <a:pos x="connsiteX38796" y="connsiteY38796"/>
              </a:cxn>
              <a:cxn ang="0">
                <a:pos x="connsiteX38797" y="connsiteY38797"/>
              </a:cxn>
              <a:cxn ang="0">
                <a:pos x="connsiteX38798" y="connsiteY38798"/>
              </a:cxn>
              <a:cxn ang="0">
                <a:pos x="connsiteX38799" y="connsiteY38799"/>
              </a:cxn>
              <a:cxn ang="0">
                <a:pos x="connsiteX38800" y="connsiteY38800"/>
              </a:cxn>
              <a:cxn ang="0">
                <a:pos x="connsiteX38801" y="connsiteY38801"/>
              </a:cxn>
              <a:cxn ang="0">
                <a:pos x="connsiteX38802" y="connsiteY38802"/>
              </a:cxn>
              <a:cxn ang="0">
                <a:pos x="connsiteX38803" y="connsiteY38803"/>
              </a:cxn>
              <a:cxn ang="0">
                <a:pos x="connsiteX38804" y="connsiteY38804"/>
              </a:cxn>
              <a:cxn ang="0">
                <a:pos x="connsiteX38805" y="connsiteY38805"/>
              </a:cxn>
              <a:cxn ang="0">
                <a:pos x="connsiteX38806" y="connsiteY38806"/>
              </a:cxn>
              <a:cxn ang="0">
                <a:pos x="connsiteX38807" y="connsiteY38807"/>
              </a:cxn>
              <a:cxn ang="0">
                <a:pos x="connsiteX38808" y="connsiteY38808"/>
              </a:cxn>
              <a:cxn ang="0">
                <a:pos x="connsiteX38809" y="connsiteY38809"/>
              </a:cxn>
              <a:cxn ang="0">
                <a:pos x="connsiteX38810" y="connsiteY38810"/>
              </a:cxn>
              <a:cxn ang="0">
                <a:pos x="connsiteX38811" y="connsiteY38811"/>
              </a:cxn>
              <a:cxn ang="0">
                <a:pos x="connsiteX38812" y="connsiteY38812"/>
              </a:cxn>
              <a:cxn ang="0">
                <a:pos x="connsiteX38813" y="connsiteY38813"/>
              </a:cxn>
              <a:cxn ang="0">
                <a:pos x="connsiteX38814" y="connsiteY38814"/>
              </a:cxn>
              <a:cxn ang="0">
                <a:pos x="connsiteX38815" y="connsiteY38815"/>
              </a:cxn>
              <a:cxn ang="0">
                <a:pos x="connsiteX38816" y="connsiteY38816"/>
              </a:cxn>
              <a:cxn ang="0">
                <a:pos x="connsiteX38817" y="connsiteY38817"/>
              </a:cxn>
              <a:cxn ang="0">
                <a:pos x="connsiteX38818" y="connsiteY38818"/>
              </a:cxn>
              <a:cxn ang="0">
                <a:pos x="connsiteX38819" y="connsiteY38819"/>
              </a:cxn>
              <a:cxn ang="0">
                <a:pos x="connsiteX38820" y="connsiteY38820"/>
              </a:cxn>
              <a:cxn ang="0">
                <a:pos x="connsiteX38821" y="connsiteY38821"/>
              </a:cxn>
              <a:cxn ang="0">
                <a:pos x="connsiteX38822" y="connsiteY38822"/>
              </a:cxn>
              <a:cxn ang="0">
                <a:pos x="connsiteX38823" y="connsiteY38823"/>
              </a:cxn>
              <a:cxn ang="0">
                <a:pos x="connsiteX38824" y="connsiteY38824"/>
              </a:cxn>
              <a:cxn ang="0">
                <a:pos x="connsiteX38825" y="connsiteY38825"/>
              </a:cxn>
              <a:cxn ang="0">
                <a:pos x="connsiteX38826" y="connsiteY38826"/>
              </a:cxn>
              <a:cxn ang="0">
                <a:pos x="connsiteX38827" y="connsiteY38827"/>
              </a:cxn>
              <a:cxn ang="0">
                <a:pos x="connsiteX38828" y="connsiteY38828"/>
              </a:cxn>
              <a:cxn ang="0">
                <a:pos x="connsiteX38829" y="connsiteY38829"/>
              </a:cxn>
              <a:cxn ang="0">
                <a:pos x="connsiteX38830" y="connsiteY38830"/>
              </a:cxn>
              <a:cxn ang="0">
                <a:pos x="connsiteX38831" y="connsiteY38831"/>
              </a:cxn>
              <a:cxn ang="0">
                <a:pos x="connsiteX38832" y="connsiteY38832"/>
              </a:cxn>
              <a:cxn ang="0">
                <a:pos x="connsiteX38833" y="connsiteY38833"/>
              </a:cxn>
              <a:cxn ang="0">
                <a:pos x="connsiteX38834" y="connsiteY38834"/>
              </a:cxn>
              <a:cxn ang="0">
                <a:pos x="connsiteX38835" y="connsiteY38835"/>
              </a:cxn>
              <a:cxn ang="0">
                <a:pos x="connsiteX38836" y="connsiteY38836"/>
              </a:cxn>
              <a:cxn ang="0">
                <a:pos x="connsiteX38837" y="connsiteY38837"/>
              </a:cxn>
              <a:cxn ang="0">
                <a:pos x="connsiteX38838" y="connsiteY38838"/>
              </a:cxn>
              <a:cxn ang="0">
                <a:pos x="connsiteX38839" y="connsiteY38839"/>
              </a:cxn>
              <a:cxn ang="0">
                <a:pos x="connsiteX38840" y="connsiteY38840"/>
              </a:cxn>
              <a:cxn ang="0">
                <a:pos x="connsiteX38841" y="connsiteY38841"/>
              </a:cxn>
              <a:cxn ang="0">
                <a:pos x="connsiteX38842" y="connsiteY38842"/>
              </a:cxn>
              <a:cxn ang="0">
                <a:pos x="connsiteX38843" y="connsiteY38843"/>
              </a:cxn>
              <a:cxn ang="0">
                <a:pos x="connsiteX38844" y="connsiteY38844"/>
              </a:cxn>
              <a:cxn ang="0">
                <a:pos x="connsiteX38845" y="connsiteY38845"/>
              </a:cxn>
              <a:cxn ang="0">
                <a:pos x="connsiteX38846" y="connsiteY38846"/>
              </a:cxn>
              <a:cxn ang="0">
                <a:pos x="connsiteX38847" y="connsiteY38847"/>
              </a:cxn>
              <a:cxn ang="0">
                <a:pos x="connsiteX38848" y="connsiteY38848"/>
              </a:cxn>
              <a:cxn ang="0">
                <a:pos x="connsiteX38849" y="connsiteY38849"/>
              </a:cxn>
              <a:cxn ang="0">
                <a:pos x="connsiteX38850" y="connsiteY38850"/>
              </a:cxn>
              <a:cxn ang="0">
                <a:pos x="connsiteX38851" y="connsiteY38851"/>
              </a:cxn>
              <a:cxn ang="0">
                <a:pos x="connsiteX38852" y="connsiteY38852"/>
              </a:cxn>
              <a:cxn ang="0">
                <a:pos x="connsiteX38853" y="connsiteY38853"/>
              </a:cxn>
              <a:cxn ang="0">
                <a:pos x="connsiteX38854" y="connsiteY38854"/>
              </a:cxn>
              <a:cxn ang="0">
                <a:pos x="connsiteX38855" y="connsiteY38855"/>
              </a:cxn>
              <a:cxn ang="0">
                <a:pos x="connsiteX38856" y="connsiteY38856"/>
              </a:cxn>
              <a:cxn ang="0">
                <a:pos x="connsiteX38857" y="connsiteY38857"/>
              </a:cxn>
              <a:cxn ang="0">
                <a:pos x="connsiteX38858" y="connsiteY38858"/>
              </a:cxn>
              <a:cxn ang="0">
                <a:pos x="connsiteX38859" y="connsiteY38859"/>
              </a:cxn>
              <a:cxn ang="0">
                <a:pos x="connsiteX38860" y="connsiteY38860"/>
              </a:cxn>
              <a:cxn ang="0">
                <a:pos x="connsiteX38861" y="connsiteY38861"/>
              </a:cxn>
              <a:cxn ang="0">
                <a:pos x="connsiteX38862" y="connsiteY38862"/>
              </a:cxn>
              <a:cxn ang="0">
                <a:pos x="connsiteX38863" y="connsiteY38863"/>
              </a:cxn>
              <a:cxn ang="0">
                <a:pos x="connsiteX38864" y="connsiteY38864"/>
              </a:cxn>
              <a:cxn ang="0">
                <a:pos x="connsiteX38865" y="connsiteY38865"/>
              </a:cxn>
              <a:cxn ang="0">
                <a:pos x="connsiteX38866" y="connsiteY38866"/>
              </a:cxn>
              <a:cxn ang="0">
                <a:pos x="connsiteX38867" y="connsiteY38867"/>
              </a:cxn>
              <a:cxn ang="0">
                <a:pos x="connsiteX38868" y="connsiteY38868"/>
              </a:cxn>
              <a:cxn ang="0">
                <a:pos x="connsiteX38869" y="connsiteY38869"/>
              </a:cxn>
              <a:cxn ang="0">
                <a:pos x="connsiteX38870" y="connsiteY38870"/>
              </a:cxn>
              <a:cxn ang="0">
                <a:pos x="connsiteX38871" y="connsiteY38871"/>
              </a:cxn>
              <a:cxn ang="0">
                <a:pos x="connsiteX38872" y="connsiteY38872"/>
              </a:cxn>
              <a:cxn ang="0">
                <a:pos x="connsiteX38873" y="connsiteY38873"/>
              </a:cxn>
              <a:cxn ang="0">
                <a:pos x="connsiteX38874" y="connsiteY38874"/>
              </a:cxn>
              <a:cxn ang="0">
                <a:pos x="connsiteX38875" y="connsiteY38875"/>
              </a:cxn>
              <a:cxn ang="0">
                <a:pos x="connsiteX38876" y="connsiteY38876"/>
              </a:cxn>
              <a:cxn ang="0">
                <a:pos x="connsiteX38877" y="connsiteY38877"/>
              </a:cxn>
              <a:cxn ang="0">
                <a:pos x="connsiteX38878" y="connsiteY38878"/>
              </a:cxn>
              <a:cxn ang="0">
                <a:pos x="connsiteX38879" y="connsiteY38879"/>
              </a:cxn>
              <a:cxn ang="0">
                <a:pos x="connsiteX38880" y="connsiteY38880"/>
              </a:cxn>
              <a:cxn ang="0">
                <a:pos x="connsiteX38881" y="connsiteY38881"/>
              </a:cxn>
              <a:cxn ang="0">
                <a:pos x="connsiteX38882" y="connsiteY38882"/>
              </a:cxn>
              <a:cxn ang="0">
                <a:pos x="connsiteX38883" y="connsiteY38883"/>
              </a:cxn>
              <a:cxn ang="0">
                <a:pos x="connsiteX38884" y="connsiteY38884"/>
              </a:cxn>
              <a:cxn ang="0">
                <a:pos x="connsiteX38885" y="connsiteY38885"/>
              </a:cxn>
              <a:cxn ang="0">
                <a:pos x="connsiteX38886" y="connsiteY38886"/>
              </a:cxn>
              <a:cxn ang="0">
                <a:pos x="connsiteX38887" y="connsiteY38887"/>
              </a:cxn>
              <a:cxn ang="0">
                <a:pos x="connsiteX38888" y="connsiteY38888"/>
              </a:cxn>
              <a:cxn ang="0">
                <a:pos x="connsiteX38889" y="connsiteY38889"/>
              </a:cxn>
              <a:cxn ang="0">
                <a:pos x="connsiteX38890" y="connsiteY38890"/>
              </a:cxn>
              <a:cxn ang="0">
                <a:pos x="connsiteX38891" y="connsiteY38891"/>
              </a:cxn>
              <a:cxn ang="0">
                <a:pos x="connsiteX38892" y="connsiteY38892"/>
              </a:cxn>
              <a:cxn ang="0">
                <a:pos x="connsiteX38893" y="connsiteY38893"/>
              </a:cxn>
              <a:cxn ang="0">
                <a:pos x="connsiteX38894" y="connsiteY38894"/>
              </a:cxn>
              <a:cxn ang="0">
                <a:pos x="connsiteX38895" y="connsiteY38895"/>
              </a:cxn>
              <a:cxn ang="0">
                <a:pos x="connsiteX38896" y="connsiteY38896"/>
              </a:cxn>
              <a:cxn ang="0">
                <a:pos x="connsiteX38897" y="connsiteY38897"/>
              </a:cxn>
              <a:cxn ang="0">
                <a:pos x="connsiteX38898" y="connsiteY38898"/>
              </a:cxn>
              <a:cxn ang="0">
                <a:pos x="connsiteX38899" y="connsiteY38899"/>
              </a:cxn>
              <a:cxn ang="0">
                <a:pos x="connsiteX38900" y="connsiteY38900"/>
              </a:cxn>
              <a:cxn ang="0">
                <a:pos x="connsiteX38901" y="connsiteY38901"/>
              </a:cxn>
              <a:cxn ang="0">
                <a:pos x="connsiteX38902" y="connsiteY38902"/>
              </a:cxn>
              <a:cxn ang="0">
                <a:pos x="connsiteX38903" y="connsiteY38903"/>
              </a:cxn>
              <a:cxn ang="0">
                <a:pos x="connsiteX38904" y="connsiteY38904"/>
              </a:cxn>
              <a:cxn ang="0">
                <a:pos x="connsiteX38905" y="connsiteY38905"/>
              </a:cxn>
              <a:cxn ang="0">
                <a:pos x="connsiteX38906" y="connsiteY38906"/>
              </a:cxn>
              <a:cxn ang="0">
                <a:pos x="connsiteX38907" y="connsiteY38907"/>
              </a:cxn>
              <a:cxn ang="0">
                <a:pos x="connsiteX38908" y="connsiteY38908"/>
              </a:cxn>
              <a:cxn ang="0">
                <a:pos x="connsiteX38909" y="connsiteY38909"/>
              </a:cxn>
              <a:cxn ang="0">
                <a:pos x="connsiteX38910" y="connsiteY38910"/>
              </a:cxn>
              <a:cxn ang="0">
                <a:pos x="connsiteX38911" y="connsiteY38911"/>
              </a:cxn>
              <a:cxn ang="0">
                <a:pos x="connsiteX38912" y="connsiteY38912"/>
              </a:cxn>
              <a:cxn ang="0">
                <a:pos x="connsiteX38913" y="connsiteY38913"/>
              </a:cxn>
              <a:cxn ang="0">
                <a:pos x="connsiteX38914" y="connsiteY38914"/>
              </a:cxn>
              <a:cxn ang="0">
                <a:pos x="connsiteX38915" y="connsiteY38915"/>
              </a:cxn>
              <a:cxn ang="0">
                <a:pos x="connsiteX38916" y="connsiteY38916"/>
              </a:cxn>
              <a:cxn ang="0">
                <a:pos x="connsiteX38917" y="connsiteY38917"/>
              </a:cxn>
              <a:cxn ang="0">
                <a:pos x="connsiteX38918" y="connsiteY38918"/>
              </a:cxn>
              <a:cxn ang="0">
                <a:pos x="connsiteX38919" y="connsiteY38919"/>
              </a:cxn>
              <a:cxn ang="0">
                <a:pos x="connsiteX38920" y="connsiteY38920"/>
              </a:cxn>
              <a:cxn ang="0">
                <a:pos x="connsiteX38921" y="connsiteY38921"/>
              </a:cxn>
              <a:cxn ang="0">
                <a:pos x="connsiteX38922" y="connsiteY38922"/>
              </a:cxn>
              <a:cxn ang="0">
                <a:pos x="connsiteX38923" y="connsiteY38923"/>
              </a:cxn>
              <a:cxn ang="0">
                <a:pos x="connsiteX38924" y="connsiteY38924"/>
              </a:cxn>
              <a:cxn ang="0">
                <a:pos x="connsiteX38925" y="connsiteY38925"/>
              </a:cxn>
              <a:cxn ang="0">
                <a:pos x="connsiteX38926" y="connsiteY38926"/>
              </a:cxn>
              <a:cxn ang="0">
                <a:pos x="connsiteX38927" y="connsiteY38927"/>
              </a:cxn>
              <a:cxn ang="0">
                <a:pos x="connsiteX38928" y="connsiteY38928"/>
              </a:cxn>
              <a:cxn ang="0">
                <a:pos x="connsiteX38929" y="connsiteY38929"/>
              </a:cxn>
              <a:cxn ang="0">
                <a:pos x="connsiteX38930" y="connsiteY38930"/>
              </a:cxn>
              <a:cxn ang="0">
                <a:pos x="connsiteX38931" y="connsiteY38931"/>
              </a:cxn>
              <a:cxn ang="0">
                <a:pos x="connsiteX38932" y="connsiteY38932"/>
              </a:cxn>
              <a:cxn ang="0">
                <a:pos x="connsiteX38933" y="connsiteY38933"/>
              </a:cxn>
              <a:cxn ang="0">
                <a:pos x="connsiteX38934" y="connsiteY38934"/>
              </a:cxn>
              <a:cxn ang="0">
                <a:pos x="connsiteX38935" y="connsiteY38935"/>
              </a:cxn>
              <a:cxn ang="0">
                <a:pos x="connsiteX38936" y="connsiteY38936"/>
              </a:cxn>
              <a:cxn ang="0">
                <a:pos x="connsiteX38937" y="connsiteY38937"/>
              </a:cxn>
              <a:cxn ang="0">
                <a:pos x="connsiteX38938" y="connsiteY38938"/>
              </a:cxn>
              <a:cxn ang="0">
                <a:pos x="connsiteX38939" y="connsiteY38939"/>
              </a:cxn>
              <a:cxn ang="0">
                <a:pos x="connsiteX38940" y="connsiteY38940"/>
              </a:cxn>
              <a:cxn ang="0">
                <a:pos x="connsiteX38941" y="connsiteY38941"/>
              </a:cxn>
              <a:cxn ang="0">
                <a:pos x="connsiteX38942" y="connsiteY38942"/>
              </a:cxn>
              <a:cxn ang="0">
                <a:pos x="connsiteX38943" y="connsiteY38943"/>
              </a:cxn>
              <a:cxn ang="0">
                <a:pos x="connsiteX38944" y="connsiteY38944"/>
              </a:cxn>
              <a:cxn ang="0">
                <a:pos x="connsiteX38945" y="connsiteY38945"/>
              </a:cxn>
              <a:cxn ang="0">
                <a:pos x="connsiteX38946" y="connsiteY38946"/>
              </a:cxn>
              <a:cxn ang="0">
                <a:pos x="connsiteX38947" y="connsiteY38947"/>
              </a:cxn>
              <a:cxn ang="0">
                <a:pos x="connsiteX38948" y="connsiteY38948"/>
              </a:cxn>
              <a:cxn ang="0">
                <a:pos x="connsiteX38949" y="connsiteY38949"/>
              </a:cxn>
              <a:cxn ang="0">
                <a:pos x="connsiteX38950" y="connsiteY38950"/>
              </a:cxn>
              <a:cxn ang="0">
                <a:pos x="connsiteX38951" y="connsiteY38951"/>
              </a:cxn>
              <a:cxn ang="0">
                <a:pos x="connsiteX38952" y="connsiteY38952"/>
              </a:cxn>
              <a:cxn ang="0">
                <a:pos x="connsiteX38953" y="connsiteY38953"/>
              </a:cxn>
              <a:cxn ang="0">
                <a:pos x="connsiteX38954" y="connsiteY38954"/>
              </a:cxn>
              <a:cxn ang="0">
                <a:pos x="connsiteX38955" y="connsiteY38955"/>
              </a:cxn>
              <a:cxn ang="0">
                <a:pos x="connsiteX38956" y="connsiteY38956"/>
              </a:cxn>
              <a:cxn ang="0">
                <a:pos x="connsiteX38957" y="connsiteY38957"/>
              </a:cxn>
              <a:cxn ang="0">
                <a:pos x="connsiteX38958" y="connsiteY38958"/>
              </a:cxn>
              <a:cxn ang="0">
                <a:pos x="connsiteX38959" y="connsiteY38959"/>
              </a:cxn>
              <a:cxn ang="0">
                <a:pos x="connsiteX38960" y="connsiteY38960"/>
              </a:cxn>
              <a:cxn ang="0">
                <a:pos x="connsiteX38961" y="connsiteY38961"/>
              </a:cxn>
              <a:cxn ang="0">
                <a:pos x="connsiteX38962" y="connsiteY38962"/>
              </a:cxn>
              <a:cxn ang="0">
                <a:pos x="connsiteX38963" y="connsiteY38963"/>
              </a:cxn>
              <a:cxn ang="0">
                <a:pos x="connsiteX38964" y="connsiteY38964"/>
              </a:cxn>
              <a:cxn ang="0">
                <a:pos x="connsiteX38965" y="connsiteY38965"/>
              </a:cxn>
              <a:cxn ang="0">
                <a:pos x="connsiteX38966" y="connsiteY38966"/>
              </a:cxn>
              <a:cxn ang="0">
                <a:pos x="connsiteX38967" y="connsiteY38967"/>
              </a:cxn>
              <a:cxn ang="0">
                <a:pos x="connsiteX38968" y="connsiteY38968"/>
              </a:cxn>
              <a:cxn ang="0">
                <a:pos x="connsiteX38969" y="connsiteY38969"/>
              </a:cxn>
              <a:cxn ang="0">
                <a:pos x="connsiteX38970" y="connsiteY38970"/>
              </a:cxn>
              <a:cxn ang="0">
                <a:pos x="connsiteX38971" y="connsiteY38971"/>
              </a:cxn>
              <a:cxn ang="0">
                <a:pos x="connsiteX38972" y="connsiteY38972"/>
              </a:cxn>
              <a:cxn ang="0">
                <a:pos x="connsiteX38973" y="connsiteY38973"/>
              </a:cxn>
              <a:cxn ang="0">
                <a:pos x="connsiteX38974" y="connsiteY38974"/>
              </a:cxn>
              <a:cxn ang="0">
                <a:pos x="connsiteX38975" y="connsiteY38975"/>
              </a:cxn>
              <a:cxn ang="0">
                <a:pos x="connsiteX38976" y="connsiteY38976"/>
              </a:cxn>
              <a:cxn ang="0">
                <a:pos x="connsiteX38977" y="connsiteY38977"/>
              </a:cxn>
              <a:cxn ang="0">
                <a:pos x="connsiteX38978" y="connsiteY38978"/>
              </a:cxn>
              <a:cxn ang="0">
                <a:pos x="connsiteX38979" y="connsiteY38979"/>
              </a:cxn>
              <a:cxn ang="0">
                <a:pos x="connsiteX38980" y="connsiteY38980"/>
              </a:cxn>
              <a:cxn ang="0">
                <a:pos x="connsiteX38981" y="connsiteY38981"/>
              </a:cxn>
              <a:cxn ang="0">
                <a:pos x="connsiteX38982" y="connsiteY38982"/>
              </a:cxn>
              <a:cxn ang="0">
                <a:pos x="connsiteX38983" y="connsiteY38983"/>
              </a:cxn>
              <a:cxn ang="0">
                <a:pos x="connsiteX38984" y="connsiteY38984"/>
              </a:cxn>
              <a:cxn ang="0">
                <a:pos x="connsiteX38985" y="connsiteY38985"/>
              </a:cxn>
              <a:cxn ang="0">
                <a:pos x="connsiteX38986" y="connsiteY38986"/>
              </a:cxn>
              <a:cxn ang="0">
                <a:pos x="connsiteX38987" y="connsiteY38987"/>
              </a:cxn>
              <a:cxn ang="0">
                <a:pos x="connsiteX38988" y="connsiteY38988"/>
              </a:cxn>
              <a:cxn ang="0">
                <a:pos x="connsiteX38989" y="connsiteY38989"/>
              </a:cxn>
              <a:cxn ang="0">
                <a:pos x="connsiteX38990" y="connsiteY38990"/>
              </a:cxn>
              <a:cxn ang="0">
                <a:pos x="connsiteX38991" y="connsiteY38991"/>
              </a:cxn>
              <a:cxn ang="0">
                <a:pos x="connsiteX38992" y="connsiteY38992"/>
              </a:cxn>
              <a:cxn ang="0">
                <a:pos x="connsiteX38993" y="connsiteY38993"/>
              </a:cxn>
              <a:cxn ang="0">
                <a:pos x="connsiteX38994" y="connsiteY38994"/>
              </a:cxn>
              <a:cxn ang="0">
                <a:pos x="connsiteX38995" y="connsiteY38995"/>
              </a:cxn>
              <a:cxn ang="0">
                <a:pos x="connsiteX38996" y="connsiteY38996"/>
              </a:cxn>
              <a:cxn ang="0">
                <a:pos x="connsiteX38997" y="connsiteY38997"/>
              </a:cxn>
              <a:cxn ang="0">
                <a:pos x="connsiteX38998" y="connsiteY38998"/>
              </a:cxn>
              <a:cxn ang="0">
                <a:pos x="connsiteX38999" y="connsiteY38999"/>
              </a:cxn>
              <a:cxn ang="0">
                <a:pos x="connsiteX39000" y="connsiteY39000"/>
              </a:cxn>
              <a:cxn ang="0">
                <a:pos x="connsiteX39001" y="connsiteY39001"/>
              </a:cxn>
              <a:cxn ang="0">
                <a:pos x="connsiteX39002" y="connsiteY39002"/>
              </a:cxn>
              <a:cxn ang="0">
                <a:pos x="connsiteX39003" y="connsiteY39003"/>
              </a:cxn>
              <a:cxn ang="0">
                <a:pos x="connsiteX39004" y="connsiteY39004"/>
              </a:cxn>
              <a:cxn ang="0">
                <a:pos x="connsiteX39005" y="connsiteY39005"/>
              </a:cxn>
              <a:cxn ang="0">
                <a:pos x="connsiteX39006" y="connsiteY39006"/>
              </a:cxn>
              <a:cxn ang="0">
                <a:pos x="connsiteX39007" y="connsiteY39007"/>
              </a:cxn>
              <a:cxn ang="0">
                <a:pos x="connsiteX39008" y="connsiteY39008"/>
              </a:cxn>
              <a:cxn ang="0">
                <a:pos x="connsiteX39009" y="connsiteY39009"/>
              </a:cxn>
              <a:cxn ang="0">
                <a:pos x="connsiteX39010" y="connsiteY39010"/>
              </a:cxn>
              <a:cxn ang="0">
                <a:pos x="connsiteX39011" y="connsiteY39011"/>
              </a:cxn>
              <a:cxn ang="0">
                <a:pos x="connsiteX39012" y="connsiteY39012"/>
              </a:cxn>
              <a:cxn ang="0">
                <a:pos x="connsiteX39013" y="connsiteY39013"/>
              </a:cxn>
              <a:cxn ang="0">
                <a:pos x="connsiteX39014" y="connsiteY39014"/>
              </a:cxn>
              <a:cxn ang="0">
                <a:pos x="connsiteX39015" y="connsiteY39015"/>
              </a:cxn>
              <a:cxn ang="0">
                <a:pos x="connsiteX39016" y="connsiteY39016"/>
              </a:cxn>
              <a:cxn ang="0">
                <a:pos x="connsiteX39017" y="connsiteY39017"/>
              </a:cxn>
              <a:cxn ang="0">
                <a:pos x="connsiteX39018" y="connsiteY39018"/>
              </a:cxn>
              <a:cxn ang="0">
                <a:pos x="connsiteX39019" y="connsiteY39019"/>
              </a:cxn>
              <a:cxn ang="0">
                <a:pos x="connsiteX39020" y="connsiteY39020"/>
              </a:cxn>
              <a:cxn ang="0">
                <a:pos x="connsiteX39021" y="connsiteY39021"/>
              </a:cxn>
              <a:cxn ang="0">
                <a:pos x="connsiteX39022" y="connsiteY39022"/>
              </a:cxn>
              <a:cxn ang="0">
                <a:pos x="connsiteX39023" y="connsiteY39023"/>
              </a:cxn>
              <a:cxn ang="0">
                <a:pos x="connsiteX39024" y="connsiteY39024"/>
              </a:cxn>
              <a:cxn ang="0">
                <a:pos x="connsiteX39025" y="connsiteY39025"/>
              </a:cxn>
              <a:cxn ang="0">
                <a:pos x="connsiteX39026" y="connsiteY39026"/>
              </a:cxn>
              <a:cxn ang="0">
                <a:pos x="connsiteX39027" y="connsiteY39027"/>
              </a:cxn>
              <a:cxn ang="0">
                <a:pos x="connsiteX39028" y="connsiteY39028"/>
              </a:cxn>
              <a:cxn ang="0">
                <a:pos x="connsiteX39029" y="connsiteY39029"/>
              </a:cxn>
              <a:cxn ang="0">
                <a:pos x="connsiteX39030" y="connsiteY39030"/>
              </a:cxn>
              <a:cxn ang="0">
                <a:pos x="connsiteX39031" y="connsiteY39031"/>
              </a:cxn>
              <a:cxn ang="0">
                <a:pos x="connsiteX39032" y="connsiteY39032"/>
              </a:cxn>
              <a:cxn ang="0">
                <a:pos x="connsiteX39033" y="connsiteY39033"/>
              </a:cxn>
              <a:cxn ang="0">
                <a:pos x="connsiteX39034" y="connsiteY39034"/>
              </a:cxn>
              <a:cxn ang="0">
                <a:pos x="connsiteX39035" y="connsiteY39035"/>
              </a:cxn>
              <a:cxn ang="0">
                <a:pos x="connsiteX39036" y="connsiteY39036"/>
              </a:cxn>
              <a:cxn ang="0">
                <a:pos x="connsiteX39037" y="connsiteY39037"/>
              </a:cxn>
              <a:cxn ang="0">
                <a:pos x="connsiteX39038" y="connsiteY39038"/>
              </a:cxn>
              <a:cxn ang="0">
                <a:pos x="connsiteX39039" y="connsiteY39039"/>
              </a:cxn>
              <a:cxn ang="0">
                <a:pos x="connsiteX39040" y="connsiteY39040"/>
              </a:cxn>
              <a:cxn ang="0">
                <a:pos x="connsiteX39041" y="connsiteY39041"/>
              </a:cxn>
              <a:cxn ang="0">
                <a:pos x="connsiteX39042" y="connsiteY39042"/>
              </a:cxn>
              <a:cxn ang="0">
                <a:pos x="connsiteX39043" y="connsiteY39043"/>
              </a:cxn>
              <a:cxn ang="0">
                <a:pos x="connsiteX39044" y="connsiteY39044"/>
              </a:cxn>
              <a:cxn ang="0">
                <a:pos x="connsiteX39045" y="connsiteY39045"/>
              </a:cxn>
              <a:cxn ang="0">
                <a:pos x="connsiteX39046" y="connsiteY39046"/>
              </a:cxn>
              <a:cxn ang="0">
                <a:pos x="connsiteX39047" y="connsiteY39047"/>
              </a:cxn>
              <a:cxn ang="0">
                <a:pos x="connsiteX39048" y="connsiteY39048"/>
              </a:cxn>
              <a:cxn ang="0">
                <a:pos x="connsiteX39049" y="connsiteY39049"/>
              </a:cxn>
              <a:cxn ang="0">
                <a:pos x="connsiteX39050" y="connsiteY39050"/>
              </a:cxn>
              <a:cxn ang="0">
                <a:pos x="connsiteX39051" y="connsiteY39051"/>
              </a:cxn>
              <a:cxn ang="0">
                <a:pos x="connsiteX39052" y="connsiteY39052"/>
              </a:cxn>
              <a:cxn ang="0">
                <a:pos x="connsiteX39053" y="connsiteY39053"/>
              </a:cxn>
              <a:cxn ang="0">
                <a:pos x="connsiteX39054" y="connsiteY39054"/>
              </a:cxn>
              <a:cxn ang="0">
                <a:pos x="connsiteX39055" y="connsiteY39055"/>
              </a:cxn>
              <a:cxn ang="0">
                <a:pos x="connsiteX39056" y="connsiteY39056"/>
              </a:cxn>
              <a:cxn ang="0">
                <a:pos x="connsiteX39057" y="connsiteY39057"/>
              </a:cxn>
              <a:cxn ang="0">
                <a:pos x="connsiteX39058" y="connsiteY39058"/>
              </a:cxn>
              <a:cxn ang="0">
                <a:pos x="connsiteX39059" y="connsiteY39059"/>
              </a:cxn>
              <a:cxn ang="0">
                <a:pos x="connsiteX39060" y="connsiteY39060"/>
              </a:cxn>
              <a:cxn ang="0">
                <a:pos x="connsiteX39061" y="connsiteY39061"/>
              </a:cxn>
              <a:cxn ang="0">
                <a:pos x="connsiteX39062" y="connsiteY39062"/>
              </a:cxn>
              <a:cxn ang="0">
                <a:pos x="connsiteX39063" y="connsiteY39063"/>
              </a:cxn>
              <a:cxn ang="0">
                <a:pos x="connsiteX39064" y="connsiteY39064"/>
              </a:cxn>
              <a:cxn ang="0">
                <a:pos x="connsiteX39065" y="connsiteY39065"/>
              </a:cxn>
              <a:cxn ang="0">
                <a:pos x="connsiteX39066" y="connsiteY39066"/>
              </a:cxn>
              <a:cxn ang="0">
                <a:pos x="connsiteX39067" y="connsiteY39067"/>
              </a:cxn>
              <a:cxn ang="0">
                <a:pos x="connsiteX39068" y="connsiteY39068"/>
              </a:cxn>
              <a:cxn ang="0">
                <a:pos x="connsiteX39069" y="connsiteY39069"/>
              </a:cxn>
              <a:cxn ang="0">
                <a:pos x="connsiteX39070" y="connsiteY39070"/>
              </a:cxn>
              <a:cxn ang="0">
                <a:pos x="connsiteX39071" y="connsiteY39071"/>
              </a:cxn>
              <a:cxn ang="0">
                <a:pos x="connsiteX39072" y="connsiteY39072"/>
              </a:cxn>
              <a:cxn ang="0">
                <a:pos x="connsiteX39073" y="connsiteY39073"/>
              </a:cxn>
              <a:cxn ang="0">
                <a:pos x="connsiteX39074" y="connsiteY39074"/>
              </a:cxn>
              <a:cxn ang="0">
                <a:pos x="connsiteX39075" y="connsiteY39075"/>
              </a:cxn>
              <a:cxn ang="0">
                <a:pos x="connsiteX39076" y="connsiteY39076"/>
              </a:cxn>
              <a:cxn ang="0">
                <a:pos x="connsiteX39077" y="connsiteY39077"/>
              </a:cxn>
              <a:cxn ang="0">
                <a:pos x="connsiteX39078" y="connsiteY39078"/>
              </a:cxn>
              <a:cxn ang="0">
                <a:pos x="connsiteX39079" y="connsiteY39079"/>
              </a:cxn>
              <a:cxn ang="0">
                <a:pos x="connsiteX39080" y="connsiteY39080"/>
              </a:cxn>
              <a:cxn ang="0">
                <a:pos x="connsiteX39081" y="connsiteY39081"/>
              </a:cxn>
              <a:cxn ang="0">
                <a:pos x="connsiteX39082" y="connsiteY39082"/>
              </a:cxn>
              <a:cxn ang="0">
                <a:pos x="connsiteX39083" y="connsiteY39083"/>
              </a:cxn>
              <a:cxn ang="0">
                <a:pos x="connsiteX39084" y="connsiteY39084"/>
              </a:cxn>
              <a:cxn ang="0">
                <a:pos x="connsiteX39085" y="connsiteY39085"/>
              </a:cxn>
              <a:cxn ang="0">
                <a:pos x="connsiteX39086" y="connsiteY39086"/>
              </a:cxn>
              <a:cxn ang="0">
                <a:pos x="connsiteX39087" y="connsiteY39087"/>
              </a:cxn>
              <a:cxn ang="0">
                <a:pos x="connsiteX39088" y="connsiteY39088"/>
              </a:cxn>
              <a:cxn ang="0">
                <a:pos x="connsiteX39089" y="connsiteY39089"/>
              </a:cxn>
              <a:cxn ang="0">
                <a:pos x="connsiteX39090" y="connsiteY39090"/>
              </a:cxn>
              <a:cxn ang="0">
                <a:pos x="connsiteX39091" y="connsiteY39091"/>
              </a:cxn>
              <a:cxn ang="0">
                <a:pos x="connsiteX39092" y="connsiteY39092"/>
              </a:cxn>
              <a:cxn ang="0">
                <a:pos x="connsiteX39093" y="connsiteY39093"/>
              </a:cxn>
              <a:cxn ang="0">
                <a:pos x="connsiteX39094" y="connsiteY39094"/>
              </a:cxn>
              <a:cxn ang="0">
                <a:pos x="connsiteX39095" y="connsiteY39095"/>
              </a:cxn>
              <a:cxn ang="0">
                <a:pos x="connsiteX39096" y="connsiteY39096"/>
              </a:cxn>
              <a:cxn ang="0">
                <a:pos x="connsiteX39097" y="connsiteY39097"/>
              </a:cxn>
              <a:cxn ang="0">
                <a:pos x="connsiteX39098" y="connsiteY39098"/>
              </a:cxn>
              <a:cxn ang="0">
                <a:pos x="connsiteX39099" y="connsiteY39099"/>
              </a:cxn>
              <a:cxn ang="0">
                <a:pos x="connsiteX39100" y="connsiteY39100"/>
              </a:cxn>
              <a:cxn ang="0">
                <a:pos x="connsiteX39101" y="connsiteY39101"/>
              </a:cxn>
              <a:cxn ang="0">
                <a:pos x="connsiteX39102" y="connsiteY39102"/>
              </a:cxn>
              <a:cxn ang="0">
                <a:pos x="connsiteX39103" y="connsiteY39103"/>
              </a:cxn>
              <a:cxn ang="0">
                <a:pos x="connsiteX39104" y="connsiteY39104"/>
              </a:cxn>
              <a:cxn ang="0">
                <a:pos x="connsiteX39105" y="connsiteY39105"/>
              </a:cxn>
              <a:cxn ang="0">
                <a:pos x="connsiteX39106" y="connsiteY39106"/>
              </a:cxn>
              <a:cxn ang="0">
                <a:pos x="connsiteX39107" y="connsiteY39107"/>
              </a:cxn>
              <a:cxn ang="0">
                <a:pos x="connsiteX39108" y="connsiteY39108"/>
              </a:cxn>
              <a:cxn ang="0">
                <a:pos x="connsiteX39109" y="connsiteY39109"/>
              </a:cxn>
              <a:cxn ang="0">
                <a:pos x="connsiteX39110" y="connsiteY39110"/>
              </a:cxn>
              <a:cxn ang="0">
                <a:pos x="connsiteX39111" y="connsiteY39111"/>
              </a:cxn>
              <a:cxn ang="0">
                <a:pos x="connsiteX39112" y="connsiteY39112"/>
              </a:cxn>
              <a:cxn ang="0">
                <a:pos x="connsiteX39113" y="connsiteY39113"/>
              </a:cxn>
              <a:cxn ang="0">
                <a:pos x="connsiteX39114" y="connsiteY39114"/>
              </a:cxn>
              <a:cxn ang="0">
                <a:pos x="connsiteX39115" y="connsiteY39115"/>
              </a:cxn>
              <a:cxn ang="0">
                <a:pos x="connsiteX39116" y="connsiteY39116"/>
              </a:cxn>
              <a:cxn ang="0">
                <a:pos x="connsiteX39117" y="connsiteY39117"/>
              </a:cxn>
              <a:cxn ang="0">
                <a:pos x="connsiteX39118" y="connsiteY39118"/>
              </a:cxn>
              <a:cxn ang="0">
                <a:pos x="connsiteX39119" y="connsiteY39119"/>
              </a:cxn>
              <a:cxn ang="0">
                <a:pos x="connsiteX39120" y="connsiteY39120"/>
              </a:cxn>
              <a:cxn ang="0">
                <a:pos x="connsiteX39121" y="connsiteY39121"/>
              </a:cxn>
              <a:cxn ang="0">
                <a:pos x="connsiteX39122" y="connsiteY39122"/>
              </a:cxn>
              <a:cxn ang="0">
                <a:pos x="connsiteX39123" y="connsiteY39123"/>
              </a:cxn>
              <a:cxn ang="0">
                <a:pos x="connsiteX39124" y="connsiteY39124"/>
              </a:cxn>
              <a:cxn ang="0">
                <a:pos x="connsiteX39125" y="connsiteY39125"/>
              </a:cxn>
              <a:cxn ang="0">
                <a:pos x="connsiteX39126" y="connsiteY39126"/>
              </a:cxn>
              <a:cxn ang="0">
                <a:pos x="connsiteX39127" y="connsiteY39127"/>
              </a:cxn>
              <a:cxn ang="0">
                <a:pos x="connsiteX39128" y="connsiteY39128"/>
              </a:cxn>
              <a:cxn ang="0">
                <a:pos x="connsiteX39129" y="connsiteY39129"/>
              </a:cxn>
              <a:cxn ang="0">
                <a:pos x="connsiteX39130" y="connsiteY39130"/>
              </a:cxn>
              <a:cxn ang="0">
                <a:pos x="connsiteX39131" y="connsiteY39131"/>
              </a:cxn>
              <a:cxn ang="0">
                <a:pos x="connsiteX39132" y="connsiteY39132"/>
              </a:cxn>
              <a:cxn ang="0">
                <a:pos x="connsiteX39133" y="connsiteY39133"/>
              </a:cxn>
              <a:cxn ang="0">
                <a:pos x="connsiteX39134" y="connsiteY39134"/>
              </a:cxn>
              <a:cxn ang="0">
                <a:pos x="connsiteX39135" y="connsiteY39135"/>
              </a:cxn>
              <a:cxn ang="0">
                <a:pos x="connsiteX39136" y="connsiteY39136"/>
              </a:cxn>
              <a:cxn ang="0">
                <a:pos x="connsiteX39137" y="connsiteY39137"/>
              </a:cxn>
              <a:cxn ang="0">
                <a:pos x="connsiteX39138" y="connsiteY39138"/>
              </a:cxn>
              <a:cxn ang="0">
                <a:pos x="connsiteX39139" y="connsiteY39139"/>
              </a:cxn>
              <a:cxn ang="0">
                <a:pos x="connsiteX39140" y="connsiteY39140"/>
              </a:cxn>
              <a:cxn ang="0">
                <a:pos x="connsiteX39141" y="connsiteY39141"/>
              </a:cxn>
              <a:cxn ang="0">
                <a:pos x="connsiteX39142" y="connsiteY39142"/>
              </a:cxn>
              <a:cxn ang="0">
                <a:pos x="connsiteX39143" y="connsiteY39143"/>
              </a:cxn>
              <a:cxn ang="0">
                <a:pos x="connsiteX39144" y="connsiteY39144"/>
              </a:cxn>
              <a:cxn ang="0">
                <a:pos x="connsiteX39145" y="connsiteY39145"/>
              </a:cxn>
              <a:cxn ang="0">
                <a:pos x="connsiteX39146" y="connsiteY39146"/>
              </a:cxn>
              <a:cxn ang="0">
                <a:pos x="connsiteX39147" y="connsiteY39147"/>
              </a:cxn>
              <a:cxn ang="0">
                <a:pos x="connsiteX39148" y="connsiteY39148"/>
              </a:cxn>
              <a:cxn ang="0">
                <a:pos x="connsiteX39149" y="connsiteY39149"/>
              </a:cxn>
              <a:cxn ang="0">
                <a:pos x="connsiteX39150" y="connsiteY39150"/>
              </a:cxn>
              <a:cxn ang="0">
                <a:pos x="connsiteX39151" y="connsiteY39151"/>
              </a:cxn>
              <a:cxn ang="0">
                <a:pos x="connsiteX39152" y="connsiteY39152"/>
              </a:cxn>
              <a:cxn ang="0">
                <a:pos x="connsiteX39153" y="connsiteY39153"/>
              </a:cxn>
              <a:cxn ang="0">
                <a:pos x="connsiteX39154" y="connsiteY39154"/>
              </a:cxn>
              <a:cxn ang="0">
                <a:pos x="connsiteX39155" y="connsiteY39155"/>
              </a:cxn>
              <a:cxn ang="0">
                <a:pos x="connsiteX39156" y="connsiteY39156"/>
              </a:cxn>
              <a:cxn ang="0">
                <a:pos x="connsiteX39157" y="connsiteY39157"/>
              </a:cxn>
              <a:cxn ang="0">
                <a:pos x="connsiteX39158" y="connsiteY39158"/>
              </a:cxn>
              <a:cxn ang="0">
                <a:pos x="connsiteX39159" y="connsiteY39159"/>
              </a:cxn>
              <a:cxn ang="0">
                <a:pos x="connsiteX39160" y="connsiteY39160"/>
              </a:cxn>
              <a:cxn ang="0">
                <a:pos x="connsiteX39161" y="connsiteY39161"/>
              </a:cxn>
              <a:cxn ang="0">
                <a:pos x="connsiteX39162" y="connsiteY39162"/>
              </a:cxn>
              <a:cxn ang="0">
                <a:pos x="connsiteX39163" y="connsiteY39163"/>
              </a:cxn>
              <a:cxn ang="0">
                <a:pos x="connsiteX39164" y="connsiteY39164"/>
              </a:cxn>
              <a:cxn ang="0">
                <a:pos x="connsiteX39165" y="connsiteY39165"/>
              </a:cxn>
              <a:cxn ang="0">
                <a:pos x="connsiteX39166" y="connsiteY39166"/>
              </a:cxn>
              <a:cxn ang="0">
                <a:pos x="connsiteX39167" y="connsiteY39167"/>
              </a:cxn>
              <a:cxn ang="0">
                <a:pos x="connsiteX39168" y="connsiteY39168"/>
              </a:cxn>
              <a:cxn ang="0">
                <a:pos x="connsiteX39169" y="connsiteY39169"/>
              </a:cxn>
              <a:cxn ang="0">
                <a:pos x="connsiteX39170" y="connsiteY39170"/>
              </a:cxn>
              <a:cxn ang="0">
                <a:pos x="connsiteX39171" y="connsiteY39171"/>
              </a:cxn>
              <a:cxn ang="0">
                <a:pos x="connsiteX39172" y="connsiteY39172"/>
              </a:cxn>
              <a:cxn ang="0">
                <a:pos x="connsiteX39173" y="connsiteY39173"/>
              </a:cxn>
              <a:cxn ang="0">
                <a:pos x="connsiteX39174" y="connsiteY39174"/>
              </a:cxn>
              <a:cxn ang="0">
                <a:pos x="connsiteX39175" y="connsiteY39175"/>
              </a:cxn>
              <a:cxn ang="0">
                <a:pos x="connsiteX39176" y="connsiteY39176"/>
              </a:cxn>
              <a:cxn ang="0">
                <a:pos x="connsiteX39177" y="connsiteY39177"/>
              </a:cxn>
              <a:cxn ang="0">
                <a:pos x="connsiteX39178" y="connsiteY39178"/>
              </a:cxn>
              <a:cxn ang="0">
                <a:pos x="connsiteX39179" y="connsiteY39179"/>
              </a:cxn>
              <a:cxn ang="0">
                <a:pos x="connsiteX39180" y="connsiteY39180"/>
              </a:cxn>
              <a:cxn ang="0">
                <a:pos x="connsiteX39181" y="connsiteY39181"/>
              </a:cxn>
              <a:cxn ang="0">
                <a:pos x="connsiteX39182" y="connsiteY39182"/>
              </a:cxn>
              <a:cxn ang="0">
                <a:pos x="connsiteX39183" y="connsiteY39183"/>
              </a:cxn>
              <a:cxn ang="0">
                <a:pos x="connsiteX39184" y="connsiteY39184"/>
              </a:cxn>
              <a:cxn ang="0">
                <a:pos x="connsiteX39185" y="connsiteY39185"/>
              </a:cxn>
              <a:cxn ang="0">
                <a:pos x="connsiteX39186" y="connsiteY39186"/>
              </a:cxn>
              <a:cxn ang="0">
                <a:pos x="connsiteX39187" y="connsiteY39187"/>
              </a:cxn>
              <a:cxn ang="0">
                <a:pos x="connsiteX39188" y="connsiteY39188"/>
              </a:cxn>
              <a:cxn ang="0">
                <a:pos x="connsiteX39189" y="connsiteY39189"/>
              </a:cxn>
              <a:cxn ang="0">
                <a:pos x="connsiteX39190" y="connsiteY39190"/>
              </a:cxn>
              <a:cxn ang="0">
                <a:pos x="connsiteX39191" y="connsiteY39191"/>
              </a:cxn>
              <a:cxn ang="0">
                <a:pos x="connsiteX39192" y="connsiteY39192"/>
              </a:cxn>
              <a:cxn ang="0">
                <a:pos x="connsiteX39193" y="connsiteY39193"/>
              </a:cxn>
              <a:cxn ang="0">
                <a:pos x="connsiteX39194" y="connsiteY39194"/>
              </a:cxn>
              <a:cxn ang="0">
                <a:pos x="connsiteX39195" y="connsiteY39195"/>
              </a:cxn>
              <a:cxn ang="0">
                <a:pos x="connsiteX39196" y="connsiteY39196"/>
              </a:cxn>
              <a:cxn ang="0">
                <a:pos x="connsiteX39197" y="connsiteY39197"/>
              </a:cxn>
              <a:cxn ang="0">
                <a:pos x="connsiteX39198" y="connsiteY39198"/>
              </a:cxn>
              <a:cxn ang="0">
                <a:pos x="connsiteX39199" y="connsiteY39199"/>
              </a:cxn>
              <a:cxn ang="0">
                <a:pos x="connsiteX39200" y="connsiteY39200"/>
              </a:cxn>
              <a:cxn ang="0">
                <a:pos x="connsiteX39201" y="connsiteY39201"/>
              </a:cxn>
              <a:cxn ang="0">
                <a:pos x="connsiteX39202" y="connsiteY39202"/>
              </a:cxn>
              <a:cxn ang="0">
                <a:pos x="connsiteX39203" y="connsiteY39203"/>
              </a:cxn>
              <a:cxn ang="0">
                <a:pos x="connsiteX39204" y="connsiteY39204"/>
              </a:cxn>
              <a:cxn ang="0">
                <a:pos x="connsiteX39205" y="connsiteY39205"/>
              </a:cxn>
              <a:cxn ang="0">
                <a:pos x="connsiteX39206" y="connsiteY39206"/>
              </a:cxn>
              <a:cxn ang="0">
                <a:pos x="connsiteX39207" y="connsiteY39207"/>
              </a:cxn>
              <a:cxn ang="0">
                <a:pos x="connsiteX39208" y="connsiteY39208"/>
              </a:cxn>
              <a:cxn ang="0">
                <a:pos x="connsiteX39209" y="connsiteY39209"/>
              </a:cxn>
              <a:cxn ang="0">
                <a:pos x="connsiteX39210" y="connsiteY39210"/>
              </a:cxn>
              <a:cxn ang="0">
                <a:pos x="connsiteX39211" y="connsiteY39211"/>
              </a:cxn>
              <a:cxn ang="0">
                <a:pos x="connsiteX39212" y="connsiteY39212"/>
              </a:cxn>
              <a:cxn ang="0">
                <a:pos x="connsiteX39213" y="connsiteY39213"/>
              </a:cxn>
              <a:cxn ang="0">
                <a:pos x="connsiteX39214" y="connsiteY39214"/>
              </a:cxn>
              <a:cxn ang="0">
                <a:pos x="connsiteX39215" y="connsiteY39215"/>
              </a:cxn>
              <a:cxn ang="0">
                <a:pos x="connsiteX39216" y="connsiteY39216"/>
              </a:cxn>
              <a:cxn ang="0">
                <a:pos x="connsiteX39217" y="connsiteY39217"/>
              </a:cxn>
              <a:cxn ang="0">
                <a:pos x="connsiteX39218" y="connsiteY39218"/>
              </a:cxn>
              <a:cxn ang="0">
                <a:pos x="connsiteX39219" y="connsiteY39219"/>
              </a:cxn>
              <a:cxn ang="0">
                <a:pos x="connsiteX39220" y="connsiteY39220"/>
              </a:cxn>
              <a:cxn ang="0">
                <a:pos x="connsiteX39221" y="connsiteY39221"/>
              </a:cxn>
              <a:cxn ang="0">
                <a:pos x="connsiteX39222" y="connsiteY39222"/>
              </a:cxn>
              <a:cxn ang="0">
                <a:pos x="connsiteX39223" y="connsiteY39223"/>
              </a:cxn>
              <a:cxn ang="0">
                <a:pos x="connsiteX39224" y="connsiteY39224"/>
              </a:cxn>
              <a:cxn ang="0">
                <a:pos x="connsiteX39225" y="connsiteY39225"/>
              </a:cxn>
              <a:cxn ang="0">
                <a:pos x="connsiteX39226" y="connsiteY39226"/>
              </a:cxn>
              <a:cxn ang="0">
                <a:pos x="connsiteX39227" y="connsiteY39227"/>
              </a:cxn>
              <a:cxn ang="0">
                <a:pos x="connsiteX39228" y="connsiteY39228"/>
              </a:cxn>
              <a:cxn ang="0">
                <a:pos x="connsiteX39229" y="connsiteY39229"/>
              </a:cxn>
              <a:cxn ang="0">
                <a:pos x="connsiteX39230" y="connsiteY39230"/>
              </a:cxn>
              <a:cxn ang="0">
                <a:pos x="connsiteX39231" y="connsiteY39231"/>
              </a:cxn>
              <a:cxn ang="0">
                <a:pos x="connsiteX39232" y="connsiteY39232"/>
              </a:cxn>
              <a:cxn ang="0">
                <a:pos x="connsiteX39233" y="connsiteY39233"/>
              </a:cxn>
              <a:cxn ang="0">
                <a:pos x="connsiteX39234" y="connsiteY39234"/>
              </a:cxn>
              <a:cxn ang="0">
                <a:pos x="connsiteX39235" y="connsiteY39235"/>
              </a:cxn>
              <a:cxn ang="0">
                <a:pos x="connsiteX39236" y="connsiteY39236"/>
              </a:cxn>
              <a:cxn ang="0">
                <a:pos x="connsiteX39237" y="connsiteY39237"/>
              </a:cxn>
              <a:cxn ang="0">
                <a:pos x="connsiteX39238" y="connsiteY39238"/>
              </a:cxn>
              <a:cxn ang="0">
                <a:pos x="connsiteX39239" y="connsiteY39239"/>
              </a:cxn>
              <a:cxn ang="0">
                <a:pos x="connsiteX39240" y="connsiteY39240"/>
              </a:cxn>
              <a:cxn ang="0">
                <a:pos x="connsiteX39241" y="connsiteY39241"/>
              </a:cxn>
              <a:cxn ang="0">
                <a:pos x="connsiteX39242" y="connsiteY39242"/>
              </a:cxn>
              <a:cxn ang="0">
                <a:pos x="connsiteX39243" y="connsiteY39243"/>
              </a:cxn>
              <a:cxn ang="0">
                <a:pos x="connsiteX39244" y="connsiteY39244"/>
              </a:cxn>
              <a:cxn ang="0">
                <a:pos x="connsiteX39245" y="connsiteY39245"/>
              </a:cxn>
              <a:cxn ang="0">
                <a:pos x="connsiteX39246" y="connsiteY39246"/>
              </a:cxn>
              <a:cxn ang="0">
                <a:pos x="connsiteX39247" y="connsiteY39247"/>
              </a:cxn>
              <a:cxn ang="0">
                <a:pos x="connsiteX39248" y="connsiteY39248"/>
              </a:cxn>
              <a:cxn ang="0">
                <a:pos x="connsiteX39249" y="connsiteY39249"/>
              </a:cxn>
              <a:cxn ang="0">
                <a:pos x="connsiteX39250" y="connsiteY39250"/>
              </a:cxn>
              <a:cxn ang="0">
                <a:pos x="connsiteX39251" y="connsiteY39251"/>
              </a:cxn>
              <a:cxn ang="0">
                <a:pos x="connsiteX39252" y="connsiteY39252"/>
              </a:cxn>
              <a:cxn ang="0">
                <a:pos x="connsiteX39253" y="connsiteY39253"/>
              </a:cxn>
              <a:cxn ang="0">
                <a:pos x="connsiteX39254" y="connsiteY39254"/>
              </a:cxn>
              <a:cxn ang="0">
                <a:pos x="connsiteX39255" y="connsiteY39255"/>
              </a:cxn>
              <a:cxn ang="0">
                <a:pos x="connsiteX39256" y="connsiteY39256"/>
              </a:cxn>
              <a:cxn ang="0">
                <a:pos x="connsiteX39257" y="connsiteY39257"/>
              </a:cxn>
              <a:cxn ang="0">
                <a:pos x="connsiteX39258" y="connsiteY39258"/>
              </a:cxn>
              <a:cxn ang="0">
                <a:pos x="connsiteX39259" y="connsiteY39259"/>
              </a:cxn>
              <a:cxn ang="0">
                <a:pos x="connsiteX39260" y="connsiteY39260"/>
              </a:cxn>
              <a:cxn ang="0">
                <a:pos x="connsiteX39261" y="connsiteY39261"/>
              </a:cxn>
              <a:cxn ang="0">
                <a:pos x="connsiteX39262" y="connsiteY39262"/>
              </a:cxn>
              <a:cxn ang="0">
                <a:pos x="connsiteX39263" y="connsiteY39263"/>
              </a:cxn>
              <a:cxn ang="0">
                <a:pos x="connsiteX39264" y="connsiteY39264"/>
              </a:cxn>
              <a:cxn ang="0">
                <a:pos x="connsiteX39265" y="connsiteY39265"/>
              </a:cxn>
              <a:cxn ang="0">
                <a:pos x="connsiteX39266" y="connsiteY39266"/>
              </a:cxn>
              <a:cxn ang="0">
                <a:pos x="connsiteX39267" y="connsiteY39267"/>
              </a:cxn>
              <a:cxn ang="0">
                <a:pos x="connsiteX39268" y="connsiteY39268"/>
              </a:cxn>
              <a:cxn ang="0">
                <a:pos x="connsiteX39269" y="connsiteY39269"/>
              </a:cxn>
              <a:cxn ang="0">
                <a:pos x="connsiteX39270" y="connsiteY39270"/>
              </a:cxn>
              <a:cxn ang="0">
                <a:pos x="connsiteX39271" y="connsiteY39271"/>
              </a:cxn>
              <a:cxn ang="0">
                <a:pos x="connsiteX39272" y="connsiteY39272"/>
              </a:cxn>
              <a:cxn ang="0">
                <a:pos x="connsiteX39273" y="connsiteY39273"/>
              </a:cxn>
              <a:cxn ang="0">
                <a:pos x="connsiteX39274" y="connsiteY39274"/>
              </a:cxn>
              <a:cxn ang="0">
                <a:pos x="connsiteX39275" y="connsiteY39275"/>
              </a:cxn>
              <a:cxn ang="0">
                <a:pos x="connsiteX39276" y="connsiteY39276"/>
              </a:cxn>
              <a:cxn ang="0">
                <a:pos x="connsiteX39277" y="connsiteY39277"/>
              </a:cxn>
              <a:cxn ang="0">
                <a:pos x="connsiteX39278" y="connsiteY39278"/>
              </a:cxn>
              <a:cxn ang="0">
                <a:pos x="connsiteX39279" y="connsiteY39279"/>
              </a:cxn>
              <a:cxn ang="0">
                <a:pos x="connsiteX39280" y="connsiteY39280"/>
              </a:cxn>
              <a:cxn ang="0">
                <a:pos x="connsiteX39281" y="connsiteY39281"/>
              </a:cxn>
              <a:cxn ang="0">
                <a:pos x="connsiteX39282" y="connsiteY39282"/>
              </a:cxn>
              <a:cxn ang="0">
                <a:pos x="connsiteX39283" y="connsiteY39283"/>
              </a:cxn>
              <a:cxn ang="0">
                <a:pos x="connsiteX39284" y="connsiteY39284"/>
              </a:cxn>
              <a:cxn ang="0">
                <a:pos x="connsiteX39285" y="connsiteY39285"/>
              </a:cxn>
              <a:cxn ang="0">
                <a:pos x="connsiteX39286" y="connsiteY39286"/>
              </a:cxn>
              <a:cxn ang="0">
                <a:pos x="connsiteX39287" y="connsiteY39287"/>
              </a:cxn>
              <a:cxn ang="0">
                <a:pos x="connsiteX39288" y="connsiteY39288"/>
              </a:cxn>
              <a:cxn ang="0">
                <a:pos x="connsiteX39289" y="connsiteY39289"/>
              </a:cxn>
              <a:cxn ang="0">
                <a:pos x="connsiteX39290" y="connsiteY39290"/>
              </a:cxn>
              <a:cxn ang="0">
                <a:pos x="connsiteX39291" y="connsiteY39291"/>
              </a:cxn>
              <a:cxn ang="0">
                <a:pos x="connsiteX39292" y="connsiteY39292"/>
              </a:cxn>
              <a:cxn ang="0">
                <a:pos x="connsiteX39293" y="connsiteY39293"/>
              </a:cxn>
              <a:cxn ang="0">
                <a:pos x="connsiteX39294" y="connsiteY39294"/>
              </a:cxn>
              <a:cxn ang="0">
                <a:pos x="connsiteX39295" y="connsiteY39295"/>
              </a:cxn>
              <a:cxn ang="0">
                <a:pos x="connsiteX39296" y="connsiteY39296"/>
              </a:cxn>
              <a:cxn ang="0">
                <a:pos x="connsiteX39297" y="connsiteY39297"/>
              </a:cxn>
              <a:cxn ang="0">
                <a:pos x="connsiteX39298" y="connsiteY39298"/>
              </a:cxn>
              <a:cxn ang="0">
                <a:pos x="connsiteX39299" y="connsiteY39299"/>
              </a:cxn>
              <a:cxn ang="0">
                <a:pos x="connsiteX39300" y="connsiteY39300"/>
              </a:cxn>
              <a:cxn ang="0">
                <a:pos x="connsiteX39301" y="connsiteY39301"/>
              </a:cxn>
              <a:cxn ang="0">
                <a:pos x="connsiteX39302" y="connsiteY39302"/>
              </a:cxn>
              <a:cxn ang="0">
                <a:pos x="connsiteX39303" y="connsiteY39303"/>
              </a:cxn>
              <a:cxn ang="0">
                <a:pos x="connsiteX39304" y="connsiteY39304"/>
              </a:cxn>
              <a:cxn ang="0">
                <a:pos x="connsiteX39305" y="connsiteY39305"/>
              </a:cxn>
              <a:cxn ang="0">
                <a:pos x="connsiteX39306" y="connsiteY39306"/>
              </a:cxn>
              <a:cxn ang="0">
                <a:pos x="connsiteX39307" y="connsiteY39307"/>
              </a:cxn>
              <a:cxn ang="0">
                <a:pos x="connsiteX39308" y="connsiteY39308"/>
              </a:cxn>
              <a:cxn ang="0">
                <a:pos x="connsiteX39309" y="connsiteY39309"/>
              </a:cxn>
              <a:cxn ang="0">
                <a:pos x="connsiteX39310" y="connsiteY39310"/>
              </a:cxn>
              <a:cxn ang="0">
                <a:pos x="connsiteX39311" y="connsiteY39311"/>
              </a:cxn>
              <a:cxn ang="0">
                <a:pos x="connsiteX39312" y="connsiteY39312"/>
              </a:cxn>
              <a:cxn ang="0">
                <a:pos x="connsiteX39313" y="connsiteY39313"/>
              </a:cxn>
              <a:cxn ang="0">
                <a:pos x="connsiteX39314" y="connsiteY39314"/>
              </a:cxn>
              <a:cxn ang="0">
                <a:pos x="connsiteX39315" y="connsiteY39315"/>
              </a:cxn>
              <a:cxn ang="0">
                <a:pos x="connsiteX39316" y="connsiteY39316"/>
              </a:cxn>
              <a:cxn ang="0">
                <a:pos x="connsiteX39317" y="connsiteY39317"/>
              </a:cxn>
              <a:cxn ang="0">
                <a:pos x="connsiteX39318" y="connsiteY39318"/>
              </a:cxn>
              <a:cxn ang="0">
                <a:pos x="connsiteX39319" y="connsiteY39319"/>
              </a:cxn>
              <a:cxn ang="0">
                <a:pos x="connsiteX39320" y="connsiteY39320"/>
              </a:cxn>
              <a:cxn ang="0">
                <a:pos x="connsiteX39321" y="connsiteY39321"/>
              </a:cxn>
              <a:cxn ang="0">
                <a:pos x="connsiteX39322" y="connsiteY39322"/>
              </a:cxn>
              <a:cxn ang="0">
                <a:pos x="connsiteX39323" y="connsiteY39323"/>
              </a:cxn>
              <a:cxn ang="0">
                <a:pos x="connsiteX39324" y="connsiteY39324"/>
              </a:cxn>
              <a:cxn ang="0">
                <a:pos x="connsiteX39325" y="connsiteY39325"/>
              </a:cxn>
              <a:cxn ang="0">
                <a:pos x="connsiteX39326" y="connsiteY39326"/>
              </a:cxn>
              <a:cxn ang="0">
                <a:pos x="connsiteX39327" y="connsiteY39327"/>
              </a:cxn>
              <a:cxn ang="0">
                <a:pos x="connsiteX39328" y="connsiteY39328"/>
              </a:cxn>
              <a:cxn ang="0">
                <a:pos x="connsiteX39329" y="connsiteY39329"/>
              </a:cxn>
              <a:cxn ang="0">
                <a:pos x="connsiteX39330" y="connsiteY39330"/>
              </a:cxn>
              <a:cxn ang="0">
                <a:pos x="connsiteX39331" y="connsiteY39331"/>
              </a:cxn>
              <a:cxn ang="0">
                <a:pos x="connsiteX39332" y="connsiteY39332"/>
              </a:cxn>
              <a:cxn ang="0">
                <a:pos x="connsiteX39333" y="connsiteY39333"/>
              </a:cxn>
              <a:cxn ang="0">
                <a:pos x="connsiteX39334" y="connsiteY39334"/>
              </a:cxn>
              <a:cxn ang="0">
                <a:pos x="connsiteX39335" y="connsiteY39335"/>
              </a:cxn>
              <a:cxn ang="0">
                <a:pos x="connsiteX39336" y="connsiteY39336"/>
              </a:cxn>
              <a:cxn ang="0">
                <a:pos x="connsiteX39337" y="connsiteY39337"/>
              </a:cxn>
              <a:cxn ang="0">
                <a:pos x="connsiteX39338" y="connsiteY39338"/>
              </a:cxn>
              <a:cxn ang="0">
                <a:pos x="connsiteX39339" y="connsiteY39339"/>
              </a:cxn>
              <a:cxn ang="0">
                <a:pos x="connsiteX39340" y="connsiteY39340"/>
              </a:cxn>
              <a:cxn ang="0">
                <a:pos x="connsiteX39341" y="connsiteY39341"/>
              </a:cxn>
              <a:cxn ang="0">
                <a:pos x="connsiteX39342" y="connsiteY39342"/>
              </a:cxn>
              <a:cxn ang="0">
                <a:pos x="connsiteX39343" y="connsiteY39343"/>
              </a:cxn>
              <a:cxn ang="0">
                <a:pos x="connsiteX39344" y="connsiteY39344"/>
              </a:cxn>
              <a:cxn ang="0">
                <a:pos x="connsiteX39345" y="connsiteY39345"/>
              </a:cxn>
              <a:cxn ang="0">
                <a:pos x="connsiteX39346" y="connsiteY39346"/>
              </a:cxn>
              <a:cxn ang="0">
                <a:pos x="connsiteX39347" y="connsiteY39347"/>
              </a:cxn>
              <a:cxn ang="0">
                <a:pos x="connsiteX39348" y="connsiteY39348"/>
              </a:cxn>
              <a:cxn ang="0">
                <a:pos x="connsiteX39349" y="connsiteY39349"/>
              </a:cxn>
              <a:cxn ang="0">
                <a:pos x="connsiteX39350" y="connsiteY39350"/>
              </a:cxn>
              <a:cxn ang="0">
                <a:pos x="connsiteX39351" y="connsiteY39351"/>
              </a:cxn>
              <a:cxn ang="0">
                <a:pos x="connsiteX39352" y="connsiteY39352"/>
              </a:cxn>
              <a:cxn ang="0">
                <a:pos x="connsiteX39353" y="connsiteY39353"/>
              </a:cxn>
              <a:cxn ang="0">
                <a:pos x="connsiteX39354" y="connsiteY39354"/>
              </a:cxn>
              <a:cxn ang="0">
                <a:pos x="connsiteX39355" y="connsiteY39355"/>
              </a:cxn>
              <a:cxn ang="0">
                <a:pos x="connsiteX39356" y="connsiteY39356"/>
              </a:cxn>
              <a:cxn ang="0">
                <a:pos x="connsiteX39357" y="connsiteY39357"/>
              </a:cxn>
              <a:cxn ang="0">
                <a:pos x="connsiteX39358" y="connsiteY39358"/>
              </a:cxn>
              <a:cxn ang="0">
                <a:pos x="connsiteX39359" y="connsiteY39359"/>
              </a:cxn>
              <a:cxn ang="0">
                <a:pos x="connsiteX39360" y="connsiteY39360"/>
              </a:cxn>
              <a:cxn ang="0">
                <a:pos x="connsiteX39361" y="connsiteY39361"/>
              </a:cxn>
              <a:cxn ang="0">
                <a:pos x="connsiteX39362" y="connsiteY39362"/>
              </a:cxn>
              <a:cxn ang="0">
                <a:pos x="connsiteX39363" y="connsiteY39363"/>
              </a:cxn>
              <a:cxn ang="0">
                <a:pos x="connsiteX39364" y="connsiteY39364"/>
              </a:cxn>
              <a:cxn ang="0">
                <a:pos x="connsiteX39365" y="connsiteY39365"/>
              </a:cxn>
              <a:cxn ang="0">
                <a:pos x="connsiteX39366" y="connsiteY39366"/>
              </a:cxn>
              <a:cxn ang="0">
                <a:pos x="connsiteX39367" y="connsiteY39367"/>
              </a:cxn>
              <a:cxn ang="0">
                <a:pos x="connsiteX39368" y="connsiteY39368"/>
              </a:cxn>
              <a:cxn ang="0">
                <a:pos x="connsiteX39369" y="connsiteY39369"/>
              </a:cxn>
              <a:cxn ang="0">
                <a:pos x="connsiteX39370" y="connsiteY39370"/>
              </a:cxn>
              <a:cxn ang="0">
                <a:pos x="connsiteX39371" y="connsiteY39371"/>
              </a:cxn>
              <a:cxn ang="0">
                <a:pos x="connsiteX39372" y="connsiteY39372"/>
              </a:cxn>
              <a:cxn ang="0">
                <a:pos x="connsiteX39373" y="connsiteY39373"/>
              </a:cxn>
              <a:cxn ang="0">
                <a:pos x="connsiteX39374" y="connsiteY39374"/>
              </a:cxn>
              <a:cxn ang="0">
                <a:pos x="connsiteX39375" y="connsiteY39375"/>
              </a:cxn>
              <a:cxn ang="0">
                <a:pos x="connsiteX39376" y="connsiteY39376"/>
              </a:cxn>
              <a:cxn ang="0">
                <a:pos x="connsiteX39377" y="connsiteY39377"/>
              </a:cxn>
              <a:cxn ang="0">
                <a:pos x="connsiteX39378" y="connsiteY39378"/>
              </a:cxn>
              <a:cxn ang="0">
                <a:pos x="connsiteX39379" y="connsiteY39379"/>
              </a:cxn>
              <a:cxn ang="0">
                <a:pos x="connsiteX39380" y="connsiteY39380"/>
              </a:cxn>
              <a:cxn ang="0">
                <a:pos x="connsiteX39381" y="connsiteY39381"/>
              </a:cxn>
              <a:cxn ang="0">
                <a:pos x="connsiteX39382" y="connsiteY39382"/>
              </a:cxn>
              <a:cxn ang="0">
                <a:pos x="connsiteX39383" y="connsiteY39383"/>
              </a:cxn>
              <a:cxn ang="0">
                <a:pos x="connsiteX39384" y="connsiteY39384"/>
              </a:cxn>
              <a:cxn ang="0">
                <a:pos x="connsiteX39385" y="connsiteY39385"/>
              </a:cxn>
              <a:cxn ang="0">
                <a:pos x="connsiteX39386" y="connsiteY39386"/>
              </a:cxn>
              <a:cxn ang="0">
                <a:pos x="connsiteX39387" y="connsiteY39387"/>
              </a:cxn>
              <a:cxn ang="0">
                <a:pos x="connsiteX39388" y="connsiteY39388"/>
              </a:cxn>
              <a:cxn ang="0">
                <a:pos x="connsiteX39389" y="connsiteY39389"/>
              </a:cxn>
              <a:cxn ang="0">
                <a:pos x="connsiteX39390" y="connsiteY39390"/>
              </a:cxn>
              <a:cxn ang="0">
                <a:pos x="connsiteX39391" y="connsiteY39391"/>
              </a:cxn>
              <a:cxn ang="0">
                <a:pos x="connsiteX39392" y="connsiteY39392"/>
              </a:cxn>
              <a:cxn ang="0">
                <a:pos x="connsiteX39393" y="connsiteY39393"/>
              </a:cxn>
              <a:cxn ang="0">
                <a:pos x="connsiteX39394" y="connsiteY39394"/>
              </a:cxn>
              <a:cxn ang="0">
                <a:pos x="connsiteX39395" y="connsiteY39395"/>
              </a:cxn>
              <a:cxn ang="0">
                <a:pos x="connsiteX39396" y="connsiteY39396"/>
              </a:cxn>
              <a:cxn ang="0">
                <a:pos x="connsiteX39397" y="connsiteY39397"/>
              </a:cxn>
              <a:cxn ang="0">
                <a:pos x="connsiteX39398" y="connsiteY39398"/>
              </a:cxn>
              <a:cxn ang="0">
                <a:pos x="connsiteX39399" y="connsiteY39399"/>
              </a:cxn>
              <a:cxn ang="0">
                <a:pos x="connsiteX39400" y="connsiteY39400"/>
              </a:cxn>
              <a:cxn ang="0">
                <a:pos x="connsiteX39401" y="connsiteY39401"/>
              </a:cxn>
              <a:cxn ang="0">
                <a:pos x="connsiteX39402" y="connsiteY39402"/>
              </a:cxn>
              <a:cxn ang="0">
                <a:pos x="connsiteX39403" y="connsiteY39403"/>
              </a:cxn>
              <a:cxn ang="0">
                <a:pos x="connsiteX39404" y="connsiteY39404"/>
              </a:cxn>
              <a:cxn ang="0">
                <a:pos x="connsiteX39405" y="connsiteY39405"/>
              </a:cxn>
              <a:cxn ang="0">
                <a:pos x="connsiteX39406" y="connsiteY39406"/>
              </a:cxn>
              <a:cxn ang="0">
                <a:pos x="connsiteX39407" y="connsiteY39407"/>
              </a:cxn>
              <a:cxn ang="0">
                <a:pos x="connsiteX39408" y="connsiteY39408"/>
              </a:cxn>
              <a:cxn ang="0">
                <a:pos x="connsiteX39409" y="connsiteY39409"/>
              </a:cxn>
              <a:cxn ang="0">
                <a:pos x="connsiteX39410" y="connsiteY39410"/>
              </a:cxn>
              <a:cxn ang="0">
                <a:pos x="connsiteX39411" y="connsiteY39411"/>
              </a:cxn>
              <a:cxn ang="0">
                <a:pos x="connsiteX39412" y="connsiteY39412"/>
              </a:cxn>
              <a:cxn ang="0">
                <a:pos x="connsiteX39413" y="connsiteY39413"/>
              </a:cxn>
              <a:cxn ang="0">
                <a:pos x="connsiteX39414" y="connsiteY39414"/>
              </a:cxn>
              <a:cxn ang="0">
                <a:pos x="connsiteX39415" y="connsiteY39415"/>
              </a:cxn>
              <a:cxn ang="0">
                <a:pos x="connsiteX39416" y="connsiteY39416"/>
              </a:cxn>
              <a:cxn ang="0">
                <a:pos x="connsiteX39417" y="connsiteY39417"/>
              </a:cxn>
              <a:cxn ang="0">
                <a:pos x="connsiteX39418" y="connsiteY39418"/>
              </a:cxn>
              <a:cxn ang="0">
                <a:pos x="connsiteX39419" y="connsiteY39419"/>
              </a:cxn>
              <a:cxn ang="0">
                <a:pos x="connsiteX39420" y="connsiteY39420"/>
              </a:cxn>
              <a:cxn ang="0">
                <a:pos x="connsiteX39421" y="connsiteY39421"/>
              </a:cxn>
              <a:cxn ang="0">
                <a:pos x="connsiteX39422" y="connsiteY39422"/>
              </a:cxn>
              <a:cxn ang="0">
                <a:pos x="connsiteX39423" y="connsiteY39423"/>
              </a:cxn>
              <a:cxn ang="0">
                <a:pos x="connsiteX39424" y="connsiteY39424"/>
              </a:cxn>
              <a:cxn ang="0">
                <a:pos x="connsiteX39425" y="connsiteY39425"/>
              </a:cxn>
              <a:cxn ang="0">
                <a:pos x="connsiteX39426" y="connsiteY39426"/>
              </a:cxn>
              <a:cxn ang="0">
                <a:pos x="connsiteX39427" y="connsiteY39427"/>
              </a:cxn>
              <a:cxn ang="0">
                <a:pos x="connsiteX39428" y="connsiteY39428"/>
              </a:cxn>
              <a:cxn ang="0">
                <a:pos x="connsiteX39429" y="connsiteY39429"/>
              </a:cxn>
              <a:cxn ang="0">
                <a:pos x="connsiteX39430" y="connsiteY39430"/>
              </a:cxn>
              <a:cxn ang="0">
                <a:pos x="connsiteX39431" y="connsiteY39431"/>
              </a:cxn>
              <a:cxn ang="0">
                <a:pos x="connsiteX39432" y="connsiteY39432"/>
              </a:cxn>
              <a:cxn ang="0">
                <a:pos x="connsiteX39433" y="connsiteY39433"/>
              </a:cxn>
              <a:cxn ang="0">
                <a:pos x="connsiteX39434" y="connsiteY39434"/>
              </a:cxn>
              <a:cxn ang="0">
                <a:pos x="connsiteX39435" y="connsiteY39435"/>
              </a:cxn>
              <a:cxn ang="0">
                <a:pos x="connsiteX39436" y="connsiteY39436"/>
              </a:cxn>
              <a:cxn ang="0">
                <a:pos x="connsiteX39437" y="connsiteY39437"/>
              </a:cxn>
              <a:cxn ang="0">
                <a:pos x="connsiteX39438" y="connsiteY39438"/>
              </a:cxn>
              <a:cxn ang="0">
                <a:pos x="connsiteX39439" y="connsiteY39439"/>
              </a:cxn>
              <a:cxn ang="0">
                <a:pos x="connsiteX39440" y="connsiteY39440"/>
              </a:cxn>
              <a:cxn ang="0">
                <a:pos x="connsiteX39441" y="connsiteY39441"/>
              </a:cxn>
              <a:cxn ang="0">
                <a:pos x="connsiteX39442" y="connsiteY39442"/>
              </a:cxn>
              <a:cxn ang="0">
                <a:pos x="connsiteX39443" y="connsiteY39443"/>
              </a:cxn>
              <a:cxn ang="0">
                <a:pos x="connsiteX39444" y="connsiteY39444"/>
              </a:cxn>
              <a:cxn ang="0">
                <a:pos x="connsiteX39445" y="connsiteY39445"/>
              </a:cxn>
              <a:cxn ang="0">
                <a:pos x="connsiteX39446" y="connsiteY39446"/>
              </a:cxn>
              <a:cxn ang="0">
                <a:pos x="connsiteX39447" y="connsiteY39447"/>
              </a:cxn>
              <a:cxn ang="0">
                <a:pos x="connsiteX39448" y="connsiteY39448"/>
              </a:cxn>
              <a:cxn ang="0">
                <a:pos x="connsiteX39449" y="connsiteY39449"/>
              </a:cxn>
              <a:cxn ang="0">
                <a:pos x="connsiteX39450" y="connsiteY39450"/>
              </a:cxn>
              <a:cxn ang="0">
                <a:pos x="connsiteX39451" y="connsiteY39451"/>
              </a:cxn>
              <a:cxn ang="0">
                <a:pos x="connsiteX39452" y="connsiteY39452"/>
              </a:cxn>
              <a:cxn ang="0">
                <a:pos x="connsiteX39453" y="connsiteY39453"/>
              </a:cxn>
              <a:cxn ang="0">
                <a:pos x="connsiteX39454" y="connsiteY39454"/>
              </a:cxn>
              <a:cxn ang="0">
                <a:pos x="connsiteX39455" y="connsiteY39455"/>
              </a:cxn>
              <a:cxn ang="0">
                <a:pos x="connsiteX39456" y="connsiteY39456"/>
              </a:cxn>
              <a:cxn ang="0">
                <a:pos x="connsiteX39457" y="connsiteY39457"/>
              </a:cxn>
              <a:cxn ang="0">
                <a:pos x="connsiteX39458" y="connsiteY39458"/>
              </a:cxn>
              <a:cxn ang="0">
                <a:pos x="connsiteX39459" y="connsiteY39459"/>
              </a:cxn>
              <a:cxn ang="0">
                <a:pos x="connsiteX39460" y="connsiteY39460"/>
              </a:cxn>
              <a:cxn ang="0">
                <a:pos x="connsiteX39461" y="connsiteY39461"/>
              </a:cxn>
              <a:cxn ang="0">
                <a:pos x="connsiteX39462" y="connsiteY39462"/>
              </a:cxn>
              <a:cxn ang="0">
                <a:pos x="connsiteX39463" y="connsiteY39463"/>
              </a:cxn>
              <a:cxn ang="0">
                <a:pos x="connsiteX39464" y="connsiteY39464"/>
              </a:cxn>
              <a:cxn ang="0">
                <a:pos x="connsiteX39465" y="connsiteY39465"/>
              </a:cxn>
              <a:cxn ang="0">
                <a:pos x="connsiteX39466" y="connsiteY39466"/>
              </a:cxn>
              <a:cxn ang="0">
                <a:pos x="connsiteX39467" y="connsiteY39467"/>
              </a:cxn>
              <a:cxn ang="0">
                <a:pos x="connsiteX39468" y="connsiteY39468"/>
              </a:cxn>
              <a:cxn ang="0">
                <a:pos x="connsiteX39469" y="connsiteY39469"/>
              </a:cxn>
              <a:cxn ang="0">
                <a:pos x="connsiteX39470" y="connsiteY39470"/>
              </a:cxn>
              <a:cxn ang="0">
                <a:pos x="connsiteX39471" y="connsiteY39471"/>
              </a:cxn>
              <a:cxn ang="0">
                <a:pos x="connsiteX39472" y="connsiteY39472"/>
              </a:cxn>
              <a:cxn ang="0">
                <a:pos x="connsiteX39473" y="connsiteY39473"/>
              </a:cxn>
              <a:cxn ang="0">
                <a:pos x="connsiteX39474" y="connsiteY39474"/>
              </a:cxn>
              <a:cxn ang="0">
                <a:pos x="connsiteX39475" y="connsiteY39475"/>
              </a:cxn>
              <a:cxn ang="0">
                <a:pos x="connsiteX39476" y="connsiteY39476"/>
              </a:cxn>
              <a:cxn ang="0">
                <a:pos x="connsiteX39477" y="connsiteY39477"/>
              </a:cxn>
              <a:cxn ang="0">
                <a:pos x="connsiteX39478" y="connsiteY39478"/>
              </a:cxn>
              <a:cxn ang="0">
                <a:pos x="connsiteX39479" y="connsiteY39479"/>
              </a:cxn>
              <a:cxn ang="0">
                <a:pos x="connsiteX39480" y="connsiteY39480"/>
              </a:cxn>
              <a:cxn ang="0">
                <a:pos x="connsiteX39481" y="connsiteY39481"/>
              </a:cxn>
              <a:cxn ang="0">
                <a:pos x="connsiteX39482" y="connsiteY39482"/>
              </a:cxn>
              <a:cxn ang="0">
                <a:pos x="connsiteX39483" y="connsiteY39483"/>
              </a:cxn>
              <a:cxn ang="0">
                <a:pos x="connsiteX39484" y="connsiteY39484"/>
              </a:cxn>
              <a:cxn ang="0">
                <a:pos x="connsiteX39485" y="connsiteY39485"/>
              </a:cxn>
              <a:cxn ang="0">
                <a:pos x="connsiteX39486" y="connsiteY39486"/>
              </a:cxn>
              <a:cxn ang="0">
                <a:pos x="connsiteX39487" y="connsiteY39487"/>
              </a:cxn>
              <a:cxn ang="0">
                <a:pos x="connsiteX39488" y="connsiteY39488"/>
              </a:cxn>
              <a:cxn ang="0">
                <a:pos x="connsiteX39489" y="connsiteY39489"/>
              </a:cxn>
              <a:cxn ang="0">
                <a:pos x="connsiteX39490" y="connsiteY39490"/>
              </a:cxn>
              <a:cxn ang="0">
                <a:pos x="connsiteX39491" y="connsiteY39491"/>
              </a:cxn>
              <a:cxn ang="0">
                <a:pos x="connsiteX39492" y="connsiteY39492"/>
              </a:cxn>
              <a:cxn ang="0">
                <a:pos x="connsiteX39493" y="connsiteY39493"/>
              </a:cxn>
              <a:cxn ang="0">
                <a:pos x="connsiteX39494" y="connsiteY39494"/>
              </a:cxn>
              <a:cxn ang="0">
                <a:pos x="connsiteX39495" y="connsiteY39495"/>
              </a:cxn>
              <a:cxn ang="0">
                <a:pos x="connsiteX39496" y="connsiteY39496"/>
              </a:cxn>
              <a:cxn ang="0">
                <a:pos x="connsiteX39497" y="connsiteY39497"/>
              </a:cxn>
              <a:cxn ang="0">
                <a:pos x="connsiteX39498" y="connsiteY39498"/>
              </a:cxn>
              <a:cxn ang="0">
                <a:pos x="connsiteX39499" y="connsiteY39499"/>
              </a:cxn>
              <a:cxn ang="0">
                <a:pos x="connsiteX39500" y="connsiteY39500"/>
              </a:cxn>
              <a:cxn ang="0">
                <a:pos x="connsiteX39501" y="connsiteY39501"/>
              </a:cxn>
              <a:cxn ang="0">
                <a:pos x="connsiteX39502" y="connsiteY39502"/>
              </a:cxn>
              <a:cxn ang="0">
                <a:pos x="connsiteX39503" y="connsiteY39503"/>
              </a:cxn>
              <a:cxn ang="0">
                <a:pos x="connsiteX39504" y="connsiteY39504"/>
              </a:cxn>
              <a:cxn ang="0">
                <a:pos x="connsiteX39505" y="connsiteY39505"/>
              </a:cxn>
              <a:cxn ang="0">
                <a:pos x="connsiteX39506" y="connsiteY39506"/>
              </a:cxn>
              <a:cxn ang="0">
                <a:pos x="connsiteX39507" y="connsiteY39507"/>
              </a:cxn>
              <a:cxn ang="0">
                <a:pos x="connsiteX39508" y="connsiteY39508"/>
              </a:cxn>
              <a:cxn ang="0">
                <a:pos x="connsiteX39509" y="connsiteY39509"/>
              </a:cxn>
              <a:cxn ang="0">
                <a:pos x="connsiteX39510" y="connsiteY39510"/>
              </a:cxn>
              <a:cxn ang="0">
                <a:pos x="connsiteX39511" y="connsiteY39511"/>
              </a:cxn>
              <a:cxn ang="0">
                <a:pos x="connsiteX39512" y="connsiteY39512"/>
              </a:cxn>
              <a:cxn ang="0">
                <a:pos x="connsiteX39513" y="connsiteY39513"/>
              </a:cxn>
              <a:cxn ang="0">
                <a:pos x="connsiteX39514" y="connsiteY39514"/>
              </a:cxn>
              <a:cxn ang="0">
                <a:pos x="connsiteX39515" y="connsiteY39515"/>
              </a:cxn>
              <a:cxn ang="0">
                <a:pos x="connsiteX39516" y="connsiteY39516"/>
              </a:cxn>
              <a:cxn ang="0">
                <a:pos x="connsiteX39517" y="connsiteY39517"/>
              </a:cxn>
              <a:cxn ang="0">
                <a:pos x="connsiteX39518" y="connsiteY39518"/>
              </a:cxn>
              <a:cxn ang="0">
                <a:pos x="connsiteX39519" y="connsiteY39519"/>
              </a:cxn>
              <a:cxn ang="0">
                <a:pos x="connsiteX39520" y="connsiteY39520"/>
              </a:cxn>
              <a:cxn ang="0">
                <a:pos x="connsiteX39521" y="connsiteY39521"/>
              </a:cxn>
              <a:cxn ang="0">
                <a:pos x="connsiteX39522" y="connsiteY39522"/>
              </a:cxn>
              <a:cxn ang="0">
                <a:pos x="connsiteX39523" y="connsiteY39523"/>
              </a:cxn>
              <a:cxn ang="0">
                <a:pos x="connsiteX39524" y="connsiteY39524"/>
              </a:cxn>
              <a:cxn ang="0">
                <a:pos x="connsiteX39525" y="connsiteY39525"/>
              </a:cxn>
              <a:cxn ang="0">
                <a:pos x="connsiteX39526" y="connsiteY39526"/>
              </a:cxn>
              <a:cxn ang="0">
                <a:pos x="connsiteX39527" y="connsiteY39527"/>
              </a:cxn>
              <a:cxn ang="0">
                <a:pos x="connsiteX39528" y="connsiteY39528"/>
              </a:cxn>
              <a:cxn ang="0">
                <a:pos x="connsiteX39529" y="connsiteY39529"/>
              </a:cxn>
              <a:cxn ang="0">
                <a:pos x="connsiteX39530" y="connsiteY39530"/>
              </a:cxn>
              <a:cxn ang="0">
                <a:pos x="connsiteX39531" y="connsiteY39531"/>
              </a:cxn>
              <a:cxn ang="0">
                <a:pos x="connsiteX39532" y="connsiteY39532"/>
              </a:cxn>
              <a:cxn ang="0">
                <a:pos x="connsiteX39533" y="connsiteY39533"/>
              </a:cxn>
              <a:cxn ang="0">
                <a:pos x="connsiteX39534" y="connsiteY39534"/>
              </a:cxn>
              <a:cxn ang="0">
                <a:pos x="connsiteX39535" y="connsiteY39535"/>
              </a:cxn>
              <a:cxn ang="0">
                <a:pos x="connsiteX39536" y="connsiteY39536"/>
              </a:cxn>
              <a:cxn ang="0">
                <a:pos x="connsiteX39537" y="connsiteY39537"/>
              </a:cxn>
              <a:cxn ang="0">
                <a:pos x="connsiteX39538" y="connsiteY39538"/>
              </a:cxn>
              <a:cxn ang="0">
                <a:pos x="connsiteX39539" y="connsiteY39539"/>
              </a:cxn>
              <a:cxn ang="0">
                <a:pos x="connsiteX39540" y="connsiteY39540"/>
              </a:cxn>
              <a:cxn ang="0">
                <a:pos x="connsiteX39541" y="connsiteY39541"/>
              </a:cxn>
              <a:cxn ang="0">
                <a:pos x="connsiteX39542" y="connsiteY39542"/>
              </a:cxn>
              <a:cxn ang="0">
                <a:pos x="connsiteX39543" y="connsiteY39543"/>
              </a:cxn>
              <a:cxn ang="0">
                <a:pos x="connsiteX39544" y="connsiteY39544"/>
              </a:cxn>
              <a:cxn ang="0">
                <a:pos x="connsiteX39545" y="connsiteY39545"/>
              </a:cxn>
              <a:cxn ang="0">
                <a:pos x="connsiteX39546" y="connsiteY39546"/>
              </a:cxn>
              <a:cxn ang="0">
                <a:pos x="connsiteX39547" y="connsiteY39547"/>
              </a:cxn>
              <a:cxn ang="0">
                <a:pos x="connsiteX39548" y="connsiteY39548"/>
              </a:cxn>
              <a:cxn ang="0">
                <a:pos x="connsiteX39549" y="connsiteY39549"/>
              </a:cxn>
              <a:cxn ang="0">
                <a:pos x="connsiteX39550" y="connsiteY39550"/>
              </a:cxn>
              <a:cxn ang="0">
                <a:pos x="connsiteX39551" y="connsiteY39551"/>
              </a:cxn>
              <a:cxn ang="0">
                <a:pos x="connsiteX39552" y="connsiteY39552"/>
              </a:cxn>
              <a:cxn ang="0">
                <a:pos x="connsiteX39553" y="connsiteY39553"/>
              </a:cxn>
              <a:cxn ang="0">
                <a:pos x="connsiteX39554" y="connsiteY39554"/>
              </a:cxn>
              <a:cxn ang="0">
                <a:pos x="connsiteX39555" y="connsiteY39555"/>
              </a:cxn>
              <a:cxn ang="0">
                <a:pos x="connsiteX39556" y="connsiteY39556"/>
              </a:cxn>
              <a:cxn ang="0">
                <a:pos x="connsiteX39557" y="connsiteY39557"/>
              </a:cxn>
              <a:cxn ang="0">
                <a:pos x="connsiteX39558" y="connsiteY39558"/>
              </a:cxn>
              <a:cxn ang="0">
                <a:pos x="connsiteX39559" y="connsiteY39559"/>
              </a:cxn>
              <a:cxn ang="0">
                <a:pos x="connsiteX39560" y="connsiteY39560"/>
              </a:cxn>
              <a:cxn ang="0">
                <a:pos x="connsiteX39561" y="connsiteY39561"/>
              </a:cxn>
              <a:cxn ang="0">
                <a:pos x="connsiteX39562" y="connsiteY39562"/>
              </a:cxn>
              <a:cxn ang="0">
                <a:pos x="connsiteX39563" y="connsiteY39563"/>
              </a:cxn>
              <a:cxn ang="0">
                <a:pos x="connsiteX39564" y="connsiteY39564"/>
              </a:cxn>
              <a:cxn ang="0">
                <a:pos x="connsiteX39565" y="connsiteY39565"/>
              </a:cxn>
              <a:cxn ang="0">
                <a:pos x="connsiteX39566" y="connsiteY39566"/>
              </a:cxn>
              <a:cxn ang="0">
                <a:pos x="connsiteX39567" y="connsiteY39567"/>
              </a:cxn>
              <a:cxn ang="0">
                <a:pos x="connsiteX39568" y="connsiteY39568"/>
              </a:cxn>
              <a:cxn ang="0">
                <a:pos x="connsiteX39569" y="connsiteY39569"/>
              </a:cxn>
              <a:cxn ang="0">
                <a:pos x="connsiteX39570" y="connsiteY39570"/>
              </a:cxn>
              <a:cxn ang="0">
                <a:pos x="connsiteX39571" y="connsiteY39571"/>
              </a:cxn>
              <a:cxn ang="0">
                <a:pos x="connsiteX39572" y="connsiteY39572"/>
              </a:cxn>
              <a:cxn ang="0">
                <a:pos x="connsiteX39573" y="connsiteY39573"/>
              </a:cxn>
              <a:cxn ang="0">
                <a:pos x="connsiteX39574" y="connsiteY39574"/>
              </a:cxn>
              <a:cxn ang="0">
                <a:pos x="connsiteX39575" y="connsiteY39575"/>
              </a:cxn>
              <a:cxn ang="0">
                <a:pos x="connsiteX39576" y="connsiteY39576"/>
              </a:cxn>
              <a:cxn ang="0">
                <a:pos x="connsiteX39577" y="connsiteY39577"/>
              </a:cxn>
              <a:cxn ang="0">
                <a:pos x="connsiteX39578" y="connsiteY39578"/>
              </a:cxn>
              <a:cxn ang="0">
                <a:pos x="connsiteX39579" y="connsiteY39579"/>
              </a:cxn>
              <a:cxn ang="0">
                <a:pos x="connsiteX39580" y="connsiteY39580"/>
              </a:cxn>
              <a:cxn ang="0">
                <a:pos x="connsiteX39581" y="connsiteY39581"/>
              </a:cxn>
              <a:cxn ang="0">
                <a:pos x="connsiteX39582" y="connsiteY39582"/>
              </a:cxn>
              <a:cxn ang="0">
                <a:pos x="connsiteX39583" y="connsiteY39583"/>
              </a:cxn>
              <a:cxn ang="0">
                <a:pos x="connsiteX39584" y="connsiteY39584"/>
              </a:cxn>
              <a:cxn ang="0">
                <a:pos x="connsiteX39585" y="connsiteY39585"/>
              </a:cxn>
              <a:cxn ang="0">
                <a:pos x="connsiteX39586" y="connsiteY39586"/>
              </a:cxn>
              <a:cxn ang="0">
                <a:pos x="connsiteX39587" y="connsiteY39587"/>
              </a:cxn>
              <a:cxn ang="0">
                <a:pos x="connsiteX39588" y="connsiteY39588"/>
              </a:cxn>
              <a:cxn ang="0">
                <a:pos x="connsiteX39589" y="connsiteY39589"/>
              </a:cxn>
              <a:cxn ang="0">
                <a:pos x="connsiteX39590" y="connsiteY39590"/>
              </a:cxn>
              <a:cxn ang="0">
                <a:pos x="connsiteX39591" y="connsiteY39591"/>
              </a:cxn>
              <a:cxn ang="0">
                <a:pos x="connsiteX39592" y="connsiteY39592"/>
              </a:cxn>
              <a:cxn ang="0">
                <a:pos x="connsiteX39593" y="connsiteY39593"/>
              </a:cxn>
              <a:cxn ang="0">
                <a:pos x="connsiteX39594" y="connsiteY39594"/>
              </a:cxn>
              <a:cxn ang="0">
                <a:pos x="connsiteX39595" y="connsiteY39595"/>
              </a:cxn>
              <a:cxn ang="0">
                <a:pos x="connsiteX39596" y="connsiteY39596"/>
              </a:cxn>
              <a:cxn ang="0">
                <a:pos x="connsiteX39597" y="connsiteY39597"/>
              </a:cxn>
              <a:cxn ang="0">
                <a:pos x="connsiteX39598" y="connsiteY39598"/>
              </a:cxn>
              <a:cxn ang="0">
                <a:pos x="connsiteX39599" y="connsiteY39599"/>
              </a:cxn>
              <a:cxn ang="0">
                <a:pos x="connsiteX39600" y="connsiteY39600"/>
              </a:cxn>
              <a:cxn ang="0">
                <a:pos x="connsiteX39601" y="connsiteY39601"/>
              </a:cxn>
              <a:cxn ang="0">
                <a:pos x="connsiteX39602" y="connsiteY39602"/>
              </a:cxn>
              <a:cxn ang="0">
                <a:pos x="connsiteX39603" y="connsiteY39603"/>
              </a:cxn>
              <a:cxn ang="0">
                <a:pos x="connsiteX39604" y="connsiteY39604"/>
              </a:cxn>
              <a:cxn ang="0">
                <a:pos x="connsiteX39605" y="connsiteY39605"/>
              </a:cxn>
              <a:cxn ang="0">
                <a:pos x="connsiteX39606" y="connsiteY39606"/>
              </a:cxn>
              <a:cxn ang="0">
                <a:pos x="connsiteX39607" y="connsiteY39607"/>
              </a:cxn>
              <a:cxn ang="0">
                <a:pos x="connsiteX39608" y="connsiteY39608"/>
              </a:cxn>
              <a:cxn ang="0">
                <a:pos x="connsiteX39609" y="connsiteY39609"/>
              </a:cxn>
              <a:cxn ang="0">
                <a:pos x="connsiteX39610" y="connsiteY39610"/>
              </a:cxn>
              <a:cxn ang="0">
                <a:pos x="connsiteX39611" y="connsiteY39611"/>
              </a:cxn>
              <a:cxn ang="0">
                <a:pos x="connsiteX39612" y="connsiteY39612"/>
              </a:cxn>
              <a:cxn ang="0">
                <a:pos x="connsiteX39613" y="connsiteY39613"/>
              </a:cxn>
              <a:cxn ang="0">
                <a:pos x="connsiteX39614" y="connsiteY39614"/>
              </a:cxn>
              <a:cxn ang="0">
                <a:pos x="connsiteX39615" y="connsiteY39615"/>
              </a:cxn>
              <a:cxn ang="0">
                <a:pos x="connsiteX39616" y="connsiteY39616"/>
              </a:cxn>
              <a:cxn ang="0">
                <a:pos x="connsiteX39617" y="connsiteY39617"/>
              </a:cxn>
              <a:cxn ang="0">
                <a:pos x="connsiteX39618" y="connsiteY39618"/>
              </a:cxn>
              <a:cxn ang="0">
                <a:pos x="connsiteX39619" y="connsiteY39619"/>
              </a:cxn>
              <a:cxn ang="0">
                <a:pos x="connsiteX39620" y="connsiteY39620"/>
              </a:cxn>
              <a:cxn ang="0">
                <a:pos x="connsiteX39621" y="connsiteY39621"/>
              </a:cxn>
              <a:cxn ang="0">
                <a:pos x="connsiteX39622" y="connsiteY39622"/>
              </a:cxn>
              <a:cxn ang="0">
                <a:pos x="connsiteX39623" y="connsiteY39623"/>
              </a:cxn>
              <a:cxn ang="0">
                <a:pos x="connsiteX39624" y="connsiteY39624"/>
              </a:cxn>
              <a:cxn ang="0">
                <a:pos x="connsiteX39625" y="connsiteY39625"/>
              </a:cxn>
              <a:cxn ang="0">
                <a:pos x="connsiteX39626" y="connsiteY39626"/>
              </a:cxn>
              <a:cxn ang="0">
                <a:pos x="connsiteX39627" y="connsiteY39627"/>
              </a:cxn>
              <a:cxn ang="0">
                <a:pos x="connsiteX39628" y="connsiteY39628"/>
              </a:cxn>
              <a:cxn ang="0">
                <a:pos x="connsiteX39629" y="connsiteY39629"/>
              </a:cxn>
              <a:cxn ang="0">
                <a:pos x="connsiteX39630" y="connsiteY39630"/>
              </a:cxn>
              <a:cxn ang="0">
                <a:pos x="connsiteX39631" y="connsiteY39631"/>
              </a:cxn>
              <a:cxn ang="0">
                <a:pos x="connsiteX39632" y="connsiteY39632"/>
              </a:cxn>
              <a:cxn ang="0">
                <a:pos x="connsiteX39633" y="connsiteY39633"/>
              </a:cxn>
              <a:cxn ang="0">
                <a:pos x="connsiteX39634" y="connsiteY39634"/>
              </a:cxn>
              <a:cxn ang="0">
                <a:pos x="connsiteX39635" y="connsiteY39635"/>
              </a:cxn>
              <a:cxn ang="0">
                <a:pos x="connsiteX39636" y="connsiteY39636"/>
              </a:cxn>
              <a:cxn ang="0">
                <a:pos x="connsiteX39637" y="connsiteY39637"/>
              </a:cxn>
              <a:cxn ang="0">
                <a:pos x="connsiteX39638" y="connsiteY39638"/>
              </a:cxn>
              <a:cxn ang="0">
                <a:pos x="connsiteX39639" y="connsiteY39639"/>
              </a:cxn>
              <a:cxn ang="0">
                <a:pos x="connsiteX39640" y="connsiteY39640"/>
              </a:cxn>
              <a:cxn ang="0">
                <a:pos x="connsiteX39641" y="connsiteY39641"/>
              </a:cxn>
              <a:cxn ang="0">
                <a:pos x="connsiteX39642" y="connsiteY39642"/>
              </a:cxn>
              <a:cxn ang="0">
                <a:pos x="connsiteX39643" y="connsiteY39643"/>
              </a:cxn>
              <a:cxn ang="0">
                <a:pos x="connsiteX39644" y="connsiteY39644"/>
              </a:cxn>
              <a:cxn ang="0">
                <a:pos x="connsiteX39645" y="connsiteY39645"/>
              </a:cxn>
              <a:cxn ang="0">
                <a:pos x="connsiteX39646" y="connsiteY39646"/>
              </a:cxn>
              <a:cxn ang="0">
                <a:pos x="connsiteX39647" y="connsiteY39647"/>
              </a:cxn>
              <a:cxn ang="0">
                <a:pos x="connsiteX39648" y="connsiteY39648"/>
              </a:cxn>
              <a:cxn ang="0">
                <a:pos x="connsiteX39649" y="connsiteY39649"/>
              </a:cxn>
              <a:cxn ang="0">
                <a:pos x="connsiteX39650" y="connsiteY39650"/>
              </a:cxn>
              <a:cxn ang="0">
                <a:pos x="connsiteX39651" y="connsiteY39651"/>
              </a:cxn>
              <a:cxn ang="0">
                <a:pos x="connsiteX39652" y="connsiteY39652"/>
              </a:cxn>
              <a:cxn ang="0">
                <a:pos x="connsiteX39653" y="connsiteY39653"/>
              </a:cxn>
              <a:cxn ang="0">
                <a:pos x="connsiteX39654" y="connsiteY39654"/>
              </a:cxn>
              <a:cxn ang="0">
                <a:pos x="connsiteX39655" y="connsiteY39655"/>
              </a:cxn>
              <a:cxn ang="0">
                <a:pos x="connsiteX39656" y="connsiteY39656"/>
              </a:cxn>
              <a:cxn ang="0">
                <a:pos x="connsiteX39657" y="connsiteY39657"/>
              </a:cxn>
              <a:cxn ang="0">
                <a:pos x="connsiteX39658" y="connsiteY39658"/>
              </a:cxn>
              <a:cxn ang="0">
                <a:pos x="connsiteX39659" y="connsiteY39659"/>
              </a:cxn>
              <a:cxn ang="0">
                <a:pos x="connsiteX39660" y="connsiteY39660"/>
              </a:cxn>
              <a:cxn ang="0">
                <a:pos x="connsiteX39661" y="connsiteY39661"/>
              </a:cxn>
              <a:cxn ang="0">
                <a:pos x="connsiteX39662" y="connsiteY39662"/>
              </a:cxn>
              <a:cxn ang="0">
                <a:pos x="connsiteX39663" y="connsiteY39663"/>
              </a:cxn>
              <a:cxn ang="0">
                <a:pos x="connsiteX39664" y="connsiteY39664"/>
              </a:cxn>
              <a:cxn ang="0">
                <a:pos x="connsiteX39665" y="connsiteY39665"/>
              </a:cxn>
              <a:cxn ang="0">
                <a:pos x="connsiteX39666" y="connsiteY39666"/>
              </a:cxn>
              <a:cxn ang="0">
                <a:pos x="connsiteX39667" y="connsiteY39667"/>
              </a:cxn>
              <a:cxn ang="0">
                <a:pos x="connsiteX39668" y="connsiteY39668"/>
              </a:cxn>
              <a:cxn ang="0">
                <a:pos x="connsiteX39669" y="connsiteY39669"/>
              </a:cxn>
              <a:cxn ang="0">
                <a:pos x="connsiteX39670" y="connsiteY39670"/>
              </a:cxn>
              <a:cxn ang="0">
                <a:pos x="connsiteX39671" y="connsiteY39671"/>
              </a:cxn>
              <a:cxn ang="0">
                <a:pos x="connsiteX39672" y="connsiteY39672"/>
              </a:cxn>
              <a:cxn ang="0">
                <a:pos x="connsiteX39673" y="connsiteY39673"/>
              </a:cxn>
              <a:cxn ang="0">
                <a:pos x="connsiteX39674" y="connsiteY39674"/>
              </a:cxn>
              <a:cxn ang="0">
                <a:pos x="connsiteX39675" y="connsiteY39675"/>
              </a:cxn>
              <a:cxn ang="0">
                <a:pos x="connsiteX39676" y="connsiteY39676"/>
              </a:cxn>
              <a:cxn ang="0">
                <a:pos x="connsiteX39677" y="connsiteY39677"/>
              </a:cxn>
              <a:cxn ang="0">
                <a:pos x="connsiteX39678" y="connsiteY39678"/>
              </a:cxn>
              <a:cxn ang="0">
                <a:pos x="connsiteX39679" y="connsiteY39679"/>
              </a:cxn>
              <a:cxn ang="0">
                <a:pos x="connsiteX39680" y="connsiteY39680"/>
              </a:cxn>
              <a:cxn ang="0">
                <a:pos x="connsiteX39681" y="connsiteY39681"/>
              </a:cxn>
              <a:cxn ang="0">
                <a:pos x="connsiteX39682" y="connsiteY39682"/>
              </a:cxn>
              <a:cxn ang="0">
                <a:pos x="connsiteX39683" y="connsiteY39683"/>
              </a:cxn>
              <a:cxn ang="0">
                <a:pos x="connsiteX39684" y="connsiteY39684"/>
              </a:cxn>
              <a:cxn ang="0">
                <a:pos x="connsiteX39685" y="connsiteY39685"/>
              </a:cxn>
              <a:cxn ang="0">
                <a:pos x="connsiteX39686" y="connsiteY39686"/>
              </a:cxn>
              <a:cxn ang="0">
                <a:pos x="connsiteX39687" y="connsiteY39687"/>
              </a:cxn>
              <a:cxn ang="0">
                <a:pos x="connsiteX39688" y="connsiteY39688"/>
              </a:cxn>
              <a:cxn ang="0">
                <a:pos x="connsiteX39689" y="connsiteY39689"/>
              </a:cxn>
              <a:cxn ang="0">
                <a:pos x="connsiteX39690" y="connsiteY39690"/>
              </a:cxn>
              <a:cxn ang="0">
                <a:pos x="connsiteX39691" y="connsiteY39691"/>
              </a:cxn>
              <a:cxn ang="0">
                <a:pos x="connsiteX39692" y="connsiteY39692"/>
              </a:cxn>
              <a:cxn ang="0">
                <a:pos x="connsiteX39693" y="connsiteY39693"/>
              </a:cxn>
              <a:cxn ang="0">
                <a:pos x="connsiteX39694" y="connsiteY39694"/>
              </a:cxn>
              <a:cxn ang="0">
                <a:pos x="connsiteX39695" y="connsiteY39695"/>
              </a:cxn>
              <a:cxn ang="0">
                <a:pos x="connsiteX39696" y="connsiteY39696"/>
              </a:cxn>
              <a:cxn ang="0">
                <a:pos x="connsiteX39697" y="connsiteY39697"/>
              </a:cxn>
              <a:cxn ang="0">
                <a:pos x="connsiteX39698" y="connsiteY39698"/>
              </a:cxn>
              <a:cxn ang="0">
                <a:pos x="connsiteX39699" y="connsiteY39699"/>
              </a:cxn>
              <a:cxn ang="0">
                <a:pos x="connsiteX39700" y="connsiteY39700"/>
              </a:cxn>
              <a:cxn ang="0">
                <a:pos x="connsiteX39701" y="connsiteY39701"/>
              </a:cxn>
              <a:cxn ang="0">
                <a:pos x="connsiteX39702" y="connsiteY39702"/>
              </a:cxn>
              <a:cxn ang="0">
                <a:pos x="connsiteX39703" y="connsiteY39703"/>
              </a:cxn>
              <a:cxn ang="0">
                <a:pos x="connsiteX39704" y="connsiteY39704"/>
              </a:cxn>
              <a:cxn ang="0">
                <a:pos x="connsiteX39705" y="connsiteY39705"/>
              </a:cxn>
              <a:cxn ang="0">
                <a:pos x="connsiteX39706" y="connsiteY39706"/>
              </a:cxn>
              <a:cxn ang="0">
                <a:pos x="connsiteX39707" y="connsiteY39707"/>
              </a:cxn>
              <a:cxn ang="0">
                <a:pos x="connsiteX39708" y="connsiteY39708"/>
              </a:cxn>
              <a:cxn ang="0">
                <a:pos x="connsiteX39709" y="connsiteY39709"/>
              </a:cxn>
              <a:cxn ang="0">
                <a:pos x="connsiteX39710" y="connsiteY39710"/>
              </a:cxn>
              <a:cxn ang="0">
                <a:pos x="connsiteX39711" y="connsiteY39711"/>
              </a:cxn>
              <a:cxn ang="0">
                <a:pos x="connsiteX39712" y="connsiteY39712"/>
              </a:cxn>
              <a:cxn ang="0">
                <a:pos x="connsiteX39713" y="connsiteY39713"/>
              </a:cxn>
              <a:cxn ang="0">
                <a:pos x="connsiteX39714" y="connsiteY39714"/>
              </a:cxn>
              <a:cxn ang="0">
                <a:pos x="connsiteX39715" y="connsiteY39715"/>
              </a:cxn>
              <a:cxn ang="0">
                <a:pos x="connsiteX39716" y="connsiteY39716"/>
              </a:cxn>
              <a:cxn ang="0">
                <a:pos x="connsiteX39717" y="connsiteY39717"/>
              </a:cxn>
              <a:cxn ang="0">
                <a:pos x="connsiteX39718" y="connsiteY39718"/>
              </a:cxn>
              <a:cxn ang="0">
                <a:pos x="connsiteX39719" y="connsiteY39719"/>
              </a:cxn>
              <a:cxn ang="0">
                <a:pos x="connsiteX39720" y="connsiteY39720"/>
              </a:cxn>
              <a:cxn ang="0">
                <a:pos x="connsiteX39721" y="connsiteY39721"/>
              </a:cxn>
              <a:cxn ang="0">
                <a:pos x="connsiteX39722" y="connsiteY39722"/>
              </a:cxn>
              <a:cxn ang="0">
                <a:pos x="connsiteX39723" y="connsiteY39723"/>
              </a:cxn>
              <a:cxn ang="0">
                <a:pos x="connsiteX39724" y="connsiteY39724"/>
              </a:cxn>
              <a:cxn ang="0">
                <a:pos x="connsiteX39725" y="connsiteY39725"/>
              </a:cxn>
              <a:cxn ang="0">
                <a:pos x="connsiteX39726" y="connsiteY39726"/>
              </a:cxn>
              <a:cxn ang="0">
                <a:pos x="connsiteX39727" y="connsiteY39727"/>
              </a:cxn>
              <a:cxn ang="0">
                <a:pos x="connsiteX39728" y="connsiteY39728"/>
              </a:cxn>
              <a:cxn ang="0">
                <a:pos x="connsiteX39729" y="connsiteY39729"/>
              </a:cxn>
              <a:cxn ang="0">
                <a:pos x="connsiteX39730" y="connsiteY39730"/>
              </a:cxn>
              <a:cxn ang="0">
                <a:pos x="connsiteX39731" y="connsiteY39731"/>
              </a:cxn>
              <a:cxn ang="0">
                <a:pos x="connsiteX39732" y="connsiteY39732"/>
              </a:cxn>
              <a:cxn ang="0">
                <a:pos x="connsiteX39733" y="connsiteY39733"/>
              </a:cxn>
              <a:cxn ang="0">
                <a:pos x="connsiteX39734" y="connsiteY39734"/>
              </a:cxn>
              <a:cxn ang="0">
                <a:pos x="connsiteX39735" y="connsiteY39735"/>
              </a:cxn>
              <a:cxn ang="0">
                <a:pos x="connsiteX39736" y="connsiteY39736"/>
              </a:cxn>
              <a:cxn ang="0">
                <a:pos x="connsiteX39737" y="connsiteY39737"/>
              </a:cxn>
              <a:cxn ang="0">
                <a:pos x="connsiteX39738" y="connsiteY39738"/>
              </a:cxn>
              <a:cxn ang="0">
                <a:pos x="connsiteX39739" y="connsiteY39739"/>
              </a:cxn>
              <a:cxn ang="0">
                <a:pos x="connsiteX39740" y="connsiteY39740"/>
              </a:cxn>
              <a:cxn ang="0">
                <a:pos x="connsiteX39741" y="connsiteY39741"/>
              </a:cxn>
              <a:cxn ang="0">
                <a:pos x="connsiteX39742" y="connsiteY39742"/>
              </a:cxn>
              <a:cxn ang="0">
                <a:pos x="connsiteX39743" y="connsiteY39743"/>
              </a:cxn>
              <a:cxn ang="0">
                <a:pos x="connsiteX39744" y="connsiteY39744"/>
              </a:cxn>
              <a:cxn ang="0">
                <a:pos x="connsiteX39745" y="connsiteY39745"/>
              </a:cxn>
              <a:cxn ang="0">
                <a:pos x="connsiteX39746" y="connsiteY39746"/>
              </a:cxn>
              <a:cxn ang="0">
                <a:pos x="connsiteX39747" y="connsiteY39747"/>
              </a:cxn>
              <a:cxn ang="0">
                <a:pos x="connsiteX39748" y="connsiteY39748"/>
              </a:cxn>
              <a:cxn ang="0">
                <a:pos x="connsiteX39749" y="connsiteY39749"/>
              </a:cxn>
              <a:cxn ang="0">
                <a:pos x="connsiteX39750" y="connsiteY39750"/>
              </a:cxn>
              <a:cxn ang="0">
                <a:pos x="connsiteX39751" y="connsiteY39751"/>
              </a:cxn>
              <a:cxn ang="0">
                <a:pos x="connsiteX39752" y="connsiteY39752"/>
              </a:cxn>
              <a:cxn ang="0">
                <a:pos x="connsiteX39753" y="connsiteY39753"/>
              </a:cxn>
              <a:cxn ang="0">
                <a:pos x="connsiteX39754" y="connsiteY39754"/>
              </a:cxn>
              <a:cxn ang="0">
                <a:pos x="connsiteX39755" y="connsiteY39755"/>
              </a:cxn>
              <a:cxn ang="0">
                <a:pos x="connsiteX39756" y="connsiteY39756"/>
              </a:cxn>
              <a:cxn ang="0">
                <a:pos x="connsiteX39757" y="connsiteY39757"/>
              </a:cxn>
              <a:cxn ang="0">
                <a:pos x="connsiteX39758" y="connsiteY39758"/>
              </a:cxn>
              <a:cxn ang="0">
                <a:pos x="connsiteX39759" y="connsiteY39759"/>
              </a:cxn>
              <a:cxn ang="0">
                <a:pos x="connsiteX39760" y="connsiteY39760"/>
              </a:cxn>
              <a:cxn ang="0">
                <a:pos x="connsiteX39761" y="connsiteY39761"/>
              </a:cxn>
              <a:cxn ang="0">
                <a:pos x="connsiteX39762" y="connsiteY39762"/>
              </a:cxn>
              <a:cxn ang="0">
                <a:pos x="connsiteX39763" y="connsiteY39763"/>
              </a:cxn>
              <a:cxn ang="0">
                <a:pos x="connsiteX39764" y="connsiteY39764"/>
              </a:cxn>
              <a:cxn ang="0">
                <a:pos x="connsiteX39765" y="connsiteY39765"/>
              </a:cxn>
              <a:cxn ang="0">
                <a:pos x="connsiteX39766" y="connsiteY39766"/>
              </a:cxn>
              <a:cxn ang="0">
                <a:pos x="connsiteX39767" y="connsiteY39767"/>
              </a:cxn>
              <a:cxn ang="0">
                <a:pos x="connsiteX39768" y="connsiteY39768"/>
              </a:cxn>
              <a:cxn ang="0">
                <a:pos x="connsiteX39769" y="connsiteY39769"/>
              </a:cxn>
              <a:cxn ang="0">
                <a:pos x="connsiteX39770" y="connsiteY39770"/>
              </a:cxn>
              <a:cxn ang="0">
                <a:pos x="connsiteX39771" y="connsiteY39771"/>
              </a:cxn>
              <a:cxn ang="0">
                <a:pos x="connsiteX39772" y="connsiteY39772"/>
              </a:cxn>
              <a:cxn ang="0">
                <a:pos x="connsiteX39773" y="connsiteY39773"/>
              </a:cxn>
              <a:cxn ang="0">
                <a:pos x="connsiteX39774" y="connsiteY39774"/>
              </a:cxn>
              <a:cxn ang="0">
                <a:pos x="connsiteX39775" y="connsiteY39775"/>
              </a:cxn>
              <a:cxn ang="0">
                <a:pos x="connsiteX39776" y="connsiteY39776"/>
              </a:cxn>
              <a:cxn ang="0">
                <a:pos x="connsiteX39777" y="connsiteY39777"/>
              </a:cxn>
              <a:cxn ang="0">
                <a:pos x="connsiteX39778" y="connsiteY39778"/>
              </a:cxn>
              <a:cxn ang="0">
                <a:pos x="connsiteX39779" y="connsiteY39779"/>
              </a:cxn>
              <a:cxn ang="0">
                <a:pos x="connsiteX39780" y="connsiteY39780"/>
              </a:cxn>
              <a:cxn ang="0">
                <a:pos x="connsiteX39781" y="connsiteY39781"/>
              </a:cxn>
              <a:cxn ang="0">
                <a:pos x="connsiteX39782" y="connsiteY39782"/>
              </a:cxn>
              <a:cxn ang="0">
                <a:pos x="connsiteX39783" y="connsiteY39783"/>
              </a:cxn>
              <a:cxn ang="0">
                <a:pos x="connsiteX39784" y="connsiteY39784"/>
              </a:cxn>
              <a:cxn ang="0">
                <a:pos x="connsiteX39785" y="connsiteY39785"/>
              </a:cxn>
              <a:cxn ang="0">
                <a:pos x="connsiteX39786" y="connsiteY39786"/>
              </a:cxn>
              <a:cxn ang="0">
                <a:pos x="connsiteX39787" y="connsiteY39787"/>
              </a:cxn>
              <a:cxn ang="0">
                <a:pos x="connsiteX39788" y="connsiteY39788"/>
              </a:cxn>
              <a:cxn ang="0">
                <a:pos x="connsiteX39789" y="connsiteY39789"/>
              </a:cxn>
              <a:cxn ang="0">
                <a:pos x="connsiteX39790" y="connsiteY39790"/>
              </a:cxn>
              <a:cxn ang="0">
                <a:pos x="connsiteX39791" y="connsiteY39791"/>
              </a:cxn>
              <a:cxn ang="0">
                <a:pos x="connsiteX39792" y="connsiteY39792"/>
              </a:cxn>
              <a:cxn ang="0">
                <a:pos x="connsiteX39793" y="connsiteY39793"/>
              </a:cxn>
              <a:cxn ang="0">
                <a:pos x="connsiteX39794" y="connsiteY39794"/>
              </a:cxn>
              <a:cxn ang="0">
                <a:pos x="connsiteX39795" y="connsiteY39795"/>
              </a:cxn>
              <a:cxn ang="0">
                <a:pos x="connsiteX39796" y="connsiteY39796"/>
              </a:cxn>
              <a:cxn ang="0">
                <a:pos x="connsiteX39797" y="connsiteY39797"/>
              </a:cxn>
              <a:cxn ang="0">
                <a:pos x="connsiteX39798" y="connsiteY39798"/>
              </a:cxn>
              <a:cxn ang="0">
                <a:pos x="connsiteX39799" y="connsiteY39799"/>
              </a:cxn>
              <a:cxn ang="0">
                <a:pos x="connsiteX39800" y="connsiteY39800"/>
              </a:cxn>
              <a:cxn ang="0">
                <a:pos x="connsiteX39801" y="connsiteY39801"/>
              </a:cxn>
              <a:cxn ang="0">
                <a:pos x="connsiteX39802" y="connsiteY39802"/>
              </a:cxn>
              <a:cxn ang="0">
                <a:pos x="connsiteX39803" y="connsiteY39803"/>
              </a:cxn>
              <a:cxn ang="0">
                <a:pos x="connsiteX39804" y="connsiteY39804"/>
              </a:cxn>
              <a:cxn ang="0">
                <a:pos x="connsiteX39805" y="connsiteY39805"/>
              </a:cxn>
              <a:cxn ang="0">
                <a:pos x="connsiteX39806" y="connsiteY39806"/>
              </a:cxn>
              <a:cxn ang="0">
                <a:pos x="connsiteX39807" y="connsiteY39807"/>
              </a:cxn>
              <a:cxn ang="0">
                <a:pos x="connsiteX39808" y="connsiteY39808"/>
              </a:cxn>
              <a:cxn ang="0">
                <a:pos x="connsiteX39809" y="connsiteY39809"/>
              </a:cxn>
              <a:cxn ang="0">
                <a:pos x="connsiteX39810" y="connsiteY39810"/>
              </a:cxn>
              <a:cxn ang="0">
                <a:pos x="connsiteX39811" y="connsiteY39811"/>
              </a:cxn>
              <a:cxn ang="0">
                <a:pos x="connsiteX39812" y="connsiteY39812"/>
              </a:cxn>
              <a:cxn ang="0">
                <a:pos x="connsiteX39813" y="connsiteY39813"/>
              </a:cxn>
              <a:cxn ang="0">
                <a:pos x="connsiteX39814" y="connsiteY39814"/>
              </a:cxn>
              <a:cxn ang="0">
                <a:pos x="connsiteX39815" y="connsiteY39815"/>
              </a:cxn>
              <a:cxn ang="0">
                <a:pos x="connsiteX39816" y="connsiteY39816"/>
              </a:cxn>
              <a:cxn ang="0">
                <a:pos x="connsiteX39817" y="connsiteY39817"/>
              </a:cxn>
              <a:cxn ang="0">
                <a:pos x="connsiteX39818" y="connsiteY39818"/>
              </a:cxn>
              <a:cxn ang="0">
                <a:pos x="connsiteX39819" y="connsiteY39819"/>
              </a:cxn>
              <a:cxn ang="0">
                <a:pos x="connsiteX39820" y="connsiteY39820"/>
              </a:cxn>
              <a:cxn ang="0">
                <a:pos x="connsiteX39821" y="connsiteY39821"/>
              </a:cxn>
              <a:cxn ang="0">
                <a:pos x="connsiteX39822" y="connsiteY39822"/>
              </a:cxn>
              <a:cxn ang="0">
                <a:pos x="connsiteX39823" y="connsiteY39823"/>
              </a:cxn>
              <a:cxn ang="0">
                <a:pos x="connsiteX39824" y="connsiteY39824"/>
              </a:cxn>
              <a:cxn ang="0">
                <a:pos x="connsiteX39825" y="connsiteY39825"/>
              </a:cxn>
              <a:cxn ang="0">
                <a:pos x="connsiteX39826" y="connsiteY39826"/>
              </a:cxn>
              <a:cxn ang="0">
                <a:pos x="connsiteX39827" y="connsiteY39827"/>
              </a:cxn>
              <a:cxn ang="0">
                <a:pos x="connsiteX39828" y="connsiteY39828"/>
              </a:cxn>
              <a:cxn ang="0">
                <a:pos x="connsiteX39829" y="connsiteY39829"/>
              </a:cxn>
              <a:cxn ang="0">
                <a:pos x="connsiteX39830" y="connsiteY39830"/>
              </a:cxn>
              <a:cxn ang="0">
                <a:pos x="connsiteX39831" y="connsiteY39831"/>
              </a:cxn>
              <a:cxn ang="0">
                <a:pos x="connsiteX39832" y="connsiteY39832"/>
              </a:cxn>
              <a:cxn ang="0">
                <a:pos x="connsiteX39833" y="connsiteY39833"/>
              </a:cxn>
              <a:cxn ang="0">
                <a:pos x="connsiteX39834" y="connsiteY39834"/>
              </a:cxn>
              <a:cxn ang="0">
                <a:pos x="connsiteX39835" y="connsiteY39835"/>
              </a:cxn>
              <a:cxn ang="0">
                <a:pos x="connsiteX39836" y="connsiteY39836"/>
              </a:cxn>
              <a:cxn ang="0">
                <a:pos x="connsiteX39837" y="connsiteY39837"/>
              </a:cxn>
              <a:cxn ang="0">
                <a:pos x="connsiteX39838" y="connsiteY39838"/>
              </a:cxn>
              <a:cxn ang="0">
                <a:pos x="connsiteX39839" y="connsiteY39839"/>
              </a:cxn>
              <a:cxn ang="0">
                <a:pos x="connsiteX39840" y="connsiteY39840"/>
              </a:cxn>
              <a:cxn ang="0">
                <a:pos x="connsiteX39841" y="connsiteY39841"/>
              </a:cxn>
              <a:cxn ang="0">
                <a:pos x="connsiteX39842" y="connsiteY39842"/>
              </a:cxn>
              <a:cxn ang="0">
                <a:pos x="connsiteX39843" y="connsiteY39843"/>
              </a:cxn>
              <a:cxn ang="0">
                <a:pos x="connsiteX39844" y="connsiteY39844"/>
              </a:cxn>
              <a:cxn ang="0">
                <a:pos x="connsiteX39845" y="connsiteY39845"/>
              </a:cxn>
              <a:cxn ang="0">
                <a:pos x="connsiteX39846" y="connsiteY39846"/>
              </a:cxn>
              <a:cxn ang="0">
                <a:pos x="connsiteX39847" y="connsiteY39847"/>
              </a:cxn>
              <a:cxn ang="0">
                <a:pos x="connsiteX39848" y="connsiteY39848"/>
              </a:cxn>
              <a:cxn ang="0">
                <a:pos x="connsiteX39849" y="connsiteY39849"/>
              </a:cxn>
              <a:cxn ang="0">
                <a:pos x="connsiteX39850" y="connsiteY39850"/>
              </a:cxn>
              <a:cxn ang="0">
                <a:pos x="connsiteX39851" y="connsiteY39851"/>
              </a:cxn>
              <a:cxn ang="0">
                <a:pos x="connsiteX39852" y="connsiteY39852"/>
              </a:cxn>
              <a:cxn ang="0">
                <a:pos x="connsiteX39853" y="connsiteY39853"/>
              </a:cxn>
              <a:cxn ang="0">
                <a:pos x="connsiteX39854" y="connsiteY39854"/>
              </a:cxn>
              <a:cxn ang="0">
                <a:pos x="connsiteX39855" y="connsiteY39855"/>
              </a:cxn>
              <a:cxn ang="0">
                <a:pos x="connsiteX39856" y="connsiteY39856"/>
              </a:cxn>
              <a:cxn ang="0">
                <a:pos x="connsiteX39857" y="connsiteY39857"/>
              </a:cxn>
              <a:cxn ang="0">
                <a:pos x="connsiteX39858" y="connsiteY39858"/>
              </a:cxn>
              <a:cxn ang="0">
                <a:pos x="connsiteX39859" y="connsiteY39859"/>
              </a:cxn>
              <a:cxn ang="0">
                <a:pos x="connsiteX39860" y="connsiteY39860"/>
              </a:cxn>
              <a:cxn ang="0">
                <a:pos x="connsiteX39861" y="connsiteY39861"/>
              </a:cxn>
              <a:cxn ang="0">
                <a:pos x="connsiteX39862" y="connsiteY39862"/>
              </a:cxn>
              <a:cxn ang="0">
                <a:pos x="connsiteX39863" y="connsiteY39863"/>
              </a:cxn>
              <a:cxn ang="0">
                <a:pos x="connsiteX39864" y="connsiteY39864"/>
              </a:cxn>
              <a:cxn ang="0">
                <a:pos x="connsiteX39865" y="connsiteY39865"/>
              </a:cxn>
              <a:cxn ang="0">
                <a:pos x="connsiteX39866" y="connsiteY39866"/>
              </a:cxn>
              <a:cxn ang="0">
                <a:pos x="connsiteX39867" y="connsiteY39867"/>
              </a:cxn>
              <a:cxn ang="0">
                <a:pos x="connsiteX39868" y="connsiteY39868"/>
              </a:cxn>
              <a:cxn ang="0">
                <a:pos x="connsiteX39869" y="connsiteY39869"/>
              </a:cxn>
              <a:cxn ang="0">
                <a:pos x="connsiteX39870" y="connsiteY39870"/>
              </a:cxn>
              <a:cxn ang="0">
                <a:pos x="connsiteX39871" y="connsiteY39871"/>
              </a:cxn>
              <a:cxn ang="0">
                <a:pos x="connsiteX39872" y="connsiteY39872"/>
              </a:cxn>
              <a:cxn ang="0">
                <a:pos x="connsiteX39873" y="connsiteY39873"/>
              </a:cxn>
              <a:cxn ang="0">
                <a:pos x="connsiteX39874" y="connsiteY39874"/>
              </a:cxn>
              <a:cxn ang="0">
                <a:pos x="connsiteX39875" y="connsiteY39875"/>
              </a:cxn>
              <a:cxn ang="0">
                <a:pos x="connsiteX39876" y="connsiteY39876"/>
              </a:cxn>
              <a:cxn ang="0">
                <a:pos x="connsiteX39877" y="connsiteY39877"/>
              </a:cxn>
              <a:cxn ang="0">
                <a:pos x="connsiteX39878" y="connsiteY39878"/>
              </a:cxn>
              <a:cxn ang="0">
                <a:pos x="connsiteX39879" y="connsiteY39879"/>
              </a:cxn>
              <a:cxn ang="0">
                <a:pos x="connsiteX39880" y="connsiteY39880"/>
              </a:cxn>
              <a:cxn ang="0">
                <a:pos x="connsiteX39881" y="connsiteY39881"/>
              </a:cxn>
              <a:cxn ang="0">
                <a:pos x="connsiteX39882" y="connsiteY39882"/>
              </a:cxn>
              <a:cxn ang="0">
                <a:pos x="connsiteX39883" y="connsiteY39883"/>
              </a:cxn>
              <a:cxn ang="0">
                <a:pos x="connsiteX39884" y="connsiteY39884"/>
              </a:cxn>
              <a:cxn ang="0">
                <a:pos x="connsiteX39885" y="connsiteY39885"/>
              </a:cxn>
              <a:cxn ang="0">
                <a:pos x="connsiteX39886" y="connsiteY39886"/>
              </a:cxn>
              <a:cxn ang="0">
                <a:pos x="connsiteX39887" y="connsiteY39887"/>
              </a:cxn>
              <a:cxn ang="0">
                <a:pos x="connsiteX39888" y="connsiteY39888"/>
              </a:cxn>
              <a:cxn ang="0">
                <a:pos x="connsiteX39889" y="connsiteY39889"/>
              </a:cxn>
              <a:cxn ang="0">
                <a:pos x="connsiteX39890" y="connsiteY39890"/>
              </a:cxn>
              <a:cxn ang="0">
                <a:pos x="connsiteX39891" y="connsiteY39891"/>
              </a:cxn>
              <a:cxn ang="0">
                <a:pos x="connsiteX39892" y="connsiteY39892"/>
              </a:cxn>
              <a:cxn ang="0">
                <a:pos x="connsiteX39893" y="connsiteY39893"/>
              </a:cxn>
              <a:cxn ang="0">
                <a:pos x="connsiteX39894" y="connsiteY39894"/>
              </a:cxn>
              <a:cxn ang="0">
                <a:pos x="connsiteX39895" y="connsiteY39895"/>
              </a:cxn>
              <a:cxn ang="0">
                <a:pos x="connsiteX39896" y="connsiteY39896"/>
              </a:cxn>
              <a:cxn ang="0">
                <a:pos x="connsiteX39897" y="connsiteY39897"/>
              </a:cxn>
              <a:cxn ang="0">
                <a:pos x="connsiteX39898" y="connsiteY39898"/>
              </a:cxn>
              <a:cxn ang="0">
                <a:pos x="connsiteX39899" y="connsiteY39899"/>
              </a:cxn>
              <a:cxn ang="0">
                <a:pos x="connsiteX39900" y="connsiteY39900"/>
              </a:cxn>
              <a:cxn ang="0">
                <a:pos x="connsiteX39901" y="connsiteY39901"/>
              </a:cxn>
              <a:cxn ang="0">
                <a:pos x="connsiteX39902" y="connsiteY39902"/>
              </a:cxn>
              <a:cxn ang="0">
                <a:pos x="connsiteX39903" y="connsiteY39903"/>
              </a:cxn>
              <a:cxn ang="0">
                <a:pos x="connsiteX39904" y="connsiteY39904"/>
              </a:cxn>
              <a:cxn ang="0">
                <a:pos x="connsiteX39905" y="connsiteY39905"/>
              </a:cxn>
              <a:cxn ang="0">
                <a:pos x="connsiteX39906" y="connsiteY39906"/>
              </a:cxn>
              <a:cxn ang="0">
                <a:pos x="connsiteX39907" y="connsiteY39907"/>
              </a:cxn>
              <a:cxn ang="0">
                <a:pos x="connsiteX39908" y="connsiteY39908"/>
              </a:cxn>
              <a:cxn ang="0">
                <a:pos x="connsiteX39909" y="connsiteY39909"/>
              </a:cxn>
              <a:cxn ang="0">
                <a:pos x="connsiteX39910" y="connsiteY39910"/>
              </a:cxn>
              <a:cxn ang="0">
                <a:pos x="connsiteX39911" y="connsiteY39911"/>
              </a:cxn>
              <a:cxn ang="0">
                <a:pos x="connsiteX39912" y="connsiteY39912"/>
              </a:cxn>
              <a:cxn ang="0">
                <a:pos x="connsiteX39913" y="connsiteY39913"/>
              </a:cxn>
              <a:cxn ang="0">
                <a:pos x="connsiteX39914" y="connsiteY39914"/>
              </a:cxn>
              <a:cxn ang="0">
                <a:pos x="connsiteX39915" y="connsiteY39915"/>
              </a:cxn>
              <a:cxn ang="0">
                <a:pos x="connsiteX39916" y="connsiteY39916"/>
              </a:cxn>
              <a:cxn ang="0">
                <a:pos x="connsiteX39917" y="connsiteY39917"/>
              </a:cxn>
              <a:cxn ang="0">
                <a:pos x="connsiteX39918" y="connsiteY39918"/>
              </a:cxn>
              <a:cxn ang="0">
                <a:pos x="connsiteX39919" y="connsiteY39919"/>
              </a:cxn>
              <a:cxn ang="0">
                <a:pos x="connsiteX39920" y="connsiteY39920"/>
              </a:cxn>
              <a:cxn ang="0">
                <a:pos x="connsiteX39921" y="connsiteY39921"/>
              </a:cxn>
              <a:cxn ang="0">
                <a:pos x="connsiteX39922" y="connsiteY39922"/>
              </a:cxn>
              <a:cxn ang="0">
                <a:pos x="connsiteX39923" y="connsiteY39923"/>
              </a:cxn>
              <a:cxn ang="0">
                <a:pos x="connsiteX39924" y="connsiteY39924"/>
              </a:cxn>
              <a:cxn ang="0">
                <a:pos x="connsiteX39925" y="connsiteY39925"/>
              </a:cxn>
              <a:cxn ang="0">
                <a:pos x="connsiteX39926" y="connsiteY39926"/>
              </a:cxn>
              <a:cxn ang="0">
                <a:pos x="connsiteX39927" y="connsiteY39927"/>
              </a:cxn>
              <a:cxn ang="0">
                <a:pos x="connsiteX39928" y="connsiteY39928"/>
              </a:cxn>
              <a:cxn ang="0">
                <a:pos x="connsiteX39929" y="connsiteY39929"/>
              </a:cxn>
              <a:cxn ang="0">
                <a:pos x="connsiteX39930" y="connsiteY39930"/>
              </a:cxn>
              <a:cxn ang="0">
                <a:pos x="connsiteX39931" y="connsiteY39931"/>
              </a:cxn>
              <a:cxn ang="0">
                <a:pos x="connsiteX39932" y="connsiteY39932"/>
              </a:cxn>
              <a:cxn ang="0">
                <a:pos x="connsiteX39933" y="connsiteY39933"/>
              </a:cxn>
              <a:cxn ang="0">
                <a:pos x="connsiteX39934" y="connsiteY39934"/>
              </a:cxn>
              <a:cxn ang="0">
                <a:pos x="connsiteX39935" y="connsiteY39935"/>
              </a:cxn>
              <a:cxn ang="0">
                <a:pos x="connsiteX39936" y="connsiteY39936"/>
              </a:cxn>
              <a:cxn ang="0">
                <a:pos x="connsiteX39937" y="connsiteY39937"/>
              </a:cxn>
              <a:cxn ang="0">
                <a:pos x="connsiteX39938" y="connsiteY39938"/>
              </a:cxn>
              <a:cxn ang="0">
                <a:pos x="connsiteX39939" y="connsiteY39939"/>
              </a:cxn>
              <a:cxn ang="0">
                <a:pos x="connsiteX39940" y="connsiteY39940"/>
              </a:cxn>
              <a:cxn ang="0">
                <a:pos x="connsiteX39941" y="connsiteY39941"/>
              </a:cxn>
              <a:cxn ang="0">
                <a:pos x="connsiteX39942" y="connsiteY39942"/>
              </a:cxn>
              <a:cxn ang="0">
                <a:pos x="connsiteX39943" y="connsiteY39943"/>
              </a:cxn>
              <a:cxn ang="0">
                <a:pos x="connsiteX39944" y="connsiteY39944"/>
              </a:cxn>
              <a:cxn ang="0">
                <a:pos x="connsiteX39945" y="connsiteY39945"/>
              </a:cxn>
              <a:cxn ang="0">
                <a:pos x="connsiteX39946" y="connsiteY39946"/>
              </a:cxn>
              <a:cxn ang="0">
                <a:pos x="connsiteX39947" y="connsiteY39947"/>
              </a:cxn>
              <a:cxn ang="0">
                <a:pos x="connsiteX39948" y="connsiteY39948"/>
              </a:cxn>
              <a:cxn ang="0">
                <a:pos x="connsiteX39949" y="connsiteY39949"/>
              </a:cxn>
              <a:cxn ang="0">
                <a:pos x="connsiteX39950" y="connsiteY39950"/>
              </a:cxn>
              <a:cxn ang="0">
                <a:pos x="connsiteX39951" y="connsiteY39951"/>
              </a:cxn>
              <a:cxn ang="0">
                <a:pos x="connsiteX39952" y="connsiteY39952"/>
              </a:cxn>
              <a:cxn ang="0">
                <a:pos x="connsiteX39953" y="connsiteY39953"/>
              </a:cxn>
              <a:cxn ang="0">
                <a:pos x="connsiteX39954" y="connsiteY39954"/>
              </a:cxn>
              <a:cxn ang="0">
                <a:pos x="connsiteX39955" y="connsiteY39955"/>
              </a:cxn>
              <a:cxn ang="0">
                <a:pos x="connsiteX39956" y="connsiteY39956"/>
              </a:cxn>
              <a:cxn ang="0">
                <a:pos x="connsiteX39957" y="connsiteY39957"/>
              </a:cxn>
              <a:cxn ang="0">
                <a:pos x="connsiteX39958" y="connsiteY39958"/>
              </a:cxn>
              <a:cxn ang="0">
                <a:pos x="connsiteX39959" y="connsiteY39959"/>
              </a:cxn>
              <a:cxn ang="0">
                <a:pos x="connsiteX39960" y="connsiteY39960"/>
              </a:cxn>
              <a:cxn ang="0">
                <a:pos x="connsiteX39961" y="connsiteY39961"/>
              </a:cxn>
              <a:cxn ang="0">
                <a:pos x="connsiteX39962" y="connsiteY39962"/>
              </a:cxn>
              <a:cxn ang="0">
                <a:pos x="connsiteX39963" y="connsiteY39963"/>
              </a:cxn>
              <a:cxn ang="0">
                <a:pos x="connsiteX39964" y="connsiteY39964"/>
              </a:cxn>
              <a:cxn ang="0">
                <a:pos x="connsiteX39965" y="connsiteY39965"/>
              </a:cxn>
              <a:cxn ang="0">
                <a:pos x="connsiteX39966" y="connsiteY39966"/>
              </a:cxn>
              <a:cxn ang="0">
                <a:pos x="connsiteX39967" y="connsiteY39967"/>
              </a:cxn>
              <a:cxn ang="0">
                <a:pos x="connsiteX39968" y="connsiteY39968"/>
              </a:cxn>
              <a:cxn ang="0">
                <a:pos x="connsiteX39969" y="connsiteY39969"/>
              </a:cxn>
              <a:cxn ang="0">
                <a:pos x="connsiteX39970" y="connsiteY39970"/>
              </a:cxn>
              <a:cxn ang="0">
                <a:pos x="connsiteX39971" y="connsiteY39971"/>
              </a:cxn>
              <a:cxn ang="0">
                <a:pos x="connsiteX39972" y="connsiteY39972"/>
              </a:cxn>
              <a:cxn ang="0">
                <a:pos x="connsiteX39973" y="connsiteY39973"/>
              </a:cxn>
              <a:cxn ang="0">
                <a:pos x="connsiteX39974" y="connsiteY39974"/>
              </a:cxn>
              <a:cxn ang="0">
                <a:pos x="connsiteX39975" y="connsiteY39975"/>
              </a:cxn>
              <a:cxn ang="0">
                <a:pos x="connsiteX39976" y="connsiteY39976"/>
              </a:cxn>
              <a:cxn ang="0">
                <a:pos x="connsiteX39977" y="connsiteY39977"/>
              </a:cxn>
              <a:cxn ang="0">
                <a:pos x="connsiteX39978" y="connsiteY39978"/>
              </a:cxn>
              <a:cxn ang="0">
                <a:pos x="connsiteX39979" y="connsiteY39979"/>
              </a:cxn>
              <a:cxn ang="0">
                <a:pos x="connsiteX39980" y="connsiteY39980"/>
              </a:cxn>
              <a:cxn ang="0">
                <a:pos x="connsiteX39981" y="connsiteY39981"/>
              </a:cxn>
              <a:cxn ang="0">
                <a:pos x="connsiteX39982" y="connsiteY39982"/>
              </a:cxn>
              <a:cxn ang="0">
                <a:pos x="connsiteX39983" y="connsiteY39983"/>
              </a:cxn>
              <a:cxn ang="0">
                <a:pos x="connsiteX39984" y="connsiteY39984"/>
              </a:cxn>
              <a:cxn ang="0">
                <a:pos x="connsiteX39985" y="connsiteY39985"/>
              </a:cxn>
              <a:cxn ang="0">
                <a:pos x="connsiteX39986" y="connsiteY39986"/>
              </a:cxn>
              <a:cxn ang="0">
                <a:pos x="connsiteX39987" y="connsiteY39987"/>
              </a:cxn>
              <a:cxn ang="0">
                <a:pos x="connsiteX39988" y="connsiteY39988"/>
              </a:cxn>
              <a:cxn ang="0">
                <a:pos x="connsiteX39989" y="connsiteY39989"/>
              </a:cxn>
              <a:cxn ang="0">
                <a:pos x="connsiteX39990" y="connsiteY39990"/>
              </a:cxn>
              <a:cxn ang="0">
                <a:pos x="connsiteX39991" y="connsiteY39991"/>
              </a:cxn>
              <a:cxn ang="0">
                <a:pos x="connsiteX39992" y="connsiteY39992"/>
              </a:cxn>
              <a:cxn ang="0">
                <a:pos x="connsiteX39993" y="connsiteY39993"/>
              </a:cxn>
              <a:cxn ang="0">
                <a:pos x="connsiteX39994" y="connsiteY39994"/>
              </a:cxn>
              <a:cxn ang="0">
                <a:pos x="connsiteX39995" y="connsiteY39995"/>
              </a:cxn>
              <a:cxn ang="0">
                <a:pos x="connsiteX39996" y="connsiteY39996"/>
              </a:cxn>
              <a:cxn ang="0">
                <a:pos x="connsiteX39997" y="connsiteY39997"/>
              </a:cxn>
              <a:cxn ang="0">
                <a:pos x="connsiteX39998" y="connsiteY39998"/>
              </a:cxn>
              <a:cxn ang="0">
                <a:pos x="connsiteX39999" y="connsiteY39999"/>
              </a:cxn>
              <a:cxn ang="0">
                <a:pos x="connsiteX40000" y="connsiteY40000"/>
              </a:cxn>
              <a:cxn ang="0">
                <a:pos x="connsiteX40001" y="connsiteY40001"/>
              </a:cxn>
              <a:cxn ang="0">
                <a:pos x="connsiteX40002" y="connsiteY40002"/>
              </a:cxn>
              <a:cxn ang="0">
                <a:pos x="connsiteX40003" y="connsiteY40003"/>
              </a:cxn>
              <a:cxn ang="0">
                <a:pos x="connsiteX40004" y="connsiteY40004"/>
              </a:cxn>
              <a:cxn ang="0">
                <a:pos x="connsiteX40005" y="connsiteY40005"/>
              </a:cxn>
              <a:cxn ang="0">
                <a:pos x="connsiteX40006" y="connsiteY40006"/>
              </a:cxn>
              <a:cxn ang="0">
                <a:pos x="connsiteX40007" y="connsiteY40007"/>
              </a:cxn>
              <a:cxn ang="0">
                <a:pos x="connsiteX40008" y="connsiteY40008"/>
              </a:cxn>
              <a:cxn ang="0">
                <a:pos x="connsiteX40009" y="connsiteY40009"/>
              </a:cxn>
              <a:cxn ang="0">
                <a:pos x="connsiteX40010" y="connsiteY40010"/>
              </a:cxn>
              <a:cxn ang="0">
                <a:pos x="connsiteX40011" y="connsiteY40011"/>
              </a:cxn>
              <a:cxn ang="0">
                <a:pos x="connsiteX40012" y="connsiteY40012"/>
              </a:cxn>
              <a:cxn ang="0">
                <a:pos x="connsiteX40013" y="connsiteY40013"/>
              </a:cxn>
              <a:cxn ang="0">
                <a:pos x="connsiteX40014" y="connsiteY40014"/>
              </a:cxn>
              <a:cxn ang="0">
                <a:pos x="connsiteX40015" y="connsiteY40015"/>
              </a:cxn>
              <a:cxn ang="0">
                <a:pos x="connsiteX40016" y="connsiteY40016"/>
              </a:cxn>
              <a:cxn ang="0">
                <a:pos x="connsiteX40017" y="connsiteY40017"/>
              </a:cxn>
              <a:cxn ang="0">
                <a:pos x="connsiteX40018" y="connsiteY40018"/>
              </a:cxn>
              <a:cxn ang="0">
                <a:pos x="connsiteX40019" y="connsiteY40019"/>
              </a:cxn>
              <a:cxn ang="0">
                <a:pos x="connsiteX40020" y="connsiteY40020"/>
              </a:cxn>
              <a:cxn ang="0">
                <a:pos x="connsiteX40021" y="connsiteY40021"/>
              </a:cxn>
              <a:cxn ang="0">
                <a:pos x="connsiteX40022" y="connsiteY40022"/>
              </a:cxn>
              <a:cxn ang="0">
                <a:pos x="connsiteX40023" y="connsiteY40023"/>
              </a:cxn>
              <a:cxn ang="0">
                <a:pos x="connsiteX40024" y="connsiteY40024"/>
              </a:cxn>
              <a:cxn ang="0">
                <a:pos x="connsiteX40025" y="connsiteY40025"/>
              </a:cxn>
              <a:cxn ang="0">
                <a:pos x="connsiteX40026" y="connsiteY40026"/>
              </a:cxn>
              <a:cxn ang="0">
                <a:pos x="connsiteX40027" y="connsiteY40027"/>
              </a:cxn>
              <a:cxn ang="0">
                <a:pos x="connsiteX40028" y="connsiteY40028"/>
              </a:cxn>
              <a:cxn ang="0">
                <a:pos x="connsiteX40029" y="connsiteY40029"/>
              </a:cxn>
              <a:cxn ang="0">
                <a:pos x="connsiteX40030" y="connsiteY40030"/>
              </a:cxn>
              <a:cxn ang="0">
                <a:pos x="connsiteX40031" y="connsiteY40031"/>
              </a:cxn>
              <a:cxn ang="0">
                <a:pos x="connsiteX40032" y="connsiteY40032"/>
              </a:cxn>
              <a:cxn ang="0">
                <a:pos x="connsiteX40033" y="connsiteY40033"/>
              </a:cxn>
              <a:cxn ang="0">
                <a:pos x="connsiteX40034" y="connsiteY40034"/>
              </a:cxn>
              <a:cxn ang="0">
                <a:pos x="connsiteX40035" y="connsiteY40035"/>
              </a:cxn>
              <a:cxn ang="0">
                <a:pos x="connsiteX40036" y="connsiteY40036"/>
              </a:cxn>
              <a:cxn ang="0">
                <a:pos x="connsiteX40037" y="connsiteY40037"/>
              </a:cxn>
              <a:cxn ang="0">
                <a:pos x="connsiteX40038" y="connsiteY40038"/>
              </a:cxn>
              <a:cxn ang="0">
                <a:pos x="connsiteX40039" y="connsiteY40039"/>
              </a:cxn>
              <a:cxn ang="0">
                <a:pos x="connsiteX40040" y="connsiteY40040"/>
              </a:cxn>
              <a:cxn ang="0">
                <a:pos x="connsiteX40041" y="connsiteY40041"/>
              </a:cxn>
              <a:cxn ang="0">
                <a:pos x="connsiteX40042" y="connsiteY40042"/>
              </a:cxn>
              <a:cxn ang="0">
                <a:pos x="connsiteX40043" y="connsiteY40043"/>
              </a:cxn>
              <a:cxn ang="0">
                <a:pos x="connsiteX40044" y="connsiteY40044"/>
              </a:cxn>
              <a:cxn ang="0">
                <a:pos x="connsiteX40045" y="connsiteY40045"/>
              </a:cxn>
              <a:cxn ang="0">
                <a:pos x="connsiteX40046" y="connsiteY40046"/>
              </a:cxn>
              <a:cxn ang="0">
                <a:pos x="connsiteX40047" y="connsiteY40047"/>
              </a:cxn>
              <a:cxn ang="0">
                <a:pos x="connsiteX40048" y="connsiteY40048"/>
              </a:cxn>
              <a:cxn ang="0">
                <a:pos x="connsiteX40049" y="connsiteY40049"/>
              </a:cxn>
              <a:cxn ang="0">
                <a:pos x="connsiteX40050" y="connsiteY40050"/>
              </a:cxn>
              <a:cxn ang="0">
                <a:pos x="connsiteX40051" y="connsiteY40051"/>
              </a:cxn>
              <a:cxn ang="0">
                <a:pos x="connsiteX40052" y="connsiteY40052"/>
              </a:cxn>
              <a:cxn ang="0">
                <a:pos x="connsiteX40053" y="connsiteY40053"/>
              </a:cxn>
              <a:cxn ang="0">
                <a:pos x="connsiteX40054" y="connsiteY40054"/>
              </a:cxn>
              <a:cxn ang="0">
                <a:pos x="connsiteX40055" y="connsiteY40055"/>
              </a:cxn>
              <a:cxn ang="0">
                <a:pos x="connsiteX40056" y="connsiteY40056"/>
              </a:cxn>
              <a:cxn ang="0">
                <a:pos x="connsiteX40057" y="connsiteY40057"/>
              </a:cxn>
              <a:cxn ang="0">
                <a:pos x="connsiteX40058" y="connsiteY40058"/>
              </a:cxn>
              <a:cxn ang="0">
                <a:pos x="connsiteX40059" y="connsiteY40059"/>
              </a:cxn>
              <a:cxn ang="0">
                <a:pos x="connsiteX40060" y="connsiteY40060"/>
              </a:cxn>
              <a:cxn ang="0">
                <a:pos x="connsiteX40061" y="connsiteY40061"/>
              </a:cxn>
              <a:cxn ang="0">
                <a:pos x="connsiteX40062" y="connsiteY40062"/>
              </a:cxn>
              <a:cxn ang="0">
                <a:pos x="connsiteX40063" y="connsiteY40063"/>
              </a:cxn>
              <a:cxn ang="0">
                <a:pos x="connsiteX40064" y="connsiteY40064"/>
              </a:cxn>
              <a:cxn ang="0">
                <a:pos x="connsiteX40065" y="connsiteY40065"/>
              </a:cxn>
              <a:cxn ang="0">
                <a:pos x="connsiteX40066" y="connsiteY40066"/>
              </a:cxn>
              <a:cxn ang="0">
                <a:pos x="connsiteX40067" y="connsiteY40067"/>
              </a:cxn>
              <a:cxn ang="0">
                <a:pos x="connsiteX40068" y="connsiteY40068"/>
              </a:cxn>
              <a:cxn ang="0">
                <a:pos x="connsiteX40069" y="connsiteY40069"/>
              </a:cxn>
              <a:cxn ang="0">
                <a:pos x="connsiteX40070" y="connsiteY40070"/>
              </a:cxn>
              <a:cxn ang="0">
                <a:pos x="connsiteX40071" y="connsiteY40071"/>
              </a:cxn>
              <a:cxn ang="0">
                <a:pos x="connsiteX40072" y="connsiteY40072"/>
              </a:cxn>
              <a:cxn ang="0">
                <a:pos x="connsiteX40073" y="connsiteY40073"/>
              </a:cxn>
              <a:cxn ang="0">
                <a:pos x="connsiteX40074" y="connsiteY40074"/>
              </a:cxn>
              <a:cxn ang="0">
                <a:pos x="connsiteX40075" y="connsiteY40075"/>
              </a:cxn>
              <a:cxn ang="0">
                <a:pos x="connsiteX40076" y="connsiteY40076"/>
              </a:cxn>
              <a:cxn ang="0">
                <a:pos x="connsiteX40077" y="connsiteY40077"/>
              </a:cxn>
              <a:cxn ang="0">
                <a:pos x="connsiteX40078" y="connsiteY40078"/>
              </a:cxn>
              <a:cxn ang="0">
                <a:pos x="connsiteX40079" y="connsiteY40079"/>
              </a:cxn>
              <a:cxn ang="0">
                <a:pos x="connsiteX40080" y="connsiteY40080"/>
              </a:cxn>
              <a:cxn ang="0">
                <a:pos x="connsiteX40081" y="connsiteY40081"/>
              </a:cxn>
              <a:cxn ang="0">
                <a:pos x="connsiteX40082" y="connsiteY40082"/>
              </a:cxn>
              <a:cxn ang="0">
                <a:pos x="connsiteX40083" y="connsiteY40083"/>
              </a:cxn>
              <a:cxn ang="0">
                <a:pos x="connsiteX40084" y="connsiteY40084"/>
              </a:cxn>
              <a:cxn ang="0">
                <a:pos x="connsiteX40085" y="connsiteY40085"/>
              </a:cxn>
              <a:cxn ang="0">
                <a:pos x="connsiteX40086" y="connsiteY40086"/>
              </a:cxn>
              <a:cxn ang="0">
                <a:pos x="connsiteX40087" y="connsiteY40087"/>
              </a:cxn>
              <a:cxn ang="0">
                <a:pos x="connsiteX40088" y="connsiteY40088"/>
              </a:cxn>
              <a:cxn ang="0">
                <a:pos x="connsiteX40089" y="connsiteY40089"/>
              </a:cxn>
              <a:cxn ang="0">
                <a:pos x="connsiteX40090" y="connsiteY40090"/>
              </a:cxn>
              <a:cxn ang="0">
                <a:pos x="connsiteX40091" y="connsiteY40091"/>
              </a:cxn>
              <a:cxn ang="0">
                <a:pos x="connsiteX40092" y="connsiteY40092"/>
              </a:cxn>
              <a:cxn ang="0">
                <a:pos x="connsiteX40093" y="connsiteY40093"/>
              </a:cxn>
              <a:cxn ang="0">
                <a:pos x="connsiteX40094" y="connsiteY40094"/>
              </a:cxn>
              <a:cxn ang="0">
                <a:pos x="connsiteX40095" y="connsiteY40095"/>
              </a:cxn>
              <a:cxn ang="0">
                <a:pos x="connsiteX40096" y="connsiteY40096"/>
              </a:cxn>
              <a:cxn ang="0">
                <a:pos x="connsiteX40097" y="connsiteY40097"/>
              </a:cxn>
              <a:cxn ang="0">
                <a:pos x="connsiteX40098" y="connsiteY40098"/>
              </a:cxn>
              <a:cxn ang="0">
                <a:pos x="connsiteX40099" y="connsiteY40099"/>
              </a:cxn>
              <a:cxn ang="0">
                <a:pos x="connsiteX40100" y="connsiteY40100"/>
              </a:cxn>
              <a:cxn ang="0">
                <a:pos x="connsiteX40101" y="connsiteY40101"/>
              </a:cxn>
              <a:cxn ang="0">
                <a:pos x="connsiteX40102" y="connsiteY40102"/>
              </a:cxn>
              <a:cxn ang="0">
                <a:pos x="connsiteX40103" y="connsiteY40103"/>
              </a:cxn>
              <a:cxn ang="0">
                <a:pos x="connsiteX40104" y="connsiteY40104"/>
              </a:cxn>
              <a:cxn ang="0">
                <a:pos x="connsiteX40105" y="connsiteY40105"/>
              </a:cxn>
              <a:cxn ang="0">
                <a:pos x="connsiteX40106" y="connsiteY40106"/>
              </a:cxn>
              <a:cxn ang="0">
                <a:pos x="connsiteX40107" y="connsiteY40107"/>
              </a:cxn>
              <a:cxn ang="0">
                <a:pos x="connsiteX40108" y="connsiteY40108"/>
              </a:cxn>
              <a:cxn ang="0">
                <a:pos x="connsiteX40109" y="connsiteY40109"/>
              </a:cxn>
              <a:cxn ang="0">
                <a:pos x="connsiteX40110" y="connsiteY40110"/>
              </a:cxn>
              <a:cxn ang="0">
                <a:pos x="connsiteX40111" y="connsiteY40111"/>
              </a:cxn>
              <a:cxn ang="0">
                <a:pos x="connsiteX40112" y="connsiteY40112"/>
              </a:cxn>
              <a:cxn ang="0">
                <a:pos x="connsiteX40113" y="connsiteY40113"/>
              </a:cxn>
              <a:cxn ang="0">
                <a:pos x="connsiteX40114" y="connsiteY40114"/>
              </a:cxn>
              <a:cxn ang="0">
                <a:pos x="connsiteX40115" y="connsiteY40115"/>
              </a:cxn>
              <a:cxn ang="0">
                <a:pos x="connsiteX40116" y="connsiteY40116"/>
              </a:cxn>
              <a:cxn ang="0">
                <a:pos x="connsiteX40117" y="connsiteY40117"/>
              </a:cxn>
              <a:cxn ang="0">
                <a:pos x="connsiteX40118" y="connsiteY40118"/>
              </a:cxn>
              <a:cxn ang="0">
                <a:pos x="connsiteX40119" y="connsiteY40119"/>
              </a:cxn>
              <a:cxn ang="0">
                <a:pos x="connsiteX40120" y="connsiteY40120"/>
              </a:cxn>
              <a:cxn ang="0">
                <a:pos x="connsiteX40121" y="connsiteY40121"/>
              </a:cxn>
              <a:cxn ang="0">
                <a:pos x="connsiteX40122" y="connsiteY40122"/>
              </a:cxn>
              <a:cxn ang="0">
                <a:pos x="connsiteX40123" y="connsiteY40123"/>
              </a:cxn>
              <a:cxn ang="0">
                <a:pos x="connsiteX40124" y="connsiteY40124"/>
              </a:cxn>
              <a:cxn ang="0">
                <a:pos x="connsiteX40125" y="connsiteY40125"/>
              </a:cxn>
              <a:cxn ang="0">
                <a:pos x="connsiteX40126" y="connsiteY40126"/>
              </a:cxn>
              <a:cxn ang="0">
                <a:pos x="connsiteX40127" y="connsiteY40127"/>
              </a:cxn>
              <a:cxn ang="0">
                <a:pos x="connsiteX40128" y="connsiteY40128"/>
              </a:cxn>
              <a:cxn ang="0">
                <a:pos x="connsiteX40129" y="connsiteY40129"/>
              </a:cxn>
              <a:cxn ang="0">
                <a:pos x="connsiteX40130" y="connsiteY40130"/>
              </a:cxn>
              <a:cxn ang="0">
                <a:pos x="connsiteX40131" y="connsiteY40131"/>
              </a:cxn>
              <a:cxn ang="0">
                <a:pos x="connsiteX40132" y="connsiteY40132"/>
              </a:cxn>
              <a:cxn ang="0">
                <a:pos x="connsiteX40133" y="connsiteY40133"/>
              </a:cxn>
              <a:cxn ang="0">
                <a:pos x="connsiteX40134" y="connsiteY40134"/>
              </a:cxn>
              <a:cxn ang="0">
                <a:pos x="connsiteX40135" y="connsiteY40135"/>
              </a:cxn>
              <a:cxn ang="0">
                <a:pos x="connsiteX40136" y="connsiteY40136"/>
              </a:cxn>
              <a:cxn ang="0">
                <a:pos x="connsiteX40137" y="connsiteY40137"/>
              </a:cxn>
              <a:cxn ang="0">
                <a:pos x="connsiteX40138" y="connsiteY40138"/>
              </a:cxn>
              <a:cxn ang="0">
                <a:pos x="connsiteX40139" y="connsiteY40139"/>
              </a:cxn>
              <a:cxn ang="0">
                <a:pos x="connsiteX40140" y="connsiteY40140"/>
              </a:cxn>
              <a:cxn ang="0">
                <a:pos x="connsiteX40141" y="connsiteY40141"/>
              </a:cxn>
              <a:cxn ang="0">
                <a:pos x="connsiteX40142" y="connsiteY40142"/>
              </a:cxn>
              <a:cxn ang="0">
                <a:pos x="connsiteX40143" y="connsiteY40143"/>
              </a:cxn>
              <a:cxn ang="0">
                <a:pos x="connsiteX40144" y="connsiteY40144"/>
              </a:cxn>
              <a:cxn ang="0">
                <a:pos x="connsiteX40145" y="connsiteY40145"/>
              </a:cxn>
              <a:cxn ang="0">
                <a:pos x="connsiteX40146" y="connsiteY40146"/>
              </a:cxn>
              <a:cxn ang="0">
                <a:pos x="connsiteX40147" y="connsiteY40147"/>
              </a:cxn>
              <a:cxn ang="0">
                <a:pos x="connsiteX40148" y="connsiteY40148"/>
              </a:cxn>
              <a:cxn ang="0">
                <a:pos x="connsiteX40149" y="connsiteY40149"/>
              </a:cxn>
              <a:cxn ang="0">
                <a:pos x="connsiteX40150" y="connsiteY40150"/>
              </a:cxn>
              <a:cxn ang="0">
                <a:pos x="connsiteX40151" y="connsiteY40151"/>
              </a:cxn>
              <a:cxn ang="0">
                <a:pos x="connsiteX40152" y="connsiteY40152"/>
              </a:cxn>
              <a:cxn ang="0">
                <a:pos x="connsiteX40153" y="connsiteY40153"/>
              </a:cxn>
              <a:cxn ang="0">
                <a:pos x="connsiteX40154" y="connsiteY40154"/>
              </a:cxn>
              <a:cxn ang="0">
                <a:pos x="connsiteX40155" y="connsiteY40155"/>
              </a:cxn>
              <a:cxn ang="0">
                <a:pos x="connsiteX40156" y="connsiteY40156"/>
              </a:cxn>
              <a:cxn ang="0">
                <a:pos x="connsiteX40157" y="connsiteY40157"/>
              </a:cxn>
              <a:cxn ang="0">
                <a:pos x="connsiteX40158" y="connsiteY40158"/>
              </a:cxn>
              <a:cxn ang="0">
                <a:pos x="connsiteX40159" y="connsiteY40159"/>
              </a:cxn>
              <a:cxn ang="0">
                <a:pos x="connsiteX40160" y="connsiteY40160"/>
              </a:cxn>
              <a:cxn ang="0">
                <a:pos x="connsiteX40161" y="connsiteY40161"/>
              </a:cxn>
              <a:cxn ang="0">
                <a:pos x="connsiteX40162" y="connsiteY40162"/>
              </a:cxn>
              <a:cxn ang="0">
                <a:pos x="connsiteX40163" y="connsiteY40163"/>
              </a:cxn>
              <a:cxn ang="0">
                <a:pos x="connsiteX40164" y="connsiteY40164"/>
              </a:cxn>
              <a:cxn ang="0">
                <a:pos x="connsiteX40165" y="connsiteY40165"/>
              </a:cxn>
              <a:cxn ang="0">
                <a:pos x="connsiteX40166" y="connsiteY40166"/>
              </a:cxn>
              <a:cxn ang="0">
                <a:pos x="connsiteX40167" y="connsiteY40167"/>
              </a:cxn>
              <a:cxn ang="0">
                <a:pos x="connsiteX40168" y="connsiteY40168"/>
              </a:cxn>
              <a:cxn ang="0">
                <a:pos x="connsiteX40169" y="connsiteY40169"/>
              </a:cxn>
              <a:cxn ang="0">
                <a:pos x="connsiteX40170" y="connsiteY40170"/>
              </a:cxn>
              <a:cxn ang="0">
                <a:pos x="connsiteX40171" y="connsiteY40171"/>
              </a:cxn>
              <a:cxn ang="0">
                <a:pos x="connsiteX40172" y="connsiteY40172"/>
              </a:cxn>
              <a:cxn ang="0">
                <a:pos x="connsiteX40173" y="connsiteY40173"/>
              </a:cxn>
              <a:cxn ang="0">
                <a:pos x="connsiteX40174" y="connsiteY40174"/>
              </a:cxn>
              <a:cxn ang="0">
                <a:pos x="connsiteX40175" y="connsiteY40175"/>
              </a:cxn>
              <a:cxn ang="0">
                <a:pos x="connsiteX40176" y="connsiteY40176"/>
              </a:cxn>
              <a:cxn ang="0">
                <a:pos x="connsiteX40177" y="connsiteY40177"/>
              </a:cxn>
              <a:cxn ang="0">
                <a:pos x="connsiteX40178" y="connsiteY40178"/>
              </a:cxn>
              <a:cxn ang="0">
                <a:pos x="connsiteX40179" y="connsiteY40179"/>
              </a:cxn>
              <a:cxn ang="0">
                <a:pos x="connsiteX40180" y="connsiteY40180"/>
              </a:cxn>
              <a:cxn ang="0">
                <a:pos x="connsiteX40181" y="connsiteY40181"/>
              </a:cxn>
              <a:cxn ang="0">
                <a:pos x="connsiteX40182" y="connsiteY40182"/>
              </a:cxn>
              <a:cxn ang="0">
                <a:pos x="connsiteX40183" y="connsiteY40183"/>
              </a:cxn>
              <a:cxn ang="0">
                <a:pos x="connsiteX40184" y="connsiteY40184"/>
              </a:cxn>
              <a:cxn ang="0">
                <a:pos x="connsiteX40185" y="connsiteY40185"/>
              </a:cxn>
              <a:cxn ang="0">
                <a:pos x="connsiteX40186" y="connsiteY40186"/>
              </a:cxn>
              <a:cxn ang="0">
                <a:pos x="connsiteX40187" y="connsiteY40187"/>
              </a:cxn>
              <a:cxn ang="0">
                <a:pos x="connsiteX40188" y="connsiteY40188"/>
              </a:cxn>
              <a:cxn ang="0">
                <a:pos x="connsiteX40189" y="connsiteY40189"/>
              </a:cxn>
              <a:cxn ang="0">
                <a:pos x="connsiteX40190" y="connsiteY40190"/>
              </a:cxn>
              <a:cxn ang="0">
                <a:pos x="connsiteX40191" y="connsiteY40191"/>
              </a:cxn>
              <a:cxn ang="0">
                <a:pos x="connsiteX40192" y="connsiteY40192"/>
              </a:cxn>
              <a:cxn ang="0">
                <a:pos x="connsiteX40193" y="connsiteY40193"/>
              </a:cxn>
              <a:cxn ang="0">
                <a:pos x="connsiteX40194" y="connsiteY40194"/>
              </a:cxn>
              <a:cxn ang="0">
                <a:pos x="connsiteX40195" y="connsiteY40195"/>
              </a:cxn>
              <a:cxn ang="0">
                <a:pos x="connsiteX40196" y="connsiteY40196"/>
              </a:cxn>
              <a:cxn ang="0">
                <a:pos x="connsiteX40197" y="connsiteY40197"/>
              </a:cxn>
              <a:cxn ang="0">
                <a:pos x="connsiteX40198" y="connsiteY40198"/>
              </a:cxn>
              <a:cxn ang="0">
                <a:pos x="connsiteX40199" y="connsiteY40199"/>
              </a:cxn>
              <a:cxn ang="0">
                <a:pos x="connsiteX40200" y="connsiteY40200"/>
              </a:cxn>
              <a:cxn ang="0">
                <a:pos x="connsiteX40201" y="connsiteY40201"/>
              </a:cxn>
              <a:cxn ang="0">
                <a:pos x="connsiteX40202" y="connsiteY40202"/>
              </a:cxn>
              <a:cxn ang="0">
                <a:pos x="connsiteX40203" y="connsiteY40203"/>
              </a:cxn>
              <a:cxn ang="0">
                <a:pos x="connsiteX40204" y="connsiteY40204"/>
              </a:cxn>
              <a:cxn ang="0">
                <a:pos x="connsiteX40205" y="connsiteY40205"/>
              </a:cxn>
              <a:cxn ang="0">
                <a:pos x="connsiteX40206" y="connsiteY40206"/>
              </a:cxn>
              <a:cxn ang="0">
                <a:pos x="connsiteX40207" y="connsiteY40207"/>
              </a:cxn>
              <a:cxn ang="0">
                <a:pos x="connsiteX40208" y="connsiteY40208"/>
              </a:cxn>
              <a:cxn ang="0">
                <a:pos x="connsiteX40209" y="connsiteY40209"/>
              </a:cxn>
              <a:cxn ang="0">
                <a:pos x="connsiteX40210" y="connsiteY40210"/>
              </a:cxn>
              <a:cxn ang="0">
                <a:pos x="connsiteX40211" y="connsiteY40211"/>
              </a:cxn>
              <a:cxn ang="0">
                <a:pos x="connsiteX40212" y="connsiteY40212"/>
              </a:cxn>
              <a:cxn ang="0">
                <a:pos x="connsiteX40213" y="connsiteY40213"/>
              </a:cxn>
              <a:cxn ang="0">
                <a:pos x="connsiteX40214" y="connsiteY40214"/>
              </a:cxn>
              <a:cxn ang="0">
                <a:pos x="connsiteX40215" y="connsiteY40215"/>
              </a:cxn>
              <a:cxn ang="0">
                <a:pos x="connsiteX40216" y="connsiteY40216"/>
              </a:cxn>
              <a:cxn ang="0">
                <a:pos x="connsiteX40217" y="connsiteY40217"/>
              </a:cxn>
              <a:cxn ang="0">
                <a:pos x="connsiteX40218" y="connsiteY40218"/>
              </a:cxn>
              <a:cxn ang="0">
                <a:pos x="connsiteX40219" y="connsiteY40219"/>
              </a:cxn>
              <a:cxn ang="0">
                <a:pos x="connsiteX40220" y="connsiteY40220"/>
              </a:cxn>
              <a:cxn ang="0">
                <a:pos x="connsiteX40221" y="connsiteY40221"/>
              </a:cxn>
              <a:cxn ang="0">
                <a:pos x="connsiteX40222" y="connsiteY40222"/>
              </a:cxn>
              <a:cxn ang="0">
                <a:pos x="connsiteX40223" y="connsiteY40223"/>
              </a:cxn>
              <a:cxn ang="0">
                <a:pos x="connsiteX40224" y="connsiteY40224"/>
              </a:cxn>
              <a:cxn ang="0">
                <a:pos x="connsiteX40225" y="connsiteY40225"/>
              </a:cxn>
              <a:cxn ang="0">
                <a:pos x="connsiteX40226" y="connsiteY40226"/>
              </a:cxn>
              <a:cxn ang="0">
                <a:pos x="connsiteX40227" y="connsiteY40227"/>
              </a:cxn>
              <a:cxn ang="0">
                <a:pos x="connsiteX40228" y="connsiteY40228"/>
              </a:cxn>
              <a:cxn ang="0">
                <a:pos x="connsiteX40229" y="connsiteY40229"/>
              </a:cxn>
              <a:cxn ang="0">
                <a:pos x="connsiteX40230" y="connsiteY40230"/>
              </a:cxn>
              <a:cxn ang="0">
                <a:pos x="connsiteX40231" y="connsiteY40231"/>
              </a:cxn>
              <a:cxn ang="0">
                <a:pos x="connsiteX40232" y="connsiteY40232"/>
              </a:cxn>
              <a:cxn ang="0">
                <a:pos x="connsiteX40233" y="connsiteY40233"/>
              </a:cxn>
              <a:cxn ang="0">
                <a:pos x="connsiteX40234" y="connsiteY40234"/>
              </a:cxn>
              <a:cxn ang="0">
                <a:pos x="connsiteX40235" y="connsiteY40235"/>
              </a:cxn>
              <a:cxn ang="0">
                <a:pos x="connsiteX40236" y="connsiteY40236"/>
              </a:cxn>
              <a:cxn ang="0">
                <a:pos x="connsiteX40237" y="connsiteY40237"/>
              </a:cxn>
              <a:cxn ang="0">
                <a:pos x="connsiteX40238" y="connsiteY40238"/>
              </a:cxn>
              <a:cxn ang="0">
                <a:pos x="connsiteX40239" y="connsiteY40239"/>
              </a:cxn>
              <a:cxn ang="0">
                <a:pos x="connsiteX40240" y="connsiteY40240"/>
              </a:cxn>
              <a:cxn ang="0">
                <a:pos x="connsiteX40241" y="connsiteY40241"/>
              </a:cxn>
              <a:cxn ang="0">
                <a:pos x="connsiteX40242" y="connsiteY40242"/>
              </a:cxn>
              <a:cxn ang="0">
                <a:pos x="connsiteX40243" y="connsiteY40243"/>
              </a:cxn>
              <a:cxn ang="0">
                <a:pos x="connsiteX40244" y="connsiteY40244"/>
              </a:cxn>
              <a:cxn ang="0">
                <a:pos x="connsiteX40245" y="connsiteY40245"/>
              </a:cxn>
              <a:cxn ang="0">
                <a:pos x="connsiteX40246" y="connsiteY40246"/>
              </a:cxn>
              <a:cxn ang="0">
                <a:pos x="connsiteX40247" y="connsiteY40247"/>
              </a:cxn>
              <a:cxn ang="0">
                <a:pos x="connsiteX40248" y="connsiteY40248"/>
              </a:cxn>
              <a:cxn ang="0">
                <a:pos x="connsiteX40249" y="connsiteY40249"/>
              </a:cxn>
              <a:cxn ang="0">
                <a:pos x="connsiteX40250" y="connsiteY40250"/>
              </a:cxn>
              <a:cxn ang="0">
                <a:pos x="connsiteX40251" y="connsiteY40251"/>
              </a:cxn>
              <a:cxn ang="0">
                <a:pos x="connsiteX40252" y="connsiteY40252"/>
              </a:cxn>
              <a:cxn ang="0">
                <a:pos x="connsiteX40253" y="connsiteY40253"/>
              </a:cxn>
              <a:cxn ang="0">
                <a:pos x="connsiteX40254" y="connsiteY40254"/>
              </a:cxn>
              <a:cxn ang="0">
                <a:pos x="connsiteX40255" y="connsiteY40255"/>
              </a:cxn>
              <a:cxn ang="0">
                <a:pos x="connsiteX40256" y="connsiteY40256"/>
              </a:cxn>
              <a:cxn ang="0">
                <a:pos x="connsiteX40257" y="connsiteY40257"/>
              </a:cxn>
              <a:cxn ang="0">
                <a:pos x="connsiteX40258" y="connsiteY40258"/>
              </a:cxn>
              <a:cxn ang="0">
                <a:pos x="connsiteX40259" y="connsiteY40259"/>
              </a:cxn>
              <a:cxn ang="0">
                <a:pos x="connsiteX40260" y="connsiteY40260"/>
              </a:cxn>
              <a:cxn ang="0">
                <a:pos x="connsiteX40261" y="connsiteY40261"/>
              </a:cxn>
              <a:cxn ang="0">
                <a:pos x="connsiteX40262" y="connsiteY40262"/>
              </a:cxn>
              <a:cxn ang="0">
                <a:pos x="connsiteX40263" y="connsiteY40263"/>
              </a:cxn>
              <a:cxn ang="0">
                <a:pos x="connsiteX40264" y="connsiteY40264"/>
              </a:cxn>
              <a:cxn ang="0">
                <a:pos x="connsiteX40265" y="connsiteY40265"/>
              </a:cxn>
              <a:cxn ang="0">
                <a:pos x="connsiteX40266" y="connsiteY40266"/>
              </a:cxn>
              <a:cxn ang="0">
                <a:pos x="connsiteX40267" y="connsiteY40267"/>
              </a:cxn>
              <a:cxn ang="0">
                <a:pos x="connsiteX40268" y="connsiteY40268"/>
              </a:cxn>
              <a:cxn ang="0">
                <a:pos x="connsiteX40269" y="connsiteY40269"/>
              </a:cxn>
              <a:cxn ang="0">
                <a:pos x="connsiteX40270" y="connsiteY40270"/>
              </a:cxn>
              <a:cxn ang="0">
                <a:pos x="connsiteX40271" y="connsiteY40271"/>
              </a:cxn>
              <a:cxn ang="0">
                <a:pos x="connsiteX40272" y="connsiteY40272"/>
              </a:cxn>
              <a:cxn ang="0">
                <a:pos x="connsiteX40273" y="connsiteY40273"/>
              </a:cxn>
              <a:cxn ang="0">
                <a:pos x="connsiteX40274" y="connsiteY40274"/>
              </a:cxn>
              <a:cxn ang="0">
                <a:pos x="connsiteX40275" y="connsiteY40275"/>
              </a:cxn>
              <a:cxn ang="0">
                <a:pos x="connsiteX40276" y="connsiteY40276"/>
              </a:cxn>
              <a:cxn ang="0">
                <a:pos x="connsiteX40277" y="connsiteY40277"/>
              </a:cxn>
              <a:cxn ang="0">
                <a:pos x="connsiteX40278" y="connsiteY40278"/>
              </a:cxn>
              <a:cxn ang="0">
                <a:pos x="connsiteX40279" y="connsiteY40279"/>
              </a:cxn>
              <a:cxn ang="0">
                <a:pos x="connsiteX40280" y="connsiteY40280"/>
              </a:cxn>
              <a:cxn ang="0">
                <a:pos x="connsiteX40281" y="connsiteY40281"/>
              </a:cxn>
              <a:cxn ang="0">
                <a:pos x="connsiteX40282" y="connsiteY40282"/>
              </a:cxn>
              <a:cxn ang="0">
                <a:pos x="connsiteX40283" y="connsiteY40283"/>
              </a:cxn>
              <a:cxn ang="0">
                <a:pos x="connsiteX40284" y="connsiteY40284"/>
              </a:cxn>
              <a:cxn ang="0">
                <a:pos x="connsiteX40285" y="connsiteY40285"/>
              </a:cxn>
              <a:cxn ang="0">
                <a:pos x="connsiteX40286" y="connsiteY40286"/>
              </a:cxn>
              <a:cxn ang="0">
                <a:pos x="connsiteX40287" y="connsiteY40287"/>
              </a:cxn>
              <a:cxn ang="0">
                <a:pos x="connsiteX40288" y="connsiteY40288"/>
              </a:cxn>
              <a:cxn ang="0">
                <a:pos x="connsiteX40289" y="connsiteY40289"/>
              </a:cxn>
              <a:cxn ang="0">
                <a:pos x="connsiteX40290" y="connsiteY40290"/>
              </a:cxn>
              <a:cxn ang="0">
                <a:pos x="connsiteX40291" y="connsiteY40291"/>
              </a:cxn>
              <a:cxn ang="0">
                <a:pos x="connsiteX40292" y="connsiteY40292"/>
              </a:cxn>
              <a:cxn ang="0">
                <a:pos x="connsiteX40293" y="connsiteY40293"/>
              </a:cxn>
              <a:cxn ang="0">
                <a:pos x="connsiteX40294" y="connsiteY40294"/>
              </a:cxn>
              <a:cxn ang="0">
                <a:pos x="connsiteX40295" y="connsiteY40295"/>
              </a:cxn>
              <a:cxn ang="0">
                <a:pos x="connsiteX40296" y="connsiteY40296"/>
              </a:cxn>
              <a:cxn ang="0">
                <a:pos x="connsiteX40297" y="connsiteY40297"/>
              </a:cxn>
              <a:cxn ang="0">
                <a:pos x="connsiteX40298" y="connsiteY40298"/>
              </a:cxn>
              <a:cxn ang="0">
                <a:pos x="connsiteX40299" y="connsiteY40299"/>
              </a:cxn>
              <a:cxn ang="0">
                <a:pos x="connsiteX40300" y="connsiteY40300"/>
              </a:cxn>
              <a:cxn ang="0">
                <a:pos x="connsiteX40301" y="connsiteY40301"/>
              </a:cxn>
              <a:cxn ang="0">
                <a:pos x="connsiteX40302" y="connsiteY40302"/>
              </a:cxn>
              <a:cxn ang="0">
                <a:pos x="connsiteX40303" y="connsiteY40303"/>
              </a:cxn>
              <a:cxn ang="0">
                <a:pos x="connsiteX40304" y="connsiteY40304"/>
              </a:cxn>
              <a:cxn ang="0">
                <a:pos x="connsiteX40305" y="connsiteY40305"/>
              </a:cxn>
              <a:cxn ang="0">
                <a:pos x="connsiteX40306" y="connsiteY40306"/>
              </a:cxn>
              <a:cxn ang="0">
                <a:pos x="connsiteX40307" y="connsiteY40307"/>
              </a:cxn>
              <a:cxn ang="0">
                <a:pos x="connsiteX40308" y="connsiteY40308"/>
              </a:cxn>
              <a:cxn ang="0">
                <a:pos x="connsiteX40309" y="connsiteY40309"/>
              </a:cxn>
              <a:cxn ang="0">
                <a:pos x="connsiteX40310" y="connsiteY40310"/>
              </a:cxn>
              <a:cxn ang="0">
                <a:pos x="connsiteX40311" y="connsiteY40311"/>
              </a:cxn>
              <a:cxn ang="0">
                <a:pos x="connsiteX40312" y="connsiteY40312"/>
              </a:cxn>
              <a:cxn ang="0">
                <a:pos x="connsiteX40313" y="connsiteY40313"/>
              </a:cxn>
              <a:cxn ang="0">
                <a:pos x="connsiteX40314" y="connsiteY40314"/>
              </a:cxn>
              <a:cxn ang="0">
                <a:pos x="connsiteX40315" y="connsiteY40315"/>
              </a:cxn>
              <a:cxn ang="0">
                <a:pos x="connsiteX40316" y="connsiteY40316"/>
              </a:cxn>
              <a:cxn ang="0">
                <a:pos x="connsiteX40317" y="connsiteY40317"/>
              </a:cxn>
              <a:cxn ang="0">
                <a:pos x="connsiteX40318" y="connsiteY40318"/>
              </a:cxn>
              <a:cxn ang="0">
                <a:pos x="connsiteX40319" y="connsiteY40319"/>
              </a:cxn>
              <a:cxn ang="0">
                <a:pos x="connsiteX40320" y="connsiteY40320"/>
              </a:cxn>
              <a:cxn ang="0">
                <a:pos x="connsiteX40321" y="connsiteY40321"/>
              </a:cxn>
              <a:cxn ang="0">
                <a:pos x="connsiteX40322" y="connsiteY40322"/>
              </a:cxn>
              <a:cxn ang="0">
                <a:pos x="connsiteX40323" y="connsiteY40323"/>
              </a:cxn>
              <a:cxn ang="0">
                <a:pos x="connsiteX40324" y="connsiteY40324"/>
              </a:cxn>
              <a:cxn ang="0">
                <a:pos x="connsiteX40325" y="connsiteY40325"/>
              </a:cxn>
              <a:cxn ang="0">
                <a:pos x="connsiteX40326" y="connsiteY40326"/>
              </a:cxn>
              <a:cxn ang="0">
                <a:pos x="connsiteX40327" y="connsiteY40327"/>
              </a:cxn>
              <a:cxn ang="0">
                <a:pos x="connsiteX40328" y="connsiteY40328"/>
              </a:cxn>
              <a:cxn ang="0">
                <a:pos x="connsiteX40329" y="connsiteY40329"/>
              </a:cxn>
              <a:cxn ang="0">
                <a:pos x="connsiteX40330" y="connsiteY40330"/>
              </a:cxn>
              <a:cxn ang="0">
                <a:pos x="connsiteX40331" y="connsiteY40331"/>
              </a:cxn>
              <a:cxn ang="0">
                <a:pos x="connsiteX40332" y="connsiteY40332"/>
              </a:cxn>
              <a:cxn ang="0">
                <a:pos x="connsiteX40333" y="connsiteY40333"/>
              </a:cxn>
              <a:cxn ang="0">
                <a:pos x="connsiteX40334" y="connsiteY40334"/>
              </a:cxn>
              <a:cxn ang="0">
                <a:pos x="connsiteX40335" y="connsiteY40335"/>
              </a:cxn>
              <a:cxn ang="0">
                <a:pos x="connsiteX40336" y="connsiteY40336"/>
              </a:cxn>
              <a:cxn ang="0">
                <a:pos x="connsiteX40337" y="connsiteY40337"/>
              </a:cxn>
              <a:cxn ang="0">
                <a:pos x="connsiteX40338" y="connsiteY40338"/>
              </a:cxn>
              <a:cxn ang="0">
                <a:pos x="connsiteX40339" y="connsiteY40339"/>
              </a:cxn>
              <a:cxn ang="0">
                <a:pos x="connsiteX40340" y="connsiteY40340"/>
              </a:cxn>
              <a:cxn ang="0">
                <a:pos x="connsiteX40341" y="connsiteY40341"/>
              </a:cxn>
              <a:cxn ang="0">
                <a:pos x="connsiteX40342" y="connsiteY40342"/>
              </a:cxn>
              <a:cxn ang="0">
                <a:pos x="connsiteX40343" y="connsiteY40343"/>
              </a:cxn>
              <a:cxn ang="0">
                <a:pos x="connsiteX40344" y="connsiteY40344"/>
              </a:cxn>
              <a:cxn ang="0">
                <a:pos x="connsiteX40345" y="connsiteY40345"/>
              </a:cxn>
              <a:cxn ang="0">
                <a:pos x="connsiteX40346" y="connsiteY40346"/>
              </a:cxn>
              <a:cxn ang="0">
                <a:pos x="connsiteX40347" y="connsiteY40347"/>
              </a:cxn>
              <a:cxn ang="0">
                <a:pos x="connsiteX40348" y="connsiteY40348"/>
              </a:cxn>
              <a:cxn ang="0">
                <a:pos x="connsiteX40349" y="connsiteY40349"/>
              </a:cxn>
              <a:cxn ang="0">
                <a:pos x="connsiteX40350" y="connsiteY40350"/>
              </a:cxn>
              <a:cxn ang="0">
                <a:pos x="connsiteX40351" y="connsiteY40351"/>
              </a:cxn>
              <a:cxn ang="0">
                <a:pos x="connsiteX40352" y="connsiteY40352"/>
              </a:cxn>
              <a:cxn ang="0">
                <a:pos x="connsiteX40353" y="connsiteY40353"/>
              </a:cxn>
              <a:cxn ang="0">
                <a:pos x="connsiteX40354" y="connsiteY40354"/>
              </a:cxn>
              <a:cxn ang="0">
                <a:pos x="connsiteX40355" y="connsiteY40355"/>
              </a:cxn>
              <a:cxn ang="0">
                <a:pos x="connsiteX40356" y="connsiteY40356"/>
              </a:cxn>
              <a:cxn ang="0">
                <a:pos x="connsiteX40357" y="connsiteY40357"/>
              </a:cxn>
              <a:cxn ang="0">
                <a:pos x="connsiteX40358" y="connsiteY40358"/>
              </a:cxn>
              <a:cxn ang="0">
                <a:pos x="connsiteX40359" y="connsiteY40359"/>
              </a:cxn>
              <a:cxn ang="0">
                <a:pos x="connsiteX40360" y="connsiteY40360"/>
              </a:cxn>
              <a:cxn ang="0">
                <a:pos x="connsiteX40361" y="connsiteY40361"/>
              </a:cxn>
              <a:cxn ang="0">
                <a:pos x="connsiteX40362" y="connsiteY40362"/>
              </a:cxn>
              <a:cxn ang="0">
                <a:pos x="connsiteX40363" y="connsiteY40363"/>
              </a:cxn>
              <a:cxn ang="0">
                <a:pos x="connsiteX40364" y="connsiteY40364"/>
              </a:cxn>
              <a:cxn ang="0">
                <a:pos x="connsiteX40365" y="connsiteY40365"/>
              </a:cxn>
              <a:cxn ang="0">
                <a:pos x="connsiteX40366" y="connsiteY40366"/>
              </a:cxn>
              <a:cxn ang="0">
                <a:pos x="connsiteX40367" y="connsiteY40367"/>
              </a:cxn>
              <a:cxn ang="0">
                <a:pos x="connsiteX40368" y="connsiteY40368"/>
              </a:cxn>
              <a:cxn ang="0">
                <a:pos x="connsiteX40369" y="connsiteY40369"/>
              </a:cxn>
              <a:cxn ang="0">
                <a:pos x="connsiteX40370" y="connsiteY40370"/>
              </a:cxn>
              <a:cxn ang="0">
                <a:pos x="connsiteX40371" y="connsiteY40371"/>
              </a:cxn>
              <a:cxn ang="0">
                <a:pos x="connsiteX40372" y="connsiteY40372"/>
              </a:cxn>
              <a:cxn ang="0">
                <a:pos x="connsiteX40373" y="connsiteY40373"/>
              </a:cxn>
              <a:cxn ang="0">
                <a:pos x="connsiteX40374" y="connsiteY40374"/>
              </a:cxn>
              <a:cxn ang="0">
                <a:pos x="connsiteX40375" y="connsiteY40375"/>
              </a:cxn>
              <a:cxn ang="0">
                <a:pos x="connsiteX40376" y="connsiteY40376"/>
              </a:cxn>
              <a:cxn ang="0">
                <a:pos x="connsiteX40377" y="connsiteY40377"/>
              </a:cxn>
              <a:cxn ang="0">
                <a:pos x="connsiteX40378" y="connsiteY40378"/>
              </a:cxn>
              <a:cxn ang="0">
                <a:pos x="connsiteX40379" y="connsiteY40379"/>
              </a:cxn>
              <a:cxn ang="0">
                <a:pos x="connsiteX40380" y="connsiteY40380"/>
              </a:cxn>
              <a:cxn ang="0">
                <a:pos x="connsiteX40381" y="connsiteY40381"/>
              </a:cxn>
              <a:cxn ang="0">
                <a:pos x="connsiteX40382" y="connsiteY40382"/>
              </a:cxn>
              <a:cxn ang="0">
                <a:pos x="connsiteX40383" y="connsiteY40383"/>
              </a:cxn>
              <a:cxn ang="0">
                <a:pos x="connsiteX40384" y="connsiteY40384"/>
              </a:cxn>
              <a:cxn ang="0">
                <a:pos x="connsiteX40385" y="connsiteY40385"/>
              </a:cxn>
              <a:cxn ang="0">
                <a:pos x="connsiteX40386" y="connsiteY40386"/>
              </a:cxn>
              <a:cxn ang="0">
                <a:pos x="connsiteX40387" y="connsiteY40387"/>
              </a:cxn>
              <a:cxn ang="0">
                <a:pos x="connsiteX40388" y="connsiteY40388"/>
              </a:cxn>
              <a:cxn ang="0">
                <a:pos x="connsiteX40389" y="connsiteY40389"/>
              </a:cxn>
              <a:cxn ang="0">
                <a:pos x="connsiteX40390" y="connsiteY40390"/>
              </a:cxn>
              <a:cxn ang="0">
                <a:pos x="connsiteX40391" y="connsiteY40391"/>
              </a:cxn>
              <a:cxn ang="0">
                <a:pos x="connsiteX40392" y="connsiteY40392"/>
              </a:cxn>
              <a:cxn ang="0">
                <a:pos x="connsiteX40393" y="connsiteY40393"/>
              </a:cxn>
              <a:cxn ang="0">
                <a:pos x="connsiteX40394" y="connsiteY40394"/>
              </a:cxn>
              <a:cxn ang="0">
                <a:pos x="connsiteX40395" y="connsiteY40395"/>
              </a:cxn>
              <a:cxn ang="0">
                <a:pos x="connsiteX40396" y="connsiteY40396"/>
              </a:cxn>
              <a:cxn ang="0">
                <a:pos x="connsiteX40397" y="connsiteY40397"/>
              </a:cxn>
              <a:cxn ang="0">
                <a:pos x="connsiteX40398" y="connsiteY40398"/>
              </a:cxn>
              <a:cxn ang="0">
                <a:pos x="connsiteX40399" y="connsiteY40399"/>
              </a:cxn>
              <a:cxn ang="0">
                <a:pos x="connsiteX40400" y="connsiteY40400"/>
              </a:cxn>
              <a:cxn ang="0">
                <a:pos x="connsiteX40401" y="connsiteY40401"/>
              </a:cxn>
              <a:cxn ang="0">
                <a:pos x="connsiteX40402" y="connsiteY40402"/>
              </a:cxn>
              <a:cxn ang="0">
                <a:pos x="connsiteX40403" y="connsiteY40403"/>
              </a:cxn>
              <a:cxn ang="0">
                <a:pos x="connsiteX40404" y="connsiteY40404"/>
              </a:cxn>
              <a:cxn ang="0">
                <a:pos x="connsiteX40405" y="connsiteY40405"/>
              </a:cxn>
              <a:cxn ang="0">
                <a:pos x="connsiteX40406" y="connsiteY40406"/>
              </a:cxn>
              <a:cxn ang="0">
                <a:pos x="connsiteX40407" y="connsiteY40407"/>
              </a:cxn>
              <a:cxn ang="0">
                <a:pos x="connsiteX40408" y="connsiteY40408"/>
              </a:cxn>
              <a:cxn ang="0">
                <a:pos x="connsiteX40409" y="connsiteY40409"/>
              </a:cxn>
              <a:cxn ang="0">
                <a:pos x="connsiteX40410" y="connsiteY40410"/>
              </a:cxn>
              <a:cxn ang="0">
                <a:pos x="connsiteX40411" y="connsiteY40411"/>
              </a:cxn>
              <a:cxn ang="0">
                <a:pos x="connsiteX40412" y="connsiteY40412"/>
              </a:cxn>
              <a:cxn ang="0">
                <a:pos x="connsiteX40413" y="connsiteY40413"/>
              </a:cxn>
              <a:cxn ang="0">
                <a:pos x="connsiteX40414" y="connsiteY40414"/>
              </a:cxn>
              <a:cxn ang="0">
                <a:pos x="connsiteX40415" y="connsiteY40415"/>
              </a:cxn>
              <a:cxn ang="0">
                <a:pos x="connsiteX40416" y="connsiteY40416"/>
              </a:cxn>
              <a:cxn ang="0">
                <a:pos x="connsiteX40417" y="connsiteY40417"/>
              </a:cxn>
              <a:cxn ang="0">
                <a:pos x="connsiteX40418" y="connsiteY40418"/>
              </a:cxn>
              <a:cxn ang="0">
                <a:pos x="connsiteX40419" y="connsiteY40419"/>
              </a:cxn>
              <a:cxn ang="0">
                <a:pos x="connsiteX40420" y="connsiteY40420"/>
              </a:cxn>
              <a:cxn ang="0">
                <a:pos x="connsiteX40421" y="connsiteY40421"/>
              </a:cxn>
              <a:cxn ang="0">
                <a:pos x="connsiteX40422" y="connsiteY40422"/>
              </a:cxn>
              <a:cxn ang="0">
                <a:pos x="connsiteX40423" y="connsiteY40423"/>
              </a:cxn>
              <a:cxn ang="0">
                <a:pos x="connsiteX40424" y="connsiteY40424"/>
              </a:cxn>
              <a:cxn ang="0">
                <a:pos x="connsiteX40425" y="connsiteY40425"/>
              </a:cxn>
              <a:cxn ang="0">
                <a:pos x="connsiteX40426" y="connsiteY40426"/>
              </a:cxn>
              <a:cxn ang="0">
                <a:pos x="connsiteX40427" y="connsiteY40427"/>
              </a:cxn>
              <a:cxn ang="0">
                <a:pos x="connsiteX40428" y="connsiteY40428"/>
              </a:cxn>
              <a:cxn ang="0">
                <a:pos x="connsiteX40429" y="connsiteY40429"/>
              </a:cxn>
              <a:cxn ang="0">
                <a:pos x="connsiteX40430" y="connsiteY40430"/>
              </a:cxn>
              <a:cxn ang="0">
                <a:pos x="connsiteX40431" y="connsiteY40431"/>
              </a:cxn>
              <a:cxn ang="0">
                <a:pos x="connsiteX40432" y="connsiteY40432"/>
              </a:cxn>
              <a:cxn ang="0">
                <a:pos x="connsiteX40433" y="connsiteY40433"/>
              </a:cxn>
              <a:cxn ang="0">
                <a:pos x="connsiteX40434" y="connsiteY40434"/>
              </a:cxn>
              <a:cxn ang="0">
                <a:pos x="connsiteX40435" y="connsiteY40435"/>
              </a:cxn>
              <a:cxn ang="0">
                <a:pos x="connsiteX40436" y="connsiteY40436"/>
              </a:cxn>
              <a:cxn ang="0">
                <a:pos x="connsiteX40437" y="connsiteY40437"/>
              </a:cxn>
              <a:cxn ang="0">
                <a:pos x="connsiteX40438" y="connsiteY40438"/>
              </a:cxn>
              <a:cxn ang="0">
                <a:pos x="connsiteX40439" y="connsiteY40439"/>
              </a:cxn>
              <a:cxn ang="0">
                <a:pos x="connsiteX40440" y="connsiteY40440"/>
              </a:cxn>
              <a:cxn ang="0">
                <a:pos x="connsiteX40441" y="connsiteY40441"/>
              </a:cxn>
              <a:cxn ang="0">
                <a:pos x="connsiteX40442" y="connsiteY40442"/>
              </a:cxn>
              <a:cxn ang="0">
                <a:pos x="connsiteX40443" y="connsiteY40443"/>
              </a:cxn>
              <a:cxn ang="0">
                <a:pos x="connsiteX40444" y="connsiteY40444"/>
              </a:cxn>
              <a:cxn ang="0">
                <a:pos x="connsiteX40445" y="connsiteY40445"/>
              </a:cxn>
              <a:cxn ang="0">
                <a:pos x="connsiteX40446" y="connsiteY40446"/>
              </a:cxn>
              <a:cxn ang="0">
                <a:pos x="connsiteX40447" y="connsiteY40447"/>
              </a:cxn>
              <a:cxn ang="0">
                <a:pos x="connsiteX40448" y="connsiteY40448"/>
              </a:cxn>
              <a:cxn ang="0">
                <a:pos x="connsiteX40449" y="connsiteY40449"/>
              </a:cxn>
              <a:cxn ang="0">
                <a:pos x="connsiteX40450" y="connsiteY40450"/>
              </a:cxn>
              <a:cxn ang="0">
                <a:pos x="connsiteX40451" y="connsiteY40451"/>
              </a:cxn>
              <a:cxn ang="0">
                <a:pos x="connsiteX40452" y="connsiteY40452"/>
              </a:cxn>
              <a:cxn ang="0">
                <a:pos x="connsiteX40453" y="connsiteY40453"/>
              </a:cxn>
              <a:cxn ang="0">
                <a:pos x="connsiteX40454" y="connsiteY40454"/>
              </a:cxn>
              <a:cxn ang="0">
                <a:pos x="connsiteX40455" y="connsiteY40455"/>
              </a:cxn>
              <a:cxn ang="0">
                <a:pos x="connsiteX40456" y="connsiteY40456"/>
              </a:cxn>
              <a:cxn ang="0">
                <a:pos x="connsiteX40457" y="connsiteY40457"/>
              </a:cxn>
              <a:cxn ang="0">
                <a:pos x="connsiteX40458" y="connsiteY40458"/>
              </a:cxn>
              <a:cxn ang="0">
                <a:pos x="connsiteX40459" y="connsiteY40459"/>
              </a:cxn>
              <a:cxn ang="0">
                <a:pos x="connsiteX40460" y="connsiteY40460"/>
              </a:cxn>
              <a:cxn ang="0">
                <a:pos x="connsiteX40461" y="connsiteY40461"/>
              </a:cxn>
              <a:cxn ang="0">
                <a:pos x="connsiteX40462" y="connsiteY40462"/>
              </a:cxn>
              <a:cxn ang="0">
                <a:pos x="connsiteX40463" y="connsiteY40463"/>
              </a:cxn>
              <a:cxn ang="0">
                <a:pos x="connsiteX40464" y="connsiteY40464"/>
              </a:cxn>
              <a:cxn ang="0">
                <a:pos x="connsiteX40465" y="connsiteY40465"/>
              </a:cxn>
              <a:cxn ang="0">
                <a:pos x="connsiteX40466" y="connsiteY40466"/>
              </a:cxn>
              <a:cxn ang="0">
                <a:pos x="connsiteX40467" y="connsiteY40467"/>
              </a:cxn>
              <a:cxn ang="0">
                <a:pos x="connsiteX40468" y="connsiteY40468"/>
              </a:cxn>
              <a:cxn ang="0">
                <a:pos x="connsiteX40469" y="connsiteY40469"/>
              </a:cxn>
              <a:cxn ang="0">
                <a:pos x="connsiteX40470" y="connsiteY40470"/>
              </a:cxn>
              <a:cxn ang="0">
                <a:pos x="connsiteX40471" y="connsiteY40471"/>
              </a:cxn>
              <a:cxn ang="0">
                <a:pos x="connsiteX40472" y="connsiteY40472"/>
              </a:cxn>
              <a:cxn ang="0">
                <a:pos x="connsiteX40473" y="connsiteY40473"/>
              </a:cxn>
              <a:cxn ang="0">
                <a:pos x="connsiteX40474" y="connsiteY40474"/>
              </a:cxn>
              <a:cxn ang="0">
                <a:pos x="connsiteX40475" y="connsiteY40475"/>
              </a:cxn>
              <a:cxn ang="0">
                <a:pos x="connsiteX40476" y="connsiteY40476"/>
              </a:cxn>
              <a:cxn ang="0">
                <a:pos x="connsiteX40477" y="connsiteY40477"/>
              </a:cxn>
              <a:cxn ang="0">
                <a:pos x="connsiteX40478" y="connsiteY40478"/>
              </a:cxn>
              <a:cxn ang="0">
                <a:pos x="connsiteX40479" y="connsiteY40479"/>
              </a:cxn>
              <a:cxn ang="0">
                <a:pos x="connsiteX40480" y="connsiteY40480"/>
              </a:cxn>
              <a:cxn ang="0">
                <a:pos x="connsiteX40481" y="connsiteY40481"/>
              </a:cxn>
              <a:cxn ang="0">
                <a:pos x="connsiteX40482" y="connsiteY40482"/>
              </a:cxn>
              <a:cxn ang="0">
                <a:pos x="connsiteX40483" y="connsiteY40483"/>
              </a:cxn>
              <a:cxn ang="0">
                <a:pos x="connsiteX40484" y="connsiteY40484"/>
              </a:cxn>
              <a:cxn ang="0">
                <a:pos x="connsiteX40485" y="connsiteY40485"/>
              </a:cxn>
              <a:cxn ang="0">
                <a:pos x="connsiteX40486" y="connsiteY40486"/>
              </a:cxn>
              <a:cxn ang="0">
                <a:pos x="connsiteX40487" y="connsiteY40487"/>
              </a:cxn>
              <a:cxn ang="0">
                <a:pos x="connsiteX40488" y="connsiteY40488"/>
              </a:cxn>
              <a:cxn ang="0">
                <a:pos x="connsiteX40489" y="connsiteY40489"/>
              </a:cxn>
              <a:cxn ang="0">
                <a:pos x="connsiteX40490" y="connsiteY40490"/>
              </a:cxn>
              <a:cxn ang="0">
                <a:pos x="connsiteX40491" y="connsiteY40491"/>
              </a:cxn>
              <a:cxn ang="0">
                <a:pos x="connsiteX40492" y="connsiteY40492"/>
              </a:cxn>
              <a:cxn ang="0">
                <a:pos x="connsiteX40493" y="connsiteY40493"/>
              </a:cxn>
              <a:cxn ang="0">
                <a:pos x="connsiteX40494" y="connsiteY40494"/>
              </a:cxn>
              <a:cxn ang="0">
                <a:pos x="connsiteX40495" y="connsiteY40495"/>
              </a:cxn>
              <a:cxn ang="0">
                <a:pos x="connsiteX40496" y="connsiteY40496"/>
              </a:cxn>
              <a:cxn ang="0">
                <a:pos x="connsiteX40497" y="connsiteY40497"/>
              </a:cxn>
              <a:cxn ang="0">
                <a:pos x="connsiteX40498" y="connsiteY40498"/>
              </a:cxn>
              <a:cxn ang="0">
                <a:pos x="connsiteX40499" y="connsiteY40499"/>
              </a:cxn>
              <a:cxn ang="0">
                <a:pos x="connsiteX40500" y="connsiteY40500"/>
              </a:cxn>
              <a:cxn ang="0">
                <a:pos x="connsiteX40501" y="connsiteY40501"/>
              </a:cxn>
              <a:cxn ang="0">
                <a:pos x="connsiteX40502" y="connsiteY40502"/>
              </a:cxn>
              <a:cxn ang="0">
                <a:pos x="connsiteX40503" y="connsiteY40503"/>
              </a:cxn>
              <a:cxn ang="0">
                <a:pos x="connsiteX40504" y="connsiteY40504"/>
              </a:cxn>
              <a:cxn ang="0">
                <a:pos x="connsiteX40505" y="connsiteY40505"/>
              </a:cxn>
              <a:cxn ang="0">
                <a:pos x="connsiteX40506" y="connsiteY40506"/>
              </a:cxn>
              <a:cxn ang="0">
                <a:pos x="connsiteX40507" y="connsiteY40507"/>
              </a:cxn>
              <a:cxn ang="0">
                <a:pos x="connsiteX40508" y="connsiteY40508"/>
              </a:cxn>
              <a:cxn ang="0">
                <a:pos x="connsiteX40509" y="connsiteY40509"/>
              </a:cxn>
              <a:cxn ang="0">
                <a:pos x="connsiteX40510" y="connsiteY40510"/>
              </a:cxn>
              <a:cxn ang="0">
                <a:pos x="connsiteX40511" y="connsiteY40511"/>
              </a:cxn>
              <a:cxn ang="0">
                <a:pos x="connsiteX40512" y="connsiteY40512"/>
              </a:cxn>
              <a:cxn ang="0">
                <a:pos x="connsiteX40513" y="connsiteY40513"/>
              </a:cxn>
              <a:cxn ang="0">
                <a:pos x="connsiteX40514" y="connsiteY40514"/>
              </a:cxn>
              <a:cxn ang="0">
                <a:pos x="connsiteX40515" y="connsiteY40515"/>
              </a:cxn>
              <a:cxn ang="0">
                <a:pos x="connsiteX40516" y="connsiteY40516"/>
              </a:cxn>
              <a:cxn ang="0">
                <a:pos x="connsiteX40517" y="connsiteY40517"/>
              </a:cxn>
              <a:cxn ang="0">
                <a:pos x="connsiteX40518" y="connsiteY40518"/>
              </a:cxn>
              <a:cxn ang="0">
                <a:pos x="connsiteX40519" y="connsiteY40519"/>
              </a:cxn>
              <a:cxn ang="0">
                <a:pos x="connsiteX40520" y="connsiteY40520"/>
              </a:cxn>
              <a:cxn ang="0">
                <a:pos x="connsiteX40521" y="connsiteY40521"/>
              </a:cxn>
              <a:cxn ang="0">
                <a:pos x="connsiteX40522" y="connsiteY40522"/>
              </a:cxn>
              <a:cxn ang="0">
                <a:pos x="connsiteX40523" y="connsiteY40523"/>
              </a:cxn>
              <a:cxn ang="0">
                <a:pos x="connsiteX40524" y="connsiteY40524"/>
              </a:cxn>
              <a:cxn ang="0">
                <a:pos x="connsiteX40525" y="connsiteY40525"/>
              </a:cxn>
              <a:cxn ang="0">
                <a:pos x="connsiteX40526" y="connsiteY40526"/>
              </a:cxn>
              <a:cxn ang="0">
                <a:pos x="connsiteX40527" y="connsiteY40527"/>
              </a:cxn>
              <a:cxn ang="0">
                <a:pos x="connsiteX40528" y="connsiteY40528"/>
              </a:cxn>
              <a:cxn ang="0">
                <a:pos x="connsiteX40529" y="connsiteY40529"/>
              </a:cxn>
              <a:cxn ang="0">
                <a:pos x="connsiteX40530" y="connsiteY40530"/>
              </a:cxn>
              <a:cxn ang="0">
                <a:pos x="connsiteX40531" y="connsiteY40531"/>
              </a:cxn>
              <a:cxn ang="0">
                <a:pos x="connsiteX40532" y="connsiteY40532"/>
              </a:cxn>
              <a:cxn ang="0">
                <a:pos x="connsiteX40533" y="connsiteY40533"/>
              </a:cxn>
              <a:cxn ang="0">
                <a:pos x="connsiteX40534" y="connsiteY40534"/>
              </a:cxn>
              <a:cxn ang="0">
                <a:pos x="connsiteX40535" y="connsiteY40535"/>
              </a:cxn>
              <a:cxn ang="0">
                <a:pos x="connsiteX40536" y="connsiteY40536"/>
              </a:cxn>
              <a:cxn ang="0">
                <a:pos x="connsiteX40537" y="connsiteY40537"/>
              </a:cxn>
              <a:cxn ang="0">
                <a:pos x="connsiteX40538" y="connsiteY40538"/>
              </a:cxn>
              <a:cxn ang="0">
                <a:pos x="connsiteX40539" y="connsiteY40539"/>
              </a:cxn>
              <a:cxn ang="0">
                <a:pos x="connsiteX40540" y="connsiteY40540"/>
              </a:cxn>
              <a:cxn ang="0">
                <a:pos x="connsiteX40541" y="connsiteY40541"/>
              </a:cxn>
              <a:cxn ang="0">
                <a:pos x="connsiteX40542" y="connsiteY40542"/>
              </a:cxn>
              <a:cxn ang="0">
                <a:pos x="connsiteX40543" y="connsiteY40543"/>
              </a:cxn>
              <a:cxn ang="0">
                <a:pos x="connsiteX40544" y="connsiteY40544"/>
              </a:cxn>
              <a:cxn ang="0">
                <a:pos x="connsiteX40545" y="connsiteY40545"/>
              </a:cxn>
              <a:cxn ang="0">
                <a:pos x="connsiteX40546" y="connsiteY40546"/>
              </a:cxn>
              <a:cxn ang="0">
                <a:pos x="connsiteX40547" y="connsiteY40547"/>
              </a:cxn>
              <a:cxn ang="0">
                <a:pos x="connsiteX40548" y="connsiteY40548"/>
              </a:cxn>
              <a:cxn ang="0">
                <a:pos x="connsiteX40549" y="connsiteY40549"/>
              </a:cxn>
              <a:cxn ang="0">
                <a:pos x="connsiteX40550" y="connsiteY40550"/>
              </a:cxn>
              <a:cxn ang="0">
                <a:pos x="connsiteX40551" y="connsiteY40551"/>
              </a:cxn>
              <a:cxn ang="0">
                <a:pos x="connsiteX40552" y="connsiteY40552"/>
              </a:cxn>
              <a:cxn ang="0">
                <a:pos x="connsiteX40553" y="connsiteY40553"/>
              </a:cxn>
              <a:cxn ang="0">
                <a:pos x="connsiteX40554" y="connsiteY40554"/>
              </a:cxn>
              <a:cxn ang="0">
                <a:pos x="connsiteX40555" y="connsiteY40555"/>
              </a:cxn>
              <a:cxn ang="0">
                <a:pos x="connsiteX40556" y="connsiteY40556"/>
              </a:cxn>
              <a:cxn ang="0">
                <a:pos x="connsiteX40557" y="connsiteY40557"/>
              </a:cxn>
              <a:cxn ang="0">
                <a:pos x="connsiteX40558" y="connsiteY40558"/>
              </a:cxn>
              <a:cxn ang="0">
                <a:pos x="connsiteX40559" y="connsiteY40559"/>
              </a:cxn>
              <a:cxn ang="0">
                <a:pos x="connsiteX40560" y="connsiteY40560"/>
              </a:cxn>
              <a:cxn ang="0">
                <a:pos x="connsiteX40561" y="connsiteY40561"/>
              </a:cxn>
              <a:cxn ang="0">
                <a:pos x="connsiteX40562" y="connsiteY40562"/>
              </a:cxn>
              <a:cxn ang="0">
                <a:pos x="connsiteX40563" y="connsiteY40563"/>
              </a:cxn>
              <a:cxn ang="0">
                <a:pos x="connsiteX40564" y="connsiteY40564"/>
              </a:cxn>
              <a:cxn ang="0">
                <a:pos x="connsiteX40565" y="connsiteY40565"/>
              </a:cxn>
              <a:cxn ang="0">
                <a:pos x="connsiteX40566" y="connsiteY40566"/>
              </a:cxn>
              <a:cxn ang="0">
                <a:pos x="connsiteX40567" y="connsiteY40567"/>
              </a:cxn>
              <a:cxn ang="0">
                <a:pos x="connsiteX40568" y="connsiteY40568"/>
              </a:cxn>
              <a:cxn ang="0">
                <a:pos x="connsiteX40569" y="connsiteY40569"/>
              </a:cxn>
              <a:cxn ang="0">
                <a:pos x="connsiteX40570" y="connsiteY40570"/>
              </a:cxn>
              <a:cxn ang="0">
                <a:pos x="connsiteX40571" y="connsiteY40571"/>
              </a:cxn>
              <a:cxn ang="0">
                <a:pos x="connsiteX40572" y="connsiteY40572"/>
              </a:cxn>
              <a:cxn ang="0">
                <a:pos x="connsiteX40573" y="connsiteY40573"/>
              </a:cxn>
              <a:cxn ang="0">
                <a:pos x="connsiteX40574" y="connsiteY40574"/>
              </a:cxn>
              <a:cxn ang="0">
                <a:pos x="connsiteX40575" y="connsiteY40575"/>
              </a:cxn>
              <a:cxn ang="0">
                <a:pos x="connsiteX40576" y="connsiteY40576"/>
              </a:cxn>
              <a:cxn ang="0">
                <a:pos x="connsiteX40577" y="connsiteY40577"/>
              </a:cxn>
              <a:cxn ang="0">
                <a:pos x="connsiteX40578" y="connsiteY40578"/>
              </a:cxn>
              <a:cxn ang="0">
                <a:pos x="connsiteX40579" y="connsiteY40579"/>
              </a:cxn>
              <a:cxn ang="0">
                <a:pos x="connsiteX40580" y="connsiteY40580"/>
              </a:cxn>
              <a:cxn ang="0">
                <a:pos x="connsiteX40581" y="connsiteY40581"/>
              </a:cxn>
              <a:cxn ang="0">
                <a:pos x="connsiteX40582" y="connsiteY40582"/>
              </a:cxn>
              <a:cxn ang="0">
                <a:pos x="connsiteX40583" y="connsiteY40583"/>
              </a:cxn>
              <a:cxn ang="0">
                <a:pos x="connsiteX40584" y="connsiteY40584"/>
              </a:cxn>
              <a:cxn ang="0">
                <a:pos x="connsiteX40585" y="connsiteY40585"/>
              </a:cxn>
              <a:cxn ang="0">
                <a:pos x="connsiteX40586" y="connsiteY40586"/>
              </a:cxn>
              <a:cxn ang="0">
                <a:pos x="connsiteX40587" y="connsiteY40587"/>
              </a:cxn>
              <a:cxn ang="0">
                <a:pos x="connsiteX40588" y="connsiteY40588"/>
              </a:cxn>
              <a:cxn ang="0">
                <a:pos x="connsiteX40589" y="connsiteY40589"/>
              </a:cxn>
              <a:cxn ang="0">
                <a:pos x="connsiteX40590" y="connsiteY40590"/>
              </a:cxn>
              <a:cxn ang="0">
                <a:pos x="connsiteX40591" y="connsiteY40591"/>
              </a:cxn>
              <a:cxn ang="0">
                <a:pos x="connsiteX40592" y="connsiteY40592"/>
              </a:cxn>
              <a:cxn ang="0">
                <a:pos x="connsiteX40593" y="connsiteY40593"/>
              </a:cxn>
              <a:cxn ang="0">
                <a:pos x="connsiteX40594" y="connsiteY40594"/>
              </a:cxn>
              <a:cxn ang="0">
                <a:pos x="connsiteX40595" y="connsiteY40595"/>
              </a:cxn>
              <a:cxn ang="0">
                <a:pos x="connsiteX40596" y="connsiteY40596"/>
              </a:cxn>
              <a:cxn ang="0">
                <a:pos x="connsiteX40597" y="connsiteY40597"/>
              </a:cxn>
              <a:cxn ang="0">
                <a:pos x="connsiteX40598" y="connsiteY40598"/>
              </a:cxn>
              <a:cxn ang="0">
                <a:pos x="connsiteX40599" y="connsiteY40599"/>
              </a:cxn>
              <a:cxn ang="0">
                <a:pos x="connsiteX40600" y="connsiteY40600"/>
              </a:cxn>
              <a:cxn ang="0">
                <a:pos x="connsiteX40601" y="connsiteY40601"/>
              </a:cxn>
              <a:cxn ang="0">
                <a:pos x="connsiteX40602" y="connsiteY40602"/>
              </a:cxn>
              <a:cxn ang="0">
                <a:pos x="connsiteX40603" y="connsiteY40603"/>
              </a:cxn>
              <a:cxn ang="0">
                <a:pos x="connsiteX40604" y="connsiteY40604"/>
              </a:cxn>
              <a:cxn ang="0">
                <a:pos x="connsiteX40605" y="connsiteY40605"/>
              </a:cxn>
              <a:cxn ang="0">
                <a:pos x="connsiteX40606" y="connsiteY40606"/>
              </a:cxn>
              <a:cxn ang="0">
                <a:pos x="connsiteX40607" y="connsiteY40607"/>
              </a:cxn>
              <a:cxn ang="0">
                <a:pos x="connsiteX40608" y="connsiteY40608"/>
              </a:cxn>
              <a:cxn ang="0">
                <a:pos x="connsiteX40609" y="connsiteY40609"/>
              </a:cxn>
              <a:cxn ang="0">
                <a:pos x="connsiteX40610" y="connsiteY40610"/>
              </a:cxn>
              <a:cxn ang="0">
                <a:pos x="connsiteX40611" y="connsiteY40611"/>
              </a:cxn>
              <a:cxn ang="0">
                <a:pos x="connsiteX40612" y="connsiteY40612"/>
              </a:cxn>
              <a:cxn ang="0">
                <a:pos x="connsiteX40613" y="connsiteY40613"/>
              </a:cxn>
              <a:cxn ang="0">
                <a:pos x="connsiteX40614" y="connsiteY40614"/>
              </a:cxn>
              <a:cxn ang="0">
                <a:pos x="connsiteX40615" y="connsiteY40615"/>
              </a:cxn>
              <a:cxn ang="0">
                <a:pos x="connsiteX40616" y="connsiteY40616"/>
              </a:cxn>
              <a:cxn ang="0">
                <a:pos x="connsiteX40617" y="connsiteY40617"/>
              </a:cxn>
              <a:cxn ang="0">
                <a:pos x="connsiteX40618" y="connsiteY40618"/>
              </a:cxn>
              <a:cxn ang="0">
                <a:pos x="connsiteX40619" y="connsiteY40619"/>
              </a:cxn>
              <a:cxn ang="0">
                <a:pos x="connsiteX40620" y="connsiteY40620"/>
              </a:cxn>
              <a:cxn ang="0">
                <a:pos x="connsiteX40621" y="connsiteY40621"/>
              </a:cxn>
              <a:cxn ang="0">
                <a:pos x="connsiteX40622" y="connsiteY40622"/>
              </a:cxn>
              <a:cxn ang="0">
                <a:pos x="connsiteX40623" y="connsiteY40623"/>
              </a:cxn>
              <a:cxn ang="0">
                <a:pos x="connsiteX40624" y="connsiteY40624"/>
              </a:cxn>
              <a:cxn ang="0">
                <a:pos x="connsiteX40625" y="connsiteY40625"/>
              </a:cxn>
              <a:cxn ang="0">
                <a:pos x="connsiteX40626" y="connsiteY40626"/>
              </a:cxn>
              <a:cxn ang="0">
                <a:pos x="connsiteX40627" y="connsiteY40627"/>
              </a:cxn>
              <a:cxn ang="0">
                <a:pos x="connsiteX40628" y="connsiteY40628"/>
              </a:cxn>
              <a:cxn ang="0">
                <a:pos x="connsiteX40629" y="connsiteY40629"/>
              </a:cxn>
              <a:cxn ang="0">
                <a:pos x="connsiteX40630" y="connsiteY40630"/>
              </a:cxn>
              <a:cxn ang="0">
                <a:pos x="connsiteX40631" y="connsiteY40631"/>
              </a:cxn>
              <a:cxn ang="0">
                <a:pos x="connsiteX40632" y="connsiteY40632"/>
              </a:cxn>
              <a:cxn ang="0">
                <a:pos x="connsiteX40633" y="connsiteY40633"/>
              </a:cxn>
              <a:cxn ang="0">
                <a:pos x="connsiteX40634" y="connsiteY40634"/>
              </a:cxn>
              <a:cxn ang="0">
                <a:pos x="connsiteX40635" y="connsiteY40635"/>
              </a:cxn>
              <a:cxn ang="0">
                <a:pos x="connsiteX40636" y="connsiteY40636"/>
              </a:cxn>
              <a:cxn ang="0">
                <a:pos x="connsiteX40637" y="connsiteY40637"/>
              </a:cxn>
              <a:cxn ang="0">
                <a:pos x="connsiteX40638" y="connsiteY40638"/>
              </a:cxn>
              <a:cxn ang="0">
                <a:pos x="connsiteX40639" y="connsiteY40639"/>
              </a:cxn>
              <a:cxn ang="0">
                <a:pos x="connsiteX40640" y="connsiteY40640"/>
              </a:cxn>
              <a:cxn ang="0">
                <a:pos x="connsiteX40641" y="connsiteY40641"/>
              </a:cxn>
              <a:cxn ang="0">
                <a:pos x="connsiteX40642" y="connsiteY40642"/>
              </a:cxn>
              <a:cxn ang="0">
                <a:pos x="connsiteX40643" y="connsiteY40643"/>
              </a:cxn>
              <a:cxn ang="0">
                <a:pos x="connsiteX40644" y="connsiteY40644"/>
              </a:cxn>
              <a:cxn ang="0">
                <a:pos x="connsiteX40645" y="connsiteY40645"/>
              </a:cxn>
              <a:cxn ang="0">
                <a:pos x="connsiteX40646" y="connsiteY40646"/>
              </a:cxn>
              <a:cxn ang="0">
                <a:pos x="connsiteX40647" y="connsiteY40647"/>
              </a:cxn>
              <a:cxn ang="0">
                <a:pos x="connsiteX40648" y="connsiteY40648"/>
              </a:cxn>
              <a:cxn ang="0">
                <a:pos x="connsiteX40649" y="connsiteY40649"/>
              </a:cxn>
              <a:cxn ang="0">
                <a:pos x="connsiteX40650" y="connsiteY40650"/>
              </a:cxn>
              <a:cxn ang="0">
                <a:pos x="connsiteX40651" y="connsiteY40651"/>
              </a:cxn>
              <a:cxn ang="0">
                <a:pos x="connsiteX40652" y="connsiteY40652"/>
              </a:cxn>
              <a:cxn ang="0">
                <a:pos x="connsiteX40653" y="connsiteY40653"/>
              </a:cxn>
              <a:cxn ang="0">
                <a:pos x="connsiteX40654" y="connsiteY40654"/>
              </a:cxn>
              <a:cxn ang="0">
                <a:pos x="connsiteX40655" y="connsiteY40655"/>
              </a:cxn>
              <a:cxn ang="0">
                <a:pos x="connsiteX40656" y="connsiteY40656"/>
              </a:cxn>
              <a:cxn ang="0">
                <a:pos x="connsiteX40657" y="connsiteY40657"/>
              </a:cxn>
              <a:cxn ang="0">
                <a:pos x="connsiteX40658" y="connsiteY40658"/>
              </a:cxn>
              <a:cxn ang="0">
                <a:pos x="connsiteX40659" y="connsiteY40659"/>
              </a:cxn>
              <a:cxn ang="0">
                <a:pos x="connsiteX40660" y="connsiteY40660"/>
              </a:cxn>
              <a:cxn ang="0">
                <a:pos x="connsiteX40661" y="connsiteY40661"/>
              </a:cxn>
              <a:cxn ang="0">
                <a:pos x="connsiteX40662" y="connsiteY40662"/>
              </a:cxn>
              <a:cxn ang="0">
                <a:pos x="connsiteX40663" y="connsiteY40663"/>
              </a:cxn>
              <a:cxn ang="0">
                <a:pos x="connsiteX40664" y="connsiteY40664"/>
              </a:cxn>
              <a:cxn ang="0">
                <a:pos x="connsiteX40665" y="connsiteY40665"/>
              </a:cxn>
              <a:cxn ang="0">
                <a:pos x="connsiteX40666" y="connsiteY40666"/>
              </a:cxn>
              <a:cxn ang="0">
                <a:pos x="connsiteX40667" y="connsiteY40667"/>
              </a:cxn>
              <a:cxn ang="0">
                <a:pos x="connsiteX40668" y="connsiteY40668"/>
              </a:cxn>
              <a:cxn ang="0">
                <a:pos x="connsiteX40669" y="connsiteY40669"/>
              </a:cxn>
              <a:cxn ang="0">
                <a:pos x="connsiteX40670" y="connsiteY40670"/>
              </a:cxn>
              <a:cxn ang="0">
                <a:pos x="connsiteX40671" y="connsiteY40671"/>
              </a:cxn>
              <a:cxn ang="0">
                <a:pos x="connsiteX40672" y="connsiteY40672"/>
              </a:cxn>
              <a:cxn ang="0">
                <a:pos x="connsiteX40673" y="connsiteY40673"/>
              </a:cxn>
              <a:cxn ang="0">
                <a:pos x="connsiteX40674" y="connsiteY40674"/>
              </a:cxn>
              <a:cxn ang="0">
                <a:pos x="connsiteX40675" y="connsiteY40675"/>
              </a:cxn>
              <a:cxn ang="0">
                <a:pos x="connsiteX40676" y="connsiteY40676"/>
              </a:cxn>
              <a:cxn ang="0">
                <a:pos x="connsiteX40677" y="connsiteY40677"/>
              </a:cxn>
              <a:cxn ang="0">
                <a:pos x="connsiteX40678" y="connsiteY40678"/>
              </a:cxn>
              <a:cxn ang="0">
                <a:pos x="connsiteX40679" y="connsiteY40679"/>
              </a:cxn>
              <a:cxn ang="0">
                <a:pos x="connsiteX40680" y="connsiteY40680"/>
              </a:cxn>
              <a:cxn ang="0">
                <a:pos x="connsiteX40681" y="connsiteY40681"/>
              </a:cxn>
              <a:cxn ang="0">
                <a:pos x="connsiteX40682" y="connsiteY40682"/>
              </a:cxn>
              <a:cxn ang="0">
                <a:pos x="connsiteX40683" y="connsiteY40683"/>
              </a:cxn>
              <a:cxn ang="0">
                <a:pos x="connsiteX40684" y="connsiteY40684"/>
              </a:cxn>
              <a:cxn ang="0">
                <a:pos x="connsiteX40685" y="connsiteY40685"/>
              </a:cxn>
              <a:cxn ang="0">
                <a:pos x="connsiteX40686" y="connsiteY40686"/>
              </a:cxn>
              <a:cxn ang="0">
                <a:pos x="connsiteX40687" y="connsiteY40687"/>
              </a:cxn>
              <a:cxn ang="0">
                <a:pos x="connsiteX40688" y="connsiteY40688"/>
              </a:cxn>
              <a:cxn ang="0">
                <a:pos x="connsiteX40689" y="connsiteY40689"/>
              </a:cxn>
              <a:cxn ang="0">
                <a:pos x="connsiteX40690" y="connsiteY40690"/>
              </a:cxn>
              <a:cxn ang="0">
                <a:pos x="connsiteX40691" y="connsiteY40691"/>
              </a:cxn>
              <a:cxn ang="0">
                <a:pos x="connsiteX40692" y="connsiteY40692"/>
              </a:cxn>
              <a:cxn ang="0">
                <a:pos x="connsiteX40693" y="connsiteY40693"/>
              </a:cxn>
              <a:cxn ang="0">
                <a:pos x="connsiteX40694" y="connsiteY40694"/>
              </a:cxn>
              <a:cxn ang="0">
                <a:pos x="connsiteX40695" y="connsiteY40695"/>
              </a:cxn>
              <a:cxn ang="0">
                <a:pos x="connsiteX40696" y="connsiteY40696"/>
              </a:cxn>
              <a:cxn ang="0">
                <a:pos x="connsiteX40697" y="connsiteY40697"/>
              </a:cxn>
              <a:cxn ang="0">
                <a:pos x="connsiteX40698" y="connsiteY40698"/>
              </a:cxn>
              <a:cxn ang="0">
                <a:pos x="connsiteX40699" y="connsiteY40699"/>
              </a:cxn>
              <a:cxn ang="0">
                <a:pos x="connsiteX40700" y="connsiteY40700"/>
              </a:cxn>
              <a:cxn ang="0">
                <a:pos x="connsiteX40701" y="connsiteY40701"/>
              </a:cxn>
              <a:cxn ang="0">
                <a:pos x="connsiteX40702" y="connsiteY40702"/>
              </a:cxn>
              <a:cxn ang="0">
                <a:pos x="connsiteX40703" y="connsiteY40703"/>
              </a:cxn>
              <a:cxn ang="0">
                <a:pos x="connsiteX40704" y="connsiteY40704"/>
              </a:cxn>
              <a:cxn ang="0">
                <a:pos x="connsiteX40705" y="connsiteY40705"/>
              </a:cxn>
              <a:cxn ang="0">
                <a:pos x="connsiteX40706" y="connsiteY40706"/>
              </a:cxn>
              <a:cxn ang="0">
                <a:pos x="connsiteX40707" y="connsiteY40707"/>
              </a:cxn>
              <a:cxn ang="0">
                <a:pos x="connsiteX40708" y="connsiteY40708"/>
              </a:cxn>
              <a:cxn ang="0">
                <a:pos x="connsiteX40709" y="connsiteY40709"/>
              </a:cxn>
              <a:cxn ang="0">
                <a:pos x="connsiteX40710" y="connsiteY40710"/>
              </a:cxn>
              <a:cxn ang="0">
                <a:pos x="connsiteX40711" y="connsiteY40711"/>
              </a:cxn>
              <a:cxn ang="0">
                <a:pos x="connsiteX40712" y="connsiteY40712"/>
              </a:cxn>
              <a:cxn ang="0">
                <a:pos x="connsiteX40713" y="connsiteY40713"/>
              </a:cxn>
              <a:cxn ang="0">
                <a:pos x="connsiteX40714" y="connsiteY40714"/>
              </a:cxn>
              <a:cxn ang="0">
                <a:pos x="connsiteX40715" y="connsiteY40715"/>
              </a:cxn>
              <a:cxn ang="0">
                <a:pos x="connsiteX40716" y="connsiteY40716"/>
              </a:cxn>
              <a:cxn ang="0">
                <a:pos x="connsiteX40717" y="connsiteY40717"/>
              </a:cxn>
              <a:cxn ang="0">
                <a:pos x="connsiteX40718" y="connsiteY40718"/>
              </a:cxn>
              <a:cxn ang="0">
                <a:pos x="connsiteX40719" y="connsiteY40719"/>
              </a:cxn>
              <a:cxn ang="0">
                <a:pos x="connsiteX40720" y="connsiteY40720"/>
              </a:cxn>
              <a:cxn ang="0">
                <a:pos x="connsiteX40721" y="connsiteY40721"/>
              </a:cxn>
              <a:cxn ang="0">
                <a:pos x="connsiteX40722" y="connsiteY40722"/>
              </a:cxn>
              <a:cxn ang="0">
                <a:pos x="connsiteX40723" y="connsiteY40723"/>
              </a:cxn>
              <a:cxn ang="0">
                <a:pos x="connsiteX40724" y="connsiteY40724"/>
              </a:cxn>
              <a:cxn ang="0">
                <a:pos x="connsiteX40725" y="connsiteY40725"/>
              </a:cxn>
              <a:cxn ang="0">
                <a:pos x="connsiteX40726" y="connsiteY40726"/>
              </a:cxn>
              <a:cxn ang="0">
                <a:pos x="connsiteX40727" y="connsiteY40727"/>
              </a:cxn>
              <a:cxn ang="0">
                <a:pos x="connsiteX40728" y="connsiteY40728"/>
              </a:cxn>
              <a:cxn ang="0">
                <a:pos x="connsiteX40729" y="connsiteY40729"/>
              </a:cxn>
              <a:cxn ang="0">
                <a:pos x="connsiteX40730" y="connsiteY40730"/>
              </a:cxn>
              <a:cxn ang="0">
                <a:pos x="connsiteX40731" y="connsiteY40731"/>
              </a:cxn>
              <a:cxn ang="0">
                <a:pos x="connsiteX40732" y="connsiteY40732"/>
              </a:cxn>
              <a:cxn ang="0">
                <a:pos x="connsiteX40733" y="connsiteY40733"/>
              </a:cxn>
              <a:cxn ang="0">
                <a:pos x="connsiteX40734" y="connsiteY40734"/>
              </a:cxn>
              <a:cxn ang="0">
                <a:pos x="connsiteX40735" y="connsiteY40735"/>
              </a:cxn>
              <a:cxn ang="0">
                <a:pos x="connsiteX40736" y="connsiteY40736"/>
              </a:cxn>
              <a:cxn ang="0">
                <a:pos x="connsiteX40737" y="connsiteY40737"/>
              </a:cxn>
              <a:cxn ang="0">
                <a:pos x="connsiteX40738" y="connsiteY40738"/>
              </a:cxn>
              <a:cxn ang="0">
                <a:pos x="connsiteX40739" y="connsiteY40739"/>
              </a:cxn>
              <a:cxn ang="0">
                <a:pos x="connsiteX40740" y="connsiteY40740"/>
              </a:cxn>
              <a:cxn ang="0">
                <a:pos x="connsiteX40741" y="connsiteY40741"/>
              </a:cxn>
              <a:cxn ang="0">
                <a:pos x="connsiteX40742" y="connsiteY40742"/>
              </a:cxn>
              <a:cxn ang="0">
                <a:pos x="connsiteX40743" y="connsiteY40743"/>
              </a:cxn>
              <a:cxn ang="0">
                <a:pos x="connsiteX40744" y="connsiteY40744"/>
              </a:cxn>
              <a:cxn ang="0">
                <a:pos x="connsiteX40745" y="connsiteY40745"/>
              </a:cxn>
              <a:cxn ang="0">
                <a:pos x="connsiteX40746" y="connsiteY40746"/>
              </a:cxn>
              <a:cxn ang="0">
                <a:pos x="connsiteX40747" y="connsiteY40747"/>
              </a:cxn>
              <a:cxn ang="0">
                <a:pos x="connsiteX40748" y="connsiteY40748"/>
              </a:cxn>
              <a:cxn ang="0">
                <a:pos x="connsiteX40749" y="connsiteY40749"/>
              </a:cxn>
              <a:cxn ang="0">
                <a:pos x="connsiteX40750" y="connsiteY40750"/>
              </a:cxn>
              <a:cxn ang="0">
                <a:pos x="connsiteX40751" y="connsiteY40751"/>
              </a:cxn>
              <a:cxn ang="0">
                <a:pos x="connsiteX40752" y="connsiteY40752"/>
              </a:cxn>
              <a:cxn ang="0">
                <a:pos x="connsiteX40753" y="connsiteY40753"/>
              </a:cxn>
              <a:cxn ang="0">
                <a:pos x="connsiteX40754" y="connsiteY40754"/>
              </a:cxn>
              <a:cxn ang="0">
                <a:pos x="connsiteX40755" y="connsiteY40755"/>
              </a:cxn>
              <a:cxn ang="0">
                <a:pos x="connsiteX40756" y="connsiteY40756"/>
              </a:cxn>
              <a:cxn ang="0">
                <a:pos x="connsiteX40757" y="connsiteY40757"/>
              </a:cxn>
              <a:cxn ang="0">
                <a:pos x="connsiteX40758" y="connsiteY40758"/>
              </a:cxn>
              <a:cxn ang="0">
                <a:pos x="connsiteX40759" y="connsiteY40759"/>
              </a:cxn>
              <a:cxn ang="0">
                <a:pos x="connsiteX40760" y="connsiteY40760"/>
              </a:cxn>
              <a:cxn ang="0">
                <a:pos x="connsiteX40761" y="connsiteY40761"/>
              </a:cxn>
              <a:cxn ang="0">
                <a:pos x="connsiteX40762" y="connsiteY40762"/>
              </a:cxn>
              <a:cxn ang="0">
                <a:pos x="connsiteX40763" y="connsiteY40763"/>
              </a:cxn>
              <a:cxn ang="0">
                <a:pos x="connsiteX40764" y="connsiteY40764"/>
              </a:cxn>
              <a:cxn ang="0">
                <a:pos x="connsiteX40765" y="connsiteY40765"/>
              </a:cxn>
              <a:cxn ang="0">
                <a:pos x="connsiteX40766" y="connsiteY40766"/>
              </a:cxn>
              <a:cxn ang="0">
                <a:pos x="connsiteX40767" y="connsiteY40767"/>
              </a:cxn>
              <a:cxn ang="0">
                <a:pos x="connsiteX40768" y="connsiteY40768"/>
              </a:cxn>
              <a:cxn ang="0">
                <a:pos x="connsiteX40769" y="connsiteY40769"/>
              </a:cxn>
              <a:cxn ang="0">
                <a:pos x="connsiteX40770" y="connsiteY40770"/>
              </a:cxn>
              <a:cxn ang="0">
                <a:pos x="connsiteX40771" y="connsiteY40771"/>
              </a:cxn>
              <a:cxn ang="0">
                <a:pos x="connsiteX40772" y="connsiteY40772"/>
              </a:cxn>
              <a:cxn ang="0">
                <a:pos x="connsiteX40773" y="connsiteY40773"/>
              </a:cxn>
              <a:cxn ang="0">
                <a:pos x="connsiteX40774" y="connsiteY40774"/>
              </a:cxn>
              <a:cxn ang="0">
                <a:pos x="connsiteX40775" y="connsiteY40775"/>
              </a:cxn>
              <a:cxn ang="0">
                <a:pos x="connsiteX40776" y="connsiteY40776"/>
              </a:cxn>
              <a:cxn ang="0">
                <a:pos x="connsiteX40777" y="connsiteY40777"/>
              </a:cxn>
              <a:cxn ang="0">
                <a:pos x="connsiteX40778" y="connsiteY40778"/>
              </a:cxn>
              <a:cxn ang="0">
                <a:pos x="connsiteX40779" y="connsiteY40779"/>
              </a:cxn>
              <a:cxn ang="0">
                <a:pos x="connsiteX40780" y="connsiteY40780"/>
              </a:cxn>
              <a:cxn ang="0">
                <a:pos x="connsiteX40781" y="connsiteY40781"/>
              </a:cxn>
              <a:cxn ang="0">
                <a:pos x="connsiteX40782" y="connsiteY40782"/>
              </a:cxn>
              <a:cxn ang="0">
                <a:pos x="connsiteX40783" y="connsiteY40783"/>
              </a:cxn>
              <a:cxn ang="0">
                <a:pos x="connsiteX40784" y="connsiteY40784"/>
              </a:cxn>
              <a:cxn ang="0">
                <a:pos x="connsiteX40785" y="connsiteY40785"/>
              </a:cxn>
              <a:cxn ang="0">
                <a:pos x="connsiteX40786" y="connsiteY40786"/>
              </a:cxn>
              <a:cxn ang="0">
                <a:pos x="connsiteX40787" y="connsiteY40787"/>
              </a:cxn>
              <a:cxn ang="0">
                <a:pos x="connsiteX40788" y="connsiteY40788"/>
              </a:cxn>
              <a:cxn ang="0">
                <a:pos x="connsiteX40789" y="connsiteY40789"/>
              </a:cxn>
              <a:cxn ang="0">
                <a:pos x="connsiteX40790" y="connsiteY40790"/>
              </a:cxn>
              <a:cxn ang="0">
                <a:pos x="connsiteX40791" y="connsiteY40791"/>
              </a:cxn>
              <a:cxn ang="0">
                <a:pos x="connsiteX40792" y="connsiteY40792"/>
              </a:cxn>
              <a:cxn ang="0">
                <a:pos x="connsiteX40793" y="connsiteY40793"/>
              </a:cxn>
              <a:cxn ang="0">
                <a:pos x="connsiteX40794" y="connsiteY40794"/>
              </a:cxn>
              <a:cxn ang="0">
                <a:pos x="connsiteX40795" y="connsiteY40795"/>
              </a:cxn>
              <a:cxn ang="0">
                <a:pos x="connsiteX40796" y="connsiteY40796"/>
              </a:cxn>
              <a:cxn ang="0">
                <a:pos x="connsiteX40797" y="connsiteY40797"/>
              </a:cxn>
              <a:cxn ang="0">
                <a:pos x="connsiteX40798" y="connsiteY40798"/>
              </a:cxn>
              <a:cxn ang="0">
                <a:pos x="connsiteX40799" y="connsiteY40799"/>
              </a:cxn>
              <a:cxn ang="0">
                <a:pos x="connsiteX40800" y="connsiteY40800"/>
              </a:cxn>
              <a:cxn ang="0">
                <a:pos x="connsiteX40801" y="connsiteY40801"/>
              </a:cxn>
              <a:cxn ang="0">
                <a:pos x="connsiteX40802" y="connsiteY40802"/>
              </a:cxn>
              <a:cxn ang="0">
                <a:pos x="connsiteX40803" y="connsiteY40803"/>
              </a:cxn>
              <a:cxn ang="0">
                <a:pos x="connsiteX40804" y="connsiteY40804"/>
              </a:cxn>
              <a:cxn ang="0">
                <a:pos x="connsiteX40805" y="connsiteY40805"/>
              </a:cxn>
              <a:cxn ang="0">
                <a:pos x="connsiteX40806" y="connsiteY40806"/>
              </a:cxn>
              <a:cxn ang="0">
                <a:pos x="connsiteX40807" y="connsiteY40807"/>
              </a:cxn>
              <a:cxn ang="0">
                <a:pos x="connsiteX40808" y="connsiteY40808"/>
              </a:cxn>
              <a:cxn ang="0">
                <a:pos x="connsiteX40809" y="connsiteY40809"/>
              </a:cxn>
              <a:cxn ang="0">
                <a:pos x="connsiteX40810" y="connsiteY40810"/>
              </a:cxn>
              <a:cxn ang="0">
                <a:pos x="connsiteX40811" y="connsiteY40811"/>
              </a:cxn>
              <a:cxn ang="0">
                <a:pos x="connsiteX40812" y="connsiteY40812"/>
              </a:cxn>
              <a:cxn ang="0">
                <a:pos x="connsiteX40813" y="connsiteY40813"/>
              </a:cxn>
              <a:cxn ang="0">
                <a:pos x="connsiteX40814" y="connsiteY40814"/>
              </a:cxn>
              <a:cxn ang="0">
                <a:pos x="connsiteX40815" y="connsiteY40815"/>
              </a:cxn>
              <a:cxn ang="0">
                <a:pos x="connsiteX40816" y="connsiteY40816"/>
              </a:cxn>
              <a:cxn ang="0">
                <a:pos x="connsiteX40817" y="connsiteY40817"/>
              </a:cxn>
              <a:cxn ang="0">
                <a:pos x="connsiteX40818" y="connsiteY40818"/>
              </a:cxn>
              <a:cxn ang="0">
                <a:pos x="connsiteX40819" y="connsiteY40819"/>
              </a:cxn>
              <a:cxn ang="0">
                <a:pos x="connsiteX40820" y="connsiteY40820"/>
              </a:cxn>
              <a:cxn ang="0">
                <a:pos x="connsiteX40821" y="connsiteY40821"/>
              </a:cxn>
              <a:cxn ang="0">
                <a:pos x="connsiteX40822" y="connsiteY40822"/>
              </a:cxn>
              <a:cxn ang="0">
                <a:pos x="connsiteX40823" y="connsiteY40823"/>
              </a:cxn>
              <a:cxn ang="0">
                <a:pos x="connsiteX40824" y="connsiteY40824"/>
              </a:cxn>
              <a:cxn ang="0">
                <a:pos x="connsiteX40825" y="connsiteY40825"/>
              </a:cxn>
              <a:cxn ang="0">
                <a:pos x="connsiteX40826" y="connsiteY40826"/>
              </a:cxn>
              <a:cxn ang="0">
                <a:pos x="connsiteX40827" y="connsiteY40827"/>
              </a:cxn>
              <a:cxn ang="0">
                <a:pos x="connsiteX40828" y="connsiteY40828"/>
              </a:cxn>
              <a:cxn ang="0">
                <a:pos x="connsiteX40829" y="connsiteY40829"/>
              </a:cxn>
              <a:cxn ang="0">
                <a:pos x="connsiteX40830" y="connsiteY40830"/>
              </a:cxn>
              <a:cxn ang="0">
                <a:pos x="connsiteX40831" y="connsiteY40831"/>
              </a:cxn>
              <a:cxn ang="0">
                <a:pos x="connsiteX40832" y="connsiteY40832"/>
              </a:cxn>
              <a:cxn ang="0">
                <a:pos x="connsiteX40833" y="connsiteY40833"/>
              </a:cxn>
              <a:cxn ang="0">
                <a:pos x="connsiteX40834" y="connsiteY40834"/>
              </a:cxn>
              <a:cxn ang="0">
                <a:pos x="connsiteX40835" y="connsiteY40835"/>
              </a:cxn>
              <a:cxn ang="0">
                <a:pos x="connsiteX40836" y="connsiteY40836"/>
              </a:cxn>
              <a:cxn ang="0">
                <a:pos x="connsiteX40837" y="connsiteY40837"/>
              </a:cxn>
              <a:cxn ang="0">
                <a:pos x="connsiteX40838" y="connsiteY40838"/>
              </a:cxn>
              <a:cxn ang="0">
                <a:pos x="connsiteX40839" y="connsiteY40839"/>
              </a:cxn>
              <a:cxn ang="0">
                <a:pos x="connsiteX40840" y="connsiteY40840"/>
              </a:cxn>
              <a:cxn ang="0">
                <a:pos x="connsiteX40841" y="connsiteY40841"/>
              </a:cxn>
              <a:cxn ang="0">
                <a:pos x="connsiteX40842" y="connsiteY40842"/>
              </a:cxn>
              <a:cxn ang="0">
                <a:pos x="connsiteX40843" y="connsiteY40843"/>
              </a:cxn>
              <a:cxn ang="0">
                <a:pos x="connsiteX40844" y="connsiteY40844"/>
              </a:cxn>
              <a:cxn ang="0">
                <a:pos x="connsiteX40845" y="connsiteY40845"/>
              </a:cxn>
              <a:cxn ang="0">
                <a:pos x="connsiteX40846" y="connsiteY40846"/>
              </a:cxn>
              <a:cxn ang="0">
                <a:pos x="connsiteX40847" y="connsiteY40847"/>
              </a:cxn>
              <a:cxn ang="0">
                <a:pos x="connsiteX40848" y="connsiteY40848"/>
              </a:cxn>
              <a:cxn ang="0">
                <a:pos x="connsiteX40849" y="connsiteY40849"/>
              </a:cxn>
              <a:cxn ang="0">
                <a:pos x="connsiteX40850" y="connsiteY40850"/>
              </a:cxn>
              <a:cxn ang="0">
                <a:pos x="connsiteX40851" y="connsiteY40851"/>
              </a:cxn>
              <a:cxn ang="0">
                <a:pos x="connsiteX40852" y="connsiteY40852"/>
              </a:cxn>
              <a:cxn ang="0">
                <a:pos x="connsiteX40853" y="connsiteY40853"/>
              </a:cxn>
              <a:cxn ang="0">
                <a:pos x="connsiteX40854" y="connsiteY40854"/>
              </a:cxn>
              <a:cxn ang="0">
                <a:pos x="connsiteX40855" y="connsiteY40855"/>
              </a:cxn>
              <a:cxn ang="0">
                <a:pos x="connsiteX40856" y="connsiteY40856"/>
              </a:cxn>
              <a:cxn ang="0">
                <a:pos x="connsiteX40857" y="connsiteY40857"/>
              </a:cxn>
              <a:cxn ang="0">
                <a:pos x="connsiteX40858" y="connsiteY40858"/>
              </a:cxn>
              <a:cxn ang="0">
                <a:pos x="connsiteX40859" y="connsiteY40859"/>
              </a:cxn>
              <a:cxn ang="0">
                <a:pos x="connsiteX40860" y="connsiteY40860"/>
              </a:cxn>
              <a:cxn ang="0">
                <a:pos x="connsiteX40861" y="connsiteY40861"/>
              </a:cxn>
              <a:cxn ang="0">
                <a:pos x="connsiteX40862" y="connsiteY40862"/>
              </a:cxn>
              <a:cxn ang="0">
                <a:pos x="connsiteX40863" y="connsiteY40863"/>
              </a:cxn>
              <a:cxn ang="0">
                <a:pos x="connsiteX40864" y="connsiteY40864"/>
              </a:cxn>
              <a:cxn ang="0">
                <a:pos x="connsiteX40865" y="connsiteY40865"/>
              </a:cxn>
              <a:cxn ang="0">
                <a:pos x="connsiteX40866" y="connsiteY40866"/>
              </a:cxn>
              <a:cxn ang="0">
                <a:pos x="connsiteX40867" y="connsiteY40867"/>
              </a:cxn>
              <a:cxn ang="0">
                <a:pos x="connsiteX40868" y="connsiteY40868"/>
              </a:cxn>
              <a:cxn ang="0">
                <a:pos x="connsiteX40869" y="connsiteY40869"/>
              </a:cxn>
              <a:cxn ang="0">
                <a:pos x="connsiteX40870" y="connsiteY40870"/>
              </a:cxn>
              <a:cxn ang="0">
                <a:pos x="connsiteX40871" y="connsiteY40871"/>
              </a:cxn>
              <a:cxn ang="0">
                <a:pos x="connsiteX40872" y="connsiteY40872"/>
              </a:cxn>
              <a:cxn ang="0">
                <a:pos x="connsiteX40873" y="connsiteY40873"/>
              </a:cxn>
              <a:cxn ang="0">
                <a:pos x="connsiteX40874" y="connsiteY40874"/>
              </a:cxn>
              <a:cxn ang="0">
                <a:pos x="connsiteX40875" y="connsiteY40875"/>
              </a:cxn>
              <a:cxn ang="0">
                <a:pos x="connsiteX40876" y="connsiteY40876"/>
              </a:cxn>
              <a:cxn ang="0">
                <a:pos x="connsiteX40877" y="connsiteY40877"/>
              </a:cxn>
              <a:cxn ang="0">
                <a:pos x="connsiteX40878" y="connsiteY40878"/>
              </a:cxn>
              <a:cxn ang="0">
                <a:pos x="connsiteX40879" y="connsiteY40879"/>
              </a:cxn>
              <a:cxn ang="0">
                <a:pos x="connsiteX40880" y="connsiteY40880"/>
              </a:cxn>
              <a:cxn ang="0">
                <a:pos x="connsiteX40881" y="connsiteY40881"/>
              </a:cxn>
              <a:cxn ang="0">
                <a:pos x="connsiteX40882" y="connsiteY40882"/>
              </a:cxn>
              <a:cxn ang="0">
                <a:pos x="connsiteX40883" y="connsiteY40883"/>
              </a:cxn>
              <a:cxn ang="0">
                <a:pos x="connsiteX40884" y="connsiteY40884"/>
              </a:cxn>
              <a:cxn ang="0">
                <a:pos x="connsiteX40885" y="connsiteY40885"/>
              </a:cxn>
              <a:cxn ang="0">
                <a:pos x="connsiteX40886" y="connsiteY40886"/>
              </a:cxn>
              <a:cxn ang="0">
                <a:pos x="connsiteX40887" y="connsiteY40887"/>
              </a:cxn>
              <a:cxn ang="0">
                <a:pos x="connsiteX40888" y="connsiteY40888"/>
              </a:cxn>
              <a:cxn ang="0">
                <a:pos x="connsiteX40889" y="connsiteY40889"/>
              </a:cxn>
              <a:cxn ang="0">
                <a:pos x="connsiteX40890" y="connsiteY40890"/>
              </a:cxn>
              <a:cxn ang="0">
                <a:pos x="connsiteX40891" y="connsiteY40891"/>
              </a:cxn>
              <a:cxn ang="0">
                <a:pos x="connsiteX40892" y="connsiteY40892"/>
              </a:cxn>
              <a:cxn ang="0">
                <a:pos x="connsiteX40893" y="connsiteY40893"/>
              </a:cxn>
              <a:cxn ang="0">
                <a:pos x="connsiteX40894" y="connsiteY40894"/>
              </a:cxn>
              <a:cxn ang="0">
                <a:pos x="connsiteX40895" y="connsiteY40895"/>
              </a:cxn>
              <a:cxn ang="0">
                <a:pos x="connsiteX40896" y="connsiteY40896"/>
              </a:cxn>
              <a:cxn ang="0">
                <a:pos x="connsiteX40897" y="connsiteY40897"/>
              </a:cxn>
              <a:cxn ang="0">
                <a:pos x="connsiteX40898" y="connsiteY40898"/>
              </a:cxn>
              <a:cxn ang="0">
                <a:pos x="connsiteX40899" y="connsiteY40899"/>
              </a:cxn>
              <a:cxn ang="0">
                <a:pos x="connsiteX40900" y="connsiteY40900"/>
              </a:cxn>
              <a:cxn ang="0">
                <a:pos x="connsiteX40901" y="connsiteY40901"/>
              </a:cxn>
              <a:cxn ang="0">
                <a:pos x="connsiteX40902" y="connsiteY40902"/>
              </a:cxn>
              <a:cxn ang="0">
                <a:pos x="connsiteX40903" y="connsiteY40903"/>
              </a:cxn>
              <a:cxn ang="0">
                <a:pos x="connsiteX40904" y="connsiteY40904"/>
              </a:cxn>
              <a:cxn ang="0">
                <a:pos x="connsiteX40905" y="connsiteY40905"/>
              </a:cxn>
              <a:cxn ang="0">
                <a:pos x="connsiteX40906" y="connsiteY40906"/>
              </a:cxn>
              <a:cxn ang="0">
                <a:pos x="connsiteX40907" y="connsiteY40907"/>
              </a:cxn>
              <a:cxn ang="0">
                <a:pos x="connsiteX40908" y="connsiteY40908"/>
              </a:cxn>
              <a:cxn ang="0">
                <a:pos x="connsiteX40909" y="connsiteY40909"/>
              </a:cxn>
              <a:cxn ang="0">
                <a:pos x="connsiteX40910" y="connsiteY40910"/>
              </a:cxn>
              <a:cxn ang="0">
                <a:pos x="connsiteX40911" y="connsiteY40911"/>
              </a:cxn>
              <a:cxn ang="0">
                <a:pos x="connsiteX40912" y="connsiteY40912"/>
              </a:cxn>
              <a:cxn ang="0">
                <a:pos x="connsiteX40913" y="connsiteY40913"/>
              </a:cxn>
              <a:cxn ang="0">
                <a:pos x="connsiteX40914" y="connsiteY40914"/>
              </a:cxn>
              <a:cxn ang="0">
                <a:pos x="connsiteX40915" y="connsiteY40915"/>
              </a:cxn>
              <a:cxn ang="0">
                <a:pos x="connsiteX40916" y="connsiteY40916"/>
              </a:cxn>
              <a:cxn ang="0">
                <a:pos x="connsiteX40917" y="connsiteY40917"/>
              </a:cxn>
              <a:cxn ang="0">
                <a:pos x="connsiteX40918" y="connsiteY40918"/>
              </a:cxn>
              <a:cxn ang="0">
                <a:pos x="connsiteX40919" y="connsiteY40919"/>
              </a:cxn>
              <a:cxn ang="0">
                <a:pos x="connsiteX40920" y="connsiteY40920"/>
              </a:cxn>
              <a:cxn ang="0">
                <a:pos x="connsiteX40921" y="connsiteY40921"/>
              </a:cxn>
              <a:cxn ang="0">
                <a:pos x="connsiteX40922" y="connsiteY40922"/>
              </a:cxn>
              <a:cxn ang="0">
                <a:pos x="connsiteX40923" y="connsiteY40923"/>
              </a:cxn>
              <a:cxn ang="0">
                <a:pos x="connsiteX40924" y="connsiteY40924"/>
              </a:cxn>
              <a:cxn ang="0">
                <a:pos x="connsiteX40925" y="connsiteY40925"/>
              </a:cxn>
              <a:cxn ang="0">
                <a:pos x="connsiteX40926" y="connsiteY40926"/>
              </a:cxn>
              <a:cxn ang="0">
                <a:pos x="connsiteX40927" y="connsiteY40927"/>
              </a:cxn>
              <a:cxn ang="0">
                <a:pos x="connsiteX40928" y="connsiteY40928"/>
              </a:cxn>
              <a:cxn ang="0">
                <a:pos x="connsiteX40929" y="connsiteY40929"/>
              </a:cxn>
              <a:cxn ang="0">
                <a:pos x="connsiteX40930" y="connsiteY40930"/>
              </a:cxn>
              <a:cxn ang="0">
                <a:pos x="connsiteX40931" y="connsiteY40931"/>
              </a:cxn>
              <a:cxn ang="0">
                <a:pos x="connsiteX40932" y="connsiteY40932"/>
              </a:cxn>
              <a:cxn ang="0">
                <a:pos x="connsiteX40933" y="connsiteY40933"/>
              </a:cxn>
              <a:cxn ang="0">
                <a:pos x="connsiteX40934" y="connsiteY40934"/>
              </a:cxn>
              <a:cxn ang="0">
                <a:pos x="connsiteX40935" y="connsiteY40935"/>
              </a:cxn>
              <a:cxn ang="0">
                <a:pos x="connsiteX40936" y="connsiteY40936"/>
              </a:cxn>
              <a:cxn ang="0">
                <a:pos x="connsiteX40937" y="connsiteY40937"/>
              </a:cxn>
              <a:cxn ang="0">
                <a:pos x="connsiteX40938" y="connsiteY40938"/>
              </a:cxn>
              <a:cxn ang="0">
                <a:pos x="connsiteX40939" y="connsiteY40939"/>
              </a:cxn>
              <a:cxn ang="0">
                <a:pos x="connsiteX40940" y="connsiteY40940"/>
              </a:cxn>
              <a:cxn ang="0">
                <a:pos x="connsiteX40941" y="connsiteY40941"/>
              </a:cxn>
              <a:cxn ang="0">
                <a:pos x="connsiteX40942" y="connsiteY40942"/>
              </a:cxn>
              <a:cxn ang="0">
                <a:pos x="connsiteX40943" y="connsiteY40943"/>
              </a:cxn>
              <a:cxn ang="0">
                <a:pos x="connsiteX40944" y="connsiteY40944"/>
              </a:cxn>
              <a:cxn ang="0">
                <a:pos x="connsiteX40945" y="connsiteY40945"/>
              </a:cxn>
              <a:cxn ang="0">
                <a:pos x="connsiteX40946" y="connsiteY40946"/>
              </a:cxn>
              <a:cxn ang="0">
                <a:pos x="connsiteX40947" y="connsiteY40947"/>
              </a:cxn>
              <a:cxn ang="0">
                <a:pos x="connsiteX40948" y="connsiteY40948"/>
              </a:cxn>
              <a:cxn ang="0">
                <a:pos x="connsiteX40949" y="connsiteY40949"/>
              </a:cxn>
              <a:cxn ang="0">
                <a:pos x="connsiteX40950" y="connsiteY40950"/>
              </a:cxn>
              <a:cxn ang="0">
                <a:pos x="connsiteX40951" y="connsiteY40951"/>
              </a:cxn>
              <a:cxn ang="0">
                <a:pos x="connsiteX40952" y="connsiteY40952"/>
              </a:cxn>
              <a:cxn ang="0">
                <a:pos x="connsiteX40953" y="connsiteY40953"/>
              </a:cxn>
              <a:cxn ang="0">
                <a:pos x="connsiteX40954" y="connsiteY40954"/>
              </a:cxn>
              <a:cxn ang="0">
                <a:pos x="connsiteX40955" y="connsiteY40955"/>
              </a:cxn>
              <a:cxn ang="0">
                <a:pos x="connsiteX40956" y="connsiteY40956"/>
              </a:cxn>
              <a:cxn ang="0">
                <a:pos x="connsiteX40957" y="connsiteY40957"/>
              </a:cxn>
              <a:cxn ang="0">
                <a:pos x="connsiteX40958" y="connsiteY40958"/>
              </a:cxn>
              <a:cxn ang="0">
                <a:pos x="connsiteX40959" y="connsiteY40959"/>
              </a:cxn>
              <a:cxn ang="0">
                <a:pos x="connsiteX40960" y="connsiteY40960"/>
              </a:cxn>
              <a:cxn ang="0">
                <a:pos x="connsiteX40961" y="connsiteY40961"/>
              </a:cxn>
              <a:cxn ang="0">
                <a:pos x="connsiteX40962" y="connsiteY40962"/>
              </a:cxn>
              <a:cxn ang="0">
                <a:pos x="connsiteX40963" y="connsiteY40963"/>
              </a:cxn>
              <a:cxn ang="0">
                <a:pos x="connsiteX40964" y="connsiteY40964"/>
              </a:cxn>
              <a:cxn ang="0">
                <a:pos x="connsiteX40965" y="connsiteY40965"/>
              </a:cxn>
              <a:cxn ang="0">
                <a:pos x="connsiteX40966" y="connsiteY40966"/>
              </a:cxn>
              <a:cxn ang="0">
                <a:pos x="connsiteX40967" y="connsiteY40967"/>
              </a:cxn>
              <a:cxn ang="0">
                <a:pos x="connsiteX40968" y="connsiteY40968"/>
              </a:cxn>
              <a:cxn ang="0">
                <a:pos x="connsiteX40969" y="connsiteY40969"/>
              </a:cxn>
              <a:cxn ang="0">
                <a:pos x="connsiteX40970" y="connsiteY40970"/>
              </a:cxn>
              <a:cxn ang="0">
                <a:pos x="connsiteX40971" y="connsiteY40971"/>
              </a:cxn>
              <a:cxn ang="0">
                <a:pos x="connsiteX40972" y="connsiteY40972"/>
              </a:cxn>
              <a:cxn ang="0">
                <a:pos x="connsiteX40973" y="connsiteY40973"/>
              </a:cxn>
              <a:cxn ang="0">
                <a:pos x="connsiteX40974" y="connsiteY40974"/>
              </a:cxn>
              <a:cxn ang="0">
                <a:pos x="connsiteX40975" y="connsiteY40975"/>
              </a:cxn>
              <a:cxn ang="0">
                <a:pos x="connsiteX40976" y="connsiteY40976"/>
              </a:cxn>
              <a:cxn ang="0">
                <a:pos x="connsiteX40977" y="connsiteY40977"/>
              </a:cxn>
              <a:cxn ang="0">
                <a:pos x="connsiteX40978" y="connsiteY40978"/>
              </a:cxn>
              <a:cxn ang="0">
                <a:pos x="connsiteX40979" y="connsiteY40979"/>
              </a:cxn>
              <a:cxn ang="0">
                <a:pos x="connsiteX40980" y="connsiteY40980"/>
              </a:cxn>
              <a:cxn ang="0">
                <a:pos x="connsiteX40981" y="connsiteY40981"/>
              </a:cxn>
              <a:cxn ang="0">
                <a:pos x="connsiteX40982" y="connsiteY40982"/>
              </a:cxn>
              <a:cxn ang="0">
                <a:pos x="connsiteX40983" y="connsiteY40983"/>
              </a:cxn>
              <a:cxn ang="0">
                <a:pos x="connsiteX40984" y="connsiteY40984"/>
              </a:cxn>
              <a:cxn ang="0">
                <a:pos x="connsiteX40985" y="connsiteY40985"/>
              </a:cxn>
              <a:cxn ang="0">
                <a:pos x="connsiteX40986" y="connsiteY40986"/>
              </a:cxn>
              <a:cxn ang="0">
                <a:pos x="connsiteX40987" y="connsiteY40987"/>
              </a:cxn>
              <a:cxn ang="0">
                <a:pos x="connsiteX40988" y="connsiteY40988"/>
              </a:cxn>
              <a:cxn ang="0">
                <a:pos x="connsiteX40989" y="connsiteY40989"/>
              </a:cxn>
              <a:cxn ang="0">
                <a:pos x="connsiteX40990" y="connsiteY40990"/>
              </a:cxn>
              <a:cxn ang="0">
                <a:pos x="connsiteX40991" y="connsiteY40991"/>
              </a:cxn>
              <a:cxn ang="0">
                <a:pos x="connsiteX40992" y="connsiteY40992"/>
              </a:cxn>
              <a:cxn ang="0">
                <a:pos x="connsiteX40993" y="connsiteY40993"/>
              </a:cxn>
              <a:cxn ang="0">
                <a:pos x="connsiteX40994" y="connsiteY40994"/>
              </a:cxn>
              <a:cxn ang="0">
                <a:pos x="connsiteX40995" y="connsiteY40995"/>
              </a:cxn>
              <a:cxn ang="0">
                <a:pos x="connsiteX40996" y="connsiteY40996"/>
              </a:cxn>
              <a:cxn ang="0">
                <a:pos x="connsiteX40997" y="connsiteY40997"/>
              </a:cxn>
              <a:cxn ang="0">
                <a:pos x="connsiteX40998" y="connsiteY40998"/>
              </a:cxn>
              <a:cxn ang="0">
                <a:pos x="connsiteX40999" y="connsiteY40999"/>
              </a:cxn>
              <a:cxn ang="0">
                <a:pos x="connsiteX41000" y="connsiteY41000"/>
              </a:cxn>
              <a:cxn ang="0">
                <a:pos x="connsiteX41001" y="connsiteY41001"/>
              </a:cxn>
              <a:cxn ang="0">
                <a:pos x="connsiteX41002" y="connsiteY41002"/>
              </a:cxn>
              <a:cxn ang="0">
                <a:pos x="connsiteX41003" y="connsiteY41003"/>
              </a:cxn>
              <a:cxn ang="0">
                <a:pos x="connsiteX41004" y="connsiteY41004"/>
              </a:cxn>
              <a:cxn ang="0">
                <a:pos x="connsiteX41005" y="connsiteY41005"/>
              </a:cxn>
              <a:cxn ang="0">
                <a:pos x="connsiteX41006" y="connsiteY41006"/>
              </a:cxn>
              <a:cxn ang="0">
                <a:pos x="connsiteX41007" y="connsiteY41007"/>
              </a:cxn>
              <a:cxn ang="0">
                <a:pos x="connsiteX41008" y="connsiteY41008"/>
              </a:cxn>
              <a:cxn ang="0">
                <a:pos x="connsiteX41009" y="connsiteY41009"/>
              </a:cxn>
              <a:cxn ang="0">
                <a:pos x="connsiteX41010" y="connsiteY41010"/>
              </a:cxn>
              <a:cxn ang="0">
                <a:pos x="connsiteX41011" y="connsiteY41011"/>
              </a:cxn>
              <a:cxn ang="0">
                <a:pos x="connsiteX41012" y="connsiteY41012"/>
              </a:cxn>
              <a:cxn ang="0">
                <a:pos x="connsiteX41013" y="connsiteY41013"/>
              </a:cxn>
              <a:cxn ang="0">
                <a:pos x="connsiteX41014" y="connsiteY41014"/>
              </a:cxn>
              <a:cxn ang="0">
                <a:pos x="connsiteX41015" y="connsiteY41015"/>
              </a:cxn>
              <a:cxn ang="0">
                <a:pos x="connsiteX41016" y="connsiteY41016"/>
              </a:cxn>
              <a:cxn ang="0">
                <a:pos x="connsiteX41017" y="connsiteY41017"/>
              </a:cxn>
              <a:cxn ang="0">
                <a:pos x="connsiteX41018" y="connsiteY41018"/>
              </a:cxn>
              <a:cxn ang="0">
                <a:pos x="connsiteX41019" y="connsiteY41019"/>
              </a:cxn>
              <a:cxn ang="0">
                <a:pos x="connsiteX41020" y="connsiteY41020"/>
              </a:cxn>
              <a:cxn ang="0">
                <a:pos x="connsiteX41021" y="connsiteY41021"/>
              </a:cxn>
              <a:cxn ang="0">
                <a:pos x="connsiteX41022" y="connsiteY41022"/>
              </a:cxn>
              <a:cxn ang="0">
                <a:pos x="connsiteX41023" y="connsiteY41023"/>
              </a:cxn>
              <a:cxn ang="0">
                <a:pos x="connsiteX41024" y="connsiteY41024"/>
              </a:cxn>
              <a:cxn ang="0">
                <a:pos x="connsiteX41025" y="connsiteY41025"/>
              </a:cxn>
              <a:cxn ang="0">
                <a:pos x="connsiteX41026" y="connsiteY41026"/>
              </a:cxn>
              <a:cxn ang="0">
                <a:pos x="connsiteX41027" y="connsiteY41027"/>
              </a:cxn>
              <a:cxn ang="0">
                <a:pos x="connsiteX41028" y="connsiteY41028"/>
              </a:cxn>
              <a:cxn ang="0">
                <a:pos x="connsiteX41029" y="connsiteY41029"/>
              </a:cxn>
              <a:cxn ang="0">
                <a:pos x="connsiteX41030" y="connsiteY41030"/>
              </a:cxn>
              <a:cxn ang="0">
                <a:pos x="connsiteX41031" y="connsiteY41031"/>
              </a:cxn>
              <a:cxn ang="0">
                <a:pos x="connsiteX41032" y="connsiteY41032"/>
              </a:cxn>
              <a:cxn ang="0">
                <a:pos x="connsiteX41033" y="connsiteY41033"/>
              </a:cxn>
              <a:cxn ang="0">
                <a:pos x="connsiteX41034" y="connsiteY41034"/>
              </a:cxn>
              <a:cxn ang="0">
                <a:pos x="connsiteX41035" y="connsiteY41035"/>
              </a:cxn>
              <a:cxn ang="0">
                <a:pos x="connsiteX41036" y="connsiteY41036"/>
              </a:cxn>
              <a:cxn ang="0">
                <a:pos x="connsiteX41037" y="connsiteY41037"/>
              </a:cxn>
              <a:cxn ang="0">
                <a:pos x="connsiteX41038" y="connsiteY41038"/>
              </a:cxn>
              <a:cxn ang="0">
                <a:pos x="connsiteX41039" y="connsiteY41039"/>
              </a:cxn>
              <a:cxn ang="0">
                <a:pos x="connsiteX41040" y="connsiteY41040"/>
              </a:cxn>
              <a:cxn ang="0">
                <a:pos x="connsiteX41041" y="connsiteY41041"/>
              </a:cxn>
              <a:cxn ang="0">
                <a:pos x="connsiteX41042" y="connsiteY41042"/>
              </a:cxn>
              <a:cxn ang="0">
                <a:pos x="connsiteX41043" y="connsiteY41043"/>
              </a:cxn>
              <a:cxn ang="0">
                <a:pos x="connsiteX41044" y="connsiteY41044"/>
              </a:cxn>
              <a:cxn ang="0">
                <a:pos x="connsiteX41045" y="connsiteY41045"/>
              </a:cxn>
              <a:cxn ang="0">
                <a:pos x="connsiteX41046" y="connsiteY41046"/>
              </a:cxn>
              <a:cxn ang="0">
                <a:pos x="connsiteX41047" y="connsiteY41047"/>
              </a:cxn>
              <a:cxn ang="0">
                <a:pos x="connsiteX41048" y="connsiteY41048"/>
              </a:cxn>
              <a:cxn ang="0">
                <a:pos x="connsiteX41049" y="connsiteY41049"/>
              </a:cxn>
              <a:cxn ang="0">
                <a:pos x="connsiteX41050" y="connsiteY41050"/>
              </a:cxn>
              <a:cxn ang="0">
                <a:pos x="connsiteX41051" y="connsiteY41051"/>
              </a:cxn>
              <a:cxn ang="0">
                <a:pos x="connsiteX41052" y="connsiteY41052"/>
              </a:cxn>
              <a:cxn ang="0">
                <a:pos x="connsiteX41053" y="connsiteY41053"/>
              </a:cxn>
              <a:cxn ang="0">
                <a:pos x="connsiteX41054" y="connsiteY41054"/>
              </a:cxn>
              <a:cxn ang="0">
                <a:pos x="connsiteX41055" y="connsiteY41055"/>
              </a:cxn>
              <a:cxn ang="0">
                <a:pos x="connsiteX41056" y="connsiteY41056"/>
              </a:cxn>
              <a:cxn ang="0">
                <a:pos x="connsiteX41057" y="connsiteY41057"/>
              </a:cxn>
              <a:cxn ang="0">
                <a:pos x="connsiteX41058" y="connsiteY41058"/>
              </a:cxn>
              <a:cxn ang="0">
                <a:pos x="connsiteX41059" y="connsiteY41059"/>
              </a:cxn>
              <a:cxn ang="0">
                <a:pos x="connsiteX41060" y="connsiteY41060"/>
              </a:cxn>
              <a:cxn ang="0">
                <a:pos x="connsiteX41061" y="connsiteY41061"/>
              </a:cxn>
              <a:cxn ang="0">
                <a:pos x="connsiteX41062" y="connsiteY41062"/>
              </a:cxn>
              <a:cxn ang="0">
                <a:pos x="connsiteX41063" y="connsiteY41063"/>
              </a:cxn>
              <a:cxn ang="0">
                <a:pos x="connsiteX41064" y="connsiteY41064"/>
              </a:cxn>
              <a:cxn ang="0">
                <a:pos x="connsiteX41065" y="connsiteY41065"/>
              </a:cxn>
              <a:cxn ang="0">
                <a:pos x="connsiteX41066" y="connsiteY41066"/>
              </a:cxn>
              <a:cxn ang="0">
                <a:pos x="connsiteX41067" y="connsiteY41067"/>
              </a:cxn>
              <a:cxn ang="0">
                <a:pos x="connsiteX41068" y="connsiteY41068"/>
              </a:cxn>
              <a:cxn ang="0">
                <a:pos x="connsiteX41069" y="connsiteY41069"/>
              </a:cxn>
              <a:cxn ang="0">
                <a:pos x="connsiteX41070" y="connsiteY41070"/>
              </a:cxn>
              <a:cxn ang="0">
                <a:pos x="connsiteX41071" y="connsiteY41071"/>
              </a:cxn>
              <a:cxn ang="0">
                <a:pos x="connsiteX41072" y="connsiteY41072"/>
              </a:cxn>
              <a:cxn ang="0">
                <a:pos x="connsiteX41073" y="connsiteY41073"/>
              </a:cxn>
              <a:cxn ang="0">
                <a:pos x="connsiteX41074" y="connsiteY41074"/>
              </a:cxn>
              <a:cxn ang="0">
                <a:pos x="connsiteX41075" y="connsiteY41075"/>
              </a:cxn>
              <a:cxn ang="0">
                <a:pos x="connsiteX41076" y="connsiteY41076"/>
              </a:cxn>
              <a:cxn ang="0">
                <a:pos x="connsiteX41077" y="connsiteY41077"/>
              </a:cxn>
              <a:cxn ang="0">
                <a:pos x="connsiteX41078" y="connsiteY41078"/>
              </a:cxn>
              <a:cxn ang="0">
                <a:pos x="connsiteX41079" y="connsiteY41079"/>
              </a:cxn>
              <a:cxn ang="0">
                <a:pos x="connsiteX41080" y="connsiteY41080"/>
              </a:cxn>
              <a:cxn ang="0">
                <a:pos x="connsiteX41081" y="connsiteY41081"/>
              </a:cxn>
              <a:cxn ang="0">
                <a:pos x="connsiteX41082" y="connsiteY41082"/>
              </a:cxn>
              <a:cxn ang="0">
                <a:pos x="connsiteX41083" y="connsiteY41083"/>
              </a:cxn>
              <a:cxn ang="0">
                <a:pos x="connsiteX41084" y="connsiteY41084"/>
              </a:cxn>
              <a:cxn ang="0">
                <a:pos x="connsiteX41085" y="connsiteY41085"/>
              </a:cxn>
              <a:cxn ang="0">
                <a:pos x="connsiteX41086" y="connsiteY41086"/>
              </a:cxn>
              <a:cxn ang="0">
                <a:pos x="connsiteX41087" y="connsiteY41087"/>
              </a:cxn>
              <a:cxn ang="0">
                <a:pos x="connsiteX41088" y="connsiteY41088"/>
              </a:cxn>
              <a:cxn ang="0">
                <a:pos x="connsiteX41089" y="connsiteY41089"/>
              </a:cxn>
              <a:cxn ang="0">
                <a:pos x="connsiteX41090" y="connsiteY41090"/>
              </a:cxn>
              <a:cxn ang="0">
                <a:pos x="connsiteX41091" y="connsiteY41091"/>
              </a:cxn>
              <a:cxn ang="0">
                <a:pos x="connsiteX41092" y="connsiteY41092"/>
              </a:cxn>
              <a:cxn ang="0">
                <a:pos x="connsiteX41093" y="connsiteY41093"/>
              </a:cxn>
              <a:cxn ang="0">
                <a:pos x="connsiteX41094" y="connsiteY41094"/>
              </a:cxn>
              <a:cxn ang="0">
                <a:pos x="connsiteX41095" y="connsiteY41095"/>
              </a:cxn>
              <a:cxn ang="0">
                <a:pos x="connsiteX41096" y="connsiteY41096"/>
              </a:cxn>
              <a:cxn ang="0">
                <a:pos x="connsiteX41097" y="connsiteY41097"/>
              </a:cxn>
              <a:cxn ang="0">
                <a:pos x="connsiteX41098" y="connsiteY41098"/>
              </a:cxn>
              <a:cxn ang="0">
                <a:pos x="connsiteX41099" y="connsiteY41099"/>
              </a:cxn>
              <a:cxn ang="0">
                <a:pos x="connsiteX41100" y="connsiteY41100"/>
              </a:cxn>
              <a:cxn ang="0">
                <a:pos x="connsiteX41101" y="connsiteY41101"/>
              </a:cxn>
              <a:cxn ang="0">
                <a:pos x="connsiteX41102" y="connsiteY41102"/>
              </a:cxn>
              <a:cxn ang="0">
                <a:pos x="connsiteX41103" y="connsiteY41103"/>
              </a:cxn>
              <a:cxn ang="0">
                <a:pos x="connsiteX41104" y="connsiteY41104"/>
              </a:cxn>
              <a:cxn ang="0">
                <a:pos x="connsiteX41105" y="connsiteY41105"/>
              </a:cxn>
              <a:cxn ang="0">
                <a:pos x="connsiteX41106" y="connsiteY41106"/>
              </a:cxn>
              <a:cxn ang="0">
                <a:pos x="connsiteX41107" y="connsiteY41107"/>
              </a:cxn>
              <a:cxn ang="0">
                <a:pos x="connsiteX41108" y="connsiteY41108"/>
              </a:cxn>
              <a:cxn ang="0">
                <a:pos x="connsiteX41109" y="connsiteY41109"/>
              </a:cxn>
              <a:cxn ang="0">
                <a:pos x="connsiteX41110" y="connsiteY41110"/>
              </a:cxn>
              <a:cxn ang="0">
                <a:pos x="connsiteX41111" y="connsiteY41111"/>
              </a:cxn>
              <a:cxn ang="0">
                <a:pos x="connsiteX41112" y="connsiteY41112"/>
              </a:cxn>
              <a:cxn ang="0">
                <a:pos x="connsiteX41113" y="connsiteY41113"/>
              </a:cxn>
              <a:cxn ang="0">
                <a:pos x="connsiteX41114" y="connsiteY41114"/>
              </a:cxn>
              <a:cxn ang="0">
                <a:pos x="connsiteX41115" y="connsiteY41115"/>
              </a:cxn>
              <a:cxn ang="0">
                <a:pos x="connsiteX41116" y="connsiteY41116"/>
              </a:cxn>
              <a:cxn ang="0">
                <a:pos x="connsiteX41117" y="connsiteY41117"/>
              </a:cxn>
              <a:cxn ang="0">
                <a:pos x="connsiteX41118" y="connsiteY41118"/>
              </a:cxn>
              <a:cxn ang="0">
                <a:pos x="connsiteX41119" y="connsiteY41119"/>
              </a:cxn>
              <a:cxn ang="0">
                <a:pos x="connsiteX41120" y="connsiteY41120"/>
              </a:cxn>
              <a:cxn ang="0">
                <a:pos x="connsiteX41121" y="connsiteY41121"/>
              </a:cxn>
              <a:cxn ang="0">
                <a:pos x="connsiteX41122" y="connsiteY41122"/>
              </a:cxn>
              <a:cxn ang="0">
                <a:pos x="connsiteX41123" y="connsiteY41123"/>
              </a:cxn>
              <a:cxn ang="0">
                <a:pos x="connsiteX41124" y="connsiteY41124"/>
              </a:cxn>
              <a:cxn ang="0">
                <a:pos x="connsiteX41125" y="connsiteY41125"/>
              </a:cxn>
              <a:cxn ang="0">
                <a:pos x="connsiteX41126" y="connsiteY41126"/>
              </a:cxn>
              <a:cxn ang="0">
                <a:pos x="connsiteX41127" y="connsiteY41127"/>
              </a:cxn>
              <a:cxn ang="0">
                <a:pos x="connsiteX41128" y="connsiteY41128"/>
              </a:cxn>
              <a:cxn ang="0">
                <a:pos x="connsiteX41129" y="connsiteY41129"/>
              </a:cxn>
              <a:cxn ang="0">
                <a:pos x="connsiteX41130" y="connsiteY41130"/>
              </a:cxn>
              <a:cxn ang="0">
                <a:pos x="connsiteX41131" y="connsiteY41131"/>
              </a:cxn>
              <a:cxn ang="0">
                <a:pos x="connsiteX41132" y="connsiteY41132"/>
              </a:cxn>
              <a:cxn ang="0">
                <a:pos x="connsiteX41133" y="connsiteY41133"/>
              </a:cxn>
              <a:cxn ang="0">
                <a:pos x="connsiteX41134" y="connsiteY41134"/>
              </a:cxn>
              <a:cxn ang="0">
                <a:pos x="connsiteX41135" y="connsiteY41135"/>
              </a:cxn>
              <a:cxn ang="0">
                <a:pos x="connsiteX41136" y="connsiteY41136"/>
              </a:cxn>
              <a:cxn ang="0">
                <a:pos x="connsiteX41137" y="connsiteY41137"/>
              </a:cxn>
              <a:cxn ang="0">
                <a:pos x="connsiteX41138" y="connsiteY41138"/>
              </a:cxn>
              <a:cxn ang="0">
                <a:pos x="connsiteX41139" y="connsiteY41139"/>
              </a:cxn>
              <a:cxn ang="0">
                <a:pos x="connsiteX41140" y="connsiteY41140"/>
              </a:cxn>
              <a:cxn ang="0">
                <a:pos x="connsiteX41141" y="connsiteY41141"/>
              </a:cxn>
              <a:cxn ang="0">
                <a:pos x="connsiteX41142" y="connsiteY41142"/>
              </a:cxn>
              <a:cxn ang="0">
                <a:pos x="connsiteX41143" y="connsiteY41143"/>
              </a:cxn>
              <a:cxn ang="0">
                <a:pos x="connsiteX41144" y="connsiteY41144"/>
              </a:cxn>
              <a:cxn ang="0">
                <a:pos x="connsiteX41145" y="connsiteY41145"/>
              </a:cxn>
              <a:cxn ang="0">
                <a:pos x="connsiteX41146" y="connsiteY41146"/>
              </a:cxn>
              <a:cxn ang="0">
                <a:pos x="connsiteX41147" y="connsiteY41147"/>
              </a:cxn>
              <a:cxn ang="0">
                <a:pos x="connsiteX41148" y="connsiteY41148"/>
              </a:cxn>
              <a:cxn ang="0">
                <a:pos x="connsiteX41149" y="connsiteY41149"/>
              </a:cxn>
              <a:cxn ang="0">
                <a:pos x="connsiteX41150" y="connsiteY41150"/>
              </a:cxn>
              <a:cxn ang="0">
                <a:pos x="connsiteX41151" y="connsiteY41151"/>
              </a:cxn>
              <a:cxn ang="0">
                <a:pos x="connsiteX41152" y="connsiteY41152"/>
              </a:cxn>
              <a:cxn ang="0">
                <a:pos x="connsiteX41153" y="connsiteY41153"/>
              </a:cxn>
              <a:cxn ang="0">
                <a:pos x="connsiteX41154" y="connsiteY41154"/>
              </a:cxn>
              <a:cxn ang="0">
                <a:pos x="connsiteX41155" y="connsiteY41155"/>
              </a:cxn>
              <a:cxn ang="0">
                <a:pos x="connsiteX41156" y="connsiteY41156"/>
              </a:cxn>
              <a:cxn ang="0">
                <a:pos x="connsiteX41157" y="connsiteY41157"/>
              </a:cxn>
              <a:cxn ang="0">
                <a:pos x="connsiteX41158" y="connsiteY41158"/>
              </a:cxn>
              <a:cxn ang="0">
                <a:pos x="connsiteX41159" y="connsiteY41159"/>
              </a:cxn>
              <a:cxn ang="0">
                <a:pos x="connsiteX41160" y="connsiteY41160"/>
              </a:cxn>
              <a:cxn ang="0">
                <a:pos x="connsiteX41161" y="connsiteY41161"/>
              </a:cxn>
              <a:cxn ang="0">
                <a:pos x="connsiteX41162" y="connsiteY41162"/>
              </a:cxn>
              <a:cxn ang="0">
                <a:pos x="connsiteX41163" y="connsiteY41163"/>
              </a:cxn>
              <a:cxn ang="0">
                <a:pos x="connsiteX41164" y="connsiteY41164"/>
              </a:cxn>
              <a:cxn ang="0">
                <a:pos x="connsiteX41165" y="connsiteY41165"/>
              </a:cxn>
              <a:cxn ang="0">
                <a:pos x="connsiteX41166" y="connsiteY41166"/>
              </a:cxn>
              <a:cxn ang="0">
                <a:pos x="connsiteX41167" y="connsiteY41167"/>
              </a:cxn>
              <a:cxn ang="0">
                <a:pos x="connsiteX41168" y="connsiteY41168"/>
              </a:cxn>
              <a:cxn ang="0">
                <a:pos x="connsiteX41169" y="connsiteY41169"/>
              </a:cxn>
              <a:cxn ang="0">
                <a:pos x="connsiteX41170" y="connsiteY41170"/>
              </a:cxn>
              <a:cxn ang="0">
                <a:pos x="connsiteX41171" y="connsiteY41171"/>
              </a:cxn>
              <a:cxn ang="0">
                <a:pos x="connsiteX41172" y="connsiteY41172"/>
              </a:cxn>
              <a:cxn ang="0">
                <a:pos x="connsiteX41173" y="connsiteY41173"/>
              </a:cxn>
              <a:cxn ang="0">
                <a:pos x="connsiteX41174" y="connsiteY41174"/>
              </a:cxn>
              <a:cxn ang="0">
                <a:pos x="connsiteX41175" y="connsiteY41175"/>
              </a:cxn>
              <a:cxn ang="0">
                <a:pos x="connsiteX41176" y="connsiteY41176"/>
              </a:cxn>
              <a:cxn ang="0">
                <a:pos x="connsiteX41177" y="connsiteY41177"/>
              </a:cxn>
              <a:cxn ang="0">
                <a:pos x="connsiteX41178" y="connsiteY41178"/>
              </a:cxn>
              <a:cxn ang="0">
                <a:pos x="connsiteX41179" y="connsiteY41179"/>
              </a:cxn>
              <a:cxn ang="0">
                <a:pos x="connsiteX41180" y="connsiteY41180"/>
              </a:cxn>
              <a:cxn ang="0">
                <a:pos x="connsiteX41181" y="connsiteY41181"/>
              </a:cxn>
              <a:cxn ang="0">
                <a:pos x="connsiteX41182" y="connsiteY41182"/>
              </a:cxn>
              <a:cxn ang="0">
                <a:pos x="connsiteX41183" y="connsiteY41183"/>
              </a:cxn>
              <a:cxn ang="0">
                <a:pos x="connsiteX41184" y="connsiteY41184"/>
              </a:cxn>
              <a:cxn ang="0">
                <a:pos x="connsiteX41185" y="connsiteY41185"/>
              </a:cxn>
              <a:cxn ang="0">
                <a:pos x="connsiteX41186" y="connsiteY41186"/>
              </a:cxn>
              <a:cxn ang="0">
                <a:pos x="connsiteX41187" y="connsiteY41187"/>
              </a:cxn>
              <a:cxn ang="0">
                <a:pos x="connsiteX41188" y="connsiteY41188"/>
              </a:cxn>
              <a:cxn ang="0">
                <a:pos x="connsiteX41189" y="connsiteY41189"/>
              </a:cxn>
              <a:cxn ang="0">
                <a:pos x="connsiteX41190" y="connsiteY41190"/>
              </a:cxn>
              <a:cxn ang="0">
                <a:pos x="connsiteX41191" y="connsiteY41191"/>
              </a:cxn>
              <a:cxn ang="0">
                <a:pos x="connsiteX41192" y="connsiteY41192"/>
              </a:cxn>
              <a:cxn ang="0">
                <a:pos x="connsiteX41193" y="connsiteY41193"/>
              </a:cxn>
              <a:cxn ang="0">
                <a:pos x="connsiteX41194" y="connsiteY41194"/>
              </a:cxn>
              <a:cxn ang="0">
                <a:pos x="connsiteX41195" y="connsiteY41195"/>
              </a:cxn>
              <a:cxn ang="0">
                <a:pos x="connsiteX41196" y="connsiteY41196"/>
              </a:cxn>
              <a:cxn ang="0">
                <a:pos x="connsiteX41197" y="connsiteY41197"/>
              </a:cxn>
              <a:cxn ang="0">
                <a:pos x="connsiteX41198" y="connsiteY41198"/>
              </a:cxn>
              <a:cxn ang="0">
                <a:pos x="connsiteX41199" y="connsiteY41199"/>
              </a:cxn>
              <a:cxn ang="0">
                <a:pos x="connsiteX41200" y="connsiteY41200"/>
              </a:cxn>
              <a:cxn ang="0">
                <a:pos x="connsiteX41201" y="connsiteY41201"/>
              </a:cxn>
              <a:cxn ang="0">
                <a:pos x="connsiteX41202" y="connsiteY41202"/>
              </a:cxn>
              <a:cxn ang="0">
                <a:pos x="connsiteX41203" y="connsiteY41203"/>
              </a:cxn>
              <a:cxn ang="0">
                <a:pos x="connsiteX41204" y="connsiteY41204"/>
              </a:cxn>
              <a:cxn ang="0">
                <a:pos x="connsiteX41205" y="connsiteY41205"/>
              </a:cxn>
              <a:cxn ang="0">
                <a:pos x="connsiteX41206" y="connsiteY41206"/>
              </a:cxn>
              <a:cxn ang="0">
                <a:pos x="connsiteX41207" y="connsiteY41207"/>
              </a:cxn>
              <a:cxn ang="0">
                <a:pos x="connsiteX41208" y="connsiteY41208"/>
              </a:cxn>
              <a:cxn ang="0">
                <a:pos x="connsiteX41209" y="connsiteY41209"/>
              </a:cxn>
              <a:cxn ang="0">
                <a:pos x="connsiteX41210" y="connsiteY41210"/>
              </a:cxn>
              <a:cxn ang="0">
                <a:pos x="connsiteX41211" y="connsiteY41211"/>
              </a:cxn>
              <a:cxn ang="0">
                <a:pos x="connsiteX41212" y="connsiteY41212"/>
              </a:cxn>
              <a:cxn ang="0">
                <a:pos x="connsiteX41213" y="connsiteY41213"/>
              </a:cxn>
              <a:cxn ang="0">
                <a:pos x="connsiteX41214" y="connsiteY41214"/>
              </a:cxn>
              <a:cxn ang="0">
                <a:pos x="connsiteX41215" y="connsiteY41215"/>
              </a:cxn>
              <a:cxn ang="0">
                <a:pos x="connsiteX41216" y="connsiteY41216"/>
              </a:cxn>
              <a:cxn ang="0">
                <a:pos x="connsiteX41217" y="connsiteY41217"/>
              </a:cxn>
              <a:cxn ang="0">
                <a:pos x="connsiteX41218" y="connsiteY41218"/>
              </a:cxn>
              <a:cxn ang="0">
                <a:pos x="connsiteX41219" y="connsiteY41219"/>
              </a:cxn>
              <a:cxn ang="0">
                <a:pos x="connsiteX41220" y="connsiteY41220"/>
              </a:cxn>
              <a:cxn ang="0">
                <a:pos x="connsiteX41221" y="connsiteY41221"/>
              </a:cxn>
              <a:cxn ang="0">
                <a:pos x="connsiteX41222" y="connsiteY41222"/>
              </a:cxn>
              <a:cxn ang="0">
                <a:pos x="connsiteX41223" y="connsiteY41223"/>
              </a:cxn>
              <a:cxn ang="0">
                <a:pos x="connsiteX41224" y="connsiteY41224"/>
              </a:cxn>
              <a:cxn ang="0">
                <a:pos x="connsiteX41225" y="connsiteY41225"/>
              </a:cxn>
              <a:cxn ang="0">
                <a:pos x="connsiteX41226" y="connsiteY41226"/>
              </a:cxn>
              <a:cxn ang="0">
                <a:pos x="connsiteX41227" y="connsiteY41227"/>
              </a:cxn>
              <a:cxn ang="0">
                <a:pos x="connsiteX41228" y="connsiteY41228"/>
              </a:cxn>
              <a:cxn ang="0">
                <a:pos x="connsiteX41229" y="connsiteY41229"/>
              </a:cxn>
              <a:cxn ang="0">
                <a:pos x="connsiteX41230" y="connsiteY41230"/>
              </a:cxn>
              <a:cxn ang="0">
                <a:pos x="connsiteX41231" y="connsiteY41231"/>
              </a:cxn>
              <a:cxn ang="0">
                <a:pos x="connsiteX41232" y="connsiteY41232"/>
              </a:cxn>
              <a:cxn ang="0">
                <a:pos x="connsiteX41233" y="connsiteY41233"/>
              </a:cxn>
              <a:cxn ang="0">
                <a:pos x="connsiteX41234" y="connsiteY41234"/>
              </a:cxn>
              <a:cxn ang="0">
                <a:pos x="connsiteX41235" y="connsiteY41235"/>
              </a:cxn>
              <a:cxn ang="0">
                <a:pos x="connsiteX41236" y="connsiteY41236"/>
              </a:cxn>
              <a:cxn ang="0">
                <a:pos x="connsiteX41237" y="connsiteY41237"/>
              </a:cxn>
              <a:cxn ang="0">
                <a:pos x="connsiteX41238" y="connsiteY41238"/>
              </a:cxn>
              <a:cxn ang="0">
                <a:pos x="connsiteX41239" y="connsiteY41239"/>
              </a:cxn>
              <a:cxn ang="0">
                <a:pos x="connsiteX41240" y="connsiteY41240"/>
              </a:cxn>
              <a:cxn ang="0">
                <a:pos x="connsiteX41241" y="connsiteY41241"/>
              </a:cxn>
              <a:cxn ang="0">
                <a:pos x="connsiteX41242" y="connsiteY41242"/>
              </a:cxn>
              <a:cxn ang="0">
                <a:pos x="connsiteX41243" y="connsiteY41243"/>
              </a:cxn>
              <a:cxn ang="0">
                <a:pos x="connsiteX41244" y="connsiteY41244"/>
              </a:cxn>
              <a:cxn ang="0">
                <a:pos x="connsiteX41245" y="connsiteY41245"/>
              </a:cxn>
              <a:cxn ang="0">
                <a:pos x="connsiteX41246" y="connsiteY41246"/>
              </a:cxn>
              <a:cxn ang="0">
                <a:pos x="connsiteX41247" y="connsiteY41247"/>
              </a:cxn>
              <a:cxn ang="0">
                <a:pos x="connsiteX41248" y="connsiteY41248"/>
              </a:cxn>
              <a:cxn ang="0">
                <a:pos x="connsiteX41249" y="connsiteY41249"/>
              </a:cxn>
              <a:cxn ang="0">
                <a:pos x="connsiteX41250" y="connsiteY41250"/>
              </a:cxn>
              <a:cxn ang="0">
                <a:pos x="connsiteX41251" y="connsiteY41251"/>
              </a:cxn>
              <a:cxn ang="0">
                <a:pos x="connsiteX41252" y="connsiteY41252"/>
              </a:cxn>
              <a:cxn ang="0">
                <a:pos x="connsiteX41253" y="connsiteY41253"/>
              </a:cxn>
              <a:cxn ang="0">
                <a:pos x="connsiteX41254" y="connsiteY41254"/>
              </a:cxn>
              <a:cxn ang="0">
                <a:pos x="connsiteX41255" y="connsiteY41255"/>
              </a:cxn>
              <a:cxn ang="0">
                <a:pos x="connsiteX41256" y="connsiteY41256"/>
              </a:cxn>
              <a:cxn ang="0">
                <a:pos x="connsiteX41257" y="connsiteY41257"/>
              </a:cxn>
              <a:cxn ang="0">
                <a:pos x="connsiteX41258" y="connsiteY41258"/>
              </a:cxn>
              <a:cxn ang="0">
                <a:pos x="connsiteX41259" y="connsiteY41259"/>
              </a:cxn>
              <a:cxn ang="0">
                <a:pos x="connsiteX41260" y="connsiteY41260"/>
              </a:cxn>
              <a:cxn ang="0">
                <a:pos x="connsiteX41261" y="connsiteY41261"/>
              </a:cxn>
              <a:cxn ang="0">
                <a:pos x="connsiteX41262" y="connsiteY41262"/>
              </a:cxn>
              <a:cxn ang="0">
                <a:pos x="connsiteX41263" y="connsiteY41263"/>
              </a:cxn>
              <a:cxn ang="0">
                <a:pos x="connsiteX41264" y="connsiteY41264"/>
              </a:cxn>
              <a:cxn ang="0">
                <a:pos x="connsiteX41265" y="connsiteY41265"/>
              </a:cxn>
              <a:cxn ang="0">
                <a:pos x="connsiteX41266" y="connsiteY41266"/>
              </a:cxn>
              <a:cxn ang="0">
                <a:pos x="connsiteX41267" y="connsiteY41267"/>
              </a:cxn>
              <a:cxn ang="0">
                <a:pos x="connsiteX41268" y="connsiteY41268"/>
              </a:cxn>
              <a:cxn ang="0">
                <a:pos x="connsiteX41269" y="connsiteY41269"/>
              </a:cxn>
              <a:cxn ang="0">
                <a:pos x="connsiteX41270" y="connsiteY41270"/>
              </a:cxn>
              <a:cxn ang="0">
                <a:pos x="connsiteX41271" y="connsiteY41271"/>
              </a:cxn>
              <a:cxn ang="0">
                <a:pos x="connsiteX41272" y="connsiteY41272"/>
              </a:cxn>
              <a:cxn ang="0">
                <a:pos x="connsiteX41273" y="connsiteY41273"/>
              </a:cxn>
              <a:cxn ang="0">
                <a:pos x="connsiteX41274" y="connsiteY41274"/>
              </a:cxn>
              <a:cxn ang="0">
                <a:pos x="connsiteX41275" y="connsiteY41275"/>
              </a:cxn>
              <a:cxn ang="0">
                <a:pos x="connsiteX41276" y="connsiteY41276"/>
              </a:cxn>
              <a:cxn ang="0">
                <a:pos x="connsiteX41277" y="connsiteY41277"/>
              </a:cxn>
              <a:cxn ang="0">
                <a:pos x="connsiteX41278" y="connsiteY41278"/>
              </a:cxn>
              <a:cxn ang="0">
                <a:pos x="connsiteX41279" y="connsiteY41279"/>
              </a:cxn>
              <a:cxn ang="0">
                <a:pos x="connsiteX41280" y="connsiteY41280"/>
              </a:cxn>
              <a:cxn ang="0">
                <a:pos x="connsiteX41281" y="connsiteY41281"/>
              </a:cxn>
              <a:cxn ang="0">
                <a:pos x="connsiteX41282" y="connsiteY41282"/>
              </a:cxn>
              <a:cxn ang="0">
                <a:pos x="connsiteX41283" y="connsiteY41283"/>
              </a:cxn>
              <a:cxn ang="0">
                <a:pos x="connsiteX41284" y="connsiteY41284"/>
              </a:cxn>
              <a:cxn ang="0">
                <a:pos x="connsiteX41285" y="connsiteY41285"/>
              </a:cxn>
              <a:cxn ang="0">
                <a:pos x="connsiteX41286" y="connsiteY41286"/>
              </a:cxn>
              <a:cxn ang="0">
                <a:pos x="connsiteX41287" y="connsiteY41287"/>
              </a:cxn>
              <a:cxn ang="0">
                <a:pos x="connsiteX41288" y="connsiteY41288"/>
              </a:cxn>
              <a:cxn ang="0">
                <a:pos x="connsiteX41289" y="connsiteY41289"/>
              </a:cxn>
              <a:cxn ang="0">
                <a:pos x="connsiteX41290" y="connsiteY41290"/>
              </a:cxn>
              <a:cxn ang="0">
                <a:pos x="connsiteX41291" y="connsiteY41291"/>
              </a:cxn>
              <a:cxn ang="0">
                <a:pos x="connsiteX41292" y="connsiteY41292"/>
              </a:cxn>
              <a:cxn ang="0">
                <a:pos x="connsiteX41293" y="connsiteY41293"/>
              </a:cxn>
              <a:cxn ang="0">
                <a:pos x="connsiteX41294" y="connsiteY41294"/>
              </a:cxn>
              <a:cxn ang="0">
                <a:pos x="connsiteX41295" y="connsiteY41295"/>
              </a:cxn>
              <a:cxn ang="0">
                <a:pos x="connsiteX41296" y="connsiteY41296"/>
              </a:cxn>
              <a:cxn ang="0">
                <a:pos x="connsiteX41297" y="connsiteY41297"/>
              </a:cxn>
              <a:cxn ang="0">
                <a:pos x="connsiteX41298" y="connsiteY41298"/>
              </a:cxn>
              <a:cxn ang="0">
                <a:pos x="connsiteX41299" y="connsiteY41299"/>
              </a:cxn>
              <a:cxn ang="0">
                <a:pos x="connsiteX41300" y="connsiteY41300"/>
              </a:cxn>
              <a:cxn ang="0">
                <a:pos x="connsiteX41301" y="connsiteY41301"/>
              </a:cxn>
              <a:cxn ang="0">
                <a:pos x="connsiteX41302" y="connsiteY41302"/>
              </a:cxn>
              <a:cxn ang="0">
                <a:pos x="connsiteX41303" y="connsiteY41303"/>
              </a:cxn>
              <a:cxn ang="0">
                <a:pos x="connsiteX41304" y="connsiteY41304"/>
              </a:cxn>
              <a:cxn ang="0">
                <a:pos x="connsiteX41305" y="connsiteY41305"/>
              </a:cxn>
              <a:cxn ang="0">
                <a:pos x="connsiteX41306" y="connsiteY41306"/>
              </a:cxn>
              <a:cxn ang="0">
                <a:pos x="connsiteX41307" y="connsiteY41307"/>
              </a:cxn>
              <a:cxn ang="0">
                <a:pos x="connsiteX41308" y="connsiteY41308"/>
              </a:cxn>
              <a:cxn ang="0">
                <a:pos x="connsiteX41309" y="connsiteY41309"/>
              </a:cxn>
              <a:cxn ang="0">
                <a:pos x="connsiteX41310" y="connsiteY41310"/>
              </a:cxn>
              <a:cxn ang="0">
                <a:pos x="connsiteX41311" y="connsiteY41311"/>
              </a:cxn>
              <a:cxn ang="0">
                <a:pos x="connsiteX41312" y="connsiteY41312"/>
              </a:cxn>
              <a:cxn ang="0">
                <a:pos x="connsiteX41313" y="connsiteY41313"/>
              </a:cxn>
              <a:cxn ang="0">
                <a:pos x="connsiteX41314" y="connsiteY41314"/>
              </a:cxn>
              <a:cxn ang="0">
                <a:pos x="connsiteX41315" y="connsiteY41315"/>
              </a:cxn>
              <a:cxn ang="0">
                <a:pos x="connsiteX41316" y="connsiteY41316"/>
              </a:cxn>
              <a:cxn ang="0">
                <a:pos x="connsiteX41317" y="connsiteY41317"/>
              </a:cxn>
              <a:cxn ang="0">
                <a:pos x="connsiteX41318" y="connsiteY41318"/>
              </a:cxn>
              <a:cxn ang="0">
                <a:pos x="connsiteX41319" y="connsiteY41319"/>
              </a:cxn>
              <a:cxn ang="0">
                <a:pos x="connsiteX41320" y="connsiteY41320"/>
              </a:cxn>
              <a:cxn ang="0">
                <a:pos x="connsiteX41321" y="connsiteY41321"/>
              </a:cxn>
              <a:cxn ang="0">
                <a:pos x="connsiteX41322" y="connsiteY41322"/>
              </a:cxn>
              <a:cxn ang="0">
                <a:pos x="connsiteX41323" y="connsiteY41323"/>
              </a:cxn>
              <a:cxn ang="0">
                <a:pos x="connsiteX41324" y="connsiteY41324"/>
              </a:cxn>
              <a:cxn ang="0">
                <a:pos x="connsiteX41325" y="connsiteY41325"/>
              </a:cxn>
              <a:cxn ang="0">
                <a:pos x="connsiteX41326" y="connsiteY41326"/>
              </a:cxn>
              <a:cxn ang="0">
                <a:pos x="connsiteX41327" y="connsiteY41327"/>
              </a:cxn>
              <a:cxn ang="0">
                <a:pos x="connsiteX41328" y="connsiteY41328"/>
              </a:cxn>
              <a:cxn ang="0">
                <a:pos x="connsiteX41329" y="connsiteY41329"/>
              </a:cxn>
              <a:cxn ang="0">
                <a:pos x="connsiteX41330" y="connsiteY41330"/>
              </a:cxn>
              <a:cxn ang="0">
                <a:pos x="connsiteX41331" y="connsiteY41331"/>
              </a:cxn>
              <a:cxn ang="0">
                <a:pos x="connsiteX41332" y="connsiteY41332"/>
              </a:cxn>
              <a:cxn ang="0">
                <a:pos x="connsiteX41333" y="connsiteY41333"/>
              </a:cxn>
              <a:cxn ang="0">
                <a:pos x="connsiteX41334" y="connsiteY41334"/>
              </a:cxn>
              <a:cxn ang="0">
                <a:pos x="connsiteX41335" y="connsiteY41335"/>
              </a:cxn>
              <a:cxn ang="0">
                <a:pos x="connsiteX41336" y="connsiteY41336"/>
              </a:cxn>
              <a:cxn ang="0">
                <a:pos x="connsiteX41337" y="connsiteY41337"/>
              </a:cxn>
              <a:cxn ang="0">
                <a:pos x="connsiteX41338" y="connsiteY41338"/>
              </a:cxn>
              <a:cxn ang="0">
                <a:pos x="connsiteX41339" y="connsiteY41339"/>
              </a:cxn>
              <a:cxn ang="0">
                <a:pos x="connsiteX41340" y="connsiteY41340"/>
              </a:cxn>
              <a:cxn ang="0">
                <a:pos x="connsiteX41341" y="connsiteY41341"/>
              </a:cxn>
              <a:cxn ang="0">
                <a:pos x="connsiteX41342" y="connsiteY41342"/>
              </a:cxn>
              <a:cxn ang="0">
                <a:pos x="connsiteX41343" y="connsiteY41343"/>
              </a:cxn>
              <a:cxn ang="0">
                <a:pos x="connsiteX41344" y="connsiteY41344"/>
              </a:cxn>
              <a:cxn ang="0">
                <a:pos x="connsiteX41345" y="connsiteY41345"/>
              </a:cxn>
              <a:cxn ang="0">
                <a:pos x="connsiteX41346" y="connsiteY41346"/>
              </a:cxn>
              <a:cxn ang="0">
                <a:pos x="connsiteX41347" y="connsiteY41347"/>
              </a:cxn>
              <a:cxn ang="0">
                <a:pos x="connsiteX41348" y="connsiteY41348"/>
              </a:cxn>
              <a:cxn ang="0">
                <a:pos x="connsiteX41349" y="connsiteY41349"/>
              </a:cxn>
              <a:cxn ang="0">
                <a:pos x="connsiteX41350" y="connsiteY41350"/>
              </a:cxn>
              <a:cxn ang="0">
                <a:pos x="connsiteX41351" y="connsiteY41351"/>
              </a:cxn>
              <a:cxn ang="0">
                <a:pos x="connsiteX41352" y="connsiteY41352"/>
              </a:cxn>
              <a:cxn ang="0">
                <a:pos x="connsiteX41353" y="connsiteY41353"/>
              </a:cxn>
              <a:cxn ang="0">
                <a:pos x="connsiteX41354" y="connsiteY41354"/>
              </a:cxn>
              <a:cxn ang="0">
                <a:pos x="connsiteX41355" y="connsiteY41355"/>
              </a:cxn>
              <a:cxn ang="0">
                <a:pos x="connsiteX41356" y="connsiteY41356"/>
              </a:cxn>
              <a:cxn ang="0">
                <a:pos x="connsiteX41357" y="connsiteY41357"/>
              </a:cxn>
              <a:cxn ang="0">
                <a:pos x="connsiteX41358" y="connsiteY41358"/>
              </a:cxn>
              <a:cxn ang="0">
                <a:pos x="connsiteX41359" y="connsiteY41359"/>
              </a:cxn>
              <a:cxn ang="0">
                <a:pos x="connsiteX41360" y="connsiteY41360"/>
              </a:cxn>
              <a:cxn ang="0">
                <a:pos x="connsiteX41361" y="connsiteY41361"/>
              </a:cxn>
              <a:cxn ang="0">
                <a:pos x="connsiteX41362" y="connsiteY41362"/>
              </a:cxn>
              <a:cxn ang="0">
                <a:pos x="connsiteX41363" y="connsiteY41363"/>
              </a:cxn>
              <a:cxn ang="0">
                <a:pos x="connsiteX41364" y="connsiteY41364"/>
              </a:cxn>
              <a:cxn ang="0">
                <a:pos x="connsiteX41365" y="connsiteY41365"/>
              </a:cxn>
              <a:cxn ang="0">
                <a:pos x="connsiteX41366" y="connsiteY41366"/>
              </a:cxn>
              <a:cxn ang="0">
                <a:pos x="connsiteX41367" y="connsiteY41367"/>
              </a:cxn>
              <a:cxn ang="0">
                <a:pos x="connsiteX41368" y="connsiteY41368"/>
              </a:cxn>
              <a:cxn ang="0">
                <a:pos x="connsiteX41369" y="connsiteY41369"/>
              </a:cxn>
              <a:cxn ang="0">
                <a:pos x="connsiteX41370" y="connsiteY41370"/>
              </a:cxn>
              <a:cxn ang="0">
                <a:pos x="connsiteX41371" y="connsiteY41371"/>
              </a:cxn>
              <a:cxn ang="0">
                <a:pos x="connsiteX41372" y="connsiteY41372"/>
              </a:cxn>
              <a:cxn ang="0">
                <a:pos x="connsiteX41373" y="connsiteY41373"/>
              </a:cxn>
              <a:cxn ang="0">
                <a:pos x="connsiteX41374" y="connsiteY41374"/>
              </a:cxn>
              <a:cxn ang="0">
                <a:pos x="connsiteX41375" y="connsiteY41375"/>
              </a:cxn>
              <a:cxn ang="0">
                <a:pos x="connsiteX41376" y="connsiteY41376"/>
              </a:cxn>
              <a:cxn ang="0">
                <a:pos x="connsiteX41377" y="connsiteY41377"/>
              </a:cxn>
              <a:cxn ang="0">
                <a:pos x="connsiteX41378" y="connsiteY41378"/>
              </a:cxn>
              <a:cxn ang="0">
                <a:pos x="connsiteX41379" y="connsiteY41379"/>
              </a:cxn>
              <a:cxn ang="0">
                <a:pos x="connsiteX41380" y="connsiteY41380"/>
              </a:cxn>
              <a:cxn ang="0">
                <a:pos x="connsiteX41381" y="connsiteY41381"/>
              </a:cxn>
              <a:cxn ang="0">
                <a:pos x="connsiteX41382" y="connsiteY41382"/>
              </a:cxn>
              <a:cxn ang="0">
                <a:pos x="connsiteX41383" y="connsiteY41383"/>
              </a:cxn>
              <a:cxn ang="0">
                <a:pos x="connsiteX41384" y="connsiteY41384"/>
              </a:cxn>
              <a:cxn ang="0">
                <a:pos x="connsiteX41385" y="connsiteY41385"/>
              </a:cxn>
              <a:cxn ang="0">
                <a:pos x="connsiteX41386" y="connsiteY41386"/>
              </a:cxn>
              <a:cxn ang="0">
                <a:pos x="connsiteX41387" y="connsiteY41387"/>
              </a:cxn>
              <a:cxn ang="0">
                <a:pos x="connsiteX41388" y="connsiteY41388"/>
              </a:cxn>
              <a:cxn ang="0">
                <a:pos x="connsiteX41389" y="connsiteY41389"/>
              </a:cxn>
              <a:cxn ang="0">
                <a:pos x="connsiteX41390" y="connsiteY41390"/>
              </a:cxn>
              <a:cxn ang="0">
                <a:pos x="connsiteX41391" y="connsiteY41391"/>
              </a:cxn>
              <a:cxn ang="0">
                <a:pos x="connsiteX41392" y="connsiteY41392"/>
              </a:cxn>
              <a:cxn ang="0">
                <a:pos x="connsiteX41393" y="connsiteY41393"/>
              </a:cxn>
              <a:cxn ang="0">
                <a:pos x="connsiteX41394" y="connsiteY41394"/>
              </a:cxn>
              <a:cxn ang="0">
                <a:pos x="connsiteX41395" y="connsiteY41395"/>
              </a:cxn>
              <a:cxn ang="0">
                <a:pos x="connsiteX41396" y="connsiteY41396"/>
              </a:cxn>
              <a:cxn ang="0">
                <a:pos x="connsiteX41397" y="connsiteY41397"/>
              </a:cxn>
              <a:cxn ang="0">
                <a:pos x="connsiteX41398" y="connsiteY41398"/>
              </a:cxn>
              <a:cxn ang="0">
                <a:pos x="connsiteX41399" y="connsiteY41399"/>
              </a:cxn>
              <a:cxn ang="0">
                <a:pos x="connsiteX41400" y="connsiteY41400"/>
              </a:cxn>
              <a:cxn ang="0">
                <a:pos x="connsiteX41401" y="connsiteY41401"/>
              </a:cxn>
              <a:cxn ang="0">
                <a:pos x="connsiteX41402" y="connsiteY41402"/>
              </a:cxn>
              <a:cxn ang="0">
                <a:pos x="connsiteX41403" y="connsiteY41403"/>
              </a:cxn>
              <a:cxn ang="0">
                <a:pos x="connsiteX41404" y="connsiteY41404"/>
              </a:cxn>
              <a:cxn ang="0">
                <a:pos x="connsiteX41405" y="connsiteY41405"/>
              </a:cxn>
              <a:cxn ang="0">
                <a:pos x="connsiteX41406" y="connsiteY41406"/>
              </a:cxn>
              <a:cxn ang="0">
                <a:pos x="connsiteX41407" y="connsiteY41407"/>
              </a:cxn>
              <a:cxn ang="0">
                <a:pos x="connsiteX41408" y="connsiteY41408"/>
              </a:cxn>
              <a:cxn ang="0">
                <a:pos x="connsiteX41409" y="connsiteY41409"/>
              </a:cxn>
              <a:cxn ang="0">
                <a:pos x="connsiteX41410" y="connsiteY41410"/>
              </a:cxn>
              <a:cxn ang="0">
                <a:pos x="connsiteX41411" y="connsiteY41411"/>
              </a:cxn>
              <a:cxn ang="0">
                <a:pos x="connsiteX41412" y="connsiteY41412"/>
              </a:cxn>
              <a:cxn ang="0">
                <a:pos x="connsiteX41413" y="connsiteY41413"/>
              </a:cxn>
              <a:cxn ang="0">
                <a:pos x="connsiteX41414" y="connsiteY41414"/>
              </a:cxn>
              <a:cxn ang="0">
                <a:pos x="connsiteX41415" y="connsiteY41415"/>
              </a:cxn>
              <a:cxn ang="0">
                <a:pos x="connsiteX41416" y="connsiteY41416"/>
              </a:cxn>
              <a:cxn ang="0">
                <a:pos x="connsiteX41417" y="connsiteY41417"/>
              </a:cxn>
              <a:cxn ang="0">
                <a:pos x="connsiteX41418" y="connsiteY41418"/>
              </a:cxn>
              <a:cxn ang="0">
                <a:pos x="connsiteX41419" y="connsiteY41419"/>
              </a:cxn>
              <a:cxn ang="0">
                <a:pos x="connsiteX41420" y="connsiteY41420"/>
              </a:cxn>
              <a:cxn ang="0">
                <a:pos x="connsiteX41421" y="connsiteY41421"/>
              </a:cxn>
              <a:cxn ang="0">
                <a:pos x="connsiteX41422" y="connsiteY41422"/>
              </a:cxn>
              <a:cxn ang="0">
                <a:pos x="connsiteX41423" y="connsiteY41423"/>
              </a:cxn>
              <a:cxn ang="0">
                <a:pos x="connsiteX41424" y="connsiteY41424"/>
              </a:cxn>
              <a:cxn ang="0">
                <a:pos x="connsiteX41425" y="connsiteY41425"/>
              </a:cxn>
              <a:cxn ang="0">
                <a:pos x="connsiteX41426" y="connsiteY41426"/>
              </a:cxn>
              <a:cxn ang="0">
                <a:pos x="connsiteX41427" y="connsiteY41427"/>
              </a:cxn>
              <a:cxn ang="0">
                <a:pos x="connsiteX41428" y="connsiteY41428"/>
              </a:cxn>
              <a:cxn ang="0">
                <a:pos x="connsiteX41429" y="connsiteY41429"/>
              </a:cxn>
              <a:cxn ang="0">
                <a:pos x="connsiteX41430" y="connsiteY41430"/>
              </a:cxn>
              <a:cxn ang="0">
                <a:pos x="connsiteX41431" y="connsiteY41431"/>
              </a:cxn>
              <a:cxn ang="0">
                <a:pos x="connsiteX41432" y="connsiteY41432"/>
              </a:cxn>
              <a:cxn ang="0">
                <a:pos x="connsiteX41433" y="connsiteY41433"/>
              </a:cxn>
              <a:cxn ang="0">
                <a:pos x="connsiteX41434" y="connsiteY41434"/>
              </a:cxn>
              <a:cxn ang="0">
                <a:pos x="connsiteX41435" y="connsiteY41435"/>
              </a:cxn>
              <a:cxn ang="0">
                <a:pos x="connsiteX41436" y="connsiteY41436"/>
              </a:cxn>
              <a:cxn ang="0">
                <a:pos x="connsiteX41437" y="connsiteY41437"/>
              </a:cxn>
              <a:cxn ang="0">
                <a:pos x="connsiteX41438" y="connsiteY41438"/>
              </a:cxn>
              <a:cxn ang="0">
                <a:pos x="connsiteX41439" y="connsiteY41439"/>
              </a:cxn>
              <a:cxn ang="0">
                <a:pos x="connsiteX41440" y="connsiteY41440"/>
              </a:cxn>
              <a:cxn ang="0">
                <a:pos x="connsiteX41441" y="connsiteY41441"/>
              </a:cxn>
              <a:cxn ang="0">
                <a:pos x="connsiteX41442" y="connsiteY41442"/>
              </a:cxn>
              <a:cxn ang="0">
                <a:pos x="connsiteX41443" y="connsiteY41443"/>
              </a:cxn>
              <a:cxn ang="0">
                <a:pos x="connsiteX41444" y="connsiteY41444"/>
              </a:cxn>
              <a:cxn ang="0">
                <a:pos x="connsiteX41445" y="connsiteY41445"/>
              </a:cxn>
              <a:cxn ang="0">
                <a:pos x="connsiteX41446" y="connsiteY41446"/>
              </a:cxn>
              <a:cxn ang="0">
                <a:pos x="connsiteX41447" y="connsiteY41447"/>
              </a:cxn>
              <a:cxn ang="0">
                <a:pos x="connsiteX41448" y="connsiteY41448"/>
              </a:cxn>
              <a:cxn ang="0">
                <a:pos x="connsiteX41449" y="connsiteY41449"/>
              </a:cxn>
              <a:cxn ang="0">
                <a:pos x="connsiteX41450" y="connsiteY41450"/>
              </a:cxn>
              <a:cxn ang="0">
                <a:pos x="connsiteX41451" y="connsiteY41451"/>
              </a:cxn>
              <a:cxn ang="0">
                <a:pos x="connsiteX41452" y="connsiteY41452"/>
              </a:cxn>
              <a:cxn ang="0">
                <a:pos x="connsiteX41453" y="connsiteY41453"/>
              </a:cxn>
              <a:cxn ang="0">
                <a:pos x="connsiteX41454" y="connsiteY41454"/>
              </a:cxn>
              <a:cxn ang="0">
                <a:pos x="connsiteX41455" y="connsiteY41455"/>
              </a:cxn>
              <a:cxn ang="0">
                <a:pos x="connsiteX41456" y="connsiteY41456"/>
              </a:cxn>
              <a:cxn ang="0">
                <a:pos x="connsiteX41457" y="connsiteY41457"/>
              </a:cxn>
              <a:cxn ang="0">
                <a:pos x="connsiteX41458" y="connsiteY41458"/>
              </a:cxn>
              <a:cxn ang="0">
                <a:pos x="connsiteX41459" y="connsiteY41459"/>
              </a:cxn>
              <a:cxn ang="0">
                <a:pos x="connsiteX41460" y="connsiteY41460"/>
              </a:cxn>
              <a:cxn ang="0">
                <a:pos x="connsiteX41461" y="connsiteY41461"/>
              </a:cxn>
              <a:cxn ang="0">
                <a:pos x="connsiteX41462" y="connsiteY41462"/>
              </a:cxn>
              <a:cxn ang="0">
                <a:pos x="connsiteX41463" y="connsiteY41463"/>
              </a:cxn>
              <a:cxn ang="0">
                <a:pos x="connsiteX41464" y="connsiteY41464"/>
              </a:cxn>
              <a:cxn ang="0">
                <a:pos x="connsiteX41465" y="connsiteY41465"/>
              </a:cxn>
              <a:cxn ang="0">
                <a:pos x="connsiteX41466" y="connsiteY41466"/>
              </a:cxn>
              <a:cxn ang="0">
                <a:pos x="connsiteX41467" y="connsiteY41467"/>
              </a:cxn>
              <a:cxn ang="0">
                <a:pos x="connsiteX41468" y="connsiteY41468"/>
              </a:cxn>
              <a:cxn ang="0">
                <a:pos x="connsiteX41469" y="connsiteY41469"/>
              </a:cxn>
              <a:cxn ang="0">
                <a:pos x="connsiteX41470" y="connsiteY41470"/>
              </a:cxn>
              <a:cxn ang="0">
                <a:pos x="connsiteX41471" y="connsiteY41471"/>
              </a:cxn>
              <a:cxn ang="0">
                <a:pos x="connsiteX41472" y="connsiteY41472"/>
              </a:cxn>
              <a:cxn ang="0">
                <a:pos x="connsiteX41473" y="connsiteY41473"/>
              </a:cxn>
              <a:cxn ang="0">
                <a:pos x="connsiteX41474" y="connsiteY41474"/>
              </a:cxn>
              <a:cxn ang="0">
                <a:pos x="connsiteX41475" y="connsiteY41475"/>
              </a:cxn>
              <a:cxn ang="0">
                <a:pos x="connsiteX41476" y="connsiteY41476"/>
              </a:cxn>
              <a:cxn ang="0">
                <a:pos x="connsiteX41477" y="connsiteY41477"/>
              </a:cxn>
              <a:cxn ang="0">
                <a:pos x="connsiteX41478" y="connsiteY41478"/>
              </a:cxn>
              <a:cxn ang="0">
                <a:pos x="connsiteX41479" y="connsiteY41479"/>
              </a:cxn>
              <a:cxn ang="0">
                <a:pos x="connsiteX41480" y="connsiteY41480"/>
              </a:cxn>
              <a:cxn ang="0">
                <a:pos x="connsiteX41481" y="connsiteY41481"/>
              </a:cxn>
              <a:cxn ang="0">
                <a:pos x="connsiteX41482" y="connsiteY41482"/>
              </a:cxn>
              <a:cxn ang="0">
                <a:pos x="connsiteX41483" y="connsiteY41483"/>
              </a:cxn>
              <a:cxn ang="0">
                <a:pos x="connsiteX41484" y="connsiteY41484"/>
              </a:cxn>
              <a:cxn ang="0">
                <a:pos x="connsiteX41485" y="connsiteY41485"/>
              </a:cxn>
              <a:cxn ang="0">
                <a:pos x="connsiteX41486" y="connsiteY41486"/>
              </a:cxn>
              <a:cxn ang="0">
                <a:pos x="connsiteX41487" y="connsiteY41487"/>
              </a:cxn>
              <a:cxn ang="0">
                <a:pos x="connsiteX41488" y="connsiteY41488"/>
              </a:cxn>
              <a:cxn ang="0">
                <a:pos x="connsiteX41489" y="connsiteY41489"/>
              </a:cxn>
              <a:cxn ang="0">
                <a:pos x="connsiteX41490" y="connsiteY41490"/>
              </a:cxn>
              <a:cxn ang="0">
                <a:pos x="connsiteX41491" y="connsiteY41491"/>
              </a:cxn>
              <a:cxn ang="0">
                <a:pos x="connsiteX41492" y="connsiteY41492"/>
              </a:cxn>
              <a:cxn ang="0">
                <a:pos x="connsiteX41493" y="connsiteY41493"/>
              </a:cxn>
              <a:cxn ang="0">
                <a:pos x="connsiteX41494" y="connsiteY41494"/>
              </a:cxn>
              <a:cxn ang="0">
                <a:pos x="connsiteX41495" y="connsiteY41495"/>
              </a:cxn>
              <a:cxn ang="0">
                <a:pos x="connsiteX41496" y="connsiteY41496"/>
              </a:cxn>
              <a:cxn ang="0">
                <a:pos x="connsiteX41497" y="connsiteY41497"/>
              </a:cxn>
              <a:cxn ang="0">
                <a:pos x="connsiteX41498" y="connsiteY41498"/>
              </a:cxn>
              <a:cxn ang="0">
                <a:pos x="connsiteX41499" y="connsiteY41499"/>
              </a:cxn>
              <a:cxn ang="0">
                <a:pos x="connsiteX41500" y="connsiteY41500"/>
              </a:cxn>
              <a:cxn ang="0">
                <a:pos x="connsiteX41501" y="connsiteY41501"/>
              </a:cxn>
              <a:cxn ang="0">
                <a:pos x="connsiteX41502" y="connsiteY41502"/>
              </a:cxn>
              <a:cxn ang="0">
                <a:pos x="connsiteX41503" y="connsiteY41503"/>
              </a:cxn>
              <a:cxn ang="0">
                <a:pos x="connsiteX41504" y="connsiteY41504"/>
              </a:cxn>
              <a:cxn ang="0">
                <a:pos x="connsiteX41505" y="connsiteY41505"/>
              </a:cxn>
              <a:cxn ang="0">
                <a:pos x="connsiteX41506" y="connsiteY41506"/>
              </a:cxn>
              <a:cxn ang="0">
                <a:pos x="connsiteX41507" y="connsiteY41507"/>
              </a:cxn>
              <a:cxn ang="0">
                <a:pos x="connsiteX41508" y="connsiteY41508"/>
              </a:cxn>
              <a:cxn ang="0">
                <a:pos x="connsiteX41509" y="connsiteY41509"/>
              </a:cxn>
              <a:cxn ang="0">
                <a:pos x="connsiteX41510" y="connsiteY41510"/>
              </a:cxn>
              <a:cxn ang="0">
                <a:pos x="connsiteX41511" y="connsiteY41511"/>
              </a:cxn>
              <a:cxn ang="0">
                <a:pos x="connsiteX41512" y="connsiteY41512"/>
              </a:cxn>
              <a:cxn ang="0">
                <a:pos x="connsiteX41513" y="connsiteY41513"/>
              </a:cxn>
              <a:cxn ang="0">
                <a:pos x="connsiteX41514" y="connsiteY41514"/>
              </a:cxn>
              <a:cxn ang="0">
                <a:pos x="connsiteX41515" y="connsiteY41515"/>
              </a:cxn>
              <a:cxn ang="0">
                <a:pos x="connsiteX41516" y="connsiteY41516"/>
              </a:cxn>
              <a:cxn ang="0">
                <a:pos x="connsiteX41517" y="connsiteY41517"/>
              </a:cxn>
              <a:cxn ang="0">
                <a:pos x="connsiteX41518" y="connsiteY41518"/>
              </a:cxn>
              <a:cxn ang="0">
                <a:pos x="connsiteX41519" y="connsiteY41519"/>
              </a:cxn>
              <a:cxn ang="0">
                <a:pos x="connsiteX41520" y="connsiteY41520"/>
              </a:cxn>
              <a:cxn ang="0">
                <a:pos x="connsiteX41521" y="connsiteY41521"/>
              </a:cxn>
              <a:cxn ang="0">
                <a:pos x="connsiteX41522" y="connsiteY41522"/>
              </a:cxn>
              <a:cxn ang="0">
                <a:pos x="connsiteX41523" y="connsiteY41523"/>
              </a:cxn>
              <a:cxn ang="0">
                <a:pos x="connsiteX41524" y="connsiteY41524"/>
              </a:cxn>
              <a:cxn ang="0">
                <a:pos x="connsiteX41525" y="connsiteY41525"/>
              </a:cxn>
              <a:cxn ang="0">
                <a:pos x="connsiteX41526" y="connsiteY41526"/>
              </a:cxn>
              <a:cxn ang="0">
                <a:pos x="connsiteX41527" y="connsiteY41527"/>
              </a:cxn>
              <a:cxn ang="0">
                <a:pos x="connsiteX41528" y="connsiteY41528"/>
              </a:cxn>
              <a:cxn ang="0">
                <a:pos x="connsiteX41529" y="connsiteY41529"/>
              </a:cxn>
              <a:cxn ang="0">
                <a:pos x="connsiteX41530" y="connsiteY41530"/>
              </a:cxn>
              <a:cxn ang="0">
                <a:pos x="connsiteX41531" y="connsiteY41531"/>
              </a:cxn>
              <a:cxn ang="0">
                <a:pos x="connsiteX41532" y="connsiteY41532"/>
              </a:cxn>
              <a:cxn ang="0">
                <a:pos x="connsiteX41533" y="connsiteY41533"/>
              </a:cxn>
              <a:cxn ang="0">
                <a:pos x="connsiteX41534" y="connsiteY41534"/>
              </a:cxn>
              <a:cxn ang="0">
                <a:pos x="connsiteX41535" y="connsiteY41535"/>
              </a:cxn>
              <a:cxn ang="0">
                <a:pos x="connsiteX41536" y="connsiteY41536"/>
              </a:cxn>
              <a:cxn ang="0">
                <a:pos x="connsiteX41537" y="connsiteY41537"/>
              </a:cxn>
              <a:cxn ang="0">
                <a:pos x="connsiteX41538" y="connsiteY41538"/>
              </a:cxn>
              <a:cxn ang="0">
                <a:pos x="connsiteX41539" y="connsiteY41539"/>
              </a:cxn>
              <a:cxn ang="0">
                <a:pos x="connsiteX41540" y="connsiteY41540"/>
              </a:cxn>
              <a:cxn ang="0">
                <a:pos x="connsiteX41541" y="connsiteY41541"/>
              </a:cxn>
              <a:cxn ang="0">
                <a:pos x="connsiteX41542" y="connsiteY41542"/>
              </a:cxn>
              <a:cxn ang="0">
                <a:pos x="connsiteX41543" y="connsiteY41543"/>
              </a:cxn>
              <a:cxn ang="0">
                <a:pos x="connsiteX41544" y="connsiteY41544"/>
              </a:cxn>
              <a:cxn ang="0">
                <a:pos x="connsiteX41545" y="connsiteY41545"/>
              </a:cxn>
              <a:cxn ang="0">
                <a:pos x="connsiteX41546" y="connsiteY41546"/>
              </a:cxn>
              <a:cxn ang="0">
                <a:pos x="connsiteX41547" y="connsiteY41547"/>
              </a:cxn>
              <a:cxn ang="0">
                <a:pos x="connsiteX41548" y="connsiteY41548"/>
              </a:cxn>
              <a:cxn ang="0">
                <a:pos x="connsiteX41549" y="connsiteY41549"/>
              </a:cxn>
              <a:cxn ang="0">
                <a:pos x="connsiteX41550" y="connsiteY41550"/>
              </a:cxn>
              <a:cxn ang="0">
                <a:pos x="connsiteX41551" y="connsiteY41551"/>
              </a:cxn>
              <a:cxn ang="0">
                <a:pos x="connsiteX41552" y="connsiteY41552"/>
              </a:cxn>
              <a:cxn ang="0">
                <a:pos x="connsiteX41553" y="connsiteY41553"/>
              </a:cxn>
              <a:cxn ang="0">
                <a:pos x="connsiteX41554" y="connsiteY41554"/>
              </a:cxn>
              <a:cxn ang="0">
                <a:pos x="connsiteX41555" y="connsiteY41555"/>
              </a:cxn>
              <a:cxn ang="0">
                <a:pos x="connsiteX41556" y="connsiteY41556"/>
              </a:cxn>
              <a:cxn ang="0">
                <a:pos x="connsiteX41557" y="connsiteY41557"/>
              </a:cxn>
              <a:cxn ang="0">
                <a:pos x="connsiteX41558" y="connsiteY41558"/>
              </a:cxn>
              <a:cxn ang="0">
                <a:pos x="connsiteX41559" y="connsiteY41559"/>
              </a:cxn>
              <a:cxn ang="0">
                <a:pos x="connsiteX41560" y="connsiteY41560"/>
              </a:cxn>
              <a:cxn ang="0">
                <a:pos x="connsiteX41561" y="connsiteY41561"/>
              </a:cxn>
              <a:cxn ang="0">
                <a:pos x="connsiteX41562" y="connsiteY41562"/>
              </a:cxn>
              <a:cxn ang="0">
                <a:pos x="connsiteX41563" y="connsiteY41563"/>
              </a:cxn>
              <a:cxn ang="0">
                <a:pos x="connsiteX41564" y="connsiteY41564"/>
              </a:cxn>
              <a:cxn ang="0">
                <a:pos x="connsiteX41565" y="connsiteY41565"/>
              </a:cxn>
              <a:cxn ang="0">
                <a:pos x="connsiteX41566" y="connsiteY41566"/>
              </a:cxn>
              <a:cxn ang="0">
                <a:pos x="connsiteX41567" y="connsiteY41567"/>
              </a:cxn>
              <a:cxn ang="0">
                <a:pos x="connsiteX41568" y="connsiteY41568"/>
              </a:cxn>
              <a:cxn ang="0">
                <a:pos x="connsiteX41569" y="connsiteY41569"/>
              </a:cxn>
              <a:cxn ang="0">
                <a:pos x="connsiteX41570" y="connsiteY41570"/>
              </a:cxn>
              <a:cxn ang="0">
                <a:pos x="connsiteX41571" y="connsiteY41571"/>
              </a:cxn>
              <a:cxn ang="0">
                <a:pos x="connsiteX41572" y="connsiteY41572"/>
              </a:cxn>
              <a:cxn ang="0">
                <a:pos x="connsiteX41573" y="connsiteY41573"/>
              </a:cxn>
              <a:cxn ang="0">
                <a:pos x="connsiteX41574" y="connsiteY41574"/>
              </a:cxn>
              <a:cxn ang="0">
                <a:pos x="connsiteX41575" y="connsiteY41575"/>
              </a:cxn>
              <a:cxn ang="0">
                <a:pos x="connsiteX41576" y="connsiteY41576"/>
              </a:cxn>
              <a:cxn ang="0">
                <a:pos x="connsiteX41577" y="connsiteY41577"/>
              </a:cxn>
              <a:cxn ang="0">
                <a:pos x="connsiteX41578" y="connsiteY41578"/>
              </a:cxn>
              <a:cxn ang="0">
                <a:pos x="connsiteX41579" y="connsiteY41579"/>
              </a:cxn>
              <a:cxn ang="0">
                <a:pos x="connsiteX41580" y="connsiteY41580"/>
              </a:cxn>
              <a:cxn ang="0">
                <a:pos x="connsiteX41581" y="connsiteY41581"/>
              </a:cxn>
              <a:cxn ang="0">
                <a:pos x="connsiteX41582" y="connsiteY41582"/>
              </a:cxn>
              <a:cxn ang="0">
                <a:pos x="connsiteX41583" y="connsiteY41583"/>
              </a:cxn>
              <a:cxn ang="0">
                <a:pos x="connsiteX41584" y="connsiteY41584"/>
              </a:cxn>
              <a:cxn ang="0">
                <a:pos x="connsiteX41585" y="connsiteY41585"/>
              </a:cxn>
              <a:cxn ang="0">
                <a:pos x="connsiteX41586" y="connsiteY41586"/>
              </a:cxn>
              <a:cxn ang="0">
                <a:pos x="connsiteX41587" y="connsiteY41587"/>
              </a:cxn>
              <a:cxn ang="0">
                <a:pos x="connsiteX41588" y="connsiteY41588"/>
              </a:cxn>
              <a:cxn ang="0">
                <a:pos x="connsiteX41589" y="connsiteY41589"/>
              </a:cxn>
              <a:cxn ang="0">
                <a:pos x="connsiteX41590" y="connsiteY41590"/>
              </a:cxn>
              <a:cxn ang="0">
                <a:pos x="connsiteX41591" y="connsiteY41591"/>
              </a:cxn>
              <a:cxn ang="0">
                <a:pos x="connsiteX41592" y="connsiteY41592"/>
              </a:cxn>
              <a:cxn ang="0">
                <a:pos x="connsiteX41593" y="connsiteY41593"/>
              </a:cxn>
              <a:cxn ang="0">
                <a:pos x="connsiteX41594" y="connsiteY41594"/>
              </a:cxn>
              <a:cxn ang="0">
                <a:pos x="connsiteX41595" y="connsiteY41595"/>
              </a:cxn>
              <a:cxn ang="0">
                <a:pos x="connsiteX41596" y="connsiteY41596"/>
              </a:cxn>
              <a:cxn ang="0">
                <a:pos x="connsiteX41597" y="connsiteY41597"/>
              </a:cxn>
              <a:cxn ang="0">
                <a:pos x="connsiteX41598" y="connsiteY41598"/>
              </a:cxn>
              <a:cxn ang="0">
                <a:pos x="connsiteX41599" y="connsiteY41599"/>
              </a:cxn>
              <a:cxn ang="0">
                <a:pos x="connsiteX41600" y="connsiteY41600"/>
              </a:cxn>
              <a:cxn ang="0">
                <a:pos x="connsiteX41601" y="connsiteY41601"/>
              </a:cxn>
              <a:cxn ang="0">
                <a:pos x="connsiteX41602" y="connsiteY41602"/>
              </a:cxn>
              <a:cxn ang="0">
                <a:pos x="connsiteX41603" y="connsiteY41603"/>
              </a:cxn>
              <a:cxn ang="0">
                <a:pos x="connsiteX41604" y="connsiteY41604"/>
              </a:cxn>
              <a:cxn ang="0">
                <a:pos x="connsiteX41605" y="connsiteY41605"/>
              </a:cxn>
              <a:cxn ang="0">
                <a:pos x="connsiteX41606" y="connsiteY41606"/>
              </a:cxn>
              <a:cxn ang="0">
                <a:pos x="connsiteX41607" y="connsiteY41607"/>
              </a:cxn>
              <a:cxn ang="0">
                <a:pos x="connsiteX41608" y="connsiteY41608"/>
              </a:cxn>
              <a:cxn ang="0">
                <a:pos x="connsiteX41609" y="connsiteY41609"/>
              </a:cxn>
              <a:cxn ang="0">
                <a:pos x="connsiteX41610" y="connsiteY41610"/>
              </a:cxn>
              <a:cxn ang="0">
                <a:pos x="connsiteX41611" y="connsiteY41611"/>
              </a:cxn>
              <a:cxn ang="0">
                <a:pos x="connsiteX41612" y="connsiteY41612"/>
              </a:cxn>
              <a:cxn ang="0">
                <a:pos x="connsiteX41613" y="connsiteY41613"/>
              </a:cxn>
              <a:cxn ang="0">
                <a:pos x="connsiteX41614" y="connsiteY41614"/>
              </a:cxn>
              <a:cxn ang="0">
                <a:pos x="connsiteX41615" y="connsiteY41615"/>
              </a:cxn>
              <a:cxn ang="0">
                <a:pos x="connsiteX41616" y="connsiteY41616"/>
              </a:cxn>
              <a:cxn ang="0">
                <a:pos x="connsiteX41617" y="connsiteY41617"/>
              </a:cxn>
              <a:cxn ang="0">
                <a:pos x="connsiteX41618" y="connsiteY41618"/>
              </a:cxn>
              <a:cxn ang="0">
                <a:pos x="connsiteX41619" y="connsiteY41619"/>
              </a:cxn>
              <a:cxn ang="0">
                <a:pos x="connsiteX41620" y="connsiteY41620"/>
              </a:cxn>
              <a:cxn ang="0">
                <a:pos x="connsiteX41621" y="connsiteY41621"/>
              </a:cxn>
              <a:cxn ang="0">
                <a:pos x="connsiteX41622" y="connsiteY41622"/>
              </a:cxn>
              <a:cxn ang="0">
                <a:pos x="connsiteX41623" y="connsiteY41623"/>
              </a:cxn>
              <a:cxn ang="0">
                <a:pos x="connsiteX41624" y="connsiteY41624"/>
              </a:cxn>
              <a:cxn ang="0">
                <a:pos x="connsiteX41625" y="connsiteY41625"/>
              </a:cxn>
              <a:cxn ang="0">
                <a:pos x="connsiteX41626" y="connsiteY41626"/>
              </a:cxn>
              <a:cxn ang="0">
                <a:pos x="connsiteX41627" y="connsiteY41627"/>
              </a:cxn>
              <a:cxn ang="0">
                <a:pos x="connsiteX41628" y="connsiteY41628"/>
              </a:cxn>
              <a:cxn ang="0">
                <a:pos x="connsiteX41629" y="connsiteY41629"/>
              </a:cxn>
              <a:cxn ang="0">
                <a:pos x="connsiteX41630" y="connsiteY41630"/>
              </a:cxn>
              <a:cxn ang="0">
                <a:pos x="connsiteX41631" y="connsiteY41631"/>
              </a:cxn>
              <a:cxn ang="0">
                <a:pos x="connsiteX41632" y="connsiteY41632"/>
              </a:cxn>
              <a:cxn ang="0">
                <a:pos x="connsiteX41633" y="connsiteY41633"/>
              </a:cxn>
              <a:cxn ang="0">
                <a:pos x="connsiteX41634" y="connsiteY41634"/>
              </a:cxn>
              <a:cxn ang="0">
                <a:pos x="connsiteX41635" y="connsiteY41635"/>
              </a:cxn>
              <a:cxn ang="0">
                <a:pos x="connsiteX41636" y="connsiteY41636"/>
              </a:cxn>
              <a:cxn ang="0">
                <a:pos x="connsiteX41637" y="connsiteY41637"/>
              </a:cxn>
              <a:cxn ang="0">
                <a:pos x="connsiteX41638" y="connsiteY41638"/>
              </a:cxn>
              <a:cxn ang="0">
                <a:pos x="connsiteX41639" y="connsiteY41639"/>
              </a:cxn>
              <a:cxn ang="0">
                <a:pos x="connsiteX41640" y="connsiteY41640"/>
              </a:cxn>
              <a:cxn ang="0">
                <a:pos x="connsiteX41641" y="connsiteY41641"/>
              </a:cxn>
              <a:cxn ang="0">
                <a:pos x="connsiteX41642" y="connsiteY41642"/>
              </a:cxn>
              <a:cxn ang="0">
                <a:pos x="connsiteX41643" y="connsiteY41643"/>
              </a:cxn>
              <a:cxn ang="0">
                <a:pos x="connsiteX41644" y="connsiteY41644"/>
              </a:cxn>
              <a:cxn ang="0">
                <a:pos x="connsiteX41645" y="connsiteY41645"/>
              </a:cxn>
              <a:cxn ang="0">
                <a:pos x="connsiteX41646" y="connsiteY41646"/>
              </a:cxn>
              <a:cxn ang="0">
                <a:pos x="connsiteX41647" y="connsiteY41647"/>
              </a:cxn>
              <a:cxn ang="0">
                <a:pos x="connsiteX41648" y="connsiteY41648"/>
              </a:cxn>
              <a:cxn ang="0">
                <a:pos x="connsiteX41649" y="connsiteY41649"/>
              </a:cxn>
              <a:cxn ang="0">
                <a:pos x="connsiteX41650" y="connsiteY41650"/>
              </a:cxn>
              <a:cxn ang="0">
                <a:pos x="connsiteX41651" y="connsiteY41651"/>
              </a:cxn>
              <a:cxn ang="0">
                <a:pos x="connsiteX41652" y="connsiteY41652"/>
              </a:cxn>
              <a:cxn ang="0">
                <a:pos x="connsiteX41653" y="connsiteY41653"/>
              </a:cxn>
              <a:cxn ang="0">
                <a:pos x="connsiteX41654" y="connsiteY41654"/>
              </a:cxn>
              <a:cxn ang="0">
                <a:pos x="connsiteX41655" y="connsiteY41655"/>
              </a:cxn>
              <a:cxn ang="0">
                <a:pos x="connsiteX41656" y="connsiteY41656"/>
              </a:cxn>
              <a:cxn ang="0">
                <a:pos x="connsiteX41657" y="connsiteY41657"/>
              </a:cxn>
              <a:cxn ang="0">
                <a:pos x="connsiteX41658" y="connsiteY41658"/>
              </a:cxn>
              <a:cxn ang="0">
                <a:pos x="connsiteX41659" y="connsiteY41659"/>
              </a:cxn>
              <a:cxn ang="0">
                <a:pos x="connsiteX41660" y="connsiteY41660"/>
              </a:cxn>
              <a:cxn ang="0">
                <a:pos x="connsiteX41661" y="connsiteY41661"/>
              </a:cxn>
              <a:cxn ang="0">
                <a:pos x="connsiteX41662" y="connsiteY41662"/>
              </a:cxn>
              <a:cxn ang="0">
                <a:pos x="connsiteX41663" y="connsiteY41663"/>
              </a:cxn>
              <a:cxn ang="0">
                <a:pos x="connsiteX41664" y="connsiteY41664"/>
              </a:cxn>
              <a:cxn ang="0">
                <a:pos x="connsiteX41665" y="connsiteY41665"/>
              </a:cxn>
              <a:cxn ang="0">
                <a:pos x="connsiteX41666" y="connsiteY41666"/>
              </a:cxn>
              <a:cxn ang="0">
                <a:pos x="connsiteX41667" y="connsiteY41667"/>
              </a:cxn>
              <a:cxn ang="0">
                <a:pos x="connsiteX41668" y="connsiteY41668"/>
              </a:cxn>
              <a:cxn ang="0">
                <a:pos x="connsiteX41669" y="connsiteY41669"/>
              </a:cxn>
              <a:cxn ang="0">
                <a:pos x="connsiteX41670" y="connsiteY41670"/>
              </a:cxn>
              <a:cxn ang="0">
                <a:pos x="connsiteX41671" y="connsiteY41671"/>
              </a:cxn>
              <a:cxn ang="0">
                <a:pos x="connsiteX41672" y="connsiteY41672"/>
              </a:cxn>
              <a:cxn ang="0">
                <a:pos x="connsiteX41673" y="connsiteY41673"/>
              </a:cxn>
              <a:cxn ang="0">
                <a:pos x="connsiteX41674" y="connsiteY41674"/>
              </a:cxn>
              <a:cxn ang="0">
                <a:pos x="connsiteX41675" y="connsiteY41675"/>
              </a:cxn>
              <a:cxn ang="0">
                <a:pos x="connsiteX41676" y="connsiteY41676"/>
              </a:cxn>
              <a:cxn ang="0">
                <a:pos x="connsiteX41677" y="connsiteY41677"/>
              </a:cxn>
              <a:cxn ang="0">
                <a:pos x="connsiteX41678" y="connsiteY41678"/>
              </a:cxn>
              <a:cxn ang="0">
                <a:pos x="connsiteX41679" y="connsiteY41679"/>
              </a:cxn>
              <a:cxn ang="0">
                <a:pos x="connsiteX41680" y="connsiteY41680"/>
              </a:cxn>
              <a:cxn ang="0">
                <a:pos x="connsiteX41681" y="connsiteY41681"/>
              </a:cxn>
              <a:cxn ang="0">
                <a:pos x="connsiteX41682" y="connsiteY41682"/>
              </a:cxn>
              <a:cxn ang="0">
                <a:pos x="connsiteX41683" y="connsiteY41683"/>
              </a:cxn>
              <a:cxn ang="0">
                <a:pos x="connsiteX41684" y="connsiteY41684"/>
              </a:cxn>
              <a:cxn ang="0">
                <a:pos x="connsiteX41685" y="connsiteY41685"/>
              </a:cxn>
              <a:cxn ang="0">
                <a:pos x="connsiteX41686" y="connsiteY41686"/>
              </a:cxn>
              <a:cxn ang="0">
                <a:pos x="connsiteX41687" y="connsiteY41687"/>
              </a:cxn>
              <a:cxn ang="0">
                <a:pos x="connsiteX41688" y="connsiteY41688"/>
              </a:cxn>
              <a:cxn ang="0">
                <a:pos x="connsiteX41689" y="connsiteY41689"/>
              </a:cxn>
              <a:cxn ang="0">
                <a:pos x="connsiteX41690" y="connsiteY41690"/>
              </a:cxn>
              <a:cxn ang="0">
                <a:pos x="connsiteX41691" y="connsiteY41691"/>
              </a:cxn>
              <a:cxn ang="0">
                <a:pos x="connsiteX41692" y="connsiteY41692"/>
              </a:cxn>
              <a:cxn ang="0">
                <a:pos x="connsiteX41693" y="connsiteY41693"/>
              </a:cxn>
              <a:cxn ang="0">
                <a:pos x="connsiteX41694" y="connsiteY41694"/>
              </a:cxn>
              <a:cxn ang="0">
                <a:pos x="connsiteX41695" y="connsiteY41695"/>
              </a:cxn>
              <a:cxn ang="0">
                <a:pos x="connsiteX41696" y="connsiteY41696"/>
              </a:cxn>
              <a:cxn ang="0">
                <a:pos x="connsiteX41697" y="connsiteY41697"/>
              </a:cxn>
              <a:cxn ang="0">
                <a:pos x="connsiteX41698" y="connsiteY41698"/>
              </a:cxn>
              <a:cxn ang="0">
                <a:pos x="connsiteX41699" y="connsiteY41699"/>
              </a:cxn>
              <a:cxn ang="0">
                <a:pos x="connsiteX41700" y="connsiteY41700"/>
              </a:cxn>
              <a:cxn ang="0">
                <a:pos x="connsiteX41701" y="connsiteY41701"/>
              </a:cxn>
              <a:cxn ang="0">
                <a:pos x="connsiteX41702" y="connsiteY41702"/>
              </a:cxn>
              <a:cxn ang="0">
                <a:pos x="connsiteX41703" y="connsiteY41703"/>
              </a:cxn>
              <a:cxn ang="0">
                <a:pos x="connsiteX41704" y="connsiteY41704"/>
              </a:cxn>
              <a:cxn ang="0">
                <a:pos x="connsiteX41705" y="connsiteY41705"/>
              </a:cxn>
              <a:cxn ang="0">
                <a:pos x="connsiteX41706" y="connsiteY41706"/>
              </a:cxn>
              <a:cxn ang="0">
                <a:pos x="connsiteX41707" y="connsiteY41707"/>
              </a:cxn>
              <a:cxn ang="0">
                <a:pos x="connsiteX41708" y="connsiteY41708"/>
              </a:cxn>
              <a:cxn ang="0">
                <a:pos x="connsiteX41709" y="connsiteY41709"/>
              </a:cxn>
              <a:cxn ang="0">
                <a:pos x="connsiteX41710" y="connsiteY41710"/>
              </a:cxn>
              <a:cxn ang="0">
                <a:pos x="connsiteX41711" y="connsiteY41711"/>
              </a:cxn>
              <a:cxn ang="0">
                <a:pos x="connsiteX41712" y="connsiteY41712"/>
              </a:cxn>
              <a:cxn ang="0">
                <a:pos x="connsiteX41713" y="connsiteY41713"/>
              </a:cxn>
              <a:cxn ang="0">
                <a:pos x="connsiteX41714" y="connsiteY41714"/>
              </a:cxn>
              <a:cxn ang="0">
                <a:pos x="connsiteX41715" y="connsiteY41715"/>
              </a:cxn>
              <a:cxn ang="0">
                <a:pos x="connsiteX41716" y="connsiteY41716"/>
              </a:cxn>
              <a:cxn ang="0">
                <a:pos x="connsiteX41717" y="connsiteY41717"/>
              </a:cxn>
              <a:cxn ang="0">
                <a:pos x="connsiteX41718" y="connsiteY41718"/>
              </a:cxn>
              <a:cxn ang="0">
                <a:pos x="connsiteX41719" y="connsiteY41719"/>
              </a:cxn>
              <a:cxn ang="0">
                <a:pos x="connsiteX41720" y="connsiteY41720"/>
              </a:cxn>
              <a:cxn ang="0">
                <a:pos x="connsiteX41721" y="connsiteY41721"/>
              </a:cxn>
              <a:cxn ang="0">
                <a:pos x="connsiteX41722" y="connsiteY41722"/>
              </a:cxn>
              <a:cxn ang="0">
                <a:pos x="connsiteX41723" y="connsiteY41723"/>
              </a:cxn>
              <a:cxn ang="0">
                <a:pos x="connsiteX41724" y="connsiteY41724"/>
              </a:cxn>
              <a:cxn ang="0">
                <a:pos x="connsiteX41725" y="connsiteY41725"/>
              </a:cxn>
              <a:cxn ang="0">
                <a:pos x="connsiteX41726" y="connsiteY41726"/>
              </a:cxn>
              <a:cxn ang="0">
                <a:pos x="connsiteX41727" y="connsiteY41727"/>
              </a:cxn>
              <a:cxn ang="0">
                <a:pos x="connsiteX41728" y="connsiteY41728"/>
              </a:cxn>
              <a:cxn ang="0">
                <a:pos x="connsiteX41729" y="connsiteY41729"/>
              </a:cxn>
              <a:cxn ang="0">
                <a:pos x="connsiteX41730" y="connsiteY41730"/>
              </a:cxn>
              <a:cxn ang="0">
                <a:pos x="connsiteX41731" y="connsiteY41731"/>
              </a:cxn>
              <a:cxn ang="0">
                <a:pos x="connsiteX41732" y="connsiteY41732"/>
              </a:cxn>
              <a:cxn ang="0">
                <a:pos x="connsiteX41733" y="connsiteY41733"/>
              </a:cxn>
              <a:cxn ang="0">
                <a:pos x="connsiteX41734" y="connsiteY41734"/>
              </a:cxn>
              <a:cxn ang="0">
                <a:pos x="connsiteX41735" y="connsiteY41735"/>
              </a:cxn>
              <a:cxn ang="0">
                <a:pos x="connsiteX41736" y="connsiteY41736"/>
              </a:cxn>
              <a:cxn ang="0">
                <a:pos x="connsiteX41737" y="connsiteY41737"/>
              </a:cxn>
              <a:cxn ang="0">
                <a:pos x="connsiteX41738" y="connsiteY41738"/>
              </a:cxn>
              <a:cxn ang="0">
                <a:pos x="connsiteX41739" y="connsiteY41739"/>
              </a:cxn>
              <a:cxn ang="0">
                <a:pos x="connsiteX41740" y="connsiteY41740"/>
              </a:cxn>
              <a:cxn ang="0">
                <a:pos x="connsiteX41741" y="connsiteY41741"/>
              </a:cxn>
              <a:cxn ang="0">
                <a:pos x="connsiteX41742" y="connsiteY41742"/>
              </a:cxn>
              <a:cxn ang="0">
                <a:pos x="connsiteX41743" y="connsiteY41743"/>
              </a:cxn>
              <a:cxn ang="0">
                <a:pos x="connsiteX41744" y="connsiteY41744"/>
              </a:cxn>
              <a:cxn ang="0">
                <a:pos x="connsiteX41745" y="connsiteY41745"/>
              </a:cxn>
              <a:cxn ang="0">
                <a:pos x="connsiteX41746" y="connsiteY41746"/>
              </a:cxn>
              <a:cxn ang="0">
                <a:pos x="connsiteX41747" y="connsiteY41747"/>
              </a:cxn>
              <a:cxn ang="0">
                <a:pos x="connsiteX41748" y="connsiteY41748"/>
              </a:cxn>
              <a:cxn ang="0">
                <a:pos x="connsiteX41749" y="connsiteY41749"/>
              </a:cxn>
              <a:cxn ang="0">
                <a:pos x="connsiteX41750" y="connsiteY41750"/>
              </a:cxn>
              <a:cxn ang="0">
                <a:pos x="connsiteX41751" y="connsiteY41751"/>
              </a:cxn>
              <a:cxn ang="0">
                <a:pos x="connsiteX41752" y="connsiteY41752"/>
              </a:cxn>
              <a:cxn ang="0">
                <a:pos x="connsiteX41753" y="connsiteY41753"/>
              </a:cxn>
              <a:cxn ang="0">
                <a:pos x="connsiteX41754" y="connsiteY41754"/>
              </a:cxn>
              <a:cxn ang="0">
                <a:pos x="connsiteX41755" y="connsiteY41755"/>
              </a:cxn>
              <a:cxn ang="0">
                <a:pos x="connsiteX41756" y="connsiteY41756"/>
              </a:cxn>
              <a:cxn ang="0">
                <a:pos x="connsiteX41757" y="connsiteY41757"/>
              </a:cxn>
              <a:cxn ang="0">
                <a:pos x="connsiteX41758" y="connsiteY41758"/>
              </a:cxn>
              <a:cxn ang="0">
                <a:pos x="connsiteX41759" y="connsiteY41759"/>
              </a:cxn>
              <a:cxn ang="0">
                <a:pos x="connsiteX41760" y="connsiteY41760"/>
              </a:cxn>
              <a:cxn ang="0">
                <a:pos x="connsiteX41761" y="connsiteY41761"/>
              </a:cxn>
              <a:cxn ang="0">
                <a:pos x="connsiteX41762" y="connsiteY41762"/>
              </a:cxn>
              <a:cxn ang="0">
                <a:pos x="connsiteX41763" y="connsiteY41763"/>
              </a:cxn>
              <a:cxn ang="0">
                <a:pos x="connsiteX41764" y="connsiteY41764"/>
              </a:cxn>
              <a:cxn ang="0">
                <a:pos x="connsiteX41765" y="connsiteY41765"/>
              </a:cxn>
              <a:cxn ang="0">
                <a:pos x="connsiteX41766" y="connsiteY41766"/>
              </a:cxn>
              <a:cxn ang="0">
                <a:pos x="connsiteX41767" y="connsiteY41767"/>
              </a:cxn>
              <a:cxn ang="0">
                <a:pos x="connsiteX41768" y="connsiteY41768"/>
              </a:cxn>
              <a:cxn ang="0">
                <a:pos x="connsiteX41769" y="connsiteY41769"/>
              </a:cxn>
              <a:cxn ang="0">
                <a:pos x="connsiteX41770" y="connsiteY41770"/>
              </a:cxn>
              <a:cxn ang="0">
                <a:pos x="connsiteX41771" y="connsiteY41771"/>
              </a:cxn>
              <a:cxn ang="0">
                <a:pos x="connsiteX41772" y="connsiteY41772"/>
              </a:cxn>
              <a:cxn ang="0">
                <a:pos x="connsiteX41773" y="connsiteY41773"/>
              </a:cxn>
              <a:cxn ang="0">
                <a:pos x="connsiteX41774" y="connsiteY41774"/>
              </a:cxn>
              <a:cxn ang="0">
                <a:pos x="connsiteX41775" y="connsiteY41775"/>
              </a:cxn>
              <a:cxn ang="0">
                <a:pos x="connsiteX41776" y="connsiteY41776"/>
              </a:cxn>
              <a:cxn ang="0">
                <a:pos x="connsiteX41777" y="connsiteY41777"/>
              </a:cxn>
              <a:cxn ang="0">
                <a:pos x="connsiteX41778" y="connsiteY41778"/>
              </a:cxn>
              <a:cxn ang="0">
                <a:pos x="connsiteX41779" y="connsiteY41779"/>
              </a:cxn>
              <a:cxn ang="0">
                <a:pos x="connsiteX41780" y="connsiteY41780"/>
              </a:cxn>
              <a:cxn ang="0">
                <a:pos x="connsiteX41781" y="connsiteY41781"/>
              </a:cxn>
              <a:cxn ang="0">
                <a:pos x="connsiteX41782" y="connsiteY41782"/>
              </a:cxn>
              <a:cxn ang="0">
                <a:pos x="connsiteX41783" y="connsiteY41783"/>
              </a:cxn>
              <a:cxn ang="0">
                <a:pos x="connsiteX41784" y="connsiteY41784"/>
              </a:cxn>
              <a:cxn ang="0">
                <a:pos x="connsiteX41785" y="connsiteY41785"/>
              </a:cxn>
              <a:cxn ang="0">
                <a:pos x="connsiteX41786" y="connsiteY41786"/>
              </a:cxn>
              <a:cxn ang="0">
                <a:pos x="connsiteX41787" y="connsiteY41787"/>
              </a:cxn>
              <a:cxn ang="0">
                <a:pos x="connsiteX41788" y="connsiteY41788"/>
              </a:cxn>
              <a:cxn ang="0">
                <a:pos x="connsiteX41789" y="connsiteY41789"/>
              </a:cxn>
              <a:cxn ang="0">
                <a:pos x="connsiteX41790" y="connsiteY41790"/>
              </a:cxn>
              <a:cxn ang="0">
                <a:pos x="connsiteX41791" y="connsiteY41791"/>
              </a:cxn>
              <a:cxn ang="0">
                <a:pos x="connsiteX41792" y="connsiteY41792"/>
              </a:cxn>
              <a:cxn ang="0">
                <a:pos x="connsiteX41793" y="connsiteY41793"/>
              </a:cxn>
              <a:cxn ang="0">
                <a:pos x="connsiteX41794" y="connsiteY41794"/>
              </a:cxn>
              <a:cxn ang="0">
                <a:pos x="connsiteX41795" y="connsiteY41795"/>
              </a:cxn>
              <a:cxn ang="0">
                <a:pos x="connsiteX41796" y="connsiteY41796"/>
              </a:cxn>
              <a:cxn ang="0">
                <a:pos x="connsiteX41797" y="connsiteY41797"/>
              </a:cxn>
              <a:cxn ang="0">
                <a:pos x="connsiteX41798" y="connsiteY41798"/>
              </a:cxn>
              <a:cxn ang="0">
                <a:pos x="connsiteX41799" y="connsiteY41799"/>
              </a:cxn>
              <a:cxn ang="0">
                <a:pos x="connsiteX41800" y="connsiteY41800"/>
              </a:cxn>
              <a:cxn ang="0">
                <a:pos x="connsiteX41801" y="connsiteY41801"/>
              </a:cxn>
              <a:cxn ang="0">
                <a:pos x="connsiteX41802" y="connsiteY41802"/>
              </a:cxn>
              <a:cxn ang="0">
                <a:pos x="connsiteX41803" y="connsiteY41803"/>
              </a:cxn>
              <a:cxn ang="0">
                <a:pos x="connsiteX41804" y="connsiteY41804"/>
              </a:cxn>
              <a:cxn ang="0">
                <a:pos x="connsiteX41805" y="connsiteY41805"/>
              </a:cxn>
              <a:cxn ang="0">
                <a:pos x="connsiteX41806" y="connsiteY41806"/>
              </a:cxn>
              <a:cxn ang="0">
                <a:pos x="connsiteX41807" y="connsiteY41807"/>
              </a:cxn>
              <a:cxn ang="0">
                <a:pos x="connsiteX41808" y="connsiteY41808"/>
              </a:cxn>
              <a:cxn ang="0">
                <a:pos x="connsiteX41809" y="connsiteY41809"/>
              </a:cxn>
              <a:cxn ang="0">
                <a:pos x="connsiteX41810" y="connsiteY41810"/>
              </a:cxn>
              <a:cxn ang="0">
                <a:pos x="connsiteX41811" y="connsiteY41811"/>
              </a:cxn>
              <a:cxn ang="0">
                <a:pos x="connsiteX41812" y="connsiteY41812"/>
              </a:cxn>
              <a:cxn ang="0">
                <a:pos x="connsiteX41813" y="connsiteY41813"/>
              </a:cxn>
              <a:cxn ang="0">
                <a:pos x="connsiteX41814" y="connsiteY41814"/>
              </a:cxn>
              <a:cxn ang="0">
                <a:pos x="connsiteX41815" y="connsiteY41815"/>
              </a:cxn>
              <a:cxn ang="0">
                <a:pos x="connsiteX41816" y="connsiteY41816"/>
              </a:cxn>
              <a:cxn ang="0">
                <a:pos x="connsiteX41817" y="connsiteY41817"/>
              </a:cxn>
              <a:cxn ang="0">
                <a:pos x="connsiteX41818" y="connsiteY41818"/>
              </a:cxn>
              <a:cxn ang="0">
                <a:pos x="connsiteX41819" y="connsiteY41819"/>
              </a:cxn>
              <a:cxn ang="0">
                <a:pos x="connsiteX41820" y="connsiteY41820"/>
              </a:cxn>
              <a:cxn ang="0">
                <a:pos x="connsiteX41821" y="connsiteY41821"/>
              </a:cxn>
              <a:cxn ang="0">
                <a:pos x="connsiteX41822" y="connsiteY41822"/>
              </a:cxn>
              <a:cxn ang="0">
                <a:pos x="connsiteX41823" y="connsiteY41823"/>
              </a:cxn>
              <a:cxn ang="0">
                <a:pos x="connsiteX41824" y="connsiteY41824"/>
              </a:cxn>
              <a:cxn ang="0">
                <a:pos x="connsiteX41825" y="connsiteY41825"/>
              </a:cxn>
              <a:cxn ang="0">
                <a:pos x="connsiteX41826" y="connsiteY41826"/>
              </a:cxn>
              <a:cxn ang="0">
                <a:pos x="connsiteX41827" y="connsiteY41827"/>
              </a:cxn>
              <a:cxn ang="0">
                <a:pos x="connsiteX41828" y="connsiteY41828"/>
              </a:cxn>
              <a:cxn ang="0">
                <a:pos x="connsiteX41829" y="connsiteY41829"/>
              </a:cxn>
              <a:cxn ang="0">
                <a:pos x="connsiteX41830" y="connsiteY41830"/>
              </a:cxn>
              <a:cxn ang="0">
                <a:pos x="connsiteX41831" y="connsiteY41831"/>
              </a:cxn>
              <a:cxn ang="0">
                <a:pos x="connsiteX41832" y="connsiteY41832"/>
              </a:cxn>
              <a:cxn ang="0">
                <a:pos x="connsiteX41833" y="connsiteY41833"/>
              </a:cxn>
              <a:cxn ang="0">
                <a:pos x="connsiteX41834" y="connsiteY41834"/>
              </a:cxn>
              <a:cxn ang="0">
                <a:pos x="connsiteX41835" y="connsiteY41835"/>
              </a:cxn>
              <a:cxn ang="0">
                <a:pos x="connsiteX41836" y="connsiteY41836"/>
              </a:cxn>
              <a:cxn ang="0">
                <a:pos x="connsiteX41837" y="connsiteY41837"/>
              </a:cxn>
              <a:cxn ang="0">
                <a:pos x="connsiteX41838" y="connsiteY41838"/>
              </a:cxn>
              <a:cxn ang="0">
                <a:pos x="connsiteX41839" y="connsiteY41839"/>
              </a:cxn>
              <a:cxn ang="0">
                <a:pos x="connsiteX41840" y="connsiteY41840"/>
              </a:cxn>
              <a:cxn ang="0">
                <a:pos x="connsiteX41841" y="connsiteY41841"/>
              </a:cxn>
              <a:cxn ang="0">
                <a:pos x="connsiteX41842" y="connsiteY41842"/>
              </a:cxn>
              <a:cxn ang="0">
                <a:pos x="connsiteX41843" y="connsiteY41843"/>
              </a:cxn>
              <a:cxn ang="0">
                <a:pos x="connsiteX41844" y="connsiteY41844"/>
              </a:cxn>
              <a:cxn ang="0">
                <a:pos x="connsiteX41845" y="connsiteY41845"/>
              </a:cxn>
              <a:cxn ang="0">
                <a:pos x="connsiteX41846" y="connsiteY41846"/>
              </a:cxn>
              <a:cxn ang="0">
                <a:pos x="connsiteX41847" y="connsiteY41847"/>
              </a:cxn>
              <a:cxn ang="0">
                <a:pos x="connsiteX41848" y="connsiteY41848"/>
              </a:cxn>
              <a:cxn ang="0">
                <a:pos x="connsiteX41849" y="connsiteY41849"/>
              </a:cxn>
              <a:cxn ang="0">
                <a:pos x="connsiteX41850" y="connsiteY41850"/>
              </a:cxn>
              <a:cxn ang="0">
                <a:pos x="connsiteX41851" y="connsiteY41851"/>
              </a:cxn>
              <a:cxn ang="0">
                <a:pos x="connsiteX41852" y="connsiteY41852"/>
              </a:cxn>
              <a:cxn ang="0">
                <a:pos x="connsiteX41853" y="connsiteY41853"/>
              </a:cxn>
              <a:cxn ang="0">
                <a:pos x="connsiteX41854" y="connsiteY41854"/>
              </a:cxn>
              <a:cxn ang="0">
                <a:pos x="connsiteX41855" y="connsiteY41855"/>
              </a:cxn>
              <a:cxn ang="0">
                <a:pos x="connsiteX41856" y="connsiteY41856"/>
              </a:cxn>
              <a:cxn ang="0">
                <a:pos x="connsiteX41857" y="connsiteY41857"/>
              </a:cxn>
              <a:cxn ang="0">
                <a:pos x="connsiteX41858" y="connsiteY41858"/>
              </a:cxn>
              <a:cxn ang="0">
                <a:pos x="connsiteX41859" y="connsiteY41859"/>
              </a:cxn>
              <a:cxn ang="0">
                <a:pos x="connsiteX41860" y="connsiteY41860"/>
              </a:cxn>
              <a:cxn ang="0">
                <a:pos x="connsiteX41861" y="connsiteY41861"/>
              </a:cxn>
              <a:cxn ang="0">
                <a:pos x="connsiteX41862" y="connsiteY41862"/>
              </a:cxn>
              <a:cxn ang="0">
                <a:pos x="connsiteX41863" y="connsiteY41863"/>
              </a:cxn>
              <a:cxn ang="0">
                <a:pos x="connsiteX41864" y="connsiteY41864"/>
              </a:cxn>
              <a:cxn ang="0">
                <a:pos x="connsiteX41865" y="connsiteY41865"/>
              </a:cxn>
              <a:cxn ang="0">
                <a:pos x="connsiteX41866" y="connsiteY41866"/>
              </a:cxn>
              <a:cxn ang="0">
                <a:pos x="connsiteX41867" y="connsiteY41867"/>
              </a:cxn>
              <a:cxn ang="0">
                <a:pos x="connsiteX41868" y="connsiteY41868"/>
              </a:cxn>
              <a:cxn ang="0">
                <a:pos x="connsiteX41869" y="connsiteY41869"/>
              </a:cxn>
              <a:cxn ang="0">
                <a:pos x="connsiteX41870" y="connsiteY41870"/>
              </a:cxn>
              <a:cxn ang="0">
                <a:pos x="connsiteX41871" y="connsiteY41871"/>
              </a:cxn>
              <a:cxn ang="0">
                <a:pos x="connsiteX41872" y="connsiteY41872"/>
              </a:cxn>
              <a:cxn ang="0">
                <a:pos x="connsiteX41873" y="connsiteY41873"/>
              </a:cxn>
              <a:cxn ang="0">
                <a:pos x="connsiteX41874" y="connsiteY41874"/>
              </a:cxn>
              <a:cxn ang="0">
                <a:pos x="connsiteX41875" y="connsiteY41875"/>
              </a:cxn>
              <a:cxn ang="0">
                <a:pos x="connsiteX41876" y="connsiteY41876"/>
              </a:cxn>
              <a:cxn ang="0">
                <a:pos x="connsiteX41877" y="connsiteY41877"/>
              </a:cxn>
              <a:cxn ang="0">
                <a:pos x="connsiteX41878" y="connsiteY41878"/>
              </a:cxn>
              <a:cxn ang="0">
                <a:pos x="connsiteX41879" y="connsiteY41879"/>
              </a:cxn>
              <a:cxn ang="0">
                <a:pos x="connsiteX41880" y="connsiteY41880"/>
              </a:cxn>
              <a:cxn ang="0">
                <a:pos x="connsiteX41881" y="connsiteY41881"/>
              </a:cxn>
              <a:cxn ang="0">
                <a:pos x="connsiteX41882" y="connsiteY41882"/>
              </a:cxn>
              <a:cxn ang="0">
                <a:pos x="connsiteX41883" y="connsiteY41883"/>
              </a:cxn>
              <a:cxn ang="0">
                <a:pos x="connsiteX41884" y="connsiteY41884"/>
              </a:cxn>
              <a:cxn ang="0">
                <a:pos x="connsiteX41885" y="connsiteY41885"/>
              </a:cxn>
              <a:cxn ang="0">
                <a:pos x="connsiteX41886" y="connsiteY41886"/>
              </a:cxn>
              <a:cxn ang="0">
                <a:pos x="connsiteX41887" y="connsiteY41887"/>
              </a:cxn>
              <a:cxn ang="0">
                <a:pos x="connsiteX41888" y="connsiteY41888"/>
              </a:cxn>
              <a:cxn ang="0">
                <a:pos x="connsiteX41889" y="connsiteY41889"/>
              </a:cxn>
              <a:cxn ang="0">
                <a:pos x="connsiteX41890" y="connsiteY41890"/>
              </a:cxn>
              <a:cxn ang="0">
                <a:pos x="connsiteX41891" y="connsiteY41891"/>
              </a:cxn>
              <a:cxn ang="0">
                <a:pos x="connsiteX41892" y="connsiteY41892"/>
              </a:cxn>
              <a:cxn ang="0">
                <a:pos x="connsiteX41893" y="connsiteY41893"/>
              </a:cxn>
              <a:cxn ang="0">
                <a:pos x="connsiteX41894" y="connsiteY41894"/>
              </a:cxn>
              <a:cxn ang="0">
                <a:pos x="connsiteX41895" y="connsiteY41895"/>
              </a:cxn>
              <a:cxn ang="0">
                <a:pos x="connsiteX41896" y="connsiteY41896"/>
              </a:cxn>
              <a:cxn ang="0">
                <a:pos x="connsiteX41897" y="connsiteY41897"/>
              </a:cxn>
              <a:cxn ang="0">
                <a:pos x="connsiteX41898" y="connsiteY41898"/>
              </a:cxn>
              <a:cxn ang="0">
                <a:pos x="connsiteX41899" y="connsiteY41899"/>
              </a:cxn>
              <a:cxn ang="0">
                <a:pos x="connsiteX41900" y="connsiteY41900"/>
              </a:cxn>
              <a:cxn ang="0">
                <a:pos x="connsiteX41901" y="connsiteY41901"/>
              </a:cxn>
              <a:cxn ang="0">
                <a:pos x="connsiteX41902" y="connsiteY41902"/>
              </a:cxn>
              <a:cxn ang="0">
                <a:pos x="connsiteX41903" y="connsiteY41903"/>
              </a:cxn>
              <a:cxn ang="0">
                <a:pos x="connsiteX41904" y="connsiteY41904"/>
              </a:cxn>
              <a:cxn ang="0">
                <a:pos x="connsiteX41905" y="connsiteY41905"/>
              </a:cxn>
              <a:cxn ang="0">
                <a:pos x="connsiteX41906" y="connsiteY41906"/>
              </a:cxn>
              <a:cxn ang="0">
                <a:pos x="connsiteX41907" y="connsiteY41907"/>
              </a:cxn>
              <a:cxn ang="0">
                <a:pos x="connsiteX41908" y="connsiteY41908"/>
              </a:cxn>
              <a:cxn ang="0">
                <a:pos x="connsiteX41909" y="connsiteY41909"/>
              </a:cxn>
              <a:cxn ang="0">
                <a:pos x="connsiteX41910" y="connsiteY41910"/>
              </a:cxn>
              <a:cxn ang="0">
                <a:pos x="connsiteX41911" y="connsiteY41911"/>
              </a:cxn>
              <a:cxn ang="0">
                <a:pos x="connsiteX41912" y="connsiteY41912"/>
              </a:cxn>
              <a:cxn ang="0">
                <a:pos x="connsiteX41913" y="connsiteY41913"/>
              </a:cxn>
              <a:cxn ang="0">
                <a:pos x="connsiteX41914" y="connsiteY41914"/>
              </a:cxn>
              <a:cxn ang="0">
                <a:pos x="connsiteX41915" y="connsiteY41915"/>
              </a:cxn>
              <a:cxn ang="0">
                <a:pos x="connsiteX41916" y="connsiteY41916"/>
              </a:cxn>
              <a:cxn ang="0">
                <a:pos x="connsiteX41917" y="connsiteY41917"/>
              </a:cxn>
              <a:cxn ang="0">
                <a:pos x="connsiteX41918" y="connsiteY41918"/>
              </a:cxn>
              <a:cxn ang="0">
                <a:pos x="connsiteX41919" y="connsiteY41919"/>
              </a:cxn>
              <a:cxn ang="0">
                <a:pos x="connsiteX41920" y="connsiteY41920"/>
              </a:cxn>
              <a:cxn ang="0">
                <a:pos x="connsiteX41921" y="connsiteY41921"/>
              </a:cxn>
              <a:cxn ang="0">
                <a:pos x="connsiteX41922" y="connsiteY41922"/>
              </a:cxn>
              <a:cxn ang="0">
                <a:pos x="connsiteX41923" y="connsiteY41923"/>
              </a:cxn>
              <a:cxn ang="0">
                <a:pos x="connsiteX41924" y="connsiteY41924"/>
              </a:cxn>
              <a:cxn ang="0">
                <a:pos x="connsiteX41925" y="connsiteY41925"/>
              </a:cxn>
              <a:cxn ang="0">
                <a:pos x="connsiteX41926" y="connsiteY41926"/>
              </a:cxn>
              <a:cxn ang="0">
                <a:pos x="connsiteX41927" y="connsiteY41927"/>
              </a:cxn>
              <a:cxn ang="0">
                <a:pos x="connsiteX41928" y="connsiteY41928"/>
              </a:cxn>
              <a:cxn ang="0">
                <a:pos x="connsiteX41929" y="connsiteY41929"/>
              </a:cxn>
              <a:cxn ang="0">
                <a:pos x="connsiteX41930" y="connsiteY41930"/>
              </a:cxn>
              <a:cxn ang="0">
                <a:pos x="connsiteX41931" y="connsiteY41931"/>
              </a:cxn>
              <a:cxn ang="0">
                <a:pos x="connsiteX41932" y="connsiteY41932"/>
              </a:cxn>
              <a:cxn ang="0">
                <a:pos x="connsiteX41933" y="connsiteY41933"/>
              </a:cxn>
              <a:cxn ang="0">
                <a:pos x="connsiteX41934" y="connsiteY41934"/>
              </a:cxn>
              <a:cxn ang="0">
                <a:pos x="connsiteX41935" y="connsiteY41935"/>
              </a:cxn>
              <a:cxn ang="0">
                <a:pos x="connsiteX41936" y="connsiteY41936"/>
              </a:cxn>
              <a:cxn ang="0">
                <a:pos x="connsiteX41937" y="connsiteY41937"/>
              </a:cxn>
              <a:cxn ang="0">
                <a:pos x="connsiteX41938" y="connsiteY41938"/>
              </a:cxn>
              <a:cxn ang="0">
                <a:pos x="connsiteX41939" y="connsiteY41939"/>
              </a:cxn>
              <a:cxn ang="0">
                <a:pos x="connsiteX41940" y="connsiteY41940"/>
              </a:cxn>
              <a:cxn ang="0">
                <a:pos x="connsiteX41941" y="connsiteY41941"/>
              </a:cxn>
              <a:cxn ang="0">
                <a:pos x="connsiteX41942" y="connsiteY41942"/>
              </a:cxn>
              <a:cxn ang="0">
                <a:pos x="connsiteX41943" y="connsiteY41943"/>
              </a:cxn>
              <a:cxn ang="0">
                <a:pos x="connsiteX41944" y="connsiteY41944"/>
              </a:cxn>
              <a:cxn ang="0">
                <a:pos x="connsiteX41945" y="connsiteY41945"/>
              </a:cxn>
              <a:cxn ang="0">
                <a:pos x="connsiteX41946" y="connsiteY41946"/>
              </a:cxn>
              <a:cxn ang="0">
                <a:pos x="connsiteX41947" y="connsiteY41947"/>
              </a:cxn>
              <a:cxn ang="0">
                <a:pos x="connsiteX41948" y="connsiteY41948"/>
              </a:cxn>
              <a:cxn ang="0">
                <a:pos x="connsiteX41949" y="connsiteY41949"/>
              </a:cxn>
              <a:cxn ang="0">
                <a:pos x="connsiteX41950" y="connsiteY41950"/>
              </a:cxn>
              <a:cxn ang="0">
                <a:pos x="connsiteX41951" y="connsiteY41951"/>
              </a:cxn>
              <a:cxn ang="0">
                <a:pos x="connsiteX41952" y="connsiteY41952"/>
              </a:cxn>
              <a:cxn ang="0">
                <a:pos x="connsiteX41953" y="connsiteY41953"/>
              </a:cxn>
              <a:cxn ang="0">
                <a:pos x="connsiteX41954" y="connsiteY41954"/>
              </a:cxn>
              <a:cxn ang="0">
                <a:pos x="connsiteX41955" y="connsiteY41955"/>
              </a:cxn>
              <a:cxn ang="0">
                <a:pos x="connsiteX41956" y="connsiteY41956"/>
              </a:cxn>
              <a:cxn ang="0">
                <a:pos x="connsiteX41957" y="connsiteY41957"/>
              </a:cxn>
              <a:cxn ang="0">
                <a:pos x="connsiteX41958" y="connsiteY41958"/>
              </a:cxn>
              <a:cxn ang="0">
                <a:pos x="connsiteX41959" y="connsiteY41959"/>
              </a:cxn>
              <a:cxn ang="0">
                <a:pos x="connsiteX41960" y="connsiteY41960"/>
              </a:cxn>
              <a:cxn ang="0">
                <a:pos x="connsiteX41961" y="connsiteY41961"/>
              </a:cxn>
              <a:cxn ang="0">
                <a:pos x="connsiteX41962" y="connsiteY41962"/>
              </a:cxn>
              <a:cxn ang="0">
                <a:pos x="connsiteX41963" y="connsiteY41963"/>
              </a:cxn>
              <a:cxn ang="0">
                <a:pos x="connsiteX41964" y="connsiteY41964"/>
              </a:cxn>
              <a:cxn ang="0">
                <a:pos x="connsiteX41965" y="connsiteY41965"/>
              </a:cxn>
              <a:cxn ang="0">
                <a:pos x="connsiteX41966" y="connsiteY41966"/>
              </a:cxn>
              <a:cxn ang="0">
                <a:pos x="connsiteX41967" y="connsiteY41967"/>
              </a:cxn>
              <a:cxn ang="0">
                <a:pos x="connsiteX41968" y="connsiteY41968"/>
              </a:cxn>
              <a:cxn ang="0">
                <a:pos x="connsiteX41969" y="connsiteY41969"/>
              </a:cxn>
              <a:cxn ang="0">
                <a:pos x="connsiteX41970" y="connsiteY41970"/>
              </a:cxn>
              <a:cxn ang="0">
                <a:pos x="connsiteX41971" y="connsiteY41971"/>
              </a:cxn>
              <a:cxn ang="0">
                <a:pos x="connsiteX41972" y="connsiteY41972"/>
              </a:cxn>
              <a:cxn ang="0">
                <a:pos x="connsiteX41973" y="connsiteY41973"/>
              </a:cxn>
              <a:cxn ang="0">
                <a:pos x="connsiteX41974" y="connsiteY41974"/>
              </a:cxn>
              <a:cxn ang="0">
                <a:pos x="connsiteX41975" y="connsiteY41975"/>
              </a:cxn>
              <a:cxn ang="0">
                <a:pos x="connsiteX41976" y="connsiteY41976"/>
              </a:cxn>
              <a:cxn ang="0">
                <a:pos x="connsiteX41977" y="connsiteY41977"/>
              </a:cxn>
              <a:cxn ang="0">
                <a:pos x="connsiteX41978" y="connsiteY41978"/>
              </a:cxn>
              <a:cxn ang="0">
                <a:pos x="connsiteX41979" y="connsiteY41979"/>
              </a:cxn>
              <a:cxn ang="0">
                <a:pos x="connsiteX41980" y="connsiteY41980"/>
              </a:cxn>
              <a:cxn ang="0">
                <a:pos x="connsiteX41981" y="connsiteY41981"/>
              </a:cxn>
              <a:cxn ang="0">
                <a:pos x="connsiteX41982" y="connsiteY41982"/>
              </a:cxn>
              <a:cxn ang="0">
                <a:pos x="connsiteX41983" y="connsiteY41983"/>
              </a:cxn>
              <a:cxn ang="0">
                <a:pos x="connsiteX41984" y="connsiteY41984"/>
              </a:cxn>
              <a:cxn ang="0">
                <a:pos x="connsiteX41985" y="connsiteY41985"/>
              </a:cxn>
              <a:cxn ang="0">
                <a:pos x="connsiteX41986" y="connsiteY41986"/>
              </a:cxn>
              <a:cxn ang="0">
                <a:pos x="connsiteX41987" y="connsiteY41987"/>
              </a:cxn>
              <a:cxn ang="0">
                <a:pos x="connsiteX41988" y="connsiteY41988"/>
              </a:cxn>
              <a:cxn ang="0">
                <a:pos x="connsiteX41989" y="connsiteY41989"/>
              </a:cxn>
              <a:cxn ang="0">
                <a:pos x="connsiteX41990" y="connsiteY41990"/>
              </a:cxn>
              <a:cxn ang="0">
                <a:pos x="connsiteX41991" y="connsiteY41991"/>
              </a:cxn>
              <a:cxn ang="0">
                <a:pos x="connsiteX41992" y="connsiteY41992"/>
              </a:cxn>
              <a:cxn ang="0">
                <a:pos x="connsiteX41993" y="connsiteY41993"/>
              </a:cxn>
              <a:cxn ang="0">
                <a:pos x="connsiteX41994" y="connsiteY41994"/>
              </a:cxn>
              <a:cxn ang="0">
                <a:pos x="connsiteX41995" y="connsiteY41995"/>
              </a:cxn>
              <a:cxn ang="0">
                <a:pos x="connsiteX41996" y="connsiteY41996"/>
              </a:cxn>
              <a:cxn ang="0">
                <a:pos x="connsiteX41997" y="connsiteY41997"/>
              </a:cxn>
              <a:cxn ang="0">
                <a:pos x="connsiteX41998" y="connsiteY41998"/>
              </a:cxn>
              <a:cxn ang="0">
                <a:pos x="connsiteX41999" y="connsiteY41999"/>
              </a:cxn>
              <a:cxn ang="0">
                <a:pos x="connsiteX42000" y="connsiteY42000"/>
              </a:cxn>
              <a:cxn ang="0">
                <a:pos x="connsiteX42001" y="connsiteY42001"/>
              </a:cxn>
              <a:cxn ang="0">
                <a:pos x="connsiteX42002" y="connsiteY42002"/>
              </a:cxn>
              <a:cxn ang="0">
                <a:pos x="connsiteX42003" y="connsiteY42003"/>
              </a:cxn>
              <a:cxn ang="0">
                <a:pos x="connsiteX42004" y="connsiteY42004"/>
              </a:cxn>
              <a:cxn ang="0">
                <a:pos x="connsiteX42005" y="connsiteY42005"/>
              </a:cxn>
              <a:cxn ang="0">
                <a:pos x="connsiteX42006" y="connsiteY42006"/>
              </a:cxn>
              <a:cxn ang="0">
                <a:pos x="connsiteX42007" y="connsiteY42007"/>
              </a:cxn>
              <a:cxn ang="0">
                <a:pos x="connsiteX42008" y="connsiteY42008"/>
              </a:cxn>
              <a:cxn ang="0">
                <a:pos x="connsiteX42009" y="connsiteY42009"/>
              </a:cxn>
              <a:cxn ang="0">
                <a:pos x="connsiteX42010" y="connsiteY42010"/>
              </a:cxn>
              <a:cxn ang="0">
                <a:pos x="connsiteX42011" y="connsiteY42011"/>
              </a:cxn>
              <a:cxn ang="0">
                <a:pos x="connsiteX42012" y="connsiteY42012"/>
              </a:cxn>
              <a:cxn ang="0">
                <a:pos x="connsiteX42013" y="connsiteY42013"/>
              </a:cxn>
              <a:cxn ang="0">
                <a:pos x="connsiteX42014" y="connsiteY42014"/>
              </a:cxn>
              <a:cxn ang="0">
                <a:pos x="connsiteX42015" y="connsiteY42015"/>
              </a:cxn>
              <a:cxn ang="0">
                <a:pos x="connsiteX42016" y="connsiteY42016"/>
              </a:cxn>
              <a:cxn ang="0">
                <a:pos x="connsiteX42017" y="connsiteY42017"/>
              </a:cxn>
              <a:cxn ang="0">
                <a:pos x="connsiteX42018" y="connsiteY42018"/>
              </a:cxn>
              <a:cxn ang="0">
                <a:pos x="connsiteX42019" y="connsiteY42019"/>
              </a:cxn>
              <a:cxn ang="0">
                <a:pos x="connsiteX42020" y="connsiteY42020"/>
              </a:cxn>
              <a:cxn ang="0">
                <a:pos x="connsiteX42021" y="connsiteY42021"/>
              </a:cxn>
              <a:cxn ang="0">
                <a:pos x="connsiteX42022" y="connsiteY42022"/>
              </a:cxn>
              <a:cxn ang="0">
                <a:pos x="connsiteX42023" y="connsiteY42023"/>
              </a:cxn>
              <a:cxn ang="0">
                <a:pos x="connsiteX42024" y="connsiteY42024"/>
              </a:cxn>
              <a:cxn ang="0">
                <a:pos x="connsiteX42025" y="connsiteY42025"/>
              </a:cxn>
              <a:cxn ang="0">
                <a:pos x="connsiteX42026" y="connsiteY42026"/>
              </a:cxn>
              <a:cxn ang="0">
                <a:pos x="connsiteX42027" y="connsiteY42027"/>
              </a:cxn>
              <a:cxn ang="0">
                <a:pos x="connsiteX42028" y="connsiteY42028"/>
              </a:cxn>
              <a:cxn ang="0">
                <a:pos x="connsiteX42029" y="connsiteY42029"/>
              </a:cxn>
              <a:cxn ang="0">
                <a:pos x="connsiteX42030" y="connsiteY42030"/>
              </a:cxn>
              <a:cxn ang="0">
                <a:pos x="connsiteX42031" y="connsiteY42031"/>
              </a:cxn>
              <a:cxn ang="0">
                <a:pos x="connsiteX42032" y="connsiteY42032"/>
              </a:cxn>
              <a:cxn ang="0">
                <a:pos x="connsiteX42033" y="connsiteY42033"/>
              </a:cxn>
              <a:cxn ang="0">
                <a:pos x="connsiteX42034" y="connsiteY42034"/>
              </a:cxn>
              <a:cxn ang="0">
                <a:pos x="connsiteX42035" y="connsiteY42035"/>
              </a:cxn>
              <a:cxn ang="0">
                <a:pos x="connsiteX42036" y="connsiteY42036"/>
              </a:cxn>
              <a:cxn ang="0">
                <a:pos x="connsiteX42037" y="connsiteY42037"/>
              </a:cxn>
              <a:cxn ang="0">
                <a:pos x="connsiteX42038" y="connsiteY42038"/>
              </a:cxn>
              <a:cxn ang="0">
                <a:pos x="connsiteX42039" y="connsiteY42039"/>
              </a:cxn>
              <a:cxn ang="0">
                <a:pos x="connsiteX42040" y="connsiteY42040"/>
              </a:cxn>
              <a:cxn ang="0">
                <a:pos x="connsiteX42041" y="connsiteY42041"/>
              </a:cxn>
              <a:cxn ang="0">
                <a:pos x="connsiteX42042" y="connsiteY42042"/>
              </a:cxn>
              <a:cxn ang="0">
                <a:pos x="connsiteX42043" y="connsiteY42043"/>
              </a:cxn>
              <a:cxn ang="0">
                <a:pos x="connsiteX42044" y="connsiteY42044"/>
              </a:cxn>
              <a:cxn ang="0">
                <a:pos x="connsiteX42045" y="connsiteY42045"/>
              </a:cxn>
              <a:cxn ang="0">
                <a:pos x="connsiteX42046" y="connsiteY42046"/>
              </a:cxn>
              <a:cxn ang="0">
                <a:pos x="connsiteX42047" y="connsiteY42047"/>
              </a:cxn>
              <a:cxn ang="0">
                <a:pos x="connsiteX42048" y="connsiteY42048"/>
              </a:cxn>
              <a:cxn ang="0">
                <a:pos x="connsiteX42049" y="connsiteY42049"/>
              </a:cxn>
              <a:cxn ang="0">
                <a:pos x="connsiteX42050" y="connsiteY42050"/>
              </a:cxn>
              <a:cxn ang="0">
                <a:pos x="connsiteX42051" y="connsiteY42051"/>
              </a:cxn>
              <a:cxn ang="0">
                <a:pos x="connsiteX42052" y="connsiteY42052"/>
              </a:cxn>
              <a:cxn ang="0">
                <a:pos x="connsiteX42053" y="connsiteY42053"/>
              </a:cxn>
              <a:cxn ang="0">
                <a:pos x="connsiteX42054" y="connsiteY42054"/>
              </a:cxn>
              <a:cxn ang="0">
                <a:pos x="connsiteX42055" y="connsiteY42055"/>
              </a:cxn>
              <a:cxn ang="0">
                <a:pos x="connsiteX42056" y="connsiteY42056"/>
              </a:cxn>
              <a:cxn ang="0">
                <a:pos x="connsiteX42057" y="connsiteY42057"/>
              </a:cxn>
              <a:cxn ang="0">
                <a:pos x="connsiteX42058" y="connsiteY42058"/>
              </a:cxn>
              <a:cxn ang="0">
                <a:pos x="connsiteX42059" y="connsiteY42059"/>
              </a:cxn>
              <a:cxn ang="0">
                <a:pos x="connsiteX42060" y="connsiteY42060"/>
              </a:cxn>
              <a:cxn ang="0">
                <a:pos x="connsiteX42061" y="connsiteY42061"/>
              </a:cxn>
              <a:cxn ang="0">
                <a:pos x="connsiteX42062" y="connsiteY42062"/>
              </a:cxn>
              <a:cxn ang="0">
                <a:pos x="connsiteX42063" y="connsiteY42063"/>
              </a:cxn>
              <a:cxn ang="0">
                <a:pos x="connsiteX42064" y="connsiteY42064"/>
              </a:cxn>
              <a:cxn ang="0">
                <a:pos x="connsiteX42065" y="connsiteY42065"/>
              </a:cxn>
              <a:cxn ang="0">
                <a:pos x="connsiteX42066" y="connsiteY42066"/>
              </a:cxn>
              <a:cxn ang="0">
                <a:pos x="connsiteX42067" y="connsiteY42067"/>
              </a:cxn>
              <a:cxn ang="0">
                <a:pos x="connsiteX42068" y="connsiteY42068"/>
              </a:cxn>
              <a:cxn ang="0">
                <a:pos x="connsiteX42069" y="connsiteY42069"/>
              </a:cxn>
              <a:cxn ang="0">
                <a:pos x="connsiteX42070" y="connsiteY42070"/>
              </a:cxn>
              <a:cxn ang="0">
                <a:pos x="connsiteX42071" y="connsiteY42071"/>
              </a:cxn>
              <a:cxn ang="0">
                <a:pos x="connsiteX42072" y="connsiteY42072"/>
              </a:cxn>
              <a:cxn ang="0">
                <a:pos x="connsiteX42073" y="connsiteY42073"/>
              </a:cxn>
              <a:cxn ang="0">
                <a:pos x="connsiteX42074" y="connsiteY42074"/>
              </a:cxn>
              <a:cxn ang="0">
                <a:pos x="connsiteX42075" y="connsiteY42075"/>
              </a:cxn>
              <a:cxn ang="0">
                <a:pos x="connsiteX42076" y="connsiteY42076"/>
              </a:cxn>
              <a:cxn ang="0">
                <a:pos x="connsiteX42077" y="connsiteY42077"/>
              </a:cxn>
              <a:cxn ang="0">
                <a:pos x="connsiteX42078" y="connsiteY42078"/>
              </a:cxn>
              <a:cxn ang="0">
                <a:pos x="connsiteX42079" y="connsiteY42079"/>
              </a:cxn>
              <a:cxn ang="0">
                <a:pos x="connsiteX42080" y="connsiteY42080"/>
              </a:cxn>
              <a:cxn ang="0">
                <a:pos x="connsiteX42081" y="connsiteY42081"/>
              </a:cxn>
              <a:cxn ang="0">
                <a:pos x="connsiteX42082" y="connsiteY42082"/>
              </a:cxn>
              <a:cxn ang="0">
                <a:pos x="connsiteX42083" y="connsiteY42083"/>
              </a:cxn>
              <a:cxn ang="0">
                <a:pos x="connsiteX42084" y="connsiteY42084"/>
              </a:cxn>
              <a:cxn ang="0">
                <a:pos x="connsiteX42085" y="connsiteY42085"/>
              </a:cxn>
              <a:cxn ang="0">
                <a:pos x="connsiteX42086" y="connsiteY42086"/>
              </a:cxn>
              <a:cxn ang="0">
                <a:pos x="connsiteX42087" y="connsiteY42087"/>
              </a:cxn>
              <a:cxn ang="0">
                <a:pos x="connsiteX42088" y="connsiteY42088"/>
              </a:cxn>
              <a:cxn ang="0">
                <a:pos x="connsiteX42089" y="connsiteY42089"/>
              </a:cxn>
              <a:cxn ang="0">
                <a:pos x="connsiteX42090" y="connsiteY42090"/>
              </a:cxn>
              <a:cxn ang="0">
                <a:pos x="connsiteX42091" y="connsiteY42091"/>
              </a:cxn>
              <a:cxn ang="0">
                <a:pos x="connsiteX42092" y="connsiteY42092"/>
              </a:cxn>
              <a:cxn ang="0">
                <a:pos x="connsiteX42093" y="connsiteY42093"/>
              </a:cxn>
              <a:cxn ang="0">
                <a:pos x="connsiteX42094" y="connsiteY42094"/>
              </a:cxn>
              <a:cxn ang="0">
                <a:pos x="connsiteX42095" y="connsiteY42095"/>
              </a:cxn>
              <a:cxn ang="0">
                <a:pos x="connsiteX42096" y="connsiteY42096"/>
              </a:cxn>
              <a:cxn ang="0">
                <a:pos x="connsiteX42097" y="connsiteY42097"/>
              </a:cxn>
              <a:cxn ang="0">
                <a:pos x="connsiteX42098" y="connsiteY42098"/>
              </a:cxn>
              <a:cxn ang="0">
                <a:pos x="connsiteX42099" y="connsiteY42099"/>
              </a:cxn>
              <a:cxn ang="0">
                <a:pos x="connsiteX42100" y="connsiteY42100"/>
              </a:cxn>
              <a:cxn ang="0">
                <a:pos x="connsiteX42101" y="connsiteY42101"/>
              </a:cxn>
              <a:cxn ang="0">
                <a:pos x="connsiteX42102" y="connsiteY42102"/>
              </a:cxn>
              <a:cxn ang="0">
                <a:pos x="connsiteX42103" y="connsiteY42103"/>
              </a:cxn>
              <a:cxn ang="0">
                <a:pos x="connsiteX42104" y="connsiteY42104"/>
              </a:cxn>
              <a:cxn ang="0">
                <a:pos x="connsiteX42105" y="connsiteY42105"/>
              </a:cxn>
              <a:cxn ang="0">
                <a:pos x="connsiteX42106" y="connsiteY42106"/>
              </a:cxn>
              <a:cxn ang="0">
                <a:pos x="connsiteX42107" y="connsiteY42107"/>
              </a:cxn>
              <a:cxn ang="0">
                <a:pos x="connsiteX42108" y="connsiteY42108"/>
              </a:cxn>
              <a:cxn ang="0">
                <a:pos x="connsiteX42109" y="connsiteY42109"/>
              </a:cxn>
              <a:cxn ang="0">
                <a:pos x="connsiteX42110" y="connsiteY42110"/>
              </a:cxn>
              <a:cxn ang="0">
                <a:pos x="connsiteX42111" y="connsiteY42111"/>
              </a:cxn>
              <a:cxn ang="0">
                <a:pos x="connsiteX42112" y="connsiteY42112"/>
              </a:cxn>
              <a:cxn ang="0">
                <a:pos x="connsiteX42113" y="connsiteY42113"/>
              </a:cxn>
              <a:cxn ang="0">
                <a:pos x="connsiteX42114" y="connsiteY42114"/>
              </a:cxn>
              <a:cxn ang="0">
                <a:pos x="connsiteX42115" y="connsiteY42115"/>
              </a:cxn>
              <a:cxn ang="0">
                <a:pos x="connsiteX42116" y="connsiteY42116"/>
              </a:cxn>
              <a:cxn ang="0">
                <a:pos x="connsiteX42117" y="connsiteY42117"/>
              </a:cxn>
              <a:cxn ang="0">
                <a:pos x="connsiteX42118" y="connsiteY42118"/>
              </a:cxn>
              <a:cxn ang="0">
                <a:pos x="connsiteX42119" y="connsiteY42119"/>
              </a:cxn>
              <a:cxn ang="0">
                <a:pos x="connsiteX42120" y="connsiteY42120"/>
              </a:cxn>
              <a:cxn ang="0">
                <a:pos x="connsiteX42121" y="connsiteY42121"/>
              </a:cxn>
              <a:cxn ang="0">
                <a:pos x="connsiteX42122" y="connsiteY42122"/>
              </a:cxn>
              <a:cxn ang="0">
                <a:pos x="connsiteX42123" y="connsiteY42123"/>
              </a:cxn>
              <a:cxn ang="0">
                <a:pos x="connsiteX42124" y="connsiteY42124"/>
              </a:cxn>
              <a:cxn ang="0">
                <a:pos x="connsiteX42125" y="connsiteY42125"/>
              </a:cxn>
              <a:cxn ang="0">
                <a:pos x="connsiteX42126" y="connsiteY42126"/>
              </a:cxn>
              <a:cxn ang="0">
                <a:pos x="connsiteX42127" y="connsiteY42127"/>
              </a:cxn>
              <a:cxn ang="0">
                <a:pos x="connsiteX42128" y="connsiteY42128"/>
              </a:cxn>
              <a:cxn ang="0">
                <a:pos x="connsiteX42129" y="connsiteY42129"/>
              </a:cxn>
              <a:cxn ang="0">
                <a:pos x="connsiteX42130" y="connsiteY42130"/>
              </a:cxn>
              <a:cxn ang="0">
                <a:pos x="connsiteX42131" y="connsiteY42131"/>
              </a:cxn>
              <a:cxn ang="0">
                <a:pos x="connsiteX42132" y="connsiteY42132"/>
              </a:cxn>
              <a:cxn ang="0">
                <a:pos x="connsiteX42133" y="connsiteY42133"/>
              </a:cxn>
              <a:cxn ang="0">
                <a:pos x="connsiteX42134" y="connsiteY42134"/>
              </a:cxn>
              <a:cxn ang="0">
                <a:pos x="connsiteX42135" y="connsiteY42135"/>
              </a:cxn>
              <a:cxn ang="0">
                <a:pos x="connsiteX42136" y="connsiteY42136"/>
              </a:cxn>
              <a:cxn ang="0">
                <a:pos x="connsiteX42137" y="connsiteY42137"/>
              </a:cxn>
              <a:cxn ang="0">
                <a:pos x="connsiteX42138" y="connsiteY42138"/>
              </a:cxn>
              <a:cxn ang="0">
                <a:pos x="connsiteX42139" y="connsiteY42139"/>
              </a:cxn>
              <a:cxn ang="0">
                <a:pos x="connsiteX42140" y="connsiteY42140"/>
              </a:cxn>
              <a:cxn ang="0">
                <a:pos x="connsiteX42141" y="connsiteY42141"/>
              </a:cxn>
              <a:cxn ang="0">
                <a:pos x="connsiteX42142" y="connsiteY42142"/>
              </a:cxn>
              <a:cxn ang="0">
                <a:pos x="connsiteX42143" y="connsiteY42143"/>
              </a:cxn>
              <a:cxn ang="0">
                <a:pos x="connsiteX42144" y="connsiteY42144"/>
              </a:cxn>
              <a:cxn ang="0">
                <a:pos x="connsiteX42145" y="connsiteY42145"/>
              </a:cxn>
              <a:cxn ang="0">
                <a:pos x="connsiteX42146" y="connsiteY42146"/>
              </a:cxn>
              <a:cxn ang="0">
                <a:pos x="connsiteX42147" y="connsiteY42147"/>
              </a:cxn>
              <a:cxn ang="0">
                <a:pos x="connsiteX42148" y="connsiteY42148"/>
              </a:cxn>
              <a:cxn ang="0">
                <a:pos x="connsiteX42149" y="connsiteY42149"/>
              </a:cxn>
              <a:cxn ang="0">
                <a:pos x="connsiteX42150" y="connsiteY42150"/>
              </a:cxn>
              <a:cxn ang="0">
                <a:pos x="connsiteX42151" y="connsiteY42151"/>
              </a:cxn>
              <a:cxn ang="0">
                <a:pos x="connsiteX42152" y="connsiteY42152"/>
              </a:cxn>
              <a:cxn ang="0">
                <a:pos x="connsiteX42153" y="connsiteY42153"/>
              </a:cxn>
              <a:cxn ang="0">
                <a:pos x="connsiteX42154" y="connsiteY42154"/>
              </a:cxn>
              <a:cxn ang="0">
                <a:pos x="connsiteX42155" y="connsiteY42155"/>
              </a:cxn>
              <a:cxn ang="0">
                <a:pos x="connsiteX42156" y="connsiteY42156"/>
              </a:cxn>
              <a:cxn ang="0">
                <a:pos x="connsiteX42157" y="connsiteY42157"/>
              </a:cxn>
              <a:cxn ang="0">
                <a:pos x="connsiteX42158" y="connsiteY42158"/>
              </a:cxn>
              <a:cxn ang="0">
                <a:pos x="connsiteX42159" y="connsiteY42159"/>
              </a:cxn>
              <a:cxn ang="0">
                <a:pos x="connsiteX42160" y="connsiteY42160"/>
              </a:cxn>
              <a:cxn ang="0">
                <a:pos x="connsiteX42161" y="connsiteY42161"/>
              </a:cxn>
              <a:cxn ang="0">
                <a:pos x="connsiteX42162" y="connsiteY42162"/>
              </a:cxn>
              <a:cxn ang="0">
                <a:pos x="connsiteX42163" y="connsiteY42163"/>
              </a:cxn>
              <a:cxn ang="0">
                <a:pos x="connsiteX42164" y="connsiteY42164"/>
              </a:cxn>
              <a:cxn ang="0">
                <a:pos x="connsiteX42165" y="connsiteY42165"/>
              </a:cxn>
              <a:cxn ang="0">
                <a:pos x="connsiteX42166" y="connsiteY42166"/>
              </a:cxn>
              <a:cxn ang="0">
                <a:pos x="connsiteX42167" y="connsiteY42167"/>
              </a:cxn>
              <a:cxn ang="0">
                <a:pos x="connsiteX42168" y="connsiteY42168"/>
              </a:cxn>
              <a:cxn ang="0">
                <a:pos x="connsiteX42169" y="connsiteY42169"/>
              </a:cxn>
              <a:cxn ang="0">
                <a:pos x="connsiteX42170" y="connsiteY42170"/>
              </a:cxn>
              <a:cxn ang="0">
                <a:pos x="connsiteX42171" y="connsiteY42171"/>
              </a:cxn>
              <a:cxn ang="0">
                <a:pos x="connsiteX42172" y="connsiteY42172"/>
              </a:cxn>
              <a:cxn ang="0">
                <a:pos x="connsiteX42173" y="connsiteY42173"/>
              </a:cxn>
              <a:cxn ang="0">
                <a:pos x="connsiteX42174" y="connsiteY42174"/>
              </a:cxn>
              <a:cxn ang="0">
                <a:pos x="connsiteX42175" y="connsiteY42175"/>
              </a:cxn>
              <a:cxn ang="0">
                <a:pos x="connsiteX42176" y="connsiteY42176"/>
              </a:cxn>
              <a:cxn ang="0">
                <a:pos x="connsiteX42177" y="connsiteY42177"/>
              </a:cxn>
              <a:cxn ang="0">
                <a:pos x="connsiteX42178" y="connsiteY42178"/>
              </a:cxn>
              <a:cxn ang="0">
                <a:pos x="connsiteX42179" y="connsiteY42179"/>
              </a:cxn>
              <a:cxn ang="0">
                <a:pos x="connsiteX42180" y="connsiteY42180"/>
              </a:cxn>
              <a:cxn ang="0">
                <a:pos x="connsiteX42181" y="connsiteY42181"/>
              </a:cxn>
              <a:cxn ang="0">
                <a:pos x="connsiteX42182" y="connsiteY42182"/>
              </a:cxn>
              <a:cxn ang="0">
                <a:pos x="connsiteX42183" y="connsiteY42183"/>
              </a:cxn>
              <a:cxn ang="0">
                <a:pos x="connsiteX42184" y="connsiteY42184"/>
              </a:cxn>
              <a:cxn ang="0">
                <a:pos x="connsiteX42185" y="connsiteY42185"/>
              </a:cxn>
              <a:cxn ang="0">
                <a:pos x="connsiteX42186" y="connsiteY42186"/>
              </a:cxn>
              <a:cxn ang="0">
                <a:pos x="connsiteX42187" y="connsiteY42187"/>
              </a:cxn>
              <a:cxn ang="0">
                <a:pos x="connsiteX42188" y="connsiteY42188"/>
              </a:cxn>
              <a:cxn ang="0">
                <a:pos x="connsiteX42189" y="connsiteY42189"/>
              </a:cxn>
              <a:cxn ang="0">
                <a:pos x="connsiteX42190" y="connsiteY42190"/>
              </a:cxn>
              <a:cxn ang="0">
                <a:pos x="connsiteX42191" y="connsiteY42191"/>
              </a:cxn>
              <a:cxn ang="0">
                <a:pos x="connsiteX42192" y="connsiteY42192"/>
              </a:cxn>
              <a:cxn ang="0">
                <a:pos x="connsiteX42193" y="connsiteY42193"/>
              </a:cxn>
              <a:cxn ang="0">
                <a:pos x="connsiteX42194" y="connsiteY42194"/>
              </a:cxn>
              <a:cxn ang="0">
                <a:pos x="connsiteX42195" y="connsiteY42195"/>
              </a:cxn>
              <a:cxn ang="0">
                <a:pos x="connsiteX42196" y="connsiteY42196"/>
              </a:cxn>
              <a:cxn ang="0">
                <a:pos x="connsiteX42197" y="connsiteY42197"/>
              </a:cxn>
              <a:cxn ang="0">
                <a:pos x="connsiteX42198" y="connsiteY42198"/>
              </a:cxn>
              <a:cxn ang="0">
                <a:pos x="connsiteX42199" y="connsiteY42199"/>
              </a:cxn>
              <a:cxn ang="0">
                <a:pos x="connsiteX42200" y="connsiteY42200"/>
              </a:cxn>
              <a:cxn ang="0">
                <a:pos x="connsiteX42201" y="connsiteY42201"/>
              </a:cxn>
              <a:cxn ang="0">
                <a:pos x="connsiteX42202" y="connsiteY42202"/>
              </a:cxn>
              <a:cxn ang="0">
                <a:pos x="connsiteX42203" y="connsiteY42203"/>
              </a:cxn>
              <a:cxn ang="0">
                <a:pos x="connsiteX42204" y="connsiteY42204"/>
              </a:cxn>
              <a:cxn ang="0">
                <a:pos x="connsiteX42205" y="connsiteY42205"/>
              </a:cxn>
              <a:cxn ang="0">
                <a:pos x="connsiteX42206" y="connsiteY42206"/>
              </a:cxn>
              <a:cxn ang="0">
                <a:pos x="connsiteX42207" y="connsiteY42207"/>
              </a:cxn>
              <a:cxn ang="0">
                <a:pos x="connsiteX42208" y="connsiteY42208"/>
              </a:cxn>
              <a:cxn ang="0">
                <a:pos x="connsiteX42209" y="connsiteY42209"/>
              </a:cxn>
              <a:cxn ang="0">
                <a:pos x="connsiteX42210" y="connsiteY42210"/>
              </a:cxn>
              <a:cxn ang="0">
                <a:pos x="connsiteX42211" y="connsiteY42211"/>
              </a:cxn>
              <a:cxn ang="0">
                <a:pos x="connsiteX42212" y="connsiteY42212"/>
              </a:cxn>
              <a:cxn ang="0">
                <a:pos x="connsiteX42213" y="connsiteY42213"/>
              </a:cxn>
              <a:cxn ang="0">
                <a:pos x="connsiteX42214" y="connsiteY42214"/>
              </a:cxn>
              <a:cxn ang="0">
                <a:pos x="connsiteX42215" y="connsiteY42215"/>
              </a:cxn>
              <a:cxn ang="0">
                <a:pos x="connsiteX42216" y="connsiteY42216"/>
              </a:cxn>
              <a:cxn ang="0">
                <a:pos x="connsiteX42217" y="connsiteY42217"/>
              </a:cxn>
              <a:cxn ang="0">
                <a:pos x="connsiteX42218" y="connsiteY42218"/>
              </a:cxn>
              <a:cxn ang="0">
                <a:pos x="connsiteX42219" y="connsiteY42219"/>
              </a:cxn>
              <a:cxn ang="0">
                <a:pos x="connsiteX42220" y="connsiteY42220"/>
              </a:cxn>
              <a:cxn ang="0">
                <a:pos x="connsiteX42221" y="connsiteY42221"/>
              </a:cxn>
              <a:cxn ang="0">
                <a:pos x="connsiteX42222" y="connsiteY42222"/>
              </a:cxn>
              <a:cxn ang="0">
                <a:pos x="connsiteX42223" y="connsiteY42223"/>
              </a:cxn>
              <a:cxn ang="0">
                <a:pos x="connsiteX42224" y="connsiteY42224"/>
              </a:cxn>
              <a:cxn ang="0">
                <a:pos x="connsiteX42225" y="connsiteY42225"/>
              </a:cxn>
              <a:cxn ang="0">
                <a:pos x="connsiteX42226" y="connsiteY42226"/>
              </a:cxn>
              <a:cxn ang="0">
                <a:pos x="connsiteX42227" y="connsiteY42227"/>
              </a:cxn>
              <a:cxn ang="0">
                <a:pos x="connsiteX42228" y="connsiteY42228"/>
              </a:cxn>
              <a:cxn ang="0">
                <a:pos x="connsiteX42229" y="connsiteY42229"/>
              </a:cxn>
              <a:cxn ang="0">
                <a:pos x="connsiteX42230" y="connsiteY42230"/>
              </a:cxn>
              <a:cxn ang="0">
                <a:pos x="connsiteX42231" y="connsiteY42231"/>
              </a:cxn>
              <a:cxn ang="0">
                <a:pos x="connsiteX42232" y="connsiteY42232"/>
              </a:cxn>
              <a:cxn ang="0">
                <a:pos x="connsiteX42233" y="connsiteY42233"/>
              </a:cxn>
              <a:cxn ang="0">
                <a:pos x="connsiteX42234" y="connsiteY42234"/>
              </a:cxn>
              <a:cxn ang="0">
                <a:pos x="connsiteX42235" y="connsiteY42235"/>
              </a:cxn>
              <a:cxn ang="0">
                <a:pos x="connsiteX42236" y="connsiteY42236"/>
              </a:cxn>
              <a:cxn ang="0">
                <a:pos x="connsiteX42237" y="connsiteY42237"/>
              </a:cxn>
              <a:cxn ang="0">
                <a:pos x="connsiteX42238" y="connsiteY42238"/>
              </a:cxn>
              <a:cxn ang="0">
                <a:pos x="connsiteX42239" y="connsiteY42239"/>
              </a:cxn>
              <a:cxn ang="0">
                <a:pos x="connsiteX42240" y="connsiteY42240"/>
              </a:cxn>
              <a:cxn ang="0">
                <a:pos x="connsiteX42241" y="connsiteY42241"/>
              </a:cxn>
              <a:cxn ang="0">
                <a:pos x="connsiteX42242" y="connsiteY42242"/>
              </a:cxn>
              <a:cxn ang="0">
                <a:pos x="connsiteX42243" y="connsiteY42243"/>
              </a:cxn>
              <a:cxn ang="0">
                <a:pos x="connsiteX42244" y="connsiteY42244"/>
              </a:cxn>
              <a:cxn ang="0">
                <a:pos x="connsiteX42245" y="connsiteY42245"/>
              </a:cxn>
              <a:cxn ang="0">
                <a:pos x="connsiteX42246" y="connsiteY42246"/>
              </a:cxn>
              <a:cxn ang="0">
                <a:pos x="connsiteX42247" y="connsiteY42247"/>
              </a:cxn>
              <a:cxn ang="0">
                <a:pos x="connsiteX42248" y="connsiteY42248"/>
              </a:cxn>
              <a:cxn ang="0">
                <a:pos x="connsiteX42249" y="connsiteY42249"/>
              </a:cxn>
              <a:cxn ang="0">
                <a:pos x="connsiteX42250" y="connsiteY42250"/>
              </a:cxn>
              <a:cxn ang="0">
                <a:pos x="connsiteX42251" y="connsiteY42251"/>
              </a:cxn>
              <a:cxn ang="0">
                <a:pos x="connsiteX42252" y="connsiteY42252"/>
              </a:cxn>
              <a:cxn ang="0">
                <a:pos x="connsiteX42253" y="connsiteY42253"/>
              </a:cxn>
              <a:cxn ang="0">
                <a:pos x="connsiteX42254" y="connsiteY42254"/>
              </a:cxn>
              <a:cxn ang="0">
                <a:pos x="connsiteX42255" y="connsiteY42255"/>
              </a:cxn>
              <a:cxn ang="0">
                <a:pos x="connsiteX42256" y="connsiteY42256"/>
              </a:cxn>
              <a:cxn ang="0">
                <a:pos x="connsiteX42257" y="connsiteY42257"/>
              </a:cxn>
              <a:cxn ang="0">
                <a:pos x="connsiteX42258" y="connsiteY42258"/>
              </a:cxn>
              <a:cxn ang="0">
                <a:pos x="connsiteX42259" y="connsiteY42259"/>
              </a:cxn>
              <a:cxn ang="0">
                <a:pos x="connsiteX42260" y="connsiteY42260"/>
              </a:cxn>
              <a:cxn ang="0">
                <a:pos x="connsiteX42261" y="connsiteY42261"/>
              </a:cxn>
              <a:cxn ang="0">
                <a:pos x="connsiteX42262" y="connsiteY42262"/>
              </a:cxn>
              <a:cxn ang="0">
                <a:pos x="connsiteX42263" y="connsiteY42263"/>
              </a:cxn>
              <a:cxn ang="0">
                <a:pos x="connsiteX42264" y="connsiteY42264"/>
              </a:cxn>
              <a:cxn ang="0">
                <a:pos x="connsiteX42265" y="connsiteY42265"/>
              </a:cxn>
              <a:cxn ang="0">
                <a:pos x="connsiteX42266" y="connsiteY42266"/>
              </a:cxn>
              <a:cxn ang="0">
                <a:pos x="connsiteX42267" y="connsiteY42267"/>
              </a:cxn>
              <a:cxn ang="0">
                <a:pos x="connsiteX42268" y="connsiteY42268"/>
              </a:cxn>
              <a:cxn ang="0">
                <a:pos x="connsiteX42269" y="connsiteY42269"/>
              </a:cxn>
              <a:cxn ang="0">
                <a:pos x="connsiteX42270" y="connsiteY42270"/>
              </a:cxn>
              <a:cxn ang="0">
                <a:pos x="connsiteX42271" y="connsiteY42271"/>
              </a:cxn>
              <a:cxn ang="0">
                <a:pos x="connsiteX42272" y="connsiteY42272"/>
              </a:cxn>
              <a:cxn ang="0">
                <a:pos x="connsiteX42273" y="connsiteY42273"/>
              </a:cxn>
              <a:cxn ang="0">
                <a:pos x="connsiteX42274" y="connsiteY42274"/>
              </a:cxn>
              <a:cxn ang="0">
                <a:pos x="connsiteX42275" y="connsiteY42275"/>
              </a:cxn>
              <a:cxn ang="0">
                <a:pos x="connsiteX42276" y="connsiteY42276"/>
              </a:cxn>
              <a:cxn ang="0">
                <a:pos x="connsiteX42277" y="connsiteY42277"/>
              </a:cxn>
              <a:cxn ang="0">
                <a:pos x="connsiteX42278" y="connsiteY42278"/>
              </a:cxn>
              <a:cxn ang="0">
                <a:pos x="connsiteX42279" y="connsiteY42279"/>
              </a:cxn>
              <a:cxn ang="0">
                <a:pos x="connsiteX42280" y="connsiteY42280"/>
              </a:cxn>
              <a:cxn ang="0">
                <a:pos x="connsiteX42281" y="connsiteY42281"/>
              </a:cxn>
              <a:cxn ang="0">
                <a:pos x="connsiteX42282" y="connsiteY42282"/>
              </a:cxn>
              <a:cxn ang="0">
                <a:pos x="connsiteX42283" y="connsiteY42283"/>
              </a:cxn>
              <a:cxn ang="0">
                <a:pos x="connsiteX42284" y="connsiteY42284"/>
              </a:cxn>
              <a:cxn ang="0">
                <a:pos x="connsiteX42285" y="connsiteY42285"/>
              </a:cxn>
              <a:cxn ang="0">
                <a:pos x="connsiteX42286" y="connsiteY42286"/>
              </a:cxn>
              <a:cxn ang="0">
                <a:pos x="connsiteX42287" y="connsiteY42287"/>
              </a:cxn>
              <a:cxn ang="0">
                <a:pos x="connsiteX42288" y="connsiteY42288"/>
              </a:cxn>
              <a:cxn ang="0">
                <a:pos x="connsiteX42289" y="connsiteY42289"/>
              </a:cxn>
              <a:cxn ang="0">
                <a:pos x="connsiteX42290" y="connsiteY42290"/>
              </a:cxn>
              <a:cxn ang="0">
                <a:pos x="connsiteX42291" y="connsiteY42291"/>
              </a:cxn>
              <a:cxn ang="0">
                <a:pos x="connsiteX42292" y="connsiteY42292"/>
              </a:cxn>
              <a:cxn ang="0">
                <a:pos x="connsiteX42293" y="connsiteY42293"/>
              </a:cxn>
              <a:cxn ang="0">
                <a:pos x="connsiteX42294" y="connsiteY42294"/>
              </a:cxn>
              <a:cxn ang="0">
                <a:pos x="connsiteX42295" y="connsiteY42295"/>
              </a:cxn>
              <a:cxn ang="0">
                <a:pos x="connsiteX42296" y="connsiteY42296"/>
              </a:cxn>
              <a:cxn ang="0">
                <a:pos x="connsiteX42297" y="connsiteY42297"/>
              </a:cxn>
              <a:cxn ang="0">
                <a:pos x="connsiteX42298" y="connsiteY42298"/>
              </a:cxn>
              <a:cxn ang="0">
                <a:pos x="connsiteX42299" y="connsiteY42299"/>
              </a:cxn>
              <a:cxn ang="0">
                <a:pos x="connsiteX42300" y="connsiteY42300"/>
              </a:cxn>
              <a:cxn ang="0">
                <a:pos x="connsiteX42301" y="connsiteY42301"/>
              </a:cxn>
              <a:cxn ang="0">
                <a:pos x="connsiteX42302" y="connsiteY42302"/>
              </a:cxn>
              <a:cxn ang="0">
                <a:pos x="connsiteX42303" y="connsiteY42303"/>
              </a:cxn>
              <a:cxn ang="0">
                <a:pos x="connsiteX42304" y="connsiteY42304"/>
              </a:cxn>
              <a:cxn ang="0">
                <a:pos x="connsiteX42305" y="connsiteY42305"/>
              </a:cxn>
              <a:cxn ang="0">
                <a:pos x="connsiteX42306" y="connsiteY42306"/>
              </a:cxn>
              <a:cxn ang="0">
                <a:pos x="connsiteX42307" y="connsiteY42307"/>
              </a:cxn>
              <a:cxn ang="0">
                <a:pos x="connsiteX42308" y="connsiteY42308"/>
              </a:cxn>
              <a:cxn ang="0">
                <a:pos x="connsiteX42309" y="connsiteY42309"/>
              </a:cxn>
              <a:cxn ang="0">
                <a:pos x="connsiteX42310" y="connsiteY42310"/>
              </a:cxn>
              <a:cxn ang="0">
                <a:pos x="connsiteX42311" y="connsiteY42311"/>
              </a:cxn>
              <a:cxn ang="0">
                <a:pos x="connsiteX42312" y="connsiteY42312"/>
              </a:cxn>
              <a:cxn ang="0">
                <a:pos x="connsiteX42313" y="connsiteY42313"/>
              </a:cxn>
              <a:cxn ang="0">
                <a:pos x="connsiteX42314" y="connsiteY42314"/>
              </a:cxn>
              <a:cxn ang="0">
                <a:pos x="connsiteX42315" y="connsiteY42315"/>
              </a:cxn>
              <a:cxn ang="0">
                <a:pos x="connsiteX42316" y="connsiteY42316"/>
              </a:cxn>
              <a:cxn ang="0">
                <a:pos x="connsiteX42317" y="connsiteY42317"/>
              </a:cxn>
              <a:cxn ang="0">
                <a:pos x="connsiteX42318" y="connsiteY42318"/>
              </a:cxn>
              <a:cxn ang="0">
                <a:pos x="connsiteX42319" y="connsiteY42319"/>
              </a:cxn>
              <a:cxn ang="0">
                <a:pos x="connsiteX42320" y="connsiteY42320"/>
              </a:cxn>
              <a:cxn ang="0">
                <a:pos x="connsiteX42321" y="connsiteY42321"/>
              </a:cxn>
              <a:cxn ang="0">
                <a:pos x="connsiteX42322" y="connsiteY42322"/>
              </a:cxn>
              <a:cxn ang="0">
                <a:pos x="connsiteX42323" y="connsiteY42323"/>
              </a:cxn>
              <a:cxn ang="0">
                <a:pos x="connsiteX42324" y="connsiteY42324"/>
              </a:cxn>
              <a:cxn ang="0">
                <a:pos x="connsiteX42325" y="connsiteY42325"/>
              </a:cxn>
              <a:cxn ang="0">
                <a:pos x="connsiteX42326" y="connsiteY42326"/>
              </a:cxn>
              <a:cxn ang="0">
                <a:pos x="connsiteX42327" y="connsiteY42327"/>
              </a:cxn>
              <a:cxn ang="0">
                <a:pos x="connsiteX42328" y="connsiteY42328"/>
              </a:cxn>
              <a:cxn ang="0">
                <a:pos x="connsiteX42329" y="connsiteY42329"/>
              </a:cxn>
              <a:cxn ang="0">
                <a:pos x="connsiteX42330" y="connsiteY42330"/>
              </a:cxn>
              <a:cxn ang="0">
                <a:pos x="connsiteX42331" y="connsiteY42331"/>
              </a:cxn>
              <a:cxn ang="0">
                <a:pos x="connsiteX42332" y="connsiteY42332"/>
              </a:cxn>
              <a:cxn ang="0">
                <a:pos x="connsiteX42333" y="connsiteY42333"/>
              </a:cxn>
              <a:cxn ang="0">
                <a:pos x="connsiteX42334" y="connsiteY42334"/>
              </a:cxn>
              <a:cxn ang="0">
                <a:pos x="connsiteX42335" y="connsiteY42335"/>
              </a:cxn>
              <a:cxn ang="0">
                <a:pos x="connsiteX42336" y="connsiteY42336"/>
              </a:cxn>
              <a:cxn ang="0">
                <a:pos x="connsiteX42337" y="connsiteY42337"/>
              </a:cxn>
              <a:cxn ang="0">
                <a:pos x="connsiteX42338" y="connsiteY42338"/>
              </a:cxn>
              <a:cxn ang="0">
                <a:pos x="connsiteX42339" y="connsiteY42339"/>
              </a:cxn>
              <a:cxn ang="0">
                <a:pos x="connsiteX42340" y="connsiteY42340"/>
              </a:cxn>
              <a:cxn ang="0">
                <a:pos x="connsiteX42341" y="connsiteY42341"/>
              </a:cxn>
              <a:cxn ang="0">
                <a:pos x="connsiteX42342" y="connsiteY42342"/>
              </a:cxn>
              <a:cxn ang="0">
                <a:pos x="connsiteX42343" y="connsiteY42343"/>
              </a:cxn>
              <a:cxn ang="0">
                <a:pos x="connsiteX42344" y="connsiteY42344"/>
              </a:cxn>
              <a:cxn ang="0">
                <a:pos x="connsiteX42345" y="connsiteY42345"/>
              </a:cxn>
              <a:cxn ang="0">
                <a:pos x="connsiteX42346" y="connsiteY42346"/>
              </a:cxn>
              <a:cxn ang="0">
                <a:pos x="connsiteX42347" y="connsiteY42347"/>
              </a:cxn>
              <a:cxn ang="0">
                <a:pos x="connsiteX42348" y="connsiteY42348"/>
              </a:cxn>
              <a:cxn ang="0">
                <a:pos x="connsiteX42349" y="connsiteY42349"/>
              </a:cxn>
              <a:cxn ang="0">
                <a:pos x="connsiteX42350" y="connsiteY42350"/>
              </a:cxn>
              <a:cxn ang="0">
                <a:pos x="connsiteX42351" y="connsiteY42351"/>
              </a:cxn>
              <a:cxn ang="0">
                <a:pos x="connsiteX42352" y="connsiteY42352"/>
              </a:cxn>
              <a:cxn ang="0">
                <a:pos x="connsiteX42353" y="connsiteY42353"/>
              </a:cxn>
              <a:cxn ang="0">
                <a:pos x="connsiteX42354" y="connsiteY42354"/>
              </a:cxn>
              <a:cxn ang="0">
                <a:pos x="connsiteX42355" y="connsiteY42355"/>
              </a:cxn>
              <a:cxn ang="0">
                <a:pos x="connsiteX42356" y="connsiteY42356"/>
              </a:cxn>
              <a:cxn ang="0">
                <a:pos x="connsiteX42357" y="connsiteY42357"/>
              </a:cxn>
              <a:cxn ang="0">
                <a:pos x="connsiteX42358" y="connsiteY42358"/>
              </a:cxn>
              <a:cxn ang="0">
                <a:pos x="connsiteX42359" y="connsiteY42359"/>
              </a:cxn>
              <a:cxn ang="0">
                <a:pos x="connsiteX42360" y="connsiteY42360"/>
              </a:cxn>
              <a:cxn ang="0">
                <a:pos x="connsiteX42361" y="connsiteY42361"/>
              </a:cxn>
              <a:cxn ang="0">
                <a:pos x="connsiteX42362" y="connsiteY42362"/>
              </a:cxn>
              <a:cxn ang="0">
                <a:pos x="connsiteX42363" y="connsiteY42363"/>
              </a:cxn>
              <a:cxn ang="0">
                <a:pos x="connsiteX42364" y="connsiteY42364"/>
              </a:cxn>
              <a:cxn ang="0">
                <a:pos x="connsiteX42365" y="connsiteY42365"/>
              </a:cxn>
              <a:cxn ang="0">
                <a:pos x="connsiteX42366" y="connsiteY42366"/>
              </a:cxn>
              <a:cxn ang="0">
                <a:pos x="connsiteX42367" y="connsiteY42367"/>
              </a:cxn>
              <a:cxn ang="0">
                <a:pos x="connsiteX42368" y="connsiteY42368"/>
              </a:cxn>
              <a:cxn ang="0">
                <a:pos x="connsiteX42369" y="connsiteY42369"/>
              </a:cxn>
              <a:cxn ang="0">
                <a:pos x="connsiteX42370" y="connsiteY42370"/>
              </a:cxn>
              <a:cxn ang="0">
                <a:pos x="connsiteX42371" y="connsiteY42371"/>
              </a:cxn>
              <a:cxn ang="0">
                <a:pos x="connsiteX42372" y="connsiteY42372"/>
              </a:cxn>
              <a:cxn ang="0">
                <a:pos x="connsiteX42373" y="connsiteY42373"/>
              </a:cxn>
              <a:cxn ang="0">
                <a:pos x="connsiteX42374" y="connsiteY42374"/>
              </a:cxn>
              <a:cxn ang="0">
                <a:pos x="connsiteX42375" y="connsiteY42375"/>
              </a:cxn>
              <a:cxn ang="0">
                <a:pos x="connsiteX42376" y="connsiteY42376"/>
              </a:cxn>
              <a:cxn ang="0">
                <a:pos x="connsiteX42377" y="connsiteY42377"/>
              </a:cxn>
              <a:cxn ang="0">
                <a:pos x="connsiteX42378" y="connsiteY42378"/>
              </a:cxn>
              <a:cxn ang="0">
                <a:pos x="connsiteX42379" y="connsiteY42379"/>
              </a:cxn>
              <a:cxn ang="0">
                <a:pos x="connsiteX42380" y="connsiteY42380"/>
              </a:cxn>
              <a:cxn ang="0">
                <a:pos x="connsiteX42381" y="connsiteY42381"/>
              </a:cxn>
              <a:cxn ang="0">
                <a:pos x="connsiteX42382" y="connsiteY42382"/>
              </a:cxn>
              <a:cxn ang="0">
                <a:pos x="connsiteX42383" y="connsiteY42383"/>
              </a:cxn>
              <a:cxn ang="0">
                <a:pos x="connsiteX42384" y="connsiteY42384"/>
              </a:cxn>
              <a:cxn ang="0">
                <a:pos x="connsiteX42385" y="connsiteY42385"/>
              </a:cxn>
              <a:cxn ang="0">
                <a:pos x="connsiteX42386" y="connsiteY42386"/>
              </a:cxn>
              <a:cxn ang="0">
                <a:pos x="connsiteX42387" y="connsiteY42387"/>
              </a:cxn>
              <a:cxn ang="0">
                <a:pos x="connsiteX42388" y="connsiteY42388"/>
              </a:cxn>
              <a:cxn ang="0">
                <a:pos x="connsiteX42389" y="connsiteY42389"/>
              </a:cxn>
              <a:cxn ang="0">
                <a:pos x="connsiteX42390" y="connsiteY42390"/>
              </a:cxn>
              <a:cxn ang="0">
                <a:pos x="connsiteX42391" y="connsiteY42391"/>
              </a:cxn>
              <a:cxn ang="0">
                <a:pos x="connsiteX42392" y="connsiteY42392"/>
              </a:cxn>
              <a:cxn ang="0">
                <a:pos x="connsiteX42393" y="connsiteY42393"/>
              </a:cxn>
              <a:cxn ang="0">
                <a:pos x="connsiteX42394" y="connsiteY42394"/>
              </a:cxn>
              <a:cxn ang="0">
                <a:pos x="connsiteX42395" y="connsiteY42395"/>
              </a:cxn>
              <a:cxn ang="0">
                <a:pos x="connsiteX42396" y="connsiteY42396"/>
              </a:cxn>
              <a:cxn ang="0">
                <a:pos x="connsiteX42397" y="connsiteY42397"/>
              </a:cxn>
              <a:cxn ang="0">
                <a:pos x="connsiteX42398" y="connsiteY42398"/>
              </a:cxn>
              <a:cxn ang="0">
                <a:pos x="connsiteX42399" y="connsiteY42399"/>
              </a:cxn>
              <a:cxn ang="0">
                <a:pos x="connsiteX42400" y="connsiteY42400"/>
              </a:cxn>
              <a:cxn ang="0">
                <a:pos x="connsiteX42401" y="connsiteY42401"/>
              </a:cxn>
              <a:cxn ang="0">
                <a:pos x="connsiteX42402" y="connsiteY42402"/>
              </a:cxn>
              <a:cxn ang="0">
                <a:pos x="connsiteX42403" y="connsiteY42403"/>
              </a:cxn>
              <a:cxn ang="0">
                <a:pos x="connsiteX42404" y="connsiteY42404"/>
              </a:cxn>
              <a:cxn ang="0">
                <a:pos x="connsiteX42405" y="connsiteY42405"/>
              </a:cxn>
              <a:cxn ang="0">
                <a:pos x="connsiteX42406" y="connsiteY42406"/>
              </a:cxn>
              <a:cxn ang="0">
                <a:pos x="connsiteX42407" y="connsiteY42407"/>
              </a:cxn>
              <a:cxn ang="0">
                <a:pos x="connsiteX42408" y="connsiteY42408"/>
              </a:cxn>
              <a:cxn ang="0">
                <a:pos x="connsiteX42409" y="connsiteY42409"/>
              </a:cxn>
              <a:cxn ang="0">
                <a:pos x="connsiteX42410" y="connsiteY42410"/>
              </a:cxn>
              <a:cxn ang="0">
                <a:pos x="connsiteX42411" y="connsiteY42411"/>
              </a:cxn>
              <a:cxn ang="0">
                <a:pos x="connsiteX42412" y="connsiteY42412"/>
              </a:cxn>
              <a:cxn ang="0">
                <a:pos x="connsiteX42413" y="connsiteY42413"/>
              </a:cxn>
              <a:cxn ang="0">
                <a:pos x="connsiteX42414" y="connsiteY42414"/>
              </a:cxn>
              <a:cxn ang="0">
                <a:pos x="connsiteX42415" y="connsiteY42415"/>
              </a:cxn>
              <a:cxn ang="0">
                <a:pos x="connsiteX42416" y="connsiteY42416"/>
              </a:cxn>
              <a:cxn ang="0">
                <a:pos x="connsiteX42417" y="connsiteY42417"/>
              </a:cxn>
              <a:cxn ang="0">
                <a:pos x="connsiteX42418" y="connsiteY42418"/>
              </a:cxn>
              <a:cxn ang="0">
                <a:pos x="connsiteX42419" y="connsiteY42419"/>
              </a:cxn>
              <a:cxn ang="0">
                <a:pos x="connsiteX42420" y="connsiteY42420"/>
              </a:cxn>
              <a:cxn ang="0">
                <a:pos x="connsiteX42421" y="connsiteY42421"/>
              </a:cxn>
              <a:cxn ang="0">
                <a:pos x="connsiteX42422" y="connsiteY42422"/>
              </a:cxn>
              <a:cxn ang="0">
                <a:pos x="connsiteX42423" y="connsiteY42423"/>
              </a:cxn>
              <a:cxn ang="0">
                <a:pos x="connsiteX42424" y="connsiteY42424"/>
              </a:cxn>
              <a:cxn ang="0">
                <a:pos x="connsiteX42425" y="connsiteY42425"/>
              </a:cxn>
              <a:cxn ang="0">
                <a:pos x="connsiteX42426" y="connsiteY42426"/>
              </a:cxn>
              <a:cxn ang="0">
                <a:pos x="connsiteX42427" y="connsiteY42427"/>
              </a:cxn>
              <a:cxn ang="0">
                <a:pos x="connsiteX42428" y="connsiteY42428"/>
              </a:cxn>
              <a:cxn ang="0">
                <a:pos x="connsiteX42429" y="connsiteY42429"/>
              </a:cxn>
              <a:cxn ang="0">
                <a:pos x="connsiteX42430" y="connsiteY42430"/>
              </a:cxn>
              <a:cxn ang="0">
                <a:pos x="connsiteX42431" y="connsiteY42431"/>
              </a:cxn>
              <a:cxn ang="0">
                <a:pos x="connsiteX42432" y="connsiteY42432"/>
              </a:cxn>
              <a:cxn ang="0">
                <a:pos x="connsiteX42433" y="connsiteY42433"/>
              </a:cxn>
              <a:cxn ang="0">
                <a:pos x="connsiteX42434" y="connsiteY42434"/>
              </a:cxn>
              <a:cxn ang="0">
                <a:pos x="connsiteX42435" y="connsiteY42435"/>
              </a:cxn>
              <a:cxn ang="0">
                <a:pos x="connsiteX42436" y="connsiteY42436"/>
              </a:cxn>
              <a:cxn ang="0">
                <a:pos x="connsiteX42437" y="connsiteY42437"/>
              </a:cxn>
              <a:cxn ang="0">
                <a:pos x="connsiteX42438" y="connsiteY42438"/>
              </a:cxn>
              <a:cxn ang="0">
                <a:pos x="connsiteX42439" y="connsiteY42439"/>
              </a:cxn>
              <a:cxn ang="0">
                <a:pos x="connsiteX42440" y="connsiteY42440"/>
              </a:cxn>
              <a:cxn ang="0">
                <a:pos x="connsiteX42441" y="connsiteY42441"/>
              </a:cxn>
              <a:cxn ang="0">
                <a:pos x="connsiteX42442" y="connsiteY42442"/>
              </a:cxn>
              <a:cxn ang="0">
                <a:pos x="connsiteX42443" y="connsiteY42443"/>
              </a:cxn>
              <a:cxn ang="0">
                <a:pos x="connsiteX42444" y="connsiteY42444"/>
              </a:cxn>
              <a:cxn ang="0">
                <a:pos x="connsiteX42445" y="connsiteY42445"/>
              </a:cxn>
              <a:cxn ang="0">
                <a:pos x="connsiteX42446" y="connsiteY42446"/>
              </a:cxn>
              <a:cxn ang="0">
                <a:pos x="connsiteX42447" y="connsiteY42447"/>
              </a:cxn>
              <a:cxn ang="0">
                <a:pos x="connsiteX42448" y="connsiteY42448"/>
              </a:cxn>
              <a:cxn ang="0">
                <a:pos x="connsiteX42449" y="connsiteY42449"/>
              </a:cxn>
              <a:cxn ang="0">
                <a:pos x="connsiteX42450" y="connsiteY42450"/>
              </a:cxn>
              <a:cxn ang="0">
                <a:pos x="connsiteX42451" y="connsiteY42451"/>
              </a:cxn>
              <a:cxn ang="0">
                <a:pos x="connsiteX42452" y="connsiteY42452"/>
              </a:cxn>
              <a:cxn ang="0">
                <a:pos x="connsiteX42453" y="connsiteY42453"/>
              </a:cxn>
              <a:cxn ang="0">
                <a:pos x="connsiteX42454" y="connsiteY42454"/>
              </a:cxn>
              <a:cxn ang="0">
                <a:pos x="connsiteX42455" y="connsiteY42455"/>
              </a:cxn>
              <a:cxn ang="0">
                <a:pos x="connsiteX42456" y="connsiteY42456"/>
              </a:cxn>
              <a:cxn ang="0">
                <a:pos x="connsiteX42457" y="connsiteY42457"/>
              </a:cxn>
              <a:cxn ang="0">
                <a:pos x="connsiteX42458" y="connsiteY42458"/>
              </a:cxn>
              <a:cxn ang="0">
                <a:pos x="connsiteX42459" y="connsiteY42459"/>
              </a:cxn>
              <a:cxn ang="0">
                <a:pos x="connsiteX42460" y="connsiteY42460"/>
              </a:cxn>
              <a:cxn ang="0">
                <a:pos x="connsiteX42461" y="connsiteY42461"/>
              </a:cxn>
              <a:cxn ang="0">
                <a:pos x="connsiteX42462" y="connsiteY42462"/>
              </a:cxn>
              <a:cxn ang="0">
                <a:pos x="connsiteX42463" y="connsiteY42463"/>
              </a:cxn>
              <a:cxn ang="0">
                <a:pos x="connsiteX42464" y="connsiteY42464"/>
              </a:cxn>
              <a:cxn ang="0">
                <a:pos x="connsiteX42465" y="connsiteY42465"/>
              </a:cxn>
              <a:cxn ang="0">
                <a:pos x="connsiteX42466" y="connsiteY42466"/>
              </a:cxn>
              <a:cxn ang="0">
                <a:pos x="connsiteX42467" y="connsiteY42467"/>
              </a:cxn>
              <a:cxn ang="0">
                <a:pos x="connsiteX42468" y="connsiteY42468"/>
              </a:cxn>
              <a:cxn ang="0">
                <a:pos x="connsiteX42469" y="connsiteY42469"/>
              </a:cxn>
              <a:cxn ang="0">
                <a:pos x="connsiteX42470" y="connsiteY42470"/>
              </a:cxn>
              <a:cxn ang="0">
                <a:pos x="connsiteX42471" y="connsiteY42471"/>
              </a:cxn>
              <a:cxn ang="0">
                <a:pos x="connsiteX42472" y="connsiteY42472"/>
              </a:cxn>
              <a:cxn ang="0">
                <a:pos x="connsiteX42473" y="connsiteY42473"/>
              </a:cxn>
              <a:cxn ang="0">
                <a:pos x="connsiteX42474" y="connsiteY42474"/>
              </a:cxn>
              <a:cxn ang="0">
                <a:pos x="connsiteX42475" y="connsiteY42475"/>
              </a:cxn>
              <a:cxn ang="0">
                <a:pos x="connsiteX42476" y="connsiteY42476"/>
              </a:cxn>
              <a:cxn ang="0">
                <a:pos x="connsiteX42477" y="connsiteY42477"/>
              </a:cxn>
              <a:cxn ang="0">
                <a:pos x="connsiteX42478" y="connsiteY42478"/>
              </a:cxn>
              <a:cxn ang="0">
                <a:pos x="connsiteX42479" y="connsiteY42479"/>
              </a:cxn>
              <a:cxn ang="0">
                <a:pos x="connsiteX42480" y="connsiteY42480"/>
              </a:cxn>
              <a:cxn ang="0">
                <a:pos x="connsiteX42481" y="connsiteY42481"/>
              </a:cxn>
              <a:cxn ang="0">
                <a:pos x="connsiteX42482" y="connsiteY42482"/>
              </a:cxn>
              <a:cxn ang="0">
                <a:pos x="connsiteX42483" y="connsiteY42483"/>
              </a:cxn>
              <a:cxn ang="0">
                <a:pos x="connsiteX42484" y="connsiteY42484"/>
              </a:cxn>
              <a:cxn ang="0">
                <a:pos x="connsiteX42485" y="connsiteY42485"/>
              </a:cxn>
              <a:cxn ang="0">
                <a:pos x="connsiteX42486" y="connsiteY42486"/>
              </a:cxn>
              <a:cxn ang="0">
                <a:pos x="connsiteX42487" y="connsiteY42487"/>
              </a:cxn>
              <a:cxn ang="0">
                <a:pos x="connsiteX42488" y="connsiteY42488"/>
              </a:cxn>
              <a:cxn ang="0">
                <a:pos x="connsiteX42489" y="connsiteY42489"/>
              </a:cxn>
              <a:cxn ang="0">
                <a:pos x="connsiteX42490" y="connsiteY42490"/>
              </a:cxn>
              <a:cxn ang="0">
                <a:pos x="connsiteX42491" y="connsiteY42491"/>
              </a:cxn>
              <a:cxn ang="0">
                <a:pos x="connsiteX42492" y="connsiteY42492"/>
              </a:cxn>
              <a:cxn ang="0">
                <a:pos x="connsiteX42493" y="connsiteY42493"/>
              </a:cxn>
              <a:cxn ang="0">
                <a:pos x="connsiteX42494" y="connsiteY42494"/>
              </a:cxn>
              <a:cxn ang="0">
                <a:pos x="connsiteX42495" y="connsiteY42495"/>
              </a:cxn>
              <a:cxn ang="0">
                <a:pos x="connsiteX42496" y="connsiteY42496"/>
              </a:cxn>
              <a:cxn ang="0">
                <a:pos x="connsiteX42497" y="connsiteY42497"/>
              </a:cxn>
              <a:cxn ang="0">
                <a:pos x="connsiteX42498" y="connsiteY42498"/>
              </a:cxn>
              <a:cxn ang="0">
                <a:pos x="connsiteX42499" y="connsiteY42499"/>
              </a:cxn>
              <a:cxn ang="0">
                <a:pos x="connsiteX42500" y="connsiteY42500"/>
              </a:cxn>
              <a:cxn ang="0">
                <a:pos x="connsiteX42501" y="connsiteY42501"/>
              </a:cxn>
              <a:cxn ang="0">
                <a:pos x="connsiteX42502" y="connsiteY42502"/>
              </a:cxn>
              <a:cxn ang="0">
                <a:pos x="connsiteX42503" y="connsiteY42503"/>
              </a:cxn>
              <a:cxn ang="0">
                <a:pos x="connsiteX42504" y="connsiteY42504"/>
              </a:cxn>
              <a:cxn ang="0">
                <a:pos x="connsiteX42505" y="connsiteY42505"/>
              </a:cxn>
              <a:cxn ang="0">
                <a:pos x="connsiteX42506" y="connsiteY42506"/>
              </a:cxn>
              <a:cxn ang="0">
                <a:pos x="connsiteX42507" y="connsiteY42507"/>
              </a:cxn>
              <a:cxn ang="0">
                <a:pos x="connsiteX42508" y="connsiteY42508"/>
              </a:cxn>
              <a:cxn ang="0">
                <a:pos x="connsiteX42509" y="connsiteY42509"/>
              </a:cxn>
              <a:cxn ang="0">
                <a:pos x="connsiteX42510" y="connsiteY42510"/>
              </a:cxn>
              <a:cxn ang="0">
                <a:pos x="connsiteX42511" y="connsiteY42511"/>
              </a:cxn>
              <a:cxn ang="0">
                <a:pos x="connsiteX42512" y="connsiteY42512"/>
              </a:cxn>
              <a:cxn ang="0">
                <a:pos x="connsiteX42513" y="connsiteY42513"/>
              </a:cxn>
              <a:cxn ang="0">
                <a:pos x="connsiteX42514" y="connsiteY42514"/>
              </a:cxn>
              <a:cxn ang="0">
                <a:pos x="connsiteX42515" y="connsiteY42515"/>
              </a:cxn>
              <a:cxn ang="0">
                <a:pos x="connsiteX42516" y="connsiteY42516"/>
              </a:cxn>
              <a:cxn ang="0">
                <a:pos x="connsiteX42517" y="connsiteY42517"/>
              </a:cxn>
              <a:cxn ang="0">
                <a:pos x="connsiteX42518" y="connsiteY42518"/>
              </a:cxn>
              <a:cxn ang="0">
                <a:pos x="connsiteX42519" y="connsiteY42519"/>
              </a:cxn>
              <a:cxn ang="0">
                <a:pos x="connsiteX42520" y="connsiteY42520"/>
              </a:cxn>
              <a:cxn ang="0">
                <a:pos x="connsiteX42521" y="connsiteY42521"/>
              </a:cxn>
              <a:cxn ang="0">
                <a:pos x="connsiteX42522" y="connsiteY42522"/>
              </a:cxn>
              <a:cxn ang="0">
                <a:pos x="connsiteX42523" y="connsiteY42523"/>
              </a:cxn>
              <a:cxn ang="0">
                <a:pos x="connsiteX42524" y="connsiteY42524"/>
              </a:cxn>
              <a:cxn ang="0">
                <a:pos x="connsiteX42525" y="connsiteY42525"/>
              </a:cxn>
              <a:cxn ang="0">
                <a:pos x="connsiteX42526" y="connsiteY42526"/>
              </a:cxn>
              <a:cxn ang="0">
                <a:pos x="connsiteX42527" y="connsiteY42527"/>
              </a:cxn>
              <a:cxn ang="0">
                <a:pos x="connsiteX42528" y="connsiteY42528"/>
              </a:cxn>
              <a:cxn ang="0">
                <a:pos x="connsiteX42529" y="connsiteY42529"/>
              </a:cxn>
              <a:cxn ang="0">
                <a:pos x="connsiteX42530" y="connsiteY42530"/>
              </a:cxn>
              <a:cxn ang="0">
                <a:pos x="connsiteX42531" y="connsiteY42531"/>
              </a:cxn>
              <a:cxn ang="0">
                <a:pos x="connsiteX42532" y="connsiteY42532"/>
              </a:cxn>
              <a:cxn ang="0">
                <a:pos x="connsiteX42533" y="connsiteY42533"/>
              </a:cxn>
              <a:cxn ang="0">
                <a:pos x="connsiteX42534" y="connsiteY42534"/>
              </a:cxn>
              <a:cxn ang="0">
                <a:pos x="connsiteX42535" y="connsiteY42535"/>
              </a:cxn>
              <a:cxn ang="0">
                <a:pos x="connsiteX42536" y="connsiteY42536"/>
              </a:cxn>
              <a:cxn ang="0">
                <a:pos x="connsiteX42537" y="connsiteY42537"/>
              </a:cxn>
              <a:cxn ang="0">
                <a:pos x="connsiteX42538" y="connsiteY42538"/>
              </a:cxn>
              <a:cxn ang="0">
                <a:pos x="connsiteX42539" y="connsiteY42539"/>
              </a:cxn>
              <a:cxn ang="0">
                <a:pos x="connsiteX42540" y="connsiteY42540"/>
              </a:cxn>
              <a:cxn ang="0">
                <a:pos x="connsiteX42541" y="connsiteY42541"/>
              </a:cxn>
              <a:cxn ang="0">
                <a:pos x="connsiteX42542" y="connsiteY42542"/>
              </a:cxn>
              <a:cxn ang="0">
                <a:pos x="connsiteX42543" y="connsiteY42543"/>
              </a:cxn>
              <a:cxn ang="0">
                <a:pos x="connsiteX42544" y="connsiteY42544"/>
              </a:cxn>
              <a:cxn ang="0">
                <a:pos x="connsiteX42545" y="connsiteY42545"/>
              </a:cxn>
              <a:cxn ang="0">
                <a:pos x="connsiteX42546" y="connsiteY42546"/>
              </a:cxn>
              <a:cxn ang="0">
                <a:pos x="connsiteX42547" y="connsiteY42547"/>
              </a:cxn>
              <a:cxn ang="0">
                <a:pos x="connsiteX42548" y="connsiteY42548"/>
              </a:cxn>
              <a:cxn ang="0">
                <a:pos x="connsiteX42549" y="connsiteY42549"/>
              </a:cxn>
              <a:cxn ang="0">
                <a:pos x="connsiteX42550" y="connsiteY42550"/>
              </a:cxn>
              <a:cxn ang="0">
                <a:pos x="connsiteX42551" y="connsiteY42551"/>
              </a:cxn>
              <a:cxn ang="0">
                <a:pos x="connsiteX42552" y="connsiteY42552"/>
              </a:cxn>
              <a:cxn ang="0">
                <a:pos x="connsiteX42553" y="connsiteY42553"/>
              </a:cxn>
              <a:cxn ang="0">
                <a:pos x="connsiteX42554" y="connsiteY42554"/>
              </a:cxn>
              <a:cxn ang="0">
                <a:pos x="connsiteX42555" y="connsiteY42555"/>
              </a:cxn>
              <a:cxn ang="0">
                <a:pos x="connsiteX42556" y="connsiteY42556"/>
              </a:cxn>
              <a:cxn ang="0">
                <a:pos x="connsiteX42557" y="connsiteY42557"/>
              </a:cxn>
              <a:cxn ang="0">
                <a:pos x="connsiteX42558" y="connsiteY42558"/>
              </a:cxn>
              <a:cxn ang="0">
                <a:pos x="connsiteX42559" y="connsiteY42559"/>
              </a:cxn>
              <a:cxn ang="0">
                <a:pos x="connsiteX42560" y="connsiteY42560"/>
              </a:cxn>
              <a:cxn ang="0">
                <a:pos x="connsiteX42561" y="connsiteY42561"/>
              </a:cxn>
              <a:cxn ang="0">
                <a:pos x="connsiteX42562" y="connsiteY42562"/>
              </a:cxn>
              <a:cxn ang="0">
                <a:pos x="connsiteX42563" y="connsiteY42563"/>
              </a:cxn>
              <a:cxn ang="0">
                <a:pos x="connsiteX42564" y="connsiteY42564"/>
              </a:cxn>
              <a:cxn ang="0">
                <a:pos x="connsiteX42565" y="connsiteY42565"/>
              </a:cxn>
              <a:cxn ang="0">
                <a:pos x="connsiteX42566" y="connsiteY42566"/>
              </a:cxn>
              <a:cxn ang="0">
                <a:pos x="connsiteX42567" y="connsiteY42567"/>
              </a:cxn>
              <a:cxn ang="0">
                <a:pos x="connsiteX42568" y="connsiteY42568"/>
              </a:cxn>
              <a:cxn ang="0">
                <a:pos x="connsiteX42569" y="connsiteY42569"/>
              </a:cxn>
              <a:cxn ang="0">
                <a:pos x="connsiteX42570" y="connsiteY42570"/>
              </a:cxn>
              <a:cxn ang="0">
                <a:pos x="connsiteX42571" y="connsiteY42571"/>
              </a:cxn>
              <a:cxn ang="0">
                <a:pos x="connsiteX42572" y="connsiteY42572"/>
              </a:cxn>
              <a:cxn ang="0">
                <a:pos x="connsiteX42573" y="connsiteY42573"/>
              </a:cxn>
              <a:cxn ang="0">
                <a:pos x="connsiteX42574" y="connsiteY42574"/>
              </a:cxn>
              <a:cxn ang="0">
                <a:pos x="connsiteX42575" y="connsiteY42575"/>
              </a:cxn>
              <a:cxn ang="0">
                <a:pos x="connsiteX42576" y="connsiteY42576"/>
              </a:cxn>
              <a:cxn ang="0">
                <a:pos x="connsiteX42577" y="connsiteY42577"/>
              </a:cxn>
              <a:cxn ang="0">
                <a:pos x="connsiteX42578" y="connsiteY42578"/>
              </a:cxn>
              <a:cxn ang="0">
                <a:pos x="connsiteX42579" y="connsiteY42579"/>
              </a:cxn>
              <a:cxn ang="0">
                <a:pos x="connsiteX42580" y="connsiteY42580"/>
              </a:cxn>
              <a:cxn ang="0">
                <a:pos x="connsiteX42581" y="connsiteY42581"/>
              </a:cxn>
              <a:cxn ang="0">
                <a:pos x="connsiteX42582" y="connsiteY42582"/>
              </a:cxn>
              <a:cxn ang="0">
                <a:pos x="connsiteX42583" y="connsiteY42583"/>
              </a:cxn>
              <a:cxn ang="0">
                <a:pos x="connsiteX42584" y="connsiteY42584"/>
              </a:cxn>
              <a:cxn ang="0">
                <a:pos x="connsiteX42585" y="connsiteY42585"/>
              </a:cxn>
              <a:cxn ang="0">
                <a:pos x="connsiteX42586" y="connsiteY42586"/>
              </a:cxn>
              <a:cxn ang="0">
                <a:pos x="connsiteX42587" y="connsiteY42587"/>
              </a:cxn>
              <a:cxn ang="0">
                <a:pos x="connsiteX42588" y="connsiteY42588"/>
              </a:cxn>
              <a:cxn ang="0">
                <a:pos x="connsiteX42589" y="connsiteY42589"/>
              </a:cxn>
              <a:cxn ang="0">
                <a:pos x="connsiteX42590" y="connsiteY42590"/>
              </a:cxn>
              <a:cxn ang="0">
                <a:pos x="connsiteX42591" y="connsiteY42591"/>
              </a:cxn>
              <a:cxn ang="0">
                <a:pos x="connsiteX42592" y="connsiteY42592"/>
              </a:cxn>
              <a:cxn ang="0">
                <a:pos x="connsiteX42593" y="connsiteY42593"/>
              </a:cxn>
              <a:cxn ang="0">
                <a:pos x="connsiteX42594" y="connsiteY42594"/>
              </a:cxn>
              <a:cxn ang="0">
                <a:pos x="connsiteX42595" y="connsiteY42595"/>
              </a:cxn>
              <a:cxn ang="0">
                <a:pos x="connsiteX42596" y="connsiteY42596"/>
              </a:cxn>
              <a:cxn ang="0">
                <a:pos x="connsiteX42597" y="connsiteY42597"/>
              </a:cxn>
              <a:cxn ang="0">
                <a:pos x="connsiteX42598" y="connsiteY42598"/>
              </a:cxn>
              <a:cxn ang="0">
                <a:pos x="connsiteX42599" y="connsiteY42599"/>
              </a:cxn>
              <a:cxn ang="0">
                <a:pos x="connsiteX42600" y="connsiteY42600"/>
              </a:cxn>
              <a:cxn ang="0">
                <a:pos x="connsiteX42601" y="connsiteY42601"/>
              </a:cxn>
              <a:cxn ang="0">
                <a:pos x="connsiteX42602" y="connsiteY42602"/>
              </a:cxn>
              <a:cxn ang="0">
                <a:pos x="connsiteX42603" y="connsiteY42603"/>
              </a:cxn>
              <a:cxn ang="0">
                <a:pos x="connsiteX42604" y="connsiteY42604"/>
              </a:cxn>
              <a:cxn ang="0">
                <a:pos x="connsiteX42605" y="connsiteY42605"/>
              </a:cxn>
              <a:cxn ang="0">
                <a:pos x="connsiteX42606" y="connsiteY42606"/>
              </a:cxn>
              <a:cxn ang="0">
                <a:pos x="connsiteX42607" y="connsiteY42607"/>
              </a:cxn>
              <a:cxn ang="0">
                <a:pos x="connsiteX42608" y="connsiteY42608"/>
              </a:cxn>
              <a:cxn ang="0">
                <a:pos x="connsiteX42609" y="connsiteY42609"/>
              </a:cxn>
              <a:cxn ang="0">
                <a:pos x="connsiteX42610" y="connsiteY42610"/>
              </a:cxn>
              <a:cxn ang="0">
                <a:pos x="connsiteX42611" y="connsiteY42611"/>
              </a:cxn>
              <a:cxn ang="0">
                <a:pos x="connsiteX42612" y="connsiteY42612"/>
              </a:cxn>
              <a:cxn ang="0">
                <a:pos x="connsiteX42613" y="connsiteY42613"/>
              </a:cxn>
              <a:cxn ang="0">
                <a:pos x="connsiteX42614" y="connsiteY42614"/>
              </a:cxn>
              <a:cxn ang="0">
                <a:pos x="connsiteX42615" y="connsiteY42615"/>
              </a:cxn>
              <a:cxn ang="0">
                <a:pos x="connsiteX42616" y="connsiteY42616"/>
              </a:cxn>
              <a:cxn ang="0">
                <a:pos x="connsiteX42617" y="connsiteY42617"/>
              </a:cxn>
              <a:cxn ang="0">
                <a:pos x="connsiteX42618" y="connsiteY42618"/>
              </a:cxn>
              <a:cxn ang="0">
                <a:pos x="connsiteX42619" y="connsiteY42619"/>
              </a:cxn>
              <a:cxn ang="0">
                <a:pos x="connsiteX42620" y="connsiteY42620"/>
              </a:cxn>
              <a:cxn ang="0">
                <a:pos x="connsiteX42621" y="connsiteY42621"/>
              </a:cxn>
              <a:cxn ang="0">
                <a:pos x="connsiteX42622" y="connsiteY42622"/>
              </a:cxn>
              <a:cxn ang="0">
                <a:pos x="connsiteX42623" y="connsiteY42623"/>
              </a:cxn>
              <a:cxn ang="0">
                <a:pos x="connsiteX42624" y="connsiteY42624"/>
              </a:cxn>
              <a:cxn ang="0">
                <a:pos x="connsiteX42625" y="connsiteY42625"/>
              </a:cxn>
              <a:cxn ang="0">
                <a:pos x="connsiteX42626" y="connsiteY42626"/>
              </a:cxn>
              <a:cxn ang="0">
                <a:pos x="connsiteX42627" y="connsiteY42627"/>
              </a:cxn>
              <a:cxn ang="0">
                <a:pos x="connsiteX42628" y="connsiteY42628"/>
              </a:cxn>
              <a:cxn ang="0">
                <a:pos x="connsiteX42629" y="connsiteY42629"/>
              </a:cxn>
              <a:cxn ang="0">
                <a:pos x="connsiteX42630" y="connsiteY42630"/>
              </a:cxn>
              <a:cxn ang="0">
                <a:pos x="connsiteX42631" y="connsiteY42631"/>
              </a:cxn>
              <a:cxn ang="0">
                <a:pos x="connsiteX42632" y="connsiteY42632"/>
              </a:cxn>
              <a:cxn ang="0">
                <a:pos x="connsiteX42633" y="connsiteY42633"/>
              </a:cxn>
              <a:cxn ang="0">
                <a:pos x="connsiteX42634" y="connsiteY42634"/>
              </a:cxn>
              <a:cxn ang="0">
                <a:pos x="connsiteX42635" y="connsiteY42635"/>
              </a:cxn>
              <a:cxn ang="0">
                <a:pos x="connsiteX42636" y="connsiteY42636"/>
              </a:cxn>
              <a:cxn ang="0">
                <a:pos x="connsiteX42637" y="connsiteY42637"/>
              </a:cxn>
              <a:cxn ang="0">
                <a:pos x="connsiteX42638" y="connsiteY42638"/>
              </a:cxn>
              <a:cxn ang="0">
                <a:pos x="connsiteX42639" y="connsiteY42639"/>
              </a:cxn>
              <a:cxn ang="0">
                <a:pos x="connsiteX42640" y="connsiteY42640"/>
              </a:cxn>
              <a:cxn ang="0">
                <a:pos x="connsiteX42641" y="connsiteY42641"/>
              </a:cxn>
              <a:cxn ang="0">
                <a:pos x="connsiteX42642" y="connsiteY42642"/>
              </a:cxn>
              <a:cxn ang="0">
                <a:pos x="connsiteX42643" y="connsiteY42643"/>
              </a:cxn>
              <a:cxn ang="0">
                <a:pos x="connsiteX42644" y="connsiteY42644"/>
              </a:cxn>
              <a:cxn ang="0">
                <a:pos x="connsiteX42645" y="connsiteY42645"/>
              </a:cxn>
              <a:cxn ang="0">
                <a:pos x="connsiteX42646" y="connsiteY42646"/>
              </a:cxn>
              <a:cxn ang="0">
                <a:pos x="connsiteX42647" y="connsiteY42647"/>
              </a:cxn>
              <a:cxn ang="0">
                <a:pos x="connsiteX42648" y="connsiteY42648"/>
              </a:cxn>
              <a:cxn ang="0">
                <a:pos x="connsiteX42649" y="connsiteY42649"/>
              </a:cxn>
              <a:cxn ang="0">
                <a:pos x="connsiteX42650" y="connsiteY42650"/>
              </a:cxn>
              <a:cxn ang="0">
                <a:pos x="connsiteX42651" y="connsiteY42651"/>
              </a:cxn>
              <a:cxn ang="0">
                <a:pos x="connsiteX42652" y="connsiteY42652"/>
              </a:cxn>
              <a:cxn ang="0">
                <a:pos x="connsiteX42653" y="connsiteY42653"/>
              </a:cxn>
              <a:cxn ang="0">
                <a:pos x="connsiteX42654" y="connsiteY42654"/>
              </a:cxn>
              <a:cxn ang="0">
                <a:pos x="connsiteX42655" y="connsiteY42655"/>
              </a:cxn>
              <a:cxn ang="0">
                <a:pos x="connsiteX42656" y="connsiteY42656"/>
              </a:cxn>
              <a:cxn ang="0">
                <a:pos x="connsiteX42657" y="connsiteY42657"/>
              </a:cxn>
              <a:cxn ang="0">
                <a:pos x="connsiteX42658" y="connsiteY42658"/>
              </a:cxn>
              <a:cxn ang="0">
                <a:pos x="connsiteX42659" y="connsiteY42659"/>
              </a:cxn>
              <a:cxn ang="0">
                <a:pos x="connsiteX42660" y="connsiteY42660"/>
              </a:cxn>
              <a:cxn ang="0">
                <a:pos x="connsiteX42661" y="connsiteY42661"/>
              </a:cxn>
              <a:cxn ang="0">
                <a:pos x="connsiteX42662" y="connsiteY42662"/>
              </a:cxn>
              <a:cxn ang="0">
                <a:pos x="connsiteX42663" y="connsiteY42663"/>
              </a:cxn>
              <a:cxn ang="0">
                <a:pos x="connsiteX42664" y="connsiteY42664"/>
              </a:cxn>
              <a:cxn ang="0">
                <a:pos x="connsiteX42665" y="connsiteY42665"/>
              </a:cxn>
              <a:cxn ang="0">
                <a:pos x="connsiteX42666" y="connsiteY42666"/>
              </a:cxn>
              <a:cxn ang="0">
                <a:pos x="connsiteX42667" y="connsiteY42667"/>
              </a:cxn>
              <a:cxn ang="0">
                <a:pos x="connsiteX42668" y="connsiteY42668"/>
              </a:cxn>
              <a:cxn ang="0">
                <a:pos x="connsiteX42669" y="connsiteY42669"/>
              </a:cxn>
              <a:cxn ang="0">
                <a:pos x="connsiteX42670" y="connsiteY42670"/>
              </a:cxn>
              <a:cxn ang="0">
                <a:pos x="connsiteX42671" y="connsiteY42671"/>
              </a:cxn>
              <a:cxn ang="0">
                <a:pos x="connsiteX42672" y="connsiteY42672"/>
              </a:cxn>
              <a:cxn ang="0">
                <a:pos x="connsiteX42673" y="connsiteY42673"/>
              </a:cxn>
              <a:cxn ang="0">
                <a:pos x="connsiteX42674" y="connsiteY42674"/>
              </a:cxn>
              <a:cxn ang="0">
                <a:pos x="connsiteX42675" y="connsiteY42675"/>
              </a:cxn>
              <a:cxn ang="0">
                <a:pos x="connsiteX42676" y="connsiteY42676"/>
              </a:cxn>
              <a:cxn ang="0">
                <a:pos x="connsiteX42677" y="connsiteY42677"/>
              </a:cxn>
              <a:cxn ang="0">
                <a:pos x="connsiteX42678" y="connsiteY42678"/>
              </a:cxn>
              <a:cxn ang="0">
                <a:pos x="connsiteX42679" y="connsiteY42679"/>
              </a:cxn>
              <a:cxn ang="0">
                <a:pos x="connsiteX42680" y="connsiteY42680"/>
              </a:cxn>
              <a:cxn ang="0">
                <a:pos x="connsiteX42681" y="connsiteY42681"/>
              </a:cxn>
              <a:cxn ang="0">
                <a:pos x="connsiteX42682" y="connsiteY42682"/>
              </a:cxn>
              <a:cxn ang="0">
                <a:pos x="connsiteX42683" y="connsiteY42683"/>
              </a:cxn>
              <a:cxn ang="0">
                <a:pos x="connsiteX42684" y="connsiteY42684"/>
              </a:cxn>
              <a:cxn ang="0">
                <a:pos x="connsiteX42685" y="connsiteY42685"/>
              </a:cxn>
              <a:cxn ang="0">
                <a:pos x="connsiteX42686" y="connsiteY42686"/>
              </a:cxn>
              <a:cxn ang="0">
                <a:pos x="connsiteX42687" y="connsiteY42687"/>
              </a:cxn>
              <a:cxn ang="0">
                <a:pos x="connsiteX42688" y="connsiteY42688"/>
              </a:cxn>
              <a:cxn ang="0">
                <a:pos x="connsiteX42689" y="connsiteY42689"/>
              </a:cxn>
              <a:cxn ang="0">
                <a:pos x="connsiteX42690" y="connsiteY42690"/>
              </a:cxn>
              <a:cxn ang="0">
                <a:pos x="connsiteX42691" y="connsiteY42691"/>
              </a:cxn>
              <a:cxn ang="0">
                <a:pos x="connsiteX42692" y="connsiteY42692"/>
              </a:cxn>
              <a:cxn ang="0">
                <a:pos x="connsiteX42693" y="connsiteY42693"/>
              </a:cxn>
              <a:cxn ang="0">
                <a:pos x="connsiteX42694" y="connsiteY42694"/>
              </a:cxn>
              <a:cxn ang="0">
                <a:pos x="connsiteX42695" y="connsiteY42695"/>
              </a:cxn>
              <a:cxn ang="0">
                <a:pos x="connsiteX42696" y="connsiteY42696"/>
              </a:cxn>
              <a:cxn ang="0">
                <a:pos x="connsiteX42697" y="connsiteY42697"/>
              </a:cxn>
              <a:cxn ang="0">
                <a:pos x="connsiteX42698" y="connsiteY42698"/>
              </a:cxn>
              <a:cxn ang="0">
                <a:pos x="connsiteX42699" y="connsiteY42699"/>
              </a:cxn>
              <a:cxn ang="0">
                <a:pos x="connsiteX42700" y="connsiteY42700"/>
              </a:cxn>
              <a:cxn ang="0">
                <a:pos x="connsiteX42701" y="connsiteY42701"/>
              </a:cxn>
              <a:cxn ang="0">
                <a:pos x="connsiteX42702" y="connsiteY42702"/>
              </a:cxn>
              <a:cxn ang="0">
                <a:pos x="connsiteX42703" y="connsiteY42703"/>
              </a:cxn>
              <a:cxn ang="0">
                <a:pos x="connsiteX42704" y="connsiteY42704"/>
              </a:cxn>
              <a:cxn ang="0">
                <a:pos x="connsiteX42705" y="connsiteY42705"/>
              </a:cxn>
              <a:cxn ang="0">
                <a:pos x="connsiteX42706" y="connsiteY42706"/>
              </a:cxn>
              <a:cxn ang="0">
                <a:pos x="connsiteX42707" y="connsiteY42707"/>
              </a:cxn>
              <a:cxn ang="0">
                <a:pos x="connsiteX42708" y="connsiteY42708"/>
              </a:cxn>
              <a:cxn ang="0">
                <a:pos x="connsiteX42709" y="connsiteY42709"/>
              </a:cxn>
              <a:cxn ang="0">
                <a:pos x="connsiteX42710" y="connsiteY42710"/>
              </a:cxn>
              <a:cxn ang="0">
                <a:pos x="connsiteX42711" y="connsiteY42711"/>
              </a:cxn>
              <a:cxn ang="0">
                <a:pos x="connsiteX42712" y="connsiteY42712"/>
              </a:cxn>
              <a:cxn ang="0">
                <a:pos x="connsiteX42713" y="connsiteY42713"/>
              </a:cxn>
              <a:cxn ang="0">
                <a:pos x="connsiteX42714" y="connsiteY42714"/>
              </a:cxn>
              <a:cxn ang="0">
                <a:pos x="connsiteX42715" y="connsiteY42715"/>
              </a:cxn>
              <a:cxn ang="0">
                <a:pos x="connsiteX42716" y="connsiteY42716"/>
              </a:cxn>
              <a:cxn ang="0">
                <a:pos x="connsiteX42717" y="connsiteY42717"/>
              </a:cxn>
              <a:cxn ang="0">
                <a:pos x="connsiteX42718" y="connsiteY42718"/>
              </a:cxn>
              <a:cxn ang="0">
                <a:pos x="connsiteX42719" y="connsiteY42719"/>
              </a:cxn>
              <a:cxn ang="0">
                <a:pos x="connsiteX42720" y="connsiteY42720"/>
              </a:cxn>
              <a:cxn ang="0">
                <a:pos x="connsiteX42721" y="connsiteY42721"/>
              </a:cxn>
              <a:cxn ang="0">
                <a:pos x="connsiteX42722" y="connsiteY42722"/>
              </a:cxn>
              <a:cxn ang="0">
                <a:pos x="connsiteX42723" y="connsiteY42723"/>
              </a:cxn>
              <a:cxn ang="0">
                <a:pos x="connsiteX42724" y="connsiteY42724"/>
              </a:cxn>
              <a:cxn ang="0">
                <a:pos x="connsiteX42725" y="connsiteY42725"/>
              </a:cxn>
              <a:cxn ang="0">
                <a:pos x="connsiteX42726" y="connsiteY42726"/>
              </a:cxn>
              <a:cxn ang="0">
                <a:pos x="connsiteX42727" y="connsiteY42727"/>
              </a:cxn>
              <a:cxn ang="0">
                <a:pos x="connsiteX42728" y="connsiteY42728"/>
              </a:cxn>
              <a:cxn ang="0">
                <a:pos x="connsiteX42729" y="connsiteY42729"/>
              </a:cxn>
              <a:cxn ang="0">
                <a:pos x="connsiteX42730" y="connsiteY42730"/>
              </a:cxn>
              <a:cxn ang="0">
                <a:pos x="connsiteX42731" y="connsiteY42731"/>
              </a:cxn>
              <a:cxn ang="0">
                <a:pos x="connsiteX42732" y="connsiteY42732"/>
              </a:cxn>
              <a:cxn ang="0">
                <a:pos x="connsiteX42733" y="connsiteY42733"/>
              </a:cxn>
              <a:cxn ang="0">
                <a:pos x="connsiteX42734" y="connsiteY42734"/>
              </a:cxn>
              <a:cxn ang="0">
                <a:pos x="connsiteX42735" y="connsiteY42735"/>
              </a:cxn>
              <a:cxn ang="0">
                <a:pos x="connsiteX42736" y="connsiteY42736"/>
              </a:cxn>
              <a:cxn ang="0">
                <a:pos x="connsiteX42737" y="connsiteY42737"/>
              </a:cxn>
              <a:cxn ang="0">
                <a:pos x="connsiteX42738" y="connsiteY42738"/>
              </a:cxn>
              <a:cxn ang="0">
                <a:pos x="connsiteX42739" y="connsiteY42739"/>
              </a:cxn>
              <a:cxn ang="0">
                <a:pos x="connsiteX42740" y="connsiteY42740"/>
              </a:cxn>
              <a:cxn ang="0">
                <a:pos x="connsiteX42741" y="connsiteY42741"/>
              </a:cxn>
              <a:cxn ang="0">
                <a:pos x="connsiteX42742" y="connsiteY42742"/>
              </a:cxn>
              <a:cxn ang="0">
                <a:pos x="connsiteX42743" y="connsiteY42743"/>
              </a:cxn>
              <a:cxn ang="0">
                <a:pos x="connsiteX42744" y="connsiteY42744"/>
              </a:cxn>
              <a:cxn ang="0">
                <a:pos x="connsiteX42745" y="connsiteY42745"/>
              </a:cxn>
              <a:cxn ang="0">
                <a:pos x="connsiteX42746" y="connsiteY42746"/>
              </a:cxn>
              <a:cxn ang="0">
                <a:pos x="connsiteX42747" y="connsiteY42747"/>
              </a:cxn>
              <a:cxn ang="0">
                <a:pos x="connsiteX42748" y="connsiteY42748"/>
              </a:cxn>
              <a:cxn ang="0">
                <a:pos x="connsiteX42749" y="connsiteY42749"/>
              </a:cxn>
              <a:cxn ang="0">
                <a:pos x="connsiteX42750" y="connsiteY42750"/>
              </a:cxn>
              <a:cxn ang="0">
                <a:pos x="connsiteX42751" y="connsiteY42751"/>
              </a:cxn>
              <a:cxn ang="0">
                <a:pos x="connsiteX42752" y="connsiteY42752"/>
              </a:cxn>
              <a:cxn ang="0">
                <a:pos x="connsiteX42753" y="connsiteY42753"/>
              </a:cxn>
              <a:cxn ang="0">
                <a:pos x="connsiteX42754" y="connsiteY42754"/>
              </a:cxn>
              <a:cxn ang="0">
                <a:pos x="connsiteX42755" y="connsiteY42755"/>
              </a:cxn>
              <a:cxn ang="0">
                <a:pos x="connsiteX42756" y="connsiteY42756"/>
              </a:cxn>
              <a:cxn ang="0">
                <a:pos x="connsiteX42757" y="connsiteY42757"/>
              </a:cxn>
              <a:cxn ang="0">
                <a:pos x="connsiteX42758" y="connsiteY42758"/>
              </a:cxn>
              <a:cxn ang="0">
                <a:pos x="connsiteX42759" y="connsiteY42759"/>
              </a:cxn>
              <a:cxn ang="0">
                <a:pos x="connsiteX42760" y="connsiteY42760"/>
              </a:cxn>
              <a:cxn ang="0">
                <a:pos x="connsiteX42761" y="connsiteY42761"/>
              </a:cxn>
              <a:cxn ang="0">
                <a:pos x="connsiteX42762" y="connsiteY42762"/>
              </a:cxn>
              <a:cxn ang="0">
                <a:pos x="connsiteX42763" y="connsiteY42763"/>
              </a:cxn>
              <a:cxn ang="0">
                <a:pos x="connsiteX42764" y="connsiteY42764"/>
              </a:cxn>
              <a:cxn ang="0">
                <a:pos x="connsiteX42765" y="connsiteY42765"/>
              </a:cxn>
              <a:cxn ang="0">
                <a:pos x="connsiteX42766" y="connsiteY42766"/>
              </a:cxn>
              <a:cxn ang="0">
                <a:pos x="connsiteX42767" y="connsiteY42767"/>
              </a:cxn>
              <a:cxn ang="0">
                <a:pos x="connsiteX42768" y="connsiteY42768"/>
              </a:cxn>
              <a:cxn ang="0">
                <a:pos x="connsiteX42769" y="connsiteY42769"/>
              </a:cxn>
              <a:cxn ang="0">
                <a:pos x="connsiteX42770" y="connsiteY42770"/>
              </a:cxn>
              <a:cxn ang="0">
                <a:pos x="connsiteX42771" y="connsiteY42771"/>
              </a:cxn>
              <a:cxn ang="0">
                <a:pos x="connsiteX42772" y="connsiteY42772"/>
              </a:cxn>
              <a:cxn ang="0">
                <a:pos x="connsiteX42773" y="connsiteY42773"/>
              </a:cxn>
              <a:cxn ang="0">
                <a:pos x="connsiteX42774" y="connsiteY42774"/>
              </a:cxn>
              <a:cxn ang="0">
                <a:pos x="connsiteX42775" y="connsiteY42775"/>
              </a:cxn>
              <a:cxn ang="0">
                <a:pos x="connsiteX42776" y="connsiteY42776"/>
              </a:cxn>
              <a:cxn ang="0">
                <a:pos x="connsiteX42777" y="connsiteY42777"/>
              </a:cxn>
              <a:cxn ang="0">
                <a:pos x="connsiteX42778" y="connsiteY42778"/>
              </a:cxn>
              <a:cxn ang="0">
                <a:pos x="connsiteX42779" y="connsiteY42779"/>
              </a:cxn>
              <a:cxn ang="0">
                <a:pos x="connsiteX42780" y="connsiteY42780"/>
              </a:cxn>
              <a:cxn ang="0">
                <a:pos x="connsiteX42781" y="connsiteY42781"/>
              </a:cxn>
              <a:cxn ang="0">
                <a:pos x="connsiteX42782" y="connsiteY42782"/>
              </a:cxn>
              <a:cxn ang="0">
                <a:pos x="connsiteX42783" y="connsiteY42783"/>
              </a:cxn>
              <a:cxn ang="0">
                <a:pos x="connsiteX42784" y="connsiteY42784"/>
              </a:cxn>
              <a:cxn ang="0">
                <a:pos x="connsiteX42785" y="connsiteY42785"/>
              </a:cxn>
              <a:cxn ang="0">
                <a:pos x="connsiteX42786" y="connsiteY42786"/>
              </a:cxn>
              <a:cxn ang="0">
                <a:pos x="connsiteX42787" y="connsiteY42787"/>
              </a:cxn>
              <a:cxn ang="0">
                <a:pos x="connsiteX42788" y="connsiteY42788"/>
              </a:cxn>
              <a:cxn ang="0">
                <a:pos x="connsiteX42789" y="connsiteY42789"/>
              </a:cxn>
              <a:cxn ang="0">
                <a:pos x="connsiteX42790" y="connsiteY42790"/>
              </a:cxn>
              <a:cxn ang="0">
                <a:pos x="connsiteX42791" y="connsiteY42791"/>
              </a:cxn>
              <a:cxn ang="0">
                <a:pos x="connsiteX42792" y="connsiteY42792"/>
              </a:cxn>
              <a:cxn ang="0">
                <a:pos x="connsiteX42793" y="connsiteY42793"/>
              </a:cxn>
              <a:cxn ang="0">
                <a:pos x="connsiteX42794" y="connsiteY42794"/>
              </a:cxn>
              <a:cxn ang="0">
                <a:pos x="connsiteX42795" y="connsiteY42795"/>
              </a:cxn>
              <a:cxn ang="0">
                <a:pos x="connsiteX42796" y="connsiteY42796"/>
              </a:cxn>
              <a:cxn ang="0">
                <a:pos x="connsiteX42797" y="connsiteY42797"/>
              </a:cxn>
              <a:cxn ang="0">
                <a:pos x="connsiteX42798" y="connsiteY42798"/>
              </a:cxn>
              <a:cxn ang="0">
                <a:pos x="connsiteX42799" y="connsiteY42799"/>
              </a:cxn>
              <a:cxn ang="0">
                <a:pos x="connsiteX42800" y="connsiteY42800"/>
              </a:cxn>
              <a:cxn ang="0">
                <a:pos x="connsiteX42801" y="connsiteY42801"/>
              </a:cxn>
              <a:cxn ang="0">
                <a:pos x="connsiteX42802" y="connsiteY42802"/>
              </a:cxn>
              <a:cxn ang="0">
                <a:pos x="connsiteX42803" y="connsiteY42803"/>
              </a:cxn>
              <a:cxn ang="0">
                <a:pos x="connsiteX42804" y="connsiteY42804"/>
              </a:cxn>
              <a:cxn ang="0">
                <a:pos x="connsiteX42805" y="connsiteY42805"/>
              </a:cxn>
              <a:cxn ang="0">
                <a:pos x="connsiteX42806" y="connsiteY42806"/>
              </a:cxn>
              <a:cxn ang="0">
                <a:pos x="connsiteX42807" y="connsiteY42807"/>
              </a:cxn>
              <a:cxn ang="0">
                <a:pos x="connsiteX42808" y="connsiteY42808"/>
              </a:cxn>
              <a:cxn ang="0">
                <a:pos x="connsiteX42809" y="connsiteY42809"/>
              </a:cxn>
              <a:cxn ang="0">
                <a:pos x="connsiteX42810" y="connsiteY42810"/>
              </a:cxn>
              <a:cxn ang="0">
                <a:pos x="connsiteX42811" y="connsiteY42811"/>
              </a:cxn>
              <a:cxn ang="0">
                <a:pos x="connsiteX42812" y="connsiteY42812"/>
              </a:cxn>
              <a:cxn ang="0">
                <a:pos x="connsiteX42813" y="connsiteY42813"/>
              </a:cxn>
              <a:cxn ang="0">
                <a:pos x="connsiteX42814" y="connsiteY42814"/>
              </a:cxn>
              <a:cxn ang="0">
                <a:pos x="connsiteX42815" y="connsiteY42815"/>
              </a:cxn>
              <a:cxn ang="0">
                <a:pos x="connsiteX42816" y="connsiteY42816"/>
              </a:cxn>
              <a:cxn ang="0">
                <a:pos x="connsiteX42817" y="connsiteY42817"/>
              </a:cxn>
              <a:cxn ang="0">
                <a:pos x="connsiteX42818" y="connsiteY42818"/>
              </a:cxn>
              <a:cxn ang="0">
                <a:pos x="connsiteX42819" y="connsiteY42819"/>
              </a:cxn>
              <a:cxn ang="0">
                <a:pos x="connsiteX42820" y="connsiteY42820"/>
              </a:cxn>
              <a:cxn ang="0">
                <a:pos x="connsiteX42821" y="connsiteY42821"/>
              </a:cxn>
              <a:cxn ang="0">
                <a:pos x="connsiteX42822" y="connsiteY42822"/>
              </a:cxn>
              <a:cxn ang="0">
                <a:pos x="connsiteX42823" y="connsiteY42823"/>
              </a:cxn>
              <a:cxn ang="0">
                <a:pos x="connsiteX42824" y="connsiteY42824"/>
              </a:cxn>
              <a:cxn ang="0">
                <a:pos x="connsiteX42825" y="connsiteY42825"/>
              </a:cxn>
              <a:cxn ang="0">
                <a:pos x="connsiteX42826" y="connsiteY42826"/>
              </a:cxn>
              <a:cxn ang="0">
                <a:pos x="connsiteX42827" y="connsiteY42827"/>
              </a:cxn>
              <a:cxn ang="0">
                <a:pos x="connsiteX42828" y="connsiteY42828"/>
              </a:cxn>
              <a:cxn ang="0">
                <a:pos x="connsiteX42829" y="connsiteY42829"/>
              </a:cxn>
              <a:cxn ang="0">
                <a:pos x="connsiteX42830" y="connsiteY42830"/>
              </a:cxn>
              <a:cxn ang="0">
                <a:pos x="connsiteX42831" y="connsiteY42831"/>
              </a:cxn>
              <a:cxn ang="0">
                <a:pos x="connsiteX42832" y="connsiteY42832"/>
              </a:cxn>
              <a:cxn ang="0">
                <a:pos x="connsiteX42833" y="connsiteY42833"/>
              </a:cxn>
              <a:cxn ang="0">
                <a:pos x="connsiteX42834" y="connsiteY42834"/>
              </a:cxn>
              <a:cxn ang="0">
                <a:pos x="connsiteX42835" y="connsiteY42835"/>
              </a:cxn>
              <a:cxn ang="0">
                <a:pos x="connsiteX42836" y="connsiteY42836"/>
              </a:cxn>
              <a:cxn ang="0">
                <a:pos x="connsiteX42837" y="connsiteY42837"/>
              </a:cxn>
              <a:cxn ang="0">
                <a:pos x="connsiteX42838" y="connsiteY42838"/>
              </a:cxn>
              <a:cxn ang="0">
                <a:pos x="connsiteX42839" y="connsiteY42839"/>
              </a:cxn>
              <a:cxn ang="0">
                <a:pos x="connsiteX42840" y="connsiteY42840"/>
              </a:cxn>
              <a:cxn ang="0">
                <a:pos x="connsiteX42841" y="connsiteY42841"/>
              </a:cxn>
              <a:cxn ang="0">
                <a:pos x="connsiteX42842" y="connsiteY42842"/>
              </a:cxn>
              <a:cxn ang="0">
                <a:pos x="connsiteX42843" y="connsiteY42843"/>
              </a:cxn>
              <a:cxn ang="0">
                <a:pos x="connsiteX42844" y="connsiteY42844"/>
              </a:cxn>
              <a:cxn ang="0">
                <a:pos x="connsiteX42845" y="connsiteY42845"/>
              </a:cxn>
              <a:cxn ang="0">
                <a:pos x="connsiteX42846" y="connsiteY42846"/>
              </a:cxn>
              <a:cxn ang="0">
                <a:pos x="connsiteX42847" y="connsiteY42847"/>
              </a:cxn>
              <a:cxn ang="0">
                <a:pos x="connsiteX42848" y="connsiteY42848"/>
              </a:cxn>
              <a:cxn ang="0">
                <a:pos x="connsiteX42849" y="connsiteY42849"/>
              </a:cxn>
              <a:cxn ang="0">
                <a:pos x="connsiteX42850" y="connsiteY42850"/>
              </a:cxn>
              <a:cxn ang="0">
                <a:pos x="connsiteX42851" y="connsiteY42851"/>
              </a:cxn>
              <a:cxn ang="0">
                <a:pos x="connsiteX42852" y="connsiteY42852"/>
              </a:cxn>
              <a:cxn ang="0">
                <a:pos x="connsiteX42853" y="connsiteY42853"/>
              </a:cxn>
              <a:cxn ang="0">
                <a:pos x="connsiteX42854" y="connsiteY42854"/>
              </a:cxn>
              <a:cxn ang="0">
                <a:pos x="connsiteX42855" y="connsiteY42855"/>
              </a:cxn>
              <a:cxn ang="0">
                <a:pos x="connsiteX42856" y="connsiteY42856"/>
              </a:cxn>
              <a:cxn ang="0">
                <a:pos x="connsiteX42857" y="connsiteY42857"/>
              </a:cxn>
              <a:cxn ang="0">
                <a:pos x="connsiteX42858" y="connsiteY42858"/>
              </a:cxn>
              <a:cxn ang="0">
                <a:pos x="connsiteX42859" y="connsiteY42859"/>
              </a:cxn>
              <a:cxn ang="0">
                <a:pos x="connsiteX42860" y="connsiteY42860"/>
              </a:cxn>
              <a:cxn ang="0">
                <a:pos x="connsiteX42861" y="connsiteY42861"/>
              </a:cxn>
              <a:cxn ang="0">
                <a:pos x="connsiteX42862" y="connsiteY42862"/>
              </a:cxn>
              <a:cxn ang="0">
                <a:pos x="connsiteX42863" y="connsiteY42863"/>
              </a:cxn>
              <a:cxn ang="0">
                <a:pos x="connsiteX42864" y="connsiteY42864"/>
              </a:cxn>
              <a:cxn ang="0">
                <a:pos x="connsiteX42865" y="connsiteY42865"/>
              </a:cxn>
              <a:cxn ang="0">
                <a:pos x="connsiteX42866" y="connsiteY42866"/>
              </a:cxn>
              <a:cxn ang="0">
                <a:pos x="connsiteX42867" y="connsiteY42867"/>
              </a:cxn>
              <a:cxn ang="0">
                <a:pos x="connsiteX42868" y="connsiteY42868"/>
              </a:cxn>
              <a:cxn ang="0">
                <a:pos x="connsiteX42869" y="connsiteY42869"/>
              </a:cxn>
              <a:cxn ang="0">
                <a:pos x="connsiteX42870" y="connsiteY42870"/>
              </a:cxn>
              <a:cxn ang="0">
                <a:pos x="connsiteX42871" y="connsiteY42871"/>
              </a:cxn>
              <a:cxn ang="0">
                <a:pos x="connsiteX42872" y="connsiteY42872"/>
              </a:cxn>
              <a:cxn ang="0">
                <a:pos x="connsiteX42873" y="connsiteY42873"/>
              </a:cxn>
              <a:cxn ang="0">
                <a:pos x="connsiteX42874" y="connsiteY42874"/>
              </a:cxn>
              <a:cxn ang="0">
                <a:pos x="connsiteX42875" y="connsiteY42875"/>
              </a:cxn>
              <a:cxn ang="0">
                <a:pos x="connsiteX42876" y="connsiteY42876"/>
              </a:cxn>
              <a:cxn ang="0">
                <a:pos x="connsiteX42877" y="connsiteY42877"/>
              </a:cxn>
              <a:cxn ang="0">
                <a:pos x="connsiteX42878" y="connsiteY42878"/>
              </a:cxn>
              <a:cxn ang="0">
                <a:pos x="connsiteX42879" y="connsiteY42879"/>
              </a:cxn>
              <a:cxn ang="0">
                <a:pos x="connsiteX42880" y="connsiteY42880"/>
              </a:cxn>
              <a:cxn ang="0">
                <a:pos x="connsiteX42881" y="connsiteY42881"/>
              </a:cxn>
              <a:cxn ang="0">
                <a:pos x="connsiteX42882" y="connsiteY42882"/>
              </a:cxn>
              <a:cxn ang="0">
                <a:pos x="connsiteX42883" y="connsiteY42883"/>
              </a:cxn>
              <a:cxn ang="0">
                <a:pos x="connsiteX42884" y="connsiteY42884"/>
              </a:cxn>
              <a:cxn ang="0">
                <a:pos x="connsiteX42885" y="connsiteY42885"/>
              </a:cxn>
              <a:cxn ang="0">
                <a:pos x="connsiteX42886" y="connsiteY42886"/>
              </a:cxn>
              <a:cxn ang="0">
                <a:pos x="connsiteX42887" y="connsiteY42887"/>
              </a:cxn>
              <a:cxn ang="0">
                <a:pos x="connsiteX42888" y="connsiteY42888"/>
              </a:cxn>
              <a:cxn ang="0">
                <a:pos x="connsiteX42889" y="connsiteY42889"/>
              </a:cxn>
              <a:cxn ang="0">
                <a:pos x="connsiteX42890" y="connsiteY42890"/>
              </a:cxn>
              <a:cxn ang="0">
                <a:pos x="connsiteX42891" y="connsiteY42891"/>
              </a:cxn>
              <a:cxn ang="0">
                <a:pos x="connsiteX42892" y="connsiteY42892"/>
              </a:cxn>
              <a:cxn ang="0">
                <a:pos x="connsiteX42893" y="connsiteY42893"/>
              </a:cxn>
              <a:cxn ang="0">
                <a:pos x="connsiteX42894" y="connsiteY42894"/>
              </a:cxn>
              <a:cxn ang="0">
                <a:pos x="connsiteX42895" y="connsiteY42895"/>
              </a:cxn>
              <a:cxn ang="0">
                <a:pos x="connsiteX42896" y="connsiteY42896"/>
              </a:cxn>
              <a:cxn ang="0">
                <a:pos x="connsiteX42897" y="connsiteY42897"/>
              </a:cxn>
              <a:cxn ang="0">
                <a:pos x="connsiteX42898" y="connsiteY42898"/>
              </a:cxn>
              <a:cxn ang="0">
                <a:pos x="connsiteX42899" y="connsiteY42899"/>
              </a:cxn>
              <a:cxn ang="0">
                <a:pos x="connsiteX42900" y="connsiteY42900"/>
              </a:cxn>
              <a:cxn ang="0">
                <a:pos x="connsiteX42901" y="connsiteY42901"/>
              </a:cxn>
              <a:cxn ang="0">
                <a:pos x="connsiteX42902" y="connsiteY42902"/>
              </a:cxn>
              <a:cxn ang="0">
                <a:pos x="connsiteX42903" y="connsiteY42903"/>
              </a:cxn>
              <a:cxn ang="0">
                <a:pos x="connsiteX42904" y="connsiteY42904"/>
              </a:cxn>
              <a:cxn ang="0">
                <a:pos x="connsiteX42905" y="connsiteY42905"/>
              </a:cxn>
              <a:cxn ang="0">
                <a:pos x="connsiteX42906" y="connsiteY42906"/>
              </a:cxn>
              <a:cxn ang="0">
                <a:pos x="connsiteX42907" y="connsiteY42907"/>
              </a:cxn>
              <a:cxn ang="0">
                <a:pos x="connsiteX42908" y="connsiteY42908"/>
              </a:cxn>
              <a:cxn ang="0">
                <a:pos x="connsiteX42909" y="connsiteY42909"/>
              </a:cxn>
              <a:cxn ang="0">
                <a:pos x="connsiteX42910" y="connsiteY42910"/>
              </a:cxn>
              <a:cxn ang="0">
                <a:pos x="connsiteX42911" y="connsiteY42911"/>
              </a:cxn>
              <a:cxn ang="0">
                <a:pos x="connsiteX42912" y="connsiteY42912"/>
              </a:cxn>
              <a:cxn ang="0">
                <a:pos x="connsiteX42913" y="connsiteY42913"/>
              </a:cxn>
              <a:cxn ang="0">
                <a:pos x="connsiteX42914" y="connsiteY42914"/>
              </a:cxn>
              <a:cxn ang="0">
                <a:pos x="connsiteX42915" y="connsiteY42915"/>
              </a:cxn>
              <a:cxn ang="0">
                <a:pos x="connsiteX42916" y="connsiteY42916"/>
              </a:cxn>
              <a:cxn ang="0">
                <a:pos x="connsiteX42917" y="connsiteY42917"/>
              </a:cxn>
              <a:cxn ang="0">
                <a:pos x="connsiteX42918" y="connsiteY42918"/>
              </a:cxn>
              <a:cxn ang="0">
                <a:pos x="connsiteX42919" y="connsiteY42919"/>
              </a:cxn>
              <a:cxn ang="0">
                <a:pos x="connsiteX42920" y="connsiteY42920"/>
              </a:cxn>
              <a:cxn ang="0">
                <a:pos x="connsiteX42921" y="connsiteY42921"/>
              </a:cxn>
              <a:cxn ang="0">
                <a:pos x="connsiteX42922" y="connsiteY42922"/>
              </a:cxn>
              <a:cxn ang="0">
                <a:pos x="connsiteX42923" y="connsiteY42923"/>
              </a:cxn>
              <a:cxn ang="0">
                <a:pos x="connsiteX42924" y="connsiteY42924"/>
              </a:cxn>
              <a:cxn ang="0">
                <a:pos x="connsiteX42925" y="connsiteY42925"/>
              </a:cxn>
              <a:cxn ang="0">
                <a:pos x="connsiteX42926" y="connsiteY42926"/>
              </a:cxn>
              <a:cxn ang="0">
                <a:pos x="connsiteX42927" y="connsiteY42927"/>
              </a:cxn>
              <a:cxn ang="0">
                <a:pos x="connsiteX42928" y="connsiteY42928"/>
              </a:cxn>
              <a:cxn ang="0">
                <a:pos x="connsiteX42929" y="connsiteY42929"/>
              </a:cxn>
              <a:cxn ang="0">
                <a:pos x="connsiteX42930" y="connsiteY42930"/>
              </a:cxn>
              <a:cxn ang="0">
                <a:pos x="connsiteX42931" y="connsiteY42931"/>
              </a:cxn>
              <a:cxn ang="0">
                <a:pos x="connsiteX42932" y="connsiteY42932"/>
              </a:cxn>
              <a:cxn ang="0">
                <a:pos x="connsiteX42933" y="connsiteY42933"/>
              </a:cxn>
              <a:cxn ang="0">
                <a:pos x="connsiteX42934" y="connsiteY42934"/>
              </a:cxn>
              <a:cxn ang="0">
                <a:pos x="connsiteX42935" y="connsiteY42935"/>
              </a:cxn>
              <a:cxn ang="0">
                <a:pos x="connsiteX42936" y="connsiteY42936"/>
              </a:cxn>
              <a:cxn ang="0">
                <a:pos x="connsiteX42937" y="connsiteY42937"/>
              </a:cxn>
              <a:cxn ang="0">
                <a:pos x="connsiteX42938" y="connsiteY42938"/>
              </a:cxn>
              <a:cxn ang="0">
                <a:pos x="connsiteX42939" y="connsiteY42939"/>
              </a:cxn>
              <a:cxn ang="0">
                <a:pos x="connsiteX42940" y="connsiteY42940"/>
              </a:cxn>
              <a:cxn ang="0">
                <a:pos x="connsiteX42941" y="connsiteY42941"/>
              </a:cxn>
              <a:cxn ang="0">
                <a:pos x="connsiteX42942" y="connsiteY42942"/>
              </a:cxn>
              <a:cxn ang="0">
                <a:pos x="connsiteX42943" y="connsiteY42943"/>
              </a:cxn>
              <a:cxn ang="0">
                <a:pos x="connsiteX42944" y="connsiteY42944"/>
              </a:cxn>
              <a:cxn ang="0">
                <a:pos x="connsiteX42945" y="connsiteY42945"/>
              </a:cxn>
              <a:cxn ang="0">
                <a:pos x="connsiteX42946" y="connsiteY42946"/>
              </a:cxn>
              <a:cxn ang="0">
                <a:pos x="connsiteX42947" y="connsiteY42947"/>
              </a:cxn>
              <a:cxn ang="0">
                <a:pos x="connsiteX42948" y="connsiteY42948"/>
              </a:cxn>
              <a:cxn ang="0">
                <a:pos x="connsiteX42949" y="connsiteY42949"/>
              </a:cxn>
              <a:cxn ang="0">
                <a:pos x="connsiteX42950" y="connsiteY42950"/>
              </a:cxn>
              <a:cxn ang="0">
                <a:pos x="connsiteX42951" y="connsiteY42951"/>
              </a:cxn>
              <a:cxn ang="0">
                <a:pos x="connsiteX42952" y="connsiteY42952"/>
              </a:cxn>
              <a:cxn ang="0">
                <a:pos x="connsiteX42953" y="connsiteY42953"/>
              </a:cxn>
              <a:cxn ang="0">
                <a:pos x="connsiteX42954" y="connsiteY42954"/>
              </a:cxn>
              <a:cxn ang="0">
                <a:pos x="connsiteX42955" y="connsiteY42955"/>
              </a:cxn>
              <a:cxn ang="0">
                <a:pos x="connsiteX42956" y="connsiteY42956"/>
              </a:cxn>
              <a:cxn ang="0">
                <a:pos x="connsiteX42957" y="connsiteY42957"/>
              </a:cxn>
              <a:cxn ang="0">
                <a:pos x="connsiteX42958" y="connsiteY42958"/>
              </a:cxn>
              <a:cxn ang="0">
                <a:pos x="connsiteX42959" y="connsiteY42959"/>
              </a:cxn>
              <a:cxn ang="0">
                <a:pos x="connsiteX42960" y="connsiteY42960"/>
              </a:cxn>
              <a:cxn ang="0">
                <a:pos x="connsiteX42961" y="connsiteY42961"/>
              </a:cxn>
              <a:cxn ang="0">
                <a:pos x="connsiteX42962" y="connsiteY42962"/>
              </a:cxn>
              <a:cxn ang="0">
                <a:pos x="connsiteX42963" y="connsiteY42963"/>
              </a:cxn>
              <a:cxn ang="0">
                <a:pos x="connsiteX42964" y="connsiteY42964"/>
              </a:cxn>
              <a:cxn ang="0">
                <a:pos x="connsiteX42965" y="connsiteY42965"/>
              </a:cxn>
              <a:cxn ang="0">
                <a:pos x="connsiteX42966" y="connsiteY42966"/>
              </a:cxn>
              <a:cxn ang="0">
                <a:pos x="connsiteX42967" y="connsiteY42967"/>
              </a:cxn>
              <a:cxn ang="0">
                <a:pos x="connsiteX42968" y="connsiteY42968"/>
              </a:cxn>
              <a:cxn ang="0">
                <a:pos x="connsiteX42969" y="connsiteY42969"/>
              </a:cxn>
              <a:cxn ang="0">
                <a:pos x="connsiteX42970" y="connsiteY42970"/>
              </a:cxn>
              <a:cxn ang="0">
                <a:pos x="connsiteX42971" y="connsiteY42971"/>
              </a:cxn>
              <a:cxn ang="0">
                <a:pos x="connsiteX42972" y="connsiteY42972"/>
              </a:cxn>
              <a:cxn ang="0">
                <a:pos x="connsiteX42973" y="connsiteY42973"/>
              </a:cxn>
              <a:cxn ang="0">
                <a:pos x="connsiteX42974" y="connsiteY42974"/>
              </a:cxn>
              <a:cxn ang="0">
                <a:pos x="connsiteX42975" y="connsiteY42975"/>
              </a:cxn>
              <a:cxn ang="0">
                <a:pos x="connsiteX42976" y="connsiteY42976"/>
              </a:cxn>
              <a:cxn ang="0">
                <a:pos x="connsiteX42977" y="connsiteY42977"/>
              </a:cxn>
              <a:cxn ang="0">
                <a:pos x="connsiteX42978" y="connsiteY42978"/>
              </a:cxn>
              <a:cxn ang="0">
                <a:pos x="connsiteX42979" y="connsiteY42979"/>
              </a:cxn>
              <a:cxn ang="0">
                <a:pos x="connsiteX42980" y="connsiteY42980"/>
              </a:cxn>
              <a:cxn ang="0">
                <a:pos x="connsiteX42981" y="connsiteY42981"/>
              </a:cxn>
              <a:cxn ang="0">
                <a:pos x="connsiteX42982" y="connsiteY42982"/>
              </a:cxn>
              <a:cxn ang="0">
                <a:pos x="connsiteX42983" y="connsiteY42983"/>
              </a:cxn>
              <a:cxn ang="0">
                <a:pos x="connsiteX42984" y="connsiteY42984"/>
              </a:cxn>
              <a:cxn ang="0">
                <a:pos x="connsiteX42985" y="connsiteY42985"/>
              </a:cxn>
              <a:cxn ang="0">
                <a:pos x="connsiteX42986" y="connsiteY42986"/>
              </a:cxn>
              <a:cxn ang="0">
                <a:pos x="connsiteX42987" y="connsiteY42987"/>
              </a:cxn>
              <a:cxn ang="0">
                <a:pos x="connsiteX42988" y="connsiteY42988"/>
              </a:cxn>
              <a:cxn ang="0">
                <a:pos x="connsiteX42989" y="connsiteY42989"/>
              </a:cxn>
              <a:cxn ang="0">
                <a:pos x="connsiteX42990" y="connsiteY42990"/>
              </a:cxn>
              <a:cxn ang="0">
                <a:pos x="connsiteX42991" y="connsiteY42991"/>
              </a:cxn>
              <a:cxn ang="0">
                <a:pos x="connsiteX42992" y="connsiteY42992"/>
              </a:cxn>
              <a:cxn ang="0">
                <a:pos x="connsiteX42993" y="connsiteY42993"/>
              </a:cxn>
              <a:cxn ang="0">
                <a:pos x="connsiteX42994" y="connsiteY42994"/>
              </a:cxn>
              <a:cxn ang="0">
                <a:pos x="connsiteX42995" y="connsiteY42995"/>
              </a:cxn>
              <a:cxn ang="0">
                <a:pos x="connsiteX42996" y="connsiteY42996"/>
              </a:cxn>
              <a:cxn ang="0">
                <a:pos x="connsiteX42997" y="connsiteY42997"/>
              </a:cxn>
              <a:cxn ang="0">
                <a:pos x="connsiteX42998" y="connsiteY42998"/>
              </a:cxn>
              <a:cxn ang="0">
                <a:pos x="connsiteX42999" y="connsiteY42999"/>
              </a:cxn>
              <a:cxn ang="0">
                <a:pos x="connsiteX43000" y="connsiteY43000"/>
              </a:cxn>
              <a:cxn ang="0">
                <a:pos x="connsiteX43001" y="connsiteY43001"/>
              </a:cxn>
              <a:cxn ang="0">
                <a:pos x="connsiteX43002" y="connsiteY43002"/>
              </a:cxn>
              <a:cxn ang="0">
                <a:pos x="connsiteX43003" y="connsiteY43003"/>
              </a:cxn>
              <a:cxn ang="0">
                <a:pos x="connsiteX43004" y="connsiteY43004"/>
              </a:cxn>
              <a:cxn ang="0">
                <a:pos x="connsiteX43005" y="connsiteY43005"/>
              </a:cxn>
              <a:cxn ang="0">
                <a:pos x="connsiteX43006" y="connsiteY43006"/>
              </a:cxn>
              <a:cxn ang="0">
                <a:pos x="connsiteX43007" y="connsiteY43007"/>
              </a:cxn>
              <a:cxn ang="0">
                <a:pos x="connsiteX43008" y="connsiteY43008"/>
              </a:cxn>
              <a:cxn ang="0">
                <a:pos x="connsiteX43009" y="connsiteY43009"/>
              </a:cxn>
              <a:cxn ang="0">
                <a:pos x="connsiteX43010" y="connsiteY43010"/>
              </a:cxn>
              <a:cxn ang="0">
                <a:pos x="connsiteX43011" y="connsiteY43011"/>
              </a:cxn>
              <a:cxn ang="0">
                <a:pos x="connsiteX43012" y="connsiteY43012"/>
              </a:cxn>
              <a:cxn ang="0">
                <a:pos x="connsiteX43013" y="connsiteY43013"/>
              </a:cxn>
              <a:cxn ang="0">
                <a:pos x="connsiteX43014" y="connsiteY43014"/>
              </a:cxn>
              <a:cxn ang="0">
                <a:pos x="connsiteX43015" y="connsiteY43015"/>
              </a:cxn>
              <a:cxn ang="0">
                <a:pos x="connsiteX43016" y="connsiteY43016"/>
              </a:cxn>
              <a:cxn ang="0">
                <a:pos x="connsiteX43017" y="connsiteY43017"/>
              </a:cxn>
              <a:cxn ang="0">
                <a:pos x="connsiteX43018" y="connsiteY43018"/>
              </a:cxn>
              <a:cxn ang="0">
                <a:pos x="connsiteX43019" y="connsiteY43019"/>
              </a:cxn>
              <a:cxn ang="0">
                <a:pos x="connsiteX43020" y="connsiteY43020"/>
              </a:cxn>
              <a:cxn ang="0">
                <a:pos x="connsiteX43021" y="connsiteY43021"/>
              </a:cxn>
              <a:cxn ang="0">
                <a:pos x="connsiteX43022" y="connsiteY43022"/>
              </a:cxn>
              <a:cxn ang="0">
                <a:pos x="connsiteX43023" y="connsiteY43023"/>
              </a:cxn>
              <a:cxn ang="0">
                <a:pos x="connsiteX43024" y="connsiteY43024"/>
              </a:cxn>
              <a:cxn ang="0">
                <a:pos x="connsiteX43025" y="connsiteY43025"/>
              </a:cxn>
              <a:cxn ang="0">
                <a:pos x="connsiteX43026" y="connsiteY43026"/>
              </a:cxn>
              <a:cxn ang="0">
                <a:pos x="connsiteX43027" y="connsiteY43027"/>
              </a:cxn>
              <a:cxn ang="0">
                <a:pos x="connsiteX43028" y="connsiteY43028"/>
              </a:cxn>
              <a:cxn ang="0">
                <a:pos x="connsiteX43029" y="connsiteY43029"/>
              </a:cxn>
              <a:cxn ang="0">
                <a:pos x="connsiteX43030" y="connsiteY43030"/>
              </a:cxn>
              <a:cxn ang="0">
                <a:pos x="connsiteX43031" y="connsiteY43031"/>
              </a:cxn>
              <a:cxn ang="0">
                <a:pos x="connsiteX43032" y="connsiteY43032"/>
              </a:cxn>
              <a:cxn ang="0">
                <a:pos x="connsiteX43033" y="connsiteY43033"/>
              </a:cxn>
              <a:cxn ang="0">
                <a:pos x="connsiteX43034" y="connsiteY43034"/>
              </a:cxn>
              <a:cxn ang="0">
                <a:pos x="connsiteX43035" y="connsiteY43035"/>
              </a:cxn>
              <a:cxn ang="0">
                <a:pos x="connsiteX43036" y="connsiteY43036"/>
              </a:cxn>
              <a:cxn ang="0">
                <a:pos x="connsiteX43037" y="connsiteY43037"/>
              </a:cxn>
              <a:cxn ang="0">
                <a:pos x="connsiteX43038" y="connsiteY43038"/>
              </a:cxn>
              <a:cxn ang="0">
                <a:pos x="connsiteX43039" y="connsiteY43039"/>
              </a:cxn>
              <a:cxn ang="0">
                <a:pos x="connsiteX43040" y="connsiteY43040"/>
              </a:cxn>
              <a:cxn ang="0">
                <a:pos x="connsiteX43041" y="connsiteY43041"/>
              </a:cxn>
              <a:cxn ang="0">
                <a:pos x="connsiteX43042" y="connsiteY43042"/>
              </a:cxn>
              <a:cxn ang="0">
                <a:pos x="connsiteX43043" y="connsiteY43043"/>
              </a:cxn>
              <a:cxn ang="0">
                <a:pos x="connsiteX43044" y="connsiteY43044"/>
              </a:cxn>
              <a:cxn ang="0">
                <a:pos x="connsiteX43045" y="connsiteY43045"/>
              </a:cxn>
              <a:cxn ang="0">
                <a:pos x="connsiteX43046" y="connsiteY43046"/>
              </a:cxn>
              <a:cxn ang="0">
                <a:pos x="connsiteX43047" y="connsiteY43047"/>
              </a:cxn>
              <a:cxn ang="0">
                <a:pos x="connsiteX43048" y="connsiteY43048"/>
              </a:cxn>
              <a:cxn ang="0">
                <a:pos x="connsiteX43049" y="connsiteY43049"/>
              </a:cxn>
              <a:cxn ang="0">
                <a:pos x="connsiteX43050" y="connsiteY43050"/>
              </a:cxn>
              <a:cxn ang="0">
                <a:pos x="connsiteX43051" y="connsiteY43051"/>
              </a:cxn>
              <a:cxn ang="0">
                <a:pos x="connsiteX43052" y="connsiteY43052"/>
              </a:cxn>
              <a:cxn ang="0">
                <a:pos x="connsiteX43053" y="connsiteY43053"/>
              </a:cxn>
              <a:cxn ang="0">
                <a:pos x="connsiteX43054" y="connsiteY43054"/>
              </a:cxn>
              <a:cxn ang="0">
                <a:pos x="connsiteX43055" y="connsiteY43055"/>
              </a:cxn>
              <a:cxn ang="0">
                <a:pos x="connsiteX43056" y="connsiteY43056"/>
              </a:cxn>
              <a:cxn ang="0">
                <a:pos x="connsiteX43057" y="connsiteY43057"/>
              </a:cxn>
              <a:cxn ang="0">
                <a:pos x="connsiteX43058" y="connsiteY43058"/>
              </a:cxn>
              <a:cxn ang="0">
                <a:pos x="connsiteX43059" y="connsiteY43059"/>
              </a:cxn>
              <a:cxn ang="0">
                <a:pos x="connsiteX43060" y="connsiteY43060"/>
              </a:cxn>
              <a:cxn ang="0">
                <a:pos x="connsiteX43061" y="connsiteY43061"/>
              </a:cxn>
              <a:cxn ang="0">
                <a:pos x="connsiteX43062" y="connsiteY43062"/>
              </a:cxn>
              <a:cxn ang="0">
                <a:pos x="connsiteX43063" y="connsiteY43063"/>
              </a:cxn>
              <a:cxn ang="0">
                <a:pos x="connsiteX43064" y="connsiteY43064"/>
              </a:cxn>
              <a:cxn ang="0">
                <a:pos x="connsiteX43065" y="connsiteY43065"/>
              </a:cxn>
              <a:cxn ang="0">
                <a:pos x="connsiteX43066" y="connsiteY43066"/>
              </a:cxn>
              <a:cxn ang="0">
                <a:pos x="connsiteX43067" y="connsiteY43067"/>
              </a:cxn>
              <a:cxn ang="0">
                <a:pos x="connsiteX43068" y="connsiteY43068"/>
              </a:cxn>
              <a:cxn ang="0">
                <a:pos x="connsiteX43069" y="connsiteY43069"/>
              </a:cxn>
              <a:cxn ang="0">
                <a:pos x="connsiteX43070" y="connsiteY43070"/>
              </a:cxn>
              <a:cxn ang="0">
                <a:pos x="connsiteX43071" y="connsiteY43071"/>
              </a:cxn>
              <a:cxn ang="0">
                <a:pos x="connsiteX43072" y="connsiteY43072"/>
              </a:cxn>
              <a:cxn ang="0">
                <a:pos x="connsiteX43073" y="connsiteY43073"/>
              </a:cxn>
              <a:cxn ang="0">
                <a:pos x="connsiteX43074" y="connsiteY43074"/>
              </a:cxn>
              <a:cxn ang="0">
                <a:pos x="connsiteX43075" y="connsiteY43075"/>
              </a:cxn>
              <a:cxn ang="0">
                <a:pos x="connsiteX43076" y="connsiteY43076"/>
              </a:cxn>
              <a:cxn ang="0">
                <a:pos x="connsiteX43077" y="connsiteY43077"/>
              </a:cxn>
              <a:cxn ang="0">
                <a:pos x="connsiteX43078" y="connsiteY43078"/>
              </a:cxn>
              <a:cxn ang="0">
                <a:pos x="connsiteX43079" y="connsiteY43079"/>
              </a:cxn>
              <a:cxn ang="0">
                <a:pos x="connsiteX43080" y="connsiteY43080"/>
              </a:cxn>
              <a:cxn ang="0">
                <a:pos x="connsiteX43081" y="connsiteY43081"/>
              </a:cxn>
              <a:cxn ang="0">
                <a:pos x="connsiteX43082" y="connsiteY43082"/>
              </a:cxn>
              <a:cxn ang="0">
                <a:pos x="connsiteX43083" y="connsiteY43083"/>
              </a:cxn>
              <a:cxn ang="0">
                <a:pos x="connsiteX43084" y="connsiteY43084"/>
              </a:cxn>
              <a:cxn ang="0">
                <a:pos x="connsiteX43085" y="connsiteY43085"/>
              </a:cxn>
              <a:cxn ang="0">
                <a:pos x="connsiteX43086" y="connsiteY43086"/>
              </a:cxn>
              <a:cxn ang="0">
                <a:pos x="connsiteX43087" y="connsiteY43087"/>
              </a:cxn>
              <a:cxn ang="0">
                <a:pos x="connsiteX43088" y="connsiteY43088"/>
              </a:cxn>
              <a:cxn ang="0">
                <a:pos x="connsiteX43089" y="connsiteY43089"/>
              </a:cxn>
              <a:cxn ang="0">
                <a:pos x="connsiteX43090" y="connsiteY43090"/>
              </a:cxn>
              <a:cxn ang="0">
                <a:pos x="connsiteX43091" y="connsiteY43091"/>
              </a:cxn>
              <a:cxn ang="0">
                <a:pos x="connsiteX43092" y="connsiteY43092"/>
              </a:cxn>
              <a:cxn ang="0">
                <a:pos x="connsiteX43093" y="connsiteY43093"/>
              </a:cxn>
              <a:cxn ang="0">
                <a:pos x="connsiteX43094" y="connsiteY43094"/>
              </a:cxn>
              <a:cxn ang="0">
                <a:pos x="connsiteX43095" y="connsiteY43095"/>
              </a:cxn>
              <a:cxn ang="0">
                <a:pos x="connsiteX43096" y="connsiteY43096"/>
              </a:cxn>
              <a:cxn ang="0">
                <a:pos x="connsiteX43097" y="connsiteY43097"/>
              </a:cxn>
              <a:cxn ang="0">
                <a:pos x="connsiteX43098" y="connsiteY43098"/>
              </a:cxn>
              <a:cxn ang="0">
                <a:pos x="connsiteX43099" y="connsiteY43099"/>
              </a:cxn>
              <a:cxn ang="0">
                <a:pos x="connsiteX43100" y="connsiteY43100"/>
              </a:cxn>
              <a:cxn ang="0">
                <a:pos x="connsiteX43101" y="connsiteY43101"/>
              </a:cxn>
              <a:cxn ang="0">
                <a:pos x="connsiteX43102" y="connsiteY43102"/>
              </a:cxn>
              <a:cxn ang="0">
                <a:pos x="connsiteX43103" y="connsiteY43103"/>
              </a:cxn>
              <a:cxn ang="0">
                <a:pos x="connsiteX43104" y="connsiteY43104"/>
              </a:cxn>
              <a:cxn ang="0">
                <a:pos x="connsiteX43105" y="connsiteY43105"/>
              </a:cxn>
              <a:cxn ang="0">
                <a:pos x="connsiteX43106" y="connsiteY43106"/>
              </a:cxn>
              <a:cxn ang="0">
                <a:pos x="connsiteX43107" y="connsiteY43107"/>
              </a:cxn>
              <a:cxn ang="0">
                <a:pos x="connsiteX43108" y="connsiteY43108"/>
              </a:cxn>
              <a:cxn ang="0">
                <a:pos x="connsiteX43109" y="connsiteY43109"/>
              </a:cxn>
              <a:cxn ang="0">
                <a:pos x="connsiteX43110" y="connsiteY43110"/>
              </a:cxn>
              <a:cxn ang="0">
                <a:pos x="connsiteX43111" y="connsiteY43111"/>
              </a:cxn>
              <a:cxn ang="0">
                <a:pos x="connsiteX43112" y="connsiteY43112"/>
              </a:cxn>
              <a:cxn ang="0">
                <a:pos x="connsiteX43113" y="connsiteY43113"/>
              </a:cxn>
              <a:cxn ang="0">
                <a:pos x="connsiteX43114" y="connsiteY43114"/>
              </a:cxn>
              <a:cxn ang="0">
                <a:pos x="connsiteX43115" y="connsiteY43115"/>
              </a:cxn>
              <a:cxn ang="0">
                <a:pos x="connsiteX43116" y="connsiteY43116"/>
              </a:cxn>
              <a:cxn ang="0">
                <a:pos x="connsiteX43117" y="connsiteY43117"/>
              </a:cxn>
              <a:cxn ang="0">
                <a:pos x="connsiteX43118" y="connsiteY43118"/>
              </a:cxn>
              <a:cxn ang="0">
                <a:pos x="connsiteX43119" y="connsiteY43119"/>
              </a:cxn>
              <a:cxn ang="0">
                <a:pos x="connsiteX43120" y="connsiteY43120"/>
              </a:cxn>
              <a:cxn ang="0">
                <a:pos x="connsiteX43121" y="connsiteY43121"/>
              </a:cxn>
              <a:cxn ang="0">
                <a:pos x="connsiteX43122" y="connsiteY43122"/>
              </a:cxn>
              <a:cxn ang="0">
                <a:pos x="connsiteX43123" y="connsiteY43123"/>
              </a:cxn>
              <a:cxn ang="0">
                <a:pos x="connsiteX43124" y="connsiteY43124"/>
              </a:cxn>
              <a:cxn ang="0">
                <a:pos x="connsiteX43125" y="connsiteY43125"/>
              </a:cxn>
              <a:cxn ang="0">
                <a:pos x="connsiteX43126" y="connsiteY43126"/>
              </a:cxn>
              <a:cxn ang="0">
                <a:pos x="connsiteX43127" y="connsiteY43127"/>
              </a:cxn>
              <a:cxn ang="0">
                <a:pos x="connsiteX43128" y="connsiteY43128"/>
              </a:cxn>
              <a:cxn ang="0">
                <a:pos x="connsiteX43129" y="connsiteY43129"/>
              </a:cxn>
              <a:cxn ang="0">
                <a:pos x="connsiteX43130" y="connsiteY43130"/>
              </a:cxn>
              <a:cxn ang="0">
                <a:pos x="connsiteX43131" y="connsiteY43131"/>
              </a:cxn>
              <a:cxn ang="0">
                <a:pos x="connsiteX43132" y="connsiteY43132"/>
              </a:cxn>
              <a:cxn ang="0">
                <a:pos x="connsiteX43133" y="connsiteY43133"/>
              </a:cxn>
              <a:cxn ang="0">
                <a:pos x="connsiteX43134" y="connsiteY43134"/>
              </a:cxn>
              <a:cxn ang="0">
                <a:pos x="connsiteX43135" y="connsiteY43135"/>
              </a:cxn>
              <a:cxn ang="0">
                <a:pos x="connsiteX43136" y="connsiteY43136"/>
              </a:cxn>
              <a:cxn ang="0">
                <a:pos x="connsiteX43137" y="connsiteY43137"/>
              </a:cxn>
              <a:cxn ang="0">
                <a:pos x="connsiteX43138" y="connsiteY43138"/>
              </a:cxn>
              <a:cxn ang="0">
                <a:pos x="connsiteX43139" y="connsiteY43139"/>
              </a:cxn>
              <a:cxn ang="0">
                <a:pos x="connsiteX43140" y="connsiteY43140"/>
              </a:cxn>
              <a:cxn ang="0">
                <a:pos x="connsiteX43141" y="connsiteY43141"/>
              </a:cxn>
              <a:cxn ang="0">
                <a:pos x="connsiteX43142" y="connsiteY43142"/>
              </a:cxn>
              <a:cxn ang="0">
                <a:pos x="connsiteX43143" y="connsiteY43143"/>
              </a:cxn>
              <a:cxn ang="0">
                <a:pos x="connsiteX43144" y="connsiteY43144"/>
              </a:cxn>
              <a:cxn ang="0">
                <a:pos x="connsiteX43145" y="connsiteY43145"/>
              </a:cxn>
              <a:cxn ang="0">
                <a:pos x="connsiteX43146" y="connsiteY43146"/>
              </a:cxn>
              <a:cxn ang="0">
                <a:pos x="connsiteX43147" y="connsiteY43147"/>
              </a:cxn>
              <a:cxn ang="0">
                <a:pos x="connsiteX43148" y="connsiteY43148"/>
              </a:cxn>
              <a:cxn ang="0">
                <a:pos x="connsiteX43149" y="connsiteY43149"/>
              </a:cxn>
              <a:cxn ang="0">
                <a:pos x="connsiteX43150" y="connsiteY43150"/>
              </a:cxn>
              <a:cxn ang="0">
                <a:pos x="connsiteX43151" y="connsiteY43151"/>
              </a:cxn>
              <a:cxn ang="0">
                <a:pos x="connsiteX43152" y="connsiteY43152"/>
              </a:cxn>
              <a:cxn ang="0">
                <a:pos x="connsiteX43153" y="connsiteY43153"/>
              </a:cxn>
              <a:cxn ang="0">
                <a:pos x="connsiteX43154" y="connsiteY43154"/>
              </a:cxn>
              <a:cxn ang="0">
                <a:pos x="connsiteX43155" y="connsiteY43155"/>
              </a:cxn>
              <a:cxn ang="0">
                <a:pos x="connsiteX43156" y="connsiteY43156"/>
              </a:cxn>
              <a:cxn ang="0">
                <a:pos x="connsiteX43157" y="connsiteY43157"/>
              </a:cxn>
              <a:cxn ang="0">
                <a:pos x="connsiteX43158" y="connsiteY43158"/>
              </a:cxn>
              <a:cxn ang="0">
                <a:pos x="connsiteX43159" y="connsiteY43159"/>
              </a:cxn>
              <a:cxn ang="0">
                <a:pos x="connsiteX43160" y="connsiteY43160"/>
              </a:cxn>
              <a:cxn ang="0">
                <a:pos x="connsiteX43161" y="connsiteY43161"/>
              </a:cxn>
              <a:cxn ang="0">
                <a:pos x="connsiteX43162" y="connsiteY43162"/>
              </a:cxn>
              <a:cxn ang="0">
                <a:pos x="connsiteX43163" y="connsiteY43163"/>
              </a:cxn>
              <a:cxn ang="0">
                <a:pos x="connsiteX43164" y="connsiteY43164"/>
              </a:cxn>
              <a:cxn ang="0">
                <a:pos x="connsiteX43165" y="connsiteY43165"/>
              </a:cxn>
              <a:cxn ang="0">
                <a:pos x="connsiteX43166" y="connsiteY43166"/>
              </a:cxn>
              <a:cxn ang="0">
                <a:pos x="connsiteX43167" y="connsiteY43167"/>
              </a:cxn>
              <a:cxn ang="0">
                <a:pos x="connsiteX43168" y="connsiteY43168"/>
              </a:cxn>
              <a:cxn ang="0">
                <a:pos x="connsiteX43169" y="connsiteY43169"/>
              </a:cxn>
              <a:cxn ang="0">
                <a:pos x="connsiteX43170" y="connsiteY43170"/>
              </a:cxn>
              <a:cxn ang="0">
                <a:pos x="connsiteX43171" y="connsiteY43171"/>
              </a:cxn>
              <a:cxn ang="0">
                <a:pos x="connsiteX43172" y="connsiteY43172"/>
              </a:cxn>
              <a:cxn ang="0">
                <a:pos x="connsiteX43173" y="connsiteY43173"/>
              </a:cxn>
              <a:cxn ang="0">
                <a:pos x="connsiteX43174" y="connsiteY43174"/>
              </a:cxn>
              <a:cxn ang="0">
                <a:pos x="connsiteX43175" y="connsiteY43175"/>
              </a:cxn>
              <a:cxn ang="0">
                <a:pos x="connsiteX43176" y="connsiteY43176"/>
              </a:cxn>
              <a:cxn ang="0">
                <a:pos x="connsiteX43177" y="connsiteY43177"/>
              </a:cxn>
              <a:cxn ang="0">
                <a:pos x="connsiteX43178" y="connsiteY43178"/>
              </a:cxn>
              <a:cxn ang="0">
                <a:pos x="connsiteX43179" y="connsiteY43179"/>
              </a:cxn>
              <a:cxn ang="0">
                <a:pos x="connsiteX43180" y="connsiteY43180"/>
              </a:cxn>
              <a:cxn ang="0">
                <a:pos x="connsiteX43181" y="connsiteY43181"/>
              </a:cxn>
              <a:cxn ang="0">
                <a:pos x="connsiteX43182" y="connsiteY43182"/>
              </a:cxn>
              <a:cxn ang="0">
                <a:pos x="connsiteX43183" y="connsiteY43183"/>
              </a:cxn>
              <a:cxn ang="0">
                <a:pos x="connsiteX43184" y="connsiteY43184"/>
              </a:cxn>
              <a:cxn ang="0">
                <a:pos x="connsiteX43185" y="connsiteY43185"/>
              </a:cxn>
              <a:cxn ang="0">
                <a:pos x="connsiteX43186" y="connsiteY43186"/>
              </a:cxn>
              <a:cxn ang="0">
                <a:pos x="connsiteX43187" y="connsiteY43187"/>
              </a:cxn>
              <a:cxn ang="0">
                <a:pos x="connsiteX43188" y="connsiteY43188"/>
              </a:cxn>
              <a:cxn ang="0">
                <a:pos x="connsiteX43189" y="connsiteY43189"/>
              </a:cxn>
              <a:cxn ang="0">
                <a:pos x="connsiteX43190" y="connsiteY43190"/>
              </a:cxn>
              <a:cxn ang="0">
                <a:pos x="connsiteX43191" y="connsiteY43191"/>
              </a:cxn>
              <a:cxn ang="0">
                <a:pos x="connsiteX43192" y="connsiteY43192"/>
              </a:cxn>
              <a:cxn ang="0">
                <a:pos x="connsiteX43193" y="connsiteY43193"/>
              </a:cxn>
              <a:cxn ang="0">
                <a:pos x="connsiteX43194" y="connsiteY43194"/>
              </a:cxn>
              <a:cxn ang="0">
                <a:pos x="connsiteX43195" y="connsiteY43195"/>
              </a:cxn>
              <a:cxn ang="0">
                <a:pos x="connsiteX43196" y="connsiteY43196"/>
              </a:cxn>
              <a:cxn ang="0">
                <a:pos x="connsiteX43197" y="connsiteY43197"/>
              </a:cxn>
              <a:cxn ang="0">
                <a:pos x="connsiteX43198" y="connsiteY43198"/>
              </a:cxn>
              <a:cxn ang="0">
                <a:pos x="connsiteX43199" y="connsiteY43199"/>
              </a:cxn>
              <a:cxn ang="0">
                <a:pos x="connsiteX43200" y="connsiteY43200"/>
              </a:cxn>
              <a:cxn ang="0">
                <a:pos x="connsiteX43201" y="connsiteY43201"/>
              </a:cxn>
              <a:cxn ang="0">
                <a:pos x="connsiteX43202" y="connsiteY43202"/>
              </a:cxn>
              <a:cxn ang="0">
                <a:pos x="connsiteX43203" y="connsiteY43203"/>
              </a:cxn>
              <a:cxn ang="0">
                <a:pos x="connsiteX43204" y="connsiteY43204"/>
              </a:cxn>
              <a:cxn ang="0">
                <a:pos x="connsiteX43205" y="connsiteY43205"/>
              </a:cxn>
              <a:cxn ang="0">
                <a:pos x="connsiteX43206" y="connsiteY43206"/>
              </a:cxn>
              <a:cxn ang="0">
                <a:pos x="connsiteX43207" y="connsiteY43207"/>
              </a:cxn>
              <a:cxn ang="0">
                <a:pos x="connsiteX43208" y="connsiteY43208"/>
              </a:cxn>
              <a:cxn ang="0">
                <a:pos x="connsiteX43209" y="connsiteY43209"/>
              </a:cxn>
              <a:cxn ang="0">
                <a:pos x="connsiteX43210" y="connsiteY43210"/>
              </a:cxn>
              <a:cxn ang="0">
                <a:pos x="connsiteX43211" y="connsiteY43211"/>
              </a:cxn>
              <a:cxn ang="0">
                <a:pos x="connsiteX43212" y="connsiteY43212"/>
              </a:cxn>
              <a:cxn ang="0">
                <a:pos x="connsiteX43213" y="connsiteY43213"/>
              </a:cxn>
              <a:cxn ang="0">
                <a:pos x="connsiteX43214" y="connsiteY43214"/>
              </a:cxn>
              <a:cxn ang="0">
                <a:pos x="connsiteX43215" y="connsiteY43215"/>
              </a:cxn>
              <a:cxn ang="0">
                <a:pos x="connsiteX43216" y="connsiteY43216"/>
              </a:cxn>
              <a:cxn ang="0">
                <a:pos x="connsiteX43217" y="connsiteY43217"/>
              </a:cxn>
              <a:cxn ang="0">
                <a:pos x="connsiteX43218" y="connsiteY43218"/>
              </a:cxn>
              <a:cxn ang="0">
                <a:pos x="connsiteX43219" y="connsiteY43219"/>
              </a:cxn>
              <a:cxn ang="0">
                <a:pos x="connsiteX43220" y="connsiteY43220"/>
              </a:cxn>
              <a:cxn ang="0">
                <a:pos x="connsiteX43221" y="connsiteY43221"/>
              </a:cxn>
              <a:cxn ang="0">
                <a:pos x="connsiteX43222" y="connsiteY43222"/>
              </a:cxn>
              <a:cxn ang="0">
                <a:pos x="connsiteX43223" y="connsiteY43223"/>
              </a:cxn>
              <a:cxn ang="0">
                <a:pos x="connsiteX43224" y="connsiteY43224"/>
              </a:cxn>
              <a:cxn ang="0">
                <a:pos x="connsiteX43225" y="connsiteY43225"/>
              </a:cxn>
              <a:cxn ang="0">
                <a:pos x="connsiteX43226" y="connsiteY43226"/>
              </a:cxn>
              <a:cxn ang="0">
                <a:pos x="connsiteX43227" y="connsiteY43227"/>
              </a:cxn>
              <a:cxn ang="0">
                <a:pos x="connsiteX43228" y="connsiteY43228"/>
              </a:cxn>
              <a:cxn ang="0">
                <a:pos x="connsiteX43229" y="connsiteY43229"/>
              </a:cxn>
              <a:cxn ang="0">
                <a:pos x="connsiteX43230" y="connsiteY43230"/>
              </a:cxn>
              <a:cxn ang="0">
                <a:pos x="connsiteX43231" y="connsiteY43231"/>
              </a:cxn>
              <a:cxn ang="0">
                <a:pos x="connsiteX43232" y="connsiteY43232"/>
              </a:cxn>
              <a:cxn ang="0">
                <a:pos x="connsiteX43233" y="connsiteY43233"/>
              </a:cxn>
              <a:cxn ang="0">
                <a:pos x="connsiteX43234" y="connsiteY43234"/>
              </a:cxn>
              <a:cxn ang="0">
                <a:pos x="connsiteX43235" y="connsiteY43235"/>
              </a:cxn>
              <a:cxn ang="0">
                <a:pos x="connsiteX43236" y="connsiteY43236"/>
              </a:cxn>
              <a:cxn ang="0">
                <a:pos x="connsiteX43237" y="connsiteY43237"/>
              </a:cxn>
              <a:cxn ang="0">
                <a:pos x="connsiteX43238" y="connsiteY43238"/>
              </a:cxn>
              <a:cxn ang="0">
                <a:pos x="connsiteX43239" y="connsiteY43239"/>
              </a:cxn>
              <a:cxn ang="0">
                <a:pos x="connsiteX43240" y="connsiteY43240"/>
              </a:cxn>
              <a:cxn ang="0">
                <a:pos x="connsiteX43241" y="connsiteY43241"/>
              </a:cxn>
              <a:cxn ang="0">
                <a:pos x="connsiteX43242" y="connsiteY43242"/>
              </a:cxn>
              <a:cxn ang="0">
                <a:pos x="connsiteX43243" y="connsiteY43243"/>
              </a:cxn>
              <a:cxn ang="0">
                <a:pos x="connsiteX43244" y="connsiteY43244"/>
              </a:cxn>
              <a:cxn ang="0">
                <a:pos x="connsiteX43245" y="connsiteY43245"/>
              </a:cxn>
              <a:cxn ang="0">
                <a:pos x="connsiteX43246" y="connsiteY43246"/>
              </a:cxn>
              <a:cxn ang="0">
                <a:pos x="connsiteX43247" y="connsiteY43247"/>
              </a:cxn>
              <a:cxn ang="0">
                <a:pos x="connsiteX43248" y="connsiteY43248"/>
              </a:cxn>
              <a:cxn ang="0">
                <a:pos x="connsiteX43249" y="connsiteY43249"/>
              </a:cxn>
              <a:cxn ang="0">
                <a:pos x="connsiteX43250" y="connsiteY43250"/>
              </a:cxn>
              <a:cxn ang="0">
                <a:pos x="connsiteX43251" y="connsiteY43251"/>
              </a:cxn>
              <a:cxn ang="0">
                <a:pos x="connsiteX43252" y="connsiteY43252"/>
              </a:cxn>
              <a:cxn ang="0">
                <a:pos x="connsiteX43253" y="connsiteY43253"/>
              </a:cxn>
              <a:cxn ang="0">
                <a:pos x="connsiteX43254" y="connsiteY43254"/>
              </a:cxn>
              <a:cxn ang="0">
                <a:pos x="connsiteX43255" y="connsiteY43255"/>
              </a:cxn>
              <a:cxn ang="0">
                <a:pos x="connsiteX43256" y="connsiteY43256"/>
              </a:cxn>
              <a:cxn ang="0">
                <a:pos x="connsiteX43257" y="connsiteY43257"/>
              </a:cxn>
              <a:cxn ang="0">
                <a:pos x="connsiteX43258" y="connsiteY43258"/>
              </a:cxn>
              <a:cxn ang="0">
                <a:pos x="connsiteX43259" y="connsiteY43259"/>
              </a:cxn>
              <a:cxn ang="0">
                <a:pos x="connsiteX43260" y="connsiteY43260"/>
              </a:cxn>
              <a:cxn ang="0">
                <a:pos x="connsiteX43261" y="connsiteY43261"/>
              </a:cxn>
              <a:cxn ang="0">
                <a:pos x="connsiteX43262" y="connsiteY43262"/>
              </a:cxn>
              <a:cxn ang="0">
                <a:pos x="connsiteX43263" y="connsiteY43263"/>
              </a:cxn>
              <a:cxn ang="0">
                <a:pos x="connsiteX43264" y="connsiteY43264"/>
              </a:cxn>
              <a:cxn ang="0">
                <a:pos x="connsiteX43265" y="connsiteY43265"/>
              </a:cxn>
              <a:cxn ang="0">
                <a:pos x="connsiteX43266" y="connsiteY43266"/>
              </a:cxn>
              <a:cxn ang="0">
                <a:pos x="connsiteX43267" y="connsiteY43267"/>
              </a:cxn>
              <a:cxn ang="0">
                <a:pos x="connsiteX43268" y="connsiteY43268"/>
              </a:cxn>
              <a:cxn ang="0">
                <a:pos x="connsiteX43269" y="connsiteY43269"/>
              </a:cxn>
              <a:cxn ang="0">
                <a:pos x="connsiteX43270" y="connsiteY43270"/>
              </a:cxn>
              <a:cxn ang="0">
                <a:pos x="connsiteX43271" y="connsiteY43271"/>
              </a:cxn>
              <a:cxn ang="0">
                <a:pos x="connsiteX43272" y="connsiteY43272"/>
              </a:cxn>
              <a:cxn ang="0">
                <a:pos x="connsiteX43273" y="connsiteY43273"/>
              </a:cxn>
              <a:cxn ang="0">
                <a:pos x="connsiteX43274" y="connsiteY43274"/>
              </a:cxn>
              <a:cxn ang="0">
                <a:pos x="connsiteX43275" y="connsiteY43275"/>
              </a:cxn>
              <a:cxn ang="0">
                <a:pos x="connsiteX43276" y="connsiteY43276"/>
              </a:cxn>
              <a:cxn ang="0">
                <a:pos x="connsiteX43277" y="connsiteY43277"/>
              </a:cxn>
              <a:cxn ang="0">
                <a:pos x="connsiteX43278" y="connsiteY43278"/>
              </a:cxn>
              <a:cxn ang="0">
                <a:pos x="connsiteX43279" y="connsiteY43279"/>
              </a:cxn>
              <a:cxn ang="0">
                <a:pos x="connsiteX43280" y="connsiteY43280"/>
              </a:cxn>
              <a:cxn ang="0">
                <a:pos x="connsiteX43281" y="connsiteY43281"/>
              </a:cxn>
              <a:cxn ang="0">
                <a:pos x="connsiteX43282" y="connsiteY43282"/>
              </a:cxn>
              <a:cxn ang="0">
                <a:pos x="connsiteX43283" y="connsiteY43283"/>
              </a:cxn>
              <a:cxn ang="0">
                <a:pos x="connsiteX43284" y="connsiteY43284"/>
              </a:cxn>
              <a:cxn ang="0">
                <a:pos x="connsiteX43285" y="connsiteY43285"/>
              </a:cxn>
              <a:cxn ang="0">
                <a:pos x="connsiteX43286" y="connsiteY43286"/>
              </a:cxn>
              <a:cxn ang="0">
                <a:pos x="connsiteX43287" y="connsiteY43287"/>
              </a:cxn>
              <a:cxn ang="0">
                <a:pos x="connsiteX43288" y="connsiteY43288"/>
              </a:cxn>
              <a:cxn ang="0">
                <a:pos x="connsiteX43289" y="connsiteY43289"/>
              </a:cxn>
              <a:cxn ang="0">
                <a:pos x="connsiteX43290" y="connsiteY43290"/>
              </a:cxn>
              <a:cxn ang="0">
                <a:pos x="connsiteX43291" y="connsiteY43291"/>
              </a:cxn>
              <a:cxn ang="0">
                <a:pos x="connsiteX43292" y="connsiteY43292"/>
              </a:cxn>
              <a:cxn ang="0">
                <a:pos x="connsiteX43293" y="connsiteY43293"/>
              </a:cxn>
              <a:cxn ang="0">
                <a:pos x="connsiteX43294" y="connsiteY43294"/>
              </a:cxn>
              <a:cxn ang="0">
                <a:pos x="connsiteX43295" y="connsiteY43295"/>
              </a:cxn>
              <a:cxn ang="0">
                <a:pos x="connsiteX43296" y="connsiteY43296"/>
              </a:cxn>
              <a:cxn ang="0">
                <a:pos x="connsiteX43297" y="connsiteY43297"/>
              </a:cxn>
              <a:cxn ang="0">
                <a:pos x="connsiteX43298" y="connsiteY43298"/>
              </a:cxn>
              <a:cxn ang="0">
                <a:pos x="connsiteX43299" y="connsiteY43299"/>
              </a:cxn>
              <a:cxn ang="0">
                <a:pos x="connsiteX43300" y="connsiteY43300"/>
              </a:cxn>
              <a:cxn ang="0">
                <a:pos x="connsiteX43301" y="connsiteY43301"/>
              </a:cxn>
              <a:cxn ang="0">
                <a:pos x="connsiteX43302" y="connsiteY43302"/>
              </a:cxn>
              <a:cxn ang="0">
                <a:pos x="connsiteX43303" y="connsiteY43303"/>
              </a:cxn>
              <a:cxn ang="0">
                <a:pos x="connsiteX43304" y="connsiteY43304"/>
              </a:cxn>
              <a:cxn ang="0">
                <a:pos x="connsiteX43305" y="connsiteY43305"/>
              </a:cxn>
              <a:cxn ang="0">
                <a:pos x="connsiteX43306" y="connsiteY43306"/>
              </a:cxn>
              <a:cxn ang="0">
                <a:pos x="connsiteX43307" y="connsiteY43307"/>
              </a:cxn>
              <a:cxn ang="0">
                <a:pos x="connsiteX43308" y="connsiteY43308"/>
              </a:cxn>
              <a:cxn ang="0">
                <a:pos x="connsiteX43309" y="connsiteY43309"/>
              </a:cxn>
              <a:cxn ang="0">
                <a:pos x="connsiteX43310" y="connsiteY43310"/>
              </a:cxn>
              <a:cxn ang="0">
                <a:pos x="connsiteX43311" y="connsiteY43311"/>
              </a:cxn>
              <a:cxn ang="0">
                <a:pos x="connsiteX43312" y="connsiteY43312"/>
              </a:cxn>
              <a:cxn ang="0">
                <a:pos x="connsiteX43313" y="connsiteY43313"/>
              </a:cxn>
              <a:cxn ang="0">
                <a:pos x="connsiteX43314" y="connsiteY43314"/>
              </a:cxn>
              <a:cxn ang="0">
                <a:pos x="connsiteX43315" y="connsiteY43315"/>
              </a:cxn>
              <a:cxn ang="0">
                <a:pos x="connsiteX43316" y="connsiteY43316"/>
              </a:cxn>
              <a:cxn ang="0">
                <a:pos x="connsiteX43317" y="connsiteY43317"/>
              </a:cxn>
              <a:cxn ang="0">
                <a:pos x="connsiteX43318" y="connsiteY43318"/>
              </a:cxn>
              <a:cxn ang="0">
                <a:pos x="connsiteX43319" y="connsiteY43319"/>
              </a:cxn>
              <a:cxn ang="0">
                <a:pos x="connsiteX43320" y="connsiteY43320"/>
              </a:cxn>
              <a:cxn ang="0">
                <a:pos x="connsiteX43321" y="connsiteY43321"/>
              </a:cxn>
              <a:cxn ang="0">
                <a:pos x="connsiteX43322" y="connsiteY43322"/>
              </a:cxn>
              <a:cxn ang="0">
                <a:pos x="connsiteX43323" y="connsiteY43323"/>
              </a:cxn>
              <a:cxn ang="0">
                <a:pos x="connsiteX43324" y="connsiteY43324"/>
              </a:cxn>
              <a:cxn ang="0">
                <a:pos x="connsiteX43325" y="connsiteY43325"/>
              </a:cxn>
              <a:cxn ang="0">
                <a:pos x="connsiteX43326" y="connsiteY43326"/>
              </a:cxn>
              <a:cxn ang="0">
                <a:pos x="connsiteX43327" y="connsiteY43327"/>
              </a:cxn>
              <a:cxn ang="0">
                <a:pos x="connsiteX43328" y="connsiteY43328"/>
              </a:cxn>
              <a:cxn ang="0">
                <a:pos x="connsiteX43329" y="connsiteY43329"/>
              </a:cxn>
              <a:cxn ang="0">
                <a:pos x="connsiteX43330" y="connsiteY43330"/>
              </a:cxn>
              <a:cxn ang="0">
                <a:pos x="connsiteX43331" y="connsiteY43331"/>
              </a:cxn>
              <a:cxn ang="0">
                <a:pos x="connsiteX43332" y="connsiteY43332"/>
              </a:cxn>
              <a:cxn ang="0">
                <a:pos x="connsiteX43333" y="connsiteY43333"/>
              </a:cxn>
              <a:cxn ang="0">
                <a:pos x="connsiteX43334" y="connsiteY43334"/>
              </a:cxn>
              <a:cxn ang="0">
                <a:pos x="connsiteX43335" y="connsiteY43335"/>
              </a:cxn>
              <a:cxn ang="0">
                <a:pos x="connsiteX43336" y="connsiteY43336"/>
              </a:cxn>
              <a:cxn ang="0">
                <a:pos x="connsiteX43337" y="connsiteY43337"/>
              </a:cxn>
              <a:cxn ang="0">
                <a:pos x="connsiteX43338" y="connsiteY43338"/>
              </a:cxn>
              <a:cxn ang="0">
                <a:pos x="connsiteX43339" y="connsiteY43339"/>
              </a:cxn>
              <a:cxn ang="0">
                <a:pos x="connsiteX43340" y="connsiteY43340"/>
              </a:cxn>
              <a:cxn ang="0">
                <a:pos x="connsiteX43341" y="connsiteY43341"/>
              </a:cxn>
              <a:cxn ang="0">
                <a:pos x="connsiteX43342" y="connsiteY43342"/>
              </a:cxn>
              <a:cxn ang="0">
                <a:pos x="connsiteX43343" y="connsiteY43343"/>
              </a:cxn>
              <a:cxn ang="0">
                <a:pos x="connsiteX43344" y="connsiteY43344"/>
              </a:cxn>
              <a:cxn ang="0">
                <a:pos x="connsiteX43345" y="connsiteY43345"/>
              </a:cxn>
              <a:cxn ang="0">
                <a:pos x="connsiteX43346" y="connsiteY43346"/>
              </a:cxn>
              <a:cxn ang="0">
                <a:pos x="connsiteX43347" y="connsiteY43347"/>
              </a:cxn>
              <a:cxn ang="0">
                <a:pos x="connsiteX43348" y="connsiteY43348"/>
              </a:cxn>
              <a:cxn ang="0">
                <a:pos x="connsiteX43349" y="connsiteY43349"/>
              </a:cxn>
              <a:cxn ang="0">
                <a:pos x="connsiteX43350" y="connsiteY43350"/>
              </a:cxn>
              <a:cxn ang="0">
                <a:pos x="connsiteX43351" y="connsiteY43351"/>
              </a:cxn>
              <a:cxn ang="0">
                <a:pos x="connsiteX43352" y="connsiteY43352"/>
              </a:cxn>
              <a:cxn ang="0">
                <a:pos x="connsiteX43353" y="connsiteY43353"/>
              </a:cxn>
              <a:cxn ang="0">
                <a:pos x="connsiteX43354" y="connsiteY43354"/>
              </a:cxn>
              <a:cxn ang="0">
                <a:pos x="connsiteX43355" y="connsiteY43355"/>
              </a:cxn>
              <a:cxn ang="0">
                <a:pos x="connsiteX43356" y="connsiteY43356"/>
              </a:cxn>
              <a:cxn ang="0">
                <a:pos x="connsiteX43357" y="connsiteY43357"/>
              </a:cxn>
              <a:cxn ang="0">
                <a:pos x="connsiteX43358" y="connsiteY43358"/>
              </a:cxn>
              <a:cxn ang="0">
                <a:pos x="connsiteX43359" y="connsiteY43359"/>
              </a:cxn>
              <a:cxn ang="0">
                <a:pos x="connsiteX43360" y="connsiteY43360"/>
              </a:cxn>
              <a:cxn ang="0">
                <a:pos x="connsiteX43361" y="connsiteY43361"/>
              </a:cxn>
              <a:cxn ang="0">
                <a:pos x="connsiteX43362" y="connsiteY43362"/>
              </a:cxn>
              <a:cxn ang="0">
                <a:pos x="connsiteX43363" y="connsiteY43363"/>
              </a:cxn>
              <a:cxn ang="0">
                <a:pos x="connsiteX43364" y="connsiteY43364"/>
              </a:cxn>
              <a:cxn ang="0">
                <a:pos x="connsiteX43365" y="connsiteY43365"/>
              </a:cxn>
              <a:cxn ang="0">
                <a:pos x="connsiteX43366" y="connsiteY43366"/>
              </a:cxn>
              <a:cxn ang="0">
                <a:pos x="connsiteX43367" y="connsiteY43367"/>
              </a:cxn>
              <a:cxn ang="0">
                <a:pos x="connsiteX43368" y="connsiteY43368"/>
              </a:cxn>
              <a:cxn ang="0">
                <a:pos x="connsiteX43369" y="connsiteY43369"/>
              </a:cxn>
              <a:cxn ang="0">
                <a:pos x="connsiteX43370" y="connsiteY43370"/>
              </a:cxn>
              <a:cxn ang="0">
                <a:pos x="connsiteX43371" y="connsiteY43371"/>
              </a:cxn>
              <a:cxn ang="0">
                <a:pos x="connsiteX43372" y="connsiteY43372"/>
              </a:cxn>
              <a:cxn ang="0">
                <a:pos x="connsiteX43373" y="connsiteY43373"/>
              </a:cxn>
              <a:cxn ang="0">
                <a:pos x="connsiteX43374" y="connsiteY43374"/>
              </a:cxn>
              <a:cxn ang="0">
                <a:pos x="connsiteX43375" y="connsiteY43375"/>
              </a:cxn>
              <a:cxn ang="0">
                <a:pos x="connsiteX43376" y="connsiteY43376"/>
              </a:cxn>
              <a:cxn ang="0">
                <a:pos x="connsiteX43377" y="connsiteY43377"/>
              </a:cxn>
              <a:cxn ang="0">
                <a:pos x="connsiteX43378" y="connsiteY43378"/>
              </a:cxn>
              <a:cxn ang="0">
                <a:pos x="connsiteX43379" y="connsiteY43379"/>
              </a:cxn>
              <a:cxn ang="0">
                <a:pos x="connsiteX43380" y="connsiteY43380"/>
              </a:cxn>
              <a:cxn ang="0">
                <a:pos x="connsiteX43381" y="connsiteY43381"/>
              </a:cxn>
              <a:cxn ang="0">
                <a:pos x="connsiteX43382" y="connsiteY43382"/>
              </a:cxn>
              <a:cxn ang="0">
                <a:pos x="connsiteX43383" y="connsiteY43383"/>
              </a:cxn>
              <a:cxn ang="0">
                <a:pos x="connsiteX43384" y="connsiteY43384"/>
              </a:cxn>
              <a:cxn ang="0">
                <a:pos x="connsiteX43385" y="connsiteY43385"/>
              </a:cxn>
              <a:cxn ang="0">
                <a:pos x="connsiteX43386" y="connsiteY43386"/>
              </a:cxn>
              <a:cxn ang="0">
                <a:pos x="connsiteX43387" y="connsiteY43387"/>
              </a:cxn>
              <a:cxn ang="0">
                <a:pos x="connsiteX43388" y="connsiteY43388"/>
              </a:cxn>
              <a:cxn ang="0">
                <a:pos x="connsiteX43389" y="connsiteY43389"/>
              </a:cxn>
              <a:cxn ang="0">
                <a:pos x="connsiteX43390" y="connsiteY43390"/>
              </a:cxn>
              <a:cxn ang="0">
                <a:pos x="connsiteX43391" y="connsiteY43391"/>
              </a:cxn>
              <a:cxn ang="0">
                <a:pos x="connsiteX43392" y="connsiteY43392"/>
              </a:cxn>
              <a:cxn ang="0">
                <a:pos x="connsiteX43393" y="connsiteY43393"/>
              </a:cxn>
              <a:cxn ang="0">
                <a:pos x="connsiteX43394" y="connsiteY43394"/>
              </a:cxn>
              <a:cxn ang="0">
                <a:pos x="connsiteX43395" y="connsiteY43395"/>
              </a:cxn>
              <a:cxn ang="0">
                <a:pos x="connsiteX43396" y="connsiteY43396"/>
              </a:cxn>
              <a:cxn ang="0">
                <a:pos x="connsiteX43397" y="connsiteY43397"/>
              </a:cxn>
              <a:cxn ang="0">
                <a:pos x="connsiteX43398" y="connsiteY43398"/>
              </a:cxn>
              <a:cxn ang="0">
                <a:pos x="connsiteX43399" y="connsiteY43399"/>
              </a:cxn>
              <a:cxn ang="0">
                <a:pos x="connsiteX43400" y="connsiteY43400"/>
              </a:cxn>
              <a:cxn ang="0">
                <a:pos x="connsiteX43401" y="connsiteY43401"/>
              </a:cxn>
              <a:cxn ang="0">
                <a:pos x="connsiteX43402" y="connsiteY43402"/>
              </a:cxn>
              <a:cxn ang="0">
                <a:pos x="connsiteX43403" y="connsiteY43403"/>
              </a:cxn>
              <a:cxn ang="0">
                <a:pos x="connsiteX43404" y="connsiteY43404"/>
              </a:cxn>
              <a:cxn ang="0">
                <a:pos x="connsiteX43405" y="connsiteY43405"/>
              </a:cxn>
              <a:cxn ang="0">
                <a:pos x="connsiteX43406" y="connsiteY43406"/>
              </a:cxn>
              <a:cxn ang="0">
                <a:pos x="connsiteX43407" y="connsiteY43407"/>
              </a:cxn>
              <a:cxn ang="0">
                <a:pos x="connsiteX43408" y="connsiteY43408"/>
              </a:cxn>
              <a:cxn ang="0">
                <a:pos x="connsiteX43409" y="connsiteY43409"/>
              </a:cxn>
              <a:cxn ang="0">
                <a:pos x="connsiteX43410" y="connsiteY43410"/>
              </a:cxn>
              <a:cxn ang="0">
                <a:pos x="connsiteX43411" y="connsiteY43411"/>
              </a:cxn>
              <a:cxn ang="0">
                <a:pos x="connsiteX43412" y="connsiteY43412"/>
              </a:cxn>
              <a:cxn ang="0">
                <a:pos x="connsiteX43413" y="connsiteY43413"/>
              </a:cxn>
              <a:cxn ang="0">
                <a:pos x="connsiteX43414" y="connsiteY43414"/>
              </a:cxn>
              <a:cxn ang="0">
                <a:pos x="connsiteX43415" y="connsiteY43415"/>
              </a:cxn>
              <a:cxn ang="0">
                <a:pos x="connsiteX43416" y="connsiteY43416"/>
              </a:cxn>
              <a:cxn ang="0">
                <a:pos x="connsiteX43417" y="connsiteY43417"/>
              </a:cxn>
              <a:cxn ang="0">
                <a:pos x="connsiteX43418" y="connsiteY43418"/>
              </a:cxn>
              <a:cxn ang="0">
                <a:pos x="connsiteX43419" y="connsiteY43419"/>
              </a:cxn>
              <a:cxn ang="0">
                <a:pos x="connsiteX43420" y="connsiteY43420"/>
              </a:cxn>
              <a:cxn ang="0">
                <a:pos x="connsiteX43421" y="connsiteY43421"/>
              </a:cxn>
              <a:cxn ang="0">
                <a:pos x="connsiteX43422" y="connsiteY43422"/>
              </a:cxn>
              <a:cxn ang="0">
                <a:pos x="connsiteX43423" y="connsiteY43423"/>
              </a:cxn>
              <a:cxn ang="0">
                <a:pos x="connsiteX43424" y="connsiteY43424"/>
              </a:cxn>
              <a:cxn ang="0">
                <a:pos x="connsiteX43425" y="connsiteY43425"/>
              </a:cxn>
              <a:cxn ang="0">
                <a:pos x="connsiteX43426" y="connsiteY43426"/>
              </a:cxn>
              <a:cxn ang="0">
                <a:pos x="connsiteX43427" y="connsiteY43427"/>
              </a:cxn>
              <a:cxn ang="0">
                <a:pos x="connsiteX43428" y="connsiteY43428"/>
              </a:cxn>
              <a:cxn ang="0">
                <a:pos x="connsiteX43429" y="connsiteY43429"/>
              </a:cxn>
              <a:cxn ang="0">
                <a:pos x="connsiteX43430" y="connsiteY43430"/>
              </a:cxn>
              <a:cxn ang="0">
                <a:pos x="connsiteX43431" y="connsiteY43431"/>
              </a:cxn>
              <a:cxn ang="0">
                <a:pos x="connsiteX43432" y="connsiteY43432"/>
              </a:cxn>
              <a:cxn ang="0">
                <a:pos x="connsiteX43433" y="connsiteY43433"/>
              </a:cxn>
              <a:cxn ang="0">
                <a:pos x="connsiteX43434" y="connsiteY43434"/>
              </a:cxn>
              <a:cxn ang="0">
                <a:pos x="connsiteX43435" y="connsiteY43435"/>
              </a:cxn>
              <a:cxn ang="0">
                <a:pos x="connsiteX43436" y="connsiteY43436"/>
              </a:cxn>
              <a:cxn ang="0">
                <a:pos x="connsiteX43437" y="connsiteY43437"/>
              </a:cxn>
              <a:cxn ang="0">
                <a:pos x="connsiteX43438" y="connsiteY43438"/>
              </a:cxn>
              <a:cxn ang="0">
                <a:pos x="connsiteX43439" y="connsiteY43439"/>
              </a:cxn>
              <a:cxn ang="0">
                <a:pos x="connsiteX43440" y="connsiteY43440"/>
              </a:cxn>
              <a:cxn ang="0">
                <a:pos x="connsiteX43441" y="connsiteY43441"/>
              </a:cxn>
              <a:cxn ang="0">
                <a:pos x="connsiteX43442" y="connsiteY43442"/>
              </a:cxn>
              <a:cxn ang="0">
                <a:pos x="connsiteX43443" y="connsiteY43443"/>
              </a:cxn>
              <a:cxn ang="0">
                <a:pos x="connsiteX43444" y="connsiteY43444"/>
              </a:cxn>
              <a:cxn ang="0">
                <a:pos x="connsiteX43445" y="connsiteY43445"/>
              </a:cxn>
              <a:cxn ang="0">
                <a:pos x="connsiteX43446" y="connsiteY43446"/>
              </a:cxn>
              <a:cxn ang="0">
                <a:pos x="connsiteX43447" y="connsiteY43447"/>
              </a:cxn>
              <a:cxn ang="0">
                <a:pos x="connsiteX43448" y="connsiteY43448"/>
              </a:cxn>
              <a:cxn ang="0">
                <a:pos x="connsiteX43449" y="connsiteY43449"/>
              </a:cxn>
              <a:cxn ang="0">
                <a:pos x="connsiteX43450" y="connsiteY43450"/>
              </a:cxn>
              <a:cxn ang="0">
                <a:pos x="connsiteX43451" y="connsiteY43451"/>
              </a:cxn>
              <a:cxn ang="0">
                <a:pos x="connsiteX43452" y="connsiteY43452"/>
              </a:cxn>
              <a:cxn ang="0">
                <a:pos x="connsiteX43453" y="connsiteY43453"/>
              </a:cxn>
              <a:cxn ang="0">
                <a:pos x="connsiteX43454" y="connsiteY43454"/>
              </a:cxn>
              <a:cxn ang="0">
                <a:pos x="connsiteX43455" y="connsiteY43455"/>
              </a:cxn>
              <a:cxn ang="0">
                <a:pos x="connsiteX43456" y="connsiteY43456"/>
              </a:cxn>
              <a:cxn ang="0">
                <a:pos x="connsiteX43457" y="connsiteY43457"/>
              </a:cxn>
              <a:cxn ang="0">
                <a:pos x="connsiteX43458" y="connsiteY43458"/>
              </a:cxn>
              <a:cxn ang="0">
                <a:pos x="connsiteX43459" y="connsiteY43459"/>
              </a:cxn>
              <a:cxn ang="0">
                <a:pos x="connsiteX43460" y="connsiteY43460"/>
              </a:cxn>
              <a:cxn ang="0">
                <a:pos x="connsiteX43461" y="connsiteY43461"/>
              </a:cxn>
              <a:cxn ang="0">
                <a:pos x="connsiteX43462" y="connsiteY43462"/>
              </a:cxn>
              <a:cxn ang="0">
                <a:pos x="connsiteX43463" y="connsiteY43463"/>
              </a:cxn>
              <a:cxn ang="0">
                <a:pos x="connsiteX43464" y="connsiteY43464"/>
              </a:cxn>
              <a:cxn ang="0">
                <a:pos x="connsiteX43465" y="connsiteY43465"/>
              </a:cxn>
              <a:cxn ang="0">
                <a:pos x="connsiteX43466" y="connsiteY43466"/>
              </a:cxn>
              <a:cxn ang="0">
                <a:pos x="connsiteX43467" y="connsiteY43467"/>
              </a:cxn>
              <a:cxn ang="0">
                <a:pos x="connsiteX43468" y="connsiteY43468"/>
              </a:cxn>
              <a:cxn ang="0">
                <a:pos x="connsiteX43469" y="connsiteY43469"/>
              </a:cxn>
              <a:cxn ang="0">
                <a:pos x="connsiteX43470" y="connsiteY43470"/>
              </a:cxn>
              <a:cxn ang="0">
                <a:pos x="connsiteX43471" y="connsiteY43471"/>
              </a:cxn>
              <a:cxn ang="0">
                <a:pos x="connsiteX43472" y="connsiteY43472"/>
              </a:cxn>
              <a:cxn ang="0">
                <a:pos x="connsiteX43473" y="connsiteY43473"/>
              </a:cxn>
              <a:cxn ang="0">
                <a:pos x="connsiteX43474" y="connsiteY43474"/>
              </a:cxn>
              <a:cxn ang="0">
                <a:pos x="connsiteX43475" y="connsiteY43475"/>
              </a:cxn>
              <a:cxn ang="0">
                <a:pos x="connsiteX43476" y="connsiteY43476"/>
              </a:cxn>
              <a:cxn ang="0">
                <a:pos x="connsiteX43477" y="connsiteY43477"/>
              </a:cxn>
              <a:cxn ang="0">
                <a:pos x="connsiteX43478" y="connsiteY43478"/>
              </a:cxn>
              <a:cxn ang="0">
                <a:pos x="connsiteX43479" y="connsiteY43479"/>
              </a:cxn>
              <a:cxn ang="0">
                <a:pos x="connsiteX43480" y="connsiteY43480"/>
              </a:cxn>
              <a:cxn ang="0">
                <a:pos x="connsiteX43481" y="connsiteY43481"/>
              </a:cxn>
              <a:cxn ang="0">
                <a:pos x="connsiteX43482" y="connsiteY43482"/>
              </a:cxn>
              <a:cxn ang="0">
                <a:pos x="connsiteX43483" y="connsiteY43483"/>
              </a:cxn>
              <a:cxn ang="0">
                <a:pos x="connsiteX43484" y="connsiteY43484"/>
              </a:cxn>
              <a:cxn ang="0">
                <a:pos x="connsiteX43485" y="connsiteY43485"/>
              </a:cxn>
              <a:cxn ang="0">
                <a:pos x="connsiteX43486" y="connsiteY43486"/>
              </a:cxn>
              <a:cxn ang="0">
                <a:pos x="connsiteX43487" y="connsiteY43487"/>
              </a:cxn>
              <a:cxn ang="0">
                <a:pos x="connsiteX43488" y="connsiteY43488"/>
              </a:cxn>
              <a:cxn ang="0">
                <a:pos x="connsiteX43489" y="connsiteY43489"/>
              </a:cxn>
              <a:cxn ang="0">
                <a:pos x="connsiteX43490" y="connsiteY43490"/>
              </a:cxn>
              <a:cxn ang="0">
                <a:pos x="connsiteX43491" y="connsiteY43491"/>
              </a:cxn>
              <a:cxn ang="0">
                <a:pos x="connsiteX43492" y="connsiteY43492"/>
              </a:cxn>
              <a:cxn ang="0">
                <a:pos x="connsiteX43493" y="connsiteY43493"/>
              </a:cxn>
              <a:cxn ang="0">
                <a:pos x="connsiteX43494" y="connsiteY43494"/>
              </a:cxn>
              <a:cxn ang="0">
                <a:pos x="connsiteX43495" y="connsiteY43495"/>
              </a:cxn>
              <a:cxn ang="0">
                <a:pos x="connsiteX43496" y="connsiteY43496"/>
              </a:cxn>
              <a:cxn ang="0">
                <a:pos x="connsiteX43497" y="connsiteY43497"/>
              </a:cxn>
              <a:cxn ang="0">
                <a:pos x="connsiteX43498" y="connsiteY43498"/>
              </a:cxn>
              <a:cxn ang="0">
                <a:pos x="connsiteX43499" y="connsiteY43499"/>
              </a:cxn>
              <a:cxn ang="0">
                <a:pos x="connsiteX43500" y="connsiteY43500"/>
              </a:cxn>
              <a:cxn ang="0">
                <a:pos x="connsiteX43501" y="connsiteY43501"/>
              </a:cxn>
              <a:cxn ang="0">
                <a:pos x="connsiteX43502" y="connsiteY43502"/>
              </a:cxn>
              <a:cxn ang="0">
                <a:pos x="connsiteX43503" y="connsiteY43503"/>
              </a:cxn>
              <a:cxn ang="0">
                <a:pos x="connsiteX43504" y="connsiteY43504"/>
              </a:cxn>
              <a:cxn ang="0">
                <a:pos x="connsiteX43505" y="connsiteY43505"/>
              </a:cxn>
              <a:cxn ang="0">
                <a:pos x="connsiteX43506" y="connsiteY43506"/>
              </a:cxn>
              <a:cxn ang="0">
                <a:pos x="connsiteX43507" y="connsiteY43507"/>
              </a:cxn>
              <a:cxn ang="0">
                <a:pos x="connsiteX43508" y="connsiteY43508"/>
              </a:cxn>
              <a:cxn ang="0">
                <a:pos x="connsiteX43509" y="connsiteY43509"/>
              </a:cxn>
              <a:cxn ang="0">
                <a:pos x="connsiteX43510" y="connsiteY43510"/>
              </a:cxn>
              <a:cxn ang="0">
                <a:pos x="connsiteX43511" y="connsiteY43511"/>
              </a:cxn>
              <a:cxn ang="0">
                <a:pos x="connsiteX43512" y="connsiteY43512"/>
              </a:cxn>
              <a:cxn ang="0">
                <a:pos x="connsiteX43513" y="connsiteY43513"/>
              </a:cxn>
              <a:cxn ang="0">
                <a:pos x="connsiteX43514" y="connsiteY43514"/>
              </a:cxn>
              <a:cxn ang="0">
                <a:pos x="connsiteX43515" y="connsiteY43515"/>
              </a:cxn>
              <a:cxn ang="0">
                <a:pos x="connsiteX43516" y="connsiteY43516"/>
              </a:cxn>
              <a:cxn ang="0">
                <a:pos x="connsiteX43517" y="connsiteY43517"/>
              </a:cxn>
              <a:cxn ang="0">
                <a:pos x="connsiteX43518" y="connsiteY43518"/>
              </a:cxn>
              <a:cxn ang="0">
                <a:pos x="connsiteX43519" y="connsiteY43519"/>
              </a:cxn>
              <a:cxn ang="0">
                <a:pos x="connsiteX43520" y="connsiteY43520"/>
              </a:cxn>
              <a:cxn ang="0">
                <a:pos x="connsiteX43521" y="connsiteY43521"/>
              </a:cxn>
              <a:cxn ang="0">
                <a:pos x="connsiteX43522" y="connsiteY43522"/>
              </a:cxn>
              <a:cxn ang="0">
                <a:pos x="connsiteX43523" y="connsiteY43523"/>
              </a:cxn>
              <a:cxn ang="0">
                <a:pos x="connsiteX43524" y="connsiteY43524"/>
              </a:cxn>
              <a:cxn ang="0">
                <a:pos x="connsiteX43525" y="connsiteY43525"/>
              </a:cxn>
              <a:cxn ang="0">
                <a:pos x="connsiteX43526" y="connsiteY43526"/>
              </a:cxn>
              <a:cxn ang="0">
                <a:pos x="connsiteX43527" y="connsiteY43527"/>
              </a:cxn>
              <a:cxn ang="0">
                <a:pos x="connsiteX43528" y="connsiteY43528"/>
              </a:cxn>
              <a:cxn ang="0">
                <a:pos x="connsiteX43529" y="connsiteY43529"/>
              </a:cxn>
              <a:cxn ang="0">
                <a:pos x="connsiteX43530" y="connsiteY43530"/>
              </a:cxn>
              <a:cxn ang="0">
                <a:pos x="connsiteX43531" y="connsiteY43531"/>
              </a:cxn>
              <a:cxn ang="0">
                <a:pos x="connsiteX43532" y="connsiteY43532"/>
              </a:cxn>
              <a:cxn ang="0">
                <a:pos x="connsiteX43533" y="connsiteY43533"/>
              </a:cxn>
              <a:cxn ang="0">
                <a:pos x="connsiteX43534" y="connsiteY43534"/>
              </a:cxn>
              <a:cxn ang="0">
                <a:pos x="connsiteX43535" y="connsiteY43535"/>
              </a:cxn>
              <a:cxn ang="0">
                <a:pos x="connsiteX43536" y="connsiteY43536"/>
              </a:cxn>
              <a:cxn ang="0">
                <a:pos x="connsiteX43537" y="connsiteY43537"/>
              </a:cxn>
              <a:cxn ang="0">
                <a:pos x="connsiteX43538" y="connsiteY43538"/>
              </a:cxn>
              <a:cxn ang="0">
                <a:pos x="connsiteX43539" y="connsiteY43539"/>
              </a:cxn>
              <a:cxn ang="0">
                <a:pos x="connsiteX43540" y="connsiteY43540"/>
              </a:cxn>
              <a:cxn ang="0">
                <a:pos x="connsiteX43541" y="connsiteY43541"/>
              </a:cxn>
              <a:cxn ang="0">
                <a:pos x="connsiteX43542" y="connsiteY43542"/>
              </a:cxn>
              <a:cxn ang="0">
                <a:pos x="connsiteX43543" y="connsiteY43543"/>
              </a:cxn>
              <a:cxn ang="0">
                <a:pos x="connsiteX43544" y="connsiteY43544"/>
              </a:cxn>
              <a:cxn ang="0">
                <a:pos x="connsiteX43545" y="connsiteY43545"/>
              </a:cxn>
              <a:cxn ang="0">
                <a:pos x="connsiteX43546" y="connsiteY43546"/>
              </a:cxn>
              <a:cxn ang="0">
                <a:pos x="connsiteX43547" y="connsiteY43547"/>
              </a:cxn>
              <a:cxn ang="0">
                <a:pos x="connsiteX43548" y="connsiteY43548"/>
              </a:cxn>
              <a:cxn ang="0">
                <a:pos x="connsiteX43549" y="connsiteY43549"/>
              </a:cxn>
              <a:cxn ang="0">
                <a:pos x="connsiteX43550" y="connsiteY43550"/>
              </a:cxn>
              <a:cxn ang="0">
                <a:pos x="connsiteX43551" y="connsiteY43551"/>
              </a:cxn>
              <a:cxn ang="0">
                <a:pos x="connsiteX43552" y="connsiteY43552"/>
              </a:cxn>
              <a:cxn ang="0">
                <a:pos x="connsiteX43553" y="connsiteY43553"/>
              </a:cxn>
              <a:cxn ang="0">
                <a:pos x="connsiteX43554" y="connsiteY43554"/>
              </a:cxn>
              <a:cxn ang="0">
                <a:pos x="connsiteX43555" y="connsiteY43555"/>
              </a:cxn>
              <a:cxn ang="0">
                <a:pos x="connsiteX43556" y="connsiteY43556"/>
              </a:cxn>
              <a:cxn ang="0">
                <a:pos x="connsiteX43557" y="connsiteY43557"/>
              </a:cxn>
              <a:cxn ang="0">
                <a:pos x="connsiteX43558" y="connsiteY43558"/>
              </a:cxn>
              <a:cxn ang="0">
                <a:pos x="connsiteX43559" y="connsiteY43559"/>
              </a:cxn>
              <a:cxn ang="0">
                <a:pos x="connsiteX43560" y="connsiteY43560"/>
              </a:cxn>
              <a:cxn ang="0">
                <a:pos x="connsiteX43561" y="connsiteY43561"/>
              </a:cxn>
              <a:cxn ang="0">
                <a:pos x="connsiteX43562" y="connsiteY43562"/>
              </a:cxn>
              <a:cxn ang="0">
                <a:pos x="connsiteX43563" y="connsiteY43563"/>
              </a:cxn>
              <a:cxn ang="0">
                <a:pos x="connsiteX43564" y="connsiteY43564"/>
              </a:cxn>
              <a:cxn ang="0">
                <a:pos x="connsiteX43565" y="connsiteY43565"/>
              </a:cxn>
              <a:cxn ang="0">
                <a:pos x="connsiteX43566" y="connsiteY43566"/>
              </a:cxn>
              <a:cxn ang="0">
                <a:pos x="connsiteX43567" y="connsiteY43567"/>
              </a:cxn>
              <a:cxn ang="0">
                <a:pos x="connsiteX43568" y="connsiteY43568"/>
              </a:cxn>
              <a:cxn ang="0">
                <a:pos x="connsiteX43569" y="connsiteY43569"/>
              </a:cxn>
              <a:cxn ang="0">
                <a:pos x="connsiteX43570" y="connsiteY43570"/>
              </a:cxn>
              <a:cxn ang="0">
                <a:pos x="connsiteX43571" y="connsiteY43571"/>
              </a:cxn>
              <a:cxn ang="0">
                <a:pos x="connsiteX43572" y="connsiteY43572"/>
              </a:cxn>
              <a:cxn ang="0">
                <a:pos x="connsiteX43573" y="connsiteY43573"/>
              </a:cxn>
              <a:cxn ang="0">
                <a:pos x="connsiteX43574" y="connsiteY43574"/>
              </a:cxn>
              <a:cxn ang="0">
                <a:pos x="connsiteX43575" y="connsiteY43575"/>
              </a:cxn>
              <a:cxn ang="0">
                <a:pos x="connsiteX43576" y="connsiteY43576"/>
              </a:cxn>
              <a:cxn ang="0">
                <a:pos x="connsiteX43577" y="connsiteY43577"/>
              </a:cxn>
              <a:cxn ang="0">
                <a:pos x="connsiteX43578" y="connsiteY43578"/>
              </a:cxn>
              <a:cxn ang="0">
                <a:pos x="connsiteX43579" y="connsiteY43579"/>
              </a:cxn>
              <a:cxn ang="0">
                <a:pos x="connsiteX43580" y="connsiteY43580"/>
              </a:cxn>
              <a:cxn ang="0">
                <a:pos x="connsiteX43581" y="connsiteY43581"/>
              </a:cxn>
              <a:cxn ang="0">
                <a:pos x="connsiteX43582" y="connsiteY43582"/>
              </a:cxn>
              <a:cxn ang="0">
                <a:pos x="connsiteX43583" y="connsiteY43583"/>
              </a:cxn>
              <a:cxn ang="0">
                <a:pos x="connsiteX43584" y="connsiteY43584"/>
              </a:cxn>
              <a:cxn ang="0">
                <a:pos x="connsiteX43585" y="connsiteY43585"/>
              </a:cxn>
              <a:cxn ang="0">
                <a:pos x="connsiteX43586" y="connsiteY43586"/>
              </a:cxn>
              <a:cxn ang="0">
                <a:pos x="connsiteX43587" y="connsiteY43587"/>
              </a:cxn>
              <a:cxn ang="0">
                <a:pos x="connsiteX43588" y="connsiteY43588"/>
              </a:cxn>
              <a:cxn ang="0">
                <a:pos x="connsiteX43589" y="connsiteY43589"/>
              </a:cxn>
              <a:cxn ang="0">
                <a:pos x="connsiteX43590" y="connsiteY43590"/>
              </a:cxn>
              <a:cxn ang="0">
                <a:pos x="connsiteX43591" y="connsiteY43591"/>
              </a:cxn>
              <a:cxn ang="0">
                <a:pos x="connsiteX43592" y="connsiteY43592"/>
              </a:cxn>
              <a:cxn ang="0">
                <a:pos x="connsiteX43593" y="connsiteY43593"/>
              </a:cxn>
              <a:cxn ang="0">
                <a:pos x="connsiteX43594" y="connsiteY43594"/>
              </a:cxn>
              <a:cxn ang="0">
                <a:pos x="connsiteX43595" y="connsiteY43595"/>
              </a:cxn>
              <a:cxn ang="0">
                <a:pos x="connsiteX43596" y="connsiteY43596"/>
              </a:cxn>
              <a:cxn ang="0">
                <a:pos x="connsiteX43597" y="connsiteY43597"/>
              </a:cxn>
              <a:cxn ang="0">
                <a:pos x="connsiteX43598" y="connsiteY43598"/>
              </a:cxn>
              <a:cxn ang="0">
                <a:pos x="connsiteX43599" y="connsiteY43599"/>
              </a:cxn>
              <a:cxn ang="0">
                <a:pos x="connsiteX43600" y="connsiteY43600"/>
              </a:cxn>
              <a:cxn ang="0">
                <a:pos x="connsiteX43601" y="connsiteY43601"/>
              </a:cxn>
              <a:cxn ang="0">
                <a:pos x="connsiteX43602" y="connsiteY43602"/>
              </a:cxn>
              <a:cxn ang="0">
                <a:pos x="connsiteX43603" y="connsiteY43603"/>
              </a:cxn>
              <a:cxn ang="0">
                <a:pos x="connsiteX43604" y="connsiteY43604"/>
              </a:cxn>
              <a:cxn ang="0">
                <a:pos x="connsiteX43605" y="connsiteY43605"/>
              </a:cxn>
              <a:cxn ang="0">
                <a:pos x="connsiteX43606" y="connsiteY43606"/>
              </a:cxn>
              <a:cxn ang="0">
                <a:pos x="connsiteX43607" y="connsiteY43607"/>
              </a:cxn>
              <a:cxn ang="0">
                <a:pos x="connsiteX43608" y="connsiteY43608"/>
              </a:cxn>
              <a:cxn ang="0">
                <a:pos x="connsiteX43609" y="connsiteY43609"/>
              </a:cxn>
              <a:cxn ang="0">
                <a:pos x="connsiteX43610" y="connsiteY43610"/>
              </a:cxn>
              <a:cxn ang="0">
                <a:pos x="connsiteX43611" y="connsiteY43611"/>
              </a:cxn>
              <a:cxn ang="0">
                <a:pos x="connsiteX43612" y="connsiteY43612"/>
              </a:cxn>
              <a:cxn ang="0">
                <a:pos x="connsiteX43613" y="connsiteY43613"/>
              </a:cxn>
              <a:cxn ang="0">
                <a:pos x="connsiteX43614" y="connsiteY43614"/>
              </a:cxn>
              <a:cxn ang="0">
                <a:pos x="connsiteX43615" y="connsiteY43615"/>
              </a:cxn>
              <a:cxn ang="0">
                <a:pos x="connsiteX43616" y="connsiteY43616"/>
              </a:cxn>
              <a:cxn ang="0">
                <a:pos x="connsiteX43617" y="connsiteY43617"/>
              </a:cxn>
              <a:cxn ang="0">
                <a:pos x="connsiteX43618" y="connsiteY43618"/>
              </a:cxn>
              <a:cxn ang="0">
                <a:pos x="connsiteX43619" y="connsiteY43619"/>
              </a:cxn>
              <a:cxn ang="0">
                <a:pos x="connsiteX43620" y="connsiteY43620"/>
              </a:cxn>
              <a:cxn ang="0">
                <a:pos x="connsiteX43621" y="connsiteY43621"/>
              </a:cxn>
              <a:cxn ang="0">
                <a:pos x="connsiteX43622" y="connsiteY43622"/>
              </a:cxn>
              <a:cxn ang="0">
                <a:pos x="connsiteX43623" y="connsiteY43623"/>
              </a:cxn>
              <a:cxn ang="0">
                <a:pos x="connsiteX43624" y="connsiteY43624"/>
              </a:cxn>
              <a:cxn ang="0">
                <a:pos x="connsiteX43625" y="connsiteY43625"/>
              </a:cxn>
              <a:cxn ang="0">
                <a:pos x="connsiteX43626" y="connsiteY43626"/>
              </a:cxn>
              <a:cxn ang="0">
                <a:pos x="connsiteX43627" y="connsiteY43627"/>
              </a:cxn>
              <a:cxn ang="0">
                <a:pos x="connsiteX43628" y="connsiteY43628"/>
              </a:cxn>
              <a:cxn ang="0">
                <a:pos x="connsiteX43629" y="connsiteY43629"/>
              </a:cxn>
              <a:cxn ang="0">
                <a:pos x="connsiteX43630" y="connsiteY43630"/>
              </a:cxn>
              <a:cxn ang="0">
                <a:pos x="connsiteX43631" y="connsiteY43631"/>
              </a:cxn>
              <a:cxn ang="0">
                <a:pos x="connsiteX43632" y="connsiteY43632"/>
              </a:cxn>
              <a:cxn ang="0">
                <a:pos x="connsiteX43633" y="connsiteY43633"/>
              </a:cxn>
              <a:cxn ang="0">
                <a:pos x="connsiteX43634" y="connsiteY43634"/>
              </a:cxn>
              <a:cxn ang="0">
                <a:pos x="connsiteX43635" y="connsiteY43635"/>
              </a:cxn>
              <a:cxn ang="0">
                <a:pos x="connsiteX43636" y="connsiteY43636"/>
              </a:cxn>
              <a:cxn ang="0">
                <a:pos x="connsiteX43637" y="connsiteY43637"/>
              </a:cxn>
              <a:cxn ang="0">
                <a:pos x="connsiteX43638" y="connsiteY43638"/>
              </a:cxn>
              <a:cxn ang="0">
                <a:pos x="connsiteX43639" y="connsiteY43639"/>
              </a:cxn>
              <a:cxn ang="0">
                <a:pos x="connsiteX43640" y="connsiteY43640"/>
              </a:cxn>
              <a:cxn ang="0">
                <a:pos x="connsiteX43641" y="connsiteY43641"/>
              </a:cxn>
              <a:cxn ang="0">
                <a:pos x="connsiteX43642" y="connsiteY43642"/>
              </a:cxn>
              <a:cxn ang="0">
                <a:pos x="connsiteX43643" y="connsiteY43643"/>
              </a:cxn>
              <a:cxn ang="0">
                <a:pos x="connsiteX43644" y="connsiteY43644"/>
              </a:cxn>
              <a:cxn ang="0">
                <a:pos x="connsiteX43645" y="connsiteY43645"/>
              </a:cxn>
              <a:cxn ang="0">
                <a:pos x="connsiteX43646" y="connsiteY43646"/>
              </a:cxn>
              <a:cxn ang="0">
                <a:pos x="connsiteX43647" y="connsiteY43647"/>
              </a:cxn>
              <a:cxn ang="0">
                <a:pos x="connsiteX43648" y="connsiteY43648"/>
              </a:cxn>
              <a:cxn ang="0">
                <a:pos x="connsiteX43649" y="connsiteY43649"/>
              </a:cxn>
              <a:cxn ang="0">
                <a:pos x="connsiteX43650" y="connsiteY43650"/>
              </a:cxn>
              <a:cxn ang="0">
                <a:pos x="connsiteX43651" y="connsiteY43651"/>
              </a:cxn>
              <a:cxn ang="0">
                <a:pos x="connsiteX43652" y="connsiteY43652"/>
              </a:cxn>
              <a:cxn ang="0">
                <a:pos x="connsiteX43653" y="connsiteY43653"/>
              </a:cxn>
              <a:cxn ang="0">
                <a:pos x="connsiteX43654" y="connsiteY43654"/>
              </a:cxn>
              <a:cxn ang="0">
                <a:pos x="connsiteX43655" y="connsiteY43655"/>
              </a:cxn>
              <a:cxn ang="0">
                <a:pos x="connsiteX43656" y="connsiteY43656"/>
              </a:cxn>
              <a:cxn ang="0">
                <a:pos x="connsiteX43657" y="connsiteY43657"/>
              </a:cxn>
              <a:cxn ang="0">
                <a:pos x="connsiteX43658" y="connsiteY43658"/>
              </a:cxn>
              <a:cxn ang="0">
                <a:pos x="connsiteX43659" y="connsiteY43659"/>
              </a:cxn>
              <a:cxn ang="0">
                <a:pos x="connsiteX43660" y="connsiteY43660"/>
              </a:cxn>
              <a:cxn ang="0">
                <a:pos x="connsiteX43661" y="connsiteY43661"/>
              </a:cxn>
              <a:cxn ang="0">
                <a:pos x="connsiteX43662" y="connsiteY43662"/>
              </a:cxn>
              <a:cxn ang="0">
                <a:pos x="connsiteX43663" y="connsiteY43663"/>
              </a:cxn>
              <a:cxn ang="0">
                <a:pos x="connsiteX43664" y="connsiteY43664"/>
              </a:cxn>
              <a:cxn ang="0">
                <a:pos x="connsiteX43665" y="connsiteY43665"/>
              </a:cxn>
              <a:cxn ang="0">
                <a:pos x="connsiteX43666" y="connsiteY43666"/>
              </a:cxn>
              <a:cxn ang="0">
                <a:pos x="connsiteX43667" y="connsiteY43667"/>
              </a:cxn>
              <a:cxn ang="0">
                <a:pos x="connsiteX43668" y="connsiteY43668"/>
              </a:cxn>
              <a:cxn ang="0">
                <a:pos x="connsiteX43669" y="connsiteY43669"/>
              </a:cxn>
              <a:cxn ang="0">
                <a:pos x="connsiteX43670" y="connsiteY43670"/>
              </a:cxn>
              <a:cxn ang="0">
                <a:pos x="connsiteX43671" y="connsiteY43671"/>
              </a:cxn>
              <a:cxn ang="0">
                <a:pos x="connsiteX43672" y="connsiteY43672"/>
              </a:cxn>
              <a:cxn ang="0">
                <a:pos x="connsiteX43673" y="connsiteY43673"/>
              </a:cxn>
              <a:cxn ang="0">
                <a:pos x="connsiteX43674" y="connsiteY43674"/>
              </a:cxn>
              <a:cxn ang="0">
                <a:pos x="connsiteX43675" y="connsiteY43675"/>
              </a:cxn>
              <a:cxn ang="0">
                <a:pos x="connsiteX43676" y="connsiteY43676"/>
              </a:cxn>
              <a:cxn ang="0">
                <a:pos x="connsiteX43677" y="connsiteY43677"/>
              </a:cxn>
              <a:cxn ang="0">
                <a:pos x="connsiteX43678" y="connsiteY43678"/>
              </a:cxn>
              <a:cxn ang="0">
                <a:pos x="connsiteX43679" y="connsiteY43679"/>
              </a:cxn>
              <a:cxn ang="0">
                <a:pos x="connsiteX43680" y="connsiteY43680"/>
              </a:cxn>
              <a:cxn ang="0">
                <a:pos x="connsiteX43681" y="connsiteY43681"/>
              </a:cxn>
              <a:cxn ang="0">
                <a:pos x="connsiteX43682" y="connsiteY43682"/>
              </a:cxn>
              <a:cxn ang="0">
                <a:pos x="connsiteX43683" y="connsiteY43683"/>
              </a:cxn>
              <a:cxn ang="0">
                <a:pos x="connsiteX43684" y="connsiteY43684"/>
              </a:cxn>
              <a:cxn ang="0">
                <a:pos x="connsiteX43685" y="connsiteY43685"/>
              </a:cxn>
              <a:cxn ang="0">
                <a:pos x="connsiteX43686" y="connsiteY43686"/>
              </a:cxn>
              <a:cxn ang="0">
                <a:pos x="connsiteX43687" y="connsiteY43687"/>
              </a:cxn>
              <a:cxn ang="0">
                <a:pos x="connsiteX43688" y="connsiteY43688"/>
              </a:cxn>
              <a:cxn ang="0">
                <a:pos x="connsiteX43689" y="connsiteY43689"/>
              </a:cxn>
              <a:cxn ang="0">
                <a:pos x="connsiteX43690" y="connsiteY43690"/>
              </a:cxn>
              <a:cxn ang="0">
                <a:pos x="connsiteX43691" y="connsiteY43691"/>
              </a:cxn>
              <a:cxn ang="0">
                <a:pos x="connsiteX43692" y="connsiteY43692"/>
              </a:cxn>
              <a:cxn ang="0">
                <a:pos x="connsiteX43693" y="connsiteY43693"/>
              </a:cxn>
              <a:cxn ang="0">
                <a:pos x="connsiteX43694" y="connsiteY43694"/>
              </a:cxn>
              <a:cxn ang="0">
                <a:pos x="connsiteX43695" y="connsiteY43695"/>
              </a:cxn>
              <a:cxn ang="0">
                <a:pos x="connsiteX43696" y="connsiteY43696"/>
              </a:cxn>
              <a:cxn ang="0">
                <a:pos x="connsiteX43697" y="connsiteY43697"/>
              </a:cxn>
              <a:cxn ang="0">
                <a:pos x="connsiteX43698" y="connsiteY43698"/>
              </a:cxn>
              <a:cxn ang="0">
                <a:pos x="connsiteX43699" y="connsiteY43699"/>
              </a:cxn>
              <a:cxn ang="0">
                <a:pos x="connsiteX43700" y="connsiteY43700"/>
              </a:cxn>
              <a:cxn ang="0">
                <a:pos x="connsiteX43701" y="connsiteY43701"/>
              </a:cxn>
              <a:cxn ang="0">
                <a:pos x="connsiteX43702" y="connsiteY43702"/>
              </a:cxn>
              <a:cxn ang="0">
                <a:pos x="connsiteX43703" y="connsiteY43703"/>
              </a:cxn>
              <a:cxn ang="0">
                <a:pos x="connsiteX43704" y="connsiteY43704"/>
              </a:cxn>
              <a:cxn ang="0">
                <a:pos x="connsiteX43705" y="connsiteY43705"/>
              </a:cxn>
              <a:cxn ang="0">
                <a:pos x="connsiteX43706" y="connsiteY43706"/>
              </a:cxn>
              <a:cxn ang="0">
                <a:pos x="connsiteX43707" y="connsiteY43707"/>
              </a:cxn>
              <a:cxn ang="0">
                <a:pos x="connsiteX43708" y="connsiteY43708"/>
              </a:cxn>
              <a:cxn ang="0">
                <a:pos x="connsiteX43709" y="connsiteY43709"/>
              </a:cxn>
              <a:cxn ang="0">
                <a:pos x="connsiteX43710" y="connsiteY43710"/>
              </a:cxn>
              <a:cxn ang="0">
                <a:pos x="connsiteX43711" y="connsiteY43711"/>
              </a:cxn>
              <a:cxn ang="0">
                <a:pos x="connsiteX43712" y="connsiteY43712"/>
              </a:cxn>
              <a:cxn ang="0">
                <a:pos x="connsiteX43713" y="connsiteY43713"/>
              </a:cxn>
              <a:cxn ang="0">
                <a:pos x="connsiteX43714" y="connsiteY43714"/>
              </a:cxn>
              <a:cxn ang="0">
                <a:pos x="connsiteX43715" y="connsiteY43715"/>
              </a:cxn>
              <a:cxn ang="0">
                <a:pos x="connsiteX43716" y="connsiteY43716"/>
              </a:cxn>
              <a:cxn ang="0">
                <a:pos x="connsiteX43717" y="connsiteY43717"/>
              </a:cxn>
              <a:cxn ang="0">
                <a:pos x="connsiteX43718" y="connsiteY43718"/>
              </a:cxn>
              <a:cxn ang="0">
                <a:pos x="connsiteX43719" y="connsiteY43719"/>
              </a:cxn>
              <a:cxn ang="0">
                <a:pos x="connsiteX43720" y="connsiteY43720"/>
              </a:cxn>
              <a:cxn ang="0">
                <a:pos x="connsiteX43721" y="connsiteY43721"/>
              </a:cxn>
              <a:cxn ang="0">
                <a:pos x="connsiteX43722" y="connsiteY43722"/>
              </a:cxn>
              <a:cxn ang="0">
                <a:pos x="connsiteX43723" y="connsiteY43723"/>
              </a:cxn>
              <a:cxn ang="0">
                <a:pos x="connsiteX43724" y="connsiteY43724"/>
              </a:cxn>
              <a:cxn ang="0">
                <a:pos x="connsiteX43725" y="connsiteY43725"/>
              </a:cxn>
              <a:cxn ang="0">
                <a:pos x="connsiteX43726" y="connsiteY43726"/>
              </a:cxn>
              <a:cxn ang="0">
                <a:pos x="connsiteX43727" y="connsiteY43727"/>
              </a:cxn>
              <a:cxn ang="0">
                <a:pos x="connsiteX43728" y="connsiteY43728"/>
              </a:cxn>
              <a:cxn ang="0">
                <a:pos x="connsiteX43729" y="connsiteY43729"/>
              </a:cxn>
              <a:cxn ang="0">
                <a:pos x="connsiteX43730" y="connsiteY43730"/>
              </a:cxn>
              <a:cxn ang="0">
                <a:pos x="connsiteX43731" y="connsiteY43731"/>
              </a:cxn>
              <a:cxn ang="0">
                <a:pos x="connsiteX43732" y="connsiteY43732"/>
              </a:cxn>
              <a:cxn ang="0">
                <a:pos x="connsiteX43733" y="connsiteY43733"/>
              </a:cxn>
              <a:cxn ang="0">
                <a:pos x="connsiteX43734" y="connsiteY43734"/>
              </a:cxn>
              <a:cxn ang="0">
                <a:pos x="connsiteX43735" y="connsiteY43735"/>
              </a:cxn>
              <a:cxn ang="0">
                <a:pos x="connsiteX43736" y="connsiteY43736"/>
              </a:cxn>
              <a:cxn ang="0">
                <a:pos x="connsiteX43737" y="connsiteY43737"/>
              </a:cxn>
              <a:cxn ang="0">
                <a:pos x="connsiteX43738" y="connsiteY43738"/>
              </a:cxn>
              <a:cxn ang="0">
                <a:pos x="connsiteX43739" y="connsiteY43739"/>
              </a:cxn>
              <a:cxn ang="0">
                <a:pos x="connsiteX43740" y="connsiteY43740"/>
              </a:cxn>
              <a:cxn ang="0">
                <a:pos x="connsiteX43741" y="connsiteY43741"/>
              </a:cxn>
              <a:cxn ang="0">
                <a:pos x="connsiteX43742" y="connsiteY43742"/>
              </a:cxn>
              <a:cxn ang="0">
                <a:pos x="connsiteX43743" y="connsiteY43743"/>
              </a:cxn>
              <a:cxn ang="0">
                <a:pos x="connsiteX43744" y="connsiteY43744"/>
              </a:cxn>
              <a:cxn ang="0">
                <a:pos x="connsiteX43745" y="connsiteY43745"/>
              </a:cxn>
              <a:cxn ang="0">
                <a:pos x="connsiteX43746" y="connsiteY43746"/>
              </a:cxn>
              <a:cxn ang="0">
                <a:pos x="connsiteX43747" y="connsiteY43747"/>
              </a:cxn>
              <a:cxn ang="0">
                <a:pos x="connsiteX43748" y="connsiteY43748"/>
              </a:cxn>
              <a:cxn ang="0">
                <a:pos x="connsiteX43749" y="connsiteY43749"/>
              </a:cxn>
              <a:cxn ang="0">
                <a:pos x="connsiteX43750" y="connsiteY43750"/>
              </a:cxn>
              <a:cxn ang="0">
                <a:pos x="connsiteX43751" y="connsiteY43751"/>
              </a:cxn>
              <a:cxn ang="0">
                <a:pos x="connsiteX43752" y="connsiteY43752"/>
              </a:cxn>
              <a:cxn ang="0">
                <a:pos x="connsiteX43753" y="connsiteY43753"/>
              </a:cxn>
              <a:cxn ang="0">
                <a:pos x="connsiteX43754" y="connsiteY43754"/>
              </a:cxn>
              <a:cxn ang="0">
                <a:pos x="connsiteX43755" y="connsiteY43755"/>
              </a:cxn>
              <a:cxn ang="0">
                <a:pos x="connsiteX43756" y="connsiteY43756"/>
              </a:cxn>
              <a:cxn ang="0">
                <a:pos x="connsiteX43757" y="connsiteY43757"/>
              </a:cxn>
              <a:cxn ang="0">
                <a:pos x="connsiteX43758" y="connsiteY43758"/>
              </a:cxn>
              <a:cxn ang="0">
                <a:pos x="connsiteX43759" y="connsiteY43759"/>
              </a:cxn>
              <a:cxn ang="0">
                <a:pos x="connsiteX43760" y="connsiteY43760"/>
              </a:cxn>
              <a:cxn ang="0">
                <a:pos x="connsiteX43761" y="connsiteY43761"/>
              </a:cxn>
              <a:cxn ang="0">
                <a:pos x="connsiteX43762" y="connsiteY43762"/>
              </a:cxn>
              <a:cxn ang="0">
                <a:pos x="connsiteX43763" y="connsiteY43763"/>
              </a:cxn>
              <a:cxn ang="0">
                <a:pos x="connsiteX43764" y="connsiteY43764"/>
              </a:cxn>
              <a:cxn ang="0">
                <a:pos x="connsiteX43765" y="connsiteY43765"/>
              </a:cxn>
              <a:cxn ang="0">
                <a:pos x="connsiteX43766" y="connsiteY43766"/>
              </a:cxn>
              <a:cxn ang="0">
                <a:pos x="connsiteX43767" y="connsiteY43767"/>
              </a:cxn>
              <a:cxn ang="0">
                <a:pos x="connsiteX43768" y="connsiteY43768"/>
              </a:cxn>
              <a:cxn ang="0">
                <a:pos x="connsiteX43769" y="connsiteY43769"/>
              </a:cxn>
              <a:cxn ang="0">
                <a:pos x="connsiteX43770" y="connsiteY43770"/>
              </a:cxn>
              <a:cxn ang="0">
                <a:pos x="connsiteX43771" y="connsiteY43771"/>
              </a:cxn>
              <a:cxn ang="0">
                <a:pos x="connsiteX43772" y="connsiteY43772"/>
              </a:cxn>
              <a:cxn ang="0">
                <a:pos x="connsiteX43773" y="connsiteY43773"/>
              </a:cxn>
              <a:cxn ang="0">
                <a:pos x="connsiteX43774" y="connsiteY43774"/>
              </a:cxn>
              <a:cxn ang="0">
                <a:pos x="connsiteX43775" y="connsiteY43775"/>
              </a:cxn>
              <a:cxn ang="0">
                <a:pos x="connsiteX43776" y="connsiteY43776"/>
              </a:cxn>
              <a:cxn ang="0">
                <a:pos x="connsiteX43777" y="connsiteY43777"/>
              </a:cxn>
              <a:cxn ang="0">
                <a:pos x="connsiteX43778" y="connsiteY43778"/>
              </a:cxn>
              <a:cxn ang="0">
                <a:pos x="connsiteX43779" y="connsiteY43779"/>
              </a:cxn>
              <a:cxn ang="0">
                <a:pos x="connsiteX43780" y="connsiteY43780"/>
              </a:cxn>
              <a:cxn ang="0">
                <a:pos x="connsiteX43781" y="connsiteY43781"/>
              </a:cxn>
              <a:cxn ang="0">
                <a:pos x="connsiteX43782" y="connsiteY43782"/>
              </a:cxn>
              <a:cxn ang="0">
                <a:pos x="connsiteX43783" y="connsiteY43783"/>
              </a:cxn>
              <a:cxn ang="0">
                <a:pos x="connsiteX43784" y="connsiteY43784"/>
              </a:cxn>
              <a:cxn ang="0">
                <a:pos x="connsiteX43785" y="connsiteY43785"/>
              </a:cxn>
              <a:cxn ang="0">
                <a:pos x="connsiteX43786" y="connsiteY43786"/>
              </a:cxn>
              <a:cxn ang="0">
                <a:pos x="connsiteX43787" y="connsiteY43787"/>
              </a:cxn>
              <a:cxn ang="0">
                <a:pos x="connsiteX43788" y="connsiteY43788"/>
              </a:cxn>
              <a:cxn ang="0">
                <a:pos x="connsiteX43789" y="connsiteY43789"/>
              </a:cxn>
              <a:cxn ang="0">
                <a:pos x="connsiteX43790" y="connsiteY43790"/>
              </a:cxn>
              <a:cxn ang="0">
                <a:pos x="connsiteX43791" y="connsiteY43791"/>
              </a:cxn>
              <a:cxn ang="0">
                <a:pos x="connsiteX43792" y="connsiteY43792"/>
              </a:cxn>
              <a:cxn ang="0">
                <a:pos x="connsiteX43793" y="connsiteY43793"/>
              </a:cxn>
              <a:cxn ang="0">
                <a:pos x="connsiteX43794" y="connsiteY43794"/>
              </a:cxn>
              <a:cxn ang="0">
                <a:pos x="connsiteX43795" y="connsiteY43795"/>
              </a:cxn>
              <a:cxn ang="0">
                <a:pos x="connsiteX43796" y="connsiteY43796"/>
              </a:cxn>
              <a:cxn ang="0">
                <a:pos x="connsiteX43797" y="connsiteY43797"/>
              </a:cxn>
              <a:cxn ang="0">
                <a:pos x="connsiteX43798" y="connsiteY43798"/>
              </a:cxn>
              <a:cxn ang="0">
                <a:pos x="connsiteX43799" y="connsiteY43799"/>
              </a:cxn>
              <a:cxn ang="0">
                <a:pos x="connsiteX43800" y="connsiteY43800"/>
              </a:cxn>
              <a:cxn ang="0">
                <a:pos x="connsiteX43801" y="connsiteY43801"/>
              </a:cxn>
              <a:cxn ang="0">
                <a:pos x="connsiteX43802" y="connsiteY43802"/>
              </a:cxn>
              <a:cxn ang="0">
                <a:pos x="connsiteX43803" y="connsiteY43803"/>
              </a:cxn>
              <a:cxn ang="0">
                <a:pos x="connsiteX43804" y="connsiteY43804"/>
              </a:cxn>
              <a:cxn ang="0">
                <a:pos x="connsiteX43805" y="connsiteY43805"/>
              </a:cxn>
              <a:cxn ang="0">
                <a:pos x="connsiteX43806" y="connsiteY43806"/>
              </a:cxn>
              <a:cxn ang="0">
                <a:pos x="connsiteX43807" y="connsiteY43807"/>
              </a:cxn>
              <a:cxn ang="0">
                <a:pos x="connsiteX43808" y="connsiteY43808"/>
              </a:cxn>
              <a:cxn ang="0">
                <a:pos x="connsiteX43809" y="connsiteY43809"/>
              </a:cxn>
              <a:cxn ang="0">
                <a:pos x="connsiteX43810" y="connsiteY43810"/>
              </a:cxn>
              <a:cxn ang="0">
                <a:pos x="connsiteX43811" y="connsiteY43811"/>
              </a:cxn>
              <a:cxn ang="0">
                <a:pos x="connsiteX43812" y="connsiteY43812"/>
              </a:cxn>
              <a:cxn ang="0">
                <a:pos x="connsiteX43813" y="connsiteY43813"/>
              </a:cxn>
              <a:cxn ang="0">
                <a:pos x="connsiteX43814" y="connsiteY43814"/>
              </a:cxn>
              <a:cxn ang="0">
                <a:pos x="connsiteX43815" y="connsiteY43815"/>
              </a:cxn>
              <a:cxn ang="0">
                <a:pos x="connsiteX43816" y="connsiteY43816"/>
              </a:cxn>
              <a:cxn ang="0">
                <a:pos x="connsiteX43817" y="connsiteY43817"/>
              </a:cxn>
              <a:cxn ang="0">
                <a:pos x="connsiteX43818" y="connsiteY43818"/>
              </a:cxn>
              <a:cxn ang="0">
                <a:pos x="connsiteX43819" y="connsiteY43819"/>
              </a:cxn>
              <a:cxn ang="0">
                <a:pos x="connsiteX43820" y="connsiteY43820"/>
              </a:cxn>
              <a:cxn ang="0">
                <a:pos x="connsiteX43821" y="connsiteY43821"/>
              </a:cxn>
              <a:cxn ang="0">
                <a:pos x="connsiteX43822" y="connsiteY43822"/>
              </a:cxn>
              <a:cxn ang="0">
                <a:pos x="connsiteX43823" y="connsiteY43823"/>
              </a:cxn>
              <a:cxn ang="0">
                <a:pos x="connsiteX43824" y="connsiteY43824"/>
              </a:cxn>
              <a:cxn ang="0">
                <a:pos x="connsiteX43825" y="connsiteY43825"/>
              </a:cxn>
              <a:cxn ang="0">
                <a:pos x="connsiteX43826" y="connsiteY43826"/>
              </a:cxn>
              <a:cxn ang="0">
                <a:pos x="connsiteX43827" y="connsiteY43827"/>
              </a:cxn>
              <a:cxn ang="0">
                <a:pos x="connsiteX43828" y="connsiteY43828"/>
              </a:cxn>
              <a:cxn ang="0">
                <a:pos x="connsiteX43829" y="connsiteY43829"/>
              </a:cxn>
              <a:cxn ang="0">
                <a:pos x="connsiteX43830" y="connsiteY43830"/>
              </a:cxn>
              <a:cxn ang="0">
                <a:pos x="connsiteX43831" y="connsiteY43831"/>
              </a:cxn>
              <a:cxn ang="0">
                <a:pos x="connsiteX43832" y="connsiteY43832"/>
              </a:cxn>
              <a:cxn ang="0">
                <a:pos x="connsiteX43833" y="connsiteY43833"/>
              </a:cxn>
              <a:cxn ang="0">
                <a:pos x="connsiteX43834" y="connsiteY43834"/>
              </a:cxn>
              <a:cxn ang="0">
                <a:pos x="connsiteX43835" y="connsiteY43835"/>
              </a:cxn>
              <a:cxn ang="0">
                <a:pos x="connsiteX43836" y="connsiteY43836"/>
              </a:cxn>
              <a:cxn ang="0">
                <a:pos x="connsiteX43837" y="connsiteY43837"/>
              </a:cxn>
              <a:cxn ang="0">
                <a:pos x="connsiteX43838" y="connsiteY43838"/>
              </a:cxn>
              <a:cxn ang="0">
                <a:pos x="connsiteX43839" y="connsiteY43839"/>
              </a:cxn>
              <a:cxn ang="0">
                <a:pos x="connsiteX43840" y="connsiteY43840"/>
              </a:cxn>
              <a:cxn ang="0">
                <a:pos x="connsiteX43841" y="connsiteY43841"/>
              </a:cxn>
              <a:cxn ang="0">
                <a:pos x="connsiteX43842" y="connsiteY43842"/>
              </a:cxn>
              <a:cxn ang="0">
                <a:pos x="connsiteX43843" y="connsiteY43843"/>
              </a:cxn>
              <a:cxn ang="0">
                <a:pos x="connsiteX43844" y="connsiteY43844"/>
              </a:cxn>
              <a:cxn ang="0">
                <a:pos x="connsiteX43845" y="connsiteY43845"/>
              </a:cxn>
              <a:cxn ang="0">
                <a:pos x="connsiteX43846" y="connsiteY43846"/>
              </a:cxn>
              <a:cxn ang="0">
                <a:pos x="connsiteX43847" y="connsiteY43847"/>
              </a:cxn>
              <a:cxn ang="0">
                <a:pos x="connsiteX43848" y="connsiteY43848"/>
              </a:cxn>
              <a:cxn ang="0">
                <a:pos x="connsiteX43849" y="connsiteY43849"/>
              </a:cxn>
              <a:cxn ang="0">
                <a:pos x="connsiteX43850" y="connsiteY43850"/>
              </a:cxn>
              <a:cxn ang="0">
                <a:pos x="connsiteX43851" y="connsiteY43851"/>
              </a:cxn>
              <a:cxn ang="0">
                <a:pos x="connsiteX43852" y="connsiteY43852"/>
              </a:cxn>
              <a:cxn ang="0">
                <a:pos x="connsiteX43853" y="connsiteY43853"/>
              </a:cxn>
              <a:cxn ang="0">
                <a:pos x="connsiteX43854" y="connsiteY43854"/>
              </a:cxn>
              <a:cxn ang="0">
                <a:pos x="connsiteX43855" y="connsiteY43855"/>
              </a:cxn>
              <a:cxn ang="0">
                <a:pos x="connsiteX43856" y="connsiteY43856"/>
              </a:cxn>
              <a:cxn ang="0">
                <a:pos x="connsiteX43857" y="connsiteY43857"/>
              </a:cxn>
              <a:cxn ang="0">
                <a:pos x="connsiteX43858" y="connsiteY43858"/>
              </a:cxn>
              <a:cxn ang="0">
                <a:pos x="connsiteX43859" y="connsiteY43859"/>
              </a:cxn>
              <a:cxn ang="0">
                <a:pos x="connsiteX43860" y="connsiteY43860"/>
              </a:cxn>
              <a:cxn ang="0">
                <a:pos x="connsiteX43861" y="connsiteY43861"/>
              </a:cxn>
              <a:cxn ang="0">
                <a:pos x="connsiteX43862" y="connsiteY43862"/>
              </a:cxn>
              <a:cxn ang="0">
                <a:pos x="connsiteX43863" y="connsiteY43863"/>
              </a:cxn>
              <a:cxn ang="0">
                <a:pos x="connsiteX43864" y="connsiteY43864"/>
              </a:cxn>
              <a:cxn ang="0">
                <a:pos x="connsiteX43865" y="connsiteY43865"/>
              </a:cxn>
              <a:cxn ang="0">
                <a:pos x="connsiteX43866" y="connsiteY43866"/>
              </a:cxn>
              <a:cxn ang="0">
                <a:pos x="connsiteX43867" y="connsiteY43867"/>
              </a:cxn>
              <a:cxn ang="0">
                <a:pos x="connsiteX43868" y="connsiteY43868"/>
              </a:cxn>
              <a:cxn ang="0">
                <a:pos x="connsiteX43869" y="connsiteY43869"/>
              </a:cxn>
              <a:cxn ang="0">
                <a:pos x="connsiteX43870" y="connsiteY43870"/>
              </a:cxn>
              <a:cxn ang="0">
                <a:pos x="connsiteX43871" y="connsiteY43871"/>
              </a:cxn>
              <a:cxn ang="0">
                <a:pos x="connsiteX43872" y="connsiteY43872"/>
              </a:cxn>
              <a:cxn ang="0">
                <a:pos x="connsiteX43873" y="connsiteY43873"/>
              </a:cxn>
              <a:cxn ang="0">
                <a:pos x="connsiteX43874" y="connsiteY43874"/>
              </a:cxn>
              <a:cxn ang="0">
                <a:pos x="connsiteX43875" y="connsiteY43875"/>
              </a:cxn>
              <a:cxn ang="0">
                <a:pos x="connsiteX43876" y="connsiteY43876"/>
              </a:cxn>
              <a:cxn ang="0">
                <a:pos x="connsiteX43877" y="connsiteY43877"/>
              </a:cxn>
              <a:cxn ang="0">
                <a:pos x="connsiteX43878" y="connsiteY43878"/>
              </a:cxn>
              <a:cxn ang="0">
                <a:pos x="connsiteX43879" y="connsiteY43879"/>
              </a:cxn>
              <a:cxn ang="0">
                <a:pos x="connsiteX43880" y="connsiteY43880"/>
              </a:cxn>
              <a:cxn ang="0">
                <a:pos x="connsiteX43881" y="connsiteY43881"/>
              </a:cxn>
              <a:cxn ang="0">
                <a:pos x="connsiteX43882" y="connsiteY43882"/>
              </a:cxn>
              <a:cxn ang="0">
                <a:pos x="connsiteX43883" y="connsiteY43883"/>
              </a:cxn>
              <a:cxn ang="0">
                <a:pos x="connsiteX43884" y="connsiteY43884"/>
              </a:cxn>
              <a:cxn ang="0">
                <a:pos x="connsiteX43885" y="connsiteY43885"/>
              </a:cxn>
              <a:cxn ang="0">
                <a:pos x="connsiteX43886" y="connsiteY43886"/>
              </a:cxn>
              <a:cxn ang="0">
                <a:pos x="connsiteX43887" y="connsiteY43887"/>
              </a:cxn>
              <a:cxn ang="0">
                <a:pos x="connsiteX43888" y="connsiteY43888"/>
              </a:cxn>
              <a:cxn ang="0">
                <a:pos x="connsiteX43889" y="connsiteY43889"/>
              </a:cxn>
              <a:cxn ang="0">
                <a:pos x="connsiteX43890" y="connsiteY43890"/>
              </a:cxn>
              <a:cxn ang="0">
                <a:pos x="connsiteX43891" y="connsiteY43891"/>
              </a:cxn>
              <a:cxn ang="0">
                <a:pos x="connsiteX43892" y="connsiteY43892"/>
              </a:cxn>
              <a:cxn ang="0">
                <a:pos x="connsiteX43893" y="connsiteY43893"/>
              </a:cxn>
              <a:cxn ang="0">
                <a:pos x="connsiteX43894" y="connsiteY43894"/>
              </a:cxn>
              <a:cxn ang="0">
                <a:pos x="connsiteX43895" y="connsiteY43895"/>
              </a:cxn>
              <a:cxn ang="0">
                <a:pos x="connsiteX43896" y="connsiteY43896"/>
              </a:cxn>
              <a:cxn ang="0">
                <a:pos x="connsiteX43897" y="connsiteY43897"/>
              </a:cxn>
              <a:cxn ang="0">
                <a:pos x="connsiteX43898" y="connsiteY43898"/>
              </a:cxn>
              <a:cxn ang="0">
                <a:pos x="connsiteX43899" y="connsiteY43899"/>
              </a:cxn>
              <a:cxn ang="0">
                <a:pos x="connsiteX43900" y="connsiteY43900"/>
              </a:cxn>
              <a:cxn ang="0">
                <a:pos x="connsiteX43901" y="connsiteY43901"/>
              </a:cxn>
              <a:cxn ang="0">
                <a:pos x="connsiteX43902" y="connsiteY43902"/>
              </a:cxn>
              <a:cxn ang="0">
                <a:pos x="connsiteX43903" y="connsiteY43903"/>
              </a:cxn>
              <a:cxn ang="0">
                <a:pos x="connsiteX43904" y="connsiteY43904"/>
              </a:cxn>
              <a:cxn ang="0">
                <a:pos x="connsiteX43905" y="connsiteY43905"/>
              </a:cxn>
              <a:cxn ang="0">
                <a:pos x="connsiteX43906" y="connsiteY43906"/>
              </a:cxn>
              <a:cxn ang="0">
                <a:pos x="connsiteX43907" y="connsiteY43907"/>
              </a:cxn>
              <a:cxn ang="0">
                <a:pos x="connsiteX43908" y="connsiteY43908"/>
              </a:cxn>
              <a:cxn ang="0">
                <a:pos x="connsiteX43909" y="connsiteY43909"/>
              </a:cxn>
              <a:cxn ang="0">
                <a:pos x="connsiteX43910" y="connsiteY43910"/>
              </a:cxn>
              <a:cxn ang="0">
                <a:pos x="connsiteX43911" y="connsiteY43911"/>
              </a:cxn>
              <a:cxn ang="0">
                <a:pos x="connsiteX43912" y="connsiteY43912"/>
              </a:cxn>
              <a:cxn ang="0">
                <a:pos x="connsiteX43913" y="connsiteY43913"/>
              </a:cxn>
              <a:cxn ang="0">
                <a:pos x="connsiteX43914" y="connsiteY43914"/>
              </a:cxn>
              <a:cxn ang="0">
                <a:pos x="connsiteX43915" y="connsiteY43915"/>
              </a:cxn>
              <a:cxn ang="0">
                <a:pos x="connsiteX43916" y="connsiteY43916"/>
              </a:cxn>
              <a:cxn ang="0">
                <a:pos x="connsiteX43917" y="connsiteY43917"/>
              </a:cxn>
              <a:cxn ang="0">
                <a:pos x="connsiteX43918" y="connsiteY43918"/>
              </a:cxn>
              <a:cxn ang="0">
                <a:pos x="connsiteX43919" y="connsiteY43919"/>
              </a:cxn>
              <a:cxn ang="0">
                <a:pos x="connsiteX43920" y="connsiteY43920"/>
              </a:cxn>
              <a:cxn ang="0">
                <a:pos x="connsiteX43921" y="connsiteY43921"/>
              </a:cxn>
              <a:cxn ang="0">
                <a:pos x="connsiteX43922" y="connsiteY43922"/>
              </a:cxn>
              <a:cxn ang="0">
                <a:pos x="connsiteX43923" y="connsiteY43923"/>
              </a:cxn>
              <a:cxn ang="0">
                <a:pos x="connsiteX43924" y="connsiteY43924"/>
              </a:cxn>
              <a:cxn ang="0">
                <a:pos x="connsiteX43925" y="connsiteY43925"/>
              </a:cxn>
              <a:cxn ang="0">
                <a:pos x="connsiteX43926" y="connsiteY43926"/>
              </a:cxn>
              <a:cxn ang="0">
                <a:pos x="connsiteX43927" y="connsiteY43927"/>
              </a:cxn>
              <a:cxn ang="0">
                <a:pos x="connsiteX43928" y="connsiteY43928"/>
              </a:cxn>
              <a:cxn ang="0">
                <a:pos x="connsiteX43929" y="connsiteY43929"/>
              </a:cxn>
              <a:cxn ang="0">
                <a:pos x="connsiteX43930" y="connsiteY43930"/>
              </a:cxn>
              <a:cxn ang="0">
                <a:pos x="connsiteX43931" y="connsiteY43931"/>
              </a:cxn>
              <a:cxn ang="0">
                <a:pos x="connsiteX43932" y="connsiteY43932"/>
              </a:cxn>
              <a:cxn ang="0">
                <a:pos x="connsiteX43933" y="connsiteY43933"/>
              </a:cxn>
              <a:cxn ang="0">
                <a:pos x="connsiteX43934" y="connsiteY43934"/>
              </a:cxn>
              <a:cxn ang="0">
                <a:pos x="connsiteX43935" y="connsiteY43935"/>
              </a:cxn>
              <a:cxn ang="0">
                <a:pos x="connsiteX43936" y="connsiteY43936"/>
              </a:cxn>
              <a:cxn ang="0">
                <a:pos x="connsiteX43937" y="connsiteY43937"/>
              </a:cxn>
              <a:cxn ang="0">
                <a:pos x="connsiteX43938" y="connsiteY43938"/>
              </a:cxn>
              <a:cxn ang="0">
                <a:pos x="connsiteX43939" y="connsiteY43939"/>
              </a:cxn>
              <a:cxn ang="0">
                <a:pos x="connsiteX43940" y="connsiteY43940"/>
              </a:cxn>
              <a:cxn ang="0">
                <a:pos x="connsiteX43941" y="connsiteY43941"/>
              </a:cxn>
              <a:cxn ang="0">
                <a:pos x="connsiteX43942" y="connsiteY43942"/>
              </a:cxn>
              <a:cxn ang="0">
                <a:pos x="connsiteX43943" y="connsiteY43943"/>
              </a:cxn>
              <a:cxn ang="0">
                <a:pos x="connsiteX43944" y="connsiteY43944"/>
              </a:cxn>
              <a:cxn ang="0">
                <a:pos x="connsiteX43945" y="connsiteY43945"/>
              </a:cxn>
              <a:cxn ang="0">
                <a:pos x="connsiteX43946" y="connsiteY43946"/>
              </a:cxn>
              <a:cxn ang="0">
                <a:pos x="connsiteX43947" y="connsiteY43947"/>
              </a:cxn>
              <a:cxn ang="0">
                <a:pos x="connsiteX43948" y="connsiteY43948"/>
              </a:cxn>
              <a:cxn ang="0">
                <a:pos x="connsiteX43949" y="connsiteY43949"/>
              </a:cxn>
              <a:cxn ang="0">
                <a:pos x="connsiteX43950" y="connsiteY43950"/>
              </a:cxn>
              <a:cxn ang="0">
                <a:pos x="connsiteX43951" y="connsiteY43951"/>
              </a:cxn>
              <a:cxn ang="0">
                <a:pos x="connsiteX43952" y="connsiteY43952"/>
              </a:cxn>
              <a:cxn ang="0">
                <a:pos x="connsiteX43953" y="connsiteY43953"/>
              </a:cxn>
              <a:cxn ang="0">
                <a:pos x="connsiteX43954" y="connsiteY43954"/>
              </a:cxn>
              <a:cxn ang="0">
                <a:pos x="connsiteX43955" y="connsiteY43955"/>
              </a:cxn>
              <a:cxn ang="0">
                <a:pos x="connsiteX43956" y="connsiteY43956"/>
              </a:cxn>
              <a:cxn ang="0">
                <a:pos x="connsiteX43957" y="connsiteY43957"/>
              </a:cxn>
              <a:cxn ang="0">
                <a:pos x="connsiteX43958" y="connsiteY43958"/>
              </a:cxn>
              <a:cxn ang="0">
                <a:pos x="connsiteX43959" y="connsiteY43959"/>
              </a:cxn>
              <a:cxn ang="0">
                <a:pos x="connsiteX43960" y="connsiteY43960"/>
              </a:cxn>
              <a:cxn ang="0">
                <a:pos x="connsiteX43961" y="connsiteY43961"/>
              </a:cxn>
              <a:cxn ang="0">
                <a:pos x="connsiteX43962" y="connsiteY43962"/>
              </a:cxn>
              <a:cxn ang="0">
                <a:pos x="connsiteX43963" y="connsiteY43963"/>
              </a:cxn>
              <a:cxn ang="0">
                <a:pos x="connsiteX43964" y="connsiteY43964"/>
              </a:cxn>
              <a:cxn ang="0">
                <a:pos x="connsiteX43965" y="connsiteY43965"/>
              </a:cxn>
              <a:cxn ang="0">
                <a:pos x="connsiteX43966" y="connsiteY43966"/>
              </a:cxn>
              <a:cxn ang="0">
                <a:pos x="connsiteX43967" y="connsiteY43967"/>
              </a:cxn>
              <a:cxn ang="0">
                <a:pos x="connsiteX43968" y="connsiteY43968"/>
              </a:cxn>
              <a:cxn ang="0">
                <a:pos x="connsiteX43969" y="connsiteY43969"/>
              </a:cxn>
              <a:cxn ang="0">
                <a:pos x="connsiteX43970" y="connsiteY43970"/>
              </a:cxn>
              <a:cxn ang="0">
                <a:pos x="connsiteX43971" y="connsiteY43971"/>
              </a:cxn>
              <a:cxn ang="0">
                <a:pos x="connsiteX43972" y="connsiteY43972"/>
              </a:cxn>
              <a:cxn ang="0">
                <a:pos x="connsiteX43973" y="connsiteY43973"/>
              </a:cxn>
              <a:cxn ang="0">
                <a:pos x="connsiteX43974" y="connsiteY43974"/>
              </a:cxn>
              <a:cxn ang="0">
                <a:pos x="connsiteX43975" y="connsiteY43975"/>
              </a:cxn>
              <a:cxn ang="0">
                <a:pos x="connsiteX43976" y="connsiteY43976"/>
              </a:cxn>
              <a:cxn ang="0">
                <a:pos x="connsiteX43977" y="connsiteY43977"/>
              </a:cxn>
              <a:cxn ang="0">
                <a:pos x="connsiteX43978" y="connsiteY43978"/>
              </a:cxn>
              <a:cxn ang="0">
                <a:pos x="connsiteX43979" y="connsiteY43979"/>
              </a:cxn>
              <a:cxn ang="0">
                <a:pos x="connsiteX43980" y="connsiteY43980"/>
              </a:cxn>
              <a:cxn ang="0">
                <a:pos x="connsiteX43981" y="connsiteY43981"/>
              </a:cxn>
              <a:cxn ang="0">
                <a:pos x="connsiteX43982" y="connsiteY43982"/>
              </a:cxn>
              <a:cxn ang="0">
                <a:pos x="connsiteX43983" y="connsiteY43983"/>
              </a:cxn>
              <a:cxn ang="0">
                <a:pos x="connsiteX43984" y="connsiteY43984"/>
              </a:cxn>
              <a:cxn ang="0">
                <a:pos x="connsiteX43985" y="connsiteY43985"/>
              </a:cxn>
              <a:cxn ang="0">
                <a:pos x="connsiteX43986" y="connsiteY43986"/>
              </a:cxn>
              <a:cxn ang="0">
                <a:pos x="connsiteX43987" y="connsiteY43987"/>
              </a:cxn>
              <a:cxn ang="0">
                <a:pos x="connsiteX43988" y="connsiteY43988"/>
              </a:cxn>
              <a:cxn ang="0">
                <a:pos x="connsiteX43989" y="connsiteY43989"/>
              </a:cxn>
              <a:cxn ang="0">
                <a:pos x="connsiteX43990" y="connsiteY43990"/>
              </a:cxn>
              <a:cxn ang="0">
                <a:pos x="connsiteX43991" y="connsiteY43991"/>
              </a:cxn>
              <a:cxn ang="0">
                <a:pos x="connsiteX43992" y="connsiteY43992"/>
              </a:cxn>
              <a:cxn ang="0">
                <a:pos x="connsiteX43993" y="connsiteY43993"/>
              </a:cxn>
              <a:cxn ang="0">
                <a:pos x="connsiteX43994" y="connsiteY43994"/>
              </a:cxn>
              <a:cxn ang="0">
                <a:pos x="connsiteX43995" y="connsiteY43995"/>
              </a:cxn>
              <a:cxn ang="0">
                <a:pos x="connsiteX43996" y="connsiteY43996"/>
              </a:cxn>
              <a:cxn ang="0">
                <a:pos x="connsiteX43997" y="connsiteY43997"/>
              </a:cxn>
              <a:cxn ang="0">
                <a:pos x="connsiteX43998" y="connsiteY43998"/>
              </a:cxn>
              <a:cxn ang="0">
                <a:pos x="connsiteX43999" y="connsiteY43999"/>
              </a:cxn>
              <a:cxn ang="0">
                <a:pos x="connsiteX44000" y="connsiteY44000"/>
              </a:cxn>
              <a:cxn ang="0">
                <a:pos x="connsiteX44001" y="connsiteY44001"/>
              </a:cxn>
              <a:cxn ang="0">
                <a:pos x="connsiteX44002" y="connsiteY44002"/>
              </a:cxn>
              <a:cxn ang="0">
                <a:pos x="connsiteX44003" y="connsiteY44003"/>
              </a:cxn>
              <a:cxn ang="0">
                <a:pos x="connsiteX44004" y="connsiteY44004"/>
              </a:cxn>
              <a:cxn ang="0">
                <a:pos x="connsiteX44005" y="connsiteY44005"/>
              </a:cxn>
              <a:cxn ang="0">
                <a:pos x="connsiteX44006" y="connsiteY44006"/>
              </a:cxn>
              <a:cxn ang="0">
                <a:pos x="connsiteX44007" y="connsiteY44007"/>
              </a:cxn>
              <a:cxn ang="0">
                <a:pos x="connsiteX44008" y="connsiteY44008"/>
              </a:cxn>
              <a:cxn ang="0">
                <a:pos x="connsiteX44009" y="connsiteY44009"/>
              </a:cxn>
              <a:cxn ang="0">
                <a:pos x="connsiteX44010" y="connsiteY44010"/>
              </a:cxn>
              <a:cxn ang="0">
                <a:pos x="connsiteX44011" y="connsiteY44011"/>
              </a:cxn>
              <a:cxn ang="0">
                <a:pos x="connsiteX44012" y="connsiteY44012"/>
              </a:cxn>
              <a:cxn ang="0">
                <a:pos x="connsiteX44013" y="connsiteY44013"/>
              </a:cxn>
              <a:cxn ang="0">
                <a:pos x="connsiteX44014" y="connsiteY44014"/>
              </a:cxn>
              <a:cxn ang="0">
                <a:pos x="connsiteX44015" y="connsiteY44015"/>
              </a:cxn>
              <a:cxn ang="0">
                <a:pos x="connsiteX44016" y="connsiteY44016"/>
              </a:cxn>
              <a:cxn ang="0">
                <a:pos x="connsiteX44017" y="connsiteY44017"/>
              </a:cxn>
              <a:cxn ang="0">
                <a:pos x="connsiteX44018" y="connsiteY44018"/>
              </a:cxn>
              <a:cxn ang="0">
                <a:pos x="connsiteX44019" y="connsiteY44019"/>
              </a:cxn>
              <a:cxn ang="0">
                <a:pos x="connsiteX44020" y="connsiteY44020"/>
              </a:cxn>
              <a:cxn ang="0">
                <a:pos x="connsiteX44021" y="connsiteY44021"/>
              </a:cxn>
              <a:cxn ang="0">
                <a:pos x="connsiteX44022" y="connsiteY44022"/>
              </a:cxn>
              <a:cxn ang="0">
                <a:pos x="connsiteX44023" y="connsiteY44023"/>
              </a:cxn>
              <a:cxn ang="0">
                <a:pos x="connsiteX44024" y="connsiteY44024"/>
              </a:cxn>
              <a:cxn ang="0">
                <a:pos x="connsiteX44025" y="connsiteY44025"/>
              </a:cxn>
              <a:cxn ang="0">
                <a:pos x="connsiteX44026" y="connsiteY44026"/>
              </a:cxn>
              <a:cxn ang="0">
                <a:pos x="connsiteX44027" y="connsiteY44027"/>
              </a:cxn>
              <a:cxn ang="0">
                <a:pos x="connsiteX44028" y="connsiteY44028"/>
              </a:cxn>
              <a:cxn ang="0">
                <a:pos x="connsiteX44029" y="connsiteY44029"/>
              </a:cxn>
              <a:cxn ang="0">
                <a:pos x="connsiteX44030" y="connsiteY44030"/>
              </a:cxn>
              <a:cxn ang="0">
                <a:pos x="connsiteX44031" y="connsiteY44031"/>
              </a:cxn>
              <a:cxn ang="0">
                <a:pos x="connsiteX44032" y="connsiteY44032"/>
              </a:cxn>
              <a:cxn ang="0">
                <a:pos x="connsiteX44033" y="connsiteY44033"/>
              </a:cxn>
              <a:cxn ang="0">
                <a:pos x="connsiteX44034" y="connsiteY44034"/>
              </a:cxn>
              <a:cxn ang="0">
                <a:pos x="connsiteX44035" y="connsiteY44035"/>
              </a:cxn>
              <a:cxn ang="0">
                <a:pos x="connsiteX44036" y="connsiteY44036"/>
              </a:cxn>
              <a:cxn ang="0">
                <a:pos x="connsiteX44037" y="connsiteY44037"/>
              </a:cxn>
              <a:cxn ang="0">
                <a:pos x="connsiteX44038" y="connsiteY44038"/>
              </a:cxn>
              <a:cxn ang="0">
                <a:pos x="connsiteX44039" y="connsiteY44039"/>
              </a:cxn>
              <a:cxn ang="0">
                <a:pos x="connsiteX44040" y="connsiteY44040"/>
              </a:cxn>
              <a:cxn ang="0">
                <a:pos x="connsiteX44041" y="connsiteY44041"/>
              </a:cxn>
              <a:cxn ang="0">
                <a:pos x="connsiteX44042" y="connsiteY44042"/>
              </a:cxn>
              <a:cxn ang="0">
                <a:pos x="connsiteX44043" y="connsiteY44043"/>
              </a:cxn>
              <a:cxn ang="0">
                <a:pos x="connsiteX44044" y="connsiteY44044"/>
              </a:cxn>
              <a:cxn ang="0">
                <a:pos x="connsiteX44045" y="connsiteY44045"/>
              </a:cxn>
              <a:cxn ang="0">
                <a:pos x="connsiteX44046" y="connsiteY44046"/>
              </a:cxn>
              <a:cxn ang="0">
                <a:pos x="connsiteX44047" y="connsiteY44047"/>
              </a:cxn>
              <a:cxn ang="0">
                <a:pos x="connsiteX44048" y="connsiteY44048"/>
              </a:cxn>
              <a:cxn ang="0">
                <a:pos x="connsiteX44049" y="connsiteY44049"/>
              </a:cxn>
              <a:cxn ang="0">
                <a:pos x="connsiteX44050" y="connsiteY44050"/>
              </a:cxn>
              <a:cxn ang="0">
                <a:pos x="connsiteX44051" y="connsiteY44051"/>
              </a:cxn>
              <a:cxn ang="0">
                <a:pos x="connsiteX44052" y="connsiteY44052"/>
              </a:cxn>
              <a:cxn ang="0">
                <a:pos x="connsiteX44053" y="connsiteY44053"/>
              </a:cxn>
              <a:cxn ang="0">
                <a:pos x="connsiteX44054" y="connsiteY44054"/>
              </a:cxn>
              <a:cxn ang="0">
                <a:pos x="connsiteX44055" y="connsiteY44055"/>
              </a:cxn>
              <a:cxn ang="0">
                <a:pos x="connsiteX44056" y="connsiteY44056"/>
              </a:cxn>
              <a:cxn ang="0">
                <a:pos x="connsiteX44057" y="connsiteY44057"/>
              </a:cxn>
              <a:cxn ang="0">
                <a:pos x="connsiteX44058" y="connsiteY44058"/>
              </a:cxn>
              <a:cxn ang="0">
                <a:pos x="connsiteX44059" y="connsiteY44059"/>
              </a:cxn>
              <a:cxn ang="0">
                <a:pos x="connsiteX44060" y="connsiteY44060"/>
              </a:cxn>
              <a:cxn ang="0">
                <a:pos x="connsiteX44061" y="connsiteY44061"/>
              </a:cxn>
              <a:cxn ang="0">
                <a:pos x="connsiteX44062" y="connsiteY44062"/>
              </a:cxn>
              <a:cxn ang="0">
                <a:pos x="connsiteX44063" y="connsiteY44063"/>
              </a:cxn>
              <a:cxn ang="0">
                <a:pos x="connsiteX44064" y="connsiteY44064"/>
              </a:cxn>
              <a:cxn ang="0">
                <a:pos x="connsiteX44065" y="connsiteY44065"/>
              </a:cxn>
              <a:cxn ang="0">
                <a:pos x="connsiteX44066" y="connsiteY44066"/>
              </a:cxn>
              <a:cxn ang="0">
                <a:pos x="connsiteX44067" y="connsiteY44067"/>
              </a:cxn>
              <a:cxn ang="0">
                <a:pos x="connsiteX44068" y="connsiteY44068"/>
              </a:cxn>
              <a:cxn ang="0">
                <a:pos x="connsiteX44069" y="connsiteY44069"/>
              </a:cxn>
              <a:cxn ang="0">
                <a:pos x="connsiteX44070" y="connsiteY44070"/>
              </a:cxn>
              <a:cxn ang="0">
                <a:pos x="connsiteX44071" y="connsiteY44071"/>
              </a:cxn>
              <a:cxn ang="0">
                <a:pos x="connsiteX44072" y="connsiteY44072"/>
              </a:cxn>
              <a:cxn ang="0">
                <a:pos x="connsiteX44073" y="connsiteY44073"/>
              </a:cxn>
              <a:cxn ang="0">
                <a:pos x="connsiteX44074" y="connsiteY44074"/>
              </a:cxn>
              <a:cxn ang="0">
                <a:pos x="connsiteX44075" y="connsiteY44075"/>
              </a:cxn>
              <a:cxn ang="0">
                <a:pos x="connsiteX44076" y="connsiteY44076"/>
              </a:cxn>
              <a:cxn ang="0">
                <a:pos x="connsiteX44077" y="connsiteY44077"/>
              </a:cxn>
              <a:cxn ang="0">
                <a:pos x="connsiteX44078" y="connsiteY44078"/>
              </a:cxn>
              <a:cxn ang="0">
                <a:pos x="connsiteX44079" y="connsiteY44079"/>
              </a:cxn>
              <a:cxn ang="0">
                <a:pos x="connsiteX44080" y="connsiteY44080"/>
              </a:cxn>
              <a:cxn ang="0">
                <a:pos x="connsiteX44081" y="connsiteY44081"/>
              </a:cxn>
              <a:cxn ang="0">
                <a:pos x="connsiteX44082" y="connsiteY44082"/>
              </a:cxn>
              <a:cxn ang="0">
                <a:pos x="connsiteX44083" y="connsiteY44083"/>
              </a:cxn>
              <a:cxn ang="0">
                <a:pos x="connsiteX44084" y="connsiteY44084"/>
              </a:cxn>
              <a:cxn ang="0">
                <a:pos x="connsiteX44085" y="connsiteY44085"/>
              </a:cxn>
              <a:cxn ang="0">
                <a:pos x="connsiteX44086" y="connsiteY44086"/>
              </a:cxn>
              <a:cxn ang="0">
                <a:pos x="connsiteX44087" y="connsiteY44087"/>
              </a:cxn>
              <a:cxn ang="0">
                <a:pos x="connsiteX44088" y="connsiteY44088"/>
              </a:cxn>
              <a:cxn ang="0">
                <a:pos x="connsiteX44089" y="connsiteY44089"/>
              </a:cxn>
              <a:cxn ang="0">
                <a:pos x="connsiteX44090" y="connsiteY44090"/>
              </a:cxn>
              <a:cxn ang="0">
                <a:pos x="connsiteX44091" y="connsiteY44091"/>
              </a:cxn>
              <a:cxn ang="0">
                <a:pos x="connsiteX44092" y="connsiteY44092"/>
              </a:cxn>
              <a:cxn ang="0">
                <a:pos x="connsiteX44093" y="connsiteY44093"/>
              </a:cxn>
              <a:cxn ang="0">
                <a:pos x="connsiteX44094" y="connsiteY44094"/>
              </a:cxn>
              <a:cxn ang="0">
                <a:pos x="connsiteX44095" y="connsiteY44095"/>
              </a:cxn>
              <a:cxn ang="0">
                <a:pos x="connsiteX44096" y="connsiteY44096"/>
              </a:cxn>
              <a:cxn ang="0">
                <a:pos x="connsiteX44097" y="connsiteY44097"/>
              </a:cxn>
              <a:cxn ang="0">
                <a:pos x="connsiteX44098" y="connsiteY44098"/>
              </a:cxn>
              <a:cxn ang="0">
                <a:pos x="connsiteX44099" y="connsiteY44099"/>
              </a:cxn>
              <a:cxn ang="0">
                <a:pos x="connsiteX44100" y="connsiteY44100"/>
              </a:cxn>
              <a:cxn ang="0">
                <a:pos x="connsiteX44101" y="connsiteY44101"/>
              </a:cxn>
              <a:cxn ang="0">
                <a:pos x="connsiteX44102" y="connsiteY44102"/>
              </a:cxn>
              <a:cxn ang="0">
                <a:pos x="connsiteX44103" y="connsiteY44103"/>
              </a:cxn>
              <a:cxn ang="0">
                <a:pos x="connsiteX44104" y="connsiteY44104"/>
              </a:cxn>
              <a:cxn ang="0">
                <a:pos x="connsiteX44105" y="connsiteY44105"/>
              </a:cxn>
              <a:cxn ang="0">
                <a:pos x="connsiteX44106" y="connsiteY44106"/>
              </a:cxn>
              <a:cxn ang="0">
                <a:pos x="connsiteX44107" y="connsiteY44107"/>
              </a:cxn>
              <a:cxn ang="0">
                <a:pos x="connsiteX44108" y="connsiteY44108"/>
              </a:cxn>
              <a:cxn ang="0">
                <a:pos x="connsiteX44109" y="connsiteY44109"/>
              </a:cxn>
              <a:cxn ang="0">
                <a:pos x="connsiteX44110" y="connsiteY44110"/>
              </a:cxn>
              <a:cxn ang="0">
                <a:pos x="connsiteX44111" y="connsiteY44111"/>
              </a:cxn>
              <a:cxn ang="0">
                <a:pos x="connsiteX44112" y="connsiteY44112"/>
              </a:cxn>
              <a:cxn ang="0">
                <a:pos x="connsiteX44113" y="connsiteY44113"/>
              </a:cxn>
              <a:cxn ang="0">
                <a:pos x="connsiteX44114" y="connsiteY44114"/>
              </a:cxn>
              <a:cxn ang="0">
                <a:pos x="connsiteX44115" y="connsiteY44115"/>
              </a:cxn>
              <a:cxn ang="0">
                <a:pos x="connsiteX44116" y="connsiteY44116"/>
              </a:cxn>
              <a:cxn ang="0">
                <a:pos x="connsiteX44117" y="connsiteY44117"/>
              </a:cxn>
              <a:cxn ang="0">
                <a:pos x="connsiteX44118" y="connsiteY44118"/>
              </a:cxn>
              <a:cxn ang="0">
                <a:pos x="connsiteX44119" y="connsiteY44119"/>
              </a:cxn>
              <a:cxn ang="0">
                <a:pos x="connsiteX44120" y="connsiteY44120"/>
              </a:cxn>
              <a:cxn ang="0">
                <a:pos x="connsiteX44121" y="connsiteY44121"/>
              </a:cxn>
              <a:cxn ang="0">
                <a:pos x="connsiteX44122" y="connsiteY44122"/>
              </a:cxn>
              <a:cxn ang="0">
                <a:pos x="connsiteX44123" y="connsiteY44123"/>
              </a:cxn>
              <a:cxn ang="0">
                <a:pos x="connsiteX44124" y="connsiteY44124"/>
              </a:cxn>
              <a:cxn ang="0">
                <a:pos x="connsiteX44125" y="connsiteY44125"/>
              </a:cxn>
              <a:cxn ang="0">
                <a:pos x="connsiteX44126" y="connsiteY44126"/>
              </a:cxn>
              <a:cxn ang="0">
                <a:pos x="connsiteX44127" y="connsiteY44127"/>
              </a:cxn>
              <a:cxn ang="0">
                <a:pos x="connsiteX44128" y="connsiteY44128"/>
              </a:cxn>
              <a:cxn ang="0">
                <a:pos x="connsiteX44129" y="connsiteY44129"/>
              </a:cxn>
              <a:cxn ang="0">
                <a:pos x="connsiteX44130" y="connsiteY44130"/>
              </a:cxn>
              <a:cxn ang="0">
                <a:pos x="connsiteX44131" y="connsiteY44131"/>
              </a:cxn>
              <a:cxn ang="0">
                <a:pos x="connsiteX44132" y="connsiteY44132"/>
              </a:cxn>
              <a:cxn ang="0">
                <a:pos x="connsiteX44133" y="connsiteY44133"/>
              </a:cxn>
              <a:cxn ang="0">
                <a:pos x="connsiteX44134" y="connsiteY44134"/>
              </a:cxn>
              <a:cxn ang="0">
                <a:pos x="connsiteX44135" y="connsiteY44135"/>
              </a:cxn>
              <a:cxn ang="0">
                <a:pos x="connsiteX44136" y="connsiteY44136"/>
              </a:cxn>
              <a:cxn ang="0">
                <a:pos x="connsiteX44137" y="connsiteY44137"/>
              </a:cxn>
              <a:cxn ang="0">
                <a:pos x="connsiteX44138" y="connsiteY44138"/>
              </a:cxn>
              <a:cxn ang="0">
                <a:pos x="connsiteX44139" y="connsiteY44139"/>
              </a:cxn>
              <a:cxn ang="0">
                <a:pos x="connsiteX44140" y="connsiteY44140"/>
              </a:cxn>
              <a:cxn ang="0">
                <a:pos x="connsiteX44141" y="connsiteY44141"/>
              </a:cxn>
              <a:cxn ang="0">
                <a:pos x="connsiteX44142" y="connsiteY44142"/>
              </a:cxn>
              <a:cxn ang="0">
                <a:pos x="connsiteX44143" y="connsiteY44143"/>
              </a:cxn>
              <a:cxn ang="0">
                <a:pos x="connsiteX44144" y="connsiteY44144"/>
              </a:cxn>
              <a:cxn ang="0">
                <a:pos x="connsiteX44145" y="connsiteY44145"/>
              </a:cxn>
              <a:cxn ang="0">
                <a:pos x="connsiteX44146" y="connsiteY44146"/>
              </a:cxn>
              <a:cxn ang="0">
                <a:pos x="connsiteX44147" y="connsiteY44147"/>
              </a:cxn>
              <a:cxn ang="0">
                <a:pos x="connsiteX44148" y="connsiteY44148"/>
              </a:cxn>
              <a:cxn ang="0">
                <a:pos x="connsiteX44149" y="connsiteY44149"/>
              </a:cxn>
              <a:cxn ang="0">
                <a:pos x="connsiteX44150" y="connsiteY44150"/>
              </a:cxn>
              <a:cxn ang="0">
                <a:pos x="connsiteX44151" y="connsiteY44151"/>
              </a:cxn>
              <a:cxn ang="0">
                <a:pos x="connsiteX44152" y="connsiteY44152"/>
              </a:cxn>
              <a:cxn ang="0">
                <a:pos x="connsiteX44153" y="connsiteY44153"/>
              </a:cxn>
              <a:cxn ang="0">
                <a:pos x="connsiteX44154" y="connsiteY44154"/>
              </a:cxn>
              <a:cxn ang="0">
                <a:pos x="connsiteX44155" y="connsiteY44155"/>
              </a:cxn>
              <a:cxn ang="0">
                <a:pos x="connsiteX44156" y="connsiteY44156"/>
              </a:cxn>
              <a:cxn ang="0">
                <a:pos x="connsiteX44157" y="connsiteY44157"/>
              </a:cxn>
              <a:cxn ang="0">
                <a:pos x="connsiteX44158" y="connsiteY44158"/>
              </a:cxn>
              <a:cxn ang="0">
                <a:pos x="connsiteX44159" y="connsiteY44159"/>
              </a:cxn>
              <a:cxn ang="0">
                <a:pos x="connsiteX44160" y="connsiteY44160"/>
              </a:cxn>
              <a:cxn ang="0">
                <a:pos x="connsiteX44161" y="connsiteY44161"/>
              </a:cxn>
              <a:cxn ang="0">
                <a:pos x="connsiteX44162" y="connsiteY44162"/>
              </a:cxn>
              <a:cxn ang="0">
                <a:pos x="connsiteX44163" y="connsiteY44163"/>
              </a:cxn>
              <a:cxn ang="0">
                <a:pos x="connsiteX44164" y="connsiteY44164"/>
              </a:cxn>
              <a:cxn ang="0">
                <a:pos x="connsiteX44165" y="connsiteY44165"/>
              </a:cxn>
              <a:cxn ang="0">
                <a:pos x="connsiteX44166" y="connsiteY44166"/>
              </a:cxn>
              <a:cxn ang="0">
                <a:pos x="connsiteX44167" y="connsiteY44167"/>
              </a:cxn>
              <a:cxn ang="0">
                <a:pos x="connsiteX44168" y="connsiteY44168"/>
              </a:cxn>
              <a:cxn ang="0">
                <a:pos x="connsiteX44169" y="connsiteY44169"/>
              </a:cxn>
              <a:cxn ang="0">
                <a:pos x="connsiteX44170" y="connsiteY44170"/>
              </a:cxn>
              <a:cxn ang="0">
                <a:pos x="connsiteX44171" y="connsiteY44171"/>
              </a:cxn>
              <a:cxn ang="0">
                <a:pos x="connsiteX44172" y="connsiteY44172"/>
              </a:cxn>
              <a:cxn ang="0">
                <a:pos x="connsiteX44173" y="connsiteY44173"/>
              </a:cxn>
              <a:cxn ang="0">
                <a:pos x="connsiteX44174" y="connsiteY44174"/>
              </a:cxn>
              <a:cxn ang="0">
                <a:pos x="connsiteX44175" y="connsiteY44175"/>
              </a:cxn>
              <a:cxn ang="0">
                <a:pos x="connsiteX44176" y="connsiteY44176"/>
              </a:cxn>
              <a:cxn ang="0">
                <a:pos x="connsiteX44177" y="connsiteY44177"/>
              </a:cxn>
              <a:cxn ang="0">
                <a:pos x="connsiteX44178" y="connsiteY44178"/>
              </a:cxn>
              <a:cxn ang="0">
                <a:pos x="connsiteX44179" y="connsiteY44179"/>
              </a:cxn>
              <a:cxn ang="0">
                <a:pos x="connsiteX44180" y="connsiteY44180"/>
              </a:cxn>
              <a:cxn ang="0">
                <a:pos x="connsiteX44181" y="connsiteY44181"/>
              </a:cxn>
              <a:cxn ang="0">
                <a:pos x="connsiteX44182" y="connsiteY44182"/>
              </a:cxn>
              <a:cxn ang="0">
                <a:pos x="connsiteX44183" y="connsiteY44183"/>
              </a:cxn>
              <a:cxn ang="0">
                <a:pos x="connsiteX44184" y="connsiteY44184"/>
              </a:cxn>
              <a:cxn ang="0">
                <a:pos x="connsiteX44185" y="connsiteY44185"/>
              </a:cxn>
              <a:cxn ang="0">
                <a:pos x="connsiteX44186" y="connsiteY44186"/>
              </a:cxn>
              <a:cxn ang="0">
                <a:pos x="connsiteX44187" y="connsiteY44187"/>
              </a:cxn>
              <a:cxn ang="0">
                <a:pos x="connsiteX44188" y="connsiteY44188"/>
              </a:cxn>
              <a:cxn ang="0">
                <a:pos x="connsiteX44189" y="connsiteY44189"/>
              </a:cxn>
              <a:cxn ang="0">
                <a:pos x="connsiteX44190" y="connsiteY44190"/>
              </a:cxn>
              <a:cxn ang="0">
                <a:pos x="connsiteX44191" y="connsiteY44191"/>
              </a:cxn>
              <a:cxn ang="0">
                <a:pos x="connsiteX44192" y="connsiteY44192"/>
              </a:cxn>
              <a:cxn ang="0">
                <a:pos x="connsiteX44193" y="connsiteY44193"/>
              </a:cxn>
              <a:cxn ang="0">
                <a:pos x="connsiteX44194" y="connsiteY44194"/>
              </a:cxn>
              <a:cxn ang="0">
                <a:pos x="connsiteX44195" y="connsiteY44195"/>
              </a:cxn>
              <a:cxn ang="0">
                <a:pos x="connsiteX44196" y="connsiteY44196"/>
              </a:cxn>
              <a:cxn ang="0">
                <a:pos x="connsiteX44197" y="connsiteY44197"/>
              </a:cxn>
              <a:cxn ang="0">
                <a:pos x="connsiteX44198" y="connsiteY44198"/>
              </a:cxn>
              <a:cxn ang="0">
                <a:pos x="connsiteX44199" y="connsiteY44199"/>
              </a:cxn>
              <a:cxn ang="0">
                <a:pos x="connsiteX44200" y="connsiteY44200"/>
              </a:cxn>
              <a:cxn ang="0">
                <a:pos x="connsiteX44201" y="connsiteY44201"/>
              </a:cxn>
              <a:cxn ang="0">
                <a:pos x="connsiteX44202" y="connsiteY44202"/>
              </a:cxn>
              <a:cxn ang="0">
                <a:pos x="connsiteX44203" y="connsiteY44203"/>
              </a:cxn>
              <a:cxn ang="0">
                <a:pos x="connsiteX44204" y="connsiteY44204"/>
              </a:cxn>
              <a:cxn ang="0">
                <a:pos x="connsiteX44205" y="connsiteY44205"/>
              </a:cxn>
              <a:cxn ang="0">
                <a:pos x="connsiteX44206" y="connsiteY44206"/>
              </a:cxn>
              <a:cxn ang="0">
                <a:pos x="connsiteX44207" y="connsiteY44207"/>
              </a:cxn>
              <a:cxn ang="0">
                <a:pos x="connsiteX44208" y="connsiteY44208"/>
              </a:cxn>
              <a:cxn ang="0">
                <a:pos x="connsiteX44209" y="connsiteY44209"/>
              </a:cxn>
              <a:cxn ang="0">
                <a:pos x="connsiteX44210" y="connsiteY44210"/>
              </a:cxn>
              <a:cxn ang="0">
                <a:pos x="connsiteX44211" y="connsiteY44211"/>
              </a:cxn>
              <a:cxn ang="0">
                <a:pos x="connsiteX44212" y="connsiteY44212"/>
              </a:cxn>
              <a:cxn ang="0">
                <a:pos x="connsiteX44213" y="connsiteY44213"/>
              </a:cxn>
              <a:cxn ang="0">
                <a:pos x="connsiteX44214" y="connsiteY44214"/>
              </a:cxn>
              <a:cxn ang="0">
                <a:pos x="connsiteX44215" y="connsiteY44215"/>
              </a:cxn>
              <a:cxn ang="0">
                <a:pos x="connsiteX44216" y="connsiteY44216"/>
              </a:cxn>
              <a:cxn ang="0">
                <a:pos x="connsiteX44217" y="connsiteY44217"/>
              </a:cxn>
              <a:cxn ang="0">
                <a:pos x="connsiteX44218" y="connsiteY44218"/>
              </a:cxn>
              <a:cxn ang="0">
                <a:pos x="connsiteX44219" y="connsiteY44219"/>
              </a:cxn>
              <a:cxn ang="0">
                <a:pos x="connsiteX44220" y="connsiteY44220"/>
              </a:cxn>
              <a:cxn ang="0">
                <a:pos x="connsiteX44221" y="connsiteY44221"/>
              </a:cxn>
              <a:cxn ang="0">
                <a:pos x="connsiteX44222" y="connsiteY44222"/>
              </a:cxn>
              <a:cxn ang="0">
                <a:pos x="connsiteX44223" y="connsiteY44223"/>
              </a:cxn>
              <a:cxn ang="0">
                <a:pos x="connsiteX44224" y="connsiteY44224"/>
              </a:cxn>
              <a:cxn ang="0">
                <a:pos x="connsiteX44225" y="connsiteY44225"/>
              </a:cxn>
              <a:cxn ang="0">
                <a:pos x="connsiteX44226" y="connsiteY44226"/>
              </a:cxn>
              <a:cxn ang="0">
                <a:pos x="connsiteX44227" y="connsiteY44227"/>
              </a:cxn>
              <a:cxn ang="0">
                <a:pos x="connsiteX44228" y="connsiteY44228"/>
              </a:cxn>
              <a:cxn ang="0">
                <a:pos x="connsiteX44229" y="connsiteY44229"/>
              </a:cxn>
              <a:cxn ang="0">
                <a:pos x="connsiteX44230" y="connsiteY44230"/>
              </a:cxn>
              <a:cxn ang="0">
                <a:pos x="connsiteX44231" y="connsiteY44231"/>
              </a:cxn>
              <a:cxn ang="0">
                <a:pos x="connsiteX44232" y="connsiteY44232"/>
              </a:cxn>
              <a:cxn ang="0">
                <a:pos x="connsiteX44233" y="connsiteY44233"/>
              </a:cxn>
              <a:cxn ang="0">
                <a:pos x="connsiteX44234" y="connsiteY44234"/>
              </a:cxn>
              <a:cxn ang="0">
                <a:pos x="connsiteX44235" y="connsiteY44235"/>
              </a:cxn>
              <a:cxn ang="0">
                <a:pos x="connsiteX44236" y="connsiteY44236"/>
              </a:cxn>
              <a:cxn ang="0">
                <a:pos x="connsiteX44237" y="connsiteY44237"/>
              </a:cxn>
              <a:cxn ang="0">
                <a:pos x="connsiteX44238" y="connsiteY44238"/>
              </a:cxn>
              <a:cxn ang="0">
                <a:pos x="connsiteX44239" y="connsiteY44239"/>
              </a:cxn>
              <a:cxn ang="0">
                <a:pos x="connsiteX44240" y="connsiteY44240"/>
              </a:cxn>
              <a:cxn ang="0">
                <a:pos x="connsiteX44241" y="connsiteY44241"/>
              </a:cxn>
              <a:cxn ang="0">
                <a:pos x="connsiteX44242" y="connsiteY44242"/>
              </a:cxn>
              <a:cxn ang="0">
                <a:pos x="connsiteX44243" y="connsiteY44243"/>
              </a:cxn>
              <a:cxn ang="0">
                <a:pos x="connsiteX44244" y="connsiteY44244"/>
              </a:cxn>
              <a:cxn ang="0">
                <a:pos x="connsiteX44245" y="connsiteY44245"/>
              </a:cxn>
              <a:cxn ang="0">
                <a:pos x="connsiteX44246" y="connsiteY44246"/>
              </a:cxn>
              <a:cxn ang="0">
                <a:pos x="connsiteX44247" y="connsiteY44247"/>
              </a:cxn>
              <a:cxn ang="0">
                <a:pos x="connsiteX44248" y="connsiteY44248"/>
              </a:cxn>
              <a:cxn ang="0">
                <a:pos x="connsiteX44249" y="connsiteY44249"/>
              </a:cxn>
              <a:cxn ang="0">
                <a:pos x="connsiteX44250" y="connsiteY44250"/>
              </a:cxn>
              <a:cxn ang="0">
                <a:pos x="connsiteX44251" y="connsiteY44251"/>
              </a:cxn>
              <a:cxn ang="0">
                <a:pos x="connsiteX44252" y="connsiteY44252"/>
              </a:cxn>
              <a:cxn ang="0">
                <a:pos x="connsiteX44253" y="connsiteY44253"/>
              </a:cxn>
              <a:cxn ang="0">
                <a:pos x="connsiteX44254" y="connsiteY44254"/>
              </a:cxn>
              <a:cxn ang="0">
                <a:pos x="connsiteX44255" y="connsiteY44255"/>
              </a:cxn>
              <a:cxn ang="0">
                <a:pos x="connsiteX44256" y="connsiteY44256"/>
              </a:cxn>
              <a:cxn ang="0">
                <a:pos x="connsiteX44257" y="connsiteY44257"/>
              </a:cxn>
              <a:cxn ang="0">
                <a:pos x="connsiteX44258" y="connsiteY44258"/>
              </a:cxn>
              <a:cxn ang="0">
                <a:pos x="connsiteX44259" y="connsiteY44259"/>
              </a:cxn>
              <a:cxn ang="0">
                <a:pos x="connsiteX44260" y="connsiteY44260"/>
              </a:cxn>
              <a:cxn ang="0">
                <a:pos x="connsiteX44261" y="connsiteY44261"/>
              </a:cxn>
              <a:cxn ang="0">
                <a:pos x="connsiteX44262" y="connsiteY44262"/>
              </a:cxn>
              <a:cxn ang="0">
                <a:pos x="connsiteX44263" y="connsiteY44263"/>
              </a:cxn>
              <a:cxn ang="0">
                <a:pos x="connsiteX44264" y="connsiteY44264"/>
              </a:cxn>
              <a:cxn ang="0">
                <a:pos x="connsiteX44265" y="connsiteY44265"/>
              </a:cxn>
              <a:cxn ang="0">
                <a:pos x="connsiteX44266" y="connsiteY44266"/>
              </a:cxn>
              <a:cxn ang="0">
                <a:pos x="connsiteX44267" y="connsiteY44267"/>
              </a:cxn>
              <a:cxn ang="0">
                <a:pos x="connsiteX44268" y="connsiteY44268"/>
              </a:cxn>
              <a:cxn ang="0">
                <a:pos x="connsiteX44269" y="connsiteY44269"/>
              </a:cxn>
              <a:cxn ang="0">
                <a:pos x="connsiteX44270" y="connsiteY44270"/>
              </a:cxn>
              <a:cxn ang="0">
                <a:pos x="connsiteX44271" y="connsiteY44271"/>
              </a:cxn>
              <a:cxn ang="0">
                <a:pos x="connsiteX44272" y="connsiteY44272"/>
              </a:cxn>
              <a:cxn ang="0">
                <a:pos x="connsiteX44273" y="connsiteY44273"/>
              </a:cxn>
              <a:cxn ang="0">
                <a:pos x="connsiteX44274" y="connsiteY44274"/>
              </a:cxn>
              <a:cxn ang="0">
                <a:pos x="connsiteX44275" y="connsiteY44275"/>
              </a:cxn>
              <a:cxn ang="0">
                <a:pos x="connsiteX44276" y="connsiteY44276"/>
              </a:cxn>
              <a:cxn ang="0">
                <a:pos x="connsiteX44277" y="connsiteY44277"/>
              </a:cxn>
              <a:cxn ang="0">
                <a:pos x="connsiteX44278" y="connsiteY44278"/>
              </a:cxn>
              <a:cxn ang="0">
                <a:pos x="connsiteX44279" y="connsiteY44279"/>
              </a:cxn>
              <a:cxn ang="0">
                <a:pos x="connsiteX44280" y="connsiteY44280"/>
              </a:cxn>
              <a:cxn ang="0">
                <a:pos x="connsiteX44281" y="connsiteY44281"/>
              </a:cxn>
              <a:cxn ang="0">
                <a:pos x="connsiteX44282" y="connsiteY44282"/>
              </a:cxn>
              <a:cxn ang="0">
                <a:pos x="connsiteX44283" y="connsiteY44283"/>
              </a:cxn>
              <a:cxn ang="0">
                <a:pos x="connsiteX44284" y="connsiteY44284"/>
              </a:cxn>
              <a:cxn ang="0">
                <a:pos x="connsiteX44285" y="connsiteY44285"/>
              </a:cxn>
              <a:cxn ang="0">
                <a:pos x="connsiteX44286" y="connsiteY44286"/>
              </a:cxn>
              <a:cxn ang="0">
                <a:pos x="connsiteX44287" y="connsiteY44287"/>
              </a:cxn>
              <a:cxn ang="0">
                <a:pos x="connsiteX44288" y="connsiteY44288"/>
              </a:cxn>
              <a:cxn ang="0">
                <a:pos x="connsiteX44289" y="connsiteY44289"/>
              </a:cxn>
              <a:cxn ang="0">
                <a:pos x="connsiteX44290" y="connsiteY44290"/>
              </a:cxn>
              <a:cxn ang="0">
                <a:pos x="connsiteX44291" y="connsiteY44291"/>
              </a:cxn>
              <a:cxn ang="0">
                <a:pos x="connsiteX44292" y="connsiteY44292"/>
              </a:cxn>
              <a:cxn ang="0">
                <a:pos x="connsiteX44293" y="connsiteY44293"/>
              </a:cxn>
              <a:cxn ang="0">
                <a:pos x="connsiteX44294" y="connsiteY44294"/>
              </a:cxn>
              <a:cxn ang="0">
                <a:pos x="connsiteX44295" y="connsiteY44295"/>
              </a:cxn>
              <a:cxn ang="0">
                <a:pos x="connsiteX44296" y="connsiteY44296"/>
              </a:cxn>
              <a:cxn ang="0">
                <a:pos x="connsiteX44297" y="connsiteY44297"/>
              </a:cxn>
              <a:cxn ang="0">
                <a:pos x="connsiteX44298" y="connsiteY44298"/>
              </a:cxn>
              <a:cxn ang="0">
                <a:pos x="connsiteX44299" y="connsiteY44299"/>
              </a:cxn>
              <a:cxn ang="0">
                <a:pos x="connsiteX44300" y="connsiteY44300"/>
              </a:cxn>
              <a:cxn ang="0">
                <a:pos x="connsiteX44301" y="connsiteY44301"/>
              </a:cxn>
              <a:cxn ang="0">
                <a:pos x="connsiteX44302" y="connsiteY44302"/>
              </a:cxn>
              <a:cxn ang="0">
                <a:pos x="connsiteX44303" y="connsiteY44303"/>
              </a:cxn>
              <a:cxn ang="0">
                <a:pos x="connsiteX44304" y="connsiteY44304"/>
              </a:cxn>
              <a:cxn ang="0">
                <a:pos x="connsiteX44305" y="connsiteY44305"/>
              </a:cxn>
              <a:cxn ang="0">
                <a:pos x="connsiteX44306" y="connsiteY44306"/>
              </a:cxn>
              <a:cxn ang="0">
                <a:pos x="connsiteX44307" y="connsiteY44307"/>
              </a:cxn>
              <a:cxn ang="0">
                <a:pos x="connsiteX44308" y="connsiteY44308"/>
              </a:cxn>
              <a:cxn ang="0">
                <a:pos x="connsiteX44309" y="connsiteY44309"/>
              </a:cxn>
              <a:cxn ang="0">
                <a:pos x="connsiteX44310" y="connsiteY44310"/>
              </a:cxn>
              <a:cxn ang="0">
                <a:pos x="connsiteX44311" y="connsiteY44311"/>
              </a:cxn>
              <a:cxn ang="0">
                <a:pos x="connsiteX44312" y="connsiteY44312"/>
              </a:cxn>
              <a:cxn ang="0">
                <a:pos x="connsiteX44313" y="connsiteY44313"/>
              </a:cxn>
              <a:cxn ang="0">
                <a:pos x="connsiteX44314" y="connsiteY44314"/>
              </a:cxn>
              <a:cxn ang="0">
                <a:pos x="connsiteX44315" y="connsiteY44315"/>
              </a:cxn>
              <a:cxn ang="0">
                <a:pos x="connsiteX44316" y="connsiteY44316"/>
              </a:cxn>
              <a:cxn ang="0">
                <a:pos x="connsiteX44317" y="connsiteY44317"/>
              </a:cxn>
              <a:cxn ang="0">
                <a:pos x="connsiteX44318" y="connsiteY44318"/>
              </a:cxn>
              <a:cxn ang="0">
                <a:pos x="connsiteX44319" y="connsiteY44319"/>
              </a:cxn>
              <a:cxn ang="0">
                <a:pos x="connsiteX44320" y="connsiteY44320"/>
              </a:cxn>
              <a:cxn ang="0">
                <a:pos x="connsiteX44321" y="connsiteY44321"/>
              </a:cxn>
              <a:cxn ang="0">
                <a:pos x="connsiteX44322" y="connsiteY44322"/>
              </a:cxn>
              <a:cxn ang="0">
                <a:pos x="connsiteX44323" y="connsiteY44323"/>
              </a:cxn>
              <a:cxn ang="0">
                <a:pos x="connsiteX44324" y="connsiteY44324"/>
              </a:cxn>
              <a:cxn ang="0">
                <a:pos x="connsiteX44325" y="connsiteY44325"/>
              </a:cxn>
              <a:cxn ang="0">
                <a:pos x="connsiteX44326" y="connsiteY44326"/>
              </a:cxn>
              <a:cxn ang="0">
                <a:pos x="connsiteX44327" y="connsiteY44327"/>
              </a:cxn>
              <a:cxn ang="0">
                <a:pos x="connsiteX44328" y="connsiteY44328"/>
              </a:cxn>
              <a:cxn ang="0">
                <a:pos x="connsiteX44329" y="connsiteY44329"/>
              </a:cxn>
              <a:cxn ang="0">
                <a:pos x="connsiteX44330" y="connsiteY44330"/>
              </a:cxn>
              <a:cxn ang="0">
                <a:pos x="connsiteX44331" y="connsiteY44331"/>
              </a:cxn>
              <a:cxn ang="0">
                <a:pos x="connsiteX44332" y="connsiteY44332"/>
              </a:cxn>
              <a:cxn ang="0">
                <a:pos x="connsiteX44333" y="connsiteY44333"/>
              </a:cxn>
              <a:cxn ang="0">
                <a:pos x="connsiteX44334" y="connsiteY44334"/>
              </a:cxn>
              <a:cxn ang="0">
                <a:pos x="connsiteX44335" y="connsiteY44335"/>
              </a:cxn>
              <a:cxn ang="0">
                <a:pos x="connsiteX44336" y="connsiteY44336"/>
              </a:cxn>
              <a:cxn ang="0">
                <a:pos x="connsiteX44337" y="connsiteY44337"/>
              </a:cxn>
              <a:cxn ang="0">
                <a:pos x="connsiteX44338" y="connsiteY44338"/>
              </a:cxn>
              <a:cxn ang="0">
                <a:pos x="connsiteX44339" y="connsiteY44339"/>
              </a:cxn>
              <a:cxn ang="0">
                <a:pos x="connsiteX44340" y="connsiteY44340"/>
              </a:cxn>
              <a:cxn ang="0">
                <a:pos x="connsiteX44341" y="connsiteY44341"/>
              </a:cxn>
              <a:cxn ang="0">
                <a:pos x="connsiteX44342" y="connsiteY44342"/>
              </a:cxn>
              <a:cxn ang="0">
                <a:pos x="connsiteX44343" y="connsiteY44343"/>
              </a:cxn>
              <a:cxn ang="0">
                <a:pos x="connsiteX44344" y="connsiteY44344"/>
              </a:cxn>
              <a:cxn ang="0">
                <a:pos x="connsiteX44345" y="connsiteY44345"/>
              </a:cxn>
              <a:cxn ang="0">
                <a:pos x="connsiteX44346" y="connsiteY44346"/>
              </a:cxn>
              <a:cxn ang="0">
                <a:pos x="connsiteX44347" y="connsiteY44347"/>
              </a:cxn>
              <a:cxn ang="0">
                <a:pos x="connsiteX44348" y="connsiteY44348"/>
              </a:cxn>
              <a:cxn ang="0">
                <a:pos x="connsiteX44349" y="connsiteY44349"/>
              </a:cxn>
              <a:cxn ang="0">
                <a:pos x="connsiteX44350" y="connsiteY44350"/>
              </a:cxn>
              <a:cxn ang="0">
                <a:pos x="connsiteX44351" y="connsiteY44351"/>
              </a:cxn>
              <a:cxn ang="0">
                <a:pos x="connsiteX44352" y="connsiteY44352"/>
              </a:cxn>
              <a:cxn ang="0">
                <a:pos x="connsiteX44353" y="connsiteY44353"/>
              </a:cxn>
              <a:cxn ang="0">
                <a:pos x="connsiteX44354" y="connsiteY44354"/>
              </a:cxn>
              <a:cxn ang="0">
                <a:pos x="connsiteX44355" y="connsiteY44355"/>
              </a:cxn>
              <a:cxn ang="0">
                <a:pos x="connsiteX44356" y="connsiteY44356"/>
              </a:cxn>
              <a:cxn ang="0">
                <a:pos x="connsiteX44357" y="connsiteY44357"/>
              </a:cxn>
              <a:cxn ang="0">
                <a:pos x="connsiteX44358" y="connsiteY44358"/>
              </a:cxn>
              <a:cxn ang="0">
                <a:pos x="connsiteX44359" y="connsiteY44359"/>
              </a:cxn>
              <a:cxn ang="0">
                <a:pos x="connsiteX44360" y="connsiteY44360"/>
              </a:cxn>
              <a:cxn ang="0">
                <a:pos x="connsiteX44361" y="connsiteY44361"/>
              </a:cxn>
              <a:cxn ang="0">
                <a:pos x="connsiteX44362" y="connsiteY44362"/>
              </a:cxn>
              <a:cxn ang="0">
                <a:pos x="connsiteX44363" y="connsiteY44363"/>
              </a:cxn>
              <a:cxn ang="0">
                <a:pos x="connsiteX44364" y="connsiteY44364"/>
              </a:cxn>
              <a:cxn ang="0">
                <a:pos x="connsiteX44365" y="connsiteY44365"/>
              </a:cxn>
              <a:cxn ang="0">
                <a:pos x="connsiteX44366" y="connsiteY44366"/>
              </a:cxn>
              <a:cxn ang="0">
                <a:pos x="connsiteX44367" y="connsiteY44367"/>
              </a:cxn>
              <a:cxn ang="0">
                <a:pos x="connsiteX44368" y="connsiteY44368"/>
              </a:cxn>
              <a:cxn ang="0">
                <a:pos x="connsiteX44369" y="connsiteY44369"/>
              </a:cxn>
              <a:cxn ang="0">
                <a:pos x="connsiteX44370" y="connsiteY44370"/>
              </a:cxn>
              <a:cxn ang="0">
                <a:pos x="connsiteX44371" y="connsiteY44371"/>
              </a:cxn>
              <a:cxn ang="0">
                <a:pos x="connsiteX44372" y="connsiteY44372"/>
              </a:cxn>
              <a:cxn ang="0">
                <a:pos x="connsiteX44373" y="connsiteY44373"/>
              </a:cxn>
              <a:cxn ang="0">
                <a:pos x="connsiteX44374" y="connsiteY44374"/>
              </a:cxn>
              <a:cxn ang="0">
                <a:pos x="connsiteX44375" y="connsiteY44375"/>
              </a:cxn>
              <a:cxn ang="0">
                <a:pos x="connsiteX44376" y="connsiteY44376"/>
              </a:cxn>
              <a:cxn ang="0">
                <a:pos x="connsiteX44377" y="connsiteY44377"/>
              </a:cxn>
              <a:cxn ang="0">
                <a:pos x="connsiteX44378" y="connsiteY44378"/>
              </a:cxn>
              <a:cxn ang="0">
                <a:pos x="connsiteX44379" y="connsiteY44379"/>
              </a:cxn>
              <a:cxn ang="0">
                <a:pos x="connsiteX44380" y="connsiteY44380"/>
              </a:cxn>
              <a:cxn ang="0">
                <a:pos x="connsiteX44381" y="connsiteY44381"/>
              </a:cxn>
              <a:cxn ang="0">
                <a:pos x="connsiteX44382" y="connsiteY44382"/>
              </a:cxn>
              <a:cxn ang="0">
                <a:pos x="connsiteX44383" y="connsiteY44383"/>
              </a:cxn>
              <a:cxn ang="0">
                <a:pos x="connsiteX44384" y="connsiteY44384"/>
              </a:cxn>
              <a:cxn ang="0">
                <a:pos x="connsiteX44385" y="connsiteY44385"/>
              </a:cxn>
              <a:cxn ang="0">
                <a:pos x="connsiteX44386" y="connsiteY44386"/>
              </a:cxn>
              <a:cxn ang="0">
                <a:pos x="connsiteX44387" y="connsiteY44387"/>
              </a:cxn>
              <a:cxn ang="0">
                <a:pos x="connsiteX44388" y="connsiteY44388"/>
              </a:cxn>
              <a:cxn ang="0">
                <a:pos x="connsiteX44389" y="connsiteY44389"/>
              </a:cxn>
              <a:cxn ang="0">
                <a:pos x="connsiteX44390" y="connsiteY44390"/>
              </a:cxn>
              <a:cxn ang="0">
                <a:pos x="connsiteX44391" y="connsiteY44391"/>
              </a:cxn>
              <a:cxn ang="0">
                <a:pos x="connsiteX44392" y="connsiteY44392"/>
              </a:cxn>
              <a:cxn ang="0">
                <a:pos x="connsiteX44393" y="connsiteY44393"/>
              </a:cxn>
              <a:cxn ang="0">
                <a:pos x="connsiteX44394" y="connsiteY44394"/>
              </a:cxn>
              <a:cxn ang="0">
                <a:pos x="connsiteX44395" y="connsiteY44395"/>
              </a:cxn>
              <a:cxn ang="0">
                <a:pos x="connsiteX44396" y="connsiteY44396"/>
              </a:cxn>
              <a:cxn ang="0">
                <a:pos x="connsiteX44397" y="connsiteY44397"/>
              </a:cxn>
              <a:cxn ang="0">
                <a:pos x="connsiteX44398" y="connsiteY44398"/>
              </a:cxn>
              <a:cxn ang="0">
                <a:pos x="connsiteX44399" y="connsiteY44399"/>
              </a:cxn>
              <a:cxn ang="0">
                <a:pos x="connsiteX44400" y="connsiteY44400"/>
              </a:cxn>
              <a:cxn ang="0">
                <a:pos x="connsiteX44401" y="connsiteY44401"/>
              </a:cxn>
              <a:cxn ang="0">
                <a:pos x="connsiteX44402" y="connsiteY44402"/>
              </a:cxn>
              <a:cxn ang="0">
                <a:pos x="connsiteX44403" y="connsiteY44403"/>
              </a:cxn>
              <a:cxn ang="0">
                <a:pos x="connsiteX44404" y="connsiteY44404"/>
              </a:cxn>
              <a:cxn ang="0">
                <a:pos x="connsiteX44405" y="connsiteY44405"/>
              </a:cxn>
              <a:cxn ang="0">
                <a:pos x="connsiteX44406" y="connsiteY44406"/>
              </a:cxn>
              <a:cxn ang="0">
                <a:pos x="connsiteX44407" y="connsiteY44407"/>
              </a:cxn>
              <a:cxn ang="0">
                <a:pos x="connsiteX44408" y="connsiteY44408"/>
              </a:cxn>
              <a:cxn ang="0">
                <a:pos x="connsiteX44409" y="connsiteY44409"/>
              </a:cxn>
              <a:cxn ang="0">
                <a:pos x="connsiteX44410" y="connsiteY44410"/>
              </a:cxn>
              <a:cxn ang="0">
                <a:pos x="connsiteX44411" y="connsiteY44411"/>
              </a:cxn>
              <a:cxn ang="0">
                <a:pos x="connsiteX44412" y="connsiteY44412"/>
              </a:cxn>
              <a:cxn ang="0">
                <a:pos x="connsiteX44413" y="connsiteY44413"/>
              </a:cxn>
              <a:cxn ang="0">
                <a:pos x="connsiteX44414" y="connsiteY44414"/>
              </a:cxn>
              <a:cxn ang="0">
                <a:pos x="connsiteX44415" y="connsiteY44415"/>
              </a:cxn>
              <a:cxn ang="0">
                <a:pos x="connsiteX44416" y="connsiteY44416"/>
              </a:cxn>
              <a:cxn ang="0">
                <a:pos x="connsiteX44417" y="connsiteY44417"/>
              </a:cxn>
              <a:cxn ang="0">
                <a:pos x="connsiteX44418" y="connsiteY44418"/>
              </a:cxn>
              <a:cxn ang="0">
                <a:pos x="connsiteX44419" y="connsiteY44419"/>
              </a:cxn>
              <a:cxn ang="0">
                <a:pos x="connsiteX44420" y="connsiteY44420"/>
              </a:cxn>
              <a:cxn ang="0">
                <a:pos x="connsiteX44421" y="connsiteY44421"/>
              </a:cxn>
              <a:cxn ang="0">
                <a:pos x="connsiteX44422" y="connsiteY44422"/>
              </a:cxn>
              <a:cxn ang="0">
                <a:pos x="connsiteX44423" y="connsiteY44423"/>
              </a:cxn>
              <a:cxn ang="0">
                <a:pos x="connsiteX44424" y="connsiteY44424"/>
              </a:cxn>
              <a:cxn ang="0">
                <a:pos x="connsiteX44425" y="connsiteY44425"/>
              </a:cxn>
              <a:cxn ang="0">
                <a:pos x="connsiteX44426" y="connsiteY44426"/>
              </a:cxn>
              <a:cxn ang="0">
                <a:pos x="connsiteX44427" y="connsiteY44427"/>
              </a:cxn>
              <a:cxn ang="0">
                <a:pos x="connsiteX44428" y="connsiteY44428"/>
              </a:cxn>
              <a:cxn ang="0">
                <a:pos x="connsiteX44429" y="connsiteY44429"/>
              </a:cxn>
              <a:cxn ang="0">
                <a:pos x="connsiteX44430" y="connsiteY44430"/>
              </a:cxn>
              <a:cxn ang="0">
                <a:pos x="connsiteX44431" y="connsiteY44431"/>
              </a:cxn>
              <a:cxn ang="0">
                <a:pos x="connsiteX44432" y="connsiteY44432"/>
              </a:cxn>
              <a:cxn ang="0">
                <a:pos x="connsiteX44433" y="connsiteY44433"/>
              </a:cxn>
              <a:cxn ang="0">
                <a:pos x="connsiteX44434" y="connsiteY44434"/>
              </a:cxn>
              <a:cxn ang="0">
                <a:pos x="connsiteX44435" y="connsiteY44435"/>
              </a:cxn>
              <a:cxn ang="0">
                <a:pos x="connsiteX44436" y="connsiteY44436"/>
              </a:cxn>
              <a:cxn ang="0">
                <a:pos x="connsiteX44437" y="connsiteY44437"/>
              </a:cxn>
              <a:cxn ang="0">
                <a:pos x="connsiteX44438" y="connsiteY44438"/>
              </a:cxn>
              <a:cxn ang="0">
                <a:pos x="connsiteX44439" y="connsiteY44439"/>
              </a:cxn>
              <a:cxn ang="0">
                <a:pos x="connsiteX44440" y="connsiteY44440"/>
              </a:cxn>
              <a:cxn ang="0">
                <a:pos x="connsiteX44441" y="connsiteY44441"/>
              </a:cxn>
              <a:cxn ang="0">
                <a:pos x="connsiteX44442" y="connsiteY44442"/>
              </a:cxn>
              <a:cxn ang="0">
                <a:pos x="connsiteX44443" y="connsiteY44443"/>
              </a:cxn>
              <a:cxn ang="0">
                <a:pos x="connsiteX44444" y="connsiteY44444"/>
              </a:cxn>
              <a:cxn ang="0">
                <a:pos x="connsiteX44445" y="connsiteY44445"/>
              </a:cxn>
              <a:cxn ang="0">
                <a:pos x="connsiteX44446" y="connsiteY44446"/>
              </a:cxn>
              <a:cxn ang="0">
                <a:pos x="connsiteX44447" y="connsiteY44447"/>
              </a:cxn>
              <a:cxn ang="0">
                <a:pos x="connsiteX44448" y="connsiteY44448"/>
              </a:cxn>
              <a:cxn ang="0">
                <a:pos x="connsiteX44449" y="connsiteY44449"/>
              </a:cxn>
              <a:cxn ang="0">
                <a:pos x="connsiteX44450" y="connsiteY44450"/>
              </a:cxn>
              <a:cxn ang="0">
                <a:pos x="connsiteX44451" y="connsiteY44451"/>
              </a:cxn>
              <a:cxn ang="0">
                <a:pos x="connsiteX44452" y="connsiteY44452"/>
              </a:cxn>
              <a:cxn ang="0">
                <a:pos x="connsiteX44453" y="connsiteY44453"/>
              </a:cxn>
              <a:cxn ang="0">
                <a:pos x="connsiteX44454" y="connsiteY44454"/>
              </a:cxn>
              <a:cxn ang="0">
                <a:pos x="connsiteX44455" y="connsiteY44455"/>
              </a:cxn>
              <a:cxn ang="0">
                <a:pos x="connsiteX44456" y="connsiteY44456"/>
              </a:cxn>
              <a:cxn ang="0">
                <a:pos x="connsiteX44457" y="connsiteY44457"/>
              </a:cxn>
              <a:cxn ang="0">
                <a:pos x="connsiteX44458" y="connsiteY44458"/>
              </a:cxn>
              <a:cxn ang="0">
                <a:pos x="connsiteX44459" y="connsiteY44459"/>
              </a:cxn>
              <a:cxn ang="0">
                <a:pos x="connsiteX44460" y="connsiteY44460"/>
              </a:cxn>
              <a:cxn ang="0">
                <a:pos x="connsiteX44461" y="connsiteY44461"/>
              </a:cxn>
              <a:cxn ang="0">
                <a:pos x="connsiteX44462" y="connsiteY44462"/>
              </a:cxn>
              <a:cxn ang="0">
                <a:pos x="connsiteX44463" y="connsiteY44463"/>
              </a:cxn>
              <a:cxn ang="0">
                <a:pos x="connsiteX44464" y="connsiteY44464"/>
              </a:cxn>
              <a:cxn ang="0">
                <a:pos x="connsiteX44465" y="connsiteY44465"/>
              </a:cxn>
              <a:cxn ang="0">
                <a:pos x="connsiteX44466" y="connsiteY44466"/>
              </a:cxn>
              <a:cxn ang="0">
                <a:pos x="connsiteX44467" y="connsiteY44467"/>
              </a:cxn>
              <a:cxn ang="0">
                <a:pos x="connsiteX44468" y="connsiteY44468"/>
              </a:cxn>
              <a:cxn ang="0">
                <a:pos x="connsiteX44469" y="connsiteY44469"/>
              </a:cxn>
              <a:cxn ang="0">
                <a:pos x="connsiteX44470" y="connsiteY44470"/>
              </a:cxn>
              <a:cxn ang="0">
                <a:pos x="connsiteX44471" y="connsiteY44471"/>
              </a:cxn>
              <a:cxn ang="0">
                <a:pos x="connsiteX44472" y="connsiteY44472"/>
              </a:cxn>
              <a:cxn ang="0">
                <a:pos x="connsiteX44473" y="connsiteY44473"/>
              </a:cxn>
              <a:cxn ang="0">
                <a:pos x="connsiteX44474" y="connsiteY44474"/>
              </a:cxn>
              <a:cxn ang="0">
                <a:pos x="connsiteX44475" y="connsiteY44475"/>
              </a:cxn>
              <a:cxn ang="0">
                <a:pos x="connsiteX44476" y="connsiteY44476"/>
              </a:cxn>
              <a:cxn ang="0">
                <a:pos x="connsiteX44477" y="connsiteY44477"/>
              </a:cxn>
              <a:cxn ang="0">
                <a:pos x="connsiteX44478" y="connsiteY44478"/>
              </a:cxn>
              <a:cxn ang="0">
                <a:pos x="connsiteX44479" y="connsiteY44479"/>
              </a:cxn>
              <a:cxn ang="0">
                <a:pos x="connsiteX44480" y="connsiteY44480"/>
              </a:cxn>
              <a:cxn ang="0">
                <a:pos x="connsiteX44481" y="connsiteY44481"/>
              </a:cxn>
              <a:cxn ang="0">
                <a:pos x="connsiteX44482" y="connsiteY44482"/>
              </a:cxn>
              <a:cxn ang="0">
                <a:pos x="connsiteX44483" y="connsiteY44483"/>
              </a:cxn>
              <a:cxn ang="0">
                <a:pos x="connsiteX44484" y="connsiteY44484"/>
              </a:cxn>
              <a:cxn ang="0">
                <a:pos x="connsiteX44485" y="connsiteY44485"/>
              </a:cxn>
              <a:cxn ang="0">
                <a:pos x="connsiteX44486" y="connsiteY44486"/>
              </a:cxn>
              <a:cxn ang="0">
                <a:pos x="connsiteX44487" y="connsiteY44487"/>
              </a:cxn>
              <a:cxn ang="0">
                <a:pos x="connsiteX44488" y="connsiteY44488"/>
              </a:cxn>
              <a:cxn ang="0">
                <a:pos x="connsiteX44489" y="connsiteY44489"/>
              </a:cxn>
              <a:cxn ang="0">
                <a:pos x="connsiteX44490" y="connsiteY44490"/>
              </a:cxn>
              <a:cxn ang="0">
                <a:pos x="connsiteX44491" y="connsiteY44491"/>
              </a:cxn>
              <a:cxn ang="0">
                <a:pos x="connsiteX44492" y="connsiteY44492"/>
              </a:cxn>
              <a:cxn ang="0">
                <a:pos x="connsiteX44493" y="connsiteY44493"/>
              </a:cxn>
              <a:cxn ang="0">
                <a:pos x="connsiteX44494" y="connsiteY44494"/>
              </a:cxn>
              <a:cxn ang="0">
                <a:pos x="connsiteX44495" y="connsiteY44495"/>
              </a:cxn>
              <a:cxn ang="0">
                <a:pos x="connsiteX44496" y="connsiteY44496"/>
              </a:cxn>
              <a:cxn ang="0">
                <a:pos x="connsiteX44497" y="connsiteY44497"/>
              </a:cxn>
              <a:cxn ang="0">
                <a:pos x="connsiteX44498" y="connsiteY44498"/>
              </a:cxn>
              <a:cxn ang="0">
                <a:pos x="connsiteX44499" y="connsiteY44499"/>
              </a:cxn>
              <a:cxn ang="0">
                <a:pos x="connsiteX44500" y="connsiteY44500"/>
              </a:cxn>
              <a:cxn ang="0">
                <a:pos x="connsiteX44501" y="connsiteY44501"/>
              </a:cxn>
              <a:cxn ang="0">
                <a:pos x="connsiteX44502" y="connsiteY44502"/>
              </a:cxn>
              <a:cxn ang="0">
                <a:pos x="connsiteX44503" y="connsiteY44503"/>
              </a:cxn>
              <a:cxn ang="0">
                <a:pos x="connsiteX44504" y="connsiteY44504"/>
              </a:cxn>
              <a:cxn ang="0">
                <a:pos x="connsiteX44505" y="connsiteY44505"/>
              </a:cxn>
              <a:cxn ang="0">
                <a:pos x="connsiteX44506" y="connsiteY44506"/>
              </a:cxn>
              <a:cxn ang="0">
                <a:pos x="connsiteX44507" y="connsiteY44507"/>
              </a:cxn>
              <a:cxn ang="0">
                <a:pos x="connsiteX44508" y="connsiteY44508"/>
              </a:cxn>
              <a:cxn ang="0">
                <a:pos x="connsiteX44509" y="connsiteY44509"/>
              </a:cxn>
              <a:cxn ang="0">
                <a:pos x="connsiteX44510" y="connsiteY44510"/>
              </a:cxn>
              <a:cxn ang="0">
                <a:pos x="connsiteX44511" y="connsiteY44511"/>
              </a:cxn>
              <a:cxn ang="0">
                <a:pos x="connsiteX44512" y="connsiteY44512"/>
              </a:cxn>
              <a:cxn ang="0">
                <a:pos x="connsiteX44513" y="connsiteY44513"/>
              </a:cxn>
              <a:cxn ang="0">
                <a:pos x="connsiteX44514" y="connsiteY44514"/>
              </a:cxn>
              <a:cxn ang="0">
                <a:pos x="connsiteX44515" y="connsiteY44515"/>
              </a:cxn>
              <a:cxn ang="0">
                <a:pos x="connsiteX44516" y="connsiteY44516"/>
              </a:cxn>
              <a:cxn ang="0">
                <a:pos x="connsiteX44517" y="connsiteY44517"/>
              </a:cxn>
              <a:cxn ang="0">
                <a:pos x="connsiteX44518" y="connsiteY44518"/>
              </a:cxn>
              <a:cxn ang="0">
                <a:pos x="connsiteX44519" y="connsiteY44519"/>
              </a:cxn>
              <a:cxn ang="0">
                <a:pos x="connsiteX44520" y="connsiteY44520"/>
              </a:cxn>
              <a:cxn ang="0">
                <a:pos x="connsiteX44521" y="connsiteY44521"/>
              </a:cxn>
              <a:cxn ang="0">
                <a:pos x="connsiteX44522" y="connsiteY44522"/>
              </a:cxn>
              <a:cxn ang="0">
                <a:pos x="connsiteX44523" y="connsiteY44523"/>
              </a:cxn>
              <a:cxn ang="0">
                <a:pos x="connsiteX44524" y="connsiteY44524"/>
              </a:cxn>
              <a:cxn ang="0">
                <a:pos x="connsiteX44525" y="connsiteY44525"/>
              </a:cxn>
              <a:cxn ang="0">
                <a:pos x="connsiteX44526" y="connsiteY44526"/>
              </a:cxn>
              <a:cxn ang="0">
                <a:pos x="connsiteX44527" y="connsiteY44527"/>
              </a:cxn>
              <a:cxn ang="0">
                <a:pos x="connsiteX44528" y="connsiteY44528"/>
              </a:cxn>
              <a:cxn ang="0">
                <a:pos x="connsiteX44529" y="connsiteY44529"/>
              </a:cxn>
              <a:cxn ang="0">
                <a:pos x="connsiteX44530" y="connsiteY44530"/>
              </a:cxn>
              <a:cxn ang="0">
                <a:pos x="connsiteX44531" y="connsiteY44531"/>
              </a:cxn>
              <a:cxn ang="0">
                <a:pos x="connsiteX44532" y="connsiteY44532"/>
              </a:cxn>
              <a:cxn ang="0">
                <a:pos x="connsiteX44533" y="connsiteY44533"/>
              </a:cxn>
              <a:cxn ang="0">
                <a:pos x="connsiteX44534" y="connsiteY44534"/>
              </a:cxn>
              <a:cxn ang="0">
                <a:pos x="connsiteX44535" y="connsiteY44535"/>
              </a:cxn>
              <a:cxn ang="0">
                <a:pos x="connsiteX44536" y="connsiteY44536"/>
              </a:cxn>
              <a:cxn ang="0">
                <a:pos x="connsiteX44537" y="connsiteY44537"/>
              </a:cxn>
              <a:cxn ang="0">
                <a:pos x="connsiteX44538" y="connsiteY44538"/>
              </a:cxn>
              <a:cxn ang="0">
                <a:pos x="connsiteX44539" y="connsiteY44539"/>
              </a:cxn>
              <a:cxn ang="0">
                <a:pos x="connsiteX44540" y="connsiteY44540"/>
              </a:cxn>
              <a:cxn ang="0">
                <a:pos x="connsiteX44541" y="connsiteY44541"/>
              </a:cxn>
              <a:cxn ang="0">
                <a:pos x="connsiteX44542" y="connsiteY44542"/>
              </a:cxn>
              <a:cxn ang="0">
                <a:pos x="connsiteX44543" y="connsiteY44543"/>
              </a:cxn>
              <a:cxn ang="0">
                <a:pos x="connsiteX44544" y="connsiteY44544"/>
              </a:cxn>
              <a:cxn ang="0">
                <a:pos x="connsiteX44545" y="connsiteY44545"/>
              </a:cxn>
              <a:cxn ang="0">
                <a:pos x="connsiteX44546" y="connsiteY44546"/>
              </a:cxn>
              <a:cxn ang="0">
                <a:pos x="connsiteX44547" y="connsiteY44547"/>
              </a:cxn>
              <a:cxn ang="0">
                <a:pos x="connsiteX44548" y="connsiteY44548"/>
              </a:cxn>
              <a:cxn ang="0">
                <a:pos x="connsiteX44549" y="connsiteY44549"/>
              </a:cxn>
              <a:cxn ang="0">
                <a:pos x="connsiteX44550" y="connsiteY44550"/>
              </a:cxn>
              <a:cxn ang="0">
                <a:pos x="connsiteX44551" y="connsiteY44551"/>
              </a:cxn>
              <a:cxn ang="0">
                <a:pos x="connsiteX44552" y="connsiteY44552"/>
              </a:cxn>
              <a:cxn ang="0">
                <a:pos x="connsiteX44553" y="connsiteY44553"/>
              </a:cxn>
              <a:cxn ang="0">
                <a:pos x="connsiteX44554" y="connsiteY44554"/>
              </a:cxn>
              <a:cxn ang="0">
                <a:pos x="connsiteX44555" y="connsiteY44555"/>
              </a:cxn>
              <a:cxn ang="0">
                <a:pos x="connsiteX44556" y="connsiteY44556"/>
              </a:cxn>
              <a:cxn ang="0">
                <a:pos x="connsiteX44557" y="connsiteY44557"/>
              </a:cxn>
              <a:cxn ang="0">
                <a:pos x="connsiteX44558" y="connsiteY44558"/>
              </a:cxn>
              <a:cxn ang="0">
                <a:pos x="connsiteX44559" y="connsiteY44559"/>
              </a:cxn>
              <a:cxn ang="0">
                <a:pos x="connsiteX44560" y="connsiteY44560"/>
              </a:cxn>
              <a:cxn ang="0">
                <a:pos x="connsiteX44561" y="connsiteY44561"/>
              </a:cxn>
              <a:cxn ang="0">
                <a:pos x="connsiteX44562" y="connsiteY44562"/>
              </a:cxn>
              <a:cxn ang="0">
                <a:pos x="connsiteX44563" y="connsiteY44563"/>
              </a:cxn>
              <a:cxn ang="0">
                <a:pos x="connsiteX44564" y="connsiteY44564"/>
              </a:cxn>
              <a:cxn ang="0">
                <a:pos x="connsiteX44565" y="connsiteY44565"/>
              </a:cxn>
              <a:cxn ang="0">
                <a:pos x="connsiteX44566" y="connsiteY44566"/>
              </a:cxn>
              <a:cxn ang="0">
                <a:pos x="connsiteX44567" y="connsiteY44567"/>
              </a:cxn>
              <a:cxn ang="0">
                <a:pos x="connsiteX44568" y="connsiteY44568"/>
              </a:cxn>
              <a:cxn ang="0">
                <a:pos x="connsiteX44569" y="connsiteY44569"/>
              </a:cxn>
              <a:cxn ang="0">
                <a:pos x="connsiteX44570" y="connsiteY44570"/>
              </a:cxn>
              <a:cxn ang="0">
                <a:pos x="connsiteX44571" y="connsiteY44571"/>
              </a:cxn>
              <a:cxn ang="0">
                <a:pos x="connsiteX44572" y="connsiteY44572"/>
              </a:cxn>
              <a:cxn ang="0">
                <a:pos x="connsiteX44573" y="connsiteY44573"/>
              </a:cxn>
              <a:cxn ang="0">
                <a:pos x="connsiteX44574" y="connsiteY44574"/>
              </a:cxn>
              <a:cxn ang="0">
                <a:pos x="connsiteX44575" y="connsiteY44575"/>
              </a:cxn>
              <a:cxn ang="0">
                <a:pos x="connsiteX44576" y="connsiteY44576"/>
              </a:cxn>
              <a:cxn ang="0">
                <a:pos x="connsiteX44577" y="connsiteY44577"/>
              </a:cxn>
              <a:cxn ang="0">
                <a:pos x="connsiteX44578" y="connsiteY44578"/>
              </a:cxn>
              <a:cxn ang="0">
                <a:pos x="connsiteX44579" y="connsiteY44579"/>
              </a:cxn>
              <a:cxn ang="0">
                <a:pos x="connsiteX44580" y="connsiteY44580"/>
              </a:cxn>
              <a:cxn ang="0">
                <a:pos x="connsiteX44581" y="connsiteY44581"/>
              </a:cxn>
              <a:cxn ang="0">
                <a:pos x="connsiteX44582" y="connsiteY44582"/>
              </a:cxn>
              <a:cxn ang="0">
                <a:pos x="connsiteX44583" y="connsiteY44583"/>
              </a:cxn>
              <a:cxn ang="0">
                <a:pos x="connsiteX44584" y="connsiteY44584"/>
              </a:cxn>
              <a:cxn ang="0">
                <a:pos x="connsiteX44585" y="connsiteY44585"/>
              </a:cxn>
              <a:cxn ang="0">
                <a:pos x="connsiteX44586" y="connsiteY44586"/>
              </a:cxn>
              <a:cxn ang="0">
                <a:pos x="connsiteX44587" y="connsiteY44587"/>
              </a:cxn>
              <a:cxn ang="0">
                <a:pos x="connsiteX44588" y="connsiteY44588"/>
              </a:cxn>
              <a:cxn ang="0">
                <a:pos x="connsiteX44589" y="connsiteY44589"/>
              </a:cxn>
            </a:cxnLst>
            <a:rect l="l" t="t" r="r" b="b"/>
            <a:pathLst>
              <a:path w="10505529" h="7458372">
                <a:moveTo>
                  <a:pt x="10475977" y="7415641"/>
                </a:moveTo>
                <a:cubicBezTo>
                  <a:pt x="10470119" y="7415641"/>
                  <a:pt x="10467589" y="7417505"/>
                  <a:pt x="10465992" y="7419236"/>
                </a:cubicBezTo>
                <a:cubicBezTo>
                  <a:pt x="10463463" y="7421898"/>
                  <a:pt x="10462399" y="7424694"/>
                  <a:pt x="10462399" y="7428687"/>
                </a:cubicBezTo>
                <a:cubicBezTo>
                  <a:pt x="10462399" y="7432814"/>
                  <a:pt x="10463463" y="7435609"/>
                  <a:pt x="10465992" y="7438138"/>
                </a:cubicBezTo>
                <a:cubicBezTo>
                  <a:pt x="10467589" y="7439869"/>
                  <a:pt x="10470119" y="7441732"/>
                  <a:pt x="10475977" y="7441732"/>
                </a:cubicBezTo>
                <a:cubicBezTo>
                  <a:pt x="10478107" y="7441732"/>
                  <a:pt x="10479838" y="7441333"/>
                  <a:pt x="10481302" y="7440535"/>
                </a:cubicBezTo>
                <a:cubicBezTo>
                  <a:pt x="10482899" y="7440002"/>
                  <a:pt x="10484098" y="7439203"/>
                  <a:pt x="10485029" y="7438138"/>
                </a:cubicBezTo>
                <a:cubicBezTo>
                  <a:pt x="10486094" y="7437074"/>
                  <a:pt x="10487026" y="7435742"/>
                  <a:pt x="10487691" y="7434011"/>
                </a:cubicBezTo>
                <a:cubicBezTo>
                  <a:pt x="10488357" y="7432414"/>
                  <a:pt x="10488623" y="7430551"/>
                  <a:pt x="10488623" y="7428554"/>
                </a:cubicBezTo>
                <a:cubicBezTo>
                  <a:pt x="10488623" y="7426690"/>
                  <a:pt x="10488357" y="7424960"/>
                  <a:pt x="10487691" y="7423362"/>
                </a:cubicBezTo>
                <a:cubicBezTo>
                  <a:pt x="10487026" y="7421765"/>
                  <a:pt x="10486094" y="7420434"/>
                  <a:pt x="10485029" y="7419236"/>
                </a:cubicBezTo>
                <a:cubicBezTo>
                  <a:pt x="10483964" y="7418171"/>
                  <a:pt x="10482633" y="7417239"/>
                  <a:pt x="10481035" y="7416573"/>
                </a:cubicBezTo>
                <a:cubicBezTo>
                  <a:pt x="10479571" y="7415908"/>
                  <a:pt x="10477974" y="7415641"/>
                  <a:pt x="10475977" y="7415641"/>
                </a:cubicBezTo>
                <a:close/>
                <a:moveTo>
                  <a:pt x="10258466" y="7415641"/>
                </a:moveTo>
                <a:cubicBezTo>
                  <a:pt x="10252608" y="7415641"/>
                  <a:pt x="10250078" y="7417505"/>
                  <a:pt x="10248481" y="7419236"/>
                </a:cubicBezTo>
                <a:cubicBezTo>
                  <a:pt x="10245952" y="7421898"/>
                  <a:pt x="10244887" y="7424694"/>
                  <a:pt x="10244887" y="7428687"/>
                </a:cubicBezTo>
                <a:cubicBezTo>
                  <a:pt x="10244887" y="7432814"/>
                  <a:pt x="10245952" y="7435609"/>
                  <a:pt x="10248481" y="7438138"/>
                </a:cubicBezTo>
                <a:cubicBezTo>
                  <a:pt x="10250078" y="7439869"/>
                  <a:pt x="10252608" y="7441732"/>
                  <a:pt x="10258466" y="7441732"/>
                </a:cubicBezTo>
                <a:cubicBezTo>
                  <a:pt x="10260462" y="7441732"/>
                  <a:pt x="10262192" y="7441333"/>
                  <a:pt x="10263790" y="7440535"/>
                </a:cubicBezTo>
                <a:cubicBezTo>
                  <a:pt x="10265388" y="7440002"/>
                  <a:pt x="10266586" y="7439203"/>
                  <a:pt x="10267517" y="7438138"/>
                </a:cubicBezTo>
                <a:cubicBezTo>
                  <a:pt x="10268583" y="7437074"/>
                  <a:pt x="10269515" y="7435742"/>
                  <a:pt x="10270180" y="7434011"/>
                </a:cubicBezTo>
                <a:cubicBezTo>
                  <a:pt x="10270845" y="7432414"/>
                  <a:pt x="10271112" y="7430551"/>
                  <a:pt x="10271112" y="7428554"/>
                </a:cubicBezTo>
                <a:cubicBezTo>
                  <a:pt x="10271112" y="7426690"/>
                  <a:pt x="10270845" y="7424960"/>
                  <a:pt x="10270180" y="7423362"/>
                </a:cubicBezTo>
                <a:cubicBezTo>
                  <a:pt x="10269515" y="7421765"/>
                  <a:pt x="10268583" y="7420434"/>
                  <a:pt x="10267517" y="7419236"/>
                </a:cubicBezTo>
                <a:cubicBezTo>
                  <a:pt x="10266452" y="7418171"/>
                  <a:pt x="10265121" y="7417239"/>
                  <a:pt x="10263524" y="7416573"/>
                </a:cubicBezTo>
                <a:cubicBezTo>
                  <a:pt x="10262060" y="7415908"/>
                  <a:pt x="10260462" y="7415641"/>
                  <a:pt x="10258466" y="7415641"/>
                </a:cubicBezTo>
                <a:close/>
                <a:moveTo>
                  <a:pt x="10040820" y="7415641"/>
                </a:moveTo>
                <a:cubicBezTo>
                  <a:pt x="10034962" y="7415641"/>
                  <a:pt x="10032433" y="7417505"/>
                  <a:pt x="10030835" y="7419236"/>
                </a:cubicBezTo>
                <a:cubicBezTo>
                  <a:pt x="10028306" y="7421898"/>
                  <a:pt x="10027242" y="7424694"/>
                  <a:pt x="10027242" y="7428687"/>
                </a:cubicBezTo>
                <a:cubicBezTo>
                  <a:pt x="10027242" y="7432814"/>
                  <a:pt x="10028306" y="7435609"/>
                  <a:pt x="10030835" y="7438138"/>
                </a:cubicBezTo>
                <a:cubicBezTo>
                  <a:pt x="10032433" y="7439869"/>
                  <a:pt x="10034962" y="7441732"/>
                  <a:pt x="10040820" y="7441732"/>
                </a:cubicBezTo>
                <a:cubicBezTo>
                  <a:pt x="10042817" y="7441732"/>
                  <a:pt x="10044681" y="7441333"/>
                  <a:pt x="10046145" y="7440535"/>
                </a:cubicBezTo>
                <a:cubicBezTo>
                  <a:pt x="10047742" y="7440002"/>
                  <a:pt x="10048941" y="7439203"/>
                  <a:pt x="10049872" y="7438138"/>
                </a:cubicBezTo>
                <a:cubicBezTo>
                  <a:pt x="10050937" y="7437074"/>
                  <a:pt x="10051869" y="7435742"/>
                  <a:pt x="10052534" y="7434011"/>
                </a:cubicBezTo>
                <a:cubicBezTo>
                  <a:pt x="10053333" y="7432414"/>
                  <a:pt x="10053599" y="7430551"/>
                  <a:pt x="10053599" y="7428554"/>
                </a:cubicBezTo>
                <a:cubicBezTo>
                  <a:pt x="10053599" y="7426690"/>
                  <a:pt x="10053200" y="7424960"/>
                  <a:pt x="10052534" y="7423362"/>
                </a:cubicBezTo>
                <a:cubicBezTo>
                  <a:pt x="10051869" y="7421765"/>
                  <a:pt x="10050937" y="7420434"/>
                  <a:pt x="10049872" y="7419236"/>
                </a:cubicBezTo>
                <a:cubicBezTo>
                  <a:pt x="10048807" y="7418171"/>
                  <a:pt x="10047476" y="7417239"/>
                  <a:pt x="10045878" y="7416573"/>
                </a:cubicBezTo>
                <a:cubicBezTo>
                  <a:pt x="10044414" y="7415908"/>
                  <a:pt x="10042817" y="7415641"/>
                  <a:pt x="10040820" y="7415641"/>
                </a:cubicBezTo>
                <a:close/>
                <a:moveTo>
                  <a:pt x="9823176" y="7415641"/>
                </a:moveTo>
                <a:cubicBezTo>
                  <a:pt x="9817318" y="7415641"/>
                  <a:pt x="9814788" y="7417505"/>
                  <a:pt x="9813191" y="7419236"/>
                </a:cubicBezTo>
                <a:cubicBezTo>
                  <a:pt x="9810662" y="7421898"/>
                  <a:pt x="9809597" y="7424694"/>
                  <a:pt x="9809597" y="7428687"/>
                </a:cubicBezTo>
                <a:cubicBezTo>
                  <a:pt x="9809597" y="7432814"/>
                  <a:pt x="9810662" y="7435609"/>
                  <a:pt x="9813191" y="7438138"/>
                </a:cubicBezTo>
                <a:cubicBezTo>
                  <a:pt x="9814788" y="7439869"/>
                  <a:pt x="9817318" y="7441732"/>
                  <a:pt x="9823176" y="7441732"/>
                </a:cubicBezTo>
                <a:cubicBezTo>
                  <a:pt x="9825173" y="7441732"/>
                  <a:pt x="9827036" y="7441333"/>
                  <a:pt x="9828501" y="7440535"/>
                </a:cubicBezTo>
                <a:cubicBezTo>
                  <a:pt x="9830098" y="7440002"/>
                  <a:pt x="9831296" y="7439203"/>
                  <a:pt x="9832227" y="7438138"/>
                </a:cubicBezTo>
                <a:cubicBezTo>
                  <a:pt x="9833293" y="7437074"/>
                  <a:pt x="9834225" y="7435742"/>
                  <a:pt x="9834890" y="7434011"/>
                </a:cubicBezTo>
                <a:cubicBezTo>
                  <a:pt x="9835689" y="7432414"/>
                  <a:pt x="9835955" y="7430551"/>
                  <a:pt x="9835955" y="7428554"/>
                </a:cubicBezTo>
                <a:cubicBezTo>
                  <a:pt x="9835955" y="7426690"/>
                  <a:pt x="9835555" y="7424960"/>
                  <a:pt x="9834890" y="7423362"/>
                </a:cubicBezTo>
                <a:cubicBezTo>
                  <a:pt x="9834225" y="7421765"/>
                  <a:pt x="9833293" y="7420434"/>
                  <a:pt x="9832227" y="7419236"/>
                </a:cubicBezTo>
                <a:cubicBezTo>
                  <a:pt x="9831162" y="7418171"/>
                  <a:pt x="9829831" y="7417239"/>
                  <a:pt x="9828234" y="7416573"/>
                </a:cubicBezTo>
                <a:cubicBezTo>
                  <a:pt x="9826770" y="7415908"/>
                  <a:pt x="9825173" y="7415641"/>
                  <a:pt x="9823176" y="7415641"/>
                </a:cubicBezTo>
                <a:close/>
                <a:moveTo>
                  <a:pt x="9605531" y="7415641"/>
                </a:moveTo>
                <a:cubicBezTo>
                  <a:pt x="9599673" y="7415641"/>
                  <a:pt x="9597143" y="7417505"/>
                  <a:pt x="9595546" y="7419236"/>
                </a:cubicBezTo>
                <a:cubicBezTo>
                  <a:pt x="9593017" y="7421898"/>
                  <a:pt x="9591952" y="7424694"/>
                  <a:pt x="9591952" y="7428687"/>
                </a:cubicBezTo>
                <a:cubicBezTo>
                  <a:pt x="9591952" y="7432814"/>
                  <a:pt x="9593017" y="7435609"/>
                  <a:pt x="9595546" y="7438138"/>
                </a:cubicBezTo>
                <a:cubicBezTo>
                  <a:pt x="9597143" y="7439869"/>
                  <a:pt x="9599673" y="7441732"/>
                  <a:pt x="9605531" y="7441732"/>
                </a:cubicBezTo>
                <a:cubicBezTo>
                  <a:pt x="9607660" y="7441732"/>
                  <a:pt x="9609391" y="7441333"/>
                  <a:pt x="9610855" y="7440535"/>
                </a:cubicBezTo>
                <a:cubicBezTo>
                  <a:pt x="9612319" y="7440002"/>
                  <a:pt x="9613651" y="7439203"/>
                  <a:pt x="9614582" y="7438138"/>
                </a:cubicBezTo>
                <a:cubicBezTo>
                  <a:pt x="9615647" y="7437074"/>
                  <a:pt x="9616579" y="7435742"/>
                  <a:pt x="9617245" y="7434011"/>
                </a:cubicBezTo>
                <a:cubicBezTo>
                  <a:pt x="9618044" y="7432414"/>
                  <a:pt x="9618309" y="7430551"/>
                  <a:pt x="9618309" y="7428554"/>
                </a:cubicBezTo>
                <a:cubicBezTo>
                  <a:pt x="9618309" y="7426690"/>
                  <a:pt x="9617910" y="7424960"/>
                  <a:pt x="9617245" y="7423362"/>
                </a:cubicBezTo>
                <a:cubicBezTo>
                  <a:pt x="9616579" y="7421765"/>
                  <a:pt x="9615647" y="7420434"/>
                  <a:pt x="9614582" y="7419236"/>
                </a:cubicBezTo>
                <a:cubicBezTo>
                  <a:pt x="9613517" y="7418171"/>
                  <a:pt x="9612186" y="7417239"/>
                  <a:pt x="9610589" y="7416573"/>
                </a:cubicBezTo>
                <a:cubicBezTo>
                  <a:pt x="9609124" y="7415908"/>
                  <a:pt x="9607394" y="7415641"/>
                  <a:pt x="9605531" y="7415641"/>
                </a:cubicBezTo>
                <a:close/>
                <a:moveTo>
                  <a:pt x="9387885" y="7415641"/>
                </a:moveTo>
                <a:cubicBezTo>
                  <a:pt x="9382027" y="7415641"/>
                  <a:pt x="9379497" y="7417505"/>
                  <a:pt x="9377900" y="7419236"/>
                </a:cubicBezTo>
                <a:cubicBezTo>
                  <a:pt x="9375371" y="7421898"/>
                  <a:pt x="9374307" y="7424694"/>
                  <a:pt x="9374307" y="7428687"/>
                </a:cubicBezTo>
                <a:cubicBezTo>
                  <a:pt x="9374307" y="7432814"/>
                  <a:pt x="9375371" y="7435609"/>
                  <a:pt x="9377900" y="7438138"/>
                </a:cubicBezTo>
                <a:cubicBezTo>
                  <a:pt x="9379497" y="7439869"/>
                  <a:pt x="9382027" y="7441732"/>
                  <a:pt x="9387885" y="7441732"/>
                </a:cubicBezTo>
                <a:cubicBezTo>
                  <a:pt x="9390015" y="7441732"/>
                  <a:pt x="9391746" y="7441333"/>
                  <a:pt x="9393210" y="7440535"/>
                </a:cubicBezTo>
                <a:cubicBezTo>
                  <a:pt x="9394674" y="7440002"/>
                  <a:pt x="9396005" y="7439203"/>
                  <a:pt x="9396937" y="7438138"/>
                </a:cubicBezTo>
                <a:cubicBezTo>
                  <a:pt x="9398002" y="7437074"/>
                  <a:pt x="9398934" y="7435742"/>
                  <a:pt x="9399599" y="7434011"/>
                </a:cubicBezTo>
                <a:cubicBezTo>
                  <a:pt x="9400398" y="7432414"/>
                  <a:pt x="9400664" y="7430551"/>
                  <a:pt x="9400664" y="7428554"/>
                </a:cubicBezTo>
                <a:cubicBezTo>
                  <a:pt x="9400664" y="7426690"/>
                  <a:pt x="9400265" y="7424960"/>
                  <a:pt x="9399599" y="7423362"/>
                </a:cubicBezTo>
                <a:cubicBezTo>
                  <a:pt x="9398934" y="7421765"/>
                  <a:pt x="9398002" y="7420434"/>
                  <a:pt x="9396937" y="7419236"/>
                </a:cubicBezTo>
                <a:cubicBezTo>
                  <a:pt x="9395872" y="7418171"/>
                  <a:pt x="9394541" y="7417239"/>
                  <a:pt x="9392943" y="7416573"/>
                </a:cubicBezTo>
                <a:cubicBezTo>
                  <a:pt x="9391479" y="7415908"/>
                  <a:pt x="9389749" y="7415641"/>
                  <a:pt x="9387885" y="7415641"/>
                </a:cubicBezTo>
                <a:close/>
                <a:moveTo>
                  <a:pt x="9170374" y="7415641"/>
                </a:moveTo>
                <a:cubicBezTo>
                  <a:pt x="9164649" y="7415641"/>
                  <a:pt x="9161986" y="7417505"/>
                  <a:pt x="9160389" y="7419236"/>
                </a:cubicBezTo>
                <a:cubicBezTo>
                  <a:pt x="9157860" y="7421898"/>
                  <a:pt x="9156795" y="7424694"/>
                  <a:pt x="9156795" y="7428687"/>
                </a:cubicBezTo>
                <a:cubicBezTo>
                  <a:pt x="9156795" y="7432814"/>
                  <a:pt x="9157860" y="7435609"/>
                  <a:pt x="9160389" y="7438138"/>
                </a:cubicBezTo>
                <a:cubicBezTo>
                  <a:pt x="9161986" y="7439869"/>
                  <a:pt x="9164516" y="7441732"/>
                  <a:pt x="9170374" y="7441732"/>
                </a:cubicBezTo>
                <a:cubicBezTo>
                  <a:pt x="9172370" y="7441732"/>
                  <a:pt x="9174100" y="7441333"/>
                  <a:pt x="9175698" y="7440535"/>
                </a:cubicBezTo>
                <a:cubicBezTo>
                  <a:pt x="9177163" y="7440002"/>
                  <a:pt x="9178494" y="7439203"/>
                  <a:pt x="9179425" y="7438138"/>
                </a:cubicBezTo>
                <a:cubicBezTo>
                  <a:pt x="9180491" y="7437074"/>
                  <a:pt x="9181422" y="7435742"/>
                  <a:pt x="9182088" y="7434011"/>
                </a:cubicBezTo>
                <a:cubicBezTo>
                  <a:pt x="9182887" y="7432414"/>
                  <a:pt x="9183152" y="7430551"/>
                  <a:pt x="9183152" y="7428554"/>
                </a:cubicBezTo>
                <a:cubicBezTo>
                  <a:pt x="9183152" y="7426690"/>
                  <a:pt x="9182753" y="7424960"/>
                  <a:pt x="9182088" y="7423362"/>
                </a:cubicBezTo>
                <a:cubicBezTo>
                  <a:pt x="9181422" y="7421765"/>
                  <a:pt x="9180491" y="7420434"/>
                  <a:pt x="9179425" y="7419236"/>
                </a:cubicBezTo>
                <a:cubicBezTo>
                  <a:pt x="9178360" y="7418171"/>
                  <a:pt x="9177029" y="7417239"/>
                  <a:pt x="9175432" y="7416573"/>
                </a:cubicBezTo>
                <a:cubicBezTo>
                  <a:pt x="9173967" y="7415908"/>
                  <a:pt x="9172237" y="7415641"/>
                  <a:pt x="9170374" y="7415641"/>
                </a:cubicBezTo>
                <a:close/>
                <a:moveTo>
                  <a:pt x="8952728" y="7415641"/>
                </a:moveTo>
                <a:cubicBezTo>
                  <a:pt x="8947003" y="7415641"/>
                  <a:pt x="8944340" y="7417505"/>
                  <a:pt x="8942743" y="7419236"/>
                </a:cubicBezTo>
                <a:cubicBezTo>
                  <a:pt x="8940214" y="7421898"/>
                  <a:pt x="8939150" y="7424694"/>
                  <a:pt x="8939150" y="7428687"/>
                </a:cubicBezTo>
                <a:cubicBezTo>
                  <a:pt x="8939150" y="7432814"/>
                  <a:pt x="8940214" y="7435609"/>
                  <a:pt x="8942743" y="7438138"/>
                </a:cubicBezTo>
                <a:cubicBezTo>
                  <a:pt x="8944340" y="7439869"/>
                  <a:pt x="8946870" y="7441732"/>
                  <a:pt x="8952728" y="7441732"/>
                </a:cubicBezTo>
                <a:cubicBezTo>
                  <a:pt x="8954725" y="7441732"/>
                  <a:pt x="8956589" y="7441333"/>
                  <a:pt x="8958053" y="7440535"/>
                </a:cubicBezTo>
                <a:cubicBezTo>
                  <a:pt x="8959517" y="7440002"/>
                  <a:pt x="8960849" y="7439203"/>
                  <a:pt x="8961780" y="7438138"/>
                </a:cubicBezTo>
                <a:cubicBezTo>
                  <a:pt x="8962845" y="7437074"/>
                  <a:pt x="8963777" y="7435742"/>
                  <a:pt x="8964442" y="7434011"/>
                </a:cubicBezTo>
                <a:cubicBezTo>
                  <a:pt x="8965241" y="7432414"/>
                  <a:pt x="8965507" y="7430551"/>
                  <a:pt x="8965507" y="7428554"/>
                </a:cubicBezTo>
                <a:cubicBezTo>
                  <a:pt x="8965507" y="7426690"/>
                  <a:pt x="8965108" y="7424960"/>
                  <a:pt x="8964442" y="7423362"/>
                </a:cubicBezTo>
                <a:cubicBezTo>
                  <a:pt x="8963777" y="7421765"/>
                  <a:pt x="8962845" y="7420434"/>
                  <a:pt x="8961780" y="7419236"/>
                </a:cubicBezTo>
                <a:cubicBezTo>
                  <a:pt x="8960715" y="7418171"/>
                  <a:pt x="8959384" y="7417239"/>
                  <a:pt x="8957786" y="7416573"/>
                </a:cubicBezTo>
                <a:cubicBezTo>
                  <a:pt x="8956322" y="7415908"/>
                  <a:pt x="8954592" y="7415641"/>
                  <a:pt x="8952728" y="7415641"/>
                </a:cubicBezTo>
                <a:close/>
                <a:moveTo>
                  <a:pt x="8735083" y="7415641"/>
                </a:moveTo>
                <a:cubicBezTo>
                  <a:pt x="8729358" y="7415641"/>
                  <a:pt x="8726695" y="7417505"/>
                  <a:pt x="8725098" y="7419236"/>
                </a:cubicBezTo>
                <a:cubicBezTo>
                  <a:pt x="8722569" y="7421898"/>
                  <a:pt x="8721504" y="7424694"/>
                  <a:pt x="8721504" y="7428687"/>
                </a:cubicBezTo>
                <a:cubicBezTo>
                  <a:pt x="8721504" y="7432814"/>
                  <a:pt x="8722569" y="7435609"/>
                  <a:pt x="8725098" y="7438138"/>
                </a:cubicBezTo>
                <a:cubicBezTo>
                  <a:pt x="8726695" y="7439869"/>
                  <a:pt x="8729225" y="7441732"/>
                  <a:pt x="8735083" y="7441732"/>
                </a:cubicBezTo>
                <a:cubicBezTo>
                  <a:pt x="8737079" y="7441732"/>
                  <a:pt x="8738943" y="7441333"/>
                  <a:pt x="8740407" y="7440535"/>
                </a:cubicBezTo>
                <a:cubicBezTo>
                  <a:pt x="8741872" y="7440002"/>
                  <a:pt x="8743203" y="7439203"/>
                  <a:pt x="8744134" y="7438138"/>
                </a:cubicBezTo>
                <a:cubicBezTo>
                  <a:pt x="8745200" y="7437074"/>
                  <a:pt x="8746132" y="7435742"/>
                  <a:pt x="8746797" y="7434011"/>
                </a:cubicBezTo>
                <a:cubicBezTo>
                  <a:pt x="8747596" y="7432414"/>
                  <a:pt x="8747862" y="7430551"/>
                  <a:pt x="8747862" y="7428554"/>
                </a:cubicBezTo>
                <a:cubicBezTo>
                  <a:pt x="8747862" y="7426690"/>
                  <a:pt x="8747462" y="7424960"/>
                  <a:pt x="8746797" y="7423362"/>
                </a:cubicBezTo>
                <a:cubicBezTo>
                  <a:pt x="8746132" y="7421765"/>
                  <a:pt x="8745200" y="7420434"/>
                  <a:pt x="8744134" y="7419236"/>
                </a:cubicBezTo>
                <a:cubicBezTo>
                  <a:pt x="8743069" y="7418171"/>
                  <a:pt x="8741738" y="7417239"/>
                  <a:pt x="8740141" y="7416573"/>
                </a:cubicBezTo>
                <a:cubicBezTo>
                  <a:pt x="8738677" y="7415908"/>
                  <a:pt x="8736946" y="7415641"/>
                  <a:pt x="8735083" y="7415641"/>
                </a:cubicBezTo>
                <a:close/>
                <a:moveTo>
                  <a:pt x="8517438" y="7415641"/>
                </a:moveTo>
                <a:cubicBezTo>
                  <a:pt x="8511713" y="7415641"/>
                  <a:pt x="8509051" y="7417505"/>
                  <a:pt x="8507453" y="7419236"/>
                </a:cubicBezTo>
                <a:cubicBezTo>
                  <a:pt x="8504925" y="7421898"/>
                  <a:pt x="8503860" y="7424694"/>
                  <a:pt x="8503860" y="7428687"/>
                </a:cubicBezTo>
                <a:cubicBezTo>
                  <a:pt x="8503860" y="7432814"/>
                  <a:pt x="8504925" y="7435609"/>
                  <a:pt x="8507453" y="7438138"/>
                </a:cubicBezTo>
                <a:cubicBezTo>
                  <a:pt x="8509051" y="7439869"/>
                  <a:pt x="8511581" y="7441732"/>
                  <a:pt x="8517438" y="7441732"/>
                </a:cubicBezTo>
                <a:cubicBezTo>
                  <a:pt x="8519568" y="7441732"/>
                  <a:pt x="8521299" y="7441333"/>
                  <a:pt x="8522763" y="7440535"/>
                </a:cubicBezTo>
                <a:cubicBezTo>
                  <a:pt x="8524227" y="7440002"/>
                  <a:pt x="8525559" y="7439203"/>
                  <a:pt x="8526490" y="7438138"/>
                </a:cubicBezTo>
                <a:cubicBezTo>
                  <a:pt x="8527555" y="7437074"/>
                  <a:pt x="8528487" y="7435742"/>
                  <a:pt x="8529152" y="7434011"/>
                </a:cubicBezTo>
                <a:cubicBezTo>
                  <a:pt x="8529818" y="7432414"/>
                  <a:pt x="8530084" y="7430551"/>
                  <a:pt x="8530084" y="7428554"/>
                </a:cubicBezTo>
                <a:cubicBezTo>
                  <a:pt x="8530084" y="7426690"/>
                  <a:pt x="8529818" y="7424960"/>
                  <a:pt x="8529152" y="7423362"/>
                </a:cubicBezTo>
                <a:cubicBezTo>
                  <a:pt x="8528487" y="7421765"/>
                  <a:pt x="8527555" y="7420434"/>
                  <a:pt x="8526490" y="7419236"/>
                </a:cubicBezTo>
                <a:cubicBezTo>
                  <a:pt x="8525425" y="7418171"/>
                  <a:pt x="8524094" y="7417239"/>
                  <a:pt x="8522496" y="7416573"/>
                </a:cubicBezTo>
                <a:cubicBezTo>
                  <a:pt x="8521032" y="7415908"/>
                  <a:pt x="8519302" y="7415641"/>
                  <a:pt x="8517438" y="7415641"/>
                </a:cubicBezTo>
                <a:close/>
                <a:moveTo>
                  <a:pt x="8299793" y="7415641"/>
                </a:moveTo>
                <a:cubicBezTo>
                  <a:pt x="8294068" y="7415641"/>
                  <a:pt x="8291406" y="7417505"/>
                  <a:pt x="8289809" y="7419236"/>
                </a:cubicBezTo>
                <a:cubicBezTo>
                  <a:pt x="8287280" y="7421898"/>
                  <a:pt x="8286215" y="7424694"/>
                  <a:pt x="8286215" y="7428687"/>
                </a:cubicBezTo>
                <a:cubicBezTo>
                  <a:pt x="8286215" y="7432814"/>
                  <a:pt x="8287280" y="7435609"/>
                  <a:pt x="8289809" y="7438138"/>
                </a:cubicBezTo>
                <a:cubicBezTo>
                  <a:pt x="8291406" y="7439869"/>
                  <a:pt x="8293935" y="7441732"/>
                  <a:pt x="8299793" y="7441732"/>
                </a:cubicBezTo>
                <a:cubicBezTo>
                  <a:pt x="8301923" y="7441732"/>
                  <a:pt x="8303653" y="7441333"/>
                  <a:pt x="8305118" y="7440535"/>
                </a:cubicBezTo>
                <a:cubicBezTo>
                  <a:pt x="8306582" y="7440002"/>
                  <a:pt x="8307913" y="7439203"/>
                  <a:pt x="8308844" y="7438138"/>
                </a:cubicBezTo>
                <a:cubicBezTo>
                  <a:pt x="8309910" y="7437074"/>
                  <a:pt x="8310842" y="7435742"/>
                  <a:pt x="8311507" y="7434011"/>
                </a:cubicBezTo>
                <a:cubicBezTo>
                  <a:pt x="8312172" y="7432414"/>
                  <a:pt x="8312439" y="7430551"/>
                  <a:pt x="8312439" y="7428554"/>
                </a:cubicBezTo>
                <a:cubicBezTo>
                  <a:pt x="8312439" y="7426690"/>
                  <a:pt x="8312172" y="7424960"/>
                  <a:pt x="8311507" y="7423362"/>
                </a:cubicBezTo>
                <a:cubicBezTo>
                  <a:pt x="8310842" y="7421765"/>
                  <a:pt x="8309910" y="7420434"/>
                  <a:pt x="8308844" y="7419236"/>
                </a:cubicBezTo>
                <a:cubicBezTo>
                  <a:pt x="8307779" y="7418171"/>
                  <a:pt x="8306448" y="7417239"/>
                  <a:pt x="8304851" y="7416573"/>
                </a:cubicBezTo>
                <a:cubicBezTo>
                  <a:pt x="8303387" y="7415908"/>
                  <a:pt x="8301790" y="7415641"/>
                  <a:pt x="8299793" y="7415641"/>
                </a:cubicBezTo>
                <a:close/>
                <a:moveTo>
                  <a:pt x="8082281" y="7415641"/>
                </a:moveTo>
                <a:cubicBezTo>
                  <a:pt x="8076424" y="7415641"/>
                  <a:pt x="8073894" y="7417505"/>
                  <a:pt x="8072297" y="7419236"/>
                </a:cubicBezTo>
                <a:cubicBezTo>
                  <a:pt x="8069768" y="7421898"/>
                  <a:pt x="8068703" y="7424694"/>
                  <a:pt x="8068703" y="7428687"/>
                </a:cubicBezTo>
                <a:cubicBezTo>
                  <a:pt x="8068703" y="7432814"/>
                  <a:pt x="8069768" y="7435609"/>
                  <a:pt x="8072297" y="7438138"/>
                </a:cubicBezTo>
                <a:cubicBezTo>
                  <a:pt x="8073894" y="7439869"/>
                  <a:pt x="8076424" y="7441732"/>
                  <a:pt x="8082281" y="7441732"/>
                </a:cubicBezTo>
                <a:cubicBezTo>
                  <a:pt x="8084277" y="7441732"/>
                  <a:pt x="8086007" y="7441333"/>
                  <a:pt x="8087605" y="7440535"/>
                </a:cubicBezTo>
                <a:cubicBezTo>
                  <a:pt x="8089069" y="7440002"/>
                  <a:pt x="8090401" y="7439203"/>
                  <a:pt x="8091332" y="7438138"/>
                </a:cubicBezTo>
                <a:cubicBezTo>
                  <a:pt x="8092397" y="7437074"/>
                  <a:pt x="8093329" y="7435742"/>
                  <a:pt x="8093994" y="7434011"/>
                </a:cubicBezTo>
                <a:cubicBezTo>
                  <a:pt x="8094660" y="7432414"/>
                  <a:pt x="8094926" y="7430551"/>
                  <a:pt x="8094926" y="7428554"/>
                </a:cubicBezTo>
                <a:cubicBezTo>
                  <a:pt x="8094926" y="7426690"/>
                  <a:pt x="8094660" y="7424960"/>
                  <a:pt x="8093994" y="7423362"/>
                </a:cubicBezTo>
                <a:cubicBezTo>
                  <a:pt x="8093329" y="7421765"/>
                  <a:pt x="8092397" y="7420434"/>
                  <a:pt x="8091332" y="7419236"/>
                </a:cubicBezTo>
                <a:cubicBezTo>
                  <a:pt x="8090267" y="7418171"/>
                  <a:pt x="8088936" y="7417239"/>
                  <a:pt x="8087338" y="7416573"/>
                </a:cubicBezTo>
                <a:cubicBezTo>
                  <a:pt x="8085874" y="7415908"/>
                  <a:pt x="8084277" y="7415641"/>
                  <a:pt x="8082281" y="7415641"/>
                </a:cubicBezTo>
                <a:close/>
                <a:moveTo>
                  <a:pt x="7864636" y="7415641"/>
                </a:moveTo>
                <a:cubicBezTo>
                  <a:pt x="7858779" y="7415641"/>
                  <a:pt x="7856249" y="7417505"/>
                  <a:pt x="7854652" y="7419236"/>
                </a:cubicBezTo>
                <a:cubicBezTo>
                  <a:pt x="7852123" y="7421898"/>
                  <a:pt x="7851058" y="7424694"/>
                  <a:pt x="7851058" y="7428687"/>
                </a:cubicBezTo>
                <a:cubicBezTo>
                  <a:pt x="7851058" y="7432814"/>
                  <a:pt x="7852123" y="7435609"/>
                  <a:pt x="7854652" y="7438138"/>
                </a:cubicBezTo>
                <a:cubicBezTo>
                  <a:pt x="7856249" y="7439869"/>
                  <a:pt x="7858779" y="7441732"/>
                  <a:pt x="7864636" y="7441732"/>
                </a:cubicBezTo>
                <a:cubicBezTo>
                  <a:pt x="7866633" y="7441732"/>
                  <a:pt x="7868363" y="7441333"/>
                  <a:pt x="7869961" y="7440535"/>
                </a:cubicBezTo>
                <a:cubicBezTo>
                  <a:pt x="7871425" y="7440002"/>
                  <a:pt x="7872756" y="7439203"/>
                  <a:pt x="7873687" y="7438138"/>
                </a:cubicBezTo>
                <a:cubicBezTo>
                  <a:pt x="7874753" y="7437074"/>
                  <a:pt x="7875685" y="7435742"/>
                  <a:pt x="7876350" y="7434011"/>
                </a:cubicBezTo>
                <a:cubicBezTo>
                  <a:pt x="7877015" y="7432414"/>
                  <a:pt x="7877282" y="7430551"/>
                  <a:pt x="7877282" y="7428554"/>
                </a:cubicBezTo>
                <a:cubicBezTo>
                  <a:pt x="7877282" y="7426690"/>
                  <a:pt x="7877015" y="7424960"/>
                  <a:pt x="7876350" y="7423362"/>
                </a:cubicBezTo>
                <a:cubicBezTo>
                  <a:pt x="7875685" y="7421765"/>
                  <a:pt x="7874753" y="7420434"/>
                  <a:pt x="7873687" y="7419236"/>
                </a:cubicBezTo>
                <a:cubicBezTo>
                  <a:pt x="7872623" y="7418171"/>
                  <a:pt x="7871291" y="7417239"/>
                  <a:pt x="7869694" y="7416573"/>
                </a:cubicBezTo>
                <a:cubicBezTo>
                  <a:pt x="7868230" y="7415908"/>
                  <a:pt x="7866633" y="7415641"/>
                  <a:pt x="7864636" y="7415641"/>
                </a:cubicBezTo>
                <a:close/>
                <a:moveTo>
                  <a:pt x="7646991" y="7415641"/>
                </a:moveTo>
                <a:cubicBezTo>
                  <a:pt x="7641134" y="7415641"/>
                  <a:pt x="7638604" y="7417505"/>
                  <a:pt x="7637007" y="7419236"/>
                </a:cubicBezTo>
                <a:cubicBezTo>
                  <a:pt x="7634478" y="7421898"/>
                  <a:pt x="7633413" y="7424694"/>
                  <a:pt x="7633413" y="7428687"/>
                </a:cubicBezTo>
                <a:cubicBezTo>
                  <a:pt x="7633413" y="7432814"/>
                  <a:pt x="7634478" y="7435609"/>
                  <a:pt x="7637007" y="7438138"/>
                </a:cubicBezTo>
                <a:cubicBezTo>
                  <a:pt x="7638604" y="7439869"/>
                  <a:pt x="7641134" y="7441732"/>
                  <a:pt x="7646991" y="7441732"/>
                </a:cubicBezTo>
                <a:cubicBezTo>
                  <a:pt x="7648987" y="7441732"/>
                  <a:pt x="7650851" y="7441333"/>
                  <a:pt x="7652315" y="7440535"/>
                </a:cubicBezTo>
                <a:cubicBezTo>
                  <a:pt x="7653780" y="7440002"/>
                  <a:pt x="7655111" y="7439203"/>
                  <a:pt x="7656042" y="7438138"/>
                </a:cubicBezTo>
                <a:cubicBezTo>
                  <a:pt x="7657108" y="7437074"/>
                  <a:pt x="7658039" y="7435742"/>
                  <a:pt x="7658705" y="7434011"/>
                </a:cubicBezTo>
                <a:cubicBezTo>
                  <a:pt x="7659504" y="7432414"/>
                  <a:pt x="7659769" y="7430551"/>
                  <a:pt x="7659769" y="7428554"/>
                </a:cubicBezTo>
                <a:cubicBezTo>
                  <a:pt x="7659769" y="7426690"/>
                  <a:pt x="7659370" y="7424960"/>
                  <a:pt x="7658705" y="7423362"/>
                </a:cubicBezTo>
                <a:cubicBezTo>
                  <a:pt x="7658039" y="7421765"/>
                  <a:pt x="7657108" y="7420434"/>
                  <a:pt x="7656042" y="7419236"/>
                </a:cubicBezTo>
                <a:cubicBezTo>
                  <a:pt x="7654977" y="7418171"/>
                  <a:pt x="7653646" y="7417239"/>
                  <a:pt x="7652049" y="7416573"/>
                </a:cubicBezTo>
                <a:cubicBezTo>
                  <a:pt x="7650584" y="7415908"/>
                  <a:pt x="7648987" y="7415641"/>
                  <a:pt x="7646991" y="7415641"/>
                </a:cubicBezTo>
                <a:close/>
                <a:moveTo>
                  <a:pt x="7429345" y="7415641"/>
                </a:moveTo>
                <a:cubicBezTo>
                  <a:pt x="7423488" y="7415641"/>
                  <a:pt x="7420958" y="7417505"/>
                  <a:pt x="7419361" y="7419236"/>
                </a:cubicBezTo>
                <a:cubicBezTo>
                  <a:pt x="7416832" y="7421898"/>
                  <a:pt x="7415768" y="7424694"/>
                  <a:pt x="7415768" y="7428687"/>
                </a:cubicBezTo>
                <a:cubicBezTo>
                  <a:pt x="7415768" y="7432814"/>
                  <a:pt x="7416832" y="7435609"/>
                  <a:pt x="7419361" y="7438138"/>
                </a:cubicBezTo>
                <a:cubicBezTo>
                  <a:pt x="7420958" y="7439869"/>
                  <a:pt x="7423488" y="7441732"/>
                  <a:pt x="7429345" y="7441732"/>
                </a:cubicBezTo>
                <a:cubicBezTo>
                  <a:pt x="7431342" y="7441732"/>
                  <a:pt x="7433206" y="7441333"/>
                  <a:pt x="7434670" y="7440535"/>
                </a:cubicBezTo>
                <a:cubicBezTo>
                  <a:pt x="7436134" y="7440002"/>
                  <a:pt x="7437466" y="7439203"/>
                  <a:pt x="7438397" y="7438138"/>
                </a:cubicBezTo>
                <a:cubicBezTo>
                  <a:pt x="7439462" y="7437074"/>
                  <a:pt x="7440394" y="7435742"/>
                  <a:pt x="7441059" y="7434011"/>
                </a:cubicBezTo>
                <a:cubicBezTo>
                  <a:pt x="7441858" y="7432414"/>
                  <a:pt x="7442124" y="7430551"/>
                  <a:pt x="7442124" y="7428554"/>
                </a:cubicBezTo>
                <a:cubicBezTo>
                  <a:pt x="7442124" y="7426690"/>
                  <a:pt x="7441725" y="7424960"/>
                  <a:pt x="7441059" y="7423362"/>
                </a:cubicBezTo>
                <a:cubicBezTo>
                  <a:pt x="7440394" y="7421765"/>
                  <a:pt x="7439462" y="7420434"/>
                  <a:pt x="7438397" y="7419236"/>
                </a:cubicBezTo>
                <a:cubicBezTo>
                  <a:pt x="7437332" y="7418171"/>
                  <a:pt x="7436001" y="7417239"/>
                  <a:pt x="7434403" y="7416573"/>
                </a:cubicBezTo>
                <a:cubicBezTo>
                  <a:pt x="7432939" y="7415908"/>
                  <a:pt x="7431342" y="7415641"/>
                  <a:pt x="7429345" y="7415641"/>
                </a:cubicBezTo>
                <a:close/>
                <a:moveTo>
                  <a:pt x="7211701" y="7415641"/>
                </a:moveTo>
                <a:cubicBezTo>
                  <a:pt x="7205844" y="7415641"/>
                  <a:pt x="7203314" y="7417505"/>
                  <a:pt x="7201717" y="7419236"/>
                </a:cubicBezTo>
                <a:cubicBezTo>
                  <a:pt x="7199188" y="7421898"/>
                  <a:pt x="7198123" y="7424694"/>
                  <a:pt x="7198123" y="7428687"/>
                </a:cubicBezTo>
                <a:cubicBezTo>
                  <a:pt x="7198123" y="7432814"/>
                  <a:pt x="7199188" y="7435609"/>
                  <a:pt x="7201717" y="7438138"/>
                </a:cubicBezTo>
                <a:cubicBezTo>
                  <a:pt x="7203314" y="7439869"/>
                  <a:pt x="7205844" y="7441732"/>
                  <a:pt x="7211701" y="7441732"/>
                </a:cubicBezTo>
                <a:cubicBezTo>
                  <a:pt x="7213830" y="7441732"/>
                  <a:pt x="7215561" y="7441333"/>
                  <a:pt x="7217026" y="7440535"/>
                </a:cubicBezTo>
                <a:cubicBezTo>
                  <a:pt x="7218490" y="7440002"/>
                  <a:pt x="7219821" y="7439203"/>
                  <a:pt x="7220752" y="7438138"/>
                </a:cubicBezTo>
                <a:cubicBezTo>
                  <a:pt x="7221818" y="7437074"/>
                  <a:pt x="7222750" y="7435742"/>
                  <a:pt x="7223415" y="7434011"/>
                </a:cubicBezTo>
                <a:cubicBezTo>
                  <a:pt x="7224214" y="7432414"/>
                  <a:pt x="7224480" y="7430551"/>
                  <a:pt x="7224480" y="7428554"/>
                </a:cubicBezTo>
                <a:cubicBezTo>
                  <a:pt x="7224480" y="7426690"/>
                  <a:pt x="7224080" y="7424960"/>
                  <a:pt x="7223415" y="7423362"/>
                </a:cubicBezTo>
                <a:cubicBezTo>
                  <a:pt x="7222750" y="7421765"/>
                  <a:pt x="7221818" y="7420434"/>
                  <a:pt x="7220752" y="7419236"/>
                </a:cubicBezTo>
                <a:cubicBezTo>
                  <a:pt x="7219687" y="7418171"/>
                  <a:pt x="7218356" y="7417239"/>
                  <a:pt x="7216759" y="7416573"/>
                </a:cubicBezTo>
                <a:cubicBezTo>
                  <a:pt x="7215295" y="7415908"/>
                  <a:pt x="7213698" y="7415641"/>
                  <a:pt x="7211701" y="7415641"/>
                </a:cubicBezTo>
                <a:close/>
                <a:moveTo>
                  <a:pt x="6994056" y="7415641"/>
                </a:moveTo>
                <a:cubicBezTo>
                  <a:pt x="6988199" y="7415641"/>
                  <a:pt x="6985669" y="7417505"/>
                  <a:pt x="6984072" y="7419236"/>
                </a:cubicBezTo>
                <a:cubicBezTo>
                  <a:pt x="6981543" y="7421898"/>
                  <a:pt x="6980478" y="7424694"/>
                  <a:pt x="6980478" y="7428687"/>
                </a:cubicBezTo>
                <a:cubicBezTo>
                  <a:pt x="6980478" y="7432814"/>
                  <a:pt x="6981543" y="7435609"/>
                  <a:pt x="6984072" y="7438138"/>
                </a:cubicBezTo>
                <a:cubicBezTo>
                  <a:pt x="6985669" y="7439869"/>
                  <a:pt x="6988199" y="7441732"/>
                  <a:pt x="6994056" y="7441732"/>
                </a:cubicBezTo>
                <a:cubicBezTo>
                  <a:pt x="6996185" y="7441732"/>
                  <a:pt x="6997916" y="7441333"/>
                  <a:pt x="6999380" y="7440535"/>
                </a:cubicBezTo>
                <a:cubicBezTo>
                  <a:pt x="7000844" y="7440002"/>
                  <a:pt x="7002176" y="7439203"/>
                  <a:pt x="7003107" y="7438138"/>
                </a:cubicBezTo>
                <a:cubicBezTo>
                  <a:pt x="7004172" y="7437074"/>
                  <a:pt x="7005104" y="7435742"/>
                  <a:pt x="7005769" y="7434011"/>
                </a:cubicBezTo>
                <a:cubicBezTo>
                  <a:pt x="7006568" y="7432414"/>
                  <a:pt x="7006834" y="7430551"/>
                  <a:pt x="7006834" y="7428554"/>
                </a:cubicBezTo>
                <a:cubicBezTo>
                  <a:pt x="7006834" y="7426690"/>
                  <a:pt x="7006435" y="7424960"/>
                  <a:pt x="7005769" y="7423362"/>
                </a:cubicBezTo>
                <a:cubicBezTo>
                  <a:pt x="7005104" y="7421765"/>
                  <a:pt x="7004172" y="7420434"/>
                  <a:pt x="7003107" y="7419236"/>
                </a:cubicBezTo>
                <a:cubicBezTo>
                  <a:pt x="7002042" y="7418171"/>
                  <a:pt x="7000711" y="7417239"/>
                  <a:pt x="6999113" y="7416573"/>
                </a:cubicBezTo>
                <a:cubicBezTo>
                  <a:pt x="6997649" y="7415908"/>
                  <a:pt x="6996052" y="7415641"/>
                  <a:pt x="6994056" y="7415641"/>
                </a:cubicBezTo>
                <a:close/>
                <a:moveTo>
                  <a:pt x="6776544" y="7415641"/>
                </a:moveTo>
                <a:cubicBezTo>
                  <a:pt x="6770687" y="7415641"/>
                  <a:pt x="6768157" y="7417505"/>
                  <a:pt x="6766560" y="7419236"/>
                </a:cubicBezTo>
                <a:cubicBezTo>
                  <a:pt x="6764031" y="7421898"/>
                  <a:pt x="6762966" y="7424694"/>
                  <a:pt x="6762966" y="7428687"/>
                </a:cubicBezTo>
                <a:cubicBezTo>
                  <a:pt x="6762966" y="7432814"/>
                  <a:pt x="6764031" y="7435609"/>
                  <a:pt x="6766560" y="7438138"/>
                </a:cubicBezTo>
                <a:cubicBezTo>
                  <a:pt x="6768157" y="7439869"/>
                  <a:pt x="6770687" y="7441732"/>
                  <a:pt x="6776544" y="7441732"/>
                </a:cubicBezTo>
                <a:cubicBezTo>
                  <a:pt x="6778541" y="7441732"/>
                  <a:pt x="6780270" y="7441333"/>
                  <a:pt x="6781869" y="7440535"/>
                </a:cubicBezTo>
                <a:cubicBezTo>
                  <a:pt x="6783333" y="7440002"/>
                  <a:pt x="6784664" y="7439203"/>
                  <a:pt x="6785595" y="7438138"/>
                </a:cubicBezTo>
                <a:cubicBezTo>
                  <a:pt x="6786661" y="7437074"/>
                  <a:pt x="6787593" y="7435742"/>
                  <a:pt x="6788258" y="7434011"/>
                </a:cubicBezTo>
                <a:cubicBezTo>
                  <a:pt x="6789057" y="7432414"/>
                  <a:pt x="6789323" y="7430551"/>
                  <a:pt x="6789323" y="7428554"/>
                </a:cubicBezTo>
                <a:cubicBezTo>
                  <a:pt x="6789323" y="7426690"/>
                  <a:pt x="6788923" y="7424960"/>
                  <a:pt x="6788258" y="7423362"/>
                </a:cubicBezTo>
                <a:cubicBezTo>
                  <a:pt x="6787593" y="7421765"/>
                  <a:pt x="6786661" y="7420434"/>
                  <a:pt x="6785595" y="7419236"/>
                </a:cubicBezTo>
                <a:cubicBezTo>
                  <a:pt x="6784530" y="7418171"/>
                  <a:pt x="6783199" y="7417239"/>
                  <a:pt x="6781602" y="7416573"/>
                </a:cubicBezTo>
                <a:cubicBezTo>
                  <a:pt x="6780138" y="7415908"/>
                  <a:pt x="6778541" y="7415641"/>
                  <a:pt x="6776544" y="7415641"/>
                </a:cubicBezTo>
                <a:close/>
                <a:moveTo>
                  <a:pt x="6558899" y="7415641"/>
                </a:moveTo>
                <a:cubicBezTo>
                  <a:pt x="6553042" y="7415641"/>
                  <a:pt x="6550512" y="7417505"/>
                  <a:pt x="6548915" y="7419236"/>
                </a:cubicBezTo>
                <a:cubicBezTo>
                  <a:pt x="6546386" y="7421898"/>
                  <a:pt x="6545321" y="7424694"/>
                  <a:pt x="6545321" y="7428687"/>
                </a:cubicBezTo>
                <a:cubicBezTo>
                  <a:pt x="6545321" y="7432814"/>
                  <a:pt x="6546386" y="7435609"/>
                  <a:pt x="6548915" y="7438138"/>
                </a:cubicBezTo>
                <a:cubicBezTo>
                  <a:pt x="6550512" y="7439869"/>
                  <a:pt x="6553042" y="7441732"/>
                  <a:pt x="6558899" y="7441732"/>
                </a:cubicBezTo>
                <a:cubicBezTo>
                  <a:pt x="6560895" y="7441732"/>
                  <a:pt x="6562759" y="7441333"/>
                  <a:pt x="6564223" y="7440535"/>
                </a:cubicBezTo>
                <a:cubicBezTo>
                  <a:pt x="6565687" y="7440002"/>
                  <a:pt x="6567019" y="7439203"/>
                  <a:pt x="6567950" y="7438138"/>
                </a:cubicBezTo>
                <a:cubicBezTo>
                  <a:pt x="6569015" y="7437074"/>
                  <a:pt x="6569947" y="7435742"/>
                  <a:pt x="6570612" y="7434011"/>
                </a:cubicBezTo>
                <a:cubicBezTo>
                  <a:pt x="6571412" y="7432414"/>
                  <a:pt x="6571677" y="7430551"/>
                  <a:pt x="6571677" y="7428554"/>
                </a:cubicBezTo>
                <a:cubicBezTo>
                  <a:pt x="6571677" y="7426690"/>
                  <a:pt x="6571278" y="7424960"/>
                  <a:pt x="6570612" y="7423362"/>
                </a:cubicBezTo>
                <a:cubicBezTo>
                  <a:pt x="6569947" y="7421765"/>
                  <a:pt x="6569015" y="7420434"/>
                  <a:pt x="6567950" y="7419236"/>
                </a:cubicBezTo>
                <a:cubicBezTo>
                  <a:pt x="6566885" y="7418171"/>
                  <a:pt x="6565554" y="7417239"/>
                  <a:pt x="6563956" y="7416573"/>
                </a:cubicBezTo>
                <a:cubicBezTo>
                  <a:pt x="6562492" y="7415908"/>
                  <a:pt x="6560895" y="7415641"/>
                  <a:pt x="6558899" y="7415641"/>
                </a:cubicBezTo>
                <a:close/>
                <a:moveTo>
                  <a:pt x="6341253" y="7415641"/>
                </a:moveTo>
                <a:cubicBezTo>
                  <a:pt x="6335396" y="7415641"/>
                  <a:pt x="6332867" y="7417505"/>
                  <a:pt x="6331270" y="7419236"/>
                </a:cubicBezTo>
                <a:cubicBezTo>
                  <a:pt x="6328740" y="7421898"/>
                  <a:pt x="6327675" y="7424694"/>
                  <a:pt x="6327675" y="7428687"/>
                </a:cubicBezTo>
                <a:cubicBezTo>
                  <a:pt x="6327675" y="7432814"/>
                  <a:pt x="6328740" y="7435609"/>
                  <a:pt x="6331270" y="7438138"/>
                </a:cubicBezTo>
                <a:cubicBezTo>
                  <a:pt x="6332867" y="7439869"/>
                  <a:pt x="6335396" y="7441732"/>
                  <a:pt x="6341253" y="7441732"/>
                </a:cubicBezTo>
                <a:cubicBezTo>
                  <a:pt x="6343250" y="7441732"/>
                  <a:pt x="6345114" y="7441333"/>
                  <a:pt x="6346578" y="7440535"/>
                </a:cubicBezTo>
                <a:cubicBezTo>
                  <a:pt x="6348042" y="7440002"/>
                  <a:pt x="6349373" y="7439203"/>
                  <a:pt x="6350305" y="7438138"/>
                </a:cubicBezTo>
                <a:cubicBezTo>
                  <a:pt x="6351370" y="7437074"/>
                  <a:pt x="6352302" y="7435742"/>
                  <a:pt x="6352968" y="7434011"/>
                </a:cubicBezTo>
                <a:cubicBezTo>
                  <a:pt x="6353766" y="7432414"/>
                  <a:pt x="6354033" y="7430551"/>
                  <a:pt x="6354033" y="7428554"/>
                </a:cubicBezTo>
                <a:cubicBezTo>
                  <a:pt x="6354033" y="7426690"/>
                  <a:pt x="6353633" y="7424960"/>
                  <a:pt x="6352968" y="7423362"/>
                </a:cubicBezTo>
                <a:cubicBezTo>
                  <a:pt x="6352302" y="7421765"/>
                  <a:pt x="6351370" y="7420434"/>
                  <a:pt x="6350305" y="7419236"/>
                </a:cubicBezTo>
                <a:cubicBezTo>
                  <a:pt x="6349241" y="7418171"/>
                  <a:pt x="6347909" y="7417239"/>
                  <a:pt x="6346312" y="7416573"/>
                </a:cubicBezTo>
                <a:cubicBezTo>
                  <a:pt x="6344848" y="7415908"/>
                  <a:pt x="6343250" y="7415641"/>
                  <a:pt x="6341253" y="7415641"/>
                </a:cubicBezTo>
                <a:close/>
                <a:moveTo>
                  <a:pt x="6123608" y="7415641"/>
                </a:moveTo>
                <a:cubicBezTo>
                  <a:pt x="6117751" y="7415641"/>
                  <a:pt x="6115221" y="7417505"/>
                  <a:pt x="6113624" y="7419236"/>
                </a:cubicBezTo>
                <a:cubicBezTo>
                  <a:pt x="6111095" y="7421898"/>
                  <a:pt x="6110030" y="7424694"/>
                  <a:pt x="6110030" y="7428687"/>
                </a:cubicBezTo>
                <a:cubicBezTo>
                  <a:pt x="6110030" y="7432814"/>
                  <a:pt x="6111095" y="7435609"/>
                  <a:pt x="6113624" y="7438138"/>
                </a:cubicBezTo>
                <a:cubicBezTo>
                  <a:pt x="6115221" y="7439869"/>
                  <a:pt x="6117751" y="7441732"/>
                  <a:pt x="6123608" y="7441732"/>
                </a:cubicBezTo>
                <a:cubicBezTo>
                  <a:pt x="6125737" y="7441732"/>
                  <a:pt x="6127468" y="7441333"/>
                  <a:pt x="6128932" y="7440535"/>
                </a:cubicBezTo>
                <a:cubicBezTo>
                  <a:pt x="6130530" y="7440002"/>
                  <a:pt x="6131728" y="7439203"/>
                  <a:pt x="6132659" y="7438138"/>
                </a:cubicBezTo>
                <a:cubicBezTo>
                  <a:pt x="6133724" y="7437074"/>
                  <a:pt x="6134656" y="7435742"/>
                  <a:pt x="6135322" y="7434011"/>
                </a:cubicBezTo>
                <a:cubicBezTo>
                  <a:pt x="6135987" y="7432414"/>
                  <a:pt x="6136387" y="7430551"/>
                  <a:pt x="6136387" y="7428554"/>
                </a:cubicBezTo>
                <a:cubicBezTo>
                  <a:pt x="6136387" y="7426690"/>
                  <a:pt x="6135987" y="7424960"/>
                  <a:pt x="6135322" y="7423362"/>
                </a:cubicBezTo>
                <a:cubicBezTo>
                  <a:pt x="6134656" y="7421765"/>
                  <a:pt x="6133724" y="7420434"/>
                  <a:pt x="6132659" y="7419236"/>
                </a:cubicBezTo>
                <a:cubicBezTo>
                  <a:pt x="6131594" y="7418171"/>
                  <a:pt x="6130263" y="7417239"/>
                  <a:pt x="6128666" y="7416573"/>
                </a:cubicBezTo>
                <a:cubicBezTo>
                  <a:pt x="6127202" y="7415908"/>
                  <a:pt x="6125604" y="7415641"/>
                  <a:pt x="6123608" y="7415641"/>
                </a:cubicBezTo>
                <a:close/>
                <a:moveTo>
                  <a:pt x="5905963" y="7415641"/>
                </a:moveTo>
                <a:cubicBezTo>
                  <a:pt x="5900106" y="7415641"/>
                  <a:pt x="5897576" y="7417505"/>
                  <a:pt x="5895979" y="7419236"/>
                </a:cubicBezTo>
                <a:cubicBezTo>
                  <a:pt x="5893450" y="7421898"/>
                  <a:pt x="5892385" y="7424694"/>
                  <a:pt x="5892385" y="7428687"/>
                </a:cubicBezTo>
                <a:cubicBezTo>
                  <a:pt x="5892385" y="7432814"/>
                  <a:pt x="5893450" y="7435609"/>
                  <a:pt x="5895979" y="7438138"/>
                </a:cubicBezTo>
                <a:cubicBezTo>
                  <a:pt x="5897576" y="7439869"/>
                  <a:pt x="5900106" y="7441732"/>
                  <a:pt x="5905963" y="7441732"/>
                </a:cubicBezTo>
                <a:cubicBezTo>
                  <a:pt x="5908093" y="7441732"/>
                  <a:pt x="5909823" y="7441333"/>
                  <a:pt x="5911287" y="7440535"/>
                </a:cubicBezTo>
                <a:cubicBezTo>
                  <a:pt x="5912751" y="7440002"/>
                  <a:pt x="5914083" y="7439203"/>
                  <a:pt x="5915014" y="7438138"/>
                </a:cubicBezTo>
                <a:cubicBezTo>
                  <a:pt x="5916079" y="7437074"/>
                  <a:pt x="5917011" y="7435742"/>
                  <a:pt x="5917677" y="7434011"/>
                </a:cubicBezTo>
                <a:cubicBezTo>
                  <a:pt x="5918342" y="7432414"/>
                  <a:pt x="5918742" y="7430551"/>
                  <a:pt x="5918742" y="7428554"/>
                </a:cubicBezTo>
                <a:cubicBezTo>
                  <a:pt x="5918742" y="7426690"/>
                  <a:pt x="5918342" y="7424960"/>
                  <a:pt x="5917677" y="7423362"/>
                </a:cubicBezTo>
                <a:cubicBezTo>
                  <a:pt x="5917011" y="7421765"/>
                  <a:pt x="5916079" y="7420434"/>
                  <a:pt x="5915014" y="7419236"/>
                </a:cubicBezTo>
                <a:cubicBezTo>
                  <a:pt x="5913950" y="7418171"/>
                  <a:pt x="5912618" y="7417239"/>
                  <a:pt x="5911021" y="7416573"/>
                </a:cubicBezTo>
                <a:cubicBezTo>
                  <a:pt x="5909557" y="7415908"/>
                  <a:pt x="5907826" y="7415641"/>
                  <a:pt x="5905963" y="7415641"/>
                </a:cubicBezTo>
                <a:close/>
                <a:moveTo>
                  <a:pt x="5688451" y="7415641"/>
                </a:moveTo>
                <a:cubicBezTo>
                  <a:pt x="5682594" y="7415641"/>
                  <a:pt x="5680064" y="7417505"/>
                  <a:pt x="5678467" y="7419236"/>
                </a:cubicBezTo>
                <a:cubicBezTo>
                  <a:pt x="5675938" y="7421898"/>
                  <a:pt x="5674873" y="7424694"/>
                  <a:pt x="5674873" y="7428687"/>
                </a:cubicBezTo>
                <a:cubicBezTo>
                  <a:pt x="5674873" y="7432814"/>
                  <a:pt x="5675938" y="7435609"/>
                  <a:pt x="5678467" y="7438138"/>
                </a:cubicBezTo>
                <a:cubicBezTo>
                  <a:pt x="5680064" y="7439869"/>
                  <a:pt x="5682594" y="7441732"/>
                  <a:pt x="5688451" y="7441732"/>
                </a:cubicBezTo>
                <a:cubicBezTo>
                  <a:pt x="5690447" y="7441732"/>
                  <a:pt x="5692178" y="7441333"/>
                  <a:pt x="5693775" y="7440535"/>
                </a:cubicBezTo>
                <a:cubicBezTo>
                  <a:pt x="5695239" y="7440002"/>
                  <a:pt x="5696571" y="7439203"/>
                  <a:pt x="5697502" y="7438138"/>
                </a:cubicBezTo>
                <a:cubicBezTo>
                  <a:pt x="5698567" y="7437074"/>
                  <a:pt x="5699499" y="7435742"/>
                  <a:pt x="5700165" y="7434011"/>
                </a:cubicBezTo>
                <a:cubicBezTo>
                  <a:pt x="5700830" y="7432414"/>
                  <a:pt x="5701230" y="7430551"/>
                  <a:pt x="5701230" y="7428554"/>
                </a:cubicBezTo>
                <a:cubicBezTo>
                  <a:pt x="5701230" y="7426690"/>
                  <a:pt x="5700830" y="7424960"/>
                  <a:pt x="5700165" y="7423362"/>
                </a:cubicBezTo>
                <a:cubicBezTo>
                  <a:pt x="5699499" y="7421765"/>
                  <a:pt x="5698567" y="7420434"/>
                  <a:pt x="5697502" y="7419236"/>
                </a:cubicBezTo>
                <a:cubicBezTo>
                  <a:pt x="5696437" y="7418171"/>
                  <a:pt x="5695106" y="7417239"/>
                  <a:pt x="5693509" y="7416573"/>
                </a:cubicBezTo>
                <a:cubicBezTo>
                  <a:pt x="5692045" y="7415908"/>
                  <a:pt x="5690314" y="7415641"/>
                  <a:pt x="5688451" y="7415641"/>
                </a:cubicBezTo>
                <a:close/>
                <a:moveTo>
                  <a:pt x="5470806" y="7415641"/>
                </a:moveTo>
                <a:cubicBezTo>
                  <a:pt x="5464949" y="7415641"/>
                  <a:pt x="5462419" y="7417505"/>
                  <a:pt x="5460822" y="7419236"/>
                </a:cubicBezTo>
                <a:cubicBezTo>
                  <a:pt x="5458293" y="7421898"/>
                  <a:pt x="5457228" y="7424694"/>
                  <a:pt x="5457228" y="7428687"/>
                </a:cubicBezTo>
                <a:cubicBezTo>
                  <a:pt x="5457228" y="7432814"/>
                  <a:pt x="5458293" y="7435609"/>
                  <a:pt x="5460822" y="7438138"/>
                </a:cubicBezTo>
                <a:cubicBezTo>
                  <a:pt x="5462419" y="7439869"/>
                  <a:pt x="5464949" y="7441732"/>
                  <a:pt x="5470806" y="7441732"/>
                </a:cubicBezTo>
                <a:cubicBezTo>
                  <a:pt x="5472802" y="7441732"/>
                  <a:pt x="5474666" y="7441333"/>
                  <a:pt x="5476130" y="7440535"/>
                </a:cubicBezTo>
                <a:cubicBezTo>
                  <a:pt x="5477594" y="7440002"/>
                  <a:pt x="5478926" y="7439203"/>
                  <a:pt x="5479857" y="7438138"/>
                </a:cubicBezTo>
                <a:cubicBezTo>
                  <a:pt x="5480922" y="7437074"/>
                  <a:pt x="5481854" y="7435742"/>
                  <a:pt x="5482520" y="7434011"/>
                </a:cubicBezTo>
                <a:cubicBezTo>
                  <a:pt x="5483319" y="7432414"/>
                  <a:pt x="5483585" y="7430551"/>
                  <a:pt x="5483585" y="7428554"/>
                </a:cubicBezTo>
                <a:cubicBezTo>
                  <a:pt x="5483585" y="7426690"/>
                  <a:pt x="5483185" y="7424960"/>
                  <a:pt x="5482520" y="7423362"/>
                </a:cubicBezTo>
                <a:cubicBezTo>
                  <a:pt x="5481854" y="7421765"/>
                  <a:pt x="5480922" y="7420434"/>
                  <a:pt x="5479857" y="7419236"/>
                </a:cubicBezTo>
                <a:cubicBezTo>
                  <a:pt x="5478793" y="7418171"/>
                  <a:pt x="5477461" y="7417239"/>
                  <a:pt x="5475864" y="7416573"/>
                </a:cubicBezTo>
                <a:cubicBezTo>
                  <a:pt x="5474400" y="7415908"/>
                  <a:pt x="5472669" y="7415641"/>
                  <a:pt x="5470806" y="7415641"/>
                </a:cubicBezTo>
                <a:close/>
                <a:moveTo>
                  <a:pt x="5253160" y="7415641"/>
                </a:moveTo>
                <a:cubicBezTo>
                  <a:pt x="5247303" y="7415641"/>
                  <a:pt x="5244774" y="7417505"/>
                  <a:pt x="5243177" y="7419236"/>
                </a:cubicBezTo>
                <a:cubicBezTo>
                  <a:pt x="5240647" y="7421898"/>
                  <a:pt x="5239583" y="7424694"/>
                  <a:pt x="5239583" y="7428687"/>
                </a:cubicBezTo>
                <a:cubicBezTo>
                  <a:pt x="5239583" y="7432814"/>
                  <a:pt x="5240647" y="7435609"/>
                  <a:pt x="5243177" y="7438138"/>
                </a:cubicBezTo>
                <a:cubicBezTo>
                  <a:pt x="5244774" y="7439869"/>
                  <a:pt x="5247303" y="7441732"/>
                  <a:pt x="5253160" y="7441732"/>
                </a:cubicBezTo>
                <a:cubicBezTo>
                  <a:pt x="5255157" y="7441732"/>
                  <a:pt x="5257021" y="7441333"/>
                  <a:pt x="5258485" y="7440535"/>
                </a:cubicBezTo>
                <a:cubicBezTo>
                  <a:pt x="5259949" y="7440002"/>
                  <a:pt x="5261280" y="7439203"/>
                  <a:pt x="5262212" y="7438138"/>
                </a:cubicBezTo>
                <a:cubicBezTo>
                  <a:pt x="5263277" y="7437074"/>
                  <a:pt x="5264209" y="7435742"/>
                  <a:pt x="5264875" y="7434011"/>
                </a:cubicBezTo>
                <a:cubicBezTo>
                  <a:pt x="5265673" y="7432414"/>
                  <a:pt x="5265939" y="7430551"/>
                  <a:pt x="5265939" y="7428554"/>
                </a:cubicBezTo>
                <a:cubicBezTo>
                  <a:pt x="5265939" y="7426690"/>
                  <a:pt x="5265540" y="7424960"/>
                  <a:pt x="5264875" y="7423362"/>
                </a:cubicBezTo>
                <a:cubicBezTo>
                  <a:pt x="5264209" y="7421765"/>
                  <a:pt x="5263277" y="7420434"/>
                  <a:pt x="5262212" y="7419236"/>
                </a:cubicBezTo>
                <a:cubicBezTo>
                  <a:pt x="5261147" y="7418171"/>
                  <a:pt x="5259816" y="7417239"/>
                  <a:pt x="5258219" y="7416573"/>
                </a:cubicBezTo>
                <a:cubicBezTo>
                  <a:pt x="5256754" y="7415908"/>
                  <a:pt x="5255024" y="7415641"/>
                  <a:pt x="5253160" y="7415641"/>
                </a:cubicBezTo>
                <a:close/>
                <a:moveTo>
                  <a:pt x="5035515" y="7415641"/>
                </a:moveTo>
                <a:cubicBezTo>
                  <a:pt x="5029658" y="7415641"/>
                  <a:pt x="5027129" y="7417505"/>
                  <a:pt x="5025532" y="7419236"/>
                </a:cubicBezTo>
                <a:cubicBezTo>
                  <a:pt x="5023002" y="7421898"/>
                  <a:pt x="5021938" y="7424694"/>
                  <a:pt x="5021938" y="7428687"/>
                </a:cubicBezTo>
                <a:cubicBezTo>
                  <a:pt x="5021938" y="7432814"/>
                  <a:pt x="5023002" y="7435609"/>
                  <a:pt x="5025532" y="7438138"/>
                </a:cubicBezTo>
                <a:cubicBezTo>
                  <a:pt x="5027129" y="7439869"/>
                  <a:pt x="5029658" y="7441732"/>
                  <a:pt x="5035515" y="7441732"/>
                </a:cubicBezTo>
                <a:cubicBezTo>
                  <a:pt x="5037645" y="7441732"/>
                  <a:pt x="5039376" y="7441333"/>
                  <a:pt x="5040840" y="7440535"/>
                </a:cubicBezTo>
                <a:cubicBezTo>
                  <a:pt x="5042304" y="7440002"/>
                  <a:pt x="5043636" y="7439203"/>
                  <a:pt x="5044567" y="7438138"/>
                </a:cubicBezTo>
                <a:cubicBezTo>
                  <a:pt x="5045632" y="7437074"/>
                  <a:pt x="5046564" y="7435742"/>
                  <a:pt x="5047230" y="7434011"/>
                </a:cubicBezTo>
                <a:cubicBezTo>
                  <a:pt x="5048028" y="7432414"/>
                  <a:pt x="5048294" y="7430551"/>
                  <a:pt x="5048294" y="7428554"/>
                </a:cubicBezTo>
                <a:cubicBezTo>
                  <a:pt x="5048294" y="7426690"/>
                  <a:pt x="5047895" y="7424960"/>
                  <a:pt x="5047230" y="7423362"/>
                </a:cubicBezTo>
                <a:cubicBezTo>
                  <a:pt x="5046564" y="7421765"/>
                  <a:pt x="5045632" y="7420434"/>
                  <a:pt x="5044567" y="7419236"/>
                </a:cubicBezTo>
                <a:cubicBezTo>
                  <a:pt x="5043502" y="7418171"/>
                  <a:pt x="5042171" y="7417239"/>
                  <a:pt x="5040574" y="7416573"/>
                </a:cubicBezTo>
                <a:cubicBezTo>
                  <a:pt x="5039110" y="7415908"/>
                  <a:pt x="5037379" y="7415641"/>
                  <a:pt x="5035515" y="7415641"/>
                </a:cubicBezTo>
                <a:close/>
                <a:moveTo>
                  <a:pt x="4817870" y="7415641"/>
                </a:moveTo>
                <a:cubicBezTo>
                  <a:pt x="4812013" y="7415641"/>
                  <a:pt x="4809484" y="7417505"/>
                  <a:pt x="4807887" y="7419236"/>
                </a:cubicBezTo>
                <a:cubicBezTo>
                  <a:pt x="4805357" y="7421898"/>
                  <a:pt x="4804293" y="7424694"/>
                  <a:pt x="4804293" y="7428687"/>
                </a:cubicBezTo>
                <a:cubicBezTo>
                  <a:pt x="4804293" y="7432814"/>
                  <a:pt x="4805357" y="7435609"/>
                  <a:pt x="4807887" y="7438138"/>
                </a:cubicBezTo>
                <a:cubicBezTo>
                  <a:pt x="4809484" y="7439869"/>
                  <a:pt x="4812013" y="7441732"/>
                  <a:pt x="4817870" y="7441732"/>
                </a:cubicBezTo>
                <a:cubicBezTo>
                  <a:pt x="4820000" y="7441732"/>
                  <a:pt x="4821731" y="7441333"/>
                  <a:pt x="4823195" y="7440535"/>
                </a:cubicBezTo>
                <a:cubicBezTo>
                  <a:pt x="4824659" y="7440002"/>
                  <a:pt x="4825857" y="7439203"/>
                  <a:pt x="4826922" y="7438138"/>
                </a:cubicBezTo>
                <a:cubicBezTo>
                  <a:pt x="4827987" y="7437074"/>
                  <a:pt x="4828919" y="7435742"/>
                  <a:pt x="4829585" y="7434011"/>
                </a:cubicBezTo>
                <a:cubicBezTo>
                  <a:pt x="4830383" y="7432414"/>
                  <a:pt x="4830650" y="7430551"/>
                  <a:pt x="4830650" y="7428554"/>
                </a:cubicBezTo>
                <a:cubicBezTo>
                  <a:pt x="4830650" y="7426690"/>
                  <a:pt x="4830250" y="7424960"/>
                  <a:pt x="4829585" y="7423362"/>
                </a:cubicBezTo>
                <a:cubicBezTo>
                  <a:pt x="4828919" y="7421765"/>
                  <a:pt x="4827987" y="7420434"/>
                  <a:pt x="4826922" y="7419236"/>
                </a:cubicBezTo>
                <a:cubicBezTo>
                  <a:pt x="4825857" y="7418171"/>
                  <a:pt x="4824526" y="7417239"/>
                  <a:pt x="4822929" y="7416573"/>
                </a:cubicBezTo>
                <a:cubicBezTo>
                  <a:pt x="4821465" y="7415908"/>
                  <a:pt x="4819734" y="7415641"/>
                  <a:pt x="4817870" y="7415641"/>
                </a:cubicBezTo>
                <a:close/>
                <a:moveTo>
                  <a:pt x="4600226" y="7415641"/>
                </a:moveTo>
                <a:cubicBezTo>
                  <a:pt x="4594369" y="7415641"/>
                  <a:pt x="4591839" y="7417505"/>
                  <a:pt x="4590242" y="7419236"/>
                </a:cubicBezTo>
                <a:cubicBezTo>
                  <a:pt x="4587713" y="7421898"/>
                  <a:pt x="4586648" y="7424694"/>
                  <a:pt x="4586648" y="7428687"/>
                </a:cubicBezTo>
                <a:cubicBezTo>
                  <a:pt x="4586648" y="7432814"/>
                  <a:pt x="4587713" y="7435609"/>
                  <a:pt x="4590242" y="7438138"/>
                </a:cubicBezTo>
                <a:cubicBezTo>
                  <a:pt x="4591839" y="7439869"/>
                  <a:pt x="4594369" y="7441732"/>
                  <a:pt x="4600226" y="7441732"/>
                </a:cubicBezTo>
                <a:cubicBezTo>
                  <a:pt x="4602355" y="7441732"/>
                  <a:pt x="4604086" y="7441333"/>
                  <a:pt x="4605550" y="7440535"/>
                </a:cubicBezTo>
                <a:cubicBezTo>
                  <a:pt x="4607148" y="7440002"/>
                  <a:pt x="4608346" y="7439203"/>
                  <a:pt x="4609277" y="7438138"/>
                </a:cubicBezTo>
                <a:cubicBezTo>
                  <a:pt x="4610342" y="7437074"/>
                  <a:pt x="4611274" y="7435742"/>
                  <a:pt x="4611940" y="7434011"/>
                </a:cubicBezTo>
                <a:cubicBezTo>
                  <a:pt x="4612605" y="7432414"/>
                  <a:pt x="4613005" y="7430551"/>
                  <a:pt x="4613005" y="7428554"/>
                </a:cubicBezTo>
                <a:cubicBezTo>
                  <a:pt x="4613005" y="7426690"/>
                  <a:pt x="4612605" y="7424960"/>
                  <a:pt x="4611940" y="7423362"/>
                </a:cubicBezTo>
                <a:cubicBezTo>
                  <a:pt x="4611274" y="7421765"/>
                  <a:pt x="4610342" y="7420434"/>
                  <a:pt x="4609277" y="7419236"/>
                </a:cubicBezTo>
                <a:cubicBezTo>
                  <a:pt x="4608212" y="7418171"/>
                  <a:pt x="4606881" y="7417239"/>
                  <a:pt x="4605284" y="7416573"/>
                </a:cubicBezTo>
                <a:cubicBezTo>
                  <a:pt x="4603820" y="7415908"/>
                  <a:pt x="4602222" y="7415641"/>
                  <a:pt x="4600226" y="7415641"/>
                </a:cubicBezTo>
                <a:close/>
                <a:moveTo>
                  <a:pt x="4382713" y="7415641"/>
                </a:moveTo>
                <a:cubicBezTo>
                  <a:pt x="4376857" y="7415641"/>
                  <a:pt x="4374327" y="7417505"/>
                  <a:pt x="4372730" y="7419236"/>
                </a:cubicBezTo>
                <a:cubicBezTo>
                  <a:pt x="4370201" y="7421898"/>
                  <a:pt x="4369136" y="7424694"/>
                  <a:pt x="4369136" y="7428687"/>
                </a:cubicBezTo>
                <a:cubicBezTo>
                  <a:pt x="4369136" y="7432814"/>
                  <a:pt x="4370201" y="7435609"/>
                  <a:pt x="4372730" y="7438138"/>
                </a:cubicBezTo>
                <a:cubicBezTo>
                  <a:pt x="4374327" y="7439869"/>
                  <a:pt x="4376857" y="7441732"/>
                  <a:pt x="4382713" y="7441732"/>
                </a:cubicBezTo>
                <a:cubicBezTo>
                  <a:pt x="4384710" y="7441732"/>
                  <a:pt x="4386441" y="7441333"/>
                  <a:pt x="4388038" y="7440535"/>
                </a:cubicBezTo>
                <a:cubicBezTo>
                  <a:pt x="4389502" y="7440002"/>
                  <a:pt x="4390834" y="7439203"/>
                  <a:pt x="4391765" y="7438138"/>
                </a:cubicBezTo>
                <a:cubicBezTo>
                  <a:pt x="4392830" y="7437074"/>
                  <a:pt x="4393762" y="7435742"/>
                  <a:pt x="4394428" y="7434011"/>
                </a:cubicBezTo>
                <a:cubicBezTo>
                  <a:pt x="4395093" y="7432414"/>
                  <a:pt x="4395493" y="7430551"/>
                  <a:pt x="4395493" y="7428554"/>
                </a:cubicBezTo>
                <a:cubicBezTo>
                  <a:pt x="4395493" y="7426690"/>
                  <a:pt x="4395093" y="7424960"/>
                  <a:pt x="4394428" y="7423362"/>
                </a:cubicBezTo>
                <a:cubicBezTo>
                  <a:pt x="4393762" y="7421765"/>
                  <a:pt x="4392830" y="7420434"/>
                  <a:pt x="4391765" y="7419236"/>
                </a:cubicBezTo>
                <a:cubicBezTo>
                  <a:pt x="4390700" y="7418171"/>
                  <a:pt x="4389369" y="7417239"/>
                  <a:pt x="4387772" y="7416573"/>
                </a:cubicBezTo>
                <a:cubicBezTo>
                  <a:pt x="4386308" y="7415908"/>
                  <a:pt x="4384710" y="7415641"/>
                  <a:pt x="4382713" y="7415641"/>
                </a:cubicBezTo>
                <a:close/>
                <a:moveTo>
                  <a:pt x="4165068" y="7415641"/>
                </a:moveTo>
                <a:cubicBezTo>
                  <a:pt x="4159211" y="7415641"/>
                  <a:pt x="4156681" y="7417505"/>
                  <a:pt x="4155084" y="7419236"/>
                </a:cubicBezTo>
                <a:cubicBezTo>
                  <a:pt x="4152555" y="7421898"/>
                  <a:pt x="4151490" y="7424694"/>
                  <a:pt x="4151490" y="7428687"/>
                </a:cubicBezTo>
                <a:cubicBezTo>
                  <a:pt x="4151490" y="7432814"/>
                  <a:pt x="4152555" y="7435609"/>
                  <a:pt x="4155084" y="7438138"/>
                </a:cubicBezTo>
                <a:cubicBezTo>
                  <a:pt x="4156681" y="7439869"/>
                  <a:pt x="4159211" y="7441732"/>
                  <a:pt x="4165068" y="7441732"/>
                </a:cubicBezTo>
                <a:cubicBezTo>
                  <a:pt x="4167064" y="7441732"/>
                  <a:pt x="4168928" y="7441333"/>
                  <a:pt x="4170392" y="7440535"/>
                </a:cubicBezTo>
                <a:cubicBezTo>
                  <a:pt x="4171856" y="7440002"/>
                  <a:pt x="4173188" y="7439203"/>
                  <a:pt x="4174119" y="7438138"/>
                </a:cubicBezTo>
                <a:cubicBezTo>
                  <a:pt x="4175184" y="7437074"/>
                  <a:pt x="4176116" y="7435742"/>
                  <a:pt x="4176782" y="7434011"/>
                </a:cubicBezTo>
                <a:cubicBezTo>
                  <a:pt x="4177447" y="7432414"/>
                  <a:pt x="4177847" y="7430551"/>
                  <a:pt x="4177847" y="7428554"/>
                </a:cubicBezTo>
                <a:cubicBezTo>
                  <a:pt x="4177847" y="7426690"/>
                  <a:pt x="4177447" y="7424960"/>
                  <a:pt x="4176782" y="7423362"/>
                </a:cubicBezTo>
                <a:cubicBezTo>
                  <a:pt x="4176116" y="7421765"/>
                  <a:pt x="4175184" y="7420434"/>
                  <a:pt x="4174119" y="7419236"/>
                </a:cubicBezTo>
                <a:cubicBezTo>
                  <a:pt x="4173054" y="7418171"/>
                  <a:pt x="4171723" y="7417239"/>
                  <a:pt x="4170126" y="7416573"/>
                </a:cubicBezTo>
                <a:cubicBezTo>
                  <a:pt x="4168662" y="7415908"/>
                  <a:pt x="4167064" y="7415641"/>
                  <a:pt x="4165068" y="7415641"/>
                </a:cubicBezTo>
                <a:close/>
                <a:moveTo>
                  <a:pt x="3947819" y="7415641"/>
                </a:moveTo>
                <a:cubicBezTo>
                  <a:pt x="3941962" y="7415641"/>
                  <a:pt x="3939434" y="7417505"/>
                  <a:pt x="3937835" y="7419236"/>
                </a:cubicBezTo>
                <a:cubicBezTo>
                  <a:pt x="3935307" y="7421898"/>
                  <a:pt x="3934241" y="7424694"/>
                  <a:pt x="3934241" y="7428687"/>
                </a:cubicBezTo>
                <a:cubicBezTo>
                  <a:pt x="3934241" y="7432814"/>
                  <a:pt x="3935307" y="7435609"/>
                  <a:pt x="3937835" y="7438138"/>
                </a:cubicBezTo>
                <a:cubicBezTo>
                  <a:pt x="3939434" y="7439869"/>
                  <a:pt x="3941962" y="7441732"/>
                  <a:pt x="3947819" y="7441732"/>
                </a:cubicBezTo>
                <a:cubicBezTo>
                  <a:pt x="3949816" y="7441732"/>
                  <a:pt x="3951683" y="7441333"/>
                  <a:pt x="3953150" y="7440535"/>
                </a:cubicBezTo>
                <a:cubicBezTo>
                  <a:pt x="3954613" y="7440002"/>
                  <a:pt x="3955944" y="7439203"/>
                  <a:pt x="3956876" y="7438138"/>
                </a:cubicBezTo>
                <a:cubicBezTo>
                  <a:pt x="3957942" y="7437074"/>
                  <a:pt x="3958874" y="7435742"/>
                  <a:pt x="3959539" y="7434011"/>
                </a:cubicBezTo>
                <a:cubicBezTo>
                  <a:pt x="3960205" y="7432414"/>
                  <a:pt x="3960603" y="7430551"/>
                  <a:pt x="3960603" y="7428554"/>
                </a:cubicBezTo>
                <a:cubicBezTo>
                  <a:pt x="3960603" y="7426690"/>
                  <a:pt x="3960205" y="7424960"/>
                  <a:pt x="3959539" y="7423362"/>
                </a:cubicBezTo>
                <a:cubicBezTo>
                  <a:pt x="3958874" y="7421765"/>
                  <a:pt x="3957942" y="7420434"/>
                  <a:pt x="3956876" y="7419236"/>
                </a:cubicBezTo>
                <a:cubicBezTo>
                  <a:pt x="3955811" y="7418171"/>
                  <a:pt x="3954481" y="7417239"/>
                  <a:pt x="3952883" y="7416573"/>
                </a:cubicBezTo>
                <a:cubicBezTo>
                  <a:pt x="3951413" y="7415908"/>
                  <a:pt x="3949816" y="7415641"/>
                  <a:pt x="3947819" y="7415641"/>
                </a:cubicBezTo>
                <a:close/>
                <a:moveTo>
                  <a:pt x="3730157" y="7415641"/>
                </a:moveTo>
                <a:cubicBezTo>
                  <a:pt x="3724300" y="7415641"/>
                  <a:pt x="3721769" y="7417505"/>
                  <a:pt x="3720169" y="7419236"/>
                </a:cubicBezTo>
                <a:cubicBezTo>
                  <a:pt x="3717640" y="7421898"/>
                  <a:pt x="3716577" y="7424694"/>
                  <a:pt x="3716577" y="7428687"/>
                </a:cubicBezTo>
                <a:cubicBezTo>
                  <a:pt x="3716577" y="7432814"/>
                  <a:pt x="3717640" y="7435609"/>
                  <a:pt x="3720169" y="7438138"/>
                </a:cubicBezTo>
                <a:cubicBezTo>
                  <a:pt x="3721769" y="7439869"/>
                  <a:pt x="3724300" y="7441732"/>
                  <a:pt x="3730157" y="7441732"/>
                </a:cubicBezTo>
                <a:cubicBezTo>
                  <a:pt x="3732286" y="7441732"/>
                  <a:pt x="3734020" y="7441333"/>
                  <a:pt x="3735484" y="7440535"/>
                </a:cubicBezTo>
                <a:cubicBezTo>
                  <a:pt x="3736948" y="7440002"/>
                  <a:pt x="3738279" y="7439203"/>
                  <a:pt x="3739210" y="7438138"/>
                </a:cubicBezTo>
                <a:cubicBezTo>
                  <a:pt x="3740274" y="7437074"/>
                  <a:pt x="3741207" y="7435742"/>
                  <a:pt x="3741874" y="7434011"/>
                </a:cubicBezTo>
                <a:cubicBezTo>
                  <a:pt x="3742538" y="7432414"/>
                  <a:pt x="3742937" y="7430551"/>
                  <a:pt x="3742937" y="7428554"/>
                </a:cubicBezTo>
                <a:cubicBezTo>
                  <a:pt x="3742937" y="7426690"/>
                  <a:pt x="3742538" y="7424960"/>
                  <a:pt x="3741874" y="7423362"/>
                </a:cubicBezTo>
                <a:cubicBezTo>
                  <a:pt x="3741207" y="7421765"/>
                  <a:pt x="3740274" y="7420434"/>
                  <a:pt x="3739210" y="7419236"/>
                </a:cubicBezTo>
                <a:cubicBezTo>
                  <a:pt x="3738144" y="7418171"/>
                  <a:pt x="3736815" y="7417239"/>
                  <a:pt x="3735217" y="7416573"/>
                </a:cubicBezTo>
                <a:cubicBezTo>
                  <a:pt x="3733751" y="7415908"/>
                  <a:pt x="3732154" y="7415641"/>
                  <a:pt x="3730157" y="7415641"/>
                </a:cubicBezTo>
                <a:close/>
                <a:moveTo>
                  <a:pt x="3512490" y="7415641"/>
                </a:moveTo>
                <a:cubicBezTo>
                  <a:pt x="3506630" y="7415641"/>
                  <a:pt x="3504101" y="7417505"/>
                  <a:pt x="3502502" y="7419236"/>
                </a:cubicBezTo>
                <a:cubicBezTo>
                  <a:pt x="3499971" y="7421898"/>
                  <a:pt x="3498909" y="7424694"/>
                  <a:pt x="3498909" y="7428687"/>
                </a:cubicBezTo>
                <a:cubicBezTo>
                  <a:pt x="3498909" y="7432814"/>
                  <a:pt x="3499971" y="7435609"/>
                  <a:pt x="3502502" y="7438138"/>
                </a:cubicBezTo>
                <a:cubicBezTo>
                  <a:pt x="3504101" y="7439869"/>
                  <a:pt x="3506630" y="7441732"/>
                  <a:pt x="3512490" y="7441732"/>
                </a:cubicBezTo>
                <a:cubicBezTo>
                  <a:pt x="3514622" y="7441732"/>
                  <a:pt x="3516353" y="7441333"/>
                  <a:pt x="3517817" y="7440535"/>
                </a:cubicBezTo>
                <a:cubicBezTo>
                  <a:pt x="3519281" y="7440002"/>
                  <a:pt x="3520613" y="7439203"/>
                  <a:pt x="3521545" y="7438138"/>
                </a:cubicBezTo>
                <a:cubicBezTo>
                  <a:pt x="3522609" y="7437074"/>
                  <a:pt x="3523541" y="7435742"/>
                  <a:pt x="3524207" y="7434011"/>
                </a:cubicBezTo>
                <a:cubicBezTo>
                  <a:pt x="3524873" y="7432414"/>
                  <a:pt x="3525272" y="7430551"/>
                  <a:pt x="3525272" y="7428554"/>
                </a:cubicBezTo>
                <a:cubicBezTo>
                  <a:pt x="3525272" y="7426690"/>
                  <a:pt x="3524873" y="7424960"/>
                  <a:pt x="3524207" y="7423362"/>
                </a:cubicBezTo>
                <a:cubicBezTo>
                  <a:pt x="3523541" y="7421765"/>
                  <a:pt x="3522609" y="7420434"/>
                  <a:pt x="3521545" y="7419236"/>
                </a:cubicBezTo>
                <a:cubicBezTo>
                  <a:pt x="3520479" y="7418171"/>
                  <a:pt x="3519148" y="7417239"/>
                  <a:pt x="3517552" y="7416573"/>
                </a:cubicBezTo>
                <a:cubicBezTo>
                  <a:pt x="3516088" y="7415908"/>
                  <a:pt x="3514490" y="7415641"/>
                  <a:pt x="3512490" y="7415641"/>
                </a:cubicBezTo>
                <a:close/>
                <a:moveTo>
                  <a:pt x="3294959" y="7415641"/>
                </a:moveTo>
                <a:cubicBezTo>
                  <a:pt x="3289098" y="7415641"/>
                  <a:pt x="3286569" y="7417505"/>
                  <a:pt x="3284972" y="7419236"/>
                </a:cubicBezTo>
                <a:cubicBezTo>
                  <a:pt x="3282441" y="7421898"/>
                  <a:pt x="3281378" y="7424694"/>
                  <a:pt x="3281378" y="7428687"/>
                </a:cubicBezTo>
                <a:cubicBezTo>
                  <a:pt x="3281378" y="7432814"/>
                  <a:pt x="3282441" y="7435609"/>
                  <a:pt x="3284972" y="7438138"/>
                </a:cubicBezTo>
                <a:cubicBezTo>
                  <a:pt x="3286569" y="7439869"/>
                  <a:pt x="3289098" y="7441732"/>
                  <a:pt x="3294959" y="7441732"/>
                </a:cubicBezTo>
                <a:cubicBezTo>
                  <a:pt x="3296957" y="7441732"/>
                  <a:pt x="3298685" y="7441333"/>
                  <a:pt x="3300283" y="7440535"/>
                </a:cubicBezTo>
                <a:cubicBezTo>
                  <a:pt x="3301749" y="7440002"/>
                  <a:pt x="3303080" y="7439203"/>
                  <a:pt x="3304011" y="7438138"/>
                </a:cubicBezTo>
                <a:cubicBezTo>
                  <a:pt x="3305076" y="7437074"/>
                  <a:pt x="3306008" y="7435742"/>
                  <a:pt x="3306674" y="7434011"/>
                </a:cubicBezTo>
                <a:cubicBezTo>
                  <a:pt x="3307339" y="7432414"/>
                  <a:pt x="3307739" y="7430551"/>
                  <a:pt x="3307739" y="7428554"/>
                </a:cubicBezTo>
                <a:cubicBezTo>
                  <a:pt x="3307739" y="7426690"/>
                  <a:pt x="3307339" y="7424960"/>
                  <a:pt x="3306674" y="7423362"/>
                </a:cubicBezTo>
                <a:cubicBezTo>
                  <a:pt x="3306008" y="7421765"/>
                  <a:pt x="3305076" y="7420434"/>
                  <a:pt x="3304011" y="7419236"/>
                </a:cubicBezTo>
                <a:cubicBezTo>
                  <a:pt x="3302946" y="7418171"/>
                  <a:pt x="3301615" y="7417239"/>
                  <a:pt x="3300018" y="7416573"/>
                </a:cubicBezTo>
                <a:cubicBezTo>
                  <a:pt x="3298554" y="7415908"/>
                  <a:pt x="3296957" y="7415641"/>
                  <a:pt x="3294959" y="7415641"/>
                </a:cubicBezTo>
                <a:close/>
                <a:moveTo>
                  <a:pt x="3077427" y="7415641"/>
                </a:moveTo>
                <a:cubicBezTo>
                  <a:pt x="3071568" y="7415641"/>
                  <a:pt x="3069039" y="7417505"/>
                  <a:pt x="3067441" y="7419236"/>
                </a:cubicBezTo>
                <a:cubicBezTo>
                  <a:pt x="3064775" y="7421898"/>
                  <a:pt x="3063711" y="7424694"/>
                  <a:pt x="3063711" y="7428687"/>
                </a:cubicBezTo>
                <a:cubicBezTo>
                  <a:pt x="3063711" y="7432814"/>
                  <a:pt x="3064775" y="7435609"/>
                  <a:pt x="3067306" y="7438138"/>
                </a:cubicBezTo>
                <a:cubicBezTo>
                  <a:pt x="3068906" y="7439869"/>
                  <a:pt x="3071436" y="7441732"/>
                  <a:pt x="3077293" y="7441732"/>
                </a:cubicBezTo>
                <a:cubicBezTo>
                  <a:pt x="3079291" y="7441732"/>
                  <a:pt x="3081020" y="7441333"/>
                  <a:pt x="3082752" y="7440535"/>
                </a:cubicBezTo>
                <a:cubicBezTo>
                  <a:pt x="3084217" y="7440002"/>
                  <a:pt x="3085548" y="7439203"/>
                  <a:pt x="3086479" y="7438138"/>
                </a:cubicBezTo>
                <a:cubicBezTo>
                  <a:pt x="3087544" y="7437074"/>
                  <a:pt x="3088476" y="7435742"/>
                  <a:pt x="3089142" y="7434011"/>
                </a:cubicBezTo>
                <a:cubicBezTo>
                  <a:pt x="3089806" y="7432414"/>
                  <a:pt x="3090073" y="7430551"/>
                  <a:pt x="3090073" y="7428554"/>
                </a:cubicBezTo>
                <a:cubicBezTo>
                  <a:pt x="3090073" y="7426690"/>
                  <a:pt x="3089806" y="7424960"/>
                  <a:pt x="3089142" y="7423362"/>
                </a:cubicBezTo>
                <a:cubicBezTo>
                  <a:pt x="3088476" y="7421765"/>
                  <a:pt x="3087544" y="7420434"/>
                  <a:pt x="3086479" y="7419236"/>
                </a:cubicBezTo>
                <a:cubicBezTo>
                  <a:pt x="3085414" y="7418171"/>
                  <a:pt x="3084084" y="7417239"/>
                  <a:pt x="3082484" y="7416573"/>
                </a:cubicBezTo>
                <a:cubicBezTo>
                  <a:pt x="3081020" y="7415908"/>
                  <a:pt x="3079423" y="7415641"/>
                  <a:pt x="3077427" y="7415641"/>
                </a:cubicBezTo>
                <a:close/>
                <a:moveTo>
                  <a:pt x="2859628" y="7415641"/>
                </a:moveTo>
                <a:cubicBezTo>
                  <a:pt x="2853770" y="7415641"/>
                  <a:pt x="2851241" y="7417505"/>
                  <a:pt x="2849644" y="7419236"/>
                </a:cubicBezTo>
                <a:cubicBezTo>
                  <a:pt x="2847106" y="7421898"/>
                  <a:pt x="2846043" y="7424694"/>
                  <a:pt x="2846043" y="7428687"/>
                </a:cubicBezTo>
                <a:cubicBezTo>
                  <a:pt x="2846043" y="7432814"/>
                  <a:pt x="2847106" y="7435609"/>
                  <a:pt x="2849644" y="7438138"/>
                </a:cubicBezTo>
                <a:cubicBezTo>
                  <a:pt x="2851241" y="7439869"/>
                  <a:pt x="2853770" y="7441732"/>
                  <a:pt x="2859628" y="7441732"/>
                </a:cubicBezTo>
                <a:cubicBezTo>
                  <a:pt x="2861624" y="7441732"/>
                  <a:pt x="2863489" y="7441333"/>
                  <a:pt x="2864953" y="7440535"/>
                </a:cubicBezTo>
                <a:cubicBezTo>
                  <a:pt x="2866550" y="7440002"/>
                  <a:pt x="2867748" y="7439203"/>
                  <a:pt x="2868679" y="7438138"/>
                </a:cubicBezTo>
                <a:cubicBezTo>
                  <a:pt x="2869744" y="7437074"/>
                  <a:pt x="2870676" y="7435742"/>
                  <a:pt x="2871343" y="7434011"/>
                </a:cubicBezTo>
                <a:cubicBezTo>
                  <a:pt x="2871875" y="7432414"/>
                  <a:pt x="2872274" y="7430551"/>
                  <a:pt x="2872274" y="7428554"/>
                </a:cubicBezTo>
                <a:cubicBezTo>
                  <a:pt x="2872274" y="7426690"/>
                  <a:pt x="2872008" y="7424960"/>
                  <a:pt x="2871343" y="7423362"/>
                </a:cubicBezTo>
                <a:cubicBezTo>
                  <a:pt x="2870676" y="7421765"/>
                  <a:pt x="2869744" y="7420434"/>
                  <a:pt x="2868679" y="7419236"/>
                </a:cubicBezTo>
                <a:cubicBezTo>
                  <a:pt x="2867615" y="7418171"/>
                  <a:pt x="2866283" y="7417239"/>
                  <a:pt x="2864687" y="7416573"/>
                </a:cubicBezTo>
                <a:cubicBezTo>
                  <a:pt x="2863222" y="7415908"/>
                  <a:pt x="2861624" y="7415641"/>
                  <a:pt x="2859628" y="7415641"/>
                </a:cubicBezTo>
                <a:close/>
                <a:moveTo>
                  <a:pt x="2641962" y="7415641"/>
                </a:moveTo>
                <a:cubicBezTo>
                  <a:pt x="2636103" y="7415641"/>
                  <a:pt x="2633575" y="7417505"/>
                  <a:pt x="2631978" y="7419236"/>
                </a:cubicBezTo>
                <a:cubicBezTo>
                  <a:pt x="2629447" y="7421898"/>
                  <a:pt x="2628383" y="7424694"/>
                  <a:pt x="2628383" y="7428687"/>
                </a:cubicBezTo>
                <a:cubicBezTo>
                  <a:pt x="2628383" y="7432814"/>
                  <a:pt x="2629447" y="7435609"/>
                  <a:pt x="2631978" y="7438138"/>
                </a:cubicBezTo>
                <a:cubicBezTo>
                  <a:pt x="2633575" y="7439869"/>
                  <a:pt x="2636103" y="7441732"/>
                  <a:pt x="2641962" y="7441732"/>
                </a:cubicBezTo>
                <a:cubicBezTo>
                  <a:pt x="2643958" y="7441732"/>
                  <a:pt x="2645823" y="7441333"/>
                  <a:pt x="2647287" y="7440535"/>
                </a:cubicBezTo>
                <a:cubicBezTo>
                  <a:pt x="2648885" y="7440002"/>
                  <a:pt x="2650081" y="7439203"/>
                  <a:pt x="2651014" y="7438138"/>
                </a:cubicBezTo>
                <a:cubicBezTo>
                  <a:pt x="2652079" y="7437074"/>
                  <a:pt x="2653010" y="7435742"/>
                  <a:pt x="2653677" y="7434011"/>
                </a:cubicBezTo>
                <a:cubicBezTo>
                  <a:pt x="2654209" y="7432414"/>
                  <a:pt x="2654608" y="7430551"/>
                  <a:pt x="2654608" y="7428554"/>
                </a:cubicBezTo>
                <a:cubicBezTo>
                  <a:pt x="2654608" y="7426690"/>
                  <a:pt x="2654342" y="7424960"/>
                  <a:pt x="2653677" y="7423362"/>
                </a:cubicBezTo>
                <a:cubicBezTo>
                  <a:pt x="2653010" y="7421765"/>
                  <a:pt x="2652079" y="7420434"/>
                  <a:pt x="2651014" y="7419236"/>
                </a:cubicBezTo>
                <a:cubicBezTo>
                  <a:pt x="2649948" y="7418171"/>
                  <a:pt x="2648617" y="7417239"/>
                  <a:pt x="2647020" y="7416573"/>
                </a:cubicBezTo>
                <a:cubicBezTo>
                  <a:pt x="2645555" y="7415908"/>
                  <a:pt x="2643958" y="7415641"/>
                  <a:pt x="2641962" y="7415641"/>
                </a:cubicBezTo>
                <a:close/>
                <a:moveTo>
                  <a:pt x="2424294" y="7415641"/>
                </a:moveTo>
                <a:cubicBezTo>
                  <a:pt x="2418438" y="7415641"/>
                  <a:pt x="2415908" y="7417505"/>
                  <a:pt x="2414312" y="7419236"/>
                </a:cubicBezTo>
                <a:cubicBezTo>
                  <a:pt x="2411782" y="7421898"/>
                  <a:pt x="2410717" y="7424694"/>
                  <a:pt x="2410717" y="7428687"/>
                </a:cubicBezTo>
                <a:cubicBezTo>
                  <a:pt x="2410717" y="7432814"/>
                  <a:pt x="2411782" y="7435609"/>
                  <a:pt x="2414312" y="7438138"/>
                </a:cubicBezTo>
                <a:cubicBezTo>
                  <a:pt x="2415908" y="7439869"/>
                  <a:pt x="2418438" y="7441732"/>
                  <a:pt x="2424294" y="7441732"/>
                </a:cubicBezTo>
                <a:cubicBezTo>
                  <a:pt x="2426425" y="7441732"/>
                  <a:pt x="2428156" y="7441333"/>
                  <a:pt x="2429620" y="7440535"/>
                </a:cubicBezTo>
                <a:cubicBezTo>
                  <a:pt x="2431218" y="7440002"/>
                  <a:pt x="2432416" y="7439203"/>
                  <a:pt x="2433348" y="7438138"/>
                </a:cubicBezTo>
                <a:cubicBezTo>
                  <a:pt x="2434412" y="7437074"/>
                  <a:pt x="2435344" y="7435742"/>
                  <a:pt x="2436011" y="7434011"/>
                </a:cubicBezTo>
                <a:cubicBezTo>
                  <a:pt x="2436541" y="7432414"/>
                  <a:pt x="2436942" y="7430551"/>
                  <a:pt x="2436942" y="7428554"/>
                </a:cubicBezTo>
                <a:cubicBezTo>
                  <a:pt x="2436942" y="7426690"/>
                  <a:pt x="2436675" y="7424960"/>
                  <a:pt x="2436011" y="7423362"/>
                </a:cubicBezTo>
                <a:cubicBezTo>
                  <a:pt x="2435344" y="7421765"/>
                  <a:pt x="2434412" y="7420434"/>
                  <a:pt x="2433348" y="7419236"/>
                </a:cubicBezTo>
                <a:cubicBezTo>
                  <a:pt x="2432283" y="7418171"/>
                  <a:pt x="2430951" y="7417239"/>
                  <a:pt x="2429355" y="7416573"/>
                </a:cubicBezTo>
                <a:cubicBezTo>
                  <a:pt x="2427891" y="7415908"/>
                  <a:pt x="2426292" y="7415641"/>
                  <a:pt x="2424294" y="7415641"/>
                </a:cubicBezTo>
                <a:close/>
                <a:moveTo>
                  <a:pt x="2206629" y="7415641"/>
                </a:moveTo>
                <a:cubicBezTo>
                  <a:pt x="2200772" y="7415641"/>
                  <a:pt x="2198244" y="7417505"/>
                  <a:pt x="2196646" y="7419236"/>
                </a:cubicBezTo>
                <a:cubicBezTo>
                  <a:pt x="2194115" y="7421898"/>
                  <a:pt x="2193052" y="7424694"/>
                  <a:pt x="2193052" y="7428687"/>
                </a:cubicBezTo>
                <a:cubicBezTo>
                  <a:pt x="2193052" y="7432814"/>
                  <a:pt x="2194115" y="7435609"/>
                  <a:pt x="2196646" y="7438138"/>
                </a:cubicBezTo>
                <a:cubicBezTo>
                  <a:pt x="2198244" y="7439869"/>
                  <a:pt x="2200772" y="7441732"/>
                  <a:pt x="2206629" y="7441732"/>
                </a:cubicBezTo>
                <a:cubicBezTo>
                  <a:pt x="2208759" y="7441732"/>
                  <a:pt x="2210490" y="7441333"/>
                  <a:pt x="2211955" y="7440535"/>
                </a:cubicBezTo>
                <a:cubicBezTo>
                  <a:pt x="2213551" y="7440002"/>
                  <a:pt x="2214750" y="7439203"/>
                  <a:pt x="2215681" y="7438138"/>
                </a:cubicBezTo>
                <a:cubicBezTo>
                  <a:pt x="2216746" y="7437074"/>
                  <a:pt x="2217679" y="7435742"/>
                  <a:pt x="2218344" y="7434011"/>
                </a:cubicBezTo>
                <a:cubicBezTo>
                  <a:pt x="2218876" y="7432414"/>
                  <a:pt x="2219275" y="7430551"/>
                  <a:pt x="2219275" y="7428554"/>
                </a:cubicBezTo>
                <a:cubicBezTo>
                  <a:pt x="2219275" y="7426690"/>
                  <a:pt x="2219009" y="7424960"/>
                  <a:pt x="2218344" y="7423362"/>
                </a:cubicBezTo>
                <a:cubicBezTo>
                  <a:pt x="2217679" y="7421765"/>
                  <a:pt x="2216746" y="7420434"/>
                  <a:pt x="2215681" y="7419236"/>
                </a:cubicBezTo>
                <a:cubicBezTo>
                  <a:pt x="2214616" y="7418171"/>
                  <a:pt x="2213285" y="7417239"/>
                  <a:pt x="2211687" y="7416573"/>
                </a:cubicBezTo>
                <a:cubicBezTo>
                  <a:pt x="2210223" y="7415908"/>
                  <a:pt x="2208624" y="7415641"/>
                  <a:pt x="2206629" y="7415641"/>
                </a:cubicBezTo>
                <a:close/>
                <a:moveTo>
                  <a:pt x="1989097" y="7415641"/>
                </a:moveTo>
                <a:cubicBezTo>
                  <a:pt x="1983240" y="7415641"/>
                  <a:pt x="1980711" y="7417505"/>
                  <a:pt x="1979114" y="7419236"/>
                </a:cubicBezTo>
                <a:cubicBezTo>
                  <a:pt x="1976584" y="7421898"/>
                  <a:pt x="1975520" y="7424694"/>
                  <a:pt x="1975520" y="7428687"/>
                </a:cubicBezTo>
                <a:cubicBezTo>
                  <a:pt x="1975520" y="7432814"/>
                  <a:pt x="1976584" y="7435609"/>
                  <a:pt x="1979114" y="7438138"/>
                </a:cubicBezTo>
                <a:cubicBezTo>
                  <a:pt x="1980711" y="7439869"/>
                  <a:pt x="1983240" y="7441732"/>
                  <a:pt x="1989097" y="7441732"/>
                </a:cubicBezTo>
                <a:cubicBezTo>
                  <a:pt x="1991095" y="7441732"/>
                  <a:pt x="1992825" y="7441333"/>
                  <a:pt x="1994422" y="7440535"/>
                </a:cubicBezTo>
                <a:cubicBezTo>
                  <a:pt x="1996020" y="7440002"/>
                  <a:pt x="1997218" y="7439203"/>
                  <a:pt x="1998149" y="7438138"/>
                </a:cubicBezTo>
                <a:cubicBezTo>
                  <a:pt x="1999214" y="7437074"/>
                  <a:pt x="2000147" y="7435742"/>
                  <a:pt x="2000811" y="7434011"/>
                </a:cubicBezTo>
                <a:cubicBezTo>
                  <a:pt x="2001344" y="7432414"/>
                  <a:pt x="2001741" y="7430551"/>
                  <a:pt x="2001741" y="7428554"/>
                </a:cubicBezTo>
                <a:cubicBezTo>
                  <a:pt x="2001741" y="7426690"/>
                  <a:pt x="2001477" y="7424960"/>
                  <a:pt x="2000811" y="7423362"/>
                </a:cubicBezTo>
                <a:cubicBezTo>
                  <a:pt x="2000147" y="7421765"/>
                  <a:pt x="1999214" y="7420434"/>
                  <a:pt x="1998149" y="7419236"/>
                </a:cubicBezTo>
                <a:cubicBezTo>
                  <a:pt x="1997085" y="7418171"/>
                  <a:pt x="1995754" y="7417239"/>
                  <a:pt x="1994156" y="7416573"/>
                </a:cubicBezTo>
                <a:cubicBezTo>
                  <a:pt x="1992692" y="7415908"/>
                  <a:pt x="1991095" y="7415641"/>
                  <a:pt x="1989097" y="7415641"/>
                </a:cubicBezTo>
                <a:close/>
                <a:moveTo>
                  <a:pt x="1771467" y="7415641"/>
                </a:moveTo>
                <a:cubicBezTo>
                  <a:pt x="1765610" y="7415641"/>
                  <a:pt x="1763081" y="7417505"/>
                  <a:pt x="1761486" y="7419236"/>
                </a:cubicBezTo>
                <a:cubicBezTo>
                  <a:pt x="1758955" y="7421898"/>
                  <a:pt x="1757891" y="7424694"/>
                  <a:pt x="1757891" y="7428687"/>
                </a:cubicBezTo>
                <a:cubicBezTo>
                  <a:pt x="1757891" y="7432814"/>
                  <a:pt x="1758955" y="7435609"/>
                  <a:pt x="1761486" y="7438138"/>
                </a:cubicBezTo>
                <a:cubicBezTo>
                  <a:pt x="1763081" y="7439869"/>
                  <a:pt x="1765610" y="7441732"/>
                  <a:pt x="1771467" y="7441732"/>
                </a:cubicBezTo>
                <a:cubicBezTo>
                  <a:pt x="1773464" y="7441732"/>
                  <a:pt x="1775327" y="7441333"/>
                  <a:pt x="1776790" y="7440535"/>
                </a:cubicBezTo>
                <a:cubicBezTo>
                  <a:pt x="1778254" y="7440002"/>
                  <a:pt x="1779585" y="7439203"/>
                  <a:pt x="1780517" y="7438138"/>
                </a:cubicBezTo>
                <a:cubicBezTo>
                  <a:pt x="1781582" y="7437074"/>
                  <a:pt x="1782514" y="7435742"/>
                  <a:pt x="1783180" y="7434011"/>
                </a:cubicBezTo>
                <a:cubicBezTo>
                  <a:pt x="1783846" y="7432414"/>
                  <a:pt x="1784245" y="7430551"/>
                  <a:pt x="1784245" y="7428554"/>
                </a:cubicBezTo>
                <a:cubicBezTo>
                  <a:pt x="1784245" y="7426690"/>
                  <a:pt x="1783846" y="7424960"/>
                  <a:pt x="1783180" y="7423362"/>
                </a:cubicBezTo>
                <a:cubicBezTo>
                  <a:pt x="1782514" y="7421765"/>
                  <a:pt x="1781582" y="7420434"/>
                  <a:pt x="1780517" y="7419236"/>
                </a:cubicBezTo>
                <a:cubicBezTo>
                  <a:pt x="1779452" y="7418171"/>
                  <a:pt x="1778122" y="7417239"/>
                  <a:pt x="1776525" y="7416573"/>
                </a:cubicBezTo>
                <a:cubicBezTo>
                  <a:pt x="1775061" y="7415908"/>
                  <a:pt x="1773464" y="7415641"/>
                  <a:pt x="1771467" y="7415641"/>
                </a:cubicBezTo>
                <a:close/>
                <a:moveTo>
                  <a:pt x="1553833" y="7415641"/>
                </a:moveTo>
                <a:cubicBezTo>
                  <a:pt x="1547975" y="7415641"/>
                  <a:pt x="1545446" y="7417505"/>
                  <a:pt x="1543850" y="7419236"/>
                </a:cubicBezTo>
                <a:cubicBezTo>
                  <a:pt x="1541319" y="7421898"/>
                  <a:pt x="1540255" y="7424694"/>
                  <a:pt x="1540255" y="7428687"/>
                </a:cubicBezTo>
                <a:cubicBezTo>
                  <a:pt x="1540255" y="7432814"/>
                  <a:pt x="1541319" y="7435609"/>
                  <a:pt x="1543850" y="7438138"/>
                </a:cubicBezTo>
                <a:cubicBezTo>
                  <a:pt x="1545446" y="7439869"/>
                  <a:pt x="1547975" y="7441732"/>
                  <a:pt x="1553833" y="7441732"/>
                </a:cubicBezTo>
                <a:cubicBezTo>
                  <a:pt x="1555829" y="7441732"/>
                  <a:pt x="1557693" y="7441333"/>
                  <a:pt x="1559157" y="7440535"/>
                </a:cubicBezTo>
                <a:cubicBezTo>
                  <a:pt x="1560622" y="7440002"/>
                  <a:pt x="1561953" y="7439203"/>
                  <a:pt x="1562884" y="7438138"/>
                </a:cubicBezTo>
                <a:cubicBezTo>
                  <a:pt x="1563949" y="7437074"/>
                  <a:pt x="1564881" y="7435742"/>
                  <a:pt x="1565547" y="7434011"/>
                </a:cubicBezTo>
                <a:cubicBezTo>
                  <a:pt x="1566212" y="7432414"/>
                  <a:pt x="1566612" y="7430551"/>
                  <a:pt x="1566612" y="7428554"/>
                </a:cubicBezTo>
                <a:cubicBezTo>
                  <a:pt x="1566612" y="7426690"/>
                  <a:pt x="1566212" y="7424960"/>
                  <a:pt x="1565547" y="7423362"/>
                </a:cubicBezTo>
                <a:cubicBezTo>
                  <a:pt x="1564881" y="7421765"/>
                  <a:pt x="1563949" y="7420434"/>
                  <a:pt x="1562884" y="7419236"/>
                </a:cubicBezTo>
                <a:cubicBezTo>
                  <a:pt x="1561819" y="7418171"/>
                  <a:pt x="1560488" y="7417239"/>
                  <a:pt x="1558891" y="7416573"/>
                </a:cubicBezTo>
                <a:cubicBezTo>
                  <a:pt x="1557427" y="7415908"/>
                  <a:pt x="1555829" y="7415641"/>
                  <a:pt x="1553833" y="7415641"/>
                </a:cubicBezTo>
                <a:close/>
                <a:moveTo>
                  <a:pt x="1336190" y="7415641"/>
                </a:moveTo>
                <a:cubicBezTo>
                  <a:pt x="1330331" y="7415641"/>
                  <a:pt x="1327802" y="7417505"/>
                  <a:pt x="1326204" y="7419236"/>
                </a:cubicBezTo>
                <a:cubicBezTo>
                  <a:pt x="1323674" y="7421898"/>
                  <a:pt x="1322610" y="7424694"/>
                  <a:pt x="1322610" y="7428687"/>
                </a:cubicBezTo>
                <a:cubicBezTo>
                  <a:pt x="1322610" y="7432814"/>
                  <a:pt x="1323674" y="7435609"/>
                  <a:pt x="1326204" y="7438138"/>
                </a:cubicBezTo>
                <a:cubicBezTo>
                  <a:pt x="1327802" y="7439869"/>
                  <a:pt x="1330331" y="7441732"/>
                  <a:pt x="1336190" y="7441732"/>
                </a:cubicBezTo>
                <a:cubicBezTo>
                  <a:pt x="1338319" y="7441732"/>
                  <a:pt x="1340051" y="7441333"/>
                  <a:pt x="1341515" y="7440535"/>
                </a:cubicBezTo>
                <a:cubicBezTo>
                  <a:pt x="1342979" y="7440002"/>
                  <a:pt x="1344312" y="7439203"/>
                  <a:pt x="1345242" y="7438138"/>
                </a:cubicBezTo>
                <a:cubicBezTo>
                  <a:pt x="1346307" y="7437074"/>
                  <a:pt x="1347239" y="7435742"/>
                  <a:pt x="1347905" y="7434011"/>
                </a:cubicBezTo>
                <a:cubicBezTo>
                  <a:pt x="1348570" y="7432414"/>
                  <a:pt x="1348971" y="7430551"/>
                  <a:pt x="1348971" y="7428554"/>
                </a:cubicBezTo>
                <a:cubicBezTo>
                  <a:pt x="1348971" y="7426690"/>
                  <a:pt x="1348570" y="7424960"/>
                  <a:pt x="1347905" y="7423362"/>
                </a:cubicBezTo>
                <a:cubicBezTo>
                  <a:pt x="1347239" y="7421765"/>
                  <a:pt x="1346307" y="7420434"/>
                  <a:pt x="1345242" y="7419236"/>
                </a:cubicBezTo>
                <a:cubicBezTo>
                  <a:pt x="1344177" y="7418171"/>
                  <a:pt x="1342846" y="7417239"/>
                  <a:pt x="1341250" y="7416573"/>
                </a:cubicBezTo>
                <a:cubicBezTo>
                  <a:pt x="1339782" y="7415908"/>
                  <a:pt x="1338187" y="7415641"/>
                  <a:pt x="1336190" y="7415641"/>
                </a:cubicBezTo>
                <a:close/>
                <a:moveTo>
                  <a:pt x="1118675" y="7415641"/>
                </a:moveTo>
                <a:cubicBezTo>
                  <a:pt x="1112817" y="7415641"/>
                  <a:pt x="1110287" y="7417505"/>
                  <a:pt x="1108691" y="7419236"/>
                </a:cubicBezTo>
                <a:cubicBezTo>
                  <a:pt x="1106028" y="7421898"/>
                  <a:pt x="1104964" y="7424694"/>
                  <a:pt x="1104964" y="7428687"/>
                </a:cubicBezTo>
                <a:cubicBezTo>
                  <a:pt x="1104964" y="7432814"/>
                  <a:pt x="1106028" y="7435609"/>
                  <a:pt x="1108557" y="7438138"/>
                </a:cubicBezTo>
                <a:cubicBezTo>
                  <a:pt x="1110154" y="7439869"/>
                  <a:pt x="1112684" y="7441732"/>
                  <a:pt x="1118543" y="7441732"/>
                </a:cubicBezTo>
                <a:cubicBezTo>
                  <a:pt x="1120674" y="7441732"/>
                  <a:pt x="1122403" y="7441333"/>
                  <a:pt x="1124001" y="7440535"/>
                </a:cubicBezTo>
                <a:cubicBezTo>
                  <a:pt x="1125464" y="7440002"/>
                  <a:pt x="1126799" y="7439203"/>
                  <a:pt x="1127732" y="7438138"/>
                </a:cubicBezTo>
                <a:cubicBezTo>
                  <a:pt x="1128797" y="7437074"/>
                  <a:pt x="1129729" y="7435742"/>
                  <a:pt x="1130395" y="7434011"/>
                </a:cubicBezTo>
                <a:cubicBezTo>
                  <a:pt x="1131059" y="7432414"/>
                  <a:pt x="1131460" y="7430551"/>
                  <a:pt x="1131460" y="7428554"/>
                </a:cubicBezTo>
                <a:cubicBezTo>
                  <a:pt x="1131460" y="7426690"/>
                  <a:pt x="1131059" y="7424960"/>
                  <a:pt x="1130395" y="7423362"/>
                </a:cubicBezTo>
                <a:cubicBezTo>
                  <a:pt x="1129729" y="7421765"/>
                  <a:pt x="1128797" y="7420434"/>
                  <a:pt x="1127732" y="7419236"/>
                </a:cubicBezTo>
                <a:cubicBezTo>
                  <a:pt x="1126665" y="7418171"/>
                  <a:pt x="1125333" y="7417239"/>
                  <a:pt x="1123734" y="7416573"/>
                </a:cubicBezTo>
                <a:cubicBezTo>
                  <a:pt x="1122271" y="7415908"/>
                  <a:pt x="1120674" y="7415641"/>
                  <a:pt x="1118675" y="7415641"/>
                </a:cubicBezTo>
                <a:close/>
                <a:moveTo>
                  <a:pt x="901164" y="7415641"/>
                </a:moveTo>
                <a:cubicBezTo>
                  <a:pt x="895306" y="7415641"/>
                  <a:pt x="892777" y="7417505"/>
                  <a:pt x="891180" y="7419236"/>
                </a:cubicBezTo>
                <a:cubicBezTo>
                  <a:pt x="888516" y="7421898"/>
                  <a:pt x="887452" y="7424694"/>
                  <a:pt x="887452" y="7428687"/>
                </a:cubicBezTo>
                <a:cubicBezTo>
                  <a:pt x="887452" y="7432814"/>
                  <a:pt x="888516" y="7435609"/>
                  <a:pt x="891047" y="7438138"/>
                </a:cubicBezTo>
                <a:cubicBezTo>
                  <a:pt x="892644" y="7439869"/>
                  <a:pt x="895172" y="7441732"/>
                  <a:pt x="901029" y="7441732"/>
                </a:cubicBezTo>
                <a:cubicBezTo>
                  <a:pt x="903027" y="7441732"/>
                  <a:pt x="904758" y="7441333"/>
                  <a:pt x="906488" y="7440535"/>
                </a:cubicBezTo>
                <a:cubicBezTo>
                  <a:pt x="907952" y="7440002"/>
                  <a:pt x="909284" y="7439203"/>
                  <a:pt x="910216" y="7438138"/>
                </a:cubicBezTo>
                <a:cubicBezTo>
                  <a:pt x="911280" y="7437074"/>
                  <a:pt x="912212" y="7435742"/>
                  <a:pt x="912878" y="7434011"/>
                </a:cubicBezTo>
                <a:cubicBezTo>
                  <a:pt x="913543" y="7432414"/>
                  <a:pt x="913943" y="7430551"/>
                  <a:pt x="913943" y="7428554"/>
                </a:cubicBezTo>
                <a:cubicBezTo>
                  <a:pt x="913943" y="7426690"/>
                  <a:pt x="913543" y="7424960"/>
                  <a:pt x="912878" y="7423362"/>
                </a:cubicBezTo>
                <a:cubicBezTo>
                  <a:pt x="912212" y="7421765"/>
                  <a:pt x="911280" y="7420434"/>
                  <a:pt x="910216" y="7419236"/>
                </a:cubicBezTo>
                <a:cubicBezTo>
                  <a:pt x="909151" y="7418171"/>
                  <a:pt x="907819" y="7417239"/>
                  <a:pt x="906222" y="7416573"/>
                </a:cubicBezTo>
                <a:cubicBezTo>
                  <a:pt x="904758" y="7415908"/>
                  <a:pt x="903160" y="7415641"/>
                  <a:pt x="901164" y="7415641"/>
                </a:cubicBezTo>
                <a:close/>
                <a:moveTo>
                  <a:pt x="683390" y="7415641"/>
                </a:moveTo>
                <a:cubicBezTo>
                  <a:pt x="677534" y="7415641"/>
                  <a:pt x="675005" y="7417505"/>
                  <a:pt x="673407" y="7419236"/>
                </a:cubicBezTo>
                <a:cubicBezTo>
                  <a:pt x="670878" y="7421898"/>
                  <a:pt x="669814" y="7424694"/>
                  <a:pt x="669814" y="7428687"/>
                </a:cubicBezTo>
                <a:cubicBezTo>
                  <a:pt x="669814" y="7432814"/>
                  <a:pt x="670878" y="7435609"/>
                  <a:pt x="673407" y="7438138"/>
                </a:cubicBezTo>
                <a:cubicBezTo>
                  <a:pt x="675005" y="7439869"/>
                  <a:pt x="677534" y="7441732"/>
                  <a:pt x="683390" y="7441732"/>
                </a:cubicBezTo>
                <a:cubicBezTo>
                  <a:pt x="685388" y="7441732"/>
                  <a:pt x="687252" y="7441333"/>
                  <a:pt x="688716" y="7440535"/>
                </a:cubicBezTo>
                <a:cubicBezTo>
                  <a:pt x="690180" y="7440002"/>
                  <a:pt x="691512" y="7439203"/>
                  <a:pt x="692443" y="7438138"/>
                </a:cubicBezTo>
                <a:cubicBezTo>
                  <a:pt x="693508" y="7437074"/>
                  <a:pt x="694440" y="7435742"/>
                  <a:pt x="695106" y="7434011"/>
                </a:cubicBezTo>
                <a:cubicBezTo>
                  <a:pt x="695771" y="7432414"/>
                  <a:pt x="696171" y="7430551"/>
                  <a:pt x="696171" y="7428554"/>
                </a:cubicBezTo>
                <a:cubicBezTo>
                  <a:pt x="696171" y="7426690"/>
                  <a:pt x="695771" y="7424960"/>
                  <a:pt x="695106" y="7423362"/>
                </a:cubicBezTo>
                <a:cubicBezTo>
                  <a:pt x="694440" y="7421765"/>
                  <a:pt x="693508" y="7420434"/>
                  <a:pt x="692443" y="7419236"/>
                </a:cubicBezTo>
                <a:cubicBezTo>
                  <a:pt x="691378" y="7418171"/>
                  <a:pt x="690047" y="7417239"/>
                  <a:pt x="688450" y="7416573"/>
                </a:cubicBezTo>
                <a:cubicBezTo>
                  <a:pt x="686986" y="7415908"/>
                  <a:pt x="685388" y="7415641"/>
                  <a:pt x="683390" y="7415641"/>
                </a:cubicBezTo>
                <a:close/>
                <a:moveTo>
                  <a:pt x="465751" y="7415641"/>
                </a:moveTo>
                <a:cubicBezTo>
                  <a:pt x="459893" y="7415641"/>
                  <a:pt x="457365" y="7417505"/>
                  <a:pt x="455767" y="7419236"/>
                </a:cubicBezTo>
                <a:cubicBezTo>
                  <a:pt x="453237" y="7421898"/>
                  <a:pt x="452173" y="7424694"/>
                  <a:pt x="452173" y="7428687"/>
                </a:cubicBezTo>
                <a:cubicBezTo>
                  <a:pt x="452173" y="7432814"/>
                  <a:pt x="453237" y="7435609"/>
                  <a:pt x="455767" y="7438138"/>
                </a:cubicBezTo>
                <a:cubicBezTo>
                  <a:pt x="457365" y="7439869"/>
                  <a:pt x="459893" y="7441732"/>
                  <a:pt x="465751" y="7441732"/>
                </a:cubicBezTo>
                <a:cubicBezTo>
                  <a:pt x="467748" y="7441732"/>
                  <a:pt x="469611" y="7441333"/>
                  <a:pt x="471076" y="7440535"/>
                </a:cubicBezTo>
                <a:cubicBezTo>
                  <a:pt x="472540" y="7440002"/>
                  <a:pt x="473871" y="7439203"/>
                  <a:pt x="474803" y="7438138"/>
                </a:cubicBezTo>
                <a:cubicBezTo>
                  <a:pt x="475868" y="7437074"/>
                  <a:pt x="476799" y="7435742"/>
                  <a:pt x="477466" y="7434011"/>
                </a:cubicBezTo>
                <a:cubicBezTo>
                  <a:pt x="478131" y="7432414"/>
                  <a:pt x="478531" y="7430551"/>
                  <a:pt x="478531" y="7428554"/>
                </a:cubicBezTo>
                <a:cubicBezTo>
                  <a:pt x="478531" y="7426690"/>
                  <a:pt x="478131" y="7424960"/>
                  <a:pt x="477466" y="7423362"/>
                </a:cubicBezTo>
                <a:cubicBezTo>
                  <a:pt x="476799" y="7421765"/>
                  <a:pt x="475868" y="7420434"/>
                  <a:pt x="474803" y="7419236"/>
                </a:cubicBezTo>
                <a:cubicBezTo>
                  <a:pt x="473738" y="7418171"/>
                  <a:pt x="472407" y="7417239"/>
                  <a:pt x="470810" y="7416573"/>
                </a:cubicBezTo>
                <a:cubicBezTo>
                  <a:pt x="469346" y="7415908"/>
                  <a:pt x="467748" y="7415641"/>
                  <a:pt x="465751" y="7415641"/>
                </a:cubicBezTo>
                <a:close/>
                <a:moveTo>
                  <a:pt x="248110" y="7415641"/>
                </a:moveTo>
                <a:cubicBezTo>
                  <a:pt x="242253" y="7415641"/>
                  <a:pt x="239725" y="7417505"/>
                  <a:pt x="238128" y="7419236"/>
                </a:cubicBezTo>
                <a:cubicBezTo>
                  <a:pt x="235598" y="7421898"/>
                  <a:pt x="234534" y="7424694"/>
                  <a:pt x="234534" y="7428687"/>
                </a:cubicBezTo>
                <a:cubicBezTo>
                  <a:pt x="234534" y="7432814"/>
                  <a:pt x="235598" y="7435609"/>
                  <a:pt x="238128" y="7438138"/>
                </a:cubicBezTo>
                <a:cubicBezTo>
                  <a:pt x="239725" y="7439869"/>
                  <a:pt x="242253" y="7441732"/>
                  <a:pt x="248110" y="7441732"/>
                </a:cubicBezTo>
                <a:cubicBezTo>
                  <a:pt x="250240" y="7441732"/>
                  <a:pt x="251970" y="7441333"/>
                  <a:pt x="253434" y="7440535"/>
                </a:cubicBezTo>
                <a:cubicBezTo>
                  <a:pt x="254898" y="7440002"/>
                  <a:pt x="256229" y="7439203"/>
                  <a:pt x="257161" y="7438138"/>
                </a:cubicBezTo>
                <a:cubicBezTo>
                  <a:pt x="258226" y="7437074"/>
                  <a:pt x="259158" y="7435742"/>
                  <a:pt x="259824" y="7434011"/>
                </a:cubicBezTo>
                <a:cubicBezTo>
                  <a:pt x="260489" y="7432414"/>
                  <a:pt x="260889" y="7430551"/>
                  <a:pt x="260889" y="7428554"/>
                </a:cubicBezTo>
                <a:cubicBezTo>
                  <a:pt x="260889" y="7426690"/>
                  <a:pt x="260489" y="7424960"/>
                  <a:pt x="259824" y="7423362"/>
                </a:cubicBezTo>
                <a:cubicBezTo>
                  <a:pt x="259158" y="7421765"/>
                  <a:pt x="258226" y="7420434"/>
                  <a:pt x="257161" y="7419236"/>
                </a:cubicBezTo>
                <a:cubicBezTo>
                  <a:pt x="256096" y="7418171"/>
                  <a:pt x="254766" y="7417239"/>
                  <a:pt x="253168" y="7416573"/>
                </a:cubicBezTo>
                <a:cubicBezTo>
                  <a:pt x="251703" y="7415908"/>
                  <a:pt x="250107" y="7415641"/>
                  <a:pt x="248110" y="7415641"/>
                </a:cubicBezTo>
                <a:close/>
                <a:moveTo>
                  <a:pt x="30469" y="7415641"/>
                </a:moveTo>
                <a:cubicBezTo>
                  <a:pt x="24612" y="7415641"/>
                  <a:pt x="22083" y="7417505"/>
                  <a:pt x="20486" y="7419236"/>
                </a:cubicBezTo>
                <a:cubicBezTo>
                  <a:pt x="17957" y="7421898"/>
                  <a:pt x="16893" y="7424694"/>
                  <a:pt x="16893" y="7428687"/>
                </a:cubicBezTo>
                <a:cubicBezTo>
                  <a:pt x="16893" y="7432814"/>
                  <a:pt x="17957" y="7435609"/>
                  <a:pt x="20486" y="7438138"/>
                </a:cubicBezTo>
                <a:cubicBezTo>
                  <a:pt x="22083" y="7439869"/>
                  <a:pt x="24612" y="7441732"/>
                  <a:pt x="30469" y="7441732"/>
                </a:cubicBezTo>
                <a:cubicBezTo>
                  <a:pt x="32599" y="7441732"/>
                  <a:pt x="34330" y="7441333"/>
                  <a:pt x="35794" y="7440535"/>
                </a:cubicBezTo>
                <a:cubicBezTo>
                  <a:pt x="37258" y="7440002"/>
                  <a:pt x="38590" y="7439203"/>
                  <a:pt x="39521" y="7438138"/>
                </a:cubicBezTo>
                <a:cubicBezTo>
                  <a:pt x="40586" y="7437074"/>
                  <a:pt x="41518" y="7435742"/>
                  <a:pt x="42184" y="7434011"/>
                </a:cubicBezTo>
                <a:cubicBezTo>
                  <a:pt x="42849" y="7432414"/>
                  <a:pt x="43115" y="7430551"/>
                  <a:pt x="43115" y="7428554"/>
                </a:cubicBezTo>
                <a:cubicBezTo>
                  <a:pt x="43115" y="7426690"/>
                  <a:pt x="42849" y="7424960"/>
                  <a:pt x="42184" y="7423362"/>
                </a:cubicBezTo>
                <a:cubicBezTo>
                  <a:pt x="41518" y="7421765"/>
                  <a:pt x="40586" y="7420434"/>
                  <a:pt x="39521" y="7419236"/>
                </a:cubicBezTo>
                <a:cubicBezTo>
                  <a:pt x="38456" y="7418171"/>
                  <a:pt x="37125" y="7417239"/>
                  <a:pt x="35528" y="7416573"/>
                </a:cubicBezTo>
                <a:cubicBezTo>
                  <a:pt x="34064" y="7415908"/>
                  <a:pt x="32466" y="7415641"/>
                  <a:pt x="30469" y="7415641"/>
                </a:cubicBezTo>
                <a:close/>
                <a:moveTo>
                  <a:pt x="10475977" y="7399134"/>
                </a:moveTo>
                <a:cubicBezTo>
                  <a:pt x="10480237" y="7399134"/>
                  <a:pt x="10484230" y="7399933"/>
                  <a:pt x="10487824" y="7401530"/>
                </a:cubicBezTo>
                <a:cubicBezTo>
                  <a:pt x="10491419" y="7402995"/>
                  <a:pt x="10494613" y="7405124"/>
                  <a:pt x="10497143" y="7407787"/>
                </a:cubicBezTo>
                <a:cubicBezTo>
                  <a:pt x="10499672" y="7410449"/>
                  <a:pt x="10501801" y="7413645"/>
                  <a:pt x="10503266" y="7417239"/>
                </a:cubicBezTo>
                <a:cubicBezTo>
                  <a:pt x="10504730" y="7420833"/>
                  <a:pt x="10505529" y="7424561"/>
                  <a:pt x="10505529" y="7428687"/>
                </a:cubicBezTo>
                <a:cubicBezTo>
                  <a:pt x="10505529" y="7432814"/>
                  <a:pt x="10504730" y="7436807"/>
                  <a:pt x="10503266" y="7440402"/>
                </a:cubicBezTo>
                <a:cubicBezTo>
                  <a:pt x="10501669" y="7444128"/>
                  <a:pt x="10499672" y="7447191"/>
                  <a:pt x="10497143" y="7449852"/>
                </a:cubicBezTo>
                <a:cubicBezTo>
                  <a:pt x="10494480" y="7452515"/>
                  <a:pt x="10491419" y="7454645"/>
                  <a:pt x="10487824" y="7456109"/>
                </a:cubicBezTo>
                <a:cubicBezTo>
                  <a:pt x="10484098" y="7457573"/>
                  <a:pt x="10480237" y="7458372"/>
                  <a:pt x="10475977" y="7458372"/>
                </a:cubicBezTo>
                <a:cubicBezTo>
                  <a:pt x="10466924" y="7458372"/>
                  <a:pt x="10459736" y="7455444"/>
                  <a:pt x="10454145" y="7449852"/>
                </a:cubicBezTo>
                <a:cubicBezTo>
                  <a:pt x="10448554" y="7444128"/>
                  <a:pt x="10445759" y="7437074"/>
                  <a:pt x="10445759" y="7428687"/>
                </a:cubicBezTo>
                <a:cubicBezTo>
                  <a:pt x="10445759" y="7420434"/>
                  <a:pt x="10448554" y="7413379"/>
                  <a:pt x="10454145" y="7407654"/>
                </a:cubicBezTo>
                <a:cubicBezTo>
                  <a:pt x="10459603" y="7401930"/>
                  <a:pt x="10466924" y="7399134"/>
                  <a:pt x="10475977" y="7399134"/>
                </a:cubicBezTo>
                <a:close/>
                <a:moveTo>
                  <a:pt x="10258466" y="7399134"/>
                </a:moveTo>
                <a:cubicBezTo>
                  <a:pt x="10262592" y="7399134"/>
                  <a:pt x="10266586" y="7399933"/>
                  <a:pt x="10270313" y="7401530"/>
                </a:cubicBezTo>
                <a:cubicBezTo>
                  <a:pt x="10273907" y="7402995"/>
                  <a:pt x="10277101" y="7405124"/>
                  <a:pt x="10279631" y="7407787"/>
                </a:cubicBezTo>
                <a:cubicBezTo>
                  <a:pt x="10282160" y="7410449"/>
                  <a:pt x="10284290" y="7413645"/>
                  <a:pt x="10285754" y="7417239"/>
                </a:cubicBezTo>
                <a:cubicBezTo>
                  <a:pt x="10287218" y="7420833"/>
                  <a:pt x="10288017" y="7424561"/>
                  <a:pt x="10288017" y="7428687"/>
                </a:cubicBezTo>
                <a:cubicBezTo>
                  <a:pt x="10288017" y="7432814"/>
                  <a:pt x="10287218" y="7436807"/>
                  <a:pt x="10285754" y="7440402"/>
                </a:cubicBezTo>
                <a:cubicBezTo>
                  <a:pt x="10284157" y="7444128"/>
                  <a:pt x="10282160" y="7447191"/>
                  <a:pt x="10279631" y="7449852"/>
                </a:cubicBezTo>
                <a:cubicBezTo>
                  <a:pt x="10276969" y="7452515"/>
                  <a:pt x="10273907" y="7454645"/>
                  <a:pt x="10270313" y="7456109"/>
                </a:cubicBezTo>
                <a:cubicBezTo>
                  <a:pt x="10266586" y="7457573"/>
                  <a:pt x="10262725" y="7458372"/>
                  <a:pt x="10258466" y="7458372"/>
                </a:cubicBezTo>
                <a:cubicBezTo>
                  <a:pt x="10249546" y="7458372"/>
                  <a:pt x="10242224" y="7455444"/>
                  <a:pt x="10236633" y="7449852"/>
                </a:cubicBezTo>
                <a:cubicBezTo>
                  <a:pt x="10231043" y="7444128"/>
                  <a:pt x="10228247" y="7437074"/>
                  <a:pt x="10228247" y="7428687"/>
                </a:cubicBezTo>
                <a:cubicBezTo>
                  <a:pt x="10228247" y="7420434"/>
                  <a:pt x="10231043" y="7413379"/>
                  <a:pt x="10236633" y="7407654"/>
                </a:cubicBezTo>
                <a:cubicBezTo>
                  <a:pt x="10242092" y="7401930"/>
                  <a:pt x="10249413" y="7399134"/>
                  <a:pt x="10258466" y="7399134"/>
                </a:cubicBezTo>
                <a:close/>
                <a:moveTo>
                  <a:pt x="10040820" y="7399134"/>
                </a:moveTo>
                <a:cubicBezTo>
                  <a:pt x="10045080" y="7399134"/>
                  <a:pt x="10048941" y="7399933"/>
                  <a:pt x="10052534" y="7401530"/>
                </a:cubicBezTo>
                <a:cubicBezTo>
                  <a:pt x="10056129" y="7402995"/>
                  <a:pt x="10059323" y="7405124"/>
                  <a:pt x="10061852" y="7407787"/>
                </a:cubicBezTo>
                <a:cubicBezTo>
                  <a:pt x="10064382" y="7410449"/>
                  <a:pt x="10066512" y="7413645"/>
                  <a:pt x="10067976" y="7417239"/>
                </a:cubicBezTo>
                <a:cubicBezTo>
                  <a:pt x="10069440" y="7420833"/>
                  <a:pt x="10070239" y="7424561"/>
                  <a:pt x="10070239" y="7428687"/>
                </a:cubicBezTo>
                <a:cubicBezTo>
                  <a:pt x="10070239" y="7432814"/>
                  <a:pt x="10069440" y="7436807"/>
                  <a:pt x="10067976" y="7440402"/>
                </a:cubicBezTo>
                <a:cubicBezTo>
                  <a:pt x="10066379" y="7444128"/>
                  <a:pt x="10064382" y="7447191"/>
                  <a:pt x="10061852" y="7449852"/>
                </a:cubicBezTo>
                <a:cubicBezTo>
                  <a:pt x="10059190" y="7452515"/>
                  <a:pt x="10056129" y="7454645"/>
                  <a:pt x="10052534" y="7456109"/>
                </a:cubicBezTo>
                <a:cubicBezTo>
                  <a:pt x="10048941" y="7457573"/>
                  <a:pt x="10045080" y="7458372"/>
                  <a:pt x="10040820" y="7458372"/>
                </a:cubicBezTo>
                <a:cubicBezTo>
                  <a:pt x="10031767" y="7458372"/>
                  <a:pt x="10024579" y="7455444"/>
                  <a:pt x="10018988" y="7449852"/>
                </a:cubicBezTo>
                <a:cubicBezTo>
                  <a:pt x="10013397" y="7444128"/>
                  <a:pt x="10010602" y="7437074"/>
                  <a:pt x="10010602" y="7428687"/>
                </a:cubicBezTo>
                <a:cubicBezTo>
                  <a:pt x="10010602" y="7420434"/>
                  <a:pt x="10013397" y="7413379"/>
                  <a:pt x="10018988" y="7407654"/>
                </a:cubicBezTo>
                <a:cubicBezTo>
                  <a:pt x="10024579" y="7401930"/>
                  <a:pt x="10031767" y="7399134"/>
                  <a:pt x="10040820" y="7399134"/>
                </a:cubicBezTo>
                <a:close/>
                <a:moveTo>
                  <a:pt x="9823176" y="7399134"/>
                </a:moveTo>
                <a:cubicBezTo>
                  <a:pt x="9827435" y="7399134"/>
                  <a:pt x="9831296" y="7399933"/>
                  <a:pt x="9834890" y="7401530"/>
                </a:cubicBezTo>
                <a:cubicBezTo>
                  <a:pt x="9838617" y="7402995"/>
                  <a:pt x="9841679" y="7405124"/>
                  <a:pt x="9844208" y="7407787"/>
                </a:cubicBezTo>
                <a:cubicBezTo>
                  <a:pt x="9846737" y="7410449"/>
                  <a:pt x="9848867" y="7413645"/>
                  <a:pt x="9850331" y="7417239"/>
                </a:cubicBezTo>
                <a:cubicBezTo>
                  <a:pt x="9851796" y="7420833"/>
                  <a:pt x="9852595" y="7424561"/>
                  <a:pt x="9852595" y="7428687"/>
                </a:cubicBezTo>
                <a:cubicBezTo>
                  <a:pt x="9852595" y="7432814"/>
                  <a:pt x="9851796" y="7436807"/>
                  <a:pt x="9850331" y="7440402"/>
                </a:cubicBezTo>
                <a:cubicBezTo>
                  <a:pt x="9848734" y="7444128"/>
                  <a:pt x="9846737" y="7447191"/>
                  <a:pt x="9844208" y="7449852"/>
                </a:cubicBezTo>
                <a:cubicBezTo>
                  <a:pt x="9841546" y="7452515"/>
                  <a:pt x="9838484" y="7454645"/>
                  <a:pt x="9834890" y="7456109"/>
                </a:cubicBezTo>
                <a:cubicBezTo>
                  <a:pt x="9831296" y="7457573"/>
                  <a:pt x="9827435" y="7458372"/>
                  <a:pt x="9823176" y="7458372"/>
                </a:cubicBezTo>
                <a:cubicBezTo>
                  <a:pt x="9814123" y="7458372"/>
                  <a:pt x="9806935" y="7455444"/>
                  <a:pt x="9801343" y="7449852"/>
                </a:cubicBezTo>
                <a:cubicBezTo>
                  <a:pt x="9795753" y="7444128"/>
                  <a:pt x="9792957" y="7437074"/>
                  <a:pt x="9792957" y="7428687"/>
                </a:cubicBezTo>
                <a:cubicBezTo>
                  <a:pt x="9792957" y="7420434"/>
                  <a:pt x="9795753" y="7413379"/>
                  <a:pt x="9801343" y="7407654"/>
                </a:cubicBezTo>
                <a:cubicBezTo>
                  <a:pt x="9806935" y="7401930"/>
                  <a:pt x="9814123" y="7399134"/>
                  <a:pt x="9823176" y="7399134"/>
                </a:cubicBezTo>
                <a:close/>
                <a:moveTo>
                  <a:pt x="9605531" y="7399134"/>
                </a:moveTo>
                <a:cubicBezTo>
                  <a:pt x="9609790" y="7399134"/>
                  <a:pt x="9613784" y="7399933"/>
                  <a:pt x="9617245" y="7401530"/>
                </a:cubicBezTo>
                <a:cubicBezTo>
                  <a:pt x="9620839" y="7402995"/>
                  <a:pt x="9624033" y="7405124"/>
                  <a:pt x="9626562" y="7407787"/>
                </a:cubicBezTo>
                <a:cubicBezTo>
                  <a:pt x="9629092" y="7410449"/>
                  <a:pt x="9631222" y="7413645"/>
                  <a:pt x="9632686" y="7417239"/>
                </a:cubicBezTo>
                <a:cubicBezTo>
                  <a:pt x="9634150" y="7420833"/>
                  <a:pt x="9634949" y="7424561"/>
                  <a:pt x="9634949" y="7428687"/>
                </a:cubicBezTo>
                <a:cubicBezTo>
                  <a:pt x="9634949" y="7432814"/>
                  <a:pt x="9634150" y="7436807"/>
                  <a:pt x="9632686" y="7440402"/>
                </a:cubicBezTo>
                <a:cubicBezTo>
                  <a:pt x="9631089" y="7444128"/>
                  <a:pt x="9629092" y="7447191"/>
                  <a:pt x="9626562" y="7449852"/>
                </a:cubicBezTo>
                <a:cubicBezTo>
                  <a:pt x="9623901" y="7452515"/>
                  <a:pt x="9620839" y="7454645"/>
                  <a:pt x="9617245" y="7456109"/>
                </a:cubicBezTo>
                <a:cubicBezTo>
                  <a:pt x="9613651" y="7457573"/>
                  <a:pt x="9609790" y="7458372"/>
                  <a:pt x="9605531" y="7458372"/>
                </a:cubicBezTo>
                <a:cubicBezTo>
                  <a:pt x="9596610" y="7458372"/>
                  <a:pt x="9589289" y="7455444"/>
                  <a:pt x="9583698" y="7449852"/>
                </a:cubicBezTo>
                <a:cubicBezTo>
                  <a:pt x="9578108" y="7444128"/>
                  <a:pt x="9575312" y="7437074"/>
                  <a:pt x="9575312" y="7428687"/>
                </a:cubicBezTo>
                <a:cubicBezTo>
                  <a:pt x="9575312" y="7420434"/>
                  <a:pt x="9578108" y="7413379"/>
                  <a:pt x="9583698" y="7407654"/>
                </a:cubicBezTo>
                <a:cubicBezTo>
                  <a:pt x="9589289" y="7401930"/>
                  <a:pt x="9596478" y="7399134"/>
                  <a:pt x="9605531" y="7399134"/>
                </a:cubicBezTo>
                <a:close/>
                <a:moveTo>
                  <a:pt x="9387885" y="7399134"/>
                </a:moveTo>
                <a:cubicBezTo>
                  <a:pt x="9392145" y="7399134"/>
                  <a:pt x="9396138" y="7399933"/>
                  <a:pt x="9399599" y="7401530"/>
                </a:cubicBezTo>
                <a:cubicBezTo>
                  <a:pt x="9403194" y="7402995"/>
                  <a:pt x="9406388" y="7405124"/>
                  <a:pt x="9408917" y="7407787"/>
                </a:cubicBezTo>
                <a:cubicBezTo>
                  <a:pt x="9411447" y="7410449"/>
                  <a:pt x="9413576" y="7413645"/>
                  <a:pt x="9415041" y="7417239"/>
                </a:cubicBezTo>
                <a:cubicBezTo>
                  <a:pt x="9416505" y="7420833"/>
                  <a:pt x="9417304" y="7424561"/>
                  <a:pt x="9417304" y="7428687"/>
                </a:cubicBezTo>
                <a:cubicBezTo>
                  <a:pt x="9417304" y="7432814"/>
                  <a:pt x="9416505" y="7436807"/>
                  <a:pt x="9415041" y="7440402"/>
                </a:cubicBezTo>
                <a:cubicBezTo>
                  <a:pt x="9413444" y="7444128"/>
                  <a:pt x="9411447" y="7447191"/>
                  <a:pt x="9408917" y="7449852"/>
                </a:cubicBezTo>
                <a:cubicBezTo>
                  <a:pt x="9406255" y="7452515"/>
                  <a:pt x="9403194" y="7454645"/>
                  <a:pt x="9399599" y="7456109"/>
                </a:cubicBezTo>
                <a:cubicBezTo>
                  <a:pt x="9396005" y="7457573"/>
                  <a:pt x="9392145" y="7458372"/>
                  <a:pt x="9387885" y="7458372"/>
                </a:cubicBezTo>
                <a:cubicBezTo>
                  <a:pt x="9378965" y="7458372"/>
                  <a:pt x="9371644" y="7455444"/>
                  <a:pt x="9366053" y="7449852"/>
                </a:cubicBezTo>
                <a:cubicBezTo>
                  <a:pt x="9360462" y="7444128"/>
                  <a:pt x="9357667" y="7437074"/>
                  <a:pt x="9357667" y="7428687"/>
                </a:cubicBezTo>
                <a:cubicBezTo>
                  <a:pt x="9357667" y="7420434"/>
                  <a:pt x="9360462" y="7413379"/>
                  <a:pt x="9366053" y="7407654"/>
                </a:cubicBezTo>
                <a:cubicBezTo>
                  <a:pt x="9371644" y="7401930"/>
                  <a:pt x="9378832" y="7399134"/>
                  <a:pt x="9387885" y="7399134"/>
                </a:cubicBezTo>
                <a:close/>
                <a:moveTo>
                  <a:pt x="9170374" y="7399134"/>
                </a:moveTo>
                <a:cubicBezTo>
                  <a:pt x="9174500" y="7399134"/>
                  <a:pt x="9178494" y="7399933"/>
                  <a:pt x="9182088" y="7401530"/>
                </a:cubicBezTo>
                <a:cubicBezTo>
                  <a:pt x="9185682" y="7402995"/>
                  <a:pt x="9188876" y="7405124"/>
                  <a:pt x="9191405" y="7407787"/>
                </a:cubicBezTo>
                <a:cubicBezTo>
                  <a:pt x="9193935" y="7410449"/>
                  <a:pt x="9196065" y="7413645"/>
                  <a:pt x="9197529" y="7417239"/>
                </a:cubicBezTo>
                <a:cubicBezTo>
                  <a:pt x="9198993" y="7420833"/>
                  <a:pt x="9199792" y="7424561"/>
                  <a:pt x="9199792" y="7428687"/>
                </a:cubicBezTo>
                <a:cubicBezTo>
                  <a:pt x="9199792" y="7432814"/>
                  <a:pt x="9198993" y="7436807"/>
                  <a:pt x="9197529" y="7440402"/>
                </a:cubicBezTo>
                <a:cubicBezTo>
                  <a:pt x="9195932" y="7444128"/>
                  <a:pt x="9193935" y="7447191"/>
                  <a:pt x="9191405" y="7449852"/>
                </a:cubicBezTo>
                <a:cubicBezTo>
                  <a:pt x="9188744" y="7452515"/>
                  <a:pt x="9185682" y="7454645"/>
                  <a:pt x="9182088" y="7456109"/>
                </a:cubicBezTo>
                <a:cubicBezTo>
                  <a:pt x="9178494" y="7457573"/>
                  <a:pt x="9174633" y="7458372"/>
                  <a:pt x="9170374" y="7458372"/>
                </a:cubicBezTo>
                <a:cubicBezTo>
                  <a:pt x="9161453" y="7458372"/>
                  <a:pt x="9154132" y="7455444"/>
                  <a:pt x="9148541" y="7449852"/>
                </a:cubicBezTo>
                <a:cubicBezTo>
                  <a:pt x="9142951" y="7444128"/>
                  <a:pt x="9140155" y="7437074"/>
                  <a:pt x="9140155" y="7428687"/>
                </a:cubicBezTo>
                <a:cubicBezTo>
                  <a:pt x="9140155" y="7420434"/>
                  <a:pt x="9142951" y="7413379"/>
                  <a:pt x="9148541" y="7407654"/>
                </a:cubicBezTo>
                <a:cubicBezTo>
                  <a:pt x="9154132" y="7401930"/>
                  <a:pt x="9161321" y="7399134"/>
                  <a:pt x="9170374" y="7399134"/>
                </a:cubicBezTo>
                <a:close/>
                <a:moveTo>
                  <a:pt x="8952728" y="7399134"/>
                </a:moveTo>
                <a:cubicBezTo>
                  <a:pt x="8956988" y="7399134"/>
                  <a:pt x="8960849" y="7399933"/>
                  <a:pt x="8964442" y="7401530"/>
                </a:cubicBezTo>
                <a:cubicBezTo>
                  <a:pt x="8968037" y="7402995"/>
                  <a:pt x="8971231" y="7405124"/>
                  <a:pt x="8973760" y="7407787"/>
                </a:cubicBezTo>
                <a:cubicBezTo>
                  <a:pt x="8976290" y="7410449"/>
                  <a:pt x="8978419" y="7413645"/>
                  <a:pt x="8979884" y="7417239"/>
                </a:cubicBezTo>
                <a:cubicBezTo>
                  <a:pt x="8981348" y="7420833"/>
                  <a:pt x="8982147" y="7424561"/>
                  <a:pt x="8982147" y="7428687"/>
                </a:cubicBezTo>
                <a:cubicBezTo>
                  <a:pt x="8982147" y="7432814"/>
                  <a:pt x="8981348" y="7436807"/>
                  <a:pt x="8979884" y="7440402"/>
                </a:cubicBezTo>
                <a:cubicBezTo>
                  <a:pt x="8978287" y="7444128"/>
                  <a:pt x="8976290" y="7447191"/>
                  <a:pt x="8973760" y="7449852"/>
                </a:cubicBezTo>
                <a:cubicBezTo>
                  <a:pt x="8971098" y="7452515"/>
                  <a:pt x="8968037" y="7454645"/>
                  <a:pt x="8964442" y="7456109"/>
                </a:cubicBezTo>
                <a:cubicBezTo>
                  <a:pt x="8960849" y="7457573"/>
                  <a:pt x="8956988" y="7458372"/>
                  <a:pt x="8952728" y="7458372"/>
                </a:cubicBezTo>
                <a:cubicBezTo>
                  <a:pt x="8943808" y="7458372"/>
                  <a:pt x="8936487" y="7455444"/>
                  <a:pt x="8930896" y="7449852"/>
                </a:cubicBezTo>
                <a:cubicBezTo>
                  <a:pt x="8925305" y="7444128"/>
                  <a:pt x="8922510" y="7437074"/>
                  <a:pt x="8922510" y="7428687"/>
                </a:cubicBezTo>
                <a:cubicBezTo>
                  <a:pt x="8922510" y="7420434"/>
                  <a:pt x="8925305" y="7413379"/>
                  <a:pt x="8930896" y="7407654"/>
                </a:cubicBezTo>
                <a:cubicBezTo>
                  <a:pt x="8936487" y="7401930"/>
                  <a:pt x="8943675" y="7399134"/>
                  <a:pt x="8952728" y="7399134"/>
                </a:cubicBezTo>
                <a:close/>
                <a:moveTo>
                  <a:pt x="8735083" y="7399134"/>
                </a:moveTo>
                <a:cubicBezTo>
                  <a:pt x="8739342" y="7399134"/>
                  <a:pt x="8743203" y="7399933"/>
                  <a:pt x="8746797" y="7401530"/>
                </a:cubicBezTo>
                <a:cubicBezTo>
                  <a:pt x="8750391" y="7402995"/>
                  <a:pt x="8753586" y="7405124"/>
                  <a:pt x="8756115" y="7407787"/>
                </a:cubicBezTo>
                <a:cubicBezTo>
                  <a:pt x="8758644" y="7410449"/>
                  <a:pt x="8760774" y="7413645"/>
                  <a:pt x="8762238" y="7417239"/>
                </a:cubicBezTo>
                <a:cubicBezTo>
                  <a:pt x="8763702" y="7420833"/>
                  <a:pt x="8764502" y="7424561"/>
                  <a:pt x="8764502" y="7428687"/>
                </a:cubicBezTo>
                <a:cubicBezTo>
                  <a:pt x="8764502" y="7432814"/>
                  <a:pt x="8763702" y="7436807"/>
                  <a:pt x="8762238" y="7440402"/>
                </a:cubicBezTo>
                <a:cubicBezTo>
                  <a:pt x="8760641" y="7444128"/>
                  <a:pt x="8758644" y="7447191"/>
                  <a:pt x="8756115" y="7449852"/>
                </a:cubicBezTo>
                <a:cubicBezTo>
                  <a:pt x="8753453" y="7452515"/>
                  <a:pt x="8750391" y="7454645"/>
                  <a:pt x="8746797" y="7456109"/>
                </a:cubicBezTo>
                <a:cubicBezTo>
                  <a:pt x="8743203" y="7457573"/>
                  <a:pt x="8739342" y="7458372"/>
                  <a:pt x="8735083" y="7458372"/>
                </a:cubicBezTo>
                <a:cubicBezTo>
                  <a:pt x="8726030" y="7458372"/>
                  <a:pt x="8718841" y="7455444"/>
                  <a:pt x="8713250" y="7449852"/>
                </a:cubicBezTo>
                <a:cubicBezTo>
                  <a:pt x="8707660" y="7444128"/>
                  <a:pt x="8704864" y="7437074"/>
                  <a:pt x="8704864" y="7428687"/>
                </a:cubicBezTo>
                <a:cubicBezTo>
                  <a:pt x="8704864" y="7420434"/>
                  <a:pt x="8707660" y="7413379"/>
                  <a:pt x="8713250" y="7407654"/>
                </a:cubicBezTo>
                <a:cubicBezTo>
                  <a:pt x="8718841" y="7401930"/>
                  <a:pt x="8726030" y="7399134"/>
                  <a:pt x="8735083" y="7399134"/>
                </a:cubicBezTo>
                <a:close/>
                <a:moveTo>
                  <a:pt x="8517438" y="7399134"/>
                </a:moveTo>
                <a:cubicBezTo>
                  <a:pt x="8521698" y="7399134"/>
                  <a:pt x="8525559" y="7399933"/>
                  <a:pt x="8529152" y="7401530"/>
                </a:cubicBezTo>
                <a:cubicBezTo>
                  <a:pt x="8532880" y="7402995"/>
                  <a:pt x="8535941" y="7405124"/>
                  <a:pt x="8538470" y="7407787"/>
                </a:cubicBezTo>
                <a:cubicBezTo>
                  <a:pt x="8541000" y="7410449"/>
                  <a:pt x="8543130" y="7413645"/>
                  <a:pt x="8544594" y="7417239"/>
                </a:cubicBezTo>
                <a:cubicBezTo>
                  <a:pt x="8546058" y="7420833"/>
                  <a:pt x="8546857" y="7424561"/>
                  <a:pt x="8546857" y="7428687"/>
                </a:cubicBezTo>
                <a:cubicBezTo>
                  <a:pt x="8546857" y="7432814"/>
                  <a:pt x="8546058" y="7436807"/>
                  <a:pt x="8544594" y="7440402"/>
                </a:cubicBezTo>
                <a:cubicBezTo>
                  <a:pt x="8542997" y="7444128"/>
                  <a:pt x="8541000" y="7447191"/>
                  <a:pt x="8538470" y="7449852"/>
                </a:cubicBezTo>
                <a:cubicBezTo>
                  <a:pt x="8535808" y="7452515"/>
                  <a:pt x="8532747" y="7454645"/>
                  <a:pt x="8529152" y="7456109"/>
                </a:cubicBezTo>
                <a:cubicBezTo>
                  <a:pt x="8525559" y="7457573"/>
                  <a:pt x="8521698" y="7458372"/>
                  <a:pt x="8517438" y="7458372"/>
                </a:cubicBezTo>
                <a:cubicBezTo>
                  <a:pt x="8508385" y="7458372"/>
                  <a:pt x="8501197" y="7455444"/>
                  <a:pt x="8495606" y="7449852"/>
                </a:cubicBezTo>
                <a:cubicBezTo>
                  <a:pt x="8490015" y="7444128"/>
                  <a:pt x="8487220" y="7437074"/>
                  <a:pt x="8487220" y="7428687"/>
                </a:cubicBezTo>
                <a:cubicBezTo>
                  <a:pt x="8487220" y="7420434"/>
                  <a:pt x="8490015" y="7413379"/>
                  <a:pt x="8495606" y="7407654"/>
                </a:cubicBezTo>
                <a:cubicBezTo>
                  <a:pt x="8501197" y="7401930"/>
                  <a:pt x="8508385" y="7399134"/>
                  <a:pt x="8517438" y="7399134"/>
                </a:cubicBezTo>
                <a:close/>
                <a:moveTo>
                  <a:pt x="8299793" y="7399134"/>
                </a:moveTo>
                <a:cubicBezTo>
                  <a:pt x="8304052" y="7399134"/>
                  <a:pt x="8308046" y="7399933"/>
                  <a:pt x="8311507" y="7401530"/>
                </a:cubicBezTo>
                <a:cubicBezTo>
                  <a:pt x="8315235" y="7402995"/>
                  <a:pt x="8318296" y="7405124"/>
                  <a:pt x="8320825" y="7407787"/>
                </a:cubicBezTo>
                <a:cubicBezTo>
                  <a:pt x="8323354" y="7410449"/>
                  <a:pt x="8325484" y="7413645"/>
                  <a:pt x="8326948" y="7417239"/>
                </a:cubicBezTo>
                <a:cubicBezTo>
                  <a:pt x="8328413" y="7420833"/>
                  <a:pt x="8329212" y="7424561"/>
                  <a:pt x="8329212" y="7428687"/>
                </a:cubicBezTo>
                <a:cubicBezTo>
                  <a:pt x="8329212" y="7432814"/>
                  <a:pt x="8328413" y="7436807"/>
                  <a:pt x="8326948" y="7440402"/>
                </a:cubicBezTo>
                <a:cubicBezTo>
                  <a:pt x="8325351" y="7444128"/>
                  <a:pt x="8323354" y="7447191"/>
                  <a:pt x="8320825" y="7449852"/>
                </a:cubicBezTo>
                <a:cubicBezTo>
                  <a:pt x="8318163" y="7452515"/>
                  <a:pt x="8315101" y="7454645"/>
                  <a:pt x="8311507" y="7456109"/>
                </a:cubicBezTo>
                <a:cubicBezTo>
                  <a:pt x="8307913" y="7457573"/>
                  <a:pt x="8304052" y="7458372"/>
                  <a:pt x="8299793" y="7458372"/>
                </a:cubicBezTo>
                <a:cubicBezTo>
                  <a:pt x="8290874" y="7458372"/>
                  <a:pt x="8283553" y="7455444"/>
                  <a:pt x="8277960" y="7449852"/>
                </a:cubicBezTo>
                <a:cubicBezTo>
                  <a:pt x="8272370" y="7444128"/>
                  <a:pt x="8269574" y="7437074"/>
                  <a:pt x="8269574" y="7428687"/>
                </a:cubicBezTo>
                <a:cubicBezTo>
                  <a:pt x="8269574" y="7420434"/>
                  <a:pt x="8272370" y="7413379"/>
                  <a:pt x="8277960" y="7407654"/>
                </a:cubicBezTo>
                <a:cubicBezTo>
                  <a:pt x="8283553" y="7401930"/>
                  <a:pt x="8290741" y="7399134"/>
                  <a:pt x="8299793" y="7399134"/>
                </a:cubicBezTo>
                <a:close/>
                <a:moveTo>
                  <a:pt x="8082281" y="7399134"/>
                </a:moveTo>
                <a:cubicBezTo>
                  <a:pt x="8086407" y="7399134"/>
                  <a:pt x="8090401" y="7399933"/>
                  <a:pt x="8094127" y="7401530"/>
                </a:cubicBezTo>
                <a:cubicBezTo>
                  <a:pt x="8097855" y="7402995"/>
                  <a:pt x="8100916" y="7405124"/>
                  <a:pt x="8103446" y="7407787"/>
                </a:cubicBezTo>
                <a:cubicBezTo>
                  <a:pt x="8105975" y="7410449"/>
                  <a:pt x="8108104" y="7413645"/>
                  <a:pt x="8109569" y="7417239"/>
                </a:cubicBezTo>
                <a:cubicBezTo>
                  <a:pt x="8111033" y="7420833"/>
                  <a:pt x="8111832" y="7424561"/>
                  <a:pt x="8111832" y="7428687"/>
                </a:cubicBezTo>
                <a:cubicBezTo>
                  <a:pt x="8111832" y="7432814"/>
                  <a:pt x="8111033" y="7436807"/>
                  <a:pt x="8109569" y="7440402"/>
                </a:cubicBezTo>
                <a:cubicBezTo>
                  <a:pt x="8107972" y="7444128"/>
                  <a:pt x="8105975" y="7447191"/>
                  <a:pt x="8103446" y="7449852"/>
                </a:cubicBezTo>
                <a:cubicBezTo>
                  <a:pt x="8100783" y="7452515"/>
                  <a:pt x="8097722" y="7454645"/>
                  <a:pt x="8094127" y="7456109"/>
                </a:cubicBezTo>
                <a:cubicBezTo>
                  <a:pt x="8090401" y="7457573"/>
                  <a:pt x="8086540" y="7458372"/>
                  <a:pt x="8082281" y="7458372"/>
                </a:cubicBezTo>
                <a:cubicBezTo>
                  <a:pt x="8073361" y="7458372"/>
                  <a:pt x="8066040" y="7455444"/>
                  <a:pt x="8060448" y="7449852"/>
                </a:cubicBezTo>
                <a:cubicBezTo>
                  <a:pt x="8054857" y="7444128"/>
                  <a:pt x="8052062" y="7437074"/>
                  <a:pt x="8052062" y="7428687"/>
                </a:cubicBezTo>
                <a:cubicBezTo>
                  <a:pt x="8052062" y="7420434"/>
                  <a:pt x="8054857" y="7413379"/>
                  <a:pt x="8060448" y="7407654"/>
                </a:cubicBezTo>
                <a:cubicBezTo>
                  <a:pt x="8066040" y="7401930"/>
                  <a:pt x="8073228" y="7399134"/>
                  <a:pt x="8082281" y="7399134"/>
                </a:cubicBezTo>
                <a:close/>
                <a:moveTo>
                  <a:pt x="7864636" y="7399134"/>
                </a:moveTo>
                <a:cubicBezTo>
                  <a:pt x="7868762" y="7399134"/>
                  <a:pt x="7872756" y="7399933"/>
                  <a:pt x="7876483" y="7401530"/>
                </a:cubicBezTo>
                <a:cubicBezTo>
                  <a:pt x="7880210" y="7402995"/>
                  <a:pt x="7883272" y="7405124"/>
                  <a:pt x="7885802" y="7407787"/>
                </a:cubicBezTo>
                <a:cubicBezTo>
                  <a:pt x="7888331" y="7410449"/>
                  <a:pt x="7890460" y="7413645"/>
                  <a:pt x="7891924" y="7417239"/>
                </a:cubicBezTo>
                <a:cubicBezTo>
                  <a:pt x="7893389" y="7420833"/>
                  <a:pt x="7894188" y="7424561"/>
                  <a:pt x="7894188" y="7428687"/>
                </a:cubicBezTo>
                <a:cubicBezTo>
                  <a:pt x="7894188" y="7432814"/>
                  <a:pt x="7893389" y="7436807"/>
                  <a:pt x="7891924" y="7440402"/>
                </a:cubicBezTo>
                <a:cubicBezTo>
                  <a:pt x="7890327" y="7444128"/>
                  <a:pt x="7888331" y="7447191"/>
                  <a:pt x="7885802" y="7449852"/>
                </a:cubicBezTo>
                <a:cubicBezTo>
                  <a:pt x="7883139" y="7452515"/>
                  <a:pt x="7880078" y="7454645"/>
                  <a:pt x="7876483" y="7456109"/>
                </a:cubicBezTo>
                <a:cubicBezTo>
                  <a:pt x="7872756" y="7457573"/>
                  <a:pt x="7868895" y="7458372"/>
                  <a:pt x="7864636" y="7458372"/>
                </a:cubicBezTo>
                <a:cubicBezTo>
                  <a:pt x="7855717" y="7458372"/>
                  <a:pt x="7848396" y="7455444"/>
                  <a:pt x="7842803" y="7449852"/>
                </a:cubicBezTo>
                <a:cubicBezTo>
                  <a:pt x="7837213" y="7444128"/>
                  <a:pt x="7834417" y="7437074"/>
                  <a:pt x="7834417" y="7428687"/>
                </a:cubicBezTo>
                <a:cubicBezTo>
                  <a:pt x="7834417" y="7420434"/>
                  <a:pt x="7837213" y="7413379"/>
                  <a:pt x="7842803" y="7407654"/>
                </a:cubicBezTo>
                <a:cubicBezTo>
                  <a:pt x="7848396" y="7401930"/>
                  <a:pt x="7855584" y="7399134"/>
                  <a:pt x="7864636" y="7399134"/>
                </a:cubicBezTo>
                <a:close/>
                <a:moveTo>
                  <a:pt x="7646991" y="7399134"/>
                </a:moveTo>
                <a:cubicBezTo>
                  <a:pt x="7651250" y="7399134"/>
                  <a:pt x="7655111" y="7399933"/>
                  <a:pt x="7658705" y="7401530"/>
                </a:cubicBezTo>
                <a:cubicBezTo>
                  <a:pt x="7662432" y="7402995"/>
                  <a:pt x="7665493" y="7405124"/>
                  <a:pt x="7668022" y="7407787"/>
                </a:cubicBezTo>
                <a:cubicBezTo>
                  <a:pt x="7670552" y="7410449"/>
                  <a:pt x="7672682" y="7413645"/>
                  <a:pt x="7674146" y="7417239"/>
                </a:cubicBezTo>
                <a:cubicBezTo>
                  <a:pt x="7675610" y="7420833"/>
                  <a:pt x="7676409" y="7424561"/>
                  <a:pt x="7676409" y="7428687"/>
                </a:cubicBezTo>
                <a:cubicBezTo>
                  <a:pt x="7676409" y="7432814"/>
                  <a:pt x="7675610" y="7436807"/>
                  <a:pt x="7674146" y="7440402"/>
                </a:cubicBezTo>
                <a:cubicBezTo>
                  <a:pt x="7672549" y="7444128"/>
                  <a:pt x="7670552" y="7447191"/>
                  <a:pt x="7668022" y="7449852"/>
                </a:cubicBezTo>
                <a:cubicBezTo>
                  <a:pt x="7665361" y="7452515"/>
                  <a:pt x="7662299" y="7454645"/>
                  <a:pt x="7658705" y="7456109"/>
                </a:cubicBezTo>
                <a:cubicBezTo>
                  <a:pt x="7655111" y="7457573"/>
                  <a:pt x="7651250" y="7458372"/>
                  <a:pt x="7646991" y="7458372"/>
                </a:cubicBezTo>
                <a:cubicBezTo>
                  <a:pt x="7638071" y="7458372"/>
                  <a:pt x="7630750" y="7455444"/>
                  <a:pt x="7625158" y="7449852"/>
                </a:cubicBezTo>
                <a:cubicBezTo>
                  <a:pt x="7619568" y="7444128"/>
                  <a:pt x="7616772" y="7437074"/>
                  <a:pt x="7616772" y="7428687"/>
                </a:cubicBezTo>
                <a:cubicBezTo>
                  <a:pt x="7616772" y="7420434"/>
                  <a:pt x="7619568" y="7413379"/>
                  <a:pt x="7625158" y="7407654"/>
                </a:cubicBezTo>
                <a:cubicBezTo>
                  <a:pt x="7630750" y="7401930"/>
                  <a:pt x="7637939" y="7399134"/>
                  <a:pt x="7646991" y="7399134"/>
                </a:cubicBezTo>
                <a:close/>
                <a:moveTo>
                  <a:pt x="7429345" y="7399134"/>
                </a:moveTo>
                <a:cubicBezTo>
                  <a:pt x="7433605" y="7399134"/>
                  <a:pt x="7437466" y="7399933"/>
                  <a:pt x="7441059" y="7401530"/>
                </a:cubicBezTo>
                <a:cubicBezTo>
                  <a:pt x="7444787" y="7402995"/>
                  <a:pt x="7447848" y="7405124"/>
                  <a:pt x="7450377" y="7407787"/>
                </a:cubicBezTo>
                <a:cubicBezTo>
                  <a:pt x="7452907" y="7410449"/>
                  <a:pt x="7455036" y="7413645"/>
                  <a:pt x="7456501" y="7417239"/>
                </a:cubicBezTo>
                <a:cubicBezTo>
                  <a:pt x="7457965" y="7420833"/>
                  <a:pt x="7458764" y="7424561"/>
                  <a:pt x="7458764" y="7428687"/>
                </a:cubicBezTo>
                <a:cubicBezTo>
                  <a:pt x="7458764" y="7432814"/>
                  <a:pt x="7457965" y="7436807"/>
                  <a:pt x="7456501" y="7440402"/>
                </a:cubicBezTo>
                <a:cubicBezTo>
                  <a:pt x="7454904" y="7444128"/>
                  <a:pt x="7452907" y="7447191"/>
                  <a:pt x="7450377" y="7449852"/>
                </a:cubicBezTo>
                <a:cubicBezTo>
                  <a:pt x="7447715" y="7452515"/>
                  <a:pt x="7444654" y="7454645"/>
                  <a:pt x="7441059" y="7456109"/>
                </a:cubicBezTo>
                <a:cubicBezTo>
                  <a:pt x="7437466" y="7457573"/>
                  <a:pt x="7433605" y="7458372"/>
                  <a:pt x="7429345" y="7458372"/>
                </a:cubicBezTo>
                <a:cubicBezTo>
                  <a:pt x="7420426" y="7458372"/>
                  <a:pt x="7413105" y="7455444"/>
                  <a:pt x="7407513" y="7449852"/>
                </a:cubicBezTo>
                <a:cubicBezTo>
                  <a:pt x="7401922" y="7444128"/>
                  <a:pt x="7399127" y="7437074"/>
                  <a:pt x="7399127" y="7428687"/>
                </a:cubicBezTo>
                <a:cubicBezTo>
                  <a:pt x="7399127" y="7420434"/>
                  <a:pt x="7401922" y="7413379"/>
                  <a:pt x="7407513" y="7407654"/>
                </a:cubicBezTo>
                <a:cubicBezTo>
                  <a:pt x="7413105" y="7401930"/>
                  <a:pt x="7420293" y="7399134"/>
                  <a:pt x="7429345" y="7399134"/>
                </a:cubicBezTo>
                <a:close/>
                <a:moveTo>
                  <a:pt x="7211701" y="7399134"/>
                </a:moveTo>
                <a:cubicBezTo>
                  <a:pt x="7215960" y="7399134"/>
                  <a:pt x="7219954" y="7399933"/>
                  <a:pt x="7223415" y="7401530"/>
                </a:cubicBezTo>
                <a:cubicBezTo>
                  <a:pt x="7227142" y="7402995"/>
                  <a:pt x="7230204" y="7405124"/>
                  <a:pt x="7232733" y="7407787"/>
                </a:cubicBezTo>
                <a:cubicBezTo>
                  <a:pt x="7235262" y="7410449"/>
                  <a:pt x="7237392" y="7413645"/>
                  <a:pt x="7238856" y="7417239"/>
                </a:cubicBezTo>
                <a:cubicBezTo>
                  <a:pt x="7240321" y="7420833"/>
                  <a:pt x="7241120" y="7424561"/>
                  <a:pt x="7241120" y="7428687"/>
                </a:cubicBezTo>
                <a:cubicBezTo>
                  <a:pt x="7241120" y="7432814"/>
                  <a:pt x="7240321" y="7436807"/>
                  <a:pt x="7238856" y="7440402"/>
                </a:cubicBezTo>
                <a:cubicBezTo>
                  <a:pt x="7237259" y="7444128"/>
                  <a:pt x="7235262" y="7447191"/>
                  <a:pt x="7232733" y="7449852"/>
                </a:cubicBezTo>
                <a:cubicBezTo>
                  <a:pt x="7230071" y="7452515"/>
                  <a:pt x="7227009" y="7454645"/>
                  <a:pt x="7223415" y="7456109"/>
                </a:cubicBezTo>
                <a:cubicBezTo>
                  <a:pt x="7219821" y="7457573"/>
                  <a:pt x="7215960" y="7458372"/>
                  <a:pt x="7211701" y="7458372"/>
                </a:cubicBezTo>
                <a:cubicBezTo>
                  <a:pt x="7202782" y="7458372"/>
                  <a:pt x="7195460" y="7455444"/>
                  <a:pt x="7189868" y="7449852"/>
                </a:cubicBezTo>
                <a:cubicBezTo>
                  <a:pt x="7184278" y="7444128"/>
                  <a:pt x="7181482" y="7437074"/>
                  <a:pt x="7181482" y="7428687"/>
                </a:cubicBezTo>
                <a:cubicBezTo>
                  <a:pt x="7181482" y="7420434"/>
                  <a:pt x="7184278" y="7413379"/>
                  <a:pt x="7189868" y="7407654"/>
                </a:cubicBezTo>
                <a:cubicBezTo>
                  <a:pt x="7195460" y="7401930"/>
                  <a:pt x="7202649" y="7399134"/>
                  <a:pt x="7211701" y="7399134"/>
                </a:cubicBezTo>
                <a:close/>
                <a:moveTo>
                  <a:pt x="6994056" y="7399134"/>
                </a:moveTo>
                <a:cubicBezTo>
                  <a:pt x="6998315" y="7399134"/>
                  <a:pt x="7002309" y="7399933"/>
                  <a:pt x="7005769" y="7401530"/>
                </a:cubicBezTo>
                <a:cubicBezTo>
                  <a:pt x="7009497" y="7402995"/>
                  <a:pt x="7012558" y="7405124"/>
                  <a:pt x="7015087" y="7407787"/>
                </a:cubicBezTo>
                <a:cubicBezTo>
                  <a:pt x="7017617" y="7410449"/>
                  <a:pt x="7019747" y="7413645"/>
                  <a:pt x="7021211" y="7417239"/>
                </a:cubicBezTo>
                <a:cubicBezTo>
                  <a:pt x="7022675" y="7420833"/>
                  <a:pt x="7023474" y="7424561"/>
                  <a:pt x="7023474" y="7428687"/>
                </a:cubicBezTo>
                <a:cubicBezTo>
                  <a:pt x="7023474" y="7432814"/>
                  <a:pt x="7022675" y="7436807"/>
                  <a:pt x="7021211" y="7440402"/>
                </a:cubicBezTo>
                <a:cubicBezTo>
                  <a:pt x="7019614" y="7444128"/>
                  <a:pt x="7017617" y="7447191"/>
                  <a:pt x="7015087" y="7449852"/>
                </a:cubicBezTo>
                <a:cubicBezTo>
                  <a:pt x="7012425" y="7452515"/>
                  <a:pt x="7009364" y="7454645"/>
                  <a:pt x="7005769" y="7456109"/>
                </a:cubicBezTo>
                <a:cubicBezTo>
                  <a:pt x="7002176" y="7457573"/>
                  <a:pt x="6998315" y="7458372"/>
                  <a:pt x="6994056" y="7458372"/>
                </a:cubicBezTo>
                <a:cubicBezTo>
                  <a:pt x="6985136" y="7458372"/>
                  <a:pt x="6977815" y="7455444"/>
                  <a:pt x="6972223" y="7449852"/>
                </a:cubicBezTo>
                <a:cubicBezTo>
                  <a:pt x="6966632" y="7444128"/>
                  <a:pt x="6963837" y="7437074"/>
                  <a:pt x="6963837" y="7428687"/>
                </a:cubicBezTo>
                <a:cubicBezTo>
                  <a:pt x="6963837" y="7420434"/>
                  <a:pt x="6966632" y="7413379"/>
                  <a:pt x="6972223" y="7407654"/>
                </a:cubicBezTo>
                <a:cubicBezTo>
                  <a:pt x="6977815" y="7401930"/>
                  <a:pt x="6985003" y="7399134"/>
                  <a:pt x="6994056" y="7399134"/>
                </a:cubicBezTo>
                <a:close/>
                <a:moveTo>
                  <a:pt x="6776544" y="7399134"/>
                </a:moveTo>
                <a:cubicBezTo>
                  <a:pt x="6780670" y="7399134"/>
                  <a:pt x="6784664" y="7399933"/>
                  <a:pt x="6788258" y="7401530"/>
                </a:cubicBezTo>
                <a:cubicBezTo>
                  <a:pt x="6791985" y="7402995"/>
                  <a:pt x="6795047" y="7405124"/>
                  <a:pt x="6797576" y="7407787"/>
                </a:cubicBezTo>
                <a:cubicBezTo>
                  <a:pt x="6800105" y="7410449"/>
                  <a:pt x="6802235" y="7413645"/>
                  <a:pt x="6803699" y="7417239"/>
                </a:cubicBezTo>
                <a:cubicBezTo>
                  <a:pt x="6805164" y="7420833"/>
                  <a:pt x="6805963" y="7424561"/>
                  <a:pt x="6805963" y="7428687"/>
                </a:cubicBezTo>
                <a:cubicBezTo>
                  <a:pt x="6805963" y="7432814"/>
                  <a:pt x="6805164" y="7436807"/>
                  <a:pt x="6803699" y="7440402"/>
                </a:cubicBezTo>
                <a:cubicBezTo>
                  <a:pt x="6802102" y="7444128"/>
                  <a:pt x="6800105" y="7447191"/>
                  <a:pt x="6797576" y="7449852"/>
                </a:cubicBezTo>
                <a:cubicBezTo>
                  <a:pt x="6794914" y="7452515"/>
                  <a:pt x="6791852" y="7454645"/>
                  <a:pt x="6788258" y="7456109"/>
                </a:cubicBezTo>
                <a:cubicBezTo>
                  <a:pt x="6784664" y="7457573"/>
                  <a:pt x="6780803" y="7458372"/>
                  <a:pt x="6776544" y="7458372"/>
                </a:cubicBezTo>
                <a:cubicBezTo>
                  <a:pt x="6767625" y="7458372"/>
                  <a:pt x="6760303" y="7455444"/>
                  <a:pt x="6754711" y="7449852"/>
                </a:cubicBezTo>
                <a:cubicBezTo>
                  <a:pt x="6749121" y="7444128"/>
                  <a:pt x="6746325" y="7437074"/>
                  <a:pt x="6746325" y="7428687"/>
                </a:cubicBezTo>
                <a:cubicBezTo>
                  <a:pt x="6746325" y="7420434"/>
                  <a:pt x="6749121" y="7413379"/>
                  <a:pt x="6754711" y="7407654"/>
                </a:cubicBezTo>
                <a:cubicBezTo>
                  <a:pt x="6760303" y="7401930"/>
                  <a:pt x="6767492" y="7399134"/>
                  <a:pt x="6776544" y="7399134"/>
                </a:cubicBezTo>
                <a:close/>
                <a:moveTo>
                  <a:pt x="6558899" y="7399134"/>
                </a:moveTo>
                <a:cubicBezTo>
                  <a:pt x="6563158" y="7399134"/>
                  <a:pt x="6567019" y="7399933"/>
                  <a:pt x="6570612" y="7401530"/>
                </a:cubicBezTo>
                <a:cubicBezTo>
                  <a:pt x="6574340" y="7402995"/>
                  <a:pt x="6577401" y="7405124"/>
                  <a:pt x="6579930" y="7407787"/>
                </a:cubicBezTo>
                <a:cubicBezTo>
                  <a:pt x="6582460" y="7410449"/>
                  <a:pt x="6584590" y="7413645"/>
                  <a:pt x="6586054" y="7417239"/>
                </a:cubicBezTo>
                <a:cubicBezTo>
                  <a:pt x="6587518" y="7420833"/>
                  <a:pt x="6588317" y="7424561"/>
                  <a:pt x="6588317" y="7428687"/>
                </a:cubicBezTo>
                <a:cubicBezTo>
                  <a:pt x="6588317" y="7432814"/>
                  <a:pt x="6587518" y="7436807"/>
                  <a:pt x="6586054" y="7440402"/>
                </a:cubicBezTo>
                <a:cubicBezTo>
                  <a:pt x="6584457" y="7444128"/>
                  <a:pt x="6582460" y="7447191"/>
                  <a:pt x="6579930" y="7449852"/>
                </a:cubicBezTo>
                <a:cubicBezTo>
                  <a:pt x="6577268" y="7452515"/>
                  <a:pt x="6574207" y="7454645"/>
                  <a:pt x="6570612" y="7456109"/>
                </a:cubicBezTo>
                <a:cubicBezTo>
                  <a:pt x="6567019" y="7457573"/>
                  <a:pt x="6563158" y="7458372"/>
                  <a:pt x="6558899" y="7458372"/>
                </a:cubicBezTo>
                <a:cubicBezTo>
                  <a:pt x="6549979" y="7458372"/>
                  <a:pt x="6542658" y="7455444"/>
                  <a:pt x="6537066" y="7449852"/>
                </a:cubicBezTo>
                <a:cubicBezTo>
                  <a:pt x="6531476" y="7444128"/>
                  <a:pt x="6528680" y="7437074"/>
                  <a:pt x="6528680" y="7428687"/>
                </a:cubicBezTo>
                <a:cubicBezTo>
                  <a:pt x="6528680" y="7420434"/>
                  <a:pt x="6531476" y="7413379"/>
                  <a:pt x="6537066" y="7407654"/>
                </a:cubicBezTo>
                <a:cubicBezTo>
                  <a:pt x="6542658" y="7401930"/>
                  <a:pt x="6549846" y="7399134"/>
                  <a:pt x="6558899" y="7399134"/>
                </a:cubicBezTo>
                <a:close/>
                <a:moveTo>
                  <a:pt x="6341253" y="7399134"/>
                </a:moveTo>
                <a:cubicBezTo>
                  <a:pt x="6345513" y="7399134"/>
                  <a:pt x="6349373" y="7399933"/>
                  <a:pt x="6352968" y="7401530"/>
                </a:cubicBezTo>
                <a:cubicBezTo>
                  <a:pt x="6356695" y="7402995"/>
                  <a:pt x="6359757" y="7405124"/>
                  <a:pt x="6362286" y="7407787"/>
                </a:cubicBezTo>
                <a:cubicBezTo>
                  <a:pt x="6364815" y="7410449"/>
                  <a:pt x="6366945" y="7413645"/>
                  <a:pt x="6368409" y="7417239"/>
                </a:cubicBezTo>
                <a:cubicBezTo>
                  <a:pt x="6369874" y="7420833"/>
                  <a:pt x="6370672" y="7424561"/>
                  <a:pt x="6370672" y="7428687"/>
                </a:cubicBezTo>
                <a:cubicBezTo>
                  <a:pt x="6370672" y="7432814"/>
                  <a:pt x="6369874" y="7436807"/>
                  <a:pt x="6368409" y="7440402"/>
                </a:cubicBezTo>
                <a:cubicBezTo>
                  <a:pt x="6366811" y="7444128"/>
                  <a:pt x="6364815" y="7447191"/>
                  <a:pt x="6362286" y="7449852"/>
                </a:cubicBezTo>
                <a:cubicBezTo>
                  <a:pt x="6359623" y="7452515"/>
                  <a:pt x="6356562" y="7454645"/>
                  <a:pt x="6352968" y="7456109"/>
                </a:cubicBezTo>
                <a:cubicBezTo>
                  <a:pt x="6349373" y="7457573"/>
                  <a:pt x="6345513" y="7458372"/>
                  <a:pt x="6341253" y="7458372"/>
                </a:cubicBezTo>
                <a:cubicBezTo>
                  <a:pt x="6332335" y="7458372"/>
                  <a:pt x="6325013" y="7455444"/>
                  <a:pt x="6319421" y="7449852"/>
                </a:cubicBezTo>
                <a:cubicBezTo>
                  <a:pt x="6313830" y="7444128"/>
                  <a:pt x="6311035" y="7437074"/>
                  <a:pt x="6311035" y="7428687"/>
                </a:cubicBezTo>
                <a:cubicBezTo>
                  <a:pt x="6311035" y="7420434"/>
                  <a:pt x="6313830" y="7413379"/>
                  <a:pt x="6319421" y="7407654"/>
                </a:cubicBezTo>
                <a:cubicBezTo>
                  <a:pt x="6325013" y="7401930"/>
                  <a:pt x="6332201" y="7399134"/>
                  <a:pt x="6341253" y="7399134"/>
                </a:cubicBezTo>
                <a:close/>
                <a:moveTo>
                  <a:pt x="6123608" y="7399134"/>
                </a:moveTo>
                <a:cubicBezTo>
                  <a:pt x="6127867" y="7399134"/>
                  <a:pt x="6131728" y="7399933"/>
                  <a:pt x="6135322" y="7401530"/>
                </a:cubicBezTo>
                <a:cubicBezTo>
                  <a:pt x="6139049" y="7402995"/>
                  <a:pt x="6142111" y="7405124"/>
                  <a:pt x="6144640" y="7407787"/>
                </a:cubicBezTo>
                <a:cubicBezTo>
                  <a:pt x="6147169" y="7410449"/>
                  <a:pt x="6149299" y="7413645"/>
                  <a:pt x="6150763" y="7417239"/>
                </a:cubicBezTo>
                <a:cubicBezTo>
                  <a:pt x="6152228" y="7420833"/>
                  <a:pt x="6153026" y="7424561"/>
                  <a:pt x="6153026" y="7428687"/>
                </a:cubicBezTo>
                <a:cubicBezTo>
                  <a:pt x="6153026" y="7432814"/>
                  <a:pt x="6152228" y="7436807"/>
                  <a:pt x="6150763" y="7440402"/>
                </a:cubicBezTo>
                <a:cubicBezTo>
                  <a:pt x="6149299" y="7444128"/>
                  <a:pt x="6147169" y="7447191"/>
                  <a:pt x="6144640" y="7449852"/>
                </a:cubicBezTo>
                <a:cubicBezTo>
                  <a:pt x="6141977" y="7452515"/>
                  <a:pt x="6138916" y="7454645"/>
                  <a:pt x="6135322" y="7456109"/>
                </a:cubicBezTo>
                <a:cubicBezTo>
                  <a:pt x="6131728" y="7457573"/>
                  <a:pt x="6127867" y="7458372"/>
                  <a:pt x="6123608" y="7458372"/>
                </a:cubicBezTo>
                <a:cubicBezTo>
                  <a:pt x="6114689" y="7458372"/>
                  <a:pt x="6107367" y="7455444"/>
                  <a:pt x="6101775" y="7449852"/>
                </a:cubicBezTo>
                <a:cubicBezTo>
                  <a:pt x="6096184" y="7444128"/>
                  <a:pt x="6093389" y="7437074"/>
                  <a:pt x="6093389" y="7428687"/>
                </a:cubicBezTo>
                <a:cubicBezTo>
                  <a:pt x="6093389" y="7420434"/>
                  <a:pt x="6096184" y="7413379"/>
                  <a:pt x="6101775" y="7407654"/>
                </a:cubicBezTo>
                <a:cubicBezTo>
                  <a:pt x="6107367" y="7401930"/>
                  <a:pt x="6114555" y="7399134"/>
                  <a:pt x="6123608" y="7399134"/>
                </a:cubicBezTo>
                <a:close/>
                <a:moveTo>
                  <a:pt x="5905963" y="7399134"/>
                </a:moveTo>
                <a:cubicBezTo>
                  <a:pt x="5910222" y="7399134"/>
                  <a:pt x="5914216" y="7399933"/>
                  <a:pt x="5917677" y="7401530"/>
                </a:cubicBezTo>
                <a:cubicBezTo>
                  <a:pt x="5921404" y="7402995"/>
                  <a:pt x="5924466" y="7405124"/>
                  <a:pt x="5926995" y="7407787"/>
                </a:cubicBezTo>
                <a:cubicBezTo>
                  <a:pt x="5929524" y="7410449"/>
                  <a:pt x="5931654" y="7413645"/>
                  <a:pt x="5933118" y="7417239"/>
                </a:cubicBezTo>
                <a:cubicBezTo>
                  <a:pt x="5934583" y="7420833"/>
                  <a:pt x="5935381" y="7424561"/>
                  <a:pt x="5935381" y="7428687"/>
                </a:cubicBezTo>
                <a:cubicBezTo>
                  <a:pt x="5935381" y="7432814"/>
                  <a:pt x="5934583" y="7436807"/>
                  <a:pt x="5933118" y="7440402"/>
                </a:cubicBezTo>
                <a:cubicBezTo>
                  <a:pt x="5931654" y="7444128"/>
                  <a:pt x="5929524" y="7447191"/>
                  <a:pt x="5926995" y="7449852"/>
                </a:cubicBezTo>
                <a:cubicBezTo>
                  <a:pt x="5924333" y="7452515"/>
                  <a:pt x="5921271" y="7454645"/>
                  <a:pt x="5917677" y="7456109"/>
                </a:cubicBezTo>
                <a:cubicBezTo>
                  <a:pt x="5914083" y="7457573"/>
                  <a:pt x="5910222" y="7458372"/>
                  <a:pt x="5905963" y="7458372"/>
                </a:cubicBezTo>
                <a:cubicBezTo>
                  <a:pt x="5897044" y="7458372"/>
                  <a:pt x="5889722" y="7455444"/>
                  <a:pt x="5884130" y="7449852"/>
                </a:cubicBezTo>
                <a:cubicBezTo>
                  <a:pt x="5878540" y="7444128"/>
                  <a:pt x="5875744" y="7437074"/>
                  <a:pt x="5875744" y="7428687"/>
                </a:cubicBezTo>
                <a:cubicBezTo>
                  <a:pt x="5875744" y="7420434"/>
                  <a:pt x="5878540" y="7413379"/>
                  <a:pt x="5884130" y="7407654"/>
                </a:cubicBezTo>
                <a:cubicBezTo>
                  <a:pt x="5889722" y="7401930"/>
                  <a:pt x="5896910" y="7399134"/>
                  <a:pt x="5905963" y="7399134"/>
                </a:cubicBezTo>
                <a:close/>
                <a:moveTo>
                  <a:pt x="5688451" y="7399134"/>
                </a:moveTo>
                <a:cubicBezTo>
                  <a:pt x="5692577" y="7399134"/>
                  <a:pt x="5696571" y="7399933"/>
                  <a:pt x="5700165" y="7401530"/>
                </a:cubicBezTo>
                <a:cubicBezTo>
                  <a:pt x="5703892" y="7402995"/>
                  <a:pt x="5706954" y="7405124"/>
                  <a:pt x="5709483" y="7407787"/>
                </a:cubicBezTo>
                <a:cubicBezTo>
                  <a:pt x="5712012" y="7410449"/>
                  <a:pt x="5714142" y="7413645"/>
                  <a:pt x="5715606" y="7417239"/>
                </a:cubicBezTo>
                <a:cubicBezTo>
                  <a:pt x="5717071" y="7420833"/>
                  <a:pt x="5717869" y="7424561"/>
                  <a:pt x="5717869" y="7428687"/>
                </a:cubicBezTo>
                <a:cubicBezTo>
                  <a:pt x="5717869" y="7432814"/>
                  <a:pt x="5717071" y="7436807"/>
                  <a:pt x="5715606" y="7440402"/>
                </a:cubicBezTo>
                <a:cubicBezTo>
                  <a:pt x="5714142" y="7444128"/>
                  <a:pt x="5712012" y="7447191"/>
                  <a:pt x="5709483" y="7449852"/>
                </a:cubicBezTo>
                <a:cubicBezTo>
                  <a:pt x="5706820" y="7452515"/>
                  <a:pt x="5703759" y="7454645"/>
                  <a:pt x="5700165" y="7456109"/>
                </a:cubicBezTo>
                <a:cubicBezTo>
                  <a:pt x="5696571" y="7457573"/>
                  <a:pt x="5692710" y="7458372"/>
                  <a:pt x="5688451" y="7458372"/>
                </a:cubicBezTo>
                <a:cubicBezTo>
                  <a:pt x="5679532" y="7458372"/>
                  <a:pt x="5672210" y="7455444"/>
                  <a:pt x="5666618" y="7449852"/>
                </a:cubicBezTo>
                <a:cubicBezTo>
                  <a:pt x="5661028" y="7444128"/>
                  <a:pt x="5658232" y="7437074"/>
                  <a:pt x="5658232" y="7428687"/>
                </a:cubicBezTo>
                <a:cubicBezTo>
                  <a:pt x="5658232" y="7420434"/>
                  <a:pt x="5661028" y="7413379"/>
                  <a:pt x="5666618" y="7407654"/>
                </a:cubicBezTo>
                <a:cubicBezTo>
                  <a:pt x="5672210" y="7401930"/>
                  <a:pt x="5679398" y="7399134"/>
                  <a:pt x="5688451" y="7399134"/>
                </a:cubicBezTo>
                <a:close/>
                <a:moveTo>
                  <a:pt x="5470806" y="7399134"/>
                </a:moveTo>
                <a:cubicBezTo>
                  <a:pt x="5475065" y="7399134"/>
                  <a:pt x="5478926" y="7399933"/>
                  <a:pt x="5482520" y="7401530"/>
                </a:cubicBezTo>
                <a:cubicBezTo>
                  <a:pt x="5486247" y="7402995"/>
                  <a:pt x="5489309" y="7405124"/>
                  <a:pt x="5491838" y="7407787"/>
                </a:cubicBezTo>
                <a:cubicBezTo>
                  <a:pt x="5494367" y="7410449"/>
                  <a:pt x="5496497" y="7413645"/>
                  <a:pt x="5497961" y="7417239"/>
                </a:cubicBezTo>
                <a:cubicBezTo>
                  <a:pt x="5499426" y="7420833"/>
                  <a:pt x="5500224" y="7424561"/>
                  <a:pt x="5500224" y="7428687"/>
                </a:cubicBezTo>
                <a:cubicBezTo>
                  <a:pt x="5500224" y="7432814"/>
                  <a:pt x="5499426" y="7436807"/>
                  <a:pt x="5497961" y="7440402"/>
                </a:cubicBezTo>
                <a:cubicBezTo>
                  <a:pt x="5496497" y="7444128"/>
                  <a:pt x="5494367" y="7447191"/>
                  <a:pt x="5491838" y="7449852"/>
                </a:cubicBezTo>
                <a:cubicBezTo>
                  <a:pt x="5489176" y="7452515"/>
                  <a:pt x="5486114" y="7454645"/>
                  <a:pt x="5482520" y="7456109"/>
                </a:cubicBezTo>
                <a:cubicBezTo>
                  <a:pt x="5478926" y="7457573"/>
                  <a:pt x="5475065" y="7458372"/>
                  <a:pt x="5470806" y="7458372"/>
                </a:cubicBezTo>
                <a:cubicBezTo>
                  <a:pt x="5461887" y="7458372"/>
                  <a:pt x="5454565" y="7455444"/>
                  <a:pt x="5448973" y="7449852"/>
                </a:cubicBezTo>
                <a:cubicBezTo>
                  <a:pt x="5443383" y="7444128"/>
                  <a:pt x="5440587" y="7437074"/>
                  <a:pt x="5440587" y="7428687"/>
                </a:cubicBezTo>
                <a:cubicBezTo>
                  <a:pt x="5440587" y="7420434"/>
                  <a:pt x="5443383" y="7413379"/>
                  <a:pt x="5448973" y="7407654"/>
                </a:cubicBezTo>
                <a:cubicBezTo>
                  <a:pt x="5454565" y="7401930"/>
                  <a:pt x="5461754" y="7399134"/>
                  <a:pt x="5470806" y="7399134"/>
                </a:cubicBezTo>
                <a:close/>
                <a:moveTo>
                  <a:pt x="5253160" y="7399134"/>
                </a:moveTo>
                <a:cubicBezTo>
                  <a:pt x="5257420" y="7399134"/>
                  <a:pt x="5261280" y="7399933"/>
                  <a:pt x="5264875" y="7401530"/>
                </a:cubicBezTo>
                <a:cubicBezTo>
                  <a:pt x="5268602" y="7402995"/>
                  <a:pt x="5271664" y="7405124"/>
                  <a:pt x="5274192" y="7407787"/>
                </a:cubicBezTo>
                <a:cubicBezTo>
                  <a:pt x="5276722" y="7410449"/>
                  <a:pt x="5278852" y="7413645"/>
                  <a:pt x="5280316" y="7417239"/>
                </a:cubicBezTo>
                <a:cubicBezTo>
                  <a:pt x="5281780" y="7420833"/>
                  <a:pt x="5282579" y="7424561"/>
                  <a:pt x="5282579" y="7428687"/>
                </a:cubicBezTo>
                <a:cubicBezTo>
                  <a:pt x="5282579" y="7432814"/>
                  <a:pt x="5281780" y="7436807"/>
                  <a:pt x="5280316" y="7440402"/>
                </a:cubicBezTo>
                <a:cubicBezTo>
                  <a:pt x="5278852" y="7444128"/>
                  <a:pt x="5276722" y="7447191"/>
                  <a:pt x="5274192" y="7449852"/>
                </a:cubicBezTo>
                <a:cubicBezTo>
                  <a:pt x="5271664" y="7452515"/>
                  <a:pt x="5268469" y="7454645"/>
                  <a:pt x="5264875" y="7456109"/>
                </a:cubicBezTo>
                <a:cubicBezTo>
                  <a:pt x="5261280" y="7457573"/>
                  <a:pt x="5257420" y="7458372"/>
                  <a:pt x="5253160" y="7458372"/>
                </a:cubicBezTo>
                <a:cubicBezTo>
                  <a:pt x="5244241" y="7458372"/>
                  <a:pt x="5236920" y="7455444"/>
                  <a:pt x="5231328" y="7449852"/>
                </a:cubicBezTo>
                <a:cubicBezTo>
                  <a:pt x="5225737" y="7444128"/>
                  <a:pt x="5222942" y="7437074"/>
                  <a:pt x="5222942" y="7428687"/>
                </a:cubicBezTo>
                <a:cubicBezTo>
                  <a:pt x="5222942" y="7420434"/>
                  <a:pt x="5225737" y="7413379"/>
                  <a:pt x="5231328" y="7407654"/>
                </a:cubicBezTo>
                <a:cubicBezTo>
                  <a:pt x="5236920" y="7401930"/>
                  <a:pt x="5244108" y="7399134"/>
                  <a:pt x="5253160" y="7399134"/>
                </a:cubicBezTo>
                <a:close/>
                <a:moveTo>
                  <a:pt x="5035515" y="7399134"/>
                </a:moveTo>
                <a:cubicBezTo>
                  <a:pt x="5039775" y="7399134"/>
                  <a:pt x="5043636" y="7399933"/>
                  <a:pt x="5047230" y="7401530"/>
                </a:cubicBezTo>
                <a:cubicBezTo>
                  <a:pt x="5050957" y="7402995"/>
                  <a:pt x="5054019" y="7405124"/>
                  <a:pt x="5056548" y="7407787"/>
                </a:cubicBezTo>
                <a:cubicBezTo>
                  <a:pt x="5059077" y="7410449"/>
                  <a:pt x="5061207" y="7413645"/>
                  <a:pt x="5062671" y="7417239"/>
                </a:cubicBezTo>
                <a:cubicBezTo>
                  <a:pt x="5064135" y="7420833"/>
                  <a:pt x="5064934" y="7424561"/>
                  <a:pt x="5064934" y="7428687"/>
                </a:cubicBezTo>
                <a:cubicBezTo>
                  <a:pt x="5064934" y="7432814"/>
                  <a:pt x="5064135" y="7436807"/>
                  <a:pt x="5062671" y="7440402"/>
                </a:cubicBezTo>
                <a:cubicBezTo>
                  <a:pt x="5061207" y="7444128"/>
                  <a:pt x="5059077" y="7447191"/>
                  <a:pt x="5056548" y="7449852"/>
                </a:cubicBezTo>
                <a:cubicBezTo>
                  <a:pt x="5053885" y="7452515"/>
                  <a:pt x="5050824" y="7454645"/>
                  <a:pt x="5047230" y="7456109"/>
                </a:cubicBezTo>
                <a:cubicBezTo>
                  <a:pt x="5043636" y="7457573"/>
                  <a:pt x="5039775" y="7458372"/>
                  <a:pt x="5035515" y="7458372"/>
                </a:cubicBezTo>
                <a:cubicBezTo>
                  <a:pt x="5026597" y="7458372"/>
                  <a:pt x="5019275" y="7455444"/>
                  <a:pt x="5013683" y="7449852"/>
                </a:cubicBezTo>
                <a:cubicBezTo>
                  <a:pt x="5008092" y="7444128"/>
                  <a:pt x="5005297" y="7437074"/>
                  <a:pt x="5005297" y="7428687"/>
                </a:cubicBezTo>
                <a:cubicBezTo>
                  <a:pt x="5005297" y="7420434"/>
                  <a:pt x="5008092" y="7413379"/>
                  <a:pt x="5013683" y="7407654"/>
                </a:cubicBezTo>
                <a:cubicBezTo>
                  <a:pt x="5019275" y="7401930"/>
                  <a:pt x="5026463" y="7399134"/>
                  <a:pt x="5035515" y="7399134"/>
                </a:cubicBezTo>
                <a:close/>
                <a:moveTo>
                  <a:pt x="4817870" y="7399134"/>
                </a:moveTo>
                <a:cubicBezTo>
                  <a:pt x="4822130" y="7399134"/>
                  <a:pt x="4826124" y="7399933"/>
                  <a:pt x="4829585" y="7401530"/>
                </a:cubicBezTo>
                <a:cubicBezTo>
                  <a:pt x="4833312" y="7402995"/>
                  <a:pt x="4836374" y="7405124"/>
                  <a:pt x="4838903" y="7407787"/>
                </a:cubicBezTo>
                <a:cubicBezTo>
                  <a:pt x="4841432" y="7410449"/>
                  <a:pt x="4843562" y="7413645"/>
                  <a:pt x="4845026" y="7417239"/>
                </a:cubicBezTo>
                <a:cubicBezTo>
                  <a:pt x="4846491" y="7420833"/>
                  <a:pt x="4847289" y="7424561"/>
                  <a:pt x="4847289" y="7428687"/>
                </a:cubicBezTo>
                <a:cubicBezTo>
                  <a:pt x="4847289" y="7432814"/>
                  <a:pt x="4846491" y="7436807"/>
                  <a:pt x="4845026" y="7440402"/>
                </a:cubicBezTo>
                <a:cubicBezTo>
                  <a:pt x="4843562" y="7444128"/>
                  <a:pt x="4841432" y="7447191"/>
                  <a:pt x="4838903" y="7449852"/>
                </a:cubicBezTo>
                <a:cubicBezTo>
                  <a:pt x="4836240" y="7452515"/>
                  <a:pt x="4833179" y="7454645"/>
                  <a:pt x="4829585" y="7456109"/>
                </a:cubicBezTo>
                <a:cubicBezTo>
                  <a:pt x="4825991" y="7457573"/>
                  <a:pt x="4822130" y="7458372"/>
                  <a:pt x="4817870" y="7458372"/>
                </a:cubicBezTo>
                <a:cubicBezTo>
                  <a:pt x="4808952" y="7458372"/>
                  <a:pt x="4801630" y="7455444"/>
                  <a:pt x="4796038" y="7449852"/>
                </a:cubicBezTo>
                <a:cubicBezTo>
                  <a:pt x="4790447" y="7444128"/>
                  <a:pt x="4787652" y="7437074"/>
                  <a:pt x="4787652" y="7428687"/>
                </a:cubicBezTo>
                <a:cubicBezTo>
                  <a:pt x="4787652" y="7420434"/>
                  <a:pt x="4790447" y="7413379"/>
                  <a:pt x="4796038" y="7407654"/>
                </a:cubicBezTo>
                <a:cubicBezTo>
                  <a:pt x="4801630" y="7401930"/>
                  <a:pt x="4808818" y="7399134"/>
                  <a:pt x="4817870" y="7399134"/>
                </a:cubicBezTo>
                <a:close/>
                <a:moveTo>
                  <a:pt x="4600226" y="7399134"/>
                </a:moveTo>
                <a:cubicBezTo>
                  <a:pt x="4604485" y="7399134"/>
                  <a:pt x="4608479" y="7399933"/>
                  <a:pt x="4612073" y="7401530"/>
                </a:cubicBezTo>
                <a:cubicBezTo>
                  <a:pt x="4615800" y="7402995"/>
                  <a:pt x="4618862" y="7405124"/>
                  <a:pt x="4621391" y="7407787"/>
                </a:cubicBezTo>
                <a:cubicBezTo>
                  <a:pt x="4623920" y="7410449"/>
                  <a:pt x="4626050" y="7413645"/>
                  <a:pt x="4627514" y="7417239"/>
                </a:cubicBezTo>
                <a:cubicBezTo>
                  <a:pt x="4628978" y="7420833"/>
                  <a:pt x="4629777" y="7424561"/>
                  <a:pt x="4629777" y="7428687"/>
                </a:cubicBezTo>
                <a:cubicBezTo>
                  <a:pt x="4629777" y="7432814"/>
                  <a:pt x="4628978" y="7436807"/>
                  <a:pt x="4627514" y="7440402"/>
                </a:cubicBezTo>
                <a:cubicBezTo>
                  <a:pt x="4626050" y="7444128"/>
                  <a:pt x="4623920" y="7447191"/>
                  <a:pt x="4621391" y="7449852"/>
                </a:cubicBezTo>
                <a:cubicBezTo>
                  <a:pt x="4618729" y="7452515"/>
                  <a:pt x="4615667" y="7454645"/>
                  <a:pt x="4612073" y="7456109"/>
                </a:cubicBezTo>
                <a:cubicBezTo>
                  <a:pt x="4608346" y="7457573"/>
                  <a:pt x="4604485" y="7458372"/>
                  <a:pt x="4600226" y="7458372"/>
                </a:cubicBezTo>
                <a:cubicBezTo>
                  <a:pt x="4591173" y="7458372"/>
                  <a:pt x="4583985" y="7455444"/>
                  <a:pt x="4578393" y="7449852"/>
                </a:cubicBezTo>
                <a:cubicBezTo>
                  <a:pt x="4572803" y="7444128"/>
                  <a:pt x="4570007" y="7437074"/>
                  <a:pt x="4570007" y="7428687"/>
                </a:cubicBezTo>
                <a:cubicBezTo>
                  <a:pt x="4570007" y="7420434"/>
                  <a:pt x="4572803" y="7413379"/>
                  <a:pt x="4578393" y="7407654"/>
                </a:cubicBezTo>
                <a:cubicBezTo>
                  <a:pt x="4583985" y="7401930"/>
                  <a:pt x="4591173" y="7399134"/>
                  <a:pt x="4600226" y="7399134"/>
                </a:cubicBezTo>
                <a:close/>
                <a:moveTo>
                  <a:pt x="4382713" y="7399134"/>
                </a:moveTo>
                <a:cubicBezTo>
                  <a:pt x="4386840" y="7399134"/>
                  <a:pt x="4390834" y="7399933"/>
                  <a:pt x="4394428" y="7401530"/>
                </a:cubicBezTo>
                <a:cubicBezTo>
                  <a:pt x="4398155" y="7402995"/>
                  <a:pt x="4401217" y="7405124"/>
                  <a:pt x="4403746" y="7407787"/>
                </a:cubicBezTo>
                <a:cubicBezTo>
                  <a:pt x="4406275" y="7410449"/>
                  <a:pt x="4408405" y="7413645"/>
                  <a:pt x="4409869" y="7417239"/>
                </a:cubicBezTo>
                <a:cubicBezTo>
                  <a:pt x="4411334" y="7420833"/>
                  <a:pt x="4412132" y="7424561"/>
                  <a:pt x="4412132" y="7428687"/>
                </a:cubicBezTo>
                <a:cubicBezTo>
                  <a:pt x="4412132" y="7432814"/>
                  <a:pt x="4411334" y="7436807"/>
                  <a:pt x="4409869" y="7440402"/>
                </a:cubicBezTo>
                <a:cubicBezTo>
                  <a:pt x="4408405" y="7444128"/>
                  <a:pt x="4406275" y="7447191"/>
                  <a:pt x="4403746" y="7449852"/>
                </a:cubicBezTo>
                <a:cubicBezTo>
                  <a:pt x="4401083" y="7452515"/>
                  <a:pt x="4398022" y="7454645"/>
                  <a:pt x="4394428" y="7456109"/>
                </a:cubicBezTo>
                <a:cubicBezTo>
                  <a:pt x="4390834" y="7457573"/>
                  <a:pt x="4386973" y="7458372"/>
                  <a:pt x="4382713" y="7458372"/>
                </a:cubicBezTo>
                <a:cubicBezTo>
                  <a:pt x="4373661" y="7458372"/>
                  <a:pt x="4366473" y="7455444"/>
                  <a:pt x="4360881" y="7449852"/>
                </a:cubicBezTo>
                <a:cubicBezTo>
                  <a:pt x="4355290" y="7444128"/>
                  <a:pt x="4352495" y="7437074"/>
                  <a:pt x="4352495" y="7428687"/>
                </a:cubicBezTo>
                <a:cubicBezTo>
                  <a:pt x="4352495" y="7420434"/>
                  <a:pt x="4355290" y="7413379"/>
                  <a:pt x="4360881" y="7407654"/>
                </a:cubicBezTo>
                <a:cubicBezTo>
                  <a:pt x="4366473" y="7401930"/>
                  <a:pt x="4373661" y="7399134"/>
                  <a:pt x="4382713" y="7399134"/>
                </a:cubicBezTo>
                <a:close/>
                <a:moveTo>
                  <a:pt x="4165068" y="7399134"/>
                </a:moveTo>
                <a:cubicBezTo>
                  <a:pt x="4169327" y="7399134"/>
                  <a:pt x="4173188" y="7399933"/>
                  <a:pt x="4176782" y="7401530"/>
                </a:cubicBezTo>
                <a:cubicBezTo>
                  <a:pt x="4180509" y="7402995"/>
                  <a:pt x="4183571" y="7405124"/>
                  <a:pt x="4186100" y="7407787"/>
                </a:cubicBezTo>
                <a:cubicBezTo>
                  <a:pt x="4188629" y="7410449"/>
                  <a:pt x="4190759" y="7413645"/>
                  <a:pt x="4192223" y="7417239"/>
                </a:cubicBezTo>
                <a:cubicBezTo>
                  <a:pt x="4193688" y="7420833"/>
                  <a:pt x="4194486" y="7424561"/>
                  <a:pt x="4194486" y="7428687"/>
                </a:cubicBezTo>
                <a:cubicBezTo>
                  <a:pt x="4194486" y="7432814"/>
                  <a:pt x="4193688" y="7436807"/>
                  <a:pt x="4192223" y="7440402"/>
                </a:cubicBezTo>
                <a:cubicBezTo>
                  <a:pt x="4190759" y="7444128"/>
                  <a:pt x="4188629" y="7447191"/>
                  <a:pt x="4186100" y="7449852"/>
                </a:cubicBezTo>
                <a:cubicBezTo>
                  <a:pt x="4183438" y="7452515"/>
                  <a:pt x="4180376" y="7454645"/>
                  <a:pt x="4176782" y="7456109"/>
                </a:cubicBezTo>
                <a:cubicBezTo>
                  <a:pt x="4173188" y="7457573"/>
                  <a:pt x="4169327" y="7458372"/>
                  <a:pt x="4165068" y="7458372"/>
                </a:cubicBezTo>
                <a:cubicBezTo>
                  <a:pt x="4156015" y="7458372"/>
                  <a:pt x="4148827" y="7455444"/>
                  <a:pt x="4143235" y="7449852"/>
                </a:cubicBezTo>
                <a:cubicBezTo>
                  <a:pt x="4137645" y="7444128"/>
                  <a:pt x="4134849" y="7437074"/>
                  <a:pt x="4134849" y="7428687"/>
                </a:cubicBezTo>
                <a:cubicBezTo>
                  <a:pt x="4134849" y="7420434"/>
                  <a:pt x="4137645" y="7413379"/>
                  <a:pt x="4143235" y="7407654"/>
                </a:cubicBezTo>
                <a:cubicBezTo>
                  <a:pt x="4148827" y="7401930"/>
                  <a:pt x="4156015" y="7399134"/>
                  <a:pt x="4165068" y="7399134"/>
                </a:cubicBezTo>
                <a:close/>
                <a:moveTo>
                  <a:pt x="3947819" y="7399134"/>
                </a:moveTo>
                <a:cubicBezTo>
                  <a:pt x="3952085" y="7399134"/>
                  <a:pt x="3955944" y="7399933"/>
                  <a:pt x="3959539" y="7401530"/>
                </a:cubicBezTo>
                <a:cubicBezTo>
                  <a:pt x="3963267" y="7402995"/>
                  <a:pt x="3966330" y="7405124"/>
                  <a:pt x="3968857" y="7407787"/>
                </a:cubicBezTo>
                <a:cubicBezTo>
                  <a:pt x="3971388" y="7410449"/>
                  <a:pt x="3973518" y="7413645"/>
                  <a:pt x="3974981" y="7417239"/>
                </a:cubicBezTo>
                <a:cubicBezTo>
                  <a:pt x="3976446" y="7420833"/>
                  <a:pt x="3977244" y="7424561"/>
                  <a:pt x="3977244" y="7428687"/>
                </a:cubicBezTo>
                <a:cubicBezTo>
                  <a:pt x="3977244" y="7432814"/>
                  <a:pt x="3976446" y="7436807"/>
                  <a:pt x="3974981" y="7440402"/>
                </a:cubicBezTo>
                <a:cubicBezTo>
                  <a:pt x="3973518" y="7444128"/>
                  <a:pt x="3971388" y="7447191"/>
                  <a:pt x="3968857" y="7449852"/>
                </a:cubicBezTo>
                <a:cubicBezTo>
                  <a:pt x="3966196" y="7452515"/>
                  <a:pt x="3963134" y="7454645"/>
                  <a:pt x="3959539" y="7456109"/>
                </a:cubicBezTo>
                <a:cubicBezTo>
                  <a:pt x="3955944" y="7457573"/>
                  <a:pt x="3952085" y="7458372"/>
                  <a:pt x="3947819" y="7458372"/>
                </a:cubicBezTo>
                <a:cubicBezTo>
                  <a:pt x="3938768" y="7458372"/>
                  <a:pt x="3931578" y="7455444"/>
                  <a:pt x="3925988" y="7449852"/>
                </a:cubicBezTo>
                <a:cubicBezTo>
                  <a:pt x="3920397" y="7444128"/>
                  <a:pt x="3917601" y="7437074"/>
                  <a:pt x="3917601" y="7428687"/>
                </a:cubicBezTo>
                <a:cubicBezTo>
                  <a:pt x="3917601" y="7420434"/>
                  <a:pt x="3920397" y="7413379"/>
                  <a:pt x="3925988" y="7407654"/>
                </a:cubicBezTo>
                <a:cubicBezTo>
                  <a:pt x="3931578" y="7401930"/>
                  <a:pt x="3938768" y="7399134"/>
                  <a:pt x="3947819" y="7399134"/>
                </a:cubicBezTo>
                <a:close/>
                <a:moveTo>
                  <a:pt x="3730157" y="7399134"/>
                </a:moveTo>
                <a:cubicBezTo>
                  <a:pt x="3734418" y="7399134"/>
                  <a:pt x="3738411" y="7399933"/>
                  <a:pt x="3741874" y="7401530"/>
                </a:cubicBezTo>
                <a:cubicBezTo>
                  <a:pt x="3745467" y="7402995"/>
                  <a:pt x="3748662" y="7405124"/>
                  <a:pt x="3751192" y="7407787"/>
                </a:cubicBezTo>
                <a:cubicBezTo>
                  <a:pt x="3753721" y="7410449"/>
                  <a:pt x="3755851" y="7413645"/>
                  <a:pt x="3757314" y="7417239"/>
                </a:cubicBezTo>
                <a:cubicBezTo>
                  <a:pt x="3758779" y="7420833"/>
                  <a:pt x="3759578" y="7424561"/>
                  <a:pt x="3759578" y="7428687"/>
                </a:cubicBezTo>
                <a:cubicBezTo>
                  <a:pt x="3759578" y="7432814"/>
                  <a:pt x="3758779" y="7436807"/>
                  <a:pt x="3757314" y="7440402"/>
                </a:cubicBezTo>
                <a:cubicBezTo>
                  <a:pt x="3755851" y="7444128"/>
                  <a:pt x="3753721" y="7447191"/>
                  <a:pt x="3751192" y="7449852"/>
                </a:cubicBezTo>
                <a:cubicBezTo>
                  <a:pt x="3748528" y="7452515"/>
                  <a:pt x="3745467" y="7454645"/>
                  <a:pt x="3741874" y="7456109"/>
                </a:cubicBezTo>
                <a:cubicBezTo>
                  <a:pt x="3738279" y="7457573"/>
                  <a:pt x="3734418" y="7458372"/>
                  <a:pt x="3730157" y="7458372"/>
                </a:cubicBezTo>
                <a:cubicBezTo>
                  <a:pt x="3721106" y="7458372"/>
                  <a:pt x="3713909" y="7455444"/>
                  <a:pt x="3708314" y="7449852"/>
                </a:cubicBezTo>
                <a:cubicBezTo>
                  <a:pt x="3702723" y="7444128"/>
                  <a:pt x="3699927" y="7437074"/>
                  <a:pt x="3699927" y="7428687"/>
                </a:cubicBezTo>
                <a:cubicBezTo>
                  <a:pt x="3699927" y="7420434"/>
                  <a:pt x="3702723" y="7413379"/>
                  <a:pt x="3708314" y="7407654"/>
                </a:cubicBezTo>
                <a:cubicBezTo>
                  <a:pt x="3713909" y="7401930"/>
                  <a:pt x="3721106" y="7399134"/>
                  <a:pt x="3730157" y="7399134"/>
                </a:cubicBezTo>
                <a:close/>
                <a:moveTo>
                  <a:pt x="3512490" y="7399134"/>
                </a:moveTo>
                <a:cubicBezTo>
                  <a:pt x="3516752" y="7399134"/>
                  <a:pt x="3520746" y="7399933"/>
                  <a:pt x="3524207" y="7401530"/>
                </a:cubicBezTo>
                <a:cubicBezTo>
                  <a:pt x="3527801" y="7402995"/>
                  <a:pt x="3530998" y="7405124"/>
                  <a:pt x="3533526" y="7407787"/>
                </a:cubicBezTo>
                <a:cubicBezTo>
                  <a:pt x="3536055" y="7410449"/>
                  <a:pt x="3538184" y="7413645"/>
                  <a:pt x="3539648" y="7417239"/>
                </a:cubicBezTo>
                <a:cubicBezTo>
                  <a:pt x="3541113" y="7420833"/>
                  <a:pt x="3541912" y="7424561"/>
                  <a:pt x="3541912" y="7428687"/>
                </a:cubicBezTo>
                <a:cubicBezTo>
                  <a:pt x="3541912" y="7432814"/>
                  <a:pt x="3541113" y="7436807"/>
                  <a:pt x="3539648" y="7440402"/>
                </a:cubicBezTo>
                <a:cubicBezTo>
                  <a:pt x="3538184" y="7444128"/>
                  <a:pt x="3536055" y="7447191"/>
                  <a:pt x="3533526" y="7449852"/>
                </a:cubicBezTo>
                <a:cubicBezTo>
                  <a:pt x="3530864" y="7452515"/>
                  <a:pt x="3527801" y="7454645"/>
                  <a:pt x="3524207" y="7456109"/>
                </a:cubicBezTo>
                <a:cubicBezTo>
                  <a:pt x="3520613" y="7457573"/>
                  <a:pt x="3516752" y="7458372"/>
                  <a:pt x="3512490" y="7458372"/>
                </a:cubicBezTo>
                <a:cubicBezTo>
                  <a:pt x="3503436" y="7458372"/>
                  <a:pt x="3496246" y="7455444"/>
                  <a:pt x="3490654" y="7449852"/>
                </a:cubicBezTo>
                <a:cubicBezTo>
                  <a:pt x="3485062" y="7444128"/>
                  <a:pt x="3482266" y="7437074"/>
                  <a:pt x="3482266" y="7428687"/>
                </a:cubicBezTo>
                <a:cubicBezTo>
                  <a:pt x="3482266" y="7420434"/>
                  <a:pt x="3485062" y="7413379"/>
                  <a:pt x="3490654" y="7407654"/>
                </a:cubicBezTo>
                <a:cubicBezTo>
                  <a:pt x="3496246" y="7401930"/>
                  <a:pt x="3503436" y="7399134"/>
                  <a:pt x="3512490" y="7399134"/>
                </a:cubicBezTo>
                <a:close/>
                <a:moveTo>
                  <a:pt x="3294959" y="7399134"/>
                </a:moveTo>
                <a:cubicBezTo>
                  <a:pt x="3299087" y="7399134"/>
                  <a:pt x="3303080" y="7399933"/>
                  <a:pt x="3306674" y="7401530"/>
                </a:cubicBezTo>
                <a:cubicBezTo>
                  <a:pt x="3310401" y="7402995"/>
                  <a:pt x="3313464" y="7405124"/>
                  <a:pt x="3315992" y="7407787"/>
                </a:cubicBezTo>
                <a:cubicBezTo>
                  <a:pt x="3318523" y="7410449"/>
                  <a:pt x="3320652" y="7413645"/>
                  <a:pt x="3322116" y="7417239"/>
                </a:cubicBezTo>
                <a:cubicBezTo>
                  <a:pt x="3323580" y="7420833"/>
                  <a:pt x="3324377" y="7424561"/>
                  <a:pt x="3324377" y="7428687"/>
                </a:cubicBezTo>
                <a:cubicBezTo>
                  <a:pt x="3324377" y="7432814"/>
                  <a:pt x="3323580" y="7436807"/>
                  <a:pt x="3322116" y="7440402"/>
                </a:cubicBezTo>
                <a:cubicBezTo>
                  <a:pt x="3320652" y="7444128"/>
                  <a:pt x="3318523" y="7447191"/>
                  <a:pt x="3315992" y="7449852"/>
                </a:cubicBezTo>
                <a:cubicBezTo>
                  <a:pt x="3313330" y="7452515"/>
                  <a:pt x="3310269" y="7454645"/>
                  <a:pt x="3306674" y="7456109"/>
                </a:cubicBezTo>
                <a:cubicBezTo>
                  <a:pt x="3303080" y="7457573"/>
                  <a:pt x="3299220" y="7458372"/>
                  <a:pt x="3294959" y="7458372"/>
                </a:cubicBezTo>
                <a:cubicBezTo>
                  <a:pt x="3285904" y="7458372"/>
                  <a:pt x="3278713" y="7455444"/>
                  <a:pt x="3273121" y="7449852"/>
                </a:cubicBezTo>
                <a:cubicBezTo>
                  <a:pt x="3267525" y="7444128"/>
                  <a:pt x="3264731" y="7437074"/>
                  <a:pt x="3264731" y="7428687"/>
                </a:cubicBezTo>
                <a:cubicBezTo>
                  <a:pt x="3264731" y="7420434"/>
                  <a:pt x="3267525" y="7413379"/>
                  <a:pt x="3273121" y="7407654"/>
                </a:cubicBezTo>
                <a:cubicBezTo>
                  <a:pt x="3278713" y="7401930"/>
                  <a:pt x="3285904" y="7399134"/>
                  <a:pt x="3294959" y="7399134"/>
                </a:cubicBezTo>
                <a:close/>
                <a:moveTo>
                  <a:pt x="3077293" y="7399134"/>
                </a:moveTo>
                <a:cubicBezTo>
                  <a:pt x="3081421" y="7399134"/>
                  <a:pt x="3085414" y="7399933"/>
                  <a:pt x="3089008" y="7401530"/>
                </a:cubicBezTo>
                <a:cubicBezTo>
                  <a:pt x="3092602" y="7402995"/>
                  <a:pt x="3095798" y="7405124"/>
                  <a:pt x="3098326" y="7407787"/>
                </a:cubicBezTo>
                <a:cubicBezTo>
                  <a:pt x="3100855" y="7410449"/>
                  <a:pt x="3102985" y="7413645"/>
                  <a:pt x="3104449" y="7417239"/>
                </a:cubicBezTo>
                <a:cubicBezTo>
                  <a:pt x="3105915" y="7420833"/>
                  <a:pt x="3106713" y="7424561"/>
                  <a:pt x="3106713" y="7428687"/>
                </a:cubicBezTo>
                <a:cubicBezTo>
                  <a:pt x="3106713" y="7432814"/>
                  <a:pt x="3105915" y="7436807"/>
                  <a:pt x="3104449" y="7440402"/>
                </a:cubicBezTo>
                <a:cubicBezTo>
                  <a:pt x="3102985" y="7444128"/>
                  <a:pt x="3100855" y="7447191"/>
                  <a:pt x="3098326" y="7449852"/>
                </a:cubicBezTo>
                <a:cubicBezTo>
                  <a:pt x="3095664" y="7452515"/>
                  <a:pt x="3092602" y="7454645"/>
                  <a:pt x="3089008" y="7456109"/>
                </a:cubicBezTo>
                <a:cubicBezTo>
                  <a:pt x="3085414" y="7457573"/>
                  <a:pt x="3081555" y="7458372"/>
                  <a:pt x="3077293" y="7458372"/>
                </a:cubicBezTo>
                <a:cubicBezTo>
                  <a:pt x="3068374" y="7458372"/>
                  <a:pt x="3061048" y="7455444"/>
                  <a:pt x="3055452" y="7449852"/>
                </a:cubicBezTo>
                <a:cubicBezTo>
                  <a:pt x="3049862" y="7444128"/>
                  <a:pt x="3047067" y="7437074"/>
                  <a:pt x="3047067" y="7428687"/>
                </a:cubicBezTo>
                <a:cubicBezTo>
                  <a:pt x="3047067" y="7420434"/>
                  <a:pt x="3049862" y="7413379"/>
                  <a:pt x="3055452" y="7407654"/>
                </a:cubicBezTo>
                <a:cubicBezTo>
                  <a:pt x="3061048" y="7401930"/>
                  <a:pt x="3068237" y="7399134"/>
                  <a:pt x="3077293" y="7399134"/>
                </a:cubicBezTo>
                <a:close/>
                <a:moveTo>
                  <a:pt x="2859628" y="7399134"/>
                </a:moveTo>
                <a:cubicBezTo>
                  <a:pt x="2863888" y="7399134"/>
                  <a:pt x="2867748" y="7399933"/>
                  <a:pt x="2871477" y="7401530"/>
                </a:cubicBezTo>
                <a:cubicBezTo>
                  <a:pt x="2875202" y="7402995"/>
                  <a:pt x="2878265" y="7405124"/>
                  <a:pt x="2880793" y="7407787"/>
                </a:cubicBezTo>
                <a:cubicBezTo>
                  <a:pt x="2883456" y="7410449"/>
                  <a:pt x="2885453" y="7413645"/>
                  <a:pt x="2886917" y="7417239"/>
                </a:cubicBezTo>
                <a:cubicBezTo>
                  <a:pt x="2888382" y="7420833"/>
                  <a:pt x="2889179" y="7424561"/>
                  <a:pt x="2889179" y="7428687"/>
                </a:cubicBezTo>
                <a:cubicBezTo>
                  <a:pt x="2889179" y="7432814"/>
                  <a:pt x="2888382" y="7436807"/>
                  <a:pt x="2886917" y="7440402"/>
                </a:cubicBezTo>
                <a:cubicBezTo>
                  <a:pt x="2885453" y="7444128"/>
                  <a:pt x="2883324" y="7447191"/>
                  <a:pt x="2880793" y="7449852"/>
                </a:cubicBezTo>
                <a:cubicBezTo>
                  <a:pt x="2878132" y="7452515"/>
                  <a:pt x="2875069" y="7454645"/>
                  <a:pt x="2871477" y="7456109"/>
                </a:cubicBezTo>
                <a:cubicBezTo>
                  <a:pt x="2867748" y="7457573"/>
                  <a:pt x="2863888" y="7458372"/>
                  <a:pt x="2859628" y="7458372"/>
                </a:cubicBezTo>
                <a:cubicBezTo>
                  <a:pt x="2850708" y="7458372"/>
                  <a:pt x="2843378" y="7455444"/>
                  <a:pt x="2837788" y="7449852"/>
                </a:cubicBezTo>
                <a:cubicBezTo>
                  <a:pt x="2832196" y="7444128"/>
                  <a:pt x="2829398" y="7437074"/>
                  <a:pt x="2829398" y="7428687"/>
                </a:cubicBezTo>
                <a:cubicBezTo>
                  <a:pt x="2829398" y="7420434"/>
                  <a:pt x="2832196" y="7413379"/>
                  <a:pt x="2837788" y="7407654"/>
                </a:cubicBezTo>
                <a:cubicBezTo>
                  <a:pt x="2843378" y="7401930"/>
                  <a:pt x="2850573" y="7399134"/>
                  <a:pt x="2859628" y="7399134"/>
                </a:cubicBezTo>
                <a:close/>
                <a:moveTo>
                  <a:pt x="2641962" y="7399134"/>
                </a:moveTo>
                <a:cubicBezTo>
                  <a:pt x="2646222" y="7399134"/>
                  <a:pt x="2650081" y="7399933"/>
                  <a:pt x="2653677" y="7401530"/>
                </a:cubicBezTo>
                <a:cubicBezTo>
                  <a:pt x="2657402" y="7402995"/>
                  <a:pt x="2660465" y="7405124"/>
                  <a:pt x="2662995" y="7407787"/>
                </a:cubicBezTo>
                <a:cubicBezTo>
                  <a:pt x="2665656" y="7410449"/>
                  <a:pt x="2667654" y="7413645"/>
                  <a:pt x="2669117" y="7417239"/>
                </a:cubicBezTo>
                <a:cubicBezTo>
                  <a:pt x="2670582" y="7420833"/>
                  <a:pt x="2671381" y="7424561"/>
                  <a:pt x="2671381" y="7428687"/>
                </a:cubicBezTo>
                <a:cubicBezTo>
                  <a:pt x="2671381" y="7432814"/>
                  <a:pt x="2670582" y="7436807"/>
                  <a:pt x="2669117" y="7440402"/>
                </a:cubicBezTo>
                <a:cubicBezTo>
                  <a:pt x="2667654" y="7444128"/>
                  <a:pt x="2665524" y="7447191"/>
                  <a:pt x="2662995" y="7449852"/>
                </a:cubicBezTo>
                <a:cubicBezTo>
                  <a:pt x="2660465" y="7452515"/>
                  <a:pt x="2657270" y="7454645"/>
                  <a:pt x="2653677" y="7456109"/>
                </a:cubicBezTo>
                <a:cubicBezTo>
                  <a:pt x="2650081" y="7457573"/>
                  <a:pt x="2646222" y="7458372"/>
                  <a:pt x="2641962" y="7458372"/>
                </a:cubicBezTo>
                <a:cubicBezTo>
                  <a:pt x="2633041" y="7458372"/>
                  <a:pt x="2625719" y="7455444"/>
                  <a:pt x="2620127" y="7449852"/>
                </a:cubicBezTo>
                <a:cubicBezTo>
                  <a:pt x="2614533" y="7444128"/>
                  <a:pt x="2611735" y="7437074"/>
                  <a:pt x="2611735" y="7428687"/>
                </a:cubicBezTo>
                <a:cubicBezTo>
                  <a:pt x="2611735" y="7420434"/>
                  <a:pt x="2614533" y="7413379"/>
                  <a:pt x="2620127" y="7407654"/>
                </a:cubicBezTo>
                <a:cubicBezTo>
                  <a:pt x="2625719" y="7401930"/>
                  <a:pt x="2632909" y="7399134"/>
                  <a:pt x="2641962" y="7399134"/>
                </a:cubicBezTo>
                <a:close/>
                <a:moveTo>
                  <a:pt x="2424294" y="7399134"/>
                </a:moveTo>
                <a:cubicBezTo>
                  <a:pt x="2428554" y="7399134"/>
                  <a:pt x="2432550" y="7399933"/>
                  <a:pt x="2436011" y="7401530"/>
                </a:cubicBezTo>
                <a:cubicBezTo>
                  <a:pt x="2439737" y="7402995"/>
                  <a:pt x="2442800" y="7405124"/>
                  <a:pt x="2445329" y="7407787"/>
                </a:cubicBezTo>
                <a:cubicBezTo>
                  <a:pt x="2447990" y="7410449"/>
                  <a:pt x="2449987" y="7413645"/>
                  <a:pt x="2451451" y="7417239"/>
                </a:cubicBezTo>
                <a:cubicBezTo>
                  <a:pt x="2452916" y="7420833"/>
                  <a:pt x="2453715" y="7424561"/>
                  <a:pt x="2453715" y="7428687"/>
                </a:cubicBezTo>
                <a:cubicBezTo>
                  <a:pt x="2453715" y="7432814"/>
                  <a:pt x="2452916" y="7436807"/>
                  <a:pt x="2451451" y="7440402"/>
                </a:cubicBezTo>
                <a:cubicBezTo>
                  <a:pt x="2449987" y="7444128"/>
                  <a:pt x="2447858" y="7447191"/>
                  <a:pt x="2445329" y="7449852"/>
                </a:cubicBezTo>
                <a:cubicBezTo>
                  <a:pt x="2442800" y="7452515"/>
                  <a:pt x="2439605" y="7454645"/>
                  <a:pt x="2436011" y="7456109"/>
                </a:cubicBezTo>
                <a:cubicBezTo>
                  <a:pt x="2432416" y="7457573"/>
                  <a:pt x="2428554" y="7458372"/>
                  <a:pt x="2424294" y="7458372"/>
                </a:cubicBezTo>
                <a:cubicBezTo>
                  <a:pt x="2415377" y="7458372"/>
                  <a:pt x="2408055" y="7455444"/>
                  <a:pt x="2402462" y="7449852"/>
                </a:cubicBezTo>
                <a:cubicBezTo>
                  <a:pt x="2396869" y="7444128"/>
                  <a:pt x="2394072" y="7437074"/>
                  <a:pt x="2394072" y="7428687"/>
                </a:cubicBezTo>
                <a:cubicBezTo>
                  <a:pt x="2394072" y="7420434"/>
                  <a:pt x="2396869" y="7413379"/>
                  <a:pt x="2402462" y="7407654"/>
                </a:cubicBezTo>
                <a:cubicBezTo>
                  <a:pt x="2408055" y="7401930"/>
                  <a:pt x="2415243" y="7399134"/>
                  <a:pt x="2424294" y="7399134"/>
                </a:cubicBezTo>
                <a:close/>
                <a:moveTo>
                  <a:pt x="2206629" y="7399134"/>
                </a:moveTo>
                <a:cubicBezTo>
                  <a:pt x="2210888" y="7399134"/>
                  <a:pt x="2214883" y="7399933"/>
                  <a:pt x="2218344" y="7401530"/>
                </a:cubicBezTo>
                <a:cubicBezTo>
                  <a:pt x="2222070" y="7402995"/>
                  <a:pt x="2225132" y="7405124"/>
                  <a:pt x="2227663" y="7407787"/>
                </a:cubicBezTo>
                <a:cubicBezTo>
                  <a:pt x="2230324" y="7410449"/>
                  <a:pt x="2232321" y="7413645"/>
                  <a:pt x="2233786" y="7417239"/>
                </a:cubicBezTo>
                <a:cubicBezTo>
                  <a:pt x="2235250" y="7420833"/>
                  <a:pt x="2236050" y="7424561"/>
                  <a:pt x="2236050" y="7428687"/>
                </a:cubicBezTo>
                <a:cubicBezTo>
                  <a:pt x="2236050" y="7432814"/>
                  <a:pt x="2235250" y="7436807"/>
                  <a:pt x="2233786" y="7440402"/>
                </a:cubicBezTo>
                <a:cubicBezTo>
                  <a:pt x="2232321" y="7444128"/>
                  <a:pt x="2230191" y="7447191"/>
                  <a:pt x="2227663" y="7449852"/>
                </a:cubicBezTo>
                <a:cubicBezTo>
                  <a:pt x="2225132" y="7452515"/>
                  <a:pt x="2221939" y="7454645"/>
                  <a:pt x="2218344" y="7456109"/>
                </a:cubicBezTo>
                <a:cubicBezTo>
                  <a:pt x="2214750" y="7457573"/>
                  <a:pt x="2210888" y="7458372"/>
                  <a:pt x="2206629" y="7458372"/>
                </a:cubicBezTo>
                <a:cubicBezTo>
                  <a:pt x="2197577" y="7458372"/>
                  <a:pt x="2190388" y="7455444"/>
                  <a:pt x="2184796" y="7449852"/>
                </a:cubicBezTo>
                <a:cubicBezTo>
                  <a:pt x="2179204" y="7444128"/>
                  <a:pt x="2176408" y="7437074"/>
                  <a:pt x="2176408" y="7428687"/>
                </a:cubicBezTo>
                <a:cubicBezTo>
                  <a:pt x="2176408" y="7420434"/>
                  <a:pt x="2179204" y="7413379"/>
                  <a:pt x="2184796" y="7407654"/>
                </a:cubicBezTo>
                <a:cubicBezTo>
                  <a:pt x="2190388" y="7401930"/>
                  <a:pt x="2197577" y="7399134"/>
                  <a:pt x="2206629" y="7399134"/>
                </a:cubicBezTo>
                <a:close/>
                <a:moveTo>
                  <a:pt x="1989097" y="7399134"/>
                </a:moveTo>
                <a:cubicBezTo>
                  <a:pt x="1993224" y="7399134"/>
                  <a:pt x="1997218" y="7399933"/>
                  <a:pt x="2000811" y="7401530"/>
                </a:cubicBezTo>
                <a:cubicBezTo>
                  <a:pt x="2004539" y="7402995"/>
                  <a:pt x="2007600" y="7405124"/>
                  <a:pt x="2010130" y="7407787"/>
                </a:cubicBezTo>
                <a:cubicBezTo>
                  <a:pt x="2012791" y="7410449"/>
                  <a:pt x="2014788" y="7413645"/>
                  <a:pt x="2016252" y="7417239"/>
                </a:cubicBezTo>
                <a:cubicBezTo>
                  <a:pt x="2017718" y="7420833"/>
                  <a:pt x="2018515" y="7424561"/>
                  <a:pt x="2018515" y="7428687"/>
                </a:cubicBezTo>
                <a:cubicBezTo>
                  <a:pt x="2018515" y="7432814"/>
                  <a:pt x="2017718" y="7436807"/>
                  <a:pt x="2016252" y="7440402"/>
                </a:cubicBezTo>
                <a:cubicBezTo>
                  <a:pt x="2014788" y="7444128"/>
                  <a:pt x="2012658" y="7447191"/>
                  <a:pt x="2010130" y="7449852"/>
                </a:cubicBezTo>
                <a:cubicBezTo>
                  <a:pt x="2007600" y="7452515"/>
                  <a:pt x="2004405" y="7454645"/>
                  <a:pt x="2000811" y="7456109"/>
                </a:cubicBezTo>
                <a:cubicBezTo>
                  <a:pt x="1997218" y="7457573"/>
                  <a:pt x="1993357" y="7458372"/>
                  <a:pt x="1989097" y="7458372"/>
                </a:cubicBezTo>
                <a:cubicBezTo>
                  <a:pt x="1980046" y="7458372"/>
                  <a:pt x="1972857" y="7455444"/>
                  <a:pt x="1967266" y="7449852"/>
                </a:cubicBezTo>
                <a:cubicBezTo>
                  <a:pt x="1961676" y="7444128"/>
                  <a:pt x="1958880" y="7437074"/>
                  <a:pt x="1958880" y="7428687"/>
                </a:cubicBezTo>
                <a:cubicBezTo>
                  <a:pt x="1958880" y="7420434"/>
                  <a:pt x="1961676" y="7413379"/>
                  <a:pt x="1967266" y="7407654"/>
                </a:cubicBezTo>
                <a:cubicBezTo>
                  <a:pt x="1972857" y="7401930"/>
                  <a:pt x="1980046" y="7399134"/>
                  <a:pt x="1989097" y="7399134"/>
                </a:cubicBezTo>
                <a:close/>
                <a:moveTo>
                  <a:pt x="1771467" y="7399134"/>
                </a:moveTo>
                <a:cubicBezTo>
                  <a:pt x="1775727" y="7399134"/>
                  <a:pt x="1779585" y="7399933"/>
                  <a:pt x="1783180" y="7401530"/>
                </a:cubicBezTo>
                <a:cubicBezTo>
                  <a:pt x="1786907" y="7402995"/>
                  <a:pt x="1789969" y="7405124"/>
                  <a:pt x="1792498" y="7407787"/>
                </a:cubicBezTo>
                <a:cubicBezTo>
                  <a:pt x="1795160" y="7410449"/>
                  <a:pt x="1797157" y="7413645"/>
                  <a:pt x="1798621" y="7417239"/>
                </a:cubicBezTo>
                <a:cubicBezTo>
                  <a:pt x="1800084" y="7420833"/>
                  <a:pt x="1800883" y="7424561"/>
                  <a:pt x="1800883" y="7428687"/>
                </a:cubicBezTo>
                <a:cubicBezTo>
                  <a:pt x="1800883" y="7432814"/>
                  <a:pt x="1800084" y="7436807"/>
                  <a:pt x="1798621" y="7440402"/>
                </a:cubicBezTo>
                <a:cubicBezTo>
                  <a:pt x="1797157" y="7444128"/>
                  <a:pt x="1795027" y="7447191"/>
                  <a:pt x="1792498" y="7449852"/>
                </a:cubicBezTo>
                <a:cubicBezTo>
                  <a:pt x="1789835" y="7452515"/>
                  <a:pt x="1786775" y="7454645"/>
                  <a:pt x="1783180" y="7456109"/>
                </a:cubicBezTo>
                <a:cubicBezTo>
                  <a:pt x="1779585" y="7457573"/>
                  <a:pt x="1775727" y="7458372"/>
                  <a:pt x="1771467" y="7458372"/>
                </a:cubicBezTo>
                <a:cubicBezTo>
                  <a:pt x="1762549" y="7458372"/>
                  <a:pt x="1755229" y="7455444"/>
                  <a:pt x="1749638" y="7449852"/>
                </a:cubicBezTo>
                <a:cubicBezTo>
                  <a:pt x="1744049" y="7444128"/>
                  <a:pt x="1741255" y="7437074"/>
                  <a:pt x="1741255" y="7428687"/>
                </a:cubicBezTo>
                <a:cubicBezTo>
                  <a:pt x="1741255" y="7420434"/>
                  <a:pt x="1744049" y="7413379"/>
                  <a:pt x="1749638" y="7407654"/>
                </a:cubicBezTo>
                <a:cubicBezTo>
                  <a:pt x="1755229" y="7401930"/>
                  <a:pt x="1762416" y="7399134"/>
                  <a:pt x="1771467" y="7399134"/>
                </a:cubicBezTo>
                <a:close/>
                <a:moveTo>
                  <a:pt x="1553833" y="7399134"/>
                </a:moveTo>
                <a:cubicBezTo>
                  <a:pt x="1558091" y="7399134"/>
                  <a:pt x="1561953" y="7399933"/>
                  <a:pt x="1565547" y="7401530"/>
                </a:cubicBezTo>
                <a:cubicBezTo>
                  <a:pt x="1569141" y="7402995"/>
                  <a:pt x="1572336" y="7405124"/>
                  <a:pt x="1574865" y="7407787"/>
                </a:cubicBezTo>
                <a:cubicBezTo>
                  <a:pt x="1577527" y="7410449"/>
                  <a:pt x="1579524" y="7413645"/>
                  <a:pt x="1580988" y="7417239"/>
                </a:cubicBezTo>
                <a:cubicBezTo>
                  <a:pt x="1582452" y="7420833"/>
                  <a:pt x="1583251" y="7424561"/>
                  <a:pt x="1583251" y="7428687"/>
                </a:cubicBezTo>
                <a:cubicBezTo>
                  <a:pt x="1583251" y="7432814"/>
                  <a:pt x="1582452" y="7436807"/>
                  <a:pt x="1580988" y="7440402"/>
                </a:cubicBezTo>
                <a:cubicBezTo>
                  <a:pt x="1579524" y="7444128"/>
                  <a:pt x="1577395" y="7447191"/>
                  <a:pt x="1574865" y="7449852"/>
                </a:cubicBezTo>
                <a:cubicBezTo>
                  <a:pt x="1572203" y="7452515"/>
                  <a:pt x="1569141" y="7454645"/>
                  <a:pt x="1565547" y="7456109"/>
                </a:cubicBezTo>
                <a:cubicBezTo>
                  <a:pt x="1561953" y="7457573"/>
                  <a:pt x="1558091" y="7458372"/>
                  <a:pt x="1553833" y="7458372"/>
                </a:cubicBezTo>
                <a:cubicBezTo>
                  <a:pt x="1544914" y="7458372"/>
                  <a:pt x="1537592" y="7455444"/>
                  <a:pt x="1532003" y="7449852"/>
                </a:cubicBezTo>
                <a:cubicBezTo>
                  <a:pt x="1526415" y="7444128"/>
                  <a:pt x="1523618" y="7437074"/>
                  <a:pt x="1523618" y="7428687"/>
                </a:cubicBezTo>
                <a:cubicBezTo>
                  <a:pt x="1523618" y="7420434"/>
                  <a:pt x="1526415" y="7413379"/>
                  <a:pt x="1532003" y="7407654"/>
                </a:cubicBezTo>
                <a:cubicBezTo>
                  <a:pt x="1537592" y="7401930"/>
                  <a:pt x="1544780" y="7399134"/>
                  <a:pt x="1553833" y="7399134"/>
                </a:cubicBezTo>
                <a:close/>
                <a:moveTo>
                  <a:pt x="1336190" y="7399134"/>
                </a:moveTo>
                <a:cubicBezTo>
                  <a:pt x="1340450" y="7399134"/>
                  <a:pt x="1344444" y="7399933"/>
                  <a:pt x="1347905" y="7401530"/>
                </a:cubicBezTo>
                <a:cubicBezTo>
                  <a:pt x="1351497" y="7402995"/>
                  <a:pt x="1354692" y="7405124"/>
                  <a:pt x="1357222" y="7407787"/>
                </a:cubicBezTo>
                <a:cubicBezTo>
                  <a:pt x="1359884" y="7410449"/>
                  <a:pt x="1361882" y="7413645"/>
                  <a:pt x="1363345" y="7417239"/>
                </a:cubicBezTo>
                <a:cubicBezTo>
                  <a:pt x="1364810" y="7420833"/>
                  <a:pt x="1365608" y="7424561"/>
                  <a:pt x="1365608" y="7428687"/>
                </a:cubicBezTo>
                <a:cubicBezTo>
                  <a:pt x="1365608" y="7432814"/>
                  <a:pt x="1364810" y="7436807"/>
                  <a:pt x="1363345" y="7440402"/>
                </a:cubicBezTo>
                <a:cubicBezTo>
                  <a:pt x="1361882" y="7444128"/>
                  <a:pt x="1359752" y="7447191"/>
                  <a:pt x="1357222" y="7449852"/>
                </a:cubicBezTo>
                <a:cubicBezTo>
                  <a:pt x="1354560" y="7452515"/>
                  <a:pt x="1351497" y="7454645"/>
                  <a:pt x="1347905" y="7456109"/>
                </a:cubicBezTo>
                <a:cubicBezTo>
                  <a:pt x="1344312" y="7457573"/>
                  <a:pt x="1340450" y="7458372"/>
                  <a:pt x="1336190" y="7458372"/>
                </a:cubicBezTo>
                <a:cubicBezTo>
                  <a:pt x="1327268" y="7458372"/>
                  <a:pt x="1319947" y="7455444"/>
                  <a:pt x="1314356" y="7449852"/>
                </a:cubicBezTo>
                <a:cubicBezTo>
                  <a:pt x="1308766" y="7444128"/>
                  <a:pt x="1305970" y="7437074"/>
                  <a:pt x="1305970" y="7428687"/>
                </a:cubicBezTo>
                <a:cubicBezTo>
                  <a:pt x="1305970" y="7420434"/>
                  <a:pt x="1308766" y="7413379"/>
                  <a:pt x="1314356" y="7407654"/>
                </a:cubicBezTo>
                <a:cubicBezTo>
                  <a:pt x="1319947" y="7401930"/>
                  <a:pt x="1327136" y="7399134"/>
                  <a:pt x="1336190" y="7399134"/>
                </a:cubicBezTo>
                <a:close/>
                <a:moveTo>
                  <a:pt x="1118543" y="7399134"/>
                </a:moveTo>
                <a:cubicBezTo>
                  <a:pt x="1122804" y="7399134"/>
                  <a:pt x="1126799" y="7399933"/>
                  <a:pt x="1130262" y="7401530"/>
                </a:cubicBezTo>
                <a:cubicBezTo>
                  <a:pt x="1133989" y="7402995"/>
                  <a:pt x="1137051" y="7405124"/>
                  <a:pt x="1139575" y="7407787"/>
                </a:cubicBezTo>
                <a:cubicBezTo>
                  <a:pt x="1142236" y="7410449"/>
                  <a:pt x="1144231" y="7413645"/>
                  <a:pt x="1145695" y="7417239"/>
                </a:cubicBezTo>
                <a:cubicBezTo>
                  <a:pt x="1147160" y="7420833"/>
                  <a:pt x="1147959" y="7424561"/>
                  <a:pt x="1147959" y="7428687"/>
                </a:cubicBezTo>
                <a:cubicBezTo>
                  <a:pt x="1147959" y="7432814"/>
                  <a:pt x="1147160" y="7436807"/>
                  <a:pt x="1145695" y="7440402"/>
                </a:cubicBezTo>
                <a:cubicBezTo>
                  <a:pt x="1144231" y="7444128"/>
                  <a:pt x="1142103" y="7447191"/>
                  <a:pt x="1139575" y="7449852"/>
                </a:cubicBezTo>
                <a:cubicBezTo>
                  <a:pt x="1137051" y="7452515"/>
                  <a:pt x="1133856" y="7454645"/>
                  <a:pt x="1130262" y="7456109"/>
                </a:cubicBezTo>
                <a:cubicBezTo>
                  <a:pt x="1126665" y="7457573"/>
                  <a:pt x="1122804" y="7458372"/>
                  <a:pt x="1118543" y="7458372"/>
                </a:cubicBezTo>
                <a:cubicBezTo>
                  <a:pt x="1109623" y="7458372"/>
                  <a:pt x="1102301" y="7455444"/>
                  <a:pt x="1096707" y="7449852"/>
                </a:cubicBezTo>
                <a:cubicBezTo>
                  <a:pt x="1091118" y="7444128"/>
                  <a:pt x="1088323" y="7437074"/>
                  <a:pt x="1088323" y="7428687"/>
                </a:cubicBezTo>
                <a:cubicBezTo>
                  <a:pt x="1088323" y="7420434"/>
                  <a:pt x="1091118" y="7413379"/>
                  <a:pt x="1096707" y="7407654"/>
                </a:cubicBezTo>
                <a:cubicBezTo>
                  <a:pt x="1102301" y="7401930"/>
                  <a:pt x="1109489" y="7399134"/>
                  <a:pt x="1118543" y="7399134"/>
                </a:cubicBezTo>
                <a:close/>
                <a:moveTo>
                  <a:pt x="901029" y="7399134"/>
                </a:moveTo>
                <a:cubicBezTo>
                  <a:pt x="905157" y="7399134"/>
                  <a:pt x="909151" y="7399933"/>
                  <a:pt x="912745" y="7401530"/>
                </a:cubicBezTo>
                <a:cubicBezTo>
                  <a:pt x="916472" y="7402995"/>
                  <a:pt x="919534" y="7405124"/>
                  <a:pt x="922063" y="7407787"/>
                </a:cubicBezTo>
                <a:cubicBezTo>
                  <a:pt x="924725" y="7410449"/>
                  <a:pt x="926722" y="7413645"/>
                  <a:pt x="928186" y="7417239"/>
                </a:cubicBezTo>
                <a:cubicBezTo>
                  <a:pt x="929650" y="7420833"/>
                  <a:pt x="930448" y="7424561"/>
                  <a:pt x="930448" y="7428687"/>
                </a:cubicBezTo>
                <a:cubicBezTo>
                  <a:pt x="930448" y="7432814"/>
                  <a:pt x="929650" y="7436807"/>
                  <a:pt x="928186" y="7440402"/>
                </a:cubicBezTo>
                <a:cubicBezTo>
                  <a:pt x="926722" y="7444128"/>
                  <a:pt x="924592" y="7447191"/>
                  <a:pt x="922063" y="7449852"/>
                </a:cubicBezTo>
                <a:cubicBezTo>
                  <a:pt x="919534" y="7452515"/>
                  <a:pt x="916339" y="7454645"/>
                  <a:pt x="912745" y="7456109"/>
                </a:cubicBezTo>
                <a:cubicBezTo>
                  <a:pt x="909151" y="7457573"/>
                  <a:pt x="905290" y="7458372"/>
                  <a:pt x="901029" y="7458372"/>
                </a:cubicBezTo>
                <a:cubicBezTo>
                  <a:pt x="892111" y="7458372"/>
                  <a:pt x="884790" y="7455444"/>
                  <a:pt x="879200" y="7449852"/>
                </a:cubicBezTo>
                <a:cubicBezTo>
                  <a:pt x="873610" y="7444128"/>
                  <a:pt x="870814" y="7437074"/>
                  <a:pt x="870814" y="7428687"/>
                </a:cubicBezTo>
                <a:cubicBezTo>
                  <a:pt x="870814" y="7420434"/>
                  <a:pt x="873610" y="7413379"/>
                  <a:pt x="879200" y="7407654"/>
                </a:cubicBezTo>
                <a:cubicBezTo>
                  <a:pt x="884790" y="7401930"/>
                  <a:pt x="891979" y="7399134"/>
                  <a:pt x="901029" y="7399134"/>
                </a:cubicBezTo>
                <a:close/>
                <a:moveTo>
                  <a:pt x="683390" y="7399134"/>
                </a:moveTo>
                <a:cubicBezTo>
                  <a:pt x="687651" y="7399134"/>
                  <a:pt x="691512" y="7399933"/>
                  <a:pt x="695106" y="7401530"/>
                </a:cubicBezTo>
                <a:cubicBezTo>
                  <a:pt x="698833" y="7402995"/>
                  <a:pt x="701893" y="7405124"/>
                  <a:pt x="704423" y="7407787"/>
                </a:cubicBezTo>
                <a:cubicBezTo>
                  <a:pt x="707085" y="7410449"/>
                  <a:pt x="709082" y="7413645"/>
                  <a:pt x="710546" y="7417239"/>
                </a:cubicBezTo>
                <a:cubicBezTo>
                  <a:pt x="712009" y="7420833"/>
                  <a:pt x="712808" y="7424561"/>
                  <a:pt x="712808" y="7428687"/>
                </a:cubicBezTo>
                <a:cubicBezTo>
                  <a:pt x="712808" y="7432814"/>
                  <a:pt x="712009" y="7436807"/>
                  <a:pt x="710546" y="7440402"/>
                </a:cubicBezTo>
                <a:cubicBezTo>
                  <a:pt x="709082" y="7444128"/>
                  <a:pt x="706952" y="7447191"/>
                  <a:pt x="704423" y="7449852"/>
                </a:cubicBezTo>
                <a:cubicBezTo>
                  <a:pt x="701893" y="7452515"/>
                  <a:pt x="698700" y="7454645"/>
                  <a:pt x="695106" y="7456109"/>
                </a:cubicBezTo>
                <a:cubicBezTo>
                  <a:pt x="691512" y="7457573"/>
                  <a:pt x="687651" y="7458372"/>
                  <a:pt x="683390" y="7458372"/>
                </a:cubicBezTo>
                <a:cubicBezTo>
                  <a:pt x="674472" y="7458372"/>
                  <a:pt x="667151" y="7455444"/>
                  <a:pt x="661560" y="7449852"/>
                </a:cubicBezTo>
                <a:cubicBezTo>
                  <a:pt x="655968" y="7444128"/>
                  <a:pt x="653174" y="7437074"/>
                  <a:pt x="653174" y="7428687"/>
                </a:cubicBezTo>
                <a:cubicBezTo>
                  <a:pt x="653174" y="7420434"/>
                  <a:pt x="655968" y="7413379"/>
                  <a:pt x="661560" y="7407654"/>
                </a:cubicBezTo>
                <a:cubicBezTo>
                  <a:pt x="667151" y="7401930"/>
                  <a:pt x="674340" y="7399134"/>
                  <a:pt x="683390" y="7399134"/>
                </a:cubicBezTo>
                <a:close/>
                <a:moveTo>
                  <a:pt x="465751" y="7399134"/>
                </a:moveTo>
                <a:cubicBezTo>
                  <a:pt x="470010" y="7399134"/>
                  <a:pt x="473871" y="7399933"/>
                  <a:pt x="477466" y="7401530"/>
                </a:cubicBezTo>
                <a:cubicBezTo>
                  <a:pt x="481193" y="7402995"/>
                  <a:pt x="484254" y="7405124"/>
                  <a:pt x="486783" y="7407787"/>
                </a:cubicBezTo>
                <a:cubicBezTo>
                  <a:pt x="489445" y="7410449"/>
                  <a:pt x="491442" y="7413645"/>
                  <a:pt x="492906" y="7417239"/>
                </a:cubicBezTo>
                <a:cubicBezTo>
                  <a:pt x="494369" y="7420833"/>
                  <a:pt x="495169" y="7424561"/>
                  <a:pt x="495169" y="7428687"/>
                </a:cubicBezTo>
                <a:cubicBezTo>
                  <a:pt x="495169" y="7432814"/>
                  <a:pt x="494369" y="7436807"/>
                  <a:pt x="492906" y="7440402"/>
                </a:cubicBezTo>
                <a:cubicBezTo>
                  <a:pt x="491442" y="7444128"/>
                  <a:pt x="489311" y="7447191"/>
                  <a:pt x="486783" y="7449852"/>
                </a:cubicBezTo>
                <a:cubicBezTo>
                  <a:pt x="484120" y="7452515"/>
                  <a:pt x="481060" y="7454645"/>
                  <a:pt x="477466" y="7456109"/>
                </a:cubicBezTo>
                <a:cubicBezTo>
                  <a:pt x="473871" y="7457573"/>
                  <a:pt x="470010" y="7458372"/>
                  <a:pt x="465751" y="7458372"/>
                </a:cubicBezTo>
                <a:cubicBezTo>
                  <a:pt x="456832" y="7458372"/>
                  <a:pt x="449511" y="7455444"/>
                  <a:pt x="443920" y="7449852"/>
                </a:cubicBezTo>
                <a:cubicBezTo>
                  <a:pt x="438328" y="7444128"/>
                  <a:pt x="435534" y="7437074"/>
                  <a:pt x="435534" y="7428687"/>
                </a:cubicBezTo>
                <a:cubicBezTo>
                  <a:pt x="435534" y="7420434"/>
                  <a:pt x="438328" y="7413379"/>
                  <a:pt x="443920" y="7407654"/>
                </a:cubicBezTo>
                <a:cubicBezTo>
                  <a:pt x="449511" y="7401930"/>
                  <a:pt x="456699" y="7399134"/>
                  <a:pt x="465751" y="7399134"/>
                </a:cubicBezTo>
                <a:close/>
                <a:moveTo>
                  <a:pt x="248110" y="7399134"/>
                </a:moveTo>
                <a:cubicBezTo>
                  <a:pt x="252369" y="7399134"/>
                  <a:pt x="256363" y="7399933"/>
                  <a:pt x="259824" y="7401530"/>
                </a:cubicBezTo>
                <a:cubicBezTo>
                  <a:pt x="263551" y="7402995"/>
                  <a:pt x="266613" y="7405124"/>
                  <a:pt x="269142" y="7407787"/>
                </a:cubicBezTo>
                <a:cubicBezTo>
                  <a:pt x="271804" y="7410449"/>
                  <a:pt x="273801" y="7413645"/>
                  <a:pt x="275265" y="7417239"/>
                </a:cubicBezTo>
                <a:cubicBezTo>
                  <a:pt x="276729" y="7420833"/>
                  <a:pt x="277528" y="7424561"/>
                  <a:pt x="277528" y="7428687"/>
                </a:cubicBezTo>
                <a:cubicBezTo>
                  <a:pt x="277528" y="7432814"/>
                  <a:pt x="276729" y="7436807"/>
                  <a:pt x="275265" y="7440402"/>
                </a:cubicBezTo>
                <a:cubicBezTo>
                  <a:pt x="273801" y="7444128"/>
                  <a:pt x="271671" y="7447191"/>
                  <a:pt x="269142" y="7449852"/>
                </a:cubicBezTo>
                <a:cubicBezTo>
                  <a:pt x="266479" y="7452515"/>
                  <a:pt x="263418" y="7454645"/>
                  <a:pt x="259824" y="7456109"/>
                </a:cubicBezTo>
                <a:cubicBezTo>
                  <a:pt x="256229" y="7457573"/>
                  <a:pt x="252369" y="7458372"/>
                  <a:pt x="248110" y="7458372"/>
                </a:cubicBezTo>
                <a:cubicBezTo>
                  <a:pt x="239193" y="7458372"/>
                  <a:pt x="231871" y="7455444"/>
                  <a:pt x="226281" y="7449852"/>
                </a:cubicBezTo>
                <a:cubicBezTo>
                  <a:pt x="220691" y="7444128"/>
                  <a:pt x="217896" y="7437074"/>
                  <a:pt x="217896" y="7428687"/>
                </a:cubicBezTo>
                <a:cubicBezTo>
                  <a:pt x="217896" y="7420434"/>
                  <a:pt x="220691" y="7413379"/>
                  <a:pt x="226281" y="7407654"/>
                </a:cubicBezTo>
                <a:cubicBezTo>
                  <a:pt x="231871" y="7401930"/>
                  <a:pt x="239059" y="7399134"/>
                  <a:pt x="248110" y="7399134"/>
                </a:cubicBezTo>
                <a:close/>
                <a:moveTo>
                  <a:pt x="30469" y="7399134"/>
                </a:moveTo>
                <a:cubicBezTo>
                  <a:pt x="34729" y="7399134"/>
                  <a:pt x="38723" y="7399933"/>
                  <a:pt x="42184" y="7401530"/>
                </a:cubicBezTo>
                <a:cubicBezTo>
                  <a:pt x="45911" y="7402995"/>
                  <a:pt x="48973" y="7405124"/>
                  <a:pt x="51502" y="7407787"/>
                </a:cubicBezTo>
                <a:cubicBezTo>
                  <a:pt x="54165" y="7410449"/>
                  <a:pt x="56162" y="7413645"/>
                  <a:pt x="57626" y="7417239"/>
                </a:cubicBezTo>
                <a:cubicBezTo>
                  <a:pt x="59090" y="7420833"/>
                  <a:pt x="59888" y="7424561"/>
                  <a:pt x="59888" y="7428687"/>
                </a:cubicBezTo>
                <a:cubicBezTo>
                  <a:pt x="59888" y="7432814"/>
                  <a:pt x="59090" y="7436807"/>
                  <a:pt x="57626" y="7440402"/>
                </a:cubicBezTo>
                <a:cubicBezTo>
                  <a:pt x="56162" y="7444128"/>
                  <a:pt x="54032" y="7447191"/>
                  <a:pt x="51502" y="7449852"/>
                </a:cubicBezTo>
                <a:cubicBezTo>
                  <a:pt x="48839" y="7452515"/>
                  <a:pt x="45778" y="7454645"/>
                  <a:pt x="42184" y="7456109"/>
                </a:cubicBezTo>
                <a:cubicBezTo>
                  <a:pt x="38590" y="7457573"/>
                  <a:pt x="34729" y="7458372"/>
                  <a:pt x="30469" y="7458372"/>
                </a:cubicBezTo>
                <a:cubicBezTo>
                  <a:pt x="21551" y="7458372"/>
                  <a:pt x="14231" y="7455444"/>
                  <a:pt x="8643" y="7449852"/>
                </a:cubicBezTo>
                <a:cubicBezTo>
                  <a:pt x="3052" y="7444128"/>
                  <a:pt x="256" y="7437074"/>
                  <a:pt x="256" y="7428687"/>
                </a:cubicBezTo>
                <a:cubicBezTo>
                  <a:pt x="256" y="7420434"/>
                  <a:pt x="3052" y="7413379"/>
                  <a:pt x="8643" y="7407654"/>
                </a:cubicBezTo>
                <a:cubicBezTo>
                  <a:pt x="14231" y="7401930"/>
                  <a:pt x="21417" y="7399134"/>
                  <a:pt x="30469" y="7399134"/>
                </a:cubicBezTo>
                <a:close/>
                <a:moveTo>
                  <a:pt x="10475977" y="7198129"/>
                </a:moveTo>
                <a:cubicBezTo>
                  <a:pt x="10470119" y="7198129"/>
                  <a:pt x="10467589" y="7199992"/>
                  <a:pt x="10465992" y="7201723"/>
                </a:cubicBezTo>
                <a:cubicBezTo>
                  <a:pt x="10463463" y="7204385"/>
                  <a:pt x="10462399" y="7207180"/>
                  <a:pt x="10462399" y="7211174"/>
                </a:cubicBezTo>
                <a:cubicBezTo>
                  <a:pt x="10462399" y="7215300"/>
                  <a:pt x="10463463" y="7218096"/>
                  <a:pt x="10465992" y="7220625"/>
                </a:cubicBezTo>
                <a:cubicBezTo>
                  <a:pt x="10467589" y="7222224"/>
                  <a:pt x="10470119" y="7224087"/>
                  <a:pt x="10475977" y="7224087"/>
                </a:cubicBezTo>
                <a:cubicBezTo>
                  <a:pt x="10478107" y="7224087"/>
                  <a:pt x="10479838" y="7223821"/>
                  <a:pt x="10481302" y="7223155"/>
                </a:cubicBezTo>
                <a:cubicBezTo>
                  <a:pt x="10482899" y="7222622"/>
                  <a:pt x="10484098" y="7221824"/>
                  <a:pt x="10485029" y="7220758"/>
                </a:cubicBezTo>
                <a:cubicBezTo>
                  <a:pt x="10486094" y="7219560"/>
                  <a:pt x="10487026" y="7218229"/>
                  <a:pt x="10487691" y="7216499"/>
                </a:cubicBezTo>
                <a:cubicBezTo>
                  <a:pt x="10488357" y="7214901"/>
                  <a:pt x="10488623" y="7213037"/>
                  <a:pt x="10488623" y="7211040"/>
                </a:cubicBezTo>
                <a:cubicBezTo>
                  <a:pt x="10488623" y="7209177"/>
                  <a:pt x="10488357" y="7207447"/>
                  <a:pt x="10487691" y="7205850"/>
                </a:cubicBezTo>
                <a:cubicBezTo>
                  <a:pt x="10487026" y="7204252"/>
                  <a:pt x="10486094" y="7202921"/>
                  <a:pt x="10485029" y="7201723"/>
                </a:cubicBezTo>
                <a:cubicBezTo>
                  <a:pt x="10483964" y="7200658"/>
                  <a:pt x="10482633" y="7199726"/>
                  <a:pt x="10481035" y="7199060"/>
                </a:cubicBezTo>
                <a:cubicBezTo>
                  <a:pt x="10479571" y="7198395"/>
                  <a:pt x="10477974" y="7198129"/>
                  <a:pt x="10475977" y="7198129"/>
                </a:cubicBezTo>
                <a:close/>
                <a:moveTo>
                  <a:pt x="10258466" y="7198129"/>
                </a:moveTo>
                <a:cubicBezTo>
                  <a:pt x="10252608" y="7198129"/>
                  <a:pt x="10250078" y="7199992"/>
                  <a:pt x="10248481" y="7201723"/>
                </a:cubicBezTo>
                <a:cubicBezTo>
                  <a:pt x="10245952" y="7204385"/>
                  <a:pt x="10244887" y="7207180"/>
                  <a:pt x="10244887" y="7211174"/>
                </a:cubicBezTo>
                <a:cubicBezTo>
                  <a:pt x="10244887" y="7215300"/>
                  <a:pt x="10245952" y="7218096"/>
                  <a:pt x="10248481" y="7220625"/>
                </a:cubicBezTo>
                <a:cubicBezTo>
                  <a:pt x="10250078" y="7222224"/>
                  <a:pt x="10252608" y="7224087"/>
                  <a:pt x="10258466" y="7224087"/>
                </a:cubicBezTo>
                <a:cubicBezTo>
                  <a:pt x="10260462" y="7224087"/>
                  <a:pt x="10262192" y="7223821"/>
                  <a:pt x="10263790" y="7223155"/>
                </a:cubicBezTo>
                <a:cubicBezTo>
                  <a:pt x="10265388" y="7222622"/>
                  <a:pt x="10266586" y="7221824"/>
                  <a:pt x="10267517" y="7220758"/>
                </a:cubicBezTo>
                <a:cubicBezTo>
                  <a:pt x="10268583" y="7219560"/>
                  <a:pt x="10269515" y="7218229"/>
                  <a:pt x="10270180" y="7216499"/>
                </a:cubicBezTo>
                <a:cubicBezTo>
                  <a:pt x="10270845" y="7214901"/>
                  <a:pt x="10271112" y="7213037"/>
                  <a:pt x="10271112" y="7211040"/>
                </a:cubicBezTo>
                <a:cubicBezTo>
                  <a:pt x="10271112" y="7209177"/>
                  <a:pt x="10270845" y="7207447"/>
                  <a:pt x="10270180" y="7205850"/>
                </a:cubicBezTo>
                <a:cubicBezTo>
                  <a:pt x="10269515" y="7204252"/>
                  <a:pt x="10268583" y="7202921"/>
                  <a:pt x="10267517" y="7201723"/>
                </a:cubicBezTo>
                <a:cubicBezTo>
                  <a:pt x="10266452" y="7200658"/>
                  <a:pt x="10265121" y="7199726"/>
                  <a:pt x="10263524" y="7199060"/>
                </a:cubicBezTo>
                <a:cubicBezTo>
                  <a:pt x="10262060" y="7198395"/>
                  <a:pt x="10260462" y="7198129"/>
                  <a:pt x="10258466" y="7198129"/>
                </a:cubicBezTo>
                <a:close/>
                <a:moveTo>
                  <a:pt x="10040820" y="7198129"/>
                </a:moveTo>
                <a:cubicBezTo>
                  <a:pt x="10034962" y="7198129"/>
                  <a:pt x="10032433" y="7199992"/>
                  <a:pt x="10030835" y="7201723"/>
                </a:cubicBezTo>
                <a:cubicBezTo>
                  <a:pt x="10028306" y="7204385"/>
                  <a:pt x="10027242" y="7207180"/>
                  <a:pt x="10027242" y="7211174"/>
                </a:cubicBezTo>
                <a:cubicBezTo>
                  <a:pt x="10027242" y="7215300"/>
                  <a:pt x="10028306" y="7218096"/>
                  <a:pt x="10030835" y="7220625"/>
                </a:cubicBezTo>
                <a:cubicBezTo>
                  <a:pt x="10032433" y="7222224"/>
                  <a:pt x="10034962" y="7224087"/>
                  <a:pt x="10040820" y="7224087"/>
                </a:cubicBezTo>
                <a:cubicBezTo>
                  <a:pt x="10042817" y="7224087"/>
                  <a:pt x="10044681" y="7223821"/>
                  <a:pt x="10046145" y="7223155"/>
                </a:cubicBezTo>
                <a:cubicBezTo>
                  <a:pt x="10047742" y="7222622"/>
                  <a:pt x="10048941" y="7221824"/>
                  <a:pt x="10049872" y="7220758"/>
                </a:cubicBezTo>
                <a:cubicBezTo>
                  <a:pt x="10050937" y="7219560"/>
                  <a:pt x="10051869" y="7218229"/>
                  <a:pt x="10052534" y="7216499"/>
                </a:cubicBezTo>
                <a:cubicBezTo>
                  <a:pt x="10053333" y="7214901"/>
                  <a:pt x="10053599" y="7213037"/>
                  <a:pt x="10053599" y="7211040"/>
                </a:cubicBezTo>
                <a:cubicBezTo>
                  <a:pt x="10053599" y="7209177"/>
                  <a:pt x="10053200" y="7207447"/>
                  <a:pt x="10052534" y="7205850"/>
                </a:cubicBezTo>
                <a:cubicBezTo>
                  <a:pt x="10051869" y="7204252"/>
                  <a:pt x="10050937" y="7202921"/>
                  <a:pt x="10049872" y="7201723"/>
                </a:cubicBezTo>
                <a:cubicBezTo>
                  <a:pt x="10048807" y="7200658"/>
                  <a:pt x="10047476" y="7199726"/>
                  <a:pt x="10045878" y="7199060"/>
                </a:cubicBezTo>
                <a:cubicBezTo>
                  <a:pt x="10044414" y="7198395"/>
                  <a:pt x="10042817" y="7198129"/>
                  <a:pt x="10040820" y="7198129"/>
                </a:cubicBezTo>
                <a:close/>
                <a:moveTo>
                  <a:pt x="9823176" y="7198129"/>
                </a:moveTo>
                <a:cubicBezTo>
                  <a:pt x="9817318" y="7198129"/>
                  <a:pt x="9814788" y="7199992"/>
                  <a:pt x="9813191" y="7201723"/>
                </a:cubicBezTo>
                <a:cubicBezTo>
                  <a:pt x="9810662" y="7204385"/>
                  <a:pt x="9809597" y="7207180"/>
                  <a:pt x="9809597" y="7211174"/>
                </a:cubicBezTo>
                <a:cubicBezTo>
                  <a:pt x="9809597" y="7215300"/>
                  <a:pt x="9810662" y="7218096"/>
                  <a:pt x="9813191" y="7220625"/>
                </a:cubicBezTo>
                <a:cubicBezTo>
                  <a:pt x="9814788" y="7222224"/>
                  <a:pt x="9817318" y="7224087"/>
                  <a:pt x="9823176" y="7224087"/>
                </a:cubicBezTo>
                <a:cubicBezTo>
                  <a:pt x="9825173" y="7224087"/>
                  <a:pt x="9827036" y="7223821"/>
                  <a:pt x="9828501" y="7223155"/>
                </a:cubicBezTo>
                <a:cubicBezTo>
                  <a:pt x="9830098" y="7222622"/>
                  <a:pt x="9831296" y="7221824"/>
                  <a:pt x="9832227" y="7220758"/>
                </a:cubicBezTo>
                <a:cubicBezTo>
                  <a:pt x="9833293" y="7219560"/>
                  <a:pt x="9834225" y="7218229"/>
                  <a:pt x="9834890" y="7216499"/>
                </a:cubicBezTo>
                <a:cubicBezTo>
                  <a:pt x="9835689" y="7214901"/>
                  <a:pt x="9835955" y="7213037"/>
                  <a:pt x="9835955" y="7211040"/>
                </a:cubicBezTo>
                <a:cubicBezTo>
                  <a:pt x="9835955" y="7209177"/>
                  <a:pt x="9835555" y="7207447"/>
                  <a:pt x="9834890" y="7205850"/>
                </a:cubicBezTo>
                <a:cubicBezTo>
                  <a:pt x="9834225" y="7204252"/>
                  <a:pt x="9833293" y="7202921"/>
                  <a:pt x="9832227" y="7201723"/>
                </a:cubicBezTo>
                <a:cubicBezTo>
                  <a:pt x="9831162" y="7200658"/>
                  <a:pt x="9829831" y="7199726"/>
                  <a:pt x="9828234" y="7199060"/>
                </a:cubicBezTo>
                <a:cubicBezTo>
                  <a:pt x="9826770" y="7198395"/>
                  <a:pt x="9825173" y="7198129"/>
                  <a:pt x="9823176" y="7198129"/>
                </a:cubicBezTo>
                <a:close/>
                <a:moveTo>
                  <a:pt x="9605531" y="7198129"/>
                </a:moveTo>
                <a:cubicBezTo>
                  <a:pt x="9599673" y="7198129"/>
                  <a:pt x="9597143" y="7199992"/>
                  <a:pt x="9595546" y="7201723"/>
                </a:cubicBezTo>
                <a:cubicBezTo>
                  <a:pt x="9593017" y="7204385"/>
                  <a:pt x="9591952" y="7207180"/>
                  <a:pt x="9591952" y="7211174"/>
                </a:cubicBezTo>
                <a:cubicBezTo>
                  <a:pt x="9591952" y="7215300"/>
                  <a:pt x="9593017" y="7218096"/>
                  <a:pt x="9595546" y="7220625"/>
                </a:cubicBezTo>
                <a:cubicBezTo>
                  <a:pt x="9597143" y="7222224"/>
                  <a:pt x="9599673" y="7224087"/>
                  <a:pt x="9605531" y="7224087"/>
                </a:cubicBezTo>
                <a:cubicBezTo>
                  <a:pt x="9607660" y="7224087"/>
                  <a:pt x="9609391" y="7223821"/>
                  <a:pt x="9610855" y="7223155"/>
                </a:cubicBezTo>
                <a:cubicBezTo>
                  <a:pt x="9612319" y="7222622"/>
                  <a:pt x="9613651" y="7221824"/>
                  <a:pt x="9614582" y="7220758"/>
                </a:cubicBezTo>
                <a:cubicBezTo>
                  <a:pt x="9615647" y="7219560"/>
                  <a:pt x="9616579" y="7218229"/>
                  <a:pt x="9617245" y="7216499"/>
                </a:cubicBezTo>
                <a:cubicBezTo>
                  <a:pt x="9618044" y="7214901"/>
                  <a:pt x="9618309" y="7213037"/>
                  <a:pt x="9618309" y="7211040"/>
                </a:cubicBezTo>
                <a:cubicBezTo>
                  <a:pt x="9618309" y="7209177"/>
                  <a:pt x="9617910" y="7207447"/>
                  <a:pt x="9617245" y="7205850"/>
                </a:cubicBezTo>
                <a:cubicBezTo>
                  <a:pt x="9616579" y="7204252"/>
                  <a:pt x="9615647" y="7202921"/>
                  <a:pt x="9614582" y="7201723"/>
                </a:cubicBezTo>
                <a:cubicBezTo>
                  <a:pt x="9613517" y="7200658"/>
                  <a:pt x="9612186" y="7199726"/>
                  <a:pt x="9610589" y="7199060"/>
                </a:cubicBezTo>
                <a:cubicBezTo>
                  <a:pt x="9609124" y="7198395"/>
                  <a:pt x="9607394" y="7198129"/>
                  <a:pt x="9605531" y="7198129"/>
                </a:cubicBezTo>
                <a:close/>
                <a:moveTo>
                  <a:pt x="9387885" y="7198129"/>
                </a:moveTo>
                <a:cubicBezTo>
                  <a:pt x="9382027" y="7198129"/>
                  <a:pt x="9379497" y="7199992"/>
                  <a:pt x="9377900" y="7201723"/>
                </a:cubicBezTo>
                <a:cubicBezTo>
                  <a:pt x="9375371" y="7204385"/>
                  <a:pt x="9374307" y="7207180"/>
                  <a:pt x="9374307" y="7211174"/>
                </a:cubicBezTo>
                <a:cubicBezTo>
                  <a:pt x="9374307" y="7215300"/>
                  <a:pt x="9375371" y="7218096"/>
                  <a:pt x="9377900" y="7220625"/>
                </a:cubicBezTo>
                <a:cubicBezTo>
                  <a:pt x="9379497" y="7222224"/>
                  <a:pt x="9382027" y="7224087"/>
                  <a:pt x="9387885" y="7224087"/>
                </a:cubicBezTo>
                <a:cubicBezTo>
                  <a:pt x="9390015" y="7224087"/>
                  <a:pt x="9391746" y="7223821"/>
                  <a:pt x="9393210" y="7223155"/>
                </a:cubicBezTo>
                <a:cubicBezTo>
                  <a:pt x="9394674" y="7222622"/>
                  <a:pt x="9396005" y="7221824"/>
                  <a:pt x="9396937" y="7220758"/>
                </a:cubicBezTo>
                <a:cubicBezTo>
                  <a:pt x="9398002" y="7219560"/>
                  <a:pt x="9398934" y="7218229"/>
                  <a:pt x="9399599" y="7216499"/>
                </a:cubicBezTo>
                <a:cubicBezTo>
                  <a:pt x="9400398" y="7214901"/>
                  <a:pt x="9400664" y="7213037"/>
                  <a:pt x="9400664" y="7211040"/>
                </a:cubicBezTo>
                <a:cubicBezTo>
                  <a:pt x="9400664" y="7209177"/>
                  <a:pt x="9400265" y="7207447"/>
                  <a:pt x="9399599" y="7205850"/>
                </a:cubicBezTo>
                <a:cubicBezTo>
                  <a:pt x="9398934" y="7204252"/>
                  <a:pt x="9398002" y="7202921"/>
                  <a:pt x="9396937" y="7201723"/>
                </a:cubicBezTo>
                <a:cubicBezTo>
                  <a:pt x="9395872" y="7200658"/>
                  <a:pt x="9394541" y="7199726"/>
                  <a:pt x="9392943" y="7199060"/>
                </a:cubicBezTo>
                <a:cubicBezTo>
                  <a:pt x="9391479" y="7198395"/>
                  <a:pt x="9389749" y="7198129"/>
                  <a:pt x="9387885" y="7198129"/>
                </a:cubicBezTo>
                <a:close/>
                <a:moveTo>
                  <a:pt x="9170374" y="7198129"/>
                </a:moveTo>
                <a:cubicBezTo>
                  <a:pt x="9164649" y="7198129"/>
                  <a:pt x="9161986" y="7199992"/>
                  <a:pt x="9160389" y="7201723"/>
                </a:cubicBezTo>
                <a:cubicBezTo>
                  <a:pt x="9157860" y="7204385"/>
                  <a:pt x="9156795" y="7207180"/>
                  <a:pt x="9156795" y="7211174"/>
                </a:cubicBezTo>
                <a:cubicBezTo>
                  <a:pt x="9156795" y="7215300"/>
                  <a:pt x="9157860" y="7218096"/>
                  <a:pt x="9160389" y="7220625"/>
                </a:cubicBezTo>
                <a:cubicBezTo>
                  <a:pt x="9161986" y="7222224"/>
                  <a:pt x="9164516" y="7224087"/>
                  <a:pt x="9170374" y="7224087"/>
                </a:cubicBezTo>
                <a:cubicBezTo>
                  <a:pt x="9172370" y="7224087"/>
                  <a:pt x="9174100" y="7223821"/>
                  <a:pt x="9175698" y="7223155"/>
                </a:cubicBezTo>
                <a:cubicBezTo>
                  <a:pt x="9177163" y="7222622"/>
                  <a:pt x="9178494" y="7221824"/>
                  <a:pt x="9179425" y="7220758"/>
                </a:cubicBezTo>
                <a:cubicBezTo>
                  <a:pt x="9180491" y="7219560"/>
                  <a:pt x="9181422" y="7218229"/>
                  <a:pt x="9182088" y="7216499"/>
                </a:cubicBezTo>
                <a:cubicBezTo>
                  <a:pt x="9182887" y="7214901"/>
                  <a:pt x="9183152" y="7213037"/>
                  <a:pt x="9183152" y="7211040"/>
                </a:cubicBezTo>
                <a:cubicBezTo>
                  <a:pt x="9183152" y="7209177"/>
                  <a:pt x="9182753" y="7207447"/>
                  <a:pt x="9182088" y="7205850"/>
                </a:cubicBezTo>
                <a:cubicBezTo>
                  <a:pt x="9181422" y="7204252"/>
                  <a:pt x="9180491" y="7202921"/>
                  <a:pt x="9179425" y="7201723"/>
                </a:cubicBezTo>
                <a:cubicBezTo>
                  <a:pt x="9178360" y="7200658"/>
                  <a:pt x="9177029" y="7199726"/>
                  <a:pt x="9175432" y="7199060"/>
                </a:cubicBezTo>
                <a:cubicBezTo>
                  <a:pt x="9173967" y="7198395"/>
                  <a:pt x="9172237" y="7198129"/>
                  <a:pt x="9170374" y="7198129"/>
                </a:cubicBezTo>
                <a:close/>
                <a:moveTo>
                  <a:pt x="8952728" y="7198129"/>
                </a:moveTo>
                <a:cubicBezTo>
                  <a:pt x="8947003" y="7198129"/>
                  <a:pt x="8944340" y="7199992"/>
                  <a:pt x="8942743" y="7201723"/>
                </a:cubicBezTo>
                <a:cubicBezTo>
                  <a:pt x="8940214" y="7204385"/>
                  <a:pt x="8939150" y="7207180"/>
                  <a:pt x="8939150" y="7211174"/>
                </a:cubicBezTo>
                <a:cubicBezTo>
                  <a:pt x="8939150" y="7215300"/>
                  <a:pt x="8940214" y="7218096"/>
                  <a:pt x="8942743" y="7220625"/>
                </a:cubicBezTo>
                <a:cubicBezTo>
                  <a:pt x="8944340" y="7222224"/>
                  <a:pt x="8946870" y="7224087"/>
                  <a:pt x="8952728" y="7224087"/>
                </a:cubicBezTo>
                <a:cubicBezTo>
                  <a:pt x="8954725" y="7224087"/>
                  <a:pt x="8956589" y="7223821"/>
                  <a:pt x="8958053" y="7223155"/>
                </a:cubicBezTo>
                <a:cubicBezTo>
                  <a:pt x="8959517" y="7222622"/>
                  <a:pt x="8960849" y="7221824"/>
                  <a:pt x="8961780" y="7220758"/>
                </a:cubicBezTo>
                <a:cubicBezTo>
                  <a:pt x="8962845" y="7219560"/>
                  <a:pt x="8963777" y="7218229"/>
                  <a:pt x="8964442" y="7216499"/>
                </a:cubicBezTo>
                <a:cubicBezTo>
                  <a:pt x="8965241" y="7214901"/>
                  <a:pt x="8965507" y="7213037"/>
                  <a:pt x="8965507" y="7211040"/>
                </a:cubicBezTo>
                <a:cubicBezTo>
                  <a:pt x="8965507" y="7209177"/>
                  <a:pt x="8965108" y="7207447"/>
                  <a:pt x="8964442" y="7205850"/>
                </a:cubicBezTo>
                <a:cubicBezTo>
                  <a:pt x="8963777" y="7204252"/>
                  <a:pt x="8962845" y="7202921"/>
                  <a:pt x="8961780" y="7201723"/>
                </a:cubicBezTo>
                <a:cubicBezTo>
                  <a:pt x="8960715" y="7200658"/>
                  <a:pt x="8959384" y="7199726"/>
                  <a:pt x="8957786" y="7199060"/>
                </a:cubicBezTo>
                <a:cubicBezTo>
                  <a:pt x="8956322" y="7198395"/>
                  <a:pt x="8954592" y="7198129"/>
                  <a:pt x="8952728" y="7198129"/>
                </a:cubicBezTo>
                <a:close/>
                <a:moveTo>
                  <a:pt x="8735083" y="7198129"/>
                </a:moveTo>
                <a:cubicBezTo>
                  <a:pt x="8729358" y="7198129"/>
                  <a:pt x="8726695" y="7199992"/>
                  <a:pt x="8725098" y="7201723"/>
                </a:cubicBezTo>
                <a:cubicBezTo>
                  <a:pt x="8722569" y="7204385"/>
                  <a:pt x="8721504" y="7207180"/>
                  <a:pt x="8721504" y="7211174"/>
                </a:cubicBezTo>
                <a:cubicBezTo>
                  <a:pt x="8721504" y="7215300"/>
                  <a:pt x="8722569" y="7218096"/>
                  <a:pt x="8725098" y="7220625"/>
                </a:cubicBezTo>
                <a:cubicBezTo>
                  <a:pt x="8726695" y="7222224"/>
                  <a:pt x="8729225" y="7224087"/>
                  <a:pt x="8735083" y="7224087"/>
                </a:cubicBezTo>
                <a:cubicBezTo>
                  <a:pt x="8737079" y="7224087"/>
                  <a:pt x="8738943" y="7223821"/>
                  <a:pt x="8740407" y="7223155"/>
                </a:cubicBezTo>
                <a:cubicBezTo>
                  <a:pt x="8741872" y="7222622"/>
                  <a:pt x="8743203" y="7221824"/>
                  <a:pt x="8744134" y="7220758"/>
                </a:cubicBezTo>
                <a:cubicBezTo>
                  <a:pt x="8745200" y="7219560"/>
                  <a:pt x="8746132" y="7218229"/>
                  <a:pt x="8746797" y="7216499"/>
                </a:cubicBezTo>
                <a:cubicBezTo>
                  <a:pt x="8747596" y="7214901"/>
                  <a:pt x="8747862" y="7213037"/>
                  <a:pt x="8747862" y="7211040"/>
                </a:cubicBezTo>
                <a:cubicBezTo>
                  <a:pt x="8747862" y="7209177"/>
                  <a:pt x="8747462" y="7207447"/>
                  <a:pt x="8746797" y="7205850"/>
                </a:cubicBezTo>
                <a:cubicBezTo>
                  <a:pt x="8746132" y="7204252"/>
                  <a:pt x="8745200" y="7202921"/>
                  <a:pt x="8744134" y="7201723"/>
                </a:cubicBezTo>
                <a:cubicBezTo>
                  <a:pt x="8743069" y="7200658"/>
                  <a:pt x="8741738" y="7199726"/>
                  <a:pt x="8740141" y="7199060"/>
                </a:cubicBezTo>
                <a:cubicBezTo>
                  <a:pt x="8738677" y="7198395"/>
                  <a:pt x="8736946" y="7198129"/>
                  <a:pt x="8735083" y="7198129"/>
                </a:cubicBezTo>
                <a:close/>
                <a:moveTo>
                  <a:pt x="8517438" y="7198129"/>
                </a:moveTo>
                <a:cubicBezTo>
                  <a:pt x="8511713" y="7198129"/>
                  <a:pt x="8509051" y="7199992"/>
                  <a:pt x="8507453" y="7201723"/>
                </a:cubicBezTo>
                <a:cubicBezTo>
                  <a:pt x="8504925" y="7204385"/>
                  <a:pt x="8503860" y="7207180"/>
                  <a:pt x="8503860" y="7211174"/>
                </a:cubicBezTo>
                <a:cubicBezTo>
                  <a:pt x="8503860" y="7215300"/>
                  <a:pt x="8504925" y="7218096"/>
                  <a:pt x="8507453" y="7220625"/>
                </a:cubicBezTo>
                <a:cubicBezTo>
                  <a:pt x="8509051" y="7222224"/>
                  <a:pt x="8511581" y="7224087"/>
                  <a:pt x="8517438" y="7224087"/>
                </a:cubicBezTo>
                <a:cubicBezTo>
                  <a:pt x="8519568" y="7224087"/>
                  <a:pt x="8521299" y="7223821"/>
                  <a:pt x="8522763" y="7223155"/>
                </a:cubicBezTo>
                <a:cubicBezTo>
                  <a:pt x="8524227" y="7222622"/>
                  <a:pt x="8525559" y="7221824"/>
                  <a:pt x="8526490" y="7220758"/>
                </a:cubicBezTo>
                <a:cubicBezTo>
                  <a:pt x="8527555" y="7219560"/>
                  <a:pt x="8528487" y="7218229"/>
                  <a:pt x="8529152" y="7216499"/>
                </a:cubicBezTo>
                <a:cubicBezTo>
                  <a:pt x="8529818" y="7214901"/>
                  <a:pt x="8530084" y="7213037"/>
                  <a:pt x="8530084" y="7211040"/>
                </a:cubicBezTo>
                <a:cubicBezTo>
                  <a:pt x="8530084" y="7209177"/>
                  <a:pt x="8529818" y="7207447"/>
                  <a:pt x="8529152" y="7205850"/>
                </a:cubicBezTo>
                <a:cubicBezTo>
                  <a:pt x="8528487" y="7204252"/>
                  <a:pt x="8527555" y="7202921"/>
                  <a:pt x="8526490" y="7201723"/>
                </a:cubicBezTo>
                <a:cubicBezTo>
                  <a:pt x="8525425" y="7200658"/>
                  <a:pt x="8524094" y="7199726"/>
                  <a:pt x="8522496" y="7199060"/>
                </a:cubicBezTo>
                <a:cubicBezTo>
                  <a:pt x="8521032" y="7198395"/>
                  <a:pt x="8519302" y="7198129"/>
                  <a:pt x="8517438" y="7198129"/>
                </a:cubicBezTo>
                <a:close/>
                <a:moveTo>
                  <a:pt x="8299793" y="7198129"/>
                </a:moveTo>
                <a:cubicBezTo>
                  <a:pt x="8294068" y="7198129"/>
                  <a:pt x="8291406" y="7199992"/>
                  <a:pt x="8289809" y="7201723"/>
                </a:cubicBezTo>
                <a:cubicBezTo>
                  <a:pt x="8287280" y="7204385"/>
                  <a:pt x="8286215" y="7207180"/>
                  <a:pt x="8286215" y="7211174"/>
                </a:cubicBezTo>
                <a:cubicBezTo>
                  <a:pt x="8286215" y="7215300"/>
                  <a:pt x="8287280" y="7218096"/>
                  <a:pt x="8289809" y="7220625"/>
                </a:cubicBezTo>
                <a:cubicBezTo>
                  <a:pt x="8291406" y="7222224"/>
                  <a:pt x="8293935" y="7224087"/>
                  <a:pt x="8299793" y="7224087"/>
                </a:cubicBezTo>
                <a:cubicBezTo>
                  <a:pt x="8301923" y="7224087"/>
                  <a:pt x="8303653" y="7223821"/>
                  <a:pt x="8305118" y="7223155"/>
                </a:cubicBezTo>
                <a:cubicBezTo>
                  <a:pt x="8306582" y="7222622"/>
                  <a:pt x="8307913" y="7221824"/>
                  <a:pt x="8308844" y="7220758"/>
                </a:cubicBezTo>
                <a:cubicBezTo>
                  <a:pt x="8309910" y="7219560"/>
                  <a:pt x="8310842" y="7218229"/>
                  <a:pt x="8311507" y="7216499"/>
                </a:cubicBezTo>
                <a:cubicBezTo>
                  <a:pt x="8312172" y="7214901"/>
                  <a:pt x="8312439" y="7213037"/>
                  <a:pt x="8312439" y="7211040"/>
                </a:cubicBezTo>
                <a:cubicBezTo>
                  <a:pt x="8312439" y="7209177"/>
                  <a:pt x="8312172" y="7207447"/>
                  <a:pt x="8311507" y="7205850"/>
                </a:cubicBezTo>
                <a:cubicBezTo>
                  <a:pt x="8310842" y="7204252"/>
                  <a:pt x="8309910" y="7202921"/>
                  <a:pt x="8308844" y="7201723"/>
                </a:cubicBezTo>
                <a:cubicBezTo>
                  <a:pt x="8307779" y="7200658"/>
                  <a:pt x="8306448" y="7199726"/>
                  <a:pt x="8304851" y="7199060"/>
                </a:cubicBezTo>
                <a:cubicBezTo>
                  <a:pt x="8303387" y="7198395"/>
                  <a:pt x="8301790" y="7198129"/>
                  <a:pt x="8299793" y="7198129"/>
                </a:cubicBezTo>
                <a:close/>
                <a:moveTo>
                  <a:pt x="8082281" y="7198129"/>
                </a:moveTo>
                <a:cubicBezTo>
                  <a:pt x="8076424" y="7198129"/>
                  <a:pt x="8073894" y="7199992"/>
                  <a:pt x="8072297" y="7201723"/>
                </a:cubicBezTo>
                <a:cubicBezTo>
                  <a:pt x="8069768" y="7204385"/>
                  <a:pt x="8068703" y="7207180"/>
                  <a:pt x="8068703" y="7211174"/>
                </a:cubicBezTo>
                <a:cubicBezTo>
                  <a:pt x="8068703" y="7215300"/>
                  <a:pt x="8069768" y="7218096"/>
                  <a:pt x="8072297" y="7220625"/>
                </a:cubicBezTo>
                <a:cubicBezTo>
                  <a:pt x="8073894" y="7222224"/>
                  <a:pt x="8076424" y="7224087"/>
                  <a:pt x="8082281" y="7224087"/>
                </a:cubicBezTo>
                <a:cubicBezTo>
                  <a:pt x="8084277" y="7224087"/>
                  <a:pt x="8086007" y="7223821"/>
                  <a:pt x="8087605" y="7223155"/>
                </a:cubicBezTo>
                <a:cubicBezTo>
                  <a:pt x="8089069" y="7222622"/>
                  <a:pt x="8090401" y="7221824"/>
                  <a:pt x="8091332" y="7220758"/>
                </a:cubicBezTo>
                <a:cubicBezTo>
                  <a:pt x="8092397" y="7219560"/>
                  <a:pt x="8093329" y="7218229"/>
                  <a:pt x="8093994" y="7216499"/>
                </a:cubicBezTo>
                <a:cubicBezTo>
                  <a:pt x="8094660" y="7214901"/>
                  <a:pt x="8094926" y="7213037"/>
                  <a:pt x="8094926" y="7211040"/>
                </a:cubicBezTo>
                <a:cubicBezTo>
                  <a:pt x="8094926" y="7209177"/>
                  <a:pt x="8094660" y="7207447"/>
                  <a:pt x="8093994" y="7205850"/>
                </a:cubicBezTo>
                <a:cubicBezTo>
                  <a:pt x="8093329" y="7204252"/>
                  <a:pt x="8092397" y="7202921"/>
                  <a:pt x="8091332" y="7201723"/>
                </a:cubicBezTo>
                <a:cubicBezTo>
                  <a:pt x="8090267" y="7200658"/>
                  <a:pt x="8088936" y="7199726"/>
                  <a:pt x="8087338" y="7199060"/>
                </a:cubicBezTo>
                <a:cubicBezTo>
                  <a:pt x="8085874" y="7198395"/>
                  <a:pt x="8084277" y="7198129"/>
                  <a:pt x="8082281" y="7198129"/>
                </a:cubicBezTo>
                <a:close/>
                <a:moveTo>
                  <a:pt x="7864636" y="7198129"/>
                </a:moveTo>
                <a:cubicBezTo>
                  <a:pt x="7858779" y="7198129"/>
                  <a:pt x="7856249" y="7199992"/>
                  <a:pt x="7854652" y="7201723"/>
                </a:cubicBezTo>
                <a:cubicBezTo>
                  <a:pt x="7852123" y="7204385"/>
                  <a:pt x="7851058" y="7207180"/>
                  <a:pt x="7851058" y="7211174"/>
                </a:cubicBezTo>
                <a:cubicBezTo>
                  <a:pt x="7851058" y="7215300"/>
                  <a:pt x="7852123" y="7218096"/>
                  <a:pt x="7854652" y="7220625"/>
                </a:cubicBezTo>
                <a:cubicBezTo>
                  <a:pt x="7856249" y="7222224"/>
                  <a:pt x="7858779" y="7224087"/>
                  <a:pt x="7864636" y="7224087"/>
                </a:cubicBezTo>
                <a:cubicBezTo>
                  <a:pt x="7866633" y="7224087"/>
                  <a:pt x="7868363" y="7223821"/>
                  <a:pt x="7869961" y="7223155"/>
                </a:cubicBezTo>
                <a:cubicBezTo>
                  <a:pt x="7871425" y="7222622"/>
                  <a:pt x="7872756" y="7221824"/>
                  <a:pt x="7873687" y="7220758"/>
                </a:cubicBezTo>
                <a:cubicBezTo>
                  <a:pt x="7874753" y="7219560"/>
                  <a:pt x="7875685" y="7218229"/>
                  <a:pt x="7876350" y="7216499"/>
                </a:cubicBezTo>
                <a:cubicBezTo>
                  <a:pt x="7877015" y="7214901"/>
                  <a:pt x="7877282" y="7213037"/>
                  <a:pt x="7877282" y="7211040"/>
                </a:cubicBezTo>
                <a:cubicBezTo>
                  <a:pt x="7877282" y="7209177"/>
                  <a:pt x="7877015" y="7207447"/>
                  <a:pt x="7876350" y="7205850"/>
                </a:cubicBezTo>
                <a:cubicBezTo>
                  <a:pt x="7875685" y="7204252"/>
                  <a:pt x="7874753" y="7202921"/>
                  <a:pt x="7873687" y="7201723"/>
                </a:cubicBezTo>
                <a:cubicBezTo>
                  <a:pt x="7872623" y="7200658"/>
                  <a:pt x="7871291" y="7199726"/>
                  <a:pt x="7869694" y="7199060"/>
                </a:cubicBezTo>
                <a:cubicBezTo>
                  <a:pt x="7868230" y="7198395"/>
                  <a:pt x="7866633" y="7198129"/>
                  <a:pt x="7864636" y="7198129"/>
                </a:cubicBezTo>
                <a:close/>
                <a:moveTo>
                  <a:pt x="7646991" y="7198129"/>
                </a:moveTo>
                <a:cubicBezTo>
                  <a:pt x="7641134" y="7198129"/>
                  <a:pt x="7638604" y="7199992"/>
                  <a:pt x="7637007" y="7201723"/>
                </a:cubicBezTo>
                <a:cubicBezTo>
                  <a:pt x="7634478" y="7204385"/>
                  <a:pt x="7633413" y="7207180"/>
                  <a:pt x="7633413" y="7211174"/>
                </a:cubicBezTo>
                <a:cubicBezTo>
                  <a:pt x="7633413" y="7215300"/>
                  <a:pt x="7634478" y="7218096"/>
                  <a:pt x="7637007" y="7220625"/>
                </a:cubicBezTo>
                <a:cubicBezTo>
                  <a:pt x="7638604" y="7222224"/>
                  <a:pt x="7641134" y="7224087"/>
                  <a:pt x="7646991" y="7224087"/>
                </a:cubicBezTo>
                <a:cubicBezTo>
                  <a:pt x="7648987" y="7224087"/>
                  <a:pt x="7650851" y="7223821"/>
                  <a:pt x="7652315" y="7223155"/>
                </a:cubicBezTo>
                <a:cubicBezTo>
                  <a:pt x="7653780" y="7222622"/>
                  <a:pt x="7655111" y="7221824"/>
                  <a:pt x="7656042" y="7220758"/>
                </a:cubicBezTo>
                <a:cubicBezTo>
                  <a:pt x="7657108" y="7219560"/>
                  <a:pt x="7658039" y="7218229"/>
                  <a:pt x="7658705" y="7216499"/>
                </a:cubicBezTo>
                <a:cubicBezTo>
                  <a:pt x="7659504" y="7214901"/>
                  <a:pt x="7659769" y="7213037"/>
                  <a:pt x="7659769" y="7211040"/>
                </a:cubicBezTo>
                <a:cubicBezTo>
                  <a:pt x="7659769" y="7209177"/>
                  <a:pt x="7659370" y="7207447"/>
                  <a:pt x="7658705" y="7205850"/>
                </a:cubicBezTo>
                <a:cubicBezTo>
                  <a:pt x="7658039" y="7204252"/>
                  <a:pt x="7657108" y="7202921"/>
                  <a:pt x="7656042" y="7201723"/>
                </a:cubicBezTo>
                <a:cubicBezTo>
                  <a:pt x="7654977" y="7200658"/>
                  <a:pt x="7653646" y="7199726"/>
                  <a:pt x="7652049" y="7199060"/>
                </a:cubicBezTo>
                <a:cubicBezTo>
                  <a:pt x="7650584" y="7198395"/>
                  <a:pt x="7648987" y="7198129"/>
                  <a:pt x="7646991" y="7198129"/>
                </a:cubicBezTo>
                <a:close/>
                <a:moveTo>
                  <a:pt x="7429345" y="7198129"/>
                </a:moveTo>
                <a:cubicBezTo>
                  <a:pt x="7423488" y="7198129"/>
                  <a:pt x="7420958" y="7199992"/>
                  <a:pt x="7419361" y="7201723"/>
                </a:cubicBezTo>
                <a:cubicBezTo>
                  <a:pt x="7416832" y="7204385"/>
                  <a:pt x="7415768" y="7207180"/>
                  <a:pt x="7415768" y="7211174"/>
                </a:cubicBezTo>
                <a:cubicBezTo>
                  <a:pt x="7415768" y="7215300"/>
                  <a:pt x="7416832" y="7218096"/>
                  <a:pt x="7419361" y="7220625"/>
                </a:cubicBezTo>
                <a:cubicBezTo>
                  <a:pt x="7420958" y="7222224"/>
                  <a:pt x="7423488" y="7224087"/>
                  <a:pt x="7429345" y="7224087"/>
                </a:cubicBezTo>
                <a:cubicBezTo>
                  <a:pt x="7431342" y="7224087"/>
                  <a:pt x="7433206" y="7223821"/>
                  <a:pt x="7434670" y="7223155"/>
                </a:cubicBezTo>
                <a:cubicBezTo>
                  <a:pt x="7436134" y="7222622"/>
                  <a:pt x="7437466" y="7221824"/>
                  <a:pt x="7438397" y="7220758"/>
                </a:cubicBezTo>
                <a:cubicBezTo>
                  <a:pt x="7439462" y="7219560"/>
                  <a:pt x="7440394" y="7218229"/>
                  <a:pt x="7441059" y="7216499"/>
                </a:cubicBezTo>
                <a:cubicBezTo>
                  <a:pt x="7441858" y="7214901"/>
                  <a:pt x="7442124" y="7213037"/>
                  <a:pt x="7442124" y="7211040"/>
                </a:cubicBezTo>
                <a:cubicBezTo>
                  <a:pt x="7442124" y="7209177"/>
                  <a:pt x="7441725" y="7207447"/>
                  <a:pt x="7441059" y="7205850"/>
                </a:cubicBezTo>
                <a:cubicBezTo>
                  <a:pt x="7440394" y="7204252"/>
                  <a:pt x="7439462" y="7202921"/>
                  <a:pt x="7438397" y="7201723"/>
                </a:cubicBezTo>
                <a:cubicBezTo>
                  <a:pt x="7437332" y="7200658"/>
                  <a:pt x="7436001" y="7199726"/>
                  <a:pt x="7434403" y="7199060"/>
                </a:cubicBezTo>
                <a:cubicBezTo>
                  <a:pt x="7432939" y="7198395"/>
                  <a:pt x="7431342" y="7198129"/>
                  <a:pt x="7429345" y="7198129"/>
                </a:cubicBezTo>
                <a:close/>
                <a:moveTo>
                  <a:pt x="7211701" y="7198129"/>
                </a:moveTo>
                <a:cubicBezTo>
                  <a:pt x="7205844" y="7198129"/>
                  <a:pt x="7203314" y="7199992"/>
                  <a:pt x="7201717" y="7201723"/>
                </a:cubicBezTo>
                <a:cubicBezTo>
                  <a:pt x="7199188" y="7204385"/>
                  <a:pt x="7198123" y="7207180"/>
                  <a:pt x="7198123" y="7211174"/>
                </a:cubicBezTo>
                <a:cubicBezTo>
                  <a:pt x="7198123" y="7215300"/>
                  <a:pt x="7199188" y="7218096"/>
                  <a:pt x="7201717" y="7220625"/>
                </a:cubicBezTo>
                <a:cubicBezTo>
                  <a:pt x="7203314" y="7222224"/>
                  <a:pt x="7205844" y="7224087"/>
                  <a:pt x="7211701" y="7224087"/>
                </a:cubicBezTo>
                <a:cubicBezTo>
                  <a:pt x="7213830" y="7224087"/>
                  <a:pt x="7215561" y="7223821"/>
                  <a:pt x="7217026" y="7223155"/>
                </a:cubicBezTo>
                <a:cubicBezTo>
                  <a:pt x="7218490" y="7222622"/>
                  <a:pt x="7219821" y="7221824"/>
                  <a:pt x="7220752" y="7220758"/>
                </a:cubicBezTo>
                <a:cubicBezTo>
                  <a:pt x="7221818" y="7219560"/>
                  <a:pt x="7222750" y="7218229"/>
                  <a:pt x="7223415" y="7216499"/>
                </a:cubicBezTo>
                <a:cubicBezTo>
                  <a:pt x="7224214" y="7214901"/>
                  <a:pt x="7224480" y="7213037"/>
                  <a:pt x="7224480" y="7211040"/>
                </a:cubicBezTo>
                <a:cubicBezTo>
                  <a:pt x="7224480" y="7209177"/>
                  <a:pt x="7224080" y="7207447"/>
                  <a:pt x="7223415" y="7205850"/>
                </a:cubicBezTo>
                <a:cubicBezTo>
                  <a:pt x="7222750" y="7204252"/>
                  <a:pt x="7221818" y="7202921"/>
                  <a:pt x="7220752" y="7201723"/>
                </a:cubicBezTo>
                <a:cubicBezTo>
                  <a:pt x="7219687" y="7200658"/>
                  <a:pt x="7218356" y="7199726"/>
                  <a:pt x="7216759" y="7199060"/>
                </a:cubicBezTo>
                <a:cubicBezTo>
                  <a:pt x="7215295" y="7198395"/>
                  <a:pt x="7213698" y="7198129"/>
                  <a:pt x="7211701" y="7198129"/>
                </a:cubicBezTo>
                <a:close/>
                <a:moveTo>
                  <a:pt x="6994056" y="7198129"/>
                </a:moveTo>
                <a:cubicBezTo>
                  <a:pt x="6988199" y="7198129"/>
                  <a:pt x="6985669" y="7199992"/>
                  <a:pt x="6984072" y="7201723"/>
                </a:cubicBezTo>
                <a:cubicBezTo>
                  <a:pt x="6981543" y="7204385"/>
                  <a:pt x="6980478" y="7207180"/>
                  <a:pt x="6980478" y="7211174"/>
                </a:cubicBezTo>
                <a:cubicBezTo>
                  <a:pt x="6980478" y="7215300"/>
                  <a:pt x="6981543" y="7218096"/>
                  <a:pt x="6984072" y="7220625"/>
                </a:cubicBezTo>
                <a:cubicBezTo>
                  <a:pt x="6985669" y="7222224"/>
                  <a:pt x="6988199" y="7224087"/>
                  <a:pt x="6994056" y="7224087"/>
                </a:cubicBezTo>
                <a:cubicBezTo>
                  <a:pt x="6996185" y="7224087"/>
                  <a:pt x="6997916" y="7223821"/>
                  <a:pt x="6999380" y="7223155"/>
                </a:cubicBezTo>
                <a:cubicBezTo>
                  <a:pt x="7000844" y="7222622"/>
                  <a:pt x="7002176" y="7221824"/>
                  <a:pt x="7003107" y="7220758"/>
                </a:cubicBezTo>
                <a:cubicBezTo>
                  <a:pt x="7004172" y="7219560"/>
                  <a:pt x="7005104" y="7218229"/>
                  <a:pt x="7005769" y="7216499"/>
                </a:cubicBezTo>
                <a:cubicBezTo>
                  <a:pt x="7006568" y="7214901"/>
                  <a:pt x="7006834" y="7213037"/>
                  <a:pt x="7006834" y="7211040"/>
                </a:cubicBezTo>
                <a:cubicBezTo>
                  <a:pt x="7006834" y="7209177"/>
                  <a:pt x="7006435" y="7207447"/>
                  <a:pt x="7005769" y="7205850"/>
                </a:cubicBezTo>
                <a:cubicBezTo>
                  <a:pt x="7005104" y="7204252"/>
                  <a:pt x="7004172" y="7202921"/>
                  <a:pt x="7003107" y="7201723"/>
                </a:cubicBezTo>
                <a:cubicBezTo>
                  <a:pt x="7002042" y="7200658"/>
                  <a:pt x="7000711" y="7199726"/>
                  <a:pt x="6999113" y="7199060"/>
                </a:cubicBezTo>
                <a:cubicBezTo>
                  <a:pt x="6997649" y="7198395"/>
                  <a:pt x="6996052" y="7198129"/>
                  <a:pt x="6994056" y="7198129"/>
                </a:cubicBezTo>
                <a:close/>
                <a:moveTo>
                  <a:pt x="6776544" y="7198129"/>
                </a:moveTo>
                <a:cubicBezTo>
                  <a:pt x="6770687" y="7198129"/>
                  <a:pt x="6768157" y="7199992"/>
                  <a:pt x="6766560" y="7201723"/>
                </a:cubicBezTo>
                <a:cubicBezTo>
                  <a:pt x="6764031" y="7204385"/>
                  <a:pt x="6762966" y="7207180"/>
                  <a:pt x="6762966" y="7211174"/>
                </a:cubicBezTo>
                <a:cubicBezTo>
                  <a:pt x="6762966" y="7215300"/>
                  <a:pt x="6764031" y="7218096"/>
                  <a:pt x="6766560" y="7220625"/>
                </a:cubicBezTo>
                <a:cubicBezTo>
                  <a:pt x="6768157" y="7222224"/>
                  <a:pt x="6770687" y="7224087"/>
                  <a:pt x="6776544" y="7224087"/>
                </a:cubicBezTo>
                <a:cubicBezTo>
                  <a:pt x="6778541" y="7224087"/>
                  <a:pt x="6780270" y="7223821"/>
                  <a:pt x="6781869" y="7223155"/>
                </a:cubicBezTo>
                <a:cubicBezTo>
                  <a:pt x="6783333" y="7222622"/>
                  <a:pt x="6784664" y="7221824"/>
                  <a:pt x="6785595" y="7220758"/>
                </a:cubicBezTo>
                <a:cubicBezTo>
                  <a:pt x="6786661" y="7219560"/>
                  <a:pt x="6787593" y="7218229"/>
                  <a:pt x="6788258" y="7216499"/>
                </a:cubicBezTo>
                <a:cubicBezTo>
                  <a:pt x="6789057" y="7214901"/>
                  <a:pt x="6789323" y="7213037"/>
                  <a:pt x="6789323" y="7211040"/>
                </a:cubicBezTo>
                <a:cubicBezTo>
                  <a:pt x="6789323" y="7209177"/>
                  <a:pt x="6788923" y="7207447"/>
                  <a:pt x="6788258" y="7205850"/>
                </a:cubicBezTo>
                <a:cubicBezTo>
                  <a:pt x="6787593" y="7204252"/>
                  <a:pt x="6786661" y="7202921"/>
                  <a:pt x="6785595" y="7201723"/>
                </a:cubicBezTo>
                <a:cubicBezTo>
                  <a:pt x="6784530" y="7200658"/>
                  <a:pt x="6783199" y="7199726"/>
                  <a:pt x="6781602" y="7199060"/>
                </a:cubicBezTo>
                <a:cubicBezTo>
                  <a:pt x="6780138" y="7198395"/>
                  <a:pt x="6778541" y="7198129"/>
                  <a:pt x="6776544" y="7198129"/>
                </a:cubicBezTo>
                <a:close/>
                <a:moveTo>
                  <a:pt x="6558899" y="7198129"/>
                </a:moveTo>
                <a:cubicBezTo>
                  <a:pt x="6553042" y="7198129"/>
                  <a:pt x="6550512" y="7199992"/>
                  <a:pt x="6548915" y="7201723"/>
                </a:cubicBezTo>
                <a:cubicBezTo>
                  <a:pt x="6546386" y="7204385"/>
                  <a:pt x="6545321" y="7207180"/>
                  <a:pt x="6545321" y="7211174"/>
                </a:cubicBezTo>
                <a:cubicBezTo>
                  <a:pt x="6545321" y="7215300"/>
                  <a:pt x="6546386" y="7218096"/>
                  <a:pt x="6548915" y="7220625"/>
                </a:cubicBezTo>
                <a:cubicBezTo>
                  <a:pt x="6550512" y="7222224"/>
                  <a:pt x="6553042" y="7224087"/>
                  <a:pt x="6558899" y="7224087"/>
                </a:cubicBezTo>
                <a:cubicBezTo>
                  <a:pt x="6560895" y="7224087"/>
                  <a:pt x="6562759" y="7223821"/>
                  <a:pt x="6564223" y="7223155"/>
                </a:cubicBezTo>
                <a:cubicBezTo>
                  <a:pt x="6565687" y="7222622"/>
                  <a:pt x="6567019" y="7221824"/>
                  <a:pt x="6567950" y="7220758"/>
                </a:cubicBezTo>
                <a:cubicBezTo>
                  <a:pt x="6569015" y="7219560"/>
                  <a:pt x="6569947" y="7218229"/>
                  <a:pt x="6570612" y="7216499"/>
                </a:cubicBezTo>
                <a:cubicBezTo>
                  <a:pt x="6571412" y="7214901"/>
                  <a:pt x="6571677" y="7213037"/>
                  <a:pt x="6571677" y="7211040"/>
                </a:cubicBezTo>
                <a:cubicBezTo>
                  <a:pt x="6571677" y="7209177"/>
                  <a:pt x="6571278" y="7207447"/>
                  <a:pt x="6570612" y="7205850"/>
                </a:cubicBezTo>
                <a:cubicBezTo>
                  <a:pt x="6569947" y="7204252"/>
                  <a:pt x="6569015" y="7202921"/>
                  <a:pt x="6567950" y="7201723"/>
                </a:cubicBezTo>
                <a:cubicBezTo>
                  <a:pt x="6566885" y="7200658"/>
                  <a:pt x="6565554" y="7199726"/>
                  <a:pt x="6563956" y="7199060"/>
                </a:cubicBezTo>
                <a:cubicBezTo>
                  <a:pt x="6562492" y="7198395"/>
                  <a:pt x="6560895" y="7198129"/>
                  <a:pt x="6558899" y="7198129"/>
                </a:cubicBezTo>
                <a:close/>
                <a:moveTo>
                  <a:pt x="6341253" y="7198129"/>
                </a:moveTo>
                <a:cubicBezTo>
                  <a:pt x="6335396" y="7198129"/>
                  <a:pt x="6332867" y="7199992"/>
                  <a:pt x="6331270" y="7201723"/>
                </a:cubicBezTo>
                <a:cubicBezTo>
                  <a:pt x="6328740" y="7204385"/>
                  <a:pt x="6327675" y="7207180"/>
                  <a:pt x="6327675" y="7211174"/>
                </a:cubicBezTo>
                <a:cubicBezTo>
                  <a:pt x="6327675" y="7215300"/>
                  <a:pt x="6328740" y="7218096"/>
                  <a:pt x="6331270" y="7220625"/>
                </a:cubicBezTo>
                <a:cubicBezTo>
                  <a:pt x="6332867" y="7222224"/>
                  <a:pt x="6335396" y="7224087"/>
                  <a:pt x="6341253" y="7224087"/>
                </a:cubicBezTo>
                <a:cubicBezTo>
                  <a:pt x="6343250" y="7224087"/>
                  <a:pt x="6345114" y="7223821"/>
                  <a:pt x="6346578" y="7223155"/>
                </a:cubicBezTo>
                <a:cubicBezTo>
                  <a:pt x="6348042" y="7222622"/>
                  <a:pt x="6349373" y="7221824"/>
                  <a:pt x="6350305" y="7220758"/>
                </a:cubicBezTo>
                <a:cubicBezTo>
                  <a:pt x="6351370" y="7219560"/>
                  <a:pt x="6352302" y="7218229"/>
                  <a:pt x="6352968" y="7216499"/>
                </a:cubicBezTo>
                <a:cubicBezTo>
                  <a:pt x="6353766" y="7214901"/>
                  <a:pt x="6354033" y="7213037"/>
                  <a:pt x="6354033" y="7211040"/>
                </a:cubicBezTo>
                <a:cubicBezTo>
                  <a:pt x="6354033" y="7209177"/>
                  <a:pt x="6353633" y="7207447"/>
                  <a:pt x="6352968" y="7205850"/>
                </a:cubicBezTo>
                <a:cubicBezTo>
                  <a:pt x="6352302" y="7204252"/>
                  <a:pt x="6351370" y="7202921"/>
                  <a:pt x="6350305" y="7201723"/>
                </a:cubicBezTo>
                <a:cubicBezTo>
                  <a:pt x="6349241" y="7200658"/>
                  <a:pt x="6347909" y="7199726"/>
                  <a:pt x="6346312" y="7199060"/>
                </a:cubicBezTo>
                <a:cubicBezTo>
                  <a:pt x="6344848" y="7198395"/>
                  <a:pt x="6343250" y="7198129"/>
                  <a:pt x="6341253" y="7198129"/>
                </a:cubicBezTo>
                <a:close/>
                <a:moveTo>
                  <a:pt x="6123608" y="7198129"/>
                </a:moveTo>
                <a:cubicBezTo>
                  <a:pt x="6117751" y="7198129"/>
                  <a:pt x="6115221" y="7199992"/>
                  <a:pt x="6113624" y="7201723"/>
                </a:cubicBezTo>
                <a:cubicBezTo>
                  <a:pt x="6111095" y="7204385"/>
                  <a:pt x="6110030" y="7207180"/>
                  <a:pt x="6110030" y="7211174"/>
                </a:cubicBezTo>
                <a:cubicBezTo>
                  <a:pt x="6110030" y="7215300"/>
                  <a:pt x="6111095" y="7218096"/>
                  <a:pt x="6113624" y="7220625"/>
                </a:cubicBezTo>
                <a:cubicBezTo>
                  <a:pt x="6115221" y="7222224"/>
                  <a:pt x="6117751" y="7224087"/>
                  <a:pt x="6123608" y="7224087"/>
                </a:cubicBezTo>
                <a:cubicBezTo>
                  <a:pt x="6125737" y="7224087"/>
                  <a:pt x="6127468" y="7223821"/>
                  <a:pt x="6128932" y="7223155"/>
                </a:cubicBezTo>
                <a:cubicBezTo>
                  <a:pt x="6130530" y="7222622"/>
                  <a:pt x="6131728" y="7221824"/>
                  <a:pt x="6132659" y="7220758"/>
                </a:cubicBezTo>
                <a:cubicBezTo>
                  <a:pt x="6133724" y="7219560"/>
                  <a:pt x="6134656" y="7218229"/>
                  <a:pt x="6135322" y="7216499"/>
                </a:cubicBezTo>
                <a:cubicBezTo>
                  <a:pt x="6135987" y="7214901"/>
                  <a:pt x="6136387" y="7213037"/>
                  <a:pt x="6136387" y="7211040"/>
                </a:cubicBezTo>
                <a:cubicBezTo>
                  <a:pt x="6136387" y="7209177"/>
                  <a:pt x="6135987" y="7207447"/>
                  <a:pt x="6135322" y="7205850"/>
                </a:cubicBezTo>
                <a:cubicBezTo>
                  <a:pt x="6134656" y="7204252"/>
                  <a:pt x="6133724" y="7202921"/>
                  <a:pt x="6132659" y="7201723"/>
                </a:cubicBezTo>
                <a:cubicBezTo>
                  <a:pt x="6131594" y="7200658"/>
                  <a:pt x="6130263" y="7199726"/>
                  <a:pt x="6128666" y="7199060"/>
                </a:cubicBezTo>
                <a:cubicBezTo>
                  <a:pt x="6127202" y="7198395"/>
                  <a:pt x="6125604" y="7198129"/>
                  <a:pt x="6123608" y="7198129"/>
                </a:cubicBezTo>
                <a:close/>
                <a:moveTo>
                  <a:pt x="5905963" y="7198129"/>
                </a:moveTo>
                <a:cubicBezTo>
                  <a:pt x="5900106" y="7198129"/>
                  <a:pt x="5897576" y="7199992"/>
                  <a:pt x="5895979" y="7201723"/>
                </a:cubicBezTo>
                <a:cubicBezTo>
                  <a:pt x="5893450" y="7204385"/>
                  <a:pt x="5892385" y="7207180"/>
                  <a:pt x="5892385" y="7211174"/>
                </a:cubicBezTo>
                <a:cubicBezTo>
                  <a:pt x="5892385" y="7215300"/>
                  <a:pt x="5893450" y="7218096"/>
                  <a:pt x="5895979" y="7220625"/>
                </a:cubicBezTo>
                <a:cubicBezTo>
                  <a:pt x="5897576" y="7222224"/>
                  <a:pt x="5900106" y="7224087"/>
                  <a:pt x="5905963" y="7224087"/>
                </a:cubicBezTo>
                <a:cubicBezTo>
                  <a:pt x="5908093" y="7224087"/>
                  <a:pt x="5909823" y="7223821"/>
                  <a:pt x="5911287" y="7223155"/>
                </a:cubicBezTo>
                <a:cubicBezTo>
                  <a:pt x="5912751" y="7222622"/>
                  <a:pt x="5914083" y="7221824"/>
                  <a:pt x="5915014" y="7220758"/>
                </a:cubicBezTo>
                <a:cubicBezTo>
                  <a:pt x="5916079" y="7219560"/>
                  <a:pt x="5917011" y="7218229"/>
                  <a:pt x="5917677" y="7216499"/>
                </a:cubicBezTo>
                <a:cubicBezTo>
                  <a:pt x="5918342" y="7214901"/>
                  <a:pt x="5918742" y="7213037"/>
                  <a:pt x="5918742" y="7211040"/>
                </a:cubicBezTo>
                <a:cubicBezTo>
                  <a:pt x="5918742" y="7209177"/>
                  <a:pt x="5918342" y="7207447"/>
                  <a:pt x="5917677" y="7205850"/>
                </a:cubicBezTo>
                <a:cubicBezTo>
                  <a:pt x="5917011" y="7204252"/>
                  <a:pt x="5916079" y="7202921"/>
                  <a:pt x="5915014" y="7201723"/>
                </a:cubicBezTo>
                <a:cubicBezTo>
                  <a:pt x="5913950" y="7200658"/>
                  <a:pt x="5912618" y="7199726"/>
                  <a:pt x="5911021" y="7199060"/>
                </a:cubicBezTo>
                <a:cubicBezTo>
                  <a:pt x="5909557" y="7198395"/>
                  <a:pt x="5907826" y="7198129"/>
                  <a:pt x="5905963" y="7198129"/>
                </a:cubicBezTo>
                <a:close/>
                <a:moveTo>
                  <a:pt x="5688451" y="7198129"/>
                </a:moveTo>
                <a:cubicBezTo>
                  <a:pt x="5682594" y="7198129"/>
                  <a:pt x="5680064" y="7199992"/>
                  <a:pt x="5678467" y="7201723"/>
                </a:cubicBezTo>
                <a:cubicBezTo>
                  <a:pt x="5675938" y="7204385"/>
                  <a:pt x="5674873" y="7207180"/>
                  <a:pt x="5674873" y="7211174"/>
                </a:cubicBezTo>
                <a:cubicBezTo>
                  <a:pt x="5674873" y="7215300"/>
                  <a:pt x="5675938" y="7218096"/>
                  <a:pt x="5678467" y="7220625"/>
                </a:cubicBezTo>
                <a:cubicBezTo>
                  <a:pt x="5680064" y="7222224"/>
                  <a:pt x="5682594" y="7224087"/>
                  <a:pt x="5688451" y="7224087"/>
                </a:cubicBezTo>
                <a:cubicBezTo>
                  <a:pt x="5690447" y="7224087"/>
                  <a:pt x="5692178" y="7223821"/>
                  <a:pt x="5693775" y="7223155"/>
                </a:cubicBezTo>
                <a:cubicBezTo>
                  <a:pt x="5695239" y="7222622"/>
                  <a:pt x="5696571" y="7221824"/>
                  <a:pt x="5697502" y="7220758"/>
                </a:cubicBezTo>
                <a:cubicBezTo>
                  <a:pt x="5698567" y="7219560"/>
                  <a:pt x="5699499" y="7218229"/>
                  <a:pt x="5700165" y="7216499"/>
                </a:cubicBezTo>
                <a:cubicBezTo>
                  <a:pt x="5700830" y="7214901"/>
                  <a:pt x="5701230" y="7213037"/>
                  <a:pt x="5701230" y="7211040"/>
                </a:cubicBezTo>
                <a:cubicBezTo>
                  <a:pt x="5701230" y="7209177"/>
                  <a:pt x="5700830" y="7207447"/>
                  <a:pt x="5700165" y="7205850"/>
                </a:cubicBezTo>
                <a:cubicBezTo>
                  <a:pt x="5699499" y="7204252"/>
                  <a:pt x="5698567" y="7202921"/>
                  <a:pt x="5697502" y="7201723"/>
                </a:cubicBezTo>
                <a:cubicBezTo>
                  <a:pt x="5696437" y="7200658"/>
                  <a:pt x="5695106" y="7199726"/>
                  <a:pt x="5693509" y="7199060"/>
                </a:cubicBezTo>
                <a:cubicBezTo>
                  <a:pt x="5692045" y="7198395"/>
                  <a:pt x="5690314" y="7198129"/>
                  <a:pt x="5688451" y="7198129"/>
                </a:cubicBezTo>
                <a:close/>
                <a:moveTo>
                  <a:pt x="5470806" y="7198129"/>
                </a:moveTo>
                <a:cubicBezTo>
                  <a:pt x="5464949" y="7198129"/>
                  <a:pt x="5462419" y="7199992"/>
                  <a:pt x="5460822" y="7201723"/>
                </a:cubicBezTo>
                <a:cubicBezTo>
                  <a:pt x="5458293" y="7204385"/>
                  <a:pt x="5457228" y="7207180"/>
                  <a:pt x="5457228" y="7211174"/>
                </a:cubicBezTo>
                <a:cubicBezTo>
                  <a:pt x="5457228" y="7215300"/>
                  <a:pt x="5458293" y="7218096"/>
                  <a:pt x="5460822" y="7220625"/>
                </a:cubicBezTo>
                <a:cubicBezTo>
                  <a:pt x="5462419" y="7222224"/>
                  <a:pt x="5464949" y="7224087"/>
                  <a:pt x="5470806" y="7224087"/>
                </a:cubicBezTo>
                <a:cubicBezTo>
                  <a:pt x="5472802" y="7224087"/>
                  <a:pt x="5474666" y="7223821"/>
                  <a:pt x="5476130" y="7223155"/>
                </a:cubicBezTo>
                <a:cubicBezTo>
                  <a:pt x="5477594" y="7222622"/>
                  <a:pt x="5478926" y="7221824"/>
                  <a:pt x="5479857" y="7220758"/>
                </a:cubicBezTo>
                <a:cubicBezTo>
                  <a:pt x="5480922" y="7219560"/>
                  <a:pt x="5481854" y="7218229"/>
                  <a:pt x="5482520" y="7216499"/>
                </a:cubicBezTo>
                <a:cubicBezTo>
                  <a:pt x="5483319" y="7214901"/>
                  <a:pt x="5483585" y="7213037"/>
                  <a:pt x="5483585" y="7211040"/>
                </a:cubicBezTo>
                <a:cubicBezTo>
                  <a:pt x="5483585" y="7209177"/>
                  <a:pt x="5483185" y="7207447"/>
                  <a:pt x="5482520" y="7205850"/>
                </a:cubicBezTo>
                <a:cubicBezTo>
                  <a:pt x="5481854" y="7204252"/>
                  <a:pt x="5480922" y="7202921"/>
                  <a:pt x="5479857" y="7201723"/>
                </a:cubicBezTo>
                <a:cubicBezTo>
                  <a:pt x="5478793" y="7200658"/>
                  <a:pt x="5477461" y="7199726"/>
                  <a:pt x="5475864" y="7199060"/>
                </a:cubicBezTo>
                <a:cubicBezTo>
                  <a:pt x="5474400" y="7198395"/>
                  <a:pt x="5472669" y="7198129"/>
                  <a:pt x="5470806" y="7198129"/>
                </a:cubicBezTo>
                <a:close/>
                <a:moveTo>
                  <a:pt x="5253160" y="7198129"/>
                </a:moveTo>
                <a:cubicBezTo>
                  <a:pt x="5247303" y="7198129"/>
                  <a:pt x="5244774" y="7199992"/>
                  <a:pt x="5243177" y="7201723"/>
                </a:cubicBezTo>
                <a:cubicBezTo>
                  <a:pt x="5240647" y="7204385"/>
                  <a:pt x="5239583" y="7207180"/>
                  <a:pt x="5239583" y="7211174"/>
                </a:cubicBezTo>
                <a:cubicBezTo>
                  <a:pt x="5239583" y="7215300"/>
                  <a:pt x="5240647" y="7218096"/>
                  <a:pt x="5243177" y="7220625"/>
                </a:cubicBezTo>
                <a:cubicBezTo>
                  <a:pt x="5244774" y="7222224"/>
                  <a:pt x="5247303" y="7224087"/>
                  <a:pt x="5253160" y="7224087"/>
                </a:cubicBezTo>
                <a:cubicBezTo>
                  <a:pt x="5255157" y="7224087"/>
                  <a:pt x="5257021" y="7223821"/>
                  <a:pt x="5258485" y="7223155"/>
                </a:cubicBezTo>
                <a:cubicBezTo>
                  <a:pt x="5259949" y="7222622"/>
                  <a:pt x="5261280" y="7221824"/>
                  <a:pt x="5262212" y="7220758"/>
                </a:cubicBezTo>
                <a:cubicBezTo>
                  <a:pt x="5263277" y="7219560"/>
                  <a:pt x="5264209" y="7218229"/>
                  <a:pt x="5264875" y="7216499"/>
                </a:cubicBezTo>
                <a:cubicBezTo>
                  <a:pt x="5265673" y="7214901"/>
                  <a:pt x="5265939" y="7213037"/>
                  <a:pt x="5265939" y="7211040"/>
                </a:cubicBezTo>
                <a:cubicBezTo>
                  <a:pt x="5265939" y="7209177"/>
                  <a:pt x="5265540" y="7207447"/>
                  <a:pt x="5264875" y="7205850"/>
                </a:cubicBezTo>
                <a:cubicBezTo>
                  <a:pt x="5264209" y="7204252"/>
                  <a:pt x="5263277" y="7202921"/>
                  <a:pt x="5262212" y="7201723"/>
                </a:cubicBezTo>
                <a:cubicBezTo>
                  <a:pt x="5261147" y="7200658"/>
                  <a:pt x="5259816" y="7199726"/>
                  <a:pt x="5258219" y="7199060"/>
                </a:cubicBezTo>
                <a:cubicBezTo>
                  <a:pt x="5256754" y="7198395"/>
                  <a:pt x="5255024" y="7198129"/>
                  <a:pt x="5253160" y="7198129"/>
                </a:cubicBezTo>
                <a:close/>
                <a:moveTo>
                  <a:pt x="5035515" y="7198129"/>
                </a:moveTo>
                <a:cubicBezTo>
                  <a:pt x="5029658" y="7198129"/>
                  <a:pt x="5027129" y="7199992"/>
                  <a:pt x="5025532" y="7201723"/>
                </a:cubicBezTo>
                <a:cubicBezTo>
                  <a:pt x="5023002" y="7204385"/>
                  <a:pt x="5021938" y="7207180"/>
                  <a:pt x="5021938" y="7211174"/>
                </a:cubicBezTo>
                <a:cubicBezTo>
                  <a:pt x="5021938" y="7215300"/>
                  <a:pt x="5023002" y="7218096"/>
                  <a:pt x="5025532" y="7220625"/>
                </a:cubicBezTo>
                <a:cubicBezTo>
                  <a:pt x="5027129" y="7222224"/>
                  <a:pt x="5029658" y="7224087"/>
                  <a:pt x="5035515" y="7224087"/>
                </a:cubicBezTo>
                <a:cubicBezTo>
                  <a:pt x="5037645" y="7224087"/>
                  <a:pt x="5039376" y="7223821"/>
                  <a:pt x="5040840" y="7223155"/>
                </a:cubicBezTo>
                <a:cubicBezTo>
                  <a:pt x="5042304" y="7222622"/>
                  <a:pt x="5043636" y="7221824"/>
                  <a:pt x="5044567" y="7220758"/>
                </a:cubicBezTo>
                <a:cubicBezTo>
                  <a:pt x="5045632" y="7219560"/>
                  <a:pt x="5046564" y="7218229"/>
                  <a:pt x="5047230" y="7216499"/>
                </a:cubicBezTo>
                <a:cubicBezTo>
                  <a:pt x="5048028" y="7214901"/>
                  <a:pt x="5048294" y="7213037"/>
                  <a:pt x="5048294" y="7211040"/>
                </a:cubicBezTo>
                <a:cubicBezTo>
                  <a:pt x="5048294" y="7209177"/>
                  <a:pt x="5047895" y="7207447"/>
                  <a:pt x="5047230" y="7205850"/>
                </a:cubicBezTo>
                <a:cubicBezTo>
                  <a:pt x="5046564" y="7204252"/>
                  <a:pt x="5045632" y="7202921"/>
                  <a:pt x="5044567" y="7201723"/>
                </a:cubicBezTo>
                <a:cubicBezTo>
                  <a:pt x="5043502" y="7200658"/>
                  <a:pt x="5042171" y="7199726"/>
                  <a:pt x="5040574" y="7199060"/>
                </a:cubicBezTo>
                <a:cubicBezTo>
                  <a:pt x="5039110" y="7198395"/>
                  <a:pt x="5037379" y="7198129"/>
                  <a:pt x="5035515" y="7198129"/>
                </a:cubicBezTo>
                <a:close/>
                <a:moveTo>
                  <a:pt x="4817870" y="7198129"/>
                </a:moveTo>
                <a:cubicBezTo>
                  <a:pt x="4812013" y="7198129"/>
                  <a:pt x="4809484" y="7199992"/>
                  <a:pt x="4807887" y="7201723"/>
                </a:cubicBezTo>
                <a:cubicBezTo>
                  <a:pt x="4805357" y="7204385"/>
                  <a:pt x="4804293" y="7207180"/>
                  <a:pt x="4804293" y="7211174"/>
                </a:cubicBezTo>
                <a:cubicBezTo>
                  <a:pt x="4804293" y="7215300"/>
                  <a:pt x="4805357" y="7218096"/>
                  <a:pt x="4807887" y="7220625"/>
                </a:cubicBezTo>
                <a:cubicBezTo>
                  <a:pt x="4809484" y="7222224"/>
                  <a:pt x="4812013" y="7224087"/>
                  <a:pt x="4817870" y="7224087"/>
                </a:cubicBezTo>
                <a:cubicBezTo>
                  <a:pt x="4820000" y="7224087"/>
                  <a:pt x="4821731" y="7223821"/>
                  <a:pt x="4823195" y="7223155"/>
                </a:cubicBezTo>
                <a:cubicBezTo>
                  <a:pt x="4824659" y="7222622"/>
                  <a:pt x="4825857" y="7221824"/>
                  <a:pt x="4826922" y="7220758"/>
                </a:cubicBezTo>
                <a:cubicBezTo>
                  <a:pt x="4827987" y="7219560"/>
                  <a:pt x="4828919" y="7218229"/>
                  <a:pt x="4829585" y="7216499"/>
                </a:cubicBezTo>
                <a:cubicBezTo>
                  <a:pt x="4830383" y="7214901"/>
                  <a:pt x="4830650" y="7213037"/>
                  <a:pt x="4830650" y="7211040"/>
                </a:cubicBezTo>
                <a:cubicBezTo>
                  <a:pt x="4830650" y="7209177"/>
                  <a:pt x="4830250" y="7207447"/>
                  <a:pt x="4829585" y="7205850"/>
                </a:cubicBezTo>
                <a:cubicBezTo>
                  <a:pt x="4828919" y="7204252"/>
                  <a:pt x="4827987" y="7202921"/>
                  <a:pt x="4826922" y="7201723"/>
                </a:cubicBezTo>
                <a:cubicBezTo>
                  <a:pt x="4825857" y="7200658"/>
                  <a:pt x="4824526" y="7199726"/>
                  <a:pt x="4822929" y="7199060"/>
                </a:cubicBezTo>
                <a:cubicBezTo>
                  <a:pt x="4821465" y="7198395"/>
                  <a:pt x="4819734" y="7198129"/>
                  <a:pt x="4817870" y="7198129"/>
                </a:cubicBezTo>
                <a:close/>
                <a:moveTo>
                  <a:pt x="4600226" y="7198129"/>
                </a:moveTo>
                <a:cubicBezTo>
                  <a:pt x="4594369" y="7198129"/>
                  <a:pt x="4591839" y="7199992"/>
                  <a:pt x="4590242" y="7201723"/>
                </a:cubicBezTo>
                <a:cubicBezTo>
                  <a:pt x="4587713" y="7204385"/>
                  <a:pt x="4586648" y="7207180"/>
                  <a:pt x="4586648" y="7211174"/>
                </a:cubicBezTo>
                <a:cubicBezTo>
                  <a:pt x="4586648" y="7215300"/>
                  <a:pt x="4587713" y="7218096"/>
                  <a:pt x="4590242" y="7220625"/>
                </a:cubicBezTo>
                <a:cubicBezTo>
                  <a:pt x="4591839" y="7222224"/>
                  <a:pt x="4594369" y="7224087"/>
                  <a:pt x="4600226" y="7224087"/>
                </a:cubicBezTo>
                <a:cubicBezTo>
                  <a:pt x="4602355" y="7224087"/>
                  <a:pt x="4604086" y="7223821"/>
                  <a:pt x="4605550" y="7223155"/>
                </a:cubicBezTo>
                <a:cubicBezTo>
                  <a:pt x="4607148" y="7222622"/>
                  <a:pt x="4608346" y="7221824"/>
                  <a:pt x="4609277" y="7220758"/>
                </a:cubicBezTo>
                <a:cubicBezTo>
                  <a:pt x="4610342" y="7219560"/>
                  <a:pt x="4611274" y="7218229"/>
                  <a:pt x="4611940" y="7216499"/>
                </a:cubicBezTo>
                <a:cubicBezTo>
                  <a:pt x="4612605" y="7214901"/>
                  <a:pt x="4613005" y="7213037"/>
                  <a:pt x="4613005" y="7211040"/>
                </a:cubicBezTo>
                <a:cubicBezTo>
                  <a:pt x="4613005" y="7209177"/>
                  <a:pt x="4612605" y="7207447"/>
                  <a:pt x="4611940" y="7205850"/>
                </a:cubicBezTo>
                <a:cubicBezTo>
                  <a:pt x="4611274" y="7204252"/>
                  <a:pt x="4610342" y="7202921"/>
                  <a:pt x="4609277" y="7201723"/>
                </a:cubicBezTo>
                <a:cubicBezTo>
                  <a:pt x="4608212" y="7200658"/>
                  <a:pt x="4606881" y="7199726"/>
                  <a:pt x="4605284" y="7199060"/>
                </a:cubicBezTo>
                <a:cubicBezTo>
                  <a:pt x="4603820" y="7198395"/>
                  <a:pt x="4602222" y="7198129"/>
                  <a:pt x="4600226" y="7198129"/>
                </a:cubicBezTo>
                <a:close/>
                <a:moveTo>
                  <a:pt x="4382713" y="7198129"/>
                </a:moveTo>
                <a:cubicBezTo>
                  <a:pt x="4376857" y="7198129"/>
                  <a:pt x="4374327" y="7199992"/>
                  <a:pt x="4372730" y="7201723"/>
                </a:cubicBezTo>
                <a:cubicBezTo>
                  <a:pt x="4370201" y="7204385"/>
                  <a:pt x="4369136" y="7207180"/>
                  <a:pt x="4369136" y="7211174"/>
                </a:cubicBezTo>
                <a:cubicBezTo>
                  <a:pt x="4369136" y="7215300"/>
                  <a:pt x="4370201" y="7218096"/>
                  <a:pt x="4372730" y="7220625"/>
                </a:cubicBezTo>
                <a:cubicBezTo>
                  <a:pt x="4374327" y="7222224"/>
                  <a:pt x="4376857" y="7224087"/>
                  <a:pt x="4382713" y="7224087"/>
                </a:cubicBezTo>
                <a:cubicBezTo>
                  <a:pt x="4384710" y="7224087"/>
                  <a:pt x="4386441" y="7223821"/>
                  <a:pt x="4388038" y="7223155"/>
                </a:cubicBezTo>
                <a:cubicBezTo>
                  <a:pt x="4389502" y="7222622"/>
                  <a:pt x="4390834" y="7221824"/>
                  <a:pt x="4391765" y="7220758"/>
                </a:cubicBezTo>
                <a:cubicBezTo>
                  <a:pt x="4392830" y="7219560"/>
                  <a:pt x="4393762" y="7218229"/>
                  <a:pt x="4394428" y="7216499"/>
                </a:cubicBezTo>
                <a:cubicBezTo>
                  <a:pt x="4395093" y="7214901"/>
                  <a:pt x="4395493" y="7213037"/>
                  <a:pt x="4395493" y="7211040"/>
                </a:cubicBezTo>
                <a:cubicBezTo>
                  <a:pt x="4395493" y="7209177"/>
                  <a:pt x="4395093" y="7207447"/>
                  <a:pt x="4394428" y="7205850"/>
                </a:cubicBezTo>
                <a:cubicBezTo>
                  <a:pt x="4393762" y="7204252"/>
                  <a:pt x="4392830" y="7202921"/>
                  <a:pt x="4391765" y="7201723"/>
                </a:cubicBezTo>
                <a:cubicBezTo>
                  <a:pt x="4390700" y="7200658"/>
                  <a:pt x="4389369" y="7199726"/>
                  <a:pt x="4387772" y="7199060"/>
                </a:cubicBezTo>
                <a:cubicBezTo>
                  <a:pt x="4386308" y="7198395"/>
                  <a:pt x="4384710" y="7198129"/>
                  <a:pt x="4382713" y="7198129"/>
                </a:cubicBezTo>
                <a:close/>
                <a:moveTo>
                  <a:pt x="4165068" y="7198129"/>
                </a:moveTo>
                <a:cubicBezTo>
                  <a:pt x="4159211" y="7198129"/>
                  <a:pt x="4156681" y="7199992"/>
                  <a:pt x="4155084" y="7201723"/>
                </a:cubicBezTo>
                <a:cubicBezTo>
                  <a:pt x="4152555" y="7204385"/>
                  <a:pt x="4151490" y="7207180"/>
                  <a:pt x="4151490" y="7211174"/>
                </a:cubicBezTo>
                <a:cubicBezTo>
                  <a:pt x="4151490" y="7215300"/>
                  <a:pt x="4152555" y="7218096"/>
                  <a:pt x="4155084" y="7220625"/>
                </a:cubicBezTo>
                <a:cubicBezTo>
                  <a:pt x="4156681" y="7222224"/>
                  <a:pt x="4159211" y="7224087"/>
                  <a:pt x="4165068" y="7224087"/>
                </a:cubicBezTo>
                <a:cubicBezTo>
                  <a:pt x="4167064" y="7224087"/>
                  <a:pt x="4168928" y="7223821"/>
                  <a:pt x="4170392" y="7223155"/>
                </a:cubicBezTo>
                <a:cubicBezTo>
                  <a:pt x="4171856" y="7222622"/>
                  <a:pt x="4173188" y="7221824"/>
                  <a:pt x="4174119" y="7220758"/>
                </a:cubicBezTo>
                <a:cubicBezTo>
                  <a:pt x="4175184" y="7219560"/>
                  <a:pt x="4176116" y="7218229"/>
                  <a:pt x="4176782" y="7216499"/>
                </a:cubicBezTo>
                <a:cubicBezTo>
                  <a:pt x="4177447" y="7214901"/>
                  <a:pt x="4177847" y="7213037"/>
                  <a:pt x="4177847" y="7211040"/>
                </a:cubicBezTo>
                <a:cubicBezTo>
                  <a:pt x="4177847" y="7209177"/>
                  <a:pt x="4177447" y="7207447"/>
                  <a:pt x="4176782" y="7205850"/>
                </a:cubicBezTo>
                <a:cubicBezTo>
                  <a:pt x="4176116" y="7204252"/>
                  <a:pt x="4175184" y="7202921"/>
                  <a:pt x="4174119" y="7201723"/>
                </a:cubicBezTo>
                <a:cubicBezTo>
                  <a:pt x="4173054" y="7200658"/>
                  <a:pt x="4171723" y="7199726"/>
                  <a:pt x="4170126" y="7199060"/>
                </a:cubicBezTo>
                <a:cubicBezTo>
                  <a:pt x="4168662" y="7198395"/>
                  <a:pt x="4167064" y="7198129"/>
                  <a:pt x="4165068" y="7198129"/>
                </a:cubicBezTo>
                <a:close/>
                <a:moveTo>
                  <a:pt x="3947814" y="7198129"/>
                </a:moveTo>
                <a:cubicBezTo>
                  <a:pt x="3941956" y="7198129"/>
                  <a:pt x="3939427" y="7199992"/>
                  <a:pt x="3937830" y="7201723"/>
                </a:cubicBezTo>
                <a:cubicBezTo>
                  <a:pt x="3935299" y="7204385"/>
                  <a:pt x="3934236" y="7207180"/>
                  <a:pt x="3934236" y="7211174"/>
                </a:cubicBezTo>
                <a:cubicBezTo>
                  <a:pt x="3934236" y="7215300"/>
                  <a:pt x="3935299" y="7218096"/>
                  <a:pt x="3937830" y="7220625"/>
                </a:cubicBezTo>
                <a:cubicBezTo>
                  <a:pt x="3939427" y="7222224"/>
                  <a:pt x="3941956" y="7224087"/>
                  <a:pt x="3947814" y="7224087"/>
                </a:cubicBezTo>
                <a:cubicBezTo>
                  <a:pt x="3949811" y="7224087"/>
                  <a:pt x="3951677" y="7223821"/>
                  <a:pt x="3953143" y="7223155"/>
                </a:cubicBezTo>
                <a:cubicBezTo>
                  <a:pt x="3954607" y="7222622"/>
                  <a:pt x="3955937" y="7221824"/>
                  <a:pt x="3956870" y="7220758"/>
                </a:cubicBezTo>
                <a:cubicBezTo>
                  <a:pt x="3957935" y="7219560"/>
                  <a:pt x="3958868" y="7218229"/>
                  <a:pt x="3959533" y="7216499"/>
                </a:cubicBezTo>
                <a:cubicBezTo>
                  <a:pt x="3960198" y="7214901"/>
                  <a:pt x="3960598" y="7213037"/>
                  <a:pt x="3960598" y="7211040"/>
                </a:cubicBezTo>
                <a:cubicBezTo>
                  <a:pt x="3960598" y="7209177"/>
                  <a:pt x="3960198" y="7207447"/>
                  <a:pt x="3959533" y="7205850"/>
                </a:cubicBezTo>
                <a:cubicBezTo>
                  <a:pt x="3958868" y="7204252"/>
                  <a:pt x="3957935" y="7202921"/>
                  <a:pt x="3956870" y="7201723"/>
                </a:cubicBezTo>
                <a:cubicBezTo>
                  <a:pt x="3955804" y="7200658"/>
                  <a:pt x="3954474" y="7199726"/>
                  <a:pt x="3952876" y="7199060"/>
                </a:cubicBezTo>
                <a:cubicBezTo>
                  <a:pt x="3951409" y="7198395"/>
                  <a:pt x="3949811" y="7198129"/>
                  <a:pt x="3947814" y="7198129"/>
                </a:cubicBezTo>
                <a:close/>
                <a:moveTo>
                  <a:pt x="3730152" y="7198129"/>
                </a:moveTo>
                <a:cubicBezTo>
                  <a:pt x="3724294" y="7198129"/>
                  <a:pt x="3721764" y="7199992"/>
                  <a:pt x="3720164" y="7201723"/>
                </a:cubicBezTo>
                <a:cubicBezTo>
                  <a:pt x="3717635" y="7204385"/>
                  <a:pt x="3716572" y="7207180"/>
                  <a:pt x="3716572" y="7211174"/>
                </a:cubicBezTo>
                <a:cubicBezTo>
                  <a:pt x="3716572" y="7215300"/>
                  <a:pt x="3717635" y="7218096"/>
                  <a:pt x="3720164" y="7220625"/>
                </a:cubicBezTo>
                <a:cubicBezTo>
                  <a:pt x="3721764" y="7222224"/>
                  <a:pt x="3724294" y="7224087"/>
                  <a:pt x="3730152" y="7224087"/>
                </a:cubicBezTo>
                <a:cubicBezTo>
                  <a:pt x="3732281" y="7224087"/>
                  <a:pt x="3734013" y="7223821"/>
                  <a:pt x="3735477" y="7223155"/>
                </a:cubicBezTo>
                <a:cubicBezTo>
                  <a:pt x="3736941" y="7222622"/>
                  <a:pt x="3738274" y="7221824"/>
                  <a:pt x="3739204" y="7220758"/>
                </a:cubicBezTo>
                <a:cubicBezTo>
                  <a:pt x="3740269" y="7219560"/>
                  <a:pt x="3741202" y="7218229"/>
                  <a:pt x="3741867" y="7216499"/>
                </a:cubicBezTo>
                <a:cubicBezTo>
                  <a:pt x="3742532" y="7214901"/>
                  <a:pt x="3742932" y="7213037"/>
                  <a:pt x="3742932" y="7211040"/>
                </a:cubicBezTo>
                <a:cubicBezTo>
                  <a:pt x="3742932" y="7209177"/>
                  <a:pt x="3742532" y="7207447"/>
                  <a:pt x="3741867" y="7205850"/>
                </a:cubicBezTo>
                <a:cubicBezTo>
                  <a:pt x="3741202" y="7204252"/>
                  <a:pt x="3740269" y="7202921"/>
                  <a:pt x="3739204" y="7201723"/>
                </a:cubicBezTo>
                <a:cubicBezTo>
                  <a:pt x="3738140" y="7200658"/>
                  <a:pt x="3736809" y="7199726"/>
                  <a:pt x="3735211" y="7199060"/>
                </a:cubicBezTo>
                <a:cubicBezTo>
                  <a:pt x="3733747" y="7198395"/>
                  <a:pt x="3732149" y="7198129"/>
                  <a:pt x="3730152" y="7198129"/>
                </a:cubicBezTo>
                <a:close/>
                <a:moveTo>
                  <a:pt x="3512486" y="7198129"/>
                </a:moveTo>
                <a:cubicBezTo>
                  <a:pt x="3506626" y="7198129"/>
                  <a:pt x="3504095" y="7199992"/>
                  <a:pt x="3502495" y="7201723"/>
                </a:cubicBezTo>
                <a:cubicBezTo>
                  <a:pt x="3499966" y="7204385"/>
                  <a:pt x="3498902" y="7207180"/>
                  <a:pt x="3498902" y="7211174"/>
                </a:cubicBezTo>
                <a:cubicBezTo>
                  <a:pt x="3498902" y="7215300"/>
                  <a:pt x="3499966" y="7218096"/>
                  <a:pt x="3502495" y="7220625"/>
                </a:cubicBezTo>
                <a:cubicBezTo>
                  <a:pt x="3504095" y="7222224"/>
                  <a:pt x="3506626" y="7224087"/>
                  <a:pt x="3512486" y="7224087"/>
                </a:cubicBezTo>
                <a:cubicBezTo>
                  <a:pt x="3514615" y="7224087"/>
                  <a:pt x="3516347" y="7223821"/>
                  <a:pt x="3517811" y="7223155"/>
                </a:cubicBezTo>
                <a:cubicBezTo>
                  <a:pt x="3519276" y="7222622"/>
                  <a:pt x="3520608" y="7221824"/>
                  <a:pt x="3521539" y="7220758"/>
                </a:cubicBezTo>
                <a:cubicBezTo>
                  <a:pt x="3522604" y="7219560"/>
                  <a:pt x="3523536" y="7218229"/>
                  <a:pt x="3524202" y="7216499"/>
                </a:cubicBezTo>
                <a:cubicBezTo>
                  <a:pt x="3524867" y="7214901"/>
                  <a:pt x="3525267" y="7213037"/>
                  <a:pt x="3525267" y="7211040"/>
                </a:cubicBezTo>
                <a:cubicBezTo>
                  <a:pt x="3525267" y="7209177"/>
                  <a:pt x="3524867" y="7207447"/>
                  <a:pt x="3524202" y="7205850"/>
                </a:cubicBezTo>
                <a:cubicBezTo>
                  <a:pt x="3523536" y="7204252"/>
                  <a:pt x="3522604" y="7202921"/>
                  <a:pt x="3521539" y="7201723"/>
                </a:cubicBezTo>
                <a:cubicBezTo>
                  <a:pt x="3520474" y="7200658"/>
                  <a:pt x="3519143" y="7199726"/>
                  <a:pt x="3517546" y="7199060"/>
                </a:cubicBezTo>
                <a:cubicBezTo>
                  <a:pt x="3516082" y="7198395"/>
                  <a:pt x="3514483" y="7198129"/>
                  <a:pt x="3512486" y="7198129"/>
                </a:cubicBezTo>
                <a:close/>
                <a:moveTo>
                  <a:pt x="3294953" y="7198129"/>
                </a:moveTo>
                <a:cubicBezTo>
                  <a:pt x="3289095" y="7198129"/>
                  <a:pt x="3286563" y="7199992"/>
                  <a:pt x="3284966" y="7201723"/>
                </a:cubicBezTo>
                <a:cubicBezTo>
                  <a:pt x="3282436" y="7204385"/>
                  <a:pt x="3281372" y="7207180"/>
                  <a:pt x="3281372" y="7211174"/>
                </a:cubicBezTo>
                <a:cubicBezTo>
                  <a:pt x="3281372" y="7215300"/>
                  <a:pt x="3282436" y="7218096"/>
                  <a:pt x="3284966" y="7220625"/>
                </a:cubicBezTo>
                <a:cubicBezTo>
                  <a:pt x="3286563" y="7222224"/>
                  <a:pt x="3289095" y="7224087"/>
                  <a:pt x="3294953" y="7224087"/>
                </a:cubicBezTo>
                <a:cubicBezTo>
                  <a:pt x="3296951" y="7224087"/>
                  <a:pt x="3298681" y="7223821"/>
                  <a:pt x="3300279" y="7223155"/>
                </a:cubicBezTo>
                <a:cubicBezTo>
                  <a:pt x="3301743" y="7222622"/>
                  <a:pt x="3303075" y="7221824"/>
                  <a:pt x="3304006" y="7220758"/>
                </a:cubicBezTo>
                <a:cubicBezTo>
                  <a:pt x="3305071" y="7219560"/>
                  <a:pt x="3306003" y="7218229"/>
                  <a:pt x="3306669" y="7216499"/>
                </a:cubicBezTo>
                <a:cubicBezTo>
                  <a:pt x="3307334" y="7214901"/>
                  <a:pt x="3307733" y="7213037"/>
                  <a:pt x="3307733" y="7211040"/>
                </a:cubicBezTo>
                <a:cubicBezTo>
                  <a:pt x="3307733" y="7209177"/>
                  <a:pt x="3307334" y="7207447"/>
                  <a:pt x="3306669" y="7205850"/>
                </a:cubicBezTo>
                <a:cubicBezTo>
                  <a:pt x="3306003" y="7204252"/>
                  <a:pt x="3305071" y="7202921"/>
                  <a:pt x="3304006" y="7201723"/>
                </a:cubicBezTo>
                <a:cubicBezTo>
                  <a:pt x="3302941" y="7200658"/>
                  <a:pt x="3301610" y="7199726"/>
                  <a:pt x="3300013" y="7199060"/>
                </a:cubicBezTo>
                <a:cubicBezTo>
                  <a:pt x="3298549" y="7198395"/>
                  <a:pt x="3296951" y="7198129"/>
                  <a:pt x="3294953" y="7198129"/>
                </a:cubicBezTo>
                <a:close/>
                <a:moveTo>
                  <a:pt x="3077421" y="7198129"/>
                </a:moveTo>
                <a:cubicBezTo>
                  <a:pt x="3071563" y="7198129"/>
                  <a:pt x="3069033" y="7199992"/>
                  <a:pt x="3067437" y="7201723"/>
                </a:cubicBezTo>
                <a:cubicBezTo>
                  <a:pt x="3064771" y="7204385"/>
                  <a:pt x="3063706" y="7207180"/>
                  <a:pt x="3063706" y="7211174"/>
                </a:cubicBezTo>
                <a:cubicBezTo>
                  <a:pt x="3063706" y="7215300"/>
                  <a:pt x="3064771" y="7218096"/>
                  <a:pt x="3067303" y="7220625"/>
                </a:cubicBezTo>
                <a:cubicBezTo>
                  <a:pt x="3068900" y="7222224"/>
                  <a:pt x="3071430" y="7224087"/>
                  <a:pt x="3077288" y="7224087"/>
                </a:cubicBezTo>
                <a:cubicBezTo>
                  <a:pt x="3079285" y="7224087"/>
                  <a:pt x="3081016" y="7223821"/>
                  <a:pt x="3082746" y="7223155"/>
                </a:cubicBezTo>
                <a:cubicBezTo>
                  <a:pt x="3084211" y="7222622"/>
                  <a:pt x="3085543" y="7221824"/>
                  <a:pt x="3086474" y="7220758"/>
                </a:cubicBezTo>
                <a:cubicBezTo>
                  <a:pt x="3087538" y="7219560"/>
                  <a:pt x="3088471" y="7218229"/>
                  <a:pt x="3089136" y="7216499"/>
                </a:cubicBezTo>
                <a:cubicBezTo>
                  <a:pt x="3089801" y="7214901"/>
                  <a:pt x="3090069" y="7213037"/>
                  <a:pt x="3090069" y="7211040"/>
                </a:cubicBezTo>
                <a:cubicBezTo>
                  <a:pt x="3090069" y="7209177"/>
                  <a:pt x="3089801" y="7207447"/>
                  <a:pt x="3089136" y="7205850"/>
                </a:cubicBezTo>
                <a:cubicBezTo>
                  <a:pt x="3088471" y="7204252"/>
                  <a:pt x="3087538" y="7202921"/>
                  <a:pt x="3086474" y="7201723"/>
                </a:cubicBezTo>
                <a:cubicBezTo>
                  <a:pt x="3085409" y="7200658"/>
                  <a:pt x="3084077" y="7199726"/>
                  <a:pt x="3082481" y="7199060"/>
                </a:cubicBezTo>
                <a:cubicBezTo>
                  <a:pt x="3081016" y="7198395"/>
                  <a:pt x="3079418" y="7198129"/>
                  <a:pt x="3077421" y="7198129"/>
                </a:cubicBezTo>
                <a:close/>
                <a:moveTo>
                  <a:pt x="2859623" y="7198129"/>
                </a:moveTo>
                <a:cubicBezTo>
                  <a:pt x="2853765" y="7198129"/>
                  <a:pt x="2851236" y="7199992"/>
                  <a:pt x="2849637" y="7201723"/>
                </a:cubicBezTo>
                <a:cubicBezTo>
                  <a:pt x="2847103" y="7204385"/>
                  <a:pt x="2846036" y="7207180"/>
                  <a:pt x="2846036" y="7211174"/>
                </a:cubicBezTo>
                <a:cubicBezTo>
                  <a:pt x="2846036" y="7215300"/>
                  <a:pt x="2847103" y="7218096"/>
                  <a:pt x="2849637" y="7220625"/>
                </a:cubicBezTo>
                <a:cubicBezTo>
                  <a:pt x="2851236" y="7222224"/>
                  <a:pt x="2853765" y="7224087"/>
                  <a:pt x="2859623" y="7224087"/>
                </a:cubicBezTo>
                <a:cubicBezTo>
                  <a:pt x="2861619" y="7224087"/>
                  <a:pt x="2863484" y="7223821"/>
                  <a:pt x="2864948" y="7223155"/>
                </a:cubicBezTo>
                <a:cubicBezTo>
                  <a:pt x="2866546" y="7222622"/>
                  <a:pt x="2867744" y="7221824"/>
                  <a:pt x="2868675" y="7220758"/>
                </a:cubicBezTo>
                <a:cubicBezTo>
                  <a:pt x="2869740" y="7219560"/>
                  <a:pt x="2870672" y="7218229"/>
                  <a:pt x="2871338" y="7216499"/>
                </a:cubicBezTo>
                <a:cubicBezTo>
                  <a:pt x="2871870" y="7214901"/>
                  <a:pt x="2872269" y="7213037"/>
                  <a:pt x="2872269" y="7211040"/>
                </a:cubicBezTo>
                <a:cubicBezTo>
                  <a:pt x="2872269" y="7209177"/>
                  <a:pt x="2872003" y="7207447"/>
                  <a:pt x="2871338" y="7205850"/>
                </a:cubicBezTo>
                <a:cubicBezTo>
                  <a:pt x="2870672" y="7204252"/>
                  <a:pt x="2869740" y="7202921"/>
                  <a:pt x="2868675" y="7201723"/>
                </a:cubicBezTo>
                <a:cubicBezTo>
                  <a:pt x="2867611" y="7200658"/>
                  <a:pt x="2866279" y="7199726"/>
                  <a:pt x="2864682" y="7199060"/>
                </a:cubicBezTo>
                <a:cubicBezTo>
                  <a:pt x="2863218" y="7198395"/>
                  <a:pt x="2861619" y="7198129"/>
                  <a:pt x="2859623" y="7198129"/>
                </a:cubicBezTo>
                <a:close/>
                <a:moveTo>
                  <a:pt x="2641957" y="7198129"/>
                </a:moveTo>
                <a:cubicBezTo>
                  <a:pt x="2636100" y="7198129"/>
                  <a:pt x="2633570" y="7199992"/>
                  <a:pt x="2631974" y="7201723"/>
                </a:cubicBezTo>
                <a:cubicBezTo>
                  <a:pt x="2629443" y="7204385"/>
                  <a:pt x="2628379" y="7207180"/>
                  <a:pt x="2628379" y="7211174"/>
                </a:cubicBezTo>
                <a:cubicBezTo>
                  <a:pt x="2628379" y="7215300"/>
                  <a:pt x="2629443" y="7218096"/>
                  <a:pt x="2631974" y="7220625"/>
                </a:cubicBezTo>
                <a:cubicBezTo>
                  <a:pt x="2633570" y="7222224"/>
                  <a:pt x="2636100" y="7224087"/>
                  <a:pt x="2641957" y="7224087"/>
                </a:cubicBezTo>
                <a:cubicBezTo>
                  <a:pt x="2643954" y="7224087"/>
                  <a:pt x="2645818" y="7223821"/>
                  <a:pt x="2647282" y="7223155"/>
                </a:cubicBezTo>
                <a:cubicBezTo>
                  <a:pt x="2648879" y="7222622"/>
                  <a:pt x="2650077" y="7221824"/>
                  <a:pt x="2651009" y="7220758"/>
                </a:cubicBezTo>
                <a:cubicBezTo>
                  <a:pt x="2652074" y="7219560"/>
                  <a:pt x="2653006" y="7218229"/>
                  <a:pt x="2653672" y="7216499"/>
                </a:cubicBezTo>
                <a:cubicBezTo>
                  <a:pt x="2654204" y="7214901"/>
                  <a:pt x="2654603" y="7213037"/>
                  <a:pt x="2654603" y="7211040"/>
                </a:cubicBezTo>
                <a:cubicBezTo>
                  <a:pt x="2654603" y="7209177"/>
                  <a:pt x="2654337" y="7207447"/>
                  <a:pt x="2653672" y="7205850"/>
                </a:cubicBezTo>
                <a:cubicBezTo>
                  <a:pt x="2653006" y="7204252"/>
                  <a:pt x="2652074" y="7202921"/>
                  <a:pt x="2651009" y="7201723"/>
                </a:cubicBezTo>
                <a:cubicBezTo>
                  <a:pt x="2649944" y="7200658"/>
                  <a:pt x="2648613" y="7199726"/>
                  <a:pt x="2647016" y="7199060"/>
                </a:cubicBezTo>
                <a:cubicBezTo>
                  <a:pt x="2645551" y="7198395"/>
                  <a:pt x="2643954" y="7198129"/>
                  <a:pt x="2641957" y="7198129"/>
                </a:cubicBezTo>
                <a:close/>
                <a:moveTo>
                  <a:pt x="2424291" y="7198129"/>
                </a:moveTo>
                <a:cubicBezTo>
                  <a:pt x="2418434" y="7198129"/>
                  <a:pt x="2415905" y="7199992"/>
                  <a:pt x="2414308" y="7201723"/>
                </a:cubicBezTo>
                <a:cubicBezTo>
                  <a:pt x="2411777" y="7204385"/>
                  <a:pt x="2410714" y="7207180"/>
                  <a:pt x="2410714" y="7211174"/>
                </a:cubicBezTo>
                <a:cubicBezTo>
                  <a:pt x="2410714" y="7215300"/>
                  <a:pt x="2411777" y="7218096"/>
                  <a:pt x="2414308" y="7220625"/>
                </a:cubicBezTo>
                <a:cubicBezTo>
                  <a:pt x="2415905" y="7222224"/>
                  <a:pt x="2418434" y="7224087"/>
                  <a:pt x="2424291" y="7224087"/>
                </a:cubicBezTo>
                <a:cubicBezTo>
                  <a:pt x="2426421" y="7224087"/>
                  <a:pt x="2428152" y="7223821"/>
                  <a:pt x="2429616" y="7223155"/>
                </a:cubicBezTo>
                <a:cubicBezTo>
                  <a:pt x="2431214" y="7222622"/>
                  <a:pt x="2432412" y="7221824"/>
                  <a:pt x="2433343" y="7220758"/>
                </a:cubicBezTo>
                <a:cubicBezTo>
                  <a:pt x="2434408" y="7219560"/>
                  <a:pt x="2435340" y="7218229"/>
                  <a:pt x="2436006" y="7216499"/>
                </a:cubicBezTo>
                <a:cubicBezTo>
                  <a:pt x="2436538" y="7214901"/>
                  <a:pt x="2436937" y="7213037"/>
                  <a:pt x="2436937" y="7211040"/>
                </a:cubicBezTo>
                <a:cubicBezTo>
                  <a:pt x="2436937" y="7209177"/>
                  <a:pt x="2436671" y="7207447"/>
                  <a:pt x="2436006" y="7205850"/>
                </a:cubicBezTo>
                <a:cubicBezTo>
                  <a:pt x="2435340" y="7204252"/>
                  <a:pt x="2434408" y="7202921"/>
                  <a:pt x="2433343" y="7201723"/>
                </a:cubicBezTo>
                <a:cubicBezTo>
                  <a:pt x="2432279" y="7200658"/>
                  <a:pt x="2430948" y="7199726"/>
                  <a:pt x="2429350" y="7199060"/>
                </a:cubicBezTo>
                <a:cubicBezTo>
                  <a:pt x="2427886" y="7198395"/>
                  <a:pt x="2426288" y="7198129"/>
                  <a:pt x="2424291" y="7198129"/>
                </a:cubicBezTo>
                <a:close/>
                <a:moveTo>
                  <a:pt x="2206625" y="7198129"/>
                </a:moveTo>
                <a:cubicBezTo>
                  <a:pt x="2200768" y="7198129"/>
                  <a:pt x="2198239" y="7199992"/>
                  <a:pt x="2196642" y="7201723"/>
                </a:cubicBezTo>
                <a:cubicBezTo>
                  <a:pt x="2194112" y="7204385"/>
                  <a:pt x="2193048" y="7207180"/>
                  <a:pt x="2193048" y="7211174"/>
                </a:cubicBezTo>
                <a:cubicBezTo>
                  <a:pt x="2193048" y="7215300"/>
                  <a:pt x="2194112" y="7218096"/>
                  <a:pt x="2196642" y="7220625"/>
                </a:cubicBezTo>
                <a:cubicBezTo>
                  <a:pt x="2198239" y="7222224"/>
                  <a:pt x="2200768" y="7224087"/>
                  <a:pt x="2206625" y="7224087"/>
                </a:cubicBezTo>
                <a:cubicBezTo>
                  <a:pt x="2208755" y="7224087"/>
                  <a:pt x="2210486" y="7223821"/>
                  <a:pt x="2211950" y="7223155"/>
                </a:cubicBezTo>
                <a:cubicBezTo>
                  <a:pt x="2213548" y="7222622"/>
                  <a:pt x="2214746" y="7221824"/>
                  <a:pt x="2215677" y="7220758"/>
                </a:cubicBezTo>
                <a:cubicBezTo>
                  <a:pt x="2216742" y="7219560"/>
                  <a:pt x="2217674" y="7218229"/>
                  <a:pt x="2218340" y="7216499"/>
                </a:cubicBezTo>
                <a:cubicBezTo>
                  <a:pt x="2218873" y="7214901"/>
                  <a:pt x="2219272" y="7213037"/>
                  <a:pt x="2219272" y="7211040"/>
                </a:cubicBezTo>
                <a:cubicBezTo>
                  <a:pt x="2219272" y="7209177"/>
                  <a:pt x="2219005" y="7207447"/>
                  <a:pt x="2218340" y="7205850"/>
                </a:cubicBezTo>
                <a:cubicBezTo>
                  <a:pt x="2217674" y="7204252"/>
                  <a:pt x="2216742" y="7202921"/>
                  <a:pt x="2215677" y="7201723"/>
                </a:cubicBezTo>
                <a:cubicBezTo>
                  <a:pt x="2214612" y="7200658"/>
                  <a:pt x="2213282" y="7199726"/>
                  <a:pt x="2211684" y="7199060"/>
                </a:cubicBezTo>
                <a:cubicBezTo>
                  <a:pt x="2210220" y="7198395"/>
                  <a:pt x="2208622" y="7198129"/>
                  <a:pt x="2206625" y="7198129"/>
                </a:cubicBezTo>
                <a:close/>
                <a:moveTo>
                  <a:pt x="1989092" y="7198129"/>
                </a:moveTo>
                <a:cubicBezTo>
                  <a:pt x="1983235" y="7198129"/>
                  <a:pt x="1980706" y="7199992"/>
                  <a:pt x="1979109" y="7201723"/>
                </a:cubicBezTo>
                <a:cubicBezTo>
                  <a:pt x="1976579" y="7204385"/>
                  <a:pt x="1975515" y="7207180"/>
                  <a:pt x="1975515" y="7211174"/>
                </a:cubicBezTo>
                <a:cubicBezTo>
                  <a:pt x="1975515" y="7215300"/>
                  <a:pt x="1976579" y="7218096"/>
                  <a:pt x="1979109" y="7220625"/>
                </a:cubicBezTo>
                <a:cubicBezTo>
                  <a:pt x="1980706" y="7222224"/>
                  <a:pt x="1983235" y="7224087"/>
                  <a:pt x="1989092" y="7224087"/>
                </a:cubicBezTo>
                <a:cubicBezTo>
                  <a:pt x="1991089" y="7224087"/>
                  <a:pt x="1992821" y="7223821"/>
                  <a:pt x="1994417" y="7223155"/>
                </a:cubicBezTo>
                <a:cubicBezTo>
                  <a:pt x="1996015" y="7222622"/>
                  <a:pt x="1997214" y="7221824"/>
                  <a:pt x="1998145" y="7220758"/>
                </a:cubicBezTo>
                <a:cubicBezTo>
                  <a:pt x="1999209" y="7219560"/>
                  <a:pt x="2000142" y="7218229"/>
                  <a:pt x="2000808" y="7216499"/>
                </a:cubicBezTo>
                <a:cubicBezTo>
                  <a:pt x="2001339" y="7214901"/>
                  <a:pt x="2001738" y="7213037"/>
                  <a:pt x="2001738" y="7211040"/>
                </a:cubicBezTo>
                <a:cubicBezTo>
                  <a:pt x="2001738" y="7209177"/>
                  <a:pt x="2001473" y="7207447"/>
                  <a:pt x="2000808" y="7205850"/>
                </a:cubicBezTo>
                <a:cubicBezTo>
                  <a:pt x="2000142" y="7204252"/>
                  <a:pt x="1999209" y="7202921"/>
                  <a:pt x="1998145" y="7201723"/>
                </a:cubicBezTo>
                <a:cubicBezTo>
                  <a:pt x="1997080" y="7200658"/>
                  <a:pt x="1995749" y="7199726"/>
                  <a:pt x="1994151" y="7199060"/>
                </a:cubicBezTo>
                <a:cubicBezTo>
                  <a:pt x="1992687" y="7198395"/>
                  <a:pt x="1991089" y="7198129"/>
                  <a:pt x="1989092" y="7198129"/>
                </a:cubicBezTo>
                <a:close/>
                <a:moveTo>
                  <a:pt x="1771462" y="7198129"/>
                </a:moveTo>
                <a:cubicBezTo>
                  <a:pt x="1765605" y="7198129"/>
                  <a:pt x="1763077" y="7199992"/>
                  <a:pt x="1761480" y="7201723"/>
                </a:cubicBezTo>
                <a:cubicBezTo>
                  <a:pt x="1758952" y="7204385"/>
                  <a:pt x="1757887" y="7207180"/>
                  <a:pt x="1757887" y="7211174"/>
                </a:cubicBezTo>
                <a:cubicBezTo>
                  <a:pt x="1757887" y="7215300"/>
                  <a:pt x="1758952" y="7218096"/>
                  <a:pt x="1761480" y="7220625"/>
                </a:cubicBezTo>
                <a:cubicBezTo>
                  <a:pt x="1763077" y="7222224"/>
                  <a:pt x="1765605" y="7224087"/>
                  <a:pt x="1771462" y="7224087"/>
                </a:cubicBezTo>
                <a:cubicBezTo>
                  <a:pt x="1773459" y="7224087"/>
                  <a:pt x="1775323" y="7223821"/>
                  <a:pt x="1776787" y="7223155"/>
                </a:cubicBezTo>
                <a:cubicBezTo>
                  <a:pt x="1778251" y="7222622"/>
                  <a:pt x="1779580" y="7221824"/>
                  <a:pt x="1780512" y="7220758"/>
                </a:cubicBezTo>
                <a:cubicBezTo>
                  <a:pt x="1781578" y="7219560"/>
                  <a:pt x="1782509" y="7218229"/>
                  <a:pt x="1783175" y="7216499"/>
                </a:cubicBezTo>
                <a:cubicBezTo>
                  <a:pt x="1783840" y="7214901"/>
                  <a:pt x="1784240" y="7213037"/>
                  <a:pt x="1784240" y="7211040"/>
                </a:cubicBezTo>
                <a:cubicBezTo>
                  <a:pt x="1784240" y="7209177"/>
                  <a:pt x="1783840" y="7207447"/>
                  <a:pt x="1783175" y="7205850"/>
                </a:cubicBezTo>
                <a:cubicBezTo>
                  <a:pt x="1782509" y="7204252"/>
                  <a:pt x="1781578" y="7202921"/>
                  <a:pt x="1780512" y="7201723"/>
                </a:cubicBezTo>
                <a:cubicBezTo>
                  <a:pt x="1779448" y="7200658"/>
                  <a:pt x="1778118" y="7199726"/>
                  <a:pt x="1776521" y="7199060"/>
                </a:cubicBezTo>
                <a:cubicBezTo>
                  <a:pt x="1775056" y="7198395"/>
                  <a:pt x="1773459" y="7198129"/>
                  <a:pt x="1771462" y="7198129"/>
                </a:cubicBezTo>
                <a:close/>
                <a:moveTo>
                  <a:pt x="1553827" y="7198129"/>
                </a:moveTo>
                <a:cubicBezTo>
                  <a:pt x="1547970" y="7198129"/>
                  <a:pt x="1545441" y="7199992"/>
                  <a:pt x="1543845" y="7201723"/>
                </a:cubicBezTo>
                <a:cubicBezTo>
                  <a:pt x="1541315" y="7204385"/>
                  <a:pt x="1540250" y="7207180"/>
                  <a:pt x="1540250" y="7211174"/>
                </a:cubicBezTo>
                <a:cubicBezTo>
                  <a:pt x="1540250" y="7215300"/>
                  <a:pt x="1541315" y="7218096"/>
                  <a:pt x="1543845" y="7220625"/>
                </a:cubicBezTo>
                <a:cubicBezTo>
                  <a:pt x="1545441" y="7222224"/>
                  <a:pt x="1547970" y="7224087"/>
                  <a:pt x="1553827" y="7224087"/>
                </a:cubicBezTo>
                <a:cubicBezTo>
                  <a:pt x="1555824" y="7224087"/>
                  <a:pt x="1557688" y="7223821"/>
                  <a:pt x="1559152" y="7223155"/>
                </a:cubicBezTo>
                <a:cubicBezTo>
                  <a:pt x="1560616" y="7222622"/>
                  <a:pt x="1561948" y="7221824"/>
                  <a:pt x="1562879" y="7220758"/>
                </a:cubicBezTo>
                <a:cubicBezTo>
                  <a:pt x="1563944" y="7219560"/>
                  <a:pt x="1564876" y="7218229"/>
                  <a:pt x="1565542" y="7216499"/>
                </a:cubicBezTo>
                <a:cubicBezTo>
                  <a:pt x="1566207" y="7214901"/>
                  <a:pt x="1566607" y="7213037"/>
                  <a:pt x="1566607" y="7211040"/>
                </a:cubicBezTo>
                <a:cubicBezTo>
                  <a:pt x="1566607" y="7209177"/>
                  <a:pt x="1566207" y="7207447"/>
                  <a:pt x="1565542" y="7205850"/>
                </a:cubicBezTo>
                <a:cubicBezTo>
                  <a:pt x="1564876" y="7204252"/>
                  <a:pt x="1563944" y="7202921"/>
                  <a:pt x="1562879" y="7201723"/>
                </a:cubicBezTo>
                <a:cubicBezTo>
                  <a:pt x="1561814" y="7200658"/>
                  <a:pt x="1560483" y="7199726"/>
                  <a:pt x="1558886" y="7199060"/>
                </a:cubicBezTo>
                <a:cubicBezTo>
                  <a:pt x="1557422" y="7198395"/>
                  <a:pt x="1555824" y="7198129"/>
                  <a:pt x="1553827" y="7198129"/>
                </a:cubicBezTo>
                <a:close/>
                <a:moveTo>
                  <a:pt x="1336184" y="7198129"/>
                </a:moveTo>
                <a:cubicBezTo>
                  <a:pt x="1330326" y="7198129"/>
                  <a:pt x="1327797" y="7199992"/>
                  <a:pt x="1326200" y="7201723"/>
                </a:cubicBezTo>
                <a:cubicBezTo>
                  <a:pt x="1323670" y="7204385"/>
                  <a:pt x="1322606" y="7207180"/>
                  <a:pt x="1322606" y="7211174"/>
                </a:cubicBezTo>
                <a:cubicBezTo>
                  <a:pt x="1322606" y="7215300"/>
                  <a:pt x="1323670" y="7218096"/>
                  <a:pt x="1326200" y="7220625"/>
                </a:cubicBezTo>
                <a:cubicBezTo>
                  <a:pt x="1327797" y="7222224"/>
                  <a:pt x="1330326" y="7224087"/>
                  <a:pt x="1336184" y="7224087"/>
                </a:cubicBezTo>
                <a:cubicBezTo>
                  <a:pt x="1338314" y="7224087"/>
                  <a:pt x="1340044" y="7223821"/>
                  <a:pt x="1341511" y="7223155"/>
                </a:cubicBezTo>
                <a:cubicBezTo>
                  <a:pt x="1342974" y="7222622"/>
                  <a:pt x="1344306" y="7221824"/>
                  <a:pt x="1345238" y="7220758"/>
                </a:cubicBezTo>
                <a:cubicBezTo>
                  <a:pt x="1346302" y="7219560"/>
                  <a:pt x="1347235" y="7218229"/>
                  <a:pt x="1347900" y="7216499"/>
                </a:cubicBezTo>
                <a:cubicBezTo>
                  <a:pt x="1348566" y="7214901"/>
                  <a:pt x="1348966" y="7213037"/>
                  <a:pt x="1348966" y="7211040"/>
                </a:cubicBezTo>
                <a:cubicBezTo>
                  <a:pt x="1348966" y="7209177"/>
                  <a:pt x="1348566" y="7207447"/>
                  <a:pt x="1347900" y="7205850"/>
                </a:cubicBezTo>
                <a:cubicBezTo>
                  <a:pt x="1347235" y="7204252"/>
                  <a:pt x="1346302" y="7202921"/>
                  <a:pt x="1345238" y="7201723"/>
                </a:cubicBezTo>
                <a:cubicBezTo>
                  <a:pt x="1344173" y="7200658"/>
                  <a:pt x="1342842" y="7199726"/>
                  <a:pt x="1341243" y="7199060"/>
                </a:cubicBezTo>
                <a:cubicBezTo>
                  <a:pt x="1339780" y="7198395"/>
                  <a:pt x="1338180" y="7198129"/>
                  <a:pt x="1336184" y="7198129"/>
                </a:cubicBezTo>
                <a:close/>
                <a:moveTo>
                  <a:pt x="1118672" y="7198129"/>
                </a:moveTo>
                <a:cubicBezTo>
                  <a:pt x="1112813" y="7198129"/>
                  <a:pt x="1110283" y="7199992"/>
                  <a:pt x="1108686" y="7201723"/>
                </a:cubicBezTo>
                <a:cubicBezTo>
                  <a:pt x="1106023" y="7204385"/>
                  <a:pt x="1104959" y="7207180"/>
                  <a:pt x="1104959" y="7211174"/>
                </a:cubicBezTo>
                <a:cubicBezTo>
                  <a:pt x="1104959" y="7215300"/>
                  <a:pt x="1106023" y="7218096"/>
                  <a:pt x="1108553" y="7220625"/>
                </a:cubicBezTo>
                <a:cubicBezTo>
                  <a:pt x="1110150" y="7222224"/>
                  <a:pt x="1112680" y="7224087"/>
                  <a:pt x="1118539" y="7224087"/>
                </a:cubicBezTo>
                <a:cubicBezTo>
                  <a:pt x="1120669" y="7224087"/>
                  <a:pt x="1122400" y="7223821"/>
                  <a:pt x="1123995" y="7223155"/>
                </a:cubicBezTo>
                <a:cubicBezTo>
                  <a:pt x="1125461" y="7222622"/>
                  <a:pt x="1126797" y="7221824"/>
                  <a:pt x="1127727" y="7220758"/>
                </a:cubicBezTo>
                <a:cubicBezTo>
                  <a:pt x="1128792" y="7219560"/>
                  <a:pt x="1129724" y="7218229"/>
                  <a:pt x="1130391" y="7216499"/>
                </a:cubicBezTo>
                <a:cubicBezTo>
                  <a:pt x="1131055" y="7214901"/>
                  <a:pt x="1131456" y="7213037"/>
                  <a:pt x="1131456" y="7211040"/>
                </a:cubicBezTo>
                <a:cubicBezTo>
                  <a:pt x="1131456" y="7209177"/>
                  <a:pt x="1131055" y="7207447"/>
                  <a:pt x="1130391" y="7205850"/>
                </a:cubicBezTo>
                <a:cubicBezTo>
                  <a:pt x="1129724" y="7204252"/>
                  <a:pt x="1128792" y="7202921"/>
                  <a:pt x="1127727" y="7201723"/>
                </a:cubicBezTo>
                <a:cubicBezTo>
                  <a:pt x="1126662" y="7200658"/>
                  <a:pt x="1125329" y="7199726"/>
                  <a:pt x="1123731" y="7199060"/>
                </a:cubicBezTo>
                <a:cubicBezTo>
                  <a:pt x="1122268" y="7198395"/>
                  <a:pt x="1120669" y="7198129"/>
                  <a:pt x="1118672" y="7198129"/>
                </a:cubicBezTo>
                <a:close/>
                <a:moveTo>
                  <a:pt x="901159" y="7198129"/>
                </a:moveTo>
                <a:cubicBezTo>
                  <a:pt x="895301" y="7198129"/>
                  <a:pt x="892772" y="7199992"/>
                  <a:pt x="891175" y="7201723"/>
                </a:cubicBezTo>
                <a:cubicBezTo>
                  <a:pt x="888512" y="7204385"/>
                  <a:pt x="887448" y="7207180"/>
                  <a:pt x="887448" y="7211174"/>
                </a:cubicBezTo>
                <a:cubicBezTo>
                  <a:pt x="887448" y="7215300"/>
                  <a:pt x="888512" y="7218096"/>
                  <a:pt x="891042" y="7220625"/>
                </a:cubicBezTo>
                <a:cubicBezTo>
                  <a:pt x="892640" y="7222224"/>
                  <a:pt x="895168" y="7224087"/>
                  <a:pt x="901025" y="7224087"/>
                </a:cubicBezTo>
                <a:cubicBezTo>
                  <a:pt x="903022" y="7224087"/>
                  <a:pt x="904753" y="7223821"/>
                  <a:pt x="906484" y="7223155"/>
                </a:cubicBezTo>
                <a:cubicBezTo>
                  <a:pt x="907948" y="7222622"/>
                  <a:pt x="909280" y="7221824"/>
                  <a:pt x="910212" y="7220758"/>
                </a:cubicBezTo>
                <a:cubicBezTo>
                  <a:pt x="911276" y="7219560"/>
                  <a:pt x="912208" y="7218229"/>
                  <a:pt x="912874" y="7216499"/>
                </a:cubicBezTo>
                <a:cubicBezTo>
                  <a:pt x="913539" y="7214901"/>
                  <a:pt x="913939" y="7213037"/>
                  <a:pt x="913939" y="7211040"/>
                </a:cubicBezTo>
                <a:cubicBezTo>
                  <a:pt x="913939" y="7209177"/>
                  <a:pt x="913539" y="7207447"/>
                  <a:pt x="912874" y="7205850"/>
                </a:cubicBezTo>
                <a:cubicBezTo>
                  <a:pt x="912208" y="7204252"/>
                  <a:pt x="911276" y="7202921"/>
                  <a:pt x="910212" y="7201723"/>
                </a:cubicBezTo>
                <a:cubicBezTo>
                  <a:pt x="909147" y="7200658"/>
                  <a:pt x="907815" y="7199726"/>
                  <a:pt x="906217" y="7199060"/>
                </a:cubicBezTo>
                <a:cubicBezTo>
                  <a:pt x="904753" y="7198395"/>
                  <a:pt x="903155" y="7198129"/>
                  <a:pt x="901159" y="7198129"/>
                </a:cubicBezTo>
                <a:close/>
                <a:moveTo>
                  <a:pt x="683387" y="7198129"/>
                </a:moveTo>
                <a:cubicBezTo>
                  <a:pt x="677530" y="7198129"/>
                  <a:pt x="675000" y="7199992"/>
                  <a:pt x="673403" y="7201723"/>
                </a:cubicBezTo>
                <a:cubicBezTo>
                  <a:pt x="670873" y="7204385"/>
                  <a:pt x="669810" y="7207180"/>
                  <a:pt x="669810" y="7211174"/>
                </a:cubicBezTo>
                <a:cubicBezTo>
                  <a:pt x="669810" y="7215300"/>
                  <a:pt x="670873" y="7218096"/>
                  <a:pt x="673403" y="7220625"/>
                </a:cubicBezTo>
                <a:cubicBezTo>
                  <a:pt x="675000" y="7222224"/>
                  <a:pt x="677530" y="7224087"/>
                  <a:pt x="683387" y="7224087"/>
                </a:cubicBezTo>
                <a:cubicBezTo>
                  <a:pt x="685384" y="7224087"/>
                  <a:pt x="687248" y="7223821"/>
                  <a:pt x="688712" y="7223155"/>
                </a:cubicBezTo>
                <a:cubicBezTo>
                  <a:pt x="690176" y="7222622"/>
                  <a:pt x="691508" y="7221824"/>
                  <a:pt x="692439" y="7220758"/>
                </a:cubicBezTo>
                <a:cubicBezTo>
                  <a:pt x="693504" y="7219560"/>
                  <a:pt x="694436" y="7218229"/>
                  <a:pt x="695102" y="7216499"/>
                </a:cubicBezTo>
                <a:cubicBezTo>
                  <a:pt x="695767" y="7214901"/>
                  <a:pt x="696167" y="7213037"/>
                  <a:pt x="696167" y="7211040"/>
                </a:cubicBezTo>
                <a:cubicBezTo>
                  <a:pt x="696167" y="7209177"/>
                  <a:pt x="695767" y="7207447"/>
                  <a:pt x="695102" y="7205850"/>
                </a:cubicBezTo>
                <a:cubicBezTo>
                  <a:pt x="694436" y="7204252"/>
                  <a:pt x="693504" y="7202921"/>
                  <a:pt x="692439" y="7201723"/>
                </a:cubicBezTo>
                <a:cubicBezTo>
                  <a:pt x="691374" y="7200658"/>
                  <a:pt x="690043" y="7199726"/>
                  <a:pt x="688446" y="7199060"/>
                </a:cubicBezTo>
                <a:cubicBezTo>
                  <a:pt x="686982" y="7198395"/>
                  <a:pt x="685384" y="7198129"/>
                  <a:pt x="683387" y="7198129"/>
                </a:cubicBezTo>
                <a:close/>
                <a:moveTo>
                  <a:pt x="465746" y="7198129"/>
                </a:moveTo>
                <a:cubicBezTo>
                  <a:pt x="459889" y="7198129"/>
                  <a:pt x="457360" y="7199992"/>
                  <a:pt x="455763" y="7201723"/>
                </a:cubicBezTo>
                <a:cubicBezTo>
                  <a:pt x="453233" y="7204385"/>
                  <a:pt x="452169" y="7207180"/>
                  <a:pt x="452169" y="7211174"/>
                </a:cubicBezTo>
                <a:cubicBezTo>
                  <a:pt x="452169" y="7215300"/>
                  <a:pt x="453233" y="7218096"/>
                  <a:pt x="455763" y="7220625"/>
                </a:cubicBezTo>
                <a:cubicBezTo>
                  <a:pt x="457360" y="7222224"/>
                  <a:pt x="459889" y="7224087"/>
                  <a:pt x="465746" y="7224087"/>
                </a:cubicBezTo>
                <a:cubicBezTo>
                  <a:pt x="467744" y="7224087"/>
                  <a:pt x="469607" y="7223821"/>
                  <a:pt x="471072" y="7223155"/>
                </a:cubicBezTo>
                <a:cubicBezTo>
                  <a:pt x="472536" y="7222622"/>
                  <a:pt x="473867" y="7221824"/>
                  <a:pt x="474799" y="7220758"/>
                </a:cubicBezTo>
                <a:cubicBezTo>
                  <a:pt x="475863" y="7219560"/>
                  <a:pt x="476795" y="7218229"/>
                  <a:pt x="477462" y="7216499"/>
                </a:cubicBezTo>
                <a:cubicBezTo>
                  <a:pt x="478127" y="7214901"/>
                  <a:pt x="478527" y="7213037"/>
                  <a:pt x="478527" y="7211040"/>
                </a:cubicBezTo>
                <a:cubicBezTo>
                  <a:pt x="478527" y="7209177"/>
                  <a:pt x="478127" y="7207447"/>
                  <a:pt x="477462" y="7205850"/>
                </a:cubicBezTo>
                <a:cubicBezTo>
                  <a:pt x="476795" y="7204252"/>
                  <a:pt x="475863" y="7202921"/>
                  <a:pt x="474799" y="7201723"/>
                </a:cubicBezTo>
                <a:cubicBezTo>
                  <a:pt x="473734" y="7200658"/>
                  <a:pt x="472402" y="7199726"/>
                  <a:pt x="470806" y="7199060"/>
                </a:cubicBezTo>
                <a:cubicBezTo>
                  <a:pt x="469341" y="7198395"/>
                  <a:pt x="467744" y="7198129"/>
                  <a:pt x="465746" y="7198129"/>
                </a:cubicBezTo>
                <a:close/>
                <a:moveTo>
                  <a:pt x="248106" y="7198129"/>
                </a:moveTo>
                <a:cubicBezTo>
                  <a:pt x="242249" y="7198129"/>
                  <a:pt x="239721" y="7199992"/>
                  <a:pt x="238124" y="7201723"/>
                </a:cubicBezTo>
                <a:cubicBezTo>
                  <a:pt x="235594" y="7204385"/>
                  <a:pt x="234530" y="7207180"/>
                  <a:pt x="234530" y="7211174"/>
                </a:cubicBezTo>
                <a:cubicBezTo>
                  <a:pt x="234530" y="7215300"/>
                  <a:pt x="235594" y="7218096"/>
                  <a:pt x="238124" y="7220625"/>
                </a:cubicBezTo>
                <a:cubicBezTo>
                  <a:pt x="239721" y="7222224"/>
                  <a:pt x="242249" y="7224087"/>
                  <a:pt x="248106" y="7224087"/>
                </a:cubicBezTo>
                <a:cubicBezTo>
                  <a:pt x="250236" y="7224087"/>
                  <a:pt x="251966" y="7223821"/>
                  <a:pt x="253430" y="7223155"/>
                </a:cubicBezTo>
                <a:cubicBezTo>
                  <a:pt x="254894" y="7222622"/>
                  <a:pt x="256225" y="7221824"/>
                  <a:pt x="257157" y="7220758"/>
                </a:cubicBezTo>
                <a:cubicBezTo>
                  <a:pt x="258222" y="7219560"/>
                  <a:pt x="259154" y="7218229"/>
                  <a:pt x="259820" y="7216499"/>
                </a:cubicBezTo>
                <a:cubicBezTo>
                  <a:pt x="260485" y="7214901"/>
                  <a:pt x="260885" y="7213037"/>
                  <a:pt x="260885" y="7211040"/>
                </a:cubicBezTo>
                <a:cubicBezTo>
                  <a:pt x="260885" y="7209177"/>
                  <a:pt x="260485" y="7207447"/>
                  <a:pt x="259820" y="7205850"/>
                </a:cubicBezTo>
                <a:cubicBezTo>
                  <a:pt x="259154" y="7204252"/>
                  <a:pt x="258222" y="7202921"/>
                  <a:pt x="257157" y="7201723"/>
                </a:cubicBezTo>
                <a:cubicBezTo>
                  <a:pt x="256092" y="7200658"/>
                  <a:pt x="254761" y="7199726"/>
                  <a:pt x="253164" y="7199060"/>
                </a:cubicBezTo>
                <a:cubicBezTo>
                  <a:pt x="251699" y="7198395"/>
                  <a:pt x="250103" y="7198129"/>
                  <a:pt x="248106" y="7198129"/>
                </a:cubicBezTo>
                <a:close/>
                <a:moveTo>
                  <a:pt x="30465" y="7198129"/>
                </a:moveTo>
                <a:cubicBezTo>
                  <a:pt x="24608" y="7198129"/>
                  <a:pt x="22079" y="7199992"/>
                  <a:pt x="20482" y="7201723"/>
                </a:cubicBezTo>
                <a:cubicBezTo>
                  <a:pt x="17952" y="7204385"/>
                  <a:pt x="16889" y="7207180"/>
                  <a:pt x="16889" y="7211174"/>
                </a:cubicBezTo>
                <a:cubicBezTo>
                  <a:pt x="16889" y="7215300"/>
                  <a:pt x="17952" y="7218096"/>
                  <a:pt x="20482" y="7220625"/>
                </a:cubicBezTo>
                <a:cubicBezTo>
                  <a:pt x="22079" y="7222224"/>
                  <a:pt x="24608" y="7224087"/>
                  <a:pt x="30465" y="7224087"/>
                </a:cubicBezTo>
                <a:cubicBezTo>
                  <a:pt x="32595" y="7224087"/>
                  <a:pt x="34326" y="7223821"/>
                  <a:pt x="35790" y="7223155"/>
                </a:cubicBezTo>
                <a:cubicBezTo>
                  <a:pt x="37254" y="7222622"/>
                  <a:pt x="38586" y="7221824"/>
                  <a:pt x="39517" y="7220758"/>
                </a:cubicBezTo>
                <a:cubicBezTo>
                  <a:pt x="40582" y="7219560"/>
                  <a:pt x="41514" y="7218229"/>
                  <a:pt x="42180" y="7216499"/>
                </a:cubicBezTo>
                <a:cubicBezTo>
                  <a:pt x="42845" y="7214901"/>
                  <a:pt x="43111" y="7213037"/>
                  <a:pt x="43111" y="7211040"/>
                </a:cubicBezTo>
                <a:cubicBezTo>
                  <a:pt x="43111" y="7209177"/>
                  <a:pt x="42845" y="7207447"/>
                  <a:pt x="42180" y="7205850"/>
                </a:cubicBezTo>
                <a:cubicBezTo>
                  <a:pt x="41514" y="7204252"/>
                  <a:pt x="40582" y="7202921"/>
                  <a:pt x="39517" y="7201723"/>
                </a:cubicBezTo>
                <a:cubicBezTo>
                  <a:pt x="38452" y="7200658"/>
                  <a:pt x="37121" y="7199726"/>
                  <a:pt x="35524" y="7199060"/>
                </a:cubicBezTo>
                <a:cubicBezTo>
                  <a:pt x="34060" y="7198395"/>
                  <a:pt x="32462" y="7198129"/>
                  <a:pt x="30465" y="7198129"/>
                </a:cubicBezTo>
                <a:close/>
                <a:moveTo>
                  <a:pt x="10475977" y="7181489"/>
                </a:moveTo>
                <a:cubicBezTo>
                  <a:pt x="10480237" y="7181489"/>
                  <a:pt x="10484230" y="7182288"/>
                  <a:pt x="10487824" y="7183752"/>
                </a:cubicBezTo>
                <a:cubicBezTo>
                  <a:pt x="10491419" y="7185349"/>
                  <a:pt x="10494613" y="7187479"/>
                  <a:pt x="10497143" y="7190141"/>
                </a:cubicBezTo>
                <a:cubicBezTo>
                  <a:pt x="10499672" y="7192670"/>
                  <a:pt x="10501801" y="7195866"/>
                  <a:pt x="10503266" y="7199459"/>
                </a:cubicBezTo>
                <a:cubicBezTo>
                  <a:pt x="10504730" y="7203054"/>
                  <a:pt x="10505529" y="7206914"/>
                  <a:pt x="10505529" y="7210908"/>
                </a:cubicBezTo>
                <a:cubicBezTo>
                  <a:pt x="10505529" y="7215035"/>
                  <a:pt x="10504730" y="7219028"/>
                  <a:pt x="10503266" y="7222622"/>
                </a:cubicBezTo>
                <a:cubicBezTo>
                  <a:pt x="10501669" y="7226350"/>
                  <a:pt x="10499672" y="7229412"/>
                  <a:pt x="10497143" y="7232074"/>
                </a:cubicBezTo>
                <a:cubicBezTo>
                  <a:pt x="10494480" y="7234737"/>
                  <a:pt x="10491419" y="7236866"/>
                  <a:pt x="10487824" y="7238331"/>
                </a:cubicBezTo>
                <a:cubicBezTo>
                  <a:pt x="10484098" y="7239795"/>
                  <a:pt x="10480237" y="7240594"/>
                  <a:pt x="10475977" y="7240594"/>
                </a:cubicBezTo>
                <a:cubicBezTo>
                  <a:pt x="10466924" y="7240594"/>
                  <a:pt x="10459736" y="7237798"/>
                  <a:pt x="10454145" y="7232207"/>
                </a:cubicBezTo>
                <a:cubicBezTo>
                  <a:pt x="10448554" y="7226617"/>
                  <a:pt x="10445759" y="7219560"/>
                  <a:pt x="10445759" y="7211040"/>
                </a:cubicBezTo>
                <a:cubicBezTo>
                  <a:pt x="10445759" y="7202787"/>
                  <a:pt x="10448554" y="7195733"/>
                  <a:pt x="10454145" y="7190009"/>
                </a:cubicBezTo>
                <a:cubicBezTo>
                  <a:pt x="10459603" y="7184285"/>
                  <a:pt x="10466924" y="7181489"/>
                  <a:pt x="10475977" y="7181489"/>
                </a:cubicBezTo>
                <a:close/>
                <a:moveTo>
                  <a:pt x="10258466" y="7181489"/>
                </a:moveTo>
                <a:cubicBezTo>
                  <a:pt x="10262592" y="7181489"/>
                  <a:pt x="10266586" y="7182288"/>
                  <a:pt x="10270313" y="7183752"/>
                </a:cubicBezTo>
                <a:cubicBezTo>
                  <a:pt x="10273907" y="7185349"/>
                  <a:pt x="10277101" y="7187479"/>
                  <a:pt x="10279631" y="7190141"/>
                </a:cubicBezTo>
                <a:cubicBezTo>
                  <a:pt x="10282160" y="7192670"/>
                  <a:pt x="10284290" y="7195866"/>
                  <a:pt x="10285754" y="7199459"/>
                </a:cubicBezTo>
                <a:cubicBezTo>
                  <a:pt x="10287218" y="7203054"/>
                  <a:pt x="10288017" y="7206914"/>
                  <a:pt x="10288017" y="7210908"/>
                </a:cubicBezTo>
                <a:cubicBezTo>
                  <a:pt x="10288017" y="7215035"/>
                  <a:pt x="10287218" y="7219028"/>
                  <a:pt x="10285754" y="7222622"/>
                </a:cubicBezTo>
                <a:cubicBezTo>
                  <a:pt x="10284157" y="7226350"/>
                  <a:pt x="10282160" y="7229412"/>
                  <a:pt x="10279631" y="7232074"/>
                </a:cubicBezTo>
                <a:cubicBezTo>
                  <a:pt x="10276969" y="7234737"/>
                  <a:pt x="10273907" y="7236866"/>
                  <a:pt x="10270313" y="7238331"/>
                </a:cubicBezTo>
                <a:cubicBezTo>
                  <a:pt x="10266586" y="7239795"/>
                  <a:pt x="10262725" y="7240594"/>
                  <a:pt x="10258466" y="7240594"/>
                </a:cubicBezTo>
                <a:cubicBezTo>
                  <a:pt x="10249546" y="7240594"/>
                  <a:pt x="10242224" y="7237798"/>
                  <a:pt x="10236633" y="7232207"/>
                </a:cubicBezTo>
                <a:cubicBezTo>
                  <a:pt x="10231043" y="7226617"/>
                  <a:pt x="10228247" y="7219560"/>
                  <a:pt x="10228247" y="7211040"/>
                </a:cubicBezTo>
                <a:cubicBezTo>
                  <a:pt x="10228247" y="7202787"/>
                  <a:pt x="10231043" y="7195733"/>
                  <a:pt x="10236633" y="7190009"/>
                </a:cubicBezTo>
                <a:cubicBezTo>
                  <a:pt x="10242092" y="7184285"/>
                  <a:pt x="10249413" y="7181489"/>
                  <a:pt x="10258466" y="7181489"/>
                </a:cubicBezTo>
                <a:close/>
                <a:moveTo>
                  <a:pt x="10040820" y="7181489"/>
                </a:moveTo>
                <a:cubicBezTo>
                  <a:pt x="10045080" y="7181489"/>
                  <a:pt x="10048941" y="7182288"/>
                  <a:pt x="10052534" y="7183752"/>
                </a:cubicBezTo>
                <a:cubicBezTo>
                  <a:pt x="10056129" y="7185349"/>
                  <a:pt x="10059323" y="7187479"/>
                  <a:pt x="10061852" y="7190141"/>
                </a:cubicBezTo>
                <a:cubicBezTo>
                  <a:pt x="10064382" y="7192670"/>
                  <a:pt x="10066512" y="7195866"/>
                  <a:pt x="10067976" y="7199459"/>
                </a:cubicBezTo>
                <a:cubicBezTo>
                  <a:pt x="10069440" y="7203054"/>
                  <a:pt x="10070239" y="7206914"/>
                  <a:pt x="10070239" y="7210908"/>
                </a:cubicBezTo>
                <a:cubicBezTo>
                  <a:pt x="10070239" y="7215035"/>
                  <a:pt x="10069440" y="7219028"/>
                  <a:pt x="10067976" y="7222622"/>
                </a:cubicBezTo>
                <a:cubicBezTo>
                  <a:pt x="10066379" y="7226350"/>
                  <a:pt x="10064382" y="7229412"/>
                  <a:pt x="10061852" y="7232074"/>
                </a:cubicBezTo>
                <a:cubicBezTo>
                  <a:pt x="10059190" y="7234737"/>
                  <a:pt x="10056129" y="7236866"/>
                  <a:pt x="10052534" y="7238331"/>
                </a:cubicBezTo>
                <a:cubicBezTo>
                  <a:pt x="10048941" y="7239795"/>
                  <a:pt x="10045080" y="7240594"/>
                  <a:pt x="10040820" y="7240594"/>
                </a:cubicBezTo>
                <a:cubicBezTo>
                  <a:pt x="10031767" y="7240594"/>
                  <a:pt x="10024579" y="7237798"/>
                  <a:pt x="10018988" y="7232207"/>
                </a:cubicBezTo>
                <a:cubicBezTo>
                  <a:pt x="10013397" y="7226617"/>
                  <a:pt x="10010602" y="7219560"/>
                  <a:pt x="10010602" y="7211040"/>
                </a:cubicBezTo>
                <a:cubicBezTo>
                  <a:pt x="10010602" y="7202787"/>
                  <a:pt x="10013397" y="7195733"/>
                  <a:pt x="10018988" y="7190009"/>
                </a:cubicBezTo>
                <a:cubicBezTo>
                  <a:pt x="10024579" y="7184285"/>
                  <a:pt x="10031767" y="7181489"/>
                  <a:pt x="10040820" y="7181489"/>
                </a:cubicBezTo>
                <a:close/>
                <a:moveTo>
                  <a:pt x="9823176" y="7181489"/>
                </a:moveTo>
                <a:cubicBezTo>
                  <a:pt x="9827435" y="7181489"/>
                  <a:pt x="9831296" y="7182288"/>
                  <a:pt x="9834890" y="7183752"/>
                </a:cubicBezTo>
                <a:cubicBezTo>
                  <a:pt x="9838617" y="7185349"/>
                  <a:pt x="9841679" y="7187479"/>
                  <a:pt x="9844208" y="7190141"/>
                </a:cubicBezTo>
                <a:cubicBezTo>
                  <a:pt x="9846737" y="7192670"/>
                  <a:pt x="9848867" y="7195866"/>
                  <a:pt x="9850331" y="7199459"/>
                </a:cubicBezTo>
                <a:cubicBezTo>
                  <a:pt x="9851796" y="7203054"/>
                  <a:pt x="9852595" y="7206914"/>
                  <a:pt x="9852595" y="7210908"/>
                </a:cubicBezTo>
                <a:cubicBezTo>
                  <a:pt x="9852595" y="7215035"/>
                  <a:pt x="9851796" y="7219028"/>
                  <a:pt x="9850331" y="7222622"/>
                </a:cubicBezTo>
                <a:cubicBezTo>
                  <a:pt x="9848734" y="7226350"/>
                  <a:pt x="9846737" y="7229412"/>
                  <a:pt x="9844208" y="7232074"/>
                </a:cubicBezTo>
                <a:cubicBezTo>
                  <a:pt x="9841546" y="7234737"/>
                  <a:pt x="9838484" y="7236866"/>
                  <a:pt x="9834890" y="7238331"/>
                </a:cubicBezTo>
                <a:cubicBezTo>
                  <a:pt x="9831296" y="7239795"/>
                  <a:pt x="9827435" y="7240594"/>
                  <a:pt x="9823176" y="7240594"/>
                </a:cubicBezTo>
                <a:cubicBezTo>
                  <a:pt x="9814123" y="7240594"/>
                  <a:pt x="9806935" y="7237798"/>
                  <a:pt x="9801343" y="7232207"/>
                </a:cubicBezTo>
                <a:cubicBezTo>
                  <a:pt x="9795753" y="7226617"/>
                  <a:pt x="9792957" y="7219560"/>
                  <a:pt x="9792957" y="7211040"/>
                </a:cubicBezTo>
                <a:cubicBezTo>
                  <a:pt x="9792957" y="7202787"/>
                  <a:pt x="9795753" y="7195733"/>
                  <a:pt x="9801343" y="7190009"/>
                </a:cubicBezTo>
                <a:cubicBezTo>
                  <a:pt x="9806935" y="7184285"/>
                  <a:pt x="9814123" y="7181489"/>
                  <a:pt x="9823176" y="7181489"/>
                </a:cubicBezTo>
                <a:close/>
                <a:moveTo>
                  <a:pt x="9605531" y="7181489"/>
                </a:moveTo>
                <a:cubicBezTo>
                  <a:pt x="9609790" y="7181489"/>
                  <a:pt x="9613784" y="7182288"/>
                  <a:pt x="9617245" y="7183752"/>
                </a:cubicBezTo>
                <a:cubicBezTo>
                  <a:pt x="9620839" y="7185349"/>
                  <a:pt x="9624033" y="7187479"/>
                  <a:pt x="9626562" y="7190141"/>
                </a:cubicBezTo>
                <a:cubicBezTo>
                  <a:pt x="9629092" y="7192670"/>
                  <a:pt x="9631222" y="7195866"/>
                  <a:pt x="9632686" y="7199459"/>
                </a:cubicBezTo>
                <a:cubicBezTo>
                  <a:pt x="9634150" y="7203054"/>
                  <a:pt x="9634949" y="7206914"/>
                  <a:pt x="9634949" y="7210908"/>
                </a:cubicBezTo>
                <a:cubicBezTo>
                  <a:pt x="9634949" y="7215035"/>
                  <a:pt x="9634150" y="7219028"/>
                  <a:pt x="9632686" y="7222622"/>
                </a:cubicBezTo>
                <a:cubicBezTo>
                  <a:pt x="9631089" y="7226350"/>
                  <a:pt x="9629092" y="7229412"/>
                  <a:pt x="9626562" y="7232074"/>
                </a:cubicBezTo>
                <a:cubicBezTo>
                  <a:pt x="9623901" y="7234737"/>
                  <a:pt x="9620839" y="7236866"/>
                  <a:pt x="9617245" y="7238331"/>
                </a:cubicBezTo>
                <a:cubicBezTo>
                  <a:pt x="9613651" y="7239795"/>
                  <a:pt x="9609790" y="7240594"/>
                  <a:pt x="9605531" y="7240594"/>
                </a:cubicBezTo>
                <a:cubicBezTo>
                  <a:pt x="9596610" y="7240594"/>
                  <a:pt x="9589289" y="7237798"/>
                  <a:pt x="9583698" y="7232207"/>
                </a:cubicBezTo>
                <a:cubicBezTo>
                  <a:pt x="9578108" y="7226617"/>
                  <a:pt x="9575312" y="7219560"/>
                  <a:pt x="9575312" y="7211040"/>
                </a:cubicBezTo>
                <a:cubicBezTo>
                  <a:pt x="9575312" y="7202787"/>
                  <a:pt x="9578108" y="7195733"/>
                  <a:pt x="9583698" y="7190009"/>
                </a:cubicBezTo>
                <a:cubicBezTo>
                  <a:pt x="9589289" y="7184285"/>
                  <a:pt x="9596478" y="7181489"/>
                  <a:pt x="9605531" y="7181489"/>
                </a:cubicBezTo>
                <a:close/>
                <a:moveTo>
                  <a:pt x="9387885" y="7181489"/>
                </a:moveTo>
                <a:cubicBezTo>
                  <a:pt x="9392145" y="7181489"/>
                  <a:pt x="9396138" y="7182288"/>
                  <a:pt x="9399599" y="7183752"/>
                </a:cubicBezTo>
                <a:cubicBezTo>
                  <a:pt x="9403194" y="7185349"/>
                  <a:pt x="9406388" y="7187479"/>
                  <a:pt x="9408917" y="7190141"/>
                </a:cubicBezTo>
                <a:cubicBezTo>
                  <a:pt x="9411447" y="7192670"/>
                  <a:pt x="9413576" y="7195866"/>
                  <a:pt x="9415041" y="7199459"/>
                </a:cubicBezTo>
                <a:cubicBezTo>
                  <a:pt x="9416505" y="7203054"/>
                  <a:pt x="9417304" y="7206914"/>
                  <a:pt x="9417304" y="7210908"/>
                </a:cubicBezTo>
                <a:cubicBezTo>
                  <a:pt x="9417304" y="7215035"/>
                  <a:pt x="9416505" y="7219028"/>
                  <a:pt x="9415041" y="7222622"/>
                </a:cubicBezTo>
                <a:cubicBezTo>
                  <a:pt x="9413444" y="7226350"/>
                  <a:pt x="9411447" y="7229412"/>
                  <a:pt x="9408917" y="7232074"/>
                </a:cubicBezTo>
                <a:cubicBezTo>
                  <a:pt x="9406255" y="7234737"/>
                  <a:pt x="9403194" y="7236866"/>
                  <a:pt x="9399599" y="7238331"/>
                </a:cubicBezTo>
                <a:cubicBezTo>
                  <a:pt x="9396005" y="7239795"/>
                  <a:pt x="9392145" y="7240594"/>
                  <a:pt x="9387885" y="7240594"/>
                </a:cubicBezTo>
                <a:cubicBezTo>
                  <a:pt x="9378965" y="7240594"/>
                  <a:pt x="9371644" y="7237798"/>
                  <a:pt x="9366053" y="7232207"/>
                </a:cubicBezTo>
                <a:cubicBezTo>
                  <a:pt x="9360462" y="7226617"/>
                  <a:pt x="9357667" y="7219560"/>
                  <a:pt x="9357667" y="7211040"/>
                </a:cubicBezTo>
                <a:cubicBezTo>
                  <a:pt x="9357667" y="7202787"/>
                  <a:pt x="9360462" y="7195733"/>
                  <a:pt x="9366053" y="7190009"/>
                </a:cubicBezTo>
                <a:cubicBezTo>
                  <a:pt x="9371644" y="7184285"/>
                  <a:pt x="9378832" y="7181489"/>
                  <a:pt x="9387885" y="7181489"/>
                </a:cubicBezTo>
                <a:close/>
                <a:moveTo>
                  <a:pt x="9170374" y="7181489"/>
                </a:moveTo>
                <a:cubicBezTo>
                  <a:pt x="9174500" y="7181489"/>
                  <a:pt x="9178494" y="7182288"/>
                  <a:pt x="9182088" y="7183752"/>
                </a:cubicBezTo>
                <a:cubicBezTo>
                  <a:pt x="9185682" y="7185349"/>
                  <a:pt x="9188876" y="7187479"/>
                  <a:pt x="9191405" y="7190141"/>
                </a:cubicBezTo>
                <a:cubicBezTo>
                  <a:pt x="9193935" y="7192670"/>
                  <a:pt x="9196065" y="7195866"/>
                  <a:pt x="9197529" y="7199459"/>
                </a:cubicBezTo>
                <a:cubicBezTo>
                  <a:pt x="9198993" y="7203054"/>
                  <a:pt x="9199792" y="7206914"/>
                  <a:pt x="9199792" y="7210908"/>
                </a:cubicBezTo>
                <a:cubicBezTo>
                  <a:pt x="9199792" y="7215035"/>
                  <a:pt x="9198993" y="7219028"/>
                  <a:pt x="9197529" y="7222622"/>
                </a:cubicBezTo>
                <a:cubicBezTo>
                  <a:pt x="9195932" y="7226350"/>
                  <a:pt x="9193935" y="7229412"/>
                  <a:pt x="9191405" y="7232074"/>
                </a:cubicBezTo>
                <a:cubicBezTo>
                  <a:pt x="9188744" y="7234737"/>
                  <a:pt x="9185682" y="7236866"/>
                  <a:pt x="9182088" y="7238331"/>
                </a:cubicBezTo>
                <a:cubicBezTo>
                  <a:pt x="9178494" y="7239795"/>
                  <a:pt x="9174633" y="7240594"/>
                  <a:pt x="9170374" y="7240594"/>
                </a:cubicBezTo>
                <a:cubicBezTo>
                  <a:pt x="9161453" y="7240594"/>
                  <a:pt x="9154132" y="7237798"/>
                  <a:pt x="9148541" y="7232207"/>
                </a:cubicBezTo>
                <a:cubicBezTo>
                  <a:pt x="9142951" y="7226617"/>
                  <a:pt x="9140155" y="7219560"/>
                  <a:pt x="9140155" y="7211040"/>
                </a:cubicBezTo>
                <a:cubicBezTo>
                  <a:pt x="9140155" y="7202787"/>
                  <a:pt x="9142951" y="7195733"/>
                  <a:pt x="9148541" y="7190009"/>
                </a:cubicBezTo>
                <a:cubicBezTo>
                  <a:pt x="9154132" y="7184285"/>
                  <a:pt x="9161321" y="7181489"/>
                  <a:pt x="9170374" y="7181489"/>
                </a:cubicBezTo>
                <a:close/>
                <a:moveTo>
                  <a:pt x="8952728" y="7181489"/>
                </a:moveTo>
                <a:cubicBezTo>
                  <a:pt x="8956988" y="7181489"/>
                  <a:pt x="8960849" y="7182288"/>
                  <a:pt x="8964442" y="7183752"/>
                </a:cubicBezTo>
                <a:cubicBezTo>
                  <a:pt x="8968037" y="7185349"/>
                  <a:pt x="8971231" y="7187479"/>
                  <a:pt x="8973760" y="7190141"/>
                </a:cubicBezTo>
                <a:cubicBezTo>
                  <a:pt x="8976290" y="7192670"/>
                  <a:pt x="8978419" y="7195866"/>
                  <a:pt x="8979884" y="7199459"/>
                </a:cubicBezTo>
                <a:cubicBezTo>
                  <a:pt x="8981348" y="7203054"/>
                  <a:pt x="8982147" y="7206914"/>
                  <a:pt x="8982147" y="7210908"/>
                </a:cubicBezTo>
                <a:cubicBezTo>
                  <a:pt x="8982147" y="7215035"/>
                  <a:pt x="8981348" y="7219028"/>
                  <a:pt x="8979884" y="7222622"/>
                </a:cubicBezTo>
                <a:cubicBezTo>
                  <a:pt x="8978287" y="7226350"/>
                  <a:pt x="8976290" y="7229412"/>
                  <a:pt x="8973760" y="7232074"/>
                </a:cubicBezTo>
                <a:cubicBezTo>
                  <a:pt x="8971098" y="7234737"/>
                  <a:pt x="8968037" y="7236866"/>
                  <a:pt x="8964442" y="7238331"/>
                </a:cubicBezTo>
                <a:cubicBezTo>
                  <a:pt x="8960849" y="7239795"/>
                  <a:pt x="8956988" y="7240594"/>
                  <a:pt x="8952728" y="7240594"/>
                </a:cubicBezTo>
                <a:cubicBezTo>
                  <a:pt x="8943808" y="7240594"/>
                  <a:pt x="8936487" y="7237798"/>
                  <a:pt x="8930896" y="7232207"/>
                </a:cubicBezTo>
                <a:cubicBezTo>
                  <a:pt x="8925305" y="7226617"/>
                  <a:pt x="8922510" y="7219560"/>
                  <a:pt x="8922510" y="7211040"/>
                </a:cubicBezTo>
                <a:cubicBezTo>
                  <a:pt x="8922510" y="7202787"/>
                  <a:pt x="8925305" y="7195733"/>
                  <a:pt x="8930896" y="7190009"/>
                </a:cubicBezTo>
                <a:cubicBezTo>
                  <a:pt x="8936487" y="7184285"/>
                  <a:pt x="8943675" y="7181489"/>
                  <a:pt x="8952728" y="7181489"/>
                </a:cubicBezTo>
                <a:close/>
                <a:moveTo>
                  <a:pt x="8735083" y="7181489"/>
                </a:moveTo>
                <a:cubicBezTo>
                  <a:pt x="8739342" y="7181489"/>
                  <a:pt x="8743203" y="7182288"/>
                  <a:pt x="8746797" y="7183752"/>
                </a:cubicBezTo>
                <a:cubicBezTo>
                  <a:pt x="8750391" y="7185349"/>
                  <a:pt x="8753586" y="7187479"/>
                  <a:pt x="8756115" y="7190141"/>
                </a:cubicBezTo>
                <a:cubicBezTo>
                  <a:pt x="8758644" y="7192670"/>
                  <a:pt x="8760774" y="7195866"/>
                  <a:pt x="8762238" y="7199459"/>
                </a:cubicBezTo>
                <a:cubicBezTo>
                  <a:pt x="8763702" y="7203054"/>
                  <a:pt x="8764502" y="7206914"/>
                  <a:pt x="8764502" y="7210908"/>
                </a:cubicBezTo>
                <a:cubicBezTo>
                  <a:pt x="8764502" y="7215035"/>
                  <a:pt x="8763702" y="7219028"/>
                  <a:pt x="8762238" y="7222622"/>
                </a:cubicBezTo>
                <a:cubicBezTo>
                  <a:pt x="8760641" y="7226350"/>
                  <a:pt x="8758644" y="7229412"/>
                  <a:pt x="8756115" y="7232074"/>
                </a:cubicBezTo>
                <a:cubicBezTo>
                  <a:pt x="8753453" y="7234737"/>
                  <a:pt x="8750391" y="7236866"/>
                  <a:pt x="8746797" y="7238331"/>
                </a:cubicBezTo>
                <a:cubicBezTo>
                  <a:pt x="8743203" y="7239795"/>
                  <a:pt x="8739342" y="7240594"/>
                  <a:pt x="8735083" y="7240594"/>
                </a:cubicBezTo>
                <a:cubicBezTo>
                  <a:pt x="8726030" y="7240594"/>
                  <a:pt x="8718841" y="7237798"/>
                  <a:pt x="8713250" y="7232207"/>
                </a:cubicBezTo>
                <a:cubicBezTo>
                  <a:pt x="8707660" y="7226617"/>
                  <a:pt x="8704864" y="7219560"/>
                  <a:pt x="8704864" y="7211040"/>
                </a:cubicBezTo>
                <a:cubicBezTo>
                  <a:pt x="8704864" y="7202787"/>
                  <a:pt x="8707660" y="7195733"/>
                  <a:pt x="8713250" y="7190009"/>
                </a:cubicBezTo>
                <a:cubicBezTo>
                  <a:pt x="8718841" y="7184285"/>
                  <a:pt x="8726030" y="7181489"/>
                  <a:pt x="8735083" y="7181489"/>
                </a:cubicBezTo>
                <a:close/>
                <a:moveTo>
                  <a:pt x="8517438" y="7181489"/>
                </a:moveTo>
                <a:cubicBezTo>
                  <a:pt x="8521698" y="7181489"/>
                  <a:pt x="8525559" y="7182288"/>
                  <a:pt x="8529152" y="7183752"/>
                </a:cubicBezTo>
                <a:cubicBezTo>
                  <a:pt x="8532880" y="7185349"/>
                  <a:pt x="8535941" y="7187479"/>
                  <a:pt x="8538470" y="7190141"/>
                </a:cubicBezTo>
                <a:cubicBezTo>
                  <a:pt x="8541000" y="7192670"/>
                  <a:pt x="8543130" y="7195866"/>
                  <a:pt x="8544594" y="7199459"/>
                </a:cubicBezTo>
                <a:cubicBezTo>
                  <a:pt x="8546058" y="7203054"/>
                  <a:pt x="8546857" y="7206914"/>
                  <a:pt x="8546857" y="7210908"/>
                </a:cubicBezTo>
                <a:cubicBezTo>
                  <a:pt x="8546857" y="7215035"/>
                  <a:pt x="8546058" y="7219028"/>
                  <a:pt x="8544594" y="7222622"/>
                </a:cubicBezTo>
                <a:cubicBezTo>
                  <a:pt x="8542997" y="7226350"/>
                  <a:pt x="8541000" y="7229412"/>
                  <a:pt x="8538470" y="7232074"/>
                </a:cubicBezTo>
                <a:cubicBezTo>
                  <a:pt x="8535808" y="7234737"/>
                  <a:pt x="8532747" y="7236866"/>
                  <a:pt x="8529152" y="7238331"/>
                </a:cubicBezTo>
                <a:cubicBezTo>
                  <a:pt x="8525559" y="7239795"/>
                  <a:pt x="8521698" y="7240594"/>
                  <a:pt x="8517438" y="7240594"/>
                </a:cubicBezTo>
                <a:cubicBezTo>
                  <a:pt x="8508385" y="7240594"/>
                  <a:pt x="8501197" y="7237798"/>
                  <a:pt x="8495606" y="7232207"/>
                </a:cubicBezTo>
                <a:cubicBezTo>
                  <a:pt x="8490015" y="7226617"/>
                  <a:pt x="8487220" y="7219560"/>
                  <a:pt x="8487220" y="7211040"/>
                </a:cubicBezTo>
                <a:cubicBezTo>
                  <a:pt x="8487220" y="7202787"/>
                  <a:pt x="8490015" y="7195733"/>
                  <a:pt x="8495606" y="7190009"/>
                </a:cubicBezTo>
                <a:cubicBezTo>
                  <a:pt x="8501197" y="7184285"/>
                  <a:pt x="8508385" y="7181489"/>
                  <a:pt x="8517438" y="7181489"/>
                </a:cubicBezTo>
                <a:close/>
                <a:moveTo>
                  <a:pt x="8299793" y="7181489"/>
                </a:moveTo>
                <a:cubicBezTo>
                  <a:pt x="8304052" y="7181489"/>
                  <a:pt x="8308046" y="7182288"/>
                  <a:pt x="8311507" y="7183752"/>
                </a:cubicBezTo>
                <a:cubicBezTo>
                  <a:pt x="8315235" y="7185349"/>
                  <a:pt x="8318296" y="7187479"/>
                  <a:pt x="8320825" y="7190141"/>
                </a:cubicBezTo>
                <a:cubicBezTo>
                  <a:pt x="8323354" y="7192670"/>
                  <a:pt x="8325484" y="7195866"/>
                  <a:pt x="8326948" y="7199459"/>
                </a:cubicBezTo>
                <a:cubicBezTo>
                  <a:pt x="8328413" y="7203054"/>
                  <a:pt x="8329212" y="7206914"/>
                  <a:pt x="8329212" y="7210908"/>
                </a:cubicBezTo>
                <a:cubicBezTo>
                  <a:pt x="8329212" y="7215035"/>
                  <a:pt x="8328413" y="7219028"/>
                  <a:pt x="8326948" y="7222622"/>
                </a:cubicBezTo>
                <a:cubicBezTo>
                  <a:pt x="8325351" y="7226350"/>
                  <a:pt x="8323354" y="7229412"/>
                  <a:pt x="8320825" y="7232074"/>
                </a:cubicBezTo>
                <a:cubicBezTo>
                  <a:pt x="8318163" y="7234737"/>
                  <a:pt x="8315101" y="7236866"/>
                  <a:pt x="8311507" y="7238331"/>
                </a:cubicBezTo>
                <a:cubicBezTo>
                  <a:pt x="8307913" y="7239795"/>
                  <a:pt x="8304052" y="7240594"/>
                  <a:pt x="8299793" y="7240594"/>
                </a:cubicBezTo>
                <a:cubicBezTo>
                  <a:pt x="8290874" y="7240594"/>
                  <a:pt x="8283553" y="7237798"/>
                  <a:pt x="8277960" y="7232207"/>
                </a:cubicBezTo>
                <a:cubicBezTo>
                  <a:pt x="8272370" y="7226617"/>
                  <a:pt x="8269574" y="7219560"/>
                  <a:pt x="8269574" y="7211040"/>
                </a:cubicBezTo>
                <a:cubicBezTo>
                  <a:pt x="8269574" y="7202787"/>
                  <a:pt x="8272370" y="7195733"/>
                  <a:pt x="8277960" y="7190009"/>
                </a:cubicBezTo>
                <a:cubicBezTo>
                  <a:pt x="8283553" y="7184285"/>
                  <a:pt x="8290741" y="7181489"/>
                  <a:pt x="8299793" y="7181489"/>
                </a:cubicBezTo>
                <a:close/>
                <a:moveTo>
                  <a:pt x="8082281" y="7181489"/>
                </a:moveTo>
                <a:cubicBezTo>
                  <a:pt x="8086407" y="7181489"/>
                  <a:pt x="8090401" y="7182288"/>
                  <a:pt x="8094127" y="7183752"/>
                </a:cubicBezTo>
                <a:cubicBezTo>
                  <a:pt x="8097855" y="7185349"/>
                  <a:pt x="8100916" y="7187479"/>
                  <a:pt x="8103446" y="7190141"/>
                </a:cubicBezTo>
                <a:cubicBezTo>
                  <a:pt x="8105975" y="7192670"/>
                  <a:pt x="8108104" y="7195866"/>
                  <a:pt x="8109569" y="7199459"/>
                </a:cubicBezTo>
                <a:cubicBezTo>
                  <a:pt x="8111033" y="7203054"/>
                  <a:pt x="8111832" y="7206914"/>
                  <a:pt x="8111832" y="7210908"/>
                </a:cubicBezTo>
                <a:cubicBezTo>
                  <a:pt x="8111832" y="7215035"/>
                  <a:pt x="8111033" y="7219028"/>
                  <a:pt x="8109569" y="7222622"/>
                </a:cubicBezTo>
                <a:cubicBezTo>
                  <a:pt x="8107972" y="7226350"/>
                  <a:pt x="8105975" y="7229412"/>
                  <a:pt x="8103446" y="7232074"/>
                </a:cubicBezTo>
                <a:cubicBezTo>
                  <a:pt x="8100783" y="7234737"/>
                  <a:pt x="8097722" y="7236866"/>
                  <a:pt x="8094127" y="7238331"/>
                </a:cubicBezTo>
                <a:cubicBezTo>
                  <a:pt x="8090401" y="7239795"/>
                  <a:pt x="8086540" y="7240594"/>
                  <a:pt x="8082281" y="7240594"/>
                </a:cubicBezTo>
                <a:cubicBezTo>
                  <a:pt x="8073361" y="7240594"/>
                  <a:pt x="8066040" y="7237798"/>
                  <a:pt x="8060448" y="7232207"/>
                </a:cubicBezTo>
                <a:cubicBezTo>
                  <a:pt x="8054857" y="7226617"/>
                  <a:pt x="8052062" y="7219560"/>
                  <a:pt x="8052062" y="7211040"/>
                </a:cubicBezTo>
                <a:cubicBezTo>
                  <a:pt x="8052062" y="7202787"/>
                  <a:pt x="8054857" y="7195733"/>
                  <a:pt x="8060448" y="7190009"/>
                </a:cubicBezTo>
                <a:cubicBezTo>
                  <a:pt x="8066040" y="7184285"/>
                  <a:pt x="8073228" y="7181489"/>
                  <a:pt x="8082281" y="7181489"/>
                </a:cubicBezTo>
                <a:close/>
                <a:moveTo>
                  <a:pt x="7864636" y="7181489"/>
                </a:moveTo>
                <a:cubicBezTo>
                  <a:pt x="7868762" y="7181489"/>
                  <a:pt x="7872756" y="7182288"/>
                  <a:pt x="7876483" y="7183752"/>
                </a:cubicBezTo>
                <a:cubicBezTo>
                  <a:pt x="7880210" y="7185349"/>
                  <a:pt x="7883272" y="7187479"/>
                  <a:pt x="7885802" y="7190141"/>
                </a:cubicBezTo>
                <a:cubicBezTo>
                  <a:pt x="7888331" y="7192670"/>
                  <a:pt x="7890460" y="7195866"/>
                  <a:pt x="7891924" y="7199459"/>
                </a:cubicBezTo>
                <a:cubicBezTo>
                  <a:pt x="7893389" y="7203054"/>
                  <a:pt x="7894188" y="7206914"/>
                  <a:pt x="7894188" y="7210908"/>
                </a:cubicBezTo>
                <a:cubicBezTo>
                  <a:pt x="7894188" y="7215035"/>
                  <a:pt x="7893389" y="7219028"/>
                  <a:pt x="7891924" y="7222622"/>
                </a:cubicBezTo>
                <a:cubicBezTo>
                  <a:pt x="7890327" y="7226350"/>
                  <a:pt x="7888331" y="7229412"/>
                  <a:pt x="7885802" y="7232074"/>
                </a:cubicBezTo>
                <a:cubicBezTo>
                  <a:pt x="7883139" y="7234737"/>
                  <a:pt x="7880078" y="7236866"/>
                  <a:pt x="7876483" y="7238331"/>
                </a:cubicBezTo>
                <a:cubicBezTo>
                  <a:pt x="7872756" y="7239795"/>
                  <a:pt x="7868895" y="7240594"/>
                  <a:pt x="7864636" y="7240594"/>
                </a:cubicBezTo>
                <a:cubicBezTo>
                  <a:pt x="7855717" y="7240594"/>
                  <a:pt x="7848396" y="7237798"/>
                  <a:pt x="7842803" y="7232207"/>
                </a:cubicBezTo>
                <a:cubicBezTo>
                  <a:pt x="7837213" y="7226617"/>
                  <a:pt x="7834417" y="7219560"/>
                  <a:pt x="7834417" y="7211040"/>
                </a:cubicBezTo>
                <a:cubicBezTo>
                  <a:pt x="7834417" y="7202787"/>
                  <a:pt x="7837213" y="7195733"/>
                  <a:pt x="7842803" y="7190009"/>
                </a:cubicBezTo>
                <a:cubicBezTo>
                  <a:pt x="7848396" y="7184285"/>
                  <a:pt x="7855584" y="7181489"/>
                  <a:pt x="7864636" y="7181489"/>
                </a:cubicBezTo>
                <a:close/>
                <a:moveTo>
                  <a:pt x="7646991" y="7181489"/>
                </a:moveTo>
                <a:cubicBezTo>
                  <a:pt x="7651250" y="7181489"/>
                  <a:pt x="7655111" y="7182288"/>
                  <a:pt x="7658705" y="7183752"/>
                </a:cubicBezTo>
                <a:cubicBezTo>
                  <a:pt x="7662432" y="7185349"/>
                  <a:pt x="7665493" y="7187479"/>
                  <a:pt x="7668022" y="7190141"/>
                </a:cubicBezTo>
                <a:cubicBezTo>
                  <a:pt x="7670552" y="7192670"/>
                  <a:pt x="7672682" y="7195866"/>
                  <a:pt x="7674146" y="7199459"/>
                </a:cubicBezTo>
                <a:cubicBezTo>
                  <a:pt x="7675610" y="7203054"/>
                  <a:pt x="7676409" y="7206914"/>
                  <a:pt x="7676409" y="7210908"/>
                </a:cubicBezTo>
                <a:cubicBezTo>
                  <a:pt x="7676409" y="7215035"/>
                  <a:pt x="7675610" y="7219028"/>
                  <a:pt x="7674146" y="7222622"/>
                </a:cubicBezTo>
                <a:cubicBezTo>
                  <a:pt x="7672549" y="7226350"/>
                  <a:pt x="7670552" y="7229412"/>
                  <a:pt x="7668022" y="7232074"/>
                </a:cubicBezTo>
                <a:cubicBezTo>
                  <a:pt x="7665361" y="7234737"/>
                  <a:pt x="7662299" y="7236866"/>
                  <a:pt x="7658705" y="7238331"/>
                </a:cubicBezTo>
                <a:cubicBezTo>
                  <a:pt x="7655111" y="7239795"/>
                  <a:pt x="7651250" y="7240594"/>
                  <a:pt x="7646991" y="7240594"/>
                </a:cubicBezTo>
                <a:cubicBezTo>
                  <a:pt x="7638071" y="7240594"/>
                  <a:pt x="7630750" y="7237798"/>
                  <a:pt x="7625158" y="7232207"/>
                </a:cubicBezTo>
                <a:cubicBezTo>
                  <a:pt x="7619568" y="7226617"/>
                  <a:pt x="7616772" y="7219560"/>
                  <a:pt x="7616772" y="7211040"/>
                </a:cubicBezTo>
                <a:cubicBezTo>
                  <a:pt x="7616772" y="7202787"/>
                  <a:pt x="7619568" y="7195733"/>
                  <a:pt x="7625158" y="7190009"/>
                </a:cubicBezTo>
                <a:cubicBezTo>
                  <a:pt x="7630750" y="7184285"/>
                  <a:pt x="7637939" y="7181489"/>
                  <a:pt x="7646991" y="7181489"/>
                </a:cubicBezTo>
                <a:close/>
                <a:moveTo>
                  <a:pt x="7429345" y="7181489"/>
                </a:moveTo>
                <a:cubicBezTo>
                  <a:pt x="7433605" y="7181489"/>
                  <a:pt x="7437466" y="7182288"/>
                  <a:pt x="7441059" y="7183752"/>
                </a:cubicBezTo>
                <a:cubicBezTo>
                  <a:pt x="7444787" y="7185349"/>
                  <a:pt x="7447848" y="7187479"/>
                  <a:pt x="7450377" y="7190141"/>
                </a:cubicBezTo>
                <a:cubicBezTo>
                  <a:pt x="7452907" y="7192670"/>
                  <a:pt x="7455036" y="7195866"/>
                  <a:pt x="7456501" y="7199459"/>
                </a:cubicBezTo>
                <a:cubicBezTo>
                  <a:pt x="7457965" y="7203054"/>
                  <a:pt x="7458764" y="7206914"/>
                  <a:pt x="7458764" y="7210908"/>
                </a:cubicBezTo>
                <a:cubicBezTo>
                  <a:pt x="7458764" y="7215035"/>
                  <a:pt x="7457965" y="7219028"/>
                  <a:pt x="7456501" y="7222622"/>
                </a:cubicBezTo>
                <a:cubicBezTo>
                  <a:pt x="7454904" y="7226350"/>
                  <a:pt x="7452907" y="7229412"/>
                  <a:pt x="7450377" y="7232074"/>
                </a:cubicBezTo>
                <a:cubicBezTo>
                  <a:pt x="7447715" y="7234737"/>
                  <a:pt x="7444654" y="7236866"/>
                  <a:pt x="7441059" y="7238331"/>
                </a:cubicBezTo>
                <a:cubicBezTo>
                  <a:pt x="7437466" y="7239795"/>
                  <a:pt x="7433605" y="7240594"/>
                  <a:pt x="7429345" y="7240594"/>
                </a:cubicBezTo>
                <a:cubicBezTo>
                  <a:pt x="7420426" y="7240594"/>
                  <a:pt x="7413105" y="7237798"/>
                  <a:pt x="7407513" y="7232207"/>
                </a:cubicBezTo>
                <a:cubicBezTo>
                  <a:pt x="7401922" y="7226617"/>
                  <a:pt x="7399127" y="7219560"/>
                  <a:pt x="7399127" y="7211040"/>
                </a:cubicBezTo>
                <a:cubicBezTo>
                  <a:pt x="7399127" y="7202787"/>
                  <a:pt x="7401922" y="7195733"/>
                  <a:pt x="7407513" y="7190009"/>
                </a:cubicBezTo>
                <a:cubicBezTo>
                  <a:pt x="7413105" y="7184285"/>
                  <a:pt x="7420293" y="7181489"/>
                  <a:pt x="7429345" y="7181489"/>
                </a:cubicBezTo>
                <a:close/>
                <a:moveTo>
                  <a:pt x="7211701" y="7181489"/>
                </a:moveTo>
                <a:cubicBezTo>
                  <a:pt x="7215960" y="7181489"/>
                  <a:pt x="7219954" y="7182288"/>
                  <a:pt x="7223415" y="7183752"/>
                </a:cubicBezTo>
                <a:cubicBezTo>
                  <a:pt x="7227142" y="7185349"/>
                  <a:pt x="7230204" y="7187479"/>
                  <a:pt x="7232733" y="7190141"/>
                </a:cubicBezTo>
                <a:cubicBezTo>
                  <a:pt x="7235262" y="7192670"/>
                  <a:pt x="7237392" y="7195866"/>
                  <a:pt x="7238856" y="7199459"/>
                </a:cubicBezTo>
                <a:cubicBezTo>
                  <a:pt x="7240321" y="7203054"/>
                  <a:pt x="7241120" y="7206914"/>
                  <a:pt x="7241120" y="7210908"/>
                </a:cubicBezTo>
                <a:cubicBezTo>
                  <a:pt x="7241120" y="7215035"/>
                  <a:pt x="7240321" y="7219028"/>
                  <a:pt x="7238856" y="7222622"/>
                </a:cubicBezTo>
                <a:cubicBezTo>
                  <a:pt x="7237259" y="7226350"/>
                  <a:pt x="7235262" y="7229412"/>
                  <a:pt x="7232733" y="7232074"/>
                </a:cubicBezTo>
                <a:cubicBezTo>
                  <a:pt x="7230071" y="7234737"/>
                  <a:pt x="7227009" y="7236866"/>
                  <a:pt x="7223415" y="7238331"/>
                </a:cubicBezTo>
                <a:cubicBezTo>
                  <a:pt x="7219821" y="7239795"/>
                  <a:pt x="7215960" y="7240594"/>
                  <a:pt x="7211701" y="7240594"/>
                </a:cubicBezTo>
                <a:cubicBezTo>
                  <a:pt x="7202782" y="7240594"/>
                  <a:pt x="7195460" y="7237798"/>
                  <a:pt x="7189868" y="7232207"/>
                </a:cubicBezTo>
                <a:cubicBezTo>
                  <a:pt x="7184278" y="7226617"/>
                  <a:pt x="7181482" y="7219560"/>
                  <a:pt x="7181482" y="7211040"/>
                </a:cubicBezTo>
                <a:cubicBezTo>
                  <a:pt x="7181482" y="7202787"/>
                  <a:pt x="7184278" y="7195733"/>
                  <a:pt x="7189868" y="7190009"/>
                </a:cubicBezTo>
                <a:cubicBezTo>
                  <a:pt x="7195460" y="7184285"/>
                  <a:pt x="7202649" y="7181489"/>
                  <a:pt x="7211701" y="7181489"/>
                </a:cubicBezTo>
                <a:close/>
                <a:moveTo>
                  <a:pt x="6994056" y="7181489"/>
                </a:moveTo>
                <a:cubicBezTo>
                  <a:pt x="6998315" y="7181489"/>
                  <a:pt x="7002309" y="7182288"/>
                  <a:pt x="7005769" y="7183752"/>
                </a:cubicBezTo>
                <a:cubicBezTo>
                  <a:pt x="7009497" y="7185349"/>
                  <a:pt x="7012558" y="7187479"/>
                  <a:pt x="7015087" y="7190141"/>
                </a:cubicBezTo>
                <a:cubicBezTo>
                  <a:pt x="7017617" y="7192670"/>
                  <a:pt x="7019747" y="7195866"/>
                  <a:pt x="7021211" y="7199459"/>
                </a:cubicBezTo>
                <a:cubicBezTo>
                  <a:pt x="7022675" y="7203054"/>
                  <a:pt x="7023474" y="7206914"/>
                  <a:pt x="7023474" y="7210908"/>
                </a:cubicBezTo>
                <a:cubicBezTo>
                  <a:pt x="7023474" y="7215035"/>
                  <a:pt x="7022675" y="7219028"/>
                  <a:pt x="7021211" y="7222622"/>
                </a:cubicBezTo>
                <a:cubicBezTo>
                  <a:pt x="7019614" y="7226350"/>
                  <a:pt x="7017617" y="7229412"/>
                  <a:pt x="7015087" y="7232074"/>
                </a:cubicBezTo>
                <a:cubicBezTo>
                  <a:pt x="7012425" y="7234737"/>
                  <a:pt x="7009364" y="7236866"/>
                  <a:pt x="7005769" y="7238331"/>
                </a:cubicBezTo>
                <a:cubicBezTo>
                  <a:pt x="7002176" y="7239795"/>
                  <a:pt x="6998315" y="7240594"/>
                  <a:pt x="6994056" y="7240594"/>
                </a:cubicBezTo>
                <a:cubicBezTo>
                  <a:pt x="6985136" y="7240594"/>
                  <a:pt x="6977815" y="7237798"/>
                  <a:pt x="6972223" y="7232207"/>
                </a:cubicBezTo>
                <a:cubicBezTo>
                  <a:pt x="6966632" y="7226617"/>
                  <a:pt x="6963837" y="7219560"/>
                  <a:pt x="6963837" y="7211040"/>
                </a:cubicBezTo>
                <a:cubicBezTo>
                  <a:pt x="6963837" y="7202787"/>
                  <a:pt x="6966632" y="7195733"/>
                  <a:pt x="6972223" y="7190009"/>
                </a:cubicBezTo>
                <a:cubicBezTo>
                  <a:pt x="6977815" y="7184285"/>
                  <a:pt x="6985003" y="7181489"/>
                  <a:pt x="6994056" y="7181489"/>
                </a:cubicBezTo>
                <a:close/>
                <a:moveTo>
                  <a:pt x="6776544" y="7181489"/>
                </a:moveTo>
                <a:cubicBezTo>
                  <a:pt x="6780670" y="7181489"/>
                  <a:pt x="6784664" y="7182288"/>
                  <a:pt x="6788258" y="7183752"/>
                </a:cubicBezTo>
                <a:cubicBezTo>
                  <a:pt x="6791985" y="7185349"/>
                  <a:pt x="6795047" y="7187479"/>
                  <a:pt x="6797576" y="7190141"/>
                </a:cubicBezTo>
                <a:cubicBezTo>
                  <a:pt x="6800105" y="7192670"/>
                  <a:pt x="6802235" y="7195866"/>
                  <a:pt x="6803699" y="7199459"/>
                </a:cubicBezTo>
                <a:cubicBezTo>
                  <a:pt x="6805164" y="7203054"/>
                  <a:pt x="6805963" y="7206914"/>
                  <a:pt x="6805963" y="7210908"/>
                </a:cubicBezTo>
                <a:cubicBezTo>
                  <a:pt x="6805963" y="7215035"/>
                  <a:pt x="6805164" y="7219028"/>
                  <a:pt x="6803699" y="7222622"/>
                </a:cubicBezTo>
                <a:cubicBezTo>
                  <a:pt x="6802102" y="7226350"/>
                  <a:pt x="6800105" y="7229412"/>
                  <a:pt x="6797576" y="7232074"/>
                </a:cubicBezTo>
                <a:cubicBezTo>
                  <a:pt x="6794914" y="7234737"/>
                  <a:pt x="6791852" y="7236866"/>
                  <a:pt x="6788258" y="7238331"/>
                </a:cubicBezTo>
                <a:cubicBezTo>
                  <a:pt x="6784664" y="7239795"/>
                  <a:pt x="6780803" y="7240594"/>
                  <a:pt x="6776544" y="7240594"/>
                </a:cubicBezTo>
                <a:cubicBezTo>
                  <a:pt x="6767625" y="7240594"/>
                  <a:pt x="6760303" y="7237798"/>
                  <a:pt x="6754711" y="7232207"/>
                </a:cubicBezTo>
                <a:cubicBezTo>
                  <a:pt x="6749121" y="7226617"/>
                  <a:pt x="6746325" y="7219560"/>
                  <a:pt x="6746325" y="7211040"/>
                </a:cubicBezTo>
                <a:cubicBezTo>
                  <a:pt x="6746325" y="7202787"/>
                  <a:pt x="6749121" y="7195733"/>
                  <a:pt x="6754711" y="7190009"/>
                </a:cubicBezTo>
                <a:cubicBezTo>
                  <a:pt x="6760303" y="7184285"/>
                  <a:pt x="6767492" y="7181489"/>
                  <a:pt x="6776544" y="7181489"/>
                </a:cubicBezTo>
                <a:close/>
                <a:moveTo>
                  <a:pt x="6558899" y="7181489"/>
                </a:moveTo>
                <a:cubicBezTo>
                  <a:pt x="6563158" y="7181489"/>
                  <a:pt x="6567019" y="7182288"/>
                  <a:pt x="6570612" y="7183752"/>
                </a:cubicBezTo>
                <a:cubicBezTo>
                  <a:pt x="6574340" y="7185349"/>
                  <a:pt x="6577401" y="7187479"/>
                  <a:pt x="6579930" y="7190141"/>
                </a:cubicBezTo>
                <a:cubicBezTo>
                  <a:pt x="6582460" y="7192670"/>
                  <a:pt x="6584590" y="7195866"/>
                  <a:pt x="6586054" y="7199459"/>
                </a:cubicBezTo>
                <a:cubicBezTo>
                  <a:pt x="6587518" y="7203054"/>
                  <a:pt x="6588317" y="7206914"/>
                  <a:pt x="6588317" y="7210908"/>
                </a:cubicBezTo>
                <a:cubicBezTo>
                  <a:pt x="6588317" y="7215035"/>
                  <a:pt x="6587518" y="7219028"/>
                  <a:pt x="6586054" y="7222622"/>
                </a:cubicBezTo>
                <a:cubicBezTo>
                  <a:pt x="6584457" y="7226350"/>
                  <a:pt x="6582460" y="7229412"/>
                  <a:pt x="6579930" y="7232074"/>
                </a:cubicBezTo>
                <a:cubicBezTo>
                  <a:pt x="6577268" y="7234737"/>
                  <a:pt x="6574207" y="7236866"/>
                  <a:pt x="6570612" y="7238331"/>
                </a:cubicBezTo>
                <a:cubicBezTo>
                  <a:pt x="6567019" y="7239795"/>
                  <a:pt x="6563158" y="7240594"/>
                  <a:pt x="6558899" y="7240594"/>
                </a:cubicBezTo>
                <a:cubicBezTo>
                  <a:pt x="6549979" y="7240594"/>
                  <a:pt x="6542658" y="7237798"/>
                  <a:pt x="6537066" y="7232207"/>
                </a:cubicBezTo>
                <a:cubicBezTo>
                  <a:pt x="6531476" y="7226617"/>
                  <a:pt x="6528680" y="7219560"/>
                  <a:pt x="6528680" y="7211040"/>
                </a:cubicBezTo>
                <a:cubicBezTo>
                  <a:pt x="6528680" y="7202787"/>
                  <a:pt x="6531476" y="7195733"/>
                  <a:pt x="6537066" y="7190009"/>
                </a:cubicBezTo>
                <a:cubicBezTo>
                  <a:pt x="6542658" y="7184285"/>
                  <a:pt x="6549846" y="7181489"/>
                  <a:pt x="6558899" y="7181489"/>
                </a:cubicBezTo>
                <a:close/>
                <a:moveTo>
                  <a:pt x="6341253" y="7181489"/>
                </a:moveTo>
                <a:cubicBezTo>
                  <a:pt x="6345513" y="7181489"/>
                  <a:pt x="6349373" y="7182288"/>
                  <a:pt x="6352968" y="7183752"/>
                </a:cubicBezTo>
                <a:cubicBezTo>
                  <a:pt x="6356695" y="7185349"/>
                  <a:pt x="6359757" y="7187479"/>
                  <a:pt x="6362286" y="7190141"/>
                </a:cubicBezTo>
                <a:cubicBezTo>
                  <a:pt x="6364815" y="7192670"/>
                  <a:pt x="6366945" y="7195866"/>
                  <a:pt x="6368409" y="7199459"/>
                </a:cubicBezTo>
                <a:cubicBezTo>
                  <a:pt x="6369874" y="7203054"/>
                  <a:pt x="6370672" y="7206914"/>
                  <a:pt x="6370672" y="7210908"/>
                </a:cubicBezTo>
                <a:cubicBezTo>
                  <a:pt x="6370672" y="7215035"/>
                  <a:pt x="6369874" y="7219028"/>
                  <a:pt x="6368409" y="7222622"/>
                </a:cubicBezTo>
                <a:cubicBezTo>
                  <a:pt x="6366811" y="7226350"/>
                  <a:pt x="6364815" y="7229412"/>
                  <a:pt x="6362286" y="7232074"/>
                </a:cubicBezTo>
                <a:cubicBezTo>
                  <a:pt x="6359623" y="7234737"/>
                  <a:pt x="6356562" y="7236866"/>
                  <a:pt x="6352968" y="7238331"/>
                </a:cubicBezTo>
                <a:cubicBezTo>
                  <a:pt x="6349373" y="7239795"/>
                  <a:pt x="6345513" y="7240594"/>
                  <a:pt x="6341253" y="7240594"/>
                </a:cubicBezTo>
                <a:cubicBezTo>
                  <a:pt x="6332335" y="7240594"/>
                  <a:pt x="6325013" y="7237798"/>
                  <a:pt x="6319421" y="7232207"/>
                </a:cubicBezTo>
                <a:cubicBezTo>
                  <a:pt x="6313830" y="7226617"/>
                  <a:pt x="6311035" y="7219560"/>
                  <a:pt x="6311035" y="7211040"/>
                </a:cubicBezTo>
                <a:cubicBezTo>
                  <a:pt x="6311035" y="7202787"/>
                  <a:pt x="6313830" y="7195733"/>
                  <a:pt x="6319421" y="7190009"/>
                </a:cubicBezTo>
                <a:cubicBezTo>
                  <a:pt x="6325013" y="7184285"/>
                  <a:pt x="6332201" y="7181489"/>
                  <a:pt x="6341253" y="7181489"/>
                </a:cubicBezTo>
                <a:close/>
                <a:moveTo>
                  <a:pt x="6123608" y="7181489"/>
                </a:moveTo>
                <a:cubicBezTo>
                  <a:pt x="6127867" y="7181489"/>
                  <a:pt x="6131728" y="7182288"/>
                  <a:pt x="6135322" y="7183752"/>
                </a:cubicBezTo>
                <a:cubicBezTo>
                  <a:pt x="6139049" y="7185349"/>
                  <a:pt x="6142111" y="7187479"/>
                  <a:pt x="6144640" y="7190141"/>
                </a:cubicBezTo>
                <a:cubicBezTo>
                  <a:pt x="6147169" y="7192670"/>
                  <a:pt x="6149299" y="7195866"/>
                  <a:pt x="6150763" y="7199459"/>
                </a:cubicBezTo>
                <a:cubicBezTo>
                  <a:pt x="6152228" y="7203054"/>
                  <a:pt x="6153026" y="7206914"/>
                  <a:pt x="6153026" y="7210908"/>
                </a:cubicBezTo>
                <a:cubicBezTo>
                  <a:pt x="6153026" y="7215035"/>
                  <a:pt x="6152228" y="7219028"/>
                  <a:pt x="6150763" y="7222622"/>
                </a:cubicBezTo>
                <a:cubicBezTo>
                  <a:pt x="6149299" y="7226350"/>
                  <a:pt x="6147169" y="7229412"/>
                  <a:pt x="6144640" y="7232074"/>
                </a:cubicBezTo>
                <a:cubicBezTo>
                  <a:pt x="6141977" y="7234737"/>
                  <a:pt x="6138916" y="7236866"/>
                  <a:pt x="6135322" y="7238331"/>
                </a:cubicBezTo>
                <a:cubicBezTo>
                  <a:pt x="6131728" y="7239795"/>
                  <a:pt x="6127867" y="7240594"/>
                  <a:pt x="6123608" y="7240594"/>
                </a:cubicBezTo>
                <a:cubicBezTo>
                  <a:pt x="6114689" y="7240594"/>
                  <a:pt x="6107367" y="7237798"/>
                  <a:pt x="6101775" y="7232207"/>
                </a:cubicBezTo>
                <a:cubicBezTo>
                  <a:pt x="6096184" y="7226617"/>
                  <a:pt x="6093389" y="7219560"/>
                  <a:pt x="6093389" y="7211040"/>
                </a:cubicBezTo>
                <a:cubicBezTo>
                  <a:pt x="6093389" y="7202787"/>
                  <a:pt x="6096184" y="7195733"/>
                  <a:pt x="6101775" y="7190009"/>
                </a:cubicBezTo>
                <a:cubicBezTo>
                  <a:pt x="6107367" y="7184285"/>
                  <a:pt x="6114555" y="7181489"/>
                  <a:pt x="6123608" y="7181489"/>
                </a:cubicBezTo>
                <a:close/>
                <a:moveTo>
                  <a:pt x="5905963" y="7181489"/>
                </a:moveTo>
                <a:cubicBezTo>
                  <a:pt x="5910222" y="7181489"/>
                  <a:pt x="5914216" y="7182288"/>
                  <a:pt x="5917677" y="7183752"/>
                </a:cubicBezTo>
                <a:cubicBezTo>
                  <a:pt x="5921404" y="7185349"/>
                  <a:pt x="5924466" y="7187479"/>
                  <a:pt x="5926995" y="7190141"/>
                </a:cubicBezTo>
                <a:cubicBezTo>
                  <a:pt x="5929524" y="7192670"/>
                  <a:pt x="5931654" y="7195866"/>
                  <a:pt x="5933118" y="7199459"/>
                </a:cubicBezTo>
                <a:cubicBezTo>
                  <a:pt x="5934583" y="7203054"/>
                  <a:pt x="5935381" y="7206914"/>
                  <a:pt x="5935381" y="7210908"/>
                </a:cubicBezTo>
                <a:cubicBezTo>
                  <a:pt x="5935381" y="7215035"/>
                  <a:pt x="5934583" y="7219028"/>
                  <a:pt x="5933118" y="7222622"/>
                </a:cubicBezTo>
                <a:cubicBezTo>
                  <a:pt x="5931654" y="7226350"/>
                  <a:pt x="5929524" y="7229412"/>
                  <a:pt x="5926995" y="7232074"/>
                </a:cubicBezTo>
                <a:cubicBezTo>
                  <a:pt x="5924333" y="7234737"/>
                  <a:pt x="5921271" y="7236866"/>
                  <a:pt x="5917677" y="7238331"/>
                </a:cubicBezTo>
                <a:cubicBezTo>
                  <a:pt x="5914083" y="7239795"/>
                  <a:pt x="5910222" y="7240594"/>
                  <a:pt x="5905963" y="7240594"/>
                </a:cubicBezTo>
                <a:cubicBezTo>
                  <a:pt x="5897044" y="7240594"/>
                  <a:pt x="5889722" y="7237798"/>
                  <a:pt x="5884130" y="7232207"/>
                </a:cubicBezTo>
                <a:cubicBezTo>
                  <a:pt x="5878540" y="7226617"/>
                  <a:pt x="5875744" y="7219560"/>
                  <a:pt x="5875744" y="7211040"/>
                </a:cubicBezTo>
                <a:cubicBezTo>
                  <a:pt x="5875744" y="7202787"/>
                  <a:pt x="5878540" y="7195733"/>
                  <a:pt x="5884130" y="7190009"/>
                </a:cubicBezTo>
                <a:cubicBezTo>
                  <a:pt x="5889722" y="7184285"/>
                  <a:pt x="5896910" y="7181489"/>
                  <a:pt x="5905963" y="7181489"/>
                </a:cubicBezTo>
                <a:close/>
                <a:moveTo>
                  <a:pt x="5688451" y="7181489"/>
                </a:moveTo>
                <a:cubicBezTo>
                  <a:pt x="5692577" y="7181489"/>
                  <a:pt x="5696571" y="7182288"/>
                  <a:pt x="5700165" y="7183752"/>
                </a:cubicBezTo>
                <a:cubicBezTo>
                  <a:pt x="5703892" y="7185349"/>
                  <a:pt x="5706954" y="7187479"/>
                  <a:pt x="5709483" y="7190141"/>
                </a:cubicBezTo>
                <a:cubicBezTo>
                  <a:pt x="5712012" y="7192670"/>
                  <a:pt x="5714142" y="7195866"/>
                  <a:pt x="5715606" y="7199459"/>
                </a:cubicBezTo>
                <a:cubicBezTo>
                  <a:pt x="5717071" y="7203054"/>
                  <a:pt x="5717869" y="7206914"/>
                  <a:pt x="5717869" y="7210908"/>
                </a:cubicBezTo>
                <a:cubicBezTo>
                  <a:pt x="5717869" y="7215035"/>
                  <a:pt x="5717071" y="7219028"/>
                  <a:pt x="5715606" y="7222622"/>
                </a:cubicBezTo>
                <a:cubicBezTo>
                  <a:pt x="5714142" y="7226350"/>
                  <a:pt x="5712012" y="7229412"/>
                  <a:pt x="5709483" y="7232074"/>
                </a:cubicBezTo>
                <a:cubicBezTo>
                  <a:pt x="5706820" y="7234737"/>
                  <a:pt x="5703759" y="7236866"/>
                  <a:pt x="5700165" y="7238331"/>
                </a:cubicBezTo>
                <a:cubicBezTo>
                  <a:pt x="5696571" y="7239795"/>
                  <a:pt x="5692710" y="7240594"/>
                  <a:pt x="5688451" y="7240594"/>
                </a:cubicBezTo>
                <a:cubicBezTo>
                  <a:pt x="5679532" y="7240594"/>
                  <a:pt x="5672210" y="7237798"/>
                  <a:pt x="5666618" y="7232207"/>
                </a:cubicBezTo>
                <a:cubicBezTo>
                  <a:pt x="5661028" y="7226617"/>
                  <a:pt x="5658232" y="7219560"/>
                  <a:pt x="5658232" y="7211040"/>
                </a:cubicBezTo>
                <a:cubicBezTo>
                  <a:pt x="5658232" y="7202787"/>
                  <a:pt x="5661028" y="7195733"/>
                  <a:pt x="5666618" y="7190009"/>
                </a:cubicBezTo>
                <a:cubicBezTo>
                  <a:pt x="5672210" y="7184285"/>
                  <a:pt x="5679398" y="7181489"/>
                  <a:pt x="5688451" y="7181489"/>
                </a:cubicBezTo>
                <a:close/>
                <a:moveTo>
                  <a:pt x="5470806" y="7181489"/>
                </a:moveTo>
                <a:cubicBezTo>
                  <a:pt x="5475065" y="7181489"/>
                  <a:pt x="5478926" y="7182288"/>
                  <a:pt x="5482520" y="7183752"/>
                </a:cubicBezTo>
                <a:cubicBezTo>
                  <a:pt x="5486247" y="7185349"/>
                  <a:pt x="5489309" y="7187479"/>
                  <a:pt x="5491838" y="7190141"/>
                </a:cubicBezTo>
                <a:cubicBezTo>
                  <a:pt x="5494367" y="7192670"/>
                  <a:pt x="5496497" y="7195866"/>
                  <a:pt x="5497961" y="7199459"/>
                </a:cubicBezTo>
                <a:cubicBezTo>
                  <a:pt x="5499426" y="7203054"/>
                  <a:pt x="5500224" y="7206914"/>
                  <a:pt x="5500224" y="7210908"/>
                </a:cubicBezTo>
                <a:cubicBezTo>
                  <a:pt x="5500224" y="7215035"/>
                  <a:pt x="5499426" y="7219028"/>
                  <a:pt x="5497961" y="7222622"/>
                </a:cubicBezTo>
                <a:cubicBezTo>
                  <a:pt x="5496497" y="7226350"/>
                  <a:pt x="5494367" y="7229412"/>
                  <a:pt x="5491838" y="7232074"/>
                </a:cubicBezTo>
                <a:cubicBezTo>
                  <a:pt x="5489176" y="7234737"/>
                  <a:pt x="5486114" y="7236866"/>
                  <a:pt x="5482520" y="7238331"/>
                </a:cubicBezTo>
                <a:cubicBezTo>
                  <a:pt x="5478926" y="7239795"/>
                  <a:pt x="5475065" y="7240594"/>
                  <a:pt x="5470806" y="7240594"/>
                </a:cubicBezTo>
                <a:cubicBezTo>
                  <a:pt x="5461887" y="7240594"/>
                  <a:pt x="5454565" y="7237798"/>
                  <a:pt x="5448973" y="7232207"/>
                </a:cubicBezTo>
                <a:cubicBezTo>
                  <a:pt x="5443383" y="7226617"/>
                  <a:pt x="5440587" y="7219560"/>
                  <a:pt x="5440587" y="7211040"/>
                </a:cubicBezTo>
                <a:cubicBezTo>
                  <a:pt x="5440587" y="7202787"/>
                  <a:pt x="5443383" y="7195733"/>
                  <a:pt x="5448973" y="7190009"/>
                </a:cubicBezTo>
                <a:cubicBezTo>
                  <a:pt x="5454565" y="7184285"/>
                  <a:pt x="5461754" y="7181489"/>
                  <a:pt x="5470806" y="7181489"/>
                </a:cubicBezTo>
                <a:close/>
                <a:moveTo>
                  <a:pt x="5253160" y="7181489"/>
                </a:moveTo>
                <a:cubicBezTo>
                  <a:pt x="5257420" y="7181489"/>
                  <a:pt x="5261280" y="7182288"/>
                  <a:pt x="5264875" y="7183752"/>
                </a:cubicBezTo>
                <a:cubicBezTo>
                  <a:pt x="5268602" y="7185349"/>
                  <a:pt x="5271664" y="7187479"/>
                  <a:pt x="5274192" y="7190141"/>
                </a:cubicBezTo>
                <a:cubicBezTo>
                  <a:pt x="5276722" y="7192670"/>
                  <a:pt x="5278852" y="7195866"/>
                  <a:pt x="5280316" y="7199459"/>
                </a:cubicBezTo>
                <a:cubicBezTo>
                  <a:pt x="5281780" y="7203054"/>
                  <a:pt x="5282579" y="7206914"/>
                  <a:pt x="5282579" y="7210908"/>
                </a:cubicBezTo>
                <a:cubicBezTo>
                  <a:pt x="5282579" y="7215035"/>
                  <a:pt x="5281780" y="7219028"/>
                  <a:pt x="5280316" y="7222622"/>
                </a:cubicBezTo>
                <a:cubicBezTo>
                  <a:pt x="5278852" y="7226350"/>
                  <a:pt x="5276722" y="7229412"/>
                  <a:pt x="5274192" y="7232074"/>
                </a:cubicBezTo>
                <a:cubicBezTo>
                  <a:pt x="5271664" y="7234737"/>
                  <a:pt x="5268469" y="7236866"/>
                  <a:pt x="5264875" y="7238331"/>
                </a:cubicBezTo>
                <a:cubicBezTo>
                  <a:pt x="5261280" y="7239795"/>
                  <a:pt x="5257420" y="7240594"/>
                  <a:pt x="5253160" y="7240594"/>
                </a:cubicBezTo>
                <a:cubicBezTo>
                  <a:pt x="5244241" y="7240594"/>
                  <a:pt x="5236920" y="7237798"/>
                  <a:pt x="5231328" y="7232207"/>
                </a:cubicBezTo>
                <a:cubicBezTo>
                  <a:pt x="5225737" y="7226617"/>
                  <a:pt x="5222942" y="7219560"/>
                  <a:pt x="5222942" y="7211040"/>
                </a:cubicBezTo>
                <a:cubicBezTo>
                  <a:pt x="5222942" y="7202787"/>
                  <a:pt x="5225737" y="7195733"/>
                  <a:pt x="5231328" y="7190009"/>
                </a:cubicBezTo>
                <a:cubicBezTo>
                  <a:pt x="5236920" y="7184285"/>
                  <a:pt x="5244108" y="7181489"/>
                  <a:pt x="5253160" y="7181489"/>
                </a:cubicBezTo>
                <a:close/>
                <a:moveTo>
                  <a:pt x="5035515" y="7181489"/>
                </a:moveTo>
                <a:cubicBezTo>
                  <a:pt x="5039775" y="7181489"/>
                  <a:pt x="5043636" y="7182288"/>
                  <a:pt x="5047230" y="7183752"/>
                </a:cubicBezTo>
                <a:cubicBezTo>
                  <a:pt x="5050957" y="7185349"/>
                  <a:pt x="5054019" y="7187479"/>
                  <a:pt x="5056548" y="7190141"/>
                </a:cubicBezTo>
                <a:cubicBezTo>
                  <a:pt x="5059077" y="7192670"/>
                  <a:pt x="5061207" y="7195866"/>
                  <a:pt x="5062671" y="7199459"/>
                </a:cubicBezTo>
                <a:cubicBezTo>
                  <a:pt x="5064135" y="7203054"/>
                  <a:pt x="5064934" y="7206914"/>
                  <a:pt x="5064934" y="7210908"/>
                </a:cubicBezTo>
                <a:cubicBezTo>
                  <a:pt x="5064934" y="7215035"/>
                  <a:pt x="5064135" y="7219028"/>
                  <a:pt x="5062671" y="7222622"/>
                </a:cubicBezTo>
                <a:cubicBezTo>
                  <a:pt x="5061207" y="7226350"/>
                  <a:pt x="5059077" y="7229412"/>
                  <a:pt x="5056548" y="7232074"/>
                </a:cubicBezTo>
                <a:cubicBezTo>
                  <a:pt x="5053885" y="7234737"/>
                  <a:pt x="5050824" y="7236866"/>
                  <a:pt x="5047230" y="7238331"/>
                </a:cubicBezTo>
                <a:cubicBezTo>
                  <a:pt x="5043636" y="7239795"/>
                  <a:pt x="5039775" y="7240594"/>
                  <a:pt x="5035515" y="7240594"/>
                </a:cubicBezTo>
                <a:cubicBezTo>
                  <a:pt x="5026597" y="7240594"/>
                  <a:pt x="5019275" y="7237798"/>
                  <a:pt x="5013683" y="7232207"/>
                </a:cubicBezTo>
                <a:cubicBezTo>
                  <a:pt x="5008092" y="7226617"/>
                  <a:pt x="5005297" y="7219560"/>
                  <a:pt x="5005297" y="7211040"/>
                </a:cubicBezTo>
                <a:cubicBezTo>
                  <a:pt x="5005297" y="7202787"/>
                  <a:pt x="5008092" y="7195733"/>
                  <a:pt x="5013683" y="7190009"/>
                </a:cubicBezTo>
                <a:cubicBezTo>
                  <a:pt x="5019275" y="7184285"/>
                  <a:pt x="5026463" y="7181489"/>
                  <a:pt x="5035515" y="7181489"/>
                </a:cubicBezTo>
                <a:close/>
                <a:moveTo>
                  <a:pt x="4817870" y="7181489"/>
                </a:moveTo>
                <a:cubicBezTo>
                  <a:pt x="4822130" y="7181489"/>
                  <a:pt x="4826124" y="7182288"/>
                  <a:pt x="4829585" y="7183752"/>
                </a:cubicBezTo>
                <a:cubicBezTo>
                  <a:pt x="4833312" y="7185349"/>
                  <a:pt x="4836374" y="7187479"/>
                  <a:pt x="4838903" y="7190141"/>
                </a:cubicBezTo>
                <a:cubicBezTo>
                  <a:pt x="4841432" y="7192670"/>
                  <a:pt x="4843562" y="7195866"/>
                  <a:pt x="4845026" y="7199459"/>
                </a:cubicBezTo>
                <a:cubicBezTo>
                  <a:pt x="4846491" y="7203054"/>
                  <a:pt x="4847289" y="7206914"/>
                  <a:pt x="4847289" y="7210908"/>
                </a:cubicBezTo>
                <a:cubicBezTo>
                  <a:pt x="4847289" y="7215035"/>
                  <a:pt x="4846491" y="7219028"/>
                  <a:pt x="4845026" y="7222622"/>
                </a:cubicBezTo>
                <a:cubicBezTo>
                  <a:pt x="4843562" y="7226350"/>
                  <a:pt x="4841432" y="7229412"/>
                  <a:pt x="4838903" y="7232074"/>
                </a:cubicBezTo>
                <a:cubicBezTo>
                  <a:pt x="4836240" y="7234737"/>
                  <a:pt x="4833179" y="7236866"/>
                  <a:pt x="4829585" y="7238331"/>
                </a:cubicBezTo>
                <a:cubicBezTo>
                  <a:pt x="4825991" y="7239795"/>
                  <a:pt x="4822130" y="7240594"/>
                  <a:pt x="4817870" y="7240594"/>
                </a:cubicBezTo>
                <a:cubicBezTo>
                  <a:pt x="4808952" y="7240594"/>
                  <a:pt x="4801630" y="7237798"/>
                  <a:pt x="4796038" y="7232207"/>
                </a:cubicBezTo>
                <a:cubicBezTo>
                  <a:pt x="4790447" y="7226617"/>
                  <a:pt x="4787652" y="7219560"/>
                  <a:pt x="4787652" y="7211040"/>
                </a:cubicBezTo>
                <a:cubicBezTo>
                  <a:pt x="4787652" y="7202787"/>
                  <a:pt x="4790447" y="7195733"/>
                  <a:pt x="4796038" y="7190009"/>
                </a:cubicBezTo>
                <a:cubicBezTo>
                  <a:pt x="4801630" y="7184285"/>
                  <a:pt x="4808818" y="7181489"/>
                  <a:pt x="4817870" y="7181489"/>
                </a:cubicBezTo>
                <a:close/>
                <a:moveTo>
                  <a:pt x="4600226" y="7181489"/>
                </a:moveTo>
                <a:cubicBezTo>
                  <a:pt x="4604485" y="7181489"/>
                  <a:pt x="4608479" y="7182288"/>
                  <a:pt x="4612073" y="7183752"/>
                </a:cubicBezTo>
                <a:cubicBezTo>
                  <a:pt x="4615800" y="7185349"/>
                  <a:pt x="4618862" y="7187479"/>
                  <a:pt x="4621391" y="7190141"/>
                </a:cubicBezTo>
                <a:cubicBezTo>
                  <a:pt x="4623920" y="7192670"/>
                  <a:pt x="4626050" y="7195866"/>
                  <a:pt x="4627514" y="7199459"/>
                </a:cubicBezTo>
                <a:cubicBezTo>
                  <a:pt x="4628978" y="7203054"/>
                  <a:pt x="4629777" y="7206914"/>
                  <a:pt x="4629777" y="7210908"/>
                </a:cubicBezTo>
                <a:cubicBezTo>
                  <a:pt x="4629777" y="7215035"/>
                  <a:pt x="4628978" y="7219028"/>
                  <a:pt x="4627514" y="7222622"/>
                </a:cubicBezTo>
                <a:cubicBezTo>
                  <a:pt x="4626050" y="7226350"/>
                  <a:pt x="4623920" y="7229412"/>
                  <a:pt x="4621391" y="7232074"/>
                </a:cubicBezTo>
                <a:cubicBezTo>
                  <a:pt x="4618729" y="7234737"/>
                  <a:pt x="4615667" y="7236866"/>
                  <a:pt x="4612073" y="7238331"/>
                </a:cubicBezTo>
                <a:cubicBezTo>
                  <a:pt x="4608346" y="7239795"/>
                  <a:pt x="4604485" y="7240594"/>
                  <a:pt x="4600226" y="7240594"/>
                </a:cubicBezTo>
                <a:cubicBezTo>
                  <a:pt x="4591173" y="7240594"/>
                  <a:pt x="4583985" y="7237798"/>
                  <a:pt x="4578393" y="7232207"/>
                </a:cubicBezTo>
                <a:cubicBezTo>
                  <a:pt x="4572803" y="7226617"/>
                  <a:pt x="4570007" y="7219560"/>
                  <a:pt x="4570007" y="7211040"/>
                </a:cubicBezTo>
                <a:cubicBezTo>
                  <a:pt x="4570007" y="7202787"/>
                  <a:pt x="4572803" y="7195733"/>
                  <a:pt x="4578393" y="7190009"/>
                </a:cubicBezTo>
                <a:cubicBezTo>
                  <a:pt x="4583985" y="7184285"/>
                  <a:pt x="4591173" y="7181489"/>
                  <a:pt x="4600226" y="7181489"/>
                </a:cubicBezTo>
                <a:close/>
                <a:moveTo>
                  <a:pt x="4382713" y="7181489"/>
                </a:moveTo>
                <a:cubicBezTo>
                  <a:pt x="4386840" y="7181489"/>
                  <a:pt x="4390834" y="7182288"/>
                  <a:pt x="4394428" y="7183752"/>
                </a:cubicBezTo>
                <a:cubicBezTo>
                  <a:pt x="4398155" y="7185349"/>
                  <a:pt x="4401217" y="7187479"/>
                  <a:pt x="4403746" y="7190141"/>
                </a:cubicBezTo>
                <a:cubicBezTo>
                  <a:pt x="4406275" y="7192670"/>
                  <a:pt x="4408405" y="7195866"/>
                  <a:pt x="4409869" y="7199459"/>
                </a:cubicBezTo>
                <a:cubicBezTo>
                  <a:pt x="4411334" y="7203054"/>
                  <a:pt x="4412132" y="7206914"/>
                  <a:pt x="4412132" y="7210908"/>
                </a:cubicBezTo>
                <a:cubicBezTo>
                  <a:pt x="4412132" y="7215035"/>
                  <a:pt x="4411334" y="7219028"/>
                  <a:pt x="4409869" y="7222622"/>
                </a:cubicBezTo>
                <a:cubicBezTo>
                  <a:pt x="4408405" y="7226350"/>
                  <a:pt x="4406275" y="7229412"/>
                  <a:pt x="4403746" y="7232074"/>
                </a:cubicBezTo>
                <a:cubicBezTo>
                  <a:pt x="4401083" y="7234737"/>
                  <a:pt x="4398022" y="7236866"/>
                  <a:pt x="4394428" y="7238331"/>
                </a:cubicBezTo>
                <a:cubicBezTo>
                  <a:pt x="4390834" y="7239795"/>
                  <a:pt x="4386973" y="7240594"/>
                  <a:pt x="4382713" y="7240594"/>
                </a:cubicBezTo>
                <a:cubicBezTo>
                  <a:pt x="4373661" y="7240594"/>
                  <a:pt x="4366473" y="7237798"/>
                  <a:pt x="4360881" y="7232207"/>
                </a:cubicBezTo>
                <a:cubicBezTo>
                  <a:pt x="4355290" y="7226617"/>
                  <a:pt x="4352495" y="7219560"/>
                  <a:pt x="4352495" y="7211040"/>
                </a:cubicBezTo>
                <a:cubicBezTo>
                  <a:pt x="4352495" y="7202787"/>
                  <a:pt x="4355290" y="7195733"/>
                  <a:pt x="4360881" y="7190009"/>
                </a:cubicBezTo>
                <a:cubicBezTo>
                  <a:pt x="4366473" y="7184285"/>
                  <a:pt x="4373661" y="7181489"/>
                  <a:pt x="4382713" y="7181489"/>
                </a:cubicBezTo>
                <a:close/>
                <a:moveTo>
                  <a:pt x="4165068" y="7181489"/>
                </a:moveTo>
                <a:cubicBezTo>
                  <a:pt x="4169327" y="7181489"/>
                  <a:pt x="4173188" y="7182288"/>
                  <a:pt x="4176782" y="7183752"/>
                </a:cubicBezTo>
                <a:cubicBezTo>
                  <a:pt x="4180509" y="7185349"/>
                  <a:pt x="4183571" y="7187479"/>
                  <a:pt x="4186100" y="7190141"/>
                </a:cubicBezTo>
                <a:cubicBezTo>
                  <a:pt x="4188629" y="7192670"/>
                  <a:pt x="4190759" y="7195866"/>
                  <a:pt x="4192223" y="7199459"/>
                </a:cubicBezTo>
                <a:cubicBezTo>
                  <a:pt x="4193688" y="7203054"/>
                  <a:pt x="4194486" y="7206914"/>
                  <a:pt x="4194486" y="7210908"/>
                </a:cubicBezTo>
                <a:cubicBezTo>
                  <a:pt x="4194486" y="7215035"/>
                  <a:pt x="4193688" y="7219028"/>
                  <a:pt x="4192223" y="7222622"/>
                </a:cubicBezTo>
                <a:cubicBezTo>
                  <a:pt x="4190759" y="7226350"/>
                  <a:pt x="4188629" y="7229412"/>
                  <a:pt x="4186100" y="7232074"/>
                </a:cubicBezTo>
                <a:cubicBezTo>
                  <a:pt x="4183438" y="7234737"/>
                  <a:pt x="4180376" y="7236866"/>
                  <a:pt x="4176782" y="7238331"/>
                </a:cubicBezTo>
                <a:cubicBezTo>
                  <a:pt x="4173188" y="7239795"/>
                  <a:pt x="4169327" y="7240594"/>
                  <a:pt x="4165068" y="7240594"/>
                </a:cubicBezTo>
                <a:cubicBezTo>
                  <a:pt x="4156015" y="7240594"/>
                  <a:pt x="4148827" y="7237798"/>
                  <a:pt x="4143235" y="7232207"/>
                </a:cubicBezTo>
                <a:cubicBezTo>
                  <a:pt x="4137645" y="7226617"/>
                  <a:pt x="4134849" y="7219560"/>
                  <a:pt x="4134849" y="7211040"/>
                </a:cubicBezTo>
                <a:cubicBezTo>
                  <a:pt x="4134849" y="7202787"/>
                  <a:pt x="4137645" y="7195733"/>
                  <a:pt x="4143235" y="7190009"/>
                </a:cubicBezTo>
                <a:cubicBezTo>
                  <a:pt x="4148827" y="7184285"/>
                  <a:pt x="4156015" y="7181489"/>
                  <a:pt x="4165068" y="7181489"/>
                </a:cubicBezTo>
                <a:close/>
                <a:moveTo>
                  <a:pt x="3947814" y="7181489"/>
                </a:moveTo>
                <a:cubicBezTo>
                  <a:pt x="3952076" y="7181489"/>
                  <a:pt x="3955937" y="7182288"/>
                  <a:pt x="3959533" y="7183752"/>
                </a:cubicBezTo>
                <a:cubicBezTo>
                  <a:pt x="3963261" y="7185349"/>
                  <a:pt x="3966322" y="7187479"/>
                  <a:pt x="3968851" y="7190141"/>
                </a:cubicBezTo>
                <a:cubicBezTo>
                  <a:pt x="3971382" y="7192670"/>
                  <a:pt x="3973511" y="7195866"/>
                  <a:pt x="3974975" y="7199459"/>
                </a:cubicBezTo>
                <a:cubicBezTo>
                  <a:pt x="3976440" y="7203054"/>
                  <a:pt x="3977239" y="7206914"/>
                  <a:pt x="3977239" y="7210908"/>
                </a:cubicBezTo>
                <a:cubicBezTo>
                  <a:pt x="3977239" y="7215035"/>
                  <a:pt x="3976440" y="7219028"/>
                  <a:pt x="3974975" y="7222622"/>
                </a:cubicBezTo>
                <a:cubicBezTo>
                  <a:pt x="3973511" y="7226350"/>
                  <a:pt x="3971382" y="7229412"/>
                  <a:pt x="3968851" y="7232074"/>
                </a:cubicBezTo>
                <a:cubicBezTo>
                  <a:pt x="3966189" y="7234737"/>
                  <a:pt x="3963128" y="7236866"/>
                  <a:pt x="3959533" y="7238331"/>
                </a:cubicBezTo>
                <a:cubicBezTo>
                  <a:pt x="3955937" y="7239795"/>
                  <a:pt x="3952076" y="7240594"/>
                  <a:pt x="3947814" y="7240594"/>
                </a:cubicBezTo>
                <a:cubicBezTo>
                  <a:pt x="3938761" y="7240594"/>
                  <a:pt x="3931573" y="7237798"/>
                  <a:pt x="3925981" y="7232207"/>
                </a:cubicBezTo>
                <a:cubicBezTo>
                  <a:pt x="3920390" y="7226617"/>
                  <a:pt x="3917595" y="7219560"/>
                  <a:pt x="3917595" y="7211040"/>
                </a:cubicBezTo>
                <a:cubicBezTo>
                  <a:pt x="3917595" y="7202787"/>
                  <a:pt x="3920390" y="7195733"/>
                  <a:pt x="3925981" y="7190009"/>
                </a:cubicBezTo>
                <a:cubicBezTo>
                  <a:pt x="3931573" y="7184285"/>
                  <a:pt x="3938761" y="7181489"/>
                  <a:pt x="3947814" y="7181489"/>
                </a:cubicBezTo>
                <a:close/>
                <a:moveTo>
                  <a:pt x="3730152" y="7181489"/>
                </a:moveTo>
                <a:cubicBezTo>
                  <a:pt x="3734412" y="7181489"/>
                  <a:pt x="3738405" y="7182288"/>
                  <a:pt x="3741867" y="7183752"/>
                </a:cubicBezTo>
                <a:cubicBezTo>
                  <a:pt x="3745462" y="7185349"/>
                  <a:pt x="3748657" y="7187479"/>
                  <a:pt x="3751186" y="7190141"/>
                </a:cubicBezTo>
                <a:cubicBezTo>
                  <a:pt x="3753715" y="7192670"/>
                  <a:pt x="3755845" y="7195866"/>
                  <a:pt x="3757309" y="7199459"/>
                </a:cubicBezTo>
                <a:cubicBezTo>
                  <a:pt x="3758773" y="7203054"/>
                  <a:pt x="3759572" y="7206914"/>
                  <a:pt x="3759572" y="7210908"/>
                </a:cubicBezTo>
                <a:cubicBezTo>
                  <a:pt x="3759572" y="7215035"/>
                  <a:pt x="3758773" y="7219028"/>
                  <a:pt x="3757309" y="7222622"/>
                </a:cubicBezTo>
                <a:cubicBezTo>
                  <a:pt x="3755845" y="7226350"/>
                  <a:pt x="3753715" y="7229412"/>
                  <a:pt x="3751186" y="7232074"/>
                </a:cubicBezTo>
                <a:cubicBezTo>
                  <a:pt x="3748523" y="7234737"/>
                  <a:pt x="3745462" y="7236866"/>
                  <a:pt x="3741867" y="7238331"/>
                </a:cubicBezTo>
                <a:cubicBezTo>
                  <a:pt x="3738274" y="7239795"/>
                  <a:pt x="3734412" y="7240594"/>
                  <a:pt x="3730152" y="7240594"/>
                </a:cubicBezTo>
                <a:cubicBezTo>
                  <a:pt x="3721100" y="7240594"/>
                  <a:pt x="3713909" y="7237798"/>
                  <a:pt x="3708309" y="7232207"/>
                </a:cubicBezTo>
                <a:cubicBezTo>
                  <a:pt x="3702716" y="7226617"/>
                  <a:pt x="3699922" y="7219560"/>
                  <a:pt x="3699922" y="7211040"/>
                </a:cubicBezTo>
                <a:cubicBezTo>
                  <a:pt x="3699922" y="7202787"/>
                  <a:pt x="3702716" y="7195733"/>
                  <a:pt x="3708309" y="7190009"/>
                </a:cubicBezTo>
                <a:cubicBezTo>
                  <a:pt x="3713909" y="7184285"/>
                  <a:pt x="3721100" y="7181489"/>
                  <a:pt x="3730152" y="7181489"/>
                </a:cubicBezTo>
                <a:close/>
                <a:moveTo>
                  <a:pt x="3512486" y="7181489"/>
                </a:moveTo>
                <a:cubicBezTo>
                  <a:pt x="3516747" y="7181489"/>
                  <a:pt x="3520740" y="7182288"/>
                  <a:pt x="3524202" y="7183752"/>
                </a:cubicBezTo>
                <a:cubicBezTo>
                  <a:pt x="3527796" y="7185349"/>
                  <a:pt x="3530991" y="7187479"/>
                  <a:pt x="3533520" y="7190141"/>
                </a:cubicBezTo>
                <a:cubicBezTo>
                  <a:pt x="3536049" y="7192670"/>
                  <a:pt x="3538179" y="7195866"/>
                  <a:pt x="3539643" y="7199459"/>
                </a:cubicBezTo>
                <a:cubicBezTo>
                  <a:pt x="3541107" y="7203054"/>
                  <a:pt x="3541906" y="7206914"/>
                  <a:pt x="3541906" y="7210908"/>
                </a:cubicBezTo>
                <a:cubicBezTo>
                  <a:pt x="3541906" y="7215035"/>
                  <a:pt x="3541107" y="7219028"/>
                  <a:pt x="3539643" y="7222622"/>
                </a:cubicBezTo>
                <a:cubicBezTo>
                  <a:pt x="3538179" y="7226350"/>
                  <a:pt x="3536049" y="7229412"/>
                  <a:pt x="3533520" y="7232074"/>
                </a:cubicBezTo>
                <a:cubicBezTo>
                  <a:pt x="3530857" y="7234737"/>
                  <a:pt x="3527796" y="7236866"/>
                  <a:pt x="3524202" y="7238331"/>
                </a:cubicBezTo>
                <a:cubicBezTo>
                  <a:pt x="3520608" y="7239795"/>
                  <a:pt x="3516747" y="7240594"/>
                  <a:pt x="3512486" y="7240594"/>
                </a:cubicBezTo>
                <a:cubicBezTo>
                  <a:pt x="3503430" y="7240594"/>
                  <a:pt x="3496238" y="7237798"/>
                  <a:pt x="3490647" y="7232207"/>
                </a:cubicBezTo>
                <a:cubicBezTo>
                  <a:pt x="3485057" y="7226617"/>
                  <a:pt x="3482261" y="7219560"/>
                  <a:pt x="3482261" y="7211040"/>
                </a:cubicBezTo>
                <a:cubicBezTo>
                  <a:pt x="3482261" y="7202787"/>
                  <a:pt x="3485057" y="7195733"/>
                  <a:pt x="3490647" y="7190009"/>
                </a:cubicBezTo>
                <a:cubicBezTo>
                  <a:pt x="3496238" y="7184285"/>
                  <a:pt x="3503430" y="7181489"/>
                  <a:pt x="3512486" y="7181489"/>
                </a:cubicBezTo>
                <a:close/>
                <a:moveTo>
                  <a:pt x="3294953" y="7181489"/>
                </a:moveTo>
                <a:cubicBezTo>
                  <a:pt x="3299081" y="7181489"/>
                  <a:pt x="3303075" y="7182288"/>
                  <a:pt x="3306669" y="7183752"/>
                </a:cubicBezTo>
                <a:cubicBezTo>
                  <a:pt x="3310396" y="7185349"/>
                  <a:pt x="3313458" y="7187479"/>
                  <a:pt x="3315987" y="7190141"/>
                </a:cubicBezTo>
                <a:cubicBezTo>
                  <a:pt x="3318517" y="7192670"/>
                  <a:pt x="3320647" y="7195866"/>
                  <a:pt x="3322111" y="7199459"/>
                </a:cubicBezTo>
                <a:cubicBezTo>
                  <a:pt x="3323575" y="7203054"/>
                  <a:pt x="3324374" y="7206914"/>
                  <a:pt x="3324374" y="7210908"/>
                </a:cubicBezTo>
                <a:cubicBezTo>
                  <a:pt x="3324374" y="7215035"/>
                  <a:pt x="3323575" y="7219028"/>
                  <a:pt x="3322111" y="7222622"/>
                </a:cubicBezTo>
                <a:cubicBezTo>
                  <a:pt x="3320647" y="7226350"/>
                  <a:pt x="3318517" y="7229412"/>
                  <a:pt x="3315987" y="7232074"/>
                </a:cubicBezTo>
                <a:cubicBezTo>
                  <a:pt x="3313324" y="7234737"/>
                  <a:pt x="3310263" y="7236866"/>
                  <a:pt x="3306669" y="7238331"/>
                </a:cubicBezTo>
                <a:cubicBezTo>
                  <a:pt x="3303075" y="7239795"/>
                  <a:pt x="3299214" y="7240594"/>
                  <a:pt x="3294953" y="7240594"/>
                </a:cubicBezTo>
                <a:cubicBezTo>
                  <a:pt x="3285898" y="7240594"/>
                  <a:pt x="3278709" y="7237798"/>
                  <a:pt x="3273113" y="7232207"/>
                </a:cubicBezTo>
                <a:cubicBezTo>
                  <a:pt x="3267520" y="7226617"/>
                  <a:pt x="3264725" y="7219560"/>
                  <a:pt x="3264725" y="7211040"/>
                </a:cubicBezTo>
                <a:cubicBezTo>
                  <a:pt x="3264725" y="7202787"/>
                  <a:pt x="3267520" y="7195733"/>
                  <a:pt x="3273113" y="7190009"/>
                </a:cubicBezTo>
                <a:cubicBezTo>
                  <a:pt x="3278709" y="7184285"/>
                  <a:pt x="3285898" y="7181489"/>
                  <a:pt x="3294953" y="7181489"/>
                </a:cubicBezTo>
                <a:close/>
                <a:moveTo>
                  <a:pt x="3077288" y="7181489"/>
                </a:moveTo>
                <a:cubicBezTo>
                  <a:pt x="3081416" y="7181489"/>
                  <a:pt x="3085409" y="7182288"/>
                  <a:pt x="3089004" y="7183752"/>
                </a:cubicBezTo>
                <a:cubicBezTo>
                  <a:pt x="3092598" y="7185349"/>
                  <a:pt x="3095793" y="7187479"/>
                  <a:pt x="3098322" y="7190141"/>
                </a:cubicBezTo>
                <a:cubicBezTo>
                  <a:pt x="3100851" y="7192670"/>
                  <a:pt x="3102981" y="7195866"/>
                  <a:pt x="3104445" y="7199459"/>
                </a:cubicBezTo>
                <a:cubicBezTo>
                  <a:pt x="3105910" y="7203054"/>
                  <a:pt x="3106708" y="7206914"/>
                  <a:pt x="3106708" y="7210908"/>
                </a:cubicBezTo>
                <a:cubicBezTo>
                  <a:pt x="3106708" y="7215035"/>
                  <a:pt x="3105910" y="7219028"/>
                  <a:pt x="3104445" y="7222622"/>
                </a:cubicBezTo>
                <a:cubicBezTo>
                  <a:pt x="3102981" y="7226350"/>
                  <a:pt x="3100851" y="7229412"/>
                  <a:pt x="3098322" y="7232074"/>
                </a:cubicBezTo>
                <a:cubicBezTo>
                  <a:pt x="3095659" y="7234737"/>
                  <a:pt x="3092598" y="7236866"/>
                  <a:pt x="3089004" y="7238331"/>
                </a:cubicBezTo>
                <a:cubicBezTo>
                  <a:pt x="3085409" y="7239795"/>
                  <a:pt x="3081548" y="7240594"/>
                  <a:pt x="3077288" y="7240594"/>
                </a:cubicBezTo>
                <a:cubicBezTo>
                  <a:pt x="3068367" y="7240594"/>
                  <a:pt x="3061044" y="7237798"/>
                  <a:pt x="3055448" y="7232207"/>
                </a:cubicBezTo>
                <a:cubicBezTo>
                  <a:pt x="3049857" y="7226617"/>
                  <a:pt x="3047061" y="7219560"/>
                  <a:pt x="3047061" y="7211040"/>
                </a:cubicBezTo>
                <a:cubicBezTo>
                  <a:pt x="3047061" y="7202787"/>
                  <a:pt x="3049857" y="7195733"/>
                  <a:pt x="3055448" y="7190009"/>
                </a:cubicBezTo>
                <a:cubicBezTo>
                  <a:pt x="3061044" y="7184285"/>
                  <a:pt x="3068234" y="7181489"/>
                  <a:pt x="3077288" y="7181489"/>
                </a:cubicBezTo>
                <a:close/>
                <a:moveTo>
                  <a:pt x="2859623" y="7181489"/>
                </a:moveTo>
                <a:cubicBezTo>
                  <a:pt x="2863883" y="7181489"/>
                  <a:pt x="2867744" y="7182288"/>
                  <a:pt x="2871471" y="7183752"/>
                </a:cubicBezTo>
                <a:cubicBezTo>
                  <a:pt x="2875198" y="7185349"/>
                  <a:pt x="2878260" y="7187479"/>
                  <a:pt x="2880789" y="7190141"/>
                </a:cubicBezTo>
                <a:cubicBezTo>
                  <a:pt x="2883451" y="7192670"/>
                  <a:pt x="2885448" y="7195866"/>
                  <a:pt x="2886912" y="7199459"/>
                </a:cubicBezTo>
                <a:cubicBezTo>
                  <a:pt x="2888377" y="7203054"/>
                  <a:pt x="2889175" y="7206914"/>
                  <a:pt x="2889175" y="7210908"/>
                </a:cubicBezTo>
                <a:cubicBezTo>
                  <a:pt x="2889175" y="7215035"/>
                  <a:pt x="2888377" y="7219028"/>
                  <a:pt x="2886912" y="7222622"/>
                </a:cubicBezTo>
                <a:cubicBezTo>
                  <a:pt x="2885448" y="7226350"/>
                  <a:pt x="2883318" y="7229412"/>
                  <a:pt x="2880789" y="7232074"/>
                </a:cubicBezTo>
                <a:cubicBezTo>
                  <a:pt x="2878127" y="7234737"/>
                  <a:pt x="2875065" y="7236866"/>
                  <a:pt x="2871471" y="7238331"/>
                </a:cubicBezTo>
                <a:cubicBezTo>
                  <a:pt x="2867744" y="7239795"/>
                  <a:pt x="2863883" y="7240594"/>
                  <a:pt x="2859623" y="7240594"/>
                </a:cubicBezTo>
                <a:cubicBezTo>
                  <a:pt x="2850705" y="7240594"/>
                  <a:pt x="2843377" y="7237798"/>
                  <a:pt x="2837782" y="7232207"/>
                </a:cubicBezTo>
                <a:cubicBezTo>
                  <a:pt x="2832191" y="7226617"/>
                  <a:pt x="2829395" y="7219560"/>
                  <a:pt x="2829395" y="7211040"/>
                </a:cubicBezTo>
                <a:cubicBezTo>
                  <a:pt x="2829395" y="7202787"/>
                  <a:pt x="2832191" y="7195733"/>
                  <a:pt x="2837782" y="7190009"/>
                </a:cubicBezTo>
                <a:cubicBezTo>
                  <a:pt x="2843377" y="7184285"/>
                  <a:pt x="2850571" y="7181489"/>
                  <a:pt x="2859623" y="7181489"/>
                </a:cubicBezTo>
                <a:close/>
                <a:moveTo>
                  <a:pt x="2641957" y="7181489"/>
                </a:moveTo>
                <a:cubicBezTo>
                  <a:pt x="2646217" y="7181489"/>
                  <a:pt x="2650077" y="7182288"/>
                  <a:pt x="2653672" y="7183752"/>
                </a:cubicBezTo>
                <a:cubicBezTo>
                  <a:pt x="2657399" y="7185349"/>
                  <a:pt x="2660461" y="7187479"/>
                  <a:pt x="2662990" y="7190141"/>
                </a:cubicBezTo>
                <a:cubicBezTo>
                  <a:pt x="2665652" y="7192670"/>
                  <a:pt x="2667650" y="7195866"/>
                  <a:pt x="2669114" y="7199459"/>
                </a:cubicBezTo>
                <a:cubicBezTo>
                  <a:pt x="2670578" y="7203054"/>
                  <a:pt x="2671377" y="7206914"/>
                  <a:pt x="2671377" y="7210908"/>
                </a:cubicBezTo>
                <a:cubicBezTo>
                  <a:pt x="2671377" y="7215035"/>
                  <a:pt x="2670578" y="7219028"/>
                  <a:pt x="2669114" y="7222622"/>
                </a:cubicBezTo>
                <a:cubicBezTo>
                  <a:pt x="2667650" y="7226350"/>
                  <a:pt x="2665519" y="7229412"/>
                  <a:pt x="2662990" y="7232074"/>
                </a:cubicBezTo>
                <a:cubicBezTo>
                  <a:pt x="2660461" y="7234737"/>
                  <a:pt x="2657266" y="7236866"/>
                  <a:pt x="2653672" y="7238331"/>
                </a:cubicBezTo>
                <a:cubicBezTo>
                  <a:pt x="2650077" y="7239795"/>
                  <a:pt x="2646217" y="7240594"/>
                  <a:pt x="2641957" y="7240594"/>
                </a:cubicBezTo>
                <a:cubicBezTo>
                  <a:pt x="2633038" y="7240594"/>
                  <a:pt x="2625715" y="7237798"/>
                  <a:pt x="2620122" y="7232207"/>
                </a:cubicBezTo>
                <a:cubicBezTo>
                  <a:pt x="2614531" y="7226617"/>
                  <a:pt x="2611732" y="7219560"/>
                  <a:pt x="2611732" y="7211040"/>
                </a:cubicBezTo>
                <a:cubicBezTo>
                  <a:pt x="2611732" y="7202787"/>
                  <a:pt x="2614531" y="7195733"/>
                  <a:pt x="2620122" y="7190009"/>
                </a:cubicBezTo>
                <a:cubicBezTo>
                  <a:pt x="2625715" y="7184285"/>
                  <a:pt x="2632905" y="7181489"/>
                  <a:pt x="2641957" y="7181489"/>
                </a:cubicBezTo>
                <a:close/>
                <a:moveTo>
                  <a:pt x="2424291" y="7181489"/>
                </a:moveTo>
                <a:cubicBezTo>
                  <a:pt x="2428551" y="7181489"/>
                  <a:pt x="2432546" y="7182288"/>
                  <a:pt x="2436006" y="7183752"/>
                </a:cubicBezTo>
                <a:cubicBezTo>
                  <a:pt x="2439733" y="7185349"/>
                  <a:pt x="2442795" y="7187479"/>
                  <a:pt x="2445324" y="7190141"/>
                </a:cubicBezTo>
                <a:cubicBezTo>
                  <a:pt x="2447987" y="7192670"/>
                  <a:pt x="2449984" y="7195866"/>
                  <a:pt x="2451448" y="7199459"/>
                </a:cubicBezTo>
                <a:cubicBezTo>
                  <a:pt x="2452912" y="7203054"/>
                  <a:pt x="2453711" y="7206914"/>
                  <a:pt x="2453711" y="7210908"/>
                </a:cubicBezTo>
                <a:cubicBezTo>
                  <a:pt x="2453711" y="7215035"/>
                  <a:pt x="2452912" y="7219028"/>
                  <a:pt x="2451448" y="7222622"/>
                </a:cubicBezTo>
                <a:cubicBezTo>
                  <a:pt x="2449984" y="7226350"/>
                  <a:pt x="2447853" y="7229412"/>
                  <a:pt x="2445324" y="7232074"/>
                </a:cubicBezTo>
                <a:cubicBezTo>
                  <a:pt x="2442795" y="7234737"/>
                  <a:pt x="2439601" y="7236866"/>
                  <a:pt x="2436006" y="7238331"/>
                </a:cubicBezTo>
                <a:cubicBezTo>
                  <a:pt x="2432412" y="7239795"/>
                  <a:pt x="2428551" y="7240594"/>
                  <a:pt x="2424291" y="7240594"/>
                </a:cubicBezTo>
                <a:cubicBezTo>
                  <a:pt x="2415373" y="7240594"/>
                  <a:pt x="2408051" y="7237798"/>
                  <a:pt x="2402459" y="7232207"/>
                </a:cubicBezTo>
                <a:cubicBezTo>
                  <a:pt x="2396865" y="7226617"/>
                  <a:pt x="2394068" y="7219560"/>
                  <a:pt x="2394068" y="7211040"/>
                </a:cubicBezTo>
                <a:cubicBezTo>
                  <a:pt x="2394068" y="7202787"/>
                  <a:pt x="2396865" y="7195733"/>
                  <a:pt x="2402459" y="7190009"/>
                </a:cubicBezTo>
                <a:cubicBezTo>
                  <a:pt x="2408051" y="7184285"/>
                  <a:pt x="2415239" y="7181489"/>
                  <a:pt x="2424291" y="7181489"/>
                </a:cubicBezTo>
                <a:close/>
                <a:moveTo>
                  <a:pt x="2206625" y="7181489"/>
                </a:moveTo>
                <a:cubicBezTo>
                  <a:pt x="2210885" y="7181489"/>
                  <a:pt x="2214880" y="7182288"/>
                  <a:pt x="2218340" y="7183752"/>
                </a:cubicBezTo>
                <a:cubicBezTo>
                  <a:pt x="2222067" y="7185349"/>
                  <a:pt x="2225129" y="7187479"/>
                  <a:pt x="2227659" y="7190141"/>
                </a:cubicBezTo>
                <a:cubicBezTo>
                  <a:pt x="2230321" y="7192670"/>
                  <a:pt x="2232318" y="7195866"/>
                  <a:pt x="2233782" y="7199459"/>
                </a:cubicBezTo>
                <a:cubicBezTo>
                  <a:pt x="2235246" y="7203054"/>
                  <a:pt x="2236045" y="7206914"/>
                  <a:pt x="2236045" y="7210908"/>
                </a:cubicBezTo>
                <a:cubicBezTo>
                  <a:pt x="2236045" y="7215035"/>
                  <a:pt x="2235246" y="7219028"/>
                  <a:pt x="2233782" y="7222622"/>
                </a:cubicBezTo>
                <a:cubicBezTo>
                  <a:pt x="2232318" y="7226350"/>
                  <a:pt x="2230187" y="7229412"/>
                  <a:pt x="2227659" y="7232074"/>
                </a:cubicBezTo>
                <a:cubicBezTo>
                  <a:pt x="2225129" y="7234737"/>
                  <a:pt x="2221935" y="7236866"/>
                  <a:pt x="2218340" y="7238331"/>
                </a:cubicBezTo>
                <a:cubicBezTo>
                  <a:pt x="2214746" y="7239795"/>
                  <a:pt x="2210885" y="7240594"/>
                  <a:pt x="2206625" y="7240594"/>
                </a:cubicBezTo>
                <a:cubicBezTo>
                  <a:pt x="2197573" y="7240594"/>
                  <a:pt x="2190385" y="7237798"/>
                  <a:pt x="2184792" y="7232207"/>
                </a:cubicBezTo>
                <a:cubicBezTo>
                  <a:pt x="2179200" y="7226617"/>
                  <a:pt x="2176403" y="7219560"/>
                  <a:pt x="2176403" y="7211040"/>
                </a:cubicBezTo>
                <a:cubicBezTo>
                  <a:pt x="2176403" y="7202787"/>
                  <a:pt x="2179200" y="7195733"/>
                  <a:pt x="2184792" y="7190009"/>
                </a:cubicBezTo>
                <a:cubicBezTo>
                  <a:pt x="2190385" y="7184285"/>
                  <a:pt x="2197573" y="7181489"/>
                  <a:pt x="2206625" y="7181489"/>
                </a:cubicBezTo>
                <a:close/>
                <a:moveTo>
                  <a:pt x="1989092" y="7181489"/>
                </a:moveTo>
                <a:cubicBezTo>
                  <a:pt x="1993219" y="7181489"/>
                  <a:pt x="1997214" y="7182288"/>
                  <a:pt x="2000808" y="7183752"/>
                </a:cubicBezTo>
                <a:cubicBezTo>
                  <a:pt x="2004535" y="7185349"/>
                  <a:pt x="2007597" y="7187479"/>
                  <a:pt x="2010126" y="7190141"/>
                </a:cubicBezTo>
                <a:cubicBezTo>
                  <a:pt x="2012788" y="7192670"/>
                  <a:pt x="2014785" y="7195866"/>
                  <a:pt x="2016249" y="7199459"/>
                </a:cubicBezTo>
                <a:cubicBezTo>
                  <a:pt x="2017713" y="7203054"/>
                  <a:pt x="2018512" y="7206914"/>
                  <a:pt x="2018512" y="7210908"/>
                </a:cubicBezTo>
                <a:cubicBezTo>
                  <a:pt x="2018512" y="7215035"/>
                  <a:pt x="2017713" y="7219028"/>
                  <a:pt x="2016249" y="7222622"/>
                </a:cubicBezTo>
                <a:cubicBezTo>
                  <a:pt x="2014785" y="7226350"/>
                  <a:pt x="2012655" y="7229412"/>
                  <a:pt x="2010126" y="7232074"/>
                </a:cubicBezTo>
                <a:cubicBezTo>
                  <a:pt x="2007597" y="7234737"/>
                  <a:pt x="2004401" y="7236866"/>
                  <a:pt x="2000808" y="7238331"/>
                </a:cubicBezTo>
                <a:cubicBezTo>
                  <a:pt x="1997214" y="7239795"/>
                  <a:pt x="1993352" y="7240594"/>
                  <a:pt x="1989092" y="7240594"/>
                </a:cubicBezTo>
                <a:cubicBezTo>
                  <a:pt x="1980041" y="7240594"/>
                  <a:pt x="1972852" y="7237798"/>
                  <a:pt x="1967261" y="7232207"/>
                </a:cubicBezTo>
                <a:cubicBezTo>
                  <a:pt x="1961671" y="7226617"/>
                  <a:pt x="1958875" y="7219560"/>
                  <a:pt x="1958875" y="7211040"/>
                </a:cubicBezTo>
                <a:cubicBezTo>
                  <a:pt x="1958875" y="7202787"/>
                  <a:pt x="1961671" y="7195733"/>
                  <a:pt x="1967261" y="7190009"/>
                </a:cubicBezTo>
                <a:cubicBezTo>
                  <a:pt x="1972852" y="7184285"/>
                  <a:pt x="1980041" y="7181489"/>
                  <a:pt x="1989092" y="7181489"/>
                </a:cubicBezTo>
                <a:close/>
                <a:moveTo>
                  <a:pt x="1771462" y="7181489"/>
                </a:moveTo>
                <a:cubicBezTo>
                  <a:pt x="1775721" y="7181489"/>
                  <a:pt x="1779580" y="7182288"/>
                  <a:pt x="1783175" y="7183752"/>
                </a:cubicBezTo>
                <a:cubicBezTo>
                  <a:pt x="1786903" y="7185349"/>
                  <a:pt x="1789964" y="7187479"/>
                  <a:pt x="1792493" y="7190141"/>
                </a:cubicBezTo>
                <a:cubicBezTo>
                  <a:pt x="1795155" y="7192670"/>
                  <a:pt x="1797153" y="7195866"/>
                  <a:pt x="1798616" y="7199459"/>
                </a:cubicBezTo>
                <a:cubicBezTo>
                  <a:pt x="1800080" y="7203054"/>
                  <a:pt x="1800879" y="7206914"/>
                  <a:pt x="1800879" y="7210908"/>
                </a:cubicBezTo>
                <a:cubicBezTo>
                  <a:pt x="1800879" y="7215035"/>
                  <a:pt x="1800080" y="7219028"/>
                  <a:pt x="1798616" y="7222622"/>
                </a:cubicBezTo>
                <a:cubicBezTo>
                  <a:pt x="1797153" y="7226350"/>
                  <a:pt x="1795023" y="7229412"/>
                  <a:pt x="1792493" y="7232074"/>
                </a:cubicBezTo>
                <a:cubicBezTo>
                  <a:pt x="1789830" y="7234737"/>
                  <a:pt x="1786770" y="7236866"/>
                  <a:pt x="1783175" y="7238331"/>
                </a:cubicBezTo>
                <a:cubicBezTo>
                  <a:pt x="1779580" y="7239795"/>
                  <a:pt x="1775721" y="7240594"/>
                  <a:pt x="1771462" y="7240594"/>
                </a:cubicBezTo>
                <a:cubicBezTo>
                  <a:pt x="1762543" y="7240594"/>
                  <a:pt x="1755224" y="7237798"/>
                  <a:pt x="1749633" y="7232207"/>
                </a:cubicBezTo>
                <a:cubicBezTo>
                  <a:pt x="1744044" y="7226617"/>
                  <a:pt x="1741251" y="7219560"/>
                  <a:pt x="1741251" y="7211040"/>
                </a:cubicBezTo>
                <a:cubicBezTo>
                  <a:pt x="1741251" y="7202787"/>
                  <a:pt x="1744044" y="7195733"/>
                  <a:pt x="1749633" y="7190009"/>
                </a:cubicBezTo>
                <a:cubicBezTo>
                  <a:pt x="1755224" y="7184285"/>
                  <a:pt x="1762410" y="7181489"/>
                  <a:pt x="1771462" y="7181489"/>
                </a:cubicBezTo>
                <a:close/>
                <a:moveTo>
                  <a:pt x="1553827" y="7181489"/>
                </a:moveTo>
                <a:cubicBezTo>
                  <a:pt x="1558087" y="7181489"/>
                  <a:pt x="1561948" y="7182288"/>
                  <a:pt x="1565542" y="7183752"/>
                </a:cubicBezTo>
                <a:cubicBezTo>
                  <a:pt x="1569137" y="7185349"/>
                  <a:pt x="1572331" y="7187479"/>
                  <a:pt x="1574861" y="7190141"/>
                </a:cubicBezTo>
                <a:cubicBezTo>
                  <a:pt x="1577522" y="7192670"/>
                  <a:pt x="1579519" y="7195866"/>
                  <a:pt x="1580983" y="7199459"/>
                </a:cubicBezTo>
                <a:cubicBezTo>
                  <a:pt x="1582447" y="7203054"/>
                  <a:pt x="1583246" y="7206914"/>
                  <a:pt x="1583246" y="7210908"/>
                </a:cubicBezTo>
                <a:cubicBezTo>
                  <a:pt x="1583246" y="7215035"/>
                  <a:pt x="1582447" y="7219028"/>
                  <a:pt x="1580983" y="7222622"/>
                </a:cubicBezTo>
                <a:cubicBezTo>
                  <a:pt x="1579519" y="7226350"/>
                  <a:pt x="1577389" y="7229412"/>
                  <a:pt x="1574861" y="7232074"/>
                </a:cubicBezTo>
                <a:cubicBezTo>
                  <a:pt x="1572198" y="7234737"/>
                  <a:pt x="1569137" y="7236866"/>
                  <a:pt x="1565542" y="7238331"/>
                </a:cubicBezTo>
                <a:cubicBezTo>
                  <a:pt x="1561948" y="7239795"/>
                  <a:pt x="1558087" y="7240594"/>
                  <a:pt x="1553827" y="7240594"/>
                </a:cubicBezTo>
                <a:cubicBezTo>
                  <a:pt x="1544909" y="7240594"/>
                  <a:pt x="1537588" y="7237798"/>
                  <a:pt x="1531999" y="7232207"/>
                </a:cubicBezTo>
                <a:cubicBezTo>
                  <a:pt x="1526410" y="7226617"/>
                  <a:pt x="1523613" y="7219560"/>
                  <a:pt x="1523613" y="7211040"/>
                </a:cubicBezTo>
                <a:cubicBezTo>
                  <a:pt x="1523613" y="7202787"/>
                  <a:pt x="1526410" y="7195733"/>
                  <a:pt x="1531999" y="7190009"/>
                </a:cubicBezTo>
                <a:cubicBezTo>
                  <a:pt x="1537588" y="7184285"/>
                  <a:pt x="1544776" y="7181489"/>
                  <a:pt x="1553827" y="7181489"/>
                </a:cubicBezTo>
                <a:close/>
                <a:moveTo>
                  <a:pt x="1336184" y="7181489"/>
                </a:moveTo>
                <a:cubicBezTo>
                  <a:pt x="1340444" y="7181489"/>
                  <a:pt x="1344440" y="7182288"/>
                  <a:pt x="1347900" y="7183752"/>
                </a:cubicBezTo>
                <a:cubicBezTo>
                  <a:pt x="1351493" y="7185349"/>
                  <a:pt x="1354688" y="7187479"/>
                  <a:pt x="1357218" y="7190141"/>
                </a:cubicBezTo>
                <a:cubicBezTo>
                  <a:pt x="1359880" y="7192670"/>
                  <a:pt x="1361877" y="7195866"/>
                  <a:pt x="1363341" y="7199459"/>
                </a:cubicBezTo>
                <a:cubicBezTo>
                  <a:pt x="1364804" y="7203054"/>
                  <a:pt x="1365603" y="7206914"/>
                  <a:pt x="1365603" y="7210908"/>
                </a:cubicBezTo>
                <a:cubicBezTo>
                  <a:pt x="1365603" y="7215035"/>
                  <a:pt x="1364804" y="7219028"/>
                  <a:pt x="1363341" y="7222622"/>
                </a:cubicBezTo>
                <a:cubicBezTo>
                  <a:pt x="1361877" y="7226350"/>
                  <a:pt x="1359747" y="7229412"/>
                  <a:pt x="1357218" y="7232074"/>
                </a:cubicBezTo>
                <a:cubicBezTo>
                  <a:pt x="1354554" y="7234737"/>
                  <a:pt x="1351493" y="7236866"/>
                  <a:pt x="1347900" y="7238331"/>
                </a:cubicBezTo>
                <a:cubicBezTo>
                  <a:pt x="1344306" y="7239795"/>
                  <a:pt x="1340444" y="7240594"/>
                  <a:pt x="1336184" y="7240594"/>
                </a:cubicBezTo>
                <a:cubicBezTo>
                  <a:pt x="1327264" y="7240594"/>
                  <a:pt x="1319943" y="7237798"/>
                  <a:pt x="1314351" y="7232207"/>
                </a:cubicBezTo>
                <a:cubicBezTo>
                  <a:pt x="1308762" y="7226617"/>
                  <a:pt x="1305966" y="7219560"/>
                  <a:pt x="1305966" y="7211040"/>
                </a:cubicBezTo>
                <a:cubicBezTo>
                  <a:pt x="1305966" y="7202787"/>
                  <a:pt x="1308762" y="7195733"/>
                  <a:pt x="1314351" y="7190009"/>
                </a:cubicBezTo>
                <a:cubicBezTo>
                  <a:pt x="1319943" y="7184285"/>
                  <a:pt x="1327131" y="7181489"/>
                  <a:pt x="1336184" y="7181489"/>
                </a:cubicBezTo>
                <a:close/>
                <a:moveTo>
                  <a:pt x="1118539" y="7181489"/>
                </a:moveTo>
                <a:cubicBezTo>
                  <a:pt x="1122800" y="7181489"/>
                  <a:pt x="1126797" y="7182288"/>
                  <a:pt x="1130258" y="7183752"/>
                </a:cubicBezTo>
                <a:cubicBezTo>
                  <a:pt x="1133984" y="7185349"/>
                  <a:pt x="1137047" y="7187479"/>
                  <a:pt x="1139572" y="7190141"/>
                </a:cubicBezTo>
                <a:cubicBezTo>
                  <a:pt x="1142232" y="7192670"/>
                  <a:pt x="1144228" y="7195866"/>
                  <a:pt x="1145691" y="7199459"/>
                </a:cubicBezTo>
                <a:cubicBezTo>
                  <a:pt x="1147155" y="7203054"/>
                  <a:pt x="1147954" y="7206914"/>
                  <a:pt x="1147954" y="7210908"/>
                </a:cubicBezTo>
                <a:cubicBezTo>
                  <a:pt x="1147954" y="7215035"/>
                  <a:pt x="1147155" y="7219028"/>
                  <a:pt x="1145691" y="7222622"/>
                </a:cubicBezTo>
                <a:cubicBezTo>
                  <a:pt x="1144228" y="7226350"/>
                  <a:pt x="1142099" y="7229412"/>
                  <a:pt x="1139572" y="7232074"/>
                </a:cubicBezTo>
                <a:cubicBezTo>
                  <a:pt x="1137047" y="7234737"/>
                  <a:pt x="1133852" y="7236866"/>
                  <a:pt x="1130258" y="7238331"/>
                </a:cubicBezTo>
                <a:cubicBezTo>
                  <a:pt x="1126662" y="7239795"/>
                  <a:pt x="1122800" y="7240594"/>
                  <a:pt x="1118539" y="7240594"/>
                </a:cubicBezTo>
                <a:cubicBezTo>
                  <a:pt x="1109618" y="7240594"/>
                  <a:pt x="1102294" y="7237798"/>
                  <a:pt x="1096703" y="7232207"/>
                </a:cubicBezTo>
                <a:cubicBezTo>
                  <a:pt x="1091113" y="7226617"/>
                  <a:pt x="1088318" y="7219560"/>
                  <a:pt x="1088318" y="7211040"/>
                </a:cubicBezTo>
                <a:cubicBezTo>
                  <a:pt x="1088318" y="7202787"/>
                  <a:pt x="1091113" y="7195733"/>
                  <a:pt x="1096703" y="7190009"/>
                </a:cubicBezTo>
                <a:cubicBezTo>
                  <a:pt x="1102294" y="7184285"/>
                  <a:pt x="1109484" y="7181489"/>
                  <a:pt x="1118539" y="7181489"/>
                </a:cubicBezTo>
                <a:close/>
                <a:moveTo>
                  <a:pt x="901025" y="7181489"/>
                </a:moveTo>
                <a:cubicBezTo>
                  <a:pt x="905152" y="7181489"/>
                  <a:pt x="909147" y="7182288"/>
                  <a:pt x="912741" y="7183752"/>
                </a:cubicBezTo>
                <a:cubicBezTo>
                  <a:pt x="916468" y="7185349"/>
                  <a:pt x="919530" y="7187479"/>
                  <a:pt x="922059" y="7190141"/>
                </a:cubicBezTo>
                <a:cubicBezTo>
                  <a:pt x="924721" y="7192670"/>
                  <a:pt x="926718" y="7195866"/>
                  <a:pt x="928181" y="7199459"/>
                </a:cubicBezTo>
                <a:cubicBezTo>
                  <a:pt x="929646" y="7203054"/>
                  <a:pt x="930444" y="7206914"/>
                  <a:pt x="930444" y="7210908"/>
                </a:cubicBezTo>
                <a:cubicBezTo>
                  <a:pt x="930444" y="7215035"/>
                  <a:pt x="929646" y="7219028"/>
                  <a:pt x="928181" y="7222622"/>
                </a:cubicBezTo>
                <a:cubicBezTo>
                  <a:pt x="926718" y="7226350"/>
                  <a:pt x="924588" y="7229412"/>
                  <a:pt x="922059" y="7232074"/>
                </a:cubicBezTo>
                <a:cubicBezTo>
                  <a:pt x="919530" y="7234737"/>
                  <a:pt x="916335" y="7236866"/>
                  <a:pt x="912741" y="7238331"/>
                </a:cubicBezTo>
                <a:cubicBezTo>
                  <a:pt x="909147" y="7239795"/>
                  <a:pt x="905285" y="7240594"/>
                  <a:pt x="901025" y="7240594"/>
                </a:cubicBezTo>
                <a:cubicBezTo>
                  <a:pt x="892107" y="7240594"/>
                  <a:pt x="884785" y="7237798"/>
                  <a:pt x="879195" y="7232207"/>
                </a:cubicBezTo>
                <a:cubicBezTo>
                  <a:pt x="873606" y="7226617"/>
                  <a:pt x="870810" y="7219560"/>
                  <a:pt x="870810" y="7211040"/>
                </a:cubicBezTo>
                <a:cubicBezTo>
                  <a:pt x="870810" y="7202787"/>
                  <a:pt x="873606" y="7195733"/>
                  <a:pt x="879195" y="7190009"/>
                </a:cubicBezTo>
                <a:cubicBezTo>
                  <a:pt x="884785" y="7184285"/>
                  <a:pt x="891974" y="7181489"/>
                  <a:pt x="901025" y="7181489"/>
                </a:cubicBezTo>
                <a:close/>
                <a:moveTo>
                  <a:pt x="683387" y="7181489"/>
                </a:moveTo>
                <a:cubicBezTo>
                  <a:pt x="687647" y="7181489"/>
                  <a:pt x="691508" y="7182288"/>
                  <a:pt x="695102" y="7183752"/>
                </a:cubicBezTo>
                <a:cubicBezTo>
                  <a:pt x="698829" y="7185349"/>
                  <a:pt x="701890" y="7187479"/>
                  <a:pt x="704418" y="7190141"/>
                </a:cubicBezTo>
                <a:cubicBezTo>
                  <a:pt x="707081" y="7192670"/>
                  <a:pt x="709078" y="7195866"/>
                  <a:pt x="710542" y="7199459"/>
                </a:cubicBezTo>
                <a:cubicBezTo>
                  <a:pt x="712006" y="7203054"/>
                  <a:pt x="712805" y="7206914"/>
                  <a:pt x="712805" y="7210908"/>
                </a:cubicBezTo>
                <a:cubicBezTo>
                  <a:pt x="712805" y="7215035"/>
                  <a:pt x="712006" y="7219028"/>
                  <a:pt x="710542" y="7222622"/>
                </a:cubicBezTo>
                <a:cubicBezTo>
                  <a:pt x="709078" y="7226350"/>
                  <a:pt x="706948" y="7229412"/>
                  <a:pt x="704418" y="7232074"/>
                </a:cubicBezTo>
                <a:cubicBezTo>
                  <a:pt x="701890" y="7234737"/>
                  <a:pt x="698696" y="7236866"/>
                  <a:pt x="695102" y="7238331"/>
                </a:cubicBezTo>
                <a:cubicBezTo>
                  <a:pt x="691508" y="7239795"/>
                  <a:pt x="687647" y="7240594"/>
                  <a:pt x="683387" y="7240594"/>
                </a:cubicBezTo>
                <a:cubicBezTo>
                  <a:pt x="674469" y="7240594"/>
                  <a:pt x="667146" y="7237798"/>
                  <a:pt x="661555" y="7232207"/>
                </a:cubicBezTo>
                <a:cubicBezTo>
                  <a:pt x="655964" y="7226617"/>
                  <a:pt x="653169" y="7219560"/>
                  <a:pt x="653169" y="7211040"/>
                </a:cubicBezTo>
                <a:cubicBezTo>
                  <a:pt x="653169" y="7202787"/>
                  <a:pt x="655964" y="7195733"/>
                  <a:pt x="661555" y="7190009"/>
                </a:cubicBezTo>
                <a:cubicBezTo>
                  <a:pt x="667146" y="7184285"/>
                  <a:pt x="674335" y="7181489"/>
                  <a:pt x="683387" y="7181489"/>
                </a:cubicBezTo>
                <a:close/>
                <a:moveTo>
                  <a:pt x="465746" y="7181489"/>
                </a:moveTo>
                <a:cubicBezTo>
                  <a:pt x="470006" y="7181489"/>
                  <a:pt x="473867" y="7182288"/>
                  <a:pt x="477462" y="7183752"/>
                </a:cubicBezTo>
                <a:cubicBezTo>
                  <a:pt x="481189" y="7185349"/>
                  <a:pt x="484250" y="7187479"/>
                  <a:pt x="486779" y="7190141"/>
                </a:cubicBezTo>
                <a:cubicBezTo>
                  <a:pt x="489440" y="7192670"/>
                  <a:pt x="491438" y="7195866"/>
                  <a:pt x="492902" y="7199459"/>
                </a:cubicBezTo>
                <a:cubicBezTo>
                  <a:pt x="494365" y="7203054"/>
                  <a:pt x="495164" y="7206914"/>
                  <a:pt x="495164" y="7210908"/>
                </a:cubicBezTo>
                <a:cubicBezTo>
                  <a:pt x="495164" y="7215035"/>
                  <a:pt x="494365" y="7219028"/>
                  <a:pt x="492902" y="7222622"/>
                </a:cubicBezTo>
                <a:cubicBezTo>
                  <a:pt x="491438" y="7226350"/>
                  <a:pt x="489308" y="7229412"/>
                  <a:pt x="486779" y="7232074"/>
                </a:cubicBezTo>
                <a:cubicBezTo>
                  <a:pt x="484116" y="7234737"/>
                  <a:pt x="481056" y="7236866"/>
                  <a:pt x="477462" y="7238331"/>
                </a:cubicBezTo>
                <a:cubicBezTo>
                  <a:pt x="473867" y="7239795"/>
                  <a:pt x="470006" y="7240594"/>
                  <a:pt x="465746" y="7240594"/>
                </a:cubicBezTo>
                <a:cubicBezTo>
                  <a:pt x="456828" y="7240594"/>
                  <a:pt x="449506" y="7237798"/>
                  <a:pt x="443915" y="7232207"/>
                </a:cubicBezTo>
                <a:cubicBezTo>
                  <a:pt x="438324" y="7226617"/>
                  <a:pt x="435529" y="7219560"/>
                  <a:pt x="435529" y="7211040"/>
                </a:cubicBezTo>
                <a:cubicBezTo>
                  <a:pt x="435529" y="7202787"/>
                  <a:pt x="438324" y="7195733"/>
                  <a:pt x="443915" y="7190009"/>
                </a:cubicBezTo>
                <a:cubicBezTo>
                  <a:pt x="449506" y="7184285"/>
                  <a:pt x="456695" y="7181489"/>
                  <a:pt x="465746" y="7181489"/>
                </a:cubicBezTo>
                <a:close/>
                <a:moveTo>
                  <a:pt x="248106" y="7181489"/>
                </a:moveTo>
                <a:cubicBezTo>
                  <a:pt x="252365" y="7181489"/>
                  <a:pt x="256359" y="7182288"/>
                  <a:pt x="259820" y="7183752"/>
                </a:cubicBezTo>
                <a:cubicBezTo>
                  <a:pt x="263547" y="7185349"/>
                  <a:pt x="266609" y="7187479"/>
                  <a:pt x="269138" y="7190141"/>
                </a:cubicBezTo>
                <a:cubicBezTo>
                  <a:pt x="271800" y="7192670"/>
                  <a:pt x="273797" y="7195866"/>
                  <a:pt x="275261" y="7199459"/>
                </a:cubicBezTo>
                <a:cubicBezTo>
                  <a:pt x="276725" y="7203054"/>
                  <a:pt x="277524" y="7206914"/>
                  <a:pt x="277524" y="7210908"/>
                </a:cubicBezTo>
                <a:cubicBezTo>
                  <a:pt x="277524" y="7215035"/>
                  <a:pt x="276725" y="7219028"/>
                  <a:pt x="275261" y="7222622"/>
                </a:cubicBezTo>
                <a:cubicBezTo>
                  <a:pt x="273797" y="7226350"/>
                  <a:pt x="271667" y="7229412"/>
                  <a:pt x="269138" y="7232074"/>
                </a:cubicBezTo>
                <a:cubicBezTo>
                  <a:pt x="266475" y="7234737"/>
                  <a:pt x="263414" y="7236866"/>
                  <a:pt x="259820" y="7238331"/>
                </a:cubicBezTo>
                <a:cubicBezTo>
                  <a:pt x="256225" y="7239795"/>
                  <a:pt x="252365" y="7240594"/>
                  <a:pt x="248106" y="7240594"/>
                </a:cubicBezTo>
                <a:cubicBezTo>
                  <a:pt x="239188" y="7240594"/>
                  <a:pt x="231867" y="7237798"/>
                  <a:pt x="226277" y="7232207"/>
                </a:cubicBezTo>
                <a:cubicBezTo>
                  <a:pt x="220687" y="7226617"/>
                  <a:pt x="217892" y="7219560"/>
                  <a:pt x="217892" y="7211040"/>
                </a:cubicBezTo>
                <a:cubicBezTo>
                  <a:pt x="217892" y="7202787"/>
                  <a:pt x="220687" y="7195733"/>
                  <a:pt x="226277" y="7190009"/>
                </a:cubicBezTo>
                <a:cubicBezTo>
                  <a:pt x="231867" y="7184285"/>
                  <a:pt x="239055" y="7181489"/>
                  <a:pt x="248106" y="7181489"/>
                </a:cubicBezTo>
                <a:close/>
                <a:moveTo>
                  <a:pt x="30465" y="7181489"/>
                </a:moveTo>
                <a:cubicBezTo>
                  <a:pt x="34725" y="7181489"/>
                  <a:pt x="38719" y="7182288"/>
                  <a:pt x="42180" y="7183752"/>
                </a:cubicBezTo>
                <a:cubicBezTo>
                  <a:pt x="45907" y="7185349"/>
                  <a:pt x="48969" y="7187479"/>
                  <a:pt x="51499" y="7190141"/>
                </a:cubicBezTo>
                <a:cubicBezTo>
                  <a:pt x="54161" y="7192670"/>
                  <a:pt x="56158" y="7195866"/>
                  <a:pt x="57622" y="7199459"/>
                </a:cubicBezTo>
                <a:cubicBezTo>
                  <a:pt x="59086" y="7203054"/>
                  <a:pt x="59885" y="7206914"/>
                  <a:pt x="59885" y="7210908"/>
                </a:cubicBezTo>
                <a:cubicBezTo>
                  <a:pt x="59885" y="7215035"/>
                  <a:pt x="59086" y="7219028"/>
                  <a:pt x="57622" y="7222622"/>
                </a:cubicBezTo>
                <a:cubicBezTo>
                  <a:pt x="56158" y="7226350"/>
                  <a:pt x="54027" y="7229412"/>
                  <a:pt x="51499" y="7232074"/>
                </a:cubicBezTo>
                <a:cubicBezTo>
                  <a:pt x="48835" y="7234737"/>
                  <a:pt x="45774" y="7236866"/>
                  <a:pt x="42180" y="7238331"/>
                </a:cubicBezTo>
                <a:cubicBezTo>
                  <a:pt x="38586" y="7239795"/>
                  <a:pt x="34725" y="7240594"/>
                  <a:pt x="30465" y="7240594"/>
                </a:cubicBezTo>
                <a:cubicBezTo>
                  <a:pt x="21547" y="7240594"/>
                  <a:pt x="14227" y="7237798"/>
                  <a:pt x="8639" y="7232207"/>
                </a:cubicBezTo>
                <a:cubicBezTo>
                  <a:pt x="3048" y="7226617"/>
                  <a:pt x="253" y="7219560"/>
                  <a:pt x="253" y="7211040"/>
                </a:cubicBezTo>
                <a:cubicBezTo>
                  <a:pt x="253" y="7202787"/>
                  <a:pt x="3048" y="7195733"/>
                  <a:pt x="8639" y="7190009"/>
                </a:cubicBezTo>
                <a:cubicBezTo>
                  <a:pt x="14227" y="7184285"/>
                  <a:pt x="21413" y="7181489"/>
                  <a:pt x="30465" y="7181489"/>
                </a:cubicBezTo>
                <a:close/>
                <a:moveTo>
                  <a:pt x="10475977" y="6980351"/>
                </a:moveTo>
                <a:cubicBezTo>
                  <a:pt x="10470119" y="6980351"/>
                  <a:pt x="10467589" y="6982214"/>
                  <a:pt x="10465992" y="6983945"/>
                </a:cubicBezTo>
                <a:cubicBezTo>
                  <a:pt x="10463463" y="6986607"/>
                  <a:pt x="10462399" y="6989403"/>
                  <a:pt x="10462399" y="6993396"/>
                </a:cubicBezTo>
                <a:cubicBezTo>
                  <a:pt x="10462399" y="6997523"/>
                  <a:pt x="10463463" y="7000319"/>
                  <a:pt x="10465992" y="7002848"/>
                </a:cubicBezTo>
                <a:cubicBezTo>
                  <a:pt x="10467589" y="7004579"/>
                  <a:pt x="10470119" y="7006442"/>
                  <a:pt x="10475977" y="7006442"/>
                </a:cubicBezTo>
                <a:cubicBezTo>
                  <a:pt x="10478107" y="7006442"/>
                  <a:pt x="10479838" y="7006177"/>
                  <a:pt x="10481302" y="7005378"/>
                </a:cubicBezTo>
                <a:cubicBezTo>
                  <a:pt x="10482899" y="7004845"/>
                  <a:pt x="10484098" y="7004046"/>
                  <a:pt x="10485029" y="7002980"/>
                </a:cubicBezTo>
                <a:cubicBezTo>
                  <a:pt x="10486094" y="7001783"/>
                  <a:pt x="10487026" y="7000451"/>
                  <a:pt x="10487691" y="6998721"/>
                </a:cubicBezTo>
                <a:cubicBezTo>
                  <a:pt x="10488357" y="6997123"/>
                  <a:pt x="10488623" y="6995260"/>
                  <a:pt x="10488623" y="6993263"/>
                </a:cubicBezTo>
                <a:cubicBezTo>
                  <a:pt x="10488623" y="6991399"/>
                  <a:pt x="10488357" y="6989669"/>
                  <a:pt x="10487691" y="6988071"/>
                </a:cubicBezTo>
                <a:cubicBezTo>
                  <a:pt x="10487026" y="6986474"/>
                  <a:pt x="10486094" y="6985143"/>
                  <a:pt x="10485029" y="6983945"/>
                </a:cubicBezTo>
                <a:cubicBezTo>
                  <a:pt x="10483964" y="6982880"/>
                  <a:pt x="10482633" y="6981948"/>
                  <a:pt x="10481035" y="6981283"/>
                </a:cubicBezTo>
                <a:cubicBezTo>
                  <a:pt x="10479571" y="6980617"/>
                  <a:pt x="10477974" y="6980351"/>
                  <a:pt x="10475977" y="6980351"/>
                </a:cubicBezTo>
                <a:close/>
                <a:moveTo>
                  <a:pt x="10258466" y="6980351"/>
                </a:moveTo>
                <a:cubicBezTo>
                  <a:pt x="10252608" y="6980351"/>
                  <a:pt x="10250078" y="6982214"/>
                  <a:pt x="10248481" y="6983945"/>
                </a:cubicBezTo>
                <a:cubicBezTo>
                  <a:pt x="10245952" y="6986607"/>
                  <a:pt x="10244887" y="6989403"/>
                  <a:pt x="10244887" y="6993396"/>
                </a:cubicBezTo>
                <a:cubicBezTo>
                  <a:pt x="10244887" y="6997523"/>
                  <a:pt x="10245952" y="7000319"/>
                  <a:pt x="10248481" y="7002848"/>
                </a:cubicBezTo>
                <a:cubicBezTo>
                  <a:pt x="10250078" y="7004579"/>
                  <a:pt x="10252608" y="7006442"/>
                  <a:pt x="10258466" y="7006442"/>
                </a:cubicBezTo>
                <a:cubicBezTo>
                  <a:pt x="10260462" y="7006442"/>
                  <a:pt x="10262192" y="7006177"/>
                  <a:pt x="10263790" y="7005378"/>
                </a:cubicBezTo>
                <a:cubicBezTo>
                  <a:pt x="10265388" y="7004845"/>
                  <a:pt x="10266586" y="7004046"/>
                  <a:pt x="10267517" y="7002980"/>
                </a:cubicBezTo>
                <a:cubicBezTo>
                  <a:pt x="10268583" y="7001783"/>
                  <a:pt x="10269515" y="7000451"/>
                  <a:pt x="10270180" y="6998721"/>
                </a:cubicBezTo>
                <a:cubicBezTo>
                  <a:pt x="10270845" y="6997123"/>
                  <a:pt x="10271112" y="6995260"/>
                  <a:pt x="10271112" y="6993263"/>
                </a:cubicBezTo>
                <a:cubicBezTo>
                  <a:pt x="10271112" y="6991399"/>
                  <a:pt x="10270845" y="6989669"/>
                  <a:pt x="10270180" y="6988071"/>
                </a:cubicBezTo>
                <a:cubicBezTo>
                  <a:pt x="10269515" y="6986474"/>
                  <a:pt x="10268583" y="6985143"/>
                  <a:pt x="10267517" y="6983945"/>
                </a:cubicBezTo>
                <a:cubicBezTo>
                  <a:pt x="10266452" y="6982880"/>
                  <a:pt x="10265121" y="6981948"/>
                  <a:pt x="10263524" y="6981283"/>
                </a:cubicBezTo>
                <a:cubicBezTo>
                  <a:pt x="10262060" y="6980617"/>
                  <a:pt x="10260462" y="6980351"/>
                  <a:pt x="10258466" y="6980351"/>
                </a:cubicBezTo>
                <a:close/>
                <a:moveTo>
                  <a:pt x="10040820" y="6980351"/>
                </a:moveTo>
                <a:cubicBezTo>
                  <a:pt x="10034962" y="6980351"/>
                  <a:pt x="10032433" y="6982214"/>
                  <a:pt x="10030835" y="6983945"/>
                </a:cubicBezTo>
                <a:cubicBezTo>
                  <a:pt x="10028306" y="6986607"/>
                  <a:pt x="10027242" y="6989403"/>
                  <a:pt x="10027242" y="6993396"/>
                </a:cubicBezTo>
                <a:cubicBezTo>
                  <a:pt x="10027242" y="6997523"/>
                  <a:pt x="10028306" y="7000319"/>
                  <a:pt x="10030835" y="7002848"/>
                </a:cubicBezTo>
                <a:cubicBezTo>
                  <a:pt x="10032433" y="7004579"/>
                  <a:pt x="10034962" y="7006442"/>
                  <a:pt x="10040820" y="7006442"/>
                </a:cubicBezTo>
                <a:cubicBezTo>
                  <a:pt x="10042817" y="7006442"/>
                  <a:pt x="10044681" y="7006177"/>
                  <a:pt x="10046145" y="7005378"/>
                </a:cubicBezTo>
                <a:cubicBezTo>
                  <a:pt x="10047742" y="7004845"/>
                  <a:pt x="10048941" y="7004046"/>
                  <a:pt x="10049872" y="7002980"/>
                </a:cubicBezTo>
                <a:cubicBezTo>
                  <a:pt x="10050937" y="7001783"/>
                  <a:pt x="10051869" y="7000451"/>
                  <a:pt x="10052534" y="6998721"/>
                </a:cubicBezTo>
                <a:cubicBezTo>
                  <a:pt x="10053333" y="6997123"/>
                  <a:pt x="10053599" y="6995260"/>
                  <a:pt x="10053599" y="6993263"/>
                </a:cubicBezTo>
                <a:cubicBezTo>
                  <a:pt x="10053599" y="6991399"/>
                  <a:pt x="10053200" y="6989669"/>
                  <a:pt x="10052534" y="6988071"/>
                </a:cubicBezTo>
                <a:cubicBezTo>
                  <a:pt x="10051869" y="6986474"/>
                  <a:pt x="10050937" y="6985143"/>
                  <a:pt x="10049872" y="6983945"/>
                </a:cubicBezTo>
                <a:cubicBezTo>
                  <a:pt x="10048807" y="6982880"/>
                  <a:pt x="10047476" y="6981948"/>
                  <a:pt x="10045878" y="6981283"/>
                </a:cubicBezTo>
                <a:cubicBezTo>
                  <a:pt x="10044414" y="6980617"/>
                  <a:pt x="10042817" y="6980351"/>
                  <a:pt x="10040820" y="6980351"/>
                </a:cubicBezTo>
                <a:close/>
                <a:moveTo>
                  <a:pt x="9823176" y="6980351"/>
                </a:moveTo>
                <a:cubicBezTo>
                  <a:pt x="9817318" y="6980351"/>
                  <a:pt x="9814788" y="6982214"/>
                  <a:pt x="9813191" y="6983945"/>
                </a:cubicBezTo>
                <a:cubicBezTo>
                  <a:pt x="9810662" y="6986607"/>
                  <a:pt x="9809597" y="6989403"/>
                  <a:pt x="9809597" y="6993396"/>
                </a:cubicBezTo>
                <a:cubicBezTo>
                  <a:pt x="9809597" y="6997523"/>
                  <a:pt x="9810662" y="7000319"/>
                  <a:pt x="9813191" y="7002848"/>
                </a:cubicBezTo>
                <a:cubicBezTo>
                  <a:pt x="9814788" y="7004579"/>
                  <a:pt x="9817318" y="7006442"/>
                  <a:pt x="9823176" y="7006442"/>
                </a:cubicBezTo>
                <a:cubicBezTo>
                  <a:pt x="9825173" y="7006442"/>
                  <a:pt x="9827036" y="7006177"/>
                  <a:pt x="9828501" y="7005378"/>
                </a:cubicBezTo>
                <a:cubicBezTo>
                  <a:pt x="9830098" y="7004845"/>
                  <a:pt x="9831296" y="7004046"/>
                  <a:pt x="9832227" y="7002980"/>
                </a:cubicBezTo>
                <a:cubicBezTo>
                  <a:pt x="9833293" y="7001783"/>
                  <a:pt x="9834225" y="7000451"/>
                  <a:pt x="9834890" y="6998721"/>
                </a:cubicBezTo>
                <a:cubicBezTo>
                  <a:pt x="9835689" y="6997123"/>
                  <a:pt x="9835955" y="6995260"/>
                  <a:pt x="9835955" y="6993263"/>
                </a:cubicBezTo>
                <a:cubicBezTo>
                  <a:pt x="9835955" y="6991399"/>
                  <a:pt x="9835555" y="6989669"/>
                  <a:pt x="9834890" y="6988071"/>
                </a:cubicBezTo>
                <a:cubicBezTo>
                  <a:pt x="9834225" y="6986474"/>
                  <a:pt x="9833293" y="6985143"/>
                  <a:pt x="9832227" y="6983945"/>
                </a:cubicBezTo>
                <a:cubicBezTo>
                  <a:pt x="9831162" y="6982880"/>
                  <a:pt x="9829831" y="6981948"/>
                  <a:pt x="9828234" y="6981283"/>
                </a:cubicBezTo>
                <a:cubicBezTo>
                  <a:pt x="9826770" y="6980617"/>
                  <a:pt x="9825173" y="6980351"/>
                  <a:pt x="9823176" y="6980351"/>
                </a:cubicBezTo>
                <a:close/>
                <a:moveTo>
                  <a:pt x="9605531" y="6980351"/>
                </a:moveTo>
                <a:cubicBezTo>
                  <a:pt x="9599673" y="6980351"/>
                  <a:pt x="9597143" y="6982214"/>
                  <a:pt x="9595546" y="6983945"/>
                </a:cubicBezTo>
                <a:cubicBezTo>
                  <a:pt x="9593017" y="6986607"/>
                  <a:pt x="9591952" y="6989403"/>
                  <a:pt x="9591952" y="6993396"/>
                </a:cubicBezTo>
                <a:cubicBezTo>
                  <a:pt x="9591952" y="6997523"/>
                  <a:pt x="9593017" y="7000319"/>
                  <a:pt x="9595546" y="7002848"/>
                </a:cubicBezTo>
                <a:cubicBezTo>
                  <a:pt x="9597143" y="7004579"/>
                  <a:pt x="9599673" y="7006442"/>
                  <a:pt x="9605531" y="7006442"/>
                </a:cubicBezTo>
                <a:cubicBezTo>
                  <a:pt x="9607660" y="7006442"/>
                  <a:pt x="9609391" y="7006177"/>
                  <a:pt x="9610855" y="7005378"/>
                </a:cubicBezTo>
                <a:cubicBezTo>
                  <a:pt x="9612319" y="7004845"/>
                  <a:pt x="9613651" y="7004046"/>
                  <a:pt x="9614582" y="7002980"/>
                </a:cubicBezTo>
                <a:cubicBezTo>
                  <a:pt x="9615647" y="7001783"/>
                  <a:pt x="9616579" y="7000451"/>
                  <a:pt x="9617245" y="6998721"/>
                </a:cubicBezTo>
                <a:cubicBezTo>
                  <a:pt x="9618044" y="6997123"/>
                  <a:pt x="9618309" y="6995260"/>
                  <a:pt x="9618309" y="6993263"/>
                </a:cubicBezTo>
                <a:cubicBezTo>
                  <a:pt x="9618309" y="6991399"/>
                  <a:pt x="9617910" y="6989669"/>
                  <a:pt x="9617245" y="6988071"/>
                </a:cubicBezTo>
                <a:cubicBezTo>
                  <a:pt x="9616579" y="6986474"/>
                  <a:pt x="9615647" y="6985143"/>
                  <a:pt x="9614582" y="6983945"/>
                </a:cubicBezTo>
                <a:cubicBezTo>
                  <a:pt x="9613517" y="6982880"/>
                  <a:pt x="9612186" y="6981948"/>
                  <a:pt x="9610589" y="6981283"/>
                </a:cubicBezTo>
                <a:cubicBezTo>
                  <a:pt x="9609124" y="6980617"/>
                  <a:pt x="9607394" y="6980351"/>
                  <a:pt x="9605531" y="6980351"/>
                </a:cubicBezTo>
                <a:close/>
                <a:moveTo>
                  <a:pt x="9387885" y="6980351"/>
                </a:moveTo>
                <a:cubicBezTo>
                  <a:pt x="9382027" y="6980351"/>
                  <a:pt x="9379497" y="6982214"/>
                  <a:pt x="9377900" y="6983945"/>
                </a:cubicBezTo>
                <a:cubicBezTo>
                  <a:pt x="9375371" y="6986607"/>
                  <a:pt x="9374307" y="6989403"/>
                  <a:pt x="9374307" y="6993396"/>
                </a:cubicBezTo>
                <a:cubicBezTo>
                  <a:pt x="9374307" y="6997523"/>
                  <a:pt x="9375371" y="7000319"/>
                  <a:pt x="9377900" y="7002848"/>
                </a:cubicBezTo>
                <a:cubicBezTo>
                  <a:pt x="9379497" y="7004579"/>
                  <a:pt x="9382027" y="7006442"/>
                  <a:pt x="9387885" y="7006442"/>
                </a:cubicBezTo>
                <a:cubicBezTo>
                  <a:pt x="9390015" y="7006442"/>
                  <a:pt x="9391746" y="7006177"/>
                  <a:pt x="9393210" y="7005378"/>
                </a:cubicBezTo>
                <a:cubicBezTo>
                  <a:pt x="9394674" y="7004845"/>
                  <a:pt x="9396005" y="7004046"/>
                  <a:pt x="9396937" y="7002980"/>
                </a:cubicBezTo>
                <a:cubicBezTo>
                  <a:pt x="9398002" y="7001783"/>
                  <a:pt x="9398934" y="7000451"/>
                  <a:pt x="9399599" y="6998721"/>
                </a:cubicBezTo>
                <a:cubicBezTo>
                  <a:pt x="9400398" y="6997123"/>
                  <a:pt x="9400664" y="6995260"/>
                  <a:pt x="9400664" y="6993263"/>
                </a:cubicBezTo>
                <a:cubicBezTo>
                  <a:pt x="9400664" y="6991399"/>
                  <a:pt x="9400265" y="6989669"/>
                  <a:pt x="9399599" y="6988071"/>
                </a:cubicBezTo>
                <a:cubicBezTo>
                  <a:pt x="9398934" y="6986474"/>
                  <a:pt x="9398002" y="6985143"/>
                  <a:pt x="9396937" y="6983945"/>
                </a:cubicBezTo>
                <a:cubicBezTo>
                  <a:pt x="9395872" y="6982880"/>
                  <a:pt x="9394541" y="6981948"/>
                  <a:pt x="9392943" y="6981283"/>
                </a:cubicBezTo>
                <a:cubicBezTo>
                  <a:pt x="9391479" y="6980617"/>
                  <a:pt x="9389749" y="6980351"/>
                  <a:pt x="9387885" y="6980351"/>
                </a:cubicBezTo>
                <a:close/>
                <a:moveTo>
                  <a:pt x="9170374" y="6980351"/>
                </a:moveTo>
                <a:cubicBezTo>
                  <a:pt x="9164649" y="6980351"/>
                  <a:pt x="9161986" y="6982214"/>
                  <a:pt x="9160389" y="6983945"/>
                </a:cubicBezTo>
                <a:cubicBezTo>
                  <a:pt x="9157860" y="6986607"/>
                  <a:pt x="9156795" y="6989403"/>
                  <a:pt x="9156795" y="6993396"/>
                </a:cubicBezTo>
                <a:cubicBezTo>
                  <a:pt x="9156795" y="6997523"/>
                  <a:pt x="9157860" y="7000319"/>
                  <a:pt x="9160389" y="7002848"/>
                </a:cubicBezTo>
                <a:cubicBezTo>
                  <a:pt x="9161986" y="7004579"/>
                  <a:pt x="9164516" y="7006442"/>
                  <a:pt x="9170374" y="7006442"/>
                </a:cubicBezTo>
                <a:cubicBezTo>
                  <a:pt x="9172370" y="7006442"/>
                  <a:pt x="9174100" y="7006177"/>
                  <a:pt x="9175698" y="7005378"/>
                </a:cubicBezTo>
                <a:cubicBezTo>
                  <a:pt x="9177163" y="7004845"/>
                  <a:pt x="9178494" y="7004046"/>
                  <a:pt x="9179425" y="7002980"/>
                </a:cubicBezTo>
                <a:cubicBezTo>
                  <a:pt x="9180491" y="7001783"/>
                  <a:pt x="9181422" y="7000451"/>
                  <a:pt x="9182088" y="6998721"/>
                </a:cubicBezTo>
                <a:cubicBezTo>
                  <a:pt x="9182887" y="6997123"/>
                  <a:pt x="9183152" y="6995260"/>
                  <a:pt x="9183152" y="6993263"/>
                </a:cubicBezTo>
                <a:cubicBezTo>
                  <a:pt x="9183152" y="6991399"/>
                  <a:pt x="9182753" y="6989669"/>
                  <a:pt x="9182088" y="6988071"/>
                </a:cubicBezTo>
                <a:cubicBezTo>
                  <a:pt x="9181422" y="6986474"/>
                  <a:pt x="9180491" y="6985143"/>
                  <a:pt x="9179425" y="6983945"/>
                </a:cubicBezTo>
                <a:cubicBezTo>
                  <a:pt x="9178360" y="6982880"/>
                  <a:pt x="9177029" y="6981948"/>
                  <a:pt x="9175432" y="6981283"/>
                </a:cubicBezTo>
                <a:cubicBezTo>
                  <a:pt x="9173967" y="6980617"/>
                  <a:pt x="9172237" y="6980351"/>
                  <a:pt x="9170374" y="6980351"/>
                </a:cubicBezTo>
                <a:close/>
                <a:moveTo>
                  <a:pt x="8952728" y="6980351"/>
                </a:moveTo>
                <a:cubicBezTo>
                  <a:pt x="8947003" y="6980351"/>
                  <a:pt x="8944340" y="6982214"/>
                  <a:pt x="8942743" y="6983945"/>
                </a:cubicBezTo>
                <a:cubicBezTo>
                  <a:pt x="8940214" y="6986607"/>
                  <a:pt x="8939150" y="6989403"/>
                  <a:pt x="8939150" y="6993396"/>
                </a:cubicBezTo>
                <a:cubicBezTo>
                  <a:pt x="8939150" y="6997523"/>
                  <a:pt x="8940214" y="7000319"/>
                  <a:pt x="8942743" y="7002848"/>
                </a:cubicBezTo>
                <a:cubicBezTo>
                  <a:pt x="8944340" y="7004579"/>
                  <a:pt x="8946870" y="7006442"/>
                  <a:pt x="8952728" y="7006442"/>
                </a:cubicBezTo>
                <a:cubicBezTo>
                  <a:pt x="8954725" y="7006442"/>
                  <a:pt x="8956589" y="7006177"/>
                  <a:pt x="8958053" y="7005378"/>
                </a:cubicBezTo>
                <a:cubicBezTo>
                  <a:pt x="8959517" y="7004845"/>
                  <a:pt x="8960849" y="7004046"/>
                  <a:pt x="8961780" y="7002980"/>
                </a:cubicBezTo>
                <a:cubicBezTo>
                  <a:pt x="8962845" y="7001783"/>
                  <a:pt x="8963777" y="7000451"/>
                  <a:pt x="8964442" y="6998721"/>
                </a:cubicBezTo>
                <a:cubicBezTo>
                  <a:pt x="8965241" y="6997123"/>
                  <a:pt x="8965507" y="6995260"/>
                  <a:pt x="8965507" y="6993263"/>
                </a:cubicBezTo>
                <a:cubicBezTo>
                  <a:pt x="8965507" y="6991399"/>
                  <a:pt x="8965108" y="6989669"/>
                  <a:pt x="8964442" y="6988071"/>
                </a:cubicBezTo>
                <a:cubicBezTo>
                  <a:pt x="8963777" y="6986474"/>
                  <a:pt x="8962845" y="6985143"/>
                  <a:pt x="8961780" y="6983945"/>
                </a:cubicBezTo>
                <a:cubicBezTo>
                  <a:pt x="8960715" y="6982880"/>
                  <a:pt x="8959384" y="6981948"/>
                  <a:pt x="8957786" y="6981283"/>
                </a:cubicBezTo>
                <a:cubicBezTo>
                  <a:pt x="8956322" y="6980617"/>
                  <a:pt x="8954592" y="6980351"/>
                  <a:pt x="8952728" y="6980351"/>
                </a:cubicBezTo>
                <a:close/>
                <a:moveTo>
                  <a:pt x="8735083" y="6980351"/>
                </a:moveTo>
                <a:cubicBezTo>
                  <a:pt x="8729358" y="6980351"/>
                  <a:pt x="8726695" y="6982214"/>
                  <a:pt x="8725098" y="6983945"/>
                </a:cubicBezTo>
                <a:cubicBezTo>
                  <a:pt x="8722569" y="6986607"/>
                  <a:pt x="8721504" y="6989403"/>
                  <a:pt x="8721504" y="6993396"/>
                </a:cubicBezTo>
                <a:cubicBezTo>
                  <a:pt x="8721504" y="6997523"/>
                  <a:pt x="8722569" y="7000319"/>
                  <a:pt x="8725098" y="7002848"/>
                </a:cubicBezTo>
                <a:cubicBezTo>
                  <a:pt x="8726695" y="7004579"/>
                  <a:pt x="8729225" y="7006442"/>
                  <a:pt x="8735083" y="7006442"/>
                </a:cubicBezTo>
                <a:cubicBezTo>
                  <a:pt x="8737079" y="7006442"/>
                  <a:pt x="8738943" y="7006177"/>
                  <a:pt x="8740407" y="7005378"/>
                </a:cubicBezTo>
                <a:cubicBezTo>
                  <a:pt x="8741872" y="7004845"/>
                  <a:pt x="8743203" y="7004046"/>
                  <a:pt x="8744134" y="7002980"/>
                </a:cubicBezTo>
                <a:cubicBezTo>
                  <a:pt x="8745200" y="7001783"/>
                  <a:pt x="8746132" y="7000451"/>
                  <a:pt x="8746797" y="6998721"/>
                </a:cubicBezTo>
                <a:cubicBezTo>
                  <a:pt x="8747596" y="6997123"/>
                  <a:pt x="8747862" y="6995260"/>
                  <a:pt x="8747862" y="6993263"/>
                </a:cubicBezTo>
                <a:cubicBezTo>
                  <a:pt x="8747862" y="6991399"/>
                  <a:pt x="8747462" y="6989669"/>
                  <a:pt x="8746797" y="6988071"/>
                </a:cubicBezTo>
                <a:cubicBezTo>
                  <a:pt x="8746132" y="6986474"/>
                  <a:pt x="8745200" y="6985143"/>
                  <a:pt x="8744134" y="6983945"/>
                </a:cubicBezTo>
                <a:cubicBezTo>
                  <a:pt x="8743069" y="6982880"/>
                  <a:pt x="8741738" y="6981948"/>
                  <a:pt x="8740141" y="6981283"/>
                </a:cubicBezTo>
                <a:cubicBezTo>
                  <a:pt x="8738677" y="6980617"/>
                  <a:pt x="8736946" y="6980351"/>
                  <a:pt x="8735083" y="6980351"/>
                </a:cubicBezTo>
                <a:close/>
                <a:moveTo>
                  <a:pt x="8517438" y="6980351"/>
                </a:moveTo>
                <a:cubicBezTo>
                  <a:pt x="8511713" y="6980351"/>
                  <a:pt x="8509051" y="6982214"/>
                  <a:pt x="8507453" y="6983945"/>
                </a:cubicBezTo>
                <a:cubicBezTo>
                  <a:pt x="8504925" y="6986607"/>
                  <a:pt x="8503860" y="6989403"/>
                  <a:pt x="8503860" y="6993396"/>
                </a:cubicBezTo>
                <a:cubicBezTo>
                  <a:pt x="8503860" y="6997523"/>
                  <a:pt x="8504925" y="7000319"/>
                  <a:pt x="8507453" y="7002848"/>
                </a:cubicBezTo>
                <a:cubicBezTo>
                  <a:pt x="8509051" y="7004579"/>
                  <a:pt x="8511581" y="7006442"/>
                  <a:pt x="8517438" y="7006442"/>
                </a:cubicBezTo>
                <a:cubicBezTo>
                  <a:pt x="8519568" y="7006442"/>
                  <a:pt x="8521299" y="7006177"/>
                  <a:pt x="8522763" y="7005378"/>
                </a:cubicBezTo>
                <a:cubicBezTo>
                  <a:pt x="8524227" y="7004845"/>
                  <a:pt x="8525559" y="7004046"/>
                  <a:pt x="8526490" y="7002980"/>
                </a:cubicBezTo>
                <a:cubicBezTo>
                  <a:pt x="8527555" y="7001783"/>
                  <a:pt x="8528487" y="7000451"/>
                  <a:pt x="8529152" y="6998721"/>
                </a:cubicBezTo>
                <a:cubicBezTo>
                  <a:pt x="8529818" y="6997123"/>
                  <a:pt x="8530084" y="6995260"/>
                  <a:pt x="8530084" y="6993263"/>
                </a:cubicBezTo>
                <a:cubicBezTo>
                  <a:pt x="8530084" y="6991399"/>
                  <a:pt x="8529818" y="6989669"/>
                  <a:pt x="8529152" y="6988071"/>
                </a:cubicBezTo>
                <a:cubicBezTo>
                  <a:pt x="8528487" y="6986474"/>
                  <a:pt x="8527555" y="6985143"/>
                  <a:pt x="8526490" y="6983945"/>
                </a:cubicBezTo>
                <a:cubicBezTo>
                  <a:pt x="8525425" y="6982880"/>
                  <a:pt x="8524094" y="6981948"/>
                  <a:pt x="8522496" y="6981283"/>
                </a:cubicBezTo>
                <a:cubicBezTo>
                  <a:pt x="8521032" y="6980617"/>
                  <a:pt x="8519302" y="6980351"/>
                  <a:pt x="8517438" y="6980351"/>
                </a:cubicBezTo>
                <a:close/>
                <a:moveTo>
                  <a:pt x="8299793" y="6980351"/>
                </a:moveTo>
                <a:cubicBezTo>
                  <a:pt x="8294068" y="6980351"/>
                  <a:pt x="8291406" y="6982214"/>
                  <a:pt x="8289809" y="6983945"/>
                </a:cubicBezTo>
                <a:cubicBezTo>
                  <a:pt x="8287280" y="6986607"/>
                  <a:pt x="8286215" y="6989403"/>
                  <a:pt x="8286215" y="6993396"/>
                </a:cubicBezTo>
                <a:cubicBezTo>
                  <a:pt x="8286215" y="6997523"/>
                  <a:pt x="8287280" y="7000319"/>
                  <a:pt x="8289809" y="7002848"/>
                </a:cubicBezTo>
                <a:cubicBezTo>
                  <a:pt x="8291406" y="7004579"/>
                  <a:pt x="8293935" y="7006442"/>
                  <a:pt x="8299793" y="7006442"/>
                </a:cubicBezTo>
                <a:cubicBezTo>
                  <a:pt x="8301923" y="7006442"/>
                  <a:pt x="8303653" y="7006177"/>
                  <a:pt x="8305118" y="7005378"/>
                </a:cubicBezTo>
                <a:cubicBezTo>
                  <a:pt x="8306582" y="7004845"/>
                  <a:pt x="8307913" y="7004046"/>
                  <a:pt x="8308844" y="7002980"/>
                </a:cubicBezTo>
                <a:cubicBezTo>
                  <a:pt x="8309910" y="7001783"/>
                  <a:pt x="8310842" y="7000451"/>
                  <a:pt x="8311507" y="6998721"/>
                </a:cubicBezTo>
                <a:cubicBezTo>
                  <a:pt x="8312172" y="6997123"/>
                  <a:pt x="8312439" y="6995260"/>
                  <a:pt x="8312439" y="6993263"/>
                </a:cubicBezTo>
                <a:cubicBezTo>
                  <a:pt x="8312439" y="6991399"/>
                  <a:pt x="8312172" y="6989669"/>
                  <a:pt x="8311507" y="6988071"/>
                </a:cubicBezTo>
                <a:cubicBezTo>
                  <a:pt x="8310842" y="6986474"/>
                  <a:pt x="8309910" y="6985143"/>
                  <a:pt x="8308844" y="6983945"/>
                </a:cubicBezTo>
                <a:cubicBezTo>
                  <a:pt x="8307779" y="6982880"/>
                  <a:pt x="8306448" y="6981948"/>
                  <a:pt x="8304851" y="6981283"/>
                </a:cubicBezTo>
                <a:cubicBezTo>
                  <a:pt x="8303387" y="6980617"/>
                  <a:pt x="8301790" y="6980351"/>
                  <a:pt x="8299793" y="6980351"/>
                </a:cubicBezTo>
                <a:close/>
                <a:moveTo>
                  <a:pt x="8082281" y="6980351"/>
                </a:moveTo>
                <a:cubicBezTo>
                  <a:pt x="8076424" y="6980351"/>
                  <a:pt x="8073894" y="6982214"/>
                  <a:pt x="8072297" y="6983945"/>
                </a:cubicBezTo>
                <a:cubicBezTo>
                  <a:pt x="8069768" y="6986607"/>
                  <a:pt x="8068703" y="6989403"/>
                  <a:pt x="8068703" y="6993396"/>
                </a:cubicBezTo>
                <a:cubicBezTo>
                  <a:pt x="8068703" y="6997523"/>
                  <a:pt x="8069768" y="7000319"/>
                  <a:pt x="8072297" y="7002848"/>
                </a:cubicBezTo>
                <a:cubicBezTo>
                  <a:pt x="8073894" y="7004579"/>
                  <a:pt x="8076424" y="7006442"/>
                  <a:pt x="8082281" y="7006442"/>
                </a:cubicBezTo>
                <a:cubicBezTo>
                  <a:pt x="8084277" y="7006442"/>
                  <a:pt x="8086007" y="7006177"/>
                  <a:pt x="8087605" y="7005378"/>
                </a:cubicBezTo>
                <a:cubicBezTo>
                  <a:pt x="8089069" y="7004845"/>
                  <a:pt x="8090401" y="7004046"/>
                  <a:pt x="8091332" y="7002980"/>
                </a:cubicBezTo>
                <a:cubicBezTo>
                  <a:pt x="8092397" y="7001783"/>
                  <a:pt x="8093329" y="7000451"/>
                  <a:pt x="8093994" y="6998721"/>
                </a:cubicBezTo>
                <a:cubicBezTo>
                  <a:pt x="8094660" y="6997123"/>
                  <a:pt x="8094926" y="6995260"/>
                  <a:pt x="8094926" y="6993263"/>
                </a:cubicBezTo>
                <a:cubicBezTo>
                  <a:pt x="8094926" y="6991399"/>
                  <a:pt x="8094660" y="6989669"/>
                  <a:pt x="8093994" y="6988071"/>
                </a:cubicBezTo>
                <a:cubicBezTo>
                  <a:pt x="8093329" y="6986474"/>
                  <a:pt x="8092397" y="6985143"/>
                  <a:pt x="8091332" y="6983945"/>
                </a:cubicBezTo>
                <a:cubicBezTo>
                  <a:pt x="8090267" y="6982880"/>
                  <a:pt x="8088936" y="6981948"/>
                  <a:pt x="8087338" y="6981283"/>
                </a:cubicBezTo>
                <a:cubicBezTo>
                  <a:pt x="8085874" y="6980617"/>
                  <a:pt x="8084277" y="6980351"/>
                  <a:pt x="8082281" y="6980351"/>
                </a:cubicBezTo>
                <a:close/>
                <a:moveTo>
                  <a:pt x="7864636" y="6980351"/>
                </a:moveTo>
                <a:cubicBezTo>
                  <a:pt x="7858779" y="6980351"/>
                  <a:pt x="7856249" y="6982214"/>
                  <a:pt x="7854652" y="6983945"/>
                </a:cubicBezTo>
                <a:cubicBezTo>
                  <a:pt x="7852123" y="6986607"/>
                  <a:pt x="7851058" y="6989403"/>
                  <a:pt x="7851058" y="6993396"/>
                </a:cubicBezTo>
                <a:cubicBezTo>
                  <a:pt x="7851058" y="6997523"/>
                  <a:pt x="7852123" y="7000319"/>
                  <a:pt x="7854652" y="7002848"/>
                </a:cubicBezTo>
                <a:cubicBezTo>
                  <a:pt x="7856249" y="7004579"/>
                  <a:pt x="7858779" y="7006442"/>
                  <a:pt x="7864636" y="7006442"/>
                </a:cubicBezTo>
                <a:cubicBezTo>
                  <a:pt x="7866633" y="7006442"/>
                  <a:pt x="7868363" y="7006177"/>
                  <a:pt x="7869961" y="7005378"/>
                </a:cubicBezTo>
                <a:cubicBezTo>
                  <a:pt x="7871425" y="7004845"/>
                  <a:pt x="7872756" y="7004046"/>
                  <a:pt x="7873687" y="7002980"/>
                </a:cubicBezTo>
                <a:cubicBezTo>
                  <a:pt x="7874753" y="7001783"/>
                  <a:pt x="7875685" y="7000451"/>
                  <a:pt x="7876350" y="6998721"/>
                </a:cubicBezTo>
                <a:cubicBezTo>
                  <a:pt x="7877015" y="6997123"/>
                  <a:pt x="7877282" y="6995260"/>
                  <a:pt x="7877282" y="6993263"/>
                </a:cubicBezTo>
                <a:cubicBezTo>
                  <a:pt x="7877282" y="6991399"/>
                  <a:pt x="7877015" y="6989669"/>
                  <a:pt x="7876350" y="6988071"/>
                </a:cubicBezTo>
                <a:cubicBezTo>
                  <a:pt x="7875685" y="6986474"/>
                  <a:pt x="7874753" y="6985143"/>
                  <a:pt x="7873687" y="6983945"/>
                </a:cubicBezTo>
                <a:cubicBezTo>
                  <a:pt x="7872623" y="6982880"/>
                  <a:pt x="7871291" y="6981948"/>
                  <a:pt x="7869694" y="6981283"/>
                </a:cubicBezTo>
                <a:cubicBezTo>
                  <a:pt x="7868230" y="6980617"/>
                  <a:pt x="7866633" y="6980351"/>
                  <a:pt x="7864636" y="6980351"/>
                </a:cubicBezTo>
                <a:close/>
                <a:moveTo>
                  <a:pt x="7646991" y="6980351"/>
                </a:moveTo>
                <a:cubicBezTo>
                  <a:pt x="7641134" y="6980351"/>
                  <a:pt x="7638604" y="6982214"/>
                  <a:pt x="7637007" y="6983945"/>
                </a:cubicBezTo>
                <a:cubicBezTo>
                  <a:pt x="7634478" y="6986607"/>
                  <a:pt x="7633413" y="6989403"/>
                  <a:pt x="7633413" y="6993396"/>
                </a:cubicBezTo>
                <a:cubicBezTo>
                  <a:pt x="7633413" y="6997523"/>
                  <a:pt x="7634478" y="7000319"/>
                  <a:pt x="7637007" y="7002848"/>
                </a:cubicBezTo>
                <a:cubicBezTo>
                  <a:pt x="7638604" y="7004579"/>
                  <a:pt x="7641134" y="7006442"/>
                  <a:pt x="7646991" y="7006442"/>
                </a:cubicBezTo>
                <a:cubicBezTo>
                  <a:pt x="7648987" y="7006442"/>
                  <a:pt x="7650851" y="7006177"/>
                  <a:pt x="7652315" y="7005378"/>
                </a:cubicBezTo>
                <a:cubicBezTo>
                  <a:pt x="7653780" y="7004845"/>
                  <a:pt x="7655111" y="7004046"/>
                  <a:pt x="7656042" y="7002980"/>
                </a:cubicBezTo>
                <a:cubicBezTo>
                  <a:pt x="7657108" y="7001783"/>
                  <a:pt x="7658039" y="7000451"/>
                  <a:pt x="7658705" y="6998721"/>
                </a:cubicBezTo>
                <a:cubicBezTo>
                  <a:pt x="7659504" y="6997123"/>
                  <a:pt x="7659769" y="6995260"/>
                  <a:pt x="7659769" y="6993263"/>
                </a:cubicBezTo>
                <a:cubicBezTo>
                  <a:pt x="7659769" y="6991399"/>
                  <a:pt x="7659370" y="6989669"/>
                  <a:pt x="7658705" y="6988071"/>
                </a:cubicBezTo>
                <a:cubicBezTo>
                  <a:pt x="7658039" y="6986474"/>
                  <a:pt x="7657108" y="6985143"/>
                  <a:pt x="7656042" y="6983945"/>
                </a:cubicBezTo>
                <a:cubicBezTo>
                  <a:pt x="7654977" y="6982880"/>
                  <a:pt x="7653646" y="6981948"/>
                  <a:pt x="7652049" y="6981283"/>
                </a:cubicBezTo>
                <a:cubicBezTo>
                  <a:pt x="7650584" y="6980617"/>
                  <a:pt x="7648987" y="6980351"/>
                  <a:pt x="7646991" y="6980351"/>
                </a:cubicBezTo>
                <a:close/>
                <a:moveTo>
                  <a:pt x="7429345" y="6980351"/>
                </a:moveTo>
                <a:cubicBezTo>
                  <a:pt x="7423488" y="6980351"/>
                  <a:pt x="7420958" y="6982214"/>
                  <a:pt x="7419361" y="6983945"/>
                </a:cubicBezTo>
                <a:cubicBezTo>
                  <a:pt x="7416832" y="6986607"/>
                  <a:pt x="7415768" y="6989403"/>
                  <a:pt x="7415768" y="6993396"/>
                </a:cubicBezTo>
                <a:cubicBezTo>
                  <a:pt x="7415768" y="6997523"/>
                  <a:pt x="7416832" y="7000319"/>
                  <a:pt x="7419361" y="7002848"/>
                </a:cubicBezTo>
                <a:cubicBezTo>
                  <a:pt x="7420958" y="7004579"/>
                  <a:pt x="7423488" y="7006442"/>
                  <a:pt x="7429345" y="7006442"/>
                </a:cubicBezTo>
                <a:cubicBezTo>
                  <a:pt x="7431342" y="7006442"/>
                  <a:pt x="7433206" y="7006177"/>
                  <a:pt x="7434670" y="7005378"/>
                </a:cubicBezTo>
                <a:cubicBezTo>
                  <a:pt x="7436134" y="7004845"/>
                  <a:pt x="7437466" y="7004046"/>
                  <a:pt x="7438397" y="7002980"/>
                </a:cubicBezTo>
                <a:cubicBezTo>
                  <a:pt x="7439462" y="7001783"/>
                  <a:pt x="7440394" y="7000451"/>
                  <a:pt x="7441059" y="6998721"/>
                </a:cubicBezTo>
                <a:cubicBezTo>
                  <a:pt x="7441858" y="6997123"/>
                  <a:pt x="7442124" y="6995260"/>
                  <a:pt x="7442124" y="6993263"/>
                </a:cubicBezTo>
                <a:cubicBezTo>
                  <a:pt x="7442124" y="6991399"/>
                  <a:pt x="7441725" y="6989669"/>
                  <a:pt x="7441059" y="6988071"/>
                </a:cubicBezTo>
                <a:cubicBezTo>
                  <a:pt x="7440394" y="6986474"/>
                  <a:pt x="7439462" y="6985143"/>
                  <a:pt x="7438397" y="6983945"/>
                </a:cubicBezTo>
                <a:cubicBezTo>
                  <a:pt x="7437332" y="6982880"/>
                  <a:pt x="7436001" y="6981948"/>
                  <a:pt x="7434403" y="6981283"/>
                </a:cubicBezTo>
                <a:cubicBezTo>
                  <a:pt x="7432939" y="6980617"/>
                  <a:pt x="7431342" y="6980351"/>
                  <a:pt x="7429345" y="6980351"/>
                </a:cubicBezTo>
                <a:close/>
                <a:moveTo>
                  <a:pt x="7211701" y="6980351"/>
                </a:moveTo>
                <a:cubicBezTo>
                  <a:pt x="7205844" y="6980351"/>
                  <a:pt x="7203314" y="6982214"/>
                  <a:pt x="7201717" y="6983945"/>
                </a:cubicBezTo>
                <a:cubicBezTo>
                  <a:pt x="7199188" y="6986607"/>
                  <a:pt x="7198123" y="6989403"/>
                  <a:pt x="7198123" y="6993396"/>
                </a:cubicBezTo>
                <a:cubicBezTo>
                  <a:pt x="7198123" y="6997523"/>
                  <a:pt x="7199188" y="7000319"/>
                  <a:pt x="7201717" y="7002848"/>
                </a:cubicBezTo>
                <a:cubicBezTo>
                  <a:pt x="7203314" y="7004579"/>
                  <a:pt x="7205844" y="7006442"/>
                  <a:pt x="7211701" y="7006442"/>
                </a:cubicBezTo>
                <a:cubicBezTo>
                  <a:pt x="7213830" y="7006442"/>
                  <a:pt x="7215561" y="7006177"/>
                  <a:pt x="7217026" y="7005378"/>
                </a:cubicBezTo>
                <a:cubicBezTo>
                  <a:pt x="7218490" y="7004845"/>
                  <a:pt x="7219821" y="7004046"/>
                  <a:pt x="7220752" y="7002980"/>
                </a:cubicBezTo>
                <a:cubicBezTo>
                  <a:pt x="7221818" y="7001783"/>
                  <a:pt x="7222750" y="7000451"/>
                  <a:pt x="7223415" y="6998721"/>
                </a:cubicBezTo>
                <a:cubicBezTo>
                  <a:pt x="7224214" y="6997123"/>
                  <a:pt x="7224480" y="6995260"/>
                  <a:pt x="7224480" y="6993263"/>
                </a:cubicBezTo>
                <a:cubicBezTo>
                  <a:pt x="7224480" y="6991399"/>
                  <a:pt x="7224080" y="6989669"/>
                  <a:pt x="7223415" y="6988071"/>
                </a:cubicBezTo>
                <a:cubicBezTo>
                  <a:pt x="7222750" y="6986474"/>
                  <a:pt x="7221818" y="6985143"/>
                  <a:pt x="7220752" y="6983945"/>
                </a:cubicBezTo>
                <a:cubicBezTo>
                  <a:pt x="7219687" y="6982880"/>
                  <a:pt x="7218356" y="6981948"/>
                  <a:pt x="7216759" y="6981283"/>
                </a:cubicBezTo>
                <a:cubicBezTo>
                  <a:pt x="7215295" y="6980617"/>
                  <a:pt x="7213698" y="6980351"/>
                  <a:pt x="7211701" y="6980351"/>
                </a:cubicBezTo>
                <a:close/>
                <a:moveTo>
                  <a:pt x="6994056" y="6980351"/>
                </a:moveTo>
                <a:cubicBezTo>
                  <a:pt x="6988199" y="6980351"/>
                  <a:pt x="6985669" y="6982214"/>
                  <a:pt x="6984072" y="6983945"/>
                </a:cubicBezTo>
                <a:cubicBezTo>
                  <a:pt x="6981543" y="6986607"/>
                  <a:pt x="6980478" y="6989403"/>
                  <a:pt x="6980478" y="6993396"/>
                </a:cubicBezTo>
                <a:cubicBezTo>
                  <a:pt x="6980478" y="6997523"/>
                  <a:pt x="6981543" y="7000319"/>
                  <a:pt x="6984072" y="7002848"/>
                </a:cubicBezTo>
                <a:cubicBezTo>
                  <a:pt x="6985669" y="7004579"/>
                  <a:pt x="6988199" y="7006442"/>
                  <a:pt x="6994056" y="7006442"/>
                </a:cubicBezTo>
                <a:cubicBezTo>
                  <a:pt x="6996185" y="7006442"/>
                  <a:pt x="6997916" y="7006177"/>
                  <a:pt x="6999380" y="7005378"/>
                </a:cubicBezTo>
                <a:cubicBezTo>
                  <a:pt x="7000844" y="7004845"/>
                  <a:pt x="7002176" y="7004046"/>
                  <a:pt x="7003107" y="7002980"/>
                </a:cubicBezTo>
                <a:cubicBezTo>
                  <a:pt x="7004172" y="7001783"/>
                  <a:pt x="7005104" y="7000451"/>
                  <a:pt x="7005769" y="6998721"/>
                </a:cubicBezTo>
                <a:cubicBezTo>
                  <a:pt x="7006568" y="6997123"/>
                  <a:pt x="7006834" y="6995260"/>
                  <a:pt x="7006834" y="6993263"/>
                </a:cubicBezTo>
                <a:cubicBezTo>
                  <a:pt x="7006834" y="6991399"/>
                  <a:pt x="7006435" y="6989669"/>
                  <a:pt x="7005769" y="6988071"/>
                </a:cubicBezTo>
                <a:cubicBezTo>
                  <a:pt x="7005104" y="6986474"/>
                  <a:pt x="7004172" y="6985143"/>
                  <a:pt x="7003107" y="6983945"/>
                </a:cubicBezTo>
                <a:cubicBezTo>
                  <a:pt x="7002042" y="6982880"/>
                  <a:pt x="7000711" y="6981948"/>
                  <a:pt x="6999113" y="6981283"/>
                </a:cubicBezTo>
                <a:cubicBezTo>
                  <a:pt x="6997649" y="6980617"/>
                  <a:pt x="6996052" y="6980351"/>
                  <a:pt x="6994056" y="6980351"/>
                </a:cubicBezTo>
                <a:close/>
                <a:moveTo>
                  <a:pt x="6776544" y="6980351"/>
                </a:moveTo>
                <a:cubicBezTo>
                  <a:pt x="6770687" y="6980351"/>
                  <a:pt x="6768157" y="6982214"/>
                  <a:pt x="6766560" y="6983945"/>
                </a:cubicBezTo>
                <a:cubicBezTo>
                  <a:pt x="6764031" y="6986607"/>
                  <a:pt x="6762966" y="6989403"/>
                  <a:pt x="6762966" y="6993396"/>
                </a:cubicBezTo>
                <a:cubicBezTo>
                  <a:pt x="6762966" y="6997523"/>
                  <a:pt x="6764031" y="7000319"/>
                  <a:pt x="6766560" y="7002848"/>
                </a:cubicBezTo>
                <a:cubicBezTo>
                  <a:pt x="6768157" y="7004579"/>
                  <a:pt x="6770687" y="7006442"/>
                  <a:pt x="6776544" y="7006442"/>
                </a:cubicBezTo>
                <a:cubicBezTo>
                  <a:pt x="6778541" y="7006442"/>
                  <a:pt x="6780270" y="7006177"/>
                  <a:pt x="6781869" y="7005378"/>
                </a:cubicBezTo>
                <a:cubicBezTo>
                  <a:pt x="6783333" y="7004845"/>
                  <a:pt x="6784664" y="7004046"/>
                  <a:pt x="6785595" y="7002980"/>
                </a:cubicBezTo>
                <a:cubicBezTo>
                  <a:pt x="6786661" y="7001783"/>
                  <a:pt x="6787593" y="7000451"/>
                  <a:pt x="6788258" y="6998721"/>
                </a:cubicBezTo>
                <a:cubicBezTo>
                  <a:pt x="6789057" y="6997123"/>
                  <a:pt x="6789323" y="6995260"/>
                  <a:pt x="6789323" y="6993263"/>
                </a:cubicBezTo>
                <a:cubicBezTo>
                  <a:pt x="6789323" y="6991399"/>
                  <a:pt x="6788923" y="6989669"/>
                  <a:pt x="6788258" y="6988071"/>
                </a:cubicBezTo>
                <a:cubicBezTo>
                  <a:pt x="6787593" y="6986474"/>
                  <a:pt x="6786661" y="6985143"/>
                  <a:pt x="6785595" y="6983945"/>
                </a:cubicBezTo>
                <a:cubicBezTo>
                  <a:pt x="6784530" y="6982880"/>
                  <a:pt x="6783199" y="6981948"/>
                  <a:pt x="6781602" y="6981283"/>
                </a:cubicBezTo>
                <a:cubicBezTo>
                  <a:pt x="6780138" y="6980617"/>
                  <a:pt x="6778541" y="6980351"/>
                  <a:pt x="6776544" y="6980351"/>
                </a:cubicBezTo>
                <a:close/>
                <a:moveTo>
                  <a:pt x="6558899" y="6980351"/>
                </a:moveTo>
                <a:cubicBezTo>
                  <a:pt x="6553042" y="6980351"/>
                  <a:pt x="6550512" y="6982214"/>
                  <a:pt x="6548915" y="6983945"/>
                </a:cubicBezTo>
                <a:cubicBezTo>
                  <a:pt x="6546386" y="6986607"/>
                  <a:pt x="6545321" y="6989403"/>
                  <a:pt x="6545321" y="6993396"/>
                </a:cubicBezTo>
                <a:cubicBezTo>
                  <a:pt x="6545321" y="6997523"/>
                  <a:pt x="6546386" y="7000319"/>
                  <a:pt x="6548915" y="7002848"/>
                </a:cubicBezTo>
                <a:cubicBezTo>
                  <a:pt x="6550512" y="7004579"/>
                  <a:pt x="6553042" y="7006442"/>
                  <a:pt x="6558899" y="7006442"/>
                </a:cubicBezTo>
                <a:cubicBezTo>
                  <a:pt x="6560895" y="7006442"/>
                  <a:pt x="6562759" y="7006177"/>
                  <a:pt x="6564223" y="7005378"/>
                </a:cubicBezTo>
                <a:cubicBezTo>
                  <a:pt x="6565687" y="7004845"/>
                  <a:pt x="6567019" y="7004046"/>
                  <a:pt x="6567950" y="7002980"/>
                </a:cubicBezTo>
                <a:cubicBezTo>
                  <a:pt x="6569015" y="7001783"/>
                  <a:pt x="6569947" y="7000451"/>
                  <a:pt x="6570612" y="6998721"/>
                </a:cubicBezTo>
                <a:cubicBezTo>
                  <a:pt x="6571412" y="6997123"/>
                  <a:pt x="6571677" y="6995260"/>
                  <a:pt x="6571677" y="6993263"/>
                </a:cubicBezTo>
                <a:cubicBezTo>
                  <a:pt x="6571677" y="6991399"/>
                  <a:pt x="6571278" y="6989669"/>
                  <a:pt x="6570612" y="6988071"/>
                </a:cubicBezTo>
                <a:cubicBezTo>
                  <a:pt x="6569947" y="6986474"/>
                  <a:pt x="6569015" y="6985143"/>
                  <a:pt x="6567950" y="6983945"/>
                </a:cubicBezTo>
                <a:cubicBezTo>
                  <a:pt x="6566885" y="6982880"/>
                  <a:pt x="6565554" y="6981948"/>
                  <a:pt x="6563956" y="6981283"/>
                </a:cubicBezTo>
                <a:cubicBezTo>
                  <a:pt x="6562492" y="6980617"/>
                  <a:pt x="6560895" y="6980351"/>
                  <a:pt x="6558899" y="6980351"/>
                </a:cubicBezTo>
                <a:close/>
                <a:moveTo>
                  <a:pt x="6341253" y="6980351"/>
                </a:moveTo>
                <a:cubicBezTo>
                  <a:pt x="6335396" y="6980351"/>
                  <a:pt x="6332867" y="6982214"/>
                  <a:pt x="6331270" y="6983945"/>
                </a:cubicBezTo>
                <a:cubicBezTo>
                  <a:pt x="6328740" y="6986607"/>
                  <a:pt x="6327675" y="6989403"/>
                  <a:pt x="6327675" y="6993396"/>
                </a:cubicBezTo>
                <a:cubicBezTo>
                  <a:pt x="6327675" y="6997523"/>
                  <a:pt x="6328740" y="7000319"/>
                  <a:pt x="6331270" y="7002848"/>
                </a:cubicBezTo>
                <a:cubicBezTo>
                  <a:pt x="6332867" y="7004579"/>
                  <a:pt x="6335396" y="7006442"/>
                  <a:pt x="6341253" y="7006442"/>
                </a:cubicBezTo>
                <a:cubicBezTo>
                  <a:pt x="6343250" y="7006442"/>
                  <a:pt x="6345114" y="7006177"/>
                  <a:pt x="6346578" y="7005378"/>
                </a:cubicBezTo>
                <a:cubicBezTo>
                  <a:pt x="6348042" y="7004845"/>
                  <a:pt x="6349373" y="7004046"/>
                  <a:pt x="6350305" y="7002980"/>
                </a:cubicBezTo>
                <a:cubicBezTo>
                  <a:pt x="6351370" y="7001783"/>
                  <a:pt x="6352302" y="7000451"/>
                  <a:pt x="6352968" y="6998721"/>
                </a:cubicBezTo>
                <a:cubicBezTo>
                  <a:pt x="6353766" y="6997123"/>
                  <a:pt x="6354033" y="6995260"/>
                  <a:pt x="6354033" y="6993263"/>
                </a:cubicBezTo>
                <a:cubicBezTo>
                  <a:pt x="6354033" y="6991399"/>
                  <a:pt x="6353633" y="6989669"/>
                  <a:pt x="6352968" y="6988071"/>
                </a:cubicBezTo>
                <a:cubicBezTo>
                  <a:pt x="6352302" y="6986474"/>
                  <a:pt x="6351370" y="6985143"/>
                  <a:pt x="6350305" y="6983945"/>
                </a:cubicBezTo>
                <a:cubicBezTo>
                  <a:pt x="6349241" y="6982880"/>
                  <a:pt x="6347909" y="6981948"/>
                  <a:pt x="6346312" y="6981283"/>
                </a:cubicBezTo>
                <a:cubicBezTo>
                  <a:pt x="6344848" y="6980617"/>
                  <a:pt x="6343250" y="6980351"/>
                  <a:pt x="6341253" y="6980351"/>
                </a:cubicBezTo>
                <a:close/>
                <a:moveTo>
                  <a:pt x="6123608" y="6980351"/>
                </a:moveTo>
                <a:cubicBezTo>
                  <a:pt x="6117751" y="6980351"/>
                  <a:pt x="6115221" y="6982214"/>
                  <a:pt x="6113624" y="6983945"/>
                </a:cubicBezTo>
                <a:cubicBezTo>
                  <a:pt x="6111095" y="6986607"/>
                  <a:pt x="6110030" y="6989403"/>
                  <a:pt x="6110030" y="6993396"/>
                </a:cubicBezTo>
                <a:cubicBezTo>
                  <a:pt x="6110030" y="6997523"/>
                  <a:pt x="6111095" y="7000319"/>
                  <a:pt x="6113624" y="7002848"/>
                </a:cubicBezTo>
                <a:cubicBezTo>
                  <a:pt x="6115221" y="7004579"/>
                  <a:pt x="6117751" y="7006442"/>
                  <a:pt x="6123608" y="7006442"/>
                </a:cubicBezTo>
                <a:cubicBezTo>
                  <a:pt x="6125737" y="7006442"/>
                  <a:pt x="6127468" y="7006177"/>
                  <a:pt x="6128932" y="7005378"/>
                </a:cubicBezTo>
                <a:cubicBezTo>
                  <a:pt x="6130530" y="7004845"/>
                  <a:pt x="6131728" y="7004046"/>
                  <a:pt x="6132659" y="7002980"/>
                </a:cubicBezTo>
                <a:cubicBezTo>
                  <a:pt x="6133724" y="7001783"/>
                  <a:pt x="6134656" y="7000451"/>
                  <a:pt x="6135322" y="6998721"/>
                </a:cubicBezTo>
                <a:cubicBezTo>
                  <a:pt x="6135987" y="6997123"/>
                  <a:pt x="6136387" y="6995260"/>
                  <a:pt x="6136387" y="6993263"/>
                </a:cubicBezTo>
                <a:cubicBezTo>
                  <a:pt x="6136387" y="6991399"/>
                  <a:pt x="6135987" y="6989669"/>
                  <a:pt x="6135322" y="6988071"/>
                </a:cubicBezTo>
                <a:cubicBezTo>
                  <a:pt x="6134656" y="6986474"/>
                  <a:pt x="6133724" y="6985143"/>
                  <a:pt x="6132659" y="6983945"/>
                </a:cubicBezTo>
                <a:cubicBezTo>
                  <a:pt x="6131594" y="6982880"/>
                  <a:pt x="6130263" y="6981948"/>
                  <a:pt x="6128666" y="6981283"/>
                </a:cubicBezTo>
                <a:cubicBezTo>
                  <a:pt x="6127202" y="6980617"/>
                  <a:pt x="6125604" y="6980351"/>
                  <a:pt x="6123608" y="6980351"/>
                </a:cubicBezTo>
                <a:close/>
                <a:moveTo>
                  <a:pt x="5905963" y="6980351"/>
                </a:moveTo>
                <a:cubicBezTo>
                  <a:pt x="5900106" y="6980351"/>
                  <a:pt x="5897576" y="6982214"/>
                  <a:pt x="5895979" y="6983945"/>
                </a:cubicBezTo>
                <a:cubicBezTo>
                  <a:pt x="5893450" y="6986607"/>
                  <a:pt x="5892385" y="6989403"/>
                  <a:pt x="5892385" y="6993396"/>
                </a:cubicBezTo>
                <a:cubicBezTo>
                  <a:pt x="5892385" y="6997523"/>
                  <a:pt x="5893450" y="7000319"/>
                  <a:pt x="5895979" y="7002848"/>
                </a:cubicBezTo>
                <a:cubicBezTo>
                  <a:pt x="5897576" y="7004579"/>
                  <a:pt x="5900106" y="7006442"/>
                  <a:pt x="5905963" y="7006442"/>
                </a:cubicBezTo>
                <a:cubicBezTo>
                  <a:pt x="5908093" y="7006442"/>
                  <a:pt x="5909823" y="7006177"/>
                  <a:pt x="5911287" y="7005378"/>
                </a:cubicBezTo>
                <a:cubicBezTo>
                  <a:pt x="5912751" y="7004845"/>
                  <a:pt x="5914083" y="7004046"/>
                  <a:pt x="5915014" y="7002980"/>
                </a:cubicBezTo>
                <a:cubicBezTo>
                  <a:pt x="5916079" y="7001783"/>
                  <a:pt x="5917011" y="7000451"/>
                  <a:pt x="5917677" y="6998721"/>
                </a:cubicBezTo>
                <a:cubicBezTo>
                  <a:pt x="5918342" y="6997123"/>
                  <a:pt x="5918742" y="6995260"/>
                  <a:pt x="5918742" y="6993263"/>
                </a:cubicBezTo>
                <a:cubicBezTo>
                  <a:pt x="5918742" y="6991399"/>
                  <a:pt x="5918342" y="6989669"/>
                  <a:pt x="5917677" y="6988071"/>
                </a:cubicBezTo>
                <a:cubicBezTo>
                  <a:pt x="5917011" y="6986474"/>
                  <a:pt x="5916079" y="6985143"/>
                  <a:pt x="5915014" y="6983945"/>
                </a:cubicBezTo>
                <a:cubicBezTo>
                  <a:pt x="5913950" y="6982880"/>
                  <a:pt x="5912618" y="6981948"/>
                  <a:pt x="5911021" y="6981283"/>
                </a:cubicBezTo>
                <a:cubicBezTo>
                  <a:pt x="5909557" y="6980617"/>
                  <a:pt x="5907826" y="6980351"/>
                  <a:pt x="5905963" y="6980351"/>
                </a:cubicBezTo>
                <a:close/>
                <a:moveTo>
                  <a:pt x="5688451" y="6980351"/>
                </a:moveTo>
                <a:cubicBezTo>
                  <a:pt x="5682594" y="6980351"/>
                  <a:pt x="5680064" y="6982214"/>
                  <a:pt x="5678467" y="6983945"/>
                </a:cubicBezTo>
                <a:cubicBezTo>
                  <a:pt x="5675938" y="6986607"/>
                  <a:pt x="5674873" y="6989403"/>
                  <a:pt x="5674873" y="6993396"/>
                </a:cubicBezTo>
                <a:cubicBezTo>
                  <a:pt x="5674873" y="6997523"/>
                  <a:pt x="5675938" y="7000319"/>
                  <a:pt x="5678467" y="7002848"/>
                </a:cubicBezTo>
                <a:cubicBezTo>
                  <a:pt x="5680064" y="7004579"/>
                  <a:pt x="5682594" y="7006442"/>
                  <a:pt x="5688451" y="7006442"/>
                </a:cubicBezTo>
                <a:cubicBezTo>
                  <a:pt x="5690447" y="7006442"/>
                  <a:pt x="5692178" y="7006177"/>
                  <a:pt x="5693775" y="7005378"/>
                </a:cubicBezTo>
                <a:cubicBezTo>
                  <a:pt x="5695239" y="7004845"/>
                  <a:pt x="5696571" y="7004046"/>
                  <a:pt x="5697502" y="7002980"/>
                </a:cubicBezTo>
                <a:cubicBezTo>
                  <a:pt x="5698567" y="7001783"/>
                  <a:pt x="5699499" y="7000451"/>
                  <a:pt x="5700165" y="6998721"/>
                </a:cubicBezTo>
                <a:cubicBezTo>
                  <a:pt x="5700830" y="6997123"/>
                  <a:pt x="5701230" y="6995260"/>
                  <a:pt x="5701230" y="6993263"/>
                </a:cubicBezTo>
                <a:cubicBezTo>
                  <a:pt x="5701230" y="6991399"/>
                  <a:pt x="5700830" y="6989669"/>
                  <a:pt x="5700165" y="6988071"/>
                </a:cubicBezTo>
                <a:cubicBezTo>
                  <a:pt x="5699499" y="6986474"/>
                  <a:pt x="5698567" y="6985143"/>
                  <a:pt x="5697502" y="6983945"/>
                </a:cubicBezTo>
                <a:cubicBezTo>
                  <a:pt x="5696437" y="6982880"/>
                  <a:pt x="5695106" y="6981948"/>
                  <a:pt x="5693509" y="6981283"/>
                </a:cubicBezTo>
                <a:cubicBezTo>
                  <a:pt x="5692045" y="6980617"/>
                  <a:pt x="5690314" y="6980351"/>
                  <a:pt x="5688451" y="6980351"/>
                </a:cubicBezTo>
                <a:close/>
                <a:moveTo>
                  <a:pt x="5470806" y="6980351"/>
                </a:moveTo>
                <a:cubicBezTo>
                  <a:pt x="5464949" y="6980351"/>
                  <a:pt x="5462419" y="6982214"/>
                  <a:pt x="5460822" y="6983945"/>
                </a:cubicBezTo>
                <a:cubicBezTo>
                  <a:pt x="5458293" y="6986607"/>
                  <a:pt x="5457228" y="6989403"/>
                  <a:pt x="5457228" y="6993396"/>
                </a:cubicBezTo>
                <a:cubicBezTo>
                  <a:pt x="5457228" y="6997523"/>
                  <a:pt x="5458293" y="7000319"/>
                  <a:pt x="5460822" y="7002848"/>
                </a:cubicBezTo>
                <a:cubicBezTo>
                  <a:pt x="5462419" y="7004579"/>
                  <a:pt x="5464949" y="7006442"/>
                  <a:pt x="5470806" y="7006442"/>
                </a:cubicBezTo>
                <a:cubicBezTo>
                  <a:pt x="5472802" y="7006442"/>
                  <a:pt x="5474666" y="7006177"/>
                  <a:pt x="5476130" y="7005378"/>
                </a:cubicBezTo>
                <a:cubicBezTo>
                  <a:pt x="5477594" y="7004845"/>
                  <a:pt x="5478926" y="7004046"/>
                  <a:pt x="5479857" y="7002980"/>
                </a:cubicBezTo>
                <a:cubicBezTo>
                  <a:pt x="5480922" y="7001783"/>
                  <a:pt x="5481854" y="7000451"/>
                  <a:pt x="5482520" y="6998721"/>
                </a:cubicBezTo>
                <a:cubicBezTo>
                  <a:pt x="5483319" y="6997123"/>
                  <a:pt x="5483585" y="6995260"/>
                  <a:pt x="5483585" y="6993263"/>
                </a:cubicBezTo>
                <a:cubicBezTo>
                  <a:pt x="5483585" y="6991399"/>
                  <a:pt x="5483185" y="6989669"/>
                  <a:pt x="5482520" y="6988071"/>
                </a:cubicBezTo>
                <a:cubicBezTo>
                  <a:pt x="5481854" y="6986474"/>
                  <a:pt x="5480922" y="6985143"/>
                  <a:pt x="5479857" y="6983945"/>
                </a:cubicBezTo>
                <a:cubicBezTo>
                  <a:pt x="5478793" y="6982880"/>
                  <a:pt x="5477461" y="6981948"/>
                  <a:pt x="5475864" y="6981283"/>
                </a:cubicBezTo>
                <a:cubicBezTo>
                  <a:pt x="5474400" y="6980617"/>
                  <a:pt x="5472669" y="6980351"/>
                  <a:pt x="5470806" y="6980351"/>
                </a:cubicBezTo>
                <a:close/>
                <a:moveTo>
                  <a:pt x="5253160" y="6980351"/>
                </a:moveTo>
                <a:cubicBezTo>
                  <a:pt x="5247303" y="6980351"/>
                  <a:pt x="5244774" y="6982214"/>
                  <a:pt x="5243177" y="6983945"/>
                </a:cubicBezTo>
                <a:cubicBezTo>
                  <a:pt x="5240647" y="6986607"/>
                  <a:pt x="5239583" y="6989403"/>
                  <a:pt x="5239583" y="6993396"/>
                </a:cubicBezTo>
                <a:cubicBezTo>
                  <a:pt x="5239583" y="6997523"/>
                  <a:pt x="5240647" y="7000319"/>
                  <a:pt x="5243177" y="7002848"/>
                </a:cubicBezTo>
                <a:cubicBezTo>
                  <a:pt x="5244774" y="7004579"/>
                  <a:pt x="5247303" y="7006442"/>
                  <a:pt x="5253160" y="7006442"/>
                </a:cubicBezTo>
                <a:cubicBezTo>
                  <a:pt x="5255157" y="7006442"/>
                  <a:pt x="5257021" y="7006177"/>
                  <a:pt x="5258485" y="7005378"/>
                </a:cubicBezTo>
                <a:cubicBezTo>
                  <a:pt x="5259949" y="7004845"/>
                  <a:pt x="5261280" y="7004046"/>
                  <a:pt x="5262212" y="7002980"/>
                </a:cubicBezTo>
                <a:cubicBezTo>
                  <a:pt x="5263277" y="7001783"/>
                  <a:pt x="5264209" y="7000451"/>
                  <a:pt x="5264875" y="6998721"/>
                </a:cubicBezTo>
                <a:cubicBezTo>
                  <a:pt x="5265673" y="6997123"/>
                  <a:pt x="5265939" y="6995260"/>
                  <a:pt x="5265939" y="6993263"/>
                </a:cubicBezTo>
                <a:cubicBezTo>
                  <a:pt x="5265939" y="6991399"/>
                  <a:pt x="5265540" y="6989669"/>
                  <a:pt x="5264875" y="6988071"/>
                </a:cubicBezTo>
                <a:cubicBezTo>
                  <a:pt x="5264209" y="6986474"/>
                  <a:pt x="5263277" y="6985143"/>
                  <a:pt x="5262212" y="6983945"/>
                </a:cubicBezTo>
                <a:cubicBezTo>
                  <a:pt x="5261147" y="6982880"/>
                  <a:pt x="5259816" y="6981948"/>
                  <a:pt x="5258219" y="6981283"/>
                </a:cubicBezTo>
                <a:cubicBezTo>
                  <a:pt x="5256754" y="6980617"/>
                  <a:pt x="5255024" y="6980351"/>
                  <a:pt x="5253160" y="6980351"/>
                </a:cubicBezTo>
                <a:close/>
                <a:moveTo>
                  <a:pt x="5035515" y="6980351"/>
                </a:moveTo>
                <a:cubicBezTo>
                  <a:pt x="5029658" y="6980351"/>
                  <a:pt x="5027129" y="6982214"/>
                  <a:pt x="5025532" y="6983945"/>
                </a:cubicBezTo>
                <a:cubicBezTo>
                  <a:pt x="5023002" y="6986607"/>
                  <a:pt x="5021938" y="6989403"/>
                  <a:pt x="5021938" y="6993396"/>
                </a:cubicBezTo>
                <a:cubicBezTo>
                  <a:pt x="5021938" y="6997523"/>
                  <a:pt x="5023002" y="7000319"/>
                  <a:pt x="5025532" y="7002848"/>
                </a:cubicBezTo>
                <a:cubicBezTo>
                  <a:pt x="5027129" y="7004579"/>
                  <a:pt x="5029658" y="7006442"/>
                  <a:pt x="5035515" y="7006442"/>
                </a:cubicBezTo>
                <a:cubicBezTo>
                  <a:pt x="5037645" y="7006442"/>
                  <a:pt x="5039376" y="7006177"/>
                  <a:pt x="5040840" y="7005378"/>
                </a:cubicBezTo>
                <a:cubicBezTo>
                  <a:pt x="5042304" y="7004845"/>
                  <a:pt x="5043636" y="7004046"/>
                  <a:pt x="5044567" y="7002980"/>
                </a:cubicBezTo>
                <a:cubicBezTo>
                  <a:pt x="5045632" y="7001783"/>
                  <a:pt x="5046564" y="7000451"/>
                  <a:pt x="5047230" y="6998721"/>
                </a:cubicBezTo>
                <a:cubicBezTo>
                  <a:pt x="5048028" y="6997123"/>
                  <a:pt x="5048294" y="6995260"/>
                  <a:pt x="5048294" y="6993263"/>
                </a:cubicBezTo>
                <a:cubicBezTo>
                  <a:pt x="5048294" y="6991399"/>
                  <a:pt x="5047895" y="6989669"/>
                  <a:pt x="5047230" y="6988071"/>
                </a:cubicBezTo>
                <a:cubicBezTo>
                  <a:pt x="5046564" y="6986474"/>
                  <a:pt x="5045632" y="6985143"/>
                  <a:pt x="5044567" y="6983945"/>
                </a:cubicBezTo>
                <a:cubicBezTo>
                  <a:pt x="5043502" y="6982880"/>
                  <a:pt x="5042171" y="6981948"/>
                  <a:pt x="5040574" y="6981283"/>
                </a:cubicBezTo>
                <a:cubicBezTo>
                  <a:pt x="5039110" y="6980617"/>
                  <a:pt x="5037379" y="6980351"/>
                  <a:pt x="5035515" y="6980351"/>
                </a:cubicBezTo>
                <a:close/>
                <a:moveTo>
                  <a:pt x="4817870" y="6980351"/>
                </a:moveTo>
                <a:cubicBezTo>
                  <a:pt x="4812013" y="6980351"/>
                  <a:pt x="4809484" y="6982214"/>
                  <a:pt x="4807887" y="6983945"/>
                </a:cubicBezTo>
                <a:cubicBezTo>
                  <a:pt x="4805357" y="6986607"/>
                  <a:pt x="4804293" y="6989403"/>
                  <a:pt x="4804293" y="6993396"/>
                </a:cubicBezTo>
                <a:cubicBezTo>
                  <a:pt x="4804293" y="6997523"/>
                  <a:pt x="4805357" y="7000319"/>
                  <a:pt x="4807887" y="7002848"/>
                </a:cubicBezTo>
                <a:cubicBezTo>
                  <a:pt x="4809484" y="7004579"/>
                  <a:pt x="4812013" y="7006442"/>
                  <a:pt x="4817870" y="7006442"/>
                </a:cubicBezTo>
                <a:cubicBezTo>
                  <a:pt x="4820000" y="7006442"/>
                  <a:pt x="4821731" y="7006177"/>
                  <a:pt x="4823195" y="7005378"/>
                </a:cubicBezTo>
                <a:cubicBezTo>
                  <a:pt x="4824659" y="7004845"/>
                  <a:pt x="4825857" y="7004046"/>
                  <a:pt x="4826922" y="7002980"/>
                </a:cubicBezTo>
                <a:cubicBezTo>
                  <a:pt x="4827987" y="7001783"/>
                  <a:pt x="4828919" y="7000451"/>
                  <a:pt x="4829585" y="6998721"/>
                </a:cubicBezTo>
                <a:cubicBezTo>
                  <a:pt x="4830383" y="6997123"/>
                  <a:pt x="4830650" y="6995260"/>
                  <a:pt x="4830650" y="6993263"/>
                </a:cubicBezTo>
                <a:cubicBezTo>
                  <a:pt x="4830650" y="6991399"/>
                  <a:pt x="4830250" y="6989669"/>
                  <a:pt x="4829585" y="6988071"/>
                </a:cubicBezTo>
                <a:cubicBezTo>
                  <a:pt x="4828919" y="6986474"/>
                  <a:pt x="4827987" y="6985143"/>
                  <a:pt x="4826922" y="6983945"/>
                </a:cubicBezTo>
                <a:cubicBezTo>
                  <a:pt x="4825857" y="6982880"/>
                  <a:pt x="4824526" y="6981948"/>
                  <a:pt x="4822929" y="6981283"/>
                </a:cubicBezTo>
                <a:cubicBezTo>
                  <a:pt x="4821465" y="6980617"/>
                  <a:pt x="4819734" y="6980351"/>
                  <a:pt x="4817870" y="6980351"/>
                </a:cubicBezTo>
                <a:close/>
                <a:moveTo>
                  <a:pt x="4600226" y="6980351"/>
                </a:moveTo>
                <a:cubicBezTo>
                  <a:pt x="4594369" y="6980351"/>
                  <a:pt x="4591839" y="6982214"/>
                  <a:pt x="4590242" y="6983945"/>
                </a:cubicBezTo>
                <a:cubicBezTo>
                  <a:pt x="4587713" y="6986607"/>
                  <a:pt x="4586648" y="6989403"/>
                  <a:pt x="4586648" y="6993396"/>
                </a:cubicBezTo>
                <a:cubicBezTo>
                  <a:pt x="4586648" y="6997523"/>
                  <a:pt x="4587713" y="7000319"/>
                  <a:pt x="4590242" y="7002848"/>
                </a:cubicBezTo>
                <a:cubicBezTo>
                  <a:pt x="4591839" y="7004579"/>
                  <a:pt x="4594369" y="7006442"/>
                  <a:pt x="4600226" y="7006442"/>
                </a:cubicBezTo>
                <a:cubicBezTo>
                  <a:pt x="4602355" y="7006442"/>
                  <a:pt x="4604086" y="7006177"/>
                  <a:pt x="4605550" y="7005378"/>
                </a:cubicBezTo>
                <a:cubicBezTo>
                  <a:pt x="4607148" y="7004845"/>
                  <a:pt x="4608346" y="7004046"/>
                  <a:pt x="4609277" y="7002980"/>
                </a:cubicBezTo>
                <a:cubicBezTo>
                  <a:pt x="4610342" y="7001783"/>
                  <a:pt x="4611274" y="7000451"/>
                  <a:pt x="4611940" y="6998721"/>
                </a:cubicBezTo>
                <a:cubicBezTo>
                  <a:pt x="4612605" y="6997123"/>
                  <a:pt x="4613005" y="6995260"/>
                  <a:pt x="4613005" y="6993263"/>
                </a:cubicBezTo>
                <a:cubicBezTo>
                  <a:pt x="4613005" y="6991399"/>
                  <a:pt x="4612605" y="6989669"/>
                  <a:pt x="4611940" y="6988071"/>
                </a:cubicBezTo>
                <a:cubicBezTo>
                  <a:pt x="4611274" y="6986474"/>
                  <a:pt x="4610342" y="6985143"/>
                  <a:pt x="4609277" y="6983945"/>
                </a:cubicBezTo>
                <a:cubicBezTo>
                  <a:pt x="4608212" y="6982880"/>
                  <a:pt x="4606881" y="6981948"/>
                  <a:pt x="4605284" y="6981283"/>
                </a:cubicBezTo>
                <a:cubicBezTo>
                  <a:pt x="4603820" y="6980617"/>
                  <a:pt x="4602222" y="6980351"/>
                  <a:pt x="4600226" y="6980351"/>
                </a:cubicBezTo>
                <a:close/>
                <a:moveTo>
                  <a:pt x="4382713" y="6980351"/>
                </a:moveTo>
                <a:cubicBezTo>
                  <a:pt x="4376857" y="6980351"/>
                  <a:pt x="4374327" y="6982214"/>
                  <a:pt x="4372730" y="6983945"/>
                </a:cubicBezTo>
                <a:cubicBezTo>
                  <a:pt x="4370201" y="6986607"/>
                  <a:pt x="4369136" y="6989403"/>
                  <a:pt x="4369136" y="6993396"/>
                </a:cubicBezTo>
                <a:cubicBezTo>
                  <a:pt x="4369136" y="6997523"/>
                  <a:pt x="4370201" y="7000319"/>
                  <a:pt x="4372730" y="7002848"/>
                </a:cubicBezTo>
                <a:cubicBezTo>
                  <a:pt x="4374327" y="7004579"/>
                  <a:pt x="4376857" y="7006442"/>
                  <a:pt x="4382713" y="7006442"/>
                </a:cubicBezTo>
                <a:cubicBezTo>
                  <a:pt x="4384710" y="7006442"/>
                  <a:pt x="4386441" y="7006177"/>
                  <a:pt x="4388038" y="7005378"/>
                </a:cubicBezTo>
                <a:cubicBezTo>
                  <a:pt x="4389502" y="7004845"/>
                  <a:pt x="4390834" y="7004046"/>
                  <a:pt x="4391765" y="7002980"/>
                </a:cubicBezTo>
                <a:cubicBezTo>
                  <a:pt x="4392830" y="7001783"/>
                  <a:pt x="4393762" y="7000451"/>
                  <a:pt x="4394428" y="6998721"/>
                </a:cubicBezTo>
                <a:cubicBezTo>
                  <a:pt x="4395093" y="6997123"/>
                  <a:pt x="4395493" y="6995260"/>
                  <a:pt x="4395493" y="6993263"/>
                </a:cubicBezTo>
                <a:cubicBezTo>
                  <a:pt x="4395493" y="6991399"/>
                  <a:pt x="4395093" y="6989669"/>
                  <a:pt x="4394428" y="6988071"/>
                </a:cubicBezTo>
                <a:cubicBezTo>
                  <a:pt x="4393762" y="6986474"/>
                  <a:pt x="4392830" y="6985143"/>
                  <a:pt x="4391765" y="6983945"/>
                </a:cubicBezTo>
                <a:cubicBezTo>
                  <a:pt x="4390700" y="6982880"/>
                  <a:pt x="4389369" y="6981948"/>
                  <a:pt x="4387772" y="6981283"/>
                </a:cubicBezTo>
                <a:cubicBezTo>
                  <a:pt x="4386308" y="6980617"/>
                  <a:pt x="4384710" y="6980351"/>
                  <a:pt x="4382713" y="6980351"/>
                </a:cubicBezTo>
                <a:close/>
                <a:moveTo>
                  <a:pt x="4165068" y="6980351"/>
                </a:moveTo>
                <a:cubicBezTo>
                  <a:pt x="4159211" y="6980351"/>
                  <a:pt x="4156681" y="6982214"/>
                  <a:pt x="4155084" y="6983945"/>
                </a:cubicBezTo>
                <a:cubicBezTo>
                  <a:pt x="4152555" y="6986607"/>
                  <a:pt x="4151490" y="6989403"/>
                  <a:pt x="4151490" y="6993396"/>
                </a:cubicBezTo>
                <a:cubicBezTo>
                  <a:pt x="4151490" y="6997523"/>
                  <a:pt x="4152555" y="7000319"/>
                  <a:pt x="4155084" y="7002848"/>
                </a:cubicBezTo>
                <a:cubicBezTo>
                  <a:pt x="4156681" y="7004579"/>
                  <a:pt x="4159211" y="7006442"/>
                  <a:pt x="4165068" y="7006442"/>
                </a:cubicBezTo>
                <a:cubicBezTo>
                  <a:pt x="4167064" y="7006442"/>
                  <a:pt x="4168928" y="7006177"/>
                  <a:pt x="4170392" y="7005378"/>
                </a:cubicBezTo>
                <a:cubicBezTo>
                  <a:pt x="4171856" y="7004845"/>
                  <a:pt x="4173188" y="7004046"/>
                  <a:pt x="4174119" y="7002980"/>
                </a:cubicBezTo>
                <a:cubicBezTo>
                  <a:pt x="4175184" y="7001783"/>
                  <a:pt x="4176116" y="7000451"/>
                  <a:pt x="4176782" y="6998721"/>
                </a:cubicBezTo>
                <a:cubicBezTo>
                  <a:pt x="4177447" y="6997123"/>
                  <a:pt x="4177847" y="6995260"/>
                  <a:pt x="4177847" y="6993263"/>
                </a:cubicBezTo>
                <a:cubicBezTo>
                  <a:pt x="4177847" y="6991399"/>
                  <a:pt x="4177447" y="6989669"/>
                  <a:pt x="4176782" y="6988071"/>
                </a:cubicBezTo>
                <a:cubicBezTo>
                  <a:pt x="4176116" y="6986474"/>
                  <a:pt x="4175184" y="6985143"/>
                  <a:pt x="4174119" y="6983945"/>
                </a:cubicBezTo>
                <a:cubicBezTo>
                  <a:pt x="4173054" y="6982880"/>
                  <a:pt x="4171723" y="6981948"/>
                  <a:pt x="4170126" y="6981283"/>
                </a:cubicBezTo>
                <a:cubicBezTo>
                  <a:pt x="4168662" y="6980617"/>
                  <a:pt x="4167064" y="6980351"/>
                  <a:pt x="4165068" y="6980351"/>
                </a:cubicBezTo>
                <a:close/>
                <a:moveTo>
                  <a:pt x="3947802" y="6980351"/>
                </a:moveTo>
                <a:cubicBezTo>
                  <a:pt x="3941944" y="6980351"/>
                  <a:pt x="3939416" y="6982214"/>
                  <a:pt x="3937819" y="6983945"/>
                </a:cubicBezTo>
                <a:cubicBezTo>
                  <a:pt x="3935288" y="6986607"/>
                  <a:pt x="3934224" y="6989403"/>
                  <a:pt x="3934224" y="6993396"/>
                </a:cubicBezTo>
                <a:cubicBezTo>
                  <a:pt x="3934224" y="6997523"/>
                  <a:pt x="3935288" y="7000319"/>
                  <a:pt x="3937819" y="7002848"/>
                </a:cubicBezTo>
                <a:cubicBezTo>
                  <a:pt x="3939416" y="7004579"/>
                  <a:pt x="3941944" y="7006442"/>
                  <a:pt x="3947802" y="7006442"/>
                </a:cubicBezTo>
                <a:cubicBezTo>
                  <a:pt x="3949800" y="7006442"/>
                  <a:pt x="3951665" y="7006177"/>
                  <a:pt x="3953131" y="7005378"/>
                </a:cubicBezTo>
                <a:cubicBezTo>
                  <a:pt x="3954595" y="7004845"/>
                  <a:pt x="3955925" y="7004046"/>
                  <a:pt x="3956858" y="7002980"/>
                </a:cubicBezTo>
                <a:cubicBezTo>
                  <a:pt x="3957924" y="7001783"/>
                  <a:pt x="3958856" y="7000451"/>
                  <a:pt x="3959521" y="6998721"/>
                </a:cubicBezTo>
                <a:cubicBezTo>
                  <a:pt x="3960186" y="6997123"/>
                  <a:pt x="3960587" y="6995260"/>
                  <a:pt x="3960587" y="6993263"/>
                </a:cubicBezTo>
                <a:cubicBezTo>
                  <a:pt x="3960587" y="6991399"/>
                  <a:pt x="3960186" y="6989669"/>
                  <a:pt x="3959521" y="6988071"/>
                </a:cubicBezTo>
                <a:cubicBezTo>
                  <a:pt x="3958856" y="6986474"/>
                  <a:pt x="3957924" y="6985143"/>
                  <a:pt x="3956858" y="6983945"/>
                </a:cubicBezTo>
                <a:cubicBezTo>
                  <a:pt x="3955793" y="6982880"/>
                  <a:pt x="3954462" y="6981948"/>
                  <a:pt x="3952865" y="6981283"/>
                </a:cubicBezTo>
                <a:cubicBezTo>
                  <a:pt x="3951398" y="6980617"/>
                  <a:pt x="3949800" y="6980351"/>
                  <a:pt x="3947802" y="6980351"/>
                </a:cubicBezTo>
                <a:close/>
                <a:moveTo>
                  <a:pt x="3730141" y="6980351"/>
                </a:moveTo>
                <a:cubicBezTo>
                  <a:pt x="3724283" y="6980351"/>
                  <a:pt x="3721753" y="6982214"/>
                  <a:pt x="3720153" y="6983945"/>
                </a:cubicBezTo>
                <a:cubicBezTo>
                  <a:pt x="3717624" y="6986607"/>
                  <a:pt x="3716560" y="6989403"/>
                  <a:pt x="3716560" y="6993396"/>
                </a:cubicBezTo>
                <a:cubicBezTo>
                  <a:pt x="3716560" y="6997523"/>
                  <a:pt x="3717624" y="7000319"/>
                  <a:pt x="3720153" y="7002848"/>
                </a:cubicBezTo>
                <a:cubicBezTo>
                  <a:pt x="3721753" y="7004579"/>
                  <a:pt x="3724283" y="7006442"/>
                  <a:pt x="3730141" y="7006442"/>
                </a:cubicBezTo>
                <a:cubicBezTo>
                  <a:pt x="3732270" y="7006442"/>
                  <a:pt x="3734002" y="7006177"/>
                  <a:pt x="3735466" y="7005378"/>
                </a:cubicBezTo>
                <a:cubicBezTo>
                  <a:pt x="3736930" y="7004845"/>
                  <a:pt x="3738263" y="7004046"/>
                  <a:pt x="3739193" y="7002980"/>
                </a:cubicBezTo>
                <a:cubicBezTo>
                  <a:pt x="3740258" y="7001783"/>
                  <a:pt x="3741191" y="7000451"/>
                  <a:pt x="3741856" y="6998721"/>
                </a:cubicBezTo>
                <a:cubicBezTo>
                  <a:pt x="3742521" y="6997123"/>
                  <a:pt x="3742921" y="6995260"/>
                  <a:pt x="3742921" y="6993263"/>
                </a:cubicBezTo>
                <a:cubicBezTo>
                  <a:pt x="3742921" y="6991399"/>
                  <a:pt x="3742521" y="6989669"/>
                  <a:pt x="3741856" y="6988071"/>
                </a:cubicBezTo>
                <a:cubicBezTo>
                  <a:pt x="3741191" y="6986474"/>
                  <a:pt x="3740258" y="6985143"/>
                  <a:pt x="3739193" y="6983945"/>
                </a:cubicBezTo>
                <a:cubicBezTo>
                  <a:pt x="3738129" y="6982880"/>
                  <a:pt x="3736797" y="6981948"/>
                  <a:pt x="3735200" y="6981283"/>
                </a:cubicBezTo>
                <a:cubicBezTo>
                  <a:pt x="3733735" y="6980617"/>
                  <a:pt x="3732137" y="6980351"/>
                  <a:pt x="3730141" y="6980351"/>
                </a:cubicBezTo>
                <a:close/>
                <a:moveTo>
                  <a:pt x="3512475" y="6980351"/>
                </a:moveTo>
                <a:cubicBezTo>
                  <a:pt x="3506616" y="6980351"/>
                  <a:pt x="3504085" y="6982214"/>
                  <a:pt x="3502485" y="6983945"/>
                </a:cubicBezTo>
                <a:cubicBezTo>
                  <a:pt x="3499955" y="6986607"/>
                  <a:pt x="3498892" y="6989403"/>
                  <a:pt x="3498892" y="6993396"/>
                </a:cubicBezTo>
                <a:cubicBezTo>
                  <a:pt x="3498892" y="6997523"/>
                  <a:pt x="3499955" y="7000319"/>
                  <a:pt x="3502485" y="7002848"/>
                </a:cubicBezTo>
                <a:cubicBezTo>
                  <a:pt x="3504085" y="7004579"/>
                  <a:pt x="3506616" y="7006442"/>
                  <a:pt x="3512475" y="7006442"/>
                </a:cubicBezTo>
                <a:cubicBezTo>
                  <a:pt x="3514605" y="7006442"/>
                  <a:pt x="3516337" y="7006177"/>
                  <a:pt x="3517801" y="7005378"/>
                </a:cubicBezTo>
                <a:cubicBezTo>
                  <a:pt x="3519265" y="7004845"/>
                  <a:pt x="3520597" y="7004046"/>
                  <a:pt x="3521528" y="7002980"/>
                </a:cubicBezTo>
                <a:cubicBezTo>
                  <a:pt x="3522594" y="7001783"/>
                  <a:pt x="3523525" y="7000451"/>
                  <a:pt x="3524191" y="6998721"/>
                </a:cubicBezTo>
                <a:cubicBezTo>
                  <a:pt x="3524856" y="6997123"/>
                  <a:pt x="3525257" y="6995260"/>
                  <a:pt x="3525257" y="6993263"/>
                </a:cubicBezTo>
                <a:cubicBezTo>
                  <a:pt x="3525257" y="6991399"/>
                  <a:pt x="3524856" y="6989669"/>
                  <a:pt x="3524191" y="6988071"/>
                </a:cubicBezTo>
                <a:cubicBezTo>
                  <a:pt x="3523525" y="6986474"/>
                  <a:pt x="3522594" y="6985143"/>
                  <a:pt x="3521528" y="6983945"/>
                </a:cubicBezTo>
                <a:cubicBezTo>
                  <a:pt x="3520463" y="6982880"/>
                  <a:pt x="3519132" y="6981948"/>
                  <a:pt x="3517535" y="6981283"/>
                </a:cubicBezTo>
                <a:cubicBezTo>
                  <a:pt x="3516071" y="6980617"/>
                  <a:pt x="3514473" y="6980351"/>
                  <a:pt x="3512475" y="6980351"/>
                </a:cubicBezTo>
                <a:close/>
                <a:moveTo>
                  <a:pt x="3294943" y="6980351"/>
                </a:moveTo>
                <a:cubicBezTo>
                  <a:pt x="3289085" y="6980351"/>
                  <a:pt x="3286553" y="6982214"/>
                  <a:pt x="3284956" y="6983945"/>
                </a:cubicBezTo>
                <a:cubicBezTo>
                  <a:pt x="3282426" y="6986607"/>
                  <a:pt x="3281362" y="6989403"/>
                  <a:pt x="3281362" y="6993396"/>
                </a:cubicBezTo>
                <a:cubicBezTo>
                  <a:pt x="3281362" y="6997523"/>
                  <a:pt x="3282426" y="7000319"/>
                  <a:pt x="3284956" y="7002848"/>
                </a:cubicBezTo>
                <a:cubicBezTo>
                  <a:pt x="3286553" y="7004579"/>
                  <a:pt x="3289085" y="7006442"/>
                  <a:pt x="3294943" y="7006442"/>
                </a:cubicBezTo>
                <a:cubicBezTo>
                  <a:pt x="3296941" y="7006442"/>
                  <a:pt x="3298672" y="7006177"/>
                  <a:pt x="3300270" y="7005378"/>
                </a:cubicBezTo>
                <a:cubicBezTo>
                  <a:pt x="3301733" y="7004845"/>
                  <a:pt x="3303065" y="7004046"/>
                  <a:pt x="3303996" y="7002980"/>
                </a:cubicBezTo>
                <a:cubicBezTo>
                  <a:pt x="3305062" y="7001783"/>
                  <a:pt x="3305993" y="7000451"/>
                  <a:pt x="3306660" y="6998721"/>
                </a:cubicBezTo>
                <a:cubicBezTo>
                  <a:pt x="3307325" y="6997123"/>
                  <a:pt x="3307723" y="6995260"/>
                  <a:pt x="3307723" y="6993263"/>
                </a:cubicBezTo>
                <a:cubicBezTo>
                  <a:pt x="3307723" y="6991399"/>
                  <a:pt x="3307325" y="6989669"/>
                  <a:pt x="3306660" y="6988071"/>
                </a:cubicBezTo>
                <a:cubicBezTo>
                  <a:pt x="3305993" y="6986474"/>
                  <a:pt x="3305062" y="6985143"/>
                  <a:pt x="3303996" y="6983945"/>
                </a:cubicBezTo>
                <a:cubicBezTo>
                  <a:pt x="3302931" y="6982880"/>
                  <a:pt x="3301600" y="6981948"/>
                  <a:pt x="3300003" y="6981283"/>
                </a:cubicBezTo>
                <a:cubicBezTo>
                  <a:pt x="3298539" y="6980617"/>
                  <a:pt x="3296941" y="6980351"/>
                  <a:pt x="3294943" y="6980351"/>
                </a:cubicBezTo>
                <a:close/>
                <a:moveTo>
                  <a:pt x="3077412" y="6980351"/>
                </a:moveTo>
                <a:cubicBezTo>
                  <a:pt x="3071554" y="6980351"/>
                  <a:pt x="3069024" y="6982214"/>
                  <a:pt x="3067428" y="6983945"/>
                </a:cubicBezTo>
                <a:cubicBezTo>
                  <a:pt x="3064762" y="6986607"/>
                  <a:pt x="3063697" y="6989403"/>
                  <a:pt x="3063697" y="6993396"/>
                </a:cubicBezTo>
                <a:cubicBezTo>
                  <a:pt x="3063697" y="6997523"/>
                  <a:pt x="3064762" y="7000319"/>
                  <a:pt x="3067293" y="7002848"/>
                </a:cubicBezTo>
                <a:cubicBezTo>
                  <a:pt x="3068891" y="7004579"/>
                  <a:pt x="3071421" y="7006442"/>
                  <a:pt x="3077279" y="7006442"/>
                </a:cubicBezTo>
                <a:cubicBezTo>
                  <a:pt x="3079276" y="7006442"/>
                  <a:pt x="3081006" y="7006177"/>
                  <a:pt x="3082737" y="7005378"/>
                </a:cubicBezTo>
                <a:cubicBezTo>
                  <a:pt x="3084202" y="7004845"/>
                  <a:pt x="3085533" y="7004046"/>
                  <a:pt x="3086465" y="7002980"/>
                </a:cubicBezTo>
                <a:cubicBezTo>
                  <a:pt x="3087529" y="7001783"/>
                  <a:pt x="3088461" y="7000451"/>
                  <a:pt x="3089127" y="6998721"/>
                </a:cubicBezTo>
                <a:cubicBezTo>
                  <a:pt x="3089792" y="6997123"/>
                  <a:pt x="3090059" y="6995260"/>
                  <a:pt x="3090059" y="6993263"/>
                </a:cubicBezTo>
                <a:cubicBezTo>
                  <a:pt x="3090059" y="6991399"/>
                  <a:pt x="3089792" y="6989669"/>
                  <a:pt x="3089127" y="6988071"/>
                </a:cubicBezTo>
                <a:cubicBezTo>
                  <a:pt x="3088461" y="6986474"/>
                  <a:pt x="3087529" y="6985143"/>
                  <a:pt x="3086465" y="6983945"/>
                </a:cubicBezTo>
                <a:cubicBezTo>
                  <a:pt x="3085400" y="6982880"/>
                  <a:pt x="3084068" y="6981948"/>
                  <a:pt x="3082471" y="6981283"/>
                </a:cubicBezTo>
                <a:cubicBezTo>
                  <a:pt x="3081006" y="6980617"/>
                  <a:pt x="3079409" y="6980351"/>
                  <a:pt x="3077412" y="6980351"/>
                </a:cubicBezTo>
                <a:close/>
                <a:moveTo>
                  <a:pt x="2859614" y="6980351"/>
                </a:moveTo>
                <a:cubicBezTo>
                  <a:pt x="2853757" y="6980351"/>
                  <a:pt x="2851227" y="6982214"/>
                  <a:pt x="2849628" y="6983945"/>
                </a:cubicBezTo>
                <a:cubicBezTo>
                  <a:pt x="2847094" y="6986607"/>
                  <a:pt x="2846027" y="6989403"/>
                  <a:pt x="2846027" y="6993396"/>
                </a:cubicBezTo>
                <a:cubicBezTo>
                  <a:pt x="2846027" y="6997523"/>
                  <a:pt x="2847094" y="7000319"/>
                  <a:pt x="2849628" y="7002848"/>
                </a:cubicBezTo>
                <a:cubicBezTo>
                  <a:pt x="2851227" y="7004579"/>
                  <a:pt x="2853757" y="7006442"/>
                  <a:pt x="2859614" y="7006442"/>
                </a:cubicBezTo>
                <a:cubicBezTo>
                  <a:pt x="2861611" y="7006442"/>
                  <a:pt x="2863475" y="7006177"/>
                  <a:pt x="2864939" y="7005378"/>
                </a:cubicBezTo>
                <a:cubicBezTo>
                  <a:pt x="2866537" y="7004845"/>
                  <a:pt x="2867735" y="7004046"/>
                  <a:pt x="2868666" y="7002980"/>
                </a:cubicBezTo>
                <a:cubicBezTo>
                  <a:pt x="2869731" y="7001783"/>
                  <a:pt x="2870663" y="7000451"/>
                  <a:pt x="2871329" y="6998721"/>
                </a:cubicBezTo>
                <a:cubicBezTo>
                  <a:pt x="2871861" y="6997123"/>
                  <a:pt x="2872260" y="6995260"/>
                  <a:pt x="2872260" y="6993263"/>
                </a:cubicBezTo>
                <a:cubicBezTo>
                  <a:pt x="2872260" y="6991399"/>
                  <a:pt x="2871994" y="6989669"/>
                  <a:pt x="2871329" y="6988071"/>
                </a:cubicBezTo>
                <a:cubicBezTo>
                  <a:pt x="2870663" y="6986474"/>
                  <a:pt x="2869731" y="6985143"/>
                  <a:pt x="2868666" y="6983945"/>
                </a:cubicBezTo>
                <a:cubicBezTo>
                  <a:pt x="2867602" y="6982880"/>
                  <a:pt x="2866270" y="6981948"/>
                  <a:pt x="2864673" y="6981283"/>
                </a:cubicBezTo>
                <a:cubicBezTo>
                  <a:pt x="2863209" y="6980617"/>
                  <a:pt x="2861611" y="6980351"/>
                  <a:pt x="2859614" y="6980351"/>
                </a:cubicBezTo>
                <a:close/>
                <a:moveTo>
                  <a:pt x="2641949" y="6980351"/>
                </a:moveTo>
                <a:cubicBezTo>
                  <a:pt x="2636091" y="6980351"/>
                  <a:pt x="2633562" y="6982214"/>
                  <a:pt x="2631966" y="6983945"/>
                </a:cubicBezTo>
                <a:cubicBezTo>
                  <a:pt x="2629435" y="6986607"/>
                  <a:pt x="2628371" y="6989403"/>
                  <a:pt x="2628371" y="6993396"/>
                </a:cubicBezTo>
                <a:cubicBezTo>
                  <a:pt x="2628371" y="6997523"/>
                  <a:pt x="2629435" y="7000319"/>
                  <a:pt x="2631966" y="7002848"/>
                </a:cubicBezTo>
                <a:cubicBezTo>
                  <a:pt x="2633562" y="7004579"/>
                  <a:pt x="2636091" y="7006442"/>
                  <a:pt x="2641949" y="7006442"/>
                </a:cubicBezTo>
                <a:cubicBezTo>
                  <a:pt x="2643945" y="7006442"/>
                  <a:pt x="2645810" y="7006177"/>
                  <a:pt x="2647274" y="7005378"/>
                </a:cubicBezTo>
                <a:cubicBezTo>
                  <a:pt x="2648871" y="7004845"/>
                  <a:pt x="2650069" y="7004046"/>
                  <a:pt x="2651001" y="7002980"/>
                </a:cubicBezTo>
                <a:cubicBezTo>
                  <a:pt x="2652066" y="7001783"/>
                  <a:pt x="2652998" y="7000451"/>
                  <a:pt x="2653664" y="6998721"/>
                </a:cubicBezTo>
                <a:cubicBezTo>
                  <a:pt x="2654196" y="6997123"/>
                  <a:pt x="2654595" y="6995260"/>
                  <a:pt x="2654595" y="6993263"/>
                </a:cubicBezTo>
                <a:cubicBezTo>
                  <a:pt x="2654595" y="6991399"/>
                  <a:pt x="2654329" y="6989669"/>
                  <a:pt x="2653664" y="6988071"/>
                </a:cubicBezTo>
                <a:cubicBezTo>
                  <a:pt x="2652998" y="6986474"/>
                  <a:pt x="2652066" y="6985143"/>
                  <a:pt x="2651001" y="6983945"/>
                </a:cubicBezTo>
                <a:cubicBezTo>
                  <a:pt x="2649936" y="6982880"/>
                  <a:pt x="2648605" y="6981948"/>
                  <a:pt x="2647008" y="6981283"/>
                </a:cubicBezTo>
                <a:cubicBezTo>
                  <a:pt x="2645543" y="6980617"/>
                  <a:pt x="2643945" y="6980351"/>
                  <a:pt x="2641949" y="6980351"/>
                </a:cubicBezTo>
                <a:close/>
                <a:moveTo>
                  <a:pt x="2424283" y="6980351"/>
                </a:moveTo>
                <a:cubicBezTo>
                  <a:pt x="2418427" y="6980351"/>
                  <a:pt x="2415898" y="6982214"/>
                  <a:pt x="2414300" y="6983945"/>
                </a:cubicBezTo>
                <a:cubicBezTo>
                  <a:pt x="2411770" y="6986607"/>
                  <a:pt x="2410706" y="6989403"/>
                  <a:pt x="2410706" y="6993396"/>
                </a:cubicBezTo>
                <a:cubicBezTo>
                  <a:pt x="2410706" y="6997523"/>
                  <a:pt x="2411770" y="7000319"/>
                  <a:pt x="2414300" y="7002848"/>
                </a:cubicBezTo>
                <a:cubicBezTo>
                  <a:pt x="2415898" y="7004579"/>
                  <a:pt x="2418427" y="7006442"/>
                  <a:pt x="2424283" y="7006442"/>
                </a:cubicBezTo>
                <a:cubicBezTo>
                  <a:pt x="2426414" y="7006442"/>
                  <a:pt x="2428145" y="7006177"/>
                  <a:pt x="2429609" y="7005378"/>
                </a:cubicBezTo>
                <a:cubicBezTo>
                  <a:pt x="2431207" y="7004845"/>
                  <a:pt x="2432405" y="7004046"/>
                  <a:pt x="2433336" y="7002980"/>
                </a:cubicBezTo>
                <a:cubicBezTo>
                  <a:pt x="2434401" y="7001783"/>
                  <a:pt x="2435333" y="7000451"/>
                  <a:pt x="2435999" y="6998721"/>
                </a:cubicBezTo>
                <a:cubicBezTo>
                  <a:pt x="2436531" y="6997123"/>
                  <a:pt x="2436930" y="6995260"/>
                  <a:pt x="2436930" y="6993263"/>
                </a:cubicBezTo>
                <a:cubicBezTo>
                  <a:pt x="2436930" y="6991399"/>
                  <a:pt x="2436664" y="6989669"/>
                  <a:pt x="2435999" y="6988071"/>
                </a:cubicBezTo>
                <a:cubicBezTo>
                  <a:pt x="2435333" y="6986474"/>
                  <a:pt x="2434401" y="6985143"/>
                  <a:pt x="2433336" y="6983945"/>
                </a:cubicBezTo>
                <a:cubicBezTo>
                  <a:pt x="2432272" y="6982880"/>
                  <a:pt x="2430940" y="6981948"/>
                  <a:pt x="2429343" y="6981283"/>
                </a:cubicBezTo>
                <a:cubicBezTo>
                  <a:pt x="2427879" y="6980617"/>
                  <a:pt x="2426281" y="6980351"/>
                  <a:pt x="2424283" y="6980351"/>
                </a:cubicBezTo>
                <a:close/>
                <a:moveTo>
                  <a:pt x="2206619" y="6980351"/>
                </a:moveTo>
                <a:cubicBezTo>
                  <a:pt x="2200761" y="6980351"/>
                  <a:pt x="2198232" y="6982214"/>
                  <a:pt x="2196635" y="6983945"/>
                </a:cubicBezTo>
                <a:cubicBezTo>
                  <a:pt x="2194105" y="6986607"/>
                  <a:pt x="2193041" y="6989403"/>
                  <a:pt x="2193041" y="6993396"/>
                </a:cubicBezTo>
                <a:cubicBezTo>
                  <a:pt x="2193041" y="6997523"/>
                  <a:pt x="2194105" y="7000319"/>
                  <a:pt x="2196635" y="7002848"/>
                </a:cubicBezTo>
                <a:cubicBezTo>
                  <a:pt x="2198232" y="7004579"/>
                  <a:pt x="2200761" y="7006442"/>
                  <a:pt x="2206619" y="7006442"/>
                </a:cubicBezTo>
                <a:cubicBezTo>
                  <a:pt x="2208748" y="7006442"/>
                  <a:pt x="2210480" y="7006177"/>
                  <a:pt x="2211944" y="7005378"/>
                </a:cubicBezTo>
                <a:cubicBezTo>
                  <a:pt x="2213541" y="7004845"/>
                  <a:pt x="2214739" y="7004046"/>
                  <a:pt x="2215670" y="7002980"/>
                </a:cubicBezTo>
                <a:cubicBezTo>
                  <a:pt x="2216736" y="7001783"/>
                  <a:pt x="2217667" y="7000451"/>
                  <a:pt x="2218334" y="6998721"/>
                </a:cubicBezTo>
                <a:cubicBezTo>
                  <a:pt x="2218866" y="6997123"/>
                  <a:pt x="2219265" y="6995260"/>
                  <a:pt x="2219265" y="6993263"/>
                </a:cubicBezTo>
                <a:cubicBezTo>
                  <a:pt x="2219265" y="6991399"/>
                  <a:pt x="2218999" y="6989669"/>
                  <a:pt x="2218334" y="6988071"/>
                </a:cubicBezTo>
                <a:cubicBezTo>
                  <a:pt x="2217667" y="6986474"/>
                  <a:pt x="2216736" y="6985143"/>
                  <a:pt x="2215670" y="6983945"/>
                </a:cubicBezTo>
                <a:cubicBezTo>
                  <a:pt x="2214605" y="6982880"/>
                  <a:pt x="2213275" y="6981948"/>
                  <a:pt x="2211677" y="6981283"/>
                </a:cubicBezTo>
                <a:cubicBezTo>
                  <a:pt x="2210213" y="6980617"/>
                  <a:pt x="2208615" y="6980351"/>
                  <a:pt x="2206619" y="6980351"/>
                </a:cubicBezTo>
                <a:close/>
                <a:moveTo>
                  <a:pt x="1989086" y="6980351"/>
                </a:moveTo>
                <a:cubicBezTo>
                  <a:pt x="1983229" y="6980351"/>
                  <a:pt x="1980700" y="6982214"/>
                  <a:pt x="1979103" y="6983945"/>
                </a:cubicBezTo>
                <a:cubicBezTo>
                  <a:pt x="1976573" y="6986607"/>
                  <a:pt x="1975509" y="6989403"/>
                  <a:pt x="1975509" y="6993396"/>
                </a:cubicBezTo>
                <a:cubicBezTo>
                  <a:pt x="1975509" y="6997523"/>
                  <a:pt x="1976573" y="7000319"/>
                  <a:pt x="1979103" y="7002848"/>
                </a:cubicBezTo>
                <a:cubicBezTo>
                  <a:pt x="1980700" y="7004579"/>
                  <a:pt x="1983229" y="7006442"/>
                  <a:pt x="1989086" y="7006442"/>
                </a:cubicBezTo>
                <a:cubicBezTo>
                  <a:pt x="1991083" y="7006442"/>
                  <a:pt x="1992814" y="7006177"/>
                  <a:pt x="1994411" y="7005378"/>
                </a:cubicBezTo>
                <a:cubicBezTo>
                  <a:pt x="1996009" y="7004845"/>
                  <a:pt x="1997208" y="7004046"/>
                  <a:pt x="1998139" y="7002980"/>
                </a:cubicBezTo>
                <a:cubicBezTo>
                  <a:pt x="1999203" y="7001783"/>
                  <a:pt x="2000135" y="7000451"/>
                  <a:pt x="2000802" y="6998721"/>
                </a:cubicBezTo>
                <a:cubicBezTo>
                  <a:pt x="2001333" y="6997123"/>
                  <a:pt x="2001732" y="6995260"/>
                  <a:pt x="2001732" y="6993263"/>
                </a:cubicBezTo>
                <a:cubicBezTo>
                  <a:pt x="2001732" y="6991399"/>
                  <a:pt x="2001467" y="6989669"/>
                  <a:pt x="2000802" y="6988071"/>
                </a:cubicBezTo>
                <a:cubicBezTo>
                  <a:pt x="2000135" y="6986474"/>
                  <a:pt x="1999203" y="6985143"/>
                  <a:pt x="1998139" y="6983945"/>
                </a:cubicBezTo>
                <a:cubicBezTo>
                  <a:pt x="1997074" y="6982880"/>
                  <a:pt x="1995742" y="6981948"/>
                  <a:pt x="1994145" y="6981283"/>
                </a:cubicBezTo>
                <a:cubicBezTo>
                  <a:pt x="1992681" y="6980617"/>
                  <a:pt x="1991083" y="6980351"/>
                  <a:pt x="1989086" y="6980351"/>
                </a:cubicBezTo>
                <a:close/>
                <a:moveTo>
                  <a:pt x="1771456" y="6980351"/>
                </a:moveTo>
                <a:cubicBezTo>
                  <a:pt x="1765598" y="6980351"/>
                  <a:pt x="1763071" y="6982214"/>
                  <a:pt x="1761473" y="6983945"/>
                </a:cubicBezTo>
                <a:cubicBezTo>
                  <a:pt x="1758945" y="6986607"/>
                  <a:pt x="1757880" y="6989403"/>
                  <a:pt x="1757880" y="6993396"/>
                </a:cubicBezTo>
                <a:cubicBezTo>
                  <a:pt x="1757880" y="6997523"/>
                  <a:pt x="1758945" y="7000319"/>
                  <a:pt x="1761473" y="7002848"/>
                </a:cubicBezTo>
                <a:cubicBezTo>
                  <a:pt x="1763071" y="7004579"/>
                  <a:pt x="1765598" y="7006442"/>
                  <a:pt x="1771456" y="7006442"/>
                </a:cubicBezTo>
                <a:cubicBezTo>
                  <a:pt x="1773453" y="7006442"/>
                  <a:pt x="1775316" y="7006177"/>
                  <a:pt x="1776780" y="7005378"/>
                </a:cubicBezTo>
                <a:cubicBezTo>
                  <a:pt x="1778244" y="7004845"/>
                  <a:pt x="1779574" y="7004046"/>
                  <a:pt x="1780506" y="7002980"/>
                </a:cubicBezTo>
                <a:cubicBezTo>
                  <a:pt x="1781571" y="7001783"/>
                  <a:pt x="1782503" y="7000451"/>
                  <a:pt x="1783169" y="6998721"/>
                </a:cubicBezTo>
                <a:cubicBezTo>
                  <a:pt x="1783834" y="6997123"/>
                  <a:pt x="1784234" y="6995260"/>
                  <a:pt x="1784234" y="6993263"/>
                </a:cubicBezTo>
                <a:cubicBezTo>
                  <a:pt x="1784234" y="6991399"/>
                  <a:pt x="1783834" y="6989669"/>
                  <a:pt x="1783169" y="6988071"/>
                </a:cubicBezTo>
                <a:cubicBezTo>
                  <a:pt x="1782503" y="6986474"/>
                  <a:pt x="1781571" y="6985143"/>
                  <a:pt x="1780506" y="6983945"/>
                </a:cubicBezTo>
                <a:cubicBezTo>
                  <a:pt x="1779441" y="6982880"/>
                  <a:pt x="1778112" y="6981948"/>
                  <a:pt x="1776514" y="6981283"/>
                </a:cubicBezTo>
                <a:cubicBezTo>
                  <a:pt x="1775050" y="6980617"/>
                  <a:pt x="1773453" y="6980351"/>
                  <a:pt x="1771456" y="6980351"/>
                </a:cubicBezTo>
                <a:close/>
                <a:moveTo>
                  <a:pt x="1553820" y="6980351"/>
                </a:moveTo>
                <a:cubicBezTo>
                  <a:pt x="1547963" y="6980351"/>
                  <a:pt x="1545434" y="6982214"/>
                  <a:pt x="1543838" y="6983945"/>
                </a:cubicBezTo>
                <a:cubicBezTo>
                  <a:pt x="1541308" y="6986607"/>
                  <a:pt x="1540243" y="6989403"/>
                  <a:pt x="1540243" y="6993396"/>
                </a:cubicBezTo>
                <a:cubicBezTo>
                  <a:pt x="1540243" y="6997523"/>
                  <a:pt x="1541308" y="7000319"/>
                  <a:pt x="1543838" y="7002848"/>
                </a:cubicBezTo>
                <a:cubicBezTo>
                  <a:pt x="1545434" y="7004579"/>
                  <a:pt x="1547963" y="7006442"/>
                  <a:pt x="1553820" y="7006442"/>
                </a:cubicBezTo>
                <a:cubicBezTo>
                  <a:pt x="1555817" y="7006442"/>
                  <a:pt x="1557681" y="7006177"/>
                  <a:pt x="1559145" y="7005378"/>
                </a:cubicBezTo>
                <a:cubicBezTo>
                  <a:pt x="1560609" y="7004845"/>
                  <a:pt x="1561941" y="7004046"/>
                  <a:pt x="1562872" y="7002980"/>
                </a:cubicBezTo>
                <a:cubicBezTo>
                  <a:pt x="1563937" y="7001783"/>
                  <a:pt x="1564869" y="7000451"/>
                  <a:pt x="1565535" y="6998721"/>
                </a:cubicBezTo>
                <a:cubicBezTo>
                  <a:pt x="1566200" y="6997123"/>
                  <a:pt x="1566600" y="6995260"/>
                  <a:pt x="1566600" y="6993263"/>
                </a:cubicBezTo>
                <a:cubicBezTo>
                  <a:pt x="1566600" y="6991399"/>
                  <a:pt x="1566200" y="6989669"/>
                  <a:pt x="1565535" y="6988071"/>
                </a:cubicBezTo>
                <a:cubicBezTo>
                  <a:pt x="1564869" y="6986474"/>
                  <a:pt x="1563937" y="6985143"/>
                  <a:pt x="1562872" y="6983945"/>
                </a:cubicBezTo>
                <a:cubicBezTo>
                  <a:pt x="1561807" y="6982880"/>
                  <a:pt x="1560476" y="6981948"/>
                  <a:pt x="1558879" y="6981283"/>
                </a:cubicBezTo>
                <a:cubicBezTo>
                  <a:pt x="1557415" y="6980617"/>
                  <a:pt x="1555817" y="6980351"/>
                  <a:pt x="1553820" y="6980351"/>
                </a:cubicBezTo>
                <a:close/>
                <a:moveTo>
                  <a:pt x="1336178" y="6980351"/>
                </a:moveTo>
                <a:cubicBezTo>
                  <a:pt x="1330319" y="6980351"/>
                  <a:pt x="1327790" y="6982214"/>
                  <a:pt x="1326194" y="6983945"/>
                </a:cubicBezTo>
                <a:cubicBezTo>
                  <a:pt x="1323663" y="6986607"/>
                  <a:pt x="1322599" y="6989403"/>
                  <a:pt x="1322599" y="6993396"/>
                </a:cubicBezTo>
                <a:cubicBezTo>
                  <a:pt x="1322599" y="6997523"/>
                  <a:pt x="1323663" y="7000319"/>
                  <a:pt x="1326194" y="7002848"/>
                </a:cubicBezTo>
                <a:cubicBezTo>
                  <a:pt x="1327790" y="7004579"/>
                  <a:pt x="1330319" y="7006442"/>
                  <a:pt x="1336178" y="7006442"/>
                </a:cubicBezTo>
                <a:cubicBezTo>
                  <a:pt x="1338307" y="7006442"/>
                  <a:pt x="1340037" y="7006177"/>
                  <a:pt x="1341504" y="7005378"/>
                </a:cubicBezTo>
                <a:cubicBezTo>
                  <a:pt x="1342967" y="7004845"/>
                  <a:pt x="1344298" y="7004046"/>
                  <a:pt x="1345232" y="7002980"/>
                </a:cubicBezTo>
                <a:cubicBezTo>
                  <a:pt x="1346295" y="7001783"/>
                  <a:pt x="1347228" y="7000451"/>
                  <a:pt x="1347893" y="6998721"/>
                </a:cubicBezTo>
                <a:cubicBezTo>
                  <a:pt x="1348559" y="6997123"/>
                  <a:pt x="1348959" y="6995260"/>
                  <a:pt x="1348959" y="6993263"/>
                </a:cubicBezTo>
                <a:cubicBezTo>
                  <a:pt x="1348959" y="6991399"/>
                  <a:pt x="1348559" y="6989669"/>
                  <a:pt x="1347893" y="6988071"/>
                </a:cubicBezTo>
                <a:cubicBezTo>
                  <a:pt x="1347228" y="6986474"/>
                  <a:pt x="1346295" y="6985143"/>
                  <a:pt x="1345232" y="6983945"/>
                </a:cubicBezTo>
                <a:cubicBezTo>
                  <a:pt x="1344166" y="6982880"/>
                  <a:pt x="1342835" y="6981948"/>
                  <a:pt x="1341236" y="6981283"/>
                </a:cubicBezTo>
                <a:cubicBezTo>
                  <a:pt x="1339772" y="6980617"/>
                  <a:pt x="1338173" y="6980351"/>
                  <a:pt x="1336178" y="6980351"/>
                </a:cubicBezTo>
                <a:close/>
                <a:moveTo>
                  <a:pt x="1118665" y="6980351"/>
                </a:moveTo>
                <a:cubicBezTo>
                  <a:pt x="1112805" y="6980351"/>
                  <a:pt x="1110276" y="6982214"/>
                  <a:pt x="1108679" y="6983945"/>
                </a:cubicBezTo>
                <a:cubicBezTo>
                  <a:pt x="1106016" y="6986607"/>
                  <a:pt x="1104952" y="6989403"/>
                  <a:pt x="1104952" y="6993396"/>
                </a:cubicBezTo>
                <a:cubicBezTo>
                  <a:pt x="1104952" y="6997523"/>
                  <a:pt x="1106016" y="7000319"/>
                  <a:pt x="1108546" y="7002848"/>
                </a:cubicBezTo>
                <a:cubicBezTo>
                  <a:pt x="1110143" y="7004579"/>
                  <a:pt x="1112673" y="7006442"/>
                  <a:pt x="1118532" y="7006442"/>
                </a:cubicBezTo>
                <a:cubicBezTo>
                  <a:pt x="1120662" y="7006442"/>
                  <a:pt x="1122393" y="7006177"/>
                  <a:pt x="1123988" y="7005378"/>
                </a:cubicBezTo>
                <a:cubicBezTo>
                  <a:pt x="1125454" y="7004845"/>
                  <a:pt x="1126790" y="7004046"/>
                  <a:pt x="1127720" y="7002980"/>
                </a:cubicBezTo>
                <a:cubicBezTo>
                  <a:pt x="1128785" y="7001783"/>
                  <a:pt x="1129717" y="7000451"/>
                  <a:pt x="1130384" y="6998721"/>
                </a:cubicBezTo>
                <a:cubicBezTo>
                  <a:pt x="1131048" y="6997123"/>
                  <a:pt x="1131449" y="6995260"/>
                  <a:pt x="1131449" y="6993263"/>
                </a:cubicBezTo>
                <a:cubicBezTo>
                  <a:pt x="1131449" y="6991399"/>
                  <a:pt x="1131048" y="6989669"/>
                  <a:pt x="1130384" y="6988071"/>
                </a:cubicBezTo>
                <a:cubicBezTo>
                  <a:pt x="1129717" y="6986474"/>
                  <a:pt x="1128785" y="6985143"/>
                  <a:pt x="1127720" y="6983945"/>
                </a:cubicBezTo>
                <a:cubicBezTo>
                  <a:pt x="1126655" y="6982880"/>
                  <a:pt x="1125322" y="6981948"/>
                  <a:pt x="1123724" y="6981283"/>
                </a:cubicBezTo>
                <a:cubicBezTo>
                  <a:pt x="1122260" y="6980617"/>
                  <a:pt x="1120662" y="6980351"/>
                  <a:pt x="1118665" y="6980351"/>
                </a:cubicBezTo>
                <a:close/>
                <a:moveTo>
                  <a:pt x="901152" y="6980351"/>
                </a:moveTo>
                <a:cubicBezTo>
                  <a:pt x="895295" y="6980351"/>
                  <a:pt x="892765" y="6982214"/>
                  <a:pt x="891168" y="6983945"/>
                </a:cubicBezTo>
                <a:cubicBezTo>
                  <a:pt x="888505" y="6986607"/>
                  <a:pt x="887441" y="6989403"/>
                  <a:pt x="887441" y="6993396"/>
                </a:cubicBezTo>
                <a:cubicBezTo>
                  <a:pt x="887441" y="6997523"/>
                  <a:pt x="888505" y="7000319"/>
                  <a:pt x="891035" y="7002848"/>
                </a:cubicBezTo>
                <a:cubicBezTo>
                  <a:pt x="892633" y="7004579"/>
                  <a:pt x="895161" y="7006442"/>
                  <a:pt x="901018" y="7006442"/>
                </a:cubicBezTo>
                <a:cubicBezTo>
                  <a:pt x="903015" y="7006442"/>
                  <a:pt x="904747" y="7006177"/>
                  <a:pt x="906477" y="7005378"/>
                </a:cubicBezTo>
                <a:cubicBezTo>
                  <a:pt x="907941" y="7004845"/>
                  <a:pt x="909273" y="7004046"/>
                  <a:pt x="910205" y="7002980"/>
                </a:cubicBezTo>
                <a:cubicBezTo>
                  <a:pt x="911269" y="7001783"/>
                  <a:pt x="912201" y="7000451"/>
                  <a:pt x="912867" y="6998721"/>
                </a:cubicBezTo>
                <a:cubicBezTo>
                  <a:pt x="913532" y="6997123"/>
                  <a:pt x="913932" y="6995260"/>
                  <a:pt x="913932" y="6993263"/>
                </a:cubicBezTo>
                <a:cubicBezTo>
                  <a:pt x="913932" y="6991399"/>
                  <a:pt x="913532" y="6989669"/>
                  <a:pt x="912867" y="6988071"/>
                </a:cubicBezTo>
                <a:cubicBezTo>
                  <a:pt x="912201" y="6986474"/>
                  <a:pt x="911269" y="6985143"/>
                  <a:pt x="910205" y="6983945"/>
                </a:cubicBezTo>
                <a:cubicBezTo>
                  <a:pt x="909140" y="6982880"/>
                  <a:pt x="907808" y="6981948"/>
                  <a:pt x="906211" y="6981283"/>
                </a:cubicBezTo>
                <a:cubicBezTo>
                  <a:pt x="904747" y="6980617"/>
                  <a:pt x="903149" y="6980351"/>
                  <a:pt x="901152" y="6980351"/>
                </a:cubicBezTo>
                <a:close/>
                <a:moveTo>
                  <a:pt x="683380" y="6980351"/>
                </a:moveTo>
                <a:cubicBezTo>
                  <a:pt x="677522" y="6980351"/>
                  <a:pt x="674993" y="6982214"/>
                  <a:pt x="673396" y="6983945"/>
                </a:cubicBezTo>
                <a:cubicBezTo>
                  <a:pt x="670866" y="6986607"/>
                  <a:pt x="669802" y="6989403"/>
                  <a:pt x="669802" y="6993396"/>
                </a:cubicBezTo>
                <a:cubicBezTo>
                  <a:pt x="669802" y="6997523"/>
                  <a:pt x="670866" y="7000319"/>
                  <a:pt x="673396" y="7002848"/>
                </a:cubicBezTo>
                <a:cubicBezTo>
                  <a:pt x="674993" y="7004579"/>
                  <a:pt x="677522" y="7006442"/>
                  <a:pt x="683380" y="7006442"/>
                </a:cubicBezTo>
                <a:cubicBezTo>
                  <a:pt x="685376" y="7006442"/>
                  <a:pt x="687241" y="7006177"/>
                  <a:pt x="688705" y="7005378"/>
                </a:cubicBezTo>
                <a:cubicBezTo>
                  <a:pt x="690169" y="7004845"/>
                  <a:pt x="691501" y="7004046"/>
                  <a:pt x="692432" y="7002980"/>
                </a:cubicBezTo>
                <a:cubicBezTo>
                  <a:pt x="693497" y="7001783"/>
                  <a:pt x="694429" y="7000451"/>
                  <a:pt x="695095" y="6998721"/>
                </a:cubicBezTo>
                <a:cubicBezTo>
                  <a:pt x="695760" y="6997123"/>
                  <a:pt x="696160" y="6995260"/>
                  <a:pt x="696160" y="6993263"/>
                </a:cubicBezTo>
                <a:cubicBezTo>
                  <a:pt x="696160" y="6991399"/>
                  <a:pt x="695760" y="6989669"/>
                  <a:pt x="695095" y="6988071"/>
                </a:cubicBezTo>
                <a:cubicBezTo>
                  <a:pt x="694429" y="6986474"/>
                  <a:pt x="693497" y="6985143"/>
                  <a:pt x="692432" y="6983945"/>
                </a:cubicBezTo>
                <a:cubicBezTo>
                  <a:pt x="691367" y="6982880"/>
                  <a:pt x="690036" y="6981948"/>
                  <a:pt x="688439" y="6981283"/>
                </a:cubicBezTo>
                <a:cubicBezTo>
                  <a:pt x="686975" y="6980617"/>
                  <a:pt x="685376" y="6980351"/>
                  <a:pt x="683380" y="6980351"/>
                </a:cubicBezTo>
                <a:close/>
                <a:moveTo>
                  <a:pt x="465739" y="6980351"/>
                </a:moveTo>
                <a:cubicBezTo>
                  <a:pt x="459882" y="6980351"/>
                  <a:pt x="457353" y="6982214"/>
                  <a:pt x="455756" y="6983945"/>
                </a:cubicBezTo>
                <a:cubicBezTo>
                  <a:pt x="453226" y="6986607"/>
                  <a:pt x="452162" y="6989403"/>
                  <a:pt x="452162" y="6993396"/>
                </a:cubicBezTo>
                <a:cubicBezTo>
                  <a:pt x="452162" y="6997523"/>
                  <a:pt x="453226" y="7000319"/>
                  <a:pt x="455756" y="7002848"/>
                </a:cubicBezTo>
                <a:cubicBezTo>
                  <a:pt x="457353" y="7004579"/>
                  <a:pt x="459882" y="7006442"/>
                  <a:pt x="465739" y="7006442"/>
                </a:cubicBezTo>
                <a:cubicBezTo>
                  <a:pt x="467736" y="7006442"/>
                  <a:pt x="469600" y="7006177"/>
                  <a:pt x="471064" y="7005378"/>
                </a:cubicBezTo>
                <a:cubicBezTo>
                  <a:pt x="472528" y="7004845"/>
                  <a:pt x="473859" y="7004046"/>
                  <a:pt x="474791" y="7002980"/>
                </a:cubicBezTo>
                <a:cubicBezTo>
                  <a:pt x="475856" y="7001783"/>
                  <a:pt x="476788" y="7000451"/>
                  <a:pt x="477454" y="6998721"/>
                </a:cubicBezTo>
                <a:cubicBezTo>
                  <a:pt x="478119" y="6997123"/>
                  <a:pt x="478519" y="6995260"/>
                  <a:pt x="478519" y="6993263"/>
                </a:cubicBezTo>
                <a:cubicBezTo>
                  <a:pt x="478519" y="6991399"/>
                  <a:pt x="478119" y="6989669"/>
                  <a:pt x="477454" y="6988071"/>
                </a:cubicBezTo>
                <a:cubicBezTo>
                  <a:pt x="476788" y="6986474"/>
                  <a:pt x="475856" y="6985143"/>
                  <a:pt x="474791" y="6983945"/>
                </a:cubicBezTo>
                <a:cubicBezTo>
                  <a:pt x="473726" y="6982880"/>
                  <a:pt x="472395" y="6981948"/>
                  <a:pt x="470798" y="6981283"/>
                </a:cubicBezTo>
                <a:cubicBezTo>
                  <a:pt x="469334" y="6980617"/>
                  <a:pt x="467736" y="6980351"/>
                  <a:pt x="465739" y="6980351"/>
                </a:cubicBezTo>
                <a:close/>
                <a:moveTo>
                  <a:pt x="248098" y="6980351"/>
                </a:moveTo>
                <a:cubicBezTo>
                  <a:pt x="242242" y="6980351"/>
                  <a:pt x="239713" y="6982214"/>
                  <a:pt x="238116" y="6983945"/>
                </a:cubicBezTo>
                <a:cubicBezTo>
                  <a:pt x="235586" y="6986607"/>
                  <a:pt x="234523" y="6989403"/>
                  <a:pt x="234523" y="6993396"/>
                </a:cubicBezTo>
                <a:cubicBezTo>
                  <a:pt x="234523" y="6997523"/>
                  <a:pt x="235586" y="7000319"/>
                  <a:pt x="238116" y="7002848"/>
                </a:cubicBezTo>
                <a:cubicBezTo>
                  <a:pt x="239713" y="7004579"/>
                  <a:pt x="242242" y="7006442"/>
                  <a:pt x="248098" y="7006442"/>
                </a:cubicBezTo>
                <a:cubicBezTo>
                  <a:pt x="250228" y="7006442"/>
                  <a:pt x="251959" y="7006177"/>
                  <a:pt x="253423" y="7005378"/>
                </a:cubicBezTo>
                <a:cubicBezTo>
                  <a:pt x="254887" y="7004845"/>
                  <a:pt x="256217" y="7004046"/>
                  <a:pt x="257149" y="7002980"/>
                </a:cubicBezTo>
                <a:cubicBezTo>
                  <a:pt x="258214" y="7001783"/>
                  <a:pt x="259146" y="7000451"/>
                  <a:pt x="259813" y="6998721"/>
                </a:cubicBezTo>
                <a:cubicBezTo>
                  <a:pt x="260478" y="6997123"/>
                  <a:pt x="260878" y="6995260"/>
                  <a:pt x="260878" y="6993263"/>
                </a:cubicBezTo>
                <a:cubicBezTo>
                  <a:pt x="260878" y="6991399"/>
                  <a:pt x="260478" y="6989669"/>
                  <a:pt x="259813" y="6988071"/>
                </a:cubicBezTo>
                <a:cubicBezTo>
                  <a:pt x="259146" y="6986474"/>
                  <a:pt x="258214" y="6985143"/>
                  <a:pt x="257149" y="6983945"/>
                </a:cubicBezTo>
                <a:cubicBezTo>
                  <a:pt x="256085" y="6982880"/>
                  <a:pt x="254754" y="6981948"/>
                  <a:pt x="253157" y="6981283"/>
                </a:cubicBezTo>
                <a:cubicBezTo>
                  <a:pt x="251692" y="6980617"/>
                  <a:pt x="250095" y="6980351"/>
                  <a:pt x="248098" y="6980351"/>
                </a:cubicBezTo>
                <a:close/>
                <a:moveTo>
                  <a:pt x="30458" y="6980351"/>
                </a:moveTo>
                <a:cubicBezTo>
                  <a:pt x="24601" y="6980351"/>
                  <a:pt x="22071" y="6982214"/>
                  <a:pt x="20474" y="6983945"/>
                </a:cubicBezTo>
                <a:cubicBezTo>
                  <a:pt x="17945" y="6986607"/>
                  <a:pt x="16882" y="6989403"/>
                  <a:pt x="16882" y="6993396"/>
                </a:cubicBezTo>
                <a:cubicBezTo>
                  <a:pt x="16882" y="6997523"/>
                  <a:pt x="17945" y="7000319"/>
                  <a:pt x="20474" y="7002848"/>
                </a:cubicBezTo>
                <a:cubicBezTo>
                  <a:pt x="22071" y="7004579"/>
                  <a:pt x="24601" y="7006442"/>
                  <a:pt x="30458" y="7006442"/>
                </a:cubicBezTo>
                <a:cubicBezTo>
                  <a:pt x="32588" y="7006442"/>
                  <a:pt x="34319" y="7006177"/>
                  <a:pt x="35783" y="7005378"/>
                </a:cubicBezTo>
                <a:cubicBezTo>
                  <a:pt x="37247" y="7004845"/>
                  <a:pt x="38579" y="7004046"/>
                  <a:pt x="39510" y="7002980"/>
                </a:cubicBezTo>
                <a:cubicBezTo>
                  <a:pt x="40575" y="7001783"/>
                  <a:pt x="41507" y="7000451"/>
                  <a:pt x="42173" y="6998721"/>
                </a:cubicBezTo>
                <a:cubicBezTo>
                  <a:pt x="42838" y="6997123"/>
                  <a:pt x="43104" y="6995260"/>
                  <a:pt x="43104" y="6993263"/>
                </a:cubicBezTo>
                <a:cubicBezTo>
                  <a:pt x="43104" y="6991399"/>
                  <a:pt x="42838" y="6989669"/>
                  <a:pt x="42173" y="6988071"/>
                </a:cubicBezTo>
                <a:cubicBezTo>
                  <a:pt x="41507" y="6986474"/>
                  <a:pt x="40575" y="6985143"/>
                  <a:pt x="39510" y="6983945"/>
                </a:cubicBezTo>
                <a:cubicBezTo>
                  <a:pt x="38445" y="6982880"/>
                  <a:pt x="37114" y="6981948"/>
                  <a:pt x="35517" y="6981283"/>
                </a:cubicBezTo>
                <a:cubicBezTo>
                  <a:pt x="34053" y="6980617"/>
                  <a:pt x="32455" y="6980351"/>
                  <a:pt x="30458" y="6980351"/>
                </a:cubicBezTo>
                <a:close/>
                <a:moveTo>
                  <a:pt x="10475977" y="6963844"/>
                </a:moveTo>
                <a:cubicBezTo>
                  <a:pt x="10480237" y="6963844"/>
                  <a:pt x="10484230" y="6964643"/>
                  <a:pt x="10487824" y="6966373"/>
                </a:cubicBezTo>
                <a:cubicBezTo>
                  <a:pt x="10491419" y="6967971"/>
                  <a:pt x="10494613" y="6970101"/>
                  <a:pt x="10497143" y="6972763"/>
                </a:cubicBezTo>
                <a:cubicBezTo>
                  <a:pt x="10499672" y="6975293"/>
                  <a:pt x="10501801" y="6978487"/>
                  <a:pt x="10503266" y="6982082"/>
                </a:cubicBezTo>
                <a:cubicBezTo>
                  <a:pt x="10504730" y="6985675"/>
                  <a:pt x="10505529" y="6989536"/>
                  <a:pt x="10505529" y="6993529"/>
                </a:cubicBezTo>
                <a:cubicBezTo>
                  <a:pt x="10505529" y="6997656"/>
                  <a:pt x="10504730" y="7001649"/>
                  <a:pt x="10503266" y="7005245"/>
                </a:cubicBezTo>
                <a:cubicBezTo>
                  <a:pt x="10501669" y="7008838"/>
                  <a:pt x="10499672" y="7011901"/>
                  <a:pt x="10497143" y="7014563"/>
                </a:cubicBezTo>
                <a:cubicBezTo>
                  <a:pt x="10494480" y="7017225"/>
                  <a:pt x="10491419" y="7019355"/>
                  <a:pt x="10487824" y="7020819"/>
                </a:cubicBezTo>
                <a:cubicBezTo>
                  <a:pt x="10484098" y="7022283"/>
                  <a:pt x="10480237" y="7023082"/>
                  <a:pt x="10475977" y="7023082"/>
                </a:cubicBezTo>
                <a:cubicBezTo>
                  <a:pt x="10466924" y="7023082"/>
                  <a:pt x="10459736" y="7020154"/>
                  <a:pt x="10454145" y="7014563"/>
                </a:cubicBezTo>
                <a:cubicBezTo>
                  <a:pt x="10448554" y="7008838"/>
                  <a:pt x="10445759" y="7001916"/>
                  <a:pt x="10445759" y="6993396"/>
                </a:cubicBezTo>
                <a:cubicBezTo>
                  <a:pt x="10445759" y="6985143"/>
                  <a:pt x="10448554" y="6978088"/>
                  <a:pt x="10454145" y="6972364"/>
                </a:cubicBezTo>
                <a:cubicBezTo>
                  <a:pt x="10459603" y="6966640"/>
                  <a:pt x="10466924" y="6963844"/>
                  <a:pt x="10475977" y="6963844"/>
                </a:cubicBezTo>
                <a:close/>
                <a:moveTo>
                  <a:pt x="10258466" y="6963844"/>
                </a:moveTo>
                <a:cubicBezTo>
                  <a:pt x="10262592" y="6963844"/>
                  <a:pt x="10266586" y="6964643"/>
                  <a:pt x="10270313" y="6966373"/>
                </a:cubicBezTo>
                <a:cubicBezTo>
                  <a:pt x="10273907" y="6967971"/>
                  <a:pt x="10277101" y="6970101"/>
                  <a:pt x="10279631" y="6972763"/>
                </a:cubicBezTo>
                <a:cubicBezTo>
                  <a:pt x="10282160" y="6975293"/>
                  <a:pt x="10284290" y="6978487"/>
                  <a:pt x="10285754" y="6982082"/>
                </a:cubicBezTo>
                <a:cubicBezTo>
                  <a:pt x="10287218" y="6985675"/>
                  <a:pt x="10288017" y="6989536"/>
                  <a:pt x="10288017" y="6993529"/>
                </a:cubicBezTo>
                <a:cubicBezTo>
                  <a:pt x="10288017" y="6997656"/>
                  <a:pt x="10287218" y="7001649"/>
                  <a:pt x="10285754" y="7005245"/>
                </a:cubicBezTo>
                <a:cubicBezTo>
                  <a:pt x="10284157" y="7008838"/>
                  <a:pt x="10282160" y="7011901"/>
                  <a:pt x="10279631" y="7014563"/>
                </a:cubicBezTo>
                <a:cubicBezTo>
                  <a:pt x="10276969" y="7017225"/>
                  <a:pt x="10273907" y="7019355"/>
                  <a:pt x="10270313" y="7020819"/>
                </a:cubicBezTo>
                <a:cubicBezTo>
                  <a:pt x="10266586" y="7022283"/>
                  <a:pt x="10262725" y="7023082"/>
                  <a:pt x="10258466" y="7023082"/>
                </a:cubicBezTo>
                <a:cubicBezTo>
                  <a:pt x="10249546" y="7023082"/>
                  <a:pt x="10242224" y="7020154"/>
                  <a:pt x="10236633" y="7014563"/>
                </a:cubicBezTo>
                <a:cubicBezTo>
                  <a:pt x="10231043" y="7008838"/>
                  <a:pt x="10228247" y="7001916"/>
                  <a:pt x="10228247" y="6993396"/>
                </a:cubicBezTo>
                <a:cubicBezTo>
                  <a:pt x="10228247" y="6985143"/>
                  <a:pt x="10231043" y="6978088"/>
                  <a:pt x="10236633" y="6972364"/>
                </a:cubicBezTo>
                <a:cubicBezTo>
                  <a:pt x="10242092" y="6966640"/>
                  <a:pt x="10249413" y="6963844"/>
                  <a:pt x="10258466" y="6963844"/>
                </a:cubicBezTo>
                <a:close/>
                <a:moveTo>
                  <a:pt x="10040820" y="6963844"/>
                </a:moveTo>
                <a:cubicBezTo>
                  <a:pt x="10045080" y="6963844"/>
                  <a:pt x="10048941" y="6964643"/>
                  <a:pt x="10052534" y="6966373"/>
                </a:cubicBezTo>
                <a:cubicBezTo>
                  <a:pt x="10056129" y="6967971"/>
                  <a:pt x="10059323" y="6970101"/>
                  <a:pt x="10061852" y="6972763"/>
                </a:cubicBezTo>
                <a:cubicBezTo>
                  <a:pt x="10064382" y="6975293"/>
                  <a:pt x="10066512" y="6978487"/>
                  <a:pt x="10067976" y="6982082"/>
                </a:cubicBezTo>
                <a:cubicBezTo>
                  <a:pt x="10069440" y="6985675"/>
                  <a:pt x="10070239" y="6989536"/>
                  <a:pt x="10070239" y="6993529"/>
                </a:cubicBezTo>
                <a:cubicBezTo>
                  <a:pt x="10070239" y="6997656"/>
                  <a:pt x="10069440" y="7001649"/>
                  <a:pt x="10067976" y="7005245"/>
                </a:cubicBezTo>
                <a:cubicBezTo>
                  <a:pt x="10066379" y="7008838"/>
                  <a:pt x="10064382" y="7011901"/>
                  <a:pt x="10061852" y="7014563"/>
                </a:cubicBezTo>
                <a:cubicBezTo>
                  <a:pt x="10059190" y="7017225"/>
                  <a:pt x="10056129" y="7019355"/>
                  <a:pt x="10052534" y="7020819"/>
                </a:cubicBezTo>
                <a:cubicBezTo>
                  <a:pt x="10048941" y="7022283"/>
                  <a:pt x="10045080" y="7023082"/>
                  <a:pt x="10040820" y="7023082"/>
                </a:cubicBezTo>
                <a:cubicBezTo>
                  <a:pt x="10031767" y="7023082"/>
                  <a:pt x="10024579" y="7020154"/>
                  <a:pt x="10018988" y="7014563"/>
                </a:cubicBezTo>
                <a:cubicBezTo>
                  <a:pt x="10013397" y="7008838"/>
                  <a:pt x="10010602" y="7001916"/>
                  <a:pt x="10010602" y="6993396"/>
                </a:cubicBezTo>
                <a:cubicBezTo>
                  <a:pt x="10010602" y="6985143"/>
                  <a:pt x="10013397" y="6978088"/>
                  <a:pt x="10018988" y="6972364"/>
                </a:cubicBezTo>
                <a:cubicBezTo>
                  <a:pt x="10024579" y="6966640"/>
                  <a:pt x="10031767" y="6963844"/>
                  <a:pt x="10040820" y="6963844"/>
                </a:cubicBezTo>
                <a:close/>
                <a:moveTo>
                  <a:pt x="9823176" y="6963844"/>
                </a:moveTo>
                <a:cubicBezTo>
                  <a:pt x="9827435" y="6963844"/>
                  <a:pt x="9831296" y="6964643"/>
                  <a:pt x="9834890" y="6966373"/>
                </a:cubicBezTo>
                <a:cubicBezTo>
                  <a:pt x="9838617" y="6967971"/>
                  <a:pt x="9841679" y="6970101"/>
                  <a:pt x="9844208" y="6972763"/>
                </a:cubicBezTo>
                <a:cubicBezTo>
                  <a:pt x="9846737" y="6975293"/>
                  <a:pt x="9848867" y="6978487"/>
                  <a:pt x="9850331" y="6982082"/>
                </a:cubicBezTo>
                <a:cubicBezTo>
                  <a:pt x="9851796" y="6985675"/>
                  <a:pt x="9852595" y="6989536"/>
                  <a:pt x="9852595" y="6993529"/>
                </a:cubicBezTo>
                <a:cubicBezTo>
                  <a:pt x="9852595" y="6997656"/>
                  <a:pt x="9851796" y="7001649"/>
                  <a:pt x="9850331" y="7005245"/>
                </a:cubicBezTo>
                <a:cubicBezTo>
                  <a:pt x="9848734" y="7008838"/>
                  <a:pt x="9846737" y="7011901"/>
                  <a:pt x="9844208" y="7014563"/>
                </a:cubicBezTo>
                <a:cubicBezTo>
                  <a:pt x="9841546" y="7017225"/>
                  <a:pt x="9838484" y="7019355"/>
                  <a:pt x="9834890" y="7020819"/>
                </a:cubicBezTo>
                <a:cubicBezTo>
                  <a:pt x="9831296" y="7022283"/>
                  <a:pt x="9827435" y="7023082"/>
                  <a:pt x="9823176" y="7023082"/>
                </a:cubicBezTo>
                <a:cubicBezTo>
                  <a:pt x="9814123" y="7023082"/>
                  <a:pt x="9806935" y="7020154"/>
                  <a:pt x="9801343" y="7014563"/>
                </a:cubicBezTo>
                <a:cubicBezTo>
                  <a:pt x="9795753" y="7008838"/>
                  <a:pt x="9792957" y="7001916"/>
                  <a:pt x="9792957" y="6993396"/>
                </a:cubicBezTo>
                <a:cubicBezTo>
                  <a:pt x="9792957" y="6985143"/>
                  <a:pt x="9795753" y="6978088"/>
                  <a:pt x="9801343" y="6972364"/>
                </a:cubicBezTo>
                <a:cubicBezTo>
                  <a:pt x="9806935" y="6966640"/>
                  <a:pt x="9814123" y="6963844"/>
                  <a:pt x="9823176" y="6963844"/>
                </a:cubicBezTo>
                <a:close/>
                <a:moveTo>
                  <a:pt x="9605531" y="6963844"/>
                </a:moveTo>
                <a:cubicBezTo>
                  <a:pt x="9609790" y="6963844"/>
                  <a:pt x="9613784" y="6964643"/>
                  <a:pt x="9617245" y="6966373"/>
                </a:cubicBezTo>
                <a:cubicBezTo>
                  <a:pt x="9620839" y="6967971"/>
                  <a:pt x="9624033" y="6970101"/>
                  <a:pt x="9626562" y="6972763"/>
                </a:cubicBezTo>
                <a:cubicBezTo>
                  <a:pt x="9629092" y="6975293"/>
                  <a:pt x="9631222" y="6978487"/>
                  <a:pt x="9632686" y="6982082"/>
                </a:cubicBezTo>
                <a:cubicBezTo>
                  <a:pt x="9634150" y="6985675"/>
                  <a:pt x="9634949" y="6989536"/>
                  <a:pt x="9634949" y="6993529"/>
                </a:cubicBezTo>
                <a:cubicBezTo>
                  <a:pt x="9634949" y="6997656"/>
                  <a:pt x="9634150" y="7001649"/>
                  <a:pt x="9632686" y="7005245"/>
                </a:cubicBezTo>
                <a:cubicBezTo>
                  <a:pt x="9631089" y="7008838"/>
                  <a:pt x="9629092" y="7011901"/>
                  <a:pt x="9626562" y="7014563"/>
                </a:cubicBezTo>
                <a:cubicBezTo>
                  <a:pt x="9623901" y="7017225"/>
                  <a:pt x="9620839" y="7019355"/>
                  <a:pt x="9617245" y="7020819"/>
                </a:cubicBezTo>
                <a:cubicBezTo>
                  <a:pt x="9613651" y="7022283"/>
                  <a:pt x="9609790" y="7023082"/>
                  <a:pt x="9605531" y="7023082"/>
                </a:cubicBezTo>
                <a:cubicBezTo>
                  <a:pt x="9596610" y="7023082"/>
                  <a:pt x="9589289" y="7020154"/>
                  <a:pt x="9583698" y="7014563"/>
                </a:cubicBezTo>
                <a:cubicBezTo>
                  <a:pt x="9578108" y="7008838"/>
                  <a:pt x="9575312" y="7001916"/>
                  <a:pt x="9575312" y="6993396"/>
                </a:cubicBezTo>
                <a:cubicBezTo>
                  <a:pt x="9575312" y="6985143"/>
                  <a:pt x="9578108" y="6978088"/>
                  <a:pt x="9583698" y="6972364"/>
                </a:cubicBezTo>
                <a:cubicBezTo>
                  <a:pt x="9589289" y="6966640"/>
                  <a:pt x="9596478" y="6963844"/>
                  <a:pt x="9605531" y="6963844"/>
                </a:cubicBezTo>
                <a:close/>
                <a:moveTo>
                  <a:pt x="9387885" y="6963844"/>
                </a:moveTo>
                <a:cubicBezTo>
                  <a:pt x="9392145" y="6963844"/>
                  <a:pt x="9396138" y="6964643"/>
                  <a:pt x="9399599" y="6966373"/>
                </a:cubicBezTo>
                <a:cubicBezTo>
                  <a:pt x="9403194" y="6967971"/>
                  <a:pt x="9406388" y="6970101"/>
                  <a:pt x="9408917" y="6972763"/>
                </a:cubicBezTo>
                <a:cubicBezTo>
                  <a:pt x="9411447" y="6975293"/>
                  <a:pt x="9413576" y="6978487"/>
                  <a:pt x="9415041" y="6982082"/>
                </a:cubicBezTo>
                <a:cubicBezTo>
                  <a:pt x="9416505" y="6985675"/>
                  <a:pt x="9417304" y="6989536"/>
                  <a:pt x="9417304" y="6993529"/>
                </a:cubicBezTo>
                <a:cubicBezTo>
                  <a:pt x="9417304" y="6997656"/>
                  <a:pt x="9416505" y="7001649"/>
                  <a:pt x="9415041" y="7005245"/>
                </a:cubicBezTo>
                <a:cubicBezTo>
                  <a:pt x="9413444" y="7008838"/>
                  <a:pt x="9411447" y="7011901"/>
                  <a:pt x="9408917" y="7014563"/>
                </a:cubicBezTo>
                <a:cubicBezTo>
                  <a:pt x="9406255" y="7017225"/>
                  <a:pt x="9403194" y="7019355"/>
                  <a:pt x="9399599" y="7020819"/>
                </a:cubicBezTo>
                <a:cubicBezTo>
                  <a:pt x="9396005" y="7022283"/>
                  <a:pt x="9392145" y="7023082"/>
                  <a:pt x="9387885" y="7023082"/>
                </a:cubicBezTo>
                <a:cubicBezTo>
                  <a:pt x="9378965" y="7023082"/>
                  <a:pt x="9371644" y="7020154"/>
                  <a:pt x="9366053" y="7014563"/>
                </a:cubicBezTo>
                <a:cubicBezTo>
                  <a:pt x="9360462" y="7008838"/>
                  <a:pt x="9357667" y="7001916"/>
                  <a:pt x="9357667" y="6993396"/>
                </a:cubicBezTo>
                <a:cubicBezTo>
                  <a:pt x="9357667" y="6985143"/>
                  <a:pt x="9360462" y="6978088"/>
                  <a:pt x="9366053" y="6972364"/>
                </a:cubicBezTo>
                <a:cubicBezTo>
                  <a:pt x="9371644" y="6966640"/>
                  <a:pt x="9378832" y="6963844"/>
                  <a:pt x="9387885" y="6963844"/>
                </a:cubicBezTo>
                <a:close/>
                <a:moveTo>
                  <a:pt x="9170374" y="6963844"/>
                </a:moveTo>
                <a:cubicBezTo>
                  <a:pt x="9174500" y="6963844"/>
                  <a:pt x="9178494" y="6964643"/>
                  <a:pt x="9182088" y="6966373"/>
                </a:cubicBezTo>
                <a:cubicBezTo>
                  <a:pt x="9185682" y="6967971"/>
                  <a:pt x="9188876" y="6970101"/>
                  <a:pt x="9191405" y="6972763"/>
                </a:cubicBezTo>
                <a:cubicBezTo>
                  <a:pt x="9193935" y="6975293"/>
                  <a:pt x="9196065" y="6978487"/>
                  <a:pt x="9197529" y="6982082"/>
                </a:cubicBezTo>
                <a:cubicBezTo>
                  <a:pt x="9198993" y="6985675"/>
                  <a:pt x="9199792" y="6989536"/>
                  <a:pt x="9199792" y="6993529"/>
                </a:cubicBezTo>
                <a:cubicBezTo>
                  <a:pt x="9199792" y="6997656"/>
                  <a:pt x="9198993" y="7001649"/>
                  <a:pt x="9197529" y="7005245"/>
                </a:cubicBezTo>
                <a:cubicBezTo>
                  <a:pt x="9195932" y="7008838"/>
                  <a:pt x="9193935" y="7011901"/>
                  <a:pt x="9191405" y="7014563"/>
                </a:cubicBezTo>
                <a:cubicBezTo>
                  <a:pt x="9188744" y="7017225"/>
                  <a:pt x="9185682" y="7019355"/>
                  <a:pt x="9182088" y="7020819"/>
                </a:cubicBezTo>
                <a:cubicBezTo>
                  <a:pt x="9178494" y="7022283"/>
                  <a:pt x="9174633" y="7023082"/>
                  <a:pt x="9170374" y="7023082"/>
                </a:cubicBezTo>
                <a:cubicBezTo>
                  <a:pt x="9161453" y="7023082"/>
                  <a:pt x="9154132" y="7020154"/>
                  <a:pt x="9148541" y="7014563"/>
                </a:cubicBezTo>
                <a:cubicBezTo>
                  <a:pt x="9142951" y="7008838"/>
                  <a:pt x="9140155" y="7001916"/>
                  <a:pt x="9140155" y="6993396"/>
                </a:cubicBezTo>
                <a:cubicBezTo>
                  <a:pt x="9140155" y="6985143"/>
                  <a:pt x="9142951" y="6978088"/>
                  <a:pt x="9148541" y="6972364"/>
                </a:cubicBezTo>
                <a:cubicBezTo>
                  <a:pt x="9154132" y="6966640"/>
                  <a:pt x="9161321" y="6963844"/>
                  <a:pt x="9170374" y="6963844"/>
                </a:cubicBezTo>
                <a:close/>
                <a:moveTo>
                  <a:pt x="8952728" y="6963844"/>
                </a:moveTo>
                <a:cubicBezTo>
                  <a:pt x="8956988" y="6963844"/>
                  <a:pt x="8960849" y="6964643"/>
                  <a:pt x="8964442" y="6966373"/>
                </a:cubicBezTo>
                <a:cubicBezTo>
                  <a:pt x="8968037" y="6967971"/>
                  <a:pt x="8971231" y="6970101"/>
                  <a:pt x="8973760" y="6972763"/>
                </a:cubicBezTo>
                <a:cubicBezTo>
                  <a:pt x="8976290" y="6975293"/>
                  <a:pt x="8978419" y="6978487"/>
                  <a:pt x="8979884" y="6982082"/>
                </a:cubicBezTo>
                <a:cubicBezTo>
                  <a:pt x="8981348" y="6985675"/>
                  <a:pt x="8982147" y="6989536"/>
                  <a:pt x="8982147" y="6993529"/>
                </a:cubicBezTo>
                <a:cubicBezTo>
                  <a:pt x="8982147" y="6997656"/>
                  <a:pt x="8981348" y="7001649"/>
                  <a:pt x="8979884" y="7005245"/>
                </a:cubicBezTo>
                <a:cubicBezTo>
                  <a:pt x="8978287" y="7008838"/>
                  <a:pt x="8976290" y="7011901"/>
                  <a:pt x="8973760" y="7014563"/>
                </a:cubicBezTo>
                <a:cubicBezTo>
                  <a:pt x="8971098" y="7017225"/>
                  <a:pt x="8968037" y="7019355"/>
                  <a:pt x="8964442" y="7020819"/>
                </a:cubicBezTo>
                <a:cubicBezTo>
                  <a:pt x="8960849" y="7022283"/>
                  <a:pt x="8956988" y="7023082"/>
                  <a:pt x="8952728" y="7023082"/>
                </a:cubicBezTo>
                <a:cubicBezTo>
                  <a:pt x="8943808" y="7023082"/>
                  <a:pt x="8936487" y="7020154"/>
                  <a:pt x="8930896" y="7014563"/>
                </a:cubicBezTo>
                <a:cubicBezTo>
                  <a:pt x="8925305" y="7008838"/>
                  <a:pt x="8922510" y="7001916"/>
                  <a:pt x="8922510" y="6993396"/>
                </a:cubicBezTo>
                <a:cubicBezTo>
                  <a:pt x="8922510" y="6985143"/>
                  <a:pt x="8925305" y="6978088"/>
                  <a:pt x="8930896" y="6972364"/>
                </a:cubicBezTo>
                <a:cubicBezTo>
                  <a:pt x="8936487" y="6966640"/>
                  <a:pt x="8943675" y="6963844"/>
                  <a:pt x="8952728" y="6963844"/>
                </a:cubicBezTo>
                <a:close/>
                <a:moveTo>
                  <a:pt x="8735083" y="6963844"/>
                </a:moveTo>
                <a:cubicBezTo>
                  <a:pt x="8739342" y="6963844"/>
                  <a:pt x="8743203" y="6964643"/>
                  <a:pt x="8746797" y="6966373"/>
                </a:cubicBezTo>
                <a:cubicBezTo>
                  <a:pt x="8750391" y="6967971"/>
                  <a:pt x="8753586" y="6970101"/>
                  <a:pt x="8756115" y="6972763"/>
                </a:cubicBezTo>
                <a:cubicBezTo>
                  <a:pt x="8758644" y="6975293"/>
                  <a:pt x="8760774" y="6978487"/>
                  <a:pt x="8762238" y="6982082"/>
                </a:cubicBezTo>
                <a:cubicBezTo>
                  <a:pt x="8763702" y="6985675"/>
                  <a:pt x="8764502" y="6989536"/>
                  <a:pt x="8764502" y="6993529"/>
                </a:cubicBezTo>
                <a:cubicBezTo>
                  <a:pt x="8764502" y="6997656"/>
                  <a:pt x="8763702" y="7001649"/>
                  <a:pt x="8762238" y="7005245"/>
                </a:cubicBezTo>
                <a:cubicBezTo>
                  <a:pt x="8760641" y="7008838"/>
                  <a:pt x="8758644" y="7011901"/>
                  <a:pt x="8756115" y="7014563"/>
                </a:cubicBezTo>
                <a:cubicBezTo>
                  <a:pt x="8753453" y="7017225"/>
                  <a:pt x="8750391" y="7019355"/>
                  <a:pt x="8746797" y="7020819"/>
                </a:cubicBezTo>
                <a:cubicBezTo>
                  <a:pt x="8743203" y="7022283"/>
                  <a:pt x="8739342" y="7023082"/>
                  <a:pt x="8735083" y="7023082"/>
                </a:cubicBezTo>
                <a:cubicBezTo>
                  <a:pt x="8726030" y="7023082"/>
                  <a:pt x="8718841" y="7020154"/>
                  <a:pt x="8713250" y="7014563"/>
                </a:cubicBezTo>
                <a:cubicBezTo>
                  <a:pt x="8707660" y="7008838"/>
                  <a:pt x="8704864" y="7001916"/>
                  <a:pt x="8704864" y="6993396"/>
                </a:cubicBezTo>
                <a:cubicBezTo>
                  <a:pt x="8704864" y="6985143"/>
                  <a:pt x="8707660" y="6978088"/>
                  <a:pt x="8713250" y="6972364"/>
                </a:cubicBezTo>
                <a:cubicBezTo>
                  <a:pt x="8718841" y="6966640"/>
                  <a:pt x="8726030" y="6963844"/>
                  <a:pt x="8735083" y="6963844"/>
                </a:cubicBezTo>
                <a:close/>
                <a:moveTo>
                  <a:pt x="8517438" y="6963844"/>
                </a:moveTo>
                <a:cubicBezTo>
                  <a:pt x="8521698" y="6963844"/>
                  <a:pt x="8525559" y="6964643"/>
                  <a:pt x="8529152" y="6966373"/>
                </a:cubicBezTo>
                <a:cubicBezTo>
                  <a:pt x="8532880" y="6967971"/>
                  <a:pt x="8535941" y="6970101"/>
                  <a:pt x="8538470" y="6972763"/>
                </a:cubicBezTo>
                <a:cubicBezTo>
                  <a:pt x="8541000" y="6975293"/>
                  <a:pt x="8543130" y="6978487"/>
                  <a:pt x="8544594" y="6982082"/>
                </a:cubicBezTo>
                <a:cubicBezTo>
                  <a:pt x="8546058" y="6985675"/>
                  <a:pt x="8546857" y="6989536"/>
                  <a:pt x="8546857" y="6993529"/>
                </a:cubicBezTo>
                <a:cubicBezTo>
                  <a:pt x="8546857" y="6997656"/>
                  <a:pt x="8546058" y="7001649"/>
                  <a:pt x="8544594" y="7005245"/>
                </a:cubicBezTo>
                <a:cubicBezTo>
                  <a:pt x="8542997" y="7008838"/>
                  <a:pt x="8541000" y="7011901"/>
                  <a:pt x="8538470" y="7014563"/>
                </a:cubicBezTo>
                <a:cubicBezTo>
                  <a:pt x="8535808" y="7017225"/>
                  <a:pt x="8532747" y="7019355"/>
                  <a:pt x="8529152" y="7020819"/>
                </a:cubicBezTo>
                <a:cubicBezTo>
                  <a:pt x="8525559" y="7022283"/>
                  <a:pt x="8521698" y="7023082"/>
                  <a:pt x="8517438" y="7023082"/>
                </a:cubicBezTo>
                <a:cubicBezTo>
                  <a:pt x="8508385" y="7023082"/>
                  <a:pt x="8501197" y="7020154"/>
                  <a:pt x="8495606" y="7014563"/>
                </a:cubicBezTo>
                <a:cubicBezTo>
                  <a:pt x="8490015" y="7008838"/>
                  <a:pt x="8487220" y="7001916"/>
                  <a:pt x="8487220" y="6993396"/>
                </a:cubicBezTo>
                <a:cubicBezTo>
                  <a:pt x="8487220" y="6985143"/>
                  <a:pt x="8490015" y="6978088"/>
                  <a:pt x="8495606" y="6972364"/>
                </a:cubicBezTo>
                <a:cubicBezTo>
                  <a:pt x="8501197" y="6966640"/>
                  <a:pt x="8508385" y="6963844"/>
                  <a:pt x="8517438" y="6963844"/>
                </a:cubicBezTo>
                <a:close/>
                <a:moveTo>
                  <a:pt x="8299793" y="6963844"/>
                </a:moveTo>
                <a:cubicBezTo>
                  <a:pt x="8304052" y="6963844"/>
                  <a:pt x="8308046" y="6964643"/>
                  <a:pt x="8311507" y="6966373"/>
                </a:cubicBezTo>
                <a:cubicBezTo>
                  <a:pt x="8315235" y="6967971"/>
                  <a:pt x="8318296" y="6970101"/>
                  <a:pt x="8320825" y="6972763"/>
                </a:cubicBezTo>
                <a:cubicBezTo>
                  <a:pt x="8323354" y="6975293"/>
                  <a:pt x="8325484" y="6978487"/>
                  <a:pt x="8326948" y="6982082"/>
                </a:cubicBezTo>
                <a:cubicBezTo>
                  <a:pt x="8328413" y="6985675"/>
                  <a:pt x="8329212" y="6989536"/>
                  <a:pt x="8329212" y="6993529"/>
                </a:cubicBezTo>
                <a:cubicBezTo>
                  <a:pt x="8329212" y="6997656"/>
                  <a:pt x="8328413" y="7001649"/>
                  <a:pt x="8326948" y="7005245"/>
                </a:cubicBezTo>
                <a:cubicBezTo>
                  <a:pt x="8325351" y="7008838"/>
                  <a:pt x="8323354" y="7011901"/>
                  <a:pt x="8320825" y="7014563"/>
                </a:cubicBezTo>
                <a:cubicBezTo>
                  <a:pt x="8318163" y="7017225"/>
                  <a:pt x="8315101" y="7019355"/>
                  <a:pt x="8311507" y="7020819"/>
                </a:cubicBezTo>
                <a:cubicBezTo>
                  <a:pt x="8307913" y="7022283"/>
                  <a:pt x="8304052" y="7023082"/>
                  <a:pt x="8299793" y="7023082"/>
                </a:cubicBezTo>
                <a:cubicBezTo>
                  <a:pt x="8290874" y="7023082"/>
                  <a:pt x="8283553" y="7020154"/>
                  <a:pt x="8277960" y="7014563"/>
                </a:cubicBezTo>
                <a:cubicBezTo>
                  <a:pt x="8272370" y="7008838"/>
                  <a:pt x="8269574" y="7001916"/>
                  <a:pt x="8269574" y="6993396"/>
                </a:cubicBezTo>
                <a:cubicBezTo>
                  <a:pt x="8269574" y="6985143"/>
                  <a:pt x="8272370" y="6978088"/>
                  <a:pt x="8277960" y="6972364"/>
                </a:cubicBezTo>
                <a:cubicBezTo>
                  <a:pt x="8283553" y="6966640"/>
                  <a:pt x="8290741" y="6963844"/>
                  <a:pt x="8299793" y="6963844"/>
                </a:cubicBezTo>
                <a:close/>
                <a:moveTo>
                  <a:pt x="8082281" y="6963844"/>
                </a:moveTo>
                <a:cubicBezTo>
                  <a:pt x="8086407" y="6963844"/>
                  <a:pt x="8090401" y="6964643"/>
                  <a:pt x="8094127" y="6966373"/>
                </a:cubicBezTo>
                <a:cubicBezTo>
                  <a:pt x="8097855" y="6967971"/>
                  <a:pt x="8100916" y="6970101"/>
                  <a:pt x="8103446" y="6972763"/>
                </a:cubicBezTo>
                <a:cubicBezTo>
                  <a:pt x="8105975" y="6975293"/>
                  <a:pt x="8108104" y="6978487"/>
                  <a:pt x="8109569" y="6982082"/>
                </a:cubicBezTo>
                <a:cubicBezTo>
                  <a:pt x="8111033" y="6985675"/>
                  <a:pt x="8111832" y="6989536"/>
                  <a:pt x="8111832" y="6993529"/>
                </a:cubicBezTo>
                <a:cubicBezTo>
                  <a:pt x="8111832" y="6997656"/>
                  <a:pt x="8111033" y="7001649"/>
                  <a:pt x="8109569" y="7005245"/>
                </a:cubicBezTo>
                <a:cubicBezTo>
                  <a:pt x="8107972" y="7008838"/>
                  <a:pt x="8105975" y="7011901"/>
                  <a:pt x="8103446" y="7014563"/>
                </a:cubicBezTo>
                <a:cubicBezTo>
                  <a:pt x="8100783" y="7017225"/>
                  <a:pt x="8097722" y="7019355"/>
                  <a:pt x="8094127" y="7020819"/>
                </a:cubicBezTo>
                <a:cubicBezTo>
                  <a:pt x="8090401" y="7022283"/>
                  <a:pt x="8086540" y="7023082"/>
                  <a:pt x="8082281" y="7023082"/>
                </a:cubicBezTo>
                <a:cubicBezTo>
                  <a:pt x="8073361" y="7023082"/>
                  <a:pt x="8066040" y="7020154"/>
                  <a:pt x="8060448" y="7014563"/>
                </a:cubicBezTo>
                <a:cubicBezTo>
                  <a:pt x="8054857" y="7008838"/>
                  <a:pt x="8052062" y="7001916"/>
                  <a:pt x="8052062" y="6993396"/>
                </a:cubicBezTo>
                <a:cubicBezTo>
                  <a:pt x="8052062" y="6985143"/>
                  <a:pt x="8054857" y="6978088"/>
                  <a:pt x="8060448" y="6972364"/>
                </a:cubicBezTo>
                <a:cubicBezTo>
                  <a:pt x="8066040" y="6966640"/>
                  <a:pt x="8073228" y="6963844"/>
                  <a:pt x="8082281" y="6963844"/>
                </a:cubicBezTo>
                <a:close/>
                <a:moveTo>
                  <a:pt x="7864636" y="6963844"/>
                </a:moveTo>
                <a:cubicBezTo>
                  <a:pt x="7868762" y="6963844"/>
                  <a:pt x="7872756" y="6964643"/>
                  <a:pt x="7876483" y="6966373"/>
                </a:cubicBezTo>
                <a:cubicBezTo>
                  <a:pt x="7880210" y="6967971"/>
                  <a:pt x="7883272" y="6970101"/>
                  <a:pt x="7885802" y="6972763"/>
                </a:cubicBezTo>
                <a:cubicBezTo>
                  <a:pt x="7888331" y="6975293"/>
                  <a:pt x="7890460" y="6978487"/>
                  <a:pt x="7891924" y="6982082"/>
                </a:cubicBezTo>
                <a:cubicBezTo>
                  <a:pt x="7893389" y="6985675"/>
                  <a:pt x="7894188" y="6989536"/>
                  <a:pt x="7894188" y="6993529"/>
                </a:cubicBezTo>
                <a:cubicBezTo>
                  <a:pt x="7894188" y="6997656"/>
                  <a:pt x="7893389" y="7001649"/>
                  <a:pt x="7891924" y="7005245"/>
                </a:cubicBezTo>
                <a:cubicBezTo>
                  <a:pt x="7890327" y="7008838"/>
                  <a:pt x="7888331" y="7011901"/>
                  <a:pt x="7885802" y="7014563"/>
                </a:cubicBezTo>
                <a:cubicBezTo>
                  <a:pt x="7883139" y="7017225"/>
                  <a:pt x="7880078" y="7019355"/>
                  <a:pt x="7876483" y="7020819"/>
                </a:cubicBezTo>
                <a:cubicBezTo>
                  <a:pt x="7872756" y="7022283"/>
                  <a:pt x="7868895" y="7023082"/>
                  <a:pt x="7864636" y="7023082"/>
                </a:cubicBezTo>
                <a:cubicBezTo>
                  <a:pt x="7855717" y="7023082"/>
                  <a:pt x="7848396" y="7020154"/>
                  <a:pt x="7842803" y="7014563"/>
                </a:cubicBezTo>
                <a:cubicBezTo>
                  <a:pt x="7837213" y="7008838"/>
                  <a:pt x="7834417" y="7001916"/>
                  <a:pt x="7834417" y="6993396"/>
                </a:cubicBezTo>
                <a:cubicBezTo>
                  <a:pt x="7834417" y="6985143"/>
                  <a:pt x="7837213" y="6978088"/>
                  <a:pt x="7842803" y="6972364"/>
                </a:cubicBezTo>
                <a:cubicBezTo>
                  <a:pt x="7848396" y="6966640"/>
                  <a:pt x="7855584" y="6963844"/>
                  <a:pt x="7864636" y="6963844"/>
                </a:cubicBezTo>
                <a:close/>
                <a:moveTo>
                  <a:pt x="7646991" y="6963844"/>
                </a:moveTo>
                <a:cubicBezTo>
                  <a:pt x="7651250" y="6963844"/>
                  <a:pt x="7655111" y="6964643"/>
                  <a:pt x="7658705" y="6966373"/>
                </a:cubicBezTo>
                <a:cubicBezTo>
                  <a:pt x="7662432" y="6967971"/>
                  <a:pt x="7665493" y="6970101"/>
                  <a:pt x="7668022" y="6972763"/>
                </a:cubicBezTo>
                <a:cubicBezTo>
                  <a:pt x="7670552" y="6975293"/>
                  <a:pt x="7672682" y="6978487"/>
                  <a:pt x="7674146" y="6982082"/>
                </a:cubicBezTo>
                <a:cubicBezTo>
                  <a:pt x="7675610" y="6985675"/>
                  <a:pt x="7676409" y="6989536"/>
                  <a:pt x="7676409" y="6993529"/>
                </a:cubicBezTo>
                <a:cubicBezTo>
                  <a:pt x="7676409" y="6997656"/>
                  <a:pt x="7675610" y="7001649"/>
                  <a:pt x="7674146" y="7005245"/>
                </a:cubicBezTo>
                <a:cubicBezTo>
                  <a:pt x="7672549" y="7008838"/>
                  <a:pt x="7670552" y="7011901"/>
                  <a:pt x="7668022" y="7014563"/>
                </a:cubicBezTo>
                <a:cubicBezTo>
                  <a:pt x="7665361" y="7017225"/>
                  <a:pt x="7662299" y="7019355"/>
                  <a:pt x="7658705" y="7020819"/>
                </a:cubicBezTo>
                <a:cubicBezTo>
                  <a:pt x="7655111" y="7022283"/>
                  <a:pt x="7651250" y="7023082"/>
                  <a:pt x="7646991" y="7023082"/>
                </a:cubicBezTo>
                <a:cubicBezTo>
                  <a:pt x="7638071" y="7023082"/>
                  <a:pt x="7630750" y="7020154"/>
                  <a:pt x="7625158" y="7014563"/>
                </a:cubicBezTo>
                <a:cubicBezTo>
                  <a:pt x="7619568" y="7008838"/>
                  <a:pt x="7616772" y="7001916"/>
                  <a:pt x="7616772" y="6993396"/>
                </a:cubicBezTo>
                <a:cubicBezTo>
                  <a:pt x="7616772" y="6985143"/>
                  <a:pt x="7619568" y="6978088"/>
                  <a:pt x="7625158" y="6972364"/>
                </a:cubicBezTo>
                <a:cubicBezTo>
                  <a:pt x="7630750" y="6966640"/>
                  <a:pt x="7637939" y="6963844"/>
                  <a:pt x="7646991" y="6963844"/>
                </a:cubicBezTo>
                <a:close/>
                <a:moveTo>
                  <a:pt x="7429345" y="6963844"/>
                </a:moveTo>
                <a:cubicBezTo>
                  <a:pt x="7433605" y="6963844"/>
                  <a:pt x="7437466" y="6964643"/>
                  <a:pt x="7441059" y="6966373"/>
                </a:cubicBezTo>
                <a:cubicBezTo>
                  <a:pt x="7444787" y="6967971"/>
                  <a:pt x="7447848" y="6970101"/>
                  <a:pt x="7450377" y="6972763"/>
                </a:cubicBezTo>
                <a:cubicBezTo>
                  <a:pt x="7452907" y="6975293"/>
                  <a:pt x="7455036" y="6978487"/>
                  <a:pt x="7456501" y="6982082"/>
                </a:cubicBezTo>
                <a:cubicBezTo>
                  <a:pt x="7457965" y="6985675"/>
                  <a:pt x="7458764" y="6989536"/>
                  <a:pt x="7458764" y="6993529"/>
                </a:cubicBezTo>
                <a:cubicBezTo>
                  <a:pt x="7458764" y="6997656"/>
                  <a:pt x="7457965" y="7001649"/>
                  <a:pt x="7456501" y="7005245"/>
                </a:cubicBezTo>
                <a:cubicBezTo>
                  <a:pt x="7454904" y="7008838"/>
                  <a:pt x="7452907" y="7011901"/>
                  <a:pt x="7450377" y="7014563"/>
                </a:cubicBezTo>
                <a:cubicBezTo>
                  <a:pt x="7447715" y="7017225"/>
                  <a:pt x="7444654" y="7019355"/>
                  <a:pt x="7441059" y="7020819"/>
                </a:cubicBezTo>
                <a:cubicBezTo>
                  <a:pt x="7437466" y="7022283"/>
                  <a:pt x="7433605" y="7023082"/>
                  <a:pt x="7429345" y="7023082"/>
                </a:cubicBezTo>
                <a:cubicBezTo>
                  <a:pt x="7420426" y="7023082"/>
                  <a:pt x="7413105" y="7020154"/>
                  <a:pt x="7407513" y="7014563"/>
                </a:cubicBezTo>
                <a:cubicBezTo>
                  <a:pt x="7401922" y="7008838"/>
                  <a:pt x="7399127" y="7001916"/>
                  <a:pt x="7399127" y="6993396"/>
                </a:cubicBezTo>
                <a:cubicBezTo>
                  <a:pt x="7399127" y="6985143"/>
                  <a:pt x="7401922" y="6978088"/>
                  <a:pt x="7407513" y="6972364"/>
                </a:cubicBezTo>
                <a:cubicBezTo>
                  <a:pt x="7413105" y="6966640"/>
                  <a:pt x="7420293" y="6963844"/>
                  <a:pt x="7429345" y="6963844"/>
                </a:cubicBezTo>
                <a:close/>
                <a:moveTo>
                  <a:pt x="7211701" y="6963844"/>
                </a:moveTo>
                <a:cubicBezTo>
                  <a:pt x="7215960" y="6963844"/>
                  <a:pt x="7219954" y="6964643"/>
                  <a:pt x="7223415" y="6966373"/>
                </a:cubicBezTo>
                <a:cubicBezTo>
                  <a:pt x="7227142" y="6967971"/>
                  <a:pt x="7230204" y="6970101"/>
                  <a:pt x="7232733" y="6972763"/>
                </a:cubicBezTo>
                <a:cubicBezTo>
                  <a:pt x="7235262" y="6975293"/>
                  <a:pt x="7237392" y="6978487"/>
                  <a:pt x="7238856" y="6982082"/>
                </a:cubicBezTo>
                <a:cubicBezTo>
                  <a:pt x="7240321" y="6985675"/>
                  <a:pt x="7241120" y="6989536"/>
                  <a:pt x="7241120" y="6993529"/>
                </a:cubicBezTo>
                <a:cubicBezTo>
                  <a:pt x="7241120" y="6997656"/>
                  <a:pt x="7240321" y="7001649"/>
                  <a:pt x="7238856" y="7005245"/>
                </a:cubicBezTo>
                <a:cubicBezTo>
                  <a:pt x="7237259" y="7008838"/>
                  <a:pt x="7235262" y="7011901"/>
                  <a:pt x="7232733" y="7014563"/>
                </a:cubicBezTo>
                <a:cubicBezTo>
                  <a:pt x="7230071" y="7017225"/>
                  <a:pt x="7227009" y="7019355"/>
                  <a:pt x="7223415" y="7020819"/>
                </a:cubicBezTo>
                <a:cubicBezTo>
                  <a:pt x="7219821" y="7022283"/>
                  <a:pt x="7215960" y="7023082"/>
                  <a:pt x="7211701" y="7023082"/>
                </a:cubicBezTo>
                <a:cubicBezTo>
                  <a:pt x="7202782" y="7023082"/>
                  <a:pt x="7195460" y="7020154"/>
                  <a:pt x="7189868" y="7014563"/>
                </a:cubicBezTo>
                <a:cubicBezTo>
                  <a:pt x="7184278" y="7008838"/>
                  <a:pt x="7181482" y="7001916"/>
                  <a:pt x="7181482" y="6993396"/>
                </a:cubicBezTo>
                <a:cubicBezTo>
                  <a:pt x="7181482" y="6985143"/>
                  <a:pt x="7184278" y="6978088"/>
                  <a:pt x="7189868" y="6972364"/>
                </a:cubicBezTo>
                <a:cubicBezTo>
                  <a:pt x="7195460" y="6966640"/>
                  <a:pt x="7202649" y="6963844"/>
                  <a:pt x="7211701" y="6963844"/>
                </a:cubicBezTo>
                <a:close/>
                <a:moveTo>
                  <a:pt x="6994056" y="6963844"/>
                </a:moveTo>
                <a:cubicBezTo>
                  <a:pt x="6998315" y="6963844"/>
                  <a:pt x="7002309" y="6964643"/>
                  <a:pt x="7005769" y="6966373"/>
                </a:cubicBezTo>
                <a:cubicBezTo>
                  <a:pt x="7009497" y="6967971"/>
                  <a:pt x="7012558" y="6970101"/>
                  <a:pt x="7015087" y="6972763"/>
                </a:cubicBezTo>
                <a:cubicBezTo>
                  <a:pt x="7017617" y="6975293"/>
                  <a:pt x="7019747" y="6978487"/>
                  <a:pt x="7021211" y="6982082"/>
                </a:cubicBezTo>
                <a:cubicBezTo>
                  <a:pt x="7022675" y="6985675"/>
                  <a:pt x="7023474" y="6989536"/>
                  <a:pt x="7023474" y="6993529"/>
                </a:cubicBezTo>
                <a:cubicBezTo>
                  <a:pt x="7023474" y="6997656"/>
                  <a:pt x="7022675" y="7001649"/>
                  <a:pt x="7021211" y="7005245"/>
                </a:cubicBezTo>
                <a:cubicBezTo>
                  <a:pt x="7019614" y="7008838"/>
                  <a:pt x="7017617" y="7011901"/>
                  <a:pt x="7015087" y="7014563"/>
                </a:cubicBezTo>
                <a:cubicBezTo>
                  <a:pt x="7012425" y="7017225"/>
                  <a:pt x="7009364" y="7019355"/>
                  <a:pt x="7005769" y="7020819"/>
                </a:cubicBezTo>
                <a:cubicBezTo>
                  <a:pt x="7002176" y="7022283"/>
                  <a:pt x="6998315" y="7023082"/>
                  <a:pt x="6994056" y="7023082"/>
                </a:cubicBezTo>
                <a:cubicBezTo>
                  <a:pt x="6985136" y="7023082"/>
                  <a:pt x="6977815" y="7020154"/>
                  <a:pt x="6972223" y="7014563"/>
                </a:cubicBezTo>
                <a:cubicBezTo>
                  <a:pt x="6966632" y="7008838"/>
                  <a:pt x="6963837" y="7001916"/>
                  <a:pt x="6963837" y="6993396"/>
                </a:cubicBezTo>
                <a:cubicBezTo>
                  <a:pt x="6963837" y="6985143"/>
                  <a:pt x="6966632" y="6978088"/>
                  <a:pt x="6972223" y="6972364"/>
                </a:cubicBezTo>
                <a:cubicBezTo>
                  <a:pt x="6977815" y="6966640"/>
                  <a:pt x="6985003" y="6963844"/>
                  <a:pt x="6994056" y="6963844"/>
                </a:cubicBezTo>
                <a:close/>
                <a:moveTo>
                  <a:pt x="6776544" y="6963844"/>
                </a:moveTo>
                <a:cubicBezTo>
                  <a:pt x="6780670" y="6963844"/>
                  <a:pt x="6784664" y="6964643"/>
                  <a:pt x="6788258" y="6966373"/>
                </a:cubicBezTo>
                <a:cubicBezTo>
                  <a:pt x="6791985" y="6967971"/>
                  <a:pt x="6795047" y="6970101"/>
                  <a:pt x="6797576" y="6972763"/>
                </a:cubicBezTo>
                <a:cubicBezTo>
                  <a:pt x="6800105" y="6975293"/>
                  <a:pt x="6802235" y="6978487"/>
                  <a:pt x="6803699" y="6982082"/>
                </a:cubicBezTo>
                <a:cubicBezTo>
                  <a:pt x="6805164" y="6985675"/>
                  <a:pt x="6805963" y="6989536"/>
                  <a:pt x="6805963" y="6993529"/>
                </a:cubicBezTo>
                <a:cubicBezTo>
                  <a:pt x="6805963" y="6997656"/>
                  <a:pt x="6805164" y="7001649"/>
                  <a:pt x="6803699" y="7005245"/>
                </a:cubicBezTo>
                <a:cubicBezTo>
                  <a:pt x="6802102" y="7008838"/>
                  <a:pt x="6800105" y="7011901"/>
                  <a:pt x="6797576" y="7014563"/>
                </a:cubicBezTo>
                <a:cubicBezTo>
                  <a:pt x="6794914" y="7017225"/>
                  <a:pt x="6791852" y="7019355"/>
                  <a:pt x="6788258" y="7020819"/>
                </a:cubicBezTo>
                <a:cubicBezTo>
                  <a:pt x="6784664" y="7022283"/>
                  <a:pt x="6780803" y="7023082"/>
                  <a:pt x="6776544" y="7023082"/>
                </a:cubicBezTo>
                <a:cubicBezTo>
                  <a:pt x="6767625" y="7023082"/>
                  <a:pt x="6760303" y="7020154"/>
                  <a:pt x="6754711" y="7014563"/>
                </a:cubicBezTo>
                <a:cubicBezTo>
                  <a:pt x="6749121" y="7008838"/>
                  <a:pt x="6746325" y="7001916"/>
                  <a:pt x="6746325" y="6993396"/>
                </a:cubicBezTo>
                <a:cubicBezTo>
                  <a:pt x="6746325" y="6985143"/>
                  <a:pt x="6749121" y="6978088"/>
                  <a:pt x="6754711" y="6972364"/>
                </a:cubicBezTo>
                <a:cubicBezTo>
                  <a:pt x="6760303" y="6966640"/>
                  <a:pt x="6767492" y="6963844"/>
                  <a:pt x="6776544" y="6963844"/>
                </a:cubicBezTo>
                <a:close/>
                <a:moveTo>
                  <a:pt x="6558899" y="6963844"/>
                </a:moveTo>
                <a:cubicBezTo>
                  <a:pt x="6563158" y="6963844"/>
                  <a:pt x="6567019" y="6964643"/>
                  <a:pt x="6570612" y="6966373"/>
                </a:cubicBezTo>
                <a:cubicBezTo>
                  <a:pt x="6574340" y="6967971"/>
                  <a:pt x="6577401" y="6970101"/>
                  <a:pt x="6579930" y="6972763"/>
                </a:cubicBezTo>
                <a:cubicBezTo>
                  <a:pt x="6582460" y="6975293"/>
                  <a:pt x="6584590" y="6978487"/>
                  <a:pt x="6586054" y="6982082"/>
                </a:cubicBezTo>
                <a:cubicBezTo>
                  <a:pt x="6587518" y="6985675"/>
                  <a:pt x="6588317" y="6989536"/>
                  <a:pt x="6588317" y="6993529"/>
                </a:cubicBezTo>
                <a:cubicBezTo>
                  <a:pt x="6588317" y="6997656"/>
                  <a:pt x="6587518" y="7001649"/>
                  <a:pt x="6586054" y="7005245"/>
                </a:cubicBezTo>
                <a:cubicBezTo>
                  <a:pt x="6584457" y="7008838"/>
                  <a:pt x="6582460" y="7011901"/>
                  <a:pt x="6579930" y="7014563"/>
                </a:cubicBezTo>
                <a:cubicBezTo>
                  <a:pt x="6577268" y="7017225"/>
                  <a:pt x="6574207" y="7019355"/>
                  <a:pt x="6570612" y="7020819"/>
                </a:cubicBezTo>
                <a:cubicBezTo>
                  <a:pt x="6567019" y="7022283"/>
                  <a:pt x="6563158" y="7023082"/>
                  <a:pt x="6558899" y="7023082"/>
                </a:cubicBezTo>
                <a:cubicBezTo>
                  <a:pt x="6549979" y="7023082"/>
                  <a:pt x="6542658" y="7020154"/>
                  <a:pt x="6537066" y="7014563"/>
                </a:cubicBezTo>
                <a:cubicBezTo>
                  <a:pt x="6531476" y="7008838"/>
                  <a:pt x="6528680" y="7001916"/>
                  <a:pt x="6528680" y="6993396"/>
                </a:cubicBezTo>
                <a:cubicBezTo>
                  <a:pt x="6528680" y="6985143"/>
                  <a:pt x="6531476" y="6978088"/>
                  <a:pt x="6537066" y="6972364"/>
                </a:cubicBezTo>
                <a:cubicBezTo>
                  <a:pt x="6542658" y="6966640"/>
                  <a:pt x="6549846" y="6963844"/>
                  <a:pt x="6558899" y="6963844"/>
                </a:cubicBezTo>
                <a:close/>
                <a:moveTo>
                  <a:pt x="6341253" y="6963844"/>
                </a:moveTo>
                <a:cubicBezTo>
                  <a:pt x="6345513" y="6963844"/>
                  <a:pt x="6349373" y="6964643"/>
                  <a:pt x="6352968" y="6966373"/>
                </a:cubicBezTo>
                <a:cubicBezTo>
                  <a:pt x="6356695" y="6967971"/>
                  <a:pt x="6359757" y="6970101"/>
                  <a:pt x="6362286" y="6972763"/>
                </a:cubicBezTo>
                <a:cubicBezTo>
                  <a:pt x="6364815" y="6975293"/>
                  <a:pt x="6366945" y="6978487"/>
                  <a:pt x="6368409" y="6982082"/>
                </a:cubicBezTo>
                <a:cubicBezTo>
                  <a:pt x="6369874" y="6985675"/>
                  <a:pt x="6370672" y="6989536"/>
                  <a:pt x="6370672" y="6993529"/>
                </a:cubicBezTo>
                <a:cubicBezTo>
                  <a:pt x="6370672" y="6997656"/>
                  <a:pt x="6369874" y="7001649"/>
                  <a:pt x="6368409" y="7005245"/>
                </a:cubicBezTo>
                <a:cubicBezTo>
                  <a:pt x="6366811" y="7008838"/>
                  <a:pt x="6364815" y="7011901"/>
                  <a:pt x="6362286" y="7014563"/>
                </a:cubicBezTo>
                <a:cubicBezTo>
                  <a:pt x="6359623" y="7017225"/>
                  <a:pt x="6356562" y="7019355"/>
                  <a:pt x="6352968" y="7020819"/>
                </a:cubicBezTo>
                <a:cubicBezTo>
                  <a:pt x="6349373" y="7022283"/>
                  <a:pt x="6345513" y="7023082"/>
                  <a:pt x="6341253" y="7023082"/>
                </a:cubicBezTo>
                <a:cubicBezTo>
                  <a:pt x="6332335" y="7023082"/>
                  <a:pt x="6325013" y="7020154"/>
                  <a:pt x="6319421" y="7014563"/>
                </a:cubicBezTo>
                <a:cubicBezTo>
                  <a:pt x="6313830" y="7008838"/>
                  <a:pt x="6311035" y="7001916"/>
                  <a:pt x="6311035" y="6993396"/>
                </a:cubicBezTo>
                <a:cubicBezTo>
                  <a:pt x="6311035" y="6985143"/>
                  <a:pt x="6313830" y="6978088"/>
                  <a:pt x="6319421" y="6972364"/>
                </a:cubicBezTo>
                <a:cubicBezTo>
                  <a:pt x="6325013" y="6966640"/>
                  <a:pt x="6332201" y="6963844"/>
                  <a:pt x="6341253" y="6963844"/>
                </a:cubicBezTo>
                <a:close/>
                <a:moveTo>
                  <a:pt x="6123608" y="6963844"/>
                </a:moveTo>
                <a:cubicBezTo>
                  <a:pt x="6127867" y="6963844"/>
                  <a:pt x="6131728" y="6964643"/>
                  <a:pt x="6135322" y="6966373"/>
                </a:cubicBezTo>
                <a:cubicBezTo>
                  <a:pt x="6139049" y="6967971"/>
                  <a:pt x="6142111" y="6970101"/>
                  <a:pt x="6144640" y="6972763"/>
                </a:cubicBezTo>
                <a:cubicBezTo>
                  <a:pt x="6147169" y="6975293"/>
                  <a:pt x="6149299" y="6978487"/>
                  <a:pt x="6150763" y="6982082"/>
                </a:cubicBezTo>
                <a:cubicBezTo>
                  <a:pt x="6152228" y="6985675"/>
                  <a:pt x="6153026" y="6989536"/>
                  <a:pt x="6153026" y="6993529"/>
                </a:cubicBezTo>
                <a:cubicBezTo>
                  <a:pt x="6153026" y="6997656"/>
                  <a:pt x="6152228" y="7001649"/>
                  <a:pt x="6150763" y="7005245"/>
                </a:cubicBezTo>
                <a:cubicBezTo>
                  <a:pt x="6149299" y="7008838"/>
                  <a:pt x="6147169" y="7011901"/>
                  <a:pt x="6144640" y="7014563"/>
                </a:cubicBezTo>
                <a:cubicBezTo>
                  <a:pt x="6141977" y="7017225"/>
                  <a:pt x="6138916" y="7019355"/>
                  <a:pt x="6135322" y="7020819"/>
                </a:cubicBezTo>
                <a:cubicBezTo>
                  <a:pt x="6131728" y="7022283"/>
                  <a:pt x="6127867" y="7023082"/>
                  <a:pt x="6123608" y="7023082"/>
                </a:cubicBezTo>
                <a:cubicBezTo>
                  <a:pt x="6114689" y="7023082"/>
                  <a:pt x="6107367" y="7020154"/>
                  <a:pt x="6101775" y="7014563"/>
                </a:cubicBezTo>
                <a:cubicBezTo>
                  <a:pt x="6096184" y="7008838"/>
                  <a:pt x="6093389" y="7001916"/>
                  <a:pt x="6093389" y="6993396"/>
                </a:cubicBezTo>
                <a:cubicBezTo>
                  <a:pt x="6093389" y="6985143"/>
                  <a:pt x="6096184" y="6978088"/>
                  <a:pt x="6101775" y="6972364"/>
                </a:cubicBezTo>
                <a:cubicBezTo>
                  <a:pt x="6107367" y="6966640"/>
                  <a:pt x="6114555" y="6963844"/>
                  <a:pt x="6123608" y="6963844"/>
                </a:cubicBezTo>
                <a:close/>
                <a:moveTo>
                  <a:pt x="5905963" y="6963844"/>
                </a:moveTo>
                <a:cubicBezTo>
                  <a:pt x="5910222" y="6963844"/>
                  <a:pt x="5914216" y="6964643"/>
                  <a:pt x="5917677" y="6966373"/>
                </a:cubicBezTo>
                <a:cubicBezTo>
                  <a:pt x="5921404" y="6967971"/>
                  <a:pt x="5924466" y="6970101"/>
                  <a:pt x="5926995" y="6972763"/>
                </a:cubicBezTo>
                <a:cubicBezTo>
                  <a:pt x="5929524" y="6975293"/>
                  <a:pt x="5931654" y="6978487"/>
                  <a:pt x="5933118" y="6982082"/>
                </a:cubicBezTo>
                <a:cubicBezTo>
                  <a:pt x="5934583" y="6985675"/>
                  <a:pt x="5935381" y="6989536"/>
                  <a:pt x="5935381" y="6993529"/>
                </a:cubicBezTo>
                <a:cubicBezTo>
                  <a:pt x="5935381" y="6997656"/>
                  <a:pt x="5934583" y="7001649"/>
                  <a:pt x="5933118" y="7005245"/>
                </a:cubicBezTo>
                <a:cubicBezTo>
                  <a:pt x="5931654" y="7008838"/>
                  <a:pt x="5929524" y="7011901"/>
                  <a:pt x="5926995" y="7014563"/>
                </a:cubicBezTo>
                <a:cubicBezTo>
                  <a:pt x="5924333" y="7017225"/>
                  <a:pt x="5921271" y="7019355"/>
                  <a:pt x="5917677" y="7020819"/>
                </a:cubicBezTo>
                <a:cubicBezTo>
                  <a:pt x="5914083" y="7022283"/>
                  <a:pt x="5910222" y="7023082"/>
                  <a:pt x="5905963" y="7023082"/>
                </a:cubicBezTo>
                <a:cubicBezTo>
                  <a:pt x="5897044" y="7023082"/>
                  <a:pt x="5889722" y="7020154"/>
                  <a:pt x="5884130" y="7014563"/>
                </a:cubicBezTo>
                <a:cubicBezTo>
                  <a:pt x="5878540" y="7008838"/>
                  <a:pt x="5875744" y="7001916"/>
                  <a:pt x="5875744" y="6993396"/>
                </a:cubicBezTo>
                <a:cubicBezTo>
                  <a:pt x="5875744" y="6985143"/>
                  <a:pt x="5878540" y="6978088"/>
                  <a:pt x="5884130" y="6972364"/>
                </a:cubicBezTo>
                <a:cubicBezTo>
                  <a:pt x="5889722" y="6966640"/>
                  <a:pt x="5896910" y="6963844"/>
                  <a:pt x="5905963" y="6963844"/>
                </a:cubicBezTo>
                <a:close/>
                <a:moveTo>
                  <a:pt x="5688451" y="6963844"/>
                </a:moveTo>
                <a:cubicBezTo>
                  <a:pt x="5692577" y="6963844"/>
                  <a:pt x="5696571" y="6964643"/>
                  <a:pt x="5700165" y="6966373"/>
                </a:cubicBezTo>
                <a:cubicBezTo>
                  <a:pt x="5703892" y="6967971"/>
                  <a:pt x="5706954" y="6970101"/>
                  <a:pt x="5709483" y="6972763"/>
                </a:cubicBezTo>
                <a:cubicBezTo>
                  <a:pt x="5712012" y="6975293"/>
                  <a:pt x="5714142" y="6978487"/>
                  <a:pt x="5715606" y="6982082"/>
                </a:cubicBezTo>
                <a:cubicBezTo>
                  <a:pt x="5717071" y="6985675"/>
                  <a:pt x="5717869" y="6989536"/>
                  <a:pt x="5717869" y="6993529"/>
                </a:cubicBezTo>
                <a:cubicBezTo>
                  <a:pt x="5717869" y="6997656"/>
                  <a:pt x="5717071" y="7001649"/>
                  <a:pt x="5715606" y="7005245"/>
                </a:cubicBezTo>
                <a:cubicBezTo>
                  <a:pt x="5714142" y="7008838"/>
                  <a:pt x="5712012" y="7011901"/>
                  <a:pt x="5709483" y="7014563"/>
                </a:cubicBezTo>
                <a:cubicBezTo>
                  <a:pt x="5706820" y="7017225"/>
                  <a:pt x="5703759" y="7019355"/>
                  <a:pt x="5700165" y="7020819"/>
                </a:cubicBezTo>
                <a:cubicBezTo>
                  <a:pt x="5696571" y="7022283"/>
                  <a:pt x="5692710" y="7023082"/>
                  <a:pt x="5688451" y="7023082"/>
                </a:cubicBezTo>
                <a:cubicBezTo>
                  <a:pt x="5679532" y="7023082"/>
                  <a:pt x="5672210" y="7020154"/>
                  <a:pt x="5666618" y="7014563"/>
                </a:cubicBezTo>
                <a:cubicBezTo>
                  <a:pt x="5661028" y="7008838"/>
                  <a:pt x="5658232" y="7001916"/>
                  <a:pt x="5658232" y="6993396"/>
                </a:cubicBezTo>
                <a:cubicBezTo>
                  <a:pt x="5658232" y="6985143"/>
                  <a:pt x="5661028" y="6978088"/>
                  <a:pt x="5666618" y="6972364"/>
                </a:cubicBezTo>
                <a:cubicBezTo>
                  <a:pt x="5672210" y="6966640"/>
                  <a:pt x="5679398" y="6963844"/>
                  <a:pt x="5688451" y="6963844"/>
                </a:cubicBezTo>
                <a:close/>
                <a:moveTo>
                  <a:pt x="5470806" y="6963844"/>
                </a:moveTo>
                <a:cubicBezTo>
                  <a:pt x="5475065" y="6963844"/>
                  <a:pt x="5478926" y="6964643"/>
                  <a:pt x="5482520" y="6966373"/>
                </a:cubicBezTo>
                <a:cubicBezTo>
                  <a:pt x="5486247" y="6967971"/>
                  <a:pt x="5489309" y="6970101"/>
                  <a:pt x="5491838" y="6972763"/>
                </a:cubicBezTo>
                <a:cubicBezTo>
                  <a:pt x="5494367" y="6975293"/>
                  <a:pt x="5496497" y="6978487"/>
                  <a:pt x="5497961" y="6982082"/>
                </a:cubicBezTo>
                <a:cubicBezTo>
                  <a:pt x="5499426" y="6985675"/>
                  <a:pt x="5500224" y="6989536"/>
                  <a:pt x="5500224" y="6993529"/>
                </a:cubicBezTo>
                <a:cubicBezTo>
                  <a:pt x="5500224" y="6997656"/>
                  <a:pt x="5499426" y="7001649"/>
                  <a:pt x="5497961" y="7005245"/>
                </a:cubicBezTo>
                <a:cubicBezTo>
                  <a:pt x="5496497" y="7008838"/>
                  <a:pt x="5494367" y="7011901"/>
                  <a:pt x="5491838" y="7014563"/>
                </a:cubicBezTo>
                <a:cubicBezTo>
                  <a:pt x="5489176" y="7017225"/>
                  <a:pt x="5486114" y="7019355"/>
                  <a:pt x="5482520" y="7020819"/>
                </a:cubicBezTo>
                <a:cubicBezTo>
                  <a:pt x="5478926" y="7022283"/>
                  <a:pt x="5475065" y="7023082"/>
                  <a:pt x="5470806" y="7023082"/>
                </a:cubicBezTo>
                <a:cubicBezTo>
                  <a:pt x="5461887" y="7023082"/>
                  <a:pt x="5454565" y="7020154"/>
                  <a:pt x="5448973" y="7014563"/>
                </a:cubicBezTo>
                <a:cubicBezTo>
                  <a:pt x="5443383" y="7008838"/>
                  <a:pt x="5440587" y="7001916"/>
                  <a:pt x="5440587" y="6993396"/>
                </a:cubicBezTo>
                <a:cubicBezTo>
                  <a:pt x="5440587" y="6985143"/>
                  <a:pt x="5443383" y="6978088"/>
                  <a:pt x="5448973" y="6972364"/>
                </a:cubicBezTo>
                <a:cubicBezTo>
                  <a:pt x="5454565" y="6966640"/>
                  <a:pt x="5461754" y="6963844"/>
                  <a:pt x="5470806" y="6963844"/>
                </a:cubicBezTo>
                <a:close/>
                <a:moveTo>
                  <a:pt x="5253160" y="6963844"/>
                </a:moveTo>
                <a:cubicBezTo>
                  <a:pt x="5257420" y="6963844"/>
                  <a:pt x="5261280" y="6964643"/>
                  <a:pt x="5264875" y="6966373"/>
                </a:cubicBezTo>
                <a:cubicBezTo>
                  <a:pt x="5268602" y="6967971"/>
                  <a:pt x="5271664" y="6970101"/>
                  <a:pt x="5274192" y="6972763"/>
                </a:cubicBezTo>
                <a:cubicBezTo>
                  <a:pt x="5276722" y="6975293"/>
                  <a:pt x="5278852" y="6978487"/>
                  <a:pt x="5280316" y="6982082"/>
                </a:cubicBezTo>
                <a:cubicBezTo>
                  <a:pt x="5281780" y="6985675"/>
                  <a:pt x="5282579" y="6989536"/>
                  <a:pt x="5282579" y="6993529"/>
                </a:cubicBezTo>
                <a:cubicBezTo>
                  <a:pt x="5282579" y="6997656"/>
                  <a:pt x="5281780" y="7001649"/>
                  <a:pt x="5280316" y="7005245"/>
                </a:cubicBezTo>
                <a:cubicBezTo>
                  <a:pt x="5278852" y="7008838"/>
                  <a:pt x="5276722" y="7011901"/>
                  <a:pt x="5274192" y="7014563"/>
                </a:cubicBezTo>
                <a:cubicBezTo>
                  <a:pt x="5271664" y="7017225"/>
                  <a:pt x="5268469" y="7019355"/>
                  <a:pt x="5264875" y="7020819"/>
                </a:cubicBezTo>
                <a:cubicBezTo>
                  <a:pt x="5261280" y="7022283"/>
                  <a:pt x="5257420" y="7023082"/>
                  <a:pt x="5253160" y="7023082"/>
                </a:cubicBezTo>
                <a:cubicBezTo>
                  <a:pt x="5244241" y="7023082"/>
                  <a:pt x="5236920" y="7020154"/>
                  <a:pt x="5231328" y="7014563"/>
                </a:cubicBezTo>
                <a:cubicBezTo>
                  <a:pt x="5225737" y="7008838"/>
                  <a:pt x="5222942" y="7001916"/>
                  <a:pt x="5222942" y="6993396"/>
                </a:cubicBezTo>
                <a:cubicBezTo>
                  <a:pt x="5222942" y="6985143"/>
                  <a:pt x="5225737" y="6978088"/>
                  <a:pt x="5231328" y="6972364"/>
                </a:cubicBezTo>
                <a:cubicBezTo>
                  <a:pt x="5236920" y="6966640"/>
                  <a:pt x="5244108" y="6963844"/>
                  <a:pt x="5253160" y="6963844"/>
                </a:cubicBezTo>
                <a:close/>
                <a:moveTo>
                  <a:pt x="5035515" y="6963844"/>
                </a:moveTo>
                <a:cubicBezTo>
                  <a:pt x="5039775" y="6963844"/>
                  <a:pt x="5043636" y="6964643"/>
                  <a:pt x="5047230" y="6966373"/>
                </a:cubicBezTo>
                <a:cubicBezTo>
                  <a:pt x="5050957" y="6967971"/>
                  <a:pt x="5054019" y="6970101"/>
                  <a:pt x="5056548" y="6972763"/>
                </a:cubicBezTo>
                <a:cubicBezTo>
                  <a:pt x="5059077" y="6975293"/>
                  <a:pt x="5061207" y="6978487"/>
                  <a:pt x="5062671" y="6982082"/>
                </a:cubicBezTo>
                <a:cubicBezTo>
                  <a:pt x="5064135" y="6985675"/>
                  <a:pt x="5064934" y="6989536"/>
                  <a:pt x="5064934" y="6993529"/>
                </a:cubicBezTo>
                <a:cubicBezTo>
                  <a:pt x="5064934" y="6997656"/>
                  <a:pt x="5064135" y="7001649"/>
                  <a:pt x="5062671" y="7005245"/>
                </a:cubicBezTo>
                <a:cubicBezTo>
                  <a:pt x="5061207" y="7008838"/>
                  <a:pt x="5059077" y="7011901"/>
                  <a:pt x="5056548" y="7014563"/>
                </a:cubicBezTo>
                <a:cubicBezTo>
                  <a:pt x="5053885" y="7017225"/>
                  <a:pt x="5050824" y="7019355"/>
                  <a:pt x="5047230" y="7020819"/>
                </a:cubicBezTo>
                <a:cubicBezTo>
                  <a:pt x="5043636" y="7022283"/>
                  <a:pt x="5039775" y="7023082"/>
                  <a:pt x="5035515" y="7023082"/>
                </a:cubicBezTo>
                <a:cubicBezTo>
                  <a:pt x="5026597" y="7023082"/>
                  <a:pt x="5019275" y="7020154"/>
                  <a:pt x="5013683" y="7014563"/>
                </a:cubicBezTo>
                <a:cubicBezTo>
                  <a:pt x="5008092" y="7008838"/>
                  <a:pt x="5005297" y="7001916"/>
                  <a:pt x="5005297" y="6993396"/>
                </a:cubicBezTo>
                <a:cubicBezTo>
                  <a:pt x="5005297" y="6985143"/>
                  <a:pt x="5008092" y="6978088"/>
                  <a:pt x="5013683" y="6972364"/>
                </a:cubicBezTo>
                <a:cubicBezTo>
                  <a:pt x="5019275" y="6966640"/>
                  <a:pt x="5026463" y="6963844"/>
                  <a:pt x="5035515" y="6963844"/>
                </a:cubicBezTo>
                <a:close/>
                <a:moveTo>
                  <a:pt x="4817870" y="6963844"/>
                </a:moveTo>
                <a:cubicBezTo>
                  <a:pt x="4822130" y="6963844"/>
                  <a:pt x="4826124" y="6964643"/>
                  <a:pt x="4829585" y="6966373"/>
                </a:cubicBezTo>
                <a:cubicBezTo>
                  <a:pt x="4833312" y="6967971"/>
                  <a:pt x="4836374" y="6970101"/>
                  <a:pt x="4838903" y="6972763"/>
                </a:cubicBezTo>
                <a:cubicBezTo>
                  <a:pt x="4841432" y="6975293"/>
                  <a:pt x="4843562" y="6978487"/>
                  <a:pt x="4845026" y="6982082"/>
                </a:cubicBezTo>
                <a:cubicBezTo>
                  <a:pt x="4846491" y="6985675"/>
                  <a:pt x="4847289" y="6989536"/>
                  <a:pt x="4847289" y="6993529"/>
                </a:cubicBezTo>
                <a:cubicBezTo>
                  <a:pt x="4847289" y="6997656"/>
                  <a:pt x="4846491" y="7001649"/>
                  <a:pt x="4845026" y="7005245"/>
                </a:cubicBezTo>
                <a:cubicBezTo>
                  <a:pt x="4843562" y="7008838"/>
                  <a:pt x="4841432" y="7011901"/>
                  <a:pt x="4838903" y="7014563"/>
                </a:cubicBezTo>
                <a:cubicBezTo>
                  <a:pt x="4836240" y="7017225"/>
                  <a:pt x="4833179" y="7019355"/>
                  <a:pt x="4829585" y="7020819"/>
                </a:cubicBezTo>
                <a:cubicBezTo>
                  <a:pt x="4825991" y="7022283"/>
                  <a:pt x="4822130" y="7023082"/>
                  <a:pt x="4817870" y="7023082"/>
                </a:cubicBezTo>
                <a:cubicBezTo>
                  <a:pt x="4808952" y="7023082"/>
                  <a:pt x="4801630" y="7020154"/>
                  <a:pt x="4796038" y="7014563"/>
                </a:cubicBezTo>
                <a:cubicBezTo>
                  <a:pt x="4790447" y="7008838"/>
                  <a:pt x="4787652" y="7001916"/>
                  <a:pt x="4787652" y="6993396"/>
                </a:cubicBezTo>
                <a:cubicBezTo>
                  <a:pt x="4787652" y="6985143"/>
                  <a:pt x="4790447" y="6978088"/>
                  <a:pt x="4796038" y="6972364"/>
                </a:cubicBezTo>
                <a:cubicBezTo>
                  <a:pt x="4801630" y="6966640"/>
                  <a:pt x="4808818" y="6963844"/>
                  <a:pt x="4817870" y="6963844"/>
                </a:cubicBezTo>
                <a:close/>
                <a:moveTo>
                  <a:pt x="4600226" y="6963844"/>
                </a:moveTo>
                <a:cubicBezTo>
                  <a:pt x="4604485" y="6963844"/>
                  <a:pt x="4608479" y="6964643"/>
                  <a:pt x="4612073" y="6966373"/>
                </a:cubicBezTo>
                <a:cubicBezTo>
                  <a:pt x="4615800" y="6967971"/>
                  <a:pt x="4618862" y="6970101"/>
                  <a:pt x="4621391" y="6972763"/>
                </a:cubicBezTo>
                <a:cubicBezTo>
                  <a:pt x="4623920" y="6975293"/>
                  <a:pt x="4626050" y="6978487"/>
                  <a:pt x="4627514" y="6982082"/>
                </a:cubicBezTo>
                <a:cubicBezTo>
                  <a:pt x="4628978" y="6985675"/>
                  <a:pt x="4629777" y="6989536"/>
                  <a:pt x="4629777" y="6993529"/>
                </a:cubicBezTo>
                <a:cubicBezTo>
                  <a:pt x="4629777" y="6997656"/>
                  <a:pt x="4628978" y="7001649"/>
                  <a:pt x="4627514" y="7005245"/>
                </a:cubicBezTo>
                <a:cubicBezTo>
                  <a:pt x="4626050" y="7008838"/>
                  <a:pt x="4623920" y="7011901"/>
                  <a:pt x="4621391" y="7014563"/>
                </a:cubicBezTo>
                <a:cubicBezTo>
                  <a:pt x="4618729" y="7017225"/>
                  <a:pt x="4615667" y="7019355"/>
                  <a:pt x="4612073" y="7020819"/>
                </a:cubicBezTo>
                <a:cubicBezTo>
                  <a:pt x="4608346" y="7022283"/>
                  <a:pt x="4604485" y="7023082"/>
                  <a:pt x="4600226" y="7023082"/>
                </a:cubicBezTo>
                <a:cubicBezTo>
                  <a:pt x="4591173" y="7023082"/>
                  <a:pt x="4583985" y="7020154"/>
                  <a:pt x="4578393" y="7014563"/>
                </a:cubicBezTo>
                <a:cubicBezTo>
                  <a:pt x="4572803" y="7008838"/>
                  <a:pt x="4570007" y="7001916"/>
                  <a:pt x="4570007" y="6993396"/>
                </a:cubicBezTo>
                <a:cubicBezTo>
                  <a:pt x="4570007" y="6985143"/>
                  <a:pt x="4572803" y="6978088"/>
                  <a:pt x="4578393" y="6972364"/>
                </a:cubicBezTo>
                <a:cubicBezTo>
                  <a:pt x="4583985" y="6966640"/>
                  <a:pt x="4591173" y="6963844"/>
                  <a:pt x="4600226" y="6963844"/>
                </a:cubicBezTo>
                <a:close/>
                <a:moveTo>
                  <a:pt x="4382713" y="6963844"/>
                </a:moveTo>
                <a:cubicBezTo>
                  <a:pt x="4386840" y="6963844"/>
                  <a:pt x="4390834" y="6964643"/>
                  <a:pt x="4394428" y="6966373"/>
                </a:cubicBezTo>
                <a:cubicBezTo>
                  <a:pt x="4398155" y="6967971"/>
                  <a:pt x="4401217" y="6970101"/>
                  <a:pt x="4403746" y="6972763"/>
                </a:cubicBezTo>
                <a:cubicBezTo>
                  <a:pt x="4406275" y="6975293"/>
                  <a:pt x="4408405" y="6978487"/>
                  <a:pt x="4409869" y="6982082"/>
                </a:cubicBezTo>
                <a:cubicBezTo>
                  <a:pt x="4411334" y="6985675"/>
                  <a:pt x="4412132" y="6989536"/>
                  <a:pt x="4412132" y="6993529"/>
                </a:cubicBezTo>
                <a:cubicBezTo>
                  <a:pt x="4412132" y="6997656"/>
                  <a:pt x="4411334" y="7001649"/>
                  <a:pt x="4409869" y="7005245"/>
                </a:cubicBezTo>
                <a:cubicBezTo>
                  <a:pt x="4408405" y="7008838"/>
                  <a:pt x="4406275" y="7011901"/>
                  <a:pt x="4403746" y="7014563"/>
                </a:cubicBezTo>
                <a:cubicBezTo>
                  <a:pt x="4401083" y="7017225"/>
                  <a:pt x="4398022" y="7019355"/>
                  <a:pt x="4394428" y="7020819"/>
                </a:cubicBezTo>
                <a:cubicBezTo>
                  <a:pt x="4390834" y="7022283"/>
                  <a:pt x="4386973" y="7023082"/>
                  <a:pt x="4382713" y="7023082"/>
                </a:cubicBezTo>
                <a:cubicBezTo>
                  <a:pt x="4373661" y="7023082"/>
                  <a:pt x="4366473" y="7020154"/>
                  <a:pt x="4360881" y="7014563"/>
                </a:cubicBezTo>
                <a:cubicBezTo>
                  <a:pt x="4355290" y="7008838"/>
                  <a:pt x="4352495" y="7001916"/>
                  <a:pt x="4352495" y="6993396"/>
                </a:cubicBezTo>
                <a:cubicBezTo>
                  <a:pt x="4352495" y="6985143"/>
                  <a:pt x="4355290" y="6978088"/>
                  <a:pt x="4360881" y="6972364"/>
                </a:cubicBezTo>
                <a:cubicBezTo>
                  <a:pt x="4366473" y="6966640"/>
                  <a:pt x="4373661" y="6963844"/>
                  <a:pt x="4382713" y="6963844"/>
                </a:cubicBezTo>
                <a:close/>
                <a:moveTo>
                  <a:pt x="4165068" y="6963844"/>
                </a:moveTo>
                <a:cubicBezTo>
                  <a:pt x="4169327" y="6963844"/>
                  <a:pt x="4173188" y="6964643"/>
                  <a:pt x="4176782" y="6966373"/>
                </a:cubicBezTo>
                <a:cubicBezTo>
                  <a:pt x="4180509" y="6967971"/>
                  <a:pt x="4183571" y="6970101"/>
                  <a:pt x="4186100" y="6972763"/>
                </a:cubicBezTo>
                <a:cubicBezTo>
                  <a:pt x="4188629" y="6975293"/>
                  <a:pt x="4190759" y="6978487"/>
                  <a:pt x="4192223" y="6982082"/>
                </a:cubicBezTo>
                <a:cubicBezTo>
                  <a:pt x="4193688" y="6985675"/>
                  <a:pt x="4194486" y="6989536"/>
                  <a:pt x="4194486" y="6993529"/>
                </a:cubicBezTo>
                <a:cubicBezTo>
                  <a:pt x="4194486" y="6997656"/>
                  <a:pt x="4193688" y="7001649"/>
                  <a:pt x="4192223" y="7005245"/>
                </a:cubicBezTo>
                <a:cubicBezTo>
                  <a:pt x="4190759" y="7008838"/>
                  <a:pt x="4188629" y="7011901"/>
                  <a:pt x="4186100" y="7014563"/>
                </a:cubicBezTo>
                <a:cubicBezTo>
                  <a:pt x="4183438" y="7017225"/>
                  <a:pt x="4180376" y="7019355"/>
                  <a:pt x="4176782" y="7020819"/>
                </a:cubicBezTo>
                <a:cubicBezTo>
                  <a:pt x="4173188" y="7022283"/>
                  <a:pt x="4169327" y="7023082"/>
                  <a:pt x="4165068" y="7023082"/>
                </a:cubicBezTo>
                <a:cubicBezTo>
                  <a:pt x="4156015" y="7023082"/>
                  <a:pt x="4148827" y="7020154"/>
                  <a:pt x="4143235" y="7014563"/>
                </a:cubicBezTo>
                <a:cubicBezTo>
                  <a:pt x="4137645" y="7008838"/>
                  <a:pt x="4134849" y="7001916"/>
                  <a:pt x="4134849" y="6993396"/>
                </a:cubicBezTo>
                <a:cubicBezTo>
                  <a:pt x="4134849" y="6985143"/>
                  <a:pt x="4137645" y="6978088"/>
                  <a:pt x="4143235" y="6972364"/>
                </a:cubicBezTo>
                <a:cubicBezTo>
                  <a:pt x="4148827" y="6966640"/>
                  <a:pt x="4156015" y="6963844"/>
                  <a:pt x="4165068" y="6963844"/>
                </a:cubicBezTo>
                <a:close/>
                <a:moveTo>
                  <a:pt x="3947802" y="6963844"/>
                </a:moveTo>
                <a:cubicBezTo>
                  <a:pt x="3952065" y="6963844"/>
                  <a:pt x="3955925" y="6964643"/>
                  <a:pt x="3959521" y="6966373"/>
                </a:cubicBezTo>
                <a:cubicBezTo>
                  <a:pt x="3963250" y="6967971"/>
                  <a:pt x="3966310" y="6970101"/>
                  <a:pt x="3968839" y="6972763"/>
                </a:cubicBezTo>
                <a:cubicBezTo>
                  <a:pt x="3971370" y="6975293"/>
                  <a:pt x="3973499" y="6978487"/>
                  <a:pt x="3974963" y="6982082"/>
                </a:cubicBezTo>
                <a:cubicBezTo>
                  <a:pt x="3976428" y="6985675"/>
                  <a:pt x="3977227" y="6989536"/>
                  <a:pt x="3977227" y="6993529"/>
                </a:cubicBezTo>
                <a:cubicBezTo>
                  <a:pt x="3977227" y="6997656"/>
                  <a:pt x="3976428" y="7001649"/>
                  <a:pt x="3974963" y="7005245"/>
                </a:cubicBezTo>
                <a:cubicBezTo>
                  <a:pt x="3973499" y="7008838"/>
                  <a:pt x="3971370" y="7011901"/>
                  <a:pt x="3968839" y="7014563"/>
                </a:cubicBezTo>
                <a:cubicBezTo>
                  <a:pt x="3966178" y="7017225"/>
                  <a:pt x="3963116" y="7019355"/>
                  <a:pt x="3959521" y="7020819"/>
                </a:cubicBezTo>
                <a:cubicBezTo>
                  <a:pt x="3955925" y="7022283"/>
                  <a:pt x="3952065" y="7023082"/>
                  <a:pt x="3947802" y="7023082"/>
                </a:cubicBezTo>
                <a:cubicBezTo>
                  <a:pt x="3938749" y="7023082"/>
                  <a:pt x="3931561" y="7020154"/>
                  <a:pt x="3925970" y="7014563"/>
                </a:cubicBezTo>
                <a:cubicBezTo>
                  <a:pt x="3920379" y="7008838"/>
                  <a:pt x="3917583" y="7001916"/>
                  <a:pt x="3917583" y="6993396"/>
                </a:cubicBezTo>
                <a:cubicBezTo>
                  <a:pt x="3917583" y="6985143"/>
                  <a:pt x="3920379" y="6978088"/>
                  <a:pt x="3925970" y="6972364"/>
                </a:cubicBezTo>
                <a:cubicBezTo>
                  <a:pt x="3931561" y="6966640"/>
                  <a:pt x="3938749" y="6963844"/>
                  <a:pt x="3947802" y="6963844"/>
                </a:cubicBezTo>
                <a:close/>
                <a:moveTo>
                  <a:pt x="3730141" y="6963844"/>
                </a:moveTo>
                <a:cubicBezTo>
                  <a:pt x="3734401" y="6963844"/>
                  <a:pt x="3738394" y="6964643"/>
                  <a:pt x="3741856" y="6966373"/>
                </a:cubicBezTo>
                <a:cubicBezTo>
                  <a:pt x="3745450" y="6967971"/>
                  <a:pt x="3748646" y="6970101"/>
                  <a:pt x="3751175" y="6972763"/>
                </a:cubicBezTo>
                <a:cubicBezTo>
                  <a:pt x="3753704" y="6975293"/>
                  <a:pt x="3755833" y="6978487"/>
                  <a:pt x="3757297" y="6982082"/>
                </a:cubicBezTo>
                <a:cubicBezTo>
                  <a:pt x="3758761" y="6985675"/>
                  <a:pt x="3759560" y="6989536"/>
                  <a:pt x="3759560" y="6993529"/>
                </a:cubicBezTo>
                <a:cubicBezTo>
                  <a:pt x="3759560" y="6997656"/>
                  <a:pt x="3758761" y="7001649"/>
                  <a:pt x="3757297" y="7005245"/>
                </a:cubicBezTo>
                <a:cubicBezTo>
                  <a:pt x="3755833" y="7008838"/>
                  <a:pt x="3753704" y="7011901"/>
                  <a:pt x="3751175" y="7014563"/>
                </a:cubicBezTo>
                <a:cubicBezTo>
                  <a:pt x="3748512" y="7017225"/>
                  <a:pt x="3745450" y="7019355"/>
                  <a:pt x="3741856" y="7020819"/>
                </a:cubicBezTo>
                <a:cubicBezTo>
                  <a:pt x="3738263" y="7022283"/>
                  <a:pt x="3734401" y="7023082"/>
                  <a:pt x="3730141" y="7023082"/>
                </a:cubicBezTo>
                <a:cubicBezTo>
                  <a:pt x="3721089" y="7023082"/>
                  <a:pt x="3713898" y="7020154"/>
                  <a:pt x="3708298" y="7014563"/>
                </a:cubicBezTo>
                <a:cubicBezTo>
                  <a:pt x="3702705" y="7008838"/>
                  <a:pt x="3699911" y="7001916"/>
                  <a:pt x="3699911" y="6993396"/>
                </a:cubicBezTo>
                <a:cubicBezTo>
                  <a:pt x="3699911" y="6985143"/>
                  <a:pt x="3702705" y="6978088"/>
                  <a:pt x="3708298" y="6972364"/>
                </a:cubicBezTo>
                <a:cubicBezTo>
                  <a:pt x="3713898" y="6966640"/>
                  <a:pt x="3721089" y="6963844"/>
                  <a:pt x="3730141" y="6963844"/>
                </a:cubicBezTo>
                <a:close/>
                <a:moveTo>
                  <a:pt x="3512475" y="6963844"/>
                </a:moveTo>
                <a:cubicBezTo>
                  <a:pt x="3516736" y="6963844"/>
                  <a:pt x="3520729" y="6964643"/>
                  <a:pt x="3524191" y="6966373"/>
                </a:cubicBezTo>
                <a:cubicBezTo>
                  <a:pt x="3527785" y="6967971"/>
                  <a:pt x="3530980" y="6970101"/>
                  <a:pt x="3533509" y="6972763"/>
                </a:cubicBezTo>
                <a:cubicBezTo>
                  <a:pt x="3536039" y="6975293"/>
                  <a:pt x="3538169" y="6978487"/>
                  <a:pt x="3539633" y="6982082"/>
                </a:cubicBezTo>
                <a:cubicBezTo>
                  <a:pt x="3541097" y="6985675"/>
                  <a:pt x="3541896" y="6989536"/>
                  <a:pt x="3541896" y="6993529"/>
                </a:cubicBezTo>
                <a:cubicBezTo>
                  <a:pt x="3541896" y="6997656"/>
                  <a:pt x="3541097" y="7001649"/>
                  <a:pt x="3539633" y="7005245"/>
                </a:cubicBezTo>
                <a:cubicBezTo>
                  <a:pt x="3538169" y="7008838"/>
                  <a:pt x="3536039" y="7011901"/>
                  <a:pt x="3533509" y="7014563"/>
                </a:cubicBezTo>
                <a:cubicBezTo>
                  <a:pt x="3530846" y="7017225"/>
                  <a:pt x="3527785" y="7019355"/>
                  <a:pt x="3524191" y="7020819"/>
                </a:cubicBezTo>
                <a:cubicBezTo>
                  <a:pt x="3520597" y="7022283"/>
                  <a:pt x="3516736" y="7023082"/>
                  <a:pt x="3512475" y="7023082"/>
                </a:cubicBezTo>
                <a:cubicBezTo>
                  <a:pt x="3503419" y="7023082"/>
                  <a:pt x="3496228" y="7020154"/>
                  <a:pt x="3490637" y="7014563"/>
                </a:cubicBezTo>
                <a:cubicBezTo>
                  <a:pt x="3485046" y="7008838"/>
                  <a:pt x="3482251" y="7001916"/>
                  <a:pt x="3482251" y="6993396"/>
                </a:cubicBezTo>
                <a:cubicBezTo>
                  <a:pt x="3482251" y="6985143"/>
                  <a:pt x="3485046" y="6978088"/>
                  <a:pt x="3490637" y="6972364"/>
                </a:cubicBezTo>
                <a:cubicBezTo>
                  <a:pt x="3496228" y="6966640"/>
                  <a:pt x="3503419" y="6963844"/>
                  <a:pt x="3512475" y="6963844"/>
                </a:cubicBezTo>
                <a:close/>
                <a:moveTo>
                  <a:pt x="3294943" y="6963844"/>
                </a:moveTo>
                <a:cubicBezTo>
                  <a:pt x="3299071" y="6963844"/>
                  <a:pt x="3303065" y="6964643"/>
                  <a:pt x="3306660" y="6966373"/>
                </a:cubicBezTo>
                <a:cubicBezTo>
                  <a:pt x="3310386" y="6967971"/>
                  <a:pt x="3313448" y="6970101"/>
                  <a:pt x="3315978" y="6972763"/>
                </a:cubicBezTo>
                <a:cubicBezTo>
                  <a:pt x="3318507" y="6975293"/>
                  <a:pt x="3320637" y="6978487"/>
                  <a:pt x="3322101" y="6982082"/>
                </a:cubicBezTo>
                <a:cubicBezTo>
                  <a:pt x="3323565" y="6985675"/>
                  <a:pt x="3324364" y="6989536"/>
                  <a:pt x="3324364" y="6993529"/>
                </a:cubicBezTo>
                <a:cubicBezTo>
                  <a:pt x="3324364" y="6997656"/>
                  <a:pt x="3323565" y="7001649"/>
                  <a:pt x="3322101" y="7005245"/>
                </a:cubicBezTo>
                <a:cubicBezTo>
                  <a:pt x="3320637" y="7008838"/>
                  <a:pt x="3318507" y="7011901"/>
                  <a:pt x="3315978" y="7014563"/>
                </a:cubicBezTo>
                <a:cubicBezTo>
                  <a:pt x="3313314" y="7017225"/>
                  <a:pt x="3310253" y="7019355"/>
                  <a:pt x="3306660" y="7020819"/>
                </a:cubicBezTo>
                <a:cubicBezTo>
                  <a:pt x="3303065" y="7022283"/>
                  <a:pt x="3299204" y="7023082"/>
                  <a:pt x="3294943" y="7023082"/>
                </a:cubicBezTo>
                <a:cubicBezTo>
                  <a:pt x="3285888" y="7023082"/>
                  <a:pt x="3278699" y="7020154"/>
                  <a:pt x="3273104" y="7014563"/>
                </a:cubicBezTo>
                <a:cubicBezTo>
                  <a:pt x="3267510" y="7008838"/>
                  <a:pt x="3264715" y="7001916"/>
                  <a:pt x="3264715" y="6993396"/>
                </a:cubicBezTo>
                <a:cubicBezTo>
                  <a:pt x="3264715" y="6985143"/>
                  <a:pt x="3267510" y="6978088"/>
                  <a:pt x="3273104" y="6972364"/>
                </a:cubicBezTo>
                <a:cubicBezTo>
                  <a:pt x="3278699" y="6966640"/>
                  <a:pt x="3285888" y="6963844"/>
                  <a:pt x="3294943" y="6963844"/>
                </a:cubicBezTo>
                <a:close/>
                <a:moveTo>
                  <a:pt x="3077279" y="6963844"/>
                </a:moveTo>
                <a:cubicBezTo>
                  <a:pt x="3081406" y="6963844"/>
                  <a:pt x="3085400" y="6964643"/>
                  <a:pt x="3088994" y="6966373"/>
                </a:cubicBezTo>
                <a:cubicBezTo>
                  <a:pt x="3092588" y="6967971"/>
                  <a:pt x="3095784" y="6970101"/>
                  <a:pt x="3098312" y="6972763"/>
                </a:cubicBezTo>
                <a:cubicBezTo>
                  <a:pt x="3100841" y="6975293"/>
                  <a:pt x="3102972" y="6978487"/>
                  <a:pt x="3104435" y="6982082"/>
                </a:cubicBezTo>
                <a:cubicBezTo>
                  <a:pt x="3105901" y="6985675"/>
                  <a:pt x="3106698" y="6989536"/>
                  <a:pt x="3106698" y="6993529"/>
                </a:cubicBezTo>
                <a:cubicBezTo>
                  <a:pt x="3106698" y="6997656"/>
                  <a:pt x="3105901" y="7001649"/>
                  <a:pt x="3104435" y="7005245"/>
                </a:cubicBezTo>
                <a:cubicBezTo>
                  <a:pt x="3102972" y="7008838"/>
                  <a:pt x="3100841" y="7011901"/>
                  <a:pt x="3098312" y="7014563"/>
                </a:cubicBezTo>
                <a:cubicBezTo>
                  <a:pt x="3095650" y="7017225"/>
                  <a:pt x="3092588" y="7019355"/>
                  <a:pt x="3088994" y="7020819"/>
                </a:cubicBezTo>
                <a:cubicBezTo>
                  <a:pt x="3085400" y="7022283"/>
                  <a:pt x="3081539" y="7023082"/>
                  <a:pt x="3077279" y="7023082"/>
                </a:cubicBezTo>
                <a:cubicBezTo>
                  <a:pt x="3068358" y="7023082"/>
                  <a:pt x="3061035" y="7020154"/>
                  <a:pt x="3055439" y="7014563"/>
                </a:cubicBezTo>
                <a:cubicBezTo>
                  <a:pt x="3049848" y="7008838"/>
                  <a:pt x="3047052" y="7001916"/>
                  <a:pt x="3047052" y="6993396"/>
                </a:cubicBezTo>
                <a:cubicBezTo>
                  <a:pt x="3047052" y="6985143"/>
                  <a:pt x="3049848" y="6978088"/>
                  <a:pt x="3055439" y="6972364"/>
                </a:cubicBezTo>
                <a:cubicBezTo>
                  <a:pt x="3061035" y="6966640"/>
                  <a:pt x="3068225" y="6963844"/>
                  <a:pt x="3077279" y="6963844"/>
                </a:cubicBezTo>
                <a:close/>
                <a:moveTo>
                  <a:pt x="2859614" y="6963844"/>
                </a:moveTo>
                <a:cubicBezTo>
                  <a:pt x="2863874" y="6963844"/>
                  <a:pt x="2867735" y="6964643"/>
                  <a:pt x="2871462" y="6966373"/>
                </a:cubicBezTo>
                <a:cubicBezTo>
                  <a:pt x="2875189" y="6967971"/>
                  <a:pt x="2878251" y="6970101"/>
                  <a:pt x="2880780" y="6972763"/>
                </a:cubicBezTo>
                <a:cubicBezTo>
                  <a:pt x="2883442" y="6975293"/>
                  <a:pt x="2885440" y="6978487"/>
                  <a:pt x="2886904" y="6982082"/>
                </a:cubicBezTo>
                <a:cubicBezTo>
                  <a:pt x="2888368" y="6985675"/>
                  <a:pt x="2889167" y="6989536"/>
                  <a:pt x="2889167" y="6993529"/>
                </a:cubicBezTo>
                <a:cubicBezTo>
                  <a:pt x="2889167" y="6997656"/>
                  <a:pt x="2888368" y="7001649"/>
                  <a:pt x="2886904" y="7005245"/>
                </a:cubicBezTo>
                <a:cubicBezTo>
                  <a:pt x="2885440" y="7008838"/>
                  <a:pt x="2883309" y="7011901"/>
                  <a:pt x="2880780" y="7014563"/>
                </a:cubicBezTo>
                <a:cubicBezTo>
                  <a:pt x="2878118" y="7017225"/>
                  <a:pt x="2875056" y="7019355"/>
                  <a:pt x="2871462" y="7020819"/>
                </a:cubicBezTo>
                <a:cubicBezTo>
                  <a:pt x="2867735" y="7022283"/>
                  <a:pt x="2863874" y="7023082"/>
                  <a:pt x="2859614" y="7023082"/>
                </a:cubicBezTo>
                <a:cubicBezTo>
                  <a:pt x="2850696" y="7023082"/>
                  <a:pt x="2843368" y="7020154"/>
                  <a:pt x="2837774" y="7014563"/>
                </a:cubicBezTo>
                <a:cubicBezTo>
                  <a:pt x="2832183" y="7008838"/>
                  <a:pt x="2829386" y="7001916"/>
                  <a:pt x="2829386" y="6993396"/>
                </a:cubicBezTo>
                <a:cubicBezTo>
                  <a:pt x="2829386" y="6985143"/>
                  <a:pt x="2832183" y="6978088"/>
                  <a:pt x="2837774" y="6972364"/>
                </a:cubicBezTo>
                <a:cubicBezTo>
                  <a:pt x="2843368" y="6966640"/>
                  <a:pt x="2850562" y="6963844"/>
                  <a:pt x="2859614" y="6963844"/>
                </a:cubicBezTo>
                <a:close/>
                <a:moveTo>
                  <a:pt x="2641949" y="6963844"/>
                </a:moveTo>
                <a:cubicBezTo>
                  <a:pt x="2646209" y="6963844"/>
                  <a:pt x="2650069" y="6964643"/>
                  <a:pt x="2653664" y="6966373"/>
                </a:cubicBezTo>
                <a:cubicBezTo>
                  <a:pt x="2657391" y="6967971"/>
                  <a:pt x="2660453" y="6970101"/>
                  <a:pt x="2662982" y="6972763"/>
                </a:cubicBezTo>
                <a:cubicBezTo>
                  <a:pt x="2665644" y="6975293"/>
                  <a:pt x="2667641" y="6978487"/>
                  <a:pt x="2669105" y="6982082"/>
                </a:cubicBezTo>
                <a:cubicBezTo>
                  <a:pt x="2670569" y="6985675"/>
                  <a:pt x="2671368" y="6989536"/>
                  <a:pt x="2671368" y="6993529"/>
                </a:cubicBezTo>
                <a:cubicBezTo>
                  <a:pt x="2671368" y="6997656"/>
                  <a:pt x="2670569" y="7001649"/>
                  <a:pt x="2669105" y="7005245"/>
                </a:cubicBezTo>
                <a:cubicBezTo>
                  <a:pt x="2667641" y="7008838"/>
                  <a:pt x="2665511" y="7011901"/>
                  <a:pt x="2662982" y="7014563"/>
                </a:cubicBezTo>
                <a:cubicBezTo>
                  <a:pt x="2660453" y="7017225"/>
                  <a:pt x="2657258" y="7019355"/>
                  <a:pt x="2653664" y="7020819"/>
                </a:cubicBezTo>
                <a:cubicBezTo>
                  <a:pt x="2650069" y="7022283"/>
                  <a:pt x="2646209" y="7023082"/>
                  <a:pt x="2641949" y="7023082"/>
                </a:cubicBezTo>
                <a:cubicBezTo>
                  <a:pt x="2633030" y="7023082"/>
                  <a:pt x="2625707" y="7020154"/>
                  <a:pt x="2620114" y="7014563"/>
                </a:cubicBezTo>
                <a:cubicBezTo>
                  <a:pt x="2614523" y="7008838"/>
                  <a:pt x="2611724" y="7001916"/>
                  <a:pt x="2611724" y="6993396"/>
                </a:cubicBezTo>
                <a:cubicBezTo>
                  <a:pt x="2611724" y="6985143"/>
                  <a:pt x="2614523" y="6978088"/>
                  <a:pt x="2620114" y="6972364"/>
                </a:cubicBezTo>
                <a:cubicBezTo>
                  <a:pt x="2625707" y="6966640"/>
                  <a:pt x="2632897" y="6963844"/>
                  <a:pt x="2641949" y="6963844"/>
                </a:cubicBezTo>
                <a:close/>
                <a:moveTo>
                  <a:pt x="2424283" y="6963844"/>
                </a:moveTo>
                <a:cubicBezTo>
                  <a:pt x="2428544" y="6963844"/>
                  <a:pt x="2432538" y="6964643"/>
                  <a:pt x="2435999" y="6966373"/>
                </a:cubicBezTo>
                <a:cubicBezTo>
                  <a:pt x="2439726" y="6967971"/>
                  <a:pt x="2442788" y="6970101"/>
                  <a:pt x="2445317" y="6972763"/>
                </a:cubicBezTo>
                <a:cubicBezTo>
                  <a:pt x="2447979" y="6975293"/>
                  <a:pt x="2449976" y="6978487"/>
                  <a:pt x="2451440" y="6982082"/>
                </a:cubicBezTo>
                <a:cubicBezTo>
                  <a:pt x="2452904" y="6985675"/>
                  <a:pt x="2453703" y="6989536"/>
                  <a:pt x="2453703" y="6993529"/>
                </a:cubicBezTo>
                <a:cubicBezTo>
                  <a:pt x="2453703" y="6997656"/>
                  <a:pt x="2452904" y="7001649"/>
                  <a:pt x="2451440" y="7005245"/>
                </a:cubicBezTo>
                <a:cubicBezTo>
                  <a:pt x="2449976" y="7008838"/>
                  <a:pt x="2447846" y="7011901"/>
                  <a:pt x="2445317" y="7014563"/>
                </a:cubicBezTo>
                <a:cubicBezTo>
                  <a:pt x="2442788" y="7017225"/>
                  <a:pt x="2439593" y="7019355"/>
                  <a:pt x="2435999" y="7020819"/>
                </a:cubicBezTo>
                <a:cubicBezTo>
                  <a:pt x="2432405" y="7022283"/>
                  <a:pt x="2428544" y="7023082"/>
                  <a:pt x="2424283" y="7023082"/>
                </a:cubicBezTo>
                <a:cubicBezTo>
                  <a:pt x="2415365" y="7023082"/>
                  <a:pt x="2408043" y="7020154"/>
                  <a:pt x="2402451" y="7014563"/>
                </a:cubicBezTo>
                <a:cubicBezTo>
                  <a:pt x="2396858" y="7008838"/>
                  <a:pt x="2394061" y="7001916"/>
                  <a:pt x="2394061" y="6993396"/>
                </a:cubicBezTo>
                <a:cubicBezTo>
                  <a:pt x="2394061" y="6985143"/>
                  <a:pt x="2396858" y="6978088"/>
                  <a:pt x="2402451" y="6972364"/>
                </a:cubicBezTo>
                <a:cubicBezTo>
                  <a:pt x="2408043" y="6966640"/>
                  <a:pt x="2415231" y="6963844"/>
                  <a:pt x="2424283" y="6963844"/>
                </a:cubicBezTo>
                <a:close/>
                <a:moveTo>
                  <a:pt x="2206619" y="6963844"/>
                </a:moveTo>
                <a:cubicBezTo>
                  <a:pt x="2210878" y="6963844"/>
                  <a:pt x="2214873" y="6964643"/>
                  <a:pt x="2218334" y="6966373"/>
                </a:cubicBezTo>
                <a:cubicBezTo>
                  <a:pt x="2222061" y="6967971"/>
                  <a:pt x="2225122" y="6970101"/>
                  <a:pt x="2227652" y="6972763"/>
                </a:cubicBezTo>
                <a:cubicBezTo>
                  <a:pt x="2230314" y="6975293"/>
                  <a:pt x="2232311" y="6978487"/>
                  <a:pt x="2233775" y="6982082"/>
                </a:cubicBezTo>
                <a:cubicBezTo>
                  <a:pt x="2235239" y="6985675"/>
                  <a:pt x="2236038" y="6989536"/>
                  <a:pt x="2236038" y="6993529"/>
                </a:cubicBezTo>
                <a:cubicBezTo>
                  <a:pt x="2236038" y="6997656"/>
                  <a:pt x="2235239" y="7001649"/>
                  <a:pt x="2233775" y="7005245"/>
                </a:cubicBezTo>
                <a:cubicBezTo>
                  <a:pt x="2232311" y="7008838"/>
                  <a:pt x="2230181" y="7011901"/>
                  <a:pt x="2227652" y="7014563"/>
                </a:cubicBezTo>
                <a:cubicBezTo>
                  <a:pt x="2225122" y="7017225"/>
                  <a:pt x="2221928" y="7019355"/>
                  <a:pt x="2218334" y="7020819"/>
                </a:cubicBezTo>
                <a:cubicBezTo>
                  <a:pt x="2214739" y="7022283"/>
                  <a:pt x="2210878" y="7023082"/>
                  <a:pt x="2206619" y="7023082"/>
                </a:cubicBezTo>
                <a:cubicBezTo>
                  <a:pt x="2197566" y="7023082"/>
                  <a:pt x="2190378" y="7020154"/>
                  <a:pt x="2184785" y="7014563"/>
                </a:cubicBezTo>
                <a:cubicBezTo>
                  <a:pt x="2179193" y="7008838"/>
                  <a:pt x="2176397" y="7001916"/>
                  <a:pt x="2176397" y="6993396"/>
                </a:cubicBezTo>
                <a:cubicBezTo>
                  <a:pt x="2176397" y="6985143"/>
                  <a:pt x="2179193" y="6978088"/>
                  <a:pt x="2184785" y="6972364"/>
                </a:cubicBezTo>
                <a:cubicBezTo>
                  <a:pt x="2190378" y="6966640"/>
                  <a:pt x="2197566" y="6963844"/>
                  <a:pt x="2206619" y="6963844"/>
                </a:cubicBezTo>
                <a:close/>
                <a:moveTo>
                  <a:pt x="1989086" y="6963844"/>
                </a:moveTo>
                <a:cubicBezTo>
                  <a:pt x="1993213" y="6963844"/>
                  <a:pt x="1997208" y="6964643"/>
                  <a:pt x="2000802" y="6966373"/>
                </a:cubicBezTo>
                <a:cubicBezTo>
                  <a:pt x="2004529" y="6967971"/>
                  <a:pt x="2007591" y="6970101"/>
                  <a:pt x="2010120" y="6972763"/>
                </a:cubicBezTo>
                <a:cubicBezTo>
                  <a:pt x="2012781" y="6975293"/>
                  <a:pt x="2014779" y="6978487"/>
                  <a:pt x="2016243" y="6982082"/>
                </a:cubicBezTo>
                <a:cubicBezTo>
                  <a:pt x="2017707" y="6985675"/>
                  <a:pt x="2018506" y="6989536"/>
                  <a:pt x="2018506" y="6993529"/>
                </a:cubicBezTo>
                <a:cubicBezTo>
                  <a:pt x="2018506" y="6997656"/>
                  <a:pt x="2017707" y="7001649"/>
                  <a:pt x="2016243" y="7005245"/>
                </a:cubicBezTo>
                <a:cubicBezTo>
                  <a:pt x="2014779" y="7008838"/>
                  <a:pt x="2012649" y="7011901"/>
                  <a:pt x="2010120" y="7014563"/>
                </a:cubicBezTo>
                <a:cubicBezTo>
                  <a:pt x="2007591" y="7017225"/>
                  <a:pt x="2004395" y="7019355"/>
                  <a:pt x="2000802" y="7020819"/>
                </a:cubicBezTo>
                <a:cubicBezTo>
                  <a:pt x="1997208" y="7022283"/>
                  <a:pt x="1993346" y="7023082"/>
                  <a:pt x="1989086" y="7023082"/>
                </a:cubicBezTo>
                <a:cubicBezTo>
                  <a:pt x="1980035" y="7023082"/>
                  <a:pt x="1972846" y="7020154"/>
                  <a:pt x="1967255" y="7014563"/>
                </a:cubicBezTo>
                <a:cubicBezTo>
                  <a:pt x="1961665" y="7008838"/>
                  <a:pt x="1958869" y="7001916"/>
                  <a:pt x="1958869" y="6993396"/>
                </a:cubicBezTo>
                <a:cubicBezTo>
                  <a:pt x="1958869" y="6985143"/>
                  <a:pt x="1961665" y="6978088"/>
                  <a:pt x="1967255" y="6972364"/>
                </a:cubicBezTo>
                <a:cubicBezTo>
                  <a:pt x="1972846" y="6966640"/>
                  <a:pt x="1980035" y="6963844"/>
                  <a:pt x="1989086" y="6963844"/>
                </a:cubicBezTo>
                <a:close/>
                <a:moveTo>
                  <a:pt x="1771456" y="6963844"/>
                </a:moveTo>
                <a:cubicBezTo>
                  <a:pt x="1775715" y="6963844"/>
                  <a:pt x="1779574" y="6964643"/>
                  <a:pt x="1783169" y="6966373"/>
                </a:cubicBezTo>
                <a:cubicBezTo>
                  <a:pt x="1786896" y="6967971"/>
                  <a:pt x="1789958" y="6970101"/>
                  <a:pt x="1792487" y="6972763"/>
                </a:cubicBezTo>
                <a:cubicBezTo>
                  <a:pt x="1795149" y="6975293"/>
                  <a:pt x="1797146" y="6978487"/>
                  <a:pt x="1798610" y="6982082"/>
                </a:cubicBezTo>
                <a:cubicBezTo>
                  <a:pt x="1800073" y="6985675"/>
                  <a:pt x="1800872" y="6989536"/>
                  <a:pt x="1800872" y="6993529"/>
                </a:cubicBezTo>
                <a:cubicBezTo>
                  <a:pt x="1800872" y="6997656"/>
                  <a:pt x="1800073" y="7001649"/>
                  <a:pt x="1798610" y="7005245"/>
                </a:cubicBezTo>
                <a:cubicBezTo>
                  <a:pt x="1797146" y="7008838"/>
                  <a:pt x="1795016" y="7011901"/>
                  <a:pt x="1792487" y="7014563"/>
                </a:cubicBezTo>
                <a:cubicBezTo>
                  <a:pt x="1789824" y="7017225"/>
                  <a:pt x="1786763" y="7019355"/>
                  <a:pt x="1783169" y="7020819"/>
                </a:cubicBezTo>
                <a:cubicBezTo>
                  <a:pt x="1779574" y="7022283"/>
                  <a:pt x="1775715" y="7023082"/>
                  <a:pt x="1771456" y="7023082"/>
                </a:cubicBezTo>
                <a:cubicBezTo>
                  <a:pt x="1762536" y="7023082"/>
                  <a:pt x="1755217" y="7020154"/>
                  <a:pt x="1749627" y="7014563"/>
                </a:cubicBezTo>
                <a:cubicBezTo>
                  <a:pt x="1744037" y="7008838"/>
                  <a:pt x="1741244" y="7001916"/>
                  <a:pt x="1741244" y="6993396"/>
                </a:cubicBezTo>
                <a:cubicBezTo>
                  <a:pt x="1741244" y="6985143"/>
                  <a:pt x="1744037" y="6978088"/>
                  <a:pt x="1749627" y="6972364"/>
                </a:cubicBezTo>
                <a:cubicBezTo>
                  <a:pt x="1755217" y="6966640"/>
                  <a:pt x="1762403" y="6963844"/>
                  <a:pt x="1771456" y="6963844"/>
                </a:cubicBezTo>
                <a:close/>
                <a:moveTo>
                  <a:pt x="1553820" y="6963844"/>
                </a:moveTo>
                <a:cubicBezTo>
                  <a:pt x="1558080" y="6963844"/>
                  <a:pt x="1561941" y="6964643"/>
                  <a:pt x="1565535" y="6966373"/>
                </a:cubicBezTo>
                <a:cubicBezTo>
                  <a:pt x="1569129" y="6967971"/>
                  <a:pt x="1572324" y="6970101"/>
                  <a:pt x="1574854" y="6972763"/>
                </a:cubicBezTo>
                <a:cubicBezTo>
                  <a:pt x="1577516" y="6975293"/>
                  <a:pt x="1579512" y="6978487"/>
                  <a:pt x="1580976" y="6982082"/>
                </a:cubicBezTo>
                <a:cubicBezTo>
                  <a:pt x="1582440" y="6985675"/>
                  <a:pt x="1583239" y="6989536"/>
                  <a:pt x="1583239" y="6993529"/>
                </a:cubicBezTo>
                <a:cubicBezTo>
                  <a:pt x="1583239" y="6997656"/>
                  <a:pt x="1582440" y="7001649"/>
                  <a:pt x="1580976" y="7005245"/>
                </a:cubicBezTo>
                <a:cubicBezTo>
                  <a:pt x="1579512" y="7008838"/>
                  <a:pt x="1577382" y="7011901"/>
                  <a:pt x="1574854" y="7014563"/>
                </a:cubicBezTo>
                <a:cubicBezTo>
                  <a:pt x="1572191" y="7017225"/>
                  <a:pt x="1569129" y="7019355"/>
                  <a:pt x="1565535" y="7020819"/>
                </a:cubicBezTo>
                <a:cubicBezTo>
                  <a:pt x="1561941" y="7022283"/>
                  <a:pt x="1558080" y="7023082"/>
                  <a:pt x="1553820" y="7023082"/>
                </a:cubicBezTo>
                <a:cubicBezTo>
                  <a:pt x="1544902" y="7023082"/>
                  <a:pt x="1537581" y="7020154"/>
                  <a:pt x="1531992" y="7014563"/>
                </a:cubicBezTo>
                <a:cubicBezTo>
                  <a:pt x="1526403" y="7008838"/>
                  <a:pt x="1523606" y="7001916"/>
                  <a:pt x="1523606" y="6993396"/>
                </a:cubicBezTo>
                <a:cubicBezTo>
                  <a:pt x="1523606" y="6985143"/>
                  <a:pt x="1526403" y="6978088"/>
                  <a:pt x="1531992" y="6972364"/>
                </a:cubicBezTo>
                <a:cubicBezTo>
                  <a:pt x="1537581" y="6966640"/>
                  <a:pt x="1544768" y="6963844"/>
                  <a:pt x="1553820" y="6963844"/>
                </a:cubicBezTo>
                <a:close/>
                <a:moveTo>
                  <a:pt x="1336178" y="6963844"/>
                </a:moveTo>
                <a:cubicBezTo>
                  <a:pt x="1340436" y="6963844"/>
                  <a:pt x="1344433" y="6964643"/>
                  <a:pt x="1347893" y="6966373"/>
                </a:cubicBezTo>
                <a:cubicBezTo>
                  <a:pt x="1351486" y="6967971"/>
                  <a:pt x="1354682" y="6970101"/>
                  <a:pt x="1357211" y="6972763"/>
                </a:cubicBezTo>
                <a:cubicBezTo>
                  <a:pt x="1359873" y="6975293"/>
                  <a:pt x="1361870" y="6978487"/>
                  <a:pt x="1363334" y="6982082"/>
                </a:cubicBezTo>
                <a:cubicBezTo>
                  <a:pt x="1364797" y="6985675"/>
                  <a:pt x="1365596" y="6989536"/>
                  <a:pt x="1365596" y="6993529"/>
                </a:cubicBezTo>
                <a:cubicBezTo>
                  <a:pt x="1365596" y="6997656"/>
                  <a:pt x="1364797" y="7001649"/>
                  <a:pt x="1363334" y="7005245"/>
                </a:cubicBezTo>
                <a:cubicBezTo>
                  <a:pt x="1361870" y="7008838"/>
                  <a:pt x="1359740" y="7011901"/>
                  <a:pt x="1357211" y="7014563"/>
                </a:cubicBezTo>
                <a:cubicBezTo>
                  <a:pt x="1354548" y="7017225"/>
                  <a:pt x="1351486" y="7019355"/>
                  <a:pt x="1347893" y="7020819"/>
                </a:cubicBezTo>
                <a:cubicBezTo>
                  <a:pt x="1344298" y="7022283"/>
                  <a:pt x="1340436" y="7023082"/>
                  <a:pt x="1336178" y="7023082"/>
                </a:cubicBezTo>
                <a:cubicBezTo>
                  <a:pt x="1327257" y="7023082"/>
                  <a:pt x="1319936" y="7020154"/>
                  <a:pt x="1314344" y="7014563"/>
                </a:cubicBezTo>
                <a:cubicBezTo>
                  <a:pt x="1308755" y="7008838"/>
                  <a:pt x="1305959" y="7001916"/>
                  <a:pt x="1305959" y="6993396"/>
                </a:cubicBezTo>
                <a:cubicBezTo>
                  <a:pt x="1305959" y="6985143"/>
                  <a:pt x="1308755" y="6978088"/>
                  <a:pt x="1314344" y="6972364"/>
                </a:cubicBezTo>
                <a:cubicBezTo>
                  <a:pt x="1319936" y="6966640"/>
                  <a:pt x="1327124" y="6963844"/>
                  <a:pt x="1336178" y="6963844"/>
                </a:cubicBezTo>
                <a:close/>
                <a:moveTo>
                  <a:pt x="1118532" y="6963844"/>
                </a:moveTo>
                <a:cubicBezTo>
                  <a:pt x="1122793" y="6963844"/>
                  <a:pt x="1126790" y="6964643"/>
                  <a:pt x="1130251" y="6966373"/>
                </a:cubicBezTo>
                <a:cubicBezTo>
                  <a:pt x="1133977" y="6967971"/>
                  <a:pt x="1137039" y="6970101"/>
                  <a:pt x="1139565" y="6972763"/>
                </a:cubicBezTo>
                <a:cubicBezTo>
                  <a:pt x="1142225" y="6975293"/>
                  <a:pt x="1144221" y="6978487"/>
                  <a:pt x="1145684" y="6982082"/>
                </a:cubicBezTo>
                <a:cubicBezTo>
                  <a:pt x="1147149" y="6985675"/>
                  <a:pt x="1147947" y="6989536"/>
                  <a:pt x="1147947" y="6993529"/>
                </a:cubicBezTo>
                <a:cubicBezTo>
                  <a:pt x="1147947" y="6997656"/>
                  <a:pt x="1147149" y="7001649"/>
                  <a:pt x="1145684" y="7005245"/>
                </a:cubicBezTo>
                <a:cubicBezTo>
                  <a:pt x="1144221" y="7008838"/>
                  <a:pt x="1142092" y="7011901"/>
                  <a:pt x="1139565" y="7014563"/>
                </a:cubicBezTo>
                <a:cubicBezTo>
                  <a:pt x="1137039" y="7017225"/>
                  <a:pt x="1133844" y="7019355"/>
                  <a:pt x="1130251" y="7020819"/>
                </a:cubicBezTo>
                <a:cubicBezTo>
                  <a:pt x="1126655" y="7022283"/>
                  <a:pt x="1122793" y="7023082"/>
                  <a:pt x="1118532" y="7023082"/>
                </a:cubicBezTo>
                <a:cubicBezTo>
                  <a:pt x="1109611" y="7023082"/>
                  <a:pt x="1102287" y="7020154"/>
                  <a:pt x="1096696" y="7014563"/>
                </a:cubicBezTo>
                <a:cubicBezTo>
                  <a:pt x="1091106" y="7008838"/>
                  <a:pt x="1088312" y="7001916"/>
                  <a:pt x="1088312" y="6993396"/>
                </a:cubicBezTo>
                <a:cubicBezTo>
                  <a:pt x="1088312" y="6985143"/>
                  <a:pt x="1091106" y="6978088"/>
                  <a:pt x="1096696" y="6972364"/>
                </a:cubicBezTo>
                <a:cubicBezTo>
                  <a:pt x="1102287" y="6966640"/>
                  <a:pt x="1109477" y="6963844"/>
                  <a:pt x="1118532" y="6963844"/>
                </a:cubicBezTo>
                <a:close/>
                <a:moveTo>
                  <a:pt x="901018" y="6963844"/>
                </a:moveTo>
                <a:cubicBezTo>
                  <a:pt x="905145" y="6963844"/>
                  <a:pt x="909140" y="6964643"/>
                  <a:pt x="912734" y="6966373"/>
                </a:cubicBezTo>
                <a:cubicBezTo>
                  <a:pt x="916461" y="6967971"/>
                  <a:pt x="919523" y="6970101"/>
                  <a:pt x="922052" y="6972763"/>
                </a:cubicBezTo>
                <a:cubicBezTo>
                  <a:pt x="924714" y="6975293"/>
                  <a:pt x="926711" y="6978487"/>
                  <a:pt x="928174" y="6982082"/>
                </a:cubicBezTo>
                <a:cubicBezTo>
                  <a:pt x="929639" y="6985675"/>
                  <a:pt x="930437" y="6989536"/>
                  <a:pt x="930437" y="6993529"/>
                </a:cubicBezTo>
                <a:cubicBezTo>
                  <a:pt x="930437" y="6997656"/>
                  <a:pt x="929639" y="7001649"/>
                  <a:pt x="928174" y="7005245"/>
                </a:cubicBezTo>
                <a:cubicBezTo>
                  <a:pt x="926711" y="7008838"/>
                  <a:pt x="924581" y="7011901"/>
                  <a:pt x="922052" y="7014563"/>
                </a:cubicBezTo>
                <a:cubicBezTo>
                  <a:pt x="919523" y="7017225"/>
                  <a:pt x="916328" y="7019355"/>
                  <a:pt x="912734" y="7020819"/>
                </a:cubicBezTo>
                <a:cubicBezTo>
                  <a:pt x="909140" y="7022283"/>
                  <a:pt x="905278" y="7023082"/>
                  <a:pt x="901018" y="7023082"/>
                </a:cubicBezTo>
                <a:cubicBezTo>
                  <a:pt x="892100" y="7023082"/>
                  <a:pt x="884778" y="7020154"/>
                  <a:pt x="879188" y="7014563"/>
                </a:cubicBezTo>
                <a:cubicBezTo>
                  <a:pt x="873599" y="7008838"/>
                  <a:pt x="870803" y="7001916"/>
                  <a:pt x="870803" y="6993396"/>
                </a:cubicBezTo>
                <a:cubicBezTo>
                  <a:pt x="870803" y="6985143"/>
                  <a:pt x="873599" y="6978088"/>
                  <a:pt x="879188" y="6972364"/>
                </a:cubicBezTo>
                <a:cubicBezTo>
                  <a:pt x="884778" y="6966640"/>
                  <a:pt x="891967" y="6963844"/>
                  <a:pt x="901018" y="6963844"/>
                </a:cubicBezTo>
                <a:close/>
                <a:moveTo>
                  <a:pt x="683380" y="6963844"/>
                </a:moveTo>
                <a:cubicBezTo>
                  <a:pt x="687640" y="6963844"/>
                  <a:pt x="691501" y="6964643"/>
                  <a:pt x="695095" y="6966373"/>
                </a:cubicBezTo>
                <a:cubicBezTo>
                  <a:pt x="698822" y="6967971"/>
                  <a:pt x="701883" y="6970101"/>
                  <a:pt x="704411" y="6972763"/>
                </a:cubicBezTo>
                <a:cubicBezTo>
                  <a:pt x="707073" y="6975293"/>
                  <a:pt x="709071" y="6978487"/>
                  <a:pt x="710535" y="6982082"/>
                </a:cubicBezTo>
                <a:cubicBezTo>
                  <a:pt x="711999" y="6985675"/>
                  <a:pt x="712798" y="6989536"/>
                  <a:pt x="712798" y="6993529"/>
                </a:cubicBezTo>
                <a:cubicBezTo>
                  <a:pt x="712798" y="6997656"/>
                  <a:pt x="711999" y="7001649"/>
                  <a:pt x="710535" y="7005245"/>
                </a:cubicBezTo>
                <a:cubicBezTo>
                  <a:pt x="709071" y="7008838"/>
                  <a:pt x="706941" y="7011901"/>
                  <a:pt x="704411" y="7014563"/>
                </a:cubicBezTo>
                <a:cubicBezTo>
                  <a:pt x="701883" y="7017225"/>
                  <a:pt x="698689" y="7019355"/>
                  <a:pt x="695095" y="7020819"/>
                </a:cubicBezTo>
                <a:cubicBezTo>
                  <a:pt x="691501" y="7022283"/>
                  <a:pt x="687640" y="7023082"/>
                  <a:pt x="683380" y="7023082"/>
                </a:cubicBezTo>
                <a:cubicBezTo>
                  <a:pt x="674461" y="7023082"/>
                  <a:pt x="667139" y="7020154"/>
                  <a:pt x="661548" y="7014563"/>
                </a:cubicBezTo>
                <a:cubicBezTo>
                  <a:pt x="655957" y="7008838"/>
                  <a:pt x="653162" y="7001916"/>
                  <a:pt x="653162" y="6993396"/>
                </a:cubicBezTo>
                <a:cubicBezTo>
                  <a:pt x="653162" y="6985143"/>
                  <a:pt x="655957" y="6978088"/>
                  <a:pt x="661548" y="6972364"/>
                </a:cubicBezTo>
                <a:cubicBezTo>
                  <a:pt x="667139" y="6966640"/>
                  <a:pt x="674328" y="6963844"/>
                  <a:pt x="683380" y="6963844"/>
                </a:cubicBezTo>
                <a:close/>
                <a:moveTo>
                  <a:pt x="465739" y="6963844"/>
                </a:moveTo>
                <a:cubicBezTo>
                  <a:pt x="469999" y="6963844"/>
                  <a:pt x="473859" y="6964643"/>
                  <a:pt x="477454" y="6966373"/>
                </a:cubicBezTo>
                <a:cubicBezTo>
                  <a:pt x="481182" y="6967971"/>
                  <a:pt x="484243" y="6970101"/>
                  <a:pt x="486772" y="6972763"/>
                </a:cubicBezTo>
                <a:cubicBezTo>
                  <a:pt x="489433" y="6975293"/>
                  <a:pt x="491430" y="6978487"/>
                  <a:pt x="492894" y="6982082"/>
                </a:cubicBezTo>
                <a:cubicBezTo>
                  <a:pt x="494358" y="6985675"/>
                  <a:pt x="495157" y="6989536"/>
                  <a:pt x="495157" y="6993529"/>
                </a:cubicBezTo>
                <a:cubicBezTo>
                  <a:pt x="495157" y="6997656"/>
                  <a:pt x="494358" y="7001649"/>
                  <a:pt x="492894" y="7005245"/>
                </a:cubicBezTo>
                <a:cubicBezTo>
                  <a:pt x="491430" y="7008838"/>
                  <a:pt x="489301" y="7011901"/>
                  <a:pt x="486772" y="7014563"/>
                </a:cubicBezTo>
                <a:cubicBezTo>
                  <a:pt x="484109" y="7017225"/>
                  <a:pt x="481048" y="7019355"/>
                  <a:pt x="477454" y="7020819"/>
                </a:cubicBezTo>
                <a:cubicBezTo>
                  <a:pt x="473859" y="7022283"/>
                  <a:pt x="469999" y="7023082"/>
                  <a:pt x="465739" y="7023082"/>
                </a:cubicBezTo>
                <a:cubicBezTo>
                  <a:pt x="456821" y="7023082"/>
                  <a:pt x="449499" y="7020154"/>
                  <a:pt x="443908" y="7014563"/>
                </a:cubicBezTo>
                <a:cubicBezTo>
                  <a:pt x="438317" y="7008838"/>
                  <a:pt x="435522" y="7001916"/>
                  <a:pt x="435522" y="6993396"/>
                </a:cubicBezTo>
                <a:cubicBezTo>
                  <a:pt x="435522" y="6985143"/>
                  <a:pt x="438317" y="6978088"/>
                  <a:pt x="443908" y="6972364"/>
                </a:cubicBezTo>
                <a:cubicBezTo>
                  <a:pt x="449499" y="6966640"/>
                  <a:pt x="456688" y="6963844"/>
                  <a:pt x="465739" y="6963844"/>
                </a:cubicBezTo>
                <a:close/>
                <a:moveTo>
                  <a:pt x="248098" y="6963844"/>
                </a:moveTo>
                <a:cubicBezTo>
                  <a:pt x="252358" y="6963844"/>
                  <a:pt x="256352" y="6964643"/>
                  <a:pt x="259813" y="6966373"/>
                </a:cubicBezTo>
                <a:cubicBezTo>
                  <a:pt x="263540" y="6967971"/>
                  <a:pt x="266602" y="6970101"/>
                  <a:pt x="269131" y="6972763"/>
                </a:cubicBezTo>
                <a:cubicBezTo>
                  <a:pt x="271793" y="6975293"/>
                  <a:pt x="273790" y="6978487"/>
                  <a:pt x="275254" y="6982082"/>
                </a:cubicBezTo>
                <a:cubicBezTo>
                  <a:pt x="276718" y="6985675"/>
                  <a:pt x="277517" y="6989536"/>
                  <a:pt x="277517" y="6993529"/>
                </a:cubicBezTo>
                <a:cubicBezTo>
                  <a:pt x="277517" y="6997656"/>
                  <a:pt x="276718" y="7001649"/>
                  <a:pt x="275254" y="7005245"/>
                </a:cubicBezTo>
                <a:cubicBezTo>
                  <a:pt x="273790" y="7008838"/>
                  <a:pt x="271660" y="7011901"/>
                  <a:pt x="269131" y="7014563"/>
                </a:cubicBezTo>
                <a:cubicBezTo>
                  <a:pt x="266468" y="7017225"/>
                  <a:pt x="263407" y="7019355"/>
                  <a:pt x="259813" y="7020819"/>
                </a:cubicBezTo>
                <a:cubicBezTo>
                  <a:pt x="256217" y="7022283"/>
                  <a:pt x="252358" y="7023082"/>
                  <a:pt x="248098" y="7023082"/>
                </a:cubicBezTo>
                <a:cubicBezTo>
                  <a:pt x="239181" y="7023082"/>
                  <a:pt x="231860" y="7020154"/>
                  <a:pt x="226269" y="7014563"/>
                </a:cubicBezTo>
                <a:cubicBezTo>
                  <a:pt x="220679" y="7008838"/>
                  <a:pt x="217884" y="7001916"/>
                  <a:pt x="217884" y="6993396"/>
                </a:cubicBezTo>
                <a:cubicBezTo>
                  <a:pt x="217884" y="6985143"/>
                  <a:pt x="220679" y="6978088"/>
                  <a:pt x="226269" y="6972364"/>
                </a:cubicBezTo>
                <a:cubicBezTo>
                  <a:pt x="231860" y="6966640"/>
                  <a:pt x="239047" y="6963844"/>
                  <a:pt x="248098" y="6963844"/>
                </a:cubicBezTo>
                <a:close/>
                <a:moveTo>
                  <a:pt x="30458" y="6963844"/>
                </a:moveTo>
                <a:cubicBezTo>
                  <a:pt x="34718" y="6963844"/>
                  <a:pt x="38712" y="6964643"/>
                  <a:pt x="42173" y="6966373"/>
                </a:cubicBezTo>
                <a:cubicBezTo>
                  <a:pt x="45900" y="6967971"/>
                  <a:pt x="48962" y="6970101"/>
                  <a:pt x="51491" y="6972763"/>
                </a:cubicBezTo>
                <a:cubicBezTo>
                  <a:pt x="54153" y="6975293"/>
                  <a:pt x="56150" y="6978487"/>
                  <a:pt x="57614" y="6982082"/>
                </a:cubicBezTo>
                <a:cubicBezTo>
                  <a:pt x="59078" y="6985675"/>
                  <a:pt x="59877" y="6989536"/>
                  <a:pt x="59877" y="6993529"/>
                </a:cubicBezTo>
                <a:cubicBezTo>
                  <a:pt x="59877" y="6997656"/>
                  <a:pt x="59078" y="7001649"/>
                  <a:pt x="57614" y="7005245"/>
                </a:cubicBezTo>
                <a:cubicBezTo>
                  <a:pt x="56150" y="7008838"/>
                  <a:pt x="54020" y="7011901"/>
                  <a:pt x="51491" y="7014563"/>
                </a:cubicBezTo>
                <a:cubicBezTo>
                  <a:pt x="48828" y="7017225"/>
                  <a:pt x="45767" y="7019355"/>
                  <a:pt x="42173" y="7020819"/>
                </a:cubicBezTo>
                <a:cubicBezTo>
                  <a:pt x="38579" y="7022283"/>
                  <a:pt x="34718" y="7023082"/>
                  <a:pt x="30458" y="7023082"/>
                </a:cubicBezTo>
                <a:cubicBezTo>
                  <a:pt x="21539" y="7023082"/>
                  <a:pt x="14220" y="7020154"/>
                  <a:pt x="8631" y="7014563"/>
                </a:cubicBezTo>
                <a:cubicBezTo>
                  <a:pt x="3040" y="7008838"/>
                  <a:pt x="245" y="7001916"/>
                  <a:pt x="245" y="6993396"/>
                </a:cubicBezTo>
                <a:cubicBezTo>
                  <a:pt x="245" y="6985143"/>
                  <a:pt x="3040" y="6978088"/>
                  <a:pt x="8631" y="6972364"/>
                </a:cubicBezTo>
                <a:cubicBezTo>
                  <a:pt x="14220" y="6966640"/>
                  <a:pt x="21405" y="6963844"/>
                  <a:pt x="30458" y="6963844"/>
                </a:cubicBezTo>
                <a:close/>
                <a:moveTo>
                  <a:pt x="10475977" y="6762839"/>
                </a:moveTo>
                <a:cubicBezTo>
                  <a:pt x="10470119" y="6762839"/>
                  <a:pt x="10467589" y="6764702"/>
                  <a:pt x="10465992" y="6766433"/>
                </a:cubicBezTo>
                <a:cubicBezTo>
                  <a:pt x="10463463" y="6769095"/>
                  <a:pt x="10462399" y="6771890"/>
                  <a:pt x="10462399" y="6775884"/>
                </a:cubicBezTo>
                <a:cubicBezTo>
                  <a:pt x="10462399" y="6780010"/>
                  <a:pt x="10463463" y="6782806"/>
                  <a:pt x="10465992" y="6785335"/>
                </a:cubicBezTo>
                <a:cubicBezTo>
                  <a:pt x="10467589" y="6786934"/>
                  <a:pt x="10470119" y="6788797"/>
                  <a:pt x="10475977" y="6788797"/>
                </a:cubicBezTo>
                <a:cubicBezTo>
                  <a:pt x="10478107" y="6788797"/>
                  <a:pt x="10479838" y="6788531"/>
                  <a:pt x="10481302" y="6787865"/>
                </a:cubicBezTo>
                <a:cubicBezTo>
                  <a:pt x="10482899" y="6787333"/>
                  <a:pt x="10484098" y="6786535"/>
                  <a:pt x="10485029" y="6785468"/>
                </a:cubicBezTo>
                <a:cubicBezTo>
                  <a:pt x="10486094" y="6784270"/>
                  <a:pt x="10487026" y="6782939"/>
                  <a:pt x="10487691" y="6781209"/>
                </a:cubicBezTo>
                <a:cubicBezTo>
                  <a:pt x="10488357" y="6779611"/>
                  <a:pt x="10488623" y="6777747"/>
                  <a:pt x="10488623" y="6775751"/>
                </a:cubicBezTo>
                <a:cubicBezTo>
                  <a:pt x="10488623" y="6773887"/>
                  <a:pt x="10488357" y="6772157"/>
                  <a:pt x="10487691" y="6770560"/>
                </a:cubicBezTo>
                <a:cubicBezTo>
                  <a:pt x="10487026" y="6768962"/>
                  <a:pt x="10486094" y="6767631"/>
                  <a:pt x="10485029" y="6766433"/>
                </a:cubicBezTo>
                <a:cubicBezTo>
                  <a:pt x="10483964" y="6765368"/>
                  <a:pt x="10482633" y="6764436"/>
                  <a:pt x="10481035" y="6763770"/>
                </a:cubicBezTo>
                <a:cubicBezTo>
                  <a:pt x="10479571" y="6763105"/>
                  <a:pt x="10477974" y="6762839"/>
                  <a:pt x="10475977" y="6762839"/>
                </a:cubicBezTo>
                <a:close/>
                <a:moveTo>
                  <a:pt x="10258466" y="6762839"/>
                </a:moveTo>
                <a:cubicBezTo>
                  <a:pt x="10252608" y="6762839"/>
                  <a:pt x="10250078" y="6764702"/>
                  <a:pt x="10248481" y="6766433"/>
                </a:cubicBezTo>
                <a:cubicBezTo>
                  <a:pt x="10245952" y="6769095"/>
                  <a:pt x="10244887" y="6771890"/>
                  <a:pt x="10244887" y="6775884"/>
                </a:cubicBezTo>
                <a:cubicBezTo>
                  <a:pt x="10244887" y="6780010"/>
                  <a:pt x="10245952" y="6782806"/>
                  <a:pt x="10248481" y="6785335"/>
                </a:cubicBezTo>
                <a:cubicBezTo>
                  <a:pt x="10250078" y="6786934"/>
                  <a:pt x="10252608" y="6788797"/>
                  <a:pt x="10258466" y="6788797"/>
                </a:cubicBezTo>
                <a:cubicBezTo>
                  <a:pt x="10260462" y="6788797"/>
                  <a:pt x="10262192" y="6788531"/>
                  <a:pt x="10263790" y="6787865"/>
                </a:cubicBezTo>
                <a:cubicBezTo>
                  <a:pt x="10265388" y="6787333"/>
                  <a:pt x="10266586" y="6786535"/>
                  <a:pt x="10267517" y="6785468"/>
                </a:cubicBezTo>
                <a:cubicBezTo>
                  <a:pt x="10268583" y="6784270"/>
                  <a:pt x="10269515" y="6782939"/>
                  <a:pt x="10270180" y="6781209"/>
                </a:cubicBezTo>
                <a:cubicBezTo>
                  <a:pt x="10270845" y="6779611"/>
                  <a:pt x="10271112" y="6777747"/>
                  <a:pt x="10271112" y="6775751"/>
                </a:cubicBezTo>
                <a:cubicBezTo>
                  <a:pt x="10271112" y="6773887"/>
                  <a:pt x="10270845" y="6772157"/>
                  <a:pt x="10270180" y="6770560"/>
                </a:cubicBezTo>
                <a:cubicBezTo>
                  <a:pt x="10269515" y="6768962"/>
                  <a:pt x="10268583" y="6767631"/>
                  <a:pt x="10267517" y="6766433"/>
                </a:cubicBezTo>
                <a:cubicBezTo>
                  <a:pt x="10266452" y="6765368"/>
                  <a:pt x="10265121" y="6764436"/>
                  <a:pt x="10263524" y="6763770"/>
                </a:cubicBezTo>
                <a:cubicBezTo>
                  <a:pt x="10262060" y="6763105"/>
                  <a:pt x="10260462" y="6762839"/>
                  <a:pt x="10258466" y="6762839"/>
                </a:cubicBezTo>
                <a:close/>
                <a:moveTo>
                  <a:pt x="10040820" y="6762839"/>
                </a:moveTo>
                <a:cubicBezTo>
                  <a:pt x="10034962" y="6762839"/>
                  <a:pt x="10032433" y="6764702"/>
                  <a:pt x="10030835" y="6766433"/>
                </a:cubicBezTo>
                <a:cubicBezTo>
                  <a:pt x="10028306" y="6769095"/>
                  <a:pt x="10027242" y="6771890"/>
                  <a:pt x="10027242" y="6775884"/>
                </a:cubicBezTo>
                <a:cubicBezTo>
                  <a:pt x="10027242" y="6780010"/>
                  <a:pt x="10028306" y="6782806"/>
                  <a:pt x="10030835" y="6785335"/>
                </a:cubicBezTo>
                <a:cubicBezTo>
                  <a:pt x="10032433" y="6786934"/>
                  <a:pt x="10034962" y="6788797"/>
                  <a:pt x="10040820" y="6788797"/>
                </a:cubicBezTo>
                <a:cubicBezTo>
                  <a:pt x="10042817" y="6788797"/>
                  <a:pt x="10044681" y="6788531"/>
                  <a:pt x="10046145" y="6787865"/>
                </a:cubicBezTo>
                <a:cubicBezTo>
                  <a:pt x="10047742" y="6787333"/>
                  <a:pt x="10048941" y="6786535"/>
                  <a:pt x="10049872" y="6785468"/>
                </a:cubicBezTo>
                <a:cubicBezTo>
                  <a:pt x="10050937" y="6784270"/>
                  <a:pt x="10051869" y="6782939"/>
                  <a:pt x="10052534" y="6781209"/>
                </a:cubicBezTo>
                <a:cubicBezTo>
                  <a:pt x="10053333" y="6779611"/>
                  <a:pt x="10053599" y="6777747"/>
                  <a:pt x="10053599" y="6775751"/>
                </a:cubicBezTo>
                <a:cubicBezTo>
                  <a:pt x="10053599" y="6773887"/>
                  <a:pt x="10053200" y="6772157"/>
                  <a:pt x="10052534" y="6770560"/>
                </a:cubicBezTo>
                <a:cubicBezTo>
                  <a:pt x="10051869" y="6768962"/>
                  <a:pt x="10050937" y="6767631"/>
                  <a:pt x="10049872" y="6766433"/>
                </a:cubicBezTo>
                <a:cubicBezTo>
                  <a:pt x="10048807" y="6765368"/>
                  <a:pt x="10047476" y="6764436"/>
                  <a:pt x="10045878" y="6763770"/>
                </a:cubicBezTo>
                <a:cubicBezTo>
                  <a:pt x="10044414" y="6763105"/>
                  <a:pt x="10042817" y="6762839"/>
                  <a:pt x="10040820" y="6762839"/>
                </a:cubicBezTo>
                <a:close/>
                <a:moveTo>
                  <a:pt x="9823176" y="6762839"/>
                </a:moveTo>
                <a:cubicBezTo>
                  <a:pt x="9817318" y="6762839"/>
                  <a:pt x="9814788" y="6764702"/>
                  <a:pt x="9813191" y="6766433"/>
                </a:cubicBezTo>
                <a:cubicBezTo>
                  <a:pt x="9810662" y="6769095"/>
                  <a:pt x="9809597" y="6771890"/>
                  <a:pt x="9809597" y="6775884"/>
                </a:cubicBezTo>
                <a:cubicBezTo>
                  <a:pt x="9809597" y="6780010"/>
                  <a:pt x="9810662" y="6782806"/>
                  <a:pt x="9813191" y="6785335"/>
                </a:cubicBezTo>
                <a:cubicBezTo>
                  <a:pt x="9814788" y="6786934"/>
                  <a:pt x="9817318" y="6788797"/>
                  <a:pt x="9823176" y="6788797"/>
                </a:cubicBezTo>
                <a:cubicBezTo>
                  <a:pt x="9825173" y="6788797"/>
                  <a:pt x="9827036" y="6788531"/>
                  <a:pt x="9828501" y="6787865"/>
                </a:cubicBezTo>
                <a:cubicBezTo>
                  <a:pt x="9830098" y="6787333"/>
                  <a:pt x="9831296" y="6786535"/>
                  <a:pt x="9832227" y="6785468"/>
                </a:cubicBezTo>
                <a:cubicBezTo>
                  <a:pt x="9833293" y="6784270"/>
                  <a:pt x="9834225" y="6782939"/>
                  <a:pt x="9834890" y="6781209"/>
                </a:cubicBezTo>
                <a:cubicBezTo>
                  <a:pt x="9835689" y="6779611"/>
                  <a:pt x="9835955" y="6777747"/>
                  <a:pt x="9835955" y="6775751"/>
                </a:cubicBezTo>
                <a:cubicBezTo>
                  <a:pt x="9835955" y="6773887"/>
                  <a:pt x="9835555" y="6772157"/>
                  <a:pt x="9834890" y="6770560"/>
                </a:cubicBezTo>
                <a:cubicBezTo>
                  <a:pt x="9834225" y="6768962"/>
                  <a:pt x="9833293" y="6767631"/>
                  <a:pt x="9832227" y="6766433"/>
                </a:cubicBezTo>
                <a:cubicBezTo>
                  <a:pt x="9831162" y="6765368"/>
                  <a:pt x="9829831" y="6764436"/>
                  <a:pt x="9828234" y="6763770"/>
                </a:cubicBezTo>
                <a:cubicBezTo>
                  <a:pt x="9826770" y="6763105"/>
                  <a:pt x="9825173" y="6762839"/>
                  <a:pt x="9823176" y="6762839"/>
                </a:cubicBezTo>
                <a:close/>
                <a:moveTo>
                  <a:pt x="9605531" y="6762839"/>
                </a:moveTo>
                <a:cubicBezTo>
                  <a:pt x="9599673" y="6762839"/>
                  <a:pt x="9597143" y="6764702"/>
                  <a:pt x="9595546" y="6766433"/>
                </a:cubicBezTo>
                <a:cubicBezTo>
                  <a:pt x="9593017" y="6769095"/>
                  <a:pt x="9591952" y="6771890"/>
                  <a:pt x="9591952" y="6775884"/>
                </a:cubicBezTo>
                <a:cubicBezTo>
                  <a:pt x="9591952" y="6780010"/>
                  <a:pt x="9593017" y="6782806"/>
                  <a:pt x="9595546" y="6785335"/>
                </a:cubicBezTo>
                <a:cubicBezTo>
                  <a:pt x="9597143" y="6786934"/>
                  <a:pt x="9599673" y="6788797"/>
                  <a:pt x="9605531" y="6788797"/>
                </a:cubicBezTo>
                <a:cubicBezTo>
                  <a:pt x="9607660" y="6788797"/>
                  <a:pt x="9609391" y="6788531"/>
                  <a:pt x="9610855" y="6787865"/>
                </a:cubicBezTo>
                <a:cubicBezTo>
                  <a:pt x="9612319" y="6787333"/>
                  <a:pt x="9613651" y="6786535"/>
                  <a:pt x="9614582" y="6785468"/>
                </a:cubicBezTo>
                <a:cubicBezTo>
                  <a:pt x="9615647" y="6784270"/>
                  <a:pt x="9616579" y="6782939"/>
                  <a:pt x="9617245" y="6781209"/>
                </a:cubicBezTo>
                <a:cubicBezTo>
                  <a:pt x="9618044" y="6779611"/>
                  <a:pt x="9618309" y="6777747"/>
                  <a:pt x="9618309" y="6775751"/>
                </a:cubicBezTo>
                <a:cubicBezTo>
                  <a:pt x="9618309" y="6773887"/>
                  <a:pt x="9617910" y="6772157"/>
                  <a:pt x="9617245" y="6770560"/>
                </a:cubicBezTo>
                <a:cubicBezTo>
                  <a:pt x="9616579" y="6768962"/>
                  <a:pt x="9615647" y="6767631"/>
                  <a:pt x="9614582" y="6766433"/>
                </a:cubicBezTo>
                <a:cubicBezTo>
                  <a:pt x="9613517" y="6765368"/>
                  <a:pt x="9612186" y="6764436"/>
                  <a:pt x="9610589" y="6763770"/>
                </a:cubicBezTo>
                <a:cubicBezTo>
                  <a:pt x="9609124" y="6763105"/>
                  <a:pt x="9607394" y="6762839"/>
                  <a:pt x="9605531" y="6762839"/>
                </a:cubicBezTo>
                <a:close/>
                <a:moveTo>
                  <a:pt x="9387885" y="6762839"/>
                </a:moveTo>
                <a:cubicBezTo>
                  <a:pt x="9382027" y="6762839"/>
                  <a:pt x="9379497" y="6764702"/>
                  <a:pt x="9377900" y="6766433"/>
                </a:cubicBezTo>
                <a:cubicBezTo>
                  <a:pt x="9375371" y="6769095"/>
                  <a:pt x="9374307" y="6771890"/>
                  <a:pt x="9374307" y="6775884"/>
                </a:cubicBezTo>
                <a:cubicBezTo>
                  <a:pt x="9374307" y="6780010"/>
                  <a:pt x="9375371" y="6782806"/>
                  <a:pt x="9377900" y="6785335"/>
                </a:cubicBezTo>
                <a:cubicBezTo>
                  <a:pt x="9379497" y="6786934"/>
                  <a:pt x="9382027" y="6788797"/>
                  <a:pt x="9387885" y="6788797"/>
                </a:cubicBezTo>
                <a:cubicBezTo>
                  <a:pt x="9390015" y="6788797"/>
                  <a:pt x="9391746" y="6788531"/>
                  <a:pt x="9393210" y="6787865"/>
                </a:cubicBezTo>
                <a:cubicBezTo>
                  <a:pt x="9394674" y="6787333"/>
                  <a:pt x="9396005" y="6786535"/>
                  <a:pt x="9396937" y="6785468"/>
                </a:cubicBezTo>
                <a:cubicBezTo>
                  <a:pt x="9398002" y="6784270"/>
                  <a:pt x="9398934" y="6782939"/>
                  <a:pt x="9399599" y="6781209"/>
                </a:cubicBezTo>
                <a:cubicBezTo>
                  <a:pt x="9400398" y="6779611"/>
                  <a:pt x="9400664" y="6777747"/>
                  <a:pt x="9400664" y="6775751"/>
                </a:cubicBezTo>
                <a:cubicBezTo>
                  <a:pt x="9400664" y="6773887"/>
                  <a:pt x="9400265" y="6772157"/>
                  <a:pt x="9399599" y="6770560"/>
                </a:cubicBezTo>
                <a:cubicBezTo>
                  <a:pt x="9398934" y="6768962"/>
                  <a:pt x="9398002" y="6767631"/>
                  <a:pt x="9396937" y="6766433"/>
                </a:cubicBezTo>
                <a:cubicBezTo>
                  <a:pt x="9395872" y="6765368"/>
                  <a:pt x="9394541" y="6764436"/>
                  <a:pt x="9392943" y="6763770"/>
                </a:cubicBezTo>
                <a:cubicBezTo>
                  <a:pt x="9391479" y="6763105"/>
                  <a:pt x="9389749" y="6762839"/>
                  <a:pt x="9387885" y="6762839"/>
                </a:cubicBezTo>
                <a:close/>
                <a:moveTo>
                  <a:pt x="9170374" y="6762839"/>
                </a:moveTo>
                <a:cubicBezTo>
                  <a:pt x="9164649" y="6762839"/>
                  <a:pt x="9161986" y="6764702"/>
                  <a:pt x="9160389" y="6766433"/>
                </a:cubicBezTo>
                <a:cubicBezTo>
                  <a:pt x="9157860" y="6769095"/>
                  <a:pt x="9156795" y="6771890"/>
                  <a:pt x="9156795" y="6775884"/>
                </a:cubicBezTo>
                <a:cubicBezTo>
                  <a:pt x="9156795" y="6780010"/>
                  <a:pt x="9157860" y="6782806"/>
                  <a:pt x="9160389" y="6785335"/>
                </a:cubicBezTo>
                <a:cubicBezTo>
                  <a:pt x="9161986" y="6786934"/>
                  <a:pt x="9164516" y="6788797"/>
                  <a:pt x="9170374" y="6788797"/>
                </a:cubicBezTo>
                <a:cubicBezTo>
                  <a:pt x="9172370" y="6788797"/>
                  <a:pt x="9174100" y="6788531"/>
                  <a:pt x="9175698" y="6787865"/>
                </a:cubicBezTo>
                <a:cubicBezTo>
                  <a:pt x="9177163" y="6787333"/>
                  <a:pt x="9178494" y="6786535"/>
                  <a:pt x="9179425" y="6785468"/>
                </a:cubicBezTo>
                <a:cubicBezTo>
                  <a:pt x="9180491" y="6784270"/>
                  <a:pt x="9181422" y="6782939"/>
                  <a:pt x="9182088" y="6781209"/>
                </a:cubicBezTo>
                <a:cubicBezTo>
                  <a:pt x="9182887" y="6779611"/>
                  <a:pt x="9183152" y="6777747"/>
                  <a:pt x="9183152" y="6775751"/>
                </a:cubicBezTo>
                <a:cubicBezTo>
                  <a:pt x="9183152" y="6773887"/>
                  <a:pt x="9182753" y="6772157"/>
                  <a:pt x="9182088" y="6770560"/>
                </a:cubicBezTo>
                <a:cubicBezTo>
                  <a:pt x="9181422" y="6768962"/>
                  <a:pt x="9180491" y="6767631"/>
                  <a:pt x="9179425" y="6766433"/>
                </a:cubicBezTo>
                <a:cubicBezTo>
                  <a:pt x="9178360" y="6765368"/>
                  <a:pt x="9177029" y="6764436"/>
                  <a:pt x="9175432" y="6763770"/>
                </a:cubicBezTo>
                <a:cubicBezTo>
                  <a:pt x="9173967" y="6763105"/>
                  <a:pt x="9172237" y="6762839"/>
                  <a:pt x="9170374" y="6762839"/>
                </a:cubicBezTo>
                <a:close/>
                <a:moveTo>
                  <a:pt x="8952728" y="6762839"/>
                </a:moveTo>
                <a:cubicBezTo>
                  <a:pt x="8947003" y="6762839"/>
                  <a:pt x="8944340" y="6764702"/>
                  <a:pt x="8942743" y="6766433"/>
                </a:cubicBezTo>
                <a:cubicBezTo>
                  <a:pt x="8940214" y="6769095"/>
                  <a:pt x="8939150" y="6771890"/>
                  <a:pt x="8939150" y="6775884"/>
                </a:cubicBezTo>
                <a:cubicBezTo>
                  <a:pt x="8939150" y="6780010"/>
                  <a:pt x="8940214" y="6782806"/>
                  <a:pt x="8942743" y="6785335"/>
                </a:cubicBezTo>
                <a:cubicBezTo>
                  <a:pt x="8944340" y="6786934"/>
                  <a:pt x="8946870" y="6788797"/>
                  <a:pt x="8952728" y="6788797"/>
                </a:cubicBezTo>
                <a:cubicBezTo>
                  <a:pt x="8954725" y="6788797"/>
                  <a:pt x="8956589" y="6788531"/>
                  <a:pt x="8958053" y="6787865"/>
                </a:cubicBezTo>
                <a:cubicBezTo>
                  <a:pt x="8959517" y="6787333"/>
                  <a:pt x="8960849" y="6786535"/>
                  <a:pt x="8961780" y="6785468"/>
                </a:cubicBezTo>
                <a:cubicBezTo>
                  <a:pt x="8962845" y="6784270"/>
                  <a:pt x="8963777" y="6782939"/>
                  <a:pt x="8964442" y="6781209"/>
                </a:cubicBezTo>
                <a:cubicBezTo>
                  <a:pt x="8965241" y="6779611"/>
                  <a:pt x="8965507" y="6777747"/>
                  <a:pt x="8965507" y="6775751"/>
                </a:cubicBezTo>
                <a:cubicBezTo>
                  <a:pt x="8965507" y="6773887"/>
                  <a:pt x="8965108" y="6772157"/>
                  <a:pt x="8964442" y="6770560"/>
                </a:cubicBezTo>
                <a:cubicBezTo>
                  <a:pt x="8963777" y="6768962"/>
                  <a:pt x="8962845" y="6767631"/>
                  <a:pt x="8961780" y="6766433"/>
                </a:cubicBezTo>
                <a:cubicBezTo>
                  <a:pt x="8960715" y="6765368"/>
                  <a:pt x="8959384" y="6764436"/>
                  <a:pt x="8957786" y="6763770"/>
                </a:cubicBezTo>
                <a:cubicBezTo>
                  <a:pt x="8956322" y="6763105"/>
                  <a:pt x="8954592" y="6762839"/>
                  <a:pt x="8952728" y="6762839"/>
                </a:cubicBezTo>
                <a:close/>
                <a:moveTo>
                  <a:pt x="8735083" y="6762839"/>
                </a:moveTo>
                <a:cubicBezTo>
                  <a:pt x="8729358" y="6762839"/>
                  <a:pt x="8726695" y="6764702"/>
                  <a:pt x="8725098" y="6766433"/>
                </a:cubicBezTo>
                <a:cubicBezTo>
                  <a:pt x="8722569" y="6769095"/>
                  <a:pt x="8721504" y="6771890"/>
                  <a:pt x="8721504" y="6775884"/>
                </a:cubicBezTo>
                <a:cubicBezTo>
                  <a:pt x="8721504" y="6780010"/>
                  <a:pt x="8722569" y="6782806"/>
                  <a:pt x="8725098" y="6785335"/>
                </a:cubicBezTo>
                <a:cubicBezTo>
                  <a:pt x="8726695" y="6786934"/>
                  <a:pt x="8729225" y="6788797"/>
                  <a:pt x="8735083" y="6788797"/>
                </a:cubicBezTo>
                <a:cubicBezTo>
                  <a:pt x="8737079" y="6788797"/>
                  <a:pt x="8738943" y="6788531"/>
                  <a:pt x="8740407" y="6787865"/>
                </a:cubicBezTo>
                <a:cubicBezTo>
                  <a:pt x="8741872" y="6787333"/>
                  <a:pt x="8743203" y="6786535"/>
                  <a:pt x="8744134" y="6785468"/>
                </a:cubicBezTo>
                <a:cubicBezTo>
                  <a:pt x="8745200" y="6784270"/>
                  <a:pt x="8746132" y="6782939"/>
                  <a:pt x="8746797" y="6781209"/>
                </a:cubicBezTo>
                <a:cubicBezTo>
                  <a:pt x="8747596" y="6779611"/>
                  <a:pt x="8747862" y="6777747"/>
                  <a:pt x="8747862" y="6775751"/>
                </a:cubicBezTo>
                <a:cubicBezTo>
                  <a:pt x="8747862" y="6773887"/>
                  <a:pt x="8747462" y="6772157"/>
                  <a:pt x="8746797" y="6770560"/>
                </a:cubicBezTo>
                <a:cubicBezTo>
                  <a:pt x="8746132" y="6768962"/>
                  <a:pt x="8745200" y="6767631"/>
                  <a:pt x="8744134" y="6766433"/>
                </a:cubicBezTo>
                <a:cubicBezTo>
                  <a:pt x="8743069" y="6765368"/>
                  <a:pt x="8741738" y="6764436"/>
                  <a:pt x="8740141" y="6763770"/>
                </a:cubicBezTo>
                <a:cubicBezTo>
                  <a:pt x="8738677" y="6763105"/>
                  <a:pt x="8736946" y="6762839"/>
                  <a:pt x="8735083" y="6762839"/>
                </a:cubicBezTo>
                <a:close/>
                <a:moveTo>
                  <a:pt x="8517438" y="6762839"/>
                </a:moveTo>
                <a:cubicBezTo>
                  <a:pt x="8511713" y="6762839"/>
                  <a:pt x="8509051" y="6764702"/>
                  <a:pt x="8507453" y="6766433"/>
                </a:cubicBezTo>
                <a:cubicBezTo>
                  <a:pt x="8504925" y="6769095"/>
                  <a:pt x="8503860" y="6771890"/>
                  <a:pt x="8503860" y="6775884"/>
                </a:cubicBezTo>
                <a:cubicBezTo>
                  <a:pt x="8503860" y="6780010"/>
                  <a:pt x="8504925" y="6782806"/>
                  <a:pt x="8507453" y="6785335"/>
                </a:cubicBezTo>
                <a:cubicBezTo>
                  <a:pt x="8509051" y="6786934"/>
                  <a:pt x="8511581" y="6788797"/>
                  <a:pt x="8517438" y="6788797"/>
                </a:cubicBezTo>
                <a:cubicBezTo>
                  <a:pt x="8519568" y="6788797"/>
                  <a:pt x="8521299" y="6788531"/>
                  <a:pt x="8522763" y="6787865"/>
                </a:cubicBezTo>
                <a:cubicBezTo>
                  <a:pt x="8524227" y="6787333"/>
                  <a:pt x="8525559" y="6786535"/>
                  <a:pt x="8526490" y="6785468"/>
                </a:cubicBezTo>
                <a:cubicBezTo>
                  <a:pt x="8527555" y="6784270"/>
                  <a:pt x="8528487" y="6782939"/>
                  <a:pt x="8529152" y="6781209"/>
                </a:cubicBezTo>
                <a:cubicBezTo>
                  <a:pt x="8529818" y="6779611"/>
                  <a:pt x="8530084" y="6777747"/>
                  <a:pt x="8530084" y="6775751"/>
                </a:cubicBezTo>
                <a:cubicBezTo>
                  <a:pt x="8530084" y="6773887"/>
                  <a:pt x="8529818" y="6772157"/>
                  <a:pt x="8529152" y="6770560"/>
                </a:cubicBezTo>
                <a:cubicBezTo>
                  <a:pt x="8528487" y="6768962"/>
                  <a:pt x="8527555" y="6767631"/>
                  <a:pt x="8526490" y="6766433"/>
                </a:cubicBezTo>
                <a:cubicBezTo>
                  <a:pt x="8525425" y="6765368"/>
                  <a:pt x="8524094" y="6764436"/>
                  <a:pt x="8522496" y="6763770"/>
                </a:cubicBezTo>
                <a:cubicBezTo>
                  <a:pt x="8521032" y="6763105"/>
                  <a:pt x="8519302" y="6762839"/>
                  <a:pt x="8517438" y="6762839"/>
                </a:cubicBezTo>
                <a:close/>
                <a:moveTo>
                  <a:pt x="8299793" y="6762839"/>
                </a:moveTo>
                <a:cubicBezTo>
                  <a:pt x="8294068" y="6762839"/>
                  <a:pt x="8291406" y="6764702"/>
                  <a:pt x="8289809" y="6766433"/>
                </a:cubicBezTo>
                <a:cubicBezTo>
                  <a:pt x="8287280" y="6769095"/>
                  <a:pt x="8286215" y="6771890"/>
                  <a:pt x="8286215" y="6775884"/>
                </a:cubicBezTo>
                <a:cubicBezTo>
                  <a:pt x="8286215" y="6780010"/>
                  <a:pt x="8287280" y="6782806"/>
                  <a:pt x="8289809" y="6785335"/>
                </a:cubicBezTo>
                <a:cubicBezTo>
                  <a:pt x="8291406" y="6786934"/>
                  <a:pt x="8293935" y="6788797"/>
                  <a:pt x="8299793" y="6788797"/>
                </a:cubicBezTo>
                <a:cubicBezTo>
                  <a:pt x="8301923" y="6788797"/>
                  <a:pt x="8303653" y="6788531"/>
                  <a:pt x="8305118" y="6787865"/>
                </a:cubicBezTo>
                <a:cubicBezTo>
                  <a:pt x="8306582" y="6787333"/>
                  <a:pt x="8307913" y="6786535"/>
                  <a:pt x="8308844" y="6785468"/>
                </a:cubicBezTo>
                <a:cubicBezTo>
                  <a:pt x="8309910" y="6784270"/>
                  <a:pt x="8310842" y="6782939"/>
                  <a:pt x="8311507" y="6781209"/>
                </a:cubicBezTo>
                <a:cubicBezTo>
                  <a:pt x="8312172" y="6779611"/>
                  <a:pt x="8312439" y="6777747"/>
                  <a:pt x="8312439" y="6775751"/>
                </a:cubicBezTo>
                <a:cubicBezTo>
                  <a:pt x="8312439" y="6773887"/>
                  <a:pt x="8312172" y="6772157"/>
                  <a:pt x="8311507" y="6770560"/>
                </a:cubicBezTo>
                <a:cubicBezTo>
                  <a:pt x="8310842" y="6768962"/>
                  <a:pt x="8309910" y="6767631"/>
                  <a:pt x="8308844" y="6766433"/>
                </a:cubicBezTo>
                <a:cubicBezTo>
                  <a:pt x="8307779" y="6765368"/>
                  <a:pt x="8306448" y="6764436"/>
                  <a:pt x="8304851" y="6763770"/>
                </a:cubicBezTo>
                <a:cubicBezTo>
                  <a:pt x="8303387" y="6763105"/>
                  <a:pt x="8301790" y="6762839"/>
                  <a:pt x="8299793" y="6762839"/>
                </a:cubicBezTo>
                <a:close/>
                <a:moveTo>
                  <a:pt x="8082281" y="6762839"/>
                </a:moveTo>
                <a:cubicBezTo>
                  <a:pt x="8076424" y="6762839"/>
                  <a:pt x="8073894" y="6764702"/>
                  <a:pt x="8072297" y="6766433"/>
                </a:cubicBezTo>
                <a:cubicBezTo>
                  <a:pt x="8069768" y="6769095"/>
                  <a:pt x="8068703" y="6771890"/>
                  <a:pt x="8068703" y="6775884"/>
                </a:cubicBezTo>
                <a:cubicBezTo>
                  <a:pt x="8068703" y="6780010"/>
                  <a:pt x="8069768" y="6782806"/>
                  <a:pt x="8072297" y="6785335"/>
                </a:cubicBezTo>
                <a:cubicBezTo>
                  <a:pt x="8073894" y="6786934"/>
                  <a:pt x="8076424" y="6788797"/>
                  <a:pt x="8082281" y="6788797"/>
                </a:cubicBezTo>
                <a:cubicBezTo>
                  <a:pt x="8084277" y="6788797"/>
                  <a:pt x="8086007" y="6788531"/>
                  <a:pt x="8087605" y="6787865"/>
                </a:cubicBezTo>
                <a:cubicBezTo>
                  <a:pt x="8089069" y="6787333"/>
                  <a:pt x="8090401" y="6786535"/>
                  <a:pt x="8091332" y="6785468"/>
                </a:cubicBezTo>
                <a:cubicBezTo>
                  <a:pt x="8092397" y="6784270"/>
                  <a:pt x="8093329" y="6782939"/>
                  <a:pt x="8093994" y="6781209"/>
                </a:cubicBezTo>
                <a:cubicBezTo>
                  <a:pt x="8094660" y="6779611"/>
                  <a:pt x="8094926" y="6777747"/>
                  <a:pt x="8094926" y="6775751"/>
                </a:cubicBezTo>
                <a:cubicBezTo>
                  <a:pt x="8094926" y="6773887"/>
                  <a:pt x="8094660" y="6772157"/>
                  <a:pt x="8093994" y="6770560"/>
                </a:cubicBezTo>
                <a:cubicBezTo>
                  <a:pt x="8093329" y="6768962"/>
                  <a:pt x="8092397" y="6767631"/>
                  <a:pt x="8091332" y="6766433"/>
                </a:cubicBezTo>
                <a:cubicBezTo>
                  <a:pt x="8090267" y="6765368"/>
                  <a:pt x="8088936" y="6764436"/>
                  <a:pt x="8087338" y="6763770"/>
                </a:cubicBezTo>
                <a:cubicBezTo>
                  <a:pt x="8085874" y="6763105"/>
                  <a:pt x="8084277" y="6762839"/>
                  <a:pt x="8082281" y="6762839"/>
                </a:cubicBezTo>
                <a:close/>
                <a:moveTo>
                  <a:pt x="7864636" y="6762839"/>
                </a:moveTo>
                <a:cubicBezTo>
                  <a:pt x="7858779" y="6762839"/>
                  <a:pt x="7856249" y="6764702"/>
                  <a:pt x="7854652" y="6766433"/>
                </a:cubicBezTo>
                <a:cubicBezTo>
                  <a:pt x="7852123" y="6769095"/>
                  <a:pt x="7851058" y="6771890"/>
                  <a:pt x="7851058" y="6775884"/>
                </a:cubicBezTo>
                <a:cubicBezTo>
                  <a:pt x="7851058" y="6780010"/>
                  <a:pt x="7852123" y="6782806"/>
                  <a:pt x="7854652" y="6785335"/>
                </a:cubicBezTo>
                <a:cubicBezTo>
                  <a:pt x="7856249" y="6786934"/>
                  <a:pt x="7858779" y="6788797"/>
                  <a:pt x="7864636" y="6788797"/>
                </a:cubicBezTo>
                <a:cubicBezTo>
                  <a:pt x="7866633" y="6788797"/>
                  <a:pt x="7868363" y="6788531"/>
                  <a:pt x="7869961" y="6787865"/>
                </a:cubicBezTo>
                <a:cubicBezTo>
                  <a:pt x="7871425" y="6787333"/>
                  <a:pt x="7872756" y="6786535"/>
                  <a:pt x="7873687" y="6785468"/>
                </a:cubicBezTo>
                <a:cubicBezTo>
                  <a:pt x="7874753" y="6784270"/>
                  <a:pt x="7875685" y="6782939"/>
                  <a:pt x="7876350" y="6781209"/>
                </a:cubicBezTo>
                <a:cubicBezTo>
                  <a:pt x="7877015" y="6779611"/>
                  <a:pt x="7877282" y="6777747"/>
                  <a:pt x="7877282" y="6775751"/>
                </a:cubicBezTo>
                <a:cubicBezTo>
                  <a:pt x="7877282" y="6773887"/>
                  <a:pt x="7877015" y="6772157"/>
                  <a:pt x="7876350" y="6770560"/>
                </a:cubicBezTo>
                <a:cubicBezTo>
                  <a:pt x="7875685" y="6768962"/>
                  <a:pt x="7874753" y="6767631"/>
                  <a:pt x="7873687" y="6766433"/>
                </a:cubicBezTo>
                <a:cubicBezTo>
                  <a:pt x="7872623" y="6765368"/>
                  <a:pt x="7871291" y="6764436"/>
                  <a:pt x="7869694" y="6763770"/>
                </a:cubicBezTo>
                <a:cubicBezTo>
                  <a:pt x="7868230" y="6763105"/>
                  <a:pt x="7866633" y="6762839"/>
                  <a:pt x="7864636" y="6762839"/>
                </a:cubicBezTo>
                <a:close/>
                <a:moveTo>
                  <a:pt x="7646991" y="6762839"/>
                </a:moveTo>
                <a:cubicBezTo>
                  <a:pt x="7641134" y="6762839"/>
                  <a:pt x="7638604" y="6764702"/>
                  <a:pt x="7637007" y="6766433"/>
                </a:cubicBezTo>
                <a:cubicBezTo>
                  <a:pt x="7634478" y="6769095"/>
                  <a:pt x="7633413" y="6771890"/>
                  <a:pt x="7633413" y="6775884"/>
                </a:cubicBezTo>
                <a:cubicBezTo>
                  <a:pt x="7633413" y="6780010"/>
                  <a:pt x="7634478" y="6782806"/>
                  <a:pt x="7637007" y="6785335"/>
                </a:cubicBezTo>
                <a:cubicBezTo>
                  <a:pt x="7638604" y="6786934"/>
                  <a:pt x="7641134" y="6788797"/>
                  <a:pt x="7646991" y="6788797"/>
                </a:cubicBezTo>
                <a:cubicBezTo>
                  <a:pt x="7648987" y="6788797"/>
                  <a:pt x="7650851" y="6788531"/>
                  <a:pt x="7652315" y="6787865"/>
                </a:cubicBezTo>
                <a:cubicBezTo>
                  <a:pt x="7653780" y="6787333"/>
                  <a:pt x="7655111" y="6786535"/>
                  <a:pt x="7656042" y="6785468"/>
                </a:cubicBezTo>
                <a:cubicBezTo>
                  <a:pt x="7657108" y="6784270"/>
                  <a:pt x="7658039" y="6782939"/>
                  <a:pt x="7658705" y="6781209"/>
                </a:cubicBezTo>
                <a:cubicBezTo>
                  <a:pt x="7659504" y="6779611"/>
                  <a:pt x="7659769" y="6777747"/>
                  <a:pt x="7659769" y="6775751"/>
                </a:cubicBezTo>
                <a:cubicBezTo>
                  <a:pt x="7659769" y="6773887"/>
                  <a:pt x="7659370" y="6772157"/>
                  <a:pt x="7658705" y="6770560"/>
                </a:cubicBezTo>
                <a:cubicBezTo>
                  <a:pt x="7658039" y="6768962"/>
                  <a:pt x="7657108" y="6767631"/>
                  <a:pt x="7656042" y="6766433"/>
                </a:cubicBezTo>
                <a:cubicBezTo>
                  <a:pt x="7654977" y="6765368"/>
                  <a:pt x="7653646" y="6764436"/>
                  <a:pt x="7652049" y="6763770"/>
                </a:cubicBezTo>
                <a:cubicBezTo>
                  <a:pt x="7650584" y="6763105"/>
                  <a:pt x="7648987" y="6762839"/>
                  <a:pt x="7646991" y="6762839"/>
                </a:cubicBezTo>
                <a:close/>
                <a:moveTo>
                  <a:pt x="7429345" y="6762839"/>
                </a:moveTo>
                <a:cubicBezTo>
                  <a:pt x="7423488" y="6762839"/>
                  <a:pt x="7420958" y="6764702"/>
                  <a:pt x="7419361" y="6766433"/>
                </a:cubicBezTo>
                <a:cubicBezTo>
                  <a:pt x="7416832" y="6769095"/>
                  <a:pt x="7415768" y="6771890"/>
                  <a:pt x="7415768" y="6775884"/>
                </a:cubicBezTo>
                <a:cubicBezTo>
                  <a:pt x="7415768" y="6780010"/>
                  <a:pt x="7416832" y="6782806"/>
                  <a:pt x="7419361" y="6785335"/>
                </a:cubicBezTo>
                <a:cubicBezTo>
                  <a:pt x="7420958" y="6786934"/>
                  <a:pt x="7423488" y="6788797"/>
                  <a:pt x="7429345" y="6788797"/>
                </a:cubicBezTo>
                <a:cubicBezTo>
                  <a:pt x="7431342" y="6788797"/>
                  <a:pt x="7433206" y="6788531"/>
                  <a:pt x="7434670" y="6787865"/>
                </a:cubicBezTo>
                <a:cubicBezTo>
                  <a:pt x="7436134" y="6787333"/>
                  <a:pt x="7437466" y="6786535"/>
                  <a:pt x="7438397" y="6785468"/>
                </a:cubicBezTo>
                <a:cubicBezTo>
                  <a:pt x="7439462" y="6784270"/>
                  <a:pt x="7440394" y="6782939"/>
                  <a:pt x="7441059" y="6781209"/>
                </a:cubicBezTo>
                <a:cubicBezTo>
                  <a:pt x="7441858" y="6779611"/>
                  <a:pt x="7442124" y="6777747"/>
                  <a:pt x="7442124" y="6775751"/>
                </a:cubicBezTo>
                <a:cubicBezTo>
                  <a:pt x="7442124" y="6773887"/>
                  <a:pt x="7441725" y="6772157"/>
                  <a:pt x="7441059" y="6770560"/>
                </a:cubicBezTo>
                <a:cubicBezTo>
                  <a:pt x="7440394" y="6768962"/>
                  <a:pt x="7439462" y="6767631"/>
                  <a:pt x="7438397" y="6766433"/>
                </a:cubicBezTo>
                <a:cubicBezTo>
                  <a:pt x="7437332" y="6765368"/>
                  <a:pt x="7436001" y="6764436"/>
                  <a:pt x="7434403" y="6763770"/>
                </a:cubicBezTo>
                <a:cubicBezTo>
                  <a:pt x="7432939" y="6763105"/>
                  <a:pt x="7431342" y="6762839"/>
                  <a:pt x="7429345" y="6762839"/>
                </a:cubicBezTo>
                <a:close/>
                <a:moveTo>
                  <a:pt x="7211701" y="6762839"/>
                </a:moveTo>
                <a:cubicBezTo>
                  <a:pt x="7205844" y="6762839"/>
                  <a:pt x="7203314" y="6764702"/>
                  <a:pt x="7201717" y="6766433"/>
                </a:cubicBezTo>
                <a:cubicBezTo>
                  <a:pt x="7199188" y="6769095"/>
                  <a:pt x="7198123" y="6771890"/>
                  <a:pt x="7198123" y="6775884"/>
                </a:cubicBezTo>
                <a:cubicBezTo>
                  <a:pt x="7198123" y="6780010"/>
                  <a:pt x="7199188" y="6782806"/>
                  <a:pt x="7201717" y="6785335"/>
                </a:cubicBezTo>
                <a:cubicBezTo>
                  <a:pt x="7203314" y="6786934"/>
                  <a:pt x="7205844" y="6788797"/>
                  <a:pt x="7211701" y="6788797"/>
                </a:cubicBezTo>
                <a:cubicBezTo>
                  <a:pt x="7213830" y="6788797"/>
                  <a:pt x="7215561" y="6788531"/>
                  <a:pt x="7217026" y="6787865"/>
                </a:cubicBezTo>
                <a:cubicBezTo>
                  <a:pt x="7218490" y="6787333"/>
                  <a:pt x="7219821" y="6786535"/>
                  <a:pt x="7220752" y="6785468"/>
                </a:cubicBezTo>
                <a:cubicBezTo>
                  <a:pt x="7221818" y="6784270"/>
                  <a:pt x="7222750" y="6782939"/>
                  <a:pt x="7223415" y="6781209"/>
                </a:cubicBezTo>
                <a:cubicBezTo>
                  <a:pt x="7224214" y="6779611"/>
                  <a:pt x="7224480" y="6777747"/>
                  <a:pt x="7224480" y="6775751"/>
                </a:cubicBezTo>
                <a:cubicBezTo>
                  <a:pt x="7224480" y="6773887"/>
                  <a:pt x="7224080" y="6772157"/>
                  <a:pt x="7223415" y="6770560"/>
                </a:cubicBezTo>
                <a:cubicBezTo>
                  <a:pt x="7222750" y="6768962"/>
                  <a:pt x="7221818" y="6767631"/>
                  <a:pt x="7220752" y="6766433"/>
                </a:cubicBezTo>
                <a:cubicBezTo>
                  <a:pt x="7219687" y="6765368"/>
                  <a:pt x="7218356" y="6764436"/>
                  <a:pt x="7216759" y="6763770"/>
                </a:cubicBezTo>
                <a:cubicBezTo>
                  <a:pt x="7215295" y="6763105"/>
                  <a:pt x="7213698" y="6762839"/>
                  <a:pt x="7211701" y="6762839"/>
                </a:cubicBezTo>
                <a:close/>
                <a:moveTo>
                  <a:pt x="6994056" y="6762839"/>
                </a:moveTo>
                <a:cubicBezTo>
                  <a:pt x="6988199" y="6762839"/>
                  <a:pt x="6985669" y="6764702"/>
                  <a:pt x="6984072" y="6766433"/>
                </a:cubicBezTo>
                <a:cubicBezTo>
                  <a:pt x="6981543" y="6769095"/>
                  <a:pt x="6980478" y="6771890"/>
                  <a:pt x="6980478" y="6775884"/>
                </a:cubicBezTo>
                <a:cubicBezTo>
                  <a:pt x="6980478" y="6780010"/>
                  <a:pt x="6981543" y="6782806"/>
                  <a:pt x="6984072" y="6785335"/>
                </a:cubicBezTo>
                <a:cubicBezTo>
                  <a:pt x="6985669" y="6786934"/>
                  <a:pt x="6988199" y="6788797"/>
                  <a:pt x="6994056" y="6788797"/>
                </a:cubicBezTo>
                <a:cubicBezTo>
                  <a:pt x="6996185" y="6788797"/>
                  <a:pt x="6997916" y="6788531"/>
                  <a:pt x="6999380" y="6787865"/>
                </a:cubicBezTo>
                <a:cubicBezTo>
                  <a:pt x="7000844" y="6787333"/>
                  <a:pt x="7002176" y="6786535"/>
                  <a:pt x="7003107" y="6785468"/>
                </a:cubicBezTo>
                <a:cubicBezTo>
                  <a:pt x="7004172" y="6784270"/>
                  <a:pt x="7005104" y="6782939"/>
                  <a:pt x="7005769" y="6781209"/>
                </a:cubicBezTo>
                <a:cubicBezTo>
                  <a:pt x="7006568" y="6779611"/>
                  <a:pt x="7006834" y="6777747"/>
                  <a:pt x="7006834" y="6775751"/>
                </a:cubicBezTo>
                <a:cubicBezTo>
                  <a:pt x="7006834" y="6773887"/>
                  <a:pt x="7006435" y="6772157"/>
                  <a:pt x="7005769" y="6770560"/>
                </a:cubicBezTo>
                <a:cubicBezTo>
                  <a:pt x="7005104" y="6768962"/>
                  <a:pt x="7004172" y="6767631"/>
                  <a:pt x="7003107" y="6766433"/>
                </a:cubicBezTo>
                <a:cubicBezTo>
                  <a:pt x="7002042" y="6765368"/>
                  <a:pt x="7000711" y="6764436"/>
                  <a:pt x="6999113" y="6763770"/>
                </a:cubicBezTo>
                <a:cubicBezTo>
                  <a:pt x="6997649" y="6763105"/>
                  <a:pt x="6996052" y="6762839"/>
                  <a:pt x="6994056" y="6762839"/>
                </a:cubicBezTo>
                <a:close/>
                <a:moveTo>
                  <a:pt x="6776544" y="6762839"/>
                </a:moveTo>
                <a:cubicBezTo>
                  <a:pt x="6770687" y="6762839"/>
                  <a:pt x="6768157" y="6764702"/>
                  <a:pt x="6766560" y="6766433"/>
                </a:cubicBezTo>
                <a:cubicBezTo>
                  <a:pt x="6764031" y="6769095"/>
                  <a:pt x="6762966" y="6771890"/>
                  <a:pt x="6762966" y="6775884"/>
                </a:cubicBezTo>
                <a:cubicBezTo>
                  <a:pt x="6762966" y="6780010"/>
                  <a:pt x="6764031" y="6782806"/>
                  <a:pt x="6766560" y="6785335"/>
                </a:cubicBezTo>
                <a:cubicBezTo>
                  <a:pt x="6768157" y="6786934"/>
                  <a:pt x="6770687" y="6788797"/>
                  <a:pt x="6776544" y="6788797"/>
                </a:cubicBezTo>
                <a:cubicBezTo>
                  <a:pt x="6778541" y="6788797"/>
                  <a:pt x="6780270" y="6788531"/>
                  <a:pt x="6781869" y="6787865"/>
                </a:cubicBezTo>
                <a:cubicBezTo>
                  <a:pt x="6783333" y="6787333"/>
                  <a:pt x="6784664" y="6786535"/>
                  <a:pt x="6785595" y="6785468"/>
                </a:cubicBezTo>
                <a:cubicBezTo>
                  <a:pt x="6786661" y="6784270"/>
                  <a:pt x="6787593" y="6782939"/>
                  <a:pt x="6788258" y="6781209"/>
                </a:cubicBezTo>
                <a:cubicBezTo>
                  <a:pt x="6789057" y="6779611"/>
                  <a:pt x="6789323" y="6777747"/>
                  <a:pt x="6789323" y="6775751"/>
                </a:cubicBezTo>
                <a:cubicBezTo>
                  <a:pt x="6789323" y="6773887"/>
                  <a:pt x="6788923" y="6772157"/>
                  <a:pt x="6788258" y="6770560"/>
                </a:cubicBezTo>
                <a:cubicBezTo>
                  <a:pt x="6787593" y="6768962"/>
                  <a:pt x="6786661" y="6767631"/>
                  <a:pt x="6785595" y="6766433"/>
                </a:cubicBezTo>
                <a:cubicBezTo>
                  <a:pt x="6784530" y="6765368"/>
                  <a:pt x="6783199" y="6764436"/>
                  <a:pt x="6781602" y="6763770"/>
                </a:cubicBezTo>
                <a:cubicBezTo>
                  <a:pt x="6780138" y="6763105"/>
                  <a:pt x="6778541" y="6762839"/>
                  <a:pt x="6776544" y="6762839"/>
                </a:cubicBezTo>
                <a:close/>
                <a:moveTo>
                  <a:pt x="6558899" y="6762839"/>
                </a:moveTo>
                <a:cubicBezTo>
                  <a:pt x="6553042" y="6762839"/>
                  <a:pt x="6550512" y="6764702"/>
                  <a:pt x="6548915" y="6766433"/>
                </a:cubicBezTo>
                <a:cubicBezTo>
                  <a:pt x="6546386" y="6769095"/>
                  <a:pt x="6545321" y="6771890"/>
                  <a:pt x="6545321" y="6775884"/>
                </a:cubicBezTo>
                <a:cubicBezTo>
                  <a:pt x="6545321" y="6780010"/>
                  <a:pt x="6546386" y="6782806"/>
                  <a:pt x="6548915" y="6785335"/>
                </a:cubicBezTo>
                <a:cubicBezTo>
                  <a:pt x="6550512" y="6786934"/>
                  <a:pt x="6553042" y="6788797"/>
                  <a:pt x="6558899" y="6788797"/>
                </a:cubicBezTo>
                <a:cubicBezTo>
                  <a:pt x="6560895" y="6788797"/>
                  <a:pt x="6562759" y="6788531"/>
                  <a:pt x="6564223" y="6787865"/>
                </a:cubicBezTo>
                <a:cubicBezTo>
                  <a:pt x="6565687" y="6787333"/>
                  <a:pt x="6567019" y="6786535"/>
                  <a:pt x="6567950" y="6785468"/>
                </a:cubicBezTo>
                <a:cubicBezTo>
                  <a:pt x="6569015" y="6784270"/>
                  <a:pt x="6569947" y="6782939"/>
                  <a:pt x="6570612" y="6781209"/>
                </a:cubicBezTo>
                <a:cubicBezTo>
                  <a:pt x="6571412" y="6779611"/>
                  <a:pt x="6571677" y="6777747"/>
                  <a:pt x="6571677" y="6775751"/>
                </a:cubicBezTo>
                <a:cubicBezTo>
                  <a:pt x="6571677" y="6773887"/>
                  <a:pt x="6571278" y="6772157"/>
                  <a:pt x="6570612" y="6770560"/>
                </a:cubicBezTo>
                <a:cubicBezTo>
                  <a:pt x="6569947" y="6768962"/>
                  <a:pt x="6569015" y="6767631"/>
                  <a:pt x="6567950" y="6766433"/>
                </a:cubicBezTo>
                <a:cubicBezTo>
                  <a:pt x="6566885" y="6765368"/>
                  <a:pt x="6565554" y="6764436"/>
                  <a:pt x="6563956" y="6763770"/>
                </a:cubicBezTo>
                <a:cubicBezTo>
                  <a:pt x="6562492" y="6763105"/>
                  <a:pt x="6560895" y="6762839"/>
                  <a:pt x="6558899" y="6762839"/>
                </a:cubicBezTo>
                <a:close/>
                <a:moveTo>
                  <a:pt x="6341253" y="6762839"/>
                </a:moveTo>
                <a:cubicBezTo>
                  <a:pt x="6335396" y="6762839"/>
                  <a:pt x="6332867" y="6764702"/>
                  <a:pt x="6331270" y="6766433"/>
                </a:cubicBezTo>
                <a:cubicBezTo>
                  <a:pt x="6328740" y="6769095"/>
                  <a:pt x="6327675" y="6771890"/>
                  <a:pt x="6327675" y="6775884"/>
                </a:cubicBezTo>
                <a:cubicBezTo>
                  <a:pt x="6327675" y="6780010"/>
                  <a:pt x="6328740" y="6782806"/>
                  <a:pt x="6331270" y="6785335"/>
                </a:cubicBezTo>
                <a:cubicBezTo>
                  <a:pt x="6332867" y="6786934"/>
                  <a:pt x="6335396" y="6788797"/>
                  <a:pt x="6341253" y="6788797"/>
                </a:cubicBezTo>
                <a:cubicBezTo>
                  <a:pt x="6343250" y="6788797"/>
                  <a:pt x="6345114" y="6788531"/>
                  <a:pt x="6346578" y="6787865"/>
                </a:cubicBezTo>
                <a:cubicBezTo>
                  <a:pt x="6348042" y="6787333"/>
                  <a:pt x="6349373" y="6786535"/>
                  <a:pt x="6350305" y="6785468"/>
                </a:cubicBezTo>
                <a:cubicBezTo>
                  <a:pt x="6351370" y="6784270"/>
                  <a:pt x="6352302" y="6782939"/>
                  <a:pt x="6352968" y="6781209"/>
                </a:cubicBezTo>
                <a:cubicBezTo>
                  <a:pt x="6353766" y="6779611"/>
                  <a:pt x="6354033" y="6777747"/>
                  <a:pt x="6354033" y="6775751"/>
                </a:cubicBezTo>
                <a:cubicBezTo>
                  <a:pt x="6354033" y="6773887"/>
                  <a:pt x="6353633" y="6772157"/>
                  <a:pt x="6352968" y="6770560"/>
                </a:cubicBezTo>
                <a:cubicBezTo>
                  <a:pt x="6352302" y="6768962"/>
                  <a:pt x="6351370" y="6767631"/>
                  <a:pt x="6350305" y="6766433"/>
                </a:cubicBezTo>
                <a:cubicBezTo>
                  <a:pt x="6349241" y="6765368"/>
                  <a:pt x="6347909" y="6764436"/>
                  <a:pt x="6346312" y="6763770"/>
                </a:cubicBezTo>
                <a:cubicBezTo>
                  <a:pt x="6344848" y="6763105"/>
                  <a:pt x="6343250" y="6762839"/>
                  <a:pt x="6341253" y="6762839"/>
                </a:cubicBezTo>
                <a:close/>
                <a:moveTo>
                  <a:pt x="6123608" y="6762839"/>
                </a:moveTo>
                <a:cubicBezTo>
                  <a:pt x="6117751" y="6762839"/>
                  <a:pt x="6115221" y="6764702"/>
                  <a:pt x="6113624" y="6766433"/>
                </a:cubicBezTo>
                <a:cubicBezTo>
                  <a:pt x="6111095" y="6769095"/>
                  <a:pt x="6110030" y="6771890"/>
                  <a:pt x="6110030" y="6775884"/>
                </a:cubicBezTo>
                <a:cubicBezTo>
                  <a:pt x="6110030" y="6780010"/>
                  <a:pt x="6111095" y="6782806"/>
                  <a:pt x="6113624" y="6785335"/>
                </a:cubicBezTo>
                <a:cubicBezTo>
                  <a:pt x="6115221" y="6786934"/>
                  <a:pt x="6117751" y="6788797"/>
                  <a:pt x="6123608" y="6788797"/>
                </a:cubicBezTo>
                <a:cubicBezTo>
                  <a:pt x="6125737" y="6788797"/>
                  <a:pt x="6127468" y="6788531"/>
                  <a:pt x="6128932" y="6787865"/>
                </a:cubicBezTo>
                <a:cubicBezTo>
                  <a:pt x="6130530" y="6787333"/>
                  <a:pt x="6131728" y="6786535"/>
                  <a:pt x="6132659" y="6785468"/>
                </a:cubicBezTo>
                <a:cubicBezTo>
                  <a:pt x="6133724" y="6784270"/>
                  <a:pt x="6134656" y="6782939"/>
                  <a:pt x="6135322" y="6781209"/>
                </a:cubicBezTo>
                <a:cubicBezTo>
                  <a:pt x="6135987" y="6779611"/>
                  <a:pt x="6136387" y="6777747"/>
                  <a:pt x="6136387" y="6775751"/>
                </a:cubicBezTo>
                <a:cubicBezTo>
                  <a:pt x="6136387" y="6773887"/>
                  <a:pt x="6135987" y="6772157"/>
                  <a:pt x="6135322" y="6770560"/>
                </a:cubicBezTo>
                <a:cubicBezTo>
                  <a:pt x="6134656" y="6768962"/>
                  <a:pt x="6133724" y="6767631"/>
                  <a:pt x="6132659" y="6766433"/>
                </a:cubicBezTo>
                <a:cubicBezTo>
                  <a:pt x="6131594" y="6765368"/>
                  <a:pt x="6130263" y="6764436"/>
                  <a:pt x="6128666" y="6763770"/>
                </a:cubicBezTo>
                <a:cubicBezTo>
                  <a:pt x="6127202" y="6763105"/>
                  <a:pt x="6125604" y="6762839"/>
                  <a:pt x="6123608" y="6762839"/>
                </a:cubicBezTo>
                <a:close/>
                <a:moveTo>
                  <a:pt x="5905963" y="6762839"/>
                </a:moveTo>
                <a:cubicBezTo>
                  <a:pt x="5900106" y="6762839"/>
                  <a:pt x="5897576" y="6764702"/>
                  <a:pt x="5895979" y="6766433"/>
                </a:cubicBezTo>
                <a:cubicBezTo>
                  <a:pt x="5893450" y="6769095"/>
                  <a:pt x="5892385" y="6771890"/>
                  <a:pt x="5892385" y="6775884"/>
                </a:cubicBezTo>
                <a:cubicBezTo>
                  <a:pt x="5892385" y="6780010"/>
                  <a:pt x="5893450" y="6782806"/>
                  <a:pt x="5895979" y="6785335"/>
                </a:cubicBezTo>
                <a:cubicBezTo>
                  <a:pt x="5897576" y="6786934"/>
                  <a:pt x="5900106" y="6788797"/>
                  <a:pt x="5905963" y="6788797"/>
                </a:cubicBezTo>
                <a:cubicBezTo>
                  <a:pt x="5908093" y="6788797"/>
                  <a:pt x="5909823" y="6788531"/>
                  <a:pt x="5911287" y="6787865"/>
                </a:cubicBezTo>
                <a:cubicBezTo>
                  <a:pt x="5912751" y="6787333"/>
                  <a:pt x="5914083" y="6786535"/>
                  <a:pt x="5915014" y="6785468"/>
                </a:cubicBezTo>
                <a:cubicBezTo>
                  <a:pt x="5916079" y="6784270"/>
                  <a:pt x="5917011" y="6782939"/>
                  <a:pt x="5917677" y="6781209"/>
                </a:cubicBezTo>
                <a:cubicBezTo>
                  <a:pt x="5918342" y="6779611"/>
                  <a:pt x="5918742" y="6777747"/>
                  <a:pt x="5918742" y="6775751"/>
                </a:cubicBezTo>
                <a:cubicBezTo>
                  <a:pt x="5918742" y="6773887"/>
                  <a:pt x="5918342" y="6772157"/>
                  <a:pt x="5917677" y="6770560"/>
                </a:cubicBezTo>
                <a:cubicBezTo>
                  <a:pt x="5917011" y="6768962"/>
                  <a:pt x="5916079" y="6767631"/>
                  <a:pt x="5915014" y="6766433"/>
                </a:cubicBezTo>
                <a:cubicBezTo>
                  <a:pt x="5913950" y="6765368"/>
                  <a:pt x="5912618" y="6764436"/>
                  <a:pt x="5911021" y="6763770"/>
                </a:cubicBezTo>
                <a:cubicBezTo>
                  <a:pt x="5909557" y="6763105"/>
                  <a:pt x="5907826" y="6762839"/>
                  <a:pt x="5905963" y="6762839"/>
                </a:cubicBezTo>
                <a:close/>
                <a:moveTo>
                  <a:pt x="5688451" y="6762839"/>
                </a:moveTo>
                <a:cubicBezTo>
                  <a:pt x="5682594" y="6762839"/>
                  <a:pt x="5680064" y="6764702"/>
                  <a:pt x="5678467" y="6766433"/>
                </a:cubicBezTo>
                <a:cubicBezTo>
                  <a:pt x="5675938" y="6769095"/>
                  <a:pt x="5674873" y="6771890"/>
                  <a:pt x="5674873" y="6775884"/>
                </a:cubicBezTo>
                <a:cubicBezTo>
                  <a:pt x="5674873" y="6780010"/>
                  <a:pt x="5675938" y="6782806"/>
                  <a:pt x="5678467" y="6785335"/>
                </a:cubicBezTo>
                <a:cubicBezTo>
                  <a:pt x="5680064" y="6786934"/>
                  <a:pt x="5682594" y="6788797"/>
                  <a:pt x="5688451" y="6788797"/>
                </a:cubicBezTo>
                <a:cubicBezTo>
                  <a:pt x="5690447" y="6788797"/>
                  <a:pt x="5692178" y="6788531"/>
                  <a:pt x="5693775" y="6787865"/>
                </a:cubicBezTo>
                <a:cubicBezTo>
                  <a:pt x="5695239" y="6787333"/>
                  <a:pt x="5696571" y="6786535"/>
                  <a:pt x="5697502" y="6785468"/>
                </a:cubicBezTo>
                <a:cubicBezTo>
                  <a:pt x="5698567" y="6784270"/>
                  <a:pt x="5699499" y="6782939"/>
                  <a:pt x="5700165" y="6781209"/>
                </a:cubicBezTo>
                <a:cubicBezTo>
                  <a:pt x="5700830" y="6779611"/>
                  <a:pt x="5701230" y="6777747"/>
                  <a:pt x="5701230" y="6775751"/>
                </a:cubicBezTo>
                <a:cubicBezTo>
                  <a:pt x="5701230" y="6773887"/>
                  <a:pt x="5700830" y="6772157"/>
                  <a:pt x="5700165" y="6770560"/>
                </a:cubicBezTo>
                <a:cubicBezTo>
                  <a:pt x="5699499" y="6768962"/>
                  <a:pt x="5698567" y="6767631"/>
                  <a:pt x="5697502" y="6766433"/>
                </a:cubicBezTo>
                <a:cubicBezTo>
                  <a:pt x="5696437" y="6765368"/>
                  <a:pt x="5695106" y="6764436"/>
                  <a:pt x="5693509" y="6763770"/>
                </a:cubicBezTo>
                <a:cubicBezTo>
                  <a:pt x="5692045" y="6763105"/>
                  <a:pt x="5690314" y="6762839"/>
                  <a:pt x="5688451" y="6762839"/>
                </a:cubicBezTo>
                <a:close/>
                <a:moveTo>
                  <a:pt x="5470806" y="6762839"/>
                </a:moveTo>
                <a:cubicBezTo>
                  <a:pt x="5464949" y="6762839"/>
                  <a:pt x="5462419" y="6764702"/>
                  <a:pt x="5460822" y="6766433"/>
                </a:cubicBezTo>
                <a:cubicBezTo>
                  <a:pt x="5458293" y="6769095"/>
                  <a:pt x="5457228" y="6771890"/>
                  <a:pt x="5457228" y="6775884"/>
                </a:cubicBezTo>
                <a:cubicBezTo>
                  <a:pt x="5457228" y="6780010"/>
                  <a:pt x="5458293" y="6782806"/>
                  <a:pt x="5460822" y="6785335"/>
                </a:cubicBezTo>
                <a:cubicBezTo>
                  <a:pt x="5462419" y="6786934"/>
                  <a:pt x="5464949" y="6788797"/>
                  <a:pt x="5470806" y="6788797"/>
                </a:cubicBezTo>
                <a:cubicBezTo>
                  <a:pt x="5472802" y="6788797"/>
                  <a:pt x="5474666" y="6788531"/>
                  <a:pt x="5476130" y="6787865"/>
                </a:cubicBezTo>
                <a:cubicBezTo>
                  <a:pt x="5477594" y="6787333"/>
                  <a:pt x="5478926" y="6786535"/>
                  <a:pt x="5479857" y="6785468"/>
                </a:cubicBezTo>
                <a:cubicBezTo>
                  <a:pt x="5480922" y="6784270"/>
                  <a:pt x="5481854" y="6782939"/>
                  <a:pt x="5482520" y="6781209"/>
                </a:cubicBezTo>
                <a:cubicBezTo>
                  <a:pt x="5483319" y="6779611"/>
                  <a:pt x="5483585" y="6777747"/>
                  <a:pt x="5483585" y="6775751"/>
                </a:cubicBezTo>
                <a:cubicBezTo>
                  <a:pt x="5483585" y="6773887"/>
                  <a:pt x="5483185" y="6772157"/>
                  <a:pt x="5482520" y="6770560"/>
                </a:cubicBezTo>
                <a:cubicBezTo>
                  <a:pt x="5481854" y="6768962"/>
                  <a:pt x="5480922" y="6767631"/>
                  <a:pt x="5479857" y="6766433"/>
                </a:cubicBezTo>
                <a:cubicBezTo>
                  <a:pt x="5478793" y="6765368"/>
                  <a:pt x="5477461" y="6764436"/>
                  <a:pt x="5475864" y="6763770"/>
                </a:cubicBezTo>
                <a:cubicBezTo>
                  <a:pt x="5474400" y="6763105"/>
                  <a:pt x="5472669" y="6762839"/>
                  <a:pt x="5470806" y="6762839"/>
                </a:cubicBezTo>
                <a:close/>
                <a:moveTo>
                  <a:pt x="5253160" y="6762839"/>
                </a:moveTo>
                <a:cubicBezTo>
                  <a:pt x="5247303" y="6762839"/>
                  <a:pt x="5244774" y="6764702"/>
                  <a:pt x="5243177" y="6766433"/>
                </a:cubicBezTo>
                <a:cubicBezTo>
                  <a:pt x="5240647" y="6769095"/>
                  <a:pt x="5239583" y="6771890"/>
                  <a:pt x="5239583" y="6775884"/>
                </a:cubicBezTo>
                <a:cubicBezTo>
                  <a:pt x="5239583" y="6780010"/>
                  <a:pt x="5240647" y="6782806"/>
                  <a:pt x="5243177" y="6785335"/>
                </a:cubicBezTo>
                <a:cubicBezTo>
                  <a:pt x="5244774" y="6786934"/>
                  <a:pt x="5247303" y="6788797"/>
                  <a:pt x="5253160" y="6788797"/>
                </a:cubicBezTo>
                <a:cubicBezTo>
                  <a:pt x="5255157" y="6788797"/>
                  <a:pt x="5257021" y="6788531"/>
                  <a:pt x="5258485" y="6787865"/>
                </a:cubicBezTo>
                <a:cubicBezTo>
                  <a:pt x="5259949" y="6787333"/>
                  <a:pt x="5261280" y="6786535"/>
                  <a:pt x="5262212" y="6785468"/>
                </a:cubicBezTo>
                <a:cubicBezTo>
                  <a:pt x="5263277" y="6784270"/>
                  <a:pt x="5264209" y="6782939"/>
                  <a:pt x="5264875" y="6781209"/>
                </a:cubicBezTo>
                <a:cubicBezTo>
                  <a:pt x="5265673" y="6779611"/>
                  <a:pt x="5265939" y="6777747"/>
                  <a:pt x="5265939" y="6775751"/>
                </a:cubicBezTo>
                <a:cubicBezTo>
                  <a:pt x="5265939" y="6773887"/>
                  <a:pt x="5265540" y="6772157"/>
                  <a:pt x="5264875" y="6770560"/>
                </a:cubicBezTo>
                <a:cubicBezTo>
                  <a:pt x="5264209" y="6768962"/>
                  <a:pt x="5263277" y="6767631"/>
                  <a:pt x="5262212" y="6766433"/>
                </a:cubicBezTo>
                <a:cubicBezTo>
                  <a:pt x="5261147" y="6765368"/>
                  <a:pt x="5259816" y="6764436"/>
                  <a:pt x="5258219" y="6763770"/>
                </a:cubicBezTo>
                <a:cubicBezTo>
                  <a:pt x="5256754" y="6763105"/>
                  <a:pt x="5255024" y="6762839"/>
                  <a:pt x="5253160" y="6762839"/>
                </a:cubicBezTo>
                <a:close/>
                <a:moveTo>
                  <a:pt x="5035515" y="6762839"/>
                </a:moveTo>
                <a:cubicBezTo>
                  <a:pt x="5029658" y="6762839"/>
                  <a:pt x="5027129" y="6764702"/>
                  <a:pt x="5025532" y="6766433"/>
                </a:cubicBezTo>
                <a:cubicBezTo>
                  <a:pt x="5023002" y="6769095"/>
                  <a:pt x="5021938" y="6771890"/>
                  <a:pt x="5021938" y="6775884"/>
                </a:cubicBezTo>
                <a:cubicBezTo>
                  <a:pt x="5021938" y="6780010"/>
                  <a:pt x="5023002" y="6782806"/>
                  <a:pt x="5025532" y="6785335"/>
                </a:cubicBezTo>
                <a:cubicBezTo>
                  <a:pt x="5027129" y="6786934"/>
                  <a:pt x="5029658" y="6788797"/>
                  <a:pt x="5035515" y="6788797"/>
                </a:cubicBezTo>
                <a:cubicBezTo>
                  <a:pt x="5037645" y="6788797"/>
                  <a:pt x="5039376" y="6788531"/>
                  <a:pt x="5040840" y="6787865"/>
                </a:cubicBezTo>
                <a:cubicBezTo>
                  <a:pt x="5042304" y="6787333"/>
                  <a:pt x="5043636" y="6786535"/>
                  <a:pt x="5044567" y="6785468"/>
                </a:cubicBezTo>
                <a:cubicBezTo>
                  <a:pt x="5045632" y="6784270"/>
                  <a:pt x="5046564" y="6782939"/>
                  <a:pt x="5047230" y="6781209"/>
                </a:cubicBezTo>
                <a:cubicBezTo>
                  <a:pt x="5048028" y="6779611"/>
                  <a:pt x="5048294" y="6777747"/>
                  <a:pt x="5048294" y="6775751"/>
                </a:cubicBezTo>
                <a:cubicBezTo>
                  <a:pt x="5048294" y="6773887"/>
                  <a:pt x="5047895" y="6772157"/>
                  <a:pt x="5047230" y="6770560"/>
                </a:cubicBezTo>
                <a:cubicBezTo>
                  <a:pt x="5046564" y="6768962"/>
                  <a:pt x="5045632" y="6767631"/>
                  <a:pt x="5044567" y="6766433"/>
                </a:cubicBezTo>
                <a:cubicBezTo>
                  <a:pt x="5043502" y="6765368"/>
                  <a:pt x="5042171" y="6764436"/>
                  <a:pt x="5040574" y="6763770"/>
                </a:cubicBezTo>
                <a:cubicBezTo>
                  <a:pt x="5039110" y="6763105"/>
                  <a:pt x="5037379" y="6762839"/>
                  <a:pt x="5035515" y="6762839"/>
                </a:cubicBezTo>
                <a:close/>
                <a:moveTo>
                  <a:pt x="4817870" y="6762839"/>
                </a:moveTo>
                <a:cubicBezTo>
                  <a:pt x="4812013" y="6762839"/>
                  <a:pt x="4809484" y="6764702"/>
                  <a:pt x="4807887" y="6766433"/>
                </a:cubicBezTo>
                <a:cubicBezTo>
                  <a:pt x="4805357" y="6769095"/>
                  <a:pt x="4804293" y="6771890"/>
                  <a:pt x="4804293" y="6775884"/>
                </a:cubicBezTo>
                <a:cubicBezTo>
                  <a:pt x="4804293" y="6780010"/>
                  <a:pt x="4805357" y="6782806"/>
                  <a:pt x="4807887" y="6785335"/>
                </a:cubicBezTo>
                <a:cubicBezTo>
                  <a:pt x="4809484" y="6786934"/>
                  <a:pt x="4812013" y="6788797"/>
                  <a:pt x="4817870" y="6788797"/>
                </a:cubicBezTo>
                <a:cubicBezTo>
                  <a:pt x="4820000" y="6788797"/>
                  <a:pt x="4821731" y="6788531"/>
                  <a:pt x="4823195" y="6787865"/>
                </a:cubicBezTo>
                <a:cubicBezTo>
                  <a:pt x="4824659" y="6787333"/>
                  <a:pt x="4825857" y="6786535"/>
                  <a:pt x="4826922" y="6785468"/>
                </a:cubicBezTo>
                <a:cubicBezTo>
                  <a:pt x="4827987" y="6784270"/>
                  <a:pt x="4828919" y="6782939"/>
                  <a:pt x="4829585" y="6781209"/>
                </a:cubicBezTo>
                <a:cubicBezTo>
                  <a:pt x="4830383" y="6779611"/>
                  <a:pt x="4830650" y="6777747"/>
                  <a:pt x="4830650" y="6775751"/>
                </a:cubicBezTo>
                <a:cubicBezTo>
                  <a:pt x="4830650" y="6773887"/>
                  <a:pt x="4830250" y="6772157"/>
                  <a:pt x="4829585" y="6770560"/>
                </a:cubicBezTo>
                <a:cubicBezTo>
                  <a:pt x="4828919" y="6768962"/>
                  <a:pt x="4827987" y="6767631"/>
                  <a:pt x="4826922" y="6766433"/>
                </a:cubicBezTo>
                <a:cubicBezTo>
                  <a:pt x="4825857" y="6765368"/>
                  <a:pt x="4824526" y="6764436"/>
                  <a:pt x="4822929" y="6763770"/>
                </a:cubicBezTo>
                <a:cubicBezTo>
                  <a:pt x="4821465" y="6763105"/>
                  <a:pt x="4819734" y="6762839"/>
                  <a:pt x="4817870" y="6762839"/>
                </a:cubicBezTo>
                <a:close/>
                <a:moveTo>
                  <a:pt x="4600226" y="6762839"/>
                </a:moveTo>
                <a:cubicBezTo>
                  <a:pt x="4594369" y="6762839"/>
                  <a:pt x="4591839" y="6764702"/>
                  <a:pt x="4590242" y="6766433"/>
                </a:cubicBezTo>
                <a:cubicBezTo>
                  <a:pt x="4587713" y="6769095"/>
                  <a:pt x="4586648" y="6771890"/>
                  <a:pt x="4586648" y="6775884"/>
                </a:cubicBezTo>
                <a:cubicBezTo>
                  <a:pt x="4586648" y="6780010"/>
                  <a:pt x="4587713" y="6782806"/>
                  <a:pt x="4590242" y="6785335"/>
                </a:cubicBezTo>
                <a:cubicBezTo>
                  <a:pt x="4591839" y="6786934"/>
                  <a:pt x="4594369" y="6788797"/>
                  <a:pt x="4600226" y="6788797"/>
                </a:cubicBezTo>
                <a:cubicBezTo>
                  <a:pt x="4602355" y="6788797"/>
                  <a:pt x="4604086" y="6788531"/>
                  <a:pt x="4605550" y="6787865"/>
                </a:cubicBezTo>
                <a:cubicBezTo>
                  <a:pt x="4607148" y="6787333"/>
                  <a:pt x="4608346" y="6786535"/>
                  <a:pt x="4609277" y="6785468"/>
                </a:cubicBezTo>
                <a:cubicBezTo>
                  <a:pt x="4610342" y="6784270"/>
                  <a:pt x="4611274" y="6782939"/>
                  <a:pt x="4611940" y="6781209"/>
                </a:cubicBezTo>
                <a:cubicBezTo>
                  <a:pt x="4612605" y="6779611"/>
                  <a:pt x="4613005" y="6777747"/>
                  <a:pt x="4613005" y="6775751"/>
                </a:cubicBezTo>
                <a:cubicBezTo>
                  <a:pt x="4613005" y="6773887"/>
                  <a:pt x="4612605" y="6772157"/>
                  <a:pt x="4611940" y="6770560"/>
                </a:cubicBezTo>
                <a:cubicBezTo>
                  <a:pt x="4611274" y="6768962"/>
                  <a:pt x="4610342" y="6767631"/>
                  <a:pt x="4609277" y="6766433"/>
                </a:cubicBezTo>
                <a:cubicBezTo>
                  <a:pt x="4608212" y="6765368"/>
                  <a:pt x="4606881" y="6764436"/>
                  <a:pt x="4605284" y="6763770"/>
                </a:cubicBezTo>
                <a:cubicBezTo>
                  <a:pt x="4603820" y="6763105"/>
                  <a:pt x="4602222" y="6762839"/>
                  <a:pt x="4600226" y="6762839"/>
                </a:cubicBezTo>
                <a:close/>
                <a:moveTo>
                  <a:pt x="4382713" y="6762839"/>
                </a:moveTo>
                <a:cubicBezTo>
                  <a:pt x="4376857" y="6762839"/>
                  <a:pt x="4374327" y="6764702"/>
                  <a:pt x="4372730" y="6766433"/>
                </a:cubicBezTo>
                <a:cubicBezTo>
                  <a:pt x="4370201" y="6769095"/>
                  <a:pt x="4369136" y="6771890"/>
                  <a:pt x="4369136" y="6775884"/>
                </a:cubicBezTo>
                <a:cubicBezTo>
                  <a:pt x="4369136" y="6780010"/>
                  <a:pt x="4370201" y="6782806"/>
                  <a:pt x="4372730" y="6785335"/>
                </a:cubicBezTo>
                <a:cubicBezTo>
                  <a:pt x="4374327" y="6786934"/>
                  <a:pt x="4376857" y="6788797"/>
                  <a:pt x="4382713" y="6788797"/>
                </a:cubicBezTo>
                <a:cubicBezTo>
                  <a:pt x="4384710" y="6788797"/>
                  <a:pt x="4386441" y="6788531"/>
                  <a:pt x="4388038" y="6787865"/>
                </a:cubicBezTo>
                <a:cubicBezTo>
                  <a:pt x="4389502" y="6787333"/>
                  <a:pt x="4390834" y="6786535"/>
                  <a:pt x="4391765" y="6785468"/>
                </a:cubicBezTo>
                <a:cubicBezTo>
                  <a:pt x="4392830" y="6784270"/>
                  <a:pt x="4393762" y="6782939"/>
                  <a:pt x="4394428" y="6781209"/>
                </a:cubicBezTo>
                <a:cubicBezTo>
                  <a:pt x="4395093" y="6779611"/>
                  <a:pt x="4395493" y="6777747"/>
                  <a:pt x="4395493" y="6775751"/>
                </a:cubicBezTo>
                <a:cubicBezTo>
                  <a:pt x="4395493" y="6773887"/>
                  <a:pt x="4395093" y="6772157"/>
                  <a:pt x="4394428" y="6770560"/>
                </a:cubicBezTo>
                <a:cubicBezTo>
                  <a:pt x="4393762" y="6768962"/>
                  <a:pt x="4392830" y="6767631"/>
                  <a:pt x="4391765" y="6766433"/>
                </a:cubicBezTo>
                <a:cubicBezTo>
                  <a:pt x="4390700" y="6765368"/>
                  <a:pt x="4389369" y="6764436"/>
                  <a:pt x="4387772" y="6763770"/>
                </a:cubicBezTo>
                <a:cubicBezTo>
                  <a:pt x="4386308" y="6763105"/>
                  <a:pt x="4384710" y="6762839"/>
                  <a:pt x="4382713" y="6762839"/>
                </a:cubicBezTo>
                <a:close/>
                <a:moveTo>
                  <a:pt x="4165068" y="6762839"/>
                </a:moveTo>
                <a:cubicBezTo>
                  <a:pt x="4159211" y="6762839"/>
                  <a:pt x="4156681" y="6764702"/>
                  <a:pt x="4155084" y="6766433"/>
                </a:cubicBezTo>
                <a:cubicBezTo>
                  <a:pt x="4152555" y="6769095"/>
                  <a:pt x="4151490" y="6771890"/>
                  <a:pt x="4151490" y="6775884"/>
                </a:cubicBezTo>
                <a:cubicBezTo>
                  <a:pt x="4151490" y="6780010"/>
                  <a:pt x="4152555" y="6782806"/>
                  <a:pt x="4155084" y="6785335"/>
                </a:cubicBezTo>
                <a:cubicBezTo>
                  <a:pt x="4156681" y="6786934"/>
                  <a:pt x="4159211" y="6788797"/>
                  <a:pt x="4165068" y="6788797"/>
                </a:cubicBezTo>
                <a:cubicBezTo>
                  <a:pt x="4167064" y="6788797"/>
                  <a:pt x="4168928" y="6788531"/>
                  <a:pt x="4170392" y="6787865"/>
                </a:cubicBezTo>
                <a:cubicBezTo>
                  <a:pt x="4171856" y="6787333"/>
                  <a:pt x="4173188" y="6786535"/>
                  <a:pt x="4174119" y="6785468"/>
                </a:cubicBezTo>
                <a:cubicBezTo>
                  <a:pt x="4175184" y="6784270"/>
                  <a:pt x="4176116" y="6782939"/>
                  <a:pt x="4176782" y="6781209"/>
                </a:cubicBezTo>
                <a:cubicBezTo>
                  <a:pt x="4177447" y="6779611"/>
                  <a:pt x="4177847" y="6777747"/>
                  <a:pt x="4177847" y="6775751"/>
                </a:cubicBezTo>
                <a:cubicBezTo>
                  <a:pt x="4177847" y="6773887"/>
                  <a:pt x="4177447" y="6772157"/>
                  <a:pt x="4176782" y="6770560"/>
                </a:cubicBezTo>
                <a:cubicBezTo>
                  <a:pt x="4176116" y="6768962"/>
                  <a:pt x="4175184" y="6767631"/>
                  <a:pt x="4174119" y="6766433"/>
                </a:cubicBezTo>
                <a:cubicBezTo>
                  <a:pt x="4173054" y="6765368"/>
                  <a:pt x="4171723" y="6764436"/>
                  <a:pt x="4170126" y="6763770"/>
                </a:cubicBezTo>
                <a:cubicBezTo>
                  <a:pt x="4168662" y="6763105"/>
                  <a:pt x="4167064" y="6762839"/>
                  <a:pt x="4165068" y="6762839"/>
                </a:cubicBezTo>
                <a:close/>
                <a:moveTo>
                  <a:pt x="3947790" y="6762839"/>
                </a:moveTo>
                <a:cubicBezTo>
                  <a:pt x="3941933" y="6762839"/>
                  <a:pt x="3939404" y="6764702"/>
                  <a:pt x="3937807" y="6766433"/>
                </a:cubicBezTo>
                <a:cubicBezTo>
                  <a:pt x="3935276" y="6769095"/>
                  <a:pt x="3934213" y="6771890"/>
                  <a:pt x="3934213" y="6775884"/>
                </a:cubicBezTo>
                <a:cubicBezTo>
                  <a:pt x="3934213" y="6780010"/>
                  <a:pt x="3935276" y="6782806"/>
                  <a:pt x="3937807" y="6785335"/>
                </a:cubicBezTo>
                <a:cubicBezTo>
                  <a:pt x="3939404" y="6786934"/>
                  <a:pt x="3941933" y="6788797"/>
                  <a:pt x="3947790" y="6788797"/>
                </a:cubicBezTo>
                <a:cubicBezTo>
                  <a:pt x="3949788" y="6788797"/>
                  <a:pt x="3951653" y="6788531"/>
                  <a:pt x="3953120" y="6787865"/>
                </a:cubicBezTo>
                <a:cubicBezTo>
                  <a:pt x="3954583" y="6787333"/>
                  <a:pt x="3955914" y="6786535"/>
                  <a:pt x="3956847" y="6785468"/>
                </a:cubicBezTo>
                <a:cubicBezTo>
                  <a:pt x="3957912" y="6784270"/>
                  <a:pt x="3958844" y="6782939"/>
                  <a:pt x="3959510" y="6781209"/>
                </a:cubicBezTo>
                <a:cubicBezTo>
                  <a:pt x="3960175" y="6779611"/>
                  <a:pt x="3960575" y="6777747"/>
                  <a:pt x="3960575" y="6775751"/>
                </a:cubicBezTo>
                <a:cubicBezTo>
                  <a:pt x="3960575" y="6773887"/>
                  <a:pt x="3960175" y="6772157"/>
                  <a:pt x="3959510" y="6770560"/>
                </a:cubicBezTo>
                <a:cubicBezTo>
                  <a:pt x="3958844" y="6768962"/>
                  <a:pt x="3957912" y="6767631"/>
                  <a:pt x="3956847" y="6766433"/>
                </a:cubicBezTo>
                <a:cubicBezTo>
                  <a:pt x="3955781" y="6765368"/>
                  <a:pt x="3954450" y="6764436"/>
                  <a:pt x="3952853" y="6763770"/>
                </a:cubicBezTo>
                <a:cubicBezTo>
                  <a:pt x="3951386" y="6763105"/>
                  <a:pt x="3949788" y="6762839"/>
                  <a:pt x="3947790" y="6762839"/>
                </a:cubicBezTo>
                <a:close/>
                <a:moveTo>
                  <a:pt x="3730129" y="6762839"/>
                </a:moveTo>
                <a:cubicBezTo>
                  <a:pt x="3724272" y="6762839"/>
                  <a:pt x="3721741" y="6764702"/>
                  <a:pt x="3720142" y="6766433"/>
                </a:cubicBezTo>
                <a:cubicBezTo>
                  <a:pt x="3717612" y="6769095"/>
                  <a:pt x="3716549" y="6771890"/>
                  <a:pt x="3716549" y="6775884"/>
                </a:cubicBezTo>
                <a:cubicBezTo>
                  <a:pt x="3716549" y="6780010"/>
                  <a:pt x="3717612" y="6782806"/>
                  <a:pt x="3720142" y="6785335"/>
                </a:cubicBezTo>
                <a:cubicBezTo>
                  <a:pt x="3721741" y="6786934"/>
                  <a:pt x="3724272" y="6788797"/>
                  <a:pt x="3730129" y="6788797"/>
                </a:cubicBezTo>
                <a:cubicBezTo>
                  <a:pt x="3732259" y="6788797"/>
                  <a:pt x="3733991" y="6788531"/>
                  <a:pt x="3735454" y="6787865"/>
                </a:cubicBezTo>
                <a:cubicBezTo>
                  <a:pt x="3736919" y="6787333"/>
                  <a:pt x="3738251" y="6786535"/>
                  <a:pt x="3739182" y="6785468"/>
                </a:cubicBezTo>
                <a:cubicBezTo>
                  <a:pt x="3740247" y="6784270"/>
                  <a:pt x="3741179" y="6782939"/>
                  <a:pt x="3741845" y="6781209"/>
                </a:cubicBezTo>
                <a:cubicBezTo>
                  <a:pt x="3742510" y="6779611"/>
                  <a:pt x="3742909" y="6777747"/>
                  <a:pt x="3742909" y="6775751"/>
                </a:cubicBezTo>
                <a:cubicBezTo>
                  <a:pt x="3742909" y="6773887"/>
                  <a:pt x="3742510" y="6772157"/>
                  <a:pt x="3741845" y="6770560"/>
                </a:cubicBezTo>
                <a:cubicBezTo>
                  <a:pt x="3741179" y="6768962"/>
                  <a:pt x="3740247" y="6767631"/>
                  <a:pt x="3739182" y="6766433"/>
                </a:cubicBezTo>
                <a:cubicBezTo>
                  <a:pt x="3738117" y="6765368"/>
                  <a:pt x="3736786" y="6764436"/>
                  <a:pt x="3735189" y="6763770"/>
                </a:cubicBezTo>
                <a:cubicBezTo>
                  <a:pt x="3733724" y="6763105"/>
                  <a:pt x="3732126" y="6762839"/>
                  <a:pt x="3730129" y="6762839"/>
                </a:cubicBezTo>
                <a:close/>
                <a:moveTo>
                  <a:pt x="3512465" y="6762839"/>
                </a:moveTo>
                <a:cubicBezTo>
                  <a:pt x="3506606" y="6762839"/>
                  <a:pt x="3504074" y="6764702"/>
                  <a:pt x="3502475" y="6766433"/>
                </a:cubicBezTo>
                <a:cubicBezTo>
                  <a:pt x="3499945" y="6769095"/>
                  <a:pt x="3498881" y="6771890"/>
                  <a:pt x="3498881" y="6775884"/>
                </a:cubicBezTo>
                <a:cubicBezTo>
                  <a:pt x="3498881" y="6780010"/>
                  <a:pt x="3499945" y="6782806"/>
                  <a:pt x="3502475" y="6785335"/>
                </a:cubicBezTo>
                <a:cubicBezTo>
                  <a:pt x="3504074" y="6786934"/>
                  <a:pt x="3506606" y="6788797"/>
                  <a:pt x="3512465" y="6788797"/>
                </a:cubicBezTo>
                <a:cubicBezTo>
                  <a:pt x="3514594" y="6788797"/>
                  <a:pt x="3516326" y="6788531"/>
                  <a:pt x="3517790" y="6787865"/>
                </a:cubicBezTo>
                <a:cubicBezTo>
                  <a:pt x="3519255" y="6787333"/>
                  <a:pt x="3520587" y="6786535"/>
                  <a:pt x="3521518" y="6785468"/>
                </a:cubicBezTo>
                <a:cubicBezTo>
                  <a:pt x="3522583" y="6784270"/>
                  <a:pt x="3523515" y="6782939"/>
                  <a:pt x="3524181" y="6781209"/>
                </a:cubicBezTo>
                <a:cubicBezTo>
                  <a:pt x="3524846" y="6779611"/>
                  <a:pt x="3525246" y="6777747"/>
                  <a:pt x="3525246" y="6775751"/>
                </a:cubicBezTo>
                <a:cubicBezTo>
                  <a:pt x="3525246" y="6773887"/>
                  <a:pt x="3524846" y="6772157"/>
                  <a:pt x="3524181" y="6770560"/>
                </a:cubicBezTo>
                <a:cubicBezTo>
                  <a:pt x="3523515" y="6768962"/>
                  <a:pt x="3522583" y="6767631"/>
                  <a:pt x="3521518" y="6766433"/>
                </a:cubicBezTo>
                <a:cubicBezTo>
                  <a:pt x="3520453" y="6765368"/>
                  <a:pt x="3519122" y="6764436"/>
                  <a:pt x="3517525" y="6763770"/>
                </a:cubicBezTo>
                <a:cubicBezTo>
                  <a:pt x="3516061" y="6763105"/>
                  <a:pt x="3514462" y="6762839"/>
                  <a:pt x="3512465" y="6762839"/>
                </a:cubicBezTo>
                <a:close/>
                <a:moveTo>
                  <a:pt x="3294933" y="6762839"/>
                </a:moveTo>
                <a:cubicBezTo>
                  <a:pt x="3289075" y="6762839"/>
                  <a:pt x="3286543" y="6764702"/>
                  <a:pt x="3284947" y="6766433"/>
                </a:cubicBezTo>
                <a:cubicBezTo>
                  <a:pt x="3282416" y="6769095"/>
                  <a:pt x="3281353" y="6771890"/>
                  <a:pt x="3281353" y="6775884"/>
                </a:cubicBezTo>
                <a:cubicBezTo>
                  <a:pt x="3281353" y="6780010"/>
                  <a:pt x="3282416" y="6782806"/>
                  <a:pt x="3284947" y="6785335"/>
                </a:cubicBezTo>
                <a:cubicBezTo>
                  <a:pt x="3286543" y="6786934"/>
                  <a:pt x="3289075" y="6788797"/>
                  <a:pt x="3294933" y="6788797"/>
                </a:cubicBezTo>
                <a:cubicBezTo>
                  <a:pt x="3296931" y="6788797"/>
                  <a:pt x="3298662" y="6788531"/>
                  <a:pt x="3300260" y="6787865"/>
                </a:cubicBezTo>
                <a:cubicBezTo>
                  <a:pt x="3301724" y="6787333"/>
                  <a:pt x="3303055" y="6786535"/>
                  <a:pt x="3303987" y="6785468"/>
                </a:cubicBezTo>
                <a:cubicBezTo>
                  <a:pt x="3305052" y="6784270"/>
                  <a:pt x="3305983" y="6782939"/>
                  <a:pt x="3306650" y="6781209"/>
                </a:cubicBezTo>
                <a:cubicBezTo>
                  <a:pt x="3307315" y="6779611"/>
                  <a:pt x="3307713" y="6777747"/>
                  <a:pt x="3307713" y="6775751"/>
                </a:cubicBezTo>
                <a:cubicBezTo>
                  <a:pt x="3307713" y="6773887"/>
                  <a:pt x="3307315" y="6772157"/>
                  <a:pt x="3306650" y="6770560"/>
                </a:cubicBezTo>
                <a:cubicBezTo>
                  <a:pt x="3305983" y="6768962"/>
                  <a:pt x="3305052" y="6767631"/>
                  <a:pt x="3303987" y="6766433"/>
                </a:cubicBezTo>
                <a:cubicBezTo>
                  <a:pt x="3302921" y="6765368"/>
                  <a:pt x="3301590" y="6764436"/>
                  <a:pt x="3299993" y="6763770"/>
                </a:cubicBezTo>
                <a:cubicBezTo>
                  <a:pt x="3298529" y="6763105"/>
                  <a:pt x="3296931" y="6762839"/>
                  <a:pt x="3294933" y="6762839"/>
                </a:cubicBezTo>
                <a:close/>
                <a:moveTo>
                  <a:pt x="3077403" y="6762839"/>
                </a:moveTo>
                <a:cubicBezTo>
                  <a:pt x="3071545" y="6762839"/>
                  <a:pt x="3069015" y="6764702"/>
                  <a:pt x="3067419" y="6766433"/>
                </a:cubicBezTo>
                <a:cubicBezTo>
                  <a:pt x="3064753" y="6769095"/>
                  <a:pt x="3063687" y="6771890"/>
                  <a:pt x="3063687" y="6775884"/>
                </a:cubicBezTo>
                <a:cubicBezTo>
                  <a:pt x="3063687" y="6780010"/>
                  <a:pt x="3064753" y="6782806"/>
                  <a:pt x="3067284" y="6785335"/>
                </a:cubicBezTo>
                <a:cubicBezTo>
                  <a:pt x="3068882" y="6786934"/>
                  <a:pt x="3071412" y="6788797"/>
                  <a:pt x="3077269" y="6788797"/>
                </a:cubicBezTo>
                <a:cubicBezTo>
                  <a:pt x="3079267" y="6788797"/>
                  <a:pt x="3080997" y="6788531"/>
                  <a:pt x="3082728" y="6787865"/>
                </a:cubicBezTo>
                <a:cubicBezTo>
                  <a:pt x="3084193" y="6787333"/>
                  <a:pt x="3085524" y="6786535"/>
                  <a:pt x="3086455" y="6785468"/>
                </a:cubicBezTo>
                <a:cubicBezTo>
                  <a:pt x="3087520" y="6784270"/>
                  <a:pt x="3088452" y="6782939"/>
                  <a:pt x="3089118" y="6781209"/>
                </a:cubicBezTo>
                <a:cubicBezTo>
                  <a:pt x="3089783" y="6779611"/>
                  <a:pt x="3090050" y="6777747"/>
                  <a:pt x="3090050" y="6775751"/>
                </a:cubicBezTo>
                <a:cubicBezTo>
                  <a:pt x="3090050" y="6773887"/>
                  <a:pt x="3089783" y="6772157"/>
                  <a:pt x="3089118" y="6770560"/>
                </a:cubicBezTo>
                <a:cubicBezTo>
                  <a:pt x="3088452" y="6768962"/>
                  <a:pt x="3087520" y="6767631"/>
                  <a:pt x="3086455" y="6766433"/>
                </a:cubicBezTo>
                <a:cubicBezTo>
                  <a:pt x="3085391" y="6765368"/>
                  <a:pt x="3084059" y="6764436"/>
                  <a:pt x="3082462" y="6763770"/>
                </a:cubicBezTo>
                <a:cubicBezTo>
                  <a:pt x="3080997" y="6763105"/>
                  <a:pt x="3079400" y="6762839"/>
                  <a:pt x="3077403" y="6762839"/>
                </a:cubicBezTo>
                <a:close/>
                <a:moveTo>
                  <a:pt x="2859605" y="6762839"/>
                </a:moveTo>
                <a:cubicBezTo>
                  <a:pt x="2853748" y="6762839"/>
                  <a:pt x="2851218" y="6764702"/>
                  <a:pt x="2849619" y="6766433"/>
                </a:cubicBezTo>
                <a:cubicBezTo>
                  <a:pt x="2847086" y="6769095"/>
                  <a:pt x="2846019" y="6771890"/>
                  <a:pt x="2846019" y="6775884"/>
                </a:cubicBezTo>
                <a:cubicBezTo>
                  <a:pt x="2846019" y="6780010"/>
                  <a:pt x="2847086" y="6782806"/>
                  <a:pt x="2849619" y="6785335"/>
                </a:cubicBezTo>
                <a:cubicBezTo>
                  <a:pt x="2851218" y="6786934"/>
                  <a:pt x="2853748" y="6788797"/>
                  <a:pt x="2859605" y="6788797"/>
                </a:cubicBezTo>
                <a:cubicBezTo>
                  <a:pt x="2861602" y="6788797"/>
                  <a:pt x="2863466" y="6788531"/>
                  <a:pt x="2864930" y="6787865"/>
                </a:cubicBezTo>
                <a:cubicBezTo>
                  <a:pt x="2866528" y="6787333"/>
                  <a:pt x="2867727" y="6786535"/>
                  <a:pt x="2868657" y="6785468"/>
                </a:cubicBezTo>
                <a:cubicBezTo>
                  <a:pt x="2869722" y="6784270"/>
                  <a:pt x="2870655" y="6782939"/>
                  <a:pt x="2871320" y="6781209"/>
                </a:cubicBezTo>
                <a:cubicBezTo>
                  <a:pt x="2871852" y="6779611"/>
                  <a:pt x="2872251" y="6777747"/>
                  <a:pt x="2872251" y="6775751"/>
                </a:cubicBezTo>
                <a:cubicBezTo>
                  <a:pt x="2872251" y="6773887"/>
                  <a:pt x="2871985" y="6772157"/>
                  <a:pt x="2871320" y="6770560"/>
                </a:cubicBezTo>
                <a:cubicBezTo>
                  <a:pt x="2870655" y="6768962"/>
                  <a:pt x="2869722" y="6767631"/>
                  <a:pt x="2868657" y="6766433"/>
                </a:cubicBezTo>
                <a:cubicBezTo>
                  <a:pt x="2867593" y="6765368"/>
                  <a:pt x="2866261" y="6764436"/>
                  <a:pt x="2864665" y="6763770"/>
                </a:cubicBezTo>
                <a:cubicBezTo>
                  <a:pt x="2863201" y="6763105"/>
                  <a:pt x="2861602" y="6762839"/>
                  <a:pt x="2859605" y="6762839"/>
                </a:cubicBezTo>
                <a:close/>
                <a:moveTo>
                  <a:pt x="2641941" y="6762839"/>
                </a:moveTo>
                <a:cubicBezTo>
                  <a:pt x="2636083" y="6762839"/>
                  <a:pt x="2633554" y="6764702"/>
                  <a:pt x="2631958" y="6766433"/>
                </a:cubicBezTo>
                <a:cubicBezTo>
                  <a:pt x="2629427" y="6769095"/>
                  <a:pt x="2628363" y="6771890"/>
                  <a:pt x="2628363" y="6775884"/>
                </a:cubicBezTo>
                <a:cubicBezTo>
                  <a:pt x="2628363" y="6780010"/>
                  <a:pt x="2629427" y="6782806"/>
                  <a:pt x="2631958" y="6785335"/>
                </a:cubicBezTo>
                <a:cubicBezTo>
                  <a:pt x="2633554" y="6786934"/>
                  <a:pt x="2636083" y="6788797"/>
                  <a:pt x="2641941" y="6788797"/>
                </a:cubicBezTo>
                <a:cubicBezTo>
                  <a:pt x="2643937" y="6788797"/>
                  <a:pt x="2645802" y="6788531"/>
                  <a:pt x="2647266" y="6787865"/>
                </a:cubicBezTo>
                <a:cubicBezTo>
                  <a:pt x="2648863" y="6787333"/>
                  <a:pt x="2650061" y="6786535"/>
                  <a:pt x="2650993" y="6785468"/>
                </a:cubicBezTo>
                <a:cubicBezTo>
                  <a:pt x="2652058" y="6784270"/>
                  <a:pt x="2652990" y="6782939"/>
                  <a:pt x="2653656" y="6781209"/>
                </a:cubicBezTo>
                <a:cubicBezTo>
                  <a:pt x="2654188" y="6779611"/>
                  <a:pt x="2654587" y="6777747"/>
                  <a:pt x="2654587" y="6775751"/>
                </a:cubicBezTo>
                <a:cubicBezTo>
                  <a:pt x="2654587" y="6773887"/>
                  <a:pt x="2654321" y="6772157"/>
                  <a:pt x="2653656" y="6770560"/>
                </a:cubicBezTo>
                <a:cubicBezTo>
                  <a:pt x="2652990" y="6768962"/>
                  <a:pt x="2652058" y="6767631"/>
                  <a:pt x="2650993" y="6766433"/>
                </a:cubicBezTo>
                <a:cubicBezTo>
                  <a:pt x="2649928" y="6765368"/>
                  <a:pt x="2648597" y="6764436"/>
                  <a:pt x="2647000" y="6763770"/>
                </a:cubicBezTo>
                <a:cubicBezTo>
                  <a:pt x="2645535" y="6763105"/>
                  <a:pt x="2643937" y="6762839"/>
                  <a:pt x="2641941" y="6762839"/>
                </a:cubicBezTo>
                <a:close/>
                <a:moveTo>
                  <a:pt x="2424276" y="6762839"/>
                </a:moveTo>
                <a:cubicBezTo>
                  <a:pt x="2418419" y="6762839"/>
                  <a:pt x="2415890" y="6764702"/>
                  <a:pt x="2414293" y="6766433"/>
                </a:cubicBezTo>
                <a:cubicBezTo>
                  <a:pt x="2411763" y="6769095"/>
                  <a:pt x="2410699" y="6771890"/>
                  <a:pt x="2410699" y="6775884"/>
                </a:cubicBezTo>
                <a:cubicBezTo>
                  <a:pt x="2410699" y="6780010"/>
                  <a:pt x="2411763" y="6782806"/>
                  <a:pt x="2414293" y="6785335"/>
                </a:cubicBezTo>
                <a:cubicBezTo>
                  <a:pt x="2415890" y="6786934"/>
                  <a:pt x="2418419" y="6788797"/>
                  <a:pt x="2424276" y="6788797"/>
                </a:cubicBezTo>
                <a:cubicBezTo>
                  <a:pt x="2426406" y="6788797"/>
                  <a:pt x="2428137" y="6788531"/>
                  <a:pt x="2429601" y="6787865"/>
                </a:cubicBezTo>
                <a:cubicBezTo>
                  <a:pt x="2431199" y="6787333"/>
                  <a:pt x="2432397" y="6786535"/>
                  <a:pt x="2433328" y="6785468"/>
                </a:cubicBezTo>
                <a:cubicBezTo>
                  <a:pt x="2434393" y="6784270"/>
                  <a:pt x="2435325" y="6782939"/>
                  <a:pt x="2435991" y="6781209"/>
                </a:cubicBezTo>
                <a:cubicBezTo>
                  <a:pt x="2436523" y="6779611"/>
                  <a:pt x="2436923" y="6777747"/>
                  <a:pt x="2436923" y="6775751"/>
                </a:cubicBezTo>
                <a:cubicBezTo>
                  <a:pt x="2436923" y="6773887"/>
                  <a:pt x="2436656" y="6772157"/>
                  <a:pt x="2435991" y="6770560"/>
                </a:cubicBezTo>
                <a:cubicBezTo>
                  <a:pt x="2435325" y="6768962"/>
                  <a:pt x="2434393" y="6767631"/>
                  <a:pt x="2433328" y="6766433"/>
                </a:cubicBezTo>
                <a:cubicBezTo>
                  <a:pt x="2432265" y="6765368"/>
                  <a:pt x="2430933" y="6764436"/>
                  <a:pt x="2429335" y="6763770"/>
                </a:cubicBezTo>
                <a:cubicBezTo>
                  <a:pt x="2427871" y="6763105"/>
                  <a:pt x="2426273" y="6762839"/>
                  <a:pt x="2424276" y="6762839"/>
                </a:cubicBezTo>
                <a:close/>
                <a:moveTo>
                  <a:pt x="2206612" y="6762839"/>
                </a:moveTo>
                <a:cubicBezTo>
                  <a:pt x="2200755" y="6762839"/>
                  <a:pt x="2198226" y="6764702"/>
                  <a:pt x="2196628" y="6766433"/>
                </a:cubicBezTo>
                <a:cubicBezTo>
                  <a:pt x="2194099" y="6769095"/>
                  <a:pt x="2193034" y="6771890"/>
                  <a:pt x="2193034" y="6775884"/>
                </a:cubicBezTo>
                <a:cubicBezTo>
                  <a:pt x="2193034" y="6780010"/>
                  <a:pt x="2194099" y="6782806"/>
                  <a:pt x="2196628" y="6785335"/>
                </a:cubicBezTo>
                <a:cubicBezTo>
                  <a:pt x="2198226" y="6786934"/>
                  <a:pt x="2200755" y="6788797"/>
                  <a:pt x="2206612" y="6788797"/>
                </a:cubicBezTo>
                <a:cubicBezTo>
                  <a:pt x="2208741" y="6788797"/>
                  <a:pt x="2210473" y="6788531"/>
                  <a:pt x="2211937" y="6787865"/>
                </a:cubicBezTo>
                <a:cubicBezTo>
                  <a:pt x="2213534" y="6787333"/>
                  <a:pt x="2214732" y="6786535"/>
                  <a:pt x="2215664" y="6785468"/>
                </a:cubicBezTo>
                <a:cubicBezTo>
                  <a:pt x="2216729" y="6784270"/>
                  <a:pt x="2217661" y="6782939"/>
                  <a:pt x="2218327" y="6781209"/>
                </a:cubicBezTo>
                <a:cubicBezTo>
                  <a:pt x="2218859" y="6779611"/>
                  <a:pt x="2219258" y="6777747"/>
                  <a:pt x="2219258" y="6775751"/>
                </a:cubicBezTo>
                <a:cubicBezTo>
                  <a:pt x="2219258" y="6773887"/>
                  <a:pt x="2218992" y="6772157"/>
                  <a:pt x="2218327" y="6770560"/>
                </a:cubicBezTo>
                <a:cubicBezTo>
                  <a:pt x="2217661" y="6768962"/>
                  <a:pt x="2216729" y="6767631"/>
                  <a:pt x="2215664" y="6766433"/>
                </a:cubicBezTo>
                <a:cubicBezTo>
                  <a:pt x="2214599" y="6765368"/>
                  <a:pt x="2213268" y="6764436"/>
                  <a:pt x="2211671" y="6763770"/>
                </a:cubicBezTo>
                <a:cubicBezTo>
                  <a:pt x="2210206" y="6763105"/>
                  <a:pt x="2208609" y="6762839"/>
                  <a:pt x="2206612" y="6762839"/>
                </a:cubicBezTo>
                <a:close/>
                <a:moveTo>
                  <a:pt x="1989080" y="6762839"/>
                </a:moveTo>
                <a:cubicBezTo>
                  <a:pt x="1983223" y="6762839"/>
                  <a:pt x="1980694" y="6764702"/>
                  <a:pt x="1979097" y="6766433"/>
                </a:cubicBezTo>
                <a:cubicBezTo>
                  <a:pt x="1976567" y="6769095"/>
                  <a:pt x="1975503" y="6771890"/>
                  <a:pt x="1975503" y="6775884"/>
                </a:cubicBezTo>
                <a:cubicBezTo>
                  <a:pt x="1975503" y="6780010"/>
                  <a:pt x="1976567" y="6782806"/>
                  <a:pt x="1979097" y="6785335"/>
                </a:cubicBezTo>
                <a:cubicBezTo>
                  <a:pt x="1980694" y="6786934"/>
                  <a:pt x="1983223" y="6788797"/>
                  <a:pt x="1989080" y="6788797"/>
                </a:cubicBezTo>
                <a:cubicBezTo>
                  <a:pt x="1991077" y="6788797"/>
                  <a:pt x="1992808" y="6788531"/>
                  <a:pt x="1994405" y="6787865"/>
                </a:cubicBezTo>
                <a:cubicBezTo>
                  <a:pt x="1996003" y="6787333"/>
                  <a:pt x="1997201" y="6786535"/>
                  <a:pt x="1998132" y="6785468"/>
                </a:cubicBezTo>
                <a:cubicBezTo>
                  <a:pt x="1999197" y="6784270"/>
                  <a:pt x="2000129" y="6782939"/>
                  <a:pt x="2000795" y="6781209"/>
                </a:cubicBezTo>
                <a:cubicBezTo>
                  <a:pt x="2001327" y="6779611"/>
                  <a:pt x="2001726" y="6777747"/>
                  <a:pt x="2001726" y="6775751"/>
                </a:cubicBezTo>
                <a:cubicBezTo>
                  <a:pt x="2001726" y="6773887"/>
                  <a:pt x="2001460" y="6772157"/>
                  <a:pt x="2000795" y="6770560"/>
                </a:cubicBezTo>
                <a:cubicBezTo>
                  <a:pt x="2000129" y="6768962"/>
                  <a:pt x="1999197" y="6767631"/>
                  <a:pt x="1998132" y="6766433"/>
                </a:cubicBezTo>
                <a:cubicBezTo>
                  <a:pt x="1997068" y="6765368"/>
                  <a:pt x="1995736" y="6764436"/>
                  <a:pt x="1994139" y="6763770"/>
                </a:cubicBezTo>
                <a:cubicBezTo>
                  <a:pt x="1992675" y="6763105"/>
                  <a:pt x="1991077" y="6762839"/>
                  <a:pt x="1989080" y="6762839"/>
                </a:cubicBezTo>
                <a:close/>
                <a:moveTo>
                  <a:pt x="1771449" y="6762839"/>
                </a:moveTo>
                <a:cubicBezTo>
                  <a:pt x="1765592" y="6762839"/>
                  <a:pt x="1763064" y="6764702"/>
                  <a:pt x="1761467" y="6766433"/>
                </a:cubicBezTo>
                <a:cubicBezTo>
                  <a:pt x="1758938" y="6769095"/>
                  <a:pt x="1757873" y="6771890"/>
                  <a:pt x="1757873" y="6775884"/>
                </a:cubicBezTo>
                <a:cubicBezTo>
                  <a:pt x="1757873" y="6780010"/>
                  <a:pt x="1758938" y="6782806"/>
                  <a:pt x="1761467" y="6785335"/>
                </a:cubicBezTo>
                <a:cubicBezTo>
                  <a:pt x="1763064" y="6786934"/>
                  <a:pt x="1765592" y="6788797"/>
                  <a:pt x="1771449" y="6788797"/>
                </a:cubicBezTo>
                <a:cubicBezTo>
                  <a:pt x="1773446" y="6788797"/>
                  <a:pt x="1775310" y="6788531"/>
                  <a:pt x="1776774" y="6787865"/>
                </a:cubicBezTo>
                <a:cubicBezTo>
                  <a:pt x="1778238" y="6787333"/>
                  <a:pt x="1779567" y="6786535"/>
                  <a:pt x="1780499" y="6785468"/>
                </a:cubicBezTo>
                <a:cubicBezTo>
                  <a:pt x="1781564" y="6784270"/>
                  <a:pt x="1782496" y="6782939"/>
                  <a:pt x="1783162" y="6781209"/>
                </a:cubicBezTo>
                <a:cubicBezTo>
                  <a:pt x="1783827" y="6779611"/>
                  <a:pt x="1784227" y="6777747"/>
                  <a:pt x="1784227" y="6775751"/>
                </a:cubicBezTo>
                <a:cubicBezTo>
                  <a:pt x="1784227" y="6773887"/>
                  <a:pt x="1783827" y="6772157"/>
                  <a:pt x="1783162" y="6770560"/>
                </a:cubicBezTo>
                <a:cubicBezTo>
                  <a:pt x="1782496" y="6768962"/>
                  <a:pt x="1781564" y="6767631"/>
                  <a:pt x="1780499" y="6766433"/>
                </a:cubicBezTo>
                <a:cubicBezTo>
                  <a:pt x="1779434" y="6765368"/>
                  <a:pt x="1778105" y="6764436"/>
                  <a:pt x="1776508" y="6763770"/>
                </a:cubicBezTo>
                <a:cubicBezTo>
                  <a:pt x="1775043" y="6763105"/>
                  <a:pt x="1773446" y="6762839"/>
                  <a:pt x="1771449" y="6762839"/>
                </a:cubicBezTo>
                <a:close/>
                <a:moveTo>
                  <a:pt x="1553813" y="6762839"/>
                </a:moveTo>
                <a:cubicBezTo>
                  <a:pt x="1547956" y="6762839"/>
                  <a:pt x="1545427" y="6764702"/>
                  <a:pt x="1543831" y="6766433"/>
                </a:cubicBezTo>
                <a:cubicBezTo>
                  <a:pt x="1541301" y="6769095"/>
                  <a:pt x="1540236" y="6771890"/>
                  <a:pt x="1540236" y="6775884"/>
                </a:cubicBezTo>
                <a:cubicBezTo>
                  <a:pt x="1540236" y="6780010"/>
                  <a:pt x="1541301" y="6782806"/>
                  <a:pt x="1543831" y="6785335"/>
                </a:cubicBezTo>
                <a:cubicBezTo>
                  <a:pt x="1545427" y="6786934"/>
                  <a:pt x="1547956" y="6788797"/>
                  <a:pt x="1553813" y="6788797"/>
                </a:cubicBezTo>
                <a:cubicBezTo>
                  <a:pt x="1555810" y="6788797"/>
                  <a:pt x="1557674" y="6788531"/>
                  <a:pt x="1559138" y="6787865"/>
                </a:cubicBezTo>
                <a:cubicBezTo>
                  <a:pt x="1560602" y="6787333"/>
                  <a:pt x="1561934" y="6786535"/>
                  <a:pt x="1562865" y="6785468"/>
                </a:cubicBezTo>
                <a:cubicBezTo>
                  <a:pt x="1563930" y="6784270"/>
                  <a:pt x="1564862" y="6782939"/>
                  <a:pt x="1565528" y="6781209"/>
                </a:cubicBezTo>
                <a:cubicBezTo>
                  <a:pt x="1566193" y="6779611"/>
                  <a:pt x="1566593" y="6777747"/>
                  <a:pt x="1566593" y="6775751"/>
                </a:cubicBezTo>
                <a:cubicBezTo>
                  <a:pt x="1566593" y="6773887"/>
                  <a:pt x="1566193" y="6772157"/>
                  <a:pt x="1565528" y="6770560"/>
                </a:cubicBezTo>
                <a:cubicBezTo>
                  <a:pt x="1564862" y="6768962"/>
                  <a:pt x="1563930" y="6767631"/>
                  <a:pt x="1562865" y="6766433"/>
                </a:cubicBezTo>
                <a:cubicBezTo>
                  <a:pt x="1561800" y="6765368"/>
                  <a:pt x="1560470" y="6764436"/>
                  <a:pt x="1558872" y="6763770"/>
                </a:cubicBezTo>
                <a:cubicBezTo>
                  <a:pt x="1557408" y="6763105"/>
                  <a:pt x="1555810" y="6762839"/>
                  <a:pt x="1553813" y="6762839"/>
                </a:cubicBezTo>
                <a:close/>
                <a:moveTo>
                  <a:pt x="1336171" y="6762839"/>
                </a:moveTo>
                <a:cubicBezTo>
                  <a:pt x="1330312" y="6762839"/>
                  <a:pt x="1327783" y="6764702"/>
                  <a:pt x="1326187" y="6766433"/>
                </a:cubicBezTo>
                <a:cubicBezTo>
                  <a:pt x="1323656" y="6769095"/>
                  <a:pt x="1322592" y="6771890"/>
                  <a:pt x="1322592" y="6775884"/>
                </a:cubicBezTo>
                <a:cubicBezTo>
                  <a:pt x="1322592" y="6780010"/>
                  <a:pt x="1323656" y="6782806"/>
                  <a:pt x="1326187" y="6785335"/>
                </a:cubicBezTo>
                <a:cubicBezTo>
                  <a:pt x="1327783" y="6786934"/>
                  <a:pt x="1330312" y="6788797"/>
                  <a:pt x="1336171" y="6788797"/>
                </a:cubicBezTo>
                <a:cubicBezTo>
                  <a:pt x="1338300" y="6788797"/>
                  <a:pt x="1340030" y="6788531"/>
                  <a:pt x="1341497" y="6787865"/>
                </a:cubicBezTo>
                <a:cubicBezTo>
                  <a:pt x="1342960" y="6787333"/>
                  <a:pt x="1344292" y="6786535"/>
                  <a:pt x="1345225" y="6785468"/>
                </a:cubicBezTo>
                <a:cubicBezTo>
                  <a:pt x="1346288" y="6784270"/>
                  <a:pt x="1347221" y="6782939"/>
                  <a:pt x="1347886" y="6781209"/>
                </a:cubicBezTo>
                <a:cubicBezTo>
                  <a:pt x="1348552" y="6779611"/>
                  <a:pt x="1348952" y="6777747"/>
                  <a:pt x="1348952" y="6775751"/>
                </a:cubicBezTo>
                <a:cubicBezTo>
                  <a:pt x="1348952" y="6773887"/>
                  <a:pt x="1348552" y="6772157"/>
                  <a:pt x="1347886" y="6770560"/>
                </a:cubicBezTo>
                <a:cubicBezTo>
                  <a:pt x="1347221" y="6768962"/>
                  <a:pt x="1346288" y="6767631"/>
                  <a:pt x="1345225" y="6766433"/>
                </a:cubicBezTo>
                <a:cubicBezTo>
                  <a:pt x="1344159" y="6765368"/>
                  <a:pt x="1342828" y="6764436"/>
                  <a:pt x="1341229" y="6763770"/>
                </a:cubicBezTo>
                <a:cubicBezTo>
                  <a:pt x="1339765" y="6763105"/>
                  <a:pt x="1338166" y="6762839"/>
                  <a:pt x="1336171" y="6762839"/>
                </a:cubicBezTo>
                <a:close/>
                <a:moveTo>
                  <a:pt x="1118658" y="6762839"/>
                </a:moveTo>
                <a:cubicBezTo>
                  <a:pt x="1112799" y="6762839"/>
                  <a:pt x="1110269" y="6764702"/>
                  <a:pt x="1108672" y="6766433"/>
                </a:cubicBezTo>
                <a:cubicBezTo>
                  <a:pt x="1106010" y="6769095"/>
                  <a:pt x="1104945" y="6771890"/>
                  <a:pt x="1104945" y="6775884"/>
                </a:cubicBezTo>
                <a:cubicBezTo>
                  <a:pt x="1104945" y="6780010"/>
                  <a:pt x="1106010" y="6782806"/>
                  <a:pt x="1108539" y="6785335"/>
                </a:cubicBezTo>
                <a:cubicBezTo>
                  <a:pt x="1110137" y="6786934"/>
                  <a:pt x="1112666" y="6788797"/>
                  <a:pt x="1118525" y="6788797"/>
                </a:cubicBezTo>
                <a:cubicBezTo>
                  <a:pt x="1120655" y="6788797"/>
                  <a:pt x="1122386" y="6788531"/>
                  <a:pt x="1123981" y="6787865"/>
                </a:cubicBezTo>
                <a:cubicBezTo>
                  <a:pt x="1125447" y="6787333"/>
                  <a:pt x="1126783" y="6786535"/>
                  <a:pt x="1127712" y="6785468"/>
                </a:cubicBezTo>
                <a:cubicBezTo>
                  <a:pt x="1128778" y="6784270"/>
                  <a:pt x="1129710" y="6782939"/>
                  <a:pt x="1130377" y="6781209"/>
                </a:cubicBezTo>
                <a:cubicBezTo>
                  <a:pt x="1131041" y="6779611"/>
                  <a:pt x="1131441" y="6777747"/>
                  <a:pt x="1131441" y="6775751"/>
                </a:cubicBezTo>
                <a:cubicBezTo>
                  <a:pt x="1131441" y="6773887"/>
                  <a:pt x="1131041" y="6772157"/>
                  <a:pt x="1130377" y="6770560"/>
                </a:cubicBezTo>
                <a:cubicBezTo>
                  <a:pt x="1129710" y="6768962"/>
                  <a:pt x="1128778" y="6767631"/>
                  <a:pt x="1127712" y="6766433"/>
                </a:cubicBezTo>
                <a:cubicBezTo>
                  <a:pt x="1126648" y="6765368"/>
                  <a:pt x="1125314" y="6764436"/>
                  <a:pt x="1123717" y="6763770"/>
                </a:cubicBezTo>
                <a:cubicBezTo>
                  <a:pt x="1122253" y="6763105"/>
                  <a:pt x="1120655" y="6762839"/>
                  <a:pt x="1118658" y="6762839"/>
                </a:cubicBezTo>
                <a:close/>
                <a:moveTo>
                  <a:pt x="901146" y="6762839"/>
                </a:moveTo>
                <a:cubicBezTo>
                  <a:pt x="895288" y="6762839"/>
                  <a:pt x="892758" y="6764702"/>
                  <a:pt x="891161" y="6766433"/>
                </a:cubicBezTo>
                <a:cubicBezTo>
                  <a:pt x="888498" y="6769095"/>
                  <a:pt x="887434" y="6771890"/>
                  <a:pt x="887434" y="6775884"/>
                </a:cubicBezTo>
                <a:cubicBezTo>
                  <a:pt x="887434" y="6780010"/>
                  <a:pt x="888498" y="6782806"/>
                  <a:pt x="891029" y="6785335"/>
                </a:cubicBezTo>
                <a:cubicBezTo>
                  <a:pt x="892626" y="6786934"/>
                  <a:pt x="895154" y="6788797"/>
                  <a:pt x="901012" y="6788797"/>
                </a:cubicBezTo>
                <a:cubicBezTo>
                  <a:pt x="903008" y="6788797"/>
                  <a:pt x="904740" y="6788531"/>
                  <a:pt x="906470" y="6787865"/>
                </a:cubicBezTo>
                <a:cubicBezTo>
                  <a:pt x="907934" y="6787333"/>
                  <a:pt x="909266" y="6786535"/>
                  <a:pt x="910198" y="6785468"/>
                </a:cubicBezTo>
                <a:cubicBezTo>
                  <a:pt x="911262" y="6784270"/>
                  <a:pt x="912194" y="6782939"/>
                  <a:pt x="912860" y="6781209"/>
                </a:cubicBezTo>
                <a:cubicBezTo>
                  <a:pt x="913525" y="6779611"/>
                  <a:pt x="913925" y="6777747"/>
                  <a:pt x="913925" y="6775751"/>
                </a:cubicBezTo>
                <a:cubicBezTo>
                  <a:pt x="913925" y="6773887"/>
                  <a:pt x="913525" y="6772157"/>
                  <a:pt x="912860" y="6770560"/>
                </a:cubicBezTo>
                <a:cubicBezTo>
                  <a:pt x="912194" y="6768962"/>
                  <a:pt x="911262" y="6767631"/>
                  <a:pt x="910198" y="6766433"/>
                </a:cubicBezTo>
                <a:cubicBezTo>
                  <a:pt x="909133" y="6765368"/>
                  <a:pt x="907801" y="6764436"/>
                  <a:pt x="906204" y="6763770"/>
                </a:cubicBezTo>
                <a:cubicBezTo>
                  <a:pt x="904740" y="6763105"/>
                  <a:pt x="903142" y="6762839"/>
                  <a:pt x="901146" y="6762839"/>
                </a:cubicBezTo>
                <a:close/>
                <a:moveTo>
                  <a:pt x="683372" y="6762839"/>
                </a:moveTo>
                <a:cubicBezTo>
                  <a:pt x="677515" y="6762839"/>
                  <a:pt x="674986" y="6764702"/>
                  <a:pt x="673389" y="6766433"/>
                </a:cubicBezTo>
                <a:cubicBezTo>
                  <a:pt x="670859" y="6769095"/>
                  <a:pt x="669795" y="6771890"/>
                  <a:pt x="669795" y="6775884"/>
                </a:cubicBezTo>
                <a:cubicBezTo>
                  <a:pt x="669795" y="6780010"/>
                  <a:pt x="670859" y="6782806"/>
                  <a:pt x="673389" y="6785335"/>
                </a:cubicBezTo>
                <a:cubicBezTo>
                  <a:pt x="674986" y="6786934"/>
                  <a:pt x="677515" y="6788797"/>
                  <a:pt x="683372" y="6788797"/>
                </a:cubicBezTo>
                <a:cubicBezTo>
                  <a:pt x="685369" y="6788797"/>
                  <a:pt x="687233" y="6788531"/>
                  <a:pt x="688698" y="6787865"/>
                </a:cubicBezTo>
                <a:cubicBezTo>
                  <a:pt x="690162" y="6787333"/>
                  <a:pt x="691494" y="6786535"/>
                  <a:pt x="692425" y="6785468"/>
                </a:cubicBezTo>
                <a:cubicBezTo>
                  <a:pt x="693489" y="6784270"/>
                  <a:pt x="694421" y="6782939"/>
                  <a:pt x="695088" y="6781209"/>
                </a:cubicBezTo>
                <a:cubicBezTo>
                  <a:pt x="695753" y="6779611"/>
                  <a:pt x="696153" y="6777747"/>
                  <a:pt x="696153" y="6775751"/>
                </a:cubicBezTo>
                <a:cubicBezTo>
                  <a:pt x="696153" y="6773887"/>
                  <a:pt x="695753" y="6772157"/>
                  <a:pt x="695088" y="6770560"/>
                </a:cubicBezTo>
                <a:cubicBezTo>
                  <a:pt x="694421" y="6768962"/>
                  <a:pt x="693489" y="6767631"/>
                  <a:pt x="692425" y="6766433"/>
                </a:cubicBezTo>
                <a:cubicBezTo>
                  <a:pt x="691360" y="6765368"/>
                  <a:pt x="690029" y="6764436"/>
                  <a:pt x="688432" y="6763770"/>
                </a:cubicBezTo>
                <a:cubicBezTo>
                  <a:pt x="686968" y="6763105"/>
                  <a:pt x="685369" y="6762839"/>
                  <a:pt x="683372" y="6762839"/>
                </a:cubicBezTo>
                <a:close/>
                <a:moveTo>
                  <a:pt x="465732" y="6762839"/>
                </a:moveTo>
                <a:cubicBezTo>
                  <a:pt x="459875" y="6762839"/>
                  <a:pt x="457346" y="6764702"/>
                  <a:pt x="455749" y="6766433"/>
                </a:cubicBezTo>
                <a:cubicBezTo>
                  <a:pt x="453219" y="6769095"/>
                  <a:pt x="452155" y="6771890"/>
                  <a:pt x="452155" y="6775884"/>
                </a:cubicBezTo>
                <a:cubicBezTo>
                  <a:pt x="452155" y="6780010"/>
                  <a:pt x="453219" y="6782806"/>
                  <a:pt x="455749" y="6785335"/>
                </a:cubicBezTo>
                <a:cubicBezTo>
                  <a:pt x="457346" y="6786934"/>
                  <a:pt x="459875" y="6788797"/>
                  <a:pt x="465732" y="6788797"/>
                </a:cubicBezTo>
                <a:cubicBezTo>
                  <a:pt x="467729" y="6788797"/>
                  <a:pt x="469593" y="6788531"/>
                  <a:pt x="471057" y="6787865"/>
                </a:cubicBezTo>
                <a:cubicBezTo>
                  <a:pt x="472521" y="6787333"/>
                  <a:pt x="473852" y="6786535"/>
                  <a:pt x="474784" y="6785468"/>
                </a:cubicBezTo>
                <a:cubicBezTo>
                  <a:pt x="475849" y="6784270"/>
                  <a:pt x="476781" y="6782939"/>
                  <a:pt x="477447" y="6781209"/>
                </a:cubicBezTo>
                <a:cubicBezTo>
                  <a:pt x="478112" y="6779611"/>
                  <a:pt x="478512" y="6777747"/>
                  <a:pt x="478512" y="6775751"/>
                </a:cubicBezTo>
                <a:cubicBezTo>
                  <a:pt x="478512" y="6773887"/>
                  <a:pt x="478112" y="6772157"/>
                  <a:pt x="477447" y="6770560"/>
                </a:cubicBezTo>
                <a:cubicBezTo>
                  <a:pt x="476781" y="6768962"/>
                  <a:pt x="475849" y="6767631"/>
                  <a:pt x="474784" y="6766433"/>
                </a:cubicBezTo>
                <a:cubicBezTo>
                  <a:pt x="473719" y="6765368"/>
                  <a:pt x="472388" y="6764436"/>
                  <a:pt x="470791" y="6763770"/>
                </a:cubicBezTo>
                <a:cubicBezTo>
                  <a:pt x="469327" y="6763105"/>
                  <a:pt x="467729" y="6762839"/>
                  <a:pt x="465732" y="6762839"/>
                </a:cubicBezTo>
                <a:close/>
                <a:moveTo>
                  <a:pt x="248091" y="6762839"/>
                </a:moveTo>
                <a:cubicBezTo>
                  <a:pt x="242234" y="6762839"/>
                  <a:pt x="239706" y="6764702"/>
                  <a:pt x="238109" y="6766433"/>
                </a:cubicBezTo>
                <a:cubicBezTo>
                  <a:pt x="235579" y="6769095"/>
                  <a:pt x="234515" y="6771890"/>
                  <a:pt x="234515" y="6775884"/>
                </a:cubicBezTo>
                <a:cubicBezTo>
                  <a:pt x="234515" y="6780010"/>
                  <a:pt x="235579" y="6782806"/>
                  <a:pt x="238109" y="6785335"/>
                </a:cubicBezTo>
                <a:cubicBezTo>
                  <a:pt x="239706" y="6786934"/>
                  <a:pt x="242234" y="6788797"/>
                  <a:pt x="248091" y="6788797"/>
                </a:cubicBezTo>
                <a:cubicBezTo>
                  <a:pt x="250221" y="6788797"/>
                  <a:pt x="251952" y="6788531"/>
                  <a:pt x="253416" y="6787865"/>
                </a:cubicBezTo>
                <a:cubicBezTo>
                  <a:pt x="254880" y="6787333"/>
                  <a:pt x="256210" y="6786535"/>
                  <a:pt x="257142" y="6785468"/>
                </a:cubicBezTo>
                <a:cubicBezTo>
                  <a:pt x="258207" y="6784270"/>
                  <a:pt x="259139" y="6782939"/>
                  <a:pt x="259805" y="6781209"/>
                </a:cubicBezTo>
                <a:cubicBezTo>
                  <a:pt x="260470" y="6779611"/>
                  <a:pt x="260870" y="6777747"/>
                  <a:pt x="260870" y="6775751"/>
                </a:cubicBezTo>
                <a:cubicBezTo>
                  <a:pt x="260870" y="6773887"/>
                  <a:pt x="260470" y="6772157"/>
                  <a:pt x="259805" y="6770560"/>
                </a:cubicBezTo>
                <a:cubicBezTo>
                  <a:pt x="259139" y="6768962"/>
                  <a:pt x="258207" y="6767631"/>
                  <a:pt x="257142" y="6766433"/>
                </a:cubicBezTo>
                <a:cubicBezTo>
                  <a:pt x="256077" y="6765368"/>
                  <a:pt x="254746" y="6764436"/>
                  <a:pt x="253150" y="6763770"/>
                </a:cubicBezTo>
                <a:cubicBezTo>
                  <a:pt x="251685" y="6763105"/>
                  <a:pt x="250088" y="6762839"/>
                  <a:pt x="248091" y="6762839"/>
                </a:cubicBezTo>
                <a:close/>
                <a:moveTo>
                  <a:pt x="30450" y="6762839"/>
                </a:moveTo>
                <a:cubicBezTo>
                  <a:pt x="24593" y="6762839"/>
                  <a:pt x="22064" y="6764702"/>
                  <a:pt x="20467" y="6766433"/>
                </a:cubicBezTo>
                <a:cubicBezTo>
                  <a:pt x="17937" y="6769095"/>
                  <a:pt x="16874" y="6771890"/>
                  <a:pt x="16874" y="6775884"/>
                </a:cubicBezTo>
                <a:cubicBezTo>
                  <a:pt x="16874" y="6780010"/>
                  <a:pt x="17937" y="6782806"/>
                  <a:pt x="20467" y="6785335"/>
                </a:cubicBezTo>
                <a:cubicBezTo>
                  <a:pt x="22064" y="6786934"/>
                  <a:pt x="24593" y="6788797"/>
                  <a:pt x="30450" y="6788797"/>
                </a:cubicBezTo>
                <a:cubicBezTo>
                  <a:pt x="32580" y="6788797"/>
                  <a:pt x="34311" y="6788531"/>
                  <a:pt x="35775" y="6787865"/>
                </a:cubicBezTo>
                <a:cubicBezTo>
                  <a:pt x="37239" y="6787333"/>
                  <a:pt x="38571" y="6786535"/>
                  <a:pt x="39502" y="6785468"/>
                </a:cubicBezTo>
                <a:cubicBezTo>
                  <a:pt x="40567" y="6784270"/>
                  <a:pt x="41499" y="6782939"/>
                  <a:pt x="42165" y="6781209"/>
                </a:cubicBezTo>
                <a:cubicBezTo>
                  <a:pt x="42830" y="6779611"/>
                  <a:pt x="43096" y="6777747"/>
                  <a:pt x="43096" y="6775751"/>
                </a:cubicBezTo>
                <a:cubicBezTo>
                  <a:pt x="43096" y="6773887"/>
                  <a:pt x="42830" y="6772157"/>
                  <a:pt x="42165" y="6770560"/>
                </a:cubicBezTo>
                <a:cubicBezTo>
                  <a:pt x="41499" y="6768962"/>
                  <a:pt x="40567" y="6767631"/>
                  <a:pt x="39502" y="6766433"/>
                </a:cubicBezTo>
                <a:cubicBezTo>
                  <a:pt x="38437" y="6765368"/>
                  <a:pt x="37106" y="6764436"/>
                  <a:pt x="35509" y="6763770"/>
                </a:cubicBezTo>
                <a:cubicBezTo>
                  <a:pt x="34045" y="6763105"/>
                  <a:pt x="32447" y="6762839"/>
                  <a:pt x="30450" y="6762839"/>
                </a:cubicBezTo>
                <a:close/>
                <a:moveTo>
                  <a:pt x="10475977" y="6746199"/>
                </a:moveTo>
                <a:cubicBezTo>
                  <a:pt x="10480237" y="6746199"/>
                  <a:pt x="10484230" y="6746998"/>
                  <a:pt x="10487824" y="6748595"/>
                </a:cubicBezTo>
                <a:cubicBezTo>
                  <a:pt x="10491419" y="6750192"/>
                  <a:pt x="10494613" y="6752323"/>
                  <a:pt x="10497143" y="6754985"/>
                </a:cubicBezTo>
                <a:cubicBezTo>
                  <a:pt x="10499672" y="6757514"/>
                  <a:pt x="10501801" y="6760709"/>
                  <a:pt x="10503266" y="6764303"/>
                </a:cubicBezTo>
                <a:cubicBezTo>
                  <a:pt x="10504730" y="6767897"/>
                  <a:pt x="10505529" y="6771757"/>
                  <a:pt x="10505529" y="6775751"/>
                </a:cubicBezTo>
                <a:cubicBezTo>
                  <a:pt x="10505529" y="6779878"/>
                  <a:pt x="10504730" y="6783871"/>
                  <a:pt x="10503266" y="6787466"/>
                </a:cubicBezTo>
                <a:cubicBezTo>
                  <a:pt x="10501669" y="6791193"/>
                  <a:pt x="10499672" y="6794255"/>
                  <a:pt x="10497143" y="6796917"/>
                </a:cubicBezTo>
                <a:cubicBezTo>
                  <a:pt x="10494480" y="6799580"/>
                  <a:pt x="10491419" y="6801709"/>
                  <a:pt x="10487824" y="6803174"/>
                </a:cubicBezTo>
                <a:cubicBezTo>
                  <a:pt x="10484098" y="6804638"/>
                  <a:pt x="10480237" y="6805437"/>
                  <a:pt x="10475977" y="6805437"/>
                </a:cubicBezTo>
                <a:cubicBezTo>
                  <a:pt x="10466924" y="6805437"/>
                  <a:pt x="10459736" y="6802508"/>
                  <a:pt x="10454145" y="6796917"/>
                </a:cubicBezTo>
                <a:cubicBezTo>
                  <a:pt x="10448554" y="6791327"/>
                  <a:pt x="10445759" y="6784270"/>
                  <a:pt x="10445759" y="6775751"/>
                </a:cubicBezTo>
                <a:cubicBezTo>
                  <a:pt x="10445759" y="6767497"/>
                  <a:pt x="10448554" y="6760443"/>
                  <a:pt x="10454145" y="6754719"/>
                </a:cubicBezTo>
                <a:cubicBezTo>
                  <a:pt x="10459603" y="6749128"/>
                  <a:pt x="10466924" y="6746199"/>
                  <a:pt x="10475977" y="6746199"/>
                </a:cubicBezTo>
                <a:close/>
                <a:moveTo>
                  <a:pt x="10258466" y="6746199"/>
                </a:moveTo>
                <a:cubicBezTo>
                  <a:pt x="10262592" y="6746199"/>
                  <a:pt x="10266586" y="6746998"/>
                  <a:pt x="10270313" y="6748595"/>
                </a:cubicBezTo>
                <a:cubicBezTo>
                  <a:pt x="10273907" y="6750192"/>
                  <a:pt x="10277101" y="6752323"/>
                  <a:pt x="10279631" y="6754985"/>
                </a:cubicBezTo>
                <a:cubicBezTo>
                  <a:pt x="10282160" y="6757514"/>
                  <a:pt x="10284290" y="6760709"/>
                  <a:pt x="10285754" y="6764303"/>
                </a:cubicBezTo>
                <a:cubicBezTo>
                  <a:pt x="10287218" y="6767897"/>
                  <a:pt x="10288017" y="6771757"/>
                  <a:pt x="10288017" y="6775751"/>
                </a:cubicBezTo>
                <a:cubicBezTo>
                  <a:pt x="10288017" y="6779878"/>
                  <a:pt x="10287218" y="6783871"/>
                  <a:pt x="10285754" y="6787466"/>
                </a:cubicBezTo>
                <a:cubicBezTo>
                  <a:pt x="10284157" y="6791193"/>
                  <a:pt x="10282160" y="6794255"/>
                  <a:pt x="10279631" y="6796917"/>
                </a:cubicBezTo>
                <a:cubicBezTo>
                  <a:pt x="10276969" y="6799580"/>
                  <a:pt x="10273907" y="6801709"/>
                  <a:pt x="10270313" y="6803174"/>
                </a:cubicBezTo>
                <a:cubicBezTo>
                  <a:pt x="10266586" y="6804638"/>
                  <a:pt x="10262725" y="6805437"/>
                  <a:pt x="10258466" y="6805437"/>
                </a:cubicBezTo>
                <a:cubicBezTo>
                  <a:pt x="10249546" y="6805437"/>
                  <a:pt x="10242224" y="6802508"/>
                  <a:pt x="10236633" y="6796917"/>
                </a:cubicBezTo>
                <a:cubicBezTo>
                  <a:pt x="10231043" y="6791327"/>
                  <a:pt x="10228247" y="6784270"/>
                  <a:pt x="10228247" y="6775751"/>
                </a:cubicBezTo>
                <a:cubicBezTo>
                  <a:pt x="10228247" y="6767497"/>
                  <a:pt x="10231043" y="6760443"/>
                  <a:pt x="10236633" y="6754719"/>
                </a:cubicBezTo>
                <a:cubicBezTo>
                  <a:pt x="10242092" y="6749128"/>
                  <a:pt x="10249413" y="6746199"/>
                  <a:pt x="10258466" y="6746199"/>
                </a:cubicBezTo>
                <a:close/>
                <a:moveTo>
                  <a:pt x="10040820" y="6746199"/>
                </a:moveTo>
                <a:cubicBezTo>
                  <a:pt x="10045080" y="6746199"/>
                  <a:pt x="10048941" y="6746998"/>
                  <a:pt x="10052534" y="6748595"/>
                </a:cubicBezTo>
                <a:cubicBezTo>
                  <a:pt x="10056129" y="6750192"/>
                  <a:pt x="10059323" y="6752323"/>
                  <a:pt x="10061852" y="6754985"/>
                </a:cubicBezTo>
                <a:cubicBezTo>
                  <a:pt x="10064382" y="6757514"/>
                  <a:pt x="10066512" y="6760709"/>
                  <a:pt x="10067976" y="6764303"/>
                </a:cubicBezTo>
                <a:cubicBezTo>
                  <a:pt x="10069440" y="6767897"/>
                  <a:pt x="10070239" y="6771757"/>
                  <a:pt x="10070239" y="6775751"/>
                </a:cubicBezTo>
                <a:cubicBezTo>
                  <a:pt x="10070239" y="6779878"/>
                  <a:pt x="10069440" y="6783871"/>
                  <a:pt x="10067976" y="6787466"/>
                </a:cubicBezTo>
                <a:cubicBezTo>
                  <a:pt x="10066379" y="6791193"/>
                  <a:pt x="10064382" y="6794255"/>
                  <a:pt x="10061852" y="6796917"/>
                </a:cubicBezTo>
                <a:cubicBezTo>
                  <a:pt x="10059190" y="6799580"/>
                  <a:pt x="10056129" y="6801709"/>
                  <a:pt x="10052534" y="6803174"/>
                </a:cubicBezTo>
                <a:cubicBezTo>
                  <a:pt x="10048941" y="6804638"/>
                  <a:pt x="10045080" y="6805437"/>
                  <a:pt x="10040820" y="6805437"/>
                </a:cubicBezTo>
                <a:cubicBezTo>
                  <a:pt x="10031767" y="6805437"/>
                  <a:pt x="10024579" y="6802508"/>
                  <a:pt x="10018988" y="6796917"/>
                </a:cubicBezTo>
                <a:cubicBezTo>
                  <a:pt x="10013397" y="6791327"/>
                  <a:pt x="10010602" y="6784270"/>
                  <a:pt x="10010602" y="6775751"/>
                </a:cubicBezTo>
                <a:cubicBezTo>
                  <a:pt x="10010602" y="6767497"/>
                  <a:pt x="10013397" y="6760443"/>
                  <a:pt x="10018988" y="6754719"/>
                </a:cubicBezTo>
                <a:cubicBezTo>
                  <a:pt x="10024579" y="6749128"/>
                  <a:pt x="10031767" y="6746199"/>
                  <a:pt x="10040820" y="6746199"/>
                </a:cubicBezTo>
                <a:close/>
                <a:moveTo>
                  <a:pt x="9823176" y="6746199"/>
                </a:moveTo>
                <a:cubicBezTo>
                  <a:pt x="9827435" y="6746199"/>
                  <a:pt x="9831296" y="6746998"/>
                  <a:pt x="9834890" y="6748595"/>
                </a:cubicBezTo>
                <a:cubicBezTo>
                  <a:pt x="9838617" y="6750192"/>
                  <a:pt x="9841679" y="6752323"/>
                  <a:pt x="9844208" y="6754985"/>
                </a:cubicBezTo>
                <a:cubicBezTo>
                  <a:pt x="9846737" y="6757514"/>
                  <a:pt x="9848867" y="6760709"/>
                  <a:pt x="9850331" y="6764303"/>
                </a:cubicBezTo>
                <a:cubicBezTo>
                  <a:pt x="9851796" y="6767897"/>
                  <a:pt x="9852595" y="6771757"/>
                  <a:pt x="9852595" y="6775751"/>
                </a:cubicBezTo>
                <a:cubicBezTo>
                  <a:pt x="9852595" y="6779878"/>
                  <a:pt x="9851796" y="6783871"/>
                  <a:pt x="9850331" y="6787466"/>
                </a:cubicBezTo>
                <a:cubicBezTo>
                  <a:pt x="9848734" y="6791193"/>
                  <a:pt x="9846737" y="6794255"/>
                  <a:pt x="9844208" y="6796917"/>
                </a:cubicBezTo>
                <a:cubicBezTo>
                  <a:pt x="9841546" y="6799580"/>
                  <a:pt x="9838484" y="6801709"/>
                  <a:pt x="9834890" y="6803174"/>
                </a:cubicBezTo>
                <a:cubicBezTo>
                  <a:pt x="9831296" y="6804638"/>
                  <a:pt x="9827435" y="6805437"/>
                  <a:pt x="9823176" y="6805437"/>
                </a:cubicBezTo>
                <a:cubicBezTo>
                  <a:pt x="9814123" y="6805437"/>
                  <a:pt x="9806935" y="6802508"/>
                  <a:pt x="9801343" y="6796917"/>
                </a:cubicBezTo>
                <a:cubicBezTo>
                  <a:pt x="9795753" y="6791327"/>
                  <a:pt x="9792957" y="6784270"/>
                  <a:pt x="9792957" y="6775751"/>
                </a:cubicBezTo>
                <a:cubicBezTo>
                  <a:pt x="9792957" y="6767497"/>
                  <a:pt x="9795753" y="6760443"/>
                  <a:pt x="9801343" y="6754719"/>
                </a:cubicBezTo>
                <a:cubicBezTo>
                  <a:pt x="9806935" y="6749128"/>
                  <a:pt x="9814123" y="6746199"/>
                  <a:pt x="9823176" y="6746199"/>
                </a:cubicBezTo>
                <a:close/>
                <a:moveTo>
                  <a:pt x="9605531" y="6746199"/>
                </a:moveTo>
                <a:cubicBezTo>
                  <a:pt x="9609790" y="6746199"/>
                  <a:pt x="9613784" y="6746998"/>
                  <a:pt x="9617245" y="6748595"/>
                </a:cubicBezTo>
                <a:cubicBezTo>
                  <a:pt x="9620839" y="6750192"/>
                  <a:pt x="9624033" y="6752323"/>
                  <a:pt x="9626562" y="6754985"/>
                </a:cubicBezTo>
                <a:cubicBezTo>
                  <a:pt x="9629092" y="6757514"/>
                  <a:pt x="9631222" y="6760709"/>
                  <a:pt x="9632686" y="6764303"/>
                </a:cubicBezTo>
                <a:cubicBezTo>
                  <a:pt x="9634150" y="6767897"/>
                  <a:pt x="9634949" y="6771757"/>
                  <a:pt x="9634949" y="6775751"/>
                </a:cubicBezTo>
                <a:cubicBezTo>
                  <a:pt x="9634949" y="6779878"/>
                  <a:pt x="9634150" y="6783871"/>
                  <a:pt x="9632686" y="6787466"/>
                </a:cubicBezTo>
                <a:cubicBezTo>
                  <a:pt x="9631089" y="6791193"/>
                  <a:pt x="9629092" y="6794255"/>
                  <a:pt x="9626562" y="6796917"/>
                </a:cubicBezTo>
                <a:cubicBezTo>
                  <a:pt x="9623901" y="6799580"/>
                  <a:pt x="9620839" y="6801709"/>
                  <a:pt x="9617245" y="6803174"/>
                </a:cubicBezTo>
                <a:cubicBezTo>
                  <a:pt x="9613651" y="6804638"/>
                  <a:pt x="9609790" y="6805437"/>
                  <a:pt x="9605531" y="6805437"/>
                </a:cubicBezTo>
                <a:cubicBezTo>
                  <a:pt x="9596610" y="6805437"/>
                  <a:pt x="9589289" y="6802508"/>
                  <a:pt x="9583698" y="6796917"/>
                </a:cubicBezTo>
                <a:cubicBezTo>
                  <a:pt x="9578108" y="6791327"/>
                  <a:pt x="9575312" y="6784270"/>
                  <a:pt x="9575312" y="6775751"/>
                </a:cubicBezTo>
                <a:cubicBezTo>
                  <a:pt x="9575312" y="6767497"/>
                  <a:pt x="9578108" y="6760443"/>
                  <a:pt x="9583698" y="6754719"/>
                </a:cubicBezTo>
                <a:cubicBezTo>
                  <a:pt x="9589289" y="6749128"/>
                  <a:pt x="9596478" y="6746199"/>
                  <a:pt x="9605531" y="6746199"/>
                </a:cubicBezTo>
                <a:close/>
                <a:moveTo>
                  <a:pt x="9387885" y="6746199"/>
                </a:moveTo>
                <a:cubicBezTo>
                  <a:pt x="9392145" y="6746199"/>
                  <a:pt x="9396138" y="6746998"/>
                  <a:pt x="9399599" y="6748595"/>
                </a:cubicBezTo>
                <a:cubicBezTo>
                  <a:pt x="9403194" y="6750192"/>
                  <a:pt x="9406388" y="6752323"/>
                  <a:pt x="9408917" y="6754985"/>
                </a:cubicBezTo>
                <a:cubicBezTo>
                  <a:pt x="9411447" y="6757514"/>
                  <a:pt x="9413576" y="6760709"/>
                  <a:pt x="9415041" y="6764303"/>
                </a:cubicBezTo>
                <a:cubicBezTo>
                  <a:pt x="9416505" y="6767897"/>
                  <a:pt x="9417304" y="6771757"/>
                  <a:pt x="9417304" y="6775751"/>
                </a:cubicBezTo>
                <a:cubicBezTo>
                  <a:pt x="9417304" y="6779878"/>
                  <a:pt x="9416505" y="6783871"/>
                  <a:pt x="9415041" y="6787466"/>
                </a:cubicBezTo>
                <a:cubicBezTo>
                  <a:pt x="9413444" y="6791193"/>
                  <a:pt x="9411447" y="6794255"/>
                  <a:pt x="9408917" y="6796917"/>
                </a:cubicBezTo>
                <a:cubicBezTo>
                  <a:pt x="9406255" y="6799580"/>
                  <a:pt x="9403194" y="6801709"/>
                  <a:pt x="9399599" y="6803174"/>
                </a:cubicBezTo>
                <a:cubicBezTo>
                  <a:pt x="9396005" y="6804638"/>
                  <a:pt x="9392145" y="6805437"/>
                  <a:pt x="9387885" y="6805437"/>
                </a:cubicBezTo>
                <a:cubicBezTo>
                  <a:pt x="9378965" y="6805437"/>
                  <a:pt x="9371644" y="6802508"/>
                  <a:pt x="9366053" y="6796917"/>
                </a:cubicBezTo>
                <a:cubicBezTo>
                  <a:pt x="9360462" y="6791327"/>
                  <a:pt x="9357667" y="6784270"/>
                  <a:pt x="9357667" y="6775751"/>
                </a:cubicBezTo>
                <a:cubicBezTo>
                  <a:pt x="9357667" y="6767497"/>
                  <a:pt x="9360462" y="6760443"/>
                  <a:pt x="9366053" y="6754719"/>
                </a:cubicBezTo>
                <a:cubicBezTo>
                  <a:pt x="9371644" y="6749128"/>
                  <a:pt x="9378832" y="6746199"/>
                  <a:pt x="9387885" y="6746199"/>
                </a:cubicBezTo>
                <a:close/>
                <a:moveTo>
                  <a:pt x="9170374" y="6746199"/>
                </a:moveTo>
                <a:cubicBezTo>
                  <a:pt x="9174500" y="6746199"/>
                  <a:pt x="9178494" y="6746998"/>
                  <a:pt x="9182088" y="6748595"/>
                </a:cubicBezTo>
                <a:cubicBezTo>
                  <a:pt x="9185682" y="6750192"/>
                  <a:pt x="9188876" y="6752323"/>
                  <a:pt x="9191405" y="6754985"/>
                </a:cubicBezTo>
                <a:cubicBezTo>
                  <a:pt x="9193935" y="6757514"/>
                  <a:pt x="9196065" y="6760709"/>
                  <a:pt x="9197529" y="6764303"/>
                </a:cubicBezTo>
                <a:cubicBezTo>
                  <a:pt x="9198993" y="6767897"/>
                  <a:pt x="9199792" y="6771757"/>
                  <a:pt x="9199792" y="6775751"/>
                </a:cubicBezTo>
                <a:cubicBezTo>
                  <a:pt x="9199792" y="6779878"/>
                  <a:pt x="9198993" y="6783871"/>
                  <a:pt x="9197529" y="6787466"/>
                </a:cubicBezTo>
                <a:cubicBezTo>
                  <a:pt x="9195932" y="6791193"/>
                  <a:pt x="9193935" y="6794255"/>
                  <a:pt x="9191405" y="6796917"/>
                </a:cubicBezTo>
                <a:cubicBezTo>
                  <a:pt x="9188744" y="6799580"/>
                  <a:pt x="9185682" y="6801709"/>
                  <a:pt x="9182088" y="6803174"/>
                </a:cubicBezTo>
                <a:cubicBezTo>
                  <a:pt x="9178494" y="6804638"/>
                  <a:pt x="9174633" y="6805437"/>
                  <a:pt x="9170374" y="6805437"/>
                </a:cubicBezTo>
                <a:cubicBezTo>
                  <a:pt x="9161453" y="6805437"/>
                  <a:pt x="9154132" y="6802508"/>
                  <a:pt x="9148541" y="6796917"/>
                </a:cubicBezTo>
                <a:cubicBezTo>
                  <a:pt x="9142951" y="6791327"/>
                  <a:pt x="9140155" y="6784270"/>
                  <a:pt x="9140155" y="6775751"/>
                </a:cubicBezTo>
                <a:cubicBezTo>
                  <a:pt x="9140155" y="6767497"/>
                  <a:pt x="9142951" y="6760443"/>
                  <a:pt x="9148541" y="6754719"/>
                </a:cubicBezTo>
                <a:cubicBezTo>
                  <a:pt x="9154132" y="6749128"/>
                  <a:pt x="9161321" y="6746199"/>
                  <a:pt x="9170374" y="6746199"/>
                </a:cubicBezTo>
                <a:close/>
                <a:moveTo>
                  <a:pt x="8952728" y="6746199"/>
                </a:moveTo>
                <a:cubicBezTo>
                  <a:pt x="8956988" y="6746199"/>
                  <a:pt x="8960849" y="6746998"/>
                  <a:pt x="8964442" y="6748595"/>
                </a:cubicBezTo>
                <a:cubicBezTo>
                  <a:pt x="8968037" y="6750192"/>
                  <a:pt x="8971231" y="6752323"/>
                  <a:pt x="8973760" y="6754985"/>
                </a:cubicBezTo>
                <a:cubicBezTo>
                  <a:pt x="8976290" y="6757514"/>
                  <a:pt x="8978419" y="6760709"/>
                  <a:pt x="8979884" y="6764303"/>
                </a:cubicBezTo>
                <a:cubicBezTo>
                  <a:pt x="8981348" y="6767897"/>
                  <a:pt x="8982147" y="6771757"/>
                  <a:pt x="8982147" y="6775751"/>
                </a:cubicBezTo>
                <a:cubicBezTo>
                  <a:pt x="8982147" y="6779878"/>
                  <a:pt x="8981348" y="6783871"/>
                  <a:pt x="8979884" y="6787466"/>
                </a:cubicBezTo>
                <a:cubicBezTo>
                  <a:pt x="8978287" y="6791193"/>
                  <a:pt x="8976290" y="6794255"/>
                  <a:pt x="8973760" y="6796917"/>
                </a:cubicBezTo>
                <a:cubicBezTo>
                  <a:pt x="8971098" y="6799580"/>
                  <a:pt x="8968037" y="6801709"/>
                  <a:pt x="8964442" y="6803174"/>
                </a:cubicBezTo>
                <a:cubicBezTo>
                  <a:pt x="8960849" y="6804638"/>
                  <a:pt x="8956988" y="6805437"/>
                  <a:pt x="8952728" y="6805437"/>
                </a:cubicBezTo>
                <a:cubicBezTo>
                  <a:pt x="8943808" y="6805437"/>
                  <a:pt x="8936487" y="6802508"/>
                  <a:pt x="8930896" y="6796917"/>
                </a:cubicBezTo>
                <a:cubicBezTo>
                  <a:pt x="8925305" y="6791327"/>
                  <a:pt x="8922510" y="6784270"/>
                  <a:pt x="8922510" y="6775751"/>
                </a:cubicBezTo>
                <a:cubicBezTo>
                  <a:pt x="8922510" y="6767497"/>
                  <a:pt x="8925305" y="6760443"/>
                  <a:pt x="8930896" y="6754719"/>
                </a:cubicBezTo>
                <a:cubicBezTo>
                  <a:pt x="8936487" y="6749128"/>
                  <a:pt x="8943675" y="6746199"/>
                  <a:pt x="8952728" y="6746199"/>
                </a:cubicBezTo>
                <a:close/>
                <a:moveTo>
                  <a:pt x="8735083" y="6746199"/>
                </a:moveTo>
                <a:cubicBezTo>
                  <a:pt x="8739342" y="6746199"/>
                  <a:pt x="8743203" y="6746998"/>
                  <a:pt x="8746797" y="6748595"/>
                </a:cubicBezTo>
                <a:cubicBezTo>
                  <a:pt x="8750391" y="6750192"/>
                  <a:pt x="8753586" y="6752323"/>
                  <a:pt x="8756115" y="6754985"/>
                </a:cubicBezTo>
                <a:cubicBezTo>
                  <a:pt x="8758644" y="6757514"/>
                  <a:pt x="8760774" y="6760709"/>
                  <a:pt x="8762238" y="6764303"/>
                </a:cubicBezTo>
                <a:cubicBezTo>
                  <a:pt x="8763702" y="6767897"/>
                  <a:pt x="8764502" y="6771757"/>
                  <a:pt x="8764502" y="6775751"/>
                </a:cubicBezTo>
                <a:cubicBezTo>
                  <a:pt x="8764502" y="6779878"/>
                  <a:pt x="8763702" y="6783871"/>
                  <a:pt x="8762238" y="6787466"/>
                </a:cubicBezTo>
                <a:cubicBezTo>
                  <a:pt x="8760641" y="6791193"/>
                  <a:pt x="8758644" y="6794255"/>
                  <a:pt x="8756115" y="6796917"/>
                </a:cubicBezTo>
                <a:cubicBezTo>
                  <a:pt x="8753453" y="6799580"/>
                  <a:pt x="8750391" y="6801709"/>
                  <a:pt x="8746797" y="6803174"/>
                </a:cubicBezTo>
                <a:cubicBezTo>
                  <a:pt x="8743203" y="6804638"/>
                  <a:pt x="8739342" y="6805437"/>
                  <a:pt x="8735083" y="6805437"/>
                </a:cubicBezTo>
                <a:cubicBezTo>
                  <a:pt x="8726030" y="6805437"/>
                  <a:pt x="8718841" y="6802508"/>
                  <a:pt x="8713250" y="6796917"/>
                </a:cubicBezTo>
                <a:cubicBezTo>
                  <a:pt x="8707660" y="6791327"/>
                  <a:pt x="8704864" y="6784270"/>
                  <a:pt x="8704864" y="6775751"/>
                </a:cubicBezTo>
                <a:cubicBezTo>
                  <a:pt x="8704864" y="6767497"/>
                  <a:pt x="8707660" y="6760443"/>
                  <a:pt x="8713250" y="6754719"/>
                </a:cubicBezTo>
                <a:cubicBezTo>
                  <a:pt x="8718841" y="6749128"/>
                  <a:pt x="8726030" y="6746199"/>
                  <a:pt x="8735083" y="6746199"/>
                </a:cubicBezTo>
                <a:close/>
                <a:moveTo>
                  <a:pt x="8517438" y="6746199"/>
                </a:moveTo>
                <a:cubicBezTo>
                  <a:pt x="8521698" y="6746199"/>
                  <a:pt x="8525559" y="6746998"/>
                  <a:pt x="8529152" y="6748595"/>
                </a:cubicBezTo>
                <a:cubicBezTo>
                  <a:pt x="8532880" y="6750192"/>
                  <a:pt x="8535941" y="6752323"/>
                  <a:pt x="8538470" y="6754985"/>
                </a:cubicBezTo>
                <a:cubicBezTo>
                  <a:pt x="8541000" y="6757514"/>
                  <a:pt x="8543130" y="6760709"/>
                  <a:pt x="8544594" y="6764303"/>
                </a:cubicBezTo>
                <a:cubicBezTo>
                  <a:pt x="8546058" y="6767897"/>
                  <a:pt x="8546857" y="6771757"/>
                  <a:pt x="8546857" y="6775751"/>
                </a:cubicBezTo>
                <a:cubicBezTo>
                  <a:pt x="8546857" y="6779878"/>
                  <a:pt x="8546058" y="6783871"/>
                  <a:pt x="8544594" y="6787466"/>
                </a:cubicBezTo>
                <a:cubicBezTo>
                  <a:pt x="8542997" y="6791193"/>
                  <a:pt x="8541000" y="6794255"/>
                  <a:pt x="8538470" y="6796917"/>
                </a:cubicBezTo>
                <a:cubicBezTo>
                  <a:pt x="8535808" y="6799580"/>
                  <a:pt x="8532747" y="6801709"/>
                  <a:pt x="8529152" y="6803174"/>
                </a:cubicBezTo>
                <a:cubicBezTo>
                  <a:pt x="8525559" y="6804638"/>
                  <a:pt x="8521698" y="6805437"/>
                  <a:pt x="8517438" y="6805437"/>
                </a:cubicBezTo>
                <a:cubicBezTo>
                  <a:pt x="8508385" y="6805437"/>
                  <a:pt x="8501197" y="6802508"/>
                  <a:pt x="8495606" y="6796917"/>
                </a:cubicBezTo>
                <a:cubicBezTo>
                  <a:pt x="8490015" y="6791327"/>
                  <a:pt x="8487220" y="6784270"/>
                  <a:pt x="8487220" y="6775751"/>
                </a:cubicBezTo>
                <a:cubicBezTo>
                  <a:pt x="8487220" y="6767497"/>
                  <a:pt x="8490015" y="6760443"/>
                  <a:pt x="8495606" y="6754719"/>
                </a:cubicBezTo>
                <a:cubicBezTo>
                  <a:pt x="8501197" y="6749128"/>
                  <a:pt x="8508385" y="6746199"/>
                  <a:pt x="8517438" y="6746199"/>
                </a:cubicBezTo>
                <a:close/>
                <a:moveTo>
                  <a:pt x="8299793" y="6746199"/>
                </a:moveTo>
                <a:cubicBezTo>
                  <a:pt x="8304052" y="6746199"/>
                  <a:pt x="8308046" y="6746998"/>
                  <a:pt x="8311507" y="6748595"/>
                </a:cubicBezTo>
                <a:cubicBezTo>
                  <a:pt x="8315235" y="6750192"/>
                  <a:pt x="8318296" y="6752323"/>
                  <a:pt x="8320825" y="6754985"/>
                </a:cubicBezTo>
                <a:cubicBezTo>
                  <a:pt x="8323354" y="6757514"/>
                  <a:pt x="8325484" y="6760709"/>
                  <a:pt x="8326948" y="6764303"/>
                </a:cubicBezTo>
                <a:cubicBezTo>
                  <a:pt x="8328413" y="6767897"/>
                  <a:pt x="8329212" y="6771757"/>
                  <a:pt x="8329212" y="6775751"/>
                </a:cubicBezTo>
                <a:cubicBezTo>
                  <a:pt x="8329212" y="6779878"/>
                  <a:pt x="8328413" y="6783871"/>
                  <a:pt x="8326948" y="6787466"/>
                </a:cubicBezTo>
                <a:cubicBezTo>
                  <a:pt x="8325351" y="6791193"/>
                  <a:pt x="8323354" y="6794255"/>
                  <a:pt x="8320825" y="6796917"/>
                </a:cubicBezTo>
                <a:cubicBezTo>
                  <a:pt x="8318163" y="6799580"/>
                  <a:pt x="8315101" y="6801709"/>
                  <a:pt x="8311507" y="6803174"/>
                </a:cubicBezTo>
                <a:cubicBezTo>
                  <a:pt x="8307913" y="6804638"/>
                  <a:pt x="8304052" y="6805437"/>
                  <a:pt x="8299793" y="6805437"/>
                </a:cubicBezTo>
                <a:cubicBezTo>
                  <a:pt x="8290874" y="6805437"/>
                  <a:pt x="8283553" y="6802508"/>
                  <a:pt x="8277960" y="6796917"/>
                </a:cubicBezTo>
                <a:cubicBezTo>
                  <a:pt x="8272370" y="6791327"/>
                  <a:pt x="8269574" y="6784270"/>
                  <a:pt x="8269574" y="6775751"/>
                </a:cubicBezTo>
                <a:cubicBezTo>
                  <a:pt x="8269574" y="6767497"/>
                  <a:pt x="8272370" y="6760443"/>
                  <a:pt x="8277960" y="6754719"/>
                </a:cubicBezTo>
                <a:cubicBezTo>
                  <a:pt x="8283553" y="6749128"/>
                  <a:pt x="8290741" y="6746199"/>
                  <a:pt x="8299793" y="6746199"/>
                </a:cubicBezTo>
                <a:close/>
                <a:moveTo>
                  <a:pt x="8082281" y="6746199"/>
                </a:moveTo>
                <a:cubicBezTo>
                  <a:pt x="8086407" y="6746199"/>
                  <a:pt x="8090401" y="6746998"/>
                  <a:pt x="8094127" y="6748595"/>
                </a:cubicBezTo>
                <a:cubicBezTo>
                  <a:pt x="8097855" y="6750192"/>
                  <a:pt x="8100916" y="6752323"/>
                  <a:pt x="8103446" y="6754985"/>
                </a:cubicBezTo>
                <a:cubicBezTo>
                  <a:pt x="8105975" y="6757514"/>
                  <a:pt x="8108104" y="6760709"/>
                  <a:pt x="8109569" y="6764303"/>
                </a:cubicBezTo>
                <a:cubicBezTo>
                  <a:pt x="8111033" y="6767897"/>
                  <a:pt x="8111832" y="6771757"/>
                  <a:pt x="8111832" y="6775751"/>
                </a:cubicBezTo>
                <a:cubicBezTo>
                  <a:pt x="8111832" y="6779878"/>
                  <a:pt x="8111033" y="6783871"/>
                  <a:pt x="8109569" y="6787466"/>
                </a:cubicBezTo>
                <a:cubicBezTo>
                  <a:pt x="8107972" y="6791193"/>
                  <a:pt x="8105975" y="6794255"/>
                  <a:pt x="8103446" y="6796917"/>
                </a:cubicBezTo>
                <a:cubicBezTo>
                  <a:pt x="8100783" y="6799580"/>
                  <a:pt x="8097722" y="6801709"/>
                  <a:pt x="8094127" y="6803174"/>
                </a:cubicBezTo>
                <a:cubicBezTo>
                  <a:pt x="8090401" y="6804638"/>
                  <a:pt x="8086540" y="6805437"/>
                  <a:pt x="8082281" y="6805437"/>
                </a:cubicBezTo>
                <a:cubicBezTo>
                  <a:pt x="8073361" y="6805437"/>
                  <a:pt x="8066040" y="6802508"/>
                  <a:pt x="8060448" y="6796917"/>
                </a:cubicBezTo>
                <a:cubicBezTo>
                  <a:pt x="8054857" y="6791327"/>
                  <a:pt x="8052062" y="6784270"/>
                  <a:pt x="8052062" y="6775751"/>
                </a:cubicBezTo>
                <a:cubicBezTo>
                  <a:pt x="8052062" y="6767497"/>
                  <a:pt x="8054857" y="6760443"/>
                  <a:pt x="8060448" y="6754719"/>
                </a:cubicBezTo>
                <a:cubicBezTo>
                  <a:pt x="8066040" y="6749128"/>
                  <a:pt x="8073228" y="6746199"/>
                  <a:pt x="8082281" y="6746199"/>
                </a:cubicBezTo>
                <a:close/>
                <a:moveTo>
                  <a:pt x="7864636" y="6746199"/>
                </a:moveTo>
                <a:cubicBezTo>
                  <a:pt x="7868762" y="6746199"/>
                  <a:pt x="7872756" y="6746998"/>
                  <a:pt x="7876483" y="6748595"/>
                </a:cubicBezTo>
                <a:cubicBezTo>
                  <a:pt x="7880210" y="6750192"/>
                  <a:pt x="7883272" y="6752323"/>
                  <a:pt x="7885802" y="6754985"/>
                </a:cubicBezTo>
                <a:cubicBezTo>
                  <a:pt x="7888331" y="6757514"/>
                  <a:pt x="7890460" y="6760709"/>
                  <a:pt x="7891924" y="6764303"/>
                </a:cubicBezTo>
                <a:cubicBezTo>
                  <a:pt x="7893389" y="6767897"/>
                  <a:pt x="7894188" y="6771757"/>
                  <a:pt x="7894188" y="6775751"/>
                </a:cubicBezTo>
                <a:cubicBezTo>
                  <a:pt x="7894188" y="6779878"/>
                  <a:pt x="7893389" y="6783871"/>
                  <a:pt x="7891924" y="6787466"/>
                </a:cubicBezTo>
                <a:cubicBezTo>
                  <a:pt x="7890327" y="6791193"/>
                  <a:pt x="7888331" y="6794255"/>
                  <a:pt x="7885802" y="6796917"/>
                </a:cubicBezTo>
                <a:cubicBezTo>
                  <a:pt x="7883139" y="6799580"/>
                  <a:pt x="7880078" y="6801709"/>
                  <a:pt x="7876483" y="6803174"/>
                </a:cubicBezTo>
                <a:cubicBezTo>
                  <a:pt x="7872756" y="6804638"/>
                  <a:pt x="7868895" y="6805437"/>
                  <a:pt x="7864636" y="6805437"/>
                </a:cubicBezTo>
                <a:cubicBezTo>
                  <a:pt x="7855717" y="6805437"/>
                  <a:pt x="7848396" y="6802508"/>
                  <a:pt x="7842803" y="6796917"/>
                </a:cubicBezTo>
                <a:cubicBezTo>
                  <a:pt x="7837213" y="6791327"/>
                  <a:pt x="7834417" y="6784270"/>
                  <a:pt x="7834417" y="6775751"/>
                </a:cubicBezTo>
                <a:cubicBezTo>
                  <a:pt x="7834417" y="6767497"/>
                  <a:pt x="7837213" y="6760443"/>
                  <a:pt x="7842803" y="6754719"/>
                </a:cubicBezTo>
                <a:cubicBezTo>
                  <a:pt x="7848396" y="6749128"/>
                  <a:pt x="7855584" y="6746199"/>
                  <a:pt x="7864636" y="6746199"/>
                </a:cubicBezTo>
                <a:close/>
                <a:moveTo>
                  <a:pt x="7646991" y="6746199"/>
                </a:moveTo>
                <a:cubicBezTo>
                  <a:pt x="7651250" y="6746199"/>
                  <a:pt x="7655111" y="6746998"/>
                  <a:pt x="7658705" y="6748595"/>
                </a:cubicBezTo>
                <a:cubicBezTo>
                  <a:pt x="7662432" y="6750192"/>
                  <a:pt x="7665493" y="6752323"/>
                  <a:pt x="7668022" y="6754985"/>
                </a:cubicBezTo>
                <a:cubicBezTo>
                  <a:pt x="7670552" y="6757514"/>
                  <a:pt x="7672682" y="6760709"/>
                  <a:pt x="7674146" y="6764303"/>
                </a:cubicBezTo>
                <a:cubicBezTo>
                  <a:pt x="7675610" y="6767897"/>
                  <a:pt x="7676409" y="6771757"/>
                  <a:pt x="7676409" y="6775751"/>
                </a:cubicBezTo>
                <a:cubicBezTo>
                  <a:pt x="7676409" y="6779878"/>
                  <a:pt x="7675610" y="6783871"/>
                  <a:pt x="7674146" y="6787466"/>
                </a:cubicBezTo>
                <a:cubicBezTo>
                  <a:pt x="7672549" y="6791193"/>
                  <a:pt x="7670552" y="6794255"/>
                  <a:pt x="7668022" y="6796917"/>
                </a:cubicBezTo>
                <a:cubicBezTo>
                  <a:pt x="7665361" y="6799580"/>
                  <a:pt x="7662299" y="6801709"/>
                  <a:pt x="7658705" y="6803174"/>
                </a:cubicBezTo>
                <a:cubicBezTo>
                  <a:pt x="7655111" y="6804638"/>
                  <a:pt x="7651250" y="6805437"/>
                  <a:pt x="7646991" y="6805437"/>
                </a:cubicBezTo>
                <a:cubicBezTo>
                  <a:pt x="7638071" y="6805437"/>
                  <a:pt x="7630750" y="6802508"/>
                  <a:pt x="7625158" y="6796917"/>
                </a:cubicBezTo>
                <a:cubicBezTo>
                  <a:pt x="7619568" y="6791327"/>
                  <a:pt x="7616772" y="6784270"/>
                  <a:pt x="7616772" y="6775751"/>
                </a:cubicBezTo>
                <a:cubicBezTo>
                  <a:pt x="7616772" y="6767497"/>
                  <a:pt x="7619568" y="6760443"/>
                  <a:pt x="7625158" y="6754719"/>
                </a:cubicBezTo>
                <a:cubicBezTo>
                  <a:pt x="7630750" y="6749128"/>
                  <a:pt x="7637939" y="6746199"/>
                  <a:pt x="7646991" y="6746199"/>
                </a:cubicBezTo>
                <a:close/>
                <a:moveTo>
                  <a:pt x="7429345" y="6746199"/>
                </a:moveTo>
                <a:cubicBezTo>
                  <a:pt x="7433605" y="6746199"/>
                  <a:pt x="7437466" y="6746998"/>
                  <a:pt x="7441059" y="6748595"/>
                </a:cubicBezTo>
                <a:cubicBezTo>
                  <a:pt x="7444787" y="6750192"/>
                  <a:pt x="7447848" y="6752323"/>
                  <a:pt x="7450377" y="6754985"/>
                </a:cubicBezTo>
                <a:cubicBezTo>
                  <a:pt x="7452907" y="6757514"/>
                  <a:pt x="7455036" y="6760709"/>
                  <a:pt x="7456501" y="6764303"/>
                </a:cubicBezTo>
                <a:cubicBezTo>
                  <a:pt x="7457965" y="6767897"/>
                  <a:pt x="7458764" y="6771757"/>
                  <a:pt x="7458764" y="6775751"/>
                </a:cubicBezTo>
                <a:cubicBezTo>
                  <a:pt x="7458764" y="6779878"/>
                  <a:pt x="7457965" y="6783871"/>
                  <a:pt x="7456501" y="6787466"/>
                </a:cubicBezTo>
                <a:cubicBezTo>
                  <a:pt x="7454904" y="6791193"/>
                  <a:pt x="7452907" y="6794255"/>
                  <a:pt x="7450377" y="6796917"/>
                </a:cubicBezTo>
                <a:cubicBezTo>
                  <a:pt x="7447715" y="6799580"/>
                  <a:pt x="7444654" y="6801709"/>
                  <a:pt x="7441059" y="6803174"/>
                </a:cubicBezTo>
                <a:cubicBezTo>
                  <a:pt x="7437466" y="6804638"/>
                  <a:pt x="7433605" y="6805437"/>
                  <a:pt x="7429345" y="6805437"/>
                </a:cubicBezTo>
                <a:cubicBezTo>
                  <a:pt x="7420426" y="6805437"/>
                  <a:pt x="7413105" y="6802508"/>
                  <a:pt x="7407513" y="6796917"/>
                </a:cubicBezTo>
                <a:cubicBezTo>
                  <a:pt x="7401922" y="6791327"/>
                  <a:pt x="7399127" y="6784270"/>
                  <a:pt x="7399127" y="6775751"/>
                </a:cubicBezTo>
                <a:cubicBezTo>
                  <a:pt x="7399127" y="6767497"/>
                  <a:pt x="7401922" y="6760443"/>
                  <a:pt x="7407513" y="6754719"/>
                </a:cubicBezTo>
                <a:cubicBezTo>
                  <a:pt x="7413105" y="6749128"/>
                  <a:pt x="7420293" y="6746199"/>
                  <a:pt x="7429345" y="6746199"/>
                </a:cubicBezTo>
                <a:close/>
                <a:moveTo>
                  <a:pt x="7211701" y="6746199"/>
                </a:moveTo>
                <a:cubicBezTo>
                  <a:pt x="7215960" y="6746199"/>
                  <a:pt x="7219954" y="6746998"/>
                  <a:pt x="7223415" y="6748595"/>
                </a:cubicBezTo>
                <a:cubicBezTo>
                  <a:pt x="7227142" y="6750192"/>
                  <a:pt x="7230204" y="6752323"/>
                  <a:pt x="7232733" y="6754985"/>
                </a:cubicBezTo>
                <a:cubicBezTo>
                  <a:pt x="7235262" y="6757514"/>
                  <a:pt x="7237392" y="6760709"/>
                  <a:pt x="7238856" y="6764303"/>
                </a:cubicBezTo>
                <a:cubicBezTo>
                  <a:pt x="7240321" y="6767897"/>
                  <a:pt x="7241120" y="6771757"/>
                  <a:pt x="7241120" y="6775751"/>
                </a:cubicBezTo>
                <a:cubicBezTo>
                  <a:pt x="7241120" y="6779878"/>
                  <a:pt x="7240321" y="6783871"/>
                  <a:pt x="7238856" y="6787466"/>
                </a:cubicBezTo>
                <a:cubicBezTo>
                  <a:pt x="7237259" y="6791193"/>
                  <a:pt x="7235262" y="6794255"/>
                  <a:pt x="7232733" y="6796917"/>
                </a:cubicBezTo>
                <a:cubicBezTo>
                  <a:pt x="7230071" y="6799580"/>
                  <a:pt x="7227009" y="6801709"/>
                  <a:pt x="7223415" y="6803174"/>
                </a:cubicBezTo>
                <a:cubicBezTo>
                  <a:pt x="7219821" y="6804638"/>
                  <a:pt x="7215960" y="6805437"/>
                  <a:pt x="7211701" y="6805437"/>
                </a:cubicBezTo>
                <a:cubicBezTo>
                  <a:pt x="7202782" y="6805437"/>
                  <a:pt x="7195460" y="6802508"/>
                  <a:pt x="7189868" y="6796917"/>
                </a:cubicBezTo>
                <a:cubicBezTo>
                  <a:pt x="7184278" y="6791327"/>
                  <a:pt x="7181482" y="6784270"/>
                  <a:pt x="7181482" y="6775751"/>
                </a:cubicBezTo>
                <a:cubicBezTo>
                  <a:pt x="7181482" y="6767497"/>
                  <a:pt x="7184278" y="6760443"/>
                  <a:pt x="7189868" y="6754719"/>
                </a:cubicBezTo>
                <a:cubicBezTo>
                  <a:pt x="7195460" y="6749128"/>
                  <a:pt x="7202649" y="6746199"/>
                  <a:pt x="7211701" y="6746199"/>
                </a:cubicBezTo>
                <a:close/>
                <a:moveTo>
                  <a:pt x="6994056" y="6746199"/>
                </a:moveTo>
                <a:cubicBezTo>
                  <a:pt x="6998315" y="6746199"/>
                  <a:pt x="7002309" y="6746998"/>
                  <a:pt x="7005769" y="6748595"/>
                </a:cubicBezTo>
                <a:cubicBezTo>
                  <a:pt x="7009497" y="6750192"/>
                  <a:pt x="7012558" y="6752323"/>
                  <a:pt x="7015087" y="6754985"/>
                </a:cubicBezTo>
                <a:cubicBezTo>
                  <a:pt x="7017617" y="6757514"/>
                  <a:pt x="7019747" y="6760709"/>
                  <a:pt x="7021211" y="6764303"/>
                </a:cubicBezTo>
                <a:cubicBezTo>
                  <a:pt x="7022675" y="6767897"/>
                  <a:pt x="7023474" y="6771757"/>
                  <a:pt x="7023474" y="6775751"/>
                </a:cubicBezTo>
                <a:cubicBezTo>
                  <a:pt x="7023474" y="6779878"/>
                  <a:pt x="7022675" y="6783871"/>
                  <a:pt x="7021211" y="6787466"/>
                </a:cubicBezTo>
                <a:cubicBezTo>
                  <a:pt x="7019614" y="6791193"/>
                  <a:pt x="7017617" y="6794255"/>
                  <a:pt x="7015087" y="6796917"/>
                </a:cubicBezTo>
                <a:cubicBezTo>
                  <a:pt x="7012425" y="6799580"/>
                  <a:pt x="7009364" y="6801709"/>
                  <a:pt x="7005769" y="6803174"/>
                </a:cubicBezTo>
                <a:cubicBezTo>
                  <a:pt x="7002176" y="6804638"/>
                  <a:pt x="6998315" y="6805437"/>
                  <a:pt x="6994056" y="6805437"/>
                </a:cubicBezTo>
                <a:cubicBezTo>
                  <a:pt x="6985136" y="6805437"/>
                  <a:pt x="6977815" y="6802508"/>
                  <a:pt x="6972223" y="6796917"/>
                </a:cubicBezTo>
                <a:cubicBezTo>
                  <a:pt x="6966632" y="6791327"/>
                  <a:pt x="6963837" y="6784270"/>
                  <a:pt x="6963837" y="6775751"/>
                </a:cubicBezTo>
                <a:cubicBezTo>
                  <a:pt x="6963837" y="6767497"/>
                  <a:pt x="6966632" y="6760443"/>
                  <a:pt x="6972223" y="6754719"/>
                </a:cubicBezTo>
                <a:cubicBezTo>
                  <a:pt x="6977815" y="6749128"/>
                  <a:pt x="6985003" y="6746199"/>
                  <a:pt x="6994056" y="6746199"/>
                </a:cubicBezTo>
                <a:close/>
                <a:moveTo>
                  <a:pt x="6776544" y="6746199"/>
                </a:moveTo>
                <a:cubicBezTo>
                  <a:pt x="6780670" y="6746199"/>
                  <a:pt x="6784664" y="6746998"/>
                  <a:pt x="6788258" y="6748595"/>
                </a:cubicBezTo>
                <a:cubicBezTo>
                  <a:pt x="6791985" y="6750192"/>
                  <a:pt x="6795047" y="6752323"/>
                  <a:pt x="6797576" y="6754985"/>
                </a:cubicBezTo>
                <a:cubicBezTo>
                  <a:pt x="6800105" y="6757514"/>
                  <a:pt x="6802235" y="6760709"/>
                  <a:pt x="6803699" y="6764303"/>
                </a:cubicBezTo>
                <a:cubicBezTo>
                  <a:pt x="6805164" y="6767897"/>
                  <a:pt x="6805963" y="6771757"/>
                  <a:pt x="6805963" y="6775751"/>
                </a:cubicBezTo>
                <a:cubicBezTo>
                  <a:pt x="6805963" y="6779878"/>
                  <a:pt x="6805164" y="6783871"/>
                  <a:pt x="6803699" y="6787466"/>
                </a:cubicBezTo>
                <a:cubicBezTo>
                  <a:pt x="6802102" y="6791193"/>
                  <a:pt x="6800105" y="6794255"/>
                  <a:pt x="6797576" y="6796917"/>
                </a:cubicBezTo>
                <a:cubicBezTo>
                  <a:pt x="6794914" y="6799580"/>
                  <a:pt x="6791852" y="6801709"/>
                  <a:pt x="6788258" y="6803174"/>
                </a:cubicBezTo>
                <a:cubicBezTo>
                  <a:pt x="6784664" y="6804638"/>
                  <a:pt x="6780803" y="6805437"/>
                  <a:pt x="6776544" y="6805437"/>
                </a:cubicBezTo>
                <a:cubicBezTo>
                  <a:pt x="6767625" y="6805437"/>
                  <a:pt x="6760303" y="6802508"/>
                  <a:pt x="6754711" y="6796917"/>
                </a:cubicBezTo>
                <a:cubicBezTo>
                  <a:pt x="6749121" y="6791327"/>
                  <a:pt x="6746325" y="6784270"/>
                  <a:pt x="6746325" y="6775751"/>
                </a:cubicBezTo>
                <a:cubicBezTo>
                  <a:pt x="6746325" y="6767497"/>
                  <a:pt x="6749121" y="6760443"/>
                  <a:pt x="6754711" y="6754719"/>
                </a:cubicBezTo>
                <a:cubicBezTo>
                  <a:pt x="6760303" y="6749128"/>
                  <a:pt x="6767492" y="6746199"/>
                  <a:pt x="6776544" y="6746199"/>
                </a:cubicBezTo>
                <a:close/>
                <a:moveTo>
                  <a:pt x="6558899" y="6746199"/>
                </a:moveTo>
                <a:cubicBezTo>
                  <a:pt x="6563158" y="6746199"/>
                  <a:pt x="6567019" y="6746998"/>
                  <a:pt x="6570612" y="6748595"/>
                </a:cubicBezTo>
                <a:cubicBezTo>
                  <a:pt x="6574340" y="6750192"/>
                  <a:pt x="6577401" y="6752323"/>
                  <a:pt x="6579930" y="6754985"/>
                </a:cubicBezTo>
                <a:cubicBezTo>
                  <a:pt x="6582460" y="6757514"/>
                  <a:pt x="6584590" y="6760709"/>
                  <a:pt x="6586054" y="6764303"/>
                </a:cubicBezTo>
                <a:cubicBezTo>
                  <a:pt x="6587518" y="6767897"/>
                  <a:pt x="6588317" y="6771757"/>
                  <a:pt x="6588317" y="6775751"/>
                </a:cubicBezTo>
                <a:cubicBezTo>
                  <a:pt x="6588317" y="6779878"/>
                  <a:pt x="6587518" y="6783871"/>
                  <a:pt x="6586054" y="6787466"/>
                </a:cubicBezTo>
                <a:cubicBezTo>
                  <a:pt x="6584457" y="6791193"/>
                  <a:pt x="6582460" y="6794255"/>
                  <a:pt x="6579930" y="6796917"/>
                </a:cubicBezTo>
                <a:cubicBezTo>
                  <a:pt x="6577268" y="6799580"/>
                  <a:pt x="6574207" y="6801709"/>
                  <a:pt x="6570612" y="6803174"/>
                </a:cubicBezTo>
                <a:cubicBezTo>
                  <a:pt x="6567019" y="6804638"/>
                  <a:pt x="6563158" y="6805437"/>
                  <a:pt x="6558899" y="6805437"/>
                </a:cubicBezTo>
                <a:cubicBezTo>
                  <a:pt x="6549979" y="6805437"/>
                  <a:pt x="6542658" y="6802508"/>
                  <a:pt x="6537066" y="6796917"/>
                </a:cubicBezTo>
                <a:cubicBezTo>
                  <a:pt x="6531476" y="6791327"/>
                  <a:pt x="6528680" y="6784270"/>
                  <a:pt x="6528680" y="6775751"/>
                </a:cubicBezTo>
                <a:cubicBezTo>
                  <a:pt x="6528680" y="6767497"/>
                  <a:pt x="6531476" y="6760443"/>
                  <a:pt x="6537066" y="6754719"/>
                </a:cubicBezTo>
                <a:cubicBezTo>
                  <a:pt x="6542658" y="6749128"/>
                  <a:pt x="6549846" y="6746199"/>
                  <a:pt x="6558899" y="6746199"/>
                </a:cubicBezTo>
                <a:close/>
                <a:moveTo>
                  <a:pt x="6341253" y="6746199"/>
                </a:moveTo>
                <a:cubicBezTo>
                  <a:pt x="6345513" y="6746199"/>
                  <a:pt x="6349373" y="6746998"/>
                  <a:pt x="6352968" y="6748595"/>
                </a:cubicBezTo>
                <a:cubicBezTo>
                  <a:pt x="6356695" y="6750192"/>
                  <a:pt x="6359757" y="6752323"/>
                  <a:pt x="6362286" y="6754985"/>
                </a:cubicBezTo>
                <a:cubicBezTo>
                  <a:pt x="6364815" y="6757514"/>
                  <a:pt x="6366945" y="6760709"/>
                  <a:pt x="6368409" y="6764303"/>
                </a:cubicBezTo>
                <a:cubicBezTo>
                  <a:pt x="6369874" y="6767897"/>
                  <a:pt x="6370672" y="6771757"/>
                  <a:pt x="6370672" y="6775751"/>
                </a:cubicBezTo>
                <a:cubicBezTo>
                  <a:pt x="6370672" y="6779878"/>
                  <a:pt x="6369874" y="6783871"/>
                  <a:pt x="6368409" y="6787466"/>
                </a:cubicBezTo>
                <a:cubicBezTo>
                  <a:pt x="6366811" y="6791193"/>
                  <a:pt x="6364815" y="6794255"/>
                  <a:pt x="6362286" y="6796917"/>
                </a:cubicBezTo>
                <a:cubicBezTo>
                  <a:pt x="6359623" y="6799580"/>
                  <a:pt x="6356562" y="6801709"/>
                  <a:pt x="6352968" y="6803174"/>
                </a:cubicBezTo>
                <a:cubicBezTo>
                  <a:pt x="6349373" y="6804638"/>
                  <a:pt x="6345513" y="6805437"/>
                  <a:pt x="6341253" y="6805437"/>
                </a:cubicBezTo>
                <a:cubicBezTo>
                  <a:pt x="6332335" y="6805437"/>
                  <a:pt x="6325013" y="6802508"/>
                  <a:pt x="6319421" y="6796917"/>
                </a:cubicBezTo>
                <a:cubicBezTo>
                  <a:pt x="6313830" y="6791327"/>
                  <a:pt x="6311035" y="6784270"/>
                  <a:pt x="6311035" y="6775751"/>
                </a:cubicBezTo>
                <a:cubicBezTo>
                  <a:pt x="6311035" y="6767497"/>
                  <a:pt x="6313830" y="6760443"/>
                  <a:pt x="6319421" y="6754719"/>
                </a:cubicBezTo>
                <a:cubicBezTo>
                  <a:pt x="6325013" y="6749128"/>
                  <a:pt x="6332201" y="6746199"/>
                  <a:pt x="6341253" y="6746199"/>
                </a:cubicBezTo>
                <a:close/>
                <a:moveTo>
                  <a:pt x="6123608" y="6746199"/>
                </a:moveTo>
                <a:cubicBezTo>
                  <a:pt x="6127867" y="6746199"/>
                  <a:pt x="6131728" y="6746998"/>
                  <a:pt x="6135322" y="6748595"/>
                </a:cubicBezTo>
                <a:cubicBezTo>
                  <a:pt x="6139049" y="6750192"/>
                  <a:pt x="6142111" y="6752323"/>
                  <a:pt x="6144640" y="6754985"/>
                </a:cubicBezTo>
                <a:cubicBezTo>
                  <a:pt x="6147169" y="6757514"/>
                  <a:pt x="6149299" y="6760709"/>
                  <a:pt x="6150763" y="6764303"/>
                </a:cubicBezTo>
                <a:cubicBezTo>
                  <a:pt x="6152228" y="6767897"/>
                  <a:pt x="6153026" y="6771757"/>
                  <a:pt x="6153026" y="6775751"/>
                </a:cubicBezTo>
                <a:cubicBezTo>
                  <a:pt x="6153026" y="6779878"/>
                  <a:pt x="6152228" y="6783871"/>
                  <a:pt x="6150763" y="6787466"/>
                </a:cubicBezTo>
                <a:cubicBezTo>
                  <a:pt x="6149299" y="6791193"/>
                  <a:pt x="6147169" y="6794255"/>
                  <a:pt x="6144640" y="6796917"/>
                </a:cubicBezTo>
                <a:cubicBezTo>
                  <a:pt x="6141977" y="6799580"/>
                  <a:pt x="6138916" y="6801709"/>
                  <a:pt x="6135322" y="6803174"/>
                </a:cubicBezTo>
                <a:cubicBezTo>
                  <a:pt x="6131728" y="6804638"/>
                  <a:pt x="6127867" y="6805437"/>
                  <a:pt x="6123608" y="6805437"/>
                </a:cubicBezTo>
                <a:cubicBezTo>
                  <a:pt x="6114689" y="6805437"/>
                  <a:pt x="6107367" y="6802508"/>
                  <a:pt x="6101775" y="6796917"/>
                </a:cubicBezTo>
                <a:cubicBezTo>
                  <a:pt x="6096184" y="6791327"/>
                  <a:pt x="6093389" y="6784270"/>
                  <a:pt x="6093389" y="6775751"/>
                </a:cubicBezTo>
                <a:cubicBezTo>
                  <a:pt x="6093389" y="6767497"/>
                  <a:pt x="6096184" y="6760443"/>
                  <a:pt x="6101775" y="6754719"/>
                </a:cubicBezTo>
                <a:cubicBezTo>
                  <a:pt x="6107367" y="6749128"/>
                  <a:pt x="6114555" y="6746199"/>
                  <a:pt x="6123608" y="6746199"/>
                </a:cubicBezTo>
                <a:close/>
                <a:moveTo>
                  <a:pt x="5905963" y="6746199"/>
                </a:moveTo>
                <a:cubicBezTo>
                  <a:pt x="5910222" y="6746199"/>
                  <a:pt x="5914216" y="6746998"/>
                  <a:pt x="5917677" y="6748595"/>
                </a:cubicBezTo>
                <a:cubicBezTo>
                  <a:pt x="5921404" y="6750192"/>
                  <a:pt x="5924466" y="6752323"/>
                  <a:pt x="5926995" y="6754985"/>
                </a:cubicBezTo>
                <a:cubicBezTo>
                  <a:pt x="5929524" y="6757514"/>
                  <a:pt x="5931654" y="6760709"/>
                  <a:pt x="5933118" y="6764303"/>
                </a:cubicBezTo>
                <a:cubicBezTo>
                  <a:pt x="5934583" y="6767897"/>
                  <a:pt x="5935381" y="6771757"/>
                  <a:pt x="5935381" y="6775751"/>
                </a:cubicBezTo>
                <a:cubicBezTo>
                  <a:pt x="5935381" y="6779878"/>
                  <a:pt x="5934583" y="6783871"/>
                  <a:pt x="5933118" y="6787466"/>
                </a:cubicBezTo>
                <a:cubicBezTo>
                  <a:pt x="5931654" y="6791193"/>
                  <a:pt x="5929524" y="6794255"/>
                  <a:pt x="5926995" y="6796917"/>
                </a:cubicBezTo>
                <a:cubicBezTo>
                  <a:pt x="5924333" y="6799580"/>
                  <a:pt x="5921271" y="6801709"/>
                  <a:pt x="5917677" y="6803174"/>
                </a:cubicBezTo>
                <a:cubicBezTo>
                  <a:pt x="5914083" y="6804638"/>
                  <a:pt x="5910222" y="6805437"/>
                  <a:pt x="5905963" y="6805437"/>
                </a:cubicBezTo>
                <a:cubicBezTo>
                  <a:pt x="5897044" y="6805437"/>
                  <a:pt x="5889722" y="6802508"/>
                  <a:pt x="5884130" y="6796917"/>
                </a:cubicBezTo>
                <a:cubicBezTo>
                  <a:pt x="5878540" y="6791327"/>
                  <a:pt x="5875744" y="6784270"/>
                  <a:pt x="5875744" y="6775751"/>
                </a:cubicBezTo>
                <a:cubicBezTo>
                  <a:pt x="5875744" y="6767497"/>
                  <a:pt x="5878540" y="6760443"/>
                  <a:pt x="5884130" y="6754719"/>
                </a:cubicBezTo>
                <a:cubicBezTo>
                  <a:pt x="5889722" y="6749128"/>
                  <a:pt x="5896910" y="6746199"/>
                  <a:pt x="5905963" y="6746199"/>
                </a:cubicBezTo>
                <a:close/>
                <a:moveTo>
                  <a:pt x="5688451" y="6746199"/>
                </a:moveTo>
                <a:cubicBezTo>
                  <a:pt x="5692577" y="6746199"/>
                  <a:pt x="5696571" y="6746998"/>
                  <a:pt x="5700165" y="6748595"/>
                </a:cubicBezTo>
                <a:cubicBezTo>
                  <a:pt x="5703892" y="6750192"/>
                  <a:pt x="5706954" y="6752323"/>
                  <a:pt x="5709483" y="6754985"/>
                </a:cubicBezTo>
                <a:cubicBezTo>
                  <a:pt x="5712012" y="6757514"/>
                  <a:pt x="5714142" y="6760709"/>
                  <a:pt x="5715606" y="6764303"/>
                </a:cubicBezTo>
                <a:cubicBezTo>
                  <a:pt x="5717071" y="6767897"/>
                  <a:pt x="5717869" y="6771757"/>
                  <a:pt x="5717869" y="6775751"/>
                </a:cubicBezTo>
                <a:cubicBezTo>
                  <a:pt x="5717869" y="6779878"/>
                  <a:pt x="5717071" y="6783871"/>
                  <a:pt x="5715606" y="6787466"/>
                </a:cubicBezTo>
                <a:cubicBezTo>
                  <a:pt x="5714142" y="6791193"/>
                  <a:pt x="5712012" y="6794255"/>
                  <a:pt x="5709483" y="6796917"/>
                </a:cubicBezTo>
                <a:cubicBezTo>
                  <a:pt x="5706820" y="6799580"/>
                  <a:pt x="5703759" y="6801709"/>
                  <a:pt x="5700165" y="6803174"/>
                </a:cubicBezTo>
                <a:cubicBezTo>
                  <a:pt x="5696571" y="6804638"/>
                  <a:pt x="5692710" y="6805437"/>
                  <a:pt x="5688451" y="6805437"/>
                </a:cubicBezTo>
                <a:cubicBezTo>
                  <a:pt x="5679532" y="6805437"/>
                  <a:pt x="5672210" y="6802508"/>
                  <a:pt x="5666618" y="6796917"/>
                </a:cubicBezTo>
                <a:cubicBezTo>
                  <a:pt x="5661028" y="6791327"/>
                  <a:pt x="5658232" y="6784270"/>
                  <a:pt x="5658232" y="6775751"/>
                </a:cubicBezTo>
                <a:cubicBezTo>
                  <a:pt x="5658232" y="6767497"/>
                  <a:pt x="5661028" y="6760443"/>
                  <a:pt x="5666618" y="6754719"/>
                </a:cubicBezTo>
                <a:cubicBezTo>
                  <a:pt x="5672210" y="6749128"/>
                  <a:pt x="5679398" y="6746199"/>
                  <a:pt x="5688451" y="6746199"/>
                </a:cubicBezTo>
                <a:close/>
                <a:moveTo>
                  <a:pt x="5470806" y="6746199"/>
                </a:moveTo>
                <a:cubicBezTo>
                  <a:pt x="5475065" y="6746199"/>
                  <a:pt x="5478926" y="6746998"/>
                  <a:pt x="5482520" y="6748595"/>
                </a:cubicBezTo>
                <a:cubicBezTo>
                  <a:pt x="5486247" y="6750192"/>
                  <a:pt x="5489309" y="6752323"/>
                  <a:pt x="5491838" y="6754985"/>
                </a:cubicBezTo>
                <a:cubicBezTo>
                  <a:pt x="5494367" y="6757514"/>
                  <a:pt x="5496497" y="6760709"/>
                  <a:pt x="5497961" y="6764303"/>
                </a:cubicBezTo>
                <a:cubicBezTo>
                  <a:pt x="5499426" y="6767897"/>
                  <a:pt x="5500224" y="6771757"/>
                  <a:pt x="5500224" y="6775751"/>
                </a:cubicBezTo>
                <a:cubicBezTo>
                  <a:pt x="5500224" y="6779878"/>
                  <a:pt x="5499426" y="6783871"/>
                  <a:pt x="5497961" y="6787466"/>
                </a:cubicBezTo>
                <a:cubicBezTo>
                  <a:pt x="5496497" y="6791193"/>
                  <a:pt x="5494367" y="6794255"/>
                  <a:pt x="5491838" y="6796917"/>
                </a:cubicBezTo>
                <a:cubicBezTo>
                  <a:pt x="5489176" y="6799580"/>
                  <a:pt x="5486114" y="6801709"/>
                  <a:pt x="5482520" y="6803174"/>
                </a:cubicBezTo>
                <a:cubicBezTo>
                  <a:pt x="5478926" y="6804638"/>
                  <a:pt x="5475065" y="6805437"/>
                  <a:pt x="5470806" y="6805437"/>
                </a:cubicBezTo>
                <a:cubicBezTo>
                  <a:pt x="5461887" y="6805437"/>
                  <a:pt x="5454565" y="6802508"/>
                  <a:pt x="5448973" y="6796917"/>
                </a:cubicBezTo>
                <a:cubicBezTo>
                  <a:pt x="5443383" y="6791327"/>
                  <a:pt x="5440587" y="6784270"/>
                  <a:pt x="5440587" y="6775751"/>
                </a:cubicBezTo>
                <a:cubicBezTo>
                  <a:pt x="5440587" y="6767497"/>
                  <a:pt x="5443383" y="6760443"/>
                  <a:pt x="5448973" y="6754719"/>
                </a:cubicBezTo>
                <a:cubicBezTo>
                  <a:pt x="5454565" y="6749128"/>
                  <a:pt x="5461754" y="6746199"/>
                  <a:pt x="5470806" y="6746199"/>
                </a:cubicBezTo>
                <a:close/>
                <a:moveTo>
                  <a:pt x="5253160" y="6746199"/>
                </a:moveTo>
                <a:cubicBezTo>
                  <a:pt x="5257420" y="6746199"/>
                  <a:pt x="5261280" y="6746998"/>
                  <a:pt x="5264875" y="6748595"/>
                </a:cubicBezTo>
                <a:cubicBezTo>
                  <a:pt x="5268602" y="6750192"/>
                  <a:pt x="5271664" y="6752323"/>
                  <a:pt x="5274192" y="6754985"/>
                </a:cubicBezTo>
                <a:cubicBezTo>
                  <a:pt x="5276722" y="6757514"/>
                  <a:pt x="5278852" y="6760709"/>
                  <a:pt x="5280316" y="6764303"/>
                </a:cubicBezTo>
                <a:cubicBezTo>
                  <a:pt x="5281780" y="6767897"/>
                  <a:pt x="5282579" y="6771757"/>
                  <a:pt x="5282579" y="6775751"/>
                </a:cubicBezTo>
                <a:cubicBezTo>
                  <a:pt x="5282579" y="6779878"/>
                  <a:pt x="5281780" y="6783871"/>
                  <a:pt x="5280316" y="6787466"/>
                </a:cubicBezTo>
                <a:cubicBezTo>
                  <a:pt x="5278852" y="6791193"/>
                  <a:pt x="5276722" y="6794255"/>
                  <a:pt x="5274192" y="6796917"/>
                </a:cubicBezTo>
                <a:cubicBezTo>
                  <a:pt x="5271664" y="6799580"/>
                  <a:pt x="5268469" y="6801709"/>
                  <a:pt x="5264875" y="6803174"/>
                </a:cubicBezTo>
                <a:cubicBezTo>
                  <a:pt x="5261280" y="6804638"/>
                  <a:pt x="5257420" y="6805437"/>
                  <a:pt x="5253160" y="6805437"/>
                </a:cubicBezTo>
                <a:cubicBezTo>
                  <a:pt x="5244241" y="6805437"/>
                  <a:pt x="5236920" y="6802508"/>
                  <a:pt x="5231328" y="6796917"/>
                </a:cubicBezTo>
                <a:cubicBezTo>
                  <a:pt x="5225737" y="6791327"/>
                  <a:pt x="5222942" y="6784270"/>
                  <a:pt x="5222942" y="6775751"/>
                </a:cubicBezTo>
                <a:cubicBezTo>
                  <a:pt x="5222942" y="6767497"/>
                  <a:pt x="5225737" y="6760443"/>
                  <a:pt x="5231328" y="6754719"/>
                </a:cubicBezTo>
                <a:cubicBezTo>
                  <a:pt x="5236920" y="6749128"/>
                  <a:pt x="5244108" y="6746199"/>
                  <a:pt x="5253160" y="6746199"/>
                </a:cubicBezTo>
                <a:close/>
                <a:moveTo>
                  <a:pt x="5035515" y="6746199"/>
                </a:moveTo>
                <a:cubicBezTo>
                  <a:pt x="5039775" y="6746199"/>
                  <a:pt x="5043636" y="6746998"/>
                  <a:pt x="5047230" y="6748595"/>
                </a:cubicBezTo>
                <a:cubicBezTo>
                  <a:pt x="5050957" y="6750192"/>
                  <a:pt x="5054019" y="6752323"/>
                  <a:pt x="5056548" y="6754985"/>
                </a:cubicBezTo>
                <a:cubicBezTo>
                  <a:pt x="5059077" y="6757514"/>
                  <a:pt x="5061207" y="6760709"/>
                  <a:pt x="5062671" y="6764303"/>
                </a:cubicBezTo>
                <a:cubicBezTo>
                  <a:pt x="5064135" y="6767897"/>
                  <a:pt x="5064934" y="6771757"/>
                  <a:pt x="5064934" y="6775751"/>
                </a:cubicBezTo>
                <a:cubicBezTo>
                  <a:pt x="5064934" y="6779878"/>
                  <a:pt x="5064135" y="6783871"/>
                  <a:pt x="5062671" y="6787466"/>
                </a:cubicBezTo>
                <a:cubicBezTo>
                  <a:pt x="5061207" y="6791193"/>
                  <a:pt x="5059077" y="6794255"/>
                  <a:pt x="5056548" y="6796917"/>
                </a:cubicBezTo>
                <a:cubicBezTo>
                  <a:pt x="5053885" y="6799580"/>
                  <a:pt x="5050824" y="6801709"/>
                  <a:pt x="5047230" y="6803174"/>
                </a:cubicBezTo>
                <a:cubicBezTo>
                  <a:pt x="5043636" y="6804638"/>
                  <a:pt x="5039775" y="6805437"/>
                  <a:pt x="5035515" y="6805437"/>
                </a:cubicBezTo>
                <a:cubicBezTo>
                  <a:pt x="5026597" y="6805437"/>
                  <a:pt x="5019275" y="6802508"/>
                  <a:pt x="5013683" y="6796917"/>
                </a:cubicBezTo>
                <a:cubicBezTo>
                  <a:pt x="5008092" y="6791327"/>
                  <a:pt x="5005297" y="6784270"/>
                  <a:pt x="5005297" y="6775751"/>
                </a:cubicBezTo>
                <a:cubicBezTo>
                  <a:pt x="5005297" y="6767497"/>
                  <a:pt x="5008092" y="6760443"/>
                  <a:pt x="5013683" y="6754719"/>
                </a:cubicBezTo>
                <a:cubicBezTo>
                  <a:pt x="5019275" y="6749128"/>
                  <a:pt x="5026463" y="6746199"/>
                  <a:pt x="5035515" y="6746199"/>
                </a:cubicBezTo>
                <a:close/>
                <a:moveTo>
                  <a:pt x="4817870" y="6746199"/>
                </a:moveTo>
                <a:cubicBezTo>
                  <a:pt x="4822130" y="6746199"/>
                  <a:pt x="4826124" y="6746998"/>
                  <a:pt x="4829585" y="6748595"/>
                </a:cubicBezTo>
                <a:cubicBezTo>
                  <a:pt x="4833312" y="6750192"/>
                  <a:pt x="4836374" y="6752323"/>
                  <a:pt x="4838903" y="6754985"/>
                </a:cubicBezTo>
                <a:cubicBezTo>
                  <a:pt x="4841432" y="6757514"/>
                  <a:pt x="4843562" y="6760709"/>
                  <a:pt x="4845026" y="6764303"/>
                </a:cubicBezTo>
                <a:cubicBezTo>
                  <a:pt x="4846491" y="6767897"/>
                  <a:pt x="4847289" y="6771757"/>
                  <a:pt x="4847289" y="6775751"/>
                </a:cubicBezTo>
                <a:cubicBezTo>
                  <a:pt x="4847289" y="6779878"/>
                  <a:pt x="4846491" y="6783871"/>
                  <a:pt x="4845026" y="6787466"/>
                </a:cubicBezTo>
                <a:cubicBezTo>
                  <a:pt x="4843562" y="6791193"/>
                  <a:pt x="4841432" y="6794255"/>
                  <a:pt x="4838903" y="6796917"/>
                </a:cubicBezTo>
                <a:cubicBezTo>
                  <a:pt x="4836240" y="6799580"/>
                  <a:pt x="4833179" y="6801709"/>
                  <a:pt x="4829585" y="6803174"/>
                </a:cubicBezTo>
                <a:cubicBezTo>
                  <a:pt x="4825991" y="6804638"/>
                  <a:pt x="4822130" y="6805437"/>
                  <a:pt x="4817870" y="6805437"/>
                </a:cubicBezTo>
                <a:cubicBezTo>
                  <a:pt x="4808952" y="6805437"/>
                  <a:pt x="4801630" y="6802508"/>
                  <a:pt x="4796038" y="6796917"/>
                </a:cubicBezTo>
                <a:cubicBezTo>
                  <a:pt x="4790447" y="6791327"/>
                  <a:pt x="4787652" y="6784270"/>
                  <a:pt x="4787652" y="6775751"/>
                </a:cubicBezTo>
                <a:cubicBezTo>
                  <a:pt x="4787652" y="6767497"/>
                  <a:pt x="4790447" y="6760443"/>
                  <a:pt x="4796038" y="6754719"/>
                </a:cubicBezTo>
                <a:cubicBezTo>
                  <a:pt x="4801630" y="6749128"/>
                  <a:pt x="4808818" y="6746199"/>
                  <a:pt x="4817870" y="6746199"/>
                </a:cubicBezTo>
                <a:close/>
                <a:moveTo>
                  <a:pt x="4600226" y="6746199"/>
                </a:moveTo>
                <a:cubicBezTo>
                  <a:pt x="4604485" y="6746199"/>
                  <a:pt x="4608479" y="6746998"/>
                  <a:pt x="4612073" y="6748595"/>
                </a:cubicBezTo>
                <a:cubicBezTo>
                  <a:pt x="4615800" y="6750192"/>
                  <a:pt x="4618862" y="6752323"/>
                  <a:pt x="4621391" y="6754985"/>
                </a:cubicBezTo>
                <a:cubicBezTo>
                  <a:pt x="4623920" y="6757514"/>
                  <a:pt x="4626050" y="6760709"/>
                  <a:pt x="4627514" y="6764303"/>
                </a:cubicBezTo>
                <a:cubicBezTo>
                  <a:pt x="4628978" y="6767897"/>
                  <a:pt x="4629777" y="6771757"/>
                  <a:pt x="4629777" y="6775751"/>
                </a:cubicBezTo>
                <a:cubicBezTo>
                  <a:pt x="4629777" y="6779878"/>
                  <a:pt x="4628978" y="6783871"/>
                  <a:pt x="4627514" y="6787466"/>
                </a:cubicBezTo>
                <a:cubicBezTo>
                  <a:pt x="4626050" y="6791193"/>
                  <a:pt x="4623920" y="6794255"/>
                  <a:pt x="4621391" y="6796917"/>
                </a:cubicBezTo>
                <a:cubicBezTo>
                  <a:pt x="4618729" y="6799580"/>
                  <a:pt x="4615667" y="6801709"/>
                  <a:pt x="4612073" y="6803174"/>
                </a:cubicBezTo>
                <a:cubicBezTo>
                  <a:pt x="4608346" y="6804638"/>
                  <a:pt x="4604485" y="6805437"/>
                  <a:pt x="4600226" y="6805437"/>
                </a:cubicBezTo>
                <a:cubicBezTo>
                  <a:pt x="4591173" y="6805437"/>
                  <a:pt x="4583985" y="6802508"/>
                  <a:pt x="4578393" y="6796917"/>
                </a:cubicBezTo>
                <a:cubicBezTo>
                  <a:pt x="4572803" y="6791327"/>
                  <a:pt x="4570007" y="6784270"/>
                  <a:pt x="4570007" y="6775751"/>
                </a:cubicBezTo>
                <a:cubicBezTo>
                  <a:pt x="4570007" y="6767497"/>
                  <a:pt x="4572803" y="6760443"/>
                  <a:pt x="4578393" y="6754719"/>
                </a:cubicBezTo>
                <a:cubicBezTo>
                  <a:pt x="4583985" y="6749128"/>
                  <a:pt x="4591173" y="6746199"/>
                  <a:pt x="4600226" y="6746199"/>
                </a:cubicBezTo>
                <a:close/>
                <a:moveTo>
                  <a:pt x="4382713" y="6746199"/>
                </a:moveTo>
                <a:cubicBezTo>
                  <a:pt x="4386840" y="6746199"/>
                  <a:pt x="4390834" y="6746998"/>
                  <a:pt x="4394428" y="6748595"/>
                </a:cubicBezTo>
                <a:cubicBezTo>
                  <a:pt x="4398155" y="6750192"/>
                  <a:pt x="4401217" y="6752323"/>
                  <a:pt x="4403746" y="6754985"/>
                </a:cubicBezTo>
                <a:cubicBezTo>
                  <a:pt x="4406275" y="6757514"/>
                  <a:pt x="4408405" y="6760709"/>
                  <a:pt x="4409869" y="6764303"/>
                </a:cubicBezTo>
                <a:cubicBezTo>
                  <a:pt x="4411334" y="6767897"/>
                  <a:pt x="4412132" y="6771757"/>
                  <a:pt x="4412132" y="6775751"/>
                </a:cubicBezTo>
                <a:cubicBezTo>
                  <a:pt x="4412132" y="6779878"/>
                  <a:pt x="4411334" y="6783871"/>
                  <a:pt x="4409869" y="6787466"/>
                </a:cubicBezTo>
                <a:cubicBezTo>
                  <a:pt x="4408405" y="6791193"/>
                  <a:pt x="4406275" y="6794255"/>
                  <a:pt x="4403746" y="6796917"/>
                </a:cubicBezTo>
                <a:cubicBezTo>
                  <a:pt x="4401083" y="6799580"/>
                  <a:pt x="4398022" y="6801709"/>
                  <a:pt x="4394428" y="6803174"/>
                </a:cubicBezTo>
                <a:cubicBezTo>
                  <a:pt x="4390834" y="6804638"/>
                  <a:pt x="4386973" y="6805437"/>
                  <a:pt x="4382713" y="6805437"/>
                </a:cubicBezTo>
                <a:cubicBezTo>
                  <a:pt x="4373661" y="6805437"/>
                  <a:pt x="4366473" y="6802508"/>
                  <a:pt x="4360881" y="6796917"/>
                </a:cubicBezTo>
                <a:cubicBezTo>
                  <a:pt x="4355290" y="6791327"/>
                  <a:pt x="4352495" y="6784270"/>
                  <a:pt x="4352495" y="6775751"/>
                </a:cubicBezTo>
                <a:cubicBezTo>
                  <a:pt x="4352495" y="6767497"/>
                  <a:pt x="4355290" y="6760443"/>
                  <a:pt x="4360881" y="6754719"/>
                </a:cubicBezTo>
                <a:cubicBezTo>
                  <a:pt x="4366473" y="6749128"/>
                  <a:pt x="4373661" y="6746199"/>
                  <a:pt x="4382713" y="6746199"/>
                </a:cubicBezTo>
                <a:close/>
                <a:moveTo>
                  <a:pt x="4165068" y="6746199"/>
                </a:moveTo>
                <a:cubicBezTo>
                  <a:pt x="4169327" y="6746199"/>
                  <a:pt x="4173188" y="6746998"/>
                  <a:pt x="4176782" y="6748595"/>
                </a:cubicBezTo>
                <a:cubicBezTo>
                  <a:pt x="4180509" y="6750192"/>
                  <a:pt x="4183571" y="6752323"/>
                  <a:pt x="4186100" y="6754985"/>
                </a:cubicBezTo>
                <a:cubicBezTo>
                  <a:pt x="4188629" y="6757514"/>
                  <a:pt x="4190759" y="6760709"/>
                  <a:pt x="4192223" y="6764303"/>
                </a:cubicBezTo>
                <a:cubicBezTo>
                  <a:pt x="4193688" y="6767897"/>
                  <a:pt x="4194486" y="6771757"/>
                  <a:pt x="4194486" y="6775751"/>
                </a:cubicBezTo>
                <a:cubicBezTo>
                  <a:pt x="4194486" y="6779878"/>
                  <a:pt x="4193688" y="6783871"/>
                  <a:pt x="4192223" y="6787466"/>
                </a:cubicBezTo>
                <a:cubicBezTo>
                  <a:pt x="4190759" y="6791193"/>
                  <a:pt x="4188629" y="6794255"/>
                  <a:pt x="4186100" y="6796917"/>
                </a:cubicBezTo>
                <a:cubicBezTo>
                  <a:pt x="4183438" y="6799580"/>
                  <a:pt x="4180376" y="6801709"/>
                  <a:pt x="4176782" y="6803174"/>
                </a:cubicBezTo>
                <a:cubicBezTo>
                  <a:pt x="4173188" y="6804638"/>
                  <a:pt x="4169327" y="6805437"/>
                  <a:pt x="4165068" y="6805437"/>
                </a:cubicBezTo>
                <a:cubicBezTo>
                  <a:pt x="4156015" y="6805437"/>
                  <a:pt x="4148827" y="6802508"/>
                  <a:pt x="4143235" y="6796917"/>
                </a:cubicBezTo>
                <a:cubicBezTo>
                  <a:pt x="4137645" y="6791327"/>
                  <a:pt x="4134849" y="6784270"/>
                  <a:pt x="4134849" y="6775751"/>
                </a:cubicBezTo>
                <a:cubicBezTo>
                  <a:pt x="4134849" y="6767497"/>
                  <a:pt x="4137645" y="6760443"/>
                  <a:pt x="4143235" y="6754719"/>
                </a:cubicBezTo>
                <a:cubicBezTo>
                  <a:pt x="4148827" y="6749128"/>
                  <a:pt x="4156015" y="6746199"/>
                  <a:pt x="4165068" y="6746199"/>
                </a:cubicBezTo>
                <a:close/>
                <a:moveTo>
                  <a:pt x="3947790" y="6746199"/>
                </a:moveTo>
                <a:cubicBezTo>
                  <a:pt x="3952053" y="6746199"/>
                  <a:pt x="3955914" y="6746998"/>
                  <a:pt x="3959510" y="6748595"/>
                </a:cubicBezTo>
                <a:cubicBezTo>
                  <a:pt x="3963238" y="6750192"/>
                  <a:pt x="3966299" y="6752323"/>
                  <a:pt x="3968828" y="6754985"/>
                </a:cubicBezTo>
                <a:cubicBezTo>
                  <a:pt x="3971358" y="6757514"/>
                  <a:pt x="3973488" y="6760709"/>
                  <a:pt x="3974952" y="6764303"/>
                </a:cubicBezTo>
                <a:cubicBezTo>
                  <a:pt x="3976416" y="6767897"/>
                  <a:pt x="3977215" y="6771757"/>
                  <a:pt x="3977215" y="6775751"/>
                </a:cubicBezTo>
                <a:cubicBezTo>
                  <a:pt x="3977215" y="6779878"/>
                  <a:pt x="3976416" y="6783871"/>
                  <a:pt x="3974952" y="6787466"/>
                </a:cubicBezTo>
                <a:cubicBezTo>
                  <a:pt x="3973488" y="6791193"/>
                  <a:pt x="3971358" y="6794255"/>
                  <a:pt x="3968828" y="6796917"/>
                </a:cubicBezTo>
                <a:cubicBezTo>
                  <a:pt x="3966166" y="6799580"/>
                  <a:pt x="3963105" y="6801709"/>
                  <a:pt x="3959510" y="6803174"/>
                </a:cubicBezTo>
                <a:cubicBezTo>
                  <a:pt x="3955914" y="6804638"/>
                  <a:pt x="3952053" y="6805437"/>
                  <a:pt x="3947790" y="6805437"/>
                </a:cubicBezTo>
                <a:cubicBezTo>
                  <a:pt x="3938738" y="6805437"/>
                  <a:pt x="3931550" y="6802508"/>
                  <a:pt x="3925958" y="6796917"/>
                </a:cubicBezTo>
                <a:cubicBezTo>
                  <a:pt x="3920367" y="6791327"/>
                  <a:pt x="3917572" y="6784270"/>
                  <a:pt x="3917572" y="6775751"/>
                </a:cubicBezTo>
                <a:cubicBezTo>
                  <a:pt x="3917572" y="6767497"/>
                  <a:pt x="3920367" y="6760443"/>
                  <a:pt x="3925958" y="6754719"/>
                </a:cubicBezTo>
                <a:cubicBezTo>
                  <a:pt x="3931550" y="6749128"/>
                  <a:pt x="3938738" y="6746199"/>
                  <a:pt x="3947790" y="6746199"/>
                </a:cubicBezTo>
                <a:close/>
                <a:moveTo>
                  <a:pt x="3730129" y="6746199"/>
                </a:moveTo>
                <a:cubicBezTo>
                  <a:pt x="3734390" y="6746199"/>
                  <a:pt x="3738383" y="6746998"/>
                  <a:pt x="3741845" y="6748595"/>
                </a:cubicBezTo>
                <a:cubicBezTo>
                  <a:pt x="3745439" y="6750192"/>
                  <a:pt x="3748635" y="6752323"/>
                  <a:pt x="3751164" y="6754985"/>
                </a:cubicBezTo>
                <a:cubicBezTo>
                  <a:pt x="3753693" y="6757514"/>
                  <a:pt x="3755822" y="6760709"/>
                  <a:pt x="3757286" y="6764303"/>
                </a:cubicBezTo>
                <a:cubicBezTo>
                  <a:pt x="3758750" y="6767897"/>
                  <a:pt x="3759549" y="6771757"/>
                  <a:pt x="3759549" y="6775751"/>
                </a:cubicBezTo>
                <a:cubicBezTo>
                  <a:pt x="3759549" y="6779878"/>
                  <a:pt x="3758750" y="6783871"/>
                  <a:pt x="3757286" y="6787466"/>
                </a:cubicBezTo>
                <a:cubicBezTo>
                  <a:pt x="3755822" y="6791193"/>
                  <a:pt x="3753693" y="6794255"/>
                  <a:pt x="3751164" y="6796917"/>
                </a:cubicBezTo>
                <a:cubicBezTo>
                  <a:pt x="3748501" y="6799580"/>
                  <a:pt x="3745439" y="6801709"/>
                  <a:pt x="3741845" y="6803174"/>
                </a:cubicBezTo>
                <a:cubicBezTo>
                  <a:pt x="3738251" y="6804638"/>
                  <a:pt x="3734390" y="6805437"/>
                  <a:pt x="3730129" y="6805437"/>
                </a:cubicBezTo>
                <a:cubicBezTo>
                  <a:pt x="3721078" y="6805437"/>
                  <a:pt x="3713887" y="6802508"/>
                  <a:pt x="3708287" y="6796917"/>
                </a:cubicBezTo>
                <a:cubicBezTo>
                  <a:pt x="3702695" y="6791327"/>
                  <a:pt x="3699901" y="6784270"/>
                  <a:pt x="3699901" y="6775751"/>
                </a:cubicBezTo>
                <a:cubicBezTo>
                  <a:pt x="3699901" y="6767497"/>
                  <a:pt x="3702695" y="6760443"/>
                  <a:pt x="3708287" y="6754719"/>
                </a:cubicBezTo>
                <a:cubicBezTo>
                  <a:pt x="3713887" y="6749128"/>
                  <a:pt x="3721078" y="6746199"/>
                  <a:pt x="3730129" y="6746199"/>
                </a:cubicBezTo>
                <a:close/>
                <a:moveTo>
                  <a:pt x="3512465" y="6746199"/>
                </a:moveTo>
                <a:cubicBezTo>
                  <a:pt x="3516726" y="6746199"/>
                  <a:pt x="3520719" y="6746998"/>
                  <a:pt x="3524181" y="6748595"/>
                </a:cubicBezTo>
                <a:cubicBezTo>
                  <a:pt x="3527775" y="6750192"/>
                  <a:pt x="3530970" y="6752323"/>
                  <a:pt x="3533499" y="6754985"/>
                </a:cubicBezTo>
                <a:cubicBezTo>
                  <a:pt x="3536028" y="6757514"/>
                  <a:pt x="3538158" y="6760709"/>
                  <a:pt x="3539622" y="6764303"/>
                </a:cubicBezTo>
                <a:cubicBezTo>
                  <a:pt x="3541086" y="6767897"/>
                  <a:pt x="3541885" y="6771757"/>
                  <a:pt x="3541885" y="6775751"/>
                </a:cubicBezTo>
                <a:cubicBezTo>
                  <a:pt x="3541885" y="6779878"/>
                  <a:pt x="3541086" y="6783871"/>
                  <a:pt x="3539622" y="6787466"/>
                </a:cubicBezTo>
                <a:cubicBezTo>
                  <a:pt x="3538158" y="6791193"/>
                  <a:pt x="3536028" y="6794255"/>
                  <a:pt x="3533499" y="6796917"/>
                </a:cubicBezTo>
                <a:cubicBezTo>
                  <a:pt x="3530836" y="6799580"/>
                  <a:pt x="3527775" y="6801709"/>
                  <a:pt x="3524181" y="6803174"/>
                </a:cubicBezTo>
                <a:cubicBezTo>
                  <a:pt x="3520587" y="6804638"/>
                  <a:pt x="3516726" y="6805437"/>
                  <a:pt x="3512465" y="6805437"/>
                </a:cubicBezTo>
                <a:cubicBezTo>
                  <a:pt x="3503409" y="6805437"/>
                  <a:pt x="3496218" y="6802508"/>
                  <a:pt x="3490627" y="6796917"/>
                </a:cubicBezTo>
                <a:cubicBezTo>
                  <a:pt x="3485036" y="6791327"/>
                  <a:pt x="3482240" y="6784270"/>
                  <a:pt x="3482240" y="6775751"/>
                </a:cubicBezTo>
                <a:cubicBezTo>
                  <a:pt x="3482240" y="6767497"/>
                  <a:pt x="3485036" y="6760443"/>
                  <a:pt x="3490627" y="6754719"/>
                </a:cubicBezTo>
                <a:cubicBezTo>
                  <a:pt x="3496218" y="6749128"/>
                  <a:pt x="3503409" y="6746199"/>
                  <a:pt x="3512465" y="6746199"/>
                </a:cubicBezTo>
                <a:close/>
                <a:moveTo>
                  <a:pt x="3294933" y="6746199"/>
                </a:moveTo>
                <a:cubicBezTo>
                  <a:pt x="3299061" y="6746199"/>
                  <a:pt x="3303055" y="6746998"/>
                  <a:pt x="3306650" y="6748595"/>
                </a:cubicBezTo>
                <a:cubicBezTo>
                  <a:pt x="3310377" y="6750192"/>
                  <a:pt x="3313439" y="6752323"/>
                  <a:pt x="3315968" y="6754985"/>
                </a:cubicBezTo>
                <a:cubicBezTo>
                  <a:pt x="3318497" y="6757514"/>
                  <a:pt x="3320627" y="6760709"/>
                  <a:pt x="3322091" y="6764303"/>
                </a:cubicBezTo>
                <a:cubicBezTo>
                  <a:pt x="3323555" y="6767897"/>
                  <a:pt x="3324354" y="6771757"/>
                  <a:pt x="3324354" y="6775751"/>
                </a:cubicBezTo>
                <a:cubicBezTo>
                  <a:pt x="3324354" y="6779878"/>
                  <a:pt x="3323555" y="6783871"/>
                  <a:pt x="3322091" y="6787466"/>
                </a:cubicBezTo>
                <a:cubicBezTo>
                  <a:pt x="3320627" y="6791193"/>
                  <a:pt x="3318497" y="6794255"/>
                  <a:pt x="3315968" y="6796917"/>
                </a:cubicBezTo>
                <a:cubicBezTo>
                  <a:pt x="3313305" y="6799580"/>
                  <a:pt x="3310243" y="6801709"/>
                  <a:pt x="3306650" y="6803174"/>
                </a:cubicBezTo>
                <a:cubicBezTo>
                  <a:pt x="3303055" y="6804638"/>
                  <a:pt x="3299194" y="6805437"/>
                  <a:pt x="3294933" y="6805437"/>
                </a:cubicBezTo>
                <a:cubicBezTo>
                  <a:pt x="3285878" y="6805437"/>
                  <a:pt x="3278689" y="6802508"/>
                  <a:pt x="3273095" y="6796917"/>
                </a:cubicBezTo>
                <a:cubicBezTo>
                  <a:pt x="3267501" y="6791327"/>
                  <a:pt x="3264706" y="6784270"/>
                  <a:pt x="3264706" y="6775751"/>
                </a:cubicBezTo>
                <a:cubicBezTo>
                  <a:pt x="3264706" y="6767497"/>
                  <a:pt x="3267501" y="6760443"/>
                  <a:pt x="3273095" y="6754719"/>
                </a:cubicBezTo>
                <a:cubicBezTo>
                  <a:pt x="3278689" y="6749128"/>
                  <a:pt x="3285878" y="6746199"/>
                  <a:pt x="3294933" y="6746199"/>
                </a:cubicBezTo>
                <a:close/>
                <a:moveTo>
                  <a:pt x="3077269" y="6746199"/>
                </a:moveTo>
                <a:cubicBezTo>
                  <a:pt x="3081397" y="6746199"/>
                  <a:pt x="3085391" y="6746998"/>
                  <a:pt x="3088985" y="6748595"/>
                </a:cubicBezTo>
                <a:cubicBezTo>
                  <a:pt x="3092579" y="6750192"/>
                  <a:pt x="3095774" y="6752323"/>
                  <a:pt x="3098303" y="6754985"/>
                </a:cubicBezTo>
                <a:cubicBezTo>
                  <a:pt x="3100832" y="6757514"/>
                  <a:pt x="3102962" y="6760709"/>
                  <a:pt x="3104426" y="6764303"/>
                </a:cubicBezTo>
                <a:cubicBezTo>
                  <a:pt x="3105891" y="6767897"/>
                  <a:pt x="3106689" y="6771757"/>
                  <a:pt x="3106689" y="6775751"/>
                </a:cubicBezTo>
                <a:cubicBezTo>
                  <a:pt x="3106689" y="6779878"/>
                  <a:pt x="3105891" y="6783871"/>
                  <a:pt x="3104426" y="6787466"/>
                </a:cubicBezTo>
                <a:cubicBezTo>
                  <a:pt x="3102962" y="6791193"/>
                  <a:pt x="3100832" y="6794255"/>
                  <a:pt x="3098303" y="6796917"/>
                </a:cubicBezTo>
                <a:cubicBezTo>
                  <a:pt x="3095640" y="6799580"/>
                  <a:pt x="3092579" y="6801709"/>
                  <a:pt x="3088985" y="6803174"/>
                </a:cubicBezTo>
                <a:cubicBezTo>
                  <a:pt x="3085391" y="6804638"/>
                  <a:pt x="3081530" y="6805437"/>
                  <a:pt x="3077269" y="6805437"/>
                </a:cubicBezTo>
                <a:cubicBezTo>
                  <a:pt x="3068349" y="6805437"/>
                  <a:pt x="3061025" y="6802508"/>
                  <a:pt x="3055430" y="6796917"/>
                </a:cubicBezTo>
                <a:cubicBezTo>
                  <a:pt x="3049839" y="6791327"/>
                  <a:pt x="3047043" y="6784270"/>
                  <a:pt x="3047043" y="6775751"/>
                </a:cubicBezTo>
                <a:cubicBezTo>
                  <a:pt x="3047043" y="6767497"/>
                  <a:pt x="3049839" y="6760443"/>
                  <a:pt x="3055430" y="6754719"/>
                </a:cubicBezTo>
                <a:cubicBezTo>
                  <a:pt x="3061025" y="6749128"/>
                  <a:pt x="3068216" y="6746199"/>
                  <a:pt x="3077269" y="6746199"/>
                </a:cubicBezTo>
                <a:close/>
                <a:moveTo>
                  <a:pt x="2859605" y="6746199"/>
                </a:moveTo>
                <a:cubicBezTo>
                  <a:pt x="2863866" y="6746199"/>
                  <a:pt x="2867727" y="6746998"/>
                  <a:pt x="2871454" y="6748595"/>
                </a:cubicBezTo>
                <a:cubicBezTo>
                  <a:pt x="2875181" y="6750192"/>
                  <a:pt x="2878242" y="6752323"/>
                  <a:pt x="2880772" y="6754985"/>
                </a:cubicBezTo>
                <a:cubicBezTo>
                  <a:pt x="2883433" y="6757514"/>
                  <a:pt x="2885431" y="6760709"/>
                  <a:pt x="2886895" y="6764303"/>
                </a:cubicBezTo>
                <a:cubicBezTo>
                  <a:pt x="2888359" y="6767897"/>
                  <a:pt x="2889158" y="6771757"/>
                  <a:pt x="2889158" y="6775751"/>
                </a:cubicBezTo>
                <a:cubicBezTo>
                  <a:pt x="2889158" y="6779878"/>
                  <a:pt x="2888359" y="6783871"/>
                  <a:pt x="2886895" y="6787466"/>
                </a:cubicBezTo>
                <a:cubicBezTo>
                  <a:pt x="2885431" y="6791193"/>
                  <a:pt x="2883301" y="6794255"/>
                  <a:pt x="2880772" y="6796917"/>
                </a:cubicBezTo>
                <a:cubicBezTo>
                  <a:pt x="2878110" y="6799580"/>
                  <a:pt x="2875047" y="6801709"/>
                  <a:pt x="2871454" y="6803174"/>
                </a:cubicBezTo>
                <a:cubicBezTo>
                  <a:pt x="2867727" y="6804638"/>
                  <a:pt x="2863866" y="6805437"/>
                  <a:pt x="2859605" y="6805437"/>
                </a:cubicBezTo>
                <a:cubicBezTo>
                  <a:pt x="2850687" y="6805437"/>
                  <a:pt x="2843359" y="6802508"/>
                  <a:pt x="2837765" y="6796917"/>
                </a:cubicBezTo>
                <a:cubicBezTo>
                  <a:pt x="2832174" y="6791327"/>
                  <a:pt x="2829378" y="6784270"/>
                  <a:pt x="2829378" y="6775751"/>
                </a:cubicBezTo>
                <a:cubicBezTo>
                  <a:pt x="2829378" y="6767497"/>
                  <a:pt x="2832174" y="6760443"/>
                  <a:pt x="2837765" y="6754719"/>
                </a:cubicBezTo>
                <a:cubicBezTo>
                  <a:pt x="2843359" y="6749128"/>
                  <a:pt x="2850553" y="6746199"/>
                  <a:pt x="2859605" y="6746199"/>
                </a:cubicBezTo>
                <a:close/>
                <a:moveTo>
                  <a:pt x="2641941" y="6746199"/>
                </a:moveTo>
                <a:cubicBezTo>
                  <a:pt x="2646201" y="6746199"/>
                  <a:pt x="2650061" y="6746998"/>
                  <a:pt x="2653656" y="6748595"/>
                </a:cubicBezTo>
                <a:cubicBezTo>
                  <a:pt x="2657383" y="6750192"/>
                  <a:pt x="2660445" y="6752323"/>
                  <a:pt x="2662974" y="6754985"/>
                </a:cubicBezTo>
                <a:cubicBezTo>
                  <a:pt x="2665636" y="6757514"/>
                  <a:pt x="2667633" y="6760709"/>
                  <a:pt x="2669097" y="6764303"/>
                </a:cubicBezTo>
                <a:cubicBezTo>
                  <a:pt x="2670561" y="6767897"/>
                  <a:pt x="2671360" y="6771757"/>
                  <a:pt x="2671360" y="6775751"/>
                </a:cubicBezTo>
                <a:cubicBezTo>
                  <a:pt x="2671360" y="6779878"/>
                  <a:pt x="2670561" y="6783871"/>
                  <a:pt x="2669097" y="6787466"/>
                </a:cubicBezTo>
                <a:cubicBezTo>
                  <a:pt x="2667633" y="6791193"/>
                  <a:pt x="2665503" y="6794255"/>
                  <a:pt x="2662974" y="6796917"/>
                </a:cubicBezTo>
                <a:cubicBezTo>
                  <a:pt x="2660445" y="6799580"/>
                  <a:pt x="2657250" y="6801709"/>
                  <a:pt x="2653656" y="6803174"/>
                </a:cubicBezTo>
                <a:cubicBezTo>
                  <a:pt x="2650061" y="6804638"/>
                  <a:pt x="2646201" y="6805437"/>
                  <a:pt x="2641941" y="6805437"/>
                </a:cubicBezTo>
                <a:cubicBezTo>
                  <a:pt x="2633021" y="6805437"/>
                  <a:pt x="2625699" y="6802508"/>
                  <a:pt x="2620106" y="6796917"/>
                </a:cubicBezTo>
                <a:cubicBezTo>
                  <a:pt x="2614515" y="6791327"/>
                  <a:pt x="2611716" y="6784270"/>
                  <a:pt x="2611716" y="6775751"/>
                </a:cubicBezTo>
                <a:cubicBezTo>
                  <a:pt x="2611716" y="6767497"/>
                  <a:pt x="2614515" y="6760443"/>
                  <a:pt x="2620106" y="6754719"/>
                </a:cubicBezTo>
                <a:cubicBezTo>
                  <a:pt x="2625699" y="6749128"/>
                  <a:pt x="2632889" y="6746199"/>
                  <a:pt x="2641941" y="6746199"/>
                </a:cubicBezTo>
                <a:close/>
                <a:moveTo>
                  <a:pt x="2424276" y="6746199"/>
                </a:moveTo>
                <a:cubicBezTo>
                  <a:pt x="2428536" y="6746199"/>
                  <a:pt x="2432531" y="6746998"/>
                  <a:pt x="2435991" y="6748595"/>
                </a:cubicBezTo>
                <a:cubicBezTo>
                  <a:pt x="2439718" y="6750192"/>
                  <a:pt x="2442780" y="6752323"/>
                  <a:pt x="2445309" y="6754985"/>
                </a:cubicBezTo>
                <a:cubicBezTo>
                  <a:pt x="2447972" y="6757514"/>
                  <a:pt x="2449969" y="6760709"/>
                  <a:pt x="2451433" y="6764303"/>
                </a:cubicBezTo>
                <a:cubicBezTo>
                  <a:pt x="2452897" y="6767897"/>
                  <a:pt x="2453696" y="6771757"/>
                  <a:pt x="2453696" y="6775751"/>
                </a:cubicBezTo>
                <a:cubicBezTo>
                  <a:pt x="2453696" y="6779878"/>
                  <a:pt x="2452897" y="6783871"/>
                  <a:pt x="2451433" y="6787466"/>
                </a:cubicBezTo>
                <a:cubicBezTo>
                  <a:pt x="2449969" y="6791193"/>
                  <a:pt x="2447839" y="6794255"/>
                  <a:pt x="2445309" y="6796917"/>
                </a:cubicBezTo>
                <a:cubicBezTo>
                  <a:pt x="2442780" y="6799580"/>
                  <a:pt x="2439586" y="6801709"/>
                  <a:pt x="2435991" y="6803174"/>
                </a:cubicBezTo>
                <a:cubicBezTo>
                  <a:pt x="2432397" y="6804638"/>
                  <a:pt x="2428536" y="6805437"/>
                  <a:pt x="2424276" y="6805437"/>
                </a:cubicBezTo>
                <a:cubicBezTo>
                  <a:pt x="2415358" y="6805437"/>
                  <a:pt x="2408036" y="6802508"/>
                  <a:pt x="2402444" y="6796917"/>
                </a:cubicBezTo>
                <a:cubicBezTo>
                  <a:pt x="2396850" y="6791327"/>
                  <a:pt x="2394054" y="6784270"/>
                  <a:pt x="2394054" y="6775751"/>
                </a:cubicBezTo>
                <a:cubicBezTo>
                  <a:pt x="2394054" y="6767497"/>
                  <a:pt x="2396850" y="6760443"/>
                  <a:pt x="2402444" y="6754719"/>
                </a:cubicBezTo>
                <a:cubicBezTo>
                  <a:pt x="2408036" y="6749128"/>
                  <a:pt x="2415224" y="6746199"/>
                  <a:pt x="2424276" y="6746199"/>
                </a:cubicBezTo>
                <a:close/>
                <a:moveTo>
                  <a:pt x="2206612" y="6746199"/>
                </a:moveTo>
                <a:cubicBezTo>
                  <a:pt x="2210872" y="6746199"/>
                  <a:pt x="2214866" y="6746998"/>
                  <a:pt x="2218327" y="6748595"/>
                </a:cubicBezTo>
                <a:cubicBezTo>
                  <a:pt x="2222054" y="6750192"/>
                  <a:pt x="2225115" y="6752323"/>
                  <a:pt x="2227645" y="6754985"/>
                </a:cubicBezTo>
                <a:cubicBezTo>
                  <a:pt x="2230307" y="6757514"/>
                  <a:pt x="2232304" y="6760709"/>
                  <a:pt x="2233768" y="6764303"/>
                </a:cubicBezTo>
                <a:cubicBezTo>
                  <a:pt x="2235232" y="6767897"/>
                  <a:pt x="2236031" y="6771757"/>
                  <a:pt x="2236031" y="6775751"/>
                </a:cubicBezTo>
                <a:cubicBezTo>
                  <a:pt x="2236031" y="6779878"/>
                  <a:pt x="2235232" y="6783871"/>
                  <a:pt x="2233768" y="6787466"/>
                </a:cubicBezTo>
                <a:cubicBezTo>
                  <a:pt x="2232304" y="6791193"/>
                  <a:pt x="2230174" y="6794255"/>
                  <a:pt x="2227645" y="6796917"/>
                </a:cubicBezTo>
                <a:cubicBezTo>
                  <a:pt x="2225115" y="6799580"/>
                  <a:pt x="2221921" y="6801709"/>
                  <a:pt x="2218327" y="6803174"/>
                </a:cubicBezTo>
                <a:cubicBezTo>
                  <a:pt x="2214732" y="6804638"/>
                  <a:pt x="2210872" y="6805437"/>
                  <a:pt x="2206612" y="6805437"/>
                </a:cubicBezTo>
                <a:cubicBezTo>
                  <a:pt x="2197559" y="6805437"/>
                  <a:pt x="2190371" y="6802508"/>
                  <a:pt x="2184779" y="6796917"/>
                </a:cubicBezTo>
                <a:cubicBezTo>
                  <a:pt x="2179186" y="6791327"/>
                  <a:pt x="2176390" y="6784270"/>
                  <a:pt x="2176390" y="6775751"/>
                </a:cubicBezTo>
                <a:cubicBezTo>
                  <a:pt x="2176390" y="6767497"/>
                  <a:pt x="2179186" y="6760443"/>
                  <a:pt x="2184779" y="6754719"/>
                </a:cubicBezTo>
                <a:cubicBezTo>
                  <a:pt x="2190371" y="6749128"/>
                  <a:pt x="2197559" y="6746199"/>
                  <a:pt x="2206612" y="6746199"/>
                </a:cubicBezTo>
                <a:close/>
                <a:moveTo>
                  <a:pt x="1989080" y="6746199"/>
                </a:moveTo>
                <a:cubicBezTo>
                  <a:pt x="1993207" y="6746199"/>
                  <a:pt x="1997201" y="6746998"/>
                  <a:pt x="2000795" y="6748595"/>
                </a:cubicBezTo>
                <a:cubicBezTo>
                  <a:pt x="2004522" y="6750192"/>
                  <a:pt x="2007584" y="6752323"/>
                  <a:pt x="2010113" y="6754985"/>
                </a:cubicBezTo>
                <a:cubicBezTo>
                  <a:pt x="2012775" y="6757514"/>
                  <a:pt x="2014773" y="6760709"/>
                  <a:pt x="2016237" y="6764303"/>
                </a:cubicBezTo>
                <a:cubicBezTo>
                  <a:pt x="2017701" y="6767897"/>
                  <a:pt x="2018500" y="6771757"/>
                  <a:pt x="2018500" y="6775751"/>
                </a:cubicBezTo>
                <a:cubicBezTo>
                  <a:pt x="2018500" y="6779878"/>
                  <a:pt x="2017701" y="6783871"/>
                  <a:pt x="2016237" y="6787466"/>
                </a:cubicBezTo>
                <a:cubicBezTo>
                  <a:pt x="2014773" y="6791193"/>
                  <a:pt x="2012643" y="6794255"/>
                  <a:pt x="2010113" y="6796917"/>
                </a:cubicBezTo>
                <a:cubicBezTo>
                  <a:pt x="2007584" y="6799580"/>
                  <a:pt x="2004389" y="6801709"/>
                  <a:pt x="2000795" y="6803174"/>
                </a:cubicBezTo>
                <a:cubicBezTo>
                  <a:pt x="1997201" y="6804638"/>
                  <a:pt x="1993340" y="6805437"/>
                  <a:pt x="1989080" y="6805437"/>
                </a:cubicBezTo>
                <a:cubicBezTo>
                  <a:pt x="1980029" y="6805437"/>
                  <a:pt x="1972840" y="6802508"/>
                  <a:pt x="1967249" y="6796917"/>
                </a:cubicBezTo>
                <a:cubicBezTo>
                  <a:pt x="1961658" y="6791327"/>
                  <a:pt x="1958863" y="6784270"/>
                  <a:pt x="1958863" y="6775751"/>
                </a:cubicBezTo>
                <a:cubicBezTo>
                  <a:pt x="1958863" y="6767497"/>
                  <a:pt x="1961658" y="6760443"/>
                  <a:pt x="1967249" y="6754719"/>
                </a:cubicBezTo>
                <a:cubicBezTo>
                  <a:pt x="1972840" y="6749128"/>
                  <a:pt x="1980029" y="6746199"/>
                  <a:pt x="1989080" y="6746199"/>
                </a:cubicBezTo>
                <a:close/>
                <a:moveTo>
                  <a:pt x="1771449" y="6746199"/>
                </a:moveTo>
                <a:cubicBezTo>
                  <a:pt x="1775708" y="6746199"/>
                  <a:pt x="1779567" y="6746998"/>
                  <a:pt x="1783162" y="6748595"/>
                </a:cubicBezTo>
                <a:cubicBezTo>
                  <a:pt x="1786889" y="6750192"/>
                  <a:pt x="1789951" y="6752323"/>
                  <a:pt x="1792480" y="6754985"/>
                </a:cubicBezTo>
                <a:cubicBezTo>
                  <a:pt x="1795142" y="6757514"/>
                  <a:pt x="1797139" y="6760709"/>
                  <a:pt x="1798603" y="6764303"/>
                </a:cubicBezTo>
                <a:cubicBezTo>
                  <a:pt x="1800067" y="6767897"/>
                  <a:pt x="1800865" y="6771757"/>
                  <a:pt x="1800865" y="6775751"/>
                </a:cubicBezTo>
                <a:cubicBezTo>
                  <a:pt x="1800865" y="6779878"/>
                  <a:pt x="1800067" y="6783871"/>
                  <a:pt x="1798603" y="6787466"/>
                </a:cubicBezTo>
                <a:cubicBezTo>
                  <a:pt x="1797139" y="6791193"/>
                  <a:pt x="1795010" y="6794255"/>
                  <a:pt x="1792480" y="6796917"/>
                </a:cubicBezTo>
                <a:cubicBezTo>
                  <a:pt x="1789817" y="6799580"/>
                  <a:pt x="1786757" y="6801709"/>
                  <a:pt x="1783162" y="6803174"/>
                </a:cubicBezTo>
                <a:cubicBezTo>
                  <a:pt x="1779567" y="6804638"/>
                  <a:pt x="1775708" y="6805437"/>
                  <a:pt x="1771449" y="6805437"/>
                </a:cubicBezTo>
                <a:cubicBezTo>
                  <a:pt x="1762530" y="6805437"/>
                  <a:pt x="1755210" y="6802508"/>
                  <a:pt x="1749620" y="6796917"/>
                </a:cubicBezTo>
                <a:cubicBezTo>
                  <a:pt x="1744030" y="6791327"/>
                  <a:pt x="1741237" y="6784270"/>
                  <a:pt x="1741237" y="6775751"/>
                </a:cubicBezTo>
                <a:cubicBezTo>
                  <a:pt x="1741237" y="6767497"/>
                  <a:pt x="1744030" y="6760443"/>
                  <a:pt x="1749620" y="6754719"/>
                </a:cubicBezTo>
                <a:cubicBezTo>
                  <a:pt x="1755210" y="6749128"/>
                  <a:pt x="1762397" y="6746199"/>
                  <a:pt x="1771449" y="6746199"/>
                </a:cubicBezTo>
                <a:close/>
                <a:moveTo>
                  <a:pt x="1553813" y="6746199"/>
                </a:moveTo>
                <a:cubicBezTo>
                  <a:pt x="1558073" y="6746199"/>
                  <a:pt x="1561934" y="6746998"/>
                  <a:pt x="1565528" y="6748595"/>
                </a:cubicBezTo>
                <a:cubicBezTo>
                  <a:pt x="1569123" y="6750192"/>
                  <a:pt x="1572317" y="6752323"/>
                  <a:pt x="1574847" y="6754985"/>
                </a:cubicBezTo>
                <a:cubicBezTo>
                  <a:pt x="1577509" y="6757514"/>
                  <a:pt x="1579506" y="6760709"/>
                  <a:pt x="1580970" y="6764303"/>
                </a:cubicBezTo>
                <a:cubicBezTo>
                  <a:pt x="1582434" y="6767897"/>
                  <a:pt x="1583233" y="6771757"/>
                  <a:pt x="1583233" y="6775751"/>
                </a:cubicBezTo>
                <a:cubicBezTo>
                  <a:pt x="1583233" y="6779878"/>
                  <a:pt x="1582434" y="6783871"/>
                  <a:pt x="1580970" y="6787466"/>
                </a:cubicBezTo>
                <a:cubicBezTo>
                  <a:pt x="1579506" y="6791193"/>
                  <a:pt x="1577375" y="6794255"/>
                  <a:pt x="1574847" y="6796917"/>
                </a:cubicBezTo>
                <a:cubicBezTo>
                  <a:pt x="1572184" y="6799580"/>
                  <a:pt x="1569123" y="6801709"/>
                  <a:pt x="1565528" y="6803174"/>
                </a:cubicBezTo>
                <a:cubicBezTo>
                  <a:pt x="1561934" y="6804638"/>
                  <a:pt x="1558073" y="6805437"/>
                  <a:pt x="1553813" y="6805437"/>
                </a:cubicBezTo>
                <a:cubicBezTo>
                  <a:pt x="1544895" y="6805437"/>
                  <a:pt x="1537574" y="6802508"/>
                  <a:pt x="1531985" y="6796917"/>
                </a:cubicBezTo>
                <a:cubicBezTo>
                  <a:pt x="1526396" y="6791327"/>
                  <a:pt x="1523599" y="6784270"/>
                  <a:pt x="1523599" y="6775751"/>
                </a:cubicBezTo>
                <a:cubicBezTo>
                  <a:pt x="1523599" y="6767497"/>
                  <a:pt x="1526396" y="6760443"/>
                  <a:pt x="1531985" y="6754719"/>
                </a:cubicBezTo>
                <a:cubicBezTo>
                  <a:pt x="1537574" y="6749128"/>
                  <a:pt x="1544761" y="6746199"/>
                  <a:pt x="1553813" y="6746199"/>
                </a:cubicBezTo>
                <a:close/>
                <a:moveTo>
                  <a:pt x="1336171" y="6746199"/>
                </a:moveTo>
                <a:cubicBezTo>
                  <a:pt x="1340429" y="6746199"/>
                  <a:pt x="1344426" y="6746998"/>
                  <a:pt x="1347886" y="6748595"/>
                </a:cubicBezTo>
                <a:cubicBezTo>
                  <a:pt x="1351479" y="6750192"/>
                  <a:pt x="1354674" y="6752323"/>
                  <a:pt x="1357204" y="6754985"/>
                </a:cubicBezTo>
                <a:cubicBezTo>
                  <a:pt x="1359866" y="6757514"/>
                  <a:pt x="1361863" y="6760709"/>
                  <a:pt x="1363327" y="6764303"/>
                </a:cubicBezTo>
                <a:cubicBezTo>
                  <a:pt x="1364791" y="6767897"/>
                  <a:pt x="1365589" y="6771757"/>
                  <a:pt x="1365589" y="6775751"/>
                </a:cubicBezTo>
                <a:cubicBezTo>
                  <a:pt x="1365589" y="6779878"/>
                  <a:pt x="1364791" y="6783871"/>
                  <a:pt x="1363327" y="6787466"/>
                </a:cubicBezTo>
                <a:cubicBezTo>
                  <a:pt x="1361863" y="6791193"/>
                  <a:pt x="1359733" y="6794255"/>
                  <a:pt x="1357204" y="6796917"/>
                </a:cubicBezTo>
                <a:cubicBezTo>
                  <a:pt x="1354541" y="6799580"/>
                  <a:pt x="1351479" y="6801709"/>
                  <a:pt x="1347886" y="6803174"/>
                </a:cubicBezTo>
                <a:cubicBezTo>
                  <a:pt x="1344292" y="6804638"/>
                  <a:pt x="1340429" y="6805437"/>
                  <a:pt x="1336171" y="6805437"/>
                </a:cubicBezTo>
                <a:cubicBezTo>
                  <a:pt x="1327250" y="6805437"/>
                  <a:pt x="1319929" y="6802508"/>
                  <a:pt x="1314337" y="6796917"/>
                </a:cubicBezTo>
                <a:cubicBezTo>
                  <a:pt x="1308748" y="6791327"/>
                  <a:pt x="1305952" y="6784270"/>
                  <a:pt x="1305952" y="6775751"/>
                </a:cubicBezTo>
                <a:cubicBezTo>
                  <a:pt x="1305952" y="6767497"/>
                  <a:pt x="1308748" y="6760443"/>
                  <a:pt x="1314337" y="6754719"/>
                </a:cubicBezTo>
                <a:cubicBezTo>
                  <a:pt x="1319929" y="6749128"/>
                  <a:pt x="1327117" y="6746199"/>
                  <a:pt x="1336171" y="6746199"/>
                </a:cubicBezTo>
                <a:close/>
                <a:moveTo>
                  <a:pt x="1118525" y="6746199"/>
                </a:moveTo>
                <a:cubicBezTo>
                  <a:pt x="1122786" y="6746199"/>
                  <a:pt x="1126783" y="6746998"/>
                  <a:pt x="1130244" y="6748595"/>
                </a:cubicBezTo>
                <a:cubicBezTo>
                  <a:pt x="1133970" y="6750192"/>
                  <a:pt x="1137032" y="6752323"/>
                  <a:pt x="1139558" y="6754985"/>
                </a:cubicBezTo>
                <a:cubicBezTo>
                  <a:pt x="1142218" y="6757514"/>
                  <a:pt x="1144214" y="6760709"/>
                  <a:pt x="1145677" y="6764303"/>
                </a:cubicBezTo>
                <a:cubicBezTo>
                  <a:pt x="1147142" y="6767897"/>
                  <a:pt x="1147940" y="6771757"/>
                  <a:pt x="1147940" y="6775751"/>
                </a:cubicBezTo>
                <a:cubicBezTo>
                  <a:pt x="1147940" y="6779878"/>
                  <a:pt x="1147142" y="6783871"/>
                  <a:pt x="1145677" y="6787466"/>
                </a:cubicBezTo>
                <a:cubicBezTo>
                  <a:pt x="1144214" y="6791193"/>
                  <a:pt x="1142086" y="6794255"/>
                  <a:pt x="1139558" y="6796917"/>
                </a:cubicBezTo>
                <a:cubicBezTo>
                  <a:pt x="1137032" y="6799580"/>
                  <a:pt x="1133837" y="6801709"/>
                  <a:pt x="1130244" y="6803174"/>
                </a:cubicBezTo>
                <a:cubicBezTo>
                  <a:pt x="1126648" y="6804638"/>
                  <a:pt x="1122786" y="6805437"/>
                  <a:pt x="1118525" y="6805437"/>
                </a:cubicBezTo>
                <a:cubicBezTo>
                  <a:pt x="1109604" y="6805437"/>
                  <a:pt x="1102280" y="6802508"/>
                  <a:pt x="1096689" y="6796917"/>
                </a:cubicBezTo>
                <a:cubicBezTo>
                  <a:pt x="1091099" y="6791327"/>
                  <a:pt x="1088305" y="6784270"/>
                  <a:pt x="1088305" y="6775751"/>
                </a:cubicBezTo>
                <a:cubicBezTo>
                  <a:pt x="1088305" y="6767497"/>
                  <a:pt x="1091099" y="6760443"/>
                  <a:pt x="1096689" y="6754719"/>
                </a:cubicBezTo>
                <a:cubicBezTo>
                  <a:pt x="1102280" y="6749128"/>
                  <a:pt x="1109470" y="6746199"/>
                  <a:pt x="1118525" y="6746199"/>
                </a:cubicBezTo>
                <a:close/>
                <a:moveTo>
                  <a:pt x="901012" y="6746199"/>
                </a:moveTo>
                <a:cubicBezTo>
                  <a:pt x="905138" y="6746199"/>
                  <a:pt x="909133" y="6746998"/>
                  <a:pt x="912727" y="6748595"/>
                </a:cubicBezTo>
                <a:cubicBezTo>
                  <a:pt x="916454" y="6750192"/>
                  <a:pt x="919516" y="6752323"/>
                  <a:pt x="922045" y="6754985"/>
                </a:cubicBezTo>
                <a:cubicBezTo>
                  <a:pt x="924707" y="6757514"/>
                  <a:pt x="926704" y="6760709"/>
                  <a:pt x="928167" y="6764303"/>
                </a:cubicBezTo>
                <a:cubicBezTo>
                  <a:pt x="929632" y="6767897"/>
                  <a:pt x="930430" y="6771757"/>
                  <a:pt x="930430" y="6775751"/>
                </a:cubicBezTo>
                <a:cubicBezTo>
                  <a:pt x="930430" y="6779878"/>
                  <a:pt x="929632" y="6783871"/>
                  <a:pt x="928167" y="6787466"/>
                </a:cubicBezTo>
                <a:cubicBezTo>
                  <a:pt x="926704" y="6791193"/>
                  <a:pt x="924574" y="6794255"/>
                  <a:pt x="922045" y="6796917"/>
                </a:cubicBezTo>
                <a:cubicBezTo>
                  <a:pt x="919516" y="6799580"/>
                  <a:pt x="916321" y="6801709"/>
                  <a:pt x="912727" y="6803174"/>
                </a:cubicBezTo>
                <a:cubicBezTo>
                  <a:pt x="909133" y="6804638"/>
                  <a:pt x="905271" y="6805437"/>
                  <a:pt x="901012" y="6805437"/>
                </a:cubicBezTo>
                <a:cubicBezTo>
                  <a:pt x="892093" y="6805437"/>
                  <a:pt x="884771" y="6802508"/>
                  <a:pt x="879181" y="6796917"/>
                </a:cubicBezTo>
                <a:cubicBezTo>
                  <a:pt x="873592" y="6791327"/>
                  <a:pt x="870796" y="6784270"/>
                  <a:pt x="870796" y="6775751"/>
                </a:cubicBezTo>
                <a:cubicBezTo>
                  <a:pt x="870796" y="6767497"/>
                  <a:pt x="873592" y="6760443"/>
                  <a:pt x="879181" y="6754719"/>
                </a:cubicBezTo>
                <a:cubicBezTo>
                  <a:pt x="884771" y="6749128"/>
                  <a:pt x="891960" y="6746199"/>
                  <a:pt x="901012" y="6746199"/>
                </a:cubicBezTo>
                <a:close/>
                <a:moveTo>
                  <a:pt x="683372" y="6746199"/>
                </a:moveTo>
                <a:cubicBezTo>
                  <a:pt x="687633" y="6746199"/>
                  <a:pt x="691494" y="6746998"/>
                  <a:pt x="695088" y="6748595"/>
                </a:cubicBezTo>
                <a:cubicBezTo>
                  <a:pt x="698815" y="6750192"/>
                  <a:pt x="701876" y="6752323"/>
                  <a:pt x="704404" y="6754985"/>
                </a:cubicBezTo>
                <a:cubicBezTo>
                  <a:pt x="707066" y="6757514"/>
                  <a:pt x="709064" y="6760709"/>
                  <a:pt x="710527" y="6764303"/>
                </a:cubicBezTo>
                <a:cubicBezTo>
                  <a:pt x="711991" y="6767897"/>
                  <a:pt x="712791" y="6771757"/>
                  <a:pt x="712791" y="6775751"/>
                </a:cubicBezTo>
                <a:cubicBezTo>
                  <a:pt x="712791" y="6779878"/>
                  <a:pt x="711991" y="6783871"/>
                  <a:pt x="710527" y="6787466"/>
                </a:cubicBezTo>
                <a:cubicBezTo>
                  <a:pt x="709064" y="6791193"/>
                  <a:pt x="706934" y="6794255"/>
                  <a:pt x="704404" y="6796917"/>
                </a:cubicBezTo>
                <a:cubicBezTo>
                  <a:pt x="701876" y="6799580"/>
                  <a:pt x="698682" y="6801709"/>
                  <a:pt x="695088" y="6803174"/>
                </a:cubicBezTo>
                <a:cubicBezTo>
                  <a:pt x="691494" y="6804638"/>
                  <a:pt x="687633" y="6805437"/>
                  <a:pt x="683372" y="6805437"/>
                </a:cubicBezTo>
                <a:cubicBezTo>
                  <a:pt x="674454" y="6805437"/>
                  <a:pt x="667132" y="6802508"/>
                  <a:pt x="661541" y="6796917"/>
                </a:cubicBezTo>
                <a:cubicBezTo>
                  <a:pt x="655950" y="6791327"/>
                  <a:pt x="653155" y="6784270"/>
                  <a:pt x="653155" y="6775751"/>
                </a:cubicBezTo>
                <a:cubicBezTo>
                  <a:pt x="653155" y="6767497"/>
                  <a:pt x="655950" y="6760443"/>
                  <a:pt x="661541" y="6754719"/>
                </a:cubicBezTo>
                <a:cubicBezTo>
                  <a:pt x="667132" y="6749128"/>
                  <a:pt x="674321" y="6746199"/>
                  <a:pt x="683372" y="6746199"/>
                </a:cubicBezTo>
                <a:close/>
                <a:moveTo>
                  <a:pt x="465732" y="6746199"/>
                </a:moveTo>
                <a:cubicBezTo>
                  <a:pt x="469992" y="6746199"/>
                  <a:pt x="473852" y="6746998"/>
                  <a:pt x="477447" y="6748595"/>
                </a:cubicBezTo>
                <a:cubicBezTo>
                  <a:pt x="481174" y="6750192"/>
                  <a:pt x="484235" y="6752323"/>
                  <a:pt x="486765" y="6754985"/>
                </a:cubicBezTo>
                <a:cubicBezTo>
                  <a:pt x="489426" y="6757514"/>
                  <a:pt x="491423" y="6760709"/>
                  <a:pt x="492887" y="6764303"/>
                </a:cubicBezTo>
                <a:cubicBezTo>
                  <a:pt x="494351" y="6767897"/>
                  <a:pt x="495150" y="6771757"/>
                  <a:pt x="495150" y="6775751"/>
                </a:cubicBezTo>
                <a:cubicBezTo>
                  <a:pt x="495150" y="6779878"/>
                  <a:pt x="494351" y="6783871"/>
                  <a:pt x="492887" y="6787466"/>
                </a:cubicBezTo>
                <a:cubicBezTo>
                  <a:pt x="491423" y="6791193"/>
                  <a:pt x="489293" y="6794255"/>
                  <a:pt x="486765" y="6796917"/>
                </a:cubicBezTo>
                <a:cubicBezTo>
                  <a:pt x="484102" y="6799580"/>
                  <a:pt x="481041" y="6801709"/>
                  <a:pt x="477447" y="6803174"/>
                </a:cubicBezTo>
                <a:cubicBezTo>
                  <a:pt x="473852" y="6804638"/>
                  <a:pt x="469992" y="6805437"/>
                  <a:pt x="465732" y="6805437"/>
                </a:cubicBezTo>
                <a:cubicBezTo>
                  <a:pt x="456814" y="6805437"/>
                  <a:pt x="449492" y="6802508"/>
                  <a:pt x="443901" y="6796917"/>
                </a:cubicBezTo>
                <a:cubicBezTo>
                  <a:pt x="438310" y="6791327"/>
                  <a:pt x="435515" y="6784270"/>
                  <a:pt x="435515" y="6775751"/>
                </a:cubicBezTo>
                <a:cubicBezTo>
                  <a:pt x="435515" y="6767497"/>
                  <a:pt x="438310" y="6760443"/>
                  <a:pt x="443901" y="6754719"/>
                </a:cubicBezTo>
                <a:cubicBezTo>
                  <a:pt x="449492" y="6749128"/>
                  <a:pt x="456681" y="6746199"/>
                  <a:pt x="465732" y="6746199"/>
                </a:cubicBezTo>
                <a:close/>
                <a:moveTo>
                  <a:pt x="248091" y="6746199"/>
                </a:moveTo>
                <a:cubicBezTo>
                  <a:pt x="252351" y="6746199"/>
                  <a:pt x="256345" y="6746998"/>
                  <a:pt x="259805" y="6748595"/>
                </a:cubicBezTo>
                <a:cubicBezTo>
                  <a:pt x="263532" y="6750192"/>
                  <a:pt x="266594" y="6752323"/>
                  <a:pt x="269123" y="6754985"/>
                </a:cubicBezTo>
                <a:cubicBezTo>
                  <a:pt x="271785" y="6757514"/>
                  <a:pt x="273782" y="6760709"/>
                  <a:pt x="275246" y="6764303"/>
                </a:cubicBezTo>
                <a:cubicBezTo>
                  <a:pt x="276710" y="6767897"/>
                  <a:pt x="277509" y="6771757"/>
                  <a:pt x="277509" y="6775751"/>
                </a:cubicBezTo>
                <a:cubicBezTo>
                  <a:pt x="277509" y="6779878"/>
                  <a:pt x="276710" y="6783871"/>
                  <a:pt x="275246" y="6787466"/>
                </a:cubicBezTo>
                <a:cubicBezTo>
                  <a:pt x="273782" y="6791193"/>
                  <a:pt x="271652" y="6794255"/>
                  <a:pt x="269123" y="6796917"/>
                </a:cubicBezTo>
                <a:cubicBezTo>
                  <a:pt x="266460" y="6799580"/>
                  <a:pt x="263399" y="6801709"/>
                  <a:pt x="259805" y="6803174"/>
                </a:cubicBezTo>
                <a:cubicBezTo>
                  <a:pt x="256210" y="6804638"/>
                  <a:pt x="252351" y="6805437"/>
                  <a:pt x="248091" y="6805437"/>
                </a:cubicBezTo>
                <a:cubicBezTo>
                  <a:pt x="239174" y="6805437"/>
                  <a:pt x="231853" y="6802508"/>
                  <a:pt x="226262" y="6796917"/>
                </a:cubicBezTo>
                <a:cubicBezTo>
                  <a:pt x="220672" y="6791327"/>
                  <a:pt x="217877" y="6784270"/>
                  <a:pt x="217877" y="6775751"/>
                </a:cubicBezTo>
                <a:cubicBezTo>
                  <a:pt x="217877" y="6767497"/>
                  <a:pt x="220672" y="6760443"/>
                  <a:pt x="226262" y="6754719"/>
                </a:cubicBezTo>
                <a:cubicBezTo>
                  <a:pt x="231853" y="6749128"/>
                  <a:pt x="239040" y="6746199"/>
                  <a:pt x="248091" y="6746199"/>
                </a:cubicBezTo>
                <a:close/>
                <a:moveTo>
                  <a:pt x="30450" y="6746199"/>
                </a:moveTo>
                <a:cubicBezTo>
                  <a:pt x="34710" y="6746199"/>
                  <a:pt x="38704" y="6746998"/>
                  <a:pt x="42165" y="6748595"/>
                </a:cubicBezTo>
                <a:cubicBezTo>
                  <a:pt x="45892" y="6750192"/>
                  <a:pt x="48954" y="6752323"/>
                  <a:pt x="51483" y="6754985"/>
                </a:cubicBezTo>
                <a:cubicBezTo>
                  <a:pt x="54146" y="6757514"/>
                  <a:pt x="56143" y="6760709"/>
                  <a:pt x="57607" y="6764303"/>
                </a:cubicBezTo>
                <a:cubicBezTo>
                  <a:pt x="59071" y="6767897"/>
                  <a:pt x="59870" y="6771757"/>
                  <a:pt x="59870" y="6775751"/>
                </a:cubicBezTo>
                <a:cubicBezTo>
                  <a:pt x="59870" y="6779878"/>
                  <a:pt x="59071" y="6783871"/>
                  <a:pt x="57607" y="6787466"/>
                </a:cubicBezTo>
                <a:cubicBezTo>
                  <a:pt x="56143" y="6791193"/>
                  <a:pt x="54012" y="6794255"/>
                  <a:pt x="51483" y="6796917"/>
                </a:cubicBezTo>
                <a:cubicBezTo>
                  <a:pt x="48820" y="6799580"/>
                  <a:pt x="45759" y="6801709"/>
                  <a:pt x="42165" y="6803174"/>
                </a:cubicBezTo>
                <a:cubicBezTo>
                  <a:pt x="38571" y="6804638"/>
                  <a:pt x="34710" y="6805437"/>
                  <a:pt x="30450" y="6805437"/>
                </a:cubicBezTo>
                <a:cubicBezTo>
                  <a:pt x="21532" y="6805437"/>
                  <a:pt x="14212" y="6802508"/>
                  <a:pt x="8623" y="6796917"/>
                </a:cubicBezTo>
                <a:cubicBezTo>
                  <a:pt x="3032" y="6791327"/>
                  <a:pt x="237" y="6784270"/>
                  <a:pt x="237" y="6775751"/>
                </a:cubicBezTo>
                <a:cubicBezTo>
                  <a:pt x="237" y="6767497"/>
                  <a:pt x="3032" y="6760443"/>
                  <a:pt x="8623" y="6754719"/>
                </a:cubicBezTo>
                <a:cubicBezTo>
                  <a:pt x="14212" y="6749128"/>
                  <a:pt x="21398" y="6746199"/>
                  <a:pt x="30450" y="6746199"/>
                </a:cubicBezTo>
                <a:close/>
                <a:moveTo>
                  <a:pt x="10475977" y="6545327"/>
                </a:moveTo>
                <a:cubicBezTo>
                  <a:pt x="10470119" y="6545327"/>
                  <a:pt x="10467589" y="6547191"/>
                  <a:pt x="10465992" y="6548921"/>
                </a:cubicBezTo>
                <a:cubicBezTo>
                  <a:pt x="10463463" y="6551583"/>
                  <a:pt x="10462399" y="6554379"/>
                  <a:pt x="10462399" y="6558372"/>
                </a:cubicBezTo>
                <a:cubicBezTo>
                  <a:pt x="10462399" y="6562499"/>
                  <a:pt x="10463463" y="6565294"/>
                  <a:pt x="10465992" y="6567823"/>
                </a:cubicBezTo>
                <a:cubicBezTo>
                  <a:pt x="10467589" y="6569422"/>
                  <a:pt x="10470119" y="6571286"/>
                  <a:pt x="10475977" y="6571286"/>
                </a:cubicBezTo>
                <a:cubicBezTo>
                  <a:pt x="10478107" y="6571286"/>
                  <a:pt x="10479838" y="6570886"/>
                  <a:pt x="10481302" y="6570354"/>
                </a:cubicBezTo>
                <a:cubicBezTo>
                  <a:pt x="10482899" y="6569821"/>
                  <a:pt x="10484098" y="6569022"/>
                  <a:pt x="10485029" y="6567957"/>
                </a:cubicBezTo>
                <a:cubicBezTo>
                  <a:pt x="10486094" y="6566759"/>
                  <a:pt x="10487026" y="6565427"/>
                  <a:pt x="10487691" y="6563697"/>
                </a:cubicBezTo>
                <a:cubicBezTo>
                  <a:pt x="10488357" y="6562100"/>
                  <a:pt x="10488623" y="6560236"/>
                  <a:pt x="10488623" y="6558239"/>
                </a:cubicBezTo>
                <a:cubicBezTo>
                  <a:pt x="10488623" y="6556375"/>
                  <a:pt x="10488357" y="6554645"/>
                  <a:pt x="10487691" y="6553047"/>
                </a:cubicBezTo>
                <a:cubicBezTo>
                  <a:pt x="10487026" y="6551450"/>
                  <a:pt x="10486094" y="6550119"/>
                  <a:pt x="10485029" y="6548921"/>
                </a:cubicBezTo>
                <a:cubicBezTo>
                  <a:pt x="10483964" y="6547856"/>
                  <a:pt x="10482633" y="6546924"/>
                  <a:pt x="10481035" y="6546259"/>
                </a:cubicBezTo>
                <a:cubicBezTo>
                  <a:pt x="10479571" y="6545593"/>
                  <a:pt x="10477974" y="6545327"/>
                  <a:pt x="10475977" y="6545327"/>
                </a:cubicBezTo>
                <a:close/>
                <a:moveTo>
                  <a:pt x="10258466" y="6545327"/>
                </a:moveTo>
                <a:cubicBezTo>
                  <a:pt x="10252608" y="6545327"/>
                  <a:pt x="10250078" y="6547191"/>
                  <a:pt x="10248481" y="6548921"/>
                </a:cubicBezTo>
                <a:cubicBezTo>
                  <a:pt x="10245952" y="6551583"/>
                  <a:pt x="10244887" y="6554379"/>
                  <a:pt x="10244887" y="6558372"/>
                </a:cubicBezTo>
                <a:cubicBezTo>
                  <a:pt x="10244887" y="6562499"/>
                  <a:pt x="10245952" y="6565294"/>
                  <a:pt x="10248481" y="6567823"/>
                </a:cubicBezTo>
                <a:cubicBezTo>
                  <a:pt x="10250078" y="6569422"/>
                  <a:pt x="10252608" y="6571286"/>
                  <a:pt x="10258466" y="6571286"/>
                </a:cubicBezTo>
                <a:cubicBezTo>
                  <a:pt x="10260462" y="6571286"/>
                  <a:pt x="10262192" y="6570886"/>
                  <a:pt x="10263790" y="6570354"/>
                </a:cubicBezTo>
                <a:cubicBezTo>
                  <a:pt x="10265388" y="6569821"/>
                  <a:pt x="10266586" y="6569022"/>
                  <a:pt x="10267517" y="6567957"/>
                </a:cubicBezTo>
                <a:cubicBezTo>
                  <a:pt x="10268583" y="6566759"/>
                  <a:pt x="10269515" y="6565427"/>
                  <a:pt x="10270180" y="6563697"/>
                </a:cubicBezTo>
                <a:cubicBezTo>
                  <a:pt x="10270845" y="6562100"/>
                  <a:pt x="10271112" y="6560236"/>
                  <a:pt x="10271112" y="6558239"/>
                </a:cubicBezTo>
                <a:cubicBezTo>
                  <a:pt x="10271112" y="6556375"/>
                  <a:pt x="10270845" y="6554645"/>
                  <a:pt x="10270180" y="6553047"/>
                </a:cubicBezTo>
                <a:cubicBezTo>
                  <a:pt x="10269515" y="6551450"/>
                  <a:pt x="10268583" y="6550119"/>
                  <a:pt x="10267517" y="6548921"/>
                </a:cubicBezTo>
                <a:cubicBezTo>
                  <a:pt x="10266452" y="6547856"/>
                  <a:pt x="10265121" y="6546924"/>
                  <a:pt x="10263524" y="6546259"/>
                </a:cubicBezTo>
                <a:cubicBezTo>
                  <a:pt x="10262060" y="6545593"/>
                  <a:pt x="10260462" y="6545327"/>
                  <a:pt x="10258466" y="6545327"/>
                </a:cubicBezTo>
                <a:close/>
                <a:moveTo>
                  <a:pt x="10040820" y="6545327"/>
                </a:moveTo>
                <a:cubicBezTo>
                  <a:pt x="10034962" y="6545327"/>
                  <a:pt x="10032433" y="6547191"/>
                  <a:pt x="10030835" y="6548921"/>
                </a:cubicBezTo>
                <a:cubicBezTo>
                  <a:pt x="10028306" y="6551583"/>
                  <a:pt x="10027242" y="6554379"/>
                  <a:pt x="10027242" y="6558372"/>
                </a:cubicBezTo>
                <a:cubicBezTo>
                  <a:pt x="10027242" y="6562499"/>
                  <a:pt x="10028306" y="6565294"/>
                  <a:pt x="10030835" y="6567823"/>
                </a:cubicBezTo>
                <a:cubicBezTo>
                  <a:pt x="10032433" y="6569422"/>
                  <a:pt x="10034962" y="6571286"/>
                  <a:pt x="10040820" y="6571286"/>
                </a:cubicBezTo>
                <a:cubicBezTo>
                  <a:pt x="10042817" y="6571286"/>
                  <a:pt x="10044681" y="6570886"/>
                  <a:pt x="10046145" y="6570354"/>
                </a:cubicBezTo>
                <a:cubicBezTo>
                  <a:pt x="10047742" y="6569821"/>
                  <a:pt x="10048941" y="6569022"/>
                  <a:pt x="10049872" y="6567957"/>
                </a:cubicBezTo>
                <a:cubicBezTo>
                  <a:pt x="10050937" y="6566759"/>
                  <a:pt x="10051869" y="6565427"/>
                  <a:pt x="10052534" y="6563697"/>
                </a:cubicBezTo>
                <a:cubicBezTo>
                  <a:pt x="10053333" y="6562100"/>
                  <a:pt x="10053599" y="6560236"/>
                  <a:pt x="10053599" y="6558239"/>
                </a:cubicBezTo>
                <a:cubicBezTo>
                  <a:pt x="10053599" y="6556375"/>
                  <a:pt x="10053200" y="6554645"/>
                  <a:pt x="10052534" y="6553047"/>
                </a:cubicBezTo>
                <a:cubicBezTo>
                  <a:pt x="10051869" y="6551450"/>
                  <a:pt x="10050937" y="6550119"/>
                  <a:pt x="10049872" y="6548921"/>
                </a:cubicBezTo>
                <a:cubicBezTo>
                  <a:pt x="10048807" y="6547856"/>
                  <a:pt x="10047476" y="6546924"/>
                  <a:pt x="10045878" y="6546259"/>
                </a:cubicBezTo>
                <a:cubicBezTo>
                  <a:pt x="10044414" y="6545593"/>
                  <a:pt x="10042817" y="6545327"/>
                  <a:pt x="10040820" y="6545327"/>
                </a:cubicBezTo>
                <a:close/>
                <a:moveTo>
                  <a:pt x="9823176" y="6545327"/>
                </a:moveTo>
                <a:cubicBezTo>
                  <a:pt x="9817318" y="6545327"/>
                  <a:pt x="9814788" y="6547191"/>
                  <a:pt x="9813191" y="6548921"/>
                </a:cubicBezTo>
                <a:cubicBezTo>
                  <a:pt x="9810662" y="6551583"/>
                  <a:pt x="9809597" y="6554379"/>
                  <a:pt x="9809597" y="6558372"/>
                </a:cubicBezTo>
                <a:cubicBezTo>
                  <a:pt x="9809597" y="6562499"/>
                  <a:pt x="9810662" y="6565294"/>
                  <a:pt x="9813191" y="6567823"/>
                </a:cubicBezTo>
                <a:cubicBezTo>
                  <a:pt x="9814788" y="6569422"/>
                  <a:pt x="9817318" y="6571286"/>
                  <a:pt x="9823176" y="6571286"/>
                </a:cubicBezTo>
                <a:cubicBezTo>
                  <a:pt x="9825173" y="6571286"/>
                  <a:pt x="9827036" y="6570886"/>
                  <a:pt x="9828501" y="6570354"/>
                </a:cubicBezTo>
                <a:cubicBezTo>
                  <a:pt x="9830098" y="6569821"/>
                  <a:pt x="9831296" y="6569022"/>
                  <a:pt x="9832227" y="6567957"/>
                </a:cubicBezTo>
                <a:cubicBezTo>
                  <a:pt x="9833293" y="6566759"/>
                  <a:pt x="9834225" y="6565427"/>
                  <a:pt x="9834890" y="6563697"/>
                </a:cubicBezTo>
                <a:cubicBezTo>
                  <a:pt x="9835689" y="6562100"/>
                  <a:pt x="9835955" y="6560236"/>
                  <a:pt x="9835955" y="6558239"/>
                </a:cubicBezTo>
                <a:cubicBezTo>
                  <a:pt x="9835955" y="6556375"/>
                  <a:pt x="9835555" y="6554645"/>
                  <a:pt x="9834890" y="6553047"/>
                </a:cubicBezTo>
                <a:cubicBezTo>
                  <a:pt x="9834225" y="6551450"/>
                  <a:pt x="9833293" y="6550119"/>
                  <a:pt x="9832227" y="6548921"/>
                </a:cubicBezTo>
                <a:cubicBezTo>
                  <a:pt x="9831162" y="6547856"/>
                  <a:pt x="9829831" y="6546924"/>
                  <a:pt x="9828234" y="6546259"/>
                </a:cubicBezTo>
                <a:cubicBezTo>
                  <a:pt x="9826770" y="6545593"/>
                  <a:pt x="9825173" y="6545327"/>
                  <a:pt x="9823176" y="6545327"/>
                </a:cubicBezTo>
                <a:close/>
                <a:moveTo>
                  <a:pt x="9605531" y="6545327"/>
                </a:moveTo>
                <a:cubicBezTo>
                  <a:pt x="9599673" y="6545327"/>
                  <a:pt x="9597143" y="6547191"/>
                  <a:pt x="9595546" y="6548921"/>
                </a:cubicBezTo>
                <a:cubicBezTo>
                  <a:pt x="9593017" y="6551583"/>
                  <a:pt x="9591952" y="6554379"/>
                  <a:pt x="9591952" y="6558372"/>
                </a:cubicBezTo>
                <a:cubicBezTo>
                  <a:pt x="9591952" y="6562499"/>
                  <a:pt x="9593017" y="6565294"/>
                  <a:pt x="9595546" y="6567823"/>
                </a:cubicBezTo>
                <a:cubicBezTo>
                  <a:pt x="9597143" y="6569422"/>
                  <a:pt x="9599673" y="6571286"/>
                  <a:pt x="9605531" y="6571286"/>
                </a:cubicBezTo>
                <a:cubicBezTo>
                  <a:pt x="9607660" y="6571286"/>
                  <a:pt x="9609391" y="6570886"/>
                  <a:pt x="9610855" y="6570354"/>
                </a:cubicBezTo>
                <a:cubicBezTo>
                  <a:pt x="9612319" y="6569821"/>
                  <a:pt x="9613651" y="6569022"/>
                  <a:pt x="9614582" y="6567957"/>
                </a:cubicBezTo>
                <a:cubicBezTo>
                  <a:pt x="9615647" y="6566759"/>
                  <a:pt x="9616579" y="6565427"/>
                  <a:pt x="9617245" y="6563697"/>
                </a:cubicBezTo>
                <a:cubicBezTo>
                  <a:pt x="9618044" y="6562100"/>
                  <a:pt x="9618309" y="6560236"/>
                  <a:pt x="9618309" y="6558239"/>
                </a:cubicBezTo>
                <a:cubicBezTo>
                  <a:pt x="9618309" y="6556375"/>
                  <a:pt x="9617910" y="6554645"/>
                  <a:pt x="9617245" y="6553047"/>
                </a:cubicBezTo>
                <a:cubicBezTo>
                  <a:pt x="9616579" y="6551450"/>
                  <a:pt x="9615647" y="6550119"/>
                  <a:pt x="9614582" y="6548921"/>
                </a:cubicBezTo>
                <a:cubicBezTo>
                  <a:pt x="9613517" y="6547856"/>
                  <a:pt x="9612186" y="6546924"/>
                  <a:pt x="9610589" y="6546259"/>
                </a:cubicBezTo>
                <a:cubicBezTo>
                  <a:pt x="9609124" y="6545593"/>
                  <a:pt x="9607394" y="6545327"/>
                  <a:pt x="9605531" y="6545327"/>
                </a:cubicBezTo>
                <a:close/>
                <a:moveTo>
                  <a:pt x="9387885" y="6545327"/>
                </a:moveTo>
                <a:cubicBezTo>
                  <a:pt x="9382027" y="6545327"/>
                  <a:pt x="9379497" y="6547191"/>
                  <a:pt x="9377900" y="6548921"/>
                </a:cubicBezTo>
                <a:cubicBezTo>
                  <a:pt x="9375371" y="6551583"/>
                  <a:pt x="9374307" y="6554379"/>
                  <a:pt x="9374307" y="6558372"/>
                </a:cubicBezTo>
                <a:cubicBezTo>
                  <a:pt x="9374307" y="6562499"/>
                  <a:pt x="9375371" y="6565294"/>
                  <a:pt x="9377900" y="6567823"/>
                </a:cubicBezTo>
                <a:cubicBezTo>
                  <a:pt x="9379497" y="6569422"/>
                  <a:pt x="9382027" y="6571286"/>
                  <a:pt x="9387885" y="6571286"/>
                </a:cubicBezTo>
                <a:cubicBezTo>
                  <a:pt x="9390015" y="6571286"/>
                  <a:pt x="9391746" y="6570886"/>
                  <a:pt x="9393210" y="6570354"/>
                </a:cubicBezTo>
                <a:cubicBezTo>
                  <a:pt x="9394674" y="6569821"/>
                  <a:pt x="9396005" y="6569022"/>
                  <a:pt x="9396937" y="6567957"/>
                </a:cubicBezTo>
                <a:cubicBezTo>
                  <a:pt x="9398002" y="6566759"/>
                  <a:pt x="9398934" y="6565427"/>
                  <a:pt x="9399599" y="6563697"/>
                </a:cubicBezTo>
                <a:cubicBezTo>
                  <a:pt x="9400398" y="6562100"/>
                  <a:pt x="9400664" y="6560236"/>
                  <a:pt x="9400664" y="6558239"/>
                </a:cubicBezTo>
                <a:cubicBezTo>
                  <a:pt x="9400664" y="6556375"/>
                  <a:pt x="9400265" y="6554645"/>
                  <a:pt x="9399599" y="6553047"/>
                </a:cubicBezTo>
                <a:cubicBezTo>
                  <a:pt x="9398934" y="6551450"/>
                  <a:pt x="9398002" y="6550119"/>
                  <a:pt x="9396937" y="6548921"/>
                </a:cubicBezTo>
                <a:cubicBezTo>
                  <a:pt x="9395872" y="6547856"/>
                  <a:pt x="9394541" y="6546924"/>
                  <a:pt x="9392943" y="6546259"/>
                </a:cubicBezTo>
                <a:cubicBezTo>
                  <a:pt x="9391479" y="6545593"/>
                  <a:pt x="9389749" y="6545327"/>
                  <a:pt x="9387885" y="6545327"/>
                </a:cubicBezTo>
                <a:close/>
                <a:moveTo>
                  <a:pt x="9170374" y="6545327"/>
                </a:moveTo>
                <a:cubicBezTo>
                  <a:pt x="9164649" y="6545327"/>
                  <a:pt x="9161986" y="6547191"/>
                  <a:pt x="9160389" y="6548921"/>
                </a:cubicBezTo>
                <a:cubicBezTo>
                  <a:pt x="9157860" y="6551583"/>
                  <a:pt x="9156795" y="6554379"/>
                  <a:pt x="9156795" y="6558372"/>
                </a:cubicBezTo>
                <a:cubicBezTo>
                  <a:pt x="9156795" y="6562499"/>
                  <a:pt x="9157860" y="6565294"/>
                  <a:pt x="9160389" y="6567823"/>
                </a:cubicBezTo>
                <a:cubicBezTo>
                  <a:pt x="9161986" y="6569422"/>
                  <a:pt x="9164516" y="6571286"/>
                  <a:pt x="9170374" y="6571286"/>
                </a:cubicBezTo>
                <a:cubicBezTo>
                  <a:pt x="9172370" y="6571286"/>
                  <a:pt x="9174100" y="6570886"/>
                  <a:pt x="9175698" y="6570354"/>
                </a:cubicBezTo>
                <a:cubicBezTo>
                  <a:pt x="9177163" y="6569821"/>
                  <a:pt x="9178494" y="6569022"/>
                  <a:pt x="9179425" y="6567957"/>
                </a:cubicBezTo>
                <a:cubicBezTo>
                  <a:pt x="9180491" y="6566759"/>
                  <a:pt x="9181422" y="6565427"/>
                  <a:pt x="9182088" y="6563697"/>
                </a:cubicBezTo>
                <a:cubicBezTo>
                  <a:pt x="9182887" y="6562100"/>
                  <a:pt x="9183152" y="6560236"/>
                  <a:pt x="9183152" y="6558239"/>
                </a:cubicBezTo>
                <a:cubicBezTo>
                  <a:pt x="9183152" y="6556375"/>
                  <a:pt x="9182753" y="6554645"/>
                  <a:pt x="9182088" y="6553047"/>
                </a:cubicBezTo>
                <a:cubicBezTo>
                  <a:pt x="9181422" y="6551450"/>
                  <a:pt x="9180491" y="6550119"/>
                  <a:pt x="9179425" y="6548921"/>
                </a:cubicBezTo>
                <a:cubicBezTo>
                  <a:pt x="9178360" y="6547856"/>
                  <a:pt x="9177029" y="6546924"/>
                  <a:pt x="9175432" y="6546259"/>
                </a:cubicBezTo>
                <a:cubicBezTo>
                  <a:pt x="9173967" y="6545593"/>
                  <a:pt x="9172237" y="6545327"/>
                  <a:pt x="9170374" y="6545327"/>
                </a:cubicBezTo>
                <a:close/>
                <a:moveTo>
                  <a:pt x="8952728" y="6545327"/>
                </a:moveTo>
                <a:cubicBezTo>
                  <a:pt x="8947003" y="6545327"/>
                  <a:pt x="8944340" y="6547191"/>
                  <a:pt x="8942743" y="6548921"/>
                </a:cubicBezTo>
                <a:cubicBezTo>
                  <a:pt x="8940214" y="6551583"/>
                  <a:pt x="8939150" y="6554379"/>
                  <a:pt x="8939150" y="6558372"/>
                </a:cubicBezTo>
                <a:cubicBezTo>
                  <a:pt x="8939150" y="6562499"/>
                  <a:pt x="8940214" y="6565294"/>
                  <a:pt x="8942743" y="6567823"/>
                </a:cubicBezTo>
                <a:cubicBezTo>
                  <a:pt x="8944340" y="6569422"/>
                  <a:pt x="8946870" y="6571286"/>
                  <a:pt x="8952728" y="6571286"/>
                </a:cubicBezTo>
                <a:cubicBezTo>
                  <a:pt x="8954725" y="6571286"/>
                  <a:pt x="8956589" y="6570886"/>
                  <a:pt x="8958053" y="6570354"/>
                </a:cubicBezTo>
                <a:cubicBezTo>
                  <a:pt x="8959517" y="6569821"/>
                  <a:pt x="8960849" y="6569022"/>
                  <a:pt x="8961780" y="6567957"/>
                </a:cubicBezTo>
                <a:cubicBezTo>
                  <a:pt x="8962845" y="6566759"/>
                  <a:pt x="8963777" y="6565427"/>
                  <a:pt x="8964442" y="6563697"/>
                </a:cubicBezTo>
                <a:cubicBezTo>
                  <a:pt x="8965241" y="6562100"/>
                  <a:pt x="8965507" y="6560236"/>
                  <a:pt x="8965507" y="6558239"/>
                </a:cubicBezTo>
                <a:cubicBezTo>
                  <a:pt x="8965507" y="6556375"/>
                  <a:pt x="8965108" y="6554645"/>
                  <a:pt x="8964442" y="6553047"/>
                </a:cubicBezTo>
                <a:cubicBezTo>
                  <a:pt x="8963777" y="6551450"/>
                  <a:pt x="8962845" y="6550119"/>
                  <a:pt x="8961780" y="6548921"/>
                </a:cubicBezTo>
                <a:cubicBezTo>
                  <a:pt x="8960715" y="6547856"/>
                  <a:pt x="8959384" y="6546924"/>
                  <a:pt x="8957786" y="6546259"/>
                </a:cubicBezTo>
                <a:cubicBezTo>
                  <a:pt x="8956322" y="6545593"/>
                  <a:pt x="8954592" y="6545327"/>
                  <a:pt x="8952728" y="6545327"/>
                </a:cubicBezTo>
                <a:close/>
                <a:moveTo>
                  <a:pt x="8735083" y="6545327"/>
                </a:moveTo>
                <a:cubicBezTo>
                  <a:pt x="8729358" y="6545327"/>
                  <a:pt x="8726695" y="6547191"/>
                  <a:pt x="8725098" y="6548921"/>
                </a:cubicBezTo>
                <a:cubicBezTo>
                  <a:pt x="8722569" y="6551583"/>
                  <a:pt x="8721504" y="6554379"/>
                  <a:pt x="8721504" y="6558372"/>
                </a:cubicBezTo>
                <a:cubicBezTo>
                  <a:pt x="8721504" y="6562499"/>
                  <a:pt x="8722569" y="6565294"/>
                  <a:pt x="8725098" y="6567823"/>
                </a:cubicBezTo>
                <a:cubicBezTo>
                  <a:pt x="8726695" y="6569422"/>
                  <a:pt x="8729225" y="6571286"/>
                  <a:pt x="8735083" y="6571286"/>
                </a:cubicBezTo>
                <a:cubicBezTo>
                  <a:pt x="8737079" y="6571286"/>
                  <a:pt x="8738943" y="6570886"/>
                  <a:pt x="8740407" y="6570354"/>
                </a:cubicBezTo>
                <a:cubicBezTo>
                  <a:pt x="8741872" y="6569821"/>
                  <a:pt x="8743203" y="6569022"/>
                  <a:pt x="8744134" y="6567957"/>
                </a:cubicBezTo>
                <a:cubicBezTo>
                  <a:pt x="8745200" y="6566759"/>
                  <a:pt x="8746132" y="6565427"/>
                  <a:pt x="8746797" y="6563697"/>
                </a:cubicBezTo>
                <a:cubicBezTo>
                  <a:pt x="8747596" y="6562100"/>
                  <a:pt x="8747862" y="6560236"/>
                  <a:pt x="8747862" y="6558239"/>
                </a:cubicBezTo>
                <a:cubicBezTo>
                  <a:pt x="8747862" y="6556375"/>
                  <a:pt x="8747462" y="6554645"/>
                  <a:pt x="8746797" y="6553047"/>
                </a:cubicBezTo>
                <a:cubicBezTo>
                  <a:pt x="8746132" y="6551450"/>
                  <a:pt x="8745200" y="6550119"/>
                  <a:pt x="8744134" y="6548921"/>
                </a:cubicBezTo>
                <a:cubicBezTo>
                  <a:pt x="8743069" y="6547856"/>
                  <a:pt x="8741738" y="6546924"/>
                  <a:pt x="8740141" y="6546259"/>
                </a:cubicBezTo>
                <a:cubicBezTo>
                  <a:pt x="8738677" y="6545593"/>
                  <a:pt x="8736946" y="6545327"/>
                  <a:pt x="8735083" y="6545327"/>
                </a:cubicBezTo>
                <a:close/>
                <a:moveTo>
                  <a:pt x="8517438" y="6545327"/>
                </a:moveTo>
                <a:cubicBezTo>
                  <a:pt x="8511713" y="6545327"/>
                  <a:pt x="8509051" y="6547191"/>
                  <a:pt x="8507453" y="6548921"/>
                </a:cubicBezTo>
                <a:cubicBezTo>
                  <a:pt x="8504925" y="6551583"/>
                  <a:pt x="8503860" y="6554379"/>
                  <a:pt x="8503860" y="6558372"/>
                </a:cubicBezTo>
                <a:cubicBezTo>
                  <a:pt x="8503860" y="6562499"/>
                  <a:pt x="8504925" y="6565294"/>
                  <a:pt x="8507453" y="6567823"/>
                </a:cubicBezTo>
                <a:cubicBezTo>
                  <a:pt x="8509051" y="6569422"/>
                  <a:pt x="8511581" y="6571286"/>
                  <a:pt x="8517438" y="6571286"/>
                </a:cubicBezTo>
                <a:cubicBezTo>
                  <a:pt x="8519568" y="6571286"/>
                  <a:pt x="8521299" y="6570886"/>
                  <a:pt x="8522763" y="6570354"/>
                </a:cubicBezTo>
                <a:cubicBezTo>
                  <a:pt x="8524227" y="6569821"/>
                  <a:pt x="8525559" y="6569022"/>
                  <a:pt x="8526490" y="6567957"/>
                </a:cubicBezTo>
                <a:cubicBezTo>
                  <a:pt x="8527555" y="6566759"/>
                  <a:pt x="8528487" y="6565427"/>
                  <a:pt x="8529152" y="6563697"/>
                </a:cubicBezTo>
                <a:cubicBezTo>
                  <a:pt x="8529818" y="6562100"/>
                  <a:pt x="8530084" y="6560236"/>
                  <a:pt x="8530084" y="6558239"/>
                </a:cubicBezTo>
                <a:cubicBezTo>
                  <a:pt x="8530084" y="6556375"/>
                  <a:pt x="8529818" y="6554645"/>
                  <a:pt x="8529152" y="6553047"/>
                </a:cubicBezTo>
                <a:cubicBezTo>
                  <a:pt x="8528487" y="6551450"/>
                  <a:pt x="8527555" y="6550119"/>
                  <a:pt x="8526490" y="6548921"/>
                </a:cubicBezTo>
                <a:cubicBezTo>
                  <a:pt x="8525425" y="6547856"/>
                  <a:pt x="8524094" y="6546924"/>
                  <a:pt x="8522496" y="6546259"/>
                </a:cubicBezTo>
                <a:cubicBezTo>
                  <a:pt x="8521032" y="6545593"/>
                  <a:pt x="8519302" y="6545327"/>
                  <a:pt x="8517438" y="6545327"/>
                </a:cubicBezTo>
                <a:close/>
                <a:moveTo>
                  <a:pt x="8299793" y="6545327"/>
                </a:moveTo>
                <a:cubicBezTo>
                  <a:pt x="8294068" y="6545327"/>
                  <a:pt x="8291406" y="6547191"/>
                  <a:pt x="8289809" y="6548921"/>
                </a:cubicBezTo>
                <a:cubicBezTo>
                  <a:pt x="8287280" y="6551583"/>
                  <a:pt x="8286215" y="6554379"/>
                  <a:pt x="8286215" y="6558372"/>
                </a:cubicBezTo>
                <a:cubicBezTo>
                  <a:pt x="8286215" y="6562499"/>
                  <a:pt x="8287280" y="6565294"/>
                  <a:pt x="8289809" y="6567823"/>
                </a:cubicBezTo>
                <a:cubicBezTo>
                  <a:pt x="8291406" y="6569422"/>
                  <a:pt x="8293935" y="6571286"/>
                  <a:pt x="8299793" y="6571286"/>
                </a:cubicBezTo>
                <a:cubicBezTo>
                  <a:pt x="8301923" y="6571286"/>
                  <a:pt x="8303653" y="6570886"/>
                  <a:pt x="8305118" y="6570354"/>
                </a:cubicBezTo>
                <a:cubicBezTo>
                  <a:pt x="8306582" y="6569821"/>
                  <a:pt x="8307913" y="6569022"/>
                  <a:pt x="8308844" y="6567957"/>
                </a:cubicBezTo>
                <a:cubicBezTo>
                  <a:pt x="8309910" y="6566759"/>
                  <a:pt x="8310842" y="6565427"/>
                  <a:pt x="8311507" y="6563697"/>
                </a:cubicBezTo>
                <a:cubicBezTo>
                  <a:pt x="8312172" y="6562100"/>
                  <a:pt x="8312439" y="6560236"/>
                  <a:pt x="8312439" y="6558239"/>
                </a:cubicBezTo>
                <a:cubicBezTo>
                  <a:pt x="8312439" y="6556375"/>
                  <a:pt x="8312172" y="6554645"/>
                  <a:pt x="8311507" y="6553047"/>
                </a:cubicBezTo>
                <a:cubicBezTo>
                  <a:pt x="8310842" y="6551450"/>
                  <a:pt x="8309910" y="6550119"/>
                  <a:pt x="8308844" y="6548921"/>
                </a:cubicBezTo>
                <a:cubicBezTo>
                  <a:pt x="8307779" y="6547856"/>
                  <a:pt x="8306448" y="6546924"/>
                  <a:pt x="8304851" y="6546259"/>
                </a:cubicBezTo>
                <a:cubicBezTo>
                  <a:pt x="8303387" y="6545593"/>
                  <a:pt x="8301790" y="6545327"/>
                  <a:pt x="8299793" y="6545327"/>
                </a:cubicBezTo>
                <a:close/>
                <a:moveTo>
                  <a:pt x="8082281" y="6545327"/>
                </a:moveTo>
                <a:cubicBezTo>
                  <a:pt x="8076424" y="6545327"/>
                  <a:pt x="8073894" y="6547191"/>
                  <a:pt x="8072297" y="6548921"/>
                </a:cubicBezTo>
                <a:cubicBezTo>
                  <a:pt x="8069768" y="6551583"/>
                  <a:pt x="8068703" y="6554379"/>
                  <a:pt x="8068703" y="6558372"/>
                </a:cubicBezTo>
                <a:cubicBezTo>
                  <a:pt x="8068703" y="6562499"/>
                  <a:pt x="8069768" y="6565294"/>
                  <a:pt x="8072297" y="6567823"/>
                </a:cubicBezTo>
                <a:cubicBezTo>
                  <a:pt x="8073894" y="6569422"/>
                  <a:pt x="8076424" y="6571286"/>
                  <a:pt x="8082281" y="6571286"/>
                </a:cubicBezTo>
                <a:cubicBezTo>
                  <a:pt x="8084277" y="6571286"/>
                  <a:pt x="8086007" y="6570886"/>
                  <a:pt x="8087605" y="6570354"/>
                </a:cubicBezTo>
                <a:cubicBezTo>
                  <a:pt x="8089069" y="6569821"/>
                  <a:pt x="8090401" y="6569022"/>
                  <a:pt x="8091332" y="6567957"/>
                </a:cubicBezTo>
                <a:cubicBezTo>
                  <a:pt x="8092397" y="6566759"/>
                  <a:pt x="8093329" y="6565427"/>
                  <a:pt x="8093994" y="6563697"/>
                </a:cubicBezTo>
                <a:cubicBezTo>
                  <a:pt x="8094660" y="6562100"/>
                  <a:pt x="8094926" y="6560236"/>
                  <a:pt x="8094926" y="6558239"/>
                </a:cubicBezTo>
                <a:cubicBezTo>
                  <a:pt x="8094926" y="6556375"/>
                  <a:pt x="8094660" y="6554645"/>
                  <a:pt x="8093994" y="6553047"/>
                </a:cubicBezTo>
                <a:cubicBezTo>
                  <a:pt x="8093329" y="6551450"/>
                  <a:pt x="8092397" y="6550119"/>
                  <a:pt x="8091332" y="6548921"/>
                </a:cubicBezTo>
                <a:cubicBezTo>
                  <a:pt x="8090267" y="6547856"/>
                  <a:pt x="8088936" y="6546924"/>
                  <a:pt x="8087338" y="6546259"/>
                </a:cubicBezTo>
                <a:cubicBezTo>
                  <a:pt x="8085874" y="6545593"/>
                  <a:pt x="8084277" y="6545327"/>
                  <a:pt x="8082281" y="6545327"/>
                </a:cubicBezTo>
                <a:close/>
                <a:moveTo>
                  <a:pt x="7864636" y="6545327"/>
                </a:moveTo>
                <a:cubicBezTo>
                  <a:pt x="7858779" y="6545327"/>
                  <a:pt x="7856249" y="6547191"/>
                  <a:pt x="7854652" y="6548921"/>
                </a:cubicBezTo>
                <a:cubicBezTo>
                  <a:pt x="7852123" y="6551583"/>
                  <a:pt x="7851058" y="6554379"/>
                  <a:pt x="7851058" y="6558372"/>
                </a:cubicBezTo>
                <a:cubicBezTo>
                  <a:pt x="7851058" y="6562499"/>
                  <a:pt x="7852123" y="6565294"/>
                  <a:pt x="7854652" y="6567823"/>
                </a:cubicBezTo>
                <a:cubicBezTo>
                  <a:pt x="7856249" y="6569422"/>
                  <a:pt x="7858779" y="6571286"/>
                  <a:pt x="7864636" y="6571286"/>
                </a:cubicBezTo>
                <a:cubicBezTo>
                  <a:pt x="7866633" y="6571286"/>
                  <a:pt x="7868363" y="6570886"/>
                  <a:pt x="7869961" y="6570354"/>
                </a:cubicBezTo>
                <a:cubicBezTo>
                  <a:pt x="7871425" y="6569821"/>
                  <a:pt x="7872756" y="6569022"/>
                  <a:pt x="7873687" y="6567957"/>
                </a:cubicBezTo>
                <a:cubicBezTo>
                  <a:pt x="7874753" y="6566759"/>
                  <a:pt x="7875685" y="6565427"/>
                  <a:pt x="7876350" y="6563697"/>
                </a:cubicBezTo>
                <a:cubicBezTo>
                  <a:pt x="7877015" y="6562100"/>
                  <a:pt x="7877282" y="6560236"/>
                  <a:pt x="7877282" y="6558239"/>
                </a:cubicBezTo>
                <a:cubicBezTo>
                  <a:pt x="7877282" y="6556375"/>
                  <a:pt x="7877015" y="6554645"/>
                  <a:pt x="7876350" y="6553047"/>
                </a:cubicBezTo>
                <a:cubicBezTo>
                  <a:pt x="7875685" y="6551450"/>
                  <a:pt x="7874753" y="6550119"/>
                  <a:pt x="7873687" y="6548921"/>
                </a:cubicBezTo>
                <a:cubicBezTo>
                  <a:pt x="7872623" y="6547856"/>
                  <a:pt x="7871291" y="6546924"/>
                  <a:pt x="7869694" y="6546259"/>
                </a:cubicBezTo>
                <a:cubicBezTo>
                  <a:pt x="7868230" y="6545593"/>
                  <a:pt x="7866633" y="6545327"/>
                  <a:pt x="7864636" y="6545327"/>
                </a:cubicBezTo>
                <a:close/>
                <a:moveTo>
                  <a:pt x="7646991" y="6545327"/>
                </a:moveTo>
                <a:cubicBezTo>
                  <a:pt x="7641134" y="6545327"/>
                  <a:pt x="7638604" y="6547191"/>
                  <a:pt x="7637007" y="6548921"/>
                </a:cubicBezTo>
                <a:cubicBezTo>
                  <a:pt x="7634478" y="6551583"/>
                  <a:pt x="7633413" y="6554379"/>
                  <a:pt x="7633413" y="6558372"/>
                </a:cubicBezTo>
                <a:cubicBezTo>
                  <a:pt x="7633413" y="6562499"/>
                  <a:pt x="7634478" y="6565294"/>
                  <a:pt x="7637007" y="6567823"/>
                </a:cubicBezTo>
                <a:cubicBezTo>
                  <a:pt x="7638604" y="6569422"/>
                  <a:pt x="7641134" y="6571286"/>
                  <a:pt x="7646991" y="6571286"/>
                </a:cubicBezTo>
                <a:cubicBezTo>
                  <a:pt x="7648987" y="6571286"/>
                  <a:pt x="7650851" y="6570886"/>
                  <a:pt x="7652315" y="6570354"/>
                </a:cubicBezTo>
                <a:cubicBezTo>
                  <a:pt x="7653780" y="6569821"/>
                  <a:pt x="7655111" y="6569022"/>
                  <a:pt x="7656042" y="6567957"/>
                </a:cubicBezTo>
                <a:cubicBezTo>
                  <a:pt x="7657108" y="6566759"/>
                  <a:pt x="7658039" y="6565427"/>
                  <a:pt x="7658705" y="6563697"/>
                </a:cubicBezTo>
                <a:cubicBezTo>
                  <a:pt x="7659504" y="6562100"/>
                  <a:pt x="7659769" y="6560236"/>
                  <a:pt x="7659769" y="6558239"/>
                </a:cubicBezTo>
                <a:cubicBezTo>
                  <a:pt x="7659769" y="6556375"/>
                  <a:pt x="7659370" y="6554645"/>
                  <a:pt x="7658705" y="6553047"/>
                </a:cubicBezTo>
                <a:cubicBezTo>
                  <a:pt x="7658039" y="6551450"/>
                  <a:pt x="7657108" y="6550119"/>
                  <a:pt x="7656042" y="6548921"/>
                </a:cubicBezTo>
                <a:cubicBezTo>
                  <a:pt x="7654977" y="6547856"/>
                  <a:pt x="7653646" y="6546924"/>
                  <a:pt x="7652049" y="6546259"/>
                </a:cubicBezTo>
                <a:cubicBezTo>
                  <a:pt x="7650584" y="6545593"/>
                  <a:pt x="7648987" y="6545327"/>
                  <a:pt x="7646991" y="6545327"/>
                </a:cubicBezTo>
                <a:close/>
                <a:moveTo>
                  <a:pt x="7429345" y="6545327"/>
                </a:moveTo>
                <a:cubicBezTo>
                  <a:pt x="7423488" y="6545327"/>
                  <a:pt x="7420958" y="6547191"/>
                  <a:pt x="7419361" y="6548921"/>
                </a:cubicBezTo>
                <a:cubicBezTo>
                  <a:pt x="7416832" y="6551583"/>
                  <a:pt x="7415768" y="6554379"/>
                  <a:pt x="7415768" y="6558372"/>
                </a:cubicBezTo>
                <a:cubicBezTo>
                  <a:pt x="7415768" y="6562499"/>
                  <a:pt x="7416832" y="6565294"/>
                  <a:pt x="7419361" y="6567823"/>
                </a:cubicBezTo>
                <a:cubicBezTo>
                  <a:pt x="7420958" y="6569422"/>
                  <a:pt x="7423488" y="6571286"/>
                  <a:pt x="7429345" y="6571286"/>
                </a:cubicBezTo>
                <a:cubicBezTo>
                  <a:pt x="7431342" y="6571286"/>
                  <a:pt x="7433206" y="6570886"/>
                  <a:pt x="7434670" y="6570354"/>
                </a:cubicBezTo>
                <a:cubicBezTo>
                  <a:pt x="7436134" y="6569821"/>
                  <a:pt x="7437466" y="6569022"/>
                  <a:pt x="7438397" y="6567957"/>
                </a:cubicBezTo>
                <a:cubicBezTo>
                  <a:pt x="7439462" y="6566759"/>
                  <a:pt x="7440394" y="6565427"/>
                  <a:pt x="7441059" y="6563697"/>
                </a:cubicBezTo>
                <a:cubicBezTo>
                  <a:pt x="7441858" y="6562100"/>
                  <a:pt x="7442124" y="6560236"/>
                  <a:pt x="7442124" y="6558239"/>
                </a:cubicBezTo>
                <a:cubicBezTo>
                  <a:pt x="7442124" y="6556375"/>
                  <a:pt x="7441725" y="6554645"/>
                  <a:pt x="7441059" y="6553047"/>
                </a:cubicBezTo>
                <a:cubicBezTo>
                  <a:pt x="7440394" y="6551450"/>
                  <a:pt x="7439462" y="6550119"/>
                  <a:pt x="7438397" y="6548921"/>
                </a:cubicBezTo>
                <a:cubicBezTo>
                  <a:pt x="7437332" y="6547856"/>
                  <a:pt x="7436001" y="6546924"/>
                  <a:pt x="7434403" y="6546259"/>
                </a:cubicBezTo>
                <a:cubicBezTo>
                  <a:pt x="7432939" y="6545593"/>
                  <a:pt x="7431342" y="6545327"/>
                  <a:pt x="7429345" y="6545327"/>
                </a:cubicBezTo>
                <a:close/>
                <a:moveTo>
                  <a:pt x="7211701" y="6545327"/>
                </a:moveTo>
                <a:cubicBezTo>
                  <a:pt x="7205844" y="6545327"/>
                  <a:pt x="7203314" y="6547191"/>
                  <a:pt x="7201717" y="6548921"/>
                </a:cubicBezTo>
                <a:cubicBezTo>
                  <a:pt x="7199188" y="6551583"/>
                  <a:pt x="7198123" y="6554379"/>
                  <a:pt x="7198123" y="6558372"/>
                </a:cubicBezTo>
                <a:cubicBezTo>
                  <a:pt x="7198123" y="6562499"/>
                  <a:pt x="7199188" y="6565294"/>
                  <a:pt x="7201717" y="6567823"/>
                </a:cubicBezTo>
                <a:cubicBezTo>
                  <a:pt x="7203314" y="6569422"/>
                  <a:pt x="7205844" y="6571286"/>
                  <a:pt x="7211701" y="6571286"/>
                </a:cubicBezTo>
                <a:cubicBezTo>
                  <a:pt x="7213830" y="6571286"/>
                  <a:pt x="7215561" y="6570886"/>
                  <a:pt x="7217026" y="6570354"/>
                </a:cubicBezTo>
                <a:cubicBezTo>
                  <a:pt x="7218490" y="6569821"/>
                  <a:pt x="7219821" y="6569022"/>
                  <a:pt x="7220752" y="6567957"/>
                </a:cubicBezTo>
                <a:cubicBezTo>
                  <a:pt x="7221818" y="6566759"/>
                  <a:pt x="7222750" y="6565427"/>
                  <a:pt x="7223415" y="6563697"/>
                </a:cubicBezTo>
                <a:cubicBezTo>
                  <a:pt x="7224214" y="6562100"/>
                  <a:pt x="7224480" y="6560236"/>
                  <a:pt x="7224480" y="6558239"/>
                </a:cubicBezTo>
                <a:cubicBezTo>
                  <a:pt x="7224480" y="6556375"/>
                  <a:pt x="7224080" y="6554645"/>
                  <a:pt x="7223415" y="6553047"/>
                </a:cubicBezTo>
                <a:cubicBezTo>
                  <a:pt x="7222750" y="6551450"/>
                  <a:pt x="7221818" y="6550119"/>
                  <a:pt x="7220752" y="6548921"/>
                </a:cubicBezTo>
                <a:cubicBezTo>
                  <a:pt x="7219687" y="6547856"/>
                  <a:pt x="7218356" y="6546924"/>
                  <a:pt x="7216759" y="6546259"/>
                </a:cubicBezTo>
                <a:cubicBezTo>
                  <a:pt x="7215295" y="6545593"/>
                  <a:pt x="7213698" y="6545327"/>
                  <a:pt x="7211701" y="6545327"/>
                </a:cubicBezTo>
                <a:close/>
                <a:moveTo>
                  <a:pt x="6994056" y="6545327"/>
                </a:moveTo>
                <a:cubicBezTo>
                  <a:pt x="6988199" y="6545327"/>
                  <a:pt x="6985669" y="6547191"/>
                  <a:pt x="6984072" y="6548921"/>
                </a:cubicBezTo>
                <a:cubicBezTo>
                  <a:pt x="6981543" y="6551583"/>
                  <a:pt x="6980478" y="6554379"/>
                  <a:pt x="6980478" y="6558372"/>
                </a:cubicBezTo>
                <a:cubicBezTo>
                  <a:pt x="6980478" y="6562499"/>
                  <a:pt x="6981543" y="6565294"/>
                  <a:pt x="6984072" y="6567823"/>
                </a:cubicBezTo>
                <a:cubicBezTo>
                  <a:pt x="6985669" y="6569422"/>
                  <a:pt x="6988199" y="6571286"/>
                  <a:pt x="6994056" y="6571286"/>
                </a:cubicBezTo>
                <a:cubicBezTo>
                  <a:pt x="6996185" y="6571286"/>
                  <a:pt x="6997916" y="6570886"/>
                  <a:pt x="6999380" y="6570354"/>
                </a:cubicBezTo>
                <a:cubicBezTo>
                  <a:pt x="7000844" y="6569821"/>
                  <a:pt x="7002176" y="6569022"/>
                  <a:pt x="7003107" y="6567957"/>
                </a:cubicBezTo>
                <a:cubicBezTo>
                  <a:pt x="7004172" y="6566759"/>
                  <a:pt x="7005104" y="6565427"/>
                  <a:pt x="7005769" y="6563697"/>
                </a:cubicBezTo>
                <a:cubicBezTo>
                  <a:pt x="7006568" y="6562100"/>
                  <a:pt x="7006834" y="6560236"/>
                  <a:pt x="7006834" y="6558239"/>
                </a:cubicBezTo>
                <a:cubicBezTo>
                  <a:pt x="7006834" y="6556375"/>
                  <a:pt x="7006435" y="6554645"/>
                  <a:pt x="7005769" y="6553047"/>
                </a:cubicBezTo>
                <a:cubicBezTo>
                  <a:pt x="7005104" y="6551450"/>
                  <a:pt x="7004172" y="6550119"/>
                  <a:pt x="7003107" y="6548921"/>
                </a:cubicBezTo>
                <a:cubicBezTo>
                  <a:pt x="7002042" y="6547856"/>
                  <a:pt x="7000711" y="6546924"/>
                  <a:pt x="6999113" y="6546259"/>
                </a:cubicBezTo>
                <a:cubicBezTo>
                  <a:pt x="6997649" y="6545593"/>
                  <a:pt x="6996052" y="6545327"/>
                  <a:pt x="6994056" y="6545327"/>
                </a:cubicBezTo>
                <a:close/>
                <a:moveTo>
                  <a:pt x="6776544" y="6545327"/>
                </a:moveTo>
                <a:cubicBezTo>
                  <a:pt x="6770687" y="6545327"/>
                  <a:pt x="6768157" y="6547191"/>
                  <a:pt x="6766560" y="6548921"/>
                </a:cubicBezTo>
                <a:cubicBezTo>
                  <a:pt x="6764031" y="6551583"/>
                  <a:pt x="6762966" y="6554379"/>
                  <a:pt x="6762966" y="6558372"/>
                </a:cubicBezTo>
                <a:cubicBezTo>
                  <a:pt x="6762966" y="6562499"/>
                  <a:pt x="6764031" y="6565294"/>
                  <a:pt x="6766560" y="6567823"/>
                </a:cubicBezTo>
                <a:cubicBezTo>
                  <a:pt x="6768157" y="6569422"/>
                  <a:pt x="6770687" y="6571286"/>
                  <a:pt x="6776544" y="6571286"/>
                </a:cubicBezTo>
                <a:cubicBezTo>
                  <a:pt x="6778541" y="6571286"/>
                  <a:pt x="6780270" y="6570886"/>
                  <a:pt x="6781869" y="6570354"/>
                </a:cubicBezTo>
                <a:cubicBezTo>
                  <a:pt x="6783333" y="6569821"/>
                  <a:pt x="6784664" y="6569022"/>
                  <a:pt x="6785595" y="6567957"/>
                </a:cubicBezTo>
                <a:cubicBezTo>
                  <a:pt x="6786661" y="6566759"/>
                  <a:pt x="6787593" y="6565427"/>
                  <a:pt x="6788258" y="6563697"/>
                </a:cubicBezTo>
                <a:cubicBezTo>
                  <a:pt x="6789057" y="6562100"/>
                  <a:pt x="6789323" y="6560236"/>
                  <a:pt x="6789323" y="6558239"/>
                </a:cubicBezTo>
                <a:cubicBezTo>
                  <a:pt x="6789323" y="6556375"/>
                  <a:pt x="6788923" y="6554645"/>
                  <a:pt x="6788258" y="6553047"/>
                </a:cubicBezTo>
                <a:cubicBezTo>
                  <a:pt x="6787593" y="6551450"/>
                  <a:pt x="6786661" y="6550119"/>
                  <a:pt x="6785595" y="6548921"/>
                </a:cubicBezTo>
                <a:cubicBezTo>
                  <a:pt x="6784530" y="6547856"/>
                  <a:pt x="6783199" y="6546924"/>
                  <a:pt x="6781602" y="6546259"/>
                </a:cubicBezTo>
                <a:cubicBezTo>
                  <a:pt x="6780138" y="6545593"/>
                  <a:pt x="6778541" y="6545327"/>
                  <a:pt x="6776544" y="6545327"/>
                </a:cubicBezTo>
                <a:close/>
                <a:moveTo>
                  <a:pt x="6558899" y="6545327"/>
                </a:moveTo>
                <a:cubicBezTo>
                  <a:pt x="6553042" y="6545327"/>
                  <a:pt x="6550512" y="6547191"/>
                  <a:pt x="6548915" y="6548921"/>
                </a:cubicBezTo>
                <a:cubicBezTo>
                  <a:pt x="6546386" y="6551583"/>
                  <a:pt x="6545321" y="6554379"/>
                  <a:pt x="6545321" y="6558372"/>
                </a:cubicBezTo>
                <a:cubicBezTo>
                  <a:pt x="6545321" y="6562499"/>
                  <a:pt x="6546386" y="6565294"/>
                  <a:pt x="6548915" y="6567823"/>
                </a:cubicBezTo>
                <a:cubicBezTo>
                  <a:pt x="6550512" y="6569422"/>
                  <a:pt x="6553042" y="6571286"/>
                  <a:pt x="6558899" y="6571286"/>
                </a:cubicBezTo>
                <a:cubicBezTo>
                  <a:pt x="6560895" y="6571286"/>
                  <a:pt x="6562759" y="6570886"/>
                  <a:pt x="6564223" y="6570354"/>
                </a:cubicBezTo>
                <a:cubicBezTo>
                  <a:pt x="6565687" y="6569821"/>
                  <a:pt x="6567019" y="6569022"/>
                  <a:pt x="6567950" y="6567957"/>
                </a:cubicBezTo>
                <a:cubicBezTo>
                  <a:pt x="6569015" y="6566759"/>
                  <a:pt x="6569947" y="6565427"/>
                  <a:pt x="6570612" y="6563697"/>
                </a:cubicBezTo>
                <a:cubicBezTo>
                  <a:pt x="6571412" y="6562100"/>
                  <a:pt x="6571677" y="6560236"/>
                  <a:pt x="6571677" y="6558239"/>
                </a:cubicBezTo>
                <a:cubicBezTo>
                  <a:pt x="6571677" y="6556375"/>
                  <a:pt x="6571278" y="6554645"/>
                  <a:pt x="6570612" y="6553047"/>
                </a:cubicBezTo>
                <a:cubicBezTo>
                  <a:pt x="6569947" y="6551450"/>
                  <a:pt x="6569015" y="6550119"/>
                  <a:pt x="6567950" y="6548921"/>
                </a:cubicBezTo>
                <a:cubicBezTo>
                  <a:pt x="6566885" y="6547856"/>
                  <a:pt x="6565554" y="6546924"/>
                  <a:pt x="6563956" y="6546259"/>
                </a:cubicBezTo>
                <a:cubicBezTo>
                  <a:pt x="6562492" y="6545593"/>
                  <a:pt x="6560895" y="6545327"/>
                  <a:pt x="6558899" y="6545327"/>
                </a:cubicBezTo>
                <a:close/>
                <a:moveTo>
                  <a:pt x="6341253" y="6545327"/>
                </a:moveTo>
                <a:cubicBezTo>
                  <a:pt x="6335396" y="6545327"/>
                  <a:pt x="6332867" y="6547191"/>
                  <a:pt x="6331270" y="6548921"/>
                </a:cubicBezTo>
                <a:cubicBezTo>
                  <a:pt x="6328740" y="6551583"/>
                  <a:pt x="6327675" y="6554379"/>
                  <a:pt x="6327675" y="6558372"/>
                </a:cubicBezTo>
                <a:cubicBezTo>
                  <a:pt x="6327675" y="6562499"/>
                  <a:pt x="6328740" y="6565294"/>
                  <a:pt x="6331270" y="6567823"/>
                </a:cubicBezTo>
                <a:cubicBezTo>
                  <a:pt x="6332867" y="6569422"/>
                  <a:pt x="6335396" y="6571286"/>
                  <a:pt x="6341253" y="6571286"/>
                </a:cubicBezTo>
                <a:cubicBezTo>
                  <a:pt x="6343250" y="6571286"/>
                  <a:pt x="6345114" y="6570886"/>
                  <a:pt x="6346578" y="6570354"/>
                </a:cubicBezTo>
                <a:cubicBezTo>
                  <a:pt x="6348042" y="6569821"/>
                  <a:pt x="6349373" y="6569022"/>
                  <a:pt x="6350305" y="6567957"/>
                </a:cubicBezTo>
                <a:cubicBezTo>
                  <a:pt x="6351370" y="6566759"/>
                  <a:pt x="6352302" y="6565427"/>
                  <a:pt x="6352968" y="6563697"/>
                </a:cubicBezTo>
                <a:cubicBezTo>
                  <a:pt x="6353766" y="6562100"/>
                  <a:pt x="6354033" y="6560236"/>
                  <a:pt x="6354033" y="6558239"/>
                </a:cubicBezTo>
                <a:cubicBezTo>
                  <a:pt x="6354033" y="6556375"/>
                  <a:pt x="6353633" y="6554645"/>
                  <a:pt x="6352968" y="6553047"/>
                </a:cubicBezTo>
                <a:cubicBezTo>
                  <a:pt x="6352302" y="6551450"/>
                  <a:pt x="6351370" y="6550119"/>
                  <a:pt x="6350305" y="6548921"/>
                </a:cubicBezTo>
                <a:cubicBezTo>
                  <a:pt x="6349241" y="6547856"/>
                  <a:pt x="6347909" y="6546924"/>
                  <a:pt x="6346312" y="6546259"/>
                </a:cubicBezTo>
                <a:cubicBezTo>
                  <a:pt x="6344848" y="6545593"/>
                  <a:pt x="6343250" y="6545327"/>
                  <a:pt x="6341253" y="6545327"/>
                </a:cubicBezTo>
                <a:close/>
                <a:moveTo>
                  <a:pt x="6123608" y="6545327"/>
                </a:moveTo>
                <a:cubicBezTo>
                  <a:pt x="6117751" y="6545327"/>
                  <a:pt x="6115221" y="6547191"/>
                  <a:pt x="6113624" y="6548921"/>
                </a:cubicBezTo>
                <a:cubicBezTo>
                  <a:pt x="6111095" y="6551583"/>
                  <a:pt x="6110030" y="6554379"/>
                  <a:pt x="6110030" y="6558372"/>
                </a:cubicBezTo>
                <a:cubicBezTo>
                  <a:pt x="6110030" y="6562499"/>
                  <a:pt x="6111095" y="6565294"/>
                  <a:pt x="6113624" y="6567823"/>
                </a:cubicBezTo>
                <a:cubicBezTo>
                  <a:pt x="6115221" y="6569422"/>
                  <a:pt x="6117751" y="6571286"/>
                  <a:pt x="6123608" y="6571286"/>
                </a:cubicBezTo>
                <a:cubicBezTo>
                  <a:pt x="6125737" y="6571286"/>
                  <a:pt x="6127468" y="6570886"/>
                  <a:pt x="6128932" y="6570354"/>
                </a:cubicBezTo>
                <a:cubicBezTo>
                  <a:pt x="6130530" y="6569821"/>
                  <a:pt x="6131728" y="6569022"/>
                  <a:pt x="6132659" y="6567957"/>
                </a:cubicBezTo>
                <a:cubicBezTo>
                  <a:pt x="6133724" y="6566759"/>
                  <a:pt x="6134656" y="6565427"/>
                  <a:pt x="6135322" y="6563697"/>
                </a:cubicBezTo>
                <a:cubicBezTo>
                  <a:pt x="6135987" y="6562100"/>
                  <a:pt x="6136387" y="6560236"/>
                  <a:pt x="6136387" y="6558239"/>
                </a:cubicBezTo>
                <a:cubicBezTo>
                  <a:pt x="6136387" y="6556375"/>
                  <a:pt x="6135987" y="6554645"/>
                  <a:pt x="6135322" y="6553047"/>
                </a:cubicBezTo>
                <a:cubicBezTo>
                  <a:pt x="6134656" y="6551450"/>
                  <a:pt x="6133724" y="6550119"/>
                  <a:pt x="6132659" y="6548921"/>
                </a:cubicBezTo>
                <a:cubicBezTo>
                  <a:pt x="6131594" y="6547856"/>
                  <a:pt x="6130263" y="6546924"/>
                  <a:pt x="6128666" y="6546259"/>
                </a:cubicBezTo>
                <a:cubicBezTo>
                  <a:pt x="6127202" y="6545593"/>
                  <a:pt x="6125604" y="6545327"/>
                  <a:pt x="6123608" y="6545327"/>
                </a:cubicBezTo>
                <a:close/>
                <a:moveTo>
                  <a:pt x="5905963" y="6545327"/>
                </a:moveTo>
                <a:cubicBezTo>
                  <a:pt x="5900106" y="6545327"/>
                  <a:pt x="5897576" y="6547191"/>
                  <a:pt x="5895979" y="6548921"/>
                </a:cubicBezTo>
                <a:cubicBezTo>
                  <a:pt x="5893450" y="6551583"/>
                  <a:pt x="5892385" y="6554379"/>
                  <a:pt x="5892385" y="6558372"/>
                </a:cubicBezTo>
                <a:cubicBezTo>
                  <a:pt x="5892385" y="6562499"/>
                  <a:pt x="5893450" y="6565294"/>
                  <a:pt x="5895979" y="6567823"/>
                </a:cubicBezTo>
                <a:cubicBezTo>
                  <a:pt x="5897576" y="6569422"/>
                  <a:pt x="5900106" y="6571286"/>
                  <a:pt x="5905963" y="6571286"/>
                </a:cubicBezTo>
                <a:cubicBezTo>
                  <a:pt x="5908093" y="6571286"/>
                  <a:pt x="5909823" y="6570886"/>
                  <a:pt x="5911287" y="6570354"/>
                </a:cubicBezTo>
                <a:cubicBezTo>
                  <a:pt x="5912751" y="6569821"/>
                  <a:pt x="5914083" y="6569022"/>
                  <a:pt x="5915014" y="6567957"/>
                </a:cubicBezTo>
                <a:cubicBezTo>
                  <a:pt x="5916079" y="6566759"/>
                  <a:pt x="5917011" y="6565427"/>
                  <a:pt x="5917677" y="6563697"/>
                </a:cubicBezTo>
                <a:cubicBezTo>
                  <a:pt x="5918342" y="6562100"/>
                  <a:pt x="5918742" y="6560236"/>
                  <a:pt x="5918742" y="6558239"/>
                </a:cubicBezTo>
                <a:cubicBezTo>
                  <a:pt x="5918742" y="6556375"/>
                  <a:pt x="5918342" y="6554645"/>
                  <a:pt x="5917677" y="6553047"/>
                </a:cubicBezTo>
                <a:cubicBezTo>
                  <a:pt x="5917011" y="6551450"/>
                  <a:pt x="5916079" y="6550119"/>
                  <a:pt x="5915014" y="6548921"/>
                </a:cubicBezTo>
                <a:cubicBezTo>
                  <a:pt x="5913950" y="6547856"/>
                  <a:pt x="5912618" y="6546924"/>
                  <a:pt x="5911021" y="6546259"/>
                </a:cubicBezTo>
                <a:cubicBezTo>
                  <a:pt x="5909557" y="6545593"/>
                  <a:pt x="5907826" y="6545327"/>
                  <a:pt x="5905963" y="6545327"/>
                </a:cubicBezTo>
                <a:close/>
                <a:moveTo>
                  <a:pt x="5688451" y="6545327"/>
                </a:moveTo>
                <a:cubicBezTo>
                  <a:pt x="5682594" y="6545327"/>
                  <a:pt x="5680064" y="6547191"/>
                  <a:pt x="5678467" y="6548921"/>
                </a:cubicBezTo>
                <a:cubicBezTo>
                  <a:pt x="5675938" y="6551583"/>
                  <a:pt x="5674873" y="6554379"/>
                  <a:pt x="5674873" y="6558372"/>
                </a:cubicBezTo>
                <a:cubicBezTo>
                  <a:pt x="5674873" y="6562499"/>
                  <a:pt x="5675938" y="6565294"/>
                  <a:pt x="5678467" y="6567823"/>
                </a:cubicBezTo>
                <a:cubicBezTo>
                  <a:pt x="5680064" y="6569422"/>
                  <a:pt x="5682594" y="6571286"/>
                  <a:pt x="5688451" y="6571286"/>
                </a:cubicBezTo>
                <a:cubicBezTo>
                  <a:pt x="5690447" y="6571286"/>
                  <a:pt x="5692178" y="6570886"/>
                  <a:pt x="5693775" y="6570354"/>
                </a:cubicBezTo>
                <a:cubicBezTo>
                  <a:pt x="5695239" y="6569821"/>
                  <a:pt x="5696571" y="6569022"/>
                  <a:pt x="5697502" y="6567957"/>
                </a:cubicBezTo>
                <a:cubicBezTo>
                  <a:pt x="5698567" y="6566759"/>
                  <a:pt x="5699499" y="6565427"/>
                  <a:pt x="5700165" y="6563697"/>
                </a:cubicBezTo>
                <a:cubicBezTo>
                  <a:pt x="5700830" y="6562100"/>
                  <a:pt x="5701230" y="6560236"/>
                  <a:pt x="5701230" y="6558239"/>
                </a:cubicBezTo>
                <a:cubicBezTo>
                  <a:pt x="5701230" y="6556375"/>
                  <a:pt x="5700830" y="6554645"/>
                  <a:pt x="5700165" y="6553047"/>
                </a:cubicBezTo>
                <a:cubicBezTo>
                  <a:pt x="5699499" y="6551450"/>
                  <a:pt x="5698567" y="6550119"/>
                  <a:pt x="5697502" y="6548921"/>
                </a:cubicBezTo>
                <a:cubicBezTo>
                  <a:pt x="5696437" y="6547856"/>
                  <a:pt x="5695106" y="6546924"/>
                  <a:pt x="5693509" y="6546259"/>
                </a:cubicBezTo>
                <a:cubicBezTo>
                  <a:pt x="5692045" y="6545593"/>
                  <a:pt x="5690314" y="6545327"/>
                  <a:pt x="5688451" y="6545327"/>
                </a:cubicBezTo>
                <a:close/>
                <a:moveTo>
                  <a:pt x="5470806" y="6545327"/>
                </a:moveTo>
                <a:cubicBezTo>
                  <a:pt x="5464949" y="6545327"/>
                  <a:pt x="5462419" y="6547191"/>
                  <a:pt x="5460822" y="6548921"/>
                </a:cubicBezTo>
                <a:cubicBezTo>
                  <a:pt x="5458293" y="6551583"/>
                  <a:pt x="5457228" y="6554379"/>
                  <a:pt x="5457228" y="6558372"/>
                </a:cubicBezTo>
                <a:cubicBezTo>
                  <a:pt x="5457228" y="6562499"/>
                  <a:pt x="5458293" y="6565294"/>
                  <a:pt x="5460822" y="6567823"/>
                </a:cubicBezTo>
                <a:cubicBezTo>
                  <a:pt x="5462419" y="6569422"/>
                  <a:pt x="5464949" y="6571286"/>
                  <a:pt x="5470806" y="6571286"/>
                </a:cubicBezTo>
                <a:cubicBezTo>
                  <a:pt x="5472802" y="6571286"/>
                  <a:pt x="5474666" y="6570886"/>
                  <a:pt x="5476130" y="6570354"/>
                </a:cubicBezTo>
                <a:cubicBezTo>
                  <a:pt x="5477594" y="6569821"/>
                  <a:pt x="5478926" y="6569022"/>
                  <a:pt x="5479857" y="6567957"/>
                </a:cubicBezTo>
                <a:cubicBezTo>
                  <a:pt x="5480922" y="6566759"/>
                  <a:pt x="5481854" y="6565427"/>
                  <a:pt x="5482520" y="6563697"/>
                </a:cubicBezTo>
                <a:cubicBezTo>
                  <a:pt x="5483319" y="6562100"/>
                  <a:pt x="5483585" y="6560236"/>
                  <a:pt x="5483585" y="6558239"/>
                </a:cubicBezTo>
                <a:cubicBezTo>
                  <a:pt x="5483585" y="6556375"/>
                  <a:pt x="5483185" y="6554645"/>
                  <a:pt x="5482520" y="6553047"/>
                </a:cubicBezTo>
                <a:cubicBezTo>
                  <a:pt x="5481854" y="6551450"/>
                  <a:pt x="5480922" y="6550119"/>
                  <a:pt x="5479857" y="6548921"/>
                </a:cubicBezTo>
                <a:cubicBezTo>
                  <a:pt x="5478793" y="6547856"/>
                  <a:pt x="5477461" y="6546924"/>
                  <a:pt x="5475864" y="6546259"/>
                </a:cubicBezTo>
                <a:cubicBezTo>
                  <a:pt x="5474400" y="6545593"/>
                  <a:pt x="5472669" y="6545327"/>
                  <a:pt x="5470806" y="6545327"/>
                </a:cubicBezTo>
                <a:close/>
                <a:moveTo>
                  <a:pt x="5253160" y="6545327"/>
                </a:moveTo>
                <a:cubicBezTo>
                  <a:pt x="5247303" y="6545327"/>
                  <a:pt x="5244774" y="6547191"/>
                  <a:pt x="5243177" y="6548921"/>
                </a:cubicBezTo>
                <a:cubicBezTo>
                  <a:pt x="5240647" y="6551583"/>
                  <a:pt x="5239583" y="6554379"/>
                  <a:pt x="5239583" y="6558372"/>
                </a:cubicBezTo>
                <a:cubicBezTo>
                  <a:pt x="5239583" y="6562499"/>
                  <a:pt x="5240647" y="6565294"/>
                  <a:pt x="5243177" y="6567823"/>
                </a:cubicBezTo>
                <a:cubicBezTo>
                  <a:pt x="5244774" y="6569422"/>
                  <a:pt x="5247303" y="6571286"/>
                  <a:pt x="5253160" y="6571286"/>
                </a:cubicBezTo>
                <a:cubicBezTo>
                  <a:pt x="5255157" y="6571286"/>
                  <a:pt x="5257021" y="6570886"/>
                  <a:pt x="5258485" y="6570354"/>
                </a:cubicBezTo>
                <a:cubicBezTo>
                  <a:pt x="5259949" y="6569821"/>
                  <a:pt x="5261280" y="6569022"/>
                  <a:pt x="5262212" y="6567957"/>
                </a:cubicBezTo>
                <a:cubicBezTo>
                  <a:pt x="5263277" y="6566759"/>
                  <a:pt x="5264209" y="6565427"/>
                  <a:pt x="5264875" y="6563697"/>
                </a:cubicBezTo>
                <a:cubicBezTo>
                  <a:pt x="5265673" y="6562100"/>
                  <a:pt x="5265939" y="6560236"/>
                  <a:pt x="5265939" y="6558239"/>
                </a:cubicBezTo>
                <a:cubicBezTo>
                  <a:pt x="5265939" y="6556375"/>
                  <a:pt x="5265540" y="6554645"/>
                  <a:pt x="5264875" y="6553047"/>
                </a:cubicBezTo>
                <a:cubicBezTo>
                  <a:pt x="5264209" y="6551450"/>
                  <a:pt x="5263277" y="6550119"/>
                  <a:pt x="5262212" y="6548921"/>
                </a:cubicBezTo>
                <a:cubicBezTo>
                  <a:pt x="5261147" y="6547856"/>
                  <a:pt x="5259816" y="6546924"/>
                  <a:pt x="5258219" y="6546259"/>
                </a:cubicBezTo>
                <a:cubicBezTo>
                  <a:pt x="5256754" y="6545593"/>
                  <a:pt x="5255024" y="6545327"/>
                  <a:pt x="5253160" y="6545327"/>
                </a:cubicBezTo>
                <a:close/>
                <a:moveTo>
                  <a:pt x="5035515" y="6545327"/>
                </a:moveTo>
                <a:cubicBezTo>
                  <a:pt x="5029658" y="6545327"/>
                  <a:pt x="5027129" y="6547191"/>
                  <a:pt x="5025532" y="6548921"/>
                </a:cubicBezTo>
                <a:cubicBezTo>
                  <a:pt x="5023002" y="6551583"/>
                  <a:pt x="5021938" y="6554379"/>
                  <a:pt x="5021938" y="6558372"/>
                </a:cubicBezTo>
                <a:cubicBezTo>
                  <a:pt x="5021938" y="6562499"/>
                  <a:pt x="5023002" y="6565294"/>
                  <a:pt x="5025532" y="6567823"/>
                </a:cubicBezTo>
                <a:cubicBezTo>
                  <a:pt x="5027129" y="6569422"/>
                  <a:pt x="5029658" y="6571286"/>
                  <a:pt x="5035515" y="6571286"/>
                </a:cubicBezTo>
                <a:cubicBezTo>
                  <a:pt x="5037645" y="6571286"/>
                  <a:pt x="5039376" y="6570886"/>
                  <a:pt x="5040840" y="6570354"/>
                </a:cubicBezTo>
                <a:cubicBezTo>
                  <a:pt x="5042304" y="6569821"/>
                  <a:pt x="5043636" y="6569022"/>
                  <a:pt x="5044567" y="6567957"/>
                </a:cubicBezTo>
                <a:cubicBezTo>
                  <a:pt x="5045632" y="6566759"/>
                  <a:pt x="5046564" y="6565427"/>
                  <a:pt x="5047230" y="6563697"/>
                </a:cubicBezTo>
                <a:cubicBezTo>
                  <a:pt x="5048028" y="6562100"/>
                  <a:pt x="5048294" y="6560236"/>
                  <a:pt x="5048294" y="6558239"/>
                </a:cubicBezTo>
                <a:cubicBezTo>
                  <a:pt x="5048294" y="6556375"/>
                  <a:pt x="5047895" y="6554645"/>
                  <a:pt x="5047230" y="6553047"/>
                </a:cubicBezTo>
                <a:cubicBezTo>
                  <a:pt x="5046564" y="6551450"/>
                  <a:pt x="5045632" y="6550119"/>
                  <a:pt x="5044567" y="6548921"/>
                </a:cubicBezTo>
                <a:cubicBezTo>
                  <a:pt x="5043502" y="6547856"/>
                  <a:pt x="5042171" y="6546924"/>
                  <a:pt x="5040574" y="6546259"/>
                </a:cubicBezTo>
                <a:cubicBezTo>
                  <a:pt x="5039110" y="6545593"/>
                  <a:pt x="5037379" y="6545327"/>
                  <a:pt x="5035515" y="6545327"/>
                </a:cubicBezTo>
                <a:close/>
                <a:moveTo>
                  <a:pt x="4817870" y="6545327"/>
                </a:moveTo>
                <a:cubicBezTo>
                  <a:pt x="4812013" y="6545327"/>
                  <a:pt x="4809484" y="6547191"/>
                  <a:pt x="4807887" y="6548921"/>
                </a:cubicBezTo>
                <a:cubicBezTo>
                  <a:pt x="4805357" y="6551583"/>
                  <a:pt x="4804293" y="6554379"/>
                  <a:pt x="4804293" y="6558372"/>
                </a:cubicBezTo>
                <a:cubicBezTo>
                  <a:pt x="4804293" y="6562499"/>
                  <a:pt x="4805357" y="6565294"/>
                  <a:pt x="4807887" y="6567823"/>
                </a:cubicBezTo>
                <a:cubicBezTo>
                  <a:pt x="4809484" y="6569422"/>
                  <a:pt x="4812013" y="6571286"/>
                  <a:pt x="4817870" y="6571286"/>
                </a:cubicBezTo>
                <a:cubicBezTo>
                  <a:pt x="4820000" y="6571286"/>
                  <a:pt x="4821731" y="6570886"/>
                  <a:pt x="4823195" y="6570354"/>
                </a:cubicBezTo>
                <a:cubicBezTo>
                  <a:pt x="4824659" y="6569821"/>
                  <a:pt x="4825857" y="6569022"/>
                  <a:pt x="4826922" y="6567957"/>
                </a:cubicBezTo>
                <a:cubicBezTo>
                  <a:pt x="4827987" y="6566759"/>
                  <a:pt x="4828919" y="6565427"/>
                  <a:pt x="4829585" y="6563697"/>
                </a:cubicBezTo>
                <a:cubicBezTo>
                  <a:pt x="4830383" y="6562100"/>
                  <a:pt x="4830650" y="6560236"/>
                  <a:pt x="4830650" y="6558239"/>
                </a:cubicBezTo>
                <a:cubicBezTo>
                  <a:pt x="4830650" y="6556375"/>
                  <a:pt x="4830250" y="6554645"/>
                  <a:pt x="4829585" y="6553047"/>
                </a:cubicBezTo>
                <a:cubicBezTo>
                  <a:pt x="4828919" y="6551450"/>
                  <a:pt x="4827987" y="6550119"/>
                  <a:pt x="4826922" y="6548921"/>
                </a:cubicBezTo>
                <a:cubicBezTo>
                  <a:pt x="4825857" y="6547856"/>
                  <a:pt x="4824526" y="6546924"/>
                  <a:pt x="4822929" y="6546259"/>
                </a:cubicBezTo>
                <a:cubicBezTo>
                  <a:pt x="4821465" y="6545593"/>
                  <a:pt x="4819734" y="6545327"/>
                  <a:pt x="4817870" y="6545327"/>
                </a:cubicBezTo>
                <a:close/>
                <a:moveTo>
                  <a:pt x="4600226" y="6545327"/>
                </a:moveTo>
                <a:cubicBezTo>
                  <a:pt x="4594369" y="6545327"/>
                  <a:pt x="4591839" y="6547191"/>
                  <a:pt x="4590242" y="6548921"/>
                </a:cubicBezTo>
                <a:cubicBezTo>
                  <a:pt x="4587713" y="6551583"/>
                  <a:pt x="4586648" y="6554379"/>
                  <a:pt x="4586648" y="6558372"/>
                </a:cubicBezTo>
                <a:cubicBezTo>
                  <a:pt x="4586648" y="6562499"/>
                  <a:pt x="4587713" y="6565294"/>
                  <a:pt x="4590242" y="6567823"/>
                </a:cubicBezTo>
                <a:cubicBezTo>
                  <a:pt x="4591839" y="6569422"/>
                  <a:pt x="4594369" y="6571286"/>
                  <a:pt x="4600226" y="6571286"/>
                </a:cubicBezTo>
                <a:cubicBezTo>
                  <a:pt x="4602355" y="6571286"/>
                  <a:pt x="4604086" y="6570886"/>
                  <a:pt x="4605550" y="6570354"/>
                </a:cubicBezTo>
                <a:cubicBezTo>
                  <a:pt x="4607148" y="6569821"/>
                  <a:pt x="4608346" y="6569022"/>
                  <a:pt x="4609277" y="6567957"/>
                </a:cubicBezTo>
                <a:cubicBezTo>
                  <a:pt x="4610342" y="6566759"/>
                  <a:pt x="4611274" y="6565427"/>
                  <a:pt x="4611940" y="6563697"/>
                </a:cubicBezTo>
                <a:cubicBezTo>
                  <a:pt x="4612605" y="6562100"/>
                  <a:pt x="4613005" y="6560236"/>
                  <a:pt x="4613005" y="6558239"/>
                </a:cubicBezTo>
                <a:cubicBezTo>
                  <a:pt x="4613005" y="6556375"/>
                  <a:pt x="4612605" y="6554645"/>
                  <a:pt x="4611940" y="6553047"/>
                </a:cubicBezTo>
                <a:cubicBezTo>
                  <a:pt x="4611274" y="6551450"/>
                  <a:pt x="4610342" y="6550119"/>
                  <a:pt x="4609277" y="6548921"/>
                </a:cubicBezTo>
                <a:cubicBezTo>
                  <a:pt x="4608212" y="6547856"/>
                  <a:pt x="4606881" y="6546924"/>
                  <a:pt x="4605284" y="6546259"/>
                </a:cubicBezTo>
                <a:cubicBezTo>
                  <a:pt x="4603820" y="6545593"/>
                  <a:pt x="4602222" y="6545327"/>
                  <a:pt x="4600226" y="6545327"/>
                </a:cubicBezTo>
                <a:close/>
                <a:moveTo>
                  <a:pt x="4382713" y="6545327"/>
                </a:moveTo>
                <a:cubicBezTo>
                  <a:pt x="4376857" y="6545327"/>
                  <a:pt x="4374327" y="6547191"/>
                  <a:pt x="4372730" y="6548921"/>
                </a:cubicBezTo>
                <a:cubicBezTo>
                  <a:pt x="4370201" y="6551583"/>
                  <a:pt x="4369136" y="6554379"/>
                  <a:pt x="4369136" y="6558372"/>
                </a:cubicBezTo>
                <a:cubicBezTo>
                  <a:pt x="4369136" y="6562499"/>
                  <a:pt x="4370201" y="6565294"/>
                  <a:pt x="4372730" y="6567823"/>
                </a:cubicBezTo>
                <a:cubicBezTo>
                  <a:pt x="4374327" y="6569422"/>
                  <a:pt x="4376857" y="6571286"/>
                  <a:pt x="4382713" y="6571286"/>
                </a:cubicBezTo>
                <a:cubicBezTo>
                  <a:pt x="4384710" y="6571286"/>
                  <a:pt x="4386441" y="6570886"/>
                  <a:pt x="4388038" y="6570354"/>
                </a:cubicBezTo>
                <a:cubicBezTo>
                  <a:pt x="4389502" y="6569821"/>
                  <a:pt x="4390834" y="6569022"/>
                  <a:pt x="4391765" y="6567957"/>
                </a:cubicBezTo>
                <a:cubicBezTo>
                  <a:pt x="4392830" y="6566759"/>
                  <a:pt x="4393762" y="6565427"/>
                  <a:pt x="4394428" y="6563697"/>
                </a:cubicBezTo>
                <a:cubicBezTo>
                  <a:pt x="4395093" y="6562100"/>
                  <a:pt x="4395493" y="6560236"/>
                  <a:pt x="4395493" y="6558239"/>
                </a:cubicBezTo>
                <a:cubicBezTo>
                  <a:pt x="4395493" y="6556375"/>
                  <a:pt x="4395093" y="6554645"/>
                  <a:pt x="4394428" y="6553047"/>
                </a:cubicBezTo>
                <a:cubicBezTo>
                  <a:pt x="4393762" y="6551450"/>
                  <a:pt x="4392830" y="6550119"/>
                  <a:pt x="4391765" y="6548921"/>
                </a:cubicBezTo>
                <a:cubicBezTo>
                  <a:pt x="4390700" y="6547856"/>
                  <a:pt x="4389369" y="6546924"/>
                  <a:pt x="4387772" y="6546259"/>
                </a:cubicBezTo>
                <a:cubicBezTo>
                  <a:pt x="4386308" y="6545593"/>
                  <a:pt x="4384710" y="6545327"/>
                  <a:pt x="4382713" y="6545327"/>
                </a:cubicBezTo>
                <a:close/>
                <a:moveTo>
                  <a:pt x="4165068" y="6545327"/>
                </a:moveTo>
                <a:cubicBezTo>
                  <a:pt x="4159211" y="6545327"/>
                  <a:pt x="4156681" y="6547191"/>
                  <a:pt x="4155084" y="6548921"/>
                </a:cubicBezTo>
                <a:cubicBezTo>
                  <a:pt x="4152555" y="6551583"/>
                  <a:pt x="4151490" y="6554379"/>
                  <a:pt x="4151490" y="6558372"/>
                </a:cubicBezTo>
                <a:cubicBezTo>
                  <a:pt x="4151490" y="6562499"/>
                  <a:pt x="4152555" y="6565294"/>
                  <a:pt x="4155084" y="6567823"/>
                </a:cubicBezTo>
                <a:cubicBezTo>
                  <a:pt x="4156681" y="6569422"/>
                  <a:pt x="4159211" y="6571286"/>
                  <a:pt x="4165068" y="6571286"/>
                </a:cubicBezTo>
                <a:cubicBezTo>
                  <a:pt x="4167064" y="6571286"/>
                  <a:pt x="4168928" y="6570886"/>
                  <a:pt x="4170392" y="6570354"/>
                </a:cubicBezTo>
                <a:cubicBezTo>
                  <a:pt x="4171856" y="6569821"/>
                  <a:pt x="4173188" y="6569022"/>
                  <a:pt x="4174119" y="6567957"/>
                </a:cubicBezTo>
                <a:cubicBezTo>
                  <a:pt x="4175184" y="6566759"/>
                  <a:pt x="4176116" y="6565427"/>
                  <a:pt x="4176782" y="6563697"/>
                </a:cubicBezTo>
                <a:cubicBezTo>
                  <a:pt x="4177447" y="6562100"/>
                  <a:pt x="4177847" y="6560236"/>
                  <a:pt x="4177847" y="6558239"/>
                </a:cubicBezTo>
                <a:cubicBezTo>
                  <a:pt x="4177847" y="6556375"/>
                  <a:pt x="4177447" y="6554645"/>
                  <a:pt x="4176782" y="6553047"/>
                </a:cubicBezTo>
                <a:cubicBezTo>
                  <a:pt x="4176116" y="6551450"/>
                  <a:pt x="4175184" y="6550119"/>
                  <a:pt x="4174119" y="6548921"/>
                </a:cubicBezTo>
                <a:cubicBezTo>
                  <a:pt x="4173054" y="6547856"/>
                  <a:pt x="4171723" y="6546924"/>
                  <a:pt x="4170126" y="6546259"/>
                </a:cubicBezTo>
                <a:cubicBezTo>
                  <a:pt x="4168662" y="6545593"/>
                  <a:pt x="4167064" y="6545327"/>
                  <a:pt x="4165068" y="6545327"/>
                </a:cubicBezTo>
                <a:close/>
                <a:moveTo>
                  <a:pt x="3947779" y="6545327"/>
                </a:moveTo>
                <a:cubicBezTo>
                  <a:pt x="3941921" y="6545327"/>
                  <a:pt x="3939392" y="6547191"/>
                  <a:pt x="3937796" y="6548921"/>
                </a:cubicBezTo>
                <a:cubicBezTo>
                  <a:pt x="3935265" y="6551583"/>
                  <a:pt x="3934201" y="6554379"/>
                  <a:pt x="3934201" y="6558372"/>
                </a:cubicBezTo>
                <a:cubicBezTo>
                  <a:pt x="3934201" y="6562499"/>
                  <a:pt x="3935265" y="6565294"/>
                  <a:pt x="3937796" y="6567823"/>
                </a:cubicBezTo>
                <a:cubicBezTo>
                  <a:pt x="3939392" y="6569422"/>
                  <a:pt x="3941921" y="6571286"/>
                  <a:pt x="3947779" y="6571286"/>
                </a:cubicBezTo>
                <a:cubicBezTo>
                  <a:pt x="3949777" y="6571286"/>
                  <a:pt x="3951641" y="6570886"/>
                  <a:pt x="3953108" y="6570354"/>
                </a:cubicBezTo>
                <a:cubicBezTo>
                  <a:pt x="3954571" y="6569821"/>
                  <a:pt x="3955902" y="6569022"/>
                  <a:pt x="3956835" y="6567957"/>
                </a:cubicBezTo>
                <a:cubicBezTo>
                  <a:pt x="3957900" y="6566759"/>
                  <a:pt x="3958832" y="6565427"/>
                  <a:pt x="3959498" y="6563697"/>
                </a:cubicBezTo>
                <a:cubicBezTo>
                  <a:pt x="3960163" y="6562100"/>
                  <a:pt x="3960563" y="6560236"/>
                  <a:pt x="3960563" y="6558239"/>
                </a:cubicBezTo>
                <a:cubicBezTo>
                  <a:pt x="3960563" y="6556375"/>
                  <a:pt x="3960163" y="6554645"/>
                  <a:pt x="3959498" y="6553047"/>
                </a:cubicBezTo>
                <a:cubicBezTo>
                  <a:pt x="3958832" y="6551450"/>
                  <a:pt x="3957900" y="6550119"/>
                  <a:pt x="3956835" y="6548921"/>
                </a:cubicBezTo>
                <a:cubicBezTo>
                  <a:pt x="3955770" y="6547856"/>
                  <a:pt x="3954439" y="6546924"/>
                  <a:pt x="3952841" y="6546259"/>
                </a:cubicBezTo>
                <a:cubicBezTo>
                  <a:pt x="3951374" y="6545593"/>
                  <a:pt x="3949777" y="6545327"/>
                  <a:pt x="3947779" y="6545327"/>
                </a:cubicBezTo>
                <a:close/>
                <a:moveTo>
                  <a:pt x="3730118" y="6545327"/>
                </a:moveTo>
                <a:cubicBezTo>
                  <a:pt x="3724261" y="6545327"/>
                  <a:pt x="3721730" y="6547191"/>
                  <a:pt x="3720131" y="6548921"/>
                </a:cubicBezTo>
                <a:cubicBezTo>
                  <a:pt x="3717601" y="6551583"/>
                  <a:pt x="3716538" y="6554379"/>
                  <a:pt x="3716538" y="6558372"/>
                </a:cubicBezTo>
                <a:cubicBezTo>
                  <a:pt x="3716538" y="6562499"/>
                  <a:pt x="3717601" y="6565294"/>
                  <a:pt x="3720131" y="6567823"/>
                </a:cubicBezTo>
                <a:cubicBezTo>
                  <a:pt x="3721730" y="6569422"/>
                  <a:pt x="3724261" y="6571286"/>
                  <a:pt x="3730118" y="6571286"/>
                </a:cubicBezTo>
                <a:cubicBezTo>
                  <a:pt x="3732248" y="6571286"/>
                  <a:pt x="3733980" y="6570886"/>
                  <a:pt x="3735443" y="6570354"/>
                </a:cubicBezTo>
                <a:cubicBezTo>
                  <a:pt x="3736908" y="6569821"/>
                  <a:pt x="3738240" y="6569022"/>
                  <a:pt x="3739171" y="6567957"/>
                </a:cubicBezTo>
                <a:cubicBezTo>
                  <a:pt x="3740236" y="6566759"/>
                  <a:pt x="3741168" y="6565427"/>
                  <a:pt x="3741834" y="6563697"/>
                </a:cubicBezTo>
                <a:cubicBezTo>
                  <a:pt x="3742499" y="6562100"/>
                  <a:pt x="3742898" y="6560236"/>
                  <a:pt x="3742898" y="6558239"/>
                </a:cubicBezTo>
                <a:cubicBezTo>
                  <a:pt x="3742898" y="6556375"/>
                  <a:pt x="3742499" y="6554645"/>
                  <a:pt x="3741834" y="6553047"/>
                </a:cubicBezTo>
                <a:cubicBezTo>
                  <a:pt x="3741168" y="6551450"/>
                  <a:pt x="3740236" y="6550119"/>
                  <a:pt x="3739171" y="6548921"/>
                </a:cubicBezTo>
                <a:cubicBezTo>
                  <a:pt x="3738106" y="6547856"/>
                  <a:pt x="3736775" y="6546924"/>
                  <a:pt x="3735178" y="6546259"/>
                </a:cubicBezTo>
                <a:cubicBezTo>
                  <a:pt x="3733713" y="6545593"/>
                  <a:pt x="3732115" y="6545327"/>
                  <a:pt x="3730118" y="6545327"/>
                </a:cubicBezTo>
                <a:close/>
                <a:moveTo>
                  <a:pt x="3512454" y="6545327"/>
                </a:moveTo>
                <a:cubicBezTo>
                  <a:pt x="3506595" y="6545327"/>
                  <a:pt x="3504064" y="6547191"/>
                  <a:pt x="3502464" y="6548921"/>
                </a:cubicBezTo>
                <a:cubicBezTo>
                  <a:pt x="3499935" y="6551583"/>
                  <a:pt x="3498871" y="6554379"/>
                  <a:pt x="3498871" y="6558372"/>
                </a:cubicBezTo>
                <a:cubicBezTo>
                  <a:pt x="3498871" y="6562499"/>
                  <a:pt x="3499935" y="6565294"/>
                  <a:pt x="3502464" y="6567823"/>
                </a:cubicBezTo>
                <a:cubicBezTo>
                  <a:pt x="3504064" y="6569422"/>
                  <a:pt x="3506595" y="6571286"/>
                  <a:pt x="3512454" y="6571286"/>
                </a:cubicBezTo>
                <a:cubicBezTo>
                  <a:pt x="3514584" y="6571286"/>
                  <a:pt x="3516316" y="6570886"/>
                  <a:pt x="3517780" y="6570354"/>
                </a:cubicBezTo>
                <a:cubicBezTo>
                  <a:pt x="3519244" y="6569821"/>
                  <a:pt x="3520576" y="6569022"/>
                  <a:pt x="3521507" y="6567957"/>
                </a:cubicBezTo>
                <a:cubicBezTo>
                  <a:pt x="3522572" y="6566759"/>
                  <a:pt x="3523504" y="6565427"/>
                  <a:pt x="3524170" y="6563697"/>
                </a:cubicBezTo>
                <a:cubicBezTo>
                  <a:pt x="3524835" y="6562100"/>
                  <a:pt x="3525235" y="6560236"/>
                  <a:pt x="3525235" y="6558239"/>
                </a:cubicBezTo>
                <a:cubicBezTo>
                  <a:pt x="3525235" y="6556375"/>
                  <a:pt x="3524835" y="6554645"/>
                  <a:pt x="3524170" y="6553047"/>
                </a:cubicBezTo>
                <a:cubicBezTo>
                  <a:pt x="3523504" y="6551450"/>
                  <a:pt x="3522572" y="6550119"/>
                  <a:pt x="3521507" y="6548921"/>
                </a:cubicBezTo>
                <a:cubicBezTo>
                  <a:pt x="3520442" y="6547856"/>
                  <a:pt x="3519111" y="6546924"/>
                  <a:pt x="3517514" y="6546259"/>
                </a:cubicBezTo>
                <a:cubicBezTo>
                  <a:pt x="3516050" y="6545593"/>
                  <a:pt x="3514452" y="6545327"/>
                  <a:pt x="3512454" y="6545327"/>
                </a:cubicBezTo>
                <a:close/>
                <a:moveTo>
                  <a:pt x="3294924" y="6545327"/>
                </a:moveTo>
                <a:cubicBezTo>
                  <a:pt x="3289065" y="6545327"/>
                  <a:pt x="3286534" y="6547191"/>
                  <a:pt x="3284937" y="6548921"/>
                </a:cubicBezTo>
                <a:cubicBezTo>
                  <a:pt x="3282406" y="6551583"/>
                  <a:pt x="3281343" y="6554379"/>
                  <a:pt x="3281343" y="6558372"/>
                </a:cubicBezTo>
                <a:cubicBezTo>
                  <a:pt x="3281343" y="6562499"/>
                  <a:pt x="3282406" y="6565294"/>
                  <a:pt x="3284937" y="6567823"/>
                </a:cubicBezTo>
                <a:cubicBezTo>
                  <a:pt x="3286534" y="6569422"/>
                  <a:pt x="3289065" y="6571286"/>
                  <a:pt x="3294924" y="6571286"/>
                </a:cubicBezTo>
                <a:cubicBezTo>
                  <a:pt x="3296921" y="6571286"/>
                  <a:pt x="3298652" y="6570886"/>
                  <a:pt x="3300250" y="6570354"/>
                </a:cubicBezTo>
                <a:cubicBezTo>
                  <a:pt x="3301714" y="6569821"/>
                  <a:pt x="3303045" y="6569022"/>
                  <a:pt x="3303977" y="6567957"/>
                </a:cubicBezTo>
                <a:cubicBezTo>
                  <a:pt x="3305042" y="6566759"/>
                  <a:pt x="3305973" y="6565427"/>
                  <a:pt x="3306640" y="6563697"/>
                </a:cubicBezTo>
                <a:cubicBezTo>
                  <a:pt x="3307305" y="6562100"/>
                  <a:pt x="3307704" y="6560236"/>
                  <a:pt x="3307704" y="6558239"/>
                </a:cubicBezTo>
                <a:cubicBezTo>
                  <a:pt x="3307704" y="6556375"/>
                  <a:pt x="3307305" y="6554645"/>
                  <a:pt x="3306640" y="6553047"/>
                </a:cubicBezTo>
                <a:cubicBezTo>
                  <a:pt x="3305973" y="6551450"/>
                  <a:pt x="3305042" y="6550119"/>
                  <a:pt x="3303977" y="6548921"/>
                </a:cubicBezTo>
                <a:cubicBezTo>
                  <a:pt x="3302911" y="6547856"/>
                  <a:pt x="3301580" y="6546924"/>
                  <a:pt x="3299984" y="6546259"/>
                </a:cubicBezTo>
                <a:cubicBezTo>
                  <a:pt x="3298520" y="6545593"/>
                  <a:pt x="3296921" y="6545327"/>
                  <a:pt x="3294924" y="6545327"/>
                </a:cubicBezTo>
                <a:close/>
                <a:moveTo>
                  <a:pt x="3077393" y="6545327"/>
                </a:moveTo>
                <a:cubicBezTo>
                  <a:pt x="3071536" y="6545327"/>
                  <a:pt x="3069005" y="6547191"/>
                  <a:pt x="3067409" y="6548921"/>
                </a:cubicBezTo>
                <a:cubicBezTo>
                  <a:pt x="3064744" y="6551583"/>
                  <a:pt x="3063678" y="6554379"/>
                  <a:pt x="3063678" y="6558372"/>
                </a:cubicBezTo>
                <a:cubicBezTo>
                  <a:pt x="3063678" y="6562499"/>
                  <a:pt x="3064744" y="6565294"/>
                  <a:pt x="3067275" y="6567823"/>
                </a:cubicBezTo>
                <a:cubicBezTo>
                  <a:pt x="3068873" y="6569422"/>
                  <a:pt x="3071403" y="6571286"/>
                  <a:pt x="3077260" y="6571286"/>
                </a:cubicBezTo>
                <a:cubicBezTo>
                  <a:pt x="3079258" y="6571286"/>
                  <a:pt x="3080988" y="6570886"/>
                  <a:pt x="3082718" y="6570354"/>
                </a:cubicBezTo>
                <a:cubicBezTo>
                  <a:pt x="3084184" y="6569821"/>
                  <a:pt x="3085515" y="6569022"/>
                  <a:pt x="3086446" y="6567957"/>
                </a:cubicBezTo>
                <a:cubicBezTo>
                  <a:pt x="3087510" y="6566759"/>
                  <a:pt x="3088443" y="6565427"/>
                  <a:pt x="3089108" y="6563697"/>
                </a:cubicBezTo>
                <a:cubicBezTo>
                  <a:pt x="3089773" y="6562100"/>
                  <a:pt x="3090041" y="6560236"/>
                  <a:pt x="3090041" y="6558239"/>
                </a:cubicBezTo>
                <a:cubicBezTo>
                  <a:pt x="3090041" y="6556375"/>
                  <a:pt x="3089773" y="6554645"/>
                  <a:pt x="3089108" y="6553047"/>
                </a:cubicBezTo>
                <a:cubicBezTo>
                  <a:pt x="3088443" y="6551450"/>
                  <a:pt x="3087510" y="6550119"/>
                  <a:pt x="3086446" y="6548921"/>
                </a:cubicBezTo>
                <a:cubicBezTo>
                  <a:pt x="3085381" y="6547856"/>
                  <a:pt x="3084050" y="6546924"/>
                  <a:pt x="3082453" y="6546259"/>
                </a:cubicBezTo>
                <a:cubicBezTo>
                  <a:pt x="3080988" y="6545593"/>
                  <a:pt x="3079390" y="6545327"/>
                  <a:pt x="3077393" y="6545327"/>
                </a:cubicBezTo>
                <a:close/>
                <a:moveTo>
                  <a:pt x="2859597" y="6545327"/>
                </a:moveTo>
                <a:cubicBezTo>
                  <a:pt x="2853739" y="6545327"/>
                  <a:pt x="2851210" y="6547191"/>
                  <a:pt x="2849611" y="6548921"/>
                </a:cubicBezTo>
                <a:cubicBezTo>
                  <a:pt x="2847077" y="6551583"/>
                  <a:pt x="2846011" y="6554379"/>
                  <a:pt x="2846011" y="6558372"/>
                </a:cubicBezTo>
                <a:cubicBezTo>
                  <a:pt x="2846011" y="6562499"/>
                  <a:pt x="2847077" y="6565294"/>
                  <a:pt x="2849611" y="6567823"/>
                </a:cubicBezTo>
                <a:cubicBezTo>
                  <a:pt x="2851210" y="6569422"/>
                  <a:pt x="2853739" y="6571286"/>
                  <a:pt x="2859597" y="6571286"/>
                </a:cubicBezTo>
                <a:cubicBezTo>
                  <a:pt x="2861593" y="6571286"/>
                  <a:pt x="2863458" y="6570886"/>
                  <a:pt x="2864922" y="6570354"/>
                </a:cubicBezTo>
                <a:cubicBezTo>
                  <a:pt x="2866519" y="6569821"/>
                  <a:pt x="2867718" y="6569022"/>
                  <a:pt x="2868648" y="6567957"/>
                </a:cubicBezTo>
                <a:cubicBezTo>
                  <a:pt x="2869714" y="6566759"/>
                  <a:pt x="2870646" y="6565427"/>
                  <a:pt x="2871312" y="6563697"/>
                </a:cubicBezTo>
                <a:cubicBezTo>
                  <a:pt x="2871844" y="6562100"/>
                  <a:pt x="2872243" y="6560236"/>
                  <a:pt x="2872243" y="6558239"/>
                </a:cubicBezTo>
                <a:cubicBezTo>
                  <a:pt x="2872243" y="6556375"/>
                  <a:pt x="2871977" y="6554645"/>
                  <a:pt x="2871312" y="6553047"/>
                </a:cubicBezTo>
                <a:cubicBezTo>
                  <a:pt x="2870646" y="6551450"/>
                  <a:pt x="2869714" y="6550119"/>
                  <a:pt x="2868648" y="6548921"/>
                </a:cubicBezTo>
                <a:cubicBezTo>
                  <a:pt x="2867585" y="6547856"/>
                  <a:pt x="2866253" y="6546924"/>
                  <a:pt x="2864656" y="6546259"/>
                </a:cubicBezTo>
                <a:cubicBezTo>
                  <a:pt x="2863192" y="6545593"/>
                  <a:pt x="2861593" y="6545327"/>
                  <a:pt x="2859597" y="6545327"/>
                </a:cubicBezTo>
                <a:close/>
                <a:moveTo>
                  <a:pt x="2641933" y="6545327"/>
                </a:moveTo>
                <a:cubicBezTo>
                  <a:pt x="2636075" y="6545327"/>
                  <a:pt x="2633546" y="6547191"/>
                  <a:pt x="2631950" y="6548921"/>
                </a:cubicBezTo>
                <a:cubicBezTo>
                  <a:pt x="2629419" y="6551583"/>
                  <a:pt x="2628355" y="6554379"/>
                  <a:pt x="2628355" y="6558372"/>
                </a:cubicBezTo>
                <a:cubicBezTo>
                  <a:pt x="2628355" y="6562499"/>
                  <a:pt x="2629419" y="6565294"/>
                  <a:pt x="2631950" y="6567823"/>
                </a:cubicBezTo>
                <a:cubicBezTo>
                  <a:pt x="2633546" y="6569422"/>
                  <a:pt x="2636075" y="6571286"/>
                  <a:pt x="2641933" y="6571286"/>
                </a:cubicBezTo>
                <a:cubicBezTo>
                  <a:pt x="2643929" y="6571286"/>
                  <a:pt x="2645794" y="6570886"/>
                  <a:pt x="2647258" y="6570354"/>
                </a:cubicBezTo>
                <a:cubicBezTo>
                  <a:pt x="2648855" y="6569821"/>
                  <a:pt x="2650053" y="6569022"/>
                  <a:pt x="2650985" y="6567957"/>
                </a:cubicBezTo>
                <a:cubicBezTo>
                  <a:pt x="2652050" y="6566759"/>
                  <a:pt x="2652982" y="6565427"/>
                  <a:pt x="2653648" y="6563697"/>
                </a:cubicBezTo>
                <a:cubicBezTo>
                  <a:pt x="2654180" y="6562100"/>
                  <a:pt x="2654579" y="6560236"/>
                  <a:pt x="2654579" y="6558239"/>
                </a:cubicBezTo>
                <a:cubicBezTo>
                  <a:pt x="2654579" y="6556375"/>
                  <a:pt x="2654313" y="6554645"/>
                  <a:pt x="2653648" y="6553047"/>
                </a:cubicBezTo>
                <a:cubicBezTo>
                  <a:pt x="2652982" y="6551450"/>
                  <a:pt x="2652050" y="6550119"/>
                  <a:pt x="2650985" y="6548921"/>
                </a:cubicBezTo>
                <a:cubicBezTo>
                  <a:pt x="2649920" y="6547856"/>
                  <a:pt x="2648589" y="6546924"/>
                  <a:pt x="2646992" y="6546259"/>
                </a:cubicBezTo>
                <a:cubicBezTo>
                  <a:pt x="2645527" y="6545593"/>
                  <a:pt x="2643929" y="6545327"/>
                  <a:pt x="2641933" y="6545327"/>
                </a:cubicBezTo>
                <a:close/>
                <a:moveTo>
                  <a:pt x="2424268" y="6545327"/>
                </a:moveTo>
                <a:cubicBezTo>
                  <a:pt x="2418412" y="6545327"/>
                  <a:pt x="2415883" y="6547191"/>
                  <a:pt x="2414285" y="6548921"/>
                </a:cubicBezTo>
                <a:cubicBezTo>
                  <a:pt x="2411755" y="6551583"/>
                  <a:pt x="2410691" y="6554379"/>
                  <a:pt x="2410691" y="6558372"/>
                </a:cubicBezTo>
                <a:cubicBezTo>
                  <a:pt x="2410691" y="6562499"/>
                  <a:pt x="2411755" y="6565294"/>
                  <a:pt x="2414285" y="6567823"/>
                </a:cubicBezTo>
                <a:cubicBezTo>
                  <a:pt x="2415883" y="6569422"/>
                  <a:pt x="2418412" y="6571286"/>
                  <a:pt x="2424268" y="6571286"/>
                </a:cubicBezTo>
                <a:cubicBezTo>
                  <a:pt x="2426399" y="6571286"/>
                  <a:pt x="2428130" y="6570886"/>
                  <a:pt x="2429594" y="6570354"/>
                </a:cubicBezTo>
                <a:cubicBezTo>
                  <a:pt x="2431192" y="6569821"/>
                  <a:pt x="2432390" y="6569022"/>
                  <a:pt x="2433321" y="6567957"/>
                </a:cubicBezTo>
                <a:cubicBezTo>
                  <a:pt x="2434386" y="6566759"/>
                  <a:pt x="2435318" y="6565427"/>
                  <a:pt x="2435984" y="6563697"/>
                </a:cubicBezTo>
                <a:cubicBezTo>
                  <a:pt x="2436516" y="6562100"/>
                  <a:pt x="2436915" y="6560236"/>
                  <a:pt x="2436915" y="6558239"/>
                </a:cubicBezTo>
                <a:cubicBezTo>
                  <a:pt x="2436915" y="6556375"/>
                  <a:pt x="2436649" y="6554645"/>
                  <a:pt x="2435984" y="6553047"/>
                </a:cubicBezTo>
                <a:cubicBezTo>
                  <a:pt x="2435318" y="6551450"/>
                  <a:pt x="2434386" y="6550119"/>
                  <a:pt x="2433321" y="6548921"/>
                </a:cubicBezTo>
                <a:cubicBezTo>
                  <a:pt x="2432257" y="6547856"/>
                  <a:pt x="2430925" y="6546924"/>
                  <a:pt x="2429328" y="6546259"/>
                </a:cubicBezTo>
                <a:cubicBezTo>
                  <a:pt x="2427864" y="6545593"/>
                  <a:pt x="2426266" y="6545327"/>
                  <a:pt x="2424268" y="6545327"/>
                </a:cubicBezTo>
                <a:close/>
                <a:moveTo>
                  <a:pt x="2206605" y="6545327"/>
                </a:moveTo>
                <a:cubicBezTo>
                  <a:pt x="2200748" y="6545327"/>
                  <a:pt x="2198219" y="6547191"/>
                  <a:pt x="2196621" y="6548921"/>
                </a:cubicBezTo>
                <a:cubicBezTo>
                  <a:pt x="2194092" y="6551583"/>
                  <a:pt x="2193027" y="6554379"/>
                  <a:pt x="2193027" y="6558372"/>
                </a:cubicBezTo>
                <a:cubicBezTo>
                  <a:pt x="2193027" y="6562499"/>
                  <a:pt x="2194092" y="6565294"/>
                  <a:pt x="2196621" y="6567823"/>
                </a:cubicBezTo>
                <a:cubicBezTo>
                  <a:pt x="2198219" y="6569422"/>
                  <a:pt x="2200748" y="6571286"/>
                  <a:pt x="2206605" y="6571286"/>
                </a:cubicBezTo>
                <a:cubicBezTo>
                  <a:pt x="2208735" y="6571286"/>
                  <a:pt x="2210466" y="6570886"/>
                  <a:pt x="2211930" y="6570354"/>
                </a:cubicBezTo>
                <a:cubicBezTo>
                  <a:pt x="2213527" y="6569821"/>
                  <a:pt x="2214725" y="6569022"/>
                  <a:pt x="2215657" y="6567957"/>
                </a:cubicBezTo>
                <a:cubicBezTo>
                  <a:pt x="2216722" y="6566759"/>
                  <a:pt x="2217654" y="6565427"/>
                  <a:pt x="2218320" y="6563697"/>
                </a:cubicBezTo>
                <a:cubicBezTo>
                  <a:pt x="2218852" y="6562100"/>
                  <a:pt x="2219251" y="6560236"/>
                  <a:pt x="2219251" y="6558239"/>
                </a:cubicBezTo>
                <a:cubicBezTo>
                  <a:pt x="2219251" y="6556375"/>
                  <a:pt x="2218985" y="6554645"/>
                  <a:pt x="2218320" y="6553047"/>
                </a:cubicBezTo>
                <a:cubicBezTo>
                  <a:pt x="2217654" y="6551450"/>
                  <a:pt x="2216722" y="6550119"/>
                  <a:pt x="2215657" y="6548921"/>
                </a:cubicBezTo>
                <a:cubicBezTo>
                  <a:pt x="2214592" y="6547856"/>
                  <a:pt x="2213261" y="6546924"/>
                  <a:pt x="2211664" y="6546259"/>
                </a:cubicBezTo>
                <a:cubicBezTo>
                  <a:pt x="2210199" y="6545593"/>
                  <a:pt x="2208602" y="6545327"/>
                  <a:pt x="2206605" y="6545327"/>
                </a:cubicBezTo>
                <a:close/>
                <a:moveTo>
                  <a:pt x="1989074" y="6545327"/>
                </a:moveTo>
                <a:cubicBezTo>
                  <a:pt x="1983217" y="6545327"/>
                  <a:pt x="1980688" y="6547191"/>
                  <a:pt x="1979091" y="6548921"/>
                </a:cubicBezTo>
                <a:cubicBezTo>
                  <a:pt x="1976561" y="6551583"/>
                  <a:pt x="1975497" y="6554379"/>
                  <a:pt x="1975497" y="6558372"/>
                </a:cubicBezTo>
                <a:cubicBezTo>
                  <a:pt x="1975497" y="6562499"/>
                  <a:pt x="1976561" y="6565294"/>
                  <a:pt x="1979091" y="6567823"/>
                </a:cubicBezTo>
                <a:cubicBezTo>
                  <a:pt x="1980688" y="6569422"/>
                  <a:pt x="1983217" y="6571286"/>
                  <a:pt x="1989074" y="6571286"/>
                </a:cubicBezTo>
                <a:cubicBezTo>
                  <a:pt x="1991071" y="6571286"/>
                  <a:pt x="1992802" y="6570886"/>
                  <a:pt x="1994399" y="6570354"/>
                </a:cubicBezTo>
                <a:cubicBezTo>
                  <a:pt x="1995997" y="6569821"/>
                  <a:pt x="1997195" y="6569022"/>
                  <a:pt x="1998126" y="6567957"/>
                </a:cubicBezTo>
                <a:cubicBezTo>
                  <a:pt x="1999191" y="6566759"/>
                  <a:pt x="2000123" y="6565427"/>
                  <a:pt x="2000789" y="6563697"/>
                </a:cubicBezTo>
                <a:cubicBezTo>
                  <a:pt x="2001321" y="6562100"/>
                  <a:pt x="2001720" y="6560236"/>
                  <a:pt x="2001720" y="6558239"/>
                </a:cubicBezTo>
                <a:cubicBezTo>
                  <a:pt x="2001720" y="6556375"/>
                  <a:pt x="2001454" y="6554645"/>
                  <a:pt x="2000789" y="6553047"/>
                </a:cubicBezTo>
                <a:cubicBezTo>
                  <a:pt x="2000123" y="6551450"/>
                  <a:pt x="1999191" y="6550119"/>
                  <a:pt x="1998126" y="6548921"/>
                </a:cubicBezTo>
                <a:cubicBezTo>
                  <a:pt x="1997062" y="6547856"/>
                  <a:pt x="1995730" y="6546924"/>
                  <a:pt x="1994133" y="6546259"/>
                </a:cubicBezTo>
                <a:cubicBezTo>
                  <a:pt x="1992669" y="6545593"/>
                  <a:pt x="1991071" y="6545327"/>
                  <a:pt x="1989074" y="6545327"/>
                </a:cubicBezTo>
                <a:close/>
                <a:moveTo>
                  <a:pt x="1771442" y="6545327"/>
                </a:moveTo>
                <a:cubicBezTo>
                  <a:pt x="1765585" y="6545327"/>
                  <a:pt x="1763057" y="6547191"/>
                  <a:pt x="1761460" y="6548921"/>
                </a:cubicBezTo>
                <a:cubicBezTo>
                  <a:pt x="1758931" y="6551583"/>
                  <a:pt x="1757867" y="6554379"/>
                  <a:pt x="1757867" y="6558372"/>
                </a:cubicBezTo>
                <a:cubicBezTo>
                  <a:pt x="1757867" y="6562499"/>
                  <a:pt x="1758931" y="6565294"/>
                  <a:pt x="1761460" y="6567823"/>
                </a:cubicBezTo>
                <a:cubicBezTo>
                  <a:pt x="1763057" y="6569422"/>
                  <a:pt x="1765585" y="6571286"/>
                  <a:pt x="1771442" y="6571286"/>
                </a:cubicBezTo>
                <a:cubicBezTo>
                  <a:pt x="1773439" y="6571286"/>
                  <a:pt x="1775303" y="6570886"/>
                  <a:pt x="1776767" y="6570354"/>
                </a:cubicBezTo>
                <a:cubicBezTo>
                  <a:pt x="1778231" y="6569821"/>
                  <a:pt x="1779560" y="6569022"/>
                  <a:pt x="1780493" y="6567957"/>
                </a:cubicBezTo>
                <a:cubicBezTo>
                  <a:pt x="1781558" y="6566759"/>
                  <a:pt x="1782489" y="6565427"/>
                  <a:pt x="1783156" y="6563697"/>
                </a:cubicBezTo>
                <a:cubicBezTo>
                  <a:pt x="1783821" y="6562100"/>
                  <a:pt x="1784221" y="6560236"/>
                  <a:pt x="1784221" y="6558239"/>
                </a:cubicBezTo>
                <a:cubicBezTo>
                  <a:pt x="1784221" y="6556375"/>
                  <a:pt x="1783821" y="6554645"/>
                  <a:pt x="1783156" y="6553047"/>
                </a:cubicBezTo>
                <a:cubicBezTo>
                  <a:pt x="1782489" y="6551450"/>
                  <a:pt x="1781558" y="6550119"/>
                  <a:pt x="1780493" y="6548921"/>
                </a:cubicBezTo>
                <a:cubicBezTo>
                  <a:pt x="1779428" y="6547856"/>
                  <a:pt x="1778098" y="6546924"/>
                  <a:pt x="1776501" y="6546259"/>
                </a:cubicBezTo>
                <a:cubicBezTo>
                  <a:pt x="1775036" y="6545593"/>
                  <a:pt x="1773439" y="6545327"/>
                  <a:pt x="1771442" y="6545327"/>
                </a:cubicBezTo>
                <a:close/>
                <a:moveTo>
                  <a:pt x="1553807" y="6545327"/>
                </a:moveTo>
                <a:cubicBezTo>
                  <a:pt x="1547949" y="6545327"/>
                  <a:pt x="1545420" y="6547191"/>
                  <a:pt x="1543824" y="6548921"/>
                </a:cubicBezTo>
                <a:cubicBezTo>
                  <a:pt x="1541294" y="6551583"/>
                  <a:pt x="1540229" y="6554379"/>
                  <a:pt x="1540229" y="6558372"/>
                </a:cubicBezTo>
                <a:cubicBezTo>
                  <a:pt x="1540229" y="6562499"/>
                  <a:pt x="1541294" y="6565294"/>
                  <a:pt x="1543824" y="6567823"/>
                </a:cubicBezTo>
                <a:cubicBezTo>
                  <a:pt x="1545420" y="6569422"/>
                  <a:pt x="1547949" y="6571286"/>
                  <a:pt x="1553807" y="6571286"/>
                </a:cubicBezTo>
                <a:cubicBezTo>
                  <a:pt x="1555803" y="6571286"/>
                  <a:pt x="1557667" y="6570886"/>
                  <a:pt x="1559131" y="6570354"/>
                </a:cubicBezTo>
                <a:cubicBezTo>
                  <a:pt x="1560595" y="6569821"/>
                  <a:pt x="1561927" y="6569022"/>
                  <a:pt x="1562858" y="6567957"/>
                </a:cubicBezTo>
                <a:cubicBezTo>
                  <a:pt x="1563923" y="6566759"/>
                  <a:pt x="1564855" y="6565427"/>
                  <a:pt x="1565521" y="6563697"/>
                </a:cubicBezTo>
                <a:cubicBezTo>
                  <a:pt x="1566186" y="6562100"/>
                  <a:pt x="1566587" y="6560236"/>
                  <a:pt x="1566587" y="6558239"/>
                </a:cubicBezTo>
                <a:cubicBezTo>
                  <a:pt x="1566587" y="6556375"/>
                  <a:pt x="1566186" y="6554645"/>
                  <a:pt x="1565521" y="6553047"/>
                </a:cubicBezTo>
                <a:cubicBezTo>
                  <a:pt x="1564855" y="6551450"/>
                  <a:pt x="1563923" y="6550119"/>
                  <a:pt x="1562858" y="6548921"/>
                </a:cubicBezTo>
                <a:cubicBezTo>
                  <a:pt x="1561793" y="6547856"/>
                  <a:pt x="1560463" y="6546924"/>
                  <a:pt x="1558865" y="6546259"/>
                </a:cubicBezTo>
                <a:cubicBezTo>
                  <a:pt x="1557401" y="6545593"/>
                  <a:pt x="1555803" y="6545327"/>
                  <a:pt x="1553807" y="6545327"/>
                </a:cubicBezTo>
                <a:close/>
                <a:moveTo>
                  <a:pt x="1336163" y="6545327"/>
                </a:moveTo>
                <a:cubicBezTo>
                  <a:pt x="1330305" y="6545327"/>
                  <a:pt x="1327776" y="6547191"/>
                  <a:pt x="1326179" y="6548921"/>
                </a:cubicBezTo>
                <a:cubicBezTo>
                  <a:pt x="1323649" y="6551583"/>
                  <a:pt x="1322585" y="6554379"/>
                  <a:pt x="1322585" y="6558372"/>
                </a:cubicBezTo>
                <a:cubicBezTo>
                  <a:pt x="1322585" y="6562499"/>
                  <a:pt x="1323649" y="6565294"/>
                  <a:pt x="1326179" y="6567823"/>
                </a:cubicBezTo>
                <a:cubicBezTo>
                  <a:pt x="1327776" y="6569422"/>
                  <a:pt x="1330305" y="6571286"/>
                  <a:pt x="1336163" y="6571286"/>
                </a:cubicBezTo>
                <a:cubicBezTo>
                  <a:pt x="1338293" y="6571286"/>
                  <a:pt x="1340023" y="6570886"/>
                  <a:pt x="1341490" y="6570354"/>
                </a:cubicBezTo>
                <a:cubicBezTo>
                  <a:pt x="1342953" y="6569821"/>
                  <a:pt x="1344285" y="6569022"/>
                  <a:pt x="1345217" y="6567957"/>
                </a:cubicBezTo>
                <a:cubicBezTo>
                  <a:pt x="1346281" y="6566759"/>
                  <a:pt x="1347214" y="6565427"/>
                  <a:pt x="1347879" y="6563697"/>
                </a:cubicBezTo>
                <a:cubicBezTo>
                  <a:pt x="1348545" y="6562100"/>
                  <a:pt x="1348945" y="6560236"/>
                  <a:pt x="1348945" y="6558239"/>
                </a:cubicBezTo>
                <a:cubicBezTo>
                  <a:pt x="1348945" y="6556375"/>
                  <a:pt x="1348545" y="6554645"/>
                  <a:pt x="1347879" y="6553047"/>
                </a:cubicBezTo>
                <a:cubicBezTo>
                  <a:pt x="1347214" y="6551450"/>
                  <a:pt x="1346281" y="6550119"/>
                  <a:pt x="1345217" y="6548921"/>
                </a:cubicBezTo>
                <a:cubicBezTo>
                  <a:pt x="1344152" y="6547856"/>
                  <a:pt x="1342821" y="6546924"/>
                  <a:pt x="1341222" y="6546259"/>
                </a:cubicBezTo>
                <a:cubicBezTo>
                  <a:pt x="1339758" y="6545593"/>
                  <a:pt x="1338159" y="6545327"/>
                  <a:pt x="1336163" y="6545327"/>
                </a:cubicBezTo>
                <a:close/>
                <a:moveTo>
                  <a:pt x="1118651" y="6545327"/>
                </a:moveTo>
                <a:cubicBezTo>
                  <a:pt x="1112792" y="6545327"/>
                  <a:pt x="1110262" y="6547191"/>
                  <a:pt x="1108665" y="6548921"/>
                </a:cubicBezTo>
                <a:cubicBezTo>
                  <a:pt x="1106003" y="6551583"/>
                  <a:pt x="1104938" y="6554379"/>
                  <a:pt x="1104938" y="6558372"/>
                </a:cubicBezTo>
                <a:cubicBezTo>
                  <a:pt x="1104938" y="6562499"/>
                  <a:pt x="1106003" y="6565294"/>
                  <a:pt x="1108533" y="6567823"/>
                </a:cubicBezTo>
                <a:cubicBezTo>
                  <a:pt x="1110130" y="6569422"/>
                  <a:pt x="1112659" y="6571286"/>
                  <a:pt x="1118518" y="6571286"/>
                </a:cubicBezTo>
                <a:cubicBezTo>
                  <a:pt x="1120648" y="6571286"/>
                  <a:pt x="1122379" y="6570886"/>
                  <a:pt x="1123974" y="6570354"/>
                </a:cubicBezTo>
                <a:cubicBezTo>
                  <a:pt x="1125440" y="6569821"/>
                  <a:pt x="1126775" y="6569022"/>
                  <a:pt x="1127705" y="6567957"/>
                </a:cubicBezTo>
                <a:cubicBezTo>
                  <a:pt x="1128771" y="6566759"/>
                  <a:pt x="1129703" y="6565427"/>
                  <a:pt x="1130369" y="6563697"/>
                </a:cubicBezTo>
                <a:cubicBezTo>
                  <a:pt x="1131034" y="6562100"/>
                  <a:pt x="1131434" y="6560236"/>
                  <a:pt x="1131434" y="6558239"/>
                </a:cubicBezTo>
                <a:cubicBezTo>
                  <a:pt x="1131434" y="6556375"/>
                  <a:pt x="1131034" y="6554645"/>
                  <a:pt x="1130369" y="6553047"/>
                </a:cubicBezTo>
                <a:cubicBezTo>
                  <a:pt x="1129703" y="6551450"/>
                  <a:pt x="1128771" y="6550119"/>
                  <a:pt x="1127705" y="6548921"/>
                </a:cubicBezTo>
                <a:cubicBezTo>
                  <a:pt x="1126641" y="6547856"/>
                  <a:pt x="1125308" y="6546924"/>
                  <a:pt x="1123710" y="6546259"/>
                </a:cubicBezTo>
                <a:cubicBezTo>
                  <a:pt x="1122246" y="6545593"/>
                  <a:pt x="1120648" y="6545327"/>
                  <a:pt x="1118651" y="6545327"/>
                </a:cubicBezTo>
                <a:close/>
                <a:moveTo>
                  <a:pt x="901139" y="6545327"/>
                </a:moveTo>
                <a:cubicBezTo>
                  <a:pt x="895281" y="6545327"/>
                  <a:pt x="892751" y="6547191"/>
                  <a:pt x="891154" y="6548921"/>
                </a:cubicBezTo>
                <a:cubicBezTo>
                  <a:pt x="888491" y="6551583"/>
                  <a:pt x="887428" y="6554379"/>
                  <a:pt x="887428" y="6558372"/>
                </a:cubicBezTo>
                <a:cubicBezTo>
                  <a:pt x="887428" y="6562499"/>
                  <a:pt x="888491" y="6565294"/>
                  <a:pt x="891022" y="6567823"/>
                </a:cubicBezTo>
                <a:cubicBezTo>
                  <a:pt x="892619" y="6569422"/>
                  <a:pt x="895148" y="6571286"/>
                  <a:pt x="901005" y="6571286"/>
                </a:cubicBezTo>
                <a:cubicBezTo>
                  <a:pt x="903002" y="6571286"/>
                  <a:pt x="904733" y="6570886"/>
                  <a:pt x="906463" y="6570354"/>
                </a:cubicBezTo>
                <a:cubicBezTo>
                  <a:pt x="907927" y="6569821"/>
                  <a:pt x="909259" y="6569022"/>
                  <a:pt x="910191" y="6567957"/>
                </a:cubicBezTo>
                <a:cubicBezTo>
                  <a:pt x="911255" y="6566759"/>
                  <a:pt x="912187" y="6565427"/>
                  <a:pt x="912853" y="6563697"/>
                </a:cubicBezTo>
                <a:cubicBezTo>
                  <a:pt x="913518" y="6562100"/>
                  <a:pt x="913918" y="6560236"/>
                  <a:pt x="913918" y="6558239"/>
                </a:cubicBezTo>
                <a:cubicBezTo>
                  <a:pt x="913918" y="6556375"/>
                  <a:pt x="913518" y="6554645"/>
                  <a:pt x="912853" y="6553047"/>
                </a:cubicBezTo>
                <a:cubicBezTo>
                  <a:pt x="912187" y="6551450"/>
                  <a:pt x="911255" y="6550119"/>
                  <a:pt x="910191" y="6548921"/>
                </a:cubicBezTo>
                <a:cubicBezTo>
                  <a:pt x="909126" y="6547856"/>
                  <a:pt x="907794" y="6546924"/>
                  <a:pt x="906197" y="6546259"/>
                </a:cubicBezTo>
                <a:cubicBezTo>
                  <a:pt x="904733" y="6545593"/>
                  <a:pt x="903135" y="6545327"/>
                  <a:pt x="901139" y="6545327"/>
                </a:cubicBezTo>
                <a:close/>
                <a:moveTo>
                  <a:pt x="683365" y="6545327"/>
                </a:moveTo>
                <a:cubicBezTo>
                  <a:pt x="677508" y="6545327"/>
                  <a:pt x="674979" y="6547191"/>
                  <a:pt x="673382" y="6548921"/>
                </a:cubicBezTo>
                <a:cubicBezTo>
                  <a:pt x="670852" y="6551583"/>
                  <a:pt x="669788" y="6554379"/>
                  <a:pt x="669788" y="6558372"/>
                </a:cubicBezTo>
                <a:cubicBezTo>
                  <a:pt x="669788" y="6562499"/>
                  <a:pt x="670852" y="6565294"/>
                  <a:pt x="673382" y="6567823"/>
                </a:cubicBezTo>
                <a:cubicBezTo>
                  <a:pt x="674979" y="6569422"/>
                  <a:pt x="677508" y="6571286"/>
                  <a:pt x="683365" y="6571286"/>
                </a:cubicBezTo>
                <a:cubicBezTo>
                  <a:pt x="685362" y="6571286"/>
                  <a:pt x="687226" y="6570886"/>
                  <a:pt x="688691" y="6570354"/>
                </a:cubicBezTo>
                <a:cubicBezTo>
                  <a:pt x="690154" y="6569821"/>
                  <a:pt x="691486" y="6569022"/>
                  <a:pt x="692417" y="6567957"/>
                </a:cubicBezTo>
                <a:cubicBezTo>
                  <a:pt x="693482" y="6566759"/>
                  <a:pt x="694414" y="6565427"/>
                  <a:pt x="695081" y="6563697"/>
                </a:cubicBezTo>
                <a:cubicBezTo>
                  <a:pt x="695746" y="6562100"/>
                  <a:pt x="696146" y="6560236"/>
                  <a:pt x="696146" y="6558239"/>
                </a:cubicBezTo>
                <a:cubicBezTo>
                  <a:pt x="696146" y="6556375"/>
                  <a:pt x="695746" y="6554645"/>
                  <a:pt x="695081" y="6553047"/>
                </a:cubicBezTo>
                <a:cubicBezTo>
                  <a:pt x="694414" y="6551450"/>
                  <a:pt x="693482" y="6550119"/>
                  <a:pt x="692417" y="6548921"/>
                </a:cubicBezTo>
                <a:cubicBezTo>
                  <a:pt x="691352" y="6547856"/>
                  <a:pt x="690021" y="6546924"/>
                  <a:pt x="688424" y="6546259"/>
                </a:cubicBezTo>
                <a:cubicBezTo>
                  <a:pt x="686960" y="6545593"/>
                  <a:pt x="685362" y="6545327"/>
                  <a:pt x="683365" y="6545327"/>
                </a:cubicBezTo>
                <a:close/>
                <a:moveTo>
                  <a:pt x="465725" y="6545327"/>
                </a:moveTo>
                <a:cubicBezTo>
                  <a:pt x="459867" y="6545327"/>
                  <a:pt x="457339" y="6547191"/>
                  <a:pt x="455741" y="6548921"/>
                </a:cubicBezTo>
                <a:cubicBezTo>
                  <a:pt x="453211" y="6551583"/>
                  <a:pt x="452147" y="6554379"/>
                  <a:pt x="452147" y="6558372"/>
                </a:cubicBezTo>
                <a:cubicBezTo>
                  <a:pt x="452147" y="6562499"/>
                  <a:pt x="453211" y="6565294"/>
                  <a:pt x="455741" y="6567823"/>
                </a:cubicBezTo>
                <a:cubicBezTo>
                  <a:pt x="457339" y="6569422"/>
                  <a:pt x="459867" y="6571286"/>
                  <a:pt x="465725" y="6571286"/>
                </a:cubicBezTo>
                <a:cubicBezTo>
                  <a:pt x="467722" y="6571286"/>
                  <a:pt x="469586" y="6570886"/>
                  <a:pt x="471050" y="6570354"/>
                </a:cubicBezTo>
                <a:cubicBezTo>
                  <a:pt x="472514" y="6569821"/>
                  <a:pt x="473845" y="6569022"/>
                  <a:pt x="474777" y="6567957"/>
                </a:cubicBezTo>
                <a:cubicBezTo>
                  <a:pt x="475842" y="6566759"/>
                  <a:pt x="476774" y="6565427"/>
                  <a:pt x="477440" y="6563697"/>
                </a:cubicBezTo>
                <a:cubicBezTo>
                  <a:pt x="478105" y="6562100"/>
                  <a:pt x="478505" y="6560236"/>
                  <a:pt x="478505" y="6558239"/>
                </a:cubicBezTo>
                <a:cubicBezTo>
                  <a:pt x="478505" y="6556375"/>
                  <a:pt x="478105" y="6554645"/>
                  <a:pt x="477440" y="6553047"/>
                </a:cubicBezTo>
                <a:cubicBezTo>
                  <a:pt x="476774" y="6551450"/>
                  <a:pt x="475842" y="6550119"/>
                  <a:pt x="474777" y="6548921"/>
                </a:cubicBezTo>
                <a:cubicBezTo>
                  <a:pt x="473712" y="6547856"/>
                  <a:pt x="472381" y="6546924"/>
                  <a:pt x="470784" y="6546259"/>
                </a:cubicBezTo>
                <a:cubicBezTo>
                  <a:pt x="469319" y="6545593"/>
                  <a:pt x="467722" y="6545327"/>
                  <a:pt x="465725" y="6545327"/>
                </a:cubicBezTo>
                <a:close/>
                <a:moveTo>
                  <a:pt x="248084" y="6545327"/>
                </a:moveTo>
                <a:cubicBezTo>
                  <a:pt x="242227" y="6545327"/>
                  <a:pt x="239698" y="6547191"/>
                  <a:pt x="238101" y="6548921"/>
                </a:cubicBezTo>
                <a:cubicBezTo>
                  <a:pt x="235572" y="6551583"/>
                  <a:pt x="234508" y="6554379"/>
                  <a:pt x="234508" y="6558372"/>
                </a:cubicBezTo>
                <a:cubicBezTo>
                  <a:pt x="234508" y="6562499"/>
                  <a:pt x="235572" y="6565294"/>
                  <a:pt x="238101" y="6567823"/>
                </a:cubicBezTo>
                <a:cubicBezTo>
                  <a:pt x="239698" y="6569422"/>
                  <a:pt x="242227" y="6571286"/>
                  <a:pt x="248084" y="6571286"/>
                </a:cubicBezTo>
                <a:cubicBezTo>
                  <a:pt x="250214" y="6571286"/>
                  <a:pt x="251944" y="6570886"/>
                  <a:pt x="253408" y="6570354"/>
                </a:cubicBezTo>
                <a:cubicBezTo>
                  <a:pt x="254872" y="6569821"/>
                  <a:pt x="256203" y="6569022"/>
                  <a:pt x="257135" y="6567957"/>
                </a:cubicBezTo>
                <a:cubicBezTo>
                  <a:pt x="258200" y="6566759"/>
                  <a:pt x="259132" y="6565427"/>
                  <a:pt x="259798" y="6563697"/>
                </a:cubicBezTo>
                <a:cubicBezTo>
                  <a:pt x="260463" y="6562100"/>
                  <a:pt x="260863" y="6560236"/>
                  <a:pt x="260863" y="6558239"/>
                </a:cubicBezTo>
                <a:cubicBezTo>
                  <a:pt x="260863" y="6556375"/>
                  <a:pt x="260463" y="6554645"/>
                  <a:pt x="259798" y="6553047"/>
                </a:cubicBezTo>
                <a:cubicBezTo>
                  <a:pt x="259132" y="6551450"/>
                  <a:pt x="258200" y="6550119"/>
                  <a:pt x="257135" y="6548921"/>
                </a:cubicBezTo>
                <a:cubicBezTo>
                  <a:pt x="256070" y="6547856"/>
                  <a:pt x="254739" y="6546924"/>
                  <a:pt x="253142" y="6546259"/>
                </a:cubicBezTo>
                <a:cubicBezTo>
                  <a:pt x="251677" y="6545593"/>
                  <a:pt x="250081" y="6545327"/>
                  <a:pt x="248084" y="6545327"/>
                </a:cubicBezTo>
                <a:close/>
                <a:moveTo>
                  <a:pt x="30443" y="6545327"/>
                </a:moveTo>
                <a:cubicBezTo>
                  <a:pt x="24586" y="6545327"/>
                  <a:pt x="22056" y="6547191"/>
                  <a:pt x="20459" y="6548921"/>
                </a:cubicBezTo>
                <a:cubicBezTo>
                  <a:pt x="17930" y="6551583"/>
                  <a:pt x="16866" y="6554379"/>
                  <a:pt x="16866" y="6558372"/>
                </a:cubicBezTo>
                <a:cubicBezTo>
                  <a:pt x="16866" y="6562499"/>
                  <a:pt x="17930" y="6565294"/>
                  <a:pt x="20459" y="6567823"/>
                </a:cubicBezTo>
                <a:cubicBezTo>
                  <a:pt x="22056" y="6569422"/>
                  <a:pt x="24586" y="6571286"/>
                  <a:pt x="30443" y="6571286"/>
                </a:cubicBezTo>
                <a:cubicBezTo>
                  <a:pt x="32573" y="6571286"/>
                  <a:pt x="34304" y="6570886"/>
                  <a:pt x="35768" y="6570354"/>
                </a:cubicBezTo>
                <a:cubicBezTo>
                  <a:pt x="37232" y="6569821"/>
                  <a:pt x="38564" y="6569022"/>
                  <a:pt x="39495" y="6567957"/>
                </a:cubicBezTo>
                <a:cubicBezTo>
                  <a:pt x="40560" y="6566759"/>
                  <a:pt x="41492" y="6565427"/>
                  <a:pt x="42158" y="6563697"/>
                </a:cubicBezTo>
                <a:cubicBezTo>
                  <a:pt x="42823" y="6562100"/>
                  <a:pt x="43089" y="6560236"/>
                  <a:pt x="43089" y="6558239"/>
                </a:cubicBezTo>
                <a:cubicBezTo>
                  <a:pt x="43089" y="6556375"/>
                  <a:pt x="42823" y="6554645"/>
                  <a:pt x="42158" y="6553047"/>
                </a:cubicBezTo>
                <a:cubicBezTo>
                  <a:pt x="41492" y="6551450"/>
                  <a:pt x="40560" y="6550119"/>
                  <a:pt x="39495" y="6548921"/>
                </a:cubicBezTo>
                <a:cubicBezTo>
                  <a:pt x="38430" y="6547856"/>
                  <a:pt x="37099" y="6546924"/>
                  <a:pt x="35502" y="6546259"/>
                </a:cubicBezTo>
                <a:cubicBezTo>
                  <a:pt x="34038" y="6545593"/>
                  <a:pt x="32440" y="6545327"/>
                  <a:pt x="30443" y="6545327"/>
                </a:cubicBezTo>
                <a:close/>
                <a:moveTo>
                  <a:pt x="10475977" y="6528554"/>
                </a:moveTo>
                <a:cubicBezTo>
                  <a:pt x="10480237" y="6528554"/>
                  <a:pt x="10484230" y="6529353"/>
                  <a:pt x="10487824" y="6531083"/>
                </a:cubicBezTo>
                <a:cubicBezTo>
                  <a:pt x="10491419" y="6532681"/>
                  <a:pt x="10494613" y="6534810"/>
                  <a:pt x="10497143" y="6537473"/>
                </a:cubicBezTo>
                <a:cubicBezTo>
                  <a:pt x="10499672" y="6540002"/>
                  <a:pt x="10501801" y="6543197"/>
                  <a:pt x="10503266" y="6546791"/>
                </a:cubicBezTo>
                <a:cubicBezTo>
                  <a:pt x="10504730" y="6550385"/>
                  <a:pt x="10505529" y="6554246"/>
                  <a:pt x="10505529" y="6558239"/>
                </a:cubicBezTo>
                <a:cubicBezTo>
                  <a:pt x="10505529" y="6562366"/>
                  <a:pt x="10504730" y="6566359"/>
                  <a:pt x="10503266" y="6569954"/>
                </a:cubicBezTo>
                <a:cubicBezTo>
                  <a:pt x="10501669" y="6573548"/>
                  <a:pt x="10499672" y="6576610"/>
                  <a:pt x="10497143" y="6579272"/>
                </a:cubicBezTo>
                <a:cubicBezTo>
                  <a:pt x="10494480" y="6581935"/>
                  <a:pt x="10491419" y="6584065"/>
                  <a:pt x="10487824" y="6585529"/>
                </a:cubicBezTo>
                <a:cubicBezTo>
                  <a:pt x="10484098" y="6586993"/>
                  <a:pt x="10480237" y="6587792"/>
                  <a:pt x="10475977" y="6587792"/>
                </a:cubicBezTo>
                <a:cubicBezTo>
                  <a:pt x="10466924" y="6587792"/>
                  <a:pt x="10459736" y="6584863"/>
                  <a:pt x="10454145" y="6579272"/>
                </a:cubicBezTo>
                <a:cubicBezTo>
                  <a:pt x="10448554" y="6573682"/>
                  <a:pt x="10445759" y="6566625"/>
                  <a:pt x="10445759" y="6558106"/>
                </a:cubicBezTo>
                <a:cubicBezTo>
                  <a:pt x="10445759" y="6549853"/>
                  <a:pt x="10448554" y="6542798"/>
                  <a:pt x="10454145" y="6537074"/>
                </a:cubicBezTo>
                <a:cubicBezTo>
                  <a:pt x="10459603" y="6531350"/>
                  <a:pt x="10466924" y="6528554"/>
                  <a:pt x="10475977" y="6528554"/>
                </a:cubicBezTo>
                <a:close/>
                <a:moveTo>
                  <a:pt x="10258466" y="6528554"/>
                </a:moveTo>
                <a:cubicBezTo>
                  <a:pt x="10262592" y="6528554"/>
                  <a:pt x="10266586" y="6529353"/>
                  <a:pt x="10270313" y="6531083"/>
                </a:cubicBezTo>
                <a:cubicBezTo>
                  <a:pt x="10273907" y="6532681"/>
                  <a:pt x="10277101" y="6534810"/>
                  <a:pt x="10279631" y="6537473"/>
                </a:cubicBezTo>
                <a:cubicBezTo>
                  <a:pt x="10282160" y="6540002"/>
                  <a:pt x="10284290" y="6543197"/>
                  <a:pt x="10285754" y="6546791"/>
                </a:cubicBezTo>
                <a:cubicBezTo>
                  <a:pt x="10287218" y="6550385"/>
                  <a:pt x="10288017" y="6554246"/>
                  <a:pt x="10288017" y="6558239"/>
                </a:cubicBezTo>
                <a:cubicBezTo>
                  <a:pt x="10288017" y="6562366"/>
                  <a:pt x="10287218" y="6566359"/>
                  <a:pt x="10285754" y="6569954"/>
                </a:cubicBezTo>
                <a:cubicBezTo>
                  <a:pt x="10284157" y="6573548"/>
                  <a:pt x="10282160" y="6576610"/>
                  <a:pt x="10279631" y="6579272"/>
                </a:cubicBezTo>
                <a:cubicBezTo>
                  <a:pt x="10276969" y="6581935"/>
                  <a:pt x="10273907" y="6584065"/>
                  <a:pt x="10270313" y="6585529"/>
                </a:cubicBezTo>
                <a:cubicBezTo>
                  <a:pt x="10266586" y="6586993"/>
                  <a:pt x="10262725" y="6587792"/>
                  <a:pt x="10258466" y="6587792"/>
                </a:cubicBezTo>
                <a:cubicBezTo>
                  <a:pt x="10249546" y="6587792"/>
                  <a:pt x="10242224" y="6584863"/>
                  <a:pt x="10236633" y="6579272"/>
                </a:cubicBezTo>
                <a:cubicBezTo>
                  <a:pt x="10231043" y="6573682"/>
                  <a:pt x="10228247" y="6566625"/>
                  <a:pt x="10228247" y="6558106"/>
                </a:cubicBezTo>
                <a:cubicBezTo>
                  <a:pt x="10228247" y="6549853"/>
                  <a:pt x="10231043" y="6542798"/>
                  <a:pt x="10236633" y="6537074"/>
                </a:cubicBezTo>
                <a:cubicBezTo>
                  <a:pt x="10242092" y="6531350"/>
                  <a:pt x="10249413" y="6528554"/>
                  <a:pt x="10258466" y="6528554"/>
                </a:cubicBezTo>
                <a:close/>
                <a:moveTo>
                  <a:pt x="10040820" y="6528554"/>
                </a:moveTo>
                <a:cubicBezTo>
                  <a:pt x="10045080" y="6528554"/>
                  <a:pt x="10048941" y="6529353"/>
                  <a:pt x="10052534" y="6531083"/>
                </a:cubicBezTo>
                <a:cubicBezTo>
                  <a:pt x="10056129" y="6532681"/>
                  <a:pt x="10059323" y="6534810"/>
                  <a:pt x="10061852" y="6537473"/>
                </a:cubicBezTo>
                <a:cubicBezTo>
                  <a:pt x="10064382" y="6540002"/>
                  <a:pt x="10066512" y="6543197"/>
                  <a:pt x="10067976" y="6546791"/>
                </a:cubicBezTo>
                <a:cubicBezTo>
                  <a:pt x="10069440" y="6550385"/>
                  <a:pt x="10070239" y="6554246"/>
                  <a:pt x="10070239" y="6558239"/>
                </a:cubicBezTo>
                <a:cubicBezTo>
                  <a:pt x="10070239" y="6562366"/>
                  <a:pt x="10069440" y="6566359"/>
                  <a:pt x="10067976" y="6569954"/>
                </a:cubicBezTo>
                <a:cubicBezTo>
                  <a:pt x="10066379" y="6573548"/>
                  <a:pt x="10064382" y="6576610"/>
                  <a:pt x="10061852" y="6579272"/>
                </a:cubicBezTo>
                <a:cubicBezTo>
                  <a:pt x="10059190" y="6581935"/>
                  <a:pt x="10056129" y="6584065"/>
                  <a:pt x="10052534" y="6585529"/>
                </a:cubicBezTo>
                <a:cubicBezTo>
                  <a:pt x="10048941" y="6586993"/>
                  <a:pt x="10045080" y="6587792"/>
                  <a:pt x="10040820" y="6587792"/>
                </a:cubicBezTo>
                <a:cubicBezTo>
                  <a:pt x="10031767" y="6587792"/>
                  <a:pt x="10024579" y="6584863"/>
                  <a:pt x="10018988" y="6579272"/>
                </a:cubicBezTo>
                <a:cubicBezTo>
                  <a:pt x="10013397" y="6573682"/>
                  <a:pt x="10010602" y="6566625"/>
                  <a:pt x="10010602" y="6558106"/>
                </a:cubicBezTo>
                <a:cubicBezTo>
                  <a:pt x="10010602" y="6549853"/>
                  <a:pt x="10013397" y="6542798"/>
                  <a:pt x="10018988" y="6537074"/>
                </a:cubicBezTo>
                <a:cubicBezTo>
                  <a:pt x="10024579" y="6531350"/>
                  <a:pt x="10031767" y="6528554"/>
                  <a:pt x="10040820" y="6528554"/>
                </a:cubicBezTo>
                <a:close/>
                <a:moveTo>
                  <a:pt x="9823176" y="6528554"/>
                </a:moveTo>
                <a:cubicBezTo>
                  <a:pt x="9827435" y="6528554"/>
                  <a:pt x="9831296" y="6529353"/>
                  <a:pt x="9834890" y="6531083"/>
                </a:cubicBezTo>
                <a:cubicBezTo>
                  <a:pt x="9838617" y="6532681"/>
                  <a:pt x="9841679" y="6534810"/>
                  <a:pt x="9844208" y="6537473"/>
                </a:cubicBezTo>
                <a:cubicBezTo>
                  <a:pt x="9846737" y="6540002"/>
                  <a:pt x="9848867" y="6543197"/>
                  <a:pt x="9850331" y="6546791"/>
                </a:cubicBezTo>
                <a:cubicBezTo>
                  <a:pt x="9851796" y="6550385"/>
                  <a:pt x="9852595" y="6554246"/>
                  <a:pt x="9852595" y="6558239"/>
                </a:cubicBezTo>
                <a:cubicBezTo>
                  <a:pt x="9852595" y="6562366"/>
                  <a:pt x="9851796" y="6566359"/>
                  <a:pt x="9850331" y="6569954"/>
                </a:cubicBezTo>
                <a:cubicBezTo>
                  <a:pt x="9848734" y="6573548"/>
                  <a:pt x="9846737" y="6576610"/>
                  <a:pt x="9844208" y="6579272"/>
                </a:cubicBezTo>
                <a:cubicBezTo>
                  <a:pt x="9841546" y="6581935"/>
                  <a:pt x="9838484" y="6584065"/>
                  <a:pt x="9834890" y="6585529"/>
                </a:cubicBezTo>
                <a:cubicBezTo>
                  <a:pt x="9831296" y="6586993"/>
                  <a:pt x="9827435" y="6587792"/>
                  <a:pt x="9823176" y="6587792"/>
                </a:cubicBezTo>
                <a:cubicBezTo>
                  <a:pt x="9814123" y="6587792"/>
                  <a:pt x="9806935" y="6584863"/>
                  <a:pt x="9801343" y="6579272"/>
                </a:cubicBezTo>
                <a:cubicBezTo>
                  <a:pt x="9795753" y="6573682"/>
                  <a:pt x="9792957" y="6566625"/>
                  <a:pt x="9792957" y="6558106"/>
                </a:cubicBezTo>
                <a:cubicBezTo>
                  <a:pt x="9792957" y="6549853"/>
                  <a:pt x="9795753" y="6542798"/>
                  <a:pt x="9801343" y="6537074"/>
                </a:cubicBezTo>
                <a:cubicBezTo>
                  <a:pt x="9806935" y="6531350"/>
                  <a:pt x="9814123" y="6528554"/>
                  <a:pt x="9823176" y="6528554"/>
                </a:cubicBezTo>
                <a:close/>
                <a:moveTo>
                  <a:pt x="9605531" y="6528554"/>
                </a:moveTo>
                <a:cubicBezTo>
                  <a:pt x="9609790" y="6528554"/>
                  <a:pt x="9613784" y="6529353"/>
                  <a:pt x="9617245" y="6531083"/>
                </a:cubicBezTo>
                <a:cubicBezTo>
                  <a:pt x="9620839" y="6532681"/>
                  <a:pt x="9624033" y="6534810"/>
                  <a:pt x="9626562" y="6537473"/>
                </a:cubicBezTo>
                <a:cubicBezTo>
                  <a:pt x="9629092" y="6540002"/>
                  <a:pt x="9631222" y="6543197"/>
                  <a:pt x="9632686" y="6546791"/>
                </a:cubicBezTo>
                <a:cubicBezTo>
                  <a:pt x="9634150" y="6550385"/>
                  <a:pt x="9634949" y="6554246"/>
                  <a:pt x="9634949" y="6558239"/>
                </a:cubicBezTo>
                <a:cubicBezTo>
                  <a:pt x="9634949" y="6562366"/>
                  <a:pt x="9634150" y="6566359"/>
                  <a:pt x="9632686" y="6569954"/>
                </a:cubicBezTo>
                <a:cubicBezTo>
                  <a:pt x="9631089" y="6573548"/>
                  <a:pt x="9629092" y="6576610"/>
                  <a:pt x="9626562" y="6579272"/>
                </a:cubicBezTo>
                <a:cubicBezTo>
                  <a:pt x="9623901" y="6581935"/>
                  <a:pt x="9620839" y="6584065"/>
                  <a:pt x="9617245" y="6585529"/>
                </a:cubicBezTo>
                <a:cubicBezTo>
                  <a:pt x="9613651" y="6586993"/>
                  <a:pt x="9609790" y="6587792"/>
                  <a:pt x="9605531" y="6587792"/>
                </a:cubicBezTo>
                <a:cubicBezTo>
                  <a:pt x="9596610" y="6587792"/>
                  <a:pt x="9589289" y="6584863"/>
                  <a:pt x="9583698" y="6579272"/>
                </a:cubicBezTo>
                <a:cubicBezTo>
                  <a:pt x="9578108" y="6573682"/>
                  <a:pt x="9575312" y="6566625"/>
                  <a:pt x="9575312" y="6558106"/>
                </a:cubicBezTo>
                <a:cubicBezTo>
                  <a:pt x="9575312" y="6549853"/>
                  <a:pt x="9578108" y="6542798"/>
                  <a:pt x="9583698" y="6537074"/>
                </a:cubicBezTo>
                <a:cubicBezTo>
                  <a:pt x="9589289" y="6531350"/>
                  <a:pt x="9596478" y="6528554"/>
                  <a:pt x="9605531" y="6528554"/>
                </a:cubicBezTo>
                <a:close/>
                <a:moveTo>
                  <a:pt x="9387885" y="6528554"/>
                </a:moveTo>
                <a:cubicBezTo>
                  <a:pt x="9392145" y="6528554"/>
                  <a:pt x="9396138" y="6529353"/>
                  <a:pt x="9399599" y="6531083"/>
                </a:cubicBezTo>
                <a:cubicBezTo>
                  <a:pt x="9403194" y="6532681"/>
                  <a:pt x="9406388" y="6534810"/>
                  <a:pt x="9408917" y="6537473"/>
                </a:cubicBezTo>
                <a:cubicBezTo>
                  <a:pt x="9411447" y="6540002"/>
                  <a:pt x="9413576" y="6543197"/>
                  <a:pt x="9415041" y="6546791"/>
                </a:cubicBezTo>
                <a:cubicBezTo>
                  <a:pt x="9416505" y="6550385"/>
                  <a:pt x="9417304" y="6554246"/>
                  <a:pt x="9417304" y="6558239"/>
                </a:cubicBezTo>
                <a:cubicBezTo>
                  <a:pt x="9417304" y="6562366"/>
                  <a:pt x="9416505" y="6566359"/>
                  <a:pt x="9415041" y="6569954"/>
                </a:cubicBezTo>
                <a:cubicBezTo>
                  <a:pt x="9413444" y="6573548"/>
                  <a:pt x="9411447" y="6576610"/>
                  <a:pt x="9408917" y="6579272"/>
                </a:cubicBezTo>
                <a:cubicBezTo>
                  <a:pt x="9406255" y="6581935"/>
                  <a:pt x="9403194" y="6584065"/>
                  <a:pt x="9399599" y="6585529"/>
                </a:cubicBezTo>
                <a:cubicBezTo>
                  <a:pt x="9396005" y="6586993"/>
                  <a:pt x="9392145" y="6587792"/>
                  <a:pt x="9387885" y="6587792"/>
                </a:cubicBezTo>
                <a:cubicBezTo>
                  <a:pt x="9378965" y="6587792"/>
                  <a:pt x="9371644" y="6584863"/>
                  <a:pt x="9366053" y="6579272"/>
                </a:cubicBezTo>
                <a:cubicBezTo>
                  <a:pt x="9360462" y="6573682"/>
                  <a:pt x="9357667" y="6566625"/>
                  <a:pt x="9357667" y="6558106"/>
                </a:cubicBezTo>
                <a:cubicBezTo>
                  <a:pt x="9357667" y="6549853"/>
                  <a:pt x="9360462" y="6542798"/>
                  <a:pt x="9366053" y="6537074"/>
                </a:cubicBezTo>
                <a:cubicBezTo>
                  <a:pt x="9371644" y="6531350"/>
                  <a:pt x="9378832" y="6528554"/>
                  <a:pt x="9387885" y="6528554"/>
                </a:cubicBezTo>
                <a:close/>
                <a:moveTo>
                  <a:pt x="9170374" y="6528554"/>
                </a:moveTo>
                <a:cubicBezTo>
                  <a:pt x="9174500" y="6528554"/>
                  <a:pt x="9178494" y="6529353"/>
                  <a:pt x="9182088" y="6531083"/>
                </a:cubicBezTo>
                <a:cubicBezTo>
                  <a:pt x="9185682" y="6532681"/>
                  <a:pt x="9188876" y="6534810"/>
                  <a:pt x="9191405" y="6537473"/>
                </a:cubicBezTo>
                <a:cubicBezTo>
                  <a:pt x="9193935" y="6540002"/>
                  <a:pt x="9196065" y="6543197"/>
                  <a:pt x="9197529" y="6546791"/>
                </a:cubicBezTo>
                <a:cubicBezTo>
                  <a:pt x="9198993" y="6550385"/>
                  <a:pt x="9199792" y="6554246"/>
                  <a:pt x="9199792" y="6558239"/>
                </a:cubicBezTo>
                <a:cubicBezTo>
                  <a:pt x="9199792" y="6562366"/>
                  <a:pt x="9198993" y="6566359"/>
                  <a:pt x="9197529" y="6569954"/>
                </a:cubicBezTo>
                <a:cubicBezTo>
                  <a:pt x="9195932" y="6573548"/>
                  <a:pt x="9193935" y="6576610"/>
                  <a:pt x="9191405" y="6579272"/>
                </a:cubicBezTo>
                <a:cubicBezTo>
                  <a:pt x="9188744" y="6581935"/>
                  <a:pt x="9185682" y="6584065"/>
                  <a:pt x="9182088" y="6585529"/>
                </a:cubicBezTo>
                <a:cubicBezTo>
                  <a:pt x="9178494" y="6586993"/>
                  <a:pt x="9174633" y="6587792"/>
                  <a:pt x="9170374" y="6587792"/>
                </a:cubicBezTo>
                <a:cubicBezTo>
                  <a:pt x="9161453" y="6587792"/>
                  <a:pt x="9154132" y="6584863"/>
                  <a:pt x="9148541" y="6579272"/>
                </a:cubicBezTo>
                <a:cubicBezTo>
                  <a:pt x="9142951" y="6573682"/>
                  <a:pt x="9140155" y="6566625"/>
                  <a:pt x="9140155" y="6558106"/>
                </a:cubicBezTo>
                <a:cubicBezTo>
                  <a:pt x="9140155" y="6549853"/>
                  <a:pt x="9142951" y="6542798"/>
                  <a:pt x="9148541" y="6537074"/>
                </a:cubicBezTo>
                <a:cubicBezTo>
                  <a:pt x="9154132" y="6531350"/>
                  <a:pt x="9161321" y="6528554"/>
                  <a:pt x="9170374" y="6528554"/>
                </a:cubicBezTo>
                <a:close/>
                <a:moveTo>
                  <a:pt x="8952728" y="6528554"/>
                </a:moveTo>
                <a:cubicBezTo>
                  <a:pt x="8956988" y="6528554"/>
                  <a:pt x="8960849" y="6529353"/>
                  <a:pt x="8964442" y="6531083"/>
                </a:cubicBezTo>
                <a:cubicBezTo>
                  <a:pt x="8968037" y="6532681"/>
                  <a:pt x="8971231" y="6534810"/>
                  <a:pt x="8973760" y="6537473"/>
                </a:cubicBezTo>
                <a:cubicBezTo>
                  <a:pt x="8976290" y="6540002"/>
                  <a:pt x="8978419" y="6543197"/>
                  <a:pt x="8979884" y="6546791"/>
                </a:cubicBezTo>
                <a:cubicBezTo>
                  <a:pt x="8981348" y="6550385"/>
                  <a:pt x="8982147" y="6554246"/>
                  <a:pt x="8982147" y="6558239"/>
                </a:cubicBezTo>
                <a:cubicBezTo>
                  <a:pt x="8982147" y="6562366"/>
                  <a:pt x="8981348" y="6566359"/>
                  <a:pt x="8979884" y="6569954"/>
                </a:cubicBezTo>
                <a:cubicBezTo>
                  <a:pt x="8978287" y="6573548"/>
                  <a:pt x="8976290" y="6576610"/>
                  <a:pt x="8973760" y="6579272"/>
                </a:cubicBezTo>
                <a:cubicBezTo>
                  <a:pt x="8971098" y="6581935"/>
                  <a:pt x="8968037" y="6584065"/>
                  <a:pt x="8964442" y="6585529"/>
                </a:cubicBezTo>
                <a:cubicBezTo>
                  <a:pt x="8960849" y="6586993"/>
                  <a:pt x="8956988" y="6587792"/>
                  <a:pt x="8952728" y="6587792"/>
                </a:cubicBezTo>
                <a:cubicBezTo>
                  <a:pt x="8943808" y="6587792"/>
                  <a:pt x="8936487" y="6584863"/>
                  <a:pt x="8930896" y="6579272"/>
                </a:cubicBezTo>
                <a:cubicBezTo>
                  <a:pt x="8925305" y="6573682"/>
                  <a:pt x="8922510" y="6566625"/>
                  <a:pt x="8922510" y="6558106"/>
                </a:cubicBezTo>
                <a:cubicBezTo>
                  <a:pt x="8922510" y="6549853"/>
                  <a:pt x="8925305" y="6542798"/>
                  <a:pt x="8930896" y="6537074"/>
                </a:cubicBezTo>
                <a:cubicBezTo>
                  <a:pt x="8936487" y="6531350"/>
                  <a:pt x="8943675" y="6528554"/>
                  <a:pt x="8952728" y="6528554"/>
                </a:cubicBezTo>
                <a:close/>
                <a:moveTo>
                  <a:pt x="8735083" y="6528554"/>
                </a:moveTo>
                <a:cubicBezTo>
                  <a:pt x="8739342" y="6528554"/>
                  <a:pt x="8743203" y="6529353"/>
                  <a:pt x="8746797" y="6531083"/>
                </a:cubicBezTo>
                <a:cubicBezTo>
                  <a:pt x="8750391" y="6532681"/>
                  <a:pt x="8753586" y="6534810"/>
                  <a:pt x="8756115" y="6537473"/>
                </a:cubicBezTo>
                <a:cubicBezTo>
                  <a:pt x="8758644" y="6540002"/>
                  <a:pt x="8760774" y="6543197"/>
                  <a:pt x="8762238" y="6546791"/>
                </a:cubicBezTo>
                <a:cubicBezTo>
                  <a:pt x="8763702" y="6550385"/>
                  <a:pt x="8764502" y="6554246"/>
                  <a:pt x="8764502" y="6558239"/>
                </a:cubicBezTo>
                <a:cubicBezTo>
                  <a:pt x="8764502" y="6562366"/>
                  <a:pt x="8763702" y="6566359"/>
                  <a:pt x="8762238" y="6569954"/>
                </a:cubicBezTo>
                <a:cubicBezTo>
                  <a:pt x="8760641" y="6573548"/>
                  <a:pt x="8758644" y="6576610"/>
                  <a:pt x="8756115" y="6579272"/>
                </a:cubicBezTo>
                <a:cubicBezTo>
                  <a:pt x="8753453" y="6581935"/>
                  <a:pt x="8750391" y="6584065"/>
                  <a:pt x="8746797" y="6585529"/>
                </a:cubicBezTo>
                <a:cubicBezTo>
                  <a:pt x="8743203" y="6586993"/>
                  <a:pt x="8739342" y="6587792"/>
                  <a:pt x="8735083" y="6587792"/>
                </a:cubicBezTo>
                <a:cubicBezTo>
                  <a:pt x="8726030" y="6587792"/>
                  <a:pt x="8718841" y="6584863"/>
                  <a:pt x="8713250" y="6579272"/>
                </a:cubicBezTo>
                <a:cubicBezTo>
                  <a:pt x="8707660" y="6573682"/>
                  <a:pt x="8704864" y="6566625"/>
                  <a:pt x="8704864" y="6558106"/>
                </a:cubicBezTo>
                <a:cubicBezTo>
                  <a:pt x="8704864" y="6549853"/>
                  <a:pt x="8707660" y="6542798"/>
                  <a:pt x="8713250" y="6537074"/>
                </a:cubicBezTo>
                <a:cubicBezTo>
                  <a:pt x="8718841" y="6531350"/>
                  <a:pt x="8726030" y="6528554"/>
                  <a:pt x="8735083" y="6528554"/>
                </a:cubicBezTo>
                <a:close/>
                <a:moveTo>
                  <a:pt x="8517438" y="6528554"/>
                </a:moveTo>
                <a:cubicBezTo>
                  <a:pt x="8521698" y="6528554"/>
                  <a:pt x="8525559" y="6529353"/>
                  <a:pt x="8529152" y="6531083"/>
                </a:cubicBezTo>
                <a:cubicBezTo>
                  <a:pt x="8532880" y="6532681"/>
                  <a:pt x="8535941" y="6534810"/>
                  <a:pt x="8538470" y="6537473"/>
                </a:cubicBezTo>
                <a:cubicBezTo>
                  <a:pt x="8541000" y="6540002"/>
                  <a:pt x="8543130" y="6543197"/>
                  <a:pt x="8544594" y="6546791"/>
                </a:cubicBezTo>
                <a:cubicBezTo>
                  <a:pt x="8546058" y="6550385"/>
                  <a:pt x="8546857" y="6554246"/>
                  <a:pt x="8546857" y="6558239"/>
                </a:cubicBezTo>
                <a:cubicBezTo>
                  <a:pt x="8546857" y="6562366"/>
                  <a:pt x="8546058" y="6566359"/>
                  <a:pt x="8544594" y="6569954"/>
                </a:cubicBezTo>
                <a:cubicBezTo>
                  <a:pt x="8542997" y="6573548"/>
                  <a:pt x="8541000" y="6576610"/>
                  <a:pt x="8538470" y="6579272"/>
                </a:cubicBezTo>
                <a:cubicBezTo>
                  <a:pt x="8535808" y="6581935"/>
                  <a:pt x="8532747" y="6584065"/>
                  <a:pt x="8529152" y="6585529"/>
                </a:cubicBezTo>
                <a:cubicBezTo>
                  <a:pt x="8525559" y="6586993"/>
                  <a:pt x="8521698" y="6587792"/>
                  <a:pt x="8517438" y="6587792"/>
                </a:cubicBezTo>
                <a:cubicBezTo>
                  <a:pt x="8508385" y="6587792"/>
                  <a:pt x="8501197" y="6584863"/>
                  <a:pt x="8495606" y="6579272"/>
                </a:cubicBezTo>
                <a:cubicBezTo>
                  <a:pt x="8490015" y="6573682"/>
                  <a:pt x="8487220" y="6566625"/>
                  <a:pt x="8487220" y="6558106"/>
                </a:cubicBezTo>
                <a:cubicBezTo>
                  <a:pt x="8487220" y="6549853"/>
                  <a:pt x="8490015" y="6542798"/>
                  <a:pt x="8495606" y="6537074"/>
                </a:cubicBezTo>
                <a:cubicBezTo>
                  <a:pt x="8501197" y="6531350"/>
                  <a:pt x="8508385" y="6528554"/>
                  <a:pt x="8517438" y="6528554"/>
                </a:cubicBezTo>
                <a:close/>
                <a:moveTo>
                  <a:pt x="8299793" y="6528554"/>
                </a:moveTo>
                <a:cubicBezTo>
                  <a:pt x="8304052" y="6528554"/>
                  <a:pt x="8308046" y="6529353"/>
                  <a:pt x="8311507" y="6531083"/>
                </a:cubicBezTo>
                <a:cubicBezTo>
                  <a:pt x="8315235" y="6532681"/>
                  <a:pt x="8318296" y="6534810"/>
                  <a:pt x="8320825" y="6537473"/>
                </a:cubicBezTo>
                <a:cubicBezTo>
                  <a:pt x="8323354" y="6540002"/>
                  <a:pt x="8325484" y="6543197"/>
                  <a:pt x="8326948" y="6546791"/>
                </a:cubicBezTo>
                <a:cubicBezTo>
                  <a:pt x="8328413" y="6550385"/>
                  <a:pt x="8329212" y="6554246"/>
                  <a:pt x="8329212" y="6558239"/>
                </a:cubicBezTo>
                <a:cubicBezTo>
                  <a:pt x="8329212" y="6562366"/>
                  <a:pt x="8328413" y="6566359"/>
                  <a:pt x="8326948" y="6569954"/>
                </a:cubicBezTo>
                <a:cubicBezTo>
                  <a:pt x="8325351" y="6573548"/>
                  <a:pt x="8323354" y="6576610"/>
                  <a:pt x="8320825" y="6579272"/>
                </a:cubicBezTo>
                <a:cubicBezTo>
                  <a:pt x="8318163" y="6581935"/>
                  <a:pt x="8315101" y="6584065"/>
                  <a:pt x="8311507" y="6585529"/>
                </a:cubicBezTo>
                <a:cubicBezTo>
                  <a:pt x="8307913" y="6586993"/>
                  <a:pt x="8304052" y="6587792"/>
                  <a:pt x="8299793" y="6587792"/>
                </a:cubicBezTo>
                <a:cubicBezTo>
                  <a:pt x="8290874" y="6587792"/>
                  <a:pt x="8283553" y="6584863"/>
                  <a:pt x="8277960" y="6579272"/>
                </a:cubicBezTo>
                <a:cubicBezTo>
                  <a:pt x="8272370" y="6573682"/>
                  <a:pt x="8269574" y="6566625"/>
                  <a:pt x="8269574" y="6558106"/>
                </a:cubicBezTo>
                <a:cubicBezTo>
                  <a:pt x="8269574" y="6549853"/>
                  <a:pt x="8272370" y="6542798"/>
                  <a:pt x="8277960" y="6537074"/>
                </a:cubicBezTo>
                <a:cubicBezTo>
                  <a:pt x="8283553" y="6531350"/>
                  <a:pt x="8290741" y="6528554"/>
                  <a:pt x="8299793" y="6528554"/>
                </a:cubicBezTo>
                <a:close/>
                <a:moveTo>
                  <a:pt x="8082281" y="6528554"/>
                </a:moveTo>
                <a:cubicBezTo>
                  <a:pt x="8086407" y="6528554"/>
                  <a:pt x="8090401" y="6529353"/>
                  <a:pt x="8094127" y="6531083"/>
                </a:cubicBezTo>
                <a:cubicBezTo>
                  <a:pt x="8097855" y="6532681"/>
                  <a:pt x="8100916" y="6534810"/>
                  <a:pt x="8103446" y="6537473"/>
                </a:cubicBezTo>
                <a:cubicBezTo>
                  <a:pt x="8105975" y="6540002"/>
                  <a:pt x="8108104" y="6543197"/>
                  <a:pt x="8109569" y="6546791"/>
                </a:cubicBezTo>
                <a:cubicBezTo>
                  <a:pt x="8111033" y="6550385"/>
                  <a:pt x="8111832" y="6554246"/>
                  <a:pt x="8111832" y="6558239"/>
                </a:cubicBezTo>
                <a:cubicBezTo>
                  <a:pt x="8111832" y="6562366"/>
                  <a:pt x="8111033" y="6566359"/>
                  <a:pt x="8109569" y="6569954"/>
                </a:cubicBezTo>
                <a:cubicBezTo>
                  <a:pt x="8107972" y="6573548"/>
                  <a:pt x="8105975" y="6576610"/>
                  <a:pt x="8103446" y="6579272"/>
                </a:cubicBezTo>
                <a:cubicBezTo>
                  <a:pt x="8100783" y="6581935"/>
                  <a:pt x="8097722" y="6584065"/>
                  <a:pt x="8094127" y="6585529"/>
                </a:cubicBezTo>
                <a:cubicBezTo>
                  <a:pt x="8090401" y="6586993"/>
                  <a:pt x="8086540" y="6587792"/>
                  <a:pt x="8082281" y="6587792"/>
                </a:cubicBezTo>
                <a:cubicBezTo>
                  <a:pt x="8073361" y="6587792"/>
                  <a:pt x="8066040" y="6584863"/>
                  <a:pt x="8060448" y="6579272"/>
                </a:cubicBezTo>
                <a:cubicBezTo>
                  <a:pt x="8054857" y="6573682"/>
                  <a:pt x="8052062" y="6566625"/>
                  <a:pt x="8052062" y="6558106"/>
                </a:cubicBezTo>
                <a:cubicBezTo>
                  <a:pt x="8052062" y="6549853"/>
                  <a:pt x="8054857" y="6542798"/>
                  <a:pt x="8060448" y="6537074"/>
                </a:cubicBezTo>
                <a:cubicBezTo>
                  <a:pt x="8066040" y="6531350"/>
                  <a:pt x="8073228" y="6528554"/>
                  <a:pt x="8082281" y="6528554"/>
                </a:cubicBezTo>
                <a:close/>
                <a:moveTo>
                  <a:pt x="7864636" y="6528554"/>
                </a:moveTo>
                <a:cubicBezTo>
                  <a:pt x="7868762" y="6528554"/>
                  <a:pt x="7872756" y="6529353"/>
                  <a:pt x="7876483" y="6531083"/>
                </a:cubicBezTo>
                <a:cubicBezTo>
                  <a:pt x="7880210" y="6532681"/>
                  <a:pt x="7883272" y="6534810"/>
                  <a:pt x="7885802" y="6537473"/>
                </a:cubicBezTo>
                <a:cubicBezTo>
                  <a:pt x="7888331" y="6540002"/>
                  <a:pt x="7890460" y="6543197"/>
                  <a:pt x="7891924" y="6546791"/>
                </a:cubicBezTo>
                <a:cubicBezTo>
                  <a:pt x="7893389" y="6550385"/>
                  <a:pt x="7894188" y="6554246"/>
                  <a:pt x="7894188" y="6558239"/>
                </a:cubicBezTo>
                <a:cubicBezTo>
                  <a:pt x="7894188" y="6562366"/>
                  <a:pt x="7893389" y="6566359"/>
                  <a:pt x="7891924" y="6569954"/>
                </a:cubicBezTo>
                <a:cubicBezTo>
                  <a:pt x="7890327" y="6573548"/>
                  <a:pt x="7888331" y="6576610"/>
                  <a:pt x="7885802" y="6579272"/>
                </a:cubicBezTo>
                <a:cubicBezTo>
                  <a:pt x="7883139" y="6581935"/>
                  <a:pt x="7880078" y="6584065"/>
                  <a:pt x="7876483" y="6585529"/>
                </a:cubicBezTo>
                <a:cubicBezTo>
                  <a:pt x="7872756" y="6586993"/>
                  <a:pt x="7868895" y="6587792"/>
                  <a:pt x="7864636" y="6587792"/>
                </a:cubicBezTo>
                <a:cubicBezTo>
                  <a:pt x="7855717" y="6587792"/>
                  <a:pt x="7848396" y="6584863"/>
                  <a:pt x="7842803" y="6579272"/>
                </a:cubicBezTo>
                <a:cubicBezTo>
                  <a:pt x="7837213" y="6573682"/>
                  <a:pt x="7834417" y="6566625"/>
                  <a:pt x="7834417" y="6558106"/>
                </a:cubicBezTo>
                <a:cubicBezTo>
                  <a:pt x="7834417" y="6549853"/>
                  <a:pt x="7837213" y="6542798"/>
                  <a:pt x="7842803" y="6537074"/>
                </a:cubicBezTo>
                <a:cubicBezTo>
                  <a:pt x="7848396" y="6531350"/>
                  <a:pt x="7855584" y="6528554"/>
                  <a:pt x="7864636" y="6528554"/>
                </a:cubicBezTo>
                <a:close/>
                <a:moveTo>
                  <a:pt x="7646991" y="6528554"/>
                </a:moveTo>
                <a:cubicBezTo>
                  <a:pt x="7651250" y="6528554"/>
                  <a:pt x="7655111" y="6529353"/>
                  <a:pt x="7658705" y="6531083"/>
                </a:cubicBezTo>
                <a:cubicBezTo>
                  <a:pt x="7662432" y="6532681"/>
                  <a:pt x="7665493" y="6534810"/>
                  <a:pt x="7668022" y="6537473"/>
                </a:cubicBezTo>
                <a:cubicBezTo>
                  <a:pt x="7670552" y="6540002"/>
                  <a:pt x="7672682" y="6543197"/>
                  <a:pt x="7674146" y="6546791"/>
                </a:cubicBezTo>
                <a:cubicBezTo>
                  <a:pt x="7675610" y="6550385"/>
                  <a:pt x="7676409" y="6554246"/>
                  <a:pt x="7676409" y="6558239"/>
                </a:cubicBezTo>
                <a:cubicBezTo>
                  <a:pt x="7676409" y="6562366"/>
                  <a:pt x="7675610" y="6566359"/>
                  <a:pt x="7674146" y="6569954"/>
                </a:cubicBezTo>
                <a:cubicBezTo>
                  <a:pt x="7672549" y="6573548"/>
                  <a:pt x="7670552" y="6576610"/>
                  <a:pt x="7668022" y="6579272"/>
                </a:cubicBezTo>
                <a:cubicBezTo>
                  <a:pt x="7665361" y="6581935"/>
                  <a:pt x="7662299" y="6584065"/>
                  <a:pt x="7658705" y="6585529"/>
                </a:cubicBezTo>
                <a:cubicBezTo>
                  <a:pt x="7655111" y="6586993"/>
                  <a:pt x="7651250" y="6587792"/>
                  <a:pt x="7646991" y="6587792"/>
                </a:cubicBezTo>
                <a:cubicBezTo>
                  <a:pt x="7638071" y="6587792"/>
                  <a:pt x="7630750" y="6584863"/>
                  <a:pt x="7625158" y="6579272"/>
                </a:cubicBezTo>
                <a:cubicBezTo>
                  <a:pt x="7619568" y="6573682"/>
                  <a:pt x="7616772" y="6566625"/>
                  <a:pt x="7616772" y="6558106"/>
                </a:cubicBezTo>
                <a:cubicBezTo>
                  <a:pt x="7616772" y="6549853"/>
                  <a:pt x="7619568" y="6542798"/>
                  <a:pt x="7625158" y="6537074"/>
                </a:cubicBezTo>
                <a:cubicBezTo>
                  <a:pt x="7630750" y="6531350"/>
                  <a:pt x="7637939" y="6528554"/>
                  <a:pt x="7646991" y="6528554"/>
                </a:cubicBezTo>
                <a:close/>
                <a:moveTo>
                  <a:pt x="7429345" y="6528554"/>
                </a:moveTo>
                <a:cubicBezTo>
                  <a:pt x="7433605" y="6528554"/>
                  <a:pt x="7437466" y="6529353"/>
                  <a:pt x="7441059" y="6531083"/>
                </a:cubicBezTo>
                <a:cubicBezTo>
                  <a:pt x="7444787" y="6532681"/>
                  <a:pt x="7447848" y="6534810"/>
                  <a:pt x="7450377" y="6537473"/>
                </a:cubicBezTo>
                <a:cubicBezTo>
                  <a:pt x="7452907" y="6540002"/>
                  <a:pt x="7455036" y="6543197"/>
                  <a:pt x="7456501" y="6546791"/>
                </a:cubicBezTo>
                <a:cubicBezTo>
                  <a:pt x="7457965" y="6550385"/>
                  <a:pt x="7458764" y="6554246"/>
                  <a:pt x="7458764" y="6558239"/>
                </a:cubicBezTo>
                <a:cubicBezTo>
                  <a:pt x="7458764" y="6562366"/>
                  <a:pt x="7457965" y="6566359"/>
                  <a:pt x="7456501" y="6569954"/>
                </a:cubicBezTo>
                <a:cubicBezTo>
                  <a:pt x="7454904" y="6573548"/>
                  <a:pt x="7452907" y="6576610"/>
                  <a:pt x="7450377" y="6579272"/>
                </a:cubicBezTo>
                <a:cubicBezTo>
                  <a:pt x="7447715" y="6581935"/>
                  <a:pt x="7444654" y="6584065"/>
                  <a:pt x="7441059" y="6585529"/>
                </a:cubicBezTo>
                <a:cubicBezTo>
                  <a:pt x="7437466" y="6586993"/>
                  <a:pt x="7433605" y="6587792"/>
                  <a:pt x="7429345" y="6587792"/>
                </a:cubicBezTo>
                <a:cubicBezTo>
                  <a:pt x="7420426" y="6587792"/>
                  <a:pt x="7413105" y="6584863"/>
                  <a:pt x="7407513" y="6579272"/>
                </a:cubicBezTo>
                <a:cubicBezTo>
                  <a:pt x="7401922" y="6573682"/>
                  <a:pt x="7399127" y="6566625"/>
                  <a:pt x="7399127" y="6558106"/>
                </a:cubicBezTo>
                <a:cubicBezTo>
                  <a:pt x="7399127" y="6549853"/>
                  <a:pt x="7401922" y="6542798"/>
                  <a:pt x="7407513" y="6537074"/>
                </a:cubicBezTo>
                <a:cubicBezTo>
                  <a:pt x="7413105" y="6531350"/>
                  <a:pt x="7420293" y="6528554"/>
                  <a:pt x="7429345" y="6528554"/>
                </a:cubicBezTo>
                <a:close/>
                <a:moveTo>
                  <a:pt x="7211701" y="6528554"/>
                </a:moveTo>
                <a:cubicBezTo>
                  <a:pt x="7215960" y="6528554"/>
                  <a:pt x="7219954" y="6529353"/>
                  <a:pt x="7223415" y="6531083"/>
                </a:cubicBezTo>
                <a:cubicBezTo>
                  <a:pt x="7227142" y="6532681"/>
                  <a:pt x="7230204" y="6534810"/>
                  <a:pt x="7232733" y="6537473"/>
                </a:cubicBezTo>
                <a:cubicBezTo>
                  <a:pt x="7235262" y="6540002"/>
                  <a:pt x="7237392" y="6543197"/>
                  <a:pt x="7238856" y="6546791"/>
                </a:cubicBezTo>
                <a:cubicBezTo>
                  <a:pt x="7240321" y="6550385"/>
                  <a:pt x="7241120" y="6554246"/>
                  <a:pt x="7241120" y="6558239"/>
                </a:cubicBezTo>
                <a:cubicBezTo>
                  <a:pt x="7241120" y="6562366"/>
                  <a:pt x="7240321" y="6566359"/>
                  <a:pt x="7238856" y="6569954"/>
                </a:cubicBezTo>
                <a:cubicBezTo>
                  <a:pt x="7237259" y="6573548"/>
                  <a:pt x="7235262" y="6576610"/>
                  <a:pt x="7232733" y="6579272"/>
                </a:cubicBezTo>
                <a:cubicBezTo>
                  <a:pt x="7230071" y="6581935"/>
                  <a:pt x="7227009" y="6584065"/>
                  <a:pt x="7223415" y="6585529"/>
                </a:cubicBezTo>
                <a:cubicBezTo>
                  <a:pt x="7219821" y="6586993"/>
                  <a:pt x="7215960" y="6587792"/>
                  <a:pt x="7211701" y="6587792"/>
                </a:cubicBezTo>
                <a:cubicBezTo>
                  <a:pt x="7202782" y="6587792"/>
                  <a:pt x="7195460" y="6584863"/>
                  <a:pt x="7189868" y="6579272"/>
                </a:cubicBezTo>
                <a:cubicBezTo>
                  <a:pt x="7184278" y="6573682"/>
                  <a:pt x="7181482" y="6566625"/>
                  <a:pt x="7181482" y="6558106"/>
                </a:cubicBezTo>
                <a:cubicBezTo>
                  <a:pt x="7181482" y="6549853"/>
                  <a:pt x="7184278" y="6542798"/>
                  <a:pt x="7189868" y="6537074"/>
                </a:cubicBezTo>
                <a:cubicBezTo>
                  <a:pt x="7195460" y="6531350"/>
                  <a:pt x="7202649" y="6528554"/>
                  <a:pt x="7211701" y="6528554"/>
                </a:cubicBezTo>
                <a:close/>
                <a:moveTo>
                  <a:pt x="6994056" y="6528554"/>
                </a:moveTo>
                <a:cubicBezTo>
                  <a:pt x="6998315" y="6528554"/>
                  <a:pt x="7002309" y="6529353"/>
                  <a:pt x="7005769" y="6531083"/>
                </a:cubicBezTo>
                <a:cubicBezTo>
                  <a:pt x="7009497" y="6532681"/>
                  <a:pt x="7012558" y="6534810"/>
                  <a:pt x="7015087" y="6537473"/>
                </a:cubicBezTo>
                <a:cubicBezTo>
                  <a:pt x="7017617" y="6540002"/>
                  <a:pt x="7019747" y="6543197"/>
                  <a:pt x="7021211" y="6546791"/>
                </a:cubicBezTo>
                <a:cubicBezTo>
                  <a:pt x="7022675" y="6550385"/>
                  <a:pt x="7023474" y="6554246"/>
                  <a:pt x="7023474" y="6558239"/>
                </a:cubicBezTo>
                <a:cubicBezTo>
                  <a:pt x="7023474" y="6562366"/>
                  <a:pt x="7022675" y="6566359"/>
                  <a:pt x="7021211" y="6569954"/>
                </a:cubicBezTo>
                <a:cubicBezTo>
                  <a:pt x="7019614" y="6573548"/>
                  <a:pt x="7017617" y="6576610"/>
                  <a:pt x="7015087" y="6579272"/>
                </a:cubicBezTo>
                <a:cubicBezTo>
                  <a:pt x="7012425" y="6581935"/>
                  <a:pt x="7009364" y="6584065"/>
                  <a:pt x="7005769" y="6585529"/>
                </a:cubicBezTo>
                <a:cubicBezTo>
                  <a:pt x="7002176" y="6586993"/>
                  <a:pt x="6998315" y="6587792"/>
                  <a:pt x="6994056" y="6587792"/>
                </a:cubicBezTo>
                <a:cubicBezTo>
                  <a:pt x="6985136" y="6587792"/>
                  <a:pt x="6977815" y="6584863"/>
                  <a:pt x="6972223" y="6579272"/>
                </a:cubicBezTo>
                <a:cubicBezTo>
                  <a:pt x="6966632" y="6573682"/>
                  <a:pt x="6963837" y="6566625"/>
                  <a:pt x="6963837" y="6558106"/>
                </a:cubicBezTo>
                <a:cubicBezTo>
                  <a:pt x="6963837" y="6549853"/>
                  <a:pt x="6966632" y="6542798"/>
                  <a:pt x="6972223" y="6537074"/>
                </a:cubicBezTo>
                <a:cubicBezTo>
                  <a:pt x="6977815" y="6531350"/>
                  <a:pt x="6985003" y="6528554"/>
                  <a:pt x="6994056" y="6528554"/>
                </a:cubicBezTo>
                <a:close/>
                <a:moveTo>
                  <a:pt x="6776544" y="6528554"/>
                </a:moveTo>
                <a:cubicBezTo>
                  <a:pt x="6780670" y="6528554"/>
                  <a:pt x="6784664" y="6529353"/>
                  <a:pt x="6788258" y="6531083"/>
                </a:cubicBezTo>
                <a:cubicBezTo>
                  <a:pt x="6791985" y="6532681"/>
                  <a:pt x="6795047" y="6534810"/>
                  <a:pt x="6797576" y="6537473"/>
                </a:cubicBezTo>
                <a:cubicBezTo>
                  <a:pt x="6800105" y="6540002"/>
                  <a:pt x="6802235" y="6543197"/>
                  <a:pt x="6803699" y="6546791"/>
                </a:cubicBezTo>
                <a:cubicBezTo>
                  <a:pt x="6805164" y="6550385"/>
                  <a:pt x="6805963" y="6554246"/>
                  <a:pt x="6805963" y="6558239"/>
                </a:cubicBezTo>
                <a:cubicBezTo>
                  <a:pt x="6805963" y="6562366"/>
                  <a:pt x="6805164" y="6566359"/>
                  <a:pt x="6803699" y="6569954"/>
                </a:cubicBezTo>
                <a:cubicBezTo>
                  <a:pt x="6802102" y="6573548"/>
                  <a:pt x="6800105" y="6576610"/>
                  <a:pt x="6797576" y="6579272"/>
                </a:cubicBezTo>
                <a:cubicBezTo>
                  <a:pt x="6794914" y="6581935"/>
                  <a:pt x="6791852" y="6584065"/>
                  <a:pt x="6788258" y="6585529"/>
                </a:cubicBezTo>
                <a:cubicBezTo>
                  <a:pt x="6784664" y="6586993"/>
                  <a:pt x="6780803" y="6587792"/>
                  <a:pt x="6776544" y="6587792"/>
                </a:cubicBezTo>
                <a:cubicBezTo>
                  <a:pt x="6767625" y="6587792"/>
                  <a:pt x="6760303" y="6584863"/>
                  <a:pt x="6754711" y="6579272"/>
                </a:cubicBezTo>
                <a:cubicBezTo>
                  <a:pt x="6749121" y="6573682"/>
                  <a:pt x="6746325" y="6566625"/>
                  <a:pt x="6746325" y="6558106"/>
                </a:cubicBezTo>
                <a:cubicBezTo>
                  <a:pt x="6746325" y="6549853"/>
                  <a:pt x="6749121" y="6542798"/>
                  <a:pt x="6754711" y="6537074"/>
                </a:cubicBezTo>
                <a:cubicBezTo>
                  <a:pt x="6760303" y="6531350"/>
                  <a:pt x="6767492" y="6528554"/>
                  <a:pt x="6776544" y="6528554"/>
                </a:cubicBezTo>
                <a:close/>
                <a:moveTo>
                  <a:pt x="6558899" y="6528554"/>
                </a:moveTo>
                <a:cubicBezTo>
                  <a:pt x="6563158" y="6528554"/>
                  <a:pt x="6567019" y="6529353"/>
                  <a:pt x="6570612" y="6531083"/>
                </a:cubicBezTo>
                <a:cubicBezTo>
                  <a:pt x="6574340" y="6532681"/>
                  <a:pt x="6577401" y="6534810"/>
                  <a:pt x="6579930" y="6537473"/>
                </a:cubicBezTo>
                <a:cubicBezTo>
                  <a:pt x="6582460" y="6540002"/>
                  <a:pt x="6584590" y="6543197"/>
                  <a:pt x="6586054" y="6546791"/>
                </a:cubicBezTo>
                <a:cubicBezTo>
                  <a:pt x="6587518" y="6550385"/>
                  <a:pt x="6588317" y="6554246"/>
                  <a:pt x="6588317" y="6558239"/>
                </a:cubicBezTo>
                <a:cubicBezTo>
                  <a:pt x="6588317" y="6562366"/>
                  <a:pt x="6587518" y="6566359"/>
                  <a:pt x="6586054" y="6569954"/>
                </a:cubicBezTo>
                <a:cubicBezTo>
                  <a:pt x="6584457" y="6573548"/>
                  <a:pt x="6582460" y="6576610"/>
                  <a:pt x="6579930" y="6579272"/>
                </a:cubicBezTo>
                <a:cubicBezTo>
                  <a:pt x="6577268" y="6581935"/>
                  <a:pt x="6574207" y="6584065"/>
                  <a:pt x="6570612" y="6585529"/>
                </a:cubicBezTo>
                <a:cubicBezTo>
                  <a:pt x="6567019" y="6586993"/>
                  <a:pt x="6563158" y="6587792"/>
                  <a:pt x="6558899" y="6587792"/>
                </a:cubicBezTo>
                <a:cubicBezTo>
                  <a:pt x="6549979" y="6587792"/>
                  <a:pt x="6542658" y="6584863"/>
                  <a:pt x="6537066" y="6579272"/>
                </a:cubicBezTo>
                <a:cubicBezTo>
                  <a:pt x="6531476" y="6573682"/>
                  <a:pt x="6528680" y="6566625"/>
                  <a:pt x="6528680" y="6558106"/>
                </a:cubicBezTo>
                <a:cubicBezTo>
                  <a:pt x="6528680" y="6549853"/>
                  <a:pt x="6531476" y="6542798"/>
                  <a:pt x="6537066" y="6537074"/>
                </a:cubicBezTo>
                <a:cubicBezTo>
                  <a:pt x="6542658" y="6531350"/>
                  <a:pt x="6549846" y="6528554"/>
                  <a:pt x="6558899" y="6528554"/>
                </a:cubicBezTo>
                <a:close/>
                <a:moveTo>
                  <a:pt x="6341253" y="6528554"/>
                </a:moveTo>
                <a:cubicBezTo>
                  <a:pt x="6345513" y="6528554"/>
                  <a:pt x="6349373" y="6529353"/>
                  <a:pt x="6352968" y="6531083"/>
                </a:cubicBezTo>
                <a:cubicBezTo>
                  <a:pt x="6356695" y="6532681"/>
                  <a:pt x="6359757" y="6534810"/>
                  <a:pt x="6362286" y="6537473"/>
                </a:cubicBezTo>
                <a:cubicBezTo>
                  <a:pt x="6364815" y="6540002"/>
                  <a:pt x="6366945" y="6543197"/>
                  <a:pt x="6368409" y="6546791"/>
                </a:cubicBezTo>
                <a:cubicBezTo>
                  <a:pt x="6369874" y="6550385"/>
                  <a:pt x="6370672" y="6554246"/>
                  <a:pt x="6370672" y="6558239"/>
                </a:cubicBezTo>
                <a:cubicBezTo>
                  <a:pt x="6370672" y="6562366"/>
                  <a:pt x="6369874" y="6566359"/>
                  <a:pt x="6368409" y="6569954"/>
                </a:cubicBezTo>
                <a:cubicBezTo>
                  <a:pt x="6366811" y="6573548"/>
                  <a:pt x="6364815" y="6576610"/>
                  <a:pt x="6362286" y="6579272"/>
                </a:cubicBezTo>
                <a:cubicBezTo>
                  <a:pt x="6359623" y="6581935"/>
                  <a:pt x="6356562" y="6584065"/>
                  <a:pt x="6352968" y="6585529"/>
                </a:cubicBezTo>
                <a:cubicBezTo>
                  <a:pt x="6349373" y="6586993"/>
                  <a:pt x="6345513" y="6587792"/>
                  <a:pt x="6341253" y="6587792"/>
                </a:cubicBezTo>
                <a:cubicBezTo>
                  <a:pt x="6332335" y="6587792"/>
                  <a:pt x="6325013" y="6584863"/>
                  <a:pt x="6319421" y="6579272"/>
                </a:cubicBezTo>
                <a:cubicBezTo>
                  <a:pt x="6313830" y="6573682"/>
                  <a:pt x="6311035" y="6566625"/>
                  <a:pt x="6311035" y="6558106"/>
                </a:cubicBezTo>
                <a:cubicBezTo>
                  <a:pt x="6311035" y="6549853"/>
                  <a:pt x="6313830" y="6542798"/>
                  <a:pt x="6319421" y="6537074"/>
                </a:cubicBezTo>
                <a:cubicBezTo>
                  <a:pt x="6325013" y="6531350"/>
                  <a:pt x="6332201" y="6528554"/>
                  <a:pt x="6341253" y="6528554"/>
                </a:cubicBezTo>
                <a:close/>
                <a:moveTo>
                  <a:pt x="6123608" y="6528554"/>
                </a:moveTo>
                <a:cubicBezTo>
                  <a:pt x="6127867" y="6528554"/>
                  <a:pt x="6131728" y="6529353"/>
                  <a:pt x="6135322" y="6531083"/>
                </a:cubicBezTo>
                <a:cubicBezTo>
                  <a:pt x="6139049" y="6532681"/>
                  <a:pt x="6142111" y="6534810"/>
                  <a:pt x="6144640" y="6537473"/>
                </a:cubicBezTo>
                <a:cubicBezTo>
                  <a:pt x="6147169" y="6540002"/>
                  <a:pt x="6149299" y="6543197"/>
                  <a:pt x="6150763" y="6546791"/>
                </a:cubicBezTo>
                <a:cubicBezTo>
                  <a:pt x="6152228" y="6550385"/>
                  <a:pt x="6153026" y="6554246"/>
                  <a:pt x="6153026" y="6558239"/>
                </a:cubicBezTo>
                <a:cubicBezTo>
                  <a:pt x="6153026" y="6562366"/>
                  <a:pt x="6152228" y="6566359"/>
                  <a:pt x="6150763" y="6569954"/>
                </a:cubicBezTo>
                <a:cubicBezTo>
                  <a:pt x="6149299" y="6573548"/>
                  <a:pt x="6147169" y="6576610"/>
                  <a:pt x="6144640" y="6579272"/>
                </a:cubicBezTo>
                <a:cubicBezTo>
                  <a:pt x="6141977" y="6581935"/>
                  <a:pt x="6138916" y="6584065"/>
                  <a:pt x="6135322" y="6585529"/>
                </a:cubicBezTo>
                <a:cubicBezTo>
                  <a:pt x="6131728" y="6586993"/>
                  <a:pt x="6127867" y="6587792"/>
                  <a:pt x="6123608" y="6587792"/>
                </a:cubicBezTo>
                <a:cubicBezTo>
                  <a:pt x="6114689" y="6587792"/>
                  <a:pt x="6107367" y="6584863"/>
                  <a:pt x="6101775" y="6579272"/>
                </a:cubicBezTo>
                <a:cubicBezTo>
                  <a:pt x="6096184" y="6573682"/>
                  <a:pt x="6093389" y="6566625"/>
                  <a:pt x="6093389" y="6558106"/>
                </a:cubicBezTo>
                <a:cubicBezTo>
                  <a:pt x="6093389" y="6549853"/>
                  <a:pt x="6096184" y="6542798"/>
                  <a:pt x="6101775" y="6537074"/>
                </a:cubicBezTo>
                <a:cubicBezTo>
                  <a:pt x="6107367" y="6531350"/>
                  <a:pt x="6114555" y="6528554"/>
                  <a:pt x="6123608" y="6528554"/>
                </a:cubicBezTo>
                <a:close/>
                <a:moveTo>
                  <a:pt x="5905963" y="6528554"/>
                </a:moveTo>
                <a:cubicBezTo>
                  <a:pt x="5910222" y="6528554"/>
                  <a:pt x="5914216" y="6529353"/>
                  <a:pt x="5917677" y="6531083"/>
                </a:cubicBezTo>
                <a:cubicBezTo>
                  <a:pt x="5921404" y="6532681"/>
                  <a:pt x="5924466" y="6534810"/>
                  <a:pt x="5926995" y="6537473"/>
                </a:cubicBezTo>
                <a:cubicBezTo>
                  <a:pt x="5929524" y="6540002"/>
                  <a:pt x="5931654" y="6543197"/>
                  <a:pt x="5933118" y="6546791"/>
                </a:cubicBezTo>
                <a:cubicBezTo>
                  <a:pt x="5934583" y="6550385"/>
                  <a:pt x="5935381" y="6554246"/>
                  <a:pt x="5935381" y="6558239"/>
                </a:cubicBezTo>
                <a:cubicBezTo>
                  <a:pt x="5935381" y="6562366"/>
                  <a:pt x="5934583" y="6566359"/>
                  <a:pt x="5933118" y="6569954"/>
                </a:cubicBezTo>
                <a:cubicBezTo>
                  <a:pt x="5931654" y="6573548"/>
                  <a:pt x="5929524" y="6576610"/>
                  <a:pt x="5926995" y="6579272"/>
                </a:cubicBezTo>
                <a:cubicBezTo>
                  <a:pt x="5924333" y="6581935"/>
                  <a:pt x="5921271" y="6584065"/>
                  <a:pt x="5917677" y="6585529"/>
                </a:cubicBezTo>
                <a:cubicBezTo>
                  <a:pt x="5914083" y="6586993"/>
                  <a:pt x="5910222" y="6587792"/>
                  <a:pt x="5905963" y="6587792"/>
                </a:cubicBezTo>
                <a:cubicBezTo>
                  <a:pt x="5897044" y="6587792"/>
                  <a:pt x="5889722" y="6584863"/>
                  <a:pt x="5884130" y="6579272"/>
                </a:cubicBezTo>
                <a:cubicBezTo>
                  <a:pt x="5878540" y="6573682"/>
                  <a:pt x="5875744" y="6566625"/>
                  <a:pt x="5875744" y="6558106"/>
                </a:cubicBezTo>
                <a:cubicBezTo>
                  <a:pt x="5875744" y="6549853"/>
                  <a:pt x="5878540" y="6542798"/>
                  <a:pt x="5884130" y="6537074"/>
                </a:cubicBezTo>
                <a:cubicBezTo>
                  <a:pt x="5889722" y="6531350"/>
                  <a:pt x="5896910" y="6528554"/>
                  <a:pt x="5905963" y="6528554"/>
                </a:cubicBezTo>
                <a:close/>
                <a:moveTo>
                  <a:pt x="5688451" y="6528554"/>
                </a:moveTo>
                <a:cubicBezTo>
                  <a:pt x="5692577" y="6528554"/>
                  <a:pt x="5696571" y="6529353"/>
                  <a:pt x="5700165" y="6531083"/>
                </a:cubicBezTo>
                <a:cubicBezTo>
                  <a:pt x="5703892" y="6532681"/>
                  <a:pt x="5706954" y="6534810"/>
                  <a:pt x="5709483" y="6537473"/>
                </a:cubicBezTo>
                <a:cubicBezTo>
                  <a:pt x="5712012" y="6540002"/>
                  <a:pt x="5714142" y="6543197"/>
                  <a:pt x="5715606" y="6546791"/>
                </a:cubicBezTo>
                <a:cubicBezTo>
                  <a:pt x="5717071" y="6550385"/>
                  <a:pt x="5717869" y="6554246"/>
                  <a:pt x="5717869" y="6558239"/>
                </a:cubicBezTo>
                <a:cubicBezTo>
                  <a:pt x="5717869" y="6562366"/>
                  <a:pt x="5717071" y="6566359"/>
                  <a:pt x="5715606" y="6569954"/>
                </a:cubicBezTo>
                <a:cubicBezTo>
                  <a:pt x="5714142" y="6573548"/>
                  <a:pt x="5712012" y="6576610"/>
                  <a:pt x="5709483" y="6579272"/>
                </a:cubicBezTo>
                <a:cubicBezTo>
                  <a:pt x="5706820" y="6581935"/>
                  <a:pt x="5703759" y="6584065"/>
                  <a:pt x="5700165" y="6585529"/>
                </a:cubicBezTo>
                <a:cubicBezTo>
                  <a:pt x="5696571" y="6586993"/>
                  <a:pt x="5692710" y="6587792"/>
                  <a:pt x="5688451" y="6587792"/>
                </a:cubicBezTo>
                <a:cubicBezTo>
                  <a:pt x="5679532" y="6587792"/>
                  <a:pt x="5672210" y="6584863"/>
                  <a:pt x="5666618" y="6579272"/>
                </a:cubicBezTo>
                <a:cubicBezTo>
                  <a:pt x="5661028" y="6573682"/>
                  <a:pt x="5658232" y="6566625"/>
                  <a:pt x="5658232" y="6558106"/>
                </a:cubicBezTo>
                <a:cubicBezTo>
                  <a:pt x="5658232" y="6549853"/>
                  <a:pt x="5661028" y="6542798"/>
                  <a:pt x="5666618" y="6537074"/>
                </a:cubicBezTo>
                <a:cubicBezTo>
                  <a:pt x="5672210" y="6531350"/>
                  <a:pt x="5679398" y="6528554"/>
                  <a:pt x="5688451" y="6528554"/>
                </a:cubicBezTo>
                <a:close/>
                <a:moveTo>
                  <a:pt x="5470806" y="6528554"/>
                </a:moveTo>
                <a:cubicBezTo>
                  <a:pt x="5475065" y="6528554"/>
                  <a:pt x="5478926" y="6529353"/>
                  <a:pt x="5482520" y="6531083"/>
                </a:cubicBezTo>
                <a:cubicBezTo>
                  <a:pt x="5486247" y="6532681"/>
                  <a:pt x="5489309" y="6534810"/>
                  <a:pt x="5491838" y="6537473"/>
                </a:cubicBezTo>
                <a:cubicBezTo>
                  <a:pt x="5494367" y="6540002"/>
                  <a:pt x="5496497" y="6543197"/>
                  <a:pt x="5497961" y="6546791"/>
                </a:cubicBezTo>
                <a:cubicBezTo>
                  <a:pt x="5499426" y="6550385"/>
                  <a:pt x="5500224" y="6554246"/>
                  <a:pt x="5500224" y="6558239"/>
                </a:cubicBezTo>
                <a:cubicBezTo>
                  <a:pt x="5500224" y="6562366"/>
                  <a:pt x="5499426" y="6566359"/>
                  <a:pt x="5497961" y="6569954"/>
                </a:cubicBezTo>
                <a:cubicBezTo>
                  <a:pt x="5496497" y="6573548"/>
                  <a:pt x="5494367" y="6576610"/>
                  <a:pt x="5491838" y="6579272"/>
                </a:cubicBezTo>
                <a:cubicBezTo>
                  <a:pt x="5489176" y="6581935"/>
                  <a:pt x="5486114" y="6584065"/>
                  <a:pt x="5482520" y="6585529"/>
                </a:cubicBezTo>
                <a:cubicBezTo>
                  <a:pt x="5478926" y="6586993"/>
                  <a:pt x="5475065" y="6587792"/>
                  <a:pt x="5470806" y="6587792"/>
                </a:cubicBezTo>
                <a:cubicBezTo>
                  <a:pt x="5461887" y="6587792"/>
                  <a:pt x="5454565" y="6584863"/>
                  <a:pt x="5448973" y="6579272"/>
                </a:cubicBezTo>
                <a:cubicBezTo>
                  <a:pt x="5443383" y="6573682"/>
                  <a:pt x="5440587" y="6566625"/>
                  <a:pt x="5440587" y="6558106"/>
                </a:cubicBezTo>
                <a:cubicBezTo>
                  <a:pt x="5440587" y="6549853"/>
                  <a:pt x="5443383" y="6542798"/>
                  <a:pt x="5448973" y="6537074"/>
                </a:cubicBezTo>
                <a:cubicBezTo>
                  <a:pt x="5454565" y="6531350"/>
                  <a:pt x="5461754" y="6528554"/>
                  <a:pt x="5470806" y="6528554"/>
                </a:cubicBezTo>
                <a:close/>
                <a:moveTo>
                  <a:pt x="5253160" y="6528554"/>
                </a:moveTo>
                <a:cubicBezTo>
                  <a:pt x="5257420" y="6528554"/>
                  <a:pt x="5261280" y="6529353"/>
                  <a:pt x="5264875" y="6531083"/>
                </a:cubicBezTo>
                <a:cubicBezTo>
                  <a:pt x="5268602" y="6532681"/>
                  <a:pt x="5271664" y="6534810"/>
                  <a:pt x="5274192" y="6537473"/>
                </a:cubicBezTo>
                <a:cubicBezTo>
                  <a:pt x="5276722" y="6540002"/>
                  <a:pt x="5278852" y="6543197"/>
                  <a:pt x="5280316" y="6546791"/>
                </a:cubicBezTo>
                <a:cubicBezTo>
                  <a:pt x="5281780" y="6550385"/>
                  <a:pt x="5282579" y="6554246"/>
                  <a:pt x="5282579" y="6558239"/>
                </a:cubicBezTo>
                <a:cubicBezTo>
                  <a:pt x="5282579" y="6562366"/>
                  <a:pt x="5281780" y="6566359"/>
                  <a:pt x="5280316" y="6569954"/>
                </a:cubicBezTo>
                <a:cubicBezTo>
                  <a:pt x="5278852" y="6573548"/>
                  <a:pt x="5276722" y="6576610"/>
                  <a:pt x="5274192" y="6579272"/>
                </a:cubicBezTo>
                <a:cubicBezTo>
                  <a:pt x="5271664" y="6581935"/>
                  <a:pt x="5268469" y="6584065"/>
                  <a:pt x="5264875" y="6585529"/>
                </a:cubicBezTo>
                <a:cubicBezTo>
                  <a:pt x="5261280" y="6586993"/>
                  <a:pt x="5257420" y="6587792"/>
                  <a:pt x="5253160" y="6587792"/>
                </a:cubicBezTo>
                <a:cubicBezTo>
                  <a:pt x="5244241" y="6587792"/>
                  <a:pt x="5236920" y="6584863"/>
                  <a:pt x="5231328" y="6579272"/>
                </a:cubicBezTo>
                <a:cubicBezTo>
                  <a:pt x="5225737" y="6573682"/>
                  <a:pt x="5222942" y="6566625"/>
                  <a:pt x="5222942" y="6558106"/>
                </a:cubicBezTo>
                <a:cubicBezTo>
                  <a:pt x="5222942" y="6549853"/>
                  <a:pt x="5225737" y="6542798"/>
                  <a:pt x="5231328" y="6537074"/>
                </a:cubicBezTo>
                <a:cubicBezTo>
                  <a:pt x="5236920" y="6531350"/>
                  <a:pt x="5244108" y="6528554"/>
                  <a:pt x="5253160" y="6528554"/>
                </a:cubicBezTo>
                <a:close/>
                <a:moveTo>
                  <a:pt x="5035515" y="6528554"/>
                </a:moveTo>
                <a:cubicBezTo>
                  <a:pt x="5039775" y="6528554"/>
                  <a:pt x="5043636" y="6529353"/>
                  <a:pt x="5047230" y="6531083"/>
                </a:cubicBezTo>
                <a:cubicBezTo>
                  <a:pt x="5050957" y="6532681"/>
                  <a:pt x="5054019" y="6534810"/>
                  <a:pt x="5056548" y="6537473"/>
                </a:cubicBezTo>
                <a:cubicBezTo>
                  <a:pt x="5059077" y="6540002"/>
                  <a:pt x="5061207" y="6543197"/>
                  <a:pt x="5062671" y="6546791"/>
                </a:cubicBezTo>
                <a:cubicBezTo>
                  <a:pt x="5064135" y="6550385"/>
                  <a:pt x="5064934" y="6554246"/>
                  <a:pt x="5064934" y="6558239"/>
                </a:cubicBezTo>
                <a:cubicBezTo>
                  <a:pt x="5064934" y="6562366"/>
                  <a:pt x="5064135" y="6566359"/>
                  <a:pt x="5062671" y="6569954"/>
                </a:cubicBezTo>
                <a:cubicBezTo>
                  <a:pt x="5061207" y="6573548"/>
                  <a:pt x="5059077" y="6576610"/>
                  <a:pt x="5056548" y="6579272"/>
                </a:cubicBezTo>
                <a:cubicBezTo>
                  <a:pt x="5053885" y="6581935"/>
                  <a:pt x="5050824" y="6584065"/>
                  <a:pt x="5047230" y="6585529"/>
                </a:cubicBezTo>
                <a:cubicBezTo>
                  <a:pt x="5043636" y="6586993"/>
                  <a:pt x="5039775" y="6587792"/>
                  <a:pt x="5035515" y="6587792"/>
                </a:cubicBezTo>
                <a:cubicBezTo>
                  <a:pt x="5026597" y="6587792"/>
                  <a:pt x="5019275" y="6584863"/>
                  <a:pt x="5013683" y="6579272"/>
                </a:cubicBezTo>
                <a:cubicBezTo>
                  <a:pt x="5008092" y="6573682"/>
                  <a:pt x="5005297" y="6566625"/>
                  <a:pt x="5005297" y="6558106"/>
                </a:cubicBezTo>
                <a:cubicBezTo>
                  <a:pt x="5005297" y="6549853"/>
                  <a:pt x="5008092" y="6542798"/>
                  <a:pt x="5013683" y="6537074"/>
                </a:cubicBezTo>
                <a:cubicBezTo>
                  <a:pt x="5019275" y="6531350"/>
                  <a:pt x="5026463" y="6528554"/>
                  <a:pt x="5035515" y="6528554"/>
                </a:cubicBezTo>
                <a:close/>
                <a:moveTo>
                  <a:pt x="4817870" y="6528554"/>
                </a:moveTo>
                <a:cubicBezTo>
                  <a:pt x="4822130" y="6528554"/>
                  <a:pt x="4826124" y="6529353"/>
                  <a:pt x="4829585" y="6531083"/>
                </a:cubicBezTo>
                <a:cubicBezTo>
                  <a:pt x="4833312" y="6532681"/>
                  <a:pt x="4836374" y="6534810"/>
                  <a:pt x="4838903" y="6537473"/>
                </a:cubicBezTo>
                <a:cubicBezTo>
                  <a:pt x="4841432" y="6540002"/>
                  <a:pt x="4843562" y="6543197"/>
                  <a:pt x="4845026" y="6546791"/>
                </a:cubicBezTo>
                <a:cubicBezTo>
                  <a:pt x="4846491" y="6550385"/>
                  <a:pt x="4847289" y="6554246"/>
                  <a:pt x="4847289" y="6558239"/>
                </a:cubicBezTo>
                <a:cubicBezTo>
                  <a:pt x="4847289" y="6562366"/>
                  <a:pt x="4846491" y="6566359"/>
                  <a:pt x="4845026" y="6569954"/>
                </a:cubicBezTo>
                <a:cubicBezTo>
                  <a:pt x="4843562" y="6573548"/>
                  <a:pt x="4841432" y="6576610"/>
                  <a:pt x="4838903" y="6579272"/>
                </a:cubicBezTo>
                <a:cubicBezTo>
                  <a:pt x="4836240" y="6581935"/>
                  <a:pt x="4833179" y="6584065"/>
                  <a:pt x="4829585" y="6585529"/>
                </a:cubicBezTo>
                <a:cubicBezTo>
                  <a:pt x="4825991" y="6586993"/>
                  <a:pt x="4822130" y="6587792"/>
                  <a:pt x="4817870" y="6587792"/>
                </a:cubicBezTo>
                <a:cubicBezTo>
                  <a:pt x="4808952" y="6587792"/>
                  <a:pt x="4801630" y="6584863"/>
                  <a:pt x="4796038" y="6579272"/>
                </a:cubicBezTo>
                <a:cubicBezTo>
                  <a:pt x="4790447" y="6573682"/>
                  <a:pt x="4787652" y="6566625"/>
                  <a:pt x="4787652" y="6558106"/>
                </a:cubicBezTo>
                <a:cubicBezTo>
                  <a:pt x="4787652" y="6549853"/>
                  <a:pt x="4790447" y="6542798"/>
                  <a:pt x="4796038" y="6537074"/>
                </a:cubicBezTo>
                <a:cubicBezTo>
                  <a:pt x="4801630" y="6531350"/>
                  <a:pt x="4808818" y="6528554"/>
                  <a:pt x="4817870" y="6528554"/>
                </a:cubicBezTo>
                <a:close/>
                <a:moveTo>
                  <a:pt x="4600226" y="6528554"/>
                </a:moveTo>
                <a:cubicBezTo>
                  <a:pt x="4604485" y="6528554"/>
                  <a:pt x="4608479" y="6529353"/>
                  <a:pt x="4612073" y="6531083"/>
                </a:cubicBezTo>
                <a:cubicBezTo>
                  <a:pt x="4615800" y="6532681"/>
                  <a:pt x="4618862" y="6534810"/>
                  <a:pt x="4621391" y="6537473"/>
                </a:cubicBezTo>
                <a:cubicBezTo>
                  <a:pt x="4623920" y="6540002"/>
                  <a:pt x="4626050" y="6543197"/>
                  <a:pt x="4627514" y="6546791"/>
                </a:cubicBezTo>
                <a:cubicBezTo>
                  <a:pt x="4628978" y="6550385"/>
                  <a:pt x="4629777" y="6554246"/>
                  <a:pt x="4629777" y="6558239"/>
                </a:cubicBezTo>
                <a:cubicBezTo>
                  <a:pt x="4629777" y="6562366"/>
                  <a:pt x="4628978" y="6566359"/>
                  <a:pt x="4627514" y="6569954"/>
                </a:cubicBezTo>
                <a:cubicBezTo>
                  <a:pt x="4626050" y="6573548"/>
                  <a:pt x="4623920" y="6576610"/>
                  <a:pt x="4621391" y="6579272"/>
                </a:cubicBezTo>
                <a:cubicBezTo>
                  <a:pt x="4618729" y="6581935"/>
                  <a:pt x="4615667" y="6584065"/>
                  <a:pt x="4612073" y="6585529"/>
                </a:cubicBezTo>
                <a:cubicBezTo>
                  <a:pt x="4608346" y="6586993"/>
                  <a:pt x="4604485" y="6587792"/>
                  <a:pt x="4600226" y="6587792"/>
                </a:cubicBezTo>
                <a:cubicBezTo>
                  <a:pt x="4591173" y="6587792"/>
                  <a:pt x="4583985" y="6584863"/>
                  <a:pt x="4578393" y="6579272"/>
                </a:cubicBezTo>
                <a:cubicBezTo>
                  <a:pt x="4572803" y="6573682"/>
                  <a:pt x="4570007" y="6566625"/>
                  <a:pt x="4570007" y="6558106"/>
                </a:cubicBezTo>
                <a:cubicBezTo>
                  <a:pt x="4570007" y="6549853"/>
                  <a:pt x="4572803" y="6542798"/>
                  <a:pt x="4578393" y="6537074"/>
                </a:cubicBezTo>
                <a:cubicBezTo>
                  <a:pt x="4583985" y="6531350"/>
                  <a:pt x="4591173" y="6528554"/>
                  <a:pt x="4600226" y="6528554"/>
                </a:cubicBezTo>
                <a:close/>
                <a:moveTo>
                  <a:pt x="4382713" y="6528554"/>
                </a:moveTo>
                <a:cubicBezTo>
                  <a:pt x="4386840" y="6528554"/>
                  <a:pt x="4390834" y="6529353"/>
                  <a:pt x="4394428" y="6531083"/>
                </a:cubicBezTo>
                <a:cubicBezTo>
                  <a:pt x="4398155" y="6532681"/>
                  <a:pt x="4401217" y="6534810"/>
                  <a:pt x="4403746" y="6537473"/>
                </a:cubicBezTo>
                <a:cubicBezTo>
                  <a:pt x="4406275" y="6540002"/>
                  <a:pt x="4408405" y="6543197"/>
                  <a:pt x="4409869" y="6546791"/>
                </a:cubicBezTo>
                <a:cubicBezTo>
                  <a:pt x="4411334" y="6550385"/>
                  <a:pt x="4412132" y="6554246"/>
                  <a:pt x="4412132" y="6558239"/>
                </a:cubicBezTo>
                <a:cubicBezTo>
                  <a:pt x="4412132" y="6562366"/>
                  <a:pt x="4411334" y="6566359"/>
                  <a:pt x="4409869" y="6569954"/>
                </a:cubicBezTo>
                <a:cubicBezTo>
                  <a:pt x="4408405" y="6573548"/>
                  <a:pt x="4406275" y="6576610"/>
                  <a:pt x="4403746" y="6579272"/>
                </a:cubicBezTo>
                <a:cubicBezTo>
                  <a:pt x="4401083" y="6581935"/>
                  <a:pt x="4398022" y="6584065"/>
                  <a:pt x="4394428" y="6585529"/>
                </a:cubicBezTo>
                <a:cubicBezTo>
                  <a:pt x="4390834" y="6586993"/>
                  <a:pt x="4386973" y="6587792"/>
                  <a:pt x="4382713" y="6587792"/>
                </a:cubicBezTo>
                <a:cubicBezTo>
                  <a:pt x="4373661" y="6587792"/>
                  <a:pt x="4366473" y="6584863"/>
                  <a:pt x="4360881" y="6579272"/>
                </a:cubicBezTo>
                <a:cubicBezTo>
                  <a:pt x="4355290" y="6573682"/>
                  <a:pt x="4352495" y="6566625"/>
                  <a:pt x="4352495" y="6558106"/>
                </a:cubicBezTo>
                <a:cubicBezTo>
                  <a:pt x="4352495" y="6549853"/>
                  <a:pt x="4355290" y="6542798"/>
                  <a:pt x="4360881" y="6537074"/>
                </a:cubicBezTo>
                <a:cubicBezTo>
                  <a:pt x="4366473" y="6531350"/>
                  <a:pt x="4373661" y="6528554"/>
                  <a:pt x="4382713" y="6528554"/>
                </a:cubicBezTo>
                <a:close/>
                <a:moveTo>
                  <a:pt x="4165068" y="6528554"/>
                </a:moveTo>
                <a:cubicBezTo>
                  <a:pt x="4169327" y="6528554"/>
                  <a:pt x="4173188" y="6529353"/>
                  <a:pt x="4176782" y="6531083"/>
                </a:cubicBezTo>
                <a:cubicBezTo>
                  <a:pt x="4180509" y="6532681"/>
                  <a:pt x="4183571" y="6534810"/>
                  <a:pt x="4186100" y="6537473"/>
                </a:cubicBezTo>
                <a:cubicBezTo>
                  <a:pt x="4188629" y="6540002"/>
                  <a:pt x="4190759" y="6543197"/>
                  <a:pt x="4192223" y="6546791"/>
                </a:cubicBezTo>
                <a:cubicBezTo>
                  <a:pt x="4193688" y="6550385"/>
                  <a:pt x="4194486" y="6554246"/>
                  <a:pt x="4194486" y="6558239"/>
                </a:cubicBezTo>
                <a:cubicBezTo>
                  <a:pt x="4194486" y="6562366"/>
                  <a:pt x="4193688" y="6566359"/>
                  <a:pt x="4192223" y="6569954"/>
                </a:cubicBezTo>
                <a:cubicBezTo>
                  <a:pt x="4190759" y="6573548"/>
                  <a:pt x="4188629" y="6576610"/>
                  <a:pt x="4186100" y="6579272"/>
                </a:cubicBezTo>
                <a:cubicBezTo>
                  <a:pt x="4183438" y="6581935"/>
                  <a:pt x="4180376" y="6584065"/>
                  <a:pt x="4176782" y="6585529"/>
                </a:cubicBezTo>
                <a:cubicBezTo>
                  <a:pt x="4173188" y="6586993"/>
                  <a:pt x="4169327" y="6587792"/>
                  <a:pt x="4165068" y="6587792"/>
                </a:cubicBezTo>
                <a:cubicBezTo>
                  <a:pt x="4156015" y="6587792"/>
                  <a:pt x="4148827" y="6584863"/>
                  <a:pt x="4143235" y="6579272"/>
                </a:cubicBezTo>
                <a:cubicBezTo>
                  <a:pt x="4137645" y="6573682"/>
                  <a:pt x="4134849" y="6566625"/>
                  <a:pt x="4134849" y="6558106"/>
                </a:cubicBezTo>
                <a:cubicBezTo>
                  <a:pt x="4134849" y="6549853"/>
                  <a:pt x="4137645" y="6542798"/>
                  <a:pt x="4143235" y="6537074"/>
                </a:cubicBezTo>
                <a:cubicBezTo>
                  <a:pt x="4148827" y="6531350"/>
                  <a:pt x="4156015" y="6528554"/>
                  <a:pt x="4165068" y="6528554"/>
                </a:cubicBezTo>
                <a:close/>
                <a:moveTo>
                  <a:pt x="3947779" y="6528554"/>
                </a:moveTo>
                <a:cubicBezTo>
                  <a:pt x="3952041" y="6528554"/>
                  <a:pt x="3955902" y="6529353"/>
                  <a:pt x="3959498" y="6531083"/>
                </a:cubicBezTo>
                <a:cubicBezTo>
                  <a:pt x="3963226" y="6532681"/>
                  <a:pt x="3966287" y="6534810"/>
                  <a:pt x="3968816" y="6537473"/>
                </a:cubicBezTo>
                <a:cubicBezTo>
                  <a:pt x="3971346" y="6540002"/>
                  <a:pt x="3973476" y="6543197"/>
                  <a:pt x="3974940" y="6546791"/>
                </a:cubicBezTo>
                <a:cubicBezTo>
                  <a:pt x="3976404" y="6550385"/>
                  <a:pt x="3977203" y="6554246"/>
                  <a:pt x="3977203" y="6558239"/>
                </a:cubicBezTo>
                <a:cubicBezTo>
                  <a:pt x="3977203" y="6562366"/>
                  <a:pt x="3976404" y="6566359"/>
                  <a:pt x="3974940" y="6569954"/>
                </a:cubicBezTo>
                <a:cubicBezTo>
                  <a:pt x="3973476" y="6573548"/>
                  <a:pt x="3971346" y="6576610"/>
                  <a:pt x="3968816" y="6579272"/>
                </a:cubicBezTo>
                <a:cubicBezTo>
                  <a:pt x="3966154" y="6581935"/>
                  <a:pt x="3963093" y="6584065"/>
                  <a:pt x="3959498" y="6585529"/>
                </a:cubicBezTo>
                <a:cubicBezTo>
                  <a:pt x="3955902" y="6586993"/>
                  <a:pt x="3952041" y="6587792"/>
                  <a:pt x="3947779" y="6587792"/>
                </a:cubicBezTo>
                <a:cubicBezTo>
                  <a:pt x="3938726" y="6587792"/>
                  <a:pt x="3931538" y="6584863"/>
                  <a:pt x="3925946" y="6579272"/>
                </a:cubicBezTo>
                <a:cubicBezTo>
                  <a:pt x="3920355" y="6573682"/>
                  <a:pt x="3917560" y="6566625"/>
                  <a:pt x="3917560" y="6558106"/>
                </a:cubicBezTo>
                <a:cubicBezTo>
                  <a:pt x="3917560" y="6549853"/>
                  <a:pt x="3920355" y="6542798"/>
                  <a:pt x="3925946" y="6537074"/>
                </a:cubicBezTo>
                <a:cubicBezTo>
                  <a:pt x="3931538" y="6531350"/>
                  <a:pt x="3938726" y="6528554"/>
                  <a:pt x="3947779" y="6528554"/>
                </a:cubicBezTo>
                <a:close/>
                <a:moveTo>
                  <a:pt x="3730118" y="6528554"/>
                </a:moveTo>
                <a:cubicBezTo>
                  <a:pt x="3734379" y="6528554"/>
                  <a:pt x="3738372" y="6529353"/>
                  <a:pt x="3741834" y="6531083"/>
                </a:cubicBezTo>
                <a:cubicBezTo>
                  <a:pt x="3745428" y="6532681"/>
                  <a:pt x="3748623" y="6534810"/>
                  <a:pt x="3751152" y="6537473"/>
                </a:cubicBezTo>
                <a:cubicBezTo>
                  <a:pt x="3753682" y="6540002"/>
                  <a:pt x="3755811" y="6543197"/>
                  <a:pt x="3757275" y="6546791"/>
                </a:cubicBezTo>
                <a:cubicBezTo>
                  <a:pt x="3758739" y="6550385"/>
                  <a:pt x="3759538" y="6554246"/>
                  <a:pt x="3759538" y="6558239"/>
                </a:cubicBezTo>
                <a:cubicBezTo>
                  <a:pt x="3759538" y="6562366"/>
                  <a:pt x="3758739" y="6566359"/>
                  <a:pt x="3757275" y="6569954"/>
                </a:cubicBezTo>
                <a:cubicBezTo>
                  <a:pt x="3755811" y="6573548"/>
                  <a:pt x="3753682" y="6576610"/>
                  <a:pt x="3751152" y="6579272"/>
                </a:cubicBezTo>
                <a:cubicBezTo>
                  <a:pt x="3748489" y="6581935"/>
                  <a:pt x="3745428" y="6584065"/>
                  <a:pt x="3741834" y="6585529"/>
                </a:cubicBezTo>
                <a:cubicBezTo>
                  <a:pt x="3738240" y="6586993"/>
                  <a:pt x="3734379" y="6587792"/>
                  <a:pt x="3730118" y="6587792"/>
                </a:cubicBezTo>
                <a:cubicBezTo>
                  <a:pt x="3721066" y="6587792"/>
                  <a:pt x="3713876" y="6584863"/>
                  <a:pt x="3708276" y="6579272"/>
                </a:cubicBezTo>
                <a:cubicBezTo>
                  <a:pt x="3702684" y="6573682"/>
                  <a:pt x="3699890" y="6566625"/>
                  <a:pt x="3699890" y="6558106"/>
                </a:cubicBezTo>
                <a:cubicBezTo>
                  <a:pt x="3699890" y="6549853"/>
                  <a:pt x="3702684" y="6542798"/>
                  <a:pt x="3708276" y="6537074"/>
                </a:cubicBezTo>
                <a:cubicBezTo>
                  <a:pt x="3713876" y="6531350"/>
                  <a:pt x="3721066" y="6528554"/>
                  <a:pt x="3730118" y="6528554"/>
                </a:cubicBezTo>
                <a:close/>
                <a:moveTo>
                  <a:pt x="3512454" y="6528554"/>
                </a:moveTo>
                <a:cubicBezTo>
                  <a:pt x="3516715" y="6528554"/>
                  <a:pt x="3520708" y="6529353"/>
                  <a:pt x="3524170" y="6531083"/>
                </a:cubicBezTo>
                <a:cubicBezTo>
                  <a:pt x="3527764" y="6532681"/>
                  <a:pt x="3530959" y="6534810"/>
                  <a:pt x="3533488" y="6537473"/>
                </a:cubicBezTo>
                <a:cubicBezTo>
                  <a:pt x="3536017" y="6540002"/>
                  <a:pt x="3538148" y="6543197"/>
                  <a:pt x="3539612" y="6546791"/>
                </a:cubicBezTo>
                <a:cubicBezTo>
                  <a:pt x="3541076" y="6550385"/>
                  <a:pt x="3541875" y="6554246"/>
                  <a:pt x="3541875" y="6558239"/>
                </a:cubicBezTo>
                <a:cubicBezTo>
                  <a:pt x="3541875" y="6562366"/>
                  <a:pt x="3541076" y="6566359"/>
                  <a:pt x="3539612" y="6569954"/>
                </a:cubicBezTo>
                <a:cubicBezTo>
                  <a:pt x="3538148" y="6573548"/>
                  <a:pt x="3536017" y="6576610"/>
                  <a:pt x="3533488" y="6579272"/>
                </a:cubicBezTo>
                <a:cubicBezTo>
                  <a:pt x="3530825" y="6581935"/>
                  <a:pt x="3527764" y="6584065"/>
                  <a:pt x="3524170" y="6585529"/>
                </a:cubicBezTo>
                <a:cubicBezTo>
                  <a:pt x="3520576" y="6586993"/>
                  <a:pt x="3516715" y="6587792"/>
                  <a:pt x="3512454" y="6587792"/>
                </a:cubicBezTo>
                <a:cubicBezTo>
                  <a:pt x="3503398" y="6587792"/>
                  <a:pt x="3496207" y="6584863"/>
                  <a:pt x="3490617" y="6579272"/>
                </a:cubicBezTo>
                <a:cubicBezTo>
                  <a:pt x="3485026" y="6573682"/>
                  <a:pt x="3482230" y="6566625"/>
                  <a:pt x="3482230" y="6558106"/>
                </a:cubicBezTo>
                <a:cubicBezTo>
                  <a:pt x="3482230" y="6549853"/>
                  <a:pt x="3485026" y="6542798"/>
                  <a:pt x="3490617" y="6537074"/>
                </a:cubicBezTo>
                <a:cubicBezTo>
                  <a:pt x="3496207" y="6531350"/>
                  <a:pt x="3503398" y="6528554"/>
                  <a:pt x="3512454" y="6528554"/>
                </a:cubicBezTo>
                <a:close/>
                <a:moveTo>
                  <a:pt x="3294924" y="6528554"/>
                </a:moveTo>
                <a:cubicBezTo>
                  <a:pt x="3299051" y="6528554"/>
                  <a:pt x="3303045" y="6529353"/>
                  <a:pt x="3306640" y="6531083"/>
                </a:cubicBezTo>
                <a:cubicBezTo>
                  <a:pt x="3310367" y="6532681"/>
                  <a:pt x="3313429" y="6534810"/>
                  <a:pt x="3315958" y="6537473"/>
                </a:cubicBezTo>
                <a:cubicBezTo>
                  <a:pt x="3318487" y="6540002"/>
                  <a:pt x="3320617" y="6543197"/>
                  <a:pt x="3322081" y="6546791"/>
                </a:cubicBezTo>
                <a:cubicBezTo>
                  <a:pt x="3323545" y="6550385"/>
                  <a:pt x="3324344" y="6554246"/>
                  <a:pt x="3324344" y="6558239"/>
                </a:cubicBezTo>
                <a:cubicBezTo>
                  <a:pt x="3324344" y="6562366"/>
                  <a:pt x="3323545" y="6566359"/>
                  <a:pt x="3322081" y="6569954"/>
                </a:cubicBezTo>
                <a:cubicBezTo>
                  <a:pt x="3320617" y="6573548"/>
                  <a:pt x="3318487" y="6576610"/>
                  <a:pt x="3315958" y="6579272"/>
                </a:cubicBezTo>
                <a:cubicBezTo>
                  <a:pt x="3313295" y="6581935"/>
                  <a:pt x="3310233" y="6584065"/>
                  <a:pt x="3306640" y="6585529"/>
                </a:cubicBezTo>
                <a:cubicBezTo>
                  <a:pt x="3303045" y="6586993"/>
                  <a:pt x="3299185" y="6587792"/>
                  <a:pt x="3294924" y="6587792"/>
                </a:cubicBezTo>
                <a:cubicBezTo>
                  <a:pt x="3285869" y="6587792"/>
                  <a:pt x="3278680" y="6584863"/>
                  <a:pt x="3273085" y="6579272"/>
                </a:cubicBezTo>
                <a:cubicBezTo>
                  <a:pt x="3267491" y="6573682"/>
                  <a:pt x="3264696" y="6566625"/>
                  <a:pt x="3264696" y="6558106"/>
                </a:cubicBezTo>
                <a:cubicBezTo>
                  <a:pt x="3264696" y="6549853"/>
                  <a:pt x="3267491" y="6542798"/>
                  <a:pt x="3273085" y="6537074"/>
                </a:cubicBezTo>
                <a:cubicBezTo>
                  <a:pt x="3278680" y="6531350"/>
                  <a:pt x="3285869" y="6528554"/>
                  <a:pt x="3294924" y="6528554"/>
                </a:cubicBezTo>
                <a:close/>
                <a:moveTo>
                  <a:pt x="3077260" y="6528554"/>
                </a:moveTo>
                <a:cubicBezTo>
                  <a:pt x="3081388" y="6528554"/>
                  <a:pt x="3085381" y="6529353"/>
                  <a:pt x="3088976" y="6531083"/>
                </a:cubicBezTo>
                <a:cubicBezTo>
                  <a:pt x="3092570" y="6532681"/>
                  <a:pt x="3095765" y="6534810"/>
                  <a:pt x="3098294" y="6537473"/>
                </a:cubicBezTo>
                <a:cubicBezTo>
                  <a:pt x="3100823" y="6540002"/>
                  <a:pt x="3102953" y="6543197"/>
                  <a:pt x="3104417" y="6546791"/>
                </a:cubicBezTo>
                <a:cubicBezTo>
                  <a:pt x="3105882" y="6550385"/>
                  <a:pt x="3106680" y="6554246"/>
                  <a:pt x="3106680" y="6558239"/>
                </a:cubicBezTo>
                <a:cubicBezTo>
                  <a:pt x="3106680" y="6562366"/>
                  <a:pt x="3105882" y="6566359"/>
                  <a:pt x="3104417" y="6569954"/>
                </a:cubicBezTo>
                <a:cubicBezTo>
                  <a:pt x="3102953" y="6573548"/>
                  <a:pt x="3100823" y="6576610"/>
                  <a:pt x="3098294" y="6579272"/>
                </a:cubicBezTo>
                <a:cubicBezTo>
                  <a:pt x="3095631" y="6581935"/>
                  <a:pt x="3092570" y="6584065"/>
                  <a:pt x="3088976" y="6585529"/>
                </a:cubicBezTo>
                <a:cubicBezTo>
                  <a:pt x="3085381" y="6586993"/>
                  <a:pt x="3081520" y="6587792"/>
                  <a:pt x="3077260" y="6587792"/>
                </a:cubicBezTo>
                <a:cubicBezTo>
                  <a:pt x="3068340" y="6587792"/>
                  <a:pt x="3061016" y="6584863"/>
                  <a:pt x="3055421" y="6579272"/>
                </a:cubicBezTo>
                <a:cubicBezTo>
                  <a:pt x="3049830" y="6573682"/>
                  <a:pt x="3047034" y="6566625"/>
                  <a:pt x="3047034" y="6558106"/>
                </a:cubicBezTo>
                <a:cubicBezTo>
                  <a:pt x="3047034" y="6549853"/>
                  <a:pt x="3049830" y="6542798"/>
                  <a:pt x="3055421" y="6537074"/>
                </a:cubicBezTo>
                <a:cubicBezTo>
                  <a:pt x="3061016" y="6531350"/>
                  <a:pt x="3068207" y="6528554"/>
                  <a:pt x="3077260" y="6528554"/>
                </a:cubicBezTo>
                <a:close/>
                <a:moveTo>
                  <a:pt x="2859597" y="6528554"/>
                </a:moveTo>
                <a:cubicBezTo>
                  <a:pt x="2863857" y="6528554"/>
                  <a:pt x="2867718" y="6529353"/>
                  <a:pt x="2871445" y="6531083"/>
                </a:cubicBezTo>
                <a:cubicBezTo>
                  <a:pt x="2875172" y="6532681"/>
                  <a:pt x="2878234" y="6534810"/>
                  <a:pt x="2880763" y="6537473"/>
                </a:cubicBezTo>
                <a:cubicBezTo>
                  <a:pt x="2883425" y="6540002"/>
                  <a:pt x="2885422" y="6543197"/>
                  <a:pt x="2886886" y="6546791"/>
                </a:cubicBezTo>
                <a:cubicBezTo>
                  <a:pt x="2888351" y="6550385"/>
                  <a:pt x="2889149" y="6554246"/>
                  <a:pt x="2889149" y="6558239"/>
                </a:cubicBezTo>
                <a:cubicBezTo>
                  <a:pt x="2889149" y="6562366"/>
                  <a:pt x="2888351" y="6566359"/>
                  <a:pt x="2886886" y="6569954"/>
                </a:cubicBezTo>
                <a:cubicBezTo>
                  <a:pt x="2885422" y="6573548"/>
                  <a:pt x="2883292" y="6576610"/>
                  <a:pt x="2880763" y="6579272"/>
                </a:cubicBezTo>
                <a:cubicBezTo>
                  <a:pt x="2878101" y="6581935"/>
                  <a:pt x="2875038" y="6584065"/>
                  <a:pt x="2871445" y="6585529"/>
                </a:cubicBezTo>
                <a:cubicBezTo>
                  <a:pt x="2867718" y="6586993"/>
                  <a:pt x="2863857" y="6587792"/>
                  <a:pt x="2859597" y="6587792"/>
                </a:cubicBezTo>
                <a:cubicBezTo>
                  <a:pt x="2850679" y="6587792"/>
                  <a:pt x="2843351" y="6584863"/>
                  <a:pt x="2837757" y="6579272"/>
                </a:cubicBezTo>
                <a:cubicBezTo>
                  <a:pt x="2832166" y="6573682"/>
                  <a:pt x="2829370" y="6566625"/>
                  <a:pt x="2829370" y="6558106"/>
                </a:cubicBezTo>
                <a:cubicBezTo>
                  <a:pt x="2829370" y="6549853"/>
                  <a:pt x="2832166" y="6542798"/>
                  <a:pt x="2837757" y="6537074"/>
                </a:cubicBezTo>
                <a:cubicBezTo>
                  <a:pt x="2843351" y="6531350"/>
                  <a:pt x="2850545" y="6528554"/>
                  <a:pt x="2859597" y="6528554"/>
                </a:cubicBezTo>
                <a:close/>
                <a:moveTo>
                  <a:pt x="2641933" y="6528554"/>
                </a:moveTo>
                <a:cubicBezTo>
                  <a:pt x="2646193" y="6528554"/>
                  <a:pt x="2650053" y="6529353"/>
                  <a:pt x="2653648" y="6531083"/>
                </a:cubicBezTo>
                <a:cubicBezTo>
                  <a:pt x="2657375" y="6532681"/>
                  <a:pt x="2660437" y="6534810"/>
                  <a:pt x="2662966" y="6537473"/>
                </a:cubicBezTo>
                <a:cubicBezTo>
                  <a:pt x="2665628" y="6540002"/>
                  <a:pt x="2667625" y="6543197"/>
                  <a:pt x="2669089" y="6546791"/>
                </a:cubicBezTo>
                <a:cubicBezTo>
                  <a:pt x="2670553" y="6550385"/>
                  <a:pt x="2671352" y="6554246"/>
                  <a:pt x="2671352" y="6558239"/>
                </a:cubicBezTo>
                <a:cubicBezTo>
                  <a:pt x="2671352" y="6562366"/>
                  <a:pt x="2670553" y="6566359"/>
                  <a:pt x="2669089" y="6569954"/>
                </a:cubicBezTo>
                <a:cubicBezTo>
                  <a:pt x="2667625" y="6573548"/>
                  <a:pt x="2665495" y="6576610"/>
                  <a:pt x="2662966" y="6579272"/>
                </a:cubicBezTo>
                <a:cubicBezTo>
                  <a:pt x="2660437" y="6581935"/>
                  <a:pt x="2657242" y="6584065"/>
                  <a:pt x="2653648" y="6585529"/>
                </a:cubicBezTo>
                <a:cubicBezTo>
                  <a:pt x="2650053" y="6586993"/>
                  <a:pt x="2646193" y="6587792"/>
                  <a:pt x="2641933" y="6587792"/>
                </a:cubicBezTo>
                <a:cubicBezTo>
                  <a:pt x="2633013" y="6587792"/>
                  <a:pt x="2625691" y="6584863"/>
                  <a:pt x="2620099" y="6579272"/>
                </a:cubicBezTo>
                <a:cubicBezTo>
                  <a:pt x="2614507" y="6573682"/>
                  <a:pt x="2611708" y="6566625"/>
                  <a:pt x="2611708" y="6558106"/>
                </a:cubicBezTo>
                <a:cubicBezTo>
                  <a:pt x="2611708" y="6549853"/>
                  <a:pt x="2614507" y="6542798"/>
                  <a:pt x="2620099" y="6537074"/>
                </a:cubicBezTo>
                <a:cubicBezTo>
                  <a:pt x="2625691" y="6531350"/>
                  <a:pt x="2632881" y="6528554"/>
                  <a:pt x="2641933" y="6528554"/>
                </a:cubicBezTo>
                <a:close/>
                <a:moveTo>
                  <a:pt x="2424268" y="6528554"/>
                </a:moveTo>
                <a:cubicBezTo>
                  <a:pt x="2428529" y="6528554"/>
                  <a:pt x="2432523" y="6529353"/>
                  <a:pt x="2435984" y="6531083"/>
                </a:cubicBezTo>
                <a:cubicBezTo>
                  <a:pt x="2439711" y="6532681"/>
                  <a:pt x="2442773" y="6534810"/>
                  <a:pt x="2445302" y="6537473"/>
                </a:cubicBezTo>
                <a:cubicBezTo>
                  <a:pt x="2447964" y="6540002"/>
                  <a:pt x="2449961" y="6543197"/>
                  <a:pt x="2451425" y="6546791"/>
                </a:cubicBezTo>
                <a:cubicBezTo>
                  <a:pt x="2452889" y="6550385"/>
                  <a:pt x="2453688" y="6554246"/>
                  <a:pt x="2453688" y="6558239"/>
                </a:cubicBezTo>
                <a:cubicBezTo>
                  <a:pt x="2453688" y="6562366"/>
                  <a:pt x="2452889" y="6566359"/>
                  <a:pt x="2451425" y="6569954"/>
                </a:cubicBezTo>
                <a:cubicBezTo>
                  <a:pt x="2449961" y="6573548"/>
                  <a:pt x="2447831" y="6576610"/>
                  <a:pt x="2445302" y="6579272"/>
                </a:cubicBezTo>
                <a:cubicBezTo>
                  <a:pt x="2442773" y="6581935"/>
                  <a:pt x="2439578" y="6584065"/>
                  <a:pt x="2435984" y="6585529"/>
                </a:cubicBezTo>
                <a:cubicBezTo>
                  <a:pt x="2432390" y="6586993"/>
                  <a:pt x="2428529" y="6587792"/>
                  <a:pt x="2424268" y="6587792"/>
                </a:cubicBezTo>
                <a:cubicBezTo>
                  <a:pt x="2415351" y="6587792"/>
                  <a:pt x="2408028" y="6584863"/>
                  <a:pt x="2402437" y="6579272"/>
                </a:cubicBezTo>
                <a:cubicBezTo>
                  <a:pt x="2396843" y="6573682"/>
                  <a:pt x="2394047" y="6566625"/>
                  <a:pt x="2394047" y="6558106"/>
                </a:cubicBezTo>
                <a:cubicBezTo>
                  <a:pt x="2394047" y="6549853"/>
                  <a:pt x="2396843" y="6542798"/>
                  <a:pt x="2402437" y="6537074"/>
                </a:cubicBezTo>
                <a:cubicBezTo>
                  <a:pt x="2408028" y="6531350"/>
                  <a:pt x="2415217" y="6528554"/>
                  <a:pt x="2424268" y="6528554"/>
                </a:cubicBezTo>
                <a:close/>
                <a:moveTo>
                  <a:pt x="2206605" y="6528554"/>
                </a:moveTo>
                <a:cubicBezTo>
                  <a:pt x="2210865" y="6528554"/>
                  <a:pt x="2214859" y="6529353"/>
                  <a:pt x="2218320" y="6531083"/>
                </a:cubicBezTo>
                <a:cubicBezTo>
                  <a:pt x="2222047" y="6532681"/>
                  <a:pt x="2225108" y="6534810"/>
                  <a:pt x="2227639" y="6537473"/>
                </a:cubicBezTo>
                <a:cubicBezTo>
                  <a:pt x="2230300" y="6540002"/>
                  <a:pt x="2232297" y="6543197"/>
                  <a:pt x="2233761" y="6546791"/>
                </a:cubicBezTo>
                <a:cubicBezTo>
                  <a:pt x="2235225" y="6550385"/>
                  <a:pt x="2236024" y="6554246"/>
                  <a:pt x="2236024" y="6558239"/>
                </a:cubicBezTo>
                <a:cubicBezTo>
                  <a:pt x="2236024" y="6562366"/>
                  <a:pt x="2235225" y="6566359"/>
                  <a:pt x="2233761" y="6569954"/>
                </a:cubicBezTo>
                <a:cubicBezTo>
                  <a:pt x="2232297" y="6573548"/>
                  <a:pt x="2230167" y="6576610"/>
                  <a:pt x="2227639" y="6579272"/>
                </a:cubicBezTo>
                <a:cubicBezTo>
                  <a:pt x="2225108" y="6581935"/>
                  <a:pt x="2221914" y="6584065"/>
                  <a:pt x="2218320" y="6585529"/>
                </a:cubicBezTo>
                <a:cubicBezTo>
                  <a:pt x="2214725" y="6586993"/>
                  <a:pt x="2210865" y="6587792"/>
                  <a:pt x="2206605" y="6587792"/>
                </a:cubicBezTo>
                <a:cubicBezTo>
                  <a:pt x="2197553" y="6587792"/>
                  <a:pt x="2190364" y="6584863"/>
                  <a:pt x="2184772" y="6579272"/>
                </a:cubicBezTo>
                <a:cubicBezTo>
                  <a:pt x="2179180" y="6573682"/>
                  <a:pt x="2176383" y="6566625"/>
                  <a:pt x="2176383" y="6558106"/>
                </a:cubicBezTo>
                <a:cubicBezTo>
                  <a:pt x="2176383" y="6549853"/>
                  <a:pt x="2179180" y="6542798"/>
                  <a:pt x="2184772" y="6537074"/>
                </a:cubicBezTo>
                <a:cubicBezTo>
                  <a:pt x="2190364" y="6531350"/>
                  <a:pt x="2197553" y="6528554"/>
                  <a:pt x="2206605" y="6528554"/>
                </a:cubicBezTo>
                <a:close/>
                <a:moveTo>
                  <a:pt x="1989074" y="6528554"/>
                </a:moveTo>
                <a:cubicBezTo>
                  <a:pt x="1993201" y="6528554"/>
                  <a:pt x="1997195" y="6529353"/>
                  <a:pt x="2000789" y="6531083"/>
                </a:cubicBezTo>
                <a:cubicBezTo>
                  <a:pt x="2004516" y="6532681"/>
                  <a:pt x="2007578" y="6534810"/>
                  <a:pt x="2010107" y="6537473"/>
                </a:cubicBezTo>
                <a:cubicBezTo>
                  <a:pt x="2012769" y="6540002"/>
                  <a:pt x="2014767" y="6543197"/>
                  <a:pt x="2016230" y="6546791"/>
                </a:cubicBezTo>
                <a:cubicBezTo>
                  <a:pt x="2017694" y="6550385"/>
                  <a:pt x="2018493" y="6554246"/>
                  <a:pt x="2018493" y="6558239"/>
                </a:cubicBezTo>
                <a:cubicBezTo>
                  <a:pt x="2018493" y="6562366"/>
                  <a:pt x="2017694" y="6566359"/>
                  <a:pt x="2016230" y="6569954"/>
                </a:cubicBezTo>
                <a:cubicBezTo>
                  <a:pt x="2014767" y="6573548"/>
                  <a:pt x="2012636" y="6576610"/>
                  <a:pt x="2010107" y="6579272"/>
                </a:cubicBezTo>
                <a:cubicBezTo>
                  <a:pt x="2007578" y="6581935"/>
                  <a:pt x="2004383" y="6584065"/>
                  <a:pt x="2000789" y="6585529"/>
                </a:cubicBezTo>
                <a:cubicBezTo>
                  <a:pt x="1997195" y="6586993"/>
                  <a:pt x="1993334" y="6587792"/>
                  <a:pt x="1989074" y="6587792"/>
                </a:cubicBezTo>
                <a:cubicBezTo>
                  <a:pt x="1980023" y="6587792"/>
                  <a:pt x="1972834" y="6584863"/>
                  <a:pt x="1967243" y="6579272"/>
                </a:cubicBezTo>
                <a:cubicBezTo>
                  <a:pt x="1961652" y="6573682"/>
                  <a:pt x="1958856" y="6566625"/>
                  <a:pt x="1958856" y="6558106"/>
                </a:cubicBezTo>
                <a:cubicBezTo>
                  <a:pt x="1958856" y="6549853"/>
                  <a:pt x="1961652" y="6542798"/>
                  <a:pt x="1967243" y="6537074"/>
                </a:cubicBezTo>
                <a:cubicBezTo>
                  <a:pt x="1972834" y="6531350"/>
                  <a:pt x="1980023" y="6528554"/>
                  <a:pt x="1989074" y="6528554"/>
                </a:cubicBezTo>
                <a:close/>
                <a:moveTo>
                  <a:pt x="1771442" y="6528554"/>
                </a:moveTo>
                <a:cubicBezTo>
                  <a:pt x="1775701" y="6528554"/>
                  <a:pt x="1779560" y="6529353"/>
                  <a:pt x="1783156" y="6531083"/>
                </a:cubicBezTo>
                <a:cubicBezTo>
                  <a:pt x="1786883" y="6532681"/>
                  <a:pt x="1789945" y="6534810"/>
                  <a:pt x="1792474" y="6537473"/>
                </a:cubicBezTo>
                <a:cubicBezTo>
                  <a:pt x="1795136" y="6540002"/>
                  <a:pt x="1797133" y="6543197"/>
                  <a:pt x="1798597" y="6546791"/>
                </a:cubicBezTo>
                <a:cubicBezTo>
                  <a:pt x="1800060" y="6550385"/>
                  <a:pt x="1800859" y="6554246"/>
                  <a:pt x="1800859" y="6558239"/>
                </a:cubicBezTo>
                <a:cubicBezTo>
                  <a:pt x="1800859" y="6562366"/>
                  <a:pt x="1800060" y="6566359"/>
                  <a:pt x="1798597" y="6569954"/>
                </a:cubicBezTo>
                <a:cubicBezTo>
                  <a:pt x="1797133" y="6573548"/>
                  <a:pt x="1795003" y="6576610"/>
                  <a:pt x="1792474" y="6579272"/>
                </a:cubicBezTo>
                <a:cubicBezTo>
                  <a:pt x="1789811" y="6581935"/>
                  <a:pt x="1786750" y="6584065"/>
                  <a:pt x="1783156" y="6585529"/>
                </a:cubicBezTo>
                <a:cubicBezTo>
                  <a:pt x="1779560" y="6586993"/>
                  <a:pt x="1775701" y="6587792"/>
                  <a:pt x="1771442" y="6587792"/>
                </a:cubicBezTo>
                <a:cubicBezTo>
                  <a:pt x="1762523" y="6587792"/>
                  <a:pt x="1755204" y="6584863"/>
                  <a:pt x="1749613" y="6579272"/>
                </a:cubicBezTo>
                <a:cubicBezTo>
                  <a:pt x="1744023" y="6573682"/>
                  <a:pt x="1741231" y="6566625"/>
                  <a:pt x="1741231" y="6558106"/>
                </a:cubicBezTo>
                <a:cubicBezTo>
                  <a:pt x="1741231" y="6549853"/>
                  <a:pt x="1744023" y="6542798"/>
                  <a:pt x="1749613" y="6537074"/>
                </a:cubicBezTo>
                <a:cubicBezTo>
                  <a:pt x="1755204" y="6531350"/>
                  <a:pt x="1762390" y="6528554"/>
                  <a:pt x="1771442" y="6528554"/>
                </a:cubicBezTo>
                <a:close/>
                <a:moveTo>
                  <a:pt x="1553807" y="6528554"/>
                </a:moveTo>
                <a:cubicBezTo>
                  <a:pt x="1558066" y="6528554"/>
                  <a:pt x="1561927" y="6529353"/>
                  <a:pt x="1565521" y="6531083"/>
                </a:cubicBezTo>
                <a:cubicBezTo>
                  <a:pt x="1569116" y="6532681"/>
                  <a:pt x="1572310" y="6534810"/>
                  <a:pt x="1574840" y="6537473"/>
                </a:cubicBezTo>
                <a:cubicBezTo>
                  <a:pt x="1577501" y="6540002"/>
                  <a:pt x="1579499" y="6543197"/>
                  <a:pt x="1580963" y="6546791"/>
                </a:cubicBezTo>
                <a:cubicBezTo>
                  <a:pt x="1582427" y="6550385"/>
                  <a:pt x="1583226" y="6554246"/>
                  <a:pt x="1583226" y="6558239"/>
                </a:cubicBezTo>
                <a:cubicBezTo>
                  <a:pt x="1583226" y="6562366"/>
                  <a:pt x="1582427" y="6566359"/>
                  <a:pt x="1580963" y="6569954"/>
                </a:cubicBezTo>
                <a:cubicBezTo>
                  <a:pt x="1579499" y="6573548"/>
                  <a:pt x="1577369" y="6576610"/>
                  <a:pt x="1574840" y="6579272"/>
                </a:cubicBezTo>
                <a:cubicBezTo>
                  <a:pt x="1572177" y="6581935"/>
                  <a:pt x="1569116" y="6584065"/>
                  <a:pt x="1565521" y="6585529"/>
                </a:cubicBezTo>
                <a:cubicBezTo>
                  <a:pt x="1561927" y="6586993"/>
                  <a:pt x="1558066" y="6587792"/>
                  <a:pt x="1553807" y="6587792"/>
                </a:cubicBezTo>
                <a:cubicBezTo>
                  <a:pt x="1544888" y="6587792"/>
                  <a:pt x="1537567" y="6584863"/>
                  <a:pt x="1531978" y="6579272"/>
                </a:cubicBezTo>
                <a:cubicBezTo>
                  <a:pt x="1526389" y="6573682"/>
                  <a:pt x="1523592" y="6566625"/>
                  <a:pt x="1523592" y="6558106"/>
                </a:cubicBezTo>
                <a:cubicBezTo>
                  <a:pt x="1523592" y="6549853"/>
                  <a:pt x="1526389" y="6542798"/>
                  <a:pt x="1531978" y="6537074"/>
                </a:cubicBezTo>
                <a:cubicBezTo>
                  <a:pt x="1537567" y="6531350"/>
                  <a:pt x="1544754" y="6528554"/>
                  <a:pt x="1553807" y="6528554"/>
                </a:cubicBezTo>
                <a:close/>
                <a:moveTo>
                  <a:pt x="1336163" y="6528554"/>
                </a:moveTo>
                <a:cubicBezTo>
                  <a:pt x="1340423" y="6528554"/>
                  <a:pt x="1344419" y="6529353"/>
                  <a:pt x="1347879" y="6531083"/>
                </a:cubicBezTo>
                <a:cubicBezTo>
                  <a:pt x="1351472" y="6532681"/>
                  <a:pt x="1354667" y="6534810"/>
                  <a:pt x="1357197" y="6537473"/>
                </a:cubicBezTo>
                <a:cubicBezTo>
                  <a:pt x="1359859" y="6540002"/>
                  <a:pt x="1361856" y="6543197"/>
                  <a:pt x="1363320" y="6546791"/>
                </a:cubicBezTo>
                <a:cubicBezTo>
                  <a:pt x="1364784" y="6550385"/>
                  <a:pt x="1365582" y="6554246"/>
                  <a:pt x="1365582" y="6558239"/>
                </a:cubicBezTo>
                <a:cubicBezTo>
                  <a:pt x="1365582" y="6562366"/>
                  <a:pt x="1364784" y="6566359"/>
                  <a:pt x="1363320" y="6569954"/>
                </a:cubicBezTo>
                <a:cubicBezTo>
                  <a:pt x="1361856" y="6573548"/>
                  <a:pt x="1359726" y="6576610"/>
                  <a:pt x="1357197" y="6579272"/>
                </a:cubicBezTo>
                <a:cubicBezTo>
                  <a:pt x="1354533" y="6581935"/>
                  <a:pt x="1351472" y="6584065"/>
                  <a:pt x="1347879" y="6585529"/>
                </a:cubicBezTo>
                <a:cubicBezTo>
                  <a:pt x="1344285" y="6586993"/>
                  <a:pt x="1340423" y="6587792"/>
                  <a:pt x="1336163" y="6587792"/>
                </a:cubicBezTo>
                <a:cubicBezTo>
                  <a:pt x="1327243" y="6587792"/>
                  <a:pt x="1319922" y="6584863"/>
                  <a:pt x="1314330" y="6579272"/>
                </a:cubicBezTo>
                <a:cubicBezTo>
                  <a:pt x="1308741" y="6573682"/>
                  <a:pt x="1305945" y="6566625"/>
                  <a:pt x="1305945" y="6558106"/>
                </a:cubicBezTo>
                <a:cubicBezTo>
                  <a:pt x="1305945" y="6549853"/>
                  <a:pt x="1308741" y="6542798"/>
                  <a:pt x="1314330" y="6537074"/>
                </a:cubicBezTo>
                <a:cubicBezTo>
                  <a:pt x="1319922" y="6531350"/>
                  <a:pt x="1327110" y="6528554"/>
                  <a:pt x="1336163" y="6528554"/>
                </a:cubicBezTo>
                <a:close/>
                <a:moveTo>
                  <a:pt x="1118518" y="6528554"/>
                </a:moveTo>
                <a:cubicBezTo>
                  <a:pt x="1122779" y="6528554"/>
                  <a:pt x="1126775" y="6529353"/>
                  <a:pt x="1130237" y="6531083"/>
                </a:cubicBezTo>
                <a:cubicBezTo>
                  <a:pt x="1133963" y="6532681"/>
                  <a:pt x="1137025" y="6534810"/>
                  <a:pt x="1139551" y="6537473"/>
                </a:cubicBezTo>
                <a:cubicBezTo>
                  <a:pt x="1142211" y="6540002"/>
                  <a:pt x="1144207" y="6543197"/>
                  <a:pt x="1145670" y="6546791"/>
                </a:cubicBezTo>
                <a:cubicBezTo>
                  <a:pt x="1147135" y="6550385"/>
                  <a:pt x="1147933" y="6554246"/>
                  <a:pt x="1147933" y="6558239"/>
                </a:cubicBezTo>
                <a:cubicBezTo>
                  <a:pt x="1147933" y="6562366"/>
                  <a:pt x="1147135" y="6566359"/>
                  <a:pt x="1145670" y="6569954"/>
                </a:cubicBezTo>
                <a:cubicBezTo>
                  <a:pt x="1144207" y="6573548"/>
                  <a:pt x="1142079" y="6576610"/>
                  <a:pt x="1139551" y="6579272"/>
                </a:cubicBezTo>
                <a:cubicBezTo>
                  <a:pt x="1137025" y="6581935"/>
                  <a:pt x="1133830" y="6584065"/>
                  <a:pt x="1130237" y="6585529"/>
                </a:cubicBezTo>
                <a:cubicBezTo>
                  <a:pt x="1126641" y="6586993"/>
                  <a:pt x="1122779" y="6587792"/>
                  <a:pt x="1118518" y="6587792"/>
                </a:cubicBezTo>
                <a:cubicBezTo>
                  <a:pt x="1109597" y="6587792"/>
                  <a:pt x="1102273" y="6584863"/>
                  <a:pt x="1096682" y="6579272"/>
                </a:cubicBezTo>
                <a:cubicBezTo>
                  <a:pt x="1091092" y="6573682"/>
                  <a:pt x="1088298" y="6566625"/>
                  <a:pt x="1088298" y="6558106"/>
                </a:cubicBezTo>
                <a:cubicBezTo>
                  <a:pt x="1088298" y="6549853"/>
                  <a:pt x="1091092" y="6542798"/>
                  <a:pt x="1096682" y="6537074"/>
                </a:cubicBezTo>
                <a:cubicBezTo>
                  <a:pt x="1102273" y="6531350"/>
                  <a:pt x="1109464" y="6528554"/>
                  <a:pt x="1118518" y="6528554"/>
                </a:cubicBezTo>
                <a:close/>
                <a:moveTo>
                  <a:pt x="901005" y="6528554"/>
                </a:moveTo>
                <a:cubicBezTo>
                  <a:pt x="905131" y="6528554"/>
                  <a:pt x="909126" y="6529353"/>
                  <a:pt x="912720" y="6531083"/>
                </a:cubicBezTo>
                <a:cubicBezTo>
                  <a:pt x="916447" y="6532681"/>
                  <a:pt x="919509" y="6534810"/>
                  <a:pt x="922038" y="6537473"/>
                </a:cubicBezTo>
                <a:cubicBezTo>
                  <a:pt x="924700" y="6540002"/>
                  <a:pt x="926697" y="6543197"/>
                  <a:pt x="928160" y="6546791"/>
                </a:cubicBezTo>
                <a:cubicBezTo>
                  <a:pt x="929625" y="6550385"/>
                  <a:pt x="930423" y="6554246"/>
                  <a:pt x="930423" y="6558239"/>
                </a:cubicBezTo>
                <a:cubicBezTo>
                  <a:pt x="930423" y="6562366"/>
                  <a:pt x="929625" y="6566359"/>
                  <a:pt x="928160" y="6569954"/>
                </a:cubicBezTo>
                <a:cubicBezTo>
                  <a:pt x="926697" y="6573548"/>
                  <a:pt x="924567" y="6576610"/>
                  <a:pt x="922038" y="6579272"/>
                </a:cubicBezTo>
                <a:cubicBezTo>
                  <a:pt x="919509" y="6581935"/>
                  <a:pt x="916314" y="6584065"/>
                  <a:pt x="912720" y="6585529"/>
                </a:cubicBezTo>
                <a:cubicBezTo>
                  <a:pt x="909126" y="6586993"/>
                  <a:pt x="905265" y="6587792"/>
                  <a:pt x="901005" y="6587792"/>
                </a:cubicBezTo>
                <a:cubicBezTo>
                  <a:pt x="892086" y="6587792"/>
                  <a:pt x="884764" y="6584863"/>
                  <a:pt x="879174" y="6579272"/>
                </a:cubicBezTo>
                <a:cubicBezTo>
                  <a:pt x="873585" y="6573682"/>
                  <a:pt x="870789" y="6566625"/>
                  <a:pt x="870789" y="6558106"/>
                </a:cubicBezTo>
                <a:cubicBezTo>
                  <a:pt x="870789" y="6549853"/>
                  <a:pt x="873585" y="6542798"/>
                  <a:pt x="879174" y="6537074"/>
                </a:cubicBezTo>
                <a:cubicBezTo>
                  <a:pt x="884764" y="6531350"/>
                  <a:pt x="891953" y="6528554"/>
                  <a:pt x="901005" y="6528554"/>
                </a:cubicBezTo>
                <a:close/>
                <a:moveTo>
                  <a:pt x="683365" y="6528554"/>
                </a:moveTo>
                <a:cubicBezTo>
                  <a:pt x="687625" y="6528554"/>
                  <a:pt x="691486" y="6529353"/>
                  <a:pt x="695081" y="6531083"/>
                </a:cubicBezTo>
                <a:cubicBezTo>
                  <a:pt x="698807" y="6532681"/>
                  <a:pt x="701869" y="6534810"/>
                  <a:pt x="704397" y="6537473"/>
                </a:cubicBezTo>
                <a:cubicBezTo>
                  <a:pt x="707059" y="6540002"/>
                  <a:pt x="709057" y="6543197"/>
                  <a:pt x="710520" y="6546791"/>
                </a:cubicBezTo>
                <a:cubicBezTo>
                  <a:pt x="711984" y="6550385"/>
                  <a:pt x="712783" y="6554246"/>
                  <a:pt x="712783" y="6558239"/>
                </a:cubicBezTo>
                <a:cubicBezTo>
                  <a:pt x="712783" y="6562366"/>
                  <a:pt x="711984" y="6566359"/>
                  <a:pt x="710520" y="6569954"/>
                </a:cubicBezTo>
                <a:cubicBezTo>
                  <a:pt x="709057" y="6573548"/>
                  <a:pt x="706926" y="6576610"/>
                  <a:pt x="704397" y="6579272"/>
                </a:cubicBezTo>
                <a:cubicBezTo>
                  <a:pt x="701869" y="6581935"/>
                  <a:pt x="698674" y="6584065"/>
                  <a:pt x="695081" y="6585529"/>
                </a:cubicBezTo>
                <a:cubicBezTo>
                  <a:pt x="691486" y="6586993"/>
                  <a:pt x="687625" y="6587792"/>
                  <a:pt x="683365" y="6587792"/>
                </a:cubicBezTo>
                <a:cubicBezTo>
                  <a:pt x="674447" y="6587792"/>
                  <a:pt x="667125" y="6584863"/>
                  <a:pt x="661534" y="6579272"/>
                </a:cubicBezTo>
                <a:cubicBezTo>
                  <a:pt x="655943" y="6573682"/>
                  <a:pt x="653148" y="6566625"/>
                  <a:pt x="653148" y="6558106"/>
                </a:cubicBezTo>
                <a:cubicBezTo>
                  <a:pt x="653148" y="6549853"/>
                  <a:pt x="655943" y="6542798"/>
                  <a:pt x="661534" y="6537074"/>
                </a:cubicBezTo>
                <a:cubicBezTo>
                  <a:pt x="667125" y="6531350"/>
                  <a:pt x="674314" y="6528554"/>
                  <a:pt x="683365" y="6528554"/>
                </a:cubicBezTo>
                <a:close/>
                <a:moveTo>
                  <a:pt x="465725" y="6528554"/>
                </a:moveTo>
                <a:cubicBezTo>
                  <a:pt x="469985" y="6528554"/>
                  <a:pt x="473845" y="6529353"/>
                  <a:pt x="477440" y="6531083"/>
                </a:cubicBezTo>
                <a:cubicBezTo>
                  <a:pt x="481167" y="6532681"/>
                  <a:pt x="484228" y="6534810"/>
                  <a:pt x="486757" y="6537473"/>
                </a:cubicBezTo>
                <a:cubicBezTo>
                  <a:pt x="489419" y="6540002"/>
                  <a:pt x="491416" y="6543197"/>
                  <a:pt x="492880" y="6546791"/>
                </a:cubicBezTo>
                <a:cubicBezTo>
                  <a:pt x="494344" y="6550385"/>
                  <a:pt x="495143" y="6554246"/>
                  <a:pt x="495143" y="6558239"/>
                </a:cubicBezTo>
                <a:cubicBezTo>
                  <a:pt x="495143" y="6562366"/>
                  <a:pt x="494344" y="6566359"/>
                  <a:pt x="492880" y="6569954"/>
                </a:cubicBezTo>
                <a:cubicBezTo>
                  <a:pt x="491416" y="6573548"/>
                  <a:pt x="489286" y="6576610"/>
                  <a:pt x="486757" y="6579272"/>
                </a:cubicBezTo>
                <a:cubicBezTo>
                  <a:pt x="484094" y="6581935"/>
                  <a:pt x="481034" y="6584065"/>
                  <a:pt x="477440" y="6585529"/>
                </a:cubicBezTo>
                <a:cubicBezTo>
                  <a:pt x="473845" y="6586993"/>
                  <a:pt x="469985" y="6587792"/>
                  <a:pt x="465725" y="6587792"/>
                </a:cubicBezTo>
                <a:cubicBezTo>
                  <a:pt x="456806" y="6587792"/>
                  <a:pt x="449484" y="6584863"/>
                  <a:pt x="443893" y="6579272"/>
                </a:cubicBezTo>
                <a:cubicBezTo>
                  <a:pt x="438302" y="6573682"/>
                  <a:pt x="435507" y="6566625"/>
                  <a:pt x="435507" y="6558106"/>
                </a:cubicBezTo>
                <a:cubicBezTo>
                  <a:pt x="435507" y="6549853"/>
                  <a:pt x="438302" y="6542798"/>
                  <a:pt x="443893" y="6537074"/>
                </a:cubicBezTo>
                <a:cubicBezTo>
                  <a:pt x="449484" y="6531350"/>
                  <a:pt x="456674" y="6528554"/>
                  <a:pt x="465725" y="6528554"/>
                </a:cubicBezTo>
                <a:close/>
                <a:moveTo>
                  <a:pt x="248084" y="6528554"/>
                </a:moveTo>
                <a:cubicBezTo>
                  <a:pt x="252343" y="6528554"/>
                  <a:pt x="256337" y="6529353"/>
                  <a:pt x="259798" y="6531083"/>
                </a:cubicBezTo>
                <a:cubicBezTo>
                  <a:pt x="263525" y="6532681"/>
                  <a:pt x="266587" y="6534810"/>
                  <a:pt x="269116" y="6537473"/>
                </a:cubicBezTo>
                <a:cubicBezTo>
                  <a:pt x="271778" y="6540002"/>
                  <a:pt x="273775" y="6543197"/>
                  <a:pt x="275239" y="6546791"/>
                </a:cubicBezTo>
                <a:cubicBezTo>
                  <a:pt x="276703" y="6550385"/>
                  <a:pt x="277502" y="6554246"/>
                  <a:pt x="277502" y="6558239"/>
                </a:cubicBezTo>
                <a:cubicBezTo>
                  <a:pt x="277502" y="6562366"/>
                  <a:pt x="276703" y="6566359"/>
                  <a:pt x="275239" y="6569954"/>
                </a:cubicBezTo>
                <a:cubicBezTo>
                  <a:pt x="273775" y="6573548"/>
                  <a:pt x="271645" y="6576610"/>
                  <a:pt x="269116" y="6579272"/>
                </a:cubicBezTo>
                <a:cubicBezTo>
                  <a:pt x="266453" y="6581935"/>
                  <a:pt x="263392" y="6584065"/>
                  <a:pt x="259798" y="6585529"/>
                </a:cubicBezTo>
                <a:cubicBezTo>
                  <a:pt x="256203" y="6586993"/>
                  <a:pt x="252343" y="6587792"/>
                  <a:pt x="248084" y="6587792"/>
                </a:cubicBezTo>
                <a:cubicBezTo>
                  <a:pt x="239166" y="6587792"/>
                  <a:pt x="231845" y="6584863"/>
                  <a:pt x="226254" y="6579272"/>
                </a:cubicBezTo>
                <a:cubicBezTo>
                  <a:pt x="220664" y="6573682"/>
                  <a:pt x="217869" y="6566625"/>
                  <a:pt x="217869" y="6558106"/>
                </a:cubicBezTo>
                <a:cubicBezTo>
                  <a:pt x="217869" y="6549853"/>
                  <a:pt x="220664" y="6542798"/>
                  <a:pt x="226254" y="6537074"/>
                </a:cubicBezTo>
                <a:cubicBezTo>
                  <a:pt x="231845" y="6531350"/>
                  <a:pt x="239032" y="6528554"/>
                  <a:pt x="248084" y="6528554"/>
                </a:cubicBezTo>
                <a:close/>
                <a:moveTo>
                  <a:pt x="30443" y="6528554"/>
                </a:moveTo>
                <a:cubicBezTo>
                  <a:pt x="34703" y="6528554"/>
                  <a:pt x="38697" y="6529353"/>
                  <a:pt x="42158" y="6531083"/>
                </a:cubicBezTo>
                <a:cubicBezTo>
                  <a:pt x="45885" y="6532681"/>
                  <a:pt x="48947" y="6534810"/>
                  <a:pt x="51476" y="6537473"/>
                </a:cubicBezTo>
                <a:cubicBezTo>
                  <a:pt x="54138" y="6540002"/>
                  <a:pt x="56135" y="6543197"/>
                  <a:pt x="57599" y="6546791"/>
                </a:cubicBezTo>
                <a:cubicBezTo>
                  <a:pt x="59063" y="6550385"/>
                  <a:pt x="59862" y="6554246"/>
                  <a:pt x="59862" y="6558239"/>
                </a:cubicBezTo>
                <a:cubicBezTo>
                  <a:pt x="59862" y="6562366"/>
                  <a:pt x="59063" y="6566359"/>
                  <a:pt x="57599" y="6569954"/>
                </a:cubicBezTo>
                <a:cubicBezTo>
                  <a:pt x="56135" y="6573548"/>
                  <a:pt x="54005" y="6576610"/>
                  <a:pt x="51476" y="6579272"/>
                </a:cubicBezTo>
                <a:cubicBezTo>
                  <a:pt x="48813" y="6581935"/>
                  <a:pt x="45752" y="6584065"/>
                  <a:pt x="42158" y="6585529"/>
                </a:cubicBezTo>
                <a:cubicBezTo>
                  <a:pt x="38564" y="6586993"/>
                  <a:pt x="34703" y="6587792"/>
                  <a:pt x="30443" y="6587792"/>
                </a:cubicBezTo>
                <a:cubicBezTo>
                  <a:pt x="21524" y="6587792"/>
                  <a:pt x="14205" y="6584863"/>
                  <a:pt x="8616" y="6579272"/>
                </a:cubicBezTo>
                <a:cubicBezTo>
                  <a:pt x="3025" y="6573682"/>
                  <a:pt x="230" y="6566625"/>
                  <a:pt x="230" y="6558106"/>
                </a:cubicBezTo>
                <a:cubicBezTo>
                  <a:pt x="230" y="6549853"/>
                  <a:pt x="3025" y="6542798"/>
                  <a:pt x="8616" y="6537074"/>
                </a:cubicBezTo>
                <a:cubicBezTo>
                  <a:pt x="14205" y="6531350"/>
                  <a:pt x="21390" y="6528554"/>
                  <a:pt x="30443" y="6528554"/>
                </a:cubicBezTo>
                <a:close/>
                <a:moveTo>
                  <a:pt x="10475977" y="6327682"/>
                </a:moveTo>
                <a:cubicBezTo>
                  <a:pt x="10470119" y="6327682"/>
                  <a:pt x="10467589" y="6329545"/>
                  <a:pt x="10465992" y="6331276"/>
                </a:cubicBezTo>
                <a:cubicBezTo>
                  <a:pt x="10463463" y="6333938"/>
                  <a:pt x="10462399" y="6336733"/>
                  <a:pt x="10462399" y="6340727"/>
                </a:cubicBezTo>
                <a:cubicBezTo>
                  <a:pt x="10462399" y="6344854"/>
                  <a:pt x="10463463" y="6347649"/>
                  <a:pt x="10465992" y="6350178"/>
                </a:cubicBezTo>
                <a:cubicBezTo>
                  <a:pt x="10467589" y="6351777"/>
                  <a:pt x="10470119" y="6353640"/>
                  <a:pt x="10475977" y="6353640"/>
                </a:cubicBezTo>
                <a:cubicBezTo>
                  <a:pt x="10478107" y="6353640"/>
                  <a:pt x="10479838" y="6353241"/>
                  <a:pt x="10481302" y="6352708"/>
                </a:cubicBezTo>
                <a:cubicBezTo>
                  <a:pt x="10482899" y="6352176"/>
                  <a:pt x="10484098" y="6351244"/>
                  <a:pt x="10485029" y="6350311"/>
                </a:cubicBezTo>
                <a:cubicBezTo>
                  <a:pt x="10486094" y="6349113"/>
                  <a:pt x="10487026" y="6347782"/>
                  <a:pt x="10487691" y="6346052"/>
                </a:cubicBezTo>
                <a:cubicBezTo>
                  <a:pt x="10488357" y="6344454"/>
                  <a:pt x="10488623" y="6342590"/>
                  <a:pt x="10488623" y="6340594"/>
                </a:cubicBezTo>
                <a:cubicBezTo>
                  <a:pt x="10488623" y="6338730"/>
                  <a:pt x="10488357" y="6337000"/>
                  <a:pt x="10487691" y="6335403"/>
                </a:cubicBezTo>
                <a:cubicBezTo>
                  <a:pt x="10487026" y="6333805"/>
                  <a:pt x="10486094" y="6332474"/>
                  <a:pt x="10485029" y="6331276"/>
                </a:cubicBezTo>
                <a:cubicBezTo>
                  <a:pt x="10483964" y="6330211"/>
                  <a:pt x="10482633" y="6329279"/>
                  <a:pt x="10481035" y="6328613"/>
                </a:cubicBezTo>
                <a:cubicBezTo>
                  <a:pt x="10479571" y="6327948"/>
                  <a:pt x="10477974" y="6327682"/>
                  <a:pt x="10475977" y="6327682"/>
                </a:cubicBezTo>
                <a:close/>
                <a:moveTo>
                  <a:pt x="10258466" y="6327682"/>
                </a:moveTo>
                <a:cubicBezTo>
                  <a:pt x="10252608" y="6327682"/>
                  <a:pt x="10250078" y="6329545"/>
                  <a:pt x="10248481" y="6331276"/>
                </a:cubicBezTo>
                <a:cubicBezTo>
                  <a:pt x="10245952" y="6333938"/>
                  <a:pt x="10244887" y="6336733"/>
                  <a:pt x="10244887" y="6340727"/>
                </a:cubicBezTo>
                <a:cubicBezTo>
                  <a:pt x="10244887" y="6344854"/>
                  <a:pt x="10245952" y="6347649"/>
                  <a:pt x="10248481" y="6350178"/>
                </a:cubicBezTo>
                <a:cubicBezTo>
                  <a:pt x="10250078" y="6351777"/>
                  <a:pt x="10252608" y="6353640"/>
                  <a:pt x="10258466" y="6353640"/>
                </a:cubicBezTo>
                <a:cubicBezTo>
                  <a:pt x="10260462" y="6353640"/>
                  <a:pt x="10262192" y="6353241"/>
                  <a:pt x="10263790" y="6352708"/>
                </a:cubicBezTo>
                <a:cubicBezTo>
                  <a:pt x="10265388" y="6352176"/>
                  <a:pt x="10266586" y="6351244"/>
                  <a:pt x="10267517" y="6350311"/>
                </a:cubicBezTo>
                <a:cubicBezTo>
                  <a:pt x="10268583" y="6349113"/>
                  <a:pt x="10269515" y="6347782"/>
                  <a:pt x="10270180" y="6346052"/>
                </a:cubicBezTo>
                <a:cubicBezTo>
                  <a:pt x="10270845" y="6344454"/>
                  <a:pt x="10271112" y="6342590"/>
                  <a:pt x="10271112" y="6340594"/>
                </a:cubicBezTo>
                <a:cubicBezTo>
                  <a:pt x="10271112" y="6338730"/>
                  <a:pt x="10270845" y="6337000"/>
                  <a:pt x="10270180" y="6335403"/>
                </a:cubicBezTo>
                <a:cubicBezTo>
                  <a:pt x="10269515" y="6333805"/>
                  <a:pt x="10268583" y="6332474"/>
                  <a:pt x="10267517" y="6331276"/>
                </a:cubicBezTo>
                <a:cubicBezTo>
                  <a:pt x="10266452" y="6330211"/>
                  <a:pt x="10265121" y="6329279"/>
                  <a:pt x="10263524" y="6328613"/>
                </a:cubicBezTo>
                <a:cubicBezTo>
                  <a:pt x="10262060" y="6327948"/>
                  <a:pt x="10260462" y="6327682"/>
                  <a:pt x="10258466" y="6327682"/>
                </a:cubicBezTo>
                <a:close/>
                <a:moveTo>
                  <a:pt x="10040820" y="6327682"/>
                </a:moveTo>
                <a:cubicBezTo>
                  <a:pt x="10034962" y="6327682"/>
                  <a:pt x="10032433" y="6329545"/>
                  <a:pt x="10030835" y="6331276"/>
                </a:cubicBezTo>
                <a:cubicBezTo>
                  <a:pt x="10028306" y="6333938"/>
                  <a:pt x="10027242" y="6336733"/>
                  <a:pt x="10027242" y="6340727"/>
                </a:cubicBezTo>
                <a:cubicBezTo>
                  <a:pt x="10027242" y="6344854"/>
                  <a:pt x="10028306" y="6347649"/>
                  <a:pt x="10030835" y="6350178"/>
                </a:cubicBezTo>
                <a:cubicBezTo>
                  <a:pt x="10032433" y="6351777"/>
                  <a:pt x="10034962" y="6353640"/>
                  <a:pt x="10040820" y="6353640"/>
                </a:cubicBezTo>
                <a:cubicBezTo>
                  <a:pt x="10042817" y="6353640"/>
                  <a:pt x="10044681" y="6353241"/>
                  <a:pt x="10046145" y="6352708"/>
                </a:cubicBezTo>
                <a:cubicBezTo>
                  <a:pt x="10047742" y="6352176"/>
                  <a:pt x="10048941" y="6351244"/>
                  <a:pt x="10049872" y="6350311"/>
                </a:cubicBezTo>
                <a:cubicBezTo>
                  <a:pt x="10050937" y="6349113"/>
                  <a:pt x="10051869" y="6347782"/>
                  <a:pt x="10052534" y="6346052"/>
                </a:cubicBezTo>
                <a:cubicBezTo>
                  <a:pt x="10053333" y="6344454"/>
                  <a:pt x="10053599" y="6342590"/>
                  <a:pt x="10053599" y="6340594"/>
                </a:cubicBezTo>
                <a:cubicBezTo>
                  <a:pt x="10053599" y="6338730"/>
                  <a:pt x="10053200" y="6337000"/>
                  <a:pt x="10052534" y="6335403"/>
                </a:cubicBezTo>
                <a:cubicBezTo>
                  <a:pt x="10051869" y="6333805"/>
                  <a:pt x="10050937" y="6332474"/>
                  <a:pt x="10049872" y="6331276"/>
                </a:cubicBezTo>
                <a:cubicBezTo>
                  <a:pt x="10048807" y="6330211"/>
                  <a:pt x="10047476" y="6329279"/>
                  <a:pt x="10045878" y="6328613"/>
                </a:cubicBezTo>
                <a:cubicBezTo>
                  <a:pt x="10044414" y="6327948"/>
                  <a:pt x="10042817" y="6327682"/>
                  <a:pt x="10040820" y="6327682"/>
                </a:cubicBezTo>
                <a:close/>
                <a:moveTo>
                  <a:pt x="9823176" y="6327682"/>
                </a:moveTo>
                <a:cubicBezTo>
                  <a:pt x="9817318" y="6327682"/>
                  <a:pt x="9814788" y="6329545"/>
                  <a:pt x="9813191" y="6331276"/>
                </a:cubicBezTo>
                <a:cubicBezTo>
                  <a:pt x="9810662" y="6333938"/>
                  <a:pt x="9809597" y="6336733"/>
                  <a:pt x="9809597" y="6340727"/>
                </a:cubicBezTo>
                <a:cubicBezTo>
                  <a:pt x="9809597" y="6344854"/>
                  <a:pt x="9810662" y="6347649"/>
                  <a:pt x="9813191" y="6350178"/>
                </a:cubicBezTo>
                <a:cubicBezTo>
                  <a:pt x="9814788" y="6351777"/>
                  <a:pt x="9817318" y="6353640"/>
                  <a:pt x="9823176" y="6353640"/>
                </a:cubicBezTo>
                <a:cubicBezTo>
                  <a:pt x="9825173" y="6353640"/>
                  <a:pt x="9827036" y="6353241"/>
                  <a:pt x="9828501" y="6352708"/>
                </a:cubicBezTo>
                <a:cubicBezTo>
                  <a:pt x="9830098" y="6352176"/>
                  <a:pt x="9831296" y="6351244"/>
                  <a:pt x="9832227" y="6350311"/>
                </a:cubicBezTo>
                <a:cubicBezTo>
                  <a:pt x="9833293" y="6349113"/>
                  <a:pt x="9834225" y="6347782"/>
                  <a:pt x="9834890" y="6346052"/>
                </a:cubicBezTo>
                <a:cubicBezTo>
                  <a:pt x="9835689" y="6344454"/>
                  <a:pt x="9835955" y="6342590"/>
                  <a:pt x="9835955" y="6340594"/>
                </a:cubicBezTo>
                <a:cubicBezTo>
                  <a:pt x="9835955" y="6338730"/>
                  <a:pt x="9835555" y="6337000"/>
                  <a:pt x="9834890" y="6335403"/>
                </a:cubicBezTo>
                <a:cubicBezTo>
                  <a:pt x="9834225" y="6333805"/>
                  <a:pt x="9833293" y="6332474"/>
                  <a:pt x="9832227" y="6331276"/>
                </a:cubicBezTo>
                <a:cubicBezTo>
                  <a:pt x="9831162" y="6330211"/>
                  <a:pt x="9829831" y="6329279"/>
                  <a:pt x="9828234" y="6328613"/>
                </a:cubicBezTo>
                <a:cubicBezTo>
                  <a:pt x="9826770" y="6327948"/>
                  <a:pt x="9825173" y="6327682"/>
                  <a:pt x="9823176" y="6327682"/>
                </a:cubicBezTo>
                <a:close/>
                <a:moveTo>
                  <a:pt x="9605531" y="6327682"/>
                </a:moveTo>
                <a:cubicBezTo>
                  <a:pt x="9599673" y="6327682"/>
                  <a:pt x="9597143" y="6329545"/>
                  <a:pt x="9595546" y="6331276"/>
                </a:cubicBezTo>
                <a:cubicBezTo>
                  <a:pt x="9593017" y="6333938"/>
                  <a:pt x="9591952" y="6336733"/>
                  <a:pt x="9591952" y="6340727"/>
                </a:cubicBezTo>
                <a:cubicBezTo>
                  <a:pt x="9591952" y="6344854"/>
                  <a:pt x="9593017" y="6347649"/>
                  <a:pt x="9595546" y="6350178"/>
                </a:cubicBezTo>
                <a:cubicBezTo>
                  <a:pt x="9597143" y="6351777"/>
                  <a:pt x="9599673" y="6353640"/>
                  <a:pt x="9605531" y="6353640"/>
                </a:cubicBezTo>
                <a:cubicBezTo>
                  <a:pt x="9607660" y="6353640"/>
                  <a:pt x="9609391" y="6353241"/>
                  <a:pt x="9610855" y="6352708"/>
                </a:cubicBezTo>
                <a:cubicBezTo>
                  <a:pt x="9612319" y="6352176"/>
                  <a:pt x="9613651" y="6351244"/>
                  <a:pt x="9614582" y="6350311"/>
                </a:cubicBezTo>
                <a:cubicBezTo>
                  <a:pt x="9615647" y="6349113"/>
                  <a:pt x="9616579" y="6347782"/>
                  <a:pt x="9617245" y="6346052"/>
                </a:cubicBezTo>
                <a:cubicBezTo>
                  <a:pt x="9618044" y="6344454"/>
                  <a:pt x="9618309" y="6342590"/>
                  <a:pt x="9618309" y="6340594"/>
                </a:cubicBezTo>
                <a:cubicBezTo>
                  <a:pt x="9618309" y="6338730"/>
                  <a:pt x="9617910" y="6337000"/>
                  <a:pt x="9617245" y="6335403"/>
                </a:cubicBezTo>
                <a:cubicBezTo>
                  <a:pt x="9616579" y="6333805"/>
                  <a:pt x="9615647" y="6332474"/>
                  <a:pt x="9614582" y="6331276"/>
                </a:cubicBezTo>
                <a:cubicBezTo>
                  <a:pt x="9613517" y="6330211"/>
                  <a:pt x="9612186" y="6329279"/>
                  <a:pt x="9610589" y="6328613"/>
                </a:cubicBezTo>
                <a:cubicBezTo>
                  <a:pt x="9609124" y="6327948"/>
                  <a:pt x="9607394" y="6327682"/>
                  <a:pt x="9605531" y="6327682"/>
                </a:cubicBezTo>
                <a:close/>
                <a:moveTo>
                  <a:pt x="9387885" y="6327682"/>
                </a:moveTo>
                <a:cubicBezTo>
                  <a:pt x="9382027" y="6327682"/>
                  <a:pt x="9379497" y="6329545"/>
                  <a:pt x="9377900" y="6331276"/>
                </a:cubicBezTo>
                <a:cubicBezTo>
                  <a:pt x="9375371" y="6333938"/>
                  <a:pt x="9374307" y="6336733"/>
                  <a:pt x="9374307" y="6340727"/>
                </a:cubicBezTo>
                <a:cubicBezTo>
                  <a:pt x="9374307" y="6344854"/>
                  <a:pt x="9375371" y="6347649"/>
                  <a:pt x="9377900" y="6350178"/>
                </a:cubicBezTo>
                <a:cubicBezTo>
                  <a:pt x="9379497" y="6351777"/>
                  <a:pt x="9382027" y="6353640"/>
                  <a:pt x="9387885" y="6353640"/>
                </a:cubicBezTo>
                <a:cubicBezTo>
                  <a:pt x="9390015" y="6353640"/>
                  <a:pt x="9391746" y="6353241"/>
                  <a:pt x="9393210" y="6352708"/>
                </a:cubicBezTo>
                <a:cubicBezTo>
                  <a:pt x="9394674" y="6352176"/>
                  <a:pt x="9396005" y="6351244"/>
                  <a:pt x="9396937" y="6350311"/>
                </a:cubicBezTo>
                <a:cubicBezTo>
                  <a:pt x="9398002" y="6349113"/>
                  <a:pt x="9398934" y="6347782"/>
                  <a:pt x="9399599" y="6346052"/>
                </a:cubicBezTo>
                <a:cubicBezTo>
                  <a:pt x="9400398" y="6344454"/>
                  <a:pt x="9400664" y="6342590"/>
                  <a:pt x="9400664" y="6340594"/>
                </a:cubicBezTo>
                <a:cubicBezTo>
                  <a:pt x="9400664" y="6338730"/>
                  <a:pt x="9400265" y="6337000"/>
                  <a:pt x="9399599" y="6335403"/>
                </a:cubicBezTo>
                <a:cubicBezTo>
                  <a:pt x="9398934" y="6333805"/>
                  <a:pt x="9398002" y="6332474"/>
                  <a:pt x="9396937" y="6331276"/>
                </a:cubicBezTo>
                <a:cubicBezTo>
                  <a:pt x="9395872" y="6330211"/>
                  <a:pt x="9394541" y="6329279"/>
                  <a:pt x="9392943" y="6328613"/>
                </a:cubicBezTo>
                <a:cubicBezTo>
                  <a:pt x="9391479" y="6327948"/>
                  <a:pt x="9389749" y="6327682"/>
                  <a:pt x="9387885" y="6327682"/>
                </a:cubicBezTo>
                <a:close/>
                <a:moveTo>
                  <a:pt x="9170374" y="6327682"/>
                </a:moveTo>
                <a:cubicBezTo>
                  <a:pt x="9164649" y="6327682"/>
                  <a:pt x="9161986" y="6329545"/>
                  <a:pt x="9160389" y="6331276"/>
                </a:cubicBezTo>
                <a:cubicBezTo>
                  <a:pt x="9157860" y="6333938"/>
                  <a:pt x="9156795" y="6336733"/>
                  <a:pt x="9156795" y="6340727"/>
                </a:cubicBezTo>
                <a:cubicBezTo>
                  <a:pt x="9156795" y="6344854"/>
                  <a:pt x="9157860" y="6347649"/>
                  <a:pt x="9160389" y="6350178"/>
                </a:cubicBezTo>
                <a:cubicBezTo>
                  <a:pt x="9161986" y="6351777"/>
                  <a:pt x="9164516" y="6353640"/>
                  <a:pt x="9170374" y="6353640"/>
                </a:cubicBezTo>
                <a:cubicBezTo>
                  <a:pt x="9172370" y="6353640"/>
                  <a:pt x="9174100" y="6353241"/>
                  <a:pt x="9175698" y="6352708"/>
                </a:cubicBezTo>
                <a:cubicBezTo>
                  <a:pt x="9177163" y="6352176"/>
                  <a:pt x="9178494" y="6351244"/>
                  <a:pt x="9179425" y="6350311"/>
                </a:cubicBezTo>
                <a:cubicBezTo>
                  <a:pt x="9180491" y="6349113"/>
                  <a:pt x="9181422" y="6347782"/>
                  <a:pt x="9182088" y="6346052"/>
                </a:cubicBezTo>
                <a:cubicBezTo>
                  <a:pt x="9182887" y="6344454"/>
                  <a:pt x="9183152" y="6342590"/>
                  <a:pt x="9183152" y="6340594"/>
                </a:cubicBezTo>
                <a:cubicBezTo>
                  <a:pt x="9183152" y="6338730"/>
                  <a:pt x="9182753" y="6337000"/>
                  <a:pt x="9182088" y="6335403"/>
                </a:cubicBezTo>
                <a:cubicBezTo>
                  <a:pt x="9181422" y="6333805"/>
                  <a:pt x="9180491" y="6332474"/>
                  <a:pt x="9179425" y="6331276"/>
                </a:cubicBezTo>
                <a:cubicBezTo>
                  <a:pt x="9178360" y="6330211"/>
                  <a:pt x="9177029" y="6329279"/>
                  <a:pt x="9175432" y="6328613"/>
                </a:cubicBezTo>
                <a:cubicBezTo>
                  <a:pt x="9173967" y="6327948"/>
                  <a:pt x="9172237" y="6327682"/>
                  <a:pt x="9170374" y="6327682"/>
                </a:cubicBezTo>
                <a:close/>
                <a:moveTo>
                  <a:pt x="8952728" y="6327682"/>
                </a:moveTo>
                <a:cubicBezTo>
                  <a:pt x="8947003" y="6327682"/>
                  <a:pt x="8944340" y="6329545"/>
                  <a:pt x="8942743" y="6331276"/>
                </a:cubicBezTo>
                <a:cubicBezTo>
                  <a:pt x="8940214" y="6333938"/>
                  <a:pt x="8939150" y="6336733"/>
                  <a:pt x="8939150" y="6340727"/>
                </a:cubicBezTo>
                <a:cubicBezTo>
                  <a:pt x="8939150" y="6344854"/>
                  <a:pt x="8940214" y="6347649"/>
                  <a:pt x="8942743" y="6350178"/>
                </a:cubicBezTo>
                <a:cubicBezTo>
                  <a:pt x="8944340" y="6351777"/>
                  <a:pt x="8946870" y="6353640"/>
                  <a:pt x="8952728" y="6353640"/>
                </a:cubicBezTo>
                <a:cubicBezTo>
                  <a:pt x="8954725" y="6353640"/>
                  <a:pt x="8956589" y="6353241"/>
                  <a:pt x="8958053" y="6352708"/>
                </a:cubicBezTo>
                <a:cubicBezTo>
                  <a:pt x="8959517" y="6352176"/>
                  <a:pt x="8960849" y="6351244"/>
                  <a:pt x="8961780" y="6350311"/>
                </a:cubicBezTo>
                <a:cubicBezTo>
                  <a:pt x="8962845" y="6349113"/>
                  <a:pt x="8963777" y="6347782"/>
                  <a:pt x="8964442" y="6346052"/>
                </a:cubicBezTo>
                <a:cubicBezTo>
                  <a:pt x="8965241" y="6344454"/>
                  <a:pt x="8965507" y="6342590"/>
                  <a:pt x="8965507" y="6340594"/>
                </a:cubicBezTo>
                <a:cubicBezTo>
                  <a:pt x="8965507" y="6338730"/>
                  <a:pt x="8965108" y="6337000"/>
                  <a:pt x="8964442" y="6335403"/>
                </a:cubicBezTo>
                <a:cubicBezTo>
                  <a:pt x="8963777" y="6333805"/>
                  <a:pt x="8962845" y="6332474"/>
                  <a:pt x="8961780" y="6331276"/>
                </a:cubicBezTo>
                <a:cubicBezTo>
                  <a:pt x="8960715" y="6330211"/>
                  <a:pt x="8959384" y="6329279"/>
                  <a:pt x="8957786" y="6328613"/>
                </a:cubicBezTo>
                <a:cubicBezTo>
                  <a:pt x="8956322" y="6327948"/>
                  <a:pt x="8954592" y="6327682"/>
                  <a:pt x="8952728" y="6327682"/>
                </a:cubicBezTo>
                <a:close/>
                <a:moveTo>
                  <a:pt x="8735083" y="6327682"/>
                </a:moveTo>
                <a:cubicBezTo>
                  <a:pt x="8729358" y="6327682"/>
                  <a:pt x="8726695" y="6329545"/>
                  <a:pt x="8725098" y="6331276"/>
                </a:cubicBezTo>
                <a:cubicBezTo>
                  <a:pt x="8722569" y="6333938"/>
                  <a:pt x="8721504" y="6336733"/>
                  <a:pt x="8721504" y="6340727"/>
                </a:cubicBezTo>
                <a:cubicBezTo>
                  <a:pt x="8721504" y="6344854"/>
                  <a:pt x="8722569" y="6347649"/>
                  <a:pt x="8725098" y="6350178"/>
                </a:cubicBezTo>
                <a:cubicBezTo>
                  <a:pt x="8726695" y="6351777"/>
                  <a:pt x="8729225" y="6353640"/>
                  <a:pt x="8735083" y="6353640"/>
                </a:cubicBezTo>
                <a:cubicBezTo>
                  <a:pt x="8737079" y="6353640"/>
                  <a:pt x="8738943" y="6353241"/>
                  <a:pt x="8740407" y="6352708"/>
                </a:cubicBezTo>
                <a:cubicBezTo>
                  <a:pt x="8741872" y="6352176"/>
                  <a:pt x="8743203" y="6351244"/>
                  <a:pt x="8744134" y="6350311"/>
                </a:cubicBezTo>
                <a:cubicBezTo>
                  <a:pt x="8745200" y="6349113"/>
                  <a:pt x="8746132" y="6347782"/>
                  <a:pt x="8746797" y="6346052"/>
                </a:cubicBezTo>
                <a:cubicBezTo>
                  <a:pt x="8747596" y="6344454"/>
                  <a:pt x="8747862" y="6342590"/>
                  <a:pt x="8747862" y="6340594"/>
                </a:cubicBezTo>
                <a:cubicBezTo>
                  <a:pt x="8747862" y="6338730"/>
                  <a:pt x="8747462" y="6337000"/>
                  <a:pt x="8746797" y="6335403"/>
                </a:cubicBezTo>
                <a:cubicBezTo>
                  <a:pt x="8746132" y="6333805"/>
                  <a:pt x="8745200" y="6332474"/>
                  <a:pt x="8744134" y="6331276"/>
                </a:cubicBezTo>
                <a:cubicBezTo>
                  <a:pt x="8743069" y="6330211"/>
                  <a:pt x="8741738" y="6329279"/>
                  <a:pt x="8740141" y="6328613"/>
                </a:cubicBezTo>
                <a:cubicBezTo>
                  <a:pt x="8738677" y="6327948"/>
                  <a:pt x="8736946" y="6327682"/>
                  <a:pt x="8735083" y="6327682"/>
                </a:cubicBezTo>
                <a:close/>
                <a:moveTo>
                  <a:pt x="8517438" y="6327682"/>
                </a:moveTo>
                <a:cubicBezTo>
                  <a:pt x="8511713" y="6327682"/>
                  <a:pt x="8509051" y="6329545"/>
                  <a:pt x="8507453" y="6331276"/>
                </a:cubicBezTo>
                <a:cubicBezTo>
                  <a:pt x="8504925" y="6333938"/>
                  <a:pt x="8503860" y="6336733"/>
                  <a:pt x="8503860" y="6340727"/>
                </a:cubicBezTo>
                <a:cubicBezTo>
                  <a:pt x="8503860" y="6344854"/>
                  <a:pt x="8504925" y="6347649"/>
                  <a:pt x="8507453" y="6350178"/>
                </a:cubicBezTo>
                <a:cubicBezTo>
                  <a:pt x="8509051" y="6351777"/>
                  <a:pt x="8511581" y="6353640"/>
                  <a:pt x="8517438" y="6353640"/>
                </a:cubicBezTo>
                <a:cubicBezTo>
                  <a:pt x="8519568" y="6353640"/>
                  <a:pt x="8521299" y="6353241"/>
                  <a:pt x="8522763" y="6352708"/>
                </a:cubicBezTo>
                <a:cubicBezTo>
                  <a:pt x="8524227" y="6352176"/>
                  <a:pt x="8525559" y="6351244"/>
                  <a:pt x="8526490" y="6350311"/>
                </a:cubicBezTo>
                <a:cubicBezTo>
                  <a:pt x="8527555" y="6349113"/>
                  <a:pt x="8528487" y="6347782"/>
                  <a:pt x="8529152" y="6346052"/>
                </a:cubicBezTo>
                <a:cubicBezTo>
                  <a:pt x="8529818" y="6344454"/>
                  <a:pt x="8530084" y="6342590"/>
                  <a:pt x="8530084" y="6340594"/>
                </a:cubicBezTo>
                <a:cubicBezTo>
                  <a:pt x="8530084" y="6338730"/>
                  <a:pt x="8529818" y="6337000"/>
                  <a:pt x="8529152" y="6335403"/>
                </a:cubicBezTo>
                <a:cubicBezTo>
                  <a:pt x="8528487" y="6333805"/>
                  <a:pt x="8527555" y="6332474"/>
                  <a:pt x="8526490" y="6331276"/>
                </a:cubicBezTo>
                <a:cubicBezTo>
                  <a:pt x="8525425" y="6330211"/>
                  <a:pt x="8524094" y="6329279"/>
                  <a:pt x="8522496" y="6328613"/>
                </a:cubicBezTo>
                <a:cubicBezTo>
                  <a:pt x="8521032" y="6327948"/>
                  <a:pt x="8519302" y="6327682"/>
                  <a:pt x="8517438" y="6327682"/>
                </a:cubicBezTo>
                <a:close/>
                <a:moveTo>
                  <a:pt x="8299793" y="6327682"/>
                </a:moveTo>
                <a:cubicBezTo>
                  <a:pt x="8294068" y="6327682"/>
                  <a:pt x="8291406" y="6329545"/>
                  <a:pt x="8289809" y="6331276"/>
                </a:cubicBezTo>
                <a:cubicBezTo>
                  <a:pt x="8287280" y="6333938"/>
                  <a:pt x="8286215" y="6336733"/>
                  <a:pt x="8286215" y="6340727"/>
                </a:cubicBezTo>
                <a:cubicBezTo>
                  <a:pt x="8286215" y="6344854"/>
                  <a:pt x="8287280" y="6347649"/>
                  <a:pt x="8289809" y="6350178"/>
                </a:cubicBezTo>
                <a:cubicBezTo>
                  <a:pt x="8291406" y="6351777"/>
                  <a:pt x="8293935" y="6353640"/>
                  <a:pt x="8299793" y="6353640"/>
                </a:cubicBezTo>
                <a:cubicBezTo>
                  <a:pt x="8301923" y="6353640"/>
                  <a:pt x="8303653" y="6353241"/>
                  <a:pt x="8305118" y="6352708"/>
                </a:cubicBezTo>
                <a:cubicBezTo>
                  <a:pt x="8306582" y="6352176"/>
                  <a:pt x="8307913" y="6351244"/>
                  <a:pt x="8308844" y="6350311"/>
                </a:cubicBezTo>
                <a:cubicBezTo>
                  <a:pt x="8309910" y="6349113"/>
                  <a:pt x="8310842" y="6347782"/>
                  <a:pt x="8311507" y="6346052"/>
                </a:cubicBezTo>
                <a:cubicBezTo>
                  <a:pt x="8312172" y="6344454"/>
                  <a:pt x="8312439" y="6342590"/>
                  <a:pt x="8312439" y="6340594"/>
                </a:cubicBezTo>
                <a:cubicBezTo>
                  <a:pt x="8312439" y="6338730"/>
                  <a:pt x="8312172" y="6337000"/>
                  <a:pt x="8311507" y="6335403"/>
                </a:cubicBezTo>
                <a:cubicBezTo>
                  <a:pt x="8310842" y="6333805"/>
                  <a:pt x="8309910" y="6332474"/>
                  <a:pt x="8308844" y="6331276"/>
                </a:cubicBezTo>
                <a:cubicBezTo>
                  <a:pt x="8307779" y="6330211"/>
                  <a:pt x="8306448" y="6329279"/>
                  <a:pt x="8304851" y="6328613"/>
                </a:cubicBezTo>
                <a:cubicBezTo>
                  <a:pt x="8303387" y="6327948"/>
                  <a:pt x="8301790" y="6327682"/>
                  <a:pt x="8299793" y="6327682"/>
                </a:cubicBezTo>
                <a:close/>
                <a:moveTo>
                  <a:pt x="8082281" y="6327682"/>
                </a:moveTo>
                <a:cubicBezTo>
                  <a:pt x="8076424" y="6327682"/>
                  <a:pt x="8073894" y="6329545"/>
                  <a:pt x="8072297" y="6331276"/>
                </a:cubicBezTo>
                <a:cubicBezTo>
                  <a:pt x="8069768" y="6333938"/>
                  <a:pt x="8068703" y="6336733"/>
                  <a:pt x="8068703" y="6340727"/>
                </a:cubicBezTo>
                <a:cubicBezTo>
                  <a:pt x="8068703" y="6344854"/>
                  <a:pt x="8069768" y="6347649"/>
                  <a:pt x="8072297" y="6350178"/>
                </a:cubicBezTo>
                <a:cubicBezTo>
                  <a:pt x="8073894" y="6351777"/>
                  <a:pt x="8076424" y="6353640"/>
                  <a:pt x="8082281" y="6353640"/>
                </a:cubicBezTo>
                <a:cubicBezTo>
                  <a:pt x="8084277" y="6353640"/>
                  <a:pt x="8086007" y="6353241"/>
                  <a:pt x="8087605" y="6352708"/>
                </a:cubicBezTo>
                <a:cubicBezTo>
                  <a:pt x="8089069" y="6352176"/>
                  <a:pt x="8090401" y="6351244"/>
                  <a:pt x="8091332" y="6350311"/>
                </a:cubicBezTo>
                <a:cubicBezTo>
                  <a:pt x="8092397" y="6349113"/>
                  <a:pt x="8093329" y="6347782"/>
                  <a:pt x="8093994" y="6346052"/>
                </a:cubicBezTo>
                <a:cubicBezTo>
                  <a:pt x="8094660" y="6344454"/>
                  <a:pt x="8094926" y="6342590"/>
                  <a:pt x="8094926" y="6340594"/>
                </a:cubicBezTo>
                <a:cubicBezTo>
                  <a:pt x="8094926" y="6338730"/>
                  <a:pt x="8094660" y="6337000"/>
                  <a:pt x="8093994" y="6335403"/>
                </a:cubicBezTo>
                <a:cubicBezTo>
                  <a:pt x="8093329" y="6333805"/>
                  <a:pt x="8092397" y="6332474"/>
                  <a:pt x="8091332" y="6331276"/>
                </a:cubicBezTo>
                <a:cubicBezTo>
                  <a:pt x="8090267" y="6330211"/>
                  <a:pt x="8088936" y="6329279"/>
                  <a:pt x="8087338" y="6328613"/>
                </a:cubicBezTo>
                <a:cubicBezTo>
                  <a:pt x="8085874" y="6327948"/>
                  <a:pt x="8084277" y="6327682"/>
                  <a:pt x="8082281" y="6327682"/>
                </a:cubicBezTo>
                <a:close/>
                <a:moveTo>
                  <a:pt x="7864636" y="6327682"/>
                </a:moveTo>
                <a:cubicBezTo>
                  <a:pt x="7858779" y="6327682"/>
                  <a:pt x="7856249" y="6329545"/>
                  <a:pt x="7854652" y="6331276"/>
                </a:cubicBezTo>
                <a:cubicBezTo>
                  <a:pt x="7852123" y="6333938"/>
                  <a:pt x="7851058" y="6336733"/>
                  <a:pt x="7851058" y="6340727"/>
                </a:cubicBezTo>
                <a:cubicBezTo>
                  <a:pt x="7851058" y="6344854"/>
                  <a:pt x="7852123" y="6347649"/>
                  <a:pt x="7854652" y="6350178"/>
                </a:cubicBezTo>
                <a:cubicBezTo>
                  <a:pt x="7856249" y="6351777"/>
                  <a:pt x="7858779" y="6353640"/>
                  <a:pt x="7864636" y="6353640"/>
                </a:cubicBezTo>
                <a:cubicBezTo>
                  <a:pt x="7866633" y="6353640"/>
                  <a:pt x="7868363" y="6353241"/>
                  <a:pt x="7869961" y="6352708"/>
                </a:cubicBezTo>
                <a:cubicBezTo>
                  <a:pt x="7871425" y="6352176"/>
                  <a:pt x="7872756" y="6351244"/>
                  <a:pt x="7873687" y="6350311"/>
                </a:cubicBezTo>
                <a:cubicBezTo>
                  <a:pt x="7874753" y="6349113"/>
                  <a:pt x="7875685" y="6347782"/>
                  <a:pt x="7876350" y="6346052"/>
                </a:cubicBezTo>
                <a:cubicBezTo>
                  <a:pt x="7877015" y="6344454"/>
                  <a:pt x="7877282" y="6342590"/>
                  <a:pt x="7877282" y="6340594"/>
                </a:cubicBezTo>
                <a:cubicBezTo>
                  <a:pt x="7877282" y="6338730"/>
                  <a:pt x="7877015" y="6337000"/>
                  <a:pt x="7876350" y="6335403"/>
                </a:cubicBezTo>
                <a:cubicBezTo>
                  <a:pt x="7875685" y="6333805"/>
                  <a:pt x="7874753" y="6332474"/>
                  <a:pt x="7873687" y="6331276"/>
                </a:cubicBezTo>
                <a:cubicBezTo>
                  <a:pt x="7872623" y="6330211"/>
                  <a:pt x="7871291" y="6329279"/>
                  <a:pt x="7869694" y="6328613"/>
                </a:cubicBezTo>
                <a:cubicBezTo>
                  <a:pt x="7868230" y="6327948"/>
                  <a:pt x="7866633" y="6327682"/>
                  <a:pt x="7864636" y="6327682"/>
                </a:cubicBezTo>
                <a:close/>
                <a:moveTo>
                  <a:pt x="7646991" y="6327682"/>
                </a:moveTo>
                <a:cubicBezTo>
                  <a:pt x="7641134" y="6327682"/>
                  <a:pt x="7638604" y="6329545"/>
                  <a:pt x="7637007" y="6331276"/>
                </a:cubicBezTo>
                <a:cubicBezTo>
                  <a:pt x="7634478" y="6333938"/>
                  <a:pt x="7633413" y="6336733"/>
                  <a:pt x="7633413" y="6340727"/>
                </a:cubicBezTo>
                <a:cubicBezTo>
                  <a:pt x="7633413" y="6344854"/>
                  <a:pt x="7634478" y="6347649"/>
                  <a:pt x="7637007" y="6350178"/>
                </a:cubicBezTo>
                <a:cubicBezTo>
                  <a:pt x="7638604" y="6351777"/>
                  <a:pt x="7641134" y="6353640"/>
                  <a:pt x="7646991" y="6353640"/>
                </a:cubicBezTo>
                <a:cubicBezTo>
                  <a:pt x="7648987" y="6353640"/>
                  <a:pt x="7650851" y="6353241"/>
                  <a:pt x="7652315" y="6352708"/>
                </a:cubicBezTo>
                <a:cubicBezTo>
                  <a:pt x="7653780" y="6352176"/>
                  <a:pt x="7655111" y="6351244"/>
                  <a:pt x="7656042" y="6350311"/>
                </a:cubicBezTo>
                <a:cubicBezTo>
                  <a:pt x="7657108" y="6349113"/>
                  <a:pt x="7658039" y="6347782"/>
                  <a:pt x="7658705" y="6346052"/>
                </a:cubicBezTo>
                <a:cubicBezTo>
                  <a:pt x="7659504" y="6344454"/>
                  <a:pt x="7659769" y="6342590"/>
                  <a:pt x="7659769" y="6340594"/>
                </a:cubicBezTo>
                <a:cubicBezTo>
                  <a:pt x="7659769" y="6338730"/>
                  <a:pt x="7659370" y="6337000"/>
                  <a:pt x="7658705" y="6335403"/>
                </a:cubicBezTo>
                <a:cubicBezTo>
                  <a:pt x="7658039" y="6333805"/>
                  <a:pt x="7657108" y="6332474"/>
                  <a:pt x="7656042" y="6331276"/>
                </a:cubicBezTo>
                <a:cubicBezTo>
                  <a:pt x="7654977" y="6330211"/>
                  <a:pt x="7653646" y="6329279"/>
                  <a:pt x="7652049" y="6328613"/>
                </a:cubicBezTo>
                <a:cubicBezTo>
                  <a:pt x="7650584" y="6327948"/>
                  <a:pt x="7648987" y="6327682"/>
                  <a:pt x="7646991" y="6327682"/>
                </a:cubicBezTo>
                <a:close/>
                <a:moveTo>
                  <a:pt x="7429345" y="6327682"/>
                </a:moveTo>
                <a:cubicBezTo>
                  <a:pt x="7423488" y="6327682"/>
                  <a:pt x="7420958" y="6329545"/>
                  <a:pt x="7419361" y="6331276"/>
                </a:cubicBezTo>
                <a:cubicBezTo>
                  <a:pt x="7416832" y="6333938"/>
                  <a:pt x="7415768" y="6336733"/>
                  <a:pt x="7415768" y="6340727"/>
                </a:cubicBezTo>
                <a:cubicBezTo>
                  <a:pt x="7415768" y="6344854"/>
                  <a:pt x="7416832" y="6347649"/>
                  <a:pt x="7419361" y="6350178"/>
                </a:cubicBezTo>
                <a:cubicBezTo>
                  <a:pt x="7420958" y="6351777"/>
                  <a:pt x="7423488" y="6353640"/>
                  <a:pt x="7429345" y="6353640"/>
                </a:cubicBezTo>
                <a:cubicBezTo>
                  <a:pt x="7431342" y="6353640"/>
                  <a:pt x="7433206" y="6353241"/>
                  <a:pt x="7434670" y="6352708"/>
                </a:cubicBezTo>
                <a:cubicBezTo>
                  <a:pt x="7436134" y="6352176"/>
                  <a:pt x="7437466" y="6351244"/>
                  <a:pt x="7438397" y="6350311"/>
                </a:cubicBezTo>
                <a:cubicBezTo>
                  <a:pt x="7439462" y="6349113"/>
                  <a:pt x="7440394" y="6347782"/>
                  <a:pt x="7441059" y="6346052"/>
                </a:cubicBezTo>
                <a:cubicBezTo>
                  <a:pt x="7441858" y="6344454"/>
                  <a:pt x="7442124" y="6342590"/>
                  <a:pt x="7442124" y="6340594"/>
                </a:cubicBezTo>
                <a:cubicBezTo>
                  <a:pt x="7442124" y="6338730"/>
                  <a:pt x="7441725" y="6337000"/>
                  <a:pt x="7441059" y="6335403"/>
                </a:cubicBezTo>
                <a:cubicBezTo>
                  <a:pt x="7440394" y="6333805"/>
                  <a:pt x="7439462" y="6332474"/>
                  <a:pt x="7438397" y="6331276"/>
                </a:cubicBezTo>
                <a:cubicBezTo>
                  <a:pt x="7437332" y="6330211"/>
                  <a:pt x="7436001" y="6329279"/>
                  <a:pt x="7434403" y="6328613"/>
                </a:cubicBezTo>
                <a:cubicBezTo>
                  <a:pt x="7432939" y="6327948"/>
                  <a:pt x="7431342" y="6327682"/>
                  <a:pt x="7429345" y="6327682"/>
                </a:cubicBezTo>
                <a:close/>
                <a:moveTo>
                  <a:pt x="7211701" y="6327682"/>
                </a:moveTo>
                <a:cubicBezTo>
                  <a:pt x="7205844" y="6327682"/>
                  <a:pt x="7203314" y="6329545"/>
                  <a:pt x="7201717" y="6331276"/>
                </a:cubicBezTo>
                <a:cubicBezTo>
                  <a:pt x="7199188" y="6333938"/>
                  <a:pt x="7198123" y="6336733"/>
                  <a:pt x="7198123" y="6340727"/>
                </a:cubicBezTo>
                <a:cubicBezTo>
                  <a:pt x="7198123" y="6344854"/>
                  <a:pt x="7199188" y="6347649"/>
                  <a:pt x="7201717" y="6350178"/>
                </a:cubicBezTo>
                <a:cubicBezTo>
                  <a:pt x="7203314" y="6351777"/>
                  <a:pt x="7205844" y="6353640"/>
                  <a:pt x="7211701" y="6353640"/>
                </a:cubicBezTo>
                <a:cubicBezTo>
                  <a:pt x="7213830" y="6353640"/>
                  <a:pt x="7215561" y="6353241"/>
                  <a:pt x="7217026" y="6352708"/>
                </a:cubicBezTo>
                <a:cubicBezTo>
                  <a:pt x="7218490" y="6352176"/>
                  <a:pt x="7219821" y="6351244"/>
                  <a:pt x="7220752" y="6350311"/>
                </a:cubicBezTo>
                <a:cubicBezTo>
                  <a:pt x="7221818" y="6349113"/>
                  <a:pt x="7222750" y="6347782"/>
                  <a:pt x="7223415" y="6346052"/>
                </a:cubicBezTo>
                <a:cubicBezTo>
                  <a:pt x="7224214" y="6344454"/>
                  <a:pt x="7224480" y="6342590"/>
                  <a:pt x="7224480" y="6340594"/>
                </a:cubicBezTo>
                <a:cubicBezTo>
                  <a:pt x="7224480" y="6338730"/>
                  <a:pt x="7224080" y="6337000"/>
                  <a:pt x="7223415" y="6335403"/>
                </a:cubicBezTo>
                <a:cubicBezTo>
                  <a:pt x="7222750" y="6333805"/>
                  <a:pt x="7221818" y="6332474"/>
                  <a:pt x="7220752" y="6331276"/>
                </a:cubicBezTo>
                <a:cubicBezTo>
                  <a:pt x="7219687" y="6330211"/>
                  <a:pt x="7218356" y="6329279"/>
                  <a:pt x="7216759" y="6328613"/>
                </a:cubicBezTo>
                <a:cubicBezTo>
                  <a:pt x="7215295" y="6327948"/>
                  <a:pt x="7213698" y="6327682"/>
                  <a:pt x="7211701" y="6327682"/>
                </a:cubicBezTo>
                <a:close/>
                <a:moveTo>
                  <a:pt x="6994056" y="6327682"/>
                </a:moveTo>
                <a:cubicBezTo>
                  <a:pt x="6988199" y="6327682"/>
                  <a:pt x="6985669" y="6329545"/>
                  <a:pt x="6984072" y="6331276"/>
                </a:cubicBezTo>
                <a:cubicBezTo>
                  <a:pt x="6981543" y="6333938"/>
                  <a:pt x="6980478" y="6336733"/>
                  <a:pt x="6980478" y="6340727"/>
                </a:cubicBezTo>
                <a:cubicBezTo>
                  <a:pt x="6980478" y="6344854"/>
                  <a:pt x="6981543" y="6347649"/>
                  <a:pt x="6984072" y="6350178"/>
                </a:cubicBezTo>
                <a:cubicBezTo>
                  <a:pt x="6985669" y="6351777"/>
                  <a:pt x="6988199" y="6353640"/>
                  <a:pt x="6994056" y="6353640"/>
                </a:cubicBezTo>
                <a:cubicBezTo>
                  <a:pt x="6996185" y="6353640"/>
                  <a:pt x="6997916" y="6353241"/>
                  <a:pt x="6999380" y="6352708"/>
                </a:cubicBezTo>
                <a:cubicBezTo>
                  <a:pt x="7000844" y="6352176"/>
                  <a:pt x="7002176" y="6351244"/>
                  <a:pt x="7003107" y="6350311"/>
                </a:cubicBezTo>
                <a:cubicBezTo>
                  <a:pt x="7004172" y="6349113"/>
                  <a:pt x="7005104" y="6347782"/>
                  <a:pt x="7005769" y="6346052"/>
                </a:cubicBezTo>
                <a:cubicBezTo>
                  <a:pt x="7006568" y="6344454"/>
                  <a:pt x="7006834" y="6342590"/>
                  <a:pt x="7006834" y="6340594"/>
                </a:cubicBezTo>
                <a:cubicBezTo>
                  <a:pt x="7006834" y="6338730"/>
                  <a:pt x="7006435" y="6337000"/>
                  <a:pt x="7005769" y="6335403"/>
                </a:cubicBezTo>
                <a:cubicBezTo>
                  <a:pt x="7005104" y="6333805"/>
                  <a:pt x="7004172" y="6332474"/>
                  <a:pt x="7003107" y="6331276"/>
                </a:cubicBezTo>
                <a:cubicBezTo>
                  <a:pt x="7002042" y="6330211"/>
                  <a:pt x="7000711" y="6329279"/>
                  <a:pt x="6999113" y="6328613"/>
                </a:cubicBezTo>
                <a:cubicBezTo>
                  <a:pt x="6997649" y="6327948"/>
                  <a:pt x="6996052" y="6327682"/>
                  <a:pt x="6994056" y="6327682"/>
                </a:cubicBezTo>
                <a:close/>
                <a:moveTo>
                  <a:pt x="6776544" y="6327682"/>
                </a:moveTo>
                <a:cubicBezTo>
                  <a:pt x="6770687" y="6327682"/>
                  <a:pt x="6768157" y="6329545"/>
                  <a:pt x="6766560" y="6331276"/>
                </a:cubicBezTo>
                <a:cubicBezTo>
                  <a:pt x="6764031" y="6333938"/>
                  <a:pt x="6762966" y="6336733"/>
                  <a:pt x="6762966" y="6340727"/>
                </a:cubicBezTo>
                <a:cubicBezTo>
                  <a:pt x="6762966" y="6344854"/>
                  <a:pt x="6764031" y="6347649"/>
                  <a:pt x="6766560" y="6350178"/>
                </a:cubicBezTo>
                <a:cubicBezTo>
                  <a:pt x="6768157" y="6351777"/>
                  <a:pt x="6770687" y="6353640"/>
                  <a:pt x="6776544" y="6353640"/>
                </a:cubicBezTo>
                <a:cubicBezTo>
                  <a:pt x="6778541" y="6353640"/>
                  <a:pt x="6780270" y="6353241"/>
                  <a:pt x="6781869" y="6352708"/>
                </a:cubicBezTo>
                <a:cubicBezTo>
                  <a:pt x="6783333" y="6352176"/>
                  <a:pt x="6784664" y="6351244"/>
                  <a:pt x="6785595" y="6350311"/>
                </a:cubicBezTo>
                <a:cubicBezTo>
                  <a:pt x="6786661" y="6349113"/>
                  <a:pt x="6787593" y="6347782"/>
                  <a:pt x="6788258" y="6346052"/>
                </a:cubicBezTo>
                <a:cubicBezTo>
                  <a:pt x="6789057" y="6344454"/>
                  <a:pt x="6789323" y="6342590"/>
                  <a:pt x="6789323" y="6340594"/>
                </a:cubicBezTo>
                <a:cubicBezTo>
                  <a:pt x="6789323" y="6338730"/>
                  <a:pt x="6788923" y="6337000"/>
                  <a:pt x="6788258" y="6335403"/>
                </a:cubicBezTo>
                <a:cubicBezTo>
                  <a:pt x="6787593" y="6333805"/>
                  <a:pt x="6786661" y="6332474"/>
                  <a:pt x="6785595" y="6331276"/>
                </a:cubicBezTo>
                <a:cubicBezTo>
                  <a:pt x="6784530" y="6330211"/>
                  <a:pt x="6783199" y="6329279"/>
                  <a:pt x="6781602" y="6328613"/>
                </a:cubicBezTo>
                <a:cubicBezTo>
                  <a:pt x="6780138" y="6327948"/>
                  <a:pt x="6778541" y="6327682"/>
                  <a:pt x="6776544" y="6327682"/>
                </a:cubicBezTo>
                <a:close/>
                <a:moveTo>
                  <a:pt x="6558899" y="6327682"/>
                </a:moveTo>
                <a:cubicBezTo>
                  <a:pt x="6553042" y="6327682"/>
                  <a:pt x="6550512" y="6329545"/>
                  <a:pt x="6548915" y="6331276"/>
                </a:cubicBezTo>
                <a:cubicBezTo>
                  <a:pt x="6546386" y="6333938"/>
                  <a:pt x="6545321" y="6336733"/>
                  <a:pt x="6545321" y="6340727"/>
                </a:cubicBezTo>
                <a:cubicBezTo>
                  <a:pt x="6545321" y="6344854"/>
                  <a:pt x="6546386" y="6347649"/>
                  <a:pt x="6548915" y="6350178"/>
                </a:cubicBezTo>
                <a:cubicBezTo>
                  <a:pt x="6550512" y="6351777"/>
                  <a:pt x="6553042" y="6353640"/>
                  <a:pt x="6558899" y="6353640"/>
                </a:cubicBezTo>
                <a:cubicBezTo>
                  <a:pt x="6560895" y="6353640"/>
                  <a:pt x="6562759" y="6353241"/>
                  <a:pt x="6564223" y="6352708"/>
                </a:cubicBezTo>
                <a:cubicBezTo>
                  <a:pt x="6565687" y="6352176"/>
                  <a:pt x="6567019" y="6351244"/>
                  <a:pt x="6567950" y="6350311"/>
                </a:cubicBezTo>
                <a:cubicBezTo>
                  <a:pt x="6569015" y="6349113"/>
                  <a:pt x="6569947" y="6347782"/>
                  <a:pt x="6570612" y="6346052"/>
                </a:cubicBezTo>
                <a:cubicBezTo>
                  <a:pt x="6571412" y="6344454"/>
                  <a:pt x="6571677" y="6342590"/>
                  <a:pt x="6571677" y="6340594"/>
                </a:cubicBezTo>
                <a:cubicBezTo>
                  <a:pt x="6571677" y="6338730"/>
                  <a:pt x="6571278" y="6337000"/>
                  <a:pt x="6570612" y="6335403"/>
                </a:cubicBezTo>
                <a:cubicBezTo>
                  <a:pt x="6569947" y="6333805"/>
                  <a:pt x="6569015" y="6332474"/>
                  <a:pt x="6567950" y="6331276"/>
                </a:cubicBezTo>
                <a:cubicBezTo>
                  <a:pt x="6566885" y="6330211"/>
                  <a:pt x="6565554" y="6329279"/>
                  <a:pt x="6563956" y="6328613"/>
                </a:cubicBezTo>
                <a:cubicBezTo>
                  <a:pt x="6562492" y="6327948"/>
                  <a:pt x="6560895" y="6327682"/>
                  <a:pt x="6558899" y="6327682"/>
                </a:cubicBezTo>
                <a:close/>
                <a:moveTo>
                  <a:pt x="6341253" y="6327682"/>
                </a:moveTo>
                <a:cubicBezTo>
                  <a:pt x="6335396" y="6327682"/>
                  <a:pt x="6332867" y="6329545"/>
                  <a:pt x="6331270" y="6331276"/>
                </a:cubicBezTo>
                <a:cubicBezTo>
                  <a:pt x="6328740" y="6333938"/>
                  <a:pt x="6327675" y="6336733"/>
                  <a:pt x="6327675" y="6340727"/>
                </a:cubicBezTo>
                <a:cubicBezTo>
                  <a:pt x="6327675" y="6344854"/>
                  <a:pt x="6328740" y="6347649"/>
                  <a:pt x="6331270" y="6350178"/>
                </a:cubicBezTo>
                <a:cubicBezTo>
                  <a:pt x="6332867" y="6351777"/>
                  <a:pt x="6335396" y="6353640"/>
                  <a:pt x="6341253" y="6353640"/>
                </a:cubicBezTo>
                <a:cubicBezTo>
                  <a:pt x="6343250" y="6353640"/>
                  <a:pt x="6345114" y="6353241"/>
                  <a:pt x="6346578" y="6352708"/>
                </a:cubicBezTo>
                <a:cubicBezTo>
                  <a:pt x="6348042" y="6352176"/>
                  <a:pt x="6349373" y="6351244"/>
                  <a:pt x="6350305" y="6350311"/>
                </a:cubicBezTo>
                <a:cubicBezTo>
                  <a:pt x="6351370" y="6349113"/>
                  <a:pt x="6352302" y="6347782"/>
                  <a:pt x="6352968" y="6346052"/>
                </a:cubicBezTo>
                <a:cubicBezTo>
                  <a:pt x="6353766" y="6344454"/>
                  <a:pt x="6354033" y="6342590"/>
                  <a:pt x="6354033" y="6340594"/>
                </a:cubicBezTo>
                <a:cubicBezTo>
                  <a:pt x="6354033" y="6338730"/>
                  <a:pt x="6353633" y="6337000"/>
                  <a:pt x="6352968" y="6335403"/>
                </a:cubicBezTo>
                <a:cubicBezTo>
                  <a:pt x="6352302" y="6333805"/>
                  <a:pt x="6351370" y="6332474"/>
                  <a:pt x="6350305" y="6331276"/>
                </a:cubicBezTo>
                <a:cubicBezTo>
                  <a:pt x="6349241" y="6330211"/>
                  <a:pt x="6347909" y="6329279"/>
                  <a:pt x="6346312" y="6328613"/>
                </a:cubicBezTo>
                <a:cubicBezTo>
                  <a:pt x="6344848" y="6327948"/>
                  <a:pt x="6343250" y="6327682"/>
                  <a:pt x="6341253" y="6327682"/>
                </a:cubicBezTo>
                <a:close/>
                <a:moveTo>
                  <a:pt x="6123608" y="6327682"/>
                </a:moveTo>
                <a:cubicBezTo>
                  <a:pt x="6117751" y="6327682"/>
                  <a:pt x="6115221" y="6329545"/>
                  <a:pt x="6113624" y="6331276"/>
                </a:cubicBezTo>
                <a:cubicBezTo>
                  <a:pt x="6111095" y="6333938"/>
                  <a:pt x="6110030" y="6336733"/>
                  <a:pt x="6110030" y="6340727"/>
                </a:cubicBezTo>
                <a:cubicBezTo>
                  <a:pt x="6110030" y="6344854"/>
                  <a:pt x="6111095" y="6347649"/>
                  <a:pt x="6113624" y="6350178"/>
                </a:cubicBezTo>
                <a:cubicBezTo>
                  <a:pt x="6115221" y="6351777"/>
                  <a:pt x="6117751" y="6353640"/>
                  <a:pt x="6123608" y="6353640"/>
                </a:cubicBezTo>
                <a:cubicBezTo>
                  <a:pt x="6125737" y="6353640"/>
                  <a:pt x="6127468" y="6353241"/>
                  <a:pt x="6128932" y="6352708"/>
                </a:cubicBezTo>
                <a:cubicBezTo>
                  <a:pt x="6130530" y="6352176"/>
                  <a:pt x="6131728" y="6351244"/>
                  <a:pt x="6132659" y="6350311"/>
                </a:cubicBezTo>
                <a:cubicBezTo>
                  <a:pt x="6133724" y="6349113"/>
                  <a:pt x="6134656" y="6347782"/>
                  <a:pt x="6135322" y="6346052"/>
                </a:cubicBezTo>
                <a:cubicBezTo>
                  <a:pt x="6135987" y="6344454"/>
                  <a:pt x="6136387" y="6342590"/>
                  <a:pt x="6136387" y="6340594"/>
                </a:cubicBezTo>
                <a:cubicBezTo>
                  <a:pt x="6136387" y="6338730"/>
                  <a:pt x="6135987" y="6337000"/>
                  <a:pt x="6135322" y="6335403"/>
                </a:cubicBezTo>
                <a:cubicBezTo>
                  <a:pt x="6134656" y="6333805"/>
                  <a:pt x="6133724" y="6332474"/>
                  <a:pt x="6132659" y="6331276"/>
                </a:cubicBezTo>
                <a:cubicBezTo>
                  <a:pt x="6131594" y="6330211"/>
                  <a:pt x="6130263" y="6329279"/>
                  <a:pt x="6128666" y="6328613"/>
                </a:cubicBezTo>
                <a:cubicBezTo>
                  <a:pt x="6127202" y="6327948"/>
                  <a:pt x="6125604" y="6327682"/>
                  <a:pt x="6123608" y="6327682"/>
                </a:cubicBezTo>
                <a:close/>
                <a:moveTo>
                  <a:pt x="5905963" y="6327682"/>
                </a:moveTo>
                <a:cubicBezTo>
                  <a:pt x="5900106" y="6327682"/>
                  <a:pt x="5897576" y="6329545"/>
                  <a:pt x="5895979" y="6331276"/>
                </a:cubicBezTo>
                <a:cubicBezTo>
                  <a:pt x="5893450" y="6333938"/>
                  <a:pt x="5892385" y="6336733"/>
                  <a:pt x="5892385" y="6340727"/>
                </a:cubicBezTo>
                <a:cubicBezTo>
                  <a:pt x="5892385" y="6344854"/>
                  <a:pt x="5893450" y="6347649"/>
                  <a:pt x="5895979" y="6350178"/>
                </a:cubicBezTo>
                <a:cubicBezTo>
                  <a:pt x="5897576" y="6351777"/>
                  <a:pt x="5900106" y="6353640"/>
                  <a:pt x="5905963" y="6353640"/>
                </a:cubicBezTo>
                <a:cubicBezTo>
                  <a:pt x="5908093" y="6353640"/>
                  <a:pt x="5909823" y="6353241"/>
                  <a:pt x="5911287" y="6352708"/>
                </a:cubicBezTo>
                <a:cubicBezTo>
                  <a:pt x="5912751" y="6352176"/>
                  <a:pt x="5914083" y="6351244"/>
                  <a:pt x="5915014" y="6350311"/>
                </a:cubicBezTo>
                <a:cubicBezTo>
                  <a:pt x="5916079" y="6349113"/>
                  <a:pt x="5917011" y="6347782"/>
                  <a:pt x="5917677" y="6346052"/>
                </a:cubicBezTo>
                <a:cubicBezTo>
                  <a:pt x="5918342" y="6344454"/>
                  <a:pt x="5918742" y="6342590"/>
                  <a:pt x="5918742" y="6340594"/>
                </a:cubicBezTo>
                <a:cubicBezTo>
                  <a:pt x="5918742" y="6338730"/>
                  <a:pt x="5918342" y="6337000"/>
                  <a:pt x="5917677" y="6335403"/>
                </a:cubicBezTo>
                <a:cubicBezTo>
                  <a:pt x="5917011" y="6333805"/>
                  <a:pt x="5916079" y="6332474"/>
                  <a:pt x="5915014" y="6331276"/>
                </a:cubicBezTo>
                <a:cubicBezTo>
                  <a:pt x="5913950" y="6330211"/>
                  <a:pt x="5912618" y="6329279"/>
                  <a:pt x="5911021" y="6328613"/>
                </a:cubicBezTo>
                <a:cubicBezTo>
                  <a:pt x="5909557" y="6327948"/>
                  <a:pt x="5907826" y="6327682"/>
                  <a:pt x="5905963" y="6327682"/>
                </a:cubicBezTo>
                <a:close/>
                <a:moveTo>
                  <a:pt x="5688451" y="6327682"/>
                </a:moveTo>
                <a:cubicBezTo>
                  <a:pt x="5682594" y="6327682"/>
                  <a:pt x="5680064" y="6329545"/>
                  <a:pt x="5678467" y="6331276"/>
                </a:cubicBezTo>
                <a:cubicBezTo>
                  <a:pt x="5675938" y="6333938"/>
                  <a:pt x="5674873" y="6336733"/>
                  <a:pt x="5674873" y="6340727"/>
                </a:cubicBezTo>
                <a:cubicBezTo>
                  <a:pt x="5674873" y="6344854"/>
                  <a:pt x="5675938" y="6347649"/>
                  <a:pt x="5678467" y="6350178"/>
                </a:cubicBezTo>
                <a:cubicBezTo>
                  <a:pt x="5680064" y="6351777"/>
                  <a:pt x="5682594" y="6353640"/>
                  <a:pt x="5688451" y="6353640"/>
                </a:cubicBezTo>
                <a:cubicBezTo>
                  <a:pt x="5690447" y="6353640"/>
                  <a:pt x="5692178" y="6353241"/>
                  <a:pt x="5693775" y="6352708"/>
                </a:cubicBezTo>
                <a:cubicBezTo>
                  <a:pt x="5695239" y="6352176"/>
                  <a:pt x="5696571" y="6351244"/>
                  <a:pt x="5697502" y="6350311"/>
                </a:cubicBezTo>
                <a:cubicBezTo>
                  <a:pt x="5698567" y="6349113"/>
                  <a:pt x="5699499" y="6347782"/>
                  <a:pt x="5700165" y="6346052"/>
                </a:cubicBezTo>
                <a:cubicBezTo>
                  <a:pt x="5700830" y="6344454"/>
                  <a:pt x="5701230" y="6342590"/>
                  <a:pt x="5701230" y="6340594"/>
                </a:cubicBezTo>
                <a:cubicBezTo>
                  <a:pt x="5701230" y="6338730"/>
                  <a:pt x="5700830" y="6337000"/>
                  <a:pt x="5700165" y="6335403"/>
                </a:cubicBezTo>
                <a:cubicBezTo>
                  <a:pt x="5699499" y="6333805"/>
                  <a:pt x="5698567" y="6332474"/>
                  <a:pt x="5697502" y="6331276"/>
                </a:cubicBezTo>
                <a:cubicBezTo>
                  <a:pt x="5696437" y="6330211"/>
                  <a:pt x="5695106" y="6329279"/>
                  <a:pt x="5693509" y="6328613"/>
                </a:cubicBezTo>
                <a:cubicBezTo>
                  <a:pt x="5692045" y="6327948"/>
                  <a:pt x="5690314" y="6327682"/>
                  <a:pt x="5688451" y="6327682"/>
                </a:cubicBezTo>
                <a:close/>
                <a:moveTo>
                  <a:pt x="5470806" y="6327682"/>
                </a:moveTo>
                <a:cubicBezTo>
                  <a:pt x="5464949" y="6327682"/>
                  <a:pt x="5462419" y="6329545"/>
                  <a:pt x="5460822" y="6331276"/>
                </a:cubicBezTo>
                <a:cubicBezTo>
                  <a:pt x="5458293" y="6333938"/>
                  <a:pt x="5457228" y="6336733"/>
                  <a:pt x="5457228" y="6340727"/>
                </a:cubicBezTo>
                <a:cubicBezTo>
                  <a:pt x="5457228" y="6344854"/>
                  <a:pt x="5458293" y="6347649"/>
                  <a:pt x="5460822" y="6350178"/>
                </a:cubicBezTo>
                <a:cubicBezTo>
                  <a:pt x="5462419" y="6351777"/>
                  <a:pt x="5464949" y="6353640"/>
                  <a:pt x="5470806" y="6353640"/>
                </a:cubicBezTo>
                <a:cubicBezTo>
                  <a:pt x="5472802" y="6353640"/>
                  <a:pt x="5474666" y="6353241"/>
                  <a:pt x="5476130" y="6352708"/>
                </a:cubicBezTo>
                <a:cubicBezTo>
                  <a:pt x="5477594" y="6352176"/>
                  <a:pt x="5478926" y="6351244"/>
                  <a:pt x="5479857" y="6350311"/>
                </a:cubicBezTo>
                <a:cubicBezTo>
                  <a:pt x="5480922" y="6349113"/>
                  <a:pt x="5481854" y="6347782"/>
                  <a:pt x="5482520" y="6346052"/>
                </a:cubicBezTo>
                <a:cubicBezTo>
                  <a:pt x="5483319" y="6344454"/>
                  <a:pt x="5483585" y="6342590"/>
                  <a:pt x="5483585" y="6340594"/>
                </a:cubicBezTo>
                <a:cubicBezTo>
                  <a:pt x="5483585" y="6338730"/>
                  <a:pt x="5483185" y="6337000"/>
                  <a:pt x="5482520" y="6335403"/>
                </a:cubicBezTo>
                <a:cubicBezTo>
                  <a:pt x="5481854" y="6333805"/>
                  <a:pt x="5480922" y="6332474"/>
                  <a:pt x="5479857" y="6331276"/>
                </a:cubicBezTo>
                <a:cubicBezTo>
                  <a:pt x="5478793" y="6330211"/>
                  <a:pt x="5477461" y="6329279"/>
                  <a:pt x="5475864" y="6328613"/>
                </a:cubicBezTo>
                <a:cubicBezTo>
                  <a:pt x="5474400" y="6327948"/>
                  <a:pt x="5472669" y="6327682"/>
                  <a:pt x="5470806" y="6327682"/>
                </a:cubicBezTo>
                <a:close/>
                <a:moveTo>
                  <a:pt x="5253160" y="6327682"/>
                </a:moveTo>
                <a:cubicBezTo>
                  <a:pt x="5247303" y="6327682"/>
                  <a:pt x="5244774" y="6329545"/>
                  <a:pt x="5243177" y="6331276"/>
                </a:cubicBezTo>
                <a:cubicBezTo>
                  <a:pt x="5240647" y="6333938"/>
                  <a:pt x="5239583" y="6336733"/>
                  <a:pt x="5239583" y="6340727"/>
                </a:cubicBezTo>
                <a:cubicBezTo>
                  <a:pt x="5239583" y="6344854"/>
                  <a:pt x="5240647" y="6347649"/>
                  <a:pt x="5243177" y="6350178"/>
                </a:cubicBezTo>
                <a:cubicBezTo>
                  <a:pt x="5244774" y="6351777"/>
                  <a:pt x="5247303" y="6353640"/>
                  <a:pt x="5253160" y="6353640"/>
                </a:cubicBezTo>
                <a:cubicBezTo>
                  <a:pt x="5255157" y="6353640"/>
                  <a:pt x="5257021" y="6353241"/>
                  <a:pt x="5258485" y="6352708"/>
                </a:cubicBezTo>
                <a:cubicBezTo>
                  <a:pt x="5259949" y="6352176"/>
                  <a:pt x="5261280" y="6351244"/>
                  <a:pt x="5262212" y="6350311"/>
                </a:cubicBezTo>
                <a:cubicBezTo>
                  <a:pt x="5263277" y="6349113"/>
                  <a:pt x="5264209" y="6347782"/>
                  <a:pt x="5264875" y="6346052"/>
                </a:cubicBezTo>
                <a:cubicBezTo>
                  <a:pt x="5265673" y="6344454"/>
                  <a:pt x="5265939" y="6342590"/>
                  <a:pt x="5265939" y="6340594"/>
                </a:cubicBezTo>
                <a:cubicBezTo>
                  <a:pt x="5265939" y="6338730"/>
                  <a:pt x="5265540" y="6337000"/>
                  <a:pt x="5264875" y="6335403"/>
                </a:cubicBezTo>
                <a:cubicBezTo>
                  <a:pt x="5264209" y="6333805"/>
                  <a:pt x="5263277" y="6332474"/>
                  <a:pt x="5262212" y="6331276"/>
                </a:cubicBezTo>
                <a:cubicBezTo>
                  <a:pt x="5261147" y="6330211"/>
                  <a:pt x="5259816" y="6329279"/>
                  <a:pt x="5258219" y="6328613"/>
                </a:cubicBezTo>
                <a:cubicBezTo>
                  <a:pt x="5256754" y="6327948"/>
                  <a:pt x="5255024" y="6327682"/>
                  <a:pt x="5253160" y="6327682"/>
                </a:cubicBezTo>
                <a:close/>
                <a:moveTo>
                  <a:pt x="5035515" y="6327682"/>
                </a:moveTo>
                <a:cubicBezTo>
                  <a:pt x="5029658" y="6327682"/>
                  <a:pt x="5027129" y="6329545"/>
                  <a:pt x="5025532" y="6331276"/>
                </a:cubicBezTo>
                <a:cubicBezTo>
                  <a:pt x="5023002" y="6333938"/>
                  <a:pt x="5021938" y="6336733"/>
                  <a:pt x="5021938" y="6340727"/>
                </a:cubicBezTo>
                <a:cubicBezTo>
                  <a:pt x="5021938" y="6344854"/>
                  <a:pt x="5023002" y="6347649"/>
                  <a:pt x="5025532" y="6350178"/>
                </a:cubicBezTo>
                <a:cubicBezTo>
                  <a:pt x="5027129" y="6351777"/>
                  <a:pt x="5029658" y="6353640"/>
                  <a:pt x="5035515" y="6353640"/>
                </a:cubicBezTo>
                <a:cubicBezTo>
                  <a:pt x="5037645" y="6353640"/>
                  <a:pt x="5039376" y="6353241"/>
                  <a:pt x="5040840" y="6352708"/>
                </a:cubicBezTo>
                <a:cubicBezTo>
                  <a:pt x="5042304" y="6352176"/>
                  <a:pt x="5043636" y="6351244"/>
                  <a:pt x="5044567" y="6350311"/>
                </a:cubicBezTo>
                <a:cubicBezTo>
                  <a:pt x="5045632" y="6349113"/>
                  <a:pt x="5046564" y="6347782"/>
                  <a:pt x="5047230" y="6346052"/>
                </a:cubicBezTo>
                <a:cubicBezTo>
                  <a:pt x="5048028" y="6344454"/>
                  <a:pt x="5048294" y="6342590"/>
                  <a:pt x="5048294" y="6340594"/>
                </a:cubicBezTo>
                <a:cubicBezTo>
                  <a:pt x="5048294" y="6338730"/>
                  <a:pt x="5047895" y="6337000"/>
                  <a:pt x="5047230" y="6335403"/>
                </a:cubicBezTo>
                <a:cubicBezTo>
                  <a:pt x="5046564" y="6333805"/>
                  <a:pt x="5045632" y="6332474"/>
                  <a:pt x="5044567" y="6331276"/>
                </a:cubicBezTo>
                <a:cubicBezTo>
                  <a:pt x="5043502" y="6330211"/>
                  <a:pt x="5042171" y="6329279"/>
                  <a:pt x="5040574" y="6328613"/>
                </a:cubicBezTo>
                <a:cubicBezTo>
                  <a:pt x="5039110" y="6327948"/>
                  <a:pt x="5037379" y="6327682"/>
                  <a:pt x="5035515" y="6327682"/>
                </a:cubicBezTo>
                <a:close/>
                <a:moveTo>
                  <a:pt x="4817870" y="6327682"/>
                </a:moveTo>
                <a:cubicBezTo>
                  <a:pt x="4812013" y="6327682"/>
                  <a:pt x="4809484" y="6329545"/>
                  <a:pt x="4807887" y="6331276"/>
                </a:cubicBezTo>
                <a:cubicBezTo>
                  <a:pt x="4805357" y="6333938"/>
                  <a:pt x="4804293" y="6336733"/>
                  <a:pt x="4804293" y="6340727"/>
                </a:cubicBezTo>
                <a:cubicBezTo>
                  <a:pt x="4804293" y="6344854"/>
                  <a:pt x="4805357" y="6347649"/>
                  <a:pt x="4807887" y="6350178"/>
                </a:cubicBezTo>
                <a:cubicBezTo>
                  <a:pt x="4809484" y="6351777"/>
                  <a:pt x="4812013" y="6353640"/>
                  <a:pt x="4817870" y="6353640"/>
                </a:cubicBezTo>
                <a:cubicBezTo>
                  <a:pt x="4820000" y="6353640"/>
                  <a:pt x="4821731" y="6353241"/>
                  <a:pt x="4823195" y="6352708"/>
                </a:cubicBezTo>
                <a:cubicBezTo>
                  <a:pt x="4824659" y="6352176"/>
                  <a:pt x="4825857" y="6351244"/>
                  <a:pt x="4826922" y="6350311"/>
                </a:cubicBezTo>
                <a:cubicBezTo>
                  <a:pt x="4827987" y="6349113"/>
                  <a:pt x="4828919" y="6347782"/>
                  <a:pt x="4829585" y="6346052"/>
                </a:cubicBezTo>
                <a:cubicBezTo>
                  <a:pt x="4830383" y="6344454"/>
                  <a:pt x="4830650" y="6342590"/>
                  <a:pt x="4830650" y="6340594"/>
                </a:cubicBezTo>
                <a:cubicBezTo>
                  <a:pt x="4830650" y="6338730"/>
                  <a:pt x="4830250" y="6337000"/>
                  <a:pt x="4829585" y="6335403"/>
                </a:cubicBezTo>
                <a:cubicBezTo>
                  <a:pt x="4828919" y="6333805"/>
                  <a:pt x="4827987" y="6332474"/>
                  <a:pt x="4826922" y="6331276"/>
                </a:cubicBezTo>
                <a:cubicBezTo>
                  <a:pt x="4825857" y="6330211"/>
                  <a:pt x="4824526" y="6329279"/>
                  <a:pt x="4822929" y="6328613"/>
                </a:cubicBezTo>
                <a:cubicBezTo>
                  <a:pt x="4821465" y="6327948"/>
                  <a:pt x="4819734" y="6327682"/>
                  <a:pt x="4817870" y="6327682"/>
                </a:cubicBezTo>
                <a:close/>
                <a:moveTo>
                  <a:pt x="4600226" y="6327682"/>
                </a:moveTo>
                <a:cubicBezTo>
                  <a:pt x="4594369" y="6327682"/>
                  <a:pt x="4591839" y="6329545"/>
                  <a:pt x="4590242" y="6331276"/>
                </a:cubicBezTo>
                <a:cubicBezTo>
                  <a:pt x="4587713" y="6333938"/>
                  <a:pt x="4586648" y="6336733"/>
                  <a:pt x="4586648" y="6340727"/>
                </a:cubicBezTo>
                <a:cubicBezTo>
                  <a:pt x="4586648" y="6344854"/>
                  <a:pt x="4587713" y="6347649"/>
                  <a:pt x="4590242" y="6350178"/>
                </a:cubicBezTo>
                <a:cubicBezTo>
                  <a:pt x="4591839" y="6351777"/>
                  <a:pt x="4594369" y="6353640"/>
                  <a:pt x="4600226" y="6353640"/>
                </a:cubicBezTo>
                <a:cubicBezTo>
                  <a:pt x="4602355" y="6353640"/>
                  <a:pt x="4604086" y="6353241"/>
                  <a:pt x="4605550" y="6352708"/>
                </a:cubicBezTo>
                <a:cubicBezTo>
                  <a:pt x="4607148" y="6352176"/>
                  <a:pt x="4608346" y="6351244"/>
                  <a:pt x="4609277" y="6350311"/>
                </a:cubicBezTo>
                <a:cubicBezTo>
                  <a:pt x="4610342" y="6349113"/>
                  <a:pt x="4611274" y="6347782"/>
                  <a:pt x="4611940" y="6346052"/>
                </a:cubicBezTo>
                <a:cubicBezTo>
                  <a:pt x="4612605" y="6344454"/>
                  <a:pt x="4613005" y="6342590"/>
                  <a:pt x="4613005" y="6340594"/>
                </a:cubicBezTo>
                <a:cubicBezTo>
                  <a:pt x="4613005" y="6338730"/>
                  <a:pt x="4612605" y="6337000"/>
                  <a:pt x="4611940" y="6335403"/>
                </a:cubicBezTo>
                <a:cubicBezTo>
                  <a:pt x="4611274" y="6333805"/>
                  <a:pt x="4610342" y="6332474"/>
                  <a:pt x="4609277" y="6331276"/>
                </a:cubicBezTo>
                <a:cubicBezTo>
                  <a:pt x="4608212" y="6330211"/>
                  <a:pt x="4606881" y="6329279"/>
                  <a:pt x="4605284" y="6328613"/>
                </a:cubicBezTo>
                <a:cubicBezTo>
                  <a:pt x="4603820" y="6327948"/>
                  <a:pt x="4602222" y="6327682"/>
                  <a:pt x="4600226" y="6327682"/>
                </a:cubicBezTo>
                <a:close/>
                <a:moveTo>
                  <a:pt x="4382713" y="6327682"/>
                </a:moveTo>
                <a:cubicBezTo>
                  <a:pt x="4376857" y="6327682"/>
                  <a:pt x="4374327" y="6329545"/>
                  <a:pt x="4372730" y="6331276"/>
                </a:cubicBezTo>
                <a:cubicBezTo>
                  <a:pt x="4370201" y="6333938"/>
                  <a:pt x="4369136" y="6336733"/>
                  <a:pt x="4369136" y="6340727"/>
                </a:cubicBezTo>
                <a:cubicBezTo>
                  <a:pt x="4369136" y="6344854"/>
                  <a:pt x="4370201" y="6347649"/>
                  <a:pt x="4372730" y="6350178"/>
                </a:cubicBezTo>
                <a:cubicBezTo>
                  <a:pt x="4374327" y="6351777"/>
                  <a:pt x="4376857" y="6353640"/>
                  <a:pt x="4382713" y="6353640"/>
                </a:cubicBezTo>
                <a:cubicBezTo>
                  <a:pt x="4384710" y="6353640"/>
                  <a:pt x="4386441" y="6353241"/>
                  <a:pt x="4388038" y="6352708"/>
                </a:cubicBezTo>
                <a:cubicBezTo>
                  <a:pt x="4389502" y="6352176"/>
                  <a:pt x="4390834" y="6351244"/>
                  <a:pt x="4391765" y="6350311"/>
                </a:cubicBezTo>
                <a:cubicBezTo>
                  <a:pt x="4392830" y="6349113"/>
                  <a:pt x="4393762" y="6347782"/>
                  <a:pt x="4394428" y="6346052"/>
                </a:cubicBezTo>
                <a:cubicBezTo>
                  <a:pt x="4395093" y="6344454"/>
                  <a:pt x="4395493" y="6342590"/>
                  <a:pt x="4395493" y="6340594"/>
                </a:cubicBezTo>
                <a:cubicBezTo>
                  <a:pt x="4395493" y="6338730"/>
                  <a:pt x="4395093" y="6337000"/>
                  <a:pt x="4394428" y="6335403"/>
                </a:cubicBezTo>
                <a:cubicBezTo>
                  <a:pt x="4393762" y="6333805"/>
                  <a:pt x="4392830" y="6332474"/>
                  <a:pt x="4391765" y="6331276"/>
                </a:cubicBezTo>
                <a:cubicBezTo>
                  <a:pt x="4390700" y="6330211"/>
                  <a:pt x="4389369" y="6329279"/>
                  <a:pt x="4387772" y="6328613"/>
                </a:cubicBezTo>
                <a:cubicBezTo>
                  <a:pt x="4386308" y="6327948"/>
                  <a:pt x="4384710" y="6327682"/>
                  <a:pt x="4382713" y="6327682"/>
                </a:cubicBezTo>
                <a:close/>
                <a:moveTo>
                  <a:pt x="4165068" y="6327682"/>
                </a:moveTo>
                <a:cubicBezTo>
                  <a:pt x="4159211" y="6327682"/>
                  <a:pt x="4156681" y="6329545"/>
                  <a:pt x="4155084" y="6331276"/>
                </a:cubicBezTo>
                <a:cubicBezTo>
                  <a:pt x="4152555" y="6333938"/>
                  <a:pt x="4151490" y="6336733"/>
                  <a:pt x="4151490" y="6340727"/>
                </a:cubicBezTo>
                <a:cubicBezTo>
                  <a:pt x="4151490" y="6344854"/>
                  <a:pt x="4152555" y="6347649"/>
                  <a:pt x="4155084" y="6350178"/>
                </a:cubicBezTo>
                <a:cubicBezTo>
                  <a:pt x="4156681" y="6351777"/>
                  <a:pt x="4159211" y="6353640"/>
                  <a:pt x="4165068" y="6353640"/>
                </a:cubicBezTo>
                <a:cubicBezTo>
                  <a:pt x="4167064" y="6353640"/>
                  <a:pt x="4168928" y="6353241"/>
                  <a:pt x="4170392" y="6352708"/>
                </a:cubicBezTo>
                <a:cubicBezTo>
                  <a:pt x="4171856" y="6352176"/>
                  <a:pt x="4173188" y="6351244"/>
                  <a:pt x="4174119" y="6350311"/>
                </a:cubicBezTo>
                <a:cubicBezTo>
                  <a:pt x="4175184" y="6349113"/>
                  <a:pt x="4176116" y="6347782"/>
                  <a:pt x="4176782" y="6346052"/>
                </a:cubicBezTo>
                <a:cubicBezTo>
                  <a:pt x="4177447" y="6344454"/>
                  <a:pt x="4177847" y="6342590"/>
                  <a:pt x="4177847" y="6340594"/>
                </a:cubicBezTo>
                <a:cubicBezTo>
                  <a:pt x="4177847" y="6338730"/>
                  <a:pt x="4177447" y="6337000"/>
                  <a:pt x="4176782" y="6335403"/>
                </a:cubicBezTo>
                <a:cubicBezTo>
                  <a:pt x="4176116" y="6333805"/>
                  <a:pt x="4175184" y="6332474"/>
                  <a:pt x="4174119" y="6331276"/>
                </a:cubicBezTo>
                <a:cubicBezTo>
                  <a:pt x="4173054" y="6330211"/>
                  <a:pt x="4171723" y="6329279"/>
                  <a:pt x="4170126" y="6328613"/>
                </a:cubicBezTo>
                <a:cubicBezTo>
                  <a:pt x="4168662" y="6327948"/>
                  <a:pt x="4167064" y="6327682"/>
                  <a:pt x="4165068" y="6327682"/>
                </a:cubicBezTo>
                <a:close/>
                <a:moveTo>
                  <a:pt x="3947767" y="6327682"/>
                </a:moveTo>
                <a:cubicBezTo>
                  <a:pt x="3941910" y="6327682"/>
                  <a:pt x="3939381" y="6329545"/>
                  <a:pt x="3937784" y="6331276"/>
                </a:cubicBezTo>
                <a:cubicBezTo>
                  <a:pt x="3935253" y="6333938"/>
                  <a:pt x="3934190" y="6336733"/>
                  <a:pt x="3934190" y="6340727"/>
                </a:cubicBezTo>
                <a:cubicBezTo>
                  <a:pt x="3934190" y="6344854"/>
                  <a:pt x="3935253" y="6347649"/>
                  <a:pt x="3937784" y="6350178"/>
                </a:cubicBezTo>
                <a:cubicBezTo>
                  <a:pt x="3939381" y="6351777"/>
                  <a:pt x="3941910" y="6353640"/>
                  <a:pt x="3947767" y="6353640"/>
                </a:cubicBezTo>
                <a:cubicBezTo>
                  <a:pt x="3949765" y="6353640"/>
                  <a:pt x="3951630" y="6353241"/>
                  <a:pt x="3953096" y="6352708"/>
                </a:cubicBezTo>
                <a:cubicBezTo>
                  <a:pt x="3954559" y="6352176"/>
                  <a:pt x="3955891" y="6351244"/>
                  <a:pt x="3956823" y="6350311"/>
                </a:cubicBezTo>
                <a:cubicBezTo>
                  <a:pt x="3957888" y="6349113"/>
                  <a:pt x="3958821" y="6347782"/>
                  <a:pt x="3959486" y="6346052"/>
                </a:cubicBezTo>
                <a:cubicBezTo>
                  <a:pt x="3960151" y="6344454"/>
                  <a:pt x="3960551" y="6342590"/>
                  <a:pt x="3960551" y="6340594"/>
                </a:cubicBezTo>
                <a:cubicBezTo>
                  <a:pt x="3960551" y="6338730"/>
                  <a:pt x="3960151" y="6337000"/>
                  <a:pt x="3959486" y="6335403"/>
                </a:cubicBezTo>
                <a:cubicBezTo>
                  <a:pt x="3958821" y="6333805"/>
                  <a:pt x="3957888" y="6332474"/>
                  <a:pt x="3956823" y="6331276"/>
                </a:cubicBezTo>
                <a:cubicBezTo>
                  <a:pt x="3955758" y="6330211"/>
                  <a:pt x="3954427" y="6329279"/>
                  <a:pt x="3952829" y="6328613"/>
                </a:cubicBezTo>
                <a:cubicBezTo>
                  <a:pt x="3951362" y="6327948"/>
                  <a:pt x="3949765" y="6327682"/>
                  <a:pt x="3947767" y="6327682"/>
                </a:cubicBezTo>
                <a:close/>
                <a:moveTo>
                  <a:pt x="3730107" y="6327682"/>
                </a:moveTo>
                <a:cubicBezTo>
                  <a:pt x="3724249" y="6327682"/>
                  <a:pt x="3721719" y="6329545"/>
                  <a:pt x="3720120" y="6331276"/>
                </a:cubicBezTo>
                <a:cubicBezTo>
                  <a:pt x="3717590" y="6333938"/>
                  <a:pt x="3716527" y="6336733"/>
                  <a:pt x="3716527" y="6340727"/>
                </a:cubicBezTo>
                <a:cubicBezTo>
                  <a:pt x="3716527" y="6344854"/>
                  <a:pt x="3717590" y="6347649"/>
                  <a:pt x="3720120" y="6350178"/>
                </a:cubicBezTo>
                <a:cubicBezTo>
                  <a:pt x="3721719" y="6351777"/>
                  <a:pt x="3724249" y="6353640"/>
                  <a:pt x="3730107" y="6353640"/>
                </a:cubicBezTo>
                <a:cubicBezTo>
                  <a:pt x="3732237" y="6353640"/>
                  <a:pt x="3733969" y="6353241"/>
                  <a:pt x="3735432" y="6352708"/>
                </a:cubicBezTo>
                <a:cubicBezTo>
                  <a:pt x="3736897" y="6352176"/>
                  <a:pt x="3738229" y="6351244"/>
                  <a:pt x="3739160" y="6350311"/>
                </a:cubicBezTo>
                <a:cubicBezTo>
                  <a:pt x="3740225" y="6349113"/>
                  <a:pt x="3741157" y="6347782"/>
                  <a:pt x="3741823" y="6346052"/>
                </a:cubicBezTo>
                <a:cubicBezTo>
                  <a:pt x="3742488" y="6344454"/>
                  <a:pt x="3742887" y="6342590"/>
                  <a:pt x="3742887" y="6340594"/>
                </a:cubicBezTo>
                <a:cubicBezTo>
                  <a:pt x="3742887" y="6338730"/>
                  <a:pt x="3742488" y="6337000"/>
                  <a:pt x="3741823" y="6335403"/>
                </a:cubicBezTo>
                <a:cubicBezTo>
                  <a:pt x="3741157" y="6333805"/>
                  <a:pt x="3740225" y="6332474"/>
                  <a:pt x="3739160" y="6331276"/>
                </a:cubicBezTo>
                <a:cubicBezTo>
                  <a:pt x="3738095" y="6330211"/>
                  <a:pt x="3736764" y="6329279"/>
                  <a:pt x="3735167" y="6328613"/>
                </a:cubicBezTo>
                <a:cubicBezTo>
                  <a:pt x="3733702" y="6327948"/>
                  <a:pt x="3732104" y="6327682"/>
                  <a:pt x="3730107" y="6327682"/>
                </a:cubicBezTo>
                <a:close/>
                <a:moveTo>
                  <a:pt x="3512444" y="6327682"/>
                </a:moveTo>
                <a:cubicBezTo>
                  <a:pt x="3506585" y="6327682"/>
                  <a:pt x="3504054" y="6329545"/>
                  <a:pt x="3502454" y="6331276"/>
                </a:cubicBezTo>
                <a:cubicBezTo>
                  <a:pt x="3499924" y="6333938"/>
                  <a:pt x="3498861" y="6336733"/>
                  <a:pt x="3498861" y="6340727"/>
                </a:cubicBezTo>
                <a:cubicBezTo>
                  <a:pt x="3498861" y="6344854"/>
                  <a:pt x="3499924" y="6347649"/>
                  <a:pt x="3502454" y="6350178"/>
                </a:cubicBezTo>
                <a:cubicBezTo>
                  <a:pt x="3504054" y="6351777"/>
                  <a:pt x="3506585" y="6353640"/>
                  <a:pt x="3512444" y="6353640"/>
                </a:cubicBezTo>
                <a:cubicBezTo>
                  <a:pt x="3514573" y="6353640"/>
                  <a:pt x="3516305" y="6353241"/>
                  <a:pt x="3517769" y="6352708"/>
                </a:cubicBezTo>
                <a:cubicBezTo>
                  <a:pt x="3519234" y="6352176"/>
                  <a:pt x="3520566" y="6351244"/>
                  <a:pt x="3521497" y="6350311"/>
                </a:cubicBezTo>
                <a:cubicBezTo>
                  <a:pt x="3522562" y="6349113"/>
                  <a:pt x="3523494" y="6347782"/>
                  <a:pt x="3524160" y="6346052"/>
                </a:cubicBezTo>
                <a:cubicBezTo>
                  <a:pt x="3524825" y="6344454"/>
                  <a:pt x="3525225" y="6342590"/>
                  <a:pt x="3525225" y="6340594"/>
                </a:cubicBezTo>
                <a:cubicBezTo>
                  <a:pt x="3525225" y="6338730"/>
                  <a:pt x="3524825" y="6337000"/>
                  <a:pt x="3524160" y="6335403"/>
                </a:cubicBezTo>
                <a:cubicBezTo>
                  <a:pt x="3523494" y="6333805"/>
                  <a:pt x="3522562" y="6332474"/>
                  <a:pt x="3521497" y="6331276"/>
                </a:cubicBezTo>
                <a:cubicBezTo>
                  <a:pt x="3520432" y="6330211"/>
                  <a:pt x="3519100" y="6329279"/>
                  <a:pt x="3517504" y="6328613"/>
                </a:cubicBezTo>
                <a:cubicBezTo>
                  <a:pt x="3516040" y="6327948"/>
                  <a:pt x="3514441" y="6327682"/>
                  <a:pt x="3512444" y="6327682"/>
                </a:cubicBezTo>
                <a:close/>
                <a:moveTo>
                  <a:pt x="3294914" y="6327682"/>
                </a:moveTo>
                <a:cubicBezTo>
                  <a:pt x="3289055" y="6327682"/>
                  <a:pt x="3286524" y="6329545"/>
                  <a:pt x="3284927" y="6331276"/>
                </a:cubicBezTo>
                <a:cubicBezTo>
                  <a:pt x="3282397" y="6333938"/>
                  <a:pt x="3281333" y="6336733"/>
                  <a:pt x="3281333" y="6340727"/>
                </a:cubicBezTo>
                <a:cubicBezTo>
                  <a:pt x="3281333" y="6344854"/>
                  <a:pt x="3282397" y="6347649"/>
                  <a:pt x="3284927" y="6350178"/>
                </a:cubicBezTo>
                <a:cubicBezTo>
                  <a:pt x="3286524" y="6351777"/>
                  <a:pt x="3289055" y="6353640"/>
                  <a:pt x="3294914" y="6353640"/>
                </a:cubicBezTo>
                <a:cubicBezTo>
                  <a:pt x="3296911" y="6353640"/>
                  <a:pt x="3298642" y="6353241"/>
                  <a:pt x="3300240" y="6352708"/>
                </a:cubicBezTo>
                <a:cubicBezTo>
                  <a:pt x="3301704" y="6352176"/>
                  <a:pt x="3303036" y="6351244"/>
                  <a:pt x="3303967" y="6350311"/>
                </a:cubicBezTo>
                <a:cubicBezTo>
                  <a:pt x="3305032" y="6349113"/>
                  <a:pt x="3305964" y="6347782"/>
                  <a:pt x="3306630" y="6346052"/>
                </a:cubicBezTo>
                <a:cubicBezTo>
                  <a:pt x="3307295" y="6344454"/>
                  <a:pt x="3307694" y="6342590"/>
                  <a:pt x="3307694" y="6340594"/>
                </a:cubicBezTo>
                <a:cubicBezTo>
                  <a:pt x="3307694" y="6338730"/>
                  <a:pt x="3307295" y="6337000"/>
                  <a:pt x="3306630" y="6335403"/>
                </a:cubicBezTo>
                <a:cubicBezTo>
                  <a:pt x="3305964" y="6333805"/>
                  <a:pt x="3305032" y="6332474"/>
                  <a:pt x="3303967" y="6331276"/>
                </a:cubicBezTo>
                <a:cubicBezTo>
                  <a:pt x="3302902" y="6330211"/>
                  <a:pt x="3301570" y="6329279"/>
                  <a:pt x="3299974" y="6328613"/>
                </a:cubicBezTo>
                <a:cubicBezTo>
                  <a:pt x="3298510" y="6327948"/>
                  <a:pt x="3296911" y="6327682"/>
                  <a:pt x="3294914" y="6327682"/>
                </a:cubicBezTo>
                <a:close/>
                <a:moveTo>
                  <a:pt x="3077384" y="6327682"/>
                </a:moveTo>
                <a:cubicBezTo>
                  <a:pt x="3071526" y="6327682"/>
                  <a:pt x="3068996" y="6329545"/>
                  <a:pt x="3067400" y="6331276"/>
                </a:cubicBezTo>
                <a:cubicBezTo>
                  <a:pt x="3064734" y="6333938"/>
                  <a:pt x="3063669" y="6336733"/>
                  <a:pt x="3063669" y="6340727"/>
                </a:cubicBezTo>
                <a:cubicBezTo>
                  <a:pt x="3063669" y="6344854"/>
                  <a:pt x="3064734" y="6347649"/>
                  <a:pt x="3067265" y="6350178"/>
                </a:cubicBezTo>
                <a:cubicBezTo>
                  <a:pt x="3068863" y="6351777"/>
                  <a:pt x="3071394" y="6353640"/>
                  <a:pt x="3077251" y="6353640"/>
                </a:cubicBezTo>
                <a:cubicBezTo>
                  <a:pt x="3079248" y="6353640"/>
                  <a:pt x="3080978" y="6353241"/>
                  <a:pt x="3082709" y="6352708"/>
                </a:cubicBezTo>
                <a:cubicBezTo>
                  <a:pt x="3084174" y="6352176"/>
                  <a:pt x="3085505" y="6351244"/>
                  <a:pt x="3086437" y="6350311"/>
                </a:cubicBezTo>
                <a:cubicBezTo>
                  <a:pt x="3087501" y="6349113"/>
                  <a:pt x="3088433" y="6347782"/>
                  <a:pt x="3089099" y="6346052"/>
                </a:cubicBezTo>
                <a:cubicBezTo>
                  <a:pt x="3089764" y="6344454"/>
                  <a:pt x="3090031" y="6342590"/>
                  <a:pt x="3090031" y="6340594"/>
                </a:cubicBezTo>
                <a:cubicBezTo>
                  <a:pt x="3090031" y="6338730"/>
                  <a:pt x="3089764" y="6337000"/>
                  <a:pt x="3089099" y="6335403"/>
                </a:cubicBezTo>
                <a:cubicBezTo>
                  <a:pt x="3088433" y="6333805"/>
                  <a:pt x="3087501" y="6332474"/>
                  <a:pt x="3086437" y="6331276"/>
                </a:cubicBezTo>
                <a:cubicBezTo>
                  <a:pt x="3085372" y="6330211"/>
                  <a:pt x="3084040" y="6329279"/>
                  <a:pt x="3082444" y="6328613"/>
                </a:cubicBezTo>
                <a:cubicBezTo>
                  <a:pt x="3080978" y="6327948"/>
                  <a:pt x="3079381" y="6327682"/>
                  <a:pt x="3077384" y="6327682"/>
                </a:cubicBezTo>
                <a:close/>
                <a:moveTo>
                  <a:pt x="2859588" y="6327682"/>
                </a:moveTo>
                <a:cubicBezTo>
                  <a:pt x="2853731" y="6327682"/>
                  <a:pt x="2851201" y="6329545"/>
                  <a:pt x="2849602" y="6331276"/>
                </a:cubicBezTo>
                <a:cubicBezTo>
                  <a:pt x="2847068" y="6333938"/>
                  <a:pt x="2846002" y="6336733"/>
                  <a:pt x="2846002" y="6340727"/>
                </a:cubicBezTo>
                <a:cubicBezTo>
                  <a:pt x="2846002" y="6344854"/>
                  <a:pt x="2847068" y="6347649"/>
                  <a:pt x="2849602" y="6350178"/>
                </a:cubicBezTo>
                <a:cubicBezTo>
                  <a:pt x="2851201" y="6351777"/>
                  <a:pt x="2853731" y="6353640"/>
                  <a:pt x="2859588" y="6353640"/>
                </a:cubicBezTo>
                <a:cubicBezTo>
                  <a:pt x="2861585" y="6353640"/>
                  <a:pt x="2863449" y="6353241"/>
                  <a:pt x="2864913" y="6352708"/>
                </a:cubicBezTo>
                <a:cubicBezTo>
                  <a:pt x="2866511" y="6352176"/>
                  <a:pt x="2867709" y="6351244"/>
                  <a:pt x="2868640" y="6350311"/>
                </a:cubicBezTo>
                <a:cubicBezTo>
                  <a:pt x="2869705" y="6349113"/>
                  <a:pt x="2870637" y="6347782"/>
                  <a:pt x="2871303" y="6346052"/>
                </a:cubicBezTo>
                <a:cubicBezTo>
                  <a:pt x="2871835" y="6344454"/>
                  <a:pt x="2872234" y="6342590"/>
                  <a:pt x="2872234" y="6340594"/>
                </a:cubicBezTo>
                <a:cubicBezTo>
                  <a:pt x="2872234" y="6338730"/>
                  <a:pt x="2871968" y="6337000"/>
                  <a:pt x="2871303" y="6335403"/>
                </a:cubicBezTo>
                <a:cubicBezTo>
                  <a:pt x="2870637" y="6333805"/>
                  <a:pt x="2869705" y="6332474"/>
                  <a:pt x="2868640" y="6331276"/>
                </a:cubicBezTo>
                <a:cubicBezTo>
                  <a:pt x="2867576" y="6330211"/>
                  <a:pt x="2866244" y="6329279"/>
                  <a:pt x="2864647" y="6328613"/>
                </a:cubicBezTo>
                <a:cubicBezTo>
                  <a:pt x="2863183" y="6327948"/>
                  <a:pt x="2861585" y="6327682"/>
                  <a:pt x="2859588" y="6327682"/>
                </a:cubicBezTo>
                <a:close/>
                <a:moveTo>
                  <a:pt x="2641924" y="6327682"/>
                </a:moveTo>
                <a:cubicBezTo>
                  <a:pt x="2636067" y="6327682"/>
                  <a:pt x="2633538" y="6329545"/>
                  <a:pt x="2631941" y="6331276"/>
                </a:cubicBezTo>
                <a:cubicBezTo>
                  <a:pt x="2629411" y="6333938"/>
                  <a:pt x="2628347" y="6336733"/>
                  <a:pt x="2628347" y="6340727"/>
                </a:cubicBezTo>
                <a:cubicBezTo>
                  <a:pt x="2628347" y="6344854"/>
                  <a:pt x="2629411" y="6347649"/>
                  <a:pt x="2631941" y="6350178"/>
                </a:cubicBezTo>
                <a:cubicBezTo>
                  <a:pt x="2633538" y="6351777"/>
                  <a:pt x="2636067" y="6353640"/>
                  <a:pt x="2641924" y="6353640"/>
                </a:cubicBezTo>
                <a:cubicBezTo>
                  <a:pt x="2643921" y="6353640"/>
                  <a:pt x="2645786" y="6353241"/>
                  <a:pt x="2647250" y="6352708"/>
                </a:cubicBezTo>
                <a:cubicBezTo>
                  <a:pt x="2648847" y="6352176"/>
                  <a:pt x="2650045" y="6351244"/>
                  <a:pt x="2650977" y="6350311"/>
                </a:cubicBezTo>
                <a:cubicBezTo>
                  <a:pt x="2652042" y="6349113"/>
                  <a:pt x="2652974" y="6347782"/>
                  <a:pt x="2653640" y="6346052"/>
                </a:cubicBezTo>
                <a:cubicBezTo>
                  <a:pt x="2654172" y="6344454"/>
                  <a:pt x="2654571" y="6342590"/>
                  <a:pt x="2654571" y="6340594"/>
                </a:cubicBezTo>
                <a:cubicBezTo>
                  <a:pt x="2654571" y="6338730"/>
                  <a:pt x="2654305" y="6337000"/>
                  <a:pt x="2653640" y="6335403"/>
                </a:cubicBezTo>
                <a:cubicBezTo>
                  <a:pt x="2652974" y="6333805"/>
                  <a:pt x="2652042" y="6332474"/>
                  <a:pt x="2650977" y="6331276"/>
                </a:cubicBezTo>
                <a:cubicBezTo>
                  <a:pt x="2649912" y="6330211"/>
                  <a:pt x="2648581" y="6329279"/>
                  <a:pt x="2646984" y="6328613"/>
                </a:cubicBezTo>
                <a:cubicBezTo>
                  <a:pt x="2645519" y="6327948"/>
                  <a:pt x="2643921" y="6327682"/>
                  <a:pt x="2641924" y="6327682"/>
                </a:cubicBezTo>
                <a:close/>
                <a:moveTo>
                  <a:pt x="2424261" y="6327682"/>
                </a:moveTo>
                <a:cubicBezTo>
                  <a:pt x="2418404" y="6327682"/>
                  <a:pt x="2415875" y="6329545"/>
                  <a:pt x="2414278" y="6331276"/>
                </a:cubicBezTo>
                <a:cubicBezTo>
                  <a:pt x="2411748" y="6333938"/>
                  <a:pt x="2410684" y="6336733"/>
                  <a:pt x="2410684" y="6340727"/>
                </a:cubicBezTo>
                <a:cubicBezTo>
                  <a:pt x="2410684" y="6344854"/>
                  <a:pt x="2411748" y="6347649"/>
                  <a:pt x="2414278" y="6350178"/>
                </a:cubicBezTo>
                <a:cubicBezTo>
                  <a:pt x="2415875" y="6351777"/>
                  <a:pt x="2418404" y="6353640"/>
                  <a:pt x="2424261" y="6353640"/>
                </a:cubicBezTo>
                <a:cubicBezTo>
                  <a:pt x="2426391" y="6353640"/>
                  <a:pt x="2428123" y="6353241"/>
                  <a:pt x="2429587" y="6352708"/>
                </a:cubicBezTo>
                <a:cubicBezTo>
                  <a:pt x="2431185" y="6352176"/>
                  <a:pt x="2432382" y="6351244"/>
                  <a:pt x="2433313" y="6350311"/>
                </a:cubicBezTo>
                <a:cubicBezTo>
                  <a:pt x="2434379" y="6349113"/>
                  <a:pt x="2435310" y="6347782"/>
                  <a:pt x="2435977" y="6346052"/>
                </a:cubicBezTo>
                <a:cubicBezTo>
                  <a:pt x="2436508" y="6344454"/>
                  <a:pt x="2436908" y="6342590"/>
                  <a:pt x="2436908" y="6340594"/>
                </a:cubicBezTo>
                <a:cubicBezTo>
                  <a:pt x="2436908" y="6338730"/>
                  <a:pt x="2436642" y="6337000"/>
                  <a:pt x="2435977" y="6335403"/>
                </a:cubicBezTo>
                <a:cubicBezTo>
                  <a:pt x="2435310" y="6333805"/>
                  <a:pt x="2434379" y="6332474"/>
                  <a:pt x="2433313" y="6331276"/>
                </a:cubicBezTo>
                <a:cubicBezTo>
                  <a:pt x="2432250" y="6330211"/>
                  <a:pt x="2430918" y="6329279"/>
                  <a:pt x="2429320" y="6328613"/>
                </a:cubicBezTo>
                <a:cubicBezTo>
                  <a:pt x="2427856" y="6327948"/>
                  <a:pt x="2426258" y="6327682"/>
                  <a:pt x="2424261" y="6327682"/>
                </a:cubicBezTo>
                <a:close/>
                <a:moveTo>
                  <a:pt x="2206598" y="6327682"/>
                </a:moveTo>
                <a:cubicBezTo>
                  <a:pt x="2200741" y="6327682"/>
                  <a:pt x="2198212" y="6329545"/>
                  <a:pt x="2196615" y="6331276"/>
                </a:cubicBezTo>
                <a:cubicBezTo>
                  <a:pt x="2194085" y="6333938"/>
                  <a:pt x="2193020" y="6336733"/>
                  <a:pt x="2193020" y="6340727"/>
                </a:cubicBezTo>
                <a:cubicBezTo>
                  <a:pt x="2193020" y="6344854"/>
                  <a:pt x="2194085" y="6347649"/>
                  <a:pt x="2196615" y="6350178"/>
                </a:cubicBezTo>
                <a:cubicBezTo>
                  <a:pt x="2198212" y="6351777"/>
                  <a:pt x="2200741" y="6353640"/>
                  <a:pt x="2206598" y="6353640"/>
                </a:cubicBezTo>
                <a:cubicBezTo>
                  <a:pt x="2208728" y="6353640"/>
                  <a:pt x="2210459" y="6353241"/>
                  <a:pt x="2211923" y="6352708"/>
                </a:cubicBezTo>
                <a:cubicBezTo>
                  <a:pt x="2213520" y="6352176"/>
                  <a:pt x="2214718" y="6351244"/>
                  <a:pt x="2215650" y="6350311"/>
                </a:cubicBezTo>
                <a:cubicBezTo>
                  <a:pt x="2216715" y="6349113"/>
                  <a:pt x="2217647" y="6347782"/>
                  <a:pt x="2218313" y="6346052"/>
                </a:cubicBezTo>
                <a:cubicBezTo>
                  <a:pt x="2218845" y="6344454"/>
                  <a:pt x="2219244" y="6342590"/>
                  <a:pt x="2219244" y="6340594"/>
                </a:cubicBezTo>
                <a:cubicBezTo>
                  <a:pt x="2219244" y="6338730"/>
                  <a:pt x="2218978" y="6337000"/>
                  <a:pt x="2218313" y="6335403"/>
                </a:cubicBezTo>
                <a:cubicBezTo>
                  <a:pt x="2217647" y="6333805"/>
                  <a:pt x="2216715" y="6332474"/>
                  <a:pt x="2215650" y="6331276"/>
                </a:cubicBezTo>
                <a:cubicBezTo>
                  <a:pt x="2214585" y="6330211"/>
                  <a:pt x="2213254" y="6329279"/>
                  <a:pt x="2211657" y="6328613"/>
                </a:cubicBezTo>
                <a:cubicBezTo>
                  <a:pt x="2210192" y="6327948"/>
                  <a:pt x="2208595" y="6327682"/>
                  <a:pt x="2206598" y="6327682"/>
                </a:cubicBezTo>
                <a:close/>
                <a:moveTo>
                  <a:pt x="1989068" y="6327682"/>
                </a:moveTo>
                <a:cubicBezTo>
                  <a:pt x="1983210" y="6327682"/>
                  <a:pt x="1980681" y="6329545"/>
                  <a:pt x="1979085" y="6331276"/>
                </a:cubicBezTo>
                <a:cubicBezTo>
                  <a:pt x="1976554" y="6333938"/>
                  <a:pt x="1975490" y="6336733"/>
                  <a:pt x="1975490" y="6340727"/>
                </a:cubicBezTo>
                <a:cubicBezTo>
                  <a:pt x="1975490" y="6344854"/>
                  <a:pt x="1976554" y="6347649"/>
                  <a:pt x="1979085" y="6350178"/>
                </a:cubicBezTo>
                <a:cubicBezTo>
                  <a:pt x="1980681" y="6351777"/>
                  <a:pt x="1983210" y="6353640"/>
                  <a:pt x="1989068" y="6353640"/>
                </a:cubicBezTo>
                <a:cubicBezTo>
                  <a:pt x="1991064" y="6353640"/>
                  <a:pt x="1992796" y="6353241"/>
                  <a:pt x="1994393" y="6352708"/>
                </a:cubicBezTo>
                <a:cubicBezTo>
                  <a:pt x="1995990" y="6352176"/>
                  <a:pt x="1997189" y="6351244"/>
                  <a:pt x="1998120" y="6350311"/>
                </a:cubicBezTo>
                <a:cubicBezTo>
                  <a:pt x="1999185" y="6349113"/>
                  <a:pt x="2000117" y="6347782"/>
                  <a:pt x="2000783" y="6346052"/>
                </a:cubicBezTo>
                <a:cubicBezTo>
                  <a:pt x="2001315" y="6344454"/>
                  <a:pt x="2001714" y="6342590"/>
                  <a:pt x="2001714" y="6340594"/>
                </a:cubicBezTo>
                <a:cubicBezTo>
                  <a:pt x="2001714" y="6338730"/>
                  <a:pt x="2001448" y="6337000"/>
                  <a:pt x="2000783" y="6335403"/>
                </a:cubicBezTo>
                <a:cubicBezTo>
                  <a:pt x="2000117" y="6333805"/>
                  <a:pt x="1999185" y="6332474"/>
                  <a:pt x="1998120" y="6331276"/>
                </a:cubicBezTo>
                <a:cubicBezTo>
                  <a:pt x="1997056" y="6330211"/>
                  <a:pt x="1995724" y="6329279"/>
                  <a:pt x="1994126" y="6328613"/>
                </a:cubicBezTo>
                <a:cubicBezTo>
                  <a:pt x="1992662" y="6327948"/>
                  <a:pt x="1991064" y="6327682"/>
                  <a:pt x="1989068" y="6327682"/>
                </a:cubicBezTo>
                <a:close/>
                <a:moveTo>
                  <a:pt x="1771436" y="6327682"/>
                </a:moveTo>
                <a:cubicBezTo>
                  <a:pt x="1765579" y="6327682"/>
                  <a:pt x="1763050" y="6329545"/>
                  <a:pt x="1761453" y="6331276"/>
                </a:cubicBezTo>
                <a:cubicBezTo>
                  <a:pt x="1758925" y="6333938"/>
                  <a:pt x="1757860" y="6336733"/>
                  <a:pt x="1757860" y="6340727"/>
                </a:cubicBezTo>
                <a:cubicBezTo>
                  <a:pt x="1757860" y="6344854"/>
                  <a:pt x="1758925" y="6347649"/>
                  <a:pt x="1761453" y="6350178"/>
                </a:cubicBezTo>
                <a:cubicBezTo>
                  <a:pt x="1763050" y="6351777"/>
                  <a:pt x="1765579" y="6353640"/>
                  <a:pt x="1771436" y="6353640"/>
                </a:cubicBezTo>
                <a:cubicBezTo>
                  <a:pt x="1773433" y="6353640"/>
                  <a:pt x="1775296" y="6353241"/>
                  <a:pt x="1776760" y="6352708"/>
                </a:cubicBezTo>
                <a:cubicBezTo>
                  <a:pt x="1778225" y="6352176"/>
                  <a:pt x="1779554" y="6351244"/>
                  <a:pt x="1780486" y="6350311"/>
                </a:cubicBezTo>
                <a:cubicBezTo>
                  <a:pt x="1781551" y="6349113"/>
                  <a:pt x="1782483" y="6347782"/>
                  <a:pt x="1783149" y="6346052"/>
                </a:cubicBezTo>
                <a:cubicBezTo>
                  <a:pt x="1783814" y="6344454"/>
                  <a:pt x="1784214" y="6342590"/>
                  <a:pt x="1784214" y="6340594"/>
                </a:cubicBezTo>
                <a:cubicBezTo>
                  <a:pt x="1784214" y="6338730"/>
                  <a:pt x="1783814" y="6337000"/>
                  <a:pt x="1783149" y="6335403"/>
                </a:cubicBezTo>
                <a:cubicBezTo>
                  <a:pt x="1782483" y="6333805"/>
                  <a:pt x="1781551" y="6332474"/>
                  <a:pt x="1780486" y="6331276"/>
                </a:cubicBezTo>
                <a:cubicBezTo>
                  <a:pt x="1779421" y="6330211"/>
                  <a:pt x="1778092" y="6329279"/>
                  <a:pt x="1776495" y="6328613"/>
                </a:cubicBezTo>
                <a:cubicBezTo>
                  <a:pt x="1775030" y="6327948"/>
                  <a:pt x="1773433" y="6327682"/>
                  <a:pt x="1771436" y="6327682"/>
                </a:cubicBezTo>
                <a:close/>
                <a:moveTo>
                  <a:pt x="1553800" y="6327682"/>
                </a:moveTo>
                <a:cubicBezTo>
                  <a:pt x="1547942" y="6327682"/>
                  <a:pt x="1545413" y="6329545"/>
                  <a:pt x="1543817" y="6331276"/>
                </a:cubicBezTo>
                <a:cubicBezTo>
                  <a:pt x="1541287" y="6333938"/>
                  <a:pt x="1540222" y="6336733"/>
                  <a:pt x="1540222" y="6340727"/>
                </a:cubicBezTo>
                <a:cubicBezTo>
                  <a:pt x="1540222" y="6344854"/>
                  <a:pt x="1541287" y="6347649"/>
                  <a:pt x="1543817" y="6350178"/>
                </a:cubicBezTo>
                <a:cubicBezTo>
                  <a:pt x="1545413" y="6351777"/>
                  <a:pt x="1547942" y="6353640"/>
                  <a:pt x="1553800" y="6353640"/>
                </a:cubicBezTo>
                <a:cubicBezTo>
                  <a:pt x="1555797" y="6353640"/>
                  <a:pt x="1557660" y="6353241"/>
                  <a:pt x="1559124" y="6352708"/>
                </a:cubicBezTo>
                <a:cubicBezTo>
                  <a:pt x="1560589" y="6352176"/>
                  <a:pt x="1561920" y="6351244"/>
                  <a:pt x="1562852" y="6350311"/>
                </a:cubicBezTo>
                <a:cubicBezTo>
                  <a:pt x="1563916" y="6349113"/>
                  <a:pt x="1564848" y="6347782"/>
                  <a:pt x="1565514" y="6346052"/>
                </a:cubicBezTo>
                <a:cubicBezTo>
                  <a:pt x="1566179" y="6344454"/>
                  <a:pt x="1566580" y="6342590"/>
                  <a:pt x="1566580" y="6340594"/>
                </a:cubicBezTo>
                <a:cubicBezTo>
                  <a:pt x="1566580" y="6338730"/>
                  <a:pt x="1566179" y="6337000"/>
                  <a:pt x="1565514" y="6335403"/>
                </a:cubicBezTo>
                <a:cubicBezTo>
                  <a:pt x="1564848" y="6333805"/>
                  <a:pt x="1563916" y="6332474"/>
                  <a:pt x="1562852" y="6331276"/>
                </a:cubicBezTo>
                <a:cubicBezTo>
                  <a:pt x="1561786" y="6330211"/>
                  <a:pt x="1560456" y="6329279"/>
                  <a:pt x="1558858" y="6328613"/>
                </a:cubicBezTo>
                <a:cubicBezTo>
                  <a:pt x="1557394" y="6327948"/>
                  <a:pt x="1555797" y="6327682"/>
                  <a:pt x="1553800" y="6327682"/>
                </a:cubicBezTo>
                <a:close/>
                <a:moveTo>
                  <a:pt x="1336157" y="6327682"/>
                </a:moveTo>
                <a:cubicBezTo>
                  <a:pt x="1330298" y="6327682"/>
                  <a:pt x="1327769" y="6329545"/>
                  <a:pt x="1326172" y="6331276"/>
                </a:cubicBezTo>
                <a:cubicBezTo>
                  <a:pt x="1323642" y="6333938"/>
                  <a:pt x="1322578" y="6336733"/>
                  <a:pt x="1322578" y="6340727"/>
                </a:cubicBezTo>
                <a:cubicBezTo>
                  <a:pt x="1322578" y="6344854"/>
                  <a:pt x="1323642" y="6347649"/>
                  <a:pt x="1326172" y="6350178"/>
                </a:cubicBezTo>
                <a:cubicBezTo>
                  <a:pt x="1327769" y="6351777"/>
                  <a:pt x="1330298" y="6353640"/>
                  <a:pt x="1336157" y="6353640"/>
                </a:cubicBezTo>
                <a:cubicBezTo>
                  <a:pt x="1338286" y="6353640"/>
                  <a:pt x="1340016" y="6353241"/>
                  <a:pt x="1341483" y="6352708"/>
                </a:cubicBezTo>
                <a:cubicBezTo>
                  <a:pt x="1342946" y="6352176"/>
                  <a:pt x="1344278" y="6351244"/>
                  <a:pt x="1345210" y="6350311"/>
                </a:cubicBezTo>
                <a:cubicBezTo>
                  <a:pt x="1346274" y="6349113"/>
                  <a:pt x="1347207" y="6347782"/>
                  <a:pt x="1347872" y="6346052"/>
                </a:cubicBezTo>
                <a:cubicBezTo>
                  <a:pt x="1348538" y="6344454"/>
                  <a:pt x="1348938" y="6342590"/>
                  <a:pt x="1348938" y="6340594"/>
                </a:cubicBezTo>
                <a:cubicBezTo>
                  <a:pt x="1348938" y="6338730"/>
                  <a:pt x="1348538" y="6337000"/>
                  <a:pt x="1347872" y="6335403"/>
                </a:cubicBezTo>
                <a:cubicBezTo>
                  <a:pt x="1347207" y="6333805"/>
                  <a:pt x="1346274" y="6332474"/>
                  <a:pt x="1345210" y="6331276"/>
                </a:cubicBezTo>
                <a:cubicBezTo>
                  <a:pt x="1344145" y="6330211"/>
                  <a:pt x="1342814" y="6329279"/>
                  <a:pt x="1341215" y="6328613"/>
                </a:cubicBezTo>
                <a:cubicBezTo>
                  <a:pt x="1339751" y="6327948"/>
                  <a:pt x="1338152" y="6327682"/>
                  <a:pt x="1336157" y="6327682"/>
                </a:cubicBezTo>
                <a:close/>
                <a:moveTo>
                  <a:pt x="1118644" y="6327682"/>
                </a:moveTo>
                <a:cubicBezTo>
                  <a:pt x="1112785" y="6327682"/>
                  <a:pt x="1110255" y="6329545"/>
                  <a:pt x="1108658" y="6331276"/>
                </a:cubicBezTo>
                <a:cubicBezTo>
                  <a:pt x="1105996" y="6333938"/>
                  <a:pt x="1104931" y="6336733"/>
                  <a:pt x="1104931" y="6340727"/>
                </a:cubicBezTo>
                <a:cubicBezTo>
                  <a:pt x="1104931" y="6344854"/>
                  <a:pt x="1105996" y="6347649"/>
                  <a:pt x="1108526" y="6350178"/>
                </a:cubicBezTo>
                <a:cubicBezTo>
                  <a:pt x="1110123" y="6351777"/>
                  <a:pt x="1112652" y="6353640"/>
                  <a:pt x="1118511" y="6353640"/>
                </a:cubicBezTo>
                <a:cubicBezTo>
                  <a:pt x="1120641" y="6353640"/>
                  <a:pt x="1122372" y="6353241"/>
                  <a:pt x="1123967" y="6352708"/>
                </a:cubicBezTo>
                <a:cubicBezTo>
                  <a:pt x="1125433" y="6352176"/>
                  <a:pt x="1126768" y="6351244"/>
                  <a:pt x="1127698" y="6350311"/>
                </a:cubicBezTo>
                <a:cubicBezTo>
                  <a:pt x="1128764" y="6349113"/>
                  <a:pt x="1129696" y="6347782"/>
                  <a:pt x="1130362" y="6346052"/>
                </a:cubicBezTo>
                <a:cubicBezTo>
                  <a:pt x="1131026" y="6344454"/>
                  <a:pt x="1131427" y="6342590"/>
                  <a:pt x="1131427" y="6340594"/>
                </a:cubicBezTo>
                <a:cubicBezTo>
                  <a:pt x="1131427" y="6338730"/>
                  <a:pt x="1131026" y="6337000"/>
                  <a:pt x="1130362" y="6335403"/>
                </a:cubicBezTo>
                <a:cubicBezTo>
                  <a:pt x="1129696" y="6333805"/>
                  <a:pt x="1128764" y="6332474"/>
                  <a:pt x="1127698" y="6331276"/>
                </a:cubicBezTo>
                <a:cubicBezTo>
                  <a:pt x="1126634" y="6330211"/>
                  <a:pt x="1125301" y="6329279"/>
                  <a:pt x="1123703" y="6328613"/>
                </a:cubicBezTo>
                <a:cubicBezTo>
                  <a:pt x="1122239" y="6327948"/>
                  <a:pt x="1120641" y="6327682"/>
                  <a:pt x="1118644" y="6327682"/>
                </a:cubicBezTo>
                <a:close/>
                <a:moveTo>
                  <a:pt x="901132" y="6327682"/>
                </a:moveTo>
                <a:cubicBezTo>
                  <a:pt x="895274" y="6327682"/>
                  <a:pt x="892744" y="6329545"/>
                  <a:pt x="891147" y="6331276"/>
                </a:cubicBezTo>
                <a:cubicBezTo>
                  <a:pt x="888485" y="6333938"/>
                  <a:pt x="887421" y="6336733"/>
                  <a:pt x="887421" y="6340727"/>
                </a:cubicBezTo>
                <a:cubicBezTo>
                  <a:pt x="887421" y="6344854"/>
                  <a:pt x="888485" y="6347649"/>
                  <a:pt x="891015" y="6350178"/>
                </a:cubicBezTo>
                <a:cubicBezTo>
                  <a:pt x="892612" y="6351777"/>
                  <a:pt x="895141" y="6353640"/>
                  <a:pt x="900998" y="6353640"/>
                </a:cubicBezTo>
                <a:cubicBezTo>
                  <a:pt x="902995" y="6353640"/>
                  <a:pt x="904726" y="6353241"/>
                  <a:pt x="906456" y="6352708"/>
                </a:cubicBezTo>
                <a:cubicBezTo>
                  <a:pt x="907920" y="6352176"/>
                  <a:pt x="909252" y="6351244"/>
                  <a:pt x="910184" y="6350311"/>
                </a:cubicBezTo>
                <a:cubicBezTo>
                  <a:pt x="911248" y="6349113"/>
                  <a:pt x="912180" y="6347782"/>
                  <a:pt x="912846" y="6346052"/>
                </a:cubicBezTo>
                <a:cubicBezTo>
                  <a:pt x="913511" y="6344454"/>
                  <a:pt x="913911" y="6342590"/>
                  <a:pt x="913911" y="6340594"/>
                </a:cubicBezTo>
                <a:cubicBezTo>
                  <a:pt x="913911" y="6338730"/>
                  <a:pt x="913511" y="6337000"/>
                  <a:pt x="912846" y="6335403"/>
                </a:cubicBezTo>
                <a:cubicBezTo>
                  <a:pt x="912180" y="6333805"/>
                  <a:pt x="911248" y="6332474"/>
                  <a:pt x="910184" y="6331276"/>
                </a:cubicBezTo>
                <a:cubicBezTo>
                  <a:pt x="909119" y="6330211"/>
                  <a:pt x="907787" y="6329279"/>
                  <a:pt x="906190" y="6328613"/>
                </a:cubicBezTo>
                <a:cubicBezTo>
                  <a:pt x="904726" y="6327948"/>
                  <a:pt x="903128" y="6327682"/>
                  <a:pt x="901132" y="6327682"/>
                </a:cubicBezTo>
                <a:close/>
                <a:moveTo>
                  <a:pt x="683358" y="6327682"/>
                </a:moveTo>
                <a:cubicBezTo>
                  <a:pt x="677501" y="6327682"/>
                  <a:pt x="674972" y="6329545"/>
                  <a:pt x="673375" y="6331276"/>
                </a:cubicBezTo>
                <a:cubicBezTo>
                  <a:pt x="670845" y="6333938"/>
                  <a:pt x="669781" y="6336733"/>
                  <a:pt x="669781" y="6340727"/>
                </a:cubicBezTo>
                <a:cubicBezTo>
                  <a:pt x="669781" y="6344854"/>
                  <a:pt x="670845" y="6347649"/>
                  <a:pt x="673375" y="6350178"/>
                </a:cubicBezTo>
                <a:cubicBezTo>
                  <a:pt x="674972" y="6351777"/>
                  <a:pt x="677501" y="6353640"/>
                  <a:pt x="683358" y="6353640"/>
                </a:cubicBezTo>
                <a:cubicBezTo>
                  <a:pt x="685355" y="6353640"/>
                  <a:pt x="687219" y="6353241"/>
                  <a:pt x="688683" y="6352708"/>
                </a:cubicBezTo>
                <a:cubicBezTo>
                  <a:pt x="690147" y="6352176"/>
                  <a:pt x="691479" y="6351244"/>
                  <a:pt x="692410" y="6350311"/>
                </a:cubicBezTo>
                <a:cubicBezTo>
                  <a:pt x="693475" y="6349113"/>
                  <a:pt x="694407" y="6347782"/>
                  <a:pt x="695073" y="6346052"/>
                </a:cubicBezTo>
                <a:cubicBezTo>
                  <a:pt x="695738" y="6344454"/>
                  <a:pt x="696139" y="6342590"/>
                  <a:pt x="696139" y="6340594"/>
                </a:cubicBezTo>
                <a:cubicBezTo>
                  <a:pt x="696139" y="6338730"/>
                  <a:pt x="695738" y="6337000"/>
                  <a:pt x="695073" y="6335403"/>
                </a:cubicBezTo>
                <a:cubicBezTo>
                  <a:pt x="694407" y="6333805"/>
                  <a:pt x="693475" y="6332474"/>
                  <a:pt x="692410" y="6331276"/>
                </a:cubicBezTo>
                <a:cubicBezTo>
                  <a:pt x="691345" y="6330211"/>
                  <a:pt x="690014" y="6329279"/>
                  <a:pt x="688417" y="6328613"/>
                </a:cubicBezTo>
                <a:cubicBezTo>
                  <a:pt x="686953" y="6327948"/>
                  <a:pt x="685355" y="6327682"/>
                  <a:pt x="683358" y="6327682"/>
                </a:cubicBezTo>
                <a:close/>
                <a:moveTo>
                  <a:pt x="465717" y="6327682"/>
                </a:moveTo>
                <a:cubicBezTo>
                  <a:pt x="459860" y="6327682"/>
                  <a:pt x="457331" y="6329545"/>
                  <a:pt x="455734" y="6331276"/>
                </a:cubicBezTo>
                <a:cubicBezTo>
                  <a:pt x="453204" y="6333938"/>
                  <a:pt x="452140" y="6336733"/>
                  <a:pt x="452140" y="6340727"/>
                </a:cubicBezTo>
                <a:cubicBezTo>
                  <a:pt x="452140" y="6344854"/>
                  <a:pt x="453204" y="6347649"/>
                  <a:pt x="455734" y="6350178"/>
                </a:cubicBezTo>
                <a:cubicBezTo>
                  <a:pt x="457331" y="6351777"/>
                  <a:pt x="459860" y="6353640"/>
                  <a:pt x="465717" y="6353640"/>
                </a:cubicBezTo>
                <a:cubicBezTo>
                  <a:pt x="467714" y="6353640"/>
                  <a:pt x="469578" y="6353241"/>
                  <a:pt x="471042" y="6352708"/>
                </a:cubicBezTo>
                <a:cubicBezTo>
                  <a:pt x="472506" y="6352176"/>
                  <a:pt x="473838" y="6351244"/>
                  <a:pt x="474769" y="6350311"/>
                </a:cubicBezTo>
                <a:cubicBezTo>
                  <a:pt x="475834" y="6349113"/>
                  <a:pt x="476766" y="6347782"/>
                  <a:pt x="477433" y="6346052"/>
                </a:cubicBezTo>
                <a:cubicBezTo>
                  <a:pt x="478098" y="6344454"/>
                  <a:pt x="478498" y="6342590"/>
                  <a:pt x="478498" y="6340594"/>
                </a:cubicBezTo>
                <a:cubicBezTo>
                  <a:pt x="478498" y="6338730"/>
                  <a:pt x="478098" y="6337000"/>
                  <a:pt x="477433" y="6335403"/>
                </a:cubicBezTo>
                <a:cubicBezTo>
                  <a:pt x="476766" y="6333805"/>
                  <a:pt x="475834" y="6332474"/>
                  <a:pt x="474769" y="6331276"/>
                </a:cubicBezTo>
                <a:cubicBezTo>
                  <a:pt x="473705" y="6330211"/>
                  <a:pt x="472373" y="6329279"/>
                  <a:pt x="470777" y="6328613"/>
                </a:cubicBezTo>
                <a:cubicBezTo>
                  <a:pt x="469312" y="6327948"/>
                  <a:pt x="467714" y="6327682"/>
                  <a:pt x="465717" y="6327682"/>
                </a:cubicBezTo>
                <a:close/>
                <a:moveTo>
                  <a:pt x="248076" y="6327682"/>
                </a:moveTo>
                <a:cubicBezTo>
                  <a:pt x="242219" y="6327682"/>
                  <a:pt x="239691" y="6329545"/>
                  <a:pt x="238094" y="6331276"/>
                </a:cubicBezTo>
                <a:cubicBezTo>
                  <a:pt x="235564" y="6333938"/>
                  <a:pt x="234500" y="6336733"/>
                  <a:pt x="234500" y="6340727"/>
                </a:cubicBezTo>
                <a:cubicBezTo>
                  <a:pt x="234500" y="6344854"/>
                  <a:pt x="235564" y="6347649"/>
                  <a:pt x="238094" y="6350178"/>
                </a:cubicBezTo>
                <a:cubicBezTo>
                  <a:pt x="239691" y="6351777"/>
                  <a:pt x="242219" y="6353640"/>
                  <a:pt x="248076" y="6353640"/>
                </a:cubicBezTo>
                <a:cubicBezTo>
                  <a:pt x="250206" y="6353640"/>
                  <a:pt x="251937" y="6353241"/>
                  <a:pt x="253401" y="6352708"/>
                </a:cubicBezTo>
                <a:cubicBezTo>
                  <a:pt x="254865" y="6352176"/>
                  <a:pt x="256195" y="6351244"/>
                  <a:pt x="257127" y="6350311"/>
                </a:cubicBezTo>
                <a:cubicBezTo>
                  <a:pt x="258192" y="6349113"/>
                  <a:pt x="259124" y="6347782"/>
                  <a:pt x="259790" y="6346052"/>
                </a:cubicBezTo>
                <a:cubicBezTo>
                  <a:pt x="260456" y="6344454"/>
                  <a:pt x="260855" y="6342590"/>
                  <a:pt x="260855" y="6340594"/>
                </a:cubicBezTo>
                <a:cubicBezTo>
                  <a:pt x="260855" y="6338730"/>
                  <a:pt x="260456" y="6337000"/>
                  <a:pt x="259790" y="6335403"/>
                </a:cubicBezTo>
                <a:cubicBezTo>
                  <a:pt x="259124" y="6333805"/>
                  <a:pt x="258192" y="6332474"/>
                  <a:pt x="257127" y="6331276"/>
                </a:cubicBezTo>
                <a:cubicBezTo>
                  <a:pt x="256063" y="6330211"/>
                  <a:pt x="254732" y="6329279"/>
                  <a:pt x="253135" y="6328613"/>
                </a:cubicBezTo>
                <a:cubicBezTo>
                  <a:pt x="251670" y="6327948"/>
                  <a:pt x="250073" y="6327682"/>
                  <a:pt x="248076" y="6327682"/>
                </a:cubicBezTo>
                <a:close/>
                <a:moveTo>
                  <a:pt x="30435" y="6327682"/>
                </a:moveTo>
                <a:cubicBezTo>
                  <a:pt x="24578" y="6327682"/>
                  <a:pt x="22049" y="6329545"/>
                  <a:pt x="20452" y="6331276"/>
                </a:cubicBezTo>
                <a:cubicBezTo>
                  <a:pt x="17922" y="6333938"/>
                  <a:pt x="16859" y="6336733"/>
                  <a:pt x="16859" y="6340727"/>
                </a:cubicBezTo>
                <a:cubicBezTo>
                  <a:pt x="16859" y="6344854"/>
                  <a:pt x="17922" y="6347649"/>
                  <a:pt x="20452" y="6350178"/>
                </a:cubicBezTo>
                <a:cubicBezTo>
                  <a:pt x="22049" y="6351777"/>
                  <a:pt x="24578" y="6353640"/>
                  <a:pt x="30435" y="6353640"/>
                </a:cubicBezTo>
                <a:cubicBezTo>
                  <a:pt x="32565" y="6353640"/>
                  <a:pt x="34296" y="6353241"/>
                  <a:pt x="35760" y="6352708"/>
                </a:cubicBezTo>
                <a:cubicBezTo>
                  <a:pt x="37224" y="6352176"/>
                  <a:pt x="38556" y="6351244"/>
                  <a:pt x="39487" y="6350311"/>
                </a:cubicBezTo>
                <a:cubicBezTo>
                  <a:pt x="40552" y="6349113"/>
                  <a:pt x="41484" y="6347782"/>
                  <a:pt x="42150" y="6346052"/>
                </a:cubicBezTo>
                <a:cubicBezTo>
                  <a:pt x="42815" y="6344454"/>
                  <a:pt x="43081" y="6342590"/>
                  <a:pt x="43081" y="6340594"/>
                </a:cubicBezTo>
                <a:cubicBezTo>
                  <a:pt x="43081" y="6338730"/>
                  <a:pt x="42815" y="6337000"/>
                  <a:pt x="42150" y="6335403"/>
                </a:cubicBezTo>
                <a:cubicBezTo>
                  <a:pt x="41484" y="6333805"/>
                  <a:pt x="40552" y="6332474"/>
                  <a:pt x="39487" y="6331276"/>
                </a:cubicBezTo>
                <a:cubicBezTo>
                  <a:pt x="38422" y="6330211"/>
                  <a:pt x="37091" y="6329279"/>
                  <a:pt x="35494" y="6328613"/>
                </a:cubicBezTo>
                <a:cubicBezTo>
                  <a:pt x="34030" y="6327948"/>
                  <a:pt x="32432" y="6327682"/>
                  <a:pt x="30435" y="6327682"/>
                </a:cubicBezTo>
                <a:close/>
                <a:moveTo>
                  <a:pt x="10475977" y="6311042"/>
                </a:moveTo>
                <a:cubicBezTo>
                  <a:pt x="10480237" y="6311042"/>
                  <a:pt x="10484230" y="6311708"/>
                  <a:pt x="10487824" y="6313305"/>
                </a:cubicBezTo>
                <a:cubicBezTo>
                  <a:pt x="10491419" y="6314902"/>
                  <a:pt x="10494613" y="6317032"/>
                  <a:pt x="10497143" y="6319694"/>
                </a:cubicBezTo>
                <a:cubicBezTo>
                  <a:pt x="10499672" y="6322224"/>
                  <a:pt x="10501801" y="6325419"/>
                  <a:pt x="10503266" y="6329013"/>
                </a:cubicBezTo>
                <a:cubicBezTo>
                  <a:pt x="10504730" y="6332607"/>
                  <a:pt x="10505529" y="6336467"/>
                  <a:pt x="10505529" y="6340461"/>
                </a:cubicBezTo>
                <a:cubicBezTo>
                  <a:pt x="10505529" y="6344588"/>
                  <a:pt x="10504730" y="6348581"/>
                  <a:pt x="10503266" y="6352176"/>
                </a:cubicBezTo>
                <a:cubicBezTo>
                  <a:pt x="10501669" y="6355903"/>
                  <a:pt x="10499672" y="6358965"/>
                  <a:pt x="10497143" y="6361627"/>
                </a:cubicBezTo>
                <a:cubicBezTo>
                  <a:pt x="10494480" y="6364290"/>
                  <a:pt x="10491419" y="6366419"/>
                  <a:pt x="10487824" y="6367884"/>
                </a:cubicBezTo>
                <a:cubicBezTo>
                  <a:pt x="10484098" y="6369348"/>
                  <a:pt x="10480237" y="6370147"/>
                  <a:pt x="10475977" y="6370147"/>
                </a:cubicBezTo>
                <a:cubicBezTo>
                  <a:pt x="10466924" y="6370147"/>
                  <a:pt x="10459736" y="6367351"/>
                  <a:pt x="10454145" y="6361760"/>
                </a:cubicBezTo>
                <a:cubicBezTo>
                  <a:pt x="10448554" y="6356170"/>
                  <a:pt x="10445759" y="6349113"/>
                  <a:pt x="10445759" y="6340594"/>
                </a:cubicBezTo>
                <a:cubicBezTo>
                  <a:pt x="10445759" y="6332341"/>
                  <a:pt x="10448554" y="6325286"/>
                  <a:pt x="10454145" y="6319562"/>
                </a:cubicBezTo>
                <a:cubicBezTo>
                  <a:pt x="10459603" y="6313838"/>
                  <a:pt x="10466924" y="6311042"/>
                  <a:pt x="10475977" y="6311042"/>
                </a:cubicBezTo>
                <a:close/>
                <a:moveTo>
                  <a:pt x="10258466" y="6311042"/>
                </a:moveTo>
                <a:cubicBezTo>
                  <a:pt x="10262592" y="6311042"/>
                  <a:pt x="10266586" y="6311708"/>
                  <a:pt x="10270313" y="6313305"/>
                </a:cubicBezTo>
                <a:cubicBezTo>
                  <a:pt x="10273907" y="6314902"/>
                  <a:pt x="10277101" y="6317032"/>
                  <a:pt x="10279631" y="6319694"/>
                </a:cubicBezTo>
                <a:cubicBezTo>
                  <a:pt x="10282160" y="6322224"/>
                  <a:pt x="10284290" y="6325419"/>
                  <a:pt x="10285754" y="6329013"/>
                </a:cubicBezTo>
                <a:cubicBezTo>
                  <a:pt x="10287218" y="6332607"/>
                  <a:pt x="10288017" y="6336467"/>
                  <a:pt x="10288017" y="6340461"/>
                </a:cubicBezTo>
                <a:cubicBezTo>
                  <a:pt x="10288017" y="6344588"/>
                  <a:pt x="10287218" y="6348581"/>
                  <a:pt x="10285754" y="6352176"/>
                </a:cubicBezTo>
                <a:cubicBezTo>
                  <a:pt x="10284157" y="6355903"/>
                  <a:pt x="10282160" y="6358965"/>
                  <a:pt x="10279631" y="6361627"/>
                </a:cubicBezTo>
                <a:cubicBezTo>
                  <a:pt x="10276969" y="6364290"/>
                  <a:pt x="10273907" y="6366419"/>
                  <a:pt x="10270313" y="6367884"/>
                </a:cubicBezTo>
                <a:cubicBezTo>
                  <a:pt x="10266586" y="6369348"/>
                  <a:pt x="10262725" y="6370147"/>
                  <a:pt x="10258466" y="6370147"/>
                </a:cubicBezTo>
                <a:cubicBezTo>
                  <a:pt x="10249546" y="6370147"/>
                  <a:pt x="10242224" y="6367351"/>
                  <a:pt x="10236633" y="6361760"/>
                </a:cubicBezTo>
                <a:cubicBezTo>
                  <a:pt x="10231043" y="6356170"/>
                  <a:pt x="10228247" y="6349113"/>
                  <a:pt x="10228247" y="6340594"/>
                </a:cubicBezTo>
                <a:cubicBezTo>
                  <a:pt x="10228247" y="6332341"/>
                  <a:pt x="10231043" y="6325286"/>
                  <a:pt x="10236633" y="6319562"/>
                </a:cubicBezTo>
                <a:cubicBezTo>
                  <a:pt x="10242092" y="6313838"/>
                  <a:pt x="10249413" y="6311042"/>
                  <a:pt x="10258466" y="6311042"/>
                </a:cubicBezTo>
                <a:close/>
                <a:moveTo>
                  <a:pt x="10040820" y="6311042"/>
                </a:moveTo>
                <a:cubicBezTo>
                  <a:pt x="10045080" y="6311042"/>
                  <a:pt x="10048941" y="6311708"/>
                  <a:pt x="10052534" y="6313305"/>
                </a:cubicBezTo>
                <a:cubicBezTo>
                  <a:pt x="10056129" y="6314902"/>
                  <a:pt x="10059323" y="6317032"/>
                  <a:pt x="10061852" y="6319694"/>
                </a:cubicBezTo>
                <a:cubicBezTo>
                  <a:pt x="10064382" y="6322224"/>
                  <a:pt x="10066512" y="6325419"/>
                  <a:pt x="10067976" y="6329013"/>
                </a:cubicBezTo>
                <a:cubicBezTo>
                  <a:pt x="10069440" y="6332607"/>
                  <a:pt x="10070239" y="6336467"/>
                  <a:pt x="10070239" y="6340461"/>
                </a:cubicBezTo>
                <a:cubicBezTo>
                  <a:pt x="10070239" y="6344588"/>
                  <a:pt x="10069440" y="6348581"/>
                  <a:pt x="10067976" y="6352176"/>
                </a:cubicBezTo>
                <a:cubicBezTo>
                  <a:pt x="10066379" y="6355903"/>
                  <a:pt x="10064382" y="6358965"/>
                  <a:pt x="10061852" y="6361627"/>
                </a:cubicBezTo>
                <a:cubicBezTo>
                  <a:pt x="10059190" y="6364290"/>
                  <a:pt x="10056129" y="6366419"/>
                  <a:pt x="10052534" y="6367884"/>
                </a:cubicBezTo>
                <a:cubicBezTo>
                  <a:pt x="10048941" y="6369348"/>
                  <a:pt x="10045080" y="6370147"/>
                  <a:pt x="10040820" y="6370147"/>
                </a:cubicBezTo>
                <a:cubicBezTo>
                  <a:pt x="10031767" y="6370147"/>
                  <a:pt x="10024579" y="6367351"/>
                  <a:pt x="10018988" y="6361760"/>
                </a:cubicBezTo>
                <a:cubicBezTo>
                  <a:pt x="10013397" y="6356170"/>
                  <a:pt x="10010602" y="6349113"/>
                  <a:pt x="10010602" y="6340594"/>
                </a:cubicBezTo>
                <a:cubicBezTo>
                  <a:pt x="10010602" y="6332341"/>
                  <a:pt x="10013397" y="6325286"/>
                  <a:pt x="10018988" y="6319562"/>
                </a:cubicBezTo>
                <a:cubicBezTo>
                  <a:pt x="10024579" y="6313838"/>
                  <a:pt x="10031767" y="6311042"/>
                  <a:pt x="10040820" y="6311042"/>
                </a:cubicBezTo>
                <a:close/>
                <a:moveTo>
                  <a:pt x="9823176" y="6311042"/>
                </a:moveTo>
                <a:cubicBezTo>
                  <a:pt x="9827435" y="6311042"/>
                  <a:pt x="9831296" y="6311708"/>
                  <a:pt x="9834890" y="6313305"/>
                </a:cubicBezTo>
                <a:cubicBezTo>
                  <a:pt x="9838617" y="6314902"/>
                  <a:pt x="9841679" y="6317032"/>
                  <a:pt x="9844208" y="6319694"/>
                </a:cubicBezTo>
                <a:cubicBezTo>
                  <a:pt x="9846737" y="6322224"/>
                  <a:pt x="9848867" y="6325419"/>
                  <a:pt x="9850331" y="6329013"/>
                </a:cubicBezTo>
                <a:cubicBezTo>
                  <a:pt x="9851796" y="6332607"/>
                  <a:pt x="9852595" y="6336467"/>
                  <a:pt x="9852595" y="6340461"/>
                </a:cubicBezTo>
                <a:cubicBezTo>
                  <a:pt x="9852595" y="6344588"/>
                  <a:pt x="9851796" y="6348581"/>
                  <a:pt x="9850331" y="6352176"/>
                </a:cubicBezTo>
                <a:cubicBezTo>
                  <a:pt x="9848734" y="6355903"/>
                  <a:pt x="9846737" y="6358965"/>
                  <a:pt x="9844208" y="6361627"/>
                </a:cubicBezTo>
                <a:cubicBezTo>
                  <a:pt x="9841546" y="6364290"/>
                  <a:pt x="9838484" y="6366419"/>
                  <a:pt x="9834890" y="6367884"/>
                </a:cubicBezTo>
                <a:cubicBezTo>
                  <a:pt x="9831296" y="6369348"/>
                  <a:pt x="9827435" y="6370147"/>
                  <a:pt x="9823176" y="6370147"/>
                </a:cubicBezTo>
                <a:cubicBezTo>
                  <a:pt x="9814123" y="6370147"/>
                  <a:pt x="9806935" y="6367351"/>
                  <a:pt x="9801343" y="6361760"/>
                </a:cubicBezTo>
                <a:cubicBezTo>
                  <a:pt x="9795753" y="6356170"/>
                  <a:pt x="9792957" y="6349113"/>
                  <a:pt x="9792957" y="6340594"/>
                </a:cubicBezTo>
                <a:cubicBezTo>
                  <a:pt x="9792957" y="6332341"/>
                  <a:pt x="9795753" y="6325286"/>
                  <a:pt x="9801343" y="6319562"/>
                </a:cubicBezTo>
                <a:cubicBezTo>
                  <a:pt x="9806935" y="6313838"/>
                  <a:pt x="9814123" y="6311042"/>
                  <a:pt x="9823176" y="6311042"/>
                </a:cubicBezTo>
                <a:close/>
                <a:moveTo>
                  <a:pt x="9605531" y="6311042"/>
                </a:moveTo>
                <a:cubicBezTo>
                  <a:pt x="9609790" y="6311042"/>
                  <a:pt x="9613784" y="6311708"/>
                  <a:pt x="9617245" y="6313305"/>
                </a:cubicBezTo>
                <a:cubicBezTo>
                  <a:pt x="9620839" y="6314902"/>
                  <a:pt x="9624033" y="6317032"/>
                  <a:pt x="9626562" y="6319694"/>
                </a:cubicBezTo>
                <a:cubicBezTo>
                  <a:pt x="9629092" y="6322224"/>
                  <a:pt x="9631222" y="6325419"/>
                  <a:pt x="9632686" y="6329013"/>
                </a:cubicBezTo>
                <a:cubicBezTo>
                  <a:pt x="9634150" y="6332607"/>
                  <a:pt x="9634949" y="6336467"/>
                  <a:pt x="9634949" y="6340461"/>
                </a:cubicBezTo>
                <a:cubicBezTo>
                  <a:pt x="9634949" y="6344588"/>
                  <a:pt x="9634150" y="6348581"/>
                  <a:pt x="9632686" y="6352176"/>
                </a:cubicBezTo>
                <a:cubicBezTo>
                  <a:pt x="9631089" y="6355903"/>
                  <a:pt x="9629092" y="6358965"/>
                  <a:pt x="9626562" y="6361627"/>
                </a:cubicBezTo>
                <a:cubicBezTo>
                  <a:pt x="9623901" y="6364290"/>
                  <a:pt x="9620839" y="6366419"/>
                  <a:pt x="9617245" y="6367884"/>
                </a:cubicBezTo>
                <a:cubicBezTo>
                  <a:pt x="9613651" y="6369348"/>
                  <a:pt x="9609790" y="6370147"/>
                  <a:pt x="9605531" y="6370147"/>
                </a:cubicBezTo>
                <a:cubicBezTo>
                  <a:pt x="9596610" y="6370147"/>
                  <a:pt x="9589289" y="6367351"/>
                  <a:pt x="9583698" y="6361760"/>
                </a:cubicBezTo>
                <a:cubicBezTo>
                  <a:pt x="9578108" y="6356170"/>
                  <a:pt x="9575312" y="6349113"/>
                  <a:pt x="9575312" y="6340594"/>
                </a:cubicBezTo>
                <a:cubicBezTo>
                  <a:pt x="9575312" y="6332341"/>
                  <a:pt x="9578108" y="6325286"/>
                  <a:pt x="9583698" y="6319562"/>
                </a:cubicBezTo>
                <a:cubicBezTo>
                  <a:pt x="9589289" y="6313838"/>
                  <a:pt x="9596478" y="6311042"/>
                  <a:pt x="9605531" y="6311042"/>
                </a:cubicBezTo>
                <a:close/>
                <a:moveTo>
                  <a:pt x="9387885" y="6311042"/>
                </a:moveTo>
                <a:cubicBezTo>
                  <a:pt x="9392145" y="6311042"/>
                  <a:pt x="9396138" y="6311708"/>
                  <a:pt x="9399599" y="6313305"/>
                </a:cubicBezTo>
                <a:cubicBezTo>
                  <a:pt x="9403194" y="6314902"/>
                  <a:pt x="9406388" y="6317032"/>
                  <a:pt x="9408917" y="6319694"/>
                </a:cubicBezTo>
                <a:cubicBezTo>
                  <a:pt x="9411447" y="6322224"/>
                  <a:pt x="9413576" y="6325419"/>
                  <a:pt x="9415041" y="6329013"/>
                </a:cubicBezTo>
                <a:cubicBezTo>
                  <a:pt x="9416505" y="6332607"/>
                  <a:pt x="9417304" y="6336467"/>
                  <a:pt x="9417304" y="6340461"/>
                </a:cubicBezTo>
                <a:cubicBezTo>
                  <a:pt x="9417304" y="6344588"/>
                  <a:pt x="9416505" y="6348581"/>
                  <a:pt x="9415041" y="6352176"/>
                </a:cubicBezTo>
                <a:cubicBezTo>
                  <a:pt x="9413444" y="6355903"/>
                  <a:pt x="9411447" y="6358965"/>
                  <a:pt x="9408917" y="6361627"/>
                </a:cubicBezTo>
                <a:cubicBezTo>
                  <a:pt x="9406255" y="6364290"/>
                  <a:pt x="9403194" y="6366419"/>
                  <a:pt x="9399599" y="6367884"/>
                </a:cubicBezTo>
                <a:cubicBezTo>
                  <a:pt x="9396005" y="6369348"/>
                  <a:pt x="9392145" y="6370147"/>
                  <a:pt x="9387885" y="6370147"/>
                </a:cubicBezTo>
                <a:cubicBezTo>
                  <a:pt x="9378965" y="6370147"/>
                  <a:pt x="9371644" y="6367351"/>
                  <a:pt x="9366053" y="6361760"/>
                </a:cubicBezTo>
                <a:cubicBezTo>
                  <a:pt x="9360462" y="6356170"/>
                  <a:pt x="9357667" y="6349113"/>
                  <a:pt x="9357667" y="6340594"/>
                </a:cubicBezTo>
                <a:cubicBezTo>
                  <a:pt x="9357667" y="6332341"/>
                  <a:pt x="9360462" y="6325286"/>
                  <a:pt x="9366053" y="6319562"/>
                </a:cubicBezTo>
                <a:cubicBezTo>
                  <a:pt x="9371644" y="6313838"/>
                  <a:pt x="9378832" y="6311042"/>
                  <a:pt x="9387885" y="6311042"/>
                </a:cubicBezTo>
                <a:close/>
                <a:moveTo>
                  <a:pt x="9170374" y="6311042"/>
                </a:moveTo>
                <a:cubicBezTo>
                  <a:pt x="9174500" y="6311042"/>
                  <a:pt x="9178494" y="6311708"/>
                  <a:pt x="9182088" y="6313305"/>
                </a:cubicBezTo>
                <a:cubicBezTo>
                  <a:pt x="9185682" y="6314902"/>
                  <a:pt x="9188876" y="6317032"/>
                  <a:pt x="9191405" y="6319694"/>
                </a:cubicBezTo>
                <a:cubicBezTo>
                  <a:pt x="9193935" y="6322224"/>
                  <a:pt x="9196065" y="6325419"/>
                  <a:pt x="9197529" y="6329013"/>
                </a:cubicBezTo>
                <a:cubicBezTo>
                  <a:pt x="9198993" y="6332607"/>
                  <a:pt x="9199792" y="6336467"/>
                  <a:pt x="9199792" y="6340461"/>
                </a:cubicBezTo>
                <a:cubicBezTo>
                  <a:pt x="9199792" y="6344588"/>
                  <a:pt x="9198993" y="6348581"/>
                  <a:pt x="9197529" y="6352176"/>
                </a:cubicBezTo>
                <a:cubicBezTo>
                  <a:pt x="9195932" y="6355903"/>
                  <a:pt x="9193935" y="6358965"/>
                  <a:pt x="9191405" y="6361627"/>
                </a:cubicBezTo>
                <a:cubicBezTo>
                  <a:pt x="9188744" y="6364290"/>
                  <a:pt x="9185682" y="6366419"/>
                  <a:pt x="9182088" y="6367884"/>
                </a:cubicBezTo>
                <a:cubicBezTo>
                  <a:pt x="9178494" y="6369348"/>
                  <a:pt x="9174633" y="6370147"/>
                  <a:pt x="9170374" y="6370147"/>
                </a:cubicBezTo>
                <a:cubicBezTo>
                  <a:pt x="9161453" y="6370147"/>
                  <a:pt x="9154132" y="6367351"/>
                  <a:pt x="9148541" y="6361760"/>
                </a:cubicBezTo>
                <a:cubicBezTo>
                  <a:pt x="9142951" y="6356170"/>
                  <a:pt x="9140155" y="6349113"/>
                  <a:pt x="9140155" y="6340594"/>
                </a:cubicBezTo>
                <a:cubicBezTo>
                  <a:pt x="9140155" y="6332341"/>
                  <a:pt x="9142951" y="6325286"/>
                  <a:pt x="9148541" y="6319562"/>
                </a:cubicBezTo>
                <a:cubicBezTo>
                  <a:pt x="9154132" y="6313838"/>
                  <a:pt x="9161321" y="6311042"/>
                  <a:pt x="9170374" y="6311042"/>
                </a:cubicBezTo>
                <a:close/>
                <a:moveTo>
                  <a:pt x="8952728" y="6311042"/>
                </a:moveTo>
                <a:cubicBezTo>
                  <a:pt x="8956988" y="6311042"/>
                  <a:pt x="8960849" y="6311708"/>
                  <a:pt x="8964442" y="6313305"/>
                </a:cubicBezTo>
                <a:cubicBezTo>
                  <a:pt x="8968037" y="6314902"/>
                  <a:pt x="8971231" y="6317032"/>
                  <a:pt x="8973760" y="6319694"/>
                </a:cubicBezTo>
                <a:cubicBezTo>
                  <a:pt x="8976290" y="6322224"/>
                  <a:pt x="8978419" y="6325419"/>
                  <a:pt x="8979884" y="6329013"/>
                </a:cubicBezTo>
                <a:cubicBezTo>
                  <a:pt x="8981348" y="6332607"/>
                  <a:pt x="8982147" y="6336467"/>
                  <a:pt x="8982147" y="6340461"/>
                </a:cubicBezTo>
                <a:cubicBezTo>
                  <a:pt x="8982147" y="6344588"/>
                  <a:pt x="8981348" y="6348581"/>
                  <a:pt x="8979884" y="6352176"/>
                </a:cubicBezTo>
                <a:cubicBezTo>
                  <a:pt x="8978287" y="6355903"/>
                  <a:pt x="8976290" y="6358965"/>
                  <a:pt x="8973760" y="6361627"/>
                </a:cubicBezTo>
                <a:cubicBezTo>
                  <a:pt x="8971098" y="6364290"/>
                  <a:pt x="8968037" y="6366419"/>
                  <a:pt x="8964442" y="6367884"/>
                </a:cubicBezTo>
                <a:cubicBezTo>
                  <a:pt x="8960849" y="6369348"/>
                  <a:pt x="8956988" y="6370147"/>
                  <a:pt x="8952728" y="6370147"/>
                </a:cubicBezTo>
                <a:cubicBezTo>
                  <a:pt x="8943808" y="6370147"/>
                  <a:pt x="8936487" y="6367351"/>
                  <a:pt x="8930896" y="6361760"/>
                </a:cubicBezTo>
                <a:cubicBezTo>
                  <a:pt x="8925305" y="6356170"/>
                  <a:pt x="8922510" y="6349113"/>
                  <a:pt x="8922510" y="6340594"/>
                </a:cubicBezTo>
                <a:cubicBezTo>
                  <a:pt x="8922510" y="6332341"/>
                  <a:pt x="8925305" y="6325286"/>
                  <a:pt x="8930896" y="6319562"/>
                </a:cubicBezTo>
                <a:cubicBezTo>
                  <a:pt x="8936487" y="6313838"/>
                  <a:pt x="8943675" y="6311042"/>
                  <a:pt x="8952728" y="6311042"/>
                </a:cubicBezTo>
                <a:close/>
                <a:moveTo>
                  <a:pt x="8735083" y="6311042"/>
                </a:moveTo>
                <a:cubicBezTo>
                  <a:pt x="8739342" y="6311042"/>
                  <a:pt x="8743203" y="6311708"/>
                  <a:pt x="8746797" y="6313305"/>
                </a:cubicBezTo>
                <a:cubicBezTo>
                  <a:pt x="8750391" y="6314902"/>
                  <a:pt x="8753586" y="6317032"/>
                  <a:pt x="8756115" y="6319694"/>
                </a:cubicBezTo>
                <a:cubicBezTo>
                  <a:pt x="8758644" y="6322224"/>
                  <a:pt x="8760774" y="6325419"/>
                  <a:pt x="8762238" y="6329013"/>
                </a:cubicBezTo>
                <a:cubicBezTo>
                  <a:pt x="8763702" y="6332607"/>
                  <a:pt x="8764502" y="6336467"/>
                  <a:pt x="8764502" y="6340461"/>
                </a:cubicBezTo>
                <a:cubicBezTo>
                  <a:pt x="8764502" y="6344588"/>
                  <a:pt x="8763702" y="6348581"/>
                  <a:pt x="8762238" y="6352176"/>
                </a:cubicBezTo>
                <a:cubicBezTo>
                  <a:pt x="8760641" y="6355903"/>
                  <a:pt x="8758644" y="6358965"/>
                  <a:pt x="8756115" y="6361627"/>
                </a:cubicBezTo>
                <a:cubicBezTo>
                  <a:pt x="8753453" y="6364290"/>
                  <a:pt x="8750391" y="6366419"/>
                  <a:pt x="8746797" y="6367884"/>
                </a:cubicBezTo>
                <a:cubicBezTo>
                  <a:pt x="8743203" y="6369348"/>
                  <a:pt x="8739342" y="6370147"/>
                  <a:pt x="8735083" y="6370147"/>
                </a:cubicBezTo>
                <a:cubicBezTo>
                  <a:pt x="8726030" y="6370147"/>
                  <a:pt x="8718841" y="6367351"/>
                  <a:pt x="8713250" y="6361760"/>
                </a:cubicBezTo>
                <a:cubicBezTo>
                  <a:pt x="8707660" y="6356170"/>
                  <a:pt x="8704864" y="6349113"/>
                  <a:pt x="8704864" y="6340594"/>
                </a:cubicBezTo>
                <a:cubicBezTo>
                  <a:pt x="8704864" y="6332341"/>
                  <a:pt x="8707660" y="6325286"/>
                  <a:pt x="8713250" y="6319562"/>
                </a:cubicBezTo>
                <a:cubicBezTo>
                  <a:pt x="8718841" y="6313838"/>
                  <a:pt x="8726030" y="6311042"/>
                  <a:pt x="8735083" y="6311042"/>
                </a:cubicBezTo>
                <a:close/>
                <a:moveTo>
                  <a:pt x="8517438" y="6311042"/>
                </a:moveTo>
                <a:cubicBezTo>
                  <a:pt x="8521698" y="6311042"/>
                  <a:pt x="8525559" y="6311708"/>
                  <a:pt x="8529152" y="6313305"/>
                </a:cubicBezTo>
                <a:cubicBezTo>
                  <a:pt x="8532880" y="6314902"/>
                  <a:pt x="8535941" y="6317032"/>
                  <a:pt x="8538470" y="6319694"/>
                </a:cubicBezTo>
                <a:cubicBezTo>
                  <a:pt x="8541000" y="6322224"/>
                  <a:pt x="8543130" y="6325419"/>
                  <a:pt x="8544594" y="6329013"/>
                </a:cubicBezTo>
                <a:cubicBezTo>
                  <a:pt x="8546058" y="6332607"/>
                  <a:pt x="8546857" y="6336467"/>
                  <a:pt x="8546857" y="6340461"/>
                </a:cubicBezTo>
                <a:cubicBezTo>
                  <a:pt x="8546857" y="6344588"/>
                  <a:pt x="8546058" y="6348581"/>
                  <a:pt x="8544594" y="6352176"/>
                </a:cubicBezTo>
                <a:cubicBezTo>
                  <a:pt x="8542997" y="6355903"/>
                  <a:pt x="8541000" y="6358965"/>
                  <a:pt x="8538470" y="6361627"/>
                </a:cubicBezTo>
                <a:cubicBezTo>
                  <a:pt x="8535808" y="6364290"/>
                  <a:pt x="8532747" y="6366419"/>
                  <a:pt x="8529152" y="6367884"/>
                </a:cubicBezTo>
                <a:cubicBezTo>
                  <a:pt x="8525559" y="6369348"/>
                  <a:pt x="8521698" y="6370147"/>
                  <a:pt x="8517438" y="6370147"/>
                </a:cubicBezTo>
                <a:cubicBezTo>
                  <a:pt x="8508385" y="6370147"/>
                  <a:pt x="8501197" y="6367351"/>
                  <a:pt x="8495606" y="6361760"/>
                </a:cubicBezTo>
                <a:cubicBezTo>
                  <a:pt x="8490015" y="6356170"/>
                  <a:pt x="8487220" y="6349113"/>
                  <a:pt x="8487220" y="6340594"/>
                </a:cubicBezTo>
                <a:cubicBezTo>
                  <a:pt x="8487220" y="6332341"/>
                  <a:pt x="8490015" y="6325286"/>
                  <a:pt x="8495606" y="6319562"/>
                </a:cubicBezTo>
                <a:cubicBezTo>
                  <a:pt x="8501197" y="6313838"/>
                  <a:pt x="8508385" y="6311042"/>
                  <a:pt x="8517438" y="6311042"/>
                </a:cubicBezTo>
                <a:close/>
                <a:moveTo>
                  <a:pt x="8299793" y="6311042"/>
                </a:moveTo>
                <a:cubicBezTo>
                  <a:pt x="8304052" y="6311042"/>
                  <a:pt x="8308046" y="6311708"/>
                  <a:pt x="8311507" y="6313305"/>
                </a:cubicBezTo>
                <a:cubicBezTo>
                  <a:pt x="8315235" y="6314902"/>
                  <a:pt x="8318296" y="6317032"/>
                  <a:pt x="8320825" y="6319694"/>
                </a:cubicBezTo>
                <a:cubicBezTo>
                  <a:pt x="8323354" y="6322224"/>
                  <a:pt x="8325484" y="6325419"/>
                  <a:pt x="8326948" y="6329013"/>
                </a:cubicBezTo>
                <a:cubicBezTo>
                  <a:pt x="8328413" y="6332607"/>
                  <a:pt x="8329212" y="6336467"/>
                  <a:pt x="8329212" y="6340461"/>
                </a:cubicBezTo>
                <a:cubicBezTo>
                  <a:pt x="8329212" y="6344588"/>
                  <a:pt x="8328413" y="6348581"/>
                  <a:pt x="8326948" y="6352176"/>
                </a:cubicBezTo>
                <a:cubicBezTo>
                  <a:pt x="8325351" y="6355903"/>
                  <a:pt x="8323354" y="6358965"/>
                  <a:pt x="8320825" y="6361627"/>
                </a:cubicBezTo>
                <a:cubicBezTo>
                  <a:pt x="8318163" y="6364290"/>
                  <a:pt x="8315101" y="6366419"/>
                  <a:pt x="8311507" y="6367884"/>
                </a:cubicBezTo>
                <a:cubicBezTo>
                  <a:pt x="8307913" y="6369348"/>
                  <a:pt x="8304052" y="6370147"/>
                  <a:pt x="8299793" y="6370147"/>
                </a:cubicBezTo>
                <a:cubicBezTo>
                  <a:pt x="8290874" y="6370147"/>
                  <a:pt x="8283553" y="6367351"/>
                  <a:pt x="8277960" y="6361760"/>
                </a:cubicBezTo>
                <a:cubicBezTo>
                  <a:pt x="8272370" y="6356170"/>
                  <a:pt x="8269574" y="6349113"/>
                  <a:pt x="8269574" y="6340594"/>
                </a:cubicBezTo>
                <a:cubicBezTo>
                  <a:pt x="8269574" y="6332341"/>
                  <a:pt x="8272370" y="6325286"/>
                  <a:pt x="8277960" y="6319562"/>
                </a:cubicBezTo>
                <a:cubicBezTo>
                  <a:pt x="8283553" y="6313838"/>
                  <a:pt x="8290741" y="6311042"/>
                  <a:pt x="8299793" y="6311042"/>
                </a:cubicBezTo>
                <a:close/>
                <a:moveTo>
                  <a:pt x="8082281" y="6311042"/>
                </a:moveTo>
                <a:cubicBezTo>
                  <a:pt x="8086407" y="6311042"/>
                  <a:pt x="8090401" y="6311708"/>
                  <a:pt x="8094127" y="6313305"/>
                </a:cubicBezTo>
                <a:cubicBezTo>
                  <a:pt x="8097855" y="6314902"/>
                  <a:pt x="8100916" y="6317032"/>
                  <a:pt x="8103446" y="6319694"/>
                </a:cubicBezTo>
                <a:cubicBezTo>
                  <a:pt x="8105975" y="6322224"/>
                  <a:pt x="8108104" y="6325419"/>
                  <a:pt x="8109569" y="6329013"/>
                </a:cubicBezTo>
                <a:cubicBezTo>
                  <a:pt x="8111033" y="6332607"/>
                  <a:pt x="8111832" y="6336467"/>
                  <a:pt x="8111832" y="6340461"/>
                </a:cubicBezTo>
                <a:cubicBezTo>
                  <a:pt x="8111832" y="6344588"/>
                  <a:pt x="8111033" y="6348581"/>
                  <a:pt x="8109569" y="6352176"/>
                </a:cubicBezTo>
                <a:cubicBezTo>
                  <a:pt x="8107972" y="6355903"/>
                  <a:pt x="8105975" y="6358965"/>
                  <a:pt x="8103446" y="6361627"/>
                </a:cubicBezTo>
                <a:cubicBezTo>
                  <a:pt x="8100783" y="6364290"/>
                  <a:pt x="8097722" y="6366419"/>
                  <a:pt x="8094127" y="6367884"/>
                </a:cubicBezTo>
                <a:cubicBezTo>
                  <a:pt x="8090401" y="6369348"/>
                  <a:pt x="8086540" y="6370147"/>
                  <a:pt x="8082281" y="6370147"/>
                </a:cubicBezTo>
                <a:cubicBezTo>
                  <a:pt x="8073361" y="6370147"/>
                  <a:pt x="8066040" y="6367351"/>
                  <a:pt x="8060448" y="6361760"/>
                </a:cubicBezTo>
                <a:cubicBezTo>
                  <a:pt x="8054857" y="6356170"/>
                  <a:pt x="8052062" y="6349113"/>
                  <a:pt x="8052062" y="6340594"/>
                </a:cubicBezTo>
                <a:cubicBezTo>
                  <a:pt x="8052062" y="6332341"/>
                  <a:pt x="8054857" y="6325286"/>
                  <a:pt x="8060448" y="6319562"/>
                </a:cubicBezTo>
                <a:cubicBezTo>
                  <a:pt x="8066040" y="6313838"/>
                  <a:pt x="8073228" y="6311042"/>
                  <a:pt x="8082281" y="6311042"/>
                </a:cubicBezTo>
                <a:close/>
                <a:moveTo>
                  <a:pt x="7864636" y="6311042"/>
                </a:moveTo>
                <a:cubicBezTo>
                  <a:pt x="7868762" y="6311042"/>
                  <a:pt x="7872756" y="6311708"/>
                  <a:pt x="7876483" y="6313305"/>
                </a:cubicBezTo>
                <a:cubicBezTo>
                  <a:pt x="7880210" y="6314902"/>
                  <a:pt x="7883272" y="6317032"/>
                  <a:pt x="7885802" y="6319694"/>
                </a:cubicBezTo>
                <a:cubicBezTo>
                  <a:pt x="7888331" y="6322224"/>
                  <a:pt x="7890460" y="6325419"/>
                  <a:pt x="7891924" y="6329013"/>
                </a:cubicBezTo>
                <a:cubicBezTo>
                  <a:pt x="7893389" y="6332607"/>
                  <a:pt x="7894188" y="6336467"/>
                  <a:pt x="7894188" y="6340461"/>
                </a:cubicBezTo>
                <a:cubicBezTo>
                  <a:pt x="7894188" y="6344588"/>
                  <a:pt x="7893389" y="6348581"/>
                  <a:pt x="7891924" y="6352176"/>
                </a:cubicBezTo>
                <a:cubicBezTo>
                  <a:pt x="7890327" y="6355903"/>
                  <a:pt x="7888331" y="6358965"/>
                  <a:pt x="7885802" y="6361627"/>
                </a:cubicBezTo>
                <a:cubicBezTo>
                  <a:pt x="7883139" y="6364290"/>
                  <a:pt x="7880078" y="6366419"/>
                  <a:pt x="7876483" y="6367884"/>
                </a:cubicBezTo>
                <a:cubicBezTo>
                  <a:pt x="7872756" y="6369348"/>
                  <a:pt x="7868895" y="6370147"/>
                  <a:pt x="7864636" y="6370147"/>
                </a:cubicBezTo>
                <a:cubicBezTo>
                  <a:pt x="7855717" y="6370147"/>
                  <a:pt x="7848396" y="6367351"/>
                  <a:pt x="7842803" y="6361760"/>
                </a:cubicBezTo>
                <a:cubicBezTo>
                  <a:pt x="7837213" y="6356170"/>
                  <a:pt x="7834417" y="6349113"/>
                  <a:pt x="7834417" y="6340594"/>
                </a:cubicBezTo>
                <a:cubicBezTo>
                  <a:pt x="7834417" y="6332341"/>
                  <a:pt x="7837213" y="6325286"/>
                  <a:pt x="7842803" y="6319562"/>
                </a:cubicBezTo>
                <a:cubicBezTo>
                  <a:pt x="7848396" y="6313838"/>
                  <a:pt x="7855584" y="6311042"/>
                  <a:pt x="7864636" y="6311042"/>
                </a:cubicBezTo>
                <a:close/>
                <a:moveTo>
                  <a:pt x="7646991" y="6311042"/>
                </a:moveTo>
                <a:cubicBezTo>
                  <a:pt x="7651250" y="6311042"/>
                  <a:pt x="7655111" y="6311708"/>
                  <a:pt x="7658705" y="6313305"/>
                </a:cubicBezTo>
                <a:cubicBezTo>
                  <a:pt x="7662432" y="6314902"/>
                  <a:pt x="7665493" y="6317032"/>
                  <a:pt x="7668022" y="6319694"/>
                </a:cubicBezTo>
                <a:cubicBezTo>
                  <a:pt x="7670552" y="6322224"/>
                  <a:pt x="7672682" y="6325419"/>
                  <a:pt x="7674146" y="6329013"/>
                </a:cubicBezTo>
                <a:cubicBezTo>
                  <a:pt x="7675610" y="6332607"/>
                  <a:pt x="7676409" y="6336467"/>
                  <a:pt x="7676409" y="6340461"/>
                </a:cubicBezTo>
                <a:cubicBezTo>
                  <a:pt x="7676409" y="6344588"/>
                  <a:pt x="7675610" y="6348581"/>
                  <a:pt x="7674146" y="6352176"/>
                </a:cubicBezTo>
                <a:cubicBezTo>
                  <a:pt x="7672549" y="6355903"/>
                  <a:pt x="7670552" y="6358965"/>
                  <a:pt x="7668022" y="6361627"/>
                </a:cubicBezTo>
                <a:cubicBezTo>
                  <a:pt x="7665361" y="6364290"/>
                  <a:pt x="7662299" y="6366419"/>
                  <a:pt x="7658705" y="6367884"/>
                </a:cubicBezTo>
                <a:cubicBezTo>
                  <a:pt x="7655111" y="6369348"/>
                  <a:pt x="7651250" y="6370147"/>
                  <a:pt x="7646991" y="6370147"/>
                </a:cubicBezTo>
                <a:cubicBezTo>
                  <a:pt x="7638071" y="6370147"/>
                  <a:pt x="7630750" y="6367351"/>
                  <a:pt x="7625158" y="6361760"/>
                </a:cubicBezTo>
                <a:cubicBezTo>
                  <a:pt x="7619568" y="6356170"/>
                  <a:pt x="7616772" y="6349113"/>
                  <a:pt x="7616772" y="6340594"/>
                </a:cubicBezTo>
                <a:cubicBezTo>
                  <a:pt x="7616772" y="6332341"/>
                  <a:pt x="7619568" y="6325286"/>
                  <a:pt x="7625158" y="6319562"/>
                </a:cubicBezTo>
                <a:cubicBezTo>
                  <a:pt x="7630750" y="6313838"/>
                  <a:pt x="7637939" y="6311042"/>
                  <a:pt x="7646991" y="6311042"/>
                </a:cubicBezTo>
                <a:close/>
                <a:moveTo>
                  <a:pt x="7429345" y="6311042"/>
                </a:moveTo>
                <a:cubicBezTo>
                  <a:pt x="7433605" y="6311042"/>
                  <a:pt x="7437466" y="6311708"/>
                  <a:pt x="7441059" y="6313305"/>
                </a:cubicBezTo>
                <a:cubicBezTo>
                  <a:pt x="7444787" y="6314902"/>
                  <a:pt x="7447848" y="6317032"/>
                  <a:pt x="7450377" y="6319694"/>
                </a:cubicBezTo>
                <a:cubicBezTo>
                  <a:pt x="7452907" y="6322224"/>
                  <a:pt x="7455036" y="6325419"/>
                  <a:pt x="7456501" y="6329013"/>
                </a:cubicBezTo>
                <a:cubicBezTo>
                  <a:pt x="7457965" y="6332607"/>
                  <a:pt x="7458764" y="6336467"/>
                  <a:pt x="7458764" y="6340461"/>
                </a:cubicBezTo>
                <a:cubicBezTo>
                  <a:pt x="7458764" y="6344588"/>
                  <a:pt x="7457965" y="6348581"/>
                  <a:pt x="7456501" y="6352176"/>
                </a:cubicBezTo>
                <a:cubicBezTo>
                  <a:pt x="7454904" y="6355903"/>
                  <a:pt x="7452907" y="6358965"/>
                  <a:pt x="7450377" y="6361627"/>
                </a:cubicBezTo>
                <a:cubicBezTo>
                  <a:pt x="7447715" y="6364290"/>
                  <a:pt x="7444654" y="6366419"/>
                  <a:pt x="7441059" y="6367884"/>
                </a:cubicBezTo>
                <a:cubicBezTo>
                  <a:pt x="7437466" y="6369348"/>
                  <a:pt x="7433605" y="6370147"/>
                  <a:pt x="7429345" y="6370147"/>
                </a:cubicBezTo>
                <a:cubicBezTo>
                  <a:pt x="7420426" y="6370147"/>
                  <a:pt x="7413105" y="6367351"/>
                  <a:pt x="7407513" y="6361760"/>
                </a:cubicBezTo>
                <a:cubicBezTo>
                  <a:pt x="7401922" y="6356170"/>
                  <a:pt x="7399127" y="6349113"/>
                  <a:pt x="7399127" y="6340594"/>
                </a:cubicBezTo>
                <a:cubicBezTo>
                  <a:pt x="7399127" y="6332341"/>
                  <a:pt x="7401922" y="6325286"/>
                  <a:pt x="7407513" y="6319562"/>
                </a:cubicBezTo>
                <a:cubicBezTo>
                  <a:pt x="7413105" y="6313838"/>
                  <a:pt x="7420293" y="6311042"/>
                  <a:pt x="7429345" y="6311042"/>
                </a:cubicBezTo>
                <a:close/>
                <a:moveTo>
                  <a:pt x="7211701" y="6311042"/>
                </a:moveTo>
                <a:cubicBezTo>
                  <a:pt x="7215960" y="6311042"/>
                  <a:pt x="7219954" y="6311708"/>
                  <a:pt x="7223415" y="6313305"/>
                </a:cubicBezTo>
                <a:cubicBezTo>
                  <a:pt x="7227142" y="6314902"/>
                  <a:pt x="7230204" y="6317032"/>
                  <a:pt x="7232733" y="6319694"/>
                </a:cubicBezTo>
                <a:cubicBezTo>
                  <a:pt x="7235262" y="6322224"/>
                  <a:pt x="7237392" y="6325419"/>
                  <a:pt x="7238856" y="6329013"/>
                </a:cubicBezTo>
                <a:cubicBezTo>
                  <a:pt x="7240321" y="6332607"/>
                  <a:pt x="7241120" y="6336467"/>
                  <a:pt x="7241120" y="6340461"/>
                </a:cubicBezTo>
                <a:cubicBezTo>
                  <a:pt x="7241120" y="6344588"/>
                  <a:pt x="7240321" y="6348581"/>
                  <a:pt x="7238856" y="6352176"/>
                </a:cubicBezTo>
                <a:cubicBezTo>
                  <a:pt x="7237259" y="6355903"/>
                  <a:pt x="7235262" y="6358965"/>
                  <a:pt x="7232733" y="6361627"/>
                </a:cubicBezTo>
                <a:cubicBezTo>
                  <a:pt x="7230071" y="6364290"/>
                  <a:pt x="7227009" y="6366419"/>
                  <a:pt x="7223415" y="6367884"/>
                </a:cubicBezTo>
                <a:cubicBezTo>
                  <a:pt x="7219821" y="6369348"/>
                  <a:pt x="7215960" y="6370147"/>
                  <a:pt x="7211701" y="6370147"/>
                </a:cubicBezTo>
                <a:cubicBezTo>
                  <a:pt x="7202782" y="6370147"/>
                  <a:pt x="7195460" y="6367351"/>
                  <a:pt x="7189868" y="6361760"/>
                </a:cubicBezTo>
                <a:cubicBezTo>
                  <a:pt x="7184278" y="6356170"/>
                  <a:pt x="7181482" y="6349113"/>
                  <a:pt x="7181482" y="6340594"/>
                </a:cubicBezTo>
                <a:cubicBezTo>
                  <a:pt x="7181482" y="6332341"/>
                  <a:pt x="7184278" y="6325286"/>
                  <a:pt x="7189868" y="6319562"/>
                </a:cubicBezTo>
                <a:cubicBezTo>
                  <a:pt x="7195460" y="6313838"/>
                  <a:pt x="7202649" y="6311042"/>
                  <a:pt x="7211701" y="6311042"/>
                </a:cubicBezTo>
                <a:close/>
                <a:moveTo>
                  <a:pt x="6994056" y="6311042"/>
                </a:moveTo>
                <a:cubicBezTo>
                  <a:pt x="6998315" y="6311042"/>
                  <a:pt x="7002309" y="6311708"/>
                  <a:pt x="7005769" y="6313305"/>
                </a:cubicBezTo>
                <a:cubicBezTo>
                  <a:pt x="7009497" y="6314902"/>
                  <a:pt x="7012558" y="6317032"/>
                  <a:pt x="7015087" y="6319694"/>
                </a:cubicBezTo>
                <a:cubicBezTo>
                  <a:pt x="7017617" y="6322224"/>
                  <a:pt x="7019747" y="6325419"/>
                  <a:pt x="7021211" y="6329013"/>
                </a:cubicBezTo>
                <a:cubicBezTo>
                  <a:pt x="7022675" y="6332607"/>
                  <a:pt x="7023474" y="6336467"/>
                  <a:pt x="7023474" y="6340461"/>
                </a:cubicBezTo>
                <a:cubicBezTo>
                  <a:pt x="7023474" y="6344588"/>
                  <a:pt x="7022675" y="6348581"/>
                  <a:pt x="7021211" y="6352176"/>
                </a:cubicBezTo>
                <a:cubicBezTo>
                  <a:pt x="7019614" y="6355903"/>
                  <a:pt x="7017617" y="6358965"/>
                  <a:pt x="7015087" y="6361627"/>
                </a:cubicBezTo>
                <a:cubicBezTo>
                  <a:pt x="7012425" y="6364290"/>
                  <a:pt x="7009364" y="6366419"/>
                  <a:pt x="7005769" y="6367884"/>
                </a:cubicBezTo>
                <a:cubicBezTo>
                  <a:pt x="7002176" y="6369348"/>
                  <a:pt x="6998315" y="6370147"/>
                  <a:pt x="6994056" y="6370147"/>
                </a:cubicBezTo>
                <a:cubicBezTo>
                  <a:pt x="6985136" y="6370147"/>
                  <a:pt x="6977815" y="6367351"/>
                  <a:pt x="6972223" y="6361760"/>
                </a:cubicBezTo>
                <a:cubicBezTo>
                  <a:pt x="6966632" y="6356170"/>
                  <a:pt x="6963837" y="6349113"/>
                  <a:pt x="6963837" y="6340594"/>
                </a:cubicBezTo>
                <a:cubicBezTo>
                  <a:pt x="6963837" y="6332341"/>
                  <a:pt x="6966632" y="6325286"/>
                  <a:pt x="6972223" y="6319562"/>
                </a:cubicBezTo>
                <a:cubicBezTo>
                  <a:pt x="6977815" y="6313838"/>
                  <a:pt x="6985003" y="6311042"/>
                  <a:pt x="6994056" y="6311042"/>
                </a:cubicBezTo>
                <a:close/>
                <a:moveTo>
                  <a:pt x="6776544" y="6311042"/>
                </a:moveTo>
                <a:cubicBezTo>
                  <a:pt x="6780670" y="6311042"/>
                  <a:pt x="6784664" y="6311708"/>
                  <a:pt x="6788258" y="6313305"/>
                </a:cubicBezTo>
                <a:cubicBezTo>
                  <a:pt x="6791985" y="6314902"/>
                  <a:pt x="6795047" y="6317032"/>
                  <a:pt x="6797576" y="6319694"/>
                </a:cubicBezTo>
                <a:cubicBezTo>
                  <a:pt x="6800105" y="6322224"/>
                  <a:pt x="6802235" y="6325419"/>
                  <a:pt x="6803699" y="6329013"/>
                </a:cubicBezTo>
                <a:cubicBezTo>
                  <a:pt x="6805164" y="6332607"/>
                  <a:pt x="6805963" y="6336467"/>
                  <a:pt x="6805963" y="6340461"/>
                </a:cubicBezTo>
                <a:cubicBezTo>
                  <a:pt x="6805963" y="6344588"/>
                  <a:pt x="6805164" y="6348581"/>
                  <a:pt x="6803699" y="6352176"/>
                </a:cubicBezTo>
                <a:cubicBezTo>
                  <a:pt x="6802102" y="6355903"/>
                  <a:pt x="6800105" y="6358965"/>
                  <a:pt x="6797576" y="6361627"/>
                </a:cubicBezTo>
                <a:cubicBezTo>
                  <a:pt x="6794914" y="6364290"/>
                  <a:pt x="6791852" y="6366419"/>
                  <a:pt x="6788258" y="6367884"/>
                </a:cubicBezTo>
                <a:cubicBezTo>
                  <a:pt x="6784664" y="6369348"/>
                  <a:pt x="6780803" y="6370147"/>
                  <a:pt x="6776544" y="6370147"/>
                </a:cubicBezTo>
                <a:cubicBezTo>
                  <a:pt x="6767625" y="6370147"/>
                  <a:pt x="6760303" y="6367351"/>
                  <a:pt x="6754711" y="6361760"/>
                </a:cubicBezTo>
                <a:cubicBezTo>
                  <a:pt x="6749121" y="6356170"/>
                  <a:pt x="6746325" y="6349113"/>
                  <a:pt x="6746325" y="6340594"/>
                </a:cubicBezTo>
                <a:cubicBezTo>
                  <a:pt x="6746325" y="6332341"/>
                  <a:pt x="6749121" y="6325286"/>
                  <a:pt x="6754711" y="6319562"/>
                </a:cubicBezTo>
                <a:cubicBezTo>
                  <a:pt x="6760303" y="6313838"/>
                  <a:pt x="6767492" y="6311042"/>
                  <a:pt x="6776544" y="6311042"/>
                </a:cubicBezTo>
                <a:close/>
                <a:moveTo>
                  <a:pt x="6558899" y="6311042"/>
                </a:moveTo>
                <a:cubicBezTo>
                  <a:pt x="6563158" y="6311042"/>
                  <a:pt x="6567019" y="6311708"/>
                  <a:pt x="6570612" y="6313305"/>
                </a:cubicBezTo>
                <a:cubicBezTo>
                  <a:pt x="6574340" y="6314902"/>
                  <a:pt x="6577401" y="6317032"/>
                  <a:pt x="6579930" y="6319694"/>
                </a:cubicBezTo>
                <a:cubicBezTo>
                  <a:pt x="6582460" y="6322224"/>
                  <a:pt x="6584590" y="6325419"/>
                  <a:pt x="6586054" y="6329013"/>
                </a:cubicBezTo>
                <a:cubicBezTo>
                  <a:pt x="6587518" y="6332607"/>
                  <a:pt x="6588317" y="6336467"/>
                  <a:pt x="6588317" y="6340461"/>
                </a:cubicBezTo>
                <a:cubicBezTo>
                  <a:pt x="6588317" y="6344588"/>
                  <a:pt x="6587518" y="6348581"/>
                  <a:pt x="6586054" y="6352176"/>
                </a:cubicBezTo>
                <a:cubicBezTo>
                  <a:pt x="6584457" y="6355903"/>
                  <a:pt x="6582460" y="6358965"/>
                  <a:pt x="6579930" y="6361627"/>
                </a:cubicBezTo>
                <a:cubicBezTo>
                  <a:pt x="6577268" y="6364290"/>
                  <a:pt x="6574207" y="6366419"/>
                  <a:pt x="6570612" y="6367884"/>
                </a:cubicBezTo>
                <a:cubicBezTo>
                  <a:pt x="6567019" y="6369348"/>
                  <a:pt x="6563158" y="6370147"/>
                  <a:pt x="6558899" y="6370147"/>
                </a:cubicBezTo>
                <a:cubicBezTo>
                  <a:pt x="6549979" y="6370147"/>
                  <a:pt x="6542658" y="6367351"/>
                  <a:pt x="6537066" y="6361760"/>
                </a:cubicBezTo>
                <a:cubicBezTo>
                  <a:pt x="6531476" y="6356170"/>
                  <a:pt x="6528680" y="6349113"/>
                  <a:pt x="6528680" y="6340594"/>
                </a:cubicBezTo>
                <a:cubicBezTo>
                  <a:pt x="6528680" y="6332341"/>
                  <a:pt x="6531476" y="6325286"/>
                  <a:pt x="6537066" y="6319562"/>
                </a:cubicBezTo>
                <a:cubicBezTo>
                  <a:pt x="6542658" y="6313838"/>
                  <a:pt x="6549846" y="6311042"/>
                  <a:pt x="6558899" y="6311042"/>
                </a:cubicBezTo>
                <a:close/>
                <a:moveTo>
                  <a:pt x="6341253" y="6311042"/>
                </a:moveTo>
                <a:cubicBezTo>
                  <a:pt x="6345513" y="6311042"/>
                  <a:pt x="6349373" y="6311708"/>
                  <a:pt x="6352968" y="6313305"/>
                </a:cubicBezTo>
                <a:cubicBezTo>
                  <a:pt x="6356695" y="6314902"/>
                  <a:pt x="6359757" y="6317032"/>
                  <a:pt x="6362286" y="6319694"/>
                </a:cubicBezTo>
                <a:cubicBezTo>
                  <a:pt x="6364815" y="6322224"/>
                  <a:pt x="6366945" y="6325419"/>
                  <a:pt x="6368409" y="6329013"/>
                </a:cubicBezTo>
                <a:cubicBezTo>
                  <a:pt x="6369874" y="6332607"/>
                  <a:pt x="6370672" y="6336467"/>
                  <a:pt x="6370672" y="6340461"/>
                </a:cubicBezTo>
                <a:cubicBezTo>
                  <a:pt x="6370672" y="6344588"/>
                  <a:pt x="6369874" y="6348581"/>
                  <a:pt x="6368409" y="6352176"/>
                </a:cubicBezTo>
                <a:cubicBezTo>
                  <a:pt x="6366811" y="6355903"/>
                  <a:pt x="6364815" y="6358965"/>
                  <a:pt x="6362286" y="6361627"/>
                </a:cubicBezTo>
                <a:cubicBezTo>
                  <a:pt x="6359623" y="6364290"/>
                  <a:pt x="6356562" y="6366419"/>
                  <a:pt x="6352968" y="6367884"/>
                </a:cubicBezTo>
                <a:cubicBezTo>
                  <a:pt x="6349373" y="6369348"/>
                  <a:pt x="6345513" y="6370147"/>
                  <a:pt x="6341253" y="6370147"/>
                </a:cubicBezTo>
                <a:cubicBezTo>
                  <a:pt x="6332335" y="6370147"/>
                  <a:pt x="6325013" y="6367351"/>
                  <a:pt x="6319421" y="6361760"/>
                </a:cubicBezTo>
                <a:cubicBezTo>
                  <a:pt x="6313830" y="6356170"/>
                  <a:pt x="6311035" y="6349113"/>
                  <a:pt x="6311035" y="6340594"/>
                </a:cubicBezTo>
                <a:cubicBezTo>
                  <a:pt x="6311035" y="6332341"/>
                  <a:pt x="6313830" y="6325286"/>
                  <a:pt x="6319421" y="6319562"/>
                </a:cubicBezTo>
                <a:cubicBezTo>
                  <a:pt x="6325013" y="6313838"/>
                  <a:pt x="6332201" y="6311042"/>
                  <a:pt x="6341253" y="6311042"/>
                </a:cubicBezTo>
                <a:close/>
                <a:moveTo>
                  <a:pt x="6123608" y="6311042"/>
                </a:moveTo>
                <a:cubicBezTo>
                  <a:pt x="6127867" y="6311042"/>
                  <a:pt x="6131728" y="6311708"/>
                  <a:pt x="6135322" y="6313305"/>
                </a:cubicBezTo>
                <a:cubicBezTo>
                  <a:pt x="6139049" y="6314902"/>
                  <a:pt x="6142111" y="6317032"/>
                  <a:pt x="6144640" y="6319694"/>
                </a:cubicBezTo>
                <a:cubicBezTo>
                  <a:pt x="6147169" y="6322224"/>
                  <a:pt x="6149299" y="6325419"/>
                  <a:pt x="6150763" y="6329013"/>
                </a:cubicBezTo>
                <a:cubicBezTo>
                  <a:pt x="6152228" y="6332607"/>
                  <a:pt x="6153026" y="6336467"/>
                  <a:pt x="6153026" y="6340461"/>
                </a:cubicBezTo>
                <a:cubicBezTo>
                  <a:pt x="6153026" y="6344588"/>
                  <a:pt x="6152228" y="6348581"/>
                  <a:pt x="6150763" y="6352176"/>
                </a:cubicBezTo>
                <a:cubicBezTo>
                  <a:pt x="6149299" y="6355903"/>
                  <a:pt x="6147169" y="6358965"/>
                  <a:pt x="6144640" y="6361627"/>
                </a:cubicBezTo>
                <a:cubicBezTo>
                  <a:pt x="6141977" y="6364290"/>
                  <a:pt x="6138916" y="6366419"/>
                  <a:pt x="6135322" y="6367884"/>
                </a:cubicBezTo>
                <a:cubicBezTo>
                  <a:pt x="6131728" y="6369348"/>
                  <a:pt x="6127867" y="6370147"/>
                  <a:pt x="6123608" y="6370147"/>
                </a:cubicBezTo>
                <a:cubicBezTo>
                  <a:pt x="6114689" y="6370147"/>
                  <a:pt x="6107367" y="6367351"/>
                  <a:pt x="6101775" y="6361760"/>
                </a:cubicBezTo>
                <a:cubicBezTo>
                  <a:pt x="6096184" y="6356170"/>
                  <a:pt x="6093389" y="6349113"/>
                  <a:pt x="6093389" y="6340594"/>
                </a:cubicBezTo>
                <a:cubicBezTo>
                  <a:pt x="6093389" y="6332341"/>
                  <a:pt x="6096184" y="6325286"/>
                  <a:pt x="6101775" y="6319562"/>
                </a:cubicBezTo>
                <a:cubicBezTo>
                  <a:pt x="6107367" y="6313838"/>
                  <a:pt x="6114555" y="6311042"/>
                  <a:pt x="6123608" y="6311042"/>
                </a:cubicBezTo>
                <a:close/>
                <a:moveTo>
                  <a:pt x="5905963" y="6311042"/>
                </a:moveTo>
                <a:cubicBezTo>
                  <a:pt x="5910222" y="6311042"/>
                  <a:pt x="5914216" y="6311708"/>
                  <a:pt x="5917677" y="6313305"/>
                </a:cubicBezTo>
                <a:cubicBezTo>
                  <a:pt x="5921404" y="6314902"/>
                  <a:pt x="5924466" y="6317032"/>
                  <a:pt x="5926995" y="6319694"/>
                </a:cubicBezTo>
                <a:cubicBezTo>
                  <a:pt x="5929524" y="6322224"/>
                  <a:pt x="5931654" y="6325419"/>
                  <a:pt x="5933118" y="6329013"/>
                </a:cubicBezTo>
                <a:cubicBezTo>
                  <a:pt x="5934583" y="6332607"/>
                  <a:pt x="5935381" y="6336467"/>
                  <a:pt x="5935381" y="6340461"/>
                </a:cubicBezTo>
                <a:cubicBezTo>
                  <a:pt x="5935381" y="6344588"/>
                  <a:pt x="5934583" y="6348581"/>
                  <a:pt x="5933118" y="6352176"/>
                </a:cubicBezTo>
                <a:cubicBezTo>
                  <a:pt x="5931654" y="6355903"/>
                  <a:pt x="5929524" y="6358965"/>
                  <a:pt x="5926995" y="6361627"/>
                </a:cubicBezTo>
                <a:cubicBezTo>
                  <a:pt x="5924333" y="6364290"/>
                  <a:pt x="5921271" y="6366419"/>
                  <a:pt x="5917677" y="6367884"/>
                </a:cubicBezTo>
                <a:cubicBezTo>
                  <a:pt x="5914083" y="6369348"/>
                  <a:pt x="5910222" y="6370147"/>
                  <a:pt x="5905963" y="6370147"/>
                </a:cubicBezTo>
                <a:cubicBezTo>
                  <a:pt x="5897044" y="6370147"/>
                  <a:pt x="5889722" y="6367351"/>
                  <a:pt x="5884130" y="6361760"/>
                </a:cubicBezTo>
                <a:cubicBezTo>
                  <a:pt x="5878540" y="6356170"/>
                  <a:pt x="5875744" y="6349113"/>
                  <a:pt x="5875744" y="6340594"/>
                </a:cubicBezTo>
                <a:cubicBezTo>
                  <a:pt x="5875744" y="6332341"/>
                  <a:pt x="5878540" y="6325286"/>
                  <a:pt x="5884130" y="6319562"/>
                </a:cubicBezTo>
                <a:cubicBezTo>
                  <a:pt x="5889722" y="6313838"/>
                  <a:pt x="5896910" y="6311042"/>
                  <a:pt x="5905963" y="6311042"/>
                </a:cubicBezTo>
                <a:close/>
                <a:moveTo>
                  <a:pt x="5688451" y="6311042"/>
                </a:moveTo>
                <a:cubicBezTo>
                  <a:pt x="5692577" y="6311042"/>
                  <a:pt x="5696571" y="6311708"/>
                  <a:pt x="5700165" y="6313305"/>
                </a:cubicBezTo>
                <a:cubicBezTo>
                  <a:pt x="5703892" y="6314902"/>
                  <a:pt x="5706954" y="6317032"/>
                  <a:pt x="5709483" y="6319694"/>
                </a:cubicBezTo>
                <a:cubicBezTo>
                  <a:pt x="5712012" y="6322224"/>
                  <a:pt x="5714142" y="6325419"/>
                  <a:pt x="5715606" y="6329013"/>
                </a:cubicBezTo>
                <a:cubicBezTo>
                  <a:pt x="5717071" y="6332607"/>
                  <a:pt x="5717869" y="6336467"/>
                  <a:pt x="5717869" y="6340461"/>
                </a:cubicBezTo>
                <a:cubicBezTo>
                  <a:pt x="5717869" y="6344588"/>
                  <a:pt x="5717071" y="6348581"/>
                  <a:pt x="5715606" y="6352176"/>
                </a:cubicBezTo>
                <a:cubicBezTo>
                  <a:pt x="5714142" y="6355903"/>
                  <a:pt x="5712012" y="6358965"/>
                  <a:pt x="5709483" y="6361627"/>
                </a:cubicBezTo>
                <a:cubicBezTo>
                  <a:pt x="5706820" y="6364290"/>
                  <a:pt x="5703759" y="6366419"/>
                  <a:pt x="5700165" y="6367884"/>
                </a:cubicBezTo>
                <a:cubicBezTo>
                  <a:pt x="5696571" y="6369348"/>
                  <a:pt x="5692710" y="6370147"/>
                  <a:pt x="5688451" y="6370147"/>
                </a:cubicBezTo>
                <a:cubicBezTo>
                  <a:pt x="5679532" y="6370147"/>
                  <a:pt x="5672210" y="6367351"/>
                  <a:pt x="5666618" y="6361760"/>
                </a:cubicBezTo>
                <a:cubicBezTo>
                  <a:pt x="5661028" y="6356170"/>
                  <a:pt x="5658232" y="6349113"/>
                  <a:pt x="5658232" y="6340594"/>
                </a:cubicBezTo>
                <a:cubicBezTo>
                  <a:pt x="5658232" y="6332341"/>
                  <a:pt x="5661028" y="6325286"/>
                  <a:pt x="5666618" y="6319562"/>
                </a:cubicBezTo>
                <a:cubicBezTo>
                  <a:pt x="5672210" y="6313838"/>
                  <a:pt x="5679398" y="6311042"/>
                  <a:pt x="5688451" y="6311042"/>
                </a:cubicBezTo>
                <a:close/>
                <a:moveTo>
                  <a:pt x="5470806" y="6311042"/>
                </a:moveTo>
                <a:cubicBezTo>
                  <a:pt x="5475065" y="6311042"/>
                  <a:pt x="5478926" y="6311708"/>
                  <a:pt x="5482520" y="6313305"/>
                </a:cubicBezTo>
                <a:cubicBezTo>
                  <a:pt x="5486247" y="6314902"/>
                  <a:pt x="5489309" y="6317032"/>
                  <a:pt x="5491838" y="6319694"/>
                </a:cubicBezTo>
                <a:cubicBezTo>
                  <a:pt x="5494367" y="6322224"/>
                  <a:pt x="5496497" y="6325419"/>
                  <a:pt x="5497961" y="6329013"/>
                </a:cubicBezTo>
                <a:cubicBezTo>
                  <a:pt x="5499426" y="6332607"/>
                  <a:pt x="5500224" y="6336467"/>
                  <a:pt x="5500224" y="6340461"/>
                </a:cubicBezTo>
                <a:cubicBezTo>
                  <a:pt x="5500224" y="6344588"/>
                  <a:pt x="5499426" y="6348581"/>
                  <a:pt x="5497961" y="6352176"/>
                </a:cubicBezTo>
                <a:cubicBezTo>
                  <a:pt x="5496497" y="6355903"/>
                  <a:pt x="5494367" y="6358965"/>
                  <a:pt x="5491838" y="6361627"/>
                </a:cubicBezTo>
                <a:cubicBezTo>
                  <a:pt x="5489176" y="6364290"/>
                  <a:pt x="5486114" y="6366419"/>
                  <a:pt x="5482520" y="6367884"/>
                </a:cubicBezTo>
                <a:cubicBezTo>
                  <a:pt x="5478926" y="6369348"/>
                  <a:pt x="5475065" y="6370147"/>
                  <a:pt x="5470806" y="6370147"/>
                </a:cubicBezTo>
                <a:cubicBezTo>
                  <a:pt x="5461887" y="6370147"/>
                  <a:pt x="5454565" y="6367351"/>
                  <a:pt x="5448973" y="6361760"/>
                </a:cubicBezTo>
                <a:cubicBezTo>
                  <a:pt x="5443383" y="6356170"/>
                  <a:pt x="5440587" y="6349113"/>
                  <a:pt x="5440587" y="6340594"/>
                </a:cubicBezTo>
                <a:cubicBezTo>
                  <a:pt x="5440587" y="6332341"/>
                  <a:pt x="5443383" y="6325286"/>
                  <a:pt x="5448973" y="6319562"/>
                </a:cubicBezTo>
                <a:cubicBezTo>
                  <a:pt x="5454565" y="6313838"/>
                  <a:pt x="5461754" y="6311042"/>
                  <a:pt x="5470806" y="6311042"/>
                </a:cubicBezTo>
                <a:close/>
                <a:moveTo>
                  <a:pt x="5253160" y="6311042"/>
                </a:moveTo>
                <a:cubicBezTo>
                  <a:pt x="5257420" y="6311042"/>
                  <a:pt x="5261280" y="6311708"/>
                  <a:pt x="5264875" y="6313305"/>
                </a:cubicBezTo>
                <a:cubicBezTo>
                  <a:pt x="5268602" y="6314902"/>
                  <a:pt x="5271664" y="6317032"/>
                  <a:pt x="5274192" y="6319694"/>
                </a:cubicBezTo>
                <a:cubicBezTo>
                  <a:pt x="5276722" y="6322224"/>
                  <a:pt x="5278852" y="6325419"/>
                  <a:pt x="5280316" y="6329013"/>
                </a:cubicBezTo>
                <a:cubicBezTo>
                  <a:pt x="5281780" y="6332607"/>
                  <a:pt x="5282579" y="6336467"/>
                  <a:pt x="5282579" y="6340461"/>
                </a:cubicBezTo>
                <a:cubicBezTo>
                  <a:pt x="5282579" y="6344588"/>
                  <a:pt x="5281780" y="6348581"/>
                  <a:pt x="5280316" y="6352176"/>
                </a:cubicBezTo>
                <a:cubicBezTo>
                  <a:pt x="5278852" y="6355903"/>
                  <a:pt x="5276722" y="6358965"/>
                  <a:pt x="5274192" y="6361627"/>
                </a:cubicBezTo>
                <a:cubicBezTo>
                  <a:pt x="5271664" y="6364290"/>
                  <a:pt x="5268469" y="6366419"/>
                  <a:pt x="5264875" y="6367884"/>
                </a:cubicBezTo>
                <a:cubicBezTo>
                  <a:pt x="5261280" y="6369348"/>
                  <a:pt x="5257420" y="6370147"/>
                  <a:pt x="5253160" y="6370147"/>
                </a:cubicBezTo>
                <a:cubicBezTo>
                  <a:pt x="5244241" y="6370147"/>
                  <a:pt x="5236920" y="6367351"/>
                  <a:pt x="5231328" y="6361760"/>
                </a:cubicBezTo>
                <a:cubicBezTo>
                  <a:pt x="5225737" y="6356170"/>
                  <a:pt x="5222942" y="6349113"/>
                  <a:pt x="5222942" y="6340594"/>
                </a:cubicBezTo>
                <a:cubicBezTo>
                  <a:pt x="5222942" y="6332341"/>
                  <a:pt x="5225737" y="6325286"/>
                  <a:pt x="5231328" y="6319562"/>
                </a:cubicBezTo>
                <a:cubicBezTo>
                  <a:pt x="5236920" y="6313838"/>
                  <a:pt x="5244108" y="6311042"/>
                  <a:pt x="5253160" y="6311042"/>
                </a:cubicBezTo>
                <a:close/>
                <a:moveTo>
                  <a:pt x="5035515" y="6311042"/>
                </a:moveTo>
                <a:cubicBezTo>
                  <a:pt x="5039775" y="6311042"/>
                  <a:pt x="5043636" y="6311708"/>
                  <a:pt x="5047230" y="6313305"/>
                </a:cubicBezTo>
                <a:cubicBezTo>
                  <a:pt x="5050957" y="6314902"/>
                  <a:pt x="5054019" y="6317032"/>
                  <a:pt x="5056548" y="6319694"/>
                </a:cubicBezTo>
                <a:cubicBezTo>
                  <a:pt x="5059077" y="6322224"/>
                  <a:pt x="5061207" y="6325419"/>
                  <a:pt x="5062671" y="6329013"/>
                </a:cubicBezTo>
                <a:cubicBezTo>
                  <a:pt x="5064135" y="6332607"/>
                  <a:pt x="5064934" y="6336467"/>
                  <a:pt x="5064934" y="6340461"/>
                </a:cubicBezTo>
                <a:cubicBezTo>
                  <a:pt x="5064934" y="6344588"/>
                  <a:pt x="5064135" y="6348581"/>
                  <a:pt x="5062671" y="6352176"/>
                </a:cubicBezTo>
                <a:cubicBezTo>
                  <a:pt x="5061207" y="6355903"/>
                  <a:pt x="5059077" y="6358965"/>
                  <a:pt x="5056548" y="6361627"/>
                </a:cubicBezTo>
                <a:cubicBezTo>
                  <a:pt x="5053885" y="6364290"/>
                  <a:pt x="5050824" y="6366419"/>
                  <a:pt x="5047230" y="6367884"/>
                </a:cubicBezTo>
                <a:cubicBezTo>
                  <a:pt x="5043636" y="6369348"/>
                  <a:pt x="5039775" y="6370147"/>
                  <a:pt x="5035515" y="6370147"/>
                </a:cubicBezTo>
                <a:cubicBezTo>
                  <a:pt x="5026597" y="6370147"/>
                  <a:pt x="5019275" y="6367351"/>
                  <a:pt x="5013683" y="6361760"/>
                </a:cubicBezTo>
                <a:cubicBezTo>
                  <a:pt x="5008092" y="6356170"/>
                  <a:pt x="5005297" y="6349113"/>
                  <a:pt x="5005297" y="6340594"/>
                </a:cubicBezTo>
                <a:cubicBezTo>
                  <a:pt x="5005297" y="6332341"/>
                  <a:pt x="5008092" y="6325286"/>
                  <a:pt x="5013683" y="6319562"/>
                </a:cubicBezTo>
                <a:cubicBezTo>
                  <a:pt x="5019275" y="6313838"/>
                  <a:pt x="5026463" y="6311042"/>
                  <a:pt x="5035515" y="6311042"/>
                </a:cubicBezTo>
                <a:close/>
                <a:moveTo>
                  <a:pt x="4817870" y="6311042"/>
                </a:moveTo>
                <a:cubicBezTo>
                  <a:pt x="4822130" y="6311042"/>
                  <a:pt x="4826124" y="6311708"/>
                  <a:pt x="4829585" y="6313305"/>
                </a:cubicBezTo>
                <a:cubicBezTo>
                  <a:pt x="4833312" y="6314902"/>
                  <a:pt x="4836374" y="6317032"/>
                  <a:pt x="4838903" y="6319694"/>
                </a:cubicBezTo>
                <a:cubicBezTo>
                  <a:pt x="4841432" y="6322224"/>
                  <a:pt x="4843562" y="6325419"/>
                  <a:pt x="4845026" y="6329013"/>
                </a:cubicBezTo>
                <a:cubicBezTo>
                  <a:pt x="4846491" y="6332607"/>
                  <a:pt x="4847289" y="6336467"/>
                  <a:pt x="4847289" y="6340461"/>
                </a:cubicBezTo>
                <a:cubicBezTo>
                  <a:pt x="4847289" y="6344588"/>
                  <a:pt x="4846491" y="6348581"/>
                  <a:pt x="4845026" y="6352176"/>
                </a:cubicBezTo>
                <a:cubicBezTo>
                  <a:pt x="4843562" y="6355903"/>
                  <a:pt x="4841432" y="6358965"/>
                  <a:pt x="4838903" y="6361627"/>
                </a:cubicBezTo>
                <a:cubicBezTo>
                  <a:pt x="4836240" y="6364290"/>
                  <a:pt x="4833179" y="6366419"/>
                  <a:pt x="4829585" y="6367884"/>
                </a:cubicBezTo>
                <a:cubicBezTo>
                  <a:pt x="4825991" y="6369348"/>
                  <a:pt x="4822130" y="6370147"/>
                  <a:pt x="4817870" y="6370147"/>
                </a:cubicBezTo>
                <a:cubicBezTo>
                  <a:pt x="4808952" y="6370147"/>
                  <a:pt x="4801630" y="6367351"/>
                  <a:pt x="4796038" y="6361760"/>
                </a:cubicBezTo>
                <a:cubicBezTo>
                  <a:pt x="4790447" y="6356170"/>
                  <a:pt x="4787652" y="6349113"/>
                  <a:pt x="4787652" y="6340594"/>
                </a:cubicBezTo>
                <a:cubicBezTo>
                  <a:pt x="4787652" y="6332341"/>
                  <a:pt x="4790447" y="6325286"/>
                  <a:pt x="4796038" y="6319562"/>
                </a:cubicBezTo>
                <a:cubicBezTo>
                  <a:pt x="4801630" y="6313838"/>
                  <a:pt x="4808818" y="6311042"/>
                  <a:pt x="4817870" y="6311042"/>
                </a:cubicBezTo>
                <a:close/>
                <a:moveTo>
                  <a:pt x="4600226" y="6311042"/>
                </a:moveTo>
                <a:cubicBezTo>
                  <a:pt x="4604485" y="6311042"/>
                  <a:pt x="4608479" y="6311708"/>
                  <a:pt x="4612073" y="6313305"/>
                </a:cubicBezTo>
                <a:cubicBezTo>
                  <a:pt x="4615800" y="6314902"/>
                  <a:pt x="4618862" y="6317032"/>
                  <a:pt x="4621391" y="6319694"/>
                </a:cubicBezTo>
                <a:cubicBezTo>
                  <a:pt x="4623920" y="6322224"/>
                  <a:pt x="4626050" y="6325419"/>
                  <a:pt x="4627514" y="6329013"/>
                </a:cubicBezTo>
                <a:cubicBezTo>
                  <a:pt x="4628978" y="6332607"/>
                  <a:pt x="4629777" y="6336467"/>
                  <a:pt x="4629777" y="6340461"/>
                </a:cubicBezTo>
                <a:cubicBezTo>
                  <a:pt x="4629777" y="6344588"/>
                  <a:pt x="4628978" y="6348581"/>
                  <a:pt x="4627514" y="6352176"/>
                </a:cubicBezTo>
                <a:cubicBezTo>
                  <a:pt x="4626050" y="6355903"/>
                  <a:pt x="4623920" y="6358965"/>
                  <a:pt x="4621391" y="6361627"/>
                </a:cubicBezTo>
                <a:cubicBezTo>
                  <a:pt x="4618729" y="6364290"/>
                  <a:pt x="4615667" y="6366419"/>
                  <a:pt x="4612073" y="6367884"/>
                </a:cubicBezTo>
                <a:cubicBezTo>
                  <a:pt x="4608346" y="6369348"/>
                  <a:pt x="4604485" y="6370147"/>
                  <a:pt x="4600226" y="6370147"/>
                </a:cubicBezTo>
                <a:cubicBezTo>
                  <a:pt x="4591173" y="6370147"/>
                  <a:pt x="4583985" y="6367351"/>
                  <a:pt x="4578393" y="6361760"/>
                </a:cubicBezTo>
                <a:cubicBezTo>
                  <a:pt x="4572803" y="6356170"/>
                  <a:pt x="4570007" y="6349113"/>
                  <a:pt x="4570007" y="6340594"/>
                </a:cubicBezTo>
                <a:cubicBezTo>
                  <a:pt x="4570007" y="6332341"/>
                  <a:pt x="4572803" y="6325286"/>
                  <a:pt x="4578393" y="6319562"/>
                </a:cubicBezTo>
                <a:cubicBezTo>
                  <a:pt x="4583985" y="6313838"/>
                  <a:pt x="4591173" y="6311042"/>
                  <a:pt x="4600226" y="6311042"/>
                </a:cubicBezTo>
                <a:close/>
                <a:moveTo>
                  <a:pt x="4382713" y="6311042"/>
                </a:moveTo>
                <a:cubicBezTo>
                  <a:pt x="4386840" y="6311042"/>
                  <a:pt x="4390834" y="6311708"/>
                  <a:pt x="4394428" y="6313305"/>
                </a:cubicBezTo>
                <a:cubicBezTo>
                  <a:pt x="4398155" y="6314902"/>
                  <a:pt x="4401217" y="6317032"/>
                  <a:pt x="4403746" y="6319694"/>
                </a:cubicBezTo>
                <a:cubicBezTo>
                  <a:pt x="4406275" y="6322224"/>
                  <a:pt x="4408405" y="6325419"/>
                  <a:pt x="4409869" y="6329013"/>
                </a:cubicBezTo>
                <a:cubicBezTo>
                  <a:pt x="4411334" y="6332607"/>
                  <a:pt x="4412132" y="6336467"/>
                  <a:pt x="4412132" y="6340461"/>
                </a:cubicBezTo>
                <a:cubicBezTo>
                  <a:pt x="4412132" y="6344588"/>
                  <a:pt x="4411334" y="6348581"/>
                  <a:pt x="4409869" y="6352176"/>
                </a:cubicBezTo>
                <a:cubicBezTo>
                  <a:pt x="4408405" y="6355903"/>
                  <a:pt x="4406275" y="6358965"/>
                  <a:pt x="4403746" y="6361627"/>
                </a:cubicBezTo>
                <a:cubicBezTo>
                  <a:pt x="4401083" y="6364290"/>
                  <a:pt x="4398022" y="6366419"/>
                  <a:pt x="4394428" y="6367884"/>
                </a:cubicBezTo>
                <a:cubicBezTo>
                  <a:pt x="4390834" y="6369348"/>
                  <a:pt x="4386973" y="6370147"/>
                  <a:pt x="4382713" y="6370147"/>
                </a:cubicBezTo>
                <a:cubicBezTo>
                  <a:pt x="4373661" y="6370147"/>
                  <a:pt x="4366473" y="6367351"/>
                  <a:pt x="4360881" y="6361760"/>
                </a:cubicBezTo>
                <a:cubicBezTo>
                  <a:pt x="4355290" y="6356170"/>
                  <a:pt x="4352495" y="6349113"/>
                  <a:pt x="4352495" y="6340594"/>
                </a:cubicBezTo>
                <a:cubicBezTo>
                  <a:pt x="4352495" y="6332341"/>
                  <a:pt x="4355290" y="6325286"/>
                  <a:pt x="4360881" y="6319562"/>
                </a:cubicBezTo>
                <a:cubicBezTo>
                  <a:pt x="4366473" y="6313838"/>
                  <a:pt x="4373661" y="6311042"/>
                  <a:pt x="4382713" y="6311042"/>
                </a:cubicBezTo>
                <a:close/>
                <a:moveTo>
                  <a:pt x="4165068" y="6311042"/>
                </a:moveTo>
                <a:cubicBezTo>
                  <a:pt x="4169327" y="6311042"/>
                  <a:pt x="4173188" y="6311708"/>
                  <a:pt x="4176782" y="6313305"/>
                </a:cubicBezTo>
                <a:cubicBezTo>
                  <a:pt x="4180509" y="6314902"/>
                  <a:pt x="4183571" y="6317032"/>
                  <a:pt x="4186100" y="6319694"/>
                </a:cubicBezTo>
                <a:cubicBezTo>
                  <a:pt x="4188629" y="6322224"/>
                  <a:pt x="4190759" y="6325419"/>
                  <a:pt x="4192223" y="6329013"/>
                </a:cubicBezTo>
                <a:cubicBezTo>
                  <a:pt x="4193688" y="6332607"/>
                  <a:pt x="4194486" y="6336467"/>
                  <a:pt x="4194486" y="6340461"/>
                </a:cubicBezTo>
                <a:cubicBezTo>
                  <a:pt x="4194486" y="6344588"/>
                  <a:pt x="4193688" y="6348581"/>
                  <a:pt x="4192223" y="6352176"/>
                </a:cubicBezTo>
                <a:cubicBezTo>
                  <a:pt x="4190759" y="6355903"/>
                  <a:pt x="4188629" y="6358965"/>
                  <a:pt x="4186100" y="6361627"/>
                </a:cubicBezTo>
                <a:cubicBezTo>
                  <a:pt x="4183438" y="6364290"/>
                  <a:pt x="4180376" y="6366419"/>
                  <a:pt x="4176782" y="6367884"/>
                </a:cubicBezTo>
                <a:cubicBezTo>
                  <a:pt x="4173188" y="6369348"/>
                  <a:pt x="4169327" y="6370147"/>
                  <a:pt x="4165068" y="6370147"/>
                </a:cubicBezTo>
                <a:cubicBezTo>
                  <a:pt x="4156015" y="6370147"/>
                  <a:pt x="4148827" y="6367351"/>
                  <a:pt x="4143235" y="6361760"/>
                </a:cubicBezTo>
                <a:cubicBezTo>
                  <a:pt x="4137645" y="6356170"/>
                  <a:pt x="4134849" y="6349113"/>
                  <a:pt x="4134849" y="6340594"/>
                </a:cubicBezTo>
                <a:cubicBezTo>
                  <a:pt x="4134849" y="6332341"/>
                  <a:pt x="4137645" y="6325286"/>
                  <a:pt x="4143235" y="6319562"/>
                </a:cubicBezTo>
                <a:cubicBezTo>
                  <a:pt x="4148827" y="6313838"/>
                  <a:pt x="4156015" y="6311042"/>
                  <a:pt x="4165068" y="6311042"/>
                </a:cubicBezTo>
                <a:close/>
                <a:moveTo>
                  <a:pt x="3947767" y="6311042"/>
                </a:moveTo>
                <a:cubicBezTo>
                  <a:pt x="3952029" y="6311042"/>
                  <a:pt x="3955891" y="6311708"/>
                  <a:pt x="3959486" y="6313305"/>
                </a:cubicBezTo>
                <a:cubicBezTo>
                  <a:pt x="3963214" y="6314902"/>
                  <a:pt x="3966275" y="6317032"/>
                  <a:pt x="3968804" y="6319694"/>
                </a:cubicBezTo>
                <a:cubicBezTo>
                  <a:pt x="3971334" y="6322224"/>
                  <a:pt x="3973464" y="6325419"/>
                  <a:pt x="3974928" y="6329013"/>
                </a:cubicBezTo>
                <a:cubicBezTo>
                  <a:pt x="3976393" y="6332607"/>
                  <a:pt x="3977192" y="6336467"/>
                  <a:pt x="3977192" y="6340461"/>
                </a:cubicBezTo>
                <a:cubicBezTo>
                  <a:pt x="3977192" y="6344588"/>
                  <a:pt x="3976393" y="6348581"/>
                  <a:pt x="3974928" y="6352176"/>
                </a:cubicBezTo>
                <a:cubicBezTo>
                  <a:pt x="3973464" y="6355903"/>
                  <a:pt x="3971334" y="6358965"/>
                  <a:pt x="3968804" y="6361627"/>
                </a:cubicBezTo>
                <a:cubicBezTo>
                  <a:pt x="3966142" y="6364290"/>
                  <a:pt x="3963081" y="6366419"/>
                  <a:pt x="3959486" y="6367884"/>
                </a:cubicBezTo>
                <a:cubicBezTo>
                  <a:pt x="3955891" y="6369348"/>
                  <a:pt x="3952029" y="6370147"/>
                  <a:pt x="3947767" y="6370147"/>
                </a:cubicBezTo>
                <a:cubicBezTo>
                  <a:pt x="3938714" y="6370147"/>
                  <a:pt x="3931527" y="6367351"/>
                  <a:pt x="3925934" y="6361760"/>
                </a:cubicBezTo>
                <a:cubicBezTo>
                  <a:pt x="3920344" y="6356170"/>
                  <a:pt x="3917548" y="6349113"/>
                  <a:pt x="3917548" y="6340594"/>
                </a:cubicBezTo>
                <a:cubicBezTo>
                  <a:pt x="3917548" y="6332341"/>
                  <a:pt x="3920344" y="6325286"/>
                  <a:pt x="3925934" y="6319562"/>
                </a:cubicBezTo>
                <a:cubicBezTo>
                  <a:pt x="3931527" y="6313838"/>
                  <a:pt x="3938714" y="6311042"/>
                  <a:pt x="3947767" y="6311042"/>
                </a:cubicBezTo>
                <a:close/>
                <a:moveTo>
                  <a:pt x="3730107" y="6311042"/>
                </a:moveTo>
                <a:cubicBezTo>
                  <a:pt x="3734368" y="6311042"/>
                  <a:pt x="3738361" y="6311708"/>
                  <a:pt x="3741823" y="6313305"/>
                </a:cubicBezTo>
                <a:cubicBezTo>
                  <a:pt x="3745417" y="6314902"/>
                  <a:pt x="3748612" y="6317032"/>
                  <a:pt x="3751141" y="6319694"/>
                </a:cubicBezTo>
                <a:cubicBezTo>
                  <a:pt x="3753670" y="6322224"/>
                  <a:pt x="3755800" y="6325419"/>
                  <a:pt x="3757264" y="6329013"/>
                </a:cubicBezTo>
                <a:cubicBezTo>
                  <a:pt x="3758728" y="6332607"/>
                  <a:pt x="3759527" y="6336467"/>
                  <a:pt x="3759527" y="6340461"/>
                </a:cubicBezTo>
                <a:cubicBezTo>
                  <a:pt x="3759527" y="6344588"/>
                  <a:pt x="3758728" y="6348581"/>
                  <a:pt x="3757264" y="6352176"/>
                </a:cubicBezTo>
                <a:cubicBezTo>
                  <a:pt x="3755800" y="6355903"/>
                  <a:pt x="3753670" y="6358965"/>
                  <a:pt x="3751141" y="6361627"/>
                </a:cubicBezTo>
                <a:cubicBezTo>
                  <a:pt x="3748478" y="6364290"/>
                  <a:pt x="3745417" y="6366419"/>
                  <a:pt x="3741823" y="6367884"/>
                </a:cubicBezTo>
                <a:cubicBezTo>
                  <a:pt x="3738229" y="6369348"/>
                  <a:pt x="3734368" y="6370147"/>
                  <a:pt x="3730107" y="6370147"/>
                </a:cubicBezTo>
                <a:cubicBezTo>
                  <a:pt x="3721055" y="6370147"/>
                  <a:pt x="3713865" y="6367351"/>
                  <a:pt x="3708265" y="6361760"/>
                </a:cubicBezTo>
                <a:cubicBezTo>
                  <a:pt x="3702673" y="6356170"/>
                  <a:pt x="3699879" y="6349113"/>
                  <a:pt x="3699879" y="6340594"/>
                </a:cubicBezTo>
                <a:cubicBezTo>
                  <a:pt x="3699879" y="6332341"/>
                  <a:pt x="3702673" y="6325286"/>
                  <a:pt x="3708265" y="6319562"/>
                </a:cubicBezTo>
                <a:cubicBezTo>
                  <a:pt x="3713865" y="6313838"/>
                  <a:pt x="3721055" y="6311042"/>
                  <a:pt x="3730107" y="6311042"/>
                </a:cubicBezTo>
                <a:close/>
                <a:moveTo>
                  <a:pt x="3512444" y="6311042"/>
                </a:moveTo>
                <a:cubicBezTo>
                  <a:pt x="3516705" y="6311042"/>
                  <a:pt x="3520698" y="6311708"/>
                  <a:pt x="3524160" y="6313305"/>
                </a:cubicBezTo>
                <a:cubicBezTo>
                  <a:pt x="3527753" y="6314902"/>
                  <a:pt x="3530949" y="6317032"/>
                  <a:pt x="3533478" y="6319694"/>
                </a:cubicBezTo>
                <a:cubicBezTo>
                  <a:pt x="3536007" y="6322224"/>
                  <a:pt x="3538137" y="6325419"/>
                  <a:pt x="3539601" y="6329013"/>
                </a:cubicBezTo>
                <a:cubicBezTo>
                  <a:pt x="3541065" y="6332607"/>
                  <a:pt x="3541864" y="6336467"/>
                  <a:pt x="3541864" y="6340461"/>
                </a:cubicBezTo>
                <a:cubicBezTo>
                  <a:pt x="3541864" y="6344588"/>
                  <a:pt x="3541065" y="6348581"/>
                  <a:pt x="3539601" y="6352176"/>
                </a:cubicBezTo>
                <a:cubicBezTo>
                  <a:pt x="3538137" y="6355903"/>
                  <a:pt x="3536007" y="6358965"/>
                  <a:pt x="3533478" y="6361627"/>
                </a:cubicBezTo>
                <a:cubicBezTo>
                  <a:pt x="3530815" y="6364290"/>
                  <a:pt x="3527753" y="6366419"/>
                  <a:pt x="3524160" y="6367884"/>
                </a:cubicBezTo>
                <a:cubicBezTo>
                  <a:pt x="3520566" y="6369348"/>
                  <a:pt x="3516705" y="6370147"/>
                  <a:pt x="3512444" y="6370147"/>
                </a:cubicBezTo>
                <a:cubicBezTo>
                  <a:pt x="3503387" y="6370147"/>
                  <a:pt x="3496197" y="6367351"/>
                  <a:pt x="3490606" y="6361760"/>
                </a:cubicBezTo>
                <a:cubicBezTo>
                  <a:pt x="3485015" y="6356170"/>
                  <a:pt x="3482220" y="6349113"/>
                  <a:pt x="3482220" y="6340594"/>
                </a:cubicBezTo>
                <a:cubicBezTo>
                  <a:pt x="3482220" y="6332341"/>
                  <a:pt x="3485015" y="6325286"/>
                  <a:pt x="3490606" y="6319562"/>
                </a:cubicBezTo>
                <a:cubicBezTo>
                  <a:pt x="3496197" y="6313838"/>
                  <a:pt x="3503387" y="6311042"/>
                  <a:pt x="3512444" y="6311042"/>
                </a:cubicBezTo>
                <a:close/>
                <a:moveTo>
                  <a:pt x="3294914" y="6311042"/>
                </a:moveTo>
                <a:cubicBezTo>
                  <a:pt x="3299041" y="6311042"/>
                  <a:pt x="3303036" y="6311708"/>
                  <a:pt x="3306630" y="6313305"/>
                </a:cubicBezTo>
                <a:cubicBezTo>
                  <a:pt x="3310357" y="6314902"/>
                  <a:pt x="3313419" y="6317032"/>
                  <a:pt x="3315948" y="6319694"/>
                </a:cubicBezTo>
                <a:cubicBezTo>
                  <a:pt x="3318477" y="6322224"/>
                  <a:pt x="3320607" y="6325419"/>
                  <a:pt x="3322071" y="6329013"/>
                </a:cubicBezTo>
                <a:cubicBezTo>
                  <a:pt x="3323535" y="6332607"/>
                  <a:pt x="3324334" y="6336467"/>
                  <a:pt x="3324334" y="6340461"/>
                </a:cubicBezTo>
                <a:cubicBezTo>
                  <a:pt x="3324334" y="6344588"/>
                  <a:pt x="3323535" y="6348581"/>
                  <a:pt x="3322071" y="6352176"/>
                </a:cubicBezTo>
                <a:cubicBezTo>
                  <a:pt x="3320607" y="6355903"/>
                  <a:pt x="3318477" y="6358965"/>
                  <a:pt x="3315948" y="6361627"/>
                </a:cubicBezTo>
                <a:cubicBezTo>
                  <a:pt x="3313285" y="6364290"/>
                  <a:pt x="3310223" y="6366419"/>
                  <a:pt x="3306630" y="6367884"/>
                </a:cubicBezTo>
                <a:cubicBezTo>
                  <a:pt x="3303036" y="6369348"/>
                  <a:pt x="3299175" y="6370147"/>
                  <a:pt x="3294914" y="6370147"/>
                </a:cubicBezTo>
                <a:cubicBezTo>
                  <a:pt x="3285859" y="6370147"/>
                  <a:pt x="3278670" y="6367351"/>
                  <a:pt x="3273075" y="6361760"/>
                </a:cubicBezTo>
                <a:cubicBezTo>
                  <a:pt x="3267482" y="6356170"/>
                  <a:pt x="3264687" y="6349113"/>
                  <a:pt x="3264687" y="6340594"/>
                </a:cubicBezTo>
                <a:cubicBezTo>
                  <a:pt x="3264687" y="6332341"/>
                  <a:pt x="3267482" y="6325286"/>
                  <a:pt x="3273075" y="6319562"/>
                </a:cubicBezTo>
                <a:cubicBezTo>
                  <a:pt x="3278670" y="6313838"/>
                  <a:pt x="3285859" y="6311042"/>
                  <a:pt x="3294914" y="6311042"/>
                </a:cubicBezTo>
                <a:close/>
                <a:moveTo>
                  <a:pt x="3077251" y="6311042"/>
                </a:moveTo>
                <a:cubicBezTo>
                  <a:pt x="3081378" y="6311042"/>
                  <a:pt x="3085372" y="6311708"/>
                  <a:pt x="3088966" y="6313305"/>
                </a:cubicBezTo>
                <a:cubicBezTo>
                  <a:pt x="3092561" y="6314902"/>
                  <a:pt x="3095756" y="6317032"/>
                  <a:pt x="3098284" y="6319694"/>
                </a:cubicBezTo>
                <a:cubicBezTo>
                  <a:pt x="3100813" y="6322224"/>
                  <a:pt x="3102944" y="6325419"/>
                  <a:pt x="3104408" y="6329013"/>
                </a:cubicBezTo>
                <a:cubicBezTo>
                  <a:pt x="3105873" y="6332607"/>
                  <a:pt x="3106671" y="6336467"/>
                  <a:pt x="3106671" y="6340461"/>
                </a:cubicBezTo>
                <a:cubicBezTo>
                  <a:pt x="3106671" y="6344588"/>
                  <a:pt x="3105873" y="6348581"/>
                  <a:pt x="3104408" y="6352176"/>
                </a:cubicBezTo>
                <a:cubicBezTo>
                  <a:pt x="3102944" y="6355903"/>
                  <a:pt x="3100813" y="6358965"/>
                  <a:pt x="3098284" y="6361627"/>
                </a:cubicBezTo>
                <a:cubicBezTo>
                  <a:pt x="3095622" y="6364290"/>
                  <a:pt x="3092561" y="6366419"/>
                  <a:pt x="3088966" y="6367884"/>
                </a:cubicBezTo>
                <a:cubicBezTo>
                  <a:pt x="3085372" y="6369348"/>
                  <a:pt x="3081511" y="6370147"/>
                  <a:pt x="3077251" y="6370147"/>
                </a:cubicBezTo>
                <a:cubicBezTo>
                  <a:pt x="3068330" y="6370147"/>
                  <a:pt x="3061007" y="6367351"/>
                  <a:pt x="3055411" y="6361760"/>
                </a:cubicBezTo>
                <a:cubicBezTo>
                  <a:pt x="3049821" y="6356170"/>
                  <a:pt x="3047025" y="6349113"/>
                  <a:pt x="3047025" y="6340594"/>
                </a:cubicBezTo>
                <a:cubicBezTo>
                  <a:pt x="3047025" y="6332341"/>
                  <a:pt x="3049821" y="6325286"/>
                  <a:pt x="3055411" y="6319562"/>
                </a:cubicBezTo>
                <a:cubicBezTo>
                  <a:pt x="3061007" y="6313838"/>
                  <a:pt x="3068198" y="6311042"/>
                  <a:pt x="3077251" y="6311042"/>
                </a:cubicBezTo>
                <a:close/>
                <a:moveTo>
                  <a:pt x="2859588" y="6311042"/>
                </a:moveTo>
                <a:cubicBezTo>
                  <a:pt x="2863848" y="6311042"/>
                  <a:pt x="2867709" y="6311708"/>
                  <a:pt x="2871436" y="6313305"/>
                </a:cubicBezTo>
                <a:cubicBezTo>
                  <a:pt x="2875163" y="6314902"/>
                  <a:pt x="2878225" y="6317032"/>
                  <a:pt x="2880754" y="6319694"/>
                </a:cubicBezTo>
                <a:cubicBezTo>
                  <a:pt x="2883416" y="6322224"/>
                  <a:pt x="2885414" y="6325419"/>
                  <a:pt x="2886877" y="6329013"/>
                </a:cubicBezTo>
                <a:cubicBezTo>
                  <a:pt x="2888342" y="6332607"/>
                  <a:pt x="2889140" y="6336467"/>
                  <a:pt x="2889140" y="6340461"/>
                </a:cubicBezTo>
                <a:cubicBezTo>
                  <a:pt x="2889140" y="6344588"/>
                  <a:pt x="2888342" y="6348581"/>
                  <a:pt x="2886877" y="6352176"/>
                </a:cubicBezTo>
                <a:cubicBezTo>
                  <a:pt x="2885414" y="6355903"/>
                  <a:pt x="2883283" y="6358965"/>
                  <a:pt x="2880754" y="6361627"/>
                </a:cubicBezTo>
                <a:cubicBezTo>
                  <a:pt x="2878092" y="6364290"/>
                  <a:pt x="2875030" y="6366419"/>
                  <a:pt x="2871436" y="6367884"/>
                </a:cubicBezTo>
                <a:cubicBezTo>
                  <a:pt x="2867709" y="6369348"/>
                  <a:pt x="2863848" y="6370147"/>
                  <a:pt x="2859588" y="6370147"/>
                </a:cubicBezTo>
                <a:cubicBezTo>
                  <a:pt x="2850670" y="6370147"/>
                  <a:pt x="2843342" y="6367351"/>
                  <a:pt x="2837749" y="6361760"/>
                </a:cubicBezTo>
                <a:cubicBezTo>
                  <a:pt x="2832158" y="6356170"/>
                  <a:pt x="2829361" y="6349113"/>
                  <a:pt x="2829361" y="6340594"/>
                </a:cubicBezTo>
                <a:cubicBezTo>
                  <a:pt x="2829361" y="6332341"/>
                  <a:pt x="2832158" y="6325286"/>
                  <a:pt x="2837749" y="6319562"/>
                </a:cubicBezTo>
                <a:cubicBezTo>
                  <a:pt x="2843342" y="6313838"/>
                  <a:pt x="2850536" y="6311042"/>
                  <a:pt x="2859588" y="6311042"/>
                </a:cubicBezTo>
                <a:close/>
                <a:moveTo>
                  <a:pt x="2641924" y="6311042"/>
                </a:moveTo>
                <a:cubicBezTo>
                  <a:pt x="2646185" y="6311042"/>
                  <a:pt x="2650045" y="6311708"/>
                  <a:pt x="2653640" y="6313305"/>
                </a:cubicBezTo>
                <a:cubicBezTo>
                  <a:pt x="2657367" y="6314902"/>
                  <a:pt x="2660429" y="6317032"/>
                  <a:pt x="2662958" y="6319694"/>
                </a:cubicBezTo>
                <a:cubicBezTo>
                  <a:pt x="2665620" y="6322224"/>
                  <a:pt x="2667617" y="6325419"/>
                  <a:pt x="2669081" y="6329013"/>
                </a:cubicBezTo>
                <a:cubicBezTo>
                  <a:pt x="2670545" y="6332607"/>
                  <a:pt x="2671344" y="6336467"/>
                  <a:pt x="2671344" y="6340461"/>
                </a:cubicBezTo>
                <a:cubicBezTo>
                  <a:pt x="2671344" y="6344588"/>
                  <a:pt x="2670545" y="6348581"/>
                  <a:pt x="2669081" y="6352176"/>
                </a:cubicBezTo>
                <a:cubicBezTo>
                  <a:pt x="2667617" y="6355903"/>
                  <a:pt x="2665487" y="6358965"/>
                  <a:pt x="2662958" y="6361627"/>
                </a:cubicBezTo>
                <a:cubicBezTo>
                  <a:pt x="2660429" y="6364290"/>
                  <a:pt x="2657234" y="6366419"/>
                  <a:pt x="2653640" y="6367884"/>
                </a:cubicBezTo>
                <a:cubicBezTo>
                  <a:pt x="2650045" y="6369348"/>
                  <a:pt x="2646185" y="6370147"/>
                  <a:pt x="2641924" y="6370147"/>
                </a:cubicBezTo>
                <a:cubicBezTo>
                  <a:pt x="2633005" y="6370147"/>
                  <a:pt x="2625683" y="6367351"/>
                  <a:pt x="2620091" y="6361760"/>
                </a:cubicBezTo>
                <a:cubicBezTo>
                  <a:pt x="2614499" y="6356170"/>
                  <a:pt x="2611701" y="6349113"/>
                  <a:pt x="2611701" y="6340594"/>
                </a:cubicBezTo>
                <a:cubicBezTo>
                  <a:pt x="2611701" y="6332341"/>
                  <a:pt x="2614499" y="6325286"/>
                  <a:pt x="2620091" y="6319562"/>
                </a:cubicBezTo>
                <a:cubicBezTo>
                  <a:pt x="2625683" y="6313838"/>
                  <a:pt x="2632873" y="6311042"/>
                  <a:pt x="2641924" y="6311042"/>
                </a:cubicBezTo>
                <a:close/>
                <a:moveTo>
                  <a:pt x="2424261" y="6311042"/>
                </a:moveTo>
                <a:cubicBezTo>
                  <a:pt x="2428521" y="6311042"/>
                  <a:pt x="2432516" y="6311708"/>
                  <a:pt x="2435977" y="6313305"/>
                </a:cubicBezTo>
                <a:cubicBezTo>
                  <a:pt x="2439704" y="6314902"/>
                  <a:pt x="2442765" y="6317032"/>
                  <a:pt x="2445295" y="6319694"/>
                </a:cubicBezTo>
                <a:cubicBezTo>
                  <a:pt x="2447957" y="6322224"/>
                  <a:pt x="2449954" y="6325419"/>
                  <a:pt x="2451418" y="6329013"/>
                </a:cubicBezTo>
                <a:cubicBezTo>
                  <a:pt x="2452882" y="6332607"/>
                  <a:pt x="2453681" y="6336467"/>
                  <a:pt x="2453681" y="6340461"/>
                </a:cubicBezTo>
                <a:cubicBezTo>
                  <a:pt x="2453681" y="6344588"/>
                  <a:pt x="2452882" y="6348581"/>
                  <a:pt x="2451418" y="6352176"/>
                </a:cubicBezTo>
                <a:cubicBezTo>
                  <a:pt x="2449954" y="6355903"/>
                  <a:pt x="2447824" y="6358965"/>
                  <a:pt x="2445295" y="6361627"/>
                </a:cubicBezTo>
                <a:cubicBezTo>
                  <a:pt x="2442765" y="6364290"/>
                  <a:pt x="2439571" y="6366419"/>
                  <a:pt x="2435977" y="6367884"/>
                </a:cubicBezTo>
                <a:cubicBezTo>
                  <a:pt x="2432382" y="6369348"/>
                  <a:pt x="2428521" y="6370147"/>
                  <a:pt x="2424261" y="6370147"/>
                </a:cubicBezTo>
                <a:cubicBezTo>
                  <a:pt x="2415343" y="6370147"/>
                  <a:pt x="2408021" y="6367351"/>
                  <a:pt x="2402429" y="6361760"/>
                </a:cubicBezTo>
                <a:cubicBezTo>
                  <a:pt x="2396836" y="6356170"/>
                  <a:pt x="2394040" y="6349113"/>
                  <a:pt x="2394040" y="6340594"/>
                </a:cubicBezTo>
                <a:cubicBezTo>
                  <a:pt x="2394040" y="6332341"/>
                  <a:pt x="2396836" y="6325286"/>
                  <a:pt x="2402429" y="6319562"/>
                </a:cubicBezTo>
                <a:cubicBezTo>
                  <a:pt x="2408021" y="6313838"/>
                  <a:pt x="2415209" y="6311042"/>
                  <a:pt x="2424261" y="6311042"/>
                </a:cubicBezTo>
                <a:close/>
                <a:moveTo>
                  <a:pt x="2206598" y="6311042"/>
                </a:moveTo>
                <a:cubicBezTo>
                  <a:pt x="2210858" y="6311042"/>
                  <a:pt x="2214852" y="6311708"/>
                  <a:pt x="2218313" y="6313305"/>
                </a:cubicBezTo>
                <a:cubicBezTo>
                  <a:pt x="2222040" y="6314902"/>
                  <a:pt x="2225101" y="6317032"/>
                  <a:pt x="2227632" y="6319694"/>
                </a:cubicBezTo>
                <a:cubicBezTo>
                  <a:pt x="2230294" y="6322224"/>
                  <a:pt x="2232290" y="6325419"/>
                  <a:pt x="2233754" y="6329013"/>
                </a:cubicBezTo>
                <a:cubicBezTo>
                  <a:pt x="2235218" y="6332607"/>
                  <a:pt x="2236017" y="6336467"/>
                  <a:pt x="2236017" y="6340461"/>
                </a:cubicBezTo>
                <a:cubicBezTo>
                  <a:pt x="2236017" y="6344588"/>
                  <a:pt x="2235218" y="6348581"/>
                  <a:pt x="2233754" y="6352176"/>
                </a:cubicBezTo>
                <a:cubicBezTo>
                  <a:pt x="2232290" y="6355903"/>
                  <a:pt x="2230160" y="6358965"/>
                  <a:pt x="2227632" y="6361627"/>
                </a:cubicBezTo>
                <a:cubicBezTo>
                  <a:pt x="2225101" y="6364290"/>
                  <a:pt x="2221907" y="6366419"/>
                  <a:pt x="2218313" y="6367884"/>
                </a:cubicBezTo>
                <a:cubicBezTo>
                  <a:pt x="2214718" y="6369348"/>
                  <a:pt x="2210858" y="6370147"/>
                  <a:pt x="2206598" y="6370147"/>
                </a:cubicBezTo>
                <a:cubicBezTo>
                  <a:pt x="2197546" y="6370147"/>
                  <a:pt x="2190357" y="6367351"/>
                  <a:pt x="2184765" y="6361760"/>
                </a:cubicBezTo>
                <a:cubicBezTo>
                  <a:pt x="2179173" y="6356170"/>
                  <a:pt x="2176376" y="6349113"/>
                  <a:pt x="2176376" y="6340594"/>
                </a:cubicBezTo>
                <a:cubicBezTo>
                  <a:pt x="2176376" y="6332341"/>
                  <a:pt x="2179173" y="6325286"/>
                  <a:pt x="2184765" y="6319562"/>
                </a:cubicBezTo>
                <a:cubicBezTo>
                  <a:pt x="2190357" y="6313838"/>
                  <a:pt x="2197546" y="6311042"/>
                  <a:pt x="2206598" y="6311042"/>
                </a:cubicBezTo>
                <a:close/>
                <a:moveTo>
                  <a:pt x="1989068" y="6311042"/>
                </a:moveTo>
                <a:cubicBezTo>
                  <a:pt x="1993195" y="6311042"/>
                  <a:pt x="1997189" y="6311708"/>
                  <a:pt x="2000783" y="6313305"/>
                </a:cubicBezTo>
                <a:cubicBezTo>
                  <a:pt x="2004510" y="6314902"/>
                  <a:pt x="2007572" y="6317032"/>
                  <a:pt x="2010101" y="6319694"/>
                </a:cubicBezTo>
                <a:cubicBezTo>
                  <a:pt x="2012763" y="6322224"/>
                  <a:pt x="2014760" y="6325419"/>
                  <a:pt x="2016224" y="6329013"/>
                </a:cubicBezTo>
                <a:cubicBezTo>
                  <a:pt x="2017688" y="6332607"/>
                  <a:pt x="2018487" y="6336467"/>
                  <a:pt x="2018487" y="6340461"/>
                </a:cubicBezTo>
                <a:cubicBezTo>
                  <a:pt x="2018487" y="6344588"/>
                  <a:pt x="2017688" y="6348581"/>
                  <a:pt x="2016224" y="6352176"/>
                </a:cubicBezTo>
                <a:cubicBezTo>
                  <a:pt x="2014760" y="6355903"/>
                  <a:pt x="2012630" y="6358965"/>
                  <a:pt x="2010101" y="6361627"/>
                </a:cubicBezTo>
                <a:cubicBezTo>
                  <a:pt x="2007572" y="6364290"/>
                  <a:pt x="2004377" y="6366419"/>
                  <a:pt x="2000783" y="6367884"/>
                </a:cubicBezTo>
                <a:cubicBezTo>
                  <a:pt x="1997189" y="6369348"/>
                  <a:pt x="1993327" y="6370147"/>
                  <a:pt x="1989068" y="6370147"/>
                </a:cubicBezTo>
                <a:cubicBezTo>
                  <a:pt x="1980016" y="6370147"/>
                  <a:pt x="1972827" y="6367351"/>
                  <a:pt x="1967236" y="6361760"/>
                </a:cubicBezTo>
                <a:cubicBezTo>
                  <a:pt x="1961646" y="6356170"/>
                  <a:pt x="1958850" y="6349113"/>
                  <a:pt x="1958850" y="6340594"/>
                </a:cubicBezTo>
                <a:cubicBezTo>
                  <a:pt x="1958850" y="6332341"/>
                  <a:pt x="1961646" y="6325286"/>
                  <a:pt x="1967236" y="6319562"/>
                </a:cubicBezTo>
                <a:cubicBezTo>
                  <a:pt x="1972827" y="6313838"/>
                  <a:pt x="1980016" y="6311042"/>
                  <a:pt x="1989068" y="6311042"/>
                </a:cubicBezTo>
                <a:close/>
                <a:moveTo>
                  <a:pt x="1771436" y="6311042"/>
                </a:moveTo>
                <a:cubicBezTo>
                  <a:pt x="1775695" y="6311042"/>
                  <a:pt x="1779554" y="6311708"/>
                  <a:pt x="1783149" y="6313305"/>
                </a:cubicBezTo>
                <a:cubicBezTo>
                  <a:pt x="1786876" y="6314902"/>
                  <a:pt x="1789938" y="6317032"/>
                  <a:pt x="1792467" y="6319694"/>
                </a:cubicBezTo>
                <a:cubicBezTo>
                  <a:pt x="1795129" y="6322224"/>
                  <a:pt x="1797126" y="6325419"/>
                  <a:pt x="1798590" y="6329013"/>
                </a:cubicBezTo>
                <a:cubicBezTo>
                  <a:pt x="1800053" y="6332607"/>
                  <a:pt x="1800852" y="6336467"/>
                  <a:pt x="1800852" y="6340461"/>
                </a:cubicBezTo>
                <a:cubicBezTo>
                  <a:pt x="1800852" y="6344588"/>
                  <a:pt x="1800053" y="6348581"/>
                  <a:pt x="1798590" y="6352176"/>
                </a:cubicBezTo>
                <a:cubicBezTo>
                  <a:pt x="1797126" y="6355903"/>
                  <a:pt x="1794996" y="6358965"/>
                  <a:pt x="1792467" y="6361627"/>
                </a:cubicBezTo>
                <a:cubicBezTo>
                  <a:pt x="1789804" y="6364290"/>
                  <a:pt x="1786744" y="6366419"/>
                  <a:pt x="1783149" y="6367884"/>
                </a:cubicBezTo>
                <a:cubicBezTo>
                  <a:pt x="1779554" y="6369348"/>
                  <a:pt x="1775695" y="6370147"/>
                  <a:pt x="1771436" y="6370147"/>
                </a:cubicBezTo>
                <a:cubicBezTo>
                  <a:pt x="1762517" y="6370147"/>
                  <a:pt x="1755197" y="6367351"/>
                  <a:pt x="1749606" y="6361760"/>
                </a:cubicBezTo>
                <a:cubicBezTo>
                  <a:pt x="1744016" y="6356170"/>
                  <a:pt x="1741224" y="6349113"/>
                  <a:pt x="1741224" y="6340594"/>
                </a:cubicBezTo>
                <a:cubicBezTo>
                  <a:pt x="1741224" y="6332341"/>
                  <a:pt x="1744016" y="6325286"/>
                  <a:pt x="1749606" y="6319562"/>
                </a:cubicBezTo>
                <a:cubicBezTo>
                  <a:pt x="1755197" y="6313838"/>
                  <a:pt x="1762383" y="6311042"/>
                  <a:pt x="1771436" y="6311042"/>
                </a:cubicBezTo>
                <a:close/>
                <a:moveTo>
                  <a:pt x="1553800" y="6311042"/>
                </a:moveTo>
                <a:cubicBezTo>
                  <a:pt x="1558059" y="6311042"/>
                  <a:pt x="1561920" y="6311708"/>
                  <a:pt x="1565514" y="6313305"/>
                </a:cubicBezTo>
                <a:cubicBezTo>
                  <a:pt x="1569109" y="6314902"/>
                  <a:pt x="1572304" y="6317032"/>
                  <a:pt x="1574833" y="6319694"/>
                </a:cubicBezTo>
                <a:cubicBezTo>
                  <a:pt x="1577495" y="6322224"/>
                  <a:pt x="1579491" y="6325419"/>
                  <a:pt x="1580955" y="6329013"/>
                </a:cubicBezTo>
                <a:cubicBezTo>
                  <a:pt x="1582420" y="6332607"/>
                  <a:pt x="1583219" y="6336467"/>
                  <a:pt x="1583219" y="6340461"/>
                </a:cubicBezTo>
                <a:cubicBezTo>
                  <a:pt x="1583219" y="6344588"/>
                  <a:pt x="1582420" y="6348581"/>
                  <a:pt x="1580955" y="6352176"/>
                </a:cubicBezTo>
                <a:cubicBezTo>
                  <a:pt x="1579491" y="6355903"/>
                  <a:pt x="1577362" y="6358965"/>
                  <a:pt x="1574833" y="6361627"/>
                </a:cubicBezTo>
                <a:cubicBezTo>
                  <a:pt x="1572170" y="6364290"/>
                  <a:pt x="1569109" y="6366419"/>
                  <a:pt x="1565514" y="6367884"/>
                </a:cubicBezTo>
                <a:cubicBezTo>
                  <a:pt x="1561920" y="6369348"/>
                  <a:pt x="1558059" y="6370147"/>
                  <a:pt x="1553800" y="6370147"/>
                </a:cubicBezTo>
                <a:cubicBezTo>
                  <a:pt x="1544881" y="6370147"/>
                  <a:pt x="1537560" y="6367351"/>
                  <a:pt x="1531971" y="6361760"/>
                </a:cubicBezTo>
                <a:cubicBezTo>
                  <a:pt x="1526382" y="6356170"/>
                  <a:pt x="1523585" y="6349113"/>
                  <a:pt x="1523585" y="6340594"/>
                </a:cubicBezTo>
                <a:cubicBezTo>
                  <a:pt x="1523585" y="6332341"/>
                  <a:pt x="1526382" y="6325286"/>
                  <a:pt x="1531971" y="6319562"/>
                </a:cubicBezTo>
                <a:cubicBezTo>
                  <a:pt x="1537560" y="6313838"/>
                  <a:pt x="1544747" y="6311042"/>
                  <a:pt x="1553800" y="6311042"/>
                </a:cubicBezTo>
                <a:close/>
                <a:moveTo>
                  <a:pt x="1336157" y="6311042"/>
                </a:moveTo>
                <a:cubicBezTo>
                  <a:pt x="1340416" y="6311042"/>
                  <a:pt x="1344412" y="6311708"/>
                  <a:pt x="1347872" y="6313305"/>
                </a:cubicBezTo>
                <a:cubicBezTo>
                  <a:pt x="1351465" y="6314902"/>
                  <a:pt x="1354661" y="6317032"/>
                  <a:pt x="1357190" y="6319694"/>
                </a:cubicBezTo>
                <a:cubicBezTo>
                  <a:pt x="1359852" y="6322224"/>
                  <a:pt x="1361849" y="6325419"/>
                  <a:pt x="1363313" y="6329013"/>
                </a:cubicBezTo>
                <a:cubicBezTo>
                  <a:pt x="1364777" y="6332607"/>
                  <a:pt x="1365575" y="6336467"/>
                  <a:pt x="1365575" y="6340461"/>
                </a:cubicBezTo>
                <a:cubicBezTo>
                  <a:pt x="1365575" y="6344588"/>
                  <a:pt x="1364777" y="6348581"/>
                  <a:pt x="1363313" y="6352176"/>
                </a:cubicBezTo>
                <a:cubicBezTo>
                  <a:pt x="1361849" y="6355903"/>
                  <a:pt x="1359719" y="6358965"/>
                  <a:pt x="1357190" y="6361627"/>
                </a:cubicBezTo>
                <a:cubicBezTo>
                  <a:pt x="1354527" y="6364290"/>
                  <a:pt x="1351465" y="6366419"/>
                  <a:pt x="1347872" y="6367884"/>
                </a:cubicBezTo>
                <a:cubicBezTo>
                  <a:pt x="1344278" y="6369348"/>
                  <a:pt x="1340416" y="6370147"/>
                  <a:pt x="1336157" y="6370147"/>
                </a:cubicBezTo>
                <a:cubicBezTo>
                  <a:pt x="1327236" y="6370147"/>
                  <a:pt x="1319915" y="6367351"/>
                  <a:pt x="1314323" y="6361760"/>
                </a:cubicBezTo>
                <a:cubicBezTo>
                  <a:pt x="1308734" y="6356170"/>
                  <a:pt x="1305938" y="6349113"/>
                  <a:pt x="1305938" y="6340594"/>
                </a:cubicBezTo>
                <a:cubicBezTo>
                  <a:pt x="1305938" y="6332341"/>
                  <a:pt x="1308734" y="6325286"/>
                  <a:pt x="1314323" y="6319562"/>
                </a:cubicBezTo>
                <a:cubicBezTo>
                  <a:pt x="1319915" y="6313838"/>
                  <a:pt x="1327103" y="6311042"/>
                  <a:pt x="1336157" y="6311042"/>
                </a:cubicBezTo>
                <a:close/>
                <a:moveTo>
                  <a:pt x="1118511" y="6311042"/>
                </a:moveTo>
                <a:cubicBezTo>
                  <a:pt x="1122772" y="6311042"/>
                  <a:pt x="1126768" y="6311708"/>
                  <a:pt x="1130229" y="6313305"/>
                </a:cubicBezTo>
                <a:cubicBezTo>
                  <a:pt x="1133956" y="6314902"/>
                  <a:pt x="1137018" y="6317032"/>
                  <a:pt x="1139544" y="6319694"/>
                </a:cubicBezTo>
                <a:cubicBezTo>
                  <a:pt x="1142204" y="6322224"/>
                  <a:pt x="1144200" y="6325419"/>
                  <a:pt x="1145663" y="6329013"/>
                </a:cubicBezTo>
                <a:cubicBezTo>
                  <a:pt x="1147128" y="6332607"/>
                  <a:pt x="1147927" y="6336467"/>
                  <a:pt x="1147927" y="6340461"/>
                </a:cubicBezTo>
                <a:cubicBezTo>
                  <a:pt x="1147927" y="6344588"/>
                  <a:pt x="1147128" y="6348581"/>
                  <a:pt x="1145663" y="6352176"/>
                </a:cubicBezTo>
                <a:cubicBezTo>
                  <a:pt x="1144200" y="6355903"/>
                  <a:pt x="1142072" y="6358965"/>
                  <a:pt x="1139544" y="6361627"/>
                </a:cubicBezTo>
                <a:cubicBezTo>
                  <a:pt x="1137018" y="6364290"/>
                  <a:pt x="1133823" y="6366419"/>
                  <a:pt x="1130229" y="6367884"/>
                </a:cubicBezTo>
                <a:cubicBezTo>
                  <a:pt x="1126634" y="6369348"/>
                  <a:pt x="1122772" y="6370147"/>
                  <a:pt x="1118511" y="6370147"/>
                </a:cubicBezTo>
                <a:cubicBezTo>
                  <a:pt x="1109591" y="6370147"/>
                  <a:pt x="1102266" y="6367351"/>
                  <a:pt x="1096676" y="6361760"/>
                </a:cubicBezTo>
                <a:cubicBezTo>
                  <a:pt x="1091085" y="6356170"/>
                  <a:pt x="1088291" y="6349113"/>
                  <a:pt x="1088291" y="6340594"/>
                </a:cubicBezTo>
                <a:cubicBezTo>
                  <a:pt x="1088291" y="6332341"/>
                  <a:pt x="1091085" y="6325286"/>
                  <a:pt x="1096676" y="6319562"/>
                </a:cubicBezTo>
                <a:cubicBezTo>
                  <a:pt x="1102266" y="6313838"/>
                  <a:pt x="1109457" y="6311042"/>
                  <a:pt x="1118511" y="6311042"/>
                </a:cubicBezTo>
                <a:close/>
                <a:moveTo>
                  <a:pt x="900998" y="6311042"/>
                </a:moveTo>
                <a:cubicBezTo>
                  <a:pt x="905125" y="6311042"/>
                  <a:pt x="909119" y="6311708"/>
                  <a:pt x="912713" y="6313305"/>
                </a:cubicBezTo>
                <a:cubicBezTo>
                  <a:pt x="916440" y="6314902"/>
                  <a:pt x="919502" y="6317032"/>
                  <a:pt x="922031" y="6319694"/>
                </a:cubicBezTo>
                <a:cubicBezTo>
                  <a:pt x="924693" y="6322224"/>
                  <a:pt x="926690" y="6325419"/>
                  <a:pt x="928153" y="6329013"/>
                </a:cubicBezTo>
                <a:cubicBezTo>
                  <a:pt x="929618" y="6332607"/>
                  <a:pt x="930416" y="6336467"/>
                  <a:pt x="930416" y="6340461"/>
                </a:cubicBezTo>
                <a:cubicBezTo>
                  <a:pt x="930416" y="6344588"/>
                  <a:pt x="929618" y="6348581"/>
                  <a:pt x="928153" y="6352176"/>
                </a:cubicBezTo>
                <a:cubicBezTo>
                  <a:pt x="926690" y="6355903"/>
                  <a:pt x="924560" y="6358965"/>
                  <a:pt x="922031" y="6361627"/>
                </a:cubicBezTo>
                <a:cubicBezTo>
                  <a:pt x="919502" y="6364290"/>
                  <a:pt x="916307" y="6366419"/>
                  <a:pt x="912713" y="6367884"/>
                </a:cubicBezTo>
                <a:cubicBezTo>
                  <a:pt x="909119" y="6369348"/>
                  <a:pt x="905258" y="6370147"/>
                  <a:pt x="900998" y="6370147"/>
                </a:cubicBezTo>
                <a:cubicBezTo>
                  <a:pt x="892079" y="6370147"/>
                  <a:pt x="884757" y="6367351"/>
                  <a:pt x="879167" y="6361760"/>
                </a:cubicBezTo>
                <a:cubicBezTo>
                  <a:pt x="873578" y="6356170"/>
                  <a:pt x="870782" y="6349113"/>
                  <a:pt x="870782" y="6340594"/>
                </a:cubicBezTo>
                <a:cubicBezTo>
                  <a:pt x="870782" y="6332341"/>
                  <a:pt x="873578" y="6325286"/>
                  <a:pt x="879167" y="6319562"/>
                </a:cubicBezTo>
                <a:cubicBezTo>
                  <a:pt x="884757" y="6313838"/>
                  <a:pt x="891946" y="6311042"/>
                  <a:pt x="900998" y="6311042"/>
                </a:cubicBezTo>
                <a:close/>
                <a:moveTo>
                  <a:pt x="683358" y="6311042"/>
                </a:moveTo>
                <a:cubicBezTo>
                  <a:pt x="687618" y="6311042"/>
                  <a:pt x="691479" y="6311708"/>
                  <a:pt x="695073" y="6313305"/>
                </a:cubicBezTo>
                <a:cubicBezTo>
                  <a:pt x="698800" y="6314902"/>
                  <a:pt x="701862" y="6317032"/>
                  <a:pt x="704390" y="6319694"/>
                </a:cubicBezTo>
                <a:cubicBezTo>
                  <a:pt x="707052" y="6322224"/>
                  <a:pt x="709049" y="6325419"/>
                  <a:pt x="710513" y="6329013"/>
                </a:cubicBezTo>
                <a:cubicBezTo>
                  <a:pt x="711977" y="6332607"/>
                  <a:pt x="712776" y="6336467"/>
                  <a:pt x="712776" y="6340461"/>
                </a:cubicBezTo>
                <a:cubicBezTo>
                  <a:pt x="712776" y="6344588"/>
                  <a:pt x="711977" y="6348581"/>
                  <a:pt x="710513" y="6352176"/>
                </a:cubicBezTo>
                <a:cubicBezTo>
                  <a:pt x="709049" y="6355903"/>
                  <a:pt x="706919" y="6358965"/>
                  <a:pt x="704390" y="6361627"/>
                </a:cubicBezTo>
                <a:cubicBezTo>
                  <a:pt x="701862" y="6364290"/>
                  <a:pt x="698667" y="6366419"/>
                  <a:pt x="695073" y="6367884"/>
                </a:cubicBezTo>
                <a:cubicBezTo>
                  <a:pt x="691479" y="6369348"/>
                  <a:pt x="687618" y="6370147"/>
                  <a:pt x="683358" y="6370147"/>
                </a:cubicBezTo>
                <a:cubicBezTo>
                  <a:pt x="674440" y="6370147"/>
                  <a:pt x="667118" y="6367351"/>
                  <a:pt x="661527" y="6361760"/>
                </a:cubicBezTo>
                <a:cubicBezTo>
                  <a:pt x="655936" y="6356170"/>
                  <a:pt x="653141" y="6349113"/>
                  <a:pt x="653141" y="6340594"/>
                </a:cubicBezTo>
                <a:cubicBezTo>
                  <a:pt x="653141" y="6332341"/>
                  <a:pt x="655936" y="6325286"/>
                  <a:pt x="661527" y="6319562"/>
                </a:cubicBezTo>
                <a:cubicBezTo>
                  <a:pt x="667118" y="6313838"/>
                  <a:pt x="674307" y="6311042"/>
                  <a:pt x="683358" y="6311042"/>
                </a:cubicBezTo>
                <a:close/>
                <a:moveTo>
                  <a:pt x="465717" y="6311042"/>
                </a:moveTo>
                <a:cubicBezTo>
                  <a:pt x="469977" y="6311042"/>
                  <a:pt x="473838" y="6311708"/>
                  <a:pt x="477433" y="6313305"/>
                </a:cubicBezTo>
                <a:cubicBezTo>
                  <a:pt x="481160" y="6314902"/>
                  <a:pt x="484221" y="6317032"/>
                  <a:pt x="486750" y="6319694"/>
                </a:cubicBezTo>
                <a:cubicBezTo>
                  <a:pt x="489412" y="6322224"/>
                  <a:pt x="491409" y="6325419"/>
                  <a:pt x="492873" y="6329013"/>
                </a:cubicBezTo>
                <a:cubicBezTo>
                  <a:pt x="494336" y="6332607"/>
                  <a:pt x="495136" y="6336467"/>
                  <a:pt x="495136" y="6340461"/>
                </a:cubicBezTo>
                <a:cubicBezTo>
                  <a:pt x="495136" y="6344588"/>
                  <a:pt x="494336" y="6348581"/>
                  <a:pt x="492873" y="6352176"/>
                </a:cubicBezTo>
                <a:cubicBezTo>
                  <a:pt x="491409" y="6355903"/>
                  <a:pt x="489279" y="6358965"/>
                  <a:pt x="486750" y="6361627"/>
                </a:cubicBezTo>
                <a:cubicBezTo>
                  <a:pt x="484087" y="6364290"/>
                  <a:pt x="481027" y="6366419"/>
                  <a:pt x="477433" y="6367884"/>
                </a:cubicBezTo>
                <a:cubicBezTo>
                  <a:pt x="473838" y="6369348"/>
                  <a:pt x="469977" y="6370147"/>
                  <a:pt x="465717" y="6370147"/>
                </a:cubicBezTo>
                <a:cubicBezTo>
                  <a:pt x="456799" y="6370147"/>
                  <a:pt x="449477" y="6367351"/>
                  <a:pt x="443886" y="6361760"/>
                </a:cubicBezTo>
                <a:cubicBezTo>
                  <a:pt x="438295" y="6356170"/>
                  <a:pt x="435500" y="6349113"/>
                  <a:pt x="435500" y="6340594"/>
                </a:cubicBezTo>
                <a:cubicBezTo>
                  <a:pt x="435500" y="6332341"/>
                  <a:pt x="438295" y="6325286"/>
                  <a:pt x="443886" y="6319562"/>
                </a:cubicBezTo>
                <a:cubicBezTo>
                  <a:pt x="449477" y="6313838"/>
                  <a:pt x="456666" y="6311042"/>
                  <a:pt x="465717" y="6311042"/>
                </a:cubicBezTo>
                <a:close/>
                <a:moveTo>
                  <a:pt x="248076" y="6311042"/>
                </a:moveTo>
                <a:cubicBezTo>
                  <a:pt x="252336" y="6311042"/>
                  <a:pt x="256330" y="6311708"/>
                  <a:pt x="259790" y="6313305"/>
                </a:cubicBezTo>
                <a:cubicBezTo>
                  <a:pt x="263518" y="6314902"/>
                  <a:pt x="266580" y="6317032"/>
                  <a:pt x="269109" y="6319694"/>
                </a:cubicBezTo>
                <a:cubicBezTo>
                  <a:pt x="271771" y="6322224"/>
                  <a:pt x="273768" y="6325419"/>
                  <a:pt x="275232" y="6329013"/>
                </a:cubicBezTo>
                <a:cubicBezTo>
                  <a:pt x="276696" y="6332607"/>
                  <a:pt x="277495" y="6336467"/>
                  <a:pt x="277495" y="6340461"/>
                </a:cubicBezTo>
                <a:cubicBezTo>
                  <a:pt x="277495" y="6344588"/>
                  <a:pt x="276696" y="6348581"/>
                  <a:pt x="275232" y="6352176"/>
                </a:cubicBezTo>
                <a:cubicBezTo>
                  <a:pt x="273768" y="6355903"/>
                  <a:pt x="271638" y="6358965"/>
                  <a:pt x="269109" y="6361627"/>
                </a:cubicBezTo>
                <a:cubicBezTo>
                  <a:pt x="266446" y="6364290"/>
                  <a:pt x="263384" y="6366419"/>
                  <a:pt x="259790" y="6367884"/>
                </a:cubicBezTo>
                <a:cubicBezTo>
                  <a:pt x="256195" y="6369348"/>
                  <a:pt x="252336" y="6370147"/>
                  <a:pt x="248076" y="6370147"/>
                </a:cubicBezTo>
                <a:cubicBezTo>
                  <a:pt x="239159" y="6370147"/>
                  <a:pt x="231838" y="6367351"/>
                  <a:pt x="226247" y="6361760"/>
                </a:cubicBezTo>
                <a:cubicBezTo>
                  <a:pt x="220657" y="6356170"/>
                  <a:pt x="217862" y="6349113"/>
                  <a:pt x="217862" y="6340594"/>
                </a:cubicBezTo>
                <a:cubicBezTo>
                  <a:pt x="217862" y="6332341"/>
                  <a:pt x="220657" y="6325286"/>
                  <a:pt x="226247" y="6319562"/>
                </a:cubicBezTo>
                <a:cubicBezTo>
                  <a:pt x="231838" y="6313838"/>
                  <a:pt x="239025" y="6311042"/>
                  <a:pt x="248076" y="6311042"/>
                </a:cubicBezTo>
                <a:close/>
                <a:moveTo>
                  <a:pt x="30435" y="6311042"/>
                </a:moveTo>
                <a:cubicBezTo>
                  <a:pt x="34695" y="6311042"/>
                  <a:pt x="38689" y="6311708"/>
                  <a:pt x="42150" y="6313305"/>
                </a:cubicBezTo>
                <a:cubicBezTo>
                  <a:pt x="45877" y="6314902"/>
                  <a:pt x="48939" y="6317032"/>
                  <a:pt x="51468" y="6319694"/>
                </a:cubicBezTo>
                <a:cubicBezTo>
                  <a:pt x="54131" y="6322224"/>
                  <a:pt x="56128" y="6325419"/>
                  <a:pt x="57592" y="6329013"/>
                </a:cubicBezTo>
                <a:cubicBezTo>
                  <a:pt x="59056" y="6332607"/>
                  <a:pt x="59855" y="6336467"/>
                  <a:pt x="59855" y="6340461"/>
                </a:cubicBezTo>
                <a:cubicBezTo>
                  <a:pt x="59855" y="6344588"/>
                  <a:pt x="59056" y="6348581"/>
                  <a:pt x="57592" y="6352176"/>
                </a:cubicBezTo>
                <a:cubicBezTo>
                  <a:pt x="56128" y="6355903"/>
                  <a:pt x="53997" y="6358965"/>
                  <a:pt x="51468" y="6361627"/>
                </a:cubicBezTo>
                <a:cubicBezTo>
                  <a:pt x="48805" y="6364290"/>
                  <a:pt x="45744" y="6366419"/>
                  <a:pt x="42150" y="6367884"/>
                </a:cubicBezTo>
                <a:cubicBezTo>
                  <a:pt x="38556" y="6369348"/>
                  <a:pt x="34695" y="6370147"/>
                  <a:pt x="30435" y="6370147"/>
                </a:cubicBezTo>
                <a:cubicBezTo>
                  <a:pt x="21517" y="6370147"/>
                  <a:pt x="14197" y="6367351"/>
                  <a:pt x="8608" y="6361760"/>
                </a:cubicBezTo>
                <a:cubicBezTo>
                  <a:pt x="3017" y="6356170"/>
                  <a:pt x="222" y="6349113"/>
                  <a:pt x="222" y="6340594"/>
                </a:cubicBezTo>
                <a:cubicBezTo>
                  <a:pt x="222" y="6332341"/>
                  <a:pt x="3017" y="6325286"/>
                  <a:pt x="8608" y="6319562"/>
                </a:cubicBezTo>
                <a:cubicBezTo>
                  <a:pt x="14197" y="6313838"/>
                  <a:pt x="21383" y="6311042"/>
                  <a:pt x="30435" y="6311042"/>
                </a:cubicBezTo>
                <a:close/>
                <a:moveTo>
                  <a:pt x="10475977" y="6110037"/>
                </a:moveTo>
                <a:cubicBezTo>
                  <a:pt x="10470119" y="6110037"/>
                  <a:pt x="10467589" y="6111900"/>
                  <a:pt x="10465992" y="6113631"/>
                </a:cubicBezTo>
                <a:cubicBezTo>
                  <a:pt x="10463463" y="6116293"/>
                  <a:pt x="10462399" y="6119089"/>
                  <a:pt x="10462399" y="6123082"/>
                </a:cubicBezTo>
                <a:cubicBezTo>
                  <a:pt x="10462399" y="6127209"/>
                  <a:pt x="10463463" y="6130004"/>
                  <a:pt x="10465992" y="6132533"/>
                </a:cubicBezTo>
                <a:cubicBezTo>
                  <a:pt x="10467589" y="6134132"/>
                  <a:pt x="10470119" y="6135995"/>
                  <a:pt x="10475977" y="6135995"/>
                </a:cubicBezTo>
                <a:cubicBezTo>
                  <a:pt x="10478107" y="6135995"/>
                  <a:pt x="10479838" y="6135596"/>
                  <a:pt x="10481302" y="6135063"/>
                </a:cubicBezTo>
                <a:cubicBezTo>
                  <a:pt x="10482899" y="6134531"/>
                  <a:pt x="10484098" y="6133599"/>
                  <a:pt x="10485029" y="6132666"/>
                </a:cubicBezTo>
                <a:cubicBezTo>
                  <a:pt x="10486094" y="6131468"/>
                  <a:pt x="10487026" y="6130137"/>
                  <a:pt x="10487691" y="6128407"/>
                </a:cubicBezTo>
                <a:cubicBezTo>
                  <a:pt x="10488357" y="6126809"/>
                  <a:pt x="10488623" y="6124946"/>
                  <a:pt x="10488623" y="6122949"/>
                </a:cubicBezTo>
                <a:cubicBezTo>
                  <a:pt x="10488623" y="6121085"/>
                  <a:pt x="10488357" y="6119355"/>
                  <a:pt x="10487691" y="6117758"/>
                </a:cubicBezTo>
                <a:cubicBezTo>
                  <a:pt x="10487026" y="6116160"/>
                  <a:pt x="10486094" y="6114829"/>
                  <a:pt x="10485029" y="6113631"/>
                </a:cubicBezTo>
                <a:cubicBezTo>
                  <a:pt x="10483964" y="6112566"/>
                  <a:pt x="10482633" y="6111634"/>
                  <a:pt x="10481035" y="6110968"/>
                </a:cubicBezTo>
                <a:cubicBezTo>
                  <a:pt x="10479571" y="6110303"/>
                  <a:pt x="10477974" y="6110037"/>
                  <a:pt x="10475977" y="6110037"/>
                </a:cubicBezTo>
                <a:close/>
                <a:moveTo>
                  <a:pt x="10258466" y="6110037"/>
                </a:moveTo>
                <a:cubicBezTo>
                  <a:pt x="10252608" y="6110037"/>
                  <a:pt x="10250078" y="6111900"/>
                  <a:pt x="10248481" y="6113631"/>
                </a:cubicBezTo>
                <a:cubicBezTo>
                  <a:pt x="10245952" y="6116293"/>
                  <a:pt x="10244887" y="6119089"/>
                  <a:pt x="10244887" y="6123082"/>
                </a:cubicBezTo>
                <a:cubicBezTo>
                  <a:pt x="10244887" y="6127209"/>
                  <a:pt x="10245952" y="6130004"/>
                  <a:pt x="10248481" y="6132533"/>
                </a:cubicBezTo>
                <a:cubicBezTo>
                  <a:pt x="10250078" y="6134132"/>
                  <a:pt x="10252608" y="6135995"/>
                  <a:pt x="10258466" y="6135995"/>
                </a:cubicBezTo>
                <a:cubicBezTo>
                  <a:pt x="10260462" y="6135995"/>
                  <a:pt x="10262192" y="6135596"/>
                  <a:pt x="10263790" y="6135063"/>
                </a:cubicBezTo>
                <a:cubicBezTo>
                  <a:pt x="10265388" y="6134531"/>
                  <a:pt x="10266586" y="6133599"/>
                  <a:pt x="10267517" y="6132666"/>
                </a:cubicBezTo>
                <a:cubicBezTo>
                  <a:pt x="10268583" y="6131468"/>
                  <a:pt x="10269515" y="6130137"/>
                  <a:pt x="10270180" y="6128407"/>
                </a:cubicBezTo>
                <a:cubicBezTo>
                  <a:pt x="10270845" y="6126809"/>
                  <a:pt x="10271112" y="6124946"/>
                  <a:pt x="10271112" y="6122949"/>
                </a:cubicBezTo>
                <a:cubicBezTo>
                  <a:pt x="10271112" y="6121085"/>
                  <a:pt x="10270845" y="6119355"/>
                  <a:pt x="10270180" y="6117758"/>
                </a:cubicBezTo>
                <a:cubicBezTo>
                  <a:pt x="10269515" y="6116160"/>
                  <a:pt x="10268583" y="6114829"/>
                  <a:pt x="10267517" y="6113631"/>
                </a:cubicBezTo>
                <a:cubicBezTo>
                  <a:pt x="10266452" y="6112566"/>
                  <a:pt x="10265121" y="6111634"/>
                  <a:pt x="10263524" y="6110968"/>
                </a:cubicBezTo>
                <a:cubicBezTo>
                  <a:pt x="10262060" y="6110303"/>
                  <a:pt x="10260462" y="6110037"/>
                  <a:pt x="10258466" y="6110037"/>
                </a:cubicBezTo>
                <a:close/>
                <a:moveTo>
                  <a:pt x="10040820" y="6110037"/>
                </a:moveTo>
                <a:cubicBezTo>
                  <a:pt x="10034962" y="6110037"/>
                  <a:pt x="10032433" y="6111900"/>
                  <a:pt x="10030835" y="6113631"/>
                </a:cubicBezTo>
                <a:cubicBezTo>
                  <a:pt x="10028306" y="6116293"/>
                  <a:pt x="10027242" y="6119089"/>
                  <a:pt x="10027242" y="6123082"/>
                </a:cubicBezTo>
                <a:cubicBezTo>
                  <a:pt x="10027242" y="6127209"/>
                  <a:pt x="10028306" y="6130004"/>
                  <a:pt x="10030835" y="6132533"/>
                </a:cubicBezTo>
                <a:cubicBezTo>
                  <a:pt x="10032433" y="6134132"/>
                  <a:pt x="10034962" y="6135995"/>
                  <a:pt x="10040820" y="6135995"/>
                </a:cubicBezTo>
                <a:cubicBezTo>
                  <a:pt x="10042817" y="6135995"/>
                  <a:pt x="10044681" y="6135596"/>
                  <a:pt x="10046145" y="6135063"/>
                </a:cubicBezTo>
                <a:cubicBezTo>
                  <a:pt x="10047742" y="6134531"/>
                  <a:pt x="10048941" y="6133599"/>
                  <a:pt x="10049872" y="6132666"/>
                </a:cubicBezTo>
                <a:cubicBezTo>
                  <a:pt x="10050937" y="6131468"/>
                  <a:pt x="10051869" y="6130137"/>
                  <a:pt x="10052534" y="6128407"/>
                </a:cubicBezTo>
                <a:cubicBezTo>
                  <a:pt x="10053333" y="6126809"/>
                  <a:pt x="10053599" y="6124946"/>
                  <a:pt x="10053599" y="6122949"/>
                </a:cubicBezTo>
                <a:cubicBezTo>
                  <a:pt x="10053599" y="6121085"/>
                  <a:pt x="10053200" y="6119355"/>
                  <a:pt x="10052534" y="6117758"/>
                </a:cubicBezTo>
                <a:cubicBezTo>
                  <a:pt x="10051869" y="6116160"/>
                  <a:pt x="10050937" y="6114829"/>
                  <a:pt x="10049872" y="6113631"/>
                </a:cubicBezTo>
                <a:cubicBezTo>
                  <a:pt x="10048807" y="6112566"/>
                  <a:pt x="10047476" y="6111634"/>
                  <a:pt x="10045878" y="6110968"/>
                </a:cubicBezTo>
                <a:cubicBezTo>
                  <a:pt x="10044414" y="6110303"/>
                  <a:pt x="10042817" y="6110037"/>
                  <a:pt x="10040820" y="6110037"/>
                </a:cubicBezTo>
                <a:close/>
                <a:moveTo>
                  <a:pt x="9823176" y="6110037"/>
                </a:moveTo>
                <a:cubicBezTo>
                  <a:pt x="9817318" y="6110037"/>
                  <a:pt x="9814788" y="6111900"/>
                  <a:pt x="9813191" y="6113631"/>
                </a:cubicBezTo>
                <a:cubicBezTo>
                  <a:pt x="9810662" y="6116293"/>
                  <a:pt x="9809597" y="6119089"/>
                  <a:pt x="9809597" y="6123082"/>
                </a:cubicBezTo>
                <a:cubicBezTo>
                  <a:pt x="9809597" y="6127209"/>
                  <a:pt x="9810662" y="6130004"/>
                  <a:pt x="9813191" y="6132533"/>
                </a:cubicBezTo>
                <a:cubicBezTo>
                  <a:pt x="9814788" y="6134132"/>
                  <a:pt x="9817318" y="6135995"/>
                  <a:pt x="9823176" y="6135995"/>
                </a:cubicBezTo>
                <a:cubicBezTo>
                  <a:pt x="9825173" y="6135995"/>
                  <a:pt x="9827036" y="6135596"/>
                  <a:pt x="9828501" y="6135063"/>
                </a:cubicBezTo>
                <a:cubicBezTo>
                  <a:pt x="9830098" y="6134531"/>
                  <a:pt x="9831296" y="6133599"/>
                  <a:pt x="9832227" y="6132666"/>
                </a:cubicBezTo>
                <a:cubicBezTo>
                  <a:pt x="9833293" y="6131468"/>
                  <a:pt x="9834225" y="6130137"/>
                  <a:pt x="9834890" y="6128407"/>
                </a:cubicBezTo>
                <a:cubicBezTo>
                  <a:pt x="9835689" y="6126809"/>
                  <a:pt x="9835955" y="6124946"/>
                  <a:pt x="9835955" y="6122949"/>
                </a:cubicBezTo>
                <a:cubicBezTo>
                  <a:pt x="9835955" y="6121085"/>
                  <a:pt x="9835555" y="6119355"/>
                  <a:pt x="9834890" y="6117758"/>
                </a:cubicBezTo>
                <a:cubicBezTo>
                  <a:pt x="9834225" y="6116160"/>
                  <a:pt x="9833293" y="6114829"/>
                  <a:pt x="9832227" y="6113631"/>
                </a:cubicBezTo>
                <a:cubicBezTo>
                  <a:pt x="9831162" y="6112566"/>
                  <a:pt x="9829831" y="6111634"/>
                  <a:pt x="9828234" y="6110968"/>
                </a:cubicBezTo>
                <a:cubicBezTo>
                  <a:pt x="9826770" y="6110303"/>
                  <a:pt x="9825173" y="6110037"/>
                  <a:pt x="9823176" y="6110037"/>
                </a:cubicBezTo>
                <a:close/>
                <a:moveTo>
                  <a:pt x="9605531" y="6110037"/>
                </a:moveTo>
                <a:cubicBezTo>
                  <a:pt x="9599673" y="6110037"/>
                  <a:pt x="9597143" y="6111900"/>
                  <a:pt x="9595546" y="6113631"/>
                </a:cubicBezTo>
                <a:cubicBezTo>
                  <a:pt x="9593017" y="6116293"/>
                  <a:pt x="9591952" y="6119089"/>
                  <a:pt x="9591952" y="6123082"/>
                </a:cubicBezTo>
                <a:cubicBezTo>
                  <a:pt x="9591952" y="6127209"/>
                  <a:pt x="9593017" y="6130004"/>
                  <a:pt x="9595546" y="6132533"/>
                </a:cubicBezTo>
                <a:cubicBezTo>
                  <a:pt x="9597143" y="6134132"/>
                  <a:pt x="9599673" y="6135995"/>
                  <a:pt x="9605531" y="6135995"/>
                </a:cubicBezTo>
                <a:cubicBezTo>
                  <a:pt x="9607660" y="6135995"/>
                  <a:pt x="9609391" y="6135596"/>
                  <a:pt x="9610855" y="6135063"/>
                </a:cubicBezTo>
                <a:cubicBezTo>
                  <a:pt x="9612319" y="6134531"/>
                  <a:pt x="9613651" y="6133599"/>
                  <a:pt x="9614582" y="6132666"/>
                </a:cubicBezTo>
                <a:cubicBezTo>
                  <a:pt x="9615647" y="6131468"/>
                  <a:pt x="9616579" y="6130137"/>
                  <a:pt x="9617245" y="6128407"/>
                </a:cubicBezTo>
                <a:cubicBezTo>
                  <a:pt x="9618044" y="6126809"/>
                  <a:pt x="9618309" y="6124946"/>
                  <a:pt x="9618309" y="6122949"/>
                </a:cubicBezTo>
                <a:cubicBezTo>
                  <a:pt x="9618309" y="6121085"/>
                  <a:pt x="9617910" y="6119355"/>
                  <a:pt x="9617245" y="6117758"/>
                </a:cubicBezTo>
                <a:cubicBezTo>
                  <a:pt x="9616579" y="6116160"/>
                  <a:pt x="9615647" y="6114829"/>
                  <a:pt x="9614582" y="6113631"/>
                </a:cubicBezTo>
                <a:cubicBezTo>
                  <a:pt x="9613517" y="6112566"/>
                  <a:pt x="9612186" y="6111634"/>
                  <a:pt x="9610589" y="6110968"/>
                </a:cubicBezTo>
                <a:cubicBezTo>
                  <a:pt x="9609124" y="6110303"/>
                  <a:pt x="9607394" y="6110037"/>
                  <a:pt x="9605531" y="6110037"/>
                </a:cubicBezTo>
                <a:close/>
                <a:moveTo>
                  <a:pt x="9387885" y="6110037"/>
                </a:moveTo>
                <a:cubicBezTo>
                  <a:pt x="9382027" y="6110037"/>
                  <a:pt x="9379497" y="6111900"/>
                  <a:pt x="9377900" y="6113631"/>
                </a:cubicBezTo>
                <a:cubicBezTo>
                  <a:pt x="9375371" y="6116293"/>
                  <a:pt x="9374307" y="6119089"/>
                  <a:pt x="9374307" y="6123082"/>
                </a:cubicBezTo>
                <a:cubicBezTo>
                  <a:pt x="9374307" y="6127209"/>
                  <a:pt x="9375371" y="6130004"/>
                  <a:pt x="9377900" y="6132533"/>
                </a:cubicBezTo>
                <a:cubicBezTo>
                  <a:pt x="9379497" y="6134132"/>
                  <a:pt x="9382027" y="6135995"/>
                  <a:pt x="9387885" y="6135995"/>
                </a:cubicBezTo>
                <a:cubicBezTo>
                  <a:pt x="9390015" y="6135995"/>
                  <a:pt x="9391746" y="6135596"/>
                  <a:pt x="9393210" y="6135063"/>
                </a:cubicBezTo>
                <a:cubicBezTo>
                  <a:pt x="9394674" y="6134531"/>
                  <a:pt x="9396005" y="6133599"/>
                  <a:pt x="9396937" y="6132666"/>
                </a:cubicBezTo>
                <a:cubicBezTo>
                  <a:pt x="9398002" y="6131468"/>
                  <a:pt x="9398934" y="6130137"/>
                  <a:pt x="9399599" y="6128407"/>
                </a:cubicBezTo>
                <a:cubicBezTo>
                  <a:pt x="9400398" y="6126809"/>
                  <a:pt x="9400664" y="6124946"/>
                  <a:pt x="9400664" y="6122949"/>
                </a:cubicBezTo>
                <a:cubicBezTo>
                  <a:pt x="9400664" y="6121085"/>
                  <a:pt x="9400265" y="6119355"/>
                  <a:pt x="9399599" y="6117758"/>
                </a:cubicBezTo>
                <a:cubicBezTo>
                  <a:pt x="9398934" y="6116160"/>
                  <a:pt x="9398002" y="6114829"/>
                  <a:pt x="9396937" y="6113631"/>
                </a:cubicBezTo>
                <a:cubicBezTo>
                  <a:pt x="9395872" y="6112566"/>
                  <a:pt x="9394541" y="6111634"/>
                  <a:pt x="9392943" y="6110968"/>
                </a:cubicBezTo>
                <a:cubicBezTo>
                  <a:pt x="9391479" y="6110303"/>
                  <a:pt x="9389749" y="6110037"/>
                  <a:pt x="9387885" y="6110037"/>
                </a:cubicBezTo>
                <a:close/>
                <a:moveTo>
                  <a:pt x="9170374" y="6110037"/>
                </a:moveTo>
                <a:cubicBezTo>
                  <a:pt x="9164649" y="6110037"/>
                  <a:pt x="9161986" y="6111900"/>
                  <a:pt x="9160389" y="6113631"/>
                </a:cubicBezTo>
                <a:cubicBezTo>
                  <a:pt x="9157860" y="6116293"/>
                  <a:pt x="9156795" y="6119089"/>
                  <a:pt x="9156795" y="6123082"/>
                </a:cubicBezTo>
                <a:cubicBezTo>
                  <a:pt x="9156795" y="6127209"/>
                  <a:pt x="9157860" y="6130004"/>
                  <a:pt x="9160389" y="6132533"/>
                </a:cubicBezTo>
                <a:cubicBezTo>
                  <a:pt x="9161986" y="6134132"/>
                  <a:pt x="9164516" y="6135995"/>
                  <a:pt x="9170374" y="6135995"/>
                </a:cubicBezTo>
                <a:cubicBezTo>
                  <a:pt x="9172370" y="6135995"/>
                  <a:pt x="9174100" y="6135596"/>
                  <a:pt x="9175698" y="6135063"/>
                </a:cubicBezTo>
                <a:cubicBezTo>
                  <a:pt x="9177163" y="6134531"/>
                  <a:pt x="9178494" y="6133599"/>
                  <a:pt x="9179425" y="6132666"/>
                </a:cubicBezTo>
                <a:cubicBezTo>
                  <a:pt x="9180491" y="6131468"/>
                  <a:pt x="9181422" y="6130137"/>
                  <a:pt x="9182088" y="6128407"/>
                </a:cubicBezTo>
                <a:cubicBezTo>
                  <a:pt x="9182887" y="6126809"/>
                  <a:pt x="9183152" y="6124946"/>
                  <a:pt x="9183152" y="6122949"/>
                </a:cubicBezTo>
                <a:cubicBezTo>
                  <a:pt x="9183152" y="6121085"/>
                  <a:pt x="9182753" y="6119355"/>
                  <a:pt x="9182088" y="6117758"/>
                </a:cubicBezTo>
                <a:cubicBezTo>
                  <a:pt x="9181422" y="6116160"/>
                  <a:pt x="9180491" y="6114829"/>
                  <a:pt x="9179425" y="6113631"/>
                </a:cubicBezTo>
                <a:cubicBezTo>
                  <a:pt x="9178360" y="6112566"/>
                  <a:pt x="9177029" y="6111634"/>
                  <a:pt x="9175432" y="6110968"/>
                </a:cubicBezTo>
                <a:cubicBezTo>
                  <a:pt x="9173967" y="6110303"/>
                  <a:pt x="9172237" y="6110037"/>
                  <a:pt x="9170374" y="6110037"/>
                </a:cubicBezTo>
                <a:close/>
                <a:moveTo>
                  <a:pt x="8952728" y="6110037"/>
                </a:moveTo>
                <a:cubicBezTo>
                  <a:pt x="8947003" y="6110037"/>
                  <a:pt x="8944340" y="6111900"/>
                  <a:pt x="8942743" y="6113631"/>
                </a:cubicBezTo>
                <a:cubicBezTo>
                  <a:pt x="8940214" y="6116293"/>
                  <a:pt x="8939150" y="6119089"/>
                  <a:pt x="8939150" y="6123082"/>
                </a:cubicBezTo>
                <a:cubicBezTo>
                  <a:pt x="8939150" y="6127209"/>
                  <a:pt x="8940214" y="6130004"/>
                  <a:pt x="8942743" y="6132533"/>
                </a:cubicBezTo>
                <a:cubicBezTo>
                  <a:pt x="8944340" y="6134132"/>
                  <a:pt x="8946870" y="6135995"/>
                  <a:pt x="8952728" y="6135995"/>
                </a:cubicBezTo>
                <a:cubicBezTo>
                  <a:pt x="8954725" y="6135995"/>
                  <a:pt x="8956589" y="6135596"/>
                  <a:pt x="8958053" y="6135063"/>
                </a:cubicBezTo>
                <a:cubicBezTo>
                  <a:pt x="8959517" y="6134531"/>
                  <a:pt x="8960849" y="6133599"/>
                  <a:pt x="8961780" y="6132666"/>
                </a:cubicBezTo>
                <a:cubicBezTo>
                  <a:pt x="8962845" y="6131468"/>
                  <a:pt x="8963777" y="6130137"/>
                  <a:pt x="8964442" y="6128407"/>
                </a:cubicBezTo>
                <a:cubicBezTo>
                  <a:pt x="8965241" y="6126809"/>
                  <a:pt x="8965507" y="6124946"/>
                  <a:pt x="8965507" y="6122949"/>
                </a:cubicBezTo>
                <a:cubicBezTo>
                  <a:pt x="8965507" y="6121085"/>
                  <a:pt x="8965108" y="6119355"/>
                  <a:pt x="8964442" y="6117758"/>
                </a:cubicBezTo>
                <a:cubicBezTo>
                  <a:pt x="8963777" y="6116160"/>
                  <a:pt x="8962845" y="6114829"/>
                  <a:pt x="8961780" y="6113631"/>
                </a:cubicBezTo>
                <a:cubicBezTo>
                  <a:pt x="8960715" y="6112566"/>
                  <a:pt x="8959384" y="6111634"/>
                  <a:pt x="8957786" y="6110968"/>
                </a:cubicBezTo>
                <a:cubicBezTo>
                  <a:pt x="8956322" y="6110303"/>
                  <a:pt x="8954592" y="6110037"/>
                  <a:pt x="8952728" y="6110037"/>
                </a:cubicBezTo>
                <a:close/>
                <a:moveTo>
                  <a:pt x="8735083" y="6110037"/>
                </a:moveTo>
                <a:cubicBezTo>
                  <a:pt x="8729358" y="6110037"/>
                  <a:pt x="8726695" y="6111900"/>
                  <a:pt x="8725098" y="6113631"/>
                </a:cubicBezTo>
                <a:cubicBezTo>
                  <a:pt x="8722569" y="6116293"/>
                  <a:pt x="8721504" y="6119089"/>
                  <a:pt x="8721504" y="6123082"/>
                </a:cubicBezTo>
                <a:cubicBezTo>
                  <a:pt x="8721504" y="6127209"/>
                  <a:pt x="8722569" y="6130004"/>
                  <a:pt x="8725098" y="6132533"/>
                </a:cubicBezTo>
                <a:cubicBezTo>
                  <a:pt x="8726695" y="6134132"/>
                  <a:pt x="8729225" y="6135995"/>
                  <a:pt x="8735083" y="6135995"/>
                </a:cubicBezTo>
                <a:cubicBezTo>
                  <a:pt x="8737079" y="6135995"/>
                  <a:pt x="8738943" y="6135596"/>
                  <a:pt x="8740407" y="6135063"/>
                </a:cubicBezTo>
                <a:cubicBezTo>
                  <a:pt x="8741872" y="6134531"/>
                  <a:pt x="8743203" y="6133599"/>
                  <a:pt x="8744134" y="6132666"/>
                </a:cubicBezTo>
                <a:cubicBezTo>
                  <a:pt x="8745200" y="6131468"/>
                  <a:pt x="8746132" y="6130137"/>
                  <a:pt x="8746797" y="6128407"/>
                </a:cubicBezTo>
                <a:cubicBezTo>
                  <a:pt x="8747596" y="6126809"/>
                  <a:pt x="8747862" y="6124946"/>
                  <a:pt x="8747862" y="6122949"/>
                </a:cubicBezTo>
                <a:cubicBezTo>
                  <a:pt x="8747862" y="6121085"/>
                  <a:pt x="8747462" y="6119355"/>
                  <a:pt x="8746797" y="6117758"/>
                </a:cubicBezTo>
                <a:cubicBezTo>
                  <a:pt x="8746132" y="6116160"/>
                  <a:pt x="8745200" y="6114829"/>
                  <a:pt x="8744134" y="6113631"/>
                </a:cubicBezTo>
                <a:cubicBezTo>
                  <a:pt x="8743069" y="6112566"/>
                  <a:pt x="8741738" y="6111634"/>
                  <a:pt x="8740141" y="6110968"/>
                </a:cubicBezTo>
                <a:cubicBezTo>
                  <a:pt x="8738677" y="6110303"/>
                  <a:pt x="8736946" y="6110037"/>
                  <a:pt x="8735083" y="6110037"/>
                </a:cubicBezTo>
                <a:close/>
                <a:moveTo>
                  <a:pt x="8517438" y="6110037"/>
                </a:moveTo>
                <a:cubicBezTo>
                  <a:pt x="8511713" y="6110037"/>
                  <a:pt x="8509051" y="6111900"/>
                  <a:pt x="8507453" y="6113631"/>
                </a:cubicBezTo>
                <a:cubicBezTo>
                  <a:pt x="8504925" y="6116293"/>
                  <a:pt x="8503860" y="6119089"/>
                  <a:pt x="8503860" y="6123082"/>
                </a:cubicBezTo>
                <a:cubicBezTo>
                  <a:pt x="8503860" y="6127209"/>
                  <a:pt x="8504925" y="6130004"/>
                  <a:pt x="8507453" y="6132533"/>
                </a:cubicBezTo>
                <a:cubicBezTo>
                  <a:pt x="8509051" y="6134132"/>
                  <a:pt x="8511581" y="6135995"/>
                  <a:pt x="8517438" y="6135995"/>
                </a:cubicBezTo>
                <a:cubicBezTo>
                  <a:pt x="8519568" y="6135995"/>
                  <a:pt x="8521299" y="6135596"/>
                  <a:pt x="8522763" y="6135063"/>
                </a:cubicBezTo>
                <a:cubicBezTo>
                  <a:pt x="8524227" y="6134531"/>
                  <a:pt x="8525559" y="6133599"/>
                  <a:pt x="8526490" y="6132666"/>
                </a:cubicBezTo>
                <a:cubicBezTo>
                  <a:pt x="8527555" y="6131468"/>
                  <a:pt x="8528487" y="6130137"/>
                  <a:pt x="8529152" y="6128407"/>
                </a:cubicBezTo>
                <a:cubicBezTo>
                  <a:pt x="8529818" y="6126809"/>
                  <a:pt x="8530084" y="6124946"/>
                  <a:pt x="8530084" y="6122949"/>
                </a:cubicBezTo>
                <a:cubicBezTo>
                  <a:pt x="8530084" y="6121085"/>
                  <a:pt x="8529818" y="6119355"/>
                  <a:pt x="8529152" y="6117758"/>
                </a:cubicBezTo>
                <a:cubicBezTo>
                  <a:pt x="8528487" y="6116160"/>
                  <a:pt x="8527555" y="6114829"/>
                  <a:pt x="8526490" y="6113631"/>
                </a:cubicBezTo>
                <a:cubicBezTo>
                  <a:pt x="8525425" y="6112566"/>
                  <a:pt x="8524094" y="6111634"/>
                  <a:pt x="8522496" y="6110968"/>
                </a:cubicBezTo>
                <a:cubicBezTo>
                  <a:pt x="8521032" y="6110303"/>
                  <a:pt x="8519302" y="6110037"/>
                  <a:pt x="8517438" y="6110037"/>
                </a:cubicBezTo>
                <a:close/>
                <a:moveTo>
                  <a:pt x="8299793" y="6110037"/>
                </a:moveTo>
                <a:cubicBezTo>
                  <a:pt x="8294068" y="6110037"/>
                  <a:pt x="8291406" y="6111900"/>
                  <a:pt x="8289809" y="6113631"/>
                </a:cubicBezTo>
                <a:cubicBezTo>
                  <a:pt x="8287280" y="6116293"/>
                  <a:pt x="8286215" y="6119089"/>
                  <a:pt x="8286215" y="6123082"/>
                </a:cubicBezTo>
                <a:cubicBezTo>
                  <a:pt x="8286215" y="6127209"/>
                  <a:pt x="8287280" y="6130004"/>
                  <a:pt x="8289809" y="6132533"/>
                </a:cubicBezTo>
                <a:cubicBezTo>
                  <a:pt x="8291406" y="6134132"/>
                  <a:pt x="8293935" y="6135995"/>
                  <a:pt x="8299793" y="6135995"/>
                </a:cubicBezTo>
                <a:cubicBezTo>
                  <a:pt x="8301923" y="6135995"/>
                  <a:pt x="8303653" y="6135596"/>
                  <a:pt x="8305118" y="6135063"/>
                </a:cubicBezTo>
                <a:cubicBezTo>
                  <a:pt x="8306582" y="6134531"/>
                  <a:pt x="8307913" y="6133599"/>
                  <a:pt x="8308844" y="6132666"/>
                </a:cubicBezTo>
                <a:cubicBezTo>
                  <a:pt x="8309910" y="6131468"/>
                  <a:pt x="8310842" y="6130137"/>
                  <a:pt x="8311507" y="6128407"/>
                </a:cubicBezTo>
                <a:cubicBezTo>
                  <a:pt x="8312172" y="6126809"/>
                  <a:pt x="8312439" y="6124946"/>
                  <a:pt x="8312439" y="6122949"/>
                </a:cubicBezTo>
                <a:cubicBezTo>
                  <a:pt x="8312439" y="6121085"/>
                  <a:pt x="8312172" y="6119355"/>
                  <a:pt x="8311507" y="6117758"/>
                </a:cubicBezTo>
                <a:cubicBezTo>
                  <a:pt x="8310842" y="6116160"/>
                  <a:pt x="8309910" y="6114829"/>
                  <a:pt x="8308844" y="6113631"/>
                </a:cubicBezTo>
                <a:cubicBezTo>
                  <a:pt x="8307779" y="6112566"/>
                  <a:pt x="8306448" y="6111634"/>
                  <a:pt x="8304851" y="6110968"/>
                </a:cubicBezTo>
                <a:cubicBezTo>
                  <a:pt x="8303387" y="6110303"/>
                  <a:pt x="8301790" y="6110037"/>
                  <a:pt x="8299793" y="6110037"/>
                </a:cubicBezTo>
                <a:close/>
                <a:moveTo>
                  <a:pt x="8082281" y="6110037"/>
                </a:moveTo>
                <a:cubicBezTo>
                  <a:pt x="8076424" y="6110037"/>
                  <a:pt x="8073894" y="6111900"/>
                  <a:pt x="8072297" y="6113631"/>
                </a:cubicBezTo>
                <a:cubicBezTo>
                  <a:pt x="8069768" y="6116293"/>
                  <a:pt x="8068703" y="6119089"/>
                  <a:pt x="8068703" y="6123082"/>
                </a:cubicBezTo>
                <a:cubicBezTo>
                  <a:pt x="8068703" y="6127209"/>
                  <a:pt x="8069768" y="6130004"/>
                  <a:pt x="8072297" y="6132533"/>
                </a:cubicBezTo>
                <a:cubicBezTo>
                  <a:pt x="8073894" y="6134132"/>
                  <a:pt x="8076424" y="6135995"/>
                  <a:pt x="8082281" y="6135995"/>
                </a:cubicBezTo>
                <a:cubicBezTo>
                  <a:pt x="8084277" y="6135995"/>
                  <a:pt x="8086007" y="6135596"/>
                  <a:pt x="8087605" y="6135063"/>
                </a:cubicBezTo>
                <a:cubicBezTo>
                  <a:pt x="8089069" y="6134531"/>
                  <a:pt x="8090401" y="6133599"/>
                  <a:pt x="8091332" y="6132666"/>
                </a:cubicBezTo>
                <a:cubicBezTo>
                  <a:pt x="8092397" y="6131468"/>
                  <a:pt x="8093329" y="6130137"/>
                  <a:pt x="8093994" y="6128407"/>
                </a:cubicBezTo>
                <a:cubicBezTo>
                  <a:pt x="8094660" y="6126809"/>
                  <a:pt x="8094926" y="6124946"/>
                  <a:pt x="8094926" y="6122949"/>
                </a:cubicBezTo>
                <a:cubicBezTo>
                  <a:pt x="8094926" y="6121085"/>
                  <a:pt x="8094660" y="6119355"/>
                  <a:pt x="8093994" y="6117758"/>
                </a:cubicBezTo>
                <a:cubicBezTo>
                  <a:pt x="8093329" y="6116160"/>
                  <a:pt x="8092397" y="6114829"/>
                  <a:pt x="8091332" y="6113631"/>
                </a:cubicBezTo>
                <a:cubicBezTo>
                  <a:pt x="8090267" y="6112566"/>
                  <a:pt x="8088936" y="6111634"/>
                  <a:pt x="8087338" y="6110968"/>
                </a:cubicBezTo>
                <a:cubicBezTo>
                  <a:pt x="8085874" y="6110303"/>
                  <a:pt x="8084277" y="6110037"/>
                  <a:pt x="8082281" y="6110037"/>
                </a:cubicBezTo>
                <a:close/>
                <a:moveTo>
                  <a:pt x="7864636" y="6110037"/>
                </a:moveTo>
                <a:cubicBezTo>
                  <a:pt x="7858779" y="6110037"/>
                  <a:pt x="7856249" y="6111900"/>
                  <a:pt x="7854652" y="6113631"/>
                </a:cubicBezTo>
                <a:cubicBezTo>
                  <a:pt x="7852123" y="6116293"/>
                  <a:pt x="7851058" y="6119089"/>
                  <a:pt x="7851058" y="6123082"/>
                </a:cubicBezTo>
                <a:cubicBezTo>
                  <a:pt x="7851058" y="6127209"/>
                  <a:pt x="7852123" y="6130004"/>
                  <a:pt x="7854652" y="6132533"/>
                </a:cubicBezTo>
                <a:cubicBezTo>
                  <a:pt x="7856249" y="6134132"/>
                  <a:pt x="7858779" y="6135995"/>
                  <a:pt x="7864636" y="6135995"/>
                </a:cubicBezTo>
                <a:cubicBezTo>
                  <a:pt x="7866633" y="6135995"/>
                  <a:pt x="7868363" y="6135596"/>
                  <a:pt x="7869961" y="6135063"/>
                </a:cubicBezTo>
                <a:cubicBezTo>
                  <a:pt x="7871425" y="6134531"/>
                  <a:pt x="7872756" y="6133599"/>
                  <a:pt x="7873687" y="6132666"/>
                </a:cubicBezTo>
                <a:cubicBezTo>
                  <a:pt x="7874753" y="6131468"/>
                  <a:pt x="7875685" y="6130137"/>
                  <a:pt x="7876350" y="6128407"/>
                </a:cubicBezTo>
                <a:cubicBezTo>
                  <a:pt x="7877015" y="6126809"/>
                  <a:pt x="7877282" y="6124946"/>
                  <a:pt x="7877282" y="6122949"/>
                </a:cubicBezTo>
                <a:cubicBezTo>
                  <a:pt x="7877282" y="6121085"/>
                  <a:pt x="7877015" y="6119355"/>
                  <a:pt x="7876350" y="6117758"/>
                </a:cubicBezTo>
                <a:cubicBezTo>
                  <a:pt x="7875685" y="6116160"/>
                  <a:pt x="7874753" y="6114829"/>
                  <a:pt x="7873687" y="6113631"/>
                </a:cubicBezTo>
                <a:cubicBezTo>
                  <a:pt x="7872623" y="6112566"/>
                  <a:pt x="7871291" y="6111634"/>
                  <a:pt x="7869694" y="6110968"/>
                </a:cubicBezTo>
                <a:cubicBezTo>
                  <a:pt x="7868230" y="6110303"/>
                  <a:pt x="7866633" y="6110037"/>
                  <a:pt x="7864636" y="6110037"/>
                </a:cubicBezTo>
                <a:close/>
                <a:moveTo>
                  <a:pt x="7646991" y="6110037"/>
                </a:moveTo>
                <a:cubicBezTo>
                  <a:pt x="7641134" y="6110037"/>
                  <a:pt x="7638604" y="6111900"/>
                  <a:pt x="7637007" y="6113631"/>
                </a:cubicBezTo>
                <a:cubicBezTo>
                  <a:pt x="7634478" y="6116293"/>
                  <a:pt x="7633413" y="6119089"/>
                  <a:pt x="7633413" y="6123082"/>
                </a:cubicBezTo>
                <a:cubicBezTo>
                  <a:pt x="7633413" y="6127209"/>
                  <a:pt x="7634478" y="6130004"/>
                  <a:pt x="7637007" y="6132533"/>
                </a:cubicBezTo>
                <a:cubicBezTo>
                  <a:pt x="7638604" y="6134132"/>
                  <a:pt x="7641134" y="6135995"/>
                  <a:pt x="7646991" y="6135995"/>
                </a:cubicBezTo>
                <a:cubicBezTo>
                  <a:pt x="7648987" y="6135995"/>
                  <a:pt x="7650851" y="6135596"/>
                  <a:pt x="7652315" y="6135063"/>
                </a:cubicBezTo>
                <a:cubicBezTo>
                  <a:pt x="7653780" y="6134531"/>
                  <a:pt x="7655111" y="6133599"/>
                  <a:pt x="7656042" y="6132666"/>
                </a:cubicBezTo>
                <a:cubicBezTo>
                  <a:pt x="7657108" y="6131468"/>
                  <a:pt x="7658039" y="6130137"/>
                  <a:pt x="7658705" y="6128407"/>
                </a:cubicBezTo>
                <a:cubicBezTo>
                  <a:pt x="7659504" y="6126809"/>
                  <a:pt x="7659769" y="6124946"/>
                  <a:pt x="7659769" y="6122949"/>
                </a:cubicBezTo>
                <a:cubicBezTo>
                  <a:pt x="7659769" y="6121085"/>
                  <a:pt x="7659370" y="6119355"/>
                  <a:pt x="7658705" y="6117758"/>
                </a:cubicBezTo>
                <a:cubicBezTo>
                  <a:pt x="7658039" y="6116160"/>
                  <a:pt x="7657108" y="6114829"/>
                  <a:pt x="7656042" y="6113631"/>
                </a:cubicBezTo>
                <a:cubicBezTo>
                  <a:pt x="7654977" y="6112566"/>
                  <a:pt x="7653646" y="6111634"/>
                  <a:pt x="7652049" y="6110968"/>
                </a:cubicBezTo>
                <a:cubicBezTo>
                  <a:pt x="7650584" y="6110303"/>
                  <a:pt x="7648987" y="6110037"/>
                  <a:pt x="7646991" y="6110037"/>
                </a:cubicBezTo>
                <a:close/>
                <a:moveTo>
                  <a:pt x="7429345" y="6110037"/>
                </a:moveTo>
                <a:cubicBezTo>
                  <a:pt x="7423488" y="6110037"/>
                  <a:pt x="7420958" y="6111900"/>
                  <a:pt x="7419361" y="6113631"/>
                </a:cubicBezTo>
                <a:cubicBezTo>
                  <a:pt x="7416832" y="6116293"/>
                  <a:pt x="7415768" y="6119089"/>
                  <a:pt x="7415768" y="6123082"/>
                </a:cubicBezTo>
                <a:cubicBezTo>
                  <a:pt x="7415768" y="6127209"/>
                  <a:pt x="7416832" y="6130004"/>
                  <a:pt x="7419361" y="6132533"/>
                </a:cubicBezTo>
                <a:cubicBezTo>
                  <a:pt x="7420958" y="6134132"/>
                  <a:pt x="7423488" y="6135995"/>
                  <a:pt x="7429345" y="6135995"/>
                </a:cubicBezTo>
                <a:cubicBezTo>
                  <a:pt x="7431342" y="6135995"/>
                  <a:pt x="7433206" y="6135596"/>
                  <a:pt x="7434670" y="6135063"/>
                </a:cubicBezTo>
                <a:cubicBezTo>
                  <a:pt x="7436134" y="6134531"/>
                  <a:pt x="7437466" y="6133599"/>
                  <a:pt x="7438397" y="6132666"/>
                </a:cubicBezTo>
                <a:cubicBezTo>
                  <a:pt x="7439462" y="6131468"/>
                  <a:pt x="7440394" y="6130137"/>
                  <a:pt x="7441059" y="6128407"/>
                </a:cubicBezTo>
                <a:cubicBezTo>
                  <a:pt x="7441858" y="6126809"/>
                  <a:pt x="7442124" y="6124946"/>
                  <a:pt x="7442124" y="6122949"/>
                </a:cubicBezTo>
                <a:cubicBezTo>
                  <a:pt x="7442124" y="6121085"/>
                  <a:pt x="7441725" y="6119355"/>
                  <a:pt x="7441059" y="6117758"/>
                </a:cubicBezTo>
                <a:cubicBezTo>
                  <a:pt x="7440394" y="6116160"/>
                  <a:pt x="7439462" y="6114829"/>
                  <a:pt x="7438397" y="6113631"/>
                </a:cubicBezTo>
                <a:cubicBezTo>
                  <a:pt x="7437332" y="6112566"/>
                  <a:pt x="7436001" y="6111634"/>
                  <a:pt x="7434403" y="6110968"/>
                </a:cubicBezTo>
                <a:cubicBezTo>
                  <a:pt x="7432939" y="6110303"/>
                  <a:pt x="7431342" y="6110037"/>
                  <a:pt x="7429345" y="6110037"/>
                </a:cubicBezTo>
                <a:close/>
                <a:moveTo>
                  <a:pt x="7211701" y="6110037"/>
                </a:moveTo>
                <a:cubicBezTo>
                  <a:pt x="7205844" y="6110037"/>
                  <a:pt x="7203314" y="6111900"/>
                  <a:pt x="7201717" y="6113631"/>
                </a:cubicBezTo>
                <a:cubicBezTo>
                  <a:pt x="7199188" y="6116293"/>
                  <a:pt x="7198123" y="6119089"/>
                  <a:pt x="7198123" y="6123082"/>
                </a:cubicBezTo>
                <a:cubicBezTo>
                  <a:pt x="7198123" y="6127209"/>
                  <a:pt x="7199188" y="6130004"/>
                  <a:pt x="7201717" y="6132533"/>
                </a:cubicBezTo>
                <a:cubicBezTo>
                  <a:pt x="7203314" y="6134132"/>
                  <a:pt x="7205844" y="6135995"/>
                  <a:pt x="7211701" y="6135995"/>
                </a:cubicBezTo>
                <a:cubicBezTo>
                  <a:pt x="7213830" y="6135995"/>
                  <a:pt x="7215561" y="6135596"/>
                  <a:pt x="7217026" y="6135063"/>
                </a:cubicBezTo>
                <a:cubicBezTo>
                  <a:pt x="7218490" y="6134531"/>
                  <a:pt x="7219821" y="6133599"/>
                  <a:pt x="7220752" y="6132666"/>
                </a:cubicBezTo>
                <a:cubicBezTo>
                  <a:pt x="7221818" y="6131468"/>
                  <a:pt x="7222750" y="6130137"/>
                  <a:pt x="7223415" y="6128407"/>
                </a:cubicBezTo>
                <a:cubicBezTo>
                  <a:pt x="7224214" y="6126809"/>
                  <a:pt x="7224480" y="6124946"/>
                  <a:pt x="7224480" y="6122949"/>
                </a:cubicBezTo>
                <a:cubicBezTo>
                  <a:pt x="7224480" y="6121085"/>
                  <a:pt x="7224080" y="6119355"/>
                  <a:pt x="7223415" y="6117758"/>
                </a:cubicBezTo>
                <a:cubicBezTo>
                  <a:pt x="7222750" y="6116160"/>
                  <a:pt x="7221818" y="6114829"/>
                  <a:pt x="7220752" y="6113631"/>
                </a:cubicBezTo>
                <a:cubicBezTo>
                  <a:pt x="7219687" y="6112566"/>
                  <a:pt x="7218356" y="6111634"/>
                  <a:pt x="7216759" y="6110968"/>
                </a:cubicBezTo>
                <a:cubicBezTo>
                  <a:pt x="7215295" y="6110303"/>
                  <a:pt x="7213698" y="6110037"/>
                  <a:pt x="7211701" y="6110037"/>
                </a:cubicBezTo>
                <a:close/>
                <a:moveTo>
                  <a:pt x="6994056" y="6110037"/>
                </a:moveTo>
                <a:cubicBezTo>
                  <a:pt x="6988199" y="6110037"/>
                  <a:pt x="6985669" y="6111900"/>
                  <a:pt x="6984072" y="6113631"/>
                </a:cubicBezTo>
                <a:cubicBezTo>
                  <a:pt x="6981543" y="6116293"/>
                  <a:pt x="6980478" y="6119089"/>
                  <a:pt x="6980478" y="6123082"/>
                </a:cubicBezTo>
                <a:cubicBezTo>
                  <a:pt x="6980478" y="6127209"/>
                  <a:pt x="6981543" y="6130004"/>
                  <a:pt x="6984072" y="6132533"/>
                </a:cubicBezTo>
                <a:cubicBezTo>
                  <a:pt x="6985669" y="6134132"/>
                  <a:pt x="6988199" y="6135995"/>
                  <a:pt x="6994056" y="6135995"/>
                </a:cubicBezTo>
                <a:cubicBezTo>
                  <a:pt x="6996185" y="6135995"/>
                  <a:pt x="6997916" y="6135596"/>
                  <a:pt x="6999380" y="6135063"/>
                </a:cubicBezTo>
                <a:cubicBezTo>
                  <a:pt x="7000844" y="6134531"/>
                  <a:pt x="7002176" y="6133599"/>
                  <a:pt x="7003107" y="6132666"/>
                </a:cubicBezTo>
                <a:cubicBezTo>
                  <a:pt x="7004172" y="6131468"/>
                  <a:pt x="7005104" y="6130137"/>
                  <a:pt x="7005769" y="6128407"/>
                </a:cubicBezTo>
                <a:cubicBezTo>
                  <a:pt x="7006568" y="6126809"/>
                  <a:pt x="7006834" y="6124946"/>
                  <a:pt x="7006834" y="6122949"/>
                </a:cubicBezTo>
                <a:cubicBezTo>
                  <a:pt x="7006834" y="6121085"/>
                  <a:pt x="7006435" y="6119355"/>
                  <a:pt x="7005769" y="6117758"/>
                </a:cubicBezTo>
                <a:cubicBezTo>
                  <a:pt x="7005104" y="6116160"/>
                  <a:pt x="7004172" y="6114829"/>
                  <a:pt x="7003107" y="6113631"/>
                </a:cubicBezTo>
                <a:cubicBezTo>
                  <a:pt x="7002042" y="6112566"/>
                  <a:pt x="7000711" y="6111634"/>
                  <a:pt x="6999113" y="6110968"/>
                </a:cubicBezTo>
                <a:cubicBezTo>
                  <a:pt x="6997649" y="6110303"/>
                  <a:pt x="6996052" y="6110037"/>
                  <a:pt x="6994056" y="6110037"/>
                </a:cubicBezTo>
                <a:close/>
                <a:moveTo>
                  <a:pt x="6776544" y="6110037"/>
                </a:moveTo>
                <a:cubicBezTo>
                  <a:pt x="6770687" y="6110037"/>
                  <a:pt x="6768157" y="6111900"/>
                  <a:pt x="6766560" y="6113631"/>
                </a:cubicBezTo>
                <a:cubicBezTo>
                  <a:pt x="6764031" y="6116293"/>
                  <a:pt x="6762966" y="6119089"/>
                  <a:pt x="6762966" y="6123082"/>
                </a:cubicBezTo>
                <a:cubicBezTo>
                  <a:pt x="6762966" y="6127209"/>
                  <a:pt x="6764031" y="6130004"/>
                  <a:pt x="6766560" y="6132533"/>
                </a:cubicBezTo>
                <a:cubicBezTo>
                  <a:pt x="6768157" y="6134132"/>
                  <a:pt x="6770687" y="6135995"/>
                  <a:pt x="6776544" y="6135995"/>
                </a:cubicBezTo>
                <a:cubicBezTo>
                  <a:pt x="6778541" y="6135995"/>
                  <a:pt x="6780270" y="6135596"/>
                  <a:pt x="6781869" y="6135063"/>
                </a:cubicBezTo>
                <a:cubicBezTo>
                  <a:pt x="6783333" y="6134531"/>
                  <a:pt x="6784664" y="6133599"/>
                  <a:pt x="6785595" y="6132666"/>
                </a:cubicBezTo>
                <a:cubicBezTo>
                  <a:pt x="6786661" y="6131468"/>
                  <a:pt x="6787593" y="6130137"/>
                  <a:pt x="6788258" y="6128407"/>
                </a:cubicBezTo>
                <a:cubicBezTo>
                  <a:pt x="6789057" y="6126809"/>
                  <a:pt x="6789323" y="6124946"/>
                  <a:pt x="6789323" y="6122949"/>
                </a:cubicBezTo>
                <a:cubicBezTo>
                  <a:pt x="6789323" y="6121085"/>
                  <a:pt x="6788923" y="6119355"/>
                  <a:pt x="6788258" y="6117758"/>
                </a:cubicBezTo>
                <a:cubicBezTo>
                  <a:pt x="6787593" y="6116160"/>
                  <a:pt x="6786661" y="6114829"/>
                  <a:pt x="6785595" y="6113631"/>
                </a:cubicBezTo>
                <a:cubicBezTo>
                  <a:pt x="6784530" y="6112566"/>
                  <a:pt x="6783199" y="6111634"/>
                  <a:pt x="6781602" y="6110968"/>
                </a:cubicBezTo>
                <a:cubicBezTo>
                  <a:pt x="6780138" y="6110303"/>
                  <a:pt x="6778541" y="6110037"/>
                  <a:pt x="6776544" y="6110037"/>
                </a:cubicBezTo>
                <a:close/>
                <a:moveTo>
                  <a:pt x="6558899" y="6110037"/>
                </a:moveTo>
                <a:cubicBezTo>
                  <a:pt x="6553042" y="6110037"/>
                  <a:pt x="6550512" y="6111900"/>
                  <a:pt x="6548915" y="6113631"/>
                </a:cubicBezTo>
                <a:cubicBezTo>
                  <a:pt x="6546386" y="6116293"/>
                  <a:pt x="6545321" y="6119089"/>
                  <a:pt x="6545321" y="6123082"/>
                </a:cubicBezTo>
                <a:cubicBezTo>
                  <a:pt x="6545321" y="6127209"/>
                  <a:pt x="6546386" y="6130004"/>
                  <a:pt x="6548915" y="6132533"/>
                </a:cubicBezTo>
                <a:cubicBezTo>
                  <a:pt x="6550512" y="6134132"/>
                  <a:pt x="6553042" y="6135995"/>
                  <a:pt x="6558899" y="6135995"/>
                </a:cubicBezTo>
                <a:cubicBezTo>
                  <a:pt x="6560895" y="6135995"/>
                  <a:pt x="6562759" y="6135596"/>
                  <a:pt x="6564223" y="6135063"/>
                </a:cubicBezTo>
                <a:cubicBezTo>
                  <a:pt x="6565687" y="6134531"/>
                  <a:pt x="6567019" y="6133599"/>
                  <a:pt x="6567950" y="6132666"/>
                </a:cubicBezTo>
                <a:cubicBezTo>
                  <a:pt x="6569015" y="6131468"/>
                  <a:pt x="6569947" y="6130137"/>
                  <a:pt x="6570612" y="6128407"/>
                </a:cubicBezTo>
                <a:cubicBezTo>
                  <a:pt x="6571412" y="6126809"/>
                  <a:pt x="6571677" y="6124946"/>
                  <a:pt x="6571677" y="6122949"/>
                </a:cubicBezTo>
                <a:cubicBezTo>
                  <a:pt x="6571677" y="6121085"/>
                  <a:pt x="6571278" y="6119355"/>
                  <a:pt x="6570612" y="6117758"/>
                </a:cubicBezTo>
                <a:cubicBezTo>
                  <a:pt x="6569947" y="6116160"/>
                  <a:pt x="6569015" y="6114829"/>
                  <a:pt x="6567950" y="6113631"/>
                </a:cubicBezTo>
                <a:cubicBezTo>
                  <a:pt x="6566885" y="6112566"/>
                  <a:pt x="6565554" y="6111634"/>
                  <a:pt x="6563956" y="6110968"/>
                </a:cubicBezTo>
                <a:cubicBezTo>
                  <a:pt x="6562492" y="6110303"/>
                  <a:pt x="6560895" y="6110037"/>
                  <a:pt x="6558899" y="6110037"/>
                </a:cubicBezTo>
                <a:close/>
                <a:moveTo>
                  <a:pt x="6341253" y="6110037"/>
                </a:moveTo>
                <a:cubicBezTo>
                  <a:pt x="6335396" y="6110037"/>
                  <a:pt x="6332867" y="6111900"/>
                  <a:pt x="6331270" y="6113631"/>
                </a:cubicBezTo>
                <a:cubicBezTo>
                  <a:pt x="6328740" y="6116293"/>
                  <a:pt x="6327675" y="6119089"/>
                  <a:pt x="6327675" y="6123082"/>
                </a:cubicBezTo>
                <a:cubicBezTo>
                  <a:pt x="6327675" y="6127209"/>
                  <a:pt x="6328740" y="6130004"/>
                  <a:pt x="6331270" y="6132533"/>
                </a:cubicBezTo>
                <a:cubicBezTo>
                  <a:pt x="6332867" y="6134132"/>
                  <a:pt x="6335396" y="6135995"/>
                  <a:pt x="6341253" y="6135995"/>
                </a:cubicBezTo>
                <a:cubicBezTo>
                  <a:pt x="6343250" y="6135995"/>
                  <a:pt x="6345114" y="6135596"/>
                  <a:pt x="6346578" y="6135063"/>
                </a:cubicBezTo>
                <a:cubicBezTo>
                  <a:pt x="6348042" y="6134531"/>
                  <a:pt x="6349373" y="6133599"/>
                  <a:pt x="6350305" y="6132666"/>
                </a:cubicBezTo>
                <a:cubicBezTo>
                  <a:pt x="6351370" y="6131468"/>
                  <a:pt x="6352302" y="6130137"/>
                  <a:pt x="6352968" y="6128407"/>
                </a:cubicBezTo>
                <a:cubicBezTo>
                  <a:pt x="6353766" y="6126809"/>
                  <a:pt x="6354033" y="6124946"/>
                  <a:pt x="6354033" y="6122949"/>
                </a:cubicBezTo>
                <a:cubicBezTo>
                  <a:pt x="6354033" y="6121085"/>
                  <a:pt x="6353633" y="6119355"/>
                  <a:pt x="6352968" y="6117758"/>
                </a:cubicBezTo>
                <a:cubicBezTo>
                  <a:pt x="6352302" y="6116160"/>
                  <a:pt x="6351370" y="6114829"/>
                  <a:pt x="6350305" y="6113631"/>
                </a:cubicBezTo>
                <a:cubicBezTo>
                  <a:pt x="6349241" y="6112566"/>
                  <a:pt x="6347909" y="6111634"/>
                  <a:pt x="6346312" y="6110968"/>
                </a:cubicBezTo>
                <a:cubicBezTo>
                  <a:pt x="6344848" y="6110303"/>
                  <a:pt x="6343250" y="6110037"/>
                  <a:pt x="6341253" y="6110037"/>
                </a:cubicBezTo>
                <a:close/>
                <a:moveTo>
                  <a:pt x="6123608" y="6110037"/>
                </a:moveTo>
                <a:cubicBezTo>
                  <a:pt x="6117751" y="6110037"/>
                  <a:pt x="6115221" y="6111900"/>
                  <a:pt x="6113624" y="6113631"/>
                </a:cubicBezTo>
                <a:cubicBezTo>
                  <a:pt x="6111095" y="6116293"/>
                  <a:pt x="6110030" y="6119089"/>
                  <a:pt x="6110030" y="6123082"/>
                </a:cubicBezTo>
                <a:cubicBezTo>
                  <a:pt x="6110030" y="6127209"/>
                  <a:pt x="6111095" y="6130004"/>
                  <a:pt x="6113624" y="6132533"/>
                </a:cubicBezTo>
                <a:cubicBezTo>
                  <a:pt x="6115221" y="6134132"/>
                  <a:pt x="6117751" y="6135995"/>
                  <a:pt x="6123608" y="6135995"/>
                </a:cubicBezTo>
                <a:cubicBezTo>
                  <a:pt x="6125737" y="6135995"/>
                  <a:pt x="6127468" y="6135596"/>
                  <a:pt x="6128932" y="6135063"/>
                </a:cubicBezTo>
                <a:cubicBezTo>
                  <a:pt x="6130530" y="6134531"/>
                  <a:pt x="6131728" y="6133599"/>
                  <a:pt x="6132659" y="6132666"/>
                </a:cubicBezTo>
                <a:cubicBezTo>
                  <a:pt x="6133724" y="6131468"/>
                  <a:pt x="6134656" y="6130137"/>
                  <a:pt x="6135322" y="6128407"/>
                </a:cubicBezTo>
                <a:cubicBezTo>
                  <a:pt x="6135987" y="6126809"/>
                  <a:pt x="6136387" y="6124946"/>
                  <a:pt x="6136387" y="6122949"/>
                </a:cubicBezTo>
                <a:cubicBezTo>
                  <a:pt x="6136387" y="6121085"/>
                  <a:pt x="6135987" y="6119355"/>
                  <a:pt x="6135322" y="6117758"/>
                </a:cubicBezTo>
                <a:cubicBezTo>
                  <a:pt x="6134656" y="6116160"/>
                  <a:pt x="6133724" y="6114829"/>
                  <a:pt x="6132659" y="6113631"/>
                </a:cubicBezTo>
                <a:cubicBezTo>
                  <a:pt x="6131594" y="6112566"/>
                  <a:pt x="6130263" y="6111634"/>
                  <a:pt x="6128666" y="6110968"/>
                </a:cubicBezTo>
                <a:cubicBezTo>
                  <a:pt x="6127202" y="6110303"/>
                  <a:pt x="6125604" y="6110037"/>
                  <a:pt x="6123608" y="6110037"/>
                </a:cubicBezTo>
                <a:close/>
                <a:moveTo>
                  <a:pt x="5905963" y="6110037"/>
                </a:moveTo>
                <a:cubicBezTo>
                  <a:pt x="5900106" y="6110037"/>
                  <a:pt x="5897576" y="6111900"/>
                  <a:pt x="5895979" y="6113631"/>
                </a:cubicBezTo>
                <a:cubicBezTo>
                  <a:pt x="5893450" y="6116293"/>
                  <a:pt x="5892385" y="6119089"/>
                  <a:pt x="5892385" y="6123082"/>
                </a:cubicBezTo>
                <a:cubicBezTo>
                  <a:pt x="5892385" y="6127209"/>
                  <a:pt x="5893450" y="6130004"/>
                  <a:pt x="5895979" y="6132533"/>
                </a:cubicBezTo>
                <a:cubicBezTo>
                  <a:pt x="5897576" y="6134132"/>
                  <a:pt x="5900106" y="6135995"/>
                  <a:pt x="5905963" y="6135995"/>
                </a:cubicBezTo>
                <a:cubicBezTo>
                  <a:pt x="5908093" y="6135995"/>
                  <a:pt x="5909823" y="6135596"/>
                  <a:pt x="5911287" y="6135063"/>
                </a:cubicBezTo>
                <a:cubicBezTo>
                  <a:pt x="5912751" y="6134531"/>
                  <a:pt x="5914083" y="6133599"/>
                  <a:pt x="5915014" y="6132666"/>
                </a:cubicBezTo>
                <a:cubicBezTo>
                  <a:pt x="5916079" y="6131468"/>
                  <a:pt x="5917011" y="6130137"/>
                  <a:pt x="5917677" y="6128407"/>
                </a:cubicBezTo>
                <a:cubicBezTo>
                  <a:pt x="5918342" y="6126809"/>
                  <a:pt x="5918742" y="6124946"/>
                  <a:pt x="5918742" y="6122949"/>
                </a:cubicBezTo>
                <a:cubicBezTo>
                  <a:pt x="5918742" y="6121085"/>
                  <a:pt x="5918342" y="6119355"/>
                  <a:pt x="5917677" y="6117758"/>
                </a:cubicBezTo>
                <a:cubicBezTo>
                  <a:pt x="5917011" y="6116160"/>
                  <a:pt x="5916079" y="6114829"/>
                  <a:pt x="5915014" y="6113631"/>
                </a:cubicBezTo>
                <a:cubicBezTo>
                  <a:pt x="5913950" y="6112566"/>
                  <a:pt x="5912618" y="6111634"/>
                  <a:pt x="5911021" y="6110968"/>
                </a:cubicBezTo>
                <a:cubicBezTo>
                  <a:pt x="5909557" y="6110303"/>
                  <a:pt x="5907826" y="6110037"/>
                  <a:pt x="5905963" y="6110037"/>
                </a:cubicBezTo>
                <a:close/>
                <a:moveTo>
                  <a:pt x="5688451" y="6110037"/>
                </a:moveTo>
                <a:cubicBezTo>
                  <a:pt x="5682594" y="6110037"/>
                  <a:pt x="5680064" y="6111900"/>
                  <a:pt x="5678467" y="6113631"/>
                </a:cubicBezTo>
                <a:cubicBezTo>
                  <a:pt x="5675938" y="6116293"/>
                  <a:pt x="5674873" y="6119089"/>
                  <a:pt x="5674873" y="6123082"/>
                </a:cubicBezTo>
                <a:cubicBezTo>
                  <a:pt x="5674873" y="6127209"/>
                  <a:pt x="5675938" y="6130004"/>
                  <a:pt x="5678467" y="6132533"/>
                </a:cubicBezTo>
                <a:cubicBezTo>
                  <a:pt x="5680064" y="6134132"/>
                  <a:pt x="5682594" y="6135995"/>
                  <a:pt x="5688451" y="6135995"/>
                </a:cubicBezTo>
                <a:cubicBezTo>
                  <a:pt x="5690447" y="6135995"/>
                  <a:pt x="5692178" y="6135596"/>
                  <a:pt x="5693775" y="6135063"/>
                </a:cubicBezTo>
                <a:cubicBezTo>
                  <a:pt x="5695239" y="6134531"/>
                  <a:pt x="5696571" y="6133599"/>
                  <a:pt x="5697502" y="6132666"/>
                </a:cubicBezTo>
                <a:cubicBezTo>
                  <a:pt x="5698567" y="6131468"/>
                  <a:pt x="5699499" y="6130137"/>
                  <a:pt x="5700165" y="6128407"/>
                </a:cubicBezTo>
                <a:cubicBezTo>
                  <a:pt x="5700830" y="6126809"/>
                  <a:pt x="5701230" y="6124946"/>
                  <a:pt x="5701230" y="6122949"/>
                </a:cubicBezTo>
                <a:cubicBezTo>
                  <a:pt x="5701230" y="6121085"/>
                  <a:pt x="5700830" y="6119355"/>
                  <a:pt x="5700165" y="6117758"/>
                </a:cubicBezTo>
                <a:cubicBezTo>
                  <a:pt x="5699499" y="6116160"/>
                  <a:pt x="5698567" y="6114829"/>
                  <a:pt x="5697502" y="6113631"/>
                </a:cubicBezTo>
                <a:cubicBezTo>
                  <a:pt x="5696437" y="6112566"/>
                  <a:pt x="5695106" y="6111634"/>
                  <a:pt x="5693509" y="6110968"/>
                </a:cubicBezTo>
                <a:cubicBezTo>
                  <a:pt x="5692045" y="6110303"/>
                  <a:pt x="5690314" y="6110037"/>
                  <a:pt x="5688451" y="6110037"/>
                </a:cubicBezTo>
                <a:close/>
                <a:moveTo>
                  <a:pt x="5470806" y="6110037"/>
                </a:moveTo>
                <a:cubicBezTo>
                  <a:pt x="5464949" y="6110037"/>
                  <a:pt x="5462419" y="6111900"/>
                  <a:pt x="5460822" y="6113631"/>
                </a:cubicBezTo>
                <a:cubicBezTo>
                  <a:pt x="5458293" y="6116293"/>
                  <a:pt x="5457228" y="6119089"/>
                  <a:pt x="5457228" y="6123082"/>
                </a:cubicBezTo>
                <a:cubicBezTo>
                  <a:pt x="5457228" y="6127209"/>
                  <a:pt x="5458293" y="6130004"/>
                  <a:pt x="5460822" y="6132533"/>
                </a:cubicBezTo>
                <a:cubicBezTo>
                  <a:pt x="5462419" y="6134132"/>
                  <a:pt x="5464949" y="6135995"/>
                  <a:pt x="5470806" y="6135995"/>
                </a:cubicBezTo>
                <a:cubicBezTo>
                  <a:pt x="5472802" y="6135995"/>
                  <a:pt x="5474666" y="6135596"/>
                  <a:pt x="5476130" y="6135063"/>
                </a:cubicBezTo>
                <a:cubicBezTo>
                  <a:pt x="5477594" y="6134531"/>
                  <a:pt x="5478926" y="6133599"/>
                  <a:pt x="5479857" y="6132666"/>
                </a:cubicBezTo>
                <a:cubicBezTo>
                  <a:pt x="5480922" y="6131468"/>
                  <a:pt x="5481854" y="6130137"/>
                  <a:pt x="5482520" y="6128407"/>
                </a:cubicBezTo>
                <a:cubicBezTo>
                  <a:pt x="5483319" y="6126809"/>
                  <a:pt x="5483585" y="6124946"/>
                  <a:pt x="5483585" y="6122949"/>
                </a:cubicBezTo>
                <a:cubicBezTo>
                  <a:pt x="5483585" y="6121085"/>
                  <a:pt x="5483185" y="6119355"/>
                  <a:pt x="5482520" y="6117758"/>
                </a:cubicBezTo>
                <a:cubicBezTo>
                  <a:pt x="5481854" y="6116160"/>
                  <a:pt x="5480922" y="6114829"/>
                  <a:pt x="5479857" y="6113631"/>
                </a:cubicBezTo>
                <a:cubicBezTo>
                  <a:pt x="5478793" y="6112566"/>
                  <a:pt x="5477461" y="6111634"/>
                  <a:pt x="5475864" y="6110968"/>
                </a:cubicBezTo>
                <a:cubicBezTo>
                  <a:pt x="5474400" y="6110303"/>
                  <a:pt x="5472669" y="6110037"/>
                  <a:pt x="5470806" y="6110037"/>
                </a:cubicBezTo>
                <a:close/>
                <a:moveTo>
                  <a:pt x="5253160" y="6110037"/>
                </a:moveTo>
                <a:cubicBezTo>
                  <a:pt x="5247303" y="6110037"/>
                  <a:pt x="5244774" y="6111900"/>
                  <a:pt x="5243177" y="6113631"/>
                </a:cubicBezTo>
                <a:cubicBezTo>
                  <a:pt x="5240647" y="6116293"/>
                  <a:pt x="5239583" y="6119089"/>
                  <a:pt x="5239583" y="6123082"/>
                </a:cubicBezTo>
                <a:cubicBezTo>
                  <a:pt x="5239583" y="6127209"/>
                  <a:pt x="5240647" y="6130004"/>
                  <a:pt x="5243177" y="6132533"/>
                </a:cubicBezTo>
                <a:cubicBezTo>
                  <a:pt x="5244774" y="6134132"/>
                  <a:pt x="5247303" y="6135995"/>
                  <a:pt x="5253160" y="6135995"/>
                </a:cubicBezTo>
                <a:cubicBezTo>
                  <a:pt x="5255157" y="6135995"/>
                  <a:pt x="5257021" y="6135596"/>
                  <a:pt x="5258485" y="6135063"/>
                </a:cubicBezTo>
                <a:cubicBezTo>
                  <a:pt x="5259949" y="6134531"/>
                  <a:pt x="5261280" y="6133599"/>
                  <a:pt x="5262212" y="6132666"/>
                </a:cubicBezTo>
                <a:cubicBezTo>
                  <a:pt x="5263277" y="6131468"/>
                  <a:pt x="5264209" y="6130137"/>
                  <a:pt x="5264875" y="6128407"/>
                </a:cubicBezTo>
                <a:cubicBezTo>
                  <a:pt x="5265673" y="6126809"/>
                  <a:pt x="5265939" y="6124946"/>
                  <a:pt x="5265939" y="6122949"/>
                </a:cubicBezTo>
                <a:cubicBezTo>
                  <a:pt x="5265939" y="6121085"/>
                  <a:pt x="5265540" y="6119355"/>
                  <a:pt x="5264875" y="6117758"/>
                </a:cubicBezTo>
                <a:cubicBezTo>
                  <a:pt x="5264209" y="6116160"/>
                  <a:pt x="5263277" y="6114829"/>
                  <a:pt x="5262212" y="6113631"/>
                </a:cubicBezTo>
                <a:cubicBezTo>
                  <a:pt x="5261147" y="6112566"/>
                  <a:pt x="5259816" y="6111634"/>
                  <a:pt x="5258219" y="6110968"/>
                </a:cubicBezTo>
                <a:cubicBezTo>
                  <a:pt x="5256754" y="6110303"/>
                  <a:pt x="5255024" y="6110037"/>
                  <a:pt x="5253160" y="6110037"/>
                </a:cubicBezTo>
                <a:close/>
                <a:moveTo>
                  <a:pt x="5035515" y="6110037"/>
                </a:moveTo>
                <a:cubicBezTo>
                  <a:pt x="5029658" y="6110037"/>
                  <a:pt x="5027129" y="6111900"/>
                  <a:pt x="5025532" y="6113631"/>
                </a:cubicBezTo>
                <a:cubicBezTo>
                  <a:pt x="5023002" y="6116293"/>
                  <a:pt x="5021938" y="6119089"/>
                  <a:pt x="5021938" y="6123082"/>
                </a:cubicBezTo>
                <a:cubicBezTo>
                  <a:pt x="5021938" y="6127209"/>
                  <a:pt x="5023002" y="6130004"/>
                  <a:pt x="5025532" y="6132533"/>
                </a:cubicBezTo>
                <a:cubicBezTo>
                  <a:pt x="5027129" y="6134132"/>
                  <a:pt x="5029658" y="6135995"/>
                  <a:pt x="5035515" y="6135995"/>
                </a:cubicBezTo>
                <a:cubicBezTo>
                  <a:pt x="5037645" y="6135995"/>
                  <a:pt x="5039376" y="6135596"/>
                  <a:pt x="5040840" y="6135063"/>
                </a:cubicBezTo>
                <a:cubicBezTo>
                  <a:pt x="5042304" y="6134531"/>
                  <a:pt x="5043636" y="6133599"/>
                  <a:pt x="5044567" y="6132666"/>
                </a:cubicBezTo>
                <a:cubicBezTo>
                  <a:pt x="5045632" y="6131468"/>
                  <a:pt x="5046564" y="6130137"/>
                  <a:pt x="5047230" y="6128407"/>
                </a:cubicBezTo>
                <a:cubicBezTo>
                  <a:pt x="5048028" y="6126809"/>
                  <a:pt x="5048294" y="6124946"/>
                  <a:pt x="5048294" y="6122949"/>
                </a:cubicBezTo>
                <a:cubicBezTo>
                  <a:pt x="5048294" y="6121085"/>
                  <a:pt x="5047895" y="6119355"/>
                  <a:pt x="5047230" y="6117758"/>
                </a:cubicBezTo>
                <a:cubicBezTo>
                  <a:pt x="5046564" y="6116160"/>
                  <a:pt x="5045632" y="6114829"/>
                  <a:pt x="5044567" y="6113631"/>
                </a:cubicBezTo>
                <a:cubicBezTo>
                  <a:pt x="5043502" y="6112566"/>
                  <a:pt x="5042171" y="6111634"/>
                  <a:pt x="5040574" y="6110968"/>
                </a:cubicBezTo>
                <a:cubicBezTo>
                  <a:pt x="5039110" y="6110303"/>
                  <a:pt x="5037379" y="6110037"/>
                  <a:pt x="5035515" y="6110037"/>
                </a:cubicBezTo>
                <a:close/>
                <a:moveTo>
                  <a:pt x="4817870" y="6110037"/>
                </a:moveTo>
                <a:cubicBezTo>
                  <a:pt x="4812013" y="6110037"/>
                  <a:pt x="4809484" y="6111900"/>
                  <a:pt x="4807887" y="6113631"/>
                </a:cubicBezTo>
                <a:cubicBezTo>
                  <a:pt x="4805357" y="6116293"/>
                  <a:pt x="4804293" y="6119089"/>
                  <a:pt x="4804293" y="6123082"/>
                </a:cubicBezTo>
                <a:cubicBezTo>
                  <a:pt x="4804293" y="6127209"/>
                  <a:pt x="4805357" y="6130004"/>
                  <a:pt x="4807887" y="6132533"/>
                </a:cubicBezTo>
                <a:cubicBezTo>
                  <a:pt x="4809484" y="6134132"/>
                  <a:pt x="4812013" y="6135995"/>
                  <a:pt x="4817870" y="6135995"/>
                </a:cubicBezTo>
                <a:cubicBezTo>
                  <a:pt x="4820000" y="6135995"/>
                  <a:pt x="4821731" y="6135596"/>
                  <a:pt x="4823195" y="6135063"/>
                </a:cubicBezTo>
                <a:cubicBezTo>
                  <a:pt x="4824659" y="6134531"/>
                  <a:pt x="4825857" y="6133599"/>
                  <a:pt x="4826922" y="6132666"/>
                </a:cubicBezTo>
                <a:cubicBezTo>
                  <a:pt x="4827987" y="6131468"/>
                  <a:pt x="4828919" y="6130137"/>
                  <a:pt x="4829585" y="6128407"/>
                </a:cubicBezTo>
                <a:cubicBezTo>
                  <a:pt x="4830383" y="6126809"/>
                  <a:pt x="4830650" y="6124946"/>
                  <a:pt x="4830650" y="6122949"/>
                </a:cubicBezTo>
                <a:cubicBezTo>
                  <a:pt x="4830650" y="6121085"/>
                  <a:pt x="4830250" y="6119355"/>
                  <a:pt x="4829585" y="6117758"/>
                </a:cubicBezTo>
                <a:cubicBezTo>
                  <a:pt x="4828919" y="6116160"/>
                  <a:pt x="4827987" y="6114829"/>
                  <a:pt x="4826922" y="6113631"/>
                </a:cubicBezTo>
                <a:cubicBezTo>
                  <a:pt x="4825857" y="6112566"/>
                  <a:pt x="4824526" y="6111634"/>
                  <a:pt x="4822929" y="6110968"/>
                </a:cubicBezTo>
                <a:cubicBezTo>
                  <a:pt x="4821465" y="6110303"/>
                  <a:pt x="4819734" y="6110037"/>
                  <a:pt x="4817870" y="6110037"/>
                </a:cubicBezTo>
                <a:close/>
                <a:moveTo>
                  <a:pt x="4600226" y="6110037"/>
                </a:moveTo>
                <a:cubicBezTo>
                  <a:pt x="4594369" y="6110037"/>
                  <a:pt x="4591839" y="6111900"/>
                  <a:pt x="4590242" y="6113631"/>
                </a:cubicBezTo>
                <a:cubicBezTo>
                  <a:pt x="4587713" y="6116293"/>
                  <a:pt x="4586648" y="6119089"/>
                  <a:pt x="4586648" y="6123082"/>
                </a:cubicBezTo>
                <a:cubicBezTo>
                  <a:pt x="4586648" y="6127209"/>
                  <a:pt x="4587713" y="6130004"/>
                  <a:pt x="4590242" y="6132533"/>
                </a:cubicBezTo>
                <a:cubicBezTo>
                  <a:pt x="4591839" y="6134132"/>
                  <a:pt x="4594369" y="6135995"/>
                  <a:pt x="4600226" y="6135995"/>
                </a:cubicBezTo>
                <a:cubicBezTo>
                  <a:pt x="4602355" y="6135995"/>
                  <a:pt x="4604086" y="6135596"/>
                  <a:pt x="4605550" y="6135063"/>
                </a:cubicBezTo>
                <a:cubicBezTo>
                  <a:pt x="4607148" y="6134531"/>
                  <a:pt x="4608346" y="6133599"/>
                  <a:pt x="4609277" y="6132666"/>
                </a:cubicBezTo>
                <a:cubicBezTo>
                  <a:pt x="4610342" y="6131468"/>
                  <a:pt x="4611274" y="6130137"/>
                  <a:pt x="4611940" y="6128407"/>
                </a:cubicBezTo>
                <a:cubicBezTo>
                  <a:pt x="4612605" y="6126809"/>
                  <a:pt x="4613005" y="6124946"/>
                  <a:pt x="4613005" y="6122949"/>
                </a:cubicBezTo>
                <a:cubicBezTo>
                  <a:pt x="4613005" y="6121085"/>
                  <a:pt x="4612605" y="6119355"/>
                  <a:pt x="4611940" y="6117758"/>
                </a:cubicBezTo>
                <a:cubicBezTo>
                  <a:pt x="4611274" y="6116160"/>
                  <a:pt x="4610342" y="6114829"/>
                  <a:pt x="4609277" y="6113631"/>
                </a:cubicBezTo>
                <a:cubicBezTo>
                  <a:pt x="4608212" y="6112566"/>
                  <a:pt x="4606881" y="6111634"/>
                  <a:pt x="4605284" y="6110968"/>
                </a:cubicBezTo>
                <a:cubicBezTo>
                  <a:pt x="4603820" y="6110303"/>
                  <a:pt x="4602222" y="6110037"/>
                  <a:pt x="4600226" y="6110037"/>
                </a:cubicBezTo>
                <a:close/>
                <a:moveTo>
                  <a:pt x="4382713" y="6110037"/>
                </a:moveTo>
                <a:cubicBezTo>
                  <a:pt x="4376857" y="6110037"/>
                  <a:pt x="4374327" y="6111900"/>
                  <a:pt x="4372730" y="6113631"/>
                </a:cubicBezTo>
                <a:cubicBezTo>
                  <a:pt x="4370201" y="6116293"/>
                  <a:pt x="4369136" y="6119089"/>
                  <a:pt x="4369136" y="6123082"/>
                </a:cubicBezTo>
                <a:cubicBezTo>
                  <a:pt x="4369136" y="6127209"/>
                  <a:pt x="4370201" y="6130004"/>
                  <a:pt x="4372730" y="6132533"/>
                </a:cubicBezTo>
                <a:cubicBezTo>
                  <a:pt x="4374327" y="6134132"/>
                  <a:pt x="4376857" y="6135995"/>
                  <a:pt x="4382713" y="6135995"/>
                </a:cubicBezTo>
                <a:cubicBezTo>
                  <a:pt x="4384710" y="6135995"/>
                  <a:pt x="4386441" y="6135596"/>
                  <a:pt x="4388038" y="6135063"/>
                </a:cubicBezTo>
                <a:cubicBezTo>
                  <a:pt x="4389502" y="6134531"/>
                  <a:pt x="4390834" y="6133599"/>
                  <a:pt x="4391765" y="6132666"/>
                </a:cubicBezTo>
                <a:cubicBezTo>
                  <a:pt x="4392830" y="6131468"/>
                  <a:pt x="4393762" y="6130137"/>
                  <a:pt x="4394428" y="6128407"/>
                </a:cubicBezTo>
                <a:cubicBezTo>
                  <a:pt x="4395093" y="6126809"/>
                  <a:pt x="4395493" y="6124946"/>
                  <a:pt x="4395493" y="6122949"/>
                </a:cubicBezTo>
                <a:cubicBezTo>
                  <a:pt x="4395493" y="6121085"/>
                  <a:pt x="4395093" y="6119355"/>
                  <a:pt x="4394428" y="6117758"/>
                </a:cubicBezTo>
                <a:cubicBezTo>
                  <a:pt x="4393762" y="6116160"/>
                  <a:pt x="4392830" y="6114829"/>
                  <a:pt x="4391765" y="6113631"/>
                </a:cubicBezTo>
                <a:cubicBezTo>
                  <a:pt x="4390700" y="6112566"/>
                  <a:pt x="4389369" y="6111634"/>
                  <a:pt x="4387772" y="6110968"/>
                </a:cubicBezTo>
                <a:cubicBezTo>
                  <a:pt x="4386308" y="6110303"/>
                  <a:pt x="4384710" y="6110037"/>
                  <a:pt x="4382713" y="6110037"/>
                </a:cubicBezTo>
                <a:close/>
                <a:moveTo>
                  <a:pt x="4165068" y="6110037"/>
                </a:moveTo>
                <a:cubicBezTo>
                  <a:pt x="4159211" y="6110037"/>
                  <a:pt x="4156681" y="6111900"/>
                  <a:pt x="4155084" y="6113631"/>
                </a:cubicBezTo>
                <a:cubicBezTo>
                  <a:pt x="4152555" y="6116293"/>
                  <a:pt x="4151490" y="6119089"/>
                  <a:pt x="4151490" y="6123082"/>
                </a:cubicBezTo>
                <a:cubicBezTo>
                  <a:pt x="4151490" y="6127209"/>
                  <a:pt x="4152555" y="6130004"/>
                  <a:pt x="4155084" y="6132533"/>
                </a:cubicBezTo>
                <a:cubicBezTo>
                  <a:pt x="4156681" y="6134132"/>
                  <a:pt x="4159211" y="6135995"/>
                  <a:pt x="4165068" y="6135995"/>
                </a:cubicBezTo>
                <a:cubicBezTo>
                  <a:pt x="4167064" y="6135995"/>
                  <a:pt x="4168928" y="6135596"/>
                  <a:pt x="4170392" y="6135063"/>
                </a:cubicBezTo>
                <a:cubicBezTo>
                  <a:pt x="4171856" y="6134531"/>
                  <a:pt x="4173188" y="6133599"/>
                  <a:pt x="4174119" y="6132666"/>
                </a:cubicBezTo>
                <a:cubicBezTo>
                  <a:pt x="4175184" y="6131468"/>
                  <a:pt x="4176116" y="6130137"/>
                  <a:pt x="4176782" y="6128407"/>
                </a:cubicBezTo>
                <a:cubicBezTo>
                  <a:pt x="4177447" y="6126809"/>
                  <a:pt x="4177847" y="6124946"/>
                  <a:pt x="4177847" y="6122949"/>
                </a:cubicBezTo>
                <a:cubicBezTo>
                  <a:pt x="4177847" y="6121085"/>
                  <a:pt x="4177447" y="6119355"/>
                  <a:pt x="4176782" y="6117758"/>
                </a:cubicBezTo>
                <a:cubicBezTo>
                  <a:pt x="4176116" y="6116160"/>
                  <a:pt x="4175184" y="6114829"/>
                  <a:pt x="4174119" y="6113631"/>
                </a:cubicBezTo>
                <a:cubicBezTo>
                  <a:pt x="4173054" y="6112566"/>
                  <a:pt x="4171723" y="6111634"/>
                  <a:pt x="4170126" y="6110968"/>
                </a:cubicBezTo>
                <a:cubicBezTo>
                  <a:pt x="4168662" y="6110303"/>
                  <a:pt x="4167064" y="6110037"/>
                  <a:pt x="4165068" y="6110037"/>
                </a:cubicBezTo>
                <a:close/>
                <a:moveTo>
                  <a:pt x="3947756" y="6110037"/>
                </a:moveTo>
                <a:cubicBezTo>
                  <a:pt x="3941898" y="6110037"/>
                  <a:pt x="3939369" y="6111900"/>
                  <a:pt x="3937773" y="6113631"/>
                </a:cubicBezTo>
                <a:cubicBezTo>
                  <a:pt x="3935241" y="6116293"/>
                  <a:pt x="3934178" y="6119089"/>
                  <a:pt x="3934178" y="6123082"/>
                </a:cubicBezTo>
                <a:cubicBezTo>
                  <a:pt x="3934178" y="6127209"/>
                  <a:pt x="3935241" y="6130004"/>
                  <a:pt x="3937773" y="6132533"/>
                </a:cubicBezTo>
                <a:cubicBezTo>
                  <a:pt x="3939369" y="6134132"/>
                  <a:pt x="3941898" y="6135995"/>
                  <a:pt x="3947756" y="6135995"/>
                </a:cubicBezTo>
                <a:cubicBezTo>
                  <a:pt x="3949753" y="6135995"/>
                  <a:pt x="3951618" y="6135596"/>
                  <a:pt x="3953084" y="6135063"/>
                </a:cubicBezTo>
                <a:cubicBezTo>
                  <a:pt x="3954548" y="6134531"/>
                  <a:pt x="3955879" y="6133599"/>
                  <a:pt x="3956811" y="6132666"/>
                </a:cubicBezTo>
                <a:cubicBezTo>
                  <a:pt x="3957876" y="6131468"/>
                  <a:pt x="3958809" y="6130137"/>
                  <a:pt x="3959474" y="6128407"/>
                </a:cubicBezTo>
                <a:cubicBezTo>
                  <a:pt x="3960139" y="6126809"/>
                  <a:pt x="3960539" y="6124946"/>
                  <a:pt x="3960539" y="6122949"/>
                </a:cubicBezTo>
                <a:cubicBezTo>
                  <a:pt x="3960539" y="6121085"/>
                  <a:pt x="3960139" y="6119355"/>
                  <a:pt x="3959474" y="6117758"/>
                </a:cubicBezTo>
                <a:cubicBezTo>
                  <a:pt x="3958809" y="6116160"/>
                  <a:pt x="3957876" y="6114829"/>
                  <a:pt x="3956811" y="6113631"/>
                </a:cubicBezTo>
                <a:cubicBezTo>
                  <a:pt x="3955746" y="6112566"/>
                  <a:pt x="3954415" y="6111634"/>
                  <a:pt x="3952818" y="6110968"/>
                </a:cubicBezTo>
                <a:cubicBezTo>
                  <a:pt x="3951351" y="6110303"/>
                  <a:pt x="3949753" y="6110037"/>
                  <a:pt x="3947756" y="6110037"/>
                </a:cubicBezTo>
                <a:close/>
                <a:moveTo>
                  <a:pt x="3730096" y="6110037"/>
                </a:moveTo>
                <a:cubicBezTo>
                  <a:pt x="3724238" y="6110037"/>
                  <a:pt x="3721708" y="6111900"/>
                  <a:pt x="3720109" y="6113631"/>
                </a:cubicBezTo>
                <a:cubicBezTo>
                  <a:pt x="3717579" y="6116293"/>
                  <a:pt x="3716516" y="6119089"/>
                  <a:pt x="3716516" y="6123082"/>
                </a:cubicBezTo>
                <a:cubicBezTo>
                  <a:pt x="3716516" y="6127209"/>
                  <a:pt x="3717579" y="6130004"/>
                  <a:pt x="3720109" y="6132533"/>
                </a:cubicBezTo>
                <a:cubicBezTo>
                  <a:pt x="3721708" y="6134132"/>
                  <a:pt x="3724238" y="6135995"/>
                  <a:pt x="3730096" y="6135995"/>
                </a:cubicBezTo>
                <a:cubicBezTo>
                  <a:pt x="3732226" y="6135995"/>
                  <a:pt x="3733958" y="6135596"/>
                  <a:pt x="3735421" y="6135063"/>
                </a:cubicBezTo>
                <a:cubicBezTo>
                  <a:pt x="3736885" y="6134531"/>
                  <a:pt x="3738218" y="6133599"/>
                  <a:pt x="3739148" y="6132666"/>
                </a:cubicBezTo>
                <a:cubicBezTo>
                  <a:pt x="3740214" y="6131468"/>
                  <a:pt x="3741146" y="6130137"/>
                  <a:pt x="3741812" y="6128407"/>
                </a:cubicBezTo>
                <a:cubicBezTo>
                  <a:pt x="3742477" y="6126809"/>
                  <a:pt x="3742876" y="6124946"/>
                  <a:pt x="3742876" y="6122949"/>
                </a:cubicBezTo>
                <a:cubicBezTo>
                  <a:pt x="3742876" y="6121085"/>
                  <a:pt x="3742477" y="6119355"/>
                  <a:pt x="3741812" y="6117758"/>
                </a:cubicBezTo>
                <a:cubicBezTo>
                  <a:pt x="3741146" y="6116160"/>
                  <a:pt x="3740214" y="6114829"/>
                  <a:pt x="3739148" y="6113631"/>
                </a:cubicBezTo>
                <a:cubicBezTo>
                  <a:pt x="3738084" y="6112566"/>
                  <a:pt x="3736753" y="6111634"/>
                  <a:pt x="3735155" y="6110968"/>
                </a:cubicBezTo>
                <a:cubicBezTo>
                  <a:pt x="3733691" y="6110303"/>
                  <a:pt x="3732093" y="6110037"/>
                  <a:pt x="3730096" y="6110037"/>
                </a:cubicBezTo>
                <a:close/>
                <a:moveTo>
                  <a:pt x="3512433" y="6110037"/>
                </a:moveTo>
                <a:cubicBezTo>
                  <a:pt x="3506574" y="6110037"/>
                  <a:pt x="3504043" y="6111900"/>
                  <a:pt x="3502444" y="6113631"/>
                </a:cubicBezTo>
                <a:cubicBezTo>
                  <a:pt x="3499914" y="6116293"/>
                  <a:pt x="3498851" y="6119089"/>
                  <a:pt x="3498851" y="6123082"/>
                </a:cubicBezTo>
                <a:cubicBezTo>
                  <a:pt x="3498851" y="6127209"/>
                  <a:pt x="3499914" y="6130004"/>
                  <a:pt x="3502444" y="6132533"/>
                </a:cubicBezTo>
                <a:cubicBezTo>
                  <a:pt x="3504043" y="6134132"/>
                  <a:pt x="3506574" y="6135995"/>
                  <a:pt x="3512433" y="6135995"/>
                </a:cubicBezTo>
                <a:cubicBezTo>
                  <a:pt x="3514563" y="6135995"/>
                  <a:pt x="3516295" y="6135596"/>
                  <a:pt x="3517759" y="6135063"/>
                </a:cubicBezTo>
                <a:cubicBezTo>
                  <a:pt x="3519223" y="6134531"/>
                  <a:pt x="3520555" y="6133599"/>
                  <a:pt x="3521486" y="6132666"/>
                </a:cubicBezTo>
                <a:cubicBezTo>
                  <a:pt x="3522551" y="6131468"/>
                  <a:pt x="3523483" y="6130137"/>
                  <a:pt x="3524149" y="6128407"/>
                </a:cubicBezTo>
                <a:cubicBezTo>
                  <a:pt x="3524814" y="6126809"/>
                  <a:pt x="3525214" y="6124946"/>
                  <a:pt x="3525214" y="6122949"/>
                </a:cubicBezTo>
                <a:cubicBezTo>
                  <a:pt x="3525214" y="6121085"/>
                  <a:pt x="3524814" y="6119355"/>
                  <a:pt x="3524149" y="6117758"/>
                </a:cubicBezTo>
                <a:cubicBezTo>
                  <a:pt x="3523483" y="6116160"/>
                  <a:pt x="3522551" y="6114829"/>
                  <a:pt x="3521486" y="6113631"/>
                </a:cubicBezTo>
                <a:cubicBezTo>
                  <a:pt x="3520421" y="6112566"/>
                  <a:pt x="3519090" y="6111634"/>
                  <a:pt x="3517493" y="6110968"/>
                </a:cubicBezTo>
                <a:cubicBezTo>
                  <a:pt x="3516029" y="6110303"/>
                  <a:pt x="3514431" y="6110037"/>
                  <a:pt x="3512433" y="6110037"/>
                </a:cubicBezTo>
                <a:close/>
                <a:moveTo>
                  <a:pt x="3294904" y="6110037"/>
                </a:moveTo>
                <a:cubicBezTo>
                  <a:pt x="3289045" y="6110037"/>
                  <a:pt x="3286514" y="6111900"/>
                  <a:pt x="3284917" y="6113631"/>
                </a:cubicBezTo>
                <a:cubicBezTo>
                  <a:pt x="3282387" y="6116293"/>
                  <a:pt x="3281323" y="6119089"/>
                  <a:pt x="3281323" y="6123082"/>
                </a:cubicBezTo>
                <a:cubicBezTo>
                  <a:pt x="3281323" y="6127209"/>
                  <a:pt x="3282387" y="6130004"/>
                  <a:pt x="3284917" y="6132533"/>
                </a:cubicBezTo>
                <a:cubicBezTo>
                  <a:pt x="3286514" y="6134132"/>
                  <a:pt x="3289045" y="6135995"/>
                  <a:pt x="3294904" y="6135995"/>
                </a:cubicBezTo>
                <a:cubicBezTo>
                  <a:pt x="3296901" y="6135995"/>
                  <a:pt x="3298632" y="6135596"/>
                  <a:pt x="3300230" y="6135063"/>
                </a:cubicBezTo>
                <a:cubicBezTo>
                  <a:pt x="3301694" y="6134531"/>
                  <a:pt x="3303026" y="6133599"/>
                  <a:pt x="3303957" y="6132666"/>
                </a:cubicBezTo>
                <a:cubicBezTo>
                  <a:pt x="3305022" y="6131468"/>
                  <a:pt x="3305954" y="6130137"/>
                  <a:pt x="3306620" y="6128407"/>
                </a:cubicBezTo>
                <a:cubicBezTo>
                  <a:pt x="3307285" y="6126809"/>
                  <a:pt x="3307684" y="6124946"/>
                  <a:pt x="3307684" y="6122949"/>
                </a:cubicBezTo>
                <a:cubicBezTo>
                  <a:pt x="3307684" y="6121085"/>
                  <a:pt x="3307285" y="6119355"/>
                  <a:pt x="3306620" y="6117758"/>
                </a:cubicBezTo>
                <a:cubicBezTo>
                  <a:pt x="3305954" y="6116160"/>
                  <a:pt x="3305022" y="6114829"/>
                  <a:pt x="3303957" y="6113631"/>
                </a:cubicBezTo>
                <a:cubicBezTo>
                  <a:pt x="3302892" y="6112566"/>
                  <a:pt x="3301560" y="6111634"/>
                  <a:pt x="3299964" y="6110968"/>
                </a:cubicBezTo>
                <a:cubicBezTo>
                  <a:pt x="3298500" y="6110303"/>
                  <a:pt x="3296901" y="6110037"/>
                  <a:pt x="3294904" y="6110037"/>
                </a:cubicBezTo>
                <a:close/>
                <a:moveTo>
                  <a:pt x="3077375" y="6110037"/>
                </a:moveTo>
                <a:cubicBezTo>
                  <a:pt x="3071517" y="6110037"/>
                  <a:pt x="3068987" y="6111900"/>
                  <a:pt x="3067391" y="6113631"/>
                </a:cubicBezTo>
                <a:cubicBezTo>
                  <a:pt x="3064725" y="6116293"/>
                  <a:pt x="3063660" y="6119089"/>
                  <a:pt x="3063660" y="6123082"/>
                </a:cubicBezTo>
                <a:cubicBezTo>
                  <a:pt x="3063660" y="6127209"/>
                  <a:pt x="3064725" y="6130004"/>
                  <a:pt x="3067256" y="6132533"/>
                </a:cubicBezTo>
                <a:cubicBezTo>
                  <a:pt x="3068854" y="6134132"/>
                  <a:pt x="3071384" y="6135995"/>
                  <a:pt x="3077241" y="6135995"/>
                </a:cubicBezTo>
                <a:cubicBezTo>
                  <a:pt x="3079239" y="6135995"/>
                  <a:pt x="3080969" y="6135596"/>
                  <a:pt x="3082700" y="6135063"/>
                </a:cubicBezTo>
                <a:cubicBezTo>
                  <a:pt x="3084165" y="6134531"/>
                  <a:pt x="3085496" y="6133599"/>
                  <a:pt x="3086427" y="6132666"/>
                </a:cubicBezTo>
                <a:cubicBezTo>
                  <a:pt x="3087492" y="6131468"/>
                  <a:pt x="3088424" y="6130137"/>
                  <a:pt x="3089090" y="6128407"/>
                </a:cubicBezTo>
                <a:cubicBezTo>
                  <a:pt x="3089755" y="6126809"/>
                  <a:pt x="3090022" y="6124946"/>
                  <a:pt x="3090022" y="6122949"/>
                </a:cubicBezTo>
                <a:cubicBezTo>
                  <a:pt x="3090022" y="6121085"/>
                  <a:pt x="3089755" y="6119355"/>
                  <a:pt x="3089090" y="6117758"/>
                </a:cubicBezTo>
                <a:cubicBezTo>
                  <a:pt x="3088424" y="6116160"/>
                  <a:pt x="3087492" y="6114829"/>
                  <a:pt x="3086427" y="6113631"/>
                </a:cubicBezTo>
                <a:cubicBezTo>
                  <a:pt x="3085363" y="6112566"/>
                  <a:pt x="3084031" y="6111634"/>
                  <a:pt x="3082434" y="6110968"/>
                </a:cubicBezTo>
                <a:cubicBezTo>
                  <a:pt x="3080969" y="6110303"/>
                  <a:pt x="3079372" y="6110037"/>
                  <a:pt x="3077375" y="6110037"/>
                </a:cubicBezTo>
                <a:close/>
                <a:moveTo>
                  <a:pt x="2859579" y="6110037"/>
                </a:moveTo>
                <a:cubicBezTo>
                  <a:pt x="2853722" y="6110037"/>
                  <a:pt x="2851192" y="6111900"/>
                  <a:pt x="2849593" y="6113631"/>
                </a:cubicBezTo>
                <a:cubicBezTo>
                  <a:pt x="2847060" y="6116293"/>
                  <a:pt x="2845994" y="6119089"/>
                  <a:pt x="2845994" y="6123082"/>
                </a:cubicBezTo>
                <a:cubicBezTo>
                  <a:pt x="2845994" y="6127209"/>
                  <a:pt x="2847060" y="6130004"/>
                  <a:pt x="2849593" y="6132533"/>
                </a:cubicBezTo>
                <a:cubicBezTo>
                  <a:pt x="2851192" y="6134132"/>
                  <a:pt x="2853722" y="6135995"/>
                  <a:pt x="2859579" y="6135995"/>
                </a:cubicBezTo>
                <a:cubicBezTo>
                  <a:pt x="2861576" y="6135995"/>
                  <a:pt x="2863440" y="6135596"/>
                  <a:pt x="2864904" y="6135063"/>
                </a:cubicBezTo>
                <a:cubicBezTo>
                  <a:pt x="2866502" y="6134531"/>
                  <a:pt x="2867701" y="6133599"/>
                  <a:pt x="2868631" y="6132666"/>
                </a:cubicBezTo>
                <a:cubicBezTo>
                  <a:pt x="2869696" y="6131468"/>
                  <a:pt x="2870629" y="6130137"/>
                  <a:pt x="2871294" y="6128407"/>
                </a:cubicBezTo>
                <a:cubicBezTo>
                  <a:pt x="2871826" y="6126809"/>
                  <a:pt x="2872225" y="6124946"/>
                  <a:pt x="2872225" y="6122949"/>
                </a:cubicBezTo>
                <a:cubicBezTo>
                  <a:pt x="2872225" y="6121085"/>
                  <a:pt x="2871959" y="6119355"/>
                  <a:pt x="2871294" y="6117758"/>
                </a:cubicBezTo>
                <a:cubicBezTo>
                  <a:pt x="2870629" y="6116160"/>
                  <a:pt x="2869696" y="6114829"/>
                  <a:pt x="2868631" y="6113631"/>
                </a:cubicBezTo>
                <a:cubicBezTo>
                  <a:pt x="2867567" y="6112566"/>
                  <a:pt x="2866235" y="6111634"/>
                  <a:pt x="2864639" y="6110968"/>
                </a:cubicBezTo>
                <a:cubicBezTo>
                  <a:pt x="2863175" y="6110303"/>
                  <a:pt x="2861576" y="6110037"/>
                  <a:pt x="2859579" y="6110037"/>
                </a:cubicBezTo>
                <a:close/>
                <a:moveTo>
                  <a:pt x="2641916" y="6110037"/>
                </a:moveTo>
                <a:cubicBezTo>
                  <a:pt x="2636059" y="6110037"/>
                  <a:pt x="2633530" y="6111900"/>
                  <a:pt x="2631933" y="6113631"/>
                </a:cubicBezTo>
                <a:cubicBezTo>
                  <a:pt x="2629403" y="6116293"/>
                  <a:pt x="2628339" y="6119089"/>
                  <a:pt x="2628339" y="6123082"/>
                </a:cubicBezTo>
                <a:cubicBezTo>
                  <a:pt x="2628339" y="6127209"/>
                  <a:pt x="2629403" y="6130004"/>
                  <a:pt x="2631933" y="6132533"/>
                </a:cubicBezTo>
                <a:cubicBezTo>
                  <a:pt x="2633530" y="6134132"/>
                  <a:pt x="2636059" y="6135995"/>
                  <a:pt x="2641916" y="6135995"/>
                </a:cubicBezTo>
                <a:cubicBezTo>
                  <a:pt x="2643913" y="6135995"/>
                  <a:pt x="2645778" y="6135596"/>
                  <a:pt x="2647242" y="6135063"/>
                </a:cubicBezTo>
                <a:cubicBezTo>
                  <a:pt x="2648839" y="6134531"/>
                  <a:pt x="2650037" y="6133599"/>
                  <a:pt x="2650969" y="6132666"/>
                </a:cubicBezTo>
                <a:cubicBezTo>
                  <a:pt x="2652034" y="6131468"/>
                  <a:pt x="2652966" y="6130137"/>
                  <a:pt x="2653632" y="6128407"/>
                </a:cubicBezTo>
                <a:cubicBezTo>
                  <a:pt x="2654164" y="6126809"/>
                  <a:pt x="2654562" y="6124946"/>
                  <a:pt x="2654562" y="6122949"/>
                </a:cubicBezTo>
                <a:cubicBezTo>
                  <a:pt x="2654562" y="6121085"/>
                  <a:pt x="2654297" y="6119355"/>
                  <a:pt x="2653632" y="6117758"/>
                </a:cubicBezTo>
                <a:cubicBezTo>
                  <a:pt x="2652966" y="6116160"/>
                  <a:pt x="2652034" y="6114829"/>
                  <a:pt x="2650969" y="6113631"/>
                </a:cubicBezTo>
                <a:cubicBezTo>
                  <a:pt x="2649904" y="6112566"/>
                  <a:pt x="2648573" y="6111634"/>
                  <a:pt x="2646976" y="6110968"/>
                </a:cubicBezTo>
                <a:cubicBezTo>
                  <a:pt x="2645511" y="6110303"/>
                  <a:pt x="2643913" y="6110037"/>
                  <a:pt x="2641916" y="6110037"/>
                </a:cubicBezTo>
                <a:close/>
                <a:moveTo>
                  <a:pt x="2424254" y="6110037"/>
                </a:moveTo>
                <a:cubicBezTo>
                  <a:pt x="2418397" y="6110037"/>
                  <a:pt x="2415868" y="6111900"/>
                  <a:pt x="2414271" y="6113631"/>
                </a:cubicBezTo>
                <a:cubicBezTo>
                  <a:pt x="2411740" y="6116293"/>
                  <a:pt x="2410676" y="6119089"/>
                  <a:pt x="2410676" y="6123082"/>
                </a:cubicBezTo>
                <a:cubicBezTo>
                  <a:pt x="2410676" y="6127209"/>
                  <a:pt x="2411740" y="6130004"/>
                  <a:pt x="2414271" y="6132533"/>
                </a:cubicBezTo>
                <a:cubicBezTo>
                  <a:pt x="2415868" y="6134132"/>
                  <a:pt x="2418397" y="6135995"/>
                  <a:pt x="2424254" y="6135995"/>
                </a:cubicBezTo>
                <a:cubicBezTo>
                  <a:pt x="2426384" y="6135995"/>
                  <a:pt x="2428115" y="6135596"/>
                  <a:pt x="2429579" y="6135063"/>
                </a:cubicBezTo>
                <a:cubicBezTo>
                  <a:pt x="2431177" y="6134531"/>
                  <a:pt x="2432375" y="6133599"/>
                  <a:pt x="2433306" y="6132666"/>
                </a:cubicBezTo>
                <a:cubicBezTo>
                  <a:pt x="2434371" y="6131468"/>
                  <a:pt x="2435303" y="6130137"/>
                  <a:pt x="2435969" y="6128407"/>
                </a:cubicBezTo>
                <a:cubicBezTo>
                  <a:pt x="2436501" y="6126809"/>
                  <a:pt x="2436900" y="6124946"/>
                  <a:pt x="2436900" y="6122949"/>
                </a:cubicBezTo>
                <a:cubicBezTo>
                  <a:pt x="2436900" y="6121085"/>
                  <a:pt x="2436634" y="6119355"/>
                  <a:pt x="2435969" y="6117758"/>
                </a:cubicBezTo>
                <a:cubicBezTo>
                  <a:pt x="2435303" y="6116160"/>
                  <a:pt x="2434371" y="6114829"/>
                  <a:pt x="2433306" y="6113631"/>
                </a:cubicBezTo>
                <a:cubicBezTo>
                  <a:pt x="2432242" y="6112566"/>
                  <a:pt x="2430910" y="6111634"/>
                  <a:pt x="2429313" y="6110968"/>
                </a:cubicBezTo>
                <a:cubicBezTo>
                  <a:pt x="2427849" y="6110303"/>
                  <a:pt x="2426251" y="6110037"/>
                  <a:pt x="2424254" y="6110037"/>
                </a:cubicBezTo>
                <a:close/>
                <a:moveTo>
                  <a:pt x="2206591" y="6110037"/>
                </a:moveTo>
                <a:cubicBezTo>
                  <a:pt x="2200734" y="6110037"/>
                  <a:pt x="2198205" y="6111900"/>
                  <a:pt x="2196608" y="6113631"/>
                </a:cubicBezTo>
                <a:cubicBezTo>
                  <a:pt x="2194078" y="6116293"/>
                  <a:pt x="2193014" y="6119089"/>
                  <a:pt x="2193014" y="6123082"/>
                </a:cubicBezTo>
                <a:cubicBezTo>
                  <a:pt x="2193014" y="6127209"/>
                  <a:pt x="2194078" y="6130004"/>
                  <a:pt x="2196608" y="6132533"/>
                </a:cubicBezTo>
                <a:cubicBezTo>
                  <a:pt x="2198205" y="6134132"/>
                  <a:pt x="2200734" y="6135995"/>
                  <a:pt x="2206591" y="6135995"/>
                </a:cubicBezTo>
                <a:cubicBezTo>
                  <a:pt x="2208721" y="6135995"/>
                  <a:pt x="2210452" y="6135596"/>
                  <a:pt x="2211916" y="6135063"/>
                </a:cubicBezTo>
                <a:cubicBezTo>
                  <a:pt x="2213514" y="6134531"/>
                  <a:pt x="2214711" y="6133599"/>
                  <a:pt x="2215643" y="6132666"/>
                </a:cubicBezTo>
                <a:cubicBezTo>
                  <a:pt x="2216708" y="6131468"/>
                  <a:pt x="2217640" y="6130137"/>
                  <a:pt x="2218306" y="6128407"/>
                </a:cubicBezTo>
                <a:cubicBezTo>
                  <a:pt x="2218839" y="6126809"/>
                  <a:pt x="2219237" y="6124946"/>
                  <a:pt x="2219237" y="6122949"/>
                </a:cubicBezTo>
                <a:cubicBezTo>
                  <a:pt x="2219237" y="6121085"/>
                  <a:pt x="2218971" y="6119355"/>
                  <a:pt x="2218306" y="6117758"/>
                </a:cubicBezTo>
                <a:cubicBezTo>
                  <a:pt x="2217640" y="6116160"/>
                  <a:pt x="2216708" y="6114829"/>
                  <a:pt x="2215643" y="6113631"/>
                </a:cubicBezTo>
                <a:cubicBezTo>
                  <a:pt x="2214578" y="6112566"/>
                  <a:pt x="2213247" y="6111634"/>
                  <a:pt x="2211650" y="6110968"/>
                </a:cubicBezTo>
                <a:cubicBezTo>
                  <a:pt x="2210186" y="6110303"/>
                  <a:pt x="2208588" y="6110037"/>
                  <a:pt x="2206591" y="6110037"/>
                </a:cubicBezTo>
                <a:close/>
                <a:moveTo>
                  <a:pt x="1989061" y="6110037"/>
                </a:moveTo>
                <a:cubicBezTo>
                  <a:pt x="1983204" y="6110037"/>
                  <a:pt x="1980675" y="6111900"/>
                  <a:pt x="1979078" y="6113631"/>
                </a:cubicBezTo>
                <a:cubicBezTo>
                  <a:pt x="1976548" y="6116293"/>
                  <a:pt x="1975484" y="6119089"/>
                  <a:pt x="1975484" y="6123082"/>
                </a:cubicBezTo>
                <a:cubicBezTo>
                  <a:pt x="1975484" y="6127209"/>
                  <a:pt x="1976548" y="6130004"/>
                  <a:pt x="1979078" y="6132533"/>
                </a:cubicBezTo>
                <a:cubicBezTo>
                  <a:pt x="1980675" y="6134132"/>
                  <a:pt x="1983204" y="6135995"/>
                  <a:pt x="1989061" y="6135995"/>
                </a:cubicBezTo>
                <a:cubicBezTo>
                  <a:pt x="1991058" y="6135995"/>
                  <a:pt x="1992790" y="6135596"/>
                  <a:pt x="1994386" y="6135063"/>
                </a:cubicBezTo>
                <a:cubicBezTo>
                  <a:pt x="1995984" y="6134531"/>
                  <a:pt x="1997183" y="6133599"/>
                  <a:pt x="1998114" y="6132666"/>
                </a:cubicBezTo>
                <a:cubicBezTo>
                  <a:pt x="1999178" y="6131468"/>
                  <a:pt x="2000111" y="6130137"/>
                  <a:pt x="2000777" y="6128407"/>
                </a:cubicBezTo>
                <a:cubicBezTo>
                  <a:pt x="2001308" y="6126809"/>
                  <a:pt x="2001707" y="6124946"/>
                  <a:pt x="2001707" y="6122949"/>
                </a:cubicBezTo>
                <a:cubicBezTo>
                  <a:pt x="2001707" y="6121085"/>
                  <a:pt x="2001442" y="6119355"/>
                  <a:pt x="2000777" y="6117758"/>
                </a:cubicBezTo>
                <a:cubicBezTo>
                  <a:pt x="2000111" y="6116160"/>
                  <a:pt x="1999178" y="6114829"/>
                  <a:pt x="1998114" y="6113631"/>
                </a:cubicBezTo>
                <a:cubicBezTo>
                  <a:pt x="1997049" y="6112566"/>
                  <a:pt x="1995718" y="6111634"/>
                  <a:pt x="1994120" y="6110968"/>
                </a:cubicBezTo>
                <a:cubicBezTo>
                  <a:pt x="1992656" y="6110303"/>
                  <a:pt x="1991058" y="6110037"/>
                  <a:pt x="1989061" y="6110037"/>
                </a:cubicBezTo>
                <a:close/>
                <a:moveTo>
                  <a:pt x="1771429" y="6110037"/>
                </a:moveTo>
                <a:cubicBezTo>
                  <a:pt x="1765572" y="6110037"/>
                  <a:pt x="1763044" y="6111900"/>
                  <a:pt x="1761447" y="6113631"/>
                </a:cubicBezTo>
                <a:cubicBezTo>
                  <a:pt x="1758918" y="6116293"/>
                  <a:pt x="1757853" y="6119089"/>
                  <a:pt x="1757853" y="6123082"/>
                </a:cubicBezTo>
                <a:cubicBezTo>
                  <a:pt x="1757853" y="6127209"/>
                  <a:pt x="1758918" y="6130004"/>
                  <a:pt x="1761447" y="6132533"/>
                </a:cubicBezTo>
                <a:cubicBezTo>
                  <a:pt x="1763044" y="6134132"/>
                  <a:pt x="1765572" y="6135995"/>
                  <a:pt x="1771429" y="6135995"/>
                </a:cubicBezTo>
                <a:cubicBezTo>
                  <a:pt x="1773426" y="6135995"/>
                  <a:pt x="1775290" y="6135596"/>
                  <a:pt x="1776754" y="6135063"/>
                </a:cubicBezTo>
                <a:cubicBezTo>
                  <a:pt x="1778218" y="6134531"/>
                  <a:pt x="1779547" y="6133599"/>
                  <a:pt x="1780480" y="6132666"/>
                </a:cubicBezTo>
                <a:cubicBezTo>
                  <a:pt x="1781545" y="6131468"/>
                  <a:pt x="1782476" y="6130137"/>
                  <a:pt x="1783143" y="6128407"/>
                </a:cubicBezTo>
                <a:cubicBezTo>
                  <a:pt x="1783808" y="6126809"/>
                  <a:pt x="1784207" y="6124946"/>
                  <a:pt x="1784207" y="6122949"/>
                </a:cubicBezTo>
                <a:cubicBezTo>
                  <a:pt x="1784207" y="6121085"/>
                  <a:pt x="1783808" y="6119355"/>
                  <a:pt x="1783143" y="6117758"/>
                </a:cubicBezTo>
                <a:cubicBezTo>
                  <a:pt x="1782476" y="6116160"/>
                  <a:pt x="1781545" y="6114829"/>
                  <a:pt x="1780480" y="6113631"/>
                </a:cubicBezTo>
                <a:cubicBezTo>
                  <a:pt x="1779415" y="6112566"/>
                  <a:pt x="1778085" y="6111634"/>
                  <a:pt x="1776488" y="6110968"/>
                </a:cubicBezTo>
                <a:cubicBezTo>
                  <a:pt x="1775023" y="6110303"/>
                  <a:pt x="1773426" y="6110037"/>
                  <a:pt x="1771429" y="6110037"/>
                </a:cubicBezTo>
                <a:close/>
                <a:moveTo>
                  <a:pt x="1553793" y="6110037"/>
                </a:moveTo>
                <a:cubicBezTo>
                  <a:pt x="1547935" y="6110037"/>
                  <a:pt x="1545406" y="6111900"/>
                  <a:pt x="1543810" y="6113631"/>
                </a:cubicBezTo>
                <a:cubicBezTo>
                  <a:pt x="1541280" y="6116293"/>
                  <a:pt x="1540215" y="6119089"/>
                  <a:pt x="1540215" y="6123082"/>
                </a:cubicBezTo>
                <a:cubicBezTo>
                  <a:pt x="1540215" y="6127209"/>
                  <a:pt x="1541280" y="6130004"/>
                  <a:pt x="1543810" y="6132533"/>
                </a:cubicBezTo>
                <a:cubicBezTo>
                  <a:pt x="1545406" y="6134132"/>
                  <a:pt x="1547935" y="6135995"/>
                  <a:pt x="1553793" y="6135995"/>
                </a:cubicBezTo>
                <a:cubicBezTo>
                  <a:pt x="1555790" y="6135995"/>
                  <a:pt x="1557653" y="6135596"/>
                  <a:pt x="1559117" y="6135063"/>
                </a:cubicBezTo>
                <a:cubicBezTo>
                  <a:pt x="1560581" y="6134531"/>
                  <a:pt x="1561913" y="6133599"/>
                  <a:pt x="1562845" y="6132666"/>
                </a:cubicBezTo>
                <a:cubicBezTo>
                  <a:pt x="1563909" y="6131468"/>
                  <a:pt x="1564842" y="6130137"/>
                  <a:pt x="1565507" y="6128407"/>
                </a:cubicBezTo>
                <a:cubicBezTo>
                  <a:pt x="1566172" y="6126809"/>
                  <a:pt x="1566572" y="6124946"/>
                  <a:pt x="1566572" y="6122949"/>
                </a:cubicBezTo>
                <a:cubicBezTo>
                  <a:pt x="1566572" y="6121085"/>
                  <a:pt x="1566172" y="6119355"/>
                  <a:pt x="1565507" y="6117758"/>
                </a:cubicBezTo>
                <a:cubicBezTo>
                  <a:pt x="1564842" y="6116160"/>
                  <a:pt x="1563909" y="6114829"/>
                  <a:pt x="1562845" y="6113631"/>
                </a:cubicBezTo>
                <a:cubicBezTo>
                  <a:pt x="1561779" y="6112566"/>
                  <a:pt x="1560449" y="6111634"/>
                  <a:pt x="1558851" y="6110968"/>
                </a:cubicBezTo>
                <a:cubicBezTo>
                  <a:pt x="1557387" y="6110303"/>
                  <a:pt x="1555790" y="6110037"/>
                  <a:pt x="1553793" y="6110037"/>
                </a:cubicBezTo>
                <a:close/>
                <a:moveTo>
                  <a:pt x="1336150" y="6110037"/>
                </a:moveTo>
                <a:cubicBezTo>
                  <a:pt x="1330291" y="6110037"/>
                  <a:pt x="1327762" y="6111900"/>
                  <a:pt x="1326166" y="6113631"/>
                </a:cubicBezTo>
                <a:cubicBezTo>
                  <a:pt x="1323635" y="6116293"/>
                  <a:pt x="1322571" y="6119089"/>
                  <a:pt x="1322571" y="6123082"/>
                </a:cubicBezTo>
                <a:cubicBezTo>
                  <a:pt x="1322571" y="6127209"/>
                  <a:pt x="1323635" y="6130004"/>
                  <a:pt x="1326166" y="6132533"/>
                </a:cubicBezTo>
                <a:cubicBezTo>
                  <a:pt x="1327762" y="6134132"/>
                  <a:pt x="1330291" y="6135995"/>
                  <a:pt x="1336150" y="6135995"/>
                </a:cubicBezTo>
                <a:cubicBezTo>
                  <a:pt x="1338279" y="6135995"/>
                  <a:pt x="1340009" y="6135596"/>
                  <a:pt x="1341476" y="6135063"/>
                </a:cubicBezTo>
                <a:cubicBezTo>
                  <a:pt x="1342939" y="6134531"/>
                  <a:pt x="1344271" y="6133599"/>
                  <a:pt x="1345204" y="6132666"/>
                </a:cubicBezTo>
                <a:cubicBezTo>
                  <a:pt x="1346267" y="6131468"/>
                  <a:pt x="1347200" y="6130137"/>
                  <a:pt x="1347865" y="6128407"/>
                </a:cubicBezTo>
                <a:cubicBezTo>
                  <a:pt x="1348531" y="6126809"/>
                  <a:pt x="1348931" y="6124946"/>
                  <a:pt x="1348931" y="6122949"/>
                </a:cubicBezTo>
                <a:cubicBezTo>
                  <a:pt x="1348931" y="6121085"/>
                  <a:pt x="1348531" y="6119355"/>
                  <a:pt x="1347865" y="6117758"/>
                </a:cubicBezTo>
                <a:cubicBezTo>
                  <a:pt x="1347200" y="6116160"/>
                  <a:pt x="1346267" y="6114829"/>
                  <a:pt x="1345204" y="6113631"/>
                </a:cubicBezTo>
                <a:cubicBezTo>
                  <a:pt x="1344138" y="6112566"/>
                  <a:pt x="1342807" y="6111634"/>
                  <a:pt x="1341208" y="6110968"/>
                </a:cubicBezTo>
                <a:cubicBezTo>
                  <a:pt x="1339744" y="6110303"/>
                  <a:pt x="1338145" y="6110037"/>
                  <a:pt x="1336150" y="6110037"/>
                </a:cubicBezTo>
                <a:close/>
                <a:moveTo>
                  <a:pt x="1118637" y="6110037"/>
                </a:moveTo>
                <a:cubicBezTo>
                  <a:pt x="1112778" y="6110037"/>
                  <a:pt x="1110248" y="6111900"/>
                  <a:pt x="1108651" y="6113631"/>
                </a:cubicBezTo>
                <a:cubicBezTo>
                  <a:pt x="1105989" y="6116293"/>
                  <a:pt x="1104924" y="6119089"/>
                  <a:pt x="1104924" y="6123082"/>
                </a:cubicBezTo>
                <a:cubicBezTo>
                  <a:pt x="1104924" y="6127209"/>
                  <a:pt x="1105989" y="6130004"/>
                  <a:pt x="1108519" y="6132533"/>
                </a:cubicBezTo>
                <a:cubicBezTo>
                  <a:pt x="1110116" y="6134132"/>
                  <a:pt x="1112645" y="6135995"/>
                  <a:pt x="1118504" y="6135995"/>
                </a:cubicBezTo>
                <a:cubicBezTo>
                  <a:pt x="1120634" y="6135995"/>
                  <a:pt x="1122365" y="6135596"/>
                  <a:pt x="1123960" y="6135063"/>
                </a:cubicBezTo>
                <a:cubicBezTo>
                  <a:pt x="1125426" y="6134531"/>
                  <a:pt x="1126762" y="6133599"/>
                  <a:pt x="1127691" y="6132666"/>
                </a:cubicBezTo>
                <a:cubicBezTo>
                  <a:pt x="1128757" y="6131468"/>
                  <a:pt x="1129689" y="6130137"/>
                  <a:pt x="1130355" y="6128407"/>
                </a:cubicBezTo>
                <a:cubicBezTo>
                  <a:pt x="1131019" y="6126809"/>
                  <a:pt x="1131420" y="6124946"/>
                  <a:pt x="1131420" y="6122949"/>
                </a:cubicBezTo>
                <a:cubicBezTo>
                  <a:pt x="1131420" y="6121085"/>
                  <a:pt x="1131019" y="6119355"/>
                  <a:pt x="1130355" y="6117758"/>
                </a:cubicBezTo>
                <a:cubicBezTo>
                  <a:pt x="1129689" y="6116160"/>
                  <a:pt x="1128757" y="6114829"/>
                  <a:pt x="1127691" y="6113631"/>
                </a:cubicBezTo>
                <a:cubicBezTo>
                  <a:pt x="1126626" y="6112566"/>
                  <a:pt x="1125294" y="6111634"/>
                  <a:pt x="1123696" y="6110968"/>
                </a:cubicBezTo>
                <a:cubicBezTo>
                  <a:pt x="1122232" y="6110303"/>
                  <a:pt x="1120634" y="6110037"/>
                  <a:pt x="1118637" y="6110037"/>
                </a:cubicBezTo>
                <a:close/>
                <a:moveTo>
                  <a:pt x="901125" y="6110037"/>
                </a:moveTo>
                <a:cubicBezTo>
                  <a:pt x="895267" y="6110037"/>
                  <a:pt x="892738" y="6111900"/>
                  <a:pt x="891140" y="6113631"/>
                </a:cubicBezTo>
                <a:cubicBezTo>
                  <a:pt x="888478" y="6116293"/>
                  <a:pt x="887414" y="6119089"/>
                  <a:pt x="887414" y="6123082"/>
                </a:cubicBezTo>
                <a:cubicBezTo>
                  <a:pt x="887414" y="6127209"/>
                  <a:pt x="888478" y="6130004"/>
                  <a:pt x="891008" y="6132533"/>
                </a:cubicBezTo>
                <a:cubicBezTo>
                  <a:pt x="892605" y="6134132"/>
                  <a:pt x="895134" y="6135995"/>
                  <a:pt x="900991" y="6135995"/>
                </a:cubicBezTo>
                <a:cubicBezTo>
                  <a:pt x="902988" y="6135995"/>
                  <a:pt x="904719" y="6135596"/>
                  <a:pt x="906449" y="6135063"/>
                </a:cubicBezTo>
                <a:cubicBezTo>
                  <a:pt x="907913" y="6134531"/>
                  <a:pt x="909245" y="6133599"/>
                  <a:pt x="910177" y="6132666"/>
                </a:cubicBezTo>
                <a:cubicBezTo>
                  <a:pt x="911241" y="6131468"/>
                  <a:pt x="912173" y="6130137"/>
                  <a:pt x="912839" y="6128407"/>
                </a:cubicBezTo>
                <a:cubicBezTo>
                  <a:pt x="913504" y="6126809"/>
                  <a:pt x="913904" y="6124946"/>
                  <a:pt x="913904" y="6122949"/>
                </a:cubicBezTo>
                <a:cubicBezTo>
                  <a:pt x="913904" y="6121085"/>
                  <a:pt x="913504" y="6119355"/>
                  <a:pt x="912839" y="6117758"/>
                </a:cubicBezTo>
                <a:cubicBezTo>
                  <a:pt x="912173" y="6116160"/>
                  <a:pt x="911241" y="6114829"/>
                  <a:pt x="910177" y="6113631"/>
                </a:cubicBezTo>
                <a:cubicBezTo>
                  <a:pt x="909112" y="6112566"/>
                  <a:pt x="907780" y="6111634"/>
                  <a:pt x="906183" y="6110968"/>
                </a:cubicBezTo>
                <a:cubicBezTo>
                  <a:pt x="904719" y="6110303"/>
                  <a:pt x="903121" y="6110037"/>
                  <a:pt x="901125" y="6110037"/>
                </a:cubicBezTo>
                <a:close/>
                <a:moveTo>
                  <a:pt x="683351" y="6110037"/>
                </a:moveTo>
                <a:cubicBezTo>
                  <a:pt x="677494" y="6110037"/>
                  <a:pt x="674965" y="6111900"/>
                  <a:pt x="673368" y="6113631"/>
                </a:cubicBezTo>
                <a:cubicBezTo>
                  <a:pt x="670838" y="6116293"/>
                  <a:pt x="669774" y="6119089"/>
                  <a:pt x="669774" y="6123082"/>
                </a:cubicBezTo>
                <a:cubicBezTo>
                  <a:pt x="669774" y="6127209"/>
                  <a:pt x="670838" y="6130004"/>
                  <a:pt x="673368" y="6132533"/>
                </a:cubicBezTo>
                <a:cubicBezTo>
                  <a:pt x="674965" y="6134132"/>
                  <a:pt x="677494" y="6135995"/>
                  <a:pt x="683351" y="6135995"/>
                </a:cubicBezTo>
                <a:cubicBezTo>
                  <a:pt x="685348" y="6135995"/>
                  <a:pt x="687212" y="6135596"/>
                  <a:pt x="688676" y="6135063"/>
                </a:cubicBezTo>
                <a:cubicBezTo>
                  <a:pt x="690140" y="6134531"/>
                  <a:pt x="691472" y="6133599"/>
                  <a:pt x="692403" y="6132666"/>
                </a:cubicBezTo>
                <a:cubicBezTo>
                  <a:pt x="693468" y="6131468"/>
                  <a:pt x="694400" y="6130137"/>
                  <a:pt x="695066" y="6128407"/>
                </a:cubicBezTo>
                <a:cubicBezTo>
                  <a:pt x="695731" y="6126809"/>
                  <a:pt x="696131" y="6124946"/>
                  <a:pt x="696131" y="6122949"/>
                </a:cubicBezTo>
                <a:cubicBezTo>
                  <a:pt x="696131" y="6121085"/>
                  <a:pt x="695731" y="6119355"/>
                  <a:pt x="695066" y="6117758"/>
                </a:cubicBezTo>
                <a:cubicBezTo>
                  <a:pt x="694400" y="6116160"/>
                  <a:pt x="693468" y="6114829"/>
                  <a:pt x="692403" y="6113631"/>
                </a:cubicBezTo>
                <a:cubicBezTo>
                  <a:pt x="691338" y="6112566"/>
                  <a:pt x="690007" y="6111634"/>
                  <a:pt x="688410" y="6110968"/>
                </a:cubicBezTo>
                <a:cubicBezTo>
                  <a:pt x="686946" y="6110303"/>
                  <a:pt x="685348" y="6110037"/>
                  <a:pt x="683351" y="6110037"/>
                </a:cubicBezTo>
                <a:close/>
                <a:moveTo>
                  <a:pt x="465710" y="6110037"/>
                </a:moveTo>
                <a:cubicBezTo>
                  <a:pt x="459853" y="6110037"/>
                  <a:pt x="457324" y="6111900"/>
                  <a:pt x="455727" y="6113631"/>
                </a:cubicBezTo>
                <a:cubicBezTo>
                  <a:pt x="453197" y="6116293"/>
                  <a:pt x="452133" y="6119089"/>
                  <a:pt x="452133" y="6123082"/>
                </a:cubicBezTo>
                <a:cubicBezTo>
                  <a:pt x="452133" y="6127209"/>
                  <a:pt x="453197" y="6130004"/>
                  <a:pt x="455727" y="6132533"/>
                </a:cubicBezTo>
                <a:cubicBezTo>
                  <a:pt x="457324" y="6134132"/>
                  <a:pt x="459853" y="6135995"/>
                  <a:pt x="465710" y="6135995"/>
                </a:cubicBezTo>
                <a:cubicBezTo>
                  <a:pt x="467707" y="6135995"/>
                  <a:pt x="469571" y="6135596"/>
                  <a:pt x="471035" y="6135063"/>
                </a:cubicBezTo>
                <a:cubicBezTo>
                  <a:pt x="472499" y="6134531"/>
                  <a:pt x="473830" y="6133599"/>
                  <a:pt x="474762" y="6132666"/>
                </a:cubicBezTo>
                <a:cubicBezTo>
                  <a:pt x="475827" y="6131468"/>
                  <a:pt x="476759" y="6130137"/>
                  <a:pt x="477425" y="6128407"/>
                </a:cubicBezTo>
                <a:cubicBezTo>
                  <a:pt x="478090" y="6126809"/>
                  <a:pt x="478490" y="6124946"/>
                  <a:pt x="478490" y="6122949"/>
                </a:cubicBezTo>
                <a:cubicBezTo>
                  <a:pt x="478490" y="6121085"/>
                  <a:pt x="478090" y="6119355"/>
                  <a:pt x="477425" y="6117758"/>
                </a:cubicBezTo>
                <a:cubicBezTo>
                  <a:pt x="476759" y="6116160"/>
                  <a:pt x="475827" y="6114829"/>
                  <a:pt x="474762" y="6113631"/>
                </a:cubicBezTo>
                <a:cubicBezTo>
                  <a:pt x="473697" y="6112566"/>
                  <a:pt x="472366" y="6111634"/>
                  <a:pt x="470769" y="6110968"/>
                </a:cubicBezTo>
                <a:cubicBezTo>
                  <a:pt x="469305" y="6110303"/>
                  <a:pt x="467707" y="6110037"/>
                  <a:pt x="465710" y="6110037"/>
                </a:cubicBezTo>
                <a:close/>
                <a:moveTo>
                  <a:pt x="248069" y="6110037"/>
                </a:moveTo>
                <a:cubicBezTo>
                  <a:pt x="242212" y="6110037"/>
                  <a:pt x="239683" y="6111900"/>
                  <a:pt x="238087" y="6113631"/>
                </a:cubicBezTo>
                <a:cubicBezTo>
                  <a:pt x="235557" y="6116293"/>
                  <a:pt x="234493" y="6119089"/>
                  <a:pt x="234493" y="6123082"/>
                </a:cubicBezTo>
                <a:cubicBezTo>
                  <a:pt x="234493" y="6127209"/>
                  <a:pt x="235557" y="6130004"/>
                  <a:pt x="238087" y="6132533"/>
                </a:cubicBezTo>
                <a:cubicBezTo>
                  <a:pt x="239683" y="6134132"/>
                  <a:pt x="242212" y="6135995"/>
                  <a:pt x="248069" y="6135995"/>
                </a:cubicBezTo>
                <a:cubicBezTo>
                  <a:pt x="250199" y="6135995"/>
                  <a:pt x="251929" y="6135596"/>
                  <a:pt x="253393" y="6135063"/>
                </a:cubicBezTo>
                <a:cubicBezTo>
                  <a:pt x="254857" y="6134531"/>
                  <a:pt x="256188" y="6133599"/>
                  <a:pt x="257120" y="6132666"/>
                </a:cubicBezTo>
                <a:cubicBezTo>
                  <a:pt x="258185" y="6131468"/>
                  <a:pt x="259117" y="6130137"/>
                  <a:pt x="259783" y="6128407"/>
                </a:cubicBezTo>
                <a:cubicBezTo>
                  <a:pt x="260448" y="6126809"/>
                  <a:pt x="260848" y="6124946"/>
                  <a:pt x="260848" y="6122949"/>
                </a:cubicBezTo>
                <a:cubicBezTo>
                  <a:pt x="260848" y="6121085"/>
                  <a:pt x="260448" y="6119355"/>
                  <a:pt x="259783" y="6117758"/>
                </a:cubicBezTo>
                <a:cubicBezTo>
                  <a:pt x="259117" y="6116160"/>
                  <a:pt x="258185" y="6114829"/>
                  <a:pt x="257120" y="6113631"/>
                </a:cubicBezTo>
                <a:cubicBezTo>
                  <a:pt x="256055" y="6112566"/>
                  <a:pt x="254724" y="6111634"/>
                  <a:pt x="253127" y="6110968"/>
                </a:cubicBezTo>
                <a:cubicBezTo>
                  <a:pt x="251663" y="6110303"/>
                  <a:pt x="250066" y="6110037"/>
                  <a:pt x="248069" y="6110037"/>
                </a:cubicBezTo>
                <a:close/>
                <a:moveTo>
                  <a:pt x="30428" y="6110037"/>
                </a:moveTo>
                <a:cubicBezTo>
                  <a:pt x="24571" y="6110037"/>
                  <a:pt x="22041" y="6111900"/>
                  <a:pt x="20444" y="6113631"/>
                </a:cubicBezTo>
                <a:cubicBezTo>
                  <a:pt x="17915" y="6116293"/>
                  <a:pt x="16851" y="6119089"/>
                  <a:pt x="16851" y="6123082"/>
                </a:cubicBezTo>
                <a:cubicBezTo>
                  <a:pt x="16851" y="6127209"/>
                  <a:pt x="17915" y="6130004"/>
                  <a:pt x="20444" y="6132533"/>
                </a:cubicBezTo>
                <a:cubicBezTo>
                  <a:pt x="22041" y="6134132"/>
                  <a:pt x="24571" y="6135995"/>
                  <a:pt x="30428" y="6135995"/>
                </a:cubicBezTo>
                <a:cubicBezTo>
                  <a:pt x="32558" y="6135995"/>
                  <a:pt x="34289" y="6135596"/>
                  <a:pt x="35753" y="6135063"/>
                </a:cubicBezTo>
                <a:cubicBezTo>
                  <a:pt x="37217" y="6134531"/>
                  <a:pt x="38549" y="6133599"/>
                  <a:pt x="39480" y="6132666"/>
                </a:cubicBezTo>
                <a:cubicBezTo>
                  <a:pt x="40545" y="6131468"/>
                  <a:pt x="41477" y="6130137"/>
                  <a:pt x="42143" y="6128407"/>
                </a:cubicBezTo>
                <a:cubicBezTo>
                  <a:pt x="42808" y="6126809"/>
                  <a:pt x="43074" y="6124946"/>
                  <a:pt x="43074" y="6122949"/>
                </a:cubicBezTo>
                <a:cubicBezTo>
                  <a:pt x="43074" y="6121085"/>
                  <a:pt x="42808" y="6119355"/>
                  <a:pt x="42143" y="6117758"/>
                </a:cubicBezTo>
                <a:cubicBezTo>
                  <a:pt x="41477" y="6116160"/>
                  <a:pt x="40545" y="6114829"/>
                  <a:pt x="39480" y="6113631"/>
                </a:cubicBezTo>
                <a:cubicBezTo>
                  <a:pt x="38415" y="6112566"/>
                  <a:pt x="37084" y="6111634"/>
                  <a:pt x="35487" y="6110968"/>
                </a:cubicBezTo>
                <a:cubicBezTo>
                  <a:pt x="34023" y="6110303"/>
                  <a:pt x="32425" y="6110037"/>
                  <a:pt x="30428" y="6110037"/>
                </a:cubicBezTo>
                <a:close/>
                <a:moveTo>
                  <a:pt x="10475977" y="6093397"/>
                </a:moveTo>
                <a:cubicBezTo>
                  <a:pt x="10480237" y="6093397"/>
                  <a:pt x="10484230" y="6094196"/>
                  <a:pt x="10487824" y="6095926"/>
                </a:cubicBezTo>
                <a:cubicBezTo>
                  <a:pt x="10491419" y="6097524"/>
                  <a:pt x="10494613" y="6099653"/>
                  <a:pt x="10497143" y="6102316"/>
                </a:cubicBezTo>
                <a:cubicBezTo>
                  <a:pt x="10499672" y="6104845"/>
                  <a:pt x="10501801" y="6108040"/>
                  <a:pt x="10503266" y="6111634"/>
                </a:cubicBezTo>
                <a:cubicBezTo>
                  <a:pt x="10504730" y="6115228"/>
                  <a:pt x="10505529" y="6118956"/>
                  <a:pt x="10505529" y="6123082"/>
                </a:cubicBezTo>
                <a:cubicBezTo>
                  <a:pt x="10505529" y="6127209"/>
                  <a:pt x="10504730" y="6131202"/>
                  <a:pt x="10503266" y="6134797"/>
                </a:cubicBezTo>
                <a:cubicBezTo>
                  <a:pt x="10501669" y="6138391"/>
                  <a:pt x="10499672" y="6141453"/>
                  <a:pt x="10497143" y="6144116"/>
                </a:cubicBezTo>
                <a:cubicBezTo>
                  <a:pt x="10494480" y="6146778"/>
                  <a:pt x="10491419" y="6148908"/>
                  <a:pt x="10487824" y="6150372"/>
                </a:cubicBezTo>
                <a:cubicBezTo>
                  <a:pt x="10484098" y="6151836"/>
                  <a:pt x="10480237" y="6152635"/>
                  <a:pt x="10475977" y="6152635"/>
                </a:cubicBezTo>
                <a:cubicBezTo>
                  <a:pt x="10466924" y="6152635"/>
                  <a:pt x="10459736" y="6149706"/>
                  <a:pt x="10454145" y="6144116"/>
                </a:cubicBezTo>
                <a:cubicBezTo>
                  <a:pt x="10448554" y="6138525"/>
                  <a:pt x="10445759" y="6131335"/>
                  <a:pt x="10445759" y="6122949"/>
                </a:cubicBezTo>
                <a:cubicBezTo>
                  <a:pt x="10445759" y="6114696"/>
                  <a:pt x="10448554" y="6107641"/>
                  <a:pt x="10454145" y="6101917"/>
                </a:cubicBezTo>
                <a:cubicBezTo>
                  <a:pt x="10459603" y="6096193"/>
                  <a:pt x="10466924" y="6093397"/>
                  <a:pt x="10475977" y="6093397"/>
                </a:cubicBezTo>
                <a:close/>
                <a:moveTo>
                  <a:pt x="10258466" y="6093397"/>
                </a:moveTo>
                <a:cubicBezTo>
                  <a:pt x="10262592" y="6093397"/>
                  <a:pt x="10266586" y="6094196"/>
                  <a:pt x="10270313" y="6095926"/>
                </a:cubicBezTo>
                <a:cubicBezTo>
                  <a:pt x="10273907" y="6097524"/>
                  <a:pt x="10277101" y="6099653"/>
                  <a:pt x="10279631" y="6102316"/>
                </a:cubicBezTo>
                <a:cubicBezTo>
                  <a:pt x="10282160" y="6104845"/>
                  <a:pt x="10284290" y="6108040"/>
                  <a:pt x="10285754" y="6111634"/>
                </a:cubicBezTo>
                <a:cubicBezTo>
                  <a:pt x="10287218" y="6115228"/>
                  <a:pt x="10288017" y="6118956"/>
                  <a:pt x="10288017" y="6123082"/>
                </a:cubicBezTo>
                <a:cubicBezTo>
                  <a:pt x="10288017" y="6127209"/>
                  <a:pt x="10287218" y="6131202"/>
                  <a:pt x="10285754" y="6134797"/>
                </a:cubicBezTo>
                <a:cubicBezTo>
                  <a:pt x="10284157" y="6138391"/>
                  <a:pt x="10282160" y="6141453"/>
                  <a:pt x="10279631" y="6144116"/>
                </a:cubicBezTo>
                <a:cubicBezTo>
                  <a:pt x="10276969" y="6146778"/>
                  <a:pt x="10273907" y="6148908"/>
                  <a:pt x="10270313" y="6150372"/>
                </a:cubicBezTo>
                <a:cubicBezTo>
                  <a:pt x="10266586" y="6151836"/>
                  <a:pt x="10262725" y="6152635"/>
                  <a:pt x="10258466" y="6152635"/>
                </a:cubicBezTo>
                <a:cubicBezTo>
                  <a:pt x="10249546" y="6152635"/>
                  <a:pt x="10242224" y="6149706"/>
                  <a:pt x="10236633" y="6144116"/>
                </a:cubicBezTo>
                <a:cubicBezTo>
                  <a:pt x="10231043" y="6138525"/>
                  <a:pt x="10228247" y="6131335"/>
                  <a:pt x="10228247" y="6122949"/>
                </a:cubicBezTo>
                <a:cubicBezTo>
                  <a:pt x="10228247" y="6114696"/>
                  <a:pt x="10231043" y="6107641"/>
                  <a:pt x="10236633" y="6101917"/>
                </a:cubicBezTo>
                <a:cubicBezTo>
                  <a:pt x="10242092" y="6096193"/>
                  <a:pt x="10249413" y="6093397"/>
                  <a:pt x="10258466" y="6093397"/>
                </a:cubicBezTo>
                <a:close/>
                <a:moveTo>
                  <a:pt x="10040820" y="6093397"/>
                </a:moveTo>
                <a:cubicBezTo>
                  <a:pt x="10045080" y="6093397"/>
                  <a:pt x="10048941" y="6094196"/>
                  <a:pt x="10052534" y="6095926"/>
                </a:cubicBezTo>
                <a:cubicBezTo>
                  <a:pt x="10056129" y="6097524"/>
                  <a:pt x="10059323" y="6099653"/>
                  <a:pt x="10061852" y="6102316"/>
                </a:cubicBezTo>
                <a:cubicBezTo>
                  <a:pt x="10064382" y="6104845"/>
                  <a:pt x="10066512" y="6108040"/>
                  <a:pt x="10067976" y="6111634"/>
                </a:cubicBezTo>
                <a:cubicBezTo>
                  <a:pt x="10069440" y="6115228"/>
                  <a:pt x="10070239" y="6118956"/>
                  <a:pt x="10070239" y="6123082"/>
                </a:cubicBezTo>
                <a:cubicBezTo>
                  <a:pt x="10070239" y="6127209"/>
                  <a:pt x="10069440" y="6131202"/>
                  <a:pt x="10067976" y="6134797"/>
                </a:cubicBezTo>
                <a:cubicBezTo>
                  <a:pt x="10066379" y="6138391"/>
                  <a:pt x="10064382" y="6141453"/>
                  <a:pt x="10061852" y="6144116"/>
                </a:cubicBezTo>
                <a:cubicBezTo>
                  <a:pt x="10059190" y="6146778"/>
                  <a:pt x="10056129" y="6148908"/>
                  <a:pt x="10052534" y="6150372"/>
                </a:cubicBezTo>
                <a:cubicBezTo>
                  <a:pt x="10048941" y="6151836"/>
                  <a:pt x="10045080" y="6152635"/>
                  <a:pt x="10040820" y="6152635"/>
                </a:cubicBezTo>
                <a:cubicBezTo>
                  <a:pt x="10031767" y="6152635"/>
                  <a:pt x="10024579" y="6149706"/>
                  <a:pt x="10018988" y="6144116"/>
                </a:cubicBezTo>
                <a:cubicBezTo>
                  <a:pt x="10013397" y="6138525"/>
                  <a:pt x="10010602" y="6131335"/>
                  <a:pt x="10010602" y="6122949"/>
                </a:cubicBezTo>
                <a:cubicBezTo>
                  <a:pt x="10010602" y="6114696"/>
                  <a:pt x="10013397" y="6107641"/>
                  <a:pt x="10018988" y="6101917"/>
                </a:cubicBezTo>
                <a:cubicBezTo>
                  <a:pt x="10024579" y="6096193"/>
                  <a:pt x="10031767" y="6093397"/>
                  <a:pt x="10040820" y="6093397"/>
                </a:cubicBezTo>
                <a:close/>
                <a:moveTo>
                  <a:pt x="9823176" y="6093397"/>
                </a:moveTo>
                <a:cubicBezTo>
                  <a:pt x="9827435" y="6093397"/>
                  <a:pt x="9831296" y="6094196"/>
                  <a:pt x="9834890" y="6095926"/>
                </a:cubicBezTo>
                <a:cubicBezTo>
                  <a:pt x="9838617" y="6097524"/>
                  <a:pt x="9841679" y="6099653"/>
                  <a:pt x="9844208" y="6102316"/>
                </a:cubicBezTo>
                <a:cubicBezTo>
                  <a:pt x="9846737" y="6104845"/>
                  <a:pt x="9848867" y="6108040"/>
                  <a:pt x="9850331" y="6111634"/>
                </a:cubicBezTo>
                <a:cubicBezTo>
                  <a:pt x="9851796" y="6115228"/>
                  <a:pt x="9852595" y="6118956"/>
                  <a:pt x="9852595" y="6123082"/>
                </a:cubicBezTo>
                <a:cubicBezTo>
                  <a:pt x="9852595" y="6127209"/>
                  <a:pt x="9851796" y="6131202"/>
                  <a:pt x="9850331" y="6134797"/>
                </a:cubicBezTo>
                <a:cubicBezTo>
                  <a:pt x="9848734" y="6138391"/>
                  <a:pt x="9846737" y="6141453"/>
                  <a:pt x="9844208" y="6144116"/>
                </a:cubicBezTo>
                <a:cubicBezTo>
                  <a:pt x="9841546" y="6146778"/>
                  <a:pt x="9838484" y="6148908"/>
                  <a:pt x="9834890" y="6150372"/>
                </a:cubicBezTo>
                <a:cubicBezTo>
                  <a:pt x="9831296" y="6151836"/>
                  <a:pt x="9827435" y="6152635"/>
                  <a:pt x="9823176" y="6152635"/>
                </a:cubicBezTo>
                <a:cubicBezTo>
                  <a:pt x="9814123" y="6152635"/>
                  <a:pt x="9806935" y="6149706"/>
                  <a:pt x="9801343" y="6144116"/>
                </a:cubicBezTo>
                <a:cubicBezTo>
                  <a:pt x="9795753" y="6138525"/>
                  <a:pt x="9792957" y="6131335"/>
                  <a:pt x="9792957" y="6122949"/>
                </a:cubicBezTo>
                <a:cubicBezTo>
                  <a:pt x="9792957" y="6114696"/>
                  <a:pt x="9795753" y="6107641"/>
                  <a:pt x="9801343" y="6101917"/>
                </a:cubicBezTo>
                <a:cubicBezTo>
                  <a:pt x="9806935" y="6096193"/>
                  <a:pt x="9814123" y="6093397"/>
                  <a:pt x="9823176" y="6093397"/>
                </a:cubicBezTo>
                <a:close/>
                <a:moveTo>
                  <a:pt x="9605531" y="6093397"/>
                </a:moveTo>
                <a:cubicBezTo>
                  <a:pt x="9609790" y="6093397"/>
                  <a:pt x="9613784" y="6094196"/>
                  <a:pt x="9617245" y="6095926"/>
                </a:cubicBezTo>
                <a:cubicBezTo>
                  <a:pt x="9620839" y="6097524"/>
                  <a:pt x="9624033" y="6099653"/>
                  <a:pt x="9626562" y="6102316"/>
                </a:cubicBezTo>
                <a:cubicBezTo>
                  <a:pt x="9629092" y="6104845"/>
                  <a:pt x="9631222" y="6108040"/>
                  <a:pt x="9632686" y="6111634"/>
                </a:cubicBezTo>
                <a:cubicBezTo>
                  <a:pt x="9634150" y="6115228"/>
                  <a:pt x="9634949" y="6118956"/>
                  <a:pt x="9634949" y="6123082"/>
                </a:cubicBezTo>
                <a:cubicBezTo>
                  <a:pt x="9634949" y="6127209"/>
                  <a:pt x="9634150" y="6131202"/>
                  <a:pt x="9632686" y="6134797"/>
                </a:cubicBezTo>
                <a:cubicBezTo>
                  <a:pt x="9631089" y="6138391"/>
                  <a:pt x="9629092" y="6141453"/>
                  <a:pt x="9626562" y="6144116"/>
                </a:cubicBezTo>
                <a:cubicBezTo>
                  <a:pt x="9623901" y="6146778"/>
                  <a:pt x="9620839" y="6148908"/>
                  <a:pt x="9617245" y="6150372"/>
                </a:cubicBezTo>
                <a:cubicBezTo>
                  <a:pt x="9613651" y="6151836"/>
                  <a:pt x="9609790" y="6152635"/>
                  <a:pt x="9605531" y="6152635"/>
                </a:cubicBezTo>
                <a:cubicBezTo>
                  <a:pt x="9596610" y="6152635"/>
                  <a:pt x="9589289" y="6149706"/>
                  <a:pt x="9583698" y="6144116"/>
                </a:cubicBezTo>
                <a:cubicBezTo>
                  <a:pt x="9578108" y="6138525"/>
                  <a:pt x="9575312" y="6131335"/>
                  <a:pt x="9575312" y="6122949"/>
                </a:cubicBezTo>
                <a:cubicBezTo>
                  <a:pt x="9575312" y="6114696"/>
                  <a:pt x="9578108" y="6107641"/>
                  <a:pt x="9583698" y="6101917"/>
                </a:cubicBezTo>
                <a:cubicBezTo>
                  <a:pt x="9589289" y="6096193"/>
                  <a:pt x="9596478" y="6093397"/>
                  <a:pt x="9605531" y="6093397"/>
                </a:cubicBezTo>
                <a:close/>
                <a:moveTo>
                  <a:pt x="9387885" y="6093397"/>
                </a:moveTo>
                <a:cubicBezTo>
                  <a:pt x="9392145" y="6093397"/>
                  <a:pt x="9396138" y="6094196"/>
                  <a:pt x="9399599" y="6095926"/>
                </a:cubicBezTo>
                <a:cubicBezTo>
                  <a:pt x="9403194" y="6097524"/>
                  <a:pt x="9406388" y="6099653"/>
                  <a:pt x="9408917" y="6102316"/>
                </a:cubicBezTo>
                <a:cubicBezTo>
                  <a:pt x="9411447" y="6104845"/>
                  <a:pt x="9413576" y="6108040"/>
                  <a:pt x="9415041" y="6111634"/>
                </a:cubicBezTo>
                <a:cubicBezTo>
                  <a:pt x="9416505" y="6115228"/>
                  <a:pt x="9417304" y="6118956"/>
                  <a:pt x="9417304" y="6123082"/>
                </a:cubicBezTo>
                <a:cubicBezTo>
                  <a:pt x="9417304" y="6127209"/>
                  <a:pt x="9416505" y="6131202"/>
                  <a:pt x="9415041" y="6134797"/>
                </a:cubicBezTo>
                <a:cubicBezTo>
                  <a:pt x="9413444" y="6138391"/>
                  <a:pt x="9411447" y="6141453"/>
                  <a:pt x="9408917" y="6144116"/>
                </a:cubicBezTo>
                <a:cubicBezTo>
                  <a:pt x="9406255" y="6146778"/>
                  <a:pt x="9403194" y="6148908"/>
                  <a:pt x="9399599" y="6150372"/>
                </a:cubicBezTo>
                <a:cubicBezTo>
                  <a:pt x="9396005" y="6151836"/>
                  <a:pt x="9392145" y="6152635"/>
                  <a:pt x="9387885" y="6152635"/>
                </a:cubicBezTo>
                <a:cubicBezTo>
                  <a:pt x="9378965" y="6152635"/>
                  <a:pt x="9371644" y="6149706"/>
                  <a:pt x="9366053" y="6144116"/>
                </a:cubicBezTo>
                <a:cubicBezTo>
                  <a:pt x="9360462" y="6138525"/>
                  <a:pt x="9357667" y="6131335"/>
                  <a:pt x="9357667" y="6122949"/>
                </a:cubicBezTo>
                <a:cubicBezTo>
                  <a:pt x="9357667" y="6114696"/>
                  <a:pt x="9360462" y="6107641"/>
                  <a:pt x="9366053" y="6101917"/>
                </a:cubicBezTo>
                <a:cubicBezTo>
                  <a:pt x="9371644" y="6096193"/>
                  <a:pt x="9378832" y="6093397"/>
                  <a:pt x="9387885" y="6093397"/>
                </a:cubicBezTo>
                <a:close/>
                <a:moveTo>
                  <a:pt x="9170374" y="6093397"/>
                </a:moveTo>
                <a:cubicBezTo>
                  <a:pt x="9174500" y="6093397"/>
                  <a:pt x="9178494" y="6094196"/>
                  <a:pt x="9182088" y="6095926"/>
                </a:cubicBezTo>
                <a:cubicBezTo>
                  <a:pt x="9185682" y="6097524"/>
                  <a:pt x="9188876" y="6099653"/>
                  <a:pt x="9191405" y="6102316"/>
                </a:cubicBezTo>
                <a:cubicBezTo>
                  <a:pt x="9193935" y="6104845"/>
                  <a:pt x="9196065" y="6108040"/>
                  <a:pt x="9197529" y="6111634"/>
                </a:cubicBezTo>
                <a:cubicBezTo>
                  <a:pt x="9198993" y="6115228"/>
                  <a:pt x="9199792" y="6118956"/>
                  <a:pt x="9199792" y="6123082"/>
                </a:cubicBezTo>
                <a:cubicBezTo>
                  <a:pt x="9199792" y="6127209"/>
                  <a:pt x="9198993" y="6131202"/>
                  <a:pt x="9197529" y="6134797"/>
                </a:cubicBezTo>
                <a:cubicBezTo>
                  <a:pt x="9195932" y="6138391"/>
                  <a:pt x="9193935" y="6141453"/>
                  <a:pt x="9191405" y="6144116"/>
                </a:cubicBezTo>
                <a:cubicBezTo>
                  <a:pt x="9188744" y="6146778"/>
                  <a:pt x="9185682" y="6148908"/>
                  <a:pt x="9182088" y="6150372"/>
                </a:cubicBezTo>
                <a:cubicBezTo>
                  <a:pt x="9178494" y="6151836"/>
                  <a:pt x="9174633" y="6152635"/>
                  <a:pt x="9170374" y="6152635"/>
                </a:cubicBezTo>
                <a:cubicBezTo>
                  <a:pt x="9161453" y="6152635"/>
                  <a:pt x="9154132" y="6149706"/>
                  <a:pt x="9148541" y="6144116"/>
                </a:cubicBezTo>
                <a:cubicBezTo>
                  <a:pt x="9142951" y="6138525"/>
                  <a:pt x="9140155" y="6131335"/>
                  <a:pt x="9140155" y="6122949"/>
                </a:cubicBezTo>
                <a:cubicBezTo>
                  <a:pt x="9140155" y="6114696"/>
                  <a:pt x="9142951" y="6107641"/>
                  <a:pt x="9148541" y="6101917"/>
                </a:cubicBezTo>
                <a:cubicBezTo>
                  <a:pt x="9154132" y="6096193"/>
                  <a:pt x="9161321" y="6093397"/>
                  <a:pt x="9170374" y="6093397"/>
                </a:cubicBezTo>
                <a:close/>
                <a:moveTo>
                  <a:pt x="8952728" y="6093397"/>
                </a:moveTo>
                <a:cubicBezTo>
                  <a:pt x="8956988" y="6093397"/>
                  <a:pt x="8960849" y="6094196"/>
                  <a:pt x="8964442" y="6095926"/>
                </a:cubicBezTo>
                <a:cubicBezTo>
                  <a:pt x="8968037" y="6097524"/>
                  <a:pt x="8971231" y="6099653"/>
                  <a:pt x="8973760" y="6102316"/>
                </a:cubicBezTo>
                <a:cubicBezTo>
                  <a:pt x="8976290" y="6104845"/>
                  <a:pt x="8978419" y="6108040"/>
                  <a:pt x="8979884" y="6111634"/>
                </a:cubicBezTo>
                <a:cubicBezTo>
                  <a:pt x="8981348" y="6115228"/>
                  <a:pt x="8982147" y="6118956"/>
                  <a:pt x="8982147" y="6123082"/>
                </a:cubicBezTo>
                <a:cubicBezTo>
                  <a:pt x="8982147" y="6127209"/>
                  <a:pt x="8981348" y="6131202"/>
                  <a:pt x="8979884" y="6134797"/>
                </a:cubicBezTo>
                <a:cubicBezTo>
                  <a:pt x="8978287" y="6138391"/>
                  <a:pt x="8976290" y="6141453"/>
                  <a:pt x="8973760" y="6144116"/>
                </a:cubicBezTo>
                <a:cubicBezTo>
                  <a:pt x="8971098" y="6146778"/>
                  <a:pt x="8968037" y="6148908"/>
                  <a:pt x="8964442" y="6150372"/>
                </a:cubicBezTo>
                <a:cubicBezTo>
                  <a:pt x="8960849" y="6151836"/>
                  <a:pt x="8956988" y="6152635"/>
                  <a:pt x="8952728" y="6152635"/>
                </a:cubicBezTo>
                <a:cubicBezTo>
                  <a:pt x="8943808" y="6152635"/>
                  <a:pt x="8936487" y="6149706"/>
                  <a:pt x="8930896" y="6144116"/>
                </a:cubicBezTo>
                <a:cubicBezTo>
                  <a:pt x="8925305" y="6138525"/>
                  <a:pt x="8922510" y="6131335"/>
                  <a:pt x="8922510" y="6122949"/>
                </a:cubicBezTo>
                <a:cubicBezTo>
                  <a:pt x="8922510" y="6114696"/>
                  <a:pt x="8925305" y="6107641"/>
                  <a:pt x="8930896" y="6101917"/>
                </a:cubicBezTo>
                <a:cubicBezTo>
                  <a:pt x="8936487" y="6096193"/>
                  <a:pt x="8943675" y="6093397"/>
                  <a:pt x="8952728" y="6093397"/>
                </a:cubicBezTo>
                <a:close/>
                <a:moveTo>
                  <a:pt x="8735083" y="6093397"/>
                </a:moveTo>
                <a:cubicBezTo>
                  <a:pt x="8739342" y="6093397"/>
                  <a:pt x="8743203" y="6094196"/>
                  <a:pt x="8746797" y="6095926"/>
                </a:cubicBezTo>
                <a:cubicBezTo>
                  <a:pt x="8750391" y="6097524"/>
                  <a:pt x="8753586" y="6099653"/>
                  <a:pt x="8756115" y="6102316"/>
                </a:cubicBezTo>
                <a:cubicBezTo>
                  <a:pt x="8758644" y="6104845"/>
                  <a:pt x="8760774" y="6108040"/>
                  <a:pt x="8762238" y="6111634"/>
                </a:cubicBezTo>
                <a:cubicBezTo>
                  <a:pt x="8763702" y="6115228"/>
                  <a:pt x="8764502" y="6118956"/>
                  <a:pt x="8764502" y="6123082"/>
                </a:cubicBezTo>
                <a:cubicBezTo>
                  <a:pt x="8764502" y="6127209"/>
                  <a:pt x="8763702" y="6131202"/>
                  <a:pt x="8762238" y="6134797"/>
                </a:cubicBezTo>
                <a:cubicBezTo>
                  <a:pt x="8760641" y="6138391"/>
                  <a:pt x="8758644" y="6141453"/>
                  <a:pt x="8756115" y="6144116"/>
                </a:cubicBezTo>
                <a:cubicBezTo>
                  <a:pt x="8753453" y="6146778"/>
                  <a:pt x="8750391" y="6148908"/>
                  <a:pt x="8746797" y="6150372"/>
                </a:cubicBezTo>
                <a:cubicBezTo>
                  <a:pt x="8743203" y="6151836"/>
                  <a:pt x="8739342" y="6152635"/>
                  <a:pt x="8735083" y="6152635"/>
                </a:cubicBezTo>
                <a:cubicBezTo>
                  <a:pt x="8726030" y="6152635"/>
                  <a:pt x="8718841" y="6149706"/>
                  <a:pt x="8713250" y="6144116"/>
                </a:cubicBezTo>
                <a:cubicBezTo>
                  <a:pt x="8707660" y="6138525"/>
                  <a:pt x="8704864" y="6131335"/>
                  <a:pt x="8704864" y="6122949"/>
                </a:cubicBezTo>
                <a:cubicBezTo>
                  <a:pt x="8704864" y="6114696"/>
                  <a:pt x="8707660" y="6107641"/>
                  <a:pt x="8713250" y="6101917"/>
                </a:cubicBezTo>
                <a:cubicBezTo>
                  <a:pt x="8718841" y="6096193"/>
                  <a:pt x="8726030" y="6093397"/>
                  <a:pt x="8735083" y="6093397"/>
                </a:cubicBezTo>
                <a:close/>
                <a:moveTo>
                  <a:pt x="8517438" y="6093397"/>
                </a:moveTo>
                <a:cubicBezTo>
                  <a:pt x="8521698" y="6093397"/>
                  <a:pt x="8525559" y="6094196"/>
                  <a:pt x="8529152" y="6095926"/>
                </a:cubicBezTo>
                <a:cubicBezTo>
                  <a:pt x="8532880" y="6097524"/>
                  <a:pt x="8535941" y="6099653"/>
                  <a:pt x="8538470" y="6102316"/>
                </a:cubicBezTo>
                <a:cubicBezTo>
                  <a:pt x="8541000" y="6104845"/>
                  <a:pt x="8543130" y="6108040"/>
                  <a:pt x="8544594" y="6111634"/>
                </a:cubicBezTo>
                <a:cubicBezTo>
                  <a:pt x="8546058" y="6115228"/>
                  <a:pt x="8546857" y="6118956"/>
                  <a:pt x="8546857" y="6123082"/>
                </a:cubicBezTo>
                <a:cubicBezTo>
                  <a:pt x="8546857" y="6127209"/>
                  <a:pt x="8546058" y="6131202"/>
                  <a:pt x="8544594" y="6134797"/>
                </a:cubicBezTo>
                <a:cubicBezTo>
                  <a:pt x="8542997" y="6138391"/>
                  <a:pt x="8541000" y="6141453"/>
                  <a:pt x="8538470" y="6144116"/>
                </a:cubicBezTo>
                <a:cubicBezTo>
                  <a:pt x="8535808" y="6146778"/>
                  <a:pt x="8532747" y="6148908"/>
                  <a:pt x="8529152" y="6150372"/>
                </a:cubicBezTo>
                <a:cubicBezTo>
                  <a:pt x="8525559" y="6151836"/>
                  <a:pt x="8521698" y="6152635"/>
                  <a:pt x="8517438" y="6152635"/>
                </a:cubicBezTo>
                <a:cubicBezTo>
                  <a:pt x="8508385" y="6152635"/>
                  <a:pt x="8501197" y="6149706"/>
                  <a:pt x="8495606" y="6144116"/>
                </a:cubicBezTo>
                <a:cubicBezTo>
                  <a:pt x="8490015" y="6138525"/>
                  <a:pt x="8487220" y="6131335"/>
                  <a:pt x="8487220" y="6122949"/>
                </a:cubicBezTo>
                <a:cubicBezTo>
                  <a:pt x="8487220" y="6114696"/>
                  <a:pt x="8490015" y="6107641"/>
                  <a:pt x="8495606" y="6101917"/>
                </a:cubicBezTo>
                <a:cubicBezTo>
                  <a:pt x="8501197" y="6096193"/>
                  <a:pt x="8508385" y="6093397"/>
                  <a:pt x="8517438" y="6093397"/>
                </a:cubicBezTo>
                <a:close/>
                <a:moveTo>
                  <a:pt x="8299793" y="6093397"/>
                </a:moveTo>
                <a:cubicBezTo>
                  <a:pt x="8304052" y="6093397"/>
                  <a:pt x="8308046" y="6094196"/>
                  <a:pt x="8311507" y="6095926"/>
                </a:cubicBezTo>
                <a:cubicBezTo>
                  <a:pt x="8315235" y="6097524"/>
                  <a:pt x="8318296" y="6099653"/>
                  <a:pt x="8320825" y="6102316"/>
                </a:cubicBezTo>
                <a:cubicBezTo>
                  <a:pt x="8323354" y="6104845"/>
                  <a:pt x="8325484" y="6108040"/>
                  <a:pt x="8326948" y="6111634"/>
                </a:cubicBezTo>
                <a:cubicBezTo>
                  <a:pt x="8328413" y="6115228"/>
                  <a:pt x="8329212" y="6118956"/>
                  <a:pt x="8329212" y="6123082"/>
                </a:cubicBezTo>
                <a:cubicBezTo>
                  <a:pt x="8329212" y="6127209"/>
                  <a:pt x="8328413" y="6131202"/>
                  <a:pt x="8326948" y="6134797"/>
                </a:cubicBezTo>
                <a:cubicBezTo>
                  <a:pt x="8325351" y="6138391"/>
                  <a:pt x="8323354" y="6141453"/>
                  <a:pt x="8320825" y="6144116"/>
                </a:cubicBezTo>
                <a:cubicBezTo>
                  <a:pt x="8318163" y="6146778"/>
                  <a:pt x="8315101" y="6148908"/>
                  <a:pt x="8311507" y="6150372"/>
                </a:cubicBezTo>
                <a:cubicBezTo>
                  <a:pt x="8307913" y="6151836"/>
                  <a:pt x="8304052" y="6152635"/>
                  <a:pt x="8299793" y="6152635"/>
                </a:cubicBezTo>
                <a:cubicBezTo>
                  <a:pt x="8290874" y="6152635"/>
                  <a:pt x="8283553" y="6149706"/>
                  <a:pt x="8277960" y="6144116"/>
                </a:cubicBezTo>
                <a:cubicBezTo>
                  <a:pt x="8272370" y="6138525"/>
                  <a:pt x="8269574" y="6131335"/>
                  <a:pt x="8269574" y="6122949"/>
                </a:cubicBezTo>
                <a:cubicBezTo>
                  <a:pt x="8269574" y="6114696"/>
                  <a:pt x="8272370" y="6107641"/>
                  <a:pt x="8277960" y="6101917"/>
                </a:cubicBezTo>
                <a:cubicBezTo>
                  <a:pt x="8283553" y="6096193"/>
                  <a:pt x="8290741" y="6093397"/>
                  <a:pt x="8299793" y="6093397"/>
                </a:cubicBezTo>
                <a:close/>
                <a:moveTo>
                  <a:pt x="8082281" y="6093397"/>
                </a:moveTo>
                <a:cubicBezTo>
                  <a:pt x="8086407" y="6093397"/>
                  <a:pt x="8090401" y="6094196"/>
                  <a:pt x="8094127" y="6095926"/>
                </a:cubicBezTo>
                <a:cubicBezTo>
                  <a:pt x="8097855" y="6097524"/>
                  <a:pt x="8100916" y="6099653"/>
                  <a:pt x="8103446" y="6102316"/>
                </a:cubicBezTo>
                <a:cubicBezTo>
                  <a:pt x="8105975" y="6104845"/>
                  <a:pt x="8108104" y="6108040"/>
                  <a:pt x="8109569" y="6111634"/>
                </a:cubicBezTo>
                <a:cubicBezTo>
                  <a:pt x="8111033" y="6115228"/>
                  <a:pt x="8111832" y="6118956"/>
                  <a:pt x="8111832" y="6123082"/>
                </a:cubicBezTo>
                <a:cubicBezTo>
                  <a:pt x="8111832" y="6127209"/>
                  <a:pt x="8111033" y="6131202"/>
                  <a:pt x="8109569" y="6134797"/>
                </a:cubicBezTo>
                <a:cubicBezTo>
                  <a:pt x="8107972" y="6138391"/>
                  <a:pt x="8105975" y="6141453"/>
                  <a:pt x="8103446" y="6144116"/>
                </a:cubicBezTo>
                <a:cubicBezTo>
                  <a:pt x="8100783" y="6146778"/>
                  <a:pt x="8097722" y="6148908"/>
                  <a:pt x="8094127" y="6150372"/>
                </a:cubicBezTo>
                <a:cubicBezTo>
                  <a:pt x="8090401" y="6151836"/>
                  <a:pt x="8086540" y="6152635"/>
                  <a:pt x="8082281" y="6152635"/>
                </a:cubicBezTo>
                <a:cubicBezTo>
                  <a:pt x="8073361" y="6152635"/>
                  <a:pt x="8066040" y="6149706"/>
                  <a:pt x="8060448" y="6144116"/>
                </a:cubicBezTo>
                <a:cubicBezTo>
                  <a:pt x="8054857" y="6138525"/>
                  <a:pt x="8052062" y="6131335"/>
                  <a:pt x="8052062" y="6122949"/>
                </a:cubicBezTo>
                <a:cubicBezTo>
                  <a:pt x="8052062" y="6114696"/>
                  <a:pt x="8054857" y="6107641"/>
                  <a:pt x="8060448" y="6101917"/>
                </a:cubicBezTo>
                <a:cubicBezTo>
                  <a:pt x="8066040" y="6096193"/>
                  <a:pt x="8073228" y="6093397"/>
                  <a:pt x="8082281" y="6093397"/>
                </a:cubicBezTo>
                <a:close/>
                <a:moveTo>
                  <a:pt x="7864636" y="6093397"/>
                </a:moveTo>
                <a:cubicBezTo>
                  <a:pt x="7868762" y="6093397"/>
                  <a:pt x="7872756" y="6094196"/>
                  <a:pt x="7876483" y="6095926"/>
                </a:cubicBezTo>
                <a:cubicBezTo>
                  <a:pt x="7880210" y="6097524"/>
                  <a:pt x="7883272" y="6099653"/>
                  <a:pt x="7885802" y="6102316"/>
                </a:cubicBezTo>
                <a:cubicBezTo>
                  <a:pt x="7888331" y="6104845"/>
                  <a:pt x="7890460" y="6108040"/>
                  <a:pt x="7891924" y="6111634"/>
                </a:cubicBezTo>
                <a:cubicBezTo>
                  <a:pt x="7893389" y="6115228"/>
                  <a:pt x="7894188" y="6118956"/>
                  <a:pt x="7894188" y="6123082"/>
                </a:cubicBezTo>
                <a:cubicBezTo>
                  <a:pt x="7894188" y="6127209"/>
                  <a:pt x="7893389" y="6131202"/>
                  <a:pt x="7891924" y="6134797"/>
                </a:cubicBezTo>
                <a:cubicBezTo>
                  <a:pt x="7890327" y="6138391"/>
                  <a:pt x="7888331" y="6141453"/>
                  <a:pt x="7885802" y="6144116"/>
                </a:cubicBezTo>
                <a:cubicBezTo>
                  <a:pt x="7883139" y="6146778"/>
                  <a:pt x="7880078" y="6148908"/>
                  <a:pt x="7876483" y="6150372"/>
                </a:cubicBezTo>
                <a:cubicBezTo>
                  <a:pt x="7872756" y="6151836"/>
                  <a:pt x="7868895" y="6152635"/>
                  <a:pt x="7864636" y="6152635"/>
                </a:cubicBezTo>
                <a:cubicBezTo>
                  <a:pt x="7855717" y="6152635"/>
                  <a:pt x="7848396" y="6149706"/>
                  <a:pt x="7842803" y="6144116"/>
                </a:cubicBezTo>
                <a:cubicBezTo>
                  <a:pt x="7837213" y="6138525"/>
                  <a:pt x="7834417" y="6131335"/>
                  <a:pt x="7834417" y="6122949"/>
                </a:cubicBezTo>
                <a:cubicBezTo>
                  <a:pt x="7834417" y="6114696"/>
                  <a:pt x="7837213" y="6107641"/>
                  <a:pt x="7842803" y="6101917"/>
                </a:cubicBezTo>
                <a:cubicBezTo>
                  <a:pt x="7848396" y="6096193"/>
                  <a:pt x="7855584" y="6093397"/>
                  <a:pt x="7864636" y="6093397"/>
                </a:cubicBezTo>
                <a:close/>
                <a:moveTo>
                  <a:pt x="7646991" y="6093397"/>
                </a:moveTo>
                <a:cubicBezTo>
                  <a:pt x="7651250" y="6093397"/>
                  <a:pt x="7655111" y="6094196"/>
                  <a:pt x="7658705" y="6095926"/>
                </a:cubicBezTo>
                <a:cubicBezTo>
                  <a:pt x="7662432" y="6097524"/>
                  <a:pt x="7665493" y="6099653"/>
                  <a:pt x="7668022" y="6102316"/>
                </a:cubicBezTo>
                <a:cubicBezTo>
                  <a:pt x="7670552" y="6104845"/>
                  <a:pt x="7672682" y="6108040"/>
                  <a:pt x="7674146" y="6111634"/>
                </a:cubicBezTo>
                <a:cubicBezTo>
                  <a:pt x="7675610" y="6115228"/>
                  <a:pt x="7676409" y="6118956"/>
                  <a:pt x="7676409" y="6123082"/>
                </a:cubicBezTo>
                <a:cubicBezTo>
                  <a:pt x="7676409" y="6127209"/>
                  <a:pt x="7675610" y="6131202"/>
                  <a:pt x="7674146" y="6134797"/>
                </a:cubicBezTo>
                <a:cubicBezTo>
                  <a:pt x="7672549" y="6138391"/>
                  <a:pt x="7670552" y="6141453"/>
                  <a:pt x="7668022" y="6144116"/>
                </a:cubicBezTo>
                <a:cubicBezTo>
                  <a:pt x="7665361" y="6146778"/>
                  <a:pt x="7662299" y="6148908"/>
                  <a:pt x="7658705" y="6150372"/>
                </a:cubicBezTo>
                <a:cubicBezTo>
                  <a:pt x="7655111" y="6151836"/>
                  <a:pt x="7651250" y="6152635"/>
                  <a:pt x="7646991" y="6152635"/>
                </a:cubicBezTo>
                <a:cubicBezTo>
                  <a:pt x="7638071" y="6152635"/>
                  <a:pt x="7630750" y="6149706"/>
                  <a:pt x="7625158" y="6144116"/>
                </a:cubicBezTo>
                <a:cubicBezTo>
                  <a:pt x="7619568" y="6138525"/>
                  <a:pt x="7616772" y="6131335"/>
                  <a:pt x="7616772" y="6122949"/>
                </a:cubicBezTo>
                <a:cubicBezTo>
                  <a:pt x="7616772" y="6114696"/>
                  <a:pt x="7619568" y="6107641"/>
                  <a:pt x="7625158" y="6101917"/>
                </a:cubicBezTo>
                <a:cubicBezTo>
                  <a:pt x="7630750" y="6096193"/>
                  <a:pt x="7637939" y="6093397"/>
                  <a:pt x="7646991" y="6093397"/>
                </a:cubicBezTo>
                <a:close/>
                <a:moveTo>
                  <a:pt x="7429345" y="6093397"/>
                </a:moveTo>
                <a:cubicBezTo>
                  <a:pt x="7433605" y="6093397"/>
                  <a:pt x="7437466" y="6094196"/>
                  <a:pt x="7441059" y="6095926"/>
                </a:cubicBezTo>
                <a:cubicBezTo>
                  <a:pt x="7444787" y="6097524"/>
                  <a:pt x="7447848" y="6099653"/>
                  <a:pt x="7450377" y="6102316"/>
                </a:cubicBezTo>
                <a:cubicBezTo>
                  <a:pt x="7452907" y="6104845"/>
                  <a:pt x="7455036" y="6108040"/>
                  <a:pt x="7456501" y="6111634"/>
                </a:cubicBezTo>
                <a:cubicBezTo>
                  <a:pt x="7457965" y="6115228"/>
                  <a:pt x="7458764" y="6118956"/>
                  <a:pt x="7458764" y="6123082"/>
                </a:cubicBezTo>
                <a:cubicBezTo>
                  <a:pt x="7458764" y="6127209"/>
                  <a:pt x="7457965" y="6131202"/>
                  <a:pt x="7456501" y="6134797"/>
                </a:cubicBezTo>
                <a:cubicBezTo>
                  <a:pt x="7454904" y="6138391"/>
                  <a:pt x="7452907" y="6141453"/>
                  <a:pt x="7450377" y="6144116"/>
                </a:cubicBezTo>
                <a:cubicBezTo>
                  <a:pt x="7447715" y="6146778"/>
                  <a:pt x="7444654" y="6148908"/>
                  <a:pt x="7441059" y="6150372"/>
                </a:cubicBezTo>
                <a:cubicBezTo>
                  <a:pt x="7437466" y="6151836"/>
                  <a:pt x="7433605" y="6152635"/>
                  <a:pt x="7429345" y="6152635"/>
                </a:cubicBezTo>
                <a:cubicBezTo>
                  <a:pt x="7420426" y="6152635"/>
                  <a:pt x="7413105" y="6149706"/>
                  <a:pt x="7407513" y="6144116"/>
                </a:cubicBezTo>
                <a:cubicBezTo>
                  <a:pt x="7401922" y="6138525"/>
                  <a:pt x="7399127" y="6131335"/>
                  <a:pt x="7399127" y="6122949"/>
                </a:cubicBezTo>
                <a:cubicBezTo>
                  <a:pt x="7399127" y="6114696"/>
                  <a:pt x="7401922" y="6107641"/>
                  <a:pt x="7407513" y="6101917"/>
                </a:cubicBezTo>
                <a:cubicBezTo>
                  <a:pt x="7413105" y="6096193"/>
                  <a:pt x="7420293" y="6093397"/>
                  <a:pt x="7429345" y="6093397"/>
                </a:cubicBezTo>
                <a:close/>
                <a:moveTo>
                  <a:pt x="7211701" y="6093397"/>
                </a:moveTo>
                <a:cubicBezTo>
                  <a:pt x="7215960" y="6093397"/>
                  <a:pt x="7219954" y="6094196"/>
                  <a:pt x="7223415" y="6095926"/>
                </a:cubicBezTo>
                <a:cubicBezTo>
                  <a:pt x="7227142" y="6097524"/>
                  <a:pt x="7230204" y="6099653"/>
                  <a:pt x="7232733" y="6102316"/>
                </a:cubicBezTo>
                <a:cubicBezTo>
                  <a:pt x="7235262" y="6104845"/>
                  <a:pt x="7237392" y="6108040"/>
                  <a:pt x="7238856" y="6111634"/>
                </a:cubicBezTo>
                <a:cubicBezTo>
                  <a:pt x="7240321" y="6115228"/>
                  <a:pt x="7241120" y="6118956"/>
                  <a:pt x="7241120" y="6123082"/>
                </a:cubicBezTo>
                <a:cubicBezTo>
                  <a:pt x="7241120" y="6127209"/>
                  <a:pt x="7240321" y="6131202"/>
                  <a:pt x="7238856" y="6134797"/>
                </a:cubicBezTo>
                <a:cubicBezTo>
                  <a:pt x="7237259" y="6138391"/>
                  <a:pt x="7235262" y="6141453"/>
                  <a:pt x="7232733" y="6144116"/>
                </a:cubicBezTo>
                <a:cubicBezTo>
                  <a:pt x="7230071" y="6146778"/>
                  <a:pt x="7227009" y="6148908"/>
                  <a:pt x="7223415" y="6150372"/>
                </a:cubicBezTo>
                <a:cubicBezTo>
                  <a:pt x="7219821" y="6151836"/>
                  <a:pt x="7215960" y="6152635"/>
                  <a:pt x="7211701" y="6152635"/>
                </a:cubicBezTo>
                <a:cubicBezTo>
                  <a:pt x="7202782" y="6152635"/>
                  <a:pt x="7195460" y="6149706"/>
                  <a:pt x="7189868" y="6144116"/>
                </a:cubicBezTo>
                <a:cubicBezTo>
                  <a:pt x="7184278" y="6138525"/>
                  <a:pt x="7181482" y="6131335"/>
                  <a:pt x="7181482" y="6122949"/>
                </a:cubicBezTo>
                <a:cubicBezTo>
                  <a:pt x="7181482" y="6114696"/>
                  <a:pt x="7184278" y="6107641"/>
                  <a:pt x="7189868" y="6101917"/>
                </a:cubicBezTo>
                <a:cubicBezTo>
                  <a:pt x="7195460" y="6096193"/>
                  <a:pt x="7202649" y="6093397"/>
                  <a:pt x="7211701" y="6093397"/>
                </a:cubicBezTo>
                <a:close/>
                <a:moveTo>
                  <a:pt x="6994056" y="6093397"/>
                </a:moveTo>
                <a:cubicBezTo>
                  <a:pt x="6998315" y="6093397"/>
                  <a:pt x="7002309" y="6094196"/>
                  <a:pt x="7005769" y="6095926"/>
                </a:cubicBezTo>
                <a:cubicBezTo>
                  <a:pt x="7009497" y="6097524"/>
                  <a:pt x="7012558" y="6099653"/>
                  <a:pt x="7015087" y="6102316"/>
                </a:cubicBezTo>
                <a:cubicBezTo>
                  <a:pt x="7017617" y="6104845"/>
                  <a:pt x="7019747" y="6108040"/>
                  <a:pt x="7021211" y="6111634"/>
                </a:cubicBezTo>
                <a:cubicBezTo>
                  <a:pt x="7022675" y="6115228"/>
                  <a:pt x="7023474" y="6118956"/>
                  <a:pt x="7023474" y="6123082"/>
                </a:cubicBezTo>
                <a:cubicBezTo>
                  <a:pt x="7023474" y="6127209"/>
                  <a:pt x="7022675" y="6131202"/>
                  <a:pt x="7021211" y="6134797"/>
                </a:cubicBezTo>
                <a:cubicBezTo>
                  <a:pt x="7019614" y="6138391"/>
                  <a:pt x="7017617" y="6141453"/>
                  <a:pt x="7015087" y="6144116"/>
                </a:cubicBezTo>
                <a:cubicBezTo>
                  <a:pt x="7012425" y="6146778"/>
                  <a:pt x="7009364" y="6148908"/>
                  <a:pt x="7005769" y="6150372"/>
                </a:cubicBezTo>
                <a:cubicBezTo>
                  <a:pt x="7002176" y="6151836"/>
                  <a:pt x="6998315" y="6152635"/>
                  <a:pt x="6994056" y="6152635"/>
                </a:cubicBezTo>
                <a:cubicBezTo>
                  <a:pt x="6985136" y="6152635"/>
                  <a:pt x="6977815" y="6149706"/>
                  <a:pt x="6972223" y="6144116"/>
                </a:cubicBezTo>
                <a:cubicBezTo>
                  <a:pt x="6966632" y="6138525"/>
                  <a:pt x="6963837" y="6131335"/>
                  <a:pt x="6963837" y="6122949"/>
                </a:cubicBezTo>
                <a:cubicBezTo>
                  <a:pt x="6963837" y="6114696"/>
                  <a:pt x="6966632" y="6107641"/>
                  <a:pt x="6972223" y="6101917"/>
                </a:cubicBezTo>
                <a:cubicBezTo>
                  <a:pt x="6977815" y="6096193"/>
                  <a:pt x="6985003" y="6093397"/>
                  <a:pt x="6994056" y="6093397"/>
                </a:cubicBezTo>
                <a:close/>
                <a:moveTo>
                  <a:pt x="6776544" y="6093397"/>
                </a:moveTo>
                <a:cubicBezTo>
                  <a:pt x="6780670" y="6093397"/>
                  <a:pt x="6784664" y="6094196"/>
                  <a:pt x="6788258" y="6095926"/>
                </a:cubicBezTo>
                <a:cubicBezTo>
                  <a:pt x="6791985" y="6097524"/>
                  <a:pt x="6795047" y="6099653"/>
                  <a:pt x="6797576" y="6102316"/>
                </a:cubicBezTo>
                <a:cubicBezTo>
                  <a:pt x="6800105" y="6104845"/>
                  <a:pt x="6802235" y="6108040"/>
                  <a:pt x="6803699" y="6111634"/>
                </a:cubicBezTo>
                <a:cubicBezTo>
                  <a:pt x="6805164" y="6115228"/>
                  <a:pt x="6805963" y="6118956"/>
                  <a:pt x="6805963" y="6123082"/>
                </a:cubicBezTo>
                <a:cubicBezTo>
                  <a:pt x="6805963" y="6127209"/>
                  <a:pt x="6805164" y="6131202"/>
                  <a:pt x="6803699" y="6134797"/>
                </a:cubicBezTo>
                <a:cubicBezTo>
                  <a:pt x="6802102" y="6138391"/>
                  <a:pt x="6800105" y="6141453"/>
                  <a:pt x="6797576" y="6144116"/>
                </a:cubicBezTo>
                <a:cubicBezTo>
                  <a:pt x="6794914" y="6146778"/>
                  <a:pt x="6791852" y="6148908"/>
                  <a:pt x="6788258" y="6150372"/>
                </a:cubicBezTo>
                <a:cubicBezTo>
                  <a:pt x="6784664" y="6151836"/>
                  <a:pt x="6780803" y="6152635"/>
                  <a:pt x="6776544" y="6152635"/>
                </a:cubicBezTo>
                <a:cubicBezTo>
                  <a:pt x="6767625" y="6152635"/>
                  <a:pt x="6760303" y="6149706"/>
                  <a:pt x="6754711" y="6144116"/>
                </a:cubicBezTo>
                <a:cubicBezTo>
                  <a:pt x="6749121" y="6138525"/>
                  <a:pt x="6746325" y="6131335"/>
                  <a:pt x="6746325" y="6122949"/>
                </a:cubicBezTo>
                <a:cubicBezTo>
                  <a:pt x="6746325" y="6114696"/>
                  <a:pt x="6749121" y="6107641"/>
                  <a:pt x="6754711" y="6101917"/>
                </a:cubicBezTo>
                <a:cubicBezTo>
                  <a:pt x="6760303" y="6096193"/>
                  <a:pt x="6767492" y="6093397"/>
                  <a:pt x="6776544" y="6093397"/>
                </a:cubicBezTo>
                <a:close/>
                <a:moveTo>
                  <a:pt x="6558899" y="6093397"/>
                </a:moveTo>
                <a:cubicBezTo>
                  <a:pt x="6563158" y="6093397"/>
                  <a:pt x="6567019" y="6094196"/>
                  <a:pt x="6570612" y="6095926"/>
                </a:cubicBezTo>
                <a:cubicBezTo>
                  <a:pt x="6574340" y="6097524"/>
                  <a:pt x="6577401" y="6099653"/>
                  <a:pt x="6579930" y="6102316"/>
                </a:cubicBezTo>
                <a:cubicBezTo>
                  <a:pt x="6582460" y="6104845"/>
                  <a:pt x="6584590" y="6108040"/>
                  <a:pt x="6586054" y="6111634"/>
                </a:cubicBezTo>
                <a:cubicBezTo>
                  <a:pt x="6587518" y="6115228"/>
                  <a:pt x="6588317" y="6118956"/>
                  <a:pt x="6588317" y="6123082"/>
                </a:cubicBezTo>
                <a:cubicBezTo>
                  <a:pt x="6588317" y="6127209"/>
                  <a:pt x="6587518" y="6131202"/>
                  <a:pt x="6586054" y="6134797"/>
                </a:cubicBezTo>
                <a:cubicBezTo>
                  <a:pt x="6584457" y="6138391"/>
                  <a:pt x="6582460" y="6141453"/>
                  <a:pt x="6579930" y="6144116"/>
                </a:cubicBezTo>
                <a:cubicBezTo>
                  <a:pt x="6577268" y="6146778"/>
                  <a:pt x="6574207" y="6148908"/>
                  <a:pt x="6570612" y="6150372"/>
                </a:cubicBezTo>
                <a:cubicBezTo>
                  <a:pt x="6567019" y="6151836"/>
                  <a:pt x="6563158" y="6152635"/>
                  <a:pt x="6558899" y="6152635"/>
                </a:cubicBezTo>
                <a:cubicBezTo>
                  <a:pt x="6549979" y="6152635"/>
                  <a:pt x="6542658" y="6149706"/>
                  <a:pt x="6537066" y="6144116"/>
                </a:cubicBezTo>
                <a:cubicBezTo>
                  <a:pt x="6531476" y="6138525"/>
                  <a:pt x="6528680" y="6131335"/>
                  <a:pt x="6528680" y="6122949"/>
                </a:cubicBezTo>
                <a:cubicBezTo>
                  <a:pt x="6528680" y="6114696"/>
                  <a:pt x="6531476" y="6107641"/>
                  <a:pt x="6537066" y="6101917"/>
                </a:cubicBezTo>
                <a:cubicBezTo>
                  <a:pt x="6542658" y="6096193"/>
                  <a:pt x="6549846" y="6093397"/>
                  <a:pt x="6558899" y="6093397"/>
                </a:cubicBezTo>
                <a:close/>
                <a:moveTo>
                  <a:pt x="6341253" y="6093397"/>
                </a:moveTo>
                <a:cubicBezTo>
                  <a:pt x="6345513" y="6093397"/>
                  <a:pt x="6349373" y="6094196"/>
                  <a:pt x="6352968" y="6095926"/>
                </a:cubicBezTo>
                <a:cubicBezTo>
                  <a:pt x="6356695" y="6097524"/>
                  <a:pt x="6359757" y="6099653"/>
                  <a:pt x="6362286" y="6102316"/>
                </a:cubicBezTo>
                <a:cubicBezTo>
                  <a:pt x="6364815" y="6104845"/>
                  <a:pt x="6366945" y="6108040"/>
                  <a:pt x="6368409" y="6111634"/>
                </a:cubicBezTo>
                <a:cubicBezTo>
                  <a:pt x="6369874" y="6115228"/>
                  <a:pt x="6370672" y="6118956"/>
                  <a:pt x="6370672" y="6123082"/>
                </a:cubicBezTo>
                <a:cubicBezTo>
                  <a:pt x="6370672" y="6127209"/>
                  <a:pt x="6369874" y="6131202"/>
                  <a:pt x="6368409" y="6134797"/>
                </a:cubicBezTo>
                <a:cubicBezTo>
                  <a:pt x="6366811" y="6138391"/>
                  <a:pt x="6364815" y="6141453"/>
                  <a:pt x="6362286" y="6144116"/>
                </a:cubicBezTo>
                <a:cubicBezTo>
                  <a:pt x="6359623" y="6146778"/>
                  <a:pt x="6356562" y="6148908"/>
                  <a:pt x="6352968" y="6150372"/>
                </a:cubicBezTo>
                <a:cubicBezTo>
                  <a:pt x="6349373" y="6151836"/>
                  <a:pt x="6345513" y="6152635"/>
                  <a:pt x="6341253" y="6152635"/>
                </a:cubicBezTo>
                <a:cubicBezTo>
                  <a:pt x="6332335" y="6152635"/>
                  <a:pt x="6325013" y="6149706"/>
                  <a:pt x="6319421" y="6144116"/>
                </a:cubicBezTo>
                <a:cubicBezTo>
                  <a:pt x="6313830" y="6138525"/>
                  <a:pt x="6311035" y="6131335"/>
                  <a:pt x="6311035" y="6122949"/>
                </a:cubicBezTo>
                <a:cubicBezTo>
                  <a:pt x="6311035" y="6114696"/>
                  <a:pt x="6313830" y="6107641"/>
                  <a:pt x="6319421" y="6101917"/>
                </a:cubicBezTo>
                <a:cubicBezTo>
                  <a:pt x="6325013" y="6096193"/>
                  <a:pt x="6332201" y="6093397"/>
                  <a:pt x="6341253" y="6093397"/>
                </a:cubicBezTo>
                <a:close/>
                <a:moveTo>
                  <a:pt x="6123608" y="6093397"/>
                </a:moveTo>
                <a:cubicBezTo>
                  <a:pt x="6127867" y="6093397"/>
                  <a:pt x="6131728" y="6094196"/>
                  <a:pt x="6135322" y="6095926"/>
                </a:cubicBezTo>
                <a:cubicBezTo>
                  <a:pt x="6139049" y="6097524"/>
                  <a:pt x="6142111" y="6099653"/>
                  <a:pt x="6144640" y="6102316"/>
                </a:cubicBezTo>
                <a:cubicBezTo>
                  <a:pt x="6147169" y="6104845"/>
                  <a:pt x="6149299" y="6108040"/>
                  <a:pt x="6150763" y="6111634"/>
                </a:cubicBezTo>
                <a:cubicBezTo>
                  <a:pt x="6152228" y="6115228"/>
                  <a:pt x="6153026" y="6118956"/>
                  <a:pt x="6153026" y="6123082"/>
                </a:cubicBezTo>
                <a:cubicBezTo>
                  <a:pt x="6153026" y="6127209"/>
                  <a:pt x="6152228" y="6131202"/>
                  <a:pt x="6150763" y="6134797"/>
                </a:cubicBezTo>
                <a:cubicBezTo>
                  <a:pt x="6149299" y="6138391"/>
                  <a:pt x="6147169" y="6141453"/>
                  <a:pt x="6144640" y="6144116"/>
                </a:cubicBezTo>
                <a:cubicBezTo>
                  <a:pt x="6141977" y="6146778"/>
                  <a:pt x="6138916" y="6148908"/>
                  <a:pt x="6135322" y="6150372"/>
                </a:cubicBezTo>
                <a:cubicBezTo>
                  <a:pt x="6131728" y="6151836"/>
                  <a:pt x="6127867" y="6152635"/>
                  <a:pt x="6123608" y="6152635"/>
                </a:cubicBezTo>
                <a:cubicBezTo>
                  <a:pt x="6114689" y="6152635"/>
                  <a:pt x="6107367" y="6149706"/>
                  <a:pt x="6101775" y="6144116"/>
                </a:cubicBezTo>
                <a:cubicBezTo>
                  <a:pt x="6096184" y="6138525"/>
                  <a:pt x="6093389" y="6131335"/>
                  <a:pt x="6093389" y="6122949"/>
                </a:cubicBezTo>
                <a:cubicBezTo>
                  <a:pt x="6093389" y="6114696"/>
                  <a:pt x="6096184" y="6107641"/>
                  <a:pt x="6101775" y="6101917"/>
                </a:cubicBezTo>
                <a:cubicBezTo>
                  <a:pt x="6107367" y="6096193"/>
                  <a:pt x="6114555" y="6093397"/>
                  <a:pt x="6123608" y="6093397"/>
                </a:cubicBezTo>
                <a:close/>
                <a:moveTo>
                  <a:pt x="5905963" y="6093397"/>
                </a:moveTo>
                <a:cubicBezTo>
                  <a:pt x="5910222" y="6093397"/>
                  <a:pt x="5914216" y="6094196"/>
                  <a:pt x="5917677" y="6095926"/>
                </a:cubicBezTo>
                <a:cubicBezTo>
                  <a:pt x="5921404" y="6097524"/>
                  <a:pt x="5924466" y="6099653"/>
                  <a:pt x="5926995" y="6102316"/>
                </a:cubicBezTo>
                <a:cubicBezTo>
                  <a:pt x="5929524" y="6104845"/>
                  <a:pt x="5931654" y="6108040"/>
                  <a:pt x="5933118" y="6111634"/>
                </a:cubicBezTo>
                <a:cubicBezTo>
                  <a:pt x="5934583" y="6115228"/>
                  <a:pt x="5935381" y="6118956"/>
                  <a:pt x="5935381" y="6123082"/>
                </a:cubicBezTo>
                <a:cubicBezTo>
                  <a:pt x="5935381" y="6127209"/>
                  <a:pt x="5934583" y="6131202"/>
                  <a:pt x="5933118" y="6134797"/>
                </a:cubicBezTo>
                <a:cubicBezTo>
                  <a:pt x="5931654" y="6138391"/>
                  <a:pt x="5929524" y="6141453"/>
                  <a:pt x="5926995" y="6144116"/>
                </a:cubicBezTo>
                <a:cubicBezTo>
                  <a:pt x="5924333" y="6146778"/>
                  <a:pt x="5921271" y="6148908"/>
                  <a:pt x="5917677" y="6150372"/>
                </a:cubicBezTo>
                <a:cubicBezTo>
                  <a:pt x="5914083" y="6151836"/>
                  <a:pt x="5910222" y="6152635"/>
                  <a:pt x="5905963" y="6152635"/>
                </a:cubicBezTo>
                <a:cubicBezTo>
                  <a:pt x="5897044" y="6152635"/>
                  <a:pt x="5889722" y="6149706"/>
                  <a:pt x="5884130" y="6144116"/>
                </a:cubicBezTo>
                <a:cubicBezTo>
                  <a:pt x="5878540" y="6138525"/>
                  <a:pt x="5875744" y="6131335"/>
                  <a:pt x="5875744" y="6122949"/>
                </a:cubicBezTo>
                <a:cubicBezTo>
                  <a:pt x="5875744" y="6114696"/>
                  <a:pt x="5878540" y="6107641"/>
                  <a:pt x="5884130" y="6101917"/>
                </a:cubicBezTo>
                <a:cubicBezTo>
                  <a:pt x="5889722" y="6096193"/>
                  <a:pt x="5896910" y="6093397"/>
                  <a:pt x="5905963" y="6093397"/>
                </a:cubicBezTo>
                <a:close/>
                <a:moveTo>
                  <a:pt x="5688451" y="6093397"/>
                </a:moveTo>
                <a:cubicBezTo>
                  <a:pt x="5692577" y="6093397"/>
                  <a:pt x="5696571" y="6094196"/>
                  <a:pt x="5700165" y="6095926"/>
                </a:cubicBezTo>
                <a:cubicBezTo>
                  <a:pt x="5703892" y="6097524"/>
                  <a:pt x="5706954" y="6099653"/>
                  <a:pt x="5709483" y="6102316"/>
                </a:cubicBezTo>
                <a:cubicBezTo>
                  <a:pt x="5712012" y="6104845"/>
                  <a:pt x="5714142" y="6108040"/>
                  <a:pt x="5715606" y="6111634"/>
                </a:cubicBezTo>
                <a:cubicBezTo>
                  <a:pt x="5717071" y="6115228"/>
                  <a:pt x="5717869" y="6118956"/>
                  <a:pt x="5717869" y="6123082"/>
                </a:cubicBezTo>
                <a:cubicBezTo>
                  <a:pt x="5717869" y="6127209"/>
                  <a:pt x="5717071" y="6131202"/>
                  <a:pt x="5715606" y="6134797"/>
                </a:cubicBezTo>
                <a:cubicBezTo>
                  <a:pt x="5714142" y="6138391"/>
                  <a:pt x="5712012" y="6141453"/>
                  <a:pt x="5709483" y="6144116"/>
                </a:cubicBezTo>
                <a:cubicBezTo>
                  <a:pt x="5706820" y="6146778"/>
                  <a:pt x="5703759" y="6148908"/>
                  <a:pt x="5700165" y="6150372"/>
                </a:cubicBezTo>
                <a:cubicBezTo>
                  <a:pt x="5696571" y="6151836"/>
                  <a:pt x="5692710" y="6152635"/>
                  <a:pt x="5688451" y="6152635"/>
                </a:cubicBezTo>
                <a:cubicBezTo>
                  <a:pt x="5679532" y="6152635"/>
                  <a:pt x="5672210" y="6149706"/>
                  <a:pt x="5666618" y="6144116"/>
                </a:cubicBezTo>
                <a:cubicBezTo>
                  <a:pt x="5661028" y="6138525"/>
                  <a:pt x="5658232" y="6131335"/>
                  <a:pt x="5658232" y="6122949"/>
                </a:cubicBezTo>
                <a:cubicBezTo>
                  <a:pt x="5658232" y="6114696"/>
                  <a:pt x="5661028" y="6107641"/>
                  <a:pt x="5666618" y="6101917"/>
                </a:cubicBezTo>
                <a:cubicBezTo>
                  <a:pt x="5672210" y="6096193"/>
                  <a:pt x="5679398" y="6093397"/>
                  <a:pt x="5688451" y="6093397"/>
                </a:cubicBezTo>
                <a:close/>
                <a:moveTo>
                  <a:pt x="5470806" y="6093397"/>
                </a:moveTo>
                <a:cubicBezTo>
                  <a:pt x="5475065" y="6093397"/>
                  <a:pt x="5478926" y="6094196"/>
                  <a:pt x="5482520" y="6095926"/>
                </a:cubicBezTo>
                <a:cubicBezTo>
                  <a:pt x="5486247" y="6097524"/>
                  <a:pt x="5489309" y="6099653"/>
                  <a:pt x="5491838" y="6102316"/>
                </a:cubicBezTo>
                <a:cubicBezTo>
                  <a:pt x="5494367" y="6104845"/>
                  <a:pt x="5496497" y="6108040"/>
                  <a:pt x="5497961" y="6111634"/>
                </a:cubicBezTo>
                <a:cubicBezTo>
                  <a:pt x="5499426" y="6115228"/>
                  <a:pt x="5500224" y="6118956"/>
                  <a:pt x="5500224" y="6123082"/>
                </a:cubicBezTo>
                <a:cubicBezTo>
                  <a:pt x="5500224" y="6127209"/>
                  <a:pt x="5499426" y="6131202"/>
                  <a:pt x="5497961" y="6134797"/>
                </a:cubicBezTo>
                <a:cubicBezTo>
                  <a:pt x="5496497" y="6138391"/>
                  <a:pt x="5494367" y="6141453"/>
                  <a:pt x="5491838" y="6144116"/>
                </a:cubicBezTo>
                <a:cubicBezTo>
                  <a:pt x="5489176" y="6146778"/>
                  <a:pt x="5486114" y="6148908"/>
                  <a:pt x="5482520" y="6150372"/>
                </a:cubicBezTo>
                <a:cubicBezTo>
                  <a:pt x="5478926" y="6151836"/>
                  <a:pt x="5475065" y="6152635"/>
                  <a:pt x="5470806" y="6152635"/>
                </a:cubicBezTo>
                <a:cubicBezTo>
                  <a:pt x="5461887" y="6152635"/>
                  <a:pt x="5454565" y="6149706"/>
                  <a:pt x="5448973" y="6144116"/>
                </a:cubicBezTo>
                <a:cubicBezTo>
                  <a:pt x="5443383" y="6138525"/>
                  <a:pt x="5440587" y="6131335"/>
                  <a:pt x="5440587" y="6122949"/>
                </a:cubicBezTo>
                <a:cubicBezTo>
                  <a:pt x="5440587" y="6114696"/>
                  <a:pt x="5443383" y="6107641"/>
                  <a:pt x="5448973" y="6101917"/>
                </a:cubicBezTo>
                <a:cubicBezTo>
                  <a:pt x="5454565" y="6096193"/>
                  <a:pt x="5461754" y="6093397"/>
                  <a:pt x="5470806" y="6093397"/>
                </a:cubicBezTo>
                <a:close/>
                <a:moveTo>
                  <a:pt x="5253160" y="6093397"/>
                </a:moveTo>
                <a:cubicBezTo>
                  <a:pt x="5257420" y="6093397"/>
                  <a:pt x="5261280" y="6094196"/>
                  <a:pt x="5264875" y="6095926"/>
                </a:cubicBezTo>
                <a:cubicBezTo>
                  <a:pt x="5268602" y="6097524"/>
                  <a:pt x="5271664" y="6099653"/>
                  <a:pt x="5274192" y="6102316"/>
                </a:cubicBezTo>
                <a:cubicBezTo>
                  <a:pt x="5276722" y="6104845"/>
                  <a:pt x="5278852" y="6108040"/>
                  <a:pt x="5280316" y="6111634"/>
                </a:cubicBezTo>
                <a:cubicBezTo>
                  <a:pt x="5281780" y="6115228"/>
                  <a:pt x="5282579" y="6118956"/>
                  <a:pt x="5282579" y="6123082"/>
                </a:cubicBezTo>
                <a:cubicBezTo>
                  <a:pt x="5282579" y="6127209"/>
                  <a:pt x="5281780" y="6131202"/>
                  <a:pt x="5280316" y="6134797"/>
                </a:cubicBezTo>
                <a:cubicBezTo>
                  <a:pt x="5278852" y="6138391"/>
                  <a:pt x="5276722" y="6141453"/>
                  <a:pt x="5274192" y="6144116"/>
                </a:cubicBezTo>
                <a:cubicBezTo>
                  <a:pt x="5271664" y="6146778"/>
                  <a:pt x="5268469" y="6148908"/>
                  <a:pt x="5264875" y="6150372"/>
                </a:cubicBezTo>
                <a:cubicBezTo>
                  <a:pt x="5261280" y="6151836"/>
                  <a:pt x="5257420" y="6152635"/>
                  <a:pt x="5253160" y="6152635"/>
                </a:cubicBezTo>
                <a:cubicBezTo>
                  <a:pt x="5244241" y="6152635"/>
                  <a:pt x="5236920" y="6149706"/>
                  <a:pt x="5231328" y="6144116"/>
                </a:cubicBezTo>
                <a:cubicBezTo>
                  <a:pt x="5225737" y="6138525"/>
                  <a:pt x="5222942" y="6131335"/>
                  <a:pt x="5222942" y="6122949"/>
                </a:cubicBezTo>
                <a:cubicBezTo>
                  <a:pt x="5222942" y="6114696"/>
                  <a:pt x="5225737" y="6107641"/>
                  <a:pt x="5231328" y="6101917"/>
                </a:cubicBezTo>
                <a:cubicBezTo>
                  <a:pt x="5236920" y="6096193"/>
                  <a:pt x="5244108" y="6093397"/>
                  <a:pt x="5253160" y="6093397"/>
                </a:cubicBezTo>
                <a:close/>
                <a:moveTo>
                  <a:pt x="5035515" y="6093397"/>
                </a:moveTo>
                <a:cubicBezTo>
                  <a:pt x="5039775" y="6093397"/>
                  <a:pt x="5043636" y="6094196"/>
                  <a:pt x="5047230" y="6095926"/>
                </a:cubicBezTo>
                <a:cubicBezTo>
                  <a:pt x="5050957" y="6097524"/>
                  <a:pt x="5054019" y="6099653"/>
                  <a:pt x="5056548" y="6102316"/>
                </a:cubicBezTo>
                <a:cubicBezTo>
                  <a:pt x="5059077" y="6104845"/>
                  <a:pt x="5061207" y="6108040"/>
                  <a:pt x="5062671" y="6111634"/>
                </a:cubicBezTo>
                <a:cubicBezTo>
                  <a:pt x="5064135" y="6115228"/>
                  <a:pt x="5064934" y="6118956"/>
                  <a:pt x="5064934" y="6123082"/>
                </a:cubicBezTo>
                <a:cubicBezTo>
                  <a:pt x="5064934" y="6127209"/>
                  <a:pt x="5064135" y="6131202"/>
                  <a:pt x="5062671" y="6134797"/>
                </a:cubicBezTo>
                <a:cubicBezTo>
                  <a:pt x="5061207" y="6138391"/>
                  <a:pt x="5059077" y="6141453"/>
                  <a:pt x="5056548" y="6144116"/>
                </a:cubicBezTo>
                <a:cubicBezTo>
                  <a:pt x="5053885" y="6146778"/>
                  <a:pt x="5050824" y="6148908"/>
                  <a:pt x="5047230" y="6150372"/>
                </a:cubicBezTo>
                <a:cubicBezTo>
                  <a:pt x="5043636" y="6151836"/>
                  <a:pt x="5039775" y="6152635"/>
                  <a:pt x="5035515" y="6152635"/>
                </a:cubicBezTo>
                <a:cubicBezTo>
                  <a:pt x="5026597" y="6152635"/>
                  <a:pt x="5019275" y="6149706"/>
                  <a:pt x="5013683" y="6144116"/>
                </a:cubicBezTo>
                <a:cubicBezTo>
                  <a:pt x="5008092" y="6138525"/>
                  <a:pt x="5005297" y="6131335"/>
                  <a:pt x="5005297" y="6122949"/>
                </a:cubicBezTo>
                <a:cubicBezTo>
                  <a:pt x="5005297" y="6114696"/>
                  <a:pt x="5008092" y="6107641"/>
                  <a:pt x="5013683" y="6101917"/>
                </a:cubicBezTo>
                <a:cubicBezTo>
                  <a:pt x="5019275" y="6096193"/>
                  <a:pt x="5026463" y="6093397"/>
                  <a:pt x="5035515" y="6093397"/>
                </a:cubicBezTo>
                <a:close/>
                <a:moveTo>
                  <a:pt x="4817870" y="6093397"/>
                </a:moveTo>
                <a:cubicBezTo>
                  <a:pt x="4822130" y="6093397"/>
                  <a:pt x="4826124" y="6094196"/>
                  <a:pt x="4829585" y="6095926"/>
                </a:cubicBezTo>
                <a:cubicBezTo>
                  <a:pt x="4833312" y="6097524"/>
                  <a:pt x="4836374" y="6099653"/>
                  <a:pt x="4838903" y="6102316"/>
                </a:cubicBezTo>
                <a:cubicBezTo>
                  <a:pt x="4841432" y="6104845"/>
                  <a:pt x="4843562" y="6108040"/>
                  <a:pt x="4845026" y="6111634"/>
                </a:cubicBezTo>
                <a:cubicBezTo>
                  <a:pt x="4846491" y="6115228"/>
                  <a:pt x="4847289" y="6118956"/>
                  <a:pt x="4847289" y="6123082"/>
                </a:cubicBezTo>
                <a:cubicBezTo>
                  <a:pt x="4847289" y="6127209"/>
                  <a:pt x="4846491" y="6131202"/>
                  <a:pt x="4845026" y="6134797"/>
                </a:cubicBezTo>
                <a:cubicBezTo>
                  <a:pt x="4843562" y="6138391"/>
                  <a:pt x="4841432" y="6141453"/>
                  <a:pt x="4838903" y="6144116"/>
                </a:cubicBezTo>
                <a:cubicBezTo>
                  <a:pt x="4836240" y="6146778"/>
                  <a:pt x="4833179" y="6148908"/>
                  <a:pt x="4829585" y="6150372"/>
                </a:cubicBezTo>
                <a:cubicBezTo>
                  <a:pt x="4825991" y="6151836"/>
                  <a:pt x="4822130" y="6152635"/>
                  <a:pt x="4817870" y="6152635"/>
                </a:cubicBezTo>
                <a:cubicBezTo>
                  <a:pt x="4808952" y="6152635"/>
                  <a:pt x="4801630" y="6149706"/>
                  <a:pt x="4796038" y="6144116"/>
                </a:cubicBezTo>
                <a:cubicBezTo>
                  <a:pt x="4790447" y="6138525"/>
                  <a:pt x="4787652" y="6131335"/>
                  <a:pt x="4787652" y="6122949"/>
                </a:cubicBezTo>
                <a:cubicBezTo>
                  <a:pt x="4787652" y="6114696"/>
                  <a:pt x="4790447" y="6107641"/>
                  <a:pt x="4796038" y="6101917"/>
                </a:cubicBezTo>
                <a:cubicBezTo>
                  <a:pt x="4801630" y="6096193"/>
                  <a:pt x="4808818" y="6093397"/>
                  <a:pt x="4817870" y="6093397"/>
                </a:cubicBezTo>
                <a:close/>
                <a:moveTo>
                  <a:pt x="4600226" y="6093397"/>
                </a:moveTo>
                <a:cubicBezTo>
                  <a:pt x="4604485" y="6093397"/>
                  <a:pt x="4608479" y="6094196"/>
                  <a:pt x="4612073" y="6095926"/>
                </a:cubicBezTo>
                <a:cubicBezTo>
                  <a:pt x="4615800" y="6097524"/>
                  <a:pt x="4618862" y="6099653"/>
                  <a:pt x="4621391" y="6102316"/>
                </a:cubicBezTo>
                <a:cubicBezTo>
                  <a:pt x="4623920" y="6104845"/>
                  <a:pt x="4626050" y="6108040"/>
                  <a:pt x="4627514" y="6111634"/>
                </a:cubicBezTo>
                <a:cubicBezTo>
                  <a:pt x="4628978" y="6115228"/>
                  <a:pt x="4629777" y="6118956"/>
                  <a:pt x="4629777" y="6123082"/>
                </a:cubicBezTo>
                <a:cubicBezTo>
                  <a:pt x="4629777" y="6127209"/>
                  <a:pt x="4628978" y="6131202"/>
                  <a:pt x="4627514" y="6134797"/>
                </a:cubicBezTo>
                <a:cubicBezTo>
                  <a:pt x="4626050" y="6138391"/>
                  <a:pt x="4623920" y="6141453"/>
                  <a:pt x="4621391" y="6144116"/>
                </a:cubicBezTo>
                <a:cubicBezTo>
                  <a:pt x="4618729" y="6146778"/>
                  <a:pt x="4615667" y="6148908"/>
                  <a:pt x="4612073" y="6150372"/>
                </a:cubicBezTo>
                <a:cubicBezTo>
                  <a:pt x="4608346" y="6151836"/>
                  <a:pt x="4604485" y="6152635"/>
                  <a:pt x="4600226" y="6152635"/>
                </a:cubicBezTo>
                <a:cubicBezTo>
                  <a:pt x="4591173" y="6152635"/>
                  <a:pt x="4583985" y="6149706"/>
                  <a:pt x="4578393" y="6144116"/>
                </a:cubicBezTo>
                <a:cubicBezTo>
                  <a:pt x="4572803" y="6138525"/>
                  <a:pt x="4570007" y="6131335"/>
                  <a:pt x="4570007" y="6122949"/>
                </a:cubicBezTo>
                <a:cubicBezTo>
                  <a:pt x="4570007" y="6114696"/>
                  <a:pt x="4572803" y="6107641"/>
                  <a:pt x="4578393" y="6101917"/>
                </a:cubicBezTo>
                <a:cubicBezTo>
                  <a:pt x="4583985" y="6096193"/>
                  <a:pt x="4591173" y="6093397"/>
                  <a:pt x="4600226" y="6093397"/>
                </a:cubicBezTo>
                <a:close/>
                <a:moveTo>
                  <a:pt x="4382713" y="6093397"/>
                </a:moveTo>
                <a:cubicBezTo>
                  <a:pt x="4386840" y="6093397"/>
                  <a:pt x="4390834" y="6094196"/>
                  <a:pt x="4394428" y="6095926"/>
                </a:cubicBezTo>
                <a:cubicBezTo>
                  <a:pt x="4398155" y="6097524"/>
                  <a:pt x="4401217" y="6099653"/>
                  <a:pt x="4403746" y="6102316"/>
                </a:cubicBezTo>
                <a:cubicBezTo>
                  <a:pt x="4406275" y="6104845"/>
                  <a:pt x="4408405" y="6108040"/>
                  <a:pt x="4409869" y="6111634"/>
                </a:cubicBezTo>
                <a:cubicBezTo>
                  <a:pt x="4411334" y="6115228"/>
                  <a:pt x="4412132" y="6118956"/>
                  <a:pt x="4412132" y="6123082"/>
                </a:cubicBezTo>
                <a:cubicBezTo>
                  <a:pt x="4412132" y="6127209"/>
                  <a:pt x="4411334" y="6131202"/>
                  <a:pt x="4409869" y="6134797"/>
                </a:cubicBezTo>
                <a:cubicBezTo>
                  <a:pt x="4408405" y="6138391"/>
                  <a:pt x="4406275" y="6141453"/>
                  <a:pt x="4403746" y="6144116"/>
                </a:cubicBezTo>
                <a:cubicBezTo>
                  <a:pt x="4401083" y="6146778"/>
                  <a:pt x="4398022" y="6148908"/>
                  <a:pt x="4394428" y="6150372"/>
                </a:cubicBezTo>
                <a:cubicBezTo>
                  <a:pt x="4390834" y="6151836"/>
                  <a:pt x="4386973" y="6152635"/>
                  <a:pt x="4382713" y="6152635"/>
                </a:cubicBezTo>
                <a:cubicBezTo>
                  <a:pt x="4373661" y="6152635"/>
                  <a:pt x="4366473" y="6149706"/>
                  <a:pt x="4360881" y="6144116"/>
                </a:cubicBezTo>
                <a:cubicBezTo>
                  <a:pt x="4355290" y="6138525"/>
                  <a:pt x="4352495" y="6131335"/>
                  <a:pt x="4352495" y="6122949"/>
                </a:cubicBezTo>
                <a:cubicBezTo>
                  <a:pt x="4352495" y="6114696"/>
                  <a:pt x="4355290" y="6107641"/>
                  <a:pt x="4360881" y="6101917"/>
                </a:cubicBezTo>
                <a:cubicBezTo>
                  <a:pt x="4366473" y="6096193"/>
                  <a:pt x="4373661" y="6093397"/>
                  <a:pt x="4382713" y="6093397"/>
                </a:cubicBezTo>
                <a:close/>
                <a:moveTo>
                  <a:pt x="4165068" y="6093397"/>
                </a:moveTo>
                <a:cubicBezTo>
                  <a:pt x="4169327" y="6093397"/>
                  <a:pt x="4173188" y="6094196"/>
                  <a:pt x="4176782" y="6095926"/>
                </a:cubicBezTo>
                <a:cubicBezTo>
                  <a:pt x="4180509" y="6097524"/>
                  <a:pt x="4183571" y="6099653"/>
                  <a:pt x="4186100" y="6102316"/>
                </a:cubicBezTo>
                <a:cubicBezTo>
                  <a:pt x="4188629" y="6104845"/>
                  <a:pt x="4190759" y="6108040"/>
                  <a:pt x="4192223" y="6111634"/>
                </a:cubicBezTo>
                <a:cubicBezTo>
                  <a:pt x="4193688" y="6115228"/>
                  <a:pt x="4194486" y="6118956"/>
                  <a:pt x="4194486" y="6123082"/>
                </a:cubicBezTo>
                <a:cubicBezTo>
                  <a:pt x="4194486" y="6127209"/>
                  <a:pt x="4193688" y="6131202"/>
                  <a:pt x="4192223" y="6134797"/>
                </a:cubicBezTo>
                <a:cubicBezTo>
                  <a:pt x="4190759" y="6138391"/>
                  <a:pt x="4188629" y="6141453"/>
                  <a:pt x="4186100" y="6144116"/>
                </a:cubicBezTo>
                <a:cubicBezTo>
                  <a:pt x="4183438" y="6146778"/>
                  <a:pt x="4180376" y="6148908"/>
                  <a:pt x="4176782" y="6150372"/>
                </a:cubicBezTo>
                <a:cubicBezTo>
                  <a:pt x="4173188" y="6151836"/>
                  <a:pt x="4169327" y="6152635"/>
                  <a:pt x="4165068" y="6152635"/>
                </a:cubicBezTo>
                <a:cubicBezTo>
                  <a:pt x="4156015" y="6152635"/>
                  <a:pt x="4148827" y="6149706"/>
                  <a:pt x="4143235" y="6144116"/>
                </a:cubicBezTo>
                <a:cubicBezTo>
                  <a:pt x="4137645" y="6138525"/>
                  <a:pt x="4134849" y="6131335"/>
                  <a:pt x="4134849" y="6122949"/>
                </a:cubicBezTo>
                <a:cubicBezTo>
                  <a:pt x="4134849" y="6114696"/>
                  <a:pt x="4137645" y="6107641"/>
                  <a:pt x="4143235" y="6101917"/>
                </a:cubicBezTo>
                <a:cubicBezTo>
                  <a:pt x="4148827" y="6096193"/>
                  <a:pt x="4156015" y="6093397"/>
                  <a:pt x="4165068" y="6093397"/>
                </a:cubicBezTo>
                <a:close/>
                <a:moveTo>
                  <a:pt x="3947756" y="6093397"/>
                </a:moveTo>
                <a:cubicBezTo>
                  <a:pt x="3952018" y="6093397"/>
                  <a:pt x="3955879" y="6094196"/>
                  <a:pt x="3959474" y="6095926"/>
                </a:cubicBezTo>
                <a:cubicBezTo>
                  <a:pt x="3963203" y="6097524"/>
                  <a:pt x="3966263" y="6099653"/>
                  <a:pt x="3968792" y="6102316"/>
                </a:cubicBezTo>
                <a:cubicBezTo>
                  <a:pt x="3971323" y="6104845"/>
                  <a:pt x="3973452" y="6108040"/>
                  <a:pt x="3974916" y="6111634"/>
                </a:cubicBezTo>
                <a:cubicBezTo>
                  <a:pt x="3976381" y="6115228"/>
                  <a:pt x="3977180" y="6118956"/>
                  <a:pt x="3977180" y="6123082"/>
                </a:cubicBezTo>
                <a:cubicBezTo>
                  <a:pt x="3977180" y="6127209"/>
                  <a:pt x="3976381" y="6131202"/>
                  <a:pt x="3974916" y="6134797"/>
                </a:cubicBezTo>
                <a:cubicBezTo>
                  <a:pt x="3973452" y="6138391"/>
                  <a:pt x="3971323" y="6141453"/>
                  <a:pt x="3968792" y="6144116"/>
                </a:cubicBezTo>
                <a:cubicBezTo>
                  <a:pt x="3966130" y="6146778"/>
                  <a:pt x="3963069" y="6148908"/>
                  <a:pt x="3959474" y="6150372"/>
                </a:cubicBezTo>
                <a:cubicBezTo>
                  <a:pt x="3955879" y="6151836"/>
                  <a:pt x="3952018" y="6152635"/>
                  <a:pt x="3947756" y="6152635"/>
                </a:cubicBezTo>
                <a:cubicBezTo>
                  <a:pt x="3938703" y="6152635"/>
                  <a:pt x="3931515" y="6149706"/>
                  <a:pt x="3925923" y="6144116"/>
                </a:cubicBezTo>
                <a:cubicBezTo>
                  <a:pt x="3920332" y="6138525"/>
                  <a:pt x="3917537" y="6131335"/>
                  <a:pt x="3917537" y="6122949"/>
                </a:cubicBezTo>
                <a:cubicBezTo>
                  <a:pt x="3917537" y="6114696"/>
                  <a:pt x="3920332" y="6107641"/>
                  <a:pt x="3925923" y="6101917"/>
                </a:cubicBezTo>
                <a:cubicBezTo>
                  <a:pt x="3931515" y="6096193"/>
                  <a:pt x="3938703" y="6093397"/>
                  <a:pt x="3947756" y="6093397"/>
                </a:cubicBezTo>
                <a:close/>
                <a:moveTo>
                  <a:pt x="3730096" y="6093397"/>
                </a:moveTo>
                <a:cubicBezTo>
                  <a:pt x="3734357" y="6093397"/>
                  <a:pt x="3738349" y="6094196"/>
                  <a:pt x="3741812" y="6095926"/>
                </a:cubicBezTo>
                <a:cubicBezTo>
                  <a:pt x="3745406" y="6097524"/>
                  <a:pt x="3748601" y="6099653"/>
                  <a:pt x="3751130" y="6102316"/>
                </a:cubicBezTo>
                <a:cubicBezTo>
                  <a:pt x="3753659" y="6104845"/>
                  <a:pt x="3755789" y="6108040"/>
                  <a:pt x="3757253" y="6111634"/>
                </a:cubicBezTo>
                <a:cubicBezTo>
                  <a:pt x="3758717" y="6115228"/>
                  <a:pt x="3759516" y="6118956"/>
                  <a:pt x="3759516" y="6123082"/>
                </a:cubicBezTo>
                <a:cubicBezTo>
                  <a:pt x="3759516" y="6127209"/>
                  <a:pt x="3758717" y="6131202"/>
                  <a:pt x="3757253" y="6134797"/>
                </a:cubicBezTo>
                <a:cubicBezTo>
                  <a:pt x="3755789" y="6138391"/>
                  <a:pt x="3753659" y="6141453"/>
                  <a:pt x="3751130" y="6144116"/>
                </a:cubicBezTo>
                <a:cubicBezTo>
                  <a:pt x="3748467" y="6146778"/>
                  <a:pt x="3745406" y="6148908"/>
                  <a:pt x="3741812" y="6150372"/>
                </a:cubicBezTo>
                <a:cubicBezTo>
                  <a:pt x="3738218" y="6151836"/>
                  <a:pt x="3734357" y="6152635"/>
                  <a:pt x="3730096" y="6152635"/>
                </a:cubicBezTo>
                <a:cubicBezTo>
                  <a:pt x="3721044" y="6152635"/>
                  <a:pt x="3713854" y="6149706"/>
                  <a:pt x="3708255" y="6144116"/>
                </a:cubicBezTo>
                <a:cubicBezTo>
                  <a:pt x="3702662" y="6138525"/>
                  <a:pt x="3699868" y="6131335"/>
                  <a:pt x="3699868" y="6122949"/>
                </a:cubicBezTo>
                <a:cubicBezTo>
                  <a:pt x="3699868" y="6114696"/>
                  <a:pt x="3702662" y="6107641"/>
                  <a:pt x="3708255" y="6101917"/>
                </a:cubicBezTo>
                <a:cubicBezTo>
                  <a:pt x="3713854" y="6096193"/>
                  <a:pt x="3721044" y="6093397"/>
                  <a:pt x="3730096" y="6093397"/>
                </a:cubicBezTo>
                <a:close/>
                <a:moveTo>
                  <a:pt x="3512433" y="6093397"/>
                </a:moveTo>
                <a:cubicBezTo>
                  <a:pt x="3516694" y="6093397"/>
                  <a:pt x="3520687" y="6094196"/>
                  <a:pt x="3524149" y="6095926"/>
                </a:cubicBezTo>
                <a:cubicBezTo>
                  <a:pt x="3527743" y="6097524"/>
                  <a:pt x="3530938" y="6099653"/>
                  <a:pt x="3533467" y="6102316"/>
                </a:cubicBezTo>
                <a:cubicBezTo>
                  <a:pt x="3535996" y="6104845"/>
                  <a:pt x="3538127" y="6108040"/>
                  <a:pt x="3539591" y="6111634"/>
                </a:cubicBezTo>
                <a:cubicBezTo>
                  <a:pt x="3541055" y="6115228"/>
                  <a:pt x="3541854" y="6118956"/>
                  <a:pt x="3541854" y="6123082"/>
                </a:cubicBezTo>
                <a:cubicBezTo>
                  <a:pt x="3541854" y="6127209"/>
                  <a:pt x="3541055" y="6131202"/>
                  <a:pt x="3539591" y="6134797"/>
                </a:cubicBezTo>
                <a:cubicBezTo>
                  <a:pt x="3538127" y="6138391"/>
                  <a:pt x="3535996" y="6141453"/>
                  <a:pt x="3533467" y="6144116"/>
                </a:cubicBezTo>
                <a:cubicBezTo>
                  <a:pt x="3530804" y="6146778"/>
                  <a:pt x="3527743" y="6148908"/>
                  <a:pt x="3524149" y="6150372"/>
                </a:cubicBezTo>
                <a:cubicBezTo>
                  <a:pt x="3520555" y="6151836"/>
                  <a:pt x="3516694" y="6152635"/>
                  <a:pt x="3512433" y="6152635"/>
                </a:cubicBezTo>
                <a:cubicBezTo>
                  <a:pt x="3503377" y="6152635"/>
                  <a:pt x="3496187" y="6149706"/>
                  <a:pt x="3490596" y="6144116"/>
                </a:cubicBezTo>
                <a:cubicBezTo>
                  <a:pt x="3485005" y="6138525"/>
                  <a:pt x="3482209" y="6131335"/>
                  <a:pt x="3482209" y="6122949"/>
                </a:cubicBezTo>
                <a:cubicBezTo>
                  <a:pt x="3482209" y="6114696"/>
                  <a:pt x="3485005" y="6107641"/>
                  <a:pt x="3490596" y="6101917"/>
                </a:cubicBezTo>
                <a:cubicBezTo>
                  <a:pt x="3496187" y="6096193"/>
                  <a:pt x="3503377" y="6093397"/>
                  <a:pt x="3512433" y="6093397"/>
                </a:cubicBezTo>
                <a:close/>
                <a:moveTo>
                  <a:pt x="3294904" y="6093397"/>
                </a:moveTo>
                <a:cubicBezTo>
                  <a:pt x="3299031" y="6093397"/>
                  <a:pt x="3303026" y="6094196"/>
                  <a:pt x="3306620" y="6095926"/>
                </a:cubicBezTo>
                <a:cubicBezTo>
                  <a:pt x="3310347" y="6097524"/>
                  <a:pt x="3313409" y="6099653"/>
                  <a:pt x="3315938" y="6102316"/>
                </a:cubicBezTo>
                <a:cubicBezTo>
                  <a:pt x="3318467" y="6104845"/>
                  <a:pt x="3320597" y="6108040"/>
                  <a:pt x="3322061" y="6111634"/>
                </a:cubicBezTo>
                <a:cubicBezTo>
                  <a:pt x="3323525" y="6115228"/>
                  <a:pt x="3324324" y="6118956"/>
                  <a:pt x="3324324" y="6123082"/>
                </a:cubicBezTo>
                <a:cubicBezTo>
                  <a:pt x="3324324" y="6127209"/>
                  <a:pt x="3323525" y="6131202"/>
                  <a:pt x="3322061" y="6134797"/>
                </a:cubicBezTo>
                <a:cubicBezTo>
                  <a:pt x="3320597" y="6138391"/>
                  <a:pt x="3318467" y="6141453"/>
                  <a:pt x="3315938" y="6144116"/>
                </a:cubicBezTo>
                <a:cubicBezTo>
                  <a:pt x="3313275" y="6146778"/>
                  <a:pt x="3310213" y="6148908"/>
                  <a:pt x="3306620" y="6150372"/>
                </a:cubicBezTo>
                <a:cubicBezTo>
                  <a:pt x="3303026" y="6151836"/>
                  <a:pt x="3299165" y="6152635"/>
                  <a:pt x="3294904" y="6152635"/>
                </a:cubicBezTo>
                <a:cubicBezTo>
                  <a:pt x="3285849" y="6152635"/>
                  <a:pt x="3278660" y="6149706"/>
                  <a:pt x="3273066" y="6144116"/>
                </a:cubicBezTo>
                <a:cubicBezTo>
                  <a:pt x="3267472" y="6138525"/>
                  <a:pt x="3264677" y="6131335"/>
                  <a:pt x="3264677" y="6122949"/>
                </a:cubicBezTo>
                <a:cubicBezTo>
                  <a:pt x="3264677" y="6114696"/>
                  <a:pt x="3267472" y="6107641"/>
                  <a:pt x="3273066" y="6101917"/>
                </a:cubicBezTo>
                <a:cubicBezTo>
                  <a:pt x="3278660" y="6096193"/>
                  <a:pt x="3285849" y="6093397"/>
                  <a:pt x="3294904" y="6093397"/>
                </a:cubicBezTo>
                <a:close/>
                <a:moveTo>
                  <a:pt x="3077241" y="6093397"/>
                </a:moveTo>
                <a:cubicBezTo>
                  <a:pt x="3081369" y="6093397"/>
                  <a:pt x="3085363" y="6094196"/>
                  <a:pt x="3088957" y="6095926"/>
                </a:cubicBezTo>
                <a:cubicBezTo>
                  <a:pt x="3092551" y="6097524"/>
                  <a:pt x="3095747" y="6099653"/>
                  <a:pt x="3098275" y="6102316"/>
                </a:cubicBezTo>
                <a:cubicBezTo>
                  <a:pt x="3100804" y="6104845"/>
                  <a:pt x="3102934" y="6108040"/>
                  <a:pt x="3104398" y="6111634"/>
                </a:cubicBezTo>
                <a:cubicBezTo>
                  <a:pt x="3105863" y="6115228"/>
                  <a:pt x="3106661" y="6118956"/>
                  <a:pt x="3106661" y="6123082"/>
                </a:cubicBezTo>
                <a:cubicBezTo>
                  <a:pt x="3106661" y="6127209"/>
                  <a:pt x="3105863" y="6131202"/>
                  <a:pt x="3104398" y="6134797"/>
                </a:cubicBezTo>
                <a:cubicBezTo>
                  <a:pt x="3102934" y="6138391"/>
                  <a:pt x="3100804" y="6141453"/>
                  <a:pt x="3098275" y="6144116"/>
                </a:cubicBezTo>
                <a:cubicBezTo>
                  <a:pt x="3095613" y="6146778"/>
                  <a:pt x="3092551" y="6148908"/>
                  <a:pt x="3088957" y="6150372"/>
                </a:cubicBezTo>
                <a:cubicBezTo>
                  <a:pt x="3085363" y="6151836"/>
                  <a:pt x="3081502" y="6152635"/>
                  <a:pt x="3077241" y="6152635"/>
                </a:cubicBezTo>
                <a:cubicBezTo>
                  <a:pt x="3068321" y="6152635"/>
                  <a:pt x="3060997" y="6149706"/>
                  <a:pt x="3055403" y="6144116"/>
                </a:cubicBezTo>
                <a:cubicBezTo>
                  <a:pt x="3049812" y="6138525"/>
                  <a:pt x="3047016" y="6131335"/>
                  <a:pt x="3047016" y="6122949"/>
                </a:cubicBezTo>
                <a:cubicBezTo>
                  <a:pt x="3047016" y="6114696"/>
                  <a:pt x="3049812" y="6107641"/>
                  <a:pt x="3055403" y="6101917"/>
                </a:cubicBezTo>
                <a:cubicBezTo>
                  <a:pt x="3060997" y="6096193"/>
                  <a:pt x="3068188" y="6093397"/>
                  <a:pt x="3077241" y="6093397"/>
                </a:cubicBezTo>
                <a:close/>
                <a:moveTo>
                  <a:pt x="2859579" y="6093397"/>
                </a:moveTo>
                <a:cubicBezTo>
                  <a:pt x="2863840" y="6093397"/>
                  <a:pt x="2867701" y="6094196"/>
                  <a:pt x="2871428" y="6095926"/>
                </a:cubicBezTo>
                <a:cubicBezTo>
                  <a:pt x="2875154" y="6097524"/>
                  <a:pt x="2878216" y="6099653"/>
                  <a:pt x="2880746" y="6102316"/>
                </a:cubicBezTo>
                <a:cubicBezTo>
                  <a:pt x="2883407" y="6104845"/>
                  <a:pt x="2885405" y="6108040"/>
                  <a:pt x="2886869" y="6111634"/>
                </a:cubicBezTo>
                <a:cubicBezTo>
                  <a:pt x="2888333" y="6115228"/>
                  <a:pt x="2889132" y="6118956"/>
                  <a:pt x="2889132" y="6123082"/>
                </a:cubicBezTo>
                <a:cubicBezTo>
                  <a:pt x="2889132" y="6127209"/>
                  <a:pt x="2888333" y="6131202"/>
                  <a:pt x="2886869" y="6134797"/>
                </a:cubicBezTo>
                <a:cubicBezTo>
                  <a:pt x="2885405" y="6138391"/>
                  <a:pt x="2883275" y="6141453"/>
                  <a:pt x="2880746" y="6144116"/>
                </a:cubicBezTo>
                <a:cubicBezTo>
                  <a:pt x="2878084" y="6146778"/>
                  <a:pt x="2875021" y="6148908"/>
                  <a:pt x="2871428" y="6150372"/>
                </a:cubicBezTo>
                <a:cubicBezTo>
                  <a:pt x="2867701" y="6151836"/>
                  <a:pt x="2863840" y="6152635"/>
                  <a:pt x="2859579" y="6152635"/>
                </a:cubicBezTo>
                <a:cubicBezTo>
                  <a:pt x="2850661" y="6152635"/>
                  <a:pt x="2843333" y="6149706"/>
                  <a:pt x="2837740" y="6144116"/>
                </a:cubicBezTo>
                <a:cubicBezTo>
                  <a:pt x="2832149" y="6138525"/>
                  <a:pt x="2829353" y="6131335"/>
                  <a:pt x="2829353" y="6122949"/>
                </a:cubicBezTo>
                <a:cubicBezTo>
                  <a:pt x="2829353" y="6114696"/>
                  <a:pt x="2832149" y="6107641"/>
                  <a:pt x="2837740" y="6101917"/>
                </a:cubicBezTo>
                <a:cubicBezTo>
                  <a:pt x="2843333" y="6096193"/>
                  <a:pt x="2850527" y="6093397"/>
                  <a:pt x="2859579" y="6093397"/>
                </a:cubicBezTo>
                <a:close/>
                <a:moveTo>
                  <a:pt x="2641916" y="6093397"/>
                </a:moveTo>
                <a:cubicBezTo>
                  <a:pt x="2646177" y="6093397"/>
                  <a:pt x="2650037" y="6094196"/>
                  <a:pt x="2653632" y="6095926"/>
                </a:cubicBezTo>
                <a:cubicBezTo>
                  <a:pt x="2657359" y="6097524"/>
                  <a:pt x="2660421" y="6099653"/>
                  <a:pt x="2662950" y="6102316"/>
                </a:cubicBezTo>
                <a:cubicBezTo>
                  <a:pt x="2665612" y="6104845"/>
                  <a:pt x="2667609" y="6108040"/>
                  <a:pt x="2669073" y="6111634"/>
                </a:cubicBezTo>
                <a:cubicBezTo>
                  <a:pt x="2670537" y="6115228"/>
                  <a:pt x="2671336" y="6118956"/>
                  <a:pt x="2671336" y="6123082"/>
                </a:cubicBezTo>
                <a:cubicBezTo>
                  <a:pt x="2671336" y="6127209"/>
                  <a:pt x="2670537" y="6131202"/>
                  <a:pt x="2669073" y="6134797"/>
                </a:cubicBezTo>
                <a:cubicBezTo>
                  <a:pt x="2667609" y="6138391"/>
                  <a:pt x="2665479" y="6141453"/>
                  <a:pt x="2662950" y="6144116"/>
                </a:cubicBezTo>
                <a:cubicBezTo>
                  <a:pt x="2660421" y="6146778"/>
                  <a:pt x="2657226" y="6148908"/>
                  <a:pt x="2653632" y="6150372"/>
                </a:cubicBezTo>
                <a:cubicBezTo>
                  <a:pt x="2650037" y="6151836"/>
                  <a:pt x="2646177" y="6152635"/>
                  <a:pt x="2641916" y="6152635"/>
                </a:cubicBezTo>
                <a:cubicBezTo>
                  <a:pt x="2632997" y="6152635"/>
                  <a:pt x="2625675" y="6149706"/>
                  <a:pt x="2620083" y="6144116"/>
                </a:cubicBezTo>
                <a:cubicBezTo>
                  <a:pt x="2614491" y="6138525"/>
                  <a:pt x="2611693" y="6131335"/>
                  <a:pt x="2611693" y="6122949"/>
                </a:cubicBezTo>
                <a:cubicBezTo>
                  <a:pt x="2611693" y="6114696"/>
                  <a:pt x="2614491" y="6107641"/>
                  <a:pt x="2620083" y="6101917"/>
                </a:cubicBezTo>
                <a:cubicBezTo>
                  <a:pt x="2625675" y="6096193"/>
                  <a:pt x="2632865" y="6093397"/>
                  <a:pt x="2641916" y="6093397"/>
                </a:cubicBezTo>
                <a:close/>
                <a:moveTo>
                  <a:pt x="2424254" y="6093397"/>
                </a:moveTo>
                <a:cubicBezTo>
                  <a:pt x="2428514" y="6093397"/>
                  <a:pt x="2432508" y="6094196"/>
                  <a:pt x="2435969" y="6095926"/>
                </a:cubicBezTo>
                <a:cubicBezTo>
                  <a:pt x="2439696" y="6097524"/>
                  <a:pt x="2442758" y="6099653"/>
                  <a:pt x="2445287" y="6102316"/>
                </a:cubicBezTo>
                <a:cubicBezTo>
                  <a:pt x="2447950" y="6104845"/>
                  <a:pt x="2449946" y="6108040"/>
                  <a:pt x="2451410" y="6111634"/>
                </a:cubicBezTo>
                <a:cubicBezTo>
                  <a:pt x="2452874" y="6115228"/>
                  <a:pt x="2453673" y="6118956"/>
                  <a:pt x="2453673" y="6123082"/>
                </a:cubicBezTo>
                <a:cubicBezTo>
                  <a:pt x="2453673" y="6127209"/>
                  <a:pt x="2452874" y="6131202"/>
                  <a:pt x="2451410" y="6134797"/>
                </a:cubicBezTo>
                <a:cubicBezTo>
                  <a:pt x="2449946" y="6138391"/>
                  <a:pt x="2447816" y="6141453"/>
                  <a:pt x="2445287" y="6144116"/>
                </a:cubicBezTo>
                <a:cubicBezTo>
                  <a:pt x="2442758" y="6146778"/>
                  <a:pt x="2439563" y="6148908"/>
                  <a:pt x="2435969" y="6150372"/>
                </a:cubicBezTo>
                <a:cubicBezTo>
                  <a:pt x="2432375" y="6151836"/>
                  <a:pt x="2428514" y="6152635"/>
                  <a:pt x="2424254" y="6152635"/>
                </a:cubicBezTo>
                <a:cubicBezTo>
                  <a:pt x="2415336" y="6152635"/>
                  <a:pt x="2408013" y="6149706"/>
                  <a:pt x="2402422" y="6144116"/>
                </a:cubicBezTo>
                <a:cubicBezTo>
                  <a:pt x="2396829" y="6138525"/>
                  <a:pt x="2394032" y="6131335"/>
                  <a:pt x="2394032" y="6122949"/>
                </a:cubicBezTo>
                <a:cubicBezTo>
                  <a:pt x="2394032" y="6114696"/>
                  <a:pt x="2396829" y="6107641"/>
                  <a:pt x="2402422" y="6101917"/>
                </a:cubicBezTo>
                <a:cubicBezTo>
                  <a:pt x="2408013" y="6096193"/>
                  <a:pt x="2415202" y="6093397"/>
                  <a:pt x="2424254" y="6093397"/>
                </a:cubicBezTo>
                <a:close/>
                <a:moveTo>
                  <a:pt x="2206591" y="6093397"/>
                </a:moveTo>
                <a:cubicBezTo>
                  <a:pt x="2210851" y="6093397"/>
                  <a:pt x="2214845" y="6094196"/>
                  <a:pt x="2218306" y="6095926"/>
                </a:cubicBezTo>
                <a:cubicBezTo>
                  <a:pt x="2222033" y="6097524"/>
                  <a:pt x="2225095" y="6099653"/>
                  <a:pt x="2227625" y="6102316"/>
                </a:cubicBezTo>
                <a:cubicBezTo>
                  <a:pt x="2230287" y="6104845"/>
                  <a:pt x="2232284" y="6108040"/>
                  <a:pt x="2233748" y="6111634"/>
                </a:cubicBezTo>
                <a:cubicBezTo>
                  <a:pt x="2235212" y="6115228"/>
                  <a:pt x="2236011" y="6118956"/>
                  <a:pt x="2236011" y="6123082"/>
                </a:cubicBezTo>
                <a:cubicBezTo>
                  <a:pt x="2236011" y="6127209"/>
                  <a:pt x="2235212" y="6131202"/>
                  <a:pt x="2233748" y="6134797"/>
                </a:cubicBezTo>
                <a:cubicBezTo>
                  <a:pt x="2232284" y="6138391"/>
                  <a:pt x="2230153" y="6141453"/>
                  <a:pt x="2227625" y="6144116"/>
                </a:cubicBezTo>
                <a:cubicBezTo>
                  <a:pt x="2225095" y="6146778"/>
                  <a:pt x="2221900" y="6148908"/>
                  <a:pt x="2218306" y="6150372"/>
                </a:cubicBezTo>
                <a:cubicBezTo>
                  <a:pt x="2214711" y="6151836"/>
                  <a:pt x="2210851" y="6152635"/>
                  <a:pt x="2206591" y="6152635"/>
                </a:cubicBezTo>
                <a:cubicBezTo>
                  <a:pt x="2197539" y="6152635"/>
                  <a:pt x="2190350" y="6149706"/>
                  <a:pt x="2184758" y="6144116"/>
                </a:cubicBezTo>
                <a:cubicBezTo>
                  <a:pt x="2179166" y="6138525"/>
                  <a:pt x="2176369" y="6131335"/>
                  <a:pt x="2176369" y="6122949"/>
                </a:cubicBezTo>
                <a:cubicBezTo>
                  <a:pt x="2176369" y="6114696"/>
                  <a:pt x="2179166" y="6107641"/>
                  <a:pt x="2184758" y="6101917"/>
                </a:cubicBezTo>
                <a:cubicBezTo>
                  <a:pt x="2190350" y="6096193"/>
                  <a:pt x="2197539" y="6093397"/>
                  <a:pt x="2206591" y="6093397"/>
                </a:cubicBezTo>
                <a:close/>
                <a:moveTo>
                  <a:pt x="1989061" y="6093397"/>
                </a:moveTo>
                <a:cubicBezTo>
                  <a:pt x="1993188" y="6093397"/>
                  <a:pt x="1997183" y="6094196"/>
                  <a:pt x="2000777" y="6095926"/>
                </a:cubicBezTo>
                <a:cubicBezTo>
                  <a:pt x="2004504" y="6097524"/>
                  <a:pt x="2007566" y="6099653"/>
                  <a:pt x="2010095" y="6102316"/>
                </a:cubicBezTo>
                <a:cubicBezTo>
                  <a:pt x="2012757" y="6104845"/>
                  <a:pt x="2014754" y="6108040"/>
                  <a:pt x="2016218" y="6111634"/>
                </a:cubicBezTo>
                <a:cubicBezTo>
                  <a:pt x="2017682" y="6115228"/>
                  <a:pt x="2018481" y="6118956"/>
                  <a:pt x="2018481" y="6123082"/>
                </a:cubicBezTo>
                <a:cubicBezTo>
                  <a:pt x="2018481" y="6127209"/>
                  <a:pt x="2017682" y="6131202"/>
                  <a:pt x="2016218" y="6134797"/>
                </a:cubicBezTo>
                <a:cubicBezTo>
                  <a:pt x="2014754" y="6138391"/>
                  <a:pt x="2012624" y="6141453"/>
                  <a:pt x="2010095" y="6144116"/>
                </a:cubicBezTo>
                <a:cubicBezTo>
                  <a:pt x="2007566" y="6146778"/>
                  <a:pt x="2004370" y="6148908"/>
                  <a:pt x="2000777" y="6150372"/>
                </a:cubicBezTo>
                <a:cubicBezTo>
                  <a:pt x="1997183" y="6151836"/>
                  <a:pt x="1993321" y="6152635"/>
                  <a:pt x="1989061" y="6152635"/>
                </a:cubicBezTo>
                <a:cubicBezTo>
                  <a:pt x="1980010" y="6152635"/>
                  <a:pt x="1972821" y="6149706"/>
                  <a:pt x="1967230" y="6144116"/>
                </a:cubicBezTo>
                <a:cubicBezTo>
                  <a:pt x="1961640" y="6138525"/>
                  <a:pt x="1958844" y="6131335"/>
                  <a:pt x="1958844" y="6122949"/>
                </a:cubicBezTo>
                <a:cubicBezTo>
                  <a:pt x="1958844" y="6114696"/>
                  <a:pt x="1961640" y="6107641"/>
                  <a:pt x="1967230" y="6101917"/>
                </a:cubicBezTo>
                <a:cubicBezTo>
                  <a:pt x="1972821" y="6096193"/>
                  <a:pt x="1980010" y="6093397"/>
                  <a:pt x="1989061" y="6093397"/>
                </a:cubicBezTo>
                <a:close/>
                <a:moveTo>
                  <a:pt x="1771429" y="6093397"/>
                </a:moveTo>
                <a:cubicBezTo>
                  <a:pt x="1775688" y="6093397"/>
                  <a:pt x="1779547" y="6094196"/>
                  <a:pt x="1783143" y="6095926"/>
                </a:cubicBezTo>
                <a:cubicBezTo>
                  <a:pt x="1786870" y="6097524"/>
                  <a:pt x="1789931" y="6099653"/>
                  <a:pt x="1792460" y="6102316"/>
                </a:cubicBezTo>
                <a:cubicBezTo>
                  <a:pt x="1795122" y="6104845"/>
                  <a:pt x="1797120" y="6108040"/>
                  <a:pt x="1798583" y="6111634"/>
                </a:cubicBezTo>
                <a:cubicBezTo>
                  <a:pt x="1800047" y="6115228"/>
                  <a:pt x="1800846" y="6118956"/>
                  <a:pt x="1800846" y="6123082"/>
                </a:cubicBezTo>
                <a:cubicBezTo>
                  <a:pt x="1800846" y="6127209"/>
                  <a:pt x="1800047" y="6131202"/>
                  <a:pt x="1798583" y="6134797"/>
                </a:cubicBezTo>
                <a:cubicBezTo>
                  <a:pt x="1797120" y="6138391"/>
                  <a:pt x="1794990" y="6141453"/>
                  <a:pt x="1792460" y="6144116"/>
                </a:cubicBezTo>
                <a:cubicBezTo>
                  <a:pt x="1789798" y="6146778"/>
                  <a:pt x="1786737" y="6148908"/>
                  <a:pt x="1783143" y="6150372"/>
                </a:cubicBezTo>
                <a:cubicBezTo>
                  <a:pt x="1779547" y="6151836"/>
                  <a:pt x="1775688" y="6152635"/>
                  <a:pt x="1771429" y="6152635"/>
                </a:cubicBezTo>
                <a:cubicBezTo>
                  <a:pt x="1762510" y="6152635"/>
                  <a:pt x="1755190" y="6149706"/>
                  <a:pt x="1749600" y="6144116"/>
                </a:cubicBezTo>
                <a:cubicBezTo>
                  <a:pt x="1744010" y="6138525"/>
                  <a:pt x="1741217" y="6131335"/>
                  <a:pt x="1741217" y="6122949"/>
                </a:cubicBezTo>
                <a:cubicBezTo>
                  <a:pt x="1741217" y="6114696"/>
                  <a:pt x="1744010" y="6107641"/>
                  <a:pt x="1749600" y="6101917"/>
                </a:cubicBezTo>
                <a:cubicBezTo>
                  <a:pt x="1755190" y="6096193"/>
                  <a:pt x="1762377" y="6093397"/>
                  <a:pt x="1771429" y="6093397"/>
                </a:cubicBezTo>
                <a:close/>
                <a:moveTo>
                  <a:pt x="1553793" y="6093397"/>
                </a:moveTo>
                <a:cubicBezTo>
                  <a:pt x="1558052" y="6093397"/>
                  <a:pt x="1561913" y="6094196"/>
                  <a:pt x="1565507" y="6095926"/>
                </a:cubicBezTo>
                <a:cubicBezTo>
                  <a:pt x="1569102" y="6097524"/>
                  <a:pt x="1572297" y="6099653"/>
                  <a:pt x="1574826" y="6102316"/>
                </a:cubicBezTo>
                <a:cubicBezTo>
                  <a:pt x="1577488" y="6104845"/>
                  <a:pt x="1579485" y="6108040"/>
                  <a:pt x="1580949" y="6111634"/>
                </a:cubicBezTo>
                <a:cubicBezTo>
                  <a:pt x="1582413" y="6115228"/>
                  <a:pt x="1583212" y="6118956"/>
                  <a:pt x="1583212" y="6123082"/>
                </a:cubicBezTo>
                <a:cubicBezTo>
                  <a:pt x="1583212" y="6127209"/>
                  <a:pt x="1582413" y="6131202"/>
                  <a:pt x="1580949" y="6134797"/>
                </a:cubicBezTo>
                <a:cubicBezTo>
                  <a:pt x="1579485" y="6138391"/>
                  <a:pt x="1577355" y="6141453"/>
                  <a:pt x="1574826" y="6144116"/>
                </a:cubicBezTo>
                <a:cubicBezTo>
                  <a:pt x="1572163" y="6146778"/>
                  <a:pt x="1569102" y="6148908"/>
                  <a:pt x="1565507" y="6150372"/>
                </a:cubicBezTo>
                <a:cubicBezTo>
                  <a:pt x="1561913" y="6151836"/>
                  <a:pt x="1558052" y="6152635"/>
                  <a:pt x="1553793" y="6152635"/>
                </a:cubicBezTo>
                <a:cubicBezTo>
                  <a:pt x="1544874" y="6152635"/>
                  <a:pt x="1537553" y="6149706"/>
                  <a:pt x="1531964" y="6144116"/>
                </a:cubicBezTo>
                <a:cubicBezTo>
                  <a:pt x="1526375" y="6138525"/>
                  <a:pt x="1523578" y="6131335"/>
                  <a:pt x="1523578" y="6122949"/>
                </a:cubicBezTo>
                <a:cubicBezTo>
                  <a:pt x="1523578" y="6114696"/>
                  <a:pt x="1526375" y="6107641"/>
                  <a:pt x="1531964" y="6101917"/>
                </a:cubicBezTo>
                <a:cubicBezTo>
                  <a:pt x="1537553" y="6096193"/>
                  <a:pt x="1544740" y="6093397"/>
                  <a:pt x="1553793" y="6093397"/>
                </a:cubicBezTo>
                <a:close/>
                <a:moveTo>
                  <a:pt x="1336150" y="6093397"/>
                </a:moveTo>
                <a:cubicBezTo>
                  <a:pt x="1340409" y="6093397"/>
                  <a:pt x="1344404" y="6094196"/>
                  <a:pt x="1347865" y="6095926"/>
                </a:cubicBezTo>
                <a:cubicBezTo>
                  <a:pt x="1351458" y="6097524"/>
                  <a:pt x="1354654" y="6099653"/>
                  <a:pt x="1357183" y="6102316"/>
                </a:cubicBezTo>
                <a:cubicBezTo>
                  <a:pt x="1359845" y="6104845"/>
                  <a:pt x="1361842" y="6108040"/>
                  <a:pt x="1363306" y="6111634"/>
                </a:cubicBezTo>
                <a:cubicBezTo>
                  <a:pt x="1364770" y="6115228"/>
                  <a:pt x="1365568" y="6118956"/>
                  <a:pt x="1365568" y="6123082"/>
                </a:cubicBezTo>
                <a:cubicBezTo>
                  <a:pt x="1365568" y="6127209"/>
                  <a:pt x="1364770" y="6131202"/>
                  <a:pt x="1363306" y="6134797"/>
                </a:cubicBezTo>
                <a:cubicBezTo>
                  <a:pt x="1361842" y="6138391"/>
                  <a:pt x="1359712" y="6141453"/>
                  <a:pt x="1357183" y="6144116"/>
                </a:cubicBezTo>
                <a:cubicBezTo>
                  <a:pt x="1354520" y="6146778"/>
                  <a:pt x="1351458" y="6148908"/>
                  <a:pt x="1347865" y="6150372"/>
                </a:cubicBezTo>
                <a:cubicBezTo>
                  <a:pt x="1344271" y="6151836"/>
                  <a:pt x="1340409" y="6152635"/>
                  <a:pt x="1336150" y="6152635"/>
                </a:cubicBezTo>
                <a:cubicBezTo>
                  <a:pt x="1327229" y="6152635"/>
                  <a:pt x="1319908" y="6149706"/>
                  <a:pt x="1314316" y="6144116"/>
                </a:cubicBezTo>
                <a:cubicBezTo>
                  <a:pt x="1308726" y="6138525"/>
                  <a:pt x="1305931" y="6131335"/>
                  <a:pt x="1305931" y="6122949"/>
                </a:cubicBezTo>
                <a:cubicBezTo>
                  <a:pt x="1305931" y="6114696"/>
                  <a:pt x="1308726" y="6107641"/>
                  <a:pt x="1314316" y="6101917"/>
                </a:cubicBezTo>
                <a:cubicBezTo>
                  <a:pt x="1319908" y="6096193"/>
                  <a:pt x="1327096" y="6093397"/>
                  <a:pt x="1336150" y="6093397"/>
                </a:cubicBezTo>
                <a:close/>
                <a:moveTo>
                  <a:pt x="1118504" y="6093397"/>
                </a:moveTo>
                <a:cubicBezTo>
                  <a:pt x="1122765" y="6093397"/>
                  <a:pt x="1126762" y="6094196"/>
                  <a:pt x="1130222" y="6095926"/>
                </a:cubicBezTo>
                <a:cubicBezTo>
                  <a:pt x="1133949" y="6097524"/>
                  <a:pt x="1137011" y="6099653"/>
                  <a:pt x="1139536" y="6102316"/>
                </a:cubicBezTo>
                <a:cubicBezTo>
                  <a:pt x="1142197" y="6104845"/>
                  <a:pt x="1144193" y="6108040"/>
                  <a:pt x="1145656" y="6111634"/>
                </a:cubicBezTo>
                <a:cubicBezTo>
                  <a:pt x="1147121" y="6115228"/>
                  <a:pt x="1147920" y="6118956"/>
                  <a:pt x="1147920" y="6123082"/>
                </a:cubicBezTo>
                <a:cubicBezTo>
                  <a:pt x="1147920" y="6127209"/>
                  <a:pt x="1147121" y="6131202"/>
                  <a:pt x="1145656" y="6134797"/>
                </a:cubicBezTo>
                <a:cubicBezTo>
                  <a:pt x="1144193" y="6138391"/>
                  <a:pt x="1142065" y="6141453"/>
                  <a:pt x="1139536" y="6144116"/>
                </a:cubicBezTo>
                <a:cubicBezTo>
                  <a:pt x="1137011" y="6146778"/>
                  <a:pt x="1133816" y="6148908"/>
                  <a:pt x="1130222" y="6150372"/>
                </a:cubicBezTo>
                <a:cubicBezTo>
                  <a:pt x="1126626" y="6151836"/>
                  <a:pt x="1122765" y="6152635"/>
                  <a:pt x="1118504" y="6152635"/>
                </a:cubicBezTo>
                <a:cubicBezTo>
                  <a:pt x="1109584" y="6152635"/>
                  <a:pt x="1102259" y="6149706"/>
                  <a:pt x="1096669" y="6144116"/>
                </a:cubicBezTo>
                <a:cubicBezTo>
                  <a:pt x="1091078" y="6138525"/>
                  <a:pt x="1088284" y="6131335"/>
                  <a:pt x="1088284" y="6122949"/>
                </a:cubicBezTo>
                <a:cubicBezTo>
                  <a:pt x="1088284" y="6114696"/>
                  <a:pt x="1091078" y="6107641"/>
                  <a:pt x="1096669" y="6101917"/>
                </a:cubicBezTo>
                <a:cubicBezTo>
                  <a:pt x="1102259" y="6096193"/>
                  <a:pt x="1109450" y="6093397"/>
                  <a:pt x="1118504" y="6093397"/>
                </a:cubicBezTo>
                <a:close/>
                <a:moveTo>
                  <a:pt x="900991" y="6093397"/>
                </a:moveTo>
                <a:cubicBezTo>
                  <a:pt x="905118" y="6093397"/>
                  <a:pt x="909112" y="6094196"/>
                  <a:pt x="912706" y="6095926"/>
                </a:cubicBezTo>
                <a:cubicBezTo>
                  <a:pt x="916433" y="6097524"/>
                  <a:pt x="919495" y="6099653"/>
                  <a:pt x="922024" y="6102316"/>
                </a:cubicBezTo>
                <a:cubicBezTo>
                  <a:pt x="924686" y="6104845"/>
                  <a:pt x="926683" y="6108040"/>
                  <a:pt x="928146" y="6111634"/>
                </a:cubicBezTo>
                <a:cubicBezTo>
                  <a:pt x="929611" y="6115228"/>
                  <a:pt x="930409" y="6118956"/>
                  <a:pt x="930409" y="6123082"/>
                </a:cubicBezTo>
                <a:cubicBezTo>
                  <a:pt x="930409" y="6127209"/>
                  <a:pt x="929611" y="6131202"/>
                  <a:pt x="928146" y="6134797"/>
                </a:cubicBezTo>
                <a:cubicBezTo>
                  <a:pt x="926683" y="6138391"/>
                  <a:pt x="924553" y="6141453"/>
                  <a:pt x="922024" y="6144116"/>
                </a:cubicBezTo>
                <a:cubicBezTo>
                  <a:pt x="919495" y="6146778"/>
                  <a:pt x="916300" y="6148908"/>
                  <a:pt x="912706" y="6150372"/>
                </a:cubicBezTo>
                <a:cubicBezTo>
                  <a:pt x="909112" y="6151836"/>
                  <a:pt x="905251" y="6152635"/>
                  <a:pt x="900991" y="6152635"/>
                </a:cubicBezTo>
                <a:cubicBezTo>
                  <a:pt x="892073" y="6152635"/>
                  <a:pt x="884750" y="6149706"/>
                  <a:pt x="879160" y="6144116"/>
                </a:cubicBezTo>
                <a:cubicBezTo>
                  <a:pt x="873571" y="6138525"/>
                  <a:pt x="870775" y="6131335"/>
                  <a:pt x="870775" y="6122949"/>
                </a:cubicBezTo>
                <a:cubicBezTo>
                  <a:pt x="870775" y="6114696"/>
                  <a:pt x="873571" y="6107641"/>
                  <a:pt x="879160" y="6101917"/>
                </a:cubicBezTo>
                <a:cubicBezTo>
                  <a:pt x="884750" y="6096193"/>
                  <a:pt x="891939" y="6093397"/>
                  <a:pt x="900991" y="6093397"/>
                </a:cubicBezTo>
                <a:close/>
                <a:moveTo>
                  <a:pt x="683351" y="6093397"/>
                </a:moveTo>
                <a:cubicBezTo>
                  <a:pt x="687611" y="6093397"/>
                  <a:pt x="691472" y="6094196"/>
                  <a:pt x="695066" y="6095926"/>
                </a:cubicBezTo>
                <a:cubicBezTo>
                  <a:pt x="698793" y="6097524"/>
                  <a:pt x="701855" y="6099653"/>
                  <a:pt x="704383" y="6102316"/>
                </a:cubicBezTo>
                <a:cubicBezTo>
                  <a:pt x="707045" y="6104845"/>
                  <a:pt x="709042" y="6108040"/>
                  <a:pt x="710506" y="6111634"/>
                </a:cubicBezTo>
                <a:cubicBezTo>
                  <a:pt x="711970" y="6115228"/>
                  <a:pt x="712769" y="6118956"/>
                  <a:pt x="712769" y="6123082"/>
                </a:cubicBezTo>
                <a:cubicBezTo>
                  <a:pt x="712769" y="6127209"/>
                  <a:pt x="711970" y="6131202"/>
                  <a:pt x="710506" y="6134797"/>
                </a:cubicBezTo>
                <a:cubicBezTo>
                  <a:pt x="709042" y="6138391"/>
                  <a:pt x="706912" y="6141453"/>
                  <a:pt x="704383" y="6144116"/>
                </a:cubicBezTo>
                <a:cubicBezTo>
                  <a:pt x="701855" y="6146778"/>
                  <a:pt x="698660" y="6148908"/>
                  <a:pt x="695066" y="6150372"/>
                </a:cubicBezTo>
                <a:cubicBezTo>
                  <a:pt x="691472" y="6151836"/>
                  <a:pt x="687611" y="6152635"/>
                  <a:pt x="683351" y="6152635"/>
                </a:cubicBezTo>
                <a:cubicBezTo>
                  <a:pt x="674433" y="6152635"/>
                  <a:pt x="667111" y="6149706"/>
                  <a:pt x="661519" y="6144116"/>
                </a:cubicBezTo>
                <a:cubicBezTo>
                  <a:pt x="655928" y="6138525"/>
                  <a:pt x="653134" y="6131335"/>
                  <a:pt x="653134" y="6122949"/>
                </a:cubicBezTo>
                <a:cubicBezTo>
                  <a:pt x="653134" y="6114696"/>
                  <a:pt x="655928" y="6107641"/>
                  <a:pt x="661519" y="6101917"/>
                </a:cubicBezTo>
                <a:cubicBezTo>
                  <a:pt x="667111" y="6096193"/>
                  <a:pt x="674300" y="6093397"/>
                  <a:pt x="683351" y="6093397"/>
                </a:cubicBezTo>
                <a:close/>
                <a:moveTo>
                  <a:pt x="465710" y="6093397"/>
                </a:moveTo>
                <a:cubicBezTo>
                  <a:pt x="469970" y="6093397"/>
                  <a:pt x="473830" y="6094196"/>
                  <a:pt x="477425" y="6095926"/>
                </a:cubicBezTo>
                <a:cubicBezTo>
                  <a:pt x="481153" y="6097524"/>
                  <a:pt x="484214" y="6099653"/>
                  <a:pt x="486743" y="6102316"/>
                </a:cubicBezTo>
                <a:cubicBezTo>
                  <a:pt x="489404" y="6104845"/>
                  <a:pt x="491401" y="6108040"/>
                  <a:pt x="492866" y="6111634"/>
                </a:cubicBezTo>
                <a:cubicBezTo>
                  <a:pt x="494329" y="6115228"/>
                  <a:pt x="495128" y="6118956"/>
                  <a:pt x="495128" y="6123082"/>
                </a:cubicBezTo>
                <a:cubicBezTo>
                  <a:pt x="495128" y="6127209"/>
                  <a:pt x="494329" y="6131202"/>
                  <a:pt x="492866" y="6134797"/>
                </a:cubicBezTo>
                <a:cubicBezTo>
                  <a:pt x="491401" y="6138391"/>
                  <a:pt x="489272" y="6141453"/>
                  <a:pt x="486743" y="6144116"/>
                </a:cubicBezTo>
                <a:cubicBezTo>
                  <a:pt x="484080" y="6146778"/>
                  <a:pt x="481019" y="6148908"/>
                  <a:pt x="477425" y="6150372"/>
                </a:cubicBezTo>
                <a:cubicBezTo>
                  <a:pt x="473830" y="6151836"/>
                  <a:pt x="469970" y="6152635"/>
                  <a:pt x="465710" y="6152635"/>
                </a:cubicBezTo>
                <a:cubicBezTo>
                  <a:pt x="456792" y="6152635"/>
                  <a:pt x="449470" y="6149706"/>
                  <a:pt x="443879" y="6144116"/>
                </a:cubicBezTo>
                <a:cubicBezTo>
                  <a:pt x="438288" y="6138525"/>
                  <a:pt x="435493" y="6131335"/>
                  <a:pt x="435493" y="6122949"/>
                </a:cubicBezTo>
                <a:cubicBezTo>
                  <a:pt x="435493" y="6114696"/>
                  <a:pt x="438288" y="6107641"/>
                  <a:pt x="443879" y="6101917"/>
                </a:cubicBezTo>
                <a:cubicBezTo>
                  <a:pt x="449470" y="6096193"/>
                  <a:pt x="456659" y="6093397"/>
                  <a:pt x="465710" y="6093397"/>
                </a:cubicBezTo>
                <a:close/>
                <a:moveTo>
                  <a:pt x="248069" y="6093397"/>
                </a:moveTo>
                <a:cubicBezTo>
                  <a:pt x="252328" y="6093397"/>
                  <a:pt x="256322" y="6094196"/>
                  <a:pt x="259783" y="6095926"/>
                </a:cubicBezTo>
                <a:cubicBezTo>
                  <a:pt x="263510" y="6097524"/>
                  <a:pt x="266572" y="6099653"/>
                  <a:pt x="269101" y="6102316"/>
                </a:cubicBezTo>
                <a:cubicBezTo>
                  <a:pt x="271763" y="6104845"/>
                  <a:pt x="273760" y="6108040"/>
                  <a:pt x="275224" y="6111634"/>
                </a:cubicBezTo>
                <a:cubicBezTo>
                  <a:pt x="276688" y="6115228"/>
                  <a:pt x="277487" y="6118956"/>
                  <a:pt x="277487" y="6123082"/>
                </a:cubicBezTo>
                <a:cubicBezTo>
                  <a:pt x="277487" y="6127209"/>
                  <a:pt x="276688" y="6131202"/>
                  <a:pt x="275224" y="6134797"/>
                </a:cubicBezTo>
                <a:cubicBezTo>
                  <a:pt x="273760" y="6138391"/>
                  <a:pt x="271630" y="6141453"/>
                  <a:pt x="269101" y="6144116"/>
                </a:cubicBezTo>
                <a:cubicBezTo>
                  <a:pt x="266438" y="6146778"/>
                  <a:pt x="263377" y="6148908"/>
                  <a:pt x="259783" y="6150372"/>
                </a:cubicBezTo>
                <a:cubicBezTo>
                  <a:pt x="256188" y="6151836"/>
                  <a:pt x="252328" y="6152635"/>
                  <a:pt x="248069" y="6152635"/>
                </a:cubicBezTo>
                <a:cubicBezTo>
                  <a:pt x="239151" y="6152635"/>
                  <a:pt x="231830" y="6149706"/>
                  <a:pt x="226239" y="6144116"/>
                </a:cubicBezTo>
                <a:cubicBezTo>
                  <a:pt x="220649" y="6138525"/>
                  <a:pt x="217854" y="6131335"/>
                  <a:pt x="217854" y="6122949"/>
                </a:cubicBezTo>
                <a:cubicBezTo>
                  <a:pt x="217854" y="6114696"/>
                  <a:pt x="220649" y="6107641"/>
                  <a:pt x="226239" y="6101917"/>
                </a:cubicBezTo>
                <a:cubicBezTo>
                  <a:pt x="231830" y="6096193"/>
                  <a:pt x="239018" y="6093397"/>
                  <a:pt x="248069" y="6093397"/>
                </a:cubicBezTo>
                <a:close/>
                <a:moveTo>
                  <a:pt x="30428" y="6093397"/>
                </a:moveTo>
                <a:cubicBezTo>
                  <a:pt x="34688" y="6093397"/>
                  <a:pt x="38682" y="6094196"/>
                  <a:pt x="42143" y="6095926"/>
                </a:cubicBezTo>
                <a:cubicBezTo>
                  <a:pt x="45870" y="6097524"/>
                  <a:pt x="48932" y="6099653"/>
                  <a:pt x="51461" y="6102316"/>
                </a:cubicBezTo>
                <a:cubicBezTo>
                  <a:pt x="54123" y="6104845"/>
                  <a:pt x="56120" y="6108040"/>
                  <a:pt x="57584" y="6111634"/>
                </a:cubicBezTo>
                <a:cubicBezTo>
                  <a:pt x="59048" y="6115228"/>
                  <a:pt x="59847" y="6118956"/>
                  <a:pt x="59847" y="6123082"/>
                </a:cubicBezTo>
                <a:cubicBezTo>
                  <a:pt x="59847" y="6127209"/>
                  <a:pt x="59048" y="6131202"/>
                  <a:pt x="57584" y="6134797"/>
                </a:cubicBezTo>
                <a:cubicBezTo>
                  <a:pt x="56120" y="6138391"/>
                  <a:pt x="53990" y="6141453"/>
                  <a:pt x="51461" y="6144116"/>
                </a:cubicBezTo>
                <a:cubicBezTo>
                  <a:pt x="48798" y="6146778"/>
                  <a:pt x="45737" y="6148908"/>
                  <a:pt x="42143" y="6150372"/>
                </a:cubicBezTo>
                <a:cubicBezTo>
                  <a:pt x="38549" y="6151836"/>
                  <a:pt x="34688" y="6152635"/>
                  <a:pt x="30428" y="6152635"/>
                </a:cubicBezTo>
                <a:cubicBezTo>
                  <a:pt x="21509" y="6152635"/>
                  <a:pt x="14189" y="6149706"/>
                  <a:pt x="8600" y="6144116"/>
                </a:cubicBezTo>
                <a:cubicBezTo>
                  <a:pt x="3009" y="6138525"/>
                  <a:pt x="214" y="6131335"/>
                  <a:pt x="214" y="6122949"/>
                </a:cubicBezTo>
                <a:cubicBezTo>
                  <a:pt x="214" y="6114696"/>
                  <a:pt x="3009" y="6107641"/>
                  <a:pt x="8600" y="6101917"/>
                </a:cubicBezTo>
                <a:cubicBezTo>
                  <a:pt x="14189" y="6096193"/>
                  <a:pt x="21375" y="6093397"/>
                  <a:pt x="30428" y="6093397"/>
                </a:cubicBezTo>
                <a:close/>
                <a:moveTo>
                  <a:pt x="10475977" y="5892392"/>
                </a:moveTo>
                <a:cubicBezTo>
                  <a:pt x="10470119" y="5892392"/>
                  <a:pt x="10467589" y="5894255"/>
                  <a:pt x="10465992" y="5895986"/>
                </a:cubicBezTo>
                <a:cubicBezTo>
                  <a:pt x="10463463" y="5898648"/>
                  <a:pt x="10462399" y="5901443"/>
                  <a:pt x="10462399" y="5905437"/>
                </a:cubicBezTo>
                <a:cubicBezTo>
                  <a:pt x="10462399" y="5909563"/>
                  <a:pt x="10463463" y="5912359"/>
                  <a:pt x="10465992" y="5914888"/>
                </a:cubicBezTo>
                <a:cubicBezTo>
                  <a:pt x="10467589" y="5916487"/>
                  <a:pt x="10470119" y="5918350"/>
                  <a:pt x="10475977" y="5918350"/>
                </a:cubicBezTo>
                <a:cubicBezTo>
                  <a:pt x="10478107" y="5918350"/>
                  <a:pt x="10479838" y="5918084"/>
                  <a:pt x="10481302" y="5917418"/>
                </a:cubicBezTo>
                <a:cubicBezTo>
                  <a:pt x="10482899" y="5916886"/>
                  <a:pt x="10484098" y="5916087"/>
                  <a:pt x="10485029" y="5915021"/>
                </a:cubicBezTo>
                <a:cubicBezTo>
                  <a:pt x="10486094" y="5913823"/>
                  <a:pt x="10487026" y="5912492"/>
                  <a:pt x="10487691" y="5910761"/>
                </a:cubicBezTo>
                <a:cubicBezTo>
                  <a:pt x="10488357" y="5909164"/>
                  <a:pt x="10488623" y="5907300"/>
                  <a:pt x="10488623" y="5905304"/>
                </a:cubicBezTo>
                <a:cubicBezTo>
                  <a:pt x="10488623" y="5903440"/>
                  <a:pt x="10488357" y="5901709"/>
                  <a:pt x="10487691" y="5900112"/>
                </a:cubicBezTo>
                <a:cubicBezTo>
                  <a:pt x="10487026" y="5898515"/>
                  <a:pt x="10486094" y="5897184"/>
                  <a:pt x="10485029" y="5895986"/>
                </a:cubicBezTo>
                <a:cubicBezTo>
                  <a:pt x="10483964" y="5894921"/>
                  <a:pt x="10482633" y="5893989"/>
                  <a:pt x="10481035" y="5893323"/>
                </a:cubicBezTo>
                <a:cubicBezTo>
                  <a:pt x="10479571" y="5892658"/>
                  <a:pt x="10477974" y="5892392"/>
                  <a:pt x="10475977" y="5892392"/>
                </a:cubicBezTo>
                <a:close/>
                <a:moveTo>
                  <a:pt x="10258466" y="5892392"/>
                </a:moveTo>
                <a:cubicBezTo>
                  <a:pt x="10252608" y="5892392"/>
                  <a:pt x="10250078" y="5894255"/>
                  <a:pt x="10248481" y="5895986"/>
                </a:cubicBezTo>
                <a:cubicBezTo>
                  <a:pt x="10245952" y="5898648"/>
                  <a:pt x="10244887" y="5901443"/>
                  <a:pt x="10244887" y="5905437"/>
                </a:cubicBezTo>
                <a:cubicBezTo>
                  <a:pt x="10244887" y="5909563"/>
                  <a:pt x="10245952" y="5912359"/>
                  <a:pt x="10248481" y="5914888"/>
                </a:cubicBezTo>
                <a:cubicBezTo>
                  <a:pt x="10250078" y="5916487"/>
                  <a:pt x="10252608" y="5918350"/>
                  <a:pt x="10258466" y="5918350"/>
                </a:cubicBezTo>
                <a:cubicBezTo>
                  <a:pt x="10260462" y="5918350"/>
                  <a:pt x="10262192" y="5918084"/>
                  <a:pt x="10263790" y="5917418"/>
                </a:cubicBezTo>
                <a:cubicBezTo>
                  <a:pt x="10265388" y="5916886"/>
                  <a:pt x="10266586" y="5916087"/>
                  <a:pt x="10267517" y="5915021"/>
                </a:cubicBezTo>
                <a:cubicBezTo>
                  <a:pt x="10268583" y="5913823"/>
                  <a:pt x="10269515" y="5912492"/>
                  <a:pt x="10270180" y="5910761"/>
                </a:cubicBezTo>
                <a:cubicBezTo>
                  <a:pt x="10270845" y="5909164"/>
                  <a:pt x="10271112" y="5907300"/>
                  <a:pt x="10271112" y="5905304"/>
                </a:cubicBezTo>
                <a:cubicBezTo>
                  <a:pt x="10271112" y="5903440"/>
                  <a:pt x="10270845" y="5901709"/>
                  <a:pt x="10270180" y="5900112"/>
                </a:cubicBezTo>
                <a:cubicBezTo>
                  <a:pt x="10269515" y="5898515"/>
                  <a:pt x="10268583" y="5897184"/>
                  <a:pt x="10267517" y="5895986"/>
                </a:cubicBezTo>
                <a:cubicBezTo>
                  <a:pt x="10266452" y="5894921"/>
                  <a:pt x="10265121" y="5893989"/>
                  <a:pt x="10263524" y="5893323"/>
                </a:cubicBezTo>
                <a:cubicBezTo>
                  <a:pt x="10262060" y="5892658"/>
                  <a:pt x="10260462" y="5892392"/>
                  <a:pt x="10258466" y="5892392"/>
                </a:cubicBezTo>
                <a:close/>
                <a:moveTo>
                  <a:pt x="10040820" y="5892392"/>
                </a:moveTo>
                <a:cubicBezTo>
                  <a:pt x="10034962" y="5892392"/>
                  <a:pt x="10032433" y="5894255"/>
                  <a:pt x="10030835" y="5895986"/>
                </a:cubicBezTo>
                <a:cubicBezTo>
                  <a:pt x="10028306" y="5898648"/>
                  <a:pt x="10027242" y="5901443"/>
                  <a:pt x="10027242" y="5905437"/>
                </a:cubicBezTo>
                <a:cubicBezTo>
                  <a:pt x="10027242" y="5909563"/>
                  <a:pt x="10028306" y="5912359"/>
                  <a:pt x="10030835" y="5914888"/>
                </a:cubicBezTo>
                <a:cubicBezTo>
                  <a:pt x="10032433" y="5916487"/>
                  <a:pt x="10034962" y="5918350"/>
                  <a:pt x="10040820" y="5918350"/>
                </a:cubicBezTo>
                <a:cubicBezTo>
                  <a:pt x="10042817" y="5918350"/>
                  <a:pt x="10044681" y="5918084"/>
                  <a:pt x="10046145" y="5917418"/>
                </a:cubicBezTo>
                <a:cubicBezTo>
                  <a:pt x="10047742" y="5916886"/>
                  <a:pt x="10048941" y="5916087"/>
                  <a:pt x="10049872" y="5915021"/>
                </a:cubicBezTo>
                <a:cubicBezTo>
                  <a:pt x="10050937" y="5913823"/>
                  <a:pt x="10051869" y="5912492"/>
                  <a:pt x="10052534" y="5910761"/>
                </a:cubicBezTo>
                <a:cubicBezTo>
                  <a:pt x="10053333" y="5909164"/>
                  <a:pt x="10053599" y="5907300"/>
                  <a:pt x="10053599" y="5905304"/>
                </a:cubicBezTo>
                <a:cubicBezTo>
                  <a:pt x="10053599" y="5903440"/>
                  <a:pt x="10053200" y="5901709"/>
                  <a:pt x="10052534" y="5900112"/>
                </a:cubicBezTo>
                <a:cubicBezTo>
                  <a:pt x="10051869" y="5898515"/>
                  <a:pt x="10050937" y="5897184"/>
                  <a:pt x="10049872" y="5895986"/>
                </a:cubicBezTo>
                <a:cubicBezTo>
                  <a:pt x="10048807" y="5894921"/>
                  <a:pt x="10047476" y="5893989"/>
                  <a:pt x="10045878" y="5893323"/>
                </a:cubicBezTo>
                <a:cubicBezTo>
                  <a:pt x="10044414" y="5892658"/>
                  <a:pt x="10042817" y="5892392"/>
                  <a:pt x="10040820" y="5892392"/>
                </a:cubicBezTo>
                <a:close/>
                <a:moveTo>
                  <a:pt x="9823176" y="5892392"/>
                </a:moveTo>
                <a:cubicBezTo>
                  <a:pt x="9817318" y="5892392"/>
                  <a:pt x="9814788" y="5894255"/>
                  <a:pt x="9813191" y="5895986"/>
                </a:cubicBezTo>
                <a:cubicBezTo>
                  <a:pt x="9810662" y="5898648"/>
                  <a:pt x="9809597" y="5901443"/>
                  <a:pt x="9809597" y="5905437"/>
                </a:cubicBezTo>
                <a:cubicBezTo>
                  <a:pt x="9809597" y="5909563"/>
                  <a:pt x="9810662" y="5912359"/>
                  <a:pt x="9813191" y="5914888"/>
                </a:cubicBezTo>
                <a:cubicBezTo>
                  <a:pt x="9814788" y="5916487"/>
                  <a:pt x="9817318" y="5918350"/>
                  <a:pt x="9823176" y="5918350"/>
                </a:cubicBezTo>
                <a:cubicBezTo>
                  <a:pt x="9825173" y="5918350"/>
                  <a:pt x="9827036" y="5918084"/>
                  <a:pt x="9828501" y="5917418"/>
                </a:cubicBezTo>
                <a:cubicBezTo>
                  <a:pt x="9830098" y="5916886"/>
                  <a:pt x="9831296" y="5916087"/>
                  <a:pt x="9832227" y="5915021"/>
                </a:cubicBezTo>
                <a:cubicBezTo>
                  <a:pt x="9833293" y="5913823"/>
                  <a:pt x="9834225" y="5912492"/>
                  <a:pt x="9834890" y="5910761"/>
                </a:cubicBezTo>
                <a:cubicBezTo>
                  <a:pt x="9835689" y="5909164"/>
                  <a:pt x="9835955" y="5907300"/>
                  <a:pt x="9835955" y="5905304"/>
                </a:cubicBezTo>
                <a:cubicBezTo>
                  <a:pt x="9835955" y="5903440"/>
                  <a:pt x="9835555" y="5901709"/>
                  <a:pt x="9834890" y="5900112"/>
                </a:cubicBezTo>
                <a:cubicBezTo>
                  <a:pt x="9834225" y="5898515"/>
                  <a:pt x="9833293" y="5897184"/>
                  <a:pt x="9832227" y="5895986"/>
                </a:cubicBezTo>
                <a:cubicBezTo>
                  <a:pt x="9831162" y="5894921"/>
                  <a:pt x="9829831" y="5893989"/>
                  <a:pt x="9828234" y="5893323"/>
                </a:cubicBezTo>
                <a:cubicBezTo>
                  <a:pt x="9826770" y="5892658"/>
                  <a:pt x="9825173" y="5892392"/>
                  <a:pt x="9823176" y="5892392"/>
                </a:cubicBezTo>
                <a:close/>
                <a:moveTo>
                  <a:pt x="9605531" y="5892392"/>
                </a:moveTo>
                <a:cubicBezTo>
                  <a:pt x="9599673" y="5892392"/>
                  <a:pt x="9597143" y="5894255"/>
                  <a:pt x="9595546" y="5895986"/>
                </a:cubicBezTo>
                <a:cubicBezTo>
                  <a:pt x="9593017" y="5898648"/>
                  <a:pt x="9591952" y="5901443"/>
                  <a:pt x="9591952" y="5905437"/>
                </a:cubicBezTo>
                <a:cubicBezTo>
                  <a:pt x="9591952" y="5909563"/>
                  <a:pt x="9593017" y="5912359"/>
                  <a:pt x="9595546" y="5914888"/>
                </a:cubicBezTo>
                <a:cubicBezTo>
                  <a:pt x="9597143" y="5916487"/>
                  <a:pt x="9599673" y="5918350"/>
                  <a:pt x="9605531" y="5918350"/>
                </a:cubicBezTo>
                <a:cubicBezTo>
                  <a:pt x="9607660" y="5918350"/>
                  <a:pt x="9609391" y="5918084"/>
                  <a:pt x="9610855" y="5917418"/>
                </a:cubicBezTo>
                <a:cubicBezTo>
                  <a:pt x="9612319" y="5916886"/>
                  <a:pt x="9613651" y="5916087"/>
                  <a:pt x="9614582" y="5915021"/>
                </a:cubicBezTo>
                <a:cubicBezTo>
                  <a:pt x="9615647" y="5913823"/>
                  <a:pt x="9616579" y="5912492"/>
                  <a:pt x="9617245" y="5910761"/>
                </a:cubicBezTo>
                <a:cubicBezTo>
                  <a:pt x="9618044" y="5909164"/>
                  <a:pt x="9618309" y="5907300"/>
                  <a:pt x="9618309" y="5905304"/>
                </a:cubicBezTo>
                <a:cubicBezTo>
                  <a:pt x="9618309" y="5903440"/>
                  <a:pt x="9617910" y="5901709"/>
                  <a:pt x="9617245" y="5900112"/>
                </a:cubicBezTo>
                <a:cubicBezTo>
                  <a:pt x="9616579" y="5898515"/>
                  <a:pt x="9615647" y="5897184"/>
                  <a:pt x="9614582" y="5895986"/>
                </a:cubicBezTo>
                <a:cubicBezTo>
                  <a:pt x="9613517" y="5894921"/>
                  <a:pt x="9612186" y="5893989"/>
                  <a:pt x="9610589" y="5893323"/>
                </a:cubicBezTo>
                <a:cubicBezTo>
                  <a:pt x="9609124" y="5892658"/>
                  <a:pt x="9607394" y="5892392"/>
                  <a:pt x="9605531" y="5892392"/>
                </a:cubicBezTo>
                <a:close/>
                <a:moveTo>
                  <a:pt x="9387885" y="5892392"/>
                </a:moveTo>
                <a:cubicBezTo>
                  <a:pt x="9382027" y="5892392"/>
                  <a:pt x="9379497" y="5894255"/>
                  <a:pt x="9377900" y="5895986"/>
                </a:cubicBezTo>
                <a:cubicBezTo>
                  <a:pt x="9375371" y="5898648"/>
                  <a:pt x="9374307" y="5901443"/>
                  <a:pt x="9374307" y="5905437"/>
                </a:cubicBezTo>
                <a:cubicBezTo>
                  <a:pt x="9374307" y="5909563"/>
                  <a:pt x="9375371" y="5912359"/>
                  <a:pt x="9377900" y="5914888"/>
                </a:cubicBezTo>
                <a:cubicBezTo>
                  <a:pt x="9379497" y="5916487"/>
                  <a:pt x="9382027" y="5918350"/>
                  <a:pt x="9387885" y="5918350"/>
                </a:cubicBezTo>
                <a:cubicBezTo>
                  <a:pt x="9390015" y="5918350"/>
                  <a:pt x="9391746" y="5918084"/>
                  <a:pt x="9393210" y="5917418"/>
                </a:cubicBezTo>
                <a:cubicBezTo>
                  <a:pt x="9394674" y="5916886"/>
                  <a:pt x="9396005" y="5916087"/>
                  <a:pt x="9396937" y="5915021"/>
                </a:cubicBezTo>
                <a:cubicBezTo>
                  <a:pt x="9398002" y="5913823"/>
                  <a:pt x="9398934" y="5912492"/>
                  <a:pt x="9399599" y="5910761"/>
                </a:cubicBezTo>
                <a:cubicBezTo>
                  <a:pt x="9400398" y="5909164"/>
                  <a:pt x="9400664" y="5907300"/>
                  <a:pt x="9400664" y="5905304"/>
                </a:cubicBezTo>
                <a:cubicBezTo>
                  <a:pt x="9400664" y="5903440"/>
                  <a:pt x="9400265" y="5901709"/>
                  <a:pt x="9399599" y="5900112"/>
                </a:cubicBezTo>
                <a:cubicBezTo>
                  <a:pt x="9398934" y="5898515"/>
                  <a:pt x="9398002" y="5897184"/>
                  <a:pt x="9396937" y="5895986"/>
                </a:cubicBezTo>
                <a:cubicBezTo>
                  <a:pt x="9395872" y="5894921"/>
                  <a:pt x="9394541" y="5893989"/>
                  <a:pt x="9392943" y="5893323"/>
                </a:cubicBezTo>
                <a:cubicBezTo>
                  <a:pt x="9391479" y="5892658"/>
                  <a:pt x="9389749" y="5892392"/>
                  <a:pt x="9387885" y="5892392"/>
                </a:cubicBezTo>
                <a:close/>
                <a:moveTo>
                  <a:pt x="9170374" y="5892392"/>
                </a:moveTo>
                <a:cubicBezTo>
                  <a:pt x="9164649" y="5892392"/>
                  <a:pt x="9161986" y="5894255"/>
                  <a:pt x="9160389" y="5895986"/>
                </a:cubicBezTo>
                <a:cubicBezTo>
                  <a:pt x="9157860" y="5898648"/>
                  <a:pt x="9156795" y="5901443"/>
                  <a:pt x="9156795" y="5905437"/>
                </a:cubicBezTo>
                <a:cubicBezTo>
                  <a:pt x="9156795" y="5909563"/>
                  <a:pt x="9157860" y="5912359"/>
                  <a:pt x="9160389" y="5914888"/>
                </a:cubicBezTo>
                <a:cubicBezTo>
                  <a:pt x="9161986" y="5916487"/>
                  <a:pt x="9164516" y="5918350"/>
                  <a:pt x="9170374" y="5918350"/>
                </a:cubicBezTo>
                <a:cubicBezTo>
                  <a:pt x="9172370" y="5918350"/>
                  <a:pt x="9174100" y="5918084"/>
                  <a:pt x="9175698" y="5917418"/>
                </a:cubicBezTo>
                <a:cubicBezTo>
                  <a:pt x="9177163" y="5916886"/>
                  <a:pt x="9178494" y="5916087"/>
                  <a:pt x="9179425" y="5915021"/>
                </a:cubicBezTo>
                <a:cubicBezTo>
                  <a:pt x="9180491" y="5913823"/>
                  <a:pt x="9181422" y="5912492"/>
                  <a:pt x="9182088" y="5910761"/>
                </a:cubicBezTo>
                <a:cubicBezTo>
                  <a:pt x="9182887" y="5909164"/>
                  <a:pt x="9183152" y="5907300"/>
                  <a:pt x="9183152" y="5905304"/>
                </a:cubicBezTo>
                <a:cubicBezTo>
                  <a:pt x="9183152" y="5903440"/>
                  <a:pt x="9182753" y="5901709"/>
                  <a:pt x="9182088" y="5900112"/>
                </a:cubicBezTo>
                <a:cubicBezTo>
                  <a:pt x="9181422" y="5898515"/>
                  <a:pt x="9180491" y="5897184"/>
                  <a:pt x="9179425" y="5895986"/>
                </a:cubicBezTo>
                <a:cubicBezTo>
                  <a:pt x="9178360" y="5894921"/>
                  <a:pt x="9177029" y="5893989"/>
                  <a:pt x="9175432" y="5893323"/>
                </a:cubicBezTo>
                <a:cubicBezTo>
                  <a:pt x="9173967" y="5892658"/>
                  <a:pt x="9172237" y="5892392"/>
                  <a:pt x="9170374" y="5892392"/>
                </a:cubicBezTo>
                <a:close/>
                <a:moveTo>
                  <a:pt x="8952728" y="5892392"/>
                </a:moveTo>
                <a:cubicBezTo>
                  <a:pt x="8947003" y="5892392"/>
                  <a:pt x="8944340" y="5894255"/>
                  <a:pt x="8942743" y="5895986"/>
                </a:cubicBezTo>
                <a:cubicBezTo>
                  <a:pt x="8940214" y="5898648"/>
                  <a:pt x="8939150" y="5901443"/>
                  <a:pt x="8939150" y="5905437"/>
                </a:cubicBezTo>
                <a:cubicBezTo>
                  <a:pt x="8939150" y="5909563"/>
                  <a:pt x="8940214" y="5912359"/>
                  <a:pt x="8942743" y="5914888"/>
                </a:cubicBezTo>
                <a:cubicBezTo>
                  <a:pt x="8944340" y="5916487"/>
                  <a:pt x="8946870" y="5918350"/>
                  <a:pt x="8952728" y="5918350"/>
                </a:cubicBezTo>
                <a:cubicBezTo>
                  <a:pt x="8954725" y="5918350"/>
                  <a:pt x="8956589" y="5918084"/>
                  <a:pt x="8958053" y="5917418"/>
                </a:cubicBezTo>
                <a:cubicBezTo>
                  <a:pt x="8959517" y="5916886"/>
                  <a:pt x="8960849" y="5916087"/>
                  <a:pt x="8961780" y="5915021"/>
                </a:cubicBezTo>
                <a:cubicBezTo>
                  <a:pt x="8962845" y="5913823"/>
                  <a:pt x="8963777" y="5912492"/>
                  <a:pt x="8964442" y="5910761"/>
                </a:cubicBezTo>
                <a:cubicBezTo>
                  <a:pt x="8965241" y="5909164"/>
                  <a:pt x="8965507" y="5907300"/>
                  <a:pt x="8965507" y="5905304"/>
                </a:cubicBezTo>
                <a:cubicBezTo>
                  <a:pt x="8965507" y="5903440"/>
                  <a:pt x="8965108" y="5901709"/>
                  <a:pt x="8964442" y="5900112"/>
                </a:cubicBezTo>
                <a:cubicBezTo>
                  <a:pt x="8963777" y="5898515"/>
                  <a:pt x="8962845" y="5897184"/>
                  <a:pt x="8961780" y="5895986"/>
                </a:cubicBezTo>
                <a:cubicBezTo>
                  <a:pt x="8960715" y="5894921"/>
                  <a:pt x="8959384" y="5893989"/>
                  <a:pt x="8957786" y="5893323"/>
                </a:cubicBezTo>
                <a:cubicBezTo>
                  <a:pt x="8956322" y="5892658"/>
                  <a:pt x="8954592" y="5892392"/>
                  <a:pt x="8952728" y="5892392"/>
                </a:cubicBezTo>
                <a:close/>
                <a:moveTo>
                  <a:pt x="8735083" y="5892392"/>
                </a:moveTo>
                <a:cubicBezTo>
                  <a:pt x="8729358" y="5892392"/>
                  <a:pt x="8726695" y="5894255"/>
                  <a:pt x="8725098" y="5895986"/>
                </a:cubicBezTo>
                <a:cubicBezTo>
                  <a:pt x="8722569" y="5898648"/>
                  <a:pt x="8721504" y="5901443"/>
                  <a:pt x="8721504" y="5905437"/>
                </a:cubicBezTo>
                <a:cubicBezTo>
                  <a:pt x="8721504" y="5909563"/>
                  <a:pt x="8722569" y="5912359"/>
                  <a:pt x="8725098" y="5914888"/>
                </a:cubicBezTo>
                <a:cubicBezTo>
                  <a:pt x="8726695" y="5916487"/>
                  <a:pt x="8729225" y="5918350"/>
                  <a:pt x="8735083" y="5918350"/>
                </a:cubicBezTo>
                <a:cubicBezTo>
                  <a:pt x="8737079" y="5918350"/>
                  <a:pt x="8738943" y="5918084"/>
                  <a:pt x="8740407" y="5917418"/>
                </a:cubicBezTo>
                <a:cubicBezTo>
                  <a:pt x="8741872" y="5916886"/>
                  <a:pt x="8743203" y="5916087"/>
                  <a:pt x="8744134" y="5915021"/>
                </a:cubicBezTo>
                <a:cubicBezTo>
                  <a:pt x="8745200" y="5913823"/>
                  <a:pt x="8746132" y="5912492"/>
                  <a:pt x="8746797" y="5910761"/>
                </a:cubicBezTo>
                <a:cubicBezTo>
                  <a:pt x="8747596" y="5909164"/>
                  <a:pt x="8747862" y="5907300"/>
                  <a:pt x="8747862" y="5905304"/>
                </a:cubicBezTo>
                <a:cubicBezTo>
                  <a:pt x="8747862" y="5903440"/>
                  <a:pt x="8747462" y="5901709"/>
                  <a:pt x="8746797" y="5900112"/>
                </a:cubicBezTo>
                <a:cubicBezTo>
                  <a:pt x="8746132" y="5898515"/>
                  <a:pt x="8745200" y="5897184"/>
                  <a:pt x="8744134" y="5895986"/>
                </a:cubicBezTo>
                <a:cubicBezTo>
                  <a:pt x="8743069" y="5894921"/>
                  <a:pt x="8741738" y="5893989"/>
                  <a:pt x="8740141" y="5893323"/>
                </a:cubicBezTo>
                <a:cubicBezTo>
                  <a:pt x="8738677" y="5892658"/>
                  <a:pt x="8736946" y="5892392"/>
                  <a:pt x="8735083" y="5892392"/>
                </a:cubicBezTo>
                <a:close/>
                <a:moveTo>
                  <a:pt x="8517438" y="5892392"/>
                </a:moveTo>
                <a:cubicBezTo>
                  <a:pt x="8511713" y="5892392"/>
                  <a:pt x="8509051" y="5894255"/>
                  <a:pt x="8507453" y="5895986"/>
                </a:cubicBezTo>
                <a:cubicBezTo>
                  <a:pt x="8504925" y="5898648"/>
                  <a:pt x="8503860" y="5901443"/>
                  <a:pt x="8503860" y="5905437"/>
                </a:cubicBezTo>
                <a:cubicBezTo>
                  <a:pt x="8503860" y="5909563"/>
                  <a:pt x="8504925" y="5912359"/>
                  <a:pt x="8507453" y="5914888"/>
                </a:cubicBezTo>
                <a:cubicBezTo>
                  <a:pt x="8509051" y="5916487"/>
                  <a:pt x="8511581" y="5918350"/>
                  <a:pt x="8517438" y="5918350"/>
                </a:cubicBezTo>
                <a:cubicBezTo>
                  <a:pt x="8519568" y="5918350"/>
                  <a:pt x="8521299" y="5918084"/>
                  <a:pt x="8522763" y="5917418"/>
                </a:cubicBezTo>
                <a:cubicBezTo>
                  <a:pt x="8524227" y="5916886"/>
                  <a:pt x="8525559" y="5916087"/>
                  <a:pt x="8526490" y="5915021"/>
                </a:cubicBezTo>
                <a:cubicBezTo>
                  <a:pt x="8527555" y="5913823"/>
                  <a:pt x="8528487" y="5912492"/>
                  <a:pt x="8529152" y="5910761"/>
                </a:cubicBezTo>
                <a:cubicBezTo>
                  <a:pt x="8529818" y="5909164"/>
                  <a:pt x="8530084" y="5907300"/>
                  <a:pt x="8530084" y="5905304"/>
                </a:cubicBezTo>
                <a:cubicBezTo>
                  <a:pt x="8530084" y="5903440"/>
                  <a:pt x="8529818" y="5901709"/>
                  <a:pt x="8529152" y="5900112"/>
                </a:cubicBezTo>
                <a:cubicBezTo>
                  <a:pt x="8528487" y="5898515"/>
                  <a:pt x="8527555" y="5897184"/>
                  <a:pt x="8526490" y="5895986"/>
                </a:cubicBezTo>
                <a:cubicBezTo>
                  <a:pt x="8525425" y="5894921"/>
                  <a:pt x="8524094" y="5893989"/>
                  <a:pt x="8522496" y="5893323"/>
                </a:cubicBezTo>
                <a:cubicBezTo>
                  <a:pt x="8521032" y="5892658"/>
                  <a:pt x="8519302" y="5892392"/>
                  <a:pt x="8517438" y="5892392"/>
                </a:cubicBezTo>
                <a:close/>
                <a:moveTo>
                  <a:pt x="8299793" y="5892392"/>
                </a:moveTo>
                <a:cubicBezTo>
                  <a:pt x="8294068" y="5892392"/>
                  <a:pt x="8291406" y="5894255"/>
                  <a:pt x="8289809" y="5895986"/>
                </a:cubicBezTo>
                <a:cubicBezTo>
                  <a:pt x="8287280" y="5898648"/>
                  <a:pt x="8286215" y="5901443"/>
                  <a:pt x="8286215" y="5905437"/>
                </a:cubicBezTo>
                <a:cubicBezTo>
                  <a:pt x="8286215" y="5909563"/>
                  <a:pt x="8287280" y="5912359"/>
                  <a:pt x="8289809" y="5914888"/>
                </a:cubicBezTo>
                <a:cubicBezTo>
                  <a:pt x="8291406" y="5916487"/>
                  <a:pt x="8293935" y="5918350"/>
                  <a:pt x="8299793" y="5918350"/>
                </a:cubicBezTo>
                <a:cubicBezTo>
                  <a:pt x="8301923" y="5918350"/>
                  <a:pt x="8303653" y="5918084"/>
                  <a:pt x="8305118" y="5917418"/>
                </a:cubicBezTo>
                <a:cubicBezTo>
                  <a:pt x="8306582" y="5916886"/>
                  <a:pt x="8307913" y="5916087"/>
                  <a:pt x="8308844" y="5915021"/>
                </a:cubicBezTo>
                <a:cubicBezTo>
                  <a:pt x="8309910" y="5913823"/>
                  <a:pt x="8310842" y="5912492"/>
                  <a:pt x="8311507" y="5910761"/>
                </a:cubicBezTo>
                <a:cubicBezTo>
                  <a:pt x="8312172" y="5909164"/>
                  <a:pt x="8312439" y="5907300"/>
                  <a:pt x="8312439" y="5905304"/>
                </a:cubicBezTo>
                <a:cubicBezTo>
                  <a:pt x="8312439" y="5903440"/>
                  <a:pt x="8312172" y="5901709"/>
                  <a:pt x="8311507" y="5900112"/>
                </a:cubicBezTo>
                <a:cubicBezTo>
                  <a:pt x="8310842" y="5898515"/>
                  <a:pt x="8309910" y="5897184"/>
                  <a:pt x="8308844" y="5895986"/>
                </a:cubicBezTo>
                <a:cubicBezTo>
                  <a:pt x="8307779" y="5894921"/>
                  <a:pt x="8306448" y="5893989"/>
                  <a:pt x="8304851" y="5893323"/>
                </a:cubicBezTo>
                <a:cubicBezTo>
                  <a:pt x="8303387" y="5892658"/>
                  <a:pt x="8301790" y="5892392"/>
                  <a:pt x="8299793" y="5892392"/>
                </a:cubicBezTo>
                <a:close/>
                <a:moveTo>
                  <a:pt x="8082281" y="5892392"/>
                </a:moveTo>
                <a:cubicBezTo>
                  <a:pt x="8076424" y="5892392"/>
                  <a:pt x="8073894" y="5894255"/>
                  <a:pt x="8072297" y="5895986"/>
                </a:cubicBezTo>
                <a:cubicBezTo>
                  <a:pt x="8069768" y="5898648"/>
                  <a:pt x="8068703" y="5901443"/>
                  <a:pt x="8068703" y="5905437"/>
                </a:cubicBezTo>
                <a:cubicBezTo>
                  <a:pt x="8068703" y="5909563"/>
                  <a:pt x="8069768" y="5912359"/>
                  <a:pt x="8072297" y="5914888"/>
                </a:cubicBezTo>
                <a:cubicBezTo>
                  <a:pt x="8073894" y="5916487"/>
                  <a:pt x="8076424" y="5918350"/>
                  <a:pt x="8082281" y="5918350"/>
                </a:cubicBezTo>
                <a:cubicBezTo>
                  <a:pt x="8084277" y="5918350"/>
                  <a:pt x="8086007" y="5918084"/>
                  <a:pt x="8087605" y="5917418"/>
                </a:cubicBezTo>
                <a:cubicBezTo>
                  <a:pt x="8089069" y="5916886"/>
                  <a:pt x="8090401" y="5916087"/>
                  <a:pt x="8091332" y="5915021"/>
                </a:cubicBezTo>
                <a:cubicBezTo>
                  <a:pt x="8092397" y="5913823"/>
                  <a:pt x="8093329" y="5912492"/>
                  <a:pt x="8093994" y="5910761"/>
                </a:cubicBezTo>
                <a:cubicBezTo>
                  <a:pt x="8094660" y="5909164"/>
                  <a:pt x="8094926" y="5907300"/>
                  <a:pt x="8094926" y="5905304"/>
                </a:cubicBezTo>
                <a:cubicBezTo>
                  <a:pt x="8094926" y="5903440"/>
                  <a:pt x="8094660" y="5901709"/>
                  <a:pt x="8093994" y="5900112"/>
                </a:cubicBezTo>
                <a:cubicBezTo>
                  <a:pt x="8093329" y="5898515"/>
                  <a:pt x="8092397" y="5897184"/>
                  <a:pt x="8091332" y="5895986"/>
                </a:cubicBezTo>
                <a:cubicBezTo>
                  <a:pt x="8090267" y="5894921"/>
                  <a:pt x="8088936" y="5893989"/>
                  <a:pt x="8087338" y="5893323"/>
                </a:cubicBezTo>
                <a:cubicBezTo>
                  <a:pt x="8085874" y="5892658"/>
                  <a:pt x="8084277" y="5892392"/>
                  <a:pt x="8082281" y="5892392"/>
                </a:cubicBezTo>
                <a:close/>
                <a:moveTo>
                  <a:pt x="7864636" y="5892392"/>
                </a:moveTo>
                <a:cubicBezTo>
                  <a:pt x="7858779" y="5892392"/>
                  <a:pt x="7856249" y="5894255"/>
                  <a:pt x="7854652" y="5895986"/>
                </a:cubicBezTo>
                <a:cubicBezTo>
                  <a:pt x="7852123" y="5898648"/>
                  <a:pt x="7851058" y="5901443"/>
                  <a:pt x="7851058" y="5905437"/>
                </a:cubicBezTo>
                <a:cubicBezTo>
                  <a:pt x="7851058" y="5909563"/>
                  <a:pt x="7852123" y="5912359"/>
                  <a:pt x="7854652" y="5914888"/>
                </a:cubicBezTo>
                <a:cubicBezTo>
                  <a:pt x="7856249" y="5916487"/>
                  <a:pt x="7858779" y="5918350"/>
                  <a:pt x="7864636" y="5918350"/>
                </a:cubicBezTo>
                <a:cubicBezTo>
                  <a:pt x="7866633" y="5918350"/>
                  <a:pt x="7868363" y="5918084"/>
                  <a:pt x="7869961" y="5917418"/>
                </a:cubicBezTo>
                <a:cubicBezTo>
                  <a:pt x="7871425" y="5916886"/>
                  <a:pt x="7872756" y="5916087"/>
                  <a:pt x="7873687" y="5915021"/>
                </a:cubicBezTo>
                <a:cubicBezTo>
                  <a:pt x="7874753" y="5913823"/>
                  <a:pt x="7875685" y="5912492"/>
                  <a:pt x="7876350" y="5910761"/>
                </a:cubicBezTo>
                <a:cubicBezTo>
                  <a:pt x="7877015" y="5909164"/>
                  <a:pt x="7877282" y="5907300"/>
                  <a:pt x="7877282" y="5905304"/>
                </a:cubicBezTo>
                <a:cubicBezTo>
                  <a:pt x="7877282" y="5903440"/>
                  <a:pt x="7877015" y="5901709"/>
                  <a:pt x="7876350" y="5900112"/>
                </a:cubicBezTo>
                <a:cubicBezTo>
                  <a:pt x="7875685" y="5898515"/>
                  <a:pt x="7874753" y="5897184"/>
                  <a:pt x="7873687" y="5895986"/>
                </a:cubicBezTo>
                <a:cubicBezTo>
                  <a:pt x="7872623" y="5894921"/>
                  <a:pt x="7871291" y="5893989"/>
                  <a:pt x="7869694" y="5893323"/>
                </a:cubicBezTo>
                <a:cubicBezTo>
                  <a:pt x="7868230" y="5892658"/>
                  <a:pt x="7866633" y="5892392"/>
                  <a:pt x="7864636" y="5892392"/>
                </a:cubicBezTo>
                <a:close/>
                <a:moveTo>
                  <a:pt x="7646991" y="5892392"/>
                </a:moveTo>
                <a:cubicBezTo>
                  <a:pt x="7641134" y="5892392"/>
                  <a:pt x="7638604" y="5894255"/>
                  <a:pt x="7637007" y="5895986"/>
                </a:cubicBezTo>
                <a:cubicBezTo>
                  <a:pt x="7634478" y="5898648"/>
                  <a:pt x="7633413" y="5901443"/>
                  <a:pt x="7633413" y="5905437"/>
                </a:cubicBezTo>
                <a:cubicBezTo>
                  <a:pt x="7633413" y="5909563"/>
                  <a:pt x="7634478" y="5912359"/>
                  <a:pt x="7637007" y="5914888"/>
                </a:cubicBezTo>
                <a:cubicBezTo>
                  <a:pt x="7638604" y="5916487"/>
                  <a:pt x="7641134" y="5918350"/>
                  <a:pt x="7646991" y="5918350"/>
                </a:cubicBezTo>
                <a:cubicBezTo>
                  <a:pt x="7648987" y="5918350"/>
                  <a:pt x="7650851" y="5918084"/>
                  <a:pt x="7652315" y="5917418"/>
                </a:cubicBezTo>
                <a:cubicBezTo>
                  <a:pt x="7653780" y="5916886"/>
                  <a:pt x="7655111" y="5916087"/>
                  <a:pt x="7656042" y="5915021"/>
                </a:cubicBezTo>
                <a:cubicBezTo>
                  <a:pt x="7657108" y="5913823"/>
                  <a:pt x="7658039" y="5912492"/>
                  <a:pt x="7658705" y="5910761"/>
                </a:cubicBezTo>
                <a:cubicBezTo>
                  <a:pt x="7659504" y="5909164"/>
                  <a:pt x="7659769" y="5907300"/>
                  <a:pt x="7659769" y="5905304"/>
                </a:cubicBezTo>
                <a:cubicBezTo>
                  <a:pt x="7659769" y="5903440"/>
                  <a:pt x="7659370" y="5901709"/>
                  <a:pt x="7658705" y="5900112"/>
                </a:cubicBezTo>
                <a:cubicBezTo>
                  <a:pt x="7658039" y="5898515"/>
                  <a:pt x="7657108" y="5897184"/>
                  <a:pt x="7656042" y="5895986"/>
                </a:cubicBezTo>
                <a:cubicBezTo>
                  <a:pt x="7654977" y="5894921"/>
                  <a:pt x="7653646" y="5893989"/>
                  <a:pt x="7652049" y="5893323"/>
                </a:cubicBezTo>
                <a:cubicBezTo>
                  <a:pt x="7650584" y="5892658"/>
                  <a:pt x="7648987" y="5892392"/>
                  <a:pt x="7646991" y="5892392"/>
                </a:cubicBezTo>
                <a:close/>
                <a:moveTo>
                  <a:pt x="7429345" y="5892392"/>
                </a:moveTo>
                <a:cubicBezTo>
                  <a:pt x="7423488" y="5892392"/>
                  <a:pt x="7420958" y="5894255"/>
                  <a:pt x="7419361" y="5895986"/>
                </a:cubicBezTo>
                <a:cubicBezTo>
                  <a:pt x="7416832" y="5898648"/>
                  <a:pt x="7415768" y="5901443"/>
                  <a:pt x="7415768" y="5905437"/>
                </a:cubicBezTo>
                <a:cubicBezTo>
                  <a:pt x="7415768" y="5909563"/>
                  <a:pt x="7416832" y="5912359"/>
                  <a:pt x="7419361" y="5914888"/>
                </a:cubicBezTo>
                <a:cubicBezTo>
                  <a:pt x="7420958" y="5916487"/>
                  <a:pt x="7423488" y="5918350"/>
                  <a:pt x="7429345" y="5918350"/>
                </a:cubicBezTo>
                <a:cubicBezTo>
                  <a:pt x="7431342" y="5918350"/>
                  <a:pt x="7433206" y="5918084"/>
                  <a:pt x="7434670" y="5917418"/>
                </a:cubicBezTo>
                <a:cubicBezTo>
                  <a:pt x="7436134" y="5916886"/>
                  <a:pt x="7437466" y="5916087"/>
                  <a:pt x="7438397" y="5915021"/>
                </a:cubicBezTo>
                <a:cubicBezTo>
                  <a:pt x="7439462" y="5913823"/>
                  <a:pt x="7440394" y="5912492"/>
                  <a:pt x="7441059" y="5910761"/>
                </a:cubicBezTo>
                <a:cubicBezTo>
                  <a:pt x="7441858" y="5909164"/>
                  <a:pt x="7442124" y="5907300"/>
                  <a:pt x="7442124" y="5905304"/>
                </a:cubicBezTo>
                <a:cubicBezTo>
                  <a:pt x="7442124" y="5903440"/>
                  <a:pt x="7441725" y="5901709"/>
                  <a:pt x="7441059" y="5900112"/>
                </a:cubicBezTo>
                <a:cubicBezTo>
                  <a:pt x="7440394" y="5898515"/>
                  <a:pt x="7439462" y="5897184"/>
                  <a:pt x="7438397" y="5895986"/>
                </a:cubicBezTo>
                <a:cubicBezTo>
                  <a:pt x="7437332" y="5894921"/>
                  <a:pt x="7436001" y="5893989"/>
                  <a:pt x="7434403" y="5893323"/>
                </a:cubicBezTo>
                <a:cubicBezTo>
                  <a:pt x="7432939" y="5892658"/>
                  <a:pt x="7431342" y="5892392"/>
                  <a:pt x="7429345" y="5892392"/>
                </a:cubicBezTo>
                <a:close/>
                <a:moveTo>
                  <a:pt x="7211701" y="5892392"/>
                </a:moveTo>
                <a:cubicBezTo>
                  <a:pt x="7205844" y="5892392"/>
                  <a:pt x="7203314" y="5894255"/>
                  <a:pt x="7201717" y="5895986"/>
                </a:cubicBezTo>
                <a:cubicBezTo>
                  <a:pt x="7199188" y="5898648"/>
                  <a:pt x="7198123" y="5901443"/>
                  <a:pt x="7198123" y="5905437"/>
                </a:cubicBezTo>
                <a:cubicBezTo>
                  <a:pt x="7198123" y="5909563"/>
                  <a:pt x="7199188" y="5912359"/>
                  <a:pt x="7201717" y="5914888"/>
                </a:cubicBezTo>
                <a:cubicBezTo>
                  <a:pt x="7203314" y="5916487"/>
                  <a:pt x="7205844" y="5918350"/>
                  <a:pt x="7211701" y="5918350"/>
                </a:cubicBezTo>
                <a:cubicBezTo>
                  <a:pt x="7213830" y="5918350"/>
                  <a:pt x="7215561" y="5918084"/>
                  <a:pt x="7217026" y="5917418"/>
                </a:cubicBezTo>
                <a:cubicBezTo>
                  <a:pt x="7218490" y="5916886"/>
                  <a:pt x="7219821" y="5916087"/>
                  <a:pt x="7220752" y="5915021"/>
                </a:cubicBezTo>
                <a:cubicBezTo>
                  <a:pt x="7221818" y="5913823"/>
                  <a:pt x="7222750" y="5912492"/>
                  <a:pt x="7223415" y="5910761"/>
                </a:cubicBezTo>
                <a:cubicBezTo>
                  <a:pt x="7224214" y="5909164"/>
                  <a:pt x="7224480" y="5907300"/>
                  <a:pt x="7224480" y="5905304"/>
                </a:cubicBezTo>
                <a:cubicBezTo>
                  <a:pt x="7224480" y="5903440"/>
                  <a:pt x="7224080" y="5901709"/>
                  <a:pt x="7223415" y="5900112"/>
                </a:cubicBezTo>
                <a:cubicBezTo>
                  <a:pt x="7222750" y="5898515"/>
                  <a:pt x="7221818" y="5897184"/>
                  <a:pt x="7220752" y="5895986"/>
                </a:cubicBezTo>
                <a:cubicBezTo>
                  <a:pt x="7219687" y="5894921"/>
                  <a:pt x="7218356" y="5893989"/>
                  <a:pt x="7216759" y="5893323"/>
                </a:cubicBezTo>
                <a:cubicBezTo>
                  <a:pt x="7215295" y="5892658"/>
                  <a:pt x="7213698" y="5892392"/>
                  <a:pt x="7211701" y="5892392"/>
                </a:cubicBezTo>
                <a:close/>
                <a:moveTo>
                  <a:pt x="6994056" y="5892392"/>
                </a:moveTo>
                <a:cubicBezTo>
                  <a:pt x="6988199" y="5892392"/>
                  <a:pt x="6985669" y="5894255"/>
                  <a:pt x="6984072" y="5895986"/>
                </a:cubicBezTo>
                <a:cubicBezTo>
                  <a:pt x="6981543" y="5898648"/>
                  <a:pt x="6980478" y="5901443"/>
                  <a:pt x="6980478" y="5905437"/>
                </a:cubicBezTo>
                <a:cubicBezTo>
                  <a:pt x="6980478" y="5909563"/>
                  <a:pt x="6981543" y="5912359"/>
                  <a:pt x="6984072" y="5914888"/>
                </a:cubicBezTo>
                <a:cubicBezTo>
                  <a:pt x="6985669" y="5916487"/>
                  <a:pt x="6988199" y="5918350"/>
                  <a:pt x="6994056" y="5918350"/>
                </a:cubicBezTo>
                <a:cubicBezTo>
                  <a:pt x="6996185" y="5918350"/>
                  <a:pt x="6997916" y="5918084"/>
                  <a:pt x="6999380" y="5917418"/>
                </a:cubicBezTo>
                <a:cubicBezTo>
                  <a:pt x="7000844" y="5916886"/>
                  <a:pt x="7002176" y="5916087"/>
                  <a:pt x="7003107" y="5915021"/>
                </a:cubicBezTo>
                <a:cubicBezTo>
                  <a:pt x="7004172" y="5913823"/>
                  <a:pt x="7005104" y="5912492"/>
                  <a:pt x="7005769" y="5910761"/>
                </a:cubicBezTo>
                <a:cubicBezTo>
                  <a:pt x="7006568" y="5909164"/>
                  <a:pt x="7006834" y="5907300"/>
                  <a:pt x="7006834" y="5905304"/>
                </a:cubicBezTo>
                <a:cubicBezTo>
                  <a:pt x="7006834" y="5903440"/>
                  <a:pt x="7006435" y="5901709"/>
                  <a:pt x="7005769" y="5900112"/>
                </a:cubicBezTo>
                <a:cubicBezTo>
                  <a:pt x="7005104" y="5898515"/>
                  <a:pt x="7004172" y="5897184"/>
                  <a:pt x="7003107" y="5895986"/>
                </a:cubicBezTo>
                <a:cubicBezTo>
                  <a:pt x="7002042" y="5894921"/>
                  <a:pt x="7000711" y="5893989"/>
                  <a:pt x="6999113" y="5893323"/>
                </a:cubicBezTo>
                <a:cubicBezTo>
                  <a:pt x="6997649" y="5892658"/>
                  <a:pt x="6996052" y="5892392"/>
                  <a:pt x="6994056" y="5892392"/>
                </a:cubicBezTo>
                <a:close/>
                <a:moveTo>
                  <a:pt x="6776544" y="5892392"/>
                </a:moveTo>
                <a:cubicBezTo>
                  <a:pt x="6770687" y="5892392"/>
                  <a:pt x="6768157" y="5894255"/>
                  <a:pt x="6766560" y="5895986"/>
                </a:cubicBezTo>
                <a:cubicBezTo>
                  <a:pt x="6764031" y="5898648"/>
                  <a:pt x="6762966" y="5901443"/>
                  <a:pt x="6762966" y="5905437"/>
                </a:cubicBezTo>
                <a:cubicBezTo>
                  <a:pt x="6762966" y="5909563"/>
                  <a:pt x="6764031" y="5912359"/>
                  <a:pt x="6766560" y="5914888"/>
                </a:cubicBezTo>
                <a:cubicBezTo>
                  <a:pt x="6768157" y="5916487"/>
                  <a:pt x="6770687" y="5918350"/>
                  <a:pt x="6776544" y="5918350"/>
                </a:cubicBezTo>
                <a:cubicBezTo>
                  <a:pt x="6778541" y="5918350"/>
                  <a:pt x="6780270" y="5918084"/>
                  <a:pt x="6781869" y="5917418"/>
                </a:cubicBezTo>
                <a:cubicBezTo>
                  <a:pt x="6783333" y="5916886"/>
                  <a:pt x="6784664" y="5916087"/>
                  <a:pt x="6785595" y="5915021"/>
                </a:cubicBezTo>
                <a:cubicBezTo>
                  <a:pt x="6786661" y="5913823"/>
                  <a:pt x="6787593" y="5912492"/>
                  <a:pt x="6788258" y="5910761"/>
                </a:cubicBezTo>
                <a:cubicBezTo>
                  <a:pt x="6789057" y="5909164"/>
                  <a:pt x="6789323" y="5907300"/>
                  <a:pt x="6789323" y="5905304"/>
                </a:cubicBezTo>
                <a:cubicBezTo>
                  <a:pt x="6789323" y="5903440"/>
                  <a:pt x="6788923" y="5901709"/>
                  <a:pt x="6788258" y="5900112"/>
                </a:cubicBezTo>
                <a:cubicBezTo>
                  <a:pt x="6787593" y="5898515"/>
                  <a:pt x="6786661" y="5897184"/>
                  <a:pt x="6785595" y="5895986"/>
                </a:cubicBezTo>
                <a:cubicBezTo>
                  <a:pt x="6784530" y="5894921"/>
                  <a:pt x="6783199" y="5893989"/>
                  <a:pt x="6781602" y="5893323"/>
                </a:cubicBezTo>
                <a:cubicBezTo>
                  <a:pt x="6780138" y="5892658"/>
                  <a:pt x="6778541" y="5892392"/>
                  <a:pt x="6776544" y="5892392"/>
                </a:cubicBezTo>
                <a:close/>
                <a:moveTo>
                  <a:pt x="6558899" y="5892392"/>
                </a:moveTo>
                <a:cubicBezTo>
                  <a:pt x="6553042" y="5892392"/>
                  <a:pt x="6550512" y="5894255"/>
                  <a:pt x="6548915" y="5895986"/>
                </a:cubicBezTo>
                <a:cubicBezTo>
                  <a:pt x="6546386" y="5898648"/>
                  <a:pt x="6545321" y="5901443"/>
                  <a:pt x="6545321" y="5905437"/>
                </a:cubicBezTo>
                <a:cubicBezTo>
                  <a:pt x="6545321" y="5909563"/>
                  <a:pt x="6546386" y="5912359"/>
                  <a:pt x="6548915" y="5914888"/>
                </a:cubicBezTo>
                <a:cubicBezTo>
                  <a:pt x="6550512" y="5916487"/>
                  <a:pt x="6553042" y="5918350"/>
                  <a:pt x="6558899" y="5918350"/>
                </a:cubicBezTo>
                <a:cubicBezTo>
                  <a:pt x="6560895" y="5918350"/>
                  <a:pt x="6562759" y="5918084"/>
                  <a:pt x="6564223" y="5917418"/>
                </a:cubicBezTo>
                <a:cubicBezTo>
                  <a:pt x="6565687" y="5916886"/>
                  <a:pt x="6567019" y="5916087"/>
                  <a:pt x="6567950" y="5915021"/>
                </a:cubicBezTo>
                <a:cubicBezTo>
                  <a:pt x="6569015" y="5913823"/>
                  <a:pt x="6569947" y="5912492"/>
                  <a:pt x="6570612" y="5910761"/>
                </a:cubicBezTo>
                <a:cubicBezTo>
                  <a:pt x="6571412" y="5909164"/>
                  <a:pt x="6571677" y="5907300"/>
                  <a:pt x="6571677" y="5905304"/>
                </a:cubicBezTo>
                <a:cubicBezTo>
                  <a:pt x="6571677" y="5903440"/>
                  <a:pt x="6571278" y="5901709"/>
                  <a:pt x="6570612" y="5900112"/>
                </a:cubicBezTo>
                <a:cubicBezTo>
                  <a:pt x="6569947" y="5898515"/>
                  <a:pt x="6569015" y="5897184"/>
                  <a:pt x="6567950" y="5895986"/>
                </a:cubicBezTo>
                <a:cubicBezTo>
                  <a:pt x="6566885" y="5894921"/>
                  <a:pt x="6565554" y="5893989"/>
                  <a:pt x="6563956" y="5893323"/>
                </a:cubicBezTo>
                <a:cubicBezTo>
                  <a:pt x="6562492" y="5892658"/>
                  <a:pt x="6560895" y="5892392"/>
                  <a:pt x="6558899" y="5892392"/>
                </a:cubicBezTo>
                <a:close/>
                <a:moveTo>
                  <a:pt x="6341253" y="5892392"/>
                </a:moveTo>
                <a:cubicBezTo>
                  <a:pt x="6335396" y="5892392"/>
                  <a:pt x="6332867" y="5894255"/>
                  <a:pt x="6331270" y="5895986"/>
                </a:cubicBezTo>
                <a:cubicBezTo>
                  <a:pt x="6328740" y="5898648"/>
                  <a:pt x="6327675" y="5901443"/>
                  <a:pt x="6327675" y="5905437"/>
                </a:cubicBezTo>
                <a:cubicBezTo>
                  <a:pt x="6327675" y="5909563"/>
                  <a:pt x="6328740" y="5912359"/>
                  <a:pt x="6331270" y="5914888"/>
                </a:cubicBezTo>
                <a:cubicBezTo>
                  <a:pt x="6332867" y="5916487"/>
                  <a:pt x="6335396" y="5918350"/>
                  <a:pt x="6341253" y="5918350"/>
                </a:cubicBezTo>
                <a:cubicBezTo>
                  <a:pt x="6343250" y="5918350"/>
                  <a:pt x="6345114" y="5918084"/>
                  <a:pt x="6346578" y="5917418"/>
                </a:cubicBezTo>
                <a:cubicBezTo>
                  <a:pt x="6348042" y="5916886"/>
                  <a:pt x="6349373" y="5916087"/>
                  <a:pt x="6350305" y="5915021"/>
                </a:cubicBezTo>
                <a:cubicBezTo>
                  <a:pt x="6351370" y="5913823"/>
                  <a:pt x="6352302" y="5912492"/>
                  <a:pt x="6352968" y="5910761"/>
                </a:cubicBezTo>
                <a:cubicBezTo>
                  <a:pt x="6353766" y="5909164"/>
                  <a:pt x="6354033" y="5907300"/>
                  <a:pt x="6354033" y="5905304"/>
                </a:cubicBezTo>
                <a:cubicBezTo>
                  <a:pt x="6354033" y="5903440"/>
                  <a:pt x="6353633" y="5901709"/>
                  <a:pt x="6352968" y="5900112"/>
                </a:cubicBezTo>
                <a:cubicBezTo>
                  <a:pt x="6352302" y="5898515"/>
                  <a:pt x="6351370" y="5897184"/>
                  <a:pt x="6350305" y="5895986"/>
                </a:cubicBezTo>
                <a:cubicBezTo>
                  <a:pt x="6349241" y="5894921"/>
                  <a:pt x="6347909" y="5893989"/>
                  <a:pt x="6346312" y="5893323"/>
                </a:cubicBezTo>
                <a:cubicBezTo>
                  <a:pt x="6344848" y="5892658"/>
                  <a:pt x="6343250" y="5892392"/>
                  <a:pt x="6341253" y="5892392"/>
                </a:cubicBezTo>
                <a:close/>
                <a:moveTo>
                  <a:pt x="6123608" y="5892392"/>
                </a:moveTo>
                <a:cubicBezTo>
                  <a:pt x="6117751" y="5892392"/>
                  <a:pt x="6115221" y="5894255"/>
                  <a:pt x="6113624" y="5895986"/>
                </a:cubicBezTo>
                <a:cubicBezTo>
                  <a:pt x="6111095" y="5898648"/>
                  <a:pt x="6110030" y="5901443"/>
                  <a:pt x="6110030" y="5905437"/>
                </a:cubicBezTo>
                <a:cubicBezTo>
                  <a:pt x="6110030" y="5909563"/>
                  <a:pt x="6111095" y="5912359"/>
                  <a:pt x="6113624" y="5914888"/>
                </a:cubicBezTo>
                <a:cubicBezTo>
                  <a:pt x="6115221" y="5916487"/>
                  <a:pt x="6117751" y="5918350"/>
                  <a:pt x="6123608" y="5918350"/>
                </a:cubicBezTo>
                <a:cubicBezTo>
                  <a:pt x="6125737" y="5918350"/>
                  <a:pt x="6127468" y="5918084"/>
                  <a:pt x="6128932" y="5917418"/>
                </a:cubicBezTo>
                <a:cubicBezTo>
                  <a:pt x="6130530" y="5916886"/>
                  <a:pt x="6131728" y="5916087"/>
                  <a:pt x="6132659" y="5915021"/>
                </a:cubicBezTo>
                <a:cubicBezTo>
                  <a:pt x="6133724" y="5913823"/>
                  <a:pt x="6134656" y="5912492"/>
                  <a:pt x="6135322" y="5910761"/>
                </a:cubicBezTo>
                <a:cubicBezTo>
                  <a:pt x="6135987" y="5909164"/>
                  <a:pt x="6136387" y="5907300"/>
                  <a:pt x="6136387" y="5905304"/>
                </a:cubicBezTo>
                <a:cubicBezTo>
                  <a:pt x="6136387" y="5903440"/>
                  <a:pt x="6135987" y="5901709"/>
                  <a:pt x="6135322" y="5900112"/>
                </a:cubicBezTo>
                <a:cubicBezTo>
                  <a:pt x="6134656" y="5898515"/>
                  <a:pt x="6133724" y="5897184"/>
                  <a:pt x="6132659" y="5895986"/>
                </a:cubicBezTo>
                <a:cubicBezTo>
                  <a:pt x="6131594" y="5894921"/>
                  <a:pt x="6130263" y="5893989"/>
                  <a:pt x="6128666" y="5893323"/>
                </a:cubicBezTo>
                <a:cubicBezTo>
                  <a:pt x="6127202" y="5892658"/>
                  <a:pt x="6125604" y="5892392"/>
                  <a:pt x="6123608" y="5892392"/>
                </a:cubicBezTo>
                <a:close/>
                <a:moveTo>
                  <a:pt x="5905963" y="5892392"/>
                </a:moveTo>
                <a:cubicBezTo>
                  <a:pt x="5900106" y="5892392"/>
                  <a:pt x="5897576" y="5894255"/>
                  <a:pt x="5895979" y="5895986"/>
                </a:cubicBezTo>
                <a:cubicBezTo>
                  <a:pt x="5893450" y="5898648"/>
                  <a:pt x="5892385" y="5901443"/>
                  <a:pt x="5892385" y="5905437"/>
                </a:cubicBezTo>
                <a:cubicBezTo>
                  <a:pt x="5892385" y="5909563"/>
                  <a:pt x="5893450" y="5912359"/>
                  <a:pt x="5895979" y="5914888"/>
                </a:cubicBezTo>
                <a:cubicBezTo>
                  <a:pt x="5897576" y="5916487"/>
                  <a:pt x="5900106" y="5918350"/>
                  <a:pt x="5905963" y="5918350"/>
                </a:cubicBezTo>
                <a:cubicBezTo>
                  <a:pt x="5908093" y="5918350"/>
                  <a:pt x="5909823" y="5918084"/>
                  <a:pt x="5911287" y="5917418"/>
                </a:cubicBezTo>
                <a:cubicBezTo>
                  <a:pt x="5912751" y="5916886"/>
                  <a:pt x="5914083" y="5916087"/>
                  <a:pt x="5915014" y="5915021"/>
                </a:cubicBezTo>
                <a:cubicBezTo>
                  <a:pt x="5916079" y="5913823"/>
                  <a:pt x="5917011" y="5912492"/>
                  <a:pt x="5917677" y="5910761"/>
                </a:cubicBezTo>
                <a:cubicBezTo>
                  <a:pt x="5918342" y="5909164"/>
                  <a:pt x="5918742" y="5907300"/>
                  <a:pt x="5918742" y="5905304"/>
                </a:cubicBezTo>
                <a:cubicBezTo>
                  <a:pt x="5918742" y="5903440"/>
                  <a:pt x="5918342" y="5901709"/>
                  <a:pt x="5917677" y="5900112"/>
                </a:cubicBezTo>
                <a:cubicBezTo>
                  <a:pt x="5917011" y="5898515"/>
                  <a:pt x="5916079" y="5897184"/>
                  <a:pt x="5915014" y="5895986"/>
                </a:cubicBezTo>
                <a:cubicBezTo>
                  <a:pt x="5913950" y="5894921"/>
                  <a:pt x="5912618" y="5893989"/>
                  <a:pt x="5911021" y="5893323"/>
                </a:cubicBezTo>
                <a:cubicBezTo>
                  <a:pt x="5909557" y="5892658"/>
                  <a:pt x="5907826" y="5892392"/>
                  <a:pt x="5905963" y="5892392"/>
                </a:cubicBezTo>
                <a:close/>
                <a:moveTo>
                  <a:pt x="5688451" y="5892392"/>
                </a:moveTo>
                <a:cubicBezTo>
                  <a:pt x="5682594" y="5892392"/>
                  <a:pt x="5680064" y="5894255"/>
                  <a:pt x="5678467" y="5895986"/>
                </a:cubicBezTo>
                <a:cubicBezTo>
                  <a:pt x="5675938" y="5898648"/>
                  <a:pt x="5674873" y="5901443"/>
                  <a:pt x="5674873" y="5905437"/>
                </a:cubicBezTo>
                <a:cubicBezTo>
                  <a:pt x="5674873" y="5909563"/>
                  <a:pt x="5675938" y="5912359"/>
                  <a:pt x="5678467" y="5914888"/>
                </a:cubicBezTo>
                <a:cubicBezTo>
                  <a:pt x="5680064" y="5916487"/>
                  <a:pt x="5682594" y="5918350"/>
                  <a:pt x="5688451" y="5918350"/>
                </a:cubicBezTo>
                <a:cubicBezTo>
                  <a:pt x="5690447" y="5918350"/>
                  <a:pt x="5692178" y="5918084"/>
                  <a:pt x="5693775" y="5917418"/>
                </a:cubicBezTo>
                <a:cubicBezTo>
                  <a:pt x="5695239" y="5916886"/>
                  <a:pt x="5696571" y="5916087"/>
                  <a:pt x="5697502" y="5915021"/>
                </a:cubicBezTo>
                <a:cubicBezTo>
                  <a:pt x="5698567" y="5913823"/>
                  <a:pt x="5699499" y="5912492"/>
                  <a:pt x="5700165" y="5910761"/>
                </a:cubicBezTo>
                <a:cubicBezTo>
                  <a:pt x="5700830" y="5909164"/>
                  <a:pt x="5701230" y="5907300"/>
                  <a:pt x="5701230" y="5905304"/>
                </a:cubicBezTo>
                <a:cubicBezTo>
                  <a:pt x="5701230" y="5903440"/>
                  <a:pt x="5700830" y="5901709"/>
                  <a:pt x="5700165" y="5900112"/>
                </a:cubicBezTo>
                <a:cubicBezTo>
                  <a:pt x="5699499" y="5898515"/>
                  <a:pt x="5698567" y="5897184"/>
                  <a:pt x="5697502" y="5895986"/>
                </a:cubicBezTo>
                <a:cubicBezTo>
                  <a:pt x="5696437" y="5894921"/>
                  <a:pt x="5695106" y="5893989"/>
                  <a:pt x="5693509" y="5893323"/>
                </a:cubicBezTo>
                <a:cubicBezTo>
                  <a:pt x="5692045" y="5892658"/>
                  <a:pt x="5690314" y="5892392"/>
                  <a:pt x="5688451" y="5892392"/>
                </a:cubicBezTo>
                <a:close/>
                <a:moveTo>
                  <a:pt x="5470806" y="5892392"/>
                </a:moveTo>
                <a:cubicBezTo>
                  <a:pt x="5464949" y="5892392"/>
                  <a:pt x="5462419" y="5894255"/>
                  <a:pt x="5460822" y="5895986"/>
                </a:cubicBezTo>
                <a:cubicBezTo>
                  <a:pt x="5458293" y="5898648"/>
                  <a:pt x="5457228" y="5901443"/>
                  <a:pt x="5457228" y="5905437"/>
                </a:cubicBezTo>
                <a:cubicBezTo>
                  <a:pt x="5457228" y="5909563"/>
                  <a:pt x="5458293" y="5912359"/>
                  <a:pt x="5460822" y="5914888"/>
                </a:cubicBezTo>
                <a:cubicBezTo>
                  <a:pt x="5462419" y="5916487"/>
                  <a:pt x="5464949" y="5918350"/>
                  <a:pt x="5470806" y="5918350"/>
                </a:cubicBezTo>
                <a:cubicBezTo>
                  <a:pt x="5472802" y="5918350"/>
                  <a:pt x="5474666" y="5918084"/>
                  <a:pt x="5476130" y="5917418"/>
                </a:cubicBezTo>
                <a:cubicBezTo>
                  <a:pt x="5477594" y="5916886"/>
                  <a:pt x="5478926" y="5916087"/>
                  <a:pt x="5479857" y="5915021"/>
                </a:cubicBezTo>
                <a:cubicBezTo>
                  <a:pt x="5480922" y="5913823"/>
                  <a:pt x="5481854" y="5912492"/>
                  <a:pt x="5482520" y="5910761"/>
                </a:cubicBezTo>
                <a:cubicBezTo>
                  <a:pt x="5483319" y="5909164"/>
                  <a:pt x="5483585" y="5907300"/>
                  <a:pt x="5483585" y="5905304"/>
                </a:cubicBezTo>
                <a:cubicBezTo>
                  <a:pt x="5483585" y="5903440"/>
                  <a:pt x="5483185" y="5901709"/>
                  <a:pt x="5482520" y="5900112"/>
                </a:cubicBezTo>
                <a:cubicBezTo>
                  <a:pt x="5481854" y="5898515"/>
                  <a:pt x="5480922" y="5897184"/>
                  <a:pt x="5479857" y="5895986"/>
                </a:cubicBezTo>
                <a:cubicBezTo>
                  <a:pt x="5478793" y="5894921"/>
                  <a:pt x="5477461" y="5893989"/>
                  <a:pt x="5475864" y="5893323"/>
                </a:cubicBezTo>
                <a:cubicBezTo>
                  <a:pt x="5474400" y="5892658"/>
                  <a:pt x="5472669" y="5892392"/>
                  <a:pt x="5470806" y="5892392"/>
                </a:cubicBezTo>
                <a:close/>
                <a:moveTo>
                  <a:pt x="5253160" y="5892392"/>
                </a:moveTo>
                <a:cubicBezTo>
                  <a:pt x="5247303" y="5892392"/>
                  <a:pt x="5244774" y="5894255"/>
                  <a:pt x="5243177" y="5895986"/>
                </a:cubicBezTo>
                <a:cubicBezTo>
                  <a:pt x="5240647" y="5898648"/>
                  <a:pt x="5239583" y="5901443"/>
                  <a:pt x="5239583" y="5905437"/>
                </a:cubicBezTo>
                <a:cubicBezTo>
                  <a:pt x="5239583" y="5909563"/>
                  <a:pt x="5240647" y="5912359"/>
                  <a:pt x="5243177" y="5914888"/>
                </a:cubicBezTo>
                <a:cubicBezTo>
                  <a:pt x="5244774" y="5916487"/>
                  <a:pt x="5247303" y="5918350"/>
                  <a:pt x="5253160" y="5918350"/>
                </a:cubicBezTo>
                <a:cubicBezTo>
                  <a:pt x="5255157" y="5918350"/>
                  <a:pt x="5257021" y="5918084"/>
                  <a:pt x="5258485" y="5917418"/>
                </a:cubicBezTo>
                <a:cubicBezTo>
                  <a:pt x="5259949" y="5916886"/>
                  <a:pt x="5261280" y="5916087"/>
                  <a:pt x="5262212" y="5915021"/>
                </a:cubicBezTo>
                <a:cubicBezTo>
                  <a:pt x="5263277" y="5913823"/>
                  <a:pt x="5264209" y="5912492"/>
                  <a:pt x="5264875" y="5910761"/>
                </a:cubicBezTo>
                <a:cubicBezTo>
                  <a:pt x="5265673" y="5909164"/>
                  <a:pt x="5265939" y="5907300"/>
                  <a:pt x="5265939" y="5905304"/>
                </a:cubicBezTo>
                <a:cubicBezTo>
                  <a:pt x="5265939" y="5903440"/>
                  <a:pt x="5265540" y="5901709"/>
                  <a:pt x="5264875" y="5900112"/>
                </a:cubicBezTo>
                <a:cubicBezTo>
                  <a:pt x="5264209" y="5898515"/>
                  <a:pt x="5263277" y="5897184"/>
                  <a:pt x="5262212" y="5895986"/>
                </a:cubicBezTo>
                <a:cubicBezTo>
                  <a:pt x="5261147" y="5894921"/>
                  <a:pt x="5259816" y="5893989"/>
                  <a:pt x="5258219" y="5893323"/>
                </a:cubicBezTo>
                <a:cubicBezTo>
                  <a:pt x="5256754" y="5892658"/>
                  <a:pt x="5255024" y="5892392"/>
                  <a:pt x="5253160" y="5892392"/>
                </a:cubicBezTo>
                <a:close/>
                <a:moveTo>
                  <a:pt x="5035515" y="5892392"/>
                </a:moveTo>
                <a:cubicBezTo>
                  <a:pt x="5029658" y="5892392"/>
                  <a:pt x="5027129" y="5894255"/>
                  <a:pt x="5025532" y="5895986"/>
                </a:cubicBezTo>
                <a:cubicBezTo>
                  <a:pt x="5023002" y="5898648"/>
                  <a:pt x="5021938" y="5901443"/>
                  <a:pt x="5021938" y="5905437"/>
                </a:cubicBezTo>
                <a:cubicBezTo>
                  <a:pt x="5021938" y="5909563"/>
                  <a:pt x="5023002" y="5912359"/>
                  <a:pt x="5025532" y="5914888"/>
                </a:cubicBezTo>
                <a:cubicBezTo>
                  <a:pt x="5027129" y="5916487"/>
                  <a:pt x="5029658" y="5918350"/>
                  <a:pt x="5035515" y="5918350"/>
                </a:cubicBezTo>
                <a:cubicBezTo>
                  <a:pt x="5037645" y="5918350"/>
                  <a:pt x="5039376" y="5918084"/>
                  <a:pt x="5040840" y="5917418"/>
                </a:cubicBezTo>
                <a:cubicBezTo>
                  <a:pt x="5042304" y="5916886"/>
                  <a:pt x="5043636" y="5916087"/>
                  <a:pt x="5044567" y="5915021"/>
                </a:cubicBezTo>
                <a:cubicBezTo>
                  <a:pt x="5045632" y="5913823"/>
                  <a:pt x="5046564" y="5912492"/>
                  <a:pt x="5047230" y="5910761"/>
                </a:cubicBezTo>
                <a:cubicBezTo>
                  <a:pt x="5048028" y="5909164"/>
                  <a:pt x="5048294" y="5907300"/>
                  <a:pt x="5048294" y="5905304"/>
                </a:cubicBezTo>
                <a:cubicBezTo>
                  <a:pt x="5048294" y="5903440"/>
                  <a:pt x="5047895" y="5901709"/>
                  <a:pt x="5047230" y="5900112"/>
                </a:cubicBezTo>
                <a:cubicBezTo>
                  <a:pt x="5046564" y="5898515"/>
                  <a:pt x="5045632" y="5897184"/>
                  <a:pt x="5044567" y="5895986"/>
                </a:cubicBezTo>
                <a:cubicBezTo>
                  <a:pt x="5043502" y="5894921"/>
                  <a:pt x="5042171" y="5893989"/>
                  <a:pt x="5040574" y="5893323"/>
                </a:cubicBezTo>
                <a:cubicBezTo>
                  <a:pt x="5039110" y="5892658"/>
                  <a:pt x="5037379" y="5892392"/>
                  <a:pt x="5035515" y="5892392"/>
                </a:cubicBezTo>
                <a:close/>
                <a:moveTo>
                  <a:pt x="4817870" y="5892392"/>
                </a:moveTo>
                <a:cubicBezTo>
                  <a:pt x="4812013" y="5892392"/>
                  <a:pt x="4809484" y="5894255"/>
                  <a:pt x="4807887" y="5895986"/>
                </a:cubicBezTo>
                <a:cubicBezTo>
                  <a:pt x="4805357" y="5898648"/>
                  <a:pt x="4804293" y="5901443"/>
                  <a:pt x="4804293" y="5905437"/>
                </a:cubicBezTo>
                <a:cubicBezTo>
                  <a:pt x="4804293" y="5909563"/>
                  <a:pt x="4805357" y="5912359"/>
                  <a:pt x="4807887" y="5914888"/>
                </a:cubicBezTo>
                <a:cubicBezTo>
                  <a:pt x="4809484" y="5916487"/>
                  <a:pt x="4812013" y="5918350"/>
                  <a:pt x="4817870" y="5918350"/>
                </a:cubicBezTo>
                <a:cubicBezTo>
                  <a:pt x="4820000" y="5918350"/>
                  <a:pt x="4821731" y="5918084"/>
                  <a:pt x="4823195" y="5917418"/>
                </a:cubicBezTo>
                <a:cubicBezTo>
                  <a:pt x="4824659" y="5916886"/>
                  <a:pt x="4825857" y="5916087"/>
                  <a:pt x="4826922" y="5915021"/>
                </a:cubicBezTo>
                <a:cubicBezTo>
                  <a:pt x="4827987" y="5913823"/>
                  <a:pt x="4828919" y="5912492"/>
                  <a:pt x="4829585" y="5910761"/>
                </a:cubicBezTo>
                <a:cubicBezTo>
                  <a:pt x="4830383" y="5909164"/>
                  <a:pt x="4830650" y="5907300"/>
                  <a:pt x="4830650" y="5905304"/>
                </a:cubicBezTo>
                <a:cubicBezTo>
                  <a:pt x="4830650" y="5903440"/>
                  <a:pt x="4830250" y="5901709"/>
                  <a:pt x="4829585" y="5900112"/>
                </a:cubicBezTo>
                <a:cubicBezTo>
                  <a:pt x="4828919" y="5898515"/>
                  <a:pt x="4827987" y="5897184"/>
                  <a:pt x="4826922" y="5895986"/>
                </a:cubicBezTo>
                <a:cubicBezTo>
                  <a:pt x="4825857" y="5894921"/>
                  <a:pt x="4824526" y="5893989"/>
                  <a:pt x="4822929" y="5893323"/>
                </a:cubicBezTo>
                <a:cubicBezTo>
                  <a:pt x="4821465" y="5892658"/>
                  <a:pt x="4819734" y="5892392"/>
                  <a:pt x="4817870" y="5892392"/>
                </a:cubicBezTo>
                <a:close/>
                <a:moveTo>
                  <a:pt x="4600226" y="5892392"/>
                </a:moveTo>
                <a:cubicBezTo>
                  <a:pt x="4594369" y="5892392"/>
                  <a:pt x="4591839" y="5894255"/>
                  <a:pt x="4590242" y="5895986"/>
                </a:cubicBezTo>
                <a:cubicBezTo>
                  <a:pt x="4587713" y="5898648"/>
                  <a:pt x="4586648" y="5901443"/>
                  <a:pt x="4586648" y="5905437"/>
                </a:cubicBezTo>
                <a:cubicBezTo>
                  <a:pt x="4586648" y="5909563"/>
                  <a:pt x="4587713" y="5912359"/>
                  <a:pt x="4590242" y="5914888"/>
                </a:cubicBezTo>
                <a:cubicBezTo>
                  <a:pt x="4591839" y="5916487"/>
                  <a:pt x="4594369" y="5918350"/>
                  <a:pt x="4600226" y="5918350"/>
                </a:cubicBezTo>
                <a:cubicBezTo>
                  <a:pt x="4602355" y="5918350"/>
                  <a:pt x="4604086" y="5918084"/>
                  <a:pt x="4605550" y="5917418"/>
                </a:cubicBezTo>
                <a:cubicBezTo>
                  <a:pt x="4607148" y="5916886"/>
                  <a:pt x="4608346" y="5916087"/>
                  <a:pt x="4609277" y="5915021"/>
                </a:cubicBezTo>
                <a:cubicBezTo>
                  <a:pt x="4610342" y="5913823"/>
                  <a:pt x="4611274" y="5912492"/>
                  <a:pt x="4611940" y="5910761"/>
                </a:cubicBezTo>
                <a:cubicBezTo>
                  <a:pt x="4612605" y="5909164"/>
                  <a:pt x="4613005" y="5907300"/>
                  <a:pt x="4613005" y="5905304"/>
                </a:cubicBezTo>
                <a:cubicBezTo>
                  <a:pt x="4613005" y="5903440"/>
                  <a:pt x="4612605" y="5901709"/>
                  <a:pt x="4611940" y="5900112"/>
                </a:cubicBezTo>
                <a:cubicBezTo>
                  <a:pt x="4611274" y="5898515"/>
                  <a:pt x="4610342" y="5897184"/>
                  <a:pt x="4609277" y="5895986"/>
                </a:cubicBezTo>
                <a:cubicBezTo>
                  <a:pt x="4608212" y="5894921"/>
                  <a:pt x="4606881" y="5893989"/>
                  <a:pt x="4605284" y="5893323"/>
                </a:cubicBezTo>
                <a:cubicBezTo>
                  <a:pt x="4603820" y="5892658"/>
                  <a:pt x="4602222" y="5892392"/>
                  <a:pt x="4600226" y="5892392"/>
                </a:cubicBezTo>
                <a:close/>
                <a:moveTo>
                  <a:pt x="4382713" y="5892392"/>
                </a:moveTo>
                <a:cubicBezTo>
                  <a:pt x="4376857" y="5892392"/>
                  <a:pt x="4374327" y="5894255"/>
                  <a:pt x="4372730" y="5895986"/>
                </a:cubicBezTo>
                <a:cubicBezTo>
                  <a:pt x="4370201" y="5898648"/>
                  <a:pt x="4369136" y="5901443"/>
                  <a:pt x="4369136" y="5905437"/>
                </a:cubicBezTo>
                <a:cubicBezTo>
                  <a:pt x="4369136" y="5909563"/>
                  <a:pt x="4370201" y="5912359"/>
                  <a:pt x="4372730" y="5914888"/>
                </a:cubicBezTo>
                <a:cubicBezTo>
                  <a:pt x="4374327" y="5916487"/>
                  <a:pt x="4376857" y="5918350"/>
                  <a:pt x="4382713" y="5918350"/>
                </a:cubicBezTo>
                <a:cubicBezTo>
                  <a:pt x="4384710" y="5918350"/>
                  <a:pt x="4386441" y="5918084"/>
                  <a:pt x="4388038" y="5917418"/>
                </a:cubicBezTo>
                <a:cubicBezTo>
                  <a:pt x="4389502" y="5916886"/>
                  <a:pt x="4390834" y="5916087"/>
                  <a:pt x="4391765" y="5915021"/>
                </a:cubicBezTo>
                <a:cubicBezTo>
                  <a:pt x="4392830" y="5913823"/>
                  <a:pt x="4393762" y="5912492"/>
                  <a:pt x="4394428" y="5910761"/>
                </a:cubicBezTo>
                <a:cubicBezTo>
                  <a:pt x="4395093" y="5909164"/>
                  <a:pt x="4395493" y="5907300"/>
                  <a:pt x="4395493" y="5905304"/>
                </a:cubicBezTo>
                <a:cubicBezTo>
                  <a:pt x="4395493" y="5903440"/>
                  <a:pt x="4395093" y="5901709"/>
                  <a:pt x="4394428" y="5900112"/>
                </a:cubicBezTo>
                <a:cubicBezTo>
                  <a:pt x="4393762" y="5898515"/>
                  <a:pt x="4392830" y="5897184"/>
                  <a:pt x="4391765" y="5895986"/>
                </a:cubicBezTo>
                <a:cubicBezTo>
                  <a:pt x="4390700" y="5894921"/>
                  <a:pt x="4389369" y="5893989"/>
                  <a:pt x="4387772" y="5893323"/>
                </a:cubicBezTo>
                <a:cubicBezTo>
                  <a:pt x="4386308" y="5892658"/>
                  <a:pt x="4384710" y="5892392"/>
                  <a:pt x="4382713" y="5892392"/>
                </a:cubicBezTo>
                <a:close/>
                <a:moveTo>
                  <a:pt x="4165068" y="5892392"/>
                </a:moveTo>
                <a:cubicBezTo>
                  <a:pt x="4159211" y="5892392"/>
                  <a:pt x="4156681" y="5894255"/>
                  <a:pt x="4155084" y="5895986"/>
                </a:cubicBezTo>
                <a:cubicBezTo>
                  <a:pt x="4152555" y="5898648"/>
                  <a:pt x="4151490" y="5901443"/>
                  <a:pt x="4151490" y="5905437"/>
                </a:cubicBezTo>
                <a:cubicBezTo>
                  <a:pt x="4151490" y="5909563"/>
                  <a:pt x="4152555" y="5912359"/>
                  <a:pt x="4155084" y="5914888"/>
                </a:cubicBezTo>
                <a:cubicBezTo>
                  <a:pt x="4156681" y="5916487"/>
                  <a:pt x="4159211" y="5918350"/>
                  <a:pt x="4165068" y="5918350"/>
                </a:cubicBezTo>
                <a:cubicBezTo>
                  <a:pt x="4167064" y="5918350"/>
                  <a:pt x="4168928" y="5918084"/>
                  <a:pt x="4170392" y="5917418"/>
                </a:cubicBezTo>
                <a:cubicBezTo>
                  <a:pt x="4171856" y="5916886"/>
                  <a:pt x="4173188" y="5916087"/>
                  <a:pt x="4174119" y="5915021"/>
                </a:cubicBezTo>
                <a:cubicBezTo>
                  <a:pt x="4175184" y="5913823"/>
                  <a:pt x="4176116" y="5912492"/>
                  <a:pt x="4176782" y="5910761"/>
                </a:cubicBezTo>
                <a:cubicBezTo>
                  <a:pt x="4177447" y="5909164"/>
                  <a:pt x="4177847" y="5907300"/>
                  <a:pt x="4177847" y="5905304"/>
                </a:cubicBezTo>
                <a:cubicBezTo>
                  <a:pt x="4177847" y="5903440"/>
                  <a:pt x="4177447" y="5901709"/>
                  <a:pt x="4176782" y="5900112"/>
                </a:cubicBezTo>
                <a:cubicBezTo>
                  <a:pt x="4176116" y="5898515"/>
                  <a:pt x="4175184" y="5897184"/>
                  <a:pt x="4174119" y="5895986"/>
                </a:cubicBezTo>
                <a:cubicBezTo>
                  <a:pt x="4173054" y="5894921"/>
                  <a:pt x="4171723" y="5893989"/>
                  <a:pt x="4170126" y="5893323"/>
                </a:cubicBezTo>
                <a:cubicBezTo>
                  <a:pt x="4168662" y="5892658"/>
                  <a:pt x="4167064" y="5892392"/>
                  <a:pt x="4165068" y="5892392"/>
                </a:cubicBezTo>
                <a:close/>
                <a:moveTo>
                  <a:pt x="3947744" y="5892392"/>
                </a:moveTo>
                <a:cubicBezTo>
                  <a:pt x="3941886" y="5892392"/>
                  <a:pt x="3939358" y="5894255"/>
                  <a:pt x="3937761" y="5895986"/>
                </a:cubicBezTo>
                <a:cubicBezTo>
                  <a:pt x="3935229" y="5898648"/>
                  <a:pt x="3934166" y="5901443"/>
                  <a:pt x="3934166" y="5905437"/>
                </a:cubicBezTo>
                <a:cubicBezTo>
                  <a:pt x="3934166" y="5909563"/>
                  <a:pt x="3935229" y="5912359"/>
                  <a:pt x="3937761" y="5914888"/>
                </a:cubicBezTo>
                <a:cubicBezTo>
                  <a:pt x="3939358" y="5916487"/>
                  <a:pt x="3941886" y="5918350"/>
                  <a:pt x="3947744" y="5918350"/>
                </a:cubicBezTo>
                <a:cubicBezTo>
                  <a:pt x="3949742" y="5918350"/>
                  <a:pt x="3951606" y="5918084"/>
                  <a:pt x="3953073" y="5917418"/>
                </a:cubicBezTo>
                <a:cubicBezTo>
                  <a:pt x="3954536" y="5916886"/>
                  <a:pt x="3955867" y="5916087"/>
                  <a:pt x="3956799" y="5915021"/>
                </a:cubicBezTo>
                <a:cubicBezTo>
                  <a:pt x="3957865" y="5913823"/>
                  <a:pt x="3958797" y="5912492"/>
                  <a:pt x="3959463" y="5910761"/>
                </a:cubicBezTo>
                <a:cubicBezTo>
                  <a:pt x="3960128" y="5909164"/>
                  <a:pt x="3960528" y="5907300"/>
                  <a:pt x="3960528" y="5905304"/>
                </a:cubicBezTo>
                <a:cubicBezTo>
                  <a:pt x="3960528" y="5903440"/>
                  <a:pt x="3960128" y="5901709"/>
                  <a:pt x="3959463" y="5900112"/>
                </a:cubicBezTo>
                <a:cubicBezTo>
                  <a:pt x="3958797" y="5898515"/>
                  <a:pt x="3957865" y="5897184"/>
                  <a:pt x="3956799" y="5895986"/>
                </a:cubicBezTo>
                <a:cubicBezTo>
                  <a:pt x="3955734" y="5894921"/>
                  <a:pt x="3954403" y="5893989"/>
                  <a:pt x="3952806" y="5893323"/>
                </a:cubicBezTo>
                <a:cubicBezTo>
                  <a:pt x="3951339" y="5892658"/>
                  <a:pt x="3949742" y="5892392"/>
                  <a:pt x="3947744" y="5892392"/>
                </a:cubicBezTo>
                <a:close/>
                <a:moveTo>
                  <a:pt x="3730085" y="5892392"/>
                </a:moveTo>
                <a:cubicBezTo>
                  <a:pt x="3724227" y="5892392"/>
                  <a:pt x="3721697" y="5894255"/>
                  <a:pt x="3720098" y="5895986"/>
                </a:cubicBezTo>
                <a:cubicBezTo>
                  <a:pt x="3717568" y="5898648"/>
                  <a:pt x="3716506" y="5901443"/>
                  <a:pt x="3716506" y="5905437"/>
                </a:cubicBezTo>
                <a:cubicBezTo>
                  <a:pt x="3716506" y="5909563"/>
                  <a:pt x="3717568" y="5912359"/>
                  <a:pt x="3720098" y="5914888"/>
                </a:cubicBezTo>
                <a:cubicBezTo>
                  <a:pt x="3721697" y="5916487"/>
                  <a:pt x="3724227" y="5918350"/>
                  <a:pt x="3730085" y="5918350"/>
                </a:cubicBezTo>
                <a:cubicBezTo>
                  <a:pt x="3732215" y="5918350"/>
                  <a:pt x="3733946" y="5918084"/>
                  <a:pt x="3735410" y="5917418"/>
                </a:cubicBezTo>
                <a:cubicBezTo>
                  <a:pt x="3736874" y="5916886"/>
                  <a:pt x="3738207" y="5916087"/>
                  <a:pt x="3739137" y="5915021"/>
                </a:cubicBezTo>
                <a:cubicBezTo>
                  <a:pt x="3740202" y="5913823"/>
                  <a:pt x="3741135" y="5912492"/>
                  <a:pt x="3741800" y="5910761"/>
                </a:cubicBezTo>
                <a:cubicBezTo>
                  <a:pt x="3742465" y="5909164"/>
                  <a:pt x="3742865" y="5907300"/>
                  <a:pt x="3742865" y="5905304"/>
                </a:cubicBezTo>
                <a:cubicBezTo>
                  <a:pt x="3742865" y="5903440"/>
                  <a:pt x="3742465" y="5901709"/>
                  <a:pt x="3741800" y="5900112"/>
                </a:cubicBezTo>
                <a:cubicBezTo>
                  <a:pt x="3741135" y="5898515"/>
                  <a:pt x="3740202" y="5897184"/>
                  <a:pt x="3739137" y="5895986"/>
                </a:cubicBezTo>
                <a:cubicBezTo>
                  <a:pt x="3738073" y="5894921"/>
                  <a:pt x="3736742" y="5893989"/>
                  <a:pt x="3735144" y="5893323"/>
                </a:cubicBezTo>
                <a:cubicBezTo>
                  <a:pt x="3733680" y="5892658"/>
                  <a:pt x="3732082" y="5892392"/>
                  <a:pt x="3730085" y="5892392"/>
                </a:cubicBezTo>
                <a:close/>
                <a:moveTo>
                  <a:pt x="3512423" y="5892392"/>
                </a:moveTo>
                <a:cubicBezTo>
                  <a:pt x="3506564" y="5892392"/>
                  <a:pt x="3504033" y="5894255"/>
                  <a:pt x="3502433" y="5895986"/>
                </a:cubicBezTo>
                <a:cubicBezTo>
                  <a:pt x="3499904" y="5898648"/>
                  <a:pt x="3498840" y="5901443"/>
                  <a:pt x="3498840" y="5905437"/>
                </a:cubicBezTo>
                <a:cubicBezTo>
                  <a:pt x="3498840" y="5909563"/>
                  <a:pt x="3499904" y="5912359"/>
                  <a:pt x="3502433" y="5914888"/>
                </a:cubicBezTo>
                <a:cubicBezTo>
                  <a:pt x="3504033" y="5916487"/>
                  <a:pt x="3506564" y="5918350"/>
                  <a:pt x="3512423" y="5918350"/>
                </a:cubicBezTo>
                <a:cubicBezTo>
                  <a:pt x="3514552" y="5918350"/>
                  <a:pt x="3516284" y="5918084"/>
                  <a:pt x="3517748" y="5917418"/>
                </a:cubicBezTo>
                <a:cubicBezTo>
                  <a:pt x="3519213" y="5916886"/>
                  <a:pt x="3520545" y="5916087"/>
                  <a:pt x="3521476" y="5915021"/>
                </a:cubicBezTo>
                <a:cubicBezTo>
                  <a:pt x="3522541" y="5913823"/>
                  <a:pt x="3523473" y="5912492"/>
                  <a:pt x="3524139" y="5910761"/>
                </a:cubicBezTo>
                <a:cubicBezTo>
                  <a:pt x="3524804" y="5909164"/>
                  <a:pt x="3525204" y="5907300"/>
                  <a:pt x="3525204" y="5905304"/>
                </a:cubicBezTo>
                <a:cubicBezTo>
                  <a:pt x="3525204" y="5903440"/>
                  <a:pt x="3524804" y="5901709"/>
                  <a:pt x="3524139" y="5900112"/>
                </a:cubicBezTo>
                <a:cubicBezTo>
                  <a:pt x="3523473" y="5898515"/>
                  <a:pt x="3522541" y="5897184"/>
                  <a:pt x="3521476" y="5895986"/>
                </a:cubicBezTo>
                <a:cubicBezTo>
                  <a:pt x="3520411" y="5894921"/>
                  <a:pt x="3519079" y="5893989"/>
                  <a:pt x="3517483" y="5893323"/>
                </a:cubicBezTo>
                <a:cubicBezTo>
                  <a:pt x="3516019" y="5892658"/>
                  <a:pt x="3514420" y="5892392"/>
                  <a:pt x="3512423" y="5892392"/>
                </a:cubicBezTo>
                <a:close/>
                <a:moveTo>
                  <a:pt x="3294894" y="5892392"/>
                </a:moveTo>
                <a:cubicBezTo>
                  <a:pt x="3289035" y="5892392"/>
                  <a:pt x="3286505" y="5894255"/>
                  <a:pt x="3284907" y="5895986"/>
                </a:cubicBezTo>
                <a:cubicBezTo>
                  <a:pt x="3282377" y="5898648"/>
                  <a:pt x="3281313" y="5901443"/>
                  <a:pt x="3281313" y="5905437"/>
                </a:cubicBezTo>
                <a:cubicBezTo>
                  <a:pt x="3281313" y="5909563"/>
                  <a:pt x="3282377" y="5912359"/>
                  <a:pt x="3284907" y="5914888"/>
                </a:cubicBezTo>
                <a:cubicBezTo>
                  <a:pt x="3286505" y="5916487"/>
                  <a:pt x="3289035" y="5918350"/>
                  <a:pt x="3294894" y="5918350"/>
                </a:cubicBezTo>
                <a:cubicBezTo>
                  <a:pt x="3296891" y="5918350"/>
                  <a:pt x="3298622" y="5918084"/>
                  <a:pt x="3300220" y="5917418"/>
                </a:cubicBezTo>
                <a:cubicBezTo>
                  <a:pt x="3301684" y="5916886"/>
                  <a:pt x="3303016" y="5916087"/>
                  <a:pt x="3303947" y="5915021"/>
                </a:cubicBezTo>
                <a:cubicBezTo>
                  <a:pt x="3305012" y="5913823"/>
                  <a:pt x="3305944" y="5912492"/>
                  <a:pt x="3306610" y="5910761"/>
                </a:cubicBezTo>
                <a:cubicBezTo>
                  <a:pt x="3307275" y="5909164"/>
                  <a:pt x="3307674" y="5907300"/>
                  <a:pt x="3307674" y="5905304"/>
                </a:cubicBezTo>
                <a:cubicBezTo>
                  <a:pt x="3307674" y="5903440"/>
                  <a:pt x="3307275" y="5901709"/>
                  <a:pt x="3306610" y="5900112"/>
                </a:cubicBezTo>
                <a:cubicBezTo>
                  <a:pt x="3305944" y="5898515"/>
                  <a:pt x="3305012" y="5897184"/>
                  <a:pt x="3303947" y="5895986"/>
                </a:cubicBezTo>
                <a:cubicBezTo>
                  <a:pt x="3302882" y="5894921"/>
                  <a:pt x="3301550" y="5893989"/>
                  <a:pt x="3299954" y="5893323"/>
                </a:cubicBezTo>
                <a:cubicBezTo>
                  <a:pt x="3298490" y="5892658"/>
                  <a:pt x="3296891" y="5892392"/>
                  <a:pt x="3294894" y="5892392"/>
                </a:cubicBezTo>
                <a:close/>
                <a:moveTo>
                  <a:pt x="3077366" y="5892392"/>
                </a:moveTo>
                <a:cubicBezTo>
                  <a:pt x="3071508" y="5892392"/>
                  <a:pt x="3068977" y="5894255"/>
                  <a:pt x="3067381" y="5895986"/>
                </a:cubicBezTo>
                <a:cubicBezTo>
                  <a:pt x="3064716" y="5898648"/>
                  <a:pt x="3063651" y="5901443"/>
                  <a:pt x="3063651" y="5905437"/>
                </a:cubicBezTo>
                <a:cubicBezTo>
                  <a:pt x="3063651" y="5909563"/>
                  <a:pt x="3064716" y="5912359"/>
                  <a:pt x="3067247" y="5914888"/>
                </a:cubicBezTo>
                <a:cubicBezTo>
                  <a:pt x="3068845" y="5916487"/>
                  <a:pt x="3071375" y="5918350"/>
                  <a:pt x="3077232" y="5918350"/>
                </a:cubicBezTo>
                <a:cubicBezTo>
                  <a:pt x="3079230" y="5918350"/>
                  <a:pt x="3080960" y="5918084"/>
                  <a:pt x="3082690" y="5917418"/>
                </a:cubicBezTo>
                <a:cubicBezTo>
                  <a:pt x="3084156" y="5916886"/>
                  <a:pt x="3085487" y="5916087"/>
                  <a:pt x="3086418" y="5915021"/>
                </a:cubicBezTo>
                <a:cubicBezTo>
                  <a:pt x="3087482" y="5913823"/>
                  <a:pt x="3088415" y="5912492"/>
                  <a:pt x="3089080" y="5910761"/>
                </a:cubicBezTo>
                <a:cubicBezTo>
                  <a:pt x="3089745" y="5909164"/>
                  <a:pt x="3090013" y="5907300"/>
                  <a:pt x="3090013" y="5905304"/>
                </a:cubicBezTo>
                <a:cubicBezTo>
                  <a:pt x="3090013" y="5903440"/>
                  <a:pt x="3089745" y="5901709"/>
                  <a:pt x="3089080" y="5900112"/>
                </a:cubicBezTo>
                <a:cubicBezTo>
                  <a:pt x="3088415" y="5898515"/>
                  <a:pt x="3087482" y="5897184"/>
                  <a:pt x="3086418" y="5895986"/>
                </a:cubicBezTo>
                <a:cubicBezTo>
                  <a:pt x="3085354" y="5894921"/>
                  <a:pt x="3084022" y="5893989"/>
                  <a:pt x="3082425" y="5893323"/>
                </a:cubicBezTo>
                <a:cubicBezTo>
                  <a:pt x="3080960" y="5892658"/>
                  <a:pt x="3079362" y="5892392"/>
                  <a:pt x="3077366" y="5892392"/>
                </a:cubicBezTo>
                <a:close/>
                <a:moveTo>
                  <a:pt x="2859571" y="5892392"/>
                </a:moveTo>
                <a:cubicBezTo>
                  <a:pt x="2853713" y="5892392"/>
                  <a:pt x="2851184" y="5894255"/>
                  <a:pt x="2849584" y="5895986"/>
                </a:cubicBezTo>
                <a:cubicBezTo>
                  <a:pt x="2847051" y="5898648"/>
                  <a:pt x="2845985" y="5901443"/>
                  <a:pt x="2845985" y="5905437"/>
                </a:cubicBezTo>
                <a:cubicBezTo>
                  <a:pt x="2845985" y="5909563"/>
                  <a:pt x="2847051" y="5912359"/>
                  <a:pt x="2849584" y="5914888"/>
                </a:cubicBezTo>
                <a:cubicBezTo>
                  <a:pt x="2851184" y="5916487"/>
                  <a:pt x="2853713" y="5918350"/>
                  <a:pt x="2859571" y="5918350"/>
                </a:cubicBezTo>
                <a:cubicBezTo>
                  <a:pt x="2861567" y="5918350"/>
                  <a:pt x="2863431" y="5918084"/>
                  <a:pt x="2864895" y="5917418"/>
                </a:cubicBezTo>
                <a:cubicBezTo>
                  <a:pt x="2866493" y="5916886"/>
                  <a:pt x="2867692" y="5916087"/>
                  <a:pt x="2868622" y="5915021"/>
                </a:cubicBezTo>
                <a:cubicBezTo>
                  <a:pt x="2869688" y="5913823"/>
                  <a:pt x="2870620" y="5912492"/>
                  <a:pt x="2871285" y="5910761"/>
                </a:cubicBezTo>
                <a:cubicBezTo>
                  <a:pt x="2871818" y="5909164"/>
                  <a:pt x="2872217" y="5907300"/>
                  <a:pt x="2872217" y="5905304"/>
                </a:cubicBezTo>
                <a:cubicBezTo>
                  <a:pt x="2872217" y="5903440"/>
                  <a:pt x="2871950" y="5901709"/>
                  <a:pt x="2871285" y="5900112"/>
                </a:cubicBezTo>
                <a:cubicBezTo>
                  <a:pt x="2870620" y="5898515"/>
                  <a:pt x="2869688" y="5897184"/>
                  <a:pt x="2868622" y="5895986"/>
                </a:cubicBezTo>
                <a:cubicBezTo>
                  <a:pt x="2867559" y="5894921"/>
                  <a:pt x="2866227" y="5893989"/>
                  <a:pt x="2864630" y="5893323"/>
                </a:cubicBezTo>
                <a:cubicBezTo>
                  <a:pt x="2863166" y="5892658"/>
                  <a:pt x="2861567" y="5892392"/>
                  <a:pt x="2859571" y="5892392"/>
                </a:cubicBezTo>
                <a:close/>
                <a:moveTo>
                  <a:pt x="2641908" y="5892392"/>
                </a:moveTo>
                <a:cubicBezTo>
                  <a:pt x="2636051" y="5892392"/>
                  <a:pt x="2633522" y="5894255"/>
                  <a:pt x="2631925" y="5895986"/>
                </a:cubicBezTo>
                <a:cubicBezTo>
                  <a:pt x="2629395" y="5898648"/>
                  <a:pt x="2628331" y="5901443"/>
                  <a:pt x="2628331" y="5905437"/>
                </a:cubicBezTo>
                <a:cubicBezTo>
                  <a:pt x="2628331" y="5909563"/>
                  <a:pt x="2629395" y="5912359"/>
                  <a:pt x="2631925" y="5914888"/>
                </a:cubicBezTo>
                <a:cubicBezTo>
                  <a:pt x="2633522" y="5916487"/>
                  <a:pt x="2636051" y="5918350"/>
                  <a:pt x="2641908" y="5918350"/>
                </a:cubicBezTo>
                <a:cubicBezTo>
                  <a:pt x="2643905" y="5918350"/>
                  <a:pt x="2645770" y="5918084"/>
                  <a:pt x="2647234" y="5917418"/>
                </a:cubicBezTo>
                <a:cubicBezTo>
                  <a:pt x="2648831" y="5916886"/>
                  <a:pt x="2650028" y="5916087"/>
                  <a:pt x="2650961" y="5915021"/>
                </a:cubicBezTo>
                <a:cubicBezTo>
                  <a:pt x="2652026" y="5913823"/>
                  <a:pt x="2652958" y="5912492"/>
                  <a:pt x="2653624" y="5910761"/>
                </a:cubicBezTo>
                <a:cubicBezTo>
                  <a:pt x="2654156" y="5909164"/>
                  <a:pt x="2654554" y="5907300"/>
                  <a:pt x="2654554" y="5905304"/>
                </a:cubicBezTo>
                <a:cubicBezTo>
                  <a:pt x="2654554" y="5903440"/>
                  <a:pt x="2654289" y="5901709"/>
                  <a:pt x="2653624" y="5900112"/>
                </a:cubicBezTo>
                <a:cubicBezTo>
                  <a:pt x="2652958" y="5898515"/>
                  <a:pt x="2652026" y="5897184"/>
                  <a:pt x="2650961" y="5895986"/>
                </a:cubicBezTo>
                <a:cubicBezTo>
                  <a:pt x="2649896" y="5894921"/>
                  <a:pt x="2648564" y="5893989"/>
                  <a:pt x="2646968" y="5893323"/>
                </a:cubicBezTo>
                <a:cubicBezTo>
                  <a:pt x="2645503" y="5892658"/>
                  <a:pt x="2643905" y="5892392"/>
                  <a:pt x="2641908" y="5892392"/>
                </a:cubicBezTo>
                <a:close/>
                <a:moveTo>
                  <a:pt x="2424246" y="5892392"/>
                </a:moveTo>
                <a:cubicBezTo>
                  <a:pt x="2418390" y="5892392"/>
                  <a:pt x="2415860" y="5894255"/>
                  <a:pt x="2414263" y="5895986"/>
                </a:cubicBezTo>
                <a:cubicBezTo>
                  <a:pt x="2411733" y="5898648"/>
                  <a:pt x="2410669" y="5901443"/>
                  <a:pt x="2410669" y="5905437"/>
                </a:cubicBezTo>
                <a:cubicBezTo>
                  <a:pt x="2410669" y="5909563"/>
                  <a:pt x="2411733" y="5912359"/>
                  <a:pt x="2414263" y="5914888"/>
                </a:cubicBezTo>
                <a:cubicBezTo>
                  <a:pt x="2415860" y="5916487"/>
                  <a:pt x="2418390" y="5918350"/>
                  <a:pt x="2424246" y="5918350"/>
                </a:cubicBezTo>
                <a:cubicBezTo>
                  <a:pt x="2426376" y="5918350"/>
                  <a:pt x="2428108" y="5918084"/>
                  <a:pt x="2429572" y="5917418"/>
                </a:cubicBezTo>
                <a:cubicBezTo>
                  <a:pt x="2431170" y="5916886"/>
                  <a:pt x="2432367" y="5916087"/>
                  <a:pt x="2433299" y="5915021"/>
                </a:cubicBezTo>
                <a:cubicBezTo>
                  <a:pt x="2434364" y="5913823"/>
                  <a:pt x="2435295" y="5912492"/>
                  <a:pt x="2435962" y="5910761"/>
                </a:cubicBezTo>
                <a:cubicBezTo>
                  <a:pt x="2436493" y="5909164"/>
                  <a:pt x="2436893" y="5907300"/>
                  <a:pt x="2436893" y="5905304"/>
                </a:cubicBezTo>
                <a:cubicBezTo>
                  <a:pt x="2436893" y="5903440"/>
                  <a:pt x="2436627" y="5901709"/>
                  <a:pt x="2435962" y="5900112"/>
                </a:cubicBezTo>
                <a:cubicBezTo>
                  <a:pt x="2435295" y="5898515"/>
                  <a:pt x="2434364" y="5897184"/>
                  <a:pt x="2433299" y="5895986"/>
                </a:cubicBezTo>
                <a:cubicBezTo>
                  <a:pt x="2432235" y="5894921"/>
                  <a:pt x="2430903" y="5893989"/>
                  <a:pt x="2429306" y="5893323"/>
                </a:cubicBezTo>
                <a:cubicBezTo>
                  <a:pt x="2427842" y="5892658"/>
                  <a:pt x="2426244" y="5892392"/>
                  <a:pt x="2424246" y="5892392"/>
                </a:cubicBezTo>
                <a:close/>
                <a:moveTo>
                  <a:pt x="2206585" y="5892392"/>
                </a:moveTo>
                <a:cubicBezTo>
                  <a:pt x="2200727" y="5892392"/>
                  <a:pt x="2198198" y="5894255"/>
                  <a:pt x="2196601" y="5895986"/>
                </a:cubicBezTo>
                <a:cubicBezTo>
                  <a:pt x="2194071" y="5898648"/>
                  <a:pt x="2193007" y="5901443"/>
                  <a:pt x="2193007" y="5905437"/>
                </a:cubicBezTo>
                <a:cubicBezTo>
                  <a:pt x="2193007" y="5909563"/>
                  <a:pt x="2194071" y="5912359"/>
                  <a:pt x="2196601" y="5914888"/>
                </a:cubicBezTo>
                <a:cubicBezTo>
                  <a:pt x="2198198" y="5916487"/>
                  <a:pt x="2200727" y="5918350"/>
                  <a:pt x="2206585" y="5918350"/>
                </a:cubicBezTo>
                <a:cubicBezTo>
                  <a:pt x="2208714" y="5918350"/>
                  <a:pt x="2210445" y="5918084"/>
                  <a:pt x="2211909" y="5917418"/>
                </a:cubicBezTo>
                <a:cubicBezTo>
                  <a:pt x="2213507" y="5916886"/>
                  <a:pt x="2214705" y="5916087"/>
                  <a:pt x="2215636" y="5915021"/>
                </a:cubicBezTo>
                <a:cubicBezTo>
                  <a:pt x="2216701" y="5913823"/>
                  <a:pt x="2217633" y="5912492"/>
                  <a:pt x="2218299" y="5910761"/>
                </a:cubicBezTo>
                <a:cubicBezTo>
                  <a:pt x="2218832" y="5909164"/>
                  <a:pt x="2219231" y="5907300"/>
                  <a:pt x="2219231" y="5905304"/>
                </a:cubicBezTo>
                <a:cubicBezTo>
                  <a:pt x="2219231" y="5903440"/>
                  <a:pt x="2218964" y="5901709"/>
                  <a:pt x="2218299" y="5900112"/>
                </a:cubicBezTo>
                <a:cubicBezTo>
                  <a:pt x="2217633" y="5898515"/>
                  <a:pt x="2216701" y="5897184"/>
                  <a:pt x="2215636" y="5895986"/>
                </a:cubicBezTo>
                <a:cubicBezTo>
                  <a:pt x="2214571" y="5894921"/>
                  <a:pt x="2213241" y="5893989"/>
                  <a:pt x="2211643" y="5893323"/>
                </a:cubicBezTo>
                <a:cubicBezTo>
                  <a:pt x="2210179" y="5892658"/>
                  <a:pt x="2208581" y="5892392"/>
                  <a:pt x="2206585" y="5892392"/>
                </a:cubicBezTo>
                <a:close/>
                <a:moveTo>
                  <a:pt x="1989055" y="5892392"/>
                </a:moveTo>
                <a:cubicBezTo>
                  <a:pt x="1983198" y="5892392"/>
                  <a:pt x="1980669" y="5894255"/>
                  <a:pt x="1979072" y="5895986"/>
                </a:cubicBezTo>
                <a:cubicBezTo>
                  <a:pt x="1976542" y="5898648"/>
                  <a:pt x="1975478" y="5901443"/>
                  <a:pt x="1975478" y="5905437"/>
                </a:cubicBezTo>
                <a:cubicBezTo>
                  <a:pt x="1975478" y="5909563"/>
                  <a:pt x="1976542" y="5912359"/>
                  <a:pt x="1979072" y="5914888"/>
                </a:cubicBezTo>
                <a:cubicBezTo>
                  <a:pt x="1980669" y="5916487"/>
                  <a:pt x="1983198" y="5918350"/>
                  <a:pt x="1989055" y="5918350"/>
                </a:cubicBezTo>
                <a:cubicBezTo>
                  <a:pt x="1991052" y="5918350"/>
                  <a:pt x="1992783" y="5918084"/>
                  <a:pt x="1994380" y="5917418"/>
                </a:cubicBezTo>
                <a:cubicBezTo>
                  <a:pt x="1995978" y="5916886"/>
                  <a:pt x="1997177" y="5916087"/>
                  <a:pt x="1998108" y="5915021"/>
                </a:cubicBezTo>
                <a:cubicBezTo>
                  <a:pt x="1999172" y="5913823"/>
                  <a:pt x="2000104" y="5912492"/>
                  <a:pt x="2000771" y="5910761"/>
                </a:cubicBezTo>
                <a:cubicBezTo>
                  <a:pt x="2001302" y="5909164"/>
                  <a:pt x="2001701" y="5907300"/>
                  <a:pt x="2001701" y="5905304"/>
                </a:cubicBezTo>
                <a:cubicBezTo>
                  <a:pt x="2001701" y="5903440"/>
                  <a:pt x="2001436" y="5901709"/>
                  <a:pt x="2000771" y="5900112"/>
                </a:cubicBezTo>
                <a:cubicBezTo>
                  <a:pt x="2000104" y="5898515"/>
                  <a:pt x="1999172" y="5897184"/>
                  <a:pt x="1998108" y="5895986"/>
                </a:cubicBezTo>
                <a:cubicBezTo>
                  <a:pt x="1997043" y="5894921"/>
                  <a:pt x="1995711" y="5893989"/>
                  <a:pt x="1994114" y="5893323"/>
                </a:cubicBezTo>
                <a:cubicBezTo>
                  <a:pt x="1992650" y="5892658"/>
                  <a:pt x="1991052" y="5892392"/>
                  <a:pt x="1989055" y="5892392"/>
                </a:cubicBezTo>
                <a:close/>
                <a:moveTo>
                  <a:pt x="1771422" y="5892392"/>
                </a:moveTo>
                <a:cubicBezTo>
                  <a:pt x="1765565" y="5892392"/>
                  <a:pt x="1763037" y="5894255"/>
                  <a:pt x="1761440" y="5895986"/>
                </a:cubicBezTo>
                <a:cubicBezTo>
                  <a:pt x="1758911" y="5898648"/>
                  <a:pt x="1757847" y="5901443"/>
                  <a:pt x="1757847" y="5905437"/>
                </a:cubicBezTo>
                <a:cubicBezTo>
                  <a:pt x="1757847" y="5909563"/>
                  <a:pt x="1758911" y="5912359"/>
                  <a:pt x="1761440" y="5914888"/>
                </a:cubicBezTo>
                <a:cubicBezTo>
                  <a:pt x="1763037" y="5916487"/>
                  <a:pt x="1765565" y="5918350"/>
                  <a:pt x="1771422" y="5918350"/>
                </a:cubicBezTo>
                <a:cubicBezTo>
                  <a:pt x="1773420" y="5918350"/>
                  <a:pt x="1775283" y="5918084"/>
                  <a:pt x="1776747" y="5917418"/>
                </a:cubicBezTo>
                <a:cubicBezTo>
                  <a:pt x="1778211" y="5916886"/>
                  <a:pt x="1779541" y="5916087"/>
                  <a:pt x="1780473" y="5915021"/>
                </a:cubicBezTo>
                <a:cubicBezTo>
                  <a:pt x="1781538" y="5913823"/>
                  <a:pt x="1782470" y="5912492"/>
                  <a:pt x="1783136" y="5910761"/>
                </a:cubicBezTo>
                <a:cubicBezTo>
                  <a:pt x="1783801" y="5909164"/>
                  <a:pt x="1784201" y="5907300"/>
                  <a:pt x="1784201" y="5905304"/>
                </a:cubicBezTo>
                <a:cubicBezTo>
                  <a:pt x="1784201" y="5903440"/>
                  <a:pt x="1783801" y="5901709"/>
                  <a:pt x="1783136" y="5900112"/>
                </a:cubicBezTo>
                <a:cubicBezTo>
                  <a:pt x="1782470" y="5898515"/>
                  <a:pt x="1781538" y="5897184"/>
                  <a:pt x="1780473" y="5895986"/>
                </a:cubicBezTo>
                <a:cubicBezTo>
                  <a:pt x="1779408" y="5894921"/>
                  <a:pt x="1778078" y="5893989"/>
                  <a:pt x="1776481" y="5893323"/>
                </a:cubicBezTo>
                <a:cubicBezTo>
                  <a:pt x="1775016" y="5892658"/>
                  <a:pt x="1773420" y="5892392"/>
                  <a:pt x="1771422" y="5892392"/>
                </a:cubicBezTo>
                <a:close/>
                <a:moveTo>
                  <a:pt x="1553786" y="5892392"/>
                </a:moveTo>
                <a:cubicBezTo>
                  <a:pt x="1547928" y="5892392"/>
                  <a:pt x="1545399" y="5894255"/>
                  <a:pt x="1543803" y="5895986"/>
                </a:cubicBezTo>
                <a:cubicBezTo>
                  <a:pt x="1541273" y="5898648"/>
                  <a:pt x="1540208" y="5901443"/>
                  <a:pt x="1540208" y="5905437"/>
                </a:cubicBezTo>
                <a:cubicBezTo>
                  <a:pt x="1540208" y="5909563"/>
                  <a:pt x="1541273" y="5912359"/>
                  <a:pt x="1543803" y="5914888"/>
                </a:cubicBezTo>
                <a:cubicBezTo>
                  <a:pt x="1545399" y="5916487"/>
                  <a:pt x="1547928" y="5918350"/>
                  <a:pt x="1553786" y="5918350"/>
                </a:cubicBezTo>
                <a:cubicBezTo>
                  <a:pt x="1555783" y="5918350"/>
                  <a:pt x="1557646" y="5918084"/>
                  <a:pt x="1559110" y="5917418"/>
                </a:cubicBezTo>
                <a:cubicBezTo>
                  <a:pt x="1560574" y="5916886"/>
                  <a:pt x="1561906" y="5916087"/>
                  <a:pt x="1562837" y="5915021"/>
                </a:cubicBezTo>
                <a:cubicBezTo>
                  <a:pt x="1563902" y="5913823"/>
                  <a:pt x="1564834" y="5912492"/>
                  <a:pt x="1565500" y="5910761"/>
                </a:cubicBezTo>
                <a:cubicBezTo>
                  <a:pt x="1566165" y="5909164"/>
                  <a:pt x="1566566" y="5907300"/>
                  <a:pt x="1566566" y="5905304"/>
                </a:cubicBezTo>
                <a:cubicBezTo>
                  <a:pt x="1566566" y="5903440"/>
                  <a:pt x="1566165" y="5901709"/>
                  <a:pt x="1565500" y="5900112"/>
                </a:cubicBezTo>
                <a:cubicBezTo>
                  <a:pt x="1564834" y="5898515"/>
                  <a:pt x="1563902" y="5897184"/>
                  <a:pt x="1562837" y="5895986"/>
                </a:cubicBezTo>
                <a:cubicBezTo>
                  <a:pt x="1561772" y="5894921"/>
                  <a:pt x="1560442" y="5893989"/>
                  <a:pt x="1558844" y="5893323"/>
                </a:cubicBezTo>
                <a:cubicBezTo>
                  <a:pt x="1557380" y="5892658"/>
                  <a:pt x="1555783" y="5892392"/>
                  <a:pt x="1553786" y="5892392"/>
                </a:cubicBezTo>
                <a:close/>
                <a:moveTo>
                  <a:pt x="1336143" y="5892392"/>
                </a:moveTo>
                <a:cubicBezTo>
                  <a:pt x="1330284" y="5892392"/>
                  <a:pt x="1327755" y="5894255"/>
                  <a:pt x="1326159" y="5895986"/>
                </a:cubicBezTo>
                <a:cubicBezTo>
                  <a:pt x="1323628" y="5898648"/>
                  <a:pt x="1322564" y="5901443"/>
                  <a:pt x="1322564" y="5905437"/>
                </a:cubicBezTo>
                <a:cubicBezTo>
                  <a:pt x="1322564" y="5909563"/>
                  <a:pt x="1323628" y="5912359"/>
                  <a:pt x="1326159" y="5914888"/>
                </a:cubicBezTo>
                <a:cubicBezTo>
                  <a:pt x="1327755" y="5916487"/>
                  <a:pt x="1330284" y="5918350"/>
                  <a:pt x="1336143" y="5918350"/>
                </a:cubicBezTo>
                <a:cubicBezTo>
                  <a:pt x="1338272" y="5918350"/>
                  <a:pt x="1340002" y="5918084"/>
                  <a:pt x="1341469" y="5917418"/>
                </a:cubicBezTo>
                <a:cubicBezTo>
                  <a:pt x="1342932" y="5916886"/>
                  <a:pt x="1344264" y="5916087"/>
                  <a:pt x="1345196" y="5915021"/>
                </a:cubicBezTo>
                <a:cubicBezTo>
                  <a:pt x="1346260" y="5913823"/>
                  <a:pt x="1347193" y="5912492"/>
                  <a:pt x="1347858" y="5910761"/>
                </a:cubicBezTo>
                <a:cubicBezTo>
                  <a:pt x="1348524" y="5909164"/>
                  <a:pt x="1348924" y="5907300"/>
                  <a:pt x="1348924" y="5905304"/>
                </a:cubicBezTo>
                <a:cubicBezTo>
                  <a:pt x="1348924" y="5903440"/>
                  <a:pt x="1348524" y="5901709"/>
                  <a:pt x="1347858" y="5900112"/>
                </a:cubicBezTo>
                <a:cubicBezTo>
                  <a:pt x="1347193" y="5898515"/>
                  <a:pt x="1346260" y="5897184"/>
                  <a:pt x="1345196" y="5895986"/>
                </a:cubicBezTo>
                <a:cubicBezTo>
                  <a:pt x="1344131" y="5894921"/>
                  <a:pt x="1342800" y="5893989"/>
                  <a:pt x="1341201" y="5893323"/>
                </a:cubicBezTo>
                <a:cubicBezTo>
                  <a:pt x="1339737" y="5892658"/>
                  <a:pt x="1338138" y="5892392"/>
                  <a:pt x="1336143" y="5892392"/>
                </a:cubicBezTo>
                <a:close/>
                <a:moveTo>
                  <a:pt x="1118630" y="5892392"/>
                </a:moveTo>
                <a:cubicBezTo>
                  <a:pt x="1112771" y="5892392"/>
                  <a:pt x="1110242" y="5894255"/>
                  <a:pt x="1108645" y="5895986"/>
                </a:cubicBezTo>
                <a:cubicBezTo>
                  <a:pt x="1105982" y="5898648"/>
                  <a:pt x="1104917" y="5901443"/>
                  <a:pt x="1104917" y="5905437"/>
                </a:cubicBezTo>
                <a:cubicBezTo>
                  <a:pt x="1104917" y="5909563"/>
                  <a:pt x="1105982" y="5912359"/>
                  <a:pt x="1108512" y="5914888"/>
                </a:cubicBezTo>
                <a:cubicBezTo>
                  <a:pt x="1110109" y="5916487"/>
                  <a:pt x="1112638" y="5918350"/>
                  <a:pt x="1118497" y="5918350"/>
                </a:cubicBezTo>
                <a:cubicBezTo>
                  <a:pt x="1120627" y="5918350"/>
                  <a:pt x="1122358" y="5918084"/>
                  <a:pt x="1123953" y="5917418"/>
                </a:cubicBezTo>
                <a:cubicBezTo>
                  <a:pt x="1125419" y="5916886"/>
                  <a:pt x="1126755" y="5916087"/>
                  <a:pt x="1127684" y="5915021"/>
                </a:cubicBezTo>
                <a:cubicBezTo>
                  <a:pt x="1128750" y="5913823"/>
                  <a:pt x="1129681" y="5912492"/>
                  <a:pt x="1130348" y="5910761"/>
                </a:cubicBezTo>
                <a:cubicBezTo>
                  <a:pt x="1131012" y="5909164"/>
                  <a:pt x="1131413" y="5907300"/>
                  <a:pt x="1131413" y="5905304"/>
                </a:cubicBezTo>
                <a:cubicBezTo>
                  <a:pt x="1131413" y="5903440"/>
                  <a:pt x="1131012" y="5901709"/>
                  <a:pt x="1130348" y="5900112"/>
                </a:cubicBezTo>
                <a:cubicBezTo>
                  <a:pt x="1129681" y="5898515"/>
                  <a:pt x="1128750" y="5897184"/>
                  <a:pt x="1127684" y="5895986"/>
                </a:cubicBezTo>
                <a:cubicBezTo>
                  <a:pt x="1126619" y="5894921"/>
                  <a:pt x="1125287" y="5893989"/>
                  <a:pt x="1123688" y="5893323"/>
                </a:cubicBezTo>
                <a:cubicBezTo>
                  <a:pt x="1122225" y="5892658"/>
                  <a:pt x="1120627" y="5892392"/>
                  <a:pt x="1118630" y="5892392"/>
                </a:cubicBezTo>
                <a:close/>
                <a:moveTo>
                  <a:pt x="901118" y="5892392"/>
                </a:moveTo>
                <a:cubicBezTo>
                  <a:pt x="895260" y="5892392"/>
                  <a:pt x="892731" y="5894255"/>
                  <a:pt x="891133" y="5895986"/>
                </a:cubicBezTo>
                <a:cubicBezTo>
                  <a:pt x="888471" y="5898648"/>
                  <a:pt x="887407" y="5901443"/>
                  <a:pt x="887407" y="5905437"/>
                </a:cubicBezTo>
                <a:cubicBezTo>
                  <a:pt x="887407" y="5909563"/>
                  <a:pt x="888471" y="5912359"/>
                  <a:pt x="891001" y="5914888"/>
                </a:cubicBezTo>
                <a:cubicBezTo>
                  <a:pt x="892598" y="5916487"/>
                  <a:pt x="895127" y="5918350"/>
                  <a:pt x="900984" y="5918350"/>
                </a:cubicBezTo>
                <a:cubicBezTo>
                  <a:pt x="902981" y="5918350"/>
                  <a:pt x="904712" y="5918084"/>
                  <a:pt x="906442" y="5917418"/>
                </a:cubicBezTo>
                <a:cubicBezTo>
                  <a:pt x="907906" y="5916886"/>
                  <a:pt x="909238" y="5916087"/>
                  <a:pt x="910170" y="5915021"/>
                </a:cubicBezTo>
                <a:cubicBezTo>
                  <a:pt x="911234" y="5913823"/>
                  <a:pt x="912166" y="5912492"/>
                  <a:pt x="912832" y="5910761"/>
                </a:cubicBezTo>
                <a:cubicBezTo>
                  <a:pt x="913497" y="5909164"/>
                  <a:pt x="913897" y="5907300"/>
                  <a:pt x="913897" y="5905304"/>
                </a:cubicBezTo>
                <a:cubicBezTo>
                  <a:pt x="913897" y="5903440"/>
                  <a:pt x="913497" y="5901709"/>
                  <a:pt x="912832" y="5900112"/>
                </a:cubicBezTo>
                <a:cubicBezTo>
                  <a:pt x="912166" y="5898515"/>
                  <a:pt x="911234" y="5897184"/>
                  <a:pt x="910170" y="5895986"/>
                </a:cubicBezTo>
                <a:cubicBezTo>
                  <a:pt x="909105" y="5894921"/>
                  <a:pt x="907773" y="5893989"/>
                  <a:pt x="906176" y="5893323"/>
                </a:cubicBezTo>
                <a:cubicBezTo>
                  <a:pt x="904712" y="5892658"/>
                  <a:pt x="903114" y="5892392"/>
                  <a:pt x="901118" y="5892392"/>
                </a:cubicBezTo>
                <a:close/>
                <a:moveTo>
                  <a:pt x="683344" y="5892392"/>
                </a:moveTo>
                <a:cubicBezTo>
                  <a:pt x="677487" y="5892392"/>
                  <a:pt x="674958" y="5894255"/>
                  <a:pt x="673361" y="5895986"/>
                </a:cubicBezTo>
                <a:cubicBezTo>
                  <a:pt x="670831" y="5898648"/>
                  <a:pt x="669767" y="5901443"/>
                  <a:pt x="669767" y="5905437"/>
                </a:cubicBezTo>
                <a:cubicBezTo>
                  <a:pt x="669767" y="5909563"/>
                  <a:pt x="670831" y="5912359"/>
                  <a:pt x="673361" y="5914888"/>
                </a:cubicBezTo>
                <a:cubicBezTo>
                  <a:pt x="674958" y="5916487"/>
                  <a:pt x="677487" y="5918350"/>
                  <a:pt x="683344" y="5918350"/>
                </a:cubicBezTo>
                <a:cubicBezTo>
                  <a:pt x="685341" y="5918350"/>
                  <a:pt x="687205" y="5918084"/>
                  <a:pt x="688669" y="5917418"/>
                </a:cubicBezTo>
                <a:cubicBezTo>
                  <a:pt x="690133" y="5916886"/>
                  <a:pt x="691465" y="5916087"/>
                  <a:pt x="692396" y="5915021"/>
                </a:cubicBezTo>
                <a:cubicBezTo>
                  <a:pt x="693461" y="5913823"/>
                  <a:pt x="694393" y="5912492"/>
                  <a:pt x="695059" y="5910761"/>
                </a:cubicBezTo>
                <a:cubicBezTo>
                  <a:pt x="695724" y="5909164"/>
                  <a:pt x="696124" y="5907300"/>
                  <a:pt x="696124" y="5905304"/>
                </a:cubicBezTo>
                <a:cubicBezTo>
                  <a:pt x="696124" y="5903440"/>
                  <a:pt x="695724" y="5901709"/>
                  <a:pt x="695059" y="5900112"/>
                </a:cubicBezTo>
                <a:cubicBezTo>
                  <a:pt x="694393" y="5898515"/>
                  <a:pt x="693461" y="5897184"/>
                  <a:pt x="692396" y="5895986"/>
                </a:cubicBezTo>
                <a:cubicBezTo>
                  <a:pt x="691331" y="5894921"/>
                  <a:pt x="690000" y="5893989"/>
                  <a:pt x="688403" y="5893323"/>
                </a:cubicBezTo>
                <a:cubicBezTo>
                  <a:pt x="686939" y="5892658"/>
                  <a:pt x="685341" y="5892392"/>
                  <a:pt x="683344" y="5892392"/>
                </a:cubicBezTo>
                <a:close/>
                <a:moveTo>
                  <a:pt x="465703" y="5892392"/>
                </a:moveTo>
                <a:cubicBezTo>
                  <a:pt x="459846" y="5892392"/>
                  <a:pt x="457317" y="5894255"/>
                  <a:pt x="455720" y="5895986"/>
                </a:cubicBezTo>
                <a:cubicBezTo>
                  <a:pt x="453190" y="5898648"/>
                  <a:pt x="452126" y="5901443"/>
                  <a:pt x="452126" y="5905437"/>
                </a:cubicBezTo>
                <a:cubicBezTo>
                  <a:pt x="452126" y="5909563"/>
                  <a:pt x="453190" y="5912359"/>
                  <a:pt x="455720" y="5914888"/>
                </a:cubicBezTo>
                <a:cubicBezTo>
                  <a:pt x="457317" y="5916487"/>
                  <a:pt x="459846" y="5918350"/>
                  <a:pt x="465703" y="5918350"/>
                </a:cubicBezTo>
                <a:cubicBezTo>
                  <a:pt x="467700" y="5918350"/>
                  <a:pt x="469564" y="5918084"/>
                  <a:pt x="471028" y="5917418"/>
                </a:cubicBezTo>
                <a:cubicBezTo>
                  <a:pt x="472492" y="5916886"/>
                  <a:pt x="473823" y="5916087"/>
                  <a:pt x="474755" y="5915021"/>
                </a:cubicBezTo>
                <a:cubicBezTo>
                  <a:pt x="475820" y="5913823"/>
                  <a:pt x="476752" y="5912492"/>
                  <a:pt x="477418" y="5910761"/>
                </a:cubicBezTo>
                <a:cubicBezTo>
                  <a:pt x="478083" y="5909164"/>
                  <a:pt x="478483" y="5907300"/>
                  <a:pt x="478483" y="5905304"/>
                </a:cubicBezTo>
                <a:cubicBezTo>
                  <a:pt x="478483" y="5903440"/>
                  <a:pt x="478083" y="5901709"/>
                  <a:pt x="477418" y="5900112"/>
                </a:cubicBezTo>
                <a:cubicBezTo>
                  <a:pt x="476752" y="5898515"/>
                  <a:pt x="475820" y="5897184"/>
                  <a:pt x="474755" y="5895986"/>
                </a:cubicBezTo>
                <a:cubicBezTo>
                  <a:pt x="473690" y="5894921"/>
                  <a:pt x="472359" y="5893989"/>
                  <a:pt x="470762" y="5893323"/>
                </a:cubicBezTo>
                <a:cubicBezTo>
                  <a:pt x="469298" y="5892658"/>
                  <a:pt x="467700" y="5892392"/>
                  <a:pt x="465703" y="5892392"/>
                </a:cubicBezTo>
                <a:close/>
                <a:moveTo>
                  <a:pt x="248061" y="5892392"/>
                </a:moveTo>
                <a:cubicBezTo>
                  <a:pt x="242205" y="5892392"/>
                  <a:pt x="239676" y="5894255"/>
                  <a:pt x="238079" y="5895986"/>
                </a:cubicBezTo>
                <a:cubicBezTo>
                  <a:pt x="235549" y="5898648"/>
                  <a:pt x="234486" y="5901443"/>
                  <a:pt x="234486" y="5905437"/>
                </a:cubicBezTo>
                <a:cubicBezTo>
                  <a:pt x="234486" y="5909563"/>
                  <a:pt x="235549" y="5912359"/>
                  <a:pt x="238079" y="5914888"/>
                </a:cubicBezTo>
                <a:cubicBezTo>
                  <a:pt x="239676" y="5916487"/>
                  <a:pt x="242205" y="5918350"/>
                  <a:pt x="248061" y="5918350"/>
                </a:cubicBezTo>
                <a:cubicBezTo>
                  <a:pt x="250191" y="5918350"/>
                  <a:pt x="251922" y="5918084"/>
                  <a:pt x="253386" y="5917418"/>
                </a:cubicBezTo>
                <a:cubicBezTo>
                  <a:pt x="254850" y="5916886"/>
                  <a:pt x="256181" y="5916087"/>
                  <a:pt x="257113" y="5915021"/>
                </a:cubicBezTo>
                <a:cubicBezTo>
                  <a:pt x="258178" y="5913823"/>
                  <a:pt x="259110" y="5912492"/>
                  <a:pt x="259776" y="5910761"/>
                </a:cubicBezTo>
                <a:cubicBezTo>
                  <a:pt x="260441" y="5909164"/>
                  <a:pt x="260841" y="5907300"/>
                  <a:pt x="260841" y="5905304"/>
                </a:cubicBezTo>
                <a:cubicBezTo>
                  <a:pt x="260841" y="5903440"/>
                  <a:pt x="260441" y="5901709"/>
                  <a:pt x="259776" y="5900112"/>
                </a:cubicBezTo>
                <a:cubicBezTo>
                  <a:pt x="259110" y="5898515"/>
                  <a:pt x="258178" y="5897184"/>
                  <a:pt x="257113" y="5895986"/>
                </a:cubicBezTo>
                <a:cubicBezTo>
                  <a:pt x="256048" y="5894921"/>
                  <a:pt x="254717" y="5893989"/>
                  <a:pt x="253120" y="5893323"/>
                </a:cubicBezTo>
                <a:cubicBezTo>
                  <a:pt x="251655" y="5892658"/>
                  <a:pt x="250058" y="5892392"/>
                  <a:pt x="248061" y="5892392"/>
                </a:cubicBezTo>
                <a:close/>
                <a:moveTo>
                  <a:pt x="30420" y="5892392"/>
                </a:moveTo>
                <a:cubicBezTo>
                  <a:pt x="24563" y="5892392"/>
                  <a:pt x="22034" y="5894255"/>
                  <a:pt x="20437" y="5895986"/>
                </a:cubicBezTo>
                <a:cubicBezTo>
                  <a:pt x="17907" y="5898648"/>
                  <a:pt x="16844" y="5901443"/>
                  <a:pt x="16844" y="5905437"/>
                </a:cubicBezTo>
                <a:cubicBezTo>
                  <a:pt x="16844" y="5909563"/>
                  <a:pt x="17907" y="5912359"/>
                  <a:pt x="20437" y="5914888"/>
                </a:cubicBezTo>
                <a:cubicBezTo>
                  <a:pt x="22034" y="5916487"/>
                  <a:pt x="24563" y="5918350"/>
                  <a:pt x="30420" y="5918350"/>
                </a:cubicBezTo>
                <a:cubicBezTo>
                  <a:pt x="32550" y="5918350"/>
                  <a:pt x="34281" y="5918084"/>
                  <a:pt x="35745" y="5917418"/>
                </a:cubicBezTo>
                <a:cubicBezTo>
                  <a:pt x="37209" y="5916886"/>
                  <a:pt x="38541" y="5916087"/>
                  <a:pt x="39472" y="5915021"/>
                </a:cubicBezTo>
                <a:cubicBezTo>
                  <a:pt x="40537" y="5913823"/>
                  <a:pt x="41469" y="5912492"/>
                  <a:pt x="42135" y="5910761"/>
                </a:cubicBezTo>
                <a:cubicBezTo>
                  <a:pt x="42800" y="5909164"/>
                  <a:pt x="43066" y="5907300"/>
                  <a:pt x="43066" y="5905304"/>
                </a:cubicBezTo>
                <a:cubicBezTo>
                  <a:pt x="43066" y="5903440"/>
                  <a:pt x="42800" y="5901709"/>
                  <a:pt x="42135" y="5900112"/>
                </a:cubicBezTo>
                <a:cubicBezTo>
                  <a:pt x="41469" y="5898515"/>
                  <a:pt x="40537" y="5897184"/>
                  <a:pt x="39472" y="5895986"/>
                </a:cubicBezTo>
                <a:cubicBezTo>
                  <a:pt x="38407" y="5894921"/>
                  <a:pt x="37076" y="5893989"/>
                  <a:pt x="35479" y="5893323"/>
                </a:cubicBezTo>
                <a:cubicBezTo>
                  <a:pt x="34015" y="5892658"/>
                  <a:pt x="32417" y="5892392"/>
                  <a:pt x="30420" y="5892392"/>
                </a:cubicBezTo>
                <a:close/>
                <a:moveTo>
                  <a:pt x="10475977" y="5875752"/>
                </a:moveTo>
                <a:cubicBezTo>
                  <a:pt x="10480237" y="5875752"/>
                  <a:pt x="10484230" y="5876551"/>
                  <a:pt x="10487824" y="5878281"/>
                </a:cubicBezTo>
                <a:cubicBezTo>
                  <a:pt x="10491419" y="5879879"/>
                  <a:pt x="10494613" y="5882008"/>
                  <a:pt x="10497143" y="5884671"/>
                </a:cubicBezTo>
                <a:cubicBezTo>
                  <a:pt x="10499672" y="5887200"/>
                  <a:pt x="10501801" y="5890394"/>
                  <a:pt x="10503266" y="5893989"/>
                </a:cubicBezTo>
                <a:cubicBezTo>
                  <a:pt x="10504730" y="5897583"/>
                  <a:pt x="10505529" y="5901443"/>
                  <a:pt x="10505529" y="5905437"/>
                </a:cubicBezTo>
                <a:cubicBezTo>
                  <a:pt x="10505529" y="5909563"/>
                  <a:pt x="10504730" y="5913557"/>
                  <a:pt x="10503266" y="5917152"/>
                </a:cubicBezTo>
                <a:cubicBezTo>
                  <a:pt x="10501669" y="5920746"/>
                  <a:pt x="10499672" y="5923808"/>
                  <a:pt x="10497143" y="5926470"/>
                </a:cubicBezTo>
                <a:cubicBezTo>
                  <a:pt x="10494480" y="5929132"/>
                  <a:pt x="10491419" y="5931262"/>
                  <a:pt x="10487824" y="5932727"/>
                </a:cubicBezTo>
                <a:cubicBezTo>
                  <a:pt x="10484098" y="5934191"/>
                  <a:pt x="10480237" y="5934989"/>
                  <a:pt x="10475977" y="5934989"/>
                </a:cubicBezTo>
                <a:cubicBezTo>
                  <a:pt x="10466924" y="5934989"/>
                  <a:pt x="10459736" y="5932061"/>
                  <a:pt x="10454145" y="5926470"/>
                </a:cubicBezTo>
                <a:cubicBezTo>
                  <a:pt x="10448554" y="5920879"/>
                  <a:pt x="10445759" y="5913823"/>
                  <a:pt x="10445759" y="5905304"/>
                </a:cubicBezTo>
                <a:cubicBezTo>
                  <a:pt x="10445759" y="5897050"/>
                  <a:pt x="10448554" y="5889995"/>
                  <a:pt x="10454145" y="5884271"/>
                </a:cubicBezTo>
                <a:cubicBezTo>
                  <a:pt x="10459603" y="5878547"/>
                  <a:pt x="10466924" y="5875752"/>
                  <a:pt x="10475977" y="5875752"/>
                </a:cubicBezTo>
                <a:close/>
                <a:moveTo>
                  <a:pt x="10258466" y="5875752"/>
                </a:moveTo>
                <a:cubicBezTo>
                  <a:pt x="10262592" y="5875752"/>
                  <a:pt x="10266586" y="5876551"/>
                  <a:pt x="10270313" y="5878281"/>
                </a:cubicBezTo>
                <a:cubicBezTo>
                  <a:pt x="10273907" y="5879879"/>
                  <a:pt x="10277101" y="5882008"/>
                  <a:pt x="10279631" y="5884671"/>
                </a:cubicBezTo>
                <a:cubicBezTo>
                  <a:pt x="10282160" y="5887200"/>
                  <a:pt x="10284290" y="5890394"/>
                  <a:pt x="10285754" y="5893989"/>
                </a:cubicBezTo>
                <a:cubicBezTo>
                  <a:pt x="10287218" y="5897583"/>
                  <a:pt x="10288017" y="5901443"/>
                  <a:pt x="10288017" y="5905437"/>
                </a:cubicBezTo>
                <a:cubicBezTo>
                  <a:pt x="10288017" y="5909563"/>
                  <a:pt x="10287218" y="5913557"/>
                  <a:pt x="10285754" y="5917152"/>
                </a:cubicBezTo>
                <a:cubicBezTo>
                  <a:pt x="10284157" y="5920746"/>
                  <a:pt x="10282160" y="5923808"/>
                  <a:pt x="10279631" y="5926470"/>
                </a:cubicBezTo>
                <a:cubicBezTo>
                  <a:pt x="10276969" y="5929132"/>
                  <a:pt x="10273907" y="5931262"/>
                  <a:pt x="10270313" y="5932727"/>
                </a:cubicBezTo>
                <a:cubicBezTo>
                  <a:pt x="10266586" y="5934191"/>
                  <a:pt x="10262725" y="5934989"/>
                  <a:pt x="10258466" y="5934989"/>
                </a:cubicBezTo>
                <a:cubicBezTo>
                  <a:pt x="10249546" y="5934989"/>
                  <a:pt x="10242224" y="5932061"/>
                  <a:pt x="10236633" y="5926470"/>
                </a:cubicBezTo>
                <a:cubicBezTo>
                  <a:pt x="10231043" y="5920879"/>
                  <a:pt x="10228247" y="5913823"/>
                  <a:pt x="10228247" y="5905304"/>
                </a:cubicBezTo>
                <a:cubicBezTo>
                  <a:pt x="10228247" y="5897050"/>
                  <a:pt x="10231043" y="5889995"/>
                  <a:pt x="10236633" y="5884271"/>
                </a:cubicBezTo>
                <a:cubicBezTo>
                  <a:pt x="10242092" y="5878547"/>
                  <a:pt x="10249413" y="5875752"/>
                  <a:pt x="10258466" y="5875752"/>
                </a:cubicBezTo>
                <a:close/>
                <a:moveTo>
                  <a:pt x="10040820" y="5875752"/>
                </a:moveTo>
                <a:cubicBezTo>
                  <a:pt x="10045080" y="5875752"/>
                  <a:pt x="10048941" y="5876551"/>
                  <a:pt x="10052534" y="5878281"/>
                </a:cubicBezTo>
                <a:cubicBezTo>
                  <a:pt x="10056129" y="5879879"/>
                  <a:pt x="10059323" y="5882008"/>
                  <a:pt x="10061852" y="5884671"/>
                </a:cubicBezTo>
                <a:cubicBezTo>
                  <a:pt x="10064382" y="5887200"/>
                  <a:pt x="10066512" y="5890394"/>
                  <a:pt x="10067976" y="5893989"/>
                </a:cubicBezTo>
                <a:cubicBezTo>
                  <a:pt x="10069440" y="5897583"/>
                  <a:pt x="10070239" y="5901443"/>
                  <a:pt x="10070239" y="5905437"/>
                </a:cubicBezTo>
                <a:cubicBezTo>
                  <a:pt x="10070239" y="5909563"/>
                  <a:pt x="10069440" y="5913557"/>
                  <a:pt x="10067976" y="5917152"/>
                </a:cubicBezTo>
                <a:cubicBezTo>
                  <a:pt x="10066379" y="5920746"/>
                  <a:pt x="10064382" y="5923808"/>
                  <a:pt x="10061852" y="5926470"/>
                </a:cubicBezTo>
                <a:cubicBezTo>
                  <a:pt x="10059190" y="5929132"/>
                  <a:pt x="10056129" y="5931262"/>
                  <a:pt x="10052534" y="5932727"/>
                </a:cubicBezTo>
                <a:cubicBezTo>
                  <a:pt x="10048941" y="5934191"/>
                  <a:pt x="10045080" y="5934989"/>
                  <a:pt x="10040820" y="5934989"/>
                </a:cubicBezTo>
                <a:cubicBezTo>
                  <a:pt x="10031767" y="5934989"/>
                  <a:pt x="10024579" y="5932061"/>
                  <a:pt x="10018988" y="5926470"/>
                </a:cubicBezTo>
                <a:cubicBezTo>
                  <a:pt x="10013397" y="5920879"/>
                  <a:pt x="10010602" y="5913823"/>
                  <a:pt x="10010602" y="5905304"/>
                </a:cubicBezTo>
                <a:cubicBezTo>
                  <a:pt x="10010602" y="5897050"/>
                  <a:pt x="10013397" y="5889995"/>
                  <a:pt x="10018988" y="5884271"/>
                </a:cubicBezTo>
                <a:cubicBezTo>
                  <a:pt x="10024579" y="5878547"/>
                  <a:pt x="10031767" y="5875752"/>
                  <a:pt x="10040820" y="5875752"/>
                </a:cubicBezTo>
                <a:close/>
                <a:moveTo>
                  <a:pt x="9823176" y="5875752"/>
                </a:moveTo>
                <a:cubicBezTo>
                  <a:pt x="9827435" y="5875752"/>
                  <a:pt x="9831296" y="5876551"/>
                  <a:pt x="9834890" y="5878281"/>
                </a:cubicBezTo>
                <a:cubicBezTo>
                  <a:pt x="9838617" y="5879879"/>
                  <a:pt x="9841679" y="5882008"/>
                  <a:pt x="9844208" y="5884671"/>
                </a:cubicBezTo>
                <a:cubicBezTo>
                  <a:pt x="9846737" y="5887200"/>
                  <a:pt x="9848867" y="5890394"/>
                  <a:pt x="9850331" y="5893989"/>
                </a:cubicBezTo>
                <a:cubicBezTo>
                  <a:pt x="9851796" y="5897583"/>
                  <a:pt x="9852595" y="5901443"/>
                  <a:pt x="9852595" y="5905437"/>
                </a:cubicBezTo>
                <a:cubicBezTo>
                  <a:pt x="9852595" y="5909563"/>
                  <a:pt x="9851796" y="5913557"/>
                  <a:pt x="9850331" y="5917152"/>
                </a:cubicBezTo>
                <a:cubicBezTo>
                  <a:pt x="9848734" y="5920746"/>
                  <a:pt x="9846737" y="5923808"/>
                  <a:pt x="9844208" y="5926470"/>
                </a:cubicBezTo>
                <a:cubicBezTo>
                  <a:pt x="9841546" y="5929132"/>
                  <a:pt x="9838484" y="5931262"/>
                  <a:pt x="9834890" y="5932727"/>
                </a:cubicBezTo>
                <a:cubicBezTo>
                  <a:pt x="9831296" y="5934191"/>
                  <a:pt x="9827435" y="5934989"/>
                  <a:pt x="9823176" y="5934989"/>
                </a:cubicBezTo>
                <a:cubicBezTo>
                  <a:pt x="9814123" y="5934989"/>
                  <a:pt x="9806935" y="5932061"/>
                  <a:pt x="9801343" y="5926470"/>
                </a:cubicBezTo>
                <a:cubicBezTo>
                  <a:pt x="9795753" y="5920879"/>
                  <a:pt x="9792957" y="5913823"/>
                  <a:pt x="9792957" y="5905304"/>
                </a:cubicBezTo>
                <a:cubicBezTo>
                  <a:pt x="9792957" y="5897050"/>
                  <a:pt x="9795753" y="5889995"/>
                  <a:pt x="9801343" y="5884271"/>
                </a:cubicBezTo>
                <a:cubicBezTo>
                  <a:pt x="9806935" y="5878547"/>
                  <a:pt x="9814123" y="5875752"/>
                  <a:pt x="9823176" y="5875752"/>
                </a:cubicBezTo>
                <a:close/>
                <a:moveTo>
                  <a:pt x="9605531" y="5875752"/>
                </a:moveTo>
                <a:cubicBezTo>
                  <a:pt x="9609790" y="5875752"/>
                  <a:pt x="9613784" y="5876551"/>
                  <a:pt x="9617245" y="5878281"/>
                </a:cubicBezTo>
                <a:cubicBezTo>
                  <a:pt x="9620839" y="5879879"/>
                  <a:pt x="9624033" y="5882008"/>
                  <a:pt x="9626562" y="5884671"/>
                </a:cubicBezTo>
                <a:cubicBezTo>
                  <a:pt x="9629092" y="5887200"/>
                  <a:pt x="9631222" y="5890394"/>
                  <a:pt x="9632686" y="5893989"/>
                </a:cubicBezTo>
                <a:cubicBezTo>
                  <a:pt x="9634150" y="5897583"/>
                  <a:pt x="9634949" y="5901443"/>
                  <a:pt x="9634949" y="5905437"/>
                </a:cubicBezTo>
                <a:cubicBezTo>
                  <a:pt x="9634949" y="5909563"/>
                  <a:pt x="9634150" y="5913557"/>
                  <a:pt x="9632686" y="5917152"/>
                </a:cubicBezTo>
                <a:cubicBezTo>
                  <a:pt x="9631089" y="5920746"/>
                  <a:pt x="9629092" y="5923808"/>
                  <a:pt x="9626562" y="5926470"/>
                </a:cubicBezTo>
                <a:cubicBezTo>
                  <a:pt x="9623901" y="5929132"/>
                  <a:pt x="9620839" y="5931262"/>
                  <a:pt x="9617245" y="5932727"/>
                </a:cubicBezTo>
                <a:cubicBezTo>
                  <a:pt x="9613651" y="5934191"/>
                  <a:pt x="9609790" y="5934989"/>
                  <a:pt x="9605531" y="5934989"/>
                </a:cubicBezTo>
                <a:cubicBezTo>
                  <a:pt x="9596610" y="5934989"/>
                  <a:pt x="9589289" y="5932061"/>
                  <a:pt x="9583698" y="5926470"/>
                </a:cubicBezTo>
                <a:cubicBezTo>
                  <a:pt x="9578108" y="5920879"/>
                  <a:pt x="9575312" y="5913823"/>
                  <a:pt x="9575312" y="5905304"/>
                </a:cubicBezTo>
                <a:cubicBezTo>
                  <a:pt x="9575312" y="5897050"/>
                  <a:pt x="9578108" y="5889995"/>
                  <a:pt x="9583698" y="5884271"/>
                </a:cubicBezTo>
                <a:cubicBezTo>
                  <a:pt x="9589289" y="5878547"/>
                  <a:pt x="9596478" y="5875752"/>
                  <a:pt x="9605531" y="5875752"/>
                </a:cubicBezTo>
                <a:close/>
                <a:moveTo>
                  <a:pt x="9387885" y="5875752"/>
                </a:moveTo>
                <a:cubicBezTo>
                  <a:pt x="9392145" y="5875752"/>
                  <a:pt x="9396138" y="5876551"/>
                  <a:pt x="9399599" y="5878281"/>
                </a:cubicBezTo>
                <a:cubicBezTo>
                  <a:pt x="9403194" y="5879879"/>
                  <a:pt x="9406388" y="5882008"/>
                  <a:pt x="9408917" y="5884671"/>
                </a:cubicBezTo>
                <a:cubicBezTo>
                  <a:pt x="9411447" y="5887200"/>
                  <a:pt x="9413576" y="5890394"/>
                  <a:pt x="9415041" y="5893989"/>
                </a:cubicBezTo>
                <a:cubicBezTo>
                  <a:pt x="9416505" y="5897583"/>
                  <a:pt x="9417304" y="5901443"/>
                  <a:pt x="9417304" y="5905437"/>
                </a:cubicBezTo>
                <a:cubicBezTo>
                  <a:pt x="9417304" y="5909563"/>
                  <a:pt x="9416505" y="5913557"/>
                  <a:pt x="9415041" y="5917152"/>
                </a:cubicBezTo>
                <a:cubicBezTo>
                  <a:pt x="9413444" y="5920746"/>
                  <a:pt x="9411447" y="5923808"/>
                  <a:pt x="9408917" y="5926470"/>
                </a:cubicBezTo>
                <a:cubicBezTo>
                  <a:pt x="9406255" y="5929132"/>
                  <a:pt x="9403194" y="5931262"/>
                  <a:pt x="9399599" y="5932727"/>
                </a:cubicBezTo>
                <a:cubicBezTo>
                  <a:pt x="9396005" y="5934191"/>
                  <a:pt x="9392145" y="5934989"/>
                  <a:pt x="9387885" y="5934989"/>
                </a:cubicBezTo>
                <a:cubicBezTo>
                  <a:pt x="9378965" y="5934989"/>
                  <a:pt x="9371644" y="5932061"/>
                  <a:pt x="9366053" y="5926470"/>
                </a:cubicBezTo>
                <a:cubicBezTo>
                  <a:pt x="9360462" y="5920879"/>
                  <a:pt x="9357667" y="5913823"/>
                  <a:pt x="9357667" y="5905304"/>
                </a:cubicBezTo>
                <a:cubicBezTo>
                  <a:pt x="9357667" y="5897050"/>
                  <a:pt x="9360462" y="5889995"/>
                  <a:pt x="9366053" y="5884271"/>
                </a:cubicBezTo>
                <a:cubicBezTo>
                  <a:pt x="9371644" y="5878547"/>
                  <a:pt x="9378832" y="5875752"/>
                  <a:pt x="9387885" y="5875752"/>
                </a:cubicBezTo>
                <a:close/>
                <a:moveTo>
                  <a:pt x="9170374" y="5875752"/>
                </a:moveTo>
                <a:cubicBezTo>
                  <a:pt x="9174500" y="5875752"/>
                  <a:pt x="9178494" y="5876551"/>
                  <a:pt x="9182088" y="5878281"/>
                </a:cubicBezTo>
                <a:cubicBezTo>
                  <a:pt x="9185682" y="5879879"/>
                  <a:pt x="9188876" y="5882008"/>
                  <a:pt x="9191405" y="5884671"/>
                </a:cubicBezTo>
                <a:cubicBezTo>
                  <a:pt x="9193935" y="5887200"/>
                  <a:pt x="9196065" y="5890394"/>
                  <a:pt x="9197529" y="5893989"/>
                </a:cubicBezTo>
                <a:cubicBezTo>
                  <a:pt x="9198993" y="5897583"/>
                  <a:pt x="9199792" y="5901443"/>
                  <a:pt x="9199792" y="5905437"/>
                </a:cubicBezTo>
                <a:cubicBezTo>
                  <a:pt x="9199792" y="5909563"/>
                  <a:pt x="9198993" y="5913557"/>
                  <a:pt x="9197529" y="5917152"/>
                </a:cubicBezTo>
                <a:cubicBezTo>
                  <a:pt x="9195932" y="5920746"/>
                  <a:pt x="9193935" y="5923808"/>
                  <a:pt x="9191405" y="5926470"/>
                </a:cubicBezTo>
                <a:cubicBezTo>
                  <a:pt x="9188744" y="5929132"/>
                  <a:pt x="9185682" y="5931262"/>
                  <a:pt x="9182088" y="5932727"/>
                </a:cubicBezTo>
                <a:cubicBezTo>
                  <a:pt x="9178494" y="5934191"/>
                  <a:pt x="9174633" y="5934989"/>
                  <a:pt x="9170374" y="5934989"/>
                </a:cubicBezTo>
                <a:cubicBezTo>
                  <a:pt x="9161453" y="5934989"/>
                  <a:pt x="9154132" y="5932061"/>
                  <a:pt x="9148541" y="5926470"/>
                </a:cubicBezTo>
                <a:cubicBezTo>
                  <a:pt x="9142951" y="5920879"/>
                  <a:pt x="9140155" y="5913823"/>
                  <a:pt x="9140155" y="5905304"/>
                </a:cubicBezTo>
                <a:cubicBezTo>
                  <a:pt x="9140155" y="5897050"/>
                  <a:pt x="9142951" y="5889995"/>
                  <a:pt x="9148541" y="5884271"/>
                </a:cubicBezTo>
                <a:cubicBezTo>
                  <a:pt x="9154132" y="5878547"/>
                  <a:pt x="9161321" y="5875752"/>
                  <a:pt x="9170374" y="5875752"/>
                </a:cubicBezTo>
                <a:close/>
                <a:moveTo>
                  <a:pt x="8952728" y="5875752"/>
                </a:moveTo>
                <a:cubicBezTo>
                  <a:pt x="8956988" y="5875752"/>
                  <a:pt x="8960849" y="5876551"/>
                  <a:pt x="8964442" y="5878281"/>
                </a:cubicBezTo>
                <a:cubicBezTo>
                  <a:pt x="8968037" y="5879879"/>
                  <a:pt x="8971231" y="5882008"/>
                  <a:pt x="8973760" y="5884671"/>
                </a:cubicBezTo>
                <a:cubicBezTo>
                  <a:pt x="8976290" y="5887200"/>
                  <a:pt x="8978419" y="5890394"/>
                  <a:pt x="8979884" y="5893989"/>
                </a:cubicBezTo>
                <a:cubicBezTo>
                  <a:pt x="8981348" y="5897583"/>
                  <a:pt x="8982147" y="5901443"/>
                  <a:pt x="8982147" y="5905437"/>
                </a:cubicBezTo>
                <a:cubicBezTo>
                  <a:pt x="8982147" y="5909563"/>
                  <a:pt x="8981348" y="5913557"/>
                  <a:pt x="8979884" y="5917152"/>
                </a:cubicBezTo>
                <a:cubicBezTo>
                  <a:pt x="8978287" y="5920746"/>
                  <a:pt x="8976290" y="5923808"/>
                  <a:pt x="8973760" y="5926470"/>
                </a:cubicBezTo>
                <a:cubicBezTo>
                  <a:pt x="8971098" y="5929132"/>
                  <a:pt x="8968037" y="5931262"/>
                  <a:pt x="8964442" y="5932727"/>
                </a:cubicBezTo>
                <a:cubicBezTo>
                  <a:pt x="8960849" y="5934191"/>
                  <a:pt x="8956988" y="5934989"/>
                  <a:pt x="8952728" y="5934989"/>
                </a:cubicBezTo>
                <a:cubicBezTo>
                  <a:pt x="8943808" y="5934989"/>
                  <a:pt x="8936487" y="5932061"/>
                  <a:pt x="8930896" y="5926470"/>
                </a:cubicBezTo>
                <a:cubicBezTo>
                  <a:pt x="8925305" y="5920879"/>
                  <a:pt x="8922510" y="5913823"/>
                  <a:pt x="8922510" y="5905304"/>
                </a:cubicBezTo>
                <a:cubicBezTo>
                  <a:pt x="8922510" y="5897050"/>
                  <a:pt x="8925305" y="5889995"/>
                  <a:pt x="8930896" y="5884271"/>
                </a:cubicBezTo>
                <a:cubicBezTo>
                  <a:pt x="8936487" y="5878547"/>
                  <a:pt x="8943675" y="5875752"/>
                  <a:pt x="8952728" y="5875752"/>
                </a:cubicBezTo>
                <a:close/>
                <a:moveTo>
                  <a:pt x="8735083" y="5875752"/>
                </a:moveTo>
                <a:cubicBezTo>
                  <a:pt x="8739342" y="5875752"/>
                  <a:pt x="8743203" y="5876551"/>
                  <a:pt x="8746797" y="5878281"/>
                </a:cubicBezTo>
                <a:cubicBezTo>
                  <a:pt x="8750391" y="5879879"/>
                  <a:pt x="8753586" y="5882008"/>
                  <a:pt x="8756115" y="5884671"/>
                </a:cubicBezTo>
                <a:cubicBezTo>
                  <a:pt x="8758644" y="5887200"/>
                  <a:pt x="8760774" y="5890394"/>
                  <a:pt x="8762238" y="5893989"/>
                </a:cubicBezTo>
                <a:cubicBezTo>
                  <a:pt x="8763702" y="5897583"/>
                  <a:pt x="8764502" y="5901443"/>
                  <a:pt x="8764502" y="5905437"/>
                </a:cubicBezTo>
                <a:cubicBezTo>
                  <a:pt x="8764502" y="5909563"/>
                  <a:pt x="8763702" y="5913557"/>
                  <a:pt x="8762238" y="5917152"/>
                </a:cubicBezTo>
                <a:cubicBezTo>
                  <a:pt x="8760641" y="5920746"/>
                  <a:pt x="8758644" y="5923808"/>
                  <a:pt x="8756115" y="5926470"/>
                </a:cubicBezTo>
                <a:cubicBezTo>
                  <a:pt x="8753453" y="5929132"/>
                  <a:pt x="8750391" y="5931262"/>
                  <a:pt x="8746797" y="5932727"/>
                </a:cubicBezTo>
                <a:cubicBezTo>
                  <a:pt x="8743203" y="5934191"/>
                  <a:pt x="8739342" y="5934989"/>
                  <a:pt x="8735083" y="5934989"/>
                </a:cubicBezTo>
                <a:cubicBezTo>
                  <a:pt x="8726030" y="5934989"/>
                  <a:pt x="8718841" y="5932061"/>
                  <a:pt x="8713250" y="5926470"/>
                </a:cubicBezTo>
                <a:cubicBezTo>
                  <a:pt x="8707660" y="5920879"/>
                  <a:pt x="8704864" y="5913823"/>
                  <a:pt x="8704864" y="5905304"/>
                </a:cubicBezTo>
                <a:cubicBezTo>
                  <a:pt x="8704864" y="5897050"/>
                  <a:pt x="8707660" y="5889995"/>
                  <a:pt x="8713250" y="5884271"/>
                </a:cubicBezTo>
                <a:cubicBezTo>
                  <a:pt x="8718841" y="5878547"/>
                  <a:pt x="8726030" y="5875752"/>
                  <a:pt x="8735083" y="5875752"/>
                </a:cubicBezTo>
                <a:close/>
                <a:moveTo>
                  <a:pt x="8517438" y="5875752"/>
                </a:moveTo>
                <a:cubicBezTo>
                  <a:pt x="8521698" y="5875752"/>
                  <a:pt x="8525559" y="5876551"/>
                  <a:pt x="8529152" y="5878281"/>
                </a:cubicBezTo>
                <a:cubicBezTo>
                  <a:pt x="8532880" y="5879879"/>
                  <a:pt x="8535941" y="5882008"/>
                  <a:pt x="8538470" y="5884671"/>
                </a:cubicBezTo>
                <a:cubicBezTo>
                  <a:pt x="8541000" y="5887200"/>
                  <a:pt x="8543130" y="5890394"/>
                  <a:pt x="8544594" y="5893989"/>
                </a:cubicBezTo>
                <a:cubicBezTo>
                  <a:pt x="8546058" y="5897583"/>
                  <a:pt x="8546857" y="5901443"/>
                  <a:pt x="8546857" y="5905437"/>
                </a:cubicBezTo>
                <a:cubicBezTo>
                  <a:pt x="8546857" y="5909563"/>
                  <a:pt x="8546058" y="5913557"/>
                  <a:pt x="8544594" y="5917152"/>
                </a:cubicBezTo>
                <a:cubicBezTo>
                  <a:pt x="8542997" y="5920746"/>
                  <a:pt x="8541000" y="5923808"/>
                  <a:pt x="8538470" y="5926470"/>
                </a:cubicBezTo>
                <a:cubicBezTo>
                  <a:pt x="8535808" y="5929132"/>
                  <a:pt x="8532747" y="5931262"/>
                  <a:pt x="8529152" y="5932727"/>
                </a:cubicBezTo>
                <a:cubicBezTo>
                  <a:pt x="8525559" y="5934191"/>
                  <a:pt x="8521698" y="5934989"/>
                  <a:pt x="8517438" y="5934989"/>
                </a:cubicBezTo>
                <a:cubicBezTo>
                  <a:pt x="8508385" y="5934989"/>
                  <a:pt x="8501197" y="5932061"/>
                  <a:pt x="8495606" y="5926470"/>
                </a:cubicBezTo>
                <a:cubicBezTo>
                  <a:pt x="8490015" y="5920879"/>
                  <a:pt x="8487220" y="5913823"/>
                  <a:pt x="8487220" y="5905304"/>
                </a:cubicBezTo>
                <a:cubicBezTo>
                  <a:pt x="8487220" y="5897050"/>
                  <a:pt x="8490015" y="5889995"/>
                  <a:pt x="8495606" y="5884271"/>
                </a:cubicBezTo>
                <a:cubicBezTo>
                  <a:pt x="8501197" y="5878547"/>
                  <a:pt x="8508385" y="5875752"/>
                  <a:pt x="8517438" y="5875752"/>
                </a:cubicBezTo>
                <a:close/>
                <a:moveTo>
                  <a:pt x="8299793" y="5875752"/>
                </a:moveTo>
                <a:cubicBezTo>
                  <a:pt x="8304052" y="5875752"/>
                  <a:pt x="8308046" y="5876551"/>
                  <a:pt x="8311507" y="5878281"/>
                </a:cubicBezTo>
                <a:cubicBezTo>
                  <a:pt x="8315235" y="5879879"/>
                  <a:pt x="8318296" y="5882008"/>
                  <a:pt x="8320825" y="5884671"/>
                </a:cubicBezTo>
                <a:cubicBezTo>
                  <a:pt x="8323354" y="5887200"/>
                  <a:pt x="8325484" y="5890394"/>
                  <a:pt x="8326948" y="5893989"/>
                </a:cubicBezTo>
                <a:cubicBezTo>
                  <a:pt x="8328413" y="5897583"/>
                  <a:pt x="8329212" y="5901443"/>
                  <a:pt x="8329212" y="5905437"/>
                </a:cubicBezTo>
                <a:cubicBezTo>
                  <a:pt x="8329212" y="5909563"/>
                  <a:pt x="8328413" y="5913557"/>
                  <a:pt x="8326948" y="5917152"/>
                </a:cubicBezTo>
                <a:cubicBezTo>
                  <a:pt x="8325351" y="5920746"/>
                  <a:pt x="8323354" y="5923808"/>
                  <a:pt x="8320825" y="5926470"/>
                </a:cubicBezTo>
                <a:cubicBezTo>
                  <a:pt x="8318163" y="5929132"/>
                  <a:pt x="8315101" y="5931262"/>
                  <a:pt x="8311507" y="5932727"/>
                </a:cubicBezTo>
                <a:cubicBezTo>
                  <a:pt x="8307913" y="5934191"/>
                  <a:pt x="8304052" y="5934989"/>
                  <a:pt x="8299793" y="5934989"/>
                </a:cubicBezTo>
                <a:cubicBezTo>
                  <a:pt x="8290874" y="5934989"/>
                  <a:pt x="8283553" y="5932061"/>
                  <a:pt x="8277960" y="5926470"/>
                </a:cubicBezTo>
                <a:cubicBezTo>
                  <a:pt x="8272370" y="5920879"/>
                  <a:pt x="8269574" y="5913823"/>
                  <a:pt x="8269574" y="5905304"/>
                </a:cubicBezTo>
                <a:cubicBezTo>
                  <a:pt x="8269574" y="5897050"/>
                  <a:pt x="8272370" y="5889995"/>
                  <a:pt x="8277960" y="5884271"/>
                </a:cubicBezTo>
                <a:cubicBezTo>
                  <a:pt x="8283553" y="5878547"/>
                  <a:pt x="8290741" y="5875752"/>
                  <a:pt x="8299793" y="5875752"/>
                </a:cubicBezTo>
                <a:close/>
                <a:moveTo>
                  <a:pt x="8082281" y="5875752"/>
                </a:moveTo>
                <a:cubicBezTo>
                  <a:pt x="8086407" y="5875752"/>
                  <a:pt x="8090401" y="5876551"/>
                  <a:pt x="8094127" y="5878281"/>
                </a:cubicBezTo>
                <a:cubicBezTo>
                  <a:pt x="8097855" y="5879879"/>
                  <a:pt x="8100916" y="5882008"/>
                  <a:pt x="8103446" y="5884671"/>
                </a:cubicBezTo>
                <a:cubicBezTo>
                  <a:pt x="8105975" y="5887200"/>
                  <a:pt x="8108104" y="5890394"/>
                  <a:pt x="8109569" y="5893989"/>
                </a:cubicBezTo>
                <a:cubicBezTo>
                  <a:pt x="8111033" y="5897583"/>
                  <a:pt x="8111832" y="5901443"/>
                  <a:pt x="8111832" y="5905437"/>
                </a:cubicBezTo>
                <a:cubicBezTo>
                  <a:pt x="8111832" y="5909563"/>
                  <a:pt x="8111033" y="5913557"/>
                  <a:pt x="8109569" y="5917152"/>
                </a:cubicBezTo>
                <a:cubicBezTo>
                  <a:pt x="8107972" y="5920746"/>
                  <a:pt x="8105975" y="5923808"/>
                  <a:pt x="8103446" y="5926470"/>
                </a:cubicBezTo>
                <a:cubicBezTo>
                  <a:pt x="8100783" y="5929132"/>
                  <a:pt x="8097722" y="5931262"/>
                  <a:pt x="8094127" y="5932727"/>
                </a:cubicBezTo>
                <a:cubicBezTo>
                  <a:pt x="8090401" y="5934191"/>
                  <a:pt x="8086540" y="5934989"/>
                  <a:pt x="8082281" y="5934989"/>
                </a:cubicBezTo>
                <a:cubicBezTo>
                  <a:pt x="8073361" y="5934989"/>
                  <a:pt x="8066040" y="5932061"/>
                  <a:pt x="8060448" y="5926470"/>
                </a:cubicBezTo>
                <a:cubicBezTo>
                  <a:pt x="8054857" y="5920879"/>
                  <a:pt x="8052062" y="5913823"/>
                  <a:pt x="8052062" y="5905304"/>
                </a:cubicBezTo>
                <a:cubicBezTo>
                  <a:pt x="8052062" y="5897050"/>
                  <a:pt x="8054857" y="5889995"/>
                  <a:pt x="8060448" y="5884271"/>
                </a:cubicBezTo>
                <a:cubicBezTo>
                  <a:pt x="8066040" y="5878547"/>
                  <a:pt x="8073228" y="5875752"/>
                  <a:pt x="8082281" y="5875752"/>
                </a:cubicBezTo>
                <a:close/>
                <a:moveTo>
                  <a:pt x="7864636" y="5875752"/>
                </a:moveTo>
                <a:cubicBezTo>
                  <a:pt x="7868762" y="5875752"/>
                  <a:pt x="7872756" y="5876551"/>
                  <a:pt x="7876483" y="5878281"/>
                </a:cubicBezTo>
                <a:cubicBezTo>
                  <a:pt x="7880210" y="5879879"/>
                  <a:pt x="7883272" y="5882008"/>
                  <a:pt x="7885802" y="5884671"/>
                </a:cubicBezTo>
                <a:cubicBezTo>
                  <a:pt x="7888331" y="5887200"/>
                  <a:pt x="7890460" y="5890394"/>
                  <a:pt x="7891924" y="5893989"/>
                </a:cubicBezTo>
                <a:cubicBezTo>
                  <a:pt x="7893389" y="5897583"/>
                  <a:pt x="7894188" y="5901443"/>
                  <a:pt x="7894188" y="5905437"/>
                </a:cubicBezTo>
                <a:cubicBezTo>
                  <a:pt x="7894188" y="5909563"/>
                  <a:pt x="7893389" y="5913557"/>
                  <a:pt x="7891924" y="5917152"/>
                </a:cubicBezTo>
                <a:cubicBezTo>
                  <a:pt x="7890327" y="5920746"/>
                  <a:pt x="7888331" y="5923808"/>
                  <a:pt x="7885802" y="5926470"/>
                </a:cubicBezTo>
                <a:cubicBezTo>
                  <a:pt x="7883139" y="5929132"/>
                  <a:pt x="7880078" y="5931262"/>
                  <a:pt x="7876483" y="5932727"/>
                </a:cubicBezTo>
                <a:cubicBezTo>
                  <a:pt x="7872756" y="5934191"/>
                  <a:pt x="7868895" y="5934989"/>
                  <a:pt x="7864636" y="5934989"/>
                </a:cubicBezTo>
                <a:cubicBezTo>
                  <a:pt x="7855717" y="5934989"/>
                  <a:pt x="7848396" y="5932061"/>
                  <a:pt x="7842803" y="5926470"/>
                </a:cubicBezTo>
                <a:cubicBezTo>
                  <a:pt x="7837213" y="5920879"/>
                  <a:pt x="7834417" y="5913823"/>
                  <a:pt x="7834417" y="5905304"/>
                </a:cubicBezTo>
                <a:cubicBezTo>
                  <a:pt x="7834417" y="5897050"/>
                  <a:pt x="7837213" y="5889995"/>
                  <a:pt x="7842803" y="5884271"/>
                </a:cubicBezTo>
                <a:cubicBezTo>
                  <a:pt x="7848396" y="5878547"/>
                  <a:pt x="7855584" y="5875752"/>
                  <a:pt x="7864636" y="5875752"/>
                </a:cubicBezTo>
                <a:close/>
                <a:moveTo>
                  <a:pt x="7646991" y="5875752"/>
                </a:moveTo>
                <a:cubicBezTo>
                  <a:pt x="7651250" y="5875752"/>
                  <a:pt x="7655111" y="5876551"/>
                  <a:pt x="7658705" y="5878281"/>
                </a:cubicBezTo>
                <a:cubicBezTo>
                  <a:pt x="7662432" y="5879879"/>
                  <a:pt x="7665493" y="5882008"/>
                  <a:pt x="7668022" y="5884671"/>
                </a:cubicBezTo>
                <a:cubicBezTo>
                  <a:pt x="7670552" y="5887200"/>
                  <a:pt x="7672682" y="5890394"/>
                  <a:pt x="7674146" y="5893989"/>
                </a:cubicBezTo>
                <a:cubicBezTo>
                  <a:pt x="7675610" y="5897583"/>
                  <a:pt x="7676409" y="5901443"/>
                  <a:pt x="7676409" y="5905437"/>
                </a:cubicBezTo>
                <a:cubicBezTo>
                  <a:pt x="7676409" y="5909563"/>
                  <a:pt x="7675610" y="5913557"/>
                  <a:pt x="7674146" y="5917152"/>
                </a:cubicBezTo>
                <a:cubicBezTo>
                  <a:pt x="7672549" y="5920746"/>
                  <a:pt x="7670552" y="5923808"/>
                  <a:pt x="7668022" y="5926470"/>
                </a:cubicBezTo>
                <a:cubicBezTo>
                  <a:pt x="7665361" y="5929132"/>
                  <a:pt x="7662299" y="5931262"/>
                  <a:pt x="7658705" y="5932727"/>
                </a:cubicBezTo>
                <a:cubicBezTo>
                  <a:pt x="7655111" y="5934191"/>
                  <a:pt x="7651250" y="5934989"/>
                  <a:pt x="7646991" y="5934989"/>
                </a:cubicBezTo>
                <a:cubicBezTo>
                  <a:pt x="7638071" y="5934989"/>
                  <a:pt x="7630750" y="5932061"/>
                  <a:pt x="7625158" y="5926470"/>
                </a:cubicBezTo>
                <a:cubicBezTo>
                  <a:pt x="7619568" y="5920879"/>
                  <a:pt x="7616772" y="5913823"/>
                  <a:pt x="7616772" y="5905304"/>
                </a:cubicBezTo>
                <a:cubicBezTo>
                  <a:pt x="7616772" y="5897050"/>
                  <a:pt x="7619568" y="5889995"/>
                  <a:pt x="7625158" y="5884271"/>
                </a:cubicBezTo>
                <a:cubicBezTo>
                  <a:pt x="7630750" y="5878547"/>
                  <a:pt x="7637939" y="5875752"/>
                  <a:pt x="7646991" y="5875752"/>
                </a:cubicBezTo>
                <a:close/>
                <a:moveTo>
                  <a:pt x="7429345" y="5875752"/>
                </a:moveTo>
                <a:cubicBezTo>
                  <a:pt x="7433605" y="5875752"/>
                  <a:pt x="7437466" y="5876551"/>
                  <a:pt x="7441059" y="5878281"/>
                </a:cubicBezTo>
                <a:cubicBezTo>
                  <a:pt x="7444787" y="5879879"/>
                  <a:pt x="7447848" y="5882008"/>
                  <a:pt x="7450377" y="5884671"/>
                </a:cubicBezTo>
                <a:cubicBezTo>
                  <a:pt x="7452907" y="5887200"/>
                  <a:pt x="7455036" y="5890394"/>
                  <a:pt x="7456501" y="5893989"/>
                </a:cubicBezTo>
                <a:cubicBezTo>
                  <a:pt x="7457965" y="5897583"/>
                  <a:pt x="7458764" y="5901443"/>
                  <a:pt x="7458764" y="5905437"/>
                </a:cubicBezTo>
                <a:cubicBezTo>
                  <a:pt x="7458764" y="5909563"/>
                  <a:pt x="7457965" y="5913557"/>
                  <a:pt x="7456501" y="5917152"/>
                </a:cubicBezTo>
                <a:cubicBezTo>
                  <a:pt x="7454904" y="5920746"/>
                  <a:pt x="7452907" y="5923808"/>
                  <a:pt x="7450377" y="5926470"/>
                </a:cubicBezTo>
                <a:cubicBezTo>
                  <a:pt x="7447715" y="5929132"/>
                  <a:pt x="7444654" y="5931262"/>
                  <a:pt x="7441059" y="5932727"/>
                </a:cubicBezTo>
                <a:cubicBezTo>
                  <a:pt x="7437466" y="5934191"/>
                  <a:pt x="7433605" y="5934989"/>
                  <a:pt x="7429345" y="5934989"/>
                </a:cubicBezTo>
                <a:cubicBezTo>
                  <a:pt x="7420426" y="5934989"/>
                  <a:pt x="7413105" y="5932061"/>
                  <a:pt x="7407513" y="5926470"/>
                </a:cubicBezTo>
                <a:cubicBezTo>
                  <a:pt x="7401922" y="5920879"/>
                  <a:pt x="7399127" y="5913823"/>
                  <a:pt x="7399127" y="5905304"/>
                </a:cubicBezTo>
                <a:cubicBezTo>
                  <a:pt x="7399127" y="5897050"/>
                  <a:pt x="7401922" y="5889995"/>
                  <a:pt x="7407513" y="5884271"/>
                </a:cubicBezTo>
                <a:cubicBezTo>
                  <a:pt x="7413105" y="5878547"/>
                  <a:pt x="7420293" y="5875752"/>
                  <a:pt x="7429345" y="5875752"/>
                </a:cubicBezTo>
                <a:close/>
                <a:moveTo>
                  <a:pt x="7211701" y="5875752"/>
                </a:moveTo>
                <a:cubicBezTo>
                  <a:pt x="7215960" y="5875752"/>
                  <a:pt x="7219954" y="5876551"/>
                  <a:pt x="7223415" y="5878281"/>
                </a:cubicBezTo>
                <a:cubicBezTo>
                  <a:pt x="7227142" y="5879879"/>
                  <a:pt x="7230204" y="5882008"/>
                  <a:pt x="7232733" y="5884671"/>
                </a:cubicBezTo>
                <a:cubicBezTo>
                  <a:pt x="7235262" y="5887200"/>
                  <a:pt x="7237392" y="5890394"/>
                  <a:pt x="7238856" y="5893989"/>
                </a:cubicBezTo>
                <a:cubicBezTo>
                  <a:pt x="7240321" y="5897583"/>
                  <a:pt x="7241120" y="5901443"/>
                  <a:pt x="7241120" y="5905437"/>
                </a:cubicBezTo>
                <a:cubicBezTo>
                  <a:pt x="7241120" y="5909563"/>
                  <a:pt x="7240321" y="5913557"/>
                  <a:pt x="7238856" y="5917152"/>
                </a:cubicBezTo>
                <a:cubicBezTo>
                  <a:pt x="7237259" y="5920746"/>
                  <a:pt x="7235262" y="5923808"/>
                  <a:pt x="7232733" y="5926470"/>
                </a:cubicBezTo>
                <a:cubicBezTo>
                  <a:pt x="7230071" y="5929132"/>
                  <a:pt x="7227009" y="5931262"/>
                  <a:pt x="7223415" y="5932727"/>
                </a:cubicBezTo>
                <a:cubicBezTo>
                  <a:pt x="7219821" y="5934191"/>
                  <a:pt x="7215960" y="5934989"/>
                  <a:pt x="7211701" y="5934989"/>
                </a:cubicBezTo>
                <a:cubicBezTo>
                  <a:pt x="7202782" y="5934989"/>
                  <a:pt x="7195460" y="5932061"/>
                  <a:pt x="7189868" y="5926470"/>
                </a:cubicBezTo>
                <a:cubicBezTo>
                  <a:pt x="7184278" y="5920879"/>
                  <a:pt x="7181482" y="5913823"/>
                  <a:pt x="7181482" y="5905304"/>
                </a:cubicBezTo>
                <a:cubicBezTo>
                  <a:pt x="7181482" y="5897050"/>
                  <a:pt x="7184278" y="5889995"/>
                  <a:pt x="7189868" y="5884271"/>
                </a:cubicBezTo>
                <a:cubicBezTo>
                  <a:pt x="7195460" y="5878547"/>
                  <a:pt x="7202649" y="5875752"/>
                  <a:pt x="7211701" y="5875752"/>
                </a:cubicBezTo>
                <a:close/>
                <a:moveTo>
                  <a:pt x="6994056" y="5875752"/>
                </a:moveTo>
                <a:cubicBezTo>
                  <a:pt x="6998315" y="5875752"/>
                  <a:pt x="7002309" y="5876551"/>
                  <a:pt x="7005769" y="5878281"/>
                </a:cubicBezTo>
                <a:cubicBezTo>
                  <a:pt x="7009497" y="5879879"/>
                  <a:pt x="7012558" y="5882008"/>
                  <a:pt x="7015087" y="5884671"/>
                </a:cubicBezTo>
                <a:cubicBezTo>
                  <a:pt x="7017617" y="5887200"/>
                  <a:pt x="7019747" y="5890394"/>
                  <a:pt x="7021211" y="5893989"/>
                </a:cubicBezTo>
                <a:cubicBezTo>
                  <a:pt x="7022675" y="5897583"/>
                  <a:pt x="7023474" y="5901443"/>
                  <a:pt x="7023474" y="5905437"/>
                </a:cubicBezTo>
                <a:cubicBezTo>
                  <a:pt x="7023474" y="5909563"/>
                  <a:pt x="7022675" y="5913557"/>
                  <a:pt x="7021211" y="5917152"/>
                </a:cubicBezTo>
                <a:cubicBezTo>
                  <a:pt x="7019614" y="5920746"/>
                  <a:pt x="7017617" y="5923808"/>
                  <a:pt x="7015087" y="5926470"/>
                </a:cubicBezTo>
                <a:cubicBezTo>
                  <a:pt x="7012425" y="5929132"/>
                  <a:pt x="7009364" y="5931262"/>
                  <a:pt x="7005769" y="5932727"/>
                </a:cubicBezTo>
                <a:cubicBezTo>
                  <a:pt x="7002176" y="5934191"/>
                  <a:pt x="6998315" y="5934989"/>
                  <a:pt x="6994056" y="5934989"/>
                </a:cubicBezTo>
                <a:cubicBezTo>
                  <a:pt x="6985136" y="5934989"/>
                  <a:pt x="6977815" y="5932061"/>
                  <a:pt x="6972223" y="5926470"/>
                </a:cubicBezTo>
                <a:cubicBezTo>
                  <a:pt x="6966632" y="5920879"/>
                  <a:pt x="6963837" y="5913823"/>
                  <a:pt x="6963837" y="5905304"/>
                </a:cubicBezTo>
                <a:cubicBezTo>
                  <a:pt x="6963837" y="5897050"/>
                  <a:pt x="6966632" y="5889995"/>
                  <a:pt x="6972223" y="5884271"/>
                </a:cubicBezTo>
                <a:cubicBezTo>
                  <a:pt x="6977815" y="5878547"/>
                  <a:pt x="6985003" y="5875752"/>
                  <a:pt x="6994056" y="5875752"/>
                </a:cubicBezTo>
                <a:close/>
                <a:moveTo>
                  <a:pt x="6776544" y="5875752"/>
                </a:moveTo>
                <a:cubicBezTo>
                  <a:pt x="6780670" y="5875752"/>
                  <a:pt x="6784664" y="5876551"/>
                  <a:pt x="6788258" y="5878281"/>
                </a:cubicBezTo>
                <a:cubicBezTo>
                  <a:pt x="6791985" y="5879879"/>
                  <a:pt x="6795047" y="5882008"/>
                  <a:pt x="6797576" y="5884671"/>
                </a:cubicBezTo>
                <a:cubicBezTo>
                  <a:pt x="6800105" y="5887200"/>
                  <a:pt x="6802235" y="5890394"/>
                  <a:pt x="6803699" y="5893989"/>
                </a:cubicBezTo>
                <a:cubicBezTo>
                  <a:pt x="6805164" y="5897583"/>
                  <a:pt x="6805963" y="5901443"/>
                  <a:pt x="6805963" y="5905437"/>
                </a:cubicBezTo>
                <a:cubicBezTo>
                  <a:pt x="6805963" y="5909563"/>
                  <a:pt x="6805164" y="5913557"/>
                  <a:pt x="6803699" y="5917152"/>
                </a:cubicBezTo>
                <a:cubicBezTo>
                  <a:pt x="6802102" y="5920746"/>
                  <a:pt x="6800105" y="5923808"/>
                  <a:pt x="6797576" y="5926470"/>
                </a:cubicBezTo>
                <a:cubicBezTo>
                  <a:pt x="6794914" y="5929132"/>
                  <a:pt x="6791852" y="5931262"/>
                  <a:pt x="6788258" y="5932727"/>
                </a:cubicBezTo>
                <a:cubicBezTo>
                  <a:pt x="6784664" y="5934191"/>
                  <a:pt x="6780803" y="5934989"/>
                  <a:pt x="6776544" y="5934989"/>
                </a:cubicBezTo>
                <a:cubicBezTo>
                  <a:pt x="6767625" y="5934989"/>
                  <a:pt x="6760303" y="5932061"/>
                  <a:pt x="6754711" y="5926470"/>
                </a:cubicBezTo>
                <a:cubicBezTo>
                  <a:pt x="6749121" y="5920879"/>
                  <a:pt x="6746325" y="5913823"/>
                  <a:pt x="6746325" y="5905304"/>
                </a:cubicBezTo>
                <a:cubicBezTo>
                  <a:pt x="6746325" y="5897050"/>
                  <a:pt x="6749121" y="5889995"/>
                  <a:pt x="6754711" y="5884271"/>
                </a:cubicBezTo>
                <a:cubicBezTo>
                  <a:pt x="6760303" y="5878547"/>
                  <a:pt x="6767492" y="5875752"/>
                  <a:pt x="6776544" y="5875752"/>
                </a:cubicBezTo>
                <a:close/>
                <a:moveTo>
                  <a:pt x="6558899" y="5875752"/>
                </a:moveTo>
                <a:cubicBezTo>
                  <a:pt x="6563158" y="5875752"/>
                  <a:pt x="6567019" y="5876551"/>
                  <a:pt x="6570612" y="5878281"/>
                </a:cubicBezTo>
                <a:cubicBezTo>
                  <a:pt x="6574340" y="5879879"/>
                  <a:pt x="6577401" y="5882008"/>
                  <a:pt x="6579930" y="5884671"/>
                </a:cubicBezTo>
                <a:cubicBezTo>
                  <a:pt x="6582460" y="5887200"/>
                  <a:pt x="6584590" y="5890394"/>
                  <a:pt x="6586054" y="5893989"/>
                </a:cubicBezTo>
                <a:cubicBezTo>
                  <a:pt x="6587518" y="5897583"/>
                  <a:pt x="6588317" y="5901443"/>
                  <a:pt x="6588317" y="5905437"/>
                </a:cubicBezTo>
                <a:cubicBezTo>
                  <a:pt x="6588317" y="5909563"/>
                  <a:pt x="6587518" y="5913557"/>
                  <a:pt x="6586054" y="5917152"/>
                </a:cubicBezTo>
                <a:cubicBezTo>
                  <a:pt x="6584457" y="5920746"/>
                  <a:pt x="6582460" y="5923808"/>
                  <a:pt x="6579930" y="5926470"/>
                </a:cubicBezTo>
                <a:cubicBezTo>
                  <a:pt x="6577268" y="5929132"/>
                  <a:pt x="6574207" y="5931262"/>
                  <a:pt x="6570612" y="5932727"/>
                </a:cubicBezTo>
                <a:cubicBezTo>
                  <a:pt x="6567019" y="5934191"/>
                  <a:pt x="6563158" y="5934989"/>
                  <a:pt x="6558899" y="5934989"/>
                </a:cubicBezTo>
                <a:cubicBezTo>
                  <a:pt x="6549979" y="5934989"/>
                  <a:pt x="6542658" y="5932061"/>
                  <a:pt x="6537066" y="5926470"/>
                </a:cubicBezTo>
                <a:cubicBezTo>
                  <a:pt x="6531476" y="5920879"/>
                  <a:pt x="6528680" y="5913823"/>
                  <a:pt x="6528680" y="5905304"/>
                </a:cubicBezTo>
                <a:cubicBezTo>
                  <a:pt x="6528680" y="5897050"/>
                  <a:pt x="6531476" y="5889995"/>
                  <a:pt x="6537066" y="5884271"/>
                </a:cubicBezTo>
                <a:cubicBezTo>
                  <a:pt x="6542658" y="5878547"/>
                  <a:pt x="6549846" y="5875752"/>
                  <a:pt x="6558899" y="5875752"/>
                </a:cubicBezTo>
                <a:close/>
                <a:moveTo>
                  <a:pt x="6341253" y="5875752"/>
                </a:moveTo>
                <a:cubicBezTo>
                  <a:pt x="6345513" y="5875752"/>
                  <a:pt x="6349373" y="5876551"/>
                  <a:pt x="6352968" y="5878281"/>
                </a:cubicBezTo>
                <a:cubicBezTo>
                  <a:pt x="6356695" y="5879879"/>
                  <a:pt x="6359757" y="5882008"/>
                  <a:pt x="6362286" y="5884671"/>
                </a:cubicBezTo>
                <a:cubicBezTo>
                  <a:pt x="6364815" y="5887200"/>
                  <a:pt x="6366945" y="5890394"/>
                  <a:pt x="6368409" y="5893989"/>
                </a:cubicBezTo>
                <a:cubicBezTo>
                  <a:pt x="6369874" y="5897583"/>
                  <a:pt x="6370672" y="5901443"/>
                  <a:pt x="6370672" y="5905437"/>
                </a:cubicBezTo>
                <a:cubicBezTo>
                  <a:pt x="6370672" y="5909563"/>
                  <a:pt x="6369874" y="5913557"/>
                  <a:pt x="6368409" y="5917152"/>
                </a:cubicBezTo>
                <a:cubicBezTo>
                  <a:pt x="6366811" y="5920746"/>
                  <a:pt x="6364815" y="5923808"/>
                  <a:pt x="6362286" y="5926470"/>
                </a:cubicBezTo>
                <a:cubicBezTo>
                  <a:pt x="6359623" y="5929132"/>
                  <a:pt x="6356562" y="5931262"/>
                  <a:pt x="6352968" y="5932727"/>
                </a:cubicBezTo>
                <a:cubicBezTo>
                  <a:pt x="6349373" y="5934191"/>
                  <a:pt x="6345513" y="5934989"/>
                  <a:pt x="6341253" y="5934989"/>
                </a:cubicBezTo>
                <a:cubicBezTo>
                  <a:pt x="6332335" y="5934989"/>
                  <a:pt x="6325013" y="5932061"/>
                  <a:pt x="6319421" y="5926470"/>
                </a:cubicBezTo>
                <a:cubicBezTo>
                  <a:pt x="6313830" y="5920879"/>
                  <a:pt x="6311035" y="5913823"/>
                  <a:pt x="6311035" y="5905304"/>
                </a:cubicBezTo>
                <a:cubicBezTo>
                  <a:pt x="6311035" y="5897050"/>
                  <a:pt x="6313830" y="5889995"/>
                  <a:pt x="6319421" y="5884271"/>
                </a:cubicBezTo>
                <a:cubicBezTo>
                  <a:pt x="6325013" y="5878547"/>
                  <a:pt x="6332201" y="5875752"/>
                  <a:pt x="6341253" y="5875752"/>
                </a:cubicBezTo>
                <a:close/>
                <a:moveTo>
                  <a:pt x="6123608" y="5875752"/>
                </a:moveTo>
                <a:cubicBezTo>
                  <a:pt x="6127867" y="5875752"/>
                  <a:pt x="6131728" y="5876551"/>
                  <a:pt x="6135322" y="5878281"/>
                </a:cubicBezTo>
                <a:cubicBezTo>
                  <a:pt x="6139049" y="5879879"/>
                  <a:pt x="6142111" y="5882008"/>
                  <a:pt x="6144640" y="5884671"/>
                </a:cubicBezTo>
                <a:cubicBezTo>
                  <a:pt x="6147169" y="5887200"/>
                  <a:pt x="6149299" y="5890394"/>
                  <a:pt x="6150763" y="5893989"/>
                </a:cubicBezTo>
                <a:cubicBezTo>
                  <a:pt x="6152228" y="5897583"/>
                  <a:pt x="6153026" y="5901443"/>
                  <a:pt x="6153026" y="5905437"/>
                </a:cubicBezTo>
                <a:cubicBezTo>
                  <a:pt x="6153026" y="5909563"/>
                  <a:pt x="6152228" y="5913557"/>
                  <a:pt x="6150763" y="5917152"/>
                </a:cubicBezTo>
                <a:cubicBezTo>
                  <a:pt x="6149299" y="5920746"/>
                  <a:pt x="6147169" y="5923808"/>
                  <a:pt x="6144640" y="5926470"/>
                </a:cubicBezTo>
                <a:cubicBezTo>
                  <a:pt x="6141977" y="5929132"/>
                  <a:pt x="6138916" y="5931262"/>
                  <a:pt x="6135322" y="5932727"/>
                </a:cubicBezTo>
                <a:cubicBezTo>
                  <a:pt x="6131728" y="5934191"/>
                  <a:pt x="6127867" y="5934989"/>
                  <a:pt x="6123608" y="5934989"/>
                </a:cubicBezTo>
                <a:cubicBezTo>
                  <a:pt x="6114689" y="5934989"/>
                  <a:pt x="6107367" y="5932061"/>
                  <a:pt x="6101775" y="5926470"/>
                </a:cubicBezTo>
                <a:cubicBezTo>
                  <a:pt x="6096184" y="5920879"/>
                  <a:pt x="6093389" y="5913823"/>
                  <a:pt x="6093389" y="5905304"/>
                </a:cubicBezTo>
                <a:cubicBezTo>
                  <a:pt x="6093389" y="5897050"/>
                  <a:pt x="6096184" y="5889995"/>
                  <a:pt x="6101775" y="5884271"/>
                </a:cubicBezTo>
                <a:cubicBezTo>
                  <a:pt x="6107367" y="5878547"/>
                  <a:pt x="6114555" y="5875752"/>
                  <a:pt x="6123608" y="5875752"/>
                </a:cubicBezTo>
                <a:close/>
                <a:moveTo>
                  <a:pt x="5905963" y="5875752"/>
                </a:moveTo>
                <a:cubicBezTo>
                  <a:pt x="5910222" y="5875752"/>
                  <a:pt x="5914216" y="5876551"/>
                  <a:pt x="5917677" y="5878281"/>
                </a:cubicBezTo>
                <a:cubicBezTo>
                  <a:pt x="5921404" y="5879879"/>
                  <a:pt x="5924466" y="5882008"/>
                  <a:pt x="5926995" y="5884671"/>
                </a:cubicBezTo>
                <a:cubicBezTo>
                  <a:pt x="5929524" y="5887200"/>
                  <a:pt x="5931654" y="5890394"/>
                  <a:pt x="5933118" y="5893989"/>
                </a:cubicBezTo>
                <a:cubicBezTo>
                  <a:pt x="5934583" y="5897583"/>
                  <a:pt x="5935381" y="5901443"/>
                  <a:pt x="5935381" y="5905437"/>
                </a:cubicBezTo>
                <a:cubicBezTo>
                  <a:pt x="5935381" y="5909563"/>
                  <a:pt x="5934583" y="5913557"/>
                  <a:pt x="5933118" y="5917152"/>
                </a:cubicBezTo>
                <a:cubicBezTo>
                  <a:pt x="5931654" y="5920746"/>
                  <a:pt x="5929524" y="5923808"/>
                  <a:pt x="5926995" y="5926470"/>
                </a:cubicBezTo>
                <a:cubicBezTo>
                  <a:pt x="5924333" y="5929132"/>
                  <a:pt x="5921271" y="5931262"/>
                  <a:pt x="5917677" y="5932727"/>
                </a:cubicBezTo>
                <a:cubicBezTo>
                  <a:pt x="5914083" y="5934191"/>
                  <a:pt x="5910222" y="5934989"/>
                  <a:pt x="5905963" y="5934989"/>
                </a:cubicBezTo>
                <a:cubicBezTo>
                  <a:pt x="5897044" y="5934989"/>
                  <a:pt x="5889722" y="5932061"/>
                  <a:pt x="5884130" y="5926470"/>
                </a:cubicBezTo>
                <a:cubicBezTo>
                  <a:pt x="5878540" y="5920879"/>
                  <a:pt x="5875744" y="5913823"/>
                  <a:pt x="5875744" y="5905304"/>
                </a:cubicBezTo>
                <a:cubicBezTo>
                  <a:pt x="5875744" y="5897050"/>
                  <a:pt x="5878540" y="5889995"/>
                  <a:pt x="5884130" y="5884271"/>
                </a:cubicBezTo>
                <a:cubicBezTo>
                  <a:pt x="5889722" y="5878547"/>
                  <a:pt x="5896910" y="5875752"/>
                  <a:pt x="5905963" y="5875752"/>
                </a:cubicBezTo>
                <a:close/>
                <a:moveTo>
                  <a:pt x="5688451" y="5875752"/>
                </a:moveTo>
                <a:cubicBezTo>
                  <a:pt x="5692577" y="5875752"/>
                  <a:pt x="5696571" y="5876551"/>
                  <a:pt x="5700165" y="5878281"/>
                </a:cubicBezTo>
                <a:cubicBezTo>
                  <a:pt x="5703892" y="5879879"/>
                  <a:pt x="5706954" y="5882008"/>
                  <a:pt x="5709483" y="5884671"/>
                </a:cubicBezTo>
                <a:cubicBezTo>
                  <a:pt x="5712012" y="5887200"/>
                  <a:pt x="5714142" y="5890394"/>
                  <a:pt x="5715606" y="5893989"/>
                </a:cubicBezTo>
                <a:cubicBezTo>
                  <a:pt x="5717071" y="5897583"/>
                  <a:pt x="5717869" y="5901443"/>
                  <a:pt x="5717869" y="5905437"/>
                </a:cubicBezTo>
                <a:cubicBezTo>
                  <a:pt x="5717869" y="5909563"/>
                  <a:pt x="5717071" y="5913557"/>
                  <a:pt x="5715606" y="5917152"/>
                </a:cubicBezTo>
                <a:cubicBezTo>
                  <a:pt x="5714142" y="5920746"/>
                  <a:pt x="5712012" y="5923808"/>
                  <a:pt x="5709483" y="5926470"/>
                </a:cubicBezTo>
                <a:cubicBezTo>
                  <a:pt x="5706820" y="5929132"/>
                  <a:pt x="5703759" y="5931262"/>
                  <a:pt x="5700165" y="5932727"/>
                </a:cubicBezTo>
                <a:cubicBezTo>
                  <a:pt x="5696571" y="5934191"/>
                  <a:pt x="5692710" y="5934989"/>
                  <a:pt x="5688451" y="5934989"/>
                </a:cubicBezTo>
                <a:cubicBezTo>
                  <a:pt x="5679532" y="5934989"/>
                  <a:pt x="5672210" y="5932061"/>
                  <a:pt x="5666618" y="5926470"/>
                </a:cubicBezTo>
                <a:cubicBezTo>
                  <a:pt x="5661028" y="5920879"/>
                  <a:pt x="5658232" y="5913823"/>
                  <a:pt x="5658232" y="5905304"/>
                </a:cubicBezTo>
                <a:cubicBezTo>
                  <a:pt x="5658232" y="5897050"/>
                  <a:pt x="5661028" y="5889995"/>
                  <a:pt x="5666618" y="5884271"/>
                </a:cubicBezTo>
                <a:cubicBezTo>
                  <a:pt x="5672210" y="5878547"/>
                  <a:pt x="5679398" y="5875752"/>
                  <a:pt x="5688451" y="5875752"/>
                </a:cubicBezTo>
                <a:close/>
                <a:moveTo>
                  <a:pt x="5470806" y="5875752"/>
                </a:moveTo>
                <a:cubicBezTo>
                  <a:pt x="5475065" y="5875752"/>
                  <a:pt x="5478926" y="5876551"/>
                  <a:pt x="5482520" y="5878281"/>
                </a:cubicBezTo>
                <a:cubicBezTo>
                  <a:pt x="5486247" y="5879879"/>
                  <a:pt x="5489309" y="5882008"/>
                  <a:pt x="5491838" y="5884671"/>
                </a:cubicBezTo>
                <a:cubicBezTo>
                  <a:pt x="5494367" y="5887200"/>
                  <a:pt x="5496497" y="5890394"/>
                  <a:pt x="5497961" y="5893989"/>
                </a:cubicBezTo>
                <a:cubicBezTo>
                  <a:pt x="5499426" y="5897583"/>
                  <a:pt x="5500224" y="5901443"/>
                  <a:pt x="5500224" y="5905437"/>
                </a:cubicBezTo>
                <a:cubicBezTo>
                  <a:pt x="5500224" y="5909563"/>
                  <a:pt x="5499426" y="5913557"/>
                  <a:pt x="5497961" y="5917152"/>
                </a:cubicBezTo>
                <a:cubicBezTo>
                  <a:pt x="5496497" y="5920746"/>
                  <a:pt x="5494367" y="5923808"/>
                  <a:pt x="5491838" y="5926470"/>
                </a:cubicBezTo>
                <a:cubicBezTo>
                  <a:pt x="5489176" y="5929132"/>
                  <a:pt x="5486114" y="5931262"/>
                  <a:pt x="5482520" y="5932727"/>
                </a:cubicBezTo>
                <a:cubicBezTo>
                  <a:pt x="5478926" y="5934191"/>
                  <a:pt x="5475065" y="5934989"/>
                  <a:pt x="5470806" y="5934989"/>
                </a:cubicBezTo>
                <a:cubicBezTo>
                  <a:pt x="5461887" y="5934989"/>
                  <a:pt x="5454565" y="5932061"/>
                  <a:pt x="5448973" y="5926470"/>
                </a:cubicBezTo>
                <a:cubicBezTo>
                  <a:pt x="5443383" y="5920879"/>
                  <a:pt x="5440587" y="5913823"/>
                  <a:pt x="5440587" y="5905304"/>
                </a:cubicBezTo>
                <a:cubicBezTo>
                  <a:pt x="5440587" y="5897050"/>
                  <a:pt x="5443383" y="5889995"/>
                  <a:pt x="5448973" y="5884271"/>
                </a:cubicBezTo>
                <a:cubicBezTo>
                  <a:pt x="5454565" y="5878547"/>
                  <a:pt x="5461754" y="5875752"/>
                  <a:pt x="5470806" y="5875752"/>
                </a:cubicBezTo>
                <a:close/>
                <a:moveTo>
                  <a:pt x="5253160" y="5875752"/>
                </a:moveTo>
                <a:cubicBezTo>
                  <a:pt x="5257420" y="5875752"/>
                  <a:pt x="5261280" y="5876551"/>
                  <a:pt x="5264875" y="5878281"/>
                </a:cubicBezTo>
                <a:cubicBezTo>
                  <a:pt x="5268602" y="5879879"/>
                  <a:pt x="5271664" y="5882008"/>
                  <a:pt x="5274192" y="5884671"/>
                </a:cubicBezTo>
                <a:cubicBezTo>
                  <a:pt x="5276722" y="5887200"/>
                  <a:pt x="5278852" y="5890394"/>
                  <a:pt x="5280316" y="5893989"/>
                </a:cubicBezTo>
                <a:cubicBezTo>
                  <a:pt x="5281780" y="5897583"/>
                  <a:pt x="5282579" y="5901443"/>
                  <a:pt x="5282579" y="5905437"/>
                </a:cubicBezTo>
                <a:cubicBezTo>
                  <a:pt x="5282579" y="5909563"/>
                  <a:pt x="5281780" y="5913557"/>
                  <a:pt x="5280316" y="5917152"/>
                </a:cubicBezTo>
                <a:cubicBezTo>
                  <a:pt x="5278852" y="5920746"/>
                  <a:pt x="5276722" y="5923808"/>
                  <a:pt x="5274192" y="5926470"/>
                </a:cubicBezTo>
                <a:cubicBezTo>
                  <a:pt x="5271664" y="5929132"/>
                  <a:pt x="5268469" y="5931262"/>
                  <a:pt x="5264875" y="5932727"/>
                </a:cubicBezTo>
                <a:cubicBezTo>
                  <a:pt x="5261280" y="5934191"/>
                  <a:pt x="5257420" y="5934989"/>
                  <a:pt x="5253160" y="5934989"/>
                </a:cubicBezTo>
                <a:cubicBezTo>
                  <a:pt x="5244241" y="5934989"/>
                  <a:pt x="5236920" y="5932061"/>
                  <a:pt x="5231328" y="5926470"/>
                </a:cubicBezTo>
                <a:cubicBezTo>
                  <a:pt x="5225737" y="5920879"/>
                  <a:pt x="5222942" y="5913823"/>
                  <a:pt x="5222942" y="5905304"/>
                </a:cubicBezTo>
                <a:cubicBezTo>
                  <a:pt x="5222942" y="5897050"/>
                  <a:pt x="5225737" y="5889995"/>
                  <a:pt x="5231328" y="5884271"/>
                </a:cubicBezTo>
                <a:cubicBezTo>
                  <a:pt x="5236920" y="5878547"/>
                  <a:pt x="5244108" y="5875752"/>
                  <a:pt x="5253160" y="5875752"/>
                </a:cubicBezTo>
                <a:close/>
                <a:moveTo>
                  <a:pt x="5035515" y="5875752"/>
                </a:moveTo>
                <a:cubicBezTo>
                  <a:pt x="5039775" y="5875752"/>
                  <a:pt x="5043636" y="5876551"/>
                  <a:pt x="5047230" y="5878281"/>
                </a:cubicBezTo>
                <a:cubicBezTo>
                  <a:pt x="5050957" y="5879879"/>
                  <a:pt x="5054019" y="5882008"/>
                  <a:pt x="5056548" y="5884671"/>
                </a:cubicBezTo>
                <a:cubicBezTo>
                  <a:pt x="5059077" y="5887200"/>
                  <a:pt x="5061207" y="5890394"/>
                  <a:pt x="5062671" y="5893989"/>
                </a:cubicBezTo>
                <a:cubicBezTo>
                  <a:pt x="5064135" y="5897583"/>
                  <a:pt x="5064934" y="5901443"/>
                  <a:pt x="5064934" y="5905437"/>
                </a:cubicBezTo>
                <a:cubicBezTo>
                  <a:pt x="5064934" y="5909563"/>
                  <a:pt x="5064135" y="5913557"/>
                  <a:pt x="5062671" y="5917152"/>
                </a:cubicBezTo>
                <a:cubicBezTo>
                  <a:pt x="5061207" y="5920746"/>
                  <a:pt x="5059077" y="5923808"/>
                  <a:pt x="5056548" y="5926470"/>
                </a:cubicBezTo>
                <a:cubicBezTo>
                  <a:pt x="5053885" y="5929132"/>
                  <a:pt x="5050824" y="5931262"/>
                  <a:pt x="5047230" y="5932727"/>
                </a:cubicBezTo>
                <a:cubicBezTo>
                  <a:pt x="5043636" y="5934191"/>
                  <a:pt x="5039775" y="5934989"/>
                  <a:pt x="5035515" y="5934989"/>
                </a:cubicBezTo>
                <a:cubicBezTo>
                  <a:pt x="5026597" y="5934989"/>
                  <a:pt x="5019275" y="5932061"/>
                  <a:pt x="5013683" y="5926470"/>
                </a:cubicBezTo>
                <a:cubicBezTo>
                  <a:pt x="5008092" y="5920879"/>
                  <a:pt x="5005297" y="5913823"/>
                  <a:pt x="5005297" y="5905304"/>
                </a:cubicBezTo>
                <a:cubicBezTo>
                  <a:pt x="5005297" y="5897050"/>
                  <a:pt x="5008092" y="5889995"/>
                  <a:pt x="5013683" y="5884271"/>
                </a:cubicBezTo>
                <a:cubicBezTo>
                  <a:pt x="5019275" y="5878547"/>
                  <a:pt x="5026463" y="5875752"/>
                  <a:pt x="5035515" y="5875752"/>
                </a:cubicBezTo>
                <a:close/>
                <a:moveTo>
                  <a:pt x="4817870" y="5875752"/>
                </a:moveTo>
                <a:cubicBezTo>
                  <a:pt x="4822130" y="5875752"/>
                  <a:pt x="4826124" y="5876551"/>
                  <a:pt x="4829585" y="5878281"/>
                </a:cubicBezTo>
                <a:cubicBezTo>
                  <a:pt x="4833312" y="5879879"/>
                  <a:pt x="4836374" y="5882008"/>
                  <a:pt x="4838903" y="5884671"/>
                </a:cubicBezTo>
                <a:cubicBezTo>
                  <a:pt x="4841432" y="5887200"/>
                  <a:pt x="4843562" y="5890394"/>
                  <a:pt x="4845026" y="5893989"/>
                </a:cubicBezTo>
                <a:cubicBezTo>
                  <a:pt x="4846491" y="5897583"/>
                  <a:pt x="4847289" y="5901443"/>
                  <a:pt x="4847289" y="5905437"/>
                </a:cubicBezTo>
                <a:cubicBezTo>
                  <a:pt x="4847289" y="5909563"/>
                  <a:pt x="4846491" y="5913557"/>
                  <a:pt x="4845026" y="5917152"/>
                </a:cubicBezTo>
                <a:cubicBezTo>
                  <a:pt x="4843562" y="5920746"/>
                  <a:pt x="4841432" y="5923808"/>
                  <a:pt x="4838903" y="5926470"/>
                </a:cubicBezTo>
                <a:cubicBezTo>
                  <a:pt x="4836240" y="5929132"/>
                  <a:pt x="4833179" y="5931262"/>
                  <a:pt x="4829585" y="5932727"/>
                </a:cubicBezTo>
                <a:cubicBezTo>
                  <a:pt x="4825991" y="5934191"/>
                  <a:pt x="4822130" y="5934989"/>
                  <a:pt x="4817870" y="5934989"/>
                </a:cubicBezTo>
                <a:cubicBezTo>
                  <a:pt x="4808952" y="5934989"/>
                  <a:pt x="4801630" y="5932061"/>
                  <a:pt x="4796038" y="5926470"/>
                </a:cubicBezTo>
                <a:cubicBezTo>
                  <a:pt x="4790447" y="5920879"/>
                  <a:pt x="4787652" y="5913823"/>
                  <a:pt x="4787652" y="5905304"/>
                </a:cubicBezTo>
                <a:cubicBezTo>
                  <a:pt x="4787652" y="5897050"/>
                  <a:pt x="4790447" y="5889995"/>
                  <a:pt x="4796038" y="5884271"/>
                </a:cubicBezTo>
                <a:cubicBezTo>
                  <a:pt x="4801630" y="5878547"/>
                  <a:pt x="4808818" y="5875752"/>
                  <a:pt x="4817870" y="5875752"/>
                </a:cubicBezTo>
                <a:close/>
                <a:moveTo>
                  <a:pt x="4600226" y="5875752"/>
                </a:moveTo>
                <a:cubicBezTo>
                  <a:pt x="4604485" y="5875752"/>
                  <a:pt x="4608479" y="5876551"/>
                  <a:pt x="4612073" y="5878281"/>
                </a:cubicBezTo>
                <a:cubicBezTo>
                  <a:pt x="4615800" y="5879879"/>
                  <a:pt x="4618862" y="5882008"/>
                  <a:pt x="4621391" y="5884671"/>
                </a:cubicBezTo>
                <a:cubicBezTo>
                  <a:pt x="4623920" y="5887200"/>
                  <a:pt x="4626050" y="5890394"/>
                  <a:pt x="4627514" y="5893989"/>
                </a:cubicBezTo>
                <a:cubicBezTo>
                  <a:pt x="4628978" y="5897583"/>
                  <a:pt x="4629777" y="5901443"/>
                  <a:pt x="4629777" y="5905437"/>
                </a:cubicBezTo>
                <a:cubicBezTo>
                  <a:pt x="4629777" y="5909563"/>
                  <a:pt x="4628978" y="5913557"/>
                  <a:pt x="4627514" y="5917152"/>
                </a:cubicBezTo>
                <a:cubicBezTo>
                  <a:pt x="4626050" y="5920746"/>
                  <a:pt x="4623920" y="5923808"/>
                  <a:pt x="4621391" y="5926470"/>
                </a:cubicBezTo>
                <a:cubicBezTo>
                  <a:pt x="4618729" y="5929132"/>
                  <a:pt x="4615667" y="5931262"/>
                  <a:pt x="4612073" y="5932727"/>
                </a:cubicBezTo>
                <a:cubicBezTo>
                  <a:pt x="4608346" y="5934191"/>
                  <a:pt x="4604485" y="5934989"/>
                  <a:pt x="4600226" y="5934989"/>
                </a:cubicBezTo>
                <a:cubicBezTo>
                  <a:pt x="4591173" y="5934989"/>
                  <a:pt x="4583985" y="5932061"/>
                  <a:pt x="4578393" y="5926470"/>
                </a:cubicBezTo>
                <a:cubicBezTo>
                  <a:pt x="4572803" y="5920879"/>
                  <a:pt x="4570007" y="5913823"/>
                  <a:pt x="4570007" y="5905304"/>
                </a:cubicBezTo>
                <a:cubicBezTo>
                  <a:pt x="4570007" y="5897050"/>
                  <a:pt x="4572803" y="5889995"/>
                  <a:pt x="4578393" y="5884271"/>
                </a:cubicBezTo>
                <a:cubicBezTo>
                  <a:pt x="4583985" y="5878547"/>
                  <a:pt x="4591173" y="5875752"/>
                  <a:pt x="4600226" y="5875752"/>
                </a:cubicBezTo>
                <a:close/>
                <a:moveTo>
                  <a:pt x="4382713" y="5875752"/>
                </a:moveTo>
                <a:cubicBezTo>
                  <a:pt x="4386840" y="5875752"/>
                  <a:pt x="4390834" y="5876551"/>
                  <a:pt x="4394428" y="5878281"/>
                </a:cubicBezTo>
                <a:cubicBezTo>
                  <a:pt x="4398155" y="5879879"/>
                  <a:pt x="4401217" y="5882008"/>
                  <a:pt x="4403746" y="5884671"/>
                </a:cubicBezTo>
                <a:cubicBezTo>
                  <a:pt x="4406275" y="5887200"/>
                  <a:pt x="4408405" y="5890394"/>
                  <a:pt x="4409869" y="5893989"/>
                </a:cubicBezTo>
                <a:cubicBezTo>
                  <a:pt x="4411334" y="5897583"/>
                  <a:pt x="4412132" y="5901443"/>
                  <a:pt x="4412132" y="5905437"/>
                </a:cubicBezTo>
                <a:cubicBezTo>
                  <a:pt x="4412132" y="5909563"/>
                  <a:pt x="4411334" y="5913557"/>
                  <a:pt x="4409869" y="5917152"/>
                </a:cubicBezTo>
                <a:cubicBezTo>
                  <a:pt x="4408405" y="5920746"/>
                  <a:pt x="4406275" y="5923808"/>
                  <a:pt x="4403746" y="5926470"/>
                </a:cubicBezTo>
                <a:cubicBezTo>
                  <a:pt x="4401083" y="5929132"/>
                  <a:pt x="4398022" y="5931262"/>
                  <a:pt x="4394428" y="5932727"/>
                </a:cubicBezTo>
                <a:cubicBezTo>
                  <a:pt x="4390834" y="5934191"/>
                  <a:pt x="4386973" y="5934989"/>
                  <a:pt x="4382713" y="5934989"/>
                </a:cubicBezTo>
                <a:cubicBezTo>
                  <a:pt x="4373661" y="5934989"/>
                  <a:pt x="4366473" y="5932061"/>
                  <a:pt x="4360881" y="5926470"/>
                </a:cubicBezTo>
                <a:cubicBezTo>
                  <a:pt x="4355290" y="5920879"/>
                  <a:pt x="4352495" y="5913823"/>
                  <a:pt x="4352495" y="5905304"/>
                </a:cubicBezTo>
                <a:cubicBezTo>
                  <a:pt x="4352495" y="5897050"/>
                  <a:pt x="4355290" y="5889995"/>
                  <a:pt x="4360881" y="5884271"/>
                </a:cubicBezTo>
                <a:cubicBezTo>
                  <a:pt x="4366473" y="5878547"/>
                  <a:pt x="4373661" y="5875752"/>
                  <a:pt x="4382713" y="5875752"/>
                </a:cubicBezTo>
                <a:close/>
                <a:moveTo>
                  <a:pt x="4165068" y="5875752"/>
                </a:moveTo>
                <a:cubicBezTo>
                  <a:pt x="4169327" y="5875752"/>
                  <a:pt x="4173188" y="5876551"/>
                  <a:pt x="4176782" y="5878281"/>
                </a:cubicBezTo>
                <a:cubicBezTo>
                  <a:pt x="4180509" y="5879879"/>
                  <a:pt x="4183571" y="5882008"/>
                  <a:pt x="4186100" y="5884671"/>
                </a:cubicBezTo>
                <a:cubicBezTo>
                  <a:pt x="4188629" y="5887200"/>
                  <a:pt x="4190759" y="5890394"/>
                  <a:pt x="4192223" y="5893989"/>
                </a:cubicBezTo>
                <a:cubicBezTo>
                  <a:pt x="4193688" y="5897583"/>
                  <a:pt x="4194486" y="5901443"/>
                  <a:pt x="4194486" y="5905437"/>
                </a:cubicBezTo>
                <a:cubicBezTo>
                  <a:pt x="4194486" y="5909563"/>
                  <a:pt x="4193688" y="5913557"/>
                  <a:pt x="4192223" y="5917152"/>
                </a:cubicBezTo>
                <a:cubicBezTo>
                  <a:pt x="4190759" y="5920746"/>
                  <a:pt x="4188629" y="5923808"/>
                  <a:pt x="4186100" y="5926470"/>
                </a:cubicBezTo>
                <a:cubicBezTo>
                  <a:pt x="4183438" y="5929132"/>
                  <a:pt x="4180376" y="5931262"/>
                  <a:pt x="4176782" y="5932727"/>
                </a:cubicBezTo>
                <a:cubicBezTo>
                  <a:pt x="4173188" y="5934191"/>
                  <a:pt x="4169327" y="5934989"/>
                  <a:pt x="4165068" y="5934989"/>
                </a:cubicBezTo>
                <a:cubicBezTo>
                  <a:pt x="4156015" y="5934989"/>
                  <a:pt x="4148827" y="5932061"/>
                  <a:pt x="4143235" y="5926470"/>
                </a:cubicBezTo>
                <a:cubicBezTo>
                  <a:pt x="4137645" y="5920879"/>
                  <a:pt x="4134849" y="5913823"/>
                  <a:pt x="4134849" y="5905304"/>
                </a:cubicBezTo>
                <a:cubicBezTo>
                  <a:pt x="4134849" y="5897050"/>
                  <a:pt x="4137645" y="5889995"/>
                  <a:pt x="4143235" y="5884271"/>
                </a:cubicBezTo>
                <a:cubicBezTo>
                  <a:pt x="4148827" y="5878547"/>
                  <a:pt x="4156015" y="5875752"/>
                  <a:pt x="4165068" y="5875752"/>
                </a:cubicBezTo>
                <a:close/>
                <a:moveTo>
                  <a:pt x="3947744" y="5875752"/>
                </a:moveTo>
                <a:cubicBezTo>
                  <a:pt x="3952006" y="5875752"/>
                  <a:pt x="3955867" y="5876551"/>
                  <a:pt x="3959463" y="5878281"/>
                </a:cubicBezTo>
                <a:cubicBezTo>
                  <a:pt x="3963191" y="5879879"/>
                  <a:pt x="3966251" y="5882008"/>
                  <a:pt x="3968781" y="5884671"/>
                </a:cubicBezTo>
                <a:cubicBezTo>
                  <a:pt x="3971311" y="5887200"/>
                  <a:pt x="3973440" y="5890394"/>
                  <a:pt x="3974904" y="5893989"/>
                </a:cubicBezTo>
                <a:cubicBezTo>
                  <a:pt x="3976369" y="5897583"/>
                  <a:pt x="3977168" y="5901443"/>
                  <a:pt x="3977168" y="5905437"/>
                </a:cubicBezTo>
                <a:cubicBezTo>
                  <a:pt x="3977168" y="5909563"/>
                  <a:pt x="3976369" y="5913557"/>
                  <a:pt x="3974904" y="5917152"/>
                </a:cubicBezTo>
                <a:cubicBezTo>
                  <a:pt x="3973440" y="5920746"/>
                  <a:pt x="3971311" y="5923808"/>
                  <a:pt x="3968781" y="5926470"/>
                </a:cubicBezTo>
                <a:cubicBezTo>
                  <a:pt x="3966119" y="5929132"/>
                  <a:pt x="3963057" y="5931262"/>
                  <a:pt x="3959463" y="5932727"/>
                </a:cubicBezTo>
                <a:cubicBezTo>
                  <a:pt x="3955867" y="5934191"/>
                  <a:pt x="3952006" y="5934989"/>
                  <a:pt x="3947744" y="5934989"/>
                </a:cubicBezTo>
                <a:cubicBezTo>
                  <a:pt x="3938691" y="5934989"/>
                  <a:pt x="3931504" y="5932061"/>
                  <a:pt x="3925911" y="5926470"/>
                </a:cubicBezTo>
                <a:cubicBezTo>
                  <a:pt x="3920320" y="5920879"/>
                  <a:pt x="3917525" y="5913823"/>
                  <a:pt x="3917525" y="5905304"/>
                </a:cubicBezTo>
                <a:cubicBezTo>
                  <a:pt x="3917525" y="5897050"/>
                  <a:pt x="3920320" y="5889995"/>
                  <a:pt x="3925911" y="5884271"/>
                </a:cubicBezTo>
                <a:cubicBezTo>
                  <a:pt x="3931504" y="5878547"/>
                  <a:pt x="3938691" y="5875752"/>
                  <a:pt x="3947744" y="5875752"/>
                </a:cubicBezTo>
                <a:close/>
                <a:moveTo>
                  <a:pt x="3730085" y="5875752"/>
                </a:moveTo>
                <a:cubicBezTo>
                  <a:pt x="3734346" y="5875752"/>
                  <a:pt x="3738338" y="5876551"/>
                  <a:pt x="3741800" y="5878281"/>
                </a:cubicBezTo>
                <a:cubicBezTo>
                  <a:pt x="3745395" y="5879879"/>
                  <a:pt x="3748590" y="5882008"/>
                  <a:pt x="3751119" y="5884671"/>
                </a:cubicBezTo>
                <a:cubicBezTo>
                  <a:pt x="3753648" y="5887200"/>
                  <a:pt x="3755778" y="5890394"/>
                  <a:pt x="3757242" y="5893989"/>
                </a:cubicBezTo>
                <a:cubicBezTo>
                  <a:pt x="3758706" y="5897583"/>
                  <a:pt x="3759505" y="5901443"/>
                  <a:pt x="3759505" y="5905437"/>
                </a:cubicBezTo>
                <a:cubicBezTo>
                  <a:pt x="3759505" y="5909563"/>
                  <a:pt x="3758706" y="5913557"/>
                  <a:pt x="3757242" y="5917152"/>
                </a:cubicBezTo>
                <a:cubicBezTo>
                  <a:pt x="3755778" y="5920746"/>
                  <a:pt x="3753648" y="5923808"/>
                  <a:pt x="3751119" y="5926470"/>
                </a:cubicBezTo>
                <a:cubicBezTo>
                  <a:pt x="3748456" y="5929132"/>
                  <a:pt x="3745395" y="5931262"/>
                  <a:pt x="3741800" y="5932727"/>
                </a:cubicBezTo>
                <a:cubicBezTo>
                  <a:pt x="3738207" y="5934191"/>
                  <a:pt x="3734346" y="5934989"/>
                  <a:pt x="3730085" y="5934989"/>
                </a:cubicBezTo>
                <a:cubicBezTo>
                  <a:pt x="3721033" y="5934989"/>
                  <a:pt x="3713843" y="5932061"/>
                  <a:pt x="3708244" y="5926470"/>
                </a:cubicBezTo>
                <a:cubicBezTo>
                  <a:pt x="3702651" y="5920879"/>
                  <a:pt x="3699858" y="5913823"/>
                  <a:pt x="3699858" y="5905304"/>
                </a:cubicBezTo>
                <a:cubicBezTo>
                  <a:pt x="3699858" y="5897050"/>
                  <a:pt x="3702651" y="5889995"/>
                  <a:pt x="3708244" y="5884271"/>
                </a:cubicBezTo>
                <a:cubicBezTo>
                  <a:pt x="3713843" y="5878547"/>
                  <a:pt x="3721033" y="5875752"/>
                  <a:pt x="3730085" y="5875752"/>
                </a:cubicBezTo>
                <a:close/>
                <a:moveTo>
                  <a:pt x="3512423" y="5875752"/>
                </a:moveTo>
                <a:cubicBezTo>
                  <a:pt x="3516684" y="5875752"/>
                  <a:pt x="3520677" y="5876551"/>
                  <a:pt x="3524139" y="5878281"/>
                </a:cubicBezTo>
                <a:cubicBezTo>
                  <a:pt x="3527732" y="5879879"/>
                  <a:pt x="3530928" y="5882008"/>
                  <a:pt x="3533457" y="5884671"/>
                </a:cubicBezTo>
                <a:cubicBezTo>
                  <a:pt x="3535986" y="5887200"/>
                  <a:pt x="3538116" y="5890394"/>
                  <a:pt x="3539580" y="5893989"/>
                </a:cubicBezTo>
                <a:cubicBezTo>
                  <a:pt x="3541044" y="5897583"/>
                  <a:pt x="3541843" y="5901443"/>
                  <a:pt x="3541843" y="5905437"/>
                </a:cubicBezTo>
                <a:cubicBezTo>
                  <a:pt x="3541843" y="5909563"/>
                  <a:pt x="3541044" y="5913557"/>
                  <a:pt x="3539580" y="5917152"/>
                </a:cubicBezTo>
                <a:cubicBezTo>
                  <a:pt x="3538116" y="5920746"/>
                  <a:pt x="3535986" y="5923808"/>
                  <a:pt x="3533457" y="5926470"/>
                </a:cubicBezTo>
                <a:cubicBezTo>
                  <a:pt x="3530794" y="5929132"/>
                  <a:pt x="3527732" y="5931262"/>
                  <a:pt x="3524139" y="5932727"/>
                </a:cubicBezTo>
                <a:cubicBezTo>
                  <a:pt x="3520545" y="5934191"/>
                  <a:pt x="3516684" y="5934989"/>
                  <a:pt x="3512423" y="5934989"/>
                </a:cubicBezTo>
                <a:cubicBezTo>
                  <a:pt x="3503367" y="5934989"/>
                  <a:pt x="3496177" y="5932061"/>
                  <a:pt x="3490586" y="5926470"/>
                </a:cubicBezTo>
                <a:cubicBezTo>
                  <a:pt x="3484995" y="5920879"/>
                  <a:pt x="3482199" y="5913823"/>
                  <a:pt x="3482199" y="5905304"/>
                </a:cubicBezTo>
                <a:cubicBezTo>
                  <a:pt x="3482199" y="5897050"/>
                  <a:pt x="3484995" y="5889995"/>
                  <a:pt x="3490586" y="5884271"/>
                </a:cubicBezTo>
                <a:cubicBezTo>
                  <a:pt x="3496177" y="5878547"/>
                  <a:pt x="3503367" y="5875752"/>
                  <a:pt x="3512423" y="5875752"/>
                </a:cubicBezTo>
                <a:close/>
                <a:moveTo>
                  <a:pt x="3294894" y="5875752"/>
                </a:moveTo>
                <a:cubicBezTo>
                  <a:pt x="3299021" y="5875752"/>
                  <a:pt x="3303016" y="5876551"/>
                  <a:pt x="3306610" y="5878281"/>
                </a:cubicBezTo>
                <a:cubicBezTo>
                  <a:pt x="3310337" y="5879879"/>
                  <a:pt x="3313399" y="5882008"/>
                  <a:pt x="3315928" y="5884671"/>
                </a:cubicBezTo>
                <a:cubicBezTo>
                  <a:pt x="3318457" y="5887200"/>
                  <a:pt x="3320587" y="5890394"/>
                  <a:pt x="3322051" y="5893989"/>
                </a:cubicBezTo>
                <a:cubicBezTo>
                  <a:pt x="3323515" y="5897583"/>
                  <a:pt x="3324314" y="5901443"/>
                  <a:pt x="3324314" y="5905437"/>
                </a:cubicBezTo>
                <a:cubicBezTo>
                  <a:pt x="3324314" y="5909563"/>
                  <a:pt x="3323515" y="5913557"/>
                  <a:pt x="3322051" y="5917152"/>
                </a:cubicBezTo>
                <a:cubicBezTo>
                  <a:pt x="3320587" y="5920746"/>
                  <a:pt x="3318457" y="5923808"/>
                  <a:pt x="3315928" y="5926470"/>
                </a:cubicBezTo>
                <a:cubicBezTo>
                  <a:pt x="3313265" y="5929132"/>
                  <a:pt x="3310203" y="5931262"/>
                  <a:pt x="3306610" y="5932727"/>
                </a:cubicBezTo>
                <a:cubicBezTo>
                  <a:pt x="3303016" y="5934191"/>
                  <a:pt x="3299155" y="5934989"/>
                  <a:pt x="3294894" y="5934989"/>
                </a:cubicBezTo>
                <a:cubicBezTo>
                  <a:pt x="3285839" y="5934989"/>
                  <a:pt x="3278650" y="5932061"/>
                  <a:pt x="3273056" y="5926470"/>
                </a:cubicBezTo>
                <a:cubicBezTo>
                  <a:pt x="3267463" y="5920879"/>
                  <a:pt x="3264667" y="5913823"/>
                  <a:pt x="3264667" y="5905304"/>
                </a:cubicBezTo>
                <a:cubicBezTo>
                  <a:pt x="3264667" y="5897050"/>
                  <a:pt x="3267463" y="5889995"/>
                  <a:pt x="3273056" y="5884271"/>
                </a:cubicBezTo>
                <a:cubicBezTo>
                  <a:pt x="3278650" y="5878547"/>
                  <a:pt x="3285839" y="5875752"/>
                  <a:pt x="3294894" y="5875752"/>
                </a:cubicBezTo>
                <a:close/>
                <a:moveTo>
                  <a:pt x="3077232" y="5875752"/>
                </a:moveTo>
                <a:cubicBezTo>
                  <a:pt x="3081360" y="5875752"/>
                  <a:pt x="3085354" y="5876551"/>
                  <a:pt x="3088948" y="5878281"/>
                </a:cubicBezTo>
                <a:cubicBezTo>
                  <a:pt x="3092542" y="5879879"/>
                  <a:pt x="3095737" y="5882008"/>
                  <a:pt x="3098266" y="5884671"/>
                </a:cubicBezTo>
                <a:cubicBezTo>
                  <a:pt x="3100795" y="5887200"/>
                  <a:pt x="3102925" y="5890394"/>
                  <a:pt x="3104389" y="5893989"/>
                </a:cubicBezTo>
                <a:cubicBezTo>
                  <a:pt x="3105854" y="5897583"/>
                  <a:pt x="3106652" y="5901443"/>
                  <a:pt x="3106652" y="5905437"/>
                </a:cubicBezTo>
                <a:cubicBezTo>
                  <a:pt x="3106652" y="5909563"/>
                  <a:pt x="3105854" y="5913557"/>
                  <a:pt x="3104389" y="5917152"/>
                </a:cubicBezTo>
                <a:cubicBezTo>
                  <a:pt x="3102925" y="5920746"/>
                  <a:pt x="3100795" y="5923808"/>
                  <a:pt x="3098266" y="5926470"/>
                </a:cubicBezTo>
                <a:cubicBezTo>
                  <a:pt x="3095603" y="5929132"/>
                  <a:pt x="3092542" y="5931262"/>
                  <a:pt x="3088948" y="5932727"/>
                </a:cubicBezTo>
                <a:cubicBezTo>
                  <a:pt x="3085354" y="5934191"/>
                  <a:pt x="3081493" y="5934989"/>
                  <a:pt x="3077232" y="5934989"/>
                </a:cubicBezTo>
                <a:cubicBezTo>
                  <a:pt x="3068312" y="5934989"/>
                  <a:pt x="3060988" y="5932061"/>
                  <a:pt x="3055393" y="5926470"/>
                </a:cubicBezTo>
                <a:cubicBezTo>
                  <a:pt x="3049803" y="5920879"/>
                  <a:pt x="3047007" y="5913823"/>
                  <a:pt x="3047007" y="5905304"/>
                </a:cubicBezTo>
                <a:cubicBezTo>
                  <a:pt x="3047007" y="5897050"/>
                  <a:pt x="3049803" y="5889995"/>
                  <a:pt x="3055393" y="5884271"/>
                </a:cubicBezTo>
                <a:cubicBezTo>
                  <a:pt x="3060988" y="5878547"/>
                  <a:pt x="3068179" y="5875752"/>
                  <a:pt x="3077232" y="5875752"/>
                </a:cubicBezTo>
                <a:close/>
                <a:moveTo>
                  <a:pt x="2859571" y="5875752"/>
                </a:moveTo>
                <a:cubicBezTo>
                  <a:pt x="2863831" y="5875752"/>
                  <a:pt x="2867692" y="5876551"/>
                  <a:pt x="2871419" y="5878281"/>
                </a:cubicBezTo>
                <a:cubicBezTo>
                  <a:pt x="2875146" y="5879879"/>
                  <a:pt x="2878208" y="5882008"/>
                  <a:pt x="2880737" y="5884671"/>
                </a:cubicBezTo>
                <a:cubicBezTo>
                  <a:pt x="2883399" y="5887200"/>
                  <a:pt x="2885396" y="5890394"/>
                  <a:pt x="2886860" y="5893989"/>
                </a:cubicBezTo>
                <a:cubicBezTo>
                  <a:pt x="2888325" y="5897583"/>
                  <a:pt x="2889123" y="5901443"/>
                  <a:pt x="2889123" y="5905437"/>
                </a:cubicBezTo>
                <a:cubicBezTo>
                  <a:pt x="2889123" y="5909563"/>
                  <a:pt x="2888325" y="5913557"/>
                  <a:pt x="2886860" y="5917152"/>
                </a:cubicBezTo>
                <a:cubicBezTo>
                  <a:pt x="2885396" y="5920746"/>
                  <a:pt x="2883266" y="5923808"/>
                  <a:pt x="2880737" y="5926470"/>
                </a:cubicBezTo>
                <a:cubicBezTo>
                  <a:pt x="2878075" y="5929132"/>
                  <a:pt x="2875012" y="5931262"/>
                  <a:pt x="2871419" y="5932727"/>
                </a:cubicBezTo>
                <a:cubicBezTo>
                  <a:pt x="2867692" y="5934191"/>
                  <a:pt x="2863831" y="5934989"/>
                  <a:pt x="2859571" y="5934989"/>
                </a:cubicBezTo>
                <a:cubicBezTo>
                  <a:pt x="2850653" y="5934989"/>
                  <a:pt x="2843325" y="5932061"/>
                  <a:pt x="2837732" y="5926470"/>
                </a:cubicBezTo>
                <a:cubicBezTo>
                  <a:pt x="2832141" y="5920879"/>
                  <a:pt x="2829344" y="5913823"/>
                  <a:pt x="2829344" y="5905304"/>
                </a:cubicBezTo>
                <a:cubicBezTo>
                  <a:pt x="2829344" y="5897050"/>
                  <a:pt x="2832141" y="5889995"/>
                  <a:pt x="2837732" y="5884271"/>
                </a:cubicBezTo>
                <a:cubicBezTo>
                  <a:pt x="2843325" y="5878547"/>
                  <a:pt x="2850519" y="5875752"/>
                  <a:pt x="2859571" y="5875752"/>
                </a:cubicBezTo>
                <a:close/>
                <a:moveTo>
                  <a:pt x="2641908" y="5875752"/>
                </a:moveTo>
                <a:cubicBezTo>
                  <a:pt x="2646169" y="5875752"/>
                  <a:pt x="2650028" y="5876551"/>
                  <a:pt x="2653624" y="5878281"/>
                </a:cubicBezTo>
                <a:cubicBezTo>
                  <a:pt x="2657351" y="5879879"/>
                  <a:pt x="2660413" y="5882008"/>
                  <a:pt x="2662942" y="5884671"/>
                </a:cubicBezTo>
                <a:cubicBezTo>
                  <a:pt x="2665604" y="5887200"/>
                  <a:pt x="2667601" y="5890394"/>
                  <a:pt x="2669065" y="5893989"/>
                </a:cubicBezTo>
                <a:cubicBezTo>
                  <a:pt x="2670529" y="5897583"/>
                  <a:pt x="2671328" y="5901443"/>
                  <a:pt x="2671328" y="5905437"/>
                </a:cubicBezTo>
                <a:cubicBezTo>
                  <a:pt x="2671328" y="5909563"/>
                  <a:pt x="2670529" y="5913557"/>
                  <a:pt x="2669065" y="5917152"/>
                </a:cubicBezTo>
                <a:cubicBezTo>
                  <a:pt x="2667601" y="5920746"/>
                  <a:pt x="2665471" y="5923808"/>
                  <a:pt x="2662942" y="5926470"/>
                </a:cubicBezTo>
                <a:cubicBezTo>
                  <a:pt x="2660413" y="5929132"/>
                  <a:pt x="2657217" y="5931262"/>
                  <a:pt x="2653624" y="5932727"/>
                </a:cubicBezTo>
                <a:cubicBezTo>
                  <a:pt x="2650028" y="5934191"/>
                  <a:pt x="2646169" y="5934989"/>
                  <a:pt x="2641908" y="5934989"/>
                </a:cubicBezTo>
                <a:cubicBezTo>
                  <a:pt x="2632989" y="5934989"/>
                  <a:pt x="2625667" y="5932061"/>
                  <a:pt x="2620075" y="5926470"/>
                </a:cubicBezTo>
                <a:cubicBezTo>
                  <a:pt x="2614483" y="5920879"/>
                  <a:pt x="2611685" y="5913823"/>
                  <a:pt x="2611685" y="5905304"/>
                </a:cubicBezTo>
                <a:cubicBezTo>
                  <a:pt x="2611685" y="5897050"/>
                  <a:pt x="2614483" y="5889995"/>
                  <a:pt x="2620075" y="5884271"/>
                </a:cubicBezTo>
                <a:cubicBezTo>
                  <a:pt x="2625667" y="5878547"/>
                  <a:pt x="2632856" y="5875752"/>
                  <a:pt x="2641908" y="5875752"/>
                </a:cubicBezTo>
                <a:close/>
                <a:moveTo>
                  <a:pt x="2424246" y="5875752"/>
                </a:moveTo>
                <a:cubicBezTo>
                  <a:pt x="2428507" y="5875752"/>
                  <a:pt x="2432501" y="5876551"/>
                  <a:pt x="2435962" y="5878281"/>
                </a:cubicBezTo>
                <a:cubicBezTo>
                  <a:pt x="2439689" y="5879879"/>
                  <a:pt x="2442751" y="5882008"/>
                  <a:pt x="2445280" y="5884671"/>
                </a:cubicBezTo>
                <a:cubicBezTo>
                  <a:pt x="2447942" y="5887200"/>
                  <a:pt x="2449939" y="5890394"/>
                  <a:pt x="2451403" y="5893989"/>
                </a:cubicBezTo>
                <a:cubicBezTo>
                  <a:pt x="2452867" y="5897583"/>
                  <a:pt x="2453666" y="5901443"/>
                  <a:pt x="2453666" y="5905437"/>
                </a:cubicBezTo>
                <a:cubicBezTo>
                  <a:pt x="2453666" y="5909563"/>
                  <a:pt x="2452867" y="5913557"/>
                  <a:pt x="2451403" y="5917152"/>
                </a:cubicBezTo>
                <a:cubicBezTo>
                  <a:pt x="2449939" y="5920746"/>
                  <a:pt x="2447809" y="5923808"/>
                  <a:pt x="2445280" y="5926470"/>
                </a:cubicBezTo>
                <a:cubicBezTo>
                  <a:pt x="2442751" y="5929132"/>
                  <a:pt x="2439556" y="5931262"/>
                  <a:pt x="2435962" y="5932727"/>
                </a:cubicBezTo>
                <a:cubicBezTo>
                  <a:pt x="2432367" y="5934191"/>
                  <a:pt x="2428507" y="5934989"/>
                  <a:pt x="2424246" y="5934989"/>
                </a:cubicBezTo>
                <a:cubicBezTo>
                  <a:pt x="2415328" y="5934989"/>
                  <a:pt x="2408006" y="5932061"/>
                  <a:pt x="2402414" y="5926470"/>
                </a:cubicBezTo>
                <a:cubicBezTo>
                  <a:pt x="2396821" y="5920879"/>
                  <a:pt x="2394025" y="5913823"/>
                  <a:pt x="2394025" y="5905304"/>
                </a:cubicBezTo>
                <a:cubicBezTo>
                  <a:pt x="2394025" y="5897050"/>
                  <a:pt x="2396821" y="5889995"/>
                  <a:pt x="2402414" y="5884271"/>
                </a:cubicBezTo>
                <a:cubicBezTo>
                  <a:pt x="2408006" y="5878547"/>
                  <a:pt x="2415194" y="5875752"/>
                  <a:pt x="2424246" y="5875752"/>
                </a:cubicBezTo>
                <a:close/>
                <a:moveTo>
                  <a:pt x="2206585" y="5875752"/>
                </a:moveTo>
                <a:cubicBezTo>
                  <a:pt x="2210844" y="5875752"/>
                  <a:pt x="2214839" y="5876551"/>
                  <a:pt x="2218299" y="5878281"/>
                </a:cubicBezTo>
                <a:cubicBezTo>
                  <a:pt x="2222026" y="5879879"/>
                  <a:pt x="2225088" y="5882008"/>
                  <a:pt x="2227618" y="5884671"/>
                </a:cubicBezTo>
                <a:cubicBezTo>
                  <a:pt x="2230280" y="5887200"/>
                  <a:pt x="2232277" y="5890394"/>
                  <a:pt x="2233741" y="5893989"/>
                </a:cubicBezTo>
                <a:cubicBezTo>
                  <a:pt x="2235205" y="5897583"/>
                  <a:pt x="2236004" y="5901443"/>
                  <a:pt x="2236004" y="5905437"/>
                </a:cubicBezTo>
                <a:cubicBezTo>
                  <a:pt x="2236004" y="5909563"/>
                  <a:pt x="2235205" y="5913557"/>
                  <a:pt x="2233741" y="5917152"/>
                </a:cubicBezTo>
                <a:cubicBezTo>
                  <a:pt x="2232277" y="5920746"/>
                  <a:pt x="2230147" y="5923808"/>
                  <a:pt x="2227618" y="5926470"/>
                </a:cubicBezTo>
                <a:cubicBezTo>
                  <a:pt x="2225088" y="5929132"/>
                  <a:pt x="2221894" y="5931262"/>
                  <a:pt x="2218299" y="5932727"/>
                </a:cubicBezTo>
                <a:cubicBezTo>
                  <a:pt x="2214705" y="5934191"/>
                  <a:pt x="2210844" y="5934989"/>
                  <a:pt x="2206585" y="5934989"/>
                </a:cubicBezTo>
                <a:cubicBezTo>
                  <a:pt x="2197532" y="5934989"/>
                  <a:pt x="2190344" y="5932061"/>
                  <a:pt x="2184751" y="5926470"/>
                </a:cubicBezTo>
                <a:cubicBezTo>
                  <a:pt x="2179159" y="5920879"/>
                  <a:pt x="2176363" y="5913823"/>
                  <a:pt x="2176363" y="5905304"/>
                </a:cubicBezTo>
                <a:cubicBezTo>
                  <a:pt x="2176363" y="5897050"/>
                  <a:pt x="2179159" y="5889995"/>
                  <a:pt x="2184751" y="5884271"/>
                </a:cubicBezTo>
                <a:cubicBezTo>
                  <a:pt x="2190344" y="5878547"/>
                  <a:pt x="2197532" y="5875752"/>
                  <a:pt x="2206585" y="5875752"/>
                </a:cubicBezTo>
                <a:close/>
                <a:moveTo>
                  <a:pt x="1989055" y="5875752"/>
                </a:moveTo>
                <a:cubicBezTo>
                  <a:pt x="1993182" y="5875752"/>
                  <a:pt x="1997177" y="5876551"/>
                  <a:pt x="2000771" y="5878281"/>
                </a:cubicBezTo>
                <a:cubicBezTo>
                  <a:pt x="2004498" y="5879879"/>
                  <a:pt x="2007560" y="5882008"/>
                  <a:pt x="2010089" y="5884671"/>
                </a:cubicBezTo>
                <a:cubicBezTo>
                  <a:pt x="2012750" y="5887200"/>
                  <a:pt x="2014748" y="5890394"/>
                  <a:pt x="2016212" y="5893989"/>
                </a:cubicBezTo>
                <a:cubicBezTo>
                  <a:pt x="2017676" y="5897583"/>
                  <a:pt x="2018475" y="5901443"/>
                  <a:pt x="2018475" y="5905437"/>
                </a:cubicBezTo>
                <a:cubicBezTo>
                  <a:pt x="2018475" y="5909563"/>
                  <a:pt x="2017676" y="5913557"/>
                  <a:pt x="2016212" y="5917152"/>
                </a:cubicBezTo>
                <a:cubicBezTo>
                  <a:pt x="2014748" y="5920746"/>
                  <a:pt x="2012618" y="5923808"/>
                  <a:pt x="2010089" y="5926470"/>
                </a:cubicBezTo>
                <a:cubicBezTo>
                  <a:pt x="2007560" y="5929132"/>
                  <a:pt x="2004364" y="5931262"/>
                  <a:pt x="2000771" y="5932727"/>
                </a:cubicBezTo>
                <a:cubicBezTo>
                  <a:pt x="1997177" y="5934191"/>
                  <a:pt x="1993315" y="5934989"/>
                  <a:pt x="1989055" y="5934989"/>
                </a:cubicBezTo>
                <a:cubicBezTo>
                  <a:pt x="1980004" y="5934989"/>
                  <a:pt x="1972815" y="5932061"/>
                  <a:pt x="1967224" y="5926470"/>
                </a:cubicBezTo>
                <a:cubicBezTo>
                  <a:pt x="1961634" y="5920879"/>
                  <a:pt x="1958838" y="5913823"/>
                  <a:pt x="1958838" y="5905304"/>
                </a:cubicBezTo>
                <a:cubicBezTo>
                  <a:pt x="1958838" y="5897050"/>
                  <a:pt x="1961634" y="5889995"/>
                  <a:pt x="1967224" y="5884271"/>
                </a:cubicBezTo>
                <a:cubicBezTo>
                  <a:pt x="1972815" y="5878547"/>
                  <a:pt x="1980004" y="5875752"/>
                  <a:pt x="1989055" y="5875752"/>
                </a:cubicBezTo>
                <a:close/>
                <a:moveTo>
                  <a:pt x="1771422" y="5875752"/>
                </a:moveTo>
                <a:cubicBezTo>
                  <a:pt x="1775681" y="5875752"/>
                  <a:pt x="1779541" y="5876551"/>
                  <a:pt x="1783136" y="5878281"/>
                </a:cubicBezTo>
                <a:cubicBezTo>
                  <a:pt x="1786863" y="5879879"/>
                  <a:pt x="1789925" y="5882008"/>
                  <a:pt x="1792454" y="5884671"/>
                </a:cubicBezTo>
                <a:cubicBezTo>
                  <a:pt x="1795116" y="5887200"/>
                  <a:pt x="1797113" y="5890394"/>
                  <a:pt x="1798577" y="5893989"/>
                </a:cubicBezTo>
                <a:cubicBezTo>
                  <a:pt x="1800040" y="5897583"/>
                  <a:pt x="1800839" y="5901443"/>
                  <a:pt x="1800839" y="5905437"/>
                </a:cubicBezTo>
                <a:cubicBezTo>
                  <a:pt x="1800839" y="5909563"/>
                  <a:pt x="1800040" y="5913557"/>
                  <a:pt x="1798577" y="5917152"/>
                </a:cubicBezTo>
                <a:cubicBezTo>
                  <a:pt x="1797113" y="5920746"/>
                  <a:pt x="1794983" y="5923808"/>
                  <a:pt x="1792454" y="5926470"/>
                </a:cubicBezTo>
                <a:cubicBezTo>
                  <a:pt x="1789791" y="5929132"/>
                  <a:pt x="1786730" y="5931262"/>
                  <a:pt x="1783136" y="5932727"/>
                </a:cubicBezTo>
                <a:cubicBezTo>
                  <a:pt x="1779541" y="5934191"/>
                  <a:pt x="1775681" y="5934989"/>
                  <a:pt x="1771422" y="5934989"/>
                </a:cubicBezTo>
                <a:cubicBezTo>
                  <a:pt x="1762503" y="5934989"/>
                  <a:pt x="1755184" y="5932061"/>
                  <a:pt x="1749593" y="5926470"/>
                </a:cubicBezTo>
                <a:cubicBezTo>
                  <a:pt x="1744003" y="5920879"/>
                  <a:pt x="1741210" y="5913823"/>
                  <a:pt x="1741210" y="5905304"/>
                </a:cubicBezTo>
                <a:cubicBezTo>
                  <a:pt x="1741210" y="5897050"/>
                  <a:pt x="1744003" y="5889995"/>
                  <a:pt x="1749593" y="5884271"/>
                </a:cubicBezTo>
                <a:cubicBezTo>
                  <a:pt x="1755184" y="5878547"/>
                  <a:pt x="1762370" y="5875752"/>
                  <a:pt x="1771422" y="5875752"/>
                </a:cubicBezTo>
                <a:close/>
                <a:moveTo>
                  <a:pt x="1553786" y="5875752"/>
                </a:moveTo>
                <a:cubicBezTo>
                  <a:pt x="1558045" y="5875752"/>
                  <a:pt x="1561906" y="5876551"/>
                  <a:pt x="1565500" y="5878281"/>
                </a:cubicBezTo>
                <a:cubicBezTo>
                  <a:pt x="1569095" y="5879879"/>
                  <a:pt x="1572290" y="5882008"/>
                  <a:pt x="1574819" y="5884671"/>
                </a:cubicBezTo>
                <a:cubicBezTo>
                  <a:pt x="1577481" y="5887200"/>
                  <a:pt x="1579478" y="5890394"/>
                  <a:pt x="1580942" y="5893989"/>
                </a:cubicBezTo>
                <a:cubicBezTo>
                  <a:pt x="1582406" y="5897583"/>
                  <a:pt x="1583205" y="5901443"/>
                  <a:pt x="1583205" y="5905437"/>
                </a:cubicBezTo>
                <a:cubicBezTo>
                  <a:pt x="1583205" y="5909563"/>
                  <a:pt x="1582406" y="5913557"/>
                  <a:pt x="1580942" y="5917152"/>
                </a:cubicBezTo>
                <a:cubicBezTo>
                  <a:pt x="1579478" y="5920746"/>
                  <a:pt x="1577348" y="5923808"/>
                  <a:pt x="1574819" y="5926470"/>
                </a:cubicBezTo>
                <a:cubicBezTo>
                  <a:pt x="1572157" y="5929132"/>
                  <a:pt x="1569095" y="5931262"/>
                  <a:pt x="1565500" y="5932727"/>
                </a:cubicBezTo>
                <a:cubicBezTo>
                  <a:pt x="1561906" y="5934191"/>
                  <a:pt x="1558045" y="5934989"/>
                  <a:pt x="1553786" y="5934989"/>
                </a:cubicBezTo>
                <a:cubicBezTo>
                  <a:pt x="1544868" y="5934989"/>
                  <a:pt x="1537546" y="5932061"/>
                  <a:pt x="1531956" y="5926470"/>
                </a:cubicBezTo>
                <a:cubicBezTo>
                  <a:pt x="1526367" y="5920879"/>
                  <a:pt x="1523571" y="5913823"/>
                  <a:pt x="1523571" y="5905304"/>
                </a:cubicBezTo>
                <a:cubicBezTo>
                  <a:pt x="1523571" y="5897050"/>
                  <a:pt x="1526367" y="5889995"/>
                  <a:pt x="1531956" y="5884271"/>
                </a:cubicBezTo>
                <a:cubicBezTo>
                  <a:pt x="1537546" y="5878547"/>
                  <a:pt x="1544734" y="5875752"/>
                  <a:pt x="1553786" y="5875752"/>
                </a:cubicBezTo>
                <a:close/>
                <a:moveTo>
                  <a:pt x="1336143" y="5875752"/>
                </a:moveTo>
                <a:cubicBezTo>
                  <a:pt x="1340401" y="5875752"/>
                  <a:pt x="1344397" y="5876551"/>
                  <a:pt x="1347858" y="5878281"/>
                </a:cubicBezTo>
                <a:cubicBezTo>
                  <a:pt x="1351451" y="5879879"/>
                  <a:pt x="1354647" y="5882008"/>
                  <a:pt x="1357176" y="5884671"/>
                </a:cubicBezTo>
                <a:cubicBezTo>
                  <a:pt x="1359838" y="5887200"/>
                  <a:pt x="1361835" y="5890394"/>
                  <a:pt x="1363299" y="5893989"/>
                </a:cubicBezTo>
                <a:cubicBezTo>
                  <a:pt x="1364763" y="5897583"/>
                  <a:pt x="1365561" y="5901443"/>
                  <a:pt x="1365561" y="5905437"/>
                </a:cubicBezTo>
                <a:cubicBezTo>
                  <a:pt x="1365561" y="5909563"/>
                  <a:pt x="1364763" y="5913557"/>
                  <a:pt x="1363299" y="5917152"/>
                </a:cubicBezTo>
                <a:cubicBezTo>
                  <a:pt x="1361835" y="5920746"/>
                  <a:pt x="1359705" y="5923808"/>
                  <a:pt x="1357176" y="5926470"/>
                </a:cubicBezTo>
                <a:cubicBezTo>
                  <a:pt x="1354512" y="5929132"/>
                  <a:pt x="1351451" y="5931262"/>
                  <a:pt x="1347858" y="5932727"/>
                </a:cubicBezTo>
                <a:cubicBezTo>
                  <a:pt x="1344264" y="5934191"/>
                  <a:pt x="1340401" y="5934989"/>
                  <a:pt x="1336143" y="5934989"/>
                </a:cubicBezTo>
                <a:cubicBezTo>
                  <a:pt x="1327222" y="5934989"/>
                  <a:pt x="1319901" y="5932061"/>
                  <a:pt x="1314309" y="5926470"/>
                </a:cubicBezTo>
                <a:cubicBezTo>
                  <a:pt x="1308719" y="5920879"/>
                  <a:pt x="1305924" y="5913823"/>
                  <a:pt x="1305924" y="5905304"/>
                </a:cubicBezTo>
                <a:cubicBezTo>
                  <a:pt x="1305924" y="5897050"/>
                  <a:pt x="1308719" y="5889995"/>
                  <a:pt x="1314309" y="5884271"/>
                </a:cubicBezTo>
                <a:cubicBezTo>
                  <a:pt x="1319901" y="5878547"/>
                  <a:pt x="1327089" y="5875752"/>
                  <a:pt x="1336143" y="5875752"/>
                </a:cubicBezTo>
                <a:close/>
                <a:moveTo>
                  <a:pt x="1118497" y="5875752"/>
                </a:moveTo>
                <a:cubicBezTo>
                  <a:pt x="1122758" y="5875752"/>
                  <a:pt x="1126755" y="5876551"/>
                  <a:pt x="1130215" y="5878281"/>
                </a:cubicBezTo>
                <a:cubicBezTo>
                  <a:pt x="1133942" y="5879879"/>
                  <a:pt x="1137004" y="5882008"/>
                  <a:pt x="1139529" y="5884671"/>
                </a:cubicBezTo>
                <a:cubicBezTo>
                  <a:pt x="1142190" y="5887200"/>
                  <a:pt x="1144187" y="5890394"/>
                  <a:pt x="1145649" y="5893989"/>
                </a:cubicBezTo>
                <a:cubicBezTo>
                  <a:pt x="1147114" y="5897583"/>
                  <a:pt x="1147913" y="5901443"/>
                  <a:pt x="1147913" y="5905437"/>
                </a:cubicBezTo>
                <a:cubicBezTo>
                  <a:pt x="1147913" y="5909563"/>
                  <a:pt x="1147114" y="5913557"/>
                  <a:pt x="1145649" y="5917152"/>
                </a:cubicBezTo>
                <a:cubicBezTo>
                  <a:pt x="1144187" y="5920746"/>
                  <a:pt x="1142058" y="5923808"/>
                  <a:pt x="1139529" y="5926470"/>
                </a:cubicBezTo>
                <a:cubicBezTo>
                  <a:pt x="1137004" y="5929132"/>
                  <a:pt x="1133809" y="5931262"/>
                  <a:pt x="1130215" y="5932727"/>
                </a:cubicBezTo>
                <a:cubicBezTo>
                  <a:pt x="1126619" y="5934191"/>
                  <a:pt x="1122758" y="5934989"/>
                  <a:pt x="1118497" y="5934989"/>
                </a:cubicBezTo>
                <a:cubicBezTo>
                  <a:pt x="1109577" y="5934989"/>
                  <a:pt x="1102252" y="5932061"/>
                  <a:pt x="1096662" y="5926470"/>
                </a:cubicBezTo>
                <a:cubicBezTo>
                  <a:pt x="1091072" y="5920879"/>
                  <a:pt x="1088277" y="5913823"/>
                  <a:pt x="1088277" y="5905304"/>
                </a:cubicBezTo>
                <a:cubicBezTo>
                  <a:pt x="1088277" y="5897050"/>
                  <a:pt x="1091072" y="5889995"/>
                  <a:pt x="1096662" y="5884271"/>
                </a:cubicBezTo>
                <a:cubicBezTo>
                  <a:pt x="1102252" y="5878547"/>
                  <a:pt x="1109443" y="5875752"/>
                  <a:pt x="1118497" y="5875752"/>
                </a:cubicBezTo>
                <a:close/>
                <a:moveTo>
                  <a:pt x="900984" y="5875752"/>
                </a:moveTo>
                <a:cubicBezTo>
                  <a:pt x="905111" y="5875752"/>
                  <a:pt x="909105" y="5876551"/>
                  <a:pt x="912699" y="5878281"/>
                </a:cubicBezTo>
                <a:cubicBezTo>
                  <a:pt x="916426" y="5879879"/>
                  <a:pt x="919488" y="5882008"/>
                  <a:pt x="922017" y="5884671"/>
                </a:cubicBezTo>
                <a:cubicBezTo>
                  <a:pt x="924679" y="5887200"/>
                  <a:pt x="926676" y="5890394"/>
                  <a:pt x="928139" y="5893989"/>
                </a:cubicBezTo>
                <a:cubicBezTo>
                  <a:pt x="929604" y="5897583"/>
                  <a:pt x="930402" y="5901443"/>
                  <a:pt x="930402" y="5905437"/>
                </a:cubicBezTo>
                <a:cubicBezTo>
                  <a:pt x="930402" y="5909563"/>
                  <a:pt x="929604" y="5913557"/>
                  <a:pt x="928139" y="5917152"/>
                </a:cubicBezTo>
                <a:cubicBezTo>
                  <a:pt x="926676" y="5920746"/>
                  <a:pt x="924546" y="5923808"/>
                  <a:pt x="922017" y="5926470"/>
                </a:cubicBezTo>
                <a:cubicBezTo>
                  <a:pt x="919488" y="5929132"/>
                  <a:pt x="916293" y="5931262"/>
                  <a:pt x="912699" y="5932727"/>
                </a:cubicBezTo>
                <a:cubicBezTo>
                  <a:pt x="909105" y="5934191"/>
                  <a:pt x="905244" y="5934989"/>
                  <a:pt x="900984" y="5934989"/>
                </a:cubicBezTo>
                <a:cubicBezTo>
                  <a:pt x="892066" y="5934989"/>
                  <a:pt x="884743" y="5932061"/>
                  <a:pt x="879153" y="5926470"/>
                </a:cubicBezTo>
                <a:cubicBezTo>
                  <a:pt x="873564" y="5920879"/>
                  <a:pt x="870768" y="5913823"/>
                  <a:pt x="870768" y="5905304"/>
                </a:cubicBezTo>
                <a:cubicBezTo>
                  <a:pt x="870768" y="5897050"/>
                  <a:pt x="873564" y="5889995"/>
                  <a:pt x="879153" y="5884271"/>
                </a:cubicBezTo>
                <a:cubicBezTo>
                  <a:pt x="884743" y="5878547"/>
                  <a:pt x="891932" y="5875752"/>
                  <a:pt x="900984" y="5875752"/>
                </a:cubicBezTo>
                <a:close/>
                <a:moveTo>
                  <a:pt x="683344" y="5875752"/>
                </a:moveTo>
                <a:cubicBezTo>
                  <a:pt x="687604" y="5875752"/>
                  <a:pt x="691465" y="5876551"/>
                  <a:pt x="695059" y="5878281"/>
                </a:cubicBezTo>
                <a:cubicBezTo>
                  <a:pt x="698786" y="5879879"/>
                  <a:pt x="701848" y="5882008"/>
                  <a:pt x="704376" y="5884671"/>
                </a:cubicBezTo>
                <a:cubicBezTo>
                  <a:pt x="707038" y="5887200"/>
                  <a:pt x="709035" y="5890394"/>
                  <a:pt x="710499" y="5893989"/>
                </a:cubicBezTo>
                <a:cubicBezTo>
                  <a:pt x="711963" y="5897583"/>
                  <a:pt x="712762" y="5901443"/>
                  <a:pt x="712762" y="5905437"/>
                </a:cubicBezTo>
                <a:cubicBezTo>
                  <a:pt x="712762" y="5909563"/>
                  <a:pt x="711963" y="5913557"/>
                  <a:pt x="710499" y="5917152"/>
                </a:cubicBezTo>
                <a:cubicBezTo>
                  <a:pt x="709035" y="5920746"/>
                  <a:pt x="706905" y="5923808"/>
                  <a:pt x="704376" y="5926470"/>
                </a:cubicBezTo>
                <a:cubicBezTo>
                  <a:pt x="701848" y="5929132"/>
                  <a:pt x="698653" y="5931262"/>
                  <a:pt x="695059" y="5932727"/>
                </a:cubicBezTo>
                <a:cubicBezTo>
                  <a:pt x="691465" y="5934191"/>
                  <a:pt x="687604" y="5934989"/>
                  <a:pt x="683344" y="5934989"/>
                </a:cubicBezTo>
                <a:cubicBezTo>
                  <a:pt x="674426" y="5934989"/>
                  <a:pt x="667104" y="5932061"/>
                  <a:pt x="661512" y="5926470"/>
                </a:cubicBezTo>
                <a:cubicBezTo>
                  <a:pt x="655921" y="5920879"/>
                  <a:pt x="653126" y="5913823"/>
                  <a:pt x="653126" y="5905304"/>
                </a:cubicBezTo>
                <a:cubicBezTo>
                  <a:pt x="653126" y="5897050"/>
                  <a:pt x="655921" y="5889995"/>
                  <a:pt x="661512" y="5884271"/>
                </a:cubicBezTo>
                <a:cubicBezTo>
                  <a:pt x="667104" y="5878547"/>
                  <a:pt x="674293" y="5875752"/>
                  <a:pt x="683344" y="5875752"/>
                </a:cubicBezTo>
                <a:close/>
                <a:moveTo>
                  <a:pt x="465703" y="5875752"/>
                </a:moveTo>
                <a:cubicBezTo>
                  <a:pt x="469963" y="5875752"/>
                  <a:pt x="473823" y="5876551"/>
                  <a:pt x="477418" y="5878281"/>
                </a:cubicBezTo>
                <a:cubicBezTo>
                  <a:pt x="481145" y="5879879"/>
                  <a:pt x="484206" y="5882008"/>
                  <a:pt x="486736" y="5884671"/>
                </a:cubicBezTo>
                <a:cubicBezTo>
                  <a:pt x="489397" y="5887200"/>
                  <a:pt x="491394" y="5890394"/>
                  <a:pt x="492858" y="5893989"/>
                </a:cubicBezTo>
                <a:cubicBezTo>
                  <a:pt x="494322" y="5897583"/>
                  <a:pt x="495121" y="5901443"/>
                  <a:pt x="495121" y="5905437"/>
                </a:cubicBezTo>
                <a:cubicBezTo>
                  <a:pt x="495121" y="5909563"/>
                  <a:pt x="494322" y="5913557"/>
                  <a:pt x="492858" y="5917152"/>
                </a:cubicBezTo>
                <a:cubicBezTo>
                  <a:pt x="491394" y="5920746"/>
                  <a:pt x="489264" y="5923808"/>
                  <a:pt x="486736" y="5926470"/>
                </a:cubicBezTo>
                <a:cubicBezTo>
                  <a:pt x="484073" y="5929132"/>
                  <a:pt x="481012" y="5931262"/>
                  <a:pt x="477418" y="5932727"/>
                </a:cubicBezTo>
                <a:cubicBezTo>
                  <a:pt x="473823" y="5934191"/>
                  <a:pt x="469963" y="5934989"/>
                  <a:pt x="465703" y="5934989"/>
                </a:cubicBezTo>
                <a:cubicBezTo>
                  <a:pt x="456785" y="5934989"/>
                  <a:pt x="449462" y="5932061"/>
                  <a:pt x="443872" y="5926470"/>
                </a:cubicBezTo>
                <a:cubicBezTo>
                  <a:pt x="438281" y="5920879"/>
                  <a:pt x="435486" y="5913823"/>
                  <a:pt x="435486" y="5905304"/>
                </a:cubicBezTo>
                <a:cubicBezTo>
                  <a:pt x="435486" y="5897050"/>
                  <a:pt x="438281" y="5889995"/>
                  <a:pt x="443872" y="5884271"/>
                </a:cubicBezTo>
                <a:cubicBezTo>
                  <a:pt x="449462" y="5878547"/>
                  <a:pt x="456652" y="5875752"/>
                  <a:pt x="465703" y="5875752"/>
                </a:cubicBezTo>
                <a:close/>
                <a:moveTo>
                  <a:pt x="248061" y="5875752"/>
                </a:moveTo>
                <a:cubicBezTo>
                  <a:pt x="252321" y="5875752"/>
                  <a:pt x="256315" y="5876551"/>
                  <a:pt x="259776" y="5878281"/>
                </a:cubicBezTo>
                <a:cubicBezTo>
                  <a:pt x="263503" y="5879879"/>
                  <a:pt x="266565" y="5882008"/>
                  <a:pt x="269094" y="5884671"/>
                </a:cubicBezTo>
                <a:cubicBezTo>
                  <a:pt x="271756" y="5887200"/>
                  <a:pt x="273753" y="5890394"/>
                  <a:pt x="275217" y="5893989"/>
                </a:cubicBezTo>
                <a:cubicBezTo>
                  <a:pt x="276681" y="5897583"/>
                  <a:pt x="277480" y="5901443"/>
                  <a:pt x="277480" y="5905437"/>
                </a:cubicBezTo>
                <a:cubicBezTo>
                  <a:pt x="277480" y="5909563"/>
                  <a:pt x="276681" y="5913557"/>
                  <a:pt x="275217" y="5917152"/>
                </a:cubicBezTo>
                <a:cubicBezTo>
                  <a:pt x="273753" y="5920746"/>
                  <a:pt x="271623" y="5923808"/>
                  <a:pt x="269094" y="5926470"/>
                </a:cubicBezTo>
                <a:cubicBezTo>
                  <a:pt x="266431" y="5929132"/>
                  <a:pt x="263370" y="5931262"/>
                  <a:pt x="259776" y="5932727"/>
                </a:cubicBezTo>
                <a:cubicBezTo>
                  <a:pt x="256181" y="5934191"/>
                  <a:pt x="252321" y="5934989"/>
                  <a:pt x="248061" y="5934989"/>
                </a:cubicBezTo>
                <a:cubicBezTo>
                  <a:pt x="239144" y="5934989"/>
                  <a:pt x="231823" y="5932061"/>
                  <a:pt x="226232" y="5926470"/>
                </a:cubicBezTo>
                <a:cubicBezTo>
                  <a:pt x="220642" y="5920879"/>
                  <a:pt x="217847" y="5913823"/>
                  <a:pt x="217847" y="5905304"/>
                </a:cubicBezTo>
                <a:cubicBezTo>
                  <a:pt x="217847" y="5897050"/>
                  <a:pt x="220642" y="5889995"/>
                  <a:pt x="226232" y="5884271"/>
                </a:cubicBezTo>
                <a:cubicBezTo>
                  <a:pt x="231823" y="5878547"/>
                  <a:pt x="239010" y="5875752"/>
                  <a:pt x="248061" y="5875752"/>
                </a:cubicBezTo>
                <a:close/>
                <a:moveTo>
                  <a:pt x="30420" y="5875752"/>
                </a:moveTo>
                <a:cubicBezTo>
                  <a:pt x="34680" y="5875752"/>
                  <a:pt x="38674" y="5876551"/>
                  <a:pt x="42135" y="5878281"/>
                </a:cubicBezTo>
                <a:cubicBezTo>
                  <a:pt x="45862" y="5879879"/>
                  <a:pt x="48924" y="5882008"/>
                  <a:pt x="51453" y="5884671"/>
                </a:cubicBezTo>
                <a:cubicBezTo>
                  <a:pt x="54115" y="5887200"/>
                  <a:pt x="56113" y="5890394"/>
                  <a:pt x="57577" y="5893989"/>
                </a:cubicBezTo>
                <a:cubicBezTo>
                  <a:pt x="59041" y="5897583"/>
                  <a:pt x="59840" y="5901443"/>
                  <a:pt x="59840" y="5905437"/>
                </a:cubicBezTo>
                <a:cubicBezTo>
                  <a:pt x="59840" y="5909563"/>
                  <a:pt x="59041" y="5913557"/>
                  <a:pt x="57577" y="5917152"/>
                </a:cubicBezTo>
                <a:cubicBezTo>
                  <a:pt x="56113" y="5920746"/>
                  <a:pt x="53982" y="5923808"/>
                  <a:pt x="51453" y="5926470"/>
                </a:cubicBezTo>
                <a:cubicBezTo>
                  <a:pt x="48790" y="5929132"/>
                  <a:pt x="45729" y="5931262"/>
                  <a:pt x="42135" y="5932727"/>
                </a:cubicBezTo>
                <a:cubicBezTo>
                  <a:pt x="38541" y="5934191"/>
                  <a:pt x="34680" y="5934989"/>
                  <a:pt x="30420" y="5934989"/>
                </a:cubicBezTo>
                <a:cubicBezTo>
                  <a:pt x="21502" y="5934989"/>
                  <a:pt x="14182" y="5932061"/>
                  <a:pt x="8593" y="5926470"/>
                </a:cubicBezTo>
                <a:cubicBezTo>
                  <a:pt x="3002" y="5920879"/>
                  <a:pt x="207" y="5913823"/>
                  <a:pt x="207" y="5905304"/>
                </a:cubicBezTo>
                <a:cubicBezTo>
                  <a:pt x="207" y="5897050"/>
                  <a:pt x="3002" y="5889995"/>
                  <a:pt x="8593" y="5884271"/>
                </a:cubicBezTo>
                <a:cubicBezTo>
                  <a:pt x="14182" y="5878547"/>
                  <a:pt x="21368" y="5875752"/>
                  <a:pt x="30420" y="5875752"/>
                </a:cubicBezTo>
                <a:close/>
                <a:moveTo>
                  <a:pt x="10475977" y="5674747"/>
                </a:moveTo>
                <a:cubicBezTo>
                  <a:pt x="10470119" y="5674747"/>
                  <a:pt x="10467589" y="5676610"/>
                  <a:pt x="10465992" y="5678341"/>
                </a:cubicBezTo>
                <a:cubicBezTo>
                  <a:pt x="10463463" y="5681003"/>
                  <a:pt x="10462399" y="5683798"/>
                  <a:pt x="10462399" y="5687792"/>
                </a:cubicBezTo>
                <a:cubicBezTo>
                  <a:pt x="10462399" y="5691919"/>
                  <a:pt x="10463463" y="5694714"/>
                  <a:pt x="10465992" y="5697243"/>
                </a:cubicBezTo>
                <a:cubicBezTo>
                  <a:pt x="10467589" y="5698842"/>
                  <a:pt x="10470119" y="5700705"/>
                  <a:pt x="10475977" y="5700705"/>
                </a:cubicBezTo>
                <a:cubicBezTo>
                  <a:pt x="10478107" y="5700705"/>
                  <a:pt x="10479838" y="5700439"/>
                  <a:pt x="10481302" y="5699773"/>
                </a:cubicBezTo>
                <a:cubicBezTo>
                  <a:pt x="10482899" y="5699241"/>
                  <a:pt x="10484098" y="5698442"/>
                  <a:pt x="10485029" y="5697376"/>
                </a:cubicBezTo>
                <a:cubicBezTo>
                  <a:pt x="10486094" y="5696178"/>
                  <a:pt x="10487026" y="5694847"/>
                  <a:pt x="10487691" y="5693117"/>
                </a:cubicBezTo>
                <a:cubicBezTo>
                  <a:pt x="10488357" y="5691519"/>
                  <a:pt x="10488623" y="5689655"/>
                  <a:pt x="10488623" y="5687659"/>
                </a:cubicBezTo>
                <a:cubicBezTo>
                  <a:pt x="10488623" y="5685795"/>
                  <a:pt x="10488357" y="5684064"/>
                  <a:pt x="10487691" y="5682467"/>
                </a:cubicBezTo>
                <a:cubicBezTo>
                  <a:pt x="10487026" y="5680870"/>
                  <a:pt x="10486094" y="5679539"/>
                  <a:pt x="10485029" y="5678341"/>
                </a:cubicBezTo>
                <a:cubicBezTo>
                  <a:pt x="10483964" y="5677276"/>
                  <a:pt x="10482633" y="5676344"/>
                  <a:pt x="10481035" y="5675678"/>
                </a:cubicBezTo>
                <a:cubicBezTo>
                  <a:pt x="10479571" y="5675013"/>
                  <a:pt x="10477974" y="5674747"/>
                  <a:pt x="10475977" y="5674747"/>
                </a:cubicBezTo>
                <a:close/>
                <a:moveTo>
                  <a:pt x="10258466" y="5674747"/>
                </a:moveTo>
                <a:cubicBezTo>
                  <a:pt x="10252608" y="5674747"/>
                  <a:pt x="10250078" y="5676610"/>
                  <a:pt x="10248481" y="5678341"/>
                </a:cubicBezTo>
                <a:cubicBezTo>
                  <a:pt x="10245952" y="5681003"/>
                  <a:pt x="10244887" y="5683798"/>
                  <a:pt x="10244887" y="5687792"/>
                </a:cubicBezTo>
                <a:cubicBezTo>
                  <a:pt x="10244887" y="5691919"/>
                  <a:pt x="10245952" y="5694714"/>
                  <a:pt x="10248481" y="5697243"/>
                </a:cubicBezTo>
                <a:cubicBezTo>
                  <a:pt x="10250078" y="5698842"/>
                  <a:pt x="10252608" y="5700705"/>
                  <a:pt x="10258466" y="5700705"/>
                </a:cubicBezTo>
                <a:cubicBezTo>
                  <a:pt x="10260462" y="5700705"/>
                  <a:pt x="10262192" y="5700439"/>
                  <a:pt x="10263790" y="5699773"/>
                </a:cubicBezTo>
                <a:cubicBezTo>
                  <a:pt x="10265388" y="5699241"/>
                  <a:pt x="10266586" y="5698442"/>
                  <a:pt x="10267517" y="5697376"/>
                </a:cubicBezTo>
                <a:cubicBezTo>
                  <a:pt x="10268583" y="5696178"/>
                  <a:pt x="10269515" y="5694847"/>
                  <a:pt x="10270180" y="5693117"/>
                </a:cubicBezTo>
                <a:cubicBezTo>
                  <a:pt x="10270845" y="5691519"/>
                  <a:pt x="10271112" y="5689655"/>
                  <a:pt x="10271112" y="5687659"/>
                </a:cubicBezTo>
                <a:cubicBezTo>
                  <a:pt x="10271112" y="5685795"/>
                  <a:pt x="10270845" y="5684064"/>
                  <a:pt x="10270180" y="5682467"/>
                </a:cubicBezTo>
                <a:cubicBezTo>
                  <a:pt x="10269515" y="5680870"/>
                  <a:pt x="10268583" y="5679539"/>
                  <a:pt x="10267517" y="5678341"/>
                </a:cubicBezTo>
                <a:cubicBezTo>
                  <a:pt x="10266452" y="5677276"/>
                  <a:pt x="10265121" y="5676344"/>
                  <a:pt x="10263524" y="5675678"/>
                </a:cubicBezTo>
                <a:cubicBezTo>
                  <a:pt x="10262060" y="5675013"/>
                  <a:pt x="10260462" y="5674747"/>
                  <a:pt x="10258466" y="5674747"/>
                </a:cubicBezTo>
                <a:close/>
                <a:moveTo>
                  <a:pt x="10040820" y="5674747"/>
                </a:moveTo>
                <a:cubicBezTo>
                  <a:pt x="10034962" y="5674747"/>
                  <a:pt x="10032433" y="5676610"/>
                  <a:pt x="10030835" y="5678341"/>
                </a:cubicBezTo>
                <a:cubicBezTo>
                  <a:pt x="10028306" y="5681003"/>
                  <a:pt x="10027242" y="5683798"/>
                  <a:pt x="10027242" y="5687792"/>
                </a:cubicBezTo>
                <a:cubicBezTo>
                  <a:pt x="10027242" y="5691919"/>
                  <a:pt x="10028306" y="5694714"/>
                  <a:pt x="10030835" y="5697243"/>
                </a:cubicBezTo>
                <a:cubicBezTo>
                  <a:pt x="10032433" y="5698842"/>
                  <a:pt x="10034962" y="5700705"/>
                  <a:pt x="10040820" y="5700705"/>
                </a:cubicBezTo>
                <a:cubicBezTo>
                  <a:pt x="10042817" y="5700705"/>
                  <a:pt x="10044681" y="5700439"/>
                  <a:pt x="10046145" y="5699773"/>
                </a:cubicBezTo>
                <a:cubicBezTo>
                  <a:pt x="10047742" y="5699241"/>
                  <a:pt x="10048941" y="5698442"/>
                  <a:pt x="10049872" y="5697376"/>
                </a:cubicBezTo>
                <a:cubicBezTo>
                  <a:pt x="10050937" y="5696178"/>
                  <a:pt x="10051869" y="5694847"/>
                  <a:pt x="10052534" y="5693117"/>
                </a:cubicBezTo>
                <a:cubicBezTo>
                  <a:pt x="10053333" y="5691519"/>
                  <a:pt x="10053599" y="5689655"/>
                  <a:pt x="10053599" y="5687659"/>
                </a:cubicBezTo>
                <a:cubicBezTo>
                  <a:pt x="10053599" y="5685795"/>
                  <a:pt x="10053200" y="5684064"/>
                  <a:pt x="10052534" y="5682467"/>
                </a:cubicBezTo>
                <a:cubicBezTo>
                  <a:pt x="10051869" y="5680870"/>
                  <a:pt x="10050937" y="5679539"/>
                  <a:pt x="10049872" y="5678341"/>
                </a:cubicBezTo>
                <a:cubicBezTo>
                  <a:pt x="10048807" y="5677276"/>
                  <a:pt x="10047476" y="5676344"/>
                  <a:pt x="10045878" y="5675678"/>
                </a:cubicBezTo>
                <a:cubicBezTo>
                  <a:pt x="10044414" y="5675013"/>
                  <a:pt x="10042817" y="5674747"/>
                  <a:pt x="10040820" y="5674747"/>
                </a:cubicBezTo>
                <a:close/>
                <a:moveTo>
                  <a:pt x="9823176" y="5674747"/>
                </a:moveTo>
                <a:cubicBezTo>
                  <a:pt x="9817318" y="5674747"/>
                  <a:pt x="9814788" y="5676610"/>
                  <a:pt x="9813191" y="5678341"/>
                </a:cubicBezTo>
                <a:cubicBezTo>
                  <a:pt x="9810662" y="5681003"/>
                  <a:pt x="9809597" y="5683798"/>
                  <a:pt x="9809597" y="5687792"/>
                </a:cubicBezTo>
                <a:cubicBezTo>
                  <a:pt x="9809597" y="5691919"/>
                  <a:pt x="9810662" y="5694714"/>
                  <a:pt x="9813191" y="5697243"/>
                </a:cubicBezTo>
                <a:cubicBezTo>
                  <a:pt x="9814788" y="5698842"/>
                  <a:pt x="9817318" y="5700705"/>
                  <a:pt x="9823176" y="5700705"/>
                </a:cubicBezTo>
                <a:cubicBezTo>
                  <a:pt x="9825173" y="5700705"/>
                  <a:pt x="9827036" y="5700439"/>
                  <a:pt x="9828501" y="5699773"/>
                </a:cubicBezTo>
                <a:cubicBezTo>
                  <a:pt x="9830098" y="5699241"/>
                  <a:pt x="9831296" y="5698442"/>
                  <a:pt x="9832227" y="5697376"/>
                </a:cubicBezTo>
                <a:cubicBezTo>
                  <a:pt x="9833293" y="5696178"/>
                  <a:pt x="9834225" y="5694847"/>
                  <a:pt x="9834890" y="5693117"/>
                </a:cubicBezTo>
                <a:cubicBezTo>
                  <a:pt x="9835689" y="5691519"/>
                  <a:pt x="9835955" y="5689655"/>
                  <a:pt x="9835955" y="5687659"/>
                </a:cubicBezTo>
                <a:cubicBezTo>
                  <a:pt x="9835955" y="5685795"/>
                  <a:pt x="9835555" y="5684064"/>
                  <a:pt x="9834890" y="5682467"/>
                </a:cubicBezTo>
                <a:cubicBezTo>
                  <a:pt x="9834225" y="5680870"/>
                  <a:pt x="9833293" y="5679539"/>
                  <a:pt x="9832227" y="5678341"/>
                </a:cubicBezTo>
                <a:cubicBezTo>
                  <a:pt x="9831162" y="5677276"/>
                  <a:pt x="9829831" y="5676344"/>
                  <a:pt x="9828234" y="5675678"/>
                </a:cubicBezTo>
                <a:cubicBezTo>
                  <a:pt x="9826770" y="5675013"/>
                  <a:pt x="9825173" y="5674747"/>
                  <a:pt x="9823176" y="5674747"/>
                </a:cubicBezTo>
                <a:close/>
                <a:moveTo>
                  <a:pt x="9605531" y="5674747"/>
                </a:moveTo>
                <a:cubicBezTo>
                  <a:pt x="9599673" y="5674747"/>
                  <a:pt x="9597143" y="5676610"/>
                  <a:pt x="9595546" y="5678341"/>
                </a:cubicBezTo>
                <a:cubicBezTo>
                  <a:pt x="9593017" y="5681003"/>
                  <a:pt x="9591952" y="5683798"/>
                  <a:pt x="9591952" y="5687792"/>
                </a:cubicBezTo>
                <a:cubicBezTo>
                  <a:pt x="9591952" y="5691919"/>
                  <a:pt x="9593017" y="5694714"/>
                  <a:pt x="9595546" y="5697243"/>
                </a:cubicBezTo>
                <a:cubicBezTo>
                  <a:pt x="9597143" y="5698842"/>
                  <a:pt x="9599673" y="5700705"/>
                  <a:pt x="9605531" y="5700705"/>
                </a:cubicBezTo>
                <a:cubicBezTo>
                  <a:pt x="9607660" y="5700705"/>
                  <a:pt x="9609391" y="5700439"/>
                  <a:pt x="9610855" y="5699773"/>
                </a:cubicBezTo>
                <a:cubicBezTo>
                  <a:pt x="9612319" y="5699241"/>
                  <a:pt x="9613651" y="5698442"/>
                  <a:pt x="9614582" y="5697376"/>
                </a:cubicBezTo>
                <a:cubicBezTo>
                  <a:pt x="9615647" y="5696178"/>
                  <a:pt x="9616579" y="5694847"/>
                  <a:pt x="9617245" y="5693117"/>
                </a:cubicBezTo>
                <a:cubicBezTo>
                  <a:pt x="9618044" y="5691519"/>
                  <a:pt x="9618309" y="5689655"/>
                  <a:pt x="9618309" y="5687659"/>
                </a:cubicBezTo>
                <a:cubicBezTo>
                  <a:pt x="9618309" y="5685795"/>
                  <a:pt x="9617910" y="5684064"/>
                  <a:pt x="9617245" y="5682467"/>
                </a:cubicBezTo>
                <a:cubicBezTo>
                  <a:pt x="9616579" y="5680870"/>
                  <a:pt x="9615647" y="5679539"/>
                  <a:pt x="9614582" y="5678341"/>
                </a:cubicBezTo>
                <a:cubicBezTo>
                  <a:pt x="9613517" y="5677276"/>
                  <a:pt x="9612186" y="5676344"/>
                  <a:pt x="9610589" y="5675678"/>
                </a:cubicBezTo>
                <a:cubicBezTo>
                  <a:pt x="9609124" y="5675013"/>
                  <a:pt x="9607394" y="5674747"/>
                  <a:pt x="9605531" y="5674747"/>
                </a:cubicBezTo>
                <a:close/>
                <a:moveTo>
                  <a:pt x="9387885" y="5674747"/>
                </a:moveTo>
                <a:cubicBezTo>
                  <a:pt x="9382027" y="5674747"/>
                  <a:pt x="9379497" y="5676610"/>
                  <a:pt x="9377900" y="5678341"/>
                </a:cubicBezTo>
                <a:cubicBezTo>
                  <a:pt x="9375371" y="5681003"/>
                  <a:pt x="9374307" y="5683798"/>
                  <a:pt x="9374307" y="5687792"/>
                </a:cubicBezTo>
                <a:cubicBezTo>
                  <a:pt x="9374307" y="5691919"/>
                  <a:pt x="9375371" y="5694714"/>
                  <a:pt x="9377900" y="5697243"/>
                </a:cubicBezTo>
                <a:cubicBezTo>
                  <a:pt x="9379497" y="5698842"/>
                  <a:pt x="9382027" y="5700705"/>
                  <a:pt x="9387885" y="5700705"/>
                </a:cubicBezTo>
                <a:cubicBezTo>
                  <a:pt x="9390015" y="5700705"/>
                  <a:pt x="9391746" y="5700439"/>
                  <a:pt x="9393210" y="5699773"/>
                </a:cubicBezTo>
                <a:cubicBezTo>
                  <a:pt x="9394674" y="5699241"/>
                  <a:pt x="9396005" y="5698442"/>
                  <a:pt x="9396937" y="5697376"/>
                </a:cubicBezTo>
                <a:cubicBezTo>
                  <a:pt x="9398002" y="5696178"/>
                  <a:pt x="9398934" y="5694847"/>
                  <a:pt x="9399599" y="5693117"/>
                </a:cubicBezTo>
                <a:cubicBezTo>
                  <a:pt x="9400398" y="5691519"/>
                  <a:pt x="9400664" y="5689655"/>
                  <a:pt x="9400664" y="5687659"/>
                </a:cubicBezTo>
                <a:cubicBezTo>
                  <a:pt x="9400664" y="5685795"/>
                  <a:pt x="9400265" y="5684064"/>
                  <a:pt x="9399599" y="5682467"/>
                </a:cubicBezTo>
                <a:cubicBezTo>
                  <a:pt x="9398934" y="5680870"/>
                  <a:pt x="9398002" y="5679539"/>
                  <a:pt x="9396937" y="5678341"/>
                </a:cubicBezTo>
                <a:cubicBezTo>
                  <a:pt x="9395872" y="5677276"/>
                  <a:pt x="9394541" y="5676344"/>
                  <a:pt x="9392943" y="5675678"/>
                </a:cubicBezTo>
                <a:cubicBezTo>
                  <a:pt x="9391479" y="5675013"/>
                  <a:pt x="9389749" y="5674747"/>
                  <a:pt x="9387885" y="5674747"/>
                </a:cubicBezTo>
                <a:close/>
                <a:moveTo>
                  <a:pt x="9170374" y="5674747"/>
                </a:moveTo>
                <a:cubicBezTo>
                  <a:pt x="9164649" y="5674747"/>
                  <a:pt x="9161986" y="5676610"/>
                  <a:pt x="9160389" y="5678341"/>
                </a:cubicBezTo>
                <a:cubicBezTo>
                  <a:pt x="9157860" y="5681003"/>
                  <a:pt x="9156795" y="5683798"/>
                  <a:pt x="9156795" y="5687792"/>
                </a:cubicBezTo>
                <a:cubicBezTo>
                  <a:pt x="9156795" y="5691919"/>
                  <a:pt x="9157860" y="5694714"/>
                  <a:pt x="9160389" y="5697243"/>
                </a:cubicBezTo>
                <a:cubicBezTo>
                  <a:pt x="9161986" y="5698842"/>
                  <a:pt x="9164516" y="5700705"/>
                  <a:pt x="9170374" y="5700705"/>
                </a:cubicBezTo>
                <a:cubicBezTo>
                  <a:pt x="9172370" y="5700705"/>
                  <a:pt x="9174100" y="5700439"/>
                  <a:pt x="9175698" y="5699773"/>
                </a:cubicBezTo>
                <a:cubicBezTo>
                  <a:pt x="9177163" y="5699241"/>
                  <a:pt x="9178494" y="5698442"/>
                  <a:pt x="9179425" y="5697376"/>
                </a:cubicBezTo>
                <a:cubicBezTo>
                  <a:pt x="9180491" y="5696178"/>
                  <a:pt x="9181422" y="5694847"/>
                  <a:pt x="9182088" y="5693117"/>
                </a:cubicBezTo>
                <a:cubicBezTo>
                  <a:pt x="9182887" y="5691519"/>
                  <a:pt x="9183152" y="5689655"/>
                  <a:pt x="9183152" y="5687659"/>
                </a:cubicBezTo>
                <a:cubicBezTo>
                  <a:pt x="9183152" y="5685795"/>
                  <a:pt x="9182753" y="5684064"/>
                  <a:pt x="9182088" y="5682467"/>
                </a:cubicBezTo>
                <a:cubicBezTo>
                  <a:pt x="9181422" y="5680870"/>
                  <a:pt x="9180491" y="5679539"/>
                  <a:pt x="9179425" y="5678341"/>
                </a:cubicBezTo>
                <a:cubicBezTo>
                  <a:pt x="9178360" y="5677276"/>
                  <a:pt x="9177029" y="5676344"/>
                  <a:pt x="9175432" y="5675678"/>
                </a:cubicBezTo>
                <a:cubicBezTo>
                  <a:pt x="9173967" y="5675013"/>
                  <a:pt x="9172237" y="5674747"/>
                  <a:pt x="9170374" y="5674747"/>
                </a:cubicBezTo>
                <a:close/>
                <a:moveTo>
                  <a:pt x="8952728" y="5674747"/>
                </a:moveTo>
                <a:cubicBezTo>
                  <a:pt x="8947003" y="5674747"/>
                  <a:pt x="8944340" y="5676610"/>
                  <a:pt x="8942743" y="5678341"/>
                </a:cubicBezTo>
                <a:cubicBezTo>
                  <a:pt x="8940214" y="5681003"/>
                  <a:pt x="8939150" y="5683798"/>
                  <a:pt x="8939150" y="5687792"/>
                </a:cubicBezTo>
                <a:cubicBezTo>
                  <a:pt x="8939150" y="5691919"/>
                  <a:pt x="8940214" y="5694714"/>
                  <a:pt x="8942743" y="5697243"/>
                </a:cubicBezTo>
                <a:cubicBezTo>
                  <a:pt x="8944340" y="5698842"/>
                  <a:pt x="8946870" y="5700705"/>
                  <a:pt x="8952728" y="5700705"/>
                </a:cubicBezTo>
                <a:cubicBezTo>
                  <a:pt x="8954725" y="5700705"/>
                  <a:pt x="8956589" y="5700439"/>
                  <a:pt x="8958053" y="5699773"/>
                </a:cubicBezTo>
                <a:cubicBezTo>
                  <a:pt x="8959517" y="5699241"/>
                  <a:pt x="8960849" y="5698442"/>
                  <a:pt x="8961780" y="5697376"/>
                </a:cubicBezTo>
                <a:cubicBezTo>
                  <a:pt x="8962845" y="5696178"/>
                  <a:pt x="8963777" y="5694847"/>
                  <a:pt x="8964442" y="5693117"/>
                </a:cubicBezTo>
                <a:cubicBezTo>
                  <a:pt x="8965241" y="5691519"/>
                  <a:pt x="8965507" y="5689655"/>
                  <a:pt x="8965507" y="5687659"/>
                </a:cubicBezTo>
                <a:cubicBezTo>
                  <a:pt x="8965507" y="5685795"/>
                  <a:pt x="8965108" y="5684064"/>
                  <a:pt x="8964442" y="5682467"/>
                </a:cubicBezTo>
                <a:cubicBezTo>
                  <a:pt x="8963777" y="5680870"/>
                  <a:pt x="8962845" y="5679539"/>
                  <a:pt x="8961780" y="5678341"/>
                </a:cubicBezTo>
                <a:cubicBezTo>
                  <a:pt x="8960715" y="5677276"/>
                  <a:pt x="8959384" y="5676344"/>
                  <a:pt x="8957786" y="5675678"/>
                </a:cubicBezTo>
                <a:cubicBezTo>
                  <a:pt x="8956322" y="5675013"/>
                  <a:pt x="8954592" y="5674747"/>
                  <a:pt x="8952728" y="5674747"/>
                </a:cubicBezTo>
                <a:close/>
                <a:moveTo>
                  <a:pt x="8735083" y="5674747"/>
                </a:moveTo>
                <a:cubicBezTo>
                  <a:pt x="8729358" y="5674747"/>
                  <a:pt x="8726695" y="5676610"/>
                  <a:pt x="8725098" y="5678341"/>
                </a:cubicBezTo>
                <a:cubicBezTo>
                  <a:pt x="8722569" y="5681003"/>
                  <a:pt x="8721504" y="5683798"/>
                  <a:pt x="8721504" y="5687792"/>
                </a:cubicBezTo>
                <a:cubicBezTo>
                  <a:pt x="8721504" y="5691919"/>
                  <a:pt x="8722569" y="5694714"/>
                  <a:pt x="8725098" y="5697243"/>
                </a:cubicBezTo>
                <a:cubicBezTo>
                  <a:pt x="8726695" y="5698842"/>
                  <a:pt x="8729225" y="5700705"/>
                  <a:pt x="8735083" y="5700705"/>
                </a:cubicBezTo>
                <a:cubicBezTo>
                  <a:pt x="8737079" y="5700705"/>
                  <a:pt x="8738943" y="5700439"/>
                  <a:pt x="8740407" y="5699773"/>
                </a:cubicBezTo>
                <a:cubicBezTo>
                  <a:pt x="8741872" y="5699241"/>
                  <a:pt x="8743203" y="5698442"/>
                  <a:pt x="8744134" y="5697376"/>
                </a:cubicBezTo>
                <a:cubicBezTo>
                  <a:pt x="8745200" y="5696178"/>
                  <a:pt x="8746132" y="5694847"/>
                  <a:pt x="8746797" y="5693117"/>
                </a:cubicBezTo>
                <a:cubicBezTo>
                  <a:pt x="8747596" y="5691519"/>
                  <a:pt x="8747862" y="5689655"/>
                  <a:pt x="8747862" y="5687659"/>
                </a:cubicBezTo>
                <a:cubicBezTo>
                  <a:pt x="8747862" y="5685795"/>
                  <a:pt x="8747462" y="5684064"/>
                  <a:pt x="8746797" y="5682467"/>
                </a:cubicBezTo>
                <a:cubicBezTo>
                  <a:pt x="8746132" y="5680870"/>
                  <a:pt x="8745200" y="5679539"/>
                  <a:pt x="8744134" y="5678341"/>
                </a:cubicBezTo>
                <a:cubicBezTo>
                  <a:pt x="8743069" y="5677276"/>
                  <a:pt x="8741738" y="5676344"/>
                  <a:pt x="8740141" y="5675678"/>
                </a:cubicBezTo>
                <a:cubicBezTo>
                  <a:pt x="8738677" y="5675013"/>
                  <a:pt x="8736946" y="5674747"/>
                  <a:pt x="8735083" y="5674747"/>
                </a:cubicBezTo>
                <a:close/>
                <a:moveTo>
                  <a:pt x="8517438" y="5674747"/>
                </a:moveTo>
                <a:cubicBezTo>
                  <a:pt x="8511713" y="5674747"/>
                  <a:pt x="8509051" y="5676610"/>
                  <a:pt x="8507453" y="5678341"/>
                </a:cubicBezTo>
                <a:cubicBezTo>
                  <a:pt x="8504925" y="5681003"/>
                  <a:pt x="8503860" y="5683798"/>
                  <a:pt x="8503860" y="5687792"/>
                </a:cubicBezTo>
                <a:cubicBezTo>
                  <a:pt x="8503860" y="5691919"/>
                  <a:pt x="8504925" y="5694714"/>
                  <a:pt x="8507453" y="5697243"/>
                </a:cubicBezTo>
                <a:cubicBezTo>
                  <a:pt x="8509051" y="5698842"/>
                  <a:pt x="8511581" y="5700705"/>
                  <a:pt x="8517438" y="5700705"/>
                </a:cubicBezTo>
                <a:cubicBezTo>
                  <a:pt x="8519568" y="5700705"/>
                  <a:pt x="8521299" y="5700439"/>
                  <a:pt x="8522763" y="5699773"/>
                </a:cubicBezTo>
                <a:cubicBezTo>
                  <a:pt x="8524227" y="5699241"/>
                  <a:pt x="8525559" y="5698442"/>
                  <a:pt x="8526490" y="5697376"/>
                </a:cubicBezTo>
                <a:cubicBezTo>
                  <a:pt x="8527555" y="5696178"/>
                  <a:pt x="8528487" y="5694847"/>
                  <a:pt x="8529152" y="5693117"/>
                </a:cubicBezTo>
                <a:cubicBezTo>
                  <a:pt x="8529818" y="5691519"/>
                  <a:pt x="8530084" y="5689655"/>
                  <a:pt x="8530084" y="5687659"/>
                </a:cubicBezTo>
                <a:cubicBezTo>
                  <a:pt x="8530084" y="5685795"/>
                  <a:pt x="8529818" y="5684064"/>
                  <a:pt x="8529152" y="5682467"/>
                </a:cubicBezTo>
                <a:cubicBezTo>
                  <a:pt x="8528487" y="5680870"/>
                  <a:pt x="8527555" y="5679539"/>
                  <a:pt x="8526490" y="5678341"/>
                </a:cubicBezTo>
                <a:cubicBezTo>
                  <a:pt x="8525425" y="5677276"/>
                  <a:pt x="8524094" y="5676344"/>
                  <a:pt x="8522496" y="5675678"/>
                </a:cubicBezTo>
                <a:cubicBezTo>
                  <a:pt x="8521032" y="5675013"/>
                  <a:pt x="8519302" y="5674747"/>
                  <a:pt x="8517438" y="5674747"/>
                </a:cubicBezTo>
                <a:close/>
                <a:moveTo>
                  <a:pt x="8299793" y="5674747"/>
                </a:moveTo>
                <a:cubicBezTo>
                  <a:pt x="8294068" y="5674747"/>
                  <a:pt x="8291406" y="5676610"/>
                  <a:pt x="8289809" y="5678341"/>
                </a:cubicBezTo>
                <a:cubicBezTo>
                  <a:pt x="8287280" y="5681003"/>
                  <a:pt x="8286215" y="5683798"/>
                  <a:pt x="8286215" y="5687792"/>
                </a:cubicBezTo>
                <a:cubicBezTo>
                  <a:pt x="8286215" y="5691919"/>
                  <a:pt x="8287280" y="5694714"/>
                  <a:pt x="8289809" y="5697243"/>
                </a:cubicBezTo>
                <a:cubicBezTo>
                  <a:pt x="8291406" y="5698842"/>
                  <a:pt x="8293935" y="5700705"/>
                  <a:pt x="8299793" y="5700705"/>
                </a:cubicBezTo>
                <a:cubicBezTo>
                  <a:pt x="8301923" y="5700705"/>
                  <a:pt x="8303653" y="5700439"/>
                  <a:pt x="8305118" y="5699773"/>
                </a:cubicBezTo>
                <a:cubicBezTo>
                  <a:pt x="8306582" y="5699241"/>
                  <a:pt x="8307913" y="5698442"/>
                  <a:pt x="8308844" y="5697376"/>
                </a:cubicBezTo>
                <a:cubicBezTo>
                  <a:pt x="8309910" y="5696178"/>
                  <a:pt x="8310842" y="5694847"/>
                  <a:pt x="8311507" y="5693117"/>
                </a:cubicBezTo>
                <a:cubicBezTo>
                  <a:pt x="8312172" y="5691519"/>
                  <a:pt x="8312439" y="5689655"/>
                  <a:pt x="8312439" y="5687659"/>
                </a:cubicBezTo>
                <a:cubicBezTo>
                  <a:pt x="8312439" y="5685795"/>
                  <a:pt x="8312172" y="5684064"/>
                  <a:pt x="8311507" y="5682467"/>
                </a:cubicBezTo>
                <a:cubicBezTo>
                  <a:pt x="8310842" y="5680870"/>
                  <a:pt x="8309910" y="5679539"/>
                  <a:pt x="8308844" y="5678341"/>
                </a:cubicBezTo>
                <a:cubicBezTo>
                  <a:pt x="8307779" y="5677276"/>
                  <a:pt x="8306448" y="5676344"/>
                  <a:pt x="8304851" y="5675678"/>
                </a:cubicBezTo>
                <a:cubicBezTo>
                  <a:pt x="8303387" y="5675013"/>
                  <a:pt x="8301790" y="5674747"/>
                  <a:pt x="8299793" y="5674747"/>
                </a:cubicBezTo>
                <a:close/>
                <a:moveTo>
                  <a:pt x="8082281" y="5674747"/>
                </a:moveTo>
                <a:cubicBezTo>
                  <a:pt x="8076424" y="5674747"/>
                  <a:pt x="8073894" y="5676610"/>
                  <a:pt x="8072297" y="5678341"/>
                </a:cubicBezTo>
                <a:cubicBezTo>
                  <a:pt x="8069768" y="5681003"/>
                  <a:pt x="8068703" y="5683798"/>
                  <a:pt x="8068703" y="5687792"/>
                </a:cubicBezTo>
                <a:cubicBezTo>
                  <a:pt x="8068703" y="5691919"/>
                  <a:pt x="8069768" y="5694714"/>
                  <a:pt x="8072297" y="5697243"/>
                </a:cubicBezTo>
                <a:cubicBezTo>
                  <a:pt x="8073894" y="5698842"/>
                  <a:pt x="8076424" y="5700705"/>
                  <a:pt x="8082281" y="5700705"/>
                </a:cubicBezTo>
                <a:cubicBezTo>
                  <a:pt x="8084277" y="5700705"/>
                  <a:pt x="8086007" y="5700439"/>
                  <a:pt x="8087605" y="5699773"/>
                </a:cubicBezTo>
                <a:cubicBezTo>
                  <a:pt x="8089069" y="5699241"/>
                  <a:pt x="8090401" y="5698442"/>
                  <a:pt x="8091332" y="5697376"/>
                </a:cubicBezTo>
                <a:cubicBezTo>
                  <a:pt x="8092397" y="5696178"/>
                  <a:pt x="8093329" y="5694847"/>
                  <a:pt x="8093994" y="5693117"/>
                </a:cubicBezTo>
                <a:cubicBezTo>
                  <a:pt x="8094660" y="5691519"/>
                  <a:pt x="8094926" y="5689655"/>
                  <a:pt x="8094926" y="5687659"/>
                </a:cubicBezTo>
                <a:cubicBezTo>
                  <a:pt x="8094926" y="5685795"/>
                  <a:pt x="8094660" y="5684064"/>
                  <a:pt x="8093994" y="5682467"/>
                </a:cubicBezTo>
                <a:cubicBezTo>
                  <a:pt x="8093329" y="5680870"/>
                  <a:pt x="8092397" y="5679539"/>
                  <a:pt x="8091332" y="5678341"/>
                </a:cubicBezTo>
                <a:cubicBezTo>
                  <a:pt x="8090267" y="5677276"/>
                  <a:pt x="8088936" y="5676344"/>
                  <a:pt x="8087338" y="5675678"/>
                </a:cubicBezTo>
                <a:cubicBezTo>
                  <a:pt x="8085874" y="5675013"/>
                  <a:pt x="8084277" y="5674747"/>
                  <a:pt x="8082281" y="5674747"/>
                </a:cubicBezTo>
                <a:close/>
                <a:moveTo>
                  <a:pt x="7864636" y="5674747"/>
                </a:moveTo>
                <a:cubicBezTo>
                  <a:pt x="7858779" y="5674747"/>
                  <a:pt x="7856249" y="5676610"/>
                  <a:pt x="7854652" y="5678341"/>
                </a:cubicBezTo>
                <a:cubicBezTo>
                  <a:pt x="7852123" y="5681003"/>
                  <a:pt x="7851058" y="5683798"/>
                  <a:pt x="7851058" y="5687792"/>
                </a:cubicBezTo>
                <a:cubicBezTo>
                  <a:pt x="7851058" y="5691919"/>
                  <a:pt x="7852123" y="5694714"/>
                  <a:pt x="7854652" y="5697243"/>
                </a:cubicBezTo>
                <a:cubicBezTo>
                  <a:pt x="7856249" y="5698842"/>
                  <a:pt x="7858779" y="5700705"/>
                  <a:pt x="7864636" y="5700705"/>
                </a:cubicBezTo>
                <a:cubicBezTo>
                  <a:pt x="7866633" y="5700705"/>
                  <a:pt x="7868363" y="5700439"/>
                  <a:pt x="7869961" y="5699773"/>
                </a:cubicBezTo>
                <a:cubicBezTo>
                  <a:pt x="7871425" y="5699241"/>
                  <a:pt x="7872756" y="5698442"/>
                  <a:pt x="7873687" y="5697376"/>
                </a:cubicBezTo>
                <a:cubicBezTo>
                  <a:pt x="7874753" y="5696178"/>
                  <a:pt x="7875685" y="5694847"/>
                  <a:pt x="7876350" y="5693117"/>
                </a:cubicBezTo>
                <a:cubicBezTo>
                  <a:pt x="7877015" y="5691519"/>
                  <a:pt x="7877282" y="5689655"/>
                  <a:pt x="7877282" y="5687659"/>
                </a:cubicBezTo>
                <a:cubicBezTo>
                  <a:pt x="7877282" y="5685795"/>
                  <a:pt x="7877015" y="5684064"/>
                  <a:pt x="7876350" y="5682467"/>
                </a:cubicBezTo>
                <a:cubicBezTo>
                  <a:pt x="7875685" y="5680870"/>
                  <a:pt x="7874753" y="5679539"/>
                  <a:pt x="7873687" y="5678341"/>
                </a:cubicBezTo>
                <a:cubicBezTo>
                  <a:pt x="7872623" y="5677276"/>
                  <a:pt x="7871291" y="5676344"/>
                  <a:pt x="7869694" y="5675678"/>
                </a:cubicBezTo>
                <a:cubicBezTo>
                  <a:pt x="7868230" y="5675013"/>
                  <a:pt x="7866633" y="5674747"/>
                  <a:pt x="7864636" y="5674747"/>
                </a:cubicBezTo>
                <a:close/>
                <a:moveTo>
                  <a:pt x="7646991" y="5674747"/>
                </a:moveTo>
                <a:cubicBezTo>
                  <a:pt x="7641134" y="5674747"/>
                  <a:pt x="7638604" y="5676610"/>
                  <a:pt x="7637007" y="5678341"/>
                </a:cubicBezTo>
                <a:cubicBezTo>
                  <a:pt x="7634478" y="5681003"/>
                  <a:pt x="7633413" y="5683798"/>
                  <a:pt x="7633413" y="5687792"/>
                </a:cubicBezTo>
                <a:cubicBezTo>
                  <a:pt x="7633413" y="5691919"/>
                  <a:pt x="7634478" y="5694714"/>
                  <a:pt x="7637007" y="5697243"/>
                </a:cubicBezTo>
                <a:cubicBezTo>
                  <a:pt x="7638604" y="5698842"/>
                  <a:pt x="7641134" y="5700705"/>
                  <a:pt x="7646991" y="5700705"/>
                </a:cubicBezTo>
                <a:cubicBezTo>
                  <a:pt x="7648987" y="5700705"/>
                  <a:pt x="7650851" y="5700439"/>
                  <a:pt x="7652315" y="5699773"/>
                </a:cubicBezTo>
                <a:cubicBezTo>
                  <a:pt x="7653780" y="5699241"/>
                  <a:pt x="7655111" y="5698442"/>
                  <a:pt x="7656042" y="5697376"/>
                </a:cubicBezTo>
                <a:cubicBezTo>
                  <a:pt x="7657108" y="5696178"/>
                  <a:pt x="7658039" y="5694847"/>
                  <a:pt x="7658705" y="5693117"/>
                </a:cubicBezTo>
                <a:cubicBezTo>
                  <a:pt x="7659504" y="5691519"/>
                  <a:pt x="7659769" y="5689655"/>
                  <a:pt x="7659769" y="5687659"/>
                </a:cubicBezTo>
                <a:cubicBezTo>
                  <a:pt x="7659769" y="5685795"/>
                  <a:pt x="7659370" y="5684064"/>
                  <a:pt x="7658705" y="5682467"/>
                </a:cubicBezTo>
                <a:cubicBezTo>
                  <a:pt x="7658039" y="5680870"/>
                  <a:pt x="7657108" y="5679539"/>
                  <a:pt x="7656042" y="5678341"/>
                </a:cubicBezTo>
                <a:cubicBezTo>
                  <a:pt x="7654977" y="5677276"/>
                  <a:pt x="7653646" y="5676344"/>
                  <a:pt x="7652049" y="5675678"/>
                </a:cubicBezTo>
                <a:cubicBezTo>
                  <a:pt x="7650584" y="5675013"/>
                  <a:pt x="7648987" y="5674747"/>
                  <a:pt x="7646991" y="5674747"/>
                </a:cubicBezTo>
                <a:close/>
                <a:moveTo>
                  <a:pt x="7429345" y="5674747"/>
                </a:moveTo>
                <a:cubicBezTo>
                  <a:pt x="7423488" y="5674747"/>
                  <a:pt x="7420958" y="5676610"/>
                  <a:pt x="7419361" y="5678341"/>
                </a:cubicBezTo>
                <a:cubicBezTo>
                  <a:pt x="7416832" y="5681003"/>
                  <a:pt x="7415768" y="5683798"/>
                  <a:pt x="7415768" y="5687792"/>
                </a:cubicBezTo>
                <a:cubicBezTo>
                  <a:pt x="7415768" y="5691919"/>
                  <a:pt x="7416832" y="5694714"/>
                  <a:pt x="7419361" y="5697243"/>
                </a:cubicBezTo>
                <a:cubicBezTo>
                  <a:pt x="7420958" y="5698842"/>
                  <a:pt x="7423488" y="5700705"/>
                  <a:pt x="7429345" y="5700705"/>
                </a:cubicBezTo>
                <a:cubicBezTo>
                  <a:pt x="7431342" y="5700705"/>
                  <a:pt x="7433206" y="5700439"/>
                  <a:pt x="7434670" y="5699773"/>
                </a:cubicBezTo>
                <a:cubicBezTo>
                  <a:pt x="7436134" y="5699241"/>
                  <a:pt x="7437466" y="5698442"/>
                  <a:pt x="7438397" y="5697376"/>
                </a:cubicBezTo>
                <a:cubicBezTo>
                  <a:pt x="7439462" y="5696178"/>
                  <a:pt x="7440394" y="5694847"/>
                  <a:pt x="7441059" y="5693117"/>
                </a:cubicBezTo>
                <a:cubicBezTo>
                  <a:pt x="7441858" y="5691519"/>
                  <a:pt x="7442124" y="5689655"/>
                  <a:pt x="7442124" y="5687659"/>
                </a:cubicBezTo>
                <a:cubicBezTo>
                  <a:pt x="7442124" y="5685795"/>
                  <a:pt x="7441725" y="5684064"/>
                  <a:pt x="7441059" y="5682467"/>
                </a:cubicBezTo>
                <a:cubicBezTo>
                  <a:pt x="7440394" y="5680870"/>
                  <a:pt x="7439462" y="5679539"/>
                  <a:pt x="7438397" y="5678341"/>
                </a:cubicBezTo>
                <a:cubicBezTo>
                  <a:pt x="7437332" y="5677276"/>
                  <a:pt x="7436001" y="5676344"/>
                  <a:pt x="7434403" y="5675678"/>
                </a:cubicBezTo>
                <a:cubicBezTo>
                  <a:pt x="7432939" y="5675013"/>
                  <a:pt x="7431342" y="5674747"/>
                  <a:pt x="7429345" y="5674747"/>
                </a:cubicBezTo>
                <a:close/>
                <a:moveTo>
                  <a:pt x="7211701" y="5674747"/>
                </a:moveTo>
                <a:cubicBezTo>
                  <a:pt x="7205844" y="5674747"/>
                  <a:pt x="7203314" y="5676610"/>
                  <a:pt x="7201717" y="5678341"/>
                </a:cubicBezTo>
                <a:cubicBezTo>
                  <a:pt x="7199188" y="5681003"/>
                  <a:pt x="7198123" y="5683798"/>
                  <a:pt x="7198123" y="5687792"/>
                </a:cubicBezTo>
                <a:cubicBezTo>
                  <a:pt x="7198123" y="5691919"/>
                  <a:pt x="7199188" y="5694714"/>
                  <a:pt x="7201717" y="5697243"/>
                </a:cubicBezTo>
                <a:cubicBezTo>
                  <a:pt x="7203314" y="5698842"/>
                  <a:pt x="7205844" y="5700705"/>
                  <a:pt x="7211701" y="5700705"/>
                </a:cubicBezTo>
                <a:cubicBezTo>
                  <a:pt x="7213830" y="5700705"/>
                  <a:pt x="7215561" y="5700439"/>
                  <a:pt x="7217026" y="5699773"/>
                </a:cubicBezTo>
                <a:cubicBezTo>
                  <a:pt x="7218490" y="5699241"/>
                  <a:pt x="7219821" y="5698442"/>
                  <a:pt x="7220752" y="5697376"/>
                </a:cubicBezTo>
                <a:cubicBezTo>
                  <a:pt x="7221818" y="5696178"/>
                  <a:pt x="7222750" y="5694847"/>
                  <a:pt x="7223415" y="5693117"/>
                </a:cubicBezTo>
                <a:cubicBezTo>
                  <a:pt x="7224214" y="5691519"/>
                  <a:pt x="7224480" y="5689655"/>
                  <a:pt x="7224480" y="5687659"/>
                </a:cubicBezTo>
                <a:cubicBezTo>
                  <a:pt x="7224480" y="5685795"/>
                  <a:pt x="7224080" y="5684064"/>
                  <a:pt x="7223415" y="5682467"/>
                </a:cubicBezTo>
                <a:cubicBezTo>
                  <a:pt x="7222750" y="5680870"/>
                  <a:pt x="7221818" y="5679539"/>
                  <a:pt x="7220752" y="5678341"/>
                </a:cubicBezTo>
                <a:cubicBezTo>
                  <a:pt x="7219687" y="5677276"/>
                  <a:pt x="7218356" y="5676344"/>
                  <a:pt x="7216759" y="5675678"/>
                </a:cubicBezTo>
                <a:cubicBezTo>
                  <a:pt x="7215295" y="5675013"/>
                  <a:pt x="7213698" y="5674747"/>
                  <a:pt x="7211701" y="5674747"/>
                </a:cubicBezTo>
                <a:close/>
                <a:moveTo>
                  <a:pt x="6994056" y="5674747"/>
                </a:moveTo>
                <a:cubicBezTo>
                  <a:pt x="6988199" y="5674747"/>
                  <a:pt x="6985669" y="5676610"/>
                  <a:pt x="6984072" y="5678341"/>
                </a:cubicBezTo>
                <a:cubicBezTo>
                  <a:pt x="6981543" y="5681003"/>
                  <a:pt x="6980478" y="5683798"/>
                  <a:pt x="6980478" y="5687792"/>
                </a:cubicBezTo>
                <a:cubicBezTo>
                  <a:pt x="6980478" y="5691919"/>
                  <a:pt x="6981543" y="5694714"/>
                  <a:pt x="6984072" y="5697243"/>
                </a:cubicBezTo>
                <a:cubicBezTo>
                  <a:pt x="6985669" y="5698842"/>
                  <a:pt x="6988199" y="5700705"/>
                  <a:pt x="6994056" y="5700705"/>
                </a:cubicBezTo>
                <a:cubicBezTo>
                  <a:pt x="6996185" y="5700705"/>
                  <a:pt x="6997916" y="5700439"/>
                  <a:pt x="6999380" y="5699773"/>
                </a:cubicBezTo>
                <a:cubicBezTo>
                  <a:pt x="7000844" y="5699241"/>
                  <a:pt x="7002176" y="5698442"/>
                  <a:pt x="7003107" y="5697376"/>
                </a:cubicBezTo>
                <a:cubicBezTo>
                  <a:pt x="7004172" y="5696178"/>
                  <a:pt x="7005104" y="5694847"/>
                  <a:pt x="7005769" y="5693117"/>
                </a:cubicBezTo>
                <a:cubicBezTo>
                  <a:pt x="7006568" y="5691519"/>
                  <a:pt x="7006834" y="5689655"/>
                  <a:pt x="7006834" y="5687659"/>
                </a:cubicBezTo>
                <a:cubicBezTo>
                  <a:pt x="7006834" y="5685795"/>
                  <a:pt x="7006435" y="5684064"/>
                  <a:pt x="7005769" y="5682467"/>
                </a:cubicBezTo>
                <a:cubicBezTo>
                  <a:pt x="7005104" y="5680870"/>
                  <a:pt x="7004172" y="5679539"/>
                  <a:pt x="7003107" y="5678341"/>
                </a:cubicBezTo>
                <a:cubicBezTo>
                  <a:pt x="7002042" y="5677276"/>
                  <a:pt x="7000711" y="5676344"/>
                  <a:pt x="6999113" y="5675678"/>
                </a:cubicBezTo>
                <a:cubicBezTo>
                  <a:pt x="6997649" y="5675013"/>
                  <a:pt x="6996052" y="5674747"/>
                  <a:pt x="6994056" y="5674747"/>
                </a:cubicBezTo>
                <a:close/>
                <a:moveTo>
                  <a:pt x="6776544" y="5674747"/>
                </a:moveTo>
                <a:cubicBezTo>
                  <a:pt x="6770687" y="5674747"/>
                  <a:pt x="6768157" y="5676610"/>
                  <a:pt x="6766560" y="5678341"/>
                </a:cubicBezTo>
                <a:cubicBezTo>
                  <a:pt x="6764031" y="5681003"/>
                  <a:pt x="6762966" y="5683798"/>
                  <a:pt x="6762966" y="5687792"/>
                </a:cubicBezTo>
                <a:cubicBezTo>
                  <a:pt x="6762966" y="5691919"/>
                  <a:pt x="6764031" y="5694714"/>
                  <a:pt x="6766560" y="5697243"/>
                </a:cubicBezTo>
                <a:cubicBezTo>
                  <a:pt x="6768157" y="5698842"/>
                  <a:pt x="6770687" y="5700705"/>
                  <a:pt x="6776544" y="5700705"/>
                </a:cubicBezTo>
                <a:cubicBezTo>
                  <a:pt x="6778541" y="5700705"/>
                  <a:pt x="6780270" y="5700439"/>
                  <a:pt x="6781869" y="5699773"/>
                </a:cubicBezTo>
                <a:cubicBezTo>
                  <a:pt x="6783333" y="5699241"/>
                  <a:pt x="6784664" y="5698442"/>
                  <a:pt x="6785595" y="5697376"/>
                </a:cubicBezTo>
                <a:cubicBezTo>
                  <a:pt x="6786661" y="5696178"/>
                  <a:pt x="6787593" y="5694847"/>
                  <a:pt x="6788258" y="5693117"/>
                </a:cubicBezTo>
                <a:cubicBezTo>
                  <a:pt x="6789057" y="5691519"/>
                  <a:pt x="6789323" y="5689655"/>
                  <a:pt x="6789323" y="5687659"/>
                </a:cubicBezTo>
                <a:cubicBezTo>
                  <a:pt x="6789323" y="5685795"/>
                  <a:pt x="6788923" y="5684064"/>
                  <a:pt x="6788258" y="5682467"/>
                </a:cubicBezTo>
                <a:cubicBezTo>
                  <a:pt x="6787593" y="5680870"/>
                  <a:pt x="6786661" y="5679539"/>
                  <a:pt x="6785595" y="5678341"/>
                </a:cubicBezTo>
                <a:cubicBezTo>
                  <a:pt x="6784530" y="5677276"/>
                  <a:pt x="6783199" y="5676344"/>
                  <a:pt x="6781602" y="5675678"/>
                </a:cubicBezTo>
                <a:cubicBezTo>
                  <a:pt x="6780138" y="5675013"/>
                  <a:pt x="6778541" y="5674747"/>
                  <a:pt x="6776544" y="5674747"/>
                </a:cubicBezTo>
                <a:close/>
                <a:moveTo>
                  <a:pt x="6558899" y="5674747"/>
                </a:moveTo>
                <a:cubicBezTo>
                  <a:pt x="6553042" y="5674747"/>
                  <a:pt x="6550512" y="5676610"/>
                  <a:pt x="6548915" y="5678341"/>
                </a:cubicBezTo>
                <a:cubicBezTo>
                  <a:pt x="6546386" y="5681003"/>
                  <a:pt x="6545321" y="5683798"/>
                  <a:pt x="6545321" y="5687792"/>
                </a:cubicBezTo>
                <a:cubicBezTo>
                  <a:pt x="6545321" y="5691919"/>
                  <a:pt x="6546386" y="5694714"/>
                  <a:pt x="6548915" y="5697243"/>
                </a:cubicBezTo>
                <a:cubicBezTo>
                  <a:pt x="6550512" y="5698842"/>
                  <a:pt x="6553042" y="5700705"/>
                  <a:pt x="6558899" y="5700705"/>
                </a:cubicBezTo>
                <a:cubicBezTo>
                  <a:pt x="6560895" y="5700705"/>
                  <a:pt x="6562759" y="5700439"/>
                  <a:pt x="6564223" y="5699773"/>
                </a:cubicBezTo>
                <a:cubicBezTo>
                  <a:pt x="6565687" y="5699241"/>
                  <a:pt x="6567019" y="5698442"/>
                  <a:pt x="6567950" y="5697376"/>
                </a:cubicBezTo>
                <a:cubicBezTo>
                  <a:pt x="6569015" y="5696178"/>
                  <a:pt x="6569947" y="5694847"/>
                  <a:pt x="6570612" y="5693117"/>
                </a:cubicBezTo>
                <a:cubicBezTo>
                  <a:pt x="6571412" y="5691519"/>
                  <a:pt x="6571677" y="5689655"/>
                  <a:pt x="6571677" y="5687659"/>
                </a:cubicBezTo>
                <a:cubicBezTo>
                  <a:pt x="6571677" y="5685795"/>
                  <a:pt x="6571278" y="5684064"/>
                  <a:pt x="6570612" y="5682467"/>
                </a:cubicBezTo>
                <a:cubicBezTo>
                  <a:pt x="6569947" y="5680870"/>
                  <a:pt x="6569015" y="5679539"/>
                  <a:pt x="6567950" y="5678341"/>
                </a:cubicBezTo>
                <a:cubicBezTo>
                  <a:pt x="6566885" y="5677276"/>
                  <a:pt x="6565554" y="5676344"/>
                  <a:pt x="6563956" y="5675678"/>
                </a:cubicBezTo>
                <a:cubicBezTo>
                  <a:pt x="6562492" y="5675013"/>
                  <a:pt x="6560895" y="5674747"/>
                  <a:pt x="6558899" y="5674747"/>
                </a:cubicBezTo>
                <a:close/>
                <a:moveTo>
                  <a:pt x="6341253" y="5674747"/>
                </a:moveTo>
                <a:cubicBezTo>
                  <a:pt x="6335396" y="5674747"/>
                  <a:pt x="6332867" y="5676610"/>
                  <a:pt x="6331270" y="5678341"/>
                </a:cubicBezTo>
                <a:cubicBezTo>
                  <a:pt x="6328740" y="5681003"/>
                  <a:pt x="6327675" y="5683798"/>
                  <a:pt x="6327675" y="5687792"/>
                </a:cubicBezTo>
                <a:cubicBezTo>
                  <a:pt x="6327675" y="5691919"/>
                  <a:pt x="6328740" y="5694714"/>
                  <a:pt x="6331270" y="5697243"/>
                </a:cubicBezTo>
                <a:cubicBezTo>
                  <a:pt x="6332867" y="5698842"/>
                  <a:pt x="6335396" y="5700705"/>
                  <a:pt x="6341253" y="5700705"/>
                </a:cubicBezTo>
                <a:cubicBezTo>
                  <a:pt x="6343250" y="5700705"/>
                  <a:pt x="6345114" y="5700439"/>
                  <a:pt x="6346578" y="5699773"/>
                </a:cubicBezTo>
                <a:cubicBezTo>
                  <a:pt x="6348042" y="5699241"/>
                  <a:pt x="6349373" y="5698442"/>
                  <a:pt x="6350305" y="5697376"/>
                </a:cubicBezTo>
                <a:cubicBezTo>
                  <a:pt x="6351370" y="5696178"/>
                  <a:pt x="6352302" y="5694847"/>
                  <a:pt x="6352968" y="5693117"/>
                </a:cubicBezTo>
                <a:cubicBezTo>
                  <a:pt x="6353766" y="5691519"/>
                  <a:pt x="6354033" y="5689655"/>
                  <a:pt x="6354033" y="5687659"/>
                </a:cubicBezTo>
                <a:cubicBezTo>
                  <a:pt x="6354033" y="5685795"/>
                  <a:pt x="6353633" y="5684064"/>
                  <a:pt x="6352968" y="5682467"/>
                </a:cubicBezTo>
                <a:cubicBezTo>
                  <a:pt x="6352302" y="5680870"/>
                  <a:pt x="6351370" y="5679539"/>
                  <a:pt x="6350305" y="5678341"/>
                </a:cubicBezTo>
                <a:cubicBezTo>
                  <a:pt x="6349241" y="5677276"/>
                  <a:pt x="6347909" y="5676344"/>
                  <a:pt x="6346312" y="5675678"/>
                </a:cubicBezTo>
                <a:cubicBezTo>
                  <a:pt x="6344848" y="5675013"/>
                  <a:pt x="6343250" y="5674747"/>
                  <a:pt x="6341253" y="5674747"/>
                </a:cubicBezTo>
                <a:close/>
                <a:moveTo>
                  <a:pt x="6123608" y="5674747"/>
                </a:moveTo>
                <a:cubicBezTo>
                  <a:pt x="6117751" y="5674747"/>
                  <a:pt x="6115221" y="5676610"/>
                  <a:pt x="6113624" y="5678341"/>
                </a:cubicBezTo>
                <a:cubicBezTo>
                  <a:pt x="6111095" y="5681003"/>
                  <a:pt x="6110030" y="5683798"/>
                  <a:pt x="6110030" y="5687792"/>
                </a:cubicBezTo>
                <a:cubicBezTo>
                  <a:pt x="6110030" y="5691919"/>
                  <a:pt x="6111095" y="5694714"/>
                  <a:pt x="6113624" y="5697243"/>
                </a:cubicBezTo>
                <a:cubicBezTo>
                  <a:pt x="6115221" y="5698842"/>
                  <a:pt x="6117751" y="5700705"/>
                  <a:pt x="6123608" y="5700705"/>
                </a:cubicBezTo>
                <a:cubicBezTo>
                  <a:pt x="6125737" y="5700705"/>
                  <a:pt x="6127468" y="5700439"/>
                  <a:pt x="6128932" y="5699773"/>
                </a:cubicBezTo>
                <a:cubicBezTo>
                  <a:pt x="6130530" y="5699241"/>
                  <a:pt x="6131728" y="5698442"/>
                  <a:pt x="6132659" y="5697376"/>
                </a:cubicBezTo>
                <a:cubicBezTo>
                  <a:pt x="6133724" y="5696178"/>
                  <a:pt x="6134656" y="5694847"/>
                  <a:pt x="6135322" y="5693117"/>
                </a:cubicBezTo>
                <a:cubicBezTo>
                  <a:pt x="6135987" y="5691519"/>
                  <a:pt x="6136387" y="5689655"/>
                  <a:pt x="6136387" y="5687659"/>
                </a:cubicBezTo>
                <a:cubicBezTo>
                  <a:pt x="6136387" y="5685795"/>
                  <a:pt x="6135987" y="5684064"/>
                  <a:pt x="6135322" y="5682467"/>
                </a:cubicBezTo>
                <a:cubicBezTo>
                  <a:pt x="6134656" y="5680870"/>
                  <a:pt x="6133724" y="5679539"/>
                  <a:pt x="6132659" y="5678341"/>
                </a:cubicBezTo>
                <a:cubicBezTo>
                  <a:pt x="6131594" y="5677276"/>
                  <a:pt x="6130263" y="5676344"/>
                  <a:pt x="6128666" y="5675678"/>
                </a:cubicBezTo>
                <a:cubicBezTo>
                  <a:pt x="6127202" y="5675013"/>
                  <a:pt x="6125604" y="5674747"/>
                  <a:pt x="6123608" y="5674747"/>
                </a:cubicBezTo>
                <a:close/>
                <a:moveTo>
                  <a:pt x="5905963" y="5674747"/>
                </a:moveTo>
                <a:cubicBezTo>
                  <a:pt x="5900106" y="5674747"/>
                  <a:pt x="5897576" y="5676610"/>
                  <a:pt x="5895979" y="5678341"/>
                </a:cubicBezTo>
                <a:cubicBezTo>
                  <a:pt x="5893450" y="5681003"/>
                  <a:pt x="5892385" y="5683798"/>
                  <a:pt x="5892385" y="5687792"/>
                </a:cubicBezTo>
                <a:cubicBezTo>
                  <a:pt x="5892385" y="5691919"/>
                  <a:pt x="5893450" y="5694714"/>
                  <a:pt x="5895979" y="5697243"/>
                </a:cubicBezTo>
                <a:cubicBezTo>
                  <a:pt x="5897576" y="5698842"/>
                  <a:pt x="5900106" y="5700705"/>
                  <a:pt x="5905963" y="5700705"/>
                </a:cubicBezTo>
                <a:cubicBezTo>
                  <a:pt x="5908093" y="5700705"/>
                  <a:pt x="5909823" y="5700439"/>
                  <a:pt x="5911287" y="5699773"/>
                </a:cubicBezTo>
                <a:cubicBezTo>
                  <a:pt x="5912751" y="5699241"/>
                  <a:pt x="5914083" y="5698442"/>
                  <a:pt x="5915014" y="5697376"/>
                </a:cubicBezTo>
                <a:cubicBezTo>
                  <a:pt x="5916079" y="5696178"/>
                  <a:pt x="5917011" y="5694847"/>
                  <a:pt x="5917677" y="5693117"/>
                </a:cubicBezTo>
                <a:cubicBezTo>
                  <a:pt x="5918342" y="5691519"/>
                  <a:pt x="5918742" y="5689655"/>
                  <a:pt x="5918742" y="5687659"/>
                </a:cubicBezTo>
                <a:cubicBezTo>
                  <a:pt x="5918742" y="5685795"/>
                  <a:pt x="5918342" y="5684064"/>
                  <a:pt x="5917677" y="5682467"/>
                </a:cubicBezTo>
                <a:cubicBezTo>
                  <a:pt x="5917011" y="5680870"/>
                  <a:pt x="5916079" y="5679539"/>
                  <a:pt x="5915014" y="5678341"/>
                </a:cubicBezTo>
                <a:cubicBezTo>
                  <a:pt x="5913950" y="5677276"/>
                  <a:pt x="5912618" y="5676344"/>
                  <a:pt x="5911021" y="5675678"/>
                </a:cubicBezTo>
                <a:cubicBezTo>
                  <a:pt x="5909557" y="5675013"/>
                  <a:pt x="5907826" y="5674747"/>
                  <a:pt x="5905963" y="5674747"/>
                </a:cubicBezTo>
                <a:close/>
                <a:moveTo>
                  <a:pt x="5688451" y="5674747"/>
                </a:moveTo>
                <a:cubicBezTo>
                  <a:pt x="5682594" y="5674747"/>
                  <a:pt x="5680064" y="5676610"/>
                  <a:pt x="5678467" y="5678341"/>
                </a:cubicBezTo>
                <a:cubicBezTo>
                  <a:pt x="5675938" y="5681003"/>
                  <a:pt x="5674873" y="5683798"/>
                  <a:pt x="5674873" y="5687792"/>
                </a:cubicBezTo>
                <a:cubicBezTo>
                  <a:pt x="5674873" y="5691919"/>
                  <a:pt x="5675938" y="5694714"/>
                  <a:pt x="5678467" y="5697243"/>
                </a:cubicBezTo>
                <a:cubicBezTo>
                  <a:pt x="5680064" y="5698842"/>
                  <a:pt x="5682594" y="5700705"/>
                  <a:pt x="5688451" y="5700705"/>
                </a:cubicBezTo>
                <a:cubicBezTo>
                  <a:pt x="5690447" y="5700705"/>
                  <a:pt x="5692178" y="5700439"/>
                  <a:pt x="5693775" y="5699773"/>
                </a:cubicBezTo>
                <a:cubicBezTo>
                  <a:pt x="5695239" y="5699241"/>
                  <a:pt x="5696571" y="5698442"/>
                  <a:pt x="5697502" y="5697376"/>
                </a:cubicBezTo>
                <a:cubicBezTo>
                  <a:pt x="5698567" y="5696178"/>
                  <a:pt x="5699499" y="5694847"/>
                  <a:pt x="5700165" y="5693117"/>
                </a:cubicBezTo>
                <a:cubicBezTo>
                  <a:pt x="5700830" y="5691519"/>
                  <a:pt x="5701230" y="5689655"/>
                  <a:pt x="5701230" y="5687659"/>
                </a:cubicBezTo>
                <a:cubicBezTo>
                  <a:pt x="5701230" y="5685795"/>
                  <a:pt x="5700830" y="5684064"/>
                  <a:pt x="5700165" y="5682467"/>
                </a:cubicBezTo>
                <a:cubicBezTo>
                  <a:pt x="5699499" y="5680870"/>
                  <a:pt x="5698567" y="5679539"/>
                  <a:pt x="5697502" y="5678341"/>
                </a:cubicBezTo>
                <a:cubicBezTo>
                  <a:pt x="5696437" y="5677276"/>
                  <a:pt x="5695106" y="5676344"/>
                  <a:pt x="5693509" y="5675678"/>
                </a:cubicBezTo>
                <a:cubicBezTo>
                  <a:pt x="5692045" y="5675013"/>
                  <a:pt x="5690314" y="5674747"/>
                  <a:pt x="5688451" y="5674747"/>
                </a:cubicBezTo>
                <a:close/>
                <a:moveTo>
                  <a:pt x="5470806" y="5674747"/>
                </a:moveTo>
                <a:cubicBezTo>
                  <a:pt x="5464949" y="5674747"/>
                  <a:pt x="5462419" y="5676610"/>
                  <a:pt x="5460822" y="5678341"/>
                </a:cubicBezTo>
                <a:cubicBezTo>
                  <a:pt x="5458293" y="5681003"/>
                  <a:pt x="5457228" y="5683798"/>
                  <a:pt x="5457228" y="5687792"/>
                </a:cubicBezTo>
                <a:cubicBezTo>
                  <a:pt x="5457228" y="5691919"/>
                  <a:pt x="5458293" y="5694714"/>
                  <a:pt x="5460822" y="5697243"/>
                </a:cubicBezTo>
                <a:cubicBezTo>
                  <a:pt x="5462419" y="5698842"/>
                  <a:pt x="5464949" y="5700705"/>
                  <a:pt x="5470806" y="5700705"/>
                </a:cubicBezTo>
                <a:cubicBezTo>
                  <a:pt x="5472802" y="5700705"/>
                  <a:pt x="5474666" y="5700439"/>
                  <a:pt x="5476130" y="5699773"/>
                </a:cubicBezTo>
                <a:cubicBezTo>
                  <a:pt x="5477594" y="5699241"/>
                  <a:pt x="5478926" y="5698442"/>
                  <a:pt x="5479857" y="5697376"/>
                </a:cubicBezTo>
                <a:cubicBezTo>
                  <a:pt x="5480922" y="5696178"/>
                  <a:pt x="5481854" y="5694847"/>
                  <a:pt x="5482520" y="5693117"/>
                </a:cubicBezTo>
                <a:cubicBezTo>
                  <a:pt x="5483319" y="5691519"/>
                  <a:pt x="5483585" y="5689655"/>
                  <a:pt x="5483585" y="5687659"/>
                </a:cubicBezTo>
                <a:cubicBezTo>
                  <a:pt x="5483585" y="5685795"/>
                  <a:pt x="5483185" y="5684064"/>
                  <a:pt x="5482520" y="5682467"/>
                </a:cubicBezTo>
                <a:cubicBezTo>
                  <a:pt x="5481854" y="5680870"/>
                  <a:pt x="5480922" y="5679539"/>
                  <a:pt x="5479857" y="5678341"/>
                </a:cubicBezTo>
                <a:cubicBezTo>
                  <a:pt x="5478793" y="5677276"/>
                  <a:pt x="5477461" y="5676344"/>
                  <a:pt x="5475864" y="5675678"/>
                </a:cubicBezTo>
                <a:cubicBezTo>
                  <a:pt x="5474400" y="5675013"/>
                  <a:pt x="5472669" y="5674747"/>
                  <a:pt x="5470806" y="5674747"/>
                </a:cubicBezTo>
                <a:close/>
                <a:moveTo>
                  <a:pt x="5253160" y="5674747"/>
                </a:moveTo>
                <a:cubicBezTo>
                  <a:pt x="5247303" y="5674747"/>
                  <a:pt x="5244774" y="5676610"/>
                  <a:pt x="5243177" y="5678341"/>
                </a:cubicBezTo>
                <a:cubicBezTo>
                  <a:pt x="5240647" y="5681003"/>
                  <a:pt x="5239583" y="5683798"/>
                  <a:pt x="5239583" y="5687792"/>
                </a:cubicBezTo>
                <a:cubicBezTo>
                  <a:pt x="5239583" y="5691919"/>
                  <a:pt x="5240647" y="5694714"/>
                  <a:pt x="5243177" y="5697243"/>
                </a:cubicBezTo>
                <a:cubicBezTo>
                  <a:pt x="5244774" y="5698842"/>
                  <a:pt x="5247303" y="5700705"/>
                  <a:pt x="5253160" y="5700705"/>
                </a:cubicBezTo>
                <a:cubicBezTo>
                  <a:pt x="5255157" y="5700705"/>
                  <a:pt x="5257021" y="5700439"/>
                  <a:pt x="5258485" y="5699773"/>
                </a:cubicBezTo>
                <a:cubicBezTo>
                  <a:pt x="5259949" y="5699241"/>
                  <a:pt x="5261280" y="5698442"/>
                  <a:pt x="5262212" y="5697376"/>
                </a:cubicBezTo>
                <a:cubicBezTo>
                  <a:pt x="5263277" y="5696178"/>
                  <a:pt x="5264209" y="5694847"/>
                  <a:pt x="5264875" y="5693117"/>
                </a:cubicBezTo>
                <a:cubicBezTo>
                  <a:pt x="5265673" y="5691519"/>
                  <a:pt x="5265939" y="5689655"/>
                  <a:pt x="5265939" y="5687659"/>
                </a:cubicBezTo>
                <a:cubicBezTo>
                  <a:pt x="5265939" y="5685795"/>
                  <a:pt x="5265540" y="5684064"/>
                  <a:pt x="5264875" y="5682467"/>
                </a:cubicBezTo>
                <a:cubicBezTo>
                  <a:pt x="5264209" y="5680870"/>
                  <a:pt x="5263277" y="5679539"/>
                  <a:pt x="5262212" y="5678341"/>
                </a:cubicBezTo>
                <a:cubicBezTo>
                  <a:pt x="5261147" y="5677276"/>
                  <a:pt x="5259816" y="5676344"/>
                  <a:pt x="5258219" y="5675678"/>
                </a:cubicBezTo>
                <a:cubicBezTo>
                  <a:pt x="5256754" y="5675013"/>
                  <a:pt x="5255024" y="5674747"/>
                  <a:pt x="5253160" y="5674747"/>
                </a:cubicBezTo>
                <a:close/>
                <a:moveTo>
                  <a:pt x="5035515" y="5674747"/>
                </a:moveTo>
                <a:cubicBezTo>
                  <a:pt x="5029658" y="5674747"/>
                  <a:pt x="5027129" y="5676610"/>
                  <a:pt x="5025532" y="5678341"/>
                </a:cubicBezTo>
                <a:cubicBezTo>
                  <a:pt x="5023002" y="5681003"/>
                  <a:pt x="5021938" y="5683798"/>
                  <a:pt x="5021938" y="5687792"/>
                </a:cubicBezTo>
                <a:cubicBezTo>
                  <a:pt x="5021938" y="5691919"/>
                  <a:pt x="5023002" y="5694714"/>
                  <a:pt x="5025532" y="5697243"/>
                </a:cubicBezTo>
                <a:cubicBezTo>
                  <a:pt x="5027129" y="5698842"/>
                  <a:pt x="5029658" y="5700705"/>
                  <a:pt x="5035515" y="5700705"/>
                </a:cubicBezTo>
                <a:cubicBezTo>
                  <a:pt x="5037645" y="5700705"/>
                  <a:pt x="5039376" y="5700439"/>
                  <a:pt x="5040840" y="5699773"/>
                </a:cubicBezTo>
                <a:cubicBezTo>
                  <a:pt x="5042304" y="5699241"/>
                  <a:pt x="5043636" y="5698442"/>
                  <a:pt x="5044567" y="5697376"/>
                </a:cubicBezTo>
                <a:cubicBezTo>
                  <a:pt x="5045632" y="5696178"/>
                  <a:pt x="5046564" y="5694847"/>
                  <a:pt x="5047230" y="5693117"/>
                </a:cubicBezTo>
                <a:cubicBezTo>
                  <a:pt x="5048028" y="5691519"/>
                  <a:pt x="5048294" y="5689655"/>
                  <a:pt x="5048294" y="5687659"/>
                </a:cubicBezTo>
                <a:cubicBezTo>
                  <a:pt x="5048294" y="5685795"/>
                  <a:pt x="5047895" y="5684064"/>
                  <a:pt x="5047230" y="5682467"/>
                </a:cubicBezTo>
                <a:cubicBezTo>
                  <a:pt x="5046564" y="5680870"/>
                  <a:pt x="5045632" y="5679539"/>
                  <a:pt x="5044567" y="5678341"/>
                </a:cubicBezTo>
                <a:cubicBezTo>
                  <a:pt x="5043502" y="5677276"/>
                  <a:pt x="5042171" y="5676344"/>
                  <a:pt x="5040574" y="5675678"/>
                </a:cubicBezTo>
                <a:cubicBezTo>
                  <a:pt x="5039110" y="5675013"/>
                  <a:pt x="5037379" y="5674747"/>
                  <a:pt x="5035515" y="5674747"/>
                </a:cubicBezTo>
                <a:close/>
                <a:moveTo>
                  <a:pt x="4817870" y="5674747"/>
                </a:moveTo>
                <a:cubicBezTo>
                  <a:pt x="4812013" y="5674747"/>
                  <a:pt x="4809484" y="5676610"/>
                  <a:pt x="4807887" y="5678341"/>
                </a:cubicBezTo>
                <a:cubicBezTo>
                  <a:pt x="4805357" y="5681003"/>
                  <a:pt x="4804293" y="5683798"/>
                  <a:pt x="4804293" y="5687792"/>
                </a:cubicBezTo>
                <a:cubicBezTo>
                  <a:pt x="4804293" y="5691919"/>
                  <a:pt x="4805357" y="5694714"/>
                  <a:pt x="4807887" y="5697243"/>
                </a:cubicBezTo>
                <a:cubicBezTo>
                  <a:pt x="4809484" y="5698842"/>
                  <a:pt x="4812013" y="5700705"/>
                  <a:pt x="4817870" y="5700705"/>
                </a:cubicBezTo>
                <a:cubicBezTo>
                  <a:pt x="4820000" y="5700705"/>
                  <a:pt x="4821731" y="5700439"/>
                  <a:pt x="4823195" y="5699773"/>
                </a:cubicBezTo>
                <a:cubicBezTo>
                  <a:pt x="4824659" y="5699241"/>
                  <a:pt x="4825857" y="5698442"/>
                  <a:pt x="4826922" y="5697376"/>
                </a:cubicBezTo>
                <a:cubicBezTo>
                  <a:pt x="4827987" y="5696178"/>
                  <a:pt x="4828919" y="5694847"/>
                  <a:pt x="4829585" y="5693117"/>
                </a:cubicBezTo>
                <a:cubicBezTo>
                  <a:pt x="4830383" y="5691519"/>
                  <a:pt x="4830650" y="5689655"/>
                  <a:pt x="4830650" y="5687659"/>
                </a:cubicBezTo>
                <a:cubicBezTo>
                  <a:pt x="4830650" y="5685795"/>
                  <a:pt x="4830250" y="5684064"/>
                  <a:pt x="4829585" y="5682467"/>
                </a:cubicBezTo>
                <a:cubicBezTo>
                  <a:pt x="4828919" y="5680870"/>
                  <a:pt x="4827987" y="5679539"/>
                  <a:pt x="4826922" y="5678341"/>
                </a:cubicBezTo>
                <a:cubicBezTo>
                  <a:pt x="4825857" y="5677276"/>
                  <a:pt x="4824526" y="5676344"/>
                  <a:pt x="4822929" y="5675678"/>
                </a:cubicBezTo>
                <a:cubicBezTo>
                  <a:pt x="4821465" y="5675013"/>
                  <a:pt x="4819734" y="5674747"/>
                  <a:pt x="4817870" y="5674747"/>
                </a:cubicBezTo>
                <a:close/>
                <a:moveTo>
                  <a:pt x="4600226" y="5674747"/>
                </a:moveTo>
                <a:cubicBezTo>
                  <a:pt x="4594369" y="5674747"/>
                  <a:pt x="4591839" y="5676610"/>
                  <a:pt x="4590242" y="5678341"/>
                </a:cubicBezTo>
                <a:cubicBezTo>
                  <a:pt x="4587713" y="5681003"/>
                  <a:pt x="4586648" y="5683798"/>
                  <a:pt x="4586648" y="5687792"/>
                </a:cubicBezTo>
                <a:cubicBezTo>
                  <a:pt x="4586648" y="5691919"/>
                  <a:pt x="4587713" y="5694714"/>
                  <a:pt x="4590242" y="5697243"/>
                </a:cubicBezTo>
                <a:cubicBezTo>
                  <a:pt x="4591839" y="5698842"/>
                  <a:pt x="4594369" y="5700705"/>
                  <a:pt x="4600226" y="5700705"/>
                </a:cubicBezTo>
                <a:cubicBezTo>
                  <a:pt x="4602355" y="5700705"/>
                  <a:pt x="4604086" y="5700439"/>
                  <a:pt x="4605550" y="5699773"/>
                </a:cubicBezTo>
                <a:cubicBezTo>
                  <a:pt x="4607148" y="5699241"/>
                  <a:pt x="4608346" y="5698442"/>
                  <a:pt x="4609277" y="5697376"/>
                </a:cubicBezTo>
                <a:cubicBezTo>
                  <a:pt x="4610342" y="5696178"/>
                  <a:pt x="4611274" y="5694847"/>
                  <a:pt x="4611940" y="5693117"/>
                </a:cubicBezTo>
                <a:cubicBezTo>
                  <a:pt x="4612605" y="5691519"/>
                  <a:pt x="4613005" y="5689655"/>
                  <a:pt x="4613005" y="5687659"/>
                </a:cubicBezTo>
                <a:cubicBezTo>
                  <a:pt x="4613005" y="5685795"/>
                  <a:pt x="4612605" y="5684064"/>
                  <a:pt x="4611940" y="5682467"/>
                </a:cubicBezTo>
                <a:cubicBezTo>
                  <a:pt x="4611274" y="5680870"/>
                  <a:pt x="4610342" y="5679539"/>
                  <a:pt x="4609277" y="5678341"/>
                </a:cubicBezTo>
                <a:cubicBezTo>
                  <a:pt x="4608212" y="5677276"/>
                  <a:pt x="4606881" y="5676344"/>
                  <a:pt x="4605284" y="5675678"/>
                </a:cubicBezTo>
                <a:cubicBezTo>
                  <a:pt x="4603820" y="5675013"/>
                  <a:pt x="4602222" y="5674747"/>
                  <a:pt x="4600226" y="5674747"/>
                </a:cubicBezTo>
                <a:close/>
                <a:moveTo>
                  <a:pt x="4382713" y="5674747"/>
                </a:moveTo>
                <a:cubicBezTo>
                  <a:pt x="4376857" y="5674747"/>
                  <a:pt x="4374327" y="5676610"/>
                  <a:pt x="4372730" y="5678341"/>
                </a:cubicBezTo>
                <a:cubicBezTo>
                  <a:pt x="4370201" y="5681003"/>
                  <a:pt x="4369136" y="5683798"/>
                  <a:pt x="4369136" y="5687792"/>
                </a:cubicBezTo>
                <a:cubicBezTo>
                  <a:pt x="4369136" y="5691919"/>
                  <a:pt x="4370201" y="5694714"/>
                  <a:pt x="4372730" y="5697243"/>
                </a:cubicBezTo>
                <a:cubicBezTo>
                  <a:pt x="4374327" y="5698842"/>
                  <a:pt x="4376857" y="5700705"/>
                  <a:pt x="4382713" y="5700705"/>
                </a:cubicBezTo>
                <a:cubicBezTo>
                  <a:pt x="4384710" y="5700705"/>
                  <a:pt x="4386441" y="5700439"/>
                  <a:pt x="4388038" y="5699773"/>
                </a:cubicBezTo>
                <a:cubicBezTo>
                  <a:pt x="4389502" y="5699241"/>
                  <a:pt x="4390834" y="5698442"/>
                  <a:pt x="4391765" y="5697376"/>
                </a:cubicBezTo>
                <a:cubicBezTo>
                  <a:pt x="4392830" y="5696178"/>
                  <a:pt x="4393762" y="5694847"/>
                  <a:pt x="4394428" y="5693117"/>
                </a:cubicBezTo>
                <a:cubicBezTo>
                  <a:pt x="4395093" y="5691519"/>
                  <a:pt x="4395493" y="5689655"/>
                  <a:pt x="4395493" y="5687659"/>
                </a:cubicBezTo>
                <a:cubicBezTo>
                  <a:pt x="4395493" y="5685795"/>
                  <a:pt x="4395093" y="5684064"/>
                  <a:pt x="4394428" y="5682467"/>
                </a:cubicBezTo>
                <a:cubicBezTo>
                  <a:pt x="4393762" y="5680870"/>
                  <a:pt x="4392830" y="5679539"/>
                  <a:pt x="4391765" y="5678341"/>
                </a:cubicBezTo>
                <a:cubicBezTo>
                  <a:pt x="4390700" y="5677276"/>
                  <a:pt x="4389369" y="5676344"/>
                  <a:pt x="4387772" y="5675678"/>
                </a:cubicBezTo>
                <a:cubicBezTo>
                  <a:pt x="4386308" y="5675013"/>
                  <a:pt x="4384710" y="5674747"/>
                  <a:pt x="4382713" y="5674747"/>
                </a:cubicBezTo>
                <a:close/>
                <a:moveTo>
                  <a:pt x="4165068" y="5674747"/>
                </a:moveTo>
                <a:cubicBezTo>
                  <a:pt x="4159211" y="5674747"/>
                  <a:pt x="4156681" y="5676610"/>
                  <a:pt x="4155084" y="5678341"/>
                </a:cubicBezTo>
                <a:cubicBezTo>
                  <a:pt x="4152555" y="5681003"/>
                  <a:pt x="4151490" y="5683798"/>
                  <a:pt x="4151490" y="5687792"/>
                </a:cubicBezTo>
                <a:cubicBezTo>
                  <a:pt x="4151490" y="5691919"/>
                  <a:pt x="4152555" y="5694714"/>
                  <a:pt x="4155084" y="5697243"/>
                </a:cubicBezTo>
                <a:cubicBezTo>
                  <a:pt x="4156681" y="5698842"/>
                  <a:pt x="4159211" y="5700705"/>
                  <a:pt x="4165068" y="5700705"/>
                </a:cubicBezTo>
                <a:cubicBezTo>
                  <a:pt x="4167064" y="5700705"/>
                  <a:pt x="4168928" y="5700439"/>
                  <a:pt x="4170392" y="5699773"/>
                </a:cubicBezTo>
                <a:cubicBezTo>
                  <a:pt x="4171856" y="5699241"/>
                  <a:pt x="4173188" y="5698442"/>
                  <a:pt x="4174119" y="5697376"/>
                </a:cubicBezTo>
                <a:cubicBezTo>
                  <a:pt x="4175184" y="5696178"/>
                  <a:pt x="4176116" y="5694847"/>
                  <a:pt x="4176782" y="5693117"/>
                </a:cubicBezTo>
                <a:cubicBezTo>
                  <a:pt x="4177447" y="5691519"/>
                  <a:pt x="4177847" y="5689655"/>
                  <a:pt x="4177847" y="5687659"/>
                </a:cubicBezTo>
                <a:cubicBezTo>
                  <a:pt x="4177847" y="5685795"/>
                  <a:pt x="4177447" y="5684064"/>
                  <a:pt x="4176782" y="5682467"/>
                </a:cubicBezTo>
                <a:cubicBezTo>
                  <a:pt x="4176116" y="5680870"/>
                  <a:pt x="4175184" y="5679539"/>
                  <a:pt x="4174119" y="5678341"/>
                </a:cubicBezTo>
                <a:cubicBezTo>
                  <a:pt x="4173054" y="5677276"/>
                  <a:pt x="4171723" y="5676344"/>
                  <a:pt x="4170126" y="5675678"/>
                </a:cubicBezTo>
                <a:cubicBezTo>
                  <a:pt x="4168662" y="5675013"/>
                  <a:pt x="4167064" y="5674747"/>
                  <a:pt x="4165068" y="5674747"/>
                </a:cubicBezTo>
                <a:close/>
                <a:moveTo>
                  <a:pt x="3947733" y="5674747"/>
                </a:moveTo>
                <a:cubicBezTo>
                  <a:pt x="3941875" y="5674747"/>
                  <a:pt x="3939346" y="5676610"/>
                  <a:pt x="3937749" y="5678341"/>
                </a:cubicBezTo>
                <a:cubicBezTo>
                  <a:pt x="3935218" y="5681003"/>
                  <a:pt x="3934155" y="5683798"/>
                  <a:pt x="3934155" y="5687792"/>
                </a:cubicBezTo>
                <a:cubicBezTo>
                  <a:pt x="3934155" y="5691919"/>
                  <a:pt x="3935218" y="5694714"/>
                  <a:pt x="3937749" y="5697243"/>
                </a:cubicBezTo>
                <a:cubicBezTo>
                  <a:pt x="3939346" y="5698842"/>
                  <a:pt x="3941875" y="5700705"/>
                  <a:pt x="3947733" y="5700705"/>
                </a:cubicBezTo>
                <a:cubicBezTo>
                  <a:pt x="3949730" y="5700705"/>
                  <a:pt x="3951594" y="5700439"/>
                  <a:pt x="3953061" y="5699773"/>
                </a:cubicBezTo>
                <a:cubicBezTo>
                  <a:pt x="3954525" y="5699241"/>
                  <a:pt x="3955855" y="5698442"/>
                  <a:pt x="3956788" y="5697376"/>
                </a:cubicBezTo>
                <a:cubicBezTo>
                  <a:pt x="3957853" y="5696178"/>
                  <a:pt x="3958785" y="5694847"/>
                  <a:pt x="3959451" y="5693117"/>
                </a:cubicBezTo>
                <a:cubicBezTo>
                  <a:pt x="3960116" y="5691519"/>
                  <a:pt x="3960516" y="5689655"/>
                  <a:pt x="3960516" y="5687659"/>
                </a:cubicBezTo>
                <a:cubicBezTo>
                  <a:pt x="3960516" y="5685795"/>
                  <a:pt x="3960116" y="5684064"/>
                  <a:pt x="3959451" y="5682467"/>
                </a:cubicBezTo>
                <a:cubicBezTo>
                  <a:pt x="3958785" y="5680870"/>
                  <a:pt x="3957853" y="5679539"/>
                  <a:pt x="3956788" y="5678341"/>
                </a:cubicBezTo>
                <a:cubicBezTo>
                  <a:pt x="3955723" y="5677276"/>
                  <a:pt x="3954392" y="5676344"/>
                  <a:pt x="3952794" y="5675678"/>
                </a:cubicBezTo>
                <a:cubicBezTo>
                  <a:pt x="3951327" y="5675013"/>
                  <a:pt x="3949730" y="5674747"/>
                  <a:pt x="3947733" y="5674747"/>
                </a:cubicBezTo>
                <a:close/>
                <a:moveTo>
                  <a:pt x="3730074" y="5674747"/>
                </a:moveTo>
                <a:cubicBezTo>
                  <a:pt x="3724216" y="5674747"/>
                  <a:pt x="3721687" y="5676610"/>
                  <a:pt x="3720087" y="5678341"/>
                </a:cubicBezTo>
                <a:cubicBezTo>
                  <a:pt x="3717557" y="5681003"/>
                  <a:pt x="3716495" y="5683798"/>
                  <a:pt x="3716495" y="5687792"/>
                </a:cubicBezTo>
                <a:cubicBezTo>
                  <a:pt x="3716495" y="5691919"/>
                  <a:pt x="3717557" y="5694714"/>
                  <a:pt x="3720087" y="5697243"/>
                </a:cubicBezTo>
                <a:cubicBezTo>
                  <a:pt x="3721687" y="5698842"/>
                  <a:pt x="3724216" y="5700705"/>
                  <a:pt x="3730074" y="5700705"/>
                </a:cubicBezTo>
                <a:cubicBezTo>
                  <a:pt x="3732204" y="5700705"/>
                  <a:pt x="3733935" y="5700439"/>
                  <a:pt x="3735399" y="5699773"/>
                </a:cubicBezTo>
                <a:cubicBezTo>
                  <a:pt x="3736863" y="5699241"/>
                  <a:pt x="3738196" y="5698442"/>
                  <a:pt x="3739126" y="5697376"/>
                </a:cubicBezTo>
                <a:cubicBezTo>
                  <a:pt x="3740191" y="5696178"/>
                  <a:pt x="3741124" y="5694847"/>
                  <a:pt x="3741789" y="5693117"/>
                </a:cubicBezTo>
                <a:cubicBezTo>
                  <a:pt x="3742454" y="5691519"/>
                  <a:pt x="3742854" y="5689655"/>
                  <a:pt x="3742854" y="5687659"/>
                </a:cubicBezTo>
                <a:cubicBezTo>
                  <a:pt x="3742854" y="5685795"/>
                  <a:pt x="3742454" y="5684064"/>
                  <a:pt x="3741789" y="5682467"/>
                </a:cubicBezTo>
                <a:cubicBezTo>
                  <a:pt x="3741124" y="5680870"/>
                  <a:pt x="3740191" y="5679539"/>
                  <a:pt x="3739126" y="5678341"/>
                </a:cubicBezTo>
                <a:cubicBezTo>
                  <a:pt x="3738062" y="5677276"/>
                  <a:pt x="3736730" y="5676344"/>
                  <a:pt x="3735133" y="5675678"/>
                </a:cubicBezTo>
                <a:cubicBezTo>
                  <a:pt x="3733668" y="5675013"/>
                  <a:pt x="3732071" y="5674747"/>
                  <a:pt x="3730074" y="5674747"/>
                </a:cubicBezTo>
                <a:close/>
                <a:moveTo>
                  <a:pt x="3512412" y="5674747"/>
                </a:moveTo>
                <a:cubicBezTo>
                  <a:pt x="3506553" y="5674747"/>
                  <a:pt x="3504023" y="5676610"/>
                  <a:pt x="3502423" y="5678341"/>
                </a:cubicBezTo>
                <a:cubicBezTo>
                  <a:pt x="3499893" y="5681003"/>
                  <a:pt x="3498830" y="5683798"/>
                  <a:pt x="3498830" y="5687792"/>
                </a:cubicBezTo>
                <a:cubicBezTo>
                  <a:pt x="3498830" y="5691919"/>
                  <a:pt x="3499893" y="5694714"/>
                  <a:pt x="3502423" y="5697243"/>
                </a:cubicBezTo>
                <a:cubicBezTo>
                  <a:pt x="3504023" y="5698842"/>
                  <a:pt x="3506553" y="5700705"/>
                  <a:pt x="3512412" y="5700705"/>
                </a:cubicBezTo>
                <a:cubicBezTo>
                  <a:pt x="3514542" y="5700705"/>
                  <a:pt x="3516274" y="5700439"/>
                  <a:pt x="3517738" y="5699773"/>
                </a:cubicBezTo>
                <a:cubicBezTo>
                  <a:pt x="3519202" y="5699241"/>
                  <a:pt x="3520534" y="5698442"/>
                  <a:pt x="3521465" y="5697376"/>
                </a:cubicBezTo>
                <a:cubicBezTo>
                  <a:pt x="3522530" y="5696178"/>
                  <a:pt x="3523462" y="5694847"/>
                  <a:pt x="3524128" y="5693117"/>
                </a:cubicBezTo>
                <a:cubicBezTo>
                  <a:pt x="3524793" y="5691519"/>
                  <a:pt x="3525193" y="5689655"/>
                  <a:pt x="3525193" y="5687659"/>
                </a:cubicBezTo>
                <a:cubicBezTo>
                  <a:pt x="3525193" y="5685795"/>
                  <a:pt x="3524793" y="5684064"/>
                  <a:pt x="3524128" y="5682467"/>
                </a:cubicBezTo>
                <a:cubicBezTo>
                  <a:pt x="3523462" y="5680870"/>
                  <a:pt x="3522530" y="5679539"/>
                  <a:pt x="3521465" y="5678341"/>
                </a:cubicBezTo>
                <a:cubicBezTo>
                  <a:pt x="3520400" y="5677276"/>
                  <a:pt x="3519069" y="5676344"/>
                  <a:pt x="3517472" y="5675678"/>
                </a:cubicBezTo>
                <a:cubicBezTo>
                  <a:pt x="3516008" y="5675013"/>
                  <a:pt x="3514409" y="5674747"/>
                  <a:pt x="3512412" y="5674747"/>
                </a:cubicBezTo>
                <a:close/>
                <a:moveTo>
                  <a:pt x="3294884" y="5674747"/>
                </a:moveTo>
                <a:cubicBezTo>
                  <a:pt x="3289025" y="5674747"/>
                  <a:pt x="3286495" y="5676610"/>
                  <a:pt x="3284898" y="5678341"/>
                </a:cubicBezTo>
                <a:cubicBezTo>
                  <a:pt x="3282367" y="5681003"/>
                  <a:pt x="3281304" y="5683798"/>
                  <a:pt x="3281304" y="5687792"/>
                </a:cubicBezTo>
                <a:cubicBezTo>
                  <a:pt x="3281304" y="5691919"/>
                  <a:pt x="3282367" y="5694714"/>
                  <a:pt x="3284898" y="5697243"/>
                </a:cubicBezTo>
                <a:cubicBezTo>
                  <a:pt x="3286495" y="5698842"/>
                  <a:pt x="3289025" y="5700705"/>
                  <a:pt x="3294884" y="5700705"/>
                </a:cubicBezTo>
                <a:cubicBezTo>
                  <a:pt x="3296881" y="5700705"/>
                  <a:pt x="3298612" y="5700439"/>
                  <a:pt x="3300210" y="5699773"/>
                </a:cubicBezTo>
                <a:cubicBezTo>
                  <a:pt x="3301674" y="5699241"/>
                  <a:pt x="3303006" y="5698442"/>
                  <a:pt x="3303937" y="5697376"/>
                </a:cubicBezTo>
                <a:cubicBezTo>
                  <a:pt x="3305002" y="5696178"/>
                  <a:pt x="3305934" y="5694847"/>
                  <a:pt x="3306600" y="5693117"/>
                </a:cubicBezTo>
                <a:cubicBezTo>
                  <a:pt x="3307265" y="5691519"/>
                  <a:pt x="3307664" y="5689655"/>
                  <a:pt x="3307664" y="5687659"/>
                </a:cubicBezTo>
                <a:cubicBezTo>
                  <a:pt x="3307664" y="5685795"/>
                  <a:pt x="3307265" y="5684064"/>
                  <a:pt x="3306600" y="5682467"/>
                </a:cubicBezTo>
                <a:cubicBezTo>
                  <a:pt x="3305934" y="5680870"/>
                  <a:pt x="3305002" y="5679539"/>
                  <a:pt x="3303937" y="5678341"/>
                </a:cubicBezTo>
                <a:cubicBezTo>
                  <a:pt x="3302872" y="5677276"/>
                  <a:pt x="3301541" y="5676344"/>
                  <a:pt x="3299944" y="5675678"/>
                </a:cubicBezTo>
                <a:cubicBezTo>
                  <a:pt x="3298480" y="5675013"/>
                  <a:pt x="3296881" y="5674747"/>
                  <a:pt x="3294884" y="5674747"/>
                </a:cubicBezTo>
                <a:close/>
                <a:moveTo>
                  <a:pt x="3077356" y="5674747"/>
                </a:moveTo>
                <a:cubicBezTo>
                  <a:pt x="3071498" y="5674747"/>
                  <a:pt x="3068968" y="5676610"/>
                  <a:pt x="3067372" y="5678341"/>
                </a:cubicBezTo>
                <a:cubicBezTo>
                  <a:pt x="3064706" y="5681003"/>
                  <a:pt x="3063642" y="5683798"/>
                  <a:pt x="3063642" y="5687792"/>
                </a:cubicBezTo>
                <a:cubicBezTo>
                  <a:pt x="3063642" y="5691919"/>
                  <a:pt x="3064706" y="5694714"/>
                  <a:pt x="3067238" y="5697243"/>
                </a:cubicBezTo>
                <a:cubicBezTo>
                  <a:pt x="3068835" y="5698842"/>
                  <a:pt x="3071366" y="5700705"/>
                  <a:pt x="3077223" y="5700705"/>
                </a:cubicBezTo>
                <a:cubicBezTo>
                  <a:pt x="3079220" y="5700705"/>
                  <a:pt x="3080950" y="5700439"/>
                  <a:pt x="3082681" y="5699773"/>
                </a:cubicBezTo>
                <a:cubicBezTo>
                  <a:pt x="3084146" y="5699241"/>
                  <a:pt x="3085478" y="5698442"/>
                  <a:pt x="3086409" y="5697376"/>
                </a:cubicBezTo>
                <a:cubicBezTo>
                  <a:pt x="3087473" y="5696178"/>
                  <a:pt x="3088406" y="5694847"/>
                  <a:pt x="3089071" y="5693117"/>
                </a:cubicBezTo>
                <a:cubicBezTo>
                  <a:pt x="3089736" y="5691519"/>
                  <a:pt x="3090003" y="5689655"/>
                  <a:pt x="3090003" y="5687659"/>
                </a:cubicBezTo>
                <a:cubicBezTo>
                  <a:pt x="3090003" y="5685795"/>
                  <a:pt x="3089736" y="5684064"/>
                  <a:pt x="3089071" y="5682467"/>
                </a:cubicBezTo>
                <a:cubicBezTo>
                  <a:pt x="3088406" y="5680870"/>
                  <a:pt x="3087473" y="5679539"/>
                  <a:pt x="3086409" y="5678341"/>
                </a:cubicBezTo>
                <a:cubicBezTo>
                  <a:pt x="3085344" y="5677276"/>
                  <a:pt x="3084012" y="5676344"/>
                  <a:pt x="3082416" y="5675678"/>
                </a:cubicBezTo>
                <a:cubicBezTo>
                  <a:pt x="3080950" y="5675013"/>
                  <a:pt x="3079353" y="5674747"/>
                  <a:pt x="3077356" y="5674747"/>
                </a:cubicBezTo>
                <a:close/>
                <a:moveTo>
                  <a:pt x="2859562" y="5674747"/>
                </a:moveTo>
                <a:cubicBezTo>
                  <a:pt x="2853705" y="5674747"/>
                  <a:pt x="2851175" y="5676610"/>
                  <a:pt x="2849576" y="5678341"/>
                </a:cubicBezTo>
                <a:cubicBezTo>
                  <a:pt x="2847042" y="5681003"/>
                  <a:pt x="2845977" y="5683798"/>
                  <a:pt x="2845977" y="5687792"/>
                </a:cubicBezTo>
                <a:cubicBezTo>
                  <a:pt x="2845977" y="5691919"/>
                  <a:pt x="2847042" y="5694714"/>
                  <a:pt x="2849576" y="5697243"/>
                </a:cubicBezTo>
                <a:cubicBezTo>
                  <a:pt x="2851175" y="5698842"/>
                  <a:pt x="2853705" y="5700705"/>
                  <a:pt x="2859562" y="5700705"/>
                </a:cubicBezTo>
                <a:cubicBezTo>
                  <a:pt x="2861559" y="5700705"/>
                  <a:pt x="2863423" y="5700439"/>
                  <a:pt x="2864887" y="5699773"/>
                </a:cubicBezTo>
                <a:cubicBezTo>
                  <a:pt x="2866485" y="5699241"/>
                  <a:pt x="2867683" y="5698442"/>
                  <a:pt x="2868614" y="5697376"/>
                </a:cubicBezTo>
                <a:cubicBezTo>
                  <a:pt x="2869679" y="5696178"/>
                  <a:pt x="2870611" y="5694847"/>
                  <a:pt x="2871277" y="5693117"/>
                </a:cubicBezTo>
                <a:cubicBezTo>
                  <a:pt x="2871809" y="5691519"/>
                  <a:pt x="2872208" y="5689655"/>
                  <a:pt x="2872208" y="5687659"/>
                </a:cubicBezTo>
                <a:cubicBezTo>
                  <a:pt x="2872208" y="5685795"/>
                  <a:pt x="2871942" y="5684064"/>
                  <a:pt x="2871277" y="5682467"/>
                </a:cubicBezTo>
                <a:cubicBezTo>
                  <a:pt x="2870611" y="5680870"/>
                  <a:pt x="2869679" y="5679539"/>
                  <a:pt x="2868614" y="5678341"/>
                </a:cubicBezTo>
                <a:cubicBezTo>
                  <a:pt x="2867550" y="5677276"/>
                  <a:pt x="2866218" y="5676344"/>
                  <a:pt x="2864621" y="5675678"/>
                </a:cubicBezTo>
                <a:cubicBezTo>
                  <a:pt x="2863157" y="5675013"/>
                  <a:pt x="2861559" y="5674747"/>
                  <a:pt x="2859562" y="5674747"/>
                </a:cubicBezTo>
                <a:close/>
                <a:moveTo>
                  <a:pt x="2641900" y="5674747"/>
                </a:moveTo>
                <a:cubicBezTo>
                  <a:pt x="2636043" y="5674747"/>
                  <a:pt x="2633514" y="5676610"/>
                  <a:pt x="2631917" y="5678341"/>
                </a:cubicBezTo>
                <a:cubicBezTo>
                  <a:pt x="2629387" y="5681003"/>
                  <a:pt x="2628322" y="5683798"/>
                  <a:pt x="2628322" y="5687792"/>
                </a:cubicBezTo>
                <a:cubicBezTo>
                  <a:pt x="2628322" y="5691919"/>
                  <a:pt x="2629387" y="5694714"/>
                  <a:pt x="2631917" y="5697243"/>
                </a:cubicBezTo>
                <a:cubicBezTo>
                  <a:pt x="2633514" y="5698842"/>
                  <a:pt x="2636043" y="5700705"/>
                  <a:pt x="2641900" y="5700705"/>
                </a:cubicBezTo>
                <a:cubicBezTo>
                  <a:pt x="2643897" y="5700705"/>
                  <a:pt x="2645762" y="5700439"/>
                  <a:pt x="2647226" y="5699773"/>
                </a:cubicBezTo>
                <a:cubicBezTo>
                  <a:pt x="2648823" y="5699241"/>
                  <a:pt x="2650020" y="5698442"/>
                  <a:pt x="2650953" y="5697376"/>
                </a:cubicBezTo>
                <a:cubicBezTo>
                  <a:pt x="2652018" y="5696178"/>
                  <a:pt x="2652950" y="5694847"/>
                  <a:pt x="2653616" y="5693117"/>
                </a:cubicBezTo>
                <a:cubicBezTo>
                  <a:pt x="2654147" y="5691519"/>
                  <a:pt x="2654546" y="5689655"/>
                  <a:pt x="2654546" y="5687659"/>
                </a:cubicBezTo>
                <a:cubicBezTo>
                  <a:pt x="2654546" y="5685795"/>
                  <a:pt x="2654281" y="5684064"/>
                  <a:pt x="2653616" y="5682467"/>
                </a:cubicBezTo>
                <a:cubicBezTo>
                  <a:pt x="2652950" y="5680870"/>
                  <a:pt x="2652018" y="5679539"/>
                  <a:pt x="2650953" y="5678341"/>
                </a:cubicBezTo>
                <a:cubicBezTo>
                  <a:pt x="2649888" y="5677276"/>
                  <a:pt x="2648556" y="5676344"/>
                  <a:pt x="2646960" y="5675678"/>
                </a:cubicBezTo>
                <a:cubicBezTo>
                  <a:pt x="2645494" y="5675013"/>
                  <a:pt x="2643897" y="5674747"/>
                  <a:pt x="2641900" y="5674747"/>
                </a:cubicBezTo>
                <a:close/>
                <a:moveTo>
                  <a:pt x="2424239" y="5674747"/>
                </a:moveTo>
                <a:cubicBezTo>
                  <a:pt x="2418382" y="5674747"/>
                  <a:pt x="2415853" y="5676610"/>
                  <a:pt x="2414256" y="5678341"/>
                </a:cubicBezTo>
                <a:cubicBezTo>
                  <a:pt x="2411725" y="5681003"/>
                  <a:pt x="2410661" y="5683798"/>
                  <a:pt x="2410661" y="5687792"/>
                </a:cubicBezTo>
                <a:cubicBezTo>
                  <a:pt x="2410661" y="5691919"/>
                  <a:pt x="2411725" y="5694714"/>
                  <a:pt x="2414256" y="5697243"/>
                </a:cubicBezTo>
                <a:cubicBezTo>
                  <a:pt x="2415853" y="5698842"/>
                  <a:pt x="2418382" y="5700705"/>
                  <a:pt x="2424239" y="5700705"/>
                </a:cubicBezTo>
                <a:cubicBezTo>
                  <a:pt x="2426369" y="5700705"/>
                  <a:pt x="2428100" y="5700439"/>
                  <a:pt x="2429564" y="5699773"/>
                </a:cubicBezTo>
                <a:cubicBezTo>
                  <a:pt x="2431162" y="5699241"/>
                  <a:pt x="2432360" y="5698442"/>
                  <a:pt x="2433291" y="5697376"/>
                </a:cubicBezTo>
                <a:cubicBezTo>
                  <a:pt x="2434356" y="5696178"/>
                  <a:pt x="2435288" y="5694847"/>
                  <a:pt x="2435954" y="5693117"/>
                </a:cubicBezTo>
                <a:cubicBezTo>
                  <a:pt x="2436486" y="5691519"/>
                  <a:pt x="2436885" y="5689655"/>
                  <a:pt x="2436885" y="5687659"/>
                </a:cubicBezTo>
                <a:cubicBezTo>
                  <a:pt x="2436885" y="5685795"/>
                  <a:pt x="2436619" y="5684064"/>
                  <a:pt x="2435954" y="5682467"/>
                </a:cubicBezTo>
                <a:cubicBezTo>
                  <a:pt x="2435288" y="5680870"/>
                  <a:pt x="2434356" y="5679539"/>
                  <a:pt x="2433291" y="5678341"/>
                </a:cubicBezTo>
                <a:cubicBezTo>
                  <a:pt x="2432227" y="5677276"/>
                  <a:pt x="2430895" y="5676344"/>
                  <a:pt x="2429298" y="5675678"/>
                </a:cubicBezTo>
                <a:cubicBezTo>
                  <a:pt x="2427834" y="5675013"/>
                  <a:pt x="2426236" y="5674747"/>
                  <a:pt x="2424239" y="5674747"/>
                </a:cubicBezTo>
                <a:close/>
                <a:moveTo>
                  <a:pt x="2206578" y="5674747"/>
                </a:moveTo>
                <a:cubicBezTo>
                  <a:pt x="2200721" y="5674747"/>
                  <a:pt x="2198191" y="5676610"/>
                  <a:pt x="2196594" y="5678341"/>
                </a:cubicBezTo>
                <a:cubicBezTo>
                  <a:pt x="2194064" y="5681003"/>
                  <a:pt x="2193000" y="5683798"/>
                  <a:pt x="2193000" y="5687792"/>
                </a:cubicBezTo>
                <a:cubicBezTo>
                  <a:pt x="2193000" y="5691919"/>
                  <a:pt x="2194064" y="5694714"/>
                  <a:pt x="2196594" y="5697243"/>
                </a:cubicBezTo>
                <a:cubicBezTo>
                  <a:pt x="2198191" y="5698842"/>
                  <a:pt x="2200721" y="5700705"/>
                  <a:pt x="2206578" y="5700705"/>
                </a:cubicBezTo>
                <a:cubicBezTo>
                  <a:pt x="2208707" y="5700705"/>
                  <a:pt x="2210439" y="5700439"/>
                  <a:pt x="2211903" y="5699773"/>
                </a:cubicBezTo>
                <a:cubicBezTo>
                  <a:pt x="2213500" y="5699241"/>
                  <a:pt x="2214698" y="5698442"/>
                  <a:pt x="2215630" y="5697376"/>
                </a:cubicBezTo>
                <a:cubicBezTo>
                  <a:pt x="2216695" y="5696178"/>
                  <a:pt x="2217626" y="5694847"/>
                  <a:pt x="2218293" y="5693117"/>
                </a:cubicBezTo>
                <a:cubicBezTo>
                  <a:pt x="2218825" y="5691519"/>
                  <a:pt x="2219224" y="5689655"/>
                  <a:pt x="2219224" y="5687659"/>
                </a:cubicBezTo>
                <a:cubicBezTo>
                  <a:pt x="2219224" y="5685795"/>
                  <a:pt x="2218958" y="5684064"/>
                  <a:pt x="2218293" y="5682467"/>
                </a:cubicBezTo>
                <a:cubicBezTo>
                  <a:pt x="2217626" y="5680870"/>
                  <a:pt x="2216695" y="5679539"/>
                  <a:pt x="2215630" y="5678341"/>
                </a:cubicBezTo>
                <a:cubicBezTo>
                  <a:pt x="2214564" y="5677276"/>
                  <a:pt x="2213234" y="5676344"/>
                  <a:pt x="2211636" y="5675678"/>
                </a:cubicBezTo>
                <a:cubicBezTo>
                  <a:pt x="2210172" y="5675013"/>
                  <a:pt x="2208575" y="5674747"/>
                  <a:pt x="2206578" y="5674747"/>
                </a:cubicBezTo>
                <a:close/>
                <a:moveTo>
                  <a:pt x="1989049" y="5674747"/>
                </a:moveTo>
                <a:cubicBezTo>
                  <a:pt x="1983192" y="5674747"/>
                  <a:pt x="1980663" y="5676610"/>
                  <a:pt x="1979066" y="5678341"/>
                </a:cubicBezTo>
                <a:cubicBezTo>
                  <a:pt x="1976536" y="5681003"/>
                  <a:pt x="1975472" y="5683798"/>
                  <a:pt x="1975472" y="5687792"/>
                </a:cubicBezTo>
                <a:cubicBezTo>
                  <a:pt x="1975472" y="5691919"/>
                  <a:pt x="1976536" y="5694714"/>
                  <a:pt x="1979066" y="5697243"/>
                </a:cubicBezTo>
                <a:cubicBezTo>
                  <a:pt x="1980663" y="5698842"/>
                  <a:pt x="1983192" y="5700705"/>
                  <a:pt x="1989049" y="5700705"/>
                </a:cubicBezTo>
                <a:cubicBezTo>
                  <a:pt x="1991046" y="5700705"/>
                  <a:pt x="1992777" y="5700439"/>
                  <a:pt x="1994374" y="5699773"/>
                </a:cubicBezTo>
                <a:cubicBezTo>
                  <a:pt x="1995972" y="5699241"/>
                  <a:pt x="1997170" y="5698442"/>
                  <a:pt x="1998101" y="5697376"/>
                </a:cubicBezTo>
                <a:cubicBezTo>
                  <a:pt x="1999166" y="5696178"/>
                  <a:pt x="2000098" y="5694847"/>
                  <a:pt x="2000764" y="5693117"/>
                </a:cubicBezTo>
                <a:cubicBezTo>
                  <a:pt x="2001296" y="5691519"/>
                  <a:pt x="2001695" y="5689655"/>
                  <a:pt x="2001695" y="5687659"/>
                </a:cubicBezTo>
                <a:cubicBezTo>
                  <a:pt x="2001695" y="5685795"/>
                  <a:pt x="2001429" y="5684064"/>
                  <a:pt x="2000764" y="5682467"/>
                </a:cubicBezTo>
                <a:cubicBezTo>
                  <a:pt x="2000098" y="5680870"/>
                  <a:pt x="1999166" y="5679539"/>
                  <a:pt x="1998101" y="5678341"/>
                </a:cubicBezTo>
                <a:cubicBezTo>
                  <a:pt x="1997037" y="5677276"/>
                  <a:pt x="1995705" y="5676344"/>
                  <a:pt x="1994108" y="5675678"/>
                </a:cubicBezTo>
                <a:cubicBezTo>
                  <a:pt x="1992644" y="5675013"/>
                  <a:pt x="1991046" y="5674747"/>
                  <a:pt x="1989049" y="5674747"/>
                </a:cubicBezTo>
                <a:close/>
                <a:moveTo>
                  <a:pt x="1771416" y="5674747"/>
                </a:moveTo>
                <a:cubicBezTo>
                  <a:pt x="1765559" y="5674747"/>
                  <a:pt x="1763030" y="5676610"/>
                  <a:pt x="1761434" y="5678341"/>
                </a:cubicBezTo>
                <a:cubicBezTo>
                  <a:pt x="1758904" y="5681003"/>
                  <a:pt x="1757840" y="5683798"/>
                  <a:pt x="1757840" y="5687792"/>
                </a:cubicBezTo>
                <a:cubicBezTo>
                  <a:pt x="1757840" y="5691919"/>
                  <a:pt x="1758904" y="5694714"/>
                  <a:pt x="1761434" y="5697243"/>
                </a:cubicBezTo>
                <a:cubicBezTo>
                  <a:pt x="1763030" y="5698842"/>
                  <a:pt x="1765559" y="5700705"/>
                  <a:pt x="1771416" y="5700705"/>
                </a:cubicBezTo>
                <a:cubicBezTo>
                  <a:pt x="1773413" y="5700705"/>
                  <a:pt x="1775276" y="5700439"/>
                  <a:pt x="1776740" y="5699773"/>
                </a:cubicBezTo>
                <a:cubicBezTo>
                  <a:pt x="1778205" y="5699241"/>
                  <a:pt x="1779534" y="5698442"/>
                  <a:pt x="1780467" y="5697376"/>
                </a:cubicBezTo>
                <a:cubicBezTo>
                  <a:pt x="1781532" y="5696178"/>
                  <a:pt x="1782463" y="5694847"/>
                  <a:pt x="1783129" y="5693117"/>
                </a:cubicBezTo>
                <a:cubicBezTo>
                  <a:pt x="1783794" y="5691519"/>
                  <a:pt x="1784194" y="5689655"/>
                  <a:pt x="1784194" y="5687659"/>
                </a:cubicBezTo>
                <a:cubicBezTo>
                  <a:pt x="1784194" y="5685795"/>
                  <a:pt x="1783794" y="5684064"/>
                  <a:pt x="1783129" y="5682467"/>
                </a:cubicBezTo>
                <a:cubicBezTo>
                  <a:pt x="1782463" y="5680870"/>
                  <a:pt x="1781532" y="5679539"/>
                  <a:pt x="1780467" y="5678341"/>
                </a:cubicBezTo>
                <a:cubicBezTo>
                  <a:pt x="1779401" y="5677276"/>
                  <a:pt x="1778072" y="5676344"/>
                  <a:pt x="1776475" y="5675678"/>
                </a:cubicBezTo>
                <a:cubicBezTo>
                  <a:pt x="1775010" y="5675013"/>
                  <a:pt x="1773413" y="5674747"/>
                  <a:pt x="1771416" y="5674747"/>
                </a:cubicBezTo>
                <a:close/>
                <a:moveTo>
                  <a:pt x="1553779" y="5674747"/>
                </a:moveTo>
                <a:cubicBezTo>
                  <a:pt x="1547921" y="5674747"/>
                  <a:pt x="1545392" y="5676610"/>
                  <a:pt x="1543796" y="5678341"/>
                </a:cubicBezTo>
                <a:cubicBezTo>
                  <a:pt x="1541266" y="5681003"/>
                  <a:pt x="1540201" y="5683798"/>
                  <a:pt x="1540201" y="5687792"/>
                </a:cubicBezTo>
                <a:cubicBezTo>
                  <a:pt x="1540201" y="5691919"/>
                  <a:pt x="1541266" y="5694714"/>
                  <a:pt x="1543796" y="5697243"/>
                </a:cubicBezTo>
                <a:cubicBezTo>
                  <a:pt x="1545392" y="5698842"/>
                  <a:pt x="1547921" y="5700705"/>
                  <a:pt x="1553779" y="5700705"/>
                </a:cubicBezTo>
                <a:cubicBezTo>
                  <a:pt x="1555776" y="5700705"/>
                  <a:pt x="1557640" y="5700439"/>
                  <a:pt x="1559104" y="5699773"/>
                </a:cubicBezTo>
                <a:cubicBezTo>
                  <a:pt x="1560568" y="5699241"/>
                  <a:pt x="1561899" y="5698442"/>
                  <a:pt x="1562831" y="5697376"/>
                </a:cubicBezTo>
                <a:cubicBezTo>
                  <a:pt x="1563896" y="5696178"/>
                  <a:pt x="1564827" y="5694847"/>
                  <a:pt x="1565494" y="5693117"/>
                </a:cubicBezTo>
                <a:cubicBezTo>
                  <a:pt x="1566159" y="5691519"/>
                  <a:pt x="1566559" y="5689655"/>
                  <a:pt x="1566559" y="5687659"/>
                </a:cubicBezTo>
                <a:cubicBezTo>
                  <a:pt x="1566559" y="5685795"/>
                  <a:pt x="1566159" y="5684064"/>
                  <a:pt x="1565494" y="5682467"/>
                </a:cubicBezTo>
                <a:cubicBezTo>
                  <a:pt x="1564827" y="5680870"/>
                  <a:pt x="1563896" y="5679539"/>
                  <a:pt x="1562831" y="5678341"/>
                </a:cubicBezTo>
                <a:cubicBezTo>
                  <a:pt x="1561765" y="5677276"/>
                  <a:pt x="1560435" y="5676344"/>
                  <a:pt x="1558837" y="5675678"/>
                </a:cubicBezTo>
                <a:cubicBezTo>
                  <a:pt x="1557373" y="5675013"/>
                  <a:pt x="1555776" y="5674747"/>
                  <a:pt x="1553779" y="5674747"/>
                </a:cubicBezTo>
                <a:close/>
                <a:moveTo>
                  <a:pt x="1336135" y="5674747"/>
                </a:moveTo>
                <a:cubicBezTo>
                  <a:pt x="1330278" y="5674747"/>
                  <a:pt x="1327748" y="5676610"/>
                  <a:pt x="1326151" y="5678341"/>
                </a:cubicBezTo>
                <a:cubicBezTo>
                  <a:pt x="1323621" y="5681003"/>
                  <a:pt x="1322557" y="5683798"/>
                  <a:pt x="1322557" y="5687792"/>
                </a:cubicBezTo>
                <a:cubicBezTo>
                  <a:pt x="1322557" y="5691919"/>
                  <a:pt x="1323621" y="5694714"/>
                  <a:pt x="1326151" y="5697243"/>
                </a:cubicBezTo>
                <a:cubicBezTo>
                  <a:pt x="1327748" y="5698842"/>
                  <a:pt x="1330278" y="5700705"/>
                  <a:pt x="1336135" y="5700705"/>
                </a:cubicBezTo>
                <a:cubicBezTo>
                  <a:pt x="1338265" y="5700705"/>
                  <a:pt x="1339995" y="5700439"/>
                  <a:pt x="1341462" y="5699773"/>
                </a:cubicBezTo>
                <a:cubicBezTo>
                  <a:pt x="1342925" y="5699241"/>
                  <a:pt x="1344257" y="5698442"/>
                  <a:pt x="1345189" y="5697376"/>
                </a:cubicBezTo>
                <a:cubicBezTo>
                  <a:pt x="1346253" y="5696178"/>
                  <a:pt x="1347186" y="5694847"/>
                  <a:pt x="1347851" y="5693117"/>
                </a:cubicBezTo>
                <a:cubicBezTo>
                  <a:pt x="1348517" y="5691519"/>
                  <a:pt x="1348917" y="5689655"/>
                  <a:pt x="1348917" y="5687659"/>
                </a:cubicBezTo>
                <a:cubicBezTo>
                  <a:pt x="1348917" y="5685795"/>
                  <a:pt x="1348517" y="5684064"/>
                  <a:pt x="1347851" y="5682467"/>
                </a:cubicBezTo>
                <a:cubicBezTo>
                  <a:pt x="1347186" y="5680870"/>
                  <a:pt x="1346253" y="5679539"/>
                  <a:pt x="1345189" y="5678341"/>
                </a:cubicBezTo>
                <a:cubicBezTo>
                  <a:pt x="1344124" y="5677276"/>
                  <a:pt x="1342792" y="5676344"/>
                  <a:pt x="1341194" y="5675678"/>
                </a:cubicBezTo>
                <a:cubicBezTo>
                  <a:pt x="1339731" y="5675013"/>
                  <a:pt x="1338131" y="5674747"/>
                  <a:pt x="1336135" y="5674747"/>
                </a:cubicBezTo>
                <a:close/>
                <a:moveTo>
                  <a:pt x="1118623" y="5674747"/>
                </a:moveTo>
                <a:cubicBezTo>
                  <a:pt x="1112764" y="5674747"/>
                  <a:pt x="1110235" y="5676610"/>
                  <a:pt x="1108637" y="5678341"/>
                </a:cubicBezTo>
                <a:cubicBezTo>
                  <a:pt x="1105975" y="5681003"/>
                  <a:pt x="1104910" y="5683798"/>
                  <a:pt x="1104910" y="5687792"/>
                </a:cubicBezTo>
                <a:cubicBezTo>
                  <a:pt x="1104910" y="5691919"/>
                  <a:pt x="1105975" y="5694714"/>
                  <a:pt x="1108505" y="5697243"/>
                </a:cubicBezTo>
                <a:cubicBezTo>
                  <a:pt x="1110102" y="5698842"/>
                  <a:pt x="1112631" y="5700705"/>
                  <a:pt x="1118490" y="5700705"/>
                </a:cubicBezTo>
                <a:cubicBezTo>
                  <a:pt x="1120620" y="5700705"/>
                  <a:pt x="1122352" y="5700439"/>
                  <a:pt x="1123946" y="5699773"/>
                </a:cubicBezTo>
                <a:cubicBezTo>
                  <a:pt x="1125412" y="5699241"/>
                  <a:pt x="1126748" y="5698442"/>
                  <a:pt x="1127678" y="5697376"/>
                </a:cubicBezTo>
                <a:cubicBezTo>
                  <a:pt x="1128742" y="5696178"/>
                  <a:pt x="1129674" y="5694847"/>
                  <a:pt x="1130341" y="5693117"/>
                </a:cubicBezTo>
                <a:cubicBezTo>
                  <a:pt x="1131005" y="5691519"/>
                  <a:pt x="1131406" y="5689655"/>
                  <a:pt x="1131406" y="5687659"/>
                </a:cubicBezTo>
                <a:cubicBezTo>
                  <a:pt x="1131406" y="5685795"/>
                  <a:pt x="1131005" y="5684064"/>
                  <a:pt x="1130341" y="5682467"/>
                </a:cubicBezTo>
                <a:cubicBezTo>
                  <a:pt x="1129674" y="5680870"/>
                  <a:pt x="1128742" y="5679539"/>
                  <a:pt x="1127678" y="5678341"/>
                </a:cubicBezTo>
                <a:cubicBezTo>
                  <a:pt x="1126613" y="5677276"/>
                  <a:pt x="1125280" y="5676344"/>
                  <a:pt x="1123681" y="5675678"/>
                </a:cubicBezTo>
                <a:cubicBezTo>
                  <a:pt x="1122218" y="5675013"/>
                  <a:pt x="1120620" y="5674747"/>
                  <a:pt x="1118623" y="5674747"/>
                </a:cubicBezTo>
                <a:close/>
                <a:moveTo>
                  <a:pt x="901111" y="5674747"/>
                </a:moveTo>
                <a:cubicBezTo>
                  <a:pt x="895253" y="5674747"/>
                  <a:pt x="892724" y="5676610"/>
                  <a:pt x="891127" y="5678341"/>
                </a:cubicBezTo>
                <a:cubicBezTo>
                  <a:pt x="888464" y="5681003"/>
                  <a:pt x="887400" y="5683798"/>
                  <a:pt x="887400" y="5687792"/>
                </a:cubicBezTo>
                <a:cubicBezTo>
                  <a:pt x="887400" y="5691919"/>
                  <a:pt x="888464" y="5694714"/>
                  <a:pt x="890994" y="5697243"/>
                </a:cubicBezTo>
                <a:cubicBezTo>
                  <a:pt x="892591" y="5698842"/>
                  <a:pt x="895120" y="5700705"/>
                  <a:pt x="900977" y="5700705"/>
                </a:cubicBezTo>
                <a:cubicBezTo>
                  <a:pt x="902974" y="5700705"/>
                  <a:pt x="904705" y="5700439"/>
                  <a:pt x="906435" y="5699773"/>
                </a:cubicBezTo>
                <a:cubicBezTo>
                  <a:pt x="907899" y="5699241"/>
                  <a:pt x="909231" y="5698442"/>
                  <a:pt x="910163" y="5697376"/>
                </a:cubicBezTo>
                <a:cubicBezTo>
                  <a:pt x="911227" y="5696178"/>
                  <a:pt x="912159" y="5694847"/>
                  <a:pt x="912825" y="5693117"/>
                </a:cubicBezTo>
                <a:cubicBezTo>
                  <a:pt x="913490" y="5691519"/>
                  <a:pt x="913890" y="5689655"/>
                  <a:pt x="913890" y="5687659"/>
                </a:cubicBezTo>
                <a:cubicBezTo>
                  <a:pt x="913890" y="5685795"/>
                  <a:pt x="913490" y="5684064"/>
                  <a:pt x="912825" y="5682467"/>
                </a:cubicBezTo>
                <a:cubicBezTo>
                  <a:pt x="912159" y="5680870"/>
                  <a:pt x="911227" y="5679539"/>
                  <a:pt x="910163" y="5678341"/>
                </a:cubicBezTo>
                <a:cubicBezTo>
                  <a:pt x="909098" y="5677276"/>
                  <a:pt x="907766" y="5676344"/>
                  <a:pt x="906169" y="5675678"/>
                </a:cubicBezTo>
                <a:cubicBezTo>
                  <a:pt x="904705" y="5675013"/>
                  <a:pt x="903107" y="5674747"/>
                  <a:pt x="901111" y="5674747"/>
                </a:cubicBezTo>
                <a:close/>
                <a:moveTo>
                  <a:pt x="683337" y="5674747"/>
                </a:moveTo>
                <a:cubicBezTo>
                  <a:pt x="677480" y="5674747"/>
                  <a:pt x="674951" y="5676610"/>
                  <a:pt x="673353" y="5678341"/>
                </a:cubicBezTo>
                <a:cubicBezTo>
                  <a:pt x="670824" y="5681003"/>
                  <a:pt x="669760" y="5683798"/>
                  <a:pt x="669760" y="5687792"/>
                </a:cubicBezTo>
                <a:cubicBezTo>
                  <a:pt x="669760" y="5691919"/>
                  <a:pt x="670824" y="5694714"/>
                  <a:pt x="673353" y="5697243"/>
                </a:cubicBezTo>
                <a:cubicBezTo>
                  <a:pt x="674951" y="5698842"/>
                  <a:pt x="677480" y="5700705"/>
                  <a:pt x="683337" y="5700705"/>
                </a:cubicBezTo>
                <a:cubicBezTo>
                  <a:pt x="685334" y="5700705"/>
                  <a:pt x="687198" y="5700439"/>
                  <a:pt x="688662" y="5699773"/>
                </a:cubicBezTo>
                <a:cubicBezTo>
                  <a:pt x="690126" y="5699241"/>
                  <a:pt x="691458" y="5698442"/>
                  <a:pt x="692389" y="5697376"/>
                </a:cubicBezTo>
                <a:cubicBezTo>
                  <a:pt x="693454" y="5696178"/>
                  <a:pt x="694386" y="5694847"/>
                  <a:pt x="695052" y="5693117"/>
                </a:cubicBezTo>
                <a:cubicBezTo>
                  <a:pt x="695717" y="5691519"/>
                  <a:pt x="696117" y="5689655"/>
                  <a:pt x="696117" y="5687659"/>
                </a:cubicBezTo>
                <a:cubicBezTo>
                  <a:pt x="696117" y="5685795"/>
                  <a:pt x="695717" y="5684064"/>
                  <a:pt x="695052" y="5682467"/>
                </a:cubicBezTo>
                <a:cubicBezTo>
                  <a:pt x="694386" y="5680870"/>
                  <a:pt x="693454" y="5679539"/>
                  <a:pt x="692389" y="5678341"/>
                </a:cubicBezTo>
                <a:cubicBezTo>
                  <a:pt x="691324" y="5677276"/>
                  <a:pt x="689993" y="5676344"/>
                  <a:pt x="688396" y="5675678"/>
                </a:cubicBezTo>
                <a:cubicBezTo>
                  <a:pt x="686932" y="5675013"/>
                  <a:pt x="685334" y="5674747"/>
                  <a:pt x="683337" y="5674747"/>
                </a:cubicBezTo>
                <a:close/>
                <a:moveTo>
                  <a:pt x="465695" y="5674747"/>
                </a:moveTo>
                <a:cubicBezTo>
                  <a:pt x="459838" y="5674747"/>
                  <a:pt x="457310" y="5676610"/>
                  <a:pt x="455712" y="5678341"/>
                </a:cubicBezTo>
                <a:cubicBezTo>
                  <a:pt x="453182" y="5681003"/>
                  <a:pt x="452118" y="5683798"/>
                  <a:pt x="452118" y="5687792"/>
                </a:cubicBezTo>
                <a:cubicBezTo>
                  <a:pt x="452118" y="5691919"/>
                  <a:pt x="453182" y="5694714"/>
                  <a:pt x="455712" y="5697243"/>
                </a:cubicBezTo>
                <a:cubicBezTo>
                  <a:pt x="457310" y="5698842"/>
                  <a:pt x="459838" y="5700705"/>
                  <a:pt x="465695" y="5700705"/>
                </a:cubicBezTo>
                <a:cubicBezTo>
                  <a:pt x="467693" y="5700705"/>
                  <a:pt x="469557" y="5700439"/>
                  <a:pt x="471021" y="5699773"/>
                </a:cubicBezTo>
                <a:cubicBezTo>
                  <a:pt x="472485" y="5699241"/>
                  <a:pt x="473816" y="5698442"/>
                  <a:pt x="474748" y="5697376"/>
                </a:cubicBezTo>
                <a:cubicBezTo>
                  <a:pt x="475812" y="5696178"/>
                  <a:pt x="476745" y="5694847"/>
                  <a:pt x="477411" y="5693117"/>
                </a:cubicBezTo>
                <a:cubicBezTo>
                  <a:pt x="478076" y="5691519"/>
                  <a:pt x="478476" y="5689655"/>
                  <a:pt x="478476" y="5687659"/>
                </a:cubicBezTo>
                <a:cubicBezTo>
                  <a:pt x="478476" y="5685795"/>
                  <a:pt x="478076" y="5684064"/>
                  <a:pt x="477411" y="5682467"/>
                </a:cubicBezTo>
                <a:cubicBezTo>
                  <a:pt x="476745" y="5680870"/>
                  <a:pt x="475812" y="5679539"/>
                  <a:pt x="474748" y="5678341"/>
                </a:cubicBezTo>
                <a:cubicBezTo>
                  <a:pt x="473683" y="5677276"/>
                  <a:pt x="472352" y="5676344"/>
                  <a:pt x="470755" y="5675678"/>
                </a:cubicBezTo>
                <a:cubicBezTo>
                  <a:pt x="469290" y="5675013"/>
                  <a:pt x="467693" y="5674747"/>
                  <a:pt x="465695" y="5674747"/>
                </a:cubicBezTo>
                <a:close/>
                <a:moveTo>
                  <a:pt x="248054" y="5674747"/>
                </a:moveTo>
                <a:cubicBezTo>
                  <a:pt x="242197" y="5674747"/>
                  <a:pt x="239669" y="5676610"/>
                  <a:pt x="238072" y="5678341"/>
                </a:cubicBezTo>
                <a:cubicBezTo>
                  <a:pt x="235542" y="5681003"/>
                  <a:pt x="234478" y="5683798"/>
                  <a:pt x="234478" y="5687792"/>
                </a:cubicBezTo>
                <a:cubicBezTo>
                  <a:pt x="234478" y="5691919"/>
                  <a:pt x="235542" y="5694714"/>
                  <a:pt x="238072" y="5697243"/>
                </a:cubicBezTo>
                <a:cubicBezTo>
                  <a:pt x="239669" y="5698842"/>
                  <a:pt x="242197" y="5700705"/>
                  <a:pt x="248054" y="5700705"/>
                </a:cubicBezTo>
                <a:cubicBezTo>
                  <a:pt x="250184" y="5700705"/>
                  <a:pt x="251915" y="5700439"/>
                  <a:pt x="253379" y="5699773"/>
                </a:cubicBezTo>
                <a:cubicBezTo>
                  <a:pt x="254843" y="5699241"/>
                  <a:pt x="256173" y="5698442"/>
                  <a:pt x="257105" y="5697376"/>
                </a:cubicBezTo>
                <a:cubicBezTo>
                  <a:pt x="258170" y="5696178"/>
                  <a:pt x="259102" y="5694847"/>
                  <a:pt x="259768" y="5693117"/>
                </a:cubicBezTo>
                <a:cubicBezTo>
                  <a:pt x="260433" y="5691519"/>
                  <a:pt x="260833" y="5689655"/>
                  <a:pt x="260833" y="5687659"/>
                </a:cubicBezTo>
                <a:cubicBezTo>
                  <a:pt x="260833" y="5685795"/>
                  <a:pt x="260433" y="5684064"/>
                  <a:pt x="259768" y="5682467"/>
                </a:cubicBezTo>
                <a:cubicBezTo>
                  <a:pt x="259102" y="5680870"/>
                  <a:pt x="258170" y="5679539"/>
                  <a:pt x="257105" y="5678341"/>
                </a:cubicBezTo>
                <a:cubicBezTo>
                  <a:pt x="256040" y="5677276"/>
                  <a:pt x="254710" y="5676344"/>
                  <a:pt x="253113" y="5675678"/>
                </a:cubicBezTo>
                <a:cubicBezTo>
                  <a:pt x="251648" y="5675013"/>
                  <a:pt x="250051" y="5674747"/>
                  <a:pt x="248054" y="5674747"/>
                </a:cubicBezTo>
                <a:close/>
                <a:moveTo>
                  <a:pt x="30413" y="5674747"/>
                </a:moveTo>
                <a:cubicBezTo>
                  <a:pt x="24555" y="5674747"/>
                  <a:pt x="22026" y="5676610"/>
                  <a:pt x="20429" y="5678341"/>
                </a:cubicBezTo>
                <a:cubicBezTo>
                  <a:pt x="17900" y="5681003"/>
                  <a:pt x="16836" y="5683798"/>
                  <a:pt x="16836" y="5687792"/>
                </a:cubicBezTo>
                <a:cubicBezTo>
                  <a:pt x="16836" y="5691919"/>
                  <a:pt x="17900" y="5694714"/>
                  <a:pt x="20429" y="5697243"/>
                </a:cubicBezTo>
                <a:cubicBezTo>
                  <a:pt x="22026" y="5698842"/>
                  <a:pt x="24555" y="5700705"/>
                  <a:pt x="30413" y="5700705"/>
                </a:cubicBezTo>
                <a:cubicBezTo>
                  <a:pt x="32543" y="5700705"/>
                  <a:pt x="34274" y="5700439"/>
                  <a:pt x="35738" y="5699773"/>
                </a:cubicBezTo>
                <a:cubicBezTo>
                  <a:pt x="37202" y="5699241"/>
                  <a:pt x="38534" y="5698442"/>
                  <a:pt x="39465" y="5697376"/>
                </a:cubicBezTo>
                <a:cubicBezTo>
                  <a:pt x="40530" y="5696178"/>
                  <a:pt x="41462" y="5694847"/>
                  <a:pt x="42128" y="5693117"/>
                </a:cubicBezTo>
                <a:cubicBezTo>
                  <a:pt x="42793" y="5691519"/>
                  <a:pt x="43059" y="5689655"/>
                  <a:pt x="43059" y="5687659"/>
                </a:cubicBezTo>
                <a:cubicBezTo>
                  <a:pt x="43059" y="5685795"/>
                  <a:pt x="42793" y="5684064"/>
                  <a:pt x="42128" y="5682467"/>
                </a:cubicBezTo>
                <a:cubicBezTo>
                  <a:pt x="41462" y="5680870"/>
                  <a:pt x="40530" y="5679539"/>
                  <a:pt x="39465" y="5678341"/>
                </a:cubicBezTo>
                <a:cubicBezTo>
                  <a:pt x="38400" y="5677276"/>
                  <a:pt x="37069" y="5676344"/>
                  <a:pt x="35472" y="5675678"/>
                </a:cubicBezTo>
                <a:cubicBezTo>
                  <a:pt x="34008" y="5675013"/>
                  <a:pt x="32410" y="5674747"/>
                  <a:pt x="30413" y="5674747"/>
                </a:cubicBezTo>
                <a:close/>
                <a:moveTo>
                  <a:pt x="10475977" y="5658107"/>
                </a:moveTo>
                <a:cubicBezTo>
                  <a:pt x="10480237" y="5658107"/>
                  <a:pt x="10484230" y="5658906"/>
                  <a:pt x="10487824" y="5660636"/>
                </a:cubicBezTo>
                <a:cubicBezTo>
                  <a:pt x="10491419" y="5662234"/>
                  <a:pt x="10494613" y="5664363"/>
                  <a:pt x="10497143" y="5667026"/>
                </a:cubicBezTo>
                <a:cubicBezTo>
                  <a:pt x="10499672" y="5669555"/>
                  <a:pt x="10501801" y="5672750"/>
                  <a:pt x="10503266" y="5676344"/>
                </a:cubicBezTo>
                <a:cubicBezTo>
                  <a:pt x="10504730" y="5679938"/>
                  <a:pt x="10505529" y="5683798"/>
                  <a:pt x="10505529" y="5687792"/>
                </a:cubicBezTo>
                <a:cubicBezTo>
                  <a:pt x="10505529" y="5691919"/>
                  <a:pt x="10504730" y="5695912"/>
                  <a:pt x="10503266" y="5699507"/>
                </a:cubicBezTo>
                <a:cubicBezTo>
                  <a:pt x="10501669" y="5703101"/>
                  <a:pt x="10499672" y="5706163"/>
                  <a:pt x="10497143" y="5708825"/>
                </a:cubicBezTo>
                <a:cubicBezTo>
                  <a:pt x="10494480" y="5711488"/>
                  <a:pt x="10491419" y="5713617"/>
                  <a:pt x="10487824" y="5715082"/>
                </a:cubicBezTo>
                <a:cubicBezTo>
                  <a:pt x="10484098" y="5716546"/>
                  <a:pt x="10480237" y="5717344"/>
                  <a:pt x="10475977" y="5717344"/>
                </a:cubicBezTo>
                <a:cubicBezTo>
                  <a:pt x="10466924" y="5717344"/>
                  <a:pt x="10459736" y="5714416"/>
                  <a:pt x="10454145" y="5708825"/>
                </a:cubicBezTo>
                <a:cubicBezTo>
                  <a:pt x="10448554" y="5703234"/>
                  <a:pt x="10445759" y="5696178"/>
                  <a:pt x="10445759" y="5687659"/>
                </a:cubicBezTo>
                <a:cubicBezTo>
                  <a:pt x="10445759" y="5679406"/>
                  <a:pt x="10448554" y="5672351"/>
                  <a:pt x="10454145" y="5666626"/>
                </a:cubicBezTo>
                <a:cubicBezTo>
                  <a:pt x="10459603" y="5660902"/>
                  <a:pt x="10466924" y="5658107"/>
                  <a:pt x="10475977" y="5658107"/>
                </a:cubicBezTo>
                <a:close/>
                <a:moveTo>
                  <a:pt x="10258466" y="5658107"/>
                </a:moveTo>
                <a:cubicBezTo>
                  <a:pt x="10262592" y="5658107"/>
                  <a:pt x="10266586" y="5658906"/>
                  <a:pt x="10270313" y="5660636"/>
                </a:cubicBezTo>
                <a:cubicBezTo>
                  <a:pt x="10273907" y="5662234"/>
                  <a:pt x="10277101" y="5664363"/>
                  <a:pt x="10279631" y="5667026"/>
                </a:cubicBezTo>
                <a:cubicBezTo>
                  <a:pt x="10282160" y="5669555"/>
                  <a:pt x="10284290" y="5672750"/>
                  <a:pt x="10285754" y="5676344"/>
                </a:cubicBezTo>
                <a:cubicBezTo>
                  <a:pt x="10287218" y="5679938"/>
                  <a:pt x="10288017" y="5683798"/>
                  <a:pt x="10288017" y="5687792"/>
                </a:cubicBezTo>
                <a:cubicBezTo>
                  <a:pt x="10288017" y="5691919"/>
                  <a:pt x="10287218" y="5695912"/>
                  <a:pt x="10285754" y="5699507"/>
                </a:cubicBezTo>
                <a:cubicBezTo>
                  <a:pt x="10284157" y="5703101"/>
                  <a:pt x="10282160" y="5706163"/>
                  <a:pt x="10279631" y="5708825"/>
                </a:cubicBezTo>
                <a:cubicBezTo>
                  <a:pt x="10276969" y="5711488"/>
                  <a:pt x="10273907" y="5713617"/>
                  <a:pt x="10270313" y="5715082"/>
                </a:cubicBezTo>
                <a:cubicBezTo>
                  <a:pt x="10266586" y="5716546"/>
                  <a:pt x="10262725" y="5717344"/>
                  <a:pt x="10258466" y="5717344"/>
                </a:cubicBezTo>
                <a:cubicBezTo>
                  <a:pt x="10249546" y="5717344"/>
                  <a:pt x="10242224" y="5714416"/>
                  <a:pt x="10236633" y="5708825"/>
                </a:cubicBezTo>
                <a:cubicBezTo>
                  <a:pt x="10231043" y="5703234"/>
                  <a:pt x="10228247" y="5696178"/>
                  <a:pt x="10228247" y="5687659"/>
                </a:cubicBezTo>
                <a:cubicBezTo>
                  <a:pt x="10228247" y="5679406"/>
                  <a:pt x="10231176" y="5672351"/>
                  <a:pt x="10236633" y="5666626"/>
                </a:cubicBezTo>
                <a:cubicBezTo>
                  <a:pt x="10242092" y="5660902"/>
                  <a:pt x="10249413" y="5658107"/>
                  <a:pt x="10258466" y="5658107"/>
                </a:cubicBezTo>
                <a:close/>
                <a:moveTo>
                  <a:pt x="10040820" y="5658107"/>
                </a:moveTo>
                <a:cubicBezTo>
                  <a:pt x="10045080" y="5658107"/>
                  <a:pt x="10048941" y="5658906"/>
                  <a:pt x="10052534" y="5660636"/>
                </a:cubicBezTo>
                <a:cubicBezTo>
                  <a:pt x="10056129" y="5662234"/>
                  <a:pt x="10059323" y="5664363"/>
                  <a:pt x="10061852" y="5667026"/>
                </a:cubicBezTo>
                <a:cubicBezTo>
                  <a:pt x="10064382" y="5669555"/>
                  <a:pt x="10066512" y="5672750"/>
                  <a:pt x="10067976" y="5676344"/>
                </a:cubicBezTo>
                <a:cubicBezTo>
                  <a:pt x="10069440" y="5679938"/>
                  <a:pt x="10070239" y="5683798"/>
                  <a:pt x="10070239" y="5687792"/>
                </a:cubicBezTo>
                <a:cubicBezTo>
                  <a:pt x="10070239" y="5691919"/>
                  <a:pt x="10069440" y="5695912"/>
                  <a:pt x="10067976" y="5699507"/>
                </a:cubicBezTo>
                <a:cubicBezTo>
                  <a:pt x="10066379" y="5703101"/>
                  <a:pt x="10064382" y="5706163"/>
                  <a:pt x="10061852" y="5708825"/>
                </a:cubicBezTo>
                <a:cubicBezTo>
                  <a:pt x="10059190" y="5711488"/>
                  <a:pt x="10056129" y="5713617"/>
                  <a:pt x="10052534" y="5715082"/>
                </a:cubicBezTo>
                <a:cubicBezTo>
                  <a:pt x="10048941" y="5716546"/>
                  <a:pt x="10045080" y="5717344"/>
                  <a:pt x="10040820" y="5717344"/>
                </a:cubicBezTo>
                <a:cubicBezTo>
                  <a:pt x="10031767" y="5717344"/>
                  <a:pt x="10024579" y="5714416"/>
                  <a:pt x="10018988" y="5708825"/>
                </a:cubicBezTo>
                <a:cubicBezTo>
                  <a:pt x="10013397" y="5703234"/>
                  <a:pt x="10010602" y="5696178"/>
                  <a:pt x="10010602" y="5687659"/>
                </a:cubicBezTo>
                <a:cubicBezTo>
                  <a:pt x="10010602" y="5679406"/>
                  <a:pt x="10013397" y="5672351"/>
                  <a:pt x="10018988" y="5666626"/>
                </a:cubicBezTo>
                <a:cubicBezTo>
                  <a:pt x="10024579" y="5660902"/>
                  <a:pt x="10031767" y="5658107"/>
                  <a:pt x="10040820" y="5658107"/>
                </a:cubicBezTo>
                <a:close/>
                <a:moveTo>
                  <a:pt x="9823176" y="5658107"/>
                </a:moveTo>
                <a:cubicBezTo>
                  <a:pt x="9827435" y="5658107"/>
                  <a:pt x="9831296" y="5658906"/>
                  <a:pt x="9834890" y="5660636"/>
                </a:cubicBezTo>
                <a:cubicBezTo>
                  <a:pt x="9838617" y="5662234"/>
                  <a:pt x="9841679" y="5664363"/>
                  <a:pt x="9844208" y="5667026"/>
                </a:cubicBezTo>
                <a:cubicBezTo>
                  <a:pt x="9846737" y="5669555"/>
                  <a:pt x="9848867" y="5672750"/>
                  <a:pt x="9850331" y="5676344"/>
                </a:cubicBezTo>
                <a:cubicBezTo>
                  <a:pt x="9851796" y="5679938"/>
                  <a:pt x="9852595" y="5683798"/>
                  <a:pt x="9852595" y="5687792"/>
                </a:cubicBezTo>
                <a:cubicBezTo>
                  <a:pt x="9852595" y="5691919"/>
                  <a:pt x="9851796" y="5695912"/>
                  <a:pt x="9850331" y="5699507"/>
                </a:cubicBezTo>
                <a:cubicBezTo>
                  <a:pt x="9848734" y="5703101"/>
                  <a:pt x="9846737" y="5706163"/>
                  <a:pt x="9844208" y="5708825"/>
                </a:cubicBezTo>
                <a:cubicBezTo>
                  <a:pt x="9841546" y="5711488"/>
                  <a:pt x="9838484" y="5713617"/>
                  <a:pt x="9834890" y="5715082"/>
                </a:cubicBezTo>
                <a:cubicBezTo>
                  <a:pt x="9831296" y="5716546"/>
                  <a:pt x="9827435" y="5717344"/>
                  <a:pt x="9823176" y="5717344"/>
                </a:cubicBezTo>
                <a:cubicBezTo>
                  <a:pt x="9814123" y="5717344"/>
                  <a:pt x="9806935" y="5714416"/>
                  <a:pt x="9801343" y="5708825"/>
                </a:cubicBezTo>
                <a:cubicBezTo>
                  <a:pt x="9795753" y="5703234"/>
                  <a:pt x="9792957" y="5696178"/>
                  <a:pt x="9792957" y="5687659"/>
                </a:cubicBezTo>
                <a:cubicBezTo>
                  <a:pt x="9792957" y="5679406"/>
                  <a:pt x="9795753" y="5672351"/>
                  <a:pt x="9801343" y="5666626"/>
                </a:cubicBezTo>
                <a:cubicBezTo>
                  <a:pt x="9806935" y="5660902"/>
                  <a:pt x="9814123" y="5658107"/>
                  <a:pt x="9823176" y="5658107"/>
                </a:cubicBezTo>
                <a:close/>
                <a:moveTo>
                  <a:pt x="9605531" y="5658107"/>
                </a:moveTo>
                <a:cubicBezTo>
                  <a:pt x="9609790" y="5658107"/>
                  <a:pt x="9613784" y="5658906"/>
                  <a:pt x="9617245" y="5660636"/>
                </a:cubicBezTo>
                <a:cubicBezTo>
                  <a:pt x="9620839" y="5662234"/>
                  <a:pt x="9624033" y="5664363"/>
                  <a:pt x="9626562" y="5667026"/>
                </a:cubicBezTo>
                <a:cubicBezTo>
                  <a:pt x="9629092" y="5669555"/>
                  <a:pt x="9631222" y="5672750"/>
                  <a:pt x="9632686" y="5676344"/>
                </a:cubicBezTo>
                <a:cubicBezTo>
                  <a:pt x="9634150" y="5679938"/>
                  <a:pt x="9634949" y="5683798"/>
                  <a:pt x="9634949" y="5687792"/>
                </a:cubicBezTo>
                <a:cubicBezTo>
                  <a:pt x="9634949" y="5691919"/>
                  <a:pt x="9634150" y="5695912"/>
                  <a:pt x="9632686" y="5699507"/>
                </a:cubicBezTo>
                <a:cubicBezTo>
                  <a:pt x="9631089" y="5703101"/>
                  <a:pt x="9629092" y="5706163"/>
                  <a:pt x="9626562" y="5708825"/>
                </a:cubicBezTo>
                <a:cubicBezTo>
                  <a:pt x="9623901" y="5711488"/>
                  <a:pt x="9620839" y="5713617"/>
                  <a:pt x="9617245" y="5715082"/>
                </a:cubicBezTo>
                <a:cubicBezTo>
                  <a:pt x="9613651" y="5716546"/>
                  <a:pt x="9609790" y="5717344"/>
                  <a:pt x="9605531" y="5717344"/>
                </a:cubicBezTo>
                <a:cubicBezTo>
                  <a:pt x="9596610" y="5717344"/>
                  <a:pt x="9589289" y="5714416"/>
                  <a:pt x="9583698" y="5708825"/>
                </a:cubicBezTo>
                <a:cubicBezTo>
                  <a:pt x="9578108" y="5703234"/>
                  <a:pt x="9575312" y="5696178"/>
                  <a:pt x="9575312" y="5687659"/>
                </a:cubicBezTo>
                <a:cubicBezTo>
                  <a:pt x="9575312" y="5679406"/>
                  <a:pt x="9578108" y="5672351"/>
                  <a:pt x="9583698" y="5666626"/>
                </a:cubicBezTo>
                <a:cubicBezTo>
                  <a:pt x="9589289" y="5660902"/>
                  <a:pt x="9596478" y="5658107"/>
                  <a:pt x="9605531" y="5658107"/>
                </a:cubicBezTo>
                <a:close/>
                <a:moveTo>
                  <a:pt x="9387885" y="5658107"/>
                </a:moveTo>
                <a:cubicBezTo>
                  <a:pt x="9392145" y="5658107"/>
                  <a:pt x="9396138" y="5658906"/>
                  <a:pt x="9399599" y="5660636"/>
                </a:cubicBezTo>
                <a:cubicBezTo>
                  <a:pt x="9403194" y="5662234"/>
                  <a:pt x="9406388" y="5664363"/>
                  <a:pt x="9408917" y="5667026"/>
                </a:cubicBezTo>
                <a:cubicBezTo>
                  <a:pt x="9411447" y="5669555"/>
                  <a:pt x="9413576" y="5672750"/>
                  <a:pt x="9415041" y="5676344"/>
                </a:cubicBezTo>
                <a:cubicBezTo>
                  <a:pt x="9416505" y="5679938"/>
                  <a:pt x="9417304" y="5683798"/>
                  <a:pt x="9417304" y="5687792"/>
                </a:cubicBezTo>
                <a:cubicBezTo>
                  <a:pt x="9417304" y="5691919"/>
                  <a:pt x="9416505" y="5695912"/>
                  <a:pt x="9415041" y="5699507"/>
                </a:cubicBezTo>
                <a:cubicBezTo>
                  <a:pt x="9413444" y="5703101"/>
                  <a:pt x="9411447" y="5706163"/>
                  <a:pt x="9408917" y="5708825"/>
                </a:cubicBezTo>
                <a:cubicBezTo>
                  <a:pt x="9406255" y="5711488"/>
                  <a:pt x="9403194" y="5713617"/>
                  <a:pt x="9399599" y="5715082"/>
                </a:cubicBezTo>
                <a:cubicBezTo>
                  <a:pt x="9396005" y="5716546"/>
                  <a:pt x="9392145" y="5717344"/>
                  <a:pt x="9387885" y="5717344"/>
                </a:cubicBezTo>
                <a:cubicBezTo>
                  <a:pt x="9378965" y="5717344"/>
                  <a:pt x="9371644" y="5714416"/>
                  <a:pt x="9366053" y="5708825"/>
                </a:cubicBezTo>
                <a:cubicBezTo>
                  <a:pt x="9360462" y="5703234"/>
                  <a:pt x="9357667" y="5696178"/>
                  <a:pt x="9357667" y="5687659"/>
                </a:cubicBezTo>
                <a:cubicBezTo>
                  <a:pt x="9357667" y="5679406"/>
                  <a:pt x="9360462" y="5672351"/>
                  <a:pt x="9366053" y="5666626"/>
                </a:cubicBezTo>
                <a:cubicBezTo>
                  <a:pt x="9371644" y="5660902"/>
                  <a:pt x="9378832" y="5658107"/>
                  <a:pt x="9387885" y="5658107"/>
                </a:cubicBezTo>
                <a:close/>
                <a:moveTo>
                  <a:pt x="9170374" y="5658107"/>
                </a:moveTo>
                <a:cubicBezTo>
                  <a:pt x="9174500" y="5658107"/>
                  <a:pt x="9178494" y="5658906"/>
                  <a:pt x="9182088" y="5660636"/>
                </a:cubicBezTo>
                <a:cubicBezTo>
                  <a:pt x="9185682" y="5662234"/>
                  <a:pt x="9188876" y="5664363"/>
                  <a:pt x="9191405" y="5667026"/>
                </a:cubicBezTo>
                <a:cubicBezTo>
                  <a:pt x="9193935" y="5669555"/>
                  <a:pt x="9196065" y="5672750"/>
                  <a:pt x="9197529" y="5676344"/>
                </a:cubicBezTo>
                <a:cubicBezTo>
                  <a:pt x="9198993" y="5679938"/>
                  <a:pt x="9199792" y="5683798"/>
                  <a:pt x="9199792" y="5687792"/>
                </a:cubicBezTo>
                <a:cubicBezTo>
                  <a:pt x="9199792" y="5691919"/>
                  <a:pt x="9198993" y="5695912"/>
                  <a:pt x="9197529" y="5699507"/>
                </a:cubicBezTo>
                <a:cubicBezTo>
                  <a:pt x="9195932" y="5703101"/>
                  <a:pt x="9193935" y="5706163"/>
                  <a:pt x="9191405" y="5708825"/>
                </a:cubicBezTo>
                <a:cubicBezTo>
                  <a:pt x="9188744" y="5711488"/>
                  <a:pt x="9185682" y="5713617"/>
                  <a:pt x="9182088" y="5715082"/>
                </a:cubicBezTo>
                <a:cubicBezTo>
                  <a:pt x="9178494" y="5716546"/>
                  <a:pt x="9174633" y="5717344"/>
                  <a:pt x="9170374" y="5717344"/>
                </a:cubicBezTo>
                <a:cubicBezTo>
                  <a:pt x="9161453" y="5717344"/>
                  <a:pt x="9154132" y="5714416"/>
                  <a:pt x="9148541" y="5708825"/>
                </a:cubicBezTo>
                <a:cubicBezTo>
                  <a:pt x="9142951" y="5703234"/>
                  <a:pt x="9140155" y="5696178"/>
                  <a:pt x="9140155" y="5687659"/>
                </a:cubicBezTo>
                <a:cubicBezTo>
                  <a:pt x="9140155" y="5679406"/>
                  <a:pt x="9142951" y="5672351"/>
                  <a:pt x="9148541" y="5666626"/>
                </a:cubicBezTo>
                <a:cubicBezTo>
                  <a:pt x="9154132" y="5660902"/>
                  <a:pt x="9161321" y="5658107"/>
                  <a:pt x="9170374" y="5658107"/>
                </a:cubicBezTo>
                <a:close/>
                <a:moveTo>
                  <a:pt x="8952728" y="5658107"/>
                </a:moveTo>
                <a:cubicBezTo>
                  <a:pt x="8956988" y="5658107"/>
                  <a:pt x="8960849" y="5658906"/>
                  <a:pt x="8964442" y="5660636"/>
                </a:cubicBezTo>
                <a:cubicBezTo>
                  <a:pt x="8968037" y="5662234"/>
                  <a:pt x="8971231" y="5664363"/>
                  <a:pt x="8973760" y="5667026"/>
                </a:cubicBezTo>
                <a:cubicBezTo>
                  <a:pt x="8976290" y="5669555"/>
                  <a:pt x="8978419" y="5672750"/>
                  <a:pt x="8979884" y="5676344"/>
                </a:cubicBezTo>
                <a:cubicBezTo>
                  <a:pt x="8981348" y="5679938"/>
                  <a:pt x="8982147" y="5683798"/>
                  <a:pt x="8982147" y="5687792"/>
                </a:cubicBezTo>
                <a:cubicBezTo>
                  <a:pt x="8982147" y="5691919"/>
                  <a:pt x="8981348" y="5695912"/>
                  <a:pt x="8979884" y="5699507"/>
                </a:cubicBezTo>
                <a:cubicBezTo>
                  <a:pt x="8978287" y="5703101"/>
                  <a:pt x="8976290" y="5706163"/>
                  <a:pt x="8973760" y="5708825"/>
                </a:cubicBezTo>
                <a:cubicBezTo>
                  <a:pt x="8971098" y="5711488"/>
                  <a:pt x="8968037" y="5713617"/>
                  <a:pt x="8964442" y="5715082"/>
                </a:cubicBezTo>
                <a:cubicBezTo>
                  <a:pt x="8960849" y="5716546"/>
                  <a:pt x="8956988" y="5717344"/>
                  <a:pt x="8952728" y="5717344"/>
                </a:cubicBezTo>
                <a:cubicBezTo>
                  <a:pt x="8943808" y="5717344"/>
                  <a:pt x="8936487" y="5714416"/>
                  <a:pt x="8930896" y="5708825"/>
                </a:cubicBezTo>
                <a:cubicBezTo>
                  <a:pt x="8925305" y="5703234"/>
                  <a:pt x="8922510" y="5696178"/>
                  <a:pt x="8922510" y="5687659"/>
                </a:cubicBezTo>
                <a:cubicBezTo>
                  <a:pt x="8922510" y="5679406"/>
                  <a:pt x="8925305" y="5672351"/>
                  <a:pt x="8930896" y="5666626"/>
                </a:cubicBezTo>
                <a:cubicBezTo>
                  <a:pt x="8936487" y="5660902"/>
                  <a:pt x="8943675" y="5658107"/>
                  <a:pt x="8952728" y="5658107"/>
                </a:cubicBezTo>
                <a:close/>
                <a:moveTo>
                  <a:pt x="8735083" y="5658107"/>
                </a:moveTo>
                <a:cubicBezTo>
                  <a:pt x="8739342" y="5658107"/>
                  <a:pt x="8743203" y="5658906"/>
                  <a:pt x="8746797" y="5660636"/>
                </a:cubicBezTo>
                <a:cubicBezTo>
                  <a:pt x="8750391" y="5662234"/>
                  <a:pt x="8753586" y="5664363"/>
                  <a:pt x="8756115" y="5667026"/>
                </a:cubicBezTo>
                <a:cubicBezTo>
                  <a:pt x="8758644" y="5669555"/>
                  <a:pt x="8760774" y="5672750"/>
                  <a:pt x="8762238" y="5676344"/>
                </a:cubicBezTo>
                <a:cubicBezTo>
                  <a:pt x="8763702" y="5679938"/>
                  <a:pt x="8764502" y="5683798"/>
                  <a:pt x="8764502" y="5687792"/>
                </a:cubicBezTo>
                <a:cubicBezTo>
                  <a:pt x="8764502" y="5691919"/>
                  <a:pt x="8763702" y="5695912"/>
                  <a:pt x="8762238" y="5699507"/>
                </a:cubicBezTo>
                <a:cubicBezTo>
                  <a:pt x="8760641" y="5703101"/>
                  <a:pt x="8758644" y="5706163"/>
                  <a:pt x="8756115" y="5708825"/>
                </a:cubicBezTo>
                <a:cubicBezTo>
                  <a:pt x="8753453" y="5711488"/>
                  <a:pt x="8750391" y="5713617"/>
                  <a:pt x="8746797" y="5715082"/>
                </a:cubicBezTo>
                <a:cubicBezTo>
                  <a:pt x="8743203" y="5716546"/>
                  <a:pt x="8739342" y="5717344"/>
                  <a:pt x="8735083" y="5717344"/>
                </a:cubicBezTo>
                <a:cubicBezTo>
                  <a:pt x="8726030" y="5717344"/>
                  <a:pt x="8718841" y="5714416"/>
                  <a:pt x="8713250" y="5708825"/>
                </a:cubicBezTo>
                <a:cubicBezTo>
                  <a:pt x="8707660" y="5703234"/>
                  <a:pt x="8704864" y="5696178"/>
                  <a:pt x="8704864" y="5687659"/>
                </a:cubicBezTo>
                <a:cubicBezTo>
                  <a:pt x="8704864" y="5679406"/>
                  <a:pt x="8707660" y="5672351"/>
                  <a:pt x="8713250" y="5666626"/>
                </a:cubicBezTo>
                <a:cubicBezTo>
                  <a:pt x="8718841" y="5660902"/>
                  <a:pt x="8726030" y="5658107"/>
                  <a:pt x="8735083" y="5658107"/>
                </a:cubicBezTo>
                <a:close/>
                <a:moveTo>
                  <a:pt x="8517438" y="5658107"/>
                </a:moveTo>
                <a:cubicBezTo>
                  <a:pt x="8521698" y="5658107"/>
                  <a:pt x="8525559" y="5658906"/>
                  <a:pt x="8529152" y="5660636"/>
                </a:cubicBezTo>
                <a:cubicBezTo>
                  <a:pt x="8532880" y="5662234"/>
                  <a:pt x="8535941" y="5664363"/>
                  <a:pt x="8538470" y="5667026"/>
                </a:cubicBezTo>
                <a:cubicBezTo>
                  <a:pt x="8541000" y="5669555"/>
                  <a:pt x="8543130" y="5672750"/>
                  <a:pt x="8544594" y="5676344"/>
                </a:cubicBezTo>
                <a:cubicBezTo>
                  <a:pt x="8546058" y="5679938"/>
                  <a:pt x="8546857" y="5683798"/>
                  <a:pt x="8546857" y="5687792"/>
                </a:cubicBezTo>
                <a:cubicBezTo>
                  <a:pt x="8546857" y="5691919"/>
                  <a:pt x="8546058" y="5695912"/>
                  <a:pt x="8544594" y="5699507"/>
                </a:cubicBezTo>
                <a:cubicBezTo>
                  <a:pt x="8542997" y="5703101"/>
                  <a:pt x="8541000" y="5706163"/>
                  <a:pt x="8538470" y="5708825"/>
                </a:cubicBezTo>
                <a:cubicBezTo>
                  <a:pt x="8535808" y="5711488"/>
                  <a:pt x="8532747" y="5713617"/>
                  <a:pt x="8529152" y="5715082"/>
                </a:cubicBezTo>
                <a:cubicBezTo>
                  <a:pt x="8525559" y="5716546"/>
                  <a:pt x="8521698" y="5717344"/>
                  <a:pt x="8517438" y="5717344"/>
                </a:cubicBezTo>
                <a:cubicBezTo>
                  <a:pt x="8508385" y="5717344"/>
                  <a:pt x="8501197" y="5714416"/>
                  <a:pt x="8495606" y="5708825"/>
                </a:cubicBezTo>
                <a:cubicBezTo>
                  <a:pt x="8490015" y="5703234"/>
                  <a:pt x="8487220" y="5696178"/>
                  <a:pt x="8487220" y="5687659"/>
                </a:cubicBezTo>
                <a:cubicBezTo>
                  <a:pt x="8487220" y="5679406"/>
                  <a:pt x="8490015" y="5672351"/>
                  <a:pt x="8495606" y="5666626"/>
                </a:cubicBezTo>
                <a:cubicBezTo>
                  <a:pt x="8501197" y="5660902"/>
                  <a:pt x="8508385" y="5658107"/>
                  <a:pt x="8517438" y="5658107"/>
                </a:cubicBezTo>
                <a:close/>
                <a:moveTo>
                  <a:pt x="8299793" y="5658107"/>
                </a:moveTo>
                <a:cubicBezTo>
                  <a:pt x="8304052" y="5658107"/>
                  <a:pt x="8308046" y="5658906"/>
                  <a:pt x="8311507" y="5660636"/>
                </a:cubicBezTo>
                <a:cubicBezTo>
                  <a:pt x="8315235" y="5662234"/>
                  <a:pt x="8318296" y="5664363"/>
                  <a:pt x="8320825" y="5667026"/>
                </a:cubicBezTo>
                <a:cubicBezTo>
                  <a:pt x="8323354" y="5669555"/>
                  <a:pt x="8325484" y="5672750"/>
                  <a:pt x="8326948" y="5676344"/>
                </a:cubicBezTo>
                <a:cubicBezTo>
                  <a:pt x="8328413" y="5679938"/>
                  <a:pt x="8329212" y="5683798"/>
                  <a:pt x="8329212" y="5687792"/>
                </a:cubicBezTo>
                <a:cubicBezTo>
                  <a:pt x="8329212" y="5691919"/>
                  <a:pt x="8328413" y="5695912"/>
                  <a:pt x="8326948" y="5699507"/>
                </a:cubicBezTo>
                <a:cubicBezTo>
                  <a:pt x="8325351" y="5703101"/>
                  <a:pt x="8323354" y="5706163"/>
                  <a:pt x="8320825" y="5708825"/>
                </a:cubicBezTo>
                <a:cubicBezTo>
                  <a:pt x="8318163" y="5711488"/>
                  <a:pt x="8315101" y="5713617"/>
                  <a:pt x="8311507" y="5715082"/>
                </a:cubicBezTo>
                <a:cubicBezTo>
                  <a:pt x="8307913" y="5716546"/>
                  <a:pt x="8304052" y="5717344"/>
                  <a:pt x="8299793" y="5717344"/>
                </a:cubicBezTo>
                <a:cubicBezTo>
                  <a:pt x="8290874" y="5717344"/>
                  <a:pt x="8283553" y="5714416"/>
                  <a:pt x="8277960" y="5708825"/>
                </a:cubicBezTo>
                <a:cubicBezTo>
                  <a:pt x="8272370" y="5703234"/>
                  <a:pt x="8269574" y="5696178"/>
                  <a:pt x="8269574" y="5687659"/>
                </a:cubicBezTo>
                <a:cubicBezTo>
                  <a:pt x="8269574" y="5679406"/>
                  <a:pt x="8272370" y="5672351"/>
                  <a:pt x="8277960" y="5666626"/>
                </a:cubicBezTo>
                <a:cubicBezTo>
                  <a:pt x="8283553" y="5660902"/>
                  <a:pt x="8290741" y="5658107"/>
                  <a:pt x="8299793" y="5658107"/>
                </a:cubicBezTo>
                <a:close/>
                <a:moveTo>
                  <a:pt x="8082281" y="5658107"/>
                </a:moveTo>
                <a:cubicBezTo>
                  <a:pt x="8086407" y="5658107"/>
                  <a:pt x="8090401" y="5658906"/>
                  <a:pt x="8094127" y="5660636"/>
                </a:cubicBezTo>
                <a:cubicBezTo>
                  <a:pt x="8097855" y="5662234"/>
                  <a:pt x="8100916" y="5664363"/>
                  <a:pt x="8103446" y="5667026"/>
                </a:cubicBezTo>
                <a:cubicBezTo>
                  <a:pt x="8105975" y="5669555"/>
                  <a:pt x="8108104" y="5672750"/>
                  <a:pt x="8109569" y="5676344"/>
                </a:cubicBezTo>
                <a:cubicBezTo>
                  <a:pt x="8111033" y="5679938"/>
                  <a:pt x="8111832" y="5683798"/>
                  <a:pt x="8111832" y="5687792"/>
                </a:cubicBezTo>
                <a:cubicBezTo>
                  <a:pt x="8111832" y="5691919"/>
                  <a:pt x="8111033" y="5695912"/>
                  <a:pt x="8109569" y="5699507"/>
                </a:cubicBezTo>
                <a:cubicBezTo>
                  <a:pt x="8107972" y="5703101"/>
                  <a:pt x="8105975" y="5706163"/>
                  <a:pt x="8103446" y="5708825"/>
                </a:cubicBezTo>
                <a:cubicBezTo>
                  <a:pt x="8100783" y="5711488"/>
                  <a:pt x="8097722" y="5713617"/>
                  <a:pt x="8094127" y="5715082"/>
                </a:cubicBezTo>
                <a:cubicBezTo>
                  <a:pt x="8090401" y="5716546"/>
                  <a:pt x="8086540" y="5717344"/>
                  <a:pt x="8082281" y="5717344"/>
                </a:cubicBezTo>
                <a:cubicBezTo>
                  <a:pt x="8073361" y="5717344"/>
                  <a:pt x="8066040" y="5714416"/>
                  <a:pt x="8060448" y="5708825"/>
                </a:cubicBezTo>
                <a:cubicBezTo>
                  <a:pt x="8054857" y="5703234"/>
                  <a:pt x="8052062" y="5696178"/>
                  <a:pt x="8052062" y="5687659"/>
                </a:cubicBezTo>
                <a:cubicBezTo>
                  <a:pt x="8052062" y="5679406"/>
                  <a:pt x="8054857" y="5672351"/>
                  <a:pt x="8060448" y="5666626"/>
                </a:cubicBezTo>
                <a:cubicBezTo>
                  <a:pt x="8066040" y="5660902"/>
                  <a:pt x="8073228" y="5658107"/>
                  <a:pt x="8082281" y="5658107"/>
                </a:cubicBezTo>
                <a:close/>
                <a:moveTo>
                  <a:pt x="7864636" y="5658107"/>
                </a:moveTo>
                <a:cubicBezTo>
                  <a:pt x="7868762" y="5658107"/>
                  <a:pt x="7872756" y="5658906"/>
                  <a:pt x="7876483" y="5660636"/>
                </a:cubicBezTo>
                <a:cubicBezTo>
                  <a:pt x="7880210" y="5662234"/>
                  <a:pt x="7883272" y="5664363"/>
                  <a:pt x="7885802" y="5667026"/>
                </a:cubicBezTo>
                <a:cubicBezTo>
                  <a:pt x="7888331" y="5669555"/>
                  <a:pt x="7890460" y="5672750"/>
                  <a:pt x="7891924" y="5676344"/>
                </a:cubicBezTo>
                <a:cubicBezTo>
                  <a:pt x="7893389" y="5679938"/>
                  <a:pt x="7894188" y="5683798"/>
                  <a:pt x="7894188" y="5687792"/>
                </a:cubicBezTo>
                <a:cubicBezTo>
                  <a:pt x="7894188" y="5691919"/>
                  <a:pt x="7893389" y="5695912"/>
                  <a:pt x="7891924" y="5699507"/>
                </a:cubicBezTo>
                <a:cubicBezTo>
                  <a:pt x="7890327" y="5703101"/>
                  <a:pt x="7888331" y="5706163"/>
                  <a:pt x="7885802" y="5708825"/>
                </a:cubicBezTo>
                <a:cubicBezTo>
                  <a:pt x="7883139" y="5711488"/>
                  <a:pt x="7880078" y="5713617"/>
                  <a:pt x="7876483" y="5715082"/>
                </a:cubicBezTo>
                <a:cubicBezTo>
                  <a:pt x="7872756" y="5716546"/>
                  <a:pt x="7868895" y="5717344"/>
                  <a:pt x="7864636" y="5717344"/>
                </a:cubicBezTo>
                <a:cubicBezTo>
                  <a:pt x="7855717" y="5717344"/>
                  <a:pt x="7848396" y="5714416"/>
                  <a:pt x="7842803" y="5708825"/>
                </a:cubicBezTo>
                <a:cubicBezTo>
                  <a:pt x="7837213" y="5703234"/>
                  <a:pt x="7834417" y="5696178"/>
                  <a:pt x="7834417" y="5687659"/>
                </a:cubicBezTo>
                <a:cubicBezTo>
                  <a:pt x="7834417" y="5679406"/>
                  <a:pt x="7837213" y="5672351"/>
                  <a:pt x="7842803" y="5666626"/>
                </a:cubicBezTo>
                <a:cubicBezTo>
                  <a:pt x="7848396" y="5660902"/>
                  <a:pt x="7855584" y="5658107"/>
                  <a:pt x="7864636" y="5658107"/>
                </a:cubicBezTo>
                <a:close/>
                <a:moveTo>
                  <a:pt x="7646991" y="5658107"/>
                </a:moveTo>
                <a:cubicBezTo>
                  <a:pt x="7651250" y="5658107"/>
                  <a:pt x="7655111" y="5658906"/>
                  <a:pt x="7658705" y="5660636"/>
                </a:cubicBezTo>
                <a:cubicBezTo>
                  <a:pt x="7662432" y="5662234"/>
                  <a:pt x="7665493" y="5664363"/>
                  <a:pt x="7668022" y="5667026"/>
                </a:cubicBezTo>
                <a:cubicBezTo>
                  <a:pt x="7670552" y="5669555"/>
                  <a:pt x="7672682" y="5672750"/>
                  <a:pt x="7674146" y="5676344"/>
                </a:cubicBezTo>
                <a:cubicBezTo>
                  <a:pt x="7675610" y="5679938"/>
                  <a:pt x="7676409" y="5683798"/>
                  <a:pt x="7676409" y="5687792"/>
                </a:cubicBezTo>
                <a:cubicBezTo>
                  <a:pt x="7676409" y="5691919"/>
                  <a:pt x="7675610" y="5695912"/>
                  <a:pt x="7674146" y="5699507"/>
                </a:cubicBezTo>
                <a:cubicBezTo>
                  <a:pt x="7672549" y="5703101"/>
                  <a:pt x="7670552" y="5706163"/>
                  <a:pt x="7668022" y="5708825"/>
                </a:cubicBezTo>
                <a:cubicBezTo>
                  <a:pt x="7665361" y="5711488"/>
                  <a:pt x="7662299" y="5713617"/>
                  <a:pt x="7658705" y="5715082"/>
                </a:cubicBezTo>
                <a:cubicBezTo>
                  <a:pt x="7655111" y="5716546"/>
                  <a:pt x="7651250" y="5717344"/>
                  <a:pt x="7646991" y="5717344"/>
                </a:cubicBezTo>
                <a:cubicBezTo>
                  <a:pt x="7638071" y="5717344"/>
                  <a:pt x="7630750" y="5714416"/>
                  <a:pt x="7625158" y="5708825"/>
                </a:cubicBezTo>
                <a:cubicBezTo>
                  <a:pt x="7619568" y="5703234"/>
                  <a:pt x="7616772" y="5696178"/>
                  <a:pt x="7616772" y="5687659"/>
                </a:cubicBezTo>
                <a:cubicBezTo>
                  <a:pt x="7616772" y="5679406"/>
                  <a:pt x="7619568" y="5672351"/>
                  <a:pt x="7625158" y="5666626"/>
                </a:cubicBezTo>
                <a:cubicBezTo>
                  <a:pt x="7630750" y="5660902"/>
                  <a:pt x="7637939" y="5658107"/>
                  <a:pt x="7646991" y="5658107"/>
                </a:cubicBezTo>
                <a:close/>
                <a:moveTo>
                  <a:pt x="7429345" y="5658107"/>
                </a:moveTo>
                <a:cubicBezTo>
                  <a:pt x="7433605" y="5658107"/>
                  <a:pt x="7437466" y="5658906"/>
                  <a:pt x="7441059" y="5660636"/>
                </a:cubicBezTo>
                <a:cubicBezTo>
                  <a:pt x="7444787" y="5662234"/>
                  <a:pt x="7447848" y="5664363"/>
                  <a:pt x="7450377" y="5667026"/>
                </a:cubicBezTo>
                <a:cubicBezTo>
                  <a:pt x="7452907" y="5669555"/>
                  <a:pt x="7455036" y="5672750"/>
                  <a:pt x="7456501" y="5676344"/>
                </a:cubicBezTo>
                <a:cubicBezTo>
                  <a:pt x="7457965" y="5679938"/>
                  <a:pt x="7458764" y="5683798"/>
                  <a:pt x="7458764" y="5687792"/>
                </a:cubicBezTo>
                <a:cubicBezTo>
                  <a:pt x="7458764" y="5691919"/>
                  <a:pt x="7457965" y="5695912"/>
                  <a:pt x="7456501" y="5699507"/>
                </a:cubicBezTo>
                <a:cubicBezTo>
                  <a:pt x="7454904" y="5703101"/>
                  <a:pt x="7452907" y="5706163"/>
                  <a:pt x="7450377" y="5708825"/>
                </a:cubicBezTo>
                <a:cubicBezTo>
                  <a:pt x="7447715" y="5711488"/>
                  <a:pt x="7444654" y="5713617"/>
                  <a:pt x="7441059" y="5715082"/>
                </a:cubicBezTo>
                <a:cubicBezTo>
                  <a:pt x="7437466" y="5716546"/>
                  <a:pt x="7433605" y="5717344"/>
                  <a:pt x="7429345" y="5717344"/>
                </a:cubicBezTo>
                <a:cubicBezTo>
                  <a:pt x="7420426" y="5717344"/>
                  <a:pt x="7413105" y="5714416"/>
                  <a:pt x="7407513" y="5708825"/>
                </a:cubicBezTo>
                <a:cubicBezTo>
                  <a:pt x="7401922" y="5703234"/>
                  <a:pt x="7399127" y="5696178"/>
                  <a:pt x="7399127" y="5687659"/>
                </a:cubicBezTo>
                <a:cubicBezTo>
                  <a:pt x="7399127" y="5679406"/>
                  <a:pt x="7401922" y="5672351"/>
                  <a:pt x="7407513" y="5666626"/>
                </a:cubicBezTo>
                <a:cubicBezTo>
                  <a:pt x="7413105" y="5660902"/>
                  <a:pt x="7420293" y="5658107"/>
                  <a:pt x="7429345" y="5658107"/>
                </a:cubicBezTo>
                <a:close/>
                <a:moveTo>
                  <a:pt x="7211701" y="5658107"/>
                </a:moveTo>
                <a:cubicBezTo>
                  <a:pt x="7215960" y="5658107"/>
                  <a:pt x="7219954" y="5658906"/>
                  <a:pt x="7223415" y="5660636"/>
                </a:cubicBezTo>
                <a:cubicBezTo>
                  <a:pt x="7227142" y="5662234"/>
                  <a:pt x="7230204" y="5664363"/>
                  <a:pt x="7232733" y="5667026"/>
                </a:cubicBezTo>
                <a:cubicBezTo>
                  <a:pt x="7235262" y="5669555"/>
                  <a:pt x="7237392" y="5672750"/>
                  <a:pt x="7238856" y="5676344"/>
                </a:cubicBezTo>
                <a:cubicBezTo>
                  <a:pt x="7240321" y="5679938"/>
                  <a:pt x="7241120" y="5683798"/>
                  <a:pt x="7241120" y="5687792"/>
                </a:cubicBezTo>
                <a:cubicBezTo>
                  <a:pt x="7241120" y="5691919"/>
                  <a:pt x="7240321" y="5695912"/>
                  <a:pt x="7238856" y="5699507"/>
                </a:cubicBezTo>
                <a:cubicBezTo>
                  <a:pt x="7237259" y="5703101"/>
                  <a:pt x="7235262" y="5706163"/>
                  <a:pt x="7232733" y="5708825"/>
                </a:cubicBezTo>
                <a:cubicBezTo>
                  <a:pt x="7230071" y="5711488"/>
                  <a:pt x="7227009" y="5713617"/>
                  <a:pt x="7223415" y="5715082"/>
                </a:cubicBezTo>
                <a:cubicBezTo>
                  <a:pt x="7219821" y="5716546"/>
                  <a:pt x="7215960" y="5717344"/>
                  <a:pt x="7211701" y="5717344"/>
                </a:cubicBezTo>
                <a:cubicBezTo>
                  <a:pt x="7202782" y="5717344"/>
                  <a:pt x="7195460" y="5714416"/>
                  <a:pt x="7189868" y="5708825"/>
                </a:cubicBezTo>
                <a:cubicBezTo>
                  <a:pt x="7184278" y="5703234"/>
                  <a:pt x="7181482" y="5696178"/>
                  <a:pt x="7181482" y="5687659"/>
                </a:cubicBezTo>
                <a:cubicBezTo>
                  <a:pt x="7181482" y="5679406"/>
                  <a:pt x="7184278" y="5672351"/>
                  <a:pt x="7189868" y="5666626"/>
                </a:cubicBezTo>
                <a:cubicBezTo>
                  <a:pt x="7195460" y="5660902"/>
                  <a:pt x="7202649" y="5658107"/>
                  <a:pt x="7211701" y="5658107"/>
                </a:cubicBezTo>
                <a:close/>
                <a:moveTo>
                  <a:pt x="6994056" y="5658107"/>
                </a:moveTo>
                <a:cubicBezTo>
                  <a:pt x="6998315" y="5658107"/>
                  <a:pt x="7002309" y="5658906"/>
                  <a:pt x="7005769" y="5660636"/>
                </a:cubicBezTo>
                <a:cubicBezTo>
                  <a:pt x="7009497" y="5662234"/>
                  <a:pt x="7012558" y="5664363"/>
                  <a:pt x="7015087" y="5667026"/>
                </a:cubicBezTo>
                <a:cubicBezTo>
                  <a:pt x="7017617" y="5669555"/>
                  <a:pt x="7019747" y="5672750"/>
                  <a:pt x="7021211" y="5676344"/>
                </a:cubicBezTo>
                <a:cubicBezTo>
                  <a:pt x="7022675" y="5679938"/>
                  <a:pt x="7023474" y="5683798"/>
                  <a:pt x="7023474" y="5687792"/>
                </a:cubicBezTo>
                <a:cubicBezTo>
                  <a:pt x="7023474" y="5691919"/>
                  <a:pt x="7022675" y="5695912"/>
                  <a:pt x="7021211" y="5699507"/>
                </a:cubicBezTo>
                <a:cubicBezTo>
                  <a:pt x="7019614" y="5703101"/>
                  <a:pt x="7017617" y="5706163"/>
                  <a:pt x="7015087" y="5708825"/>
                </a:cubicBezTo>
                <a:cubicBezTo>
                  <a:pt x="7012425" y="5711488"/>
                  <a:pt x="7009364" y="5713617"/>
                  <a:pt x="7005769" y="5715082"/>
                </a:cubicBezTo>
                <a:cubicBezTo>
                  <a:pt x="7002176" y="5716546"/>
                  <a:pt x="6998315" y="5717344"/>
                  <a:pt x="6994056" y="5717344"/>
                </a:cubicBezTo>
                <a:cubicBezTo>
                  <a:pt x="6985136" y="5717344"/>
                  <a:pt x="6977815" y="5714416"/>
                  <a:pt x="6972223" y="5708825"/>
                </a:cubicBezTo>
                <a:cubicBezTo>
                  <a:pt x="6966632" y="5703234"/>
                  <a:pt x="6963837" y="5696178"/>
                  <a:pt x="6963837" y="5687659"/>
                </a:cubicBezTo>
                <a:cubicBezTo>
                  <a:pt x="6963837" y="5679406"/>
                  <a:pt x="6966632" y="5672351"/>
                  <a:pt x="6972223" y="5666626"/>
                </a:cubicBezTo>
                <a:cubicBezTo>
                  <a:pt x="6977815" y="5660902"/>
                  <a:pt x="6985003" y="5658107"/>
                  <a:pt x="6994056" y="5658107"/>
                </a:cubicBezTo>
                <a:close/>
                <a:moveTo>
                  <a:pt x="6776544" y="5658107"/>
                </a:moveTo>
                <a:cubicBezTo>
                  <a:pt x="6780670" y="5658107"/>
                  <a:pt x="6784664" y="5658906"/>
                  <a:pt x="6788258" y="5660636"/>
                </a:cubicBezTo>
                <a:cubicBezTo>
                  <a:pt x="6791985" y="5662234"/>
                  <a:pt x="6795047" y="5664363"/>
                  <a:pt x="6797576" y="5667026"/>
                </a:cubicBezTo>
                <a:cubicBezTo>
                  <a:pt x="6800105" y="5669555"/>
                  <a:pt x="6802235" y="5672750"/>
                  <a:pt x="6803699" y="5676344"/>
                </a:cubicBezTo>
                <a:cubicBezTo>
                  <a:pt x="6805164" y="5679938"/>
                  <a:pt x="6805963" y="5683798"/>
                  <a:pt x="6805963" y="5687792"/>
                </a:cubicBezTo>
                <a:cubicBezTo>
                  <a:pt x="6805963" y="5691919"/>
                  <a:pt x="6805164" y="5695912"/>
                  <a:pt x="6803699" y="5699507"/>
                </a:cubicBezTo>
                <a:cubicBezTo>
                  <a:pt x="6802102" y="5703101"/>
                  <a:pt x="6800105" y="5706163"/>
                  <a:pt x="6797576" y="5708825"/>
                </a:cubicBezTo>
                <a:cubicBezTo>
                  <a:pt x="6794914" y="5711488"/>
                  <a:pt x="6791852" y="5713617"/>
                  <a:pt x="6788258" y="5715082"/>
                </a:cubicBezTo>
                <a:cubicBezTo>
                  <a:pt x="6784664" y="5716546"/>
                  <a:pt x="6780803" y="5717344"/>
                  <a:pt x="6776544" y="5717344"/>
                </a:cubicBezTo>
                <a:cubicBezTo>
                  <a:pt x="6767625" y="5717344"/>
                  <a:pt x="6760303" y="5714416"/>
                  <a:pt x="6754711" y="5708825"/>
                </a:cubicBezTo>
                <a:cubicBezTo>
                  <a:pt x="6749121" y="5703234"/>
                  <a:pt x="6746325" y="5696178"/>
                  <a:pt x="6746325" y="5687659"/>
                </a:cubicBezTo>
                <a:cubicBezTo>
                  <a:pt x="6746325" y="5679406"/>
                  <a:pt x="6749121" y="5672351"/>
                  <a:pt x="6754711" y="5666626"/>
                </a:cubicBezTo>
                <a:cubicBezTo>
                  <a:pt x="6760303" y="5660902"/>
                  <a:pt x="6767492" y="5658107"/>
                  <a:pt x="6776544" y="5658107"/>
                </a:cubicBezTo>
                <a:close/>
                <a:moveTo>
                  <a:pt x="6558899" y="5658107"/>
                </a:moveTo>
                <a:cubicBezTo>
                  <a:pt x="6563158" y="5658107"/>
                  <a:pt x="6567019" y="5658906"/>
                  <a:pt x="6570612" y="5660636"/>
                </a:cubicBezTo>
                <a:cubicBezTo>
                  <a:pt x="6574340" y="5662234"/>
                  <a:pt x="6577401" y="5664363"/>
                  <a:pt x="6579930" y="5667026"/>
                </a:cubicBezTo>
                <a:cubicBezTo>
                  <a:pt x="6582460" y="5669555"/>
                  <a:pt x="6584590" y="5672750"/>
                  <a:pt x="6586054" y="5676344"/>
                </a:cubicBezTo>
                <a:cubicBezTo>
                  <a:pt x="6587518" y="5679938"/>
                  <a:pt x="6588317" y="5683798"/>
                  <a:pt x="6588317" y="5687792"/>
                </a:cubicBezTo>
                <a:cubicBezTo>
                  <a:pt x="6588317" y="5691919"/>
                  <a:pt x="6587518" y="5695912"/>
                  <a:pt x="6586054" y="5699507"/>
                </a:cubicBezTo>
                <a:cubicBezTo>
                  <a:pt x="6584457" y="5703101"/>
                  <a:pt x="6582460" y="5706163"/>
                  <a:pt x="6579930" y="5708825"/>
                </a:cubicBezTo>
                <a:cubicBezTo>
                  <a:pt x="6577268" y="5711488"/>
                  <a:pt x="6574207" y="5713617"/>
                  <a:pt x="6570612" y="5715082"/>
                </a:cubicBezTo>
                <a:cubicBezTo>
                  <a:pt x="6567019" y="5716546"/>
                  <a:pt x="6563158" y="5717344"/>
                  <a:pt x="6558899" y="5717344"/>
                </a:cubicBezTo>
                <a:cubicBezTo>
                  <a:pt x="6549979" y="5717344"/>
                  <a:pt x="6542658" y="5714416"/>
                  <a:pt x="6537066" y="5708825"/>
                </a:cubicBezTo>
                <a:cubicBezTo>
                  <a:pt x="6531476" y="5703234"/>
                  <a:pt x="6528680" y="5696178"/>
                  <a:pt x="6528680" y="5687659"/>
                </a:cubicBezTo>
                <a:cubicBezTo>
                  <a:pt x="6528680" y="5679406"/>
                  <a:pt x="6531476" y="5672351"/>
                  <a:pt x="6537066" y="5666626"/>
                </a:cubicBezTo>
                <a:cubicBezTo>
                  <a:pt x="6542658" y="5660902"/>
                  <a:pt x="6549846" y="5658107"/>
                  <a:pt x="6558899" y="5658107"/>
                </a:cubicBezTo>
                <a:close/>
                <a:moveTo>
                  <a:pt x="6341253" y="5658107"/>
                </a:moveTo>
                <a:cubicBezTo>
                  <a:pt x="6345513" y="5658107"/>
                  <a:pt x="6349373" y="5658906"/>
                  <a:pt x="6352968" y="5660636"/>
                </a:cubicBezTo>
                <a:cubicBezTo>
                  <a:pt x="6356695" y="5662234"/>
                  <a:pt x="6359757" y="5664363"/>
                  <a:pt x="6362286" y="5667026"/>
                </a:cubicBezTo>
                <a:cubicBezTo>
                  <a:pt x="6364815" y="5669555"/>
                  <a:pt x="6366945" y="5672750"/>
                  <a:pt x="6368409" y="5676344"/>
                </a:cubicBezTo>
                <a:cubicBezTo>
                  <a:pt x="6369874" y="5679938"/>
                  <a:pt x="6370672" y="5683798"/>
                  <a:pt x="6370672" y="5687792"/>
                </a:cubicBezTo>
                <a:cubicBezTo>
                  <a:pt x="6370672" y="5691919"/>
                  <a:pt x="6369874" y="5695912"/>
                  <a:pt x="6368409" y="5699507"/>
                </a:cubicBezTo>
                <a:cubicBezTo>
                  <a:pt x="6366811" y="5703101"/>
                  <a:pt x="6364815" y="5706163"/>
                  <a:pt x="6362286" y="5708825"/>
                </a:cubicBezTo>
                <a:cubicBezTo>
                  <a:pt x="6359623" y="5711488"/>
                  <a:pt x="6356562" y="5713617"/>
                  <a:pt x="6352968" y="5715082"/>
                </a:cubicBezTo>
                <a:cubicBezTo>
                  <a:pt x="6349373" y="5716546"/>
                  <a:pt x="6345513" y="5717344"/>
                  <a:pt x="6341253" y="5717344"/>
                </a:cubicBezTo>
                <a:cubicBezTo>
                  <a:pt x="6332335" y="5717344"/>
                  <a:pt x="6325013" y="5714416"/>
                  <a:pt x="6319421" y="5708825"/>
                </a:cubicBezTo>
                <a:cubicBezTo>
                  <a:pt x="6313830" y="5703234"/>
                  <a:pt x="6311035" y="5696178"/>
                  <a:pt x="6311035" y="5687659"/>
                </a:cubicBezTo>
                <a:cubicBezTo>
                  <a:pt x="6311035" y="5679406"/>
                  <a:pt x="6313830" y="5672351"/>
                  <a:pt x="6319421" y="5666626"/>
                </a:cubicBezTo>
                <a:cubicBezTo>
                  <a:pt x="6325013" y="5660902"/>
                  <a:pt x="6332201" y="5658107"/>
                  <a:pt x="6341253" y="5658107"/>
                </a:cubicBezTo>
                <a:close/>
                <a:moveTo>
                  <a:pt x="6123608" y="5658107"/>
                </a:moveTo>
                <a:cubicBezTo>
                  <a:pt x="6127867" y="5658107"/>
                  <a:pt x="6131728" y="5658906"/>
                  <a:pt x="6135322" y="5660636"/>
                </a:cubicBezTo>
                <a:cubicBezTo>
                  <a:pt x="6139049" y="5662234"/>
                  <a:pt x="6142111" y="5664363"/>
                  <a:pt x="6144640" y="5667026"/>
                </a:cubicBezTo>
                <a:cubicBezTo>
                  <a:pt x="6147169" y="5669555"/>
                  <a:pt x="6149299" y="5672750"/>
                  <a:pt x="6150763" y="5676344"/>
                </a:cubicBezTo>
                <a:cubicBezTo>
                  <a:pt x="6152228" y="5679938"/>
                  <a:pt x="6153026" y="5683798"/>
                  <a:pt x="6153026" y="5687792"/>
                </a:cubicBezTo>
                <a:cubicBezTo>
                  <a:pt x="6153026" y="5691919"/>
                  <a:pt x="6152228" y="5695912"/>
                  <a:pt x="6150763" y="5699507"/>
                </a:cubicBezTo>
                <a:cubicBezTo>
                  <a:pt x="6149299" y="5703101"/>
                  <a:pt x="6147169" y="5706163"/>
                  <a:pt x="6144640" y="5708825"/>
                </a:cubicBezTo>
                <a:cubicBezTo>
                  <a:pt x="6141977" y="5711488"/>
                  <a:pt x="6138916" y="5713617"/>
                  <a:pt x="6135322" y="5715082"/>
                </a:cubicBezTo>
                <a:cubicBezTo>
                  <a:pt x="6131728" y="5716546"/>
                  <a:pt x="6127867" y="5717344"/>
                  <a:pt x="6123608" y="5717344"/>
                </a:cubicBezTo>
                <a:cubicBezTo>
                  <a:pt x="6114689" y="5717344"/>
                  <a:pt x="6107367" y="5714416"/>
                  <a:pt x="6101775" y="5708825"/>
                </a:cubicBezTo>
                <a:cubicBezTo>
                  <a:pt x="6096184" y="5703234"/>
                  <a:pt x="6093389" y="5696178"/>
                  <a:pt x="6093389" y="5687659"/>
                </a:cubicBezTo>
                <a:cubicBezTo>
                  <a:pt x="6093389" y="5679406"/>
                  <a:pt x="6096184" y="5672351"/>
                  <a:pt x="6101775" y="5666626"/>
                </a:cubicBezTo>
                <a:cubicBezTo>
                  <a:pt x="6107367" y="5660902"/>
                  <a:pt x="6114555" y="5658107"/>
                  <a:pt x="6123608" y="5658107"/>
                </a:cubicBezTo>
                <a:close/>
                <a:moveTo>
                  <a:pt x="5905963" y="5658107"/>
                </a:moveTo>
                <a:cubicBezTo>
                  <a:pt x="5910222" y="5658107"/>
                  <a:pt x="5914216" y="5658906"/>
                  <a:pt x="5917677" y="5660636"/>
                </a:cubicBezTo>
                <a:cubicBezTo>
                  <a:pt x="5921404" y="5662234"/>
                  <a:pt x="5924466" y="5664363"/>
                  <a:pt x="5926995" y="5667026"/>
                </a:cubicBezTo>
                <a:cubicBezTo>
                  <a:pt x="5929524" y="5669555"/>
                  <a:pt x="5931654" y="5672750"/>
                  <a:pt x="5933118" y="5676344"/>
                </a:cubicBezTo>
                <a:cubicBezTo>
                  <a:pt x="5934583" y="5679938"/>
                  <a:pt x="5935381" y="5683798"/>
                  <a:pt x="5935381" y="5687792"/>
                </a:cubicBezTo>
                <a:cubicBezTo>
                  <a:pt x="5935381" y="5691919"/>
                  <a:pt x="5934583" y="5695912"/>
                  <a:pt x="5933118" y="5699507"/>
                </a:cubicBezTo>
                <a:cubicBezTo>
                  <a:pt x="5931654" y="5703101"/>
                  <a:pt x="5929524" y="5706163"/>
                  <a:pt x="5926995" y="5708825"/>
                </a:cubicBezTo>
                <a:cubicBezTo>
                  <a:pt x="5924333" y="5711488"/>
                  <a:pt x="5921271" y="5713617"/>
                  <a:pt x="5917677" y="5715082"/>
                </a:cubicBezTo>
                <a:cubicBezTo>
                  <a:pt x="5914083" y="5716546"/>
                  <a:pt x="5910222" y="5717344"/>
                  <a:pt x="5905963" y="5717344"/>
                </a:cubicBezTo>
                <a:cubicBezTo>
                  <a:pt x="5897044" y="5717344"/>
                  <a:pt x="5889722" y="5714416"/>
                  <a:pt x="5884130" y="5708825"/>
                </a:cubicBezTo>
                <a:cubicBezTo>
                  <a:pt x="5878540" y="5703234"/>
                  <a:pt x="5875744" y="5696178"/>
                  <a:pt x="5875744" y="5687659"/>
                </a:cubicBezTo>
                <a:cubicBezTo>
                  <a:pt x="5875744" y="5679406"/>
                  <a:pt x="5878540" y="5672351"/>
                  <a:pt x="5884130" y="5666626"/>
                </a:cubicBezTo>
                <a:cubicBezTo>
                  <a:pt x="5889722" y="5660902"/>
                  <a:pt x="5896910" y="5658107"/>
                  <a:pt x="5905963" y="5658107"/>
                </a:cubicBezTo>
                <a:close/>
                <a:moveTo>
                  <a:pt x="5688451" y="5658107"/>
                </a:moveTo>
                <a:cubicBezTo>
                  <a:pt x="5692577" y="5658107"/>
                  <a:pt x="5696571" y="5658906"/>
                  <a:pt x="5700165" y="5660636"/>
                </a:cubicBezTo>
                <a:cubicBezTo>
                  <a:pt x="5703892" y="5662234"/>
                  <a:pt x="5706954" y="5664363"/>
                  <a:pt x="5709483" y="5667026"/>
                </a:cubicBezTo>
                <a:cubicBezTo>
                  <a:pt x="5712012" y="5669555"/>
                  <a:pt x="5714142" y="5672750"/>
                  <a:pt x="5715606" y="5676344"/>
                </a:cubicBezTo>
                <a:cubicBezTo>
                  <a:pt x="5717071" y="5679938"/>
                  <a:pt x="5717869" y="5683798"/>
                  <a:pt x="5717869" y="5687792"/>
                </a:cubicBezTo>
                <a:cubicBezTo>
                  <a:pt x="5717869" y="5691919"/>
                  <a:pt x="5717071" y="5695912"/>
                  <a:pt x="5715606" y="5699507"/>
                </a:cubicBezTo>
                <a:cubicBezTo>
                  <a:pt x="5714142" y="5703101"/>
                  <a:pt x="5712012" y="5706163"/>
                  <a:pt x="5709483" y="5708825"/>
                </a:cubicBezTo>
                <a:cubicBezTo>
                  <a:pt x="5706820" y="5711488"/>
                  <a:pt x="5703759" y="5713617"/>
                  <a:pt x="5700165" y="5715082"/>
                </a:cubicBezTo>
                <a:cubicBezTo>
                  <a:pt x="5696571" y="5716546"/>
                  <a:pt x="5692710" y="5717344"/>
                  <a:pt x="5688451" y="5717344"/>
                </a:cubicBezTo>
                <a:cubicBezTo>
                  <a:pt x="5679532" y="5717344"/>
                  <a:pt x="5672210" y="5714416"/>
                  <a:pt x="5666618" y="5708825"/>
                </a:cubicBezTo>
                <a:cubicBezTo>
                  <a:pt x="5661028" y="5703234"/>
                  <a:pt x="5658232" y="5696178"/>
                  <a:pt x="5658232" y="5687659"/>
                </a:cubicBezTo>
                <a:cubicBezTo>
                  <a:pt x="5658232" y="5679406"/>
                  <a:pt x="5661028" y="5672351"/>
                  <a:pt x="5666618" y="5666626"/>
                </a:cubicBezTo>
                <a:cubicBezTo>
                  <a:pt x="5672210" y="5660902"/>
                  <a:pt x="5679398" y="5658107"/>
                  <a:pt x="5688451" y="5658107"/>
                </a:cubicBezTo>
                <a:close/>
                <a:moveTo>
                  <a:pt x="5470806" y="5658107"/>
                </a:moveTo>
                <a:cubicBezTo>
                  <a:pt x="5475065" y="5658107"/>
                  <a:pt x="5478926" y="5658906"/>
                  <a:pt x="5482520" y="5660636"/>
                </a:cubicBezTo>
                <a:cubicBezTo>
                  <a:pt x="5486247" y="5662234"/>
                  <a:pt x="5489309" y="5664363"/>
                  <a:pt x="5491838" y="5667026"/>
                </a:cubicBezTo>
                <a:cubicBezTo>
                  <a:pt x="5494367" y="5669555"/>
                  <a:pt x="5496497" y="5672750"/>
                  <a:pt x="5497961" y="5676344"/>
                </a:cubicBezTo>
                <a:cubicBezTo>
                  <a:pt x="5499426" y="5679938"/>
                  <a:pt x="5500224" y="5683798"/>
                  <a:pt x="5500224" y="5687792"/>
                </a:cubicBezTo>
                <a:cubicBezTo>
                  <a:pt x="5500224" y="5691919"/>
                  <a:pt x="5499426" y="5695912"/>
                  <a:pt x="5497961" y="5699507"/>
                </a:cubicBezTo>
                <a:cubicBezTo>
                  <a:pt x="5496497" y="5703101"/>
                  <a:pt x="5494367" y="5706163"/>
                  <a:pt x="5491838" y="5708825"/>
                </a:cubicBezTo>
                <a:cubicBezTo>
                  <a:pt x="5489176" y="5711488"/>
                  <a:pt x="5486114" y="5713617"/>
                  <a:pt x="5482520" y="5715082"/>
                </a:cubicBezTo>
                <a:cubicBezTo>
                  <a:pt x="5478926" y="5716546"/>
                  <a:pt x="5475065" y="5717344"/>
                  <a:pt x="5470806" y="5717344"/>
                </a:cubicBezTo>
                <a:cubicBezTo>
                  <a:pt x="5461887" y="5717344"/>
                  <a:pt x="5454565" y="5714416"/>
                  <a:pt x="5448973" y="5708825"/>
                </a:cubicBezTo>
                <a:cubicBezTo>
                  <a:pt x="5443383" y="5703234"/>
                  <a:pt x="5440587" y="5696178"/>
                  <a:pt x="5440587" y="5687659"/>
                </a:cubicBezTo>
                <a:cubicBezTo>
                  <a:pt x="5440587" y="5679406"/>
                  <a:pt x="5443383" y="5672351"/>
                  <a:pt x="5448973" y="5666626"/>
                </a:cubicBezTo>
                <a:cubicBezTo>
                  <a:pt x="5454565" y="5660902"/>
                  <a:pt x="5461754" y="5658107"/>
                  <a:pt x="5470806" y="5658107"/>
                </a:cubicBezTo>
                <a:close/>
                <a:moveTo>
                  <a:pt x="5253160" y="5658107"/>
                </a:moveTo>
                <a:cubicBezTo>
                  <a:pt x="5257420" y="5658107"/>
                  <a:pt x="5261280" y="5658906"/>
                  <a:pt x="5264875" y="5660636"/>
                </a:cubicBezTo>
                <a:cubicBezTo>
                  <a:pt x="5268602" y="5662234"/>
                  <a:pt x="5271664" y="5664363"/>
                  <a:pt x="5274192" y="5667026"/>
                </a:cubicBezTo>
                <a:cubicBezTo>
                  <a:pt x="5276722" y="5669555"/>
                  <a:pt x="5278852" y="5672750"/>
                  <a:pt x="5280316" y="5676344"/>
                </a:cubicBezTo>
                <a:cubicBezTo>
                  <a:pt x="5281780" y="5679938"/>
                  <a:pt x="5282579" y="5683798"/>
                  <a:pt x="5282579" y="5687792"/>
                </a:cubicBezTo>
                <a:cubicBezTo>
                  <a:pt x="5282579" y="5691919"/>
                  <a:pt x="5281780" y="5695912"/>
                  <a:pt x="5280316" y="5699507"/>
                </a:cubicBezTo>
                <a:cubicBezTo>
                  <a:pt x="5278852" y="5703101"/>
                  <a:pt x="5276722" y="5706163"/>
                  <a:pt x="5274192" y="5708825"/>
                </a:cubicBezTo>
                <a:cubicBezTo>
                  <a:pt x="5271664" y="5711488"/>
                  <a:pt x="5268469" y="5713617"/>
                  <a:pt x="5264875" y="5715082"/>
                </a:cubicBezTo>
                <a:cubicBezTo>
                  <a:pt x="5261280" y="5716546"/>
                  <a:pt x="5257420" y="5717344"/>
                  <a:pt x="5253160" y="5717344"/>
                </a:cubicBezTo>
                <a:cubicBezTo>
                  <a:pt x="5244241" y="5717344"/>
                  <a:pt x="5236920" y="5714416"/>
                  <a:pt x="5231328" y="5708825"/>
                </a:cubicBezTo>
                <a:cubicBezTo>
                  <a:pt x="5225737" y="5703234"/>
                  <a:pt x="5222942" y="5696178"/>
                  <a:pt x="5222942" y="5687659"/>
                </a:cubicBezTo>
                <a:cubicBezTo>
                  <a:pt x="5222942" y="5679406"/>
                  <a:pt x="5225737" y="5672351"/>
                  <a:pt x="5231328" y="5666626"/>
                </a:cubicBezTo>
                <a:cubicBezTo>
                  <a:pt x="5236920" y="5660902"/>
                  <a:pt x="5244108" y="5658107"/>
                  <a:pt x="5253160" y="5658107"/>
                </a:cubicBezTo>
                <a:close/>
                <a:moveTo>
                  <a:pt x="5035515" y="5658107"/>
                </a:moveTo>
                <a:cubicBezTo>
                  <a:pt x="5039775" y="5658107"/>
                  <a:pt x="5043636" y="5658906"/>
                  <a:pt x="5047230" y="5660636"/>
                </a:cubicBezTo>
                <a:cubicBezTo>
                  <a:pt x="5050957" y="5662234"/>
                  <a:pt x="5054019" y="5664363"/>
                  <a:pt x="5056548" y="5667026"/>
                </a:cubicBezTo>
                <a:cubicBezTo>
                  <a:pt x="5059077" y="5669555"/>
                  <a:pt x="5061207" y="5672750"/>
                  <a:pt x="5062671" y="5676344"/>
                </a:cubicBezTo>
                <a:cubicBezTo>
                  <a:pt x="5064135" y="5679938"/>
                  <a:pt x="5064934" y="5683798"/>
                  <a:pt x="5064934" y="5687792"/>
                </a:cubicBezTo>
                <a:cubicBezTo>
                  <a:pt x="5064934" y="5691919"/>
                  <a:pt x="5064135" y="5695912"/>
                  <a:pt x="5062671" y="5699507"/>
                </a:cubicBezTo>
                <a:cubicBezTo>
                  <a:pt x="5061207" y="5703101"/>
                  <a:pt x="5059077" y="5706163"/>
                  <a:pt x="5056548" y="5708825"/>
                </a:cubicBezTo>
                <a:cubicBezTo>
                  <a:pt x="5053885" y="5711488"/>
                  <a:pt x="5050824" y="5713617"/>
                  <a:pt x="5047230" y="5715082"/>
                </a:cubicBezTo>
                <a:cubicBezTo>
                  <a:pt x="5043636" y="5716546"/>
                  <a:pt x="5039775" y="5717344"/>
                  <a:pt x="5035515" y="5717344"/>
                </a:cubicBezTo>
                <a:cubicBezTo>
                  <a:pt x="5026597" y="5717344"/>
                  <a:pt x="5019275" y="5714416"/>
                  <a:pt x="5013683" y="5708825"/>
                </a:cubicBezTo>
                <a:cubicBezTo>
                  <a:pt x="5008092" y="5703234"/>
                  <a:pt x="5005297" y="5696178"/>
                  <a:pt x="5005297" y="5687659"/>
                </a:cubicBezTo>
                <a:cubicBezTo>
                  <a:pt x="5005297" y="5679406"/>
                  <a:pt x="5008092" y="5672351"/>
                  <a:pt x="5013683" y="5666626"/>
                </a:cubicBezTo>
                <a:cubicBezTo>
                  <a:pt x="5019275" y="5660902"/>
                  <a:pt x="5026463" y="5658107"/>
                  <a:pt x="5035515" y="5658107"/>
                </a:cubicBezTo>
                <a:close/>
                <a:moveTo>
                  <a:pt x="4817870" y="5658107"/>
                </a:moveTo>
                <a:cubicBezTo>
                  <a:pt x="4822130" y="5658107"/>
                  <a:pt x="4826124" y="5658906"/>
                  <a:pt x="4829585" y="5660636"/>
                </a:cubicBezTo>
                <a:cubicBezTo>
                  <a:pt x="4833312" y="5662234"/>
                  <a:pt x="4836374" y="5664363"/>
                  <a:pt x="4838903" y="5667026"/>
                </a:cubicBezTo>
                <a:cubicBezTo>
                  <a:pt x="4841432" y="5669555"/>
                  <a:pt x="4843562" y="5672750"/>
                  <a:pt x="4845026" y="5676344"/>
                </a:cubicBezTo>
                <a:cubicBezTo>
                  <a:pt x="4846491" y="5679938"/>
                  <a:pt x="4847289" y="5683798"/>
                  <a:pt x="4847289" y="5687792"/>
                </a:cubicBezTo>
                <a:cubicBezTo>
                  <a:pt x="4847289" y="5691919"/>
                  <a:pt x="4846491" y="5695912"/>
                  <a:pt x="4845026" y="5699507"/>
                </a:cubicBezTo>
                <a:cubicBezTo>
                  <a:pt x="4843562" y="5703101"/>
                  <a:pt x="4841432" y="5706163"/>
                  <a:pt x="4838903" y="5708825"/>
                </a:cubicBezTo>
                <a:cubicBezTo>
                  <a:pt x="4836240" y="5711488"/>
                  <a:pt x="4833179" y="5713617"/>
                  <a:pt x="4829585" y="5715082"/>
                </a:cubicBezTo>
                <a:cubicBezTo>
                  <a:pt x="4825991" y="5716546"/>
                  <a:pt x="4822130" y="5717344"/>
                  <a:pt x="4817870" y="5717344"/>
                </a:cubicBezTo>
                <a:cubicBezTo>
                  <a:pt x="4808952" y="5717344"/>
                  <a:pt x="4801630" y="5714416"/>
                  <a:pt x="4796038" y="5708825"/>
                </a:cubicBezTo>
                <a:cubicBezTo>
                  <a:pt x="4790447" y="5703234"/>
                  <a:pt x="4787652" y="5696178"/>
                  <a:pt x="4787652" y="5687659"/>
                </a:cubicBezTo>
                <a:cubicBezTo>
                  <a:pt x="4787652" y="5679406"/>
                  <a:pt x="4790447" y="5672351"/>
                  <a:pt x="4796038" y="5666626"/>
                </a:cubicBezTo>
                <a:cubicBezTo>
                  <a:pt x="4801630" y="5660902"/>
                  <a:pt x="4808818" y="5658107"/>
                  <a:pt x="4817870" y="5658107"/>
                </a:cubicBezTo>
                <a:close/>
                <a:moveTo>
                  <a:pt x="4600226" y="5658107"/>
                </a:moveTo>
                <a:cubicBezTo>
                  <a:pt x="4604485" y="5658107"/>
                  <a:pt x="4608479" y="5658906"/>
                  <a:pt x="4612073" y="5660636"/>
                </a:cubicBezTo>
                <a:cubicBezTo>
                  <a:pt x="4615800" y="5662234"/>
                  <a:pt x="4618862" y="5664363"/>
                  <a:pt x="4621391" y="5667026"/>
                </a:cubicBezTo>
                <a:cubicBezTo>
                  <a:pt x="4623920" y="5669555"/>
                  <a:pt x="4626050" y="5672750"/>
                  <a:pt x="4627514" y="5676344"/>
                </a:cubicBezTo>
                <a:cubicBezTo>
                  <a:pt x="4628978" y="5679938"/>
                  <a:pt x="4629777" y="5683798"/>
                  <a:pt x="4629777" y="5687792"/>
                </a:cubicBezTo>
                <a:cubicBezTo>
                  <a:pt x="4629777" y="5691919"/>
                  <a:pt x="4628978" y="5695912"/>
                  <a:pt x="4627514" y="5699507"/>
                </a:cubicBezTo>
                <a:cubicBezTo>
                  <a:pt x="4626050" y="5703101"/>
                  <a:pt x="4623920" y="5706163"/>
                  <a:pt x="4621391" y="5708825"/>
                </a:cubicBezTo>
                <a:cubicBezTo>
                  <a:pt x="4618729" y="5711488"/>
                  <a:pt x="4615667" y="5713617"/>
                  <a:pt x="4612073" y="5715082"/>
                </a:cubicBezTo>
                <a:cubicBezTo>
                  <a:pt x="4608346" y="5716546"/>
                  <a:pt x="4604485" y="5717344"/>
                  <a:pt x="4600226" y="5717344"/>
                </a:cubicBezTo>
                <a:cubicBezTo>
                  <a:pt x="4591173" y="5717344"/>
                  <a:pt x="4583985" y="5714416"/>
                  <a:pt x="4578393" y="5708825"/>
                </a:cubicBezTo>
                <a:cubicBezTo>
                  <a:pt x="4572803" y="5703234"/>
                  <a:pt x="4570007" y="5696178"/>
                  <a:pt x="4570007" y="5687659"/>
                </a:cubicBezTo>
                <a:cubicBezTo>
                  <a:pt x="4570007" y="5679406"/>
                  <a:pt x="4572803" y="5672351"/>
                  <a:pt x="4578393" y="5666626"/>
                </a:cubicBezTo>
                <a:cubicBezTo>
                  <a:pt x="4583985" y="5660902"/>
                  <a:pt x="4591173" y="5658107"/>
                  <a:pt x="4600226" y="5658107"/>
                </a:cubicBezTo>
                <a:close/>
                <a:moveTo>
                  <a:pt x="4382713" y="5658107"/>
                </a:moveTo>
                <a:cubicBezTo>
                  <a:pt x="4386840" y="5658107"/>
                  <a:pt x="4390834" y="5658906"/>
                  <a:pt x="4394428" y="5660636"/>
                </a:cubicBezTo>
                <a:cubicBezTo>
                  <a:pt x="4398155" y="5662234"/>
                  <a:pt x="4401217" y="5664363"/>
                  <a:pt x="4403746" y="5667026"/>
                </a:cubicBezTo>
                <a:cubicBezTo>
                  <a:pt x="4406275" y="5669555"/>
                  <a:pt x="4408405" y="5672750"/>
                  <a:pt x="4409869" y="5676344"/>
                </a:cubicBezTo>
                <a:cubicBezTo>
                  <a:pt x="4411334" y="5679938"/>
                  <a:pt x="4412132" y="5683798"/>
                  <a:pt x="4412132" y="5687792"/>
                </a:cubicBezTo>
                <a:cubicBezTo>
                  <a:pt x="4412132" y="5691919"/>
                  <a:pt x="4411334" y="5695912"/>
                  <a:pt x="4409869" y="5699507"/>
                </a:cubicBezTo>
                <a:cubicBezTo>
                  <a:pt x="4408405" y="5703101"/>
                  <a:pt x="4406275" y="5706163"/>
                  <a:pt x="4403746" y="5708825"/>
                </a:cubicBezTo>
                <a:cubicBezTo>
                  <a:pt x="4401083" y="5711488"/>
                  <a:pt x="4398022" y="5713617"/>
                  <a:pt x="4394428" y="5715082"/>
                </a:cubicBezTo>
                <a:cubicBezTo>
                  <a:pt x="4390834" y="5716546"/>
                  <a:pt x="4386973" y="5717344"/>
                  <a:pt x="4382713" y="5717344"/>
                </a:cubicBezTo>
                <a:cubicBezTo>
                  <a:pt x="4373661" y="5717344"/>
                  <a:pt x="4366473" y="5714416"/>
                  <a:pt x="4360881" y="5708825"/>
                </a:cubicBezTo>
                <a:cubicBezTo>
                  <a:pt x="4355290" y="5703234"/>
                  <a:pt x="4352495" y="5696178"/>
                  <a:pt x="4352495" y="5687659"/>
                </a:cubicBezTo>
                <a:cubicBezTo>
                  <a:pt x="4352495" y="5679406"/>
                  <a:pt x="4355290" y="5672351"/>
                  <a:pt x="4360881" y="5666626"/>
                </a:cubicBezTo>
                <a:cubicBezTo>
                  <a:pt x="4366473" y="5660902"/>
                  <a:pt x="4373661" y="5658107"/>
                  <a:pt x="4382713" y="5658107"/>
                </a:cubicBezTo>
                <a:close/>
                <a:moveTo>
                  <a:pt x="4165068" y="5658107"/>
                </a:moveTo>
                <a:cubicBezTo>
                  <a:pt x="4169327" y="5658107"/>
                  <a:pt x="4173188" y="5658906"/>
                  <a:pt x="4176782" y="5660636"/>
                </a:cubicBezTo>
                <a:cubicBezTo>
                  <a:pt x="4180509" y="5662234"/>
                  <a:pt x="4183571" y="5664363"/>
                  <a:pt x="4186100" y="5667026"/>
                </a:cubicBezTo>
                <a:cubicBezTo>
                  <a:pt x="4188629" y="5669555"/>
                  <a:pt x="4190759" y="5672750"/>
                  <a:pt x="4192223" y="5676344"/>
                </a:cubicBezTo>
                <a:cubicBezTo>
                  <a:pt x="4193688" y="5679938"/>
                  <a:pt x="4194486" y="5683798"/>
                  <a:pt x="4194486" y="5687792"/>
                </a:cubicBezTo>
                <a:cubicBezTo>
                  <a:pt x="4194486" y="5691919"/>
                  <a:pt x="4193688" y="5695912"/>
                  <a:pt x="4192223" y="5699507"/>
                </a:cubicBezTo>
                <a:cubicBezTo>
                  <a:pt x="4190759" y="5703101"/>
                  <a:pt x="4188629" y="5706163"/>
                  <a:pt x="4186100" y="5708825"/>
                </a:cubicBezTo>
                <a:cubicBezTo>
                  <a:pt x="4183438" y="5711488"/>
                  <a:pt x="4180376" y="5713617"/>
                  <a:pt x="4176782" y="5715082"/>
                </a:cubicBezTo>
                <a:cubicBezTo>
                  <a:pt x="4173188" y="5716546"/>
                  <a:pt x="4169327" y="5717344"/>
                  <a:pt x="4165068" y="5717344"/>
                </a:cubicBezTo>
                <a:cubicBezTo>
                  <a:pt x="4156015" y="5717344"/>
                  <a:pt x="4148827" y="5714416"/>
                  <a:pt x="4143235" y="5708825"/>
                </a:cubicBezTo>
                <a:cubicBezTo>
                  <a:pt x="4137645" y="5703234"/>
                  <a:pt x="4134849" y="5696178"/>
                  <a:pt x="4134849" y="5687659"/>
                </a:cubicBezTo>
                <a:cubicBezTo>
                  <a:pt x="4134849" y="5679406"/>
                  <a:pt x="4137645" y="5672351"/>
                  <a:pt x="4143235" y="5666626"/>
                </a:cubicBezTo>
                <a:cubicBezTo>
                  <a:pt x="4148827" y="5660902"/>
                  <a:pt x="4156015" y="5658107"/>
                  <a:pt x="4165068" y="5658107"/>
                </a:cubicBezTo>
                <a:close/>
                <a:moveTo>
                  <a:pt x="3947733" y="5658107"/>
                </a:moveTo>
                <a:cubicBezTo>
                  <a:pt x="3951994" y="5658107"/>
                  <a:pt x="3955855" y="5658906"/>
                  <a:pt x="3959451" y="5660636"/>
                </a:cubicBezTo>
                <a:cubicBezTo>
                  <a:pt x="3963179" y="5662234"/>
                  <a:pt x="3966240" y="5664363"/>
                  <a:pt x="3968769" y="5667026"/>
                </a:cubicBezTo>
                <a:cubicBezTo>
                  <a:pt x="3971299" y="5669555"/>
                  <a:pt x="3973429" y="5672750"/>
                  <a:pt x="3974893" y="5676344"/>
                </a:cubicBezTo>
                <a:cubicBezTo>
                  <a:pt x="3976357" y="5679938"/>
                  <a:pt x="3977156" y="5683798"/>
                  <a:pt x="3977156" y="5687792"/>
                </a:cubicBezTo>
                <a:cubicBezTo>
                  <a:pt x="3977156" y="5691919"/>
                  <a:pt x="3976357" y="5695912"/>
                  <a:pt x="3974893" y="5699507"/>
                </a:cubicBezTo>
                <a:cubicBezTo>
                  <a:pt x="3973429" y="5703101"/>
                  <a:pt x="3971299" y="5706163"/>
                  <a:pt x="3968769" y="5708825"/>
                </a:cubicBezTo>
                <a:cubicBezTo>
                  <a:pt x="3966107" y="5711488"/>
                  <a:pt x="3963046" y="5713617"/>
                  <a:pt x="3959451" y="5715082"/>
                </a:cubicBezTo>
                <a:cubicBezTo>
                  <a:pt x="3955855" y="5716546"/>
                  <a:pt x="3951994" y="5717344"/>
                  <a:pt x="3947733" y="5717344"/>
                </a:cubicBezTo>
                <a:cubicBezTo>
                  <a:pt x="3938680" y="5717344"/>
                  <a:pt x="3931492" y="5714416"/>
                  <a:pt x="3925900" y="5708825"/>
                </a:cubicBezTo>
                <a:cubicBezTo>
                  <a:pt x="3920309" y="5703234"/>
                  <a:pt x="3917513" y="5696178"/>
                  <a:pt x="3917513" y="5687659"/>
                </a:cubicBezTo>
                <a:cubicBezTo>
                  <a:pt x="3917513" y="5679406"/>
                  <a:pt x="3920309" y="5672351"/>
                  <a:pt x="3925900" y="5666626"/>
                </a:cubicBezTo>
                <a:cubicBezTo>
                  <a:pt x="3931492" y="5660902"/>
                  <a:pt x="3938680" y="5658107"/>
                  <a:pt x="3947733" y="5658107"/>
                </a:cubicBezTo>
                <a:close/>
                <a:moveTo>
                  <a:pt x="3730074" y="5658107"/>
                </a:moveTo>
                <a:cubicBezTo>
                  <a:pt x="3734335" y="5658107"/>
                  <a:pt x="3738327" y="5658906"/>
                  <a:pt x="3741789" y="5660636"/>
                </a:cubicBezTo>
                <a:cubicBezTo>
                  <a:pt x="3745383" y="5662234"/>
                  <a:pt x="3748579" y="5664363"/>
                  <a:pt x="3751108" y="5667026"/>
                </a:cubicBezTo>
                <a:cubicBezTo>
                  <a:pt x="3753637" y="5669555"/>
                  <a:pt x="3755766" y="5672750"/>
                  <a:pt x="3757230" y="5676344"/>
                </a:cubicBezTo>
                <a:cubicBezTo>
                  <a:pt x="3758694" y="5679938"/>
                  <a:pt x="3759493" y="5683798"/>
                  <a:pt x="3759493" y="5687792"/>
                </a:cubicBezTo>
                <a:cubicBezTo>
                  <a:pt x="3759493" y="5691919"/>
                  <a:pt x="3758694" y="5695912"/>
                  <a:pt x="3757230" y="5699507"/>
                </a:cubicBezTo>
                <a:cubicBezTo>
                  <a:pt x="3755766" y="5703101"/>
                  <a:pt x="3753637" y="5706163"/>
                  <a:pt x="3751108" y="5708825"/>
                </a:cubicBezTo>
                <a:cubicBezTo>
                  <a:pt x="3748445" y="5711488"/>
                  <a:pt x="3745383" y="5713617"/>
                  <a:pt x="3741789" y="5715082"/>
                </a:cubicBezTo>
                <a:cubicBezTo>
                  <a:pt x="3738196" y="5716546"/>
                  <a:pt x="3734335" y="5717344"/>
                  <a:pt x="3730074" y="5717344"/>
                </a:cubicBezTo>
                <a:cubicBezTo>
                  <a:pt x="3721022" y="5717344"/>
                  <a:pt x="3713832" y="5714416"/>
                  <a:pt x="3708233" y="5708825"/>
                </a:cubicBezTo>
                <a:cubicBezTo>
                  <a:pt x="3702641" y="5703234"/>
                  <a:pt x="3699847" y="5696178"/>
                  <a:pt x="3699847" y="5687659"/>
                </a:cubicBezTo>
                <a:cubicBezTo>
                  <a:pt x="3699847" y="5679406"/>
                  <a:pt x="3702641" y="5672351"/>
                  <a:pt x="3708233" y="5666626"/>
                </a:cubicBezTo>
                <a:cubicBezTo>
                  <a:pt x="3713832" y="5660902"/>
                  <a:pt x="3721022" y="5658107"/>
                  <a:pt x="3730074" y="5658107"/>
                </a:cubicBezTo>
                <a:close/>
                <a:moveTo>
                  <a:pt x="3512412" y="5658107"/>
                </a:moveTo>
                <a:cubicBezTo>
                  <a:pt x="3516673" y="5658107"/>
                  <a:pt x="3520666" y="5658906"/>
                  <a:pt x="3524128" y="5660636"/>
                </a:cubicBezTo>
                <a:cubicBezTo>
                  <a:pt x="3527722" y="5662234"/>
                  <a:pt x="3530917" y="5664363"/>
                  <a:pt x="3533446" y="5667026"/>
                </a:cubicBezTo>
                <a:cubicBezTo>
                  <a:pt x="3535975" y="5669555"/>
                  <a:pt x="3538105" y="5672750"/>
                  <a:pt x="3539569" y="5676344"/>
                </a:cubicBezTo>
                <a:cubicBezTo>
                  <a:pt x="3541033" y="5679938"/>
                  <a:pt x="3541832" y="5683798"/>
                  <a:pt x="3541832" y="5687792"/>
                </a:cubicBezTo>
                <a:cubicBezTo>
                  <a:pt x="3541832" y="5691919"/>
                  <a:pt x="3541033" y="5695912"/>
                  <a:pt x="3539569" y="5699507"/>
                </a:cubicBezTo>
                <a:cubicBezTo>
                  <a:pt x="3538105" y="5703101"/>
                  <a:pt x="3535975" y="5706163"/>
                  <a:pt x="3533446" y="5708825"/>
                </a:cubicBezTo>
                <a:cubicBezTo>
                  <a:pt x="3530783" y="5711488"/>
                  <a:pt x="3527722" y="5713617"/>
                  <a:pt x="3524128" y="5715082"/>
                </a:cubicBezTo>
                <a:cubicBezTo>
                  <a:pt x="3520534" y="5716546"/>
                  <a:pt x="3516673" y="5717344"/>
                  <a:pt x="3512412" y="5717344"/>
                </a:cubicBezTo>
                <a:cubicBezTo>
                  <a:pt x="3503356" y="5717344"/>
                  <a:pt x="3496166" y="5714416"/>
                  <a:pt x="3490575" y="5708825"/>
                </a:cubicBezTo>
                <a:cubicBezTo>
                  <a:pt x="3484984" y="5703234"/>
                  <a:pt x="3482189" y="5696178"/>
                  <a:pt x="3482189" y="5687659"/>
                </a:cubicBezTo>
                <a:cubicBezTo>
                  <a:pt x="3482189" y="5679406"/>
                  <a:pt x="3484984" y="5672351"/>
                  <a:pt x="3490575" y="5666626"/>
                </a:cubicBezTo>
                <a:cubicBezTo>
                  <a:pt x="3496166" y="5660902"/>
                  <a:pt x="3503356" y="5658107"/>
                  <a:pt x="3512412" y="5658107"/>
                </a:cubicBezTo>
                <a:close/>
                <a:moveTo>
                  <a:pt x="3294884" y="5658107"/>
                </a:moveTo>
                <a:cubicBezTo>
                  <a:pt x="3299011" y="5658107"/>
                  <a:pt x="3303006" y="5658906"/>
                  <a:pt x="3306600" y="5660636"/>
                </a:cubicBezTo>
                <a:cubicBezTo>
                  <a:pt x="3310327" y="5662234"/>
                  <a:pt x="3313389" y="5664363"/>
                  <a:pt x="3315918" y="5667026"/>
                </a:cubicBezTo>
                <a:cubicBezTo>
                  <a:pt x="3318447" y="5669555"/>
                  <a:pt x="3320577" y="5672750"/>
                  <a:pt x="3322041" y="5676344"/>
                </a:cubicBezTo>
                <a:cubicBezTo>
                  <a:pt x="3323505" y="5679938"/>
                  <a:pt x="3324304" y="5683798"/>
                  <a:pt x="3324304" y="5687792"/>
                </a:cubicBezTo>
                <a:cubicBezTo>
                  <a:pt x="3324304" y="5691919"/>
                  <a:pt x="3323505" y="5695912"/>
                  <a:pt x="3322041" y="5699507"/>
                </a:cubicBezTo>
                <a:cubicBezTo>
                  <a:pt x="3320577" y="5703101"/>
                  <a:pt x="3318447" y="5706163"/>
                  <a:pt x="3315918" y="5708825"/>
                </a:cubicBezTo>
                <a:cubicBezTo>
                  <a:pt x="3313255" y="5711488"/>
                  <a:pt x="3310194" y="5713617"/>
                  <a:pt x="3306600" y="5715082"/>
                </a:cubicBezTo>
                <a:cubicBezTo>
                  <a:pt x="3303006" y="5716546"/>
                  <a:pt x="3299145" y="5717344"/>
                  <a:pt x="3294884" y="5717344"/>
                </a:cubicBezTo>
                <a:cubicBezTo>
                  <a:pt x="3285829" y="5717344"/>
                  <a:pt x="3278640" y="5714416"/>
                  <a:pt x="3273046" y="5708825"/>
                </a:cubicBezTo>
                <a:cubicBezTo>
                  <a:pt x="3267453" y="5703234"/>
                  <a:pt x="3264658" y="5696178"/>
                  <a:pt x="3264658" y="5687659"/>
                </a:cubicBezTo>
                <a:cubicBezTo>
                  <a:pt x="3264658" y="5679406"/>
                  <a:pt x="3267453" y="5672351"/>
                  <a:pt x="3273046" y="5666626"/>
                </a:cubicBezTo>
                <a:cubicBezTo>
                  <a:pt x="3278640" y="5660902"/>
                  <a:pt x="3285829" y="5658107"/>
                  <a:pt x="3294884" y="5658107"/>
                </a:cubicBezTo>
                <a:close/>
                <a:moveTo>
                  <a:pt x="3077223" y="5658107"/>
                </a:moveTo>
                <a:cubicBezTo>
                  <a:pt x="3081351" y="5658107"/>
                  <a:pt x="3085344" y="5658906"/>
                  <a:pt x="3088938" y="5660636"/>
                </a:cubicBezTo>
                <a:cubicBezTo>
                  <a:pt x="3092533" y="5662234"/>
                  <a:pt x="3095728" y="5664363"/>
                  <a:pt x="3098256" y="5667026"/>
                </a:cubicBezTo>
                <a:cubicBezTo>
                  <a:pt x="3100785" y="5669555"/>
                  <a:pt x="3102916" y="5672750"/>
                  <a:pt x="3104380" y="5676344"/>
                </a:cubicBezTo>
                <a:cubicBezTo>
                  <a:pt x="3105845" y="5679938"/>
                  <a:pt x="3106643" y="5683798"/>
                  <a:pt x="3106643" y="5687792"/>
                </a:cubicBezTo>
                <a:cubicBezTo>
                  <a:pt x="3106643" y="5691919"/>
                  <a:pt x="3105845" y="5695912"/>
                  <a:pt x="3104380" y="5699507"/>
                </a:cubicBezTo>
                <a:cubicBezTo>
                  <a:pt x="3102916" y="5703101"/>
                  <a:pt x="3100785" y="5706163"/>
                  <a:pt x="3098256" y="5708825"/>
                </a:cubicBezTo>
                <a:cubicBezTo>
                  <a:pt x="3095594" y="5711488"/>
                  <a:pt x="3092533" y="5713617"/>
                  <a:pt x="3088938" y="5715082"/>
                </a:cubicBezTo>
                <a:cubicBezTo>
                  <a:pt x="3085344" y="5716546"/>
                  <a:pt x="3081483" y="5717344"/>
                  <a:pt x="3077223" y="5717344"/>
                </a:cubicBezTo>
                <a:cubicBezTo>
                  <a:pt x="3068302" y="5717344"/>
                  <a:pt x="3060979" y="5714416"/>
                  <a:pt x="3055385" y="5708825"/>
                </a:cubicBezTo>
                <a:cubicBezTo>
                  <a:pt x="3049794" y="5703234"/>
                  <a:pt x="3046998" y="5696178"/>
                  <a:pt x="3046998" y="5687659"/>
                </a:cubicBezTo>
                <a:cubicBezTo>
                  <a:pt x="3046998" y="5679406"/>
                  <a:pt x="3049794" y="5672351"/>
                  <a:pt x="3055385" y="5666626"/>
                </a:cubicBezTo>
                <a:cubicBezTo>
                  <a:pt x="3060979" y="5660902"/>
                  <a:pt x="3068170" y="5658107"/>
                  <a:pt x="3077223" y="5658107"/>
                </a:cubicBezTo>
                <a:close/>
                <a:moveTo>
                  <a:pt x="2859562" y="5658107"/>
                </a:moveTo>
                <a:cubicBezTo>
                  <a:pt x="2863822" y="5658107"/>
                  <a:pt x="2867683" y="5658906"/>
                  <a:pt x="2871410" y="5660636"/>
                </a:cubicBezTo>
                <a:cubicBezTo>
                  <a:pt x="2875137" y="5662234"/>
                  <a:pt x="2878199" y="5664363"/>
                  <a:pt x="2880728" y="5667026"/>
                </a:cubicBezTo>
                <a:cubicBezTo>
                  <a:pt x="2883390" y="5669555"/>
                  <a:pt x="2885387" y="5672750"/>
                  <a:pt x="2886851" y="5676344"/>
                </a:cubicBezTo>
                <a:cubicBezTo>
                  <a:pt x="2888316" y="5679938"/>
                  <a:pt x="2889114" y="5683798"/>
                  <a:pt x="2889114" y="5687792"/>
                </a:cubicBezTo>
                <a:cubicBezTo>
                  <a:pt x="2889114" y="5691919"/>
                  <a:pt x="2888316" y="5695912"/>
                  <a:pt x="2886851" y="5699507"/>
                </a:cubicBezTo>
                <a:cubicBezTo>
                  <a:pt x="2885387" y="5703101"/>
                  <a:pt x="2883257" y="5706163"/>
                  <a:pt x="2880728" y="5708825"/>
                </a:cubicBezTo>
                <a:cubicBezTo>
                  <a:pt x="2878066" y="5711488"/>
                  <a:pt x="2875004" y="5713617"/>
                  <a:pt x="2871410" y="5715082"/>
                </a:cubicBezTo>
                <a:cubicBezTo>
                  <a:pt x="2867683" y="5716546"/>
                  <a:pt x="2863822" y="5717344"/>
                  <a:pt x="2859562" y="5717344"/>
                </a:cubicBezTo>
                <a:cubicBezTo>
                  <a:pt x="2850644" y="5717344"/>
                  <a:pt x="2843316" y="5714416"/>
                  <a:pt x="2837724" y="5708825"/>
                </a:cubicBezTo>
                <a:cubicBezTo>
                  <a:pt x="2832133" y="5703234"/>
                  <a:pt x="2829336" y="5696178"/>
                  <a:pt x="2829336" y="5687659"/>
                </a:cubicBezTo>
                <a:cubicBezTo>
                  <a:pt x="2829336" y="5679406"/>
                  <a:pt x="2832133" y="5672351"/>
                  <a:pt x="2837724" y="5666626"/>
                </a:cubicBezTo>
                <a:cubicBezTo>
                  <a:pt x="2843316" y="5660902"/>
                  <a:pt x="2850510" y="5658107"/>
                  <a:pt x="2859562" y="5658107"/>
                </a:cubicBezTo>
                <a:close/>
                <a:moveTo>
                  <a:pt x="2641900" y="5658107"/>
                </a:moveTo>
                <a:cubicBezTo>
                  <a:pt x="2646161" y="5658107"/>
                  <a:pt x="2650020" y="5658906"/>
                  <a:pt x="2653616" y="5660636"/>
                </a:cubicBezTo>
                <a:cubicBezTo>
                  <a:pt x="2657343" y="5662234"/>
                  <a:pt x="2660405" y="5664363"/>
                  <a:pt x="2662934" y="5667026"/>
                </a:cubicBezTo>
                <a:cubicBezTo>
                  <a:pt x="2665596" y="5669555"/>
                  <a:pt x="2667593" y="5672750"/>
                  <a:pt x="2669057" y="5676344"/>
                </a:cubicBezTo>
                <a:cubicBezTo>
                  <a:pt x="2670521" y="5679938"/>
                  <a:pt x="2671320" y="5683798"/>
                  <a:pt x="2671320" y="5687792"/>
                </a:cubicBezTo>
                <a:cubicBezTo>
                  <a:pt x="2671320" y="5691919"/>
                  <a:pt x="2670521" y="5695912"/>
                  <a:pt x="2669057" y="5699507"/>
                </a:cubicBezTo>
                <a:cubicBezTo>
                  <a:pt x="2667593" y="5703101"/>
                  <a:pt x="2665463" y="5706163"/>
                  <a:pt x="2662934" y="5708825"/>
                </a:cubicBezTo>
                <a:cubicBezTo>
                  <a:pt x="2660405" y="5711488"/>
                  <a:pt x="2657209" y="5713617"/>
                  <a:pt x="2653616" y="5715082"/>
                </a:cubicBezTo>
                <a:cubicBezTo>
                  <a:pt x="2650020" y="5716546"/>
                  <a:pt x="2646161" y="5717344"/>
                  <a:pt x="2641900" y="5717344"/>
                </a:cubicBezTo>
                <a:cubicBezTo>
                  <a:pt x="2632981" y="5717344"/>
                  <a:pt x="2625659" y="5714416"/>
                  <a:pt x="2620068" y="5708825"/>
                </a:cubicBezTo>
                <a:cubicBezTo>
                  <a:pt x="2614475" y="5703234"/>
                  <a:pt x="2611677" y="5696178"/>
                  <a:pt x="2611677" y="5687659"/>
                </a:cubicBezTo>
                <a:cubicBezTo>
                  <a:pt x="2611677" y="5679406"/>
                  <a:pt x="2614475" y="5672351"/>
                  <a:pt x="2620068" y="5666626"/>
                </a:cubicBezTo>
                <a:cubicBezTo>
                  <a:pt x="2625659" y="5660902"/>
                  <a:pt x="2632848" y="5658107"/>
                  <a:pt x="2641900" y="5658107"/>
                </a:cubicBezTo>
                <a:close/>
                <a:moveTo>
                  <a:pt x="2424239" y="5658107"/>
                </a:moveTo>
                <a:cubicBezTo>
                  <a:pt x="2428499" y="5658107"/>
                  <a:pt x="2432493" y="5658906"/>
                  <a:pt x="2435954" y="5660636"/>
                </a:cubicBezTo>
                <a:cubicBezTo>
                  <a:pt x="2439681" y="5662234"/>
                  <a:pt x="2442743" y="5664363"/>
                  <a:pt x="2445272" y="5667026"/>
                </a:cubicBezTo>
                <a:cubicBezTo>
                  <a:pt x="2447935" y="5669555"/>
                  <a:pt x="2449932" y="5672750"/>
                  <a:pt x="2451395" y="5676344"/>
                </a:cubicBezTo>
                <a:cubicBezTo>
                  <a:pt x="2452859" y="5679938"/>
                  <a:pt x="2453658" y="5683798"/>
                  <a:pt x="2453658" y="5687792"/>
                </a:cubicBezTo>
                <a:cubicBezTo>
                  <a:pt x="2453658" y="5691919"/>
                  <a:pt x="2452859" y="5695912"/>
                  <a:pt x="2451395" y="5699507"/>
                </a:cubicBezTo>
                <a:cubicBezTo>
                  <a:pt x="2449932" y="5703101"/>
                  <a:pt x="2447801" y="5706163"/>
                  <a:pt x="2445272" y="5708825"/>
                </a:cubicBezTo>
                <a:cubicBezTo>
                  <a:pt x="2442743" y="5711488"/>
                  <a:pt x="2439548" y="5713617"/>
                  <a:pt x="2435954" y="5715082"/>
                </a:cubicBezTo>
                <a:cubicBezTo>
                  <a:pt x="2432360" y="5716546"/>
                  <a:pt x="2428499" y="5717344"/>
                  <a:pt x="2424239" y="5717344"/>
                </a:cubicBezTo>
                <a:cubicBezTo>
                  <a:pt x="2415321" y="5717344"/>
                  <a:pt x="2407998" y="5714416"/>
                  <a:pt x="2402407" y="5708825"/>
                </a:cubicBezTo>
                <a:cubicBezTo>
                  <a:pt x="2396814" y="5703234"/>
                  <a:pt x="2394017" y="5696178"/>
                  <a:pt x="2394017" y="5687659"/>
                </a:cubicBezTo>
                <a:cubicBezTo>
                  <a:pt x="2394017" y="5679406"/>
                  <a:pt x="2396814" y="5672351"/>
                  <a:pt x="2402407" y="5666626"/>
                </a:cubicBezTo>
                <a:cubicBezTo>
                  <a:pt x="2407998" y="5660902"/>
                  <a:pt x="2415187" y="5658107"/>
                  <a:pt x="2424239" y="5658107"/>
                </a:cubicBezTo>
                <a:close/>
                <a:moveTo>
                  <a:pt x="2206578" y="5658107"/>
                </a:moveTo>
                <a:cubicBezTo>
                  <a:pt x="2210838" y="5658107"/>
                  <a:pt x="2214832" y="5658906"/>
                  <a:pt x="2218293" y="5660636"/>
                </a:cubicBezTo>
                <a:cubicBezTo>
                  <a:pt x="2222020" y="5662234"/>
                  <a:pt x="2225081" y="5664363"/>
                  <a:pt x="2227611" y="5667026"/>
                </a:cubicBezTo>
                <a:cubicBezTo>
                  <a:pt x="2230273" y="5669555"/>
                  <a:pt x="2232270" y="5672750"/>
                  <a:pt x="2233734" y="5676344"/>
                </a:cubicBezTo>
                <a:cubicBezTo>
                  <a:pt x="2235198" y="5679938"/>
                  <a:pt x="2235997" y="5683798"/>
                  <a:pt x="2235997" y="5687792"/>
                </a:cubicBezTo>
                <a:cubicBezTo>
                  <a:pt x="2235997" y="5691919"/>
                  <a:pt x="2235198" y="5695912"/>
                  <a:pt x="2233734" y="5699507"/>
                </a:cubicBezTo>
                <a:cubicBezTo>
                  <a:pt x="2232270" y="5703101"/>
                  <a:pt x="2230140" y="5706163"/>
                  <a:pt x="2227611" y="5708825"/>
                </a:cubicBezTo>
                <a:cubicBezTo>
                  <a:pt x="2225081" y="5711488"/>
                  <a:pt x="2221887" y="5713617"/>
                  <a:pt x="2218293" y="5715082"/>
                </a:cubicBezTo>
                <a:cubicBezTo>
                  <a:pt x="2214698" y="5716546"/>
                  <a:pt x="2210838" y="5717344"/>
                  <a:pt x="2206578" y="5717344"/>
                </a:cubicBezTo>
                <a:cubicBezTo>
                  <a:pt x="2197525" y="5717344"/>
                  <a:pt x="2190337" y="5714416"/>
                  <a:pt x="2184745" y="5708825"/>
                </a:cubicBezTo>
                <a:cubicBezTo>
                  <a:pt x="2179152" y="5703234"/>
                  <a:pt x="2176356" y="5696178"/>
                  <a:pt x="2176356" y="5687659"/>
                </a:cubicBezTo>
                <a:cubicBezTo>
                  <a:pt x="2176356" y="5679406"/>
                  <a:pt x="2179152" y="5672351"/>
                  <a:pt x="2184745" y="5666626"/>
                </a:cubicBezTo>
                <a:cubicBezTo>
                  <a:pt x="2190337" y="5660902"/>
                  <a:pt x="2197525" y="5658107"/>
                  <a:pt x="2206578" y="5658107"/>
                </a:cubicBezTo>
                <a:close/>
                <a:moveTo>
                  <a:pt x="1989049" y="5658107"/>
                </a:moveTo>
                <a:cubicBezTo>
                  <a:pt x="1993176" y="5658107"/>
                  <a:pt x="1997170" y="5658906"/>
                  <a:pt x="2000764" y="5660636"/>
                </a:cubicBezTo>
                <a:cubicBezTo>
                  <a:pt x="2004491" y="5662234"/>
                  <a:pt x="2007553" y="5664363"/>
                  <a:pt x="2010082" y="5667026"/>
                </a:cubicBezTo>
                <a:cubicBezTo>
                  <a:pt x="2012744" y="5669555"/>
                  <a:pt x="2014742" y="5672750"/>
                  <a:pt x="2016206" y="5676344"/>
                </a:cubicBezTo>
                <a:cubicBezTo>
                  <a:pt x="2017670" y="5679938"/>
                  <a:pt x="2018469" y="5683798"/>
                  <a:pt x="2018469" y="5687792"/>
                </a:cubicBezTo>
                <a:cubicBezTo>
                  <a:pt x="2018469" y="5691919"/>
                  <a:pt x="2017670" y="5695912"/>
                  <a:pt x="2016206" y="5699507"/>
                </a:cubicBezTo>
                <a:cubicBezTo>
                  <a:pt x="2014742" y="5703101"/>
                  <a:pt x="2012611" y="5706163"/>
                  <a:pt x="2010082" y="5708825"/>
                </a:cubicBezTo>
                <a:cubicBezTo>
                  <a:pt x="2007553" y="5711488"/>
                  <a:pt x="2004358" y="5713617"/>
                  <a:pt x="2000764" y="5715082"/>
                </a:cubicBezTo>
                <a:cubicBezTo>
                  <a:pt x="1997170" y="5716546"/>
                  <a:pt x="1993309" y="5717344"/>
                  <a:pt x="1989049" y="5717344"/>
                </a:cubicBezTo>
                <a:cubicBezTo>
                  <a:pt x="1979998" y="5717344"/>
                  <a:pt x="1972809" y="5714416"/>
                  <a:pt x="1967218" y="5708825"/>
                </a:cubicBezTo>
                <a:cubicBezTo>
                  <a:pt x="1961627" y="5703234"/>
                  <a:pt x="1958832" y="5696178"/>
                  <a:pt x="1958832" y="5687659"/>
                </a:cubicBezTo>
                <a:cubicBezTo>
                  <a:pt x="1958832" y="5679406"/>
                  <a:pt x="1961627" y="5672351"/>
                  <a:pt x="1967218" y="5666626"/>
                </a:cubicBezTo>
                <a:cubicBezTo>
                  <a:pt x="1972809" y="5660902"/>
                  <a:pt x="1979998" y="5658107"/>
                  <a:pt x="1989049" y="5658107"/>
                </a:cubicBezTo>
                <a:close/>
                <a:moveTo>
                  <a:pt x="1771416" y="5658107"/>
                </a:moveTo>
                <a:cubicBezTo>
                  <a:pt x="1775675" y="5658107"/>
                  <a:pt x="1779534" y="5658906"/>
                  <a:pt x="1783129" y="5660636"/>
                </a:cubicBezTo>
                <a:cubicBezTo>
                  <a:pt x="1786857" y="5662234"/>
                  <a:pt x="1789918" y="5664363"/>
                  <a:pt x="1792447" y="5667026"/>
                </a:cubicBezTo>
                <a:cubicBezTo>
                  <a:pt x="1795109" y="5669555"/>
                  <a:pt x="1797106" y="5672750"/>
                  <a:pt x="1798570" y="5676344"/>
                </a:cubicBezTo>
                <a:cubicBezTo>
                  <a:pt x="1800034" y="5679938"/>
                  <a:pt x="1800833" y="5683798"/>
                  <a:pt x="1800833" y="5687792"/>
                </a:cubicBezTo>
                <a:cubicBezTo>
                  <a:pt x="1800833" y="5691919"/>
                  <a:pt x="1800034" y="5695912"/>
                  <a:pt x="1798570" y="5699507"/>
                </a:cubicBezTo>
                <a:cubicBezTo>
                  <a:pt x="1797106" y="5703101"/>
                  <a:pt x="1794977" y="5706163"/>
                  <a:pt x="1792447" y="5708825"/>
                </a:cubicBezTo>
                <a:cubicBezTo>
                  <a:pt x="1789784" y="5711488"/>
                  <a:pt x="1786724" y="5713617"/>
                  <a:pt x="1783129" y="5715082"/>
                </a:cubicBezTo>
                <a:cubicBezTo>
                  <a:pt x="1779534" y="5716546"/>
                  <a:pt x="1775675" y="5717344"/>
                  <a:pt x="1771416" y="5717344"/>
                </a:cubicBezTo>
                <a:cubicBezTo>
                  <a:pt x="1762497" y="5717344"/>
                  <a:pt x="1755177" y="5714416"/>
                  <a:pt x="1749586" y="5708825"/>
                </a:cubicBezTo>
                <a:cubicBezTo>
                  <a:pt x="1743996" y="5703234"/>
                  <a:pt x="1741203" y="5696178"/>
                  <a:pt x="1741203" y="5687659"/>
                </a:cubicBezTo>
                <a:cubicBezTo>
                  <a:pt x="1741203" y="5679406"/>
                  <a:pt x="1743996" y="5672351"/>
                  <a:pt x="1749586" y="5666626"/>
                </a:cubicBezTo>
                <a:cubicBezTo>
                  <a:pt x="1755177" y="5660902"/>
                  <a:pt x="1762363" y="5658107"/>
                  <a:pt x="1771416" y="5658107"/>
                </a:cubicBezTo>
                <a:close/>
                <a:moveTo>
                  <a:pt x="1553779" y="5658107"/>
                </a:moveTo>
                <a:cubicBezTo>
                  <a:pt x="1558038" y="5658107"/>
                  <a:pt x="1561899" y="5658906"/>
                  <a:pt x="1565494" y="5660636"/>
                </a:cubicBezTo>
                <a:cubicBezTo>
                  <a:pt x="1569088" y="5662234"/>
                  <a:pt x="1572283" y="5664363"/>
                  <a:pt x="1574812" y="5667026"/>
                </a:cubicBezTo>
                <a:cubicBezTo>
                  <a:pt x="1577474" y="5669555"/>
                  <a:pt x="1579471" y="5672750"/>
                  <a:pt x="1580935" y="5676344"/>
                </a:cubicBezTo>
                <a:cubicBezTo>
                  <a:pt x="1582399" y="5679938"/>
                  <a:pt x="1583198" y="5683798"/>
                  <a:pt x="1583198" y="5687792"/>
                </a:cubicBezTo>
                <a:cubicBezTo>
                  <a:pt x="1583198" y="5691919"/>
                  <a:pt x="1582399" y="5695912"/>
                  <a:pt x="1580935" y="5699507"/>
                </a:cubicBezTo>
                <a:cubicBezTo>
                  <a:pt x="1579471" y="5703101"/>
                  <a:pt x="1577341" y="5706163"/>
                  <a:pt x="1574812" y="5708825"/>
                </a:cubicBezTo>
                <a:cubicBezTo>
                  <a:pt x="1572150" y="5711488"/>
                  <a:pt x="1569088" y="5713617"/>
                  <a:pt x="1565494" y="5715082"/>
                </a:cubicBezTo>
                <a:cubicBezTo>
                  <a:pt x="1561899" y="5716546"/>
                  <a:pt x="1558038" y="5717344"/>
                  <a:pt x="1553779" y="5717344"/>
                </a:cubicBezTo>
                <a:cubicBezTo>
                  <a:pt x="1544861" y="5717344"/>
                  <a:pt x="1537539" y="5714416"/>
                  <a:pt x="1531949" y="5708825"/>
                </a:cubicBezTo>
                <a:cubicBezTo>
                  <a:pt x="1526360" y="5703234"/>
                  <a:pt x="1523564" y="5696178"/>
                  <a:pt x="1523564" y="5687659"/>
                </a:cubicBezTo>
                <a:cubicBezTo>
                  <a:pt x="1523564" y="5679406"/>
                  <a:pt x="1526360" y="5672351"/>
                  <a:pt x="1531949" y="5666626"/>
                </a:cubicBezTo>
                <a:cubicBezTo>
                  <a:pt x="1537539" y="5660902"/>
                  <a:pt x="1544727" y="5658107"/>
                  <a:pt x="1553779" y="5658107"/>
                </a:cubicBezTo>
                <a:close/>
                <a:moveTo>
                  <a:pt x="1336135" y="5658107"/>
                </a:moveTo>
                <a:cubicBezTo>
                  <a:pt x="1340395" y="5658107"/>
                  <a:pt x="1344390" y="5658906"/>
                  <a:pt x="1347851" y="5660636"/>
                </a:cubicBezTo>
                <a:cubicBezTo>
                  <a:pt x="1351444" y="5662234"/>
                  <a:pt x="1354639" y="5664363"/>
                  <a:pt x="1357169" y="5667026"/>
                </a:cubicBezTo>
                <a:cubicBezTo>
                  <a:pt x="1359831" y="5669555"/>
                  <a:pt x="1361828" y="5672750"/>
                  <a:pt x="1363292" y="5676344"/>
                </a:cubicBezTo>
                <a:cubicBezTo>
                  <a:pt x="1364756" y="5679938"/>
                  <a:pt x="1365554" y="5683798"/>
                  <a:pt x="1365554" y="5687792"/>
                </a:cubicBezTo>
                <a:cubicBezTo>
                  <a:pt x="1365554" y="5691919"/>
                  <a:pt x="1364756" y="5695912"/>
                  <a:pt x="1363292" y="5699507"/>
                </a:cubicBezTo>
                <a:cubicBezTo>
                  <a:pt x="1361828" y="5703101"/>
                  <a:pt x="1359698" y="5706163"/>
                  <a:pt x="1357169" y="5708825"/>
                </a:cubicBezTo>
                <a:cubicBezTo>
                  <a:pt x="1354505" y="5711488"/>
                  <a:pt x="1351444" y="5713617"/>
                  <a:pt x="1347851" y="5715082"/>
                </a:cubicBezTo>
                <a:cubicBezTo>
                  <a:pt x="1344257" y="5716546"/>
                  <a:pt x="1340395" y="5717344"/>
                  <a:pt x="1336135" y="5717344"/>
                </a:cubicBezTo>
                <a:cubicBezTo>
                  <a:pt x="1327215" y="5717344"/>
                  <a:pt x="1319894" y="5714416"/>
                  <a:pt x="1314303" y="5708825"/>
                </a:cubicBezTo>
                <a:cubicBezTo>
                  <a:pt x="1308712" y="5703234"/>
                  <a:pt x="1305917" y="5696178"/>
                  <a:pt x="1305917" y="5687659"/>
                </a:cubicBezTo>
                <a:cubicBezTo>
                  <a:pt x="1305917" y="5679406"/>
                  <a:pt x="1308712" y="5672351"/>
                  <a:pt x="1314303" y="5666626"/>
                </a:cubicBezTo>
                <a:cubicBezTo>
                  <a:pt x="1319894" y="5660902"/>
                  <a:pt x="1327082" y="5658107"/>
                  <a:pt x="1336135" y="5658107"/>
                </a:cubicBezTo>
                <a:close/>
                <a:moveTo>
                  <a:pt x="1118490" y="5658107"/>
                </a:moveTo>
                <a:cubicBezTo>
                  <a:pt x="1122752" y="5658107"/>
                  <a:pt x="1126748" y="5658906"/>
                  <a:pt x="1130208" y="5660636"/>
                </a:cubicBezTo>
                <a:cubicBezTo>
                  <a:pt x="1133934" y="5662234"/>
                  <a:pt x="1136996" y="5664363"/>
                  <a:pt x="1139523" y="5667026"/>
                </a:cubicBezTo>
                <a:cubicBezTo>
                  <a:pt x="1142183" y="5669555"/>
                  <a:pt x="1144180" y="5672750"/>
                  <a:pt x="1145643" y="5676344"/>
                </a:cubicBezTo>
                <a:cubicBezTo>
                  <a:pt x="1147107" y="5679938"/>
                  <a:pt x="1147906" y="5683798"/>
                  <a:pt x="1147906" y="5687792"/>
                </a:cubicBezTo>
                <a:cubicBezTo>
                  <a:pt x="1147906" y="5691919"/>
                  <a:pt x="1147107" y="5695912"/>
                  <a:pt x="1145643" y="5699507"/>
                </a:cubicBezTo>
                <a:cubicBezTo>
                  <a:pt x="1144180" y="5703101"/>
                  <a:pt x="1142051" y="5706163"/>
                  <a:pt x="1139523" y="5708825"/>
                </a:cubicBezTo>
                <a:cubicBezTo>
                  <a:pt x="1136996" y="5711488"/>
                  <a:pt x="1133802" y="5713617"/>
                  <a:pt x="1130208" y="5715082"/>
                </a:cubicBezTo>
                <a:cubicBezTo>
                  <a:pt x="1126613" y="5716546"/>
                  <a:pt x="1122752" y="5717344"/>
                  <a:pt x="1118490" y="5717344"/>
                </a:cubicBezTo>
                <a:cubicBezTo>
                  <a:pt x="1109570" y="5717344"/>
                  <a:pt x="1102246" y="5714416"/>
                  <a:pt x="1096655" y="5708825"/>
                </a:cubicBezTo>
                <a:cubicBezTo>
                  <a:pt x="1091065" y="5703234"/>
                  <a:pt x="1088270" y="5696178"/>
                  <a:pt x="1088270" y="5687659"/>
                </a:cubicBezTo>
                <a:cubicBezTo>
                  <a:pt x="1088270" y="5679406"/>
                  <a:pt x="1091065" y="5672351"/>
                  <a:pt x="1096655" y="5666626"/>
                </a:cubicBezTo>
                <a:cubicBezTo>
                  <a:pt x="1102246" y="5660902"/>
                  <a:pt x="1109436" y="5658107"/>
                  <a:pt x="1118490" y="5658107"/>
                </a:cubicBezTo>
                <a:close/>
                <a:moveTo>
                  <a:pt x="900977" y="5658107"/>
                </a:moveTo>
                <a:cubicBezTo>
                  <a:pt x="905104" y="5658107"/>
                  <a:pt x="909098" y="5658906"/>
                  <a:pt x="912692" y="5660636"/>
                </a:cubicBezTo>
                <a:cubicBezTo>
                  <a:pt x="916419" y="5662234"/>
                  <a:pt x="919481" y="5664363"/>
                  <a:pt x="922010" y="5667026"/>
                </a:cubicBezTo>
                <a:cubicBezTo>
                  <a:pt x="924672" y="5669555"/>
                  <a:pt x="926669" y="5672750"/>
                  <a:pt x="928132" y="5676344"/>
                </a:cubicBezTo>
                <a:cubicBezTo>
                  <a:pt x="929597" y="5679938"/>
                  <a:pt x="930395" y="5683798"/>
                  <a:pt x="930395" y="5687792"/>
                </a:cubicBezTo>
                <a:cubicBezTo>
                  <a:pt x="930395" y="5691919"/>
                  <a:pt x="929597" y="5695912"/>
                  <a:pt x="928132" y="5699507"/>
                </a:cubicBezTo>
                <a:cubicBezTo>
                  <a:pt x="926669" y="5703101"/>
                  <a:pt x="924539" y="5706163"/>
                  <a:pt x="922010" y="5708825"/>
                </a:cubicBezTo>
                <a:cubicBezTo>
                  <a:pt x="919481" y="5711488"/>
                  <a:pt x="916286" y="5713617"/>
                  <a:pt x="912692" y="5715082"/>
                </a:cubicBezTo>
                <a:cubicBezTo>
                  <a:pt x="909098" y="5716546"/>
                  <a:pt x="905237" y="5717344"/>
                  <a:pt x="900977" y="5717344"/>
                </a:cubicBezTo>
                <a:cubicBezTo>
                  <a:pt x="892059" y="5717344"/>
                  <a:pt x="884737" y="5714416"/>
                  <a:pt x="879146" y="5708825"/>
                </a:cubicBezTo>
                <a:cubicBezTo>
                  <a:pt x="873557" y="5703234"/>
                  <a:pt x="870761" y="5696178"/>
                  <a:pt x="870761" y="5687659"/>
                </a:cubicBezTo>
                <a:cubicBezTo>
                  <a:pt x="870761" y="5679406"/>
                  <a:pt x="873557" y="5672351"/>
                  <a:pt x="879146" y="5666626"/>
                </a:cubicBezTo>
                <a:cubicBezTo>
                  <a:pt x="884737" y="5660902"/>
                  <a:pt x="891926" y="5658107"/>
                  <a:pt x="900977" y="5658107"/>
                </a:cubicBezTo>
                <a:close/>
                <a:moveTo>
                  <a:pt x="683337" y="5658107"/>
                </a:moveTo>
                <a:cubicBezTo>
                  <a:pt x="687597" y="5658107"/>
                  <a:pt x="691458" y="5658906"/>
                  <a:pt x="695052" y="5660636"/>
                </a:cubicBezTo>
                <a:cubicBezTo>
                  <a:pt x="698779" y="5662234"/>
                  <a:pt x="701841" y="5664363"/>
                  <a:pt x="704369" y="5667026"/>
                </a:cubicBezTo>
                <a:cubicBezTo>
                  <a:pt x="707031" y="5669555"/>
                  <a:pt x="709028" y="5672750"/>
                  <a:pt x="710492" y="5676344"/>
                </a:cubicBezTo>
                <a:cubicBezTo>
                  <a:pt x="711956" y="5679938"/>
                  <a:pt x="712755" y="5683798"/>
                  <a:pt x="712755" y="5687792"/>
                </a:cubicBezTo>
                <a:cubicBezTo>
                  <a:pt x="712755" y="5691919"/>
                  <a:pt x="711956" y="5695912"/>
                  <a:pt x="710492" y="5699507"/>
                </a:cubicBezTo>
                <a:cubicBezTo>
                  <a:pt x="709028" y="5703101"/>
                  <a:pt x="706898" y="5706163"/>
                  <a:pt x="704369" y="5708825"/>
                </a:cubicBezTo>
                <a:cubicBezTo>
                  <a:pt x="701841" y="5711488"/>
                  <a:pt x="698646" y="5713617"/>
                  <a:pt x="695052" y="5715082"/>
                </a:cubicBezTo>
                <a:cubicBezTo>
                  <a:pt x="691458" y="5716546"/>
                  <a:pt x="687597" y="5717344"/>
                  <a:pt x="683337" y="5717344"/>
                </a:cubicBezTo>
                <a:cubicBezTo>
                  <a:pt x="674419" y="5717344"/>
                  <a:pt x="667097" y="5714416"/>
                  <a:pt x="661505" y="5708825"/>
                </a:cubicBezTo>
                <a:cubicBezTo>
                  <a:pt x="655914" y="5703234"/>
                  <a:pt x="653119" y="5696178"/>
                  <a:pt x="653119" y="5687659"/>
                </a:cubicBezTo>
                <a:cubicBezTo>
                  <a:pt x="653119" y="5679406"/>
                  <a:pt x="655914" y="5672351"/>
                  <a:pt x="661505" y="5666626"/>
                </a:cubicBezTo>
                <a:cubicBezTo>
                  <a:pt x="667097" y="5660902"/>
                  <a:pt x="674286" y="5658107"/>
                  <a:pt x="683337" y="5658107"/>
                </a:cubicBezTo>
                <a:close/>
                <a:moveTo>
                  <a:pt x="465695" y="5658107"/>
                </a:moveTo>
                <a:cubicBezTo>
                  <a:pt x="469955" y="5658107"/>
                  <a:pt x="473816" y="5658906"/>
                  <a:pt x="477411" y="5660636"/>
                </a:cubicBezTo>
                <a:cubicBezTo>
                  <a:pt x="481138" y="5662234"/>
                  <a:pt x="484199" y="5664363"/>
                  <a:pt x="486728" y="5667026"/>
                </a:cubicBezTo>
                <a:cubicBezTo>
                  <a:pt x="489390" y="5669555"/>
                  <a:pt x="491387" y="5672750"/>
                  <a:pt x="492851" y="5676344"/>
                </a:cubicBezTo>
                <a:cubicBezTo>
                  <a:pt x="494315" y="5679938"/>
                  <a:pt x="495114" y="5683798"/>
                  <a:pt x="495114" y="5687792"/>
                </a:cubicBezTo>
                <a:cubicBezTo>
                  <a:pt x="495114" y="5691919"/>
                  <a:pt x="494315" y="5695912"/>
                  <a:pt x="492851" y="5699507"/>
                </a:cubicBezTo>
                <a:cubicBezTo>
                  <a:pt x="491387" y="5703101"/>
                  <a:pt x="489257" y="5706163"/>
                  <a:pt x="486728" y="5708825"/>
                </a:cubicBezTo>
                <a:cubicBezTo>
                  <a:pt x="484065" y="5711488"/>
                  <a:pt x="481005" y="5713617"/>
                  <a:pt x="477411" y="5715082"/>
                </a:cubicBezTo>
                <a:cubicBezTo>
                  <a:pt x="473816" y="5716546"/>
                  <a:pt x="469955" y="5717344"/>
                  <a:pt x="465695" y="5717344"/>
                </a:cubicBezTo>
                <a:cubicBezTo>
                  <a:pt x="456777" y="5717344"/>
                  <a:pt x="449455" y="5714416"/>
                  <a:pt x="443864" y="5708825"/>
                </a:cubicBezTo>
                <a:cubicBezTo>
                  <a:pt x="438273" y="5703234"/>
                  <a:pt x="435478" y="5696178"/>
                  <a:pt x="435478" y="5687659"/>
                </a:cubicBezTo>
                <a:cubicBezTo>
                  <a:pt x="435478" y="5679406"/>
                  <a:pt x="438273" y="5672351"/>
                  <a:pt x="443864" y="5666626"/>
                </a:cubicBezTo>
                <a:cubicBezTo>
                  <a:pt x="449455" y="5660902"/>
                  <a:pt x="456645" y="5658107"/>
                  <a:pt x="465695" y="5658107"/>
                </a:cubicBezTo>
                <a:close/>
                <a:moveTo>
                  <a:pt x="248054" y="5658107"/>
                </a:moveTo>
                <a:cubicBezTo>
                  <a:pt x="252314" y="5658107"/>
                  <a:pt x="256308" y="5658906"/>
                  <a:pt x="259768" y="5660636"/>
                </a:cubicBezTo>
                <a:cubicBezTo>
                  <a:pt x="263495" y="5662234"/>
                  <a:pt x="266557" y="5664363"/>
                  <a:pt x="269087" y="5667026"/>
                </a:cubicBezTo>
                <a:cubicBezTo>
                  <a:pt x="271749" y="5669555"/>
                  <a:pt x="273746" y="5672750"/>
                  <a:pt x="275210" y="5676344"/>
                </a:cubicBezTo>
                <a:cubicBezTo>
                  <a:pt x="276674" y="5679938"/>
                  <a:pt x="277473" y="5683798"/>
                  <a:pt x="277473" y="5687792"/>
                </a:cubicBezTo>
                <a:cubicBezTo>
                  <a:pt x="277473" y="5691919"/>
                  <a:pt x="276674" y="5695912"/>
                  <a:pt x="275210" y="5699507"/>
                </a:cubicBezTo>
                <a:cubicBezTo>
                  <a:pt x="273746" y="5703101"/>
                  <a:pt x="271616" y="5706163"/>
                  <a:pt x="269087" y="5708825"/>
                </a:cubicBezTo>
                <a:cubicBezTo>
                  <a:pt x="266423" y="5711488"/>
                  <a:pt x="263362" y="5713617"/>
                  <a:pt x="259768" y="5715082"/>
                </a:cubicBezTo>
                <a:cubicBezTo>
                  <a:pt x="256173" y="5716546"/>
                  <a:pt x="252314" y="5717344"/>
                  <a:pt x="248054" y="5717344"/>
                </a:cubicBezTo>
                <a:cubicBezTo>
                  <a:pt x="239136" y="5717344"/>
                  <a:pt x="231815" y="5714416"/>
                  <a:pt x="226224" y="5708825"/>
                </a:cubicBezTo>
                <a:cubicBezTo>
                  <a:pt x="220634" y="5703234"/>
                  <a:pt x="217839" y="5696178"/>
                  <a:pt x="217839" y="5687659"/>
                </a:cubicBezTo>
                <a:cubicBezTo>
                  <a:pt x="217839" y="5679406"/>
                  <a:pt x="220634" y="5672351"/>
                  <a:pt x="226224" y="5666626"/>
                </a:cubicBezTo>
                <a:cubicBezTo>
                  <a:pt x="231815" y="5660902"/>
                  <a:pt x="239003" y="5658107"/>
                  <a:pt x="248054" y="5658107"/>
                </a:cubicBezTo>
                <a:close/>
                <a:moveTo>
                  <a:pt x="30413" y="5658107"/>
                </a:moveTo>
                <a:cubicBezTo>
                  <a:pt x="34673" y="5658107"/>
                  <a:pt x="38667" y="5658906"/>
                  <a:pt x="42128" y="5660636"/>
                </a:cubicBezTo>
                <a:cubicBezTo>
                  <a:pt x="45855" y="5662234"/>
                  <a:pt x="48917" y="5664363"/>
                  <a:pt x="51446" y="5667026"/>
                </a:cubicBezTo>
                <a:cubicBezTo>
                  <a:pt x="54108" y="5669555"/>
                  <a:pt x="56105" y="5672750"/>
                  <a:pt x="57569" y="5676344"/>
                </a:cubicBezTo>
                <a:cubicBezTo>
                  <a:pt x="59033" y="5679938"/>
                  <a:pt x="59832" y="5683798"/>
                  <a:pt x="59832" y="5687792"/>
                </a:cubicBezTo>
                <a:cubicBezTo>
                  <a:pt x="59832" y="5691919"/>
                  <a:pt x="59033" y="5695912"/>
                  <a:pt x="57569" y="5699507"/>
                </a:cubicBezTo>
                <a:cubicBezTo>
                  <a:pt x="56105" y="5703101"/>
                  <a:pt x="53975" y="5706163"/>
                  <a:pt x="51446" y="5708825"/>
                </a:cubicBezTo>
                <a:cubicBezTo>
                  <a:pt x="48783" y="5711488"/>
                  <a:pt x="45722" y="5713617"/>
                  <a:pt x="42128" y="5715082"/>
                </a:cubicBezTo>
                <a:cubicBezTo>
                  <a:pt x="38534" y="5716546"/>
                  <a:pt x="34673" y="5717344"/>
                  <a:pt x="30413" y="5717344"/>
                </a:cubicBezTo>
                <a:cubicBezTo>
                  <a:pt x="21494" y="5717344"/>
                  <a:pt x="14174" y="5714416"/>
                  <a:pt x="8585" y="5708825"/>
                </a:cubicBezTo>
                <a:cubicBezTo>
                  <a:pt x="2994" y="5703234"/>
                  <a:pt x="199" y="5696178"/>
                  <a:pt x="199" y="5687659"/>
                </a:cubicBezTo>
                <a:cubicBezTo>
                  <a:pt x="199" y="5679406"/>
                  <a:pt x="2994" y="5672351"/>
                  <a:pt x="8585" y="5666626"/>
                </a:cubicBezTo>
                <a:cubicBezTo>
                  <a:pt x="14174" y="5660902"/>
                  <a:pt x="21360" y="5658107"/>
                  <a:pt x="30413" y="5658107"/>
                </a:cubicBezTo>
                <a:close/>
                <a:moveTo>
                  <a:pt x="10475977" y="5457102"/>
                </a:moveTo>
                <a:cubicBezTo>
                  <a:pt x="10470119" y="5457102"/>
                  <a:pt x="10467589" y="5458965"/>
                  <a:pt x="10465992" y="5460696"/>
                </a:cubicBezTo>
                <a:cubicBezTo>
                  <a:pt x="10463463" y="5463358"/>
                  <a:pt x="10462399" y="5466153"/>
                  <a:pt x="10462399" y="5470147"/>
                </a:cubicBezTo>
                <a:cubicBezTo>
                  <a:pt x="10462399" y="5474274"/>
                  <a:pt x="10463463" y="5477069"/>
                  <a:pt x="10465992" y="5479598"/>
                </a:cubicBezTo>
                <a:cubicBezTo>
                  <a:pt x="10467589" y="5481197"/>
                  <a:pt x="10470119" y="5483060"/>
                  <a:pt x="10475977" y="5483060"/>
                </a:cubicBezTo>
                <a:cubicBezTo>
                  <a:pt x="10478107" y="5483060"/>
                  <a:pt x="10479838" y="5482794"/>
                  <a:pt x="10481302" y="5482128"/>
                </a:cubicBezTo>
                <a:cubicBezTo>
                  <a:pt x="10482899" y="5481596"/>
                  <a:pt x="10484098" y="5480664"/>
                  <a:pt x="10485029" y="5479731"/>
                </a:cubicBezTo>
                <a:cubicBezTo>
                  <a:pt x="10486094" y="5478533"/>
                  <a:pt x="10487026" y="5477202"/>
                  <a:pt x="10487691" y="5475472"/>
                </a:cubicBezTo>
                <a:cubicBezTo>
                  <a:pt x="10488357" y="5473874"/>
                  <a:pt x="10488623" y="5472010"/>
                  <a:pt x="10488623" y="5470014"/>
                </a:cubicBezTo>
                <a:cubicBezTo>
                  <a:pt x="10488623" y="5468150"/>
                  <a:pt x="10488357" y="5466420"/>
                  <a:pt x="10487691" y="5464822"/>
                </a:cubicBezTo>
                <a:cubicBezTo>
                  <a:pt x="10487026" y="5463225"/>
                  <a:pt x="10486094" y="5461894"/>
                  <a:pt x="10485029" y="5460696"/>
                </a:cubicBezTo>
                <a:cubicBezTo>
                  <a:pt x="10483964" y="5459631"/>
                  <a:pt x="10482633" y="5458699"/>
                  <a:pt x="10481035" y="5458033"/>
                </a:cubicBezTo>
                <a:cubicBezTo>
                  <a:pt x="10479571" y="5457368"/>
                  <a:pt x="10477974" y="5457102"/>
                  <a:pt x="10475977" y="5457102"/>
                </a:cubicBezTo>
                <a:close/>
                <a:moveTo>
                  <a:pt x="10258466" y="5457102"/>
                </a:moveTo>
                <a:cubicBezTo>
                  <a:pt x="10252608" y="5457102"/>
                  <a:pt x="10250078" y="5458965"/>
                  <a:pt x="10248481" y="5460696"/>
                </a:cubicBezTo>
                <a:cubicBezTo>
                  <a:pt x="10245952" y="5463358"/>
                  <a:pt x="10244887" y="5466153"/>
                  <a:pt x="10244887" y="5470147"/>
                </a:cubicBezTo>
                <a:cubicBezTo>
                  <a:pt x="10244887" y="5474274"/>
                  <a:pt x="10245952" y="5477069"/>
                  <a:pt x="10248481" y="5479598"/>
                </a:cubicBezTo>
                <a:cubicBezTo>
                  <a:pt x="10250078" y="5481197"/>
                  <a:pt x="10252608" y="5483060"/>
                  <a:pt x="10258466" y="5483060"/>
                </a:cubicBezTo>
                <a:cubicBezTo>
                  <a:pt x="10260462" y="5483060"/>
                  <a:pt x="10262192" y="5482794"/>
                  <a:pt x="10263790" y="5482128"/>
                </a:cubicBezTo>
                <a:cubicBezTo>
                  <a:pt x="10265388" y="5481596"/>
                  <a:pt x="10266586" y="5480664"/>
                  <a:pt x="10267517" y="5479731"/>
                </a:cubicBezTo>
                <a:cubicBezTo>
                  <a:pt x="10268583" y="5478533"/>
                  <a:pt x="10269515" y="5477202"/>
                  <a:pt x="10270180" y="5475472"/>
                </a:cubicBezTo>
                <a:cubicBezTo>
                  <a:pt x="10270845" y="5473874"/>
                  <a:pt x="10271112" y="5472010"/>
                  <a:pt x="10271112" y="5470014"/>
                </a:cubicBezTo>
                <a:cubicBezTo>
                  <a:pt x="10271112" y="5468150"/>
                  <a:pt x="10270845" y="5466420"/>
                  <a:pt x="10270180" y="5464822"/>
                </a:cubicBezTo>
                <a:cubicBezTo>
                  <a:pt x="10269515" y="5463225"/>
                  <a:pt x="10268583" y="5461894"/>
                  <a:pt x="10267517" y="5460696"/>
                </a:cubicBezTo>
                <a:cubicBezTo>
                  <a:pt x="10266452" y="5459631"/>
                  <a:pt x="10265121" y="5458699"/>
                  <a:pt x="10263524" y="5458033"/>
                </a:cubicBezTo>
                <a:cubicBezTo>
                  <a:pt x="10262060" y="5457368"/>
                  <a:pt x="10260462" y="5457102"/>
                  <a:pt x="10258466" y="5457102"/>
                </a:cubicBezTo>
                <a:close/>
                <a:moveTo>
                  <a:pt x="10040820" y="5457102"/>
                </a:moveTo>
                <a:cubicBezTo>
                  <a:pt x="10034962" y="5457102"/>
                  <a:pt x="10032433" y="5458965"/>
                  <a:pt x="10030835" y="5460696"/>
                </a:cubicBezTo>
                <a:cubicBezTo>
                  <a:pt x="10028306" y="5463358"/>
                  <a:pt x="10027242" y="5466153"/>
                  <a:pt x="10027242" y="5470147"/>
                </a:cubicBezTo>
                <a:cubicBezTo>
                  <a:pt x="10027242" y="5474274"/>
                  <a:pt x="10028306" y="5477069"/>
                  <a:pt x="10030835" y="5479598"/>
                </a:cubicBezTo>
                <a:cubicBezTo>
                  <a:pt x="10032433" y="5481197"/>
                  <a:pt x="10034962" y="5483060"/>
                  <a:pt x="10040820" y="5483060"/>
                </a:cubicBezTo>
                <a:cubicBezTo>
                  <a:pt x="10042817" y="5483060"/>
                  <a:pt x="10044681" y="5482794"/>
                  <a:pt x="10046145" y="5482128"/>
                </a:cubicBezTo>
                <a:cubicBezTo>
                  <a:pt x="10047742" y="5481596"/>
                  <a:pt x="10048941" y="5480664"/>
                  <a:pt x="10049872" y="5479731"/>
                </a:cubicBezTo>
                <a:cubicBezTo>
                  <a:pt x="10050937" y="5478533"/>
                  <a:pt x="10051869" y="5477202"/>
                  <a:pt x="10052534" y="5475472"/>
                </a:cubicBezTo>
                <a:cubicBezTo>
                  <a:pt x="10053333" y="5473874"/>
                  <a:pt x="10053599" y="5472010"/>
                  <a:pt x="10053599" y="5470014"/>
                </a:cubicBezTo>
                <a:cubicBezTo>
                  <a:pt x="10053599" y="5468150"/>
                  <a:pt x="10053200" y="5466420"/>
                  <a:pt x="10052534" y="5464822"/>
                </a:cubicBezTo>
                <a:cubicBezTo>
                  <a:pt x="10051869" y="5463225"/>
                  <a:pt x="10050937" y="5461894"/>
                  <a:pt x="10049872" y="5460696"/>
                </a:cubicBezTo>
                <a:cubicBezTo>
                  <a:pt x="10048807" y="5459631"/>
                  <a:pt x="10047476" y="5458699"/>
                  <a:pt x="10045878" y="5458033"/>
                </a:cubicBezTo>
                <a:cubicBezTo>
                  <a:pt x="10044414" y="5457368"/>
                  <a:pt x="10042817" y="5457102"/>
                  <a:pt x="10040820" y="5457102"/>
                </a:cubicBezTo>
                <a:close/>
                <a:moveTo>
                  <a:pt x="9823176" y="5457102"/>
                </a:moveTo>
                <a:cubicBezTo>
                  <a:pt x="9817318" y="5457102"/>
                  <a:pt x="9814788" y="5458965"/>
                  <a:pt x="9813191" y="5460696"/>
                </a:cubicBezTo>
                <a:cubicBezTo>
                  <a:pt x="9810662" y="5463358"/>
                  <a:pt x="9809597" y="5466153"/>
                  <a:pt x="9809597" y="5470147"/>
                </a:cubicBezTo>
                <a:cubicBezTo>
                  <a:pt x="9809597" y="5474274"/>
                  <a:pt x="9810662" y="5477069"/>
                  <a:pt x="9813191" y="5479598"/>
                </a:cubicBezTo>
                <a:cubicBezTo>
                  <a:pt x="9814788" y="5481197"/>
                  <a:pt x="9817318" y="5483060"/>
                  <a:pt x="9823176" y="5483060"/>
                </a:cubicBezTo>
                <a:cubicBezTo>
                  <a:pt x="9825173" y="5483060"/>
                  <a:pt x="9827036" y="5482794"/>
                  <a:pt x="9828501" y="5482128"/>
                </a:cubicBezTo>
                <a:cubicBezTo>
                  <a:pt x="9830098" y="5481596"/>
                  <a:pt x="9831296" y="5480664"/>
                  <a:pt x="9832227" y="5479731"/>
                </a:cubicBezTo>
                <a:cubicBezTo>
                  <a:pt x="9833293" y="5478533"/>
                  <a:pt x="9834225" y="5477202"/>
                  <a:pt x="9834890" y="5475472"/>
                </a:cubicBezTo>
                <a:cubicBezTo>
                  <a:pt x="9835689" y="5473874"/>
                  <a:pt x="9835955" y="5472010"/>
                  <a:pt x="9835955" y="5470014"/>
                </a:cubicBezTo>
                <a:cubicBezTo>
                  <a:pt x="9835955" y="5468150"/>
                  <a:pt x="9835555" y="5466420"/>
                  <a:pt x="9834890" y="5464822"/>
                </a:cubicBezTo>
                <a:cubicBezTo>
                  <a:pt x="9834225" y="5463225"/>
                  <a:pt x="9833293" y="5461894"/>
                  <a:pt x="9832227" y="5460696"/>
                </a:cubicBezTo>
                <a:cubicBezTo>
                  <a:pt x="9831162" y="5459631"/>
                  <a:pt x="9829831" y="5458699"/>
                  <a:pt x="9828234" y="5458033"/>
                </a:cubicBezTo>
                <a:cubicBezTo>
                  <a:pt x="9826770" y="5457368"/>
                  <a:pt x="9825173" y="5457102"/>
                  <a:pt x="9823176" y="5457102"/>
                </a:cubicBezTo>
                <a:close/>
                <a:moveTo>
                  <a:pt x="9605531" y="5457102"/>
                </a:moveTo>
                <a:cubicBezTo>
                  <a:pt x="9599673" y="5457102"/>
                  <a:pt x="9597143" y="5458965"/>
                  <a:pt x="9595546" y="5460696"/>
                </a:cubicBezTo>
                <a:cubicBezTo>
                  <a:pt x="9593017" y="5463358"/>
                  <a:pt x="9591952" y="5466153"/>
                  <a:pt x="9591952" y="5470147"/>
                </a:cubicBezTo>
                <a:cubicBezTo>
                  <a:pt x="9591952" y="5474274"/>
                  <a:pt x="9593017" y="5477069"/>
                  <a:pt x="9595546" y="5479598"/>
                </a:cubicBezTo>
                <a:cubicBezTo>
                  <a:pt x="9597143" y="5481197"/>
                  <a:pt x="9599673" y="5483060"/>
                  <a:pt x="9605531" y="5483060"/>
                </a:cubicBezTo>
                <a:cubicBezTo>
                  <a:pt x="9607660" y="5483060"/>
                  <a:pt x="9609391" y="5482794"/>
                  <a:pt x="9610855" y="5482128"/>
                </a:cubicBezTo>
                <a:cubicBezTo>
                  <a:pt x="9612319" y="5481596"/>
                  <a:pt x="9613651" y="5480664"/>
                  <a:pt x="9614582" y="5479731"/>
                </a:cubicBezTo>
                <a:cubicBezTo>
                  <a:pt x="9615647" y="5478533"/>
                  <a:pt x="9616579" y="5477202"/>
                  <a:pt x="9617245" y="5475472"/>
                </a:cubicBezTo>
                <a:cubicBezTo>
                  <a:pt x="9618044" y="5473874"/>
                  <a:pt x="9618309" y="5472010"/>
                  <a:pt x="9618309" y="5470014"/>
                </a:cubicBezTo>
                <a:cubicBezTo>
                  <a:pt x="9618309" y="5468150"/>
                  <a:pt x="9617910" y="5466420"/>
                  <a:pt x="9617245" y="5464822"/>
                </a:cubicBezTo>
                <a:cubicBezTo>
                  <a:pt x="9616579" y="5463225"/>
                  <a:pt x="9615647" y="5461894"/>
                  <a:pt x="9614582" y="5460696"/>
                </a:cubicBezTo>
                <a:cubicBezTo>
                  <a:pt x="9613517" y="5459631"/>
                  <a:pt x="9612186" y="5458699"/>
                  <a:pt x="9610589" y="5458033"/>
                </a:cubicBezTo>
                <a:cubicBezTo>
                  <a:pt x="9609124" y="5457368"/>
                  <a:pt x="9607394" y="5457102"/>
                  <a:pt x="9605531" y="5457102"/>
                </a:cubicBezTo>
                <a:close/>
                <a:moveTo>
                  <a:pt x="9387885" y="5457102"/>
                </a:moveTo>
                <a:cubicBezTo>
                  <a:pt x="9382027" y="5457102"/>
                  <a:pt x="9379497" y="5458965"/>
                  <a:pt x="9377900" y="5460696"/>
                </a:cubicBezTo>
                <a:cubicBezTo>
                  <a:pt x="9375371" y="5463358"/>
                  <a:pt x="9374307" y="5466153"/>
                  <a:pt x="9374307" y="5470147"/>
                </a:cubicBezTo>
                <a:cubicBezTo>
                  <a:pt x="9374307" y="5474274"/>
                  <a:pt x="9375371" y="5477069"/>
                  <a:pt x="9377900" y="5479598"/>
                </a:cubicBezTo>
                <a:cubicBezTo>
                  <a:pt x="9379497" y="5481197"/>
                  <a:pt x="9382027" y="5483060"/>
                  <a:pt x="9387885" y="5483060"/>
                </a:cubicBezTo>
                <a:cubicBezTo>
                  <a:pt x="9390015" y="5483060"/>
                  <a:pt x="9391746" y="5482794"/>
                  <a:pt x="9393210" y="5482128"/>
                </a:cubicBezTo>
                <a:cubicBezTo>
                  <a:pt x="9394674" y="5481596"/>
                  <a:pt x="9396005" y="5480664"/>
                  <a:pt x="9396937" y="5479731"/>
                </a:cubicBezTo>
                <a:cubicBezTo>
                  <a:pt x="9398002" y="5478533"/>
                  <a:pt x="9398934" y="5477202"/>
                  <a:pt x="9399599" y="5475472"/>
                </a:cubicBezTo>
                <a:cubicBezTo>
                  <a:pt x="9400398" y="5473874"/>
                  <a:pt x="9400664" y="5472010"/>
                  <a:pt x="9400664" y="5470014"/>
                </a:cubicBezTo>
                <a:cubicBezTo>
                  <a:pt x="9400664" y="5468150"/>
                  <a:pt x="9400265" y="5466420"/>
                  <a:pt x="9399599" y="5464822"/>
                </a:cubicBezTo>
                <a:cubicBezTo>
                  <a:pt x="9398934" y="5463225"/>
                  <a:pt x="9398002" y="5461894"/>
                  <a:pt x="9396937" y="5460696"/>
                </a:cubicBezTo>
                <a:cubicBezTo>
                  <a:pt x="9395872" y="5459631"/>
                  <a:pt x="9394541" y="5458699"/>
                  <a:pt x="9392943" y="5458033"/>
                </a:cubicBezTo>
                <a:cubicBezTo>
                  <a:pt x="9391479" y="5457368"/>
                  <a:pt x="9389749" y="5457102"/>
                  <a:pt x="9387885" y="5457102"/>
                </a:cubicBezTo>
                <a:close/>
                <a:moveTo>
                  <a:pt x="9170374" y="5457102"/>
                </a:moveTo>
                <a:cubicBezTo>
                  <a:pt x="9164649" y="5457102"/>
                  <a:pt x="9161986" y="5458965"/>
                  <a:pt x="9160389" y="5460696"/>
                </a:cubicBezTo>
                <a:cubicBezTo>
                  <a:pt x="9157860" y="5463358"/>
                  <a:pt x="9156795" y="5466153"/>
                  <a:pt x="9156795" y="5470147"/>
                </a:cubicBezTo>
                <a:cubicBezTo>
                  <a:pt x="9156795" y="5474274"/>
                  <a:pt x="9157860" y="5477069"/>
                  <a:pt x="9160389" y="5479598"/>
                </a:cubicBezTo>
                <a:cubicBezTo>
                  <a:pt x="9161986" y="5481197"/>
                  <a:pt x="9164516" y="5483060"/>
                  <a:pt x="9170374" y="5483060"/>
                </a:cubicBezTo>
                <a:cubicBezTo>
                  <a:pt x="9172370" y="5483060"/>
                  <a:pt x="9174100" y="5482794"/>
                  <a:pt x="9175698" y="5482128"/>
                </a:cubicBezTo>
                <a:cubicBezTo>
                  <a:pt x="9177163" y="5481596"/>
                  <a:pt x="9178494" y="5480664"/>
                  <a:pt x="9179425" y="5479731"/>
                </a:cubicBezTo>
                <a:cubicBezTo>
                  <a:pt x="9180491" y="5478533"/>
                  <a:pt x="9181422" y="5477202"/>
                  <a:pt x="9182088" y="5475472"/>
                </a:cubicBezTo>
                <a:cubicBezTo>
                  <a:pt x="9182887" y="5473874"/>
                  <a:pt x="9183152" y="5472010"/>
                  <a:pt x="9183152" y="5470014"/>
                </a:cubicBezTo>
                <a:cubicBezTo>
                  <a:pt x="9183152" y="5468150"/>
                  <a:pt x="9182753" y="5466420"/>
                  <a:pt x="9182088" y="5464822"/>
                </a:cubicBezTo>
                <a:cubicBezTo>
                  <a:pt x="9181422" y="5463225"/>
                  <a:pt x="9180491" y="5461894"/>
                  <a:pt x="9179425" y="5460696"/>
                </a:cubicBezTo>
                <a:cubicBezTo>
                  <a:pt x="9178360" y="5459631"/>
                  <a:pt x="9177029" y="5458699"/>
                  <a:pt x="9175432" y="5458033"/>
                </a:cubicBezTo>
                <a:cubicBezTo>
                  <a:pt x="9173967" y="5457368"/>
                  <a:pt x="9172237" y="5457102"/>
                  <a:pt x="9170374" y="5457102"/>
                </a:cubicBezTo>
                <a:close/>
                <a:moveTo>
                  <a:pt x="8952728" y="5457102"/>
                </a:moveTo>
                <a:cubicBezTo>
                  <a:pt x="8947003" y="5457102"/>
                  <a:pt x="8944340" y="5458965"/>
                  <a:pt x="8942743" y="5460696"/>
                </a:cubicBezTo>
                <a:cubicBezTo>
                  <a:pt x="8940214" y="5463358"/>
                  <a:pt x="8939150" y="5466153"/>
                  <a:pt x="8939150" y="5470147"/>
                </a:cubicBezTo>
                <a:cubicBezTo>
                  <a:pt x="8939150" y="5474274"/>
                  <a:pt x="8940214" y="5477069"/>
                  <a:pt x="8942743" y="5479598"/>
                </a:cubicBezTo>
                <a:cubicBezTo>
                  <a:pt x="8944340" y="5481197"/>
                  <a:pt x="8946870" y="5483060"/>
                  <a:pt x="8952728" y="5483060"/>
                </a:cubicBezTo>
                <a:cubicBezTo>
                  <a:pt x="8954725" y="5483060"/>
                  <a:pt x="8956589" y="5482794"/>
                  <a:pt x="8958053" y="5482128"/>
                </a:cubicBezTo>
                <a:cubicBezTo>
                  <a:pt x="8959517" y="5481596"/>
                  <a:pt x="8960849" y="5480664"/>
                  <a:pt x="8961780" y="5479731"/>
                </a:cubicBezTo>
                <a:cubicBezTo>
                  <a:pt x="8962845" y="5478533"/>
                  <a:pt x="8963777" y="5477202"/>
                  <a:pt x="8964442" y="5475472"/>
                </a:cubicBezTo>
                <a:cubicBezTo>
                  <a:pt x="8965241" y="5473874"/>
                  <a:pt x="8965507" y="5472010"/>
                  <a:pt x="8965507" y="5470014"/>
                </a:cubicBezTo>
                <a:cubicBezTo>
                  <a:pt x="8965507" y="5468150"/>
                  <a:pt x="8965108" y="5466420"/>
                  <a:pt x="8964442" y="5464822"/>
                </a:cubicBezTo>
                <a:cubicBezTo>
                  <a:pt x="8963777" y="5463225"/>
                  <a:pt x="8962845" y="5461894"/>
                  <a:pt x="8961780" y="5460696"/>
                </a:cubicBezTo>
                <a:cubicBezTo>
                  <a:pt x="8960715" y="5459631"/>
                  <a:pt x="8959384" y="5458699"/>
                  <a:pt x="8957786" y="5458033"/>
                </a:cubicBezTo>
                <a:cubicBezTo>
                  <a:pt x="8956322" y="5457368"/>
                  <a:pt x="8954592" y="5457102"/>
                  <a:pt x="8952728" y="5457102"/>
                </a:cubicBezTo>
                <a:close/>
                <a:moveTo>
                  <a:pt x="8735083" y="5457102"/>
                </a:moveTo>
                <a:cubicBezTo>
                  <a:pt x="8729358" y="5457102"/>
                  <a:pt x="8726695" y="5458965"/>
                  <a:pt x="8725098" y="5460696"/>
                </a:cubicBezTo>
                <a:cubicBezTo>
                  <a:pt x="8722569" y="5463358"/>
                  <a:pt x="8721504" y="5466153"/>
                  <a:pt x="8721504" y="5470147"/>
                </a:cubicBezTo>
                <a:cubicBezTo>
                  <a:pt x="8721504" y="5474274"/>
                  <a:pt x="8722569" y="5477069"/>
                  <a:pt x="8725098" y="5479598"/>
                </a:cubicBezTo>
                <a:cubicBezTo>
                  <a:pt x="8726695" y="5481197"/>
                  <a:pt x="8729225" y="5483060"/>
                  <a:pt x="8735083" y="5483060"/>
                </a:cubicBezTo>
                <a:cubicBezTo>
                  <a:pt x="8737079" y="5483060"/>
                  <a:pt x="8738943" y="5482794"/>
                  <a:pt x="8740407" y="5482128"/>
                </a:cubicBezTo>
                <a:cubicBezTo>
                  <a:pt x="8741872" y="5481596"/>
                  <a:pt x="8743203" y="5480664"/>
                  <a:pt x="8744134" y="5479731"/>
                </a:cubicBezTo>
                <a:cubicBezTo>
                  <a:pt x="8745200" y="5478533"/>
                  <a:pt x="8746132" y="5477202"/>
                  <a:pt x="8746797" y="5475472"/>
                </a:cubicBezTo>
                <a:cubicBezTo>
                  <a:pt x="8747596" y="5473874"/>
                  <a:pt x="8747862" y="5472010"/>
                  <a:pt x="8747862" y="5470014"/>
                </a:cubicBezTo>
                <a:cubicBezTo>
                  <a:pt x="8747862" y="5468150"/>
                  <a:pt x="8747462" y="5466420"/>
                  <a:pt x="8746797" y="5464822"/>
                </a:cubicBezTo>
                <a:cubicBezTo>
                  <a:pt x="8746132" y="5463225"/>
                  <a:pt x="8745200" y="5461894"/>
                  <a:pt x="8744134" y="5460696"/>
                </a:cubicBezTo>
                <a:cubicBezTo>
                  <a:pt x="8743069" y="5459631"/>
                  <a:pt x="8741738" y="5458699"/>
                  <a:pt x="8740141" y="5458033"/>
                </a:cubicBezTo>
                <a:cubicBezTo>
                  <a:pt x="8738677" y="5457368"/>
                  <a:pt x="8736946" y="5457102"/>
                  <a:pt x="8735083" y="5457102"/>
                </a:cubicBezTo>
                <a:close/>
                <a:moveTo>
                  <a:pt x="8517438" y="5457102"/>
                </a:moveTo>
                <a:cubicBezTo>
                  <a:pt x="8511713" y="5457102"/>
                  <a:pt x="8509051" y="5458965"/>
                  <a:pt x="8507453" y="5460696"/>
                </a:cubicBezTo>
                <a:cubicBezTo>
                  <a:pt x="8504925" y="5463358"/>
                  <a:pt x="8503860" y="5466153"/>
                  <a:pt x="8503860" y="5470147"/>
                </a:cubicBezTo>
                <a:cubicBezTo>
                  <a:pt x="8503860" y="5474274"/>
                  <a:pt x="8504925" y="5477069"/>
                  <a:pt x="8507453" y="5479598"/>
                </a:cubicBezTo>
                <a:cubicBezTo>
                  <a:pt x="8509051" y="5481197"/>
                  <a:pt x="8511581" y="5483060"/>
                  <a:pt x="8517438" y="5483060"/>
                </a:cubicBezTo>
                <a:cubicBezTo>
                  <a:pt x="8519568" y="5483060"/>
                  <a:pt x="8521299" y="5482794"/>
                  <a:pt x="8522763" y="5482128"/>
                </a:cubicBezTo>
                <a:cubicBezTo>
                  <a:pt x="8524227" y="5481596"/>
                  <a:pt x="8525559" y="5480664"/>
                  <a:pt x="8526490" y="5479731"/>
                </a:cubicBezTo>
                <a:cubicBezTo>
                  <a:pt x="8527555" y="5478533"/>
                  <a:pt x="8528487" y="5477202"/>
                  <a:pt x="8529152" y="5475472"/>
                </a:cubicBezTo>
                <a:cubicBezTo>
                  <a:pt x="8529818" y="5473874"/>
                  <a:pt x="8530084" y="5472010"/>
                  <a:pt x="8530084" y="5470014"/>
                </a:cubicBezTo>
                <a:cubicBezTo>
                  <a:pt x="8530084" y="5468150"/>
                  <a:pt x="8529818" y="5466420"/>
                  <a:pt x="8529152" y="5464822"/>
                </a:cubicBezTo>
                <a:cubicBezTo>
                  <a:pt x="8528487" y="5463225"/>
                  <a:pt x="8527555" y="5461894"/>
                  <a:pt x="8526490" y="5460696"/>
                </a:cubicBezTo>
                <a:cubicBezTo>
                  <a:pt x="8525425" y="5459631"/>
                  <a:pt x="8524094" y="5458699"/>
                  <a:pt x="8522496" y="5458033"/>
                </a:cubicBezTo>
                <a:cubicBezTo>
                  <a:pt x="8521032" y="5457368"/>
                  <a:pt x="8519302" y="5457102"/>
                  <a:pt x="8517438" y="5457102"/>
                </a:cubicBezTo>
                <a:close/>
                <a:moveTo>
                  <a:pt x="8299793" y="5457102"/>
                </a:moveTo>
                <a:cubicBezTo>
                  <a:pt x="8294068" y="5457102"/>
                  <a:pt x="8291406" y="5458965"/>
                  <a:pt x="8289809" y="5460696"/>
                </a:cubicBezTo>
                <a:cubicBezTo>
                  <a:pt x="8287280" y="5463358"/>
                  <a:pt x="8286215" y="5466153"/>
                  <a:pt x="8286215" y="5470147"/>
                </a:cubicBezTo>
                <a:cubicBezTo>
                  <a:pt x="8286215" y="5474274"/>
                  <a:pt x="8287280" y="5477069"/>
                  <a:pt x="8289809" y="5479598"/>
                </a:cubicBezTo>
                <a:cubicBezTo>
                  <a:pt x="8291406" y="5481197"/>
                  <a:pt x="8293935" y="5483060"/>
                  <a:pt x="8299793" y="5483060"/>
                </a:cubicBezTo>
                <a:cubicBezTo>
                  <a:pt x="8301923" y="5483060"/>
                  <a:pt x="8303653" y="5482794"/>
                  <a:pt x="8305118" y="5482128"/>
                </a:cubicBezTo>
                <a:cubicBezTo>
                  <a:pt x="8306582" y="5481596"/>
                  <a:pt x="8307913" y="5480664"/>
                  <a:pt x="8308844" y="5479731"/>
                </a:cubicBezTo>
                <a:cubicBezTo>
                  <a:pt x="8309910" y="5478533"/>
                  <a:pt x="8310842" y="5477202"/>
                  <a:pt x="8311507" y="5475472"/>
                </a:cubicBezTo>
                <a:cubicBezTo>
                  <a:pt x="8312172" y="5473874"/>
                  <a:pt x="8312439" y="5472010"/>
                  <a:pt x="8312439" y="5470014"/>
                </a:cubicBezTo>
                <a:cubicBezTo>
                  <a:pt x="8312439" y="5468150"/>
                  <a:pt x="8312172" y="5466420"/>
                  <a:pt x="8311507" y="5464822"/>
                </a:cubicBezTo>
                <a:cubicBezTo>
                  <a:pt x="8310842" y="5463225"/>
                  <a:pt x="8309910" y="5461894"/>
                  <a:pt x="8308844" y="5460696"/>
                </a:cubicBezTo>
                <a:cubicBezTo>
                  <a:pt x="8307779" y="5459631"/>
                  <a:pt x="8306448" y="5458699"/>
                  <a:pt x="8304851" y="5458033"/>
                </a:cubicBezTo>
                <a:cubicBezTo>
                  <a:pt x="8303387" y="5457368"/>
                  <a:pt x="8301790" y="5457102"/>
                  <a:pt x="8299793" y="5457102"/>
                </a:cubicBezTo>
                <a:close/>
                <a:moveTo>
                  <a:pt x="8082281" y="5457102"/>
                </a:moveTo>
                <a:cubicBezTo>
                  <a:pt x="8076424" y="5457102"/>
                  <a:pt x="8073894" y="5458965"/>
                  <a:pt x="8072297" y="5460696"/>
                </a:cubicBezTo>
                <a:cubicBezTo>
                  <a:pt x="8069768" y="5463358"/>
                  <a:pt x="8068703" y="5466153"/>
                  <a:pt x="8068703" y="5470147"/>
                </a:cubicBezTo>
                <a:cubicBezTo>
                  <a:pt x="8068703" y="5474274"/>
                  <a:pt x="8069768" y="5477069"/>
                  <a:pt x="8072297" y="5479598"/>
                </a:cubicBezTo>
                <a:cubicBezTo>
                  <a:pt x="8073894" y="5481197"/>
                  <a:pt x="8076424" y="5483060"/>
                  <a:pt x="8082281" y="5483060"/>
                </a:cubicBezTo>
                <a:cubicBezTo>
                  <a:pt x="8084277" y="5483060"/>
                  <a:pt x="8086007" y="5482794"/>
                  <a:pt x="8087605" y="5482128"/>
                </a:cubicBezTo>
                <a:cubicBezTo>
                  <a:pt x="8089069" y="5481596"/>
                  <a:pt x="8090401" y="5480664"/>
                  <a:pt x="8091332" y="5479731"/>
                </a:cubicBezTo>
                <a:cubicBezTo>
                  <a:pt x="8092397" y="5478533"/>
                  <a:pt x="8093329" y="5477202"/>
                  <a:pt x="8093994" y="5475472"/>
                </a:cubicBezTo>
                <a:cubicBezTo>
                  <a:pt x="8094660" y="5473874"/>
                  <a:pt x="8094926" y="5472010"/>
                  <a:pt x="8094926" y="5470014"/>
                </a:cubicBezTo>
                <a:cubicBezTo>
                  <a:pt x="8094926" y="5468150"/>
                  <a:pt x="8094660" y="5466420"/>
                  <a:pt x="8093994" y="5464822"/>
                </a:cubicBezTo>
                <a:cubicBezTo>
                  <a:pt x="8093329" y="5463225"/>
                  <a:pt x="8092397" y="5461894"/>
                  <a:pt x="8091332" y="5460696"/>
                </a:cubicBezTo>
                <a:cubicBezTo>
                  <a:pt x="8090267" y="5459631"/>
                  <a:pt x="8088936" y="5458699"/>
                  <a:pt x="8087338" y="5458033"/>
                </a:cubicBezTo>
                <a:cubicBezTo>
                  <a:pt x="8085874" y="5457368"/>
                  <a:pt x="8084277" y="5457102"/>
                  <a:pt x="8082281" y="5457102"/>
                </a:cubicBezTo>
                <a:close/>
                <a:moveTo>
                  <a:pt x="7864636" y="5457102"/>
                </a:moveTo>
                <a:cubicBezTo>
                  <a:pt x="7858779" y="5457102"/>
                  <a:pt x="7856249" y="5458965"/>
                  <a:pt x="7854652" y="5460696"/>
                </a:cubicBezTo>
                <a:cubicBezTo>
                  <a:pt x="7852123" y="5463358"/>
                  <a:pt x="7851058" y="5466153"/>
                  <a:pt x="7851058" y="5470147"/>
                </a:cubicBezTo>
                <a:cubicBezTo>
                  <a:pt x="7851058" y="5474274"/>
                  <a:pt x="7852123" y="5477069"/>
                  <a:pt x="7854652" y="5479598"/>
                </a:cubicBezTo>
                <a:cubicBezTo>
                  <a:pt x="7856249" y="5481197"/>
                  <a:pt x="7858779" y="5483060"/>
                  <a:pt x="7864636" y="5483060"/>
                </a:cubicBezTo>
                <a:cubicBezTo>
                  <a:pt x="7866633" y="5483060"/>
                  <a:pt x="7868363" y="5482794"/>
                  <a:pt x="7869961" y="5482128"/>
                </a:cubicBezTo>
                <a:cubicBezTo>
                  <a:pt x="7871425" y="5481596"/>
                  <a:pt x="7872756" y="5480664"/>
                  <a:pt x="7873687" y="5479731"/>
                </a:cubicBezTo>
                <a:cubicBezTo>
                  <a:pt x="7874753" y="5478533"/>
                  <a:pt x="7875685" y="5477202"/>
                  <a:pt x="7876350" y="5475472"/>
                </a:cubicBezTo>
                <a:cubicBezTo>
                  <a:pt x="7877015" y="5473874"/>
                  <a:pt x="7877282" y="5472010"/>
                  <a:pt x="7877282" y="5470014"/>
                </a:cubicBezTo>
                <a:cubicBezTo>
                  <a:pt x="7877282" y="5468150"/>
                  <a:pt x="7877015" y="5466420"/>
                  <a:pt x="7876350" y="5464822"/>
                </a:cubicBezTo>
                <a:cubicBezTo>
                  <a:pt x="7875685" y="5463225"/>
                  <a:pt x="7874753" y="5461894"/>
                  <a:pt x="7873687" y="5460696"/>
                </a:cubicBezTo>
                <a:cubicBezTo>
                  <a:pt x="7872623" y="5459631"/>
                  <a:pt x="7871291" y="5458699"/>
                  <a:pt x="7869694" y="5458033"/>
                </a:cubicBezTo>
                <a:cubicBezTo>
                  <a:pt x="7868230" y="5457368"/>
                  <a:pt x="7866633" y="5457102"/>
                  <a:pt x="7864636" y="5457102"/>
                </a:cubicBezTo>
                <a:close/>
                <a:moveTo>
                  <a:pt x="7646991" y="5457102"/>
                </a:moveTo>
                <a:cubicBezTo>
                  <a:pt x="7641134" y="5457102"/>
                  <a:pt x="7638604" y="5458965"/>
                  <a:pt x="7637007" y="5460696"/>
                </a:cubicBezTo>
                <a:cubicBezTo>
                  <a:pt x="7634478" y="5463358"/>
                  <a:pt x="7633413" y="5466153"/>
                  <a:pt x="7633413" y="5470147"/>
                </a:cubicBezTo>
                <a:cubicBezTo>
                  <a:pt x="7633413" y="5474274"/>
                  <a:pt x="7634478" y="5477069"/>
                  <a:pt x="7637007" y="5479598"/>
                </a:cubicBezTo>
                <a:cubicBezTo>
                  <a:pt x="7638604" y="5481197"/>
                  <a:pt x="7641134" y="5483060"/>
                  <a:pt x="7646991" y="5483060"/>
                </a:cubicBezTo>
                <a:cubicBezTo>
                  <a:pt x="7648987" y="5483060"/>
                  <a:pt x="7650851" y="5482794"/>
                  <a:pt x="7652315" y="5482128"/>
                </a:cubicBezTo>
                <a:cubicBezTo>
                  <a:pt x="7653780" y="5481596"/>
                  <a:pt x="7655111" y="5480664"/>
                  <a:pt x="7656042" y="5479731"/>
                </a:cubicBezTo>
                <a:cubicBezTo>
                  <a:pt x="7657108" y="5478533"/>
                  <a:pt x="7658039" y="5477202"/>
                  <a:pt x="7658705" y="5475472"/>
                </a:cubicBezTo>
                <a:cubicBezTo>
                  <a:pt x="7659504" y="5473874"/>
                  <a:pt x="7659769" y="5472010"/>
                  <a:pt x="7659769" y="5470014"/>
                </a:cubicBezTo>
                <a:cubicBezTo>
                  <a:pt x="7659769" y="5468150"/>
                  <a:pt x="7659370" y="5466420"/>
                  <a:pt x="7658705" y="5464822"/>
                </a:cubicBezTo>
                <a:cubicBezTo>
                  <a:pt x="7658039" y="5463225"/>
                  <a:pt x="7657108" y="5461894"/>
                  <a:pt x="7656042" y="5460696"/>
                </a:cubicBezTo>
                <a:cubicBezTo>
                  <a:pt x="7654977" y="5459631"/>
                  <a:pt x="7653646" y="5458699"/>
                  <a:pt x="7652049" y="5458033"/>
                </a:cubicBezTo>
                <a:cubicBezTo>
                  <a:pt x="7650584" y="5457368"/>
                  <a:pt x="7648987" y="5457102"/>
                  <a:pt x="7646991" y="5457102"/>
                </a:cubicBezTo>
                <a:close/>
                <a:moveTo>
                  <a:pt x="7429345" y="5457102"/>
                </a:moveTo>
                <a:cubicBezTo>
                  <a:pt x="7423488" y="5457102"/>
                  <a:pt x="7420958" y="5458965"/>
                  <a:pt x="7419361" y="5460696"/>
                </a:cubicBezTo>
                <a:cubicBezTo>
                  <a:pt x="7416832" y="5463358"/>
                  <a:pt x="7415768" y="5466153"/>
                  <a:pt x="7415768" y="5470147"/>
                </a:cubicBezTo>
                <a:cubicBezTo>
                  <a:pt x="7415768" y="5474274"/>
                  <a:pt x="7416832" y="5477069"/>
                  <a:pt x="7419361" y="5479598"/>
                </a:cubicBezTo>
                <a:cubicBezTo>
                  <a:pt x="7420958" y="5481197"/>
                  <a:pt x="7423488" y="5483060"/>
                  <a:pt x="7429345" y="5483060"/>
                </a:cubicBezTo>
                <a:cubicBezTo>
                  <a:pt x="7431342" y="5483060"/>
                  <a:pt x="7433206" y="5482794"/>
                  <a:pt x="7434670" y="5482128"/>
                </a:cubicBezTo>
                <a:cubicBezTo>
                  <a:pt x="7436134" y="5481596"/>
                  <a:pt x="7437466" y="5480664"/>
                  <a:pt x="7438397" y="5479731"/>
                </a:cubicBezTo>
                <a:cubicBezTo>
                  <a:pt x="7439462" y="5478533"/>
                  <a:pt x="7440394" y="5477202"/>
                  <a:pt x="7441059" y="5475472"/>
                </a:cubicBezTo>
                <a:cubicBezTo>
                  <a:pt x="7441858" y="5473874"/>
                  <a:pt x="7442124" y="5472010"/>
                  <a:pt x="7442124" y="5470014"/>
                </a:cubicBezTo>
                <a:cubicBezTo>
                  <a:pt x="7442124" y="5468150"/>
                  <a:pt x="7441725" y="5466420"/>
                  <a:pt x="7441059" y="5464822"/>
                </a:cubicBezTo>
                <a:cubicBezTo>
                  <a:pt x="7440394" y="5463225"/>
                  <a:pt x="7439462" y="5461894"/>
                  <a:pt x="7438397" y="5460696"/>
                </a:cubicBezTo>
                <a:cubicBezTo>
                  <a:pt x="7437332" y="5459631"/>
                  <a:pt x="7436001" y="5458699"/>
                  <a:pt x="7434403" y="5458033"/>
                </a:cubicBezTo>
                <a:cubicBezTo>
                  <a:pt x="7432939" y="5457368"/>
                  <a:pt x="7431342" y="5457102"/>
                  <a:pt x="7429345" y="5457102"/>
                </a:cubicBezTo>
                <a:close/>
                <a:moveTo>
                  <a:pt x="7211701" y="5457102"/>
                </a:moveTo>
                <a:cubicBezTo>
                  <a:pt x="7205844" y="5457102"/>
                  <a:pt x="7203314" y="5458965"/>
                  <a:pt x="7201717" y="5460696"/>
                </a:cubicBezTo>
                <a:cubicBezTo>
                  <a:pt x="7199188" y="5463358"/>
                  <a:pt x="7198123" y="5466153"/>
                  <a:pt x="7198123" y="5470147"/>
                </a:cubicBezTo>
                <a:cubicBezTo>
                  <a:pt x="7198123" y="5474274"/>
                  <a:pt x="7199188" y="5477069"/>
                  <a:pt x="7201717" y="5479598"/>
                </a:cubicBezTo>
                <a:cubicBezTo>
                  <a:pt x="7203314" y="5481197"/>
                  <a:pt x="7205844" y="5483060"/>
                  <a:pt x="7211701" y="5483060"/>
                </a:cubicBezTo>
                <a:cubicBezTo>
                  <a:pt x="7213830" y="5483060"/>
                  <a:pt x="7215561" y="5482794"/>
                  <a:pt x="7217026" y="5482128"/>
                </a:cubicBezTo>
                <a:cubicBezTo>
                  <a:pt x="7218490" y="5481596"/>
                  <a:pt x="7219821" y="5480664"/>
                  <a:pt x="7220752" y="5479731"/>
                </a:cubicBezTo>
                <a:cubicBezTo>
                  <a:pt x="7221818" y="5478533"/>
                  <a:pt x="7222750" y="5477202"/>
                  <a:pt x="7223415" y="5475472"/>
                </a:cubicBezTo>
                <a:cubicBezTo>
                  <a:pt x="7224214" y="5473874"/>
                  <a:pt x="7224480" y="5472010"/>
                  <a:pt x="7224480" y="5470014"/>
                </a:cubicBezTo>
                <a:cubicBezTo>
                  <a:pt x="7224480" y="5468150"/>
                  <a:pt x="7224080" y="5466420"/>
                  <a:pt x="7223415" y="5464822"/>
                </a:cubicBezTo>
                <a:cubicBezTo>
                  <a:pt x="7222750" y="5463225"/>
                  <a:pt x="7221818" y="5461894"/>
                  <a:pt x="7220752" y="5460696"/>
                </a:cubicBezTo>
                <a:cubicBezTo>
                  <a:pt x="7219687" y="5459631"/>
                  <a:pt x="7218356" y="5458699"/>
                  <a:pt x="7216759" y="5458033"/>
                </a:cubicBezTo>
                <a:cubicBezTo>
                  <a:pt x="7215295" y="5457368"/>
                  <a:pt x="7213698" y="5457102"/>
                  <a:pt x="7211701" y="5457102"/>
                </a:cubicBezTo>
                <a:close/>
                <a:moveTo>
                  <a:pt x="6994056" y="5457102"/>
                </a:moveTo>
                <a:cubicBezTo>
                  <a:pt x="6988199" y="5457102"/>
                  <a:pt x="6985669" y="5458965"/>
                  <a:pt x="6984072" y="5460696"/>
                </a:cubicBezTo>
                <a:cubicBezTo>
                  <a:pt x="6981543" y="5463358"/>
                  <a:pt x="6980478" y="5466153"/>
                  <a:pt x="6980478" y="5470147"/>
                </a:cubicBezTo>
                <a:cubicBezTo>
                  <a:pt x="6980478" y="5474274"/>
                  <a:pt x="6981543" y="5477069"/>
                  <a:pt x="6984072" y="5479598"/>
                </a:cubicBezTo>
                <a:cubicBezTo>
                  <a:pt x="6985669" y="5481197"/>
                  <a:pt x="6988199" y="5483060"/>
                  <a:pt x="6994056" y="5483060"/>
                </a:cubicBezTo>
                <a:cubicBezTo>
                  <a:pt x="6996185" y="5483060"/>
                  <a:pt x="6997916" y="5482794"/>
                  <a:pt x="6999380" y="5482128"/>
                </a:cubicBezTo>
                <a:cubicBezTo>
                  <a:pt x="7000844" y="5481596"/>
                  <a:pt x="7002176" y="5480664"/>
                  <a:pt x="7003107" y="5479731"/>
                </a:cubicBezTo>
                <a:cubicBezTo>
                  <a:pt x="7004172" y="5478533"/>
                  <a:pt x="7005104" y="5477202"/>
                  <a:pt x="7005769" y="5475472"/>
                </a:cubicBezTo>
                <a:cubicBezTo>
                  <a:pt x="7006568" y="5473874"/>
                  <a:pt x="7006834" y="5472010"/>
                  <a:pt x="7006834" y="5470014"/>
                </a:cubicBezTo>
                <a:cubicBezTo>
                  <a:pt x="7006834" y="5468150"/>
                  <a:pt x="7006435" y="5466420"/>
                  <a:pt x="7005769" y="5464822"/>
                </a:cubicBezTo>
                <a:cubicBezTo>
                  <a:pt x="7005104" y="5463225"/>
                  <a:pt x="7004172" y="5461894"/>
                  <a:pt x="7003107" y="5460696"/>
                </a:cubicBezTo>
                <a:cubicBezTo>
                  <a:pt x="7002042" y="5459631"/>
                  <a:pt x="7000711" y="5458699"/>
                  <a:pt x="6999113" y="5458033"/>
                </a:cubicBezTo>
                <a:cubicBezTo>
                  <a:pt x="6997649" y="5457368"/>
                  <a:pt x="6996052" y="5457102"/>
                  <a:pt x="6994056" y="5457102"/>
                </a:cubicBezTo>
                <a:close/>
                <a:moveTo>
                  <a:pt x="6776544" y="5457102"/>
                </a:moveTo>
                <a:cubicBezTo>
                  <a:pt x="6770687" y="5457102"/>
                  <a:pt x="6768157" y="5458965"/>
                  <a:pt x="6766560" y="5460696"/>
                </a:cubicBezTo>
                <a:cubicBezTo>
                  <a:pt x="6764031" y="5463358"/>
                  <a:pt x="6762966" y="5466153"/>
                  <a:pt x="6762966" y="5470147"/>
                </a:cubicBezTo>
                <a:cubicBezTo>
                  <a:pt x="6762966" y="5474274"/>
                  <a:pt x="6764031" y="5477069"/>
                  <a:pt x="6766560" y="5479598"/>
                </a:cubicBezTo>
                <a:cubicBezTo>
                  <a:pt x="6768157" y="5481197"/>
                  <a:pt x="6770687" y="5483060"/>
                  <a:pt x="6776544" y="5483060"/>
                </a:cubicBezTo>
                <a:cubicBezTo>
                  <a:pt x="6778541" y="5483060"/>
                  <a:pt x="6780270" y="5482794"/>
                  <a:pt x="6781869" y="5482128"/>
                </a:cubicBezTo>
                <a:cubicBezTo>
                  <a:pt x="6783333" y="5481596"/>
                  <a:pt x="6784664" y="5480664"/>
                  <a:pt x="6785595" y="5479731"/>
                </a:cubicBezTo>
                <a:cubicBezTo>
                  <a:pt x="6786661" y="5478533"/>
                  <a:pt x="6787593" y="5477202"/>
                  <a:pt x="6788258" y="5475472"/>
                </a:cubicBezTo>
                <a:cubicBezTo>
                  <a:pt x="6789057" y="5473874"/>
                  <a:pt x="6789323" y="5472010"/>
                  <a:pt x="6789323" y="5470014"/>
                </a:cubicBezTo>
                <a:cubicBezTo>
                  <a:pt x="6789323" y="5468150"/>
                  <a:pt x="6788923" y="5466420"/>
                  <a:pt x="6788258" y="5464822"/>
                </a:cubicBezTo>
                <a:cubicBezTo>
                  <a:pt x="6787593" y="5463225"/>
                  <a:pt x="6786661" y="5461894"/>
                  <a:pt x="6785595" y="5460696"/>
                </a:cubicBezTo>
                <a:cubicBezTo>
                  <a:pt x="6784530" y="5459631"/>
                  <a:pt x="6783199" y="5458699"/>
                  <a:pt x="6781602" y="5458033"/>
                </a:cubicBezTo>
                <a:cubicBezTo>
                  <a:pt x="6780138" y="5457368"/>
                  <a:pt x="6778541" y="5457102"/>
                  <a:pt x="6776544" y="5457102"/>
                </a:cubicBezTo>
                <a:close/>
                <a:moveTo>
                  <a:pt x="6558899" y="5457102"/>
                </a:moveTo>
                <a:cubicBezTo>
                  <a:pt x="6553042" y="5457102"/>
                  <a:pt x="6550512" y="5458965"/>
                  <a:pt x="6548915" y="5460696"/>
                </a:cubicBezTo>
                <a:cubicBezTo>
                  <a:pt x="6546386" y="5463358"/>
                  <a:pt x="6545321" y="5466153"/>
                  <a:pt x="6545321" y="5470147"/>
                </a:cubicBezTo>
                <a:cubicBezTo>
                  <a:pt x="6545321" y="5474274"/>
                  <a:pt x="6546386" y="5477069"/>
                  <a:pt x="6548915" y="5479598"/>
                </a:cubicBezTo>
                <a:cubicBezTo>
                  <a:pt x="6550512" y="5481197"/>
                  <a:pt x="6553042" y="5483060"/>
                  <a:pt x="6558899" y="5483060"/>
                </a:cubicBezTo>
                <a:cubicBezTo>
                  <a:pt x="6560895" y="5483060"/>
                  <a:pt x="6562759" y="5482794"/>
                  <a:pt x="6564223" y="5482128"/>
                </a:cubicBezTo>
                <a:cubicBezTo>
                  <a:pt x="6565687" y="5481596"/>
                  <a:pt x="6567019" y="5480664"/>
                  <a:pt x="6567950" y="5479731"/>
                </a:cubicBezTo>
                <a:cubicBezTo>
                  <a:pt x="6569015" y="5478533"/>
                  <a:pt x="6569947" y="5477202"/>
                  <a:pt x="6570612" y="5475472"/>
                </a:cubicBezTo>
                <a:cubicBezTo>
                  <a:pt x="6571412" y="5473874"/>
                  <a:pt x="6571677" y="5472010"/>
                  <a:pt x="6571677" y="5470014"/>
                </a:cubicBezTo>
                <a:cubicBezTo>
                  <a:pt x="6571677" y="5468150"/>
                  <a:pt x="6571278" y="5466420"/>
                  <a:pt x="6570612" y="5464822"/>
                </a:cubicBezTo>
                <a:cubicBezTo>
                  <a:pt x="6569947" y="5463225"/>
                  <a:pt x="6569015" y="5461894"/>
                  <a:pt x="6567950" y="5460696"/>
                </a:cubicBezTo>
                <a:cubicBezTo>
                  <a:pt x="6566885" y="5459631"/>
                  <a:pt x="6565554" y="5458699"/>
                  <a:pt x="6563956" y="5458033"/>
                </a:cubicBezTo>
                <a:cubicBezTo>
                  <a:pt x="6562492" y="5457368"/>
                  <a:pt x="6560895" y="5457102"/>
                  <a:pt x="6558899" y="5457102"/>
                </a:cubicBezTo>
                <a:close/>
                <a:moveTo>
                  <a:pt x="6341253" y="5457102"/>
                </a:moveTo>
                <a:cubicBezTo>
                  <a:pt x="6335396" y="5457102"/>
                  <a:pt x="6332867" y="5458965"/>
                  <a:pt x="6331270" y="5460696"/>
                </a:cubicBezTo>
                <a:cubicBezTo>
                  <a:pt x="6328740" y="5463358"/>
                  <a:pt x="6327675" y="5466153"/>
                  <a:pt x="6327675" y="5470147"/>
                </a:cubicBezTo>
                <a:cubicBezTo>
                  <a:pt x="6327675" y="5474274"/>
                  <a:pt x="6328740" y="5477069"/>
                  <a:pt x="6331270" y="5479598"/>
                </a:cubicBezTo>
                <a:cubicBezTo>
                  <a:pt x="6332867" y="5481197"/>
                  <a:pt x="6335396" y="5483060"/>
                  <a:pt x="6341253" y="5483060"/>
                </a:cubicBezTo>
                <a:cubicBezTo>
                  <a:pt x="6343250" y="5483060"/>
                  <a:pt x="6345114" y="5482794"/>
                  <a:pt x="6346578" y="5482128"/>
                </a:cubicBezTo>
                <a:cubicBezTo>
                  <a:pt x="6348042" y="5481596"/>
                  <a:pt x="6349373" y="5480664"/>
                  <a:pt x="6350305" y="5479731"/>
                </a:cubicBezTo>
                <a:cubicBezTo>
                  <a:pt x="6351370" y="5478533"/>
                  <a:pt x="6352302" y="5477202"/>
                  <a:pt x="6352968" y="5475472"/>
                </a:cubicBezTo>
                <a:cubicBezTo>
                  <a:pt x="6353766" y="5473874"/>
                  <a:pt x="6354033" y="5472010"/>
                  <a:pt x="6354033" y="5470014"/>
                </a:cubicBezTo>
                <a:cubicBezTo>
                  <a:pt x="6354033" y="5468150"/>
                  <a:pt x="6353633" y="5466420"/>
                  <a:pt x="6352968" y="5464822"/>
                </a:cubicBezTo>
                <a:cubicBezTo>
                  <a:pt x="6352302" y="5463225"/>
                  <a:pt x="6351370" y="5461894"/>
                  <a:pt x="6350305" y="5460696"/>
                </a:cubicBezTo>
                <a:cubicBezTo>
                  <a:pt x="6349241" y="5459631"/>
                  <a:pt x="6347909" y="5458699"/>
                  <a:pt x="6346312" y="5458033"/>
                </a:cubicBezTo>
                <a:cubicBezTo>
                  <a:pt x="6344848" y="5457368"/>
                  <a:pt x="6343250" y="5457102"/>
                  <a:pt x="6341253" y="5457102"/>
                </a:cubicBezTo>
                <a:close/>
                <a:moveTo>
                  <a:pt x="6123608" y="5457102"/>
                </a:moveTo>
                <a:cubicBezTo>
                  <a:pt x="6117751" y="5457102"/>
                  <a:pt x="6115221" y="5458965"/>
                  <a:pt x="6113624" y="5460696"/>
                </a:cubicBezTo>
                <a:cubicBezTo>
                  <a:pt x="6111095" y="5463358"/>
                  <a:pt x="6110030" y="5466153"/>
                  <a:pt x="6110030" y="5470147"/>
                </a:cubicBezTo>
                <a:cubicBezTo>
                  <a:pt x="6110030" y="5474274"/>
                  <a:pt x="6111095" y="5477069"/>
                  <a:pt x="6113624" y="5479598"/>
                </a:cubicBezTo>
                <a:cubicBezTo>
                  <a:pt x="6115221" y="5481197"/>
                  <a:pt x="6117751" y="5483060"/>
                  <a:pt x="6123608" y="5483060"/>
                </a:cubicBezTo>
                <a:cubicBezTo>
                  <a:pt x="6125737" y="5483060"/>
                  <a:pt x="6127468" y="5482794"/>
                  <a:pt x="6128932" y="5482128"/>
                </a:cubicBezTo>
                <a:cubicBezTo>
                  <a:pt x="6130530" y="5481596"/>
                  <a:pt x="6131728" y="5480664"/>
                  <a:pt x="6132659" y="5479731"/>
                </a:cubicBezTo>
                <a:cubicBezTo>
                  <a:pt x="6133724" y="5478533"/>
                  <a:pt x="6134656" y="5477202"/>
                  <a:pt x="6135322" y="5475472"/>
                </a:cubicBezTo>
                <a:cubicBezTo>
                  <a:pt x="6135987" y="5473874"/>
                  <a:pt x="6136387" y="5472010"/>
                  <a:pt x="6136387" y="5470014"/>
                </a:cubicBezTo>
                <a:cubicBezTo>
                  <a:pt x="6136387" y="5468150"/>
                  <a:pt x="6135987" y="5466420"/>
                  <a:pt x="6135322" y="5464822"/>
                </a:cubicBezTo>
                <a:cubicBezTo>
                  <a:pt x="6134656" y="5463225"/>
                  <a:pt x="6133724" y="5461894"/>
                  <a:pt x="6132659" y="5460696"/>
                </a:cubicBezTo>
                <a:cubicBezTo>
                  <a:pt x="6131594" y="5459631"/>
                  <a:pt x="6130263" y="5458699"/>
                  <a:pt x="6128666" y="5458033"/>
                </a:cubicBezTo>
                <a:cubicBezTo>
                  <a:pt x="6127202" y="5457368"/>
                  <a:pt x="6125604" y="5457102"/>
                  <a:pt x="6123608" y="5457102"/>
                </a:cubicBezTo>
                <a:close/>
                <a:moveTo>
                  <a:pt x="5905963" y="5457102"/>
                </a:moveTo>
                <a:cubicBezTo>
                  <a:pt x="5900106" y="5457102"/>
                  <a:pt x="5897576" y="5458965"/>
                  <a:pt x="5895979" y="5460696"/>
                </a:cubicBezTo>
                <a:cubicBezTo>
                  <a:pt x="5893450" y="5463358"/>
                  <a:pt x="5892385" y="5466153"/>
                  <a:pt x="5892385" y="5470147"/>
                </a:cubicBezTo>
                <a:cubicBezTo>
                  <a:pt x="5892385" y="5474274"/>
                  <a:pt x="5893450" y="5477069"/>
                  <a:pt x="5895979" y="5479598"/>
                </a:cubicBezTo>
                <a:cubicBezTo>
                  <a:pt x="5897576" y="5481197"/>
                  <a:pt x="5900106" y="5483060"/>
                  <a:pt x="5905963" y="5483060"/>
                </a:cubicBezTo>
                <a:cubicBezTo>
                  <a:pt x="5908093" y="5483060"/>
                  <a:pt x="5909823" y="5482794"/>
                  <a:pt x="5911287" y="5482128"/>
                </a:cubicBezTo>
                <a:cubicBezTo>
                  <a:pt x="5912751" y="5481596"/>
                  <a:pt x="5914083" y="5480664"/>
                  <a:pt x="5915014" y="5479731"/>
                </a:cubicBezTo>
                <a:cubicBezTo>
                  <a:pt x="5916079" y="5478533"/>
                  <a:pt x="5917011" y="5477202"/>
                  <a:pt x="5917677" y="5475472"/>
                </a:cubicBezTo>
                <a:cubicBezTo>
                  <a:pt x="5918342" y="5473874"/>
                  <a:pt x="5918742" y="5472010"/>
                  <a:pt x="5918742" y="5470014"/>
                </a:cubicBezTo>
                <a:cubicBezTo>
                  <a:pt x="5918742" y="5468150"/>
                  <a:pt x="5918342" y="5466420"/>
                  <a:pt x="5917677" y="5464822"/>
                </a:cubicBezTo>
                <a:cubicBezTo>
                  <a:pt x="5917011" y="5463225"/>
                  <a:pt x="5916079" y="5461894"/>
                  <a:pt x="5915014" y="5460696"/>
                </a:cubicBezTo>
                <a:cubicBezTo>
                  <a:pt x="5913950" y="5459631"/>
                  <a:pt x="5912618" y="5458699"/>
                  <a:pt x="5911021" y="5458033"/>
                </a:cubicBezTo>
                <a:cubicBezTo>
                  <a:pt x="5909557" y="5457368"/>
                  <a:pt x="5907826" y="5457102"/>
                  <a:pt x="5905963" y="5457102"/>
                </a:cubicBezTo>
                <a:close/>
                <a:moveTo>
                  <a:pt x="5688451" y="5457102"/>
                </a:moveTo>
                <a:cubicBezTo>
                  <a:pt x="5682594" y="5457102"/>
                  <a:pt x="5680064" y="5458965"/>
                  <a:pt x="5678467" y="5460696"/>
                </a:cubicBezTo>
                <a:cubicBezTo>
                  <a:pt x="5675938" y="5463358"/>
                  <a:pt x="5674873" y="5466153"/>
                  <a:pt x="5674873" y="5470147"/>
                </a:cubicBezTo>
                <a:cubicBezTo>
                  <a:pt x="5674873" y="5474274"/>
                  <a:pt x="5675938" y="5477069"/>
                  <a:pt x="5678467" y="5479598"/>
                </a:cubicBezTo>
                <a:cubicBezTo>
                  <a:pt x="5680064" y="5481197"/>
                  <a:pt x="5682594" y="5483060"/>
                  <a:pt x="5688451" y="5483060"/>
                </a:cubicBezTo>
                <a:cubicBezTo>
                  <a:pt x="5690447" y="5483060"/>
                  <a:pt x="5692178" y="5482794"/>
                  <a:pt x="5693775" y="5482128"/>
                </a:cubicBezTo>
                <a:cubicBezTo>
                  <a:pt x="5695239" y="5481596"/>
                  <a:pt x="5696571" y="5480664"/>
                  <a:pt x="5697502" y="5479731"/>
                </a:cubicBezTo>
                <a:cubicBezTo>
                  <a:pt x="5698567" y="5478533"/>
                  <a:pt x="5699499" y="5477202"/>
                  <a:pt x="5700165" y="5475472"/>
                </a:cubicBezTo>
                <a:cubicBezTo>
                  <a:pt x="5700830" y="5473874"/>
                  <a:pt x="5701230" y="5472010"/>
                  <a:pt x="5701230" y="5470014"/>
                </a:cubicBezTo>
                <a:cubicBezTo>
                  <a:pt x="5701230" y="5468150"/>
                  <a:pt x="5700830" y="5466420"/>
                  <a:pt x="5700165" y="5464822"/>
                </a:cubicBezTo>
                <a:cubicBezTo>
                  <a:pt x="5699499" y="5463225"/>
                  <a:pt x="5698567" y="5461894"/>
                  <a:pt x="5697502" y="5460696"/>
                </a:cubicBezTo>
                <a:cubicBezTo>
                  <a:pt x="5696437" y="5459631"/>
                  <a:pt x="5695106" y="5458699"/>
                  <a:pt x="5693509" y="5458033"/>
                </a:cubicBezTo>
                <a:cubicBezTo>
                  <a:pt x="5692045" y="5457368"/>
                  <a:pt x="5690314" y="5457102"/>
                  <a:pt x="5688451" y="5457102"/>
                </a:cubicBezTo>
                <a:close/>
                <a:moveTo>
                  <a:pt x="5470806" y="5457102"/>
                </a:moveTo>
                <a:cubicBezTo>
                  <a:pt x="5464949" y="5457102"/>
                  <a:pt x="5462419" y="5458965"/>
                  <a:pt x="5460822" y="5460696"/>
                </a:cubicBezTo>
                <a:cubicBezTo>
                  <a:pt x="5458293" y="5463358"/>
                  <a:pt x="5457228" y="5466153"/>
                  <a:pt x="5457228" y="5470147"/>
                </a:cubicBezTo>
                <a:cubicBezTo>
                  <a:pt x="5457228" y="5474274"/>
                  <a:pt x="5458293" y="5477069"/>
                  <a:pt x="5460822" y="5479598"/>
                </a:cubicBezTo>
                <a:cubicBezTo>
                  <a:pt x="5462419" y="5481197"/>
                  <a:pt x="5464949" y="5483060"/>
                  <a:pt x="5470806" y="5483060"/>
                </a:cubicBezTo>
                <a:cubicBezTo>
                  <a:pt x="5472802" y="5483060"/>
                  <a:pt x="5474666" y="5482794"/>
                  <a:pt x="5476130" y="5482128"/>
                </a:cubicBezTo>
                <a:cubicBezTo>
                  <a:pt x="5477594" y="5481596"/>
                  <a:pt x="5478926" y="5480664"/>
                  <a:pt x="5479857" y="5479731"/>
                </a:cubicBezTo>
                <a:cubicBezTo>
                  <a:pt x="5480922" y="5478533"/>
                  <a:pt x="5481854" y="5477202"/>
                  <a:pt x="5482520" y="5475472"/>
                </a:cubicBezTo>
                <a:cubicBezTo>
                  <a:pt x="5483319" y="5473874"/>
                  <a:pt x="5483585" y="5472010"/>
                  <a:pt x="5483585" y="5470014"/>
                </a:cubicBezTo>
                <a:cubicBezTo>
                  <a:pt x="5483585" y="5468150"/>
                  <a:pt x="5483185" y="5466420"/>
                  <a:pt x="5482520" y="5464822"/>
                </a:cubicBezTo>
                <a:cubicBezTo>
                  <a:pt x="5481854" y="5463225"/>
                  <a:pt x="5480922" y="5461894"/>
                  <a:pt x="5479857" y="5460696"/>
                </a:cubicBezTo>
                <a:cubicBezTo>
                  <a:pt x="5478793" y="5459631"/>
                  <a:pt x="5477461" y="5458699"/>
                  <a:pt x="5475864" y="5458033"/>
                </a:cubicBezTo>
                <a:cubicBezTo>
                  <a:pt x="5474400" y="5457368"/>
                  <a:pt x="5472669" y="5457102"/>
                  <a:pt x="5470806" y="5457102"/>
                </a:cubicBezTo>
                <a:close/>
                <a:moveTo>
                  <a:pt x="5253160" y="5457102"/>
                </a:moveTo>
                <a:cubicBezTo>
                  <a:pt x="5247303" y="5457102"/>
                  <a:pt x="5244774" y="5458965"/>
                  <a:pt x="5243177" y="5460696"/>
                </a:cubicBezTo>
                <a:cubicBezTo>
                  <a:pt x="5240647" y="5463358"/>
                  <a:pt x="5239583" y="5466153"/>
                  <a:pt x="5239583" y="5470147"/>
                </a:cubicBezTo>
                <a:cubicBezTo>
                  <a:pt x="5239583" y="5474274"/>
                  <a:pt x="5240647" y="5477069"/>
                  <a:pt x="5243177" y="5479598"/>
                </a:cubicBezTo>
                <a:cubicBezTo>
                  <a:pt x="5244774" y="5481197"/>
                  <a:pt x="5247303" y="5483060"/>
                  <a:pt x="5253160" y="5483060"/>
                </a:cubicBezTo>
                <a:cubicBezTo>
                  <a:pt x="5255157" y="5483060"/>
                  <a:pt x="5257021" y="5482794"/>
                  <a:pt x="5258485" y="5482128"/>
                </a:cubicBezTo>
                <a:cubicBezTo>
                  <a:pt x="5259949" y="5481596"/>
                  <a:pt x="5261280" y="5480664"/>
                  <a:pt x="5262212" y="5479731"/>
                </a:cubicBezTo>
                <a:cubicBezTo>
                  <a:pt x="5263277" y="5478533"/>
                  <a:pt x="5264209" y="5477202"/>
                  <a:pt x="5264875" y="5475472"/>
                </a:cubicBezTo>
                <a:cubicBezTo>
                  <a:pt x="5265673" y="5473874"/>
                  <a:pt x="5265939" y="5472010"/>
                  <a:pt x="5265939" y="5470014"/>
                </a:cubicBezTo>
                <a:cubicBezTo>
                  <a:pt x="5265939" y="5468150"/>
                  <a:pt x="5265540" y="5466420"/>
                  <a:pt x="5264875" y="5464822"/>
                </a:cubicBezTo>
                <a:cubicBezTo>
                  <a:pt x="5264209" y="5463225"/>
                  <a:pt x="5263277" y="5461894"/>
                  <a:pt x="5262212" y="5460696"/>
                </a:cubicBezTo>
                <a:cubicBezTo>
                  <a:pt x="5261147" y="5459631"/>
                  <a:pt x="5259816" y="5458699"/>
                  <a:pt x="5258219" y="5458033"/>
                </a:cubicBezTo>
                <a:cubicBezTo>
                  <a:pt x="5256754" y="5457368"/>
                  <a:pt x="5255024" y="5457102"/>
                  <a:pt x="5253160" y="5457102"/>
                </a:cubicBezTo>
                <a:close/>
                <a:moveTo>
                  <a:pt x="5035515" y="5457102"/>
                </a:moveTo>
                <a:cubicBezTo>
                  <a:pt x="5029658" y="5457102"/>
                  <a:pt x="5027129" y="5458965"/>
                  <a:pt x="5025532" y="5460696"/>
                </a:cubicBezTo>
                <a:cubicBezTo>
                  <a:pt x="5023002" y="5463358"/>
                  <a:pt x="5021938" y="5466153"/>
                  <a:pt x="5021938" y="5470147"/>
                </a:cubicBezTo>
                <a:cubicBezTo>
                  <a:pt x="5021938" y="5474274"/>
                  <a:pt x="5023002" y="5477069"/>
                  <a:pt x="5025532" y="5479598"/>
                </a:cubicBezTo>
                <a:cubicBezTo>
                  <a:pt x="5027129" y="5481197"/>
                  <a:pt x="5029658" y="5483060"/>
                  <a:pt x="5035515" y="5483060"/>
                </a:cubicBezTo>
                <a:cubicBezTo>
                  <a:pt x="5037645" y="5483060"/>
                  <a:pt x="5039376" y="5482794"/>
                  <a:pt x="5040840" y="5482128"/>
                </a:cubicBezTo>
                <a:cubicBezTo>
                  <a:pt x="5042304" y="5481596"/>
                  <a:pt x="5043636" y="5480664"/>
                  <a:pt x="5044567" y="5479731"/>
                </a:cubicBezTo>
                <a:cubicBezTo>
                  <a:pt x="5045632" y="5478533"/>
                  <a:pt x="5046564" y="5477202"/>
                  <a:pt x="5047230" y="5475472"/>
                </a:cubicBezTo>
                <a:cubicBezTo>
                  <a:pt x="5048028" y="5473874"/>
                  <a:pt x="5048294" y="5472010"/>
                  <a:pt x="5048294" y="5470014"/>
                </a:cubicBezTo>
                <a:cubicBezTo>
                  <a:pt x="5048294" y="5468150"/>
                  <a:pt x="5047895" y="5466420"/>
                  <a:pt x="5047230" y="5464822"/>
                </a:cubicBezTo>
                <a:cubicBezTo>
                  <a:pt x="5046564" y="5463225"/>
                  <a:pt x="5045632" y="5461894"/>
                  <a:pt x="5044567" y="5460696"/>
                </a:cubicBezTo>
                <a:cubicBezTo>
                  <a:pt x="5043502" y="5459631"/>
                  <a:pt x="5042171" y="5458699"/>
                  <a:pt x="5040574" y="5458033"/>
                </a:cubicBezTo>
                <a:cubicBezTo>
                  <a:pt x="5039110" y="5457368"/>
                  <a:pt x="5037379" y="5457102"/>
                  <a:pt x="5035515" y="5457102"/>
                </a:cubicBezTo>
                <a:close/>
                <a:moveTo>
                  <a:pt x="4817870" y="5457102"/>
                </a:moveTo>
                <a:cubicBezTo>
                  <a:pt x="4812013" y="5457102"/>
                  <a:pt x="4809484" y="5458965"/>
                  <a:pt x="4807887" y="5460696"/>
                </a:cubicBezTo>
                <a:cubicBezTo>
                  <a:pt x="4805357" y="5463358"/>
                  <a:pt x="4804293" y="5466153"/>
                  <a:pt x="4804293" y="5470147"/>
                </a:cubicBezTo>
                <a:cubicBezTo>
                  <a:pt x="4804293" y="5474274"/>
                  <a:pt x="4805357" y="5477069"/>
                  <a:pt x="4807887" y="5479598"/>
                </a:cubicBezTo>
                <a:cubicBezTo>
                  <a:pt x="4809484" y="5481197"/>
                  <a:pt x="4812013" y="5483060"/>
                  <a:pt x="4817870" y="5483060"/>
                </a:cubicBezTo>
                <a:cubicBezTo>
                  <a:pt x="4820000" y="5483060"/>
                  <a:pt x="4821731" y="5482794"/>
                  <a:pt x="4823195" y="5482128"/>
                </a:cubicBezTo>
                <a:cubicBezTo>
                  <a:pt x="4824659" y="5481596"/>
                  <a:pt x="4825857" y="5480664"/>
                  <a:pt x="4826922" y="5479731"/>
                </a:cubicBezTo>
                <a:cubicBezTo>
                  <a:pt x="4827987" y="5478533"/>
                  <a:pt x="4828919" y="5477202"/>
                  <a:pt x="4829585" y="5475472"/>
                </a:cubicBezTo>
                <a:cubicBezTo>
                  <a:pt x="4830383" y="5473874"/>
                  <a:pt x="4830650" y="5472010"/>
                  <a:pt x="4830650" y="5470014"/>
                </a:cubicBezTo>
                <a:cubicBezTo>
                  <a:pt x="4830650" y="5468150"/>
                  <a:pt x="4830250" y="5466420"/>
                  <a:pt x="4829585" y="5464822"/>
                </a:cubicBezTo>
                <a:cubicBezTo>
                  <a:pt x="4828919" y="5463225"/>
                  <a:pt x="4827987" y="5461894"/>
                  <a:pt x="4826922" y="5460696"/>
                </a:cubicBezTo>
                <a:cubicBezTo>
                  <a:pt x="4825857" y="5459631"/>
                  <a:pt x="4824526" y="5458699"/>
                  <a:pt x="4822929" y="5458033"/>
                </a:cubicBezTo>
                <a:cubicBezTo>
                  <a:pt x="4821465" y="5457368"/>
                  <a:pt x="4819734" y="5457102"/>
                  <a:pt x="4817870" y="5457102"/>
                </a:cubicBezTo>
                <a:close/>
                <a:moveTo>
                  <a:pt x="4600226" y="5457102"/>
                </a:moveTo>
                <a:cubicBezTo>
                  <a:pt x="4594369" y="5457102"/>
                  <a:pt x="4591839" y="5458965"/>
                  <a:pt x="4590242" y="5460696"/>
                </a:cubicBezTo>
                <a:cubicBezTo>
                  <a:pt x="4587713" y="5463358"/>
                  <a:pt x="4586648" y="5466153"/>
                  <a:pt x="4586648" y="5470147"/>
                </a:cubicBezTo>
                <a:cubicBezTo>
                  <a:pt x="4586648" y="5474274"/>
                  <a:pt x="4587713" y="5477069"/>
                  <a:pt x="4590242" y="5479598"/>
                </a:cubicBezTo>
                <a:cubicBezTo>
                  <a:pt x="4591839" y="5481197"/>
                  <a:pt x="4594369" y="5483060"/>
                  <a:pt x="4600226" y="5483060"/>
                </a:cubicBezTo>
                <a:cubicBezTo>
                  <a:pt x="4602355" y="5483060"/>
                  <a:pt x="4604086" y="5482794"/>
                  <a:pt x="4605550" y="5482128"/>
                </a:cubicBezTo>
                <a:cubicBezTo>
                  <a:pt x="4607148" y="5481596"/>
                  <a:pt x="4608346" y="5480664"/>
                  <a:pt x="4609277" y="5479731"/>
                </a:cubicBezTo>
                <a:cubicBezTo>
                  <a:pt x="4610342" y="5478533"/>
                  <a:pt x="4611274" y="5477202"/>
                  <a:pt x="4611940" y="5475472"/>
                </a:cubicBezTo>
                <a:cubicBezTo>
                  <a:pt x="4612605" y="5473874"/>
                  <a:pt x="4613005" y="5472010"/>
                  <a:pt x="4613005" y="5470014"/>
                </a:cubicBezTo>
                <a:cubicBezTo>
                  <a:pt x="4613005" y="5468150"/>
                  <a:pt x="4612605" y="5466420"/>
                  <a:pt x="4611940" y="5464822"/>
                </a:cubicBezTo>
                <a:cubicBezTo>
                  <a:pt x="4611274" y="5463225"/>
                  <a:pt x="4610342" y="5461894"/>
                  <a:pt x="4609277" y="5460696"/>
                </a:cubicBezTo>
                <a:cubicBezTo>
                  <a:pt x="4608212" y="5459631"/>
                  <a:pt x="4606881" y="5458699"/>
                  <a:pt x="4605284" y="5458033"/>
                </a:cubicBezTo>
                <a:cubicBezTo>
                  <a:pt x="4603820" y="5457368"/>
                  <a:pt x="4602222" y="5457102"/>
                  <a:pt x="4600226" y="5457102"/>
                </a:cubicBezTo>
                <a:close/>
                <a:moveTo>
                  <a:pt x="4382713" y="5457102"/>
                </a:moveTo>
                <a:cubicBezTo>
                  <a:pt x="4376857" y="5457102"/>
                  <a:pt x="4374327" y="5458965"/>
                  <a:pt x="4372730" y="5460696"/>
                </a:cubicBezTo>
                <a:cubicBezTo>
                  <a:pt x="4370201" y="5463358"/>
                  <a:pt x="4369136" y="5466153"/>
                  <a:pt x="4369136" y="5470147"/>
                </a:cubicBezTo>
                <a:cubicBezTo>
                  <a:pt x="4369136" y="5474274"/>
                  <a:pt x="4370201" y="5477069"/>
                  <a:pt x="4372730" y="5479598"/>
                </a:cubicBezTo>
                <a:cubicBezTo>
                  <a:pt x="4374327" y="5481197"/>
                  <a:pt x="4376857" y="5483060"/>
                  <a:pt x="4382713" y="5483060"/>
                </a:cubicBezTo>
                <a:cubicBezTo>
                  <a:pt x="4384710" y="5483060"/>
                  <a:pt x="4386441" y="5482794"/>
                  <a:pt x="4388038" y="5482128"/>
                </a:cubicBezTo>
                <a:cubicBezTo>
                  <a:pt x="4389502" y="5481596"/>
                  <a:pt x="4390834" y="5480664"/>
                  <a:pt x="4391765" y="5479731"/>
                </a:cubicBezTo>
                <a:cubicBezTo>
                  <a:pt x="4392830" y="5478533"/>
                  <a:pt x="4393762" y="5477202"/>
                  <a:pt x="4394428" y="5475472"/>
                </a:cubicBezTo>
                <a:cubicBezTo>
                  <a:pt x="4395093" y="5473874"/>
                  <a:pt x="4395493" y="5472010"/>
                  <a:pt x="4395493" y="5470014"/>
                </a:cubicBezTo>
                <a:cubicBezTo>
                  <a:pt x="4395493" y="5468150"/>
                  <a:pt x="4395093" y="5466420"/>
                  <a:pt x="4394428" y="5464822"/>
                </a:cubicBezTo>
                <a:cubicBezTo>
                  <a:pt x="4393762" y="5463225"/>
                  <a:pt x="4392830" y="5461894"/>
                  <a:pt x="4391765" y="5460696"/>
                </a:cubicBezTo>
                <a:cubicBezTo>
                  <a:pt x="4390700" y="5459631"/>
                  <a:pt x="4389369" y="5458699"/>
                  <a:pt x="4387772" y="5458033"/>
                </a:cubicBezTo>
                <a:cubicBezTo>
                  <a:pt x="4386308" y="5457368"/>
                  <a:pt x="4384710" y="5457102"/>
                  <a:pt x="4382713" y="5457102"/>
                </a:cubicBezTo>
                <a:close/>
                <a:moveTo>
                  <a:pt x="4165068" y="5457102"/>
                </a:moveTo>
                <a:cubicBezTo>
                  <a:pt x="4159211" y="5457102"/>
                  <a:pt x="4156681" y="5458965"/>
                  <a:pt x="4155084" y="5460696"/>
                </a:cubicBezTo>
                <a:cubicBezTo>
                  <a:pt x="4152555" y="5463358"/>
                  <a:pt x="4151490" y="5466153"/>
                  <a:pt x="4151490" y="5470147"/>
                </a:cubicBezTo>
                <a:cubicBezTo>
                  <a:pt x="4151490" y="5474274"/>
                  <a:pt x="4152555" y="5477069"/>
                  <a:pt x="4155084" y="5479598"/>
                </a:cubicBezTo>
                <a:cubicBezTo>
                  <a:pt x="4156681" y="5481197"/>
                  <a:pt x="4159211" y="5483060"/>
                  <a:pt x="4165068" y="5483060"/>
                </a:cubicBezTo>
                <a:cubicBezTo>
                  <a:pt x="4167064" y="5483060"/>
                  <a:pt x="4168928" y="5482794"/>
                  <a:pt x="4170392" y="5482128"/>
                </a:cubicBezTo>
                <a:cubicBezTo>
                  <a:pt x="4171856" y="5481596"/>
                  <a:pt x="4173188" y="5480664"/>
                  <a:pt x="4174119" y="5479731"/>
                </a:cubicBezTo>
                <a:cubicBezTo>
                  <a:pt x="4175184" y="5478533"/>
                  <a:pt x="4176116" y="5477202"/>
                  <a:pt x="4176782" y="5475472"/>
                </a:cubicBezTo>
                <a:cubicBezTo>
                  <a:pt x="4177447" y="5473874"/>
                  <a:pt x="4177847" y="5472010"/>
                  <a:pt x="4177847" y="5470014"/>
                </a:cubicBezTo>
                <a:cubicBezTo>
                  <a:pt x="4177847" y="5468150"/>
                  <a:pt x="4177447" y="5466420"/>
                  <a:pt x="4176782" y="5464822"/>
                </a:cubicBezTo>
                <a:cubicBezTo>
                  <a:pt x="4176116" y="5463225"/>
                  <a:pt x="4175184" y="5461894"/>
                  <a:pt x="4174119" y="5460696"/>
                </a:cubicBezTo>
                <a:cubicBezTo>
                  <a:pt x="4173054" y="5459631"/>
                  <a:pt x="4171723" y="5458699"/>
                  <a:pt x="4170126" y="5458033"/>
                </a:cubicBezTo>
                <a:cubicBezTo>
                  <a:pt x="4168662" y="5457368"/>
                  <a:pt x="4167064" y="5457102"/>
                  <a:pt x="4165068" y="5457102"/>
                </a:cubicBezTo>
                <a:close/>
                <a:moveTo>
                  <a:pt x="3947721" y="5457102"/>
                </a:moveTo>
                <a:cubicBezTo>
                  <a:pt x="3941863" y="5457102"/>
                  <a:pt x="3939335" y="5458965"/>
                  <a:pt x="3937738" y="5460696"/>
                </a:cubicBezTo>
                <a:cubicBezTo>
                  <a:pt x="3935206" y="5463358"/>
                  <a:pt x="3934143" y="5466153"/>
                  <a:pt x="3934143" y="5470147"/>
                </a:cubicBezTo>
                <a:cubicBezTo>
                  <a:pt x="3934143" y="5474274"/>
                  <a:pt x="3935206" y="5477069"/>
                  <a:pt x="3937738" y="5479598"/>
                </a:cubicBezTo>
                <a:cubicBezTo>
                  <a:pt x="3939335" y="5481197"/>
                  <a:pt x="3941863" y="5483060"/>
                  <a:pt x="3947721" y="5483060"/>
                </a:cubicBezTo>
                <a:cubicBezTo>
                  <a:pt x="3949718" y="5483060"/>
                  <a:pt x="3951583" y="5482794"/>
                  <a:pt x="3953049" y="5482128"/>
                </a:cubicBezTo>
                <a:cubicBezTo>
                  <a:pt x="3954513" y="5481596"/>
                  <a:pt x="3955844" y="5480664"/>
                  <a:pt x="3956776" y="5479731"/>
                </a:cubicBezTo>
                <a:cubicBezTo>
                  <a:pt x="3957841" y="5478533"/>
                  <a:pt x="3958773" y="5477202"/>
                  <a:pt x="3959439" y="5475472"/>
                </a:cubicBezTo>
                <a:cubicBezTo>
                  <a:pt x="3960104" y="5473874"/>
                  <a:pt x="3960504" y="5472010"/>
                  <a:pt x="3960504" y="5470014"/>
                </a:cubicBezTo>
                <a:cubicBezTo>
                  <a:pt x="3960504" y="5468150"/>
                  <a:pt x="3960104" y="5466420"/>
                  <a:pt x="3959439" y="5464822"/>
                </a:cubicBezTo>
                <a:cubicBezTo>
                  <a:pt x="3958773" y="5463225"/>
                  <a:pt x="3957841" y="5461894"/>
                  <a:pt x="3956776" y="5460696"/>
                </a:cubicBezTo>
                <a:cubicBezTo>
                  <a:pt x="3955711" y="5459631"/>
                  <a:pt x="3954380" y="5458699"/>
                  <a:pt x="3952782" y="5458033"/>
                </a:cubicBezTo>
                <a:cubicBezTo>
                  <a:pt x="3951315" y="5457368"/>
                  <a:pt x="3949718" y="5457102"/>
                  <a:pt x="3947721" y="5457102"/>
                </a:cubicBezTo>
                <a:close/>
                <a:moveTo>
                  <a:pt x="3730062" y="5457102"/>
                </a:moveTo>
                <a:cubicBezTo>
                  <a:pt x="3724205" y="5457102"/>
                  <a:pt x="3721676" y="5458965"/>
                  <a:pt x="3720076" y="5460696"/>
                </a:cubicBezTo>
                <a:cubicBezTo>
                  <a:pt x="3717545" y="5463358"/>
                  <a:pt x="3716483" y="5466153"/>
                  <a:pt x="3716483" y="5470147"/>
                </a:cubicBezTo>
                <a:cubicBezTo>
                  <a:pt x="3716483" y="5474274"/>
                  <a:pt x="3717545" y="5477069"/>
                  <a:pt x="3720076" y="5479598"/>
                </a:cubicBezTo>
                <a:cubicBezTo>
                  <a:pt x="3721676" y="5481197"/>
                  <a:pt x="3724205" y="5483060"/>
                  <a:pt x="3730062" y="5483060"/>
                </a:cubicBezTo>
                <a:cubicBezTo>
                  <a:pt x="3732193" y="5483060"/>
                  <a:pt x="3733924" y="5482794"/>
                  <a:pt x="3735387" y="5482128"/>
                </a:cubicBezTo>
                <a:cubicBezTo>
                  <a:pt x="3736852" y="5481596"/>
                  <a:pt x="3738184" y="5480664"/>
                  <a:pt x="3739115" y="5479731"/>
                </a:cubicBezTo>
                <a:cubicBezTo>
                  <a:pt x="3740180" y="5478533"/>
                  <a:pt x="3741112" y="5477202"/>
                  <a:pt x="3741778" y="5475472"/>
                </a:cubicBezTo>
                <a:cubicBezTo>
                  <a:pt x="3742443" y="5473874"/>
                  <a:pt x="3742843" y="5472010"/>
                  <a:pt x="3742843" y="5470014"/>
                </a:cubicBezTo>
                <a:cubicBezTo>
                  <a:pt x="3742843" y="5468150"/>
                  <a:pt x="3742443" y="5466420"/>
                  <a:pt x="3741778" y="5464822"/>
                </a:cubicBezTo>
                <a:cubicBezTo>
                  <a:pt x="3741112" y="5463225"/>
                  <a:pt x="3740180" y="5461894"/>
                  <a:pt x="3739115" y="5460696"/>
                </a:cubicBezTo>
                <a:cubicBezTo>
                  <a:pt x="3738050" y="5459631"/>
                  <a:pt x="3736719" y="5458699"/>
                  <a:pt x="3735122" y="5458033"/>
                </a:cubicBezTo>
                <a:cubicBezTo>
                  <a:pt x="3733657" y="5457368"/>
                  <a:pt x="3732060" y="5457102"/>
                  <a:pt x="3730062" y="5457102"/>
                </a:cubicBezTo>
                <a:close/>
                <a:moveTo>
                  <a:pt x="3512401" y="5457102"/>
                </a:moveTo>
                <a:cubicBezTo>
                  <a:pt x="3506542" y="5457102"/>
                  <a:pt x="3504013" y="5458965"/>
                  <a:pt x="3502413" y="5460696"/>
                </a:cubicBezTo>
                <a:cubicBezTo>
                  <a:pt x="3499883" y="5463358"/>
                  <a:pt x="3498820" y="5466153"/>
                  <a:pt x="3498820" y="5470147"/>
                </a:cubicBezTo>
                <a:cubicBezTo>
                  <a:pt x="3498820" y="5474274"/>
                  <a:pt x="3499883" y="5477069"/>
                  <a:pt x="3502413" y="5479598"/>
                </a:cubicBezTo>
                <a:cubicBezTo>
                  <a:pt x="3504013" y="5481197"/>
                  <a:pt x="3506542" y="5483060"/>
                  <a:pt x="3512401" y="5483060"/>
                </a:cubicBezTo>
                <a:cubicBezTo>
                  <a:pt x="3514532" y="5483060"/>
                  <a:pt x="3516263" y="5482794"/>
                  <a:pt x="3517727" y="5482128"/>
                </a:cubicBezTo>
                <a:cubicBezTo>
                  <a:pt x="3519192" y="5481596"/>
                  <a:pt x="3520523" y="5480664"/>
                  <a:pt x="3521455" y="5479731"/>
                </a:cubicBezTo>
                <a:cubicBezTo>
                  <a:pt x="3522520" y="5478533"/>
                  <a:pt x="3523451" y="5477202"/>
                  <a:pt x="3524118" y="5475472"/>
                </a:cubicBezTo>
                <a:cubicBezTo>
                  <a:pt x="3524783" y="5473874"/>
                  <a:pt x="3525183" y="5472010"/>
                  <a:pt x="3525183" y="5470014"/>
                </a:cubicBezTo>
                <a:cubicBezTo>
                  <a:pt x="3525183" y="5468150"/>
                  <a:pt x="3524783" y="5466420"/>
                  <a:pt x="3524118" y="5464822"/>
                </a:cubicBezTo>
                <a:cubicBezTo>
                  <a:pt x="3523451" y="5463225"/>
                  <a:pt x="3522520" y="5461894"/>
                  <a:pt x="3521455" y="5460696"/>
                </a:cubicBezTo>
                <a:cubicBezTo>
                  <a:pt x="3520389" y="5459631"/>
                  <a:pt x="3519058" y="5458699"/>
                  <a:pt x="3517462" y="5458033"/>
                </a:cubicBezTo>
                <a:cubicBezTo>
                  <a:pt x="3515998" y="5457368"/>
                  <a:pt x="3514399" y="5457102"/>
                  <a:pt x="3512401" y="5457102"/>
                </a:cubicBezTo>
                <a:close/>
                <a:moveTo>
                  <a:pt x="3294874" y="5457102"/>
                </a:moveTo>
                <a:cubicBezTo>
                  <a:pt x="3289015" y="5457102"/>
                  <a:pt x="3286485" y="5458965"/>
                  <a:pt x="3284888" y="5460696"/>
                </a:cubicBezTo>
                <a:cubicBezTo>
                  <a:pt x="3282357" y="5463358"/>
                  <a:pt x="3281294" y="5466153"/>
                  <a:pt x="3281294" y="5470147"/>
                </a:cubicBezTo>
                <a:cubicBezTo>
                  <a:pt x="3281294" y="5474274"/>
                  <a:pt x="3282357" y="5477069"/>
                  <a:pt x="3284888" y="5479598"/>
                </a:cubicBezTo>
                <a:cubicBezTo>
                  <a:pt x="3286485" y="5481197"/>
                  <a:pt x="3289015" y="5483060"/>
                  <a:pt x="3294874" y="5483060"/>
                </a:cubicBezTo>
                <a:cubicBezTo>
                  <a:pt x="3296871" y="5483060"/>
                  <a:pt x="3298602" y="5482794"/>
                  <a:pt x="3300200" y="5482128"/>
                </a:cubicBezTo>
                <a:cubicBezTo>
                  <a:pt x="3301664" y="5481596"/>
                  <a:pt x="3302996" y="5480664"/>
                  <a:pt x="3303927" y="5479731"/>
                </a:cubicBezTo>
                <a:cubicBezTo>
                  <a:pt x="3304992" y="5478533"/>
                  <a:pt x="3305924" y="5477202"/>
                  <a:pt x="3306590" y="5475472"/>
                </a:cubicBezTo>
                <a:cubicBezTo>
                  <a:pt x="3307255" y="5473874"/>
                  <a:pt x="3307654" y="5472010"/>
                  <a:pt x="3307654" y="5470014"/>
                </a:cubicBezTo>
                <a:cubicBezTo>
                  <a:pt x="3307654" y="5468150"/>
                  <a:pt x="3307255" y="5466420"/>
                  <a:pt x="3306590" y="5464822"/>
                </a:cubicBezTo>
                <a:cubicBezTo>
                  <a:pt x="3305924" y="5463225"/>
                  <a:pt x="3304992" y="5461894"/>
                  <a:pt x="3303927" y="5460696"/>
                </a:cubicBezTo>
                <a:cubicBezTo>
                  <a:pt x="3302862" y="5459631"/>
                  <a:pt x="3301531" y="5458699"/>
                  <a:pt x="3299934" y="5458033"/>
                </a:cubicBezTo>
                <a:cubicBezTo>
                  <a:pt x="3298470" y="5457368"/>
                  <a:pt x="3296871" y="5457102"/>
                  <a:pt x="3294874" y="5457102"/>
                </a:cubicBezTo>
                <a:close/>
                <a:moveTo>
                  <a:pt x="3077347" y="5457102"/>
                </a:moveTo>
                <a:cubicBezTo>
                  <a:pt x="3071489" y="5457102"/>
                  <a:pt x="3068959" y="5458965"/>
                  <a:pt x="3067363" y="5460696"/>
                </a:cubicBezTo>
                <a:cubicBezTo>
                  <a:pt x="3064698" y="5463358"/>
                  <a:pt x="3063633" y="5466153"/>
                  <a:pt x="3063633" y="5470147"/>
                </a:cubicBezTo>
                <a:cubicBezTo>
                  <a:pt x="3063633" y="5474274"/>
                  <a:pt x="3064698" y="5477069"/>
                  <a:pt x="3067229" y="5479598"/>
                </a:cubicBezTo>
                <a:cubicBezTo>
                  <a:pt x="3068826" y="5481197"/>
                  <a:pt x="3071356" y="5483060"/>
                  <a:pt x="3077214" y="5483060"/>
                </a:cubicBezTo>
                <a:cubicBezTo>
                  <a:pt x="3079211" y="5483060"/>
                  <a:pt x="3080941" y="5482794"/>
                  <a:pt x="3082672" y="5482128"/>
                </a:cubicBezTo>
                <a:cubicBezTo>
                  <a:pt x="3084137" y="5481596"/>
                  <a:pt x="3085468" y="5480664"/>
                  <a:pt x="3086399" y="5479731"/>
                </a:cubicBezTo>
                <a:cubicBezTo>
                  <a:pt x="3087464" y="5478533"/>
                  <a:pt x="3088396" y="5477202"/>
                  <a:pt x="3089062" y="5475472"/>
                </a:cubicBezTo>
                <a:cubicBezTo>
                  <a:pt x="3089727" y="5473874"/>
                  <a:pt x="3089994" y="5472010"/>
                  <a:pt x="3089994" y="5470014"/>
                </a:cubicBezTo>
                <a:cubicBezTo>
                  <a:pt x="3089994" y="5468150"/>
                  <a:pt x="3089727" y="5466420"/>
                  <a:pt x="3089062" y="5464822"/>
                </a:cubicBezTo>
                <a:cubicBezTo>
                  <a:pt x="3088396" y="5463225"/>
                  <a:pt x="3087464" y="5461894"/>
                  <a:pt x="3086399" y="5460696"/>
                </a:cubicBezTo>
                <a:cubicBezTo>
                  <a:pt x="3085335" y="5459631"/>
                  <a:pt x="3084003" y="5458699"/>
                  <a:pt x="3082406" y="5458033"/>
                </a:cubicBezTo>
                <a:cubicBezTo>
                  <a:pt x="3080941" y="5457368"/>
                  <a:pt x="3079344" y="5457102"/>
                  <a:pt x="3077347" y="5457102"/>
                </a:cubicBezTo>
                <a:close/>
                <a:moveTo>
                  <a:pt x="2859553" y="5457102"/>
                </a:moveTo>
                <a:cubicBezTo>
                  <a:pt x="2853696" y="5457102"/>
                  <a:pt x="2851166" y="5458965"/>
                  <a:pt x="2849567" y="5460696"/>
                </a:cubicBezTo>
                <a:cubicBezTo>
                  <a:pt x="2847034" y="5463358"/>
                  <a:pt x="2845969" y="5466153"/>
                  <a:pt x="2845969" y="5470147"/>
                </a:cubicBezTo>
                <a:cubicBezTo>
                  <a:pt x="2845969" y="5474274"/>
                  <a:pt x="2847034" y="5477069"/>
                  <a:pt x="2849567" y="5479598"/>
                </a:cubicBezTo>
                <a:cubicBezTo>
                  <a:pt x="2851166" y="5481197"/>
                  <a:pt x="2853696" y="5483060"/>
                  <a:pt x="2859553" y="5483060"/>
                </a:cubicBezTo>
                <a:cubicBezTo>
                  <a:pt x="2861550" y="5483060"/>
                  <a:pt x="2863414" y="5482794"/>
                  <a:pt x="2864878" y="5482128"/>
                </a:cubicBezTo>
                <a:cubicBezTo>
                  <a:pt x="2866476" y="5481596"/>
                  <a:pt x="2867675" y="5480664"/>
                  <a:pt x="2868605" y="5479731"/>
                </a:cubicBezTo>
                <a:cubicBezTo>
                  <a:pt x="2869670" y="5478533"/>
                  <a:pt x="2870602" y="5477202"/>
                  <a:pt x="2871268" y="5475472"/>
                </a:cubicBezTo>
                <a:cubicBezTo>
                  <a:pt x="2871800" y="5473874"/>
                  <a:pt x="2872199" y="5472010"/>
                  <a:pt x="2872199" y="5470014"/>
                </a:cubicBezTo>
                <a:cubicBezTo>
                  <a:pt x="2872199" y="5468150"/>
                  <a:pt x="2871933" y="5466420"/>
                  <a:pt x="2871268" y="5464822"/>
                </a:cubicBezTo>
                <a:cubicBezTo>
                  <a:pt x="2870602" y="5463225"/>
                  <a:pt x="2869670" y="5461894"/>
                  <a:pt x="2868605" y="5460696"/>
                </a:cubicBezTo>
                <a:cubicBezTo>
                  <a:pt x="2867541" y="5459631"/>
                  <a:pt x="2866209" y="5458699"/>
                  <a:pt x="2864613" y="5458033"/>
                </a:cubicBezTo>
                <a:cubicBezTo>
                  <a:pt x="2863149" y="5457368"/>
                  <a:pt x="2861550" y="5457102"/>
                  <a:pt x="2859553" y="5457102"/>
                </a:cubicBezTo>
                <a:close/>
                <a:moveTo>
                  <a:pt x="2641892" y="5457102"/>
                </a:moveTo>
                <a:cubicBezTo>
                  <a:pt x="2636035" y="5457102"/>
                  <a:pt x="2633506" y="5458965"/>
                  <a:pt x="2631909" y="5460696"/>
                </a:cubicBezTo>
                <a:cubicBezTo>
                  <a:pt x="2629379" y="5463358"/>
                  <a:pt x="2628314" y="5466153"/>
                  <a:pt x="2628314" y="5470147"/>
                </a:cubicBezTo>
                <a:cubicBezTo>
                  <a:pt x="2628314" y="5474274"/>
                  <a:pt x="2629379" y="5477069"/>
                  <a:pt x="2631909" y="5479598"/>
                </a:cubicBezTo>
                <a:cubicBezTo>
                  <a:pt x="2633506" y="5481197"/>
                  <a:pt x="2636035" y="5483060"/>
                  <a:pt x="2641892" y="5483060"/>
                </a:cubicBezTo>
                <a:cubicBezTo>
                  <a:pt x="2643889" y="5483060"/>
                  <a:pt x="2645754" y="5482794"/>
                  <a:pt x="2647218" y="5482128"/>
                </a:cubicBezTo>
                <a:cubicBezTo>
                  <a:pt x="2648814" y="5481596"/>
                  <a:pt x="2650012" y="5480664"/>
                  <a:pt x="2650945" y="5479731"/>
                </a:cubicBezTo>
                <a:cubicBezTo>
                  <a:pt x="2652010" y="5478533"/>
                  <a:pt x="2652942" y="5477202"/>
                  <a:pt x="2653608" y="5475472"/>
                </a:cubicBezTo>
                <a:cubicBezTo>
                  <a:pt x="2654139" y="5473874"/>
                  <a:pt x="2654538" y="5472010"/>
                  <a:pt x="2654538" y="5470014"/>
                </a:cubicBezTo>
                <a:cubicBezTo>
                  <a:pt x="2654538" y="5468150"/>
                  <a:pt x="2654273" y="5466420"/>
                  <a:pt x="2653608" y="5464822"/>
                </a:cubicBezTo>
                <a:cubicBezTo>
                  <a:pt x="2652942" y="5463225"/>
                  <a:pt x="2652010" y="5461894"/>
                  <a:pt x="2650945" y="5460696"/>
                </a:cubicBezTo>
                <a:cubicBezTo>
                  <a:pt x="2649880" y="5459631"/>
                  <a:pt x="2648548" y="5458699"/>
                  <a:pt x="2646952" y="5458033"/>
                </a:cubicBezTo>
                <a:cubicBezTo>
                  <a:pt x="2645486" y="5457368"/>
                  <a:pt x="2643889" y="5457102"/>
                  <a:pt x="2641892" y="5457102"/>
                </a:cubicBezTo>
                <a:close/>
                <a:moveTo>
                  <a:pt x="2424231" y="5457102"/>
                </a:moveTo>
                <a:cubicBezTo>
                  <a:pt x="2418375" y="5457102"/>
                  <a:pt x="2415846" y="5458965"/>
                  <a:pt x="2414248" y="5460696"/>
                </a:cubicBezTo>
                <a:cubicBezTo>
                  <a:pt x="2411718" y="5463358"/>
                  <a:pt x="2410654" y="5466153"/>
                  <a:pt x="2410654" y="5470147"/>
                </a:cubicBezTo>
                <a:cubicBezTo>
                  <a:pt x="2410654" y="5474274"/>
                  <a:pt x="2411718" y="5477069"/>
                  <a:pt x="2414248" y="5479598"/>
                </a:cubicBezTo>
                <a:cubicBezTo>
                  <a:pt x="2415846" y="5481197"/>
                  <a:pt x="2418375" y="5483060"/>
                  <a:pt x="2424231" y="5483060"/>
                </a:cubicBezTo>
                <a:cubicBezTo>
                  <a:pt x="2426361" y="5483060"/>
                  <a:pt x="2428093" y="5482794"/>
                  <a:pt x="2429557" y="5482128"/>
                </a:cubicBezTo>
                <a:cubicBezTo>
                  <a:pt x="2431155" y="5481596"/>
                  <a:pt x="2432353" y="5480664"/>
                  <a:pt x="2433284" y="5479731"/>
                </a:cubicBezTo>
                <a:cubicBezTo>
                  <a:pt x="2434349" y="5478533"/>
                  <a:pt x="2435281" y="5477202"/>
                  <a:pt x="2435947" y="5475472"/>
                </a:cubicBezTo>
                <a:cubicBezTo>
                  <a:pt x="2436478" y="5473874"/>
                  <a:pt x="2436878" y="5472010"/>
                  <a:pt x="2436878" y="5470014"/>
                </a:cubicBezTo>
                <a:cubicBezTo>
                  <a:pt x="2436878" y="5468150"/>
                  <a:pt x="2436612" y="5466420"/>
                  <a:pt x="2435947" y="5464822"/>
                </a:cubicBezTo>
                <a:cubicBezTo>
                  <a:pt x="2435281" y="5463225"/>
                  <a:pt x="2434349" y="5461894"/>
                  <a:pt x="2433284" y="5460696"/>
                </a:cubicBezTo>
                <a:cubicBezTo>
                  <a:pt x="2432220" y="5459631"/>
                  <a:pt x="2430888" y="5458699"/>
                  <a:pt x="2429291" y="5458033"/>
                </a:cubicBezTo>
                <a:cubicBezTo>
                  <a:pt x="2427827" y="5457368"/>
                  <a:pt x="2426229" y="5457102"/>
                  <a:pt x="2424231" y="5457102"/>
                </a:cubicBezTo>
                <a:close/>
                <a:moveTo>
                  <a:pt x="2206571" y="5457102"/>
                </a:moveTo>
                <a:cubicBezTo>
                  <a:pt x="2200714" y="5457102"/>
                  <a:pt x="2198185" y="5458965"/>
                  <a:pt x="2196587" y="5460696"/>
                </a:cubicBezTo>
                <a:cubicBezTo>
                  <a:pt x="2194058" y="5463358"/>
                  <a:pt x="2192993" y="5466153"/>
                  <a:pt x="2192993" y="5470147"/>
                </a:cubicBezTo>
                <a:cubicBezTo>
                  <a:pt x="2192993" y="5474274"/>
                  <a:pt x="2194058" y="5477069"/>
                  <a:pt x="2196587" y="5479598"/>
                </a:cubicBezTo>
                <a:cubicBezTo>
                  <a:pt x="2198185" y="5481197"/>
                  <a:pt x="2200714" y="5483060"/>
                  <a:pt x="2206571" y="5483060"/>
                </a:cubicBezTo>
                <a:cubicBezTo>
                  <a:pt x="2208700" y="5483060"/>
                  <a:pt x="2210432" y="5482794"/>
                  <a:pt x="2211896" y="5482128"/>
                </a:cubicBezTo>
                <a:cubicBezTo>
                  <a:pt x="2213493" y="5481596"/>
                  <a:pt x="2214691" y="5480664"/>
                  <a:pt x="2215623" y="5479731"/>
                </a:cubicBezTo>
                <a:cubicBezTo>
                  <a:pt x="2216688" y="5478533"/>
                  <a:pt x="2217620" y="5477202"/>
                  <a:pt x="2218286" y="5475472"/>
                </a:cubicBezTo>
                <a:cubicBezTo>
                  <a:pt x="2218818" y="5473874"/>
                  <a:pt x="2219217" y="5472010"/>
                  <a:pt x="2219217" y="5470014"/>
                </a:cubicBezTo>
                <a:cubicBezTo>
                  <a:pt x="2219217" y="5468150"/>
                  <a:pt x="2218951" y="5466420"/>
                  <a:pt x="2218286" y="5464822"/>
                </a:cubicBezTo>
                <a:cubicBezTo>
                  <a:pt x="2217620" y="5463225"/>
                  <a:pt x="2216688" y="5461894"/>
                  <a:pt x="2215623" y="5460696"/>
                </a:cubicBezTo>
                <a:cubicBezTo>
                  <a:pt x="2214558" y="5459631"/>
                  <a:pt x="2213227" y="5458699"/>
                  <a:pt x="2211630" y="5458033"/>
                </a:cubicBezTo>
                <a:cubicBezTo>
                  <a:pt x="2210165" y="5457368"/>
                  <a:pt x="2208568" y="5457102"/>
                  <a:pt x="2206571" y="5457102"/>
                </a:cubicBezTo>
                <a:close/>
                <a:moveTo>
                  <a:pt x="1989043" y="5457102"/>
                </a:moveTo>
                <a:cubicBezTo>
                  <a:pt x="1983186" y="5457102"/>
                  <a:pt x="1980657" y="5458965"/>
                  <a:pt x="1979060" y="5460696"/>
                </a:cubicBezTo>
                <a:cubicBezTo>
                  <a:pt x="1976530" y="5463358"/>
                  <a:pt x="1975466" y="5466153"/>
                  <a:pt x="1975466" y="5470147"/>
                </a:cubicBezTo>
                <a:cubicBezTo>
                  <a:pt x="1975466" y="5474274"/>
                  <a:pt x="1976530" y="5477069"/>
                  <a:pt x="1979060" y="5479598"/>
                </a:cubicBezTo>
                <a:cubicBezTo>
                  <a:pt x="1980657" y="5481197"/>
                  <a:pt x="1983186" y="5483060"/>
                  <a:pt x="1989043" y="5483060"/>
                </a:cubicBezTo>
                <a:cubicBezTo>
                  <a:pt x="1991040" y="5483060"/>
                  <a:pt x="1992771" y="5482794"/>
                  <a:pt x="1994368" y="5482128"/>
                </a:cubicBezTo>
                <a:cubicBezTo>
                  <a:pt x="1995966" y="5481596"/>
                  <a:pt x="1997164" y="5480664"/>
                  <a:pt x="1998095" y="5479731"/>
                </a:cubicBezTo>
                <a:cubicBezTo>
                  <a:pt x="1999160" y="5478533"/>
                  <a:pt x="2000092" y="5477202"/>
                  <a:pt x="2000758" y="5475472"/>
                </a:cubicBezTo>
                <a:cubicBezTo>
                  <a:pt x="2001290" y="5473874"/>
                  <a:pt x="2001689" y="5472010"/>
                  <a:pt x="2001689" y="5470014"/>
                </a:cubicBezTo>
                <a:cubicBezTo>
                  <a:pt x="2001689" y="5468150"/>
                  <a:pt x="2001423" y="5466420"/>
                  <a:pt x="2000758" y="5464822"/>
                </a:cubicBezTo>
                <a:cubicBezTo>
                  <a:pt x="2000092" y="5463225"/>
                  <a:pt x="1999160" y="5461894"/>
                  <a:pt x="1998095" y="5460696"/>
                </a:cubicBezTo>
                <a:cubicBezTo>
                  <a:pt x="1997031" y="5459631"/>
                  <a:pt x="1995699" y="5458699"/>
                  <a:pt x="1994102" y="5458033"/>
                </a:cubicBezTo>
                <a:cubicBezTo>
                  <a:pt x="1992638" y="5457368"/>
                  <a:pt x="1991040" y="5457102"/>
                  <a:pt x="1989043" y="5457102"/>
                </a:cubicBezTo>
                <a:close/>
                <a:moveTo>
                  <a:pt x="1771409" y="5457102"/>
                </a:moveTo>
                <a:cubicBezTo>
                  <a:pt x="1765552" y="5457102"/>
                  <a:pt x="1763024" y="5458965"/>
                  <a:pt x="1761427" y="5460696"/>
                </a:cubicBezTo>
                <a:cubicBezTo>
                  <a:pt x="1758898" y="5463358"/>
                  <a:pt x="1757833" y="5466153"/>
                  <a:pt x="1757833" y="5470147"/>
                </a:cubicBezTo>
                <a:cubicBezTo>
                  <a:pt x="1757833" y="5474274"/>
                  <a:pt x="1758898" y="5477069"/>
                  <a:pt x="1761427" y="5479598"/>
                </a:cubicBezTo>
                <a:cubicBezTo>
                  <a:pt x="1763024" y="5481197"/>
                  <a:pt x="1765552" y="5483060"/>
                  <a:pt x="1771409" y="5483060"/>
                </a:cubicBezTo>
                <a:cubicBezTo>
                  <a:pt x="1773406" y="5483060"/>
                  <a:pt x="1775270" y="5482794"/>
                  <a:pt x="1776734" y="5482128"/>
                </a:cubicBezTo>
                <a:cubicBezTo>
                  <a:pt x="1778198" y="5481596"/>
                  <a:pt x="1779528" y="5480664"/>
                  <a:pt x="1780460" y="5479731"/>
                </a:cubicBezTo>
                <a:cubicBezTo>
                  <a:pt x="1781525" y="5478533"/>
                  <a:pt x="1782457" y="5477202"/>
                  <a:pt x="1783123" y="5475472"/>
                </a:cubicBezTo>
                <a:cubicBezTo>
                  <a:pt x="1783788" y="5473874"/>
                  <a:pt x="1784188" y="5472010"/>
                  <a:pt x="1784188" y="5470014"/>
                </a:cubicBezTo>
                <a:cubicBezTo>
                  <a:pt x="1784188" y="5468150"/>
                  <a:pt x="1783788" y="5466420"/>
                  <a:pt x="1783123" y="5464822"/>
                </a:cubicBezTo>
                <a:cubicBezTo>
                  <a:pt x="1782457" y="5463225"/>
                  <a:pt x="1781525" y="5461894"/>
                  <a:pt x="1780460" y="5460696"/>
                </a:cubicBezTo>
                <a:cubicBezTo>
                  <a:pt x="1779395" y="5459631"/>
                  <a:pt x="1778065" y="5458699"/>
                  <a:pt x="1776468" y="5458033"/>
                </a:cubicBezTo>
                <a:cubicBezTo>
                  <a:pt x="1775003" y="5457368"/>
                  <a:pt x="1773406" y="5457102"/>
                  <a:pt x="1771409" y="5457102"/>
                </a:cubicBezTo>
                <a:close/>
                <a:moveTo>
                  <a:pt x="1553772" y="5457102"/>
                </a:moveTo>
                <a:cubicBezTo>
                  <a:pt x="1547914" y="5457102"/>
                  <a:pt x="1545386" y="5458965"/>
                  <a:pt x="1543789" y="5460696"/>
                </a:cubicBezTo>
                <a:cubicBezTo>
                  <a:pt x="1541259" y="5463358"/>
                  <a:pt x="1540194" y="5466153"/>
                  <a:pt x="1540194" y="5470147"/>
                </a:cubicBezTo>
                <a:cubicBezTo>
                  <a:pt x="1540194" y="5474274"/>
                  <a:pt x="1541259" y="5477069"/>
                  <a:pt x="1543789" y="5479598"/>
                </a:cubicBezTo>
                <a:cubicBezTo>
                  <a:pt x="1545386" y="5481197"/>
                  <a:pt x="1547914" y="5483060"/>
                  <a:pt x="1553772" y="5483060"/>
                </a:cubicBezTo>
                <a:cubicBezTo>
                  <a:pt x="1555769" y="5483060"/>
                  <a:pt x="1557633" y="5482794"/>
                  <a:pt x="1559097" y="5482128"/>
                </a:cubicBezTo>
                <a:cubicBezTo>
                  <a:pt x="1560561" y="5481596"/>
                  <a:pt x="1561893" y="5480664"/>
                  <a:pt x="1562824" y="5479731"/>
                </a:cubicBezTo>
                <a:cubicBezTo>
                  <a:pt x="1563889" y="5478533"/>
                  <a:pt x="1564821" y="5477202"/>
                  <a:pt x="1565487" y="5475472"/>
                </a:cubicBezTo>
                <a:cubicBezTo>
                  <a:pt x="1566152" y="5473874"/>
                  <a:pt x="1566552" y="5472010"/>
                  <a:pt x="1566552" y="5470014"/>
                </a:cubicBezTo>
                <a:cubicBezTo>
                  <a:pt x="1566552" y="5468150"/>
                  <a:pt x="1566152" y="5466420"/>
                  <a:pt x="1565487" y="5464822"/>
                </a:cubicBezTo>
                <a:cubicBezTo>
                  <a:pt x="1564821" y="5463225"/>
                  <a:pt x="1563889" y="5461894"/>
                  <a:pt x="1562824" y="5460696"/>
                </a:cubicBezTo>
                <a:cubicBezTo>
                  <a:pt x="1561759" y="5459631"/>
                  <a:pt x="1560428" y="5458699"/>
                  <a:pt x="1558831" y="5458033"/>
                </a:cubicBezTo>
                <a:cubicBezTo>
                  <a:pt x="1557367" y="5457368"/>
                  <a:pt x="1555769" y="5457102"/>
                  <a:pt x="1553772" y="5457102"/>
                </a:cubicBezTo>
                <a:close/>
                <a:moveTo>
                  <a:pt x="1336129" y="5457102"/>
                </a:moveTo>
                <a:cubicBezTo>
                  <a:pt x="1330270" y="5457102"/>
                  <a:pt x="1327741" y="5458965"/>
                  <a:pt x="1326144" y="5460696"/>
                </a:cubicBezTo>
                <a:cubicBezTo>
                  <a:pt x="1323614" y="5463358"/>
                  <a:pt x="1322550" y="5466153"/>
                  <a:pt x="1322550" y="5470147"/>
                </a:cubicBezTo>
                <a:cubicBezTo>
                  <a:pt x="1322550" y="5474274"/>
                  <a:pt x="1323614" y="5477069"/>
                  <a:pt x="1326144" y="5479598"/>
                </a:cubicBezTo>
                <a:cubicBezTo>
                  <a:pt x="1327741" y="5481197"/>
                  <a:pt x="1330270" y="5483060"/>
                  <a:pt x="1336129" y="5483060"/>
                </a:cubicBezTo>
                <a:cubicBezTo>
                  <a:pt x="1338258" y="5483060"/>
                  <a:pt x="1339988" y="5482794"/>
                  <a:pt x="1341455" y="5482128"/>
                </a:cubicBezTo>
                <a:cubicBezTo>
                  <a:pt x="1342918" y="5481596"/>
                  <a:pt x="1344250" y="5480664"/>
                  <a:pt x="1345182" y="5479731"/>
                </a:cubicBezTo>
                <a:cubicBezTo>
                  <a:pt x="1346246" y="5478533"/>
                  <a:pt x="1347179" y="5477202"/>
                  <a:pt x="1347844" y="5475472"/>
                </a:cubicBezTo>
                <a:cubicBezTo>
                  <a:pt x="1348510" y="5473874"/>
                  <a:pt x="1348910" y="5472010"/>
                  <a:pt x="1348910" y="5470014"/>
                </a:cubicBezTo>
                <a:cubicBezTo>
                  <a:pt x="1348910" y="5468150"/>
                  <a:pt x="1348510" y="5466420"/>
                  <a:pt x="1347844" y="5464822"/>
                </a:cubicBezTo>
                <a:cubicBezTo>
                  <a:pt x="1347179" y="5463225"/>
                  <a:pt x="1346246" y="5461894"/>
                  <a:pt x="1345182" y="5460696"/>
                </a:cubicBezTo>
                <a:cubicBezTo>
                  <a:pt x="1344117" y="5459631"/>
                  <a:pt x="1342786" y="5458699"/>
                  <a:pt x="1341187" y="5458033"/>
                </a:cubicBezTo>
                <a:cubicBezTo>
                  <a:pt x="1339724" y="5457368"/>
                  <a:pt x="1338124" y="5457102"/>
                  <a:pt x="1336129" y="5457102"/>
                </a:cubicBezTo>
                <a:close/>
                <a:moveTo>
                  <a:pt x="1118616" y="5457102"/>
                </a:moveTo>
                <a:cubicBezTo>
                  <a:pt x="1112757" y="5457102"/>
                  <a:pt x="1110228" y="5458965"/>
                  <a:pt x="1108631" y="5460696"/>
                </a:cubicBezTo>
                <a:cubicBezTo>
                  <a:pt x="1105968" y="5463358"/>
                  <a:pt x="1104904" y="5466153"/>
                  <a:pt x="1104904" y="5470147"/>
                </a:cubicBezTo>
                <a:cubicBezTo>
                  <a:pt x="1104904" y="5474274"/>
                  <a:pt x="1105968" y="5477069"/>
                  <a:pt x="1108498" y="5479598"/>
                </a:cubicBezTo>
                <a:cubicBezTo>
                  <a:pt x="1110095" y="5481197"/>
                  <a:pt x="1112624" y="5483060"/>
                  <a:pt x="1118483" y="5483060"/>
                </a:cubicBezTo>
                <a:cubicBezTo>
                  <a:pt x="1120613" y="5483060"/>
                  <a:pt x="1122345" y="5482794"/>
                  <a:pt x="1123940" y="5482128"/>
                </a:cubicBezTo>
                <a:cubicBezTo>
                  <a:pt x="1125405" y="5481596"/>
                  <a:pt x="1126740" y="5480664"/>
                  <a:pt x="1127670" y="5479731"/>
                </a:cubicBezTo>
                <a:cubicBezTo>
                  <a:pt x="1128735" y="5478533"/>
                  <a:pt x="1129667" y="5477202"/>
                  <a:pt x="1130334" y="5475472"/>
                </a:cubicBezTo>
                <a:cubicBezTo>
                  <a:pt x="1130998" y="5473874"/>
                  <a:pt x="1131399" y="5472010"/>
                  <a:pt x="1131399" y="5470014"/>
                </a:cubicBezTo>
                <a:cubicBezTo>
                  <a:pt x="1131399" y="5468150"/>
                  <a:pt x="1130998" y="5466420"/>
                  <a:pt x="1130334" y="5464822"/>
                </a:cubicBezTo>
                <a:cubicBezTo>
                  <a:pt x="1129667" y="5463225"/>
                  <a:pt x="1128735" y="5461894"/>
                  <a:pt x="1127670" y="5460696"/>
                </a:cubicBezTo>
                <a:cubicBezTo>
                  <a:pt x="1126605" y="5459631"/>
                  <a:pt x="1125273" y="5458699"/>
                  <a:pt x="1123674" y="5458033"/>
                </a:cubicBezTo>
                <a:cubicBezTo>
                  <a:pt x="1122212" y="5457368"/>
                  <a:pt x="1120613" y="5457102"/>
                  <a:pt x="1118616" y="5457102"/>
                </a:cubicBezTo>
                <a:close/>
                <a:moveTo>
                  <a:pt x="901104" y="5457102"/>
                </a:moveTo>
                <a:cubicBezTo>
                  <a:pt x="895246" y="5457102"/>
                  <a:pt x="892717" y="5458965"/>
                  <a:pt x="891120" y="5460696"/>
                </a:cubicBezTo>
                <a:cubicBezTo>
                  <a:pt x="888457" y="5463358"/>
                  <a:pt x="887393" y="5466153"/>
                  <a:pt x="887393" y="5470147"/>
                </a:cubicBezTo>
                <a:cubicBezTo>
                  <a:pt x="887393" y="5474274"/>
                  <a:pt x="888457" y="5477069"/>
                  <a:pt x="890987" y="5479598"/>
                </a:cubicBezTo>
                <a:cubicBezTo>
                  <a:pt x="892584" y="5481197"/>
                  <a:pt x="895113" y="5483060"/>
                  <a:pt x="900970" y="5483060"/>
                </a:cubicBezTo>
                <a:cubicBezTo>
                  <a:pt x="902967" y="5483060"/>
                  <a:pt x="904698" y="5482794"/>
                  <a:pt x="906428" y="5482128"/>
                </a:cubicBezTo>
                <a:cubicBezTo>
                  <a:pt x="907892" y="5481596"/>
                  <a:pt x="909224" y="5480664"/>
                  <a:pt x="910156" y="5479731"/>
                </a:cubicBezTo>
                <a:cubicBezTo>
                  <a:pt x="911220" y="5478533"/>
                  <a:pt x="912152" y="5477202"/>
                  <a:pt x="912818" y="5475472"/>
                </a:cubicBezTo>
                <a:cubicBezTo>
                  <a:pt x="913483" y="5473874"/>
                  <a:pt x="913883" y="5472010"/>
                  <a:pt x="913883" y="5470014"/>
                </a:cubicBezTo>
                <a:cubicBezTo>
                  <a:pt x="913883" y="5468150"/>
                  <a:pt x="913483" y="5466420"/>
                  <a:pt x="912818" y="5464822"/>
                </a:cubicBezTo>
                <a:cubicBezTo>
                  <a:pt x="912152" y="5463225"/>
                  <a:pt x="911220" y="5461894"/>
                  <a:pt x="910156" y="5460696"/>
                </a:cubicBezTo>
                <a:cubicBezTo>
                  <a:pt x="909091" y="5459631"/>
                  <a:pt x="907759" y="5458699"/>
                  <a:pt x="906162" y="5458033"/>
                </a:cubicBezTo>
                <a:cubicBezTo>
                  <a:pt x="904698" y="5457368"/>
                  <a:pt x="903100" y="5457102"/>
                  <a:pt x="901104" y="5457102"/>
                </a:cubicBezTo>
                <a:close/>
                <a:moveTo>
                  <a:pt x="683330" y="5457102"/>
                </a:moveTo>
                <a:cubicBezTo>
                  <a:pt x="677472" y="5457102"/>
                  <a:pt x="674943" y="5458965"/>
                  <a:pt x="673346" y="5460696"/>
                </a:cubicBezTo>
                <a:cubicBezTo>
                  <a:pt x="670816" y="5463358"/>
                  <a:pt x="669752" y="5466153"/>
                  <a:pt x="669752" y="5470147"/>
                </a:cubicBezTo>
                <a:cubicBezTo>
                  <a:pt x="669752" y="5474274"/>
                  <a:pt x="670816" y="5477069"/>
                  <a:pt x="673346" y="5479598"/>
                </a:cubicBezTo>
                <a:cubicBezTo>
                  <a:pt x="674943" y="5481197"/>
                  <a:pt x="677472" y="5483060"/>
                  <a:pt x="683330" y="5483060"/>
                </a:cubicBezTo>
                <a:cubicBezTo>
                  <a:pt x="685326" y="5483060"/>
                  <a:pt x="687191" y="5482794"/>
                  <a:pt x="688655" y="5482128"/>
                </a:cubicBezTo>
                <a:cubicBezTo>
                  <a:pt x="690119" y="5481596"/>
                  <a:pt x="691451" y="5480664"/>
                  <a:pt x="692382" y="5479731"/>
                </a:cubicBezTo>
                <a:cubicBezTo>
                  <a:pt x="693447" y="5478533"/>
                  <a:pt x="694379" y="5477202"/>
                  <a:pt x="695045" y="5475472"/>
                </a:cubicBezTo>
                <a:cubicBezTo>
                  <a:pt x="695710" y="5473874"/>
                  <a:pt x="696110" y="5472010"/>
                  <a:pt x="696110" y="5470014"/>
                </a:cubicBezTo>
                <a:cubicBezTo>
                  <a:pt x="696110" y="5468150"/>
                  <a:pt x="695710" y="5466420"/>
                  <a:pt x="695045" y="5464822"/>
                </a:cubicBezTo>
                <a:cubicBezTo>
                  <a:pt x="694379" y="5463225"/>
                  <a:pt x="693447" y="5461894"/>
                  <a:pt x="692382" y="5460696"/>
                </a:cubicBezTo>
                <a:cubicBezTo>
                  <a:pt x="691317" y="5459631"/>
                  <a:pt x="689986" y="5458699"/>
                  <a:pt x="688389" y="5458033"/>
                </a:cubicBezTo>
                <a:cubicBezTo>
                  <a:pt x="686925" y="5457368"/>
                  <a:pt x="685326" y="5457102"/>
                  <a:pt x="683330" y="5457102"/>
                </a:cubicBezTo>
                <a:close/>
                <a:moveTo>
                  <a:pt x="465688" y="5457102"/>
                </a:moveTo>
                <a:cubicBezTo>
                  <a:pt x="459831" y="5457102"/>
                  <a:pt x="457302" y="5458965"/>
                  <a:pt x="455705" y="5460696"/>
                </a:cubicBezTo>
                <a:cubicBezTo>
                  <a:pt x="453175" y="5463358"/>
                  <a:pt x="452111" y="5466153"/>
                  <a:pt x="452111" y="5470147"/>
                </a:cubicBezTo>
                <a:cubicBezTo>
                  <a:pt x="452111" y="5474274"/>
                  <a:pt x="453175" y="5477069"/>
                  <a:pt x="455705" y="5479598"/>
                </a:cubicBezTo>
                <a:cubicBezTo>
                  <a:pt x="457302" y="5481197"/>
                  <a:pt x="459831" y="5483060"/>
                  <a:pt x="465688" y="5483060"/>
                </a:cubicBezTo>
                <a:cubicBezTo>
                  <a:pt x="467685" y="5483060"/>
                  <a:pt x="469549" y="5482794"/>
                  <a:pt x="471013" y="5482128"/>
                </a:cubicBezTo>
                <a:cubicBezTo>
                  <a:pt x="472477" y="5481596"/>
                  <a:pt x="473809" y="5480664"/>
                  <a:pt x="474740" y="5479731"/>
                </a:cubicBezTo>
                <a:cubicBezTo>
                  <a:pt x="475805" y="5478533"/>
                  <a:pt x="476737" y="5477202"/>
                  <a:pt x="477404" y="5475472"/>
                </a:cubicBezTo>
                <a:cubicBezTo>
                  <a:pt x="478069" y="5473874"/>
                  <a:pt x="478468" y="5472010"/>
                  <a:pt x="478468" y="5470014"/>
                </a:cubicBezTo>
                <a:cubicBezTo>
                  <a:pt x="478468" y="5468150"/>
                  <a:pt x="478069" y="5466420"/>
                  <a:pt x="477404" y="5464822"/>
                </a:cubicBezTo>
                <a:cubicBezTo>
                  <a:pt x="476737" y="5463225"/>
                  <a:pt x="475805" y="5461894"/>
                  <a:pt x="474740" y="5460696"/>
                </a:cubicBezTo>
                <a:cubicBezTo>
                  <a:pt x="473676" y="5459631"/>
                  <a:pt x="472344" y="5458699"/>
                  <a:pt x="470747" y="5458033"/>
                </a:cubicBezTo>
                <a:cubicBezTo>
                  <a:pt x="469283" y="5457368"/>
                  <a:pt x="467685" y="5457102"/>
                  <a:pt x="465688" y="5457102"/>
                </a:cubicBezTo>
                <a:close/>
                <a:moveTo>
                  <a:pt x="248047" y="5457102"/>
                </a:moveTo>
                <a:cubicBezTo>
                  <a:pt x="242190" y="5457102"/>
                  <a:pt x="239661" y="5458965"/>
                  <a:pt x="238064" y="5460696"/>
                </a:cubicBezTo>
                <a:cubicBezTo>
                  <a:pt x="235534" y="5463358"/>
                  <a:pt x="234471" y="5466153"/>
                  <a:pt x="234471" y="5470147"/>
                </a:cubicBezTo>
                <a:cubicBezTo>
                  <a:pt x="234471" y="5474274"/>
                  <a:pt x="235534" y="5477069"/>
                  <a:pt x="238064" y="5479598"/>
                </a:cubicBezTo>
                <a:cubicBezTo>
                  <a:pt x="239661" y="5481197"/>
                  <a:pt x="242190" y="5483060"/>
                  <a:pt x="248047" y="5483060"/>
                </a:cubicBezTo>
                <a:cubicBezTo>
                  <a:pt x="250177" y="5483060"/>
                  <a:pt x="251907" y="5482794"/>
                  <a:pt x="253371" y="5482128"/>
                </a:cubicBezTo>
                <a:cubicBezTo>
                  <a:pt x="254835" y="5481596"/>
                  <a:pt x="256166" y="5480664"/>
                  <a:pt x="257098" y="5479731"/>
                </a:cubicBezTo>
                <a:cubicBezTo>
                  <a:pt x="258163" y="5478533"/>
                  <a:pt x="259095" y="5477202"/>
                  <a:pt x="259761" y="5475472"/>
                </a:cubicBezTo>
                <a:cubicBezTo>
                  <a:pt x="260426" y="5473874"/>
                  <a:pt x="260826" y="5472010"/>
                  <a:pt x="260826" y="5470014"/>
                </a:cubicBezTo>
                <a:cubicBezTo>
                  <a:pt x="260826" y="5468150"/>
                  <a:pt x="260426" y="5466420"/>
                  <a:pt x="259761" y="5464822"/>
                </a:cubicBezTo>
                <a:cubicBezTo>
                  <a:pt x="259095" y="5463225"/>
                  <a:pt x="258163" y="5461894"/>
                  <a:pt x="257098" y="5460696"/>
                </a:cubicBezTo>
                <a:cubicBezTo>
                  <a:pt x="256033" y="5459631"/>
                  <a:pt x="254702" y="5458699"/>
                  <a:pt x="253105" y="5458033"/>
                </a:cubicBezTo>
                <a:cubicBezTo>
                  <a:pt x="251640" y="5457368"/>
                  <a:pt x="250044" y="5457102"/>
                  <a:pt x="248047" y="5457102"/>
                </a:cubicBezTo>
                <a:close/>
                <a:moveTo>
                  <a:pt x="30405" y="5457102"/>
                </a:moveTo>
                <a:cubicBezTo>
                  <a:pt x="24548" y="5457102"/>
                  <a:pt x="22019" y="5458965"/>
                  <a:pt x="20422" y="5460696"/>
                </a:cubicBezTo>
                <a:cubicBezTo>
                  <a:pt x="17892" y="5463358"/>
                  <a:pt x="16829" y="5466153"/>
                  <a:pt x="16829" y="5470147"/>
                </a:cubicBezTo>
                <a:cubicBezTo>
                  <a:pt x="16829" y="5474274"/>
                  <a:pt x="17892" y="5477069"/>
                  <a:pt x="20422" y="5479598"/>
                </a:cubicBezTo>
                <a:cubicBezTo>
                  <a:pt x="22019" y="5481197"/>
                  <a:pt x="24548" y="5483060"/>
                  <a:pt x="30405" y="5483060"/>
                </a:cubicBezTo>
                <a:cubicBezTo>
                  <a:pt x="32535" y="5483060"/>
                  <a:pt x="34266" y="5482794"/>
                  <a:pt x="35730" y="5482128"/>
                </a:cubicBezTo>
                <a:cubicBezTo>
                  <a:pt x="37194" y="5481596"/>
                  <a:pt x="38526" y="5480664"/>
                  <a:pt x="39457" y="5479731"/>
                </a:cubicBezTo>
                <a:cubicBezTo>
                  <a:pt x="40522" y="5478533"/>
                  <a:pt x="41454" y="5477202"/>
                  <a:pt x="42120" y="5475472"/>
                </a:cubicBezTo>
                <a:cubicBezTo>
                  <a:pt x="42785" y="5473874"/>
                  <a:pt x="43051" y="5472010"/>
                  <a:pt x="43051" y="5470014"/>
                </a:cubicBezTo>
                <a:cubicBezTo>
                  <a:pt x="43051" y="5468150"/>
                  <a:pt x="42785" y="5466420"/>
                  <a:pt x="42120" y="5464822"/>
                </a:cubicBezTo>
                <a:cubicBezTo>
                  <a:pt x="41454" y="5463225"/>
                  <a:pt x="40522" y="5461894"/>
                  <a:pt x="39457" y="5460696"/>
                </a:cubicBezTo>
                <a:cubicBezTo>
                  <a:pt x="38392" y="5459631"/>
                  <a:pt x="37061" y="5458699"/>
                  <a:pt x="35464" y="5458033"/>
                </a:cubicBezTo>
                <a:cubicBezTo>
                  <a:pt x="34000" y="5457368"/>
                  <a:pt x="32402" y="5457102"/>
                  <a:pt x="30405" y="5457102"/>
                </a:cubicBezTo>
                <a:close/>
                <a:moveTo>
                  <a:pt x="10475977" y="5440462"/>
                </a:moveTo>
                <a:cubicBezTo>
                  <a:pt x="10480237" y="5440462"/>
                  <a:pt x="10484230" y="5441261"/>
                  <a:pt x="10487824" y="5443124"/>
                </a:cubicBezTo>
                <a:cubicBezTo>
                  <a:pt x="10491419" y="5444722"/>
                  <a:pt x="10494613" y="5446852"/>
                  <a:pt x="10497143" y="5449514"/>
                </a:cubicBezTo>
                <a:cubicBezTo>
                  <a:pt x="10499672" y="5452043"/>
                  <a:pt x="10501801" y="5455238"/>
                  <a:pt x="10503266" y="5458832"/>
                </a:cubicBezTo>
                <a:cubicBezTo>
                  <a:pt x="10504730" y="5462426"/>
                  <a:pt x="10505529" y="5466153"/>
                  <a:pt x="10505529" y="5470280"/>
                </a:cubicBezTo>
                <a:cubicBezTo>
                  <a:pt x="10505529" y="5474406"/>
                  <a:pt x="10504730" y="5478400"/>
                  <a:pt x="10503266" y="5481995"/>
                </a:cubicBezTo>
                <a:cubicBezTo>
                  <a:pt x="10501669" y="5485590"/>
                  <a:pt x="10499672" y="5488651"/>
                  <a:pt x="10497143" y="5491314"/>
                </a:cubicBezTo>
                <a:cubicBezTo>
                  <a:pt x="10494480" y="5493976"/>
                  <a:pt x="10491419" y="5496106"/>
                  <a:pt x="10487824" y="5497570"/>
                </a:cubicBezTo>
                <a:cubicBezTo>
                  <a:pt x="10484098" y="5499034"/>
                  <a:pt x="10480237" y="5499833"/>
                  <a:pt x="10475977" y="5499833"/>
                </a:cubicBezTo>
                <a:cubicBezTo>
                  <a:pt x="10466924" y="5499833"/>
                  <a:pt x="10459736" y="5496904"/>
                  <a:pt x="10454145" y="5491314"/>
                </a:cubicBezTo>
                <a:cubicBezTo>
                  <a:pt x="10448554" y="5485722"/>
                  <a:pt x="10445759" y="5478533"/>
                  <a:pt x="10445759" y="5470147"/>
                </a:cubicBezTo>
                <a:cubicBezTo>
                  <a:pt x="10445759" y="5461894"/>
                  <a:pt x="10448554" y="5454838"/>
                  <a:pt x="10454145" y="5449114"/>
                </a:cubicBezTo>
                <a:cubicBezTo>
                  <a:pt x="10459603" y="5443257"/>
                  <a:pt x="10466924" y="5440462"/>
                  <a:pt x="10475977" y="5440462"/>
                </a:cubicBezTo>
                <a:close/>
                <a:moveTo>
                  <a:pt x="10258466" y="5440462"/>
                </a:moveTo>
                <a:cubicBezTo>
                  <a:pt x="10262592" y="5440462"/>
                  <a:pt x="10266586" y="5441261"/>
                  <a:pt x="10270313" y="5443124"/>
                </a:cubicBezTo>
                <a:cubicBezTo>
                  <a:pt x="10273907" y="5444722"/>
                  <a:pt x="10277101" y="5446852"/>
                  <a:pt x="10279631" y="5449514"/>
                </a:cubicBezTo>
                <a:cubicBezTo>
                  <a:pt x="10282160" y="5452043"/>
                  <a:pt x="10284290" y="5455238"/>
                  <a:pt x="10285754" y="5458832"/>
                </a:cubicBezTo>
                <a:cubicBezTo>
                  <a:pt x="10287218" y="5462426"/>
                  <a:pt x="10288017" y="5466153"/>
                  <a:pt x="10288017" y="5470280"/>
                </a:cubicBezTo>
                <a:cubicBezTo>
                  <a:pt x="10288017" y="5474406"/>
                  <a:pt x="10287218" y="5478400"/>
                  <a:pt x="10285754" y="5481995"/>
                </a:cubicBezTo>
                <a:cubicBezTo>
                  <a:pt x="10284157" y="5485590"/>
                  <a:pt x="10282160" y="5488651"/>
                  <a:pt x="10279631" y="5491314"/>
                </a:cubicBezTo>
                <a:cubicBezTo>
                  <a:pt x="10276969" y="5493976"/>
                  <a:pt x="10273907" y="5496106"/>
                  <a:pt x="10270313" y="5497570"/>
                </a:cubicBezTo>
                <a:cubicBezTo>
                  <a:pt x="10266586" y="5499034"/>
                  <a:pt x="10262725" y="5499833"/>
                  <a:pt x="10258466" y="5499833"/>
                </a:cubicBezTo>
                <a:cubicBezTo>
                  <a:pt x="10249546" y="5499833"/>
                  <a:pt x="10242224" y="5496904"/>
                  <a:pt x="10236633" y="5491314"/>
                </a:cubicBezTo>
                <a:cubicBezTo>
                  <a:pt x="10231043" y="5485722"/>
                  <a:pt x="10228247" y="5478533"/>
                  <a:pt x="10228247" y="5470147"/>
                </a:cubicBezTo>
                <a:cubicBezTo>
                  <a:pt x="10228247" y="5461894"/>
                  <a:pt x="10231043" y="5454838"/>
                  <a:pt x="10236633" y="5449114"/>
                </a:cubicBezTo>
                <a:cubicBezTo>
                  <a:pt x="10242092" y="5443257"/>
                  <a:pt x="10249413" y="5440462"/>
                  <a:pt x="10258466" y="5440462"/>
                </a:cubicBezTo>
                <a:close/>
                <a:moveTo>
                  <a:pt x="10040820" y="5440462"/>
                </a:moveTo>
                <a:cubicBezTo>
                  <a:pt x="10045080" y="5440462"/>
                  <a:pt x="10048941" y="5441261"/>
                  <a:pt x="10052534" y="5443124"/>
                </a:cubicBezTo>
                <a:cubicBezTo>
                  <a:pt x="10056129" y="5444722"/>
                  <a:pt x="10059323" y="5446852"/>
                  <a:pt x="10061852" y="5449514"/>
                </a:cubicBezTo>
                <a:cubicBezTo>
                  <a:pt x="10064382" y="5452043"/>
                  <a:pt x="10066512" y="5455238"/>
                  <a:pt x="10067976" y="5458832"/>
                </a:cubicBezTo>
                <a:cubicBezTo>
                  <a:pt x="10069440" y="5462426"/>
                  <a:pt x="10070239" y="5466153"/>
                  <a:pt x="10070239" y="5470280"/>
                </a:cubicBezTo>
                <a:cubicBezTo>
                  <a:pt x="10070239" y="5474406"/>
                  <a:pt x="10069440" y="5478400"/>
                  <a:pt x="10067976" y="5481995"/>
                </a:cubicBezTo>
                <a:cubicBezTo>
                  <a:pt x="10066379" y="5485590"/>
                  <a:pt x="10064382" y="5488651"/>
                  <a:pt x="10061852" y="5491314"/>
                </a:cubicBezTo>
                <a:cubicBezTo>
                  <a:pt x="10059190" y="5493976"/>
                  <a:pt x="10056129" y="5496106"/>
                  <a:pt x="10052534" y="5497570"/>
                </a:cubicBezTo>
                <a:cubicBezTo>
                  <a:pt x="10048941" y="5499034"/>
                  <a:pt x="10045080" y="5499833"/>
                  <a:pt x="10040820" y="5499833"/>
                </a:cubicBezTo>
                <a:cubicBezTo>
                  <a:pt x="10031767" y="5499833"/>
                  <a:pt x="10024579" y="5496904"/>
                  <a:pt x="10018988" y="5491314"/>
                </a:cubicBezTo>
                <a:cubicBezTo>
                  <a:pt x="10013397" y="5485722"/>
                  <a:pt x="10010602" y="5478533"/>
                  <a:pt x="10010602" y="5470147"/>
                </a:cubicBezTo>
                <a:cubicBezTo>
                  <a:pt x="10010602" y="5461894"/>
                  <a:pt x="10013397" y="5454838"/>
                  <a:pt x="10018988" y="5449114"/>
                </a:cubicBezTo>
                <a:cubicBezTo>
                  <a:pt x="10024579" y="5443257"/>
                  <a:pt x="10031767" y="5440462"/>
                  <a:pt x="10040820" y="5440462"/>
                </a:cubicBezTo>
                <a:close/>
                <a:moveTo>
                  <a:pt x="9823176" y="5440462"/>
                </a:moveTo>
                <a:cubicBezTo>
                  <a:pt x="9827435" y="5440462"/>
                  <a:pt x="9831296" y="5441261"/>
                  <a:pt x="9834890" y="5443124"/>
                </a:cubicBezTo>
                <a:cubicBezTo>
                  <a:pt x="9838617" y="5444722"/>
                  <a:pt x="9841679" y="5446852"/>
                  <a:pt x="9844208" y="5449514"/>
                </a:cubicBezTo>
                <a:cubicBezTo>
                  <a:pt x="9846737" y="5452043"/>
                  <a:pt x="9848867" y="5455238"/>
                  <a:pt x="9850331" y="5458832"/>
                </a:cubicBezTo>
                <a:cubicBezTo>
                  <a:pt x="9851796" y="5462426"/>
                  <a:pt x="9852595" y="5466153"/>
                  <a:pt x="9852595" y="5470280"/>
                </a:cubicBezTo>
                <a:cubicBezTo>
                  <a:pt x="9852595" y="5474406"/>
                  <a:pt x="9851796" y="5478400"/>
                  <a:pt x="9850331" y="5481995"/>
                </a:cubicBezTo>
                <a:cubicBezTo>
                  <a:pt x="9848734" y="5485590"/>
                  <a:pt x="9846737" y="5488651"/>
                  <a:pt x="9844208" y="5491314"/>
                </a:cubicBezTo>
                <a:cubicBezTo>
                  <a:pt x="9841546" y="5493976"/>
                  <a:pt x="9838484" y="5496106"/>
                  <a:pt x="9834890" y="5497570"/>
                </a:cubicBezTo>
                <a:cubicBezTo>
                  <a:pt x="9831296" y="5499034"/>
                  <a:pt x="9827435" y="5499833"/>
                  <a:pt x="9823176" y="5499833"/>
                </a:cubicBezTo>
                <a:cubicBezTo>
                  <a:pt x="9814123" y="5499833"/>
                  <a:pt x="9806935" y="5496904"/>
                  <a:pt x="9801343" y="5491314"/>
                </a:cubicBezTo>
                <a:cubicBezTo>
                  <a:pt x="9795753" y="5485722"/>
                  <a:pt x="9792957" y="5478533"/>
                  <a:pt x="9792957" y="5470147"/>
                </a:cubicBezTo>
                <a:cubicBezTo>
                  <a:pt x="9792957" y="5461894"/>
                  <a:pt x="9795753" y="5454838"/>
                  <a:pt x="9801343" y="5449114"/>
                </a:cubicBezTo>
                <a:cubicBezTo>
                  <a:pt x="9806935" y="5443257"/>
                  <a:pt x="9814123" y="5440462"/>
                  <a:pt x="9823176" y="5440462"/>
                </a:cubicBezTo>
                <a:close/>
                <a:moveTo>
                  <a:pt x="9605531" y="5440462"/>
                </a:moveTo>
                <a:cubicBezTo>
                  <a:pt x="9609790" y="5440462"/>
                  <a:pt x="9613784" y="5441261"/>
                  <a:pt x="9617245" y="5443124"/>
                </a:cubicBezTo>
                <a:cubicBezTo>
                  <a:pt x="9620839" y="5444722"/>
                  <a:pt x="9624033" y="5446852"/>
                  <a:pt x="9626562" y="5449514"/>
                </a:cubicBezTo>
                <a:cubicBezTo>
                  <a:pt x="9629092" y="5452043"/>
                  <a:pt x="9631222" y="5455238"/>
                  <a:pt x="9632686" y="5458832"/>
                </a:cubicBezTo>
                <a:cubicBezTo>
                  <a:pt x="9634150" y="5462426"/>
                  <a:pt x="9634949" y="5466153"/>
                  <a:pt x="9634949" y="5470280"/>
                </a:cubicBezTo>
                <a:cubicBezTo>
                  <a:pt x="9634949" y="5474406"/>
                  <a:pt x="9634150" y="5478400"/>
                  <a:pt x="9632686" y="5481995"/>
                </a:cubicBezTo>
                <a:cubicBezTo>
                  <a:pt x="9631089" y="5485590"/>
                  <a:pt x="9629092" y="5488651"/>
                  <a:pt x="9626562" y="5491314"/>
                </a:cubicBezTo>
                <a:cubicBezTo>
                  <a:pt x="9623901" y="5493976"/>
                  <a:pt x="9620839" y="5496106"/>
                  <a:pt x="9617245" y="5497570"/>
                </a:cubicBezTo>
                <a:cubicBezTo>
                  <a:pt x="9613651" y="5499034"/>
                  <a:pt x="9609790" y="5499833"/>
                  <a:pt x="9605531" y="5499833"/>
                </a:cubicBezTo>
                <a:cubicBezTo>
                  <a:pt x="9596610" y="5499833"/>
                  <a:pt x="9589289" y="5496904"/>
                  <a:pt x="9583698" y="5491314"/>
                </a:cubicBezTo>
                <a:cubicBezTo>
                  <a:pt x="9578108" y="5485722"/>
                  <a:pt x="9575312" y="5478533"/>
                  <a:pt x="9575312" y="5470147"/>
                </a:cubicBezTo>
                <a:cubicBezTo>
                  <a:pt x="9575312" y="5461894"/>
                  <a:pt x="9578108" y="5454838"/>
                  <a:pt x="9583698" y="5449114"/>
                </a:cubicBezTo>
                <a:cubicBezTo>
                  <a:pt x="9589289" y="5443257"/>
                  <a:pt x="9596478" y="5440462"/>
                  <a:pt x="9605531" y="5440462"/>
                </a:cubicBezTo>
                <a:close/>
                <a:moveTo>
                  <a:pt x="9387885" y="5440462"/>
                </a:moveTo>
                <a:cubicBezTo>
                  <a:pt x="9392145" y="5440462"/>
                  <a:pt x="9396138" y="5441261"/>
                  <a:pt x="9399599" y="5443124"/>
                </a:cubicBezTo>
                <a:cubicBezTo>
                  <a:pt x="9403194" y="5444722"/>
                  <a:pt x="9406388" y="5446852"/>
                  <a:pt x="9408917" y="5449514"/>
                </a:cubicBezTo>
                <a:cubicBezTo>
                  <a:pt x="9411447" y="5452043"/>
                  <a:pt x="9413576" y="5455238"/>
                  <a:pt x="9415041" y="5458832"/>
                </a:cubicBezTo>
                <a:cubicBezTo>
                  <a:pt x="9416505" y="5462426"/>
                  <a:pt x="9417304" y="5466153"/>
                  <a:pt x="9417304" y="5470280"/>
                </a:cubicBezTo>
                <a:cubicBezTo>
                  <a:pt x="9417304" y="5474406"/>
                  <a:pt x="9416505" y="5478400"/>
                  <a:pt x="9415041" y="5481995"/>
                </a:cubicBezTo>
                <a:cubicBezTo>
                  <a:pt x="9413444" y="5485590"/>
                  <a:pt x="9411447" y="5488651"/>
                  <a:pt x="9408917" y="5491314"/>
                </a:cubicBezTo>
                <a:cubicBezTo>
                  <a:pt x="9406255" y="5493976"/>
                  <a:pt x="9403194" y="5496106"/>
                  <a:pt x="9399599" y="5497570"/>
                </a:cubicBezTo>
                <a:cubicBezTo>
                  <a:pt x="9396005" y="5499034"/>
                  <a:pt x="9392145" y="5499833"/>
                  <a:pt x="9387885" y="5499833"/>
                </a:cubicBezTo>
                <a:cubicBezTo>
                  <a:pt x="9378965" y="5499833"/>
                  <a:pt x="9371644" y="5496904"/>
                  <a:pt x="9366053" y="5491314"/>
                </a:cubicBezTo>
                <a:cubicBezTo>
                  <a:pt x="9360462" y="5485722"/>
                  <a:pt x="9357667" y="5478533"/>
                  <a:pt x="9357667" y="5470147"/>
                </a:cubicBezTo>
                <a:cubicBezTo>
                  <a:pt x="9357667" y="5461894"/>
                  <a:pt x="9360462" y="5454838"/>
                  <a:pt x="9366053" y="5449114"/>
                </a:cubicBezTo>
                <a:cubicBezTo>
                  <a:pt x="9371644" y="5443257"/>
                  <a:pt x="9378832" y="5440462"/>
                  <a:pt x="9387885" y="5440462"/>
                </a:cubicBezTo>
                <a:close/>
                <a:moveTo>
                  <a:pt x="9170374" y="5440462"/>
                </a:moveTo>
                <a:cubicBezTo>
                  <a:pt x="9174500" y="5440462"/>
                  <a:pt x="9178494" y="5441261"/>
                  <a:pt x="9182088" y="5443124"/>
                </a:cubicBezTo>
                <a:cubicBezTo>
                  <a:pt x="9185682" y="5444722"/>
                  <a:pt x="9188876" y="5446852"/>
                  <a:pt x="9191405" y="5449514"/>
                </a:cubicBezTo>
                <a:cubicBezTo>
                  <a:pt x="9193935" y="5452043"/>
                  <a:pt x="9196065" y="5455238"/>
                  <a:pt x="9197529" y="5458832"/>
                </a:cubicBezTo>
                <a:cubicBezTo>
                  <a:pt x="9198993" y="5462426"/>
                  <a:pt x="9199792" y="5466153"/>
                  <a:pt x="9199792" y="5470280"/>
                </a:cubicBezTo>
                <a:cubicBezTo>
                  <a:pt x="9199792" y="5474406"/>
                  <a:pt x="9198993" y="5478400"/>
                  <a:pt x="9197529" y="5481995"/>
                </a:cubicBezTo>
                <a:cubicBezTo>
                  <a:pt x="9195932" y="5485590"/>
                  <a:pt x="9193935" y="5488651"/>
                  <a:pt x="9191405" y="5491314"/>
                </a:cubicBezTo>
                <a:cubicBezTo>
                  <a:pt x="9188744" y="5493976"/>
                  <a:pt x="9185682" y="5496106"/>
                  <a:pt x="9182088" y="5497570"/>
                </a:cubicBezTo>
                <a:cubicBezTo>
                  <a:pt x="9178494" y="5499034"/>
                  <a:pt x="9174633" y="5499833"/>
                  <a:pt x="9170374" y="5499833"/>
                </a:cubicBezTo>
                <a:cubicBezTo>
                  <a:pt x="9161453" y="5499833"/>
                  <a:pt x="9154132" y="5496904"/>
                  <a:pt x="9148541" y="5491314"/>
                </a:cubicBezTo>
                <a:cubicBezTo>
                  <a:pt x="9142951" y="5485722"/>
                  <a:pt x="9140155" y="5478533"/>
                  <a:pt x="9140155" y="5470147"/>
                </a:cubicBezTo>
                <a:cubicBezTo>
                  <a:pt x="9140155" y="5461894"/>
                  <a:pt x="9142951" y="5454838"/>
                  <a:pt x="9148541" y="5449114"/>
                </a:cubicBezTo>
                <a:cubicBezTo>
                  <a:pt x="9154132" y="5443257"/>
                  <a:pt x="9161321" y="5440462"/>
                  <a:pt x="9170374" y="5440462"/>
                </a:cubicBezTo>
                <a:close/>
                <a:moveTo>
                  <a:pt x="8952728" y="5440462"/>
                </a:moveTo>
                <a:cubicBezTo>
                  <a:pt x="8956988" y="5440462"/>
                  <a:pt x="8960849" y="5441261"/>
                  <a:pt x="8964442" y="5443124"/>
                </a:cubicBezTo>
                <a:cubicBezTo>
                  <a:pt x="8968037" y="5444722"/>
                  <a:pt x="8971231" y="5446852"/>
                  <a:pt x="8973760" y="5449514"/>
                </a:cubicBezTo>
                <a:cubicBezTo>
                  <a:pt x="8976290" y="5452043"/>
                  <a:pt x="8978419" y="5455238"/>
                  <a:pt x="8979884" y="5458832"/>
                </a:cubicBezTo>
                <a:cubicBezTo>
                  <a:pt x="8981348" y="5462426"/>
                  <a:pt x="8982147" y="5466153"/>
                  <a:pt x="8982147" y="5470280"/>
                </a:cubicBezTo>
                <a:cubicBezTo>
                  <a:pt x="8982147" y="5474406"/>
                  <a:pt x="8981348" y="5478400"/>
                  <a:pt x="8979884" y="5481995"/>
                </a:cubicBezTo>
                <a:cubicBezTo>
                  <a:pt x="8978287" y="5485590"/>
                  <a:pt x="8976290" y="5488651"/>
                  <a:pt x="8973760" y="5491314"/>
                </a:cubicBezTo>
                <a:cubicBezTo>
                  <a:pt x="8971098" y="5493976"/>
                  <a:pt x="8968037" y="5496106"/>
                  <a:pt x="8964442" y="5497570"/>
                </a:cubicBezTo>
                <a:cubicBezTo>
                  <a:pt x="8960849" y="5499034"/>
                  <a:pt x="8956988" y="5499833"/>
                  <a:pt x="8952728" y="5499833"/>
                </a:cubicBezTo>
                <a:cubicBezTo>
                  <a:pt x="8943808" y="5499833"/>
                  <a:pt x="8936487" y="5496904"/>
                  <a:pt x="8930896" y="5491314"/>
                </a:cubicBezTo>
                <a:cubicBezTo>
                  <a:pt x="8925305" y="5485722"/>
                  <a:pt x="8922510" y="5478533"/>
                  <a:pt x="8922510" y="5470147"/>
                </a:cubicBezTo>
                <a:cubicBezTo>
                  <a:pt x="8922510" y="5461894"/>
                  <a:pt x="8925305" y="5454838"/>
                  <a:pt x="8930896" y="5449114"/>
                </a:cubicBezTo>
                <a:cubicBezTo>
                  <a:pt x="8936487" y="5443257"/>
                  <a:pt x="8943675" y="5440462"/>
                  <a:pt x="8952728" y="5440462"/>
                </a:cubicBezTo>
                <a:close/>
                <a:moveTo>
                  <a:pt x="8735083" y="5440462"/>
                </a:moveTo>
                <a:cubicBezTo>
                  <a:pt x="8739342" y="5440462"/>
                  <a:pt x="8743203" y="5441261"/>
                  <a:pt x="8746797" y="5443124"/>
                </a:cubicBezTo>
                <a:cubicBezTo>
                  <a:pt x="8750391" y="5444722"/>
                  <a:pt x="8753586" y="5446852"/>
                  <a:pt x="8756115" y="5449514"/>
                </a:cubicBezTo>
                <a:cubicBezTo>
                  <a:pt x="8758644" y="5452043"/>
                  <a:pt x="8760774" y="5455238"/>
                  <a:pt x="8762238" y="5458832"/>
                </a:cubicBezTo>
                <a:cubicBezTo>
                  <a:pt x="8763702" y="5462426"/>
                  <a:pt x="8764502" y="5466153"/>
                  <a:pt x="8764502" y="5470280"/>
                </a:cubicBezTo>
                <a:cubicBezTo>
                  <a:pt x="8764502" y="5474406"/>
                  <a:pt x="8763702" y="5478400"/>
                  <a:pt x="8762238" y="5481995"/>
                </a:cubicBezTo>
                <a:cubicBezTo>
                  <a:pt x="8760641" y="5485590"/>
                  <a:pt x="8758644" y="5488651"/>
                  <a:pt x="8756115" y="5491314"/>
                </a:cubicBezTo>
                <a:cubicBezTo>
                  <a:pt x="8753453" y="5493976"/>
                  <a:pt x="8750391" y="5496106"/>
                  <a:pt x="8746797" y="5497570"/>
                </a:cubicBezTo>
                <a:cubicBezTo>
                  <a:pt x="8743203" y="5499034"/>
                  <a:pt x="8739342" y="5499833"/>
                  <a:pt x="8735083" y="5499833"/>
                </a:cubicBezTo>
                <a:cubicBezTo>
                  <a:pt x="8726030" y="5499833"/>
                  <a:pt x="8718841" y="5496904"/>
                  <a:pt x="8713250" y="5491314"/>
                </a:cubicBezTo>
                <a:cubicBezTo>
                  <a:pt x="8707660" y="5485722"/>
                  <a:pt x="8704864" y="5478533"/>
                  <a:pt x="8704864" y="5470147"/>
                </a:cubicBezTo>
                <a:cubicBezTo>
                  <a:pt x="8704864" y="5461894"/>
                  <a:pt x="8707660" y="5454838"/>
                  <a:pt x="8713250" y="5449114"/>
                </a:cubicBezTo>
                <a:cubicBezTo>
                  <a:pt x="8718841" y="5443257"/>
                  <a:pt x="8726030" y="5440462"/>
                  <a:pt x="8735083" y="5440462"/>
                </a:cubicBezTo>
                <a:close/>
                <a:moveTo>
                  <a:pt x="8517438" y="5440462"/>
                </a:moveTo>
                <a:cubicBezTo>
                  <a:pt x="8521698" y="5440462"/>
                  <a:pt x="8525559" y="5441261"/>
                  <a:pt x="8529152" y="5443124"/>
                </a:cubicBezTo>
                <a:cubicBezTo>
                  <a:pt x="8532880" y="5444722"/>
                  <a:pt x="8535941" y="5446852"/>
                  <a:pt x="8538470" y="5449514"/>
                </a:cubicBezTo>
                <a:cubicBezTo>
                  <a:pt x="8541000" y="5452043"/>
                  <a:pt x="8543130" y="5455238"/>
                  <a:pt x="8544594" y="5458832"/>
                </a:cubicBezTo>
                <a:cubicBezTo>
                  <a:pt x="8546058" y="5462426"/>
                  <a:pt x="8546857" y="5466153"/>
                  <a:pt x="8546857" y="5470280"/>
                </a:cubicBezTo>
                <a:cubicBezTo>
                  <a:pt x="8546857" y="5474406"/>
                  <a:pt x="8546058" y="5478400"/>
                  <a:pt x="8544594" y="5481995"/>
                </a:cubicBezTo>
                <a:cubicBezTo>
                  <a:pt x="8542997" y="5485590"/>
                  <a:pt x="8541000" y="5488651"/>
                  <a:pt x="8538470" y="5491314"/>
                </a:cubicBezTo>
                <a:cubicBezTo>
                  <a:pt x="8535808" y="5493976"/>
                  <a:pt x="8532747" y="5496106"/>
                  <a:pt x="8529152" y="5497570"/>
                </a:cubicBezTo>
                <a:cubicBezTo>
                  <a:pt x="8525559" y="5499034"/>
                  <a:pt x="8521698" y="5499833"/>
                  <a:pt x="8517438" y="5499833"/>
                </a:cubicBezTo>
                <a:cubicBezTo>
                  <a:pt x="8508385" y="5499833"/>
                  <a:pt x="8501197" y="5496904"/>
                  <a:pt x="8495606" y="5491314"/>
                </a:cubicBezTo>
                <a:cubicBezTo>
                  <a:pt x="8490015" y="5485722"/>
                  <a:pt x="8487220" y="5478533"/>
                  <a:pt x="8487220" y="5470147"/>
                </a:cubicBezTo>
                <a:cubicBezTo>
                  <a:pt x="8487220" y="5461894"/>
                  <a:pt x="8490015" y="5454838"/>
                  <a:pt x="8495606" y="5449114"/>
                </a:cubicBezTo>
                <a:cubicBezTo>
                  <a:pt x="8501197" y="5443257"/>
                  <a:pt x="8508385" y="5440462"/>
                  <a:pt x="8517438" y="5440462"/>
                </a:cubicBezTo>
                <a:close/>
                <a:moveTo>
                  <a:pt x="8299793" y="5440462"/>
                </a:moveTo>
                <a:cubicBezTo>
                  <a:pt x="8304052" y="5440462"/>
                  <a:pt x="8308046" y="5441261"/>
                  <a:pt x="8311507" y="5443124"/>
                </a:cubicBezTo>
                <a:cubicBezTo>
                  <a:pt x="8315235" y="5444722"/>
                  <a:pt x="8318296" y="5446852"/>
                  <a:pt x="8320825" y="5449514"/>
                </a:cubicBezTo>
                <a:cubicBezTo>
                  <a:pt x="8323354" y="5452043"/>
                  <a:pt x="8325484" y="5455238"/>
                  <a:pt x="8326948" y="5458832"/>
                </a:cubicBezTo>
                <a:cubicBezTo>
                  <a:pt x="8328413" y="5462426"/>
                  <a:pt x="8329212" y="5466153"/>
                  <a:pt x="8329212" y="5470280"/>
                </a:cubicBezTo>
                <a:cubicBezTo>
                  <a:pt x="8329212" y="5474406"/>
                  <a:pt x="8328413" y="5478400"/>
                  <a:pt x="8326948" y="5481995"/>
                </a:cubicBezTo>
                <a:cubicBezTo>
                  <a:pt x="8325351" y="5485590"/>
                  <a:pt x="8323354" y="5488651"/>
                  <a:pt x="8320825" y="5491314"/>
                </a:cubicBezTo>
                <a:cubicBezTo>
                  <a:pt x="8318163" y="5493976"/>
                  <a:pt x="8315101" y="5496106"/>
                  <a:pt x="8311507" y="5497570"/>
                </a:cubicBezTo>
                <a:cubicBezTo>
                  <a:pt x="8307913" y="5499034"/>
                  <a:pt x="8304052" y="5499833"/>
                  <a:pt x="8299793" y="5499833"/>
                </a:cubicBezTo>
                <a:cubicBezTo>
                  <a:pt x="8290874" y="5499833"/>
                  <a:pt x="8283553" y="5496904"/>
                  <a:pt x="8277960" y="5491314"/>
                </a:cubicBezTo>
                <a:cubicBezTo>
                  <a:pt x="8272370" y="5485722"/>
                  <a:pt x="8269574" y="5478533"/>
                  <a:pt x="8269574" y="5470147"/>
                </a:cubicBezTo>
                <a:cubicBezTo>
                  <a:pt x="8269574" y="5461894"/>
                  <a:pt x="8272370" y="5454838"/>
                  <a:pt x="8277960" y="5449114"/>
                </a:cubicBezTo>
                <a:cubicBezTo>
                  <a:pt x="8283553" y="5443257"/>
                  <a:pt x="8290741" y="5440462"/>
                  <a:pt x="8299793" y="5440462"/>
                </a:cubicBezTo>
                <a:close/>
                <a:moveTo>
                  <a:pt x="8082281" y="5440462"/>
                </a:moveTo>
                <a:cubicBezTo>
                  <a:pt x="8086407" y="5440462"/>
                  <a:pt x="8090401" y="5441261"/>
                  <a:pt x="8094127" y="5443124"/>
                </a:cubicBezTo>
                <a:cubicBezTo>
                  <a:pt x="8097855" y="5444722"/>
                  <a:pt x="8100916" y="5446852"/>
                  <a:pt x="8103446" y="5449514"/>
                </a:cubicBezTo>
                <a:cubicBezTo>
                  <a:pt x="8105975" y="5452043"/>
                  <a:pt x="8108104" y="5455238"/>
                  <a:pt x="8109569" y="5458832"/>
                </a:cubicBezTo>
                <a:cubicBezTo>
                  <a:pt x="8111033" y="5462426"/>
                  <a:pt x="8111832" y="5466153"/>
                  <a:pt x="8111832" y="5470280"/>
                </a:cubicBezTo>
                <a:cubicBezTo>
                  <a:pt x="8111832" y="5474406"/>
                  <a:pt x="8111033" y="5478400"/>
                  <a:pt x="8109569" y="5481995"/>
                </a:cubicBezTo>
                <a:cubicBezTo>
                  <a:pt x="8107972" y="5485590"/>
                  <a:pt x="8105975" y="5488651"/>
                  <a:pt x="8103446" y="5491314"/>
                </a:cubicBezTo>
                <a:cubicBezTo>
                  <a:pt x="8100783" y="5493976"/>
                  <a:pt x="8097722" y="5496106"/>
                  <a:pt x="8094127" y="5497570"/>
                </a:cubicBezTo>
                <a:cubicBezTo>
                  <a:pt x="8090401" y="5499034"/>
                  <a:pt x="8086540" y="5499833"/>
                  <a:pt x="8082281" y="5499833"/>
                </a:cubicBezTo>
                <a:cubicBezTo>
                  <a:pt x="8073361" y="5499833"/>
                  <a:pt x="8066040" y="5496904"/>
                  <a:pt x="8060448" y="5491314"/>
                </a:cubicBezTo>
                <a:cubicBezTo>
                  <a:pt x="8054857" y="5485722"/>
                  <a:pt x="8052062" y="5478533"/>
                  <a:pt x="8052062" y="5470147"/>
                </a:cubicBezTo>
                <a:cubicBezTo>
                  <a:pt x="8052062" y="5461894"/>
                  <a:pt x="8054857" y="5454838"/>
                  <a:pt x="8060448" y="5449114"/>
                </a:cubicBezTo>
                <a:cubicBezTo>
                  <a:pt x="8066040" y="5443257"/>
                  <a:pt x="8073228" y="5440462"/>
                  <a:pt x="8082281" y="5440462"/>
                </a:cubicBezTo>
                <a:close/>
                <a:moveTo>
                  <a:pt x="7864636" y="5440462"/>
                </a:moveTo>
                <a:cubicBezTo>
                  <a:pt x="7868762" y="5440462"/>
                  <a:pt x="7872756" y="5441261"/>
                  <a:pt x="7876483" y="5443124"/>
                </a:cubicBezTo>
                <a:cubicBezTo>
                  <a:pt x="7880210" y="5444722"/>
                  <a:pt x="7883272" y="5446852"/>
                  <a:pt x="7885802" y="5449514"/>
                </a:cubicBezTo>
                <a:cubicBezTo>
                  <a:pt x="7888331" y="5452043"/>
                  <a:pt x="7890460" y="5455238"/>
                  <a:pt x="7891924" y="5458832"/>
                </a:cubicBezTo>
                <a:cubicBezTo>
                  <a:pt x="7893389" y="5462426"/>
                  <a:pt x="7894188" y="5466153"/>
                  <a:pt x="7894188" y="5470280"/>
                </a:cubicBezTo>
                <a:cubicBezTo>
                  <a:pt x="7894188" y="5474406"/>
                  <a:pt x="7893389" y="5478400"/>
                  <a:pt x="7891924" y="5481995"/>
                </a:cubicBezTo>
                <a:cubicBezTo>
                  <a:pt x="7890327" y="5485590"/>
                  <a:pt x="7888331" y="5488651"/>
                  <a:pt x="7885802" y="5491314"/>
                </a:cubicBezTo>
                <a:cubicBezTo>
                  <a:pt x="7883139" y="5493976"/>
                  <a:pt x="7880078" y="5496106"/>
                  <a:pt x="7876483" y="5497570"/>
                </a:cubicBezTo>
                <a:cubicBezTo>
                  <a:pt x="7872756" y="5499034"/>
                  <a:pt x="7868895" y="5499833"/>
                  <a:pt x="7864636" y="5499833"/>
                </a:cubicBezTo>
                <a:cubicBezTo>
                  <a:pt x="7855717" y="5499833"/>
                  <a:pt x="7848396" y="5496904"/>
                  <a:pt x="7842803" y="5491314"/>
                </a:cubicBezTo>
                <a:cubicBezTo>
                  <a:pt x="7837213" y="5485722"/>
                  <a:pt x="7834417" y="5478533"/>
                  <a:pt x="7834417" y="5470147"/>
                </a:cubicBezTo>
                <a:cubicBezTo>
                  <a:pt x="7834417" y="5461894"/>
                  <a:pt x="7837213" y="5454838"/>
                  <a:pt x="7842803" y="5449114"/>
                </a:cubicBezTo>
                <a:cubicBezTo>
                  <a:pt x="7848396" y="5443257"/>
                  <a:pt x="7855584" y="5440462"/>
                  <a:pt x="7864636" y="5440462"/>
                </a:cubicBezTo>
                <a:close/>
                <a:moveTo>
                  <a:pt x="7646991" y="5440462"/>
                </a:moveTo>
                <a:cubicBezTo>
                  <a:pt x="7651250" y="5440462"/>
                  <a:pt x="7655111" y="5441261"/>
                  <a:pt x="7658705" y="5443124"/>
                </a:cubicBezTo>
                <a:cubicBezTo>
                  <a:pt x="7662432" y="5444722"/>
                  <a:pt x="7665493" y="5446852"/>
                  <a:pt x="7668022" y="5449514"/>
                </a:cubicBezTo>
                <a:cubicBezTo>
                  <a:pt x="7670552" y="5452043"/>
                  <a:pt x="7672682" y="5455238"/>
                  <a:pt x="7674146" y="5458832"/>
                </a:cubicBezTo>
                <a:cubicBezTo>
                  <a:pt x="7675610" y="5462426"/>
                  <a:pt x="7676409" y="5466153"/>
                  <a:pt x="7676409" y="5470280"/>
                </a:cubicBezTo>
                <a:cubicBezTo>
                  <a:pt x="7676409" y="5474406"/>
                  <a:pt x="7675610" y="5478400"/>
                  <a:pt x="7674146" y="5481995"/>
                </a:cubicBezTo>
                <a:cubicBezTo>
                  <a:pt x="7672549" y="5485590"/>
                  <a:pt x="7670552" y="5488651"/>
                  <a:pt x="7668022" y="5491314"/>
                </a:cubicBezTo>
                <a:cubicBezTo>
                  <a:pt x="7665361" y="5493976"/>
                  <a:pt x="7662299" y="5496106"/>
                  <a:pt x="7658705" y="5497570"/>
                </a:cubicBezTo>
                <a:cubicBezTo>
                  <a:pt x="7655111" y="5499034"/>
                  <a:pt x="7651250" y="5499833"/>
                  <a:pt x="7646991" y="5499833"/>
                </a:cubicBezTo>
                <a:cubicBezTo>
                  <a:pt x="7638071" y="5499833"/>
                  <a:pt x="7630750" y="5496904"/>
                  <a:pt x="7625158" y="5491314"/>
                </a:cubicBezTo>
                <a:cubicBezTo>
                  <a:pt x="7619568" y="5485722"/>
                  <a:pt x="7616772" y="5478533"/>
                  <a:pt x="7616772" y="5470147"/>
                </a:cubicBezTo>
                <a:cubicBezTo>
                  <a:pt x="7616772" y="5461894"/>
                  <a:pt x="7619568" y="5454838"/>
                  <a:pt x="7625158" y="5449114"/>
                </a:cubicBezTo>
                <a:cubicBezTo>
                  <a:pt x="7630750" y="5443257"/>
                  <a:pt x="7637939" y="5440462"/>
                  <a:pt x="7646991" y="5440462"/>
                </a:cubicBezTo>
                <a:close/>
                <a:moveTo>
                  <a:pt x="7429345" y="5440462"/>
                </a:moveTo>
                <a:cubicBezTo>
                  <a:pt x="7433605" y="5440462"/>
                  <a:pt x="7437466" y="5441261"/>
                  <a:pt x="7441059" y="5443124"/>
                </a:cubicBezTo>
                <a:cubicBezTo>
                  <a:pt x="7444787" y="5444722"/>
                  <a:pt x="7447848" y="5446852"/>
                  <a:pt x="7450377" y="5449514"/>
                </a:cubicBezTo>
                <a:cubicBezTo>
                  <a:pt x="7452907" y="5452043"/>
                  <a:pt x="7455036" y="5455238"/>
                  <a:pt x="7456501" y="5458832"/>
                </a:cubicBezTo>
                <a:cubicBezTo>
                  <a:pt x="7457965" y="5462426"/>
                  <a:pt x="7458764" y="5466153"/>
                  <a:pt x="7458764" y="5470280"/>
                </a:cubicBezTo>
                <a:cubicBezTo>
                  <a:pt x="7458764" y="5474406"/>
                  <a:pt x="7457965" y="5478400"/>
                  <a:pt x="7456501" y="5481995"/>
                </a:cubicBezTo>
                <a:cubicBezTo>
                  <a:pt x="7454904" y="5485590"/>
                  <a:pt x="7452907" y="5488651"/>
                  <a:pt x="7450377" y="5491314"/>
                </a:cubicBezTo>
                <a:cubicBezTo>
                  <a:pt x="7447715" y="5493976"/>
                  <a:pt x="7444654" y="5496106"/>
                  <a:pt x="7441059" y="5497570"/>
                </a:cubicBezTo>
                <a:cubicBezTo>
                  <a:pt x="7437466" y="5499034"/>
                  <a:pt x="7433605" y="5499833"/>
                  <a:pt x="7429345" y="5499833"/>
                </a:cubicBezTo>
                <a:cubicBezTo>
                  <a:pt x="7420426" y="5499833"/>
                  <a:pt x="7413105" y="5496904"/>
                  <a:pt x="7407513" y="5491314"/>
                </a:cubicBezTo>
                <a:cubicBezTo>
                  <a:pt x="7401922" y="5485722"/>
                  <a:pt x="7399127" y="5478533"/>
                  <a:pt x="7399127" y="5470147"/>
                </a:cubicBezTo>
                <a:cubicBezTo>
                  <a:pt x="7399127" y="5461894"/>
                  <a:pt x="7401922" y="5454838"/>
                  <a:pt x="7407513" y="5449114"/>
                </a:cubicBezTo>
                <a:cubicBezTo>
                  <a:pt x="7413105" y="5443257"/>
                  <a:pt x="7420293" y="5440462"/>
                  <a:pt x="7429345" y="5440462"/>
                </a:cubicBezTo>
                <a:close/>
                <a:moveTo>
                  <a:pt x="7211701" y="5440462"/>
                </a:moveTo>
                <a:cubicBezTo>
                  <a:pt x="7215960" y="5440462"/>
                  <a:pt x="7219954" y="5441261"/>
                  <a:pt x="7223415" y="5443124"/>
                </a:cubicBezTo>
                <a:cubicBezTo>
                  <a:pt x="7227142" y="5444722"/>
                  <a:pt x="7230204" y="5446852"/>
                  <a:pt x="7232733" y="5449514"/>
                </a:cubicBezTo>
                <a:cubicBezTo>
                  <a:pt x="7235262" y="5452043"/>
                  <a:pt x="7237392" y="5455238"/>
                  <a:pt x="7238856" y="5458832"/>
                </a:cubicBezTo>
                <a:cubicBezTo>
                  <a:pt x="7240321" y="5462426"/>
                  <a:pt x="7241120" y="5466153"/>
                  <a:pt x="7241120" y="5470280"/>
                </a:cubicBezTo>
                <a:cubicBezTo>
                  <a:pt x="7241120" y="5474406"/>
                  <a:pt x="7240321" y="5478400"/>
                  <a:pt x="7238856" y="5481995"/>
                </a:cubicBezTo>
                <a:cubicBezTo>
                  <a:pt x="7237259" y="5485590"/>
                  <a:pt x="7235262" y="5488651"/>
                  <a:pt x="7232733" y="5491314"/>
                </a:cubicBezTo>
                <a:cubicBezTo>
                  <a:pt x="7230071" y="5493976"/>
                  <a:pt x="7227009" y="5496106"/>
                  <a:pt x="7223415" y="5497570"/>
                </a:cubicBezTo>
                <a:cubicBezTo>
                  <a:pt x="7219821" y="5499034"/>
                  <a:pt x="7215960" y="5499833"/>
                  <a:pt x="7211701" y="5499833"/>
                </a:cubicBezTo>
                <a:cubicBezTo>
                  <a:pt x="7202782" y="5499833"/>
                  <a:pt x="7195460" y="5496904"/>
                  <a:pt x="7189868" y="5491314"/>
                </a:cubicBezTo>
                <a:cubicBezTo>
                  <a:pt x="7184278" y="5485722"/>
                  <a:pt x="7181482" y="5478533"/>
                  <a:pt x="7181482" y="5470147"/>
                </a:cubicBezTo>
                <a:cubicBezTo>
                  <a:pt x="7181482" y="5461894"/>
                  <a:pt x="7184278" y="5454838"/>
                  <a:pt x="7189868" y="5449114"/>
                </a:cubicBezTo>
                <a:cubicBezTo>
                  <a:pt x="7195460" y="5443257"/>
                  <a:pt x="7202649" y="5440462"/>
                  <a:pt x="7211701" y="5440462"/>
                </a:cubicBezTo>
                <a:close/>
                <a:moveTo>
                  <a:pt x="6994056" y="5440462"/>
                </a:moveTo>
                <a:cubicBezTo>
                  <a:pt x="6998315" y="5440462"/>
                  <a:pt x="7002309" y="5441261"/>
                  <a:pt x="7005769" y="5443124"/>
                </a:cubicBezTo>
                <a:cubicBezTo>
                  <a:pt x="7009497" y="5444722"/>
                  <a:pt x="7012558" y="5446852"/>
                  <a:pt x="7015087" y="5449514"/>
                </a:cubicBezTo>
                <a:cubicBezTo>
                  <a:pt x="7017617" y="5452043"/>
                  <a:pt x="7019747" y="5455238"/>
                  <a:pt x="7021211" y="5458832"/>
                </a:cubicBezTo>
                <a:cubicBezTo>
                  <a:pt x="7022675" y="5462426"/>
                  <a:pt x="7023474" y="5466153"/>
                  <a:pt x="7023474" y="5470280"/>
                </a:cubicBezTo>
                <a:cubicBezTo>
                  <a:pt x="7023474" y="5474406"/>
                  <a:pt x="7022675" y="5478400"/>
                  <a:pt x="7021211" y="5481995"/>
                </a:cubicBezTo>
                <a:cubicBezTo>
                  <a:pt x="7019614" y="5485590"/>
                  <a:pt x="7017617" y="5488651"/>
                  <a:pt x="7015087" y="5491314"/>
                </a:cubicBezTo>
                <a:cubicBezTo>
                  <a:pt x="7012425" y="5493976"/>
                  <a:pt x="7009364" y="5496106"/>
                  <a:pt x="7005769" y="5497570"/>
                </a:cubicBezTo>
                <a:cubicBezTo>
                  <a:pt x="7002176" y="5499034"/>
                  <a:pt x="6998315" y="5499833"/>
                  <a:pt x="6994056" y="5499833"/>
                </a:cubicBezTo>
                <a:cubicBezTo>
                  <a:pt x="6985136" y="5499833"/>
                  <a:pt x="6977815" y="5496904"/>
                  <a:pt x="6972223" y="5491314"/>
                </a:cubicBezTo>
                <a:cubicBezTo>
                  <a:pt x="6966632" y="5485722"/>
                  <a:pt x="6963837" y="5478533"/>
                  <a:pt x="6963837" y="5470147"/>
                </a:cubicBezTo>
                <a:cubicBezTo>
                  <a:pt x="6963837" y="5461894"/>
                  <a:pt x="6966632" y="5454838"/>
                  <a:pt x="6972223" y="5449114"/>
                </a:cubicBezTo>
                <a:cubicBezTo>
                  <a:pt x="6977815" y="5443257"/>
                  <a:pt x="6985003" y="5440462"/>
                  <a:pt x="6994056" y="5440462"/>
                </a:cubicBezTo>
                <a:close/>
                <a:moveTo>
                  <a:pt x="6776544" y="5440462"/>
                </a:moveTo>
                <a:cubicBezTo>
                  <a:pt x="6780670" y="5440462"/>
                  <a:pt x="6784664" y="5441261"/>
                  <a:pt x="6788258" y="5443124"/>
                </a:cubicBezTo>
                <a:cubicBezTo>
                  <a:pt x="6791985" y="5444722"/>
                  <a:pt x="6795047" y="5446852"/>
                  <a:pt x="6797576" y="5449514"/>
                </a:cubicBezTo>
                <a:cubicBezTo>
                  <a:pt x="6800105" y="5452043"/>
                  <a:pt x="6802235" y="5455238"/>
                  <a:pt x="6803699" y="5458832"/>
                </a:cubicBezTo>
                <a:cubicBezTo>
                  <a:pt x="6805164" y="5462426"/>
                  <a:pt x="6805963" y="5466153"/>
                  <a:pt x="6805963" y="5470280"/>
                </a:cubicBezTo>
                <a:cubicBezTo>
                  <a:pt x="6805963" y="5474406"/>
                  <a:pt x="6805164" y="5478400"/>
                  <a:pt x="6803699" y="5481995"/>
                </a:cubicBezTo>
                <a:cubicBezTo>
                  <a:pt x="6802102" y="5485590"/>
                  <a:pt x="6800105" y="5488651"/>
                  <a:pt x="6797576" y="5491314"/>
                </a:cubicBezTo>
                <a:cubicBezTo>
                  <a:pt x="6794914" y="5493976"/>
                  <a:pt x="6791852" y="5496106"/>
                  <a:pt x="6788258" y="5497570"/>
                </a:cubicBezTo>
                <a:cubicBezTo>
                  <a:pt x="6784664" y="5499034"/>
                  <a:pt x="6780803" y="5499833"/>
                  <a:pt x="6776544" y="5499833"/>
                </a:cubicBezTo>
                <a:cubicBezTo>
                  <a:pt x="6767625" y="5499833"/>
                  <a:pt x="6760303" y="5496904"/>
                  <a:pt x="6754711" y="5491314"/>
                </a:cubicBezTo>
                <a:cubicBezTo>
                  <a:pt x="6749121" y="5485722"/>
                  <a:pt x="6746325" y="5478533"/>
                  <a:pt x="6746325" y="5470147"/>
                </a:cubicBezTo>
                <a:cubicBezTo>
                  <a:pt x="6746325" y="5461894"/>
                  <a:pt x="6749121" y="5454838"/>
                  <a:pt x="6754711" y="5449114"/>
                </a:cubicBezTo>
                <a:cubicBezTo>
                  <a:pt x="6760303" y="5443257"/>
                  <a:pt x="6767492" y="5440462"/>
                  <a:pt x="6776544" y="5440462"/>
                </a:cubicBezTo>
                <a:close/>
                <a:moveTo>
                  <a:pt x="6558899" y="5440462"/>
                </a:moveTo>
                <a:cubicBezTo>
                  <a:pt x="6563158" y="5440462"/>
                  <a:pt x="6567019" y="5441261"/>
                  <a:pt x="6570612" y="5443124"/>
                </a:cubicBezTo>
                <a:cubicBezTo>
                  <a:pt x="6574340" y="5444722"/>
                  <a:pt x="6577401" y="5446852"/>
                  <a:pt x="6579930" y="5449514"/>
                </a:cubicBezTo>
                <a:cubicBezTo>
                  <a:pt x="6582460" y="5452043"/>
                  <a:pt x="6584590" y="5455238"/>
                  <a:pt x="6586054" y="5458832"/>
                </a:cubicBezTo>
                <a:cubicBezTo>
                  <a:pt x="6587518" y="5462426"/>
                  <a:pt x="6588317" y="5466153"/>
                  <a:pt x="6588317" y="5470280"/>
                </a:cubicBezTo>
                <a:cubicBezTo>
                  <a:pt x="6588317" y="5474406"/>
                  <a:pt x="6587518" y="5478400"/>
                  <a:pt x="6586054" y="5481995"/>
                </a:cubicBezTo>
                <a:cubicBezTo>
                  <a:pt x="6584457" y="5485590"/>
                  <a:pt x="6582460" y="5488651"/>
                  <a:pt x="6579930" y="5491314"/>
                </a:cubicBezTo>
                <a:cubicBezTo>
                  <a:pt x="6577268" y="5493976"/>
                  <a:pt x="6574207" y="5496106"/>
                  <a:pt x="6570612" y="5497570"/>
                </a:cubicBezTo>
                <a:cubicBezTo>
                  <a:pt x="6567019" y="5499034"/>
                  <a:pt x="6563158" y="5499833"/>
                  <a:pt x="6558899" y="5499833"/>
                </a:cubicBezTo>
                <a:cubicBezTo>
                  <a:pt x="6549979" y="5499833"/>
                  <a:pt x="6542658" y="5496904"/>
                  <a:pt x="6537066" y="5491314"/>
                </a:cubicBezTo>
                <a:cubicBezTo>
                  <a:pt x="6531476" y="5485722"/>
                  <a:pt x="6528680" y="5478533"/>
                  <a:pt x="6528680" y="5470147"/>
                </a:cubicBezTo>
                <a:cubicBezTo>
                  <a:pt x="6528680" y="5461894"/>
                  <a:pt x="6531476" y="5454838"/>
                  <a:pt x="6537066" y="5449114"/>
                </a:cubicBezTo>
                <a:cubicBezTo>
                  <a:pt x="6542658" y="5443257"/>
                  <a:pt x="6549846" y="5440462"/>
                  <a:pt x="6558899" y="5440462"/>
                </a:cubicBezTo>
                <a:close/>
                <a:moveTo>
                  <a:pt x="6341253" y="5440462"/>
                </a:moveTo>
                <a:cubicBezTo>
                  <a:pt x="6345513" y="5440462"/>
                  <a:pt x="6349373" y="5441261"/>
                  <a:pt x="6352968" y="5443124"/>
                </a:cubicBezTo>
                <a:cubicBezTo>
                  <a:pt x="6356695" y="5444722"/>
                  <a:pt x="6359757" y="5446852"/>
                  <a:pt x="6362286" y="5449514"/>
                </a:cubicBezTo>
                <a:cubicBezTo>
                  <a:pt x="6364815" y="5452043"/>
                  <a:pt x="6366945" y="5455238"/>
                  <a:pt x="6368409" y="5458832"/>
                </a:cubicBezTo>
                <a:cubicBezTo>
                  <a:pt x="6369874" y="5462426"/>
                  <a:pt x="6370672" y="5466153"/>
                  <a:pt x="6370672" y="5470280"/>
                </a:cubicBezTo>
                <a:cubicBezTo>
                  <a:pt x="6370672" y="5474406"/>
                  <a:pt x="6369874" y="5478400"/>
                  <a:pt x="6368409" y="5481995"/>
                </a:cubicBezTo>
                <a:cubicBezTo>
                  <a:pt x="6366811" y="5485590"/>
                  <a:pt x="6364815" y="5488651"/>
                  <a:pt x="6362286" y="5491314"/>
                </a:cubicBezTo>
                <a:cubicBezTo>
                  <a:pt x="6359623" y="5493976"/>
                  <a:pt x="6356562" y="5496106"/>
                  <a:pt x="6352968" y="5497570"/>
                </a:cubicBezTo>
                <a:cubicBezTo>
                  <a:pt x="6349373" y="5499034"/>
                  <a:pt x="6345513" y="5499833"/>
                  <a:pt x="6341253" y="5499833"/>
                </a:cubicBezTo>
                <a:cubicBezTo>
                  <a:pt x="6332335" y="5499833"/>
                  <a:pt x="6325013" y="5496904"/>
                  <a:pt x="6319421" y="5491314"/>
                </a:cubicBezTo>
                <a:cubicBezTo>
                  <a:pt x="6313830" y="5485722"/>
                  <a:pt x="6311035" y="5478533"/>
                  <a:pt x="6311035" y="5470147"/>
                </a:cubicBezTo>
                <a:cubicBezTo>
                  <a:pt x="6311035" y="5461894"/>
                  <a:pt x="6313830" y="5454838"/>
                  <a:pt x="6319421" y="5449114"/>
                </a:cubicBezTo>
                <a:cubicBezTo>
                  <a:pt x="6325013" y="5443257"/>
                  <a:pt x="6332201" y="5440462"/>
                  <a:pt x="6341253" y="5440462"/>
                </a:cubicBezTo>
                <a:close/>
                <a:moveTo>
                  <a:pt x="6123608" y="5440462"/>
                </a:moveTo>
                <a:cubicBezTo>
                  <a:pt x="6127867" y="5440462"/>
                  <a:pt x="6131728" y="5441261"/>
                  <a:pt x="6135322" y="5443124"/>
                </a:cubicBezTo>
                <a:cubicBezTo>
                  <a:pt x="6139049" y="5444722"/>
                  <a:pt x="6142111" y="5446852"/>
                  <a:pt x="6144640" y="5449514"/>
                </a:cubicBezTo>
                <a:cubicBezTo>
                  <a:pt x="6147169" y="5452043"/>
                  <a:pt x="6149299" y="5455238"/>
                  <a:pt x="6150763" y="5458832"/>
                </a:cubicBezTo>
                <a:cubicBezTo>
                  <a:pt x="6152228" y="5462426"/>
                  <a:pt x="6153026" y="5466153"/>
                  <a:pt x="6153026" y="5470280"/>
                </a:cubicBezTo>
                <a:cubicBezTo>
                  <a:pt x="6153026" y="5474406"/>
                  <a:pt x="6152228" y="5478400"/>
                  <a:pt x="6150763" y="5481995"/>
                </a:cubicBezTo>
                <a:cubicBezTo>
                  <a:pt x="6149299" y="5485590"/>
                  <a:pt x="6147169" y="5488651"/>
                  <a:pt x="6144640" y="5491314"/>
                </a:cubicBezTo>
                <a:cubicBezTo>
                  <a:pt x="6141977" y="5493976"/>
                  <a:pt x="6138916" y="5496106"/>
                  <a:pt x="6135322" y="5497570"/>
                </a:cubicBezTo>
                <a:cubicBezTo>
                  <a:pt x="6131728" y="5499034"/>
                  <a:pt x="6127867" y="5499833"/>
                  <a:pt x="6123608" y="5499833"/>
                </a:cubicBezTo>
                <a:cubicBezTo>
                  <a:pt x="6114689" y="5499833"/>
                  <a:pt x="6107367" y="5496904"/>
                  <a:pt x="6101775" y="5491314"/>
                </a:cubicBezTo>
                <a:cubicBezTo>
                  <a:pt x="6096184" y="5485722"/>
                  <a:pt x="6093389" y="5478533"/>
                  <a:pt x="6093389" y="5470147"/>
                </a:cubicBezTo>
                <a:cubicBezTo>
                  <a:pt x="6093389" y="5461894"/>
                  <a:pt x="6096184" y="5454838"/>
                  <a:pt x="6101775" y="5449114"/>
                </a:cubicBezTo>
                <a:cubicBezTo>
                  <a:pt x="6107367" y="5443257"/>
                  <a:pt x="6114555" y="5440462"/>
                  <a:pt x="6123608" y="5440462"/>
                </a:cubicBezTo>
                <a:close/>
                <a:moveTo>
                  <a:pt x="5905963" y="5440462"/>
                </a:moveTo>
                <a:cubicBezTo>
                  <a:pt x="5910222" y="5440462"/>
                  <a:pt x="5914216" y="5441261"/>
                  <a:pt x="5917677" y="5443124"/>
                </a:cubicBezTo>
                <a:cubicBezTo>
                  <a:pt x="5921404" y="5444722"/>
                  <a:pt x="5924466" y="5446852"/>
                  <a:pt x="5926995" y="5449514"/>
                </a:cubicBezTo>
                <a:cubicBezTo>
                  <a:pt x="5929524" y="5452043"/>
                  <a:pt x="5931654" y="5455238"/>
                  <a:pt x="5933118" y="5458832"/>
                </a:cubicBezTo>
                <a:cubicBezTo>
                  <a:pt x="5934583" y="5462426"/>
                  <a:pt x="5935381" y="5466153"/>
                  <a:pt x="5935381" y="5470280"/>
                </a:cubicBezTo>
                <a:cubicBezTo>
                  <a:pt x="5935381" y="5474406"/>
                  <a:pt x="5934583" y="5478400"/>
                  <a:pt x="5933118" y="5481995"/>
                </a:cubicBezTo>
                <a:cubicBezTo>
                  <a:pt x="5931654" y="5485590"/>
                  <a:pt x="5929524" y="5488651"/>
                  <a:pt x="5926995" y="5491314"/>
                </a:cubicBezTo>
                <a:cubicBezTo>
                  <a:pt x="5924333" y="5493976"/>
                  <a:pt x="5921271" y="5496106"/>
                  <a:pt x="5917677" y="5497570"/>
                </a:cubicBezTo>
                <a:cubicBezTo>
                  <a:pt x="5914083" y="5499034"/>
                  <a:pt x="5910222" y="5499833"/>
                  <a:pt x="5905963" y="5499833"/>
                </a:cubicBezTo>
                <a:cubicBezTo>
                  <a:pt x="5897044" y="5499833"/>
                  <a:pt x="5889722" y="5496904"/>
                  <a:pt x="5884130" y="5491314"/>
                </a:cubicBezTo>
                <a:cubicBezTo>
                  <a:pt x="5878540" y="5485722"/>
                  <a:pt x="5875744" y="5478533"/>
                  <a:pt x="5875744" y="5470147"/>
                </a:cubicBezTo>
                <a:cubicBezTo>
                  <a:pt x="5875744" y="5461894"/>
                  <a:pt x="5878540" y="5454838"/>
                  <a:pt x="5884130" y="5449114"/>
                </a:cubicBezTo>
                <a:cubicBezTo>
                  <a:pt x="5889722" y="5443257"/>
                  <a:pt x="5896910" y="5440462"/>
                  <a:pt x="5905963" y="5440462"/>
                </a:cubicBezTo>
                <a:close/>
                <a:moveTo>
                  <a:pt x="5688451" y="5440462"/>
                </a:moveTo>
                <a:cubicBezTo>
                  <a:pt x="5692577" y="5440462"/>
                  <a:pt x="5696571" y="5441261"/>
                  <a:pt x="5700165" y="5443124"/>
                </a:cubicBezTo>
                <a:cubicBezTo>
                  <a:pt x="5703892" y="5444722"/>
                  <a:pt x="5706954" y="5446852"/>
                  <a:pt x="5709483" y="5449514"/>
                </a:cubicBezTo>
                <a:cubicBezTo>
                  <a:pt x="5712012" y="5452043"/>
                  <a:pt x="5714142" y="5455238"/>
                  <a:pt x="5715606" y="5458832"/>
                </a:cubicBezTo>
                <a:cubicBezTo>
                  <a:pt x="5717071" y="5462426"/>
                  <a:pt x="5717869" y="5466153"/>
                  <a:pt x="5717869" y="5470280"/>
                </a:cubicBezTo>
                <a:cubicBezTo>
                  <a:pt x="5717869" y="5474406"/>
                  <a:pt x="5717071" y="5478400"/>
                  <a:pt x="5715606" y="5481995"/>
                </a:cubicBezTo>
                <a:cubicBezTo>
                  <a:pt x="5714142" y="5485590"/>
                  <a:pt x="5712012" y="5488651"/>
                  <a:pt x="5709483" y="5491314"/>
                </a:cubicBezTo>
                <a:cubicBezTo>
                  <a:pt x="5706820" y="5493976"/>
                  <a:pt x="5703759" y="5496106"/>
                  <a:pt x="5700165" y="5497570"/>
                </a:cubicBezTo>
                <a:cubicBezTo>
                  <a:pt x="5696571" y="5499034"/>
                  <a:pt x="5692710" y="5499833"/>
                  <a:pt x="5688451" y="5499833"/>
                </a:cubicBezTo>
                <a:cubicBezTo>
                  <a:pt x="5679532" y="5499833"/>
                  <a:pt x="5672210" y="5496904"/>
                  <a:pt x="5666618" y="5491314"/>
                </a:cubicBezTo>
                <a:cubicBezTo>
                  <a:pt x="5661028" y="5485722"/>
                  <a:pt x="5658232" y="5478533"/>
                  <a:pt x="5658232" y="5470147"/>
                </a:cubicBezTo>
                <a:cubicBezTo>
                  <a:pt x="5658232" y="5461894"/>
                  <a:pt x="5661028" y="5454838"/>
                  <a:pt x="5666618" y="5449114"/>
                </a:cubicBezTo>
                <a:cubicBezTo>
                  <a:pt x="5672210" y="5443257"/>
                  <a:pt x="5679398" y="5440462"/>
                  <a:pt x="5688451" y="5440462"/>
                </a:cubicBezTo>
                <a:close/>
                <a:moveTo>
                  <a:pt x="5470806" y="5440462"/>
                </a:moveTo>
                <a:cubicBezTo>
                  <a:pt x="5475065" y="5440462"/>
                  <a:pt x="5478926" y="5441261"/>
                  <a:pt x="5482520" y="5443124"/>
                </a:cubicBezTo>
                <a:cubicBezTo>
                  <a:pt x="5486247" y="5444722"/>
                  <a:pt x="5489309" y="5446852"/>
                  <a:pt x="5491838" y="5449514"/>
                </a:cubicBezTo>
                <a:cubicBezTo>
                  <a:pt x="5494367" y="5452043"/>
                  <a:pt x="5496497" y="5455238"/>
                  <a:pt x="5497961" y="5458832"/>
                </a:cubicBezTo>
                <a:cubicBezTo>
                  <a:pt x="5499426" y="5462426"/>
                  <a:pt x="5500224" y="5466153"/>
                  <a:pt x="5500224" y="5470280"/>
                </a:cubicBezTo>
                <a:cubicBezTo>
                  <a:pt x="5500224" y="5474406"/>
                  <a:pt x="5499426" y="5478400"/>
                  <a:pt x="5497961" y="5481995"/>
                </a:cubicBezTo>
                <a:cubicBezTo>
                  <a:pt x="5496497" y="5485590"/>
                  <a:pt x="5494367" y="5488651"/>
                  <a:pt x="5491838" y="5491314"/>
                </a:cubicBezTo>
                <a:cubicBezTo>
                  <a:pt x="5489176" y="5493976"/>
                  <a:pt x="5486114" y="5496106"/>
                  <a:pt x="5482520" y="5497570"/>
                </a:cubicBezTo>
                <a:cubicBezTo>
                  <a:pt x="5478926" y="5499034"/>
                  <a:pt x="5475065" y="5499833"/>
                  <a:pt x="5470806" y="5499833"/>
                </a:cubicBezTo>
                <a:cubicBezTo>
                  <a:pt x="5461887" y="5499833"/>
                  <a:pt x="5454565" y="5496904"/>
                  <a:pt x="5448973" y="5491314"/>
                </a:cubicBezTo>
                <a:cubicBezTo>
                  <a:pt x="5443383" y="5485722"/>
                  <a:pt x="5440587" y="5478533"/>
                  <a:pt x="5440587" y="5470147"/>
                </a:cubicBezTo>
                <a:cubicBezTo>
                  <a:pt x="5440587" y="5461894"/>
                  <a:pt x="5443383" y="5454838"/>
                  <a:pt x="5448973" y="5449114"/>
                </a:cubicBezTo>
                <a:cubicBezTo>
                  <a:pt x="5454565" y="5443257"/>
                  <a:pt x="5461754" y="5440462"/>
                  <a:pt x="5470806" y="5440462"/>
                </a:cubicBezTo>
                <a:close/>
                <a:moveTo>
                  <a:pt x="5253160" y="5440462"/>
                </a:moveTo>
                <a:cubicBezTo>
                  <a:pt x="5257420" y="5440462"/>
                  <a:pt x="5261280" y="5441261"/>
                  <a:pt x="5264875" y="5443124"/>
                </a:cubicBezTo>
                <a:cubicBezTo>
                  <a:pt x="5268602" y="5444722"/>
                  <a:pt x="5271664" y="5446852"/>
                  <a:pt x="5274192" y="5449514"/>
                </a:cubicBezTo>
                <a:cubicBezTo>
                  <a:pt x="5276722" y="5452043"/>
                  <a:pt x="5278852" y="5455238"/>
                  <a:pt x="5280316" y="5458832"/>
                </a:cubicBezTo>
                <a:cubicBezTo>
                  <a:pt x="5281780" y="5462426"/>
                  <a:pt x="5282579" y="5466153"/>
                  <a:pt x="5282579" y="5470280"/>
                </a:cubicBezTo>
                <a:cubicBezTo>
                  <a:pt x="5282579" y="5474406"/>
                  <a:pt x="5281780" y="5478400"/>
                  <a:pt x="5280316" y="5481995"/>
                </a:cubicBezTo>
                <a:cubicBezTo>
                  <a:pt x="5278852" y="5485590"/>
                  <a:pt x="5276722" y="5488651"/>
                  <a:pt x="5274192" y="5491314"/>
                </a:cubicBezTo>
                <a:cubicBezTo>
                  <a:pt x="5271664" y="5493976"/>
                  <a:pt x="5268469" y="5496106"/>
                  <a:pt x="5264875" y="5497570"/>
                </a:cubicBezTo>
                <a:cubicBezTo>
                  <a:pt x="5261280" y="5499034"/>
                  <a:pt x="5257420" y="5499833"/>
                  <a:pt x="5253160" y="5499833"/>
                </a:cubicBezTo>
                <a:cubicBezTo>
                  <a:pt x="5244241" y="5499833"/>
                  <a:pt x="5236920" y="5496904"/>
                  <a:pt x="5231328" y="5491314"/>
                </a:cubicBezTo>
                <a:cubicBezTo>
                  <a:pt x="5225737" y="5485722"/>
                  <a:pt x="5222942" y="5478533"/>
                  <a:pt x="5222942" y="5470147"/>
                </a:cubicBezTo>
                <a:cubicBezTo>
                  <a:pt x="5222942" y="5461894"/>
                  <a:pt x="5225737" y="5454838"/>
                  <a:pt x="5231328" y="5449114"/>
                </a:cubicBezTo>
                <a:cubicBezTo>
                  <a:pt x="5236920" y="5443257"/>
                  <a:pt x="5244108" y="5440462"/>
                  <a:pt x="5253160" y="5440462"/>
                </a:cubicBezTo>
                <a:close/>
                <a:moveTo>
                  <a:pt x="5035515" y="5440462"/>
                </a:moveTo>
                <a:cubicBezTo>
                  <a:pt x="5039775" y="5440462"/>
                  <a:pt x="5043636" y="5441261"/>
                  <a:pt x="5047230" y="5443124"/>
                </a:cubicBezTo>
                <a:cubicBezTo>
                  <a:pt x="5050957" y="5444722"/>
                  <a:pt x="5054019" y="5446852"/>
                  <a:pt x="5056548" y="5449514"/>
                </a:cubicBezTo>
                <a:cubicBezTo>
                  <a:pt x="5059077" y="5452043"/>
                  <a:pt x="5061207" y="5455238"/>
                  <a:pt x="5062671" y="5458832"/>
                </a:cubicBezTo>
                <a:cubicBezTo>
                  <a:pt x="5064135" y="5462426"/>
                  <a:pt x="5064934" y="5466153"/>
                  <a:pt x="5064934" y="5470280"/>
                </a:cubicBezTo>
                <a:cubicBezTo>
                  <a:pt x="5064934" y="5474406"/>
                  <a:pt x="5064135" y="5478400"/>
                  <a:pt x="5062671" y="5481995"/>
                </a:cubicBezTo>
                <a:cubicBezTo>
                  <a:pt x="5061207" y="5485590"/>
                  <a:pt x="5059077" y="5488651"/>
                  <a:pt x="5056548" y="5491314"/>
                </a:cubicBezTo>
                <a:cubicBezTo>
                  <a:pt x="5053885" y="5493976"/>
                  <a:pt x="5050824" y="5496106"/>
                  <a:pt x="5047230" y="5497570"/>
                </a:cubicBezTo>
                <a:cubicBezTo>
                  <a:pt x="5043636" y="5499034"/>
                  <a:pt x="5039775" y="5499833"/>
                  <a:pt x="5035515" y="5499833"/>
                </a:cubicBezTo>
                <a:cubicBezTo>
                  <a:pt x="5026597" y="5499833"/>
                  <a:pt x="5019275" y="5496904"/>
                  <a:pt x="5013683" y="5491314"/>
                </a:cubicBezTo>
                <a:cubicBezTo>
                  <a:pt x="5008092" y="5485722"/>
                  <a:pt x="5005297" y="5478533"/>
                  <a:pt x="5005297" y="5470147"/>
                </a:cubicBezTo>
                <a:cubicBezTo>
                  <a:pt x="5005297" y="5461894"/>
                  <a:pt x="5008092" y="5454838"/>
                  <a:pt x="5013683" y="5449114"/>
                </a:cubicBezTo>
                <a:cubicBezTo>
                  <a:pt x="5019275" y="5443257"/>
                  <a:pt x="5026463" y="5440462"/>
                  <a:pt x="5035515" y="5440462"/>
                </a:cubicBezTo>
                <a:close/>
                <a:moveTo>
                  <a:pt x="4817870" y="5440462"/>
                </a:moveTo>
                <a:cubicBezTo>
                  <a:pt x="4822130" y="5440462"/>
                  <a:pt x="4826124" y="5441261"/>
                  <a:pt x="4829585" y="5443124"/>
                </a:cubicBezTo>
                <a:cubicBezTo>
                  <a:pt x="4833312" y="5444722"/>
                  <a:pt x="4836374" y="5446852"/>
                  <a:pt x="4838903" y="5449514"/>
                </a:cubicBezTo>
                <a:cubicBezTo>
                  <a:pt x="4841432" y="5452043"/>
                  <a:pt x="4843562" y="5455238"/>
                  <a:pt x="4845026" y="5458832"/>
                </a:cubicBezTo>
                <a:cubicBezTo>
                  <a:pt x="4846491" y="5462426"/>
                  <a:pt x="4847289" y="5466153"/>
                  <a:pt x="4847289" y="5470280"/>
                </a:cubicBezTo>
                <a:cubicBezTo>
                  <a:pt x="4847289" y="5474406"/>
                  <a:pt x="4846491" y="5478400"/>
                  <a:pt x="4845026" y="5481995"/>
                </a:cubicBezTo>
                <a:cubicBezTo>
                  <a:pt x="4843562" y="5485590"/>
                  <a:pt x="4841432" y="5488651"/>
                  <a:pt x="4838903" y="5491314"/>
                </a:cubicBezTo>
                <a:cubicBezTo>
                  <a:pt x="4836240" y="5493976"/>
                  <a:pt x="4833179" y="5496106"/>
                  <a:pt x="4829585" y="5497570"/>
                </a:cubicBezTo>
                <a:cubicBezTo>
                  <a:pt x="4825991" y="5499034"/>
                  <a:pt x="4822130" y="5499833"/>
                  <a:pt x="4817870" y="5499833"/>
                </a:cubicBezTo>
                <a:cubicBezTo>
                  <a:pt x="4808952" y="5499833"/>
                  <a:pt x="4801630" y="5496904"/>
                  <a:pt x="4796038" y="5491314"/>
                </a:cubicBezTo>
                <a:cubicBezTo>
                  <a:pt x="4790447" y="5485722"/>
                  <a:pt x="4787652" y="5478533"/>
                  <a:pt x="4787652" y="5470147"/>
                </a:cubicBezTo>
                <a:cubicBezTo>
                  <a:pt x="4787652" y="5461894"/>
                  <a:pt x="4790447" y="5454838"/>
                  <a:pt x="4796038" y="5449114"/>
                </a:cubicBezTo>
                <a:cubicBezTo>
                  <a:pt x="4801630" y="5443257"/>
                  <a:pt x="4808818" y="5440462"/>
                  <a:pt x="4817870" y="5440462"/>
                </a:cubicBezTo>
                <a:close/>
                <a:moveTo>
                  <a:pt x="4600226" y="5440462"/>
                </a:moveTo>
                <a:cubicBezTo>
                  <a:pt x="4604485" y="5440462"/>
                  <a:pt x="4608479" y="5441261"/>
                  <a:pt x="4612073" y="5443124"/>
                </a:cubicBezTo>
                <a:cubicBezTo>
                  <a:pt x="4615800" y="5444722"/>
                  <a:pt x="4618862" y="5446852"/>
                  <a:pt x="4621391" y="5449514"/>
                </a:cubicBezTo>
                <a:cubicBezTo>
                  <a:pt x="4623920" y="5452043"/>
                  <a:pt x="4626050" y="5455238"/>
                  <a:pt x="4627514" y="5458832"/>
                </a:cubicBezTo>
                <a:cubicBezTo>
                  <a:pt x="4628978" y="5462426"/>
                  <a:pt x="4629777" y="5466153"/>
                  <a:pt x="4629777" y="5470280"/>
                </a:cubicBezTo>
                <a:cubicBezTo>
                  <a:pt x="4629777" y="5474406"/>
                  <a:pt x="4628978" y="5478400"/>
                  <a:pt x="4627514" y="5481995"/>
                </a:cubicBezTo>
                <a:cubicBezTo>
                  <a:pt x="4626050" y="5485590"/>
                  <a:pt x="4623920" y="5488651"/>
                  <a:pt x="4621391" y="5491314"/>
                </a:cubicBezTo>
                <a:cubicBezTo>
                  <a:pt x="4618729" y="5493976"/>
                  <a:pt x="4615667" y="5496106"/>
                  <a:pt x="4612073" y="5497570"/>
                </a:cubicBezTo>
                <a:cubicBezTo>
                  <a:pt x="4608346" y="5499034"/>
                  <a:pt x="4604485" y="5499833"/>
                  <a:pt x="4600226" y="5499833"/>
                </a:cubicBezTo>
                <a:cubicBezTo>
                  <a:pt x="4591173" y="5499833"/>
                  <a:pt x="4583985" y="5496904"/>
                  <a:pt x="4578393" y="5491314"/>
                </a:cubicBezTo>
                <a:cubicBezTo>
                  <a:pt x="4572803" y="5485722"/>
                  <a:pt x="4570007" y="5478533"/>
                  <a:pt x="4570007" y="5470147"/>
                </a:cubicBezTo>
                <a:cubicBezTo>
                  <a:pt x="4570007" y="5461894"/>
                  <a:pt x="4572803" y="5454838"/>
                  <a:pt x="4578393" y="5449114"/>
                </a:cubicBezTo>
                <a:cubicBezTo>
                  <a:pt x="4583985" y="5443257"/>
                  <a:pt x="4591173" y="5440462"/>
                  <a:pt x="4600226" y="5440462"/>
                </a:cubicBezTo>
                <a:close/>
                <a:moveTo>
                  <a:pt x="4382713" y="5440462"/>
                </a:moveTo>
                <a:cubicBezTo>
                  <a:pt x="4386840" y="5440462"/>
                  <a:pt x="4390834" y="5441261"/>
                  <a:pt x="4394428" y="5443124"/>
                </a:cubicBezTo>
                <a:cubicBezTo>
                  <a:pt x="4398155" y="5444722"/>
                  <a:pt x="4401217" y="5446852"/>
                  <a:pt x="4403746" y="5449514"/>
                </a:cubicBezTo>
                <a:cubicBezTo>
                  <a:pt x="4406275" y="5452043"/>
                  <a:pt x="4408405" y="5455238"/>
                  <a:pt x="4409869" y="5458832"/>
                </a:cubicBezTo>
                <a:cubicBezTo>
                  <a:pt x="4411334" y="5462426"/>
                  <a:pt x="4412132" y="5466153"/>
                  <a:pt x="4412132" y="5470280"/>
                </a:cubicBezTo>
                <a:cubicBezTo>
                  <a:pt x="4412132" y="5474406"/>
                  <a:pt x="4411334" y="5478400"/>
                  <a:pt x="4409869" y="5481995"/>
                </a:cubicBezTo>
                <a:cubicBezTo>
                  <a:pt x="4408405" y="5485590"/>
                  <a:pt x="4406275" y="5488651"/>
                  <a:pt x="4403746" y="5491314"/>
                </a:cubicBezTo>
                <a:cubicBezTo>
                  <a:pt x="4401083" y="5493976"/>
                  <a:pt x="4398022" y="5496106"/>
                  <a:pt x="4394428" y="5497570"/>
                </a:cubicBezTo>
                <a:cubicBezTo>
                  <a:pt x="4390834" y="5499034"/>
                  <a:pt x="4386973" y="5499833"/>
                  <a:pt x="4382713" y="5499833"/>
                </a:cubicBezTo>
                <a:cubicBezTo>
                  <a:pt x="4373661" y="5499833"/>
                  <a:pt x="4366473" y="5496904"/>
                  <a:pt x="4360881" y="5491314"/>
                </a:cubicBezTo>
                <a:cubicBezTo>
                  <a:pt x="4355290" y="5485722"/>
                  <a:pt x="4352495" y="5478533"/>
                  <a:pt x="4352495" y="5470147"/>
                </a:cubicBezTo>
                <a:cubicBezTo>
                  <a:pt x="4352495" y="5461894"/>
                  <a:pt x="4355290" y="5454838"/>
                  <a:pt x="4360881" y="5449114"/>
                </a:cubicBezTo>
                <a:cubicBezTo>
                  <a:pt x="4366473" y="5443257"/>
                  <a:pt x="4373661" y="5440462"/>
                  <a:pt x="4382713" y="5440462"/>
                </a:cubicBezTo>
                <a:close/>
                <a:moveTo>
                  <a:pt x="4165068" y="5440462"/>
                </a:moveTo>
                <a:cubicBezTo>
                  <a:pt x="4169327" y="5440462"/>
                  <a:pt x="4173188" y="5441261"/>
                  <a:pt x="4176782" y="5443124"/>
                </a:cubicBezTo>
                <a:cubicBezTo>
                  <a:pt x="4180509" y="5444722"/>
                  <a:pt x="4183571" y="5446852"/>
                  <a:pt x="4186100" y="5449514"/>
                </a:cubicBezTo>
                <a:cubicBezTo>
                  <a:pt x="4188629" y="5452043"/>
                  <a:pt x="4190759" y="5455238"/>
                  <a:pt x="4192223" y="5458832"/>
                </a:cubicBezTo>
                <a:cubicBezTo>
                  <a:pt x="4193688" y="5462426"/>
                  <a:pt x="4194486" y="5466153"/>
                  <a:pt x="4194486" y="5470280"/>
                </a:cubicBezTo>
                <a:cubicBezTo>
                  <a:pt x="4194486" y="5474406"/>
                  <a:pt x="4193688" y="5478400"/>
                  <a:pt x="4192223" y="5481995"/>
                </a:cubicBezTo>
                <a:cubicBezTo>
                  <a:pt x="4190759" y="5485590"/>
                  <a:pt x="4188629" y="5488651"/>
                  <a:pt x="4186100" y="5491314"/>
                </a:cubicBezTo>
                <a:cubicBezTo>
                  <a:pt x="4183438" y="5493976"/>
                  <a:pt x="4180376" y="5496106"/>
                  <a:pt x="4176782" y="5497570"/>
                </a:cubicBezTo>
                <a:cubicBezTo>
                  <a:pt x="4173188" y="5499034"/>
                  <a:pt x="4169327" y="5499833"/>
                  <a:pt x="4165068" y="5499833"/>
                </a:cubicBezTo>
                <a:cubicBezTo>
                  <a:pt x="4156015" y="5499833"/>
                  <a:pt x="4148827" y="5496904"/>
                  <a:pt x="4143235" y="5491314"/>
                </a:cubicBezTo>
                <a:cubicBezTo>
                  <a:pt x="4137645" y="5485722"/>
                  <a:pt x="4134849" y="5478533"/>
                  <a:pt x="4134849" y="5470147"/>
                </a:cubicBezTo>
                <a:cubicBezTo>
                  <a:pt x="4134849" y="5461894"/>
                  <a:pt x="4137645" y="5454838"/>
                  <a:pt x="4143235" y="5449114"/>
                </a:cubicBezTo>
                <a:cubicBezTo>
                  <a:pt x="4148827" y="5443257"/>
                  <a:pt x="4156015" y="5440462"/>
                  <a:pt x="4165068" y="5440462"/>
                </a:cubicBezTo>
                <a:close/>
                <a:moveTo>
                  <a:pt x="3947721" y="5440462"/>
                </a:moveTo>
                <a:cubicBezTo>
                  <a:pt x="3951983" y="5440462"/>
                  <a:pt x="3955844" y="5441261"/>
                  <a:pt x="3959439" y="5443124"/>
                </a:cubicBezTo>
                <a:cubicBezTo>
                  <a:pt x="3963167" y="5444722"/>
                  <a:pt x="3966228" y="5446852"/>
                  <a:pt x="3968757" y="5449514"/>
                </a:cubicBezTo>
                <a:cubicBezTo>
                  <a:pt x="3971287" y="5452043"/>
                  <a:pt x="3973417" y="5455238"/>
                  <a:pt x="3974881" y="5458832"/>
                </a:cubicBezTo>
                <a:cubicBezTo>
                  <a:pt x="3976345" y="5462426"/>
                  <a:pt x="3977144" y="5466153"/>
                  <a:pt x="3977144" y="5470280"/>
                </a:cubicBezTo>
                <a:cubicBezTo>
                  <a:pt x="3977144" y="5474406"/>
                  <a:pt x="3976345" y="5478400"/>
                  <a:pt x="3974881" y="5481995"/>
                </a:cubicBezTo>
                <a:cubicBezTo>
                  <a:pt x="3973417" y="5485590"/>
                  <a:pt x="3971287" y="5488651"/>
                  <a:pt x="3968757" y="5491314"/>
                </a:cubicBezTo>
                <a:cubicBezTo>
                  <a:pt x="3966095" y="5493976"/>
                  <a:pt x="3963034" y="5496106"/>
                  <a:pt x="3959439" y="5497570"/>
                </a:cubicBezTo>
                <a:cubicBezTo>
                  <a:pt x="3955844" y="5499034"/>
                  <a:pt x="3951983" y="5499833"/>
                  <a:pt x="3947721" y="5499833"/>
                </a:cubicBezTo>
                <a:cubicBezTo>
                  <a:pt x="3938668" y="5499833"/>
                  <a:pt x="3931481" y="5496904"/>
                  <a:pt x="3925888" y="5491314"/>
                </a:cubicBezTo>
                <a:cubicBezTo>
                  <a:pt x="3920297" y="5485722"/>
                  <a:pt x="3917502" y="5478533"/>
                  <a:pt x="3917502" y="5470147"/>
                </a:cubicBezTo>
                <a:cubicBezTo>
                  <a:pt x="3917502" y="5461894"/>
                  <a:pt x="3920297" y="5454838"/>
                  <a:pt x="3925888" y="5449114"/>
                </a:cubicBezTo>
                <a:cubicBezTo>
                  <a:pt x="3931481" y="5443257"/>
                  <a:pt x="3938668" y="5440462"/>
                  <a:pt x="3947721" y="5440462"/>
                </a:cubicBezTo>
                <a:close/>
                <a:moveTo>
                  <a:pt x="3730062" y="5440462"/>
                </a:moveTo>
                <a:cubicBezTo>
                  <a:pt x="3734324" y="5440462"/>
                  <a:pt x="3738316" y="5441261"/>
                  <a:pt x="3741778" y="5443124"/>
                </a:cubicBezTo>
                <a:cubicBezTo>
                  <a:pt x="3745372" y="5444722"/>
                  <a:pt x="3748568" y="5446852"/>
                  <a:pt x="3751097" y="5449514"/>
                </a:cubicBezTo>
                <a:cubicBezTo>
                  <a:pt x="3753626" y="5452043"/>
                  <a:pt x="3755755" y="5455238"/>
                  <a:pt x="3757219" y="5458832"/>
                </a:cubicBezTo>
                <a:cubicBezTo>
                  <a:pt x="3758683" y="5462426"/>
                  <a:pt x="3759482" y="5466153"/>
                  <a:pt x="3759482" y="5470280"/>
                </a:cubicBezTo>
                <a:cubicBezTo>
                  <a:pt x="3759482" y="5474406"/>
                  <a:pt x="3758683" y="5478400"/>
                  <a:pt x="3757219" y="5481995"/>
                </a:cubicBezTo>
                <a:cubicBezTo>
                  <a:pt x="3755755" y="5485590"/>
                  <a:pt x="3753626" y="5488651"/>
                  <a:pt x="3751097" y="5491314"/>
                </a:cubicBezTo>
                <a:cubicBezTo>
                  <a:pt x="3748434" y="5493976"/>
                  <a:pt x="3745372" y="5496106"/>
                  <a:pt x="3741778" y="5497570"/>
                </a:cubicBezTo>
                <a:cubicBezTo>
                  <a:pt x="3738184" y="5499034"/>
                  <a:pt x="3734324" y="5499833"/>
                  <a:pt x="3730062" y="5499833"/>
                </a:cubicBezTo>
                <a:cubicBezTo>
                  <a:pt x="3721011" y="5499833"/>
                  <a:pt x="3713820" y="5496904"/>
                  <a:pt x="3708222" y="5491314"/>
                </a:cubicBezTo>
                <a:cubicBezTo>
                  <a:pt x="3702630" y="5485722"/>
                  <a:pt x="3699836" y="5478533"/>
                  <a:pt x="3699836" y="5470147"/>
                </a:cubicBezTo>
                <a:cubicBezTo>
                  <a:pt x="3699836" y="5461894"/>
                  <a:pt x="3702630" y="5454838"/>
                  <a:pt x="3708222" y="5449114"/>
                </a:cubicBezTo>
                <a:cubicBezTo>
                  <a:pt x="3713820" y="5443257"/>
                  <a:pt x="3721011" y="5440462"/>
                  <a:pt x="3730062" y="5440462"/>
                </a:cubicBezTo>
                <a:close/>
                <a:moveTo>
                  <a:pt x="3512401" y="5440462"/>
                </a:moveTo>
                <a:cubicBezTo>
                  <a:pt x="3516663" y="5440462"/>
                  <a:pt x="3520656" y="5441261"/>
                  <a:pt x="3524118" y="5443124"/>
                </a:cubicBezTo>
                <a:cubicBezTo>
                  <a:pt x="3527711" y="5444722"/>
                  <a:pt x="3530907" y="5446852"/>
                  <a:pt x="3533436" y="5449514"/>
                </a:cubicBezTo>
                <a:cubicBezTo>
                  <a:pt x="3535965" y="5452043"/>
                  <a:pt x="3538095" y="5455238"/>
                  <a:pt x="3539559" y="5458832"/>
                </a:cubicBezTo>
                <a:cubicBezTo>
                  <a:pt x="3541023" y="5462426"/>
                  <a:pt x="3541822" y="5466153"/>
                  <a:pt x="3541822" y="5470280"/>
                </a:cubicBezTo>
                <a:cubicBezTo>
                  <a:pt x="3541822" y="5474406"/>
                  <a:pt x="3541023" y="5478400"/>
                  <a:pt x="3539559" y="5481995"/>
                </a:cubicBezTo>
                <a:cubicBezTo>
                  <a:pt x="3538095" y="5485590"/>
                  <a:pt x="3535965" y="5488651"/>
                  <a:pt x="3533436" y="5491314"/>
                </a:cubicBezTo>
                <a:cubicBezTo>
                  <a:pt x="3530773" y="5493976"/>
                  <a:pt x="3527711" y="5496106"/>
                  <a:pt x="3524118" y="5497570"/>
                </a:cubicBezTo>
                <a:cubicBezTo>
                  <a:pt x="3520523" y="5499034"/>
                  <a:pt x="3516663" y="5499833"/>
                  <a:pt x="3512401" y="5499833"/>
                </a:cubicBezTo>
                <a:cubicBezTo>
                  <a:pt x="3503346" y="5499833"/>
                  <a:pt x="3496156" y="5496904"/>
                  <a:pt x="3490565" y="5491314"/>
                </a:cubicBezTo>
                <a:cubicBezTo>
                  <a:pt x="3484974" y="5485722"/>
                  <a:pt x="3482178" y="5478533"/>
                  <a:pt x="3482178" y="5470147"/>
                </a:cubicBezTo>
                <a:cubicBezTo>
                  <a:pt x="3482178" y="5461894"/>
                  <a:pt x="3484974" y="5454838"/>
                  <a:pt x="3490565" y="5449114"/>
                </a:cubicBezTo>
                <a:cubicBezTo>
                  <a:pt x="3496156" y="5443257"/>
                  <a:pt x="3503346" y="5440462"/>
                  <a:pt x="3512401" y="5440462"/>
                </a:cubicBezTo>
                <a:close/>
                <a:moveTo>
                  <a:pt x="3294874" y="5440462"/>
                </a:moveTo>
                <a:cubicBezTo>
                  <a:pt x="3299002" y="5440462"/>
                  <a:pt x="3302996" y="5441261"/>
                  <a:pt x="3306590" y="5443124"/>
                </a:cubicBezTo>
                <a:cubicBezTo>
                  <a:pt x="3310317" y="5444722"/>
                  <a:pt x="3313379" y="5446852"/>
                  <a:pt x="3315908" y="5449514"/>
                </a:cubicBezTo>
                <a:cubicBezTo>
                  <a:pt x="3318437" y="5452043"/>
                  <a:pt x="3320567" y="5455238"/>
                  <a:pt x="3322031" y="5458832"/>
                </a:cubicBezTo>
                <a:cubicBezTo>
                  <a:pt x="3323495" y="5462426"/>
                  <a:pt x="3324294" y="5466153"/>
                  <a:pt x="3324294" y="5470280"/>
                </a:cubicBezTo>
                <a:cubicBezTo>
                  <a:pt x="3324294" y="5474406"/>
                  <a:pt x="3323495" y="5478400"/>
                  <a:pt x="3322031" y="5481995"/>
                </a:cubicBezTo>
                <a:cubicBezTo>
                  <a:pt x="3320567" y="5485590"/>
                  <a:pt x="3318437" y="5488651"/>
                  <a:pt x="3315908" y="5491314"/>
                </a:cubicBezTo>
                <a:cubicBezTo>
                  <a:pt x="3313245" y="5493976"/>
                  <a:pt x="3310184" y="5496106"/>
                  <a:pt x="3306590" y="5497570"/>
                </a:cubicBezTo>
                <a:cubicBezTo>
                  <a:pt x="3302996" y="5499034"/>
                  <a:pt x="3299135" y="5499833"/>
                  <a:pt x="3294874" y="5499833"/>
                </a:cubicBezTo>
                <a:cubicBezTo>
                  <a:pt x="3285820" y="5499833"/>
                  <a:pt x="3278631" y="5496904"/>
                  <a:pt x="3273036" y="5491314"/>
                </a:cubicBezTo>
                <a:cubicBezTo>
                  <a:pt x="3267443" y="5485722"/>
                  <a:pt x="3264648" y="5478533"/>
                  <a:pt x="3264648" y="5470147"/>
                </a:cubicBezTo>
                <a:cubicBezTo>
                  <a:pt x="3264648" y="5461894"/>
                  <a:pt x="3267443" y="5454838"/>
                  <a:pt x="3273036" y="5449114"/>
                </a:cubicBezTo>
                <a:cubicBezTo>
                  <a:pt x="3278631" y="5443257"/>
                  <a:pt x="3285820" y="5440462"/>
                  <a:pt x="3294874" y="5440462"/>
                </a:cubicBezTo>
                <a:close/>
                <a:moveTo>
                  <a:pt x="3077214" y="5440462"/>
                </a:moveTo>
                <a:cubicBezTo>
                  <a:pt x="3081341" y="5440462"/>
                  <a:pt x="3085335" y="5441261"/>
                  <a:pt x="3088929" y="5443124"/>
                </a:cubicBezTo>
                <a:cubicBezTo>
                  <a:pt x="3092523" y="5444722"/>
                  <a:pt x="3095719" y="5446852"/>
                  <a:pt x="3098247" y="5449514"/>
                </a:cubicBezTo>
                <a:cubicBezTo>
                  <a:pt x="3100776" y="5452043"/>
                  <a:pt x="3102906" y="5455238"/>
                  <a:pt x="3104370" y="5458832"/>
                </a:cubicBezTo>
                <a:cubicBezTo>
                  <a:pt x="3105836" y="5462426"/>
                  <a:pt x="3106633" y="5466153"/>
                  <a:pt x="3106633" y="5470280"/>
                </a:cubicBezTo>
                <a:cubicBezTo>
                  <a:pt x="3106633" y="5474406"/>
                  <a:pt x="3105836" y="5478400"/>
                  <a:pt x="3104370" y="5481995"/>
                </a:cubicBezTo>
                <a:cubicBezTo>
                  <a:pt x="3102906" y="5485590"/>
                  <a:pt x="3100776" y="5488651"/>
                  <a:pt x="3098247" y="5491314"/>
                </a:cubicBezTo>
                <a:cubicBezTo>
                  <a:pt x="3095585" y="5493976"/>
                  <a:pt x="3092523" y="5496106"/>
                  <a:pt x="3088929" y="5497570"/>
                </a:cubicBezTo>
                <a:cubicBezTo>
                  <a:pt x="3085335" y="5499034"/>
                  <a:pt x="3081474" y="5499833"/>
                  <a:pt x="3077214" y="5499833"/>
                </a:cubicBezTo>
                <a:cubicBezTo>
                  <a:pt x="3068293" y="5499833"/>
                  <a:pt x="3060970" y="5496904"/>
                  <a:pt x="3055375" y="5491314"/>
                </a:cubicBezTo>
                <a:cubicBezTo>
                  <a:pt x="3049785" y="5485722"/>
                  <a:pt x="3046989" y="5478533"/>
                  <a:pt x="3046989" y="5470147"/>
                </a:cubicBezTo>
                <a:cubicBezTo>
                  <a:pt x="3046989" y="5461894"/>
                  <a:pt x="3049785" y="5454838"/>
                  <a:pt x="3055375" y="5449114"/>
                </a:cubicBezTo>
                <a:cubicBezTo>
                  <a:pt x="3060970" y="5443257"/>
                  <a:pt x="3068160" y="5440462"/>
                  <a:pt x="3077214" y="5440462"/>
                </a:cubicBezTo>
                <a:close/>
                <a:moveTo>
                  <a:pt x="2859553" y="5440462"/>
                </a:moveTo>
                <a:cubicBezTo>
                  <a:pt x="2863814" y="5440462"/>
                  <a:pt x="2867675" y="5441261"/>
                  <a:pt x="2871401" y="5443124"/>
                </a:cubicBezTo>
                <a:cubicBezTo>
                  <a:pt x="2875128" y="5444722"/>
                  <a:pt x="2878190" y="5446852"/>
                  <a:pt x="2880719" y="5449514"/>
                </a:cubicBezTo>
                <a:cubicBezTo>
                  <a:pt x="2883381" y="5452043"/>
                  <a:pt x="2885379" y="5455238"/>
                  <a:pt x="2886843" y="5458832"/>
                </a:cubicBezTo>
                <a:cubicBezTo>
                  <a:pt x="2888307" y="5462426"/>
                  <a:pt x="2889106" y="5466153"/>
                  <a:pt x="2889106" y="5470280"/>
                </a:cubicBezTo>
                <a:cubicBezTo>
                  <a:pt x="2889106" y="5474406"/>
                  <a:pt x="2888307" y="5478400"/>
                  <a:pt x="2886843" y="5481995"/>
                </a:cubicBezTo>
                <a:cubicBezTo>
                  <a:pt x="2885379" y="5485590"/>
                  <a:pt x="2883249" y="5488651"/>
                  <a:pt x="2880719" y="5491314"/>
                </a:cubicBezTo>
                <a:cubicBezTo>
                  <a:pt x="2878058" y="5493976"/>
                  <a:pt x="2874995" y="5496106"/>
                  <a:pt x="2871401" y="5497570"/>
                </a:cubicBezTo>
                <a:cubicBezTo>
                  <a:pt x="2867675" y="5499034"/>
                  <a:pt x="2863814" y="5499833"/>
                  <a:pt x="2859553" y="5499833"/>
                </a:cubicBezTo>
                <a:cubicBezTo>
                  <a:pt x="2850635" y="5499833"/>
                  <a:pt x="2843307" y="5496904"/>
                  <a:pt x="2837715" y="5491314"/>
                </a:cubicBezTo>
                <a:cubicBezTo>
                  <a:pt x="2832124" y="5485722"/>
                  <a:pt x="2829328" y="5478533"/>
                  <a:pt x="2829328" y="5470147"/>
                </a:cubicBezTo>
                <a:cubicBezTo>
                  <a:pt x="2829328" y="5461894"/>
                  <a:pt x="2832124" y="5454838"/>
                  <a:pt x="2837715" y="5449114"/>
                </a:cubicBezTo>
                <a:cubicBezTo>
                  <a:pt x="2843307" y="5443257"/>
                  <a:pt x="2850501" y="5440462"/>
                  <a:pt x="2859553" y="5440462"/>
                </a:cubicBezTo>
                <a:close/>
                <a:moveTo>
                  <a:pt x="2641892" y="5440462"/>
                </a:moveTo>
                <a:cubicBezTo>
                  <a:pt x="2646153" y="5440462"/>
                  <a:pt x="2650012" y="5441261"/>
                  <a:pt x="2653608" y="5443124"/>
                </a:cubicBezTo>
                <a:cubicBezTo>
                  <a:pt x="2657335" y="5444722"/>
                  <a:pt x="2660397" y="5446852"/>
                  <a:pt x="2662926" y="5449514"/>
                </a:cubicBezTo>
                <a:cubicBezTo>
                  <a:pt x="2665588" y="5452043"/>
                  <a:pt x="2667585" y="5455238"/>
                  <a:pt x="2669049" y="5458832"/>
                </a:cubicBezTo>
                <a:cubicBezTo>
                  <a:pt x="2670513" y="5462426"/>
                  <a:pt x="2671312" y="5466153"/>
                  <a:pt x="2671312" y="5470280"/>
                </a:cubicBezTo>
                <a:cubicBezTo>
                  <a:pt x="2671312" y="5474406"/>
                  <a:pt x="2670513" y="5478400"/>
                  <a:pt x="2669049" y="5481995"/>
                </a:cubicBezTo>
                <a:cubicBezTo>
                  <a:pt x="2667585" y="5485590"/>
                  <a:pt x="2665455" y="5488651"/>
                  <a:pt x="2662926" y="5491314"/>
                </a:cubicBezTo>
                <a:cubicBezTo>
                  <a:pt x="2660397" y="5493976"/>
                  <a:pt x="2657201" y="5496106"/>
                  <a:pt x="2653608" y="5497570"/>
                </a:cubicBezTo>
                <a:cubicBezTo>
                  <a:pt x="2650012" y="5499034"/>
                  <a:pt x="2646153" y="5499833"/>
                  <a:pt x="2641892" y="5499833"/>
                </a:cubicBezTo>
                <a:cubicBezTo>
                  <a:pt x="2632973" y="5499833"/>
                  <a:pt x="2625651" y="5496904"/>
                  <a:pt x="2620060" y="5491314"/>
                </a:cubicBezTo>
                <a:cubicBezTo>
                  <a:pt x="2614467" y="5485722"/>
                  <a:pt x="2611669" y="5478533"/>
                  <a:pt x="2611669" y="5470147"/>
                </a:cubicBezTo>
                <a:cubicBezTo>
                  <a:pt x="2611669" y="5461894"/>
                  <a:pt x="2614467" y="5454838"/>
                  <a:pt x="2620060" y="5449114"/>
                </a:cubicBezTo>
                <a:cubicBezTo>
                  <a:pt x="2625651" y="5443257"/>
                  <a:pt x="2632840" y="5440462"/>
                  <a:pt x="2641892" y="5440462"/>
                </a:cubicBezTo>
                <a:close/>
                <a:moveTo>
                  <a:pt x="2424231" y="5440462"/>
                </a:moveTo>
                <a:cubicBezTo>
                  <a:pt x="2428492" y="5440462"/>
                  <a:pt x="2432486" y="5441261"/>
                  <a:pt x="2435947" y="5443124"/>
                </a:cubicBezTo>
                <a:cubicBezTo>
                  <a:pt x="2439674" y="5444722"/>
                  <a:pt x="2442736" y="5446852"/>
                  <a:pt x="2445265" y="5449514"/>
                </a:cubicBezTo>
                <a:cubicBezTo>
                  <a:pt x="2447927" y="5452043"/>
                  <a:pt x="2449924" y="5455238"/>
                  <a:pt x="2451388" y="5458832"/>
                </a:cubicBezTo>
                <a:cubicBezTo>
                  <a:pt x="2452852" y="5462426"/>
                  <a:pt x="2453651" y="5466153"/>
                  <a:pt x="2453651" y="5470280"/>
                </a:cubicBezTo>
                <a:cubicBezTo>
                  <a:pt x="2453651" y="5474406"/>
                  <a:pt x="2452852" y="5478400"/>
                  <a:pt x="2451388" y="5481995"/>
                </a:cubicBezTo>
                <a:cubicBezTo>
                  <a:pt x="2449924" y="5485590"/>
                  <a:pt x="2447794" y="5488651"/>
                  <a:pt x="2445265" y="5491314"/>
                </a:cubicBezTo>
                <a:cubicBezTo>
                  <a:pt x="2442736" y="5493976"/>
                  <a:pt x="2439541" y="5496106"/>
                  <a:pt x="2435947" y="5497570"/>
                </a:cubicBezTo>
                <a:cubicBezTo>
                  <a:pt x="2432353" y="5499034"/>
                  <a:pt x="2428492" y="5499833"/>
                  <a:pt x="2424231" y="5499833"/>
                </a:cubicBezTo>
                <a:cubicBezTo>
                  <a:pt x="2415313" y="5499833"/>
                  <a:pt x="2407991" y="5496904"/>
                  <a:pt x="2402399" y="5491314"/>
                </a:cubicBezTo>
                <a:cubicBezTo>
                  <a:pt x="2396807" y="5485722"/>
                  <a:pt x="2394010" y="5478533"/>
                  <a:pt x="2394010" y="5470147"/>
                </a:cubicBezTo>
                <a:cubicBezTo>
                  <a:pt x="2394010" y="5461894"/>
                  <a:pt x="2396807" y="5454838"/>
                  <a:pt x="2402399" y="5449114"/>
                </a:cubicBezTo>
                <a:cubicBezTo>
                  <a:pt x="2407991" y="5443257"/>
                  <a:pt x="2415179" y="5440462"/>
                  <a:pt x="2424231" y="5440462"/>
                </a:cubicBezTo>
                <a:close/>
                <a:moveTo>
                  <a:pt x="2206571" y="5440462"/>
                </a:moveTo>
                <a:cubicBezTo>
                  <a:pt x="2210831" y="5440462"/>
                  <a:pt x="2214825" y="5441261"/>
                  <a:pt x="2218286" y="5443124"/>
                </a:cubicBezTo>
                <a:cubicBezTo>
                  <a:pt x="2222013" y="5444722"/>
                  <a:pt x="2225074" y="5446852"/>
                  <a:pt x="2227604" y="5449514"/>
                </a:cubicBezTo>
                <a:cubicBezTo>
                  <a:pt x="2230266" y="5452043"/>
                  <a:pt x="2232263" y="5455238"/>
                  <a:pt x="2233727" y="5458832"/>
                </a:cubicBezTo>
                <a:cubicBezTo>
                  <a:pt x="2235191" y="5462426"/>
                  <a:pt x="2235990" y="5466153"/>
                  <a:pt x="2235990" y="5470280"/>
                </a:cubicBezTo>
                <a:cubicBezTo>
                  <a:pt x="2235990" y="5474406"/>
                  <a:pt x="2235191" y="5478400"/>
                  <a:pt x="2233727" y="5481995"/>
                </a:cubicBezTo>
                <a:cubicBezTo>
                  <a:pt x="2232263" y="5485590"/>
                  <a:pt x="2230133" y="5488651"/>
                  <a:pt x="2227604" y="5491314"/>
                </a:cubicBezTo>
                <a:cubicBezTo>
                  <a:pt x="2225074" y="5493976"/>
                  <a:pt x="2221880" y="5496106"/>
                  <a:pt x="2218286" y="5497570"/>
                </a:cubicBezTo>
                <a:cubicBezTo>
                  <a:pt x="2214691" y="5499034"/>
                  <a:pt x="2210831" y="5499833"/>
                  <a:pt x="2206571" y="5499833"/>
                </a:cubicBezTo>
                <a:cubicBezTo>
                  <a:pt x="2197518" y="5499833"/>
                  <a:pt x="2190330" y="5496904"/>
                  <a:pt x="2184738" y="5491314"/>
                </a:cubicBezTo>
                <a:cubicBezTo>
                  <a:pt x="2179145" y="5485722"/>
                  <a:pt x="2176350" y="5478533"/>
                  <a:pt x="2176350" y="5470147"/>
                </a:cubicBezTo>
                <a:cubicBezTo>
                  <a:pt x="2176350" y="5461894"/>
                  <a:pt x="2179145" y="5454838"/>
                  <a:pt x="2184738" y="5449114"/>
                </a:cubicBezTo>
                <a:cubicBezTo>
                  <a:pt x="2190330" y="5443257"/>
                  <a:pt x="2197518" y="5440462"/>
                  <a:pt x="2206571" y="5440462"/>
                </a:cubicBezTo>
                <a:close/>
                <a:moveTo>
                  <a:pt x="1989043" y="5440462"/>
                </a:moveTo>
                <a:cubicBezTo>
                  <a:pt x="1993170" y="5440462"/>
                  <a:pt x="1997164" y="5441261"/>
                  <a:pt x="2000758" y="5443124"/>
                </a:cubicBezTo>
                <a:cubicBezTo>
                  <a:pt x="2004485" y="5444722"/>
                  <a:pt x="2007547" y="5446852"/>
                  <a:pt x="2010076" y="5449514"/>
                </a:cubicBezTo>
                <a:cubicBezTo>
                  <a:pt x="2012738" y="5452043"/>
                  <a:pt x="2014735" y="5455238"/>
                  <a:pt x="2016199" y="5458832"/>
                </a:cubicBezTo>
                <a:cubicBezTo>
                  <a:pt x="2017663" y="5462426"/>
                  <a:pt x="2018462" y="5466153"/>
                  <a:pt x="2018462" y="5470280"/>
                </a:cubicBezTo>
                <a:cubicBezTo>
                  <a:pt x="2018462" y="5474406"/>
                  <a:pt x="2017663" y="5478400"/>
                  <a:pt x="2016199" y="5481995"/>
                </a:cubicBezTo>
                <a:cubicBezTo>
                  <a:pt x="2014735" y="5485590"/>
                  <a:pt x="2012605" y="5488651"/>
                  <a:pt x="2010076" y="5491314"/>
                </a:cubicBezTo>
                <a:cubicBezTo>
                  <a:pt x="2007547" y="5493976"/>
                  <a:pt x="2004352" y="5496106"/>
                  <a:pt x="2000758" y="5497570"/>
                </a:cubicBezTo>
                <a:cubicBezTo>
                  <a:pt x="1997164" y="5499034"/>
                  <a:pt x="1993303" y="5499833"/>
                  <a:pt x="1989043" y="5499833"/>
                </a:cubicBezTo>
                <a:cubicBezTo>
                  <a:pt x="1979992" y="5499833"/>
                  <a:pt x="1972803" y="5496904"/>
                  <a:pt x="1967212" y="5491314"/>
                </a:cubicBezTo>
                <a:cubicBezTo>
                  <a:pt x="1961621" y="5485722"/>
                  <a:pt x="1958825" y="5478533"/>
                  <a:pt x="1958825" y="5470147"/>
                </a:cubicBezTo>
                <a:cubicBezTo>
                  <a:pt x="1958825" y="5461894"/>
                  <a:pt x="1961621" y="5454838"/>
                  <a:pt x="1967212" y="5449114"/>
                </a:cubicBezTo>
                <a:cubicBezTo>
                  <a:pt x="1972803" y="5443257"/>
                  <a:pt x="1979992" y="5440462"/>
                  <a:pt x="1989043" y="5440462"/>
                </a:cubicBezTo>
                <a:close/>
                <a:moveTo>
                  <a:pt x="1771409" y="5440462"/>
                </a:moveTo>
                <a:cubicBezTo>
                  <a:pt x="1775668" y="5440462"/>
                  <a:pt x="1779528" y="5441261"/>
                  <a:pt x="1783123" y="5443124"/>
                </a:cubicBezTo>
                <a:cubicBezTo>
                  <a:pt x="1786850" y="5444722"/>
                  <a:pt x="1789912" y="5446852"/>
                  <a:pt x="1792441" y="5449514"/>
                </a:cubicBezTo>
                <a:cubicBezTo>
                  <a:pt x="1795103" y="5452043"/>
                  <a:pt x="1797100" y="5455238"/>
                  <a:pt x="1798564" y="5458832"/>
                </a:cubicBezTo>
                <a:cubicBezTo>
                  <a:pt x="1800027" y="5462426"/>
                  <a:pt x="1800826" y="5466153"/>
                  <a:pt x="1800826" y="5470280"/>
                </a:cubicBezTo>
                <a:cubicBezTo>
                  <a:pt x="1800826" y="5474406"/>
                  <a:pt x="1800027" y="5478400"/>
                  <a:pt x="1798564" y="5481995"/>
                </a:cubicBezTo>
                <a:cubicBezTo>
                  <a:pt x="1797100" y="5485590"/>
                  <a:pt x="1794970" y="5488651"/>
                  <a:pt x="1792441" y="5491314"/>
                </a:cubicBezTo>
                <a:cubicBezTo>
                  <a:pt x="1789778" y="5493976"/>
                  <a:pt x="1786717" y="5496106"/>
                  <a:pt x="1783123" y="5497570"/>
                </a:cubicBezTo>
                <a:cubicBezTo>
                  <a:pt x="1779528" y="5499034"/>
                  <a:pt x="1775668" y="5499833"/>
                  <a:pt x="1771409" y="5499833"/>
                </a:cubicBezTo>
                <a:cubicBezTo>
                  <a:pt x="1762490" y="5499833"/>
                  <a:pt x="1755170" y="5496904"/>
                  <a:pt x="1749580" y="5491314"/>
                </a:cubicBezTo>
                <a:cubicBezTo>
                  <a:pt x="1743989" y="5485722"/>
                  <a:pt x="1741196" y="5478533"/>
                  <a:pt x="1741196" y="5470147"/>
                </a:cubicBezTo>
                <a:cubicBezTo>
                  <a:pt x="1741196" y="5461894"/>
                  <a:pt x="1743989" y="5454838"/>
                  <a:pt x="1749580" y="5449114"/>
                </a:cubicBezTo>
                <a:cubicBezTo>
                  <a:pt x="1755170" y="5443257"/>
                  <a:pt x="1762357" y="5440462"/>
                  <a:pt x="1771409" y="5440462"/>
                </a:cubicBezTo>
                <a:close/>
                <a:moveTo>
                  <a:pt x="1553772" y="5440462"/>
                </a:moveTo>
                <a:cubicBezTo>
                  <a:pt x="1558032" y="5440462"/>
                  <a:pt x="1561893" y="5441261"/>
                  <a:pt x="1565487" y="5443124"/>
                </a:cubicBezTo>
                <a:cubicBezTo>
                  <a:pt x="1569081" y="5444722"/>
                  <a:pt x="1572276" y="5446852"/>
                  <a:pt x="1574805" y="5449514"/>
                </a:cubicBezTo>
                <a:cubicBezTo>
                  <a:pt x="1577467" y="5452043"/>
                  <a:pt x="1579464" y="5455238"/>
                  <a:pt x="1580928" y="5458832"/>
                </a:cubicBezTo>
                <a:cubicBezTo>
                  <a:pt x="1582392" y="5462426"/>
                  <a:pt x="1583191" y="5466153"/>
                  <a:pt x="1583191" y="5470280"/>
                </a:cubicBezTo>
                <a:cubicBezTo>
                  <a:pt x="1583191" y="5474406"/>
                  <a:pt x="1582392" y="5478400"/>
                  <a:pt x="1580928" y="5481995"/>
                </a:cubicBezTo>
                <a:cubicBezTo>
                  <a:pt x="1579464" y="5485590"/>
                  <a:pt x="1577334" y="5488651"/>
                  <a:pt x="1574805" y="5491314"/>
                </a:cubicBezTo>
                <a:cubicBezTo>
                  <a:pt x="1572143" y="5493976"/>
                  <a:pt x="1569081" y="5496106"/>
                  <a:pt x="1565487" y="5497570"/>
                </a:cubicBezTo>
                <a:cubicBezTo>
                  <a:pt x="1561893" y="5499034"/>
                  <a:pt x="1558032" y="5499833"/>
                  <a:pt x="1553772" y="5499833"/>
                </a:cubicBezTo>
                <a:cubicBezTo>
                  <a:pt x="1544853" y="5499833"/>
                  <a:pt x="1537532" y="5496904"/>
                  <a:pt x="1531942" y="5491314"/>
                </a:cubicBezTo>
                <a:cubicBezTo>
                  <a:pt x="1526353" y="5485722"/>
                  <a:pt x="1523557" y="5478533"/>
                  <a:pt x="1523557" y="5470147"/>
                </a:cubicBezTo>
                <a:cubicBezTo>
                  <a:pt x="1523557" y="5461894"/>
                  <a:pt x="1526353" y="5454838"/>
                  <a:pt x="1531942" y="5449114"/>
                </a:cubicBezTo>
                <a:cubicBezTo>
                  <a:pt x="1537532" y="5443257"/>
                  <a:pt x="1544719" y="5440462"/>
                  <a:pt x="1553772" y="5440462"/>
                </a:cubicBezTo>
                <a:close/>
                <a:moveTo>
                  <a:pt x="1336129" y="5440462"/>
                </a:moveTo>
                <a:cubicBezTo>
                  <a:pt x="1340388" y="5440462"/>
                  <a:pt x="1344383" y="5441261"/>
                  <a:pt x="1347844" y="5443124"/>
                </a:cubicBezTo>
                <a:cubicBezTo>
                  <a:pt x="1351437" y="5444722"/>
                  <a:pt x="1354632" y="5446852"/>
                  <a:pt x="1357162" y="5449514"/>
                </a:cubicBezTo>
                <a:cubicBezTo>
                  <a:pt x="1359824" y="5452043"/>
                  <a:pt x="1361821" y="5455238"/>
                  <a:pt x="1363285" y="5458832"/>
                </a:cubicBezTo>
                <a:cubicBezTo>
                  <a:pt x="1364749" y="5462426"/>
                  <a:pt x="1365547" y="5466153"/>
                  <a:pt x="1365547" y="5470280"/>
                </a:cubicBezTo>
                <a:cubicBezTo>
                  <a:pt x="1365547" y="5474406"/>
                  <a:pt x="1364749" y="5478400"/>
                  <a:pt x="1363285" y="5481995"/>
                </a:cubicBezTo>
                <a:cubicBezTo>
                  <a:pt x="1361821" y="5485590"/>
                  <a:pt x="1359691" y="5488651"/>
                  <a:pt x="1357162" y="5491314"/>
                </a:cubicBezTo>
                <a:cubicBezTo>
                  <a:pt x="1354498" y="5493976"/>
                  <a:pt x="1351437" y="5496106"/>
                  <a:pt x="1347844" y="5497570"/>
                </a:cubicBezTo>
                <a:cubicBezTo>
                  <a:pt x="1344250" y="5499034"/>
                  <a:pt x="1340388" y="5499833"/>
                  <a:pt x="1336129" y="5499833"/>
                </a:cubicBezTo>
                <a:cubicBezTo>
                  <a:pt x="1327208" y="5499833"/>
                  <a:pt x="1319887" y="5496904"/>
                  <a:pt x="1314296" y="5491314"/>
                </a:cubicBezTo>
                <a:cubicBezTo>
                  <a:pt x="1308705" y="5485722"/>
                  <a:pt x="1305910" y="5478533"/>
                  <a:pt x="1305910" y="5470147"/>
                </a:cubicBezTo>
                <a:cubicBezTo>
                  <a:pt x="1305910" y="5461894"/>
                  <a:pt x="1308705" y="5454838"/>
                  <a:pt x="1314296" y="5449114"/>
                </a:cubicBezTo>
                <a:cubicBezTo>
                  <a:pt x="1319887" y="5443257"/>
                  <a:pt x="1327075" y="5440462"/>
                  <a:pt x="1336129" y="5440462"/>
                </a:cubicBezTo>
                <a:close/>
                <a:moveTo>
                  <a:pt x="1118483" y="5440462"/>
                </a:moveTo>
                <a:cubicBezTo>
                  <a:pt x="1122744" y="5440462"/>
                  <a:pt x="1126740" y="5441261"/>
                  <a:pt x="1130201" y="5443124"/>
                </a:cubicBezTo>
                <a:cubicBezTo>
                  <a:pt x="1133927" y="5444722"/>
                  <a:pt x="1136989" y="5446852"/>
                  <a:pt x="1139516" y="5449514"/>
                </a:cubicBezTo>
                <a:cubicBezTo>
                  <a:pt x="1142176" y="5452043"/>
                  <a:pt x="1144173" y="5455238"/>
                  <a:pt x="1145636" y="5458832"/>
                </a:cubicBezTo>
                <a:cubicBezTo>
                  <a:pt x="1147100" y="5462426"/>
                  <a:pt x="1147899" y="5466153"/>
                  <a:pt x="1147899" y="5470280"/>
                </a:cubicBezTo>
                <a:cubicBezTo>
                  <a:pt x="1147899" y="5474406"/>
                  <a:pt x="1147100" y="5478400"/>
                  <a:pt x="1145636" y="5481995"/>
                </a:cubicBezTo>
                <a:cubicBezTo>
                  <a:pt x="1144173" y="5485590"/>
                  <a:pt x="1142044" y="5488651"/>
                  <a:pt x="1139516" y="5491314"/>
                </a:cubicBezTo>
                <a:cubicBezTo>
                  <a:pt x="1136989" y="5493976"/>
                  <a:pt x="1133794" y="5496106"/>
                  <a:pt x="1130201" y="5497570"/>
                </a:cubicBezTo>
                <a:cubicBezTo>
                  <a:pt x="1126605" y="5499034"/>
                  <a:pt x="1122744" y="5499833"/>
                  <a:pt x="1118483" y="5499833"/>
                </a:cubicBezTo>
                <a:cubicBezTo>
                  <a:pt x="1109563" y="5499833"/>
                  <a:pt x="1102239" y="5496904"/>
                  <a:pt x="1096648" y="5491314"/>
                </a:cubicBezTo>
                <a:cubicBezTo>
                  <a:pt x="1091058" y="5485722"/>
                  <a:pt x="1088263" y="5478533"/>
                  <a:pt x="1088263" y="5470147"/>
                </a:cubicBezTo>
                <a:cubicBezTo>
                  <a:pt x="1088263" y="5461894"/>
                  <a:pt x="1091058" y="5454838"/>
                  <a:pt x="1096648" y="5449114"/>
                </a:cubicBezTo>
                <a:cubicBezTo>
                  <a:pt x="1102239" y="5443257"/>
                  <a:pt x="1109429" y="5440462"/>
                  <a:pt x="1118483" y="5440462"/>
                </a:cubicBezTo>
                <a:close/>
                <a:moveTo>
                  <a:pt x="900970" y="5440462"/>
                </a:moveTo>
                <a:cubicBezTo>
                  <a:pt x="905097" y="5440462"/>
                  <a:pt x="909091" y="5441261"/>
                  <a:pt x="912685" y="5443124"/>
                </a:cubicBezTo>
                <a:cubicBezTo>
                  <a:pt x="916412" y="5444722"/>
                  <a:pt x="919474" y="5446852"/>
                  <a:pt x="922003" y="5449514"/>
                </a:cubicBezTo>
                <a:cubicBezTo>
                  <a:pt x="924665" y="5452043"/>
                  <a:pt x="926662" y="5455238"/>
                  <a:pt x="928126" y="5458832"/>
                </a:cubicBezTo>
                <a:cubicBezTo>
                  <a:pt x="929590" y="5462426"/>
                  <a:pt x="930389" y="5466153"/>
                  <a:pt x="930389" y="5470280"/>
                </a:cubicBezTo>
                <a:cubicBezTo>
                  <a:pt x="930389" y="5474406"/>
                  <a:pt x="929590" y="5478400"/>
                  <a:pt x="928126" y="5481995"/>
                </a:cubicBezTo>
                <a:cubicBezTo>
                  <a:pt x="926662" y="5485590"/>
                  <a:pt x="924532" y="5488651"/>
                  <a:pt x="922003" y="5491314"/>
                </a:cubicBezTo>
                <a:cubicBezTo>
                  <a:pt x="919474" y="5493976"/>
                  <a:pt x="916279" y="5496106"/>
                  <a:pt x="912685" y="5497570"/>
                </a:cubicBezTo>
                <a:cubicBezTo>
                  <a:pt x="909091" y="5499034"/>
                  <a:pt x="905230" y="5499833"/>
                  <a:pt x="900970" y="5499833"/>
                </a:cubicBezTo>
                <a:cubicBezTo>
                  <a:pt x="892052" y="5499833"/>
                  <a:pt x="884730" y="5496904"/>
                  <a:pt x="879139" y="5491314"/>
                </a:cubicBezTo>
                <a:cubicBezTo>
                  <a:pt x="873550" y="5485722"/>
                  <a:pt x="870754" y="5478533"/>
                  <a:pt x="870754" y="5470147"/>
                </a:cubicBezTo>
                <a:cubicBezTo>
                  <a:pt x="870754" y="5461894"/>
                  <a:pt x="873550" y="5454838"/>
                  <a:pt x="879139" y="5449114"/>
                </a:cubicBezTo>
                <a:cubicBezTo>
                  <a:pt x="884730" y="5443257"/>
                  <a:pt x="891919" y="5440462"/>
                  <a:pt x="900970" y="5440462"/>
                </a:cubicBezTo>
                <a:close/>
                <a:moveTo>
                  <a:pt x="683330" y="5440462"/>
                </a:moveTo>
                <a:cubicBezTo>
                  <a:pt x="687590" y="5440462"/>
                  <a:pt x="691451" y="5441261"/>
                  <a:pt x="695045" y="5443124"/>
                </a:cubicBezTo>
                <a:cubicBezTo>
                  <a:pt x="698772" y="5444722"/>
                  <a:pt x="701834" y="5446852"/>
                  <a:pt x="704362" y="5449514"/>
                </a:cubicBezTo>
                <a:cubicBezTo>
                  <a:pt x="707024" y="5452043"/>
                  <a:pt x="709021" y="5455238"/>
                  <a:pt x="710485" y="5458832"/>
                </a:cubicBezTo>
                <a:cubicBezTo>
                  <a:pt x="711949" y="5462426"/>
                  <a:pt x="712748" y="5466153"/>
                  <a:pt x="712748" y="5470280"/>
                </a:cubicBezTo>
                <a:cubicBezTo>
                  <a:pt x="712748" y="5474406"/>
                  <a:pt x="711949" y="5478400"/>
                  <a:pt x="710485" y="5481995"/>
                </a:cubicBezTo>
                <a:cubicBezTo>
                  <a:pt x="709021" y="5485590"/>
                  <a:pt x="706891" y="5488651"/>
                  <a:pt x="704362" y="5491314"/>
                </a:cubicBezTo>
                <a:cubicBezTo>
                  <a:pt x="701834" y="5493976"/>
                  <a:pt x="698639" y="5496106"/>
                  <a:pt x="695045" y="5497570"/>
                </a:cubicBezTo>
                <a:cubicBezTo>
                  <a:pt x="691451" y="5499034"/>
                  <a:pt x="687590" y="5499833"/>
                  <a:pt x="683330" y="5499833"/>
                </a:cubicBezTo>
                <a:cubicBezTo>
                  <a:pt x="674412" y="5499833"/>
                  <a:pt x="667089" y="5496904"/>
                  <a:pt x="661498" y="5491314"/>
                </a:cubicBezTo>
                <a:cubicBezTo>
                  <a:pt x="655907" y="5485722"/>
                  <a:pt x="653112" y="5478533"/>
                  <a:pt x="653112" y="5470147"/>
                </a:cubicBezTo>
                <a:cubicBezTo>
                  <a:pt x="653112" y="5461894"/>
                  <a:pt x="655907" y="5454838"/>
                  <a:pt x="661498" y="5449114"/>
                </a:cubicBezTo>
                <a:cubicBezTo>
                  <a:pt x="667089" y="5443257"/>
                  <a:pt x="674278" y="5440462"/>
                  <a:pt x="683330" y="5440462"/>
                </a:cubicBezTo>
                <a:close/>
                <a:moveTo>
                  <a:pt x="465688" y="5440462"/>
                </a:moveTo>
                <a:cubicBezTo>
                  <a:pt x="469948" y="5440462"/>
                  <a:pt x="473809" y="5441261"/>
                  <a:pt x="477404" y="5443124"/>
                </a:cubicBezTo>
                <a:cubicBezTo>
                  <a:pt x="481131" y="5444722"/>
                  <a:pt x="484192" y="5446852"/>
                  <a:pt x="486721" y="5449514"/>
                </a:cubicBezTo>
                <a:cubicBezTo>
                  <a:pt x="489383" y="5452043"/>
                  <a:pt x="491380" y="5455238"/>
                  <a:pt x="492844" y="5458832"/>
                </a:cubicBezTo>
                <a:cubicBezTo>
                  <a:pt x="494308" y="5462426"/>
                  <a:pt x="495107" y="5466153"/>
                  <a:pt x="495107" y="5470280"/>
                </a:cubicBezTo>
                <a:cubicBezTo>
                  <a:pt x="495107" y="5474406"/>
                  <a:pt x="494308" y="5478400"/>
                  <a:pt x="492844" y="5481995"/>
                </a:cubicBezTo>
                <a:cubicBezTo>
                  <a:pt x="491380" y="5485590"/>
                  <a:pt x="489250" y="5488651"/>
                  <a:pt x="486721" y="5491314"/>
                </a:cubicBezTo>
                <a:cubicBezTo>
                  <a:pt x="484058" y="5493976"/>
                  <a:pt x="480998" y="5496106"/>
                  <a:pt x="477404" y="5497570"/>
                </a:cubicBezTo>
                <a:cubicBezTo>
                  <a:pt x="473809" y="5499034"/>
                  <a:pt x="469948" y="5499833"/>
                  <a:pt x="465688" y="5499833"/>
                </a:cubicBezTo>
                <a:cubicBezTo>
                  <a:pt x="456770" y="5499833"/>
                  <a:pt x="449448" y="5496904"/>
                  <a:pt x="443857" y="5491314"/>
                </a:cubicBezTo>
                <a:cubicBezTo>
                  <a:pt x="438266" y="5485722"/>
                  <a:pt x="435471" y="5478533"/>
                  <a:pt x="435471" y="5470147"/>
                </a:cubicBezTo>
                <a:cubicBezTo>
                  <a:pt x="435471" y="5461894"/>
                  <a:pt x="438266" y="5454838"/>
                  <a:pt x="443857" y="5449114"/>
                </a:cubicBezTo>
                <a:cubicBezTo>
                  <a:pt x="449448" y="5443257"/>
                  <a:pt x="456637" y="5440462"/>
                  <a:pt x="465688" y="5440462"/>
                </a:cubicBezTo>
                <a:close/>
                <a:moveTo>
                  <a:pt x="248047" y="5440462"/>
                </a:moveTo>
                <a:cubicBezTo>
                  <a:pt x="252306" y="5440462"/>
                  <a:pt x="256300" y="5441261"/>
                  <a:pt x="259761" y="5443124"/>
                </a:cubicBezTo>
                <a:cubicBezTo>
                  <a:pt x="263488" y="5444722"/>
                  <a:pt x="266550" y="5446852"/>
                  <a:pt x="269079" y="5449514"/>
                </a:cubicBezTo>
                <a:cubicBezTo>
                  <a:pt x="271741" y="5452043"/>
                  <a:pt x="273738" y="5455238"/>
                  <a:pt x="275202" y="5458832"/>
                </a:cubicBezTo>
                <a:cubicBezTo>
                  <a:pt x="276666" y="5462426"/>
                  <a:pt x="277465" y="5466153"/>
                  <a:pt x="277465" y="5470280"/>
                </a:cubicBezTo>
                <a:cubicBezTo>
                  <a:pt x="277465" y="5474406"/>
                  <a:pt x="276666" y="5478400"/>
                  <a:pt x="275202" y="5481995"/>
                </a:cubicBezTo>
                <a:cubicBezTo>
                  <a:pt x="273738" y="5485590"/>
                  <a:pt x="271608" y="5488651"/>
                  <a:pt x="269079" y="5491314"/>
                </a:cubicBezTo>
                <a:cubicBezTo>
                  <a:pt x="266416" y="5493976"/>
                  <a:pt x="263355" y="5496106"/>
                  <a:pt x="259761" y="5497570"/>
                </a:cubicBezTo>
                <a:cubicBezTo>
                  <a:pt x="256166" y="5499034"/>
                  <a:pt x="252306" y="5499833"/>
                  <a:pt x="248047" y="5499833"/>
                </a:cubicBezTo>
                <a:cubicBezTo>
                  <a:pt x="239129" y="5499833"/>
                  <a:pt x="231808" y="5496904"/>
                  <a:pt x="226217" y="5491314"/>
                </a:cubicBezTo>
                <a:cubicBezTo>
                  <a:pt x="220627" y="5485722"/>
                  <a:pt x="217832" y="5478533"/>
                  <a:pt x="217832" y="5470147"/>
                </a:cubicBezTo>
                <a:cubicBezTo>
                  <a:pt x="217832" y="5461894"/>
                  <a:pt x="220627" y="5454838"/>
                  <a:pt x="226217" y="5449114"/>
                </a:cubicBezTo>
                <a:cubicBezTo>
                  <a:pt x="231808" y="5443257"/>
                  <a:pt x="238995" y="5440462"/>
                  <a:pt x="248047" y="5440462"/>
                </a:cubicBezTo>
                <a:close/>
                <a:moveTo>
                  <a:pt x="30405" y="5440462"/>
                </a:moveTo>
                <a:cubicBezTo>
                  <a:pt x="34665" y="5440462"/>
                  <a:pt x="38659" y="5441261"/>
                  <a:pt x="42120" y="5443124"/>
                </a:cubicBezTo>
                <a:cubicBezTo>
                  <a:pt x="45847" y="5444722"/>
                  <a:pt x="48909" y="5446852"/>
                  <a:pt x="51438" y="5449514"/>
                </a:cubicBezTo>
                <a:cubicBezTo>
                  <a:pt x="54100" y="5452043"/>
                  <a:pt x="56097" y="5455238"/>
                  <a:pt x="57561" y="5458832"/>
                </a:cubicBezTo>
                <a:cubicBezTo>
                  <a:pt x="59025" y="5462426"/>
                  <a:pt x="59825" y="5466153"/>
                  <a:pt x="59825" y="5470280"/>
                </a:cubicBezTo>
                <a:cubicBezTo>
                  <a:pt x="59825" y="5474406"/>
                  <a:pt x="59025" y="5478400"/>
                  <a:pt x="57561" y="5481995"/>
                </a:cubicBezTo>
                <a:cubicBezTo>
                  <a:pt x="56097" y="5485590"/>
                  <a:pt x="53967" y="5488651"/>
                  <a:pt x="51438" y="5491314"/>
                </a:cubicBezTo>
                <a:cubicBezTo>
                  <a:pt x="48775" y="5493976"/>
                  <a:pt x="45714" y="5496106"/>
                  <a:pt x="42120" y="5497570"/>
                </a:cubicBezTo>
                <a:cubicBezTo>
                  <a:pt x="38526" y="5499034"/>
                  <a:pt x="34665" y="5499833"/>
                  <a:pt x="30405" y="5499833"/>
                </a:cubicBezTo>
                <a:cubicBezTo>
                  <a:pt x="21487" y="5499833"/>
                  <a:pt x="14167" y="5496904"/>
                  <a:pt x="8577" y="5491314"/>
                </a:cubicBezTo>
                <a:cubicBezTo>
                  <a:pt x="2986" y="5485722"/>
                  <a:pt x="191" y="5478533"/>
                  <a:pt x="191" y="5470147"/>
                </a:cubicBezTo>
                <a:cubicBezTo>
                  <a:pt x="191" y="5461894"/>
                  <a:pt x="2986" y="5454838"/>
                  <a:pt x="8577" y="5449114"/>
                </a:cubicBezTo>
                <a:cubicBezTo>
                  <a:pt x="14167" y="5443257"/>
                  <a:pt x="21353" y="5440462"/>
                  <a:pt x="30405" y="5440462"/>
                </a:cubicBezTo>
                <a:close/>
                <a:moveTo>
                  <a:pt x="10475977" y="5239589"/>
                </a:moveTo>
                <a:cubicBezTo>
                  <a:pt x="10470119" y="5239589"/>
                  <a:pt x="10467589" y="5241585"/>
                  <a:pt x="10465992" y="5243183"/>
                </a:cubicBezTo>
                <a:cubicBezTo>
                  <a:pt x="10463463" y="5245845"/>
                  <a:pt x="10462399" y="5248641"/>
                  <a:pt x="10462399" y="5252634"/>
                </a:cubicBezTo>
                <a:cubicBezTo>
                  <a:pt x="10462399" y="5256761"/>
                  <a:pt x="10463463" y="5259556"/>
                  <a:pt x="10465992" y="5262085"/>
                </a:cubicBezTo>
                <a:cubicBezTo>
                  <a:pt x="10467589" y="5263684"/>
                  <a:pt x="10470119" y="5265548"/>
                  <a:pt x="10475977" y="5265548"/>
                </a:cubicBezTo>
                <a:cubicBezTo>
                  <a:pt x="10478107" y="5265548"/>
                  <a:pt x="10479838" y="5265148"/>
                  <a:pt x="10481302" y="5264616"/>
                </a:cubicBezTo>
                <a:cubicBezTo>
                  <a:pt x="10482899" y="5264083"/>
                  <a:pt x="10484098" y="5263151"/>
                  <a:pt x="10485029" y="5262219"/>
                </a:cubicBezTo>
                <a:cubicBezTo>
                  <a:pt x="10486094" y="5261020"/>
                  <a:pt x="10487026" y="5259689"/>
                  <a:pt x="10487691" y="5257959"/>
                </a:cubicBezTo>
                <a:cubicBezTo>
                  <a:pt x="10488357" y="5256362"/>
                  <a:pt x="10488623" y="5254498"/>
                  <a:pt x="10488623" y="5252501"/>
                </a:cubicBezTo>
                <a:cubicBezTo>
                  <a:pt x="10488623" y="5250637"/>
                  <a:pt x="10488357" y="5248907"/>
                  <a:pt x="10487691" y="5247309"/>
                </a:cubicBezTo>
                <a:cubicBezTo>
                  <a:pt x="10487026" y="5245712"/>
                  <a:pt x="10486094" y="5244381"/>
                  <a:pt x="10485029" y="5243183"/>
                </a:cubicBezTo>
                <a:cubicBezTo>
                  <a:pt x="10483964" y="5242118"/>
                  <a:pt x="10482633" y="5241186"/>
                  <a:pt x="10481035" y="5240521"/>
                </a:cubicBezTo>
                <a:cubicBezTo>
                  <a:pt x="10479571" y="5239855"/>
                  <a:pt x="10477974" y="5239589"/>
                  <a:pt x="10475977" y="5239589"/>
                </a:cubicBezTo>
                <a:close/>
                <a:moveTo>
                  <a:pt x="10258466" y="5239589"/>
                </a:moveTo>
                <a:cubicBezTo>
                  <a:pt x="10252608" y="5239589"/>
                  <a:pt x="10250078" y="5241585"/>
                  <a:pt x="10248481" y="5243183"/>
                </a:cubicBezTo>
                <a:cubicBezTo>
                  <a:pt x="10245952" y="5245845"/>
                  <a:pt x="10244887" y="5248641"/>
                  <a:pt x="10244887" y="5252634"/>
                </a:cubicBezTo>
                <a:cubicBezTo>
                  <a:pt x="10244887" y="5256761"/>
                  <a:pt x="10245952" y="5259556"/>
                  <a:pt x="10248481" y="5262085"/>
                </a:cubicBezTo>
                <a:cubicBezTo>
                  <a:pt x="10250078" y="5263684"/>
                  <a:pt x="10252608" y="5265548"/>
                  <a:pt x="10258466" y="5265548"/>
                </a:cubicBezTo>
                <a:cubicBezTo>
                  <a:pt x="10260462" y="5265548"/>
                  <a:pt x="10262192" y="5265148"/>
                  <a:pt x="10263790" y="5264616"/>
                </a:cubicBezTo>
                <a:cubicBezTo>
                  <a:pt x="10265388" y="5264083"/>
                  <a:pt x="10266586" y="5263151"/>
                  <a:pt x="10267517" y="5262219"/>
                </a:cubicBezTo>
                <a:cubicBezTo>
                  <a:pt x="10268583" y="5261020"/>
                  <a:pt x="10269515" y="5259689"/>
                  <a:pt x="10270180" y="5257959"/>
                </a:cubicBezTo>
                <a:cubicBezTo>
                  <a:pt x="10270845" y="5256362"/>
                  <a:pt x="10271112" y="5254498"/>
                  <a:pt x="10271112" y="5252501"/>
                </a:cubicBezTo>
                <a:cubicBezTo>
                  <a:pt x="10271112" y="5250637"/>
                  <a:pt x="10270845" y="5248907"/>
                  <a:pt x="10270180" y="5247309"/>
                </a:cubicBezTo>
                <a:cubicBezTo>
                  <a:pt x="10269515" y="5245712"/>
                  <a:pt x="10268583" y="5244381"/>
                  <a:pt x="10267517" y="5243183"/>
                </a:cubicBezTo>
                <a:cubicBezTo>
                  <a:pt x="10266452" y="5242118"/>
                  <a:pt x="10265121" y="5241186"/>
                  <a:pt x="10263524" y="5240521"/>
                </a:cubicBezTo>
                <a:cubicBezTo>
                  <a:pt x="10262060" y="5239855"/>
                  <a:pt x="10260462" y="5239589"/>
                  <a:pt x="10258466" y="5239589"/>
                </a:cubicBezTo>
                <a:close/>
                <a:moveTo>
                  <a:pt x="10040820" y="5239589"/>
                </a:moveTo>
                <a:cubicBezTo>
                  <a:pt x="10034962" y="5239589"/>
                  <a:pt x="10032433" y="5241585"/>
                  <a:pt x="10030835" y="5243183"/>
                </a:cubicBezTo>
                <a:cubicBezTo>
                  <a:pt x="10028306" y="5245845"/>
                  <a:pt x="10027242" y="5248641"/>
                  <a:pt x="10027242" y="5252634"/>
                </a:cubicBezTo>
                <a:cubicBezTo>
                  <a:pt x="10027242" y="5256761"/>
                  <a:pt x="10028306" y="5259556"/>
                  <a:pt x="10030835" y="5262085"/>
                </a:cubicBezTo>
                <a:cubicBezTo>
                  <a:pt x="10032433" y="5263684"/>
                  <a:pt x="10034962" y="5265548"/>
                  <a:pt x="10040820" y="5265548"/>
                </a:cubicBezTo>
                <a:cubicBezTo>
                  <a:pt x="10042817" y="5265548"/>
                  <a:pt x="10044681" y="5265148"/>
                  <a:pt x="10046145" y="5264616"/>
                </a:cubicBezTo>
                <a:cubicBezTo>
                  <a:pt x="10047742" y="5264083"/>
                  <a:pt x="10048941" y="5263151"/>
                  <a:pt x="10049872" y="5262219"/>
                </a:cubicBezTo>
                <a:cubicBezTo>
                  <a:pt x="10050937" y="5261020"/>
                  <a:pt x="10051869" y="5259689"/>
                  <a:pt x="10052534" y="5257959"/>
                </a:cubicBezTo>
                <a:cubicBezTo>
                  <a:pt x="10053333" y="5256362"/>
                  <a:pt x="10053599" y="5254498"/>
                  <a:pt x="10053599" y="5252501"/>
                </a:cubicBezTo>
                <a:cubicBezTo>
                  <a:pt x="10053599" y="5250637"/>
                  <a:pt x="10053200" y="5248907"/>
                  <a:pt x="10052534" y="5247309"/>
                </a:cubicBezTo>
                <a:cubicBezTo>
                  <a:pt x="10051869" y="5245712"/>
                  <a:pt x="10050937" y="5244381"/>
                  <a:pt x="10049872" y="5243183"/>
                </a:cubicBezTo>
                <a:cubicBezTo>
                  <a:pt x="10048807" y="5242118"/>
                  <a:pt x="10047476" y="5241186"/>
                  <a:pt x="10045878" y="5240521"/>
                </a:cubicBezTo>
                <a:cubicBezTo>
                  <a:pt x="10044414" y="5239855"/>
                  <a:pt x="10042817" y="5239589"/>
                  <a:pt x="10040820" y="5239589"/>
                </a:cubicBezTo>
                <a:close/>
                <a:moveTo>
                  <a:pt x="9823176" y="5239589"/>
                </a:moveTo>
                <a:cubicBezTo>
                  <a:pt x="9817318" y="5239589"/>
                  <a:pt x="9814788" y="5241585"/>
                  <a:pt x="9813191" y="5243183"/>
                </a:cubicBezTo>
                <a:cubicBezTo>
                  <a:pt x="9810662" y="5245845"/>
                  <a:pt x="9809597" y="5248641"/>
                  <a:pt x="9809597" y="5252634"/>
                </a:cubicBezTo>
                <a:cubicBezTo>
                  <a:pt x="9809597" y="5256761"/>
                  <a:pt x="9810662" y="5259556"/>
                  <a:pt x="9813191" y="5262085"/>
                </a:cubicBezTo>
                <a:cubicBezTo>
                  <a:pt x="9814788" y="5263684"/>
                  <a:pt x="9817318" y="5265548"/>
                  <a:pt x="9823176" y="5265548"/>
                </a:cubicBezTo>
                <a:cubicBezTo>
                  <a:pt x="9825173" y="5265548"/>
                  <a:pt x="9827036" y="5265148"/>
                  <a:pt x="9828501" y="5264616"/>
                </a:cubicBezTo>
                <a:cubicBezTo>
                  <a:pt x="9830098" y="5264083"/>
                  <a:pt x="9831296" y="5263151"/>
                  <a:pt x="9832227" y="5262219"/>
                </a:cubicBezTo>
                <a:cubicBezTo>
                  <a:pt x="9833293" y="5261020"/>
                  <a:pt x="9834225" y="5259689"/>
                  <a:pt x="9834890" y="5257959"/>
                </a:cubicBezTo>
                <a:cubicBezTo>
                  <a:pt x="9835689" y="5256362"/>
                  <a:pt x="9835955" y="5254498"/>
                  <a:pt x="9835955" y="5252501"/>
                </a:cubicBezTo>
                <a:cubicBezTo>
                  <a:pt x="9835955" y="5250637"/>
                  <a:pt x="9835555" y="5248907"/>
                  <a:pt x="9834890" y="5247309"/>
                </a:cubicBezTo>
                <a:cubicBezTo>
                  <a:pt x="9834225" y="5245712"/>
                  <a:pt x="9833293" y="5244381"/>
                  <a:pt x="9832227" y="5243183"/>
                </a:cubicBezTo>
                <a:cubicBezTo>
                  <a:pt x="9831162" y="5242118"/>
                  <a:pt x="9829831" y="5241186"/>
                  <a:pt x="9828234" y="5240521"/>
                </a:cubicBezTo>
                <a:cubicBezTo>
                  <a:pt x="9826770" y="5239855"/>
                  <a:pt x="9825173" y="5239589"/>
                  <a:pt x="9823176" y="5239589"/>
                </a:cubicBezTo>
                <a:close/>
                <a:moveTo>
                  <a:pt x="9605531" y="5239589"/>
                </a:moveTo>
                <a:cubicBezTo>
                  <a:pt x="9599673" y="5239589"/>
                  <a:pt x="9597143" y="5241585"/>
                  <a:pt x="9595546" y="5243183"/>
                </a:cubicBezTo>
                <a:cubicBezTo>
                  <a:pt x="9593017" y="5245845"/>
                  <a:pt x="9591952" y="5248641"/>
                  <a:pt x="9591952" y="5252634"/>
                </a:cubicBezTo>
                <a:cubicBezTo>
                  <a:pt x="9591952" y="5256761"/>
                  <a:pt x="9593017" y="5259556"/>
                  <a:pt x="9595546" y="5262085"/>
                </a:cubicBezTo>
                <a:cubicBezTo>
                  <a:pt x="9597143" y="5263684"/>
                  <a:pt x="9599673" y="5265548"/>
                  <a:pt x="9605531" y="5265548"/>
                </a:cubicBezTo>
                <a:cubicBezTo>
                  <a:pt x="9607660" y="5265548"/>
                  <a:pt x="9609391" y="5265148"/>
                  <a:pt x="9610855" y="5264616"/>
                </a:cubicBezTo>
                <a:cubicBezTo>
                  <a:pt x="9612319" y="5264083"/>
                  <a:pt x="9613651" y="5263151"/>
                  <a:pt x="9614582" y="5262219"/>
                </a:cubicBezTo>
                <a:cubicBezTo>
                  <a:pt x="9615647" y="5261020"/>
                  <a:pt x="9616579" y="5259689"/>
                  <a:pt x="9617245" y="5257959"/>
                </a:cubicBezTo>
                <a:cubicBezTo>
                  <a:pt x="9618044" y="5256362"/>
                  <a:pt x="9618309" y="5254498"/>
                  <a:pt x="9618309" y="5252501"/>
                </a:cubicBezTo>
                <a:cubicBezTo>
                  <a:pt x="9618309" y="5250637"/>
                  <a:pt x="9617910" y="5248907"/>
                  <a:pt x="9617245" y="5247309"/>
                </a:cubicBezTo>
                <a:cubicBezTo>
                  <a:pt x="9616579" y="5245712"/>
                  <a:pt x="9615647" y="5244381"/>
                  <a:pt x="9614582" y="5243183"/>
                </a:cubicBezTo>
                <a:cubicBezTo>
                  <a:pt x="9613517" y="5242118"/>
                  <a:pt x="9612186" y="5241186"/>
                  <a:pt x="9610589" y="5240521"/>
                </a:cubicBezTo>
                <a:cubicBezTo>
                  <a:pt x="9609124" y="5239855"/>
                  <a:pt x="9607394" y="5239589"/>
                  <a:pt x="9605531" y="5239589"/>
                </a:cubicBezTo>
                <a:close/>
                <a:moveTo>
                  <a:pt x="9387885" y="5239589"/>
                </a:moveTo>
                <a:cubicBezTo>
                  <a:pt x="9382027" y="5239589"/>
                  <a:pt x="9379497" y="5241585"/>
                  <a:pt x="9377900" y="5243183"/>
                </a:cubicBezTo>
                <a:cubicBezTo>
                  <a:pt x="9375371" y="5245845"/>
                  <a:pt x="9374307" y="5248641"/>
                  <a:pt x="9374307" y="5252634"/>
                </a:cubicBezTo>
                <a:cubicBezTo>
                  <a:pt x="9374307" y="5256761"/>
                  <a:pt x="9375371" y="5259556"/>
                  <a:pt x="9377900" y="5262085"/>
                </a:cubicBezTo>
                <a:cubicBezTo>
                  <a:pt x="9379497" y="5263684"/>
                  <a:pt x="9382027" y="5265548"/>
                  <a:pt x="9387885" y="5265548"/>
                </a:cubicBezTo>
                <a:cubicBezTo>
                  <a:pt x="9390015" y="5265548"/>
                  <a:pt x="9391746" y="5265148"/>
                  <a:pt x="9393210" y="5264616"/>
                </a:cubicBezTo>
                <a:cubicBezTo>
                  <a:pt x="9394674" y="5264083"/>
                  <a:pt x="9396005" y="5263151"/>
                  <a:pt x="9396937" y="5262219"/>
                </a:cubicBezTo>
                <a:cubicBezTo>
                  <a:pt x="9398002" y="5261020"/>
                  <a:pt x="9398934" y="5259689"/>
                  <a:pt x="9399599" y="5257959"/>
                </a:cubicBezTo>
                <a:cubicBezTo>
                  <a:pt x="9400398" y="5256362"/>
                  <a:pt x="9400664" y="5254498"/>
                  <a:pt x="9400664" y="5252501"/>
                </a:cubicBezTo>
                <a:cubicBezTo>
                  <a:pt x="9400664" y="5250637"/>
                  <a:pt x="9400265" y="5248907"/>
                  <a:pt x="9399599" y="5247309"/>
                </a:cubicBezTo>
                <a:cubicBezTo>
                  <a:pt x="9398934" y="5245712"/>
                  <a:pt x="9398002" y="5244381"/>
                  <a:pt x="9396937" y="5243183"/>
                </a:cubicBezTo>
                <a:cubicBezTo>
                  <a:pt x="9395872" y="5242118"/>
                  <a:pt x="9394541" y="5241186"/>
                  <a:pt x="9392943" y="5240521"/>
                </a:cubicBezTo>
                <a:cubicBezTo>
                  <a:pt x="9391479" y="5239855"/>
                  <a:pt x="9389749" y="5239589"/>
                  <a:pt x="9387885" y="5239589"/>
                </a:cubicBezTo>
                <a:close/>
                <a:moveTo>
                  <a:pt x="9170374" y="5239589"/>
                </a:moveTo>
                <a:cubicBezTo>
                  <a:pt x="9164649" y="5239589"/>
                  <a:pt x="9161986" y="5241585"/>
                  <a:pt x="9160389" y="5243183"/>
                </a:cubicBezTo>
                <a:cubicBezTo>
                  <a:pt x="9157860" y="5245845"/>
                  <a:pt x="9156795" y="5248641"/>
                  <a:pt x="9156795" y="5252634"/>
                </a:cubicBezTo>
                <a:cubicBezTo>
                  <a:pt x="9156795" y="5256761"/>
                  <a:pt x="9157860" y="5259556"/>
                  <a:pt x="9160389" y="5262085"/>
                </a:cubicBezTo>
                <a:cubicBezTo>
                  <a:pt x="9161986" y="5263684"/>
                  <a:pt x="9164516" y="5265548"/>
                  <a:pt x="9170374" y="5265548"/>
                </a:cubicBezTo>
                <a:cubicBezTo>
                  <a:pt x="9172370" y="5265548"/>
                  <a:pt x="9174100" y="5265148"/>
                  <a:pt x="9175698" y="5264616"/>
                </a:cubicBezTo>
                <a:cubicBezTo>
                  <a:pt x="9177163" y="5264083"/>
                  <a:pt x="9178494" y="5263151"/>
                  <a:pt x="9179425" y="5262219"/>
                </a:cubicBezTo>
                <a:cubicBezTo>
                  <a:pt x="9180491" y="5261020"/>
                  <a:pt x="9181422" y="5259689"/>
                  <a:pt x="9182088" y="5257959"/>
                </a:cubicBezTo>
                <a:cubicBezTo>
                  <a:pt x="9182887" y="5256362"/>
                  <a:pt x="9183152" y="5254498"/>
                  <a:pt x="9183152" y="5252501"/>
                </a:cubicBezTo>
                <a:cubicBezTo>
                  <a:pt x="9183152" y="5250637"/>
                  <a:pt x="9182753" y="5248907"/>
                  <a:pt x="9182088" y="5247309"/>
                </a:cubicBezTo>
                <a:cubicBezTo>
                  <a:pt x="9181422" y="5245712"/>
                  <a:pt x="9180491" y="5244381"/>
                  <a:pt x="9179425" y="5243183"/>
                </a:cubicBezTo>
                <a:cubicBezTo>
                  <a:pt x="9178360" y="5242118"/>
                  <a:pt x="9177029" y="5241186"/>
                  <a:pt x="9175432" y="5240521"/>
                </a:cubicBezTo>
                <a:cubicBezTo>
                  <a:pt x="9173967" y="5239855"/>
                  <a:pt x="9172237" y="5239589"/>
                  <a:pt x="9170374" y="5239589"/>
                </a:cubicBezTo>
                <a:close/>
                <a:moveTo>
                  <a:pt x="8952728" y="5239589"/>
                </a:moveTo>
                <a:cubicBezTo>
                  <a:pt x="8947003" y="5239589"/>
                  <a:pt x="8944340" y="5241585"/>
                  <a:pt x="8942743" y="5243183"/>
                </a:cubicBezTo>
                <a:cubicBezTo>
                  <a:pt x="8940214" y="5245845"/>
                  <a:pt x="8939150" y="5248641"/>
                  <a:pt x="8939150" y="5252634"/>
                </a:cubicBezTo>
                <a:cubicBezTo>
                  <a:pt x="8939150" y="5256761"/>
                  <a:pt x="8940214" y="5259556"/>
                  <a:pt x="8942743" y="5262085"/>
                </a:cubicBezTo>
                <a:cubicBezTo>
                  <a:pt x="8944340" y="5263684"/>
                  <a:pt x="8946870" y="5265548"/>
                  <a:pt x="8952728" y="5265548"/>
                </a:cubicBezTo>
                <a:cubicBezTo>
                  <a:pt x="8954725" y="5265548"/>
                  <a:pt x="8956589" y="5265148"/>
                  <a:pt x="8958053" y="5264616"/>
                </a:cubicBezTo>
                <a:cubicBezTo>
                  <a:pt x="8959517" y="5264083"/>
                  <a:pt x="8960849" y="5263151"/>
                  <a:pt x="8961780" y="5262219"/>
                </a:cubicBezTo>
                <a:cubicBezTo>
                  <a:pt x="8962845" y="5261020"/>
                  <a:pt x="8963777" y="5259689"/>
                  <a:pt x="8964442" y="5257959"/>
                </a:cubicBezTo>
                <a:cubicBezTo>
                  <a:pt x="8965241" y="5256362"/>
                  <a:pt x="8965507" y="5254498"/>
                  <a:pt x="8965507" y="5252501"/>
                </a:cubicBezTo>
                <a:cubicBezTo>
                  <a:pt x="8965507" y="5250637"/>
                  <a:pt x="8965108" y="5248907"/>
                  <a:pt x="8964442" y="5247309"/>
                </a:cubicBezTo>
                <a:cubicBezTo>
                  <a:pt x="8963777" y="5245712"/>
                  <a:pt x="8962845" y="5244381"/>
                  <a:pt x="8961780" y="5243183"/>
                </a:cubicBezTo>
                <a:cubicBezTo>
                  <a:pt x="8960715" y="5242118"/>
                  <a:pt x="8959384" y="5241186"/>
                  <a:pt x="8957786" y="5240521"/>
                </a:cubicBezTo>
                <a:cubicBezTo>
                  <a:pt x="8956322" y="5239855"/>
                  <a:pt x="8954592" y="5239589"/>
                  <a:pt x="8952728" y="5239589"/>
                </a:cubicBezTo>
                <a:close/>
                <a:moveTo>
                  <a:pt x="8735083" y="5239589"/>
                </a:moveTo>
                <a:cubicBezTo>
                  <a:pt x="8729358" y="5239589"/>
                  <a:pt x="8726695" y="5241585"/>
                  <a:pt x="8725098" y="5243183"/>
                </a:cubicBezTo>
                <a:cubicBezTo>
                  <a:pt x="8722569" y="5245845"/>
                  <a:pt x="8721504" y="5248641"/>
                  <a:pt x="8721504" y="5252634"/>
                </a:cubicBezTo>
                <a:cubicBezTo>
                  <a:pt x="8721504" y="5256761"/>
                  <a:pt x="8722569" y="5259556"/>
                  <a:pt x="8725098" y="5262085"/>
                </a:cubicBezTo>
                <a:cubicBezTo>
                  <a:pt x="8726695" y="5263684"/>
                  <a:pt x="8729225" y="5265548"/>
                  <a:pt x="8735083" y="5265548"/>
                </a:cubicBezTo>
                <a:cubicBezTo>
                  <a:pt x="8737079" y="5265548"/>
                  <a:pt x="8738943" y="5265148"/>
                  <a:pt x="8740407" y="5264616"/>
                </a:cubicBezTo>
                <a:cubicBezTo>
                  <a:pt x="8741872" y="5264083"/>
                  <a:pt x="8743203" y="5263151"/>
                  <a:pt x="8744134" y="5262219"/>
                </a:cubicBezTo>
                <a:cubicBezTo>
                  <a:pt x="8745200" y="5261020"/>
                  <a:pt x="8746132" y="5259689"/>
                  <a:pt x="8746797" y="5257959"/>
                </a:cubicBezTo>
                <a:cubicBezTo>
                  <a:pt x="8747596" y="5256362"/>
                  <a:pt x="8747862" y="5254498"/>
                  <a:pt x="8747862" y="5252501"/>
                </a:cubicBezTo>
                <a:cubicBezTo>
                  <a:pt x="8747862" y="5250637"/>
                  <a:pt x="8747462" y="5248907"/>
                  <a:pt x="8746797" y="5247309"/>
                </a:cubicBezTo>
                <a:cubicBezTo>
                  <a:pt x="8746132" y="5245712"/>
                  <a:pt x="8745200" y="5244381"/>
                  <a:pt x="8744134" y="5243183"/>
                </a:cubicBezTo>
                <a:cubicBezTo>
                  <a:pt x="8743069" y="5242118"/>
                  <a:pt x="8741738" y="5241186"/>
                  <a:pt x="8740141" y="5240521"/>
                </a:cubicBezTo>
                <a:cubicBezTo>
                  <a:pt x="8738677" y="5239855"/>
                  <a:pt x="8736946" y="5239589"/>
                  <a:pt x="8735083" y="5239589"/>
                </a:cubicBezTo>
                <a:close/>
                <a:moveTo>
                  <a:pt x="8517438" y="5239589"/>
                </a:moveTo>
                <a:cubicBezTo>
                  <a:pt x="8511713" y="5239589"/>
                  <a:pt x="8509051" y="5241585"/>
                  <a:pt x="8507453" y="5243183"/>
                </a:cubicBezTo>
                <a:cubicBezTo>
                  <a:pt x="8504925" y="5245845"/>
                  <a:pt x="8503860" y="5248641"/>
                  <a:pt x="8503860" y="5252634"/>
                </a:cubicBezTo>
                <a:cubicBezTo>
                  <a:pt x="8503860" y="5256761"/>
                  <a:pt x="8504925" y="5259556"/>
                  <a:pt x="8507453" y="5262085"/>
                </a:cubicBezTo>
                <a:cubicBezTo>
                  <a:pt x="8509051" y="5263684"/>
                  <a:pt x="8511581" y="5265548"/>
                  <a:pt x="8517438" y="5265548"/>
                </a:cubicBezTo>
                <a:cubicBezTo>
                  <a:pt x="8519568" y="5265548"/>
                  <a:pt x="8521299" y="5265148"/>
                  <a:pt x="8522763" y="5264616"/>
                </a:cubicBezTo>
                <a:cubicBezTo>
                  <a:pt x="8524227" y="5264083"/>
                  <a:pt x="8525559" y="5263151"/>
                  <a:pt x="8526490" y="5262219"/>
                </a:cubicBezTo>
                <a:cubicBezTo>
                  <a:pt x="8527555" y="5261020"/>
                  <a:pt x="8528487" y="5259689"/>
                  <a:pt x="8529152" y="5257959"/>
                </a:cubicBezTo>
                <a:cubicBezTo>
                  <a:pt x="8529818" y="5256362"/>
                  <a:pt x="8530084" y="5254498"/>
                  <a:pt x="8530084" y="5252501"/>
                </a:cubicBezTo>
                <a:cubicBezTo>
                  <a:pt x="8530084" y="5250637"/>
                  <a:pt x="8529818" y="5248907"/>
                  <a:pt x="8529152" y="5247309"/>
                </a:cubicBezTo>
                <a:cubicBezTo>
                  <a:pt x="8528487" y="5245712"/>
                  <a:pt x="8527555" y="5244381"/>
                  <a:pt x="8526490" y="5243183"/>
                </a:cubicBezTo>
                <a:cubicBezTo>
                  <a:pt x="8525425" y="5242118"/>
                  <a:pt x="8524094" y="5241186"/>
                  <a:pt x="8522496" y="5240521"/>
                </a:cubicBezTo>
                <a:cubicBezTo>
                  <a:pt x="8521032" y="5239855"/>
                  <a:pt x="8519302" y="5239589"/>
                  <a:pt x="8517438" y="5239589"/>
                </a:cubicBezTo>
                <a:close/>
                <a:moveTo>
                  <a:pt x="8299793" y="5239589"/>
                </a:moveTo>
                <a:cubicBezTo>
                  <a:pt x="8294068" y="5239589"/>
                  <a:pt x="8291406" y="5241585"/>
                  <a:pt x="8289809" y="5243183"/>
                </a:cubicBezTo>
                <a:cubicBezTo>
                  <a:pt x="8287280" y="5245845"/>
                  <a:pt x="8286215" y="5248641"/>
                  <a:pt x="8286215" y="5252634"/>
                </a:cubicBezTo>
                <a:cubicBezTo>
                  <a:pt x="8286215" y="5256761"/>
                  <a:pt x="8287280" y="5259556"/>
                  <a:pt x="8289809" y="5262085"/>
                </a:cubicBezTo>
                <a:cubicBezTo>
                  <a:pt x="8291406" y="5263684"/>
                  <a:pt x="8293935" y="5265548"/>
                  <a:pt x="8299793" y="5265548"/>
                </a:cubicBezTo>
                <a:cubicBezTo>
                  <a:pt x="8301923" y="5265548"/>
                  <a:pt x="8303653" y="5265148"/>
                  <a:pt x="8305118" y="5264616"/>
                </a:cubicBezTo>
                <a:cubicBezTo>
                  <a:pt x="8306582" y="5264083"/>
                  <a:pt x="8307913" y="5263151"/>
                  <a:pt x="8308844" y="5262219"/>
                </a:cubicBezTo>
                <a:cubicBezTo>
                  <a:pt x="8309910" y="5261020"/>
                  <a:pt x="8310842" y="5259689"/>
                  <a:pt x="8311507" y="5257959"/>
                </a:cubicBezTo>
                <a:cubicBezTo>
                  <a:pt x="8312172" y="5256362"/>
                  <a:pt x="8312439" y="5254498"/>
                  <a:pt x="8312439" y="5252501"/>
                </a:cubicBezTo>
                <a:cubicBezTo>
                  <a:pt x="8312439" y="5250637"/>
                  <a:pt x="8312172" y="5248907"/>
                  <a:pt x="8311507" y="5247309"/>
                </a:cubicBezTo>
                <a:cubicBezTo>
                  <a:pt x="8310842" y="5245712"/>
                  <a:pt x="8309910" y="5244381"/>
                  <a:pt x="8308844" y="5243183"/>
                </a:cubicBezTo>
                <a:cubicBezTo>
                  <a:pt x="8307779" y="5242118"/>
                  <a:pt x="8306448" y="5241186"/>
                  <a:pt x="8304851" y="5240521"/>
                </a:cubicBezTo>
                <a:cubicBezTo>
                  <a:pt x="8303387" y="5239855"/>
                  <a:pt x="8301790" y="5239589"/>
                  <a:pt x="8299793" y="5239589"/>
                </a:cubicBezTo>
                <a:close/>
                <a:moveTo>
                  <a:pt x="8082281" y="5239589"/>
                </a:moveTo>
                <a:cubicBezTo>
                  <a:pt x="8076424" y="5239589"/>
                  <a:pt x="8073894" y="5241585"/>
                  <a:pt x="8072297" y="5243183"/>
                </a:cubicBezTo>
                <a:cubicBezTo>
                  <a:pt x="8069768" y="5245845"/>
                  <a:pt x="8068703" y="5248641"/>
                  <a:pt x="8068703" y="5252634"/>
                </a:cubicBezTo>
                <a:cubicBezTo>
                  <a:pt x="8068703" y="5256761"/>
                  <a:pt x="8069768" y="5259556"/>
                  <a:pt x="8072297" y="5262085"/>
                </a:cubicBezTo>
                <a:cubicBezTo>
                  <a:pt x="8073894" y="5263684"/>
                  <a:pt x="8076424" y="5265548"/>
                  <a:pt x="8082281" y="5265548"/>
                </a:cubicBezTo>
                <a:cubicBezTo>
                  <a:pt x="8084277" y="5265548"/>
                  <a:pt x="8086007" y="5265148"/>
                  <a:pt x="8087605" y="5264616"/>
                </a:cubicBezTo>
                <a:cubicBezTo>
                  <a:pt x="8089069" y="5264083"/>
                  <a:pt x="8090401" y="5263151"/>
                  <a:pt x="8091332" y="5262219"/>
                </a:cubicBezTo>
                <a:cubicBezTo>
                  <a:pt x="8092397" y="5261020"/>
                  <a:pt x="8093329" y="5259689"/>
                  <a:pt x="8093994" y="5257959"/>
                </a:cubicBezTo>
                <a:cubicBezTo>
                  <a:pt x="8094660" y="5256362"/>
                  <a:pt x="8094926" y="5254498"/>
                  <a:pt x="8094926" y="5252501"/>
                </a:cubicBezTo>
                <a:cubicBezTo>
                  <a:pt x="8094926" y="5250637"/>
                  <a:pt x="8094660" y="5248907"/>
                  <a:pt x="8093994" y="5247309"/>
                </a:cubicBezTo>
                <a:cubicBezTo>
                  <a:pt x="8093329" y="5245712"/>
                  <a:pt x="8092397" y="5244381"/>
                  <a:pt x="8091332" y="5243183"/>
                </a:cubicBezTo>
                <a:cubicBezTo>
                  <a:pt x="8090267" y="5242118"/>
                  <a:pt x="8088936" y="5241186"/>
                  <a:pt x="8087338" y="5240521"/>
                </a:cubicBezTo>
                <a:cubicBezTo>
                  <a:pt x="8085874" y="5239855"/>
                  <a:pt x="8084277" y="5239589"/>
                  <a:pt x="8082281" y="5239589"/>
                </a:cubicBezTo>
                <a:close/>
                <a:moveTo>
                  <a:pt x="7864636" y="5239589"/>
                </a:moveTo>
                <a:cubicBezTo>
                  <a:pt x="7858779" y="5239589"/>
                  <a:pt x="7856249" y="5241585"/>
                  <a:pt x="7854652" y="5243183"/>
                </a:cubicBezTo>
                <a:cubicBezTo>
                  <a:pt x="7852123" y="5245845"/>
                  <a:pt x="7851058" y="5248641"/>
                  <a:pt x="7851058" y="5252634"/>
                </a:cubicBezTo>
                <a:cubicBezTo>
                  <a:pt x="7851058" y="5256761"/>
                  <a:pt x="7852123" y="5259556"/>
                  <a:pt x="7854652" y="5262085"/>
                </a:cubicBezTo>
                <a:cubicBezTo>
                  <a:pt x="7856249" y="5263684"/>
                  <a:pt x="7858779" y="5265548"/>
                  <a:pt x="7864636" y="5265548"/>
                </a:cubicBezTo>
                <a:cubicBezTo>
                  <a:pt x="7866633" y="5265548"/>
                  <a:pt x="7868363" y="5265148"/>
                  <a:pt x="7869961" y="5264616"/>
                </a:cubicBezTo>
                <a:cubicBezTo>
                  <a:pt x="7871425" y="5264083"/>
                  <a:pt x="7872756" y="5263151"/>
                  <a:pt x="7873687" y="5262219"/>
                </a:cubicBezTo>
                <a:cubicBezTo>
                  <a:pt x="7874753" y="5261020"/>
                  <a:pt x="7875685" y="5259689"/>
                  <a:pt x="7876350" y="5257959"/>
                </a:cubicBezTo>
                <a:cubicBezTo>
                  <a:pt x="7877015" y="5256362"/>
                  <a:pt x="7877282" y="5254498"/>
                  <a:pt x="7877282" y="5252501"/>
                </a:cubicBezTo>
                <a:cubicBezTo>
                  <a:pt x="7877282" y="5250637"/>
                  <a:pt x="7877015" y="5248907"/>
                  <a:pt x="7876350" y="5247309"/>
                </a:cubicBezTo>
                <a:cubicBezTo>
                  <a:pt x="7875685" y="5245712"/>
                  <a:pt x="7874753" y="5244381"/>
                  <a:pt x="7873687" y="5243183"/>
                </a:cubicBezTo>
                <a:cubicBezTo>
                  <a:pt x="7872623" y="5242118"/>
                  <a:pt x="7871291" y="5241186"/>
                  <a:pt x="7869694" y="5240521"/>
                </a:cubicBezTo>
                <a:cubicBezTo>
                  <a:pt x="7868230" y="5239855"/>
                  <a:pt x="7866633" y="5239589"/>
                  <a:pt x="7864636" y="5239589"/>
                </a:cubicBezTo>
                <a:close/>
                <a:moveTo>
                  <a:pt x="7646991" y="5239589"/>
                </a:moveTo>
                <a:cubicBezTo>
                  <a:pt x="7641134" y="5239589"/>
                  <a:pt x="7638604" y="5241585"/>
                  <a:pt x="7637007" y="5243183"/>
                </a:cubicBezTo>
                <a:cubicBezTo>
                  <a:pt x="7634478" y="5245845"/>
                  <a:pt x="7633413" y="5248641"/>
                  <a:pt x="7633413" y="5252634"/>
                </a:cubicBezTo>
                <a:cubicBezTo>
                  <a:pt x="7633413" y="5256761"/>
                  <a:pt x="7634478" y="5259556"/>
                  <a:pt x="7637007" y="5262085"/>
                </a:cubicBezTo>
                <a:cubicBezTo>
                  <a:pt x="7638604" y="5263684"/>
                  <a:pt x="7641134" y="5265548"/>
                  <a:pt x="7646991" y="5265548"/>
                </a:cubicBezTo>
                <a:cubicBezTo>
                  <a:pt x="7648987" y="5265548"/>
                  <a:pt x="7650851" y="5265148"/>
                  <a:pt x="7652315" y="5264616"/>
                </a:cubicBezTo>
                <a:cubicBezTo>
                  <a:pt x="7653780" y="5264083"/>
                  <a:pt x="7655111" y="5263151"/>
                  <a:pt x="7656042" y="5262219"/>
                </a:cubicBezTo>
                <a:cubicBezTo>
                  <a:pt x="7657108" y="5261020"/>
                  <a:pt x="7658039" y="5259689"/>
                  <a:pt x="7658705" y="5257959"/>
                </a:cubicBezTo>
                <a:cubicBezTo>
                  <a:pt x="7659504" y="5256362"/>
                  <a:pt x="7659769" y="5254498"/>
                  <a:pt x="7659769" y="5252501"/>
                </a:cubicBezTo>
                <a:cubicBezTo>
                  <a:pt x="7659769" y="5250637"/>
                  <a:pt x="7659370" y="5248907"/>
                  <a:pt x="7658705" y="5247309"/>
                </a:cubicBezTo>
                <a:cubicBezTo>
                  <a:pt x="7658039" y="5245712"/>
                  <a:pt x="7657108" y="5244381"/>
                  <a:pt x="7656042" y="5243183"/>
                </a:cubicBezTo>
                <a:cubicBezTo>
                  <a:pt x="7654977" y="5242118"/>
                  <a:pt x="7653646" y="5241186"/>
                  <a:pt x="7652049" y="5240521"/>
                </a:cubicBezTo>
                <a:cubicBezTo>
                  <a:pt x="7650584" y="5239855"/>
                  <a:pt x="7648987" y="5239589"/>
                  <a:pt x="7646991" y="5239589"/>
                </a:cubicBezTo>
                <a:close/>
                <a:moveTo>
                  <a:pt x="7429345" y="5239589"/>
                </a:moveTo>
                <a:cubicBezTo>
                  <a:pt x="7423488" y="5239589"/>
                  <a:pt x="7420958" y="5241585"/>
                  <a:pt x="7419361" y="5243183"/>
                </a:cubicBezTo>
                <a:cubicBezTo>
                  <a:pt x="7416832" y="5245845"/>
                  <a:pt x="7415768" y="5248641"/>
                  <a:pt x="7415768" y="5252634"/>
                </a:cubicBezTo>
                <a:cubicBezTo>
                  <a:pt x="7415768" y="5256761"/>
                  <a:pt x="7416832" y="5259556"/>
                  <a:pt x="7419361" y="5262085"/>
                </a:cubicBezTo>
                <a:cubicBezTo>
                  <a:pt x="7420958" y="5263684"/>
                  <a:pt x="7423488" y="5265548"/>
                  <a:pt x="7429345" y="5265548"/>
                </a:cubicBezTo>
                <a:cubicBezTo>
                  <a:pt x="7431342" y="5265548"/>
                  <a:pt x="7433206" y="5265148"/>
                  <a:pt x="7434670" y="5264616"/>
                </a:cubicBezTo>
                <a:cubicBezTo>
                  <a:pt x="7436134" y="5264083"/>
                  <a:pt x="7437466" y="5263151"/>
                  <a:pt x="7438397" y="5262219"/>
                </a:cubicBezTo>
                <a:cubicBezTo>
                  <a:pt x="7439462" y="5261020"/>
                  <a:pt x="7440394" y="5259689"/>
                  <a:pt x="7441059" y="5257959"/>
                </a:cubicBezTo>
                <a:cubicBezTo>
                  <a:pt x="7441858" y="5256362"/>
                  <a:pt x="7442124" y="5254498"/>
                  <a:pt x="7442124" y="5252501"/>
                </a:cubicBezTo>
                <a:cubicBezTo>
                  <a:pt x="7442124" y="5250637"/>
                  <a:pt x="7441725" y="5248907"/>
                  <a:pt x="7441059" y="5247309"/>
                </a:cubicBezTo>
                <a:cubicBezTo>
                  <a:pt x="7440394" y="5245712"/>
                  <a:pt x="7439462" y="5244381"/>
                  <a:pt x="7438397" y="5243183"/>
                </a:cubicBezTo>
                <a:cubicBezTo>
                  <a:pt x="7437332" y="5242118"/>
                  <a:pt x="7436001" y="5241186"/>
                  <a:pt x="7434403" y="5240521"/>
                </a:cubicBezTo>
                <a:cubicBezTo>
                  <a:pt x="7432939" y="5239855"/>
                  <a:pt x="7431342" y="5239589"/>
                  <a:pt x="7429345" y="5239589"/>
                </a:cubicBezTo>
                <a:close/>
                <a:moveTo>
                  <a:pt x="7211701" y="5239589"/>
                </a:moveTo>
                <a:cubicBezTo>
                  <a:pt x="7205844" y="5239589"/>
                  <a:pt x="7203314" y="5241585"/>
                  <a:pt x="7201717" y="5243183"/>
                </a:cubicBezTo>
                <a:cubicBezTo>
                  <a:pt x="7199188" y="5245845"/>
                  <a:pt x="7198123" y="5248641"/>
                  <a:pt x="7198123" y="5252634"/>
                </a:cubicBezTo>
                <a:cubicBezTo>
                  <a:pt x="7198123" y="5256761"/>
                  <a:pt x="7199188" y="5259556"/>
                  <a:pt x="7201717" y="5262085"/>
                </a:cubicBezTo>
                <a:cubicBezTo>
                  <a:pt x="7203314" y="5263684"/>
                  <a:pt x="7205844" y="5265548"/>
                  <a:pt x="7211701" y="5265548"/>
                </a:cubicBezTo>
                <a:cubicBezTo>
                  <a:pt x="7213830" y="5265548"/>
                  <a:pt x="7215561" y="5265148"/>
                  <a:pt x="7217026" y="5264616"/>
                </a:cubicBezTo>
                <a:cubicBezTo>
                  <a:pt x="7218490" y="5264083"/>
                  <a:pt x="7219821" y="5263151"/>
                  <a:pt x="7220752" y="5262219"/>
                </a:cubicBezTo>
                <a:cubicBezTo>
                  <a:pt x="7221818" y="5261020"/>
                  <a:pt x="7222750" y="5259689"/>
                  <a:pt x="7223415" y="5257959"/>
                </a:cubicBezTo>
                <a:cubicBezTo>
                  <a:pt x="7224214" y="5256362"/>
                  <a:pt x="7224480" y="5254498"/>
                  <a:pt x="7224480" y="5252501"/>
                </a:cubicBezTo>
                <a:cubicBezTo>
                  <a:pt x="7224480" y="5250637"/>
                  <a:pt x="7224080" y="5248907"/>
                  <a:pt x="7223415" y="5247309"/>
                </a:cubicBezTo>
                <a:cubicBezTo>
                  <a:pt x="7222750" y="5245712"/>
                  <a:pt x="7221818" y="5244381"/>
                  <a:pt x="7220752" y="5243183"/>
                </a:cubicBezTo>
                <a:cubicBezTo>
                  <a:pt x="7219687" y="5242118"/>
                  <a:pt x="7218356" y="5241186"/>
                  <a:pt x="7216759" y="5240521"/>
                </a:cubicBezTo>
                <a:cubicBezTo>
                  <a:pt x="7215295" y="5239855"/>
                  <a:pt x="7213698" y="5239589"/>
                  <a:pt x="7211701" y="5239589"/>
                </a:cubicBezTo>
                <a:close/>
                <a:moveTo>
                  <a:pt x="6994056" y="5239589"/>
                </a:moveTo>
                <a:cubicBezTo>
                  <a:pt x="6988199" y="5239589"/>
                  <a:pt x="6985669" y="5241585"/>
                  <a:pt x="6984072" y="5243183"/>
                </a:cubicBezTo>
                <a:cubicBezTo>
                  <a:pt x="6981543" y="5245845"/>
                  <a:pt x="6980478" y="5248641"/>
                  <a:pt x="6980478" y="5252634"/>
                </a:cubicBezTo>
                <a:cubicBezTo>
                  <a:pt x="6980478" y="5256761"/>
                  <a:pt x="6981543" y="5259556"/>
                  <a:pt x="6984072" y="5262085"/>
                </a:cubicBezTo>
                <a:cubicBezTo>
                  <a:pt x="6985669" y="5263684"/>
                  <a:pt x="6988199" y="5265548"/>
                  <a:pt x="6994056" y="5265548"/>
                </a:cubicBezTo>
                <a:cubicBezTo>
                  <a:pt x="6996185" y="5265548"/>
                  <a:pt x="6997916" y="5265148"/>
                  <a:pt x="6999380" y="5264616"/>
                </a:cubicBezTo>
                <a:cubicBezTo>
                  <a:pt x="7000844" y="5264083"/>
                  <a:pt x="7002176" y="5263151"/>
                  <a:pt x="7003107" y="5262219"/>
                </a:cubicBezTo>
                <a:cubicBezTo>
                  <a:pt x="7004172" y="5261020"/>
                  <a:pt x="7005104" y="5259689"/>
                  <a:pt x="7005769" y="5257959"/>
                </a:cubicBezTo>
                <a:cubicBezTo>
                  <a:pt x="7006568" y="5256362"/>
                  <a:pt x="7006834" y="5254498"/>
                  <a:pt x="7006834" y="5252501"/>
                </a:cubicBezTo>
                <a:cubicBezTo>
                  <a:pt x="7006834" y="5250637"/>
                  <a:pt x="7006435" y="5248907"/>
                  <a:pt x="7005769" y="5247309"/>
                </a:cubicBezTo>
                <a:cubicBezTo>
                  <a:pt x="7005104" y="5245712"/>
                  <a:pt x="7004172" y="5244381"/>
                  <a:pt x="7003107" y="5243183"/>
                </a:cubicBezTo>
                <a:cubicBezTo>
                  <a:pt x="7002042" y="5242118"/>
                  <a:pt x="7000711" y="5241186"/>
                  <a:pt x="6999113" y="5240521"/>
                </a:cubicBezTo>
                <a:cubicBezTo>
                  <a:pt x="6997649" y="5239855"/>
                  <a:pt x="6996052" y="5239589"/>
                  <a:pt x="6994056" y="5239589"/>
                </a:cubicBezTo>
                <a:close/>
                <a:moveTo>
                  <a:pt x="6776544" y="5239589"/>
                </a:moveTo>
                <a:cubicBezTo>
                  <a:pt x="6770687" y="5239589"/>
                  <a:pt x="6768157" y="5241585"/>
                  <a:pt x="6766560" y="5243183"/>
                </a:cubicBezTo>
                <a:cubicBezTo>
                  <a:pt x="6764031" y="5245845"/>
                  <a:pt x="6762966" y="5248641"/>
                  <a:pt x="6762966" y="5252634"/>
                </a:cubicBezTo>
                <a:cubicBezTo>
                  <a:pt x="6762966" y="5256761"/>
                  <a:pt x="6764031" y="5259556"/>
                  <a:pt x="6766560" y="5262085"/>
                </a:cubicBezTo>
                <a:cubicBezTo>
                  <a:pt x="6768157" y="5263684"/>
                  <a:pt x="6770687" y="5265548"/>
                  <a:pt x="6776544" y="5265548"/>
                </a:cubicBezTo>
                <a:cubicBezTo>
                  <a:pt x="6778541" y="5265548"/>
                  <a:pt x="6780270" y="5265148"/>
                  <a:pt x="6781869" y="5264616"/>
                </a:cubicBezTo>
                <a:cubicBezTo>
                  <a:pt x="6783333" y="5264083"/>
                  <a:pt x="6784664" y="5263151"/>
                  <a:pt x="6785595" y="5262219"/>
                </a:cubicBezTo>
                <a:cubicBezTo>
                  <a:pt x="6786661" y="5261020"/>
                  <a:pt x="6787593" y="5259689"/>
                  <a:pt x="6788258" y="5257959"/>
                </a:cubicBezTo>
                <a:cubicBezTo>
                  <a:pt x="6789057" y="5256362"/>
                  <a:pt x="6789323" y="5254498"/>
                  <a:pt x="6789323" y="5252501"/>
                </a:cubicBezTo>
                <a:cubicBezTo>
                  <a:pt x="6789323" y="5250637"/>
                  <a:pt x="6788923" y="5248907"/>
                  <a:pt x="6788258" y="5247309"/>
                </a:cubicBezTo>
                <a:cubicBezTo>
                  <a:pt x="6787593" y="5245712"/>
                  <a:pt x="6786661" y="5244381"/>
                  <a:pt x="6785595" y="5243183"/>
                </a:cubicBezTo>
                <a:cubicBezTo>
                  <a:pt x="6784530" y="5242118"/>
                  <a:pt x="6783199" y="5241186"/>
                  <a:pt x="6781602" y="5240521"/>
                </a:cubicBezTo>
                <a:cubicBezTo>
                  <a:pt x="6780138" y="5239855"/>
                  <a:pt x="6778541" y="5239589"/>
                  <a:pt x="6776544" y="5239589"/>
                </a:cubicBezTo>
                <a:close/>
                <a:moveTo>
                  <a:pt x="6558899" y="5239589"/>
                </a:moveTo>
                <a:cubicBezTo>
                  <a:pt x="6553042" y="5239589"/>
                  <a:pt x="6550512" y="5241585"/>
                  <a:pt x="6548915" y="5243183"/>
                </a:cubicBezTo>
                <a:cubicBezTo>
                  <a:pt x="6546386" y="5245845"/>
                  <a:pt x="6545321" y="5248641"/>
                  <a:pt x="6545321" y="5252634"/>
                </a:cubicBezTo>
                <a:cubicBezTo>
                  <a:pt x="6545321" y="5256761"/>
                  <a:pt x="6546386" y="5259556"/>
                  <a:pt x="6548915" y="5262085"/>
                </a:cubicBezTo>
                <a:cubicBezTo>
                  <a:pt x="6550512" y="5263684"/>
                  <a:pt x="6553042" y="5265548"/>
                  <a:pt x="6558899" y="5265548"/>
                </a:cubicBezTo>
                <a:cubicBezTo>
                  <a:pt x="6560895" y="5265548"/>
                  <a:pt x="6562759" y="5265148"/>
                  <a:pt x="6564223" y="5264616"/>
                </a:cubicBezTo>
                <a:cubicBezTo>
                  <a:pt x="6565687" y="5264083"/>
                  <a:pt x="6567019" y="5263151"/>
                  <a:pt x="6567950" y="5262219"/>
                </a:cubicBezTo>
                <a:cubicBezTo>
                  <a:pt x="6569015" y="5261020"/>
                  <a:pt x="6569947" y="5259689"/>
                  <a:pt x="6570612" y="5257959"/>
                </a:cubicBezTo>
                <a:cubicBezTo>
                  <a:pt x="6571412" y="5256362"/>
                  <a:pt x="6571677" y="5254498"/>
                  <a:pt x="6571677" y="5252501"/>
                </a:cubicBezTo>
                <a:cubicBezTo>
                  <a:pt x="6571677" y="5250637"/>
                  <a:pt x="6571278" y="5248907"/>
                  <a:pt x="6570612" y="5247309"/>
                </a:cubicBezTo>
                <a:cubicBezTo>
                  <a:pt x="6569947" y="5245712"/>
                  <a:pt x="6569015" y="5244381"/>
                  <a:pt x="6567950" y="5243183"/>
                </a:cubicBezTo>
                <a:cubicBezTo>
                  <a:pt x="6566885" y="5242118"/>
                  <a:pt x="6565554" y="5241186"/>
                  <a:pt x="6563956" y="5240521"/>
                </a:cubicBezTo>
                <a:cubicBezTo>
                  <a:pt x="6562492" y="5239855"/>
                  <a:pt x="6560895" y="5239589"/>
                  <a:pt x="6558899" y="5239589"/>
                </a:cubicBezTo>
                <a:close/>
                <a:moveTo>
                  <a:pt x="6341253" y="5239589"/>
                </a:moveTo>
                <a:cubicBezTo>
                  <a:pt x="6335396" y="5239589"/>
                  <a:pt x="6332867" y="5241585"/>
                  <a:pt x="6331270" y="5243183"/>
                </a:cubicBezTo>
                <a:cubicBezTo>
                  <a:pt x="6328740" y="5245845"/>
                  <a:pt x="6327675" y="5248641"/>
                  <a:pt x="6327675" y="5252634"/>
                </a:cubicBezTo>
                <a:cubicBezTo>
                  <a:pt x="6327675" y="5256761"/>
                  <a:pt x="6328740" y="5259556"/>
                  <a:pt x="6331270" y="5262085"/>
                </a:cubicBezTo>
                <a:cubicBezTo>
                  <a:pt x="6332867" y="5263684"/>
                  <a:pt x="6335396" y="5265548"/>
                  <a:pt x="6341253" y="5265548"/>
                </a:cubicBezTo>
                <a:cubicBezTo>
                  <a:pt x="6343250" y="5265548"/>
                  <a:pt x="6345114" y="5265148"/>
                  <a:pt x="6346578" y="5264616"/>
                </a:cubicBezTo>
                <a:cubicBezTo>
                  <a:pt x="6348042" y="5264083"/>
                  <a:pt x="6349373" y="5263151"/>
                  <a:pt x="6350305" y="5262219"/>
                </a:cubicBezTo>
                <a:cubicBezTo>
                  <a:pt x="6351370" y="5261020"/>
                  <a:pt x="6352302" y="5259689"/>
                  <a:pt x="6352968" y="5257959"/>
                </a:cubicBezTo>
                <a:cubicBezTo>
                  <a:pt x="6353766" y="5256362"/>
                  <a:pt x="6354033" y="5254498"/>
                  <a:pt x="6354033" y="5252501"/>
                </a:cubicBezTo>
                <a:cubicBezTo>
                  <a:pt x="6354033" y="5250637"/>
                  <a:pt x="6353633" y="5248907"/>
                  <a:pt x="6352968" y="5247309"/>
                </a:cubicBezTo>
                <a:cubicBezTo>
                  <a:pt x="6352302" y="5245712"/>
                  <a:pt x="6351370" y="5244381"/>
                  <a:pt x="6350305" y="5243183"/>
                </a:cubicBezTo>
                <a:cubicBezTo>
                  <a:pt x="6349241" y="5242118"/>
                  <a:pt x="6347909" y="5241186"/>
                  <a:pt x="6346312" y="5240521"/>
                </a:cubicBezTo>
                <a:cubicBezTo>
                  <a:pt x="6344848" y="5239855"/>
                  <a:pt x="6343250" y="5239589"/>
                  <a:pt x="6341253" y="5239589"/>
                </a:cubicBezTo>
                <a:close/>
                <a:moveTo>
                  <a:pt x="6123608" y="5239589"/>
                </a:moveTo>
                <a:cubicBezTo>
                  <a:pt x="6117751" y="5239589"/>
                  <a:pt x="6115221" y="5241585"/>
                  <a:pt x="6113624" y="5243183"/>
                </a:cubicBezTo>
                <a:cubicBezTo>
                  <a:pt x="6111095" y="5245845"/>
                  <a:pt x="6110030" y="5248641"/>
                  <a:pt x="6110030" y="5252634"/>
                </a:cubicBezTo>
                <a:cubicBezTo>
                  <a:pt x="6110030" y="5256761"/>
                  <a:pt x="6111095" y="5259556"/>
                  <a:pt x="6113624" y="5262085"/>
                </a:cubicBezTo>
                <a:cubicBezTo>
                  <a:pt x="6115221" y="5263684"/>
                  <a:pt x="6117751" y="5265548"/>
                  <a:pt x="6123608" y="5265548"/>
                </a:cubicBezTo>
                <a:cubicBezTo>
                  <a:pt x="6125737" y="5265548"/>
                  <a:pt x="6127468" y="5265148"/>
                  <a:pt x="6128932" y="5264616"/>
                </a:cubicBezTo>
                <a:cubicBezTo>
                  <a:pt x="6130530" y="5264083"/>
                  <a:pt x="6131728" y="5263151"/>
                  <a:pt x="6132659" y="5262219"/>
                </a:cubicBezTo>
                <a:cubicBezTo>
                  <a:pt x="6133724" y="5261020"/>
                  <a:pt x="6134656" y="5259689"/>
                  <a:pt x="6135322" y="5257959"/>
                </a:cubicBezTo>
                <a:cubicBezTo>
                  <a:pt x="6135987" y="5256362"/>
                  <a:pt x="6136387" y="5254498"/>
                  <a:pt x="6136387" y="5252501"/>
                </a:cubicBezTo>
                <a:cubicBezTo>
                  <a:pt x="6136387" y="5250637"/>
                  <a:pt x="6135987" y="5248907"/>
                  <a:pt x="6135322" y="5247309"/>
                </a:cubicBezTo>
                <a:cubicBezTo>
                  <a:pt x="6134656" y="5245712"/>
                  <a:pt x="6133724" y="5244381"/>
                  <a:pt x="6132659" y="5243183"/>
                </a:cubicBezTo>
                <a:cubicBezTo>
                  <a:pt x="6131594" y="5242118"/>
                  <a:pt x="6130263" y="5241186"/>
                  <a:pt x="6128666" y="5240521"/>
                </a:cubicBezTo>
                <a:cubicBezTo>
                  <a:pt x="6127202" y="5239855"/>
                  <a:pt x="6125604" y="5239589"/>
                  <a:pt x="6123608" y="5239589"/>
                </a:cubicBezTo>
                <a:close/>
                <a:moveTo>
                  <a:pt x="5905963" y="5239589"/>
                </a:moveTo>
                <a:cubicBezTo>
                  <a:pt x="5900106" y="5239589"/>
                  <a:pt x="5897576" y="5241585"/>
                  <a:pt x="5895979" y="5243183"/>
                </a:cubicBezTo>
                <a:cubicBezTo>
                  <a:pt x="5893450" y="5245845"/>
                  <a:pt x="5892385" y="5248641"/>
                  <a:pt x="5892385" y="5252634"/>
                </a:cubicBezTo>
                <a:cubicBezTo>
                  <a:pt x="5892385" y="5256761"/>
                  <a:pt x="5893450" y="5259556"/>
                  <a:pt x="5895979" y="5262085"/>
                </a:cubicBezTo>
                <a:cubicBezTo>
                  <a:pt x="5897576" y="5263684"/>
                  <a:pt x="5900106" y="5265548"/>
                  <a:pt x="5905963" y="5265548"/>
                </a:cubicBezTo>
                <a:cubicBezTo>
                  <a:pt x="5908093" y="5265548"/>
                  <a:pt x="5909823" y="5265148"/>
                  <a:pt x="5911287" y="5264616"/>
                </a:cubicBezTo>
                <a:cubicBezTo>
                  <a:pt x="5912751" y="5264083"/>
                  <a:pt x="5914083" y="5263151"/>
                  <a:pt x="5915014" y="5262219"/>
                </a:cubicBezTo>
                <a:cubicBezTo>
                  <a:pt x="5916079" y="5261020"/>
                  <a:pt x="5917011" y="5259689"/>
                  <a:pt x="5917677" y="5257959"/>
                </a:cubicBezTo>
                <a:cubicBezTo>
                  <a:pt x="5918342" y="5256362"/>
                  <a:pt x="5918742" y="5254498"/>
                  <a:pt x="5918742" y="5252501"/>
                </a:cubicBezTo>
                <a:cubicBezTo>
                  <a:pt x="5918742" y="5250637"/>
                  <a:pt x="5918342" y="5248907"/>
                  <a:pt x="5917677" y="5247309"/>
                </a:cubicBezTo>
                <a:cubicBezTo>
                  <a:pt x="5917011" y="5245712"/>
                  <a:pt x="5916079" y="5244381"/>
                  <a:pt x="5915014" y="5243183"/>
                </a:cubicBezTo>
                <a:cubicBezTo>
                  <a:pt x="5913950" y="5242118"/>
                  <a:pt x="5912618" y="5241186"/>
                  <a:pt x="5911021" y="5240521"/>
                </a:cubicBezTo>
                <a:cubicBezTo>
                  <a:pt x="5909557" y="5239855"/>
                  <a:pt x="5907826" y="5239589"/>
                  <a:pt x="5905963" y="5239589"/>
                </a:cubicBezTo>
                <a:close/>
                <a:moveTo>
                  <a:pt x="5688451" y="5239589"/>
                </a:moveTo>
                <a:cubicBezTo>
                  <a:pt x="5682594" y="5239589"/>
                  <a:pt x="5680064" y="5241585"/>
                  <a:pt x="5678467" y="5243183"/>
                </a:cubicBezTo>
                <a:cubicBezTo>
                  <a:pt x="5675938" y="5245845"/>
                  <a:pt x="5674873" y="5248641"/>
                  <a:pt x="5674873" y="5252634"/>
                </a:cubicBezTo>
                <a:cubicBezTo>
                  <a:pt x="5674873" y="5256761"/>
                  <a:pt x="5675938" y="5259556"/>
                  <a:pt x="5678467" y="5262085"/>
                </a:cubicBezTo>
                <a:cubicBezTo>
                  <a:pt x="5680064" y="5263684"/>
                  <a:pt x="5682594" y="5265548"/>
                  <a:pt x="5688451" y="5265548"/>
                </a:cubicBezTo>
                <a:cubicBezTo>
                  <a:pt x="5690447" y="5265548"/>
                  <a:pt x="5692178" y="5265148"/>
                  <a:pt x="5693775" y="5264616"/>
                </a:cubicBezTo>
                <a:cubicBezTo>
                  <a:pt x="5695239" y="5264083"/>
                  <a:pt x="5696571" y="5263151"/>
                  <a:pt x="5697502" y="5262219"/>
                </a:cubicBezTo>
                <a:cubicBezTo>
                  <a:pt x="5698567" y="5261020"/>
                  <a:pt x="5699499" y="5259689"/>
                  <a:pt x="5700165" y="5257959"/>
                </a:cubicBezTo>
                <a:cubicBezTo>
                  <a:pt x="5700830" y="5256362"/>
                  <a:pt x="5701230" y="5254498"/>
                  <a:pt x="5701230" y="5252501"/>
                </a:cubicBezTo>
                <a:cubicBezTo>
                  <a:pt x="5701230" y="5250637"/>
                  <a:pt x="5700830" y="5248907"/>
                  <a:pt x="5700165" y="5247309"/>
                </a:cubicBezTo>
                <a:cubicBezTo>
                  <a:pt x="5699499" y="5245712"/>
                  <a:pt x="5698567" y="5244381"/>
                  <a:pt x="5697502" y="5243183"/>
                </a:cubicBezTo>
                <a:cubicBezTo>
                  <a:pt x="5696437" y="5242118"/>
                  <a:pt x="5695106" y="5241186"/>
                  <a:pt x="5693509" y="5240521"/>
                </a:cubicBezTo>
                <a:cubicBezTo>
                  <a:pt x="5692045" y="5239855"/>
                  <a:pt x="5690314" y="5239589"/>
                  <a:pt x="5688451" y="5239589"/>
                </a:cubicBezTo>
                <a:close/>
                <a:moveTo>
                  <a:pt x="5470806" y="5239589"/>
                </a:moveTo>
                <a:cubicBezTo>
                  <a:pt x="5464949" y="5239589"/>
                  <a:pt x="5462419" y="5241585"/>
                  <a:pt x="5460822" y="5243183"/>
                </a:cubicBezTo>
                <a:cubicBezTo>
                  <a:pt x="5458293" y="5245845"/>
                  <a:pt x="5457228" y="5248641"/>
                  <a:pt x="5457228" y="5252634"/>
                </a:cubicBezTo>
                <a:cubicBezTo>
                  <a:pt x="5457228" y="5256761"/>
                  <a:pt x="5458293" y="5259556"/>
                  <a:pt x="5460822" y="5262085"/>
                </a:cubicBezTo>
                <a:cubicBezTo>
                  <a:pt x="5462419" y="5263684"/>
                  <a:pt x="5464949" y="5265548"/>
                  <a:pt x="5470806" y="5265548"/>
                </a:cubicBezTo>
                <a:cubicBezTo>
                  <a:pt x="5472802" y="5265548"/>
                  <a:pt x="5474666" y="5265148"/>
                  <a:pt x="5476130" y="5264616"/>
                </a:cubicBezTo>
                <a:cubicBezTo>
                  <a:pt x="5477594" y="5264083"/>
                  <a:pt x="5478926" y="5263151"/>
                  <a:pt x="5479857" y="5262219"/>
                </a:cubicBezTo>
                <a:cubicBezTo>
                  <a:pt x="5480922" y="5261020"/>
                  <a:pt x="5481854" y="5259689"/>
                  <a:pt x="5482520" y="5257959"/>
                </a:cubicBezTo>
                <a:cubicBezTo>
                  <a:pt x="5483319" y="5256362"/>
                  <a:pt x="5483585" y="5254498"/>
                  <a:pt x="5483585" y="5252501"/>
                </a:cubicBezTo>
                <a:cubicBezTo>
                  <a:pt x="5483585" y="5250637"/>
                  <a:pt x="5483185" y="5248907"/>
                  <a:pt x="5482520" y="5247309"/>
                </a:cubicBezTo>
                <a:cubicBezTo>
                  <a:pt x="5481854" y="5245712"/>
                  <a:pt x="5480922" y="5244381"/>
                  <a:pt x="5479857" y="5243183"/>
                </a:cubicBezTo>
                <a:cubicBezTo>
                  <a:pt x="5478793" y="5242118"/>
                  <a:pt x="5477461" y="5241186"/>
                  <a:pt x="5475864" y="5240521"/>
                </a:cubicBezTo>
                <a:cubicBezTo>
                  <a:pt x="5474400" y="5239855"/>
                  <a:pt x="5472669" y="5239589"/>
                  <a:pt x="5470806" y="5239589"/>
                </a:cubicBezTo>
                <a:close/>
                <a:moveTo>
                  <a:pt x="5253160" y="5239589"/>
                </a:moveTo>
                <a:cubicBezTo>
                  <a:pt x="5247303" y="5239589"/>
                  <a:pt x="5244774" y="5241585"/>
                  <a:pt x="5243177" y="5243183"/>
                </a:cubicBezTo>
                <a:cubicBezTo>
                  <a:pt x="5240647" y="5245845"/>
                  <a:pt x="5239583" y="5248641"/>
                  <a:pt x="5239583" y="5252634"/>
                </a:cubicBezTo>
                <a:cubicBezTo>
                  <a:pt x="5239583" y="5256761"/>
                  <a:pt x="5240647" y="5259556"/>
                  <a:pt x="5243177" y="5262085"/>
                </a:cubicBezTo>
                <a:cubicBezTo>
                  <a:pt x="5244774" y="5263684"/>
                  <a:pt x="5247303" y="5265548"/>
                  <a:pt x="5253160" y="5265548"/>
                </a:cubicBezTo>
                <a:cubicBezTo>
                  <a:pt x="5255157" y="5265548"/>
                  <a:pt x="5257021" y="5265148"/>
                  <a:pt x="5258485" y="5264616"/>
                </a:cubicBezTo>
                <a:cubicBezTo>
                  <a:pt x="5259949" y="5264083"/>
                  <a:pt x="5261280" y="5263151"/>
                  <a:pt x="5262212" y="5262219"/>
                </a:cubicBezTo>
                <a:cubicBezTo>
                  <a:pt x="5263277" y="5261020"/>
                  <a:pt x="5264209" y="5259689"/>
                  <a:pt x="5264875" y="5257959"/>
                </a:cubicBezTo>
                <a:cubicBezTo>
                  <a:pt x="5265673" y="5256362"/>
                  <a:pt x="5265939" y="5254498"/>
                  <a:pt x="5265939" y="5252501"/>
                </a:cubicBezTo>
                <a:cubicBezTo>
                  <a:pt x="5265939" y="5250637"/>
                  <a:pt x="5265540" y="5248907"/>
                  <a:pt x="5264875" y="5247309"/>
                </a:cubicBezTo>
                <a:cubicBezTo>
                  <a:pt x="5264209" y="5245712"/>
                  <a:pt x="5263277" y="5244381"/>
                  <a:pt x="5262212" y="5243183"/>
                </a:cubicBezTo>
                <a:cubicBezTo>
                  <a:pt x="5261147" y="5242118"/>
                  <a:pt x="5259816" y="5241186"/>
                  <a:pt x="5258219" y="5240521"/>
                </a:cubicBezTo>
                <a:cubicBezTo>
                  <a:pt x="5256754" y="5239855"/>
                  <a:pt x="5255024" y="5239589"/>
                  <a:pt x="5253160" y="5239589"/>
                </a:cubicBezTo>
                <a:close/>
                <a:moveTo>
                  <a:pt x="5035515" y="5239589"/>
                </a:moveTo>
                <a:cubicBezTo>
                  <a:pt x="5029658" y="5239589"/>
                  <a:pt x="5027129" y="5241585"/>
                  <a:pt x="5025532" y="5243183"/>
                </a:cubicBezTo>
                <a:cubicBezTo>
                  <a:pt x="5023002" y="5245845"/>
                  <a:pt x="5021938" y="5248641"/>
                  <a:pt x="5021938" y="5252634"/>
                </a:cubicBezTo>
                <a:cubicBezTo>
                  <a:pt x="5021938" y="5256761"/>
                  <a:pt x="5023002" y="5259556"/>
                  <a:pt x="5025532" y="5262085"/>
                </a:cubicBezTo>
                <a:cubicBezTo>
                  <a:pt x="5027129" y="5263684"/>
                  <a:pt x="5029658" y="5265548"/>
                  <a:pt x="5035515" y="5265548"/>
                </a:cubicBezTo>
                <a:cubicBezTo>
                  <a:pt x="5037645" y="5265548"/>
                  <a:pt x="5039376" y="5265148"/>
                  <a:pt x="5040840" y="5264616"/>
                </a:cubicBezTo>
                <a:cubicBezTo>
                  <a:pt x="5042304" y="5264083"/>
                  <a:pt x="5043636" y="5263151"/>
                  <a:pt x="5044567" y="5262219"/>
                </a:cubicBezTo>
                <a:cubicBezTo>
                  <a:pt x="5045632" y="5261020"/>
                  <a:pt x="5046564" y="5259689"/>
                  <a:pt x="5047230" y="5257959"/>
                </a:cubicBezTo>
                <a:cubicBezTo>
                  <a:pt x="5048028" y="5256362"/>
                  <a:pt x="5048294" y="5254498"/>
                  <a:pt x="5048294" y="5252501"/>
                </a:cubicBezTo>
                <a:cubicBezTo>
                  <a:pt x="5048294" y="5250637"/>
                  <a:pt x="5047895" y="5248907"/>
                  <a:pt x="5047230" y="5247309"/>
                </a:cubicBezTo>
                <a:cubicBezTo>
                  <a:pt x="5046564" y="5245712"/>
                  <a:pt x="5045632" y="5244381"/>
                  <a:pt x="5044567" y="5243183"/>
                </a:cubicBezTo>
                <a:cubicBezTo>
                  <a:pt x="5043502" y="5242118"/>
                  <a:pt x="5042171" y="5241186"/>
                  <a:pt x="5040574" y="5240521"/>
                </a:cubicBezTo>
                <a:cubicBezTo>
                  <a:pt x="5039110" y="5239855"/>
                  <a:pt x="5037379" y="5239589"/>
                  <a:pt x="5035515" y="5239589"/>
                </a:cubicBezTo>
                <a:close/>
                <a:moveTo>
                  <a:pt x="4817870" y="5239589"/>
                </a:moveTo>
                <a:cubicBezTo>
                  <a:pt x="4812013" y="5239589"/>
                  <a:pt x="4809484" y="5241585"/>
                  <a:pt x="4807887" y="5243183"/>
                </a:cubicBezTo>
                <a:cubicBezTo>
                  <a:pt x="4805357" y="5245845"/>
                  <a:pt x="4804293" y="5248641"/>
                  <a:pt x="4804293" y="5252634"/>
                </a:cubicBezTo>
                <a:cubicBezTo>
                  <a:pt x="4804293" y="5256761"/>
                  <a:pt x="4805357" y="5259556"/>
                  <a:pt x="4807887" y="5262085"/>
                </a:cubicBezTo>
                <a:cubicBezTo>
                  <a:pt x="4809484" y="5263684"/>
                  <a:pt x="4812013" y="5265548"/>
                  <a:pt x="4817870" y="5265548"/>
                </a:cubicBezTo>
                <a:cubicBezTo>
                  <a:pt x="4820000" y="5265548"/>
                  <a:pt x="4821731" y="5265148"/>
                  <a:pt x="4823195" y="5264616"/>
                </a:cubicBezTo>
                <a:cubicBezTo>
                  <a:pt x="4824659" y="5264083"/>
                  <a:pt x="4825857" y="5263151"/>
                  <a:pt x="4826922" y="5262219"/>
                </a:cubicBezTo>
                <a:cubicBezTo>
                  <a:pt x="4827987" y="5261020"/>
                  <a:pt x="4828919" y="5259689"/>
                  <a:pt x="4829585" y="5257959"/>
                </a:cubicBezTo>
                <a:cubicBezTo>
                  <a:pt x="4830383" y="5256362"/>
                  <a:pt x="4830650" y="5254498"/>
                  <a:pt x="4830650" y="5252501"/>
                </a:cubicBezTo>
                <a:cubicBezTo>
                  <a:pt x="4830650" y="5250637"/>
                  <a:pt x="4830250" y="5248907"/>
                  <a:pt x="4829585" y="5247309"/>
                </a:cubicBezTo>
                <a:cubicBezTo>
                  <a:pt x="4828919" y="5245712"/>
                  <a:pt x="4827987" y="5244381"/>
                  <a:pt x="4826922" y="5243183"/>
                </a:cubicBezTo>
                <a:cubicBezTo>
                  <a:pt x="4825857" y="5242118"/>
                  <a:pt x="4824526" y="5241186"/>
                  <a:pt x="4822929" y="5240521"/>
                </a:cubicBezTo>
                <a:cubicBezTo>
                  <a:pt x="4821465" y="5239855"/>
                  <a:pt x="4819734" y="5239589"/>
                  <a:pt x="4817870" y="5239589"/>
                </a:cubicBezTo>
                <a:close/>
                <a:moveTo>
                  <a:pt x="4600226" y="5239589"/>
                </a:moveTo>
                <a:cubicBezTo>
                  <a:pt x="4594369" y="5239589"/>
                  <a:pt x="4591839" y="5241585"/>
                  <a:pt x="4590242" y="5243183"/>
                </a:cubicBezTo>
                <a:cubicBezTo>
                  <a:pt x="4587713" y="5245845"/>
                  <a:pt x="4586648" y="5248641"/>
                  <a:pt x="4586648" y="5252634"/>
                </a:cubicBezTo>
                <a:cubicBezTo>
                  <a:pt x="4586648" y="5256761"/>
                  <a:pt x="4587713" y="5259556"/>
                  <a:pt x="4590242" y="5262085"/>
                </a:cubicBezTo>
                <a:cubicBezTo>
                  <a:pt x="4591839" y="5263684"/>
                  <a:pt x="4594369" y="5265548"/>
                  <a:pt x="4600226" y="5265548"/>
                </a:cubicBezTo>
                <a:cubicBezTo>
                  <a:pt x="4602355" y="5265548"/>
                  <a:pt x="4604086" y="5265148"/>
                  <a:pt x="4605550" y="5264616"/>
                </a:cubicBezTo>
                <a:cubicBezTo>
                  <a:pt x="4607148" y="5264083"/>
                  <a:pt x="4608346" y="5263151"/>
                  <a:pt x="4609277" y="5262219"/>
                </a:cubicBezTo>
                <a:cubicBezTo>
                  <a:pt x="4610342" y="5261020"/>
                  <a:pt x="4611274" y="5259689"/>
                  <a:pt x="4611940" y="5257959"/>
                </a:cubicBezTo>
                <a:cubicBezTo>
                  <a:pt x="4612605" y="5256362"/>
                  <a:pt x="4613005" y="5254498"/>
                  <a:pt x="4613005" y="5252501"/>
                </a:cubicBezTo>
                <a:cubicBezTo>
                  <a:pt x="4613005" y="5250637"/>
                  <a:pt x="4612605" y="5248907"/>
                  <a:pt x="4611940" y="5247309"/>
                </a:cubicBezTo>
                <a:cubicBezTo>
                  <a:pt x="4611274" y="5245712"/>
                  <a:pt x="4610342" y="5244381"/>
                  <a:pt x="4609277" y="5243183"/>
                </a:cubicBezTo>
                <a:cubicBezTo>
                  <a:pt x="4608212" y="5242118"/>
                  <a:pt x="4606881" y="5241186"/>
                  <a:pt x="4605284" y="5240521"/>
                </a:cubicBezTo>
                <a:cubicBezTo>
                  <a:pt x="4603820" y="5239855"/>
                  <a:pt x="4602222" y="5239589"/>
                  <a:pt x="4600226" y="5239589"/>
                </a:cubicBezTo>
                <a:close/>
                <a:moveTo>
                  <a:pt x="4382713" y="5239589"/>
                </a:moveTo>
                <a:cubicBezTo>
                  <a:pt x="4376857" y="5239589"/>
                  <a:pt x="4374327" y="5241585"/>
                  <a:pt x="4372730" y="5243183"/>
                </a:cubicBezTo>
                <a:cubicBezTo>
                  <a:pt x="4370201" y="5245845"/>
                  <a:pt x="4369136" y="5248641"/>
                  <a:pt x="4369136" y="5252634"/>
                </a:cubicBezTo>
                <a:cubicBezTo>
                  <a:pt x="4369136" y="5256761"/>
                  <a:pt x="4370201" y="5259556"/>
                  <a:pt x="4372730" y="5262085"/>
                </a:cubicBezTo>
                <a:cubicBezTo>
                  <a:pt x="4374327" y="5263684"/>
                  <a:pt x="4376857" y="5265548"/>
                  <a:pt x="4382713" y="5265548"/>
                </a:cubicBezTo>
                <a:cubicBezTo>
                  <a:pt x="4384710" y="5265548"/>
                  <a:pt x="4386441" y="5265148"/>
                  <a:pt x="4388038" y="5264616"/>
                </a:cubicBezTo>
                <a:cubicBezTo>
                  <a:pt x="4389502" y="5264083"/>
                  <a:pt x="4390834" y="5263151"/>
                  <a:pt x="4391765" y="5262219"/>
                </a:cubicBezTo>
                <a:cubicBezTo>
                  <a:pt x="4392830" y="5261020"/>
                  <a:pt x="4393762" y="5259689"/>
                  <a:pt x="4394428" y="5257959"/>
                </a:cubicBezTo>
                <a:cubicBezTo>
                  <a:pt x="4395093" y="5256362"/>
                  <a:pt x="4395493" y="5254498"/>
                  <a:pt x="4395493" y="5252501"/>
                </a:cubicBezTo>
                <a:cubicBezTo>
                  <a:pt x="4395493" y="5250637"/>
                  <a:pt x="4395093" y="5248907"/>
                  <a:pt x="4394428" y="5247309"/>
                </a:cubicBezTo>
                <a:cubicBezTo>
                  <a:pt x="4393762" y="5245712"/>
                  <a:pt x="4392830" y="5244381"/>
                  <a:pt x="4391765" y="5243183"/>
                </a:cubicBezTo>
                <a:cubicBezTo>
                  <a:pt x="4390700" y="5242118"/>
                  <a:pt x="4389369" y="5241186"/>
                  <a:pt x="4387772" y="5240521"/>
                </a:cubicBezTo>
                <a:cubicBezTo>
                  <a:pt x="4386308" y="5239855"/>
                  <a:pt x="4384710" y="5239589"/>
                  <a:pt x="4382713" y="5239589"/>
                </a:cubicBezTo>
                <a:close/>
                <a:moveTo>
                  <a:pt x="4165068" y="5239589"/>
                </a:moveTo>
                <a:cubicBezTo>
                  <a:pt x="4159211" y="5239589"/>
                  <a:pt x="4156681" y="5241585"/>
                  <a:pt x="4155084" y="5243183"/>
                </a:cubicBezTo>
                <a:cubicBezTo>
                  <a:pt x="4152555" y="5245845"/>
                  <a:pt x="4151490" y="5248641"/>
                  <a:pt x="4151490" y="5252634"/>
                </a:cubicBezTo>
                <a:cubicBezTo>
                  <a:pt x="4151490" y="5256761"/>
                  <a:pt x="4152555" y="5259556"/>
                  <a:pt x="4155084" y="5262085"/>
                </a:cubicBezTo>
                <a:cubicBezTo>
                  <a:pt x="4156681" y="5263684"/>
                  <a:pt x="4159211" y="5265548"/>
                  <a:pt x="4165068" y="5265548"/>
                </a:cubicBezTo>
                <a:cubicBezTo>
                  <a:pt x="4167064" y="5265548"/>
                  <a:pt x="4168928" y="5265148"/>
                  <a:pt x="4170392" y="5264616"/>
                </a:cubicBezTo>
                <a:cubicBezTo>
                  <a:pt x="4171856" y="5264083"/>
                  <a:pt x="4173188" y="5263151"/>
                  <a:pt x="4174119" y="5262219"/>
                </a:cubicBezTo>
                <a:cubicBezTo>
                  <a:pt x="4175184" y="5261020"/>
                  <a:pt x="4176116" y="5259689"/>
                  <a:pt x="4176782" y="5257959"/>
                </a:cubicBezTo>
                <a:cubicBezTo>
                  <a:pt x="4177447" y="5256362"/>
                  <a:pt x="4177847" y="5254498"/>
                  <a:pt x="4177847" y="5252501"/>
                </a:cubicBezTo>
                <a:cubicBezTo>
                  <a:pt x="4177847" y="5250637"/>
                  <a:pt x="4177447" y="5248907"/>
                  <a:pt x="4176782" y="5247309"/>
                </a:cubicBezTo>
                <a:cubicBezTo>
                  <a:pt x="4176116" y="5245712"/>
                  <a:pt x="4175184" y="5244381"/>
                  <a:pt x="4174119" y="5243183"/>
                </a:cubicBezTo>
                <a:cubicBezTo>
                  <a:pt x="4173054" y="5242118"/>
                  <a:pt x="4171723" y="5241186"/>
                  <a:pt x="4170126" y="5240521"/>
                </a:cubicBezTo>
                <a:cubicBezTo>
                  <a:pt x="4168662" y="5239855"/>
                  <a:pt x="4167064" y="5239589"/>
                  <a:pt x="4165068" y="5239589"/>
                </a:cubicBezTo>
                <a:close/>
                <a:moveTo>
                  <a:pt x="3947709" y="5239589"/>
                </a:moveTo>
                <a:cubicBezTo>
                  <a:pt x="3941851" y="5239589"/>
                  <a:pt x="3939323" y="5241585"/>
                  <a:pt x="3937726" y="5243183"/>
                </a:cubicBezTo>
                <a:cubicBezTo>
                  <a:pt x="3935195" y="5245845"/>
                  <a:pt x="3934131" y="5248641"/>
                  <a:pt x="3934131" y="5252634"/>
                </a:cubicBezTo>
                <a:cubicBezTo>
                  <a:pt x="3934131" y="5256761"/>
                  <a:pt x="3935195" y="5259556"/>
                  <a:pt x="3937726" y="5262085"/>
                </a:cubicBezTo>
                <a:cubicBezTo>
                  <a:pt x="3939323" y="5263684"/>
                  <a:pt x="3941851" y="5265548"/>
                  <a:pt x="3947709" y="5265548"/>
                </a:cubicBezTo>
                <a:cubicBezTo>
                  <a:pt x="3949707" y="5265548"/>
                  <a:pt x="3951571" y="5265148"/>
                  <a:pt x="3953037" y="5264616"/>
                </a:cubicBezTo>
                <a:cubicBezTo>
                  <a:pt x="3954501" y="5264083"/>
                  <a:pt x="3955832" y="5263151"/>
                  <a:pt x="3956764" y="5262219"/>
                </a:cubicBezTo>
                <a:cubicBezTo>
                  <a:pt x="3957829" y="5261020"/>
                  <a:pt x="3958762" y="5259689"/>
                  <a:pt x="3959427" y="5257959"/>
                </a:cubicBezTo>
                <a:cubicBezTo>
                  <a:pt x="3960092" y="5256362"/>
                  <a:pt x="3960492" y="5254498"/>
                  <a:pt x="3960492" y="5252501"/>
                </a:cubicBezTo>
                <a:cubicBezTo>
                  <a:pt x="3960492" y="5250637"/>
                  <a:pt x="3960092" y="5248907"/>
                  <a:pt x="3959427" y="5247309"/>
                </a:cubicBezTo>
                <a:cubicBezTo>
                  <a:pt x="3958762" y="5245712"/>
                  <a:pt x="3957829" y="5244381"/>
                  <a:pt x="3956764" y="5243183"/>
                </a:cubicBezTo>
                <a:cubicBezTo>
                  <a:pt x="3955699" y="5242118"/>
                  <a:pt x="3954368" y="5241186"/>
                  <a:pt x="3952770" y="5240521"/>
                </a:cubicBezTo>
                <a:cubicBezTo>
                  <a:pt x="3951304" y="5239855"/>
                  <a:pt x="3949707" y="5239589"/>
                  <a:pt x="3947709" y="5239589"/>
                </a:cubicBezTo>
                <a:close/>
                <a:moveTo>
                  <a:pt x="3730051" y="5239589"/>
                </a:moveTo>
                <a:cubicBezTo>
                  <a:pt x="3724194" y="5239589"/>
                  <a:pt x="3721664" y="5241585"/>
                  <a:pt x="3720065" y="5243183"/>
                </a:cubicBezTo>
                <a:cubicBezTo>
                  <a:pt x="3717534" y="5245845"/>
                  <a:pt x="3716472" y="5248641"/>
                  <a:pt x="3716472" y="5252634"/>
                </a:cubicBezTo>
                <a:cubicBezTo>
                  <a:pt x="3716472" y="5256761"/>
                  <a:pt x="3717534" y="5259556"/>
                  <a:pt x="3720065" y="5262085"/>
                </a:cubicBezTo>
                <a:cubicBezTo>
                  <a:pt x="3721664" y="5263684"/>
                  <a:pt x="3724194" y="5265548"/>
                  <a:pt x="3730051" y="5265548"/>
                </a:cubicBezTo>
                <a:cubicBezTo>
                  <a:pt x="3732182" y="5265548"/>
                  <a:pt x="3733913" y="5265148"/>
                  <a:pt x="3735376" y="5264616"/>
                </a:cubicBezTo>
                <a:cubicBezTo>
                  <a:pt x="3736841" y="5264083"/>
                  <a:pt x="3738173" y="5263151"/>
                  <a:pt x="3739104" y="5262219"/>
                </a:cubicBezTo>
                <a:cubicBezTo>
                  <a:pt x="3740169" y="5261020"/>
                  <a:pt x="3741101" y="5259689"/>
                  <a:pt x="3741767" y="5257959"/>
                </a:cubicBezTo>
                <a:cubicBezTo>
                  <a:pt x="3742432" y="5256362"/>
                  <a:pt x="3742831" y="5254498"/>
                  <a:pt x="3742831" y="5252501"/>
                </a:cubicBezTo>
                <a:cubicBezTo>
                  <a:pt x="3742831" y="5250637"/>
                  <a:pt x="3742432" y="5248907"/>
                  <a:pt x="3741767" y="5247309"/>
                </a:cubicBezTo>
                <a:cubicBezTo>
                  <a:pt x="3741101" y="5245712"/>
                  <a:pt x="3740169" y="5244381"/>
                  <a:pt x="3739104" y="5243183"/>
                </a:cubicBezTo>
                <a:cubicBezTo>
                  <a:pt x="3738039" y="5242118"/>
                  <a:pt x="3736708" y="5241186"/>
                  <a:pt x="3735111" y="5240521"/>
                </a:cubicBezTo>
                <a:cubicBezTo>
                  <a:pt x="3733646" y="5239855"/>
                  <a:pt x="3732049" y="5239589"/>
                  <a:pt x="3730051" y="5239589"/>
                </a:cubicBezTo>
                <a:close/>
                <a:moveTo>
                  <a:pt x="3512391" y="5239589"/>
                </a:moveTo>
                <a:cubicBezTo>
                  <a:pt x="3506532" y="5239589"/>
                  <a:pt x="3504002" y="5241585"/>
                  <a:pt x="3502403" y="5243183"/>
                </a:cubicBezTo>
                <a:cubicBezTo>
                  <a:pt x="3499873" y="5245845"/>
                  <a:pt x="3498809" y="5248641"/>
                  <a:pt x="3498809" y="5252634"/>
                </a:cubicBezTo>
                <a:cubicBezTo>
                  <a:pt x="3498809" y="5256761"/>
                  <a:pt x="3499873" y="5259556"/>
                  <a:pt x="3502403" y="5262085"/>
                </a:cubicBezTo>
                <a:cubicBezTo>
                  <a:pt x="3504002" y="5263684"/>
                  <a:pt x="3506532" y="5265548"/>
                  <a:pt x="3512391" y="5265548"/>
                </a:cubicBezTo>
                <a:cubicBezTo>
                  <a:pt x="3514521" y="5265548"/>
                  <a:pt x="3516252" y="5265148"/>
                  <a:pt x="3517716" y="5264616"/>
                </a:cubicBezTo>
                <a:cubicBezTo>
                  <a:pt x="3519181" y="5264083"/>
                  <a:pt x="3520513" y="5263151"/>
                  <a:pt x="3521444" y="5262219"/>
                </a:cubicBezTo>
                <a:cubicBezTo>
                  <a:pt x="3522509" y="5261020"/>
                  <a:pt x="3523441" y="5259689"/>
                  <a:pt x="3524107" y="5257959"/>
                </a:cubicBezTo>
                <a:cubicBezTo>
                  <a:pt x="3524772" y="5256362"/>
                  <a:pt x="3525172" y="5254498"/>
                  <a:pt x="3525172" y="5252501"/>
                </a:cubicBezTo>
                <a:cubicBezTo>
                  <a:pt x="3525172" y="5250637"/>
                  <a:pt x="3524772" y="5248907"/>
                  <a:pt x="3524107" y="5247309"/>
                </a:cubicBezTo>
                <a:cubicBezTo>
                  <a:pt x="3523441" y="5245712"/>
                  <a:pt x="3522509" y="5244381"/>
                  <a:pt x="3521444" y="5243183"/>
                </a:cubicBezTo>
                <a:cubicBezTo>
                  <a:pt x="3520379" y="5242118"/>
                  <a:pt x="3519048" y="5241186"/>
                  <a:pt x="3517451" y="5240521"/>
                </a:cubicBezTo>
                <a:cubicBezTo>
                  <a:pt x="3515987" y="5239855"/>
                  <a:pt x="3514388" y="5239589"/>
                  <a:pt x="3512391" y="5239589"/>
                </a:cubicBezTo>
                <a:close/>
                <a:moveTo>
                  <a:pt x="3294865" y="5239589"/>
                </a:moveTo>
                <a:cubicBezTo>
                  <a:pt x="3289006" y="5239589"/>
                  <a:pt x="3286475" y="5241585"/>
                  <a:pt x="3284878" y="5243183"/>
                </a:cubicBezTo>
                <a:cubicBezTo>
                  <a:pt x="3282348" y="5245845"/>
                  <a:pt x="3281284" y="5248641"/>
                  <a:pt x="3281284" y="5252634"/>
                </a:cubicBezTo>
                <a:cubicBezTo>
                  <a:pt x="3281284" y="5256761"/>
                  <a:pt x="3282348" y="5259556"/>
                  <a:pt x="3284878" y="5262085"/>
                </a:cubicBezTo>
                <a:cubicBezTo>
                  <a:pt x="3286475" y="5263684"/>
                  <a:pt x="3289006" y="5265548"/>
                  <a:pt x="3294865" y="5265548"/>
                </a:cubicBezTo>
                <a:cubicBezTo>
                  <a:pt x="3296861" y="5265548"/>
                  <a:pt x="3298592" y="5265148"/>
                  <a:pt x="3300190" y="5264616"/>
                </a:cubicBezTo>
                <a:cubicBezTo>
                  <a:pt x="3301654" y="5264083"/>
                  <a:pt x="3302986" y="5263151"/>
                  <a:pt x="3303917" y="5262219"/>
                </a:cubicBezTo>
                <a:cubicBezTo>
                  <a:pt x="3304982" y="5261020"/>
                  <a:pt x="3305914" y="5259689"/>
                  <a:pt x="3306580" y="5257959"/>
                </a:cubicBezTo>
                <a:cubicBezTo>
                  <a:pt x="3307245" y="5256362"/>
                  <a:pt x="3307644" y="5254498"/>
                  <a:pt x="3307644" y="5252501"/>
                </a:cubicBezTo>
                <a:cubicBezTo>
                  <a:pt x="3307644" y="5250637"/>
                  <a:pt x="3307245" y="5248907"/>
                  <a:pt x="3306580" y="5247309"/>
                </a:cubicBezTo>
                <a:cubicBezTo>
                  <a:pt x="3305914" y="5245712"/>
                  <a:pt x="3304982" y="5244381"/>
                  <a:pt x="3303917" y="5243183"/>
                </a:cubicBezTo>
                <a:cubicBezTo>
                  <a:pt x="3302852" y="5242118"/>
                  <a:pt x="3301521" y="5241186"/>
                  <a:pt x="3299924" y="5240521"/>
                </a:cubicBezTo>
                <a:cubicBezTo>
                  <a:pt x="3298460" y="5239855"/>
                  <a:pt x="3296861" y="5239589"/>
                  <a:pt x="3294865" y="5239589"/>
                </a:cubicBezTo>
                <a:close/>
                <a:moveTo>
                  <a:pt x="3077338" y="5239589"/>
                </a:moveTo>
                <a:cubicBezTo>
                  <a:pt x="3071480" y="5239589"/>
                  <a:pt x="3068949" y="5241585"/>
                  <a:pt x="3067354" y="5243183"/>
                </a:cubicBezTo>
                <a:cubicBezTo>
                  <a:pt x="3064688" y="5245845"/>
                  <a:pt x="3063623" y="5248641"/>
                  <a:pt x="3063623" y="5252634"/>
                </a:cubicBezTo>
                <a:cubicBezTo>
                  <a:pt x="3063623" y="5256761"/>
                  <a:pt x="3064688" y="5259556"/>
                  <a:pt x="3067220" y="5262085"/>
                </a:cubicBezTo>
                <a:cubicBezTo>
                  <a:pt x="3068817" y="5263684"/>
                  <a:pt x="3071347" y="5265548"/>
                  <a:pt x="3077204" y="5265548"/>
                </a:cubicBezTo>
                <a:cubicBezTo>
                  <a:pt x="3079202" y="5265548"/>
                  <a:pt x="3080932" y="5265148"/>
                  <a:pt x="3082663" y="5264616"/>
                </a:cubicBezTo>
                <a:cubicBezTo>
                  <a:pt x="3084128" y="5264083"/>
                  <a:pt x="3085459" y="5263151"/>
                  <a:pt x="3086390" y="5262219"/>
                </a:cubicBezTo>
                <a:cubicBezTo>
                  <a:pt x="3087455" y="5261020"/>
                  <a:pt x="3088387" y="5259689"/>
                  <a:pt x="3089053" y="5257959"/>
                </a:cubicBezTo>
                <a:cubicBezTo>
                  <a:pt x="3089718" y="5256362"/>
                  <a:pt x="3089985" y="5254498"/>
                  <a:pt x="3089985" y="5252501"/>
                </a:cubicBezTo>
                <a:cubicBezTo>
                  <a:pt x="3089985" y="5250637"/>
                  <a:pt x="3089718" y="5248907"/>
                  <a:pt x="3089053" y="5247309"/>
                </a:cubicBezTo>
                <a:cubicBezTo>
                  <a:pt x="3088387" y="5245712"/>
                  <a:pt x="3087455" y="5244381"/>
                  <a:pt x="3086390" y="5243183"/>
                </a:cubicBezTo>
                <a:cubicBezTo>
                  <a:pt x="3085326" y="5242118"/>
                  <a:pt x="3083994" y="5241186"/>
                  <a:pt x="3082397" y="5240521"/>
                </a:cubicBezTo>
                <a:cubicBezTo>
                  <a:pt x="3080932" y="5239855"/>
                  <a:pt x="3079334" y="5239589"/>
                  <a:pt x="3077338" y="5239589"/>
                </a:cubicBezTo>
                <a:close/>
                <a:moveTo>
                  <a:pt x="2859544" y="5239589"/>
                </a:moveTo>
                <a:cubicBezTo>
                  <a:pt x="2853687" y="5239589"/>
                  <a:pt x="2851158" y="5241585"/>
                  <a:pt x="2849558" y="5243183"/>
                </a:cubicBezTo>
                <a:cubicBezTo>
                  <a:pt x="2847025" y="5245845"/>
                  <a:pt x="2845960" y="5248641"/>
                  <a:pt x="2845960" y="5252634"/>
                </a:cubicBezTo>
                <a:cubicBezTo>
                  <a:pt x="2845960" y="5256761"/>
                  <a:pt x="2847025" y="5259556"/>
                  <a:pt x="2849558" y="5262085"/>
                </a:cubicBezTo>
                <a:cubicBezTo>
                  <a:pt x="2851158" y="5263684"/>
                  <a:pt x="2853687" y="5265548"/>
                  <a:pt x="2859544" y="5265548"/>
                </a:cubicBezTo>
                <a:cubicBezTo>
                  <a:pt x="2861541" y="5265548"/>
                  <a:pt x="2863405" y="5265148"/>
                  <a:pt x="2864869" y="5264616"/>
                </a:cubicBezTo>
                <a:cubicBezTo>
                  <a:pt x="2866467" y="5264083"/>
                  <a:pt x="2867666" y="5263151"/>
                  <a:pt x="2868596" y="5262219"/>
                </a:cubicBezTo>
                <a:cubicBezTo>
                  <a:pt x="2869661" y="5261020"/>
                  <a:pt x="2870594" y="5259689"/>
                  <a:pt x="2871259" y="5257959"/>
                </a:cubicBezTo>
                <a:cubicBezTo>
                  <a:pt x="2871792" y="5256362"/>
                  <a:pt x="2872191" y="5254498"/>
                  <a:pt x="2872191" y="5252501"/>
                </a:cubicBezTo>
                <a:cubicBezTo>
                  <a:pt x="2872191" y="5250637"/>
                  <a:pt x="2871924" y="5248907"/>
                  <a:pt x="2871259" y="5247309"/>
                </a:cubicBezTo>
                <a:cubicBezTo>
                  <a:pt x="2870594" y="5245712"/>
                  <a:pt x="2869661" y="5244381"/>
                  <a:pt x="2868596" y="5243183"/>
                </a:cubicBezTo>
                <a:cubicBezTo>
                  <a:pt x="2867532" y="5242118"/>
                  <a:pt x="2866201" y="5241186"/>
                  <a:pt x="2864604" y="5240521"/>
                </a:cubicBezTo>
                <a:cubicBezTo>
                  <a:pt x="2863140" y="5239855"/>
                  <a:pt x="2861541" y="5239589"/>
                  <a:pt x="2859544" y="5239589"/>
                </a:cubicBezTo>
                <a:close/>
                <a:moveTo>
                  <a:pt x="2641884" y="5239589"/>
                </a:moveTo>
                <a:cubicBezTo>
                  <a:pt x="2636027" y="5239589"/>
                  <a:pt x="2633498" y="5241585"/>
                  <a:pt x="2631901" y="5243183"/>
                </a:cubicBezTo>
                <a:cubicBezTo>
                  <a:pt x="2629371" y="5245845"/>
                  <a:pt x="2628306" y="5248641"/>
                  <a:pt x="2628306" y="5252634"/>
                </a:cubicBezTo>
                <a:cubicBezTo>
                  <a:pt x="2628306" y="5256761"/>
                  <a:pt x="2629371" y="5259556"/>
                  <a:pt x="2631901" y="5262085"/>
                </a:cubicBezTo>
                <a:cubicBezTo>
                  <a:pt x="2633498" y="5263684"/>
                  <a:pt x="2636027" y="5265548"/>
                  <a:pt x="2641884" y="5265548"/>
                </a:cubicBezTo>
                <a:cubicBezTo>
                  <a:pt x="2643881" y="5265548"/>
                  <a:pt x="2645746" y="5265148"/>
                  <a:pt x="2647210" y="5264616"/>
                </a:cubicBezTo>
                <a:cubicBezTo>
                  <a:pt x="2648806" y="5264083"/>
                  <a:pt x="2650004" y="5263151"/>
                  <a:pt x="2650937" y="5262219"/>
                </a:cubicBezTo>
                <a:cubicBezTo>
                  <a:pt x="2652002" y="5261020"/>
                  <a:pt x="2652933" y="5259689"/>
                  <a:pt x="2653600" y="5257959"/>
                </a:cubicBezTo>
                <a:cubicBezTo>
                  <a:pt x="2654131" y="5256362"/>
                  <a:pt x="2654530" y="5254498"/>
                  <a:pt x="2654530" y="5252501"/>
                </a:cubicBezTo>
                <a:cubicBezTo>
                  <a:pt x="2654530" y="5250637"/>
                  <a:pt x="2654265" y="5248907"/>
                  <a:pt x="2653600" y="5247309"/>
                </a:cubicBezTo>
                <a:cubicBezTo>
                  <a:pt x="2652933" y="5245712"/>
                  <a:pt x="2652002" y="5244381"/>
                  <a:pt x="2650937" y="5243183"/>
                </a:cubicBezTo>
                <a:cubicBezTo>
                  <a:pt x="2649872" y="5242118"/>
                  <a:pt x="2648540" y="5241186"/>
                  <a:pt x="2646944" y="5240521"/>
                </a:cubicBezTo>
                <a:cubicBezTo>
                  <a:pt x="2645478" y="5239855"/>
                  <a:pt x="2643881" y="5239589"/>
                  <a:pt x="2641884" y="5239589"/>
                </a:cubicBezTo>
                <a:close/>
                <a:moveTo>
                  <a:pt x="2424224" y="5239589"/>
                </a:moveTo>
                <a:cubicBezTo>
                  <a:pt x="2418367" y="5239589"/>
                  <a:pt x="2415838" y="5241585"/>
                  <a:pt x="2414241" y="5243183"/>
                </a:cubicBezTo>
                <a:cubicBezTo>
                  <a:pt x="2411710" y="5245845"/>
                  <a:pt x="2410647" y="5248641"/>
                  <a:pt x="2410647" y="5252634"/>
                </a:cubicBezTo>
                <a:cubicBezTo>
                  <a:pt x="2410647" y="5256761"/>
                  <a:pt x="2411710" y="5259556"/>
                  <a:pt x="2414241" y="5262085"/>
                </a:cubicBezTo>
                <a:cubicBezTo>
                  <a:pt x="2415838" y="5263684"/>
                  <a:pt x="2418367" y="5265548"/>
                  <a:pt x="2424224" y="5265548"/>
                </a:cubicBezTo>
                <a:cubicBezTo>
                  <a:pt x="2426354" y="5265548"/>
                  <a:pt x="2428085" y="5265148"/>
                  <a:pt x="2429549" y="5264616"/>
                </a:cubicBezTo>
                <a:cubicBezTo>
                  <a:pt x="2431147" y="5264083"/>
                  <a:pt x="2432345" y="5263151"/>
                  <a:pt x="2433276" y="5262219"/>
                </a:cubicBezTo>
                <a:cubicBezTo>
                  <a:pt x="2434341" y="5261020"/>
                  <a:pt x="2435273" y="5259689"/>
                  <a:pt x="2435939" y="5257959"/>
                </a:cubicBezTo>
                <a:cubicBezTo>
                  <a:pt x="2436471" y="5256362"/>
                  <a:pt x="2436870" y="5254498"/>
                  <a:pt x="2436870" y="5252501"/>
                </a:cubicBezTo>
                <a:cubicBezTo>
                  <a:pt x="2436870" y="5250637"/>
                  <a:pt x="2436604" y="5248907"/>
                  <a:pt x="2435939" y="5247309"/>
                </a:cubicBezTo>
                <a:cubicBezTo>
                  <a:pt x="2435273" y="5245712"/>
                  <a:pt x="2434341" y="5244381"/>
                  <a:pt x="2433276" y="5243183"/>
                </a:cubicBezTo>
                <a:cubicBezTo>
                  <a:pt x="2432212" y="5242118"/>
                  <a:pt x="2430881" y="5241186"/>
                  <a:pt x="2429283" y="5240521"/>
                </a:cubicBezTo>
                <a:cubicBezTo>
                  <a:pt x="2427819" y="5239855"/>
                  <a:pt x="2426221" y="5239589"/>
                  <a:pt x="2424224" y="5239589"/>
                </a:cubicBezTo>
                <a:close/>
                <a:moveTo>
                  <a:pt x="2206564" y="5239589"/>
                </a:moveTo>
                <a:cubicBezTo>
                  <a:pt x="2200707" y="5239589"/>
                  <a:pt x="2198178" y="5241585"/>
                  <a:pt x="2196580" y="5243183"/>
                </a:cubicBezTo>
                <a:cubicBezTo>
                  <a:pt x="2194051" y="5245845"/>
                  <a:pt x="2192986" y="5248641"/>
                  <a:pt x="2192986" y="5252634"/>
                </a:cubicBezTo>
                <a:cubicBezTo>
                  <a:pt x="2192986" y="5256761"/>
                  <a:pt x="2194051" y="5259556"/>
                  <a:pt x="2196580" y="5262085"/>
                </a:cubicBezTo>
                <a:cubicBezTo>
                  <a:pt x="2198178" y="5263684"/>
                  <a:pt x="2200707" y="5265548"/>
                  <a:pt x="2206564" y="5265548"/>
                </a:cubicBezTo>
                <a:cubicBezTo>
                  <a:pt x="2208694" y="5265548"/>
                  <a:pt x="2210425" y="5265148"/>
                  <a:pt x="2211889" y="5264616"/>
                </a:cubicBezTo>
                <a:cubicBezTo>
                  <a:pt x="2213486" y="5264083"/>
                  <a:pt x="2214684" y="5263151"/>
                  <a:pt x="2215616" y="5262219"/>
                </a:cubicBezTo>
                <a:cubicBezTo>
                  <a:pt x="2216681" y="5261020"/>
                  <a:pt x="2217613" y="5259689"/>
                  <a:pt x="2218279" y="5257959"/>
                </a:cubicBezTo>
                <a:cubicBezTo>
                  <a:pt x="2218811" y="5256362"/>
                  <a:pt x="2219210" y="5254498"/>
                  <a:pt x="2219210" y="5252501"/>
                </a:cubicBezTo>
                <a:cubicBezTo>
                  <a:pt x="2219210" y="5250637"/>
                  <a:pt x="2218944" y="5248907"/>
                  <a:pt x="2218279" y="5247309"/>
                </a:cubicBezTo>
                <a:cubicBezTo>
                  <a:pt x="2217613" y="5245712"/>
                  <a:pt x="2216681" y="5244381"/>
                  <a:pt x="2215616" y="5243183"/>
                </a:cubicBezTo>
                <a:cubicBezTo>
                  <a:pt x="2214551" y="5242118"/>
                  <a:pt x="2213220" y="5241186"/>
                  <a:pt x="2211623" y="5240521"/>
                </a:cubicBezTo>
                <a:cubicBezTo>
                  <a:pt x="2210158" y="5239855"/>
                  <a:pt x="2208561" y="5239589"/>
                  <a:pt x="2206564" y="5239589"/>
                </a:cubicBezTo>
                <a:close/>
                <a:moveTo>
                  <a:pt x="1989037" y="5239589"/>
                </a:moveTo>
                <a:cubicBezTo>
                  <a:pt x="1983179" y="5239589"/>
                  <a:pt x="1980650" y="5241585"/>
                  <a:pt x="1979054" y="5243183"/>
                </a:cubicBezTo>
                <a:cubicBezTo>
                  <a:pt x="1976523" y="5245845"/>
                  <a:pt x="1975459" y="5248641"/>
                  <a:pt x="1975459" y="5252634"/>
                </a:cubicBezTo>
                <a:cubicBezTo>
                  <a:pt x="1975459" y="5256761"/>
                  <a:pt x="1976523" y="5259556"/>
                  <a:pt x="1979054" y="5262085"/>
                </a:cubicBezTo>
                <a:cubicBezTo>
                  <a:pt x="1980650" y="5263684"/>
                  <a:pt x="1983179" y="5265548"/>
                  <a:pt x="1989037" y="5265548"/>
                </a:cubicBezTo>
                <a:cubicBezTo>
                  <a:pt x="1991033" y="5265548"/>
                  <a:pt x="1992765" y="5265148"/>
                  <a:pt x="1994362" y="5264616"/>
                </a:cubicBezTo>
                <a:cubicBezTo>
                  <a:pt x="1995959" y="5264083"/>
                  <a:pt x="1997158" y="5263151"/>
                  <a:pt x="1998089" y="5262219"/>
                </a:cubicBezTo>
                <a:cubicBezTo>
                  <a:pt x="1999154" y="5261020"/>
                  <a:pt x="2000086" y="5259689"/>
                  <a:pt x="2000752" y="5257959"/>
                </a:cubicBezTo>
                <a:cubicBezTo>
                  <a:pt x="2001284" y="5256362"/>
                  <a:pt x="2001682" y="5254498"/>
                  <a:pt x="2001682" y="5252501"/>
                </a:cubicBezTo>
                <a:cubicBezTo>
                  <a:pt x="2001682" y="5250637"/>
                  <a:pt x="2001417" y="5248907"/>
                  <a:pt x="2000752" y="5247309"/>
                </a:cubicBezTo>
                <a:cubicBezTo>
                  <a:pt x="2000086" y="5245712"/>
                  <a:pt x="1999154" y="5244381"/>
                  <a:pt x="1998089" y="5243183"/>
                </a:cubicBezTo>
                <a:cubicBezTo>
                  <a:pt x="1997025" y="5242118"/>
                  <a:pt x="1995693" y="5241186"/>
                  <a:pt x="1994095" y="5240521"/>
                </a:cubicBezTo>
                <a:cubicBezTo>
                  <a:pt x="1992631" y="5239855"/>
                  <a:pt x="1991033" y="5239589"/>
                  <a:pt x="1989037" y="5239589"/>
                </a:cubicBezTo>
                <a:close/>
                <a:moveTo>
                  <a:pt x="1771402" y="5239589"/>
                </a:moveTo>
                <a:cubicBezTo>
                  <a:pt x="1765545" y="5239589"/>
                  <a:pt x="1763017" y="5241585"/>
                  <a:pt x="1761420" y="5243183"/>
                </a:cubicBezTo>
                <a:cubicBezTo>
                  <a:pt x="1758891" y="5245845"/>
                  <a:pt x="1757826" y="5248641"/>
                  <a:pt x="1757826" y="5252634"/>
                </a:cubicBezTo>
                <a:cubicBezTo>
                  <a:pt x="1757826" y="5256761"/>
                  <a:pt x="1758891" y="5259556"/>
                  <a:pt x="1761420" y="5262085"/>
                </a:cubicBezTo>
                <a:cubicBezTo>
                  <a:pt x="1763017" y="5263684"/>
                  <a:pt x="1765545" y="5265548"/>
                  <a:pt x="1771402" y="5265548"/>
                </a:cubicBezTo>
                <a:cubicBezTo>
                  <a:pt x="1773400" y="5265548"/>
                  <a:pt x="1775263" y="5265148"/>
                  <a:pt x="1776727" y="5264616"/>
                </a:cubicBezTo>
                <a:cubicBezTo>
                  <a:pt x="1778191" y="5264083"/>
                  <a:pt x="1779521" y="5263151"/>
                  <a:pt x="1780453" y="5262219"/>
                </a:cubicBezTo>
                <a:cubicBezTo>
                  <a:pt x="1781518" y="5261020"/>
                  <a:pt x="1782450" y="5259689"/>
                  <a:pt x="1783116" y="5257959"/>
                </a:cubicBezTo>
                <a:cubicBezTo>
                  <a:pt x="1783781" y="5256362"/>
                  <a:pt x="1784181" y="5254498"/>
                  <a:pt x="1784181" y="5252501"/>
                </a:cubicBezTo>
                <a:cubicBezTo>
                  <a:pt x="1784181" y="5250637"/>
                  <a:pt x="1783781" y="5248907"/>
                  <a:pt x="1783116" y="5247309"/>
                </a:cubicBezTo>
                <a:cubicBezTo>
                  <a:pt x="1782450" y="5245712"/>
                  <a:pt x="1781518" y="5244381"/>
                  <a:pt x="1780453" y="5243183"/>
                </a:cubicBezTo>
                <a:cubicBezTo>
                  <a:pt x="1779388" y="5242118"/>
                  <a:pt x="1778058" y="5241186"/>
                  <a:pt x="1776461" y="5240521"/>
                </a:cubicBezTo>
                <a:cubicBezTo>
                  <a:pt x="1774996" y="5239855"/>
                  <a:pt x="1773400" y="5239589"/>
                  <a:pt x="1771402" y="5239589"/>
                </a:cubicBezTo>
                <a:close/>
                <a:moveTo>
                  <a:pt x="1553765" y="5239589"/>
                </a:moveTo>
                <a:cubicBezTo>
                  <a:pt x="1547907" y="5239589"/>
                  <a:pt x="1545379" y="5241585"/>
                  <a:pt x="1543782" y="5243183"/>
                </a:cubicBezTo>
                <a:cubicBezTo>
                  <a:pt x="1541252" y="5245845"/>
                  <a:pt x="1540187" y="5248641"/>
                  <a:pt x="1540187" y="5252634"/>
                </a:cubicBezTo>
                <a:cubicBezTo>
                  <a:pt x="1540187" y="5256761"/>
                  <a:pt x="1541252" y="5259556"/>
                  <a:pt x="1543782" y="5262085"/>
                </a:cubicBezTo>
                <a:cubicBezTo>
                  <a:pt x="1545379" y="5263684"/>
                  <a:pt x="1547907" y="5265548"/>
                  <a:pt x="1553765" y="5265548"/>
                </a:cubicBezTo>
                <a:cubicBezTo>
                  <a:pt x="1555762" y="5265548"/>
                  <a:pt x="1557626" y="5265148"/>
                  <a:pt x="1559090" y="5264616"/>
                </a:cubicBezTo>
                <a:cubicBezTo>
                  <a:pt x="1560554" y="5264083"/>
                  <a:pt x="1561886" y="5263151"/>
                  <a:pt x="1562817" y="5262219"/>
                </a:cubicBezTo>
                <a:cubicBezTo>
                  <a:pt x="1563881" y="5261020"/>
                  <a:pt x="1564814" y="5259689"/>
                  <a:pt x="1565480" y="5257959"/>
                </a:cubicBezTo>
                <a:cubicBezTo>
                  <a:pt x="1566145" y="5256362"/>
                  <a:pt x="1566545" y="5254498"/>
                  <a:pt x="1566545" y="5252501"/>
                </a:cubicBezTo>
                <a:cubicBezTo>
                  <a:pt x="1566545" y="5250637"/>
                  <a:pt x="1566145" y="5248907"/>
                  <a:pt x="1565480" y="5247309"/>
                </a:cubicBezTo>
                <a:cubicBezTo>
                  <a:pt x="1564814" y="5245712"/>
                  <a:pt x="1563881" y="5244381"/>
                  <a:pt x="1562817" y="5243183"/>
                </a:cubicBezTo>
                <a:cubicBezTo>
                  <a:pt x="1561752" y="5242118"/>
                  <a:pt x="1560421" y="5241186"/>
                  <a:pt x="1558824" y="5240521"/>
                </a:cubicBezTo>
                <a:cubicBezTo>
                  <a:pt x="1557359" y="5239855"/>
                  <a:pt x="1555762" y="5239589"/>
                  <a:pt x="1553765" y="5239589"/>
                </a:cubicBezTo>
                <a:close/>
                <a:moveTo>
                  <a:pt x="1336122" y="5239589"/>
                </a:moveTo>
                <a:cubicBezTo>
                  <a:pt x="1330263" y="5239589"/>
                  <a:pt x="1327734" y="5241585"/>
                  <a:pt x="1326138" y="5243183"/>
                </a:cubicBezTo>
                <a:cubicBezTo>
                  <a:pt x="1323607" y="5245845"/>
                  <a:pt x="1322543" y="5248641"/>
                  <a:pt x="1322543" y="5252634"/>
                </a:cubicBezTo>
                <a:cubicBezTo>
                  <a:pt x="1322543" y="5256761"/>
                  <a:pt x="1323607" y="5259556"/>
                  <a:pt x="1326138" y="5262085"/>
                </a:cubicBezTo>
                <a:cubicBezTo>
                  <a:pt x="1327734" y="5263684"/>
                  <a:pt x="1330263" y="5265548"/>
                  <a:pt x="1336122" y="5265548"/>
                </a:cubicBezTo>
                <a:cubicBezTo>
                  <a:pt x="1338251" y="5265548"/>
                  <a:pt x="1339981" y="5265148"/>
                  <a:pt x="1341448" y="5264616"/>
                </a:cubicBezTo>
                <a:cubicBezTo>
                  <a:pt x="1342911" y="5264083"/>
                  <a:pt x="1344243" y="5263151"/>
                  <a:pt x="1345175" y="5262219"/>
                </a:cubicBezTo>
                <a:cubicBezTo>
                  <a:pt x="1346239" y="5261020"/>
                  <a:pt x="1347172" y="5259689"/>
                  <a:pt x="1347836" y="5257959"/>
                </a:cubicBezTo>
                <a:cubicBezTo>
                  <a:pt x="1348503" y="5256362"/>
                  <a:pt x="1348903" y="5254498"/>
                  <a:pt x="1348903" y="5252501"/>
                </a:cubicBezTo>
                <a:cubicBezTo>
                  <a:pt x="1348903" y="5250637"/>
                  <a:pt x="1348503" y="5248907"/>
                  <a:pt x="1347836" y="5247309"/>
                </a:cubicBezTo>
                <a:cubicBezTo>
                  <a:pt x="1347172" y="5245712"/>
                  <a:pt x="1346239" y="5244381"/>
                  <a:pt x="1345175" y="5243183"/>
                </a:cubicBezTo>
                <a:cubicBezTo>
                  <a:pt x="1344110" y="5242118"/>
                  <a:pt x="1342779" y="5241186"/>
                  <a:pt x="1341180" y="5240521"/>
                </a:cubicBezTo>
                <a:cubicBezTo>
                  <a:pt x="1339716" y="5239855"/>
                  <a:pt x="1338117" y="5239589"/>
                  <a:pt x="1336122" y="5239589"/>
                </a:cubicBezTo>
                <a:close/>
                <a:moveTo>
                  <a:pt x="1118609" y="5239589"/>
                </a:moveTo>
                <a:cubicBezTo>
                  <a:pt x="1112750" y="5239589"/>
                  <a:pt x="1110221" y="5241585"/>
                  <a:pt x="1108624" y="5243183"/>
                </a:cubicBezTo>
                <a:cubicBezTo>
                  <a:pt x="1105961" y="5245845"/>
                  <a:pt x="1104897" y="5248641"/>
                  <a:pt x="1104897" y="5252634"/>
                </a:cubicBezTo>
                <a:cubicBezTo>
                  <a:pt x="1104897" y="5256761"/>
                  <a:pt x="1105961" y="5259556"/>
                  <a:pt x="1108491" y="5262085"/>
                </a:cubicBezTo>
                <a:cubicBezTo>
                  <a:pt x="1110088" y="5263684"/>
                  <a:pt x="1112617" y="5265548"/>
                  <a:pt x="1118476" y="5265548"/>
                </a:cubicBezTo>
                <a:cubicBezTo>
                  <a:pt x="1120605" y="5265548"/>
                  <a:pt x="1122338" y="5265148"/>
                  <a:pt x="1123932" y="5264616"/>
                </a:cubicBezTo>
                <a:cubicBezTo>
                  <a:pt x="1125398" y="5264083"/>
                  <a:pt x="1126733" y="5263151"/>
                  <a:pt x="1127663" y="5262219"/>
                </a:cubicBezTo>
                <a:cubicBezTo>
                  <a:pt x="1128728" y="5261020"/>
                  <a:pt x="1129660" y="5259689"/>
                  <a:pt x="1130327" y="5257959"/>
                </a:cubicBezTo>
                <a:cubicBezTo>
                  <a:pt x="1130991" y="5256362"/>
                  <a:pt x="1131392" y="5254498"/>
                  <a:pt x="1131392" y="5252501"/>
                </a:cubicBezTo>
                <a:cubicBezTo>
                  <a:pt x="1131392" y="5250637"/>
                  <a:pt x="1130991" y="5248907"/>
                  <a:pt x="1130327" y="5247309"/>
                </a:cubicBezTo>
                <a:cubicBezTo>
                  <a:pt x="1129660" y="5245712"/>
                  <a:pt x="1128728" y="5244381"/>
                  <a:pt x="1127663" y="5243183"/>
                </a:cubicBezTo>
                <a:cubicBezTo>
                  <a:pt x="1126598" y="5242118"/>
                  <a:pt x="1125265" y="5241186"/>
                  <a:pt x="1123667" y="5240521"/>
                </a:cubicBezTo>
                <a:cubicBezTo>
                  <a:pt x="1122205" y="5239855"/>
                  <a:pt x="1120605" y="5239589"/>
                  <a:pt x="1118609" y="5239589"/>
                </a:cubicBezTo>
                <a:close/>
                <a:moveTo>
                  <a:pt x="901097" y="5239589"/>
                </a:moveTo>
                <a:cubicBezTo>
                  <a:pt x="895239" y="5239589"/>
                  <a:pt x="892710" y="5241585"/>
                  <a:pt x="891113" y="5243183"/>
                </a:cubicBezTo>
                <a:cubicBezTo>
                  <a:pt x="888450" y="5245845"/>
                  <a:pt x="887386" y="5248641"/>
                  <a:pt x="887386" y="5252634"/>
                </a:cubicBezTo>
                <a:cubicBezTo>
                  <a:pt x="887386" y="5256761"/>
                  <a:pt x="888450" y="5259556"/>
                  <a:pt x="890980" y="5262085"/>
                </a:cubicBezTo>
                <a:cubicBezTo>
                  <a:pt x="892577" y="5263684"/>
                  <a:pt x="895106" y="5265548"/>
                  <a:pt x="900963" y="5265548"/>
                </a:cubicBezTo>
                <a:cubicBezTo>
                  <a:pt x="902960" y="5265548"/>
                  <a:pt x="904691" y="5265148"/>
                  <a:pt x="906421" y="5264616"/>
                </a:cubicBezTo>
                <a:cubicBezTo>
                  <a:pt x="907885" y="5264083"/>
                  <a:pt x="909217" y="5263151"/>
                  <a:pt x="910149" y="5262219"/>
                </a:cubicBezTo>
                <a:cubicBezTo>
                  <a:pt x="911213" y="5261020"/>
                  <a:pt x="912145" y="5259689"/>
                  <a:pt x="912811" y="5257959"/>
                </a:cubicBezTo>
                <a:cubicBezTo>
                  <a:pt x="913476" y="5256362"/>
                  <a:pt x="913876" y="5254498"/>
                  <a:pt x="913876" y="5252501"/>
                </a:cubicBezTo>
                <a:cubicBezTo>
                  <a:pt x="913876" y="5250637"/>
                  <a:pt x="913476" y="5248907"/>
                  <a:pt x="912811" y="5247309"/>
                </a:cubicBezTo>
                <a:cubicBezTo>
                  <a:pt x="912145" y="5245712"/>
                  <a:pt x="911213" y="5244381"/>
                  <a:pt x="910149" y="5243183"/>
                </a:cubicBezTo>
                <a:cubicBezTo>
                  <a:pt x="909084" y="5242118"/>
                  <a:pt x="907752" y="5241186"/>
                  <a:pt x="906155" y="5240521"/>
                </a:cubicBezTo>
                <a:cubicBezTo>
                  <a:pt x="904691" y="5239855"/>
                  <a:pt x="903093" y="5239589"/>
                  <a:pt x="901097" y="5239589"/>
                </a:cubicBezTo>
                <a:close/>
                <a:moveTo>
                  <a:pt x="683323" y="5239589"/>
                </a:moveTo>
                <a:cubicBezTo>
                  <a:pt x="677465" y="5239589"/>
                  <a:pt x="674936" y="5241585"/>
                  <a:pt x="673339" y="5243183"/>
                </a:cubicBezTo>
                <a:cubicBezTo>
                  <a:pt x="670809" y="5245845"/>
                  <a:pt x="669745" y="5248641"/>
                  <a:pt x="669745" y="5252634"/>
                </a:cubicBezTo>
                <a:cubicBezTo>
                  <a:pt x="669745" y="5256761"/>
                  <a:pt x="670809" y="5259556"/>
                  <a:pt x="673339" y="5262085"/>
                </a:cubicBezTo>
                <a:cubicBezTo>
                  <a:pt x="674936" y="5263684"/>
                  <a:pt x="677465" y="5265548"/>
                  <a:pt x="683323" y="5265548"/>
                </a:cubicBezTo>
                <a:cubicBezTo>
                  <a:pt x="685319" y="5265548"/>
                  <a:pt x="687183" y="5265148"/>
                  <a:pt x="688648" y="5264616"/>
                </a:cubicBezTo>
                <a:cubicBezTo>
                  <a:pt x="690112" y="5264083"/>
                  <a:pt x="691444" y="5263151"/>
                  <a:pt x="692375" y="5262219"/>
                </a:cubicBezTo>
                <a:cubicBezTo>
                  <a:pt x="693439" y="5261020"/>
                  <a:pt x="694371" y="5259689"/>
                  <a:pt x="695038" y="5257959"/>
                </a:cubicBezTo>
                <a:cubicBezTo>
                  <a:pt x="695703" y="5256362"/>
                  <a:pt x="696103" y="5254498"/>
                  <a:pt x="696103" y="5252501"/>
                </a:cubicBezTo>
                <a:cubicBezTo>
                  <a:pt x="696103" y="5250637"/>
                  <a:pt x="695703" y="5248907"/>
                  <a:pt x="695038" y="5247309"/>
                </a:cubicBezTo>
                <a:cubicBezTo>
                  <a:pt x="694371" y="5245712"/>
                  <a:pt x="693439" y="5244381"/>
                  <a:pt x="692375" y="5243183"/>
                </a:cubicBezTo>
                <a:cubicBezTo>
                  <a:pt x="691310" y="5242118"/>
                  <a:pt x="689979" y="5241186"/>
                  <a:pt x="688382" y="5240521"/>
                </a:cubicBezTo>
                <a:cubicBezTo>
                  <a:pt x="686918" y="5239855"/>
                  <a:pt x="685319" y="5239589"/>
                  <a:pt x="683323" y="5239589"/>
                </a:cubicBezTo>
                <a:close/>
                <a:moveTo>
                  <a:pt x="465681" y="5239589"/>
                </a:moveTo>
                <a:cubicBezTo>
                  <a:pt x="459824" y="5239589"/>
                  <a:pt x="457295" y="5241585"/>
                  <a:pt x="455698" y="5243183"/>
                </a:cubicBezTo>
                <a:cubicBezTo>
                  <a:pt x="453168" y="5245845"/>
                  <a:pt x="452104" y="5248641"/>
                  <a:pt x="452104" y="5252634"/>
                </a:cubicBezTo>
                <a:cubicBezTo>
                  <a:pt x="452104" y="5256761"/>
                  <a:pt x="453168" y="5259556"/>
                  <a:pt x="455698" y="5262085"/>
                </a:cubicBezTo>
                <a:cubicBezTo>
                  <a:pt x="457295" y="5263684"/>
                  <a:pt x="459824" y="5265548"/>
                  <a:pt x="465681" y="5265548"/>
                </a:cubicBezTo>
                <a:cubicBezTo>
                  <a:pt x="467678" y="5265548"/>
                  <a:pt x="469542" y="5265148"/>
                  <a:pt x="471006" y="5264616"/>
                </a:cubicBezTo>
                <a:cubicBezTo>
                  <a:pt x="472470" y="5264083"/>
                  <a:pt x="473801" y="5263151"/>
                  <a:pt x="474733" y="5262219"/>
                </a:cubicBezTo>
                <a:cubicBezTo>
                  <a:pt x="475798" y="5261020"/>
                  <a:pt x="476730" y="5259689"/>
                  <a:pt x="477396" y="5257959"/>
                </a:cubicBezTo>
                <a:cubicBezTo>
                  <a:pt x="478061" y="5256362"/>
                  <a:pt x="478461" y="5254498"/>
                  <a:pt x="478461" y="5252501"/>
                </a:cubicBezTo>
                <a:cubicBezTo>
                  <a:pt x="478461" y="5250637"/>
                  <a:pt x="478061" y="5248907"/>
                  <a:pt x="477396" y="5247309"/>
                </a:cubicBezTo>
                <a:cubicBezTo>
                  <a:pt x="476730" y="5245712"/>
                  <a:pt x="475798" y="5244381"/>
                  <a:pt x="474733" y="5243183"/>
                </a:cubicBezTo>
                <a:cubicBezTo>
                  <a:pt x="473668" y="5242118"/>
                  <a:pt x="472337" y="5241186"/>
                  <a:pt x="470740" y="5240521"/>
                </a:cubicBezTo>
                <a:cubicBezTo>
                  <a:pt x="469276" y="5239855"/>
                  <a:pt x="467678" y="5239589"/>
                  <a:pt x="465681" y="5239589"/>
                </a:cubicBezTo>
                <a:close/>
                <a:moveTo>
                  <a:pt x="248039" y="5239589"/>
                </a:moveTo>
                <a:cubicBezTo>
                  <a:pt x="242183" y="5239589"/>
                  <a:pt x="239654" y="5241585"/>
                  <a:pt x="238057" y="5243183"/>
                </a:cubicBezTo>
                <a:cubicBezTo>
                  <a:pt x="235527" y="5245845"/>
                  <a:pt x="234463" y="5248641"/>
                  <a:pt x="234463" y="5252634"/>
                </a:cubicBezTo>
                <a:cubicBezTo>
                  <a:pt x="234463" y="5256761"/>
                  <a:pt x="235527" y="5259556"/>
                  <a:pt x="238057" y="5262085"/>
                </a:cubicBezTo>
                <a:cubicBezTo>
                  <a:pt x="239654" y="5263684"/>
                  <a:pt x="242183" y="5265548"/>
                  <a:pt x="248039" y="5265548"/>
                </a:cubicBezTo>
                <a:cubicBezTo>
                  <a:pt x="250169" y="5265548"/>
                  <a:pt x="251900" y="5265148"/>
                  <a:pt x="253364" y="5264616"/>
                </a:cubicBezTo>
                <a:cubicBezTo>
                  <a:pt x="254828" y="5264083"/>
                  <a:pt x="256159" y="5263151"/>
                  <a:pt x="257091" y="5262219"/>
                </a:cubicBezTo>
                <a:cubicBezTo>
                  <a:pt x="258156" y="5261020"/>
                  <a:pt x="259088" y="5259689"/>
                  <a:pt x="259754" y="5257959"/>
                </a:cubicBezTo>
                <a:cubicBezTo>
                  <a:pt x="260419" y="5256362"/>
                  <a:pt x="260819" y="5254498"/>
                  <a:pt x="260819" y="5252501"/>
                </a:cubicBezTo>
                <a:cubicBezTo>
                  <a:pt x="260819" y="5250637"/>
                  <a:pt x="260419" y="5248907"/>
                  <a:pt x="259754" y="5247309"/>
                </a:cubicBezTo>
                <a:cubicBezTo>
                  <a:pt x="259088" y="5245712"/>
                  <a:pt x="258156" y="5244381"/>
                  <a:pt x="257091" y="5243183"/>
                </a:cubicBezTo>
                <a:cubicBezTo>
                  <a:pt x="256026" y="5242118"/>
                  <a:pt x="254695" y="5241186"/>
                  <a:pt x="253098" y="5240521"/>
                </a:cubicBezTo>
                <a:cubicBezTo>
                  <a:pt x="251633" y="5239855"/>
                  <a:pt x="250036" y="5239589"/>
                  <a:pt x="248039" y="5239589"/>
                </a:cubicBezTo>
                <a:close/>
                <a:moveTo>
                  <a:pt x="30398" y="5239589"/>
                </a:moveTo>
                <a:cubicBezTo>
                  <a:pt x="24540" y="5239589"/>
                  <a:pt x="22011" y="5241585"/>
                  <a:pt x="20414" y="5243183"/>
                </a:cubicBezTo>
                <a:cubicBezTo>
                  <a:pt x="17885" y="5245845"/>
                  <a:pt x="16821" y="5248641"/>
                  <a:pt x="16821" y="5252634"/>
                </a:cubicBezTo>
                <a:cubicBezTo>
                  <a:pt x="16821" y="5256761"/>
                  <a:pt x="17885" y="5259556"/>
                  <a:pt x="20414" y="5262085"/>
                </a:cubicBezTo>
                <a:cubicBezTo>
                  <a:pt x="22011" y="5263684"/>
                  <a:pt x="24540" y="5265548"/>
                  <a:pt x="30398" y="5265548"/>
                </a:cubicBezTo>
                <a:cubicBezTo>
                  <a:pt x="32528" y="5265548"/>
                  <a:pt x="34259" y="5265148"/>
                  <a:pt x="35723" y="5264616"/>
                </a:cubicBezTo>
                <a:cubicBezTo>
                  <a:pt x="37187" y="5264083"/>
                  <a:pt x="38519" y="5263151"/>
                  <a:pt x="39450" y="5262219"/>
                </a:cubicBezTo>
                <a:cubicBezTo>
                  <a:pt x="40515" y="5261020"/>
                  <a:pt x="41447" y="5259689"/>
                  <a:pt x="42113" y="5257959"/>
                </a:cubicBezTo>
                <a:cubicBezTo>
                  <a:pt x="42778" y="5256362"/>
                  <a:pt x="43044" y="5254498"/>
                  <a:pt x="43044" y="5252501"/>
                </a:cubicBezTo>
                <a:cubicBezTo>
                  <a:pt x="43044" y="5250637"/>
                  <a:pt x="42778" y="5248907"/>
                  <a:pt x="42113" y="5247309"/>
                </a:cubicBezTo>
                <a:cubicBezTo>
                  <a:pt x="41447" y="5245712"/>
                  <a:pt x="40515" y="5244381"/>
                  <a:pt x="39450" y="5243183"/>
                </a:cubicBezTo>
                <a:cubicBezTo>
                  <a:pt x="38385" y="5242118"/>
                  <a:pt x="37054" y="5241186"/>
                  <a:pt x="35457" y="5240521"/>
                </a:cubicBezTo>
                <a:cubicBezTo>
                  <a:pt x="33993" y="5239855"/>
                  <a:pt x="32395" y="5239589"/>
                  <a:pt x="30398" y="5239589"/>
                </a:cubicBezTo>
                <a:close/>
                <a:moveTo>
                  <a:pt x="10475977" y="5222816"/>
                </a:moveTo>
                <a:cubicBezTo>
                  <a:pt x="10480237" y="5222816"/>
                  <a:pt x="10484230" y="5223615"/>
                  <a:pt x="10487824" y="5225478"/>
                </a:cubicBezTo>
                <a:cubicBezTo>
                  <a:pt x="10491419" y="5227076"/>
                  <a:pt x="10494613" y="5229206"/>
                  <a:pt x="10497143" y="5231868"/>
                </a:cubicBezTo>
                <a:cubicBezTo>
                  <a:pt x="10499672" y="5234397"/>
                  <a:pt x="10501801" y="5237592"/>
                  <a:pt x="10503266" y="5241186"/>
                </a:cubicBezTo>
                <a:cubicBezTo>
                  <a:pt x="10504730" y="5244780"/>
                  <a:pt x="10505529" y="5248507"/>
                  <a:pt x="10505529" y="5252634"/>
                </a:cubicBezTo>
                <a:cubicBezTo>
                  <a:pt x="10505529" y="5256761"/>
                  <a:pt x="10504730" y="5260754"/>
                  <a:pt x="10503266" y="5264349"/>
                </a:cubicBezTo>
                <a:cubicBezTo>
                  <a:pt x="10501669" y="5267944"/>
                  <a:pt x="10499672" y="5271005"/>
                  <a:pt x="10497143" y="5273668"/>
                </a:cubicBezTo>
                <a:cubicBezTo>
                  <a:pt x="10494480" y="5276330"/>
                  <a:pt x="10491419" y="5278460"/>
                  <a:pt x="10487824" y="5279924"/>
                </a:cubicBezTo>
                <a:cubicBezTo>
                  <a:pt x="10484098" y="5281388"/>
                  <a:pt x="10480237" y="5282187"/>
                  <a:pt x="10475977" y="5282187"/>
                </a:cubicBezTo>
                <a:cubicBezTo>
                  <a:pt x="10466924" y="5282187"/>
                  <a:pt x="10459736" y="5279259"/>
                  <a:pt x="10454145" y="5273668"/>
                </a:cubicBezTo>
                <a:cubicBezTo>
                  <a:pt x="10448554" y="5268076"/>
                  <a:pt x="10445759" y="5260887"/>
                  <a:pt x="10445759" y="5252501"/>
                </a:cubicBezTo>
                <a:cubicBezTo>
                  <a:pt x="10445759" y="5244248"/>
                  <a:pt x="10448554" y="5237193"/>
                  <a:pt x="10454145" y="5231468"/>
                </a:cubicBezTo>
                <a:cubicBezTo>
                  <a:pt x="10459603" y="5225612"/>
                  <a:pt x="10466924" y="5222816"/>
                  <a:pt x="10475977" y="5222816"/>
                </a:cubicBezTo>
                <a:close/>
                <a:moveTo>
                  <a:pt x="10258466" y="5222816"/>
                </a:moveTo>
                <a:cubicBezTo>
                  <a:pt x="10262592" y="5222816"/>
                  <a:pt x="10266586" y="5223615"/>
                  <a:pt x="10270313" y="5225478"/>
                </a:cubicBezTo>
                <a:cubicBezTo>
                  <a:pt x="10273907" y="5227076"/>
                  <a:pt x="10277101" y="5229206"/>
                  <a:pt x="10279631" y="5231868"/>
                </a:cubicBezTo>
                <a:cubicBezTo>
                  <a:pt x="10282160" y="5234397"/>
                  <a:pt x="10284290" y="5237592"/>
                  <a:pt x="10285754" y="5241186"/>
                </a:cubicBezTo>
                <a:cubicBezTo>
                  <a:pt x="10287218" y="5244780"/>
                  <a:pt x="10288017" y="5248507"/>
                  <a:pt x="10288017" y="5252634"/>
                </a:cubicBezTo>
                <a:cubicBezTo>
                  <a:pt x="10288017" y="5256761"/>
                  <a:pt x="10287218" y="5260754"/>
                  <a:pt x="10285754" y="5264349"/>
                </a:cubicBezTo>
                <a:cubicBezTo>
                  <a:pt x="10284157" y="5267944"/>
                  <a:pt x="10282160" y="5271005"/>
                  <a:pt x="10279631" y="5273668"/>
                </a:cubicBezTo>
                <a:cubicBezTo>
                  <a:pt x="10276969" y="5276330"/>
                  <a:pt x="10273907" y="5278460"/>
                  <a:pt x="10270313" y="5279924"/>
                </a:cubicBezTo>
                <a:cubicBezTo>
                  <a:pt x="10266586" y="5281388"/>
                  <a:pt x="10262725" y="5282187"/>
                  <a:pt x="10258466" y="5282187"/>
                </a:cubicBezTo>
                <a:cubicBezTo>
                  <a:pt x="10249546" y="5282187"/>
                  <a:pt x="10242224" y="5279259"/>
                  <a:pt x="10236633" y="5273668"/>
                </a:cubicBezTo>
                <a:cubicBezTo>
                  <a:pt x="10231043" y="5268076"/>
                  <a:pt x="10228247" y="5260887"/>
                  <a:pt x="10228247" y="5252501"/>
                </a:cubicBezTo>
                <a:cubicBezTo>
                  <a:pt x="10228247" y="5244248"/>
                  <a:pt x="10231043" y="5237193"/>
                  <a:pt x="10236633" y="5231468"/>
                </a:cubicBezTo>
                <a:cubicBezTo>
                  <a:pt x="10242092" y="5225612"/>
                  <a:pt x="10249413" y="5222816"/>
                  <a:pt x="10258466" y="5222816"/>
                </a:cubicBezTo>
                <a:close/>
                <a:moveTo>
                  <a:pt x="10040820" y="5222816"/>
                </a:moveTo>
                <a:cubicBezTo>
                  <a:pt x="10045080" y="5222816"/>
                  <a:pt x="10048941" y="5223615"/>
                  <a:pt x="10052534" y="5225478"/>
                </a:cubicBezTo>
                <a:cubicBezTo>
                  <a:pt x="10056129" y="5227076"/>
                  <a:pt x="10059323" y="5229206"/>
                  <a:pt x="10061852" y="5231868"/>
                </a:cubicBezTo>
                <a:cubicBezTo>
                  <a:pt x="10064382" y="5234397"/>
                  <a:pt x="10066512" y="5237592"/>
                  <a:pt x="10067976" y="5241186"/>
                </a:cubicBezTo>
                <a:cubicBezTo>
                  <a:pt x="10069440" y="5244780"/>
                  <a:pt x="10070239" y="5248507"/>
                  <a:pt x="10070239" y="5252634"/>
                </a:cubicBezTo>
                <a:cubicBezTo>
                  <a:pt x="10070239" y="5256761"/>
                  <a:pt x="10069440" y="5260754"/>
                  <a:pt x="10067976" y="5264349"/>
                </a:cubicBezTo>
                <a:cubicBezTo>
                  <a:pt x="10066379" y="5267944"/>
                  <a:pt x="10064382" y="5271005"/>
                  <a:pt x="10061852" y="5273668"/>
                </a:cubicBezTo>
                <a:cubicBezTo>
                  <a:pt x="10059190" y="5276330"/>
                  <a:pt x="10056129" y="5278460"/>
                  <a:pt x="10052534" y="5279924"/>
                </a:cubicBezTo>
                <a:cubicBezTo>
                  <a:pt x="10048941" y="5281388"/>
                  <a:pt x="10045080" y="5282187"/>
                  <a:pt x="10040820" y="5282187"/>
                </a:cubicBezTo>
                <a:cubicBezTo>
                  <a:pt x="10031767" y="5282187"/>
                  <a:pt x="10024579" y="5279259"/>
                  <a:pt x="10018988" y="5273668"/>
                </a:cubicBezTo>
                <a:cubicBezTo>
                  <a:pt x="10013397" y="5268076"/>
                  <a:pt x="10010602" y="5260887"/>
                  <a:pt x="10010602" y="5252501"/>
                </a:cubicBezTo>
                <a:cubicBezTo>
                  <a:pt x="10010602" y="5244248"/>
                  <a:pt x="10013397" y="5237193"/>
                  <a:pt x="10018988" y="5231468"/>
                </a:cubicBezTo>
                <a:cubicBezTo>
                  <a:pt x="10024579" y="5225612"/>
                  <a:pt x="10031767" y="5222816"/>
                  <a:pt x="10040820" y="5222816"/>
                </a:cubicBezTo>
                <a:close/>
                <a:moveTo>
                  <a:pt x="9823176" y="5222816"/>
                </a:moveTo>
                <a:cubicBezTo>
                  <a:pt x="9827435" y="5222816"/>
                  <a:pt x="9831296" y="5223615"/>
                  <a:pt x="9834890" y="5225478"/>
                </a:cubicBezTo>
                <a:cubicBezTo>
                  <a:pt x="9838617" y="5227076"/>
                  <a:pt x="9841679" y="5229206"/>
                  <a:pt x="9844208" y="5231868"/>
                </a:cubicBezTo>
                <a:cubicBezTo>
                  <a:pt x="9846737" y="5234397"/>
                  <a:pt x="9848867" y="5237592"/>
                  <a:pt x="9850331" y="5241186"/>
                </a:cubicBezTo>
                <a:cubicBezTo>
                  <a:pt x="9851796" y="5244780"/>
                  <a:pt x="9852595" y="5248507"/>
                  <a:pt x="9852595" y="5252634"/>
                </a:cubicBezTo>
                <a:cubicBezTo>
                  <a:pt x="9852595" y="5256761"/>
                  <a:pt x="9851796" y="5260754"/>
                  <a:pt x="9850331" y="5264349"/>
                </a:cubicBezTo>
                <a:cubicBezTo>
                  <a:pt x="9848734" y="5267944"/>
                  <a:pt x="9846737" y="5271005"/>
                  <a:pt x="9844208" y="5273668"/>
                </a:cubicBezTo>
                <a:cubicBezTo>
                  <a:pt x="9841546" y="5276330"/>
                  <a:pt x="9838484" y="5278460"/>
                  <a:pt x="9834890" y="5279924"/>
                </a:cubicBezTo>
                <a:cubicBezTo>
                  <a:pt x="9831296" y="5281388"/>
                  <a:pt x="9827435" y="5282187"/>
                  <a:pt x="9823176" y="5282187"/>
                </a:cubicBezTo>
                <a:cubicBezTo>
                  <a:pt x="9814123" y="5282187"/>
                  <a:pt x="9806935" y="5279259"/>
                  <a:pt x="9801343" y="5273668"/>
                </a:cubicBezTo>
                <a:cubicBezTo>
                  <a:pt x="9795753" y="5268076"/>
                  <a:pt x="9792957" y="5260887"/>
                  <a:pt x="9792957" y="5252501"/>
                </a:cubicBezTo>
                <a:cubicBezTo>
                  <a:pt x="9792957" y="5244248"/>
                  <a:pt x="9795753" y="5237193"/>
                  <a:pt x="9801343" y="5231468"/>
                </a:cubicBezTo>
                <a:cubicBezTo>
                  <a:pt x="9806935" y="5225612"/>
                  <a:pt x="9814123" y="5222816"/>
                  <a:pt x="9823176" y="5222816"/>
                </a:cubicBezTo>
                <a:close/>
                <a:moveTo>
                  <a:pt x="9605531" y="5222816"/>
                </a:moveTo>
                <a:cubicBezTo>
                  <a:pt x="9609790" y="5222816"/>
                  <a:pt x="9613784" y="5223615"/>
                  <a:pt x="9617245" y="5225478"/>
                </a:cubicBezTo>
                <a:cubicBezTo>
                  <a:pt x="9620839" y="5227076"/>
                  <a:pt x="9624033" y="5229206"/>
                  <a:pt x="9626562" y="5231868"/>
                </a:cubicBezTo>
                <a:cubicBezTo>
                  <a:pt x="9629092" y="5234397"/>
                  <a:pt x="9631222" y="5237592"/>
                  <a:pt x="9632686" y="5241186"/>
                </a:cubicBezTo>
                <a:cubicBezTo>
                  <a:pt x="9634150" y="5244780"/>
                  <a:pt x="9634949" y="5248507"/>
                  <a:pt x="9634949" y="5252634"/>
                </a:cubicBezTo>
                <a:cubicBezTo>
                  <a:pt x="9634949" y="5256761"/>
                  <a:pt x="9634150" y="5260754"/>
                  <a:pt x="9632686" y="5264349"/>
                </a:cubicBezTo>
                <a:cubicBezTo>
                  <a:pt x="9631089" y="5267944"/>
                  <a:pt x="9629092" y="5271005"/>
                  <a:pt x="9626562" y="5273668"/>
                </a:cubicBezTo>
                <a:cubicBezTo>
                  <a:pt x="9623901" y="5276330"/>
                  <a:pt x="9620839" y="5278460"/>
                  <a:pt x="9617245" y="5279924"/>
                </a:cubicBezTo>
                <a:cubicBezTo>
                  <a:pt x="9613651" y="5281388"/>
                  <a:pt x="9609790" y="5282187"/>
                  <a:pt x="9605531" y="5282187"/>
                </a:cubicBezTo>
                <a:cubicBezTo>
                  <a:pt x="9596610" y="5282187"/>
                  <a:pt x="9589289" y="5279259"/>
                  <a:pt x="9583698" y="5273668"/>
                </a:cubicBezTo>
                <a:cubicBezTo>
                  <a:pt x="9578108" y="5268076"/>
                  <a:pt x="9575312" y="5260887"/>
                  <a:pt x="9575312" y="5252501"/>
                </a:cubicBezTo>
                <a:cubicBezTo>
                  <a:pt x="9575312" y="5244248"/>
                  <a:pt x="9578108" y="5237193"/>
                  <a:pt x="9583698" y="5231468"/>
                </a:cubicBezTo>
                <a:cubicBezTo>
                  <a:pt x="9589289" y="5225612"/>
                  <a:pt x="9596478" y="5222816"/>
                  <a:pt x="9605531" y="5222816"/>
                </a:cubicBezTo>
                <a:close/>
                <a:moveTo>
                  <a:pt x="9387885" y="5222816"/>
                </a:moveTo>
                <a:cubicBezTo>
                  <a:pt x="9392145" y="5222816"/>
                  <a:pt x="9396138" y="5223615"/>
                  <a:pt x="9399599" y="5225478"/>
                </a:cubicBezTo>
                <a:cubicBezTo>
                  <a:pt x="9403194" y="5227076"/>
                  <a:pt x="9406388" y="5229206"/>
                  <a:pt x="9408917" y="5231868"/>
                </a:cubicBezTo>
                <a:cubicBezTo>
                  <a:pt x="9411447" y="5234397"/>
                  <a:pt x="9413576" y="5237592"/>
                  <a:pt x="9415041" y="5241186"/>
                </a:cubicBezTo>
                <a:cubicBezTo>
                  <a:pt x="9416505" y="5244780"/>
                  <a:pt x="9417304" y="5248507"/>
                  <a:pt x="9417304" y="5252634"/>
                </a:cubicBezTo>
                <a:cubicBezTo>
                  <a:pt x="9417304" y="5256761"/>
                  <a:pt x="9416505" y="5260754"/>
                  <a:pt x="9415041" y="5264349"/>
                </a:cubicBezTo>
                <a:cubicBezTo>
                  <a:pt x="9413444" y="5267944"/>
                  <a:pt x="9411447" y="5271005"/>
                  <a:pt x="9408917" y="5273668"/>
                </a:cubicBezTo>
                <a:cubicBezTo>
                  <a:pt x="9406255" y="5276330"/>
                  <a:pt x="9403194" y="5278460"/>
                  <a:pt x="9399599" y="5279924"/>
                </a:cubicBezTo>
                <a:cubicBezTo>
                  <a:pt x="9396005" y="5281388"/>
                  <a:pt x="9392145" y="5282187"/>
                  <a:pt x="9387885" y="5282187"/>
                </a:cubicBezTo>
                <a:cubicBezTo>
                  <a:pt x="9378965" y="5282187"/>
                  <a:pt x="9371644" y="5279259"/>
                  <a:pt x="9366053" y="5273668"/>
                </a:cubicBezTo>
                <a:cubicBezTo>
                  <a:pt x="9360462" y="5268076"/>
                  <a:pt x="9357667" y="5260887"/>
                  <a:pt x="9357667" y="5252501"/>
                </a:cubicBezTo>
                <a:cubicBezTo>
                  <a:pt x="9357667" y="5244248"/>
                  <a:pt x="9360462" y="5237193"/>
                  <a:pt x="9366053" y="5231468"/>
                </a:cubicBezTo>
                <a:cubicBezTo>
                  <a:pt x="9371644" y="5225612"/>
                  <a:pt x="9378832" y="5222816"/>
                  <a:pt x="9387885" y="5222816"/>
                </a:cubicBezTo>
                <a:close/>
                <a:moveTo>
                  <a:pt x="9170374" y="5222816"/>
                </a:moveTo>
                <a:cubicBezTo>
                  <a:pt x="9174500" y="5222816"/>
                  <a:pt x="9178494" y="5223615"/>
                  <a:pt x="9182088" y="5225478"/>
                </a:cubicBezTo>
                <a:cubicBezTo>
                  <a:pt x="9185682" y="5227076"/>
                  <a:pt x="9188876" y="5229206"/>
                  <a:pt x="9191405" y="5231868"/>
                </a:cubicBezTo>
                <a:cubicBezTo>
                  <a:pt x="9193935" y="5234397"/>
                  <a:pt x="9196065" y="5237592"/>
                  <a:pt x="9197529" y="5241186"/>
                </a:cubicBezTo>
                <a:cubicBezTo>
                  <a:pt x="9198993" y="5244780"/>
                  <a:pt x="9199792" y="5248507"/>
                  <a:pt x="9199792" y="5252634"/>
                </a:cubicBezTo>
                <a:cubicBezTo>
                  <a:pt x="9199792" y="5256761"/>
                  <a:pt x="9198993" y="5260754"/>
                  <a:pt x="9197529" y="5264349"/>
                </a:cubicBezTo>
                <a:cubicBezTo>
                  <a:pt x="9195932" y="5267944"/>
                  <a:pt x="9193935" y="5271005"/>
                  <a:pt x="9191405" y="5273668"/>
                </a:cubicBezTo>
                <a:cubicBezTo>
                  <a:pt x="9188744" y="5276330"/>
                  <a:pt x="9185682" y="5278460"/>
                  <a:pt x="9182088" y="5279924"/>
                </a:cubicBezTo>
                <a:cubicBezTo>
                  <a:pt x="9178494" y="5281388"/>
                  <a:pt x="9174633" y="5282187"/>
                  <a:pt x="9170374" y="5282187"/>
                </a:cubicBezTo>
                <a:cubicBezTo>
                  <a:pt x="9161453" y="5282187"/>
                  <a:pt x="9154132" y="5279259"/>
                  <a:pt x="9148541" y="5273668"/>
                </a:cubicBezTo>
                <a:cubicBezTo>
                  <a:pt x="9142951" y="5268076"/>
                  <a:pt x="9140155" y="5260887"/>
                  <a:pt x="9140155" y="5252501"/>
                </a:cubicBezTo>
                <a:cubicBezTo>
                  <a:pt x="9140155" y="5244248"/>
                  <a:pt x="9142951" y="5237193"/>
                  <a:pt x="9148541" y="5231468"/>
                </a:cubicBezTo>
                <a:cubicBezTo>
                  <a:pt x="9154132" y="5225612"/>
                  <a:pt x="9161321" y="5222816"/>
                  <a:pt x="9170374" y="5222816"/>
                </a:cubicBezTo>
                <a:close/>
                <a:moveTo>
                  <a:pt x="8952728" y="5222816"/>
                </a:moveTo>
                <a:cubicBezTo>
                  <a:pt x="8956988" y="5222816"/>
                  <a:pt x="8960849" y="5223615"/>
                  <a:pt x="8964442" y="5225478"/>
                </a:cubicBezTo>
                <a:cubicBezTo>
                  <a:pt x="8968037" y="5227076"/>
                  <a:pt x="8971231" y="5229206"/>
                  <a:pt x="8973760" y="5231868"/>
                </a:cubicBezTo>
                <a:cubicBezTo>
                  <a:pt x="8976290" y="5234397"/>
                  <a:pt x="8978419" y="5237592"/>
                  <a:pt x="8979884" y="5241186"/>
                </a:cubicBezTo>
                <a:cubicBezTo>
                  <a:pt x="8981348" y="5244780"/>
                  <a:pt x="8982147" y="5248507"/>
                  <a:pt x="8982147" y="5252634"/>
                </a:cubicBezTo>
                <a:cubicBezTo>
                  <a:pt x="8982147" y="5256761"/>
                  <a:pt x="8981348" y="5260754"/>
                  <a:pt x="8979884" y="5264349"/>
                </a:cubicBezTo>
                <a:cubicBezTo>
                  <a:pt x="8978287" y="5267944"/>
                  <a:pt x="8976290" y="5271005"/>
                  <a:pt x="8973760" y="5273668"/>
                </a:cubicBezTo>
                <a:cubicBezTo>
                  <a:pt x="8971098" y="5276330"/>
                  <a:pt x="8968037" y="5278460"/>
                  <a:pt x="8964442" y="5279924"/>
                </a:cubicBezTo>
                <a:cubicBezTo>
                  <a:pt x="8960849" y="5281388"/>
                  <a:pt x="8956988" y="5282187"/>
                  <a:pt x="8952728" y="5282187"/>
                </a:cubicBezTo>
                <a:cubicBezTo>
                  <a:pt x="8943808" y="5282187"/>
                  <a:pt x="8936487" y="5279259"/>
                  <a:pt x="8930896" y="5273668"/>
                </a:cubicBezTo>
                <a:cubicBezTo>
                  <a:pt x="8925305" y="5268076"/>
                  <a:pt x="8922510" y="5260887"/>
                  <a:pt x="8922510" y="5252501"/>
                </a:cubicBezTo>
                <a:cubicBezTo>
                  <a:pt x="8922510" y="5244248"/>
                  <a:pt x="8925305" y="5237193"/>
                  <a:pt x="8930896" y="5231468"/>
                </a:cubicBezTo>
                <a:cubicBezTo>
                  <a:pt x="8936487" y="5225612"/>
                  <a:pt x="8943675" y="5222816"/>
                  <a:pt x="8952728" y="5222816"/>
                </a:cubicBezTo>
                <a:close/>
                <a:moveTo>
                  <a:pt x="8735083" y="5222816"/>
                </a:moveTo>
                <a:cubicBezTo>
                  <a:pt x="8739342" y="5222816"/>
                  <a:pt x="8743203" y="5223615"/>
                  <a:pt x="8746797" y="5225478"/>
                </a:cubicBezTo>
                <a:cubicBezTo>
                  <a:pt x="8750391" y="5227076"/>
                  <a:pt x="8753586" y="5229206"/>
                  <a:pt x="8756115" y="5231868"/>
                </a:cubicBezTo>
                <a:cubicBezTo>
                  <a:pt x="8758644" y="5234397"/>
                  <a:pt x="8760774" y="5237592"/>
                  <a:pt x="8762238" y="5241186"/>
                </a:cubicBezTo>
                <a:cubicBezTo>
                  <a:pt x="8763702" y="5244780"/>
                  <a:pt x="8764502" y="5248507"/>
                  <a:pt x="8764502" y="5252634"/>
                </a:cubicBezTo>
                <a:cubicBezTo>
                  <a:pt x="8764502" y="5256761"/>
                  <a:pt x="8763702" y="5260754"/>
                  <a:pt x="8762238" y="5264349"/>
                </a:cubicBezTo>
                <a:cubicBezTo>
                  <a:pt x="8760641" y="5267944"/>
                  <a:pt x="8758644" y="5271005"/>
                  <a:pt x="8756115" y="5273668"/>
                </a:cubicBezTo>
                <a:cubicBezTo>
                  <a:pt x="8753453" y="5276330"/>
                  <a:pt x="8750391" y="5278460"/>
                  <a:pt x="8746797" y="5279924"/>
                </a:cubicBezTo>
                <a:cubicBezTo>
                  <a:pt x="8743203" y="5281388"/>
                  <a:pt x="8739342" y="5282187"/>
                  <a:pt x="8735083" y="5282187"/>
                </a:cubicBezTo>
                <a:cubicBezTo>
                  <a:pt x="8726030" y="5282187"/>
                  <a:pt x="8718841" y="5279259"/>
                  <a:pt x="8713250" y="5273668"/>
                </a:cubicBezTo>
                <a:cubicBezTo>
                  <a:pt x="8707660" y="5268076"/>
                  <a:pt x="8704864" y="5260887"/>
                  <a:pt x="8704864" y="5252501"/>
                </a:cubicBezTo>
                <a:cubicBezTo>
                  <a:pt x="8704864" y="5244248"/>
                  <a:pt x="8707660" y="5237193"/>
                  <a:pt x="8713250" y="5231468"/>
                </a:cubicBezTo>
                <a:cubicBezTo>
                  <a:pt x="8718841" y="5225612"/>
                  <a:pt x="8726030" y="5222816"/>
                  <a:pt x="8735083" y="5222816"/>
                </a:cubicBezTo>
                <a:close/>
                <a:moveTo>
                  <a:pt x="8517438" y="5222816"/>
                </a:moveTo>
                <a:cubicBezTo>
                  <a:pt x="8521698" y="5222816"/>
                  <a:pt x="8525559" y="5223615"/>
                  <a:pt x="8529152" y="5225478"/>
                </a:cubicBezTo>
                <a:cubicBezTo>
                  <a:pt x="8532880" y="5227076"/>
                  <a:pt x="8535941" y="5229206"/>
                  <a:pt x="8538470" y="5231868"/>
                </a:cubicBezTo>
                <a:cubicBezTo>
                  <a:pt x="8541000" y="5234397"/>
                  <a:pt x="8543130" y="5237592"/>
                  <a:pt x="8544594" y="5241186"/>
                </a:cubicBezTo>
                <a:cubicBezTo>
                  <a:pt x="8546058" y="5244780"/>
                  <a:pt x="8546857" y="5248507"/>
                  <a:pt x="8546857" y="5252634"/>
                </a:cubicBezTo>
                <a:cubicBezTo>
                  <a:pt x="8546857" y="5256761"/>
                  <a:pt x="8546058" y="5260754"/>
                  <a:pt x="8544594" y="5264349"/>
                </a:cubicBezTo>
                <a:cubicBezTo>
                  <a:pt x="8542997" y="5267944"/>
                  <a:pt x="8541000" y="5271005"/>
                  <a:pt x="8538470" y="5273668"/>
                </a:cubicBezTo>
                <a:cubicBezTo>
                  <a:pt x="8535808" y="5276330"/>
                  <a:pt x="8532747" y="5278460"/>
                  <a:pt x="8529152" y="5279924"/>
                </a:cubicBezTo>
                <a:cubicBezTo>
                  <a:pt x="8525559" y="5281388"/>
                  <a:pt x="8521698" y="5282187"/>
                  <a:pt x="8517438" y="5282187"/>
                </a:cubicBezTo>
                <a:cubicBezTo>
                  <a:pt x="8508385" y="5282187"/>
                  <a:pt x="8501197" y="5279259"/>
                  <a:pt x="8495606" y="5273668"/>
                </a:cubicBezTo>
                <a:cubicBezTo>
                  <a:pt x="8490015" y="5268076"/>
                  <a:pt x="8487220" y="5260887"/>
                  <a:pt x="8487220" y="5252501"/>
                </a:cubicBezTo>
                <a:cubicBezTo>
                  <a:pt x="8487220" y="5244248"/>
                  <a:pt x="8490015" y="5237193"/>
                  <a:pt x="8495606" y="5231468"/>
                </a:cubicBezTo>
                <a:cubicBezTo>
                  <a:pt x="8501197" y="5225612"/>
                  <a:pt x="8508385" y="5222816"/>
                  <a:pt x="8517438" y="5222816"/>
                </a:cubicBezTo>
                <a:close/>
                <a:moveTo>
                  <a:pt x="8299793" y="5222816"/>
                </a:moveTo>
                <a:cubicBezTo>
                  <a:pt x="8304052" y="5222816"/>
                  <a:pt x="8308046" y="5223615"/>
                  <a:pt x="8311507" y="5225478"/>
                </a:cubicBezTo>
                <a:cubicBezTo>
                  <a:pt x="8315235" y="5227076"/>
                  <a:pt x="8318296" y="5229206"/>
                  <a:pt x="8320825" y="5231868"/>
                </a:cubicBezTo>
                <a:cubicBezTo>
                  <a:pt x="8323354" y="5234397"/>
                  <a:pt x="8325484" y="5237592"/>
                  <a:pt x="8326948" y="5241186"/>
                </a:cubicBezTo>
                <a:cubicBezTo>
                  <a:pt x="8328413" y="5244780"/>
                  <a:pt x="8329212" y="5248507"/>
                  <a:pt x="8329212" y="5252634"/>
                </a:cubicBezTo>
                <a:cubicBezTo>
                  <a:pt x="8329212" y="5256761"/>
                  <a:pt x="8328413" y="5260754"/>
                  <a:pt x="8326948" y="5264349"/>
                </a:cubicBezTo>
                <a:cubicBezTo>
                  <a:pt x="8325351" y="5267944"/>
                  <a:pt x="8323354" y="5271005"/>
                  <a:pt x="8320825" y="5273668"/>
                </a:cubicBezTo>
                <a:cubicBezTo>
                  <a:pt x="8318163" y="5276330"/>
                  <a:pt x="8315101" y="5278460"/>
                  <a:pt x="8311507" y="5279924"/>
                </a:cubicBezTo>
                <a:cubicBezTo>
                  <a:pt x="8307913" y="5281388"/>
                  <a:pt x="8304052" y="5282187"/>
                  <a:pt x="8299793" y="5282187"/>
                </a:cubicBezTo>
                <a:cubicBezTo>
                  <a:pt x="8290874" y="5282187"/>
                  <a:pt x="8283553" y="5279259"/>
                  <a:pt x="8277960" y="5273668"/>
                </a:cubicBezTo>
                <a:cubicBezTo>
                  <a:pt x="8272370" y="5268076"/>
                  <a:pt x="8269574" y="5260887"/>
                  <a:pt x="8269574" y="5252501"/>
                </a:cubicBezTo>
                <a:cubicBezTo>
                  <a:pt x="8269574" y="5244248"/>
                  <a:pt x="8272370" y="5237193"/>
                  <a:pt x="8277960" y="5231468"/>
                </a:cubicBezTo>
                <a:cubicBezTo>
                  <a:pt x="8283553" y="5225612"/>
                  <a:pt x="8290741" y="5222816"/>
                  <a:pt x="8299793" y="5222816"/>
                </a:cubicBezTo>
                <a:close/>
                <a:moveTo>
                  <a:pt x="8082281" y="5222816"/>
                </a:moveTo>
                <a:cubicBezTo>
                  <a:pt x="8086407" y="5222816"/>
                  <a:pt x="8090401" y="5223615"/>
                  <a:pt x="8094127" y="5225478"/>
                </a:cubicBezTo>
                <a:cubicBezTo>
                  <a:pt x="8097855" y="5227076"/>
                  <a:pt x="8100916" y="5229206"/>
                  <a:pt x="8103446" y="5231868"/>
                </a:cubicBezTo>
                <a:cubicBezTo>
                  <a:pt x="8105975" y="5234397"/>
                  <a:pt x="8108104" y="5237592"/>
                  <a:pt x="8109569" y="5241186"/>
                </a:cubicBezTo>
                <a:cubicBezTo>
                  <a:pt x="8111033" y="5244780"/>
                  <a:pt x="8111832" y="5248507"/>
                  <a:pt x="8111832" y="5252634"/>
                </a:cubicBezTo>
                <a:cubicBezTo>
                  <a:pt x="8111832" y="5256761"/>
                  <a:pt x="8111033" y="5260754"/>
                  <a:pt x="8109569" y="5264349"/>
                </a:cubicBezTo>
                <a:cubicBezTo>
                  <a:pt x="8107972" y="5267944"/>
                  <a:pt x="8105975" y="5271005"/>
                  <a:pt x="8103446" y="5273668"/>
                </a:cubicBezTo>
                <a:cubicBezTo>
                  <a:pt x="8100783" y="5276330"/>
                  <a:pt x="8097722" y="5278460"/>
                  <a:pt x="8094127" y="5279924"/>
                </a:cubicBezTo>
                <a:cubicBezTo>
                  <a:pt x="8090401" y="5281388"/>
                  <a:pt x="8086540" y="5282187"/>
                  <a:pt x="8082281" y="5282187"/>
                </a:cubicBezTo>
                <a:cubicBezTo>
                  <a:pt x="8073361" y="5282187"/>
                  <a:pt x="8066040" y="5279259"/>
                  <a:pt x="8060448" y="5273668"/>
                </a:cubicBezTo>
                <a:cubicBezTo>
                  <a:pt x="8054857" y="5268076"/>
                  <a:pt x="8052062" y="5260887"/>
                  <a:pt x="8052062" y="5252501"/>
                </a:cubicBezTo>
                <a:cubicBezTo>
                  <a:pt x="8052062" y="5244248"/>
                  <a:pt x="8054857" y="5237193"/>
                  <a:pt x="8060448" y="5231468"/>
                </a:cubicBezTo>
                <a:cubicBezTo>
                  <a:pt x="8066040" y="5225612"/>
                  <a:pt x="8073228" y="5222816"/>
                  <a:pt x="8082281" y="5222816"/>
                </a:cubicBezTo>
                <a:close/>
                <a:moveTo>
                  <a:pt x="7864636" y="5222816"/>
                </a:moveTo>
                <a:cubicBezTo>
                  <a:pt x="7868762" y="5222816"/>
                  <a:pt x="7872756" y="5223615"/>
                  <a:pt x="7876483" y="5225478"/>
                </a:cubicBezTo>
                <a:cubicBezTo>
                  <a:pt x="7880210" y="5227076"/>
                  <a:pt x="7883272" y="5229206"/>
                  <a:pt x="7885802" y="5231868"/>
                </a:cubicBezTo>
                <a:cubicBezTo>
                  <a:pt x="7888331" y="5234397"/>
                  <a:pt x="7890460" y="5237592"/>
                  <a:pt x="7891924" y="5241186"/>
                </a:cubicBezTo>
                <a:cubicBezTo>
                  <a:pt x="7893389" y="5244780"/>
                  <a:pt x="7894188" y="5248507"/>
                  <a:pt x="7894188" y="5252634"/>
                </a:cubicBezTo>
                <a:cubicBezTo>
                  <a:pt x="7894188" y="5256761"/>
                  <a:pt x="7893389" y="5260754"/>
                  <a:pt x="7891924" y="5264349"/>
                </a:cubicBezTo>
                <a:cubicBezTo>
                  <a:pt x="7890327" y="5267944"/>
                  <a:pt x="7888331" y="5271005"/>
                  <a:pt x="7885802" y="5273668"/>
                </a:cubicBezTo>
                <a:cubicBezTo>
                  <a:pt x="7883139" y="5276330"/>
                  <a:pt x="7880078" y="5278460"/>
                  <a:pt x="7876483" y="5279924"/>
                </a:cubicBezTo>
                <a:cubicBezTo>
                  <a:pt x="7872756" y="5281388"/>
                  <a:pt x="7868895" y="5282187"/>
                  <a:pt x="7864636" y="5282187"/>
                </a:cubicBezTo>
                <a:cubicBezTo>
                  <a:pt x="7855717" y="5282187"/>
                  <a:pt x="7848396" y="5279259"/>
                  <a:pt x="7842803" y="5273668"/>
                </a:cubicBezTo>
                <a:cubicBezTo>
                  <a:pt x="7837213" y="5268076"/>
                  <a:pt x="7834417" y="5260887"/>
                  <a:pt x="7834417" y="5252501"/>
                </a:cubicBezTo>
                <a:cubicBezTo>
                  <a:pt x="7834417" y="5244248"/>
                  <a:pt x="7837213" y="5237193"/>
                  <a:pt x="7842803" y="5231468"/>
                </a:cubicBezTo>
                <a:cubicBezTo>
                  <a:pt x="7848396" y="5225612"/>
                  <a:pt x="7855584" y="5222816"/>
                  <a:pt x="7864636" y="5222816"/>
                </a:cubicBezTo>
                <a:close/>
                <a:moveTo>
                  <a:pt x="7646991" y="5222816"/>
                </a:moveTo>
                <a:cubicBezTo>
                  <a:pt x="7651250" y="5222816"/>
                  <a:pt x="7655111" y="5223615"/>
                  <a:pt x="7658705" y="5225478"/>
                </a:cubicBezTo>
                <a:cubicBezTo>
                  <a:pt x="7662432" y="5227076"/>
                  <a:pt x="7665493" y="5229206"/>
                  <a:pt x="7668022" y="5231868"/>
                </a:cubicBezTo>
                <a:cubicBezTo>
                  <a:pt x="7670552" y="5234397"/>
                  <a:pt x="7672682" y="5237592"/>
                  <a:pt x="7674146" y="5241186"/>
                </a:cubicBezTo>
                <a:cubicBezTo>
                  <a:pt x="7675610" y="5244780"/>
                  <a:pt x="7676409" y="5248507"/>
                  <a:pt x="7676409" y="5252634"/>
                </a:cubicBezTo>
                <a:cubicBezTo>
                  <a:pt x="7676409" y="5256761"/>
                  <a:pt x="7675610" y="5260754"/>
                  <a:pt x="7674146" y="5264349"/>
                </a:cubicBezTo>
                <a:cubicBezTo>
                  <a:pt x="7672549" y="5267944"/>
                  <a:pt x="7670552" y="5271005"/>
                  <a:pt x="7668022" y="5273668"/>
                </a:cubicBezTo>
                <a:cubicBezTo>
                  <a:pt x="7665361" y="5276330"/>
                  <a:pt x="7662299" y="5278460"/>
                  <a:pt x="7658705" y="5279924"/>
                </a:cubicBezTo>
                <a:cubicBezTo>
                  <a:pt x="7655111" y="5281388"/>
                  <a:pt x="7651250" y="5282187"/>
                  <a:pt x="7646991" y="5282187"/>
                </a:cubicBezTo>
                <a:cubicBezTo>
                  <a:pt x="7638071" y="5282187"/>
                  <a:pt x="7630750" y="5279259"/>
                  <a:pt x="7625158" y="5273668"/>
                </a:cubicBezTo>
                <a:cubicBezTo>
                  <a:pt x="7619568" y="5268076"/>
                  <a:pt x="7616772" y="5260887"/>
                  <a:pt x="7616772" y="5252501"/>
                </a:cubicBezTo>
                <a:cubicBezTo>
                  <a:pt x="7616772" y="5244248"/>
                  <a:pt x="7619568" y="5237193"/>
                  <a:pt x="7625158" y="5231468"/>
                </a:cubicBezTo>
                <a:cubicBezTo>
                  <a:pt x="7630750" y="5225612"/>
                  <a:pt x="7637939" y="5222816"/>
                  <a:pt x="7646991" y="5222816"/>
                </a:cubicBezTo>
                <a:close/>
                <a:moveTo>
                  <a:pt x="7429345" y="5222816"/>
                </a:moveTo>
                <a:cubicBezTo>
                  <a:pt x="7433605" y="5222816"/>
                  <a:pt x="7437466" y="5223615"/>
                  <a:pt x="7441059" y="5225478"/>
                </a:cubicBezTo>
                <a:cubicBezTo>
                  <a:pt x="7444787" y="5227076"/>
                  <a:pt x="7447848" y="5229206"/>
                  <a:pt x="7450377" y="5231868"/>
                </a:cubicBezTo>
                <a:cubicBezTo>
                  <a:pt x="7452907" y="5234397"/>
                  <a:pt x="7455036" y="5237592"/>
                  <a:pt x="7456501" y="5241186"/>
                </a:cubicBezTo>
                <a:cubicBezTo>
                  <a:pt x="7457965" y="5244780"/>
                  <a:pt x="7458764" y="5248507"/>
                  <a:pt x="7458764" y="5252634"/>
                </a:cubicBezTo>
                <a:cubicBezTo>
                  <a:pt x="7458764" y="5256761"/>
                  <a:pt x="7457965" y="5260754"/>
                  <a:pt x="7456501" y="5264349"/>
                </a:cubicBezTo>
                <a:cubicBezTo>
                  <a:pt x="7454904" y="5267944"/>
                  <a:pt x="7452907" y="5271005"/>
                  <a:pt x="7450377" y="5273668"/>
                </a:cubicBezTo>
                <a:cubicBezTo>
                  <a:pt x="7447715" y="5276330"/>
                  <a:pt x="7444654" y="5278460"/>
                  <a:pt x="7441059" y="5279924"/>
                </a:cubicBezTo>
                <a:cubicBezTo>
                  <a:pt x="7437466" y="5281388"/>
                  <a:pt x="7433605" y="5282187"/>
                  <a:pt x="7429345" y="5282187"/>
                </a:cubicBezTo>
                <a:cubicBezTo>
                  <a:pt x="7420426" y="5282187"/>
                  <a:pt x="7413105" y="5279259"/>
                  <a:pt x="7407513" y="5273668"/>
                </a:cubicBezTo>
                <a:cubicBezTo>
                  <a:pt x="7401922" y="5268076"/>
                  <a:pt x="7399127" y="5260887"/>
                  <a:pt x="7399127" y="5252501"/>
                </a:cubicBezTo>
                <a:cubicBezTo>
                  <a:pt x="7399127" y="5244248"/>
                  <a:pt x="7401922" y="5237193"/>
                  <a:pt x="7407513" y="5231468"/>
                </a:cubicBezTo>
                <a:cubicBezTo>
                  <a:pt x="7413105" y="5225612"/>
                  <a:pt x="7420293" y="5222816"/>
                  <a:pt x="7429345" y="5222816"/>
                </a:cubicBezTo>
                <a:close/>
                <a:moveTo>
                  <a:pt x="7211701" y="5222816"/>
                </a:moveTo>
                <a:cubicBezTo>
                  <a:pt x="7215960" y="5222816"/>
                  <a:pt x="7219954" y="5223615"/>
                  <a:pt x="7223415" y="5225478"/>
                </a:cubicBezTo>
                <a:cubicBezTo>
                  <a:pt x="7227142" y="5227076"/>
                  <a:pt x="7230204" y="5229206"/>
                  <a:pt x="7232733" y="5231868"/>
                </a:cubicBezTo>
                <a:cubicBezTo>
                  <a:pt x="7235262" y="5234397"/>
                  <a:pt x="7237392" y="5237592"/>
                  <a:pt x="7238856" y="5241186"/>
                </a:cubicBezTo>
                <a:cubicBezTo>
                  <a:pt x="7240321" y="5244780"/>
                  <a:pt x="7241120" y="5248507"/>
                  <a:pt x="7241120" y="5252634"/>
                </a:cubicBezTo>
                <a:cubicBezTo>
                  <a:pt x="7241120" y="5256761"/>
                  <a:pt x="7240321" y="5260754"/>
                  <a:pt x="7238856" y="5264349"/>
                </a:cubicBezTo>
                <a:cubicBezTo>
                  <a:pt x="7237259" y="5267944"/>
                  <a:pt x="7235262" y="5271005"/>
                  <a:pt x="7232733" y="5273668"/>
                </a:cubicBezTo>
                <a:cubicBezTo>
                  <a:pt x="7230071" y="5276330"/>
                  <a:pt x="7227009" y="5278460"/>
                  <a:pt x="7223415" y="5279924"/>
                </a:cubicBezTo>
                <a:cubicBezTo>
                  <a:pt x="7219821" y="5281388"/>
                  <a:pt x="7215960" y="5282187"/>
                  <a:pt x="7211701" y="5282187"/>
                </a:cubicBezTo>
                <a:cubicBezTo>
                  <a:pt x="7202782" y="5282187"/>
                  <a:pt x="7195460" y="5279259"/>
                  <a:pt x="7189868" y="5273668"/>
                </a:cubicBezTo>
                <a:cubicBezTo>
                  <a:pt x="7184278" y="5268076"/>
                  <a:pt x="7181482" y="5260887"/>
                  <a:pt x="7181482" y="5252501"/>
                </a:cubicBezTo>
                <a:cubicBezTo>
                  <a:pt x="7181482" y="5244248"/>
                  <a:pt x="7184278" y="5237193"/>
                  <a:pt x="7189868" y="5231468"/>
                </a:cubicBezTo>
                <a:cubicBezTo>
                  <a:pt x="7195460" y="5225612"/>
                  <a:pt x="7202649" y="5222816"/>
                  <a:pt x="7211701" y="5222816"/>
                </a:cubicBezTo>
                <a:close/>
                <a:moveTo>
                  <a:pt x="6994056" y="5222816"/>
                </a:moveTo>
                <a:cubicBezTo>
                  <a:pt x="6998315" y="5222816"/>
                  <a:pt x="7002309" y="5223615"/>
                  <a:pt x="7005769" y="5225478"/>
                </a:cubicBezTo>
                <a:cubicBezTo>
                  <a:pt x="7009497" y="5227076"/>
                  <a:pt x="7012558" y="5229206"/>
                  <a:pt x="7015087" y="5231868"/>
                </a:cubicBezTo>
                <a:cubicBezTo>
                  <a:pt x="7017617" y="5234397"/>
                  <a:pt x="7019747" y="5237592"/>
                  <a:pt x="7021211" y="5241186"/>
                </a:cubicBezTo>
                <a:cubicBezTo>
                  <a:pt x="7022675" y="5244780"/>
                  <a:pt x="7023474" y="5248507"/>
                  <a:pt x="7023474" y="5252634"/>
                </a:cubicBezTo>
                <a:cubicBezTo>
                  <a:pt x="7023474" y="5256761"/>
                  <a:pt x="7022675" y="5260754"/>
                  <a:pt x="7021211" y="5264349"/>
                </a:cubicBezTo>
                <a:cubicBezTo>
                  <a:pt x="7019614" y="5267944"/>
                  <a:pt x="7017617" y="5271005"/>
                  <a:pt x="7015087" y="5273668"/>
                </a:cubicBezTo>
                <a:cubicBezTo>
                  <a:pt x="7012425" y="5276330"/>
                  <a:pt x="7009364" y="5278460"/>
                  <a:pt x="7005769" y="5279924"/>
                </a:cubicBezTo>
                <a:cubicBezTo>
                  <a:pt x="7002176" y="5281388"/>
                  <a:pt x="6998315" y="5282187"/>
                  <a:pt x="6994056" y="5282187"/>
                </a:cubicBezTo>
                <a:cubicBezTo>
                  <a:pt x="6985136" y="5282187"/>
                  <a:pt x="6977815" y="5279259"/>
                  <a:pt x="6972223" y="5273668"/>
                </a:cubicBezTo>
                <a:cubicBezTo>
                  <a:pt x="6966632" y="5268076"/>
                  <a:pt x="6963837" y="5260887"/>
                  <a:pt x="6963837" y="5252501"/>
                </a:cubicBezTo>
                <a:cubicBezTo>
                  <a:pt x="6963837" y="5244248"/>
                  <a:pt x="6966632" y="5237193"/>
                  <a:pt x="6972223" y="5231468"/>
                </a:cubicBezTo>
                <a:cubicBezTo>
                  <a:pt x="6977815" y="5225612"/>
                  <a:pt x="6985003" y="5222816"/>
                  <a:pt x="6994056" y="5222816"/>
                </a:cubicBezTo>
                <a:close/>
                <a:moveTo>
                  <a:pt x="6776544" y="5222816"/>
                </a:moveTo>
                <a:cubicBezTo>
                  <a:pt x="6780670" y="5222816"/>
                  <a:pt x="6784664" y="5223615"/>
                  <a:pt x="6788258" y="5225478"/>
                </a:cubicBezTo>
                <a:cubicBezTo>
                  <a:pt x="6791985" y="5227076"/>
                  <a:pt x="6795047" y="5229206"/>
                  <a:pt x="6797576" y="5231868"/>
                </a:cubicBezTo>
                <a:cubicBezTo>
                  <a:pt x="6800105" y="5234397"/>
                  <a:pt x="6802235" y="5237592"/>
                  <a:pt x="6803699" y="5241186"/>
                </a:cubicBezTo>
                <a:cubicBezTo>
                  <a:pt x="6805164" y="5244780"/>
                  <a:pt x="6805963" y="5248507"/>
                  <a:pt x="6805963" y="5252634"/>
                </a:cubicBezTo>
                <a:cubicBezTo>
                  <a:pt x="6805963" y="5256761"/>
                  <a:pt x="6805164" y="5260754"/>
                  <a:pt x="6803699" y="5264349"/>
                </a:cubicBezTo>
                <a:cubicBezTo>
                  <a:pt x="6802102" y="5267944"/>
                  <a:pt x="6800105" y="5271005"/>
                  <a:pt x="6797576" y="5273668"/>
                </a:cubicBezTo>
                <a:cubicBezTo>
                  <a:pt x="6794914" y="5276330"/>
                  <a:pt x="6791852" y="5278460"/>
                  <a:pt x="6788258" y="5279924"/>
                </a:cubicBezTo>
                <a:cubicBezTo>
                  <a:pt x="6784664" y="5281388"/>
                  <a:pt x="6780803" y="5282187"/>
                  <a:pt x="6776544" y="5282187"/>
                </a:cubicBezTo>
                <a:cubicBezTo>
                  <a:pt x="6767625" y="5282187"/>
                  <a:pt x="6760303" y="5279259"/>
                  <a:pt x="6754711" y="5273668"/>
                </a:cubicBezTo>
                <a:cubicBezTo>
                  <a:pt x="6749121" y="5268076"/>
                  <a:pt x="6746325" y="5260887"/>
                  <a:pt x="6746325" y="5252501"/>
                </a:cubicBezTo>
                <a:cubicBezTo>
                  <a:pt x="6746325" y="5244248"/>
                  <a:pt x="6749121" y="5237193"/>
                  <a:pt x="6754711" y="5231468"/>
                </a:cubicBezTo>
                <a:cubicBezTo>
                  <a:pt x="6760303" y="5225612"/>
                  <a:pt x="6767492" y="5222816"/>
                  <a:pt x="6776544" y="5222816"/>
                </a:cubicBezTo>
                <a:close/>
                <a:moveTo>
                  <a:pt x="6558899" y="5222816"/>
                </a:moveTo>
                <a:cubicBezTo>
                  <a:pt x="6563158" y="5222816"/>
                  <a:pt x="6567019" y="5223615"/>
                  <a:pt x="6570612" y="5225478"/>
                </a:cubicBezTo>
                <a:cubicBezTo>
                  <a:pt x="6574340" y="5227076"/>
                  <a:pt x="6577401" y="5229206"/>
                  <a:pt x="6579930" y="5231868"/>
                </a:cubicBezTo>
                <a:cubicBezTo>
                  <a:pt x="6582460" y="5234397"/>
                  <a:pt x="6584590" y="5237592"/>
                  <a:pt x="6586054" y="5241186"/>
                </a:cubicBezTo>
                <a:cubicBezTo>
                  <a:pt x="6587518" y="5244780"/>
                  <a:pt x="6588317" y="5248507"/>
                  <a:pt x="6588317" y="5252634"/>
                </a:cubicBezTo>
                <a:cubicBezTo>
                  <a:pt x="6588317" y="5256761"/>
                  <a:pt x="6587518" y="5260754"/>
                  <a:pt x="6586054" y="5264349"/>
                </a:cubicBezTo>
                <a:cubicBezTo>
                  <a:pt x="6584457" y="5267944"/>
                  <a:pt x="6582460" y="5271005"/>
                  <a:pt x="6579930" y="5273668"/>
                </a:cubicBezTo>
                <a:cubicBezTo>
                  <a:pt x="6577268" y="5276330"/>
                  <a:pt x="6574207" y="5278460"/>
                  <a:pt x="6570612" y="5279924"/>
                </a:cubicBezTo>
                <a:cubicBezTo>
                  <a:pt x="6567019" y="5281388"/>
                  <a:pt x="6563158" y="5282187"/>
                  <a:pt x="6558899" y="5282187"/>
                </a:cubicBezTo>
                <a:cubicBezTo>
                  <a:pt x="6549979" y="5282187"/>
                  <a:pt x="6542658" y="5279259"/>
                  <a:pt x="6537066" y="5273668"/>
                </a:cubicBezTo>
                <a:cubicBezTo>
                  <a:pt x="6531476" y="5268076"/>
                  <a:pt x="6528680" y="5260887"/>
                  <a:pt x="6528680" y="5252501"/>
                </a:cubicBezTo>
                <a:cubicBezTo>
                  <a:pt x="6528680" y="5244248"/>
                  <a:pt x="6531476" y="5237193"/>
                  <a:pt x="6537066" y="5231468"/>
                </a:cubicBezTo>
                <a:cubicBezTo>
                  <a:pt x="6542658" y="5225612"/>
                  <a:pt x="6549846" y="5222816"/>
                  <a:pt x="6558899" y="5222816"/>
                </a:cubicBezTo>
                <a:close/>
                <a:moveTo>
                  <a:pt x="6341253" y="5222816"/>
                </a:moveTo>
                <a:cubicBezTo>
                  <a:pt x="6345513" y="5222816"/>
                  <a:pt x="6349373" y="5223615"/>
                  <a:pt x="6352968" y="5225478"/>
                </a:cubicBezTo>
                <a:cubicBezTo>
                  <a:pt x="6356695" y="5227076"/>
                  <a:pt x="6359757" y="5229206"/>
                  <a:pt x="6362286" y="5231868"/>
                </a:cubicBezTo>
                <a:cubicBezTo>
                  <a:pt x="6364815" y="5234397"/>
                  <a:pt x="6366945" y="5237592"/>
                  <a:pt x="6368409" y="5241186"/>
                </a:cubicBezTo>
                <a:cubicBezTo>
                  <a:pt x="6369874" y="5244780"/>
                  <a:pt x="6370672" y="5248507"/>
                  <a:pt x="6370672" y="5252634"/>
                </a:cubicBezTo>
                <a:cubicBezTo>
                  <a:pt x="6370672" y="5256761"/>
                  <a:pt x="6369874" y="5260754"/>
                  <a:pt x="6368409" y="5264349"/>
                </a:cubicBezTo>
                <a:cubicBezTo>
                  <a:pt x="6366811" y="5267944"/>
                  <a:pt x="6364815" y="5271005"/>
                  <a:pt x="6362286" y="5273668"/>
                </a:cubicBezTo>
                <a:cubicBezTo>
                  <a:pt x="6359623" y="5276330"/>
                  <a:pt x="6356562" y="5278460"/>
                  <a:pt x="6352968" y="5279924"/>
                </a:cubicBezTo>
                <a:cubicBezTo>
                  <a:pt x="6349373" y="5281388"/>
                  <a:pt x="6345513" y="5282187"/>
                  <a:pt x="6341253" y="5282187"/>
                </a:cubicBezTo>
                <a:cubicBezTo>
                  <a:pt x="6332335" y="5282187"/>
                  <a:pt x="6325013" y="5279259"/>
                  <a:pt x="6319421" y="5273668"/>
                </a:cubicBezTo>
                <a:cubicBezTo>
                  <a:pt x="6313830" y="5268076"/>
                  <a:pt x="6311035" y="5260887"/>
                  <a:pt x="6311035" y="5252501"/>
                </a:cubicBezTo>
                <a:cubicBezTo>
                  <a:pt x="6311035" y="5244248"/>
                  <a:pt x="6313830" y="5237193"/>
                  <a:pt x="6319421" y="5231468"/>
                </a:cubicBezTo>
                <a:cubicBezTo>
                  <a:pt x="6325013" y="5225612"/>
                  <a:pt x="6332201" y="5222816"/>
                  <a:pt x="6341253" y="5222816"/>
                </a:cubicBezTo>
                <a:close/>
                <a:moveTo>
                  <a:pt x="6123608" y="5222816"/>
                </a:moveTo>
                <a:cubicBezTo>
                  <a:pt x="6127867" y="5222816"/>
                  <a:pt x="6131728" y="5223615"/>
                  <a:pt x="6135322" y="5225478"/>
                </a:cubicBezTo>
                <a:cubicBezTo>
                  <a:pt x="6139049" y="5227076"/>
                  <a:pt x="6142111" y="5229206"/>
                  <a:pt x="6144640" y="5231868"/>
                </a:cubicBezTo>
                <a:cubicBezTo>
                  <a:pt x="6147169" y="5234397"/>
                  <a:pt x="6149299" y="5237592"/>
                  <a:pt x="6150763" y="5241186"/>
                </a:cubicBezTo>
                <a:cubicBezTo>
                  <a:pt x="6152228" y="5244780"/>
                  <a:pt x="6153026" y="5248507"/>
                  <a:pt x="6153026" y="5252634"/>
                </a:cubicBezTo>
                <a:cubicBezTo>
                  <a:pt x="6153026" y="5256761"/>
                  <a:pt x="6152228" y="5260754"/>
                  <a:pt x="6150763" y="5264349"/>
                </a:cubicBezTo>
                <a:cubicBezTo>
                  <a:pt x="6149299" y="5267944"/>
                  <a:pt x="6147169" y="5271005"/>
                  <a:pt x="6144640" y="5273668"/>
                </a:cubicBezTo>
                <a:cubicBezTo>
                  <a:pt x="6141977" y="5276330"/>
                  <a:pt x="6138916" y="5278460"/>
                  <a:pt x="6135322" y="5279924"/>
                </a:cubicBezTo>
                <a:cubicBezTo>
                  <a:pt x="6131728" y="5281388"/>
                  <a:pt x="6127867" y="5282187"/>
                  <a:pt x="6123608" y="5282187"/>
                </a:cubicBezTo>
                <a:cubicBezTo>
                  <a:pt x="6114689" y="5282187"/>
                  <a:pt x="6107367" y="5279259"/>
                  <a:pt x="6101775" y="5273668"/>
                </a:cubicBezTo>
                <a:cubicBezTo>
                  <a:pt x="6096184" y="5268076"/>
                  <a:pt x="6093389" y="5260887"/>
                  <a:pt x="6093389" y="5252501"/>
                </a:cubicBezTo>
                <a:cubicBezTo>
                  <a:pt x="6093389" y="5244248"/>
                  <a:pt x="6096184" y="5237193"/>
                  <a:pt x="6101775" y="5231468"/>
                </a:cubicBezTo>
                <a:cubicBezTo>
                  <a:pt x="6107367" y="5225612"/>
                  <a:pt x="6114555" y="5222816"/>
                  <a:pt x="6123608" y="5222816"/>
                </a:cubicBezTo>
                <a:close/>
                <a:moveTo>
                  <a:pt x="5905963" y="5222816"/>
                </a:moveTo>
                <a:cubicBezTo>
                  <a:pt x="5910222" y="5222816"/>
                  <a:pt x="5914216" y="5223615"/>
                  <a:pt x="5917677" y="5225478"/>
                </a:cubicBezTo>
                <a:cubicBezTo>
                  <a:pt x="5921404" y="5227076"/>
                  <a:pt x="5924466" y="5229206"/>
                  <a:pt x="5926995" y="5231868"/>
                </a:cubicBezTo>
                <a:cubicBezTo>
                  <a:pt x="5929524" y="5234397"/>
                  <a:pt x="5931654" y="5237592"/>
                  <a:pt x="5933118" y="5241186"/>
                </a:cubicBezTo>
                <a:cubicBezTo>
                  <a:pt x="5934583" y="5244780"/>
                  <a:pt x="5935381" y="5248507"/>
                  <a:pt x="5935381" y="5252634"/>
                </a:cubicBezTo>
                <a:cubicBezTo>
                  <a:pt x="5935381" y="5256761"/>
                  <a:pt x="5934583" y="5260754"/>
                  <a:pt x="5933118" y="5264349"/>
                </a:cubicBezTo>
                <a:cubicBezTo>
                  <a:pt x="5931654" y="5267944"/>
                  <a:pt x="5929524" y="5271005"/>
                  <a:pt x="5926995" y="5273668"/>
                </a:cubicBezTo>
                <a:cubicBezTo>
                  <a:pt x="5924333" y="5276330"/>
                  <a:pt x="5921271" y="5278460"/>
                  <a:pt x="5917677" y="5279924"/>
                </a:cubicBezTo>
                <a:cubicBezTo>
                  <a:pt x="5914083" y="5281388"/>
                  <a:pt x="5910222" y="5282187"/>
                  <a:pt x="5905963" y="5282187"/>
                </a:cubicBezTo>
                <a:cubicBezTo>
                  <a:pt x="5897044" y="5282187"/>
                  <a:pt x="5889722" y="5279259"/>
                  <a:pt x="5884130" y="5273668"/>
                </a:cubicBezTo>
                <a:cubicBezTo>
                  <a:pt x="5878540" y="5268076"/>
                  <a:pt x="5875744" y="5260887"/>
                  <a:pt x="5875744" y="5252501"/>
                </a:cubicBezTo>
                <a:cubicBezTo>
                  <a:pt x="5875744" y="5244248"/>
                  <a:pt x="5878540" y="5237193"/>
                  <a:pt x="5884130" y="5231468"/>
                </a:cubicBezTo>
                <a:cubicBezTo>
                  <a:pt x="5889722" y="5225612"/>
                  <a:pt x="5896910" y="5222816"/>
                  <a:pt x="5905963" y="5222816"/>
                </a:cubicBezTo>
                <a:close/>
                <a:moveTo>
                  <a:pt x="5688451" y="5222816"/>
                </a:moveTo>
                <a:cubicBezTo>
                  <a:pt x="5692577" y="5222816"/>
                  <a:pt x="5696571" y="5223615"/>
                  <a:pt x="5700165" y="5225478"/>
                </a:cubicBezTo>
                <a:cubicBezTo>
                  <a:pt x="5703892" y="5227076"/>
                  <a:pt x="5706954" y="5229206"/>
                  <a:pt x="5709483" y="5231868"/>
                </a:cubicBezTo>
                <a:cubicBezTo>
                  <a:pt x="5712012" y="5234397"/>
                  <a:pt x="5714142" y="5237592"/>
                  <a:pt x="5715606" y="5241186"/>
                </a:cubicBezTo>
                <a:cubicBezTo>
                  <a:pt x="5717071" y="5244780"/>
                  <a:pt x="5717869" y="5248507"/>
                  <a:pt x="5717869" y="5252634"/>
                </a:cubicBezTo>
                <a:cubicBezTo>
                  <a:pt x="5717869" y="5256761"/>
                  <a:pt x="5717071" y="5260754"/>
                  <a:pt x="5715606" y="5264349"/>
                </a:cubicBezTo>
                <a:cubicBezTo>
                  <a:pt x="5714142" y="5267944"/>
                  <a:pt x="5712012" y="5271005"/>
                  <a:pt x="5709483" y="5273668"/>
                </a:cubicBezTo>
                <a:cubicBezTo>
                  <a:pt x="5706820" y="5276330"/>
                  <a:pt x="5703759" y="5278460"/>
                  <a:pt x="5700165" y="5279924"/>
                </a:cubicBezTo>
                <a:cubicBezTo>
                  <a:pt x="5696571" y="5281388"/>
                  <a:pt x="5692710" y="5282187"/>
                  <a:pt x="5688451" y="5282187"/>
                </a:cubicBezTo>
                <a:cubicBezTo>
                  <a:pt x="5679532" y="5282187"/>
                  <a:pt x="5672210" y="5279259"/>
                  <a:pt x="5666618" y="5273668"/>
                </a:cubicBezTo>
                <a:cubicBezTo>
                  <a:pt x="5661028" y="5268076"/>
                  <a:pt x="5658232" y="5260887"/>
                  <a:pt x="5658232" y="5252501"/>
                </a:cubicBezTo>
                <a:cubicBezTo>
                  <a:pt x="5658232" y="5244248"/>
                  <a:pt x="5661028" y="5237193"/>
                  <a:pt x="5666618" y="5231468"/>
                </a:cubicBezTo>
                <a:cubicBezTo>
                  <a:pt x="5672210" y="5225612"/>
                  <a:pt x="5679398" y="5222816"/>
                  <a:pt x="5688451" y="5222816"/>
                </a:cubicBezTo>
                <a:close/>
                <a:moveTo>
                  <a:pt x="5470806" y="5222816"/>
                </a:moveTo>
                <a:cubicBezTo>
                  <a:pt x="5475065" y="5222816"/>
                  <a:pt x="5478926" y="5223615"/>
                  <a:pt x="5482520" y="5225478"/>
                </a:cubicBezTo>
                <a:cubicBezTo>
                  <a:pt x="5486247" y="5227076"/>
                  <a:pt x="5489309" y="5229206"/>
                  <a:pt x="5491838" y="5231868"/>
                </a:cubicBezTo>
                <a:cubicBezTo>
                  <a:pt x="5494367" y="5234397"/>
                  <a:pt x="5496497" y="5237592"/>
                  <a:pt x="5497961" y="5241186"/>
                </a:cubicBezTo>
                <a:cubicBezTo>
                  <a:pt x="5499426" y="5244780"/>
                  <a:pt x="5500224" y="5248507"/>
                  <a:pt x="5500224" y="5252634"/>
                </a:cubicBezTo>
                <a:cubicBezTo>
                  <a:pt x="5500224" y="5256761"/>
                  <a:pt x="5499426" y="5260754"/>
                  <a:pt x="5497961" y="5264349"/>
                </a:cubicBezTo>
                <a:cubicBezTo>
                  <a:pt x="5496497" y="5267944"/>
                  <a:pt x="5494367" y="5271005"/>
                  <a:pt x="5491838" y="5273668"/>
                </a:cubicBezTo>
                <a:cubicBezTo>
                  <a:pt x="5489176" y="5276330"/>
                  <a:pt x="5486114" y="5278460"/>
                  <a:pt x="5482520" y="5279924"/>
                </a:cubicBezTo>
                <a:cubicBezTo>
                  <a:pt x="5478926" y="5281388"/>
                  <a:pt x="5475065" y="5282187"/>
                  <a:pt x="5470806" y="5282187"/>
                </a:cubicBezTo>
                <a:cubicBezTo>
                  <a:pt x="5461887" y="5282187"/>
                  <a:pt x="5454565" y="5279259"/>
                  <a:pt x="5448973" y="5273668"/>
                </a:cubicBezTo>
                <a:cubicBezTo>
                  <a:pt x="5443383" y="5268076"/>
                  <a:pt x="5440587" y="5260887"/>
                  <a:pt x="5440587" y="5252501"/>
                </a:cubicBezTo>
                <a:cubicBezTo>
                  <a:pt x="5440587" y="5244248"/>
                  <a:pt x="5443383" y="5237193"/>
                  <a:pt x="5448973" y="5231468"/>
                </a:cubicBezTo>
                <a:cubicBezTo>
                  <a:pt x="5454565" y="5225612"/>
                  <a:pt x="5461754" y="5222816"/>
                  <a:pt x="5470806" y="5222816"/>
                </a:cubicBezTo>
                <a:close/>
                <a:moveTo>
                  <a:pt x="5253160" y="5222816"/>
                </a:moveTo>
                <a:cubicBezTo>
                  <a:pt x="5257420" y="5222816"/>
                  <a:pt x="5261280" y="5223615"/>
                  <a:pt x="5264875" y="5225478"/>
                </a:cubicBezTo>
                <a:cubicBezTo>
                  <a:pt x="5268602" y="5227076"/>
                  <a:pt x="5271664" y="5229206"/>
                  <a:pt x="5274192" y="5231868"/>
                </a:cubicBezTo>
                <a:cubicBezTo>
                  <a:pt x="5276722" y="5234397"/>
                  <a:pt x="5278852" y="5237592"/>
                  <a:pt x="5280316" y="5241186"/>
                </a:cubicBezTo>
                <a:cubicBezTo>
                  <a:pt x="5281780" y="5244780"/>
                  <a:pt x="5282579" y="5248507"/>
                  <a:pt x="5282579" y="5252634"/>
                </a:cubicBezTo>
                <a:cubicBezTo>
                  <a:pt x="5282579" y="5256761"/>
                  <a:pt x="5281780" y="5260754"/>
                  <a:pt x="5280316" y="5264349"/>
                </a:cubicBezTo>
                <a:cubicBezTo>
                  <a:pt x="5278852" y="5267944"/>
                  <a:pt x="5276722" y="5271005"/>
                  <a:pt x="5274192" y="5273668"/>
                </a:cubicBezTo>
                <a:cubicBezTo>
                  <a:pt x="5271664" y="5276330"/>
                  <a:pt x="5268469" y="5278460"/>
                  <a:pt x="5264875" y="5279924"/>
                </a:cubicBezTo>
                <a:cubicBezTo>
                  <a:pt x="5261280" y="5281388"/>
                  <a:pt x="5257420" y="5282187"/>
                  <a:pt x="5253160" y="5282187"/>
                </a:cubicBezTo>
                <a:cubicBezTo>
                  <a:pt x="5244241" y="5282187"/>
                  <a:pt x="5236920" y="5279259"/>
                  <a:pt x="5231328" y="5273668"/>
                </a:cubicBezTo>
                <a:cubicBezTo>
                  <a:pt x="5225737" y="5268076"/>
                  <a:pt x="5222942" y="5260887"/>
                  <a:pt x="5222942" y="5252501"/>
                </a:cubicBezTo>
                <a:cubicBezTo>
                  <a:pt x="5222942" y="5244248"/>
                  <a:pt x="5225737" y="5237193"/>
                  <a:pt x="5231328" y="5231468"/>
                </a:cubicBezTo>
                <a:cubicBezTo>
                  <a:pt x="5236920" y="5225612"/>
                  <a:pt x="5244108" y="5222816"/>
                  <a:pt x="5253160" y="5222816"/>
                </a:cubicBezTo>
                <a:close/>
                <a:moveTo>
                  <a:pt x="5035515" y="5222816"/>
                </a:moveTo>
                <a:cubicBezTo>
                  <a:pt x="5039775" y="5222816"/>
                  <a:pt x="5043636" y="5223615"/>
                  <a:pt x="5047230" y="5225478"/>
                </a:cubicBezTo>
                <a:cubicBezTo>
                  <a:pt x="5050957" y="5227076"/>
                  <a:pt x="5054019" y="5229206"/>
                  <a:pt x="5056548" y="5231868"/>
                </a:cubicBezTo>
                <a:cubicBezTo>
                  <a:pt x="5059077" y="5234397"/>
                  <a:pt x="5061207" y="5237592"/>
                  <a:pt x="5062671" y="5241186"/>
                </a:cubicBezTo>
                <a:cubicBezTo>
                  <a:pt x="5064135" y="5244780"/>
                  <a:pt x="5064934" y="5248507"/>
                  <a:pt x="5064934" y="5252634"/>
                </a:cubicBezTo>
                <a:cubicBezTo>
                  <a:pt x="5064934" y="5256761"/>
                  <a:pt x="5064135" y="5260754"/>
                  <a:pt x="5062671" y="5264349"/>
                </a:cubicBezTo>
                <a:cubicBezTo>
                  <a:pt x="5061207" y="5267944"/>
                  <a:pt x="5059077" y="5271005"/>
                  <a:pt x="5056548" y="5273668"/>
                </a:cubicBezTo>
                <a:cubicBezTo>
                  <a:pt x="5053885" y="5276330"/>
                  <a:pt x="5050824" y="5278460"/>
                  <a:pt x="5047230" y="5279924"/>
                </a:cubicBezTo>
                <a:cubicBezTo>
                  <a:pt x="5043636" y="5281388"/>
                  <a:pt x="5039775" y="5282187"/>
                  <a:pt x="5035515" y="5282187"/>
                </a:cubicBezTo>
                <a:cubicBezTo>
                  <a:pt x="5026597" y="5282187"/>
                  <a:pt x="5019275" y="5279259"/>
                  <a:pt x="5013683" y="5273668"/>
                </a:cubicBezTo>
                <a:cubicBezTo>
                  <a:pt x="5008092" y="5268076"/>
                  <a:pt x="5005297" y="5260887"/>
                  <a:pt x="5005297" y="5252501"/>
                </a:cubicBezTo>
                <a:cubicBezTo>
                  <a:pt x="5005297" y="5244248"/>
                  <a:pt x="5008092" y="5237193"/>
                  <a:pt x="5013683" y="5231468"/>
                </a:cubicBezTo>
                <a:cubicBezTo>
                  <a:pt x="5019275" y="5225612"/>
                  <a:pt x="5026463" y="5222816"/>
                  <a:pt x="5035515" y="5222816"/>
                </a:cubicBezTo>
                <a:close/>
                <a:moveTo>
                  <a:pt x="4817870" y="5222816"/>
                </a:moveTo>
                <a:cubicBezTo>
                  <a:pt x="4822130" y="5222816"/>
                  <a:pt x="4826124" y="5223615"/>
                  <a:pt x="4829585" y="5225478"/>
                </a:cubicBezTo>
                <a:cubicBezTo>
                  <a:pt x="4833312" y="5227076"/>
                  <a:pt x="4836374" y="5229206"/>
                  <a:pt x="4838903" y="5231868"/>
                </a:cubicBezTo>
                <a:cubicBezTo>
                  <a:pt x="4841432" y="5234397"/>
                  <a:pt x="4843562" y="5237592"/>
                  <a:pt x="4845026" y="5241186"/>
                </a:cubicBezTo>
                <a:cubicBezTo>
                  <a:pt x="4846491" y="5244780"/>
                  <a:pt x="4847289" y="5248507"/>
                  <a:pt x="4847289" y="5252634"/>
                </a:cubicBezTo>
                <a:cubicBezTo>
                  <a:pt x="4847289" y="5256761"/>
                  <a:pt x="4846491" y="5260754"/>
                  <a:pt x="4845026" y="5264349"/>
                </a:cubicBezTo>
                <a:cubicBezTo>
                  <a:pt x="4843562" y="5267944"/>
                  <a:pt x="4841432" y="5271005"/>
                  <a:pt x="4838903" y="5273668"/>
                </a:cubicBezTo>
                <a:cubicBezTo>
                  <a:pt x="4836240" y="5276330"/>
                  <a:pt x="4833179" y="5278460"/>
                  <a:pt x="4829585" y="5279924"/>
                </a:cubicBezTo>
                <a:cubicBezTo>
                  <a:pt x="4825991" y="5281388"/>
                  <a:pt x="4822130" y="5282187"/>
                  <a:pt x="4817870" y="5282187"/>
                </a:cubicBezTo>
                <a:cubicBezTo>
                  <a:pt x="4808952" y="5282187"/>
                  <a:pt x="4801630" y="5279259"/>
                  <a:pt x="4796038" y="5273668"/>
                </a:cubicBezTo>
                <a:cubicBezTo>
                  <a:pt x="4790447" y="5268076"/>
                  <a:pt x="4787652" y="5260887"/>
                  <a:pt x="4787652" y="5252501"/>
                </a:cubicBezTo>
                <a:cubicBezTo>
                  <a:pt x="4787652" y="5244248"/>
                  <a:pt x="4790447" y="5237193"/>
                  <a:pt x="4796038" y="5231468"/>
                </a:cubicBezTo>
                <a:cubicBezTo>
                  <a:pt x="4801630" y="5225612"/>
                  <a:pt x="4808818" y="5222816"/>
                  <a:pt x="4817870" y="5222816"/>
                </a:cubicBezTo>
                <a:close/>
                <a:moveTo>
                  <a:pt x="4600226" y="5222816"/>
                </a:moveTo>
                <a:cubicBezTo>
                  <a:pt x="4604485" y="5222816"/>
                  <a:pt x="4608479" y="5223615"/>
                  <a:pt x="4612073" y="5225478"/>
                </a:cubicBezTo>
                <a:cubicBezTo>
                  <a:pt x="4615800" y="5227076"/>
                  <a:pt x="4618862" y="5229206"/>
                  <a:pt x="4621391" y="5231868"/>
                </a:cubicBezTo>
                <a:cubicBezTo>
                  <a:pt x="4623920" y="5234397"/>
                  <a:pt x="4626050" y="5237592"/>
                  <a:pt x="4627514" y="5241186"/>
                </a:cubicBezTo>
                <a:cubicBezTo>
                  <a:pt x="4628978" y="5244780"/>
                  <a:pt x="4629777" y="5248507"/>
                  <a:pt x="4629777" y="5252634"/>
                </a:cubicBezTo>
                <a:cubicBezTo>
                  <a:pt x="4629777" y="5256761"/>
                  <a:pt x="4628978" y="5260754"/>
                  <a:pt x="4627514" y="5264349"/>
                </a:cubicBezTo>
                <a:cubicBezTo>
                  <a:pt x="4626050" y="5267944"/>
                  <a:pt x="4623920" y="5271005"/>
                  <a:pt x="4621391" y="5273668"/>
                </a:cubicBezTo>
                <a:cubicBezTo>
                  <a:pt x="4618729" y="5276330"/>
                  <a:pt x="4615667" y="5278460"/>
                  <a:pt x="4612073" y="5279924"/>
                </a:cubicBezTo>
                <a:cubicBezTo>
                  <a:pt x="4608346" y="5281388"/>
                  <a:pt x="4604485" y="5282187"/>
                  <a:pt x="4600226" y="5282187"/>
                </a:cubicBezTo>
                <a:cubicBezTo>
                  <a:pt x="4591173" y="5282187"/>
                  <a:pt x="4583985" y="5279259"/>
                  <a:pt x="4578393" y="5273668"/>
                </a:cubicBezTo>
                <a:cubicBezTo>
                  <a:pt x="4572803" y="5268076"/>
                  <a:pt x="4570007" y="5260887"/>
                  <a:pt x="4570007" y="5252501"/>
                </a:cubicBezTo>
                <a:cubicBezTo>
                  <a:pt x="4570007" y="5244248"/>
                  <a:pt x="4572803" y="5237193"/>
                  <a:pt x="4578393" y="5231468"/>
                </a:cubicBezTo>
                <a:cubicBezTo>
                  <a:pt x="4583985" y="5225612"/>
                  <a:pt x="4591173" y="5222816"/>
                  <a:pt x="4600226" y="5222816"/>
                </a:cubicBezTo>
                <a:close/>
                <a:moveTo>
                  <a:pt x="4382713" y="5222816"/>
                </a:moveTo>
                <a:cubicBezTo>
                  <a:pt x="4386840" y="5222816"/>
                  <a:pt x="4390834" y="5223615"/>
                  <a:pt x="4394428" y="5225478"/>
                </a:cubicBezTo>
                <a:cubicBezTo>
                  <a:pt x="4398155" y="5227076"/>
                  <a:pt x="4401217" y="5229206"/>
                  <a:pt x="4403746" y="5231868"/>
                </a:cubicBezTo>
                <a:cubicBezTo>
                  <a:pt x="4406275" y="5234397"/>
                  <a:pt x="4408405" y="5237592"/>
                  <a:pt x="4409869" y="5241186"/>
                </a:cubicBezTo>
                <a:cubicBezTo>
                  <a:pt x="4411334" y="5244780"/>
                  <a:pt x="4412132" y="5248507"/>
                  <a:pt x="4412132" y="5252634"/>
                </a:cubicBezTo>
                <a:cubicBezTo>
                  <a:pt x="4412132" y="5256761"/>
                  <a:pt x="4411334" y="5260754"/>
                  <a:pt x="4409869" y="5264349"/>
                </a:cubicBezTo>
                <a:cubicBezTo>
                  <a:pt x="4408405" y="5267944"/>
                  <a:pt x="4406275" y="5271005"/>
                  <a:pt x="4403746" y="5273668"/>
                </a:cubicBezTo>
                <a:cubicBezTo>
                  <a:pt x="4401083" y="5276330"/>
                  <a:pt x="4398022" y="5278460"/>
                  <a:pt x="4394428" y="5279924"/>
                </a:cubicBezTo>
                <a:cubicBezTo>
                  <a:pt x="4390834" y="5281388"/>
                  <a:pt x="4386973" y="5282187"/>
                  <a:pt x="4382713" y="5282187"/>
                </a:cubicBezTo>
                <a:cubicBezTo>
                  <a:pt x="4373661" y="5282187"/>
                  <a:pt x="4366473" y="5279259"/>
                  <a:pt x="4360881" y="5273668"/>
                </a:cubicBezTo>
                <a:cubicBezTo>
                  <a:pt x="4355290" y="5268076"/>
                  <a:pt x="4352495" y="5260887"/>
                  <a:pt x="4352495" y="5252501"/>
                </a:cubicBezTo>
                <a:cubicBezTo>
                  <a:pt x="4352495" y="5244248"/>
                  <a:pt x="4355290" y="5237193"/>
                  <a:pt x="4360881" y="5231468"/>
                </a:cubicBezTo>
                <a:cubicBezTo>
                  <a:pt x="4366473" y="5225612"/>
                  <a:pt x="4373661" y="5222816"/>
                  <a:pt x="4382713" y="5222816"/>
                </a:cubicBezTo>
                <a:close/>
                <a:moveTo>
                  <a:pt x="4165068" y="5222816"/>
                </a:moveTo>
                <a:cubicBezTo>
                  <a:pt x="4169327" y="5222816"/>
                  <a:pt x="4173188" y="5223615"/>
                  <a:pt x="4176782" y="5225478"/>
                </a:cubicBezTo>
                <a:cubicBezTo>
                  <a:pt x="4180509" y="5227076"/>
                  <a:pt x="4183571" y="5229206"/>
                  <a:pt x="4186100" y="5231868"/>
                </a:cubicBezTo>
                <a:cubicBezTo>
                  <a:pt x="4188629" y="5234397"/>
                  <a:pt x="4190759" y="5237592"/>
                  <a:pt x="4192223" y="5241186"/>
                </a:cubicBezTo>
                <a:cubicBezTo>
                  <a:pt x="4193688" y="5244780"/>
                  <a:pt x="4194486" y="5248507"/>
                  <a:pt x="4194486" y="5252634"/>
                </a:cubicBezTo>
                <a:cubicBezTo>
                  <a:pt x="4194486" y="5256761"/>
                  <a:pt x="4193688" y="5260754"/>
                  <a:pt x="4192223" y="5264349"/>
                </a:cubicBezTo>
                <a:cubicBezTo>
                  <a:pt x="4190759" y="5267944"/>
                  <a:pt x="4188629" y="5271005"/>
                  <a:pt x="4186100" y="5273668"/>
                </a:cubicBezTo>
                <a:cubicBezTo>
                  <a:pt x="4183438" y="5276330"/>
                  <a:pt x="4180376" y="5278460"/>
                  <a:pt x="4176782" y="5279924"/>
                </a:cubicBezTo>
                <a:cubicBezTo>
                  <a:pt x="4173188" y="5281388"/>
                  <a:pt x="4169327" y="5282187"/>
                  <a:pt x="4165068" y="5282187"/>
                </a:cubicBezTo>
                <a:cubicBezTo>
                  <a:pt x="4156015" y="5282187"/>
                  <a:pt x="4148827" y="5279259"/>
                  <a:pt x="4143235" y="5273668"/>
                </a:cubicBezTo>
                <a:cubicBezTo>
                  <a:pt x="4137645" y="5268076"/>
                  <a:pt x="4134849" y="5260887"/>
                  <a:pt x="4134849" y="5252501"/>
                </a:cubicBezTo>
                <a:cubicBezTo>
                  <a:pt x="4134849" y="5244248"/>
                  <a:pt x="4137645" y="5237193"/>
                  <a:pt x="4143235" y="5231468"/>
                </a:cubicBezTo>
                <a:cubicBezTo>
                  <a:pt x="4148827" y="5225612"/>
                  <a:pt x="4156015" y="5222816"/>
                  <a:pt x="4165068" y="5222816"/>
                </a:cubicBezTo>
                <a:close/>
                <a:moveTo>
                  <a:pt x="3947709" y="5222816"/>
                </a:moveTo>
                <a:cubicBezTo>
                  <a:pt x="3951971" y="5222816"/>
                  <a:pt x="3955832" y="5223615"/>
                  <a:pt x="3959427" y="5225478"/>
                </a:cubicBezTo>
                <a:cubicBezTo>
                  <a:pt x="3963155" y="5227076"/>
                  <a:pt x="3966216" y="5229206"/>
                  <a:pt x="3968745" y="5231868"/>
                </a:cubicBezTo>
                <a:cubicBezTo>
                  <a:pt x="3971276" y="5234397"/>
                  <a:pt x="3973405" y="5237592"/>
                  <a:pt x="3974869" y="5241186"/>
                </a:cubicBezTo>
                <a:cubicBezTo>
                  <a:pt x="3976334" y="5244780"/>
                  <a:pt x="3977133" y="5248507"/>
                  <a:pt x="3977133" y="5252634"/>
                </a:cubicBezTo>
                <a:cubicBezTo>
                  <a:pt x="3977133" y="5256761"/>
                  <a:pt x="3976334" y="5260754"/>
                  <a:pt x="3974869" y="5264349"/>
                </a:cubicBezTo>
                <a:cubicBezTo>
                  <a:pt x="3973405" y="5267944"/>
                  <a:pt x="3971276" y="5271005"/>
                  <a:pt x="3968745" y="5273668"/>
                </a:cubicBezTo>
                <a:cubicBezTo>
                  <a:pt x="3966083" y="5276330"/>
                  <a:pt x="3963022" y="5278460"/>
                  <a:pt x="3959427" y="5279924"/>
                </a:cubicBezTo>
                <a:cubicBezTo>
                  <a:pt x="3955832" y="5281388"/>
                  <a:pt x="3951971" y="5282187"/>
                  <a:pt x="3947709" y="5282187"/>
                </a:cubicBezTo>
                <a:cubicBezTo>
                  <a:pt x="3938657" y="5282187"/>
                  <a:pt x="3931469" y="5279259"/>
                  <a:pt x="3925877" y="5273668"/>
                </a:cubicBezTo>
                <a:cubicBezTo>
                  <a:pt x="3920286" y="5268076"/>
                  <a:pt x="3917490" y="5260887"/>
                  <a:pt x="3917490" y="5252501"/>
                </a:cubicBezTo>
                <a:cubicBezTo>
                  <a:pt x="3917490" y="5244248"/>
                  <a:pt x="3920286" y="5237193"/>
                  <a:pt x="3925877" y="5231468"/>
                </a:cubicBezTo>
                <a:cubicBezTo>
                  <a:pt x="3931469" y="5225612"/>
                  <a:pt x="3938657" y="5222816"/>
                  <a:pt x="3947709" y="5222816"/>
                </a:cubicBezTo>
                <a:close/>
                <a:moveTo>
                  <a:pt x="3730051" y="5222816"/>
                </a:moveTo>
                <a:cubicBezTo>
                  <a:pt x="3734312" y="5222816"/>
                  <a:pt x="3738305" y="5223615"/>
                  <a:pt x="3741767" y="5225478"/>
                </a:cubicBezTo>
                <a:cubicBezTo>
                  <a:pt x="3745361" y="5227076"/>
                  <a:pt x="3748556" y="5229206"/>
                  <a:pt x="3751085" y="5231868"/>
                </a:cubicBezTo>
                <a:cubicBezTo>
                  <a:pt x="3753615" y="5234397"/>
                  <a:pt x="3755744" y="5237592"/>
                  <a:pt x="3757208" y="5241186"/>
                </a:cubicBezTo>
                <a:cubicBezTo>
                  <a:pt x="3758672" y="5244780"/>
                  <a:pt x="3759471" y="5248507"/>
                  <a:pt x="3759471" y="5252634"/>
                </a:cubicBezTo>
                <a:cubicBezTo>
                  <a:pt x="3759471" y="5256761"/>
                  <a:pt x="3758672" y="5260754"/>
                  <a:pt x="3757208" y="5264349"/>
                </a:cubicBezTo>
                <a:cubicBezTo>
                  <a:pt x="3755744" y="5267944"/>
                  <a:pt x="3753615" y="5271005"/>
                  <a:pt x="3751085" y="5273668"/>
                </a:cubicBezTo>
                <a:cubicBezTo>
                  <a:pt x="3748422" y="5276330"/>
                  <a:pt x="3745361" y="5278460"/>
                  <a:pt x="3741767" y="5279924"/>
                </a:cubicBezTo>
                <a:cubicBezTo>
                  <a:pt x="3738173" y="5281388"/>
                  <a:pt x="3734312" y="5282187"/>
                  <a:pt x="3730051" y="5282187"/>
                </a:cubicBezTo>
                <a:cubicBezTo>
                  <a:pt x="3720999" y="5282187"/>
                  <a:pt x="3713809" y="5279259"/>
                  <a:pt x="3708212" y="5273668"/>
                </a:cubicBezTo>
                <a:cubicBezTo>
                  <a:pt x="3702619" y="5268076"/>
                  <a:pt x="3699826" y="5260887"/>
                  <a:pt x="3699826" y="5252501"/>
                </a:cubicBezTo>
                <a:cubicBezTo>
                  <a:pt x="3699826" y="5244248"/>
                  <a:pt x="3702619" y="5237193"/>
                  <a:pt x="3708212" y="5231468"/>
                </a:cubicBezTo>
                <a:cubicBezTo>
                  <a:pt x="3713809" y="5225612"/>
                  <a:pt x="3720999" y="5222816"/>
                  <a:pt x="3730051" y="5222816"/>
                </a:cubicBezTo>
                <a:close/>
                <a:moveTo>
                  <a:pt x="3512391" y="5222816"/>
                </a:moveTo>
                <a:cubicBezTo>
                  <a:pt x="3516652" y="5222816"/>
                  <a:pt x="3520645" y="5223615"/>
                  <a:pt x="3524107" y="5225478"/>
                </a:cubicBezTo>
                <a:cubicBezTo>
                  <a:pt x="3527701" y="5227076"/>
                  <a:pt x="3530896" y="5229206"/>
                  <a:pt x="3533425" y="5231868"/>
                </a:cubicBezTo>
                <a:cubicBezTo>
                  <a:pt x="3535954" y="5234397"/>
                  <a:pt x="3538084" y="5237592"/>
                  <a:pt x="3539548" y="5241186"/>
                </a:cubicBezTo>
                <a:cubicBezTo>
                  <a:pt x="3541012" y="5244780"/>
                  <a:pt x="3541811" y="5248507"/>
                  <a:pt x="3541811" y="5252634"/>
                </a:cubicBezTo>
                <a:cubicBezTo>
                  <a:pt x="3541811" y="5256761"/>
                  <a:pt x="3541012" y="5260754"/>
                  <a:pt x="3539548" y="5264349"/>
                </a:cubicBezTo>
                <a:cubicBezTo>
                  <a:pt x="3538084" y="5267944"/>
                  <a:pt x="3535954" y="5271005"/>
                  <a:pt x="3533425" y="5273668"/>
                </a:cubicBezTo>
                <a:cubicBezTo>
                  <a:pt x="3530762" y="5276330"/>
                  <a:pt x="3527701" y="5278460"/>
                  <a:pt x="3524107" y="5279924"/>
                </a:cubicBezTo>
                <a:cubicBezTo>
                  <a:pt x="3520513" y="5281388"/>
                  <a:pt x="3516652" y="5282187"/>
                  <a:pt x="3512391" y="5282187"/>
                </a:cubicBezTo>
                <a:cubicBezTo>
                  <a:pt x="3503336" y="5282187"/>
                  <a:pt x="3496146" y="5279259"/>
                  <a:pt x="3490555" y="5273668"/>
                </a:cubicBezTo>
                <a:cubicBezTo>
                  <a:pt x="3484964" y="5268076"/>
                  <a:pt x="3482168" y="5260887"/>
                  <a:pt x="3482168" y="5252501"/>
                </a:cubicBezTo>
                <a:cubicBezTo>
                  <a:pt x="3482168" y="5244248"/>
                  <a:pt x="3484964" y="5237193"/>
                  <a:pt x="3490555" y="5231468"/>
                </a:cubicBezTo>
                <a:cubicBezTo>
                  <a:pt x="3496146" y="5225612"/>
                  <a:pt x="3503336" y="5222816"/>
                  <a:pt x="3512391" y="5222816"/>
                </a:cubicBezTo>
                <a:close/>
                <a:moveTo>
                  <a:pt x="3294865" y="5222816"/>
                </a:moveTo>
                <a:cubicBezTo>
                  <a:pt x="3298992" y="5222816"/>
                  <a:pt x="3302986" y="5223615"/>
                  <a:pt x="3306580" y="5225478"/>
                </a:cubicBezTo>
                <a:cubicBezTo>
                  <a:pt x="3310307" y="5227076"/>
                  <a:pt x="3313369" y="5229206"/>
                  <a:pt x="3315898" y="5231868"/>
                </a:cubicBezTo>
                <a:cubicBezTo>
                  <a:pt x="3318427" y="5234397"/>
                  <a:pt x="3320557" y="5237592"/>
                  <a:pt x="3322021" y="5241186"/>
                </a:cubicBezTo>
                <a:cubicBezTo>
                  <a:pt x="3323485" y="5244780"/>
                  <a:pt x="3324284" y="5248507"/>
                  <a:pt x="3324284" y="5252634"/>
                </a:cubicBezTo>
                <a:cubicBezTo>
                  <a:pt x="3324284" y="5256761"/>
                  <a:pt x="3323485" y="5260754"/>
                  <a:pt x="3322021" y="5264349"/>
                </a:cubicBezTo>
                <a:cubicBezTo>
                  <a:pt x="3320557" y="5267944"/>
                  <a:pt x="3318427" y="5271005"/>
                  <a:pt x="3315898" y="5273668"/>
                </a:cubicBezTo>
                <a:cubicBezTo>
                  <a:pt x="3313235" y="5276330"/>
                  <a:pt x="3310174" y="5278460"/>
                  <a:pt x="3306580" y="5279924"/>
                </a:cubicBezTo>
                <a:cubicBezTo>
                  <a:pt x="3302986" y="5281388"/>
                  <a:pt x="3299125" y="5282187"/>
                  <a:pt x="3294865" y="5282187"/>
                </a:cubicBezTo>
                <a:cubicBezTo>
                  <a:pt x="3285810" y="5282187"/>
                  <a:pt x="3278621" y="5279259"/>
                  <a:pt x="3273026" y="5273668"/>
                </a:cubicBezTo>
                <a:cubicBezTo>
                  <a:pt x="3267434" y="5268076"/>
                  <a:pt x="3264639" y="5260887"/>
                  <a:pt x="3264639" y="5252501"/>
                </a:cubicBezTo>
                <a:cubicBezTo>
                  <a:pt x="3264639" y="5244248"/>
                  <a:pt x="3267434" y="5237193"/>
                  <a:pt x="3273026" y="5231468"/>
                </a:cubicBezTo>
                <a:cubicBezTo>
                  <a:pt x="3278621" y="5225612"/>
                  <a:pt x="3285810" y="5222816"/>
                  <a:pt x="3294865" y="5222816"/>
                </a:cubicBezTo>
                <a:close/>
                <a:moveTo>
                  <a:pt x="3077204" y="5222816"/>
                </a:moveTo>
                <a:cubicBezTo>
                  <a:pt x="3081332" y="5222816"/>
                  <a:pt x="3085326" y="5223615"/>
                  <a:pt x="3088920" y="5225478"/>
                </a:cubicBezTo>
                <a:cubicBezTo>
                  <a:pt x="3092514" y="5227076"/>
                  <a:pt x="3095709" y="5229206"/>
                  <a:pt x="3098238" y="5231868"/>
                </a:cubicBezTo>
                <a:cubicBezTo>
                  <a:pt x="3100767" y="5234397"/>
                  <a:pt x="3102897" y="5237592"/>
                  <a:pt x="3104361" y="5241186"/>
                </a:cubicBezTo>
                <a:cubicBezTo>
                  <a:pt x="3105826" y="5244780"/>
                  <a:pt x="3106624" y="5248507"/>
                  <a:pt x="3106624" y="5252634"/>
                </a:cubicBezTo>
                <a:cubicBezTo>
                  <a:pt x="3106624" y="5256761"/>
                  <a:pt x="3105826" y="5260754"/>
                  <a:pt x="3104361" y="5264349"/>
                </a:cubicBezTo>
                <a:cubicBezTo>
                  <a:pt x="3102897" y="5267944"/>
                  <a:pt x="3100767" y="5271005"/>
                  <a:pt x="3098238" y="5273668"/>
                </a:cubicBezTo>
                <a:cubicBezTo>
                  <a:pt x="3095575" y="5276330"/>
                  <a:pt x="3092514" y="5278460"/>
                  <a:pt x="3088920" y="5279924"/>
                </a:cubicBezTo>
                <a:cubicBezTo>
                  <a:pt x="3085326" y="5281388"/>
                  <a:pt x="3081465" y="5282187"/>
                  <a:pt x="3077204" y="5282187"/>
                </a:cubicBezTo>
                <a:cubicBezTo>
                  <a:pt x="3068284" y="5282187"/>
                  <a:pt x="3060961" y="5279259"/>
                  <a:pt x="3055367" y="5273668"/>
                </a:cubicBezTo>
                <a:cubicBezTo>
                  <a:pt x="3049776" y="5268076"/>
                  <a:pt x="3046980" y="5260887"/>
                  <a:pt x="3046980" y="5252501"/>
                </a:cubicBezTo>
                <a:cubicBezTo>
                  <a:pt x="3046980" y="5244248"/>
                  <a:pt x="3049776" y="5237193"/>
                  <a:pt x="3055367" y="5231468"/>
                </a:cubicBezTo>
                <a:cubicBezTo>
                  <a:pt x="3060961" y="5225612"/>
                  <a:pt x="3068151" y="5222816"/>
                  <a:pt x="3077204" y="5222816"/>
                </a:cubicBezTo>
                <a:close/>
                <a:moveTo>
                  <a:pt x="2859544" y="5222816"/>
                </a:moveTo>
                <a:cubicBezTo>
                  <a:pt x="2863805" y="5222816"/>
                  <a:pt x="2867666" y="5223615"/>
                  <a:pt x="2871393" y="5225478"/>
                </a:cubicBezTo>
                <a:cubicBezTo>
                  <a:pt x="2875120" y="5227076"/>
                  <a:pt x="2878182" y="5229206"/>
                  <a:pt x="2880711" y="5231868"/>
                </a:cubicBezTo>
                <a:cubicBezTo>
                  <a:pt x="2883373" y="5234397"/>
                  <a:pt x="2885370" y="5237592"/>
                  <a:pt x="2886834" y="5241186"/>
                </a:cubicBezTo>
                <a:cubicBezTo>
                  <a:pt x="2888299" y="5244780"/>
                  <a:pt x="2889097" y="5248507"/>
                  <a:pt x="2889097" y="5252634"/>
                </a:cubicBezTo>
                <a:cubicBezTo>
                  <a:pt x="2889097" y="5256761"/>
                  <a:pt x="2888299" y="5260754"/>
                  <a:pt x="2886834" y="5264349"/>
                </a:cubicBezTo>
                <a:cubicBezTo>
                  <a:pt x="2885370" y="5267944"/>
                  <a:pt x="2883240" y="5271005"/>
                  <a:pt x="2880711" y="5273668"/>
                </a:cubicBezTo>
                <a:cubicBezTo>
                  <a:pt x="2878049" y="5276330"/>
                  <a:pt x="2874986" y="5278460"/>
                  <a:pt x="2871393" y="5279924"/>
                </a:cubicBezTo>
                <a:cubicBezTo>
                  <a:pt x="2867666" y="5281388"/>
                  <a:pt x="2863805" y="5282187"/>
                  <a:pt x="2859544" y="5282187"/>
                </a:cubicBezTo>
                <a:cubicBezTo>
                  <a:pt x="2850627" y="5282187"/>
                  <a:pt x="2843299" y="5279259"/>
                  <a:pt x="2837707" y="5273668"/>
                </a:cubicBezTo>
                <a:cubicBezTo>
                  <a:pt x="2832116" y="5268076"/>
                  <a:pt x="2829319" y="5260887"/>
                  <a:pt x="2829319" y="5252501"/>
                </a:cubicBezTo>
                <a:cubicBezTo>
                  <a:pt x="2829319" y="5244248"/>
                  <a:pt x="2832116" y="5237193"/>
                  <a:pt x="2837707" y="5231468"/>
                </a:cubicBezTo>
                <a:cubicBezTo>
                  <a:pt x="2843299" y="5225612"/>
                  <a:pt x="2850493" y="5222816"/>
                  <a:pt x="2859544" y="5222816"/>
                </a:cubicBezTo>
                <a:close/>
                <a:moveTo>
                  <a:pt x="2641884" y="5222816"/>
                </a:moveTo>
                <a:cubicBezTo>
                  <a:pt x="2646145" y="5222816"/>
                  <a:pt x="2650004" y="5223615"/>
                  <a:pt x="2653600" y="5225478"/>
                </a:cubicBezTo>
                <a:cubicBezTo>
                  <a:pt x="2657327" y="5227076"/>
                  <a:pt x="2660389" y="5229206"/>
                  <a:pt x="2662918" y="5231868"/>
                </a:cubicBezTo>
                <a:cubicBezTo>
                  <a:pt x="2665580" y="5234397"/>
                  <a:pt x="2667577" y="5237592"/>
                  <a:pt x="2669041" y="5241186"/>
                </a:cubicBezTo>
                <a:cubicBezTo>
                  <a:pt x="2670505" y="5244780"/>
                  <a:pt x="2671304" y="5248507"/>
                  <a:pt x="2671304" y="5252634"/>
                </a:cubicBezTo>
                <a:cubicBezTo>
                  <a:pt x="2671304" y="5256761"/>
                  <a:pt x="2670505" y="5260754"/>
                  <a:pt x="2669041" y="5264349"/>
                </a:cubicBezTo>
                <a:cubicBezTo>
                  <a:pt x="2667577" y="5267944"/>
                  <a:pt x="2665447" y="5271005"/>
                  <a:pt x="2662918" y="5273668"/>
                </a:cubicBezTo>
                <a:cubicBezTo>
                  <a:pt x="2660389" y="5276330"/>
                  <a:pt x="2657193" y="5278460"/>
                  <a:pt x="2653600" y="5279924"/>
                </a:cubicBezTo>
                <a:cubicBezTo>
                  <a:pt x="2650004" y="5281388"/>
                  <a:pt x="2646145" y="5282187"/>
                  <a:pt x="2641884" y="5282187"/>
                </a:cubicBezTo>
                <a:cubicBezTo>
                  <a:pt x="2632965" y="5282187"/>
                  <a:pt x="2625643" y="5279259"/>
                  <a:pt x="2620052" y="5273668"/>
                </a:cubicBezTo>
                <a:cubicBezTo>
                  <a:pt x="2614459" y="5268076"/>
                  <a:pt x="2611661" y="5260887"/>
                  <a:pt x="2611661" y="5252501"/>
                </a:cubicBezTo>
                <a:cubicBezTo>
                  <a:pt x="2611661" y="5244248"/>
                  <a:pt x="2614459" y="5237193"/>
                  <a:pt x="2620052" y="5231468"/>
                </a:cubicBezTo>
                <a:cubicBezTo>
                  <a:pt x="2625643" y="5225612"/>
                  <a:pt x="2632832" y="5222816"/>
                  <a:pt x="2641884" y="5222816"/>
                </a:cubicBezTo>
                <a:close/>
                <a:moveTo>
                  <a:pt x="2424224" y="5222816"/>
                </a:moveTo>
                <a:cubicBezTo>
                  <a:pt x="2428484" y="5222816"/>
                  <a:pt x="2432479" y="5223615"/>
                  <a:pt x="2435939" y="5225478"/>
                </a:cubicBezTo>
                <a:cubicBezTo>
                  <a:pt x="2439666" y="5227076"/>
                  <a:pt x="2442728" y="5229206"/>
                  <a:pt x="2445257" y="5231868"/>
                </a:cubicBezTo>
                <a:cubicBezTo>
                  <a:pt x="2447920" y="5234397"/>
                  <a:pt x="2449917" y="5237592"/>
                  <a:pt x="2451381" y="5241186"/>
                </a:cubicBezTo>
                <a:cubicBezTo>
                  <a:pt x="2452845" y="5244780"/>
                  <a:pt x="2453644" y="5248507"/>
                  <a:pt x="2453644" y="5252634"/>
                </a:cubicBezTo>
                <a:cubicBezTo>
                  <a:pt x="2453644" y="5256761"/>
                  <a:pt x="2452845" y="5260754"/>
                  <a:pt x="2451381" y="5264349"/>
                </a:cubicBezTo>
                <a:cubicBezTo>
                  <a:pt x="2449917" y="5267944"/>
                  <a:pt x="2447786" y="5271005"/>
                  <a:pt x="2445257" y="5273668"/>
                </a:cubicBezTo>
                <a:cubicBezTo>
                  <a:pt x="2442728" y="5276330"/>
                  <a:pt x="2439534" y="5278460"/>
                  <a:pt x="2435939" y="5279924"/>
                </a:cubicBezTo>
                <a:cubicBezTo>
                  <a:pt x="2432345" y="5281388"/>
                  <a:pt x="2428484" y="5282187"/>
                  <a:pt x="2424224" y="5282187"/>
                </a:cubicBezTo>
                <a:cubicBezTo>
                  <a:pt x="2415306" y="5282187"/>
                  <a:pt x="2407984" y="5279259"/>
                  <a:pt x="2402392" y="5273668"/>
                </a:cubicBezTo>
                <a:cubicBezTo>
                  <a:pt x="2396800" y="5268076"/>
                  <a:pt x="2394003" y="5260887"/>
                  <a:pt x="2394003" y="5252501"/>
                </a:cubicBezTo>
                <a:cubicBezTo>
                  <a:pt x="2394003" y="5244248"/>
                  <a:pt x="2396800" y="5237193"/>
                  <a:pt x="2402392" y="5231468"/>
                </a:cubicBezTo>
                <a:cubicBezTo>
                  <a:pt x="2407984" y="5225612"/>
                  <a:pt x="2415172" y="5222816"/>
                  <a:pt x="2424224" y="5222816"/>
                </a:cubicBezTo>
                <a:close/>
                <a:moveTo>
                  <a:pt x="2206564" y="5222816"/>
                </a:moveTo>
                <a:cubicBezTo>
                  <a:pt x="2210824" y="5222816"/>
                  <a:pt x="2214818" y="5223615"/>
                  <a:pt x="2218279" y="5225478"/>
                </a:cubicBezTo>
                <a:cubicBezTo>
                  <a:pt x="2222006" y="5227076"/>
                  <a:pt x="2225067" y="5229206"/>
                  <a:pt x="2227598" y="5231868"/>
                </a:cubicBezTo>
                <a:cubicBezTo>
                  <a:pt x="2230259" y="5234397"/>
                  <a:pt x="2232256" y="5237592"/>
                  <a:pt x="2233720" y="5241186"/>
                </a:cubicBezTo>
                <a:cubicBezTo>
                  <a:pt x="2235184" y="5244780"/>
                  <a:pt x="2235983" y="5248507"/>
                  <a:pt x="2235983" y="5252634"/>
                </a:cubicBezTo>
                <a:cubicBezTo>
                  <a:pt x="2235983" y="5256761"/>
                  <a:pt x="2235184" y="5260754"/>
                  <a:pt x="2233720" y="5264349"/>
                </a:cubicBezTo>
                <a:cubicBezTo>
                  <a:pt x="2232256" y="5267944"/>
                  <a:pt x="2230126" y="5271005"/>
                  <a:pt x="2227598" y="5273668"/>
                </a:cubicBezTo>
                <a:cubicBezTo>
                  <a:pt x="2225067" y="5276330"/>
                  <a:pt x="2221873" y="5278460"/>
                  <a:pt x="2218279" y="5279924"/>
                </a:cubicBezTo>
                <a:cubicBezTo>
                  <a:pt x="2214684" y="5281388"/>
                  <a:pt x="2210824" y="5282187"/>
                  <a:pt x="2206564" y="5282187"/>
                </a:cubicBezTo>
                <a:cubicBezTo>
                  <a:pt x="2197512" y="5282187"/>
                  <a:pt x="2190323" y="5279259"/>
                  <a:pt x="2184731" y="5273668"/>
                </a:cubicBezTo>
                <a:cubicBezTo>
                  <a:pt x="2179139" y="5268076"/>
                  <a:pt x="2176343" y="5260887"/>
                  <a:pt x="2176343" y="5252501"/>
                </a:cubicBezTo>
                <a:cubicBezTo>
                  <a:pt x="2176343" y="5244248"/>
                  <a:pt x="2179139" y="5237193"/>
                  <a:pt x="2184731" y="5231468"/>
                </a:cubicBezTo>
                <a:cubicBezTo>
                  <a:pt x="2190323" y="5225612"/>
                  <a:pt x="2197512" y="5222816"/>
                  <a:pt x="2206564" y="5222816"/>
                </a:cubicBezTo>
                <a:close/>
                <a:moveTo>
                  <a:pt x="1989037" y="5222816"/>
                </a:moveTo>
                <a:cubicBezTo>
                  <a:pt x="1993164" y="5222816"/>
                  <a:pt x="1997158" y="5223615"/>
                  <a:pt x="2000752" y="5225478"/>
                </a:cubicBezTo>
                <a:cubicBezTo>
                  <a:pt x="2004479" y="5227076"/>
                  <a:pt x="2007541" y="5229206"/>
                  <a:pt x="2010070" y="5231868"/>
                </a:cubicBezTo>
                <a:cubicBezTo>
                  <a:pt x="2012732" y="5234397"/>
                  <a:pt x="2014729" y="5237592"/>
                  <a:pt x="2016193" y="5241186"/>
                </a:cubicBezTo>
                <a:cubicBezTo>
                  <a:pt x="2017657" y="5244780"/>
                  <a:pt x="2018456" y="5248507"/>
                  <a:pt x="2018456" y="5252634"/>
                </a:cubicBezTo>
                <a:cubicBezTo>
                  <a:pt x="2018456" y="5256761"/>
                  <a:pt x="2017657" y="5260754"/>
                  <a:pt x="2016193" y="5264349"/>
                </a:cubicBezTo>
                <a:cubicBezTo>
                  <a:pt x="2014729" y="5267944"/>
                  <a:pt x="2012599" y="5271005"/>
                  <a:pt x="2010070" y="5273668"/>
                </a:cubicBezTo>
                <a:cubicBezTo>
                  <a:pt x="2007541" y="5276330"/>
                  <a:pt x="2004346" y="5278460"/>
                  <a:pt x="2000752" y="5279924"/>
                </a:cubicBezTo>
                <a:cubicBezTo>
                  <a:pt x="1997158" y="5281388"/>
                  <a:pt x="1993296" y="5282187"/>
                  <a:pt x="1989037" y="5282187"/>
                </a:cubicBezTo>
                <a:cubicBezTo>
                  <a:pt x="1979985" y="5282187"/>
                  <a:pt x="1972796" y="5279259"/>
                  <a:pt x="1967205" y="5273668"/>
                </a:cubicBezTo>
                <a:cubicBezTo>
                  <a:pt x="1961615" y="5268076"/>
                  <a:pt x="1958819" y="5260887"/>
                  <a:pt x="1958819" y="5252501"/>
                </a:cubicBezTo>
                <a:cubicBezTo>
                  <a:pt x="1958819" y="5244248"/>
                  <a:pt x="1961615" y="5237193"/>
                  <a:pt x="1967205" y="5231468"/>
                </a:cubicBezTo>
                <a:cubicBezTo>
                  <a:pt x="1972796" y="5225612"/>
                  <a:pt x="1979985" y="5222816"/>
                  <a:pt x="1989037" y="5222816"/>
                </a:cubicBezTo>
                <a:close/>
                <a:moveTo>
                  <a:pt x="1771402" y="5222816"/>
                </a:moveTo>
                <a:cubicBezTo>
                  <a:pt x="1775661" y="5222816"/>
                  <a:pt x="1779521" y="5223615"/>
                  <a:pt x="1783116" y="5225478"/>
                </a:cubicBezTo>
                <a:cubicBezTo>
                  <a:pt x="1786843" y="5227076"/>
                  <a:pt x="1789905" y="5229206"/>
                  <a:pt x="1792434" y="5231868"/>
                </a:cubicBezTo>
                <a:cubicBezTo>
                  <a:pt x="1795096" y="5234397"/>
                  <a:pt x="1797093" y="5237592"/>
                  <a:pt x="1798557" y="5241186"/>
                </a:cubicBezTo>
                <a:cubicBezTo>
                  <a:pt x="1800021" y="5244780"/>
                  <a:pt x="1800820" y="5248507"/>
                  <a:pt x="1800820" y="5252634"/>
                </a:cubicBezTo>
                <a:cubicBezTo>
                  <a:pt x="1800820" y="5256761"/>
                  <a:pt x="1800021" y="5260754"/>
                  <a:pt x="1798557" y="5264349"/>
                </a:cubicBezTo>
                <a:cubicBezTo>
                  <a:pt x="1797093" y="5267944"/>
                  <a:pt x="1794964" y="5271005"/>
                  <a:pt x="1792434" y="5273668"/>
                </a:cubicBezTo>
                <a:cubicBezTo>
                  <a:pt x="1789771" y="5276330"/>
                  <a:pt x="1786711" y="5278460"/>
                  <a:pt x="1783116" y="5279924"/>
                </a:cubicBezTo>
                <a:cubicBezTo>
                  <a:pt x="1779521" y="5281388"/>
                  <a:pt x="1775661" y="5282187"/>
                  <a:pt x="1771402" y="5282187"/>
                </a:cubicBezTo>
                <a:cubicBezTo>
                  <a:pt x="1762483" y="5282187"/>
                  <a:pt x="1755163" y="5279259"/>
                  <a:pt x="1749573" y="5273668"/>
                </a:cubicBezTo>
                <a:cubicBezTo>
                  <a:pt x="1743982" y="5268076"/>
                  <a:pt x="1741190" y="5260887"/>
                  <a:pt x="1741190" y="5252501"/>
                </a:cubicBezTo>
                <a:cubicBezTo>
                  <a:pt x="1741190" y="5244248"/>
                  <a:pt x="1743982" y="5237193"/>
                  <a:pt x="1749573" y="5231468"/>
                </a:cubicBezTo>
                <a:cubicBezTo>
                  <a:pt x="1755163" y="5225612"/>
                  <a:pt x="1762350" y="5222816"/>
                  <a:pt x="1771402" y="5222816"/>
                </a:cubicBezTo>
                <a:close/>
                <a:moveTo>
                  <a:pt x="1553765" y="5222816"/>
                </a:moveTo>
                <a:cubicBezTo>
                  <a:pt x="1558024" y="5222816"/>
                  <a:pt x="1561886" y="5223615"/>
                  <a:pt x="1565480" y="5225478"/>
                </a:cubicBezTo>
                <a:cubicBezTo>
                  <a:pt x="1569074" y="5227076"/>
                  <a:pt x="1572269" y="5229206"/>
                  <a:pt x="1574798" y="5231868"/>
                </a:cubicBezTo>
                <a:cubicBezTo>
                  <a:pt x="1577460" y="5234397"/>
                  <a:pt x="1579457" y="5237592"/>
                  <a:pt x="1580921" y="5241186"/>
                </a:cubicBezTo>
                <a:cubicBezTo>
                  <a:pt x="1582385" y="5244780"/>
                  <a:pt x="1583184" y="5248507"/>
                  <a:pt x="1583184" y="5252634"/>
                </a:cubicBezTo>
                <a:cubicBezTo>
                  <a:pt x="1583184" y="5256761"/>
                  <a:pt x="1582385" y="5260754"/>
                  <a:pt x="1580921" y="5264349"/>
                </a:cubicBezTo>
                <a:cubicBezTo>
                  <a:pt x="1579457" y="5267944"/>
                  <a:pt x="1577327" y="5271005"/>
                  <a:pt x="1574798" y="5273668"/>
                </a:cubicBezTo>
                <a:cubicBezTo>
                  <a:pt x="1572136" y="5276330"/>
                  <a:pt x="1569074" y="5278460"/>
                  <a:pt x="1565480" y="5279924"/>
                </a:cubicBezTo>
                <a:cubicBezTo>
                  <a:pt x="1561886" y="5281388"/>
                  <a:pt x="1558024" y="5282187"/>
                  <a:pt x="1553765" y="5282187"/>
                </a:cubicBezTo>
                <a:cubicBezTo>
                  <a:pt x="1544847" y="5282187"/>
                  <a:pt x="1537525" y="5279259"/>
                  <a:pt x="1531935" y="5273668"/>
                </a:cubicBezTo>
                <a:cubicBezTo>
                  <a:pt x="1526346" y="5268076"/>
                  <a:pt x="1523550" y="5260887"/>
                  <a:pt x="1523550" y="5252501"/>
                </a:cubicBezTo>
                <a:cubicBezTo>
                  <a:pt x="1523550" y="5244248"/>
                  <a:pt x="1526346" y="5237193"/>
                  <a:pt x="1531935" y="5231468"/>
                </a:cubicBezTo>
                <a:cubicBezTo>
                  <a:pt x="1537525" y="5225612"/>
                  <a:pt x="1544712" y="5222816"/>
                  <a:pt x="1553765" y="5222816"/>
                </a:cubicBezTo>
                <a:close/>
                <a:moveTo>
                  <a:pt x="1336122" y="5222816"/>
                </a:moveTo>
                <a:cubicBezTo>
                  <a:pt x="1340380" y="5222816"/>
                  <a:pt x="1344376" y="5223615"/>
                  <a:pt x="1347836" y="5225478"/>
                </a:cubicBezTo>
                <a:cubicBezTo>
                  <a:pt x="1351430" y="5227076"/>
                  <a:pt x="1354625" y="5229206"/>
                  <a:pt x="1357155" y="5231868"/>
                </a:cubicBezTo>
                <a:cubicBezTo>
                  <a:pt x="1359817" y="5234397"/>
                  <a:pt x="1361814" y="5237592"/>
                  <a:pt x="1363278" y="5241186"/>
                </a:cubicBezTo>
                <a:cubicBezTo>
                  <a:pt x="1364742" y="5244780"/>
                  <a:pt x="1365540" y="5248507"/>
                  <a:pt x="1365540" y="5252634"/>
                </a:cubicBezTo>
                <a:cubicBezTo>
                  <a:pt x="1365540" y="5256761"/>
                  <a:pt x="1364742" y="5260754"/>
                  <a:pt x="1363278" y="5264349"/>
                </a:cubicBezTo>
                <a:cubicBezTo>
                  <a:pt x="1361814" y="5267944"/>
                  <a:pt x="1359684" y="5271005"/>
                  <a:pt x="1357155" y="5273668"/>
                </a:cubicBezTo>
                <a:cubicBezTo>
                  <a:pt x="1354491" y="5276330"/>
                  <a:pt x="1351430" y="5278460"/>
                  <a:pt x="1347836" y="5279924"/>
                </a:cubicBezTo>
                <a:cubicBezTo>
                  <a:pt x="1344243" y="5281388"/>
                  <a:pt x="1340380" y="5282187"/>
                  <a:pt x="1336122" y="5282187"/>
                </a:cubicBezTo>
                <a:cubicBezTo>
                  <a:pt x="1327201" y="5282187"/>
                  <a:pt x="1319880" y="5279259"/>
                  <a:pt x="1314289" y="5273668"/>
                </a:cubicBezTo>
                <a:cubicBezTo>
                  <a:pt x="1308698" y="5268076"/>
                  <a:pt x="1305903" y="5260887"/>
                  <a:pt x="1305903" y="5252501"/>
                </a:cubicBezTo>
                <a:cubicBezTo>
                  <a:pt x="1305903" y="5244248"/>
                  <a:pt x="1308698" y="5237193"/>
                  <a:pt x="1314289" y="5231468"/>
                </a:cubicBezTo>
                <a:cubicBezTo>
                  <a:pt x="1319880" y="5225612"/>
                  <a:pt x="1327068" y="5222816"/>
                  <a:pt x="1336122" y="5222816"/>
                </a:cubicBezTo>
                <a:close/>
                <a:moveTo>
                  <a:pt x="1118476" y="5222816"/>
                </a:moveTo>
                <a:cubicBezTo>
                  <a:pt x="1122737" y="5222816"/>
                  <a:pt x="1126733" y="5223615"/>
                  <a:pt x="1130194" y="5225478"/>
                </a:cubicBezTo>
                <a:cubicBezTo>
                  <a:pt x="1133920" y="5227076"/>
                  <a:pt x="1136982" y="5229206"/>
                  <a:pt x="1139509" y="5231868"/>
                </a:cubicBezTo>
                <a:cubicBezTo>
                  <a:pt x="1142170" y="5234397"/>
                  <a:pt x="1144166" y="5237592"/>
                  <a:pt x="1145629" y="5241186"/>
                </a:cubicBezTo>
                <a:cubicBezTo>
                  <a:pt x="1147093" y="5244780"/>
                  <a:pt x="1147892" y="5248507"/>
                  <a:pt x="1147892" y="5252634"/>
                </a:cubicBezTo>
                <a:cubicBezTo>
                  <a:pt x="1147892" y="5256761"/>
                  <a:pt x="1147093" y="5260754"/>
                  <a:pt x="1145629" y="5264349"/>
                </a:cubicBezTo>
                <a:cubicBezTo>
                  <a:pt x="1144166" y="5267944"/>
                  <a:pt x="1142037" y="5271005"/>
                  <a:pt x="1139509" y="5273668"/>
                </a:cubicBezTo>
                <a:cubicBezTo>
                  <a:pt x="1136982" y="5276330"/>
                  <a:pt x="1133788" y="5278460"/>
                  <a:pt x="1130194" y="5279924"/>
                </a:cubicBezTo>
                <a:cubicBezTo>
                  <a:pt x="1126598" y="5281388"/>
                  <a:pt x="1122737" y="5282187"/>
                  <a:pt x="1118476" y="5282187"/>
                </a:cubicBezTo>
                <a:cubicBezTo>
                  <a:pt x="1109556" y="5282187"/>
                  <a:pt x="1102232" y="5279259"/>
                  <a:pt x="1096641" y="5273668"/>
                </a:cubicBezTo>
                <a:cubicBezTo>
                  <a:pt x="1091051" y="5268076"/>
                  <a:pt x="1088257" y="5260887"/>
                  <a:pt x="1088257" y="5252501"/>
                </a:cubicBezTo>
                <a:cubicBezTo>
                  <a:pt x="1088257" y="5244248"/>
                  <a:pt x="1091051" y="5237193"/>
                  <a:pt x="1096641" y="5231468"/>
                </a:cubicBezTo>
                <a:cubicBezTo>
                  <a:pt x="1102232" y="5225612"/>
                  <a:pt x="1109422" y="5222816"/>
                  <a:pt x="1118476" y="5222816"/>
                </a:cubicBezTo>
                <a:close/>
                <a:moveTo>
                  <a:pt x="900963" y="5222816"/>
                </a:moveTo>
                <a:cubicBezTo>
                  <a:pt x="905090" y="5222816"/>
                  <a:pt x="909084" y="5223615"/>
                  <a:pt x="912678" y="5225478"/>
                </a:cubicBezTo>
                <a:cubicBezTo>
                  <a:pt x="916405" y="5227076"/>
                  <a:pt x="919467" y="5229206"/>
                  <a:pt x="921996" y="5231868"/>
                </a:cubicBezTo>
                <a:cubicBezTo>
                  <a:pt x="924658" y="5234397"/>
                  <a:pt x="926655" y="5237592"/>
                  <a:pt x="928119" y="5241186"/>
                </a:cubicBezTo>
                <a:cubicBezTo>
                  <a:pt x="929583" y="5244780"/>
                  <a:pt x="930382" y="5248507"/>
                  <a:pt x="930382" y="5252634"/>
                </a:cubicBezTo>
                <a:cubicBezTo>
                  <a:pt x="930382" y="5256761"/>
                  <a:pt x="929583" y="5260754"/>
                  <a:pt x="928119" y="5264349"/>
                </a:cubicBezTo>
                <a:cubicBezTo>
                  <a:pt x="926655" y="5267944"/>
                  <a:pt x="924525" y="5271005"/>
                  <a:pt x="921996" y="5273668"/>
                </a:cubicBezTo>
                <a:cubicBezTo>
                  <a:pt x="919467" y="5276330"/>
                  <a:pt x="916272" y="5278460"/>
                  <a:pt x="912678" y="5279924"/>
                </a:cubicBezTo>
                <a:cubicBezTo>
                  <a:pt x="909084" y="5281388"/>
                  <a:pt x="905223" y="5282187"/>
                  <a:pt x="900963" y="5282187"/>
                </a:cubicBezTo>
                <a:cubicBezTo>
                  <a:pt x="892045" y="5282187"/>
                  <a:pt x="884723" y="5279259"/>
                  <a:pt x="879132" y="5273668"/>
                </a:cubicBezTo>
                <a:cubicBezTo>
                  <a:pt x="873543" y="5268076"/>
                  <a:pt x="870747" y="5260887"/>
                  <a:pt x="870747" y="5252501"/>
                </a:cubicBezTo>
                <a:cubicBezTo>
                  <a:pt x="870747" y="5244248"/>
                  <a:pt x="873543" y="5237193"/>
                  <a:pt x="879132" y="5231468"/>
                </a:cubicBezTo>
                <a:cubicBezTo>
                  <a:pt x="884723" y="5225612"/>
                  <a:pt x="891912" y="5222816"/>
                  <a:pt x="900963" y="5222816"/>
                </a:cubicBezTo>
                <a:close/>
                <a:moveTo>
                  <a:pt x="683323" y="5222816"/>
                </a:moveTo>
                <a:cubicBezTo>
                  <a:pt x="687583" y="5222816"/>
                  <a:pt x="691444" y="5223615"/>
                  <a:pt x="695038" y="5225478"/>
                </a:cubicBezTo>
                <a:cubicBezTo>
                  <a:pt x="698765" y="5227076"/>
                  <a:pt x="701827" y="5229206"/>
                  <a:pt x="704355" y="5231868"/>
                </a:cubicBezTo>
                <a:cubicBezTo>
                  <a:pt x="707017" y="5234397"/>
                  <a:pt x="709014" y="5237592"/>
                  <a:pt x="710478" y="5241186"/>
                </a:cubicBezTo>
                <a:cubicBezTo>
                  <a:pt x="711942" y="5244780"/>
                  <a:pt x="712741" y="5248507"/>
                  <a:pt x="712741" y="5252634"/>
                </a:cubicBezTo>
                <a:cubicBezTo>
                  <a:pt x="712741" y="5256761"/>
                  <a:pt x="711942" y="5260754"/>
                  <a:pt x="710478" y="5264349"/>
                </a:cubicBezTo>
                <a:cubicBezTo>
                  <a:pt x="709014" y="5267944"/>
                  <a:pt x="706884" y="5271005"/>
                  <a:pt x="704355" y="5273668"/>
                </a:cubicBezTo>
                <a:cubicBezTo>
                  <a:pt x="701827" y="5276330"/>
                  <a:pt x="698632" y="5278460"/>
                  <a:pt x="695038" y="5279924"/>
                </a:cubicBezTo>
                <a:cubicBezTo>
                  <a:pt x="691444" y="5281388"/>
                  <a:pt x="687583" y="5282187"/>
                  <a:pt x="683323" y="5282187"/>
                </a:cubicBezTo>
                <a:cubicBezTo>
                  <a:pt x="674404" y="5282187"/>
                  <a:pt x="667082" y="5279259"/>
                  <a:pt x="661491" y="5273668"/>
                </a:cubicBezTo>
                <a:cubicBezTo>
                  <a:pt x="655900" y="5268076"/>
                  <a:pt x="653105" y="5260887"/>
                  <a:pt x="653105" y="5252501"/>
                </a:cubicBezTo>
                <a:cubicBezTo>
                  <a:pt x="653105" y="5244248"/>
                  <a:pt x="655900" y="5237193"/>
                  <a:pt x="661491" y="5231468"/>
                </a:cubicBezTo>
                <a:cubicBezTo>
                  <a:pt x="667082" y="5225612"/>
                  <a:pt x="674271" y="5222816"/>
                  <a:pt x="683323" y="5222816"/>
                </a:cubicBezTo>
                <a:close/>
                <a:moveTo>
                  <a:pt x="465681" y="5222816"/>
                </a:moveTo>
                <a:cubicBezTo>
                  <a:pt x="469941" y="5222816"/>
                  <a:pt x="473801" y="5223615"/>
                  <a:pt x="477396" y="5225478"/>
                </a:cubicBezTo>
                <a:cubicBezTo>
                  <a:pt x="481123" y="5227076"/>
                  <a:pt x="484185" y="5229206"/>
                  <a:pt x="486714" y="5231868"/>
                </a:cubicBezTo>
                <a:cubicBezTo>
                  <a:pt x="489375" y="5234397"/>
                  <a:pt x="491373" y="5237592"/>
                  <a:pt x="492837" y="5241186"/>
                </a:cubicBezTo>
                <a:cubicBezTo>
                  <a:pt x="494300" y="5244780"/>
                  <a:pt x="495100" y="5248507"/>
                  <a:pt x="495100" y="5252634"/>
                </a:cubicBezTo>
                <a:cubicBezTo>
                  <a:pt x="495100" y="5256761"/>
                  <a:pt x="494300" y="5260754"/>
                  <a:pt x="492837" y="5264349"/>
                </a:cubicBezTo>
                <a:cubicBezTo>
                  <a:pt x="491373" y="5267944"/>
                  <a:pt x="489243" y="5271005"/>
                  <a:pt x="486714" y="5273668"/>
                </a:cubicBezTo>
                <a:cubicBezTo>
                  <a:pt x="484051" y="5276330"/>
                  <a:pt x="480990" y="5278460"/>
                  <a:pt x="477396" y="5279924"/>
                </a:cubicBezTo>
                <a:cubicBezTo>
                  <a:pt x="473801" y="5281388"/>
                  <a:pt x="469941" y="5282187"/>
                  <a:pt x="465681" y="5282187"/>
                </a:cubicBezTo>
                <a:cubicBezTo>
                  <a:pt x="456763" y="5282187"/>
                  <a:pt x="449441" y="5279259"/>
                  <a:pt x="443850" y="5273668"/>
                </a:cubicBezTo>
                <a:cubicBezTo>
                  <a:pt x="438259" y="5268076"/>
                  <a:pt x="435464" y="5260887"/>
                  <a:pt x="435464" y="5252501"/>
                </a:cubicBezTo>
                <a:cubicBezTo>
                  <a:pt x="435464" y="5244248"/>
                  <a:pt x="438259" y="5237193"/>
                  <a:pt x="443850" y="5231468"/>
                </a:cubicBezTo>
                <a:cubicBezTo>
                  <a:pt x="449441" y="5225612"/>
                  <a:pt x="456630" y="5222816"/>
                  <a:pt x="465681" y="5222816"/>
                </a:cubicBezTo>
                <a:close/>
                <a:moveTo>
                  <a:pt x="248039" y="5222816"/>
                </a:moveTo>
                <a:cubicBezTo>
                  <a:pt x="252299" y="5222816"/>
                  <a:pt x="256293" y="5223615"/>
                  <a:pt x="259754" y="5225478"/>
                </a:cubicBezTo>
                <a:cubicBezTo>
                  <a:pt x="263481" y="5227076"/>
                  <a:pt x="266543" y="5229206"/>
                  <a:pt x="269072" y="5231868"/>
                </a:cubicBezTo>
                <a:cubicBezTo>
                  <a:pt x="271734" y="5234397"/>
                  <a:pt x="273731" y="5237592"/>
                  <a:pt x="275195" y="5241186"/>
                </a:cubicBezTo>
                <a:cubicBezTo>
                  <a:pt x="276659" y="5244780"/>
                  <a:pt x="277458" y="5248507"/>
                  <a:pt x="277458" y="5252634"/>
                </a:cubicBezTo>
                <a:cubicBezTo>
                  <a:pt x="277458" y="5256761"/>
                  <a:pt x="276659" y="5260754"/>
                  <a:pt x="275195" y="5264349"/>
                </a:cubicBezTo>
                <a:cubicBezTo>
                  <a:pt x="273731" y="5267944"/>
                  <a:pt x="271601" y="5271005"/>
                  <a:pt x="269072" y="5273668"/>
                </a:cubicBezTo>
                <a:cubicBezTo>
                  <a:pt x="266409" y="5276330"/>
                  <a:pt x="263348" y="5278460"/>
                  <a:pt x="259754" y="5279924"/>
                </a:cubicBezTo>
                <a:cubicBezTo>
                  <a:pt x="256159" y="5281388"/>
                  <a:pt x="252299" y="5282187"/>
                  <a:pt x="248039" y="5282187"/>
                </a:cubicBezTo>
                <a:cubicBezTo>
                  <a:pt x="239122" y="5282187"/>
                  <a:pt x="231800" y="5279259"/>
                  <a:pt x="226209" y="5273668"/>
                </a:cubicBezTo>
                <a:cubicBezTo>
                  <a:pt x="220619" y="5268076"/>
                  <a:pt x="217824" y="5260887"/>
                  <a:pt x="217824" y="5252501"/>
                </a:cubicBezTo>
                <a:cubicBezTo>
                  <a:pt x="217824" y="5244248"/>
                  <a:pt x="220619" y="5237193"/>
                  <a:pt x="226209" y="5231468"/>
                </a:cubicBezTo>
                <a:cubicBezTo>
                  <a:pt x="231800" y="5225612"/>
                  <a:pt x="238988" y="5222816"/>
                  <a:pt x="248039" y="5222816"/>
                </a:cubicBezTo>
                <a:close/>
                <a:moveTo>
                  <a:pt x="30398" y="5222816"/>
                </a:moveTo>
                <a:cubicBezTo>
                  <a:pt x="34658" y="5222816"/>
                  <a:pt x="38652" y="5223615"/>
                  <a:pt x="42113" y="5225478"/>
                </a:cubicBezTo>
                <a:cubicBezTo>
                  <a:pt x="45840" y="5227076"/>
                  <a:pt x="48902" y="5229206"/>
                  <a:pt x="51431" y="5231868"/>
                </a:cubicBezTo>
                <a:cubicBezTo>
                  <a:pt x="54093" y="5234397"/>
                  <a:pt x="56090" y="5237592"/>
                  <a:pt x="57554" y="5241186"/>
                </a:cubicBezTo>
                <a:cubicBezTo>
                  <a:pt x="59018" y="5244780"/>
                  <a:pt x="59817" y="5248507"/>
                  <a:pt x="59817" y="5252634"/>
                </a:cubicBezTo>
                <a:cubicBezTo>
                  <a:pt x="59817" y="5256761"/>
                  <a:pt x="59018" y="5260754"/>
                  <a:pt x="57554" y="5264349"/>
                </a:cubicBezTo>
                <a:cubicBezTo>
                  <a:pt x="56090" y="5267944"/>
                  <a:pt x="53960" y="5271005"/>
                  <a:pt x="51431" y="5273668"/>
                </a:cubicBezTo>
                <a:cubicBezTo>
                  <a:pt x="48768" y="5276330"/>
                  <a:pt x="45707" y="5278460"/>
                  <a:pt x="42113" y="5279924"/>
                </a:cubicBezTo>
                <a:cubicBezTo>
                  <a:pt x="38519" y="5281388"/>
                  <a:pt x="34658" y="5282187"/>
                  <a:pt x="30398" y="5282187"/>
                </a:cubicBezTo>
                <a:cubicBezTo>
                  <a:pt x="21479" y="5282187"/>
                  <a:pt x="14159" y="5279259"/>
                  <a:pt x="8570" y="5273668"/>
                </a:cubicBezTo>
                <a:cubicBezTo>
                  <a:pt x="2979" y="5268076"/>
                  <a:pt x="184" y="5260887"/>
                  <a:pt x="184" y="5252501"/>
                </a:cubicBezTo>
                <a:cubicBezTo>
                  <a:pt x="184" y="5244248"/>
                  <a:pt x="2979" y="5237193"/>
                  <a:pt x="8570" y="5231468"/>
                </a:cubicBezTo>
                <a:cubicBezTo>
                  <a:pt x="14159" y="5225612"/>
                  <a:pt x="21345" y="5222816"/>
                  <a:pt x="30398" y="5222816"/>
                </a:cubicBezTo>
                <a:close/>
                <a:moveTo>
                  <a:pt x="10475977" y="5021945"/>
                </a:moveTo>
                <a:cubicBezTo>
                  <a:pt x="10470119" y="5021945"/>
                  <a:pt x="10467589" y="5023941"/>
                  <a:pt x="10465992" y="5025539"/>
                </a:cubicBezTo>
                <a:cubicBezTo>
                  <a:pt x="10463463" y="5028201"/>
                  <a:pt x="10462399" y="5030996"/>
                  <a:pt x="10462399" y="5034990"/>
                </a:cubicBezTo>
                <a:cubicBezTo>
                  <a:pt x="10462399" y="5039117"/>
                  <a:pt x="10463463" y="5041912"/>
                  <a:pt x="10465992" y="5044441"/>
                </a:cubicBezTo>
                <a:cubicBezTo>
                  <a:pt x="10467589" y="5046040"/>
                  <a:pt x="10470119" y="5047903"/>
                  <a:pt x="10475977" y="5047903"/>
                </a:cubicBezTo>
                <a:cubicBezTo>
                  <a:pt x="10478107" y="5047903"/>
                  <a:pt x="10479838" y="5047504"/>
                  <a:pt x="10481302" y="5046971"/>
                </a:cubicBezTo>
                <a:cubicBezTo>
                  <a:pt x="10482899" y="5046439"/>
                  <a:pt x="10484098" y="5045640"/>
                  <a:pt x="10485029" y="5044574"/>
                </a:cubicBezTo>
                <a:cubicBezTo>
                  <a:pt x="10486094" y="5043376"/>
                  <a:pt x="10487026" y="5042045"/>
                  <a:pt x="10487691" y="5040315"/>
                </a:cubicBezTo>
                <a:cubicBezTo>
                  <a:pt x="10488357" y="5038717"/>
                  <a:pt x="10488623" y="5036853"/>
                  <a:pt x="10488623" y="5034857"/>
                </a:cubicBezTo>
                <a:cubicBezTo>
                  <a:pt x="10488623" y="5032993"/>
                  <a:pt x="10488357" y="5031263"/>
                  <a:pt x="10487691" y="5029666"/>
                </a:cubicBezTo>
                <a:cubicBezTo>
                  <a:pt x="10487026" y="5028068"/>
                  <a:pt x="10486094" y="5026737"/>
                  <a:pt x="10485029" y="5025539"/>
                </a:cubicBezTo>
                <a:cubicBezTo>
                  <a:pt x="10483964" y="5024474"/>
                  <a:pt x="10482633" y="5023542"/>
                  <a:pt x="10481035" y="5022876"/>
                </a:cubicBezTo>
                <a:cubicBezTo>
                  <a:pt x="10479571" y="5022211"/>
                  <a:pt x="10477974" y="5021945"/>
                  <a:pt x="10475977" y="5021945"/>
                </a:cubicBezTo>
                <a:close/>
                <a:moveTo>
                  <a:pt x="10258466" y="5021945"/>
                </a:moveTo>
                <a:cubicBezTo>
                  <a:pt x="10252608" y="5021945"/>
                  <a:pt x="10250078" y="5023941"/>
                  <a:pt x="10248481" y="5025539"/>
                </a:cubicBezTo>
                <a:cubicBezTo>
                  <a:pt x="10245952" y="5028201"/>
                  <a:pt x="10244887" y="5030996"/>
                  <a:pt x="10244887" y="5034990"/>
                </a:cubicBezTo>
                <a:cubicBezTo>
                  <a:pt x="10244887" y="5039117"/>
                  <a:pt x="10245952" y="5041912"/>
                  <a:pt x="10248481" y="5044441"/>
                </a:cubicBezTo>
                <a:cubicBezTo>
                  <a:pt x="10250078" y="5046040"/>
                  <a:pt x="10252608" y="5047903"/>
                  <a:pt x="10258466" y="5047903"/>
                </a:cubicBezTo>
                <a:cubicBezTo>
                  <a:pt x="10260462" y="5047903"/>
                  <a:pt x="10262192" y="5047504"/>
                  <a:pt x="10263790" y="5046971"/>
                </a:cubicBezTo>
                <a:cubicBezTo>
                  <a:pt x="10265388" y="5046439"/>
                  <a:pt x="10266586" y="5045640"/>
                  <a:pt x="10267517" y="5044574"/>
                </a:cubicBezTo>
                <a:cubicBezTo>
                  <a:pt x="10268583" y="5043376"/>
                  <a:pt x="10269515" y="5042045"/>
                  <a:pt x="10270180" y="5040315"/>
                </a:cubicBezTo>
                <a:cubicBezTo>
                  <a:pt x="10270845" y="5038717"/>
                  <a:pt x="10271112" y="5036853"/>
                  <a:pt x="10271112" y="5034857"/>
                </a:cubicBezTo>
                <a:cubicBezTo>
                  <a:pt x="10271112" y="5032993"/>
                  <a:pt x="10270845" y="5031263"/>
                  <a:pt x="10270180" y="5029666"/>
                </a:cubicBezTo>
                <a:cubicBezTo>
                  <a:pt x="10269515" y="5028068"/>
                  <a:pt x="10268583" y="5026737"/>
                  <a:pt x="10267517" y="5025539"/>
                </a:cubicBezTo>
                <a:cubicBezTo>
                  <a:pt x="10266452" y="5024474"/>
                  <a:pt x="10265121" y="5023542"/>
                  <a:pt x="10263524" y="5022876"/>
                </a:cubicBezTo>
                <a:cubicBezTo>
                  <a:pt x="10262060" y="5022211"/>
                  <a:pt x="10260462" y="5021945"/>
                  <a:pt x="10258466" y="5021945"/>
                </a:cubicBezTo>
                <a:close/>
                <a:moveTo>
                  <a:pt x="10040820" y="5021945"/>
                </a:moveTo>
                <a:cubicBezTo>
                  <a:pt x="10034962" y="5021945"/>
                  <a:pt x="10032433" y="5023941"/>
                  <a:pt x="10030835" y="5025539"/>
                </a:cubicBezTo>
                <a:cubicBezTo>
                  <a:pt x="10028306" y="5028201"/>
                  <a:pt x="10027242" y="5030996"/>
                  <a:pt x="10027242" y="5034990"/>
                </a:cubicBezTo>
                <a:cubicBezTo>
                  <a:pt x="10027242" y="5039117"/>
                  <a:pt x="10028306" y="5041912"/>
                  <a:pt x="10030835" y="5044441"/>
                </a:cubicBezTo>
                <a:cubicBezTo>
                  <a:pt x="10032433" y="5046040"/>
                  <a:pt x="10034962" y="5047903"/>
                  <a:pt x="10040820" y="5047903"/>
                </a:cubicBezTo>
                <a:cubicBezTo>
                  <a:pt x="10042817" y="5047903"/>
                  <a:pt x="10044681" y="5047504"/>
                  <a:pt x="10046145" y="5046971"/>
                </a:cubicBezTo>
                <a:cubicBezTo>
                  <a:pt x="10047742" y="5046439"/>
                  <a:pt x="10048941" y="5045640"/>
                  <a:pt x="10049872" y="5044574"/>
                </a:cubicBezTo>
                <a:cubicBezTo>
                  <a:pt x="10050937" y="5043376"/>
                  <a:pt x="10051869" y="5042045"/>
                  <a:pt x="10052534" y="5040315"/>
                </a:cubicBezTo>
                <a:cubicBezTo>
                  <a:pt x="10053333" y="5038717"/>
                  <a:pt x="10053599" y="5036853"/>
                  <a:pt x="10053599" y="5034857"/>
                </a:cubicBezTo>
                <a:cubicBezTo>
                  <a:pt x="10053599" y="5032993"/>
                  <a:pt x="10053200" y="5031263"/>
                  <a:pt x="10052534" y="5029666"/>
                </a:cubicBezTo>
                <a:cubicBezTo>
                  <a:pt x="10051869" y="5028068"/>
                  <a:pt x="10050937" y="5026737"/>
                  <a:pt x="10049872" y="5025539"/>
                </a:cubicBezTo>
                <a:cubicBezTo>
                  <a:pt x="10048807" y="5024474"/>
                  <a:pt x="10047476" y="5023542"/>
                  <a:pt x="10045878" y="5022876"/>
                </a:cubicBezTo>
                <a:cubicBezTo>
                  <a:pt x="10044414" y="5022211"/>
                  <a:pt x="10042817" y="5021945"/>
                  <a:pt x="10040820" y="5021945"/>
                </a:cubicBezTo>
                <a:close/>
                <a:moveTo>
                  <a:pt x="9823176" y="5021945"/>
                </a:moveTo>
                <a:cubicBezTo>
                  <a:pt x="9817318" y="5021945"/>
                  <a:pt x="9814788" y="5023941"/>
                  <a:pt x="9813191" y="5025539"/>
                </a:cubicBezTo>
                <a:cubicBezTo>
                  <a:pt x="9810662" y="5028201"/>
                  <a:pt x="9809597" y="5030996"/>
                  <a:pt x="9809597" y="5034990"/>
                </a:cubicBezTo>
                <a:cubicBezTo>
                  <a:pt x="9809597" y="5039117"/>
                  <a:pt x="9810662" y="5041912"/>
                  <a:pt x="9813191" y="5044441"/>
                </a:cubicBezTo>
                <a:cubicBezTo>
                  <a:pt x="9814788" y="5046040"/>
                  <a:pt x="9817318" y="5047903"/>
                  <a:pt x="9823176" y="5047903"/>
                </a:cubicBezTo>
                <a:cubicBezTo>
                  <a:pt x="9825173" y="5047903"/>
                  <a:pt x="9827036" y="5047504"/>
                  <a:pt x="9828501" y="5046971"/>
                </a:cubicBezTo>
                <a:cubicBezTo>
                  <a:pt x="9830098" y="5046439"/>
                  <a:pt x="9831296" y="5045640"/>
                  <a:pt x="9832227" y="5044574"/>
                </a:cubicBezTo>
                <a:cubicBezTo>
                  <a:pt x="9833293" y="5043376"/>
                  <a:pt x="9834225" y="5042045"/>
                  <a:pt x="9834890" y="5040315"/>
                </a:cubicBezTo>
                <a:cubicBezTo>
                  <a:pt x="9835689" y="5038717"/>
                  <a:pt x="9835955" y="5036853"/>
                  <a:pt x="9835955" y="5034857"/>
                </a:cubicBezTo>
                <a:cubicBezTo>
                  <a:pt x="9835955" y="5032993"/>
                  <a:pt x="9835555" y="5031263"/>
                  <a:pt x="9834890" y="5029666"/>
                </a:cubicBezTo>
                <a:cubicBezTo>
                  <a:pt x="9834225" y="5028068"/>
                  <a:pt x="9833293" y="5026737"/>
                  <a:pt x="9832227" y="5025539"/>
                </a:cubicBezTo>
                <a:cubicBezTo>
                  <a:pt x="9831162" y="5024474"/>
                  <a:pt x="9829831" y="5023542"/>
                  <a:pt x="9828234" y="5022876"/>
                </a:cubicBezTo>
                <a:cubicBezTo>
                  <a:pt x="9826770" y="5022211"/>
                  <a:pt x="9825173" y="5021945"/>
                  <a:pt x="9823176" y="5021945"/>
                </a:cubicBezTo>
                <a:close/>
                <a:moveTo>
                  <a:pt x="9605531" y="5021945"/>
                </a:moveTo>
                <a:cubicBezTo>
                  <a:pt x="9599673" y="5021945"/>
                  <a:pt x="9597143" y="5023941"/>
                  <a:pt x="9595546" y="5025539"/>
                </a:cubicBezTo>
                <a:cubicBezTo>
                  <a:pt x="9593017" y="5028201"/>
                  <a:pt x="9591952" y="5030996"/>
                  <a:pt x="9591952" y="5034990"/>
                </a:cubicBezTo>
                <a:cubicBezTo>
                  <a:pt x="9591952" y="5039117"/>
                  <a:pt x="9593017" y="5041912"/>
                  <a:pt x="9595546" y="5044441"/>
                </a:cubicBezTo>
                <a:cubicBezTo>
                  <a:pt x="9597143" y="5046040"/>
                  <a:pt x="9599673" y="5047903"/>
                  <a:pt x="9605531" y="5047903"/>
                </a:cubicBezTo>
                <a:cubicBezTo>
                  <a:pt x="9607660" y="5047903"/>
                  <a:pt x="9609391" y="5047504"/>
                  <a:pt x="9610855" y="5046971"/>
                </a:cubicBezTo>
                <a:cubicBezTo>
                  <a:pt x="9612319" y="5046439"/>
                  <a:pt x="9613651" y="5045640"/>
                  <a:pt x="9614582" y="5044574"/>
                </a:cubicBezTo>
                <a:cubicBezTo>
                  <a:pt x="9615647" y="5043376"/>
                  <a:pt x="9616579" y="5042045"/>
                  <a:pt x="9617245" y="5040315"/>
                </a:cubicBezTo>
                <a:cubicBezTo>
                  <a:pt x="9618044" y="5038717"/>
                  <a:pt x="9618309" y="5036853"/>
                  <a:pt x="9618309" y="5034857"/>
                </a:cubicBezTo>
                <a:cubicBezTo>
                  <a:pt x="9618309" y="5032993"/>
                  <a:pt x="9617910" y="5031263"/>
                  <a:pt x="9617245" y="5029666"/>
                </a:cubicBezTo>
                <a:cubicBezTo>
                  <a:pt x="9616579" y="5028068"/>
                  <a:pt x="9615647" y="5026737"/>
                  <a:pt x="9614582" y="5025539"/>
                </a:cubicBezTo>
                <a:cubicBezTo>
                  <a:pt x="9613517" y="5024474"/>
                  <a:pt x="9612186" y="5023542"/>
                  <a:pt x="9610589" y="5022876"/>
                </a:cubicBezTo>
                <a:cubicBezTo>
                  <a:pt x="9609124" y="5022211"/>
                  <a:pt x="9607394" y="5021945"/>
                  <a:pt x="9605531" y="5021945"/>
                </a:cubicBezTo>
                <a:close/>
                <a:moveTo>
                  <a:pt x="9387885" y="5021945"/>
                </a:moveTo>
                <a:cubicBezTo>
                  <a:pt x="9382027" y="5021945"/>
                  <a:pt x="9379497" y="5023941"/>
                  <a:pt x="9377900" y="5025539"/>
                </a:cubicBezTo>
                <a:cubicBezTo>
                  <a:pt x="9375371" y="5028201"/>
                  <a:pt x="9374307" y="5030996"/>
                  <a:pt x="9374307" y="5034990"/>
                </a:cubicBezTo>
                <a:cubicBezTo>
                  <a:pt x="9374307" y="5039117"/>
                  <a:pt x="9375371" y="5041912"/>
                  <a:pt x="9377900" y="5044441"/>
                </a:cubicBezTo>
                <a:cubicBezTo>
                  <a:pt x="9379497" y="5046040"/>
                  <a:pt x="9382027" y="5047903"/>
                  <a:pt x="9387885" y="5047903"/>
                </a:cubicBezTo>
                <a:cubicBezTo>
                  <a:pt x="9390015" y="5047903"/>
                  <a:pt x="9391746" y="5047504"/>
                  <a:pt x="9393210" y="5046971"/>
                </a:cubicBezTo>
                <a:cubicBezTo>
                  <a:pt x="9394674" y="5046439"/>
                  <a:pt x="9396005" y="5045640"/>
                  <a:pt x="9396937" y="5044574"/>
                </a:cubicBezTo>
                <a:cubicBezTo>
                  <a:pt x="9398002" y="5043376"/>
                  <a:pt x="9398934" y="5042045"/>
                  <a:pt x="9399599" y="5040315"/>
                </a:cubicBezTo>
                <a:cubicBezTo>
                  <a:pt x="9400398" y="5038717"/>
                  <a:pt x="9400664" y="5036853"/>
                  <a:pt x="9400664" y="5034857"/>
                </a:cubicBezTo>
                <a:cubicBezTo>
                  <a:pt x="9400664" y="5032993"/>
                  <a:pt x="9400265" y="5031263"/>
                  <a:pt x="9399599" y="5029666"/>
                </a:cubicBezTo>
                <a:cubicBezTo>
                  <a:pt x="9398934" y="5028068"/>
                  <a:pt x="9398002" y="5026737"/>
                  <a:pt x="9396937" y="5025539"/>
                </a:cubicBezTo>
                <a:cubicBezTo>
                  <a:pt x="9395872" y="5024474"/>
                  <a:pt x="9394541" y="5023542"/>
                  <a:pt x="9392943" y="5022876"/>
                </a:cubicBezTo>
                <a:cubicBezTo>
                  <a:pt x="9391479" y="5022211"/>
                  <a:pt x="9389749" y="5021945"/>
                  <a:pt x="9387885" y="5021945"/>
                </a:cubicBezTo>
                <a:close/>
                <a:moveTo>
                  <a:pt x="9170374" y="5021945"/>
                </a:moveTo>
                <a:cubicBezTo>
                  <a:pt x="9164649" y="5021945"/>
                  <a:pt x="9161986" y="5023941"/>
                  <a:pt x="9160389" y="5025539"/>
                </a:cubicBezTo>
                <a:cubicBezTo>
                  <a:pt x="9157860" y="5028201"/>
                  <a:pt x="9156795" y="5030996"/>
                  <a:pt x="9156795" y="5034990"/>
                </a:cubicBezTo>
                <a:cubicBezTo>
                  <a:pt x="9156795" y="5039117"/>
                  <a:pt x="9157860" y="5041912"/>
                  <a:pt x="9160389" y="5044441"/>
                </a:cubicBezTo>
                <a:cubicBezTo>
                  <a:pt x="9161986" y="5046040"/>
                  <a:pt x="9164516" y="5047903"/>
                  <a:pt x="9170374" y="5047903"/>
                </a:cubicBezTo>
                <a:cubicBezTo>
                  <a:pt x="9172370" y="5047903"/>
                  <a:pt x="9174100" y="5047504"/>
                  <a:pt x="9175698" y="5046971"/>
                </a:cubicBezTo>
                <a:cubicBezTo>
                  <a:pt x="9177163" y="5046439"/>
                  <a:pt x="9178494" y="5045640"/>
                  <a:pt x="9179425" y="5044574"/>
                </a:cubicBezTo>
                <a:cubicBezTo>
                  <a:pt x="9180491" y="5043376"/>
                  <a:pt x="9181422" y="5042045"/>
                  <a:pt x="9182088" y="5040315"/>
                </a:cubicBezTo>
                <a:cubicBezTo>
                  <a:pt x="9182887" y="5038717"/>
                  <a:pt x="9183152" y="5036853"/>
                  <a:pt x="9183152" y="5034857"/>
                </a:cubicBezTo>
                <a:cubicBezTo>
                  <a:pt x="9183152" y="5032993"/>
                  <a:pt x="9182753" y="5031263"/>
                  <a:pt x="9182088" y="5029666"/>
                </a:cubicBezTo>
                <a:cubicBezTo>
                  <a:pt x="9181422" y="5028068"/>
                  <a:pt x="9180491" y="5026737"/>
                  <a:pt x="9179425" y="5025539"/>
                </a:cubicBezTo>
                <a:cubicBezTo>
                  <a:pt x="9178360" y="5024474"/>
                  <a:pt x="9177029" y="5023542"/>
                  <a:pt x="9175432" y="5022876"/>
                </a:cubicBezTo>
                <a:cubicBezTo>
                  <a:pt x="9173967" y="5022211"/>
                  <a:pt x="9172237" y="5021945"/>
                  <a:pt x="9170374" y="5021945"/>
                </a:cubicBezTo>
                <a:close/>
                <a:moveTo>
                  <a:pt x="8952728" y="5021945"/>
                </a:moveTo>
                <a:cubicBezTo>
                  <a:pt x="8947003" y="5021945"/>
                  <a:pt x="8944340" y="5023941"/>
                  <a:pt x="8942743" y="5025539"/>
                </a:cubicBezTo>
                <a:cubicBezTo>
                  <a:pt x="8940214" y="5028201"/>
                  <a:pt x="8939150" y="5030996"/>
                  <a:pt x="8939150" y="5034990"/>
                </a:cubicBezTo>
                <a:cubicBezTo>
                  <a:pt x="8939150" y="5039117"/>
                  <a:pt x="8940214" y="5041912"/>
                  <a:pt x="8942743" y="5044441"/>
                </a:cubicBezTo>
                <a:cubicBezTo>
                  <a:pt x="8944340" y="5046040"/>
                  <a:pt x="8946870" y="5047903"/>
                  <a:pt x="8952728" y="5047903"/>
                </a:cubicBezTo>
                <a:cubicBezTo>
                  <a:pt x="8954725" y="5047903"/>
                  <a:pt x="8956589" y="5047504"/>
                  <a:pt x="8958053" y="5046971"/>
                </a:cubicBezTo>
                <a:cubicBezTo>
                  <a:pt x="8959517" y="5046439"/>
                  <a:pt x="8960849" y="5045640"/>
                  <a:pt x="8961780" y="5044574"/>
                </a:cubicBezTo>
                <a:cubicBezTo>
                  <a:pt x="8962845" y="5043376"/>
                  <a:pt x="8963777" y="5042045"/>
                  <a:pt x="8964442" y="5040315"/>
                </a:cubicBezTo>
                <a:cubicBezTo>
                  <a:pt x="8965241" y="5038717"/>
                  <a:pt x="8965507" y="5036853"/>
                  <a:pt x="8965507" y="5034857"/>
                </a:cubicBezTo>
                <a:cubicBezTo>
                  <a:pt x="8965507" y="5032993"/>
                  <a:pt x="8965108" y="5031263"/>
                  <a:pt x="8964442" y="5029666"/>
                </a:cubicBezTo>
                <a:cubicBezTo>
                  <a:pt x="8963777" y="5028068"/>
                  <a:pt x="8962845" y="5026737"/>
                  <a:pt x="8961780" y="5025539"/>
                </a:cubicBezTo>
                <a:cubicBezTo>
                  <a:pt x="8960715" y="5024474"/>
                  <a:pt x="8959384" y="5023542"/>
                  <a:pt x="8957786" y="5022876"/>
                </a:cubicBezTo>
                <a:cubicBezTo>
                  <a:pt x="8956322" y="5022211"/>
                  <a:pt x="8954592" y="5021945"/>
                  <a:pt x="8952728" y="5021945"/>
                </a:cubicBezTo>
                <a:close/>
                <a:moveTo>
                  <a:pt x="8735083" y="5021945"/>
                </a:moveTo>
                <a:cubicBezTo>
                  <a:pt x="8729358" y="5021945"/>
                  <a:pt x="8726695" y="5023941"/>
                  <a:pt x="8725098" y="5025539"/>
                </a:cubicBezTo>
                <a:cubicBezTo>
                  <a:pt x="8722569" y="5028201"/>
                  <a:pt x="8721504" y="5030996"/>
                  <a:pt x="8721504" y="5034990"/>
                </a:cubicBezTo>
                <a:cubicBezTo>
                  <a:pt x="8721504" y="5039117"/>
                  <a:pt x="8722569" y="5041912"/>
                  <a:pt x="8725098" y="5044441"/>
                </a:cubicBezTo>
                <a:cubicBezTo>
                  <a:pt x="8726695" y="5046040"/>
                  <a:pt x="8729225" y="5047903"/>
                  <a:pt x="8735083" y="5047903"/>
                </a:cubicBezTo>
                <a:cubicBezTo>
                  <a:pt x="8737079" y="5047903"/>
                  <a:pt x="8738943" y="5047504"/>
                  <a:pt x="8740407" y="5046971"/>
                </a:cubicBezTo>
                <a:cubicBezTo>
                  <a:pt x="8741872" y="5046439"/>
                  <a:pt x="8743203" y="5045640"/>
                  <a:pt x="8744134" y="5044574"/>
                </a:cubicBezTo>
                <a:cubicBezTo>
                  <a:pt x="8745200" y="5043376"/>
                  <a:pt x="8746132" y="5042045"/>
                  <a:pt x="8746797" y="5040315"/>
                </a:cubicBezTo>
                <a:cubicBezTo>
                  <a:pt x="8747596" y="5038717"/>
                  <a:pt x="8747862" y="5036853"/>
                  <a:pt x="8747862" y="5034857"/>
                </a:cubicBezTo>
                <a:cubicBezTo>
                  <a:pt x="8747862" y="5032993"/>
                  <a:pt x="8747462" y="5031263"/>
                  <a:pt x="8746797" y="5029666"/>
                </a:cubicBezTo>
                <a:cubicBezTo>
                  <a:pt x="8746132" y="5028068"/>
                  <a:pt x="8745200" y="5026737"/>
                  <a:pt x="8744134" y="5025539"/>
                </a:cubicBezTo>
                <a:cubicBezTo>
                  <a:pt x="8743069" y="5024474"/>
                  <a:pt x="8741738" y="5023542"/>
                  <a:pt x="8740141" y="5022876"/>
                </a:cubicBezTo>
                <a:cubicBezTo>
                  <a:pt x="8738677" y="5022211"/>
                  <a:pt x="8736946" y="5021945"/>
                  <a:pt x="8735083" y="5021945"/>
                </a:cubicBezTo>
                <a:close/>
                <a:moveTo>
                  <a:pt x="8517438" y="5021945"/>
                </a:moveTo>
                <a:cubicBezTo>
                  <a:pt x="8511713" y="5021945"/>
                  <a:pt x="8509051" y="5023941"/>
                  <a:pt x="8507453" y="5025539"/>
                </a:cubicBezTo>
                <a:cubicBezTo>
                  <a:pt x="8504925" y="5028201"/>
                  <a:pt x="8503860" y="5030996"/>
                  <a:pt x="8503860" y="5034990"/>
                </a:cubicBezTo>
                <a:cubicBezTo>
                  <a:pt x="8503860" y="5039117"/>
                  <a:pt x="8504925" y="5041912"/>
                  <a:pt x="8507453" y="5044441"/>
                </a:cubicBezTo>
                <a:cubicBezTo>
                  <a:pt x="8509051" y="5046040"/>
                  <a:pt x="8511581" y="5047903"/>
                  <a:pt x="8517438" y="5047903"/>
                </a:cubicBezTo>
                <a:cubicBezTo>
                  <a:pt x="8519568" y="5047903"/>
                  <a:pt x="8521299" y="5047504"/>
                  <a:pt x="8522763" y="5046971"/>
                </a:cubicBezTo>
                <a:cubicBezTo>
                  <a:pt x="8524227" y="5046439"/>
                  <a:pt x="8525559" y="5045640"/>
                  <a:pt x="8526490" y="5044574"/>
                </a:cubicBezTo>
                <a:cubicBezTo>
                  <a:pt x="8527555" y="5043376"/>
                  <a:pt x="8528487" y="5042045"/>
                  <a:pt x="8529152" y="5040315"/>
                </a:cubicBezTo>
                <a:cubicBezTo>
                  <a:pt x="8529818" y="5038717"/>
                  <a:pt x="8530084" y="5036853"/>
                  <a:pt x="8530084" y="5034857"/>
                </a:cubicBezTo>
                <a:cubicBezTo>
                  <a:pt x="8530084" y="5032993"/>
                  <a:pt x="8529818" y="5031263"/>
                  <a:pt x="8529152" y="5029666"/>
                </a:cubicBezTo>
                <a:cubicBezTo>
                  <a:pt x="8528487" y="5028068"/>
                  <a:pt x="8527555" y="5026737"/>
                  <a:pt x="8526490" y="5025539"/>
                </a:cubicBezTo>
                <a:cubicBezTo>
                  <a:pt x="8525425" y="5024474"/>
                  <a:pt x="8524094" y="5023542"/>
                  <a:pt x="8522496" y="5022876"/>
                </a:cubicBezTo>
                <a:cubicBezTo>
                  <a:pt x="8521032" y="5022211"/>
                  <a:pt x="8519302" y="5021945"/>
                  <a:pt x="8517438" y="5021945"/>
                </a:cubicBezTo>
                <a:close/>
                <a:moveTo>
                  <a:pt x="8299793" y="5021945"/>
                </a:moveTo>
                <a:cubicBezTo>
                  <a:pt x="8294068" y="5021945"/>
                  <a:pt x="8291406" y="5023941"/>
                  <a:pt x="8289809" y="5025539"/>
                </a:cubicBezTo>
                <a:cubicBezTo>
                  <a:pt x="8287280" y="5028201"/>
                  <a:pt x="8286215" y="5030996"/>
                  <a:pt x="8286215" y="5034990"/>
                </a:cubicBezTo>
                <a:cubicBezTo>
                  <a:pt x="8286215" y="5039117"/>
                  <a:pt x="8287280" y="5041912"/>
                  <a:pt x="8289809" y="5044441"/>
                </a:cubicBezTo>
                <a:cubicBezTo>
                  <a:pt x="8291406" y="5046040"/>
                  <a:pt x="8293935" y="5047903"/>
                  <a:pt x="8299793" y="5047903"/>
                </a:cubicBezTo>
                <a:cubicBezTo>
                  <a:pt x="8301923" y="5047903"/>
                  <a:pt x="8303653" y="5047504"/>
                  <a:pt x="8305118" y="5046971"/>
                </a:cubicBezTo>
                <a:cubicBezTo>
                  <a:pt x="8306582" y="5046439"/>
                  <a:pt x="8307913" y="5045640"/>
                  <a:pt x="8308844" y="5044574"/>
                </a:cubicBezTo>
                <a:cubicBezTo>
                  <a:pt x="8309910" y="5043376"/>
                  <a:pt x="8310842" y="5042045"/>
                  <a:pt x="8311507" y="5040315"/>
                </a:cubicBezTo>
                <a:cubicBezTo>
                  <a:pt x="8312172" y="5038717"/>
                  <a:pt x="8312439" y="5036853"/>
                  <a:pt x="8312439" y="5034857"/>
                </a:cubicBezTo>
                <a:cubicBezTo>
                  <a:pt x="8312439" y="5032993"/>
                  <a:pt x="8312172" y="5031263"/>
                  <a:pt x="8311507" y="5029666"/>
                </a:cubicBezTo>
                <a:cubicBezTo>
                  <a:pt x="8310842" y="5028068"/>
                  <a:pt x="8309910" y="5026737"/>
                  <a:pt x="8308844" y="5025539"/>
                </a:cubicBezTo>
                <a:cubicBezTo>
                  <a:pt x="8307779" y="5024474"/>
                  <a:pt x="8306448" y="5023542"/>
                  <a:pt x="8304851" y="5022876"/>
                </a:cubicBezTo>
                <a:cubicBezTo>
                  <a:pt x="8303387" y="5022211"/>
                  <a:pt x="8301790" y="5021945"/>
                  <a:pt x="8299793" y="5021945"/>
                </a:cubicBezTo>
                <a:close/>
                <a:moveTo>
                  <a:pt x="8082281" y="5021945"/>
                </a:moveTo>
                <a:cubicBezTo>
                  <a:pt x="8076424" y="5021945"/>
                  <a:pt x="8073894" y="5023941"/>
                  <a:pt x="8072297" y="5025539"/>
                </a:cubicBezTo>
                <a:cubicBezTo>
                  <a:pt x="8069768" y="5028201"/>
                  <a:pt x="8068703" y="5030996"/>
                  <a:pt x="8068703" y="5034990"/>
                </a:cubicBezTo>
                <a:cubicBezTo>
                  <a:pt x="8068703" y="5039117"/>
                  <a:pt x="8069768" y="5041912"/>
                  <a:pt x="8072297" y="5044441"/>
                </a:cubicBezTo>
                <a:cubicBezTo>
                  <a:pt x="8073894" y="5046040"/>
                  <a:pt x="8076424" y="5047903"/>
                  <a:pt x="8082281" y="5047903"/>
                </a:cubicBezTo>
                <a:cubicBezTo>
                  <a:pt x="8084277" y="5047903"/>
                  <a:pt x="8086007" y="5047504"/>
                  <a:pt x="8087605" y="5046971"/>
                </a:cubicBezTo>
                <a:cubicBezTo>
                  <a:pt x="8089069" y="5046439"/>
                  <a:pt x="8090401" y="5045640"/>
                  <a:pt x="8091332" y="5044574"/>
                </a:cubicBezTo>
                <a:cubicBezTo>
                  <a:pt x="8092397" y="5043376"/>
                  <a:pt x="8093329" y="5042045"/>
                  <a:pt x="8093994" y="5040315"/>
                </a:cubicBezTo>
                <a:cubicBezTo>
                  <a:pt x="8094660" y="5038717"/>
                  <a:pt x="8094926" y="5036853"/>
                  <a:pt x="8094926" y="5034857"/>
                </a:cubicBezTo>
                <a:cubicBezTo>
                  <a:pt x="8094926" y="5032993"/>
                  <a:pt x="8094660" y="5031263"/>
                  <a:pt x="8093994" y="5029666"/>
                </a:cubicBezTo>
                <a:cubicBezTo>
                  <a:pt x="8093329" y="5028068"/>
                  <a:pt x="8092397" y="5026737"/>
                  <a:pt x="8091332" y="5025539"/>
                </a:cubicBezTo>
                <a:cubicBezTo>
                  <a:pt x="8090267" y="5024474"/>
                  <a:pt x="8088936" y="5023542"/>
                  <a:pt x="8087338" y="5022876"/>
                </a:cubicBezTo>
                <a:cubicBezTo>
                  <a:pt x="8085874" y="5022211"/>
                  <a:pt x="8084277" y="5021945"/>
                  <a:pt x="8082281" y="5021945"/>
                </a:cubicBezTo>
                <a:close/>
                <a:moveTo>
                  <a:pt x="7864636" y="5021945"/>
                </a:moveTo>
                <a:cubicBezTo>
                  <a:pt x="7858779" y="5021945"/>
                  <a:pt x="7856249" y="5023941"/>
                  <a:pt x="7854652" y="5025539"/>
                </a:cubicBezTo>
                <a:cubicBezTo>
                  <a:pt x="7852123" y="5028201"/>
                  <a:pt x="7851058" y="5030996"/>
                  <a:pt x="7851058" y="5034990"/>
                </a:cubicBezTo>
                <a:cubicBezTo>
                  <a:pt x="7851058" y="5039117"/>
                  <a:pt x="7852123" y="5041912"/>
                  <a:pt x="7854652" y="5044441"/>
                </a:cubicBezTo>
                <a:cubicBezTo>
                  <a:pt x="7856249" y="5046040"/>
                  <a:pt x="7858779" y="5047903"/>
                  <a:pt x="7864636" y="5047903"/>
                </a:cubicBezTo>
                <a:cubicBezTo>
                  <a:pt x="7866633" y="5047903"/>
                  <a:pt x="7868363" y="5047504"/>
                  <a:pt x="7869961" y="5046971"/>
                </a:cubicBezTo>
                <a:cubicBezTo>
                  <a:pt x="7871425" y="5046439"/>
                  <a:pt x="7872756" y="5045640"/>
                  <a:pt x="7873687" y="5044574"/>
                </a:cubicBezTo>
                <a:cubicBezTo>
                  <a:pt x="7874753" y="5043376"/>
                  <a:pt x="7875685" y="5042045"/>
                  <a:pt x="7876350" y="5040315"/>
                </a:cubicBezTo>
                <a:cubicBezTo>
                  <a:pt x="7877015" y="5038717"/>
                  <a:pt x="7877282" y="5036853"/>
                  <a:pt x="7877282" y="5034857"/>
                </a:cubicBezTo>
                <a:cubicBezTo>
                  <a:pt x="7877282" y="5032993"/>
                  <a:pt x="7877015" y="5031263"/>
                  <a:pt x="7876350" y="5029666"/>
                </a:cubicBezTo>
                <a:cubicBezTo>
                  <a:pt x="7875685" y="5028068"/>
                  <a:pt x="7874753" y="5026737"/>
                  <a:pt x="7873687" y="5025539"/>
                </a:cubicBezTo>
                <a:cubicBezTo>
                  <a:pt x="7872623" y="5024474"/>
                  <a:pt x="7871291" y="5023542"/>
                  <a:pt x="7869694" y="5022876"/>
                </a:cubicBezTo>
                <a:cubicBezTo>
                  <a:pt x="7868230" y="5022211"/>
                  <a:pt x="7866633" y="5021945"/>
                  <a:pt x="7864636" y="5021945"/>
                </a:cubicBezTo>
                <a:close/>
                <a:moveTo>
                  <a:pt x="7646991" y="5021945"/>
                </a:moveTo>
                <a:cubicBezTo>
                  <a:pt x="7641134" y="5021945"/>
                  <a:pt x="7638604" y="5023941"/>
                  <a:pt x="7637007" y="5025539"/>
                </a:cubicBezTo>
                <a:cubicBezTo>
                  <a:pt x="7634478" y="5028201"/>
                  <a:pt x="7633413" y="5030996"/>
                  <a:pt x="7633413" y="5034990"/>
                </a:cubicBezTo>
                <a:cubicBezTo>
                  <a:pt x="7633413" y="5039117"/>
                  <a:pt x="7634478" y="5041912"/>
                  <a:pt x="7637007" y="5044441"/>
                </a:cubicBezTo>
                <a:cubicBezTo>
                  <a:pt x="7638604" y="5046040"/>
                  <a:pt x="7641134" y="5047903"/>
                  <a:pt x="7646991" y="5047903"/>
                </a:cubicBezTo>
                <a:cubicBezTo>
                  <a:pt x="7648987" y="5047903"/>
                  <a:pt x="7650851" y="5047504"/>
                  <a:pt x="7652315" y="5046971"/>
                </a:cubicBezTo>
                <a:cubicBezTo>
                  <a:pt x="7653780" y="5046439"/>
                  <a:pt x="7655111" y="5045640"/>
                  <a:pt x="7656042" y="5044574"/>
                </a:cubicBezTo>
                <a:cubicBezTo>
                  <a:pt x="7657108" y="5043376"/>
                  <a:pt x="7658039" y="5042045"/>
                  <a:pt x="7658705" y="5040315"/>
                </a:cubicBezTo>
                <a:cubicBezTo>
                  <a:pt x="7659504" y="5038717"/>
                  <a:pt x="7659769" y="5036853"/>
                  <a:pt x="7659769" y="5034857"/>
                </a:cubicBezTo>
                <a:cubicBezTo>
                  <a:pt x="7659769" y="5032993"/>
                  <a:pt x="7659370" y="5031263"/>
                  <a:pt x="7658705" y="5029666"/>
                </a:cubicBezTo>
                <a:cubicBezTo>
                  <a:pt x="7658039" y="5028068"/>
                  <a:pt x="7657108" y="5026737"/>
                  <a:pt x="7656042" y="5025539"/>
                </a:cubicBezTo>
                <a:cubicBezTo>
                  <a:pt x="7654977" y="5024474"/>
                  <a:pt x="7653646" y="5023542"/>
                  <a:pt x="7652049" y="5022876"/>
                </a:cubicBezTo>
                <a:cubicBezTo>
                  <a:pt x="7650584" y="5022211"/>
                  <a:pt x="7648987" y="5021945"/>
                  <a:pt x="7646991" y="5021945"/>
                </a:cubicBezTo>
                <a:close/>
                <a:moveTo>
                  <a:pt x="7429345" y="5021945"/>
                </a:moveTo>
                <a:cubicBezTo>
                  <a:pt x="7423488" y="5021945"/>
                  <a:pt x="7420958" y="5023941"/>
                  <a:pt x="7419361" y="5025539"/>
                </a:cubicBezTo>
                <a:cubicBezTo>
                  <a:pt x="7416832" y="5028201"/>
                  <a:pt x="7415768" y="5030996"/>
                  <a:pt x="7415768" y="5034990"/>
                </a:cubicBezTo>
                <a:cubicBezTo>
                  <a:pt x="7415768" y="5039117"/>
                  <a:pt x="7416832" y="5041912"/>
                  <a:pt x="7419361" y="5044441"/>
                </a:cubicBezTo>
                <a:cubicBezTo>
                  <a:pt x="7420958" y="5046040"/>
                  <a:pt x="7423488" y="5047903"/>
                  <a:pt x="7429345" y="5047903"/>
                </a:cubicBezTo>
                <a:cubicBezTo>
                  <a:pt x="7431342" y="5047903"/>
                  <a:pt x="7433206" y="5047504"/>
                  <a:pt x="7434670" y="5046971"/>
                </a:cubicBezTo>
                <a:cubicBezTo>
                  <a:pt x="7436134" y="5046439"/>
                  <a:pt x="7437466" y="5045640"/>
                  <a:pt x="7438397" y="5044574"/>
                </a:cubicBezTo>
                <a:cubicBezTo>
                  <a:pt x="7439462" y="5043376"/>
                  <a:pt x="7440394" y="5042045"/>
                  <a:pt x="7441059" y="5040315"/>
                </a:cubicBezTo>
                <a:cubicBezTo>
                  <a:pt x="7441858" y="5038717"/>
                  <a:pt x="7442124" y="5036853"/>
                  <a:pt x="7442124" y="5034857"/>
                </a:cubicBezTo>
                <a:cubicBezTo>
                  <a:pt x="7442124" y="5032993"/>
                  <a:pt x="7441725" y="5031263"/>
                  <a:pt x="7441059" y="5029666"/>
                </a:cubicBezTo>
                <a:cubicBezTo>
                  <a:pt x="7440394" y="5028068"/>
                  <a:pt x="7439462" y="5026737"/>
                  <a:pt x="7438397" y="5025539"/>
                </a:cubicBezTo>
                <a:cubicBezTo>
                  <a:pt x="7437332" y="5024474"/>
                  <a:pt x="7436001" y="5023542"/>
                  <a:pt x="7434403" y="5022876"/>
                </a:cubicBezTo>
                <a:cubicBezTo>
                  <a:pt x="7432939" y="5022211"/>
                  <a:pt x="7431342" y="5021945"/>
                  <a:pt x="7429345" y="5021945"/>
                </a:cubicBezTo>
                <a:close/>
                <a:moveTo>
                  <a:pt x="7211701" y="5021945"/>
                </a:moveTo>
                <a:cubicBezTo>
                  <a:pt x="7205844" y="5021945"/>
                  <a:pt x="7203314" y="5023941"/>
                  <a:pt x="7201717" y="5025539"/>
                </a:cubicBezTo>
                <a:cubicBezTo>
                  <a:pt x="7199188" y="5028201"/>
                  <a:pt x="7198123" y="5030996"/>
                  <a:pt x="7198123" y="5034990"/>
                </a:cubicBezTo>
                <a:cubicBezTo>
                  <a:pt x="7198123" y="5039117"/>
                  <a:pt x="7199188" y="5041912"/>
                  <a:pt x="7201717" y="5044441"/>
                </a:cubicBezTo>
                <a:cubicBezTo>
                  <a:pt x="7203314" y="5046040"/>
                  <a:pt x="7205844" y="5047903"/>
                  <a:pt x="7211701" y="5047903"/>
                </a:cubicBezTo>
                <a:cubicBezTo>
                  <a:pt x="7213830" y="5047903"/>
                  <a:pt x="7215561" y="5047504"/>
                  <a:pt x="7217026" y="5046971"/>
                </a:cubicBezTo>
                <a:cubicBezTo>
                  <a:pt x="7218490" y="5046439"/>
                  <a:pt x="7219821" y="5045640"/>
                  <a:pt x="7220752" y="5044574"/>
                </a:cubicBezTo>
                <a:cubicBezTo>
                  <a:pt x="7221818" y="5043376"/>
                  <a:pt x="7222750" y="5042045"/>
                  <a:pt x="7223415" y="5040315"/>
                </a:cubicBezTo>
                <a:cubicBezTo>
                  <a:pt x="7224214" y="5038717"/>
                  <a:pt x="7224480" y="5036853"/>
                  <a:pt x="7224480" y="5034857"/>
                </a:cubicBezTo>
                <a:cubicBezTo>
                  <a:pt x="7224480" y="5032993"/>
                  <a:pt x="7224080" y="5031263"/>
                  <a:pt x="7223415" y="5029666"/>
                </a:cubicBezTo>
                <a:cubicBezTo>
                  <a:pt x="7222750" y="5028068"/>
                  <a:pt x="7221818" y="5026737"/>
                  <a:pt x="7220752" y="5025539"/>
                </a:cubicBezTo>
                <a:cubicBezTo>
                  <a:pt x="7219687" y="5024474"/>
                  <a:pt x="7218356" y="5023542"/>
                  <a:pt x="7216759" y="5022876"/>
                </a:cubicBezTo>
                <a:cubicBezTo>
                  <a:pt x="7215295" y="5022211"/>
                  <a:pt x="7213698" y="5021945"/>
                  <a:pt x="7211701" y="5021945"/>
                </a:cubicBezTo>
                <a:close/>
                <a:moveTo>
                  <a:pt x="6994056" y="5021945"/>
                </a:moveTo>
                <a:cubicBezTo>
                  <a:pt x="6988199" y="5021945"/>
                  <a:pt x="6985669" y="5023941"/>
                  <a:pt x="6984072" y="5025539"/>
                </a:cubicBezTo>
                <a:cubicBezTo>
                  <a:pt x="6981543" y="5028201"/>
                  <a:pt x="6980478" y="5030996"/>
                  <a:pt x="6980478" y="5034990"/>
                </a:cubicBezTo>
                <a:cubicBezTo>
                  <a:pt x="6980478" y="5039117"/>
                  <a:pt x="6981543" y="5041912"/>
                  <a:pt x="6984072" y="5044441"/>
                </a:cubicBezTo>
                <a:cubicBezTo>
                  <a:pt x="6985669" y="5046040"/>
                  <a:pt x="6988199" y="5047903"/>
                  <a:pt x="6994056" y="5047903"/>
                </a:cubicBezTo>
                <a:cubicBezTo>
                  <a:pt x="6996185" y="5047903"/>
                  <a:pt x="6997916" y="5047504"/>
                  <a:pt x="6999380" y="5046971"/>
                </a:cubicBezTo>
                <a:cubicBezTo>
                  <a:pt x="7000844" y="5046439"/>
                  <a:pt x="7002176" y="5045640"/>
                  <a:pt x="7003107" y="5044574"/>
                </a:cubicBezTo>
                <a:cubicBezTo>
                  <a:pt x="7004172" y="5043376"/>
                  <a:pt x="7005104" y="5042045"/>
                  <a:pt x="7005769" y="5040315"/>
                </a:cubicBezTo>
                <a:cubicBezTo>
                  <a:pt x="7006568" y="5038717"/>
                  <a:pt x="7006834" y="5036853"/>
                  <a:pt x="7006834" y="5034857"/>
                </a:cubicBezTo>
                <a:cubicBezTo>
                  <a:pt x="7006834" y="5032993"/>
                  <a:pt x="7006435" y="5031263"/>
                  <a:pt x="7005769" y="5029666"/>
                </a:cubicBezTo>
                <a:cubicBezTo>
                  <a:pt x="7005104" y="5028068"/>
                  <a:pt x="7004172" y="5026737"/>
                  <a:pt x="7003107" y="5025539"/>
                </a:cubicBezTo>
                <a:cubicBezTo>
                  <a:pt x="7002042" y="5024474"/>
                  <a:pt x="7000711" y="5023542"/>
                  <a:pt x="6999113" y="5022876"/>
                </a:cubicBezTo>
                <a:cubicBezTo>
                  <a:pt x="6997649" y="5022211"/>
                  <a:pt x="6996052" y="5021945"/>
                  <a:pt x="6994056" y="5021945"/>
                </a:cubicBezTo>
                <a:close/>
                <a:moveTo>
                  <a:pt x="6776544" y="5021945"/>
                </a:moveTo>
                <a:cubicBezTo>
                  <a:pt x="6770687" y="5021945"/>
                  <a:pt x="6768157" y="5023941"/>
                  <a:pt x="6766560" y="5025539"/>
                </a:cubicBezTo>
                <a:cubicBezTo>
                  <a:pt x="6764031" y="5028201"/>
                  <a:pt x="6762966" y="5030996"/>
                  <a:pt x="6762966" y="5034990"/>
                </a:cubicBezTo>
                <a:cubicBezTo>
                  <a:pt x="6762966" y="5039117"/>
                  <a:pt x="6764031" y="5041912"/>
                  <a:pt x="6766560" y="5044441"/>
                </a:cubicBezTo>
                <a:cubicBezTo>
                  <a:pt x="6768157" y="5046040"/>
                  <a:pt x="6770687" y="5047903"/>
                  <a:pt x="6776544" y="5047903"/>
                </a:cubicBezTo>
                <a:cubicBezTo>
                  <a:pt x="6778541" y="5047903"/>
                  <a:pt x="6780270" y="5047504"/>
                  <a:pt x="6781869" y="5046971"/>
                </a:cubicBezTo>
                <a:cubicBezTo>
                  <a:pt x="6783333" y="5046439"/>
                  <a:pt x="6784664" y="5045640"/>
                  <a:pt x="6785595" y="5044574"/>
                </a:cubicBezTo>
                <a:cubicBezTo>
                  <a:pt x="6786661" y="5043376"/>
                  <a:pt x="6787593" y="5042045"/>
                  <a:pt x="6788258" y="5040315"/>
                </a:cubicBezTo>
                <a:cubicBezTo>
                  <a:pt x="6789057" y="5038717"/>
                  <a:pt x="6789323" y="5036853"/>
                  <a:pt x="6789323" y="5034857"/>
                </a:cubicBezTo>
                <a:cubicBezTo>
                  <a:pt x="6789323" y="5032993"/>
                  <a:pt x="6788923" y="5031263"/>
                  <a:pt x="6788258" y="5029666"/>
                </a:cubicBezTo>
                <a:cubicBezTo>
                  <a:pt x="6787593" y="5028068"/>
                  <a:pt x="6786661" y="5026737"/>
                  <a:pt x="6785595" y="5025539"/>
                </a:cubicBezTo>
                <a:cubicBezTo>
                  <a:pt x="6784530" y="5024474"/>
                  <a:pt x="6783199" y="5023542"/>
                  <a:pt x="6781602" y="5022876"/>
                </a:cubicBezTo>
                <a:cubicBezTo>
                  <a:pt x="6780138" y="5022211"/>
                  <a:pt x="6778541" y="5021945"/>
                  <a:pt x="6776544" y="5021945"/>
                </a:cubicBezTo>
                <a:close/>
                <a:moveTo>
                  <a:pt x="6558899" y="5021945"/>
                </a:moveTo>
                <a:cubicBezTo>
                  <a:pt x="6553042" y="5021945"/>
                  <a:pt x="6550512" y="5023941"/>
                  <a:pt x="6548915" y="5025539"/>
                </a:cubicBezTo>
                <a:cubicBezTo>
                  <a:pt x="6546386" y="5028201"/>
                  <a:pt x="6545321" y="5030996"/>
                  <a:pt x="6545321" y="5034990"/>
                </a:cubicBezTo>
                <a:cubicBezTo>
                  <a:pt x="6545321" y="5039117"/>
                  <a:pt x="6546386" y="5041912"/>
                  <a:pt x="6548915" y="5044441"/>
                </a:cubicBezTo>
                <a:cubicBezTo>
                  <a:pt x="6550512" y="5046040"/>
                  <a:pt x="6553042" y="5047903"/>
                  <a:pt x="6558899" y="5047903"/>
                </a:cubicBezTo>
                <a:cubicBezTo>
                  <a:pt x="6560895" y="5047903"/>
                  <a:pt x="6562759" y="5047504"/>
                  <a:pt x="6564223" y="5046971"/>
                </a:cubicBezTo>
                <a:cubicBezTo>
                  <a:pt x="6565687" y="5046439"/>
                  <a:pt x="6567019" y="5045640"/>
                  <a:pt x="6567950" y="5044574"/>
                </a:cubicBezTo>
                <a:cubicBezTo>
                  <a:pt x="6569015" y="5043376"/>
                  <a:pt x="6569947" y="5042045"/>
                  <a:pt x="6570612" y="5040315"/>
                </a:cubicBezTo>
                <a:cubicBezTo>
                  <a:pt x="6571412" y="5038717"/>
                  <a:pt x="6571677" y="5036853"/>
                  <a:pt x="6571677" y="5034857"/>
                </a:cubicBezTo>
                <a:cubicBezTo>
                  <a:pt x="6571677" y="5032993"/>
                  <a:pt x="6571278" y="5031263"/>
                  <a:pt x="6570612" y="5029666"/>
                </a:cubicBezTo>
                <a:cubicBezTo>
                  <a:pt x="6569947" y="5028068"/>
                  <a:pt x="6569015" y="5026737"/>
                  <a:pt x="6567950" y="5025539"/>
                </a:cubicBezTo>
                <a:cubicBezTo>
                  <a:pt x="6566885" y="5024474"/>
                  <a:pt x="6565554" y="5023542"/>
                  <a:pt x="6563956" y="5022876"/>
                </a:cubicBezTo>
                <a:cubicBezTo>
                  <a:pt x="6562492" y="5022211"/>
                  <a:pt x="6560895" y="5021945"/>
                  <a:pt x="6558899" y="5021945"/>
                </a:cubicBezTo>
                <a:close/>
                <a:moveTo>
                  <a:pt x="6341253" y="5021945"/>
                </a:moveTo>
                <a:cubicBezTo>
                  <a:pt x="6335396" y="5021945"/>
                  <a:pt x="6332867" y="5023941"/>
                  <a:pt x="6331270" y="5025539"/>
                </a:cubicBezTo>
                <a:cubicBezTo>
                  <a:pt x="6328740" y="5028201"/>
                  <a:pt x="6327675" y="5030996"/>
                  <a:pt x="6327675" y="5034990"/>
                </a:cubicBezTo>
                <a:cubicBezTo>
                  <a:pt x="6327675" y="5039117"/>
                  <a:pt x="6328740" y="5041912"/>
                  <a:pt x="6331270" y="5044441"/>
                </a:cubicBezTo>
                <a:cubicBezTo>
                  <a:pt x="6332867" y="5046040"/>
                  <a:pt x="6335396" y="5047903"/>
                  <a:pt x="6341253" y="5047903"/>
                </a:cubicBezTo>
                <a:cubicBezTo>
                  <a:pt x="6343250" y="5047903"/>
                  <a:pt x="6345114" y="5047504"/>
                  <a:pt x="6346578" y="5046971"/>
                </a:cubicBezTo>
                <a:cubicBezTo>
                  <a:pt x="6348042" y="5046439"/>
                  <a:pt x="6349373" y="5045640"/>
                  <a:pt x="6350305" y="5044574"/>
                </a:cubicBezTo>
                <a:cubicBezTo>
                  <a:pt x="6351370" y="5043376"/>
                  <a:pt x="6352302" y="5042045"/>
                  <a:pt x="6352968" y="5040315"/>
                </a:cubicBezTo>
                <a:cubicBezTo>
                  <a:pt x="6353766" y="5038717"/>
                  <a:pt x="6354033" y="5036853"/>
                  <a:pt x="6354033" y="5034857"/>
                </a:cubicBezTo>
                <a:cubicBezTo>
                  <a:pt x="6354033" y="5032993"/>
                  <a:pt x="6353633" y="5031263"/>
                  <a:pt x="6352968" y="5029666"/>
                </a:cubicBezTo>
                <a:cubicBezTo>
                  <a:pt x="6352302" y="5028068"/>
                  <a:pt x="6351370" y="5026737"/>
                  <a:pt x="6350305" y="5025539"/>
                </a:cubicBezTo>
                <a:cubicBezTo>
                  <a:pt x="6349241" y="5024474"/>
                  <a:pt x="6347909" y="5023542"/>
                  <a:pt x="6346312" y="5022876"/>
                </a:cubicBezTo>
                <a:cubicBezTo>
                  <a:pt x="6344848" y="5022211"/>
                  <a:pt x="6343250" y="5021945"/>
                  <a:pt x="6341253" y="5021945"/>
                </a:cubicBezTo>
                <a:close/>
                <a:moveTo>
                  <a:pt x="6123608" y="5021945"/>
                </a:moveTo>
                <a:cubicBezTo>
                  <a:pt x="6117751" y="5021945"/>
                  <a:pt x="6115221" y="5023941"/>
                  <a:pt x="6113624" y="5025539"/>
                </a:cubicBezTo>
                <a:cubicBezTo>
                  <a:pt x="6111095" y="5028201"/>
                  <a:pt x="6110030" y="5030996"/>
                  <a:pt x="6110030" y="5034990"/>
                </a:cubicBezTo>
                <a:cubicBezTo>
                  <a:pt x="6110030" y="5039117"/>
                  <a:pt x="6111095" y="5041912"/>
                  <a:pt x="6113624" y="5044441"/>
                </a:cubicBezTo>
                <a:cubicBezTo>
                  <a:pt x="6115221" y="5046040"/>
                  <a:pt x="6117751" y="5047903"/>
                  <a:pt x="6123608" y="5047903"/>
                </a:cubicBezTo>
                <a:cubicBezTo>
                  <a:pt x="6125737" y="5047903"/>
                  <a:pt x="6127468" y="5047504"/>
                  <a:pt x="6128932" y="5046971"/>
                </a:cubicBezTo>
                <a:cubicBezTo>
                  <a:pt x="6130530" y="5046439"/>
                  <a:pt x="6131728" y="5045640"/>
                  <a:pt x="6132659" y="5044574"/>
                </a:cubicBezTo>
                <a:cubicBezTo>
                  <a:pt x="6133724" y="5043376"/>
                  <a:pt x="6134656" y="5042045"/>
                  <a:pt x="6135322" y="5040315"/>
                </a:cubicBezTo>
                <a:cubicBezTo>
                  <a:pt x="6135987" y="5038717"/>
                  <a:pt x="6136387" y="5036853"/>
                  <a:pt x="6136387" y="5034857"/>
                </a:cubicBezTo>
                <a:cubicBezTo>
                  <a:pt x="6136387" y="5032993"/>
                  <a:pt x="6135987" y="5031263"/>
                  <a:pt x="6135322" y="5029666"/>
                </a:cubicBezTo>
                <a:cubicBezTo>
                  <a:pt x="6134656" y="5028068"/>
                  <a:pt x="6133724" y="5026737"/>
                  <a:pt x="6132659" y="5025539"/>
                </a:cubicBezTo>
                <a:cubicBezTo>
                  <a:pt x="6131594" y="5024474"/>
                  <a:pt x="6130263" y="5023542"/>
                  <a:pt x="6128666" y="5022876"/>
                </a:cubicBezTo>
                <a:cubicBezTo>
                  <a:pt x="6127202" y="5022211"/>
                  <a:pt x="6125604" y="5021945"/>
                  <a:pt x="6123608" y="5021945"/>
                </a:cubicBezTo>
                <a:close/>
                <a:moveTo>
                  <a:pt x="5905963" y="5021945"/>
                </a:moveTo>
                <a:cubicBezTo>
                  <a:pt x="5900106" y="5021945"/>
                  <a:pt x="5897576" y="5023941"/>
                  <a:pt x="5895979" y="5025539"/>
                </a:cubicBezTo>
                <a:cubicBezTo>
                  <a:pt x="5893450" y="5028201"/>
                  <a:pt x="5892385" y="5030996"/>
                  <a:pt x="5892385" y="5034990"/>
                </a:cubicBezTo>
                <a:cubicBezTo>
                  <a:pt x="5892385" y="5039117"/>
                  <a:pt x="5893450" y="5041912"/>
                  <a:pt x="5895979" y="5044441"/>
                </a:cubicBezTo>
                <a:cubicBezTo>
                  <a:pt x="5897576" y="5046040"/>
                  <a:pt x="5900106" y="5047903"/>
                  <a:pt x="5905963" y="5047903"/>
                </a:cubicBezTo>
                <a:cubicBezTo>
                  <a:pt x="5908093" y="5047903"/>
                  <a:pt x="5909823" y="5047504"/>
                  <a:pt x="5911287" y="5046971"/>
                </a:cubicBezTo>
                <a:cubicBezTo>
                  <a:pt x="5912751" y="5046439"/>
                  <a:pt x="5914083" y="5045640"/>
                  <a:pt x="5915014" y="5044574"/>
                </a:cubicBezTo>
                <a:cubicBezTo>
                  <a:pt x="5916079" y="5043376"/>
                  <a:pt x="5917011" y="5042045"/>
                  <a:pt x="5917677" y="5040315"/>
                </a:cubicBezTo>
                <a:cubicBezTo>
                  <a:pt x="5918342" y="5038717"/>
                  <a:pt x="5918742" y="5036853"/>
                  <a:pt x="5918742" y="5034857"/>
                </a:cubicBezTo>
                <a:cubicBezTo>
                  <a:pt x="5918742" y="5032993"/>
                  <a:pt x="5918342" y="5031263"/>
                  <a:pt x="5917677" y="5029666"/>
                </a:cubicBezTo>
                <a:cubicBezTo>
                  <a:pt x="5917011" y="5028068"/>
                  <a:pt x="5916079" y="5026737"/>
                  <a:pt x="5915014" y="5025539"/>
                </a:cubicBezTo>
                <a:cubicBezTo>
                  <a:pt x="5913950" y="5024474"/>
                  <a:pt x="5912618" y="5023542"/>
                  <a:pt x="5911021" y="5022876"/>
                </a:cubicBezTo>
                <a:cubicBezTo>
                  <a:pt x="5909557" y="5022211"/>
                  <a:pt x="5907826" y="5021945"/>
                  <a:pt x="5905963" y="5021945"/>
                </a:cubicBezTo>
                <a:close/>
                <a:moveTo>
                  <a:pt x="5688451" y="5021945"/>
                </a:moveTo>
                <a:cubicBezTo>
                  <a:pt x="5682594" y="5021945"/>
                  <a:pt x="5680064" y="5023941"/>
                  <a:pt x="5678467" y="5025539"/>
                </a:cubicBezTo>
                <a:cubicBezTo>
                  <a:pt x="5675938" y="5028201"/>
                  <a:pt x="5674873" y="5030996"/>
                  <a:pt x="5674873" y="5034990"/>
                </a:cubicBezTo>
                <a:cubicBezTo>
                  <a:pt x="5674873" y="5039117"/>
                  <a:pt x="5675938" y="5041912"/>
                  <a:pt x="5678467" y="5044441"/>
                </a:cubicBezTo>
                <a:cubicBezTo>
                  <a:pt x="5680064" y="5046040"/>
                  <a:pt x="5682594" y="5047903"/>
                  <a:pt x="5688451" y="5047903"/>
                </a:cubicBezTo>
                <a:cubicBezTo>
                  <a:pt x="5690447" y="5047903"/>
                  <a:pt x="5692178" y="5047504"/>
                  <a:pt x="5693775" y="5046971"/>
                </a:cubicBezTo>
                <a:cubicBezTo>
                  <a:pt x="5695239" y="5046439"/>
                  <a:pt x="5696571" y="5045640"/>
                  <a:pt x="5697502" y="5044574"/>
                </a:cubicBezTo>
                <a:cubicBezTo>
                  <a:pt x="5698567" y="5043376"/>
                  <a:pt x="5699499" y="5042045"/>
                  <a:pt x="5700165" y="5040315"/>
                </a:cubicBezTo>
                <a:cubicBezTo>
                  <a:pt x="5700830" y="5038717"/>
                  <a:pt x="5701230" y="5036853"/>
                  <a:pt x="5701230" y="5034857"/>
                </a:cubicBezTo>
                <a:cubicBezTo>
                  <a:pt x="5701230" y="5032993"/>
                  <a:pt x="5700830" y="5031263"/>
                  <a:pt x="5700165" y="5029666"/>
                </a:cubicBezTo>
                <a:cubicBezTo>
                  <a:pt x="5699499" y="5028068"/>
                  <a:pt x="5698567" y="5026737"/>
                  <a:pt x="5697502" y="5025539"/>
                </a:cubicBezTo>
                <a:cubicBezTo>
                  <a:pt x="5696437" y="5024474"/>
                  <a:pt x="5695106" y="5023542"/>
                  <a:pt x="5693509" y="5022876"/>
                </a:cubicBezTo>
                <a:cubicBezTo>
                  <a:pt x="5692045" y="5022211"/>
                  <a:pt x="5690314" y="5021945"/>
                  <a:pt x="5688451" y="5021945"/>
                </a:cubicBezTo>
                <a:close/>
                <a:moveTo>
                  <a:pt x="5470806" y="5021945"/>
                </a:moveTo>
                <a:cubicBezTo>
                  <a:pt x="5464949" y="5021945"/>
                  <a:pt x="5462419" y="5023941"/>
                  <a:pt x="5460822" y="5025539"/>
                </a:cubicBezTo>
                <a:cubicBezTo>
                  <a:pt x="5458293" y="5028201"/>
                  <a:pt x="5457228" y="5030996"/>
                  <a:pt x="5457228" y="5034990"/>
                </a:cubicBezTo>
                <a:cubicBezTo>
                  <a:pt x="5457228" y="5039117"/>
                  <a:pt x="5458293" y="5041912"/>
                  <a:pt x="5460822" y="5044441"/>
                </a:cubicBezTo>
                <a:cubicBezTo>
                  <a:pt x="5462419" y="5046040"/>
                  <a:pt x="5464949" y="5047903"/>
                  <a:pt x="5470806" y="5047903"/>
                </a:cubicBezTo>
                <a:cubicBezTo>
                  <a:pt x="5472802" y="5047903"/>
                  <a:pt x="5474666" y="5047504"/>
                  <a:pt x="5476130" y="5046971"/>
                </a:cubicBezTo>
                <a:cubicBezTo>
                  <a:pt x="5477594" y="5046439"/>
                  <a:pt x="5478926" y="5045640"/>
                  <a:pt x="5479857" y="5044574"/>
                </a:cubicBezTo>
                <a:cubicBezTo>
                  <a:pt x="5480922" y="5043376"/>
                  <a:pt x="5481854" y="5042045"/>
                  <a:pt x="5482520" y="5040315"/>
                </a:cubicBezTo>
                <a:cubicBezTo>
                  <a:pt x="5483319" y="5038717"/>
                  <a:pt x="5483585" y="5036853"/>
                  <a:pt x="5483585" y="5034857"/>
                </a:cubicBezTo>
                <a:cubicBezTo>
                  <a:pt x="5483585" y="5032993"/>
                  <a:pt x="5483185" y="5031263"/>
                  <a:pt x="5482520" y="5029666"/>
                </a:cubicBezTo>
                <a:cubicBezTo>
                  <a:pt x="5481854" y="5028068"/>
                  <a:pt x="5480922" y="5026737"/>
                  <a:pt x="5479857" y="5025539"/>
                </a:cubicBezTo>
                <a:cubicBezTo>
                  <a:pt x="5478793" y="5024474"/>
                  <a:pt x="5477461" y="5023542"/>
                  <a:pt x="5475864" y="5022876"/>
                </a:cubicBezTo>
                <a:cubicBezTo>
                  <a:pt x="5474400" y="5022211"/>
                  <a:pt x="5472669" y="5021945"/>
                  <a:pt x="5470806" y="5021945"/>
                </a:cubicBezTo>
                <a:close/>
                <a:moveTo>
                  <a:pt x="5253160" y="5021945"/>
                </a:moveTo>
                <a:cubicBezTo>
                  <a:pt x="5247303" y="5021945"/>
                  <a:pt x="5244774" y="5023941"/>
                  <a:pt x="5243177" y="5025539"/>
                </a:cubicBezTo>
                <a:cubicBezTo>
                  <a:pt x="5240647" y="5028201"/>
                  <a:pt x="5239583" y="5030996"/>
                  <a:pt x="5239583" y="5034990"/>
                </a:cubicBezTo>
                <a:cubicBezTo>
                  <a:pt x="5239583" y="5039117"/>
                  <a:pt x="5240647" y="5041912"/>
                  <a:pt x="5243177" y="5044441"/>
                </a:cubicBezTo>
                <a:cubicBezTo>
                  <a:pt x="5244774" y="5046040"/>
                  <a:pt x="5247303" y="5047903"/>
                  <a:pt x="5253160" y="5047903"/>
                </a:cubicBezTo>
                <a:cubicBezTo>
                  <a:pt x="5255157" y="5047903"/>
                  <a:pt x="5257021" y="5047504"/>
                  <a:pt x="5258485" y="5046971"/>
                </a:cubicBezTo>
                <a:cubicBezTo>
                  <a:pt x="5259949" y="5046439"/>
                  <a:pt x="5261280" y="5045640"/>
                  <a:pt x="5262212" y="5044574"/>
                </a:cubicBezTo>
                <a:cubicBezTo>
                  <a:pt x="5263277" y="5043376"/>
                  <a:pt x="5264209" y="5042045"/>
                  <a:pt x="5264875" y="5040315"/>
                </a:cubicBezTo>
                <a:cubicBezTo>
                  <a:pt x="5265673" y="5038717"/>
                  <a:pt x="5265939" y="5036853"/>
                  <a:pt x="5265939" y="5034857"/>
                </a:cubicBezTo>
                <a:cubicBezTo>
                  <a:pt x="5265939" y="5032993"/>
                  <a:pt x="5265540" y="5031263"/>
                  <a:pt x="5264875" y="5029666"/>
                </a:cubicBezTo>
                <a:cubicBezTo>
                  <a:pt x="5264209" y="5028068"/>
                  <a:pt x="5263277" y="5026737"/>
                  <a:pt x="5262212" y="5025539"/>
                </a:cubicBezTo>
                <a:cubicBezTo>
                  <a:pt x="5261147" y="5024474"/>
                  <a:pt x="5259816" y="5023542"/>
                  <a:pt x="5258219" y="5022876"/>
                </a:cubicBezTo>
                <a:cubicBezTo>
                  <a:pt x="5256754" y="5022211"/>
                  <a:pt x="5255024" y="5021945"/>
                  <a:pt x="5253160" y="5021945"/>
                </a:cubicBezTo>
                <a:close/>
                <a:moveTo>
                  <a:pt x="5035515" y="5021945"/>
                </a:moveTo>
                <a:cubicBezTo>
                  <a:pt x="5029658" y="5021945"/>
                  <a:pt x="5027129" y="5023941"/>
                  <a:pt x="5025532" y="5025539"/>
                </a:cubicBezTo>
                <a:cubicBezTo>
                  <a:pt x="5023002" y="5028201"/>
                  <a:pt x="5021938" y="5030996"/>
                  <a:pt x="5021938" y="5034990"/>
                </a:cubicBezTo>
                <a:cubicBezTo>
                  <a:pt x="5021938" y="5039117"/>
                  <a:pt x="5023002" y="5041912"/>
                  <a:pt x="5025532" y="5044441"/>
                </a:cubicBezTo>
                <a:cubicBezTo>
                  <a:pt x="5027129" y="5046040"/>
                  <a:pt x="5029658" y="5047903"/>
                  <a:pt x="5035515" y="5047903"/>
                </a:cubicBezTo>
                <a:cubicBezTo>
                  <a:pt x="5037645" y="5047903"/>
                  <a:pt x="5039376" y="5047504"/>
                  <a:pt x="5040840" y="5046971"/>
                </a:cubicBezTo>
                <a:cubicBezTo>
                  <a:pt x="5042304" y="5046439"/>
                  <a:pt x="5043636" y="5045640"/>
                  <a:pt x="5044567" y="5044574"/>
                </a:cubicBezTo>
                <a:cubicBezTo>
                  <a:pt x="5045632" y="5043376"/>
                  <a:pt x="5046564" y="5042045"/>
                  <a:pt x="5047230" y="5040315"/>
                </a:cubicBezTo>
                <a:cubicBezTo>
                  <a:pt x="5048028" y="5038717"/>
                  <a:pt x="5048294" y="5036853"/>
                  <a:pt x="5048294" y="5034857"/>
                </a:cubicBezTo>
                <a:cubicBezTo>
                  <a:pt x="5048294" y="5032993"/>
                  <a:pt x="5047895" y="5031263"/>
                  <a:pt x="5047230" y="5029666"/>
                </a:cubicBezTo>
                <a:cubicBezTo>
                  <a:pt x="5046564" y="5028068"/>
                  <a:pt x="5045632" y="5026737"/>
                  <a:pt x="5044567" y="5025539"/>
                </a:cubicBezTo>
                <a:cubicBezTo>
                  <a:pt x="5043502" y="5024474"/>
                  <a:pt x="5042171" y="5023542"/>
                  <a:pt x="5040574" y="5022876"/>
                </a:cubicBezTo>
                <a:cubicBezTo>
                  <a:pt x="5039110" y="5022211"/>
                  <a:pt x="5037379" y="5021945"/>
                  <a:pt x="5035515" y="5021945"/>
                </a:cubicBezTo>
                <a:close/>
                <a:moveTo>
                  <a:pt x="4817870" y="5021945"/>
                </a:moveTo>
                <a:cubicBezTo>
                  <a:pt x="4812013" y="5021945"/>
                  <a:pt x="4809484" y="5023941"/>
                  <a:pt x="4807887" y="5025539"/>
                </a:cubicBezTo>
                <a:cubicBezTo>
                  <a:pt x="4805357" y="5028201"/>
                  <a:pt x="4804293" y="5030996"/>
                  <a:pt x="4804293" y="5034990"/>
                </a:cubicBezTo>
                <a:cubicBezTo>
                  <a:pt x="4804293" y="5039117"/>
                  <a:pt x="4805357" y="5041912"/>
                  <a:pt x="4807887" y="5044441"/>
                </a:cubicBezTo>
                <a:cubicBezTo>
                  <a:pt x="4809484" y="5046040"/>
                  <a:pt x="4812013" y="5047903"/>
                  <a:pt x="4817870" y="5047903"/>
                </a:cubicBezTo>
                <a:cubicBezTo>
                  <a:pt x="4820000" y="5047903"/>
                  <a:pt x="4821731" y="5047504"/>
                  <a:pt x="4823195" y="5046971"/>
                </a:cubicBezTo>
                <a:cubicBezTo>
                  <a:pt x="4824659" y="5046439"/>
                  <a:pt x="4825857" y="5045640"/>
                  <a:pt x="4826922" y="5044574"/>
                </a:cubicBezTo>
                <a:cubicBezTo>
                  <a:pt x="4827987" y="5043376"/>
                  <a:pt x="4828919" y="5042045"/>
                  <a:pt x="4829585" y="5040315"/>
                </a:cubicBezTo>
                <a:cubicBezTo>
                  <a:pt x="4830383" y="5038717"/>
                  <a:pt x="4830650" y="5036853"/>
                  <a:pt x="4830650" y="5034857"/>
                </a:cubicBezTo>
                <a:cubicBezTo>
                  <a:pt x="4830650" y="5032993"/>
                  <a:pt x="4830250" y="5031263"/>
                  <a:pt x="4829585" y="5029666"/>
                </a:cubicBezTo>
                <a:cubicBezTo>
                  <a:pt x="4828919" y="5028068"/>
                  <a:pt x="4827987" y="5026737"/>
                  <a:pt x="4826922" y="5025539"/>
                </a:cubicBezTo>
                <a:cubicBezTo>
                  <a:pt x="4825857" y="5024474"/>
                  <a:pt x="4824526" y="5023542"/>
                  <a:pt x="4822929" y="5022876"/>
                </a:cubicBezTo>
                <a:cubicBezTo>
                  <a:pt x="4821465" y="5022211"/>
                  <a:pt x="4819734" y="5021945"/>
                  <a:pt x="4817870" y="5021945"/>
                </a:cubicBezTo>
                <a:close/>
                <a:moveTo>
                  <a:pt x="4600226" y="5021945"/>
                </a:moveTo>
                <a:cubicBezTo>
                  <a:pt x="4594369" y="5021945"/>
                  <a:pt x="4591839" y="5023941"/>
                  <a:pt x="4590242" y="5025539"/>
                </a:cubicBezTo>
                <a:cubicBezTo>
                  <a:pt x="4587713" y="5028201"/>
                  <a:pt x="4586648" y="5030996"/>
                  <a:pt x="4586648" y="5034990"/>
                </a:cubicBezTo>
                <a:cubicBezTo>
                  <a:pt x="4586648" y="5039117"/>
                  <a:pt x="4587713" y="5041912"/>
                  <a:pt x="4590242" y="5044441"/>
                </a:cubicBezTo>
                <a:cubicBezTo>
                  <a:pt x="4591839" y="5046040"/>
                  <a:pt x="4594369" y="5047903"/>
                  <a:pt x="4600226" y="5047903"/>
                </a:cubicBezTo>
                <a:cubicBezTo>
                  <a:pt x="4602355" y="5047903"/>
                  <a:pt x="4604086" y="5047504"/>
                  <a:pt x="4605550" y="5046971"/>
                </a:cubicBezTo>
                <a:cubicBezTo>
                  <a:pt x="4607148" y="5046439"/>
                  <a:pt x="4608346" y="5045640"/>
                  <a:pt x="4609277" y="5044574"/>
                </a:cubicBezTo>
                <a:cubicBezTo>
                  <a:pt x="4610342" y="5043376"/>
                  <a:pt x="4611274" y="5042045"/>
                  <a:pt x="4611940" y="5040315"/>
                </a:cubicBezTo>
                <a:cubicBezTo>
                  <a:pt x="4612605" y="5038717"/>
                  <a:pt x="4613005" y="5036853"/>
                  <a:pt x="4613005" y="5034857"/>
                </a:cubicBezTo>
                <a:cubicBezTo>
                  <a:pt x="4613005" y="5032993"/>
                  <a:pt x="4612605" y="5031263"/>
                  <a:pt x="4611940" y="5029666"/>
                </a:cubicBezTo>
                <a:cubicBezTo>
                  <a:pt x="4611274" y="5028068"/>
                  <a:pt x="4610342" y="5026737"/>
                  <a:pt x="4609277" y="5025539"/>
                </a:cubicBezTo>
                <a:cubicBezTo>
                  <a:pt x="4608212" y="5024474"/>
                  <a:pt x="4606881" y="5023542"/>
                  <a:pt x="4605284" y="5022876"/>
                </a:cubicBezTo>
                <a:cubicBezTo>
                  <a:pt x="4603820" y="5022211"/>
                  <a:pt x="4602222" y="5021945"/>
                  <a:pt x="4600226" y="5021945"/>
                </a:cubicBezTo>
                <a:close/>
                <a:moveTo>
                  <a:pt x="4382713" y="5021945"/>
                </a:moveTo>
                <a:cubicBezTo>
                  <a:pt x="4376857" y="5021945"/>
                  <a:pt x="4374327" y="5023941"/>
                  <a:pt x="4372730" y="5025539"/>
                </a:cubicBezTo>
                <a:cubicBezTo>
                  <a:pt x="4370201" y="5028201"/>
                  <a:pt x="4369136" y="5030996"/>
                  <a:pt x="4369136" y="5034990"/>
                </a:cubicBezTo>
                <a:cubicBezTo>
                  <a:pt x="4369136" y="5039117"/>
                  <a:pt x="4370201" y="5041912"/>
                  <a:pt x="4372730" y="5044441"/>
                </a:cubicBezTo>
                <a:cubicBezTo>
                  <a:pt x="4374327" y="5046040"/>
                  <a:pt x="4376857" y="5047903"/>
                  <a:pt x="4382713" y="5047903"/>
                </a:cubicBezTo>
                <a:cubicBezTo>
                  <a:pt x="4384710" y="5047903"/>
                  <a:pt x="4386441" y="5047504"/>
                  <a:pt x="4388038" y="5046971"/>
                </a:cubicBezTo>
                <a:cubicBezTo>
                  <a:pt x="4389502" y="5046439"/>
                  <a:pt x="4390834" y="5045640"/>
                  <a:pt x="4391765" y="5044574"/>
                </a:cubicBezTo>
                <a:cubicBezTo>
                  <a:pt x="4392830" y="5043376"/>
                  <a:pt x="4393762" y="5042045"/>
                  <a:pt x="4394428" y="5040315"/>
                </a:cubicBezTo>
                <a:cubicBezTo>
                  <a:pt x="4395093" y="5038717"/>
                  <a:pt x="4395493" y="5036853"/>
                  <a:pt x="4395493" y="5034857"/>
                </a:cubicBezTo>
                <a:cubicBezTo>
                  <a:pt x="4395493" y="5032993"/>
                  <a:pt x="4395093" y="5031263"/>
                  <a:pt x="4394428" y="5029666"/>
                </a:cubicBezTo>
                <a:cubicBezTo>
                  <a:pt x="4393762" y="5028068"/>
                  <a:pt x="4392830" y="5026737"/>
                  <a:pt x="4391765" y="5025539"/>
                </a:cubicBezTo>
                <a:cubicBezTo>
                  <a:pt x="4390700" y="5024474"/>
                  <a:pt x="4389369" y="5023542"/>
                  <a:pt x="4387772" y="5022876"/>
                </a:cubicBezTo>
                <a:cubicBezTo>
                  <a:pt x="4386308" y="5022211"/>
                  <a:pt x="4384710" y="5021945"/>
                  <a:pt x="4382713" y="5021945"/>
                </a:cubicBezTo>
                <a:close/>
                <a:moveTo>
                  <a:pt x="4165068" y="5021945"/>
                </a:moveTo>
                <a:cubicBezTo>
                  <a:pt x="4159211" y="5021945"/>
                  <a:pt x="4156681" y="5023941"/>
                  <a:pt x="4155084" y="5025539"/>
                </a:cubicBezTo>
                <a:cubicBezTo>
                  <a:pt x="4152555" y="5028201"/>
                  <a:pt x="4151490" y="5030996"/>
                  <a:pt x="4151490" y="5034990"/>
                </a:cubicBezTo>
                <a:cubicBezTo>
                  <a:pt x="4151490" y="5039117"/>
                  <a:pt x="4152555" y="5041912"/>
                  <a:pt x="4155084" y="5044441"/>
                </a:cubicBezTo>
                <a:cubicBezTo>
                  <a:pt x="4156681" y="5046040"/>
                  <a:pt x="4159211" y="5047903"/>
                  <a:pt x="4165068" y="5047903"/>
                </a:cubicBezTo>
                <a:cubicBezTo>
                  <a:pt x="4167064" y="5047903"/>
                  <a:pt x="4168928" y="5047504"/>
                  <a:pt x="4170392" y="5046971"/>
                </a:cubicBezTo>
                <a:cubicBezTo>
                  <a:pt x="4171856" y="5046439"/>
                  <a:pt x="4173188" y="5045640"/>
                  <a:pt x="4174119" y="5044574"/>
                </a:cubicBezTo>
                <a:cubicBezTo>
                  <a:pt x="4175184" y="5043376"/>
                  <a:pt x="4176116" y="5042045"/>
                  <a:pt x="4176782" y="5040315"/>
                </a:cubicBezTo>
                <a:cubicBezTo>
                  <a:pt x="4177447" y="5038717"/>
                  <a:pt x="4177847" y="5036853"/>
                  <a:pt x="4177847" y="5034857"/>
                </a:cubicBezTo>
                <a:cubicBezTo>
                  <a:pt x="4177847" y="5032993"/>
                  <a:pt x="4177447" y="5031263"/>
                  <a:pt x="4176782" y="5029666"/>
                </a:cubicBezTo>
                <a:cubicBezTo>
                  <a:pt x="4176116" y="5028068"/>
                  <a:pt x="4175184" y="5026737"/>
                  <a:pt x="4174119" y="5025539"/>
                </a:cubicBezTo>
                <a:cubicBezTo>
                  <a:pt x="4173054" y="5024474"/>
                  <a:pt x="4171723" y="5023542"/>
                  <a:pt x="4170126" y="5022876"/>
                </a:cubicBezTo>
                <a:cubicBezTo>
                  <a:pt x="4168662" y="5022211"/>
                  <a:pt x="4167064" y="5021945"/>
                  <a:pt x="4165068" y="5021945"/>
                </a:cubicBezTo>
                <a:close/>
                <a:moveTo>
                  <a:pt x="3947698" y="5021945"/>
                </a:moveTo>
                <a:cubicBezTo>
                  <a:pt x="3941840" y="5021945"/>
                  <a:pt x="3939311" y="5023941"/>
                  <a:pt x="3937714" y="5025539"/>
                </a:cubicBezTo>
                <a:cubicBezTo>
                  <a:pt x="3935183" y="5028201"/>
                  <a:pt x="3934120" y="5030996"/>
                  <a:pt x="3934120" y="5034990"/>
                </a:cubicBezTo>
                <a:cubicBezTo>
                  <a:pt x="3934120" y="5039117"/>
                  <a:pt x="3935183" y="5041912"/>
                  <a:pt x="3937714" y="5044441"/>
                </a:cubicBezTo>
                <a:cubicBezTo>
                  <a:pt x="3939311" y="5046040"/>
                  <a:pt x="3941840" y="5047903"/>
                  <a:pt x="3947698" y="5047903"/>
                </a:cubicBezTo>
                <a:cubicBezTo>
                  <a:pt x="3949695" y="5047903"/>
                  <a:pt x="3951559" y="5047504"/>
                  <a:pt x="3953025" y="5046971"/>
                </a:cubicBezTo>
                <a:cubicBezTo>
                  <a:pt x="3954489" y="5046439"/>
                  <a:pt x="3955820" y="5045640"/>
                  <a:pt x="3956752" y="5044574"/>
                </a:cubicBezTo>
                <a:cubicBezTo>
                  <a:pt x="3957817" y="5043376"/>
                  <a:pt x="3958750" y="5042045"/>
                  <a:pt x="3959415" y="5040315"/>
                </a:cubicBezTo>
                <a:cubicBezTo>
                  <a:pt x="3960080" y="5038717"/>
                  <a:pt x="3960481" y="5036853"/>
                  <a:pt x="3960481" y="5034857"/>
                </a:cubicBezTo>
                <a:cubicBezTo>
                  <a:pt x="3960481" y="5032993"/>
                  <a:pt x="3960080" y="5031263"/>
                  <a:pt x="3959415" y="5029666"/>
                </a:cubicBezTo>
                <a:cubicBezTo>
                  <a:pt x="3958750" y="5028068"/>
                  <a:pt x="3957817" y="5026737"/>
                  <a:pt x="3956752" y="5025539"/>
                </a:cubicBezTo>
                <a:cubicBezTo>
                  <a:pt x="3955687" y="5024474"/>
                  <a:pt x="3954357" y="5023542"/>
                  <a:pt x="3952759" y="5022876"/>
                </a:cubicBezTo>
                <a:cubicBezTo>
                  <a:pt x="3951292" y="5022211"/>
                  <a:pt x="3949695" y="5021945"/>
                  <a:pt x="3947698" y="5021945"/>
                </a:cubicBezTo>
                <a:close/>
                <a:moveTo>
                  <a:pt x="3730040" y="5021945"/>
                </a:moveTo>
                <a:cubicBezTo>
                  <a:pt x="3724183" y="5021945"/>
                  <a:pt x="3721653" y="5023941"/>
                  <a:pt x="3720053" y="5025539"/>
                </a:cubicBezTo>
                <a:cubicBezTo>
                  <a:pt x="3717524" y="5028201"/>
                  <a:pt x="3716461" y="5030996"/>
                  <a:pt x="3716461" y="5034990"/>
                </a:cubicBezTo>
                <a:cubicBezTo>
                  <a:pt x="3716461" y="5039117"/>
                  <a:pt x="3717524" y="5041912"/>
                  <a:pt x="3720053" y="5044441"/>
                </a:cubicBezTo>
                <a:cubicBezTo>
                  <a:pt x="3721653" y="5046040"/>
                  <a:pt x="3724183" y="5047903"/>
                  <a:pt x="3730040" y="5047903"/>
                </a:cubicBezTo>
                <a:cubicBezTo>
                  <a:pt x="3732170" y="5047903"/>
                  <a:pt x="3733902" y="5047504"/>
                  <a:pt x="3735365" y="5046971"/>
                </a:cubicBezTo>
                <a:cubicBezTo>
                  <a:pt x="3736830" y="5046439"/>
                  <a:pt x="3738162" y="5045640"/>
                  <a:pt x="3739093" y="5044574"/>
                </a:cubicBezTo>
                <a:cubicBezTo>
                  <a:pt x="3740158" y="5043376"/>
                  <a:pt x="3741090" y="5042045"/>
                  <a:pt x="3741756" y="5040315"/>
                </a:cubicBezTo>
                <a:cubicBezTo>
                  <a:pt x="3742421" y="5038717"/>
                  <a:pt x="3742820" y="5036853"/>
                  <a:pt x="3742820" y="5034857"/>
                </a:cubicBezTo>
                <a:cubicBezTo>
                  <a:pt x="3742820" y="5032993"/>
                  <a:pt x="3742421" y="5031263"/>
                  <a:pt x="3741756" y="5029666"/>
                </a:cubicBezTo>
                <a:cubicBezTo>
                  <a:pt x="3741090" y="5028068"/>
                  <a:pt x="3740158" y="5026737"/>
                  <a:pt x="3739093" y="5025539"/>
                </a:cubicBezTo>
                <a:cubicBezTo>
                  <a:pt x="3738028" y="5024474"/>
                  <a:pt x="3736697" y="5023542"/>
                  <a:pt x="3735100" y="5022876"/>
                </a:cubicBezTo>
                <a:cubicBezTo>
                  <a:pt x="3733635" y="5022211"/>
                  <a:pt x="3732038" y="5021945"/>
                  <a:pt x="3730040" y="5021945"/>
                </a:cubicBezTo>
                <a:close/>
                <a:moveTo>
                  <a:pt x="3512380" y="5021945"/>
                </a:moveTo>
                <a:cubicBezTo>
                  <a:pt x="3506522" y="5021945"/>
                  <a:pt x="3503992" y="5023941"/>
                  <a:pt x="3502392" y="5025539"/>
                </a:cubicBezTo>
                <a:cubicBezTo>
                  <a:pt x="3499863" y="5028201"/>
                  <a:pt x="3498799" y="5030996"/>
                  <a:pt x="3498799" y="5034990"/>
                </a:cubicBezTo>
                <a:cubicBezTo>
                  <a:pt x="3498799" y="5039117"/>
                  <a:pt x="3499863" y="5041912"/>
                  <a:pt x="3502392" y="5044441"/>
                </a:cubicBezTo>
                <a:cubicBezTo>
                  <a:pt x="3503992" y="5046040"/>
                  <a:pt x="3506522" y="5047903"/>
                  <a:pt x="3512380" y="5047903"/>
                </a:cubicBezTo>
                <a:cubicBezTo>
                  <a:pt x="3514511" y="5047903"/>
                  <a:pt x="3516242" y="5047504"/>
                  <a:pt x="3517706" y="5046971"/>
                </a:cubicBezTo>
                <a:cubicBezTo>
                  <a:pt x="3519171" y="5046439"/>
                  <a:pt x="3520502" y="5045640"/>
                  <a:pt x="3521433" y="5044574"/>
                </a:cubicBezTo>
                <a:cubicBezTo>
                  <a:pt x="3522499" y="5043376"/>
                  <a:pt x="3523430" y="5042045"/>
                  <a:pt x="3524097" y="5040315"/>
                </a:cubicBezTo>
                <a:cubicBezTo>
                  <a:pt x="3524762" y="5038717"/>
                  <a:pt x="3525162" y="5036853"/>
                  <a:pt x="3525162" y="5034857"/>
                </a:cubicBezTo>
                <a:cubicBezTo>
                  <a:pt x="3525162" y="5032993"/>
                  <a:pt x="3524762" y="5031263"/>
                  <a:pt x="3524097" y="5029666"/>
                </a:cubicBezTo>
                <a:cubicBezTo>
                  <a:pt x="3523430" y="5028068"/>
                  <a:pt x="3522499" y="5026737"/>
                  <a:pt x="3521433" y="5025539"/>
                </a:cubicBezTo>
                <a:cubicBezTo>
                  <a:pt x="3520368" y="5024474"/>
                  <a:pt x="3519037" y="5023542"/>
                  <a:pt x="3517440" y="5022876"/>
                </a:cubicBezTo>
                <a:cubicBezTo>
                  <a:pt x="3515976" y="5022211"/>
                  <a:pt x="3514378" y="5021945"/>
                  <a:pt x="3512380" y="5021945"/>
                </a:cubicBezTo>
                <a:close/>
                <a:moveTo>
                  <a:pt x="3294855" y="5021945"/>
                </a:moveTo>
                <a:cubicBezTo>
                  <a:pt x="3288996" y="5021945"/>
                  <a:pt x="3286465" y="5023941"/>
                  <a:pt x="3284869" y="5025539"/>
                </a:cubicBezTo>
                <a:cubicBezTo>
                  <a:pt x="3282338" y="5028201"/>
                  <a:pt x="3281274" y="5030996"/>
                  <a:pt x="3281274" y="5034990"/>
                </a:cubicBezTo>
                <a:cubicBezTo>
                  <a:pt x="3281274" y="5039117"/>
                  <a:pt x="3282338" y="5041912"/>
                  <a:pt x="3284869" y="5044441"/>
                </a:cubicBezTo>
                <a:cubicBezTo>
                  <a:pt x="3286465" y="5046040"/>
                  <a:pt x="3288996" y="5047903"/>
                  <a:pt x="3294855" y="5047903"/>
                </a:cubicBezTo>
                <a:cubicBezTo>
                  <a:pt x="3296851" y="5047903"/>
                  <a:pt x="3298582" y="5047504"/>
                  <a:pt x="3300180" y="5046971"/>
                </a:cubicBezTo>
                <a:cubicBezTo>
                  <a:pt x="3301644" y="5046439"/>
                  <a:pt x="3302976" y="5045640"/>
                  <a:pt x="3303907" y="5044574"/>
                </a:cubicBezTo>
                <a:cubicBezTo>
                  <a:pt x="3304972" y="5043376"/>
                  <a:pt x="3305904" y="5042045"/>
                  <a:pt x="3306570" y="5040315"/>
                </a:cubicBezTo>
                <a:cubicBezTo>
                  <a:pt x="3307235" y="5038717"/>
                  <a:pt x="3307634" y="5036853"/>
                  <a:pt x="3307634" y="5034857"/>
                </a:cubicBezTo>
                <a:cubicBezTo>
                  <a:pt x="3307634" y="5032993"/>
                  <a:pt x="3307235" y="5031263"/>
                  <a:pt x="3306570" y="5029666"/>
                </a:cubicBezTo>
                <a:cubicBezTo>
                  <a:pt x="3305904" y="5028068"/>
                  <a:pt x="3304972" y="5026737"/>
                  <a:pt x="3303907" y="5025539"/>
                </a:cubicBezTo>
                <a:cubicBezTo>
                  <a:pt x="3302842" y="5024474"/>
                  <a:pt x="3301511" y="5023542"/>
                  <a:pt x="3299914" y="5022876"/>
                </a:cubicBezTo>
                <a:cubicBezTo>
                  <a:pt x="3298450" y="5022211"/>
                  <a:pt x="3296851" y="5021945"/>
                  <a:pt x="3294855" y="5021945"/>
                </a:cubicBezTo>
                <a:close/>
                <a:moveTo>
                  <a:pt x="3077328" y="5021945"/>
                </a:moveTo>
                <a:cubicBezTo>
                  <a:pt x="3071471" y="5021945"/>
                  <a:pt x="3068940" y="5023941"/>
                  <a:pt x="3067345" y="5025539"/>
                </a:cubicBezTo>
                <a:cubicBezTo>
                  <a:pt x="3064680" y="5028201"/>
                  <a:pt x="3063614" y="5030996"/>
                  <a:pt x="3063614" y="5034990"/>
                </a:cubicBezTo>
                <a:cubicBezTo>
                  <a:pt x="3063614" y="5039117"/>
                  <a:pt x="3064680" y="5041912"/>
                  <a:pt x="3067211" y="5044441"/>
                </a:cubicBezTo>
                <a:cubicBezTo>
                  <a:pt x="3068807" y="5046040"/>
                  <a:pt x="3071338" y="5047903"/>
                  <a:pt x="3077195" y="5047903"/>
                </a:cubicBezTo>
                <a:cubicBezTo>
                  <a:pt x="3079192" y="5047903"/>
                  <a:pt x="3080922" y="5047504"/>
                  <a:pt x="3082653" y="5046971"/>
                </a:cubicBezTo>
                <a:cubicBezTo>
                  <a:pt x="3084118" y="5046439"/>
                  <a:pt x="3085450" y="5045640"/>
                  <a:pt x="3086381" y="5044574"/>
                </a:cubicBezTo>
                <a:cubicBezTo>
                  <a:pt x="3087445" y="5043376"/>
                  <a:pt x="3088378" y="5042045"/>
                  <a:pt x="3089043" y="5040315"/>
                </a:cubicBezTo>
                <a:cubicBezTo>
                  <a:pt x="3089708" y="5038717"/>
                  <a:pt x="3089976" y="5036853"/>
                  <a:pt x="3089976" y="5034857"/>
                </a:cubicBezTo>
                <a:cubicBezTo>
                  <a:pt x="3089976" y="5032993"/>
                  <a:pt x="3089708" y="5031263"/>
                  <a:pt x="3089043" y="5029666"/>
                </a:cubicBezTo>
                <a:cubicBezTo>
                  <a:pt x="3088378" y="5028068"/>
                  <a:pt x="3087445" y="5026737"/>
                  <a:pt x="3086381" y="5025539"/>
                </a:cubicBezTo>
                <a:cubicBezTo>
                  <a:pt x="3085316" y="5024474"/>
                  <a:pt x="3083984" y="5023542"/>
                  <a:pt x="3082388" y="5022876"/>
                </a:cubicBezTo>
                <a:cubicBezTo>
                  <a:pt x="3080922" y="5022211"/>
                  <a:pt x="3079325" y="5021945"/>
                  <a:pt x="3077328" y="5021945"/>
                </a:cubicBezTo>
                <a:close/>
                <a:moveTo>
                  <a:pt x="2859536" y="5021945"/>
                </a:moveTo>
                <a:cubicBezTo>
                  <a:pt x="2853679" y="5021945"/>
                  <a:pt x="2851149" y="5023941"/>
                  <a:pt x="2849550" y="5025539"/>
                </a:cubicBezTo>
                <a:cubicBezTo>
                  <a:pt x="2847016" y="5028201"/>
                  <a:pt x="2845952" y="5030996"/>
                  <a:pt x="2845952" y="5034990"/>
                </a:cubicBezTo>
                <a:cubicBezTo>
                  <a:pt x="2845952" y="5039117"/>
                  <a:pt x="2847016" y="5041912"/>
                  <a:pt x="2849550" y="5044441"/>
                </a:cubicBezTo>
                <a:cubicBezTo>
                  <a:pt x="2851149" y="5046040"/>
                  <a:pt x="2853679" y="5047903"/>
                  <a:pt x="2859536" y="5047903"/>
                </a:cubicBezTo>
                <a:cubicBezTo>
                  <a:pt x="2861533" y="5047903"/>
                  <a:pt x="2863397" y="5047504"/>
                  <a:pt x="2864861" y="5046971"/>
                </a:cubicBezTo>
                <a:cubicBezTo>
                  <a:pt x="2866459" y="5046439"/>
                  <a:pt x="2867657" y="5045640"/>
                  <a:pt x="2868588" y="5044574"/>
                </a:cubicBezTo>
                <a:cubicBezTo>
                  <a:pt x="2869653" y="5043376"/>
                  <a:pt x="2870585" y="5042045"/>
                  <a:pt x="2871251" y="5040315"/>
                </a:cubicBezTo>
                <a:cubicBezTo>
                  <a:pt x="2871783" y="5038717"/>
                  <a:pt x="2872182" y="5036853"/>
                  <a:pt x="2872182" y="5034857"/>
                </a:cubicBezTo>
                <a:cubicBezTo>
                  <a:pt x="2872182" y="5032993"/>
                  <a:pt x="2871916" y="5031263"/>
                  <a:pt x="2871251" y="5029666"/>
                </a:cubicBezTo>
                <a:cubicBezTo>
                  <a:pt x="2870585" y="5028068"/>
                  <a:pt x="2869653" y="5026737"/>
                  <a:pt x="2868588" y="5025539"/>
                </a:cubicBezTo>
                <a:cubicBezTo>
                  <a:pt x="2867524" y="5024474"/>
                  <a:pt x="2866192" y="5023542"/>
                  <a:pt x="2864595" y="5022876"/>
                </a:cubicBezTo>
                <a:cubicBezTo>
                  <a:pt x="2863131" y="5022211"/>
                  <a:pt x="2861533" y="5021945"/>
                  <a:pt x="2859536" y="5021945"/>
                </a:cubicBezTo>
                <a:close/>
                <a:moveTo>
                  <a:pt x="2641876" y="5021945"/>
                </a:moveTo>
                <a:cubicBezTo>
                  <a:pt x="2636019" y="5021945"/>
                  <a:pt x="2633490" y="5023941"/>
                  <a:pt x="2631893" y="5025539"/>
                </a:cubicBezTo>
                <a:cubicBezTo>
                  <a:pt x="2629363" y="5028201"/>
                  <a:pt x="2628298" y="5030996"/>
                  <a:pt x="2628298" y="5034990"/>
                </a:cubicBezTo>
                <a:cubicBezTo>
                  <a:pt x="2628298" y="5039117"/>
                  <a:pt x="2629363" y="5041912"/>
                  <a:pt x="2631893" y="5044441"/>
                </a:cubicBezTo>
                <a:cubicBezTo>
                  <a:pt x="2633490" y="5046040"/>
                  <a:pt x="2636019" y="5047903"/>
                  <a:pt x="2641876" y="5047903"/>
                </a:cubicBezTo>
                <a:cubicBezTo>
                  <a:pt x="2643873" y="5047903"/>
                  <a:pt x="2645738" y="5047504"/>
                  <a:pt x="2647202" y="5046971"/>
                </a:cubicBezTo>
                <a:cubicBezTo>
                  <a:pt x="2648798" y="5046439"/>
                  <a:pt x="2649996" y="5045640"/>
                  <a:pt x="2650929" y="5044574"/>
                </a:cubicBezTo>
                <a:cubicBezTo>
                  <a:pt x="2651994" y="5043376"/>
                  <a:pt x="2652925" y="5042045"/>
                  <a:pt x="2653592" y="5040315"/>
                </a:cubicBezTo>
                <a:cubicBezTo>
                  <a:pt x="2654123" y="5038717"/>
                  <a:pt x="2654522" y="5036853"/>
                  <a:pt x="2654522" y="5034857"/>
                </a:cubicBezTo>
                <a:cubicBezTo>
                  <a:pt x="2654522" y="5032993"/>
                  <a:pt x="2654257" y="5031263"/>
                  <a:pt x="2653592" y="5029666"/>
                </a:cubicBezTo>
                <a:cubicBezTo>
                  <a:pt x="2652925" y="5028068"/>
                  <a:pt x="2651994" y="5026737"/>
                  <a:pt x="2650929" y="5025539"/>
                </a:cubicBezTo>
                <a:cubicBezTo>
                  <a:pt x="2649863" y="5024474"/>
                  <a:pt x="2648532" y="5023542"/>
                  <a:pt x="2646935" y="5022876"/>
                </a:cubicBezTo>
                <a:cubicBezTo>
                  <a:pt x="2645470" y="5022211"/>
                  <a:pt x="2643873" y="5021945"/>
                  <a:pt x="2641876" y="5021945"/>
                </a:cubicBezTo>
                <a:close/>
                <a:moveTo>
                  <a:pt x="2424216" y="5021945"/>
                </a:moveTo>
                <a:cubicBezTo>
                  <a:pt x="2418360" y="5021945"/>
                  <a:pt x="2415831" y="5023941"/>
                  <a:pt x="2414233" y="5025539"/>
                </a:cubicBezTo>
                <a:cubicBezTo>
                  <a:pt x="2411703" y="5028201"/>
                  <a:pt x="2410639" y="5030996"/>
                  <a:pt x="2410639" y="5034990"/>
                </a:cubicBezTo>
                <a:cubicBezTo>
                  <a:pt x="2410639" y="5039117"/>
                  <a:pt x="2411703" y="5041912"/>
                  <a:pt x="2414233" y="5044441"/>
                </a:cubicBezTo>
                <a:cubicBezTo>
                  <a:pt x="2415831" y="5046040"/>
                  <a:pt x="2418360" y="5047903"/>
                  <a:pt x="2424216" y="5047903"/>
                </a:cubicBezTo>
                <a:cubicBezTo>
                  <a:pt x="2426347" y="5047903"/>
                  <a:pt x="2428078" y="5047504"/>
                  <a:pt x="2429542" y="5046971"/>
                </a:cubicBezTo>
                <a:cubicBezTo>
                  <a:pt x="2431140" y="5046439"/>
                  <a:pt x="2432338" y="5045640"/>
                  <a:pt x="2433269" y="5044574"/>
                </a:cubicBezTo>
                <a:cubicBezTo>
                  <a:pt x="2434334" y="5043376"/>
                  <a:pt x="2435266" y="5042045"/>
                  <a:pt x="2435932" y="5040315"/>
                </a:cubicBezTo>
                <a:cubicBezTo>
                  <a:pt x="2436464" y="5038717"/>
                  <a:pt x="2436863" y="5036853"/>
                  <a:pt x="2436863" y="5034857"/>
                </a:cubicBezTo>
                <a:cubicBezTo>
                  <a:pt x="2436863" y="5032993"/>
                  <a:pt x="2436597" y="5031263"/>
                  <a:pt x="2435932" y="5029666"/>
                </a:cubicBezTo>
                <a:cubicBezTo>
                  <a:pt x="2435266" y="5028068"/>
                  <a:pt x="2434334" y="5026737"/>
                  <a:pt x="2433269" y="5025539"/>
                </a:cubicBezTo>
                <a:cubicBezTo>
                  <a:pt x="2432205" y="5024474"/>
                  <a:pt x="2430873" y="5023542"/>
                  <a:pt x="2429276" y="5022876"/>
                </a:cubicBezTo>
                <a:cubicBezTo>
                  <a:pt x="2427812" y="5022211"/>
                  <a:pt x="2426214" y="5021945"/>
                  <a:pt x="2424216" y="5021945"/>
                </a:cubicBezTo>
                <a:close/>
                <a:moveTo>
                  <a:pt x="2206557" y="5021945"/>
                </a:moveTo>
                <a:cubicBezTo>
                  <a:pt x="2200700" y="5021945"/>
                  <a:pt x="2198171" y="5023941"/>
                  <a:pt x="2196574" y="5025539"/>
                </a:cubicBezTo>
                <a:cubicBezTo>
                  <a:pt x="2194044" y="5028201"/>
                  <a:pt x="2192979" y="5030996"/>
                  <a:pt x="2192979" y="5034990"/>
                </a:cubicBezTo>
                <a:cubicBezTo>
                  <a:pt x="2192979" y="5039117"/>
                  <a:pt x="2194044" y="5041912"/>
                  <a:pt x="2196574" y="5044441"/>
                </a:cubicBezTo>
                <a:cubicBezTo>
                  <a:pt x="2198171" y="5046040"/>
                  <a:pt x="2200700" y="5047903"/>
                  <a:pt x="2206557" y="5047903"/>
                </a:cubicBezTo>
                <a:cubicBezTo>
                  <a:pt x="2208687" y="5047903"/>
                  <a:pt x="2210418" y="5047504"/>
                  <a:pt x="2211882" y="5046971"/>
                </a:cubicBezTo>
                <a:cubicBezTo>
                  <a:pt x="2213479" y="5046439"/>
                  <a:pt x="2214677" y="5045640"/>
                  <a:pt x="2215609" y="5044574"/>
                </a:cubicBezTo>
                <a:cubicBezTo>
                  <a:pt x="2216674" y="5043376"/>
                  <a:pt x="2217606" y="5042045"/>
                  <a:pt x="2218272" y="5040315"/>
                </a:cubicBezTo>
                <a:cubicBezTo>
                  <a:pt x="2218804" y="5038717"/>
                  <a:pt x="2219203" y="5036853"/>
                  <a:pt x="2219203" y="5034857"/>
                </a:cubicBezTo>
                <a:cubicBezTo>
                  <a:pt x="2219203" y="5032993"/>
                  <a:pt x="2218937" y="5031263"/>
                  <a:pt x="2218272" y="5029666"/>
                </a:cubicBezTo>
                <a:cubicBezTo>
                  <a:pt x="2217606" y="5028068"/>
                  <a:pt x="2216674" y="5026737"/>
                  <a:pt x="2215609" y="5025539"/>
                </a:cubicBezTo>
                <a:cubicBezTo>
                  <a:pt x="2214544" y="5024474"/>
                  <a:pt x="2213213" y="5023542"/>
                  <a:pt x="2211616" y="5022876"/>
                </a:cubicBezTo>
                <a:cubicBezTo>
                  <a:pt x="2210151" y="5022211"/>
                  <a:pt x="2208554" y="5021945"/>
                  <a:pt x="2206557" y="5021945"/>
                </a:cubicBezTo>
                <a:close/>
                <a:moveTo>
                  <a:pt x="1989030" y="5021945"/>
                </a:moveTo>
                <a:cubicBezTo>
                  <a:pt x="1983173" y="5021945"/>
                  <a:pt x="1980644" y="5023941"/>
                  <a:pt x="1979047" y="5025539"/>
                </a:cubicBezTo>
                <a:cubicBezTo>
                  <a:pt x="1976517" y="5028201"/>
                  <a:pt x="1975453" y="5030996"/>
                  <a:pt x="1975453" y="5034990"/>
                </a:cubicBezTo>
                <a:cubicBezTo>
                  <a:pt x="1975453" y="5039117"/>
                  <a:pt x="1976517" y="5041912"/>
                  <a:pt x="1979047" y="5044441"/>
                </a:cubicBezTo>
                <a:cubicBezTo>
                  <a:pt x="1980644" y="5046040"/>
                  <a:pt x="1983173" y="5047903"/>
                  <a:pt x="1989030" y="5047903"/>
                </a:cubicBezTo>
                <a:cubicBezTo>
                  <a:pt x="1991027" y="5047903"/>
                  <a:pt x="1992759" y="5047504"/>
                  <a:pt x="1994355" y="5046971"/>
                </a:cubicBezTo>
                <a:cubicBezTo>
                  <a:pt x="1995953" y="5046439"/>
                  <a:pt x="1997152" y="5045640"/>
                  <a:pt x="1998083" y="5044574"/>
                </a:cubicBezTo>
                <a:cubicBezTo>
                  <a:pt x="1999147" y="5043376"/>
                  <a:pt x="2000080" y="5042045"/>
                  <a:pt x="2000746" y="5040315"/>
                </a:cubicBezTo>
                <a:cubicBezTo>
                  <a:pt x="2001277" y="5038717"/>
                  <a:pt x="2001676" y="5036853"/>
                  <a:pt x="2001676" y="5034857"/>
                </a:cubicBezTo>
                <a:cubicBezTo>
                  <a:pt x="2001676" y="5032993"/>
                  <a:pt x="2001411" y="5031263"/>
                  <a:pt x="2000746" y="5029666"/>
                </a:cubicBezTo>
                <a:cubicBezTo>
                  <a:pt x="2000080" y="5028068"/>
                  <a:pt x="1999147" y="5026737"/>
                  <a:pt x="1998083" y="5025539"/>
                </a:cubicBezTo>
                <a:cubicBezTo>
                  <a:pt x="1997018" y="5024474"/>
                  <a:pt x="1995687" y="5023542"/>
                  <a:pt x="1994089" y="5022876"/>
                </a:cubicBezTo>
                <a:cubicBezTo>
                  <a:pt x="1992625" y="5022211"/>
                  <a:pt x="1991027" y="5021945"/>
                  <a:pt x="1989030" y="5021945"/>
                </a:cubicBezTo>
                <a:close/>
                <a:moveTo>
                  <a:pt x="1771396" y="5021945"/>
                </a:moveTo>
                <a:cubicBezTo>
                  <a:pt x="1765539" y="5021945"/>
                  <a:pt x="1763010" y="5023941"/>
                  <a:pt x="1761414" y="5025539"/>
                </a:cubicBezTo>
                <a:cubicBezTo>
                  <a:pt x="1758885" y="5028201"/>
                  <a:pt x="1757820" y="5030996"/>
                  <a:pt x="1757820" y="5034990"/>
                </a:cubicBezTo>
                <a:cubicBezTo>
                  <a:pt x="1757820" y="5039117"/>
                  <a:pt x="1758885" y="5041912"/>
                  <a:pt x="1761414" y="5044441"/>
                </a:cubicBezTo>
                <a:cubicBezTo>
                  <a:pt x="1763010" y="5046040"/>
                  <a:pt x="1765539" y="5047903"/>
                  <a:pt x="1771396" y="5047903"/>
                </a:cubicBezTo>
                <a:cubicBezTo>
                  <a:pt x="1773393" y="5047903"/>
                  <a:pt x="1775257" y="5047504"/>
                  <a:pt x="1776721" y="5046971"/>
                </a:cubicBezTo>
                <a:cubicBezTo>
                  <a:pt x="1778185" y="5046439"/>
                  <a:pt x="1779515" y="5045640"/>
                  <a:pt x="1780447" y="5044574"/>
                </a:cubicBezTo>
                <a:cubicBezTo>
                  <a:pt x="1781512" y="5043376"/>
                  <a:pt x="1782444" y="5042045"/>
                  <a:pt x="1783110" y="5040315"/>
                </a:cubicBezTo>
                <a:cubicBezTo>
                  <a:pt x="1783775" y="5038717"/>
                  <a:pt x="1784174" y="5036853"/>
                  <a:pt x="1784174" y="5034857"/>
                </a:cubicBezTo>
                <a:cubicBezTo>
                  <a:pt x="1784174" y="5032993"/>
                  <a:pt x="1783775" y="5031263"/>
                  <a:pt x="1783110" y="5029666"/>
                </a:cubicBezTo>
                <a:cubicBezTo>
                  <a:pt x="1782444" y="5028068"/>
                  <a:pt x="1781512" y="5026737"/>
                  <a:pt x="1780447" y="5025539"/>
                </a:cubicBezTo>
                <a:cubicBezTo>
                  <a:pt x="1779382" y="5024474"/>
                  <a:pt x="1778052" y="5023542"/>
                  <a:pt x="1776455" y="5022876"/>
                </a:cubicBezTo>
                <a:cubicBezTo>
                  <a:pt x="1774990" y="5022211"/>
                  <a:pt x="1773393" y="5021945"/>
                  <a:pt x="1771396" y="5021945"/>
                </a:cubicBezTo>
                <a:close/>
                <a:moveTo>
                  <a:pt x="1553758" y="5021945"/>
                </a:moveTo>
                <a:cubicBezTo>
                  <a:pt x="1547900" y="5021945"/>
                  <a:pt x="1545372" y="5023941"/>
                  <a:pt x="1543775" y="5025539"/>
                </a:cubicBezTo>
                <a:cubicBezTo>
                  <a:pt x="1541245" y="5028201"/>
                  <a:pt x="1540180" y="5030996"/>
                  <a:pt x="1540180" y="5034990"/>
                </a:cubicBezTo>
                <a:cubicBezTo>
                  <a:pt x="1540180" y="5039117"/>
                  <a:pt x="1541245" y="5041912"/>
                  <a:pt x="1543775" y="5044441"/>
                </a:cubicBezTo>
                <a:cubicBezTo>
                  <a:pt x="1545372" y="5046040"/>
                  <a:pt x="1547900" y="5047903"/>
                  <a:pt x="1553758" y="5047903"/>
                </a:cubicBezTo>
                <a:cubicBezTo>
                  <a:pt x="1555755" y="5047903"/>
                  <a:pt x="1557619" y="5047504"/>
                  <a:pt x="1559083" y="5046971"/>
                </a:cubicBezTo>
                <a:cubicBezTo>
                  <a:pt x="1560547" y="5046439"/>
                  <a:pt x="1561879" y="5045640"/>
                  <a:pt x="1562810" y="5044574"/>
                </a:cubicBezTo>
                <a:cubicBezTo>
                  <a:pt x="1563875" y="5043376"/>
                  <a:pt x="1564807" y="5042045"/>
                  <a:pt x="1565473" y="5040315"/>
                </a:cubicBezTo>
                <a:cubicBezTo>
                  <a:pt x="1566138" y="5038717"/>
                  <a:pt x="1566538" y="5036853"/>
                  <a:pt x="1566538" y="5034857"/>
                </a:cubicBezTo>
                <a:cubicBezTo>
                  <a:pt x="1566538" y="5032993"/>
                  <a:pt x="1566138" y="5031263"/>
                  <a:pt x="1565473" y="5029666"/>
                </a:cubicBezTo>
                <a:cubicBezTo>
                  <a:pt x="1564807" y="5028068"/>
                  <a:pt x="1563875" y="5026737"/>
                  <a:pt x="1562810" y="5025539"/>
                </a:cubicBezTo>
                <a:cubicBezTo>
                  <a:pt x="1561745" y="5024474"/>
                  <a:pt x="1560414" y="5023542"/>
                  <a:pt x="1558816" y="5022876"/>
                </a:cubicBezTo>
                <a:cubicBezTo>
                  <a:pt x="1557352" y="5022211"/>
                  <a:pt x="1555755" y="5021945"/>
                  <a:pt x="1553758" y="5021945"/>
                </a:cubicBezTo>
                <a:close/>
                <a:moveTo>
                  <a:pt x="1336114" y="5021945"/>
                </a:moveTo>
                <a:cubicBezTo>
                  <a:pt x="1330256" y="5021945"/>
                  <a:pt x="1327727" y="5023941"/>
                  <a:pt x="1326131" y="5025539"/>
                </a:cubicBezTo>
                <a:cubicBezTo>
                  <a:pt x="1323600" y="5028201"/>
                  <a:pt x="1322536" y="5030996"/>
                  <a:pt x="1322536" y="5034990"/>
                </a:cubicBezTo>
                <a:cubicBezTo>
                  <a:pt x="1322536" y="5039117"/>
                  <a:pt x="1323600" y="5041912"/>
                  <a:pt x="1326131" y="5044441"/>
                </a:cubicBezTo>
                <a:cubicBezTo>
                  <a:pt x="1327727" y="5046040"/>
                  <a:pt x="1330256" y="5047903"/>
                  <a:pt x="1336114" y="5047903"/>
                </a:cubicBezTo>
                <a:cubicBezTo>
                  <a:pt x="1338244" y="5047903"/>
                  <a:pt x="1339974" y="5047504"/>
                  <a:pt x="1341441" y="5046971"/>
                </a:cubicBezTo>
                <a:cubicBezTo>
                  <a:pt x="1342904" y="5046439"/>
                  <a:pt x="1344236" y="5045640"/>
                  <a:pt x="1345168" y="5044574"/>
                </a:cubicBezTo>
                <a:cubicBezTo>
                  <a:pt x="1346232" y="5043376"/>
                  <a:pt x="1347165" y="5042045"/>
                  <a:pt x="1347830" y="5040315"/>
                </a:cubicBezTo>
                <a:cubicBezTo>
                  <a:pt x="1348496" y="5038717"/>
                  <a:pt x="1348896" y="5036853"/>
                  <a:pt x="1348896" y="5034857"/>
                </a:cubicBezTo>
                <a:cubicBezTo>
                  <a:pt x="1348896" y="5032993"/>
                  <a:pt x="1348496" y="5031263"/>
                  <a:pt x="1347830" y="5029666"/>
                </a:cubicBezTo>
                <a:cubicBezTo>
                  <a:pt x="1347165" y="5028068"/>
                  <a:pt x="1346232" y="5026737"/>
                  <a:pt x="1345168" y="5025539"/>
                </a:cubicBezTo>
                <a:cubicBezTo>
                  <a:pt x="1344103" y="5024474"/>
                  <a:pt x="1342771" y="5023542"/>
                  <a:pt x="1341173" y="5022876"/>
                </a:cubicBezTo>
                <a:cubicBezTo>
                  <a:pt x="1339709" y="5022211"/>
                  <a:pt x="1338110" y="5021945"/>
                  <a:pt x="1336114" y="5021945"/>
                </a:cubicBezTo>
                <a:close/>
                <a:moveTo>
                  <a:pt x="1118602" y="5021945"/>
                </a:moveTo>
                <a:cubicBezTo>
                  <a:pt x="1112743" y="5021945"/>
                  <a:pt x="1110214" y="5023941"/>
                  <a:pt x="1108617" y="5025539"/>
                </a:cubicBezTo>
                <a:cubicBezTo>
                  <a:pt x="1105954" y="5028201"/>
                  <a:pt x="1104890" y="5030996"/>
                  <a:pt x="1104890" y="5034990"/>
                </a:cubicBezTo>
                <a:cubicBezTo>
                  <a:pt x="1104890" y="5039117"/>
                  <a:pt x="1105954" y="5041912"/>
                  <a:pt x="1108484" y="5044441"/>
                </a:cubicBezTo>
                <a:cubicBezTo>
                  <a:pt x="1110081" y="5046040"/>
                  <a:pt x="1112610" y="5047903"/>
                  <a:pt x="1118469" y="5047903"/>
                </a:cubicBezTo>
                <a:cubicBezTo>
                  <a:pt x="1120599" y="5047903"/>
                  <a:pt x="1122331" y="5047504"/>
                  <a:pt x="1123926" y="5046971"/>
                </a:cubicBezTo>
                <a:cubicBezTo>
                  <a:pt x="1125391" y="5046439"/>
                  <a:pt x="1126726" y="5045640"/>
                  <a:pt x="1127656" y="5044574"/>
                </a:cubicBezTo>
                <a:cubicBezTo>
                  <a:pt x="1128721" y="5043376"/>
                  <a:pt x="1129653" y="5042045"/>
                  <a:pt x="1130320" y="5040315"/>
                </a:cubicBezTo>
                <a:cubicBezTo>
                  <a:pt x="1130984" y="5038717"/>
                  <a:pt x="1131384" y="5036853"/>
                  <a:pt x="1131384" y="5034857"/>
                </a:cubicBezTo>
                <a:cubicBezTo>
                  <a:pt x="1131384" y="5032993"/>
                  <a:pt x="1130984" y="5031263"/>
                  <a:pt x="1130320" y="5029666"/>
                </a:cubicBezTo>
                <a:cubicBezTo>
                  <a:pt x="1129653" y="5028068"/>
                  <a:pt x="1128721" y="5026737"/>
                  <a:pt x="1127656" y="5025539"/>
                </a:cubicBezTo>
                <a:cubicBezTo>
                  <a:pt x="1126591" y="5024474"/>
                  <a:pt x="1125258" y="5023542"/>
                  <a:pt x="1123661" y="5022876"/>
                </a:cubicBezTo>
                <a:cubicBezTo>
                  <a:pt x="1122198" y="5022211"/>
                  <a:pt x="1120599" y="5021945"/>
                  <a:pt x="1118602" y="5021945"/>
                </a:cubicBezTo>
                <a:close/>
                <a:moveTo>
                  <a:pt x="901090" y="5021945"/>
                </a:moveTo>
                <a:cubicBezTo>
                  <a:pt x="895232" y="5021945"/>
                  <a:pt x="892703" y="5023941"/>
                  <a:pt x="891106" y="5025539"/>
                </a:cubicBezTo>
                <a:cubicBezTo>
                  <a:pt x="888443" y="5028201"/>
                  <a:pt x="887379" y="5030996"/>
                  <a:pt x="887379" y="5034990"/>
                </a:cubicBezTo>
                <a:cubicBezTo>
                  <a:pt x="887379" y="5039117"/>
                  <a:pt x="888443" y="5041912"/>
                  <a:pt x="890973" y="5044441"/>
                </a:cubicBezTo>
                <a:cubicBezTo>
                  <a:pt x="892570" y="5046040"/>
                  <a:pt x="895099" y="5047903"/>
                  <a:pt x="900956" y="5047903"/>
                </a:cubicBezTo>
                <a:cubicBezTo>
                  <a:pt x="902953" y="5047903"/>
                  <a:pt x="904684" y="5047504"/>
                  <a:pt x="906414" y="5046971"/>
                </a:cubicBezTo>
                <a:cubicBezTo>
                  <a:pt x="907878" y="5046439"/>
                  <a:pt x="909210" y="5045640"/>
                  <a:pt x="910142" y="5044574"/>
                </a:cubicBezTo>
                <a:cubicBezTo>
                  <a:pt x="911206" y="5043376"/>
                  <a:pt x="912138" y="5042045"/>
                  <a:pt x="912804" y="5040315"/>
                </a:cubicBezTo>
                <a:cubicBezTo>
                  <a:pt x="913469" y="5038717"/>
                  <a:pt x="913869" y="5036853"/>
                  <a:pt x="913869" y="5034857"/>
                </a:cubicBezTo>
                <a:cubicBezTo>
                  <a:pt x="913869" y="5032993"/>
                  <a:pt x="913469" y="5031263"/>
                  <a:pt x="912804" y="5029666"/>
                </a:cubicBezTo>
                <a:cubicBezTo>
                  <a:pt x="912138" y="5028068"/>
                  <a:pt x="911206" y="5026737"/>
                  <a:pt x="910142" y="5025539"/>
                </a:cubicBezTo>
                <a:cubicBezTo>
                  <a:pt x="909077" y="5024474"/>
                  <a:pt x="907745" y="5023542"/>
                  <a:pt x="906148" y="5022876"/>
                </a:cubicBezTo>
                <a:cubicBezTo>
                  <a:pt x="904684" y="5022211"/>
                  <a:pt x="903086" y="5021945"/>
                  <a:pt x="901090" y="5021945"/>
                </a:cubicBezTo>
                <a:close/>
                <a:moveTo>
                  <a:pt x="683315" y="5021945"/>
                </a:moveTo>
                <a:cubicBezTo>
                  <a:pt x="677458" y="5021945"/>
                  <a:pt x="674929" y="5023941"/>
                  <a:pt x="673332" y="5025539"/>
                </a:cubicBezTo>
                <a:cubicBezTo>
                  <a:pt x="670802" y="5028201"/>
                  <a:pt x="669738" y="5030996"/>
                  <a:pt x="669738" y="5034990"/>
                </a:cubicBezTo>
                <a:cubicBezTo>
                  <a:pt x="669738" y="5039117"/>
                  <a:pt x="670802" y="5041912"/>
                  <a:pt x="673332" y="5044441"/>
                </a:cubicBezTo>
                <a:cubicBezTo>
                  <a:pt x="674929" y="5046040"/>
                  <a:pt x="677458" y="5047903"/>
                  <a:pt x="683315" y="5047903"/>
                </a:cubicBezTo>
                <a:cubicBezTo>
                  <a:pt x="685312" y="5047903"/>
                  <a:pt x="687176" y="5047504"/>
                  <a:pt x="688641" y="5046971"/>
                </a:cubicBezTo>
                <a:cubicBezTo>
                  <a:pt x="690105" y="5046439"/>
                  <a:pt x="691436" y="5045640"/>
                  <a:pt x="692368" y="5044574"/>
                </a:cubicBezTo>
                <a:cubicBezTo>
                  <a:pt x="693432" y="5043376"/>
                  <a:pt x="694364" y="5042045"/>
                  <a:pt x="695031" y="5040315"/>
                </a:cubicBezTo>
                <a:cubicBezTo>
                  <a:pt x="695696" y="5038717"/>
                  <a:pt x="696096" y="5036853"/>
                  <a:pt x="696096" y="5034857"/>
                </a:cubicBezTo>
                <a:cubicBezTo>
                  <a:pt x="696096" y="5032993"/>
                  <a:pt x="695696" y="5031263"/>
                  <a:pt x="695031" y="5029666"/>
                </a:cubicBezTo>
                <a:cubicBezTo>
                  <a:pt x="694364" y="5028068"/>
                  <a:pt x="693432" y="5026737"/>
                  <a:pt x="692368" y="5025539"/>
                </a:cubicBezTo>
                <a:cubicBezTo>
                  <a:pt x="691302" y="5024474"/>
                  <a:pt x="689971" y="5023542"/>
                  <a:pt x="688375" y="5022876"/>
                </a:cubicBezTo>
                <a:cubicBezTo>
                  <a:pt x="686911" y="5022211"/>
                  <a:pt x="685312" y="5021945"/>
                  <a:pt x="683315" y="5021945"/>
                </a:cubicBezTo>
                <a:close/>
                <a:moveTo>
                  <a:pt x="465674" y="5021945"/>
                </a:moveTo>
                <a:cubicBezTo>
                  <a:pt x="459817" y="5021945"/>
                  <a:pt x="457288" y="5023941"/>
                  <a:pt x="455691" y="5025539"/>
                </a:cubicBezTo>
                <a:cubicBezTo>
                  <a:pt x="453160" y="5028201"/>
                  <a:pt x="452097" y="5030996"/>
                  <a:pt x="452097" y="5034990"/>
                </a:cubicBezTo>
                <a:cubicBezTo>
                  <a:pt x="452097" y="5039117"/>
                  <a:pt x="453160" y="5041912"/>
                  <a:pt x="455691" y="5044441"/>
                </a:cubicBezTo>
                <a:cubicBezTo>
                  <a:pt x="457288" y="5046040"/>
                  <a:pt x="459817" y="5047903"/>
                  <a:pt x="465674" y="5047903"/>
                </a:cubicBezTo>
                <a:cubicBezTo>
                  <a:pt x="467671" y="5047903"/>
                  <a:pt x="469535" y="5047504"/>
                  <a:pt x="470999" y="5046971"/>
                </a:cubicBezTo>
                <a:cubicBezTo>
                  <a:pt x="472463" y="5046439"/>
                  <a:pt x="473794" y="5045640"/>
                  <a:pt x="474726" y="5044574"/>
                </a:cubicBezTo>
                <a:cubicBezTo>
                  <a:pt x="475791" y="5043376"/>
                  <a:pt x="476723" y="5042045"/>
                  <a:pt x="477389" y="5040315"/>
                </a:cubicBezTo>
                <a:cubicBezTo>
                  <a:pt x="478054" y="5038717"/>
                  <a:pt x="478454" y="5036853"/>
                  <a:pt x="478454" y="5034857"/>
                </a:cubicBezTo>
                <a:cubicBezTo>
                  <a:pt x="478454" y="5032993"/>
                  <a:pt x="478054" y="5031263"/>
                  <a:pt x="477389" y="5029666"/>
                </a:cubicBezTo>
                <a:cubicBezTo>
                  <a:pt x="476723" y="5028068"/>
                  <a:pt x="475791" y="5026737"/>
                  <a:pt x="474726" y="5025539"/>
                </a:cubicBezTo>
                <a:cubicBezTo>
                  <a:pt x="473661" y="5024474"/>
                  <a:pt x="472330" y="5023542"/>
                  <a:pt x="470733" y="5022876"/>
                </a:cubicBezTo>
                <a:cubicBezTo>
                  <a:pt x="469269" y="5022211"/>
                  <a:pt x="467671" y="5021945"/>
                  <a:pt x="465674" y="5021945"/>
                </a:cubicBezTo>
                <a:close/>
                <a:moveTo>
                  <a:pt x="248032" y="5021945"/>
                </a:moveTo>
                <a:cubicBezTo>
                  <a:pt x="242175" y="5021945"/>
                  <a:pt x="239646" y="5023941"/>
                  <a:pt x="238049" y="5025539"/>
                </a:cubicBezTo>
                <a:cubicBezTo>
                  <a:pt x="235520" y="5028201"/>
                  <a:pt x="234456" y="5030996"/>
                  <a:pt x="234456" y="5034990"/>
                </a:cubicBezTo>
                <a:cubicBezTo>
                  <a:pt x="234456" y="5039117"/>
                  <a:pt x="235520" y="5041912"/>
                  <a:pt x="238049" y="5044441"/>
                </a:cubicBezTo>
                <a:cubicBezTo>
                  <a:pt x="239646" y="5046040"/>
                  <a:pt x="242175" y="5047903"/>
                  <a:pt x="248032" y="5047903"/>
                </a:cubicBezTo>
                <a:cubicBezTo>
                  <a:pt x="250162" y="5047903"/>
                  <a:pt x="251893" y="5047504"/>
                  <a:pt x="253357" y="5046971"/>
                </a:cubicBezTo>
                <a:cubicBezTo>
                  <a:pt x="254821" y="5046439"/>
                  <a:pt x="256151" y="5045640"/>
                  <a:pt x="257083" y="5044574"/>
                </a:cubicBezTo>
                <a:cubicBezTo>
                  <a:pt x="258148" y="5043376"/>
                  <a:pt x="259080" y="5042045"/>
                  <a:pt x="259746" y="5040315"/>
                </a:cubicBezTo>
                <a:cubicBezTo>
                  <a:pt x="260411" y="5038717"/>
                  <a:pt x="260811" y="5036853"/>
                  <a:pt x="260811" y="5034857"/>
                </a:cubicBezTo>
                <a:cubicBezTo>
                  <a:pt x="260811" y="5032993"/>
                  <a:pt x="260411" y="5031263"/>
                  <a:pt x="259746" y="5029666"/>
                </a:cubicBezTo>
                <a:cubicBezTo>
                  <a:pt x="259080" y="5028068"/>
                  <a:pt x="258148" y="5026737"/>
                  <a:pt x="257083" y="5025539"/>
                </a:cubicBezTo>
                <a:cubicBezTo>
                  <a:pt x="256018" y="5024474"/>
                  <a:pt x="254687" y="5023542"/>
                  <a:pt x="253091" y="5022876"/>
                </a:cubicBezTo>
                <a:cubicBezTo>
                  <a:pt x="251626" y="5022211"/>
                  <a:pt x="250029" y="5021945"/>
                  <a:pt x="248032" y="5021945"/>
                </a:cubicBezTo>
                <a:close/>
                <a:moveTo>
                  <a:pt x="30390" y="5021945"/>
                </a:moveTo>
                <a:cubicBezTo>
                  <a:pt x="24533" y="5021945"/>
                  <a:pt x="22004" y="5023941"/>
                  <a:pt x="20407" y="5025539"/>
                </a:cubicBezTo>
                <a:cubicBezTo>
                  <a:pt x="17877" y="5028201"/>
                  <a:pt x="16814" y="5030996"/>
                  <a:pt x="16814" y="5034990"/>
                </a:cubicBezTo>
                <a:cubicBezTo>
                  <a:pt x="16814" y="5039117"/>
                  <a:pt x="17877" y="5041912"/>
                  <a:pt x="20407" y="5044441"/>
                </a:cubicBezTo>
                <a:cubicBezTo>
                  <a:pt x="22004" y="5046040"/>
                  <a:pt x="24533" y="5047903"/>
                  <a:pt x="30390" y="5047903"/>
                </a:cubicBezTo>
                <a:cubicBezTo>
                  <a:pt x="32520" y="5047903"/>
                  <a:pt x="34251" y="5047504"/>
                  <a:pt x="35715" y="5046971"/>
                </a:cubicBezTo>
                <a:cubicBezTo>
                  <a:pt x="37179" y="5046439"/>
                  <a:pt x="38511" y="5045640"/>
                  <a:pt x="39442" y="5044574"/>
                </a:cubicBezTo>
                <a:cubicBezTo>
                  <a:pt x="40507" y="5043376"/>
                  <a:pt x="41439" y="5042045"/>
                  <a:pt x="42105" y="5040315"/>
                </a:cubicBezTo>
                <a:cubicBezTo>
                  <a:pt x="42770" y="5038717"/>
                  <a:pt x="43036" y="5036853"/>
                  <a:pt x="43036" y="5034857"/>
                </a:cubicBezTo>
                <a:cubicBezTo>
                  <a:pt x="43036" y="5032993"/>
                  <a:pt x="42770" y="5031263"/>
                  <a:pt x="42105" y="5029666"/>
                </a:cubicBezTo>
                <a:cubicBezTo>
                  <a:pt x="41439" y="5028068"/>
                  <a:pt x="40507" y="5026737"/>
                  <a:pt x="39442" y="5025539"/>
                </a:cubicBezTo>
                <a:cubicBezTo>
                  <a:pt x="38377" y="5024474"/>
                  <a:pt x="37046" y="5023542"/>
                  <a:pt x="35449" y="5022876"/>
                </a:cubicBezTo>
                <a:cubicBezTo>
                  <a:pt x="33985" y="5022211"/>
                  <a:pt x="32387" y="5021945"/>
                  <a:pt x="30390" y="5021945"/>
                </a:cubicBezTo>
                <a:close/>
                <a:moveTo>
                  <a:pt x="10475977" y="5005305"/>
                </a:moveTo>
                <a:cubicBezTo>
                  <a:pt x="10480237" y="5005305"/>
                  <a:pt x="10484230" y="5006104"/>
                  <a:pt x="10487824" y="5007834"/>
                </a:cubicBezTo>
                <a:cubicBezTo>
                  <a:pt x="10491419" y="5009432"/>
                  <a:pt x="10494613" y="5011561"/>
                  <a:pt x="10497143" y="5014224"/>
                </a:cubicBezTo>
                <a:cubicBezTo>
                  <a:pt x="10499672" y="5016753"/>
                  <a:pt x="10501801" y="5019948"/>
                  <a:pt x="10503266" y="5023542"/>
                </a:cubicBezTo>
                <a:cubicBezTo>
                  <a:pt x="10504730" y="5027136"/>
                  <a:pt x="10505529" y="5030996"/>
                  <a:pt x="10505529" y="5034990"/>
                </a:cubicBezTo>
                <a:cubicBezTo>
                  <a:pt x="10505529" y="5039117"/>
                  <a:pt x="10504730" y="5043110"/>
                  <a:pt x="10503266" y="5046705"/>
                </a:cubicBezTo>
                <a:cubicBezTo>
                  <a:pt x="10501669" y="5050299"/>
                  <a:pt x="10499672" y="5053361"/>
                  <a:pt x="10497143" y="5056023"/>
                </a:cubicBezTo>
                <a:cubicBezTo>
                  <a:pt x="10494480" y="5058686"/>
                  <a:pt x="10491419" y="5060816"/>
                  <a:pt x="10487824" y="5062280"/>
                </a:cubicBezTo>
                <a:cubicBezTo>
                  <a:pt x="10484098" y="5063744"/>
                  <a:pt x="10480237" y="5064543"/>
                  <a:pt x="10475977" y="5064543"/>
                </a:cubicBezTo>
                <a:cubicBezTo>
                  <a:pt x="10466924" y="5064543"/>
                  <a:pt x="10459736" y="5061614"/>
                  <a:pt x="10454145" y="5056023"/>
                </a:cubicBezTo>
                <a:cubicBezTo>
                  <a:pt x="10448554" y="5050433"/>
                  <a:pt x="10445759" y="5043376"/>
                  <a:pt x="10445759" y="5034857"/>
                </a:cubicBezTo>
                <a:cubicBezTo>
                  <a:pt x="10445759" y="5026604"/>
                  <a:pt x="10448554" y="5019549"/>
                  <a:pt x="10454145" y="5013825"/>
                </a:cubicBezTo>
                <a:cubicBezTo>
                  <a:pt x="10459603" y="5008100"/>
                  <a:pt x="10466924" y="5005305"/>
                  <a:pt x="10475977" y="5005305"/>
                </a:cubicBezTo>
                <a:close/>
                <a:moveTo>
                  <a:pt x="10258466" y="5005305"/>
                </a:moveTo>
                <a:cubicBezTo>
                  <a:pt x="10262592" y="5005305"/>
                  <a:pt x="10266586" y="5006104"/>
                  <a:pt x="10270313" y="5007834"/>
                </a:cubicBezTo>
                <a:cubicBezTo>
                  <a:pt x="10273907" y="5009432"/>
                  <a:pt x="10277101" y="5011561"/>
                  <a:pt x="10279631" y="5014224"/>
                </a:cubicBezTo>
                <a:cubicBezTo>
                  <a:pt x="10282160" y="5016753"/>
                  <a:pt x="10284290" y="5019948"/>
                  <a:pt x="10285754" y="5023542"/>
                </a:cubicBezTo>
                <a:cubicBezTo>
                  <a:pt x="10287218" y="5027136"/>
                  <a:pt x="10288017" y="5030996"/>
                  <a:pt x="10288017" y="5034990"/>
                </a:cubicBezTo>
                <a:cubicBezTo>
                  <a:pt x="10288017" y="5039117"/>
                  <a:pt x="10287218" y="5043110"/>
                  <a:pt x="10285754" y="5046705"/>
                </a:cubicBezTo>
                <a:cubicBezTo>
                  <a:pt x="10284157" y="5050299"/>
                  <a:pt x="10282160" y="5053361"/>
                  <a:pt x="10279631" y="5056023"/>
                </a:cubicBezTo>
                <a:cubicBezTo>
                  <a:pt x="10276969" y="5058686"/>
                  <a:pt x="10273907" y="5060816"/>
                  <a:pt x="10270313" y="5062280"/>
                </a:cubicBezTo>
                <a:cubicBezTo>
                  <a:pt x="10266586" y="5063744"/>
                  <a:pt x="10262725" y="5064543"/>
                  <a:pt x="10258466" y="5064543"/>
                </a:cubicBezTo>
                <a:cubicBezTo>
                  <a:pt x="10249546" y="5064543"/>
                  <a:pt x="10242224" y="5061614"/>
                  <a:pt x="10236633" y="5056023"/>
                </a:cubicBezTo>
                <a:cubicBezTo>
                  <a:pt x="10231043" y="5050433"/>
                  <a:pt x="10228247" y="5043376"/>
                  <a:pt x="10228247" y="5034857"/>
                </a:cubicBezTo>
                <a:cubicBezTo>
                  <a:pt x="10228247" y="5026604"/>
                  <a:pt x="10231176" y="5019549"/>
                  <a:pt x="10236633" y="5013825"/>
                </a:cubicBezTo>
                <a:cubicBezTo>
                  <a:pt x="10242092" y="5008100"/>
                  <a:pt x="10249413" y="5005305"/>
                  <a:pt x="10258466" y="5005305"/>
                </a:cubicBezTo>
                <a:close/>
                <a:moveTo>
                  <a:pt x="10040820" y="5005305"/>
                </a:moveTo>
                <a:cubicBezTo>
                  <a:pt x="10045080" y="5005305"/>
                  <a:pt x="10048941" y="5006104"/>
                  <a:pt x="10052534" y="5007834"/>
                </a:cubicBezTo>
                <a:cubicBezTo>
                  <a:pt x="10056129" y="5009432"/>
                  <a:pt x="10059323" y="5011561"/>
                  <a:pt x="10061852" y="5014224"/>
                </a:cubicBezTo>
                <a:cubicBezTo>
                  <a:pt x="10064382" y="5016753"/>
                  <a:pt x="10066512" y="5019948"/>
                  <a:pt x="10067976" y="5023542"/>
                </a:cubicBezTo>
                <a:cubicBezTo>
                  <a:pt x="10069440" y="5027136"/>
                  <a:pt x="10070239" y="5030996"/>
                  <a:pt x="10070239" y="5034990"/>
                </a:cubicBezTo>
                <a:cubicBezTo>
                  <a:pt x="10070239" y="5039117"/>
                  <a:pt x="10069440" y="5043110"/>
                  <a:pt x="10067976" y="5046705"/>
                </a:cubicBezTo>
                <a:cubicBezTo>
                  <a:pt x="10066379" y="5050299"/>
                  <a:pt x="10064382" y="5053361"/>
                  <a:pt x="10061852" y="5056023"/>
                </a:cubicBezTo>
                <a:cubicBezTo>
                  <a:pt x="10059190" y="5058686"/>
                  <a:pt x="10056129" y="5060816"/>
                  <a:pt x="10052534" y="5062280"/>
                </a:cubicBezTo>
                <a:cubicBezTo>
                  <a:pt x="10048941" y="5063744"/>
                  <a:pt x="10045080" y="5064543"/>
                  <a:pt x="10040820" y="5064543"/>
                </a:cubicBezTo>
                <a:cubicBezTo>
                  <a:pt x="10031767" y="5064543"/>
                  <a:pt x="10024579" y="5061614"/>
                  <a:pt x="10018988" y="5056023"/>
                </a:cubicBezTo>
                <a:cubicBezTo>
                  <a:pt x="10013397" y="5050433"/>
                  <a:pt x="10010602" y="5043376"/>
                  <a:pt x="10010602" y="5034857"/>
                </a:cubicBezTo>
                <a:cubicBezTo>
                  <a:pt x="10010602" y="5026604"/>
                  <a:pt x="10013397" y="5019549"/>
                  <a:pt x="10018988" y="5013825"/>
                </a:cubicBezTo>
                <a:cubicBezTo>
                  <a:pt x="10024579" y="5008100"/>
                  <a:pt x="10031767" y="5005305"/>
                  <a:pt x="10040820" y="5005305"/>
                </a:cubicBezTo>
                <a:close/>
                <a:moveTo>
                  <a:pt x="9823176" y="5005305"/>
                </a:moveTo>
                <a:cubicBezTo>
                  <a:pt x="9827435" y="5005305"/>
                  <a:pt x="9831296" y="5006104"/>
                  <a:pt x="9834890" y="5007834"/>
                </a:cubicBezTo>
                <a:cubicBezTo>
                  <a:pt x="9838617" y="5009432"/>
                  <a:pt x="9841679" y="5011561"/>
                  <a:pt x="9844208" y="5014224"/>
                </a:cubicBezTo>
                <a:cubicBezTo>
                  <a:pt x="9846737" y="5016753"/>
                  <a:pt x="9848867" y="5019948"/>
                  <a:pt x="9850331" y="5023542"/>
                </a:cubicBezTo>
                <a:cubicBezTo>
                  <a:pt x="9851796" y="5027136"/>
                  <a:pt x="9852595" y="5030996"/>
                  <a:pt x="9852595" y="5034990"/>
                </a:cubicBezTo>
                <a:cubicBezTo>
                  <a:pt x="9852595" y="5039117"/>
                  <a:pt x="9851796" y="5043110"/>
                  <a:pt x="9850331" y="5046705"/>
                </a:cubicBezTo>
                <a:cubicBezTo>
                  <a:pt x="9848734" y="5050299"/>
                  <a:pt x="9846737" y="5053361"/>
                  <a:pt x="9844208" y="5056023"/>
                </a:cubicBezTo>
                <a:cubicBezTo>
                  <a:pt x="9841546" y="5058686"/>
                  <a:pt x="9838484" y="5060816"/>
                  <a:pt x="9834890" y="5062280"/>
                </a:cubicBezTo>
                <a:cubicBezTo>
                  <a:pt x="9831296" y="5063744"/>
                  <a:pt x="9827435" y="5064543"/>
                  <a:pt x="9823176" y="5064543"/>
                </a:cubicBezTo>
                <a:cubicBezTo>
                  <a:pt x="9814123" y="5064543"/>
                  <a:pt x="9806935" y="5061614"/>
                  <a:pt x="9801343" y="5056023"/>
                </a:cubicBezTo>
                <a:cubicBezTo>
                  <a:pt x="9795753" y="5050433"/>
                  <a:pt x="9792957" y="5043376"/>
                  <a:pt x="9792957" y="5034857"/>
                </a:cubicBezTo>
                <a:cubicBezTo>
                  <a:pt x="9792957" y="5026604"/>
                  <a:pt x="9795753" y="5019549"/>
                  <a:pt x="9801343" y="5013825"/>
                </a:cubicBezTo>
                <a:cubicBezTo>
                  <a:pt x="9806935" y="5008100"/>
                  <a:pt x="9814123" y="5005305"/>
                  <a:pt x="9823176" y="5005305"/>
                </a:cubicBezTo>
                <a:close/>
                <a:moveTo>
                  <a:pt x="9605531" y="5005305"/>
                </a:moveTo>
                <a:cubicBezTo>
                  <a:pt x="9609790" y="5005305"/>
                  <a:pt x="9613784" y="5006104"/>
                  <a:pt x="9617245" y="5007834"/>
                </a:cubicBezTo>
                <a:cubicBezTo>
                  <a:pt x="9620839" y="5009432"/>
                  <a:pt x="9624033" y="5011561"/>
                  <a:pt x="9626562" y="5014224"/>
                </a:cubicBezTo>
                <a:cubicBezTo>
                  <a:pt x="9629092" y="5016753"/>
                  <a:pt x="9631222" y="5019948"/>
                  <a:pt x="9632686" y="5023542"/>
                </a:cubicBezTo>
                <a:cubicBezTo>
                  <a:pt x="9634150" y="5027136"/>
                  <a:pt x="9634949" y="5030996"/>
                  <a:pt x="9634949" y="5034990"/>
                </a:cubicBezTo>
                <a:cubicBezTo>
                  <a:pt x="9634949" y="5039117"/>
                  <a:pt x="9634150" y="5043110"/>
                  <a:pt x="9632686" y="5046705"/>
                </a:cubicBezTo>
                <a:cubicBezTo>
                  <a:pt x="9631089" y="5050299"/>
                  <a:pt x="9629092" y="5053361"/>
                  <a:pt x="9626562" y="5056023"/>
                </a:cubicBezTo>
                <a:cubicBezTo>
                  <a:pt x="9623901" y="5058686"/>
                  <a:pt x="9620839" y="5060816"/>
                  <a:pt x="9617245" y="5062280"/>
                </a:cubicBezTo>
                <a:cubicBezTo>
                  <a:pt x="9613651" y="5063744"/>
                  <a:pt x="9609790" y="5064543"/>
                  <a:pt x="9605531" y="5064543"/>
                </a:cubicBezTo>
                <a:cubicBezTo>
                  <a:pt x="9596610" y="5064543"/>
                  <a:pt x="9589289" y="5061614"/>
                  <a:pt x="9583698" y="5056023"/>
                </a:cubicBezTo>
                <a:cubicBezTo>
                  <a:pt x="9578108" y="5050433"/>
                  <a:pt x="9575312" y="5043376"/>
                  <a:pt x="9575312" y="5034857"/>
                </a:cubicBezTo>
                <a:cubicBezTo>
                  <a:pt x="9575312" y="5026604"/>
                  <a:pt x="9578108" y="5019549"/>
                  <a:pt x="9583698" y="5013825"/>
                </a:cubicBezTo>
                <a:cubicBezTo>
                  <a:pt x="9589289" y="5008100"/>
                  <a:pt x="9596478" y="5005305"/>
                  <a:pt x="9605531" y="5005305"/>
                </a:cubicBezTo>
                <a:close/>
                <a:moveTo>
                  <a:pt x="9387885" y="5005305"/>
                </a:moveTo>
                <a:cubicBezTo>
                  <a:pt x="9392145" y="5005305"/>
                  <a:pt x="9396138" y="5006104"/>
                  <a:pt x="9399599" y="5007834"/>
                </a:cubicBezTo>
                <a:cubicBezTo>
                  <a:pt x="9403194" y="5009432"/>
                  <a:pt x="9406388" y="5011561"/>
                  <a:pt x="9408917" y="5014224"/>
                </a:cubicBezTo>
                <a:cubicBezTo>
                  <a:pt x="9411447" y="5016753"/>
                  <a:pt x="9413576" y="5019948"/>
                  <a:pt x="9415041" y="5023542"/>
                </a:cubicBezTo>
                <a:cubicBezTo>
                  <a:pt x="9416505" y="5027136"/>
                  <a:pt x="9417304" y="5030996"/>
                  <a:pt x="9417304" y="5034990"/>
                </a:cubicBezTo>
                <a:cubicBezTo>
                  <a:pt x="9417304" y="5039117"/>
                  <a:pt x="9416505" y="5043110"/>
                  <a:pt x="9415041" y="5046705"/>
                </a:cubicBezTo>
                <a:cubicBezTo>
                  <a:pt x="9413444" y="5050299"/>
                  <a:pt x="9411447" y="5053361"/>
                  <a:pt x="9408917" y="5056023"/>
                </a:cubicBezTo>
                <a:cubicBezTo>
                  <a:pt x="9406255" y="5058686"/>
                  <a:pt x="9403194" y="5060816"/>
                  <a:pt x="9399599" y="5062280"/>
                </a:cubicBezTo>
                <a:cubicBezTo>
                  <a:pt x="9396005" y="5063744"/>
                  <a:pt x="9392145" y="5064543"/>
                  <a:pt x="9387885" y="5064543"/>
                </a:cubicBezTo>
                <a:cubicBezTo>
                  <a:pt x="9378965" y="5064543"/>
                  <a:pt x="9371644" y="5061614"/>
                  <a:pt x="9366053" y="5056023"/>
                </a:cubicBezTo>
                <a:cubicBezTo>
                  <a:pt x="9360462" y="5050433"/>
                  <a:pt x="9357667" y="5043376"/>
                  <a:pt x="9357667" y="5034857"/>
                </a:cubicBezTo>
                <a:cubicBezTo>
                  <a:pt x="9357667" y="5026604"/>
                  <a:pt x="9360462" y="5019549"/>
                  <a:pt x="9366053" y="5013825"/>
                </a:cubicBezTo>
                <a:cubicBezTo>
                  <a:pt x="9371644" y="5008100"/>
                  <a:pt x="9378832" y="5005305"/>
                  <a:pt x="9387885" y="5005305"/>
                </a:cubicBezTo>
                <a:close/>
                <a:moveTo>
                  <a:pt x="9170374" y="5005305"/>
                </a:moveTo>
                <a:cubicBezTo>
                  <a:pt x="9174500" y="5005305"/>
                  <a:pt x="9178494" y="5006104"/>
                  <a:pt x="9182088" y="5007834"/>
                </a:cubicBezTo>
                <a:cubicBezTo>
                  <a:pt x="9185682" y="5009432"/>
                  <a:pt x="9188876" y="5011561"/>
                  <a:pt x="9191405" y="5014224"/>
                </a:cubicBezTo>
                <a:cubicBezTo>
                  <a:pt x="9193935" y="5016753"/>
                  <a:pt x="9196065" y="5019948"/>
                  <a:pt x="9197529" y="5023542"/>
                </a:cubicBezTo>
                <a:cubicBezTo>
                  <a:pt x="9198993" y="5027136"/>
                  <a:pt x="9199792" y="5030996"/>
                  <a:pt x="9199792" y="5034990"/>
                </a:cubicBezTo>
                <a:cubicBezTo>
                  <a:pt x="9199792" y="5039117"/>
                  <a:pt x="9198993" y="5043110"/>
                  <a:pt x="9197529" y="5046705"/>
                </a:cubicBezTo>
                <a:cubicBezTo>
                  <a:pt x="9195932" y="5050299"/>
                  <a:pt x="9193935" y="5053361"/>
                  <a:pt x="9191405" y="5056023"/>
                </a:cubicBezTo>
                <a:cubicBezTo>
                  <a:pt x="9188744" y="5058686"/>
                  <a:pt x="9185682" y="5060816"/>
                  <a:pt x="9182088" y="5062280"/>
                </a:cubicBezTo>
                <a:cubicBezTo>
                  <a:pt x="9178494" y="5063744"/>
                  <a:pt x="9174633" y="5064543"/>
                  <a:pt x="9170374" y="5064543"/>
                </a:cubicBezTo>
                <a:cubicBezTo>
                  <a:pt x="9161453" y="5064543"/>
                  <a:pt x="9154132" y="5061614"/>
                  <a:pt x="9148541" y="5056023"/>
                </a:cubicBezTo>
                <a:cubicBezTo>
                  <a:pt x="9142951" y="5050433"/>
                  <a:pt x="9140155" y="5043376"/>
                  <a:pt x="9140155" y="5034857"/>
                </a:cubicBezTo>
                <a:cubicBezTo>
                  <a:pt x="9140155" y="5026604"/>
                  <a:pt x="9142951" y="5019549"/>
                  <a:pt x="9148541" y="5013825"/>
                </a:cubicBezTo>
                <a:cubicBezTo>
                  <a:pt x="9154132" y="5008100"/>
                  <a:pt x="9161321" y="5005305"/>
                  <a:pt x="9170374" y="5005305"/>
                </a:cubicBezTo>
                <a:close/>
                <a:moveTo>
                  <a:pt x="8952728" y="5005305"/>
                </a:moveTo>
                <a:cubicBezTo>
                  <a:pt x="8956988" y="5005305"/>
                  <a:pt x="8960849" y="5006104"/>
                  <a:pt x="8964442" y="5007834"/>
                </a:cubicBezTo>
                <a:cubicBezTo>
                  <a:pt x="8968037" y="5009432"/>
                  <a:pt x="8971231" y="5011561"/>
                  <a:pt x="8973760" y="5014224"/>
                </a:cubicBezTo>
                <a:cubicBezTo>
                  <a:pt x="8976290" y="5016753"/>
                  <a:pt x="8978419" y="5019948"/>
                  <a:pt x="8979884" y="5023542"/>
                </a:cubicBezTo>
                <a:cubicBezTo>
                  <a:pt x="8981348" y="5027136"/>
                  <a:pt x="8982147" y="5030996"/>
                  <a:pt x="8982147" y="5034990"/>
                </a:cubicBezTo>
                <a:cubicBezTo>
                  <a:pt x="8982147" y="5039117"/>
                  <a:pt x="8981348" y="5043110"/>
                  <a:pt x="8979884" y="5046705"/>
                </a:cubicBezTo>
                <a:cubicBezTo>
                  <a:pt x="8978287" y="5050299"/>
                  <a:pt x="8976290" y="5053361"/>
                  <a:pt x="8973760" y="5056023"/>
                </a:cubicBezTo>
                <a:cubicBezTo>
                  <a:pt x="8971098" y="5058686"/>
                  <a:pt x="8968037" y="5060816"/>
                  <a:pt x="8964442" y="5062280"/>
                </a:cubicBezTo>
                <a:cubicBezTo>
                  <a:pt x="8960849" y="5063744"/>
                  <a:pt x="8956988" y="5064543"/>
                  <a:pt x="8952728" y="5064543"/>
                </a:cubicBezTo>
                <a:cubicBezTo>
                  <a:pt x="8943808" y="5064543"/>
                  <a:pt x="8936487" y="5061614"/>
                  <a:pt x="8930896" y="5056023"/>
                </a:cubicBezTo>
                <a:cubicBezTo>
                  <a:pt x="8925305" y="5050433"/>
                  <a:pt x="8922510" y="5043376"/>
                  <a:pt x="8922510" y="5034857"/>
                </a:cubicBezTo>
                <a:cubicBezTo>
                  <a:pt x="8922510" y="5026604"/>
                  <a:pt x="8925305" y="5019549"/>
                  <a:pt x="8930896" y="5013825"/>
                </a:cubicBezTo>
                <a:cubicBezTo>
                  <a:pt x="8936487" y="5008100"/>
                  <a:pt x="8943675" y="5005305"/>
                  <a:pt x="8952728" y="5005305"/>
                </a:cubicBezTo>
                <a:close/>
                <a:moveTo>
                  <a:pt x="8735083" y="5005305"/>
                </a:moveTo>
                <a:cubicBezTo>
                  <a:pt x="8739342" y="5005305"/>
                  <a:pt x="8743203" y="5006104"/>
                  <a:pt x="8746797" y="5007834"/>
                </a:cubicBezTo>
                <a:cubicBezTo>
                  <a:pt x="8750391" y="5009432"/>
                  <a:pt x="8753586" y="5011561"/>
                  <a:pt x="8756115" y="5014224"/>
                </a:cubicBezTo>
                <a:cubicBezTo>
                  <a:pt x="8758644" y="5016753"/>
                  <a:pt x="8760774" y="5019948"/>
                  <a:pt x="8762238" y="5023542"/>
                </a:cubicBezTo>
                <a:cubicBezTo>
                  <a:pt x="8763702" y="5027136"/>
                  <a:pt x="8764502" y="5030996"/>
                  <a:pt x="8764502" y="5034990"/>
                </a:cubicBezTo>
                <a:cubicBezTo>
                  <a:pt x="8764502" y="5039117"/>
                  <a:pt x="8763702" y="5043110"/>
                  <a:pt x="8762238" y="5046705"/>
                </a:cubicBezTo>
                <a:cubicBezTo>
                  <a:pt x="8760641" y="5050299"/>
                  <a:pt x="8758644" y="5053361"/>
                  <a:pt x="8756115" y="5056023"/>
                </a:cubicBezTo>
                <a:cubicBezTo>
                  <a:pt x="8753453" y="5058686"/>
                  <a:pt x="8750391" y="5060816"/>
                  <a:pt x="8746797" y="5062280"/>
                </a:cubicBezTo>
                <a:cubicBezTo>
                  <a:pt x="8743203" y="5063744"/>
                  <a:pt x="8739342" y="5064543"/>
                  <a:pt x="8735083" y="5064543"/>
                </a:cubicBezTo>
                <a:cubicBezTo>
                  <a:pt x="8726030" y="5064543"/>
                  <a:pt x="8718841" y="5061614"/>
                  <a:pt x="8713250" y="5056023"/>
                </a:cubicBezTo>
                <a:cubicBezTo>
                  <a:pt x="8707660" y="5050433"/>
                  <a:pt x="8704864" y="5043376"/>
                  <a:pt x="8704864" y="5034857"/>
                </a:cubicBezTo>
                <a:cubicBezTo>
                  <a:pt x="8704864" y="5026604"/>
                  <a:pt x="8707660" y="5019549"/>
                  <a:pt x="8713250" y="5013825"/>
                </a:cubicBezTo>
                <a:cubicBezTo>
                  <a:pt x="8718841" y="5008100"/>
                  <a:pt x="8726030" y="5005305"/>
                  <a:pt x="8735083" y="5005305"/>
                </a:cubicBezTo>
                <a:close/>
                <a:moveTo>
                  <a:pt x="8517438" y="5005305"/>
                </a:moveTo>
                <a:cubicBezTo>
                  <a:pt x="8521698" y="5005305"/>
                  <a:pt x="8525559" y="5006104"/>
                  <a:pt x="8529152" y="5007834"/>
                </a:cubicBezTo>
                <a:cubicBezTo>
                  <a:pt x="8532880" y="5009432"/>
                  <a:pt x="8535941" y="5011561"/>
                  <a:pt x="8538470" y="5014224"/>
                </a:cubicBezTo>
                <a:cubicBezTo>
                  <a:pt x="8541000" y="5016753"/>
                  <a:pt x="8543130" y="5019948"/>
                  <a:pt x="8544594" y="5023542"/>
                </a:cubicBezTo>
                <a:cubicBezTo>
                  <a:pt x="8546058" y="5027136"/>
                  <a:pt x="8546857" y="5030996"/>
                  <a:pt x="8546857" y="5034990"/>
                </a:cubicBezTo>
                <a:cubicBezTo>
                  <a:pt x="8546857" y="5039117"/>
                  <a:pt x="8546058" y="5043110"/>
                  <a:pt x="8544594" y="5046705"/>
                </a:cubicBezTo>
                <a:cubicBezTo>
                  <a:pt x="8542997" y="5050299"/>
                  <a:pt x="8541000" y="5053361"/>
                  <a:pt x="8538470" y="5056023"/>
                </a:cubicBezTo>
                <a:cubicBezTo>
                  <a:pt x="8535808" y="5058686"/>
                  <a:pt x="8532747" y="5060816"/>
                  <a:pt x="8529152" y="5062280"/>
                </a:cubicBezTo>
                <a:cubicBezTo>
                  <a:pt x="8525559" y="5063744"/>
                  <a:pt x="8521698" y="5064543"/>
                  <a:pt x="8517438" y="5064543"/>
                </a:cubicBezTo>
                <a:cubicBezTo>
                  <a:pt x="8508385" y="5064543"/>
                  <a:pt x="8501197" y="5061614"/>
                  <a:pt x="8495606" y="5056023"/>
                </a:cubicBezTo>
                <a:cubicBezTo>
                  <a:pt x="8490015" y="5050433"/>
                  <a:pt x="8487220" y="5043376"/>
                  <a:pt x="8487220" y="5034857"/>
                </a:cubicBezTo>
                <a:cubicBezTo>
                  <a:pt x="8487220" y="5026604"/>
                  <a:pt x="8490015" y="5019549"/>
                  <a:pt x="8495606" y="5013825"/>
                </a:cubicBezTo>
                <a:cubicBezTo>
                  <a:pt x="8501197" y="5008100"/>
                  <a:pt x="8508385" y="5005305"/>
                  <a:pt x="8517438" y="5005305"/>
                </a:cubicBezTo>
                <a:close/>
                <a:moveTo>
                  <a:pt x="8299793" y="5005305"/>
                </a:moveTo>
                <a:cubicBezTo>
                  <a:pt x="8304052" y="5005305"/>
                  <a:pt x="8308046" y="5006104"/>
                  <a:pt x="8311507" y="5007834"/>
                </a:cubicBezTo>
                <a:cubicBezTo>
                  <a:pt x="8315235" y="5009432"/>
                  <a:pt x="8318296" y="5011561"/>
                  <a:pt x="8320825" y="5014224"/>
                </a:cubicBezTo>
                <a:cubicBezTo>
                  <a:pt x="8323354" y="5016753"/>
                  <a:pt x="8325484" y="5019948"/>
                  <a:pt x="8326948" y="5023542"/>
                </a:cubicBezTo>
                <a:cubicBezTo>
                  <a:pt x="8328413" y="5027136"/>
                  <a:pt x="8329212" y="5030996"/>
                  <a:pt x="8329212" y="5034990"/>
                </a:cubicBezTo>
                <a:cubicBezTo>
                  <a:pt x="8329212" y="5039117"/>
                  <a:pt x="8328413" y="5043110"/>
                  <a:pt x="8326948" y="5046705"/>
                </a:cubicBezTo>
                <a:cubicBezTo>
                  <a:pt x="8325351" y="5050299"/>
                  <a:pt x="8323354" y="5053361"/>
                  <a:pt x="8320825" y="5056023"/>
                </a:cubicBezTo>
                <a:cubicBezTo>
                  <a:pt x="8318163" y="5058686"/>
                  <a:pt x="8315101" y="5060816"/>
                  <a:pt x="8311507" y="5062280"/>
                </a:cubicBezTo>
                <a:cubicBezTo>
                  <a:pt x="8307913" y="5063744"/>
                  <a:pt x="8304052" y="5064543"/>
                  <a:pt x="8299793" y="5064543"/>
                </a:cubicBezTo>
                <a:cubicBezTo>
                  <a:pt x="8290874" y="5064543"/>
                  <a:pt x="8283553" y="5061614"/>
                  <a:pt x="8277960" y="5056023"/>
                </a:cubicBezTo>
                <a:cubicBezTo>
                  <a:pt x="8272370" y="5050433"/>
                  <a:pt x="8269574" y="5043376"/>
                  <a:pt x="8269574" y="5034857"/>
                </a:cubicBezTo>
                <a:cubicBezTo>
                  <a:pt x="8269574" y="5026604"/>
                  <a:pt x="8272370" y="5019549"/>
                  <a:pt x="8277960" y="5013825"/>
                </a:cubicBezTo>
                <a:cubicBezTo>
                  <a:pt x="8283553" y="5008100"/>
                  <a:pt x="8290741" y="5005305"/>
                  <a:pt x="8299793" y="5005305"/>
                </a:cubicBezTo>
                <a:close/>
                <a:moveTo>
                  <a:pt x="8082281" y="5005305"/>
                </a:moveTo>
                <a:cubicBezTo>
                  <a:pt x="8086407" y="5005305"/>
                  <a:pt x="8090401" y="5006104"/>
                  <a:pt x="8094127" y="5007834"/>
                </a:cubicBezTo>
                <a:cubicBezTo>
                  <a:pt x="8097855" y="5009432"/>
                  <a:pt x="8100916" y="5011561"/>
                  <a:pt x="8103446" y="5014224"/>
                </a:cubicBezTo>
                <a:cubicBezTo>
                  <a:pt x="8105975" y="5016753"/>
                  <a:pt x="8108104" y="5019948"/>
                  <a:pt x="8109569" y="5023542"/>
                </a:cubicBezTo>
                <a:cubicBezTo>
                  <a:pt x="8111033" y="5027136"/>
                  <a:pt x="8111832" y="5030996"/>
                  <a:pt x="8111832" y="5034990"/>
                </a:cubicBezTo>
                <a:cubicBezTo>
                  <a:pt x="8111832" y="5039117"/>
                  <a:pt x="8111033" y="5043110"/>
                  <a:pt x="8109569" y="5046705"/>
                </a:cubicBezTo>
                <a:cubicBezTo>
                  <a:pt x="8107972" y="5050299"/>
                  <a:pt x="8105975" y="5053361"/>
                  <a:pt x="8103446" y="5056023"/>
                </a:cubicBezTo>
                <a:cubicBezTo>
                  <a:pt x="8100783" y="5058686"/>
                  <a:pt x="8097722" y="5060816"/>
                  <a:pt x="8094127" y="5062280"/>
                </a:cubicBezTo>
                <a:cubicBezTo>
                  <a:pt x="8090401" y="5063744"/>
                  <a:pt x="8086540" y="5064543"/>
                  <a:pt x="8082281" y="5064543"/>
                </a:cubicBezTo>
                <a:cubicBezTo>
                  <a:pt x="8073361" y="5064543"/>
                  <a:pt x="8066040" y="5061614"/>
                  <a:pt x="8060448" y="5056023"/>
                </a:cubicBezTo>
                <a:cubicBezTo>
                  <a:pt x="8054857" y="5050433"/>
                  <a:pt x="8052062" y="5043376"/>
                  <a:pt x="8052062" y="5034857"/>
                </a:cubicBezTo>
                <a:cubicBezTo>
                  <a:pt x="8052062" y="5026604"/>
                  <a:pt x="8054857" y="5019549"/>
                  <a:pt x="8060448" y="5013825"/>
                </a:cubicBezTo>
                <a:cubicBezTo>
                  <a:pt x="8066040" y="5008100"/>
                  <a:pt x="8073228" y="5005305"/>
                  <a:pt x="8082281" y="5005305"/>
                </a:cubicBezTo>
                <a:close/>
                <a:moveTo>
                  <a:pt x="7864636" y="5005305"/>
                </a:moveTo>
                <a:cubicBezTo>
                  <a:pt x="7868762" y="5005305"/>
                  <a:pt x="7872756" y="5006104"/>
                  <a:pt x="7876483" y="5007834"/>
                </a:cubicBezTo>
                <a:cubicBezTo>
                  <a:pt x="7880210" y="5009432"/>
                  <a:pt x="7883272" y="5011561"/>
                  <a:pt x="7885802" y="5014224"/>
                </a:cubicBezTo>
                <a:cubicBezTo>
                  <a:pt x="7888331" y="5016753"/>
                  <a:pt x="7890460" y="5019948"/>
                  <a:pt x="7891924" y="5023542"/>
                </a:cubicBezTo>
                <a:cubicBezTo>
                  <a:pt x="7893389" y="5027136"/>
                  <a:pt x="7894188" y="5030996"/>
                  <a:pt x="7894188" y="5034990"/>
                </a:cubicBezTo>
                <a:cubicBezTo>
                  <a:pt x="7894188" y="5039117"/>
                  <a:pt x="7893389" y="5043110"/>
                  <a:pt x="7891924" y="5046705"/>
                </a:cubicBezTo>
                <a:cubicBezTo>
                  <a:pt x="7890327" y="5050299"/>
                  <a:pt x="7888331" y="5053361"/>
                  <a:pt x="7885802" y="5056023"/>
                </a:cubicBezTo>
                <a:cubicBezTo>
                  <a:pt x="7883139" y="5058686"/>
                  <a:pt x="7880078" y="5060816"/>
                  <a:pt x="7876483" y="5062280"/>
                </a:cubicBezTo>
                <a:cubicBezTo>
                  <a:pt x="7872756" y="5063744"/>
                  <a:pt x="7868895" y="5064543"/>
                  <a:pt x="7864636" y="5064543"/>
                </a:cubicBezTo>
                <a:cubicBezTo>
                  <a:pt x="7855717" y="5064543"/>
                  <a:pt x="7848396" y="5061614"/>
                  <a:pt x="7842803" y="5056023"/>
                </a:cubicBezTo>
                <a:cubicBezTo>
                  <a:pt x="7837213" y="5050433"/>
                  <a:pt x="7834417" y="5043376"/>
                  <a:pt x="7834417" y="5034857"/>
                </a:cubicBezTo>
                <a:cubicBezTo>
                  <a:pt x="7834417" y="5026604"/>
                  <a:pt x="7837213" y="5019549"/>
                  <a:pt x="7842803" y="5013825"/>
                </a:cubicBezTo>
                <a:cubicBezTo>
                  <a:pt x="7848396" y="5008100"/>
                  <a:pt x="7855584" y="5005305"/>
                  <a:pt x="7864636" y="5005305"/>
                </a:cubicBezTo>
                <a:close/>
                <a:moveTo>
                  <a:pt x="7646991" y="5005305"/>
                </a:moveTo>
                <a:cubicBezTo>
                  <a:pt x="7651250" y="5005305"/>
                  <a:pt x="7655111" y="5006104"/>
                  <a:pt x="7658705" y="5007834"/>
                </a:cubicBezTo>
                <a:cubicBezTo>
                  <a:pt x="7662432" y="5009432"/>
                  <a:pt x="7665493" y="5011561"/>
                  <a:pt x="7668022" y="5014224"/>
                </a:cubicBezTo>
                <a:cubicBezTo>
                  <a:pt x="7670552" y="5016753"/>
                  <a:pt x="7672682" y="5019948"/>
                  <a:pt x="7674146" y="5023542"/>
                </a:cubicBezTo>
                <a:cubicBezTo>
                  <a:pt x="7675610" y="5027136"/>
                  <a:pt x="7676409" y="5030996"/>
                  <a:pt x="7676409" y="5034990"/>
                </a:cubicBezTo>
                <a:cubicBezTo>
                  <a:pt x="7676409" y="5039117"/>
                  <a:pt x="7675610" y="5043110"/>
                  <a:pt x="7674146" y="5046705"/>
                </a:cubicBezTo>
                <a:cubicBezTo>
                  <a:pt x="7672549" y="5050299"/>
                  <a:pt x="7670552" y="5053361"/>
                  <a:pt x="7668022" y="5056023"/>
                </a:cubicBezTo>
                <a:cubicBezTo>
                  <a:pt x="7665361" y="5058686"/>
                  <a:pt x="7662299" y="5060816"/>
                  <a:pt x="7658705" y="5062280"/>
                </a:cubicBezTo>
                <a:cubicBezTo>
                  <a:pt x="7655111" y="5063744"/>
                  <a:pt x="7651250" y="5064543"/>
                  <a:pt x="7646991" y="5064543"/>
                </a:cubicBezTo>
                <a:cubicBezTo>
                  <a:pt x="7638071" y="5064543"/>
                  <a:pt x="7630750" y="5061614"/>
                  <a:pt x="7625158" y="5056023"/>
                </a:cubicBezTo>
                <a:cubicBezTo>
                  <a:pt x="7619568" y="5050433"/>
                  <a:pt x="7616772" y="5043376"/>
                  <a:pt x="7616772" y="5034857"/>
                </a:cubicBezTo>
                <a:cubicBezTo>
                  <a:pt x="7616772" y="5026604"/>
                  <a:pt x="7619568" y="5019549"/>
                  <a:pt x="7625158" y="5013825"/>
                </a:cubicBezTo>
                <a:cubicBezTo>
                  <a:pt x="7630750" y="5008100"/>
                  <a:pt x="7637939" y="5005305"/>
                  <a:pt x="7646991" y="5005305"/>
                </a:cubicBezTo>
                <a:close/>
                <a:moveTo>
                  <a:pt x="7429345" y="5005305"/>
                </a:moveTo>
                <a:cubicBezTo>
                  <a:pt x="7433605" y="5005305"/>
                  <a:pt x="7437466" y="5006104"/>
                  <a:pt x="7441059" y="5007834"/>
                </a:cubicBezTo>
                <a:cubicBezTo>
                  <a:pt x="7444787" y="5009432"/>
                  <a:pt x="7447848" y="5011561"/>
                  <a:pt x="7450377" y="5014224"/>
                </a:cubicBezTo>
                <a:cubicBezTo>
                  <a:pt x="7452907" y="5016753"/>
                  <a:pt x="7455036" y="5019948"/>
                  <a:pt x="7456501" y="5023542"/>
                </a:cubicBezTo>
                <a:cubicBezTo>
                  <a:pt x="7457965" y="5027136"/>
                  <a:pt x="7458764" y="5030996"/>
                  <a:pt x="7458764" y="5034990"/>
                </a:cubicBezTo>
                <a:cubicBezTo>
                  <a:pt x="7458764" y="5039117"/>
                  <a:pt x="7457965" y="5043110"/>
                  <a:pt x="7456501" y="5046705"/>
                </a:cubicBezTo>
                <a:cubicBezTo>
                  <a:pt x="7454904" y="5050299"/>
                  <a:pt x="7452907" y="5053361"/>
                  <a:pt x="7450377" y="5056023"/>
                </a:cubicBezTo>
                <a:cubicBezTo>
                  <a:pt x="7447715" y="5058686"/>
                  <a:pt x="7444654" y="5060816"/>
                  <a:pt x="7441059" y="5062280"/>
                </a:cubicBezTo>
                <a:cubicBezTo>
                  <a:pt x="7437466" y="5063744"/>
                  <a:pt x="7433605" y="5064543"/>
                  <a:pt x="7429345" y="5064543"/>
                </a:cubicBezTo>
                <a:cubicBezTo>
                  <a:pt x="7420426" y="5064543"/>
                  <a:pt x="7413105" y="5061614"/>
                  <a:pt x="7407513" y="5056023"/>
                </a:cubicBezTo>
                <a:cubicBezTo>
                  <a:pt x="7401922" y="5050433"/>
                  <a:pt x="7399127" y="5043376"/>
                  <a:pt x="7399127" y="5034857"/>
                </a:cubicBezTo>
                <a:cubicBezTo>
                  <a:pt x="7399127" y="5026604"/>
                  <a:pt x="7401922" y="5019549"/>
                  <a:pt x="7407513" y="5013825"/>
                </a:cubicBezTo>
                <a:cubicBezTo>
                  <a:pt x="7413105" y="5008100"/>
                  <a:pt x="7420293" y="5005305"/>
                  <a:pt x="7429345" y="5005305"/>
                </a:cubicBezTo>
                <a:close/>
                <a:moveTo>
                  <a:pt x="7211701" y="5005305"/>
                </a:moveTo>
                <a:cubicBezTo>
                  <a:pt x="7215960" y="5005305"/>
                  <a:pt x="7219954" y="5006104"/>
                  <a:pt x="7223415" y="5007834"/>
                </a:cubicBezTo>
                <a:cubicBezTo>
                  <a:pt x="7227142" y="5009432"/>
                  <a:pt x="7230204" y="5011561"/>
                  <a:pt x="7232733" y="5014224"/>
                </a:cubicBezTo>
                <a:cubicBezTo>
                  <a:pt x="7235262" y="5016753"/>
                  <a:pt x="7237392" y="5019948"/>
                  <a:pt x="7238856" y="5023542"/>
                </a:cubicBezTo>
                <a:cubicBezTo>
                  <a:pt x="7240321" y="5027136"/>
                  <a:pt x="7241120" y="5030996"/>
                  <a:pt x="7241120" y="5034990"/>
                </a:cubicBezTo>
                <a:cubicBezTo>
                  <a:pt x="7241120" y="5039117"/>
                  <a:pt x="7240321" y="5043110"/>
                  <a:pt x="7238856" y="5046705"/>
                </a:cubicBezTo>
                <a:cubicBezTo>
                  <a:pt x="7237259" y="5050299"/>
                  <a:pt x="7235262" y="5053361"/>
                  <a:pt x="7232733" y="5056023"/>
                </a:cubicBezTo>
                <a:cubicBezTo>
                  <a:pt x="7230071" y="5058686"/>
                  <a:pt x="7227009" y="5060816"/>
                  <a:pt x="7223415" y="5062280"/>
                </a:cubicBezTo>
                <a:cubicBezTo>
                  <a:pt x="7219821" y="5063744"/>
                  <a:pt x="7215960" y="5064543"/>
                  <a:pt x="7211701" y="5064543"/>
                </a:cubicBezTo>
                <a:cubicBezTo>
                  <a:pt x="7202782" y="5064543"/>
                  <a:pt x="7195460" y="5061614"/>
                  <a:pt x="7189868" y="5056023"/>
                </a:cubicBezTo>
                <a:cubicBezTo>
                  <a:pt x="7184278" y="5050433"/>
                  <a:pt x="7181482" y="5043376"/>
                  <a:pt x="7181482" y="5034857"/>
                </a:cubicBezTo>
                <a:cubicBezTo>
                  <a:pt x="7181482" y="5026604"/>
                  <a:pt x="7184278" y="5019549"/>
                  <a:pt x="7189868" y="5013825"/>
                </a:cubicBezTo>
                <a:cubicBezTo>
                  <a:pt x="7195460" y="5008100"/>
                  <a:pt x="7202649" y="5005305"/>
                  <a:pt x="7211701" y="5005305"/>
                </a:cubicBezTo>
                <a:close/>
                <a:moveTo>
                  <a:pt x="6994056" y="5005305"/>
                </a:moveTo>
                <a:cubicBezTo>
                  <a:pt x="6998315" y="5005305"/>
                  <a:pt x="7002309" y="5006104"/>
                  <a:pt x="7005769" y="5007834"/>
                </a:cubicBezTo>
                <a:cubicBezTo>
                  <a:pt x="7009497" y="5009432"/>
                  <a:pt x="7012558" y="5011561"/>
                  <a:pt x="7015087" y="5014224"/>
                </a:cubicBezTo>
                <a:cubicBezTo>
                  <a:pt x="7017617" y="5016753"/>
                  <a:pt x="7019747" y="5019948"/>
                  <a:pt x="7021211" y="5023542"/>
                </a:cubicBezTo>
                <a:cubicBezTo>
                  <a:pt x="7022675" y="5027136"/>
                  <a:pt x="7023474" y="5030996"/>
                  <a:pt x="7023474" y="5034990"/>
                </a:cubicBezTo>
                <a:cubicBezTo>
                  <a:pt x="7023474" y="5039117"/>
                  <a:pt x="7022675" y="5043110"/>
                  <a:pt x="7021211" y="5046705"/>
                </a:cubicBezTo>
                <a:cubicBezTo>
                  <a:pt x="7019614" y="5050299"/>
                  <a:pt x="7017617" y="5053361"/>
                  <a:pt x="7015087" y="5056023"/>
                </a:cubicBezTo>
                <a:cubicBezTo>
                  <a:pt x="7012425" y="5058686"/>
                  <a:pt x="7009364" y="5060816"/>
                  <a:pt x="7005769" y="5062280"/>
                </a:cubicBezTo>
                <a:cubicBezTo>
                  <a:pt x="7002176" y="5063744"/>
                  <a:pt x="6998315" y="5064543"/>
                  <a:pt x="6994056" y="5064543"/>
                </a:cubicBezTo>
                <a:cubicBezTo>
                  <a:pt x="6985136" y="5064543"/>
                  <a:pt x="6977815" y="5061614"/>
                  <a:pt x="6972223" y="5056023"/>
                </a:cubicBezTo>
                <a:cubicBezTo>
                  <a:pt x="6966632" y="5050433"/>
                  <a:pt x="6963837" y="5043376"/>
                  <a:pt x="6963837" y="5034857"/>
                </a:cubicBezTo>
                <a:cubicBezTo>
                  <a:pt x="6963837" y="5026604"/>
                  <a:pt x="6966632" y="5019549"/>
                  <a:pt x="6972223" y="5013825"/>
                </a:cubicBezTo>
                <a:cubicBezTo>
                  <a:pt x="6977815" y="5008100"/>
                  <a:pt x="6985003" y="5005305"/>
                  <a:pt x="6994056" y="5005305"/>
                </a:cubicBezTo>
                <a:close/>
                <a:moveTo>
                  <a:pt x="6776544" y="5005305"/>
                </a:moveTo>
                <a:cubicBezTo>
                  <a:pt x="6780670" y="5005305"/>
                  <a:pt x="6784664" y="5006104"/>
                  <a:pt x="6788258" y="5007834"/>
                </a:cubicBezTo>
                <a:cubicBezTo>
                  <a:pt x="6791985" y="5009432"/>
                  <a:pt x="6795047" y="5011561"/>
                  <a:pt x="6797576" y="5014224"/>
                </a:cubicBezTo>
                <a:cubicBezTo>
                  <a:pt x="6800105" y="5016753"/>
                  <a:pt x="6802235" y="5019948"/>
                  <a:pt x="6803699" y="5023542"/>
                </a:cubicBezTo>
                <a:cubicBezTo>
                  <a:pt x="6805164" y="5027136"/>
                  <a:pt x="6805963" y="5030996"/>
                  <a:pt x="6805963" y="5034990"/>
                </a:cubicBezTo>
                <a:cubicBezTo>
                  <a:pt x="6805963" y="5039117"/>
                  <a:pt x="6805164" y="5043110"/>
                  <a:pt x="6803699" y="5046705"/>
                </a:cubicBezTo>
                <a:cubicBezTo>
                  <a:pt x="6802102" y="5050299"/>
                  <a:pt x="6800105" y="5053361"/>
                  <a:pt x="6797576" y="5056023"/>
                </a:cubicBezTo>
                <a:cubicBezTo>
                  <a:pt x="6794914" y="5058686"/>
                  <a:pt x="6791852" y="5060816"/>
                  <a:pt x="6788258" y="5062280"/>
                </a:cubicBezTo>
                <a:cubicBezTo>
                  <a:pt x="6784664" y="5063744"/>
                  <a:pt x="6780803" y="5064543"/>
                  <a:pt x="6776544" y="5064543"/>
                </a:cubicBezTo>
                <a:cubicBezTo>
                  <a:pt x="6767625" y="5064543"/>
                  <a:pt x="6760303" y="5061614"/>
                  <a:pt x="6754711" y="5056023"/>
                </a:cubicBezTo>
                <a:cubicBezTo>
                  <a:pt x="6749121" y="5050433"/>
                  <a:pt x="6746325" y="5043376"/>
                  <a:pt x="6746325" y="5034857"/>
                </a:cubicBezTo>
                <a:cubicBezTo>
                  <a:pt x="6746325" y="5026604"/>
                  <a:pt x="6749121" y="5019549"/>
                  <a:pt x="6754711" y="5013825"/>
                </a:cubicBezTo>
                <a:cubicBezTo>
                  <a:pt x="6760303" y="5008100"/>
                  <a:pt x="6767492" y="5005305"/>
                  <a:pt x="6776544" y="5005305"/>
                </a:cubicBezTo>
                <a:close/>
                <a:moveTo>
                  <a:pt x="6558899" y="5005305"/>
                </a:moveTo>
                <a:cubicBezTo>
                  <a:pt x="6563158" y="5005305"/>
                  <a:pt x="6567019" y="5006104"/>
                  <a:pt x="6570612" y="5007834"/>
                </a:cubicBezTo>
                <a:cubicBezTo>
                  <a:pt x="6574340" y="5009432"/>
                  <a:pt x="6577401" y="5011561"/>
                  <a:pt x="6579930" y="5014224"/>
                </a:cubicBezTo>
                <a:cubicBezTo>
                  <a:pt x="6582460" y="5016753"/>
                  <a:pt x="6584590" y="5019948"/>
                  <a:pt x="6586054" y="5023542"/>
                </a:cubicBezTo>
                <a:cubicBezTo>
                  <a:pt x="6587518" y="5027136"/>
                  <a:pt x="6588317" y="5030996"/>
                  <a:pt x="6588317" y="5034990"/>
                </a:cubicBezTo>
                <a:cubicBezTo>
                  <a:pt x="6588317" y="5039117"/>
                  <a:pt x="6587518" y="5043110"/>
                  <a:pt x="6586054" y="5046705"/>
                </a:cubicBezTo>
                <a:cubicBezTo>
                  <a:pt x="6584457" y="5050299"/>
                  <a:pt x="6582460" y="5053361"/>
                  <a:pt x="6579930" y="5056023"/>
                </a:cubicBezTo>
                <a:cubicBezTo>
                  <a:pt x="6577268" y="5058686"/>
                  <a:pt x="6574207" y="5060816"/>
                  <a:pt x="6570612" y="5062280"/>
                </a:cubicBezTo>
                <a:cubicBezTo>
                  <a:pt x="6567019" y="5063744"/>
                  <a:pt x="6563158" y="5064543"/>
                  <a:pt x="6558899" y="5064543"/>
                </a:cubicBezTo>
                <a:cubicBezTo>
                  <a:pt x="6549979" y="5064543"/>
                  <a:pt x="6542658" y="5061614"/>
                  <a:pt x="6537066" y="5056023"/>
                </a:cubicBezTo>
                <a:cubicBezTo>
                  <a:pt x="6531476" y="5050433"/>
                  <a:pt x="6528680" y="5043376"/>
                  <a:pt x="6528680" y="5034857"/>
                </a:cubicBezTo>
                <a:cubicBezTo>
                  <a:pt x="6528680" y="5026604"/>
                  <a:pt x="6531476" y="5019549"/>
                  <a:pt x="6537066" y="5013825"/>
                </a:cubicBezTo>
                <a:cubicBezTo>
                  <a:pt x="6542658" y="5008100"/>
                  <a:pt x="6549846" y="5005305"/>
                  <a:pt x="6558899" y="5005305"/>
                </a:cubicBezTo>
                <a:close/>
                <a:moveTo>
                  <a:pt x="6341253" y="5005305"/>
                </a:moveTo>
                <a:cubicBezTo>
                  <a:pt x="6345513" y="5005305"/>
                  <a:pt x="6349373" y="5006104"/>
                  <a:pt x="6352968" y="5007834"/>
                </a:cubicBezTo>
                <a:cubicBezTo>
                  <a:pt x="6356695" y="5009432"/>
                  <a:pt x="6359757" y="5011561"/>
                  <a:pt x="6362286" y="5014224"/>
                </a:cubicBezTo>
                <a:cubicBezTo>
                  <a:pt x="6364815" y="5016753"/>
                  <a:pt x="6366945" y="5019948"/>
                  <a:pt x="6368409" y="5023542"/>
                </a:cubicBezTo>
                <a:cubicBezTo>
                  <a:pt x="6369874" y="5027136"/>
                  <a:pt x="6370672" y="5030996"/>
                  <a:pt x="6370672" y="5034990"/>
                </a:cubicBezTo>
                <a:cubicBezTo>
                  <a:pt x="6370672" y="5039117"/>
                  <a:pt x="6369874" y="5043110"/>
                  <a:pt x="6368409" y="5046705"/>
                </a:cubicBezTo>
                <a:cubicBezTo>
                  <a:pt x="6366811" y="5050299"/>
                  <a:pt x="6364815" y="5053361"/>
                  <a:pt x="6362286" y="5056023"/>
                </a:cubicBezTo>
                <a:cubicBezTo>
                  <a:pt x="6359623" y="5058686"/>
                  <a:pt x="6356562" y="5060816"/>
                  <a:pt x="6352968" y="5062280"/>
                </a:cubicBezTo>
                <a:cubicBezTo>
                  <a:pt x="6349373" y="5063744"/>
                  <a:pt x="6345513" y="5064543"/>
                  <a:pt x="6341253" y="5064543"/>
                </a:cubicBezTo>
                <a:cubicBezTo>
                  <a:pt x="6332335" y="5064543"/>
                  <a:pt x="6325013" y="5061614"/>
                  <a:pt x="6319421" y="5056023"/>
                </a:cubicBezTo>
                <a:cubicBezTo>
                  <a:pt x="6313830" y="5050433"/>
                  <a:pt x="6311035" y="5043376"/>
                  <a:pt x="6311035" y="5034857"/>
                </a:cubicBezTo>
                <a:cubicBezTo>
                  <a:pt x="6311035" y="5026604"/>
                  <a:pt x="6313830" y="5019549"/>
                  <a:pt x="6319421" y="5013825"/>
                </a:cubicBezTo>
                <a:cubicBezTo>
                  <a:pt x="6325013" y="5008100"/>
                  <a:pt x="6332201" y="5005305"/>
                  <a:pt x="6341253" y="5005305"/>
                </a:cubicBezTo>
                <a:close/>
                <a:moveTo>
                  <a:pt x="6123608" y="5005305"/>
                </a:moveTo>
                <a:cubicBezTo>
                  <a:pt x="6127867" y="5005305"/>
                  <a:pt x="6131728" y="5006104"/>
                  <a:pt x="6135322" y="5007834"/>
                </a:cubicBezTo>
                <a:cubicBezTo>
                  <a:pt x="6139049" y="5009432"/>
                  <a:pt x="6142111" y="5011561"/>
                  <a:pt x="6144640" y="5014224"/>
                </a:cubicBezTo>
                <a:cubicBezTo>
                  <a:pt x="6147169" y="5016753"/>
                  <a:pt x="6149299" y="5019948"/>
                  <a:pt x="6150763" y="5023542"/>
                </a:cubicBezTo>
                <a:cubicBezTo>
                  <a:pt x="6152228" y="5027136"/>
                  <a:pt x="6153026" y="5030996"/>
                  <a:pt x="6153026" y="5034990"/>
                </a:cubicBezTo>
                <a:cubicBezTo>
                  <a:pt x="6153026" y="5039117"/>
                  <a:pt x="6152228" y="5043110"/>
                  <a:pt x="6150763" y="5046705"/>
                </a:cubicBezTo>
                <a:cubicBezTo>
                  <a:pt x="6149299" y="5050299"/>
                  <a:pt x="6147169" y="5053361"/>
                  <a:pt x="6144640" y="5056023"/>
                </a:cubicBezTo>
                <a:cubicBezTo>
                  <a:pt x="6141977" y="5058686"/>
                  <a:pt x="6138916" y="5060816"/>
                  <a:pt x="6135322" y="5062280"/>
                </a:cubicBezTo>
                <a:cubicBezTo>
                  <a:pt x="6131728" y="5063744"/>
                  <a:pt x="6127867" y="5064543"/>
                  <a:pt x="6123608" y="5064543"/>
                </a:cubicBezTo>
                <a:cubicBezTo>
                  <a:pt x="6114689" y="5064543"/>
                  <a:pt x="6107367" y="5061614"/>
                  <a:pt x="6101775" y="5056023"/>
                </a:cubicBezTo>
                <a:cubicBezTo>
                  <a:pt x="6096184" y="5050433"/>
                  <a:pt x="6093389" y="5043376"/>
                  <a:pt x="6093389" y="5034857"/>
                </a:cubicBezTo>
                <a:cubicBezTo>
                  <a:pt x="6093389" y="5026604"/>
                  <a:pt x="6096184" y="5019549"/>
                  <a:pt x="6101775" y="5013825"/>
                </a:cubicBezTo>
                <a:cubicBezTo>
                  <a:pt x="6107367" y="5008100"/>
                  <a:pt x="6114555" y="5005305"/>
                  <a:pt x="6123608" y="5005305"/>
                </a:cubicBezTo>
                <a:close/>
                <a:moveTo>
                  <a:pt x="5905963" y="5005305"/>
                </a:moveTo>
                <a:cubicBezTo>
                  <a:pt x="5910222" y="5005305"/>
                  <a:pt x="5914216" y="5006104"/>
                  <a:pt x="5917677" y="5007834"/>
                </a:cubicBezTo>
                <a:cubicBezTo>
                  <a:pt x="5921404" y="5009432"/>
                  <a:pt x="5924466" y="5011561"/>
                  <a:pt x="5926995" y="5014224"/>
                </a:cubicBezTo>
                <a:cubicBezTo>
                  <a:pt x="5929524" y="5016753"/>
                  <a:pt x="5931654" y="5019948"/>
                  <a:pt x="5933118" y="5023542"/>
                </a:cubicBezTo>
                <a:cubicBezTo>
                  <a:pt x="5934583" y="5027136"/>
                  <a:pt x="5935381" y="5030996"/>
                  <a:pt x="5935381" y="5034990"/>
                </a:cubicBezTo>
                <a:cubicBezTo>
                  <a:pt x="5935381" y="5039117"/>
                  <a:pt x="5934583" y="5043110"/>
                  <a:pt x="5933118" y="5046705"/>
                </a:cubicBezTo>
                <a:cubicBezTo>
                  <a:pt x="5931654" y="5050299"/>
                  <a:pt x="5929524" y="5053361"/>
                  <a:pt x="5926995" y="5056023"/>
                </a:cubicBezTo>
                <a:cubicBezTo>
                  <a:pt x="5924333" y="5058686"/>
                  <a:pt x="5921271" y="5060816"/>
                  <a:pt x="5917677" y="5062280"/>
                </a:cubicBezTo>
                <a:cubicBezTo>
                  <a:pt x="5914083" y="5063744"/>
                  <a:pt x="5910222" y="5064543"/>
                  <a:pt x="5905963" y="5064543"/>
                </a:cubicBezTo>
                <a:cubicBezTo>
                  <a:pt x="5897044" y="5064543"/>
                  <a:pt x="5889722" y="5061614"/>
                  <a:pt x="5884130" y="5056023"/>
                </a:cubicBezTo>
                <a:cubicBezTo>
                  <a:pt x="5878540" y="5050433"/>
                  <a:pt x="5875744" y="5043376"/>
                  <a:pt x="5875744" y="5034857"/>
                </a:cubicBezTo>
                <a:cubicBezTo>
                  <a:pt x="5875744" y="5026604"/>
                  <a:pt x="5878540" y="5019549"/>
                  <a:pt x="5884130" y="5013825"/>
                </a:cubicBezTo>
                <a:cubicBezTo>
                  <a:pt x="5889722" y="5008100"/>
                  <a:pt x="5896910" y="5005305"/>
                  <a:pt x="5905963" y="5005305"/>
                </a:cubicBezTo>
                <a:close/>
                <a:moveTo>
                  <a:pt x="5688451" y="5005305"/>
                </a:moveTo>
                <a:cubicBezTo>
                  <a:pt x="5692577" y="5005305"/>
                  <a:pt x="5696571" y="5006104"/>
                  <a:pt x="5700165" y="5007834"/>
                </a:cubicBezTo>
                <a:cubicBezTo>
                  <a:pt x="5703892" y="5009432"/>
                  <a:pt x="5706954" y="5011561"/>
                  <a:pt x="5709483" y="5014224"/>
                </a:cubicBezTo>
                <a:cubicBezTo>
                  <a:pt x="5712012" y="5016753"/>
                  <a:pt x="5714142" y="5019948"/>
                  <a:pt x="5715606" y="5023542"/>
                </a:cubicBezTo>
                <a:cubicBezTo>
                  <a:pt x="5717071" y="5027136"/>
                  <a:pt x="5717869" y="5030996"/>
                  <a:pt x="5717869" y="5034990"/>
                </a:cubicBezTo>
                <a:cubicBezTo>
                  <a:pt x="5717869" y="5039117"/>
                  <a:pt x="5717071" y="5043110"/>
                  <a:pt x="5715606" y="5046705"/>
                </a:cubicBezTo>
                <a:cubicBezTo>
                  <a:pt x="5714142" y="5050299"/>
                  <a:pt x="5712012" y="5053361"/>
                  <a:pt x="5709483" y="5056023"/>
                </a:cubicBezTo>
                <a:cubicBezTo>
                  <a:pt x="5706820" y="5058686"/>
                  <a:pt x="5703759" y="5060816"/>
                  <a:pt x="5700165" y="5062280"/>
                </a:cubicBezTo>
                <a:cubicBezTo>
                  <a:pt x="5696571" y="5063744"/>
                  <a:pt x="5692710" y="5064543"/>
                  <a:pt x="5688451" y="5064543"/>
                </a:cubicBezTo>
                <a:cubicBezTo>
                  <a:pt x="5679532" y="5064543"/>
                  <a:pt x="5672210" y="5061614"/>
                  <a:pt x="5666618" y="5056023"/>
                </a:cubicBezTo>
                <a:cubicBezTo>
                  <a:pt x="5661028" y="5050433"/>
                  <a:pt x="5658232" y="5043376"/>
                  <a:pt x="5658232" y="5034857"/>
                </a:cubicBezTo>
                <a:cubicBezTo>
                  <a:pt x="5658232" y="5026604"/>
                  <a:pt x="5661028" y="5019549"/>
                  <a:pt x="5666618" y="5013825"/>
                </a:cubicBezTo>
                <a:cubicBezTo>
                  <a:pt x="5672210" y="5008100"/>
                  <a:pt x="5679398" y="5005305"/>
                  <a:pt x="5688451" y="5005305"/>
                </a:cubicBezTo>
                <a:close/>
                <a:moveTo>
                  <a:pt x="5470806" y="5005305"/>
                </a:moveTo>
                <a:cubicBezTo>
                  <a:pt x="5475065" y="5005305"/>
                  <a:pt x="5478926" y="5006104"/>
                  <a:pt x="5482520" y="5007834"/>
                </a:cubicBezTo>
                <a:cubicBezTo>
                  <a:pt x="5486247" y="5009432"/>
                  <a:pt x="5489309" y="5011561"/>
                  <a:pt x="5491838" y="5014224"/>
                </a:cubicBezTo>
                <a:cubicBezTo>
                  <a:pt x="5494367" y="5016753"/>
                  <a:pt x="5496497" y="5019948"/>
                  <a:pt x="5497961" y="5023542"/>
                </a:cubicBezTo>
                <a:cubicBezTo>
                  <a:pt x="5499426" y="5027136"/>
                  <a:pt x="5500224" y="5030996"/>
                  <a:pt x="5500224" y="5034990"/>
                </a:cubicBezTo>
                <a:cubicBezTo>
                  <a:pt x="5500224" y="5039117"/>
                  <a:pt x="5499426" y="5043110"/>
                  <a:pt x="5497961" y="5046705"/>
                </a:cubicBezTo>
                <a:cubicBezTo>
                  <a:pt x="5496497" y="5050299"/>
                  <a:pt x="5494367" y="5053361"/>
                  <a:pt x="5491838" y="5056023"/>
                </a:cubicBezTo>
                <a:cubicBezTo>
                  <a:pt x="5489176" y="5058686"/>
                  <a:pt x="5486114" y="5060816"/>
                  <a:pt x="5482520" y="5062280"/>
                </a:cubicBezTo>
                <a:cubicBezTo>
                  <a:pt x="5478926" y="5063744"/>
                  <a:pt x="5475065" y="5064543"/>
                  <a:pt x="5470806" y="5064543"/>
                </a:cubicBezTo>
                <a:cubicBezTo>
                  <a:pt x="5461887" y="5064543"/>
                  <a:pt x="5454565" y="5061614"/>
                  <a:pt x="5448973" y="5056023"/>
                </a:cubicBezTo>
                <a:cubicBezTo>
                  <a:pt x="5443383" y="5050433"/>
                  <a:pt x="5440587" y="5043376"/>
                  <a:pt x="5440587" y="5034857"/>
                </a:cubicBezTo>
                <a:cubicBezTo>
                  <a:pt x="5440587" y="5026604"/>
                  <a:pt x="5443383" y="5019549"/>
                  <a:pt x="5448973" y="5013825"/>
                </a:cubicBezTo>
                <a:cubicBezTo>
                  <a:pt x="5454565" y="5008100"/>
                  <a:pt x="5461754" y="5005305"/>
                  <a:pt x="5470806" y="5005305"/>
                </a:cubicBezTo>
                <a:close/>
                <a:moveTo>
                  <a:pt x="5253160" y="5005305"/>
                </a:moveTo>
                <a:cubicBezTo>
                  <a:pt x="5257420" y="5005305"/>
                  <a:pt x="5261280" y="5006104"/>
                  <a:pt x="5264875" y="5007834"/>
                </a:cubicBezTo>
                <a:cubicBezTo>
                  <a:pt x="5268602" y="5009432"/>
                  <a:pt x="5271664" y="5011561"/>
                  <a:pt x="5274192" y="5014224"/>
                </a:cubicBezTo>
                <a:cubicBezTo>
                  <a:pt x="5276722" y="5016753"/>
                  <a:pt x="5278852" y="5019948"/>
                  <a:pt x="5280316" y="5023542"/>
                </a:cubicBezTo>
                <a:cubicBezTo>
                  <a:pt x="5281780" y="5027136"/>
                  <a:pt x="5282579" y="5030996"/>
                  <a:pt x="5282579" y="5034990"/>
                </a:cubicBezTo>
                <a:cubicBezTo>
                  <a:pt x="5282579" y="5039117"/>
                  <a:pt x="5281780" y="5043110"/>
                  <a:pt x="5280316" y="5046705"/>
                </a:cubicBezTo>
                <a:cubicBezTo>
                  <a:pt x="5278852" y="5050299"/>
                  <a:pt x="5276722" y="5053361"/>
                  <a:pt x="5274192" y="5056023"/>
                </a:cubicBezTo>
                <a:cubicBezTo>
                  <a:pt x="5271664" y="5058686"/>
                  <a:pt x="5268469" y="5060816"/>
                  <a:pt x="5264875" y="5062280"/>
                </a:cubicBezTo>
                <a:cubicBezTo>
                  <a:pt x="5261280" y="5063744"/>
                  <a:pt x="5257420" y="5064543"/>
                  <a:pt x="5253160" y="5064543"/>
                </a:cubicBezTo>
                <a:cubicBezTo>
                  <a:pt x="5244241" y="5064543"/>
                  <a:pt x="5236920" y="5061614"/>
                  <a:pt x="5231328" y="5056023"/>
                </a:cubicBezTo>
                <a:cubicBezTo>
                  <a:pt x="5225737" y="5050433"/>
                  <a:pt x="5222942" y="5043376"/>
                  <a:pt x="5222942" y="5034857"/>
                </a:cubicBezTo>
                <a:cubicBezTo>
                  <a:pt x="5222942" y="5026604"/>
                  <a:pt x="5225737" y="5019549"/>
                  <a:pt x="5231328" y="5013825"/>
                </a:cubicBezTo>
                <a:cubicBezTo>
                  <a:pt x="5236920" y="5008100"/>
                  <a:pt x="5244108" y="5005305"/>
                  <a:pt x="5253160" y="5005305"/>
                </a:cubicBezTo>
                <a:close/>
                <a:moveTo>
                  <a:pt x="5035515" y="5005305"/>
                </a:moveTo>
                <a:cubicBezTo>
                  <a:pt x="5039775" y="5005305"/>
                  <a:pt x="5043636" y="5006104"/>
                  <a:pt x="5047230" y="5007834"/>
                </a:cubicBezTo>
                <a:cubicBezTo>
                  <a:pt x="5050957" y="5009432"/>
                  <a:pt x="5054019" y="5011561"/>
                  <a:pt x="5056548" y="5014224"/>
                </a:cubicBezTo>
                <a:cubicBezTo>
                  <a:pt x="5059077" y="5016753"/>
                  <a:pt x="5061207" y="5019948"/>
                  <a:pt x="5062671" y="5023542"/>
                </a:cubicBezTo>
                <a:cubicBezTo>
                  <a:pt x="5064135" y="5027136"/>
                  <a:pt x="5064934" y="5030996"/>
                  <a:pt x="5064934" y="5034990"/>
                </a:cubicBezTo>
                <a:cubicBezTo>
                  <a:pt x="5064934" y="5039117"/>
                  <a:pt x="5064135" y="5043110"/>
                  <a:pt x="5062671" y="5046705"/>
                </a:cubicBezTo>
                <a:cubicBezTo>
                  <a:pt x="5061207" y="5050299"/>
                  <a:pt x="5059077" y="5053361"/>
                  <a:pt x="5056548" y="5056023"/>
                </a:cubicBezTo>
                <a:cubicBezTo>
                  <a:pt x="5053885" y="5058686"/>
                  <a:pt x="5050824" y="5060816"/>
                  <a:pt x="5047230" y="5062280"/>
                </a:cubicBezTo>
                <a:cubicBezTo>
                  <a:pt x="5043636" y="5063744"/>
                  <a:pt x="5039775" y="5064543"/>
                  <a:pt x="5035515" y="5064543"/>
                </a:cubicBezTo>
                <a:cubicBezTo>
                  <a:pt x="5026597" y="5064543"/>
                  <a:pt x="5019275" y="5061614"/>
                  <a:pt x="5013683" y="5056023"/>
                </a:cubicBezTo>
                <a:cubicBezTo>
                  <a:pt x="5008092" y="5050433"/>
                  <a:pt x="5005297" y="5043376"/>
                  <a:pt x="5005297" y="5034857"/>
                </a:cubicBezTo>
                <a:cubicBezTo>
                  <a:pt x="5005297" y="5026604"/>
                  <a:pt x="5008092" y="5019549"/>
                  <a:pt x="5013683" y="5013825"/>
                </a:cubicBezTo>
                <a:cubicBezTo>
                  <a:pt x="5019275" y="5008100"/>
                  <a:pt x="5026463" y="5005305"/>
                  <a:pt x="5035515" y="5005305"/>
                </a:cubicBezTo>
                <a:close/>
                <a:moveTo>
                  <a:pt x="4817870" y="5005305"/>
                </a:moveTo>
                <a:cubicBezTo>
                  <a:pt x="4822130" y="5005305"/>
                  <a:pt x="4826124" y="5006104"/>
                  <a:pt x="4829585" y="5007834"/>
                </a:cubicBezTo>
                <a:cubicBezTo>
                  <a:pt x="4833312" y="5009432"/>
                  <a:pt x="4836374" y="5011561"/>
                  <a:pt x="4838903" y="5014224"/>
                </a:cubicBezTo>
                <a:cubicBezTo>
                  <a:pt x="4841432" y="5016753"/>
                  <a:pt x="4843562" y="5019948"/>
                  <a:pt x="4845026" y="5023542"/>
                </a:cubicBezTo>
                <a:cubicBezTo>
                  <a:pt x="4846491" y="5027136"/>
                  <a:pt x="4847289" y="5030996"/>
                  <a:pt x="4847289" y="5034990"/>
                </a:cubicBezTo>
                <a:cubicBezTo>
                  <a:pt x="4847289" y="5039117"/>
                  <a:pt x="4846491" y="5043110"/>
                  <a:pt x="4845026" y="5046705"/>
                </a:cubicBezTo>
                <a:cubicBezTo>
                  <a:pt x="4843562" y="5050299"/>
                  <a:pt x="4841432" y="5053361"/>
                  <a:pt x="4838903" y="5056023"/>
                </a:cubicBezTo>
                <a:cubicBezTo>
                  <a:pt x="4836240" y="5058686"/>
                  <a:pt x="4833179" y="5060816"/>
                  <a:pt x="4829585" y="5062280"/>
                </a:cubicBezTo>
                <a:cubicBezTo>
                  <a:pt x="4825991" y="5063744"/>
                  <a:pt x="4822130" y="5064543"/>
                  <a:pt x="4817870" y="5064543"/>
                </a:cubicBezTo>
                <a:cubicBezTo>
                  <a:pt x="4808952" y="5064543"/>
                  <a:pt x="4801630" y="5061614"/>
                  <a:pt x="4796038" y="5056023"/>
                </a:cubicBezTo>
                <a:cubicBezTo>
                  <a:pt x="4790447" y="5050433"/>
                  <a:pt x="4787652" y="5043376"/>
                  <a:pt x="4787652" y="5034857"/>
                </a:cubicBezTo>
                <a:cubicBezTo>
                  <a:pt x="4787652" y="5026604"/>
                  <a:pt x="4790447" y="5019549"/>
                  <a:pt x="4796038" y="5013825"/>
                </a:cubicBezTo>
                <a:cubicBezTo>
                  <a:pt x="4801630" y="5008100"/>
                  <a:pt x="4808818" y="5005305"/>
                  <a:pt x="4817870" y="5005305"/>
                </a:cubicBezTo>
                <a:close/>
                <a:moveTo>
                  <a:pt x="4600226" y="5005305"/>
                </a:moveTo>
                <a:cubicBezTo>
                  <a:pt x="4604485" y="5005305"/>
                  <a:pt x="4608479" y="5006104"/>
                  <a:pt x="4612073" y="5007834"/>
                </a:cubicBezTo>
                <a:cubicBezTo>
                  <a:pt x="4615800" y="5009432"/>
                  <a:pt x="4618862" y="5011561"/>
                  <a:pt x="4621391" y="5014224"/>
                </a:cubicBezTo>
                <a:cubicBezTo>
                  <a:pt x="4623920" y="5016753"/>
                  <a:pt x="4626050" y="5019948"/>
                  <a:pt x="4627514" y="5023542"/>
                </a:cubicBezTo>
                <a:cubicBezTo>
                  <a:pt x="4628978" y="5027136"/>
                  <a:pt x="4629777" y="5030996"/>
                  <a:pt x="4629777" y="5034990"/>
                </a:cubicBezTo>
                <a:cubicBezTo>
                  <a:pt x="4629777" y="5039117"/>
                  <a:pt x="4628978" y="5043110"/>
                  <a:pt x="4627514" y="5046705"/>
                </a:cubicBezTo>
                <a:cubicBezTo>
                  <a:pt x="4626050" y="5050299"/>
                  <a:pt x="4623920" y="5053361"/>
                  <a:pt x="4621391" y="5056023"/>
                </a:cubicBezTo>
                <a:cubicBezTo>
                  <a:pt x="4618729" y="5058686"/>
                  <a:pt x="4615667" y="5060816"/>
                  <a:pt x="4612073" y="5062280"/>
                </a:cubicBezTo>
                <a:cubicBezTo>
                  <a:pt x="4608346" y="5063744"/>
                  <a:pt x="4604485" y="5064543"/>
                  <a:pt x="4600226" y="5064543"/>
                </a:cubicBezTo>
                <a:cubicBezTo>
                  <a:pt x="4591173" y="5064543"/>
                  <a:pt x="4583985" y="5061614"/>
                  <a:pt x="4578393" y="5056023"/>
                </a:cubicBezTo>
                <a:cubicBezTo>
                  <a:pt x="4572803" y="5050433"/>
                  <a:pt x="4570007" y="5043376"/>
                  <a:pt x="4570007" y="5034857"/>
                </a:cubicBezTo>
                <a:cubicBezTo>
                  <a:pt x="4570007" y="5026604"/>
                  <a:pt x="4572803" y="5019549"/>
                  <a:pt x="4578393" y="5013825"/>
                </a:cubicBezTo>
                <a:cubicBezTo>
                  <a:pt x="4583985" y="5008100"/>
                  <a:pt x="4591173" y="5005305"/>
                  <a:pt x="4600226" y="5005305"/>
                </a:cubicBezTo>
                <a:close/>
                <a:moveTo>
                  <a:pt x="4382713" y="5005305"/>
                </a:moveTo>
                <a:cubicBezTo>
                  <a:pt x="4386840" y="5005305"/>
                  <a:pt x="4390834" y="5006104"/>
                  <a:pt x="4394428" y="5007834"/>
                </a:cubicBezTo>
                <a:cubicBezTo>
                  <a:pt x="4398155" y="5009432"/>
                  <a:pt x="4401217" y="5011561"/>
                  <a:pt x="4403746" y="5014224"/>
                </a:cubicBezTo>
                <a:cubicBezTo>
                  <a:pt x="4406275" y="5016753"/>
                  <a:pt x="4408405" y="5019948"/>
                  <a:pt x="4409869" y="5023542"/>
                </a:cubicBezTo>
                <a:cubicBezTo>
                  <a:pt x="4411334" y="5027136"/>
                  <a:pt x="4412132" y="5030996"/>
                  <a:pt x="4412132" y="5034990"/>
                </a:cubicBezTo>
                <a:cubicBezTo>
                  <a:pt x="4412132" y="5039117"/>
                  <a:pt x="4411334" y="5043110"/>
                  <a:pt x="4409869" y="5046705"/>
                </a:cubicBezTo>
                <a:cubicBezTo>
                  <a:pt x="4408405" y="5050299"/>
                  <a:pt x="4406275" y="5053361"/>
                  <a:pt x="4403746" y="5056023"/>
                </a:cubicBezTo>
                <a:cubicBezTo>
                  <a:pt x="4401083" y="5058686"/>
                  <a:pt x="4398022" y="5060816"/>
                  <a:pt x="4394428" y="5062280"/>
                </a:cubicBezTo>
                <a:cubicBezTo>
                  <a:pt x="4390834" y="5063744"/>
                  <a:pt x="4386973" y="5064543"/>
                  <a:pt x="4382713" y="5064543"/>
                </a:cubicBezTo>
                <a:cubicBezTo>
                  <a:pt x="4373661" y="5064543"/>
                  <a:pt x="4366473" y="5061614"/>
                  <a:pt x="4360881" y="5056023"/>
                </a:cubicBezTo>
                <a:cubicBezTo>
                  <a:pt x="4355290" y="5050433"/>
                  <a:pt x="4352495" y="5043376"/>
                  <a:pt x="4352495" y="5034857"/>
                </a:cubicBezTo>
                <a:cubicBezTo>
                  <a:pt x="4352495" y="5026604"/>
                  <a:pt x="4355290" y="5019549"/>
                  <a:pt x="4360881" y="5013825"/>
                </a:cubicBezTo>
                <a:cubicBezTo>
                  <a:pt x="4366473" y="5008100"/>
                  <a:pt x="4373661" y="5005305"/>
                  <a:pt x="4382713" y="5005305"/>
                </a:cubicBezTo>
                <a:close/>
                <a:moveTo>
                  <a:pt x="4165068" y="5005305"/>
                </a:moveTo>
                <a:cubicBezTo>
                  <a:pt x="4169327" y="5005305"/>
                  <a:pt x="4173188" y="5006104"/>
                  <a:pt x="4176782" y="5007834"/>
                </a:cubicBezTo>
                <a:cubicBezTo>
                  <a:pt x="4180509" y="5009432"/>
                  <a:pt x="4183571" y="5011561"/>
                  <a:pt x="4186100" y="5014224"/>
                </a:cubicBezTo>
                <a:cubicBezTo>
                  <a:pt x="4188629" y="5016753"/>
                  <a:pt x="4190759" y="5019948"/>
                  <a:pt x="4192223" y="5023542"/>
                </a:cubicBezTo>
                <a:cubicBezTo>
                  <a:pt x="4193688" y="5027136"/>
                  <a:pt x="4194486" y="5030996"/>
                  <a:pt x="4194486" y="5034990"/>
                </a:cubicBezTo>
                <a:cubicBezTo>
                  <a:pt x="4194486" y="5039117"/>
                  <a:pt x="4193688" y="5043110"/>
                  <a:pt x="4192223" y="5046705"/>
                </a:cubicBezTo>
                <a:cubicBezTo>
                  <a:pt x="4190759" y="5050299"/>
                  <a:pt x="4188629" y="5053361"/>
                  <a:pt x="4186100" y="5056023"/>
                </a:cubicBezTo>
                <a:cubicBezTo>
                  <a:pt x="4183438" y="5058686"/>
                  <a:pt x="4180376" y="5060816"/>
                  <a:pt x="4176782" y="5062280"/>
                </a:cubicBezTo>
                <a:cubicBezTo>
                  <a:pt x="4173188" y="5063744"/>
                  <a:pt x="4169327" y="5064543"/>
                  <a:pt x="4165068" y="5064543"/>
                </a:cubicBezTo>
                <a:cubicBezTo>
                  <a:pt x="4156015" y="5064543"/>
                  <a:pt x="4148827" y="5061614"/>
                  <a:pt x="4143235" y="5056023"/>
                </a:cubicBezTo>
                <a:cubicBezTo>
                  <a:pt x="4137645" y="5050433"/>
                  <a:pt x="4134849" y="5043376"/>
                  <a:pt x="4134849" y="5034857"/>
                </a:cubicBezTo>
                <a:cubicBezTo>
                  <a:pt x="4134849" y="5026604"/>
                  <a:pt x="4137645" y="5019549"/>
                  <a:pt x="4143235" y="5013825"/>
                </a:cubicBezTo>
                <a:cubicBezTo>
                  <a:pt x="4148827" y="5008100"/>
                  <a:pt x="4156015" y="5005305"/>
                  <a:pt x="4165068" y="5005305"/>
                </a:cubicBezTo>
                <a:close/>
                <a:moveTo>
                  <a:pt x="3947698" y="5005305"/>
                </a:moveTo>
                <a:cubicBezTo>
                  <a:pt x="3951960" y="5005305"/>
                  <a:pt x="3955820" y="5006104"/>
                  <a:pt x="3959415" y="5007834"/>
                </a:cubicBezTo>
                <a:cubicBezTo>
                  <a:pt x="3963144" y="5009432"/>
                  <a:pt x="3966204" y="5011561"/>
                  <a:pt x="3968733" y="5014224"/>
                </a:cubicBezTo>
                <a:cubicBezTo>
                  <a:pt x="3971264" y="5016753"/>
                  <a:pt x="3973393" y="5019948"/>
                  <a:pt x="3974857" y="5023542"/>
                </a:cubicBezTo>
                <a:cubicBezTo>
                  <a:pt x="3976322" y="5027136"/>
                  <a:pt x="3977121" y="5030996"/>
                  <a:pt x="3977121" y="5034990"/>
                </a:cubicBezTo>
                <a:cubicBezTo>
                  <a:pt x="3977121" y="5039117"/>
                  <a:pt x="3976322" y="5043110"/>
                  <a:pt x="3974857" y="5046705"/>
                </a:cubicBezTo>
                <a:cubicBezTo>
                  <a:pt x="3973393" y="5050299"/>
                  <a:pt x="3971264" y="5053361"/>
                  <a:pt x="3968733" y="5056023"/>
                </a:cubicBezTo>
                <a:cubicBezTo>
                  <a:pt x="3966072" y="5058686"/>
                  <a:pt x="3963010" y="5060816"/>
                  <a:pt x="3959415" y="5062280"/>
                </a:cubicBezTo>
                <a:cubicBezTo>
                  <a:pt x="3955820" y="5063744"/>
                  <a:pt x="3951960" y="5064543"/>
                  <a:pt x="3947698" y="5064543"/>
                </a:cubicBezTo>
                <a:cubicBezTo>
                  <a:pt x="3938645" y="5064543"/>
                  <a:pt x="3931457" y="5061614"/>
                  <a:pt x="3925865" y="5056023"/>
                </a:cubicBezTo>
                <a:cubicBezTo>
                  <a:pt x="3920274" y="5050433"/>
                  <a:pt x="3917479" y="5043376"/>
                  <a:pt x="3917479" y="5034857"/>
                </a:cubicBezTo>
                <a:cubicBezTo>
                  <a:pt x="3917479" y="5026604"/>
                  <a:pt x="3920274" y="5019549"/>
                  <a:pt x="3925865" y="5013825"/>
                </a:cubicBezTo>
                <a:cubicBezTo>
                  <a:pt x="3931457" y="5008100"/>
                  <a:pt x="3938645" y="5005305"/>
                  <a:pt x="3947698" y="5005305"/>
                </a:cubicBezTo>
                <a:close/>
                <a:moveTo>
                  <a:pt x="3730040" y="5005305"/>
                </a:moveTo>
                <a:cubicBezTo>
                  <a:pt x="3734301" y="5005305"/>
                  <a:pt x="3738294" y="5006104"/>
                  <a:pt x="3741756" y="5007834"/>
                </a:cubicBezTo>
                <a:cubicBezTo>
                  <a:pt x="3745350" y="5009432"/>
                  <a:pt x="3748545" y="5011561"/>
                  <a:pt x="3751074" y="5014224"/>
                </a:cubicBezTo>
                <a:cubicBezTo>
                  <a:pt x="3753603" y="5016753"/>
                  <a:pt x="3755733" y="5019948"/>
                  <a:pt x="3757197" y="5023542"/>
                </a:cubicBezTo>
                <a:cubicBezTo>
                  <a:pt x="3758661" y="5027136"/>
                  <a:pt x="3759460" y="5030996"/>
                  <a:pt x="3759460" y="5034990"/>
                </a:cubicBezTo>
                <a:cubicBezTo>
                  <a:pt x="3759460" y="5039117"/>
                  <a:pt x="3758661" y="5043110"/>
                  <a:pt x="3757197" y="5046705"/>
                </a:cubicBezTo>
                <a:cubicBezTo>
                  <a:pt x="3755733" y="5050299"/>
                  <a:pt x="3753603" y="5053361"/>
                  <a:pt x="3751074" y="5056023"/>
                </a:cubicBezTo>
                <a:cubicBezTo>
                  <a:pt x="3748411" y="5058686"/>
                  <a:pt x="3745350" y="5060816"/>
                  <a:pt x="3741756" y="5062280"/>
                </a:cubicBezTo>
                <a:cubicBezTo>
                  <a:pt x="3738162" y="5063744"/>
                  <a:pt x="3734301" y="5064543"/>
                  <a:pt x="3730040" y="5064543"/>
                </a:cubicBezTo>
                <a:cubicBezTo>
                  <a:pt x="3720988" y="5064543"/>
                  <a:pt x="3713798" y="5061614"/>
                  <a:pt x="3708201" y="5056023"/>
                </a:cubicBezTo>
                <a:cubicBezTo>
                  <a:pt x="3702608" y="5050433"/>
                  <a:pt x="3699815" y="5043376"/>
                  <a:pt x="3699815" y="5034857"/>
                </a:cubicBezTo>
                <a:cubicBezTo>
                  <a:pt x="3699815" y="5026604"/>
                  <a:pt x="3702608" y="5019549"/>
                  <a:pt x="3708201" y="5013825"/>
                </a:cubicBezTo>
                <a:cubicBezTo>
                  <a:pt x="3713798" y="5008100"/>
                  <a:pt x="3720988" y="5005305"/>
                  <a:pt x="3730040" y="5005305"/>
                </a:cubicBezTo>
                <a:close/>
                <a:moveTo>
                  <a:pt x="3512380" y="5005305"/>
                </a:moveTo>
                <a:cubicBezTo>
                  <a:pt x="3516641" y="5005305"/>
                  <a:pt x="3520635" y="5006104"/>
                  <a:pt x="3524097" y="5007834"/>
                </a:cubicBezTo>
                <a:cubicBezTo>
                  <a:pt x="3527690" y="5009432"/>
                  <a:pt x="3530885" y="5011561"/>
                  <a:pt x="3533415" y="5014224"/>
                </a:cubicBezTo>
                <a:cubicBezTo>
                  <a:pt x="3535944" y="5016753"/>
                  <a:pt x="3538074" y="5019948"/>
                  <a:pt x="3539538" y="5023542"/>
                </a:cubicBezTo>
                <a:cubicBezTo>
                  <a:pt x="3541002" y="5027136"/>
                  <a:pt x="3541801" y="5030996"/>
                  <a:pt x="3541801" y="5034990"/>
                </a:cubicBezTo>
                <a:cubicBezTo>
                  <a:pt x="3541801" y="5039117"/>
                  <a:pt x="3541002" y="5043110"/>
                  <a:pt x="3539538" y="5046705"/>
                </a:cubicBezTo>
                <a:cubicBezTo>
                  <a:pt x="3538074" y="5050299"/>
                  <a:pt x="3535944" y="5053361"/>
                  <a:pt x="3533415" y="5056023"/>
                </a:cubicBezTo>
                <a:cubicBezTo>
                  <a:pt x="3530751" y="5058686"/>
                  <a:pt x="3527690" y="5060816"/>
                  <a:pt x="3524097" y="5062280"/>
                </a:cubicBezTo>
                <a:cubicBezTo>
                  <a:pt x="3520502" y="5063744"/>
                  <a:pt x="3516641" y="5064543"/>
                  <a:pt x="3512380" y="5064543"/>
                </a:cubicBezTo>
                <a:cubicBezTo>
                  <a:pt x="3503325" y="5064543"/>
                  <a:pt x="3496135" y="5061614"/>
                  <a:pt x="3490544" y="5056023"/>
                </a:cubicBezTo>
                <a:cubicBezTo>
                  <a:pt x="3484953" y="5050433"/>
                  <a:pt x="3482158" y="5043376"/>
                  <a:pt x="3482158" y="5034857"/>
                </a:cubicBezTo>
                <a:cubicBezTo>
                  <a:pt x="3482158" y="5026604"/>
                  <a:pt x="3484953" y="5019549"/>
                  <a:pt x="3490544" y="5013825"/>
                </a:cubicBezTo>
                <a:cubicBezTo>
                  <a:pt x="3496135" y="5008100"/>
                  <a:pt x="3503325" y="5005305"/>
                  <a:pt x="3512380" y="5005305"/>
                </a:cubicBezTo>
                <a:close/>
                <a:moveTo>
                  <a:pt x="3294855" y="5005305"/>
                </a:moveTo>
                <a:cubicBezTo>
                  <a:pt x="3298982" y="5005305"/>
                  <a:pt x="3302976" y="5006104"/>
                  <a:pt x="3306570" y="5007834"/>
                </a:cubicBezTo>
                <a:cubicBezTo>
                  <a:pt x="3310297" y="5009432"/>
                  <a:pt x="3313359" y="5011561"/>
                  <a:pt x="3315888" y="5014224"/>
                </a:cubicBezTo>
                <a:cubicBezTo>
                  <a:pt x="3318417" y="5016753"/>
                  <a:pt x="3320547" y="5019948"/>
                  <a:pt x="3322011" y="5023542"/>
                </a:cubicBezTo>
                <a:cubicBezTo>
                  <a:pt x="3323475" y="5027136"/>
                  <a:pt x="3324274" y="5030996"/>
                  <a:pt x="3324274" y="5034990"/>
                </a:cubicBezTo>
                <a:cubicBezTo>
                  <a:pt x="3324274" y="5039117"/>
                  <a:pt x="3323475" y="5043110"/>
                  <a:pt x="3322011" y="5046705"/>
                </a:cubicBezTo>
                <a:cubicBezTo>
                  <a:pt x="3320547" y="5050299"/>
                  <a:pt x="3318417" y="5053361"/>
                  <a:pt x="3315888" y="5056023"/>
                </a:cubicBezTo>
                <a:cubicBezTo>
                  <a:pt x="3313225" y="5058686"/>
                  <a:pt x="3310164" y="5060816"/>
                  <a:pt x="3306570" y="5062280"/>
                </a:cubicBezTo>
                <a:cubicBezTo>
                  <a:pt x="3302976" y="5063744"/>
                  <a:pt x="3299115" y="5064543"/>
                  <a:pt x="3294855" y="5064543"/>
                </a:cubicBezTo>
                <a:cubicBezTo>
                  <a:pt x="3285800" y="5064543"/>
                  <a:pt x="3278611" y="5061614"/>
                  <a:pt x="3273017" y="5056023"/>
                </a:cubicBezTo>
                <a:cubicBezTo>
                  <a:pt x="3267424" y="5050433"/>
                  <a:pt x="3264629" y="5043376"/>
                  <a:pt x="3264629" y="5034857"/>
                </a:cubicBezTo>
                <a:cubicBezTo>
                  <a:pt x="3264629" y="5026604"/>
                  <a:pt x="3267424" y="5019549"/>
                  <a:pt x="3273017" y="5013825"/>
                </a:cubicBezTo>
                <a:cubicBezTo>
                  <a:pt x="3278611" y="5008100"/>
                  <a:pt x="3285800" y="5005305"/>
                  <a:pt x="3294855" y="5005305"/>
                </a:cubicBezTo>
                <a:close/>
                <a:moveTo>
                  <a:pt x="3077195" y="5005305"/>
                </a:moveTo>
                <a:cubicBezTo>
                  <a:pt x="3081323" y="5005305"/>
                  <a:pt x="3085316" y="5006104"/>
                  <a:pt x="3088910" y="5007834"/>
                </a:cubicBezTo>
                <a:cubicBezTo>
                  <a:pt x="3092505" y="5009432"/>
                  <a:pt x="3095700" y="5011561"/>
                  <a:pt x="3098228" y="5014224"/>
                </a:cubicBezTo>
                <a:cubicBezTo>
                  <a:pt x="3100758" y="5016753"/>
                  <a:pt x="3102888" y="5019948"/>
                  <a:pt x="3104352" y="5023542"/>
                </a:cubicBezTo>
                <a:cubicBezTo>
                  <a:pt x="3105817" y="5027136"/>
                  <a:pt x="3106615" y="5030996"/>
                  <a:pt x="3106615" y="5034990"/>
                </a:cubicBezTo>
                <a:cubicBezTo>
                  <a:pt x="3106615" y="5039117"/>
                  <a:pt x="3105817" y="5043110"/>
                  <a:pt x="3104352" y="5046705"/>
                </a:cubicBezTo>
                <a:cubicBezTo>
                  <a:pt x="3102888" y="5050299"/>
                  <a:pt x="3100758" y="5053361"/>
                  <a:pt x="3098228" y="5056023"/>
                </a:cubicBezTo>
                <a:cubicBezTo>
                  <a:pt x="3095566" y="5058686"/>
                  <a:pt x="3092505" y="5060816"/>
                  <a:pt x="3088910" y="5062280"/>
                </a:cubicBezTo>
                <a:cubicBezTo>
                  <a:pt x="3085316" y="5063744"/>
                  <a:pt x="3081455" y="5064543"/>
                  <a:pt x="3077195" y="5064543"/>
                </a:cubicBezTo>
                <a:cubicBezTo>
                  <a:pt x="3068275" y="5064543"/>
                  <a:pt x="3060952" y="5061614"/>
                  <a:pt x="3055357" y="5056023"/>
                </a:cubicBezTo>
                <a:cubicBezTo>
                  <a:pt x="3049766" y="5050433"/>
                  <a:pt x="3046971" y="5043376"/>
                  <a:pt x="3046971" y="5034857"/>
                </a:cubicBezTo>
                <a:cubicBezTo>
                  <a:pt x="3046971" y="5026604"/>
                  <a:pt x="3049766" y="5019549"/>
                  <a:pt x="3055357" y="5013825"/>
                </a:cubicBezTo>
                <a:cubicBezTo>
                  <a:pt x="3060952" y="5008100"/>
                  <a:pt x="3068142" y="5005305"/>
                  <a:pt x="3077195" y="5005305"/>
                </a:cubicBezTo>
                <a:close/>
                <a:moveTo>
                  <a:pt x="2859536" y="5005305"/>
                </a:moveTo>
                <a:cubicBezTo>
                  <a:pt x="2863796" y="5005305"/>
                  <a:pt x="2867657" y="5006104"/>
                  <a:pt x="2871384" y="5007834"/>
                </a:cubicBezTo>
                <a:cubicBezTo>
                  <a:pt x="2875111" y="5009432"/>
                  <a:pt x="2878173" y="5011561"/>
                  <a:pt x="2880702" y="5014224"/>
                </a:cubicBezTo>
                <a:cubicBezTo>
                  <a:pt x="2883364" y="5016753"/>
                  <a:pt x="2885361" y="5019948"/>
                  <a:pt x="2886825" y="5023542"/>
                </a:cubicBezTo>
                <a:cubicBezTo>
                  <a:pt x="2888290" y="5027136"/>
                  <a:pt x="2889088" y="5030996"/>
                  <a:pt x="2889088" y="5034990"/>
                </a:cubicBezTo>
                <a:cubicBezTo>
                  <a:pt x="2889088" y="5039117"/>
                  <a:pt x="2888290" y="5043110"/>
                  <a:pt x="2886825" y="5046705"/>
                </a:cubicBezTo>
                <a:cubicBezTo>
                  <a:pt x="2885361" y="5050299"/>
                  <a:pt x="2883231" y="5053361"/>
                  <a:pt x="2880702" y="5056023"/>
                </a:cubicBezTo>
                <a:cubicBezTo>
                  <a:pt x="2878040" y="5058686"/>
                  <a:pt x="2874978" y="5060816"/>
                  <a:pt x="2871384" y="5062280"/>
                </a:cubicBezTo>
                <a:cubicBezTo>
                  <a:pt x="2867657" y="5063744"/>
                  <a:pt x="2863796" y="5064543"/>
                  <a:pt x="2859536" y="5064543"/>
                </a:cubicBezTo>
                <a:cubicBezTo>
                  <a:pt x="2850618" y="5064543"/>
                  <a:pt x="2843290" y="5061614"/>
                  <a:pt x="2837698" y="5056023"/>
                </a:cubicBezTo>
                <a:cubicBezTo>
                  <a:pt x="2832107" y="5050433"/>
                  <a:pt x="2829311" y="5043376"/>
                  <a:pt x="2829311" y="5034857"/>
                </a:cubicBezTo>
                <a:cubicBezTo>
                  <a:pt x="2829311" y="5026604"/>
                  <a:pt x="2832107" y="5019549"/>
                  <a:pt x="2837698" y="5013825"/>
                </a:cubicBezTo>
                <a:cubicBezTo>
                  <a:pt x="2843290" y="5008100"/>
                  <a:pt x="2850484" y="5005305"/>
                  <a:pt x="2859536" y="5005305"/>
                </a:cubicBezTo>
                <a:close/>
                <a:moveTo>
                  <a:pt x="2641876" y="5005305"/>
                </a:moveTo>
                <a:cubicBezTo>
                  <a:pt x="2646136" y="5005305"/>
                  <a:pt x="2649996" y="5006104"/>
                  <a:pt x="2653592" y="5007834"/>
                </a:cubicBezTo>
                <a:cubicBezTo>
                  <a:pt x="2657319" y="5009432"/>
                  <a:pt x="2660381" y="5011561"/>
                  <a:pt x="2662910" y="5014224"/>
                </a:cubicBezTo>
                <a:cubicBezTo>
                  <a:pt x="2665571" y="5016753"/>
                  <a:pt x="2667569" y="5019948"/>
                  <a:pt x="2669033" y="5023542"/>
                </a:cubicBezTo>
                <a:cubicBezTo>
                  <a:pt x="2670497" y="5027136"/>
                  <a:pt x="2671296" y="5030996"/>
                  <a:pt x="2671296" y="5034990"/>
                </a:cubicBezTo>
                <a:cubicBezTo>
                  <a:pt x="2671296" y="5039117"/>
                  <a:pt x="2670497" y="5043110"/>
                  <a:pt x="2669033" y="5046705"/>
                </a:cubicBezTo>
                <a:cubicBezTo>
                  <a:pt x="2667569" y="5050299"/>
                  <a:pt x="2665439" y="5053361"/>
                  <a:pt x="2662910" y="5056023"/>
                </a:cubicBezTo>
                <a:cubicBezTo>
                  <a:pt x="2660381" y="5058686"/>
                  <a:pt x="2657185" y="5060816"/>
                  <a:pt x="2653592" y="5062280"/>
                </a:cubicBezTo>
                <a:cubicBezTo>
                  <a:pt x="2649996" y="5063744"/>
                  <a:pt x="2646136" y="5064543"/>
                  <a:pt x="2641876" y="5064543"/>
                </a:cubicBezTo>
                <a:cubicBezTo>
                  <a:pt x="2632957" y="5064543"/>
                  <a:pt x="2625635" y="5061614"/>
                  <a:pt x="2620044" y="5056023"/>
                </a:cubicBezTo>
                <a:cubicBezTo>
                  <a:pt x="2614451" y="5050433"/>
                  <a:pt x="2611653" y="5043376"/>
                  <a:pt x="2611653" y="5034857"/>
                </a:cubicBezTo>
                <a:cubicBezTo>
                  <a:pt x="2611653" y="5026604"/>
                  <a:pt x="2614451" y="5019549"/>
                  <a:pt x="2620044" y="5013825"/>
                </a:cubicBezTo>
                <a:cubicBezTo>
                  <a:pt x="2625635" y="5008100"/>
                  <a:pt x="2632824" y="5005305"/>
                  <a:pt x="2641876" y="5005305"/>
                </a:cubicBezTo>
                <a:close/>
                <a:moveTo>
                  <a:pt x="2424216" y="5005305"/>
                </a:moveTo>
                <a:cubicBezTo>
                  <a:pt x="2428477" y="5005305"/>
                  <a:pt x="2432471" y="5006104"/>
                  <a:pt x="2435932" y="5007834"/>
                </a:cubicBezTo>
                <a:cubicBezTo>
                  <a:pt x="2439659" y="5009432"/>
                  <a:pt x="2442721" y="5011561"/>
                  <a:pt x="2445250" y="5014224"/>
                </a:cubicBezTo>
                <a:cubicBezTo>
                  <a:pt x="2447912" y="5016753"/>
                  <a:pt x="2449909" y="5019948"/>
                  <a:pt x="2451373" y="5023542"/>
                </a:cubicBezTo>
                <a:cubicBezTo>
                  <a:pt x="2452837" y="5027136"/>
                  <a:pt x="2453636" y="5030996"/>
                  <a:pt x="2453636" y="5034990"/>
                </a:cubicBezTo>
                <a:cubicBezTo>
                  <a:pt x="2453636" y="5039117"/>
                  <a:pt x="2452837" y="5043110"/>
                  <a:pt x="2451373" y="5046705"/>
                </a:cubicBezTo>
                <a:cubicBezTo>
                  <a:pt x="2449909" y="5050299"/>
                  <a:pt x="2447779" y="5053361"/>
                  <a:pt x="2445250" y="5056023"/>
                </a:cubicBezTo>
                <a:cubicBezTo>
                  <a:pt x="2442721" y="5058686"/>
                  <a:pt x="2439526" y="5060816"/>
                  <a:pt x="2435932" y="5062280"/>
                </a:cubicBezTo>
                <a:cubicBezTo>
                  <a:pt x="2432338" y="5063744"/>
                  <a:pt x="2428477" y="5064543"/>
                  <a:pt x="2424216" y="5064543"/>
                </a:cubicBezTo>
                <a:cubicBezTo>
                  <a:pt x="2415298" y="5064543"/>
                  <a:pt x="2407976" y="5061614"/>
                  <a:pt x="2402384" y="5056023"/>
                </a:cubicBezTo>
                <a:cubicBezTo>
                  <a:pt x="2396792" y="5050433"/>
                  <a:pt x="2393995" y="5043376"/>
                  <a:pt x="2393995" y="5034857"/>
                </a:cubicBezTo>
                <a:cubicBezTo>
                  <a:pt x="2393995" y="5026604"/>
                  <a:pt x="2396792" y="5019549"/>
                  <a:pt x="2402384" y="5013825"/>
                </a:cubicBezTo>
                <a:cubicBezTo>
                  <a:pt x="2407976" y="5008100"/>
                  <a:pt x="2415164" y="5005305"/>
                  <a:pt x="2424216" y="5005305"/>
                </a:cubicBezTo>
                <a:close/>
                <a:moveTo>
                  <a:pt x="2206557" y="5005305"/>
                </a:moveTo>
                <a:cubicBezTo>
                  <a:pt x="2210817" y="5005305"/>
                  <a:pt x="2214811" y="5006104"/>
                  <a:pt x="2218272" y="5007834"/>
                </a:cubicBezTo>
                <a:cubicBezTo>
                  <a:pt x="2221999" y="5009432"/>
                  <a:pt x="2225060" y="5011561"/>
                  <a:pt x="2227591" y="5014224"/>
                </a:cubicBezTo>
                <a:cubicBezTo>
                  <a:pt x="2230253" y="5016753"/>
                  <a:pt x="2232249" y="5019948"/>
                  <a:pt x="2233713" y="5023542"/>
                </a:cubicBezTo>
                <a:cubicBezTo>
                  <a:pt x="2235177" y="5027136"/>
                  <a:pt x="2235976" y="5030996"/>
                  <a:pt x="2235976" y="5034990"/>
                </a:cubicBezTo>
                <a:cubicBezTo>
                  <a:pt x="2235976" y="5039117"/>
                  <a:pt x="2235177" y="5043110"/>
                  <a:pt x="2233713" y="5046705"/>
                </a:cubicBezTo>
                <a:cubicBezTo>
                  <a:pt x="2232249" y="5050299"/>
                  <a:pt x="2230119" y="5053361"/>
                  <a:pt x="2227591" y="5056023"/>
                </a:cubicBezTo>
                <a:cubicBezTo>
                  <a:pt x="2225060" y="5058686"/>
                  <a:pt x="2221866" y="5060816"/>
                  <a:pt x="2218272" y="5062280"/>
                </a:cubicBezTo>
                <a:cubicBezTo>
                  <a:pt x="2214677" y="5063744"/>
                  <a:pt x="2210817" y="5064543"/>
                  <a:pt x="2206557" y="5064543"/>
                </a:cubicBezTo>
                <a:cubicBezTo>
                  <a:pt x="2197505" y="5064543"/>
                  <a:pt x="2190316" y="5061614"/>
                  <a:pt x="2184724" y="5056023"/>
                </a:cubicBezTo>
                <a:cubicBezTo>
                  <a:pt x="2179132" y="5050433"/>
                  <a:pt x="2176337" y="5043376"/>
                  <a:pt x="2176337" y="5034857"/>
                </a:cubicBezTo>
                <a:cubicBezTo>
                  <a:pt x="2176337" y="5026604"/>
                  <a:pt x="2179132" y="5019549"/>
                  <a:pt x="2184724" y="5013825"/>
                </a:cubicBezTo>
                <a:cubicBezTo>
                  <a:pt x="2190316" y="5008100"/>
                  <a:pt x="2197505" y="5005305"/>
                  <a:pt x="2206557" y="5005305"/>
                </a:cubicBezTo>
                <a:close/>
                <a:moveTo>
                  <a:pt x="1989030" y="5005305"/>
                </a:moveTo>
                <a:cubicBezTo>
                  <a:pt x="1993157" y="5005305"/>
                  <a:pt x="1997152" y="5006104"/>
                  <a:pt x="2000746" y="5007834"/>
                </a:cubicBezTo>
                <a:cubicBezTo>
                  <a:pt x="2004473" y="5009432"/>
                  <a:pt x="2007535" y="5011561"/>
                  <a:pt x="2010064" y="5014224"/>
                </a:cubicBezTo>
                <a:cubicBezTo>
                  <a:pt x="2012726" y="5016753"/>
                  <a:pt x="2014723" y="5019948"/>
                  <a:pt x="2016187" y="5023542"/>
                </a:cubicBezTo>
                <a:cubicBezTo>
                  <a:pt x="2017651" y="5027136"/>
                  <a:pt x="2018450" y="5030996"/>
                  <a:pt x="2018450" y="5034990"/>
                </a:cubicBezTo>
                <a:cubicBezTo>
                  <a:pt x="2018450" y="5039117"/>
                  <a:pt x="2017651" y="5043110"/>
                  <a:pt x="2016187" y="5046705"/>
                </a:cubicBezTo>
                <a:cubicBezTo>
                  <a:pt x="2014723" y="5050299"/>
                  <a:pt x="2012593" y="5053361"/>
                  <a:pt x="2010064" y="5056023"/>
                </a:cubicBezTo>
                <a:cubicBezTo>
                  <a:pt x="2007535" y="5058686"/>
                  <a:pt x="2004339" y="5060816"/>
                  <a:pt x="2000746" y="5062280"/>
                </a:cubicBezTo>
                <a:cubicBezTo>
                  <a:pt x="1997152" y="5063744"/>
                  <a:pt x="1993290" y="5064543"/>
                  <a:pt x="1989030" y="5064543"/>
                </a:cubicBezTo>
                <a:cubicBezTo>
                  <a:pt x="1979979" y="5064543"/>
                  <a:pt x="1972790" y="5061614"/>
                  <a:pt x="1967199" y="5056023"/>
                </a:cubicBezTo>
                <a:cubicBezTo>
                  <a:pt x="1961609" y="5050433"/>
                  <a:pt x="1958813" y="5043376"/>
                  <a:pt x="1958813" y="5034857"/>
                </a:cubicBezTo>
                <a:cubicBezTo>
                  <a:pt x="1958813" y="5026604"/>
                  <a:pt x="1961609" y="5019549"/>
                  <a:pt x="1967199" y="5013825"/>
                </a:cubicBezTo>
                <a:cubicBezTo>
                  <a:pt x="1972790" y="5008100"/>
                  <a:pt x="1979979" y="5005305"/>
                  <a:pt x="1989030" y="5005305"/>
                </a:cubicBezTo>
                <a:close/>
                <a:moveTo>
                  <a:pt x="1771396" y="5005305"/>
                </a:moveTo>
                <a:cubicBezTo>
                  <a:pt x="1775655" y="5005305"/>
                  <a:pt x="1779515" y="5006104"/>
                  <a:pt x="1783110" y="5007834"/>
                </a:cubicBezTo>
                <a:cubicBezTo>
                  <a:pt x="1786837" y="5009432"/>
                  <a:pt x="1789899" y="5011561"/>
                  <a:pt x="1792427" y="5014224"/>
                </a:cubicBezTo>
                <a:cubicBezTo>
                  <a:pt x="1795090" y="5016753"/>
                  <a:pt x="1797087" y="5019948"/>
                  <a:pt x="1798551" y="5023542"/>
                </a:cubicBezTo>
                <a:cubicBezTo>
                  <a:pt x="1800014" y="5027136"/>
                  <a:pt x="1800813" y="5030996"/>
                  <a:pt x="1800813" y="5034990"/>
                </a:cubicBezTo>
                <a:cubicBezTo>
                  <a:pt x="1800813" y="5039117"/>
                  <a:pt x="1800014" y="5043110"/>
                  <a:pt x="1798551" y="5046705"/>
                </a:cubicBezTo>
                <a:cubicBezTo>
                  <a:pt x="1797087" y="5050299"/>
                  <a:pt x="1794957" y="5053361"/>
                  <a:pt x="1792427" y="5056023"/>
                </a:cubicBezTo>
                <a:cubicBezTo>
                  <a:pt x="1789765" y="5058686"/>
                  <a:pt x="1786704" y="5060816"/>
                  <a:pt x="1783110" y="5062280"/>
                </a:cubicBezTo>
                <a:cubicBezTo>
                  <a:pt x="1779515" y="5063744"/>
                  <a:pt x="1775655" y="5064543"/>
                  <a:pt x="1771396" y="5064543"/>
                </a:cubicBezTo>
                <a:cubicBezTo>
                  <a:pt x="1762477" y="5064543"/>
                  <a:pt x="1755157" y="5061614"/>
                  <a:pt x="1749566" y="5056023"/>
                </a:cubicBezTo>
                <a:cubicBezTo>
                  <a:pt x="1743976" y="5050433"/>
                  <a:pt x="1741183" y="5043376"/>
                  <a:pt x="1741183" y="5034857"/>
                </a:cubicBezTo>
                <a:cubicBezTo>
                  <a:pt x="1741183" y="5026604"/>
                  <a:pt x="1743976" y="5019549"/>
                  <a:pt x="1749566" y="5013825"/>
                </a:cubicBezTo>
                <a:cubicBezTo>
                  <a:pt x="1755157" y="5008100"/>
                  <a:pt x="1762344" y="5005305"/>
                  <a:pt x="1771396" y="5005305"/>
                </a:cubicBezTo>
                <a:close/>
                <a:moveTo>
                  <a:pt x="1553758" y="5005305"/>
                </a:moveTo>
                <a:cubicBezTo>
                  <a:pt x="1558017" y="5005305"/>
                  <a:pt x="1561879" y="5006104"/>
                  <a:pt x="1565473" y="5007834"/>
                </a:cubicBezTo>
                <a:cubicBezTo>
                  <a:pt x="1569067" y="5009432"/>
                  <a:pt x="1572262" y="5011561"/>
                  <a:pt x="1574791" y="5014224"/>
                </a:cubicBezTo>
                <a:cubicBezTo>
                  <a:pt x="1577453" y="5016753"/>
                  <a:pt x="1579450" y="5019948"/>
                  <a:pt x="1580914" y="5023542"/>
                </a:cubicBezTo>
                <a:cubicBezTo>
                  <a:pt x="1582378" y="5027136"/>
                  <a:pt x="1583177" y="5030996"/>
                  <a:pt x="1583177" y="5034990"/>
                </a:cubicBezTo>
                <a:cubicBezTo>
                  <a:pt x="1583177" y="5039117"/>
                  <a:pt x="1582378" y="5043110"/>
                  <a:pt x="1580914" y="5046705"/>
                </a:cubicBezTo>
                <a:cubicBezTo>
                  <a:pt x="1579450" y="5050299"/>
                  <a:pt x="1577320" y="5053361"/>
                  <a:pt x="1574791" y="5056023"/>
                </a:cubicBezTo>
                <a:cubicBezTo>
                  <a:pt x="1572129" y="5058686"/>
                  <a:pt x="1569067" y="5060816"/>
                  <a:pt x="1565473" y="5062280"/>
                </a:cubicBezTo>
                <a:cubicBezTo>
                  <a:pt x="1561879" y="5063744"/>
                  <a:pt x="1558017" y="5064543"/>
                  <a:pt x="1553758" y="5064543"/>
                </a:cubicBezTo>
                <a:cubicBezTo>
                  <a:pt x="1544840" y="5064543"/>
                  <a:pt x="1537518" y="5061614"/>
                  <a:pt x="1531928" y="5056023"/>
                </a:cubicBezTo>
                <a:cubicBezTo>
                  <a:pt x="1526339" y="5050433"/>
                  <a:pt x="1523542" y="5043376"/>
                  <a:pt x="1523542" y="5034857"/>
                </a:cubicBezTo>
                <a:cubicBezTo>
                  <a:pt x="1523542" y="5026604"/>
                  <a:pt x="1526339" y="5019549"/>
                  <a:pt x="1531928" y="5013825"/>
                </a:cubicBezTo>
                <a:cubicBezTo>
                  <a:pt x="1537518" y="5008100"/>
                  <a:pt x="1544705" y="5005305"/>
                  <a:pt x="1553758" y="5005305"/>
                </a:cubicBezTo>
                <a:close/>
                <a:moveTo>
                  <a:pt x="1336114" y="5005305"/>
                </a:moveTo>
                <a:cubicBezTo>
                  <a:pt x="1340374" y="5005305"/>
                  <a:pt x="1344369" y="5006104"/>
                  <a:pt x="1347830" y="5007834"/>
                </a:cubicBezTo>
                <a:cubicBezTo>
                  <a:pt x="1351423" y="5009432"/>
                  <a:pt x="1354618" y="5011561"/>
                  <a:pt x="1357148" y="5014224"/>
                </a:cubicBezTo>
                <a:cubicBezTo>
                  <a:pt x="1359810" y="5016753"/>
                  <a:pt x="1361807" y="5019948"/>
                  <a:pt x="1363271" y="5023542"/>
                </a:cubicBezTo>
                <a:cubicBezTo>
                  <a:pt x="1364735" y="5027136"/>
                  <a:pt x="1365533" y="5030996"/>
                  <a:pt x="1365533" y="5034990"/>
                </a:cubicBezTo>
                <a:cubicBezTo>
                  <a:pt x="1365533" y="5039117"/>
                  <a:pt x="1364735" y="5043110"/>
                  <a:pt x="1363271" y="5046705"/>
                </a:cubicBezTo>
                <a:cubicBezTo>
                  <a:pt x="1361807" y="5050299"/>
                  <a:pt x="1359677" y="5053361"/>
                  <a:pt x="1357148" y="5056023"/>
                </a:cubicBezTo>
                <a:cubicBezTo>
                  <a:pt x="1354484" y="5058686"/>
                  <a:pt x="1351423" y="5060816"/>
                  <a:pt x="1347830" y="5062280"/>
                </a:cubicBezTo>
                <a:cubicBezTo>
                  <a:pt x="1344236" y="5063744"/>
                  <a:pt x="1340374" y="5064543"/>
                  <a:pt x="1336114" y="5064543"/>
                </a:cubicBezTo>
                <a:cubicBezTo>
                  <a:pt x="1327194" y="5064543"/>
                  <a:pt x="1319873" y="5061614"/>
                  <a:pt x="1314282" y="5056023"/>
                </a:cubicBezTo>
                <a:cubicBezTo>
                  <a:pt x="1308691" y="5050433"/>
                  <a:pt x="1305896" y="5043376"/>
                  <a:pt x="1305896" y="5034857"/>
                </a:cubicBezTo>
                <a:cubicBezTo>
                  <a:pt x="1305896" y="5026604"/>
                  <a:pt x="1308691" y="5019549"/>
                  <a:pt x="1314282" y="5013825"/>
                </a:cubicBezTo>
                <a:cubicBezTo>
                  <a:pt x="1319873" y="5008100"/>
                  <a:pt x="1327061" y="5005305"/>
                  <a:pt x="1336114" y="5005305"/>
                </a:cubicBezTo>
                <a:close/>
                <a:moveTo>
                  <a:pt x="1118469" y="5005305"/>
                </a:moveTo>
                <a:cubicBezTo>
                  <a:pt x="1122730" y="5005305"/>
                  <a:pt x="1126726" y="5006104"/>
                  <a:pt x="1130187" y="5007834"/>
                </a:cubicBezTo>
                <a:cubicBezTo>
                  <a:pt x="1133913" y="5009432"/>
                  <a:pt x="1136975" y="5011561"/>
                  <a:pt x="1139502" y="5014224"/>
                </a:cubicBezTo>
                <a:cubicBezTo>
                  <a:pt x="1142163" y="5016753"/>
                  <a:pt x="1144159" y="5019948"/>
                  <a:pt x="1145622" y="5023542"/>
                </a:cubicBezTo>
                <a:cubicBezTo>
                  <a:pt x="1147087" y="5027136"/>
                  <a:pt x="1147885" y="5030996"/>
                  <a:pt x="1147885" y="5034990"/>
                </a:cubicBezTo>
                <a:cubicBezTo>
                  <a:pt x="1147885" y="5039117"/>
                  <a:pt x="1147087" y="5043110"/>
                  <a:pt x="1145622" y="5046705"/>
                </a:cubicBezTo>
                <a:cubicBezTo>
                  <a:pt x="1144159" y="5050299"/>
                  <a:pt x="1142030" y="5053361"/>
                  <a:pt x="1139502" y="5056023"/>
                </a:cubicBezTo>
                <a:cubicBezTo>
                  <a:pt x="1136975" y="5058686"/>
                  <a:pt x="1133781" y="5060816"/>
                  <a:pt x="1130187" y="5062280"/>
                </a:cubicBezTo>
                <a:cubicBezTo>
                  <a:pt x="1126591" y="5063744"/>
                  <a:pt x="1122730" y="5064543"/>
                  <a:pt x="1118469" y="5064543"/>
                </a:cubicBezTo>
                <a:cubicBezTo>
                  <a:pt x="1109549" y="5064543"/>
                  <a:pt x="1102225" y="5061614"/>
                  <a:pt x="1096634" y="5056023"/>
                </a:cubicBezTo>
                <a:cubicBezTo>
                  <a:pt x="1091044" y="5050433"/>
                  <a:pt x="1088250" y="5043376"/>
                  <a:pt x="1088250" y="5034857"/>
                </a:cubicBezTo>
                <a:cubicBezTo>
                  <a:pt x="1088250" y="5026604"/>
                  <a:pt x="1091044" y="5019549"/>
                  <a:pt x="1096634" y="5013825"/>
                </a:cubicBezTo>
                <a:cubicBezTo>
                  <a:pt x="1102225" y="5008100"/>
                  <a:pt x="1109415" y="5005305"/>
                  <a:pt x="1118469" y="5005305"/>
                </a:cubicBezTo>
                <a:close/>
                <a:moveTo>
                  <a:pt x="900956" y="5005305"/>
                </a:moveTo>
                <a:cubicBezTo>
                  <a:pt x="905083" y="5005305"/>
                  <a:pt x="909077" y="5006104"/>
                  <a:pt x="912671" y="5007834"/>
                </a:cubicBezTo>
                <a:cubicBezTo>
                  <a:pt x="916398" y="5009432"/>
                  <a:pt x="919460" y="5011561"/>
                  <a:pt x="921989" y="5014224"/>
                </a:cubicBezTo>
                <a:cubicBezTo>
                  <a:pt x="924651" y="5016753"/>
                  <a:pt x="926648" y="5019948"/>
                  <a:pt x="928112" y="5023542"/>
                </a:cubicBezTo>
                <a:cubicBezTo>
                  <a:pt x="929576" y="5027136"/>
                  <a:pt x="930375" y="5030996"/>
                  <a:pt x="930375" y="5034990"/>
                </a:cubicBezTo>
                <a:cubicBezTo>
                  <a:pt x="930375" y="5039117"/>
                  <a:pt x="929576" y="5043110"/>
                  <a:pt x="928112" y="5046705"/>
                </a:cubicBezTo>
                <a:cubicBezTo>
                  <a:pt x="926648" y="5050299"/>
                  <a:pt x="924518" y="5053361"/>
                  <a:pt x="921989" y="5056023"/>
                </a:cubicBezTo>
                <a:cubicBezTo>
                  <a:pt x="919460" y="5058686"/>
                  <a:pt x="916265" y="5060816"/>
                  <a:pt x="912671" y="5062280"/>
                </a:cubicBezTo>
                <a:cubicBezTo>
                  <a:pt x="909077" y="5063744"/>
                  <a:pt x="905216" y="5064543"/>
                  <a:pt x="900956" y="5064543"/>
                </a:cubicBezTo>
                <a:cubicBezTo>
                  <a:pt x="892038" y="5064543"/>
                  <a:pt x="884716" y="5061614"/>
                  <a:pt x="879125" y="5056023"/>
                </a:cubicBezTo>
                <a:cubicBezTo>
                  <a:pt x="873536" y="5050433"/>
                  <a:pt x="870740" y="5043376"/>
                  <a:pt x="870740" y="5034857"/>
                </a:cubicBezTo>
                <a:cubicBezTo>
                  <a:pt x="870740" y="5026604"/>
                  <a:pt x="873536" y="5019549"/>
                  <a:pt x="879125" y="5013825"/>
                </a:cubicBezTo>
                <a:cubicBezTo>
                  <a:pt x="884716" y="5008100"/>
                  <a:pt x="891905" y="5005305"/>
                  <a:pt x="900956" y="5005305"/>
                </a:cubicBezTo>
                <a:close/>
                <a:moveTo>
                  <a:pt x="683315" y="5005305"/>
                </a:moveTo>
                <a:cubicBezTo>
                  <a:pt x="687576" y="5005305"/>
                  <a:pt x="691436" y="5006104"/>
                  <a:pt x="695031" y="5007834"/>
                </a:cubicBezTo>
                <a:cubicBezTo>
                  <a:pt x="698758" y="5009432"/>
                  <a:pt x="701820" y="5011561"/>
                  <a:pt x="704348" y="5014224"/>
                </a:cubicBezTo>
                <a:cubicBezTo>
                  <a:pt x="707010" y="5016753"/>
                  <a:pt x="709007" y="5019948"/>
                  <a:pt x="710471" y="5023542"/>
                </a:cubicBezTo>
                <a:cubicBezTo>
                  <a:pt x="711935" y="5027136"/>
                  <a:pt x="712734" y="5030996"/>
                  <a:pt x="712734" y="5034990"/>
                </a:cubicBezTo>
                <a:cubicBezTo>
                  <a:pt x="712734" y="5039117"/>
                  <a:pt x="711935" y="5043110"/>
                  <a:pt x="710471" y="5046705"/>
                </a:cubicBezTo>
                <a:cubicBezTo>
                  <a:pt x="709007" y="5050299"/>
                  <a:pt x="706877" y="5053361"/>
                  <a:pt x="704348" y="5056023"/>
                </a:cubicBezTo>
                <a:cubicBezTo>
                  <a:pt x="701820" y="5058686"/>
                  <a:pt x="698624" y="5060816"/>
                  <a:pt x="695031" y="5062280"/>
                </a:cubicBezTo>
                <a:cubicBezTo>
                  <a:pt x="691436" y="5063744"/>
                  <a:pt x="687576" y="5064543"/>
                  <a:pt x="683315" y="5064543"/>
                </a:cubicBezTo>
                <a:cubicBezTo>
                  <a:pt x="674397" y="5064543"/>
                  <a:pt x="667075" y="5061614"/>
                  <a:pt x="661484" y="5056023"/>
                </a:cubicBezTo>
                <a:cubicBezTo>
                  <a:pt x="655893" y="5050433"/>
                  <a:pt x="653098" y="5043376"/>
                  <a:pt x="653098" y="5034857"/>
                </a:cubicBezTo>
                <a:cubicBezTo>
                  <a:pt x="653098" y="5026604"/>
                  <a:pt x="655893" y="5019549"/>
                  <a:pt x="661484" y="5013825"/>
                </a:cubicBezTo>
                <a:cubicBezTo>
                  <a:pt x="667075" y="5008100"/>
                  <a:pt x="674264" y="5005305"/>
                  <a:pt x="683315" y="5005305"/>
                </a:cubicBezTo>
                <a:close/>
                <a:moveTo>
                  <a:pt x="465674" y="5005305"/>
                </a:moveTo>
                <a:cubicBezTo>
                  <a:pt x="469934" y="5005305"/>
                  <a:pt x="473794" y="5006104"/>
                  <a:pt x="477389" y="5007834"/>
                </a:cubicBezTo>
                <a:cubicBezTo>
                  <a:pt x="481116" y="5009432"/>
                  <a:pt x="484177" y="5011561"/>
                  <a:pt x="486706" y="5014224"/>
                </a:cubicBezTo>
                <a:cubicBezTo>
                  <a:pt x="489368" y="5016753"/>
                  <a:pt x="491365" y="5019948"/>
                  <a:pt x="492829" y="5023542"/>
                </a:cubicBezTo>
                <a:cubicBezTo>
                  <a:pt x="494293" y="5027136"/>
                  <a:pt x="495092" y="5030996"/>
                  <a:pt x="495092" y="5034990"/>
                </a:cubicBezTo>
                <a:cubicBezTo>
                  <a:pt x="495092" y="5039117"/>
                  <a:pt x="494293" y="5043110"/>
                  <a:pt x="492829" y="5046705"/>
                </a:cubicBezTo>
                <a:cubicBezTo>
                  <a:pt x="491365" y="5050299"/>
                  <a:pt x="489235" y="5053361"/>
                  <a:pt x="486706" y="5056023"/>
                </a:cubicBezTo>
                <a:cubicBezTo>
                  <a:pt x="484044" y="5058686"/>
                  <a:pt x="480983" y="5060816"/>
                  <a:pt x="477389" y="5062280"/>
                </a:cubicBezTo>
                <a:cubicBezTo>
                  <a:pt x="473794" y="5063744"/>
                  <a:pt x="469934" y="5064543"/>
                  <a:pt x="465674" y="5064543"/>
                </a:cubicBezTo>
                <a:cubicBezTo>
                  <a:pt x="456755" y="5064543"/>
                  <a:pt x="449433" y="5061614"/>
                  <a:pt x="443842" y="5056023"/>
                </a:cubicBezTo>
                <a:cubicBezTo>
                  <a:pt x="438252" y="5050433"/>
                  <a:pt x="435457" y="5043376"/>
                  <a:pt x="435457" y="5034857"/>
                </a:cubicBezTo>
                <a:cubicBezTo>
                  <a:pt x="435457" y="5026604"/>
                  <a:pt x="438252" y="5019549"/>
                  <a:pt x="443842" y="5013825"/>
                </a:cubicBezTo>
                <a:cubicBezTo>
                  <a:pt x="449433" y="5008100"/>
                  <a:pt x="456623" y="5005305"/>
                  <a:pt x="465674" y="5005305"/>
                </a:cubicBezTo>
                <a:close/>
                <a:moveTo>
                  <a:pt x="248032" y="5005305"/>
                </a:moveTo>
                <a:cubicBezTo>
                  <a:pt x="252292" y="5005305"/>
                  <a:pt x="256286" y="5006104"/>
                  <a:pt x="259746" y="5007834"/>
                </a:cubicBezTo>
                <a:cubicBezTo>
                  <a:pt x="263473" y="5009432"/>
                  <a:pt x="266535" y="5011561"/>
                  <a:pt x="269065" y="5014224"/>
                </a:cubicBezTo>
                <a:cubicBezTo>
                  <a:pt x="271727" y="5016753"/>
                  <a:pt x="273724" y="5019948"/>
                  <a:pt x="275188" y="5023542"/>
                </a:cubicBezTo>
                <a:cubicBezTo>
                  <a:pt x="276652" y="5027136"/>
                  <a:pt x="277451" y="5030996"/>
                  <a:pt x="277451" y="5034990"/>
                </a:cubicBezTo>
                <a:cubicBezTo>
                  <a:pt x="277451" y="5039117"/>
                  <a:pt x="276652" y="5043110"/>
                  <a:pt x="275188" y="5046705"/>
                </a:cubicBezTo>
                <a:cubicBezTo>
                  <a:pt x="273724" y="5050299"/>
                  <a:pt x="271593" y="5053361"/>
                  <a:pt x="269065" y="5056023"/>
                </a:cubicBezTo>
                <a:cubicBezTo>
                  <a:pt x="266401" y="5058686"/>
                  <a:pt x="263340" y="5060816"/>
                  <a:pt x="259746" y="5062280"/>
                </a:cubicBezTo>
                <a:cubicBezTo>
                  <a:pt x="256151" y="5063744"/>
                  <a:pt x="252292" y="5064543"/>
                  <a:pt x="248032" y="5064543"/>
                </a:cubicBezTo>
                <a:cubicBezTo>
                  <a:pt x="239114" y="5064543"/>
                  <a:pt x="231793" y="5061614"/>
                  <a:pt x="226202" y="5056023"/>
                </a:cubicBezTo>
                <a:cubicBezTo>
                  <a:pt x="220612" y="5050433"/>
                  <a:pt x="217817" y="5043376"/>
                  <a:pt x="217817" y="5034857"/>
                </a:cubicBezTo>
                <a:cubicBezTo>
                  <a:pt x="217817" y="5026604"/>
                  <a:pt x="220612" y="5019549"/>
                  <a:pt x="226202" y="5013825"/>
                </a:cubicBezTo>
                <a:cubicBezTo>
                  <a:pt x="231793" y="5008100"/>
                  <a:pt x="238980" y="5005305"/>
                  <a:pt x="248032" y="5005305"/>
                </a:cubicBezTo>
                <a:close/>
                <a:moveTo>
                  <a:pt x="30390" y="5005305"/>
                </a:moveTo>
                <a:cubicBezTo>
                  <a:pt x="34650" y="5005305"/>
                  <a:pt x="38644" y="5006104"/>
                  <a:pt x="42105" y="5007834"/>
                </a:cubicBezTo>
                <a:cubicBezTo>
                  <a:pt x="45832" y="5009432"/>
                  <a:pt x="48894" y="5011561"/>
                  <a:pt x="51423" y="5014224"/>
                </a:cubicBezTo>
                <a:cubicBezTo>
                  <a:pt x="54085" y="5016753"/>
                  <a:pt x="56082" y="5019948"/>
                  <a:pt x="57546" y="5023542"/>
                </a:cubicBezTo>
                <a:cubicBezTo>
                  <a:pt x="59010" y="5027136"/>
                  <a:pt x="59809" y="5030996"/>
                  <a:pt x="59809" y="5034990"/>
                </a:cubicBezTo>
                <a:cubicBezTo>
                  <a:pt x="59809" y="5039117"/>
                  <a:pt x="59010" y="5043110"/>
                  <a:pt x="57546" y="5046705"/>
                </a:cubicBezTo>
                <a:cubicBezTo>
                  <a:pt x="56082" y="5050299"/>
                  <a:pt x="53952" y="5053361"/>
                  <a:pt x="51423" y="5056023"/>
                </a:cubicBezTo>
                <a:cubicBezTo>
                  <a:pt x="48760" y="5058686"/>
                  <a:pt x="45699" y="5060816"/>
                  <a:pt x="42105" y="5062280"/>
                </a:cubicBezTo>
                <a:cubicBezTo>
                  <a:pt x="38511" y="5063744"/>
                  <a:pt x="34650" y="5064543"/>
                  <a:pt x="30390" y="5064543"/>
                </a:cubicBezTo>
                <a:cubicBezTo>
                  <a:pt x="21472" y="5064543"/>
                  <a:pt x="14151" y="5061614"/>
                  <a:pt x="8562" y="5056023"/>
                </a:cubicBezTo>
                <a:cubicBezTo>
                  <a:pt x="2971" y="5050433"/>
                  <a:pt x="176" y="5043376"/>
                  <a:pt x="176" y="5034857"/>
                </a:cubicBezTo>
                <a:cubicBezTo>
                  <a:pt x="176" y="5026604"/>
                  <a:pt x="2971" y="5019549"/>
                  <a:pt x="8562" y="5013825"/>
                </a:cubicBezTo>
                <a:cubicBezTo>
                  <a:pt x="14151" y="5008100"/>
                  <a:pt x="21338" y="5005305"/>
                  <a:pt x="30390" y="5005305"/>
                </a:cubicBezTo>
                <a:close/>
                <a:moveTo>
                  <a:pt x="10475977" y="4804299"/>
                </a:moveTo>
                <a:cubicBezTo>
                  <a:pt x="10470119" y="4804299"/>
                  <a:pt x="10467589" y="4806296"/>
                  <a:pt x="10465992" y="4807893"/>
                </a:cubicBezTo>
                <a:cubicBezTo>
                  <a:pt x="10463463" y="4810555"/>
                  <a:pt x="10462399" y="4813351"/>
                  <a:pt x="10462399" y="4817344"/>
                </a:cubicBezTo>
                <a:cubicBezTo>
                  <a:pt x="10462399" y="4821471"/>
                  <a:pt x="10463463" y="4824266"/>
                  <a:pt x="10465992" y="4826795"/>
                </a:cubicBezTo>
                <a:cubicBezTo>
                  <a:pt x="10467589" y="4828394"/>
                  <a:pt x="10470119" y="4830257"/>
                  <a:pt x="10475977" y="4830257"/>
                </a:cubicBezTo>
                <a:cubicBezTo>
                  <a:pt x="10478107" y="4830257"/>
                  <a:pt x="10479838" y="4829991"/>
                  <a:pt x="10481302" y="4829325"/>
                </a:cubicBezTo>
                <a:cubicBezTo>
                  <a:pt x="10482899" y="4828793"/>
                  <a:pt x="10484098" y="4827861"/>
                  <a:pt x="10485029" y="4826928"/>
                </a:cubicBezTo>
                <a:cubicBezTo>
                  <a:pt x="10486094" y="4825730"/>
                  <a:pt x="10487026" y="4824399"/>
                  <a:pt x="10487691" y="4822669"/>
                </a:cubicBezTo>
                <a:cubicBezTo>
                  <a:pt x="10488357" y="4821071"/>
                  <a:pt x="10488623" y="4819207"/>
                  <a:pt x="10488623" y="4817211"/>
                </a:cubicBezTo>
                <a:cubicBezTo>
                  <a:pt x="10488623" y="4815347"/>
                  <a:pt x="10488357" y="4813617"/>
                  <a:pt x="10487691" y="4812020"/>
                </a:cubicBezTo>
                <a:cubicBezTo>
                  <a:pt x="10487026" y="4810422"/>
                  <a:pt x="10486094" y="4809091"/>
                  <a:pt x="10485029" y="4807893"/>
                </a:cubicBezTo>
                <a:cubicBezTo>
                  <a:pt x="10483964" y="4806828"/>
                  <a:pt x="10482633" y="4805896"/>
                  <a:pt x="10481035" y="4805230"/>
                </a:cubicBezTo>
                <a:cubicBezTo>
                  <a:pt x="10479571" y="4804565"/>
                  <a:pt x="10477974" y="4804299"/>
                  <a:pt x="10475977" y="4804299"/>
                </a:cubicBezTo>
                <a:close/>
                <a:moveTo>
                  <a:pt x="10258466" y="4804299"/>
                </a:moveTo>
                <a:cubicBezTo>
                  <a:pt x="10252608" y="4804299"/>
                  <a:pt x="10250078" y="4806296"/>
                  <a:pt x="10248481" y="4807893"/>
                </a:cubicBezTo>
                <a:cubicBezTo>
                  <a:pt x="10245952" y="4810555"/>
                  <a:pt x="10244887" y="4813351"/>
                  <a:pt x="10244887" y="4817344"/>
                </a:cubicBezTo>
                <a:cubicBezTo>
                  <a:pt x="10244887" y="4821471"/>
                  <a:pt x="10245952" y="4824266"/>
                  <a:pt x="10248481" y="4826795"/>
                </a:cubicBezTo>
                <a:cubicBezTo>
                  <a:pt x="10250078" y="4828394"/>
                  <a:pt x="10252608" y="4830257"/>
                  <a:pt x="10258466" y="4830257"/>
                </a:cubicBezTo>
                <a:cubicBezTo>
                  <a:pt x="10260462" y="4830257"/>
                  <a:pt x="10262192" y="4829991"/>
                  <a:pt x="10263790" y="4829325"/>
                </a:cubicBezTo>
                <a:cubicBezTo>
                  <a:pt x="10265388" y="4828793"/>
                  <a:pt x="10266586" y="4827861"/>
                  <a:pt x="10267517" y="4826928"/>
                </a:cubicBezTo>
                <a:cubicBezTo>
                  <a:pt x="10268583" y="4825730"/>
                  <a:pt x="10269515" y="4824399"/>
                  <a:pt x="10270180" y="4822669"/>
                </a:cubicBezTo>
                <a:cubicBezTo>
                  <a:pt x="10270845" y="4821071"/>
                  <a:pt x="10271112" y="4819207"/>
                  <a:pt x="10271112" y="4817211"/>
                </a:cubicBezTo>
                <a:cubicBezTo>
                  <a:pt x="10271112" y="4815347"/>
                  <a:pt x="10270845" y="4813617"/>
                  <a:pt x="10270180" y="4812020"/>
                </a:cubicBezTo>
                <a:cubicBezTo>
                  <a:pt x="10269515" y="4810422"/>
                  <a:pt x="10268583" y="4809091"/>
                  <a:pt x="10267517" y="4807893"/>
                </a:cubicBezTo>
                <a:cubicBezTo>
                  <a:pt x="10266452" y="4806828"/>
                  <a:pt x="10265121" y="4805896"/>
                  <a:pt x="10263524" y="4805230"/>
                </a:cubicBezTo>
                <a:cubicBezTo>
                  <a:pt x="10262060" y="4804565"/>
                  <a:pt x="10260462" y="4804299"/>
                  <a:pt x="10258466" y="4804299"/>
                </a:cubicBezTo>
                <a:close/>
                <a:moveTo>
                  <a:pt x="10040820" y="4804299"/>
                </a:moveTo>
                <a:cubicBezTo>
                  <a:pt x="10034962" y="4804299"/>
                  <a:pt x="10032433" y="4806296"/>
                  <a:pt x="10030835" y="4807893"/>
                </a:cubicBezTo>
                <a:cubicBezTo>
                  <a:pt x="10028306" y="4810555"/>
                  <a:pt x="10027242" y="4813351"/>
                  <a:pt x="10027242" y="4817344"/>
                </a:cubicBezTo>
                <a:cubicBezTo>
                  <a:pt x="10027242" y="4821471"/>
                  <a:pt x="10028306" y="4824266"/>
                  <a:pt x="10030835" y="4826795"/>
                </a:cubicBezTo>
                <a:cubicBezTo>
                  <a:pt x="10032433" y="4828394"/>
                  <a:pt x="10034962" y="4830257"/>
                  <a:pt x="10040820" y="4830257"/>
                </a:cubicBezTo>
                <a:cubicBezTo>
                  <a:pt x="10042817" y="4830257"/>
                  <a:pt x="10044681" y="4829991"/>
                  <a:pt x="10046145" y="4829325"/>
                </a:cubicBezTo>
                <a:cubicBezTo>
                  <a:pt x="10047742" y="4828793"/>
                  <a:pt x="10048941" y="4827861"/>
                  <a:pt x="10049872" y="4826928"/>
                </a:cubicBezTo>
                <a:cubicBezTo>
                  <a:pt x="10050937" y="4825730"/>
                  <a:pt x="10051869" y="4824399"/>
                  <a:pt x="10052534" y="4822669"/>
                </a:cubicBezTo>
                <a:cubicBezTo>
                  <a:pt x="10053333" y="4821071"/>
                  <a:pt x="10053599" y="4819207"/>
                  <a:pt x="10053599" y="4817211"/>
                </a:cubicBezTo>
                <a:cubicBezTo>
                  <a:pt x="10053599" y="4815347"/>
                  <a:pt x="10053200" y="4813617"/>
                  <a:pt x="10052534" y="4812020"/>
                </a:cubicBezTo>
                <a:cubicBezTo>
                  <a:pt x="10051869" y="4810422"/>
                  <a:pt x="10050937" y="4809091"/>
                  <a:pt x="10049872" y="4807893"/>
                </a:cubicBezTo>
                <a:cubicBezTo>
                  <a:pt x="10048807" y="4806828"/>
                  <a:pt x="10047476" y="4805896"/>
                  <a:pt x="10045878" y="4805230"/>
                </a:cubicBezTo>
                <a:cubicBezTo>
                  <a:pt x="10044414" y="4804565"/>
                  <a:pt x="10042817" y="4804299"/>
                  <a:pt x="10040820" y="4804299"/>
                </a:cubicBezTo>
                <a:close/>
                <a:moveTo>
                  <a:pt x="9823176" y="4804299"/>
                </a:moveTo>
                <a:cubicBezTo>
                  <a:pt x="9817318" y="4804299"/>
                  <a:pt x="9814788" y="4806296"/>
                  <a:pt x="9813191" y="4807893"/>
                </a:cubicBezTo>
                <a:cubicBezTo>
                  <a:pt x="9810662" y="4810555"/>
                  <a:pt x="9809597" y="4813351"/>
                  <a:pt x="9809597" y="4817344"/>
                </a:cubicBezTo>
                <a:cubicBezTo>
                  <a:pt x="9809597" y="4821471"/>
                  <a:pt x="9810662" y="4824266"/>
                  <a:pt x="9813191" y="4826795"/>
                </a:cubicBezTo>
                <a:cubicBezTo>
                  <a:pt x="9814788" y="4828394"/>
                  <a:pt x="9817318" y="4830257"/>
                  <a:pt x="9823176" y="4830257"/>
                </a:cubicBezTo>
                <a:cubicBezTo>
                  <a:pt x="9825173" y="4830257"/>
                  <a:pt x="9827036" y="4829991"/>
                  <a:pt x="9828501" y="4829325"/>
                </a:cubicBezTo>
                <a:cubicBezTo>
                  <a:pt x="9830098" y="4828793"/>
                  <a:pt x="9831296" y="4827861"/>
                  <a:pt x="9832227" y="4826928"/>
                </a:cubicBezTo>
                <a:cubicBezTo>
                  <a:pt x="9833293" y="4825730"/>
                  <a:pt x="9834225" y="4824399"/>
                  <a:pt x="9834890" y="4822669"/>
                </a:cubicBezTo>
                <a:cubicBezTo>
                  <a:pt x="9835689" y="4821071"/>
                  <a:pt x="9835955" y="4819207"/>
                  <a:pt x="9835955" y="4817211"/>
                </a:cubicBezTo>
                <a:cubicBezTo>
                  <a:pt x="9835955" y="4815347"/>
                  <a:pt x="9835555" y="4813617"/>
                  <a:pt x="9834890" y="4812020"/>
                </a:cubicBezTo>
                <a:cubicBezTo>
                  <a:pt x="9834225" y="4810422"/>
                  <a:pt x="9833293" y="4809091"/>
                  <a:pt x="9832227" y="4807893"/>
                </a:cubicBezTo>
                <a:cubicBezTo>
                  <a:pt x="9831162" y="4806828"/>
                  <a:pt x="9829831" y="4805896"/>
                  <a:pt x="9828234" y="4805230"/>
                </a:cubicBezTo>
                <a:cubicBezTo>
                  <a:pt x="9826770" y="4804565"/>
                  <a:pt x="9825173" y="4804299"/>
                  <a:pt x="9823176" y="4804299"/>
                </a:cubicBezTo>
                <a:close/>
                <a:moveTo>
                  <a:pt x="9605531" y="4804299"/>
                </a:moveTo>
                <a:cubicBezTo>
                  <a:pt x="9599673" y="4804299"/>
                  <a:pt x="9597143" y="4806296"/>
                  <a:pt x="9595546" y="4807893"/>
                </a:cubicBezTo>
                <a:cubicBezTo>
                  <a:pt x="9593017" y="4810555"/>
                  <a:pt x="9591952" y="4813351"/>
                  <a:pt x="9591952" y="4817344"/>
                </a:cubicBezTo>
                <a:cubicBezTo>
                  <a:pt x="9591952" y="4821471"/>
                  <a:pt x="9593017" y="4824266"/>
                  <a:pt x="9595546" y="4826795"/>
                </a:cubicBezTo>
                <a:cubicBezTo>
                  <a:pt x="9597143" y="4828394"/>
                  <a:pt x="9599673" y="4830257"/>
                  <a:pt x="9605531" y="4830257"/>
                </a:cubicBezTo>
                <a:cubicBezTo>
                  <a:pt x="9607660" y="4830257"/>
                  <a:pt x="9609391" y="4829991"/>
                  <a:pt x="9610855" y="4829325"/>
                </a:cubicBezTo>
                <a:cubicBezTo>
                  <a:pt x="9612319" y="4828793"/>
                  <a:pt x="9613651" y="4827861"/>
                  <a:pt x="9614582" y="4826928"/>
                </a:cubicBezTo>
                <a:cubicBezTo>
                  <a:pt x="9615647" y="4825730"/>
                  <a:pt x="9616579" y="4824399"/>
                  <a:pt x="9617245" y="4822669"/>
                </a:cubicBezTo>
                <a:cubicBezTo>
                  <a:pt x="9618044" y="4821071"/>
                  <a:pt x="9618309" y="4819207"/>
                  <a:pt x="9618309" y="4817211"/>
                </a:cubicBezTo>
                <a:cubicBezTo>
                  <a:pt x="9618309" y="4815347"/>
                  <a:pt x="9617910" y="4813617"/>
                  <a:pt x="9617245" y="4812020"/>
                </a:cubicBezTo>
                <a:cubicBezTo>
                  <a:pt x="9616579" y="4810422"/>
                  <a:pt x="9615647" y="4809091"/>
                  <a:pt x="9614582" y="4807893"/>
                </a:cubicBezTo>
                <a:cubicBezTo>
                  <a:pt x="9613517" y="4806828"/>
                  <a:pt x="9612186" y="4805896"/>
                  <a:pt x="9610589" y="4805230"/>
                </a:cubicBezTo>
                <a:cubicBezTo>
                  <a:pt x="9609124" y="4804565"/>
                  <a:pt x="9607394" y="4804299"/>
                  <a:pt x="9605531" y="4804299"/>
                </a:cubicBezTo>
                <a:close/>
                <a:moveTo>
                  <a:pt x="9387885" y="4804299"/>
                </a:moveTo>
                <a:cubicBezTo>
                  <a:pt x="9382027" y="4804299"/>
                  <a:pt x="9379497" y="4806296"/>
                  <a:pt x="9377900" y="4807893"/>
                </a:cubicBezTo>
                <a:cubicBezTo>
                  <a:pt x="9375371" y="4810555"/>
                  <a:pt x="9374307" y="4813351"/>
                  <a:pt x="9374307" y="4817344"/>
                </a:cubicBezTo>
                <a:cubicBezTo>
                  <a:pt x="9374307" y="4821471"/>
                  <a:pt x="9375371" y="4824266"/>
                  <a:pt x="9377900" y="4826795"/>
                </a:cubicBezTo>
                <a:cubicBezTo>
                  <a:pt x="9379497" y="4828394"/>
                  <a:pt x="9382027" y="4830257"/>
                  <a:pt x="9387885" y="4830257"/>
                </a:cubicBezTo>
                <a:cubicBezTo>
                  <a:pt x="9390015" y="4830257"/>
                  <a:pt x="9391746" y="4829991"/>
                  <a:pt x="9393210" y="4829325"/>
                </a:cubicBezTo>
                <a:cubicBezTo>
                  <a:pt x="9394674" y="4828793"/>
                  <a:pt x="9396005" y="4827861"/>
                  <a:pt x="9396937" y="4826928"/>
                </a:cubicBezTo>
                <a:cubicBezTo>
                  <a:pt x="9398002" y="4825730"/>
                  <a:pt x="9398934" y="4824399"/>
                  <a:pt x="9399599" y="4822669"/>
                </a:cubicBezTo>
                <a:cubicBezTo>
                  <a:pt x="9400398" y="4821071"/>
                  <a:pt x="9400664" y="4819207"/>
                  <a:pt x="9400664" y="4817211"/>
                </a:cubicBezTo>
                <a:cubicBezTo>
                  <a:pt x="9400664" y="4815347"/>
                  <a:pt x="9400265" y="4813617"/>
                  <a:pt x="9399599" y="4812020"/>
                </a:cubicBezTo>
                <a:cubicBezTo>
                  <a:pt x="9398934" y="4810422"/>
                  <a:pt x="9398002" y="4809091"/>
                  <a:pt x="9396937" y="4807893"/>
                </a:cubicBezTo>
                <a:cubicBezTo>
                  <a:pt x="9395872" y="4806828"/>
                  <a:pt x="9394541" y="4805896"/>
                  <a:pt x="9392943" y="4805230"/>
                </a:cubicBezTo>
                <a:cubicBezTo>
                  <a:pt x="9391479" y="4804565"/>
                  <a:pt x="9389749" y="4804299"/>
                  <a:pt x="9387885" y="4804299"/>
                </a:cubicBezTo>
                <a:close/>
                <a:moveTo>
                  <a:pt x="9170374" y="4804299"/>
                </a:moveTo>
                <a:cubicBezTo>
                  <a:pt x="9164649" y="4804299"/>
                  <a:pt x="9161986" y="4806296"/>
                  <a:pt x="9160389" y="4807893"/>
                </a:cubicBezTo>
                <a:cubicBezTo>
                  <a:pt x="9157860" y="4810555"/>
                  <a:pt x="9156795" y="4813351"/>
                  <a:pt x="9156795" y="4817344"/>
                </a:cubicBezTo>
                <a:cubicBezTo>
                  <a:pt x="9156795" y="4821471"/>
                  <a:pt x="9157860" y="4824266"/>
                  <a:pt x="9160389" y="4826795"/>
                </a:cubicBezTo>
                <a:cubicBezTo>
                  <a:pt x="9161986" y="4828394"/>
                  <a:pt x="9164516" y="4830257"/>
                  <a:pt x="9170374" y="4830257"/>
                </a:cubicBezTo>
                <a:cubicBezTo>
                  <a:pt x="9172370" y="4830257"/>
                  <a:pt x="9174100" y="4829991"/>
                  <a:pt x="9175698" y="4829325"/>
                </a:cubicBezTo>
                <a:cubicBezTo>
                  <a:pt x="9177163" y="4828793"/>
                  <a:pt x="9178494" y="4827861"/>
                  <a:pt x="9179425" y="4826928"/>
                </a:cubicBezTo>
                <a:cubicBezTo>
                  <a:pt x="9180491" y="4825730"/>
                  <a:pt x="9181422" y="4824399"/>
                  <a:pt x="9182088" y="4822669"/>
                </a:cubicBezTo>
                <a:cubicBezTo>
                  <a:pt x="9182887" y="4821071"/>
                  <a:pt x="9183152" y="4819207"/>
                  <a:pt x="9183152" y="4817211"/>
                </a:cubicBezTo>
                <a:cubicBezTo>
                  <a:pt x="9183152" y="4815347"/>
                  <a:pt x="9182753" y="4813617"/>
                  <a:pt x="9182088" y="4812020"/>
                </a:cubicBezTo>
                <a:cubicBezTo>
                  <a:pt x="9181422" y="4810422"/>
                  <a:pt x="9180491" y="4809091"/>
                  <a:pt x="9179425" y="4807893"/>
                </a:cubicBezTo>
                <a:cubicBezTo>
                  <a:pt x="9178360" y="4806828"/>
                  <a:pt x="9177029" y="4805896"/>
                  <a:pt x="9175432" y="4805230"/>
                </a:cubicBezTo>
                <a:cubicBezTo>
                  <a:pt x="9173967" y="4804565"/>
                  <a:pt x="9172237" y="4804299"/>
                  <a:pt x="9170374" y="4804299"/>
                </a:cubicBezTo>
                <a:close/>
                <a:moveTo>
                  <a:pt x="8952728" y="4804299"/>
                </a:moveTo>
                <a:cubicBezTo>
                  <a:pt x="8947003" y="4804299"/>
                  <a:pt x="8944340" y="4806296"/>
                  <a:pt x="8942743" y="4807893"/>
                </a:cubicBezTo>
                <a:cubicBezTo>
                  <a:pt x="8940214" y="4810555"/>
                  <a:pt x="8939150" y="4813351"/>
                  <a:pt x="8939150" y="4817344"/>
                </a:cubicBezTo>
                <a:cubicBezTo>
                  <a:pt x="8939150" y="4821471"/>
                  <a:pt x="8940214" y="4824266"/>
                  <a:pt x="8942743" y="4826795"/>
                </a:cubicBezTo>
                <a:cubicBezTo>
                  <a:pt x="8944340" y="4828394"/>
                  <a:pt x="8946870" y="4830257"/>
                  <a:pt x="8952728" y="4830257"/>
                </a:cubicBezTo>
                <a:cubicBezTo>
                  <a:pt x="8954725" y="4830257"/>
                  <a:pt x="8956589" y="4829991"/>
                  <a:pt x="8958053" y="4829325"/>
                </a:cubicBezTo>
                <a:cubicBezTo>
                  <a:pt x="8959517" y="4828793"/>
                  <a:pt x="8960849" y="4827861"/>
                  <a:pt x="8961780" y="4826928"/>
                </a:cubicBezTo>
                <a:cubicBezTo>
                  <a:pt x="8962845" y="4825730"/>
                  <a:pt x="8963777" y="4824399"/>
                  <a:pt x="8964442" y="4822669"/>
                </a:cubicBezTo>
                <a:cubicBezTo>
                  <a:pt x="8965241" y="4821071"/>
                  <a:pt x="8965507" y="4819207"/>
                  <a:pt x="8965507" y="4817211"/>
                </a:cubicBezTo>
                <a:cubicBezTo>
                  <a:pt x="8965507" y="4815347"/>
                  <a:pt x="8965108" y="4813617"/>
                  <a:pt x="8964442" y="4812020"/>
                </a:cubicBezTo>
                <a:cubicBezTo>
                  <a:pt x="8963777" y="4810422"/>
                  <a:pt x="8962845" y="4809091"/>
                  <a:pt x="8961780" y="4807893"/>
                </a:cubicBezTo>
                <a:cubicBezTo>
                  <a:pt x="8960715" y="4806828"/>
                  <a:pt x="8959384" y="4805896"/>
                  <a:pt x="8957786" y="4805230"/>
                </a:cubicBezTo>
                <a:cubicBezTo>
                  <a:pt x="8956322" y="4804565"/>
                  <a:pt x="8954592" y="4804299"/>
                  <a:pt x="8952728" y="4804299"/>
                </a:cubicBezTo>
                <a:close/>
                <a:moveTo>
                  <a:pt x="8735083" y="4804299"/>
                </a:moveTo>
                <a:cubicBezTo>
                  <a:pt x="8729358" y="4804299"/>
                  <a:pt x="8726695" y="4806296"/>
                  <a:pt x="8725098" y="4807893"/>
                </a:cubicBezTo>
                <a:cubicBezTo>
                  <a:pt x="8722569" y="4810555"/>
                  <a:pt x="8721504" y="4813351"/>
                  <a:pt x="8721504" y="4817344"/>
                </a:cubicBezTo>
                <a:cubicBezTo>
                  <a:pt x="8721504" y="4821471"/>
                  <a:pt x="8722569" y="4824266"/>
                  <a:pt x="8725098" y="4826795"/>
                </a:cubicBezTo>
                <a:cubicBezTo>
                  <a:pt x="8726695" y="4828394"/>
                  <a:pt x="8729225" y="4830257"/>
                  <a:pt x="8735083" y="4830257"/>
                </a:cubicBezTo>
                <a:cubicBezTo>
                  <a:pt x="8737079" y="4830257"/>
                  <a:pt x="8738943" y="4829991"/>
                  <a:pt x="8740407" y="4829325"/>
                </a:cubicBezTo>
                <a:cubicBezTo>
                  <a:pt x="8741872" y="4828793"/>
                  <a:pt x="8743203" y="4827861"/>
                  <a:pt x="8744134" y="4826928"/>
                </a:cubicBezTo>
                <a:cubicBezTo>
                  <a:pt x="8745200" y="4825730"/>
                  <a:pt x="8746132" y="4824399"/>
                  <a:pt x="8746797" y="4822669"/>
                </a:cubicBezTo>
                <a:cubicBezTo>
                  <a:pt x="8747596" y="4821071"/>
                  <a:pt x="8747862" y="4819207"/>
                  <a:pt x="8747862" y="4817211"/>
                </a:cubicBezTo>
                <a:cubicBezTo>
                  <a:pt x="8747862" y="4815347"/>
                  <a:pt x="8747462" y="4813617"/>
                  <a:pt x="8746797" y="4812020"/>
                </a:cubicBezTo>
                <a:cubicBezTo>
                  <a:pt x="8746132" y="4810422"/>
                  <a:pt x="8745200" y="4809091"/>
                  <a:pt x="8744134" y="4807893"/>
                </a:cubicBezTo>
                <a:cubicBezTo>
                  <a:pt x="8743069" y="4806828"/>
                  <a:pt x="8741738" y="4805896"/>
                  <a:pt x="8740141" y="4805230"/>
                </a:cubicBezTo>
                <a:cubicBezTo>
                  <a:pt x="8738677" y="4804565"/>
                  <a:pt x="8736946" y="4804299"/>
                  <a:pt x="8735083" y="4804299"/>
                </a:cubicBezTo>
                <a:close/>
                <a:moveTo>
                  <a:pt x="8517438" y="4804299"/>
                </a:moveTo>
                <a:cubicBezTo>
                  <a:pt x="8511713" y="4804299"/>
                  <a:pt x="8509051" y="4806296"/>
                  <a:pt x="8507453" y="4807893"/>
                </a:cubicBezTo>
                <a:cubicBezTo>
                  <a:pt x="8504925" y="4810555"/>
                  <a:pt x="8503860" y="4813351"/>
                  <a:pt x="8503860" y="4817344"/>
                </a:cubicBezTo>
                <a:cubicBezTo>
                  <a:pt x="8503860" y="4821471"/>
                  <a:pt x="8504925" y="4824266"/>
                  <a:pt x="8507453" y="4826795"/>
                </a:cubicBezTo>
                <a:cubicBezTo>
                  <a:pt x="8509051" y="4828394"/>
                  <a:pt x="8511581" y="4830257"/>
                  <a:pt x="8517438" y="4830257"/>
                </a:cubicBezTo>
                <a:cubicBezTo>
                  <a:pt x="8519568" y="4830257"/>
                  <a:pt x="8521299" y="4829991"/>
                  <a:pt x="8522763" y="4829325"/>
                </a:cubicBezTo>
                <a:cubicBezTo>
                  <a:pt x="8524227" y="4828793"/>
                  <a:pt x="8525559" y="4827861"/>
                  <a:pt x="8526490" y="4826928"/>
                </a:cubicBezTo>
                <a:cubicBezTo>
                  <a:pt x="8527555" y="4825730"/>
                  <a:pt x="8528487" y="4824399"/>
                  <a:pt x="8529152" y="4822669"/>
                </a:cubicBezTo>
                <a:cubicBezTo>
                  <a:pt x="8529818" y="4821071"/>
                  <a:pt x="8530084" y="4819207"/>
                  <a:pt x="8530084" y="4817211"/>
                </a:cubicBezTo>
                <a:cubicBezTo>
                  <a:pt x="8530084" y="4815347"/>
                  <a:pt x="8529818" y="4813617"/>
                  <a:pt x="8529152" y="4812020"/>
                </a:cubicBezTo>
                <a:cubicBezTo>
                  <a:pt x="8528487" y="4810422"/>
                  <a:pt x="8527555" y="4809091"/>
                  <a:pt x="8526490" y="4807893"/>
                </a:cubicBezTo>
                <a:cubicBezTo>
                  <a:pt x="8525425" y="4806828"/>
                  <a:pt x="8524094" y="4805896"/>
                  <a:pt x="8522496" y="4805230"/>
                </a:cubicBezTo>
                <a:cubicBezTo>
                  <a:pt x="8521032" y="4804565"/>
                  <a:pt x="8519302" y="4804299"/>
                  <a:pt x="8517438" y="4804299"/>
                </a:cubicBezTo>
                <a:close/>
                <a:moveTo>
                  <a:pt x="8299793" y="4804299"/>
                </a:moveTo>
                <a:cubicBezTo>
                  <a:pt x="8294068" y="4804299"/>
                  <a:pt x="8291406" y="4806296"/>
                  <a:pt x="8289809" y="4807893"/>
                </a:cubicBezTo>
                <a:cubicBezTo>
                  <a:pt x="8287280" y="4810555"/>
                  <a:pt x="8286215" y="4813351"/>
                  <a:pt x="8286215" y="4817344"/>
                </a:cubicBezTo>
                <a:cubicBezTo>
                  <a:pt x="8286215" y="4821471"/>
                  <a:pt x="8287280" y="4824266"/>
                  <a:pt x="8289809" y="4826795"/>
                </a:cubicBezTo>
                <a:cubicBezTo>
                  <a:pt x="8291406" y="4828394"/>
                  <a:pt x="8293935" y="4830257"/>
                  <a:pt x="8299793" y="4830257"/>
                </a:cubicBezTo>
                <a:cubicBezTo>
                  <a:pt x="8301923" y="4830257"/>
                  <a:pt x="8303653" y="4829991"/>
                  <a:pt x="8305118" y="4829325"/>
                </a:cubicBezTo>
                <a:cubicBezTo>
                  <a:pt x="8306582" y="4828793"/>
                  <a:pt x="8307913" y="4827861"/>
                  <a:pt x="8308844" y="4826928"/>
                </a:cubicBezTo>
                <a:cubicBezTo>
                  <a:pt x="8309910" y="4825730"/>
                  <a:pt x="8310842" y="4824399"/>
                  <a:pt x="8311507" y="4822669"/>
                </a:cubicBezTo>
                <a:cubicBezTo>
                  <a:pt x="8312172" y="4821071"/>
                  <a:pt x="8312439" y="4819207"/>
                  <a:pt x="8312439" y="4817211"/>
                </a:cubicBezTo>
                <a:cubicBezTo>
                  <a:pt x="8312439" y="4815347"/>
                  <a:pt x="8312172" y="4813617"/>
                  <a:pt x="8311507" y="4812020"/>
                </a:cubicBezTo>
                <a:cubicBezTo>
                  <a:pt x="8310842" y="4810422"/>
                  <a:pt x="8309910" y="4809091"/>
                  <a:pt x="8308844" y="4807893"/>
                </a:cubicBezTo>
                <a:cubicBezTo>
                  <a:pt x="8307779" y="4806828"/>
                  <a:pt x="8306448" y="4805896"/>
                  <a:pt x="8304851" y="4805230"/>
                </a:cubicBezTo>
                <a:cubicBezTo>
                  <a:pt x="8303387" y="4804565"/>
                  <a:pt x="8301790" y="4804299"/>
                  <a:pt x="8299793" y="4804299"/>
                </a:cubicBezTo>
                <a:close/>
                <a:moveTo>
                  <a:pt x="8082281" y="4804299"/>
                </a:moveTo>
                <a:cubicBezTo>
                  <a:pt x="8076424" y="4804299"/>
                  <a:pt x="8073894" y="4806296"/>
                  <a:pt x="8072297" y="4807893"/>
                </a:cubicBezTo>
                <a:cubicBezTo>
                  <a:pt x="8069768" y="4810555"/>
                  <a:pt x="8068703" y="4813351"/>
                  <a:pt x="8068703" y="4817344"/>
                </a:cubicBezTo>
                <a:cubicBezTo>
                  <a:pt x="8068703" y="4821471"/>
                  <a:pt x="8069768" y="4824266"/>
                  <a:pt x="8072297" y="4826795"/>
                </a:cubicBezTo>
                <a:cubicBezTo>
                  <a:pt x="8073894" y="4828394"/>
                  <a:pt x="8076424" y="4830257"/>
                  <a:pt x="8082281" y="4830257"/>
                </a:cubicBezTo>
                <a:cubicBezTo>
                  <a:pt x="8084277" y="4830257"/>
                  <a:pt x="8086007" y="4829991"/>
                  <a:pt x="8087605" y="4829325"/>
                </a:cubicBezTo>
                <a:cubicBezTo>
                  <a:pt x="8089069" y="4828793"/>
                  <a:pt x="8090401" y="4827861"/>
                  <a:pt x="8091332" y="4826928"/>
                </a:cubicBezTo>
                <a:cubicBezTo>
                  <a:pt x="8092397" y="4825730"/>
                  <a:pt x="8093329" y="4824399"/>
                  <a:pt x="8093994" y="4822669"/>
                </a:cubicBezTo>
                <a:cubicBezTo>
                  <a:pt x="8094660" y="4821071"/>
                  <a:pt x="8094926" y="4819207"/>
                  <a:pt x="8094926" y="4817211"/>
                </a:cubicBezTo>
                <a:cubicBezTo>
                  <a:pt x="8094926" y="4815347"/>
                  <a:pt x="8094660" y="4813617"/>
                  <a:pt x="8093994" y="4812020"/>
                </a:cubicBezTo>
                <a:cubicBezTo>
                  <a:pt x="8093329" y="4810422"/>
                  <a:pt x="8092397" y="4809091"/>
                  <a:pt x="8091332" y="4807893"/>
                </a:cubicBezTo>
                <a:cubicBezTo>
                  <a:pt x="8090267" y="4806828"/>
                  <a:pt x="8088936" y="4805896"/>
                  <a:pt x="8087338" y="4805230"/>
                </a:cubicBezTo>
                <a:cubicBezTo>
                  <a:pt x="8085874" y="4804565"/>
                  <a:pt x="8084277" y="4804299"/>
                  <a:pt x="8082281" y="4804299"/>
                </a:cubicBezTo>
                <a:close/>
                <a:moveTo>
                  <a:pt x="7864636" y="4804299"/>
                </a:moveTo>
                <a:cubicBezTo>
                  <a:pt x="7858779" y="4804299"/>
                  <a:pt x="7856249" y="4806296"/>
                  <a:pt x="7854652" y="4807893"/>
                </a:cubicBezTo>
                <a:cubicBezTo>
                  <a:pt x="7852123" y="4810555"/>
                  <a:pt x="7851058" y="4813351"/>
                  <a:pt x="7851058" y="4817344"/>
                </a:cubicBezTo>
                <a:cubicBezTo>
                  <a:pt x="7851058" y="4821471"/>
                  <a:pt x="7852123" y="4824266"/>
                  <a:pt x="7854652" y="4826795"/>
                </a:cubicBezTo>
                <a:cubicBezTo>
                  <a:pt x="7856249" y="4828394"/>
                  <a:pt x="7858779" y="4830257"/>
                  <a:pt x="7864636" y="4830257"/>
                </a:cubicBezTo>
                <a:cubicBezTo>
                  <a:pt x="7866633" y="4830257"/>
                  <a:pt x="7868363" y="4829991"/>
                  <a:pt x="7869961" y="4829325"/>
                </a:cubicBezTo>
                <a:cubicBezTo>
                  <a:pt x="7871425" y="4828793"/>
                  <a:pt x="7872756" y="4827861"/>
                  <a:pt x="7873687" y="4826928"/>
                </a:cubicBezTo>
                <a:cubicBezTo>
                  <a:pt x="7874753" y="4825730"/>
                  <a:pt x="7875685" y="4824399"/>
                  <a:pt x="7876350" y="4822669"/>
                </a:cubicBezTo>
                <a:cubicBezTo>
                  <a:pt x="7877015" y="4821071"/>
                  <a:pt x="7877282" y="4819207"/>
                  <a:pt x="7877282" y="4817211"/>
                </a:cubicBezTo>
                <a:cubicBezTo>
                  <a:pt x="7877282" y="4815347"/>
                  <a:pt x="7877015" y="4813617"/>
                  <a:pt x="7876350" y="4812020"/>
                </a:cubicBezTo>
                <a:cubicBezTo>
                  <a:pt x="7875685" y="4810422"/>
                  <a:pt x="7874753" y="4809091"/>
                  <a:pt x="7873687" y="4807893"/>
                </a:cubicBezTo>
                <a:cubicBezTo>
                  <a:pt x="7872623" y="4806828"/>
                  <a:pt x="7871291" y="4805896"/>
                  <a:pt x="7869694" y="4805230"/>
                </a:cubicBezTo>
                <a:cubicBezTo>
                  <a:pt x="7868230" y="4804565"/>
                  <a:pt x="7866633" y="4804299"/>
                  <a:pt x="7864636" y="4804299"/>
                </a:cubicBezTo>
                <a:close/>
                <a:moveTo>
                  <a:pt x="7646991" y="4804299"/>
                </a:moveTo>
                <a:cubicBezTo>
                  <a:pt x="7641134" y="4804299"/>
                  <a:pt x="7638604" y="4806296"/>
                  <a:pt x="7637007" y="4807893"/>
                </a:cubicBezTo>
                <a:cubicBezTo>
                  <a:pt x="7634478" y="4810555"/>
                  <a:pt x="7633413" y="4813351"/>
                  <a:pt x="7633413" y="4817344"/>
                </a:cubicBezTo>
                <a:cubicBezTo>
                  <a:pt x="7633413" y="4821471"/>
                  <a:pt x="7634478" y="4824266"/>
                  <a:pt x="7637007" y="4826795"/>
                </a:cubicBezTo>
                <a:cubicBezTo>
                  <a:pt x="7638604" y="4828394"/>
                  <a:pt x="7641134" y="4830257"/>
                  <a:pt x="7646991" y="4830257"/>
                </a:cubicBezTo>
                <a:cubicBezTo>
                  <a:pt x="7648987" y="4830257"/>
                  <a:pt x="7650851" y="4829991"/>
                  <a:pt x="7652315" y="4829325"/>
                </a:cubicBezTo>
                <a:cubicBezTo>
                  <a:pt x="7653780" y="4828793"/>
                  <a:pt x="7655111" y="4827861"/>
                  <a:pt x="7656042" y="4826928"/>
                </a:cubicBezTo>
                <a:cubicBezTo>
                  <a:pt x="7657108" y="4825730"/>
                  <a:pt x="7658039" y="4824399"/>
                  <a:pt x="7658705" y="4822669"/>
                </a:cubicBezTo>
                <a:cubicBezTo>
                  <a:pt x="7659504" y="4821071"/>
                  <a:pt x="7659769" y="4819207"/>
                  <a:pt x="7659769" y="4817211"/>
                </a:cubicBezTo>
                <a:cubicBezTo>
                  <a:pt x="7659769" y="4815347"/>
                  <a:pt x="7659370" y="4813617"/>
                  <a:pt x="7658705" y="4812020"/>
                </a:cubicBezTo>
                <a:cubicBezTo>
                  <a:pt x="7658039" y="4810422"/>
                  <a:pt x="7657108" y="4809091"/>
                  <a:pt x="7656042" y="4807893"/>
                </a:cubicBezTo>
                <a:cubicBezTo>
                  <a:pt x="7654977" y="4806828"/>
                  <a:pt x="7653646" y="4805896"/>
                  <a:pt x="7652049" y="4805230"/>
                </a:cubicBezTo>
                <a:cubicBezTo>
                  <a:pt x="7650584" y="4804565"/>
                  <a:pt x="7648987" y="4804299"/>
                  <a:pt x="7646991" y="4804299"/>
                </a:cubicBezTo>
                <a:close/>
                <a:moveTo>
                  <a:pt x="7429345" y="4804299"/>
                </a:moveTo>
                <a:cubicBezTo>
                  <a:pt x="7423488" y="4804299"/>
                  <a:pt x="7420958" y="4806296"/>
                  <a:pt x="7419361" y="4807893"/>
                </a:cubicBezTo>
                <a:cubicBezTo>
                  <a:pt x="7416832" y="4810555"/>
                  <a:pt x="7415768" y="4813351"/>
                  <a:pt x="7415768" y="4817344"/>
                </a:cubicBezTo>
                <a:cubicBezTo>
                  <a:pt x="7415768" y="4821471"/>
                  <a:pt x="7416832" y="4824266"/>
                  <a:pt x="7419361" y="4826795"/>
                </a:cubicBezTo>
                <a:cubicBezTo>
                  <a:pt x="7420958" y="4828394"/>
                  <a:pt x="7423488" y="4830257"/>
                  <a:pt x="7429345" y="4830257"/>
                </a:cubicBezTo>
                <a:cubicBezTo>
                  <a:pt x="7431342" y="4830257"/>
                  <a:pt x="7433206" y="4829991"/>
                  <a:pt x="7434670" y="4829325"/>
                </a:cubicBezTo>
                <a:cubicBezTo>
                  <a:pt x="7436134" y="4828793"/>
                  <a:pt x="7437466" y="4827861"/>
                  <a:pt x="7438397" y="4826928"/>
                </a:cubicBezTo>
                <a:cubicBezTo>
                  <a:pt x="7439462" y="4825730"/>
                  <a:pt x="7440394" y="4824399"/>
                  <a:pt x="7441059" y="4822669"/>
                </a:cubicBezTo>
                <a:cubicBezTo>
                  <a:pt x="7441858" y="4821071"/>
                  <a:pt x="7442124" y="4819207"/>
                  <a:pt x="7442124" y="4817211"/>
                </a:cubicBezTo>
                <a:cubicBezTo>
                  <a:pt x="7442124" y="4815347"/>
                  <a:pt x="7441725" y="4813617"/>
                  <a:pt x="7441059" y="4812020"/>
                </a:cubicBezTo>
                <a:cubicBezTo>
                  <a:pt x="7440394" y="4810422"/>
                  <a:pt x="7439462" y="4809091"/>
                  <a:pt x="7438397" y="4807893"/>
                </a:cubicBezTo>
                <a:cubicBezTo>
                  <a:pt x="7437332" y="4806828"/>
                  <a:pt x="7436001" y="4805896"/>
                  <a:pt x="7434403" y="4805230"/>
                </a:cubicBezTo>
                <a:cubicBezTo>
                  <a:pt x="7432939" y="4804565"/>
                  <a:pt x="7431342" y="4804299"/>
                  <a:pt x="7429345" y="4804299"/>
                </a:cubicBezTo>
                <a:close/>
                <a:moveTo>
                  <a:pt x="7211701" y="4804299"/>
                </a:moveTo>
                <a:cubicBezTo>
                  <a:pt x="7205844" y="4804299"/>
                  <a:pt x="7203314" y="4806296"/>
                  <a:pt x="7201717" y="4807893"/>
                </a:cubicBezTo>
                <a:cubicBezTo>
                  <a:pt x="7199188" y="4810555"/>
                  <a:pt x="7198123" y="4813351"/>
                  <a:pt x="7198123" y="4817344"/>
                </a:cubicBezTo>
                <a:cubicBezTo>
                  <a:pt x="7198123" y="4821471"/>
                  <a:pt x="7199188" y="4824266"/>
                  <a:pt x="7201717" y="4826795"/>
                </a:cubicBezTo>
                <a:cubicBezTo>
                  <a:pt x="7203314" y="4828394"/>
                  <a:pt x="7205844" y="4830257"/>
                  <a:pt x="7211701" y="4830257"/>
                </a:cubicBezTo>
                <a:cubicBezTo>
                  <a:pt x="7213830" y="4830257"/>
                  <a:pt x="7215561" y="4829991"/>
                  <a:pt x="7217026" y="4829325"/>
                </a:cubicBezTo>
                <a:cubicBezTo>
                  <a:pt x="7218490" y="4828793"/>
                  <a:pt x="7219821" y="4827861"/>
                  <a:pt x="7220752" y="4826928"/>
                </a:cubicBezTo>
                <a:cubicBezTo>
                  <a:pt x="7221818" y="4825730"/>
                  <a:pt x="7222750" y="4824399"/>
                  <a:pt x="7223415" y="4822669"/>
                </a:cubicBezTo>
                <a:cubicBezTo>
                  <a:pt x="7224214" y="4821071"/>
                  <a:pt x="7224480" y="4819207"/>
                  <a:pt x="7224480" y="4817211"/>
                </a:cubicBezTo>
                <a:cubicBezTo>
                  <a:pt x="7224480" y="4815347"/>
                  <a:pt x="7224080" y="4813617"/>
                  <a:pt x="7223415" y="4812020"/>
                </a:cubicBezTo>
                <a:cubicBezTo>
                  <a:pt x="7222750" y="4810422"/>
                  <a:pt x="7221818" y="4809091"/>
                  <a:pt x="7220752" y="4807893"/>
                </a:cubicBezTo>
                <a:cubicBezTo>
                  <a:pt x="7219687" y="4806828"/>
                  <a:pt x="7218356" y="4805896"/>
                  <a:pt x="7216759" y="4805230"/>
                </a:cubicBezTo>
                <a:cubicBezTo>
                  <a:pt x="7215295" y="4804565"/>
                  <a:pt x="7213698" y="4804299"/>
                  <a:pt x="7211701" y="4804299"/>
                </a:cubicBezTo>
                <a:close/>
                <a:moveTo>
                  <a:pt x="6994056" y="4804299"/>
                </a:moveTo>
                <a:cubicBezTo>
                  <a:pt x="6988199" y="4804299"/>
                  <a:pt x="6985669" y="4806296"/>
                  <a:pt x="6984072" y="4807893"/>
                </a:cubicBezTo>
                <a:cubicBezTo>
                  <a:pt x="6981543" y="4810555"/>
                  <a:pt x="6980478" y="4813351"/>
                  <a:pt x="6980478" y="4817344"/>
                </a:cubicBezTo>
                <a:cubicBezTo>
                  <a:pt x="6980478" y="4821471"/>
                  <a:pt x="6981543" y="4824266"/>
                  <a:pt x="6984072" y="4826795"/>
                </a:cubicBezTo>
                <a:cubicBezTo>
                  <a:pt x="6985669" y="4828394"/>
                  <a:pt x="6988199" y="4830257"/>
                  <a:pt x="6994056" y="4830257"/>
                </a:cubicBezTo>
                <a:cubicBezTo>
                  <a:pt x="6996185" y="4830257"/>
                  <a:pt x="6997916" y="4829991"/>
                  <a:pt x="6999380" y="4829325"/>
                </a:cubicBezTo>
                <a:cubicBezTo>
                  <a:pt x="7000844" y="4828793"/>
                  <a:pt x="7002176" y="4827861"/>
                  <a:pt x="7003107" y="4826928"/>
                </a:cubicBezTo>
                <a:cubicBezTo>
                  <a:pt x="7004172" y="4825730"/>
                  <a:pt x="7005104" y="4824399"/>
                  <a:pt x="7005769" y="4822669"/>
                </a:cubicBezTo>
                <a:cubicBezTo>
                  <a:pt x="7006568" y="4821071"/>
                  <a:pt x="7006834" y="4819207"/>
                  <a:pt x="7006834" y="4817211"/>
                </a:cubicBezTo>
                <a:cubicBezTo>
                  <a:pt x="7006834" y="4815347"/>
                  <a:pt x="7006435" y="4813617"/>
                  <a:pt x="7005769" y="4812020"/>
                </a:cubicBezTo>
                <a:cubicBezTo>
                  <a:pt x="7005104" y="4810422"/>
                  <a:pt x="7004172" y="4809091"/>
                  <a:pt x="7003107" y="4807893"/>
                </a:cubicBezTo>
                <a:cubicBezTo>
                  <a:pt x="7002042" y="4806828"/>
                  <a:pt x="7000711" y="4805896"/>
                  <a:pt x="6999113" y="4805230"/>
                </a:cubicBezTo>
                <a:cubicBezTo>
                  <a:pt x="6997649" y="4804565"/>
                  <a:pt x="6996052" y="4804299"/>
                  <a:pt x="6994056" y="4804299"/>
                </a:cubicBezTo>
                <a:close/>
                <a:moveTo>
                  <a:pt x="6776544" y="4804299"/>
                </a:moveTo>
                <a:cubicBezTo>
                  <a:pt x="6770687" y="4804299"/>
                  <a:pt x="6768157" y="4806296"/>
                  <a:pt x="6766560" y="4807893"/>
                </a:cubicBezTo>
                <a:cubicBezTo>
                  <a:pt x="6764031" y="4810555"/>
                  <a:pt x="6762966" y="4813351"/>
                  <a:pt x="6762966" y="4817344"/>
                </a:cubicBezTo>
                <a:cubicBezTo>
                  <a:pt x="6762966" y="4821471"/>
                  <a:pt x="6764031" y="4824266"/>
                  <a:pt x="6766560" y="4826795"/>
                </a:cubicBezTo>
                <a:cubicBezTo>
                  <a:pt x="6768157" y="4828394"/>
                  <a:pt x="6770687" y="4830257"/>
                  <a:pt x="6776544" y="4830257"/>
                </a:cubicBezTo>
                <a:cubicBezTo>
                  <a:pt x="6778541" y="4830257"/>
                  <a:pt x="6780270" y="4829991"/>
                  <a:pt x="6781869" y="4829325"/>
                </a:cubicBezTo>
                <a:cubicBezTo>
                  <a:pt x="6783333" y="4828793"/>
                  <a:pt x="6784664" y="4827861"/>
                  <a:pt x="6785595" y="4826928"/>
                </a:cubicBezTo>
                <a:cubicBezTo>
                  <a:pt x="6786661" y="4825730"/>
                  <a:pt x="6787593" y="4824399"/>
                  <a:pt x="6788258" y="4822669"/>
                </a:cubicBezTo>
                <a:cubicBezTo>
                  <a:pt x="6789057" y="4821071"/>
                  <a:pt x="6789323" y="4819207"/>
                  <a:pt x="6789323" y="4817211"/>
                </a:cubicBezTo>
                <a:cubicBezTo>
                  <a:pt x="6789323" y="4815347"/>
                  <a:pt x="6788923" y="4813617"/>
                  <a:pt x="6788258" y="4812020"/>
                </a:cubicBezTo>
                <a:cubicBezTo>
                  <a:pt x="6787593" y="4810422"/>
                  <a:pt x="6786661" y="4809091"/>
                  <a:pt x="6785595" y="4807893"/>
                </a:cubicBezTo>
                <a:cubicBezTo>
                  <a:pt x="6784530" y="4806828"/>
                  <a:pt x="6783199" y="4805896"/>
                  <a:pt x="6781602" y="4805230"/>
                </a:cubicBezTo>
                <a:cubicBezTo>
                  <a:pt x="6780138" y="4804565"/>
                  <a:pt x="6778541" y="4804299"/>
                  <a:pt x="6776544" y="4804299"/>
                </a:cubicBezTo>
                <a:close/>
                <a:moveTo>
                  <a:pt x="6558899" y="4804299"/>
                </a:moveTo>
                <a:cubicBezTo>
                  <a:pt x="6553042" y="4804299"/>
                  <a:pt x="6550512" y="4806296"/>
                  <a:pt x="6548915" y="4807893"/>
                </a:cubicBezTo>
                <a:cubicBezTo>
                  <a:pt x="6546386" y="4810555"/>
                  <a:pt x="6545321" y="4813351"/>
                  <a:pt x="6545321" y="4817344"/>
                </a:cubicBezTo>
                <a:cubicBezTo>
                  <a:pt x="6545321" y="4821471"/>
                  <a:pt x="6546386" y="4824266"/>
                  <a:pt x="6548915" y="4826795"/>
                </a:cubicBezTo>
                <a:cubicBezTo>
                  <a:pt x="6550512" y="4828394"/>
                  <a:pt x="6553042" y="4830257"/>
                  <a:pt x="6558899" y="4830257"/>
                </a:cubicBezTo>
                <a:cubicBezTo>
                  <a:pt x="6560895" y="4830257"/>
                  <a:pt x="6562759" y="4829991"/>
                  <a:pt x="6564223" y="4829325"/>
                </a:cubicBezTo>
                <a:cubicBezTo>
                  <a:pt x="6565687" y="4828793"/>
                  <a:pt x="6567019" y="4827861"/>
                  <a:pt x="6567950" y="4826928"/>
                </a:cubicBezTo>
                <a:cubicBezTo>
                  <a:pt x="6569015" y="4825730"/>
                  <a:pt x="6569947" y="4824399"/>
                  <a:pt x="6570612" y="4822669"/>
                </a:cubicBezTo>
                <a:cubicBezTo>
                  <a:pt x="6571412" y="4821071"/>
                  <a:pt x="6571677" y="4819207"/>
                  <a:pt x="6571677" y="4817211"/>
                </a:cubicBezTo>
                <a:cubicBezTo>
                  <a:pt x="6571677" y="4815347"/>
                  <a:pt x="6571278" y="4813617"/>
                  <a:pt x="6570612" y="4812020"/>
                </a:cubicBezTo>
                <a:cubicBezTo>
                  <a:pt x="6569947" y="4810422"/>
                  <a:pt x="6569015" y="4809091"/>
                  <a:pt x="6567950" y="4807893"/>
                </a:cubicBezTo>
                <a:cubicBezTo>
                  <a:pt x="6566885" y="4806828"/>
                  <a:pt x="6565554" y="4805896"/>
                  <a:pt x="6563956" y="4805230"/>
                </a:cubicBezTo>
                <a:cubicBezTo>
                  <a:pt x="6562492" y="4804565"/>
                  <a:pt x="6560895" y="4804299"/>
                  <a:pt x="6558899" y="4804299"/>
                </a:cubicBezTo>
                <a:close/>
                <a:moveTo>
                  <a:pt x="6341253" y="4804299"/>
                </a:moveTo>
                <a:cubicBezTo>
                  <a:pt x="6335396" y="4804299"/>
                  <a:pt x="6332867" y="4806296"/>
                  <a:pt x="6331270" y="4807893"/>
                </a:cubicBezTo>
                <a:cubicBezTo>
                  <a:pt x="6328740" y="4810555"/>
                  <a:pt x="6327675" y="4813351"/>
                  <a:pt x="6327675" y="4817344"/>
                </a:cubicBezTo>
                <a:cubicBezTo>
                  <a:pt x="6327675" y="4821471"/>
                  <a:pt x="6328740" y="4824266"/>
                  <a:pt x="6331270" y="4826795"/>
                </a:cubicBezTo>
                <a:cubicBezTo>
                  <a:pt x="6332867" y="4828394"/>
                  <a:pt x="6335396" y="4830257"/>
                  <a:pt x="6341253" y="4830257"/>
                </a:cubicBezTo>
                <a:cubicBezTo>
                  <a:pt x="6343250" y="4830257"/>
                  <a:pt x="6345114" y="4829991"/>
                  <a:pt x="6346578" y="4829325"/>
                </a:cubicBezTo>
                <a:cubicBezTo>
                  <a:pt x="6348042" y="4828793"/>
                  <a:pt x="6349373" y="4827861"/>
                  <a:pt x="6350305" y="4826928"/>
                </a:cubicBezTo>
                <a:cubicBezTo>
                  <a:pt x="6351370" y="4825730"/>
                  <a:pt x="6352302" y="4824399"/>
                  <a:pt x="6352968" y="4822669"/>
                </a:cubicBezTo>
                <a:cubicBezTo>
                  <a:pt x="6353766" y="4821071"/>
                  <a:pt x="6354033" y="4819207"/>
                  <a:pt x="6354033" y="4817211"/>
                </a:cubicBezTo>
                <a:cubicBezTo>
                  <a:pt x="6354033" y="4815347"/>
                  <a:pt x="6353633" y="4813617"/>
                  <a:pt x="6352968" y="4812020"/>
                </a:cubicBezTo>
                <a:cubicBezTo>
                  <a:pt x="6352302" y="4810422"/>
                  <a:pt x="6351370" y="4809091"/>
                  <a:pt x="6350305" y="4807893"/>
                </a:cubicBezTo>
                <a:cubicBezTo>
                  <a:pt x="6349241" y="4806828"/>
                  <a:pt x="6347909" y="4805896"/>
                  <a:pt x="6346312" y="4805230"/>
                </a:cubicBezTo>
                <a:cubicBezTo>
                  <a:pt x="6344848" y="4804565"/>
                  <a:pt x="6343250" y="4804299"/>
                  <a:pt x="6341253" y="4804299"/>
                </a:cubicBezTo>
                <a:close/>
                <a:moveTo>
                  <a:pt x="6123608" y="4804299"/>
                </a:moveTo>
                <a:cubicBezTo>
                  <a:pt x="6117751" y="4804299"/>
                  <a:pt x="6115221" y="4806296"/>
                  <a:pt x="6113624" y="4807893"/>
                </a:cubicBezTo>
                <a:cubicBezTo>
                  <a:pt x="6111095" y="4810555"/>
                  <a:pt x="6110030" y="4813351"/>
                  <a:pt x="6110030" y="4817344"/>
                </a:cubicBezTo>
                <a:cubicBezTo>
                  <a:pt x="6110030" y="4821471"/>
                  <a:pt x="6111095" y="4824266"/>
                  <a:pt x="6113624" y="4826795"/>
                </a:cubicBezTo>
                <a:cubicBezTo>
                  <a:pt x="6115221" y="4828394"/>
                  <a:pt x="6117751" y="4830257"/>
                  <a:pt x="6123608" y="4830257"/>
                </a:cubicBezTo>
                <a:cubicBezTo>
                  <a:pt x="6125737" y="4830257"/>
                  <a:pt x="6127468" y="4829991"/>
                  <a:pt x="6128932" y="4829325"/>
                </a:cubicBezTo>
                <a:cubicBezTo>
                  <a:pt x="6130530" y="4828793"/>
                  <a:pt x="6131728" y="4827861"/>
                  <a:pt x="6132659" y="4826928"/>
                </a:cubicBezTo>
                <a:cubicBezTo>
                  <a:pt x="6133724" y="4825730"/>
                  <a:pt x="6134656" y="4824399"/>
                  <a:pt x="6135322" y="4822669"/>
                </a:cubicBezTo>
                <a:cubicBezTo>
                  <a:pt x="6135987" y="4821071"/>
                  <a:pt x="6136387" y="4819207"/>
                  <a:pt x="6136387" y="4817211"/>
                </a:cubicBezTo>
                <a:cubicBezTo>
                  <a:pt x="6136387" y="4815347"/>
                  <a:pt x="6135987" y="4813617"/>
                  <a:pt x="6135322" y="4812020"/>
                </a:cubicBezTo>
                <a:cubicBezTo>
                  <a:pt x="6134656" y="4810422"/>
                  <a:pt x="6133724" y="4809091"/>
                  <a:pt x="6132659" y="4807893"/>
                </a:cubicBezTo>
                <a:cubicBezTo>
                  <a:pt x="6131594" y="4806828"/>
                  <a:pt x="6130263" y="4805896"/>
                  <a:pt x="6128666" y="4805230"/>
                </a:cubicBezTo>
                <a:cubicBezTo>
                  <a:pt x="6127202" y="4804565"/>
                  <a:pt x="6125604" y="4804299"/>
                  <a:pt x="6123608" y="4804299"/>
                </a:cubicBezTo>
                <a:close/>
                <a:moveTo>
                  <a:pt x="5905963" y="4804299"/>
                </a:moveTo>
                <a:cubicBezTo>
                  <a:pt x="5900106" y="4804299"/>
                  <a:pt x="5897576" y="4806296"/>
                  <a:pt x="5895979" y="4807893"/>
                </a:cubicBezTo>
                <a:cubicBezTo>
                  <a:pt x="5893450" y="4810555"/>
                  <a:pt x="5892385" y="4813351"/>
                  <a:pt x="5892385" y="4817344"/>
                </a:cubicBezTo>
                <a:cubicBezTo>
                  <a:pt x="5892385" y="4821471"/>
                  <a:pt x="5893450" y="4824266"/>
                  <a:pt x="5895979" y="4826795"/>
                </a:cubicBezTo>
                <a:cubicBezTo>
                  <a:pt x="5897576" y="4828394"/>
                  <a:pt x="5900106" y="4830257"/>
                  <a:pt x="5905963" y="4830257"/>
                </a:cubicBezTo>
                <a:cubicBezTo>
                  <a:pt x="5908093" y="4830257"/>
                  <a:pt x="5909823" y="4829991"/>
                  <a:pt x="5911287" y="4829325"/>
                </a:cubicBezTo>
                <a:cubicBezTo>
                  <a:pt x="5912751" y="4828793"/>
                  <a:pt x="5914083" y="4827861"/>
                  <a:pt x="5915014" y="4826928"/>
                </a:cubicBezTo>
                <a:cubicBezTo>
                  <a:pt x="5916079" y="4825730"/>
                  <a:pt x="5917011" y="4824399"/>
                  <a:pt x="5917677" y="4822669"/>
                </a:cubicBezTo>
                <a:cubicBezTo>
                  <a:pt x="5918342" y="4821071"/>
                  <a:pt x="5918742" y="4819207"/>
                  <a:pt x="5918742" y="4817211"/>
                </a:cubicBezTo>
                <a:cubicBezTo>
                  <a:pt x="5918742" y="4815347"/>
                  <a:pt x="5918342" y="4813617"/>
                  <a:pt x="5917677" y="4812020"/>
                </a:cubicBezTo>
                <a:cubicBezTo>
                  <a:pt x="5917011" y="4810422"/>
                  <a:pt x="5916079" y="4809091"/>
                  <a:pt x="5915014" y="4807893"/>
                </a:cubicBezTo>
                <a:cubicBezTo>
                  <a:pt x="5913950" y="4806828"/>
                  <a:pt x="5912618" y="4805896"/>
                  <a:pt x="5911021" y="4805230"/>
                </a:cubicBezTo>
                <a:cubicBezTo>
                  <a:pt x="5909557" y="4804565"/>
                  <a:pt x="5907826" y="4804299"/>
                  <a:pt x="5905963" y="4804299"/>
                </a:cubicBezTo>
                <a:close/>
                <a:moveTo>
                  <a:pt x="5688451" y="4804299"/>
                </a:moveTo>
                <a:cubicBezTo>
                  <a:pt x="5682594" y="4804299"/>
                  <a:pt x="5680064" y="4806296"/>
                  <a:pt x="5678467" y="4807893"/>
                </a:cubicBezTo>
                <a:cubicBezTo>
                  <a:pt x="5675938" y="4810555"/>
                  <a:pt x="5674873" y="4813351"/>
                  <a:pt x="5674873" y="4817344"/>
                </a:cubicBezTo>
                <a:cubicBezTo>
                  <a:pt x="5674873" y="4821471"/>
                  <a:pt x="5675938" y="4824266"/>
                  <a:pt x="5678467" y="4826795"/>
                </a:cubicBezTo>
                <a:cubicBezTo>
                  <a:pt x="5680064" y="4828394"/>
                  <a:pt x="5682594" y="4830257"/>
                  <a:pt x="5688451" y="4830257"/>
                </a:cubicBezTo>
                <a:cubicBezTo>
                  <a:pt x="5690447" y="4830257"/>
                  <a:pt x="5692178" y="4829991"/>
                  <a:pt x="5693775" y="4829325"/>
                </a:cubicBezTo>
                <a:cubicBezTo>
                  <a:pt x="5695239" y="4828793"/>
                  <a:pt x="5696571" y="4827861"/>
                  <a:pt x="5697502" y="4826928"/>
                </a:cubicBezTo>
                <a:cubicBezTo>
                  <a:pt x="5698567" y="4825730"/>
                  <a:pt x="5699499" y="4824399"/>
                  <a:pt x="5700165" y="4822669"/>
                </a:cubicBezTo>
                <a:cubicBezTo>
                  <a:pt x="5700830" y="4821071"/>
                  <a:pt x="5701230" y="4819207"/>
                  <a:pt x="5701230" y="4817211"/>
                </a:cubicBezTo>
                <a:cubicBezTo>
                  <a:pt x="5701230" y="4815347"/>
                  <a:pt x="5700830" y="4813617"/>
                  <a:pt x="5700165" y="4812020"/>
                </a:cubicBezTo>
                <a:cubicBezTo>
                  <a:pt x="5699499" y="4810422"/>
                  <a:pt x="5698567" y="4809091"/>
                  <a:pt x="5697502" y="4807893"/>
                </a:cubicBezTo>
                <a:cubicBezTo>
                  <a:pt x="5696437" y="4806828"/>
                  <a:pt x="5695106" y="4805896"/>
                  <a:pt x="5693509" y="4805230"/>
                </a:cubicBezTo>
                <a:cubicBezTo>
                  <a:pt x="5692045" y="4804565"/>
                  <a:pt x="5690314" y="4804299"/>
                  <a:pt x="5688451" y="4804299"/>
                </a:cubicBezTo>
                <a:close/>
                <a:moveTo>
                  <a:pt x="5470806" y="4804299"/>
                </a:moveTo>
                <a:cubicBezTo>
                  <a:pt x="5464949" y="4804299"/>
                  <a:pt x="5462419" y="4806296"/>
                  <a:pt x="5460822" y="4807893"/>
                </a:cubicBezTo>
                <a:cubicBezTo>
                  <a:pt x="5458293" y="4810555"/>
                  <a:pt x="5457228" y="4813351"/>
                  <a:pt x="5457228" y="4817344"/>
                </a:cubicBezTo>
                <a:cubicBezTo>
                  <a:pt x="5457228" y="4821471"/>
                  <a:pt x="5458293" y="4824266"/>
                  <a:pt x="5460822" y="4826795"/>
                </a:cubicBezTo>
                <a:cubicBezTo>
                  <a:pt x="5462419" y="4828394"/>
                  <a:pt x="5464949" y="4830257"/>
                  <a:pt x="5470806" y="4830257"/>
                </a:cubicBezTo>
                <a:cubicBezTo>
                  <a:pt x="5472802" y="4830257"/>
                  <a:pt x="5474666" y="4829991"/>
                  <a:pt x="5476130" y="4829325"/>
                </a:cubicBezTo>
                <a:cubicBezTo>
                  <a:pt x="5477594" y="4828793"/>
                  <a:pt x="5478926" y="4827861"/>
                  <a:pt x="5479857" y="4826928"/>
                </a:cubicBezTo>
                <a:cubicBezTo>
                  <a:pt x="5480922" y="4825730"/>
                  <a:pt x="5481854" y="4824399"/>
                  <a:pt x="5482520" y="4822669"/>
                </a:cubicBezTo>
                <a:cubicBezTo>
                  <a:pt x="5483319" y="4821071"/>
                  <a:pt x="5483585" y="4819207"/>
                  <a:pt x="5483585" y="4817211"/>
                </a:cubicBezTo>
                <a:cubicBezTo>
                  <a:pt x="5483585" y="4815347"/>
                  <a:pt x="5483185" y="4813617"/>
                  <a:pt x="5482520" y="4812020"/>
                </a:cubicBezTo>
                <a:cubicBezTo>
                  <a:pt x="5481854" y="4810422"/>
                  <a:pt x="5480922" y="4809091"/>
                  <a:pt x="5479857" y="4807893"/>
                </a:cubicBezTo>
                <a:cubicBezTo>
                  <a:pt x="5478793" y="4806828"/>
                  <a:pt x="5477461" y="4805896"/>
                  <a:pt x="5475864" y="4805230"/>
                </a:cubicBezTo>
                <a:cubicBezTo>
                  <a:pt x="5474400" y="4804565"/>
                  <a:pt x="5472669" y="4804299"/>
                  <a:pt x="5470806" y="4804299"/>
                </a:cubicBezTo>
                <a:close/>
                <a:moveTo>
                  <a:pt x="5253160" y="4804299"/>
                </a:moveTo>
                <a:cubicBezTo>
                  <a:pt x="5247303" y="4804299"/>
                  <a:pt x="5244774" y="4806296"/>
                  <a:pt x="5243177" y="4807893"/>
                </a:cubicBezTo>
                <a:cubicBezTo>
                  <a:pt x="5240647" y="4810555"/>
                  <a:pt x="5239583" y="4813351"/>
                  <a:pt x="5239583" y="4817344"/>
                </a:cubicBezTo>
                <a:cubicBezTo>
                  <a:pt x="5239583" y="4821471"/>
                  <a:pt x="5240647" y="4824266"/>
                  <a:pt x="5243177" y="4826795"/>
                </a:cubicBezTo>
                <a:cubicBezTo>
                  <a:pt x="5244774" y="4828394"/>
                  <a:pt x="5247303" y="4830257"/>
                  <a:pt x="5253160" y="4830257"/>
                </a:cubicBezTo>
                <a:cubicBezTo>
                  <a:pt x="5255157" y="4830257"/>
                  <a:pt x="5257021" y="4829991"/>
                  <a:pt x="5258485" y="4829325"/>
                </a:cubicBezTo>
                <a:cubicBezTo>
                  <a:pt x="5259949" y="4828793"/>
                  <a:pt x="5261280" y="4827861"/>
                  <a:pt x="5262212" y="4826928"/>
                </a:cubicBezTo>
                <a:cubicBezTo>
                  <a:pt x="5263277" y="4825730"/>
                  <a:pt x="5264209" y="4824399"/>
                  <a:pt x="5264875" y="4822669"/>
                </a:cubicBezTo>
                <a:cubicBezTo>
                  <a:pt x="5265673" y="4821071"/>
                  <a:pt x="5265939" y="4819207"/>
                  <a:pt x="5265939" y="4817211"/>
                </a:cubicBezTo>
                <a:cubicBezTo>
                  <a:pt x="5265939" y="4815347"/>
                  <a:pt x="5265540" y="4813617"/>
                  <a:pt x="5264875" y="4812020"/>
                </a:cubicBezTo>
                <a:cubicBezTo>
                  <a:pt x="5264209" y="4810422"/>
                  <a:pt x="5263277" y="4809091"/>
                  <a:pt x="5262212" y="4807893"/>
                </a:cubicBezTo>
                <a:cubicBezTo>
                  <a:pt x="5261147" y="4806828"/>
                  <a:pt x="5259816" y="4805896"/>
                  <a:pt x="5258219" y="4805230"/>
                </a:cubicBezTo>
                <a:cubicBezTo>
                  <a:pt x="5256754" y="4804565"/>
                  <a:pt x="5255024" y="4804299"/>
                  <a:pt x="5253160" y="4804299"/>
                </a:cubicBezTo>
                <a:close/>
                <a:moveTo>
                  <a:pt x="5035515" y="4804299"/>
                </a:moveTo>
                <a:cubicBezTo>
                  <a:pt x="5029658" y="4804299"/>
                  <a:pt x="5027129" y="4806296"/>
                  <a:pt x="5025532" y="4807893"/>
                </a:cubicBezTo>
                <a:cubicBezTo>
                  <a:pt x="5023002" y="4810555"/>
                  <a:pt x="5021938" y="4813351"/>
                  <a:pt x="5021938" y="4817344"/>
                </a:cubicBezTo>
                <a:cubicBezTo>
                  <a:pt x="5021938" y="4821471"/>
                  <a:pt x="5023002" y="4824266"/>
                  <a:pt x="5025532" y="4826795"/>
                </a:cubicBezTo>
                <a:cubicBezTo>
                  <a:pt x="5027129" y="4828394"/>
                  <a:pt x="5029658" y="4830257"/>
                  <a:pt x="5035515" y="4830257"/>
                </a:cubicBezTo>
                <a:cubicBezTo>
                  <a:pt x="5037645" y="4830257"/>
                  <a:pt x="5039376" y="4829991"/>
                  <a:pt x="5040840" y="4829325"/>
                </a:cubicBezTo>
                <a:cubicBezTo>
                  <a:pt x="5042304" y="4828793"/>
                  <a:pt x="5043636" y="4827861"/>
                  <a:pt x="5044567" y="4826928"/>
                </a:cubicBezTo>
                <a:cubicBezTo>
                  <a:pt x="5045632" y="4825730"/>
                  <a:pt x="5046564" y="4824399"/>
                  <a:pt x="5047230" y="4822669"/>
                </a:cubicBezTo>
                <a:cubicBezTo>
                  <a:pt x="5048028" y="4821071"/>
                  <a:pt x="5048294" y="4819207"/>
                  <a:pt x="5048294" y="4817211"/>
                </a:cubicBezTo>
                <a:cubicBezTo>
                  <a:pt x="5048294" y="4815347"/>
                  <a:pt x="5047895" y="4813617"/>
                  <a:pt x="5047230" y="4812020"/>
                </a:cubicBezTo>
                <a:cubicBezTo>
                  <a:pt x="5046564" y="4810422"/>
                  <a:pt x="5045632" y="4809091"/>
                  <a:pt x="5044567" y="4807893"/>
                </a:cubicBezTo>
                <a:cubicBezTo>
                  <a:pt x="5043502" y="4806828"/>
                  <a:pt x="5042171" y="4805896"/>
                  <a:pt x="5040574" y="4805230"/>
                </a:cubicBezTo>
                <a:cubicBezTo>
                  <a:pt x="5039110" y="4804565"/>
                  <a:pt x="5037379" y="4804299"/>
                  <a:pt x="5035515" y="4804299"/>
                </a:cubicBezTo>
                <a:close/>
                <a:moveTo>
                  <a:pt x="4817870" y="4804299"/>
                </a:moveTo>
                <a:cubicBezTo>
                  <a:pt x="4812013" y="4804299"/>
                  <a:pt x="4809484" y="4806296"/>
                  <a:pt x="4807887" y="4807893"/>
                </a:cubicBezTo>
                <a:cubicBezTo>
                  <a:pt x="4805357" y="4810555"/>
                  <a:pt x="4804293" y="4813351"/>
                  <a:pt x="4804293" y="4817344"/>
                </a:cubicBezTo>
                <a:cubicBezTo>
                  <a:pt x="4804293" y="4821471"/>
                  <a:pt x="4805357" y="4824266"/>
                  <a:pt x="4807887" y="4826795"/>
                </a:cubicBezTo>
                <a:cubicBezTo>
                  <a:pt x="4809484" y="4828394"/>
                  <a:pt x="4812013" y="4830257"/>
                  <a:pt x="4817870" y="4830257"/>
                </a:cubicBezTo>
                <a:cubicBezTo>
                  <a:pt x="4820000" y="4830257"/>
                  <a:pt x="4821731" y="4829991"/>
                  <a:pt x="4823195" y="4829325"/>
                </a:cubicBezTo>
                <a:cubicBezTo>
                  <a:pt x="4824659" y="4828793"/>
                  <a:pt x="4825857" y="4827861"/>
                  <a:pt x="4826922" y="4826928"/>
                </a:cubicBezTo>
                <a:cubicBezTo>
                  <a:pt x="4827987" y="4825730"/>
                  <a:pt x="4828919" y="4824399"/>
                  <a:pt x="4829585" y="4822669"/>
                </a:cubicBezTo>
                <a:cubicBezTo>
                  <a:pt x="4830383" y="4821071"/>
                  <a:pt x="4830650" y="4819207"/>
                  <a:pt x="4830650" y="4817211"/>
                </a:cubicBezTo>
                <a:cubicBezTo>
                  <a:pt x="4830650" y="4815347"/>
                  <a:pt x="4830250" y="4813617"/>
                  <a:pt x="4829585" y="4812020"/>
                </a:cubicBezTo>
                <a:cubicBezTo>
                  <a:pt x="4828919" y="4810422"/>
                  <a:pt x="4827987" y="4809091"/>
                  <a:pt x="4826922" y="4807893"/>
                </a:cubicBezTo>
                <a:cubicBezTo>
                  <a:pt x="4825857" y="4806828"/>
                  <a:pt x="4824526" y="4805896"/>
                  <a:pt x="4822929" y="4805230"/>
                </a:cubicBezTo>
                <a:cubicBezTo>
                  <a:pt x="4821465" y="4804565"/>
                  <a:pt x="4819734" y="4804299"/>
                  <a:pt x="4817870" y="4804299"/>
                </a:cubicBezTo>
                <a:close/>
                <a:moveTo>
                  <a:pt x="4600226" y="4804299"/>
                </a:moveTo>
                <a:cubicBezTo>
                  <a:pt x="4594369" y="4804299"/>
                  <a:pt x="4591839" y="4806296"/>
                  <a:pt x="4590242" y="4807893"/>
                </a:cubicBezTo>
                <a:cubicBezTo>
                  <a:pt x="4587713" y="4810555"/>
                  <a:pt x="4586648" y="4813351"/>
                  <a:pt x="4586648" y="4817344"/>
                </a:cubicBezTo>
                <a:cubicBezTo>
                  <a:pt x="4586648" y="4821471"/>
                  <a:pt x="4587713" y="4824266"/>
                  <a:pt x="4590242" y="4826795"/>
                </a:cubicBezTo>
                <a:cubicBezTo>
                  <a:pt x="4591839" y="4828394"/>
                  <a:pt x="4594369" y="4830257"/>
                  <a:pt x="4600226" y="4830257"/>
                </a:cubicBezTo>
                <a:cubicBezTo>
                  <a:pt x="4602355" y="4830257"/>
                  <a:pt x="4604086" y="4829991"/>
                  <a:pt x="4605550" y="4829325"/>
                </a:cubicBezTo>
                <a:cubicBezTo>
                  <a:pt x="4607148" y="4828793"/>
                  <a:pt x="4608346" y="4827861"/>
                  <a:pt x="4609277" y="4826928"/>
                </a:cubicBezTo>
                <a:cubicBezTo>
                  <a:pt x="4610342" y="4825730"/>
                  <a:pt x="4611274" y="4824399"/>
                  <a:pt x="4611940" y="4822669"/>
                </a:cubicBezTo>
                <a:cubicBezTo>
                  <a:pt x="4612605" y="4821071"/>
                  <a:pt x="4613005" y="4819207"/>
                  <a:pt x="4613005" y="4817211"/>
                </a:cubicBezTo>
                <a:cubicBezTo>
                  <a:pt x="4613005" y="4815347"/>
                  <a:pt x="4612605" y="4813617"/>
                  <a:pt x="4611940" y="4812020"/>
                </a:cubicBezTo>
                <a:cubicBezTo>
                  <a:pt x="4611274" y="4810422"/>
                  <a:pt x="4610342" y="4809091"/>
                  <a:pt x="4609277" y="4807893"/>
                </a:cubicBezTo>
                <a:cubicBezTo>
                  <a:pt x="4608212" y="4806828"/>
                  <a:pt x="4606881" y="4805896"/>
                  <a:pt x="4605284" y="4805230"/>
                </a:cubicBezTo>
                <a:cubicBezTo>
                  <a:pt x="4603820" y="4804565"/>
                  <a:pt x="4602222" y="4804299"/>
                  <a:pt x="4600226" y="4804299"/>
                </a:cubicBezTo>
                <a:close/>
                <a:moveTo>
                  <a:pt x="4382713" y="4804299"/>
                </a:moveTo>
                <a:cubicBezTo>
                  <a:pt x="4376857" y="4804299"/>
                  <a:pt x="4374327" y="4806296"/>
                  <a:pt x="4372730" y="4807893"/>
                </a:cubicBezTo>
                <a:cubicBezTo>
                  <a:pt x="4370201" y="4810555"/>
                  <a:pt x="4369136" y="4813351"/>
                  <a:pt x="4369136" y="4817344"/>
                </a:cubicBezTo>
                <a:cubicBezTo>
                  <a:pt x="4369136" y="4821471"/>
                  <a:pt x="4370201" y="4824266"/>
                  <a:pt x="4372730" y="4826795"/>
                </a:cubicBezTo>
                <a:cubicBezTo>
                  <a:pt x="4374327" y="4828394"/>
                  <a:pt x="4376857" y="4830257"/>
                  <a:pt x="4382713" y="4830257"/>
                </a:cubicBezTo>
                <a:cubicBezTo>
                  <a:pt x="4384710" y="4830257"/>
                  <a:pt x="4386441" y="4829991"/>
                  <a:pt x="4388038" y="4829325"/>
                </a:cubicBezTo>
                <a:cubicBezTo>
                  <a:pt x="4389502" y="4828793"/>
                  <a:pt x="4390834" y="4827861"/>
                  <a:pt x="4391765" y="4826928"/>
                </a:cubicBezTo>
                <a:cubicBezTo>
                  <a:pt x="4392830" y="4825730"/>
                  <a:pt x="4393762" y="4824399"/>
                  <a:pt x="4394428" y="4822669"/>
                </a:cubicBezTo>
                <a:cubicBezTo>
                  <a:pt x="4395093" y="4821071"/>
                  <a:pt x="4395493" y="4819207"/>
                  <a:pt x="4395493" y="4817211"/>
                </a:cubicBezTo>
                <a:cubicBezTo>
                  <a:pt x="4395493" y="4815347"/>
                  <a:pt x="4395093" y="4813617"/>
                  <a:pt x="4394428" y="4812020"/>
                </a:cubicBezTo>
                <a:cubicBezTo>
                  <a:pt x="4393762" y="4810422"/>
                  <a:pt x="4392830" y="4809091"/>
                  <a:pt x="4391765" y="4807893"/>
                </a:cubicBezTo>
                <a:cubicBezTo>
                  <a:pt x="4390700" y="4806828"/>
                  <a:pt x="4389369" y="4805896"/>
                  <a:pt x="4387772" y="4805230"/>
                </a:cubicBezTo>
                <a:cubicBezTo>
                  <a:pt x="4386308" y="4804565"/>
                  <a:pt x="4384710" y="4804299"/>
                  <a:pt x="4382713" y="4804299"/>
                </a:cubicBezTo>
                <a:close/>
                <a:moveTo>
                  <a:pt x="4165068" y="4804299"/>
                </a:moveTo>
                <a:cubicBezTo>
                  <a:pt x="4159211" y="4804299"/>
                  <a:pt x="4156681" y="4806296"/>
                  <a:pt x="4155084" y="4807893"/>
                </a:cubicBezTo>
                <a:cubicBezTo>
                  <a:pt x="4152555" y="4810555"/>
                  <a:pt x="4151490" y="4813351"/>
                  <a:pt x="4151490" y="4817344"/>
                </a:cubicBezTo>
                <a:cubicBezTo>
                  <a:pt x="4151490" y="4821471"/>
                  <a:pt x="4152555" y="4824266"/>
                  <a:pt x="4155084" y="4826795"/>
                </a:cubicBezTo>
                <a:cubicBezTo>
                  <a:pt x="4156681" y="4828394"/>
                  <a:pt x="4159211" y="4830257"/>
                  <a:pt x="4165068" y="4830257"/>
                </a:cubicBezTo>
                <a:cubicBezTo>
                  <a:pt x="4167064" y="4830257"/>
                  <a:pt x="4168928" y="4829991"/>
                  <a:pt x="4170392" y="4829325"/>
                </a:cubicBezTo>
                <a:cubicBezTo>
                  <a:pt x="4171856" y="4828793"/>
                  <a:pt x="4173188" y="4827861"/>
                  <a:pt x="4174119" y="4826928"/>
                </a:cubicBezTo>
                <a:cubicBezTo>
                  <a:pt x="4175184" y="4825730"/>
                  <a:pt x="4176116" y="4824399"/>
                  <a:pt x="4176782" y="4822669"/>
                </a:cubicBezTo>
                <a:cubicBezTo>
                  <a:pt x="4177447" y="4821071"/>
                  <a:pt x="4177847" y="4819207"/>
                  <a:pt x="4177847" y="4817211"/>
                </a:cubicBezTo>
                <a:cubicBezTo>
                  <a:pt x="4177847" y="4815347"/>
                  <a:pt x="4177447" y="4813617"/>
                  <a:pt x="4176782" y="4812020"/>
                </a:cubicBezTo>
                <a:cubicBezTo>
                  <a:pt x="4176116" y="4810422"/>
                  <a:pt x="4175184" y="4809091"/>
                  <a:pt x="4174119" y="4807893"/>
                </a:cubicBezTo>
                <a:cubicBezTo>
                  <a:pt x="4173054" y="4806828"/>
                  <a:pt x="4171723" y="4805896"/>
                  <a:pt x="4170126" y="4805230"/>
                </a:cubicBezTo>
                <a:cubicBezTo>
                  <a:pt x="4168662" y="4804565"/>
                  <a:pt x="4167064" y="4804299"/>
                  <a:pt x="4165068" y="4804299"/>
                </a:cubicBezTo>
                <a:close/>
                <a:moveTo>
                  <a:pt x="3947686" y="4804299"/>
                </a:moveTo>
                <a:cubicBezTo>
                  <a:pt x="3941828" y="4804299"/>
                  <a:pt x="3939300" y="4806296"/>
                  <a:pt x="3937703" y="4807893"/>
                </a:cubicBezTo>
                <a:cubicBezTo>
                  <a:pt x="3935172" y="4810555"/>
                  <a:pt x="3934108" y="4813351"/>
                  <a:pt x="3934108" y="4817344"/>
                </a:cubicBezTo>
                <a:cubicBezTo>
                  <a:pt x="3934108" y="4821471"/>
                  <a:pt x="3935172" y="4824266"/>
                  <a:pt x="3937703" y="4826795"/>
                </a:cubicBezTo>
                <a:cubicBezTo>
                  <a:pt x="3939300" y="4828394"/>
                  <a:pt x="3941828" y="4830257"/>
                  <a:pt x="3947686" y="4830257"/>
                </a:cubicBezTo>
                <a:cubicBezTo>
                  <a:pt x="3949684" y="4830257"/>
                  <a:pt x="3951547" y="4829991"/>
                  <a:pt x="3953014" y="4829325"/>
                </a:cubicBezTo>
                <a:cubicBezTo>
                  <a:pt x="3954478" y="4828793"/>
                  <a:pt x="3955808" y="4827861"/>
                  <a:pt x="3956741" y="4826928"/>
                </a:cubicBezTo>
                <a:cubicBezTo>
                  <a:pt x="3957806" y="4825730"/>
                  <a:pt x="3958738" y="4824399"/>
                  <a:pt x="3959404" y="4822669"/>
                </a:cubicBezTo>
                <a:cubicBezTo>
                  <a:pt x="3960069" y="4821071"/>
                  <a:pt x="3960469" y="4819207"/>
                  <a:pt x="3960469" y="4817211"/>
                </a:cubicBezTo>
                <a:cubicBezTo>
                  <a:pt x="3960469" y="4815347"/>
                  <a:pt x="3960069" y="4813617"/>
                  <a:pt x="3959404" y="4812020"/>
                </a:cubicBezTo>
                <a:cubicBezTo>
                  <a:pt x="3958738" y="4810422"/>
                  <a:pt x="3957806" y="4809091"/>
                  <a:pt x="3956741" y="4807893"/>
                </a:cubicBezTo>
                <a:cubicBezTo>
                  <a:pt x="3955675" y="4806828"/>
                  <a:pt x="3954345" y="4805896"/>
                  <a:pt x="3952747" y="4805230"/>
                </a:cubicBezTo>
                <a:cubicBezTo>
                  <a:pt x="3951280" y="4804565"/>
                  <a:pt x="3949684" y="4804299"/>
                  <a:pt x="3947686" y="4804299"/>
                </a:cubicBezTo>
                <a:close/>
                <a:moveTo>
                  <a:pt x="3730029" y="4804299"/>
                </a:moveTo>
                <a:cubicBezTo>
                  <a:pt x="3724172" y="4804299"/>
                  <a:pt x="3721642" y="4806296"/>
                  <a:pt x="3720042" y="4807893"/>
                </a:cubicBezTo>
                <a:cubicBezTo>
                  <a:pt x="3717513" y="4810555"/>
                  <a:pt x="3716450" y="4813351"/>
                  <a:pt x="3716450" y="4817344"/>
                </a:cubicBezTo>
                <a:cubicBezTo>
                  <a:pt x="3716450" y="4821471"/>
                  <a:pt x="3717513" y="4824266"/>
                  <a:pt x="3720042" y="4826795"/>
                </a:cubicBezTo>
                <a:cubicBezTo>
                  <a:pt x="3721642" y="4828394"/>
                  <a:pt x="3724172" y="4830257"/>
                  <a:pt x="3730029" y="4830257"/>
                </a:cubicBezTo>
                <a:cubicBezTo>
                  <a:pt x="3732159" y="4830257"/>
                  <a:pt x="3733891" y="4829991"/>
                  <a:pt x="3735354" y="4829325"/>
                </a:cubicBezTo>
                <a:cubicBezTo>
                  <a:pt x="3736818" y="4828793"/>
                  <a:pt x="3738151" y="4827861"/>
                  <a:pt x="3739081" y="4826928"/>
                </a:cubicBezTo>
                <a:cubicBezTo>
                  <a:pt x="3740147" y="4825730"/>
                  <a:pt x="3741079" y="4824399"/>
                  <a:pt x="3741745" y="4822669"/>
                </a:cubicBezTo>
                <a:cubicBezTo>
                  <a:pt x="3742410" y="4821071"/>
                  <a:pt x="3742809" y="4819207"/>
                  <a:pt x="3742809" y="4817211"/>
                </a:cubicBezTo>
                <a:cubicBezTo>
                  <a:pt x="3742809" y="4815347"/>
                  <a:pt x="3742410" y="4813617"/>
                  <a:pt x="3741745" y="4812020"/>
                </a:cubicBezTo>
                <a:cubicBezTo>
                  <a:pt x="3741079" y="4810422"/>
                  <a:pt x="3740147" y="4809091"/>
                  <a:pt x="3739081" y="4807893"/>
                </a:cubicBezTo>
                <a:cubicBezTo>
                  <a:pt x="3738017" y="4806828"/>
                  <a:pt x="3736686" y="4805896"/>
                  <a:pt x="3735088" y="4805230"/>
                </a:cubicBezTo>
                <a:cubicBezTo>
                  <a:pt x="3733624" y="4804565"/>
                  <a:pt x="3732026" y="4804299"/>
                  <a:pt x="3730029" y="4804299"/>
                </a:cubicBezTo>
                <a:close/>
                <a:moveTo>
                  <a:pt x="3512370" y="4804299"/>
                </a:moveTo>
                <a:cubicBezTo>
                  <a:pt x="3506511" y="4804299"/>
                  <a:pt x="3503982" y="4806296"/>
                  <a:pt x="3502382" y="4807893"/>
                </a:cubicBezTo>
                <a:cubicBezTo>
                  <a:pt x="3499852" y="4810555"/>
                  <a:pt x="3498789" y="4813351"/>
                  <a:pt x="3498789" y="4817344"/>
                </a:cubicBezTo>
                <a:cubicBezTo>
                  <a:pt x="3498789" y="4821471"/>
                  <a:pt x="3499852" y="4824266"/>
                  <a:pt x="3502382" y="4826795"/>
                </a:cubicBezTo>
                <a:cubicBezTo>
                  <a:pt x="3503982" y="4828394"/>
                  <a:pt x="3506511" y="4830257"/>
                  <a:pt x="3512370" y="4830257"/>
                </a:cubicBezTo>
                <a:cubicBezTo>
                  <a:pt x="3514500" y="4830257"/>
                  <a:pt x="3516231" y="4829991"/>
                  <a:pt x="3517695" y="4829325"/>
                </a:cubicBezTo>
                <a:cubicBezTo>
                  <a:pt x="3519160" y="4828793"/>
                  <a:pt x="3520492" y="4827861"/>
                  <a:pt x="3521423" y="4826928"/>
                </a:cubicBezTo>
                <a:cubicBezTo>
                  <a:pt x="3522488" y="4825730"/>
                  <a:pt x="3523420" y="4824399"/>
                  <a:pt x="3524086" y="4822669"/>
                </a:cubicBezTo>
                <a:cubicBezTo>
                  <a:pt x="3524751" y="4821071"/>
                  <a:pt x="3525151" y="4819207"/>
                  <a:pt x="3525151" y="4817211"/>
                </a:cubicBezTo>
                <a:cubicBezTo>
                  <a:pt x="3525151" y="4815347"/>
                  <a:pt x="3524751" y="4813617"/>
                  <a:pt x="3524086" y="4812020"/>
                </a:cubicBezTo>
                <a:cubicBezTo>
                  <a:pt x="3523420" y="4810422"/>
                  <a:pt x="3522488" y="4809091"/>
                  <a:pt x="3521423" y="4807893"/>
                </a:cubicBezTo>
                <a:cubicBezTo>
                  <a:pt x="3520358" y="4806828"/>
                  <a:pt x="3519027" y="4805896"/>
                  <a:pt x="3517430" y="4805230"/>
                </a:cubicBezTo>
                <a:cubicBezTo>
                  <a:pt x="3515966" y="4804565"/>
                  <a:pt x="3514367" y="4804299"/>
                  <a:pt x="3512370" y="4804299"/>
                </a:cubicBezTo>
                <a:close/>
                <a:moveTo>
                  <a:pt x="3294845" y="4804299"/>
                </a:moveTo>
                <a:cubicBezTo>
                  <a:pt x="3288986" y="4804299"/>
                  <a:pt x="3286456" y="4806296"/>
                  <a:pt x="3284859" y="4807893"/>
                </a:cubicBezTo>
                <a:cubicBezTo>
                  <a:pt x="3282328" y="4810555"/>
                  <a:pt x="3281264" y="4813351"/>
                  <a:pt x="3281264" y="4817344"/>
                </a:cubicBezTo>
                <a:cubicBezTo>
                  <a:pt x="3281264" y="4821471"/>
                  <a:pt x="3282328" y="4824266"/>
                  <a:pt x="3284859" y="4826795"/>
                </a:cubicBezTo>
                <a:cubicBezTo>
                  <a:pt x="3286456" y="4828394"/>
                  <a:pt x="3288986" y="4830257"/>
                  <a:pt x="3294845" y="4830257"/>
                </a:cubicBezTo>
                <a:cubicBezTo>
                  <a:pt x="3296842" y="4830257"/>
                  <a:pt x="3298572" y="4829991"/>
                  <a:pt x="3300170" y="4829325"/>
                </a:cubicBezTo>
                <a:cubicBezTo>
                  <a:pt x="3301634" y="4828793"/>
                  <a:pt x="3302966" y="4827861"/>
                  <a:pt x="3303897" y="4826928"/>
                </a:cubicBezTo>
                <a:cubicBezTo>
                  <a:pt x="3304962" y="4825730"/>
                  <a:pt x="3305894" y="4824399"/>
                  <a:pt x="3306560" y="4822669"/>
                </a:cubicBezTo>
                <a:cubicBezTo>
                  <a:pt x="3307225" y="4821071"/>
                  <a:pt x="3307624" y="4819207"/>
                  <a:pt x="3307624" y="4817211"/>
                </a:cubicBezTo>
                <a:cubicBezTo>
                  <a:pt x="3307624" y="4815347"/>
                  <a:pt x="3307225" y="4813617"/>
                  <a:pt x="3306560" y="4812020"/>
                </a:cubicBezTo>
                <a:cubicBezTo>
                  <a:pt x="3305894" y="4810422"/>
                  <a:pt x="3304962" y="4809091"/>
                  <a:pt x="3303897" y="4807893"/>
                </a:cubicBezTo>
                <a:cubicBezTo>
                  <a:pt x="3302832" y="4806828"/>
                  <a:pt x="3301501" y="4805896"/>
                  <a:pt x="3299904" y="4805230"/>
                </a:cubicBezTo>
                <a:cubicBezTo>
                  <a:pt x="3298440" y="4804565"/>
                  <a:pt x="3296842" y="4804299"/>
                  <a:pt x="3294845" y="4804299"/>
                </a:cubicBezTo>
                <a:close/>
                <a:moveTo>
                  <a:pt x="3077319" y="4804299"/>
                </a:moveTo>
                <a:cubicBezTo>
                  <a:pt x="3071461" y="4804299"/>
                  <a:pt x="3068931" y="4806296"/>
                  <a:pt x="3067336" y="4807893"/>
                </a:cubicBezTo>
                <a:cubicBezTo>
                  <a:pt x="3064670" y="4810555"/>
                  <a:pt x="3063605" y="4813351"/>
                  <a:pt x="3063605" y="4817344"/>
                </a:cubicBezTo>
                <a:cubicBezTo>
                  <a:pt x="3063605" y="4821471"/>
                  <a:pt x="3064670" y="4824266"/>
                  <a:pt x="3067201" y="4826795"/>
                </a:cubicBezTo>
                <a:cubicBezTo>
                  <a:pt x="3068799" y="4828394"/>
                  <a:pt x="3071328" y="4830257"/>
                  <a:pt x="3077186" y="4830257"/>
                </a:cubicBezTo>
                <a:cubicBezTo>
                  <a:pt x="3079183" y="4830257"/>
                  <a:pt x="3080913" y="4829991"/>
                  <a:pt x="3082644" y="4829325"/>
                </a:cubicBezTo>
                <a:cubicBezTo>
                  <a:pt x="3084109" y="4828793"/>
                  <a:pt x="3085440" y="4827861"/>
                  <a:pt x="3086371" y="4826928"/>
                </a:cubicBezTo>
                <a:cubicBezTo>
                  <a:pt x="3087436" y="4825730"/>
                  <a:pt x="3088368" y="4824399"/>
                  <a:pt x="3089034" y="4822669"/>
                </a:cubicBezTo>
                <a:cubicBezTo>
                  <a:pt x="3089699" y="4821071"/>
                  <a:pt x="3089966" y="4819207"/>
                  <a:pt x="3089966" y="4817211"/>
                </a:cubicBezTo>
                <a:cubicBezTo>
                  <a:pt x="3089966" y="4815347"/>
                  <a:pt x="3089699" y="4813617"/>
                  <a:pt x="3089034" y="4812020"/>
                </a:cubicBezTo>
                <a:cubicBezTo>
                  <a:pt x="3088368" y="4810422"/>
                  <a:pt x="3087436" y="4809091"/>
                  <a:pt x="3086371" y="4807893"/>
                </a:cubicBezTo>
                <a:cubicBezTo>
                  <a:pt x="3085307" y="4806828"/>
                  <a:pt x="3083975" y="4805896"/>
                  <a:pt x="3082378" y="4805230"/>
                </a:cubicBezTo>
                <a:cubicBezTo>
                  <a:pt x="3080913" y="4804565"/>
                  <a:pt x="3079316" y="4804299"/>
                  <a:pt x="3077319" y="4804299"/>
                </a:cubicBezTo>
                <a:close/>
                <a:moveTo>
                  <a:pt x="2859527" y="4804299"/>
                </a:moveTo>
                <a:cubicBezTo>
                  <a:pt x="2853670" y="4804299"/>
                  <a:pt x="2851140" y="4806296"/>
                  <a:pt x="2849541" y="4807893"/>
                </a:cubicBezTo>
                <a:cubicBezTo>
                  <a:pt x="2847008" y="4810555"/>
                  <a:pt x="2845944" y="4813351"/>
                  <a:pt x="2845944" y="4817344"/>
                </a:cubicBezTo>
                <a:cubicBezTo>
                  <a:pt x="2845944" y="4821471"/>
                  <a:pt x="2847008" y="4824266"/>
                  <a:pt x="2849541" y="4826795"/>
                </a:cubicBezTo>
                <a:cubicBezTo>
                  <a:pt x="2851140" y="4828394"/>
                  <a:pt x="2853670" y="4830257"/>
                  <a:pt x="2859527" y="4830257"/>
                </a:cubicBezTo>
                <a:cubicBezTo>
                  <a:pt x="2861524" y="4830257"/>
                  <a:pt x="2863388" y="4829991"/>
                  <a:pt x="2864852" y="4829325"/>
                </a:cubicBezTo>
                <a:cubicBezTo>
                  <a:pt x="2866450" y="4828793"/>
                  <a:pt x="2867648" y="4827861"/>
                  <a:pt x="2868579" y="4826928"/>
                </a:cubicBezTo>
                <a:cubicBezTo>
                  <a:pt x="2869644" y="4825730"/>
                  <a:pt x="2870576" y="4824399"/>
                  <a:pt x="2871242" y="4822669"/>
                </a:cubicBezTo>
                <a:cubicBezTo>
                  <a:pt x="2871774" y="4821071"/>
                  <a:pt x="2872173" y="4819207"/>
                  <a:pt x="2872173" y="4817211"/>
                </a:cubicBezTo>
                <a:cubicBezTo>
                  <a:pt x="2872173" y="4815347"/>
                  <a:pt x="2871907" y="4813617"/>
                  <a:pt x="2871242" y="4812020"/>
                </a:cubicBezTo>
                <a:cubicBezTo>
                  <a:pt x="2870576" y="4810422"/>
                  <a:pt x="2869644" y="4809091"/>
                  <a:pt x="2868579" y="4807893"/>
                </a:cubicBezTo>
                <a:cubicBezTo>
                  <a:pt x="2867515" y="4806828"/>
                  <a:pt x="2866183" y="4805896"/>
                  <a:pt x="2864587" y="4805230"/>
                </a:cubicBezTo>
                <a:cubicBezTo>
                  <a:pt x="2863123" y="4804565"/>
                  <a:pt x="2861524" y="4804299"/>
                  <a:pt x="2859527" y="4804299"/>
                </a:cubicBezTo>
                <a:close/>
                <a:moveTo>
                  <a:pt x="2641868" y="4804299"/>
                </a:moveTo>
                <a:cubicBezTo>
                  <a:pt x="2636011" y="4804299"/>
                  <a:pt x="2633482" y="4806296"/>
                  <a:pt x="2631885" y="4807893"/>
                </a:cubicBezTo>
                <a:cubicBezTo>
                  <a:pt x="2629355" y="4810555"/>
                  <a:pt x="2628290" y="4813351"/>
                  <a:pt x="2628290" y="4817344"/>
                </a:cubicBezTo>
                <a:cubicBezTo>
                  <a:pt x="2628290" y="4821471"/>
                  <a:pt x="2629355" y="4824266"/>
                  <a:pt x="2631885" y="4826795"/>
                </a:cubicBezTo>
                <a:cubicBezTo>
                  <a:pt x="2633482" y="4828394"/>
                  <a:pt x="2636011" y="4830257"/>
                  <a:pt x="2641868" y="4830257"/>
                </a:cubicBezTo>
                <a:cubicBezTo>
                  <a:pt x="2643865" y="4830257"/>
                  <a:pt x="2645730" y="4829991"/>
                  <a:pt x="2647194" y="4829325"/>
                </a:cubicBezTo>
                <a:cubicBezTo>
                  <a:pt x="2648790" y="4828793"/>
                  <a:pt x="2649988" y="4827861"/>
                  <a:pt x="2650920" y="4826928"/>
                </a:cubicBezTo>
                <a:cubicBezTo>
                  <a:pt x="2651986" y="4825730"/>
                  <a:pt x="2652917" y="4824399"/>
                  <a:pt x="2653584" y="4822669"/>
                </a:cubicBezTo>
                <a:cubicBezTo>
                  <a:pt x="2654115" y="4821071"/>
                  <a:pt x="2654514" y="4819207"/>
                  <a:pt x="2654514" y="4817211"/>
                </a:cubicBezTo>
                <a:cubicBezTo>
                  <a:pt x="2654514" y="4815347"/>
                  <a:pt x="2654249" y="4813617"/>
                  <a:pt x="2653584" y="4812020"/>
                </a:cubicBezTo>
                <a:cubicBezTo>
                  <a:pt x="2652917" y="4810422"/>
                  <a:pt x="2651986" y="4809091"/>
                  <a:pt x="2650920" y="4807893"/>
                </a:cubicBezTo>
                <a:cubicBezTo>
                  <a:pt x="2649855" y="4806828"/>
                  <a:pt x="2648524" y="4805896"/>
                  <a:pt x="2646927" y="4805230"/>
                </a:cubicBezTo>
                <a:cubicBezTo>
                  <a:pt x="2645462" y="4804565"/>
                  <a:pt x="2643865" y="4804299"/>
                  <a:pt x="2641868" y="4804299"/>
                </a:cubicBezTo>
                <a:close/>
                <a:moveTo>
                  <a:pt x="2424209" y="4804299"/>
                </a:moveTo>
                <a:cubicBezTo>
                  <a:pt x="2418352" y="4804299"/>
                  <a:pt x="2415823" y="4806296"/>
                  <a:pt x="2414226" y="4807893"/>
                </a:cubicBezTo>
                <a:cubicBezTo>
                  <a:pt x="2411696" y="4810555"/>
                  <a:pt x="2410632" y="4813351"/>
                  <a:pt x="2410632" y="4817344"/>
                </a:cubicBezTo>
                <a:cubicBezTo>
                  <a:pt x="2410632" y="4821471"/>
                  <a:pt x="2411696" y="4824266"/>
                  <a:pt x="2414226" y="4826795"/>
                </a:cubicBezTo>
                <a:cubicBezTo>
                  <a:pt x="2415823" y="4828394"/>
                  <a:pt x="2418352" y="4830257"/>
                  <a:pt x="2424209" y="4830257"/>
                </a:cubicBezTo>
                <a:cubicBezTo>
                  <a:pt x="2426339" y="4830257"/>
                  <a:pt x="2428070" y="4829991"/>
                  <a:pt x="2429534" y="4829325"/>
                </a:cubicBezTo>
                <a:cubicBezTo>
                  <a:pt x="2431132" y="4828793"/>
                  <a:pt x="2432330" y="4827861"/>
                  <a:pt x="2433261" y="4826928"/>
                </a:cubicBezTo>
                <a:cubicBezTo>
                  <a:pt x="2434326" y="4825730"/>
                  <a:pt x="2435258" y="4824399"/>
                  <a:pt x="2435924" y="4822669"/>
                </a:cubicBezTo>
                <a:cubicBezTo>
                  <a:pt x="2436456" y="4821071"/>
                  <a:pt x="2436856" y="4819207"/>
                  <a:pt x="2436856" y="4817211"/>
                </a:cubicBezTo>
                <a:cubicBezTo>
                  <a:pt x="2436856" y="4815347"/>
                  <a:pt x="2436589" y="4813617"/>
                  <a:pt x="2435924" y="4812020"/>
                </a:cubicBezTo>
                <a:cubicBezTo>
                  <a:pt x="2435258" y="4810422"/>
                  <a:pt x="2434326" y="4809091"/>
                  <a:pt x="2433261" y="4807893"/>
                </a:cubicBezTo>
                <a:cubicBezTo>
                  <a:pt x="2432198" y="4806828"/>
                  <a:pt x="2430866" y="4805896"/>
                  <a:pt x="2429268" y="4805230"/>
                </a:cubicBezTo>
                <a:cubicBezTo>
                  <a:pt x="2427804" y="4804565"/>
                  <a:pt x="2426206" y="4804299"/>
                  <a:pt x="2424209" y="4804299"/>
                </a:cubicBezTo>
                <a:close/>
                <a:moveTo>
                  <a:pt x="2206550" y="4804299"/>
                </a:moveTo>
                <a:cubicBezTo>
                  <a:pt x="2200693" y="4804299"/>
                  <a:pt x="2198164" y="4806296"/>
                  <a:pt x="2196567" y="4807893"/>
                </a:cubicBezTo>
                <a:cubicBezTo>
                  <a:pt x="2194037" y="4810555"/>
                  <a:pt x="2192973" y="4813351"/>
                  <a:pt x="2192973" y="4817344"/>
                </a:cubicBezTo>
                <a:cubicBezTo>
                  <a:pt x="2192973" y="4821471"/>
                  <a:pt x="2194037" y="4824266"/>
                  <a:pt x="2196567" y="4826795"/>
                </a:cubicBezTo>
                <a:cubicBezTo>
                  <a:pt x="2198164" y="4828394"/>
                  <a:pt x="2200693" y="4830257"/>
                  <a:pt x="2206550" y="4830257"/>
                </a:cubicBezTo>
                <a:cubicBezTo>
                  <a:pt x="2208680" y="4830257"/>
                  <a:pt x="2210411" y="4829991"/>
                  <a:pt x="2211875" y="4829325"/>
                </a:cubicBezTo>
                <a:cubicBezTo>
                  <a:pt x="2213473" y="4828793"/>
                  <a:pt x="2214671" y="4827861"/>
                  <a:pt x="2215602" y="4826928"/>
                </a:cubicBezTo>
                <a:cubicBezTo>
                  <a:pt x="2216667" y="4825730"/>
                  <a:pt x="2217599" y="4824399"/>
                  <a:pt x="2218265" y="4822669"/>
                </a:cubicBezTo>
                <a:cubicBezTo>
                  <a:pt x="2218798" y="4821071"/>
                  <a:pt x="2219196" y="4819207"/>
                  <a:pt x="2219196" y="4817211"/>
                </a:cubicBezTo>
                <a:cubicBezTo>
                  <a:pt x="2219196" y="4815347"/>
                  <a:pt x="2218930" y="4813617"/>
                  <a:pt x="2218265" y="4812020"/>
                </a:cubicBezTo>
                <a:cubicBezTo>
                  <a:pt x="2217599" y="4810422"/>
                  <a:pt x="2216667" y="4809091"/>
                  <a:pt x="2215602" y="4807893"/>
                </a:cubicBezTo>
                <a:cubicBezTo>
                  <a:pt x="2214537" y="4806828"/>
                  <a:pt x="2213207" y="4805896"/>
                  <a:pt x="2211609" y="4805230"/>
                </a:cubicBezTo>
                <a:cubicBezTo>
                  <a:pt x="2210145" y="4804565"/>
                  <a:pt x="2208547" y="4804299"/>
                  <a:pt x="2206550" y="4804299"/>
                </a:cubicBezTo>
                <a:close/>
                <a:moveTo>
                  <a:pt x="1989024" y="4804299"/>
                </a:moveTo>
                <a:cubicBezTo>
                  <a:pt x="1983167" y="4804299"/>
                  <a:pt x="1980638" y="4806296"/>
                  <a:pt x="1979041" y="4807893"/>
                </a:cubicBezTo>
                <a:cubicBezTo>
                  <a:pt x="1976511" y="4810555"/>
                  <a:pt x="1975447" y="4813351"/>
                  <a:pt x="1975447" y="4817344"/>
                </a:cubicBezTo>
                <a:cubicBezTo>
                  <a:pt x="1975447" y="4821471"/>
                  <a:pt x="1976511" y="4824266"/>
                  <a:pt x="1979041" y="4826795"/>
                </a:cubicBezTo>
                <a:cubicBezTo>
                  <a:pt x="1980638" y="4828394"/>
                  <a:pt x="1983167" y="4830257"/>
                  <a:pt x="1989024" y="4830257"/>
                </a:cubicBezTo>
                <a:cubicBezTo>
                  <a:pt x="1991021" y="4830257"/>
                  <a:pt x="1992752" y="4829991"/>
                  <a:pt x="1994349" y="4829325"/>
                </a:cubicBezTo>
                <a:cubicBezTo>
                  <a:pt x="1995947" y="4828793"/>
                  <a:pt x="1997146" y="4827861"/>
                  <a:pt x="1998077" y="4826928"/>
                </a:cubicBezTo>
                <a:cubicBezTo>
                  <a:pt x="1999141" y="4825730"/>
                  <a:pt x="2000073" y="4824399"/>
                  <a:pt x="2000740" y="4822669"/>
                </a:cubicBezTo>
                <a:cubicBezTo>
                  <a:pt x="2001271" y="4821071"/>
                  <a:pt x="2001670" y="4819207"/>
                  <a:pt x="2001670" y="4817211"/>
                </a:cubicBezTo>
                <a:cubicBezTo>
                  <a:pt x="2001670" y="4815347"/>
                  <a:pt x="2001405" y="4813617"/>
                  <a:pt x="2000740" y="4812020"/>
                </a:cubicBezTo>
                <a:cubicBezTo>
                  <a:pt x="2000073" y="4810422"/>
                  <a:pt x="1999141" y="4809091"/>
                  <a:pt x="1998077" y="4807893"/>
                </a:cubicBezTo>
                <a:cubicBezTo>
                  <a:pt x="1997012" y="4806828"/>
                  <a:pt x="1995680" y="4805896"/>
                  <a:pt x="1994083" y="4805230"/>
                </a:cubicBezTo>
                <a:cubicBezTo>
                  <a:pt x="1992619" y="4804565"/>
                  <a:pt x="1991021" y="4804299"/>
                  <a:pt x="1989024" y="4804299"/>
                </a:cubicBezTo>
                <a:close/>
                <a:moveTo>
                  <a:pt x="1771389" y="4804299"/>
                </a:moveTo>
                <a:cubicBezTo>
                  <a:pt x="1765532" y="4804299"/>
                  <a:pt x="1763004" y="4806296"/>
                  <a:pt x="1761407" y="4807893"/>
                </a:cubicBezTo>
                <a:cubicBezTo>
                  <a:pt x="1758878" y="4810555"/>
                  <a:pt x="1757813" y="4813351"/>
                  <a:pt x="1757813" y="4817344"/>
                </a:cubicBezTo>
                <a:cubicBezTo>
                  <a:pt x="1757813" y="4821471"/>
                  <a:pt x="1758878" y="4824266"/>
                  <a:pt x="1761407" y="4826795"/>
                </a:cubicBezTo>
                <a:cubicBezTo>
                  <a:pt x="1763004" y="4828394"/>
                  <a:pt x="1765532" y="4830257"/>
                  <a:pt x="1771389" y="4830257"/>
                </a:cubicBezTo>
                <a:cubicBezTo>
                  <a:pt x="1773386" y="4830257"/>
                  <a:pt x="1775250" y="4829991"/>
                  <a:pt x="1776714" y="4829325"/>
                </a:cubicBezTo>
                <a:cubicBezTo>
                  <a:pt x="1778178" y="4828793"/>
                  <a:pt x="1779508" y="4827861"/>
                  <a:pt x="1780440" y="4826928"/>
                </a:cubicBezTo>
                <a:cubicBezTo>
                  <a:pt x="1781505" y="4825730"/>
                  <a:pt x="1782437" y="4824399"/>
                  <a:pt x="1783103" y="4822669"/>
                </a:cubicBezTo>
                <a:cubicBezTo>
                  <a:pt x="1783768" y="4821071"/>
                  <a:pt x="1784168" y="4819207"/>
                  <a:pt x="1784168" y="4817211"/>
                </a:cubicBezTo>
                <a:cubicBezTo>
                  <a:pt x="1784168" y="4815347"/>
                  <a:pt x="1783768" y="4813617"/>
                  <a:pt x="1783103" y="4812020"/>
                </a:cubicBezTo>
                <a:cubicBezTo>
                  <a:pt x="1782437" y="4810422"/>
                  <a:pt x="1781505" y="4809091"/>
                  <a:pt x="1780440" y="4807893"/>
                </a:cubicBezTo>
                <a:cubicBezTo>
                  <a:pt x="1779375" y="4806828"/>
                  <a:pt x="1778045" y="4805896"/>
                  <a:pt x="1776448" y="4805230"/>
                </a:cubicBezTo>
                <a:cubicBezTo>
                  <a:pt x="1774983" y="4804565"/>
                  <a:pt x="1773386" y="4804299"/>
                  <a:pt x="1771389" y="4804299"/>
                </a:cubicBezTo>
                <a:close/>
                <a:moveTo>
                  <a:pt x="1553751" y="4804299"/>
                </a:moveTo>
                <a:cubicBezTo>
                  <a:pt x="1547894" y="4804299"/>
                  <a:pt x="1545365" y="4806296"/>
                  <a:pt x="1543768" y="4807893"/>
                </a:cubicBezTo>
                <a:cubicBezTo>
                  <a:pt x="1541238" y="4810555"/>
                  <a:pt x="1540174" y="4813351"/>
                  <a:pt x="1540174" y="4817344"/>
                </a:cubicBezTo>
                <a:cubicBezTo>
                  <a:pt x="1540174" y="4821471"/>
                  <a:pt x="1541238" y="4824266"/>
                  <a:pt x="1543768" y="4826795"/>
                </a:cubicBezTo>
                <a:cubicBezTo>
                  <a:pt x="1545365" y="4828394"/>
                  <a:pt x="1547894" y="4830257"/>
                  <a:pt x="1553751" y="4830257"/>
                </a:cubicBezTo>
                <a:cubicBezTo>
                  <a:pt x="1555748" y="4830257"/>
                  <a:pt x="1557612" y="4829991"/>
                  <a:pt x="1559076" y="4829325"/>
                </a:cubicBezTo>
                <a:cubicBezTo>
                  <a:pt x="1560540" y="4828793"/>
                  <a:pt x="1561872" y="4827861"/>
                  <a:pt x="1562803" y="4826928"/>
                </a:cubicBezTo>
                <a:cubicBezTo>
                  <a:pt x="1563868" y="4825730"/>
                  <a:pt x="1564800" y="4824399"/>
                  <a:pt x="1565466" y="4822669"/>
                </a:cubicBezTo>
                <a:cubicBezTo>
                  <a:pt x="1566131" y="4821071"/>
                  <a:pt x="1566531" y="4819207"/>
                  <a:pt x="1566531" y="4817211"/>
                </a:cubicBezTo>
                <a:cubicBezTo>
                  <a:pt x="1566531" y="4815347"/>
                  <a:pt x="1566131" y="4813617"/>
                  <a:pt x="1565466" y="4812020"/>
                </a:cubicBezTo>
                <a:cubicBezTo>
                  <a:pt x="1564800" y="4810422"/>
                  <a:pt x="1563868" y="4809091"/>
                  <a:pt x="1562803" y="4807893"/>
                </a:cubicBezTo>
                <a:cubicBezTo>
                  <a:pt x="1561738" y="4806828"/>
                  <a:pt x="1560407" y="4805896"/>
                  <a:pt x="1558810" y="4805230"/>
                </a:cubicBezTo>
                <a:cubicBezTo>
                  <a:pt x="1557346" y="4804565"/>
                  <a:pt x="1555748" y="4804299"/>
                  <a:pt x="1553751" y="4804299"/>
                </a:cubicBezTo>
                <a:close/>
                <a:moveTo>
                  <a:pt x="1336107" y="4804299"/>
                </a:moveTo>
                <a:cubicBezTo>
                  <a:pt x="1330250" y="4804299"/>
                  <a:pt x="1327720" y="4806296"/>
                  <a:pt x="1326123" y="4807893"/>
                </a:cubicBezTo>
                <a:cubicBezTo>
                  <a:pt x="1323593" y="4810555"/>
                  <a:pt x="1322529" y="4813351"/>
                  <a:pt x="1322529" y="4817344"/>
                </a:cubicBezTo>
                <a:cubicBezTo>
                  <a:pt x="1322529" y="4821471"/>
                  <a:pt x="1323593" y="4824266"/>
                  <a:pt x="1326123" y="4826795"/>
                </a:cubicBezTo>
                <a:cubicBezTo>
                  <a:pt x="1327720" y="4828394"/>
                  <a:pt x="1330250" y="4830257"/>
                  <a:pt x="1336107" y="4830257"/>
                </a:cubicBezTo>
                <a:cubicBezTo>
                  <a:pt x="1338237" y="4830257"/>
                  <a:pt x="1339967" y="4829991"/>
                  <a:pt x="1341434" y="4829325"/>
                </a:cubicBezTo>
                <a:cubicBezTo>
                  <a:pt x="1342897" y="4828793"/>
                  <a:pt x="1344228" y="4827861"/>
                  <a:pt x="1345161" y="4826928"/>
                </a:cubicBezTo>
                <a:cubicBezTo>
                  <a:pt x="1346225" y="4825730"/>
                  <a:pt x="1347158" y="4824399"/>
                  <a:pt x="1347823" y="4822669"/>
                </a:cubicBezTo>
                <a:cubicBezTo>
                  <a:pt x="1348489" y="4821071"/>
                  <a:pt x="1348890" y="4819207"/>
                  <a:pt x="1348890" y="4817211"/>
                </a:cubicBezTo>
                <a:cubicBezTo>
                  <a:pt x="1348890" y="4815347"/>
                  <a:pt x="1348489" y="4813617"/>
                  <a:pt x="1347823" y="4812020"/>
                </a:cubicBezTo>
                <a:cubicBezTo>
                  <a:pt x="1347158" y="4810422"/>
                  <a:pt x="1346225" y="4809091"/>
                  <a:pt x="1345161" y="4807893"/>
                </a:cubicBezTo>
                <a:cubicBezTo>
                  <a:pt x="1344096" y="4806828"/>
                  <a:pt x="1342764" y="4805896"/>
                  <a:pt x="1341166" y="4805230"/>
                </a:cubicBezTo>
                <a:cubicBezTo>
                  <a:pt x="1339703" y="4804565"/>
                  <a:pt x="1338103" y="4804299"/>
                  <a:pt x="1336107" y="4804299"/>
                </a:cubicBezTo>
                <a:close/>
                <a:moveTo>
                  <a:pt x="1118595" y="4804299"/>
                </a:moveTo>
                <a:cubicBezTo>
                  <a:pt x="1112736" y="4804299"/>
                  <a:pt x="1110207" y="4806296"/>
                  <a:pt x="1108610" y="4807893"/>
                </a:cubicBezTo>
                <a:cubicBezTo>
                  <a:pt x="1105947" y="4810555"/>
                  <a:pt x="1104883" y="4813351"/>
                  <a:pt x="1104883" y="4817344"/>
                </a:cubicBezTo>
                <a:cubicBezTo>
                  <a:pt x="1104883" y="4821471"/>
                  <a:pt x="1105947" y="4824266"/>
                  <a:pt x="1108477" y="4826795"/>
                </a:cubicBezTo>
                <a:cubicBezTo>
                  <a:pt x="1110074" y="4828394"/>
                  <a:pt x="1112604" y="4830257"/>
                  <a:pt x="1118462" y="4830257"/>
                </a:cubicBezTo>
                <a:cubicBezTo>
                  <a:pt x="1120592" y="4830257"/>
                  <a:pt x="1122324" y="4829991"/>
                  <a:pt x="1123919" y="4829325"/>
                </a:cubicBezTo>
                <a:cubicBezTo>
                  <a:pt x="1125384" y="4828793"/>
                  <a:pt x="1126719" y="4827861"/>
                  <a:pt x="1127649" y="4826928"/>
                </a:cubicBezTo>
                <a:cubicBezTo>
                  <a:pt x="1128714" y="4825730"/>
                  <a:pt x="1129646" y="4824399"/>
                  <a:pt x="1130312" y="4822669"/>
                </a:cubicBezTo>
                <a:cubicBezTo>
                  <a:pt x="1130976" y="4821071"/>
                  <a:pt x="1131377" y="4819207"/>
                  <a:pt x="1131377" y="4817211"/>
                </a:cubicBezTo>
                <a:cubicBezTo>
                  <a:pt x="1131377" y="4815347"/>
                  <a:pt x="1130976" y="4813617"/>
                  <a:pt x="1130312" y="4812020"/>
                </a:cubicBezTo>
                <a:cubicBezTo>
                  <a:pt x="1129646" y="4810422"/>
                  <a:pt x="1128714" y="4809091"/>
                  <a:pt x="1127649" y="4807893"/>
                </a:cubicBezTo>
                <a:cubicBezTo>
                  <a:pt x="1126583" y="4806828"/>
                  <a:pt x="1125251" y="4805896"/>
                  <a:pt x="1123654" y="4805230"/>
                </a:cubicBezTo>
                <a:cubicBezTo>
                  <a:pt x="1122190" y="4804565"/>
                  <a:pt x="1120592" y="4804299"/>
                  <a:pt x="1118595" y="4804299"/>
                </a:cubicBezTo>
                <a:close/>
                <a:moveTo>
                  <a:pt x="901083" y="4804299"/>
                </a:moveTo>
                <a:cubicBezTo>
                  <a:pt x="895225" y="4804299"/>
                  <a:pt x="892696" y="4806296"/>
                  <a:pt x="891099" y="4807893"/>
                </a:cubicBezTo>
                <a:cubicBezTo>
                  <a:pt x="888436" y="4810555"/>
                  <a:pt x="887372" y="4813351"/>
                  <a:pt x="887372" y="4817344"/>
                </a:cubicBezTo>
                <a:cubicBezTo>
                  <a:pt x="887372" y="4821471"/>
                  <a:pt x="888436" y="4824266"/>
                  <a:pt x="890966" y="4826795"/>
                </a:cubicBezTo>
                <a:cubicBezTo>
                  <a:pt x="892563" y="4828394"/>
                  <a:pt x="895092" y="4830257"/>
                  <a:pt x="900949" y="4830257"/>
                </a:cubicBezTo>
                <a:cubicBezTo>
                  <a:pt x="902946" y="4830257"/>
                  <a:pt x="904677" y="4829991"/>
                  <a:pt x="906407" y="4829325"/>
                </a:cubicBezTo>
                <a:cubicBezTo>
                  <a:pt x="907871" y="4828793"/>
                  <a:pt x="909203" y="4827861"/>
                  <a:pt x="910135" y="4826928"/>
                </a:cubicBezTo>
                <a:cubicBezTo>
                  <a:pt x="911199" y="4825730"/>
                  <a:pt x="912131" y="4824399"/>
                  <a:pt x="912797" y="4822669"/>
                </a:cubicBezTo>
                <a:cubicBezTo>
                  <a:pt x="913462" y="4821071"/>
                  <a:pt x="913862" y="4819207"/>
                  <a:pt x="913862" y="4817211"/>
                </a:cubicBezTo>
                <a:cubicBezTo>
                  <a:pt x="913862" y="4815347"/>
                  <a:pt x="913462" y="4813617"/>
                  <a:pt x="912797" y="4812020"/>
                </a:cubicBezTo>
                <a:cubicBezTo>
                  <a:pt x="912131" y="4810422"/>
                  <a:pt x="911199" y="4809091"/>
                  <a:pt x="910135" y="4807893"/>
                </a:cubicBezTo>
                <a:cubicBezTo>
                  <a:pt x="909070" y="4806828"/>
                  <a:pt x="907738" y="4805896"/>
                  <a:pt x="906141" y="4805230"/>
                </a:cubicBezTo>
                <a:cubicBezTo>
                  <a:pt x="904677" y="4804565"/>
                  <a:pt x="903079" y="4804299"/>
                  <a:pt x="901083" y="4804299"/>
                </a:cubicBezTo>
                <a:close/>
                <a:moveTo>
                  <a:pt x="683308" y="4804299"/>
                </a:moveTo>
                <a:cubicBezTo>
                  <a:pt x="677451" y="4804299"/>
                  <a:pt x="674922" y="4806296"/>
                  <a:pt x="673325" y="4807893"/>
                </a:cubicBezTo>
                <a:cubicBezTo>
                  <a:pt x="670795" y="4810555"/>
                  <a:pt x="669731" y="4813351"/>
                  <a:pt x="669731" y="4817344"/>
                </a:cubicBezTo>
                <a:cubicBezTo>
                  <a:pt x="669731" y="4821471"/>
                  <a:pt x="670795" y="4824266"/>
                  <a:pt x="673325" y="4826795"/>
                </a:cubicBezTo>
                <a:cubicBezTo>
                  <a:pt x="674922" y="4828394"/>
                  <a:pt x="677451" y="4830257"/>
                  <a:pt x="683308" y="4830257"/>
                </a:cubicBezTo>
                <a:cubicBezTo>
                  <a:pt x="685305" y="4830257"/>
                  <a:pt x="687169" y="4829991"/>
                  <a:pt x="688633" y="4829325"/>
                </a:cubicBezTo>
                <a:cubicBezTo>
                  <a:pt x="690097" y="4828793"/>
                  <a:pt x="691429" y="4827861"/>
                  <a:pt x="692360" y="4826928"/>
                </a:cubicBezTo>
                <a:cubicBezTo>
                  <a:pt x="693425" y="4825730"/>
                  <a:pt x="694357" y="4824399"/>
                  <a:pt x="695023" y="4822669"/>
                </a:cubicBezTo>
                <a:cubicBezTo>
                  <a:pt x="695688" y="4821071"/>
                  <a:pt x="696089" y="4819207"/>
                  <a:pt x="696089" y="4817211"/>
                </a:cubicBezTo>
                <a:cubicBezTo>
                  <a:pt x="696089" y="4815347"/>
                  <a:pt x="695688" y="4813617"/>
                  <a:pt x="695023" y="4812020"/>
                </a:cubicBezTo>
                <a:cubicBezTo>
                  <a:pt x="694357" y="4810422"/>
                  <a:pt x="693425" y="4809091"/>
                  <a:pt x="692360" y="4807893"/>
                </a:cubicBezTo>
                <a:cubicBezTo>
                  <a:pt x="691295" y="4806828"/>
                  <a:pt x="689964" y="4805896"/>
                  <a:pt x="688367" y="4805230"/>
                </a:cubicBezTo>
                <a:cubicBezTo>
                  <a:pt x="686903" y="4804565"/>
                  <a:pt x="685305" y="4804299"/>
                  <a:pt x="683308" y="4804299"/>
                </a:cubicBezTo>
                <a:close/>
                <a:moveTo>
                  <a:pt x="465666" y="4804299"/>
                </a:moveTo>
                <a:cubicBezTo>
                  <a:pt x="459809" y="4804299"/>
                  <a:pt x="457280" y="4806296"/>
                  <a:pt x="455683" y="4807893"/>
                </a:cubicBezTo>
                <a:cubicBezTo>
                  <a:pt x="453153" y="4810555"/>
                  <a:pt x="452089" y="4813351"/>
                  <a:pt x="452089" y="4817344"/>
                </a:cubicBezTo>
                <a:cubicBezTo>
                  <a:pt x="452089" y="4821471"/>
                  <a:pt x="453153" y="4824266"/>
                  <a:pt x="455683" y="4826795"/>
                </a:cubicBezTo>
                <a:cubicBezTo>
                  <a:pt x="457280" y="4828394"/>
                  <a:pt x="459809" y="4830257"/>
                  <a:pt x="465666" y="4830257"/>
                </a:cubicBezTo>
                <a:cubicBezTo>
                  <a:pt x="467664" y="4830257"/>
                  <a:pt x="469528" y="4829991"/>
                  <a:pt x="470992" y="4829325"/>
                </a:cubicBezTo>
                <a:cubicBezTo>
                  <a:pt x="472456" y="4828793"/>
                  <a:pt x="473787" y="4827861"/>
                  <a:pt x="474719" y="4826928"/>
                </a:cubicBezTo>
                <a:cubicBezTo>
                  <a:pt x="475783" y="4825730"/>
                  <a:pt x="476715" y="4824399"/>
                  <a:pt x="477382" y="4822669"/>
                </a:cubicBezTo>
                <a:cubicBezTo>
                  <a:pt x="478047" y="4821071"/>
                  <a:pt x="478447" y="4819207"/>
                  <a:pt x="478447" y="4817211"/>
                </a:cubicBezTo>
                <a:cubicBezTo>
                  <a:pt x="478447" y="4815347"/>
                  <a:pt x="478047" y="4813617"/>
                  <a:pt x="477382" y="4812020"/>
                </a:cubicBezTo>
                <a:cubicBezTo>
                  <a:pt x="476715" y="4810422"/>
                  <a:pt x="475783" y="4809091"/>
                  <a:pt x="474719" y="4807893"/>
                </a:cubicBezTo>
                <a:cubicBezTo>
                  <a:pt x="473654" y="4806828"/>
                  <a:pt x="472322" y="4805896"/>
                  <a:pt x="470726" y="4805230"/>
                </a:cubicBezTo>
                <a:cubicBezTo>
                  <a:pt x="469261" y="4804565"/>
                  <a:pt x="467664" y="4804299"/>
                  <a:pt x="465666" y="4804299"/>
                </a:cubicBezTo>
                <a:close/>
                <a:moveTo>
                  <a:pt x="248024" y="4804299"/>
                </a:moveTo>
                <a:cubicBezTo>
                  <a:pt x="242168" y="4804299"/>
                  <a:pt x="239639" y="4806296"/>
                  <a:pt x="238042" y="4807893"/>
                </a:cubicBezTo>
                <a:cubicBezTo>
                  <a:pt x="235512" y="4810555"/>
                  <a:pt x="234448" y="4813351"/>
                  <a:pt x="234448" y="4817344"/>
                </a:cubicBezTo>
                <a:cubicBezTo>
                  <a:pt x="234448" y="4821471"/>
                  <a:pt x="235512" y="4824266"/>
                  <a:pt x="238042" y="4826795"/>
                </a:cubicBezTo>
                <a:cubicBezTo>
                  <a:pt x="239639" y="4828394"/>
                  <a:pt x="242168" y="4830257"/>
                  <a:pt x="248024" y="4830257"/>
                </a:cubicBezTo>
                <a:cubicBezTo>
                  <a:pt x="250154" y="4830257"/>
                  <a:pt x="251885" y="4829991"/>
                  <a:pt x="253349" y="4829325"/>
                </a:cubicBezTo>
                <a:cubicBezTo>
                  <a:pt x="254813" y="4828793"/>
                  <a:pt x="256144" y="4827861"/>
                  <a:pt x="257076" y="4826928"/>
                </a:cubicBezTo>
                <a:cubicBezTo>
                  <a:pt x="258141" y="4825730"/>
                  <a:pt x="259073" y="4824399"/>
                  <a:pt x="259739" y="4822669"/>
                </a:cubicBezTo>
                <a:cubicBezTo>
                  <a:pt x="260404" y="4821071"/>
                  <a:pt x="260804" y="4819207"/>
                  <a:pt x="260804" y="4817211"/>
                </a:cubicBezTo>
                <a:cubicBezTo>
                  <a:pt x="260804" y="4815347"/>
                  <a:pt x="260404" y="4813617"/>
                  <a:pt x="259739" y="4812020"/>
                </a:cubicBezTo>
                <a:cubicBezTo>
                  <a:pt x="259073" y="4810422"/>
                  <a:pt x="258141" y="4809091"/>
                  <a:pt x="257076" y="4807893"/>
                </a:cubicBezTo>
                <a:cubicBezTo>
                  <a:pt x="256011" y="4806828"/>
                  <a:pt x="254680" y="4805896"/>
                  <a:pt x="253083" y="4805230"/>
                </a:cubicBezTo>
                <a:cubicBezTo>
                  <a:pt x="251618" y="4804565"/>
                  <a:pt x="250021" y="4804299"/>
                  <a:pt x="248024" y="4804299"/>
                </a:cubicBezTo>
                <a:close/>
                <a:moveTo>
                  <a:pt x="30383" y="4804299"/>
                </a:moveTo>
                <a:cubicBezTo>
                  <a:pt x="24525" y="4804299"/>
                  <a:pt x="21996" y="4806296"/>
                  <a:pt x="20399" y="4807893"/>
                </a:cubicBezTo>
                <a:cubicBezTo>
                  <a:pt x="17870" y="4810555"/>
                  <a:pt x="16806" y="4813351"/>
                  <a:pt x="16806" y="4817344"/>
                </a:cubicBezTo>
                <a:cubicBezTo>
                  <a:pt x="16806" y="4821471"/>
                  <a:pt x="17870" y="4824266"/>
                  <a:pt x="20399" y="4826795"/>
                </a:cubicBezTo>
                <a:cubicBezTo>
                  <a:pt x="21996" y="4828394"/>
                  <a:pt x="24525" y="4830257"/>
                  <a:pt x="30383" y="4830257"/>
                </a:cubicBezTo>
                <a:cubicBezTo>
                  <a:pt x="32512" y="4830257"/>
                  <a:pt x="34244" y="4829991"/>
                  <a:pt x="35708" y="4829325"/>
                </a:cubicBezTo>
                <a:cubicBezTo>
                  <a:pt x="37172" y="4828793"/>
                  <a:pt x="38504" y="4827861"/>
                  <a:pt x="39435" y="4826928"/>
                </a:cubicBezTo>
                <a:cubicBezTo>
                  <a:pt x="40500" y="4825730"/>
                  <a:pt x="41432" y="4824399"/>
                  <a:pt x="42098" y="4822669"/>
                </a:cubicBezTo>
                <a:cubicBezTo>
                  <a:pt x="42763" y="4821071"/>
                  <a:pt x="43029" y="4819207"/>
                  <a:pt x="43029" y="4817211"/>
                </a:cubicBezTo>
                <a:cubicBezTo>
                  <a:pt x="43029" y="4815347"/>
                  <a:pt x="42763" y="4813617"/>
                  <a:pt x="42098" y="4812020"/>
                </a:cubicBezTo>
                <a:cubicBezTo>
                  <a:pt x="41432" y="4810422"/>
                  <a:pt x="40500" y="4809091"/>
                  <a:pt x="39435" y="4807893"/>
                </a:cubicBezTo>
                <a:cubicBezTo>
                  <a:pt x="38370" y="4806828"/>
                  <a:pt x="37039" y="4805896"/>
                  <a:pt x="35442" y="4805230"/>
                </a:cubicBezTo>
                <a:cubicBezTo>
                  <a:pt x="33978" y="4804565"/>
                  <a:pt x="32380" y="4804299"/>
                  <a:pt x="30383" y="4804299"/>
                </a:cubicBezTo>
                <a:close/>
                <a:moveTo>
                  <a:pt x="10475977" y="4787659"/>
                </a:moveTo>
                <a:cubicBezTo>
                  <a:pt x="10480237" y="4787659"/>
                  <a:pt x="10484230" y="4788458"/>
                  <a:pt x="10487824" y="4790321"/>
                </a:cubicBezTo>
                <a:cubicBezTo>
                  <a:pt x="10491419" y="4791919"/>
                  <a:pt x="10494613" y="4794049"/>
                  <a:pt x="10497143" y="4796711"/>
                </a:cubicBezTo>
                <a:cubicBezTo>
                  <a:pt x="10499672" y="4799240"/>
                  <a:pt x="10501801" y="4802435"/>
                  <a:pt x="10503266" y="4806029"/>
                </a:cubicBezTo>
                <a:cubicBezTo>
                  <a:pt x="10504730" y="4809624"/>
                  <a:pt x="10505529" y="4813351"/>
                  <a:pt x="10505529" y="4817477"/>
                </a:cubicBezTo>
                <a:cubicBezTo>
                  <a:pt x="10505529" y="4821604"/>
                  <a:pt x="10504730" y="4825597"/>
                  <a:pt x="10503266" y="4829192"/>
                </a:cubicBezTo>
                <a:cubicBezTo>
                  <a:pt x="10501669" y="4832787"/>
                  <a:pt x="10499672" y="4835848"/>
                  <a:pt x="10497143" y="4838511"/>
                </a:cubicBezTo>
                <a:cubicBezTo>
                  <a:pt x="10494480" y="4841173"/>
                  <a:pt x="10491419" y="4843303"/>
                  <a:pt x="10487824" y="4844767"/>
                </a:cubicBezTo>
                <a:cubicBezTo>
                  <a:pt x="10484098" y="4846231"/>
                  <a:pt x="10480237" y="4847030"/>
                  <a:pt x="10475977" y="4847030"/>
                </a:cubicBezTo>
                <a:cubicBezTo>
                  <a:pt x="10466924" y="4847030"/>
                  <a:pt x="10459736" y="4844102"/>
                  <a:pt x="10454145" y="4838511"/>
                </a:cubicBezTo>
                <a:cubicBezTo>
                  <a:pt x="10448554" y="4832920"/>
                  <a:pt x="10445759" y="4825730"/>
                  <a:pt x="10445759" y="4817344"/>
                </a:cubicBezTo>
                <a:cubicBezTo>
                  <a:pt x="10445759" y="4809091"/>
                  <a:pt x="10448554" y="4802036"/>
                  <a:pt x="10454145" y="4796312"/>
                </a:cubicBezTo>
                <a:cubicBezTo>
                  <a:pt x="10459603" y="4790455"/>
                  <a:pt x="10466924" y="4787659"/>
                  <a:pt x="10475977" y="4787659"/>
                </a:cubicBezTo>
                <a:close/>
                <a:moveTo>
                  <a:pt x="10258466" y="4787659"/>
                </a:moveTo>
                <a:cubicBezTo>
                  <a:pt x="10262592" y="4787659"/>
                  <a:pt x="10266586" y="4788458"/>
                  <a:pt x="10270313" y="4790321"/>
                </a:cubicBezTo>
                <a:cubicBezTo>
                  <a:pt x="10273907" y="4791919"/>
                  <a:pt x="10277101" y="4794049"/>
                  <a:pt x="10279631" y="4796711"/>
                </a:cubicBezTo>
                <a:cubicBezTo>
                  <a:pt x="10282160" y="4799240"/>
                  <a:pt x="10284290" y="4802435"/>
                  <a:pt x="10285754" y="4806029"/>
                </a:cubicBezTo>
                <a:cubicBezTo>
                  <a:pt x="10287218" y="4809624"/>
                  <a:pt x="10288017" y="4813351"/>
                  <a:pt x="10288017" y="4817477"/>
                </a:cubicBezTo>
                <a:cubicBezTo>
                  <a:pt x="10288017" y="4821604"/>
                  <a:pt x="10287218" y="4825597"/>
                  <a:pt x="10285754" y="4829192"/>
                </a:cubicBezTo>
                <a:cubicBezTo>
                  <a:pt x="10284157" y="4832787"/>
                  <a:pt x="10282160" y="4835848"/>
                  <a:pt x="10279631" y="4838511"/>
                </a:cubicBezTo>
                <a:cubicBezTo>
                  <a:pt x="10276969" y="4841173"/>
                  <a:pt x="10273907" y="4843303"/>
                  <a:pt x="10270313" y="4844767"/>
                </a:cubicBezTo>
                <a:cubicBezTo>
                  <a:pt x="10266586" y="4846231"/>
                  <a:pt x="10262725" y="4847030"/>
                  <a:pt x="10258466" y="4847030"/>
                </a:cubicBezTo>
                <a:cubicBezTo>
                  <a:pt x="10249546" y="4847030"/>
                  <a:pt x="10242224" y="4844102"/>
                  <a:pt x="10236633" y="4838511"/>
                </a:cubicBezTo>
                <a:cubicBezTo>
                  <a:pt x="10231043" y="4832920"/>
                  <a:pt x="10228247" y="4825730"/>
                  <a:pt x="10228247" y="4817344"/>
                </a:cubicBezTo>
                <a:cubicBezTo>
                  <a:pt x="10228247" y="4809091"/>
                  <a:pt x="10231043" y="4802036"/>
                  <a:pt x="10236633" y="4796312"/>
                </a:cubicBezTo>
                <a:cubicBezTo>
                  <a:pt x="10242092" y="4790455"/>
                  <a:pt x="10249413" y="4787659"/>
                  <a:pt x="10258466" y="4787659"/>
                </a:cubicBezTo>
                <a:close/>
                <a:moveTo>
                  <a:pt x="10040820" y="4787659"/>
                </a:moveTo>
                <a:cubicBezTo>
                  <a:pt x="10045080" y="4787659"/>
                  <a:pt x="10048941" y="4788458"/>
                  <a:pt x="10052534" y="4790321"/>
                </a:cubicBezTo>
                <a:cubicBezTo>
                  <a:pt x="10056129" y="4791919"/>
                  <a:pt x="10059323" y="4794049"/>
                  <a:pt x="10061852" y="4796711"/>
                </a:cubicBezTo>
                <a:cubicBezTo>
                  <a:pt x="10064382" y="4799240"/>
                  <a:pt x="10066512" y="4802435"/>
                  <a:pt x="10067976" y="4806029"/>
                </a:cubicBezTo>
                <a:cubicBezTo>
                  <a:pt x="10069440" y="4809624"/>
                  <a:pt x="10070239" y="4813351"/>
                  <a:pt x="10070239" y="4817477"/>
                </a:cubicBezTo>
                <a:cubicBezTo>
                  <a:pt x="10070239" y="4821604"/>
                  <a:pt x="10069440" y="4825597"/>
                  <a:pt x="10067976" y="4829192"/>
                </a:cubicBezTo>
                <a:cubicBezTo>
                  <a:pt x="10066379" y="4832787"/>
                  <a:pt x="10064382" y="4835848"/>
                  <a:pt x="10061852" y="4838511"/>
                </a:cubicBezTo>
                <a:cubicBezTo>
                  <a:pt x="10059190" y="4841173"/>
                  <a:pt x="10056129" y="4843303"/>
                  <a:pt x="10052534" y="4844767"/>
                </a:cubicBezTo>
                <a:cubicBezTo>
                  <a:pt x="10048941" y="4846231"/>
                  <a:pt x="10045080" y="4847030"/>
                  <a:pt x="10040820" y="4847030"/>
                </a:cubicBezTo>
                <a:cubicBezTo>
                  <a:pt x="10031767" y="4847030"/>
                  <a:pt x="10024579" y="4844102"/>
                  <a:pt x="10018988" y="4838511"/>
                </a:cubicBezTo>
                <a:cubicBezTo>
                  <a:pt x="10013397" y="4832920"/>
                  <a:pt x="10010602" y="4825730"/>
                  <a:pt x="10010602" y="4817344"/>
                </a:cubicBezTo>
                <a:cubicBezTo>
                  <a:pt x="10010602" y="4809091"/>
                  <a:pt x="10013397" y="4802036"/>
                  <a:pt x="10018988" y="4796312"/>
                </a:cubicBezTo>
                <a:cubicBezTo>
                  <a:pt x="10024579" y="4790455"/>
                  <a:pt x="10031767" y="4787659"/>
                  <a:pt x="10040820" y="4787659"/>
                </a:cubicBezTo>
                <a:close/>
                <a:moveTo>
                  <a:pt x="9823176" y="4787659"/>
                </a:moveTo>
                <a:cubicBezTo>
                  <a:pt x="9827435" y="4787659"/>
                  <a:pt x="9831296" y="4788458"/>
                  <a:pt x="9834890" y="4790321"/>
                </a:cubicBezTo>
                <a:cubicBezTo>
                  <a:pt x="9838617" y="4791919"/>
                  <a:pt x="9841679" y="4794049"/>
                  <a:pt x="9844208" y="4796711"/>
                </a:cubicBezTo>
                <a:cubicBezTo>
                  <a:pt x="9846737" y="4799240"/>
                  <a:pt x="9848867" y="4802435"/>
                  <a:pt x="9850331" y="4806029"/>
                </a:cubicBezTo>
                <a:cubicBezTo>
                  <a:pt x="9851796" y="4809624"/>
                  <a:pt x="9852595" y="4813351"/>
                  <a:pt x="9852595" y="4817477"/>
                </a:cubicBezTo>
                <a:cubicBezTo>
                  <a:pt x="9852595" y="4821604"/>
                  <a:pt x="9851796" y="4825597"/>
                  <a:pt x="9850331" y="4829192"/>
                </a:cubicBezTo>
                <a:cubicBezTo>
                  <a:pt x="9848734" y="4832787"/>
                  <a:pt x="9846737" y="4835848"/>
                  <a:pt x="9844208" y="4838511"/>
                </a:cubicBezTo>
                <a:cubicBezTo>
                  <a:pt x="9841546" y="4841173"/>
                  <a:pt x="9838484" y="4843303"/>
                  <a:pt x="9834890" y="4844767"/>
                </a:cubicBezTo>
                <a:cubicBezTo>
                  <a:pt x="9831296" y="4846231"/>
                  <a:pt x="9827435" y="4847030"/>
                  <a:pt x="9823176" y="4847030"/>
                </a:cubicBezTo>
                <a:cubicBezTo>
                  <a:pt x="9814123" y="4847030"/>
                  <a:pt x="9806935" y="4844102"/>
                  <a:pt x="9801343" y="4838511"/>
                </a:cubicBezTo>
                <a:cubicBezTo>
                  <a:pt x="9795753" y="4832920"/>
                  <a:pt x="9792957" y="4825730"/>
                  <a:pt x="9792957" y="4817344"/>
                </a:cubicBezTo>
                <a:cubicBezTo>
                  <a:pt x="9792957" y="4809091"/>
                  <a:pt x="9795753" y="4802036"/>
                  <a:pt x="9801343" y="4796312"/>
                </a:cubicBezTo>
                <a:cubicBezTo>
                  <a:pt x="9806935" y="4790455"/>
                  <a:pt x="9814123" y="4787659"/>
                  <a:pt x="9823176" y="4787659"/>
                </a:cubicBezTo>
                <a:close/>
                <a:moveTo>
                  <a:pt x="9605531" y="4787659"/>
                </a:moveTo>
                <a:cubicBezTo>
                  <a:pt x="9609790" y="4787659"/>
                  <a:pt x="9613784" y="4788458"/>
                  <a:pt x="9617245" y="4790321"/>
                </a:cubicBezTo>
                <a:cubicBezTo>
                  <a:pt x="9620839" y="4791919"/>
                  <a:pt x="9624033" y="4794049"/>
                  <a:pt x="9626562" y="4796711"/>
                </a:cubicBezTo>
                <a:cubicBezTo>
                  <a:pt x="9629092" y="4799240"/>
                  <a:pt x="9631222" y="4802435"/>
                  <a:pt x="9632686" y="4806029"/>
                </a:cubicBezTo>
                <a:cubicBezTo>
                  <a:pt x="9634150" y="4809624"/>
                  <a:pt x="9634949" y="4813351"/>
                  <a:pt x="9634949" y="4817477"/>
                </a:cubicBezTo>
                <a:cubicBezTo>
                  <a:pt x="9634949" y="4821604"/>
                  <a:pt x="9634150" y="4825597"/>
                  <a:pt x="9632686" y="4829192"/>
                </a:cubicBezTo>
                <a:cubicBezTo>
                  <a:pt x="9631089" y="4832787"/>
                  <a:pt x="9629092" y="4835848"/>
                  <a:pt x="9626562" y="4838511"/>
                </a:cubicBezTo>
                <a:cubicBezTo>
                  <a:pt x="9623901" y="4841173"/>
                  <a:pt x="9620839" y="4843303"/>
                  <a:pt x="9617245" y="4844767"/>
                </a:cubicBezTo>
                <a:cubicBezTo>
                  <a:pt x="9613651" y="4846231"/>
                  <a:pt x="9609790" y="4847030"/>
                  <a:pt x="9605531" y="4847030"/>
                </a:cubicBezTo>
                <a:cubicBezTo>
                  <a:pt x="9596610" y="4847030"/>
                  <a:pt x="9589289" y="4844102"/>
                  <a:pt x="9583698" y="4838511"/>
                </a:cubicBezTo>
                <a:cubicBezTo>
                  <a:pt x="9578108" y="4832920"/>
                  <a:pt x="9575312" y="4825730"/>
                  <a:pt x="9575312" y="4817344"/>
                </a:cubicBezTo>
                <a:cubicBezTo>
                  <a:pt x="9575312" y="4809091"/>
                  <a:pt x="9578108" y="4802036"/>
                  <a:pt x="9583698" y="4796312"/>
                </a:cubicBezTo>
                <a:cubicBezTo>
                  <a:pt x="9589289" y="4790455"/>
                  <a:pt x="9596478" y="4787659"/>
                  <a:pt x="9605531" y="4787659"/>
                </a:cubicBezTo>
                <a:close/>
                <a:moveTo>
                  <a:pt x="9387885" y="4787659"/>
                </a:moveTo>
                <a:cubicBezTo>
                  <a:pt x="9392145" y="4787659"/>
                  <a:pt x="9396138" y="4788458"/>
                  <a:pt x="9399599" y="4790321"/>
                </a:cubicBezTo>
                <a:cubicBezTo>
                  <a:pt x="9403194" y="4791919"/>
                  <a:pt x="9406388" y="4794049"/>
                  <a:pt x="9408917" y="4796711"/>
                </a:cubicBezTo>
                <a:cubicBezTo>
                  <a:pt x="9411447" y="4799240"/>
                  <a:pt x="9413576" y="4802435"/>
                  <a:pt x="9415041" y="4806029"/>
                </a:cubicBezTo>
                <a:cubicBezTo>
                  <a:pt x="9416505" y="4809624"/>
                  <a:pt x="9417304" y="4813351"/>
                  <a:pt x="9417304" y="4817477"/>
                </a:cubicBezTo>
                <a:cubicBezTo>
                  <a:pt x="9417304" y="4821604"/>
                  <a:pt x="9416505" y="4825597"/>
                  <a:pt x="9415041" y="4829192"/>
                </a:cubicBezTo>
                <a:cubicBezTo>
                  <a:pt x="9413444" y="4832787"/>
                  <a:pt x="9411447" y="4835848"/>
                  <a:pt x="9408917" y="4838511"/>
                </a:cubicBezTo>
                <a:cubicBezTo>
                  <a:pt x="9406255" y="4841173"/>
                  <a:pt x="9403194" y="4843303"/>
                  <a:pt x="9399599" y="4844767"/>
                </a:cubicBezTo>
                <a:cubicBezTo>
                  <a:pt x="9396005" y="4846231"/>
                  <a:pt x="9392145" y="4847030"/>
                  <a:pt x="9387885" y="4847030"/>
                </a:cubicBezTo>
                <a:cubicBezTo>
                  <a:pt x="9378965" y="4847030"/>
                  <a:pt x="9371644" y="4844102"/>
                  <a:pt x="9366053" y="4838511"/>
                </a:cubicBezTo>
                <a:cubicBezTo>
                  <a:pt x="9360462" y="4832920"/>
                  <a:pt x="9357667" y="4825730"/>
                  <a:pt x="9357667" y="4817344"/>
                </a:cubicBezTo>
                <a:cubicBezTo>
                  <a:pt x="9357667" y="4809091"/>
                  <a:pt x="9360462" y="4802036"/>
                  <a:pt x="9366053" y="4796312"/>
                </a:cubicBezTo>
                <a:cubicBezTo>
                  <a:pt x="9371644" y="4790455"/>
                  <a:pt x="9378832" y="4787659"/>
                  <a:pt x="9387885" y="4787659"/>
                </a:cubicBezTo>
                <a:close/>
                <a:moveTo>
                  <a:pt x="9170374" y="4787659"/>
                </a:moveTo>
                <a:cubicBezTo>
                  <a:pt x="9174500" y="4787659"/>
                  <a:pt x="9178494" y="4788458"/>
                  <a:pt x="9182088" y="4790321"/>
                </a:cubicBezTo>
                <a:cubicBezTo>
                  <a:pt x="9185682" y="4791919"/>
                  <a:pt x="9188876" y="4794049"/>
                  <a:pt x="9191405" y="4796711"/>
                </a:cubicBezTo>
                <a:cubicBezTo>
                  <a:pt x="9193935" y="4799240"/>
                  <a:pt x="9196065" y="4802435"/>
                  <a:pt x="9197529" y="4806029"/>
                </a:cubicBezTo>
                <a:cubicBezTo>
                  <a:pt x="9198993" y="4809624"/>
                  <a:pt x="9199792" y="4813351"/>
                  <a:pt x="9199792" y="4817477"/>
                </a:cubicBezTo>
                <a:cubicBezTo>
                  <a:pt x="9199792" y="4821604"/>
                  <a:pt x="9198993" y="4825597"/>
                  <a:pt x="9197529" y="4829192"/>
                </a:cubicBezTo>
                <a:cubicBezTo>
                  <a:pt x="9195932" y="4832787"/>
                  <a:pt x="9193935" y="4835848"/>
                  <a:pt x="9191405" y="4838511"/>
                </a:cubicBezTo>
                <a:cubicBezTo>
                  <a:pt x="9188744" y="4841173"/>
                  <a:pt x="9185682" y="4843303"/>
                  <a:pt x="9182088" y="4844767"/>
                </a:cubicBezTo>
                <a:cubicBezTo>
                  <a:pt x="9178494" y="4846231"/>
                  <a:pt x="9174633" y="4847030"/>
                  <a:pt x="9170374" y="4847030"/>
                </a:cubicBezTo>
                <a:cubicBezTo>
                  <a:pt x="9161453" y="4847030"/>
                  <a:pt x="9154132" y="4844102"/>
                  <a:pt x="9148541" y="4838511"/>
                </a:cubicBezTo>
                <a:cubicBezTo>
                  <a:pt x="9142951" y="4832920"/>
                  <a:pt x="9140155" y="4825730"/>
                  <a:pt x="9140155" y="4817344"/>
                </a:cubicBezTo>
                <a:cubicBezTo>
                  <a:pt x="9140155" y="4809091"/>
                  <a:pt x="9142951" y="4802036"/>
                  <a:pt x="9148541" y="4796312"/>
                </a:cubicBezTo>
                <a:cubicBezTo>
                  <a:pt x="9154132" y="4790455"/>
                  <a:pt x="9161321" y="4787659"/>
                  <a:pt x="9170374" y="4787659"/>
                </a:cubicBezTo>
                <a:close/>
                <a:moveTo>
                  <a:pt x="8952728" y="4787659"/>
                </a:moveTo>
                <a:cubicBezTo>
                  <a:pt x="8956988" y="4787659"/>
                  <a:pt x="8960849" y="4788458"/>
                  <a:pt x="8964442" y="4790321"/>
                </a:cubicBezTo>
                <a:cubicBezTo>
                  <a:pt x="8968037" y="4791919"/>
                  <a:pt x="8971231" y="4794049"/>
                  <a:pt x="8973760" y="4796711"/>
                </a:cubicBezTo>
                <a:cubicBezTo>
                  <a:pt x="8976290" y="4799240"/>
                  <a:pt x="8978419" y="4802435"/>
                  <a:pt x="8979884" y="4806029"/>
                </a:cubicBezTo>
                <a:cubicBezTo>
                  <a:pt x="8981348" y="4809624"/>
                  <a:pt x="8982147" y="4813351"/>
                  <a:pt x="8982147" y="4817477"/>
                </a:cubicBezTo>
                <a:cubicBezTo>
                  <a:pt x="8982147" y="4821604"/>
                  <a:pt x="8981348" y="4825597"/>
                  <a:pt x="8979884" y="4829192"/>
                </a:cubicBezTo>
                <a:cubicBezTo>
                  <a:pt x="8978287" y="4832787"/>
                  <a:pt x="8976290" y="4835848"/>
                  <a:pt x="8973760" y="4838511"/>
                </a:cubicBezTo>
                <a:cubicBezTo>
                  <a:pt x="8971098" y="4841173"/>
                  <a:pt x="8968037" y="4843303"/>
                  <a:pt x="8964442" y="4844767"/>
                </a:cubicBezTo>
                <a:cubicBezTo>
                  <a:pt x="8960849" y="4846231"/>
                  <a:pt x="8956988" y="4847030"/>
                  <a:pt x="8952728" y="4847030"/>
                </a:cubicBezTo>
                <a:cubicBezTo>
                  <a:pt x="8943808" y="4847030"/>
                  <a:pt x="8936487" y="4844102"/>
                  <a:pt x="8930896" y="4838511"/>
                </a:cubicBezTo>
                <a:cubicBezTo>
                  <a:pt x="8925305" y="4832920"/>
                  <a:pt x="8922510" y="4825730"/>
                  <a:pt x="8922510" y="4817344"/>
                </a:cubicBezTo>
                <a:cubicBezTo>
                  <a:pt x="8922510" y="4809091"/>
                  <a:pt x="8925305" y="4802036"/>
                  <a:pt x="8930896" y="4796312"/>
                </a:cubicBezTo>
                <a:cubicBezTo>
                  <a:pt x="8936487" y="4790455"/>
                  <a:pt x="8943675" y="4787659"/>
                  <a:pt x="8952728" y="4787659"/>
                </a:cubicBezTo>
                <a:close/>
                <a:moveTo>
                  <a:pt x="8735083" y="4787659"/>
                </a:moveTo>
                <a:cubicBezTo>
                  <a:pt x="8739342" y="4787659"/>
                  <a:pt x="8743203" y="4788458"/>
                  <a:pt x="8746797" y="4790321"/>
                </a:cubicBezTo>
                <a:cubicBezTo>
                  <a:pt x="8750391" y="4791919"/>
                  <a:pt x="8753586" y="4794049"/>
                  <a:pt x="8756115" y="4796711"/>
                </a:cubicBezTo>
                <a:cubicBezTo>
                  <a:pt x="8758644" y="4799240"/>
                  <a:pt x="8760774" y="4802435"/>
                  <a:pt x="8762238" y="4806029"/>
                </a:cubicBezTo>
                <a:cubicBezTo>
                  <a:pt x="8763702" y="4809624"/>
                  <a:pt x="8764502" y="4813351"/>
                  <a:pt x="8764502" y="4817477"/>
                </a:cubicBezTo>
                <a:cubicBezTo>
                  <a:pt x="8764502" y="4821604"/>
                  <a:pt x="8763702" y="4825597"/>
                  <a:pt x="8762238" y="4829192"/>
                </a:cubicBezTo>
                <a:cubicBezTo>
                  <a:pt x="8760641" y="4832787"/>
                  <a:pt x="8758644" y="4835848"/>
                  <a:pt x="8756115" y="4838511"/>
                </a:cubicBezTo>
                <a:cubicBezTo>
                  <a:pt x="8753453" y="4841173"/>
                  <a:pt x="8750391" y="4843303"/>
                  <a:pt x="8746797" y="4844767"/>
                </a:cubicBezTo>
                <a:cubicBezTo>
                  <a:pt x="8743203" y="4846231"/>
                  <a:pt x="8739342" y="4847030"/>
                  <a:pt x="8735083" y="4847030"/>
                </a:cubicBezTo>
                <a:cubicBezTo>
                  <a:pt x="8726030" y="4847030"/>
                  <a:pt x="8718841" y="4844102"/>
                  <a:pt x="8713250" y="4838511"/>
                </a:cubicBezTo>
                <a:cubicBezTo>
                  <a:pt x="8707660" y="4832920"/>
                  <a:pt x="8704864" y="4825730"/>
                  <a:pt x="8704864" y="4817344"/>
                </a:cubicBezTo>
                <a:cubicBezTo>
                  <a:pt x="8704864" y="4809091"/>
                  <a:pt x="8707660" y="4802036"/>
                  <a:pt x="8713250" y="4796312"/>
                </a:cubicBezTo>
                <a:cubicBezTo>
                  <a:pt x="8718841" y="4790455"/>
                  <a:pt x="8726030" y="4787659"/>
                  <a:pt x="8735083" y="4787659"/>
                </a:cubicBezTo>
                <a:close/>
                <a:moveTo>
                  <a:pt x="8517438" y="4787659"/>
                </a:moveTo>
                <a:cubicBezTo>
                  <a:pt x="8521698" y="4787659"/>
                  <a:pt x="8525559" y="4788458"/>
                  <a:pt x="8529152" y="4790321"/>
                </a:cubicBezTo>
                <a:cubicBezTo>
                  <a:pt x="8532880" y="4791919"/>
                  <a:pt x="8535941" y="4794049"/>
                  <a:pt x="8538470" y="4796711"/>
                </a:cubicBezTo>
                <a:cubicBezTo>
                  <a:pt x="8541000" y="4799240"/>
                  <a:pt x="8543130" y="4802435"/>
                  <a:pt x="8544594" y="4806029"/>
                </a:cubicBezTo>
                <a:cubicBezTo>
                  <a:pt x="8546058" y="4809624"/>
                  <a:pt x="8546857" y="4813351"/>
                  <a:pt x="8546857" y="4817477"/>
                </a:cubicBezTo>
                <a:cubicBezTo>
                  <a:pt x="8546857" y="4821604"/>
                  <a:pt x="8546058" y="4825597"/>
                  <a:pt x="8544594" y="4829192"/>
                </a:cubicBezTo>
                <a:cubicBezTo>
                  <a:pt x="8542997" y="4832787"/>
                  <a:pt x="8541000" y="4835848"/>
                  <a:pt x="8538470" y="4838511"/>
                </a:cubicBezTo>
                <a:cubicBezTo>
                  <a:pt x="8535808" y="4841173"/>
                  <a:pt x="8532747" y="4843303"/>
                  <a:pt x="8529152" y="4844767"/>
                </a:cubicBezTo>
                <a:cubicBezTo>
                  <a:pt x="8525559" y="4846231"/>
                  <a:pt x="8521698" y="4847030"/>
                  <a:pt x="8517438" y="4847030"/>
                </a:cubicBezTo>
                <a:cubicBezTo>
                  <a:pt x="8508385" y="4847030"/>
                  <a:pt x="8501197" y="4844102"/>
                  <a:pt x="8495606" y="4838511"/>
                </a:cubicBezTo>
                <a:cubicBezTo>
                  <a:pt x="8490015" y="4832920"/>
                  <a:pt x="8487220" y="4825730"/>
                  <a:pt x="8487220" y="4817344"/>
                </a:cubicBezTo>
                <a:cubicBezTo>
                  <a:pt x="8487220" y="4809091"/>
                  <a:pt x="8490015" y="4802036"/>
                  <a:pt x="8495606" y="4796312"/>
                </a:cubicBezTo>
                <a:cubicBezTo>
                  <a:pt x="8501197" y="4790455"/>
                  <a:pt x="8508385" y="4787659"/>
                  <a:pt x="8517438" y="4787659"/>
                </a:cubicBezTo>
                <a:close/>
                <a:moveTo>
                  <a:pt x="8299793" y="4787659"/>
                </a:moveTo>
                <a:cubicBezTo>
                  <a:pt x="8304052" y="4787659"/>
                  <a:pt x="8308046" y="4788458"/>
                  <a:pt x="8311507" y="4790321"/>
                </a:cubicBezTo>
                <a:cubicBezTo>
                  <a:pt x="8315235" y="4791919"/>
                  <a:pt x="8318296" y="4794049"/>
                  <a:pt x="8320825" y="4796711"/>
                </a:cubicBezTo>
                <a:cubicBezTo>
                  <a:pt x="8323354" y="4799240"/>
                  <a:pt x="8325484" y="4802435"/>
                  <a:pt x="8326948" y="4806029"/>
                </a:cubicBezTo>
                <a:cubicBezTo>
                  <a:pt x="8328413" y="4809624"/>
                  <a:pt x="8329212" y="4813351"/>
                  <a:pt x="8329212" y="4817477"/>
                </a:cubicBezTo>
                <a:cubicBezTo>
                  <a:pt x="8329212" y="4821604"/>
                  <a:pt x="8328413" y="4825597"/>
                  <a:pt x="8326948" y="4829192"/>
                </a:cubicBezTo>
                <a:cubicBezTo>
                  <a:pt x="8325351" y="4832787"/>
                  <a:pt x="8323354" y="4835848"/>
                  <a:pt x="8320825" y="4838511"/>
                </a:cubicBezTo>
                <a:cubicBezTo>
                  <a:pt x="8318163" y="4841173"/>
                  <a:pt x="8315101" y="4843303"/>
                  <a:pt x="8311507" y="4844767"/>
                </a:cubicBezTo>
                <a:cubicBezTo>
                  <a:pt x="8307913" y="4846231"/>
                  <a:pt x="8304052" y="4847030"/>
                  <a:pt x="8299793" y="4847030"/>
                </a:cubicBezTo>
                <a:cubicBezTo>
                  <a:pt x="8290874" y="4847030"/>
                  <a:pt x="8283553" y="4844102"/>
                  <a:pt x="8277960" y="4838511"/>
                </a:cubicBezTo>
                <a:cubicBezTo>
                  <a:pt x="8272370" y="4832920"/>
                  <a:pt x="8269574" y="4825730"/>
                  <a:pt x="8269574" y="4817344"/>
                </a:cubicBezTo>
                <a:cubicBezTo>
                  <a:pt x="8269574" y="4809091"/>
                  <a:pt x="8272370" y="4802036"/>
                  <a:pt x="8277960" y="4796312"/>
                </a:cubicBezTo>
                <a:cubicBezTo>
                  <a:pt x="8283553" y="4790455"/>
                  <a:pt x="8290741" y="4787659"/>
                  <a:pt x="8299793" y="4787659"/>
                </a:cubicBezTo>
                <a:close/>
                <a:moveTo>
                  <a:pt x="8082281" y="4787659"/>
                </a:moveTo>
                <a:cubicBezTo>
                  <a:pt x="8086407" y="4787659"/>
                  <a:pt x="8090401" y="4788458"/>
                  <a:pt x="8094127" y="4790321"/>
                </a:cubicBezTo>
                <a:cubicBezTo>
                  <a:pt x="8097855" y="4791919"/>
                  <a:pt x="8100916" y="4794049"/>
                  <a:pt x="8103446" y="4796711"/>
                </a:cubicBezTo>
                <a:cubicBezTo>
                  <a:pt x="8105975" y="4799240"/>
                  <a:pt x="8108104" y="4802435"/>
                  <a:pt x="8109569" y="4806029"/>
                </a:cubicBezTo>
                <a:cubicBezTo>
                  <a:pt x="8111033" y="4809624"/>
                  <a:pt x="8111832" y="4813351"/>
                  <a:pt x="8111832" y="4817477"/>
                </a:cubicBezTo>
                <a:cubicBezTo>
                  <a:pt x="8111832" y="4821604"/>
                  <a:pt x="8111033" y="4825597"/>
                  <a:pt x="8109569" y="4829192"/>
                </a:cubicBezTo>
                <a:cubicBezTo>
                  <a:pt x="8107972" y="4832787"/>
                  <a:pt x="8105975" y="4835848"/>
                  <a:pt x="8103446" y="4838511"/>
                </a:cubicBezTo>
                <a:cubicBezTo>
                  <a:pt x="8100783" y="4841173"/>
                  <a:pt x="8097722" y="4843303"/>
                  <a:pt x="8094127" y="4844767"/>
                </a:cubicBezTo>
                <a:cubicBezTo>
                  <a:pt x="8090401" y="4846231"/>
                  <a:pt x="8086540" y="4847030"/>
                  <a:pt x="8082281" y="4847030"/>
                </a:cubicBezTo>
                <a:cubicBezTo>
                  <a:pt x="8073361" y="4847030"/>
                  <a:pt x="8066040" y="4844102"/>
                  <a:pt x="8060448" y="4838511"/>
                </a:cubicBezTo>
                <a:cubicBezTo>
                  <a:pt x="8054857" y="4832920"/>
                  <a:pt x="8052062" y="4825730"/>
                  <a:pt x="8052062" y="4817344"/>
                </a:cubicBezTo>
                <a:cubicBezTo>
                  <a:pt x="8052062" y="4809091"/>
                  <a:pt x="8054857" y="4802036"/>
                  <a:pt x="8060448" y="4796312"/>
                </a:cubicBezTo>
                <a:cubicBezTo>
                  <a:pt x="8066040" y="4790455"/>
                  <a:pt x="8073228" y="4787659"/>
                  <a:pt x="8082281" y="4787659"/>
                </a:cubicBezTo>
                <a:close/>
                <a:moveTo>
                  <a:pt x="7864636" y="4787659"/>
                </a:moveTo>
                <a:cubicBezTo>
                  <a:pt x="7868762" y="4787659"/>
                  <a:pt x="7872756" y="4788458"/>
                  <a:pt x="7876483" y="4790321"/>
                </a:cubicBezTo>
                <a:cubicBezTo>
                  <a:pt x="7880210" y="4791919"/>
                  <a:pt x="7883272" y="4794049"/>
                  <a:pt x="7885802" y="4796711"/>
                </a:cubicBezTo>
                <a:cubicBezTo>
                  <a:pt x="7888331" y="4799240"/>
                  <a:pt x="7890460" y="4802435"/>
                  <a:pt x="7891924" y="4806029"/>
                </a:cubicBezTo>
                <a:cubicBezTo>
                  <a:pt x="7893389" y="4809624"/>
                  <a:pt x="7894188" y="4813351"/>
                  <a:pt x="7894188" y="4817477"/>
                </a:cubicBezTo>
                <a:cubicBezTo>
                  <a:pt x="7894188" y="4821604"/>
                  <a:pt x="7893389" y="4825597"/>
                  <a:pt x="7891924" y="4829192"/>
                </a:cubicBezTo>
                <a:cubicBezTo>
                  <a:pt x="7890327" y="4832787"/>
                  <a:pt x="7888331" y="4835848"/>
                  <a:pt x="7885802" y="4838511"/>
                </a:cubicBezTo>
                <a:cubicBezTo>
                  <a:pt x="7883139" y="4841173"/>
                  <a:pt x="7880078" y="4843303"/>
                  <a:pt x="7876483" y="4844767"/>
                </a:cubicBezTo>
                <a:cubicBezTo>
                  <a:pt x="7872756" y="4846231"/>
                  <a:pt x="7868895" y="4847030"/>
                  <a:pt x="7864636" y="4847030"/>
                </a:cubicBezTo>
                <a:cubicBezTo>
                  <a:pt x="7855717" y="4847030"/>
                  <a:pt x="7848396" y="4844102"/>
                  <a:pt x="7842803" y="4838511"/>
                </a:cubicBezTo>
                <a:cubicBezTo>
                  <a:pt x="7837213" y="4832920"/>
                  <a:pt x="7834417" y="4825730"/>
                  <a:pt x="7834417" y="4817344"/>
                </a:cubicBezTo>
                <a:cubicBezTo>
                  <a:pt x="7834417" y="4809091"/>
                  <a:pt x="7837213" y="4802036"/>
                  <a:pt x="7842803" y="4796312"/>
                </a:cubicBezTo>
                <a:cubicBezTo>
                  <a:pt x="7848396" y="4790455"/>
                  <a:pt x="7855584" y="4787659"/>
                  <a:pt x="7864636" y="4787659"/>
                </a:cubicBezTo>
                <a:close/>
                <a:moveTo>
                  <a:pt x="7646991" y="4787659"/>
                </a:moveTo>
                <a:cubicBezTo>
                  <a:pt x="7651250" y="4787659"/>
                  <a:pt x="7655111" y="4788458"/>
                  <a:pt x="7658705" y="4790321"/>
                </a:cubicBezTo>
                <a:cubicBezTo>
                  <a:pt x="7662432" y="4791919"/>
                  <a:pt x="7665493" y="4794049"/>
                  <a:pt x="7668022" y="4796711"/>
                </a:cubicBezTo>
                <a:cubicBezTo>
                  <a:pt x="7670552" y="4799240"/>
                  <a:pt x="7672682" y="4802435"/>
                  <a:pt x="7674146" y="4806029"/>
                </a:cubicBezTo>
                <a:cubicBezTo>
                  <a:pt x="7675610" y="4809624"/>
                  <a:pt x="7676409" y="4813351"/>
                  <a:pt x="7676409" y="4817477"/>
                </a:cubicBezTo>
                <a:cubicBezTo>
                  <a:pt x="7676409" y="4821604"/>
                  <a:pt x="7675610" y="4825597"/>
                  <a:pt x="7674146" y="4829192"/>
                </a:cubicBezTo>
                <a:cubicBezTo>
                  <a:pt x="7672549" y="4832787"/>
                  <a:pt x="7670552" y="4835848"/>
                  <a:pt x="7668022" y="4838511"/>
                </a:cubicBezTo>
                <a:cubicBezTo>
                  <a:pt x="7665361" y="4841173"/>
                  <a:pt x="7662299" y="4843303"/>
                  <a:pt x="7658705" y="4844767"/>
                </a:cubicBezTo>
                <a:cubicBezTo>
                  <a:pt x="7655111" y="4846231"/>
                  <a:pt x="7651250" y="4847030"/>
                  <a:pt x="7646991" y="4847030"/>
                </a:cubicBezTo>
                <a:cubicBezTo>
                  <a:pt x="7638071" y="4847030"/>
                  <a:pt x="7630750" y="4844102"/>
                  <a:pt x="7625158" y="4838511"/>
                </a:cubicBezTo>
                <a:cubicBezTo>
                  <a:pt x="7619568" y="4832920"/>
                  <a:pt x="7616772" y="4825730"/>
                  <a:pt x="7616772" y="4817344"/>
                </a:cubicBezTo>
                <a:cubicBezTo>
                  <a:pt x="7616772" y="4809091"/>
                  <a:pt x="7619568" y="4802036"/>
                  <a:pt x="7625158" y="4796312"/>
                </a:cubicBezTo>
                <a:cubicBezTo>
                  <a:pt x="7630750" y="4790455"/>
                  <a:pt x="7637939" y="4787659"/>
                  <a:pt x="7646991" y="4787659"/>
                </a:cubicBezTo>
                <a:close/>
                <a:moveTo>
                  <a:pt x="7429345" y="4787659"/>
                </a:moveTo>
                <a:cubicBezTo>
                  <a:pt x="7433605" y="4787659"/>
                  <a:pt x="7437466" y="4788458"/>
                  <a:pt x="7441059" y="4790321"/>
                </a:cubicBezTo>
                <a:cubicBezTo>
                  <a:pt x="7444787" y="4791919"/>
                  <a:pt x="7447848" y="4794049"/>
                  <a:pt x="7450377" y="4796711"/>
                </a:cubicBezTo>
                <a:cubicBezTo>
                  <a:pt x="7452907" y="4799240"/>
                  <a:pt x="7455036" y="4802435"/>
                  <a:pt x="7456501" y="4806029"/>
                </a:cubicBezTo>
                <a:cubicBezTo>
                  <a:pt x="7457965" y="4809624"/>
                  <a:pt x="7458764" y="4813351"/>
                  <a:pt x="7458764" y="4817477"/>
                </a:cubicBezTo>
                <a:cubicBezTo>
                  <a:pt x="7458764" y="4821604"/>
                  <a:pt x="7457965" y="4825597"/>
                  <a:pt x="7456501" y="4829192"/>
                </a:cubicBezTo>
                <a:cubicBezTo>
                  <a:pt x="7454904" y="4832787"/>
                  <a:pt x="7452907" y="4835848"/>
                  <a:pt x="7450377" y="4838511"/>
                </a:cubicBezTo>
                <a:cubicBezTo>
                  <a:pt x="7447715" y="4841173"/>
                  <a:pt x="7444654" y="4843303"/>
                  <a:pt x="7441059" y="4844767"/>
                </a:cubicBezTo>
                <a:cubicBezTo>
                  <a:pt x="7437466" y="4846231"/>
                  <a:pt x="7433605" y="4847030"/>
                  <a:pt x="7429345" y="4847030"/>
                </a:cubicBezTo>
                <a:cubicBezTo>
                  <a:pt x="7420426" y="4847030"/>
                  <a:pt x="7413105" y="4844102"/>
                  <a:pt x="7407513" y="4838511"/>
                </a:cubicBezTo>
                <a:cubicBezTo>
                  <a:pt x="7401922" y="4832920"/>
                  <a:pt x="7399127" y="4825730"/>
                  <a:pt x="7399127" y="4817344"/>
                </a:cubicBezTo>
                <a:cubicBezTo>
                  <a:pt x="7399127" y="4809091"/>
                  <a:pt x="7401922" y="4802036"/>
                  <a:pt x="7407513" y="4796312"/>
                </a:cubicBezTo>
                <a:cubicBezTo>
                  <a:pt x="7413105" y="4790455"/>
                  <a:pt x="7420293" y="4787659"/>
                  <a:pt x="7429345" y="4787659"/>
                </a:cubicBezTo>
                <a:close/>
                <a:moveTo>
                  <a:pt x="7211701" y="4787659"/>
                </a:moveTo>
                <a:cubicBezTo>
                  <a:pt x="7215960" y="4787659"/>
                  <a:pt x="7219954" y="4788458"/>
                  <a:pt x="7223415" y="4790321"/>
                </a:cubicBezTo>
                <a:cubicBezTo>
                  <a:pt x="7227142" y="4791919"/>
                  <a:pt x="7230204" y="4794049"/>
                  <a:pt x="7232733" y="4796711"/>
                </a:cubicBezTo>
                <a:cubicBezTo>
                  <a:pt x="7235262" y="4799240"/>
                  <a:pt x="7237392" y="4802435"/>
                  <a:pt x="7238856" y="4806029"/>
                </a:cubicBezTo>
                <a:cubicBezTo>
                  <a:pt x="7240321" y="4809624"/>
                  <a:pt x="7241120" y="4813351"/>
                  <a:pt x="7241120" y="4817477"/>
                </a:cubicBezTo>
                <a:cubicBezTo>
                  <a:pt x="7241120" y="4821604"/>
                  <a:pt x="7240321" y="4825597"/>
                  <a:pt x="7238856" y="4829192"/>
                </a:cubicBezTo>
                <a:cubicBezTo>
                  <a:pt x="7237259" y="4832787"/>
                  <a:pt x="7235262" y="4835848"/>
                  <a:pt x="7232733" y="4838511"/>
                </a:cubicBezTo>
                <a:cubicBezTo>
                  <a:pt x="7230071" y="4841173"/>
                  <a:pt x="7227009" y="4843303"/>
                  <a:pt x="7223415" y="4844767"/>
                </a:cubicBezTo>
                <a:cubicBezTo>
                  <a:pt x="7219821" y="4846231"/>
                  <a:pt x="7215960" y="4847030"/>
                  <a:pt x="7211701" y="4847030"/>
                </a:cubicBezTo>
                <a:cubicBezTo>
                  <a:pt x="7202782" y="4847030"/>
                  <a:pt x="7195460" y="4844102"/>
                  <a:pt x="7189868" y="4838511"/>
                </a:cubicBezTo>
                <a:cubicBezTo>
                  <a:pt x="7184278" y="4832920"/>
                  <a:pt x="7181482" y="4825730"/>
                  <a:pt x="7181482" y="4817344"/>
                </a:cubicBezTo>
                <a:cubicBezTo>
                  <a:pt x="7181482" y="4809091"/>
                  <a:pt x="7184278" y="4802036"/>
                  <a:pt x="7189868" y="4796312"/>
                </a:cubicBezTo>
                <a:cubicBezTo>
                  <a:pt x="7195460" y="4790455"/>
                  <a:pt x="7202649" y="4787659"/>
                  <a:pt x="7211701" y="4787659"/>
                </a:cubicBezTo>
                <a:close/>
                <a:moveTo>
                  <a:pt x="6994056" y="4787659"/>
                </a:moveTo>
                <a:cubicBezTo>
                  <a:pt x="6998315" y="4787659"/>
                  <a:pt x="7002309" y="4788458"/>
                  <a:pt x="7005769" y="4790321"/>
                </a:cubicBezTo>
                <a:cubicBezTo>
                  <a:pt x="7009497" y="4791919"/>
                  <a:pt x="7012558" y="4794049"/>
                  <a:pt x="7015087" y="4796711"/>
                </a:cubicBezTo>
                <a:cubicBezTo>
                  <a:pt x="7017617" y="4799240"/>
                  <a:pt x="7019747" y="4802435"/>
                  <a:pt x="7021211" y="4806029"/>
                </a:cubicBezTo>
                <a:cubicBezTo>
                  <a:pt x="7022675" y="4809624"/>
                  <a:pt x="7023474" y="4813351"/>
                  <a:pt x="7023474" y="4817477"/>
                </a:cubicBezTo>
                <a:cubicBezTo>
                  <a:pt x="7023474" y="4821604"/>
                  <a:pt x="7022675" y="4825597"/>
                  <a:pt x="7021211" y="4829192"/>
                </a:cubicBezTo>
                <a:cubicBezTo>
                  <a:pt x="7019614" y="4832787"/>
                  <a:pt x="7017617" y="4835848"/>
                  <a:pt x="7015087" y="4838511"/>
                </a:cubicBezTo>
                <a:cubicBezTo>
                  <a:pt x="7012425" y="4841173"/>
                  <a:pt x="7009364" y="4843303"/>
                  <a:pt x="7005769" y="4844767"/>
                </a:cubicBezTo>
                <a:cubicBezTo>
                  <a:pt x="7002176" y="4846231"/>
                  <a:pt x="6998315" y="4847030"/>
                  <a:pt x="6994056" y="4847030"/>
                </a:cubicBezTo>
                <a:cubicBezTo>
                  <a:pt x="6985136" y="4847030"/>
                  <a:pt x="6977815" y="4844102"/>
                  <a:pt x="6972223" y="4838511"/>
                </a:cubicBezTo>
                <a:cubicBezTo>
                  <a:pt x="6966632" y="4832920"/>
                  <a:pt x="6963837" y="4825730"/>
                  <a:pt x="6963837" y="4817344"/>
                </a:cubicBezTo>
                <a:cubicBezTo>
                  <a:pt x="6963837" y="4809091"/>
                  <a:pt x="6966632" y="4802036"/>
                  <a:pt x="6972223" y="4796312"/>
                </a:cubicBezTo>
                <a:cubicBezTo>
                  <a:pt x="6977815" y="4790455"/>
                  <a:pt x="6985003" y="4787659"/>
                  <a:pt x="6994056" y="4787659"/>
                </a:cubicBezTo>
                <a:close/>
                <a:moveTo>
                  <a:pt x="6776544" y="4787659"/>
                </a:moveTo>
                <a:cubicBezTo>
                  <a:pt x="6780670" y="4787659"/>
                  <a:pt x="6784664" y="4788458"/>
                  <a:pt x="6788258" y="4790321"/>
                </a:cubicBezTo>
                <a:cubicBezTo>
                  <a:pt x="6791985" y="4791919"/>
                  <a:pt x="6795047" y="4794049"/>
                  <a:pt x="6797576" y="4796711"/>
                </a:cubicBezTo>
                <a:cubicBezTo>
                  <a:pt x="6800105" y="4799240"/>
                  <a:pt x="6802235" y="4802435"/>
                  <a:pt x="6803699" y="4806029"/>
                </a:cubicBezTo>
                <a:cubicBezTo>
                  <a:pt x="6805164" y="4809624"/>
                  <a:pt x="6805963" y="4813351"/>
                  <a:pt x="6805963" y="4817477"/>
                </a:cubicBezTo>
                <a:cubicBezTo>
                  <a:pt x="6805963" y="4821604"/>
                  <a:pt x="6805164" y="4825597"/>
                  <a:pt x="6803699" y="4829192"/>
                </a:cubicBezTo>
                <a:cubicBezTo>
                  <a:pt x="6802102" y="4832787"/>
                  <a:pt x="6800105" y="4835848"/>
                  <a:pt x="6797576" y="4838511"/>
                </a:cubicBezTo>
                <a:cubicBezTo>
                  <a:pt x="6794914" y="4841173"/>
                  <a:pt x="6791852" y="4843303"/>
                  <a:pt x="6788258" y="4844767"/>
                </a:cubicBezTo>
                <a:cubicBezTo>
                  <a:pt x="6784664" y="4846231"/>
                  <a:pt x="6780803" y="4847030"/>
                  <a:pt x="6776544" y="4847030"/>
                </a:cubicBezTo>
                <a:cubicBezTo>
                  <a:pt x="6767625" y="4847030"/>
                  <a:pt x="6760303" y="4844102"/>
                  <a:pt x="6754711" y="4838511"/>
                </a:cubicBezTo>
                <a:cubicBezTo>
                  <a:pt x="6749121" y="4832920"/>
                  <a:pt x="6746325" y="4825730"/>
                  <a:pt x="6746325" y="4817344"/>
                </a:cubicBezTo>
                <a:cubicBezTo>
                  <a:pt x="6746325" y="4809091"/>
                  <a:pt x="6749121" y="4802036"/>
                  <a:pt x="6754711" y="4796312"/>
                </a:cubicBezTo>
                <a:cubicBezTo>
                  <a:pt x="6760303" y="4790455"/>
                  <a:pt x="6767492" y="4787659"/>
                  <a:pt x="6776544" y="4787659"/>
                </a:cubicBezTo>
                <a:close/>
                <a:moveTo>
                  <a:pt x="6558899" y="4787659"/>
                </a:moveTo>
                <a:cubicBezTo>
                  <a:pt x="6563158" y="4787659"/>
                  <a:pt x="6567019" y="4788458"/>
                  <a:pt x="6570612" y="4790321"/>
                </a:cubicBezTo>
                <a:cubicBezTo>
                  <a:pt x="6574340" y="4791919"/>
                  <a:pt x="6577401" y="4794049"/>
                  <a:pt x="6579930" y="4796711"/>
                </a:cubicBezTo>
                <a:cubicBezTo>
                  <a:pt x="6582460" y="4799240"/>
                  <a:pt x="6584590" y="4802435"/>
                  <a:pt x="6586054" y="4806029"/>
                </a:cubicBezTo>
                <a:cubicBezTo>
                  <a:pt x="6587518" y="4809624"/>
                  <a:pt x="6588317" y="4813351"/>
                  <a:pt x="6588317" y="4817477"/>
                </a:cubicBezTo>
                <a:cubicBezTo>
                  <a:pt x="6588317" y="4821604"/>
                  <a:pt x="6587518" y="4825597"/>
                  <a:pt x="6586054" y="4829192"/>
                </a:cubicBezTo>
                <a:cubicBezTo>
                  <a:pt x="6584457" y="4832787"/>
                  <a:pt x="6582460" y="4835848"/>
                  <a:pt x="6579930" y="4838511"/>
                </a:cubicBezTo>
                <a:cubicBezTo>
                  <a:pt x="6577268" y="4841173"/>
                  <a:pt x="6574207" y="4843303"/>
                  <a:pt x="6570612" y="4844767"/>
                </a:cubicBezTo>
                <a:cubicBezTo>
                  <a:pt x="6567019" y="4846231"/>
                  <a:pt x="6563158" y="4847030"/>
                  <a:pt x="6558899" y="4847030"/>
                </a:cubicBezTo>
                <a:cubicBezTo>
                  <a:pt x="6549979" y="4847030"/>
                  <a:pt x="6542658" y="4844102"/>
                  <a:pt x="6537066" y="4838511"/>
                </a:cubicBezTo>
                <a:cubicBezTo>
                  <a:pt x="6531476" y="4832920"/>
                  <a:pt x="6528680" y="4825730"/>
                  <a:pt x="6528680" y="4817344"/>
                </a:cubicBezTo>
                <a:cubicBezTo>
                  <a:pt x="6528680" y="4809091"/>
                  <a:pt x="6531476" y="4802036"/>
                  <a:pt x="6537066" y="4796312"/>
                </a:cubicBezTo>
                <a:cubicBezTo>
                  <a:pt x="6542658" y="4790455"/>
                  <a:pt x="6549846" y="4787659"/>
                  <a:pt x="6558899" y="4787659"/>
                </a:cubicBezTo>
                <a:close/>
                <a:moveTo>
                  <a:pt x="6341253" y="4787659"/>
                </a:moveTo>
                <a:cubicBezTo>
                  <a:pt x="6345513" y="4787659"/>
                  <a:pt x="6349373" y="4788458"/>
                  <a:pt x="6352968" y="4790321"/>
                </a:cubicBezTo>
                <a:cubicBezTo>
                  <a:pt x="6356695" y="4791919"/>
                  <a:pt x="6359757" y="4794049"/>
                  <a:pt x="6362286" y="4796711"/>
                </a:cubicBezTo>
                <a:cubicBezTo>
                  <a:pt x="6364815" y="4799240"/>
                  <a:pt x="6366945" y="4802435"/>
                  <a:pt x="6368409" y="4806029"/>
                </a:cubicBezTo>
                <a:cubicBezTo>
                  <a:pt x="6369874" y="4809624"/>
                  <a:pt x="6370672" y="4813351"/>
                  <a:pt x="6370672" y="4817477"/>
                </a:cubicBezTo>
                <a:cubicBezTo>
                  <a:pt x="6370672" y="4821604"/>
                  <a:pt x="6369874" y="4825597"/>
                  <a:pt x="6368409" y="4829192"/>
                </a:cubicBezTo>
                <a:cubicBezTo>
                  <a:pt x="6366811" y="4832787"/>
                  <a:pt x="6364815" y="4835848"/>
                  <a:pt x="6362286" y="4838511"/>
                </a:cubicBezTo>
                <a:cubicBezTo>
                  <a:pt x="6359623" y="4841173"/>
                  <a:pt x="6356562" y="4843303"/>
                  <a:pt x="6352968" y="4844767"/>
                </a:cubicBezTo>
                <a:cubicBezTo>
                  <a:pt x="6349373" y="4846231"/>
                  <a:pt x="6345513" y="4847030"/>
                  <a:pt x="6341253" y="4847030"/>
                </a:cubicBezTo>
                <a:cubicBezTo>
                  <a:pt x="6332335" y="4847030"/>
                  <a:pt x="6325013" y="4844102"/>
                  <a:pt x="6319421" y="4838511"/>
                </a:cubicBezTo>
                <a:cubicBezTo>
                  <a:pt x="6313830" y="4832920"/>
                  <a:pt x="6311035" y="4825730"/>
                  <a:pt x="6311035" y="4817344"/>
                </a:cubicBezTo>
                <a:cubicBezTo>
                  <a:pt x="6311035" y="4809091"/>
                  <a:pt x="6313830" y="4802036"/>
                  <a:pt x="6319421" y="4796312"/>
                </a:cubicBezTo>
                <a:cubicBezTo>
                  <a:pt x="6325013" y="4790455"/>
                  <a:pt x="6332201" y="4787659"/>
                  <a:pt x="6341253" y="4787659"/>
                </a:cubicBezTo>
                <a:close/>
                <a:moveTo>
                  <a:pt x="6123608" y="4787659"/>
                </a:moveTo>
                <a:cubicBezTo>
                  <a:pt x="6127867" y="4787659"/>
                  <a:pt x="6131728" y="4788458"/>
                  <a:pt x="6135322" y="4790321"/>
                </a:cubicBezTo>
                <a:cubicBezTo>
                  <a:pt x="6139049" y="4791919"/>
                  <a:pt x="6142111" y="4794049"/>
                  <a:pt x="6144640" y="4796711"/>
                </a:cubicBezTo>
                <a:cubicBezTo>
                  <a:pt x="6147169" y="4799240"/>
                  <a:pt x="6149299" y="4802435"/>
                  <a:pt x="6150763" y="4806029"/>
                </a:cubicBezTo>
                <a:cubicBezTo>
                  <a:pt x="6152228" y="4809624"/>
                  <a:pt x="6153026" y="4813351"/>
                  <a:pt x="6153026" y="4817477"/>
                </a:cubicBezTo>
                <a:cubicBezTo>
                  <a:pt x="6153026" y="4821604"/>
                  <a:pt x="6152228" y="4825597"/>
                  <a:pt x="6150763" y="4829192"/>
                </a:cubicBezTo>
                <a:cubicBezTo>
                  <a:pt x="6149299" y="4832787"/>
                  <a:pt x="6147169" y="4835848"/>
                  <a:pt x="6144640" y="4838511"/>
                </a:cubicBezTo>
                <a:cubicBezTo>
                  <a:pt x="6141977" y="4841173"/>
                  <a:pt x="6138916" y="4843303"/>
                  <a:pt x="6135322" y="4844767"/>
                </a:cubicBezTo>
                <a:cubicBezTo>
                  <a:pt x="6131728" y="4846231"/>
                  <a:pt x="6127867" y="4847030"/>
                  <a:pt x="6123608" y="4847030"/>
                </a:cubicBezTo>
                <a:cubicBezTo>
                  <a:pt x="6114689" y="4847030"/>
                  <a:pt x="6107367" y="4844102"/>
                  <a:pt x="6101775" y="4838511"/>
                </a:cubicBezTo>
                <a:cubicBezTo>
                  <a:pt x="6096184" y="4832920"/>
                  <a:pt x="6093389" y="4825730"/>
                  <a:pt x="6093389" y="4817344"/>
                </a:cubicBezTo>
                <a:cubicBezTo>
                  <a:pt x="6093389" y="4809091"/>
                  <a:pt x="6096184" y="4802036"/>
                  <a:pt x="6101775" y="4796312"/>
                </a:cubicBezTo>
                <a:cubicBezTo>
                  <a:pt x="6107367" y="4790455"/>
                  <a:pt x="6114555" y="4787659"/>
                  <a:pt x="6123608" y="4787659"/>
                </a:cubicBezTo>
                <a:close/>
                <a:moveTo>
                  <a:pt x="5905963" y="4787659"/>
                </a:moveTo>
                <a:cubicBezTo>
                  <a:pt x="5910222" y="4787659"/>
                  <a:pt x="5914216" y="4788458"/>
                  <a:pt x="5917677" y="4790321"/>
                </a:cubicBezTo>
                <a:cubicBezTo>
                  <a:pt x="5921404" y="4791919"/>
                  <a:pt x="5924466" y="4794049"/>
                  <a:pt x="5926995" y="4796711"/>
                </a:cubicBezTo>
                <a:cubicBezTo>
                  <a:pt x="5929524" y="4799240"/>
                  <a:pt x="5931654" y="4802435"/>
                  <a:pt x="5933118" y="4806029"/>
                </a:cubicBezTo>
                <a:cubicBezTo>
                  <a:pt x="5934583" y="4809624"/>
                  <a:pt x="5935381" y="4813351"/>
                  <a:pt x="5935381" y="4817477"/>
                </a:cubicBezTo>
                <a:cubicBezTo>
                  <a:pt x="5935381" y="4821604"/>
                  <a:pt x="5934583" y="4825597"/>
                  <a:pt x="5933118" y="4829192"/>
                </a:cubicBezTo>
                <a:cubicBezTo>
                  <a:pt x="5931654" y="4832787"/>
                  <a:pt x="5929524" y="4835848"/>
                  <a:pt x="5926995" y="4838511"/>
                </a:cubicBezTo>
                <a:cubicBezTo>
                  <a:pt x="5924333" y="4841173"/>
                  <a:pt x="5921271" y="4843303"/>
                  <a:pt x="5917677" y="4844767"/>
                </a:cubicBezTo>
                <a:cubicBezTo>
                  <a:pt x="5914083" y="4846231"/>
                  <a:pt x="5910222" y="4847030"/>
                  <a:pt x="5905963" y="4847030"/>
                </a:cubicBezTo>
                <a:cubicBezTo>
                  <a:pt x="5897044" y="4847030"/>
                  <a:pt x="5889722" y="4844102"/>
                  <a:pt x="5884130" y="4838511"/>
                </a:cubicBezTo>
                <a:cubicBezTo>
                  <a:pt x="5878540" y="4832920"/>
                  <a:pt x="5875744" y="4825730"/>
                  <a:pt x="5875744" y="4817344"/>
                </a:cubicBezTo>
                <a:cubicBezTo>
                  <a:pt x="5875744" y="4809091"/>
                  <a:pt x="5878540" y="4802036"/>
                  <a:pt x="5884130" y="4796312"/>
                </a:cubicBezTo>
                <a:cubicBezTo>
                  <a:pt x="5889722" y="4790455"/>
                  <a:pt x="5896910" y="4787659"/>
                  <a:pt x="5905963" y="4787659"/>
                </a:cubicBezTo>
                <a:close/>
                <a:moveTo>
                  <a:pt x="5688451" y="4787659"/>
                </a:moveTo>
                <a:cubicBezTo>
                  <a:pt x="5692577" y="4787659"/>
                  <a:pt x="5696571" y="4788458"/>
                  <a:pt x="5700165" y="4790321"/>
                </a:cubicBezTo>
                <a:cubicBezTo>
                  <a:pt x="5703892" y="4791919"/>
                  <a:pt x="5706954" y="4794049"/>
                  <a:pt x="5709483" y="4796711"/>
                </a:cubicBezTo>
                <a:cubicBezTo>
                  <a:pt x="5712012" y="4799240"/>
                  <a:pt x="5714142" y="4802435"/>
                  <a:pt x="5715606" y="4806029"/>
                </a:cubicBezTo>
                <a:cubicBezTo>
                  <a:pt x="5717071" y="4809624"/>
                  <a:pt x="5717869" y="4813351"/>
                  <a:pt x="5717869" y="4817477"/>
                </a:cubicBezTo>
                <a:cubicBezTo>
                  <a:pt x="5717869" y="4821604"/>
                  <a:pt x="5717071" y="4825597"/>
                  <a:pt x="5715606" y="4829192"/>
                </a:cubicBezTo>
                <a:cubicBezTo>
                  <a:pt x="5714142" y="4832787"/>
                  <a:pt x="5712012" y="4835848"/>
                  <a:pt x="5709483" y="4838511"/>
                </a:cubicBezTo>
                <a:cubicBezTo>
                  <a:pt x="5706820" y="4841173"/>
                  <a:pt x="5703759" y="4843303"/>
                  <a:pt x="5700165" y="4844767"/>
                </a:cubicBezTo>
                <a:cubicBezTo>
                  <a:pt x="5696571" y="4846231"/>
                  <a:pt x="5692710" y="4847030"/>
                  <a:pt x="5688451" y="4847030"/>
                </a:cubicBezTo>
                <a:cubicBezTo>
                  <a:pt x="5679532" y="4847030"/>
                  <a:pt x="5672210" y="4844102"/>
                  <a:pt x="5666618" y="4838511"/>
                </a:cubicBezTo>
                <a:cubicBezTo>
                  <a:pt x="5661028" y="4832920"/>
                  <a:pt x="5658232" y="4825730"/>
                  <a:pt x="5658232" y="4817344"/>
                </a:cubicBezTo>
                <a:cubicBezTo>
                  <a:pt x="5658232" y="4809091"/>
                  <a:pt x="5661028" y="4802036"/>
                  <a:pt x="5666618" y="4796312"/>
                </a:cubicBezTo>
                <a:cubicBezTo>
                  <a:pt x="5672210" y="4790455"/>
                  <a:pt x="5679398" y="4787659"/>
                  <a:pt x="5688451" y="4787659"/>
                </a:cubicBezTo>
                <a:close/>
                <a:moveTo>
                  <a:pt x="5470806" y="4787659"/>
                </a:moveTo>
                <a:cubicBezTo>
                  <a:pt x="5475065" y="4787659"/>
                  <a:pt x="5478926" y="4788458"/>
                  <a:pt x="5482520" y="4790321"/>
                </a:cubicBezTo>
                <a:cubicBezTo>
                  <a:pt x="5486247" y="4791919"/>
                  <a:pt x="5489309" y="4794049"/>
                  <a:pt x="5491838" y="4796711"/>
                </a:cubicBezTo>
                <a:cubicBezTo>
                  <a:pt x="5494367" y="4799240"/>
                  <a:pt x="5496497" y="4802435"/>
                  <a:pt x="5497961" y="4806029"/>
                </a:cubicBezTo>
                <a:cubicBezTo>
                  <a:pt x="5499426" y="4809624"/>
                  <a:pt x="5500224" y="4813351"/>
                  <a:pt x="5500224" y="4817477"/>
                </a:cubicBezTo>
                <a:cubicBezTo>
                  <a:pt x="5500224" y="4821604"/>
                  <a:pt x="5499426" y="4825597"/>
                  <a:pt x="5497961" y="4829192"/>
                </a:cubicBezTo>
                <a:cubicBezTo>
                  <a:pt x="5496497" y="4832787"/>
                  <a:pt x="5494367" y="4835848"/>
                  <a:pt x="5491838" y="4838511"/>
                </a:cubicBezTo>
                <a:cubicBezTo>
                  <a:pt x="5489176" y="4841173"/>
                  <a:pt x="5486114" y="4843303"/>
                  <a:pt x="5482520" y="4844767"/>
                </a:cubicBezTo>
                <a:cubicBezTo>
                  <a:pt x="5478926" y="4846231"/>
                  <a:pt x="5475065" y="4847030"/>
                  <a:pt x="5470806" y="4847030"/>
                </a:cubicBezTo>
                <a:cubicBezTo>
                  <a:pt x="5461887" y="4847030"/>
                  <a:pt x="5454565" y="4844102"/>
                  <a:pt x="5448973" y="4838511"/>
                </a:cubicBezTo>
                <a:cubicBezTo>
                  <a:pt x="5443383" y="4832920"/>
                  <a:pt x="5440587" y="4825730"/>
                  <a:pt x="5440587" y="4817344"/>
                </a:cubicBezTo>
                <a:cubicBezTo>
                  <a:pt x="5440587" y="4809091"/>
                  <a:pt x="5443383" y="4802036"/>
                  <a:pt x="5448973" y="4796312"/>
                </a:cubicBezTo>
                <a:cubicBezTo>
                  <a:pt x="5454565" y="4790455"/>
                  <a:pt x="5461754" y="4787659"/>
                  <a:pt x="5470806" y="4787659"/>
                </a:cubicBezTo>
                <a:close/>
                <a:moveTo>
                  <a:pt x="5253160" y="4787659"/>
                </a:moveTo>
                <a:cubicBezTo>
                  <a:pt x="5257420" y="4787659"/>
                  <a:pt x="5261280" y="4788458"/>
                  <a:pt x="5264875" y="4790321"/>
                </a:cubicBezTo>
                <a:cubicBezTo>
                  <a:pt x="5268602" y="4791919"/>
                  <a:pt x="5271664" y="4794049"/>
                  <a:pt x="5274192" y="4796711"/>
                </a:cubicBezTo>
                <a:cubicBezTo>
                  <a:pt x="5276722" y="4799240"/>
                  <a:pt x="5278852" y="4802435"/>
                  <a:pt x="5280316" y="4806029"/>
                </a:cubicBezTo>
                <a:cubicBezTo>
                  <a:pt x="5281780" y="4809624"/>
                  <a:pt x="5282579" y="4813351"/>
                  <a:pt x="5282579" y="4817477"/>
                </a:cubicBezTo>
                <a:cubicBezTo>
                  <a:pt x="5282579" y="4821604"/>
                  <a:pt x="5281780" y="4825597"/>
                  <a:pt x="5280316" y="4829192"/>
                </a:cubicBezTo>
                <a:cubicBezTo>
                  <a:pt x="5278852" y="4832787"/>
                  <a:pt x="5276722" y="4835848"/>
                  <a:pt x="5274192" y="4838511"/>
                </a:cubicBezTo>
                <a:cubicBezTo>
                  <a:pt x="5271664" y="4841173"/>
                  <a:pt x="5268469" y="4843303"/>
                  <a:pt x="5264875" y="4844767"/>
                </a:cubicBezTo>
                <a:cubicBezTo>
                  <a:pt x="5261280" y="4846231"/>
                  <a:pt x="5257420" y="4847030"/>
                  <a:pt x="5253160" y="4847030"/>
                </a:cubicBezTo>
                <a:cubicBezTo>
                  <a:pt x="5244241" y="4847030"/>
                  <a:pt x="5236920" y="4844102"/>
                  <a:pt x="5231328" y="4838511"/>
                </a:cubicBezTo>
                <a:cubicBezTo>
                  <a:pt x="5225737" y="4832920"/>
                  <a:pt x="5222942" y="4825730"/>
                  <a:pt x="5222942" y="4817344"/>
                </a:cubicBezTo>
                <a:cubicBezTo>
                  <a:pt x="5222942" y="4809091"/>
                  <a:pt x="5225737" y="4802036"/>
                  <a:pt x="5231328" y="4796312"/>
                </a:cubicBezTo>
                <a:cubicBezTo>
                  <a:pt x="5236920" y="4790455"/>
                  <a:pt x="5244108" y="4787659"/>
                  <a:pt x="5253160" y="4787659"/>
                </a:cubicBezTo>
                <a:close/>
                <a:moveTo>
                  <a:pt x="5035515" y="4787659"/>
                </a:moveTo>
                <a:cubicBezTo>
                  <a:pt x="5039775" y="4787659"/>
                  <a:pt x="5043636" y="4788458"/>
                  <a:pt x="5047230" y="4790321"/>
                </a:cubicBezTo>
                <a:cubicBezTo>
                  <a:pt x="5050957" y="4791919"/>
                  <a:pt x="5054019" y="4794049"/>
                  <a:pt x="5056548" y="4796711"/>
                </a:cubicBezTo>
                <a:cubicBezTo>
                  <a:pt x="5059077" y="4799240"/>
                  <a:pt x="5061207" y="4802435"/>
                  <a:pt x="5062671" y="4806029"/>
                </a:cubicBezTo>
                <a:cubicBezTo>
                  <a:pt x="5064135" y="4809624"/>
                  <a:pt x="5064934" y="4813351"/>
                  <a:pt x="5064934" y="4817477"/>
                </a:cubicBezTo>
                <a:cubicBezTo>
                  <a:pt x="5064934" y="4821604"/>
                  <a:pt x="5064135" y="4825597"/>
                  <a:pt x="5062671" y="4829192"/>
                </a:cubicBezTo>
                <a:cubicBezTo>
                  <a:pt x="5061207" y="4832787"/>
                  <a:pt x="5059077" y="4835848"/>
                  <a:pt x="5056548" y="4838511"/>
                </a:cubicBezTo>
                <a:cubicBezTo>
                  <a:pt x="5053885" y="4841173"/>
                  <a:pt x="5050824" y="4843303"/>
                  <a:pt x="5047230" y="4844767"/>
                </a:cubicBezTo>
                <a:cubicBezTo>
                  <a:pt x="5043636" y="4846231"/>
                  <a:pt x="5039775" y="4847030"/>
                  <a:pt x="5035515" y="4847030"/>
                </a:cubicBezTo>
                <a:cubicBezTo>
                  <a:pt x="5026597" y="4847030"/>
                  <a:pt x="5019275" y="4844102"/>
                  <a:pt x="5013683" y="4838511"/>
                </a:cubicBezTo>
                <a:cubicBezTo>
                  <a:pt x="5008092" y="4832920"/>
                  <a:pt x="5005297" y="4825730"/>
                  <a:pt x="5005297" y="4817344"/>
                </a:cubicBezTo>
                <a:cubicBezTo>
                  <a:pt x="5005297" y="4809091"/>
                  <a:pt x="5008092" y="4802036"/>
                  <a:pt x="5013683" y="4796312"/>
                </a:cubicBezTo>
                <a:cubicBezTo>
                  <a:pt x="5019275" y="4790455"/>
                  <a:pt x="5026463" y="4787659"/>
                  <a:pt x="5035515" y="4787659"/>
                </a:cubicBezTo>
                <a:close/>
                <a:moveTo>
                  <a:pt x="4817870" y="4787659"/>
                </a:moveTo>
                <a:cubicBezTo>
                  <a:pt x="4822130" y="4787659"/>
                  <a:pt x="4826124" y="4788458"/>
                  <a:pt x="4829585" y="4790321"/>
                </a:cubicBezTo>
                <a:cubicBezTo>
                  <a:pt x="4833312" y="4791919"/>
                  <a:pt x="4836374" y="4794049"/>
                  <a:pt x="4838903" y="4796711"/>
                </a:cubicBezTo>
                <a:cubicBezTo>
                  <a:pt x="4841432" y="4799240"/>
                  <a:pt x="4843562" y="4802435"/>
                  <a:pt x="4845026" y="4806029"/>
                </a:cubicBezTo>
                <a:cubicBezTo>
                  <a:pt x="4846491" y="4809624"/>
                  <a:pt x="4847289" y="4813351"/>
                  <a:pt x="4847289" y="4817477"/>
                </a:cubicBezTo>
                <a:cubicBezTo>
                  <a:pt x="4847289" y="4821604"/>
                  <a:pt x="4846491" y="4825597"/>
                  <a:pt x="4845026" y="4829192"/>
                </a:cubicBezTo>
                <a:cubicBezTo>
                  <a:pt x="4843562" y="4832787"/>
                  <a:pt x="4841432" y="4835848"/>
                  <a:pt x="4838903" y="4838511"/>
                </a:cubicBezTo>
                <a:cubicBezTo>
                  <a:pt x="4836240" y="4841173"/>
                  <a:pt x="4833179" y="4843303"/>
                  <a:pt x="4829585" y="4844767"/>
                </a:cubicBezTo>
                <a:cubicBezTo>
                  <a:pt x="4825991" y="4846231"/>
                  <a:pt x="4822130" y="4847030"/>
                  <a:pt x="4817870" y="4847030"/>
                </a:cubicBezTo>
                <a:cubicBezTo>
                  <a:pt x="4808952" y="4847030"/>
                  <a:pt x="4801630" y="4844102"/>
                  <a:pt x="4796038" y="4838511"/>
                </a:cubicBezTo>
                <a:cubicBezTo>
                  <a:pt x="4790447" y="4832920"/>
                  <a:pt x="4787652" y="4825730"/>
                  <a:pt x="4787652" y="4817344"/>
                </a:cubicBezTo>
                <a:cubicBezTo>
                  <a:pt x="4787652" y="4809091"/>
                  <a:pt x="4790447" y="4802036"/>
                  <a:pt x="4796038" y="4796312"/>
                </a:cubicBezTo>
                <a:cubicBezTo>
                  <a:pt x="4801630" y="4790455"/>
                  <a:pt x="4808818" y="4787659"/>
                  <a:pt x="4817870" y="4787659"/>
                </a:cubicBezTo>
                <a:close/>
                <a:moveTo>
                  <a:pt x="4600226" y="4787659"/>
                </a:moveTo>
                <a:cubicBezTo>
                  <a:pt x="4604485" y="4787659"/>
                  <a:pt x="4608479" y="4788458"/>
                  <a:pt x="4612073" y="4790321"/>
                </a:cubicBezTo>
                <a:cubicBezTo>
                  <a:pt x="4615800" y="4791919"/>
                  <a:pt x="4618862" y="4794049"/>
                  <a:pt x="4621391" y="4796711"/>
                </a:cubicBezTo>
                <a:cubicBezTo>
                  <a:pt x="4623920" y="4799240"/>
                  <a:pt x="4626050" y="4802435"/>
                  <a:pt x="4627514" y="4806029"/>
                </a:cubicBezTo>
                <a:cubicBezTo>
                  <a:pt x="4628978" y="4809624"/>
                  <a:pt x="4629777" y="4813351"/>
                  <a:pt x="4629777" y="4817477"/>
                </a:cubicBezTo>
                <a:cubicBezTo>
                  <a:pt x="4629777" y="4821604"/>
                  <a:pt x="4628978" y="4825597"/>
                  <a:pt x="4627514" y="4829192"/>
                </a:cubicBezTo>
                <a:cubicBezTo>
                  <a:pt x="4626050" y="4832787"/>
                  <a:pt x="4623920" y="4835848"/>
                  <a:pt x="4621391" y="4838511"/>
                </a:cubicBezTo>
                <a:cubicBezTo>
                  <a:pt x="4618729" y="4841173"/>
                  <a:pt x="4615667" y="4843303"/>
                  <a:pt x="4612073" y="4844767"/>
                </a:cubicBezTo>
                <a:cubicBezTo>
                  <a:pt x="4608346" y="4846231"/>
                  <a:pt x="4604485" y="4847030"/>
                  <a:pt x="4600226" y="4847030"/>
                </a:cubicBezTo>
                <a:cubicBezTo>
                  <a:pt x="4591173" y="4847030"/>
                  <a:pt x="4583985" y="4844102"/>
                  <a:pt x="4578393" y="4838511"/>
                </a:cubicBezTo>
                <a:cubicBezTo>
                  <a:pt x="4572803" y="4832920"/>
                  <a:pt x="4570007" y="4825730"/>
                  <a:pt x="4570007" y="4817344"/>
                </a:cubicBezTo>
                <a:cubicBezTo>
                  <a:pt x="4570007" y="4809091"/>
                  <a:pt x="4572803" y="4802036"/>
                  <a:pt x="4578393" y="4796312"/>
                </a:cubicBezTo>
                <a:cubicBezTo>
                  <a:pt x="4583985" y="4790455"/>
                  <a:pt x="4591173" y="4787659"/>
                  <a:pt x="4600226" y="4787659"/>
                </a:cubicBezTo>
                <a:close/>
                <a:moveTo>
                  <a:pt x="4382713" y="4787659"/>
                </a:moveTo>
                <a:cubicBezTo>
                  <a:pt x="4386840" y="4787659"/>
                  <a:pt x="4390834" y="4788458"/>
                  <a:pt x="4394428" y="4790321"/>
                </a:cubicBezTo>
                <a:cubicBezTo>
                  <a:pt x="4398155" y="4791919"/>
                  <a:pt x="4401217" y="4794049"/>
                  <a:pt x="4403746" y="4796711"/>
                </a:cubicBezTo>
                <a:cubicBezTo>
                  <a:pt x="4406275" y="4799240"/>
                  <a:pt x="4408405" y="4802435"/>
                  <a:pt x="4409869" y="4806029"/>
                </a:cubicBezTo>
                <a:cubicBezTo>
                  <a:pt x="4411334" y="4809624"/>
                  <a:pt x="4412132" y="4813351"/>
                  <a:pt x="4412132" y="4817477"/>
                </a:cubicBezTo>
                <a:cubicBezTo>
                  <a:pt x="4412132" y="4821604"/>
                  <a:pt x="4411334" y="4825597"/>
                  <a:pt x="4409869" y="4829192"/>
                </a:cubicBezTo>
                <a:cubicBezTo>
                  <a:pt x="4408405" y="4832787"/>
                  <a:pt x="4406275" y="4835848"/>
                  <a:pt x="4403746" y="4838511"/>
                </a:cubicBezTo>
                <a:cubicBezTo>
                  <a:pt x="4401083" y="4841173"/>
                  <a:pt x="4398022" y="4843303"/>
                  <a:pt x="4394428" y="4844767"/>
                </a:cubicBezTo>
                <a:cubicBezTo>
                  <a:pt x="4390834" y="4846231"/>
                  <a:pt x="4386973" y="4847030"/>
                  <a:pt x="4382713" y="4847030"/>
                </a:cubicBezTo>
                <a:cubicBezTo>
                  <a:pt x="4373661" y="4847030"/>
                  <a:pt x="4366473" y="4844102"/>
                  <a:pt x="4360881" y="4838511"/>
                </a:cubicBezTo>
                <a:cubicBezTo>
                  <a:pt x="4355290" y="4832920"/>
                  <a:pt x="4352495" y="4825730"/>
                  <a:pt x="4352495" y="4817344"/>
                </a:cubicBezTo>
                <a:cubicBezTo>
                  <a:pt x="4352495" y="4809091"/>
                  <a:pt x="4355290" y="4802036"/>
                  <a:pt x="4360881" y="4796312"/>
                </a:cubicBezTo>
                <a:cubicBezTo>
                  <a:pt x="4366473" y="4790455"/>
                  <a:pt x="4373661" y="4787659"/>
                  <a:pt x="4382713" y="4787659"/>
                </a:cubicBezTo>
                <a:close/>
                <a:moveTo>
                  <a:pt x="4165068" y="4787659"/>
                </a:moveTo>
                <a:cubicBezTo>
                  <a:pt x="4169327" y="4787659"/>
                  <a:pt x="4173188" y="4788458"/>
                  <a:pt x="4176782" y="4790321"/>
                </a:cubicBezTo>
                <a:cubicBezTo>
                  <a:pt x="4180509" y="4791919"/>
                  <a:pt x="4183571" y="4794049"/>
                  <a:pt x="4186100" y="4796711"/>
                </a:cubicBezTo>
                <a:cubicBezTo>
                  <a:pt x="4188629" y="4799240"/>
                  <a:pt x="4190759" y="4802435"/>
                  <a:pt x="4192223" y="4806029"/>
                </a:cubicBezTo>
                <a:cubicBezTo>
                  <a:pt x="4193688" y="4809624"/>
                  <a:pt x="4194486" y="4813351"/>
                  <a:pt x="4194486" y="4817477"/>
                </a:cubicBezTo>
                <a:cubicBezTo>
                  <a:pt x="4194486" y="4821604"/>
                  <a:pt x="4193688" y="4825597"/>
                  <a:pt x="4192223" y="4829192"/>
                </a:cubicBezTo>
                <a:cubicBezTo>
                  <a:pt x="4190759" y="4832787"/>
                  <a:pt x="4188629" y="4835848"/>
                  <a:pt x="4186100" y="4838511"/>
                </a:cubicBezTo>
                <a:cubicBezTo>
                  <a:pt x="4183438" y="4841173"/>
                  <a:pt x="4180376" y="4843303"/>
                  <a:pt x="4176782" y="4844767"/>
                </a:cubicBezTo>
                <a:cubicBezTo>
                  <a:pt x="4173188" y="4846231"/>
                  <a:pt x="4169327" y="4847030"/>
                  <a:pt x="4165068" y="4847030"/>
                </a:cubicBezTo>
                <a:cubicBezTo>
                  <a:pt x="4156015" y="4847030"/>
                  <a:pt x="4148827" y="4844102"/>
                  <a:pt x="4143235" y="4838511"/>
                </a:cubicBezTo>
                <a:cubicBezTo>
                  <a:pt x="4137645" y="4832920"/>
                  <a:pt x="4134849" y="4825730"/>
                  <a:pt x="4134849" y="4817344"/>
                </a:cubicBezTo>
                <a:cubicBezTo>
                  <a:pt x="4134849" y="4809091"/>
                  <a:pt x="4137645" y="4802036"/>
                  <a:pt x="4143235" y="4796312"/>
                </a:cubicBezTo>
                <a:cubicBezTo>
                  <a:pt x="4148827" y="4790455"/>
                  <a:pt x="4156015" y="4787659"/>
                  <a:pt x="4165068" y="4787659"/>
                </a:cubicBezTo>
                <a:close/>
                <a:moveTo>
                  <a:pt x="3947686" y="4787659"/>
                </a:moveTo>
                <a:cubicBezTo>
                  <a:pt x="3951948" y="4787659"/>
                  <a:pt x="3955808" y="4788458"/>
                  <a:pt x="3959404" y="4790321"/>
                </a:cubicBezTo>
                <a:cubicBezTo>
                  <a:pt x="3963132" y="4791919"/>
                  <a:pt x="3966193" y="4794049"/>
                  <a:pt x="3968722" y="4796711"/>
                </a:cubicBezTo>
                <a:cubicBezTo>
                  <a:pt x="3971252" y="4799240"/>
                  <a:pt x="3973382" y="4802435"/>
                  <a:pt x="3974846" y="4806029"/>
                </a:cubicBezTo>
                <a:cubicBezTo>
                  <a:pt x="3976310" y="4809624"/>
                  <a:pt x="3977109" y="4813351"/>
                  <a:pt x="3977109" y="4817477"/>
                </a:cubicBezTo>
                <a:cubicBezTo>
                  <a:pt x="3977109" y="4821604"/>
                  <a:pt x="3976310" y="4825597"/>
                  <a:pt x="3974846" y="4829192"/>
                </a:cubicBezTo>
                <a:cubicBezTo>
                  <a:pt x="3973382" y="4832787"/>
                  <a:pt x="3971252" y="4835848"/>
                  <a:pt x="3968722" y="4838511"/>
                </a:cubicBezTo>
                <a:cubicBezTo>
                  <a:pt x="3966060" y="4841173"/>
                  <a:pt x="3962998" y="4843303"/>
                  <a:pt x="3959404" y="4844767"/>
                </a:cubicBezTo>
                <a:cubicBezTo>
                  <a:pt x="3955808" y="4846231"/>
                  <a:pt x="3951948" y="4847030"/>
                  <a:pt x="3947686" y="4847030"/>
                </a:cubicBezTo>
                <a:cubicBezTo>
                  <a:pt x="3938633" y="4847030"/>
                  <a:pt x="3931445" y="4844102"/>
                  <a:pt x="3925854" y="4838511"/>
                </a:cubicBezTo>
                <a:cubicBezTo>
                  <a:pt x="3920263" y="4832920"/>
                  <a:pt x="3917467" y="4825730"/>
                  <a:pt x="3917467" y="4817344"/>
                </a:cubicBezTo>
                <a:cubicBezTo>
                  <a:pt x="3917467" y="4809091"/>
                  <a:pt x="3920263" y="4802036"/>
                  <a:pt x="3925854" y="4796312"/>
                </a:cubicBezTo>
                <a:cubicBezTo>
                  <a:pt x="3931445" y="4790455"/>
                  <a:pt x="3938633" y="4787659"/>
                  <a:pt x="3947686" y="4787659"/>
                </a:cubicBezTo>
                <a:close/>
                <a:moveTo>
                  <a:pt x="3730029" y="4787659"/>
                </a:moveTo>
                <a:cubicBezTo>
                  <a:pt x="3734290" y="4787659"/>
                  <a:pt x="3738282" y="4788458"/>
                  <a:pt x="3741745" y="4790321"/>
                </a:cubicBezTo>
                <a:cubicBezTo>
                  <a:pt x="3745339" y="4791919"/>
                  <a:pt x="3748534" y="4794049"/>
                  <a:pt x="3751063" y="4796711"/>
                </a:cubicBezTo>
                <a:cubicBezTo>
                  <a:pt x="3753592" y="4799240"/>
                  <a:pt x="3755722" y="4802435"/>
                  <a:pt x="3757186" y="4806029"/>
                </a:cubicBezTo>
                <a:cubicBezTo>
                  <a:pt x="3758650" y="4809624"/>
                  <a:pt x="3759449" y="4813351"/>
                  <a:pt x="3759449" y="4817477"/>
                </a:cubicBezTo>
                <a:cubicBezTo>
                  <a:pt x="3759449" y="4821604"/>
                  <a:pt x="3758650" y="4825597"/>
                  <a:pt x="3757186" y="4829192"/>
                </a:cubicBezTo>
                <a:cubicBezTo>
                  <a:pt x="3755722" y="4832787"/>
                  <a:pt x="3753592" y="4835848"/>
                  <a:pt x="3751063" y="4838511"/>
                </a:cubicBezTo>
                <a:cubicBezTo>
                  <a:pt x="3748400" y="4841173"/>
                  <a:pt x="3745339" y="4843303"/>
                  <a:pt x="3741745" y="4844767"/>
                </a:cubicBezTo>
                <a:cubicBezTo>
                  <a:pt x="3738151" y="4846231"/>
                  <a:pt x="3734290" y="4847030"/>
                  <a:pt x="3730029" y="4847030"/>
                </a:cubicBezTo>
                <a:cubicBezTo>
                  <a:pt x="3720977" y="4847030"/>
                  <a:pt x="3713787" y="4844102"/>
                  <a:pt x="3708190" y="4838511"/>
                </a:cubicBezTo>
                <a:cubicBezTo>
                  <a:pt x="3702598" y="4832920"/>
                  <a:pt x="3699804" y="4825730"/>
                  <a:pt x="3699804" y="4817344"/>
                </a:cubicBezTo>
                <a:cubicBezTo>
                  <a:pt x="3699804" y="4809091"/>
                  <a:pt x="3702598" y="4802036"/>
                  <a:pt x="3708190" y="4796312"/>
                </a:cubicBezTo>
                <a:cubicBezTo>
                  <a:pt x="3713787" y="4790455"/>
                  <a:pt x="3720977" y="4787659"/>
                  <a:pt x="3730029" y="4787659"/>
                </a:cubicBezTo>
                <a:close/>
                <a:moveTo>
                  <a:pt x="3512370" y="4787659"/>
                </a:moveTo>
                <a:cubicBezTo>
                  <a:pt x="3516631" y="4787659"/>
                  <a:pt x="3520624" y="4788458"/>
                  <a:pt x="3524086" y="4790321"/>
                </a:cubicBezTo>
                <a:cubicBezTo>
                  <a:pt x="3527680" y="4791919"/>
                  <a:pt x="3530875" y="4794049"/>
                  <a:pt x="3533404" y="4796711"/>
                </a:cubicBezTo>
                <a:cubicBezTo>
                  <a:pt x="3535933" y="4799240"/>
                  <a:pt x="3538063" y="4802435"/>
                  <a:pt x="3539527" y="4806029"/>
                </a:cubicBezTo>
                <a:cubicBezTo>
                  <a:pt x="3540991" y="4809624"/>
                  <a:pt x="3541790" y="4813351"/>
                  <a:pt x="3541790" y="4817477"/>
                </a:cubicBezTo>
                <a:cubicBezTo>
                  <a:pt x="3541790" y="4821604"/>
                  <a:pt x="3540991" y="4825597"/>
                  <a:pt x="3539527" y="4829192"/>
                </a:cubicBezTo>
                <a:cubicBezTo>
                  <a:pt x="3538063" y="4832787"/>
                  <a:pt x="3535933" y="4835848"/>
                  <a:pt x="3533404" y="4838511"/>
                </a:cubicBezTo>
                <a:cubicBezTo>
                  <a:pt x="3530741" y="4841173"/>
                  <a:pt x="3527680" y="4843303"/>
                  <a:pt x="3524086" y="4844767"/>
                </a:cubicBezTo>
                <a:cubicBezTo>
                  <a:pt x="3520492" y="4846231"/>
                  <a:pt x="3516631" y="4847030"/>
                  <a:pt x="3512370" y="4847030"/>
                </a:cubicBezTo>
                <a:cubicBezTo>
                  <a:pt x="3503315" y="4847030"/>
                  <a:pt x="3496125" y="4844102"/>
                  <a:pt x="3490534" y="4838511"/>
                </a:cubicBezTo>
                <a:cubicBezTo>
                  <a:pt x="3484943" y="4832920"/>
                  <a:pt x="3482147" y="4825730"/>
                  <a:pt x="3482147" y="4817344"/>
                </a:cubicBezTo>
                <a:cubicBezTo>
                  <a:pt x="3482147" y="4809091"/>
                  <a:pt x="3484943" y="4802036"/>
                  <a:pt x="3490534" y="4796312"/>
                </a:cubicBezTo>
                <a:cubicBezTo>
                  <a:pt x="3496125" y="4790455"/>
                  <a:pt x="3503315" y="4787659"/>
                  <a:pt x="3512370" y="4787659"/>
                </a:cubicBezTo>
                <a:close/>
                <a:moveTo>
                  <a:pt x="3294845" y="4787659"/>
                </a:moveTo>
                <a:cubicBezTo>
                  <a:pt x="3298972" y="4787659"/>
                  <a:pt x="3302966" y="4788458"/>
                  <a:pt x="3306560" y="4790321"/>
                </a:cubicBezTo>
                <a:cubicBezTo>
                  <a:pt x="3310287" y="4791919"/>
                  <a:pt x="3313349" y="4794049"/>
                  <a:pt x="3315878" y="4796711"/>
                </a:cubicBezTo>
                <a:cubicBezTo>
                  <a:pt x="3318407" y="4799240"/>
                  <a:pt x="3320538" y="4802435"/>
                  <a:pt x="3322002" y="4806029"/>
                </a:cubicBezTo>
                <a:cubicBezTo>
                  <a:pt x="3323466" y="4809624"/>
                  <a:pt x="3324265" y="4813351"/>
                  <a:pt x="3324265" y="4817477"/>
                </a:cubicBezTo>
                <a:cubicBezTo>
                  <a:pt x="3324265" y="4821604"/>
                  <a:pt x="3323466" y="4825597"/>
                  <a:pt x="3322002" y="4829192"/>
                </a:cubicBezTo>
                <a:cubicBezTo>
                  <a:pt x="3320538" y="4832787"/>
                  <a:pt x="3318407" y="4835848"/>
                  <a:pt x="3315878" y="4838511"/>
                </a:cubicBezTo>
                <a:cubicBezTo>
                  <a:pt x="3313215" y="4841173"/>
                  <a:pt x="3310154" y="4843303"/>
                  <a:pt x="3306560" y="4844767"/>
                </a:cubicBezTo>
                <a:cubicBezTo>
                  <a:pt x="3302966" y="4846231"/>
                  <a:pt x="3299105" y="4847030"/>
                  <a:pt x="3294845" y="4847030"/>
                </a:cubicBezTo>
                <a:cubicBezTo>
                  <a:pt x="3285791" y="4847030"/>
                  <a:pt x="3278601" y="4844102"/>
                  <a:pt x="3273007" y="4838511"/>
                </a:cubicBezTo>
                <a:cubicBezTo>
                  <a:pt x="3267415" y="4832920"/>
                  <a:pt x="3264620" y="4825730"/>
                  <a:pt x="3264620" y="4817344"/>
                </a:cubicBezTo>
                <a:cubicBezTo>
                  <a:pt x="3264620" y="4809091"/>
                  <a:pt x="3267415" y="4802036"/>
                  <a:pt x="3273007" y="4796312"/>
                </a:cubicBezTo>
                <a:cubicBezTo>
                  <a:pt x="3278601" y="4790455"/>
                  <a:pt x="3285791" y="4787659"/>
                  <a:pt x="3294845" y="4787659"/>
                </a:cubicBezTo>
                <a:close/>
                <a:moveTo>
                  <a:pt x="3077186" y="4787659"/>
                </a:moveTo>
                <a:cubicBezTo>
                  <a:pt x="3081313" y="4787659"/>
                  <a:pt x="3085307" y="4788458"/>
                  <a:pt x="3088901" y="4790321"/>
                </a:cubicBezTo>
                <a:cubicBezTo>
                  <a:pt x="3092495" y="4791919"/>
                  <a:pt x="3095691" y="4794049"/>
                  <a:pt x="3098219" y="4796711"/>
                </a:cubicBezTo>
                <a:cubicBezTo>
                  <a:pt x="3100748" y="4799240"/>
                  <a:pt x="3102878" y="4802435"/>
                  <a:pt x="3104342" y="4806029"/>
                </a:cubicBezTo>
                <a:cubicBezTo>
                  <a:pt x="3105808" y="4809624"/>
                  <a:pt x="3106605" y="4813351"/>
                  <a:pt x="3106605" y="4817477"/>
                </a:cubicBezTo>
                <a:cubicBezTo>
                  <a:pt x="3106605" y="4821604"/>
                  <a:pt x="3105808" y="4825597"/>
                  <a:pt x="3104342" y="4829192"/>
                </a:cubicBezTo>
                <a:cubicBezTo>
                  <a:pt x="3102878" y="4832787"/>
                  <a:pt x="3100748" y="4835848"/>
                  <a:pt x="3098219" y="4838511"/>
                </a:cubicBezTo>
                <a:cubicBezTo>
                  <a:pt x="3095557" y="4841173"/>
                  <a:pt x="3092495" y="4843303"/>
                  <a:pt x="3088901" y="4844767"/>
                </a:cubicBezTo>
                <a:cubicBezTo>
                  <a:pt x="3085307" y="4846231"/>
                  <a:pt x="3081446" y="4847030"/>
                  <a:pt x="3077186" y="4847030"/>
                </a:cubicBezTo>
                <a:cubicBezTo>
                  <a:pt x="3068265" y="4847030"/>
                  <a:pt x="3060943" y="4844102"/>
                  <a:pt x="3055349" y="4838511"/>
                </a:cubicBezTo>
                <a:cubicBezTo>
                  <a:pt x="3049758" y="4832920"/>
                  <a:pt x="3046962" y="4825730"/>
                  <a:pt x="3046962" y="4817344"/>
                </a:cubicBezTo>
                <a:cubicBezTo>
                  <a:pt x="3046962" y="4809091"/>
                  <a:pt x="3049758" y="4802036"/>
                  <a:pt x="3055349" y="4796312"/>
                </a:cubicBezTo>
                <a:cubicBezTo>
                  <a:pt x="3060943" y="4790455"/>
                  <a:pt x="3068133" y="4787659"/>
                  <a:pt x="3077186" y="4787659"/>
                </a:cubicBezTo>
                <a:close/>
                <a:moveTo>
                  <a:pt x="2859527" y="4787659"/>
                </a:moveTo>
                <a:cubicBezTo>
                  <a:pt x="2863788" y="4787659"/>
                  <a:pt x="2867648" y="4788458"/>
                  <a:pt x="2871375" y="4790321"/>
                </a:cubicBezTo>
                <a:cubicBezTo>
                  <a:pt x="2875102" y="4791919"/>
                  <a:pt x="2878164" y="4794049"/>
                  <a:pt x="2880693" y="4796711"/>
                </a:cubicBezTo>
                <a:cubicBezTo>
                  <a:pt x="2883355" y="4799240"/>
                  <a:pt x="2885353" y="4802435"/>
                  <a:pt x="2886817" y="4806029"/>
                </a:cubicBezTo>
                <a:cubicBezTo>
                  <a:pt x="2888281" y="4809624"/>
                  <a:pt x="2889080" y="4813351"/>
                  <a:pt x="2889080" y="4817477"/>
                </a:cubicBezTo>
                <a:cubicBezTo>
                  <a:pt x="2889080" y="4821604"/>
                  <a:pt x="2888281" y="4825597"/>
                  <a:pt x="2886817" y="4829192"/>
                </a:cubicBezTo>
                <a:cubicBezTo>
                  <a:pt x="2885353" y="4832787"/>
                  <a:pt x="2883223" y="4835848"/>
                  <a:pt x="2880693" y="4838511"/>
                </a:cubicBezTo>
                <a:cubicBezTo>
                  <a:pt x="2878032" y="4841173"/>
                  <a:pt x="2874969" y="4843303"/>
                  <a:pt x="2871375" y="4844767"/>
                </a:cubicBezTo>
                <a:cubicBezTo>
                  <a:pt x="2867648" y="4846231"/>
                  <a:pt x="2863788" y="4847030"/>
                  <a:pt x="2859527" y="4847030"/>
                </a:cubicBezTo>
                <a:cubicBezTo>
                  <a:pt x="2850609" y="4847030"/>
                  <a:pt x="2843281" y="4844102"/>
                  <a:pt x="2837690" y="4838511"/>
                </a:cubicBezTo>
                <a:cubicBezTo>
                  <a:pt x="2832099" y="4832920"/>
                  <a:pt x="2829303" y="4825730"/>
                  <a:pt x="2829303" y="4817344"/>
                </a:cubicBezTo>
                <a:cubicBezTo>
                  <a:pt x="2829303" y="4809091"/>
                  <a:pt x="2832099" y="4802036"/>
                  <a:pt x="2837690" y="4796312"/>
                </a:cubicBezTo>
                <a:cubicBezTo>
                  <a:pt x="2843281" y="4790455"/>
                  <a:pt x="2850475" y="4787659"/>
                  <a:pt x="2859527" y="4787659"/>
                </a:cubicBezTo>
                <a:close/>
                <a:moveTo>
                  <a:pt x="2641868" y="4787659"/>
                </a:moveTo>
                <a:cubicBezTo>
                  <a:pt x="2646128" y="4787659"/>
                  <a:pt x="2649988" y="4788458"/>
                  <a:pt x="2653584" y="4790321"/>
                </a:cubicBezTo>
                <a:cubicBezTo>
                  <a:pt x="2657311" y="4791919"/>
                  <a:pt x="2660372" y="4794049"/>
                  <a:pt x="2662902" y="4796711"/>
                </a:cubicBezTo>
                <a:cubicBezTo>
                  <a:pt x="2665563" y="4799240"/>
                  <a:pt x="2667561" y="4802435"/>
                  <a:pt x="2669025" y="4806029"/>
                </a:cubicBezTo>
                <a:cubicBezTo>
                  <a:pt x="2670489" y="4809624"/>
                  <a:pt x="2671288" y="4813351"/>
                  <a:pt x="2671288" y="4817477"/>
                </a:cubicBezTo>
                <a:cubicBezTo>
                  <a:pt x="2671288" y="4821604"/>
                  <a:pt x="2670489" y="4825597"/>
                  <a:pt x="2669025" y="4829192"/>
                </a:cubicBezTo>
                <a:cubicBezTo>
                  <a:pt x="2667561" y="4832787"/>
                  <a:pt x="2665431" y="4835848"/>
                  <a:pt x="2662902" y="4838511"/>
                </a:cubicBezTo>
                <a:cubicBezTo>
                  <a:pt x="2660372" y="4841173"/>
                  <a:pt x="2657177" y="4843303"/>
                  <a:pt x="2653584" y="4844767"/>
                </a:cubicBezTo>
                <a:cubicBezTo>
                  <a:pt x="2649988" y="4846231"/>
                  <a:pt x="2646128" y="4847030"/>
                  <a:pt x="2641868" y="4847030"/>
                </a:cubicBezTo>
                <a:cubicBezTo>
                  <a:pt x="2632949" y="4847030"/>
                  <a:pt x="2625627" y="4844102"/>
                  <a:pt x="2620035" y="4838511"/>
                </a:cubicBezTo>
                <a:cubicBezTo>
                  <a:pt x="2614443" y="4832920"/>
                  <a:pt x="2611645" y="4825730"/>
                  <a:pt x="2611645" y="4817344"/>
                </a:cubicBezTo>
                <a:cubicBezTo>
                  <a:pt x="2611645" y="4809091"/>
                  <a:pt x="2614443" y="4802036"/>
                  <a:pt x="2620035" y="4796312"/>
                </a:cubicBezTo>
                <a:cubicBezTo>
                  <a:pt x="2625627" y="4790455"/>
                  <a:pt x="2632816" y="4787659"/>
                  <a:pt x="2641868" y="4787659"/>
                </a:cubicBezTo>
                <a:close/>
                <a:moveTo>
                  <a:pt x="2424209" y="4787659"/>
                </a:moveTo>
                <a:cubicBezTo>
                  <a:pt x="2428469" y="4787659"/>
                  <a:pt x="2432464" y="4788458"/>
                  <a:pt x="2435924" y="4790321"/>
                </a:cubicBezTo>
                <a:cubicBezTo>
                  <a:pt x="2439651" y="4791919"/>
                  <a:pt x="2442713" y="4794049"/>
                  <a:pt x="2445242" y="4796711"/>
                </a:cubicBezTo>
                <a:cubicBezTo>
                  <a:pt x="2447905" y="4799240"/>
                  <a:pt x="2449902" y="4802435"/>
                  <a:pt x="2451366" y="4806029"/>
                </a:cubicBezTo>
                <a:cubicBezTo>
                  <a:pt x="2452830" y="4809624"/>
                  <a:pt x="2453629" y="4813351"/>
                  <a:pt x="2453629" y="4817477"/>
                </a:cubicBezTo>
                <a:cubicBezTo>
                  <a:pt x="2453629" y="4821604"/>
                  <a:pt x="2452830" y="4825597"/>
                  <a:pt x="2451366" y="4829192"/>
                </a:cubicBezTo>
                <a:cubicBezTo>
                  <a:pt x="2449902" y="4832787"/>
                  <a:pt x="2447772" y="4835848"/>
                  <a:pt x="2445242" y="4838511"/>
                </a:cubicBezTo>
                <a:cubicBezTo>
                  <a:pt x="2442713" y="4841173"/>
                  <a:pt x="2439519" y="4843303"/>
                  <a:pt x="2435924" y="4844767"/>
                </a:cubicBezTo>
                <a:cubicBezTo>
                  <a:pt x="2432330" y="4846231"/>
                  <a:pt x="2428469" y="4847030"/>
                  <a:pt x="2424209" y="4847030"/>
                </a:cubicBezTo>
                <a:cubicBezTo>
                  <a:pt x="2415291" y="4847030"/>
                  <a:pt x="2407969" y="4844102"/>
                  <a:pt x="2402377" y="4838511"/>
                </a:cubicBezTo>
                <a:cubicBezTo>
                  <a:pt x="2396785" y="4832920"/>
                  <a:pt x="2393988" y="4825730"/>
                  <a:pt x="2393988" y="4817344"/>
                </a:cubicBezTo>
                <a:cubicBezTo>
                  <a:pt x="2393988" y="4809091"/>
                  <a:pt x="2396785" y="4802036"/>
                  <a:pt x="2402377" y="4796312"/>
                </a:cubicBezTo>
                <a:cubicBezTo>
                  <a:pt x="2407969" y="4790455"/>
                  <a:pt x="2415157" y="4787659"/>
                  <a:pt x="2424209" y="4787659"/>
                </a:cubicBezTo>
                <a:close/>
                <a:moveTo>
                  <a:pt x="2206550" y="4787659"/>
                </a:moveTo>
                <a:cubicBezTo>
                  <a:pt x="2210810" y="4787659"/>
                  <a:pt x="2214805" y="4788458"/>
                  <a:pt x="2218265" y="4790321"/>
                </a:cubicBezTo>
                <a:cubicBezTo>
                  <a:pt x="2221992" y="4791919"/>
                  <a:pt x="2225054" y="4794049"/>
                  <a:pt x="2227584" y="4796711"/>
                </a:cubicBezTo>
                <a:cubicBezTo>
                  <a:pt x="2230246" y="4799240"/>
                  <a:pt x="2232243" y="4802435"/>
                  <a:pt x="2233707" y="4806029"/>
                </a:cubicBezTo>
                <a:cubicBezTo>
                  <a:pt x="2235171" y="4809624"/>
                  <a:pt x="2235970" y="4813351"/>
                  <a:pt x="2235970" y="4817477"/>
                </a:cubicBezTo>
                <a:cubicBezTo>
                  <a:pt x="2235970" y="4821604"/>
                  <a:pt x="2235171" y="4825597"/>
                  <a:pt x="2233707" y="4829192"/>
                </a:cubicBezTo>
                <a:cubicBezTo>
                  <a:pt x="2232243" y="4832787"/>
                  <a:pt x="2230112" y="4835848"/>
                  <a:pt x="2227584" y="4838511"/>
                </a:cubicBezTo>
                <a:cubicBezTo>
                  <a:pt x="2225054" y="4841173"/>
                  <a:pt x="2221860" y="4843303"/>
                  <a:pt x="2218265" y="4844767"/>
                </a:cubicBezTo>
                <a:cubicBezTo>
                  <a:pt x="2214671" y="4846231"/>
                  <a:pt x="2210810" y="4847030"/>
                  <a:pt x="2206550" y="4847030"/>
                </a:cubicBezTo>
                <a:cubicBezTo>
                  <a:pt x="2197498" y="4847030"/>
                  <a:pt x="2190310" y="4844102"/>
                  <a:pt x="2184717" y="4838511"/>
                </a:cubicBezTo>
                <a:cubicBezTo>
                  <a:pt x="2179126" y="4832920"/>
                  <a:pt x="2176330" y="4825730"/>
                  <a:pt x="2176330" y="4817344"/>
                </a:cubicBezTo>
                <a:cubicBezTo>
                  <a:pt x="2176330" y="4809091"/>
                  <a:pt x="2179126" y="4802036"/>
                  <a:pt x="2184717" y="4796312"/>
                </a:cubicBezTo>
                <a:cubicBezTo>
                  <a:pt x="2190310" y="4790455"/>
                  <a:pt x="2197498" y="4787659"/>
                  <a:pt x="2206550" y="4787659"/>
                </a:cubicBezTo>
                <a:close/>
                <a:moveTo>
                  <a:pt x="1989024" y="4787659"/>
                </a:moveTo>
                <a:cubicBezTo>
                  <a:pt x="1993151" y="4787659"/>
                  <a:pt x="1997146" y="4788458"/>
                  <a:pt x="2000740" y="4790321"/>
                </a:cubicBezTo>
                <a:cubicBezTo>
                  <a:pt x="2004467" y="4791919"/>
                  <a:pt x="2007528" y="4794049"/>
                  <a:pt x="2010058" y="4796711"/>
                </a:cubicBezTo>
                <a:cubicBezTo>
                  <a:pt x="2012719" y="4799240"/>
                  <a:pt x="2014717" y="4802435"/>
                  <a:pt x="2016181" y="4806029"/>
                </a:cubicBezTo>
                <a:cubicBezTo>
                  <a:pt x="2017645" y="4809624"/>
                  <a:pt x="2018444" y="4813351"/>
                  <a:pt x="2018444" y="4817477"/>
                </a:cubicBezTo>
                <a:cubicBezTo>
                  <a:pt x="2018444" y="4821604"/>
                  <a:pt x="2017645" y="4825597"/>
                  <a:pt x="2016181" y="4829192"/>
                </a:cubicBezTo>
                <a:cubicBezTo>
                  <a:pt x="2014717" y="4832787"/>
                  <a:pt x="2012587" y="4835848"/>
                  <a:pt x="2010058" y="4838511"/>
                </a:cubicBezTo>
                <a:cubicBezTo>
                  <a:pt x="2007528" y="4841173"/>
                  <a:pt x="2004333" y="4843303"/>
                  <a:pt x="2000740" y="4844767"/>
                </a:cubicBezTo>
                <a:cubicBezTo>
                  <a:pt x="1997146" y="4846231"/>
                  <a:pt x="1993284" y="4847030"/>
                  <a:pt x="1989024" y="4847030"/>
                </a:cubicBezTo>
                <a:cubicBezTo>
                  <a:pt x="1979973" y="4847030"/>
                  <a:pt x="1972784" y="4844102"/>
                  <a:pt x="1967193" y="4838511"/>
                </a:cubicBezTo>
                <a:cubicBezTo>
                  <a:pt x="1961603" y="4832920"/>
                  <a:pt x="1958807" y="4825730"/>
                  <a:pt x="1958807" y="4817344"/>
                </a:cubicBezTo>
                <a:cubicBezTo>
                  <a:pt x="1958807" y="4809091"/>
                  <a:pt x="1961603" y="4802036"/>
                  <a:pt x="1967193" y="4796312"/>
                </a:cubicBezTo>
                <a:cubicBezTo>
                  <a:pt x="1972784" y="4790455"/>
                  <a:pt x="1979973" y="4787659"/>
                  <a:pt x="1989024" y="4787659"/>
                </a:cubicBezTo>
                <a:close/>
                <a:moveTo>
                  <a:pt x="1771389" y="4787659"/>
                </a:moveTo>
                <a:cubicBezTo>
                  <a:pt x="1775648" y="4787659"/>
                  <a:pt x="1779508" y="4788458"/>
                  <a:pt x="1783103" y="4790321"/>
                </a:cubicBezTo>
                <a:cubicBezTo>
                  <a:pt x="1786830" y="4791919"/>
                  <a:pt x="1789892" y="4794049"/>
                  <a:pt x="1792421" y="4796711"/>
                </a:cubicBezTo>
                <a:cubicBezTo>
                  <a:pt x="1795083" y="4799240"/>
                  <a:pt x="1797080" y="4802435"/>
                  <a:pt x="1798544" y="4806029"/>
                </a:cubicBezTo>
                <a:cubicBezTo>
                  <a:pt x="1800008" y="4809624"/>
                  <a:pt x="1800806" y="4813351"/>
                  <a:pt x="1800806" y="4817477"/>
                </a:cubicBezTo>
                <a:cubicBezTo>
                  <a:pt x="1800806" y="4821604"/>
                  <a:pt x="1800008" y="4825597"/>
                  <a:pt x="1798544" y="4829192"/>
                </a:cubicBezTo>
                <a:cubicBezTo>
                  <a:pt x="1797080" y="4832787"/>
                  <a:pt x="1794950" y="4835848"/>
                  <a:pt x="1792421" y="4838511"/>
                </a:cubicBezTo>
                <a:cubicBezTo>
                  <a:pt x="1789758" y="4841173"/>
                  <a:pt x="1786697" y="4843303"/>
                  <a:pt x="1783103" y="4844767"/>
                </a:cubicBezTo>
                <a:cubicBezTo>
                  <a:pt x="1779508" y="4846231"/>
                  <a:pt x="1775648" y="4847030"/>
                  <a:pt x="1771389" y="4847030"/>
                </a:cubicBezTo>
                <a:cubicBezTo>
                  <a:pt x="1762470" y="4847030"/>
                  <a:pt x="1755150" y="4844102"/>
                  <a:pt x="1749560" y="4838511"/>
                </a:cubicBezTo>
                <a:cubicBezTo>
                  <a:pt x="1743969" y="4832920"/>
                  <a:pt x="1741176" y="4825730"/>
                  <a:pt x="1741176" y="4817344"/>
                </a:cubicBezTo>
                <a:cubicBezTo>
                  <a:pt x="1741176" y="4809091"/>
                  <a:pt x="1743969" y="4802036"/>
                  <a:pt x="1749560" y="4796312"/>
                </a:cubicBezTo>
                <a:cubicBezTo>
                  <a:pt x="1755150" y="4790455"/>
                  <a:pt x="1762337" y="4787659"/>
                  <a:pt x="1771389" y="4787659"/>
                </a:cubicBezTo>
                <a:close/>
                <a:moveTo>
                  <a:pt x="1553751" y="4787659"/>
                </a:moveTo>
                <a:cubicBezTo>
                  <a:pt x="1558011" y="4787659"/>
                  <a:pt x="1561872" y="4788458"/>
                  <a:pt x="1565466" y="4790321"/>
                </a:cubicBezTo>
                <a:cubicBezTo>
                  <a:pt x="1569060" y="4791919"/>
                  <a:pt x="1572255" y="4794049"/>
                  <a:pt x="1574784" y="4796711"/>
                </a:cubicBezTo>
                <a:cubicBezTo>
                  <a:pt x="1577446" y="4799240"/>
                  <a:pt x="1579443" y="4802435"/>
                  <a:pt x="1580907" y="4806029"/>
                </a:cubicBezTo>
                <a:cubicBezTo>
                  <a:pt x="1582371" y="4809624"/>
                  <a:pt x="1583170" y="4813351"/>
                  <a:pt x="1583170" y="4817477"/>
                </a:cubicBezTo>
                <a:cubicBezTo>
                  <a:pt x="1583170" y="4821604"/>
                  <a:pt x="1582371" y="4825597"/>
                  <a:pt x="1580907" y="4829192"/>
                </a:cubicBezTo>
                <a:cubicBezTo>
                  <a:pt x="1579443" y="4832787"/>
                  <a:pt x="1577313" y="4835848"/>
                  <a:pt x="1574784" y="4838511"/>
                </a:cubicBezTo>
                <a:cubicBezTo>
                  <a:pt x="1572122" y="4841173"/>
                  <a:pt x="1569060" y="4843303"/>
                  <a:pt x="1565466" y="4844767"/>
                </a:cubicBezTo>
                <a:cubicBezTo>
                  <a:pt x="1561872" y="4846231"/>
                  <a:pt x="1558011" y="4847030"/>
                  <a:pt x="1553751" y="4847030"/>
                </a:cubicBezTo>
                <a:cubicBezTo>
                  <a:pt x="1544833" y="4847030"/>
                  <a:pt x="1537511" y="4844102"/>
                  <a:pt x="1531921" y="4838511"/>
                </a:cubicBezTo>
                <a:cubicBezTo>
                  <a:pt x="1526332" y="4832920"/>
                  <a:pt x="1523535" y="4825730"/>
                  <a:pt x="1523535" y="4817344"/>
                </a:cubicBezTo>
                <a:cubicBezTo>
                  <a:pt x="1523535" y="4809091"/>
                  <a:pt x="1526332" y="4802036"/>
                  <a:pt x="1531921" y="4796312"/>
                </a:cubicBezTo>
                <a:cubicBezTo>
                  <a:pt x="1537511" y="4790455"/>
                  <a:pt x="1544698" y="4787659"/>
                  <a:pt x="1553751" y="4787659"/>
                </a:cubicBezTo>
                <a:close/>
                <a:moveTo>
                  <a:pt x="1336107" y="4787659"/>
                </a:moveTo>
                <a:cubicBezTo>
                  <a:pt x="1340367" y="4787659"/>
                  <a:pt x="1344362" y="4788458"/>
                  <a:pt x="1347823" y="4790321"/>
                </a:cubicBezTo>
                <a:cubicBezTo>
                  <a:pt x="1351416" y="4791919"/>
                  <a:pt x="1354611" y="4794049"/>
                  <a:pt x="1357141" y="4796711"/>
                </a:cubicBezTo>
                <a:cubicBezTo>
                  <a:pt x="1359803" y="4799240"/>
                  <a:pt x="1361800" y="4802435"/>
                  <a:pt x="1363264" y="4806029"/>
                </a:cubicBezTo>
                <a:cubicBezTo>
                  <a:pt x="1364728" y="4809624"/>
                  <a:pt x="1365526" y="4813351"/>
                  <a:pt x="1365526" y="4817477"/>
                </a:cubicBezTo>
                <a:cubicBezTo>
                  <a:pt x="1365526" y="4821604"/>
                  <a:pt x="1364728" y="4825597"/>
                  <a:pt x="1363264" y="4829192"/>
                </a:cubicBezTo>
                <a:cubicBezTo>
                  <a:pt x="1361800" y="4832787"/>
                  <a:pt x="1359670" y="4835848"/>
                  <a:pt x="1357141" y="4838511"/>
                </a:cubicBezTo>
                <a:cubicBezTo>
                  <a:pt x="1354477" y="4841173"/>
                  <a:pt x="1351416" y="4843303"/>
                  <a:pt x="1347823" y="4844767"/>
                </a:cubicBezTo>
                <a:cubicBezTo>
                  <a:pt x="1344228" y="4846231"/>
                  <a:pt x="1340367" y="4847030"/>
                  <a:pt x="1336107" y="4847030"/>
                </a:cubicBezTo>
                <a:cubicBezTo>
                  <a:pt x="1327187" y="4847030"/>
                  <a:pt x="1319866" y="4844102"/>
                  <a:pt x="1314275" y="4838511"/>
                </a:cubicBezTo>
                <a:cubicBezTo>
                  <a:pt x="1308684" y="4832920"/>
                  <a:pt x="1305889" y="4825730"/>
                  <a:pt x="1305889" y="4817344"/>
                </a:cubicBezTo>
                <a:cubicBezTo>
                  <a:pt x="1305889" y="4809091"/>
                  <a:pt x="1308684" y="4802036"/>
                  <a:pt x="1314275" y="4796312"/>
                </a:cubicBezTo>
                <a:cubicBezTo>
                  <a:pt x="1319866" y="4790455"/>
                  <a:pt x="1327054" y="4787659"/>
                  <a:pt x="1336107" y="4787659"/>
                </a:cubicBezTo>
                <a:close/>
                <a:moveTo>
                  <a:pt x="1118462" y="4787659"/>
                </a:moveTo>
                <a:cubicBezTo>
                  <a:pt x="1122723" y="4787659"/>
                  <a:pt x="1126719" y="4788458"/>
                  <a:pt x="1130180" y="4790321"/>
                </a:cubicBezTo>
                <a:cubicBezTo>
                  <a:pt x="1133906" y="4791919"/>
                  <a:pt x="1136969" y="4794049"/>
                  <a:pt x="1139495" y="4796711"/>
                </a:cubicBezTo>
                <a:cubicBezTo>
                  <a:pt x="1142156" y="4799240"/>
                  <a:pt x="1144152" y="4802435"/>
                  <a:pt x="1145615" y="4806029"/>
                </a:cubicBezTo>
                <a:cubicBezTo>
                  <a:pt x="1147080" y="4809624"/>
                  <a:pt x="1147878" y="4813351"/>
                  <a:pt x="1147878" y="4817477"/>
                </a:cubicBezTo>
                <a:cubicBezTo>
                  <a:pt x="1147878" y="4821604"/>
                  <a:pt x="1147080" y="4825597"/>
                  <a:pt x="1145615" y="4829192"/>
                </a:cubicBezTo>
                <a:cubicBezTo>
                  <a:pt x="1144152" y="4832787"/>
                  <a:pt x="1142023" y="4835848"/>
                  <a:pt x="1139495" y="4838511"/>
                </a:cubicBezTo>
                <a:cubicBezTo>
                  <a:pt x="1136969" y="4841173"/>
                  <a:pt x="1133774" y="4843303"/>
                  <a:pt x="1130180" y="4844767"/>
                </a:cubicBezTo>
                <a:cubicBezTo>
                  <a:pt x="1126583" y="4846231"/>
                  <a:pt x="1122723" y="4847030"/>
                  <a:pt x="1118462" y="4847030"/>
                </a:cubicBezTo>
                <a:cubicBezTo>
                  <a:pt x="1109542" y="4847030"/>
                  <a:pt x="1102218" y="4844102"/>
                  <a:pt x="1096627" y="4838511"/>
                </a:cubicBezTo>
                <a:cubicBezTo>
                  <a:pt x="1091037" y="4832920"/>
                  <a:pt x="1088243" y="4825730"/>
                  <a:pt x="1088243" y="4817344"/>
                </a:cubicBezTo>
                <a:cubicBezTo>
                  <a:pt x="1088243" y="4809091"/>
                  <a:pt x="1091037" y="4802036"/>
                  <a:pt x="1096627" y="4796312"/>
                </a:cubicBezTo>
                <a:cubicBezTo>
                  <a:pt x="1102218" y="4790455"/>
                  <a:pt x="1109408" y="4787659"/>
                  <a:pt x="1118462" y="4787659"/>
                </a:cubicBezTo>
                <a:close/>
                <a:moveTo>
                  <a:pt x="900949" y="4787659"/>
                </a:moveTo>
                <a:cubicBezTo>
                  <a:pt x="905076" y="4787659"/>
                  <a:pt x="909070" y="4788458"/>
                  <a:pt x="912664" y="4790321"/>
                </a:cubicBezTo>
                <a:cubicBezTo>
                  <a:pt x="916391" y="4791919"/>
                  <a:pt x="919453" y="4794049"/>
                  <a:pt x="921982" y="4796711"/>
                </a:cubicBezTo>
                <a:cubicBezTo>
                  <a:pt x="924644" y="4799240"/>
                  <a:pt x="926641" y="4802435"/>
                  <a:pt x="928105" y="4806029"/>
                </a:cubicBezTo>
                <a:cubicBezTo>
                  <a:pt x="929569" y="4809624"/>
                  <a:pt x="930368" y="4813351"/>
                  <a:pt x="930368" y="4817477"/>
                </a:cubicBezTo>
                <a:cubicBezTo>
                  <a:pt x="930368" y="4821604"/>
                  <a:pt x="929569" y="4825597"/>
                  <a:pt x="928105" y="4829192"/>
                </a:cubicBezTo>
                <a:cubicBezTo>
                  <a:pt x="926641" y="4832787"/>
                  <a:pt x="924511" y="4835848"/>
                  <a:pt x="921982" y="4838511"/>
                </a:cubicBezTo>
                <a:cubicBezTo>
                  <a:pt x="919453" y="4841173"/>
                  <a:pt x="916258" y="4843303"/>
                  <a:pt x="912664" y="4844767"/>
                </a:cubicBezTo>
                <a:cubicBezTo>
                  <a:pt x="909070" y="4846231"/>
                  <a:pt x="905209" y="4847030"/>
                  <a:pt x="900949" y="4847030"/>
                </a:cubicBezTo>
                <a:cubicBezTo>
                  <a:pt x="892031" y="4847030"/>
                  <a:pt x="884709" y="4844102"/>
                  <a:pt x="879118" y="4838511"/>
                </a:cubicBezTo>
                <a:cubicBezTo>
                  <a:pt x="873529" y="4832920"/>
                  <a:pt x="870733" y="4825730"/>
                  <a:pt x="870733" y="4817344"/>
                </a:cubicBezTo>
                <a:cubicBezTo>
                  <a:pt x="870733" y="4809091"/>
                  <a:pt x="873529" y="4802036"/>
                  <a:pt x="879118" y="4796312"/>
                </a:cubicBezTo>
                <a:cubicBezTo>
                  <a:pt x="884709" y="4790455"/>
                  <a:pt x="891898" y="4787659"/>
                  <a:pt x="900949" y="4787659"/>
                </a:cubicBezTo>
                <a:close/>
                <a:moveTo>
                  <a:pt x="683308" y="4787659"/>
                </a:moveTo>
                <a:cubicBezTo>
                  <a:pt x="687568" y="4787659"/>
                  <a:pt x="691429" y="4788458"/>
                  <a:pt x="695023" y="4790321"/>
                </a:cubicBezTo>
                <a:cubicBezTo>
                  <a:pt x="698750" y="4791919"/>
                  <a:pt x="701812" y="4794049"/>
                  <a:pt x="704341" y="4796711"/>
                </a:cubicBezTo>
                <a:cubicBezTo>
                  <a:pt x="707003" y="4799240"/>
                  <a:pt x="709000" y="4802435"/>
                  <a:pt x="710464" y="4806029"/>
                </a:cubicBezTo>
                <a:cubicBezTo>
                  <a:pt x="711928" y="4809624"/>
                  <a:pt x="712727" y="4813351"/>
                  <a:pt x="712727" y="4817477"/>
                </a:cubicBezTo>
                <a:cubicBezTo>
                  <a:pt x="712727" y="4821604"/>
                  <a:pt x="711928" y="4825597"/>
                  <a:pt x="710464" y="4829192"/>
                </a:cubicBezTo>
                <a:cubicBezTo>
                  <a:pt x="709000" y="4832787"/>
                  <a:pt x="706870" y="4835848"/>
                  <a:pt x="704341" y="4838511"/>
                </a:cubicBezTo>
                <a:cubicBezTo>
                  <a:pt x="701812" y="4841173"/>
                  <a:pt x="698617" y="4843303"/>
                  <a:pt x="695023" y="4844767"/>
                </a:cubicBezTo>
                <a:cubicBezTo>
                  <a:pt x="691429" y="4846231"/>
                  <a:pt x="687568" y="4847030"/>
                  <a:pt x="683308" y="4847030"/>
                </a:cubicBezTo>
                <a:cubicBezTo>
                  <a:pt x="674390" y="4847030"/>
                  <a:pt x="667068" y="4844102"/>
                  <a:pt x="661477" y="4838511"/>
                </a:cubicBezTo>
                <a:cubicBezTo>
                  <a:pt x="655886" y="4832920"/>
                  <a:pt x="653091" y="4825730"/>
                  <a:pt x="653091" y="4817344"/>
                </a:cubicBezTo>
                <a:cubicBezTo>
                  <a:pt x="653091" y="4809091"/>
                  <a:pt x="655886" y="4802036"/>
                  <a:pt x="661477" y="4796312"/>
                </a:cubicBezTo>
                <a:cubicBezTo>
                  <a:pt x="667068" y="4790455"/>
                  <a:pt x="674257" y="4787659"/>
                  <a:pt x="683308" y="4787659"/>
                </a:cubicBezTo>
                <a:close/>
                <a:moveTo>
                  <a:pt x="465666" y="4787659"/>
                </a:moveTo>
                <a:cubicBezTo>
                  <a:pt x="469926" y="4787659"/>
                  <a:pt x="473787" y="4788458"/>
                  <a:pt x="477382" y="4790321"/>
                </a:cubicBezTo>
                <a:cubicBezTo>
                  <a:pt x="481109" y="4791919"/>
                  <a:pt x="484170" y="4794049"/>
                  <a:pt x="486699" y="4796711"/>
                </a:cubicBezTo>
                <a:cubicBezTo>
                  <a:pt x="489361" y="4799240"/>
                  <a:pt x="491358" y="4802435"/>
                  <a:pt x="492822" y="4806029"/>
                </a:cubicBezTo>
                <a:cubicBezTo>
                  <a:pt x="494286" y="4809624"/>
                  <a:pt x="495085" y="4813351"/>
                  <a:pt x="495085" y="4817477"/>
                </a:cubicBezTo>
                <a:cubicBezTo>
                  <a:pt x="495085" y="4821604"/>
                  <a:pt x="494286" y="4825597"/>
                  <a:pt x="492822" y="4829192"/>
                </a:cubicBezTo>
                <a:cubicBezTo>
                  <a:pt x="491358" y="4832787"/>
                  <a:pt x="489228" y="4835848"/>
                  <a:pt x="486699" y="4838511"/>
                </a:cubicBezTo>
                <a:cubicBezTo>
                  <a:pt x="484036" y="4841173"/>
                  <a:pt x="480976" y="4843303"/>
                  <a:pt x="477382" y="4844767"/>
                </a:cubicBezTo>
                <a:cubicBezTo>
                  <a:pt x="473787" y="4846231"/>
                  <a:pt x="469926" y="4847030"/>
                  <a:pt x="465666" y="4847030"/>
                </a:cubicBezTo>
                <a:cubicBezTo>
                  <a:pt x="456748" y="4847030"/>
                  <a:pt x="449426" y="4844102"/>
                  <a:pt x="443835" y="4838511"/>
                </a:cubicBezTo>
                <a:cubicBezTo>
                  <a:pt x="438244" y="4832920"/>
                  <a:pt x="435449" y="4825730"/>
                  <a:pt x="435449" y="4817344"/>
                </a:cubicBezTo>
                <a:cubicBezTo>
                  <a:pt x="435449" y="4809091"/>
                  <a:pt x="438244" y="4802036"/>
                  <a:pt x="443835" y="4796312"/>
                </a:cubicBezTo>
                <a:cubicBezTo>
                  <a:pt x="449426" y="4790455"/>
                  <a:pt x="456615" y="4787659"/>
                  <a:pt x="465666" y="4787659"/>
                </a:cubicBezTo>
                <a:close/>
                <a:moveTo>
                  <a:pt x="248024" y="4787659"/>
                </a:moveTo>
                <a:cubicBezTo>
                  <a:pt x="252284" y="4787659"/>
                  <a:pt x="256278" y="4788458"/>
                  <a:pt x="259739" y="4790321"/>
                </a:cubicBezTo>
                <a:cubicBezTo>
                  <a:pt x="263466" y="4791919"/>
                  <a:pt x="266528" y="4794049"/>
                  <a:pt x="269057" y="4796711"/>
                </a:cubicBezTo>
                <a:cubicBezTo>
                  <a:pt x="271719" y="4799240"/>
                  <a:pt x="273716" y="4802435"/>
                  <a:pt x="275180" y="4806029"/>
                </a:cubicBezTo>
                <a:cubicBezTo>
                  <a:pt x="276644" y="4809624"/>
                  <a:pt x="277443" y="4813351"/>
                  <a:pt x="277443" y="4817477"/>
                </a:cubicBezTo>
                <a:cubicBezTo>
                  <a:pt x="277443" y="4821604"/>
                  <a:pt x="276644" y="4825597"/>
                  <a:pt x="275180" y="4829192"/>
                </a:cubicBezTo>
                <a:cubicBezTo>
                  <a:pt x="273716" y="4832787"/>
                  <a:pt x="271586" y="4835848"/>
                  <a:pt x="269057" y="4838511"/>
                </a:cubicBezTo>
                <a:cubicBezTo>
                  <a:pt x="266394" y="4841173"/>
                  <a:pt x="263333" y="4843303"/>
                  <a:pt x="259739" y="4844767"/>
                </a:cubicBezTo>
                <a:cubicBezTo>
                  <a:pt x="256144" y="4846231"/>
                  <a:pt x="252284" y="4847030"/>
                  <a:pt x="248024" y="4847030"/>
                </a:cubicBezTo>
                <a:cubicBezTo>
                  <a:pt x="239107" y="4847030"/>
                  <a:pt x="231785" y="4844102"/>
                  <a:pt x="226195" y="4838511"/>
                </a:cubicBezTo>
                <a:cubicBezTo>
                  <a:pt x="220604" y="4832920"/>
                  <a:pt x="217809" y="4825730"/>
                  <a:pt x="217809" y="4817344"/>
                </a:cubicBezTo>
                <a:cubicBezTo>
                  <a:pt x="217809" y="4809091"/>
                  <a:pt x="220604" y="4802036"/>
                  <a:pt x="226195" y="4796312"/>
                </a:cubicBezTo>
                <a:cubicBezTo>
                  <a:pt x="231785" y="4790455"/>
                  <a:pt x="238973" y="4787659"/>
                  <a:pt x="248024" y="4787659"/>
                </a:cubicBezTo>
                <a:close/>
                <a:moveTo>
                  <a:pt x="30383" y="4787659"/>
                </a:moveTo>
                <a:cubicBezTo>
                  <a:pt x="34643" y="4787659"/>
                  <a:pt x="38637" y="4788458"/>
                  <a:pt x="42098" y="4790321"/>
                </a:cubicBezTo>
                <a:cubicBezTo>
                  <a:pt x="45825" y="4791919"/>
                  <a:pt x="48887" y="4794049"/>
                  <a:pt x="51416" y="4796711"/>
                </a:cubicBezTo>
                <a:cubicBezTo>
                  <a:pt x="54078" y="4799240"/>
                  <a:pt x="56075" y="4802435"/>
                  <a:pt x="57539" y="4806029"/>
                </a:cubicBezTo>
                <a:cubicBezTo>
                  <a:pt x="59003" y="4809624"/>
                  <a:pt x="59802" y="4813351"/>
                  <a:pt x="59802" y="4817477"/>
                </a:cubicBezTo>
                <a:cubicBezTo>
                  <a:pt x="59802" y="4821604"/>
                  <a:pt x="59003" y="4825597"/>
                  <a:pt x="57539" y="4829192"/>
                </a:cubicBezTo>
                <a:cubicBezTo>
                  <a:pt x="56075" y="4832787"/>
                  <a:pt x="53945" y="4835848"/>
                  <a:pt x="51416" y="4838511"/>
                </a:cubicBezTo>
                <a:cubicBezTo>
                  <a:pt x="48753" y="4841173"/>
                  <a:pt x="45692" y="4843303"/>
                  <a:pt x="42098" y="4844767"/>
                </a:cubicBezTo>
                <a:cubicBezTo>
                  <a:pt x="38504" y="4846231"/>
                  <a:pt x="34643" y="4847030"/>
                  <a:pt x="30383" y="4847030"/>
                </a:cubicBezTo>
                <a:cubicBezTo>
                  <a:pt x="21464" y="4847030"/>
                  <a:pt x="14144" y="4844102"/>
                  <a:pt x="8554" y="4838511"/>
                </a:cubicBezTo>
                <a:cubicBezTo>
                  <a:pt x="2963" y="4832920"/>
                  <a:pt x="168" y="4825730"/>
                  <a:pt x="168" y="4817344"/>
                </a:cubicBezTo>
                <a:cubicBezTo>
                  <a:pt x="168" y="4809091"/>
                  <a:pt x="2963" y="4802036"/>
                  <a:pt x="8554" y="4796312"/>
                </a:cubicBezTo>
                <a:cubicBezTo>
                  <a:pt x="14144" y="4790455"/>
                  <a:pt x="21330" y="4787659"/>
                  <a:pt x="30383" y="4787659"/>
                </a:cubicBezTo>
                <a:close/>
                <a:moveTo>
                  <a:pt x="10475977" y="4586655"/>
                </a:moveTo>
                <a:cubicBezTo>
                  <a:pt x="10470119" y="4586655"/>
                  <a:pt x="10467589" y="4588651"/>
                  <a:pt x="10465992" y="4590249"/>
                </a:cubicBezTo>
                <a:cubicBezTo>
                  <a:pt x="10463463" y="4592911"/>
                  <a:pt x="10462399" y="4595706"/>
                  <a:pt x="10462399" y="4599700"/>
                </a:cubicBezTo>
                <a:cubicBezTo>
                  <a:pt x="10462399" y="4603826"/>
                  <a:pt x="10463463" y="4606622"/>
                  <a:pt x="10465992" y="4609151"/>
                </a:cubicBezTo>
                <a:cubicBezTo>
                  <a:pt x="10467589" y="4610750"/>
                  <a:pt x="10470119" y="4612613"/>
                  <a:pt x="10475977" y="4612613"/>
                </a:cubicBezTo>
                <a:cubicBezTo>
                  <a:pt x="10478107" y="4612613"/>
                  <a:pt x="10479838" y="4612347"/>
                  <a:pt x="10481302" y="4611681"/>
                </a:cubicBezTo>
                <a:cubicBezTo>
                  <a:pt x="10482899" y="4611149"/>
                  <a:pt x="10484098" y="4610350"/>
                  <a:pt x="10485029" y="4609284"/>
                </a:cubicBezTo>
                <a:cubicBezTo>
                  <a:pt x="10486094" y="4608086"/>
                  <a:pt x="10487026" y="4606755"/>
                  <a:pt x="10487691" y="4605024"/>
                </a:cubicBezTo>
                <a:cubicBezTo>
                  <a:pt x="10488357" y="4603427"/>
                  <a:pt x="10488623" y="4601563"/>
                  <a:pt x="10488623" y="4599566"/>
                </a:cubicBezTo>
                <a:cubicBezTo>
                  <a:pt x="10488623" y="4597703"/>
                  <a:pt x="10488357" y="4595972"/>
                  <a:pt x="10487691" y="4594375"/>
                </a:cubicBezTo>
                <a:cubicBezTo>
                  <a:pt x="10487026" y="4592778"/>
                  <a:pt x="10486094" y="4591447"/>
                  <a:pt x="10485029" y="4590249"/>
                </a:cubicBezTo>
                <a:cubicBezTo>
                  <a:pt x="10483964" y="4589183"/>
                  <a:pt x="10482633" y="4588252"/>
                  <a:pt x="10481035" y="4587586"/>
                </a:cubicBezTo>
                <a:cubicBezTo>
                  <a:pt x="10479571" y="4586921"/>
                  <a:pt x="10477974" y="4586655"/>
                  <a:pt x="10475977" y="4586655"/>
                </a:cubicBezTo>
                <a:close/>
                <a:moveTo>
                  <a:pt x="10258466" y="4586655"/>
                </a:moveTo>
                <a:cubicBezTo>
                  <a:pt x="10252608" y="4586655"/>
                  <a:pt x="10250078" y="4588651"/>
                  <a:pt x="10248481" y="4590249"/>
                </a:cubicBezTo>
                <a:cubicBezTo>
                  <a:pt x="10245952" y="4592911"/>
                  <a:pt x="10244887" y="4595706"/>
                  <a:pt x="10244887" y="4599700"/>
                </a:cubicBezTo>
                <a:cubicBezTo>
                  <a:pt x="10244887" y="4603826"/>
                  <a:pt x="10245952" y="4606622"/>
                  <a:pt x="10248481" y="4609151"/>
                </a:cubicBezTo>
                <a:cubicBezTo>
                  <a:pt x="10250078" y="4610750"/>
                  <a:pt x="10252608" y="4612613"/>
                  <a:pt x="10258466" y="4612613"/>
                </a:cubicBezTo>
                <a:cubicBezTo>
                  <a:pt x="10260462" y="4612613"/>
                  <a:pt x="10262192" y="4612347"/>
                  <a:pt x="10263790" y="4611681"/>
                </a:cubicBezTo>
                <a:cubicBezTo>
                  <a:pt x="10265388" y="4611149"/>
                  <a:pt x="10266586" y="4610350"/>
                  <a:pt x="10267517" y="4609284"/>
                </a:cubicBezTo>
                <a:cubicBezTo>
                  <a:pt x="10268583" y="4608086"/>
                  <a:pt x="10269515" y="4606755"/>
                  <a:pt x="10270180" y="4605024"/>
                </a:cubicBezTo>
                <a:cubicBezTo>
                  <a:pt x="10270845" y="4603427"/>
                  <a:pt x="10271112" y="4601563"/>
                  <a:pt x="10271112" y="4599566"/>
                </a:cubicBezTo>
                <a:cubicBezTo>
                  <a:pt x="10271112" y="4597703"/>
                  <a:pt x="10270845" y="4595972"/>
                  <a:pt x="10270180" y="4594375"/>
                </a:cubicBezTo>
                <a:cubicBezTo>
                  <a:pt x="10269515" y="4592778"/>
                  <a:pt x="10268583" y="4591447"/>
                  <a:pt x="10267517" y="4590249"/>
                </a:cubicBezTo>
                <a:cubicBezTo>
                  <a:pt x="10266452" y="4589183"/>
                  <a:pt x="10265121" y="4588252"/>
                  <a:pt x="10263524" y="4587586"/>
                </a:cubicBezTo>
                <a:cubicBezTo>
                  <a:pt x="10262060" y="4586921"/>
                  <a:pt x="10260462" y="4586655"/>
                  <a:pt x="10258466" y="4586655"/>
                </a:cubicBezTo>
                <a:close/>
                <a:moveTo>
                  <a:pt x="10040820" y="4586655"/>
                </a:moveTo>
                <a:cubicBezTo>
                  <a:pt x="10034962" y="4586655"/>
                  <a:pt x="10032433" y="4588651"/>
                  <a:pt x="10030835" y="4590249"/>
                </a:cubicBezTo>
                <a:cubicBezTo>
                  <a:pt x="10028306" y="4592911"/>
                  <a:pt x="10027242" y="4595706"/>
                  <a:pt x="10027242" y="4599700"/>
                </a:cubicBezTo>
                <a:cubicBezTo>
                  <a:pt x="10027242" y="4603826"/>
                  <a:pt x="10028306" y="4606622"/>
                  <a:pt x="10030835" y="4609151"/>
                </a:cubicBezTo>
                <a:cubicBezTo>
                  <a:pt x="10032433" y="4610750"/>
                  <a:pt x="10034962" y="4612613"/>
                  <a:pt x="10040820" y="4612613"/>
                </a:cubicBezTo>
                <a:cubicBezTo>
                  <a:pt x="10042817" y="4612613"/>
                  <a:pt x="10044681" y="4612347"/>
                  <a:pt x="10046145" y="4611681"/>
                </a:cubicBezTo>
                <a:cubicBezTo>
                  <a:pt x="10047742" y="4611149"/>
                  <a:pt x="10048941" y="4610350"/>
                  <a:pt x="10049872" y="4609284"/>
                </a:cubicBezTo>
                <a:cubicBezTo>
                  <a:pt x="10050937" y="4608086"/>
                  <a:pt x="10051869" y="4606755"/>
                  <a:pt x="10052534" y="4605024"/>
                </a:cubicBezTo>
                <a:cubicBezTo>
                  <a:pt x="10053333" y="4603427"/>
                  <a:pt x="10053599" y="4601563"/>
                  <a:pt x="10053599" y="4599566"/>
                </a:cubicBezTo>
                <a:cubicBezTo>
                  <a:pt x="10053599" y="4597703"/>
                  <a:pt x="10053200" y="4595972"/>
                  <a:pt x="10052534" y="4594375"/>
                </a:cubicBezTo>
                <a:cubicBezTo>
                  <a:pt x="10051869" y="4592778"/>
                  <a:pt x="10050937" y="4591447"/>
                  <a:pt x="10049872" y="4590249"/>
                </a:cubicBezTo>
                <a:cubicBezTo>
                  <a:pt x="10048807" y="4589183"/>
                  <a:pt x="10047476" y="4588252"/>
                  <a:pt x="10045878" y="4587586"/>
                </a:cubicBezTo>
                <a:cubicBezTo>
                  <a:pt x="10044414" y="4586921"/>
                  <a:pt x="10042817" y="4586655"/>
                  <a:pt x="10040820" y="4586655"/>
                </a:cubicBezTo>
                <a:close/>
                <a:moveTo>
                  <a:pt x="9823176" y="4586655"/>
                </a:moveTo>
                <a:cubicBezTo>
                  <a:pt x="9817318" y="4586655"/>
                  <a:pt x="9814788" y="4588651"/>
                  <a:pt x="9813191" y="4590249"/>
                </a:cubicBezTo>
                <a:cubicBezTo>
                  <a:pt x="9810662" y="4592911"/>
                  <a:pt x="9809597" y="4595706"/>
                  <a:pt x="9809597" y="4599700"/>
                </a:cubicBezTo>
                <a:cubicBezTo>
                  <a:pt x="9809597" y="4603826"/>
                  <a:pt x="9810662" y="4606622"/>
                  <a:pt x="9813191" y="4609151"/>
                </a:cubicBezTo>
                <a:cubicBezTo>
                  <a:pt x="9814788" y="4610750"/>
                  <a:pt x="9817318" y="4612613"/>
                  <a:pt x="9823176" y="4612613"/>
                </a:cubicBezTo>
                <a:cubicBezTo>
                  <a:pt x="9825173" y="4612613"/>
                  <a:pt x="9827036" y="4612347"/>
                  <a:pt x="9828501" y="4611681"/>
                </a:cubicBezTo>
                <a:cubicBezTo>
                  <a:pt x="9830098" y="4611149"/>
                  <a:pt x="9831296" y="4610350"/>
                  <a:pt x="9832227" y="4609284"/>
                </a:cubicBezTo>
                <a:cubicBezTo>
                  <a:pt x="9833293" y="4608086"/>
                  <a:pt x="9834225" y="4606755"/>
                  <a:pt x="9834890" y="4605024"/>
                </a:cubicBezTo>
                <a:cubicBezTo>
                  <a:pt x="9835689" y="4603427"/>
                  <a:pt x="9835955" y="4601563"/>
                  <a:pt x="9835955" y="4599566"/>
                </a:cubicBezTo>
                <a:cubicBezTo>
                  <a:pt x="9835955" y="4597703"/>
                  <a:pt x="9835555" y="4595972"/>
                  <a:pt x="9834890" y="4594375"/>
                </a:cubicBezTo>
                <a:cubicBezTo>
                  <a:pt x="9834225" y="4592778"/>
                  <a:pt x="9833293" y="4591447"/>
                  <a:pt x="9832227" y="4590249"/>
                </a:cubicBezTo>
                <a:cubicBezTo>
                  <a:pt x="9831162" y="4589183"/>
                  <a:pt x="9829831" y="4588252"/>
                  <a:pt x="9828234" y="4587586"/>
                </a:cubicBezTo>
                <a:cubicBezTo>
                  <a:pt x="9826770" y="4586921"/>
                  <a:pt x="9825173" y="4586655"/>
                  <a:pt x="9823176" y="4586655"/>
                </a:cubicBezTo>
                <a:close/>
                <a:moveTo>
                  <a:pt x="9605531" y="4586655"/>
                </a:moveTo>
                <a:cubicBezTo>
                  <a:pt x="9599673" y="4586655"/>
                  <a:pt x="9597143" y="4588651"/>
                  <a:pt x="9595546" y="4590249"/>
                </a:cubicBezTo>
                <a:cubicBezTo>
                  <a:pt x="9593017" y="4592911"/>
                  <a:pt x="9591952" y="4595706"/>
                  <a:pt x="9591952" y="4599700"/>
                </a:cubicBezTo>
                <a:cubicBezTo>
                  <a:pt x="9591952" y="4603826"/>
                  <a:pt x="9593017" y="4606622"/>
                  <a:pt x="9595546" y="4609151"/>
                </a:cubicBezTo>
                <a:cubicBezTo>
                  <a:pt x="9597143" y="4610750"/>
                  <a:pt x="9599673" y="4612613"/>
                  <a:pt x="9605531" y="4612613"/>
                </a:cubicBezTo>
                <a:cubicBezTo>
                  <a:pt x="9607660" y="4612613"/>
                  <a:pt x="9609391" y="4612347"/>
                  <a:pt x="9610855" y="4611681"/>
                </a:cubicBezTo>
                <a:cubicBezTo>
                  <a:pt x="9612319" y="4611149"/>
                  <a:pt x="9613651" y="4610350"/>
                  <a:pt x="9614582" y="4609284"/>
                </a:cubicBezTo>
                <a:cubicBezTo>
                  <a:pt x="9615647" y="4608086"/>
                  <a:pt x="9616579" y="4606755"/>
                  <a:pt x="9617245" y="4605024"/>
                </a:cubicBezTo>
                <a:cubicBezTo>
                  <a:pt x="9618044" y="4603427"/>
                  <a:pt x="9618309" y="4601563"/>
                  <a:pt x="9618309" y="4599566"/>
                </a:cubicBezTo>
                <a:cubicBezTo>
                  <a:pt x="9618309" y="4597703"/>
                  <a:pt x="9617910" y="4595972"/>
                  <a:pt x="9617245" y="4594375"/>
                </a:cubicBezTo>
                <a:cubicBezTo>
                  <a:pt x="9616579" y="4592778"/>
                  <a:pt x="9615647" y="4591447"/>
                  <a:pt x="9614582" y="4590249"/>
                </a:cubicBezTo>
                <a:cubicBezTo>
                  <a:pt x="9613517" y="4589183"/>
                  <a:pt x="9612186" y="4588252"/>
                  <a:pt x="9610589" y="4587586"/>
                </a:cubicBezTo>
                <a:cubicBezTo>
                  <a:pt x="9609124" y="4586921"/>
                  <a:pt x="9607394" y="4586655"/>
                  <a:pt x="9605531" y="4586655"/>
                </a:cubicBezTo>
                <a:close/>
                <a:moveTo>
                  <a:pt x="9387885" y="4586655"/>
                </a:moveTo>
                <a:cubicBezTo>
                  <a:pt x="9382027" y="4586655"/>
                  <a:pt x="9379497" y="4588651"/>
                  <a:pt x="9377900" y="4590249"/>
                </a:cubicBezTo>
                <a:cubicBezTo>
                  <a:pt x="9375371" y="4592911"/>
                  <a:pt x="9374307" y="4595706"/>
                  <a:pt x="9374307" y="4599700"/>
                </a:cubicBezTo>
                <a:cubicBezTo>
                  <a:pt x="9374307" y="4603826"/>
                  <a:pt x="9375371" y="4606622"/>
                  <a:pt x="9377900" y="4609151"/>
                </a:cubicBezTo>
                <a:cubicBezTo>
                  <a:pt x="9379497" y="4610750"/>
                  <a:pt x="9382027" y="4612613"/>
                  <a:pt x="9387885" y="4612613"/>
                </a:cubicBezTo>
                <a:cubicBezTo>
                  <a:pt x="9390015" y="4612613"/>
                  <a:pt x="9391746" y="4612347"/>
                  <a:pt x="9393210" y="4611681"/>
                </a:cubicBezTo>
                <a:cubicBezTo>
                  <a:pt x="9394674" y="4611149"/>
                  <a:pt x="9396005" y="4610350"/>
                  <a:pt x="9396937" y="4609284"/>
                </a:cubicBezTo>
                <a:cubicBezTo>
                  <a:pt x="9398002" y="4608086"/>
                  <a:pt x="9398934" y="4606755"/>
                  <a:pt x="9399599" y="4605024"/>
                </a:cubicBezTo>
                <a:cubicBezTo>
                  <a:pt x="9400398" y="4603427"/>
                  <a:pt x="9400664" y="4601563"/>
                  <a:pt x="9400664" y="4599566"/>
                </a:cubicBezTo>
                <a:cubicBezTo>
                  <a:pt x="9400664" y="4597703"/>
                  <a:pt x="9400265" y="4595972"/>
                  <a:pt x="9399599" y="4594375"/>
                </a:cubicBezTo>
                <a:cubicBezTo>
                  <a:pt x="9398934" y="4592778"/>
                  <a:pt x="9398002" y="4591447"/>
                  <a:pt x="9396937" y="4590249"/>
                </a:cubicBezTo>
                <a:cubicBezTo>
                  <a:pt x="9395872" y="4589183"/>
                  <a:pt x="9394541" y="4588252"/>
                  <a:pt x="9392943" y="4587586"/>
                </a:cubicBezTo>
                <a:cubicBezTo>
                  <a:pt x="9391479" y="4586921"/>
                  <a:pt x="9389749" y="4586655"/>
                  <a:pt x="9387885" y="4586655"/>
                </a:cubicBezTo>
                <a:close/>
                <a:moveTo>
                  <a:pt x="9170374" y="4586655"/>
                </a:moveTo>
                <a:cubicBezTo>
                  <a:pt x="9164649" y="4586655"/>
                  <a:pt x="9161986" y="4588651"/>
                  <a:pt x="9160389" y="4590249"/>
                </a:cubicBezTo>
                <a:cubicBezTo>
                  <a:pt x="9157860" y="4592911"/>
                  <a:pt x="9156795" y="4595706"/>
                  <a:pt x="9156795" y="4599700"/>
                </a:cubicBezTo>
                <a:cubicBezTo>
                  <a:pt x="9156795" y="4603826"/>
                  <a:pt x="9157860" y="4606622"/>
                  <a:pt x="9160389" y="4609151"/>
                </a:cubicBezTo>
                <a:cubicBezTo>
                  <a:pt x="9161986" y="4610750"/>
                  <a:pt x="9164516" y="4612613"/>
                  <a:pt x="9170374" y="4612613"/>
                </a:cubicBezTo>
                <a:cubicBezTo>
                  <a:pt x="9172370" y="4612613"/>
                  <a:pt x="9174100" y="4612347"/>
                  <a:pt x="9175698" y="4611681"/>
                </a:cubicBezTo>
                <a:cubicBezTo>
                  <a:pt x="9177163" y="4611149"/>
                  <a:pt x="9178494" y="4610350"/>
                  <a:pt x="9179425" y="4609284"/>
                </a:cubicBezTo>
                <a:cubicBezTo>
                  <a:pt x="9180491" y="4608086"/>
                  <a:pt x="9181422" y="4606755"/>
                  <a:pt x="9182088" y="4605024"/>
                </a:cubicBezTo>
                <a:cubicBezTo>
                  <a:pt x="9182887" y="4603427"/>
                  <a:pt x="9183152" y="4601563"/>
                  <a:pt x="9183152" y="4599566"/>
                </a:cubicBezTo>
                <a:cubicBezTo>
                  <a:pt x="9183152" y="4597703"/>
                  <a:pt x="9182753" y="4595972"/>
                  <a:pt x="9182088" y="4594375"/>
                </a:cubicBezTo>
                <a:cubicBezTo>
                  <a:pt x="9181422" y="4592778"/>
                  <a:pt x="9180491" y="4591447"/>
                  <a:pt x="9179425" y="4590249"/>
                </a:cubicBezTo>
                <a:cubicBezTo>
                  <a:pt x="9178360" y="4589183"/>
                  <a:pt x="9177029" y="4588252"/>
                  <a:pt x="9175432" y="4587586"/>
                </a:cubicBezTo>
                <a:cubicBezTo>
                  <a:pt x="9173967" y="4586921"/>
                  <a:pt x="9172237" y="4586655"/>
                  <a:pt x="9170374" y="4586655"/>
                </a:cubicBezTo>
                <a:close/>
                <a:moveTo>
                  <a:pt x="8952728" y="4586655"/>
                </a:moveTo>
                <a:cubicBezTo>
                  <a:pt x="8947003" y="4586655"/>
                  <a:pt x="8944340" y="4588651"/>
                  <a:pt x="8942743" y="4590249"/>
                </a:cubicBezTo>
                <a:cubicBezTo>
                  <a:pt x="8940214" y="4592911"/>
                  <a:pt x="8939150" y="4595706"/>
                  <a:pt x="8939150" y="4599700"/>
                </a:cubicBezTo>
                <a:cubicBezTo>
                  <a:pt x="8939150" y="4603826"/>
                  <a:pt x="8940214" y="4606622"/>
                  <a:pt x="8942743" y="4609151"/>
                </a:cubicBezTo>
                <a:cubicBezTo>
                  <a:pt x="8944340" y="4610750"/>
                  <a:pt x="8946870" y="4612613"/>
                  <a:pt x="8952728" y="4612613"/>
                </a:cubicBezTo>
                <a:cubicBezTo>
                  <a:pt x="8954725" y="4612613"/>
                  <a:pt x="8956589" y="4612347"/>
                  <a:pt x="8958053" y="4611681"/>
                </a:cubicBezTo>
                <a:cubicBezTo>
                  <a:pt x="8959517" y="4611149"/>
                  <a:pt x="8960849" y="4610350"/>
                  <a:pt x="8961780" y="4609284"/>
                </a:cubicBezTo>
                <a:cubicBezTo>
                  <a:pt x="8962845" y="4608086"/>
                  <a:pt x="8963777" y="4606755"/>
                  <a:pt x="8964442" y="4605024"/>
                </a:cubicBezTo>
                <a:cubicBezTo>
                  <a:pt x="8965241" y="4603427"/>
                  <a:pt x="8965507" y="4601563"/>
                  <a:pt x="8965507" y="4599566"/>
                </a:cubicBezTo>
                <a:cubicBezTo>
                  <a:pt x="8965507" y="4597703"/>
                  <a:pt x="8965108" y="4595972"/>
                  <a:pt x="8964442" y="4594375"/>
                </a:cubicBezTo>
                <a:cubicBezTo>
                  <a:pt x="8963777" y="4592778"/>
                  <a:pt x="8962845" y="4591447"/>
                  <a:pt x="8961780" y="4590249"/>
                </a:cubicBezTo>
                <a:cubicBezTo>
                  <a:pt x="8960715" y="4589183"/>
                  <a:pt x="8959384" y="4588252"/>
                  <a:pt x="8957786" y="4587586"/>
                </a:cubicBezTo>
                <a:cubicBezTo>
                  <a:pt x="8956322" y="4586921"/>
                  <a:pt x="8954592" y="4586655"/>
                  <a:pt x="8952728" y="4586655"/>
                </a:cubicBezTo>
                <a:close/>
                <a:moveTo>
                  <a:pt x="8735083" y="4586655"/>
                </a:moveTo>
                <a:cubicBezTo>
                  <a:pt x="8729358" y="4586655"/>
                  <a:pt x="8726695" y="4588651"/>
                  <a:pt x="8725098" y="4590249"/>
                </a:cubicBezTo>
                <a:cubicBezTo>
                  <a:pt x="8722569" y="4592911"/>
                  <a:pt x="8721504" y="4595706"/>
                  <a:pt x="8721504" y="4599700"/>
                </a:cubicBezTo>
                <a:cubicBezTo>
                  <a:pt x="8721504" y="4603826"/>
                  <a:pt x="8722569" y="4606622"/>
                  <a:pt x="8725098" y="4609151"/>
                </a:cubicBezTo>
                <a:cubicBezTo>
                  <a:pt x="8726695" y="4610750"/>
                  <a:pt x="8729225" y="4612613"/>
                  <a:pt x="8735083" y="4612613"/>
                </a:cubicBezTo>
                <a:cubicBezTo>
                  <a:pt x="8737079" y="4612613"/>
                  <a:pt x="8738943" y="4612347"/>
                  <a:pt x="8740407" y="4611681"/>
                </a:cubicBezTo>
                <a:cubicBezTo>
                  <a:pt x="8741872" y="4611149"/>
                  <a:pt x="8743203" y="4610350"/>
                  <a:pt x="8744134" y="4609284"/>
                </a:cubicBezTo>
                <a:cubicBezTo>
                  <a:pt x="8745200" y="4608086"/>
                  <a:pt x="8746132" y="4606755"/>
                  <a:pt x="8746797" y="4605024"/>
                </a:cubicBezTo>
                <a:cubicBezTo>
                  <a:pt x="8747596" y="4603427"/>
                  <a:pt x="8747862" y="4601563"/>
                  <a:pt x="8747862" y="4599566"/>
                </a:cubicBezTo>
                <a:cubicBezTo>
                  <a:pt x="8747862" y="4597703"/>
                  <a:pt x="8747462" y="4595972"/>
                  <a:pt x="8746797" y="4594375"/>
                </a:cubicBezTo>
                <a:cubicBezTo>
                  <a:pt x="8746132" y="4592778"/>
                  <a:pt x="8745200" y="4591447"/>
                  <a:pt x="8744134" y="4590249"/>
                </a:cubicBezTo>
                <a:cubicBezTo>
                  <a:pt x="8743069" y="4589183"/>
                  <a:pt x="8741738" y="4588252"/>
                  <a:pt x="8740141" y="4587586"/>
                </a:cubicBezTo>
                <a:cubicBezTo>
                  <a:pt x="8738677" y="4586921"/>
                  <a:pt x="8736946" y="4586655"/>
                  <a:pt x="8735083" y="4586655"/>
                </a:cubicBezTo>
                <a:close/>
                <a:moveTo>
                  <a:pt x="8517438" y="4586655"/>
                </a:moveTo>
                <a:cubicBezTo>
                  <a:pt x="8511713" y="4586655"/>
                  <a:pt x="8509051" y="4588651"/>
                  <a:pt x="8507453" y="4590249"/>
                </a:cubicBezTo>
                <a:cubicBezTo>
                  <a:pt x="8504925" y="4592911"/>
                  <a:pt x="8503860" y="4595706"/>
                  <a:pt x="8503860" y="4599700"/>
                </a:cubicBezTo>
                <a:cubicBezTo>
                  <a:pt x="8503860" y="4603826"/>
                  <a:pt x="8504925" y="4606622"/>
                  <a:pt x="8507453" y="4609151"/>
                </a:cubicBezTo>
                <a:cubicBezTo>
                  <a:pt x="8509051" y="4610750"/>
                  <a:pt x="8511581" y="4612613"/>
                  <a:pt x="8517438" y="4612613"/>
                </a:cubicBezTo>
                <a:cubicBezTo>
                  <a:pt x="8519568" y="4612613"/>
                  <a:pt x="8521299" y="4612347"/>
                  <a:pt x="8522763" y="4611681"/>
                </a:cubicBezTo>
                <a:cubicBezTo>
                  <a:pt x="8524227" y="4611149"/>
                  <a:pt x="8525559" y="4610350"/>
                  <a:pt x="8526490" y="4609284"/>
                </a:cubicBezTo>
                <a:cubicBezTo>
                  <a:pt x="8527555" y="4608086"/>
                  <a:pt x="8528487" y="4606755"/>
                  <a:pt x="8529152" y="4605024"/>
                </a:cubicBezTo>
                <a:cubicBezTo>
                  <a:pt x="8529818" y="4603427"/>
                  <a:pt x="8530084" y="4601563"/>
                  <a:pt x="8530084" y="4599566"/>
                </a:cubicBezTo>
                <a:cubicBezTo>
                  <a:pt x="8530084" y="4597703"/>
                  <a:pt x="8529818" y="4595972"/>
                  <a:pt x="8529152" y="4594375"/>
                </a:cubicBezTo>
                <a:cubicBezTo>
                  <a:pt x="8528487" y="4592778"/>
                  <a:pt x="8527555" y="4591447"/>
                  <a:pt x="8526490" y="4590249"/>
                </a:cubicBezTo>
                <a:cubicBezTo>
                  <a:pt x="8525425" y="4589183"/>
                  <a:pt x="8524094" y="4588252"/>
                  <a:pt x="8522496" y="4587586"/>
                </a:cubicBezTo>
                <a:cubicBezTo>
                  <a:pt x="8521032" y="4586921"/>
                  <a:pt x="8519302" y="4586655"/>
                  <a:pt x="8517438" y="4586655"/>
                </a:cubicBezTo>
                <a:close/>
                <a:moveTo>
                  <a:pt x="8299793" y="4586655"/>
                </a:moveTo>
                <a:cubicBezTo>
                  <a:pt x="8294068" y="4586655"/>
                  <a:pt x="8291406" y="4588651"/>
                  <a:pt x="8289809" y="4590249"/>
                </a:cubicBezTo>
                <a:cubicBezTo>
                  <a:pt x="8287280" y="4592911"/>
                  <a:pt x="8286215" y="4595706"/>
                  <a:pt x="8286215" y="4599700"/>
                </a:cubicBezTo>
                <a:cubicBezTo>
                  <a:pt x="8286215" y="4603826"/>
                  <a:pt x="8287280" y="4606622"/>
                  <a:pt x="8289809" y="4609151"/>
                </a:cubicBezTo>
                <a:cubicBezTo>
                  <a:pt x="8291406" y="4610750"/>
                  <a:pt x="8293935" y="4612613"/>
                  <a:pt x="8299793" y="4612613"/>
                </a:cubicBezTo>
                <a:cubicBezTo>
                  <a:pt x="8301923" y="4612613"/>
                  <a:pt x="8303653" y="4612347"/>
                  <a:pt x="8305118" y="4611681"/>
                </a:cubicBezTo>
                <a:cubicBezTo>
                  <a:pt x="8306582" y="4611149"/>
                  <a:pt x="8307913" y="4610350"/>
                  <a:pt x="8308844" y="4609284"/>
                </a:cubicBezTo>
                <a:cubicBezTo>
                  <a:pt x="8309910" y="4608086"/>
                  <a:pt x="8310842" y="4606755"/>
                  <a:pt x="8311507" y="4605024"/>
                </a:cubicBezTo>
                <a:cubicBezTo>
                  <a:pt x="8312172" y="4603427"/>
                  <a:pt x="8312439" y="4601563"/>
                  <a:pt x="8312439" y="4599566"/>
                </a:cubicBezTo>
                <a:cubicBezTo>
                  <a:pt x="8312439" y="4597703"/>
                  <a:pt x="8312172" y="4595972"/>
                  <a:pt x="8311507" y="4594375"/>
                </a:cubicBezTo>
                <a:cubicBezTo>
                  <a:pt x="8310842" y="4592778"/>
                  <a:pt x="8309910" y="4591447"/>
                  <a:pt x="8308844" y="4590249"/>
                </a:cubicBezTo>
                <a:cubicBezTo>
                  <a:pt x="8307779" y="4589183"/>
                  <a:pt x="8306448" y="4588252"/>
                  <a:pt x="8304851" y="4587586"/>
                </a:cubicBezTo>
                <a:cubicBezTo>
                  <a:pt x="8303387" y="4586921"/>
                  <a:pt x="8301790" y="4586655"/>
                  <a:pt x="8299793" y="4586655"/>
                </a:cubicBezTo>
                <a:close/>
                <a:moveTo>
                  <a:pt x="8082281" y="4586655"/>
                </a:moveTo>
                <a:cubicBezTo>
                  <a:pt x="8076424" y="4586655"/>
                  <a:pt x="8073894" y="4588651"/>
                  <a:pt x="8072297" y="4590249"/>
                </a:cubicBezTo>
                <a:cubicBezTo>
                  <a:pt x="8069768" y="4592911"/>
                  <a:pt x="8068703" y="4595706"/>
                  <a:pt x="8068703" y="4599700"/>
                </a:cubicBezTo>
                <a:cubicBezTo>
                  <a:pt x="8068703" y="4603826"/>
                  <a:pt x="8069768" y="4606622"/>
                  <a:pt x="8072297" y="4609151"/>
                </a:cubicBezTo>
                <a:cubicBezTo>
                  <a:pt x="8073894" y="4610750"/>
                  <a:pt x="8076424" y="4612613"/>
                  <a:pt x="8082281" y="4612613"/>
                </a:cubicBezTo>
                <a:cubicBezTo>
                  <a:pt x="8084277" y="4612613"/>
                  <a:pt x="8086007" y="4612347"/>
                  <a:pt x="8087605" y="4611681"/>
                </a:cubicBezTo>
                <a:cubicBezTo>
                  <a:pt x="8089069" y="4611149"/>
                  <a:pt x="8090401" y="4610350"/>
                  <a:pt x="8091332" y="4609284"/>
                </a:cubicBezTo>
                <a:cubicBezTo>
                  <a:pt x="8092397" y="4608086"/>
                  <a:pt x="8093329" y="4606755"/>
                  <a:pt x="8093994" y="4605024"/>
                </a:cubicBezTo>
                <a:cubicBezTo>
                  <a:pt x="8094660" y="4603427"/>
                  <a:pt x="8094926" y="4601563"/>
                  <a:pt x="8094926" y="4599566"/>
                </a:cubicBezTo>
                <a:cubicBezTo>
                  <a:pt x="8094926" y="4597703"/>
                  <a:pt x="8094660" y="4595972"/>
                  <a:pt x="8093994" y="4594375"/>
                </a:cubicBezTo>
                <a:cubicBezTo>
                  <a:pt x="8093329" y="4592778"/>
                  <a:pt x="8092397" y="4591447"/>
                  <a:pt x="8091332" y="4590249"/>
                </a:cubicBezTo>
                <a:cubicBezTo>
                  <a:pt x="8090267" y="4589183"/>
                  <a:pt x="8088936" y="4588252"/>
                  <a:pt x="8087338" y="4587586"/>
                </a:cubicBezTo>
                <a:cubicBezTo>
                  <a:pt x="8085874" y="4586921"/>
                  <a:pt x="8084277" y="4586655"/>
                  <a:pt x="8082281" y="4586655"/>
                </a:cubicBezTo>
                <a:close/>
                <a:moveTo>
                  <a:pt x="7864636" y="4586655"/>
                </a:moveTo>
                <a:cubicBezTo>
                  <a:pt x="7858779" y="4586655"/>
                  <a:pt x="7856249" y="4588651"/>
                  <a:pt x="7854652" y="4590249"/>
                </a:cubicBezTo>
                <a:cubicBezTo>
                  <a:pt x="7852123" y="4592911"/>
                  <a:pt x="7851058" y="4595706"/>
                  <a:pt x="7851058" y="4599700"/>
                </a:cubicBezTo>
                <a:cubicBezTo>
                  <a:pt x="7851058" y="4603826"/>
                  <a:pt x="7852123" y="4606622"/>
                  <a:pt x="7854652" y="4609151"/>
                </a:cubicBezTo>
                <a:cubicBezTo>
                  <a:pt x="7856249" y="4610750"/>
                  <a:pt x="7858779" y="4612613"/>
                  <a:pt x="7864636" y="4612613"/>
                </a:cubicBezTo>
                <a:cubicBezTo>
                  <a:pt x="7866633" y="4612613"/>
                  <a:pt x="7868363" y="4612347"/>
                  <a:pt x="7869961" y="4611681"/>
                </a:cubicBezTo>
                <a:cubicBezTo>
                  <a:pt x="7871425" y="4611149"/>
                  <a:pt x="7872756" y="4610350"/>
                  <a:pt x="7873687" y="4609284"/>
                </a:cubicBezTo>
                <a:cubicBezTo>
                  <a:pt x="7874753" y="4608086"/>
                  <a:pt x="7875685" y="4606755"/>
                  <a:pt x="7876350" y="4605024"/>
                </a:cubicBezTo>
                <a:cubicBezTo>
                  <a:pt x="7877015" y="4603427"/>
                  <a:pt x="7877282" y="4601563"/>
                  <a:pt x="7877282" y="4599566"/>
                </a:cubicBezTo>
                <a:cubicBezTo>
                  <a:pt x="7877282" y="4597703"/>
                  <a:pt x="7877015" y="4595972"/>
                  <a:pt x="7876350" y="4594375"/>
                </a:cubicBezTo>
                <a:cubicBezTo>
                  <a:pt x="7875685" y="4592778"/>
                  <a:pt x="7874753" y="4591447"/>
                  <a:pt x="7873687" y="4590249"/>
                </a:cubicBezTo>
                <a:cubicBezTo>
                  <a:pt x="7872623" y="4589183"/>
                  <a:pt x="7871291" y="4588252"/>
                  <a:pt x="7869694" y="4587586"/>
                </a:cubicBezTo>
                <a:cubicBezTo>
                  <a:pt x="7868230" y="4586921"/>
                  <a:pt x="7866633" y="4586655"/>
                  <a:pt x="7864636" y="4586655"/>
                </a:cubicBezTo>
                <a:close/>
                <a:moveTo>
                  <a:pt x="7646991" y="4586655"/>
                </a:moveTo>
                <a:cubicBezTo>
                  <a:pt x="7641134" y="4586655"/>
                  <a:pt x="7638604" y="4588651"/>
                  <a:pt x="7637007" y="4590249"/>
                </a:cubicBezTo>
                <a:cubicBezTo>
                  <a:pt x="7634478" y="4592911"/>
                  <a:pt x="7633413" y="4595706"/>
                  <a:pt x="7633413" y="4599700"/>
                </a:cubicBezTo>
                <a:cubicBezTo>
                  <a:pt x="7633413" y="4603826"/>
                  <a:pt x="7634478" y="4606622"/>
                  <a:pt x="7637007" y="4609151"/>
                </a:cubicBezTo>
                <a:cubicBezTo>
                  <a:pt x="7638604" y="4610750"/>
                  <a:pt x="7641134" y="4612613"/>
                  <a:pt x="7646991" y="4612613"/>
                </a:cubicBezTo>
                <a:cubicBezTo>
                  <a:pt x="7648987" y="4612613"/>
                  <a:pt x="7650851" y="4612347"/>
                  <a:pt x="7652315" y="4611681"/>
                </a:cubicBezTo>
                <a:cubicBezTo>
                  <a:pt x="7653780" y="4611149"/>
                  <a:pt x="7655111" y="4610350"/>
                  <a:pt x="7656042" y="4609284"/>
                </a:cubicBezTo>
                <a:cubicBezTo>
                  <a:pt x="7657108" y="4608086"/>
                  <a:pt x="7658039" y="4606755"/>
                  <a:pt x="7658705" y="4605024"/>
                </a:cubicBezTo>
                <a:cubicBezTo>
                  <a:pt x="7659504" y="4603427"/>
                  <a:pt x="7659769" y="4601563"/>
                  <a:pt x="7659769" y="4599566"/>
                </a:cubicBezTo>
                <a:cubicBezTo>
                  <a:pt x="7659769" y="4597703"/>
                  <a:pt x="7659370" y="4595972"/>
                  <a:pt x="7658705" y="4594375"/>
                </a:cubicBezTo>
                <a:cubicBezTo>
                  <a:pt x="7658039" y="4592778"/>
                  <a:pt x="7657108" y="4591447"/>
                  <a:pt x="7656042" y="4590249"/>
                </a:cubicBezTo>
                <a:cubicBezTo>
                  <a:pt x="7654977" y="4589183"/>
                  <a:pt x="7653646" y="4588252"/>
                  <a:pt x="7652049" y="4587586"/>
                </a:cubicBezTo>
                <a:cubicBezTo>
                  <a:pt x="7650584" y="4586921"/>
                  <a:pt x="7648987" y="4586655"/>
                  <a:pt x="7646991" y="4586655"/>
                </a:cubicBezTo>
                <a:close/>
                <a:moveTo>
                  <a:pt x="7429345" y="4586655"/>
                </a:moveTo>
                <a:cubicBezTo>
                  <a:pt x="7423488" y="4586655"/>
                  <a:pt x="7420958" y="4588651"/>
                  <a:pt x="7419361" y="4590249"/>
                </a:cubicBezTo>
                <a:cubicBezTo>
                  <a:pt x="7416832" y="4592911"/>
                  <a:pt x="7415768" y="4595706"/>
                  <a:pt x="7415768" y="4599700"/>
                </a:cubicBezTo>
                <a:cubicBezTo>
                  <a:pt x="7415768" y="4603826"/>
                  <a:pt x="7416832" y="4606622"/>
                  <a:pt x="7419361" y="4609151"/>
                </a:cubicBezTo>
                <a:cubicBezTo>
                  <a:pt x="7420958" y="4610750"/>
                  <a:pt x="7423488" y="4612613"/>
                  <a:pt x="7429345" y="4612613"/>
                </a:cubicBezTo>
                <a:cubicBezTo>
                  <a:pt x="7431342" y="4612613"/>
                  <a:pt x="7433206" y="4612347"/>
                  <a:pt x="7434670" y="4611681"/>
                </a:cubicBezTo>
                <a:cubicBezTo>
                  <a:pt x="7436134" y="4611149"/>
                  <a:pt x="7437466" y="4610350"/>
                  <a:pt x="7438397" y="4609284"/>
                </a:cubicBezTo>
                <a:cubicBezTo>
                  <a:pt x="7439462" y="4608086"/>
                  <a:pt x="7440394" y="4606755"/>
                  <a:pt x="7441059" y="4605024"/>
                </a:cubicBezTo>
                <a:cubicBezTo>
                  <a:pt x="7441858" y="4603427"/>
                  <a:pt x="7442124" y="4601563"/>
                  <a:pt x="7442124" y="4599566"/>
                </a:cubicBezTo>
                <a:cubicBezTo>
                  <a:pt x="7442124" y="4597703"/>
                  <a:pt x="7441725" y="4595972"/>
                  <a:pt x="7441059" y="4594375"/>
                </a:cubicBezTo>
                <a:cubicBezTo>
                  <a:pt x="7440394" y="4592778"/>
                  <a:pt x="7439462" y="4591447"/>
                  <a:pt x="7438397" y="4590249"/>
                </a:cubicBezTo>
                <a:cubicBezTo>
                  <a:pt x="7437332" y="4589183"/>
                  <a:pt x="7436001" y="4588252"/>
                  <a:pt x="7434403" y="4587586"/>
                </a:cubicBezTo>
                <a:cubicBezTo>
                  <a:pt x="7432939" y="4586921"/>
                  <a:pt x="7431342" y="4586655"/>
                  <a:pt x="7429345" y="4586655"/>
                </a:cubicBezTo>
                <a:close/>
                <a:moveTo>
                  <a:pt x="7211701" y="4586655"/>
                </a:moveTo>
                <a:cubicBezTo>
                  <a:pt x="7205844" y="4586655"/>
                  <a:pt x="7203314" y="4588651"/>
                  <a:pt x="7201717" y="4590249"/>
                </a:cubicBezTo>
                <a:cubicBezTo>
                  <a:pt x="7199188" y="4592911"/>
                  <a:pt x="7198123" y="4595706"/>
                  <a:pt x="7198123" y="4599700"/>
                </a:cubicBezTo>
                <a:cubicBezTo>
                  <a:pt x="7198123" y="4603826"/>
                  <a:pt x="7199188" y="4606622"/>
                  <a:pt x="7201717" y="4609151"/>
                </a:cubicBezTo>
                <a:cubicBezTo>
                  <a:pt x="7203314" y="4610750"/>
                  <a:pt x="7205844" y="4612613"/>
                  <a:pt x="7211701" y="4612613"/>
                </a:cubicBezTo>
                <a:cubicBezTo>
                  <a:pt x="7213830" y="4612613"/>
                  <a:pt x="7215561" y="4612347"/>
                  <a:pt x="7217026" y="4611681"/>
                </a:cubicBezTo>
                <a:cubicBezTo>
                  <a:pt x="7218490" y="4611149"/>
                  <a:pt x="7219821" y="4610350"/>
                  <a:pt x="7220752" y="4609284"/>
                </a:cubicBezTo>
                <a:cubicBezTo>
                  <a:pt x="7221818" y="4608086"/>
                  <a:pt x="7222750" y="4606755"/>
                  <a:pt x="7223415" y="4605024"/>
                </a:cubicBezTo>
                <a:cubicBezTo>
                  <a:pt x="7224214" y="4603427"/>
                  <a:pt x="7224480" y="4601563"/>
                  <a:pt x="7224480" y="4599566"/>
                </a:cubicBezTo>
                <a:cubicBezTo>
                  <a:pt x="7224480" y="4597703"/>
                  <a:pt x="7224080" y="4595972"/>
                  <a:pt x="7223415" y="4594375"/>
                </a:cubicBezTo>
                <a:cubicBezTo>
                  <a:pt x="7222750" y="4592778"/>
                  <a:pt x="7221818" y="4591447"/>
                  <a:pt x="7220752" y="4590249"/>
                </a:cubicBezTo>
                <a:cubicBezTo>
                  <a:pt x="7219687" y="4589183"/>
                  <a:pt x="7218356" y="4588252"/>
                  <a:pt x="7216759" y="4587586"/>
                </a:cubicBezTo>
                <a:cubicBezTo>
                  <a:pt x="7215295" y="4586921"/>
                  <a:pt x="7213698" y="4586655"/>
                  <a:pt x="7211701" y="4586655"/>
                </a:cubicBezTo>
                <a:close/>
                <a:moveTo>
                  <a:pt x="6994056" y="4586655"/>
                </a:moveTo>
                <a:cubicBezTo>
                  <a:pt x="6988199" y="4586655"/>
                  <a:pt x="6985669" y="4588651"/>
                  <a:pt x="6984072" y="4590249"/>
                </a:cubicBezTo>
                <a:cubicBezTo>
                  <a:pt x="6981543" y="4592911"/>
                  <a:pt x="6980478" y="4595706"/>
                  <a:pt x="6980478" y="4599700"/>
                </a:cubicBezTo>
                <a:cubicBezTo>
                  <a:pt x="6980478" y="4603826"/>
                  <a:pt x="6981543" y="4606622"/>
                  <a:pt x="6984072" y="4609151"/>
                </a:cubicBezTo>
                <a:cubicBezTo>
                  <a:pt x="6985669" y="4610750"/>
                  <a:pt x="6988199" y="4612613"/>
                  <a:pt x="6994056" y="4612613"/>
                </a:cubicBezTo>
                <a:cubicBezTo>
                  <a:pt x="6996185" y="4612613"/>
                  <a:pt x="6997916" y="4612347"/>
                  <a:pt x="6999380" y="4611681"/>
                </a:cubicBezTo>
                <a:cubicBezTo>
                  <a:pt x="7000844" y="4611149"/>
                  <a:pt x="7002176" y="4610350"/>
                  <a:pt x="7003107" y="4609284"/>
                </a:cubicBezTo>
                <a:cubicBezTo>
                  <a:pt x="7004172" y="4608086"/>
                  <a:pt x="7005104" y="4606755"/>
                  <a:pt x="7005769" y="4605024"/>
                </a:cubicBezTo>
                <a:cubicBezTo>
                  <a:pt x="7006568" y="4603427"/>
                  <a:pt x="7006834" y="4601563"/>
                  <a:pt x="7006834" y="4599566"/>
                </a:cubicBezTo>
                <a:cubicBezTo>
                  <a:pt x="7006834" y="4597703"/>
                  <a:pt x="7006435" y="4595972"/>
                  <a:pt x="7005769" y="4594375"/>
                </a:cubicBezTo>
                <a:cubicBezTo>
                  <a:pt x="7005104" y="4592778"/>
                  <a:pt x="7004172" y="4591447"/>
                  <a:pt x="7003107" y="4590249"/>
                </a:cubicBezTo>
                <a:cubicBezTo>
                  <a:pt x="7002042" y="4589183"/>
                  <a:pt x="7000711" y="4588252"/>
                  <a:pt x="6999113" y="4587586"/>
                </a:cubicBezTo>
                <a:cubicBezTo>
                  <a:pt x="6997649" y="4586921"/>
                  <a:pt x="6996052" y="4586655"/>
                  <a:pt x="6994056" y="4586655"/>
                </a:cubicBezTo>
                <a:close/>
                <a:moveTo>
                  <a:pt x="6776544" y="4586655"/>
                </a:moveTo>
                <a:cubicBezTo>
                  <a:pt x="6770687" y="4586655"/>
                  <a:pt x="6768157" y="4588651"/>
                  <a:pt x="6766560" y="4590249"/>
                </a:cubicBezTo>
                <a:cubicBezTo>
                  <a:pt x="6764031" y="4592911"/>
                  <a:pt x="6762966" y="4595706"/>
                  <a:pt x="6762966" y="4599700"/>
                </a:cubicBezTo>
                <a:cubicBezTo>
                  <a:pt x="6762966" y="4603826"/>
                  <a:pt x="6764031" y="4606622"/>
                  <a:pt x="6766560" y="4609151"/>
                </a:cubicBezTo>
                <a:cubicBezTo>
                  <a:pt x="6768157" y="4610750"/>
                  <a:pt x="6770687" y="4612613"/>
                  <a:pt x="6776544" y="4612613"/>
                </a:cubicBezTo>
                <a:cubicBezTo>
                  <a:pt x="6778541" y="4612613"/>
                  <a:pt x="6780270" y="4612347"/>
                  <a:pt x="6781869" y="4611681"/>
                </a:cubicBezTo>
                <a:cubicBezTo>
                  <a:pt x="6783333" y="4611149"/>
                  <a:pt x="6784664" y="4610350"/>
                  <a:pt x="6785595" y="4609284"/>
                </a:cubicBezTo>
                <a:cubicBezTo>
                  <a:pt x="6786661" y="4608086"/>
                  <a:pt x="6787593" y="4606755"/>
                  <a:pt x="6788258" y="4605024"/>
                </a:cubicBezTo>
                <a:cubicBezTo>
                  <a:pt x="6789057" y="4603427"/>
                  <a:pt x="6789323" y="4601563"/>
                  <a:pt x="6789323" y="4599566"/>
                </a:cubicBezTo>
                <a:cubicBezTo>
                  <a:pt x="6789323" y="4597703"/>
                  <a:pt x="6788923" y="4595972"/>
                  <a:pt x="6788258" y="4594375"/>
                </a:cubicBezTo>
                <a:cubicBezTo>
                  <a:pt x="6787593" y="4592778"/>
                  <a:pt x="6786661" y="4591447"/>
                  <a:pt x="6785595" y="4590249"/>
                </a:cubicBezTo>
                <a:cubicBezTo>
                  <a:pt x="6784530" y="4589183"/>
                  <a:pt x="6783199" y="4588252"/>
                  <a:pt x="6781602" y="4587586"/>
                </a:cubicBezTo>
                <a:cubicBezTo>
                  <a:pt x="6780138" y="4586921"/>
                  <a:pt x="6778541" y="4586655"/>
                  <a:pt x="6776544" y="4586655"/>
                </a:cubicBezTo>
                <a:close/>
                <a:moveTo>
                  <a:pt x="6558899" y="4586655"/>
                </a:moveTo>
                <a:cubicBezTo>
                  <a:pt x="6553042" y="4586655"/>
                  <a:pt x="6550512" y="4588651"/>
                  <a:pt x="6548915" y="4590249"/>
                </a:cubicBezTo>
                <a:cubicBezTo>
                  <a:pt x="6546386" y="4592911"/>
                  <a:pt x="6545321" y="4595706"/>
                  <a:pt x="6545321" y="4599700"/>
                </a:cubicBezTo>
                <a:cubicBezTo>
                  <a:pt x="6545321" y="4603826"/>
                  <a:pt x="6546386" y="4606622"/>
                  <a:pt x="6548915" y="4609151"/>
                </a:cubicBezTo>
                <a:cubicBezTo>
                  <a:pt x="6550512" y="4610750"/>
                  <a:pt x="6553042" y="4612613"/>
                  <a:pt x="6558899" y="4612613"/>
                </a:cubicBezTo>
                <a:cubicBezTo>
                  <a:pt x="6560895" y="4612613"/>
                  <a:pt x="6562759" y="4612347"/>
                  <a:pt x="6564223" y="4611681"/>
                </a:cubicBezTo>
                <a:cubicBezTo>
                  <a:pt x="6565687" y="4611149"/>
                  <a:pt x="6567019" y="4610350"/>
                  <a:pt x="6567950" y="4609284"/>
                </a:cubicBezTo>
                <a:cubicBezTo>
                  <a:pt x="6569015" y="4608086"/>
                  <a:pt x="6569947" y="4606755"/>
                  <a:pt x="6570612" y="4605024"/>
                </a:cubicBezTo>
                <a:cubicBezTo>
                  <a:pt x="6571412" y="4603427"/>
                  <a:pt x="6571677" y="4601563"/>
                  <a:pt x="6571677" y="4599566"/>
                </a:cubicBezTo>
                <a:cubicBezTo>
                  <a:pt x="6571677" y="4597703"/>
                  <a:pt x="6571278" y="4595972"/>
                  <a:pt x="6570612" y="4594375"/>
                </a:cubicBezTo>
                <a:cubicBezTo>
                  <a:pt x="6569947" y="4592778"/>
                  <a:pt x="6569015" y="4591447"/>
                  <a:pt x="6567950" y="4590249"/>
                </a:cubicBezTo>
                <a:cubicBezTo>
                  <a:pt x="6566885" y="4589183"/>
                  <a:pt x="6565554" y="4588252"/>
                  <a:pt x="6563956" y="4587586"/>
                </a:cubicBezTo>
                <a:cubicBezTo>
                  <a:pt x="6562492" y="4586921"/>
                  <a:pt x="6560895" y="4586655"/>
                  <a:pt x="6558899" y="4586655"/>
                </a:cubicBezTo>
                <a:close/>
                <a:moveTo>
                  <a:pt x="6341253" y="4586655"/>
                </a:moveTo>
                <a:cubicBezTo>
                  <a:pt x="6335396" y="4586655"/>
                  <a:pt x="6332867" y="4588651"/>
                  <a:pt x="6331270" y="4590249"/>
                </a:cubicBezTo>
                <a:cubicBezTo>
                  <a:pt x="6328740" y="4592911"/>
                  <a:pt x="6327675" y="4595706"/>
                  <a:pt x="6327675" y="4599700"/>
                </a:cubicBezTo>
                <a:cubicBezTo>
                  <a:pt x="6327675" y="4603826"/>
                  <a:pt x="6328740" y="4606622"/>
                  <a:pt x="6331270" y="4609151"/>
                </a:cubicBezTo>
                <a:cubicBezTo>
                  <a:pt x="6332867" y="4610750"/>
                  <a:pt x="6335396" y="4612613"/>
                  <a:pt x="6341253" y="4612613"/>
                </a:cubicBezTo>
                <a:cubicBezTo>
                  <a:pt x="6343250" y="4612613"/>
                  <a:pt x="6345114" y="4612347"/>
                  <a:pt x="6346578" y="4611681"/>
                </a:cubicBezTo>
                <a:cubicBezTo>
                  <a:pt x="6348042" y="4611149"/>
                  <a:pt x="6349373" y="4610350"/>
                  <a:pt x="6350305" y="4609284"/>
                </a:cubicBezTo>
                <a:cubicBezTo>
                  <a:pt x="6351370" y="4608086"/>
                  <a:pt x="6352302" y="4606755"/>
                  <a:pt x="6352968" y="4605024"/>
                </a:cubicBezTo>
                <a:cubicBezTo>
                  <a:pt x="6353766" y="4603427"/>
                  <a:pt x="6354033" y="4601563"/>
                  <a:pt x="6354033" y="4599566"/>
                </a:cubicBezTo>
                <a:cubicBezTo>
                  <a:pt x="6354033" y="4597703"/>
                  <a:pt x="6353633" y="4595972"/>
                  <a:pt x="6352968" y="4594375"/>
                </a:cubicBezTo>
                <a:cubicBezTo>
                  <a:pt x="6352302" y="4592778"/>
                  <a:pt x="6351370" y="4591447"/>
                  <a:pt x="6350305" y="4590249"/>
                </a:cubicBezTo>
                <a:cubicBezTo>
                  <a:pt x="6349241" y="4589183"/>
                  <a:pt x="6347909" y="4588252"/>
                  <a:pt x="6346312" y="4587586"/>
                </a:cubicBezTo>
                <a:cubicBezTo>
                  <a:pt x="6344848" y="4586921"/>
                  <a:pt x="6343250" y="4586655"/>
                  <a:pt x="6341253" y="4586655"/>
                </a:cubicBezTo>
                <a:close/>
                <a:moveTo>
                  <a:pt x="6123608" y="4586655"/>
                </a:moveTo>
                <a:cubicBezTo>
                  <a:pt x="6117751" y="4586655"/>
                  <a:pt x="6115221" y="4588651"/>
                  <a:pt x="6113624" y="4590249"/>
                </a:cubicBezTo>
                <a:cubicBezTo>
                  <a:pt x="6111095" y="4592911"/>
                  <a:pt x="6110030" y="4595706"/>
                  <a:pt x="6110030" y="4599700"/>
                </a:cubicBezTo>
                <a:cubicBezTo>
                  <a:pt x="6110030" y="4603826"/>
                  <a:pt x="6111095" y="4606622"/>
                  <a:pt x="6113624" y="4609151"/>
                </a:cubicBezTo>
                <a:cubicBezTo>
                  <a:pt x="6115221" y="4610750"/>
                  <a:pt x="6117751" y="4612613"/>
                  <a:pt x="6123608" y="4612613"/>
                </a:cubicBezTo>
                <a:cubicBezTo>
                  <a:pt x="6125737" y="4612613"/>
                  <a:pt x="6127468" y="4612347"/>
                  <a:pt x="6128932" y="4611681"/>
                </a:cubicBezTo>
                <a:cubicBezTo>
                  <a:pt x="6130530" y="4611149"/>
                  <a:pt x="6131728" y="4610350"/>
                  <a:pt x="6132659" y="4609284"/>
                </a:cubicBezTo>
                <a:cubicBezTo>
                  <a:pt x="6133724" y="4608086"/>
                  <a:pt x="6134656" y="4606755"/>
                  <a:pt x="6135322" y="4605024"/>
                </a:cubicBezTo>
                <a:cubicBezTo>
                  <a:pt x="6135987" y="4603427"/>
                  <a:pt x="6136387" y="4601563"/>
                  <a:pt x="6136387" y="4599566"/>
                </a:cubicBezTo>
                <a:cubicBezTo>
                  <a:pt x="6136387" y="4597703"/>
                  <a:pt x="6135987" y="4595972"/>
                  <a:pt x="6135322" y="4594375"/>
                </a:cubicBezTo>
                <a:cubicBezTo>
                  <a:pt x="6134656" y="4592778"/>
                  <a:pt x="6133724" y="4591447"/>
                  <a:pt x="6132659" y="4590249"/>
                </a:cubicBezTo>
                <a:cubicBezTo>
                  <a:pt x="6131594" y="4589183"/>
                  <a:pt x="6130263" y="4588252"/>
                  <a:pt x="6128666" y="4587586"/>
                </a:cubicBezTo>
                <a:cubicBezTo>
                  <a:pt x="6127202" y="4586921"/>
                  <a:pt x="6125604" y="4586655"/>
                  <a:pt x="6123608" y="4586655"/>
                </a:cubicBezTo>
                <a:close/>
                <a:moveTo>
                  <a:pt x="5905963" y="4586655"/>
                </a:moveTo>
                <a:cubicBezTo>
                  <a:pt x="5900106" y="4586655"/>
                  <a:pt x="5897576" y="4588651"/>
                  <a:pt x="5895979" y="4590249"/>
                </a:cubicBezTo>
                <a:cubicBezTo>
                  <a:pt x="5893450" y="4592911"/>
                  <a:pt x="5892385" y="4595706"/>
                  <a:pt x="5892385" y="4599700"/>
                </a:cubicBezTo>
                <a:cubicBezTo>
                  <a:pt x="5892385" y="4603826"/>
                  <a:pt x="5893450" y="4606622"/>
                  <a:pt x="5895979" y="4609151"/>
                </a:cubicBezTo>
                <a:cubicBezTo>
                  <a:pt x="5897576" y="4610750"/>
                  <a:pt x="5900106" y="4612613"/>
                  <a:pt x="5905963" y="4612613"/>
                </a:cubicBezTo>
                <a:cubicBezTo>
                  <a:pt x="5908093" y="4612613"/>
                  <a:pt x="5909823" y="4612347"/>
                  <a:pt x="5911287" y="4611681"/>
                </a:cubicBezTo>
                <a:cubicBezTo>
                  <a:pt x="5912751" y="4611149"/>
                  <a:pt x="5914083" y="4610350"/>
                  <a:pt x="5915014" y="4609284"/>
                </a:cubicBezTo>
                <a:cubicBezTo>
                  <a:pt x="5916079" y="4608086"/>
                  <a:pt x="5917011" y="4606755"/>
                  <a:pt x="5917677" y="4605024"/>
                </a:cubicBezTo>
                <a:cubicBezTo>
                  <a:pt x="5918342" y="4603427"/>
                  <a:pt x="5918742" y="4601563"/>
                  <a:pt x="5918742" y="4599566"/>
                </a:cubicBezTo>
                <a:cubicBezTo>
                  <a:pt x="5918742" y="4597703"/>
                  <a:pt x="5918342" y="4595972"/>
                  <a:pt x="5917677" y="4594375"/>
                </a:cubicBezTo>
                <a:cubicBezTo>
                  <a:pt x="5917011" y="4592778"/>
                  <a:pt x="5916079" y="4591447"/>
                  <a:pt x="5915014" y="4590249"/>
                </a:cubicBezTo>
                <a:cubicBezTo>
                  <a:pt x="5913950" y="4589183"/>
                  <a:pt x="5912618" y="4588252"/>
                  <a:pt x="5911021" y="4587586"/>
                </a:cubicBezTo>
                <a:cubicBezTo>
                  <a:pt x="5909557" y="4586921"/>
                  <a:pt x="5907826" y="4586655"/>
                  <a:pt x="5905963" y="4586655"/>
                </a:cubicBezTo>
                <a:close/>
                <a:moveTo>
                  <a:pt x="5688451" y="4586655"/>
                </a:moveTo>
                <a:cubicBezTo>
                  <a:pt x="5682594" y="4586655"/>
                  <a:pt x="5680064" y="4588651"/>
                  <a:pt x="5678467" y="4590249"/>
                </a:cubicBezTo>
                <a:cubicBezTo>
                  <a:pt x="5675938" y="4592911"/>
                  <a:pt x="5674873" y="4595706"/>
                  <a:pt x="5674873" y="4599700"/>
                </a:cubicBezTo>
                <a:cubicBezTo>
                  <a:pt x="5674873" y="4603826"/>
                  <a:pt x="5675938" y="4606622"/>
                  <a:pt x="5678467" y="4609151"/>
                </a:cubicBezTo>
                <a:cubicBezTo>
                  <a:pt x="5680064" y="4610750"/>
                  <a:pt x="5682594" y="4612613"/>
                  <a:pt x="5688451" y="4612613"/>
                </a:cubicBezTo>
                <a:cubicBezTo>
                  <a:pt x="5690447" y="4612613"/>
                  <a:pt x="5692178" y="4612347"/>
                  <a:pt x="5693775" y="4611681"/>
                </a:cubicBezTo>
                <a:cubicBezTo>
                  <a:pt x="5695239" y="4611149"/>
                  <a:pt x="5696571" y="4610350"/>
                  <a:pt x="5697502" y="4609284"/>
                </a:cubicBezTo>
                <a:cubicBezTo>
                  <a:pt x="5698567" y="4608086"/>
                  <a:pt x="5699499" y="4606755"/>
                  <a:pt x="5700165" y="4605024"/>
                </a:cubicBezTo>
                <a:cubicBezTo>
                  <a:pt x="5700830" y="4603427"/>
                  <a:pt x="5701230" y="4601563"/>
                  <a:pt x="5701230" y="4599566"/>
                </a:cubicBezTo>
                <a:cubicBezTo>
                  <a:pt x="5701230" y="4597703"/>
                  <a:pt x="5700830" y="4595972"/>
                  <a:pt x="5700165" y="4594375"/>
                </a:cubicBezTo>
                <a:cubicBezTo>
                  <a:pt x="5699499" y="4592778"/>
                  <a:pt x="5698567" y="4591447"/>
                  <a:pt x="5697502" y="4590249"/>
                </a:cubicBezTo>
                <a:cubicBezTo>
                  <a:pt x="5696437" y="4589183"/>
                  <a:pt x="5695106" y="4588252"/>
                  <a:pt x="5693509" y="4587586"/>
                </a:cubicBezTo>
                <a:cubicBezTo>
                  <a:pt x="5692045" y="4586921"/>
                  <a:pt x="5690314" y="4586655"/>
                  <a:pt x="5688451" y="4586655"/>
                </a:cubicBezTo>
                <a:close/>
                <a:moveTo>
                  <a:pt x="5470806" y="4586655"/>
                </a:moveTo>
                <a:cubicBezTo>
                  <a:pt x="5464949" y="4586655"/>
                  <a:pt x="5462419" y="4588651"/>
                  <a:pt x="5460822" y="4590249"/>
                </a:cubicBezTo>
                <a:cubicBezTo>
                  <a:pt x="5458293" y="4592911"/>
                  <a:pt x="5457228" y="4595706"/>
                  <a:pt x="5457228" y="4599700"/>
                </a:cubicBezTo>
                <a:cubicBezTo>
                  <a:pt x="5457228" y="4603826"/>
                  <a:pt x="5458293" y="4606622"/>
                  <a:pt x="5460822" y="4609151"/>
                </a:cubicBezTo>
                <a:cubicBezTo>
                  <a:pt x="5462419" y="4610750"/>
                  <a:pt x="5464949" y="4612613"/>
                  <a:pt x="5470806" y="4612613"/>
                </a:cubicBezTo>
                <a:cubicBezTo>
                  <a:pt x="5472802" y="4612613"/>
                  <a:pt x="5474666" y="4612347"/>
                  <a:pt x="5476130" y="4611681"/>
                </a:cubicBezTo>
                <a:cubicBezTo>
                  <a:pt x="5477594" y="4611149"/>
                  <a:pt x="5478926" y="4610350"/>
                  <a:pt x="5479857" y="4609284"/>
                </a:cubicBezTo>
                <a:cubicBezTo>
                  <a:pt x="5480922" y="4608086"/>
                  <a:pt x="5481854" y="4606755"/>
                  <a:pt x="5482520" y="4605024"/>
                </a:cubicBezTo>
                <a:cubicBezTo>
                  <a:pt x="5483319" y="4603427"/>
                  <a:pt x="5483585" y="4601563"/>
                  <a:pt x="5483585" y="4599566"/>
                </a:cubicBezTo>
                <a:cubicBezTo>
                  <a:pt x="5483585" y="4597703"/>
                  <a:pt x="5483185" y="4595972"/>
                  <a:pt x="5482520" y="4594375"/>
                </a:cubicBezTo>
                <a:cubicBezTo>
                  <a:pt x="5481854" y="4592778"/>
                  <a:pt x="5480922" y="4591447"/>
                  <a:pt x="5479857" y="4590249"/>
                </a:cubicBezTo>
                <a:cubicBezTo>
                  <a:pt x="5478793" y="4589183"/>
                  <a:pt x="5477461" y="4588252"/>
                  <a:pt x="5475864" y="4587586"/>
                </a:cubicBezTo>
                <a:cubicBezTo>
                  <a:pt x="5474400" y="4586921"/>
                  <a:pt x="5472669" y="4586655"/>
                  <a:pt x="5470806" y="4586655"/>
                </a:cubicBezTo>
                <a:close/>
                <a:moveTo>
                  <a:pt x="5253160" y="4586655"/>
                </a:moveTo>
                <a:cubicBezTo>
                  <a:pt x="5247303" y="4586655"/>
                  <a:pt x="5244774" y="4588651"/>
                  <a:pt x="5243177" y="4590249"/>
                </a:cubicBezTo>
                <a:cubicBezTo>
                  <a:pt x="5240647" y="4592911"/>
                  <a:pt x="5239583" y="4595706"/>
                  <a:pt x="5239583" y="4599700"/>
                </a:cubicBezTo>
                <a:cubicBezTo>
                  <a:pt x="5239583" y="4603826"/>
                  <a:pt x="5240647" y="4606622"/>
                  <a:pt x="5243177" y="4609151"/>
                </a:cubicBezTo>
                <a:cubicBezTo>
                  <a:pt x="5244774" y="4610750"/>
                  <a:pt x="5247303" y="4612613"/>
                  <a:pt x="5253160" y="4612613"/>
                </a:cubicBezTo>
                <a:cubicBezTo>
                  <a:pt x="5255157" y="4612613"/>
                  <a:pt x="5257021" y="4612347"/>
                  <a:pt x="5258485" y="4611681"/>
                </a:cubicBezTo>
                <a:cubicBezTo>
                  <a:pt x="5259949" y="4611149"/>
                  <a:pt x="5261280" y="4610350"/>
                  <a:pt x="5262212" y="4609284"/>
                </a:cubicBezTo>
                <a:cubicBezTo>
                  <a:pt x="5263277" y="4608086"/>
                  <a:pt x="5264209" y="4606755"/>
                  <a:pt x="5264875" y="4605024"/>
                </a:cubicBezTo>
                <a:cubicBezTo>
                  <a:pt x="5265673" y="4603427"/>
                  <a:pt x="5265939" y="4601563"/>
                  <a:pt x="5265939" y="4599566"/>
                </a:cubicBezTo>
                <a:cubicBezTo>
                  <a:pt x="5265939" y="4597703"/>
                  <a:pt x="5265540" y="4595972"/>
                  <a:pt x="5264875" y="4594375"/>
                </a:cubicBezTo>
                <a:cubicBezTo>
                  <a:pt x="5264209" y="4592778"/>
                  <a:pt x="5263277" y="4591447"/>
                  <a:pt x="5262212" y="4590249"/>
                </a:cubicBezTo>
                <a:cubicBezTo>
                  <a:pt x="5261147" y="4589183"/>
                  <a:pt x="5259816" y="4588252"/>
                  <a:pt x="5258219" y="4587586"/>
                </a:cubicBezTo>
                <a:cubicBezTo>
                  <a:pt x="5256754" y="4586921"/>
                  <a:pt x="5255024" y="4586655"/>
                  <a:pt x="5253160" y="4586655"/>
                </a:cubicBezTo>
                <a:close/>
                <a:moveTo>
                  <a:pt x="5035515" y="4586655"/>
                </a:moveTo>
                <a:cubicBezTo>
                  <a:pt x="5029658" y="4586655"/>
                  <a:pt x="5027129" y="4588651"/>
                  <a:pt x="5025532" y="4590249"/>
                </a:cubicBezTo>
                <a:cubicBezTo>
                  <a:pt x="5023002" y="4592911"/>
                  <a:pt x="5021938" y="4595706"/>
                  <a:pt x="5021938" y="4599700"/>
                </a:cubicBezTo>
                <a:cubicBezTo>
                  <a:pt x="5021938" y="4603826"/>
                  <a:pt x="5023002" y="4606622"/>
                  <a:pt x="5025532" y="4609151"/>
                </a:cubicBezTo>
                <a:cubicBezTo>
                  <a:pt x="5027129" y="4610750"/>
                  <a:pt x="5029658" y="4612613"/>
                  <a:pt x="5035515" y="4612613"/>
                </a:cubicBezTo>
                <a:cubicBezTo>
                  <a:pt x="5037645" y="4612613"/>
                  <a:pt x="5039376" y="4612347"/>
                  <a:pt x="5040840" y="4611681"/>
                </a:cubicBezTo>
                <a:cubicBezTo>
                  <a:pt x="5042304" y="4611149"/>
                  <a:pt x="5043636" y="4610350"/>
                  <a:pt x="5044567" y="4609284"/>
                </a:cubicBezTo>
                <a:cubicBezTo>
                  <a:pt x="5045632" y="4608086"/>
                  <a:pt x="5046564" y="4606755"/>
                  <a:pt x="5047230" y="4605024"/>
                </a:cubicBezTo>
                <a:cubicBezTo>
                  <a:pt x="5048028" y="4603427"/>
                  <a:pt x="5048294" y="4601563"/>
                  <a:pt x="5048294" y="4599566"/>
                </a:cubicBezTo>
                <a:cubicBezTo>
                  <a:pt x="5048294" y="4597703"/>
                  <a:pt x="5047895" y="4595972"/>
                  <a:pt x="5047230" y="4594375"/>
                </a:cubicBezTo>
                <a:cubicBezTo>
                  <a:pt x="5046564" y="4592778"/>
                  <a:pt x="5045632" y="4591447"/>
                  <a:pt x="5044567" y="4590249"/>
                </a:cubicBezTo>
                <a:cubicBezTo>
                  <a:pt x="5043502" y="4589183"/>
                  <a:pt x="5042171" y="4588252"/>
                  <a:pt x="5040574" y="4587586"/>
                </a:cubicBezTo>
                <a:cubicBezTo>
                  <a:pt x="5039110" y="4586921"/>
                  <a:pt x="5037379" y="4586655"/>
                  <a:pt x="5035515" y="4586655"/>
                </a:cubicBezTo>
                <a:close/>
                <a:moveTo>
                  <a:pt x="4817870" y="4586655"/>
                </a:moveTo>
                <a:cubicBezTo>
                  <a:pt x="4812013" y="4586655"/>
                  <a:pt x="4809484" y="4588651"/>
                  <a:pt x="4807887" y="4590249"/>
                </a:cubicBezTo>
                <a:cubicBezTo>
                  <a:pt x="4805357" y="4592911"/>
                  <a:pt x="4804293" y="4595706"/>
                  <a:pt x="4804293" y="4599700"/>
                </a:cubicBezTo>
                <a:cubicBezTo>
                  <a:pt x="4804293" y="4603826"/>
                  <a:pt x="4805357" y="4606622"/>
                  <a:pt x="4807887" y="4609151"/>
                </a:cubicBezTo>
                <a:cubicBezTo>
                  <a:pt x="4809484" y="4610750"/>
                  <a:pt x="4812013" y="4612613"/>
                  <a:pt x="4817870" y="4612613"/>
                </a:cubicBezTo>
                <a:cubicBezTo>
                  <a:pt x="4820000" y="4612613"/>
                  <a:pt x="4821731" y="4612347"/>
                  <a:pt x="4823195" y="4611681"/>
                </a:cubicBezTo>
                <a:cubicBezTo>
                  <a:pt x="4824659" y="4611149"/>
                  <a:pt x="4825857" y="4610350"/>
                  <a:pt x="4826922" y="4609284"/>
                </a:cubicBezTo>
                <a:cubicBezTo>
                  <a:pt x="4827987" y="4608086"/>
                  <a:pt x="4828919" y="4606755"/>
                  <a:pt x="4829585" y="4605024"/>
                </a:cubicBezTo>
                <a:cubicBezTo>
                  <a:pt x="4830383" y="4603427"/>
                  <a:pt x="4830650" y="4601563"/>
                  <a:pt x="4830650" y="4599566"/>
                </a:cubicBezTo>
                <a:cubicBezTo>
                  <a:pt x="4830650" y="4597703"/>
                  <a:pt x="4830250" y="4595972"/>
                  <a:pt x="4829585" y="4594375"/>
                </a:cubicBezTo>
                <a:cubicBezTo>
                  <a:pt x="4828919" y="4592778"/>
                  <a:pt x="4827987" y="4591447"/>
                  <a:pt x="4826922" y="4590249"/>
                </a:cubicBezTo>
                <a:cubicBezTo>
                  <a:pt x="4825857" y="4589183"/>
                  <a:pt x="4824526" y="4588252"/>
                  <a:pt x="4822929" y="4587586"/>
                </a:cubicBezTo>
                <a:cubicBezTo>
                  <a:pt x="4821465" y="4586921"/>
                  <a:pt x="4819734" y="4586655"/>
                  <a:pt x="4817870" y="4586655"/>
                </a:cubicBezTo>
                <a:close/>
                <a:moveTo>
                  <a:pt x="4600226" y="4586655"/>
                </a:moveTo>
                <a:cubicBezTo>
                  <a:pt x="4594369" y="4586655"/>
                  <a:pt x="4591839" y="4588651"/>
                  <a:pt x="4590242" y="4590249"/>
                </a:cubicBezTo>
                <a:cubicBezTo>
                  <a:pt x="4587713" y="4592911"/>
                  <a:pt x="4586648" y="4595706"/>
                  <a:pt x="4586648" y="4599700"/>
                </a:cubicBezTo>
                <a:cubicBezTo>
                  <a:pt x="4586648" y="4603826"/>
                  <a:pt x="4587713" y="4606622"/>
                  <a:pt x="4590242" y="4609151"/>
                </a:cubicBezTo>
                <a:cubicBezTo>
                  <a:pt x="4591839" y="4610750"/>
                  <a:pt x="4594369" y="4612613"/>
                  <a:pt x="4600226" y="4612613"/>
                </a:cubicBezTo>
                <a:cubicBezTo>
                  <a:pt x="4602355" y="4612613"/>
                  <a:pt x="4604086" y="4612347"/>
                  <a:pt x="4605550" y="4611681"/>
                </a:cubicBezTo>
                <a:cubicBezTo>
                  <a:pt x="4607148" y="4611149"/>
                  <a:pt x="4608346" y="4610350"/>
                  <a:pt x="4609277" y="4609284"/>
                </a:cubicBezTo>
                <a:cubicBezTo>
                  <a:pt x="4610342" y="4608086"/>
                  <a:pt x="4611274" y="4606755"/>
                  <a:pt x="4611940" y="4605024"/>
                </a:cubicBezTo>
                <a:cubicBezTo>
                  <a:pt x="4612605" y="4603427"/>
                  <a:pt x="4613005" y="4601563"/>
                  <a:pt x="4613005" y="4599566"/>
                </a:cubicBezTo>
                <a:cubicBezTo>
                  <a:pt x="4613005" y="4597703"/>
                  <a:pt x="4612605" y="4595972"/>
                  <a:pt x="4611940" y="4594375"/>
                </a:cubicBezTo>
                <a:cubicBezTo>
                  <a:pt x="4611274" y="4592778"/>
                  <a:pt x="4610342" y="4591447"/>
                  <a:pt x="4609277" y="4590249"/>
                </a:cubicBezTo>
                <a:cubicBezTo>
                  <a:pt x="4608212" y="4589183"/>
                  <a:pt x="4606881" y="4588252"/>
                  <a:pt x="4605284" y="4587586"/>
                </a:cubicBezTo>
                <a:cubicBezTo>
                  <a:pt x="4603820" y="4586921"/>
                  <a:pt x="4602222" y="4586655"/>
                  <a:pt x="4600226" y="4586655"/>
                </a:cubicBezTo>
                <a:close/>
                <a:moveTo>
                  <a:pt x="4382713" y="4586655"/>
                </a:moveTo>
                <a:cubicBezTo>
                  <a:pt x="4376857" y="4586655"/>
                  <a:pt x="4374327" y="4588651"/>
                  <a:pt x="4372730" y="4590249"/>
                </a:cubicBezTo>
                <a:cubicBezTo>
                  <a:pt x="4370201" y="4592911"/>
                  <a:pt x="4369136" y="4595706"/>
                  <a:pt x="4369136" y="4599700"/>
                </a:cubicBezTo>
                <a:cubicBezTo>
                  <a:pt x="4369136" y="4603826"/>
                  <a:pt x="4370201" y="4606622"/>
                  <a:pt x="4372730" y="4609151"/>
                </a:cubicBezTo>
                <a:cubicBezTo>
                  <a:pt x="4374327" y="4610750"/>
                  <a:pt x="4376857" y="4612613"/>
                  <a:pt x="4382713" y="4612613"/>
                </a:cubicBezTo>
                <a:cubicBezTo>
                  <a:pt x="4384710" y="4612613"/>
                  <a:pt x="4386441" y="4612347"/>
                  <a:pt x="4388038" y="4611681"/>
                </a:cubicBezTo>
                <a:cubicBezTo>
                  <a:pt x="4389502" y="4611149"/>
                  <a:pt x="4390834" y="4610350"/>
                  <a:pt x="4391765" y="4609284"/>
                </a:cubicBezTo>
                <a:cubicBezTo>
                  <a:pt x="4392830" y="4608086"/>
                  <a:pt x="4393762" y="4606755"/>
                  <a:pt x="4394428" y="4605024"/>
                </a:cubicBezTo>
                <a:cubicBezTo>
                  <a:pt x="4395093" y="4603427"/>
                  <a:pt x="4395493" y="4601563"/>
                  <a:pt x="4395493" y="4599566"/>
                </a:cubicBezTo>
                <a:cubicBezTo>
                  <a:pt x="4395493" y="4597703"/>
                  <a:pt x="4395093" y="4595972"/>
                  <a:pt x="4394428" y="4594375"/>
                </a:cubicBezTo>
                <a:cubicBezTo>
                  <a:pt x="4393762" y="4592778"/>
                  <a:pt x="4392830" y="4591447"/>
                  <a:pt x="4391765" y="4590249"/>
                </a:cubicBezTo>
                <a:cubicBezTo>
                  <a:pt x="4390700" y="4589183"/>
                  <a:pt x="4389369" y="4588252"/>
                  <a:pt x="4387772" y="4587586"/>
                </a:cubicBezTo>
                <a:cubicBezTo>
                  <a:pt x="4386308" y="4586921"/>
                  <a:pt x="4384710" y="4586655"/>
                  <a:pt x="4382713" y="4586655"/>
                </a:cubicBezTo>
                <a:close/>
                <a:moveTo>
                  <a:pt x="4165068" y="4586655"/>
                </a:moveTo>
                <a:cubicBezTo>
                  <a:pt x="4159211" y="4586655"/>
                  <a:pt x="4156681" y="4588651"/>
                  <a:pt x="4155084" y="4590249"/>
                </a:cubicBezTo>
                <a:cubicBezTo>
                  <a:pt x="4152555" y="4592911"/>
                  <a:pt x="4151490" y="4595706"/>
                  <a:pt x="4151490" y="4599700"/>
                </a:cubicBezTo>
                <a:cubicBezTo>
                  <a:pt x="4151490" y="4603826"/>
                  <a:pt x="4152555" y="4606622"/>
                  <a:pt x="4155084" y="4609151"/>
                </a:cubicBezTo>
                <a:cubicBezTo>
                  <a:pt x="4156681" y="4610750"/>
                  <a:pt x="4159211" y="4612613"/>
                  <a:pt x="4165068" y="4612613"/>
                </a:cubicBezTo>
                <a:cubicBezTo>
                  <a:pt x="4167064" y="4612613"/>
                  <a:pt x="4168928" y="4612347"/>
                  <a:pt x="4170392" y="4611681"/>
                </a:cubicBezTo>
                <a:cubicBezTo>
                  <a:pt x="4171856" y="4611149"/>
                  <a:pt x="4173188" y="4610350"/>
                  <a:pt x="4174119" y="4609284"/>
                </a:cubicBezTo>
                <a:cubicBezTo>
                  <a:pt x="4175184" y="4608086"/>
                  <a:pt x="4176116" y="4606755"/>
                  <a:pt x="4176782" y="4605024"/>
                </a:cubicBezTo>
                <a:cubicBezTo>
                  <a:pt x="4177447" y="4603427"/>
                  <a:pt x="4177847" y="4601563"/>
                  <a:pt x="4177847" y="4599566"/>
                </a:cubicBezTo>
                <a:cubicBezTo>
                  <a:pt x="4177847" y="4597703"/>
                  <a:pt x="4177447" y="4595972"/>
                  <a:pt x="4176782" y="4594375"/>
                </a:cubicBezTo>
                <a:cubicBezTo>
                  <a:pt x="4176116" y="4592778"/>
                  <a:pt x="4175184" y="4591447"/>
                  <a:pt x="4174119" y="4590249"/>
                </a:cubicBezTo>
                <a:cubicBezTo>
                  <a:pt x="4173054" y="4589183"/>
                  <a:pt x="4171723" y="4588252"/>
                  <a:pt x="4170126" y="4587586"/>
                </a:cubicBezTo>
                <a:cubicBezTo>
                  <a:pt x="4168662" y="4586921"/>
                  <a:pt x="4167064" y="4586655"/>
                  <a:pt x="4165068" y="4586655"/>
                </a:cubicBezTo>
                <a:close/>
                <a:moveTo>
                  <a:pt x="3947674" y="4586655"/>
                </a:moveTo>
                <a:cubicBezTo>
                  <a:pt x="3941817" y="4586655"/>
                  <a:pt x="3939288" y="4588651"/>
                  <a:pt x="3937691" y="4590249"/>
                </a:cubicBezTo>
                <a:cubicBezTo>
                  <a:pt x="3935160" y="4592911"/>
                  <a:pt x="3934097" y="4595706"/>
                  <a:pt x="3934097" y="4599700"/>
                </a:cubicBezTo>
                <a:cubicBezTo>
                  <a:pt x="3934097" y="4603826"/>
                  <a:pt x="3935160" y="4606622"/>
                  <a:pt x="3937691" y="4609151"/>
                </a:cubicBezTo>
                <a:cubicBezTo>
                  <a:pt x="3939288" y="4610750"/>
                  <a:pt x="3941817" y="4612613"/>
                  <a:pt x="3947674" y="4612613"/>
                </a:cubicBezTo>
                <a:cubicBezTo>
                  <a:pt x="3949672" y="4612613"/>
                  <a:pt x="3951535" y="4612347"/>
                  <a:pt x="3953002" y="4611681"/>
                </a:cubicBezTo>
                <a:cubicBezTo>
                  <a:pt x="3954466" y="4611149"/>
                  <a:pt x="3955796" y="4610350"/>
                  <a:pt x="3956729" y="4609284"/>
                </a:cubicBezTo>
                <a:cubicBezTo>
                  <a:pt x="3957794" y="4608086"/>
                  <a:pt x="3958726" y="4606755"/>
                  <a:pt x="3959392" y="4605024"/>
                </a:cubicBezTo>
                <a:cubicBezTo>
                  <a:pt x="3960057" y="4603427"/>
                  <a:pt x="3960457" y="4601563"/>
                  <a:pt x="3960457" y="4599566"/>
                </a:cubicBezTo>
                <a:cubicBezTo>
                  <a:pt x="3960457" y="4597703"/>
                  <a:pt x="3960057" y="4595972"/>
                  <a:pt x="3959392" y="4594375"/>
                </a:cubicBezTo>
                <a:cubicBezTo>
                  <a:pt x="3958726" y="4592778"/>
                  <a:pt x="3957794" y="4591447"/>
                  <a:pt x="3956729" y="4590249"/>
                </a:cubicBezTo>
                <a:cubicBezTo>
                  <a:pt x="3955664" y="4589183"/>
                  <a:pt x="3954333" y="4588252"/>
                  <a:pt x="3952735" y="4587586"/>
                </a:cubicBezTo>
                <a:cubicBezTo>
                  <a:pt x="3951269" y="4586921"/>
                  <a:pt x="3949672" y="4586655"/>
                  <a:pt x="3947674" y="4586655"/>
                </a:cubicBezTo>
                <a:close/>
                <a:moveTo>
                  <a:pt x="3730018" y="4586655"/>
                </a:moveTo>
                <a:cubicBezTo>
                  <a:pt x="3724161" y="4586655"/>
                  <a:pt x="3721631" y="4588651"/>
                  <a:pt x="3720031" y="4590249"/>
                </a:cubicBezTo>
                <a:cubicBezTo>
                  <a:pt x="3717502" y="4592911"/>
                  <a:pt x="3716439" y="4595706"/>
                  <a:pt x="3716439" y="4599700"/>
                </a:cubicBezTo>
                <a:cubicBezTo>
                  <a:pt x="3716439" y="4603826"/>
                  <a:pt x="3717502" y="4606622"/>
                  <a:pt x="3720031" y="4609151"/>
                </a:cubicBezTo>
                <a:cubicBezTo>
                  <a:pt x="3721631" y="4610750"/>
                  <a:pt x="3724161" y="4612613"/>
                  <a:pt x="3730018" y="4612613"/>
                </a:cubicBezTo>
                <a:cubicBezTo>
                  <a:pt x="3732148" y="4612613"/>
                  <a:pt x="3733879" y="4612347"/>
                  <a:pt x="3735343" y="4611681"/>
                </a:cubicBezTo>
                <a:cubicBezTo>
                  <a:pt x="3736807" y="4611149"/>
                  <a:pt x="3738140" y="4610350"/>
                  <a:pt x="3739070" y="4609284"/>
                </a:cubicBezTo>
                <a:cubicBezTo>
                  <a:pt x="3740135" y="4608086"/>
                  <a:pt x="3741068" y="4606755"/>
                  <a:pt x="3741733" y="4605024"/>
                </a:cubicBezTo>
                <a:cubicBezTo>
                  <a:pt x="3742398" y="4603427"/>
                  <a:pt x="3742798" y="4601563"/>
                  <a:pt x="3742798" y="4599566"/>
                </a:cubicBezTo>
                <a:cubicBezTo>
                  <a:pt x="3742798" y="4597703"/>
                  <a:pt x="3742398" y="4595972"/>
                  <a:pt x="3741733" y="4594375"/>
                </a:cubicBezTo>
                <a:cubicBezTo>
                  <a:pt x="3741068" y="4592778"/>
                  <a:pt x="3740135" y="4591447"/>
                  <a:pt x="3739070" y="4590249"/>
                </a:cubicBezTo>
                <a:cubicBezTo>
                  <a:pt x="3738006" y="4589183"/>
                  <a:pt x="3736675" y="4588252"/>
                  <a:pt x="3735077" y="4587586"/>
                </a:cubicBezTo>
                <a:cubicBezTo>
                  <a:pt x="3733613" y="4586921"/>
                  <a:pt x="3732015" y="4586655"/>
                  <a:pt x="3730018" y="4586655"/>
                </a:cubicBezTo>
                <a:close/>
                <a:moveTo>
                  <a:pt x="3512359" y="4586655"/>
                </a:moveTo>
                <a:cubicBezTo>
                  <a:pt x="3506501" y="4586655"/>
                  <a:pt x="3503971" y="4588651"/>
                  <a:pt x="3502372" y="4590249"/>
                </a:cubicBezTo>
                <a:cubicBezTo>
                  <a:pt x="3499842" y="4592911"/>
                  <a:pt x="3498778" y="4595706"/>
                  <a:pt x="3498778" y="4599700"/>
                </a:cubicBezTo>
                <a:cubicBezTo>
                  <a:pt x="3498778" y="4603826"/>
                  <a:pt x="3499842" y="4606622"/>
                  <a:pt x="3502372" y="4609151"/>
                </a:cubicBezTo>
                <a:cubicBezTo>
                  <a:pt x="3503971" y="4610750"/>
                  <a:pt x="3506501" y="4612613"/>
                  <a:pt x="3512359" y="4612613"/>
                </a:cubicBezTo>
                <a:cubicBezTo>
                  <a:pt x="3514490" y="4612613"/>
                  <a:pt x="3516221" y="4612347"/>
                  <a:pt x="3517685" y="4611681"/>
                </a:cubicBezTo>
                <a:cubicBezTo>
                  <a:pt x="3519149" y="4611149"/>
                  <a:pt x="3520481" y="4610350"/>
                  <a:pt x="3521412" y="4609284"/>
                </a:cubicBezTo>
                <a:cubicBezTo>
                  <a:pt x="3522478" y="4608086"/>
                  <a:pt x="3523409" y="4606755"/>
                  <a:pt x="3524075" y="4605024"/>
                </a:cubicBezTo>
                <a:cubicBezTo>
                  <a:pt x="3524740" y="4603427"/>
                  <a:pt x="3525141" y="4601563"/>
                  <a:pt x="3525141" y="4599566"/>
                </a:cubicBezTo>
                <a:cubicBezTo>
                  <a:pt x="3525141" y="4597703"/>
                  <a:pt x="3524740" y="4595972"/>
                  <a:pt x="3524075" y="4594375"/>
                </a:cubicBezTo>
                <a:cubicBezTo>
                  <a:pt x="3523409" y="4592778"/>
                  <a:pt x="3522478" y="4591447"/>
                  <a:pt x="3521412" y="4590249"/>
                </a:cubicBezTo>
                <a:cubicBezTo>
                  <a:pt x="3520347" y="4589183"/>
                  <a:pt x="3519016" y="4588252"/>
                  <a:pt x="3517419" y="4587586"/>
                </a:cubicBezTo>
                <a:cubicBezTo>
                  <a:pt x="3515955" y="4586921"/>
                  <a:pt x="3514357" y="4586655"/>
                  <a:pt x="3512359" y="4586655"/>
                </a:cubicBezTo>
                <a:close/>
                <a:moveTo>
                  <a:pt x="3294835" y="4586655"/>
                </a:moveTo>
                <a:cubicBezTo>
                  <a:pt x="3288976" y="4586655"/>
                  <a:pt x="3286446" y="4588651"/>
                  <a:pt x="3284849" y="4590249"/>
                </a:cubicBezTo>
                <a:cubicBezTo>
                  <a:pt x="3282318" y="4592911"/>
                  <a:pt x="3281255" y="4595706"/>
                  <a:pt x="3281255" y="4599700"/>
                </a:cubicBezTo>
                <a:cubicBezTo>
                  <a:pt x="3281255" y="4603826"/>
                  <a:pt x="3282318" y="4606622"/>
                  <a:pt x="3284849" y="4609151"/>
                </a:cubicBezTo>
                <a:cubicBezTo>
                  <a:pt x="3286446" y="4610750"/>
                  <a:pt x="3288976" y="4612613"/>
                  <a:pt x="3294835" y="4612613"/>
                </a:cubicBezTo>
                <a:cubicBezTo>
                  <a:pt x="3296832" y="4612613"/>
                  <a:pt x="3298562" y="4612347"/>
                  <a:pt x="3300160" y="4611681"/>
                </a:cubicBezTo>
                <a:cubicBezTo>
                  <a:pt x="3301624" y="4611149"/>
                  <a:pt x="3302956" y="4610350"/>
                  <a:pt x="3303887" y="4609284"/>
                </a:cubicBezTo>
                <a:cubicBezTo>
                  <a:pt x="3304952" y="4608086"/>
                  <a:pt x="3305884" y="4606755"/>
                  <a:pt x="3306550" y="4605024"/>
                </a:cubicBezTo>
                <a:cubicBezTo>
                  <a:pt x="3307215" y="4603427"/>
                  <a:pt x="3307614" y="4601563"/>
                  <a:pt x="3307614" y="4599566"/>
                </a:cubicBezTo>
                <a:cubicBezTo>
                  <a:pt x="3307614" y="4597703"/>
                  <a:pt x="3307215" y="4595972"/>
                  <a:pt x="3306550" y="4594375"/>
                </a:cubicBezTo>
                <a:cubicBezTo>
                  <a:pt x="3305884" y="4592778"/>
                  <a:pt x="3304952" y="4591447"/>
                  <a:pt x="3303887" y="4590249"/>
                </a:cubicBezTo>
                <a:cubicBezTo>
                  <a:pt x="3302822" y="4589183"/>
                  <a:pt x="3301491" y="4588252"/>
                  <a:pt x="3299894" y="4587586"/>
                </a:cubicBezTo>
                <a:cubicBezTo>
                  <a:pt x="3298430" y="4586921"/>
                  <a:pt x="3296832" y="4586655"/>
                  <a:pt x="3294835" y="4586655"/>
                </a:cubicBezTo>
                <a:close/>
                <a:moveTo>
                  <a:pt x="3077310" y="4586655"/>
                </a:moveTo>
                <a:cubicBezTo>
                  <a:pt x="3071452" y="4586655"/>
                  <a:pt x="3068922" y="4588651"/>
                  <a:pt x="3067327" y="4590249"/>
                </a:cubicBezTo>
                <a:cubicBezTo>
                  <a:pt x="3064661" y="4592911"/>
                  <a:pt x="3063595" y="4595706"/>
                  <a:pt x="3063595" y="4599700"/>
                </a:cubicBezTo>
                <a:cubicBezTo>
                  <a:pt x="3063595" y="4603826"/>
                  <a:pt x="3064661" y="4606622"/>
                  <a:pt x="3067192" y="4609151"/>
                </a:cubicBezTo>
                <a:cubicBezTo>
                  <a:pt x="3068789" y="4610750"/>
                  <a:pt x="3071319" y="4612613"/>
                  <a:pt x="3077176" y="4612613"/>
                </a:cubicBezTo>
                <a:cubicBezTo>
                  <a:pt x="3079174" y="4612613"/>
                  <a:pt x="3080904" y="4612347"/>
                  <a:pt x="3082635" y="4611681"/>
                </a:cubicBezTo>
                <a:cubicBezTo>
                  <a:pt x="3084100" y="4611149"/>
                  <a:pt x="3085431" y="4610350"/>
                  <a:pt x="3086362" y="4609284"/>
                </a:cubicBezTo>
                <a:cubicBezTo>
                  <a:pt x="3087427" y="4608086"/>
                  <a:pt x="3088359" y="4606755"/>
                  <a:pt x="3089025" y="4605024"/>
                </a:cubicBezTo>
                <a:cubicBezTo>
                  <a:pt x="3089690" y="4603427"/>
                  <a:pt x="3089957" y="4601563"/>
                  <a:pt x="3089957" y="4599566"/>
                </a:cubicBezTo>
                <a:cubicBezTo>
                  <a:pt x="3089957" y="4597703"/>
                  <a:pt x="3089690" y="4595972"/>
                  <a:pt x="3089025" y="4594375"/>
                </a:cubicBezTo>
                <a:cubicBezTo>
                  <a:pt x="3088359" y="4592778"/>
                  <a:pt x="3087427" y="4591447"/>
                  <a:pt x="3086362" y="4590249"/>
                </a:cubicBezTo>
                <a:cubicBezTo>
                  <a:pt x="3085298" y="4589183"/>
                  <a:pt x="3083966" y="4588252"/>
                  <a:pt x="3082369" y="4587586"/>
                </a:cubicBezTo>
                <a:cubicBezTo>
                  <a:pt x="3080904" y="4586921"/>
                  <a:pt x="3079307" y="4586655"/>
                  <a:pt x="3077310" y="4586655"/>
                </a:cubicBezTo>
                <a:close/>
                <a:moveTo>
                  <a:pt x="2859518" y="4586655"/>
                </a:moveTo>
                <a:cubicBezTo>
                  <a:pt x="2853661" y="4586655"/>
                  <a:pt x="2851132" y="4588651"/>
                  <a:pt x="2849532" y="4590249"/>
                </a:cubicBezTo>
                <a:cubicBezTo>
                  <a:pt x="2846999" y="4592911"/>
                  <a:pt x="2845935" y="4595706"/>
                  <a:pt x="2845935" y="4599700"/>
                </a:cubicBezTo>
                <a:cubicBezTo>
                  <a:pt x="2845935" y="4603826"/>
                  <a:pt x="2846999" y="4606622"/>
                  <a:pt x="2849532" y="4609151"/>
                </a:cubicBezTo>
                <a:cubicBezTo>
                  <a:pt x="2851132" y="4610750"/>
                  <a:pt x="2853661" y="4612613"/>
                  <a:pt x="2859518" y="4612613"/>
                </a:cubicBezTo>
                <a:cubicBezTo>
                  <a:pt x="2861515" y="4612613"/>
                  <a:pt x="2863379" y="4612347"/>
                  <a:pt x="2864843" y="4611681"/>
                </a:cubicBezTo>
                <a:cubicBezTo>
                  <a:pt x="2866441" y="4611149"/>
                  <a:pt x="2867640" y="4610350"/>
                  <a:pt x="2868570" y="4609284"/>
                </a:cubicBezTo>
                <a:cubicBezTo>
                  <a:pt x="2869635" y="4608086"/>
                  <a:pt x="2870568" y="4606755"/>
                  <a:pt x="2871233" y="4605024"/>
                </a:cubicBezTo>
                <a:cubicBezTo>
                  <a:pt x="2871766" y="4603427"/>
                  <a:pt x="2872164" y="4601563"/>
                  <a:pt x="2872164" y="4599566"/>
                </a:cubicBezTo>
                <a:cubicBezTo>
                  <a:pt x="2872164" y="4597703"/>
                  <a:pt x="2871898" y="4595972"/>
                  <a:pt x="2871233" y="4594375"/>
                </a:cubicBezTo>
                <a:cubicBezTo>
                  <a:pt x="2870568" y="4592778"/>
                  <a:pt x="2869635" y="4591447"/>
                  <a:pt x="2868570" y="4590249"/>
                </a:cubicBezTo>
                <a:cubicBezTo>
                  <a:pt x="2867506" y="4589183"/>
                  <a:pt x="2866175" y="4588252"/>
                  <a:pt x="2864578" y="4587586"/>
                </a:cubicBezTo>
                <a:cubicBezTo>
                  <a:pt x="2863114" y="4586921"/>
                  <a:pt x="2861515" y="4586655"/>
                  <a:pt x="2859518" y="4586655"/>
                </a:cubicBezTo>
                <a:close/>
                <a:moveTo>
                  <a:pt x="2641860" y="4586655"/>
                </a:moveTo>
                <a:cubicBezTo>
                  <a:pt x="2636003" y="4586655"/>
                  <a:pt x="2633474" y="4588651"/>
                  <a:pt x="2631877" y="4590249"/>
                </a:cubicBezTo>
                <a:cubicBezTo>
                  <a:pt x="2629347" y="4592911"/>
                  <a:pt x="2628282" y="4595706"/>
                  <a:pt x="2628282" y="4599700"/>
                </a:cubicBezTo>
                <a:cubicBezTo>
                  <a:pt x="2628282" y="4603826"/>
                  <a:pt x="2629347" y="4606622"/>
                  <a:pt x="2631877" y="4609151"/>
                </a:cubicBezTo>
                <a:cubicBezTo>
                  <a:pt x="2633474" y="4610750"/>
                  <a:pt x="2636003" y="4612613"/>
                  <a:pt x="2641860" y="4612613"/>
                </a:cubicBezTo>
                <a:cubicBezTo>
                  <a:pt x="2643857" y="4612613"/>
                  <a:pt x="2645721" y="4612347"/>
                  <a:pt x="2647185" y="4611681"/>
                </a:cubicBezTo>
                <a:cubicBezTo>
                  <a:pt x="2648782" y="4611149"/>
                  <a:pt x="2649980" y="4610350"/>
                  <a:pt x="2650912" y="4609284"/>
                </a:cubicBezTo>
                <a:cubicBezTo>
                  <a:pt x="2651978" y="4608086"/>
                  <a:pt x="2652909" y="4606755"/>
                  <a:pt x="2653576" y="4605024"/>
                </a:cubicBezTo>
                <a:cubicBezTo>
                  <a:pt x="2654107" y="4603427"/>
                  <a:pt x="2654506" y="4601563"/>
                  <a:pt x="2654506" y="4599566"/>
                </a:cubicBezTo>
                <a:cubicBezTo>
                  <a:pt x="2654506" y="4597703"/>
                  <a:pt x="2654240" y="4595972"/>
                  <a:pt x="2653576" y="4594375"/>
                </a:cubicBezTo>
                <a:cubicBezTo>
                  <a:pt x="2652909" y="4592778"/>
                  <a:pt x="2651978" y="4591447"/>
                  <a:pt x="2650912" y="4590249"/>
                </a:cubicBezTo>
                <a:cubicBezTo>
                  <a:pt x="2649847" y="4589183"/>
                  <a:pt x="2648516" y="4588252"/>
                  <a:pt x="2646919" y="4587586"/>
                </a:cubicBezTo>
                <a:cubicBezTo>
                  <a:pt x="2645454" y="4586921"/>
                  <a:pt x="2643857" y="4586655"/>
                  <a:pt x="2641860" y="4586655"/>
                </a:cubicBezTo>
                <a:close/>
                <a:moveTo>
                  <a:pt x="2424201" y="4586655"/>
                </a:moveTo>
                <a:cubicBezTo>
                  <a:pt x="2418345" y="4586655"/>
                  <a:pt x="2415816" y="4588651"/>
                  <a:pt x="2414218" y="4590249"/>
                </a:cubicBezTo>
                <a:cubicBezTo>
                  <a:pt x="2411688" y="4592911"/>
                  <a:pt x="2410624" y="4595706"/>
                  <a:pt x="2410624" y="4599700"/>
                </a:cubicBezTo>
                <a:cubicBezTo>
                  <a:pt x="2410624" y="4603826"/>
                  <a:pt x="2411688" y="4606622"/>
                  <a:pt x="2414218" y="4609151"/>
                </a:cubicBezTo>
                <a:cubicBezTo>
                  <a:pt x="2415816" y="4610750"/>
                  <a:pt x="2418345" y="4612613"/>
                  <a:pt x="2424201" y="4612613"/>
                </a:cubicBezTo>
                <a:cubicBezTo>
                  <a:pt x="2426332" y="4612613"/>
                  <a:pt x="2428063" y="4612347"/>
                  <a:pt x="2429527" y="4611681"/>
                </a:cubicBezTo>
                <a:cubicBezTo>
                  <a:pt x="2431125" y="4611149"/>
                  <a:pt x="2432323" y="4610350"/>
                  <a:pt x="2433254" y="4609284"/>
                </a:cubicBezTo>
                <a:cubicBezTo>
                  <a:pt x="2434319" y="4608086"/>
                  <a:pt x="2435251" y="4606755"/>
                  <a:pt x="2435917" y="4605024"/>
                </a:cubicBezTo>
                <a:cubicBezTo>
                  <a:pt x="2436449" y="4603427"/>
                  <a:pt x="2436848" y="4601563"/>
                  <a:pt x="2436848" y="4599566"/>
                </a:cubicBezTo>
                <a:cubicBezTo>
                  <a:pt x="2436848" y="4597703"/>
                  <a:pt x="2436582" y="4595972"/>
                  <a:pt x="2435917" y="4594375"/>
                </a:cubicBezTo>
                <a:cubicBezTo>
                  <a:pt x="2435251" y="4592778"/>
                  <a:pt x="2434319" y="4591447"/>
                  <a:pt x="2433254" y="4590249"/>
                </a:cubicBezTo>
                <a:cubicBezTo>
                  <a:pt x="2432190" y="4589183"/>
                  <a:pt x="2430858" y="4588252"/>
                  <a:pt x="2429261" y="4587586"/>
                </a:cubicBezTo>
                <a:cubicBezTo>
                  <a:pt x="2427797" y="4586921"/>
                  <a:pt x="2426199" y="4586655"/>
                  <a:pt x="2424201" y="4586655"/>
                </a:cubicBezTo>
                <a:close/>
                <a:moveTo>
                  <a:pt x="2206544" y="4586655"/>
                </a:moveTo>
                <a:cubicBezTo>
                  <a:pt x="2200686" y="4586655"/>
                  <a:pt x="2198157" y="4588651"/>
                  <a:pt x="2196560" y="4590249"/>
                </a:cubicBezTo>
                <a:cubicBezTo>
                  <a:pt x="2194030" y="4592911"/>
                  <a:pt x="2192966" y="4595706"/>
                  <a:pt x="2192966" y="4599700"/>
                </a:cubicBezTo>
                <a:cubicBezTo>
                  <a:pt x="2192966" y="4603826"/>
                  <a:pt x="2194030" y="4606622"/>
                  <a:pt x="2196560" y="4609151"/>
                </a:cubicBezTo>
                <a:cubicBezTo>
                  <a:pt x="2198157" y="4610750"/>
                  <a:pt x="2200686" y="4612613"/>
                  <a:pt x="2206544" y="4612613"/>
                </a:cubicBezTo>
                <a:cubicBezTo>
                  <a:pt x="2208673" y="4612613"/>
                  <a:pt x="2210405" y="4612347"/>
                  <a:pt x="2211868" y="4611681"/>
                </a:cubicBezTo>
                <a:cubicBezTo>
                  <a:pt x="2213466" y="4611149"/>
                  <a:pt x="2214664" y="4610350"/>
                  <a:pt x="2215595" y="4609284"/>
                </a:cubicBezTo>
                <a:cubicBezTo>
                  <a:pt x="2216661" y="4608086"/>
                  <a:pt x="2217592" y="4606755"/>
                  <a:pt x="2218259" y="4605024"/>
                </a:cubicBezTo>
                <a:cubicBezTo>
                  <a:pt x="2218791" y="4603427"/>
                  <a:pt x="2219190" y="4601563"/>
                  <a:pt x="2219190" y="4599566"/>
                </a:cubicBezTo>
                <a:cubicBezTo>
                  <a:pt x="2219190" y="4597703"/>
                  <a:pt x="2218924" y="4595972"/>
                  <a:pt x="2218259" y="4594375"/>
                </a:cubicBezTo>
                <a:cubicBezTo>
                  <a:pt x="2217592" y="4592778"/>
                  <a:pt x="2216661" y="4591447"/>
                  <a:pt x="2215595" y="4590249"/>
                </a:cubicBezTo>
                <a:cubicBezTo>
                  <a:pt x="2214530" y="4589183"/>
                  <a:pt x="2213200" y="4588252"/>
                  <a:pt x="2211602" y="4587586"/>
                </a:cubicBezTo>
                <a:cubicBezTo>
                  <a:pt x="2210138" y="4586921"/>
                  <a:pt x="2208540" y="4586655"/>
                  <a:pt x="2206544" y="4586655"/>
                </a:cubicBezTo>
                <a:close/>
                <a:moveTo>
                  <a:pt x="1989018" y="4586655"/>
                </a:moveTo>
                <a:cubicBezTo>
                  <a:pt x="1983161" y="4586655"/>
                  <a:pt x="1980632" y="4588651"/>
                  <a:pt x="1979035" y="4590249"/>
                </a:cubicBezTo>
                <a:cubicBezTo>
                  <a:pt x="1976505" y="4592911"/>
                  <a:pt x="1975441" y="4595706"/>
                  <a:pt x="1975441" y="4599700"/>
                </a:cubicBezTo>
                <a:cubicBezTo>
                  <a:pt x="1975441" y="4603826"/>
                  <a:pt x="1976505" y="4606622"/>
                  <a:pt x="1979035" y="4609151"/>
                </a:cubicBezTo>
                <a:cubicBezTo>
                  <a:pt x="1980632" y="4610750"/>
                  <a:pt x="1983161" y="4612613"/>
                  <a:pt x="1989018" y="4612613"/>
                </a:cubicBezTo>
                <a:cubicBezTo>
                  <a:pt x="1991015" y="4612613"/>
                  <a:pt x="1992746" y="4612347"/>
                  <a:pt x="1994343" y="4611681"/>
                </a:cubicBezTo>
                <a:cubicBezTo>
                  <a:pt x="1995941" y="4611149"/>
                  <a:pt x="1997139" y="4610350"/>
                  <a:pt x="1998070" y="4609284"/>
                </a:cubicBezTo>
                <a:cubicBezTo>
                  <a:pt x="1999135" y="4608086"/>
                  <a:pt x="2000067" y="4606755"/>
                  <a:pt x="2000733" y="4605024"/>
                </a:cubicBezTo>
                <a:cubicBezTo>
                  <a:pt x="2001265" y="4603427"/>
                  <a:pt x="2001664" y="4601563"/>
                  <a:pt x="2001664" y="4599566"/>
                </a:cubicBezTo>
                <a:cubicBezTo>
                  <a:pt x="2001664" y="4597703"/>
                  <a:pt x="2001398" y="4595972"/>
                  <a:pt x="2000733" y="4594375"/>
                </a:cubicBezTo>
                <a:cubicBezTo>
                  <a:pt x="2000067" y="4592778"/>
                  <a:pt x="1999135" y="4591447"/>
                  <a:pt x="1998070" y="4590249"/>
                </a:cubicBezTo>
                <a:cubicBezTo>
                  <a:pt x="1997006" y="4589183"/>
                  <a:pt x="1995674" y="4588252"/>
                  <a:pt x="1994077" y="4587586"/>
                </a:cubicBezTo>
                <a:cubicBezTo>
                  <a:pt x="1992613" y="4586921"/>
                  <a:pt x="1991015" y="4586655"/>
                  <a:pt x="1989018" y="4586655"/>
                </a:cubicBezTo>
                <a:close/>
                <a:moveTo>
                  <a:pt x="1771382" y="4586655"/>
                </a:moveTo>
                <a:cubicBezTo>
                  <a:pt x="1765525" y="4586655"/>
                  <a:pt x="1762997" y="4588651"/>
                  <a:pt x="1761400" y="4590249"/>
                </a:cubicBezTo>
                <a:cubicBezTo>
                  <a:pt x="1758871" y="4592911"/>
                  <a:pt x="1757806" y="4595706"/>
                  <a:pt x="1757806" y="4599700"/>
                </a:cubicBezTo>
                <a:cubicBezTo>
                  <a:pt x="1757806" y="4603826"/>
                  <a:pt x="1758871" y="4606622"/>
                  <a:pt x="1761400" y="4609151"/>
                </a:cubicBezTo>
                <a:cubicBezTo>
                  <a:pt x="1762997" y="4610750"/>
                  <a:pt x="1765525" y="4612613"/>
                  <a:pt x="1771382" y="4612613"/>
                </a:cubicBezTo>
                <a:cubicBezTo>
                  <a:pt x="1773380" y="4612613"/>
                  <a:pt x="1775243" y="4612347"/>
                  <a:pt x="1776707" y="4611681"/>
                </a:cubicBezTo>
                <a:cubicBezTo>
                  <a:pt x="1778171" y="4611149"/>
                  <a:pt x="1779501" y="4610350"/>
                  <a:pt x="1780434" y="4609284"/>
                </a:cubicBezTo>
                <a:cubicBezTo>
                  <a:pt x="1781499" y="4608086"/>
                  <a:pt x="1782430" y="4606755"/>
                  <a:pt x="1783096" y="4605024"/>
                </a:cubicBezTo>
                <a:cubicBezTo>
                  <a:pt x="1783761" y="4603427"/>
                  <a:pt x="1784161" y="4601563"/>
                  <a:pt x="1784161" y="4599566"/>
                </a:cubicBezTo>
                <a:cubicBezTo>
                  <a:pt x="1784161" y="4597703"/>
                  <a:pt x="1783761" y="4595972"/>
                  <a:pt x="1783096" y="4594375"/>
                </a:cubicBezTo>
                <a:cubicBezTo>
                  <a:pt x="1782430" y="4592778"/>
                  <a:pt x="1781499" y="4591447"/>
                  <a:pt x="1780434" y="4590249"/>
                </a:cubicBezTo>
                <a:cubicBezTo>
                  <a:pt x="1779369" y="4589183"/>
                  <a:pt x="1778039" y="4588252"/>
                  <a:pt x="1776441" y="4587586"/>
                </a:cubicBezTo>
                <a:cubicBezTo>
                  <a:pt x="1774977" y="4586921"/>
                  <a:pt x="1773380" y="4586655"/>
                  <a:pt x="1771382" y="4586655"/>
                </a:cubicBezTo>
                <a:close/>
                <a:moveTo>
                  <a:pt x="1553744" y="4586655"/>
                </a:moveTo>
                <a:cubicBezTo>
                  <a:pt x="1547887" y="4586655"/>
                  <a:pt x="1545358" y="4588651"/>
                  <a:pt x="1543761" y="4590249"/>
                </a:cubicBezTo>
                <a:cubicBezTo>
                  <a:pt x="1541231" y="4592911"/>
                  <a:pt x="1540167" y="4595706"/>
                  <a:pt x="1540167" y="4599700"/>
                </a:cubicBezTo>
                <a:cubicBezTo>
                  <a:pt x="1540167" y="4603826"/>
                  <a:pt x="1541231" y="4606622"/>
                  <a:pt x="1543761" y="4609151"/>
                </a:cubicBezTo>
                <a:cubicBezTo>
                  <a:pt x="1545358" y="4610750"/>
                  <a:pt x="1547887" y="4612613"/>
                  <a:pt x="1553744" y="4612613"/>
                </a:cubicBezTo>
                <a:cubicBezTo>
                  <a:pt x="1555741" y="4612613"/>
                  <a:pt x="1557605" y="4612347"/>
                  <a:pt x="1559069" y="4611681"/>
                </a:cubicBezTo>
                <a:cubicBezTo>
                  <a:pt x="1560533" y="4611149"/>
                  <a:pt x="1561865" y="4610350"/>
                  <a:pt x="1562796" y="4609284"/>
                </a:cubicBezTo>
                <a:cubicBezTo>
                  <a:pt x="1563861" y="4608086"/>
                  <a:pt x="1564793" y="4606755"/>
                  <a:pt x="1565459" y="4605024"/>
                </a:cubicBezTo>
                <a:cubicBezTo>
                  <a:pt x="1566124" y="4603427"/>
                  <a:pt x="1566524" y="4601563"/>
                  <a:pt x="1566524" y="4599566"/>
                </a:cubicBezTo>
                <a:cubicBezTo>
                  <a:pt x="1566524" y="4597703"/>
                  <a:pt x="1566124" y="4595972"/>
                  <a:pt x="1565459" y="4594375"/>
                </a:cubicBezTo>
                <a:cubicBezTo>
                  <a:pt x="1564793" y="4592778"/>
                  <a:pt x="1563861" y="4591447"/>
                  <a:pt x="1562796" y="4590249"/>
                </a:cubicBezTo>
                <a:cubicBezTo>
                  <a:pt x="1561731" y="4589183"/>
                  <a:pt x="1560400" y="4588252"/>
                  <a:pt x="1558803" y="4587586"/>
                </a:cubicBezTo>
                <a:cubicBezTo>
                  <a:pt x="1557339" y="4586921"/>
                  <a:pt x="1555741" y="4586655"/>
                  <a:pt x="1553744" y="4586655"/>
                </a:cubicBezTo>
                <a:close/>
                <a:moveTo>
                  <a:pt x="1336100" y="4586655"/>
                </a:moveTo>
                <a:cubicBezTo>
                  <a:pt x="1330242" y="4586655"/>
                  <a:pt x="1327713" y="4588651"/>
                  <a:pt x="1326117" y="4590249"/>
                </a:cubicBezTo>
                <a:cubicBezTo>
                  <a:pt x="1323586" y="4592911"/>
                  <a:pt x="1322522" y="4595706"/>
                  <a:pt x="1322522" y="4599700"/>
                </a:cubicBezTo>
                <a:cubicBezTo>
                  <a:pt x="1322522" y="4603826"/>
                  <a:pt x="1323586" y="4606622"/>
                  <a:pt x="1326117" y="4609151"/>
                </a:cubicBezTo>
                <a:cubicBezTo>
                  <a:pt x="1327713" y="4610750"/>
                  <a:pt x="1330242" y="4612613"/>
                  <a:pt x="1336100" y="4612613"/>
                </a:cubicBezTo>
                <a:cubicBezTo>
                  <a:pt x="1338231" y="4612613"/>
                  <a:pt x="1339960" y="4612347"/>
                  <a:pt x="1341426" y="4611681"/>
                </a:cubicBezTo>
                <a:cubicBezTo>
                  <a:pt x="1342890" y="4611149"/>
                  <a:pt x="1344221" y="4610350"/>
                  <a:pt x="1345154" y="4609284"/>
                </a:cubicBezTo>
                <a:cubicBezTo>
                  <a:pt x="1346218" y="4608086"/>
                  <a:pt x="1347151" y="4606755"/>
                  <a:pt x="1347816" y="4605024"/>
                </a:cubicBezTo>
                <a:cubicBezTo>
                  <a:pt x="1348482" y="4603427"/>
                  <a:pt x="1348882" y="4601563"/>
                  <a:pt x="1348882" y="4599566"/>
                </a:cubicBezTo>
                <a:cubicBezTo>
                  <a:pt x="1348882" y="4597703"/>
                  <a:pt x="1348482" y="4595972"/>
                  <a:pt x="1347816" y="4594375"/>
                </a:cubicBezTo>
                <a:cubicBezTo>
                  <a:pt x="1347151" y="4592778"/>
                  <a:pt x="1346218" y="4591447"/>
                  <a:pt x="1345154" y="4590249"/>
                </a:cubicBezTo>
                <a:cubicBezTo>
                  <a:pt x="1344088" y="4589183"/>
                  <a:pt x="1342758" y="4588252"/>
                  <a:pt x="1341159" y="4587586"/>
                </a:cubicBezTo>
                <a:cubicBezTo>
                  <a:pt x="1339695" y="4586921"/>
                  <a:pt x="1338097" y="4586655"/>
                  <a:pt x="1336100" y="4586655"/>
                </a:cubicBezTo>
                <a:close/>
                <a:moveTo>
                  <a:pt x="1118588" y="4586655"/>
                </a:moveTo>
                <a:cubicBezTo>
                  <a:pt x="1112729" y="4586655"/>
                  <a:pt x="1110200" y="4588651"/>
                  <a:pt x="1108603" y="4590249"/>
                </a:cubicBezTo>
                <a:cubicBezTo>
                  <a:pt x="1105940" y="4592911"/>
                  <a:pt x="1104876" y="4595706"/>
                  <a:pt x="1104876" y="4599700"/>
                </a:cubicBezTo>
                <a:cubicBezTo>
                  <a:pt x="1104876" y="4603826"/>
                  <a:pt x="1105940" y="4606622"/>
                  <a:pt x="1108470" y="4609151"/>
                </a:cubicBezTo>
                <a:cubicBezTo>
                  <a:pt x="1110067" y="4610750"/>
                  <a:pt x="1112597" y="4612613"/>
                  <a:pt x="1118455" y="4612613"/>
                </a:cubicBezTo>
                <a:cubicBezTo>
                  <a:pt x="1120585" y="4612613"/>
                  <a:pt x="1122317" y="4612347"/>
                  <a:pt x="1123912" y="4611681"/>
                </a:cubicBezTo>
                <a:cubicBezTo>
                  <a:pt x="1125377" y="4611149"/>
                  <a:pt x="1126712" y="4610350"/>
                  <a:pt x="1127642" y="4609284"/>
                </a:cubicBezTo>
                <a:cubicBezTo>
                  <a:pt x="1128707" y="4608086"/>
                  <a:pt x="1129639" y="4606755"/>
                  <a:pt x="1130305" y="4605024"/>
                </a:cubicBezTo>
                <a:cubicBezTo>
                  <a:pt x="1130969" y="4603427"/>
                  <a:pt x="1131370" y="4601563"/>
                  <a:pt x="1131370" y="4599566"/>
                </a:cubicBezTo>
                <a:cubicBezTo>
                  <a:pt x="1131370" y="4597703"/>
                  <a:pt x="1130969" y="4595972"/>
                  <a:pt x="1130305" y="4594375"/>
                </a:cubicBezTo>
                <a:cubicBezTo>
                  <a:pt x="1129639" y="4592778"/>
                  <a:pt x="1128707" y="4591447"/>
                  <a:pt x="1127642" y="4590249"/>
                </a:cubicBezTo>
                <a:cubicBezTo>
                  <a:pt x="1126576" y="4589183"/>
                  <a:pt x="1125244" y="4588252"/>
                  <a:pt x="1123646" y="4587586"/>
                </a:cubicBezTo>
                <a:cubicBezTo>
                  <a:pt x="1122183" y="4586921"/>
                  <a:pt x="1120585" y="4586655"/>
                  <a:pt x="1118588" y="4586655"/>
                </a:cubicBezTo>
                <a:close/>
                <a:moveTo>
                  <a:pt x="901076" y="4586655"/>
                </a:moveTo>
                <a:cubicBezTo>
                  <a:pt x="895218" y="4586655"/>
                  <a:pt x="892689" y="4588651"/>
                  <a:pt x="891092" y="4590249"/>
                </a:cubicBezTo>
                <a:cubicBezTo>
                  <a:pt x="888429" y="4592911"/>
                  <a:pt x="887365" y="4595706"/>
                  <a:pt x="887365" y="4599700"/>
                </a:cubicBezTo>
                <a:cubicBezTo>
                  <a:pt x="887365" y="4603826"/>
                  <a:pt x="888429" y="4606622"/>
                  <a:pt x="890959" y="4609151"/>
                </a:cubicBezTo>
                <a:cubicBezTo>
                  <a:pt x="892556" y="4610750"/>
                  <a:pt x="895085" y="4612613"/>
                  <a:pt x="900942" y="4612613"/>
                </a:cubicBezTo>
                <a:cubicBezTo>
                  <a:pt x="902939" y="4612613"/>
                  <a:pt x="904670" y="4612347"/>
                  <a:pt x="906400" y="4611681"/>
                </a:cubicBezTo>
                <a:cubicBezTo>
                  <a:pt x="907864" y="4611149"/>
                  <a:pt x="909196" y="4610350"/>
                  <a:pt x="910128" y="4609284"/>
                </a:cubicBezTo>
                <a:cubicBezTo>
                  <a:pt x="911192" y="4608086"/>
                  <a:pt x="912124" y="4606755"/>
                  <a:pt x="912790" y="4605024"/>
                </a:cubicBezTo>
                <a:cubicBezTo>
                  <a:pt x="913455" y="4603427"/>
                  <a:pt x="913855" y="4601563"/>
                  <a:pt x="913855" y="4599566"/>
                </a:cubicBezTo>
                <a:cubicBezTo>
                  <a:pt x="913855" y="4597703"/>
                  <a:pt x="913455" y="4595972"/>
                  <a:pt x="912790" y="4594375"/>
                </a:cubicBezTo>
                <a:cubicBezTo>
                  <a:pt x="912124" y="4592778"/>
                  <a:pt x="911192" y="4591447"/>
                  <a:pt x="910128" y="4590249"/>
                </a:cubicBezTo>
                <a:cubicBezTo>
                  <a:pt x="909063" y="4589183"/>
                  <a:pt x="907731" y="4588252"/>
                  <a:pt x="906134" y="4587586"/>
                </a:cubicBezTo>
                <a:cubicBezTo>
                  <a:pt x="904670" y="4586921"/>
                  <a:pt x="903072" y="4586655"/>
                  <a:pt x="901076" y="4586655"/>
                </a:cubicBezTo>
                <a:close/>
                <a:moveTo>
                  <a:pt x="683301" y="4586655"/>
                </a:moveTo>
                <a:cubicBezTo>
                  <a:pt x="677444" y="4586655"/>
                  <a:pt x="674915" y="4588651"/>
                  <a:pt x="673318" y="4590249"/>
                </a:cubicBezTo>
                <a:cubicBezTo>
                  <a:pt x="670788" y="4592911"/>
                  <a:pt x="669724" y="4595706"/>
                  <a:pt x="669724" y="4599700"/>
                </a:cubicBezTo>
                <a:cubicBezTo>
                  <a:pt x="669724" y="4603826"/>
                  <a:pt x="670788" y="4606622"/>
                  <a:pt x="673318" y="4609151"/>
                </a:cubicBezTo>
                <a:cubicBezTo>
                  <a:pt x="674915" y="4610750"/>
                  <a:pt x="677444" y="4612613"/>
                  <a:pt x="683301" y="4612613"/>
                </a:cubicBezTo>
                <a:cubicBezTo>
                  <a:pt x="685298" y="4612613"/>
                  <a:pt x="687162" y="4612347"/>
                  <a:pt x="688626" y="4611681"/>
                </a:cubicBezTo>
                <a:cubicBezTo>
                  <a:pt x="690090" y="4611149"/>
                  <a:pt x="691422" y="4610350"/>
                  <a:pt x="692353" y="4609284"/>
                </a:cubicBezTo>
                <a:cubicBezTo>
                  <a:pt x="693418" y="4608086"/>
                  <a:pt x="694350" y="4606755"/>
                  <a:pt x="695016" y="4605024"/>
                </a:cubicBezTo>
                <a:cubicBezTo>
                  <a:pt x="695681" y="4603427"/>
                  <a:pt x="696081" y="4601563"/>
                  <a:pt x="696081" y="4599566"/>
                </a:cubicBezTo>
                <a:cubicBezTo>
                  <a:pt x="696081" y="4597703"/>
                  <a:pt x="695681" y="4595972"/>
                  <a:pt x="695016" y="4594375"/>
                </a:cubicBezTo>
                <a:cubicBezTo>
                  <a:pt x="694350" y="4592778"/>
                  <a:pt x="693418" y="4591447"/>
                  <a:pt x="692353" y="4590249"/>
                </a:cubicBezTo>
                <a:cubicBezTo>
                  <a:pt x="691288" y="4589183"/>
                  <a:pt x="689957" y="4588252"/>
                  <a:pt x="688360" y="4587586"/>
                </a:cubicBezTo>
                <a:cubicBezTo>
                  <a:pt x="686896" y="4586921"/>
                  <a:pt x="685298" y="4586655"/>
                  <a:pt x="683301" y="4586655"/>
                </a:cubicBezTo>
                <a:close/>
                <a:moveTo>
                  <a:pt x="465659" y="4586655"/>
                </a:moveTo>
                <a:cubicBezTo>
                  <a:pt x="459802" y="4586655"/>
                  <a:pt x="457273" y="4588651"/>
                  <a:pt x="455676" y="4590249"/>
                </a:cubicBezTo>
                <a:cubicBezTo>
                  <a:pt x="453146" y="4592911"/>
                  <a:pt x="452082" y="4595706"/>
                  <a:pt x="452082" y="4599700"/>
                </a:cubicBezTo>
                <a:cubicBezTo>
                  <a:pt x="452082" y="4603826"/>
                  <a:pt x="453146" y="4606622"/>
                  <a:pt x="455676" y="4609151"/>
                </a:cubicBezTo>
                <a:cubicBezTo>
                  <a:pt x="457273" y="4610750"/>
                  <a:pt x="459802" y="4612613"/>
                  <a:pt x="465659" y="4612613"/>
                </a:cubicBezTo>
                <a:cubicBezTo>
                  <a:pt x="467656" y="4612613"/>
                  <a:pt x="469520" y="4612347"/>
                  <a:pt x="470984" y="4611681"/>
                </a:cubicBezTo>
                <a:cubicBezTo>
                  <a:pt x="472448" y="4611149"/>
                  <a:pt x="473780" y="4610350"/>
                  <a:pt x="474711" y="4609284"/>
                </a:cubicBezTo>
                <a:cubicBezTo>
                  <a:pt x="475776" y="4608086"/>
                  <a:pt x="476708" y="4606755"/>
                  <a:pt x="477375" y="4605024"/>
                </a:cubicBezTo>
                <a:cubicBezTo>
                  <a:pt x="478040" y="4603427"/>
                  <a:pt x="478439" y="4601563"/>
                  <a:pt x="478439" y="4599566"/>
                </a:cubicBezTo>
                <a:cubicBezTo>
                  <a:pt x="478439" y="4597703"/>
                  <a:pt x="478040" y="4595972"/>
                  <a:pt x="477375" y="4594375"/>
                </a:cubicBezTo>
                <a:cubicBezTo>
                  <a:pt x="476708" y="4592778"/>
                  <a:pt x="475776" y="4591447"/>
                  <a:pt x="474711" y="4590249"/>
                </a:cubicBezTo>
                <a:cubicBezTo>
                  <a:pt x="473647" y="4589183"/>
                  <a:pt x="472315" y="4588252"/>
                  <a:pt x="470718" y="4587586"/>
                </a:cubicBezTo>
                <a:cubicBezTo>
                  <a:pt x="469254" y="4586921"/>
                  <a:pt x="467656" y="4586655"/>
                  <a:pt x="465659" y="4586655"/>
                </a:cubicBezTo>
                <a:close/>
                <a:moveTo>
                  <a:pt x="248017" y="4586655"/>
                </a:moveTo>
                <a:cubicBezTo>
                  <a:pt x="242160" y="4586655"/>
                  <a:pt x="239631" y="4588651"/>
                  <a:pt x="238035" y="4590249"/>
                </a:cubicBezTo>
                <a:cubicBezTo>
                  <a:pt x="235505" y="4592911"/>
                  <a:pt x="234441" y="4595706"/>
                  <a:pt x="234441" y="4599700"/>
                </a:cubicBezTo>
                <a:cubicBezTo>
                  <a:pt x="234441" y="4603826"/>
                  <a:pt x="235505" y="4606622"/>
                  <a:pt x="238035" y="4609151"/>
                </a:cubicBezTo>
                <a:cubicBezTo>
                  <a:pt x="239631" y="4610750"/>
                  <a:pt x="242160" y="4612613"/>
                  <a:pt x="248017" y="4612613"/>
                </a:cubicBezTo>
                <a:cubicBezTo>
                  <a:pt x="250147" y="4612613"/>
                  <a:pt x="251878" y="4612347"/>
                  <a:pt x="253342" y="4611681"/>
                </a:cubicBezTo>
                <a:cubicBezTo>
                  <a:pt x="254806" y="4611149"/>
                  <a:pt x="256136" y="4610350"/>
                  <a:pt x="257069" y="4609284"/>
                </a:cubicBezTo>
                <a:cubicBezTo>
                  <a:pt x="258133" y="4608086"/>
                  <a:pt x="259066" y="4606755"/>
                  <a:pt x="259732" y="4605024"/>
                </a:cubicBezTo>
                <a:cubicBezTo>
                  <a:pt x="260397" y="4603427"/>
                  <a:pt x="260797" y="4601563"/>
                  <a:pt x="260797" y="4599566"/>
                </a:cubicBezTo>
                <a:cubicBezTo>
                  <a:pt x="260797" y="4597703"/>
                  <a:pt x="260397" y="4595972"/>
                  <a:pt x="259732" y="4594375"/>
                </a:cubicBezTo>
                <a:cubicBezTo>
                  <a:pt x="259066" y="4592778"/>
                  <a:pt x="258133" y="4591447"/>
                  <a:pt x="257069" y="4590249"/>
                </a:cubicBezTo>
                <a:cubicBezTo>
                  <a:pt x="256004" y="4589183"/>
                  <a:pt x="254673" y="4588252"/>
                  <a:pt x="253076" y="4587586"/>
                </a:cubicBezTo>
                <a:cubicBezTo>
                  <a:pt x="251611" y="4586921"/>
                  <a:pt x="250014" y="4586655"/>
                  <a:pt x="248017" y="4586655"/>
                </a:cubicBezTo>
                <a:close/>
                <a:moveTo>
                  <a:pt x="30375" y="4586655"/>
                </a:moveTo>
                <a:cubicBezTo>
                  <a:pt x="24518" y="4586655"/>
                  <a:pt x="21989" y="4588651"/>
                  <a:pt x="20392" y="4590249"/>
                </a:cubicBezTo>
                <a:cubicBezTo>
                  <a:pt x="17862" y="4592911"/>
                  <a:pt x="16799" y="4595706"/>
                  <a:pt x="16799" y="4599700"/>
                </a:cubicBezTo>
                <a:cubicBezTo>
                  <a:pt x="16799" y="4603826"/>
                  <a:pt x="17862" y="4606622"/>
                  <a:pt x="20392" y="4609151"/>
                </a:cubicBezTo>
                <a:cubicBezTo>
                  <a:pt x="21989" y="4610750"/>
                  <a:pt x="24518" y="4612613"/>
                  <a:pt x="30375" y="4612613"/>
                </a:cubicBezTo>
                <a:cubicBezTo>
                  <a:pt x="32505" y="4612613"/>
                  <a:pt x="34236" y="4612347"/>
                  <a:pt x="35700" y="4611681"/>
                </a:cubicBezTo>
                <a:cubicBezTo>
                  <a:pt x="37164" y="4611149"/>
                  <a:pt x="38496" y="4610350"/>
                  <a:pt x="39427" y="4609284"/>
                </a:cubicBezTo>
                <a:cubicBezTo>
                  <a:pt x="40492" y="4608086"/>
                  <a:pt x="41424" y="4606755"/>
                  <a:pt x="42090" y="4605024"/>
                </a:cubicBezTo>
                <a:cubicBezTo>
                  <a:pt x="42755" y="4603427"/>
                  <a:pt x="43021" y="4601563"/>
                  <a:pt x="43021" y="4599566"/>
                </a:cubicBezTo>
                <a:cubicBezTo>
                  <a:pt x="43021" y="4597703"/>
                  <a:pt x="42755" y="4595972"/>
                  <a:pt x="42090" y="4594375"/>
                </a:cubicBezTo>
                <a:cubicBezTo>
                  <a:pt x="41424" y="4592778"/>
                  <a:pt x="40492" y="4591447"/>
                  <a:pt x="39427" y="4590249"/>
                </a:cubicBezTo>
                <a:cubicBezTo>
                  <a:pt x="38362" y="4589183"/>
                  <a:pt x="37031" y="4588252"/>
                  <a:pt x="35434" y="4587586"/>
                </a:cubicBezTo>
                <a:cubicBezTo>
                  <a:pt x="33970" y="4586921"/>
                  <a:pt x="32372" y="4586655"/>
                  <a:pt x="30375" y="4586655"/>
                </a:cubicBezTo>
                <a:close/>
                <a:moveTo>
                  <a:pt x="10475977" y="4570015"/>
                </a:moveTo>
                <a:cubicBezTo>
                  <a:pt x="10480237" y="4570015"/>
                  <a:pt x="10484230" y="4570814"/>
                  <a:pt x="10487824" y="4572677"/>
                </a:cubicBezTo>
                <a:cubicBezTo>
                  <a:pt x="10491419" y="4574274"/>
                  <a:pt x="10494613" y="4576404"/>
                  <a:pt x="10497143" y="4579067"/>
                </a:cubicBezTo>
                <a:cubicBezTo>
                  <a:pt x="10499672" y="4581596"/>
                  <a:pt x="10501801" y="4584791"/>
                  <a:pt x="10503266" y="4588385"/>
                </a:cubicBezTo>
                <a:cubicBezTo>
                  <a:pt x="10504730" y="4591979"/>
                  <a:pt x="10505529" y="4595839"/>
                  <a:pt x="10505529" y="4599833"/>
                </a:cubicBezTo>
                <a:cubicBezTo>
                  <a:pt x="10505529" y="4603959"/>
                  <a:pt x="10504730" y="4607953"/>
                  <a:pt x="10503266" y="4611548"/>
                </a:cubicBezTo>
                <a:cubicBezTo>
                  <a:pt x="10501669" y="4615142"/>
                  <a:pt x="10499672" y="4618204"/>
                  <a:pt x="10497143" y="4620866"/>
                </a:cubicBezTo>
                <a:cubicBezTo>
                  <a:pt x="10494480" y="4623529"/>
                  <a:pt x="10491419" y="4625659"/>
                  <a:pt x="10487824" y="4627123"/>
                </a:cubicBezTo>
                <a:cubicBezTo>
                  <a:pt x="10484098" y="4628587"/>
                  <a:pt x="10480237" y="4629386"/>
                  <a:pt x="10475977" y="4629386"/>
                </a:cubicBezTo>
                <a:cubicBezTo>
                  <a:pt x="10466924" y="4629386"/>
                  <a:pt x="10459736" y="4626457"/>
                  <a:pt x="10454145" y="4620866"/>
                </a:cubicBezTo>
                <a:cubicBezTo>
                  <a:pt x="10448554" y="4615275"/>
                  <a:pt x="10445759" y="4608219"/>
                  <a:pt x="10445759" y="4599700"/>
                </a:cubicBezTo>
                <a:cubicBezTo>
                  <a:pt x="10445759" y="4591447"/>
                  <a:pt x="10448554" y="4584391"/>
                  <a:pt x="10454145" y="4578667"/>
                </a:cubicBezTo>
                <a:cubicBezTo>
                  <a:pt x="10459603" y="4572943"/>
                  <a:pt x="10466924" y="4570015"/>
                  <a:pt x="10475977" y="4570015"/>
                </a:cubicBezTo>
                <a:close/>
                <a:moveTo>
                  <a:pt x="10258466" y="4570015"/>
                </a:moveTo>
                <a:cubicBezTo>
                  <a:pt x="10262592" y="4570015"/>
                  <a:pt x="10266586" y="4570814"/>
                  <a:pt x="10270313" y="4572677"/>
                </a:cubicBezTo>
                <a:cubicBezTo>
                  <a:pt x="10273907" y="4574274"/>
                  <a:pt x="10277101" y="4576404"/>
                  <a:pt x="10279631" y="4579067"/>
                </a:cubicBezTo>
                <a:cubicBezTo>
                  <a:pt x="10282160" y="4581596"/>
                  <a:pt x="10284290" y="4584791"/>
                  <a:pt x="10285754" y="4588385"/>
                </a:cubicBezTo>
                <a:cubicBezTo>
                  <a:pt x="10287218" y="4591979"/>
                  <a:pt x="10288017" y="4595839"/>
                  <a:pt x="10288017" y="4599833"/>
                </a:cubicBezTo>
                <a:cubicBezTo>
                  <a:pt x="10288017" y="4603959"/>
                  <a:pt x="10287218" y="4607953"/>
                  <a:pt x="10285754" y="4611548"/>
                </a:cubicBezTo>
                <a:cubicBezTo>
                  <a:pt x="10284157" y="4615142"/>
                  <a:pt x="10282160" y="4618204"/>
                  <a:pt x="10279631" y="4620866"/>
                </a:cubicBezTo>
                <a:cubicBezTo>
                  <a:pt x="10276969" y="4623529"/>
                  <a:pt x="10273907" y="4625659"/>
                  <a:pt x="10270313" y="4627123"/>
                </a:cubicBezTo>
                <a:cubicBezTo>
                  <a:pt x="10266586" y="4628587"/>
                  <a:pt x="10262725" y="4629386"/>
                  <a:pt x="10258466" y="4629386"/>
                </a:cubicBezTo>
                <a:cubicBezTo>
                  <a:pt x="10249546" y="4629386"/>
                  <a:pt x="10242224" y="4626457"/>
                  <a:pt x="10236633" y="4620866"/>
                </a:cubicBezTo>
                <a:cubicBezTo>
                  <a:pt x="10231043" y="4615275"/>
                  <a:pt x="10228247" y="4608219"/>
                  <a:pt x="10228247" y="4599700"/>
                </a:cubicBezTo>
                <a:cubicBezTo>
                  <a:pt x="10228247" y="4591447"/>
                  <a:pt x="10231176" y="4584391"/>
                  <a:pt x="10236633" y="4578667"/>
                </a:cubicBezTo>
                <a:cubicBezTo>
                  <a:pt x="10242092" y="4572943"/>
                  <a:pt x="10249413" y="4570015"/>
                  <a:pt x="10258466" y="4570015"/>
                </a:cubicBezTo>
                <a:close/>
                <a:moveTo>
                  <a:pt x="10040820" y="4570015"/>
                </a:moveTo>
                <a:cubicBezTo>
                  <a:pt x="10045080" y="4570015"/>
                  <a:pt x="10048941" y="4570814"/>
                  <a:pt x="10052534" y="4572677"/>
                </a:cubicBezTo>
                <a:cubicBezTo>
                  <a:pt x="10056129" y="4574274"/>
                  <a:pt x="10059323" y="4576404"/>
                  <a:pt x="10061852" y="4579067"/>
                </a:cubicBezTo>
                <a:cubicBezTo>
                  <a:pt x="10064382" y="4581596"/>
                  <a:pt x="10066512" y="4584791"/>
                  <a:pt x="10067976" y="4588385"/>
                </a:cubicBezTo>
                <a:cubicBezTo>
                  <a:pt x="10069440" y="4591979"/>
                  <a:pt x="10070239" y="4595839"/>
                  <a:pt x="10070239" y="4599833"/>
                </a:cubicBezTo>
                <a:cubicBezTo>
                  <a:pt x="10070239" y="4603959"/>
                  <a:pt x="10069440" y="4607953"/>
                  <a:pt x="10067976" y="4611548"/>
                </a:cubicBezTo>
                <a:cubicBezTo>
                  <a:pt x="10066379" y="4615142"/>
                  <a:pt x="10064382" y="4618204"/>
                  <a:pt x="10061852" y="4620866"/>
                </a:cubicBezTo>
                <a:cubicBezTo>
                  <a:pt x="10059190" y="4623529"/>
                  <a:pt x="10056129" y="4625659"/>
                  <a:pt x="10052534" y="4627123"/>
                </a:cubicBezTo>
                <a:cubicBezTo>
                  <a:pt x="10048941" y="4628587"/>
                  <a:pt x="10045080" y="4629386"/>
                  <a:pt x="10040820" y="4629386"/>
                </a:cubicBezTo>
                <a:cubicBezTo>
                  <a:pt x="10031767" y="4629386"/>
                  <a:pt x="10024579" y="4626457"/>
                  <a:pt x="10018988" y="4620866"/>
                </a:cubicBezTo>
                <a:cubicBezTo>
                  <a:pt x="10013397" y="4615275"/>
                  <a:pt x="10010602" y="4608219"/>
                  <a:pt x="10010602" y="4599700"/>
                </a:cubicBezTo>
                <a:cubicBezTo>
                  <a:pt x="10010602" y="4591447"/>
                  <a:pt x="10013397" y="4584391"/>
                  <a:pt x="10018988" y="4578667"/>
                </a:cubicBezTo>
                <a:cubicBezTo>
                  <a:pt x="10024579" y="4572943"/>
                  <a:pt x="10031767" y="4570015"/>
                  <a:pt x="10040820" y="4570015"/>
                </a:cubicBezTo>
                <a:close/>
                <a:moveTo>
                  <a:pt x="9823176" y="4570015"/>
                </a:moveTo>
                <a:cubicBezTo>
                  <a:pt x="9827435" y="4570015"/>
                  <a:pt x="9831296" y="4570814"/>
                  <a:pt x="9834890" y="4572677"/>
                </a:cubicBezTo>
                <a:cubicBezTo>
                  <a:pt x="9838617" y="4574274"/>
                  <a:pt x="9841679" y="4576404"/>
                  <a:pt x="9844208" y="4579067"/>
                </a:cubicBezTo>
                <a:cubicBezTo>
                  <a:pt x="9846737" y="4581596"/>
                  <a:pt x="9848867" y="4584791"/>
                  <a:pt x="9850331" y="4588385"/>
                </a:cubicBezTo>
                <a:cubicBezTo>
                  <a:pt x="9851796" y="4591979"/>
                  <a:pt x="9852595" y="4595839"/>
                  <a:pt x="9852595" y="4599833"/>
                </a:cubicBezTo>
                <a:cubicBezTo>
                  <a:pt x="9852595" y="4603959"/>
                  <a:pt x="9851796" y="4607953"/>
                  <a:pt x="9850331" y="4611548"/>
                </a:cubicBezTo>
                <a:cubicBezTo>
                  <a:pt x="9848734" y="4615142"/>
                  <a:pt x="9846737" y="4618204"/>
                  <a:pt x="9844208" y="4620866"/>
                </a:cubicBezTo>
                <a:cubicBezTo>
                  <a:pt x="9841546" y="4623529"/>
                  <a:pt x="9838484" y="4625659"/>
                  <a:pt x="9834890" y="4627123"/>
                </a:cubicBezTo>
                <a:cubicBezTo>
                  <a:pt x="9831296" y="4628587"/>
                  <a:pt x="9827435" y="4629386"/>
                  <a:pt x="9823176" y="4629386"/>
                </a:cubicBezTo>
                <a:cubicBezTo>
                  <a:pt x="9814123" y="4629386"/>
                  <a:pt x="9806935" y="4626457"/>
                  <a:pt x="9801343" y="4620866"/>
                </a:cubicBezTo>
                <a:cubicBezTo>
                  <a:pt x="9795753" y="4615275"/>
                  <a:pt x="9792957" y="4608219"/>
                  <a:pt x="9792957" y="4599700"/>
                </a:cubicBezTo>
                <a:cubicBezTo>
                  <a:pt x="9792957" y="4591447"/>
                  <a:pt x="9795753" y="4584391"/>
                  <a:pt x="9801343" y="4578667"/>
                </a:cubicBezTo>
                <a:cubicBezTo>
                  <a:pt x="9806935" y="4572943"/>
                  <a:pt x="9814123" y="4570015"/>
                  <a:pt x="9823176" y="4570015"/>
                </a:cubicBezTo>
                <a:close/>
                <a:moveTo>
                  <a:pt x="9605531" y="4570015"/>
                </a:moveTo>
                <a:cubicBezTo>
                  <a:pt x="9609790" y="4570015"/>
                  <a:pt x="9613784" y="4570814"/>
                  <a:pt x="9617245" y="4572677"/>
                </a:cubicBezTo>
                <a:cubicBezTo>
                  <a:pt x="9620839" y="4574274"/>
                  <a:pt x="9624033" y="4576404"/>
                  <a:pt x="9626562" y="4579067"/>
                </a:cubicBezTo>
                <a:cubicBezTo>
                  <a:pt x="9629092" y="4581596"/>
                  <a:pt x="9631222" y="4584791"/>
                  <a:pt x="9632686" y="4588385"/>
                </a:cubicBezTo>
                <a:cubicBezTo>
                  <a:pt x="9634150" y="4591979"/>
                  <a:pt x="9634949" y="4595839"/>
                  <a:pt x="9634949" y="4599833"/>
                </a:cubicBezTo>
                <a:cubicBezTo>
                  <a:pt x="9634949" y="4603959"/>
                  <a:pt x="9634150" y="4607953"/>
                  <a:pt x="9632686" y="4611548"/>
                </a:cubicBezTo>
                <a:cubicBezTo>
                  <a:pt x="9631089" y="4615142"/>
                  <a:pt x="9629092" y="4618204"/>
                  <a:pt x="9626562" y="4620866"/>
                </a:cubicBezTo>
                <a:cubicBezTo>
                  <a:pt x="9623901" y="4623529"/>
                  <a:pt x="9620839" y="4625659"/>
                  <a:pt x="9617245" y="4627123"/>
                </a:cubicBezTo>
                <a:cubicBezTo>
                  <a:pt x="9613651" y="4628587"/>
                  <a:pt x="9609790" y="4629386"/>
                  <a:pt x="9605531" y="4629386"/>
                </a:cubicBezTo>
                <a:cubicBezTo>
                  <a:pt x="9596610" y="4629386"/>
                  <a:pt x="9589289" y="4626457"/>
                  <a:pt x="9583698" y="4620866"/>
                </a:cubicBezTo>
                <a:cubicBezTo>
                  <a:pt x="9578108" y="4615275"/>
                  <a:pt x="9575312" y="4608219"/>
                  <a:pt x="9575312" y="4599700"/>
                </a:cubicBezTo>
                <a:cubicBezTo>
                  <a:pt x="9575312" y="4591447"/>
                  <a:pt x="9578108" y="4584391"/>
                  <a:pt x="9583698" y="4578667"/>
                </a:cubicBezTo>
                <a:cubicBezTo>
                  <a:pt x="9589289" y="4572943"/>
                  <a:pt x="9596478" y="4570015"/>
                  <a:pt x="9605531" y="4570015"/>
                </a:cubicBezTo>
                <a:close/>
                <a:moveTo>
                  <a:pt x="9387885" y="4570015"/>
                </a:moveTo>
                <a:cubicBezTo>
                  <a:pt x="9392145" y="4570015"/>
                  <a:pt x="9396138" y="4570814"/>
                  <a:pt x="9399599" y="4572677"/>
                </a:cubicBezTo>
                <a:cubicBezTo>
                  <a:pt x="9403194" y="4574274"/>
                  <a:pt x="9406388" y="4576404"/>
                  <a:pt x="9408917" y="4579067"/>
                </a:cubicBezTo>
                <a:cubicBezTo>
                  <a:pt x="9411447" y="4581596"/>
                  <a:pt x="9413576" y="4584791"/>
                  <a:pt x="9415041" y="4588385"/>
                </a:cubicBezTo>
                <a:cubicBezTo>
                  <a:pt x="9416505" y="4591979"/>
                  <a:pt x="9417304" y="4595839"/>
                  <a:pt x="9417304" y="4599833"/>
                </a:cubicBezTo>
                <a:cubicBezTo>
                  <a:pt x="9417304" y="4603959"/>
                  <a:pt x="9416505" y="4607953"/>
                  <a:pt x="9415041" y="4611548"/>
                </a:cubicBezTo>
                <a:cubicBezTo>
                  <a:pt x="9413444" y="4615142"/>
                  <a:pt x="9411447" y="4618204"/>
                  <a:pt x="9408917" y="4620866"/>
                </a:cubicBezTo>
                <a:cubicBezTo>
                  <a:pt x="9406255" y="4623529"/>
                  <a:pt x="9403194" y="4625659"/>
                  <a:pt x="9399599" y="4627123"/>
                </a:cubicBezTo>
                <a:cubicBezTo>
                  <a:pt x="9396005" y="4628587"/>
                  <a:pt x="9392145" y="4629386"/>
                  <a:pt x="9387885" y="4629386"/>
                </a:cubicBezTo>
                <a:cubicBezTo>
                  <a:pt x="9378965" y="4629386"/>
                  <a:pt x="9371644" y="4626457"/>
                  <a:pt x="9366053" y="4620866"/>
                </a:cubicBezTo>
                <a:cubicBezTo>
                  <a:pt x="9360462" y="4615275"/>
                  <a:pt x="9357667" y="4608219"/>
                  <a:pt x="9357667" y="4599700"/>
                </a:cubicBezTo>
                <a:cubicBezTo>
                  <a:pt x="9357667" y="4591447"/>
                  <a:pt x="9360462" y="4584391"/>
                  <a:pt x="9366053" y="4578667"/>
                </a:cubicBezTo>
                <a:cubicBezTo>
                  <a:pt x="9371644" y="4572943"/>
                  <a:pt x="9378832" y="4570015"/>
                  <a:pt x="9387885" y="4570015"/>
                </a:cubicBezTo>
                <a:close/>
                <a:moveTo>
                  <a:pt x="9170374" y="4570015"/>
                </a:moveTo>
                <a:cubicBezTo>
                  <a:pt x="9174500" y="4570015"/>
                  <a:pt x="9178494" y="4570814"/>
                  <a:pt x="9182088" y="4572677"/>
                </a:cubicBezTo>
                <a:cubicBezTo>
                  <a:pt x="9185682" y="4574274"/>
                  <a:pt x="9188876" y="4576404"/>
                  <a:pt x="9191405" y="4579067"/>
                </a:cubicBezTo>
                <a:cubicBezTo>
                  <a:pt x="9193935" y="4581596"/>
                  <a:pt x="9196065" y="4584791"/>
                  <a:pt x="9197529" y="4588385"/>
                </a:cubicBezTo>
                <a:cubicBezTo>
                  <a:pt x="9198993" y="4591979"/>
                  <a:pt x="9199792" y="4595839"/>
                  <a:pt x="9199792" y="4599833"/>
                </a:cubicBezTo>
                <a:cubicBezTo>
                  <a:pt x="9199792" y="4603959"/>
                  <a:pt x="9198993" y="4607953"/>
                  <a:pt x="9197529" y="4611548"/>
                </a:cubicBezTo>
                <a:cubicBezTo>
                  <a:pt x="9195932" y="4615142"/>
                  <a:pt x="9193935" y="4618204"/>
                  <a:pt x="9191405" y="4620866"/>
                </a:cubicBezTo>
                <a:cubicBezTo>
                  <a:pt x="9188744" y="4623529"/>
                  <a:pt x="9185682" y="4625659"/>
                  <a:pt x="9182088" y="4627123"/>
                </a:cubicBezTo>
                <a:cubicBezTo>
                  <a:pt x="9178494" y="4628587"/>
                  <a:pt x="9174633" y="4629386"/>
                  <a:pt x="9170374" y="4629386"/>
                </a:cubicBezTo>
                <a:cubicBezTo>
                  <a:pt x="9161453" y="4629386"/>
                  <a:pt x="9154132" y="4626457"/>
                  <a:pt x="9148541" y="4620866"/>
                </a:cubicBezTo>
                <a:cubicBezTo>
                  <a:pt x="9142951" y="4615275"/>
                  <a:pt x="9140155" y="4608219"/>
                  <a:pt x="9140155" y="4599700"/>
                </a:cubicBezTo>
                <a:cubicBezTo>
                  <a:pt x="9140155" y="4591447"/>
                  <a:pt x="9142951" y="4584391"/>
                  <a:pt x="9148541" y="4578667"/>
                </a:cubicBezTo>
                <a:cubicBezTo>
                  <a:pt x="9154132" y="4572943"/>
                  <a:pt x="9161321" y="4570015"/>
                  <a:pt x="9170374" y="4570015"/>
                </a:cubicBezTo>
                <a:close/>
                <a:moveTo>
                  <a:pt x="8952728" y="4570015"/>
                </a:moveTo>
                <a:cubicBezTo>
                  <a:pt x="8956988" y="4570015"/>
                  <a:pt x="8960849" y="4570814"/>
                  <a:pt x="8964442" y="4572677"/>
                </a:cubicBezTo>
                <a:cubicBezTo>
                  <a:pt x="8968037" y="4574274"/>
                  <a:pt x="8971231" y="4576404"/>
                  <a:pt x="8973760" y="4579067"/>
                </a:cubicBezTo>
                <a:cubicBezTo>
                  <a:pt x="8976290" y="4581596"/>
                  <a:pt x="8978419" y="4584791"/>
                  <a:pt x="8979884" y="4588385"/>
                </a:cubicBezTo>
                <a:cubicBezTo>
                  <a:pt x="8981348" y="4591979"/>
                  <a:pt x="8982147" y="4595839"/>
                  <a:pt x="8982147" y="4599833"/>
                </a:cubicBezTo>
                <a:cubicBezTo>
                  <a:pt x="8982147" y="4603959"/>
                  <a:pt x="8981348" y="4607953"/>
                  <a:pt x="8979884" y="4611548"/>
                </a:cubicBezTo>
                <a:cubicBezTo>
                  <a:pt x="8978287" y="4615142"/>
                  <a:pt x="8976290" y="4618204"/>
                  <a:pt x="8973760" y="4620866"/>
                </a:cubicBezTo>
                <a:cubicBezTo>
                  <a:pt x="8971098" y="4623529"/>
                  <a:pt x="8968037" y="4625659"/>
                  <a:pt x="8964442" y="4627123"/>
                </a:cubicBezTo>
                <a:cubicBezTo>
                  <a:pt x="8960849" y="4628587"/>
                  <a:pt x="8956988" y="4629386"/>
                  <a:pt x="8952728" y="4629386"/>
                </a:cubicBezTo>
                <a:cubicBezTo>
                  <a:pt x="8943808" y="4629386"/>
                  <a:pt x="8936487" y="4626457"/>
                  <a:pt x="8930896" y="4620866"/>
                </a:cubicBezTo>
                <a:cubicBezTo>
                  <a:pt x="8925305" y="4615275"/>
                  <a:pt x="8922510" y="4608219"/>
                  <a:pt x="8922510" y="4599700"/>
                </a:cubicBezTo>
                <a:cubicBezTo>
                  <a:pt x="8922510" y="4591447"/>
                  <a:pt x="8925305" y="4584391"/>
                  <a:pt x="8930896" y="4578667"/>
                </a:cubicBezTo>
                <a:cubicBezTo>
                  <a:pt x="8936487" y="4572943"/>
                  <a:pt x="8943675" y="4570015"/>
                  <a:pt x="8952728" y="4570015"/>
                </a:cubicBezTo>
                <a:close/>
                <a:moveTo>
                  <a:pt x="8735083" y="4570015"/>
                </a:moveTo>
                <a:cubicBezTo>
                  <a:pt x="8739342" y="4570015"/>
                  <a:pt x="8743203" y="4570814"/>
                  <a:pt x="8746797" y="4572677"/>
                </a:cubicBezTo>
                <a:cubicBezTo>
                  <a:pt x="8750391" y="4574274"/>
                  <a:pt x="8753586" y="4576404"/>
                  <a:pt x="8756115" y="4579067"/>
                </a:cubicBezTo>
                <a:cubicBezTo>
                  <a:pt x="8758644" y="4581596"/>
                  <a:pt x="8760774" y="4584791"/>
                  <a:pt x="8762238" y="4588385"/>
                </a:cubicBezTo>
                <a:cubicBezTo>
                  <a:pt x="8763702" y="4591979"/>
                  <a:pt x="8764502" y="4595839"/>
                  <a:pt x="8764502" y="4599833"/>
                </a:cubicBezTo>
                <a:cubicBezTo>
                  <a:pt x="8764502" y="4603959"/>
                  <a:pt x="8763702" y="4607953"/>
                  <a:pt x="8762238" y="4611548"/>
                </a:cubicBezTo>
                <a:cubicBezTo>
                  <a:pt x="8760641" y="4615142"/>
                  <a:pt x="8758644" y="4618204"/>
                  <a:pt x="8756115" y="4620866"/>
                </a:cubicBezTo>
                <a:cubicBezTo>
                  <a:pt x="8753453" y="4623529"/>
                  <a:pt x="8750391" y="4625659"/>
                  <a:pt x="8746797" y="4627123"/>
                </a:cubicBezTo>
                <a:cubicBezTo>
                  <a:pt x="8743203" y="4628587"/>
                  <a:pt x="8739342" y="4629386"/>
                  <a:pt x="8735083" y="4629386"/>
                </a:cubicBezTo>
                <a:cubicBezTo>
                  <a:pt x="8726030" y="4629386"/>
                  <a:pt x="8718841" y="4626457"/>
                  <a:pt x="8713250" y="4620866"/>
                </a:cubicBezTo>
                <a:cubicBezTo>
                  <a:pt x="8707660" y="4615275"/>
                  <a:pt x="8704864" y="4608219"/>
                  <a:pt x="8704864" y="4599700"/>
                </a:cubicBezTo>
                <a:cubicBezTo>
                  <a:pt x="8704864" y="4591447"/>
                  <a:pt x="8707660" y="4584391"/>
                  <a:pt x="8713250" y="4578667"/>
                </a:cubicBezTo>
                <a:cubicBezTo>
                  <a:pt x="8718841" y="4572943"/>
                  <a:pt x="8726030" y="4570015"/>
                  <a:pt x="8735083" y="4570015"/>
                </a:cubicBezTo>
                <a:close/>
                <a:moveTo>
                  <a:pt x="8517438" y="4570015"/>
                </a:moveTo>
                <a:cubicBezTo>
                  <a:pt x="8521698" y="4570015"/>
                  <a:pt x="8525559" y="4570814"/>
                  <a:pt x="8529152" y="4572677"/>
                </a:cubicBezTo>
                <a:cubicBezTo>
                  <a:pt x="8532880" y="4574274"/>
                  <a:pt x="8535941" y="4576404"/>
                  <a:pt x="8538470" y="4579067"/>
                </a:cubicBezTo>
                <a:cubicBezTo>
                  <a:pt x="8541000" y="4581596"/>
                  <a:pt x="8543130" y="4584791"/>
                  <a:pt x="8544594" y="4588385"/>
                </a:cubicBezTo>
                <a:cubicBezTo>
                  <a:pt x="8546058" y="4591979"/>
                  <a:pt x="8546857" y="4595839"/>
                  <a:pt x="8546857" y="4599833"/>
                </a:cubicBezTo>
                <a:cubicBezTo>
                  <a:pt x="8546857" y="4603959"/>
                  <a:pt x="8546058" y="4607953"/>
                  <a:pt x="8544594" y="4611548"/>
                </a:cubicBezTo>
                <a:cubicBezTo>
                  <a:pt x="8542997" y="4615142"/>
                  <a:pt x="8541000" y="4618204"/>
                  <a:pt x="8538470" y="4620866"/>
                </a:cubicBezTo>
                <a:cubicBezTo>
                  <a:pt x="8535808" y="4623529"/>
                  <a:pt x="8532747" y="4625659"/>
                  <a:pt x="8529152" y="4627123"/>
                </a:cubicBezTo>
                <a:cubicBezTo>
                  <a:pt x="8525559" y="4628587"/>
                  <a:pt x="8521698" y="4629386"/>
                  <a:pt x="8517438" y="4629386"/>
                </a:cubicBezTo>
                <a:cubicBezTo>
                  <a:pt x="8508385" y="4629386"/>
                  <a:pt x="8501197" y="4626457"/>
                  <a:pt x="8495606" y="4620866"/>
                </a:cubicBezTo>
                <a:cubicBezTo>
                  <a:pt x="8490015" y="4615275"/>
                  <a:pt x="8487220" y="4608219"/>
                  <a:pt x="8487220" y="4599700"/>
                </a:cubicBezTo>
                <a:cubicBezTo>
                  <a:pt x="8487220" y="4591447"/>
                  <a:pt x="8490015" y="4584391"/>
                  <a:pt x="8495606" y="4578667"/>
                </a:cubicBezTo>
                <a:cubicBezTo>
                  <a:pt x="8501197" y="4572943"/>
                  <a:pt x="8508385" y="4570015"/>
                  <a:pt x="8517438" y="4570015"/>
                </a:cubicBezTo>
                <a:close/>
                <a:moveTo>
                  <a:pt x="8299793" y="4570015"/>
                </a:moveTo>
                <a:cubicBezTo>
                  <a:pt x="8304052" y="4570015"/>
                  <a:pt x="8308046" y="4570814"/>
                  <a:pt x="8311507" y="4572677"/>
                </a:cubicBezTo>
                <a:cubicBezTo>
                  <a:pt x="8315235" y="4574274"/>
                  <a:pt x="8318296" y="4576404"/>
                  <a:pt x="8320825" y="4579067"/>
                </a:cubicBezTo>
                <a:cubicBezTo>
                  <a:pt x="8323354" y="4581596"/>
                  <a:pt x="8325484" y="4584791"/>
                  <a:pt x="8326948" y="4588385"/>
                </a:cubicBezTo>
                <a:cubicBezTo>
                  <a:pt x="8328413" y="4591979"/>
                  <a:pt x="8329212" y="4595839"/>
                  <a:pt x="8329212" y="4599833"/>
                </a:cubicBezTo>
                <a:cubicBezTo>
                  <a:pt x="8329212" y="4603959"/>
                  <a:pt x="8328413" y="4607953"/>
                  <a:pt x="8326948" y="4611548"/>
                </a:cubicBezTo>
                <a:cubicBezTo>
                  <a:pt x="8325351" y="4615142"/>
                  <a:pt x="8323354" y="4618204"/>
                  <a:pt x="8320825" y="4620866"/>
                </a:cubicBezTo>
                <a:cubicBezTo>
                  <a:pt x="8318163" y="4623529"/>
                  <a:pt x="8315101" y="4625659"/>
                  <a:pt x="8311507" y="4627123"/>
                </a:cubicBezTo>
                <a:cubicBezTo>
                  <a:pt x="8307913" y="4628587"/>
                  <a:pt x="8304052" y="4629386"/>
                  <a:pt x="8299793" y="4629386"/>
                </a:cubicBezTo>
                <a:cubicBezTo>
                  <a:pt x="8290874" y="4629386"/>
                  <a:pt x="8283553" y="4626457"/>
                  <a:pt x="8277960" y="4620866"/>
                </a:cubicBezTo>
                <a:cubicBezTo>
                  <a:pt x="8272370" y="4615275"/>
                  <a:pt x="8269574" y="4608219"/>
                  <a:pt x="8269574" y="4599700"/>
                </a:cubicBezTo>
                <a:cubicBezTo>
                  <a:pt x="8269574" y="4591447"/>
                  <a:pt x="8272370" y="4584391"/>
                  <a:pt x="8277960" y="4578667"/>
                </a:cubicBezTo>
                <a:cubicBezTo>
                  <a:pt x="8283553" y="4572943"/>
                  <a:pt x="8290741" y="4570015"/>
                  <a:pt x="8299793" y="4570015"/>
                </a:cubicBezTo>
                <a:close/>
                <a:moveTo>
                  <a:pt x="8082281" y="4570015"/>
                </a:moveTo>
                <a:cubicBezTo>
                  <a:pt x="8086407" y="4570015"/>
                  <a:pt x="8090401" y="4570814"/>
                  <a:pt x="8094127" y="4572677"/>
                </a:cubicBezTo>
                <a:cubicBezTo>
                  <a:pt x="8097855" y="4574274"/>
                  <a:pt x="8100916" y="4576404"/>
                  <a:pt x="8103446" y="4579067"/>
                </a:cubicBezTo>
                <a:cubicBezTo>
                  <a:pt x="8105975" y="4581596"/>
                  <a:pt x="8108104" y="4584791"/>
                  <a:pt x="8109569" y="4588385"/>
                </a:cubicBezTo>
                <a:cubicBezTo>
                  <a:pt x="8111033" y="4591979"/>
                  <a:pt x="8111832" y="4595839"/>
                  <a:pt x="8111832" y="4599833"/>
                </a:cubicBezTo>
                <a:cubicBezTo>
                  <a:pt x="8111832" y="4603959"/>
                  <a:pt x="8111033" y="4607953"/>
                  <a:pt x="8109569" y="4611548"/>
                </a:cubicBezTo>
                <a:cubicBezTo>
                  <a:pt x="8107972" y="4615142"/>
                  <a:pt x="8105975" y="4618204"/>
                  <a:pt x="8103446" y="4620866"/>
                </a:cubicBezTo>
                <a:cubicBezTo>
                  <a:pt x="8100783" y="4623529"/>
                  <a:pt x="8097722" y="4625659"/>
                  <a:pt x="8094127" y="4627123"/>
                </a:cubicBezTo>
                <a:cubicBezTo>
                  <a:pt x="8090401" y="4628587"/>
                  <a:pt x="8086540" y="4629386"/>
                  <a:pt x="8082281" y="4629386"/>
                </a:cubicBezTo>
                <a:cubicBezTo>
                  <a:pt x="8073361" y="4629386"/>
                  <a:pt x="8066040" y="4626457"/>
                  <a:pt x="8060448" y="4620866"/>
                </a:cubicBezTo>
                <a:cubicBezTo>
                  <a:pt x="8054857" y="4615275"/>
                  <a:pt x="8052062" y="4608219"/>
                  <a:pt x="8052062" y="4599700"/>
                </a:cubicBezTo>
                <a:cubicBezTo>
                  <a:pt x="8052062" y="4591447"/>
                  <a:pt x="8054857" y="4584391"/>
                  <a:pt x="8060448" y="4578667"/>
                </a:cubicBezTo>
                <a:cubicBezTo>
                  <a:pt x="8066040" y="4572943"/>
                  <a:pt x="8073228" y="4570015"/>
                  <a:pt x="8082281" y="4570015"/>
                </a:cubicBezTo>
                <a:close/>
                <a:moveTo>
                  <a:pt x="7864636" y="4570015"/>
                </a:moveTo>
                <a:cubicBezTo>
                  <a:pt x="7868762" y="4570015"/>
                  <a:pt x="7872756" y="4570814"/>
                  <a:pt x="7876483" y="4572677"/>
                </a:cubicBezTo>
                <a:cubicBezTo>
                  <a:pt x="7880210" y="4574274"/>
                  <a:pt x="7883272" y="4576404"/>
                  <a:pt x="7885802" y="4579067"/>
                </a:cubicBezTo>
                <a:cubicBezTo>
                  <a:pt x="7888331" y="4581596"/>
                  <a:pt x="7890460" y="4584791"/>
                  <a:pt x="7891924" y="4588385"/>
                </a:cubicBezTo>
                <a:cubicBezTo>
                  <a:pt x="7893389" y="4591979"/>
                  <a:pt x="7894188" y="4595839"/>
                  <a:pt x="7894188" y="4599833"/>
                </a:cubicBezTo>
                <a:cubicBezTo>
                  <a:pt x="7894188" y="4603959"/>
                  <a:pt x="7893389" y="4607953"/>
                  <a:pt x="7891924" y="4611548"/>
                </a:cubicBezTo>
                <a:cubicBezTo>
                  <a:pt x="7890327" y="4615142"/>
                  <a:pt x="7888331" y="4618204"/>
                  <a:pt x="7885802" y="4620866"/>
                </a:cubicBezTo>
                <a:cubicBezTo>
                  <a:pt x="7883139" y="4623529"/>
                  <a:pt x="7880078" y="4625659"/>
                  <a:pt x="7876483" y="4627123"/>
                </a:cubicBezTo>
                <a:cubicBezTo>
                  <a:pt x="7872756" y="4628587"/>
                  <a:pt x="7868895" y="4629386"/>
                  <a:pt x="7864636" y="4629386"/>
                </a:cubicBezTo>
                <a:cubicBezTo>
                  <a:pt x="7855717" y="4629386"/>
                  <a:pt x="7848396" y="4626457"/>
                  <a:pt x="7842803" y="4620866"/>
                </a:cubicBezTo>
                <a:cubicBezTo>
                  <a:pt x="7837213" y="4615275"/>
                  <a:pt x="7834417" y="4608219"/>
                  <a:pt x="7834417" y="4599700"/>
                </a:cubicBezTo>
                <a:cubicBezTo>
                  <a:pt x="7834417" y="4591447"/>
                  <a:pt x="7837213" y="4584391"/>
                  <a:pt x="7842803" y="4578667"/>
                </a:cubicBezTo>
                <a:cubicBezTo>
                  <a:pt x="7848396" y="4572943"/>
                  <a:pt x="7855584" y="4570015"/>
                  <a:pt x="7864636" y="4570015"/>
                </a:cubicBezTo>
                <a:close/>
                <a:moveTo>
                  <a:pt x="7646991" y="4570015"/>
                </a:moveTo>
                <a:cubicBezTo>
                  <a:pt x="7651250" y="4570015"/>
                  <a:pt x="7655111" y="4570814"/>
                  <a:pt x="7658705" y="4572677"/>
                </a:cubicBezTo>
                <a:cubicBezTo>
                  <a:pt x="7662432" y="4574274"/>
                  <a:pt x="7665493" y="4576404"/>
                  <a:pt x="7668022" y="4579067"/>
                </a:cubicBezTo>
                <a:cubicBezTo>
                  <a:pt x="7670552" y="4581596"/>
                  <a:pt x="7672682" y="4584791"/>
                  <a:pt x="7674146" y="4588385"/>
                </a:cubicBezTo>
                <a:cubicBezTo>
                  <a:pt x="7675610" y="4591979"/>
                  <a:pt x="7676409" y="4595839"/>
                  <a:pt x="7676409" y="4599833"/>
                </a:cubicBezTo>
                <a:cubicBezTo>
                  <a:pt x="7676409" y="4603959"/>
                  <a:pt x="7675610" y="4607953"/>
                  <a:pt x="7674146" y="4611548"/>
                </a:cubicBezTo>
                <a:cubicBezTo>
                  <a:pt x="7672549" y="4615142"/>
                  <a:pt x="7670552" y="4618204"/>
                  <a:pt x="7668022" y="4620866"/>
                </a:cubicBezTo>
                <a:cubicBezTo>
                  <a:pt x="7665361" y="4623529"/>
                  <a:pt x="7662299" y="4625659"/>
                  <a:pt x="7658705" y="4627123"/>
                </a:cubicBezTo>
                <a:cubicBezTo>
                  <a:pt x="7655111" y="4628587"/>
                  <a:pt x="7651250" y="4629386"/>
                  <a:pt x="7646991" y="4629386"/>
                </a:cubicBezTo>
                <a:cubicBezTo>
                  <a:pt x="7638071" y="4629386"/>
                  <a:pt x="7630750" y="4626457"/>
                  <a:pt x="7625158" y="4620866"/>
                </a:cubicBezTo>
                <a:cubicBezTo>
                  <a:pt x="7619568" y="4615275"/>
                  <a:pt x="7616772" y="4608219"/>
                  <a:pt x="7616772" y="4599700"/>
                </a:cubicBezTo>
                <a:cubicBezTo>
                  <a:pt x="7616772" y="4591447"/>
                  <a:pt x="7619568" y="4584391"/>
                  <a:pt x="7625158" y="4578667"/>
                </a:cubicBezTo>
                <a:cubicBezTo>
                  <a:pt x="7630750" y="4572943"/>
                  <a:pt x="7637939" y="4570015"/>
                  <a:pt x="7646991" y="4570015"/>
                </a:cubicBezTo>
                <a:close/>
                <a:moveTo>
                  <a:pt x="7429345" y="4570015"/>
                </a:moveTo>
                <a:cubicBezTo>
                  <a:pt x="7433605" y="4570015"/>
                  <a:pt x="7437466" y="4570814"/>
                  <a:pt x="7441059" y="4572677"/>
                </a:cubicBezTo>
                <a:cubicBezTo>
                  <a:pt x="7444787" y="4574274"/>
                  <a:pt x="7447848" y="4576404"/>
                  <a:pt x="7450377" y="4579067"/>
                </a:cubicBezTo>
                <a:cubicBezTo>
                  <a:pt x="7452907" y="4581596"/>
                  <a:pt x="7455036" y="4584791"/>
                  <a:pt x="7456501" y="4588385"/>
                </a:cubicBezTo>
                <a:cubicBezTo>
                  <a:pt x="7457965" y="4591979"/>
                  <a:pt x="7458764" y="4595839"/>
                  <a:pt x="7458764" y="4599833"/>
                </a:cubicBezTo>
                <a:cubicBezTo>
                  <a:pt x="7458764" y="4603959"/>
                  <a:pt x="7457965" y="4607953"/>
                  <a:pt x="7456501" y="4611548"/>
                </a:cubicBezTo>
                <a:cubicBezTo>
                  <a:pt x="7454904" y="4615142"/>
                  <a:pt x="7452907" y="4618204"/>
                  <a:pt x="7450377" y="4620866"/>
                </a:cubicBezTo>
                <a:cubicBezTo>
                  <a:pt x="7447715" y="4623529"/>
                  <a:pt x="7444654" y="4625659"/>
                  <a:pt x="7441059" y="4627123"/>
                </a:cubicBezTo>
                <a:cubicBezTo>
                  <a:pt x="7437466" y="4628587"/>
                  <a:pt x="7433605" y="4629386"/>
                  <a:pt x="7429345" y="4629386"/>
                </a:cubicBezTo>
                <a:cubicBezTo>
                  <a:pt x="7420426" y="4629386"/>
                  <a:pt x="7413105" y="4626457"/>
                  <a:pt x="7407513" y="4620866"/>
                </a:cubicBezTo>
                <a:cubicBezTo>
                  <a:pt x="7401922" y="4615275"/>
                  <a:pt x="7399127" y="4608219"/>
                  <a:pt x="7399127" y="4599700"/>
                </a:cubicBezTo>
                <a:cubicBezTo>
                  <a:pt x="7399127" y="4591447"/>
                  <a:pt x="7401922" y="4584391"/>
                  <a:pt x="7407513" y="4578667"/>
                </a:cubicBezTo>
                <a:cubicBezTo>
                  <a:pt x="7413105" y="4572943"/>
                  <a:pt x="7420293" y="4570015"/>
                  <a:pt x="7429345" y="4570015"/>
                </a:cubicBezTo>
                <a:close/>
                <a:moveTo>
                  <a:pt x="7211701" y="4570015"/>
                </a:moveTo>
                <a:cubicBezTo>
                  <a:pt x="7215960" y="4570015"/>
                  <a:pt x="7219954" y="4570814"/>
                  <a:pt x="7223415" y="4572677"/>
                </a:cubicBezTo>
                <a:cubicBezTo>
                  <a:pt x="7227142" y="4574274"/>
                  <a:pt x="7230204" y="4576404"/>
                  <a:pt x="7232733" y="4579067"/>
                </a:cubicBezTo>
                <a:cubicBezTo>
                  <a:pt x="7235262" y="4581596"/>
                  <a:pt x="7237392" y="4584791"/>
                  <a:pt x="7238856" y="4588385"/>
                </a:cubicBezTo>
                <a:cubicBezTo>
                  <a:pt x="7240321" y="4591979"/>
                  <a:pt x="7241120" y="4595839"/>
                  <a:pt x="7241120" y="4599833"/>
                </a:cubicBezTo>
                <a:cubicBezTo>
                  <a:pt x="7241120" y="4603959"/>
                  <a:pt x="7240321" y="4607953"/>
                  <a:pt x="7238856" y="4611548"/>
                </a:cubicBezTo>
                <a:cubicBezTo>
                  <a:pt x="7237259" y="4615142"/>
                  <a:pt x="7235262" y="4618204"/>
                  <a:pt x="7232733" y="4620866"/>
                </a:cubicBezTo>
                <a:cubicBezTo>
                  <a:pt x="7230071" y="4623529"/>
                  <a:pt x="7227009" y="4625659"/>
                  <a:pt x="7223415" y="4627123"/>
                </a:cubicBezTo>
                <a:cubicBezTo>
                  <a:pt x="7219821" y="4628587"/>
                  <a:pt x="7215960" y="4629386"/>
                  <a:pt x="7211701" y="4629386"/>
                </a:cubicBezTo>
                <a:cubicBezTo>
                  <a:pt x="7202782" y="4629386"/>
                  <a:pt x="7195460" y="4626457"/>
                  <a:pt x="7189868" y="4620866"/>
                </a:cubicBezTo>
                <a:cubicBezTo>
                  <a:pt x="7184278" y="4615275"/>
                  <a:pt x="7181482" y="4608219"/>
                  <a:pt x="7181482" y="4599700"/>
                </a:cubicBezTo>
                <a:cubicBezTo>
                  <a:pt x="7181482" y="4591447"/>
                  <a:pt x="7184278" y="4584391"/>
                  <a:pt x="7189868" y="4578667"/>
                </a:cubicBezTo>
                <a:cubicBezTo>
                  <a:pt x="7195460" y="4572943"/>
                  <a:pt x="7202649" y="4570015"/>
                  <a:pt x="7211701" y="4570015"/>
                </a:cubicBezTo>
                <a:close/>
                <a:moveTo>
                  <a:pt x="6994056" y="4570015"/>
                </a:moveTo>
                <a:cubicBezTo>
                  <a:pt x="6998315" y="4570015"/>
                  <a:pt x="7002309" y="4570814"/>
                  <a:pt x="7005769" y="4572677"/>
                </a:cubicBezTo>
                <a:cubicBezTo>
                  <a:pt x="7009497" y="4574274"/>
                  <a:pt x="7012558" y="4576404"/>
                  <a:pt x="7015087" y="4579067"/>
                </a:cubicBezTo>
                <a:cubicBezTo>
                  <a:pt x="7017617" y="4581596"/>
                  <a:pt x="7019747" y="4584791"/>
                  <a:pt x="7021211" y="4588385"/>
                </a:cubicBezTo>
                <a:cubicBezTo>
                  <a:pt x="7022675" y="4591979"/>
                  <a:pt x="7023474" y="4595839"/>
                  <a:pt x="7023474" y="4599833"/>
                </a:cubicBezTo>
                <a:cubicBezTo>
                  <a:pt x="7023474" y="4603959"/>
                  <a:pt x="7022675" y="4607953"/>
                  <a:pt x="7021211" y="4611548"/>
                </a:cubicBezTo>
                <a:cubicBezTo>
                  <a:pt x="7019614" y="4615142"/>
                  <a:pt x="7017617" y="4618204"/>
                  <a:pt x="7015087" y="4620866"/>
                </a:cubicBezTo>
                <a:cubicBezTo>
                  <a:pt x="7012425" y="4623529"/>
                  <a:pt x="7009364" y="4625659"/>
                  <a:pt x="7005769" y="4627123"/>
                </a:cubicBezTo>
                <a:cubicBezTo>
                  <a:pt x="7002176" y="4628587"/>
                  <a:pt x="6998315" y="4629386"/>
                  <a:pt x="6994056" y="4629386"/>
                </a:cubicBezTo>
                <a:cubicBezTo>
                  <a:pt x="6985136" y="4629386"/>
                  <a:pt x="6977815" y="4626457"/>
                  <a:pt x="6972223" y="4620866"/>
                </a:cubicBezTo>
                <a:cubicBezTo>
                  <a:pt x="6966632" y="4615275"/>
                  <a:pt x="6963837" y="4608219"/>
                  <a:pt x="6963837" y="4599700"/>
                </a:cubicBezTo>
                <a:cubicBezTo>
                  <a:pt x="6963837" y="4591447"/>
                  <a:pt x="6966632" y="4584391"/>
                  <a:pt x="6972223" y="4578667"/>
                </a:cubicBezTo>
                <a:cubicBezTo>
                  <a:pt x="6977815" y="4572943"/>
                  <a:pt x="6985003" y="4570015"/>
                  <a:pt x="6994056" y="4570015"/>
                </a:cubicBezTo>
                <a:close/>
                <a:moveTo>
                  <a:pt x="6776544" y="4570015"/>
                </a:moveTo>
                <a:cubicBezTo>
                  <a:pt x="6780670" y="4570015"/>
                  <a:pt x="6784664" y="4570814"/>
                  <a:pt x="6788258" y="4572677"/>
                </a:cubicBezTo>
                <a:cubicBezTo>
                  <a:pt x="6791985" y="4574274"/>
                  <a:pt x="6795047" y="4576404"/>
                  <a:pt x="6797576" y="4579067"/>
                </a:cubicBezTo>
                <a:cubicBezTo>
                  <a:pt x="6800105" y="4581596"/>
                  <a:pt x="6802235" y="4584791"/>
                  <a:pt x="6803699" y="4588385"/>
                </a:cubicBezTo>
                <a:cubicBezTo>
                  <a:pt x="6805164" y="4591979"/>
                  <a:pt x="6805963" y="4595839"/>
                  <a:pt x="6805963" y="4599833"/>
                </a:cubicBezTo>
                <a:cubicBezTo>
                  <a:pt x="6805963" y="4603959"/>
                  <a:pt x="6805164" y="4607953"/>
                  <a:pt x="6803699" y="4611548"/>
                </a:cubicBezTo>
                <a:cubicBezTo>
                  <a:pt x="6802102" y="4615142"/>
                  <a:pt x="6800105" y="4618204"/>
                  <a:pt x="6797576" y="4620866"/>
                </a:cubicBezTo>
                <a:cubicBezTo>
                  <a:pt x="6794914" y="4623529"/>
                  <a:pt x="6791852" y="4625659"/>
                  <a:pt x="6788258" y="4627123"/>
                </a:cubicBezTo>
                <a:cubicBezTo>
                  <a:pt x="6784664" y="4628587"/>
                  <a:pt x="6780803" y="4629386"/>
                  <a:pt x="6776544" y="4629386"/>
                </a:cubicBezTo>
                <a:cubicBezTo>
                  <a:pt x="6767625" y="4629386"/>
                  <a:pt x="6760303" y="4626457"/>
                  <a:pt x="6754711" y="4620866"/>
                </a:cubicBezTo>
                <a:cubicBezTo>
                  <a:pt x="6749121" y="4615275"/>
                  <a:pt x="6746325" y="4608219"/>
                  <a:pt x="6746325" y="4599700"/>
                </a:cubicBezTo>
                <a:cubicBezTo>
                  <a:pt x="6746325" y="4591447"/>
                  <a:pt x="6749121" y="4584391"/>
                  <a:pt x="6754711" y="4578667"/>
                </a:cubicBezTo>
                <a:cubicBezTo>
                  <a:pt x="6760303" y="4572943"/>
                  <a:pt x="6767492" y="4570015"/>
                  <a:pt x="6776544" y="4570015"/>
                </a:cubicBezTo>
                <a:close/>
                <a:moveTo>
                  <a:pt x="6558899" y="4570015"/>
                </a:moveTo>
                <a:cubicBezTo>
                  <a:pt x="6563158" y="4570015"/>
                  <a:pt x="6567019" y="4570814"/>
                  <a:pt x="6570612" y="4572677"/>
                </a:cubicBezTo>
                <a:cubicBezTo>
                  <a:pt x="6574340" y="4574274"/>
                  <a:pt x="6577401" y="4576404"/>
                  <a:pt x="6579930" y="4579067"/>
                </a:cubicBezTo>
                <a:cubicBezTo>
                  <a:pt x="6582460" y="4581596"/>
                  <a:pt x="6584590" y="4584791"/>
                  <a:pt x="6586054" y="4588385"/>
                </a:cubicBezTo>
                <a:cubicBezTo>
                  <a:pt x="6587518" y="4591979"/>
                  <a:pt x="6588317" y="4595839"/>
                  <a:pt x="6588317" y="4599833"/>
                </a:cubicBezTo>
                <a:cubicBezTo>
                  <a:pt x="6588317" y="4603959"/>
                  <a:pt x="6587518" y="4607953"/>
                  <a:pt x="6586054" y="4611548"/>
                </a:cubicBezTo>
                <a:cubicBezTo>
                  <a:pt x="6584457" y="4615142"/>
                  <a:pt x="6582460" y="4618204"/>
                  <a:pt x="6579930" y="4620866"/>
                </a:cubicBezTo>
                <a:cubicBezTo>
                  <a:pt x="6577268" y="4623529"/>
                  <a:pt x="6574207" y="4625659"/>
                  <a:pt x="6570612" y="4627123"/>
                </a:cubicBezTo>
                <a:cubicBezTo>
                  <a:pt x="6567019" y="4628587"/>
                  <a:pt x="6563158" y="4629386"/>
                  <a:pt x="6558899" y="4629386"/>
                </a:cubicBezTo>
                <a:cubicBezTo>
                  <a:pt x="6549979" y="4629386"/>
                  <a:pt x="6542658" y="4626457"/>
                  <a:pt x="6537066" y="4620866"/>
                </a:cubicBezTo>
                <a:cubicBezTo>
                  <a:pt x="6531476" y="4615275"/>
                  <a:pt x="6528680" y="4608219"/>
                  <a:pt x="6528680" y="4599700"/>
                </a:cubicBezTo>
                <a:cubicBezTo>
                  <a:pt x="6528680" y="4591447"/>
                  <a:pt x="6531476" y="4584391"/>
                  <a:pt x="6537066" y="4578667"/>
                </a:cubicBezTo>
                <a:cubicBezTo>
                  <a:pt x="6542658" y="4572943"/>
                  <a:pt x="6549846" y="4570015"/>
                  <a:pt x="6558899" y="4570015"/>
                </a:cubicBezTo>
                <a:close/>
                <a:moveTo>
                  <a:pt x="6341253" y="4570015"/>
                </a:moveTo>
                <a:cubicBezTo>
                  <a:pt x="6345513" y="4570015"/>
                  <a:pt x="6349373" y="4570814"/>
                  <a:pt x="6352968" y="4572677"/>
                </a:cubicBezTo>
                <a:cubicBezTo>
                  <a:pt x="6356695" y="4574274"/>
                  <a:pt x="6359757" y="4576404"/>
                  <a:pt x="6362286" y="4579067"/>
                </a:cubicBezTo>
                <a:cubicBezTo>
                  <a:pt x="6364815" y="4581596"/>
                  <a:pt x="6366945" y="4584791"/>
                  <a:pt x="6368409" y="4588385"/>
                </a:cubicBezTo>
                <a:cubicBezTo>
                  <a:pt x="6369874" y="4591979"/>
                  <a:pt x="6370672" y="4595839"/>
                  <a:pt x="6370672" y="4599833"/>
                </a:cubicBezTo>
                <a:cubicBezTo>
                  <a:pt x="6370672" y="4603959"/>
                  <a:pt x="6369874" y="4607953"/>
                  <a:pt x="6368409" y="4611548"/>
                </a:cubicBezTo>
                <a:cubicBezTo>
                  <a:pt x="6366811" y="4615142"/>
                  <a:pt x="6364815" y="4618204"/>
                  <a:pt x="6362286" y="4620866"/>
                </a:cubicBezTo>
                <a:cubicBezTo>
                  <a:pt x="6359623" y="4623529"/>
                  <a:pt x="6356562" y="4625659"/>
                  <a:pt x="6352968" y="4627123"/>
                </a:cubicBezTo>
                <a:cubicBezTo>
                  <a:pt x="6349373" y="4628587"/>
                  <a:pt x="6345513" y="4629386"/>
                  <a:pt x="6341253" y="4629386"/>
                </a:cubicBezTo>
                <a:cubicBezTo>
                  <a:pt x="6332335" y="4629386"/>
                  <a:pt x="6325013" y="4626457"/>
                  <a:pt x="6319421" y="4620866"/>
                </a:cubicBezTo>
                <a:cubicBezTo>
                  <a:pt x="6313830" y="4615275"/>
                  <a:pt x="6311035" y="4608219"/>
                  <a:pt x="6311035" y="4599700"/>
                </a:cubicBezTo>
                <a:cubicBezTo>
                  <a:pt x="6311035" y="4591447"/>
                  <a:pt x="6313830" y="4584391"/>
                  <a:pt x="6319421" y="4578667"/>
                </a:cubicBezTo>
                <a:cubicBezTo>
                  <a:pt x="6325013" y="4572943"/>
                  <a:pt x="6332201" y="4570015"/>
                  <a:pt x="6341253" y="4570015"/>
                </a:cubicBezTo>
                <a:close/>
                <a:moveTo>
                  <a:pt x="6123608" y="4570015"/>
                </a:moveTo>
                <a:cubicBezTo>
                  <a:pt x="6127867" y="4570015"/>
                  <a:pt x="6131728" y="4570814"/>
                  <a:pt x="6135322" y="4572677"/>
                </a:cubicBezTo>
                <a:cubicBezTo>
                  <a:pt x="6139049" y="4574274"/>
                  <a:pt x="6142111" y="4576404"/>
                  <a:pt x="6144640" y="4579067"/>
                </a:cubicBezTo>
                <a:cubicBezTo>
                  <a:pt x="6147169" y="4581596"/>
                  <a:pt x="6149299" y="4584791"/>
                  <a:pt x="6150763" y="4588385"/>
                </a:cubicBezTo>
                <a:cubicBezTo>
                  <a:pt x="6152228" y="4591979"/>
                  <a:pt x="6153026" y="4595839"/>
                  <a:pt x="6153026" y="4599833"/>
                </a:cubicBezTo>
                <a:cubicBezTo>
                  <a:pt x="6153026" y="4603959"/>
                  <a:pt x="6152228" y="4607953"/>
                  <a:pt x="6150763" y="4611548"/>
                </a:cubicBezTo>
                <a:cubicBezTo>
                  <a:pt x="6149299" y="4615142"/>
                  <a:pt x="6147169" y="4618204"/>
                  <a:pt x="6144640" y="4620866"/>
                </a:cubicBezTo>
                <a:cubicBezTo>
                  <a:pt x="6141977" y="4623529"/>
                  <a:pt x="6138916" y="4625659"/>
                  <a:pt x="6135322" y="4627123"/>
                </a:cubicBezTo>
                <a:cubicBezTo>
                  <a:pt x="6131728" y="4628587"/>
                  <a:pt x="6127867" y="4629386"/>
                  <a:pt x="6123608" y="4629386"/>
                </a:cubicBezTo>
                <a:cubicBezTo>
                  <a:pt x="6114689" y="4629386"/>
                  <a:pt x="6107367" y="4626457"/>
                  <a:pt x="6101775" y="4620866"/>
                </a:cubicBezTo>
                <a:cubicBezTo>
                  <a:pt x="6096184" y="4615275"/>
                  <a:pt x="6093389" y="4608219"/>
                  <a:pt x="6093389" y="4599700"/>
                </a:cubicBezTo>
                <a:cubicBezTo>
                  <a:pt x="6093389" y="4591447"/>
                  <a:pt x="6096184" y="4584391"/>
                  <a:pt x="6101775" y="4578667"/>
                </a:cubicBezTo>
                <a:cubicBezTo>
                  <a:pt x="6107367" y="4572943"/>
                  <a:pt x="6114555" y="4570015"/>
                  <a:pt x="6123608" y="4570015"/>
                </a:cubicBezTo>
                <a:close/>
                <a:moveTo>
                  <a:pt x="5905963" y="4570015"/>
                </a:moveTo>
                <a:cubicBezTo>
                  <a:pt x="5910222" y="4570015"/>
                  <a:pt x="5914216" y="4570814"/>
                  <a:pt x="5917677" y="4572677"/>
                </a:cubicBezTo>
                <a:cubicBezTo>
                  <a:pt x="5921404" y="4574274"/>
                  <a:pt x="5924466" y="4576404"/>
                  <a:pt x="5926995" y="4579067"/>
                </a:cubicBezTo>
                <a:cubicBezTo>
                  <a:pt x="5929524" y="4581596"/>
                  <a:pt x="5931654" y="4584791"/>
                  <a:pt x="5933118" y="4588385"/>
                </a:cubicBezTo>
                <a:cubicBezTo>
                  <a:pt x="5934583" y="4591979"/>
                  <a:pt x="5935381" y="4595839"/>
                  <a:pt x="5935381" y="4599833"/>
                </a:cubicBezTo>
                <a:cubicBezTo>
                  <a:pt x="5935381" y="4603959"/>
                  <a:pt x="5934583" y="4607953"/>
                  <a:pt x="5933118" y="4611548"/>
                </a:cubicBezTo>
                <a:cubicBezTo>
                  <a:pt x="5931654" y="4615142"/>
                  <a:pt x="5929524" y="4618204"/>
                  <a:pt x="5926995" y="4620866"/>
                </a:cubicBezTo>
                <a:cubicBezTo>
                  <a:pt x="5924333" y="4623529"/>
                  <a:pt x="5921271" y="4625659"/>
                  <a:pt x="5917677" y="4627123"/>
                </a:cubicBezTo>
                <a:cubicBezTo>
                  <a:pt x="5914083" y="4628587"/>
                  <a:pt x="5910222" y="4629386"/>
                  <a:pt x="5905963" y="4629386"/>
                </a:cubicBezTo>
                <a:cubicBezTo>
                  <a:pt x="5897044" y="4629386"/>
                  <a:pt x="5889722" y="4626457"/>
                  <a:pt x="5884130" y="4620866"/>
                </a:cubicBezTo>
                <a:cubicBezTo>
                  <a:pt x="5878540" y="4615275"/>
                  <a:pt x="5875744" y="4608219"/>
                  <a:pt x="5875744" y="4599700"/>
                </a:cubicBezTo>
                <a:cubicBezTo>
                  <a:pt x="5875744" y="4591447"/>
                  <a:pt x="5878540" y="4584391"/>
                  <a:pt x="5884130" y="4578667"/>
                </a:cubicBezTo>
                <a:cubicBezTo>
                  <a:pt x="5889722" y="4572943"/>
                  <a:pt x="5896910" y="4570015"/>
                  <a:pt x="5905963" y="4570015"/>
                </a:cubicBezTo>
                <a:close/>
                <a:moveTo>
                  <a:pt x="5688451" y="4570015"/>
                </a:moveTo>
                <a:cubicBezTo>
                  <a:pt x="5692577" y="4570015"/>
                  <a:pt x="5696571" y="4570814"/>
                  <a:pt x="5700165" y="4572677"/>
                </a:cubicBezTo>
                <a:cubicBezTo>
                  <a:pt x="5703892" y="4574274"/>
                  <a:pt x="5706954" y="4576404"/>
                  <a:pt x="5709483" y="4579067"/>
                </a:cubicBezTo>
                <a:cubicBezTo>
                  <a:pt x="5712012" y="4581596"/>
                  <a:pt x="5714142" y="4584791"/>
                  <a:pt x="5715606" y="4588385"/>
                </a:cubicBezTo>
                <a:cubicBezTo>
                  <a:pt x="5717071" y="4591979"/>
                  <a:pt x="5717869" y="4595839"/>
                  <a:pt x="5717869" y="4599833"/>
                </a:cubicBezTo>
                <a:cubicBezTo>
                  <a:pt x="5717869" y="4603959"/>
                  <a:pt x="5717071" y="4607953"/>
                  <a:pt x="5715606" y="4611548"/>
                </a:cubicBezTo>
                <a:cubicBezTo>
                  <a:pt x="5714142" y="4615142"/>
                  <a:pt x="5712012" y="4618204"/>
                  <a:pt x="5709483" y="4620866"/>
                </a:cubicBezTo>
                <a:cubicBezTo>
                  <a:pt x="5706820" y="4623529"/>
                  <a:pt x="5703759" y="4625659"/>
                  <a:pt x="5700165" y="4627123"/>
                </a:cubicBezTo>
                <a:cubicBezTo>
                  <a:pt x="5696571" y="4628587"/>
                  <a:pt x="5692710" y="4629386"/>
                  <a:pt x="5688451" y="4629386"/>
                </a:cubicBezTo>
                <a:cubicBezTo>
                  <a:pt x="5679532" y="4629386"/>
                  <a:pt x="5672210" y="4626457"/>
                  <a:pt x="5666618" y="4620866"/>
                </a:cubicBezTo>
                <a:cubicBezTo>
                  <a:pt x="5661028" y="4615275"/>
                  <a:pt x="5658232" y="4608219"/>
                  <a:pt x="5658232" y="4599700"/>
                </a:cubicBezTo>
                <a:cubicBezTo>
                  <a:pt x="5658232" y="4591447"/>
                  <a:pt x="5661028" y="4584391"/>
                  <a:pt x="5666618" y="4578667"/>
                </a:cubicBezTo>
                <a:cubicBezTo>
                  <a:pt x="5672210" y="4572943"/>
                  <a:pt x="5679398" y="4570015"/>
                  <a:pt x="5688451" y="4570015"/>
                </a:cubicBezTo>
                <a:close/>
                <a:moveTo>
                  <a:pt x="5470806" y="4570015"/>
                </a:moveTo>
                <a:cubicBezTo>
                  <a:pt x="5475065" y="4570015"/>
                  <a:pt x="5478926" y="4570814"/>
                  <a:pt x="5482520" y="4572677"/>
                </a:cubicBezTo>
                <a:cubicBezTo>
                  <a:pt x="5486247" y="4574274"/>
                  <a:pt x="5489309" y="4576404"/>
                  <a:pt x="5491838" y="4579067"/>
                </a:cubicBezTo>
                <a:cubicBezTo>
                  <a:pt x="5494367" y="4581596"/>
                  <a:pt x="5496497" y="4584791"/>
                  <a:pt x="5497961" y="4588385"/>
                </a:cubicBezTo>
                <a:cubicBezTo>
                  <a:pt x="5499426" y="4591979"/>
                  <a:pt x="5500224" y="4595839"/>
                  <a:pt x="5500224" y="4599833"/>
                </a:cubicBezTo>
                <a:cubicBezTo>
                  <a:pt x="5500224" y="4603959"/>
                  <a:pt x="5499426" y="4607953"/>
                  <a:pt x="5497961" y="4611548"/>
                </a:cubicBezTo>
                <a:cubicBezTo>
                  <a:pt x="5496497" y="4615142"/>
                  <a:pt x="5494367" y="4618204"/>
                  <a:pt x="5491838" y="4620866"/>
                </a:cubicBezTo>
                <a:cubicBezTo>
                  <a:pt x="5489176" y="4623529"/>
                  <a:pt x="5486114" y="4625659"/>
                  <a:pt x="5482520" y="4627123"/>
                </a:cubicBezTo>
                <a:cubicBezTo>
                  <a:pt x="5478926" y="4628587"/>
                  <a:pt x="5475065" y="4629386"/>
                  <a:pt x="5470806" y="4629386"/>
                </a:cubicBezTo>
                <a:cubicBezTo>
                  <a:pt x="5461887" y="4629386"/>
                  <a:pt x="5454565" y="4626457"/>
                  <a:pt x="5448973" y="4620866"/>
                </a:cubicBezTo>
                <a:cubicBezTo>
                  <a:pt x="5443383" y="4615275"/>
                  <a:pt x="5440587" y="4608219"/>
                  <a:pt x="5440587" y="4599700"/>
                </a:cubicBezTo>
                <a:cubicBezTo>
                  <a:pt x="5440587" y="4591447"/>
                  <a:pt x="5443383" y="4584391"/>
                  <a:pt x="5448973" y="4578667"/>
                </a:cubicBezTo>
                <a:cubicBezTo>
                  <a:pt x="5454565" y="4572943"/>
                  <a:pt x="5461754" y="4570015"/>
                  <a:pt x="5470806" y="4570015"/>
                </a:cubicBezTo>
                <a:close/>
                <a:moveTo>
                  <a:pt x="5253160" y="4570015"/>
                </a:moveTo>
                <a:cubicBezTo>
                  <a:pt x="5257420" y="4570015"/>
                  <a:pt x="5261280" y="4570814"/>
                  <a:pt x="5264875" y="4572677"/>
                </a:cubicBezTo>
                <a:cubicBezTo>
                  <a:pt x="5268602" y="4574274"/>
                  <a:pt x="5271664" y="4576404"/>
                  <a:pt x="5274192" y="4579067"/>
                </a:cubicBezTo>
                <a:cubicBezTo>
                  <a:pt x="5276722" y="4581596"/>
                  <a:pt x="5278852" y="4584791"/>
                  <a:pt x="5280316" y="4588385"/>
                </a:cubicBezTo>
                <a:cubicBezTo>
                  <a:pt x="5281780" y="4591979"/>
                  <a:pt x="5282579" y="4595839"/>
                  <a:pt x="5282579" y="4599833"/>
                </a:cubicBezTo>
                <a:cubicBezTo>
                  <a:pt x="5282579" y="4603959"/>
                  <a:pt x="5281780" y="4607953"/>
                  <a:pt x="5280316" y="4611548"/>
                </a:cubicBezTo>
                <a:cubicBezTo>
                  <a:pt x="5278852" y="4615142"/>
                  <a:pt x="5276722" y="4618204"/>
                  <a:pt x="5274192" y="4620866"/>
                </a:cubicBezTo>
                <a:cubicBezTo>
                  <a:pt x="5271664" y="4623529"/>
                  <a:pt x="5268469" y="4625659"/>
                  <a:pt x="5264875" y="4627123"/>
                </a:cubicBezTo>
                <a:cubicBezTo>
                  <a:pt x="5261280" y="4628587"/>
                  <a:pt x="5257420" y="4629386"/>
                  <a:pt x="5253160" y="4629386"/>
                </a:cubicBezTo>
                <a:cubicBezTo>
                  <a:pt x="5244241" y="4629386"/>
                  <a:pt x="5236920" y="4626457"/>
                  <a:pt x="5231328" y="4620866"/>
                </a:cubicBezTo>
                <a:cubicBezTo>
                  <a:pt x="5225737" y="4615275"/>
                  <a:pt x="5222942" y="4608219"/>
                  <a:pt x="5222942" y="4599700"/>
                </a:cubicBezTo>
                <a:cubicBezTo>
                  <a:pt x="5222942" y="4591447"/>
                  <a:pt x="5225737" y="4584391"/>
                  <a:pt x="5231328" y="4578667"/>
                </a:cubicBezTo>
                <a:cubicBezTo>
                  <a:pt x="5236920" y="4572943"/>
                  <a:pt x="5244108" y="4570015"/>
                  <a:pt x="5253160" y="4570015"/>
                </a:cubicBezTo>
                <a:close/>
                <a:moveTo>
                  <a:pt x="5035515" y="4570015"/>
                </a:moveTo>
                <a:cubicBezTo>
                  <a:pt x="5039775" y="4570015"/>
                  <a:pt x="5043636" y="4570814"/>
                  <a:pt x="5047230" y="4572677"/>
                </a:cubicBezTo>
                <a:cubicBezTo>
                  <a:pt x="5050957" y="4574274"/>
                  <a:pt x="5054019" y="4576404"/>
                  <a:pt x="5056548" y="4579067"/>
                </a:cubicBezTo>
                <a:cubicBezTo>
                  <a:pt x="5059077" y="4581596"/>
                  <a:pt x="5061207" y="4584791"/>
                  <a:pt x="5062671" y="4588385"/>
                </a:cubicBezTo>
                <a:cubicBezTo>
                  <a:pt x="5064135" y="4591979"/>
                  <a:pt x="5064934" y="4595839"/>
                  <a:pt x="5064934" y="4599833"/>
                </a:cubicBezTo>
                <a:cubicBezTo>
                  <a:pt x="5064934" y="4603959"/>
                  <a:pt x="5064135" y="4607953"/>
                  <a:pt x="5062671" y="4611548"/>
                </a:cubicBezTo>
                <a:cubicBezTo>
                  <a:pt x="5061207" y="4615142"/>
                  <a:pt x="5059077" y="4618204"/>
                  <a:pt x="5056548" y="4620866"/>
                </a:cubicBezTo>
                <a:cubicBezTo>
                  <a:pt x="5053885" y="4623529"/>
                  <a:pt x="5050824" y="4625659"/>
                  <a:pt x="5047230" y="4627123"/>
                </a:cubicBezTo>
                <a:cubicBezTo>
                  <a:pt x="5043636" y="4628587"/>
                  <a:pt x="5039775" y="4629386"/>
                  <a:pt x="5035515" y="4629386"/>
                </a:cubicBezTo>
                <a:cubicBezTo>
                  <a:pt x="5026597" y="4629386"/>
                  <a:pt x="5019275" y="4626457"/>
                  <a:pt x="5013683" y="4620866"/>
                </a:cubicBezTo>
                <a:cubicBezTo>
                  <a:pt x="5008092" y="4615275"/>
                  <a:pt x="5005297" y="4608219"/>
                  <a:pt x="5005297" y="4599700"/>
                </a:cubicBezTo>
                <a:cubicBezTo>
                  <a:pt x="5005297" y="4591447"/>
                  <a:pt x="5008092" y="4584391"/>
                  <a:pt x="5013683" y="4578667"/>
                </a:cubicBezTo>
                <a:cubicBezTo>
                  <a:pt x="5019275" y="4572943"/>
                  <a:pt x="5026463" y="4570015"/>
                  <a:pt x="5035515" y="4570015"/>
                </a:cubicBezTo>
                <a:close/>
                <a:moveTo>
                  <a:pt x="4817870" y="4570015"/>
                </a:moveTo>
                <a:cubicBezTo>
                  <a:pt x="4822130" y="4570015"/>
                  <a:pt x="4826124" y="4570814"/>
                  <a:pt x="4829585" y="4572677"/>
                </a:cubicBezTo>
                <a:cubicBezTo>
                  <a:pt x="4833312" y="4574274"/>
                  <a:pt x="4836374" y="4576404"/>
                  <a:pt x="4838903" y="4579067"/>
                </a:cubicBezTo>
                <a:cubicBezTo>
                  <a:pt x="4841432" y="4581596"/>
                  <a:pt x="4843562" y="4584791"/>
                  <a:pt x="4845026" y="4588385"/>
                </a:cubicBezTo>
                <a:cubicBezTo>
                  <a:pt x="4846491" y="4591979"/>
                  <a:pt x="4847289" y="4595839"/>
                  <a:pt x="4847289" y="4599833"/>
                </a:cubicBezTo>
                <a:cubicBezTo>
                  <a:pt x="4847289" y="4603959"/>
                  <a:pt x="4846491" y="4607953"/>
                  <a:pt x="4845026" y="4611548"/>
                </a:cubicBezTo>
                <a:cubicBezTo>
                  <a:pt x="4843562" y="4615142"/>
                  <a:pt x="4841432" y="4618204"/>
                  <a:pt x="4838903" y="4620866"/>
                </a:cubicBezTo>
                <a:cubicBezTo>
                  <a:pt x="4836240" y="4623529"/>
                  <a:pt x="4833179" y="4625659"/>
                  <a:pt x="4829585" y="4627123"/>
                </a:cubicBezTo>
                <a:cubicBezTo>
                  <a:pt x="4825991" y="4628587"/>
                  <a:pt x="4822130" y="4629386"/>
                  <a:pt x="4817870" y="4629386"/>
                </a:cubicBezTo>
                <a:cubicBezTo>
                  <a:pt x="4808952" y="4629386"/>
                  <a:pt x="4801630" y="4626457"/>
                  <a:pt x="4796038" y="4620866"/>
                </a:cubicBezTo>
                <a:cubicBezTo>
                  <a:pt x="4790447" y="4615275"/>
                  <a:pt x="4787652" y="4608219"/>
                  <a:pt x="4787652" y="4599700"/>
                </a:cubicBezTo>
                <a:cubicBezTo>
                  <a:pt x="4787652" y="4591447"/>
                  <a:pt x="4790447" y="4584391"/>
                  <a:pt x="4796038" y="4578667"/>
                </a:cubicBezTo>
                <a:cubicBezTo>
                  <a:pt x="4801630" y="4572943"/>
                  <a:pt x="4808818" y="4570015"/>
                  <a:pt x="4817870" y="4570015"/>
                </a:cubicBezTo>
                <a:close/>
                <a:moveTo>
                  <a:pt x="4600226" y="4570015"/>
                </a:moveTo>
                <a:cubicBezTo>
                  <a:pt x="4604485" y="4570015"/>
                  <a:pt x="4608479" y="4570814"/>
                  <a:pt x="4612073" y="4572677"/>
                </a:cubicBezTo>
                <a:cubicBezTo>
                  <a:pt x="4615800" y="4574274"/>
                  <a:pt x="4618862" y="4576404"/>
                  <a:pt x="4621391" y="4579067"/>
                </a:cubicBezTo>
                <a:cubicBezTo>
                  <a:pt x="4623920" y="4581596"/>
                  <a:pt x="4626050" y="4584791"/>
                  <a:pt x="4627514" y="4588385"/>
                </a:cubicBezTo>
                <a:cubicBezTo>
                  <a:pt x="4628978" y="4591979"/>
                  <a:pt x="4629777" y="4595839"/>
                  <a:pt x="4629777" y="4599833"/>
                </a:cubicBezTo>
                <a:cubicBezTo>
                  <a:pt x="4629777" y="4603959"/>
                  <a:pt x="4628978" y="4607953"/>
                  <a:pt x="4627514" y="4611548"/>
                </a:cubicBezTo>
                <a:cubicBezTo>
                  <a:pt x="4626050" y="4615142"/>
                  <a:pt x="4623920" y="4618204"/>
                  <a:pt x="4621391" y="4620866"/>
                </a:cubicBezTo>
                <a:cubicBezTo>
                  <a:pt x="4618729" y="4623529"/>
                  <a:pt x="4615667" y="4625659"/>
                  <a:pt x="4612073" y="4627123"/>
                </a:cubicBezTo>
                <a:cubicBezTo>
                  <a:pt x="4608346" y="4628587"/>
                  <a:pt x="4604485" y="4629386"/>
                  <a:pt x="4600226" y="4629386"/>
                </a:cubicBezTo>
                <a:cubicBezTo>
                  <a:pt x="4591173" y="4629386"/>
                  <a:pt x="4583985" y="4626457"/>
                  <a:pt x="4578393" y="4620866"/>
                </a:cubicBezTo>
                <a:cubicBezTo>
                  <a:pt x="4572803" y="4615275"/>
                  <a:pt x="4570007" y="4608219"/>
                  <a:pt x="4570007" y="4599700"/>
                </a:cubicBezTo>
                <a:cubicBezTo>
                  <a:pt x="4570007" y="4591447"/>
                  <a:pt x="4572803" y="4584391"/>
                  <a:pt x="4578393" y="4578667"/>
                </a:cubicBezTo>
                <a:cubicBezTo>
                  <a:pt x="4583985" y="4572943"/>
                  <a:pt x="4591173" y="4570015"/>
                  <a:pt x="4600226" y="4570015"/>
                </a:cubicBezTo>
                <a:close/>
                <a:moveTo>
                  <a:pt x="4382713" y="4570015"/>
                </a:moveTo>
                <a:cubicBezTo>
                  <a:pt x="4386840" y="4570015"/>
                  <a:pt x="4390834" y="4570814"/>
                  <a:pt x="4394428" y="4572677"/>
                </a:cubicBezTo>
                <a:cubicBezTo>
                  <a:pt x="4398155" y="4574274"/>
                  <a:pt x="4401217" y="4576404"/>
                  <a:pt x="4403746" y="4579067"/>
                </a:cubicBezTo>
                <a:cubicBezTo>
                  <a:pt x="4406275" y="4581596"/>
                  <a:pt x="4408405" y="4584791"/>
                  <a:pt x="4409869" y="4588385"/>
                </a:cubicBezTo>
                <a:cubicBezTo>
                  <a:pt x="4411334" y="4591979"/>
                  <a:pt x="4412132" y="4595839"/>
                  <a:pt x="4412132" y="4599833"/>
                </a:cubicBezTo>
                <a:cubicBezTo>
                  <a:pt x="4412132" y="4603959"/>
                  <a:pt x="4411334" y="4607953"/>
                  <a:pt x="4409869" y="4611548"/>
                </a:cubicBezTo>
                <a:cubicBezTo>
                  <a:pt x="4408405" y="4615142"/>
                  <a:pt x="4406275" y="4618204"/>
                  <a:pt x="4403746" y="4620866"/>
                </a:cubicBezTo>
                <a:cubicBezTo>
                  <a:pt x="4401083" y="4623529"/>
                  <a:pt x="4398022" y="4625659"/>
                  <a:pt x="4394428" y="4627123"/>
                </a:cubicBezTo>
                <a:cubicBezTo>
                  <a:pt x="4390834" y="4628587"/>
                  <a:pt x="4386973" y="4629386"/>
                  <a:pt x="4382713" y="4629386"/>
                </a:cubicBezTo>
                <a:cubicBezTo>
                  <a:pt x="4373661" y="4629386"/>
                  <a:pt x="4366473" y="4626457"/>
                  <a:pt x="4360881" y="4620866"/>
                </a:cubicBezTo>
                <a:cubicBezTo>
                  <a:pt x="4355290" y="4615275"/>
                  <a:pt x="4352495" y="4608219"/>
                  <a:pt x="4352495" y="4599700"/>
                </a:cubicBezTo>
                <a:cubicBezTo>
                  <a:pt x="4352495" y="4591447"/>
                  <a:pt x="4355290" y="4584391"/>
                  <a:pt x="4360881" y="4578667"/>
                </a:cubicBezTo>
                <a:cubicBezTo>
                  <a:pt x="4366473" y="4572943"/>
                  <a:pt x="4373661" y="4570015"/>
                  <a:pt x="4382713" y="4570015"/>
                </a:cubicBezTo>
                <a:close/>
                <a:moveTo>
                  <a:pt x="4165068" y="4570015"/>
                </a:moveTo>
                <a:cubicBezTo>
                  <a:pt x="4169327" y="4570015"/>
                  <a:pt x="4173188" y="4570814"/>
                  <a:pt x="4176782" y="4572677"/>
                </a:cubicBezTo>
                <a:cubicBezTo>
                  <a:pt x="4180509" y="4574274"/>
                  <a:pt x="4183571" y="4576404"/>
                  <a:pt x="4186100" y="4579067"/>
                </a:cubicBezTo>
                <a:cubicBezTo>
                  <a:pt x="4188629" y="4581596"/>
                  <a:pt x="4190759" y="4584791"/>
                  <a:pt x="4192223" y="4588385"/>
                </a:cubicBezTo>
                <a:cubicBezTo>
                  <a:pt x="4193688" y="4591979"/>
                  <a:pt x="4194486" y="4595839"/>
                  <a:pt x="4194486" y="4599833"/>
                </a:cubicBezTo>
                <a:cubicBezTo>
                  <a:pt x="4194486" y="4603959"/>
                  <a:pt x="4193688" y="4607953"/>
                  <a:pt x="4192223" y="4611548"/>
                </a:cubicBezTo>
                <a:cubicBezTo>
                  <a:pt x="4190759" y="4615142"/>
                  <a:pt x="4188629" y="4618204"/>
                  <a:pt x="4186100" y="4620866"/>
                </a:cubicBezTo>
                <a:cubicBezTo>
                  <a:pt x="4183438" y="4623529"/>
                  <a:pt x="4180376" y="4625659"/>
                  <a:pt x="4176782" y="4627123"/>
                </a:cubicBezTo>
                <a:cubicBezTo>
                  <a:pt x="4173188" y="4628587"/>
                  <a:pt x="4169327" y="4629386"/>
                  <a:pt x="4165068" y="4629386"/>
                </a:cubicBezTo>
                <a:cubicBezTo>
                  <a:pt x="4156015" y="4629386"/>
                  <a:pt x="4148827" y="4626457"/>
                  <a:pt x="4143235" y="4620866"/>
                </a:cubicBezTo>
                <a:cubicBezTo>
                  <a:pt x="4137645" y="4615275"/>
                  <a:pt x="4134849" y="4608219"/>
                  <a:pt x="4134849" y="4599700"/>
                </a:cubicBezTo>
                <a:cubicBezTo>
                  <a:pt x="4134849" y="4591447"/>
                  <a:pt x="4137645" y="4584391"/>
                  <a:pt x="4143235" y="4578667"/>
                </a:cubicBezTo>
                <a:cubicBezTo>
                  <a:pt x="4148827" y="4572943"/>
                  <a:pt x="4156015" y="4570015"/>
                  <a:pt x="4165068" y="4570015"/>
                </a:cubicBezTo>
                <a:close/>
                <a:moveTo>
                  <a:pt x="3947674" y="4570015"/>
                </a:moveTo>
                <a:cubicBezTo>
                  <a:pt x="3951937" y="4570015"/>
                  <a:pt x="3955796" y="4570814"/>
                  <a:pt x="3959392" y="4572677"/>
                </a:cubicBezTo>
                <a:cubicBezTo>
                  <a:pt x="3963120" y="4574274"/>
                  <a:pt x="3966181" y="4576404"/>
                  <a:pt x="3968710" y="4579067"/>
                </a:cubicBezTo>
                <a:cubicBezTo>
                  <a:pt x="3971240" y="4581596"/>
                  <a:pt x="3973370" y="4584791"/>
                  <a:pt x="3974834" y="4588385"/>
                </a:cubicBezTo>
                <a:cubicBezTo>
                  <a:pt x="3976298" y="4591979"/>
                  <a:pt x="3977097" y="4595839"/>
                  <a:pt x="3977097" y="4599833"/>
                </a:cubicBezTo>
                <a:cubicBezTo>
                  <a:pt x="3977097" y="4603959"/>
                  <a:pt x="3976298" y="4607953"/>
                  <a:pt x="3974834" y="4611548"/>
                </a:cubicBezTo>
                <a:cubicBezTo>
                  <a:pt x="3973370" y="4615142"/>
                  <a:pt x="3971240" y="4618204"/>
                  <a:pt x="3968710" y="4620866"/>
                </a:cubicBezTo>
                <a:cubicBezTo>
                  <a:pt x="3966048" y="4623529"/>
                  <a:pt x="3962987" y="4625659"/>
                  <a:pt x="3959392" y="4627123"/>
                </a:cubicBezTo>
                <a:cubicBezTo>
                  <a:pt x="3955796" y="4628587"/>
                  <a:pt x="3951937" y="4629386"/>
                  <a:pt x="3947674" y="4629386"/>
                </a:cubicBezTo>
                <a:cubicBezTo>
                  <a:pt x="3938622" y="4629386"/>
                  <a:pt x="3931434" y="4626457"/>
                  <a:pt x="3925842" y="4620866"/>
                </a:cubicBezTo>
                <a:cubicBezTo>
                  <a:pt x="3920251" y="4615275"/>
                  <a:pt x="3917456" y="4608219"/>
                  <a:pt x="3917456" y="4599700"/>
                </a:cubicBezTo>
                <a:cubicBezTo>
                  <a:pt x="3917456" y="4591447"/>
                  <a:pt x="3920251" y="4584391"/>
                  <a:pt x="3925842" y="4578667"/>
                </a:cubicBezTo>
                <a:cubicBezTo>
                  <a:pt x="3931434" y="4572943"/>
                  <a:pt x="3938622" y="4570015"/>
                  <a:pt x="3947674" y="4570015"/>
                </a:cubicBezTo>
                <a:close/>
                <a:moveTo>
                  <a:pt x="3730018" y="4570015"/>
                </a:moveTo>
                <a:cubicBezTo>
                  <a:pt x="3734279" y="4570015"/>
                  <a:pt x="3738271" y="4570814"/>
                  <a:pt x="3741733" y="4572677"/>
                </a:cubicBezTo>
                <a:cubicBezTo>
                  <a:pt x="3745328" y="4574274"/>
                  <a:pt x="3748523" y="4576404"/>
                  <a:pt x="3751052" y="4579067"/>
                </a:cubicBezTo>
                <a:cubicBezTo>
                  <a:pt x="3753581" y="4581596"/>
                  <a:pt x="3755711" y="4584791"/>
                  <a:pt x="3757175" y="4588385"/>
                </a:cubicBezTo>
                <a:cubicBezTo>
                  <a:pt x="3758639" y="4591979"/>
                  <a:pt x="3759438" y="4595839"/>
                  <a:pt x="3759438" y="4599833"/>
                </a:cubicBezTo>
                <a:cubicBezTo>
                  <a:pt x="3759438" y="4603959"/>
                  <a:pt x="3758639" y="4607953"/>
                  <a:pt x="3757175" y="4611548"/>
                </a:cubicBezTo>
                <a:cubicBezTo>
                  <a:pt x="3755711" y="4615142"/>
                  <a:pt x="3753581" y="4618204"/>
                  <a:pt x="3751052" y="4620866"/>
                </a:cubicBezTo>
                <a:cubicBezTo>
                  <a:pt x="3748389" y="4623529"/>
                  <a:pt x="3745328" y="4625659"/>
                  <a:pt x="3741733" y="4627123"/>
                </a:cubicBezTo>
                <a:cubicBezTo>
                  <a:pt x="3738140" y="4628587"/>
                  <a:pt x="3734279" y="4629386"/>
                  <a:pt x="3730018" y="4629386"/>
                </a:cubicBezTo>
                <a:cubicBezTo>
                  <a:pt x="3720966" y="4629386"/>
                  <a:pt x="3713776" y="4626457"/>
                  <a:pt x="3708180" y="4620866"/>
                </a:cubicBezTo>
                <a:cubicBezTo>
                  <a:pt x="3702587" y="4615275"/>
                  <a:pt x="3699793" y="4608219"/>
                  <a:pt x="3699793" y="4599700"/>
                </a:cubicBezTo>
                <a:cubicBezTo>
                  <a:pt x="3699793" y="4591447"/>
                  <a:pt x="3702587" y="4584391"/>
                  <a:pt x="3708180" y="4578667"/>
                </a:cubicBezTo>
                <a:cubicBezTo>
                  <a:pt x="3713776" y="4572943"/>
                  <a:pt x="3720966" y="4570015"/>
                  <a:pt x="3730018" y="4570015"/>
                </a:cubicBezTo>
                <a:close/>
                <a:moveTo>
                  <a:pt x="3512359" y="4570015"/>
                </a:moveTo>
                <a:cubicBezTo>
                  <a:pt x="3516620" y="4570015"/>
                  <a:pt x="3520613" y="4570814"/>
                  <a:pt x="3524075" y="4572677"/>
                </a:cubicBezTo>
                <a:cubicBezTo>
                  <a:pt x="3527669" y="4574274"/>
                  <a:pt x="3530864" y="4576404"/>
                  <a:pt x="3533393" y="4579067"/>
                </a:cubicBezTo>
                <a:cubicBezTo>
                  <a:pt x="3535923" y="4581596"/>
                  <a:pt x="3538053" y="4584791"/>
                  <a:pt x="3539517" y="4588385"/>
                </a:cubicBezTo>
                <a:cubicBezTo>
                  <a:pt x="3540981" y="4591979"/>
                  <a:pt x="3541780" y="4595839"/>
                  <a:pt x="3541780" y="4599833"/>
                </a:cubicBezTo>
                <a:cubicBezTo>
                  <a:pt x="3541780" y="4603959"/>
                  <a:pt x="3540981" y="4607953"/>
                  <a:pt x="3539517" y="4611548"/>
                </a:cubicBezTo>
                <a:cubicBezTo>
                  <a:pt x="3538053" y="4615142"/>
                  <a:pt x="3535923" y="4618204"/>
                  <a:pt x="3533393" y="4620866"/>
                </a:cubicBezTo>
                <a:cubicBezTo>
                  <a:pt x="3530730" y="4623529"/>
                  <a:pt x="3527669" y="4625659"/>
                  <a:pt x="3524075" y="4627123"/>
                </a:cubicBezTo>
                <a:cubicBezTo>
                  <a:pt x="3520481" y="4628587"/>
                  <a:pt x="3516620" y="4629386"/>
                  <a:pt x="3512359" y="4629386"/>
                </a:cubicBezTo>
                <a:cubicBezTo>
                  <a:pt x="3503305" y="4629386"/>
                  <a:pt x="3496115" y="4626457"/>
                  <a:pt x="3490524" y="4620866"/>
                </a:cubicBezTo>
                <a:cubicBezTo>
                  <a:pt x="3484933" y="4615275"/>
                  <a:pt x="3482137" y="4608219"/>
                  <a:pt x="3482137" y="4599700"/>
                </a:cubicBezTo>
                <a:cubicBezTo>
                  <a:pt x="3482137" y="4591447"/>
                  <a:pt x="3484933" y="4584391"/>
                  <a:pt x="3490524" y="4578667"/>
                </a:cubicBezTo>
                <a:cubicBezTo>
                  <a:pt x="3496115" y="4572943"/>
                  <a:pt x="3503305" y="4570015"/>
                  <a:pt x="3512359" y="4570015"/>
                </a:cubicBezTo>
                <a:close/>
                <a:moveTo>
                  <a:pt x="3294835" y="4570015"/>
                </a:moveTo>
                <a:cubicBezTo>
                  <a:pt x="3298962" y="4570015"/>
                  <a:pt x="3302956" y="4570814"/>
                  <a:pt x="3306550" y="4572677"/>
                </a:cubicBezTo>
                <a:cubicBezTo>
                  <a:pt x="3310277" y="4574274"/>
                  <a:pt x="3313339" y="4576404"/>
                  <a:pt x="3315868" y="4579067"/>
                </a:cubicBezTo>
                <a:cubicBezTo>
                  <a:pt x="3318397" y="4581596"/>
                  <a:pt x="3320528" y="4584791"/>
                  <a:pt x="3321992" y="4588385"/>
                </a:cubicBezTo>
                <a:cubicBezTo>
                  <a:pt x="3323456" y="4591979"/>
                  <a:pt x="3324255" y="4595839"/>
                  <a:pt x="3324255" y="4599833"/>
                </a:cubicBezTo>
                <a:cubicBezTo>
                  <a:pt x="3324255" y="4603959"/>
                  <a:pt x="3323456" y="4607953"/>
                  <a:pt x="3321992" y="4611548"/>
                </a:cubicBezTo>
                <a:cubicBezTo>
                  <a:pt x="3320528" y="4615142"/>
                  <a:pt x="3318397" y="4618204"/>
                  <a:pt x="3315868" y="4620866"/>
                </a:cubicBezTo>
                <a:cubicBezTo>
                  <a:pt x="3313205" y="4623529"/>
                  <a:pt x="3310144" y="4625659"/>
                  <a:pt x="3306550" y="4627123"/>
                </a:cubicBezTo>
                <a:cubicBezTo>
                  <a:pt x="3302956" y="4628587"/>
                  <a:pt x="3299095" y="4629386"/>
                  <a:pt x="3294835" y="4629386"/>
                </a:cubicBezTo>
                <a:cubicBezTo>
                  <a:pt x="3285781" y="4629386"/>
                  <a:pt x="3278591" y="4626457"/>
                  <a:pt x="3272997" y="4620866"/>
                </a:cubicBezTo>
                <a:cubicBezTo>
                  <a:pt x="3267405" y="4615275"/>
                  <a:pt x="3264610" y="4608219"/>
                  <a:pt x="3264610" y="4599700"/>
                </a:cubicBezTo>
                <a:cubicBezTo>
                  <a:pt x="3264610" y="4591447"/>
                  <a:pt x="3267405" y="4584391"/>
                  <a:pt x="3272997" y="4578667"/>
                </a:cubicBezTo>
                <a:cubicBezTo>
                  <a:pt x="3278591" y="4572943"/>
                  <a:pt x="3285781" y="4570015"/>
                  <a:pt x="3294835" y="4570015"/>
                </a:cubicBezTo>
                <a:close/>
                <a:moveTo>
                  <a:pt x="3077176" y="4570015"/>
                </a:moveTo>
                <a:cubicBezTo>
                  <a:pt x="3081304" y="4570015"/>
                  <a:pt x="3085298" y="4570814"/>
                  <a:pt x="3088892" y="4572677"/>
                </a:cubicBezTo>
                <a:cubicBezTo>
                  <a:pt x="3092486" y="4574274"/>
                  <a:pt x="3095681" y="4576404"/>
                  <a:pt x="3098210" y="4579067"/>
                </a:cubicBezTo>
                <a:cubicBezTo>
                  <a:pt x="3100739" y="4581596"/>
                  <a:pt x="3102869" y="4584791"/>
                  <a:pt x="3104333" y="4588385"/>
                </a:cubicBezTo>
                <a:cubicBezTo>
                  <a:pt x="3105798" y="4591979"/>
                  <a:pt x="3106596" y="4595839"/>
                  <a:pt x="3106596" y="4599833"/>
                </a:cubicBezTo>
                <a:cubicBezTo>
                  <a:pt x="3106596" y="4603959"/>
                  <a:pt x="3105798" y="4607953"/>
                  <a:pt x="3104333" y="4611548"/>
                </a:cubicBezTo>
                <a:cubicBezTo>
                  <a:pt x="3102869" y="4615142"/>
                  <a:pt x="3100739" y="4618204"/>
                  <a:pt x="3098210" y="4620866"/>
                </a:cubicBezTo>
                <a:cubicBezTo>
                  <a:pt x="3095547" y="4623529"/>
                  <a:pt x="3092486" y="4625659"/>
                  <a:pt x="3088892" y="4627123"/>
                </a:cubicBezTo>
                <a:cubicBezTo>
                  <a:pt x="3085298" y="4628587"/>
                  <a:pt x="3081437" y="4629386"/>
                  <a:pt x="3077176" y="4629386"/>
                </a:cubicBezTo>
                <a:cubicBezTo>
                  <a:pt x="3068256" y="4629386"/>
                  <a:pt x="3060934" y="4626457"/>
                  <a:pt x="3055339" y="4620866"/>
                </a:cubicBezTo>
                <a:cubicBezTo>
                  <a:pt x="3049748" y="4615275"/>
                  <a:pt x="3046953" y="4608219"/>
                  <a:pt x="3046953" y="4599700"/>
                </a:cubicBezTo>
                <a:cubicBezTo>
                  <a:pt x="3046953" y="4591447"/>
                  <a:pt x="3049748" y="4584391"/>
                  <a:pt x="3055339" y="4578667"/>
                </a:cubicBezTo>
                <a:cubicBezTo>
                  <a:pt x="3060934" y="4572943"/>
                  <a:pt x="3068123" y="4570015"/>
                  <a:pt x="3077176" y="4570015"/>
                </a:cubicBezTo>
                <a:close/>
                <a:moveTo>
                  <a:pt x="2859518" y="4570015"/>
                </a:moveTo>
                <a:cubicBezTo>
                  <a:pt x="2863779" y="4570015"/>
                  <a:pt x="2867640" y="4570814"/>
                  <a:pt x="2871367" y="4572677"/>
                </a:cubicBezTo>
                <a:cubicBezTo>
                  <a:pt x="2875094" y="4574274"/>
                  <a:pt x="2878156" y="4576404"/>
                  <a:pt x="2880685" y="4579067"/>
                </a:cubicBezTo>
                <a:cubicBezTo>
                  <a:pt x="2883347" y="4581596"/>
                  <a:pt x="2885344" y="4584791"/>
                  <a:pt x="2886808" y="4588385"/>
                </a:cubicBezTo>
                <a:cubicBezTo>
                  <a:pt x="2888273" y="4591979"/>
                  <a:pt x="2889071" y="4595839"/>
                  <a:pt x="2889071" y="4599833"/>
                </a:cubicBezTo>
                <a:cubicBezTo>
                  <a:pt x="2889071" y="4603959"/>
                  <a:pt x="2888273" y="4607953"/>
                  <a:pt x="2886808" y="4611548"/>
                </a:cubicBezTo>
                <a:cubicBezTo>
                  <a:pt x="2885344" y="4615142"/>
                  <a:pt x="2883214" y="4618204"/>
                  <a:pt x="2880685" y="4620866"/>
                </a:cubicBezTo>
                <a:cubicBezTo>
                  <a:pt x="2878023" y="4623529"/>
                  <a:pt x="2874960" y="4625659"/>
                  <a:pt x="2871367" y="4627123"/>
                </a:cubicBezTo>
                <a:cubicBezTo>
                  <a:pt x="2867640" y="4628587"/>
                  <a:pt x="2863779" y="4629386"/>
                  <a:pt x="2859518" y="4629386"/>
                </a:cubicBezTo>
                <a:cubicBezTo>
                  <a:pt x="2850601" y="4629386"/>
                  <a:pt x="2843273" y="4626457"/>
                  <a:pt x="2837682" y="4620866"/>
                </a:cubicBezTo>
                <a:cubicBezTo>
                  <a:pt x="2832091" y="4615275"/>
                  <a:pt x="2829294" y="4608219"/>
                  <a:pt x="2829294" y="4599700"/>
                </a:cubicBezTo>
                <a:cubicBezTo>
                  <a:pt x="2829294" y="4591447"/>
                  <a:pt x="2832091" y="4584391"/>
                  <a:pt x="2837682" y="4578667"/>
                </a:cubicBezTo>
                <a:cubicBezTo>
                  <a:pt x="2843273" y="4572943"/>
                  <a:pt x="2850467" y="4570015"/>
                  <a:pt x="2859518" y="4570015"/>
                </a:cubicBezTo>
                <a:close/>
                <a:moveTo>
                  <a:pt x="2641860" y="4570015"/>
                </a:moveTo>
                <a:cubicBezTo>
                  <a:pt x="2646120" y="4570015"/>
                  <a:pt x="2649980" y="4570814"/>
                  <a:pt x="2653576" y="4572677"/>
                </a:cubicBezTo>
                <a:cubicBezTo>
                  <a:pt x="2657302" y="4574274"/>
                  <a:pt x="2660364" y="4576404"/>
                  <a:pt x="2662893" y="4579067"/>
                </a:cubicBezTo>
                <a:cubicBezTo>
                  <a:pt x="2665555" y="4581596"/>
                  <a:pt x="2667553" y="4584791"/>
                  <a:pt x="2669017" y="4588385"/>
                </a:cubicBezTo>
                <a:cubicBezTo>
                  <a:pt x="2670481" y="4591979"/>
                  <a:pt x="2671280" y="4595839"/>
                  <a:pt x="2671280" y="4599833"/>
                </a:cubicBezTo>
                <a:cubicBezTo>
                  <a:pt x="2671280" y="4603959"/>
                  <a:pt x="2670481" y="4607953"/>
                  <a:pt x="2669017" y="4611548"/>
                </a:cubicBezTo>
                <a:cubicBezTo>
                  <a:pt x="2667553" y="4615142"/>
                  <a:pt x="2665423" y="4618204"/>
                  <a:pt x="2662893" y="4620866"/>
                </a:cubicBezTo>
                <a:cubicBezTo>
                  <a:pt x="2660364" y="4623529"/>
                  <a:pt x="2657169" y="4625659"/>
                  <a:pt x="2653576" y="4627123"/>
                </a:cubicBezTo>
                <a:cubicBezTo>
                  <a:pt x="2649980" y="4628587"/>
                  <a:pt x="2646120" y="4629386"/>
                  <a:pt x="2641860" y="4629386"/>
                </a:cubicBezTo>
                <a:cubicBezTo>
                  <a:pt x="2632941" y="4629386"/>
                  <a:pt x="2625618" y="4626457"/>
                  <a:pt x="2620027" y="4620866"/>
                </a:cubicBezTo>
                <a:cubicBezTo>
                  <a:pt x="2614435" y="4615275"/>
                  <a:pt x="2611637" y="4608219"/>
                  <a:pt x="2611637" y="4599700"/>
                </a:cubicBezTo>
                <a:cubicBezTo>
                  <a:pt x="2611637" y="4591447"/>
                  <a:pt x="2614435" y="4584391"/>
                  <a:pt x="2620027" y="4578667"/>
                </a:cubicBezTo>
                <a:cubicBezTo>
                  <a:pt x="2625618" y="4572943"/>
                  <a:pt x="2632808" y="4570015"/>
                  <a:pt x="2641860" y="4570015"/>
                </a:cubicBezTo>
                <a:close/>
                <a:moveTo>
                  <a:pt x="2424201" y="4570015"/>
                </a:moveTo>
                <a:cubicBezTo>
                  <a:pt x="2428462" y="4570015"/>
                  <a:pt x="2432456" y="4570814"/>
                  <a:pt x="2435917" y="4572677"/>
                </a:cubicBezTo>
                <a:cubicBezTo>
                  <a:pt x="2439644" y="4574274"/>
                  <a:pt x="2442706" y="4576404"/>
                  <a:pt x="2445235" y="4579067"/>
                </a:cubicBezTo>
                <a:cubicBezTo>
                  <a:pt x="2447897" y="4581596"/>
                  <a:pt x="2449894" y="4584791"/>
                  <a:pt x="2451358" y="4588385"/>
                </a:cubicBezTo>
                <a:cubicBezTo>
                  <a:pt x="2452822" y="4591979"/>
                  <a:pt x="2453621" y="4595839"/>
                  <a:pt x="2453621" y="4599833"/>
                </a:cubicBezTo>
                <a:cubicBezTo>
                  <a:pt x="2453621" y="4603959"/>
                  <a:pt x="2452822" y="4607953"/>
                  <a:pt x="2451358" y="4611548"/>
                </a:cubicBezTo>
                <a:cubicBezTo>
                  <a:pt x="2449894" y="4615142"/>
                  <a:pt x="2447764" y="4618204"/>
                  <a:pt x="2445235" y="4620866"/>
                </a:cubicBezTo>
                <a:cubicBezTo>
                  <a:pt x="2442706" y="4623529"/>
                  <a:pt x="2439511" y="4625659"/>
                  <a:pt x="2435917" y="4627123"/>
                </a:cubicBezTo>
                <a:cubicBezTo>
                  <a:pt x="2432323" y="4628587"/>
                  <a:pt x="2428462" y="4629386"/>
                  <a:pt x="2424201" y="4629386"/>
                </a:cubicBezTo>
                <a:cubicBezTo>
                  <a:pt x="2415284" y="4629386"/>
                  <a:pt x="2407961" y="4626457"/>
                  <a:pt x="2402370" y="4620866"/>
                </a:cubicBezTo>
                <a:cubicBezTo>
                  <a:pt x="2396777" y="4615275"/>
                  <a:pt x="2393981" y="4608219"/>
                  <a:pt x="2393981" y="4599700"/>
                </a:cubicBezTo>
                <a:cubicBezTo>
                  <a:pt x="2393981" y="4591447"/>
                  <a:pt x="2396777" y="4584391"/>
                  <a:pt x="2402370" y="4578667"/>
                </a:cubicBezTo>
                <a:cubicBezTo>
                  <a:pt x="2407961" y="4572943"/>
                  <a:pt x="2415150" y="4570015"/>
                  <a:pt x="2424201" y="4570015"/>
                </a:cubicBezTo>
                <a:close/>
                <a:moveTo>
                  <a:pt x="2206544" y="4570015"/>
                </a:moveTo>
                <a:cubicBezTo>
                  <a:pt x="2210803" y="4570015"/>
                  <a:pt x="2214798" y="4570814"/>
                  <a:pt x="2218259" y="4572677"/>
                </a:cubicBezTo>
                <a:cubicBezTo>
                  <a:pt x="2221985" y="4574274"/>
                  <a:pt x="2225047" y="4576404"/>
                  <a:pt x="2227577" y="4579067"/>
                </a:cubicBezTo>
                <a:cubicBezTo>
                  <a:pt x="2230239" y="4581596"/>
                  <a:pt x="2232236" y="4584791"/>
                  <a:pt x="2233700" y="4588385"/>
                </a:cubicBezTo>
                <a:cubicBezTo>
                  <a:pt x="2235164" y="4591979"/>
                  <a:pt x="2235963" y="4595839"/>
                  <a:pt x="2235963" y="4599833"/>
                </a:cubicBezTo>
                <a:cubicBezTo>
                  <a:pt x="2235963" y="4603959"/>
                  <a:pt x="2235164" y="4607953"/>
                  <a:pt x="2233700" y="4611548"/>
                </a:cubicBezTo>
                <a:cubicBezTo>
                  <a:pt x="2232236" y="4615142"/>
                  <a:pt x="2230106" y="4618204"/>
                  <a:pt x="2227577" y="4620866"/>
                </a:cubicBezTo>
                <a:cubicBezTo>
                  <a:pt x="2225047" y="4623529"/>
                  <a:pt x="2221853" y="4625659"/>
                  <a:pt x="2218259" y="4627123"/>
                </a:cubicBezTo>
                <a:cubicBezTo>
                  <a:pt x="2214664" y="4628587"/>
                  <a:pt x="2210803" y="4629386"/>
                  <a:pt x="2206544" y="4629386"/>
                </a:cubicBezTo>
                <a:cubicBezTo>
                  <a:pt x="2197491" y="4629386"/>
                  <a:pt x="2190303" y="4626457"/>
                  <a:pt x="2184710" y="4620866"/>
                </a:cubicBezTo>
                <a:cubicBezTo>
                  <a:pt x="2179119" y="4615275"/>
                  <a:pt x="2176323" y="4608219"/>
                  <a:pt x="2176323" y="4599700"/>
                </a:cubicBezTo>
                <a:cubicBezTo>
                  <a:pt x="2176323" y="4591447"/>
                  <a:pt x="2179119" y="4584391"/>
                  <a:pt x="2184710" y="4578667"/>
                </a:cubicBezTo>
                <a:cubicBezTo>
                  <a:pt x="2190303" y="4572943"/>
                  <a:pt x="2197491" y="4570015"/>
                  <a:pt x="2206544" y="4570015"/>
                </a:cubicBezTo>
                <a:close/>
                <a:moveTo>
                  <a:pt x="1989018" y="4570015"/>
                </a:moveTo>
                <a:cubicBezTo>
                  <a:pt x="1993145" y="4570015"/>
                  <a:pt x="1997139" y="4570814"/>
                  <a:pt x="2000733" y="4572677"/>
                </a:cubicBezTo>
                <a:cubicBezTo>
                  <a:pt x="2004460" y="4574274"/>
                  <a:pt x="2007522" y="4576404"/>
                  <a:pt x="2010051" y="4579067"/>
                </a:cubicBezTo>
                <a:cubicBezTo>
                  <a:pt x="2012713" y="4581596"/>
                  <a:pt x="2014711" y="4584791"/>
                  <a:pt x="2016175" y="4588385"/>
                </a:cubicBezTo>
                <a:cubicBezTo>
                  <a:pt x="2017639" y="4591979"/>
                  <a:pt x="2018438" y="4595839"/>
                  <a:pt x="2018438" y="4599833"/>
                </a:cubicBezTo>
                <a:cubicBezTo>
                  <a:pt x="2018438" y="4603959"/>
                  <a:pt x="2017639" y="4607953"/>
                  <a:pt x="2016175" y="4611548"/>
                </a:cubicBezTo>
                <a:cubicBezTo>
                  <a:pt x="2014711" y="4615142"/>
                  <a:pt x="2012580" y="4618204"/>
                  <a:pt x="2010051" y="4620866"/>
                </a:cubicBezTo>
                <a:cubicBezTo>
                  <a:pt x="2007522" y="4623529"/>
                  <a:pt x="2004327" y="4625659"/>
                  <a:pt x="2000733" y="4627123"/>
                </a:cubicBezTo>
                <a:cubicBezTo>
                  <a:pt x="1997139" y="4628587"/>
                  <a:pt x="1993278" y="4629386"/>
                  <a:pt x="1989018" y="4629386"/>
                </a:cubicBezTo>
                <a:cubicBezTo>
                  <a:pt x="1979967" y="4629386"/>
                  <a:pt x="1972778" y="4626457"/>
                  <a:pt x="1967187" y="4620866"/>
                </a:cubicBezTo>
                <a:cubicBezTo>
                  <a:pt x="1961596" y="4615275"/>
                  <a:pt x="1958801" y="4608219"/>
                  <a:pt x="1958801" y="4599700"/>
                </a:cubicBezTo>
                <a:cubicBezTo>
                  <a:pt x="1958801" y="4591447"/>
                  <a:pt x="1961596" y="4584391"/>
                  <a:pt x="1967187" y="4578667"/>
                </a:cubicBezTo>
                <a:cubicBezTo>
                  <a:pt x="1972778" y="4572943"/>
                  <a:pt x="1979967" y="4570015"/>
                  <a:pt x="1989018" y="4570015"/>
                </a:cubicBezTo>
                <a:close/>
                <a:moveTo>
                  <a:pt x="1771382" y="4570015"/>
                </a:moveTo>
                <a:cubicBezTo>
                  <a:pt x="1775642" y="4570015"/>
                  <a:pt x="1779501" y="4570814"/>
                  <a:pt x="1783096" y="4572677"/>
                </a:cubicBezTo>
                <a:cubicBezTo>
                  <a:pt x="1786824" y="4574274"/>
                  <a:pt x="1789885" y="4576404"/>
                  <a:pt x="1792414" y="4579067"/>
                </a:cubicBezTo>
                <a:cubicBezTo>
                  <a:pt x="1795077" y="4581596"/>
                  <a:pt x="1797074" y="4584791"/>
                  <a:pt x="1798538" y="4588385"/>
                </a:cubicBezTo>
                <a:cubicBezTo>
                  <a:pt x="1800001" y="4591979"/>
                  <a:pt x="1800800" y="4595839"/>
                  <a:pt x="1800800" y="4599833"/>
                </a:cubicBezTo>
                <a:cubicBezTo>
                  <a:pt x="1800800" y="4603959"/>
                  <a:pt x="1800001" y="4607953"/>
                  <a:pt x="1798538" y="4611548"/>
                </a:cubicBezTo>
                <a:cubicBezTo>
                  <a:pt x="1797074" y="4615142"/>
                  <a:pt x="1794944" y="4618204"/>
                  <a:pt x="1792414" y="4620866"/>
                </a:cubicBezTo>
                <a:cubicBezTo>
                  <a:pt x="1789752" y="4623529"/>
                  <a:pt x="1786691" y="4625659"/>
                  <a:pt x="1783096" y="4627123"/>
                </a:cubicBezTo>
                <a:cubicBezTo>
                  <a:pt x="1779501" y="4628587"/>
                  <a:pt x="1775642" y="4629386"/>
                  <a:pt x="1771382" y="4629386"/>
                </a:cubicBezTo>
                <a:cubicBezTo>
                  <a:pt x="1762463" y="4629386"/>
                  <a:pt x="1755143" y="4626457"/>
                  <a:pt x="1749553" y="4620866"/>
                </a:cubicBezTo>
                <a:cubicBezTo>
                  <a:pt x="1743962" y="4615275"/>
                  <a:pt x="1741169" y="4608219"/>
                  <a:pt x="1741169" y="4599700"/>
                </a:cubicBezTo>
                <a:cubicBezTo>
                  <a:pt x="1741169" y="4591447"/>
                  <a:pt x="1743962" y="4584391"/>
                  <a:pt x="1749553" y="4578667"/>
                </a:cubicBezTo>
                <a:cubicBezTo>
                  <a:pt x="1755143" y="4572943"/>
                  <a:pt x="1762330" y="4570015"/>
                  <a:pt x="1771382" y="4570015"/>
                </a:cubicBezTo>
                <a:close/>
                <a:moveTo>
                  <a:pt x="1553744" y="4570015"/>
                </a:moveTo>
                <a:cubicBezTo>
                  <a:pt x="1558004" y="4570015"/>
                  <a:pt x="1561865" y="4570814"/>
                  <a:pt x="1565459" y="4572677"/>
                </a:cubicBezTo>
                <a:cubicBezTo>
                  <a:pt x="1569053" y="4574274"/>
                  <a:pt x="1572248" y="4576404"/>
                  <a:pt x="1574777" y="4579067"/>
                </a:cubicBezTo>
                <a:cubicBezTo>
                  <a:pt x="1577439" y="4581596"/>
                  <a:pt x="1579436" y="4584791"/>
                  <a:pt x="1580900" y="4588385"/>
                </a:cubicBezTo>
                <a:cubicBezTo>
                  <a:pt x="1582364" y="4591979"/>
                  <a:pt x="1583163" y="4595839"/>
                  <a:pt x="1583163" y="4599833"/>
                </a:cubicBezTo>
                <a:cubicBezTo>
                  <a:pt x="1583163" y="4603959"/>
                  <a:pt x="1582364" y="4607953"/>
                  <a:pt x="1580900" y="4611548"/>
                </a:cubicBezTo>
                <a:cubicBezTo>
                  <a:pt x="1579436" y="4615142"/>
                  <a:pt x="1577306" y="4618204"/>
                  <a:pt x="1574777" y="4620866"/>
                </a:cubicBezTo>
                <a:cubicBezTo>
                  <a:pt x="1572115" y="4623529"/>
                  <a:pt x="1569053" y="4625659"/>
                  <a:pt x="1565459" y="4627123"/>
                </a:cubicBezTo>
                <a:cubicBezTo>
                  <a:pt x="1561865" y="4628587"/>
                  <a:pt x="1558004" y="4629386"/>
                  <a:pt x="1553744" y="4629386"/>
                </a:cubicBezTo>
                <a:cubicBezTo>
                  <a:pt x="1544826" y="4629386"/>
                  <a:pt x="1537504" y="4626457"/>
                  <a:pt x="1531914" y="4620866"/>
                </a:cubicBezTo>
                <a:cubicBezTo>
                  <a:pt x="1526325" y="4615275"/>
                  <a:pt x="1523528" y="4608219"/>
                  <a:pt x="1523528" y="4599700"/>
                </a:cubicBezTo>
                <a:cubicBezTo>
                  <a:pt x="1523528" y="4591447"/>
                  <a:pt x="1526325" y="4584391"/>
                  <a:pt x="1531914" y="4578667"/>
                </a:cubicBezTo>
                <a:cubicBezTo>
                  <a:pt x="1537504" y="4572943"/>
                  <a:pt x="1544691" y="4570015"/>
                  <a:pt x="1553744" y="4570015"/>
                </a:cubicBezTo>
                <a:close/>
                <a:moveTo>
                  <a:pt x="1336100" y="4570015"/>
                </a:moveTo>
                <a:cubicBezTo>
                  <a:pt x="1340360" y="4570015"/>
                  <a:pt x="1344355" y="4570814"/>
                  <a:pt x="1347816" y="4572677"/>
                </a:cubicBezTo>
                <a:cubicBezTo>
                  <a:pt x="1351409" y="4574274"/>
                  <a:pt x="1354604" y="4576404"/>
                  <a:pt x="1357134" y="4579067"/>
                </a:cubicBezTo>
                <a:cubicBezTo>
                  <a:pt x="1359796" y="4581596"/>
                  <a:pt x="1361793" y="4584791"/>
                  <a:pt x="1363257" y="4588385"/>
                </a:cubicBezTo>
                <a:cubicBezTo>
                  <a:pt x="1364721" y="4591979"/>
                  <a:pt x="1365519" y="4595839"/>
                  <a:pt x="1365519" y="4599833"/>
                </a:cubicBezTo>
                <a:cubicBezTo>
                  <a:pt x="1365519" y="4603959"/>
                  <a:pt x="1364721" y="4607953"/>
                  <a:pt x="1363257" y="4611548"/>
                </a:cubicBezTo>
                <a:cubicBezTo>
                  <a:pt x="1361793" y="4615142"/>
                  <a:pt x="1359663" y="4618204"/>
                  <a:pt x="1357134" y="4620866"/>
                </a:cubicBezTo>
                <a:cubicBezTo>
                  <a:pt x="1354470" y="4623529"/>
                  <a:pt x="1351409" y="4625659"/>
                  <a:pt x="1347816" y="4627123"/>
                </a:cubicBezTo>
                <a:cubicBezTo>
                  <a:pt x="1344221" y="4628587"/>
                  <a:pt x="1340360" y="4629386"/>
                  <a:pt x="1336100" y="4629386"/>
                </a:cubicBezTo>
                <a:cubicBezTo>
                  <a:pt x="1327180" y="4629386"/>
                  <a:pt x="1319859" y="4626457"/>
                  <a:pt x="1314268" y="4620866"/>
                </a:cubicBezTo>
                <a:cubicBezTo>
                  <a:pt x="1308677" y="4615275"/>
                  <a:pt x="1305882" y="4608219"/>
                  <a:pt x="1305882" y="4599700"/>
                </a:cubicBezTo>
                <a:cubicBezTo>
                  <a:pt x="1305882" y="4591447"/>
                  <a:pt x="1308677" y="4584391"/>
                  <a:pt x="1314268" y="4578667"/>
                </a:cubicBezTo>
                <a:cubicBezTo>
                  <a:pt x="1319859" y="4572943"/>
                  <a:pt x="1327047" y="4570015"/>
                  <a:pt x="1336100" y="4570015"/>
                </a:cubicBezTo>
                <a:close/>
                <a:moveTo>
                  <a:pt x="1118455" y="4570015"/>
                </a:moveTo>
                <a:cubicBezTo>
                  <a:pt x="1122716" y="4570015"/>
                  <a:pt x="1126712" y="4570814"/>
                  <a:pt x="1130172" y="4572677"/>
                </a:cubicBezTo>
                <a:cubicBezTo>
                  <a:pt x="1133899" y="4574274"/>
                  <a:pt x="1136961" y="4576404"/>
                  <a:pt x="1139488" y="4579067"/>
                </a:cubicBezTo>
                <a:cubicBezTo>
                  <a:pt x="1142149" y="4581596"/>
                  <a:pt x="1144145" y="4584791"/>
                  <a:pt x="1145608" y="4588385"/>
                </a:cubicBezTo>
                <a:cubicBezTo>
                  <a:pt x="1147073" y="4591979"/>
                  <a:pt x="1147872" y="4595839"/>
                  <a:pt x="1147872" y="4599833"/>
                </a:cubicBezTo>
                <a:cubicBezTo>
                  <a:pt x="1147872" y="4603959"/>
                  <a:pt x="1147073" y="4607953"/>
                  <a:pt x="1145608" y="4611548"/>
                </a:cubicBezTo>
                <a:cubicBezTo>
                  <a:pt x="1144145" y="4615142"/>
                  <a:pt x="1142016" y="4618204"/>
                  <a:pt x="1139488" y="4620866"/>
                </a:cubicBezTo>
                <a:cubicBezTo>
                  <a:pt x="1136961" y="4623529"/>
                  <a:pt x="1133766" y="4625659"/>
                  <a:pt x="1130172" y="4627123"/>
                </a:cubicBezTo>
                <a:cubicBezTo>
                  <a:pt x="1126576" y="4628587"/>
                  <a:pt x="1122716" y="4629386"/>
                  <a:pt x="1118455" y="4629386"/>
                </a:cubicBezTo>
                <a:cubicBezTo>
                  <a:pt x="1109535" y="4629386"/>
                  <a:pt x="1102211" y="4626457"/>
                  <a:pt x="1096620" y="4620866"/>
                </a:cubicBezTo>
                <a:cubicBezTo>
                  <a:pt x="1091031" y="4615275"/>
                  <a:pt x="1088236" y="4608219"/>
                  <a:pt x="1088236" y="4599700"/>
                </a:cubicBezTo>
                <a:cubicBezTo>
                  <a:pt x="1088236" y="4591447"/>
                  <a:pt x="1091031" y="4584391"/>
                  <a:pt x="1096620" y="4578667"/>
                </a:cubicBezTo>
                <a:cubicBezTo>
                  <a:pt x="1102211" y="4572943"/>
                  <a:pt x="1109401" y="4570015"/>
                  <a:pt x="1118455" y="4570015"/>
                </a:cubicBezTo>
                <a:close/>
                <a:moveTo>
                  <a:pt x="900942" y="4570015"/>
                </a:moveTo>
                <a:cubicBezTo>
                  <a:pt x="905069" y="4570015"/>
                  <a:pt x="909063" y="4570814"/>
                  <a:pt x="912657" y="4572677"/>
                </a:cubicBezTo>
                <a:cubicBezTo>
                  <a:pt x="916384" y="4574274"/>
                  <a:pt x="919446" y="4576404"/>
                  <a:pt x="921975" y="4579067"/>
                </a:cubicBezTo>
                <a:cubicBezTo>
                  <a:pt x="924637" y="4581596"/>
                  <a:pt x="926634" y="4584791"/>
                  <a:pt x="928098" y="4588385"/>
                </a:cubicBezTo>
                <a:cubicBezTo>
                  <a:pt x="929562" y="4591979"/>
                  <a:pt x="930361" y="4595839"/>
                  <a:pt x="930361" y="4599833"/>
                </a:cubicBezTo>
                <a:cubicBezTo>
                  <a:pt x="930361" y="4603959"/>
                  <a:pt x="929562" y="4607953"/>
                  <a:pt x="928098" y="4611548"/>
                </a:cubicBezTo>
                <a:cubicBezTo>
                  <a:pt x="926634" y="4615142"/>
                  <a:pt x="924504" y="4618204"/>
                  <a:pt x="921975" y="4620866"/>
                </a:cubicBezTo>
                <a:cubicBezTo>
                  <a:pt x="919446" y="4623529"/>
                  <a:pt x="916251" y="4625659"/>
                  <a:pt x="912657" y="4627123"/>
                </a:cubicBezTo>
                <a:cubicBezTo>
                  <a:pt x="909063" y="4628587"/>
                  <a:pt x="905202" y="4629386"/>
                  <a:pt x="900942" y="4629386"/>
                </a:cubicBezTo>
                <a:cubicBezTo>
                  <a:pt x="892024" y="4629386"/>
                  <a:pt x="884702" y="4626457"/>
                  <a:pt x="879111" y="4620866"/>
                </a:cubicBezTo>
                <a:cubicBezTo>
                  <a:pt x="873522" y="4615275"/>
                  <a:pt x="870726" y="4608219"/>
                  <a:pt x="870726" y="4599700"/>
                </a:cubicBezTo>
                <a:cubicBezTo>
                  <a:pt x="870726" y="4591447"/>
                  <a:pt x="873522" y="4584391"/>
                  <a:pt x="879111" y="4578667"/>
                </a:cubicBezTo>
                <a:cubicBezTo>
                  <a:pt x="884702" y="4572943"/>
                  <a:pt x="891891" y="4570015"/>
                  <a:pt x="900942" y="4570015"/>
                </a:cubicBezTo>
                <a:close/>
                <a:moveTo>
                  <a:pt x="683301" y="4570015"/>
                </a:moveTo>
                <a:cubicBezTo>
                  <a:pt x="687561" y="4570015"/>
                  <a:pt x="691422" y="4570814"/>
                  <a:pt x="695016" y="4572677"/>
                </a:cubicBezTo>
                <a:cubicBezTo>
                  <a:pt x="698743" y="4574274"/>
                  <a:pt x="701805" y="4576404"/>
                  <a:pt x="704333" y="4579067"/>
                </a:cubicBezTo>
                <a:cubicBezTo>
                  <a:pt x="706996" y="4581596"/>
                  <a:pt x="708993" y="4584791"/>
                  <a:pt x="710457" y="4588385"/>
                </a:cubicBezTo>
                <a:cubicBezTo>
                  <a:pt x="711921" y="4591979"/>
                  <a:pt x="712720" y="4595839"/>
                  <a:pt x="712720" y="4599833"/>
                </a:cubicBezTo>
                <a:cubicBezTo>
                  <a:pt x="712720" y="4603959"/>
                  <a:pt x="711921" y="4607953"/>
                  <a:pt x="710457" y="4611548"/>
                </a:cubicBezTo>
                <a:cubicBezTo>
                  <a:pt x="708993" y="4615142"/>
                  <a:pt x="706863" y="4618204"/>
                  <a:pt x="704333" y="4620866"/>
                </a:cubicBezTo>
                <a:cubicBezTo>
                  <a:pt x="701805" y="4623529"/>
                  <a:pt x="698610" y="4625659"/>
                  <a:pt x="695016" y="4627123"/>
                </a:cubicBezTo>
                <a:cubicBezTo>
                  <a:pt x="691422" y="4628587"/>
                  <a:pt x="687561" y="4629386"/>
                  <a:pt x="683301" y="4629386"/>
                </a:cubicBezTo>
                <a:cubicBezTo>
                  <a:pt x="674383" y="4629386"/>
                  <a:pt x="667061" y="4626457"/>
                  <a:pt x="661470" y="4620866"/>
                </a:cubicBezTo>
                <a:cubicBezTo>
                  <a:pt x="655879" y="4615275"/>
                  <a:pt x="653084" y="4608219"/>
                  <a:pt x="653084" y="4599700"/>
                </a:cubicBezTo>
                <a:cubicBezTo>
                  <a:pt x="653084" y="4591447"/>
                  <a:pt x="655879" y="4584391"/>
                  <a:pt x="661470" y="4578667"/>
                </a:cubicBezTo>
                <a:cubicBezTo>
                  <a:pt x="667061" y="4572943"/>
                  <a:pt x="674250" y="4570015"/>
                  <a:pt x="683301" y="4570015"/>
                </a:cubicBezTo>
                <a:close/>
                <a:moveTo>
                  <a:pt x="465659" y="4570015"/>
                </a:moveTo>
                <a:cubicBezTo>
                  <a:pt x="469919" y="4570015"/>
                  <a:pt x="473780" y="4570814"/>
                  <a:pt x="477375" y="4572677"/>
                </a:cubicBezTo>
                <a:cubicBezTo>
                  <a:pt x="481102" y="4574274"/>
                  <a:pt x="484163" y="4576404"/>
                  <a:pt x="486692" y="4579067"/>
                </a:cubicBezTo>
                <a:cubicBezTo>
                  <a:pt x="489354" y="4581596"/>
                  <a:pt x="491351" y="4584791"/>
                  <a:pt x="492815" y="4588385"/>
                </a:cubicBezTo>
                <a:cubicBezTo>
                  <a:pt x="494279" y="4591979"/>
                  <a:pt x="495078" y="4595839"/>
                  <a:pt x="495078" y="4599833"/>
                </a:cubicBezTo>
                <a:cubicBezTo>
                  <a:pt x="495078" y="4603959"/>
                  <a:pt x="494279" y="4607953"/>
                  <a:pt x="492815" y="4611548"/>
                </a:cubicBezTo>
                <a:cubicBezTo>
                  <a:pt x="491351" y="4615142"/>
                  <a:pt x="489221" y="4618204"/>
                  <a:pt x="486692" y="4620866"/>
                </a:cubicBezTo>
                <a:cubicBezTo>
                  <a:pt x="484029" y="4623529"/>
                  <a:pt x="480969" y="4625659"/>
                  <a:pt x="477375" y="4627123"/>
                </a:cubicBezTo>
                <a:cubicBezTo>
                  <a:pt x="473780" y="4628587"/>
                  <a:pt x="469919" y="4629386"/>
                  <a:pt x="465659" y="4629386"/>
                </a:cubicBezTo>
                <a:cubicBezTo>
                  <a:pt x="456741" y="4629386"/>
                  <a:pt x="449419" y="4626457"/>
                  <a:pt x="443828" y="4620866"/>
                </a:cubicBezTo>
                <a:cubicBezTo>
                  <a:pt x="438237" y="4615275"/>
                  <a:pt x="435442" y="4608219"/>
                  <a:pt x="435442" y="4599700"/>
                </a:cubicBezTo>
                <a:cubicBezTo>
                  <a:pt x="435442" y="4591447"/>
                  <a:pt x="438237" y="4584391"/>
                  <a:pt x="443828" y="4578667"/>
                </a:cubicBezTo>
                <a:cubicBezTo>
                  <a:pt x="449419" y="4572943"/>
                  <a:pt x="456608" y="4570015"/>
                  <a:pt x="465659" y="4570015"/>
                </a:cubicBezTo>
                <a:close/>
                <a:moveTo>
                  <a:pt x="248017" y="4570015"/>
                </a:moveTo>
                <a:cubicBezTo>
                  <a:pt x="252277" y="4570015"/>
                  <a:pt x="256271" y="4570814"/>
                  <a:pt x="259732" y="4572677"/>
                </a:cubicBezTo>
                <a:cubicBezTo>
                  <a:pt x="263459" y="4574274"/>
                  <a:pt x="266521" y="4576404"/>
                  <a:pt x="269050" y="4579067"/>
                </a:cubicBezTo>
                <a:cubicBezTo>
                  <a:pt x="271712" y="4581596"/>
                  <a:pt x="273709" y="4584791"/>
                  <a:pt x="275173" y="4588385"/>
                </a:cubicBezTo>
                <a:cubicBezTo>
                  <a:pt x="276637" y="4591979"/>
                  <a:pt x="277436" y="4595839"/>
                  <a:pt x="277436" y="4599833"/>
                </a:cubicBezTo>
                <a:cubicBezTo>
                  <a:pt x="277436" y="4603959"/>
                  <a:pt x="276637" y="4607953"/>
                  <a:pt x="275173" y="4611548"/>
                </a:cubicBezTo>
                <a:cubicBezTo>
                  <a:pt x="273709" y="4615142"/>
                  <a:pt x="271579" y="4618204"/>
                  <a:pt x="269050" y="4620866"/>
                </a:cubicBezTo>
                <a:cubicBezTo>
                  <a:pt x="266387" y="4623529"/>
                  <a:pt x="263326" y="4625659"/>
                  <a:pt x="259732" y="4627123"/>
                </a:cubicBezTo>
                <a:cubicBezTo>
                  <a:pt x="256136" y="4628587"/>
                  <a:pt x="252277" y="4629386"/>
                  <a:pt x="248017" y="4629386"/>
                </a:cubicBezTo>
                <a:cubicBezTo>
                  <a:pt x="239100" y="4629386"/>
                  <a:pt x="231778" y="4626457"/>
                  <a:pt x="226187" y="4620866"/>
                </a:cubicBezTo>
                <a:cubicBezTo>
                  <a:pt x="220597" y="4615275"/>
                  <a:pt x="217802" y="4608219"/>
                  <a:pt x="217802" y="4599700"/>
                </a:cubicBezTo>
                <a:cubicBezTo>
                  <a:pt x="217802" y="4591447"/>
                  <a:pt x="220597" y="4584391"/>
                  <a:pt x="226187" y="4578667"/>
                </a:cubicBezTo>
                <a:cubicBezTo>
                  <a:pt x="231778" y="4572943"/>
                  <a:pt x="238966" y="4570015"/>
                  <a:pt x="248017" y="4570015"/>
                </a:cubicBezTo>
                <a:close/>
                <a:moveTo>
                  <a:pt x="30375" y="4570015"/>
                </a:moveTo>
                <a:cubicBezTo>
                  <a:pt x="34635" y="4570015"/>
                  <a:pt x="38629" y="4570814"/>
                  <a:pt x="42090" y="4572677"/>
                </a:cubicBezTo>
                <a:cubicBezTo>
                  <a:pt x="45817" y="4574274"/>
                  <a:pt x="48879" y="4576404"/>
                  <a:pt x="51408" y="4579067"/>
                </a:cubicBezTo>
                <a:cubicBezTo>
                  <a:pt x="54070" y="4581596"/>
                  <a:pt x="56067" y="4584791"/>
                  <a:pt x="57531" y="4588385"/>
                </a:cubicBezTo>
                <a:cubicBezTo>
                  <a:pt x="58995" y="4591979"/>
                  <a:pt x="59794" y="4595839"/>
                  <a:pt x="59794" y="4599833"/>
                </a:cubicBezTo>
                <a:cubicBezTo>
                  <a:pt x="59794" y="4603959"/>
                  <a:pt x="58995" y="4607953"/>
                  <a:pt x="57531" y="4611548"/>
                </a:cubicBezTo>
                <a:cubicBezTo>
                  <a:pt x="56067" y="4615142"/>
                  <a:pt x="53937" y="4618204"/>
                  <a:pt x="51408" y="4620866"/>
                </a:cubicBezTo>
                <a:cubicBezTo>
                  <a:pt x="48745" y="4623529"/>
                  <a:pt x="45684" y="4625659"/>
                  <a:pt x="42090" y="4627123"/>
                </a:cubicBezTo>
                <a:cubicBezTo>
                  <a:pt x="38496" y="4628587"/>
                  <a:pt x="34635" y="4629386"/>
                  <a:pt x="30375" y="4629386"/>
                </a:cubicBezTo>
                <a:cubicBezTo>
                  <a:pt x="21457" y="4629386"/>
                  <a:pt x="14136" y="4626457"/>
                  <a:pt x="8547" y="4620866"/>
                </a:cubicBezTo>
                <a:cubicBezTo>
                  <a:pt x="2956" y="4615275"/>
                  <a:pt x="161" y="4608219"/>
                  <a:pt x="161" y="4599700"/>
                </a:cubicBezTo>
                <a:cubicBezTo>
                  <a:pt x="161" y="4591447"/>
                  <a:pt x="2956" y="4584391"/>
                  <a:pt x="8547" y="4578667"/>
                </a:cubicBezTo>
                <a:cubicBezTo>
                  <a:pt x="14136" y="4572943"/>
                  <a:pt x="21323" y="4570015"/>
                  <a:pt x="30375" y="4570015"/>
                </a:cubicBezTo>
                <a:close/>
                <a:moveTo>
                  <a:pt x="10475977" y="4369009"/>
                </a:moveTo>
                <a:cubicBezTo>
                  <a:pt x="10470119" y="4369009"/>
                  <a:pt x="10467589" y="4371005"/>
                  <a:pt x="10465992" y="4372603"/>
                </a:cubicBezTo>
                <a:cubicBezTo>
                  <a:pt x="10463463" y="4375265"/>
                  <a:pt x="10462399" y="4378060"/>
                  <a:pt x="10462399" y="4382054"/>
                </a:cubicBezTo>
                <a:cubicBezTo>
                  <a:pt x="10462399" y="4386180"/>
                  <a:pt x="10463463" y="4388976"/>
                  <a:pt x="10465992" y="4391505"/>
                </a:cubicBezTo>
                <a:cubicBezTo>
                  <a:pt x="10467589" y="4393104"/>
                  <a:pt x="10470119" y="4394967"/>
                  <a:pt x="10475977" y="4394967"/>
                </a:cubicBezTo>
                <a:cubicBezTo>
                  <a:pt x="10478107" y="4394967"/>
                  <a:pt x="10479838" y="4394701"/>
                  <a:pt x="10481302" y="4394035"/>
                </a:cubicBezTo>
                <a:cubicBezTo>
                  <a:pt x="10482899" y="4393503"/>
                  <a:pt x="10484098" y="4392571"/>
                  <a:pt x="10485029" y="4391638"/>
                </a:cubicBezTo>
                <a:cubicBezTo>
                  <a:pt x="10486094" y="4390440"/>
                  <a:pt x="10487026" y="4389109"/>
                  <a:pt x="10487691" y="4387379"/>
                </a:cubicBezTo>
                <a:cubicBezTo>
                  <a:pt x="10488357" y="4385781"/>
                  <a:pt x="10488623" y="4383917"/>
                  <a:pt x="10488623" y="4381921"/>
                </a:cubicBezTo>
                <a:cubicBezTo>
                  <a:pt x="10488623" y="4380057"/>
                  <a:pt x="10488357" y="4378326"/>
                  <a:pt x="10487691" y="4376729"/>
                </a:cubicBezTo>
                <a:cubicBezTo>
                  <a:pt x="10487026" y="4375132"/>
                  <a:pt x="10486094" y="4373801"/>
                  <a:pt x="10485029" y="4372603"/>
                </a:cubicBezTo>
                <a:cubicBezTo>
                  <a:pt x="10483964" y="4371538"/>
                  <a:pt x="10482633" y="4370606"/>
                  <a:pt x="10481035" y="4369940"/>
                </a:cubicBezTo>
                <a:cubicBezTo>
                  <a:pt x="10479571" y="4369275"/>
                  <a:pt x="10477974" y="4369009"/>
                  <a:pt x="10475977" y="4369009"/>
                </a:cubicBezTo>
                <a:close/>
                <a:moveTo>
                  <a:pt x="10258466" y="4369009"/>
                </a:moveTo>
                <a:cubicBezTo>
                  <a:pt x="10252608" y="4369009"/>
                  <a:pt x="10250078" y="4371005"/>
                  <a:pt x="10248481" y="4372603"/>
                </a:cubicBezTo>
                <a:cubicBezTo>
                  <a:pt x="10245952" y="4375265"/>
                  <a:pt x="10244887" y="4378060"/>
                  <a:pt x="10244887" y="4382054"/>
                </a:cubicBezTo>
                <a:cubicBezTo>
                  <a:pt x="10244887" y="4386180"/>
                  <a:pt x="10245952" y="4388976"/>
                  <a:pt x="10248481" y="4391505"/>
                </a:cubicBezTo>
                <a:cubicBezTo>
                  <a:pt x="10250078" y="4393104"/>
                  <a:pt x="10252608" y="4394967"/>
                  <a:pt x="10258466" y="4394967"/>
                </a:cubicBezTo>
                <a:cubicBezTo>
                  <a:pt x="10260462" y="4394967"/>
                  <a:pt x="10262192" y="4394701"/>
                  <a:pt x="10263790" y="4394035"/>
                </a:cubicBezTo>
                <a:cubicBezTo>
                  <a:pt x="10265388" y="4393503"/>
                  <a:pt x="10266586" y="4392571"/>
                  <a:pt x="10267517" y="4391638"/>
                </a:cubicBezTo>
                <a:cubicBezTo>
                  <a:pt x="10268583" y="4390440"/>
                  <a:pt x="10269515" y="4389109"/>
                  <a:pt x="10270180" y="4387379"/>
                </a:cubicBezTo>
                <a:cubicBezTo>
                  <a:pt x="10270845" y="4385781"/>
                  <a:pt x="10271112" y="4383917"/>
                  <a:pt x="10271112" y="4381921"/>
                </a:cubicBezTo>
                <a:cubicBezTo>
                  <a:pt x="10271112" y="4380057"/>
                  <a:pt x="10270845" y="4378326"/>
                  <a:pt x="10270180" y="4376729"/>
                </a:cubicBezTo>
                <a:cubicBezTo>
                  <a:pt x="10269515" y="4375132"/>
                  <a:pt x="10268583" y="4373801"/>
                  <a:pt x="10267517" y="4372603"/>
                </a:cubicBezTo>
                <a:cubicBezTo>
                  <a:pt x="10266452" y="4371538"/>
                  <a:pt x="10265121" y="4370606"/>
                  <a:pt x="10263524" y="4369940"/>
                </a:cubicBezTo>
                <a:cubicBezTo>
                  <a:pt x="10262060" y="4369275"/>
                  <a:pt x="10260462" y="4369009"/>
                  <a:pt x="10258466" y="4369009"/>
                </a:cubicBezTo>
                <a:close/>
                <a:moveTo>
                  <a:pt x="10040820" y="4369009"/>
                </a:moveTo>
                <a:cubicBezTo>
                  <a:pt x="10034962" y="4369009"/>
                  <a:pt x="10032433" y="4371005"/>
                  <a:pt x="10030835" y="4372603"/>
                </a:cubicBezTo>
                <a:cubicBezTo>
                  <a:pt x="10028306" y="4375265"/>
                  <a:pt x="10027242" y="4378060"/>
                  <a:pt x="10027242" y="4382054"/>
                </a:cubicBezTo>
                <a:cubicBezTo>
                  <a:pt x="10027242" y="4386180"/>
                  <a:pt x="10028306" y="4388976"/>
                  <a:pt x="10030835" y="4391505"/>
                </a:cubicBezTo>
                <a:cubicBezTo>
                  <a:pt x="10032433" y="4393104"/>
                  <a:pt x="10034962" y="4394967"/>
                  <a:pt x="10040820" y="4394967"/>
                </a:cubicBezTo>
                <a:cubicBezTo>
                  <a:pt x="10042817" y="4394967"/>
                  <a:pt x="10044681" y="4394701"/>
                  <a:pt x="10046145" y="4394035"/>
                </a:cubicBezTo>
                <a:cubicBezTo>
                  <a:pt x="10047742" y="4393503"/>
                  <a:pt x="10048941" y="4392571"/>
                  <a:pt x="10049872" y="4391638"/>
                </a:cubicBezTo>
                <a:cubicBezTo>
                  <a:pt x="10050937" y="4390440"/>
                  <a:pt x="10051869" y="4389109"/>
                  <a:pt x="10052534" y="4387379"/>
                </a:cubicBezTo>
                <a:cubicBezTo>
                  <a:pt x="10053333" y="4385781"/>
                  <a:pt x="10053599" y="4383917"/>
                  <a:pt x="10053599" y="4381921"/>
                </a:cubicBezTo>
                <a:cubicBezTo>
                  <a:pt x="10053599" y="4380057"/>
                  <a:pt x="10053200" y="4378326"/>
                  <a:pt x="10052534" y="4376729"/>
                </a:cubicBezTo>
                <a:cubicBezTo>
                  <a:pt x="10051869" y="4375132"/>
                  <a:pt x="10050937" y="4373801"/>
                  <a:pt x="10049872" y="4372603"/>
                </a:cubicBezTo>
                <a:cubicBezTo>
                  <a:pt x="10048807" y="4371538"/>
                  <a:pt x="10047476" y="4370606"/>
                  <a:pt x="10045878" y="4369940"/>
                </a:cubicBezTo>
                <a:cubicBezTo>
                  <a:pt x="10044414" y="4369275"/>
                  <a:pt x="10042817" y="4369009"/>
                  <a:pt x="10040820" y="4369009"/>
                </a:cubicBezTo>
                <a:close/>
                <a:moveTo>
                  <a:pt x="9823176" y="4369009"/>
                </a:moveTo>
                <a:cubicBezTo>
                  <a:pt x="9817318" y="4369009"/>
                  <a:pt x="9814788" y="4371005"/>
                  <a:pt x="9813191" y="4372603"/>
                </a:cubicBezTo>
                <a:cubicBezTo>
                  <a:pt x="9810662" y="4375265"/>
                  <a:pt x="9809597" y="4378060"/>
                  <a:pt x="9809597" y="4382054"/>
                </a:cubicBezTo>
                <a:cubicBezTo>
                  <a:pt x="9809597" y="4386180"/>
                  <a:pt x="9810662" y="4388976"/>
                  <a:pt x="9813191" y="4391505"/>
                </a:cubicBezTo>
                <a:cubicBezTo>
                  <a:pt x="9814788" y="4393104"/>
                  <a:pt x="9817318" y="4394967"/>
                  <a:pt x="9823176" y="4394967"/>
                </a:cubicBezTo>
                <a:cubicBezTo>
                  <a:pt x="9825173" y="4394967"/>
                  <a:pt x="9827036" y="4394701"/>
                  <a:pt x="9828501" y="4394035"/>
                </a:cubicBezTo>
                <a:cubicBezTo>
                  <a:pt x="9830098" y="4393503"/>
                  <a:pt x="9831296" y="4392571"/>
                  <a:pt x="9832227" y="4391638"/>
                </a:cubicBezTo>
                <a:cubicBezTo>
                  <a:pt x="9833293" y="4390440"/>
                  <a:pt x="9834225" y="4389109"/>
                  <a:pt x="9834890" y="4387379"/>
                </a:cubicBezTo>
                <a:cubicBezTo>
                  <a:pt x="9835689" y="4385781"/>
                  <a:pt x="9835955" y="4383917"/>
                  <a:pt x="9835955" y="4381921"/>
                </a:cubicBezTo>
                <a:cubicBezTo>
                  <a:pt x="9835955" y="4380057"/>
                  <a:pt x="9835555" y="4378326"/>
                  <a:pt x="9834890" y="4376729"/>
                </a:cubicBezTo>
                <a:cubicBezTo>
                  <a:pt x="9834225" y="4375132"/>
                  <a:pt x="9833293" y="4373801"/>
                  <a:pt x="9832227" y="4372603"/>
                </a:cubicBezTo>
                <a:cubicBezTo>
                  <a:pt x="9831162" y="4371538"/>
                  <a:pt x="9829831" y="4370606"/>
                  <a:pt x="9828234" y="4369940"/>
                </a:cubicBezTo>
                <a:cubicBezTo>
                  <a:pt x="9826770" y="4369275"/>
                  <a:pt x="9825173" y="4369009"/>
                  <a:pt x="9823176" y="4369009"/>
                </a:cubicBezTo>
                <a:close/>
                <a:moveTo>
                  <a:pt x="9605531" y="4369009"/>
                </a:moveTo>
                <a:cubicBezTo>
                  <a:pt x="9599673" y="4369009"/>
                  <a:pt x="9597143" y="4371005"/>
                  <a:pt x="9595546" y="4372603"/>
                </a:cubicBezTo>
                <a:cubicBezTo>
                  <a:pt x="9593017" y="4375265"/>
                  <a:pt x="9591952" y="4378060"/>
                  <a:pt x="9591952" y="4382054"/>
                </a:cubicBezTo>
                <a:cubicBezTo>
                  <a:pt x="9591952" y="4386180"/>
                  <a:pt x="9593017" y="4388976"/>
                  <a:pt x="9595546" y="4391505"/>
                </a:cubicBezTo>
                <a:cubicBezTo>
                  <a:pt x="9597143" y="4393104"/>
                  <a:pt x="9599673" y="4394967"/>
                  <a:pt x="9605531" y="4394967"/>
                </a:cubicBezTo>
                <a:cubicBezTo>
                  <a:pt x="9607660" y="4394967"/>
                  <a:pt x="9609391" y="4394701"/>
                  <a:pt x="9610855" y="4394035"/>
                </a:cubicBezTo>
                <a:cubicBezTo>
                  <a:pt x="9612319" y="4393503"/>
                  <a:pt x="9613651" y="4392571"/>
                  <a:pt x="9614582" y="4391638"/>
                </a:cubicBezTo>
                <a:cubicBezTo>
                  <a:pt x="9615647" y="4390440"/>
                  <a:pt x="9616579" y="4389109"/>
                  <a:pt x="9617245" y="4387379"/>
                </a:cubicBezTo>
                <a:cubicBezTo>
                  <a:pt x="9618044" y="4385781"/>
                  <a:pt x="9618309" y="4383917"/>
                  <a:pt x="9618309" y="4381921"/>
                </a:cubicBezTo>
                <a:cubicBezTo>
                  <a:pt x="9618309" y="4380057"/>
                  <a:pt x="9617910" y="4378326"/>
                  <a:pt x="9617245" y="4376729"/>
                </a:cubicBezTo>
                <a:cubicBezTo>
                  <a:pt x="9616579" y="4375132"/>
                  <a:pt x="9615647" y="4373801"/>
                  <a:pt x="9614582" y="4372603"/>
                </a:cubicBezTo>
                <a:cubicBezTo>
                  <a:pt x="9613517" y="4371538"/>
                  <a:pt x="9612186" y="4370606"/>
                  <a:pt x="9610589" y="4369940"/>
                </a:cubicBezTo>
                <a:cubicBezTo>
                  <a:pt x="9609124" y="4369275"/>
                  <a:pt x="9607394" y="4369009"/>
                  <a:pt x="9605531" y="4369009"/>
                </a:cubicBezTo>
                <a:close/>
                <a:moveTo>
                  <a:pt x="9387885" y="4369009"/>
                </a:moveTo>
                <a:cubicBezTo>
                  <a:pt x="9382027" y="4369009"/>
                  <a:pt x="9379497" y="4371005"/>
                  <a:pt x="9377900" y="4372603"/>
                </a:cubicBezTo>
                <a:cubicBezTo>
                  <a:pt x="9375371" y="4375265"/>
                  <a:pt x="9374307" y="4378060"/>
                  <a:pt x="9374307" y="4382054"/>
                </a:cubicBezTo>
                <a:cubicBezTo>
                  <a:pt x="9374307" y="4386180"/>
                  <a:pt x="9375371" y="4388976"/>
                  <a:pt x="9377900" y="4391505"/>
                </a:cubicBezTo>
                <a:cubicBezTo>
                  <a:pt x="9379497" y="4393104"/>
                  <a:pt x="9382027" y="4394967"/>
                  <a:pt x="9387885" y="4394967"/>
                </a:cubicBezTo>
                <a:cubicBezTo>
                  <a:pt x="9390015" y="4394967"/>
                  <a:pt x="9391746" y="4394701"/>
                  <a:pt x="9393210" y="4394035"/>
                </a:cubicBezTo>
                <a:cubicBezTo>
                  <a:pt x="9394674" y="4393503"/>
                  <a:pt x="9396005" y="4392571"/>
                  <a:pt x="9396937" y="4391638"/>
                </a:cubicBezTo>
                <a:cubicBezTo>
                  <a:pt x="9398002" y="4390440"/>
                  <a:pt x="9398934" y="4389109"/>
                  <a:pt x="9399599" y="4387379"/>
                </a:cubicBezTo>
                <a:cubicBezTo>
                  <a:pt x="9400398" y="4385781"/>
                  <a:pt x="9400664" y="4383917"/>
                  <a:pt x="9400664" y="4381921"/>
                </a:cubicBezTo>
                <a:cubicBezTo>
                  <a:pt x="9400664" y="4380057"/>
                  <a:pt x="9400265" y="4378326"/>
                  <a:pt x="9399599" y="4376729"/>
                </a:cubicBezTo>
                <a:cubicBezTo>
                  <a:pt x="9398934" y="4375132"/>
                  <a:pt x="9398002" y="4373801"/>
                  <a:pt x="9396937" y="4372603"/>
                </a:cubicBezTo>
                <a:cubicBezTo>
                  <a:pt x="9395872" y="4371538"/>
                  <a:pt x="9394541" y="4370606"/>
                  <a:pt x="9392943" y="4369940"/>
                </a:cubicBezTo>
                <a:cubicBezTo>
                  <a:pt x="9391479" y="4369275"/>
                  <a:pt x="9389749" y="4369009"/>
                  <a:pt x="9387885" y="4369009"/>
                </a:cubicBezTo>
                <a:close/>
                <a:moveTo>
                  <a:pt x="9170374" y="4369009"/>
                </a:moveTo>
                <a:cubicBezTo>
                  <a:pt x="9164649" y="4369009"/>
                  <a:pt x="9161986" y="4371005"/>
                  <a:pt x="9160389" y="4372603"/>
                </a:cubicBezTo>
                <a:cubicBezTo>
                  <a:pt x="9157860" y="4375265"/>
                  <a:pt x="9156795" y="4378060"/>
                  <a:pt x="9156795" y="4382054"/>
                </a:cubicBezTo>
                <a:cubicBezTo>
                  <a:pt x="9156795" y="4386180"/>
                  <a:pt x="9157860" y="4388976"/>
                  <a:pt x="9160389" y="4391505"/>
                </a:cubicBezTo>
                <a:cubicBezTo>
                  <a:pt x="9161986" y="4393104"/>
                  <a:pt x="9164516" y="4394967"/>
                  <a:pt x="9170374" y="4394967"/>
                </a:cubicBezTo>
                <a:cubicBezTo>
                  <a:pt x="9172370" y="4394967"/>
                  <a:pt x="9174100" y="4394701"/>
                  <a:pt x="9175698" y="4394035"/>
                </a:cubicBezTo>
                <a:cubicBezTo>
                  <a:pt x="9177163" y="4393503"/>
                  <a:pt x="9178494" y="4392571"/>
                  <a:pt x="9179425" y="4391638"/>
                </a:cubicBezTo>
                <a:cubicBezTo>
                  <a:pt x="9180491" y="4390440"/>
                  <a:pt x="9181422" y="4389109"/>
                  <a:pt x="9182088" y="4387379"/>
                </a:cubicBezTo>
                <a:cubicBezTo>
                  <a:pt x="9182887" y="4385781"/>
                  <a:pt x="9183152" y="4383917"/>
                  <a:pt x="9183152" y="4381921"/>
                </a:cubicBezTo>
                <a:cubicBezTo>
                  <a:pt x="9183152" y="4380057"/>
                  <a:pt x="9182753" y="4378326"/>
                  <a:pt x="9182088" y="4376729"/>
                </a:cubicBezTo>
                <a:cubicBezTo>
                  <a:pt x="9181422" y="4375132"/>
                  <a:pt x="9180491" y="4373801"/>
                  <a:pt x="9179425" y="4372603"/>
                </a:cubicBezTo>
                <a:cubicBezTo>
                  <a:pt x="9178360" y="4371538"/>
                  <a:pt x="9177029" y="4370606"/>
                  <a:pt x="9175432" y="4369940"/>
                </a:cubicBezTo>
                <a:cubicBezTo>
                  <a:pt x="9173967" y="4369275"/>
                  <a:pt x="9172237" y="4369009"/>
                  <a:pt x="9170374" y="4369009"/>
                </a:cubicBezTo>
                <a:close/>
                <a:moveTo>
                  <a:pt x="8952728" y="4369009"/>
                </a:moveTo>
                <a:cubicBezTo>
                  <a:pt x="8947003" y="4369009"/>
                  <a:pt x="8944340" y="4371005"/>
                  <a:pt x="8942743" y="4372603"/>
                </a:cubicBezTo>
                <a:cubicBezTo>
                  <a:pt x="8940214" y="4375265"/>
                  <a:pt x="8939150" y="4378060"/>
                  <a:pt x="8939150" y="4382054"/>
                </a:cubicBezTo>
                <a:cubicBezTo>
                  <a:pt x="8939150" y="4386180"/>
                  <a:pt x="8940214" y="4388976"/>
                  <a:pt x="8942743" y="4391505"/>
                </a:cubicBezTo>
                <a:cubicBezTo>
                  <a:pt x="8944340" y="4393104"/>
                  <a:pt x="8946870" y="4394967"/>
                  <a:pt x="8952728" y="4394967"/>
                </a:cubicBezTo>
                <a:cubicBezTo>
                  <a:pt x="8954725" y="4394967"/>
                  <a:pt x="8956589" y="4394701"/>
                  <a:pt x="8958053" y="4394035"/>
                </a:cubicBezTo>
                <a:cubicBezTo>
                  <a:pt x="8959517" y="4393503"/>
                  <a:pt x="8960849" y="4392571"/>
                  <a:pt x="8961780" y="4391638"/>
                </a:cubicBezTo>
                <a:cubicBezTo>
                  <a:pt x="8962845" y="4390440"/>
                  <a:pt x="8963777" y="4389109"/>
                  <a:pt x="8964442" y="4387379"/>
                </a:cubicBezTo>
                <a:cubicBezTo>
                  <a:pt x="8965241" y="4385781"/>
                  <a:pt x="8965507" y="4383917"/>
                  <a:pt x="8965507" y="4381921"/>
                </a:cubicBezTo>
                <a:cubicBezTo>
                  <a:pt x="8965507" y="4380057"/>
                  <a:pt x="8965108" y="4378326"/>
                  <a:pt x="8964442" y="4376729"/>
                </a:cubicBezTo>
                <a:cubicBezTo>
                  <a:pt x="8963777" y="4375132"/>
                  <a:pt x="8962845" y="4373801"/>
                  <a:pt x="8961780" y="4372603"/>
                </a:cubicBezTo>
                <a:cubicBezTo>
                  <a:pt x="8960715" y="4371538"/>
                  <a:pt x="8959384" y="4370606"/>
                  <a:pt x="8957786" y="4369940"/>
                </a:cubicBezTo>
                <a:cubicBezTo>
                  <a:pt x="8956322" y="4369275"/>
                  <a:pt x="8954592" y="4369009"/>
                  <a:pt x="8952728" y="4369009"/>
                </a:cubicBezTo>
                <a:close/>
                <a:moveTo>
                  <a:pt x="8735083" y="4369009"/>
                </a:moveTo>
                <a:cubicBezTo>
                  <a:pt x="8729358" y="4369009"/>
                  <a:pt x="8726695" y="4371005"/>
                  <a:pt x="8725098" y="4372603"/>
                </a:cubicBezTo>
                <a:cubicBezTo>
                  <a:pt x="8722569" y="4375265"/>
                  <a:pt x="8721504" y="4378060"/>
                  <a:pt x="8721504" y="4382054"/>
                </a:cubicBezTo>
                <a:cubicBezTo>
                  <a:pt x="8721504" y="4386180"/>
                  <a:pt x="8722569" y="4388976"/>
                  <a:pt x="8725098" y="4391505"/>
                </a:cubicBezTo>
                <a:cubicBezTo>
                  <a:pt x="8726695" y="4393104"/>
                  <a:pt x="8729225" y="4394967"/>
                  <a:pt x="8735083" y="4394967"/>
                </a:cubicBezTo>
                <a:cubicBezTo>
                  <a:pt x="8737079" y="4394967"/>
                  <a:pt x="8738943" y="4394701"/>
                  <a:pt x="8740407" y="4394035"/>
                </a:cubicBezTo>
                <a:cubicBezTo>
                  <a:pt x="8741872" y="4393503"/>
                  <a:pt x="8743203" y="4392571"/>
                  <a:pt x="8744134" y="4391638"/>
                </a:cubicBezTo>
                <a:cubicBezTo>
                  <a:pt x="8745200" y="4390440"/>
                  <a:pt x="8746132" y="4389109"/>
                  <a:pt x="8746797" y="4387379"/>
                </a:cubicBezTo>
                <a:cubicBezTo>
                  <a:pt x="8747596" y="4385781"/>
                  <a:pt x="8747862" y="4383917"/>
                  <a:pt x="8747862" y="4381921"/>
                </a:cubicBezTo>
                <a:cubicBezTo>
                  <a:pt x="8747862" y="4380057"/>
                  <a:pt x="8747462" y="4378326"/>
                  <a:pt x="8746797" y="4376729"/>
                </a:cubicBezTo>
                <a:cubicBezTo>
                  <a:pt x="8746132" y="4375132"/>
                  <a:pt x="8745200" y="4373801"/>
                  <a:pt x="8744134" y="4372603"/>
                </a:cubicBezTo>
                <a:cubicBezTo>
                  <a:pt x="8743069" y="4371538"/>
                  <a:pt x="8741738" y="4370606"/>
                  <a:pt x="8740141" y="4369940"/>
                </a:cubicBezTo>
                <a:cubicBezTo>
                  <a:pt x="8738677" y="4369275"/>
                  <a:pt x="8736946" y="4369009"/>
                  <a:pt x="8735083" y="4369009"/>
                </a:cubicBezTo>
                <a:close/>
                <a:moveTo>
                  <a:pt x="8517438" y="4369009"/>
                </a:moveTo>
                <a:cubicBezTo>
                  <a:pt x="8511713" y="4369009"/>
                  <a:pt x="8509051" y="4371005"/>
                  <a:pt x="8507453" y="4372603"/>
                </a:cubicBezTo>
                <a:cubicBezTo>
                  <a:pt x="8504925" y="4375265"/>
                  <a:pt x="8503860" y="4378060"/>
                  <a:pt x="8503860" y="4382054"/>
                </a:cubicBezTo>
                <a:cubicBezTo>
                  <a:pt x="8503860" y="4386180"/>
                  <a:pt x="8504925" y="4388976"/>
                  <a:pt x="8507453" y="4391505"/>
                </a:cubicBezTo>
                <a:cubicBezTo>
                  <a:pt x="8509051" y="4393104"/>
                  <a:pt x="8511581" y="4394967"/>
                  <a:pt x="8517438" y="4394967"/>
                </a:cubicBezTo>
                <a:cubicBezTo>
                  <a:pt x="8519568" y="4394967"/>
                  <a:pt x="8521299" y="4394701"/>
                  <a:pt x="8522763" y="4394035"/>
                </a:cubicBezTo>
                <a:cubicBezTo>
                  <a:pt x="8524227" y="4393503"/>
                  <a:pt x="8525559" y="4392571"/>
                  <a:pt x="8526490" y="4391638"/>
                </a:cubicBezTo>
                <a:cubicBezTo>
                  <a:pt x="8527555" y="4390440"/>
                  <a:pt x="8528487" y="4389109"/>
                  <a:pt x="8529152" y="4387379"/>
                </a:cubicBezTo>
                <a:cubicBezTo>
                  <a:pt x="8529818" y="4385781"/>
                  <a:pt x="8530084" y="4383917"/>
                  <a:pt x="8530084" y="4381921"/>
                </a:cubicBezTo>
                <a:cubicBezTo>
                  <a:pt x="8530084" y="4380057"/>
                  <a:pt x="8529818" y="4378326"/>
                  <a:pt x="8529152" y="4376729"/>
                </a:cubicBezTo>
                <a:cubicBezTo>
                  <a:pt x="8528487" y="4375132"/>
                  <a:pt x="8527555" y="4373801"/>
                  <a:pt x="8526490" y="4372603"/>
                </a:cubicBezTo>
                <a:cubicBezTo>
                  <a:pt x="8525425" y="4371538"/>
                  <a:pt x="8524094" y="4370606"/>
                  <a:pt x="8522496" y="4369940"/>
                </a:cubicBezTo>
                <a:cubicBezTo>
                  <a:pt x="8521032" y="4369275"/>
                  <a:pt x="8519302" y="4369009"/>
                  <a:pt x="8517438" y="4369009"/>
                </a:cubicBezTo>
                <a:close/>
                <a:moveTo>
                  <a:pt x="8299793" y="4369009"/>
                </a:moveTo>
                <a:cubicBezTo>
                  <a:pt x="8294068" y="4369009"/>
                  <a:pt x="8291406" y="4371005"/>
                  <a:pt x="8289809" y="4372603"/>
                </a:cubicBezTo>
                <a:cubicBezTo>
                  <a:pt x="8287280" y="4375265"/>
                  <a:pt x="8286215" y="4378060"/>
                  <a:pt x="8286215" y="4382054"/>
                </a:cubicBezTo>
                <a:cubicBezTo>
                  <a:pt x="8286215" y="4386180"/>
                  <a:pt x="8287280" y="4388976"/>
                  <a:pt x="8289809" y="4391505"/>
                </a:cubicBezTo>
                <a:cubicBezTo>
                  <a:pt x="8291406" y="4393104"/>
                  <a:pt x="8293935" y="4394967"/>
                  <a:pt x="8299793" y="4394967"/>
                </a:cubicBezTo>
                <a:cubicBezTo>
                  <a:pt x="8301923" y="4394967"/>
                  <a:pt x="8303653" y="4394701"/>
                  <a:pt x="8305118" y="4394035"/>
                </a:cubicBezTo>
                <a:cubicBezTo>
                  <a:pt x="8306582" y="4393503"/>
                  <a:pt x="8307913" y="4392571"/>
                  <a:pt x="8308844" y="4391638"/>
                </a:cubicBezTo>
                <a:cubicBezTo>
                  <a:pt x="8309910" y="4390440"/>
                  <a:pt x="8310842" y="4389109"/>
                  <a:pt x="8311507" y="4387379"/>
                </a:cubicBezTo>
                <a:cubicBezTo>
                  <a:pt x="8312172" y="4385781"/>
                  <a:pt x="8312439" y="4383917"/>
                  <a:pt x="8312439" y="4381921"/>
                </a:cubicBezTo>
                <a:cubicBezTo>
                  <a:pt x="8312439" y="4380057"/>
                  <a:pt x="8312172" y="4378326"/>
                  <a:pt x="8311507" y="4376729"/>
                </a:cubicBezTo>
                <a:cubicBezTo>
                  <a:pt x="8310842" y="4375132"/>
                  <a:pt x="8309910" y="4373801"/>
                  <a:pt x="8308844" y="4372603"/>
                </a:cubicBezTo>
                <a:cubicBezTo>
                  <a:pt x="8307779" y="4371538"/>
                  <a:pt x="8306448" y="4370606"/>
                  <a:pt x="8304851" y="4369940"/>
                </a:cubicBezTo>
                <a:cubicBezTo>
                  <a:pt x="8303387" y="4369275"/>
                  <a:pt x="8301790" y="4369009"/>
                  <a:pt x="8299793" y="4369009"/>
                </a:cubicBezTo>
                <a:close/>
                <a:moveTo>
                  <a:pt x="8082281" y="4369009"/>
                </a:moveTo>
                <a:cubicBezTo>
                  <a:pt x="8076424" y="4369009"/>
                  <a:pt x="8073894" y="4371005"/>
                  <a:pt x="8072297" y="4372603"/>
                </a:cubicBezTo>
                <a:cubicBezTo>
                  <a:pt x="8069768" y="4375265"/>
                  <a:pt x="8068703" y="4378060"/>
                  <a:pt x="8068703" y="4382054"/>
                </a:cubicBezTo>
                <a:cubicBezTo>
                  <a:pt x="8068703" y="4386180"/>
                  <a:pt x="8069768" y="4388976"/>
                  <a:pt x="8072297" y="4391505"/>
                </a:cubicBezTo>
                <a:cubicBezTo>
                  <a:pt x="8073894" y="4393104"/>
                  <a:pt x="8076424" y="4394967"/>
                  <a:pt x="8082281" y="4394967"/>
                </a:cubicBezTo>
                <a:cubicBezTo>
                  <a:pt x="8084277" y="4394967"/>
                  <a:pt x="8086007" y="4394701"/>
                  <a:pt x="8087605" y="4394035"/>
                </a:cubicBezTo>
                <a:cubicBezTo>
                  <a:pt x="8089069" y="4393503"/>
                  <a:pt x="8090401" y="4392571"/>
                  <a:pt x="8091332" y="4391638"/>
                </a:cubicBezTo>
                <a:cubicBezTo>
                  <a:pt x="8092397" y="4390440"/>
                  <a:pt x="8093329" y="4389109"/>
                  <a:pt x="8093994" y="4387379"/>
                </a:cubicBezTo>
                <a:cubicBezTo>
                  <a:pt x="8094660" y="4385781"/>
                  <a:pt x="8094926" y="4383917"/>
                  <a:pt x="8094926" y="4381921"/>
                </a:cubicBezTo>
                <a:cubicBezTo>
                  <a:pt x="8094926" y="4380057"/>
                  <a:pt x="8094660" y="4378326"/>
                  <a:pt x="8093994" y="4376729"/>
                </a:cubicBezTo>
                <a:cubicBezTo>
                  <a:pt x="8093329" y="4375132"/>
                  <a:pt x="8092397" y="4373801"/>
                  <a:pt x="8091332" y="4372603"/>
                </a:cubicBezTo>
                <a:cubicBezTo>
                  <a:pt x="8090267" y="4371538"/>
                  <a:pt x="8088936" y="4370606"/>
                  <a:pt x="8087338" y="4369940"/>
                </a:cubicBezTo>
                <a:cubicBezTo>
                  <a:pt x="8085874" y="4369275"/>
                  <a:pt x="8084277" y="4369009"/>
                  <a:pt x="8082281" y="4369009"/>
                </a:cubicBezTo>
                <a:close/>
                <a:moveTo>
                  <a:pt x="7864636" y="4369009"/>
                </a:moveTo>
                <a:cubicBezTo>
                  <a:pt x="7858779" y="4369009"/>
                  <a:pt x="7856249" y="4371005"/>
                  <a:pt x="7854652" y="4372603"/>
                </a:cubicBezTo>
                <a:cubicBezTo>
                  <a:pt x="7852123" y="4375265"/>
                  <a:pt x="7851058" y="4378060"/>
                  <a:pt x="7851058" y="4382054"/>
                </a:cubicBezTo>
                <a:cubicBezTo>
                  <a:pt x="7851058" y="4386180"/>
                  <a:pt x="7852123" y="4388976"/>
                  <a:pt x="7854652" y="4391505"/>
                </a:cubicBezTo>
                <a:cubicBezTo>
                  <a:pt x="7856249" y="4393104"/>
                  <a:pt x="7858779" y="4394967"/>
                  <a:pt x="7864636" y="4394967"/>
                </a:cubicBezTo>
                <a:cubicBezTo>
                  <a:pt x="7866633" y="4394967"/>
                  <a:pt x="7868363" y="4394701"/>
                  <a:pt x="7869961" y="4394035"/>
                </a:cubicBezTo>
                <a:cubicBezTo>
                  <a:pt x="7871425" y="4393503"/>
                  <a:pt x="7872756" y="4392571"/>
                  <a:pt x="7873687" y="4391638"/>
                </a:cubicBezTo>
                <a:cubicBezTo>
                  <a:pt x="7874753" y="4390440"/>
                  <a:pt x="7875685" y="4389109"/>
                  <a:pt x="7876350" y="4387379"/>
                </a:cubicBezTo>
                <a:cubicBezTo>
                  <a:pt x="7877015" y="4385781"/>
                  <a:pt x="7877282" y="4383917"/>
                  <a:pt x="7877282" y="4381921"/>
                </a:cubicBezTo>
                <a:cubicBezTo>
                  <a:pt x="7877282" y="4380057"/>
                  <a:pt x="7877015" y="4378326"/>
                  <a:pt x="7876350" y="4376729"/>
                </a:cubicBezTo>
                <a:cubicBezTo>
                  <a:pt x="7875685" y="4375132"/>
                  <a:pt x="7874753" y="4373801"/>
                  <a:pt x="7873687" y="4372603"/>
                </a:cubicBezTo>
                <a:cubicBezTo>
                  <a:pt x="7872623" y="4371538"/>
                  <a:pt x="7871291" y="4370606"/>
                  <a:pt x="7869694" y="4369940"/>
                </a:cubicBezTo>
                <a:cubicBezTo>
                  <a:pt x="7868230" y="4369275"/>
                  <a:pt x="7866633" y="4369009"/>
                  <a:pt x="7864636" y="4369009"/>
                </a:cubicBezTo>
                <a:close/>
                <a:moveTo>
                  <a:pt x="7646991" y="4369009"/>
                </a:moveTo>
                <a:cubicBezTo>
                  <a:pt x="7641134" y="4369009"/>
                  <a:pt x="7638604" y="4371005"/>
                  <a:pt x="7637007" y="4372603"/>
                </a:cubicBezTo>
                <a:cubicBezTo>
                  <a:pt x="7634478" y="4375265"/>
                  <a:pt x="7633413" y="4378060"/>
                  <a:pt x="7633413" y="4382054"/>
                </a:cubicBezTo>
                <a:cubicBezTo>
                  <a:pt x="7633413" y="4386180"/>
                  <a:pt x="7634478" y="4388976"/>
                  <a:pt x="7637007" y="4391505"/>
                </a:cubicBezTo>
                <a:cubicBezTo>
                  <a:pt x="7638604" y="4393104"/>
                  <a:pt x="7641134" y="4394967"/>
                  <a:pt x="7646991" y="4394967"/>
                </a:cubicBezTo>
                <a:cubicBezTo>
                  <a:pt x="7648987" y="4394967"/>
                  <a:pt x="7650851" y="4394701"/>
                  <a:pt x="7652315" y="4394035"/>
                </a:cubicBezTo>
                <a:cubicBezTo>
                  <a:pt x="7653780" y="4393503"/>
                  <a:pt x="7655111" y="4392571"/>
                  <a:pt x="7656042" y="4391638"/>
                </a:cubicBezTo>
                <a:cubicBezTo>
                  <a:pt x="7657108" y="4390440"/>
                  <a:pt x="7658039" y="4389109"/>
                  <a:pt x="7658705" y="4387379"/>
                </a:cubicBezTo>
                <a:cubicBezTo>
                  <a:pt x="7659504" y="4385781"/>
                  <a:pt x="7659769" y="4383917"/>
                  <a:pt x="7659769" y="4381921"/>
                </a:cubicBezTo>
                <a:cubicBezTo>
                  <a:pt x="7659769" y="4380057"/>
                  <a:pt x="7659370" y="4378326"/>
                  <a:pt x="7658705" y="4376729"/>
                </a:cubicBezTo>
                <a:cubicBezTo>
                  <a:pt x="7658039" y="4375132"/>
                  <a:pt x="7657108" y="4373801"/>
                  <a:pt x="7656042" y="4372603"/>
                </a:cubicBezTo>
                <a:cubicBezTo>
                  <a:pt x="7654977" y="4371538"/>
                  <a:pt x="7653646" y="4370606"/>
                  <a:pt x="7652049" y="4369940"/>
                </a:cubicBezTo>
                <a:cubicBezTo>
                  <a:pt x="7650584" y="4369275"/>
                  <a:pt x="7648987" y="4369009"/>
                  <a:pt x="7646991" y="4369009"/>
                </a:cubicBezTo>
                <a:close/>
                <a:moveTo>
                  <a:pt x="7429345" y="4369009"/>
                </a:moveTo>
                <a:cubicBezTo>
                  <a:pt x="7423488" y="4369009"/>
                  <a:pt x="7420958" y="4371005"/>
                  <a:pt x="7419361" y="4372603"/>
                </a:cubicBezTo>
                <a:cubicBezTo>
                  <a:pt x="7416832" y="4375265"/>
                  <a:pt x="7415768" y="4378060"/>
                  <a:pt x="7415768" y="4382054"/>
                </a:cubicBezTo>
                <a:cubicBezTo>
                  <a:pt x="7415768" y="4386180"/>
                  <a:pt x="7416832" y="4388976"/>
                  <a:pt x="7419361" y="4391505"/>
                </a:cubicBezTo>
                <a:cubicBezTo>
                  <a:pt x="7420958" y="4393104"/>
                  <a:pt x="7423488" y="4394967"/>
                  <a:pt x="7429345" y="4394967"/>
                </a:cubicBezTo>
                <a:cubicBezTo>
                  <a:pt x="7431342" y="4394967"/>
                  <a:pt x="7433206" y="4394701"/>
                  <a:pt x="7434670" y="4394035"/>
                </a:cubicBezTo>
                <a:cubicBezTo>
                  <a:pt x="7436134" y="4393503"/>
                  <a:pt x="7437466" y="4392571"/>
                  <a:pt x="7438397" y="4391638"/>
                </a:cubicBezTo>
                <a:cubicBezTo>
                  <a:pt x="7439462" y="4390440"/>
                  <a:pt x="7440394" y="4389109"/>
                  <a:pt x="7441059" y="4387379"/>
                </a:cubicBezTo>
                <a:cubicBezTo>
                  <a:pt x="7441858" y="4385781"/>
                  <a:pt x="7442124" y="4383917"/>
                  <a:pt x="7442124" y="4381921"/>
                </a:cubicBezTo>
                <a:cubicBezTo>
                  <a:pt x="7442124" y="4380057"/>
                  <a:pt x="7441725" y="4378326"/>
                  <a:pt x="7441059" y="4376729"/>
                </a:cubicBezTo>
                <a:cubicBezTo>
                  <a:pt x="7440394" y="4375132"/>
                  <a:pt x="7439462" y="4373801"/>
                  <a:pt x="7438397" y="4372603"/>
                </a:cubicBezTo>
                <a:cubicBezTo>
                  <a:pt x="7437332" y="4371538"/>
                  <a:pt x="7436001" y="4370606"/>
                  <a:pt x="7434403" y="4369940"/>
                </a:cubicBezTo>
                <a:cubicBezTo>
                  <a:pt x="7432939" y="4369275"/>
                  <a:pt x="7431342" y="4369009"/>
                  <a:pt x="7429345" y="4369009"/>
                </a:cubicBezTo>
                <a:close/>
                <a:moveTo>
                  <a:pt x="7211701" y="4369009"/>
                </a:moveTo>
                <a:cubicBezTo>
                  <a:pt x="7205844" y="4369009"/>
                  <a:pt x="7203314" y="4371005"/>
                  <a:pt x="7201717" y="4372603"/>
                </a:cubicBezTo>
                <a:cubicBezTo>
                  <a:pt x="7199188" y="4375265"/>
                  <a:pt x="7198123" y="4378060"/>
                  <a:pt x="7198123" y="4382054"/>
                </a:cubicBezTo>
                <a:cubicBezTo>
                  <a:pt x="7198123" y="4386180"/>
                  <a:pt x="7199188" y="4388976"/>
                  <a:pt x="7201717" y="4391505"/>
                </a:cubicBezTo>
                <a:cubicBezTo>
                  <a:pt x="7203314" y="4393104"/>
                  <a:pt x="7205844" y="4394967"/>
                  <a:pt x="7211701" y="4394967"/>
                </a:cubicBezTo>
                <a:cubicBezTo>
                  <a:pt x="7213830" y="4394967"/>
                  <a:pt x="7215561" y="4394701"/>
                  <a:pt x="7217026" y="4394035"/>
                </a:cubicBezTo>
                <a:cubicBezTo>
                  <a:pt x="7218490" y="4393503"/>
                  <a:pt x="7219821" y="4392571"/>
                  <a:pt x="7220752" y="4391638"/>
                </a:cubicBezTo>
                <a:cubicBezTo>
                  <a:pt x="7221818" y="4390440"/>
                  <a:pt x="7222750" y="4389109"/>
                  <a:pt x="7223415" y="4387379"/>
                </a:cubicBezTo>
                <a:cubicBezTo>
                  <a:pt x="7224214" y="4385781"/>
                  <a:pt x="7224480" y="4383917"/>
                  <a:pt x="7224480" y="4381921"/>
                </a:cubicBezTo>
                <a:cubicBezTo>
                  <a:pt x="7224480" y="4380057"/>
                  <a:pt x="7224080" y="4378326"/>
                  <a:pt x="7223415" y="4376729"/>
                </a:cubicBezTo>
                <a:cubicBezTo>
                  <a:pt x="7222750" y="4375132"/>
                  <a:pt x="7221818" y="4373801"/>
                  <a:pt x="7220752" y="4372603"/>
                </a:cubicBezTo>
                <a:cubicBezTo>
                  <a:pt x="7219687" y="4371538"/>
                  <a:pt x="7218356" y="4370606"/>
                  <a:pt x="7216759" y="4369940"/>
                </a:cubicBezTo>
                <a:cubicBezTo>
                  <a:pt x="7215295" y="4369275"/>
                  <a:pt x="7213698" y="4369009"/>
                  <a:pt x="7211701" y="4369009"/>
                </a:cubicBezTo>
                <a:close/>
                <a:moveTo>
                  <a:pt x="6994056" y="4369009"/>
                </a:moveTo>
                <a:cubicBezTo>
                  <a:pt x="6988199" y="4369009"/>
                  <a:pt x="6985669" y="4371005"/>
                  <a:pt x="6984072" y="4372603"/>
                </a:cubicBezTo>
                <a:cubicBezTo>
                  <a:pt x="6981543" y="4375265"/>
                  <a:pt x="6980478" y="4378060"/>
                  <a:pt x="6980478" y="4382054"/>
                </a:cubicBezTo>
                <a:cubicBezTo>
                  <a:pt x="6980478" y="4386180"/>
                  <a:pt x="6981543" y="4388976"/>
                  <a:pt x="6984072" y="4391505"/>
                </a:cubicBezTo>
                <a:cubicBezTo>
                  <a:pt x="6985669" y="4393104"/>
                  <a:pt x="6988199" y="4394967"/>
                  <a:pt x="6994056" y="4394967"/>
                </a:cubicBezTo>
                <a:cubicBezTo>
                  <a:pt x="6996185" y="4394967"/>
                  <a:pt x="6997916" y="4394701"/>
                  <a:pt x="6999380" y="4394035"/>
                </a:cubicBezTo>
                <a:cubicBezTo>
                  <a:pt x="7000844" y="4393503"/>
                  <a:pt x="7002176" y="4392571"/>
                  <a:pt x="7003107" y="4391638"/>
                </a:cubicBezTo>
                <a:cubicBezTo>
                  <a:pt x="7004172" y="4390440"/>
                  <a:pt x="7005104" y="4389109"/>
                  <a:pt x="7005769" y="4387379"/>
                </a:cubicBezTo>
                <a:cubicBezTo>
                  <a:pt x="7006568" y="4385781"/>
                  <a:pt x="7006834" y="4383917"/>
                  <a:pt x="7006834" y="4381921"/>
                </a:cubicBezTo>
                <a:cubicBezTo>
                  <a:pt x="7006834" y="4380057"/>
                  <a:pt x="7006435" y="4378326"/>
                  <a:pt x="7005769" y="4376729"/>
                </a:cubicBezTo>
                <a:cubicBezTo>
                  <a:pt x="7005104" y="4375132"/>
                  <a:pt x="7004172" y="4373801"/>
                  <a:pt x="7003107" y="4372603"/>
                </a:cubicBezTo>
                <a:cubicBezTo>
                  <a:pt x="7002042" y="4371538"/>
                  <a:pt x="7000711" y="4370606"/>
                  <a:pt x="6999113" y="4369940"/>
                </a:cubicBezTo>
                <a:cubicBezTo>
                  <a:pt x="6997649" y="4369275"/>
                  <a:pt x="6996052" y="4369009"/>
                  <a:pt x="6994056" y="4369009"/>
                </a:cubicBezTo>
                <a:close/>
                <a:moveTo>
                  <a:pt x="6776544" y="4369009"/>
                </a:moveTo>
                <a:cubicBezTo>
                  <a:pt x="6770687" y="4369009"/>
                  <a:pt x="6768157" y="4371005"/>
                  <a:pt x="6766560" y="4372603"/>
                </a:cubicBezTo>
                <a:cubicBezTo>
                  <a:pt x="6764031" y="4375265"/>
                  <a:pt x="6762966" y="4378060"/>
                  <a:pt x="6762966" y="4382054"/>
                </a:cubicBezTo>
                <a:cubicBezTo>
                  <a:pt x="6762966" y="4386180"/>
                  <a:pt x="6764031" y="4388976"/>
                  <a:pt x="6766560" y="4391505"/>
                </a:cubicBezTo>
                <a:cubicBezTo>
                  <a:pt x="6768157" y="4393104"/>
                  <a:pt x="6770687" y="4394967"/>
                  <a:pt x="6776544" y="4394967"/>
                </a:cubicBezTo>
                <a:cubicBezTo>
                  <a:pt x="6778541" y="4394967"/>
                  <a:pt x="6780270" y="4394701"/>
                  <a:pt x="6781869" y="4394035"/>
                </a:cubicBezTo>
                <a:cubicBezTo>
                  <a:pt x="6783333" y="4393503"/>
                  <a:pt x="6784664" y="4392571"/>
                  <a:pt x="6785595" y="4391638"/>
                </a:cubicBezTo>
                <a:cubicBezTo>
                  <a:pt x="6786661" y="4390440"/>
                  <a:pt x="6787593" y="4389109"/>
                  <a:pt x="6788258" y="4387379"/>
                </a:cubicBezTo>
                <a:cubicBezTo>
                  <a:pt x="6789057" y="4385781"/>
                  <a:pt x="6789323" y="4383917"/>
                  <a:pt x="6789323" y="4381921"/>
                </a:cubicBezTo>
                <a:cubicBezTo>
                  <a:pt x="6789323" y="4380057"/>
                  <a:pt x="6788923" y="4378326"/>
                  <a:pt x="6788258" y="4376729"/>
                </a:cubicBezTo>
                <a:cubicBezTo>
                  <a:pt x="6787593" y="4375132"/>
                  <a:pt x="6786661" y="4373801"/>
                  <a:pt x="6785595" y="4372603"/>
                </a:cubicBezTo>
                <a:cubicBezTo>
                  <a:pt x="6784530" y="4371538"/>
                  <a:pt x="6783199" y="4370606"/>
                  <a:pt x="6781602" y="4369940"/>
                </a:cubicBezTo>
                <a:cubicBezTo>
                  <a:pt x="6780138" y="4369275"/>
                  <a:pt x="6778541" y="4369009"/>
                  <a:pt x="6776544" y="4369009"/>
                </a:cubicBezTo>
                <a:close/>
                <a:moveTo>
                  <a:pt x="6558899" y="4369009"/>
                </a:moveTo>
                <a:cubicBezTo>
                  <a:pt x="6553042" y="4369009"/>
                  <a:pt x="6550512" y="4371005"/>
                  <a:pt x="6548915" y="4372603"/>
                </a:cubicBezTo>
                <a:cubicBezTo>
                  <a:pt x="6546386" y="4375265"/>
                  <a:pt x="6545321" y="4378060"/>
                  <a:pt x="6545321" y="4382054"/>
                </a:cubicBezTo>
                <a:cubicBezTo>
                  <a:pt x="6545321" y="4386180"/>
                  <a:pt x="6546386" y="4388976"/>
                  <a:pt x="6548915" y="4391505"/>
                </a:cubicBezTo>
                <a:cubicBezTo>
                  <a:pt x="6550512" y="4393104"/>
                  <a:pt x="6553042" y="4394967"/>
                  <a:pt x="6558899" y="4394967"/>
                </a:cubicBezTo>
                <a:cubicBezTo>
                  <a:pt x="6560895" y="4394967"/>
                  <a:pt x="6562759" y="4394701"/>
                  <a:pt x="6564223" y="4394035"/>
                </a:cubicBezTo>
                <a:cubicBezTo>
                  <a:pt x="6565687" y="4393503"/>
                  <a:pt x="6567019" y="4392571"/>
                  <a:pt x="6567950" y="4391638"/>
                </a:cubicBezTo>
                <a:cubicBezTo>
                  <a:pt x="6569015" y="4390440"/>
                  <a:pt x="6569947" y="4389109"/>
                  <a:pt x="6570612" y="4387379"/>
                </a:cubicBezTo>
                <a:cubicBezTo>
                  <a:pt x="6571412" y="4385781"/>
                  <a:pt x="6571677" y="4383917"/>
                  <a:pt x="6571677" y="4381921"/>
                </a:cubicBezTo>
                <a:cubicBezTo>
                  <a:pt x="6571677" y="4380057"/>
                  <a:pt x="6571278" y="4378326"/>
                  <a:pt x="6570612" y="4376729"/>
                </a:cubicBezTo>
                <a:cubicBezTo>
                  <a:pt x="6569947" y="4375132"/>
                  <a:pt x="6569015" y="4373801"/>
                  <a:pt x="6567950" y="4372603"/>
                </a:cubicBezTo>
                <a:cubicBezTo>
                  <a:pt x="6566885" y="4371538"/>
                  <a:pt x="6565554" y="4370606"/>
                  <a:pt x="6563956" y="4369940"/>
                </a:cubicBezTo>
                <a:cubicBezTo>
                  <a:pt x="6562492" y="4369275"/>
                  <a:pt x="6560895" y="4369009"/>
                  <a:pt x="6558899" y="4369009"/>
                </a:cubicBezTo>
                <a:close/>
                <a:moveTo>
                  <a:pt x="6341253" y="4369009"/>
                </a:moveTo>
                <a:cubicBezTo>
                  <a:pt x="6335396" y="4369009"/>
                  <a:pt x="6332867" y="4371005"/>
                  <a:pt x="6331270" y="4372603"/>
                </a:cubicBezTo>
                <a:cubicBezTo>
                  <a:pt x="6328740" y="4375265"/>
                  <a:pt x="6327675" y="4378060"/>
                  <a:pt x="6327675" y="4382054"/>
                </a:cubicBezTo>
                <a:cubicBezTo>
                  <a:pt x="6327675" y="4386180"/>
                  <a:pt x="6328740" y="4388976"/>
                  <a:pt x="6331270" y="4391505"/>
                </a:cubicBezTo>
                <a:cubicBezTo>
                  <a:pt x="6332867" y="4393104"/>
                  <a:pt x="6335396" y="4394967"/>
                  <a:pt x="6341253" y="4394967"/>
                </a:cubicBezTo>
                <a:cubicBezTo>
                  <a:pt x="6343250" y="4394967"/>
                  <a:pt x="6345114" y="4394701"/>
                  <a:pt x="6346578" y="4394035"/>
                </a:cubicBezTo>
                <a:cubicBezTo>
                  <a:pt x="6348042" y="4393503"/>
                  <a:pt x="6349373" y="4392571"/>
                  <a:pt x="6350305" y="4391638"/>
                </a:cubicBezTo>
                <a:cubicBezTo>
                  <a:pt x="6351370" y="4390440"/>
                  <a:pt x="6352302" y="4389109"/>
                  <a:pt x="6352968" y="4387379"/>
                </a:cubicBezTo>
                <a:cubicBezTo>
                  <a:pt x="6353766" y="4385781"/>
                  <a:pt x="6354033" y="4383917"/>
                  <a:pt x="6354033" y="4381921"/>
                </a:cubicBezTo>
                <a:cubicBezTo>
                  <a:pt x="6354033" y="4380057"/>
                  <a:pt x="6353633" y="4378326"/>
                  <a:pt x="6352968" y="4376729"/>
                </a:cubicBezTo>
                <a:cubicBezTo>
                  <a:pt x="6352302" y="4375132"/>
                  <a:pt x="6351370" y="4373801"/>
                  <a:pt x="6350305" y="4372603"/>
                </a:cubicBezTo>
                <a:cubicBezTo>
                  <a:pt x="6349241" y="4371538"/>
                  <a:pt x="6347909" y="4370606"/>
                  <a:pt x="6346312" y="4369940"/>
                </a:cubicBezTo>
                <a:cubicBezTo>
                  <a:pt x="6344848" y="4369275"/>
                  <a:pt x="6343250" y="4369009"/>
                  <a:pt x="6341253" y="4369009"/>
                </a:cubicBezTo>
                <a:close/>
                <a:moveTo>
                  <a:pt x="6123608" y="4369009"/>
                </a:moveTo>
                <a:cubicBezTo>
                  <a:pt x="6117751" y="4369009"/>
                  <a:pt x="6115221" y="4371005"/>
                  <a:pt x="6113624" y="4372603"/>
                </a:cubicBezTo>
                <a:cubicBezTo>
                  <a:pt x="6111095" y="4375265"/>
                  <a:pt x="6110030" y="4378060"/>
                  <a:pt x="6110030" y="4382054"/>
                </a:cubicBezTo>
                <a:cubicBezTo>
                  <a:pt x="6110030" y="4386180"/>
                  <a:pt x="6111095" y="4388976"/>
                  <a:pt x="6113624" y="4391505"/>
                </a:cubicBezTo>
                <a:cubicBezTo>
                  <a:pt x="6115221" y="4393104"/>
                  <a:pt x="6117751" y="4394967"/>
                  <a:pt x="6123608" y="4394967"/>
                </a:cubicBezTo>
                <a:cubicBezTo>
                  <a:pt x="6125737" y="4394967"/>
                  <a:pt x="6127468" y="4394701"/>
                  <a:pt x="6128932" y="4394035"/>
                </a:cubicBezTo>
                <a:cubicBezTo>
                  <a:pt x="6130530" y="4393503"/>
                  <a:pt x="6131728" y="4392571"/>
                  <a:pt x="6132659" y="4391638"/>
                </a:cubicBezTo>
                <a:cubicBezTo>
                  <a:pt x="6133724" y="4390440"/>
                  <a:pt x="6134656" y="4389109"/>
                  <a:pt x="6135322" y="4387379"/>
                </a:cubicBezTo>
                <a:cubicBezTo>
                  <a:pt x="6135987" y="4385781"/>
                  <a:pt x="6136387" y="4383917"/>
                  <a:pt x="6136387" y="4381921"/>
                </a:cubicBezTo>
                <a:cubicBezTo>
                  <a:pt x="6136387" y="4380057"/>
                  <a:pt x="6135987" y="4378326"/>
                  <a:pt x="6135322" y="4376729"/>
                </a:cubicBezTo>
                <a:cubicBezTo>
                  <a:pt x="6134656" y="4375132"/>
                  <a:pt x="6133724" y="4373801"/>
                  <a:pt x="6132659" y="4372603"/>
                </a:cubicBezTo>
                <a:cubicBezTo>
                  <a:pt x="6131594" y="4371538"/>
                  <a:pt x="6130263" y="4370606"/>
                  <a:pt x="6128666" y="4369940"/>
                </a:cubicBezTo>
                <a:cubicBezTo>
                  <a:pt x="6127202" y="4369275"/>
                  <a:pt x="6125604" y="4369009"/>
                  <a:pt x="6123608" y="4369009"/>
                </a:cubicBezTo>
                <a:close/>
                <a:moveTo>
                  <a:pt x="5905963" y="4369009"/>
                </a:moveTo>
                <a:cubicBezTo>
                  <a:pt x="5900106" y="4369009"/>
                  <a:pt x="5897576" y="4371005"/>
                  <a:pt x="5895979" y="4372603"/>
                </a:cubicBezTo>
                <a:cubicBezTo>
                  <a:pt x="5893450" y="4375265"/>
                  <a:pt x="5892385" y="4378060"/>
                  <a:pt x="5892385" y="4382054"/>
                </a:cubicBezTo>
                <a:cubicBezTo>
                  <a:pt x="5892385" y="4386180"/>
                  <a:pt x="5893450" y="4388976"/>
                  <a:pt x="5895979" y="4391505"/>
                </a:cubicBezTo>
                <a:cubicBezTo>
                  <a:pt x="5897576" y="4393104"/>
                  <a:pt x="5900106" y="4394967"/>
                  <a:pt x="5905963" y="4394967"/>
                </a:cubicBezTo>
                <a:cubicBezTo>
                  <a:pt x="5908093" y="4394967"/>
                  <a:pt x="5909823" y="4394701"/>
                  <a:pt x="5911287" y="4394035"/>
                </a:cubicBezTo>
                <a:cubicBezTo>
                  <a:pt x="5912751" y="4393503"/>
                  <a:pt x="5914083" y="4392571"/>
                  <a:pt x="5915014" y="4391638"/>
                </a:cubicBezTo>
                <a:cubicBezTo>
                  <a:pt x="5916079" y="4390440"/>
                  <a:pt x="5917011" y="4389109"/>
                  <a:pt x="5917677" y="4387379"/>
                </a:cubicBezTo>
                <a:cubicBezTo>
                  <a:pt x="5918342" y="4385781"/>
                  <a:pt x="5918742" y="4383917"/>
                  <a:pt x="5918742" y="4381921"/>
                </a:cubicBezTo>
                <a:cubicBezTo>
                  <a:pt x="5918742" y="4380057"/>
                  <a:pt x="5918342" y="4378326"/>
                  <a:pt x="5917677" y="4376729"/>
                </a:cubicBezTo>
                <a:cubicBezTo>
                  <a:pt x="5917011" y="4375132"/>
                  <a:pt x="5916079" y="4373801"/>
                  <a:pt x="5915014" y="4372603"/>
                </a:cubicBezTo>
                <a:cubicBezTo>
                  <a:pt x="5913950" y="4371538"/>
                  <a:pt x="5912618" y="4370606"/>
                  <a:pt x="5911021" y="4369940"/>
                </a:cubicBezTo>
                <a:cubicBezTo>
                  <a:pt x="5909557" y="4369275"/>
                  <a:pt x="5907826" y="4369009"/>
                  <a:pt x="5905963" y="4369009"/>
                </a:cubicBezTo>
                <a:close/>
                <a:moveTo>
                  <a:pt x="5688451" y="4369009"/>
                </a:moveTo>
                <a:cubicBezTo>
                  <a:pt x="5682594" y="4369009"/>
                  <a:pt x="5680064" y="4371005"/>
                  <a:pt x="5678467" y="4372603"/>
                </a:cubicBezTo>
                <a:cubicBezTo>
                  <a:pt x="5675938" y="4375265"/>
                  <a:pt x="5674873" y="4378060"/>
                  <a:pt x="5674873" y="4382054"/>
                </a:cubicBezTo>
                <a:cubicBezTo>
                  <a:pt x="5674873" y="4386180"/>
                  <a:pt x="5675938" y="4388976"/>
                  <a:pt x="5678467" y="4391505"/>
                </a:cubicBezTo>
                <a:cubicBezTo>
                  <a:pt x="5680064" y="4393104"/>
                  <a:pt x="5682594" y="4394967"/>
                  <a:pt x="5688451" y="4394967"/>
                </a:cubicBezTo>
                <a:cubicBezTo>
                  <a:pt x="5690447" y="4394967"/>
                  <a:pt x="5692178" y="4394701"/>
                  <a:pt x="5693775" y="4394035"/>
                </a:cubicBezTo>
                <a:cubicBezTo>
                  <a:pt x="5695239" y="4393503"/>
                  <a:pt x="5696571" y="4392571"/>
                  <a:pt x="5697502" y="4391638"/>
                </a:cubicBezTo>
                <a:cubicBezTo>
                  <a:pt x="5698567" y="4390440"/>
                  <a:pt x="5699499" y="4389109"/>
                  <a:pt x="5700165" y="4387379"/>
                </a:cubicBezTo>
                <a:cubicBezTo>
                  <a:pt x="5700830" y="4385781"/>
                  <a:pt x="5701230" y="4383917"/>
                  <a:pt x="5701230" y="4381921"/>
                </a:cubicBezTo>
                <a:cubicBezTo>
                  <a:pt x="5701230" y="4380057"/>
                  <a:pt x="5700830" y="4378326"/>
                  <a:pt x="5700165" y="4376729"/>
                </a:cubicBezTo>
                <a:cubicBezTo>
                  <a:pt x="5699499" y="4375132"/>
                  <a:pt x="5698567" y="4373801"/>
                  <a:pt x="5697502" y="4372603"/>
                </a:cubicBezTo>
                <a:cubicBezTo>
                  <a:pt x="5696437" y="4371538"/>
                  <a:pt x="5695106" y="4370606"/>
                  <a:pt x="5693509" y="4369940"/>
                </a:cubicBezTo>
                <a:cubicBezTo>
                  <a:pt x="5692045" y="4369275"/>
                  <a:pt x="5690314" y="4369009"/>
                  <a:pt x="5688451" y="4369009"/>
                </a:cubicBezTo>
                <a:close/>
                <a:moveTo>
                  <a:pt x="5470806" y="4369009"/>
                </a:moveTo>
                <a:cubicBezTo>
                  <a:pt x="5464949" y="4369009"/>
                  <a:pt x="5462419" y="4371005"/>
                  <a:pt x="5460822" y="4372603"/>
                </a:cubicBezTo>
                <a:cubicBezTo>
                  <a:pt x="5458293" y="4375265"/>
                  <a:pt x="5457228" y="4378060"/>
                  <a:pt x="5457228" y="4382054"/>
                </a:cubicBezTo>
                <a:cubicBezTo>
                  <a:pt x="5457228" y="4386180"/>
                  <a:pt x="5458293" y="4388976"/>
                  <a:pt x="5460822" y="4391505"/>
                </a:cubicBezTo>
                <a:cubicBezTo>
                  <a:pt x="5462419" y="4393104"/>
                  <a:pt x="5464949" y="4394967"/>
                  <a:pt x="5470806" y="4394967"/>
                </a:cubicBezTo>
                <a:cubicBezTo>
                  <a:pt x="5472802" y="4394967"/>
                  <a:pt x="5474666" y="4394701"/>
                  <a:pt x="5476130" y="4394035"/>
                </a:cubicBezTo>
                <a:cubicBezTo>
                  <a:pt x="5477594" y="4393503"/>
                  <a:pt x="5478926" y="4392571"/>
                  <a:pt x="5479857" y="4391638"/>
                </a:cubicBezTo>
                <a:cubicBezTo>
                  <a:pt x="5480922" y="4390440"/>
                  <a:pt x="5481854" y="4389109"/>
                  <a:pt x="5482520" y="4387379"/>
                </a:cubicBezTo>
                <a:cubicBezTo>
                  <a:pt x="5483319" y="4385781"/>
                  <a:pt x="5483585" y="4383917"/>
                  <a:pt x="5483585" y="4381921"/>
                </a:cubicBezTo>
                <a:cubicBezTo>
                  <a:pt x="5483585" y="4380057"/>
                  <a:pt x="5483185" y="4378326"/>
                  <a:pt x="5482520" y="4376729"/>
                </a:cubicBezTo>
                <a:cubicBezTo>
                  <a:pt x="5481854" y="4375132"/>
                  <a:pt x="5480922" y="4373801"/>
                  <a:pt x="5479857" y="4372603"/>
                </a:cubicBezTo>
                <a:cubicBezTo>
                  <a:pt x="5478793" y="4371538"/>
                  <a:pt x="5477461" y="4370606"/>
                  <a:pt x="5475864" y="4369940"/>
                </a:cubicBezTo>
                <a:cubicBezTo>
                  <a:pt x="5474400" y="4369275"/>
                  <a:pt x="5472669" y="4369009"/>
                  <a:pt x="5470806" y="4369009"/>
                </a:cubicBezTo>
                <a:close/>
                <a:moveTo>
                  <a:pt x="5253160" y="4369009"/>
                </a:moveTo>
                <a:cubicBezTo>
                  <a:pt x="5247303" y="4369009"/>
                  <a:pt x="5244774" y="4371005"/>
                  <a:pt x="5243177" y="4372603"/>
                </a:cubicBezTo>
                <a:cubicBezTo>
                  <a:pt x="5240647" y="4375265"/>
                  <a:pt x="5239583" y="4378060"/>
                  <a:pt x="5239583" y="4382054"/>
                </a:cubicBezTo>
                <a:cubicBezTo>
                  <a:pt x="5239583" y="4386180"/>
                  <a:pt x="5240647" y="4388976"/>
                  <a:pt x="5243177" y="4391505"/>
                </a:cubicBezTo>
                <a:cubicBezTo>
                  <a:pt x="5244774" y="4393104"/>
                  <a:pt x="5247303" y="4394967"/>
                  <a:pt x="5253160" y="4394967"/>
                </a:cubicBezTo>
                <a:cubicBezTo>
                  <a:pt x="5255157" y="4394967"/>
                  <a:pt x="5257021" y="4394701"/>
                  <a:pt x="5258485" y="4394035"/>
                </a:cubicBezTo>
                <a:cubicBezTo>
                  <a:pt x="5259949" y="4393503"/>
                  <a:pt x="5261280" y="4392571"/>
                  <a:pt x="5262212" y="4391638"/>
                </a:cubicBezTo>
                <a:cubicBezTo>
                  <a:pt x="5263277" y="4390440"/>
                  <a:pt x="5264209" y="4389109"/>
                  <a:pt x="5264875" y="4387379"/>
                </a:cubicBezTo>
                <a:cubicBezTo>
                  <a:pt x="5265673" y="4385781"/>
                  <a:pt x="5265939" y="4383917"/>
                  <a:pt x="5265939" y="4381921"/>
                </a:cubicBezTo>
                <a:cubicBezTo>
                  <a:pt x="5265939" y="4380057"/>
                  <a:pt x="5265540" y="4378326"/>
                  <a:pt x="5264875" y="4376729"/>
                </a:cubicBezTo>
                <a:cubicBezTo>
                  <a:pt x="5264209" y="4375132"/>
                  <a:pt x="5263277" y="4373801"/>
                  <a:pt x="5262212" y="4372603"/>
                </a:cubicBezTo>
                <a:cubicBezTo>
                  <a:pt x="5261147" y="4371538"/>
                  <a:pt x="5259816" y="4370606"/>
                  <a:pt x="5258219" y="4369940"/>
                </a:cubicBezTo>
                <a:cubicBezTo>
                  <a:pt x="5256754" y="4369275"/>
                  <a:pt x="5255024" y="4369009"/>
                  <a:pt x="5253160" y="4369009"/>
                </a:cubicBezTo>
                <a:close/>
                <a:moveTo>
                  <a:pt x="5035515" y="4369009"/>
                </a:moveTo>
                <a:cubicBezTo>
                  <a:pt x="5029658" y="4369009"/>
                  <a:pt x="5027129" y="4371005"/>
                  <a:pt x="5025532" y="4372603"/>
                </a:cubicBezTo>
                <a:cubicBezTo>
                  <a:pt x="5023002" y="4375265"/>
                  <a:pt x="5021938" y="4378060"/>
                  <a:pt x="5021938" y="4382054"/>
                </a:cubicBezTo>
                <a:cubicBezTo>
                  <a:pt x="5021938" y="4386180"/>
                  <a:pt x="5023002" y="4388976"/>
                  <a:pt x="5025532" y="4391505"/>
                </a:cubicBezTo>
                <a:cubicBezTo>
                  <a:pt x="5027129" y="4393104"/>
                  <a:pt x="5029658" y="4394967"/>
                  <a:pt x="5035515" y="4394967"/>
                </a:cubicBezTo>
                <a:cubicBezTo>
                  <a:pt x="5037645" y="4394967"/>
                  <a:pt x="5039376" y="4394701"/>
                  <a:pt x="5040840" y="4394035"/>
                </a:cubicBezTo>
                <a:cubicBezTo>
                  <a:pt x="5042304" y="4393503"/>
                  <a:pt x="5043636" y="4392571"/>
                  <a:pt x="5044567" y="4391638"/>
                </a:cubicBezTo>
                <a:cubicBezTo>
                  <a:pt x="5045632" y="4390440"/>
                  <a:pt x="5046564" y="4389109"/>
                  <a:pt x="5047230" y="4387379"/>
                </a:cubicBezTo>
                <a:cubicBezTo>
                  <a:pt x="5048028" y="4385781"/>
                  <a:pt x="5048294" y="4383917"/>
                  <a:pt x="5048294" y="4381921"/>
                </a:cubicBezTo>
                <a:cubicBezTo>
                  <a:pt x="5048294" y="4380057"/>
                  <a:pt x="5047895" y="4378326"/>
                  <a:pt x="5047230" y="4376729"/>
                </a:cubicBezTo>
                <a:cubicBezTo>
                  <a:pt x="5046564" y="4375132"/>
                  <a:pt x="5045632" y="4373801"/>
                  <a:pt x="5044567" y="4372603"/>
                </a:cubicBezTo>
                <a:cubicBezTo>
                  <a:pt x="5043502" y="4371538"/>
                  <a:pt x="5042171" y="4370606"/>
                  <a:pt x="5040574" y="4369940"/>
                </a:cubicBezTo>
                <a:cubicBezTo>
                  <a:pt x="5039110" y="4369275"/>
                  <a:pt x="5037379" y="4369009"/>
                  <a:pt x="5035515" y="4369009"/>
                </a:cubicBezTo>
                <a:close/>
                <a:moveTo>
                  <a:pt x="4817870" y="4369009"/>
                </a:moveTo>
                <a:cubicBezTo>
                  <a:pt x="4812013" y="4369009"/>
                  <a:pt x="4809484" y="4371005"/>
                  <a:pt x="4807887" y="4372603"/>
                </a:cubicBezTo>
                <a:cubicBezTo>
                  <a:pt x="4805357" y="4375265"/>
                  <a:pt x="4804293" y="4378060"/>
                  <a:pt x="4804293" y="4382054"/>
                </a:cubicBezTo>
                <a:cubicBezTo>
                  <a:pt x="4804293" y="4386180"/>
                  <a:pt x="4805357" y="4388976"/>
                  <a:pt x="4807887" y="4391505"/>
                </a:cubicBezTo>
                <a:cubicBezTo>
                  <a:pt x="4809484" y="4393104"/>
                  <a:pt x="4812013" y="4394967"/>
                  <a:pt x="4817870" y="4394967"/>
                </a:cubicBezTo>
                <a:cubicBezTo>
                  <a:pt x="4820000" y="4394967"/>
                  <a:pt x="4821731" y="4394701"/>
                  <a:pt x="4823195" y="4394035"/>
                </a:cubicBezTo>
                <a:cubicBezTo>
                  <a:pt x="4824659" y="4393503"/>
                  <a:pt x="4825857" y="4392571"/>
                  <a:pt x="4826922" y="4391638"/>
                </a:cubicBezTo>
                <a:cubicBezTo>
                  <a:pt x="4827987" y="4390440"/>
                  <a:pt x="4828919" y="4389109"/>
                  <a:pt x="4829585" y="4387379"/>
                </a:cubicBezTo>
                <a:cubicBezTo>
                  <a:pt x="4830383" y="4385781"/>
                  <a:pt x="4830650" y="4383917"/>
                  <a:pt x="4830650" y="4381921"/>
                </a:cubicBezTo>
                <a:cubicBezTo>
                  <a:pt x="4830650" y="4380057"/>
                  <a:pt x="4830250" y="4378326"/>
                  <a:pt x="4829585" y="4376729"/>
                </a:cubicBezTo>
                <a:cubicBezTo>
                  <a:pt x="4828919" y="4375132"/>
                  <a:pt x="4827987" y="4373801"/>
                  <a:pt x="4826922" y="4372603"/>
                </a:cubicBezTo>
                <a:cubicBezTo>
                  <a:pt x="4825857" y="4371538"/>
                  <a:pt x="4824526" y="4370606"/>
                  <a:pt x="4822929" y="4369940"/>
                </a:cubicBezTo>
                <a:cubicBezTo>
                  <a:pt x="4821465" y="4369275"/>
                  <a:pt x="4819734" y="4369009"/>
                  <a:pt x="4817870" y="4369009"/>
                </a:cubicBezTo>
                <a:close/>
                <a:moveTo>
                  <a:pt x="4600226" y="4369009"/>
                </a:moveTo>
                <a:cubicBezTo>
                  <a:pt x="4594369" y="4369009"/>
                  <a:pt x="4591839" y="4371005"/>
                  <a:pt x="4590242" y="4372603"/>
                </a:cubicBezTo>
                <a:cubicBezTo>
                  <a:pt x="4587713" y="4375265"/>
                  <a:pt x="4586648" y="4378060"/>
                  <a:pt x="4586648" y="4382054"/>
                </a:cubicBezTo>
                <a:cubicBezTo>
                  <a:pt x="4586648" y="4386180"/>
                  <a:pt x="4587713" y="4388976"/>
                  <a:pt x="4590242" y="4391505"/>
                </a:cubicBezTo>
                <a:cubicBezTo>
                  <a:pt x="4591839" y="4393104"/>
                  <a:pt x="4594369" y="4394967"/>
                  <a:pt x="4600226" y="4394967"/>
                </a:cubicBezTo>
                <a:cubicBezTo>
                  <a:pt x="4602355" y="4394967"/>
                  <a:pt x="4604086" y="4394701"/>
                  <a:pt x="4605550" y="4394035"/>
                </a:cubicBezTo>
                <a:cubicBezTo>
                  <a:pt x="4607148" y="4393503"/>
                  <a:pt x="4608346" y="4392571"/>
                  <a:pt x="4609277" y="4391638"/>
                </a:cubicBezTo>
                <a:cubicBezTo>
                  <a:pt x="4610342" y="4390440"/>
                  <a:pt x="4611274" y="4389109"/>
                  <a:pt x="4611940" y="4387379"/>
                </a:cubicBezTo>
                <a:cubicBezTo>
                  <a:pt x="4612605" y="4385781"/>
                  <a:pt x="4613005" y="4383917"/>
                  <a:pt x="4613005" y="4381921"/>
                </a:cubicBezTo>
                <a:cubicBezTo>
                  <a:pt x="4613005" y="4380057"/>
                  <a:pt x="4612605" y="4378326"/>
                  <a:pt x="4611940" y="4376729"/>
                </a:cubicBezTo>
                <a:cubicBezTo>
                  <a:pt x="4611274" y="4375132"/>
                  <a:pt x="4610342" y="4373801"/>
                  <a:pt x="4609277" y="4372603"/>
                </a:cubicBezTo>
                <a:cubicBezTo>
                  <a:pt x="4608212" y="4371538"/>
                  <a:pt x="4606881" y="4370606"/>
                  <a:pt x="4605284" y="4369940"/>
                </a:cubicBezTo>
                <a:cubicBezTo>
                  <a:pt x="4603820" y="4369275"/>
                  <a:pt x="4602222" y="4369009"/>
                  <a:pt x="4600226" y="4369009"/>
                </a:cubicBezTo>
                <a:close/>
                <a:moveTo>
                  <a:pt x="4382713" y="4369009"/>
                </a:moveTo>
                <a:cubicBezTo>
                  <a:pt x="4376857" y="4369009"/>
                  <a:pt x="4374327" y="4371005"/>
                  <a:pt x="4372730" y="4372603"/>
                </a:cubicBezTo>
                <a:cubicBezTo>
                  <a:pt x="4370201" y="4375265"/>
                  <a:pt x="4369136" y="4378060"/>
                  <a:pt x="4369136" y="4382054"/>
                </a:cubicBezTo>
                <a:cubicBezTo>
                  <a:pt x="4369136" y="4386180"/>
                  <a:pt x="4370201" y="4388976"/>
                  <a:pt x="4372730" y="4391505"/>
                </a:cubicBezTo>
                <a:cubicBezTo>
                  <a:pt x="4374327" y="4393104"/>
                  <a:pt x="4376857" y="4394967"/>
                  <a:pt x="4382713" y="4394967"/>
                </a:cubicBezTo>
                <a:cubicBezTo>
                  <a:pt x="4384710" y="4394967"/>
                  <a:pt x="4386441" y="4394701"/>
                  <a:pt x="4388038" y="4394035"/>
                </a:cubicBezTo>
                <a:cubicBezTo>
                  <a:pt x="4389502" y="4393503"/>
                  <a:pt x="4390834" y="4392571"/>
                  <a:pt x="4391765" y="4391638"/>
                </a:cubicBezTo>
                <a:cubicBezTo>
                  <a:pt x="4392830" y="4390440"/>
                  <a:pt x="4393762" y="4389109"/>
                  <a:pt x="4394428" y="4387379"/>
                </a:cubicBezTo>
                <a:cubicBezTo>
                  <a:pt x="4395093" y="4385781"/>
                  <a:pt x="4395493" y="4383917"/>
                  <a:pt x="4395493" y="4381921"/>
                </a:cubicBezTo>
                <a:cubicBezTo>
                  <a:pt x="4395493" y="4380057"/>
                  <a:pt x="4395093" y="4378326"/>
                  <a:pt x="4394428" y="4376729"/>
                </a:cubicBezTo>
                <a:cubicBezTo>
                  <a:pt x="4393762" y="4375132"/>
                  <a:pt x="4392830" y="4373801"/>
                  <a:pt x="4391765" y="4372603"/>
                </a:cubicBezTo>
                <a:cubicBezTo>
                  <a:pt x="4390700" y="4371538"/>
                  <a:pt x="4389369" y="4370606"/>
                  <a:pt x="4387772" y="4369940"/>
                </a:cubicBezTo>
                <a:cubicBezTo>
                  <a:pt x="4386308" y="4369275"/>
                  <a:pt x="4384710" y="4369009"/>
                  <a:pt x="4382713" y="4369009"/>
                </a:cubicBezTo>
                <a:close/>
                <a:moveTo>
                  <a:pt x="4165068" y="4369009"/>
                </a:moveTo>
                <a:cubicBezTo>
                  <a:pt x="4159211" y="4369009"/>
                  <a:pt x="4156681" y="4371005"/>
                  <a:pt x="4155084" y="4372603"/>
                </a:cubicBezTo>
                <a:cubicBezTo>
                  <a:pt x="4152555" y="4375265"/>
                  <a:pt x="4151490" y="4378060"/>
                  <a:pt x="4151490" y="4382054"/>
                </a:cubicBezTo>
                <a:cubicBezTo>
                  <a:pt x="4151490" y="4386180"/>
                  <a:pt x="4152555" y="4388976"/>
                  <a:pt x="4155084" y="4391505"/>
                </a:cubicBezTo>
                <a:cubicBezTo>
                  <a:pt x="4156681" y="4393104"/>
                  <a:pt x="4159211" y="4394967"/>
                  <a:pt x="4165068" y="4394967"/>
                </a:cubicBezTo>
                <a:cubicBezTo>
                  <a:pt x="4167064" y="4394967"/>
                  <a:pt x="4168928" y="4394701"/>
                  <a:pt x="4170392" y="4394035"/>
                </a:cubicBezTo>
                <a:cubicBezTo>
                  <a:pt x="4171856" y="4393503"/>
                  <a:pt x="4173188" y="4392571"/>
                  <a:pt x="4174119" y="4391638"/>
                </a:cubicBezTo>
                <a:cubicBezTo>
                  <a:pt x="4175184" y="4390440"/>
                  <a:pt x="4176116" y="4389109"/>
                  <a:pt x="4176782" y="4387379"/>
                </a:cubicBezTo>
                <a:cubicBezTo>
                  <a:pt x="4177447" y="4385781"/>
                  <a:pt x="4177847" y="4383917"/>
                  <a:pt x="4177847" y="4381921"/>
                </a:cubicBezTo>
                <a:cubicBezTo>
                  <a:pt x="4177847" y="4380057"/>
                  <a:pt x="4177447" y="4378326"/>
                  <a:pt x="4176782" y="4376729"/>
                </a:cubicBezTo>
                <a:cubicBezTo>
                  <a:pt x="4176116" y="4375132"/>
                  <a:pt x="4175184" y="4373801"/>
                  <a:pt x="4174119" y="4372603"/>
                </a:cubicBezTo>
                <a:cubicBezTo>
                  <a:pt x="4173054" y="4371538"/>
                  <a:pt x="4171723" y="4370606"/>
                  <a:pt x="4170126" y="4369940"/>
                </a:cubicBezTo>
                <a:cubicBezTo>
                  <a:pt x="4168662" y="4369275"/>
                  <a:pt x="4167064" y="4369009"/>
                  <a:pt x="4165068" y="4369009"/>
                </a:cubicBezTo>
                <a:close/>
                <a:moveTo>
                  <a:pt x="3947663" y="4369009"/>
                </a:moveTo>
                <a:cubicBezTo>
                  <a:pt x="3941805" y="4369009"/>
                  <a:pt x="3939276" y="4371005"/>
                  <a:pt x="3937680" y="4372603"/>
                </a:cubicBezTo>
                <a:cubicBezTo>
                  <a:pt x="3935149" y="4375265"/>
                  <a:pt x="3934085" y="4378060"/>
                  <a:pt x="3934085" y="4382054"/>
                </a:cubicBezTo>
                <a:cubicBezTo>
                  <a:pt x="3934085" y="4386180"/>
                  <a:pt x="3935149" y="4388976"/>
                  <a:pt x="3937680" y="4391505"/>
                </a:cubicBezTo>
                <a:cubicBezTo>
                  <a:pt x="3939276" y="4393104"/>
                  <a:pt x="3941805" y="4394967"/>
                  <a:pt x="3947663" y="4394967"/>
                </a:cubicBezTo>
                <a:cubicBezTo>
                  <a:pt x="3949661" y="4394967"/>
                  <a:pt x="3951524" y="4394701"/>
                  <a:pt x="3952991" y="4394035"/>
                </a:cubicBezTo>
                <a:cubicBezTo>
                  <a:pt x="3954454" y="4393503"/>
                  <a:pt x="3955785" y="4392571"/>
                  <a:pt x="3956717" y="4391638"/>
                </a:cubicBezTo>
                <a:cubicBezTo>
                  <a:pt x="3957782" y="4390440"/>
                  <a:pt x="3958714" y="4389109"/>
                  <a:pt x="3959380" y="4387379"/>
                </a:cubicBezTo>
                <a:cubicBezTo>
                  <a:pt x="3960046" y="4385781"/>
                  <a:pt x="3960445" y="4383917"/>
                  <a:pt x="3960445" y="4381921"/>
                </a:cubicBezTo>
                <a:cubicBezTo>
                  <a:pt x="3960445" y="4380057"/>
                  <a:pt x="3960046" y="4378326"/>
                  <a:pt x="3959380" y="4376729"/>
                </a:cubicBezTo>
                <a:cubicBezTo>
                  <a:pt x="3958714" y="4375132"/>
                  <a:pt x="3957782" y="4373801"/>
                  <a:pt x="3956717" y="4372603"/>
                </a:cubicBezTo>
                <a:cubicBezTo>
                  <a:pt x="3955652" y="4371538"/>
                  <a:pt x="3954321" y="4370606"/>
                  <a:pt x="3952723" y="4369940"/>
                </a:cubicBezTo>
                <a:cubicBezTo>
                  <a:pt x="3951257" y="4369275"/>
                  <a:pt x="3949661" y="4369009"/>
                  <a:pt x="3947663" y="4369009"/>
                </a:cubicBezTo>
                <a:close/>
                <a:moveTo>
                  <a:pt x="3730007" y="4369009"/>
                </a:moveTo>
                <a:cubicBezTo>
                  <a:pt x="3724150" y="4369009"/>
                  <a:pt x="3721620" y="4371005"/>
                  <a:pt x="3720020" y="4372603"/>
                </a:cubicBezTo>
                <a:cubicBezTo>
                  <a:pt x="3717491" y="4375265"/>
                  <a:pt x="3716428" y="4378060"/>
                  <a:pt x="3716428" y="4382054"/>
                </a:cubicBezTo>
                <a:cubicBezTo>
                  <a:pt x="3716428" y="4386180"/>
                  <a:pt x="3717491" y="4388976"/>
                  <a:pt x="3720020" y="4391505"/>
                </a:cubicBezTo>
                <a:cubicBezTo>
                  <a:pt x="3721620" y="4393104"/>
                  <a:pt x="3724150" y="4394967"/>
                  <a:pt x="3730007" y="4394967"/>
                </a:cubicBezTo>
                <a:cubicBezTo>
                  <a:pt x="3732137" y="4394967"/>
                  <a:pt x="3733868" y="4394701"/>
                  <a:pt x="3735332" y="4394035"/>
                </a:cubicBezTo>
                <a:cubicBezTo>
                  <a:pt x="3736796" y="4393503"/>
                  <a:pt x="3738129" y="4392571"/>
                  <a:pt x="3739059" y="4391638"/>
                </a:cubicBezTo>
                <a:cubicBezTo>
                  <a:pt x="3740124" y="4390440"/>
                  <a:pt x="3741057" y="4389109"/>
                  <a:pt x="3741722" y="4387379"/>
                </a:cubicBezTo>
                <a:cubicBezTo>
                  <a:pt x="3742387" y="4385781"/>
                  <a:pt x="3742787" y="4383917"/>
                  <a:pt x="3742787" y="4381921"/>
                </a:cubicBezTo>
                <a:cubicBezTo>
                  <a:pt x="3742787" y="4380057"/>
                  <a:pt x="3742387" y="4378326"/>
                  <a:pt x="3741722" y="4376729"/>
                </a:cubicBezTo>
                <a:cubicBezTo>
                  <a:pt x="3741057" y="4375132"/>
                  <a:pt x="3740124" y="4373801"/>
                  <a:pt x="3739059" y="4372603"/>
                </a:cubicBezTo>
                <a:cubicBezTo>
                  <a:pt x="3737995" y="4371538"/>
                  <a:pt x="3736663" y="4370606"/>
                  <a:pt x="3735066" y="4369940"/>
                </a:cubicBezTo>
                <a:cubicBezTo>
                  <a:pt x="3733601" y="4369275"/>
                  <a:pt x="3732004" y="4369009"/>
                  <a:pt x="3730007" y="4369009"/>
                </a:cubicBezTo>
                <a:close/>
                <a:moveTo>
                  <a:pt x="3512349" y="4369009"/>
                </a:moveTo>
                <a:cubicBezTo>
                  <a:pt x="3506491" y="4369009"/>
                  <a:pt x="3503961" y="4371005"/>
                  <a:pt x="3502361" y="4372603"/>
                </a:cubicBezTo>
                <a:cubicBezTo>
                  <a:pt x="3499832" y="4375265"/>
                  <a:pt x="3498768" y="4378060"/>
                  <a:pt x="3498768" y="4382054"/>
                </a:cubicBezTo>
                <a:cubicBezTo>
                  <a:pt x="3498768" y="4386180"/>
                  <a:pt x="3499832" y="4388976"/>
                  <a:pt x="3502361" y="4391505"/>
                </a:cubicBezTo>
                <a:cubicBezTo>
                  <a:pt x="3503961" y="4393104"/>
                  <a:pt x="3506491" y="4394967"/>
                  <a:pt x="3512349" y="4394967"/>
                </a:cubicBezTo>
                <a:cubicBezTo>
                  <a:pt x="3514479" y="4394967"/>
                  <a:pt x="3516210" y="4394701"/>
                  <a:pt x="3517674" y="4394035"/>
                </a:cubicBezTo>
                <a:cubicBezTo>
                  <a:pt x="3519139" y="4393503"/>
                  <a:pt x="3520471" y="4392571"/>
                  <a:pt x="3521402" y="4391638"/>
                </a:cubicBezTo>
                <a:cubicBezTo>
                  <a:pt x="3522467" y="4390440"/>
                  <a:pt x="3523399" y="4389109"/>
                  <a:pt x="3524065" y="4387379"/>
                </a:cubicBezTo>
                <a:cubicBezTo>
                  <a:pt x="3524730" y="4385781"/>
                  <a:pt x="3525130" y="4383917"/>
                  <a:pt x="3525130" y="4381921"/>
                </a:cubicBezTo>
                <a:cubicBezTo>
                  <a:pt x="3525130" y="4380057"/>
                  <a:pt x="3524730" y="4378326"/>
                  <a:pt x="3524065" y="4376729"/>
                </a:cubicBezTo>
                <a:cubicBezTo>
                  <a:pt x="3523399" y="4375132"/>
                  <a:pt x="3522467" y="4373801"/>
                  <a:pt x="3521402" y="4372603"/>
                </a:cubicBezTo>
                <a:cubicBezTo>
                  <a:pt x="3520337" y="4371538"/>
                  <a:pt x="3519006" y="4370606"/>
                  <a:pt x="3517409" y="4369940"/>
                </a:cubicBezTo>
                <a:cubicBezTo>
                  <a:pt x="3515945" y="4369275"/>
                  <a:pt x="3514346" y="4369009"/>
                  <a:pt x="3512349" y="4369009"/>
                </a:cubicBezTo>
                <a:close/>
                <a:moveTo>
                  <a:pt x="3294825" y="4369009"/>
                </a:moveTo>
                <a:cubicBezTo>
                  <a:pt x="3288966" y="4369009"/>
                  <a:pt x="3286436" y="4371005"/>
                  <a:pt x="3284839" y="4372603"/>
                </a:cubicBezTo>
                <a:cubicBezTo>
                  <a:pt x="3282308" y="4375265"/>
                  <a:pt x="3281245" y="4378060"/>
                  <a:pt x="3281245" y="4382054"/>
                </a:cubicBezTo>
                <a:cubicBezTo>
                  <a:pt x="3281245" y="4386180"/>
                  <a:pt x="3282308" y="4388976"/>
                  <a:pt x="3284839" y="4391505"/>
                </a:cubicBezTo>
                <a:cubicBezTo>
                  <a:pt x="3286436" y="4393104"/>
                  <a:pt x="3288966" y="4394967"/>
                  <a:pt x="3294825" y="4394967"/>
                </a:cubicBezTo>
                <a:cubicBezTo>
                  <a:pt x="3296822" y="4394967"/>
                  <a:pt x="3298552" y="4394701"/>
                  <a:pt x="3300150" y="4394035"/>
                </a:cubicBezTo>
                <a:cubicBezTo>
                  <a:pt x="3301614" y="4393503"/>
                  <a:pt x="3302946" y="4392571"/>
                  <a:pt x="3303877" y="4391638"/>
                </a:cubicBezTo>
                <a:cubicBezTo>
                  <a:pt x="3304942" y="4390440"/>
                  <a:pt x="3305874" y="4389109"/>
                  <a:pt x="3306540" y="4387379"/>
                </a:cubicBezTo>
                <a:cubicBezTo>
                  <a:pt x="3307205" y="4385781"/>
                  <a:pt x="3307604" y="4383917"/>
                  <a:pt x="3307604" y="4381921"/>
                </a:cubicBezTo>
                <a:cubicBezTo>
                  <a:pt x="3307604" y="4380057"/>
                  <a:pt x="3307205" y="4378326"/>
                  <a:pt x="3306540" y="4376729"/>
                </a:cubicBezTo>
                <a:cubicBezTo>
                  <a:pt x="3305874" y="4375132"/>
                  <a:pt x="3304942" y="4373801"/>
                  <a:pt x="3303877" y="4372603"/>
                </a:cubicBezTo>
                <a:cubicBezTo>
                  <a:pt x="3302812" y="4371538"/>
                  <a:pt x="3301481" y="4370606"/>
                  <a:pt x="3299884" y="4369940"/>
                </a:cubicBezTo>
                <a:cubicBezTo>
                  <a:pt x="3298420" y="4369275"/>
                  <a:pt x="3296822" y="4369009"/>
                  <a:pt x="3294825" y="4369009"/>
                </a:cubicBezTo>
                <a:close/>
                <a:moveTo>
                  <a:pt x="3077300" y="4369009"/>
                </a:moveTo>
                <a:cubicBezTo>
                  <a:pt x="3071443" y="4369009"/>
                  <a:pt x="3068913" y="4371005"/>
                  <a:pt x="3067317" y="4372603"/>
                </a:cubicBezTo>
                <a:cubicBezTo>
                  <a:pt x="3064652" y="4375265"/>
                  <a:pt x="3063587" y="4378060"/>
                  <a:pt x="3063587" y="4382054"/>
                </a:cubicBezTo>
                <a:cubicBezTo>
                  <a:pt x="3063587" y="4386180"/>
                  <a:pt x="3064652" y="4388976"/>
                  <a:pt x="3067183" y="4391505"/>
                </a:cubicBezTo>
                <a:cubicBezTo>
                  <a:pt x="3068781" y="4393104"/>
                  <a:pt x="3071310" y="4394967"/>
                  <a:pt x="3077167" y="4394967"/>
                </a:cubicBezTo>
                <a:cubicBezTo>
                  <a:pt x="3079164" y="4394967"/>
                  <a:pt x="3080895" y="4394701"/>
                  <a:pt x="3082625" y="4394035"/>
                </a:cubicBezTo>
                <a:cubicBezTo>
                  <a:pt x="3084091" y="4393503"/>
                  <a:pt x="3085422" y="4392571"/>
                  <a:pt x="3086353" y="4391638"/>
                </a:cubicBezTo>
                <a:cubicBezTo>
                  <a:pt x="3087417" y="4390440"/>
                  <a:pt x="3088350" y="4389109"/>
                  <a:pt x="3089015" y="4387379"/>
                </a:cubicBezTo>
                <a:cubicBezTo>
                  <a:pt x="3089680" y="4385781"/>
                  <a:pt x="3089948" y="4383917"/>
                  <a:pt x="3089948" y="4381921"/>
                </a:cubicBezTo>
                <a:cubicBezTo>
                  <a:pt x="3089948" y="4380057"/>
                  <a:pt x="3089680" y="4378326"/>
                  <a:pt x="3089015" y="4376729"/>
                </a:cubicBezTo>
                <a:cubicBezTo>
                  <a:pt x="3088350" y="4375132"/>
                  <a:pt x="3087417" y="4373801"/>
                  <a:pt x="3086353" y="4372603"/>
                </a:cubicBezTo>
                <a:cubicBezTo>
                  <a:pt x="3085288" y="4371538"/>
                  <a:pt x="3083957" y="4370606"/>
                  <a:pt x="3082360" y="4369940"/>
                </a:cubicBezTo>
                <a:cubicBezTo>
                  <a:pt x="3080895" y="4369275"/>
                  <a:pt x="3079297" y="4369009"/>
                  <a:pt x="3077300" y="4369009"/>
                </a:cubicBezTo>
                <a:close/>
                <a:moveTo>
                  <a:pt x="2859510" y="4369009"/>
                </a:moveTo>
                <a:cubicBezTo>
                  <a:pt x="2853653" y="4369009"/>
                  <a:pt x="2851123" y="4371005"/>
                  <a:pt x="2849524" y="4372603"/>
                </a:cubicBezTo>
                <a:cubicBezTo>
                  <a:pt x="2846990" y="4375265"/>
                  <a:pt x="2845927" y="4378060"/>
                  <a:pt x="2845927" y="4382054"/>
                </a:cubicBezTo>
                <a:cubicBezTo>
                  <a:pt x="2845927" y="4386180"/>
                  <a:pt x="2846990" y="4388976"/>
                  <a:pt x="2849524" y="4391505"/>
                </a:cubicBezTo>
                <a:cubicBezTo>
                  <a:pt x="2851123" y="4393104"/>
                  <a:pt x="2853653" y="4394967"/>
                  <a:pt x="2859510" y="4394967"/>
                </a:cubicBezTo>
                <a:cubicBezTo>
                  <a:pt x="2861507" y="4394967"/>
                  <a:pt x="2863371" y="4394701"/>
                  <a:pt x="2864835" y="4394035"/>
                </a:cubicBezTo>
                <a:cubicBezTo>
                  <a:pt x="2866433" y="4393503"/>
                  <a:pt x="2867631" y="4392571"/>
                  <a:pt x="2868562" y="4391638"/>
                </a:cubicBezTo>
                <a:cubicBezTo>
                  <a:pt x="2869627" y="4390440"/>
                  <a:pt x="2870559" y="4389109"/>
                  <a:pt x="2871225" y="4387379"/>
                </a:cubicBezTo>
                <a:cubicBezTo>
                  <a:pt x="2871757" y="4385781"/>
                  <a:pt x="2872156" y="4383917"/>
                  <a:pt x="2872156" y="4381921"/>
                </a:cubicBezTo>
                <a:cubicBezTo>
                  <a:pt x="2872156" y="4380057"/>
                  <a:pt x="2871890" y="4378326"/>
                  <a:pt x="2871225" y="4376729"/>
                </a:cubicBezTo>
                <a:cubicBezTo>
                  <a:pt x="2870559" y="4375132"/>
                  <a:pt x="2869627" y="4373801"/>
                  <a:pt x="2868562" y="4372603"/>
                </a:cubicBezTo>
                <a:cubicBezTo>
                  <a:pt x="2867498" y="4371538"/>
                  <a:pt x="2866166" y="4370606"/>
                  <a:pt x="2864569" y="4369940"/>
                </a:cubicBezTo>
                <a:cubicBezTo>
                  <a:pt x="2863105" y="4369275"/>
                  <a:pt x="2861507" y="4369009"/>
                  <a:pt x="2859510" y="4369009"/>
                </a:cubicBezTo>
                <a:close/>
                <a:moveTo>
                  <a:pt x="2641852" y="4369009"/>
                </a:moveTo>
                <a:cubicBezTo>
                  <a:pt x="2635995" y="4369009"/>
                  <a:pt x="2633466" y="4371005"/>
                  <a:pt x="2631869" y="4372603"/>
                </a:cubicBezTo>
                <a:cubicBezTo>
                  <a:pt x="2629339" y="4375265"/>
                  <a:pt x="2628274" y="4378060"/>
                  <a:pt x="2628274" y="4382054"/>
                </a:cubicBezTo>
                <a:cubicBezTo>
                  <a:pt x="2628274" y="4386180"/>
                  <a:pt x="2629339" y="4388976"/>
                  <a:pt x="2631869" y="4391505"/>
                </a:cubicBezTo>
                <a:cubicBezTo>
                  <a:pt x="2633466" y="4393104"/>
                  <a:pt x="2635995" y="4394967"/>
                  <a:pt x="2641852" y="4394967"/>
                </a:cubicBezTo>
                <a:cubicBezTo>
                  <a:pt x="2643849" y="4394967"/>
                  <a:pt x="2645713" y="4394701"/>
                  <a:pt x="2647177" y="4394035"/>
                </a:cubicBezTo>
                <a:cubicBezTo>
                  <a:pt x="2648774" y="4393503"/>
                  <a:pt x="2649972" y="4392571"/>
                  <a:pt x="2650904" y="4391638"/>
                </a:cubicBezTo>
                <a:cubicBezTo>
                  <a:pt x="2651969" y="4390440"/>
                  <a:pt x="2652901" y="4389109"/>
                  <a:pt x="2653567" y="4387379"/>
                </a:cubicBezTo>
                <a:cubicBezTo>
                  <a:pt x="2654099" y="4385781"/>
                  <a:pt x="2654498" y="4383917"/>
                  <a:pt x="2654498" y="4381921"/>
                </a:cubicBezTo>
                <a:cubicBezTo>
                  <a:pt x="2654498" y="4380057"/>
                  <a:pt x="2654232" y="4378326"/>
                  <a:pt x="2653567" y="4376729"/>
                </a:cubicBezTo>
                <a:cubicBezTo>
                  <a:pt x="2652901" y="4375132"/>
                  <a:pt x="2651969" y="4373801"/>
                  <a:pt x="2650904" y="4372603"/>
                </a:cubicBezTo>
                <a:cubicBezTo>
                  <a:pt x="2649839" y="4371538"/>
                  <a:pt x="2648508" y="4370606"/>
                  <a:pt x="2646911" y="4369940"/>
                </a:cubicBezTo>
                <a:cubicBezTo>
                  <a:pt x="2645446" y="4369275"/>
                  <a:pt x="2643849" y="4369009"/>
                  <a:pt x="2641852" y="4369009"/>
                </a:cubicBezTo>
                <a:close/>
                <a:moveTo>
                  <a:pt x="2424194" y="4369009"/>
                </a:moveTo>
                <a:cubicBezTo>
                  <a:pt x="2418337" y="4369009"/>
                  <a:pt x="2415808" y="4371005"/>
                  <a:pt x="2414211" y="4372603"/>
                </a:cubicBezTo>
                <a:cubicBezTo>
                  <a:pt x="2411681" y="4375265"/>
                  <a:pt x="2410617" y="4378060"/>
                  <a:pt x="2410617" y="4382054"/>
                </a:cubicBezTo>
                <a:cubicBezTo>
                  <a:pt x="2410617" y="4386180"/>
                  <a:pt x="2411681" y="4388976"/>
                  <a:pt x="2414211" y="4391505"/>
                </a:cubicBezTo>
                <a:cubicBezTo>
                  <a:pt x="2415808" y="4393104"/>
                  <a:pt x="2418337" y="4394967"/>
                  <a:pt x="2424194" y="4394967"/>
                </a:cubicBezTo>
                <a:cubicBezTo>
                  <a:pt x="2426324" y="4394967"/>
                  <a:pt x="2428056" y="4394701"/>
                  <a:pt x="2429520" y="4394035"/>
                </a:cubicBezTo>
                <a:cubicBezTo>
                  <a:pt x="2431118" y="4393503"/>
                  <a:pt x="2432315" y="4392571"/>
                  <a:pt x="2433246" y="4391638"/>
                </a:cubicBezTo>
                <a:cubicBezTo>
                  <a:pt x="2434312" y="4390440"/>
                  <a:pt x="2435243" y="4389109"/>
                  <a:pt x="2435910" y="4387379"/>
                </a:cubicBezTo>
                <a:cubicBezTo>
                  <a:pt x="2436441" y="4385781"/>
                  <a:pt x="2436841" y="4383917"/>
                  <a:pt x="2436841" y="4381921"/>
                </a:cubicBezTo>
                <a:cubicBezTo>
                  <a:pt x="2436841" y="4380057"/>
                  <a:pt x="2436575" y="4378326"/>
                  <a:pt x="2435910" y="4376729"/>
                </a:cubicBezTo>
                <a:cubicBezTo>
                  <a:pt x="2435243" y="4375132"/>
                  <a:pt x="2434312" y="4373801"/>
                  <a:pt x="2433246" y="4372603"/>
                </a:cubicBezTo>
                <a:cubicBezTo>
                  <a:pt x="2432183" y="4371538"/>
                  <a:pt x="2430851" y="4370606"/>
                  <a:pt x="2429253" y="4369940"/>
                </a:cubicBezTo>
                <a:cubicBezTo>
                  <a:pt x="2427789" y="4369275"/>
                  <a:pt x="2426191" y="4369009"/>
                  <a:pt x="2424194" y="4369009"/>
                </a:cubicBezTo>
                <a:close/>
                <a:moveTo>
                  <a:pt x="2206537" y="4369009"/>
                </a:moveTo>
                <a:cubicBezTo>
                  <a:pt x="2200680" y="4369009"/>
                  <a:pt x="2198150" y="4371005"/>
                  <a:pt x="2196553" y="4372603"/>
                </a:cubicBezTo>
                <a:cubicBezTo>
                  <a:pt x="2194023" y="4375265"/>
                  <a:pt x="2192959" y="4378060"/>
                  <a:pt x="2192959" y="4382054"/>
                </a:cubicBezTo>
                <a:cubicBezTo>
                  <a:pt x="2192959" y="4386180"/>
                  <a:pt x="2194023" y="4388976"/>
                  <a:pt x="2196553" y="4391505"/>
                </a:cubicBezTo>
                <a:cubicBezTo>
                  <a:pt x="2198150" y="4393104"/>
                  <a:pt x="2200680" y="4394967"/>
                  <a:pt x="2206537" y="4394967"/>
                </a:cubicBezTo>
                <a:cubicBezTo>
                  <a:pt x="2208666" y="4394967"/>
                  <a:pt x="2210398" y="4394701"/>
                  <a:pt x="2211862" y="4394035"/>
                </a:cubicBezTo>
                <a:cubicBezTo>
                  <a:pt x="2213459" y="4393503"/>
                  <a:pt x="2214657" y="4392571"/>
                  <a:pt x="2215589" y="4391638"/>
                </a:cubicBezTo>
                <a:cubicBezTo>
                  <a:pt x="2216654" y="4390440"/>
                  <a:pt x="2217585" y="4389109"/>
                  <a:pt x="2218252" y="4387379"/>
                </a:cubicBezTo>
                <a:cubicBezTo>
                  <a:pt x="2218784" y="4385781"/>
                  <a:pt x="2219183" y="4383917"/>
                  <a:pt x="2219183" y="4381921"/>
                </a:cubicBezTo>
                <a:cubicBezTo>
                  <a:pt x="2219183" y="4380057"/>
                  <a:pt x="2218917" y="4378326"/>
                  <a:pt x="2218252" y="4376729"/>
                </a:cubicBezTo>
                <a:cubicBezTo>
                  <a:pt x="2217585" y="4375132"/>
                  <a:pt x="2216654" y="4373801"/>
                  <a:pt x="2215589" y="4372603"/>
                </a:cubicBezTo>
                <a:cubicBezTo>
                  <a:pt x="2214524" y="4371538"/>
                  <a:pt x="2213193" y="4370606"/>
                  <a:pt x="2211596" y="4369940"/>
                </a:cubicBezTo>
                <a:cubicBezTo>
                  <a:pt x="2210131" y="4369275"/>
                  <a:pt x="2208534" y="4369009"/>
                  <a:pt x="2206537" y="4369009"/>
                </a:cubicBezTo>
                <a:close/>
                <a:moveTo>
                  <a:pt x="1989012" y="4369009"/>
                </a:moveTo>
                <a:cubicBezTo>
                  <a:pt x="1983155" y="4369009"/>
                  <a:pt x="1980626" y="4371005"/>
                  <a:pt x="1979029" y="4372603"/>
                </a:cubicBezTo>
                <a:cubicBezTo>
                  <a:pt x="1976499" y="4375265"/>
                  <a:pt x="1975435" y="4378060"/>
                  <a:pt x="1975435" y="4382054"/>
                </a:cubicBezTo>
                <a:cubicBezTo>
                  <a:pt x="1975435" y="4386180"/>
                  <a:pt x="1976499" y="4388976"/>
                  <a:pt x="1979029" y="4391505"/>
                </a:cubicBezTo>
                <a:cubicBezTo>
                  <a:pt x="1980626" y="4393104"/>
                  <a:pt x="1983155" y="4394967"/>
                  <a:pt x="1989012" y="4394967"/>
                </a:cubicBezTo>
                <a:cubicBezTo>
                  <a:pt x="1991009" y="4394967"/>
                  <a:pt x="1992740" y="4394701"/>
                  <a:pt x="1994337" y="4394035"/>
                </a:cubicBezTo>
                <a:cubicBezTo>
                  <a:pt x="1995935" y="4393503"/>
                  <a:pt x="1997133" y="4392571"/>
                  <a:pt x="1998064" y="4391638"/>
                </a:cubicBezTo>
                <a:cubicBezTo>
                  <a:pt x="1999129" y="4390440"/>
                  <a:pt x="2000061" y="4389109"/>
                  <a:pt x="2000727" y="4387379"/>
                </a:cubicBezTo>
                <a:cubicBezTo>
                  <a:pt x="2001259" y="4385781"/>
                  <a:pt x="2001658" y="4383917"/>
                  <a:pt x="2001658" y="4381921"/>
                </a:cubicBezTo>
                <a:cubicBezTo>
                  <a:pt x="2001658" y="4380057"/>
                  <a:pt x="2001392" y="4378326"/>
                  <a:pt x="2000727" y="4376729"/>
                </a:cubicBezTo>
                <a:cubicBezTo>
                  <a:pt x="2000061" y="4375132"/>
                  <a:pt x="1999129" y="4373801"/>
                  <a:pt x="1998064" y="4372603"/>
                </a:cubicBezTo>
                <a:cubicBezTo>
                  <a:pt x="1997000" y="4371538"/>
                  <a:pt x="1995668" y="4370606"/>
                  <a:pt x="1994071" y="4369940"/>
                </a:cubicBezTo>
                <a:cubicBezTo>
                  <a:pt x="1992607" y="4369275"/>
                  <a:pt x="1991009" y="4369009"/>
                  <a:pt x="1989012" y="4369009"/>
                </a:cubicBezTo>
                <a:close/>
                <a:moveTo>
                  <a:pt x="1771376" y="4369009"/>
                </a:moveTo>
                <a:cubicBezTo>
                  <a:pt x="1765519" y="4369009"/>
                  <a:pt x="1762991" y="4371005"/>
                  <a:pt x="1761394" y="4372603"/>
                </a:cubicBezTo>
                <a:cubicBezTo>
                  <a:pt x="1758864" y="4375265"/>
                  <a:pt x="1757800" y="4378060"/>
                  <a:pt x="1757800" y="4382054"/>
                </a:cubicBezTo>
                <a:cubicBezTo>
                  <a:pt x="1757800" y="4386180"/>
                  <a:pt x="1758864" y="4388976"/>
                  <a:pt x="1761394" y="4391505"/>
                </a:cubicBezTo>
                <a:cubicBezTo>
                  <a:pt x="1762991" y="4393104"/>
                  <a:pt x="1765519" y="4394967"/>
                  <a:pt x="1771376" y="4394967"/>
                </a:cubicBezTo>
                <a:cubicBezTo>
                  <a:pt x="1773373" y="4394967"/>
                  <a:pt x="1775237" y="4394701"/>
                  <a:pt x="1776701" y="4394035"/>
                </a:cubicBezTo>
                <a:cubicBezTo>
                  <a:pt x="1778165" y="4393503"/>
                  <a:pt x="1779495" y="4392571"/>
                  <a:pt x="1780427" y="4391638"/>
                </a:cubicBezTo>
                <a:cubicBezTo>
                  <a:pt x="1781492" y="4390440"/>
                  <a:pt x="1782424" y="4389109"/>
                  <a:pt x="1783090" y="4387379"/>
                </a:cubicBezTo>
                <a:cubicBezTo>
                  <a:pt x="1783755" y="4385781"/>
                  <a:pt x="1784155" y="4383917"/>
                  <a:pt x="1784155" y="4381921"/>
                </a:cubicBezTo>
                <a:cubicBezTo>
                  <a:pt x="1784155" y="4380057"/>
                  <a:pt x="1783755" y="4378326"/>
                  <a:pt x="1783090" y="4376729"/>
                </a:cubicBezTo>
                <a:cubicBezTo>
                  <a:pt x="1782424" y="4375132"/>
                  <a:pt x="1781492" y="4373801"/>
                  <a:pt x="1780427" y="4372603"/>
                </a:cubicBezTo>
                <a:cubicBezTo>
                  <a:pt x="1779362" y="4371538"/>
                  <a:pt x="1778032" y="4370606"/>
                  <a:pt x="1776435" y="4369940"/>
                </a:cubicBezTo>
                <a:cubicBezTo>
                  <a:pt x="1774970" y="4369275"/>
                  <a:pt x="1773373" y="4369009"/>
                  <a:pt x="1771376" y="4369009"/>
                </a:cubicBezTo>
                <a:close/>
                <a:moveTo>
                  <a:pt x="1553737" y="4369009"/>
                </a:moveTo>
                <a:cubicBezTo>
                  <a:pt x="1547880" y="4369009"/>
                  <a:pt x="1545351" y="4371005"/>
                  <a:pt x="1543754" y="4372603"/>
                </a:cubicBezTo>
                <a:cubicBezTo>
                  <a:pt x="1541224" y="4375265"/>
                  <a:pt x="1540160" y="4378060"/>
                  <a:pt x="1540160" y="4382054"/>
                </a:cubicBezTo>
                <a:cubicBezTo>
                  <a:pt x="1540160" y="4386180"/>
                  <a:pt x="1541224" y="4388976"/>
                  <a:pt x="1543754" y="4391505"/>
                </a:cubicBezTo>
                <a:cubicBezTo>
                  <a:pt x="1545351" y="4393104"/>
                  <a:pt x="1547880" y="4394967"/>
                  <a:pt x="1553737" y="4394967"/>
                </a:cubicBezTo>
                <a:cubicBezTo>
                  <a:pt x="1555734" y="4394967"/>
                  <a:pt x="1557598" y="4394701"/>
                  <a:pt x="1559062" y="4394035"/>
                </a:cubicBezTo>
                <a:cubicBezTo>
                  <a:pt x="1560526" y="4393503"/>
                  <a:pt x="1561858" y="4392571"/>
                  <a:pt x="1562789" y="4391638"/>
                </a:cubicBezTo>
                <a:cubicBezTo>
                  <a:pt x="1563854" y="4390440"/>
                  <a:pt x="1564786" y="4389109"/>
                  <a:pt x="1565452" y="4387379"/>
                </a:cubicBezTo>
                <a:cubicBezTo>
                  <a:pt x="1566117" y="4385781"/>
                  <a:pt x="1566517" y="4383917"/>
                  <a:pt x="1566517" y="4381921"/>
                </a:cubicBezTo>
                <a:cubicBezTo>
                  <a:pt x="1566517" y="4380057"/>
                  <a:pt x="1566117" y="4378326"/>
                  <a:pt x="1565452" y="4376729"/>
                </a:cubicBezTo>
                <a:cubicBezTo>
                  <a:pt x="1564786" y="4375132"/>
                  <a:pt x="1563854" y="4373801"/>
                  <a:pt x="1562789" y="4372603"/>
                </a:cubicBezTo>
                <a:cubicBezTo>
                  <a:pt x="1561724" y="4371538"/>
                  <a:pt x="1560393" y="4370606"/>
                  <a:pt x="1558796" y="4369940"/>
                </a:cubicBezTo>
                <a:cubicBezTo>
                  <a:pt x="1557332" y="4369275"/>
                  <a:pt x="1555734" y="4369009"/>
                  <a:pt x="1553737" y="4369009"/>
                </a:cubicBezTo>
                <a:close/>
                <a:moveTo>
                  <a:pt x="1336093" y="4369009"/>
                </a:moveTo>
                <a:cubicBezTo>
                  <a:pt x="1330235" y="4369009"/>
                  <a:pt x="1327706" y="4371005"/>
                  <a:pt x="1326110" y="4372603"/>
                </a:cubicBezTo>
                <a:cubicBezTo>
                  <a:pt x="1323579" y="4375265"/>
                  <a:pt x="1322515" y="4378060"/>
                  <a:pt x="1322515" y="4382054"/>
                </a:cubicBezTo>
                <a:cubicBezTo>
                  <a:pt x="1322515" y="4386180"/>
                  <a:pt x="1323579" y="4388976"/>
                  <a:pt x="1326110" y="4391505"/>
                </a:cubicBezTo>
                <a:cubicBezTo>
                  <a:pt x="1327706" y="4393104"/>
                  <a:pt x="1330235" y="4394967"/>
                  <a:pt x="1336093" y="4394967"/>
                </a:cubicBezTo>
                <a:cubicBezTo>
                  <a:pt x="1338223" y="4394967"/>
                  <a:pt x="1339953" y="4394701"/>
                  <a:pt x="1341419" y="4394035"/>
                </a:cubicBezTo>
                <a:cubicBezTo>
                  <a:pt x="1342883" y="4393503"/>
                  <a:pt x="1344214" y="4392571"/>
                  <a:pt x="1345147" y="4391638"/>
                </a:cubicBezTo>
                <a:cubicBezTo>
                  <a:pt x="1346211" y="4390440"/>
                  <a:pt x="1347144" y="4389109"/>
                  <a:pt x="1347809" y="4387379"/>
                </a:cubicBezTo>
                <a:cubicBezTo>
                  <a:pt x="1348475" y="4385781"/>
                  <a:pt x="1348875" y="4383917"/>
                  <a:pt x="1348875" y="4381921"/>
                </a:cubicBezTo>
                <a:cubicBezTo>
                  <a:pt x="1348875" y="4380057"/>
                  <a:pt x="1348475" y="4378326"/>
                  <a:pt x="1347809" y="4376729"/>
                </a:cubicBezTo>
                <a:cubicBezTo>
                  <a:pt x="1347144" y="4375132"/>
                  <a:pt x="1346211" y="4373801"/>
                  <a:pt x="1345147" y="4372603"/>
                </a:cubicBezTo>
                <a:cubicBezTo>
                  <a:pt x="1344081" y="4371538"/>
                  <a:pt x="1342751" y="4370606"/>
                  <a:pt x="1341152" y="4369940"/>
                </a:cubicBezTo>
                <a:cubicBezTo>
                  <a:pt x="1339688" y="4369275"/>
                  <a:pt x="1338089" y="4369009"/>
                  <a:pt x="1336093" y="4369009"/>
                </a:cubicBezTo>
                <a:close/>
                <a:moveTo>
                  <a:pt x="1118581" y="4369009"/>
                </a:moveTo>
                <a:cubicBezTo>
                  <a:pt x="1112722" y="4369009"/>
                  <a:pt x="1110193" y="4371005"/>
                  <a:pt x="1108596" y="4372603"/>
                </a:cubicBezTo>
                <a:cubicBezTo>
                  <a:pt x="1105933" y="4375265"/>
                  <a:pt x="1104869" y="4378060"/>
                  <a:pt x="1104869" y="4382054"/>
                </a:cubicBezTo>
                <a:cubicBezTo>
                  <a:pt x="1104869" y="4386180"/>
                  <a:pt x="1105933" y="4388976"/>
                  <a:pt x="1108463" y="4391505"/>
                </a:cubicBezTo>
                <a:cubicBezTo>
                  <a:pt x="1110060" y="4393104"/>
                  <a:pt x="1112590" y="4394967"/>
                  <a:pt x="1118448" y="4394967"/>
                </a:cubicBezTo>
                <a:cubicBezTo>
                  <a:pt x="1120578" y="4394967"/>
                  <a:pt x="1122310" y="4394701"/>
                  <a:pt x="1123905" y="4394035"/>
                </a:cubicBezTo>
                <a:cubicBezTo>
                  <a:pt x="1125370" y="4393503"/>
                  <a:pt x="1126705" y="4392571"/>
                  <a:pt x="1127635" y="4391638"/>
                </a:cubicBezTo>
                <a:cubicBezTo>
                  <a:pt x="1128700" y="4390440"/>
                  <a:pt x="1129631" y="4389109"/>
                  <a:pt x="1130298" y="4387379"/>
                </a:cubicBezTo>
                <a:cubicBezTo>
                  <a:pt x="1130962" y="4385781"/>
                  <a:pt x="1131363" y="4383917"/>
                  <a:pt x="1131363" y="4381921"/>
                </a:cubicBezTo>
                <a:cubicBezTo>
                  <a:pt x="1131363" y="4380057"/>
                  <a:pt x="1130962" y="4378326"/>
                  <a:pt x="1130298" y="4376729"/>
                </a:cubicBezTo>
                <a:cubicBezTo>
                  <a:pt x="1129631" y="4375132"/>
                  <a:pt x="1128700" y="4373801"/>
                  <a:pt x="1127635" y="4372603"/>
                </a:cubicBezTo>
                <a:cubicBezTo>
                  <a:pt x="1126569" y="4371538"/>
                  <a:pt x="1125237" y="4370606"/>
                  <a:pt x="1123639" y="4369940"/>
                </a:cubicBezTo>
                <a:cubicBezTo>
                  <a:pt x="1122177" y="4369275"/>
                  <a:pt x="1120578" y="4369009"/>
                  <a:pt x="1118581" y="4369009"/>
                </a:cubicBezTo>
                <a:close/>
                <a:moveTo>
                  <a:pt x="901069" y="4369009"/>
                </a:moveTo>
                <a:cubicBezTo>
                  <a:pt x="895211" y="4369009"/>
                  <a:pt x="892682" y="4371005"/>
                  <a:pt x="891085" y="4372603"/>
                </a:cubicBezTo>
                <a:cubicBezTo>
                  <a:pt x="888422" y="4375265"/>
                  <a:pt x="887358" y="4378060"/>
                  <a:pt x="887358" y="4382054"/>
                </a:cubicBezTo>
                <a:cubicBezTo>
                  <a:pt x="887358" y="4386180"/>
                  <a:pt x="888422" y="4388976"/>
                  <a:pt x="890952" y="4391505"/>
                </a:cubicBezTo>
                <a:cubicBezTo>
                  <a:pt x="892549" y="4393104"/>
                  <a:pt x="895078" y="4394967"/>
                  <a:pt x="900935" y="4394967"/>
                </a:cubicBezTo>
                <a:cubicBezTo>
                  <a:pt x="902932" y="4394967"/>
                  <a:pt x="904663" y="4394701"/>
                  <a:pt x="906393" y="4394035"/>
                </a:cubicBezTo>
                <a:cubicBezTo>
                  <a:pt x="907857" y="4393503"/>
                  <a:pt x="909189" y="4392571"/>
                  <a:pt x="910121" y="4391638"/>
                </a:cubicBezTo>
                <a:cubicBezTo>
                  <a:pt x="911185" y="4390440"/>
                  <a:pt x="912117" y="4389109"/>
                  <a:pt x="912783" y="4387379"/>
                </a:cubicBezTo>
                <a:cubicBezTo>
                  <a:pt x="913448" y="4385781"/>
                  <a:pt x="913848" y="4383917"/>
                  <a:pt x="913848" y="4381921"/>
                </a:cubicBezTo>
                <a:cubicBezTo>
                  <a:pt x="913848" y="4380057"/>
                  <a:pt x="913448" y="4378326"/>
                  <a:pt x="912783" y="4376729"/>
                </a:cubicBezTo>
                <a:cubicBezTo>
                  <a:pt x="912117" y="4375132"/>
                  <a:pt x="911185" y="4373801"/>
                  <a:pt x="910121" y="4372603"/>
                </a:cubicBezTo>
                <a:cubicBezTo>
                  <a:pt x="909056" y="4371538"/>
                  <a:pt x="907724" y="4370606"/>
                  <a:pt x="906127" y="4369940"/>
                </a:cubicBezTo>
                <a:cubicBezTo>
                  <a:pt x="904663" y="4369275"/>
                  <a:pt x="903065" y="4369009"/>
                  <a:pt x="901069" y="4369009"/>
                </a:cubicBezTo>
                <a:close/>
                <a:moveTo>
                  <a:pt x="683294" y="4369009"/>
                </a:moveTo>
                <a:cubicBezTo>
                  <a:pt x="677437" y="4369009"/>
                  <a:pt x="674908" y="4371005"/>
                  <a:pt x="673311" y="4372603"/>
                </a:cubicBezTo>
                <a:cubicBezTo>
                  <a:pt x="670781" y="4375265"/>
                  <a:pt x="669717" y="4378060"/>
                  <a:pt x="669717" y="4382054"/>
                </a:cubicBezTo>
                <a:cubicBezTo>
                  <a:pt x="669717" y="4386180"/>
                  <a:pt x="670781" y="4388976"/>
                  <a:pt x="673311" y="4391505"/>
                </a:cubicBezTo>
                <a:cubicBezTo>
                  <a:pt x="674908" y="4393104"/>
                  <a:pt x="677437" y="4394967"/>
                  <a:pt x="683294" y="4394967"/>
                </a:cubicBezTo>
                <a:cubicBezTo>
                  <a:pt x="685291" y="4394967"/>
                  <a:pt x="687155" y="4394701"/>
                  <a:pt x="688619" y="4394035"/>
                </a:cubicBezTo>
                <a:cubicBezTo>
                  <a:pt x="690083" y="4393503"/>
                  <a:pt x="691415" y="4392571"/>
                  <a:pt x="692346" y="4391638"/>
                </a:cubicBezTo>
                <a:cubicBezTo>
                  <a:pt x="693411" y="4390440"/>
                  <a:pt x="694343" y="4389109"/>
                  <a:pt x="695009" y="4387379"/>
                </a:cubicBezTo>
                <a:cubicBezTo>
                  <a:pt x="695674" y="4385781"/>
                  <a:pt x="696074" y="4383917"/>
                  <a:pt x="696074" y="4381921"/>
                </a:cubicBezTo>
                <a:cubicBezTo>
                  <a:pt x="696074" y="4380057"/>
                  <a:pt x="695674" y="4378326"/>
                  <a:pt x="695009" y="4376729"/>
                </a:cubicBezTo>
                <a:cubicBezTo>
                  <a:pt x="694343" y="4375132"/>
                  <a:pt x="693411" y="4373801"/>
                  <a:pt x="692346" y="4372603"/>
                </a:cubicBezTo>
                <a:cubicBezTo>
                  <a:pt x="691281" y="4371538"/>
                  <a:pt x="689950" y="4370606"/>
                  <a:pt x="688353" y="4369940"/>
                </a:cubicBezTo>
                <a:cubicBezTo>
                  <a:pt x="686889" y="4369275"/>
                  <a:pt x="685291" y="4369009"/>
                  <a:pt x="683294" y="4369009"/>
                </a:cubicBezTo>
                <a:close/>
                <a:moveTo>
                  <a:pt x="465652" y="4369009"/>
                </a:moveTo>
                <a:cubicBezTo>
                  <a:pt x="459795" y="4369009"/>
                  <a:pt x="457266" y="4371005"/>
                  <a:pt x="455669" y="4372603"/>
                </a:cubicBezTo>
                <a:cubicBezTo>
                  <a:pt x="453139" y="4375265"/>
                  <a:pt x="452075" y="4378060"/>
                  <a:pt x="452075" y="4382054"/>
                </a:cubicBezTo>
                <a:cubicBezTo>
                  <a:pt x="452075" y="4386180"/>
                  <a:pt x="453139" y="4388976"/>
                  <a:pt x="455669" y="4391505"/>
                </a:cubicBezTo>
                <a:cubicBezTo>
                  <a:pt x="457266" y="4393104"/>
                  <a:pt x="459795" y="4394967"/>
                  <a:pt x="465652" y="4394967"/>
                </a:cubicBezTo>
                <a:cubicBezTo>
                  <a:pt x="467649" y="4394967"/>
                  <a:pt x="469513" y="4394701"/>
                  <a:pt x="470977" y="4394035"/>
                </a:cubicBezTo>
                <a:cubicBezTo>
                  <a:pt x="472441" y="4393503"/>
                  <a:pt x="473772" y="4392571"/>
                  <a:pt x="474704" y="4391638"/>
                </a:cubicBezTo>
                <a:cubicBezTo>
                  <a:pt x="475769" y="4390440"/>
                  <a:pt x="476701" y="4389109"/>
                  <a:pt x="477367" y="4387379"/>
                </a:cubicBezTo>
                <a:cubicBezTo>
                  <a:pt x="478032" y="4385781"/>
                  <a:pt x="478432" y="4383917"/>
                  <a:pt x="478432" y="4381921"/>
                </a:cubicBezTo>
                <a:cubicBezTo>
                  <a:pt x="478432" y="4380057"/>
                  <a:pt x="478032" y="4378326"/>
                  <a:pt x="477367" y="4376729"/>
                </a:cubicBezTo>
                <a:cubicBezTo>
                  <a:pt x="476701" y="4375132"/>
                  <a:pt x="475769" y="4373801"/>
                  <a:pt x="474704" y="4372603"/>
                </a:cubicBezTo>
                <a:cubicBezTo>
                  <a:pt x="473639" y="4371538"/>
                  <a:pt x="472308" y="4370606"/>
                  <a:pt x="470711" y="4369940"/>
                </a:cubicBezTo>
                <a:cubicBezTo>
                  <a:pt x="469247" y="4369275"/>
                  <a:pt x="467649" y="4369009"/>
                  <a:pt x="465652" y="4369009"/>
                </a:cubicBezTo>
                <a:close/>
                <a:moveTo>
                  <a:pt x="248010" y="4369009"/>
                </a:moveTo>
                <a:cubicBezTo>
                  <a:pt x="242153" y="4369009"/>
                  <a:pt x="239624" y="4371005"/>
                  <a:pt x="238027" y="4372603"/>
                </a:cubicBezTo>
                <a:cubicBezTo>
                  <a:pt x="235497" y="4375265"/>
                  <a:pt x="234433" y="4378060"/>
                  <a:pt x="234433" y="4382054"/>
                </a:cubicBezTo>
                <a:cubicBezTo>
                  <a:pt x="234433" y="4386180"/>
                  <a:pt x="235497" y="4388976"/>
                  <a:pt x="238027" y="4391505"/>
                </a:cubicBezTo>
                <a:cubicBezTo>
                  <a:pt x="239624" y="4393104"/>
                  <a:pt x="242153" y="4394967"/>
                  <a:pt x="248010" y="4394967"/>
                </a:cubicBezTo>
                <a:cubicBezTo>
                  <a:pt x="250140" y="4394967"/>
                  <a:pt x="251870" y="4394701"/>
                  <a:pt x="253334" y="4394035"/>
                </a:cubicBezTo>
                <a:cubicBezTo>
                  <a:pt x="254798" y="4393503"/>
                  <a:pt x="256129" y="4392571"/>
                  <a:pt x="257061" y="4391638"/>
                </a:cubicBezTo>
                <a:cubicBezTo>
                  <a:pt x="258126" y="4390440"/>
                  <a:pt x="259058" y="4389109"/>
                  <a:pt x="259724" y="4387379"/>
                </a:cubicBezTo>
                <a:cubicBezTo>
                  <a:pt x="260389" y="4385781"/>
                  <a:pt x="260789" y="4383917"/>
                  <a:pt x="260789" y="4381921"/>
                </a:cubicBezTo>
                <a:cubicBezTo>
                  <a:pt x="260789" y="4380057"/>
                  <a:pt x="260389" y="4378326"/>
                  <a:pt x="259724" y="4376729"/>
                </a:cubicBezTo>
                <a:cubicBezTo>
                  <a:pt x="259058" y="4375132"/>
                  <a:pt x="258126" y="4373801"/>
                  <a:pt x="257061" y="4372603"/>
                </a:cubicBezTo>
                <a:cubicBezTo>
                  <a:pt x="255996" y="4371538"/>
                  <a:pt x="254665" y="4370606"/>
                  <a:pt x="253068" y="4369940"/>
                </a:cubicBezTo>
                <a:cubicBezTo>
                  <a:pt x="251604" y="4369275"/>
                  <a:pt x="250007" y="4369009"/>
                  <a:pt x="248010" y="4369009"/>
                </a:cubicBezTo>
                <a:close/>
                <a:moveTo>
                  <a:pt x="30368" y="4369009"/>
                </a:moveTo>
                <a:cubicBezTo>
                  <a:pt x="24510" y="4369009"/>
                  <a:pt x="21981" y="4371005"/>
                  <a:pt x="20384" y="4372603"/>
                </a:cubicBezTo>
                <a:cubicBezTo>
                  <a:pt x="17855" y="4375265"/>
                  <a:pt x="16791" y="4378060"/>
                  <a:pt x="16791" y="4382054"/>
                </a:cubicBezTo>
                <a:cubicBezTo>
                  <a:pt x="16791" y="4386180"/>
                  <a:pt x="17855" y="4388976"/>
                  <a:pt x="20384" y="4391505"/>
                </a:cubicBezTo>
                <a:cubicBezTo>
                  <a:pt x="21981" y="4393104"/>
                  <a:pt x="24510" y="4394967"/>
                  <a:pt x="30368" y="4394967"/>
                </a:cubicBezTo>
                <a:cubicBezTo>
                  <a:pt x="32497" y="4394967"/>
                  <a:pt x="34229" y="4394701"/>
                  <a:pt x="35693" y="4394035"/>
                </a:cubicBezTo>
                <a:cubicBezTo>
                  <a:pt x="37157" y="4393503"/>
                  <a:pt x="38489" y="4392571"/>
                  <a:pt x="39420" y="4391638"/>
                </a:cubicBezTo>
                <a:cubicBezTo>
                  <a:pt x="40485" y="4390440"/>
                  <a:pt x="41417" y="4389109"/>
                  <a:pt x="42083" y="4387379"/>
                </a:cubicBezTo>
                <a:cubicBezTo>
                  <a:pt x="42748" y="4385781"/>
                  <a:pt x="43014" y="4383917"/>
                  <a:pt x="43014" y="4381921"/>
                </a:cubicBezTo>
                <a:cubicBezTo>
                  <a:pt x="43014" y="4380057"/>
                  <a:pt x="42748" y="4378326"/>
                  <a:pt x="42083" y="4376729"/>
                </a:cubicBezTo>
                <a:cubicBezTo>
                  <a:pt x="41417" y="4375132"/>
                  <a:pt x="40485" y="4373801"/>
                  <a:pt x="39420" y="4372603"/>
                </a:cubicBezTo>
                <a:cubicBezTo>
                  <a:pt x="38355" y="4371538"/>
                  <a:pt x="37024" y="4370606"/>
                  <a:pt x="35427" y="4369940"/>
                </a:cubicBezTo>
                <a:cubicBezTo>
                  <a:pt x="33963" y="4369275"/>
                  <a:pt x="32365" y="4369009"/>
                  <a:pt x="30368" y="4369009"/>
                </a:cubicBezTo>
                <a:close/>
                <a:moveTo>
                  <a:pt x="10475977" y="4352369"/>
                </a:moveTo>
                <a:cubicBezTo>
                  <a:pt x="10480237" y="4352369"/>
                  <a:pt x="10484230" y="4353168"/>
                  <a:pt x="10487824" y="4355031"/>
                </a:cubicBezTo>
                <a:cubicBezTo>
                  <a:pt x="10491419" y="4356628"/>
                  <a:pt x="10494613" y="4358758"/>
                  <a:pt x="10497143" y="4361421"/>
                </a:cubicBezTo>
                <a:cubicBezTo>
                  <a:pt x="10499672" y="4363950"/>
                  <a:pt x="10501801" y="4367145"/>
                  <a:pt x="10503266" y="4370739"/>
                </a:cubicBezTo>
                <a:cubicBezTo>
                  <a:pt x="10504730" y="4374333"/>
                  <a:pt x="10505529" y="4378060"/>
                  <a:pt x="10505529" y="4382187"/>
                </a:cubicBezTo>
                <a:cubicBezTo>
                  <a:pt x="10505529" y="4386313"/>
                  <a:pt x="10504730" y="4390307"/>
                  <a:pt x="10503266" y="4393902"/>
                </a:cubicBezTo>
                <a:cubicBezTo>
                  <a:pt x="10501669" y="4397496"/>
                  <a:pt x="10499672" y="4400558"/>
                  <a:pt x="10497143" y="4403220"/>
                </a:cubicBezTo>
                <a:cubicBezTo>
                  <a:pt x="10494480" y="4405883"/>
                  <a:pt x="10491419" y="4408013"/>
                  <a:pt x="10487824" y="4409477"/>
                </a:cubicBezTo>
                <a:cubicBezTo>
                  <a:pt x="10484098" y="4410941"/>
                  <a:pt x="10480237" y="4411740"/>
                  <a:pt x="10475977" y="4411740"/>
                </a:cubicBezTo>
                <a:cubicBezTo>
                  <a:pt x="10466924" y="4411740"/>
                  <a:pt x="10459736" y="4408811"/>
                  <a:pt x="10454145" y="4403220"/>
                </a:cubicBezTo>
                <a:cubicBezTo>
                  <a:pt x="10448554" y="4397629"/>
                  <a:pt x="10445759" y="4390440"/>
                  <a:pt x="10445759" y="4382054"/>
                </a:cubicBezTo>
                <a:cubicBezTo>
                  <a:pt x="10445759" y="4373801"/>
                  <a:pt x="10448554" y="4366745"/>
                  <a:pt x="10454145" y="4361021"/>
                </a:cubicBezTo>
                <a:cubicBezTo>
                  <a:pt x="10459603" y="4355298"/>
                  <a:pt x="10466924" y="4352369"/>
                  <a:pt x="10475977" y="4352369"/>
                </a:cubicBezTo>
                <a:close/>
                <a:moveTo>
                  <a:pt x="10258466" y="4352369"/>
                </a:moveTo>
                <a:cubicBezTo>
                  <a:pt x="10262592" y="4352369"/>
                  <a:pt x="10266586" y="4353168"/>
                  <a:pt x="10270313" y="4355031"/>
                </a:cubicBezTo>
                <a:cubicBezTo>
                  <a:pt x="10273907" y="4356628"/>
                  <a:pt x="10277101" y="4358758"/>
                  <a:pt x="10279631" y="4361421"/>
                </a:cubicBezTo>
                <a:cubicBezTo>
                  <a:pt x="10282160" y="4363950"/>
                  <a:pt x="10284290" y="4367145"/>
                  <a:pt x="10285754" y="4370739"/>
                </a:cubicBezTo>
                <a:cubicBezTo>
                  <a:pt x="10287218" y="4374333"/>
                  <a:pt x="10288017" y="4378060"/>
                  <a:pt x="10288017" y="4382187"/>
                </a:cubicBezTo>
                <a:cubicBezTo>
                  <a:pt x="10288017" y="4386313"/>
                  <a:pt x="10287218" y="4390307"/>
                  <a:pt x="10285754" y="4393902"/>
                </a:cubicBezTo>
                <a:cubicBezTo>
                  <a:pt x="10284157" y="4397496"/>
                  <a:pt x="10282160" y="4400558"/>
                  <a:pt x="10279631" y="4403220"/>
                </a:cubicBezTo>
                <a:cubicBezTo>
                  <a:pt x="10276969" y="4405883"/>
                  <a:pt x="10273907" y="4408013"/>
                  <a:pt x="10270313" y="4409477"/>
                </a:cubicBezTo>
                <a:cubicBezTo>
                  <a:pt x="10266586" y="4410941"/>
                  <a:pt x="10262725" y="4411740"/>
                  <a:pt x="10258466" y="4411740"/>
                </a:cubicBezTo>
                <a:cubicBezTo>
                  <a:pt x="10249546" y="4411740"/>
                  <a:pt x="10242224" y="4408811"/>
                  <a:pt x="10236633" y="4403220"/>
                </a:cubicBezTo>
                <a:cubicBezTo>
                  <a:pt x="10231043" y="4397629"/>
                  <a:pt x="10228247" y="4390440"/>
                  <a:pt x="10228247" y="4382054"/>
                </a:cubicBezTo>
                <a:cubicBezTo>
                  <a:pt x="10228247" y="4373801"/>
                  <a:pt x="10231043" y="4366745"/>
                  <a:pt x="10236633" y="4361021"/>
                </a:cubicBezTo>
                <a:cubicBezTo>
                  <a:pt x="10242092" y="4355298"/>
                  <a:pt x="10249413" y="4352369"/>
                  <a:pt x="10258466" y="4352369"/>
                </a:cubicBezTo>
                <a:close/>
                <a:moveTo>
                  <a:pt x="10040820" y="4352369"/>
                </a:moveTo>
                <a:cubicBezTo>
                  <a:pt x="10045080" y="4352369"/>
                  <a:pt x="10048941" y="4353168"/>
                  <a:pt x="10052534" y="4355031"/>
                </a:cubicBezTo>
                <a:cubicBezTo>
                  <a:pt x="10056129" y="4356628"/>
                  <a:pt x="10059323" y="4358758"/>
                  <a:pt x="10061852" y="4361421"/>
                </a:cubicBezTo>
                <a:cubicBezTo>
                  <a:pt x="10064382" y="4363950"/>
                  <a:pt x="10066512" y="4367145"/>
                  <a:pt x="10067976" y="4370739"/>
                </a:cubicBezTo>
                <a:cubicBezTo>
                  <a:pt x="10069440" y="4374333"/>
                  <a:pt x="10070239" y="4378060"/>
                  <a:pt x="10070239" y="4382187"/>
                </a:cubicBezTo>
                <a:cubicBezTo>
                  <a:pt x="10070239" y="4386313"/>
                  <a:pt x="10069440" y="4390307"/>
                  <a:pt x="10067976" y="4393902"/>
                </a:cubicBezTo>
                <a:cubicBezTo>
                  <a:pt x="10066379" y="4397496"/>
                  <a:pt x="10064382" y="4400558"/>
                  <a:pt x="10061852" y="4403220"/>
                </a:cubicBezTo>
                <a:cubicBezTo>
                  <a:pt x="10059190" y="4405883"/>
                  <a:pt x="10056129" y="4408013"/>
                  <a:pt x="10052534" y="4409477"/>
                </a:cubicBezTo>
                <a:cubicBezTo>
                  <a:pt x="10048941" y="4410941"/>
                  <a:pt x="10045080" y="4411740"/>
                  <a:pt x="10040820" y="4411740"/>
                </a:cubicBezTo>
                <a:cubicBezTo>
                  <a:pt x="10031767" y="4411740"/>
                  <a:pt x="10024579" y="4408811"/>
                  <a:pt x="10018988" y="4403220"/>
                </a:cubicBezTo>
                <a:cubicBezTo>
                  <a:pt x="10013397" y="4397629"/>
                  <a:pt x="10010602" y="4390440"/>
                  <a:pt x="10010602" y="4382054"/>
                </a:cubicBezTo>
                <a:cubicBezTo>
                  <a:pt x="10010602" y="4373801"/>
                  <a:pt x="10013397" y="4366745"/>
                  <a:pt x="10018988" y="4361021"/>
                </a:cubicBezTo>
                <a:cubicBezTo>
                  <a:pt x="10024579" y="4355298"/>
                  <a:pt x="10031767" y="4352369"/>
                  <a:pt x="10040820" y="4352369"/>
                </a:cubicBezTo>
                <a:close/>
                <a:moveTo>
                  <a:pt x="9823176" y="4352369"/>
                </a:moveTo>
                <a:cubicBezTo>
                  <a:pt x="9827435" y="4352369"/>
                  <a:pt x="9831296" y="4353168"/>
                  <a:pt x="9834890" y="4355031"/>
                </a:cubicBezTo>
                <a:cubicBezTo>
                  <a:pt x="9838617" y="4356628"/>
                  <a:pt x="9841679" y="4358758"/>
                  <a:pt x="9844208" y="4361421"/>
                </a:cubicBezTo>
                <a:cubicBezTo>
                  <a:pt x="9846737" y="4363950"/>
                  <a:pt x="9848867" y="4367145"/>
                  <a:pt x="9850331" y="4370739"/>
                </a:cubicBezTo>
                <a:cubicBezTo>
                  <a:pt x="9851796" y="4374333"/>
                  <a:pt x="9852595" y="4378060"/>
                  <a:pt x="9852595" y="4382187"/>
                </a:cubicBezTo>
                <a:cubicBezTo>
                  <a:pt x="9852595" y="4386313"/>
                  <a:pt x="9851796" y="4390307"/>
                  <a:pt x="9850331" y="4393902"/>
                </a:cubicBezTo>
                <a:cubicBezTo>
                  <a:pt x="9848734" y="4397496"/>
                  <a:pt x="9846737" y="4400558"/>
                  <a:pt x="9844208" y="4403220"/>
                </a:cubicBezTo>
                <a:cubicBezTo>
                  <a:pt x="9841546" y="4405883"/>
                  <a:pt x="9838484" y="4408013"/>
                  <a:pt x="9834890" y="4409477"/>
                </a:cubicBezTo>
                <a:cubicBezTo>
                  <a:pt x="9831296" y="4410941"/>
                  <a:pt x="9827435" y="4411740"/>
                  <a:pt x="9823176" y="4411740"/>
                </a:cubicBezTo>
                <a:cubicBezTo>
                  <a:pt x="9814123" y="4411740"/>
                  <a:pt x="9806935" y="4408811"/>
                  <a:pt x="9801343" y="4403220"/>
                </a:cubicBezTo>
                <a:cubicBezTo>
                  <a:pt x="9795753" y="4397629"/>
                  <a:pt x="9792957" y="4390440"/>
                  <a:pt x="9792957" y="4382054"/>
                </a:cubicBezTo>
                <a:cubicBezTo>
                  <a:pt x="9792957" y="4373801"/>
                  <a:pt x="9795753" y="4366745"/>
                  <a:pt x="9801343" y="4361021"/>
                </a:cubicBezTo>
                <a:cubicBezTo>
                  <a:pt x="9806935" y="4355298"/>
                  <a:pt x="9814123" y="4352369"/>
                  <a:pt x="9823176" y="4352369"/>
                </a:cubicBezTo>
                <a:close/>
                <a:moveTo>
                  <a:pt x="9605531" y="4352369"/>
                </a:moveTo>
                <a:cubicBezTo>
                  <a:pt x="9609790" y="4352369"/>
                  <a:pt x="9613784" y="4353168"/>
                  <a:pt x="9617245" y="4355031"/>
                </a:cubicBezTo>
                <a:cubicBezTo>
                  <a:pt x="9620839" y="4356628"/>
                  <a:pt x="9624033" y="4358758"/>
                  <a:pt x="9626562" y="4361421"/>
                </a:cubicBezTo>
                <a:cubicBezTo>
                  <a:pt x="9629092" y="4363950"/>
                  <a:pt x="9631222" y="4367145"/>
                  <a:pt x="9632686" y="4370739"/>
                </a:cubicBezTo>
                <a:cubicBezTo>
                  <a:pt x="9634150" y="4374333"/>
                  <a:pt x="9634949" y="4378060"/>
                  <a:pt x="9634949" y="4382187"/>
                </a:cubicBezTo>
                <a:cubicBezTo>
                  <a:pt x="9634949" y="4386313"/>
                  <a:pt x="9634150" y="4390307"/>
                  <a:pt x="9632686" y="4393902"/>
                </a:cubicBezTo>
                <a:cubicBezTo>
                  <a:pt x="9631089" y="4397496"/>
                  <a:pt x="9629092" y="4400558"/>
                  <a:pt x="9626562" y="4403220"/>
                </a:cubicBezTo>
                <a:cubicBezTo>
                  <a:pt x="9623901" y="4405883"/>
                  <a:pt x="9620839" y="4408013"/>
                  <a:pt x="9617245" y="4409477"/>
                </a:cubicBezTo>
                <a:cubicBezTo>
                  <a:pt x="9613651" y="4410941"/>
                  <a:pt x="9609790" y="4411740"/>
                  <a:pt x="9605531" y="4411740"/>
                </a:cubicBezTo>
                <a:cubicBezTo>
                  <a:pt x="9596610" y="4411740"/>
                  <a:pt x="9589289" y="4408811"/>
                  <a:pt x="9583698" y="4403220"/>
                </a:cubicBezTo>
                <a:cubicBezTo>
                  <a:pt x="9578108" y="4397629"/>
                  <a:pt x="9575312" y="4390440"/>
                  <a:pt x="9575312" y="4382054"/>
                </a:cubicBezTo>
                <a:cubicBezTo>
                  <a:pt x="9575312" y="4373801"/>
                  <a:pt x="9578108" y="4366745"/>
                  <a:pt x="9583698" y="4361021"/>
                </a:cubicBezTo>
                <a:cubicBezTo>
                  <a:pt x="9589289" y="4355298"/>
                  <a:pt x="9596478" y="4352369"/>
                  <a:pt x="9605531" y="4352369"/>
                </a:cubicBezTo>
                <a:close/>
                <a:moveTo>
                  <a:pt x="9387885" y="4352369"/>
                </a:moveTo>
                <a:cubicBezTo>
                  <a:pt x="9392145" y="4352369"/>
                  <a:pt x="9396138" y="4353168"/>
                  <a:pt x="9399599" y="4355031"/>
                </a:cubicBezTo>
                <a:cubicBezTo>
                  <a:pt x="9403194" y="4356628"/>
                  <a:pt x="9406388" y="4358758"/>
                  <a:pt x="9408917" y="4361421"/>
                </a:cubicBezTo>
                <a:cubicBezTo>
                  <a:pt x="9411447" y="4363950"/>
                  <a:pt x="9413576" y="4367145"/>
                  <a:pt x="9415041" y="4370739"/>
                </a:cubicBezTo>
                <a:cubicBezTo>
                  <a:pt x="9416505" y="4374333"/>
                  <a:pt x="9417304" y="4378060"/>
                  <a:pt x="9417304" y="4382187"/>
                </a:cubicBezTo>
                <a:cubicBezTo>
                  <a:pt x="9417304" y="4386313"/>
                  <a:pt x="9416505" y="4390307"/>
                  <a:pt x="9415041" y="4393902"/>
                </a:cubicBezTo>
                <a:cubicBezTo>
                  <a:pt x="9413444" y="4397496"/>
                  <a:pt x="9411447" y="4400558"/>
                  <a:pt x="9408917" y="4403220"/>
                </a:cubicBezTo>
                <a:cubicBezTo>
                  <a:pt x="9406255" y="4405883"/>
                  <a:pt x="9403194" y="4408013"/>
                  <a:pt x="9399599" y="4409477"/>
                </a:cubicBezTo>
                <a:cubicBezTo>
                  <a:pt x="9396005" y="4410941"/>
                  <a:pt x="9392145" y="4411740"/>
                  <a:pt x="9387885" y="4411740"/>
                </a:cubicBezTo>
                <a:cubicBezTo>
                  <a:pt x="9378965" y="4411740"/>
                  <a:pt x="9371644" y="4408811"/>
                  <a:pt x="9366053" y="4403220"/>
                </a:cubicBezTo>
                <a:cubicBezTo>
                  <a:pt x="9360462" y="4397629"/>
                  <a:pt x="9357667" y="4390440"/>
                  <a:pt x="9357667" y="4382054"/>
                </a:cubicBezTo>
                <a:cubicBezTo>
                  <a:pt x="9357667" y="4373801"/>
                  <a:pt x="9360462" y="4366745"/>
                  <a:pt x="9366053" y="4361021"/>
                </a:cubicBezTo>
                <a:cubicBezTo>
                  <a:pt x="9371644" y="4355298"/>
                  <a:pt x="9378832" y="4352369"/>
                  <a:pt x="9387885" y="4352369"/>
                </a:cubicBezTo>
                <a:close/>
                <a:moveTo>
                  <a:pt x="9170374" y="4352369"/>
                </a:moveTo>
                <a:cubicBezTo>
                  <a:pt x="9174500" y="4352369"/>
                  <a:pt x="9178494" y="4353168"/>
                  <a:pt x="9182088" y="4355031"/>
                </a:cubicBezTo>
                <a:cubicBezTo>
                  <a:pt x="9185682" y="4356628"/>
                  <a:pt x="9188876" y="4358758"/>
                  <a:pt x="9191405" y="4361421"/>
                </a:cubicBezTo>
                <a:cubicBezTo>
                  <a:pt x="9193935" y="4363950"/>
                  <a:pt x="9196065" y="4367145"/>
                  <a:pt x="9197529" y="4370739"/>
                </a:cubicBezTo>
                <a:cubicBezTo>
                  <a:pt x="9198993" y="4374333"/>
                  <a:pt x="9199792" y="4378060"/>
                  <a:pt x="9199792" y="4382187"/>
                </a:cubicBezTo>
                <a:cubicBezTo>
                  <a:pt x="9199792" y="4386313"/>
                  <a:pt x="9198993" y="4390307"/>
                  <a:pt x="9197529" y="4393902"/>
                </a:cubicBezTo>
                <a:cubicBezTo>
                  <a:pt x="9195932" y="4397496"/>
                  <a:pt x="9193935" y="4400558"/>
                  <a:pt x="9191405" y="4403220"/>
                </a:cubicBezTo>
                <a:cubicBezTo>
                  <a:pt x="9188744" y="4405883"/>
                  <a:pt x="9185682" y="4408013"/>
                  <a:pt x="9182088" y="4409477"/>
                </a:cubicBezTo>
                <a:cubicBezTo>
                  <a:pt x="9178494" y="4410941"/>
                  <a:pt x="9174633" y="4411740"/>
                  <a:pt x="9170374" y="4411740"/>
                </a:cubicBezTo>
                <a:cubicBezTo>
                  <a:pt x="9161453" y="4411740"/>
                  <a:pt x="9154132" y="4408811"/>
                  <a:pt x="9148541" y="4403220"/>
                </a:cubicBezTo>
                <a:cubicBezTo>
                  <a:pt x="9142951" y="4397629"/>
                  <a:pt x="9140155" y="4390440"/>
                  <a:pt x="9140155" y="4382054"/>
                </a:cubicBezTo>
                <a:cubicBezTo>
                  <a:pt x="9140155" y="4373801"/>
                  <a:pt x="9142951" y="4366745"/>
                  <a:pt x="9148541" y="4361021"/>
                </a:cubicBezTo>
                <a:cubicBezTo>
                  <a:pt x="9154132" y="4355298"/>
                  <a:pt x="9161321" y="4352369"/>
                  <a:pt x="9170374" y="4352369"/>
                </a:cubicBezTo>
                <a:close/>
                <a:moveTo>
                  <a:pt x="8952728" y="4352369"/>
                </a:moveTo>
                <a:cubicBezTo>
                  <a:pt x="8956988" y="4352369"/>
                  <a:pt x="8960849" y="4353168"/>
                  <a:pt x="8964442" y="4355031"/>
                </a:cubicBezTo>
                <a:cubicBezTo>
                  <a:pt x="8968037" y="4356628"/>
                  <a:pt x="8971231" y="4358758"/>
                  <a:pt x="8973760" y="4361421"/>
                </a:cubicBezTo>
                <a:cubicBezTo>
                  <a:pt x="8976290" y="4363950"/>
                  <a:pt x="8978419" y="4367145"/>
                  <a:pt x="8979884" y="4370739"/>
                </a:cubicBezTo>
                <a:cubicBezTo>
                  <a:pt x="8981348" y="4374333"/>
                  <a:pt x="8982147" y="4378060"/>
                  <a:pt x="8982147" y="4382187"/>
                </a:cubicBezTo>
                <a:cubicBezTo>
                  <a:pt x="8982147" y="4386313"/>
                  <a:pt x="8981348" y="4390307"/>
                  <a:pt x="8979884" y="4393902"/>
                </a:cubicBezTo>
                <a:cubicBezTo>
                  <a:pt x="8978287" y="4397496"/>
                  <a:pt x="8976290" y="4400558"/>
                  <a:pt x="8973760" y="4403220"/>
                </a:cubicBezTo>
                <a:cubicBezTo>
                  <a:pt x="8971098" y="4405883"/>
                  <a:pt x="8968037" y="4408013"/>
                  <a:pt x="8964442" y="4409477"/>
                </a:cubicBezTo>
                <a:cubicBezTo>
                  <a:pt x="8960849" y="4410941"/>
                  <a:pt x="8956988" y="4411740"/>
                  <a:pt x="8952728" y="4411740"/>
                </a:cubicBezTo>
                <a:cubicBezTo>
                  <a:pt x="8943808" y="4411740"/>
                  <a:pt x="8936487" y="4408811"/>
                  <a:pt x="8930896" y="4403220"/>
                </a:cubicBezTo>
                <a:cubicBezTo>
                  <a:pt x="8925305" y="4397629"/>
                  <a:pt x="8922510" y="4390440"/>
                  <a:pt x="8922510" y="4382054"/>
                </a:cubicBezTo>
                <a:cubicBezTo>
                  <a:pt x="8922510" y="4373801"/>
                  <a:pt x="8925305" y="4366745"/>
                  <a:pt x="8930896" y="4361021"/>
                </a:cubicBezTo>
                <a:cubicBezTo>
                  <a:pt x="8936487" y="4355298"/>
                  <a:pt x="8943675" y="4352369"/>
                  <a:pt x="8952728" y="4352369"/>
                </a:cubicBezTo>
                <a:close/>
                <a:moveTo>
                  <a:pt x="8735083" y="4352369"/>
                </a:moveTo>
                <a:cubicBezTo>
                  <a:pt x="8739342" y="4352369"/>
                  <a:pt x="8743203" y="4353168"/>
                  <a:pt x="8746797" y="4355031"/>
                </a:cubicBezTo>
                <a:cubicBezTo>
                  <a:pt x="8750391" y="4356628"/>
                  <a:pt x="8753586" y="4358758"/>
                  <a:pt x="8756115" y="4361421"/>
                </a:cubicBezTo>
                <a:cubicBezTo>
                  <a:pt x="8758644" y="4363950"/>
                  <a:pt x="8760774" y="4367145"/>
                  <a:pt x="8762238" y="4370739"/>
                </a:cubicBezTo>
                <a:cubicBezTo>
                  <a:pt x="8763702" y="4374333"/>
                  <a:pt x="8764502" y="4378060"/>
                  <a:pt x="8764502" y="4382187"/>
                </a:cubicBezTo>
                <a:cubicBezTo>
                  <a:pt x="8764502" y="4386313"/>
                  <a:pt x="8763702" y="4390307"/>
                  <a:pt x="8762238" y="4393902"/>
                </a:cubicBezTo>
                <a:cubicBezTo>
                  <a:pt x="8760641" y="4397496"/>
                  <a:pt x="8758644" y="4400558"/>
                  <a:pt x="8756115" y="4403220"/>
                </a:cubicBezTo>
                <a:cubicBezTo>
                  <a:pt x="8753453" y="4405883"/>
                  <a:pt x="8750391" y="4408013"/>
                  <a:pt x="8746797" y="4409477"/>
                </a:cubicBezTo>
                <a:cubicBezTo>
                  <a:pt x="8743203" y="4410941"/>
                  <a:pt x="8739342" y="4411740"/>
                  <a:pt x="8735083" y="4411740"/>
                </a:cubicBezTo>
                <a:cubicBezTo>
                  <a:pt x="8726030" y="4411740"/>
                  <a:pt x="8718841" y="4408811"/>
                  <a:pt x="8713250" y="4403220"/>
                </a:cubicBezTo>
                <a:cubicBezTo>
                  <a:pt x="8707660" y="4397629"/>
                  <a:pt x="8704864" y="4390440"/>
                  <a:pt x="8704864" y="4382054"/>
                </a:cubicBezTo>
                <a:cubicBezTo>
                  <a:pt x="8704864" y="4373801"/>
                  <a:pt x="8707660" y="4366745"/>
                  <a:pt x="8713250" y="4361021"/>
                </a:cubicBezTo>
                <a:cubicBezTo>
                  <a:pt x="8718841" y="4355298"/>
                  <a:pt x="8726030" y="4352369"/>
                  <a:pt x="8735083" y="4352369"/>
                </a:cubicBezTo>
                <a:close/>
                <a:moveTo>
                  <a:pt x="8517438" y="4352369"/>
                </a:moveTo>
                <a:cubicBezTo>
                  <a:pt x="8521698" y="4352369"/>
                  <a:pt x="8525559" y="4353168"/>
                  <a:pt x="8529152" y="4355031"/>
                </a:cubicBezTo>
                <a:cubicBezTo>
                  <a:pt x="8532880" y="4356628"/>
                  <a:pt x="8535941" y="4358758"/>
                  <a:pt x="8538470" y="4361421"/>
                </a:cubicBezTo>
                <a:cubicBezTo>
                  <a:pt x="8541000" y="4363950"/>
                  <a:pt x="8543130" y="4367145"/>
                  <a:pt x="8544594" y="4370739"/>
                </a:cubicBezTo>
                <a:cubicBezTo>
                  <a:pt x="8546058" y="4374333"/>
                  <a:pt x="8546857" y="4378060"/>
                  <a:pt x="8546857" y="4382187"/>
                </a:cubicBezTo>
                <a:cubicBezTo>
                  <a:pt x="8546857" y="4386313"/>
                  <a:pt x="8546058" y="4390307"/>
                  <a:pt x="8544594" y="4393902"/>
                </a:cubicBezTo>
                <a:cubicBezTo>
                  <a:pt x="8542997" y="4397496"/>
                  <a:pt x="8541000" y="4400558"/>
                  <a:pt x="8538470" y="4403220"/>
                </a:cubicBezTo>
                <a:cubicBezTo>
                  <a:pt x="8535808" y="4405883"/>
                  <a:pt x="8532747" y="4408013"/>
                  <a:pt x="8529152" y="4409477"/>
                </a:cubicBezTo>
                <a:cubicBezTo>
                  <a:pt x="8525559" y="4410941"/>
                  <a:pt x="8521698" y="4411740"/>
                  <a:pt x="8517438" y="4411740"/>
                </a:cubicBezTo>
                <a:cubicBezTo>
                  <a:pt x="8508385" y="4411740"/>
                  <a:pt x="8501197" y="4408811"/>
                  <a:pt x="8495606" y="4403220"/>
                </a:cubicBezTo>
                <a:cubicBezTo>
                  <a:pt x="8490015" y="4397629"/>
                  <a:pt x="8487220" y="4390440"/>
                  <a:pt x="8487220" y="4382054"/>
                </a:cubicBezTo>
                <a:cubicBezTo>
                  <a:pt x="8487220" y="4373801"/>
                  <a:pt x="8490015" y="4366745"/>
                  <a:pt x="8495606" y="4361021"/>
                </a:cubicBezTo>
                <a:cubicBezTo>
                  <a:pt x="8501197" y="4355298"/>
                  <a:pt x="8508385" y="4352369"/>
                  <a:pt x="8517438" y="4352369"/>
                </a:cubicBezTo>
                <a:close/>
                <a:moveTo>
                  <a:pt x="8299793" y="4352369"/>
                </a:moveTo>
                <a:cubicBezTo>
                  <a:pt x="8304052" y="4352369"/>
                  <a:pt x="8308046" y="4353168"/>
                  <a:pt x="8311507" y="4355031"/>
                </a:cubicBezTo>
                <a:cubicBezTo>
                  <a:pt x="8315235" y="4356628"/>
                  <a:pt x="8318296" y="4358758"/>
                  <a:pt x="8320825" y="4361421"/>
                </a:cubicBezTo>
                <a:cubicBezTo>
                  <a:pt x="8323354" y="4363950"/>
                  <a:pt x="8325484" y="4367145"/>
                  <a:pt x="8326948" y="4370739"/>
                </a:cubicBezTo>
                <a:cubicBezTo>
                  <a:pt x="8328413" y="4374333"/>
                  <a:pt x="8329212" y="4378060"/>
                  <a:pt x="8329212" y="4382187"/>
                </a:cubicBezTo>
                <a:cubicBezTo>
                  <a:pt x="8329212" y="4386313"/>
                  <a:pt x="8328413" y="4390307"/>
                  <a:pt x="8326948" y="4393902"/>
                </a:cubicBezTo>
                <a:cubicBezTo>
                  <a:pt x="8325351" y="4397496"/>
                  <a:pt x="8323354" y="4400558"/>
                  <a:pt x="8320825" y="4403220"/>
                </a:cubicBezTo>
                <a:cubicBezTo>
                  <a:pt x="8318163" y="4405883"/>
                  <a:pt x="8315101" y="4408013"/>
                  <a:pt x="8311507" y="4409477"/>
                </a:cubicBezTo>
                <a:cubicBezTo>
                  <a:pt x="8307913" y="4410941"/>
                  <a:pt x="8304052" y="4411740"/>
                  <a:pt x="8299793" y="4411740"/>
                </a:cubicBezTo>
                <a:cubicBezTo>
                  <a:pt x="8290874" y="4411740"/>
                  <a:pt x="8283553" y="4408811"/>
                  <a:pt x="8277960" y="4403220"/>
                </a:cubicBezTo>
                <a:cubicBezTo>
                  <a:pt x="8272370" y="4397629"/>
                  <a:pt x="8269574" y="4390440"/>
                  <a:pt x="8269574" y="4382054"/>
                </a:cubicBezTo>
                <a:cubicBezTo>
                  <a:pt x="8269574" y="4373801"/>
                  <a:pt x="8272370" y="4366745"/>
                  <a:pt x="8277960" y="4361021"/>
                </a:cubicBezTo>
                <a:cubicBezTo>
                  <a:pt x="8283553" y="4355298"/>
                  <a:pt x="8290741" y="4352369"/>
                  <a:pt x="8299793" y="4352369"/>
                </a:cubicBezTo>
                <a:close/>
                <a:moveTo>
                  <a:pt x="8082281" y="4352369"/>
                </a:moveTo>
                <a:cubicBezTo>
                  <a:pt x="8086407" y="4352369"/>
                  <a:pt x="8090401" y="4353168"/>
                  <a:pt x="8094127" y="4355031"/>
                </a:cubicBezTo>
                <a:cubicBezTo>
                  <a:pt x="8097855" y="4356628"/>
                  <a:pt x="8100916" y="4358758"/>
                  <a:pt x="8103446" y="4361421"/>
                </a:cubicBezTo>
                <a:cubicBezTo>
                  <a:pt x="8105975" y="4363950"/>
                  <a:pt x="8108104" y="4367145"/>
                  <a:pt x="8109569" y="4370739"/>
                </a:cubicBezTo>
                <a:cubicBezTo>
                  <a:pt x="8111033" y="4374333"/>
                  <a:pt x="8111832" y="4378060"/>
                  <a:pt x="8111832" y="4382187"/>
                </a:cubicBezTo>
                <a:cubicBezTo>
                  <a:pt x="8111832" y="4386313"/>
                  <a:pt x="8111033" y="4390307"/>
                  <a:pt x="8109569" y="4393902"/>
                </a:cubicBezTo>
                <a:cubicBezTo>
                  <a:pt x="8107972" y="4397496"/>
                  <a:pt x="8105975" y="4400558"/>
                  <a:pt x="8103446" y="4403220"/>
                </a:cubicBezTo>
                <a:cubicBezTo>
                  <a:pt x="8100783" y="4405883"/>
                  <a:pt x="8097722" y="4408013"/>
                  <a:pt x="8094127" y="4409477"/>
                </a:cubicBezTo>
                <a:cubicBezTo>
                  <a:pt x="8090401" y="4410941"/>
                  <a:pt x="8086540" y="4411740"/>
                  <a:pt x="8082281" y="4411740"/>
                </a:cubicBezTo>
                <a:cubicBezTo>
                  <a:pt x="8073361" y="4411740"/>
                  <a:pt x="8066040" y="4408811"/>
                  <a:pt x="8060448" y="4403220"/>
                </a:cubicBezTo>
                <a:cubicBezTo>
                  <a:pt x="8054857" y="4397629"/>
                  <a:pt x="8052062" y="4390440"/>
                  <a:pt x="8052062" y="4382054"/>
                </a:cubicBezTo>
                <a:cubicBezTo>
                  <a:pt x="8052062" y="4373801"/>
                  <a:pt x="8054857" y="4366745"/>
                  <a:pt x="8060448" y="4361021"/>
                </a:cubicBezTo>
                <a:cubicBezTo>
                  <a:pt x="8066040" y="4355298"/>
                  <a:pt x="8073228" y="4352369"/>
                  <a:pt x="8082281" y="4352369"/>
                </a:cubicBezTo>
                <a:close/>
                <a:moveTo>
                  <a:pt x="7864636" y="4352369"/>
                </a:moveTo>
                <a:cubicBezTo>
                  <a:pt x="7868762" y="4352369"/>
                  <a:pt x="7872756" y="4353168"/>
                  <a:pt x="7876483" y="4355031"/>
                </a:cubicBezTo>
                <a:cubicBezTo>
                  <a:pt x="7880210" y="4356628"/>
                  <a:pt x="7883272" y="4358758"/>
                  <a:pt x="7885802" y="4361421"/>
                </a:cubicBezTo>
                <a:cubicBezTo>
                  <a:pt x="7888331" y="4363950"/>
                  <a:pt x="7890460" y="4367145"/>
                  <a:pt x="7891924" y="4370739"/>
                </a:cubicBezTo>
                <a:cubicBezTo>
                  <a:pt x="7893389" y="4374333"/>
                  <a:pt x="7894188" y="4378060"/>
                  <a:pt x="7894188" y="4382187"/>
                </a:cubicBezTo>
                <a:cubicBezTo>
                  <a:pt x="7894188" y="4386313"/>
                  <a:pt x="7893389" y="4390307"/>
                  <a:pt x="7891924" y="4393902"/>
                </a:cubicBezTo>
                <a:cubicBezTo>
                  <a:pt x="7890327" y="4397496"/>
                  <a:pt x="7888331" y="4400558"/>
                  <a:pt x="7885802" y="4403220"/>
                </a:cubicBezTo>
                <a:cubicBezTo>
                  <a:pt x="7883139" y="4405883"/>
                  <a:pt x="7880078" y="4408013"/>
                  <a:pt x="7876483" y="4409477"/>
                </a:cubicBezTo>
                <a:cubicBezTo>
                  <a:pt x="7872756" y="4410941"/>
                  <a:pt x="7868895" y="4411740"/>
                  <a:pt x="7864636" y="4411740"/>
                </a:cubicBezTo>
                <a:cubicBezTo>
                  <a:pt x="7855717" y="4411740"/>
                  <a:pt x="7848396" y="4408811"/>
                  <a:pt x="7842803" y="4403220"/>
                </a:cubicBezTo>
                <a:cubicBezTo>
                  <a:pt x="7837213" y="4397629"/>
                  <a:pt x="7834417" y="4390440"/>
                  <a:pt x="7834417" y="4382054"/>
                </a:cubicBezTo>
                <a:cubicBezTo>
                  <a:pt x="7834417" y="4373801"/>
                  <a:pt x="7837213" y="4366745"/>
                  <a:pt x="7842803" y="4361021"/>
                </a:cubicBezTo>
                <a:cubicBezTo>
                  <a:pt x="7848396" y="4355298"/>
                  <a:pt x="7855584" y="4352369"/>
                  <a:pt x="7864636" y="4352369"/>
                </a:cubicBezTo>
                <a:close/>
                <a:moveTo>
                  <a:pt x="7646991" y="4352369"/>
                </a:moveTo>
                <a:cubicBezTo>
                  <a:pt x="7651250" y="4352369"/>
                  <a:pt x="7655111" y="4353168"/>
                  <a:pt x="7658705" y="4355031"/>
                </a:cubicBezTo>
                <a:cubicBezTo>
                  <a:pt x="7662432" y="4356628"/>
                  <a:pt x="7665493" y="4358758"/>
                  <a:pt x="7668022" y="4361421"/>
                </a:cubicBezTo>
                <a:cubicBezTo>
                  <a:pt x="7670552" y="4363950"/>
                  <a:pt x="7672682" y="4367145"/>
                  <a:pt x="7674146" y="4370739"/>
                </a:cubicBezTo>
                <a:cubicBezTo>
                  <a:pt x="7675610" y="4374333"/>
                  <a:pt x="7676409" y="4378060"/>
                  <a:pt x="7676409" y="4382187"/>
                </a:cubicBezTo>
                <a:cubicBezTo>
                  <a:pt x="7676409" y="4386313"/>
                  <a:pt x="7675610" y="4390307"/>
                  <a:pt x="7674146" y="4393902"/>
                </a:cubicBezTo>
                <a:cubicBezTo>
                  <a:pt x="7672549" y="4397496"/>
                  <a:pt x="7670552" y="4400558"/>
                  <a:pt x="7668022" y="4403220"/>
                </a:cubicBezTo>
                <a:cubicBezTo>
                  <a:pt x="7665361" y="4405883"/>
                  <a:pt x="7662299" y="4408013"/>
                  <a:pt x="7658705" y="4409477"/>
                </a:cubicBezTo>
                <a:cubicBezTo>
                  <a:pt x="7655111" y="4410941"/>
                  <a:pt x="7651250" y="4411740"/>
                  <a:pt x="7646991" y="4411740"/>
                </a:cubicBezTo>
                <a:cubicBezTo>
                  <a:pt x="7638071" y="4411740"/>
                  <a:pt x="7630750" y="4408811"/>
                  <a:pt x="7625158" y="4403220"/>
                </a:cubicBezTo>
                <a:cubicBezTo>
                  <a:pt x="7619568" y="4397629"/>
                  <a:pt x="7616772" y="4390440"/>
                  <a:pt x="7616772" y="4382054"/>
                </a:cubicBezTo>
                <a:cubicBezTo>
                  <a:pt x="7616772" y="4373801"/>
                  <a:pt x="7619568" y="4366745"/>
                  <a:pt x="7625158" y="4361021"/>
                </a:cubicBezTo>
                <a:cubicBezTo>
                  <a:pt x="7630750" y="4355298"/>
                  <a:pt x="7637939" y="4352369"/>
                  <a:pt x="7646991" y="4352369"/>
                </a:cubicBezTo>
                <a:close/>
                <a:moveTo>
                  <a:pt x="7429345" y="4352369"/>
                </a:moveTo>
                <a:cubicBezTo>
                  <a:pt x="7433605" y="4352369"/>
                  <a:pt x="7437466" y="4353168"/>
                  <a:pt x="7441059" y="4355031"/>
                </a:cubicBezTo>
                <a:cubicBezTo>
                  <a:pt x="7444787" y="4356628"/>
                  <a:pt x="7447848" y="4358758"/>
                  <a:pt x="7450377" y="4361421"/>
                </a:cubicBezTo>
                <a:cubicBezTo>
                  <a:pt x="7452907" y="4363950"/>
                  <a:pt x="7455036" y="4367145"/>
                  <a:pt x="7456501" y="4370739"/>
                </a:cubicBezTo>
                <a:cubicBezTo>
                  <a:pt x="7457965" y="4374333"/>
                  <a:pt x="7458764" y="4378060"/>
                  <a:pt x="7458764" y="4382187"/>
                </a:cubicBezTo>
                <a:cubicBezTo>
                  <a:pt x="7458764" y="4386313"/>
                  <a:pt x="7457965" y="4390307"/>
                  <a:pt x="7456501" y="4393902"/>
                </a:cubicBezTo>
                <a:cubicBezTo>
                  <a:pt x="7454904" y="4397496"/>
                  <a:pt x="7452907" y="4400558"/>
                  <a:pt x="7450377" y="4403220"/>
                </a:cubicBezTo>
                <a:cubicBezTo>
                  <a:pt x="7447715" y="4405883"/>
                  <a:pt x="7444654" y="4408013"/>
                  <a:pt x="7441059" y="4409477"/>
                </a:cubicBezTo>
                <a:cubicBezTo>
                  <a:pt x="7437466" y="4410941"/>
                  <a:pt x="7433605" y="4411740"/>
                  <a:pt x="7429345" y="4411740"/>
                </a:cubicBezTo>
                <a:cubicBezTo>
                  <a:pt x="7420426" y="4411740"/>
                  <a:pt x="7413105" y="4408811"/>
                  <a:pt x="7407513" y="4403220"/>
                </a:cubicBezTo>
                <a:cubicBezTo>
                  <a:pt x="7401922" y="4397629"/>
                  <a:pt x="7399127" y="4390440"/>
                  <a:pt x="7399127" y="4382054"/>
                </a:cubicBezTo>
                <a:cubicBezTo>
                  <a:pt x="7399127" y="4373801"/>
                  <a:pt x="7401922" y="4366745"/>
                  <a:pt x="7407513" y="4361021"/>
                </a:cubicBezTo>
                <a:cubicBezTo>
                  <a:pt x="7413105" y="4355298"/>
                  <a:pt x="7420293" y="4352369"/>
                  <a:pt x="7429345" y="4352369"/>
                </a:cubicBezTo>
                <a:close/>
                <a:moveTo>
                  <a:pt x="7211701" y="4352369"/>
                </a:moveTo>
                <a:cubicBezTo>
                  <a:pt x="7215960" y="4352369"/>
                  <a:pt x="7219954" y="4353168"/>
                  <a:pt x="7223415" y="4355031"/>
                </a:cubicBezTo>
                <a:cubicBezTo>
                  <a:pt x="7227142" y="4356628"/>
                  <a:pt x="7230204" y="4358758"/>
                  <a:pt x="7232733" y="4361421"/>
                </a:cubicBezTo>
                <a:cubicBezTo>
                  <a:pt x="7235262" y="4363950"/>
                  <a:pt x="7237392" y="4367145"/>
                  <a:pt x="7238856" y="4370739"/>
                </a:cubicBezTo>
                <a:cubicBezTo>
                  <a:pt x="7240321" y="4374333"/>
                  <a:pt x="7241120" y="4378060"/>
                  <a:pt x="7241120" y="4382187"/>
                </a:cubicBezTo>
                <a:cubicBezTo>
                  <a:pt x="7241120" y="4386313"/>
                  <a:pt x="7240321" y="4390307"/>
                  <a:pt x="7238856" y="4393902"/>
                </a:cubicBezTo>
                <a:cubicBezTo>
                  <a:pt x="7237259" y="4397496"/>
                  <a:pt x="7235262" y="4400558"/>
                  <a:pt x="7232733" y="4403220"/>
                </a:cubicBezTo>
                <a:cubicBezTo>
                  <a:pt x="7230071" y="4405883"/>
                  <a:pt x="7227009" y="4408013"/>
                  <a:pt x="7223415" y="4409477"/>
                </a:cubicBezTo>
                <a:cubicBezTo>
                  <a:pt x="7219821" y="4410941"/>
                  <a:pt x="7215960" y="4411740"/>
                  <a:pt x="7211701" y="4411740"/>
                </a:cubicBezTo>
                <a:cubicBezTo>
                  <a:pt x="7202782" y="4411740"/>
                  <a:pt x="7195460" y="4408811"/>
                  <a:pt x="7189868" y="4403220"/>
                </a:cubicBezTo>
                <a:cubicBezTo>
                  <a:pt x="7184278" y="4397629"/>
                  <a:pt x="7181482" y="4390440"/>
                  <a:pt x="7181482" y="4382054"/>
                </a:cubicBezTo>
                <a:cubicBezTo>
                  <a:pt x="7181482" y="4373801"/>
                  <a:pt x="7184278" y="4366745"/>
                  <a:pt x="7189868" y="4361021"/>
                </a:cubicBezTo>
                <a:cubicBezTo>
                  <a:pt x="7195460" y="4355298"/>
                  <a:pt x="7202649" y="4352369"/>
                  <a:pt x="7211701" y="4352369"/>
                </a:cubicBezTo>
                <a:close/>
                <a:moveTo>
                  <a:pt x="6994056" y="4352369"/>
                </a:moveTo>
                <a:cubicBezTo>
                  <a:pt x="6998315" y="4352369"/>
                  <a:pt x="7002309" y="4353168"/>
                  <a:pt x="7005769" y="4355031"/>
                </a:cubicBezTo>
                <a:cubicBezTo>
                  <a:pt x="7009497" y="4356628"/>
                  <a:pt x="7012558" y="4358758"/>
                  <a:pt x="7015087" y="4361421"/>
                </a:cubicBezTo>
                <a:cubicBezTo>
                  <a:pt x="7017617" y="4363950"/>
                  <a:pt x="7019747" y="4367145"/>
                  <a:pt x="7021211" y="4370739"/>
                </a:cubicBezTo>
                <a:cubicBezTo>
                  <a:pt x="7022675" y="4374333"/>
                  <a:pt x="7023474" y="4378060"/>
                  <a:pt x="7023474" y="4382187"/>
                </a:cubicBezTo>
                <a:cubicBezTo>
                  <a:pt x="7023474" y="4386313"/>
                  <a:pt x="7022675" y="4390307"/>
                  <a:pt x="7021211" y="4393902"/>
                </a:cubicBezTo>
                <a:cubicBezTo>
                  <a:pt x="7019614" y="4397496"/>
                  <a:pt x="7017617" y="4400558"/>
                  <a:pt x="7015087" y="4403220"/>
                </a:cubicBezTo>
                <a:cubicBezTo>
                  <a:pt x="7012425" y="4405883"/>
                  <a:pt x="7009364" y="4408013"/>
                  <a:pt x="7005769" y="4409477"/>
                </a:cubicBezTo>
                <a:cubicBezTo>
                  <a:pt x="7002176" y="4410941"/>
                  <a:pt x="6998315" y="4411740"/>
                  <a:pt x="6994056" y="4411740"/>
                </a:cubicBezTo>
                <a:cubicBezTo>
                  <a:pt x="6985136" y="4411740"/>
                  <a:pt x="6977815" y="4408811"/>
                  <a:pt x="6972223" y="4403220"/>
                </a:cubicBezTo>
                <a:cubicBezTo>
                  <a:pt x="6966632" y="4397629"/>
                  <a:pt x="6963837" y="4390440"/>
                  <a:pt x="6963837" y="4382054"/>
                </a:cubicBezTo>
                <a:cubicBezTo>
                  <a:pt x="6963837" y="4373801"/>
                  <a:pt x="6966632" y="4366745"/>
                  <a:pt x="6972223" y="4361021"/>
                </a:cubicBezTo>
                <a:cubicBezTo>
                  <a:pt x="6977815" y="4355298"/>
                  <a:pt x="6985003" y="4352369"/>
                  <a:pt x="6994056" y="4352369"/>
                </a:cubicBezTo>
                <a:close/>
                <a:moveTo>
                  <a:pt x="6776544" y="4352369"/>
                </a:moveTo>
                <a:cubicBezTo>
                  <a:pt x="6780670" y="4352369"/>
                  <a:pt x="6784664" y="4353168"/>
                  <a:pt x="6788258" y="4355031"/>
                </a:cubicBezTo>
                <a:cubicBezTo>
                  <a:pt x="6791985" y="4356628"/>
                  <a:pt x="6795047" y="4358758"/>
                  <a:pt x="6797576" y="4361421"/>
                </a:cubicBezTo>
                <a:cubicBezTo>
                  <a:pt x="6800105" y="4363950"/>
                  <a:pt x="6802235" y="4367145"/>
                  <a:pt x="6803699" y="4370739"/>
                </a:cubicBezTo>
                <a:cubicBezTo>
                  <a:pt x="6805164" y="4374333"/>
                  <a:pt x="6805963" y="4378060"/>
                  <a:pt x="6805963" y="4382187"/>
                </a:cubicBezTo>
                <a:cubicBezTo>
                  <a:pt x="6805963" y="4386313"/>
                  <a:pt x="6805164" y="4390307"/>
                  <a:pt x="6803699" y="4393902"/>
                </a:cubicBezTo>
                <a:cubicBezTo>
                  <a:pt x="6802102" y="4397496"/>
                  <a:pt x="6800105" y="4400558"/>
                  <a:pt x="6797576" y="4403220"/>
                </a:cubicBezTo>
                <a:cubicBezTo>
                  <a:pt x="6794914" y="4405883"/>
                  <a:pt x="6791852" y="4408013"/>
                  <a:pt x="6788258" y="4409477"/>
                </a:cubicBezTo>
                <a:cubicBezTo>
                  <a:pt x="6784664" y="4410941"/>
                  <a:pt x="6780803" y="4411740"/>
                  <a:pt x="6776544" y="4411740"/>
                </a:cubicBezTo>
                <a:cubicBezTo>
                  <a:pt x="6767625" y="4411740"/>
                  <a:pt x="6760303" y="4408811"/>
                  <a:pt x="6754711" y="4403220"/>
                </a:cubicBezTo>
                <a:cubicBezTo>
                  <a:pt x="6749121" y="4397629"/>
                  <a:pt x="6746325" y="4390440"/>
                  <a:pt x="6746325" y="4382054"/>
                </a:cubicBezTo>
                <a:cubicBezTo>
                  <a:pt x="6746325" y="4373801"/>
                  <a:pt x="6749121" y="4366745"/>
                  <a:pt x="6754711" y="4361021"/>
                </a:cubicBezTo>
                <a:cubicBezTo>
                  <a:pt x="6760303" y="4355298"/>
                  <a:pt x="6767492" y="4352369"/>
                  <a:pt x="6776544" y="4352369"/>
                </a:cubicBezTo>
                <a:close/>
                <a:moveTo>
                  <a:pt x="6558899" y="4352369"/>
                </a:moveTo>
                <a:cubicBezTo>
                  <a:pt x="6563158" y="4352369"/>
                  <a:pt x="6567019" y="4353168"/>
                  <a:pt x="6570612" y="4355031"/>
                </a:cubicBezTo>
                <a:cubicBezTo>
                  <a:pt x="6574340" y="4356628"/>
                  <a:pt x="6577401" y="4358758"/>
                  <a:pt x="6579930" y="4361421"/>
                </a:cubicBezTo>
                <a:cubicBezTo>
                  <a:pt x="6582460" y="4363950"/>
                  <a:pt x="6584590" y="4367145"/>
                  <a:pt x="6586054" y="4370739"/>
                </a:cubicBezTo>
                <a:cubicBezTo>
                  <a:pt x="6587518" y="4374333"/>
                  <a:pt x="6588317" y="4378060"/>
                  <a:pt x="6588317" y="4382187"/>
                </a:cubicBezTo>
                <a:cubicBezTo>
                  <a:pt x="6588317" y="4386313"/>
                  <a:pt x="6587518" y="4390307"/>
                  <a:pt x="6586054" y="4393902"/>
                </a:cubicBezTo>
                <a:cubicBezTo>
                  <a:pt x="6584457" y="4397496"/>
                  <a:pt x="6582460" y="4400558"/>
                  <a:pt x="6579930" y="4403220"/>
                </a:cubicBezTo>
                <a:cubicBezTo>
                  <a:pt x="6577268" y="4405883"/>
                  <a:pt x="6574207" y="4408013"/>
                  <a:pt x="6570612" y="4409477"/>
                </a:cubicBezTo>
                <a:cubicBezTo>
                  <a:pt x="6567019" y="4410941"/>
                  <a:pt x="6563158" y="4411740"/>
                  <a:pt x="6558899" y="4411740"/>
                </a:cubicBezTo>
                <a:cubicBezTo>
                  <a:pt x="6549979" y="4411740"/>
                  <a:pt x="6542658" y="4408811"/>
                  <a:pt x="6537066" y="4403220"/>
                </a:cubicBezTo>
                <a:cubicBezTo>
                  <a:pt x="6531476" y="4397629"/>
                  <a:pt x="6528680" y="4390440"/>
                  <a:pt x="6528680" y="4382054"/>
                </a:cubicBezTo>
                <a:cubicBezTo>
                  <a:pt x="6528680" y="4373801"/>
                  <a:pt x="6531476" y="4366745"/>
                  <a:pt x="6537066" y="4361021"/>
                </a:cubicBezTo>
                <a:cubicBezTo>
                  <a:pt x="6542658" y="4355298"/>
                  <a:pt x="6549846" y="4352369"/>
                  <a:pt x="6558899" y="4352369"/>
                </a:cubicBezTo>
                <a:close/>
                <a:moveTo>
                  <a:pt x="6341253" y="4352369"/>
                </a:moveTo>
                <a:cubicBezTo>
                  <a:pt x="6345513" y="4352369"/>
                  <a:pt x="6349373" y="4353168"/>
                  <a:pt x="6352968" y="4355031"/>
                </a:cubicBezTo>
                <a:cubicBezTo>
                  <a:pt x="6356695" y="4356628"/>
                  <a:pt x="6359757" y="4358758"/>
                  <a:pt x="6362286" y="4361421"/>
                </a:cubicBezTo>
                <a:cubicBezTo>
                  <a:pt x="6364815" y="4363950"/>
                  <a:pt x="6366945" y="4367145"/>
                  <a:pt x="6368409" y="4370739"/>
                </a:cubicBezTo>
                <a:cubicBezTo>
                  <a:pt x="6369874" y="4374333"/>
                  <a:pt x="6370672" y="4378060"/>
                  <a:pt x="6370672" y="4382187"/>
                </a:cubicBezTo>
                <a:cubicBezTo>
                  <a:pt x="6370672" y="4386313"/>
                  <a:pt x="6369874" y="4390307"/>
                  <a:pt x="6368409" y="4393902"/>
                </a:cubicBezTo>
                <a:cubicBezTo>
                  <a:pt x="6366811" y="4397496"/>
                  <a:pt x="6364815" y="4400558"/>
                  <a:pt x="6362286" y="4403220"/>
                </a:cubicBezTo>
                <a:cubicBezTo>
                  <a:pt x="6359623" y="4405883"/>
                  <a:pt x="6356562" y="4408013"/>
                  <a:pt x="6352968" y="4409477"/>
                </a:cubicBezTo>
                <a:cubicBezTo>
                  <a:pt x="6349373" y="4410941"/>
                  <a:pt x="6345513" y="4411740"/>
                  <a:pt x="6341253" y="4411740"/>
                </a:cubicBezTo>
                <a:cubicBezTo>
                  <a:pt x="6332335" y="4411740"/>
                  <a:pt x="6325013" y="4408811"/>
                  <a:pt x="6319421" y="4403220"/>
                </a:cubicBezTo>
                <a:cubicBezTo>
                  <a:pt x="6313830" y="4397629"/>
                  <a:pt x="6311035" y="4390440"/>
                  <a:pt x="6311035" y="4382054"/>
                </a:cubicBezTo>
                <a:cubicBezTo>
                  <a:pt x="6311035" y="4373801"/>
                  <a:pt x="6313830" y="4366745"/>
                  <a:pt x="6319421" y="4361021"/>
                </a:cubicBezTo>
                <a:cubicBezTo>
                  <a:pt x="6325013" y="4355298"/>
                  <a:pt x="6332201" y="4352369"/>
                  <a:pt x="6341253" y="4352369"/>
                </a:cubicBezTo>
                <a:close/>
                <a:moveTo>
                  <a:pt x="6123608" y="4352369"/>
                </a:moveTo>
                <a:cubicBezTo>
                  <a:pt x="6127867" y="4352369"/>
                  <a:pt x="6131728" y="4353168"/>
                  <a:pt x="6135322" y="4355031"/>
                </a:cubicBezTo>
                <a:cubicBezTo>
                  <a:pt x="6139049" y="4356628"/>
                  <a:pt x="6142111" y="4358758"/>
                  <a:pt x="6144640" y="4361421"/>
                </a:cubicBezTo>
                <a:cubicBezTo>
                  <a:pt x="6147169" y="4363950"/>
                  <a:pt x="6149299" y="4367145"/>
                  <a:pt x="6150763" y="4370739"/>
                </a:cubicBezTo>
                <a:cubicBezTo>
                  <a:pt x="6152228" y="4374333"/>
                  <a:pt x="6153026" y="4378060"/>
                  <a:pt x="6153026" y="4382187"/>
                </a:cubicBezTo>
                <a:cubicBezTo>
                  <a:pt x="6153026" y="4386313"/>
                  <a:pt x="6152228" y="4390307"/>
                  <a:pt x="6150763" y="4393902"/>
                </a:cubicBezTo>
                <a:cubicBezTo>
                  <a:pt x="6149299" y="4397496"/>
                  <a:pt x="6147169" y="4400558"/>
                  <a:pt x="6144640" y="4403220"/>
                </a:cubicBezTo>
                <a:cubicBezTo>
                  <a:pt x="6141977" y="4405883"/>
                  <a:pt x="6138916" y="4408013"/>
                  <a:pt x="6135322" y="4409477"/>
                </a:cubicBezTo>
                <a:cubicBezTo>
                  <a:pt x="6131728" y="4410941"/>
                  <a:pt x="6127867" y="4411740"/>
                  <a:pt x="6123608" y="4411740"/>
                </a:cubicBezTo>
                <a:cubicBezTo>
                  <a:pt x="6114689" y="4411740"/>
                  <a:pt x="6107367" y="4408811"/>
                  <a:pt x="6101775" y="4403220"/>
                </a:cubicBezTo>
                <a:cubicBezTo>
                  <a:pt x="6096184" y="4397629"/>
                  <a:pt x="6093389" y="4390440"/>
                  <a:pt x="6093389" y="4382054"/>
                </a:cubicBezTo>
                <a:cubicBezTo>
                  <a:pt x="6093389" y="4373801"/>
                  <a:pt x="6096184" y="4366745"/>
                  <a:pt x="6101775" y="4361021"/>
                </a:cubicBezTo>
                <a:cubicBezTo>
                  <a:pt x="6107367" y="4355298"/>
                  <a:pt x="6114555" y="4352369"/>
                  <a:pt x="6123608" y="4352369"/>
                </a:cubicBezTo>
                <a:close/>
                <a:moveTo>
                  <a:pt x="5905963" y="4352369"/>
                </a:moveTo>
                <a:cubicBezTo>
                  <a:pt x="5910222" y="4352369"/>
                  <a:pt x="5914216" y="4353168"/>
                  <a:pt x="5917677" y="4355031"/>
                </a:cubicBezTo>
                <a:cubicBezTo>
                  <a:pt x="5921404" y="4356628"/>
                  <a:pt x="5924466" y="4358758"/>
                  <a:pt x="5926995" y="4361421"/>
                </a:cubicBezTo>
                <a:cubicBezTo>
                  <a:pt x="5929524" y="4363950"/>
                  <a:pt x="5931654" y="4367145"/>
                  <a:pt x="5933118" y="4370739"/>
                </a:cubicBezTo>
                <a:cubicBezTo>
                  <a:pt x="5934583" y="4374333"/>
                  <a:pt x="5935381" y="4378060"/>
                  <a:pt x="5935381" y="4382187"/>
                </a:cubicBezTo>
                <a:cubicBezTo>
                  <a:pt x="5935381" y="4386313"/>
                  <a:pt x="5934583" y="4390307"/>
                  <a:pt x="5933118" y="4393902"/>
                </a:cubicBezTo>
                <a:cubicBezTo>
                  <a:pt x="5931654" y="4397496"/>
                  <a:pt x="5929524" y="4400558"/>
                  <a:pt x="5926995" y="4403220"/>
                </a:cubicBezTo>
                <a:cubicBezTo>
                  <a:pt x="5924333" y="4405883"/>
                  <a:pt x="5921271" y="4408013"/>
                  <a:pt x="5917677" y="4409477"/>
                </a:cubicBezTo>
                <a:cubicBezTo>
                  <a:pt x="5914083" y="4410941"/>
                  <a:pt x="5910222" y="4411740"/>
                  <a:pt x="5905963" y="4411740"/>
                </a:cubicBezTo>
                <a:cubicBezTo>
                  <a:pt x="5897044" y="4411740"/>
                  <a:pt x="5889722" y="4408811"/>
                  <a:pt x="5884130" y="4403220"/>
                </a:cubicBezTo>
                <a:cubicBezTo>
                  <a:pt x="5878540" y="4397629"/>
                  <a:pt x="5875744" y="4390440"/>
                  <a:pt x="5875744" y="4382054"/>
                </a:cubicBezTo>
                <a:cubicBezTo>
                  <a:pt x="5875744" y="4373801"/>
                  <a:pt x="5878540" y="4366745"/>
                  <a:pt x="5884130" y="4361021"/>
                </a:cubicBezTo>
                <a:cubicBezTo>
                  <a:pt x="5889722" y="4355298"/>
                  <a:pt x="5896910" y="4352369"/>
                  <a:pt x="5905963" y="4352369"/>
                </a:cubicBezTo>
                <a:close/>
                <a:moveTo>
                  <a:pt x="5688451" y="4352369"/>
                </a:moveTo>
                <a:cubicBezTo>
                  <a:pt x="5692577" y="4352369"/>
                  <a:pt x="5696571" y="4353168"/>
                  <a:pt x="5700165" y="4355031"/>
                </a:cubicBezTo>
                <a:cubicBezTo>
                  <a:pt x="5703892" y="4356628"/>
                  <a:pt x="5706954" y="4358758"/>
                  <a:pt x="5709483" y="4361421"/>
                </a:cubicBezTo>
                <a:cubicBezTo>
                  <a:pt x="5712012" y="4363950"/>
                  <a:pt x="5714142" y="4367145"/>
                  <a:pt x="5715606" y="4370739"/>
                </a:cubicBezTo>
                <a:cubicBezTo>
                  <a:pt x="5717071" y="4374333"/>
                  <a:pt x="5717869" y="4378060"/>
                  <a:pt x="5717869" y="4382187"/>
                </a:cubicBezTo>
                <a:cubicBezTo>
                  <a:pt x="5717869" y="4386313"/>
                  <a:pt x="5717071" y="4390307"/>
                  <a:pt x="5715606" y="4393902"/>
                </a:cubicBezTo>
                <a:cubicBezTo>
                  <a:pt x="5714142" y="4397496"/>
                  <a:pt x="5712012" y="4400558"/>
                  <a:pt x="5709483" y="4403220"/>
                </a:cubicBezTo>
                <a:cubicBezTo>
                  <a:pt x="5706820" y="4405883"/>
                  <a:pt x="5703759" y="4408013"/>
                  <a:pt x="5700165" y="4409477"/>
                </a:cubicBezTo>
                <a:cubicBezTo>
                  <a:pt x="5696571" y="4410941"/>
                  <a:pt x="5692710" y="4411740"/>
                  <a:pt x="5688451" y="4411740"/>
                </a:cubicBezTo>
                <a:cubicBezTo>
                  <a:pt x="5679532" y="4411740"/>
                  <a:pt x="5672210" y="4408811"/>
                  <a:pt x="5666618" y="4403220"/>
                </a:cubicBezTo>
                <a:cubicBezTo>
                  <a:pt x="5661028" y="4397629"/>
                  <a:pt x="5658232" y="4390440"/>
                  <a:pt x="5658232" y="4382054"/>
                </a:cubicBezTo>
                <a:cubicBezTo>
                  <a:pt x="5658232" y="4373801"/>
                  <a:pt x="5661028" y="4366745"/>
                  <a:pt x="5666618" y="4361021"/>
                </a:cubicBezTo>
                <a:cubicBezTo>
                  <a:pt x="5672210" y="4355298"/>
                  <a:pt x="5679398" y="4352369"/>
                  <a:pt x="5688451" y="4352369"/>
                </a:cubicBezTo>
                <a:close/>
                <a:moveTo>
                  <a:pt x="5470806" y="4352369"/>
                </a:moveTo>
                <a:cubicBezTo>
                  <a:pt x="5475065" y="4352369"/>
                  <a:pt x="5478926" y="4353168"/>
                  <a:pt x="5482520" y="4355031"/>
                </a:cubicBezTo>
                <a:cubicBezTo>
                  <a:pt x="5486247" y="4356628"/>
                  <a:pt x="5489309" y="4358758"/>
                  <a:pt x="5491838" y="4361421"/>
                </a:cubicBezTo>
                <a:cubicBezTo>
                  <a:pt x="5494367" y="4363950"/>
                  <a:pt x="5496497" y="4367145"/>
                  <a:pt x="5497961" y="4370739"/>
                </a:cubicBezTo>
                <a:cubicBezTo>
                  <a:pt x="5499426" y="4374333"/>
                  <a:pt x="5500224" y="4378060"/>
                  <a:pt x="5500224" y="4382187"/>
                </a:cubicBezTo>
                <a:cubicBezTo>
                  <a:pt x="5500224" y="4386313"/>
                  <a:pt x="5499426" y="4390307"/>
                  <a:pt x="5497961" y="4393902"/>
                </a:cubicBezTo>
                <a:cubicBezTo>
                  <a:pt x="5496497" y="4397496"/>
                  <a:pt x="5494367" y="4400558"/>
                  <a:pt x="5491838" y="4403220"/>
                </a:cubicBezTo>
                <a:cubicBezTo>
                  <a:pt x="5489176" y="4405883"/>
                  <a:pt x="5486114" y="4408013"/>
                  <a:pt x="5482520" y="4409477"/>
                </a:cubicBezTo>
                <a:cubicBezTo>
                  <a:pt x="5478926" y="4410941"/>
                  <a:pt x="5475065" y="4411740"/>
                  <a:pt x="5470806" y="4411740"/>
                </a:cubicBezTo>
                <a:cubicBezTo>
                  <a:pt x="5461887" y="4411740"/>
                  <a:pt x="5454565" y="4408811"/>
                  <a:pt x="5448973" y="4403220"/>
                </a:cubicBezTo>
                <a:cubicBezTo>
                  <a:pt x="5443383" y="4397629"/>
                  <a:pt x="5440587" y="4390440"/>
                  <a:pt x="5440587" y="4382054"/>
                </a:cubicBezTo>
                <a:cubicBezTo>
                  <a:pt x="5440587" y="4373801"/>
                  <a:pt x="5443383" y="4366745"/>
                  <a:pt x="5448973" y="4361021"/>
                </a:cubicBezTo>
                <a:cubicBezTo>
                  <a:pt x="5454565" y="4355298"/>
                  <a:pt x="5461754" y="4352369"/>
                  <a:pt x="5470806" y="4352369"/>
                </a:cubicBezTo>
                <a:close/>
                <a:moveTo>
                  <a:pt x="5253160" y="4352369"/>
                </a:moveTo>
                <a:cubicBezTo>
                  <a:pt x="5257420" y="4352369"/>
                  <a:pt x="5261280" y="4353168"/>
                  <a:pt x="5264875" y="4355031"/>
                </a:cubicBezTo>
                <a:cubicBezTo>
                  <a:pt x="5268602" y="4356628"/>
                  <a:pt x="5271664" y="4358758"/>
                  <a:pt x="5274192" y="4361421"/>
                </a:cubicBezTo>
                <a:cubicBezTo>
                  <a:pt x="5276722" y="4363950"/>
                  <a:pt x="5278852" y="4367145"/>
                  <a:pt x="5280316" y="4370739"/>
                </a:cubicBezTo>
                <a:cubicBezTo>
                  <a:pt x="5281780" y="4374333"/>
                  <a:pt x="5282579" y="4378060"/>
                  <a:pt x="5282579" y="4382187"/>
                </a:cubicBezTo>
                <a:cubicBezTo>
                  <a:pt x="5282579" y="4386313"/>
                  <a:pt x="5281780" y="4390307"/>
                  <a:pt x="5280316" y="4393902"/>
                </a:cubicBezTo>
                <a:cubicBezTo>
                  <a:pt x="5278852" y="4397496"/>
                  <a:pt x="5276722" y="4400558"/>
                  <a:pt x="5274192" y="4403220"/>
                </a:cubicBezTo>
                <a:cubicBezTo>
                  <a:pt x="5271664" y="4405883"/>
                  <a:pt x="5268469" y="4408013"/>
                  <a:pt x="5264875" y="4409477"/>
                </a:cubicBezTo>
                <a:cubicBezTo>
                  <a:pt x="5261280" y="4410941"/>
                  <a:pt x="5257420" y="4411740"/>
                  <a:pt x="5253160" y="4411740"/>
                </a:cubicBezTo>
                <a:cubicBezTo>
                  <a:pt x="5244241" y="4411740"/>
                  <a:pt x="5236920" y="4408811"/>
                  <a:pt x="5231328" y="4403220"/>
                </a:cubicBezTo>
                <a:cubicBezTo>
                  <a:pt x="5225737" y="4397629"/>
                  <a:pt x="5222942" y="4390440"/>
                  <a:pt x="5222942" y="4382054"/>
                </a:cubicBezTo>
                <a:cubicBezTo>
                  <a:pt x="5222942" y="4373801"/>
                  <a:pt x="5225737" y="4366745"/>
                  <a:pt x="5231328" y="4361021"/>
                </a:cubicBezTo>
                <a:cubicBezTo>
                  <a:pt x="5236920" y="4355298"/>
                  <a:pt x="5244108" y="4352369"/>
                  <a:pt x="5253160" y="4352369"/>
                </a:cubicBezTo>
                <a:close/>
                <a:moveTo>
                  <a:pt x="5035515" y="4352369"/>
                </a:moveTo>
                <a:cubicBezTo>
                  <a:pt x="5039775" y="4352369"/>
                  <a:pt x="5043636" y="4353168"/>
                  <a:pt x="5047230" y="4355031"/>
                </a:cubicBezTo>
                <a:cubicBezTo>
                  <a:pt x="5050957" y="4356628"/>
                  <a:pt x="5054019" y="4358758"/>
                  <a:pt x="5056548" y="4361421"/>
                </a:cubicBezTo>
                <a:cubicBezTo>
                  <a:pt x="5059077" y="4363950"/>
                  <a:pt x="5061207" y="4367145"/>
                  <a:pt x="5062671" y="4370739"/>
                </a:cubicBezTo>
                <a:cubicBezTo>
                  <a:pt x="5064135" y="4374333"/>
                  <a:pt x="5064934" y="4378060"/>
                  <a:pt x="5064934" y="4382187"/>
                </a:cubicBezTo>
                <a:cubicBezTo>
                  <a:pt x="5064934" y="4386313"/>
                  <a:pt x="5064135" y="4390307"/>
                  <a:pt x="5062671" y="4393902"/>
                </a:cubicBezTo>
                <a:cubicBezTo>
                  <a:pt x="5061207" y="4397496"/>
                  <a:pt x="5059077" y="4400558"/>
                  <a:pt x="5056548" y="4403220"/>
                </a:cubicBezTo>
                <a:cubicBezTo>
                  <a:pt x="5053885" y="4405883"/>
                  <a:pt x="5050824" y="4408013"/>
                  <a:pt x="5047230" y="4409477"/>
                </a:cubicBezTo>
                <a:cubicBezTo>
                  <a:pt x="5043636" y="4410941"/>
                  <a:pt x="5039775" y="4411740"/>
                  <a:pt x="5035515" y="4411740"/>
                </a:cubicBezTo>
                <a:cubicBezTo>
                  <a:pt x="5026597" y="4411740"/>
                  <a:pt x="5019275" y="4408811"/>
                  <a:pt x="5013683" y="4403220"/>
                </a:cubicBezTo>
                <a:cubicBezTo>
                  <a:pt x="5008092" y="4397629"/>
                  <a:pt x="5005297" y="4390440"/>
                  <a:pt x="5005297" y="4382054"/>
                </a:cubicBezTo>
                <a:cubicBezTo>
                  <a:pt x="5005297" y="4373801"/>
                  <a:pt x="5008092" y="4366745"/>
                  <a:pt x="5013683" y="4361021"/>
                </a:cubicBezTo>
                <a:cubicBezTo>
                  <a:pt x="5019275" y="4355298"/>
                  <a:pt x="5026463" y="4352369"/>
                  <a:pt x="5035515" y="4352369"/>
                </a:cubicBezTo>
                <a:close/>
                <a:moveTo>
                  <a:pt x="4817870" y="4352369"/>
                </a:moveTo>
                <a:cubicBezTo>
                  <a:pt x="4822130" y="4352369"/>
                  <a:pt x="4826124" y="4353168"/>
                  <a:pt x="4829585" y="4355031"/>
                </a:cubicBezTo>
                <a:cubicBezTo>
                  <a:pt x="4833312" y="4356628"/>
                  <a:pt x="4836374" y="4358758"/>
                  <a:pt x="4838903" y="4361421"/>
                </a:cubicBezTo>
                <a:cubicBezTo>
                  <a:pt x="4841432" y="4363950"/>
                  <a:pt x="4843562" y="4367145"/>
                  <a:pt x="4845026" y="4370739"/>
                </a:cubicBezTo>
                <a:cubicBezTo>
                  <a:pt x="4846491" y="4374333"/>
                  <a:pt x="4847289" y="4378060"/>
                  <a:pt x="4847289" y="4382187"/>
                </a:cubicBezTo>
                <a:cubicBezTo>
                  <a:pt x="4847289" y="4386313"/>
                  <a:pt x="4846491" y="4390307"/>
                  <a:pt x="4845026" y="4393902"/>
                </a:cubicBezTo>
                <a:cubicBezTo>
                  <a:pt x="4843562" y="4397496"/>
                  <a:pt x="4841432" y="4400558"/>
                  <a:pt x="4838903" y="4403220"/>
                </a:cubicBezTo>
                <a:cubicBezTo>
                  <a:pt x="4836240" y="4405883"/>
                  <a:pt x="4833179" y="4408013"/>
                  <a:pt x="4829585" y="4409477"/>
                </a:cubicBezTo>
                <a:cubicBezTo>
                  <a:pt x="4825991" y="4410941"/>
                  <a:pt x="4822130" y="4411740"/>
                  <a:pt x="4817870" y="4411740"/>
                </a:cubicBezTo>
                <a:cubicBezTo>
                  <a:pt x="4808952" y="4411740"/>
                  <a:pt x="4801630" y="4408811"/>
                  <a:pt x="4796038" y="4403220"/>
                </a:cubicBezTo>
                <a:cubicBezTo>
                  <a:pt x="4790447" y="4397629"/>
                  <a:pt x="4787652" y="4390440"/>
                  <a:pt x="4787652" y="4382054"/>
                </a:cubicBezTo>
                <a:cubicBezTo>
                  <a:pt x="4787652" y="4373801"/>
                  <a:pt x="4790447" y="4366745"/>
                  <a:pt x="4796038" y="4361021"/>
                </a:cubicBezTo>
                <a:cubicBezTo>
                  <a:pt x="4801630" y="4355298"/>
                  <a:pt x="4808818" y="4352369"/>
                  <a:pt x="4817870" y="4352369"/>
                </a:cubicBezTo>
                <a:close/>
                <a:moveTo>
                  <a:pt x="4600226" y="4352369"/>
                </a:moveTo>
                <a:cubicBezTo>
                  <a:pt x="4604485" y="4352369"/>
                  <a:pt x="4608479" y="4353168"/>
                  <a:pt x="4612073" y="4355031"/>
                </a:cubicBezTo>
                <a:cubicBezTo>
                  <a:pt x="4615800" y="4356628"/>
                  <a:pt x="4618862" y="4358758"/>
                  <a:pt x="4621391" y="4361421"/>
                </a:cubicBezTo>
                <a:cubicBezTo>
                  <a:pt x="4623920" y="4363950"/>
                  <a:pt x="4626050" y="4367145"/>
                  <a:pt x="4627514" y="4370739"/>
                </a:cubicBezTo>
                <a:cubicBezTo>
                  <a:pt x="4628978" y="4374333"/>
                  <a:pt x="4629777" y="4378060"/>
                  <a:pt x="4629777" y="4382187"/>
                </a:cubicBezTo>
                <a:cubicBezTo>
                  <a:pt x="4629777" y="4386313"/>
                  <a:pt x="4628978" y="4390307"/>
                  <a:pt x="4627514" y="4393902"/>
                </a:cubicBezTo>
                <a:cubicBezTo>
                  <a:pt x="4626050" y="4397496"/>
                  <a:pt x="4623920" y="4400558"/>
                  <a:pt x="4621391" y="4403220"/>
                </a:cubicBezTo>
                <a:cubicBezTo>
                  <a:pt x="4618729" y="4405883"/>
                  <a:pt x="4615667" y="4408013"/>
                  <a:pt x="4612073" y="4409477"/>
                </a:cubicBezTo>
                <a:cubicBezTo>
                  <a:pt x="4608346" y="4410941"/>
                  <a:pt x="4604485" y="4411740"/>
                  <a:pt x="4600226" y="4411740"/>
                </a:cubicBezTo>
                <a:cubicBezTo>
                  <a:pt x="4591173" y="4411740"/>
                  <a:pt x="4583985" y="4408811"/>
                  <a:pt x="4578393" y="4403220"/>
                </a:cubicBezTo>
                <a:cubicBezTo>
                  <a:pt x="4572803" y="4397629"/>
                  <a:pt x="4570007" y="4390440"/>
                  <a:pt x="4570007" y="4382054"/>
                </a:cubicBezTo>
                <a:cubicBezTo>
                  <a:pt x="4570007" y="4373801"/>
                  <a:pt x="4572803" y="4366745"/>
                  <a:pt x="4578393" y="4361021"/>
                </a:cubicBezTo>
                <a:cubicBezTo>
                  <a:pt x="4583985" y="4355298"/>
                  <a:pt x="4591173" y="4352369"/>
                  <a:pt x="4600226" y="4352369"/>
                </a:cubicBezTo>
                <a:close/>
                <a:moveTo>
                  <a:pt x="4382713" y="4352369"/>
                </a:moveTo>
                <a:cubicBezTo>
                  <a:pt x="4386840" y="4352369"/>
                  <a:pt x="4390834" y="4353168"/>
                  <a:pt x="4394428" y="4355031"/>
                </a:cubicBezTo>
                <a:cubicBezTo>
                  <a:pt x="4398155" y="4356628"/>
                  <a:pt x="4401217" y="4358758"/>
                  <a:pt x="4403746" y="4361421"/>
                </a:cubicBezTo>
                <a:cubicBezTo>
                  <a:pt x="4406275" y="4363950"/>
                  <a:pt x="4408405" y="4367145"/>
                  <a:pt x="4409869" y="4370739"/>
                </a:cubicBezTo>
                <a:cubicBezTo>
                  <a:pt x="4411334" y="4374333"/>
                  <a:pt x="4412132" y="4378060"/>
                  <a:pt x="4412132" y="4382187"/>
                </a:cubicBezTo>
                <a:cubicBezTo>
                  <a:pt x="4412132" y="4386313"/>
                  <a:pt x="4411334" y="4390307"/>
                  <a:pt x="4409869" y="4393902"/>
                </a:cubicBezTo>
                <a:cubicBezTo>
                  <a:pt x="4408405" y="4397496"/>
                  <a:pt x="4406275" y="4400558"/>
                  <a:pt x="4403746" y="4403220"/>
                </a:cubicBezTo>
                <a:cubicBezTo>
                  <a:pt x="4401083" y="4405883"/>
                  <a:pt x="4398022" y="4408013"/>
                  <a:pt x="4394428" y="4409477"/>
                </a:cubicBezTo>
                <a:cubicBezTo>
                  <a:pt x="4390834" y="4410941"/>
                  <a:pt x="4386973" y="4411740"/>
                  <a:pt x="4382713" y="4411740"/>
                </a:cubicBezTo>
                <a:cubicBezTo>
                  <a:pt x="4373661" y="4411740"/>
                  <a:pt x="4366473" y="4408811"/>
                  <a:pt x="4360881" y="4403220"/>
                </a:cubicBezTo>
                <a:cubicBezTo>
                  <a:pt x="4355290" y="4397629"/>
                  <a:pt x="4352495" y="4390440"/>
                  <a:pt x="4352495" y="4382054"/>
                </a:cubicBezTo>
                <a:cubicBezTo>
                  <a:pt x="4352495" y="4373801"/>
                  <a:pt x="4355290" y="4366745"/>
                  <a:pt x="4360881" y="4361021"/>
                </a:cubicBezTo>
                <a:cubicBezTo>
                  <a:pt x="4366473" y="4355298"/>
                  <a:pt x="4373661" y="4352369"/>
                  <a:pt x="4382713" y="4352369"/>
                </a:cubicBezTo>
                <a:close/>
                <a:moveTo>
                  <a:pt x="4165068" y="4352369"/>
                </a:moveTo>
                <a:cubicBezTo>
                  <a:pt x="4169327" y="4352369"/>
                  <a:pt x="4173188" y="4353168"/>
                  <a:pt x="4176782" y="4355031"/>
                </a:cubicBezTo>
                <a:cubicBezTo>
                  <a:pt x="4180509" y="4356628"/>
                  <a:pt x="4183571" y="4358758"/>
                  <a:pt x="4186100" y="4361421"/>
                </a:cubicBezTo>
                <a:cubicBezTo>
                  <a:pt x="4188629" y="4363950"/>
                  <a:pt x="4190759" y="4367145"/>
                  <a:pt x="4192223" y="4370739"/>
                </a:cubicBezTo>
                <a:cubicBezTo>
                  <a:pt x="4193688" y="4374333"/>
                  <a:pt x="4194486" y="4378060"/>
                  <a:pt x="4194486" y="4382187"/>
                </a:cubicBezTo>
                <a:cubicBezTo>
                  <a:pt x="4194486" y="4386313"/>
                  <a:pt x="4193688" y="4390307"/>
                  <a:pt x="4192223" y="4393902"/>
                </a:cubicBezTo>
                <a:cubicBezTo>
                  <a:pt x="4190759" y="4397496"/>
                  <a:pt x="4188629" y="4400558"/>
                  <a:pt x="4186100" y="4403220"/>
                </a:cubicBezTo>
                <a:cubicBezTo>
                  <a:pt x="4183438" y="4405883"/>
                  <a:pt x="4180376" y="4408013"/>
                  <a:pt x="4176782" y="4409477"/>
                </a:cubicBezTo>
                <a:cubicBezTo>
                  <a:pt x="4173188" y="4410941"/>
                  <a:pt x="4169327" y="4411740"/>
                  <a:pt x="4165068" y="4411740"/>
                </a:cubicBezTo>
                <a:cubicBezTo>
                  <a:pt x="4156015" y="4411740"/>
                  <a:pt x="4148827" y="4408811"/>
                  <a:pt x="4143235" y="4403220"/>
                </a:cubicBezTo>
                <a:cubicBezTo>
                  <a:pt x="4137645" y="4397629"/>
                  <a:pt x="4134849" y="4390440"/>
                  <a:pt x="4134849" y="4382054"/>
                </a:cubicBezTo>
                <a:cubicBezTo>
                  <a:pt x="4134849" y="4373801"/>
                  <a:pt x="4137645" y="4366745"/>
                  <a:pt x="4143235" y="4361021"/>
                </a:cubicBezTo>
                <a:cubicBezTo>
                  <a:pt x="4148827" y="4355298"/>
                  <a:pt x="4156015" y="4352369"/>
                  <a:pt x="4165068" y="4352369"/>
                </a:cubicBezTo>
                <a:close/>
                <a:moveTo>
                  <a:pt x="3947663" y="4352369"/>
                </a:moveTo>
                <a:cubicBezTo>
                  <a:pt x="3951925" y="4352369"/>
                  <a:pt x="3955785" y="4353168"/>
                  <a:pt x="3959380" y="4355031"/>
                </a:cubicBezTo>
                <a:cubicBezTo>
                  <a:pt x="3963108" y="4356628"/>
                  <a:pt x="3966169" y="4358758"/>
                  <a:pt x="3968698" y="4361421"/>
                </a:cubicBezTo>
                <a:cubicBezTo>
                  <a:pt x="3971228" y="4363950"/>
                  <a:pt x="3973358" y="4367145"/>
                  <a:pt x="3974822" y="4370739"/>
                </a:cubicBezTo>
                <a:cubicBezTo>
                  <a:pt x="3976287" y="4374333"/>
                  <a:pt x="3977086" y="4378060"/>
                  <a:pt x="3977086" y="4382187"/>
                </a:cubicBezTo>
                <a:cubicBezTo>
                  <a:pt x="3977086" y="4386313"/>
                  <a:pt x="3976287" y="4390307"/>
                  <a:pt x="3974822" y="4393902"/>
                </a:cubicBezTo>
                <a:cubicBezTo>
                  <a:pt x="3973358" y="4397496"/>
                  <a:pt x="3971228" y="4400558"/>
                  <a:pt x="3968698" y="4403220"/>
                </a:cubicBezTo>
                <a:cubicBezTo>
                  <a:pt x="3966036" y="4405883"/>
                  <a:pt x="3962975" y="4408013"/>
                  <a:pt x="3959380" y="4409477"/>
                </a:cubicBezTo>
                <a:cubicBezTo>
                  <a:pt x="3955785" y="4410941"/>
                  <a:pt x="3951925" y="4411740"/>
                  <a:pt x="3947663" y="4411740"/>
                </a:cubicBezTo>
                <a:cubicBezTo>
                  <a:pt x="3938610" y="4411740"/>
                  <a:pt x="3931422" y="4408811"/>
                  <a:pt x="3925830" y="4403220"/>
                </a:cubicBezTo>
                <a:cubicBezTo>
                  <a:pt x="3920239" y="4397629"/>
                  <a:pt x="3917444" y="4390440"/>
                  <a:pt x="3917444" y="4382054"/>
                </a:cubicBezTo>
                <a:cubicBezTo>
                  <a:pt x="3917444" y="4373801"/>
                  <a:pt x="3920239" y="4366745"/>
                  <a:pt x="3925830" y="4361021"/>
                </a:cubicBezTo>
                <a:cubicBezTo>
                  <a:pt x="3931422" y="4355298"/>
                  <a:pt x="3938610" y="4352369"/>
                  <a:pt x="3947663" y="4352369"/>
                </a:cubicBezTo>
                <a:close/>
                <a:moveTo>
                  <a:pt x="3730007" y="4352369"/>
                </a:moveTo>
                <a:cubicBezTo>
                  <a:pt x="3734268" y="4352369"/>
                  <a:pt x="3738260" y="4353168"/>
                  <a:pt x="3741722" y="4355031"/>
                </a:cubicBezTo>
                <a:cubicBezTo>
                  <a:pt x="3745316" y="4356628"/>
                  <a:pt x="3748512" y="4358758"/>
                  <a:pt x="3751041" y="4361421"/>
                </a:cubicBezTo>
                <a:cubicBezTo>
                  <a:pt x="3753570" y="4363950"/>
                  <a:pt x="3755699" y="4367145"/>
                  <a:pt x="3757163" y="4370739"/>
                </a:cubicBezTo>
                <a:cubicBezTo>
                  <a:pt x="3758627" y="4374333"/>
                  <a:pt x="3759426" y="4378060"/>
                  <a:pt x="3759426" y="4382187"/>
                </a:cubicBezTo>
                <a:cubicBezTo>
                  <a:pt x="3759426" y="4386313"/>
                  <a:pt x="3758627" y="4390307"/>
                  <a:pt x="3757163" y="4393902"/>
                </a:cubicBezTo>
                <a:cubicBezTo>
                  <a:pt x="3755699" y="4397496"/>
                  <a:pt x="3753570" y="4400558"/>
                  <a:pt x="3751041" y="4403220"/>
                </a:cubicBezTo>
                <a:cubicBezTo>
                  <a:pt x="3748378" y="4405883"/>
                  <a:pt x="3745316" y="4408013"/>
                  <a:pt x="3741722" y="4409477"/>
                </a:cubicBezTo>
                <a:cubicBezTo>
                  <a:pt x="3738129" y="4410941"/>
                  <a:pt x="3734268" y="4411740"/>
                  <a:pt x="3730007" y="4411740"/>
                </a:cubicBezTo>
                <a:cubicBezTo>
                  <a:pt x="3720955" y="4411740"/>
                  <a:pt x="3713766" y="4408811"/>
                  <a:pt x="3708169" y="4403220"/>
                </a:cubicBezTo>
                <a:cubicBezTo>
                  <a:pt x="3702576" y="4397629"/>
                  <a:pt x="3699782" y="4390440"/>
                  <a:pt x="3699782" y="4382054"/>
                </a:cubicBezTo>
                <a:cubicBezTo>
                  <a:pt x="3699782" y="4373801"/>
                  <a:pt x="3702576" y="4366745"/>
                  <a:pt x="3708169" y="4361021"/>
                </a:cubicBezTo>
                <a:cubicBezTo>
                  <a:pt x="3713766" y="4355298"/>
                  <a:pt x="3720955" y="4352369"/>
                  <a:pt x="3730007" y="4352369"/>
                </a:cubicBezTo>
                <a:close/>
                <a:moveTo>
                  <a:pt x="3512349" y="4352369"/>
                </a:moveTo>
                <a:cubicBezTo>
                  <a:pt x="3516610" y="4352369"/>
                  <a:pt x="3520603" y="4353168"/>
                  <a:pt x="3524065" y="4355031"/>
                </a:cubicBezTo>
                <a:cubicBezTo>
                  <a:pt x="3527659" y="4356628"/>
                  <a:pt x="3530854" y="4358758"/>
                  <a:pt x="3533383" y="4361421"/>
                </a:cubicBezTo>
                <a:cubicBezTo>
                  <a:pt x="3535912" y="4363950"/>
                  <a:pt x="3538042" y="4367145"/>
                  <a:pt x="3539506" y="4370739"/>
                </a:cubicBezTo>
                <a:cubicBezTo>
                  <a:pt x="3540970" y="4374333"/>
                  <a:pt x="3541769" y="4378060"/>
                  <a:pt x="3541769" y="4382187"/>
                </a:cubicBezTo>
                <a:cubicBezTo>
                  <a:pt x="3541769" y="4386313"/>
                  <a:pt x="3540970" y="4390307"/>
                  <a:pt x="3539506" y="4393902"/>
                </a:cubicBezTo>
                <a:cubicBezTo>
                  <a:pt x="3538042" y="4397496"/>
                  <a:pt x="3535912" y="4400558"/>
                  <a:pt x="3533383" y="4403220"/>
                </a:cubicBezTo>
                <a:cubicBezTo>
                  <a:pt x="3530720" y="4405883"/>
                  <a:pt x="3527659" y="4408013"/>
                  <a:pt x="3524065" y="4409477"/>
                </a:cubicBezTo>
                <a:cubicBezTo>
                  <a:pt x="3520471" y="4410941"/>
                  <a:pt x="3516610" y="4411740"/>
                  <a:pt x="3512349" y="4411740"/>
                </a:cubicBezTo>
                <a:cubicBezTo>
                  <a:pt x="3503294" y="4411740"/>
                  <a:pt x="3496104" y="4408811"/>
                  <a:pt x="3490513" y="4403220"/>
                </a:cubicBezTo>
                <a:cubicBezTo>
                  <a:pt x="3484923" y="4397629"/>
                  <a:pt x="3482127" y="4390440"/>
                  <a:pt x="3482127" y="4382054"/>
                </a:cubicBezTo>
                <a:cubicBezTo>
                  <a:pt x="3482127" y="4373801"/>
                  <a:pt x="3484923" y="4366745"/>
                  <a:pt x="3490513" y="4361021"/>
                </a:cubicBezTo>
                <a:cubicBezTo>
                  <a:pt x="3496104" y="4355298"/>
                  <a:pt x="3503294" y="4352369"/>
                  <a:pt x="3512349" y="4352369"/>
                </a:cubicBezTo>
                <a:close/>
                <a:moveTo>
                  <a:pt x="3294825" y="4352369"/>
                </a:moveTo>
                <a:cubicBezTo>
                  <a:pt x="3298952" y="4352369"/>
                  <a:pt x="3302946" y="4353168"/>
                  <a:pt x="3306540" y="4355031"/>
                </a:cubicBezTo>
                <a:cubicBezTo>
                  <a:pt x="3310267" y="4356628"/>
                  <a:pt x="3313329" y="4358758"/>
                  <a:pt x="3315858" y="4361421"/>
                </a:cubicBezTo>
                <a:cubicBezTo>
                  <a:pt x="3318388" y="4363950"/>
                  <a:pt x="3320518" y="4367145"/>
                  <a:pt x="3321982" y="4370739"/>
                </a:cubicBezTo>
                <a:cubicBezTo>
                  <a:pt x="3323446" y="4374333"/>
                  <a:pt x="3324245" y="4378060"/>
                  <a:pt x="3324245" y="4382187"/>
                </a:cubicBezTo>
                <a:cubicBezTo>
                  <a:pt x="3324245" y="4386313"/>
                  <a:pt x="3323446" y="4390307"/>
                  <a:pt x="3321982" y="4393902"/>
                </a:cubicBezTo>
                <a:cubicBezTo>
                  <a:pt x="3320518" y="4397496"/>
                  <a:pt x="3318388" y="4400558"/>
                  <a:pt x="3315858" y="4403220"/>
                </a:cubicBezTo>
                <a:cubicBezTo>
                  <a:pt x="3313195" y="4405883"/>
                  <a:pt x="3310134" y="4408013"/>
                  <a:pt x="3306540" y="4409477"/>
                </a:cubicBezTo>
                <a:cubicBezTo>
                  <a:pt x="3302946" y="4410941"/>
                  <a:pt x="3299085" y="4411740"/>
                  <a:pt x="3294825" y="4411740"/>
                </a:cubicBezTo>
                <a:cubicBezTo>
                  <a:pt x="3285771" y="4411740"/>
                  <a:pt x="3278582" y="4408811"/>
                  <a:pt x="3272988" y="4403220"/>
                </a:cubicBezTo>
                <a:cubicBezTo>
                  <a:pt x="3267396" y="4397629"/>
                  <a:pt x="3264601" y="4390440"/>
                  <a:pt x="3264601" y="4382054"/>
                </a:cubicBezTo>
                <a:cubicBezTo>
                  <a:pt x="3264601" y="4373801"/>
                  <a:pt x="3267396" y="4366745"/>
                  <a:pt x="3272988" y="4361021"/>
                </a:cubicBezTo>
                <a:cubicBezTo>
                  <a:pt x="3278582" y="4355298"/>
                  <a:pt x="3285771" y="4352369"/>
                  <a:pt x="3294825" y="4352369"/>
                </a:cubicBezTo>
                <a:close/>
                <a:moveTo>
                  <a:pt x="3077167" y="4352369"/>
                </a:moveTo>
                <a:cubicBezTo>
                  <a:pt x="3081295" y="4352369"/>
                  <a:pt x="3085288" y="4353168"/>
                  <a:pt x="3088883" y="4355031"/>
                </a:cubicBezTo>
                <a:cubicBezTo>
                  <a:pt x="3092477" y="4356628"/>
                  <a:pt x="3095672" y="4358758"/>
                  <a:pt x="3098201" y="4361421"/>
                </a:cubicBezTo>
                <a:cubicBezTo>
                  <a:pt x="3100730" y="4363950"/>
                  <a:pt x="3102860" y="4367145"/>
                  <a:pt x="3104324" y="4370739"/>
                </a:cubicBezTo>
                <a:cubicBezTo>
                  <a:pt x="3105789" y="4374333"/>
                  <a:pt x="3106587" y="4378060"/>
                  <a:pt x="3106587" y="4382187"/>
                </a:cubicBezTo>
                <a:cubicBezTo>
                  <a:pt x="3106587" y="4386313"/>
                  <a:pt x="3105789" y="4390307"/>
                  <a:pt x="3104324" y="4393902"/>
                </a:cubicBezTo>
                <a:cubicBezTo>
                  <a:pt x="3102860" y="4397496"/>
                  <a:pt x="3100730" y="4400558"/>
                  <a:pt x="3098201" y="4403220"/>
                </a:cubicBezTo>
                <a:cubicBezTo>
                  <a:pt x="3095538" y="4405883"/>
                  <a:pt x="3092477" y="4408013"/>
                  <a:pt x="3088883" y="4409477"/>
                </a:cubicBezTo>
                <a:cubicBezTo>
                  <a:pt x="3085288" y="4410941"/>
                  <a:pt x="3081427" y="4411740"/>
                  <a:pt x="3077167" y="4411740"/>
                </a:cubicBezTo>
                <a:cubicBezTo>
                  <a:pt x="3068247" y="4411740"/>
                  <a:pt x="3060924" y="4408811"/>
                  <a:pt x="3055331" y="4403220"/>
                </a:cubicBezTo>
                <a:cubicBezTo>
                  <a:pt x="3049740" y="4397629"/>
                  <a:pt x="3046944" y="4390440"/>
                  <a:pt x="3046944" y="4382054"/>
                </a:cubicBezTo>
                <a:cubicBezTo>
                  <a:pt x="3046944" y="4373801"/>
                  <a:pt x="3049740" y="4366745"/>
                  <a:pt x="3055331" y="4361021"/>
                </a:cubicBezTo>
                <a:cubicBezTo>
                  <a:pt x="3060924" y="4355298"/>
                  <a:pt x="3068114" y="4352369"/>
                  <a:pt x="3077167" y="4352369"/>
                </a:cubicBezTo>
                <a:close/>
                <a:moveTo>
                  <a:pt x="2859510" y="4352369"/>
                </a:moveTo>
                <a:cubicBezTo>
                  <a:pt x="2863770" y="4352369"/>
                  <a:pt x="2867631" y="4353168"/>
                  <a:pt x="2871358" y="4355031"/>
                </a:cubicBezTo>
                <a:cubicBezTo>
                  <a:pt x="2875085" y="4356628"/>
                  <a:pt x="2878147" y="4358758"/>
                  <a:pt x="2880676" y="4361421"/>
                </a:cubicBezTo>
                <a:cubicBezTo>
                  <a:pt x="2883338" y="4363950"/>
                  <a:pt x="2885335" y="4367145"/>
                  <a:pt x="2886799" y="4370739"/>
                </a:cubicBezTo>
                <a:cubicBezTo>
                  <a:pt x="2888264" y="4374333"/>
                  <a:pt x="2889062" y="4378060"/>
                  <a:pt x="2889062" y="4382187"/>
                </a:cubicBezTo>
                <a:cubicBezTo>
                  <a:pt x="2889062" y="4386313"/>
                  <a:pt x="2888264" y="4390307"/>
                  <a:pt x="2886799" y="4393902"/>
                </a:cubicBezTo>
                <a:cubicBezTo>
                  <a:pt x="2885335" y="4397496"/>
                  <a:pt x="2883205" y="4400558"/>
                  <a:pt x="2880676" y="4403220"/>
                </a:cubicBezTo>
                <a:cubicBezTo>
                  <a:pt x="2878014" y="4405883"/>
                  <a:pt x="2874952" y="4408013"/>
                  <a:pt x="2871358" y="4409477"/>
                </a:cubicBezTo>
                <a:cubicBezTo>
                  <a:pt x="2867631" y="4410941"/>
                  <a:pt x="2863770" y="4411740"/>
                  <a:pt x="2859510" y="4411740"/>
                </a:cubicBezTo>
                <a:cubicBezTo>
                  <a:pt x="2850592" y="4411740"/>
                  <a:pt x="2843264" y="4408811"/>
                  <a:pt x="2837673" y="4403220"/>
                </a:cubicBezTo>
                <a:cubicBezTo>
                  <a:pt x="2832082" y="4397629"/>
                  <a:pt x="2829286" y="4390440"/>
                  <a:pt x="2829286" y="4382054"/>
                </a:cubicBezTo>
                <a:cubicBezTo>
                  <a:pt x="2829286" y="4373801"/>
                  <a:pt x="2832082" y="4366745"/>
                  <a:pt x="2837673" y="4361021"/>
                </a:cubicBezTo>
                <a:cubicBezTo>
                  <a:pt x="2843264" y="4355298"/>
                  <a:pt x="2850458" y="4352369"/>
                  <a:pt x="2859510" y="4352369"/>
                </a:cubicBezTo>
                <a:close/>
                <a:moveTo>
                  <a:pt x="2641852" y="4352369"/>
                </a:moveTo>
                <a:cubicBezTo>
                  <a:pt x="2646112" y="4352369"/>
                  <a:pt x="2649972" y="4353168"/>
                  <a:pt x="2653567" y="4355031"/>
                </a:cubicBezTo>
                <a:cubicBezTo>
                  <a:pt x="2657294" y="4356628"/>
                  <a:pt x="2660356" y="4358758"/>
                  <a:pt x="2662885" y="4361421"/>
                </a:cubicBezTo>
                <a:cubicBezTo>
                  <a:pt x="2665547" y="4363950"/>
                  <a:pt x="2667545" y="4367145"/>
                  <a:pt x="2669009" y="4370739"/>
                </a:cubicBezTo>
                <a:cubicBezTo>
                  <a:pt x="2670473" y="4374333"/>
                  <a:pt x="2671272" y="4378060"/>
                  <a:pt x="2671272" y="4382187"/>
                </a:cubicBezTo>
                <a:cubicBezTo>
                  <a:pt x="2671272" y="4386313"/>
                  <a:pt x="2670473" y="4390307"/>
                  <a:pt x="2669009" y="4393902"/>
                </a:cubicBezTo>
                <a:cubicBezTo>
                  <a:pt x="2667545" y="4397496"/>
                  <a:pt x="2665415" y="4400558"/>
                  <a:pt x="2662885" y="4403220"/>
                </a:cubicBezTo>
                <a:cubicBezTo>
                  <a:pt x="2660356" y="4405883"/>
                  <a:pt x="2657161" y="4408013"/>
                  <a:pt x="2653567" y="4409477"/>
                </a:cubicBezTo>
                <a:cubicBezTo>
                  <a:pt x="2649972" y="4410941"/>
                  <a:pt x="2646112" y="4411740"/>
                  <a:pt x="2641852" y="4411740"/>
                </a:cubicBezTo>
                <a:cubicBezTo>
                  <a:pt x="2632933" y="4411740"/>
                  <a:pt x="2625611" y="4408811"/>
                  <a:pt x="2620019" y="4403220"/>
                </a:cubicBezTo>
                <a:cubicBezTo>
                  <a:pt x="2614426" y="4397629"/>
                  <a:pt x="2611630" y="4390440"/>
                  <a:pt x="2611630" y="4382054"/>
                </a:cubicBezTo>
                <a:cubicBezTo>
                  <a:pt x="2611630" y="4373801"/>
                  <a:pt x="2614426" y="4366745"/>
                  <a:pt x="2620019" y="4361021"/>
                </a:cubicBezTo>
                <a:cubicBezTo>
                  <a:pt x="2625611" y="4355298"/>
                  <a:pt x="2632800" y="4352369"/>
                  <a:pt x="2641852" y="4352369"/>
                </a:cubicBezTo>
                <a:close/>
                <a:moveTo>
                  <a:pt x="2424194" y="4352369"/>
                </a:moveTo>
                <a:cubicBezTo>
                  <a:pt x="2428454" y="4352369"/>
                  <a:pt x="2432449" y="4353168"/>
                  <a:pt x="2435910" y="4355031"/>
                </a:cubicBezTo>
                <a:cubicBezTo>
                  <a:pt x="2439637" y="4356628"/>
                  <a:pt x="2442698" y="4358758"/>
                  <a:pt x="2445228" y="4361421"/>
                </a:cubicBezTo>
                <a:cubicBezTo>
                  <a:pt x="2447890" y="4363950"/>
                  <a:pt x="2449887" y="4367145"/>
                  <a:pt x="2451351" y="4370739"/>
                </a:cubicBezTo>
                <a:cubicBezTo>
                  <a:pt x="2452815" y="4374333"/>
                  <a:pt x="2453614" y="4378060"/>
                  <a:pt x="2453614" y="4382187"/>
                </a:cubicBezTo>
                <a:cubicBezTo>
                  <a:pt x="2453614" y="4386313"/>
                  <a:pt x="2452815" y="4390307"/>
                  <a:pt x="2451351" y="4393902"/>
                </a:cubicBezTo>
                <a:cubicBezTo>
                  <a:pt x="2449887" y="4397496"/>
                  <a:pt x="2447757" y="4400558"/>
                  <a:pt x="2445228" y="4403220"/>
                </a:cubicBezTo>
                <a:cubicBezTo>
                  <a:pt x="2442698" y="4405883"/>
                  <a:pt x="2439504" y="4408013"/>
                  <a:pt x="2435910" y="4409477"/>
                </a:cubicBezTo>
                <a:cubicBezTo>
                  <a:pt x="2432315" y="4410941"/>
                  <a:pt x="2428454" y="4411740"/>
                  <a:pt x="2424194" y="4411740"/>
                </a:cubicBezTo>
                <a:cubicBezTo>
                  <a:pt x="2415276" y="4411740"/>
                  <a:pt x="2407954" y="4408811"/>
                  <a:pt x="2402362" y="4403220"/>
                </a:cubicBezTo>
                <a:cubicBezTo>
                  <a:pt x="2396770" y="4397629"/>
                  <a:pt x="2393974" y="4390440"/>
                  <a:pt x="2393974" y="4382054"/>
                </a:cubicBezTo>
                <a:cubicBezTo>
                  <a:pt x="2393974" y="4373801"/>
                  <a:pt x="2396770" y="4366745"/>
                  <a:pt x="2402362" y="4361021"/>
                </a:cubicBezTo>
                <a:cubicBezTo>
                  <a:pt x="2407954" y="4355298"/>
                  <a:pt x="2415142" y="4352369"/>
                  <a:pt x="2424194" y="4352369"/>
                </a:cubicBezTo>
                <a:close/>
                <a:moveTo>
                  <a:pt x="2206537" y="4352369"/>
                </a:moveTo>
                <a:cubicBezTo>
                  <a:pt x="2210797" y="4352369"/>
                  <a:pt x="2214791" y="4353168"/>
                  <a:pt x="2218252" y="4355031"/>
                </a:cubicBezTo>
                <a:cubicBezTo>
                  <a:pt x="2221979" y="4356628"/>
                  <a:pt x="2225040" y="4358758"/>
                  <a:pt x="2227570" y="4361421"/>
                </a:cubicBezTo>
                <a:cubicBezTo>
                  <a:pt x="2230232" y="4363950"/>
                  <a:pt x="2232229" y="4367145"/>
                  <a:pt x="2233693" y="4370739"/>
                </a:cubicBezTo>
                <a:cubicBezTo>
                  <a:pt x="2235157" y="4374333"/>
                  <a:pt x="2235956" y="4378060"/>
                  <a:pt x="2235956" y="4382187"/>
                </a:cubicBezTo>
                <a:cubicBezTo>
                  <a:pt x="2235956" y="4386313"/>
                  <a:pt x="2235157" y="4390307"/>
                  <a:pt x="2233693" y="4393902"/>
                </a:cubicBezTo>
                <a:cubicBezTo>
                  <a:pt x="2232229" y="4397496"/>
                  <a:pt x="2230099" y="4400558"/>
                  <a:pt x="2227570" y="4403220"/>
                </a:cubicBezTo>
                <a:cubicBezTo>
                  <a:pt x="2225040" y="4405883"/>
                  <a:pt x="2221846" y="4408013"/>
                  <a:pt x="2218252" y="4409477"/>
                </a:cubicBezTo>
                <a:cubicBezTo>
                  <a:pt x="2214657" y="4410941"/>
                  <a:pt x="2210797" y="4411740"/>
                  <a:pt x="2206537" y="4411740"/>
                </a:cubicBezTo>
                <a:cubicBezTo>
                  <a:pt x="2197484" y="4411740"/>
                  <a:pt x="2190296" y="4408811"/>
                  <a:pt x="2184704" y="4403220"/>
                </a:cubicBezTo>
                <a:cubicBezTo>
                  <a:pt x="2179112" y="4397629"/>
                  <a:pt x="2176317" y="4390440"/>
                  <a:pt x="2176317" y="4382054"/>
                </a:cubicBezTo>
                <a:cubicBezTo>
                  <a:pt x="2176317" y="4373801"/>
                  <a:pt x="2179112" y="4366745"/>
                  <a:pt x="2184704" y="4361021"/>
                </a:cubicBezTo>
                <a:cubicBezTo>
                  <a:pt x="2190296" y="4355298"/>
                  <a:pt x="2197484" y="4352369"/>
                  <a:pt x="2206537" y="4352369"/>
                </a:cubicBezTo>
                <a:close/>
                <a:moveTo>
                  <a:pt x="1989012" y="4352369"/>
                </a:moveTo>
                <a:cubicBezTo>
                  <a:pt x="1993139" y="4352369"/>
                  <a:pt x="1997133" y="4353168"/>
                  <a:pt x="2000727" y="4355031"/>
                </a:cubicBezTo>
                <a:cubicBezTo>
                  <a:pt x="2004454" y="4356628"/>
                  <a:pt x="2007516" y="4358758"/>
                  <a:pt x="2010045" y="4361421"/>
                </a:cubicBezTo>
                <a:cubicBezTo>
                  <a:pt x="2012707" y="4363950"/>
                  <a:pt x="2014704" y="4367145"/>
                  <a:pt x="2016168" y="4370739"/>
                </a:cubicBezTo>
                <a:cubicBezTo>
                  <a:pt x="2017632" y="4374333"/>
                  <a:pt x="2018431" y="4378060"/>
                  <a:pt x="2018431" y="4382187"/>
                </a:cubicBezTo>
                <a:cubicBezTo>
                  <a:pt x="2018431" y="4386313"/>
                  <a:pt x="2017632" y="4390307"/>
                  <a:pt x="2016168" y="4393902"/>
                </a:cubicBezTo>
                <a:cubicBezTo>
                  <a:pt x="2014704" y="4397496"/>
                  <a:pt x="2012574" y="4400558"/>
                  <a:pt x="2010045" y="4403220"/>
                </a:cubicBezTo>
                <a:cubicBezTo>
                  <a:pt x="2007516" y="4405883"/>
                  <a:pt x="2004321" y="4408013"/>
                  <a:pt x="2000727" y="4409477"/>
                </a:cubicBezTo>
                <a:cubicBezTo>
                  <a:pt x="1997133" y="4410941"/>
                  <a:pt x="1993272" y="4411740"/>
                  <a:pt x="1989012" y="4411740"/>
                </a:cubicBezTo>
                <a:cubicBezTo>
                  <a:pt x="1979961" y="4411740"/>
                  <a:pt x="1972772" y="4408811"/>
                  <a:pt x="1967181" y="4403220"/>
                </a:cubicBezTo>
                <a:cubicBezTo>
                  <a:pt x="1961590" y="4397629"/>
                  <a:pt x="1958794" y="4390440"/>
                  <a:pt x="1958794" y="4382054"/>
                </a:cubicBezTo>
                <a:cubicBezTo>
                  <a:pt x="1958794" y="4373801"/>
                  <a:pt x="1961590" y="4366745"/>
                  <a:pt x="1967181" y="4361021"/>
                </a:cubicBezTo>
                <a:cubicBezTo>
                  <a:pt x="1972772" y="4355298"/>
                  <a:pt x="1979961" y="4352369"/>
                  <a:pt x="1989012" y="4352369"/>
                </a:cubicBezTo>
                <a:close/>
                <a:moveTo>
                  <a:pt x="1771376" y="4352369"/>
                </a:moveTo>
                <a:cubicBezTo>
                  <a:pt x="1775635" y="4352369"/>
                  <a:pt x="1779495" y="4353168"/>
                  <a:pt x="1783090" y="4355031"/>
                </a:cubicBezTo>
                <a:cubicBezTo>
                  <a:pt x="1786817" y="4356628"/>
                  <a:pt x="1789879" y="4358758"/>
                  <a:pt x="1792407" y="4361421"/>
                </a:cubicBezTo>
                <a:cubicBezTo>
                  <a:pt x="1795070" y="4363950"/>
                  <a:pt x="1797067" y="4367145"/>
                  <a:pt x="1798531" y="4370739"/>
                </a:cubicBezTo>
                <a:cubicBezTo>
                  <a:pt x="1799995" y="4374333"/>
                  <a:pt x="1800793" y="4378060"/>
                  <a:pt x="1800793" y="4382187"/>
                </a:cubicBezTo>
                <a:cubicBezTo>
                  <a:pt x="1800793" y="4386313"/>
                  <a:pt x="1799995" y="4390307"/>
                  <a:pt x="1798531" y="4393902"/>
                </a:cubicBezTo>
                <a:cubicBezTo>
                  <a:pt x="1797067" y="4397496"/>
                  <a:pt x="1794937" y="4400558"/>
                  <a:pt x="1792407" y="4403220"/>
                </a:cubicBezTo>
                <a:cubicBezTo>
                  <a:pt x="1789745" y="4405883"/>
                  <a:pt x="1786684" y="4408013"/>
                  <a:pt x="1783090" y="4409477"/>
                </a:cubicBezTo>
                <a:cubicBezTo>
                  <a:pt x="1779495" y="4410941"/>
                  <a:pt x="1775635" y="4411740"/>
                  <a:pt x="1771376" y="4411740"/>
                </a:cubicBezTo>
                <a:cubicBezTo>
                  <a:pt x="1762457" y="4411740"/>
                  <a:pt x="1755137" y="4408811"/>
                  <a:pt x="1749546" y="4403220"/>
                </a:cubicBezTo>
                <a:cubicBezTo>
                  <a:pt x="1743955" y="4397629"/>
                  <a:pt x="1741162" y="4390440"/>
                  <a:pt x="1741162" y="4382054"/>
                </a:cubicBezTo>
                <a:cubicBezTo>
                  <a:pt x="1741162" y="4373801"/>
                  <a:pt x="1743955" y="4366745"/>
                  <a:pt x="1749546" y="4361021"/>
                </a:cubicBezTo>
                <a:cubicBezTo>
                  <a:pt x="1755137" y="4355298"/>
                  <a:pt x="1762324" y="4352369"/>
                  <a:pt x="1771376" y="4352369"/>
                </a:cubicBezTo>
                <a:close/>
                <a:moveTo>
                  <a:pt x="1553737" y="4352369"/>
                </a:moveTo>
                <a:cubicBezTo>
                  <a:pt x="1557997" y="4352369"/>
                  <a:pt x="1561858" y="4353168"/>
                  <a:pt x="1565452" y="4355031"/>
                </a:cubicBezTo>
                <a:cubicBezTo>
                  <a:pt x="1569046" y="4356628"/>
                  <a:pt x="1572241" y="4358758"/>
                  <a:pt x="1574770" y="4361421"/>
                </a:cubicBezTo>
                <a:cubicBezTo>
                  <a:pt x="1577432" y="4363950"/>
                  <a:pt x="1579429" y="4367145"/>
                  <a:pt x="1580893" y="4370739"/>
                </a:cubicBezTo>
                <a:cubicBezTo>
                  <a:pt x="1582357" y="4374333"/>
                  <a:pt x="1583156" y="4378060"/>
                  <a:pt x="1583156" y="4382187"/>
                </a:cubicBezTo>
                <a:cubicBezTo>
                  <a:pt x="1583156" y="4386313"/>
                  <a:pt x="1582357" y="4390307"/>
                  <a:pt x="1580893" y="4393902"/>
                </a:cubicBezTo>
                <a:cubicBezTo>
                  <a:pt x="1579429" y="4397496"/>
                  <a:pt x="1577299" y="4400558"/>
                  <a:pt x="1574770" y="4403220"/>
                </a:cubicBezTo>
                <a:cubicBezTo>
                  <a:pt x="1572108" y="4405883"/>
                  <a:pt x="1569046" y="4408013"/>
                  <a:pt x="1565452" y="4409477"/>
                </a:cubicBezTo>
                <a:cubicBezTo>
                  <a:pt x="1561858" y="4410941"/>
                  <a:pt x="1557997" y="4411740"/>
                  <a:pt x="1553737" y="4411740"/>
                </a:cubicBezTo>
                <a:cubicBezTo>
                  <a:pt x="1544819" y="4411740"/>
                  <a:pt x="1537497" y="4408811"/>
                  <a:pt x="1531907" y="4403220"/>
                </a:cubicBezTo>
                <a:cubicBezTo>
                  <a:pt x="1526318" y="4397629"/>
                  <a:pt x="1523521" y="4390440"/>
                  <a:pt x="1523521" y="4382054"/>
                </a:cubicBezTo>
                <a:cubicBezTo>
                  <a:pt x="1523521" y="4373801"/>
                  <a:pt x="1526318" y="4366745"/>
                  <a:pt x="1531907" y="4361021"/>
                </a:cubicBezTo>
                <a:cubicBezTo>
                  <a:pt x="1537497" y="4355298"/>
                  <a:pt x="1544685" y="4352369"/>
                  <a:pt x="1553737" y="4352369"/>
                </a:cubicBezTo>
                <a:close/>
                <a:moveTo>
                  <a:pt x="1336093" y="4352369"/>
                </a:moveTo>
                <a:cubicBezTo>
                  <a:pt x="1340353" y="4352369"/>
                  <a:pt x="1344348" y="4353168"/>
                  <a:pt x="1347809" y="4355031"/>
                </a:cubicBezTo>
                <a:cubicBezTo>
                  <a:pt x="1351402" y="4356628"/>
                  <a:pt x="1354597" y="4358758"/>
                  <a:pt x="1357127" y="4361421"/>
                </a:cubicBezTo>
                <a:cubicBezTo>
                  <a:pt x="1359789" y="4363950"/>
                  <a:pt x="1361786" y="4367145"/>
                  <a:pt x="1363250" y="4370739"/>
                </a:cubicBezTo>
                <a:cubicBezTo>
                  <a:pt x="1364714" y="4374333"/>
                  <a:pt x="1365512" y="4378060"/>
                  <a:pt x="1365512" y="4382187"/>
                </a:cubicBezTo>
                <a:cubicBezTo>
                  <a:pt x="1365512" y="4386313"/>
                  <a:pt x="1364714" y="4390307"/>
                  <a:pt x="1363250" y="4393902"/>
                </a:cubicBezTo>
                <a:cubicBezTo>
                  <a:pt x="1361786" y="4397496"/>
                  <a:pt x="1359656" y="4400558"/>
                  <a:pt x="1357127" y="4403220"/>
                </a:cubicBezTo>
                <a:cubicBezTo>
                  <a:pt x="1354463" y="4405883"/>
                  <a:pt x="1351402" y="4408013"/>
                  <a:pt x="1347809" y="4409477"/>
                </a:cubicBezTo>
                <a:cubicBezTo>
                  <a:pt x="1344214" y="4410941"/>
                  <a:pt x="1340353" y="4411740"/>
                  <a:pt x="1336093" y="4411740"/>
                </a:cubicBezTo>
                <a:cubicBezTo>
                  <a:pt x="1327173" y="4411740"/>
                  <a:pt x="1319852" y="4408811"/>
                  <a:pt x="1314261" y="4403220"/>
                </a:cubicBezTo>
                <a:cubicBezTo>
                  <a:pt x="1308670" y="4397629"/>
                  <a:pt x="1305875" y="4390440"/>
                  <a:pt x="1305875" y="4382054"/>
                </a:cubicBezTo>
                <a:cubicBezTo>
                  <a:pt x="1305875" y="4373801"/>
                  <a:pt x="1308670" y="4366745"/>
                  <a:pt x="1314261" y="4361021"/>
                </a:cubicBezTo>
                <a:cubicBezTo>
                  <a:pt x="1319852" y="4355298"/>
                  <a:pt x="1327040" y="4352369"/>
                  <a:pt x="1336093" y="4352369"/>
                </a:cubicBezTo>
                <a:close/>
                <a:moveTo>
                  <a:pt x="1118448" y="4352369"/>
                </a:moveTo>
                <a:cubicBezTo>
                  <a:pt x="1122709" y="4352369"/>
                  <a:pt x="1126705" y="4353168"/>
                  <a:pt x="1130165" y="4355031"/>
                </a:cubicBezTo>
                <a:cubicBezTo>
                  <a:pt x="1133892" y="4356628"/>
                  <a:pt x="1136954" y="4358758"/>
                  <a:pt x="1139481" y="4361421"/>
                </a:cubicBezTo>
                <a:cubicBezTo>
                  <a:pt x="1142142" y="4363950"/>
                  <a:pt x="1144138" y="4367145"/>
                  <a:pt x="1145602" y="4370739"/>
                </a:cubicBezTo>
                <a:cubicBezTo>
                  <a:pt x="1147066" y="4374333"/>
                  <a:pt x="1147865" y="4378060"/>
                  <a:pt x="1147865" y="4382187"/>
                </a:cubicBezTo>
                <a:cubicBezTo>
                  <a:pt x="1147865" y="4386313"/>
                  <a:pt x="1147066" y="4390307"/>
                  <a:pt x="1145602" y="4393902"/>
                </a:cubicBezTo>
                <a:cubicBezTo>
                  <a:pt x="1144138" y="4397496"/>
                  <a:pt x="1142009" y="4400558"/>
                  <a:pt x="1139481" y="4403220"/>
                </a:cubicBezTo>
                <a:cubicBezTo>
                  <a:pt x="1136954" y="4405883"/>
                  <a:pt x="1133759" y="4408013"/>
                  <a:pt x="1130165" y="4409477"/>
                </a:cubicBezTo>
                <a:cubicBezTo>
                  <a:pt x="1126569" y="4410941"/>
                  <a:pt x="1122709" y="4411740"/>
                  <a:pt x="1118448" y="4411740"/>
                </a:cubicBezTo>
                <a:cubicBezTo>
                  <a:pt x="1109528" y="4411740"/>
                  <a:pt x="1102205" y="4408811"/>
                  <a:pt x="1096614" y="4403220"/>
                </a:cubicBezTo>
                <a:cubicBezTo>
                  <a:pt x="1091024" y="4397629"/>
                  <a:pt x="1088229" y="4390440"/>
                  <a:pt x="1088229" y="4382054"/>
                </a:cubicBezTo>
                <a:cubicBezTo>
                  <a:pt x="1088229" y="4373801"/>
                  <a:pt x="1091024" y="4366745"/>
                  <a:pt x="1096614" y="4361021"/>
                </a:cubicBezTo>
                <a:cubicBezTo>
                  <a:pt x="1102205" y="4355298"/>
                  <a:pt x="1109394" y="4352369"/>
                  <a:pt x="1118448" y="4352369"/>
                </a:cubicBezTo>
                <a:close/>
                <a:moveTo>
                  <a:pt x="900935" y="4352369"/>
                </a:moveTo>
                <a:cubicBezTo>
                  <a:pt x="905062" y="4352369"/>
                  <a:pt x="909056" y="4353168"/>
                  <a:pt x="912650" y="4355031"/>
                </a:cubicBezTo>
                <a:cubicBezTo>
                  <a:pt x="916377" y="4356628"/>
                  <a:pt x="919439" y="4358758"/>
                  <a:pt x="921968" y="4361421"/>
                </a:cubicBezTo>
                <a:cubicBezTo>
                  <a:pt x="924630" y="4363950"/>
                  <a:pt x="926627" y="4367145"/>
                  <a:pt x="928091" y="4370739"/>
                </a:cubicBezTo>
                <a:cubicBezTo>
                  <a:pt x="929555" y="4374333"/>
                  <a:pt x="930354" y="4378060"/>
                  <a:pt x="930354" y="4382187"/>
                </a:cubicBezTo>
                <a:cubicBezTo>
                  <a:pt x="930354" y="4386313"/>
                  <a:pt x="929555" y="4390307"/>
                  <a:pt x="928091" y="4393902"/>
                </a:cubicBezTo>
                <a:cubicBezTo>
                  <a:pt x="926627" y="4397496"/>
                  <a:pt x="924497" y="4400558"/>
                  <a:pt x="921968" y="4403220"/>
                </a:cubicBezTo>
                <a:cubicBezTo>
                  <a:pt x="919439" y="4405883"/>
                  <a:pt x="916244" y="4408013"/>
                  <a:pt x="912650" y="4409477"/>
                </a:cubicBezTo>
                <a:cubicBezTo>
                  <a:pt x="909056" y="4410941"/>
                  <a:pt x="905195" y="4411740"/>
                  <a:pt x="900935" y="4411740"/>
                </a:cubicBezTo>
                <a:cubicBezTo>
                  <a:pt x="892017" y="4411740"/>
                  <a:pt x="884695" y="4408811"/>
                  <a:pt x="879104" y="4403220"/>
                </a:cubicBezTo>
                <a:cubicBezTo>
                  <a:pt x="873515" y="4397629"/>
                  <a:pt x="870719" y="4390440"/>
                  <a:pt x="870719" y="4382054"/>
                </a:cubicBezTo>
                <a:cubicBezTo>
                  <a:pt x="870719" y="4373801"/>
                  <a:pt x="873515" y="4366745"/>
                  <a:pt x="879104" y="4361021"/>
                </a:cubicBezTo>
                <a:cubicBezTo>
                  <a:pt x="884695" y="4355298"/>
                  <a:pt x="891884" y="4352369"/>
                  <a:pt x="900935" y="4352369"/>
                </a:cubicBezTo>
                <a:close/>
                <a:moveTo>
                  <a:pt x="683294" y="4352369"/>
                </a:moveTo>
                <a:cubicBezTo>
                  <a:pt x="687554" y="4352369"/>
                  <a:pt x="691415" y="4353168"/>
                  <a:pt x="695009" y="4355031"/>
                </a:cubicBezTo>
                <a:cubicBezTo>
                  <a:pt x="698736" y="4356628"/>
                  <a:pt x="701798" y="4358758"/>
                  <a:pt x="704326" y="4361421"/>
                </a:cubicBezTo>
                <a:cubicBezTo>
                  <a:pt x="706988" y="4363950"/>
                  <a:pt x="708986" y="4367145"/>
                  <a:pt x="710450" y="4370739"/>
                </a:cubicBezTo>
                <a:cubicBezTo>
                  <a:pt x="711914" y="4374333"/>
                  <a:pt x="712713" y="4378060"/>
                  <a:pt x="712713" y="4382187"/>
                </a:cubicBezTo>
                <a:cubicBezTo>
                  <a:pt x="712713" y="4386313"/>
                  <a:pt x="711914" y="4390307"/>
                  <a:pt x="710450" y="4393902"/>
                </a:cubicBezTo>
                <a:cubicBezTo>
                  <a:pt x="708986" y="4397496"/>
                  <a:pt x="706856" y="4400558"/>
                  <a:pt x="704326" y="4403220"/>
                </a:cubicBezTo>
                <a:cubicBezTo>
                  <a:pt x="701798" y="4405883"/>
                  <a:pt x="698603" y="4408013"/>
                  <a:pt x="695009" y="4409477"/>
                </a:cubicBezTo>
                <a:cubicBezTo>
                  <a:pt x="691415" y="4410941"/>
                  <a:pt x="687554" y="4411740"/>
                  <a:pt x="683294" y="4411740"/>
                </a:cubicBezTo>
                <a:cubicBezTo>
                  <a:pt x="674376" y="4411740"/>
                  <a:pt x="667054" y="4408811"/>
                  <a:pt x="661462" y="4403220"/>
                </a:cubicBezTo>
                <a:cubicBezTo>
                  <a:pt x="655871" y="4397629"/>
                  <a:pt x="653077" y="4390440"/>
                  <a:pt x="653077" y="4382054"/>
                </a:cubicBezTo>
                <a:cubicBezTo>
                  <a:pt x="653077" y="4373801"/>
                  <a:pt x="655871" y="4366745"/>
                  <a:pt x="661462" y="4361021"/>
                </a:cubicBezTo>
                <a:cubicBezTo>
                  <a:pt x="667054" y="4355298"/>
                  <a:pt x="674243" y="4352369"/>
                  <a:pt x="683294" y="4352369"/>
                </a:cubicBezTo>
                <a:close/>
                <a:moveTo>
                  <a:pt x="465652" y="4352369"/>
                </a:moveTo>
                <a:cubicBezTo>
                  <a:pt x="469912" y="4352369"/>
                  <a:pt x="473772" y="4353168"/>
                  <a:pt x="477367" y="4355031"/>
                </a:cubicBezTo>
                <a:cubicBezTo>
                  <a:pt x="481094" y="4356628"/>
                  <a:pt x="484156" y="4358758"/>
                  <a:pt x="486685" y="4361421"/>
                </a:cubicBezTo>
                <a:cubicBezTo>
                  <a:pt x="489347" y="4363950"/>
                  <a:pt x="491344" y="4367145"/>
                  <a:pt x="492808" y="4370739"/>
                </a:cubicBezTo>
                <a:cubicBezTo>
                  <a:pt x="494272" y="4374333"/>
                  <a:pt x="495071" y="4378060"/>
                  <a:pt x="495071" y="4382187"/>
                </a:cubicBezTo>
                <a:cubicBezTo>
                  <a:pt x="495071" y="4386313"/>
                  <a:pt x="494272" y="4390307"/>
                  <a:pt x="492808" y="4393902"/>
                </a:cubicBezTo>
                <a:cubicBezTo>
                  <a:pt x="491344" y="4397496"/>
                  <a:pt x="489214" y="4400558"/>
                  <a:pt x="486685" y="4403220"/>
                </a:cubicBezTo>
                <a:cubicBezTo>
                  <a:pt x="484022" y="4405883"/>
                  <a:pt x="480961" y="4408013"/>
                  <a:pt x="477367" y="4409477"/>
                </a:cubicBezTo>
                <a:cubicBezTo>
                  <a:pt x="473772" y="4410941"/>
                  <a:pt x="469912" y="4411740"/>
                  <a:pt x="465652" y="4411740"/>
                </a:cubicBezTo>
                <a:cubicBezTo>
                  <a:pt x="456734" y="4411740"/>
                  <a:pt x="449412" y="4408811"/>
                  <a:pt x="443821" y="4403220"/>
                </a:cubicBezTo>
                <a:cubicBezTo>
                  <a:pt x="438230" y="4397629"/>
                  <a:pt x="435435" y="4390440"/>
                  <a:pt x="435435" y="4382054"/>
                </a:cubicBezTo>
                <a:cubicBezTo>
                  <a:pt x="435435" y="4373801"/>
                  <a:pt x="438230" y="4366745"/>
                  <a:pt x="443821" y="4361021"/>
                </a:cubicBezTo>
                <a:cubicBezTo>
                  <a:pt x="449412" y="4355298"/>
                  <a:pt x="456601" y="4352369"/>
                  <a:pt x="465652" y="4352369"/>
                </a:cubicBezTo>
                <a:close/>
                <a:moveTo>
                  <a:pt x="248010" y="4352369"/>
                </a:moveTo>
                <a:cubicBezTo>
                  <a:pt x="252269" y="4352369"/>
                  <a:pt x="256263" y="4353168"/>
                  <a:pt x="259724" y="4355031"/>
                </a:cubicBezTo>
                <a:cubicBezTo>
                  <a:pt x="263451" y="4356628"/>
                  <a:pt x="266513" y="4358758"/>
                  <a:pt x="269042" y="4361421"/>
                </a:cubicBezTo>
                <a:cubicBezTo>
                  <a:pt x="271704" y="4363950"/>
                  <a:pt x="273702" y="4367145"/>
                  <a:pt x="275166" y="4370739"/>
                </a:cubicBezTo>
                <a:cubicBezTo>
                  <a:pt x="276630" y="4374333"/>
                  <a:pt x="277429" y="4378060"/>
                  <a:pt x="277429" y="4382187"/>
                </a:cubicBezTo>
                <a:cubicBezTo>
                  <a:pt x="277429" y="4386313"/>
                  <a:pt x="276630" y="4390307"/>
                  <a:pt x="275166" y="4393902"/>
                </a:cubicBezTo>
                <a:cubicBezTo>
                  <a:pt x="273702" y="4397496"/>
                  <a:pt x="271571" y="4400558"/>
                  <a:pt x="269042" y="4403220"/>
                </a:cubicBezTo>
                <a:cubicBezTo>
                  <a:pt x="266379" y="4405883"/>
                  <a:pt x="263318" y="4408013"/>
                  <a:pt x="259724" y="4409477"/>
                </a:cubicBezTo>
                <a:cubicBezTo>
                  <a:pt x="256129" y="4410941"/>
                  <a:pt x="252269" y="4411740"/>
                  <a:pt x="248010" y="4411740"/>
                </a:cubicBezTo>
                <a:cubicBezTo>
                  <a:pt x="239092" y="4411740"/>
                  <a:pt x="231771" y="4408811"/>
                  <a:pt x="226180" y="4403220"/>
                </a:cubicBezTo>
                <a:cubicBezTo>
                  <a:pt x="220589" y="4397629"/>
                  <a:pt x="217794" y="4390440"/>
                  <a:pt x="217794" y="4382054"/>
                </a:cubicBezTo>
                <a:cubicBezTo>
                  <a:pt x="217794" y="4373801"/>
                  <a:pt x="220589" y="4366745"/>
                  <a:pt x="226180" y="4361021"/>
                </a:cubicBezTo>
                <a:cubicBezTo>
                  <a:pt x="231771" y="4355298"/>
                  <a:pt x="238958" y="4352369"/>
                  <a:pt x="248010" y="4352369"/>
                </a:cubicBezTo>
                <a:close/>
                <a:moveTo>
                  <a:pt x="30368" y="4352369"/>
                </a:moveTo>
                <a:cubicBezTo>
                  <a:pt x="34628" y="4352369"/>
                  <a:pt x="38622" y="4353168"/>
                  <a:pt x="42083" y="4355031"/>
                </a:cubicBezTo>
                <a:cubicBezTo>
                  <a:pt x="45810" y="4356628"/>
                  <a:pt x="48872" y="4358758"/>
                  <a:pt x="51401" y="4361421"/>
                </a:cubicBezTo>
                <a:cubicBezTo>
                  <a:pt x="54063" y="4363950"/>
                  <a:pt x="56060" y="4367145"/>
                  <a:pt x="57524" y="4370739"/>
                </a:cubicBezTo>
                <a:cubicBezTo>
                  <a:pt x="58988" y="4374333"/>
                  <a:pt x="59787" y="4378060"/>
                  <a:pt x="59787" y="4382187"/>
                </a:cubicBezTo>
                <a:cubicBezTo>
                  <a:pt x="59787" y="4386313"/>
                  <a:pt x="58988" y="4390307"/>
                  <a:pt x="57524" y="4393902"/>
                </a:cubicBezTo>
                <a:cubicBezTo>
                  <a:pt x="56060" y="4397496"/>
                  <a:pt x="53930" y="4400558"/>
                  <a:pt x="51401" y="4403220"/>
                </a:cubicBezTo>
                <a:cubicBezTo>
                  <a:pt x="48738" y="4405883"/>
                  <a:pt x="45677" y="4408013"/>
                  <a:pt x="42083" y="4409477"/>
                </a:cubicBezTo>
                <a:cubicBezTo>
                  <a:pt x="38489" y="4410941"/>
                  <a:pt x="34628" y="4411740"/>
                  <a:pt x="30368" y="4411740"/>
                </a:cubicBezTo>
                <a:cubicBezTo>
                  <a:pt x="21449" y="4411740"/>
                  <a:pt x="14129" y="4408811"/>
                  <a:pt x="8539" y="4403220"/>
                </a:cubicBezTo>
                <a:cubicBezTo>
                  <a:pt x="2948" y="4397629"/>
                  <a:pt x="153" y="4390440"/>
                  <a:pt x="153" y="4382054"/>
                </a:cubicBezTo>
                <a:cubicBezTo>
                  <a:pt x="153" y="4373801"/>
                  <a:pt x="2948" y="4366745"/>
                  <a:pt x="8539" y="4361021"/>
                </a:cubicBezTo>
                <a:cubicBezTo>
                  <a:pt x="14129" y="4355298"/>
                  <a:pt x="21315" y="4352369"/>
                  <a:pt x="30368" y="4352369"/>
                </a:cubicBezTo>
                <a:close/>
                <a:moveTo>
                  <a:pt x="10475977" y="4151497"/>
                </a:moveTo>
                <a:cubicBezTo>
                  <a:pt x="10470119" y="4151497"/>
                  <a:pt x="10467589" y="4153493"/>
                  <a:pt x="10465992" y="4155091"/>
                </a:cubicBezTo>
                <a:cubicBezTo>
                  <a:pt x="10463463" y="4157753"/>
                  <a:pt x="10462399" y="4160549"/>
                  <a:pt x="10462399" y="4164542"/>
                </a:cubicBezTo>
                <a:cubicBezTo>
                  <a:pt x="10462399" y="4168668"/>
                  <a:pt x="10463463" y="4171464"/>
                  <a:pt x="10465992" y="4173993"/>
                </a:cubicBezTo>
                <a:cubicBezTo>
                  <a:pt x="10467589" y="4175592"/>
                  <a:pt x="10470119" y="4177455"/>
                  <a:pt x="10475977" y="4177455"/>
                </a:cubicBezTo>
                <a:cubicBezTo>
                  <a:pt x="10478107" y="4177455"/>
                  <a:pt x="10479838" y="4177056"/>
                  <a:pt x="10481302" y="4176657"/>
                </a:cubicBezTo>
                <a:cubicBezTo>
                  <a:pt x="10482899" y="4176124"/>
                  <a:pt x="10484098" y="4175192"/>
                  <a:pt x="10485029" y="4174260"/>
                </a:cubicBezTo>
                <a:cubicBezTo>
                  <a:pt x="10486094" y="4173062"/>
                  <a:pt x="10487026" y="4171730"/>
                  <a:pt x="10487691" y="4170000"/>
                </a:cubicBezTo>
                <a:cubicBezTo>
                  <a:pt x="10488357" y="4168402"/>
                  <a:pt x="10488623" y="4166539"/>
                  <a:pt x="10488623" y="4164542"/>
                </a:cubicBezTo>
                <a:cubicBezTo>
                  <a:pt x="10488623" y="4162678"/>
                  <a:pt x="10488357" y="4160948"/>
                  <a:pt x="10487691" y="4159351"/>
                </a:cubicBezTo>
                <a:cubicBezTo>
                  <a:pt x="10487026" y="4157620"/>
                  <a:pt x="10486094" y="4156289"/>
                  <a:pt x="10485029" y="4155091"/>
                </a:cubicBezTo>
                <a:cubicBezTo>
                  <a:pt x="10483964" y="4154026"/>
                  <a:pt x="10482633" y="4153094"/>
                  <a:pt x="10481035" y="4152428"/>
                </a:cubicBezTo>
                <a:cubicBezTo>
                  <a:pt x="10479571" y="4151763"/>
                  <a:pt x="10477974" y="4151497"/>
                  <a:pt x="10475977" y="4151497"/>
                </a:cubicBezTo>
                <a:close/>
                <a:moveTo>
                  <a:pt x="10258466" y="4151497"/>
                </a:moveTo>
                <a:cubicBezTo>
                  <a:pt x="10252608" y="4151497"/>
                  <a:pt x="10250078" y="4153493"/>
                  <a:pt x="10248481" y="4155091"/>
                </a:cubicBezTo>
                <a:cubicBezTo>
                  <a:pt x="10245952" y="4157753"/>
                  <a:pt x="10244887" y="4160549"/>
                  <a:pt x="10244887" y="4164542"/>
                </a:cubicBezTo>
                <a:cubicBezTo>
                  <a:pt x="10244887" y="4168668"/>
                  <a:pt x="10245952" y="4171464"/>
                  <a:pt x="10248481" y="4173993"/>
                </a:cubicBezTo>
                <a:cubicBezTo>
                  <a:pt x="10250078" y="4175592"/>
                  <a:pt x="10252608" y="4177455"/>
                  <a:pt x="10258466" y="4177455"/>
                </a:cubicBezTo>
                <a:cubicBezTo>
                  <a:pt x="10260462" y="4177455"/>
                  <a:pt x="10262192" y="4177056"/>
                  <a:pt x="10263790" y="4176657"/>
                </a:cubicBezTo>
                <a:cubicBezTo>
                  <a:pt x="10265388" y="4176124"/>
                  <a:pt x="10266586" y="4175192"/>
                  <a:pt x="10267517" y="4174260"/>
                </a:cubicBezTo>
                <a:cubicBezTo>
                  <a:pt x="10268583" y="4173062"/>
                  <a:pt x="10269515" y="4171730"/>
                  <a:pt x="10270180" y="4170000"/>
                </a:cubicBezTo>
                <a:cubicBezTo>
                  <a:pt x="10270845" y="4168402"/>
                  <a:pt x="10271112" y="4166539"/>
                  <a:pt x="10271112" y="4164542"/>
                </a:cubicBezTo>
                <a:cubicBezTo>
                  <a:pt x="10271112" y="4162678"/>
                  <a:pt x="10270845" y="4160948"/>
                  <a:pt x="10270180" y="4159351"/>
                </a:cubicBezTo>
                <a:cubicBezTo>
                  <a:pt x="10269515" y="4157620"/>
                  <a:pt x="10268583" y="4156289"/>
                  <a:pt x="10267517" y="4155091"/>
                </a:cubicBezTo>
                <a:cubicBezTo>
                  <a:pt x="10266452" y="4154026"/>
                  <a:pt x="10265121" y="4153094"/>
                  <a:pt x="10263524" y="4152428"/>
                </a:cubicBezTo>
                <a:cubicBezTo>
                  <a:pt x="10262060" y="4151763"/>
                  <a:pt x="10260462" y="4151497"/>
                  <a:pt x="10258466" y="4151497"/>
                </a:cubicBezTo>
                <a:close/>
                <a:moveTo>
                  <a:pt x="10040820" y="4151497"/>
                </a:moveTo>
                <a:cubicBezTo>
                  <a:pt x="10034962" y="4151497"/>
                  <a:pt x="10032433" y="4153493"/>
                  <a:pt x="10030835" y="4155091"/>
                </a:cubicBezTo>
                <a:cubicBezTo>
                  <a:pt x="10028306" y="4157753"/>
                  <a:pt x="10027242" y="4160549"/>
                  <a:pt x="10027242" y="4164542"/>
                </a:cubicBezTo>
                <a:cubicBezTo>
                  <a:pt x="10027242" y="4168668"/>
                  <a:pt x="10028306" y="4171464"/>
                  <a:pt x="10030835" y="4173993"/>
                </a:cubicBezTo>
                <a:cubicBezTo>
                  <a:pt x="10032433" y="4175592"/>
                  <a:pt x="10034962" y="4177455"/>
                  <a:pt x="10040820" y="4177455"/>
                </a:cubicBezTo>
                <a:cubicBezTo>
                  <a:pt x="10042817" y="4177455"/>
                  <a:pt x="10044681" y="4177056"/>
                  <a:pt x="10046145" y="4176657"/>
                </a:cubicBezTo>
                <a:cubicBezTo>
                  <a:pt x="10047742" y="4176124"/>
                  <a:pt x="10048941" y="4175192"/>
                  <a:pt x="10049872" y="4174260"/>
                </a:cubicBezTo>
                <a:cubicBezTo>
                  <a:pt x="10050937" y="4173062"/>
                  <a:pt x="10051869" y="4171730"/>
                  <a:pt x="10052534" y="4170000"/>
                </a:cubicBezTo>
                <a:cubicBezTo>
                  <a:pt x="10053333" y="4168402"/>
                  <a:pt x="10053599" y="4166539"/>
                  <a:pt x="10053599" y="4164542"/>
                </a:cubicBezTo>
                <a:cubicBezTo>
                  <a:pt x="10053599" y="4162678"/>
                  <a:pt x="10053200" y="4160948"/>
                  <a:pt x="10052534" y="4159351"/>
                </a:cubicBezTo>
                <a:cubicBezTo>
                  <a:pt x="10051869" y="4157620"/>
                  <a:pt x="10050937" y="4156289"/>
                  <a:pt x="10049872" y="4155091"/>
                </a:cubicBezTo>
                <a:cubicBezTo>
                  <a:pt x="10048807" y="4154026"/>
                  <a:pt x="10047476" y="4153094"/>
                  <a:pt x="10045878" y="4152428"/>
                </a:cubicBezTo>
                <a:cubicBezTo>
                  <a:pt x="10044414" y="4151763"/>
                  <a:pt x="10042817" y="4151497"/>
                  <a:pt x="10040820" y="4151497"/>
                </a:cubicBezTo>
                <a:close/>
                <a:moveTo>
                  <a:pt x="9823176" y="4151497"/>
                </a:moveTo>
                <a:cubicBezTo>
                  <a:pt x="9817318" y="4151497"/>
                  <a:pt x="9814788" y="4153493"/>
                  <a:pt x="9813191" y="4155091"/>
                </a:cubicBezTo>
                <a:cubicBezTo>
                  <a:pt x="9810662" y="4157753"/>
                  <a:pt x="9809597" y="4160549"/>
                  <a:pt x="9809597" y="4164542"/>
                </a:cubicBezTo>
                <a:cubicBezTo>
                  <a:pt x="9809597" y="4168668"/>
                  <a:pt x="9810662" y="4171464"/>
                  <a:pt x="9813191" y="4173993"/>
                </a:cubicBezTo>
                <a:cubicBezTo>
                  <a:pt x="9814788" y="4175592"/>
                  <a:pt x="9817318" y="4177455"/>
                  <a:pt x="9823176" y="4177455"/>
                </a:cubicBezTo>
                <a:cubicBezTo>
                  <a:pt x="9825173" y="4177455"/>
                  <a:pt x="9827036" y="4177056"/>
                  <a:pt x="9828501" y="4176657"/>
                </a:cubicBezTo>
                <a:cubicBezTo>
                  <a:pt x="9830098" y="4176124"/>
                  <a:pt x="9831296" y="4175192"/>
                  <a:pt x="9832227" y="4174260"/>
                </a:cubicBezTo>
                <a:cubicBezTo>
                  <a:pt x="9833293" y="4173062"/>
                  <a:pt x="9834225" y="4171730"/>
                  <a:pt x="9834890" y="4170000"/>
                </a:cubicBezTo>
                <a:cubicBezTo>
                  <a:pt x="9835689" y="4168402"/>
                  <a:pt x="9835955" y="4166539"/>
                  <a:pt x="9835955" y="4164542"/>
                </a:cubicBezTo>
                <a:cubicBezTo>
                  <a:pt x="9835955" y="4162678"/>
                  <a:pt x="9835555" y="4160948"/>
                  <a:pt x="9834890" y="4159351"/>
                </a:cubicBezTo>
                <a:cubicBezTo>
                  <a:pt x="9834225" y="4157620"/>
                  <a:pt x="9833293" y="4156289"/>
                  <a:pt x="9832227" y="4155091"/>
                </a:cubicBezTo>
                <a:cubicBezTo>
                  <a:pt x="9831162" y="4154026"/>
                  <a:pt x="9829831" y="4153094"/>
                  <a:pt x="9828234" y="4152428"/>
                </a:cubicBezTo>
                <a:cubicBezTo>
                  <a:pt x="9826770" y="4151763"/>
                  <a:pt x="9825173" y="4151497"/>
                  <a:pt x="9823176" y="4151497"/>
                </a:cubicBezTo>
                <a:close/>
                <a:moveTo>
                  <a:pt x="9605531" y="4151497"/>
                </a:moveTo>
                <a:cubicBezTo>
                  <a:pt x="9599673" y="4151497"/>
                  <a:pt x="9597143" y="4153493"/>
                  <a:pt x="9595546" y="4155091"/>
                </a:cubicBezTo>
                <a:cubicBezTo>
                  <a:pt x="9593017" y="4157753"/>
                  <a:pt x="9591952" y="4160549"/>
                  <a:pt x="9591952" y="4164542"/>
                </a:cubicBezTo>
                <a:cubicBezTo>
                  <a:pt x="9591952" y="4168668"/>
                  <a:pt x="9593017" y="4171464"/>
                  <a:pt x="9595546" y="4173993"/>
                </a:cubicBezTo>
                <a:cubicBezTo>
                  <a:pt x="9597143" y="4175592"/>
                  <a:pt x="9599673" y="4177455"/>
                  <a:pt x="9605531" y="4177455"/>
                </a:cubicBezTo>
                <a:cubicBezTo>
                  <a:pt x="9607660" y="4177455"/>
                  <a:pt x="9609391" y="4177056"/>
                  <a:pt x="9610855" y="4176657"/>
                </a:cubicBezTo>
                <a:cubicBezTo>
                  <a:pt x="9612319" y="4176124"/>
                  <a:pt x="9613651" y="4175192"/>
                  <a:pt x="9614582" y="4174260"/>
                </a:cubicBezTo>
                <a:cubicBezTo>
                  <a:pt x="9615647" y="4173062"/>
                  <a:pt x="9616579" y="4171730"/>
                  <a:pt x="9617245" y="4170000"/>
                </a:cubicBezTo>
                <a:cubicBezTo>
                  <a:pt x="9618044" y="4168402"/>
                  <a:pt x="9618309" y="4166539"/>
                  <a:pt x="9618309" y="4164542"/>
                </a:cubicBezTo>
                <a:cubicBezTo>
                  <a:pt x="9618309" y="4162678"/>
                  <a:pt x="9617910" y="4160948"/>
                  <a:pt x="9617245" y="4159351"/>
                </a:cubicBezTo>
                <a:cubicBezTo>
                  <a:pt x="9616579" y="4157620"/>
                  <a:pt x="9615647" y="4156289"/>
                  <a:pt x="9614582" y="4155091"/>
                </a:cubicBezTo>
                <a:cubicBezTo>
                  <a:pt x="9613517" y="4154026"/>
                  <a:pt x="9612186" y="4153094"/>
                  <a:pt x="9610589" y="4152428"/>
                </a:cubicBezTo>
                <a:cubicBezTo>
                  <a:pt x="9609124" y="4151763"/>
                  <a:pt x="9607394" y="4151497"/>
                  <a:pt x="9605531" y="4151497"/>
                </a:cubicBezTo>
                <a:close/>
                <a:moveTo>
                  <a:pt x="9387885" y="4151497"/>
                </a:moveTo>
                <a:cubicBezTo>
                  <a:pt x="9382027" y="4151497"/>
                  <a:pt x="9379497" y="4153493"/>
                  <a:pt x="9377900" y="4155091"/>
                </a:cubicBezTo>
                <a:cubicBezTo>
                  <a:pt x="9375371" y="4157753"/>
                  <a:pt x="9374307" y="4160549"/>
                  <a:pt x="9374307" y="4164542"/>
                </a:cubicBezTo>
                <a:cubicBezTo>
                  <a:pt x="9374307" y="4168668"/>
                  <a:pt x="9375371" y="4171464"/>
                  <a:pt x="9377900" y="4173993"/>
                </a:cubicBezTo>
                <a:cubicBezTo>
                  <a:pt x="9379497" y="4175592"/>
                  <a:pt x="9382027" y="4177455"/>
                  <a:pt x="9387885" y="4177455"/>
                </a:cubicBezTo>
                <a:cubicBezTo>
                  <a:pt x="9390015" y="4177455"/>
                  <a:pt x="9391746" y="4177056"/>
                  <a:pt x="9393210" y="4176657"/>
                </a:cubicBezTo>
                <a:cubicBezTo>
                  <a:pt x="9394674" y="4176124"/>
                  <a:pt x="9396005" y="4175192"/>
                  <a:pt x="9396937" y="4174260"/>
                </a:cubicBezTo>
                <a:cubicBezTo>
                  <a:pt x="9398002" y="4173062"/>
                  <a:pt x="9398934" y="4171730"/>
                  <a:pt x="9399599" y="4170000"/>
                </a:cubicBezTo>
                <a:cubicBezTo>
                  <a:pt x="9400398" y="4168402"/>
                  <a:pt x="9400664" y="4166539"/>
                  <a:pt x="9400664" y="4164542"/>
                </a:cubicBezTo>
                <a:cubicBezTo>
                  <a:pt x="9400664" y="4162678"/>
                  <a:pt x="9400265" y="4160948"/>
                  <a:pt x="9399599" y="4159351"/>
                </a:cubicBezTo>
                <a:cubicBezTo>
                  <a:pt x="9398934" y="4157620"/>
                  <a:pt x="9398002" y="4156289"/>
                  <a:pt x="9396937" y="4155091"/>
                </a:cubicBezTo>
                <a:cubicBezTo>
                  <a:pt x="9395872" y="4154026"/>
                  <a:pt x="9394541" y="4153094"/>
                  <a:pt x="9392943" y="4152428"/>
                </a:cubicBezTo>
                <a:cubicBezTo>
                  <a:pt x="9391479" y="4151763"/>
                  <a:pt x="9389749" y="4151497"/>
                  <a:pt x="9387885" y="4151497"/>
                </a:cubicBezTo>
                <a:close/>
                <a:moveTo>
                  <a:pt x="9170374" y="4151497"/>
                </a:moveTo>
                <a:cubicBezTo>
                  <a:pt x="9164649" y="4151497"/>
                  <a:pt x="9161986" y="4153493"/>
                  <a:pt x="9160389" y="4155091"/>
                </a:cubicBezTo>
                <a:cubicBezTo>
                  <a:pt x="9157860" y="4157753"/>
                  <a:pt x="9156795" y="4160549"/>
                  <a:pt x="9156795" y="4164542"/>
                </a:cubicBezTo>
                <a:cubicBezTo>
                  <a:pt x="9156795" y="4168668"/>
                  <a:pt x="9157860" y="4171464"/>
                  <a:pt x="9160389" y="4173993"/>
                </a:cubicBezTo>
                <a:cubicBezTo>
                  <a:pt x="9161986" y="4175592"/>
                  <a:pt x="9164516" y="4177455"/>
                  <a:pt x="9170374" y="4177455"/>
                </a:cubicBezTo>
                <a:cubicBezTo>
                  <a:pt x="9172370" y="4177455"/>
                  <a:pt x="9174100" y="4177056"/>
                  <a:pt x="9175698" y="4176657"/>
                </a:cubicBezTo>
                <a:cubicBezTo>
                  <a:pt x="9177163" y="4176124"/>
                  <a:pt x="9178494" y="4175192"/>
                  <a:pt x="9179425" y="4174260"/>
                </a:cubicBezTo>
                <a:cubicBezTo>
                  <a:pt x="9180491" y="4173062"/>
                  <a:pt x="9181422" y="4171730"/>
                  <a:pt x="9182088" y="4170000"/>
                </a:cubicBezTo>
                <a:cubicBezTo>
                  <a:pt x="9182887" y="4168402"/>
                  <a:pt x="9183152" y="4166539"/>
                  <a:pt x="9183152" y="4164542"/>
                </a:cubicBezTo>
                <a:cubicBezTo>
                  <a:pt x="9183152" y="4162678"/>
                  <a:pt x="9182753" y="4160948"/>
                  <a:pt x="9182088" y="4159351"/>
                </a:cubicBezTo>
                <a:cubicBezTo>
                  <a:pt x="9181422" y="4157620"/>
                  <a:pt x="9180491" y="4156289"/>
                  <a:pt x="9179425" y="4155091"/>
                </a:cubicBezTo>
                <a:cubicBezTo>
                  <a:pt x="9178360" y="4154026"/>
                  <a:pt x="9177029" y="4153094"/>
                  <a:pt x="9175432" y="4152428"/>
                </a:cubicBezTo>
                <a:cubicBezTo>
                  <a:pt x="9173967" y="4151763"/>
                  <a:pt x="9172237" y="4151497"/>
                  <a:pt x="9170374" y="4151497"/>
                </a:cubicBezTo>
                <a:close/>
                <a:moveTo>
                  <a:pt x="8952728" y="4151497"/>
                </a:moveTo>
                <a:cubicBezTo>
                  <a:pt x="8947003" y="4151497"/>
                  <a:pt x="8944340" y="4153493"/>
                  <a:pt x="8942743" y="4155091"/>
                </a:cubicBezTo>
                <a:cubicBezTo>
                  <a:pt x="8940214" y="4157753"/>
                  <a:pt x="8939150" y="4160549"/>
                  <a:pt x="8939150" y="4164542"/>
                </a:cubicBezTo>
                <a:cubicBezTo>
                  <a:pt x="8939150" y="4168668"/>
                  <a:pt x="8940214" y="4171464"/>
                  <a:pt x="8942743" y="4173993"/>
                </a:cubicBezTo>
                <a:cubicBezTo>
                  <a:pt x="8944340" y="4175592"/>
                  <a:pt x="8946870" y="4177455"/>
                  <a:pt x="8952728" y="4177455"/>
                </a:cubicBezTo>
                <a:cubicBezTo>
                  <a:pt x="8954725" y="4177455"/>
                  <a:pt x="8956589" y="4177056"/>
                  <a:pt x="8958053" y="4176657"/>
                </a:cubicBezTo>
                <a:cubicBezTo>
                  <a:pt x="8959517" y="4176124"/>
                  <a:pt x="8960849" y="4175192"/>
                  <a:pt x="8961780" y="4174260"/>
                </a:cubicBezTo>
                <a:cubicBezTo>
                  <a:pt x="8962845" y="4173062"/>
                  <a:pt x="8963777" y="4171730"/>
                  <a:pt x="8964442" y="4170000"/>
                </a:cubicBezTo>
                <a:cubicBezTo>
                  <a:pt x="8965241" y="4168402"/>
                  <a:pt x="8965507" y="4166539"/>
                  <a:pt x="8965507" y="4164542"/>
                </a:cubicBezTo>
                <a:cubicBezTo>
                  <a:pt x="8965507" y="4162678"/>
                  <a:pt x="8965108" y="4160948"/>
                  <a:pt x="8964442" y="4159351"/>
                </a:cubicBezTo>
                <a:cubicBezTo>
                  <a:pt x="8963777" y="4157620"/>
                  <a:pt x="8962845" y="4156289"/>
                  <a:pt x="8961780" y="4155091"/>
                </a:cubicBezTo>
                <a:cubicBezTo>
                  <a:pt x="8960715" y="4154026"/>
                  <a:pt x="8959384" y="4153094"/>
                  <a:pt x="8957786" y="4152428"/>
                </a:cubicBezTo>
                <a:cubicBezTo>
                  <a:pt x="8956322" y="4151763"/>
                  <a:pt x="8954592" y="4151497"/>
                  <a:pt x="8952728" y="4151497"/>
                </a:cubicBezTo>
                <a:close/>
                <a:moveTo>
                  <a:pt x="8735083" y="4151497"/>
                </a:moveTo>
                <a:cubicBezTo>
                  <a:pt x="8729358" y="4151497"/>
                  <a:pt x="8726695" y="4153493"/>
                  <a:pt x="8725098" y="4155091"/>
                </a:cubicBezTo>
                <a:cubicBezTo>
                  <a:pt x="8722569" y="4157753"/>
                  <a:pt x="8721504" y="4160549"/>
                  <a:pt x="8721504" y="4164542"/>
                </a:cubicBezTo>
                <a:cubicBezTo>
                  <a:pt x="8721504" y="4168668"/>
                  <a:pt x="8722569" y="4171464"/>
                  <a:pt x="8725098" y="4173993"/>
                </a:cubicBezTo>
                <a:cubicBezTo>
                  <a:pt x="8726695" y="4175592"/>
                  <a:pt x="8729225" y="4177455"/>
                  <a:pt x="8735083" y="4177455"/>
                </a:cubicBezTo>
                <a:cubicBezTo>
                  <a:pt x="8737079" y="4177455"/>
                  <a:pt x="8738943" y="4177056"/>
                  <a:pt x="8740407" y="4176657"/>
                </a:cubicBezTo>
                <a:cubicBezTo>
                  <a:pt x="8741872" y="4176124"/>
                  <a:pt x="8743203" y="4175192"/>
                  <a:pt x="8744134" y="4174260"/>
                </a:cubicBezTo>
                <a:cubicBezTo>
                  <a:pt x="8745200" y="4173062"/>
                  <a:pt x="8746132" y="4171730"/>
                  <a:pt x="8746797" y="4170000"/>
                </a:cubicBezTo>
                <a:cubicBezTo>
                  <a:pt x="8747596" y="4168402"/>
                  <a:pt x="8747862" y="4166539"/>
                  <a:pt x="8747862" y="4164542"/>
                </a:cubicBezTo>
                <a:cubicBezTo>
                  <a:pt x="8747862" y="4162678"/>
                  <a:pt x="8747462" y="4160948"/>
                  <a:pt x="8746797" y="4159351"/>
                </a:cubicBezTo>
                <a:cubicBezTo>
                  <a:pt x="8746132" y="4157620"/>
                  <a:pt x="8745200" y="4156289"/>
                  <a:pt x="8744134" y="4155091"/>
                </a:cubicBezTo>
                <a:cubicBezTo>
                  <a:pt x="8743069" y="4154026"/>
                  <a:pt x="8741738" y="4153094"/>
                  <a:pt x="8740141" y="4152428"/>
                </a:cubicBezTo>
                <a:cubicBezTo>
                  <a:pt x="8738677" y="4151763"/>
                  <a:pt x="8736946" y="4151497"/>
                  <a:pt x="8735083" y="4151497"/>
                </a:cubicBezTo>
                <a:close/>
                <a:moveTo>
                  <a:pt x="8517438" y="4151497"/>
                </a:moveTo>
                <a:cubicBezTo>
                  <a:pt x="8511713" y="4151497"/>
                  <a:pt x="8509051" y="4153493"/>
                  <a:pt x="8507453" y="4155091"/>
                </a:cubicBezTo>
                <a:cubicBezTo>
                  <a:pt x="8504925" y="4157753"/>
                  <a:pt x="8503860" y="4160549"/>
                  <a:pt x="8503860" y="4164542"/>
                </a:cubicBezTo>
                <a:cubicBezTo>
                  <a:pt x="8503860" y="4168668"/>
                  <a:pt x="8504925" y="4171464"/>
                  <a:pt x="8507453" y="4173993"/>
                </a:cubicBezTo>
                <a:cubicBezTo>
                  <a:pt x="8509051" y="4175592"/>
                  <a:pt x="8511581" y="4177455"/>
                  <a:pt x="8517438" y="4177455"/>
                </a:cubicBezTo>
                <a:cubicBezTo>
                  <a:pt x="8519568" y="4177455"/>
                  <a:pt x="8521299" y="4177056"/>
                  <a:pt x="8522763" y="4176657"/>
                </a:cubicBezTo>
                <a:cubicBezTo>
                  <a:pt x="8524227" y="4176124"/>
                  <a:pt x="8525559" y="4175192"/>
                  <a:pt x="8526490" y="4174260"/>
                </a:cubicBezTo>
                <a:cubicBezTo>
                  <a:pt x="8527555" y="4173062"/>
                  <a:pt x="8528487" y="4171730"/>
                  <a:pt x="8529152" y="4170000"/>
                </a:cubicBezTo>
                <a:cubicBezTo>
                  <a:pt x="8529818" y="4168402"/>
                  <a:pt x="8530084" y="4166539"/>
                  <a:pt x="8530084" y="4164542"/>
                </a:cubicBezTo>
                <a:cubicBezTo>
                  <a:pt x="8530084" y="4162678"/>
                  <a:pt x="8529818" y="4160948"/>
                  <a:pt x="8529152" y="4159351"/>
                </a:cubicBezTo>
                <a:cubicBezTo>
                  <a:pt x="8528487" y="4157620"/>
                  <a:pt x="8527555" y="4156289"/>
                  <a:pt x="8526490" y="4155091"/>
                </a:cubicBezTo>
                <a:cubicBezTo>
                  <a:pt x="8525425" y="4154026"/>
                  <a:pt x="8524094" y="4153094"/>
                  <a:pt x="8522496" y="4152428"/>
                </a:cubicBezTo>
                <a:cubicBezTo>
                  <a:pt x="8521032" y="4151763"/>
                  <a:pt x="8519302" y="4151497"/>
                  <a:pt x="8517438" y="4151497"/>
                </a:cubicBezTo>
                <a:close/>
                <a:moveTo>
                  <a:pt x="8299793" y="4151497"/>
                </a:moveTo>
                <a:cubicBezTo>
                  <a:pt x="8294068" y="4151497"/>
                  <a:pt x="8291406" y="4153493"/>
                  <a:pt x="8289809" y="4155091"/>
                </a:cubicBezTo>
                <a:cubicBezTo>
                  <a:pt x="8287280" y="4157753"/>
                  <a:pt x="8286215" y="4160549"/>
                  <a:pt x="8286215" y="4164542"/>
                </a:cubicBezTo>
                <a:cubicBezTo>
                  <a:pt x="8286215" y="4168668"/>
                  <a:pt x="8287280" y="4171464"/>
                  <a:pt x="8289809" y="4173993"/>
                </a:cubicBezTo>
                <a:cubicBezTo>
                  <a:pt x="8291406" y="4175592"/>
                  <a:pt x="8293935" y="4177455"/>
                  <a:pt x="8299793" y="4177455"/>
                </a:cubicBezTo>
                <a:cubicBezTo>
                  <a:pt x="8301923" y="4177455"/>
                  <a:pt x="8303653" y="4177056"/>
                  <a:pt x="8305118" y="4176657"/>
                </a:cubicBezTo>
                <a:cubicBezTo>
                  <a:pt x="8306582" y="4176124"/>
                  <a:pt x="8307913" y="4175192"/>
                  <a:pt x="8308844" y="4174260"/>
                </a:cubicBezTo>
                <a:cubicBezTo>
                  <a:pt x="8309910" y="4173062"/>
                  <a:pt x="8310842" y="4171730"/>
                  <a:pt x="8311507" y="4170000"/>
                </a:cubicBezTo>
                <a:cubicBezTo>
                  <a:pt x="8312172" y="4168402"/>
                  <a:pt x="8312439" y="4166539"/>
                  <a:pt x="8312439" y="4164542"/>
                </a:cubicBezTo>
                <a:cubicBezTo>
                  <a:pt x="8312439" y="4162678"/>
                  <a:pt x="8312172" y="4160948"/>
                  <a:pt x="8311507" y="4159351"/>
                </a:cubicBezTo>
                <a:cubicBezTo>
                  <a:pt x="8310842" y="4157620"/>
                  <a:pt x="8309910" y="4156289"/>
                  <a:pt x="8308844" y="4155091"/>
                </a:cubicBezTo>
                <a:cubicBezTo>
                  <a:pt x="8307779" y="4154026"/>
                  <a:pt x="8306448" y="4153094"/>
                  <a:pt x="8304851" y="4152428"/>
                </a:cubicBezTo>
                <a:cubicBezTo>
                  <a:pt x="8303387" y="4151763"/>
                  <a:pt x="8301790" y="4151497"/>
                  <a:pt x="8299793" y="4151497"/>
                </a:cubicBezTo>
                <a:close/>
                <a:moveTo>
                  <a:pt x="8082281" y="4151497"/>
                </a:moveTo>
                <a:cubicBezTo>
                  <a:pt x="8076424" y="4151497"/>
                  <a:pt x="8073894" y="4153493"/>
                  <a:pt x="8072297" y="4155091"/>
                </a:cubicBezTo>
                <a:cubicBezTo>
                  <a:pt x="8069768" y="4157753"/>
                  <a:pt x="8068703" y="4160549"/>
                  <a:pt x="8068703" y="4164542"/>
                </a:cubicBezTo>
                <a:cubicBezTo>
                  <a:pt x="8068703" y="4168668"/>
                  <a:pt x="8069768" y="4171464"/>
                  <a:pt x="8072297" y="4173993"/>
                </a:cubicBezTo>
                <a:cubicBezTo>
                  <a:pt x="8073894" y="4175592"/>
                  <a:pt x="8076424" y="4177455"/>
                  <a:pt x="8082281" y="4177455"/>
                </a:cubicBezTo>
                <a:cubicBezTo>
                  <a:pt x="8084277" y="4177455"/>
                  <a:pt x="8086007" y="4177056"/>
                  <a:pt x="8087605" y="4176657"/>
                </a:cubicBezTo>
                <a:cubicBezTo>
                  <a:pt x="8089069" y="4176124"/>
                  <a:pt x="8090401" y="4175192"/>
                  <a:pt x="8091332" y="4174260"/>
                </a:cubicBezTo>
                <a:cubicBezTo>
                  <a:pt x="8092397" y="4173062"/>
                  <a:pt x="8093329" y="4171730"/>
                  <a:pt x="8093994" y="4170000"/>
                </a:cubicBezTo>
                <a:cubicBezTo>
                  <a:pt x="8094660" y="4168402"/>
                  <a:pt x="8094926" y="4166539"/>
                  <a:pt x="8094926" y="4164542"/>
                </a:cubicBezTo>
                <a:cubicBezTo>
                  <a:pt x="8094926" y="4162678"/>
                  <a:pt x="8094660" y="4160948"/>
                  <a:pt x="8093994" y="4159351"/>
                </a:cubicBezTo>
                <a:cubicBezTo>
                  <a:pt x="8093329" y="4157620"/>
                  <a:pt x="8092397" y="4156289"/>
                  <a:pt x="8091332" y="4155091"/>
                </a:cubicBezTo>
                <a:cubicBezTo>
                  <a:pt x="8090267" y="4154026"/>
                  <a:pt x="8088936" y="4153094"/>
                  <a:pt x="8087338" y="4152428"/>
                </a:cubicBezTo>
                <a:cubicBezTo>
                  <a:pt x="8085874" y="4151763"/>
                  <a:pt x="8084277" y="4151497"/>
                  <a:pt x="8082281" y="4151497"/>
                </a:cubicBezTo>
                <a:close/>
                <a:moveTo>
                  <a:pt x="7864636" y="4151497"/>
                </a:moveTo>
                <a:cubicBezTo>
                  <a:pt x="7858779" y="4151497"/>
                  <a:pt x="7856249" y="4153493"/>
                  <a:pt x="7854652" y="4155091"/>
                </a:cubicBezTo>
                <a:cubicBezTo>
                  <a:pt x="7852123" y="4157753"/>
                  <a:pt x="7851058" y="4160549"/>
                  <a:pt x="7851058" y="4164542"/>
                </a:cubicBezTo>
                <a:cubicBezTo>
                  <a:pt x="7851058" y="4168668"/>
                  <a:pt x="7852123" y="4171464"/>
                  <a:pt x="7854652" y="4173993"/>
                </a:cubicBezTo>
                <a:cubicBezTo>
                  <a:pt x="7856249" y="4175592"/>
                  <a:pt x="7858779" y="4177455"/>
                  <a:pt x="7864636" y="4177455"/>
                </a:cubicBezTo>
                <a:cubicBezTo>
                  <a:pt x="7866633" y="4177455"/>
                  <a:pt x="7868363" y="4177056"/>
                  <a:pt x="7869961" y="4176657"/>
                </a:cubicBezTo>
                <a:cubicBezTo>
                  <a:pt x="7871425" y="4176124"/>
                  <a:pt x="7872756" y="4175192"/>
                  <a:pt x="7873687" y="4174260"/>
                </a:cubicBezTo>
                <a:cubicBezTo>
                  <a:pt x="7874753" y="4173062"/>
                  <a:pt x="7875685" y="4171730"/>
                  <a:pt x="7876350" y="4170000"/>
                </a:cubicBezTo>
                <a:cubicBezTo>
                  <a:pt x="7877015" y="4168402"/>
                  <a:pt x="7877282" y="4166539"/>
                  <a:pt x="7877282" y="4164542"/>
                </a:cubicBezTo>
                <a:cubicBezTo>
                  <a:pt x="7877282" y="4162678"/>
                  <a:pt x="7877015" y="4160948"/>
                  <a:pt x="7876350" y="4159351"/>
                </a:cubicBezTo>
                <a:cubicBezTo>
                  <a:pt x="7875685" y="4157620"/>
                  <a:pt x="7874753" y="4156289"/>
                  <a:pt x="7873687" y="4155091"/>
                </a:cubicBezTo>
                <a:cubicBezTo>
                  <a:pt x="7872623" y="4154026"/>
                  <a:pt x="7871291" y="4153094"/>
                  <a:pt x="7869694" y="4152428"/>
                </a:cubicBezTo>
                <a:cubicBezTo>
                  <a:pt x="7868230" y="4151763"/>
                  <a:pt x="7866633" y="4151497"/>
                  <a:pt x="7864636" y="4151497"/>
                </a:cubicBezTo>
                <a:close/>
                <a:moveTo>
                  <a:pt x="7646991" y="4151497"/>
                </a:moveTo>
                <a:cubicBezTo>
                  <a:pt x="7641134" y="4151497"/>
                  <a:pt x="7638604" y="4153493"/>
                  <a:pt x="7637007" y="4155091"/>
                </a:cubicBezTo>
                <a:cubicBezTo>
                  <a:pt x="7634478" y="4157753"/>
                  <a:pt x="7633413" y="4160549"/>
                  <a:pt x="7633413" y="4164542"/>
                </a:cubicBezTo>
                <a:cubicBezTo>
                  <a:pt x="7633413" y="4168668"/>
                  <a:pt x="7634478" y="4171464"/>
                  <a:pt x="7637007" y="4173993"/>
                </a:cubicBezTo>
                <a:cubicBezTo>
                  <a:pt x="7638604" y="4175592"/>
                  <a:pt x="7641134" y="4177455"/>
                  <a:pt x="7646991" y="4177455"/>
                </a:cubicBezTo>
                <a:cubicBezTo>
                  <a:pt x="7648987" y="4177455"/>
                  <a:pt x="7650851" y="4177056"/>
                  <a:pt x="7652315" y="4176657"/>
                </a:cubicBezTo>
                <a:cubicBezTo>
                  <a:pt x="7653780" y="4176124"/>
                  <a:pt x="7655111" y="4175192"/>
                  <a:pt x="7656042" y="4174260"/>
                </a:cubicBezTo>
                <a:cubicBezTo>
                  <a:pt x="7657108" y="4173062"/>
                  <a:pt x="7658039" y="4171730"/>
                  <a:pt x="7658705" y="4170000"/>
                </a:cubicBezTo>
                <a:cubicBezTo>
                  <a:pt x="7659504" y="4168402"/>
                  <a:pt x="7659769" y="4166539"/>
                  <a:pt x="7659769" y="4164542"/>
                </a:cubicBezTo>
                <a:cubicBezTo>
                  <a:pt x="7659769" y="4162678"/>
                  <a:pt x="7659370" y="4160948"/>
                  <a:pt x="7658705" y="4159351"/>
                </a:cubicBezTo>
                <a:cubicBezTo>
                  <a:pt x="7658039" y="4157620"/>
                  <a:pt x="7657108" y="4156289"/>
                  <a:pt x="7656042" y="4155091"/>
                </a:cubicBezTo>
                <a:cubicBezTo>
                  <a:pt x="7654977" y="4154026"/>
                  <a:pt x="7653646" y="4153094"/>
                  <a:pt x="7652049" y="4152428"/>
                </a:cubicBezTo>
                <a:cubicBezTo>
                  <a:pt x="7650584" y="4151763"/>
                  <a:pt x="7648987" y="4151497"/>
                  <a:pt x="7646991" y="4151497"/>
                </a:cubicBezTo>
                <a:close/>
                <a:moveTo>
                  <a:pt x="7429345" y="4151497"/>
                </a:moveTo>
                <a:cubicBezTo>
                  <a:pt x="7423488" y="4151497"/>
                  <a:pt x="7420958" y="4153493"/>
                  <a:pt x="7419361" y="4155091"/>
                </a:cubicBezTo>
                <a:cubicBezTo>
                  <a:pt x="7416832" y="4157753"/>
                  <a:pt x="7415768" y="4160549"/>
                  <a:pt x="7415768" y="4164542"/>
                </a:cubicBezTo>
                <a:cubicBezTo>
                  <a:pt x="7415768" y="4168668"/>
                  <a:pt x="7416832" y="4171464"/>
                  <a:pt x="7419361" y="4173993"/>
                </a:cubicBezTo>
                <a:cubicBezTo>
                  <a:pt x="7420958" y="4175592"/>
                  <a:pt x="7423488" y="4177455"/>
                  <a:pt x="7429345" y="4177455"/>
                </a:cubicBezTo>
                <a:cubicBezTo>
                  <a:pt x="7431342" y="4177455"/>
                  <a:pt x="7433206" y="4177056"/>
                  <a:pt x="7434670" y="4176657"/>
                </a:cubicBezTo>
                <a:cubicBezTo>
                  <a:pt x="7436134" y="4176124"/>
                  <a:pt x="7437466" y="4175192"/>
                  <a:pt x="7438397" y="4174260"/>
                </a:cubicBezTo>
                <a:cubicBezTo>
                  <a:pt x="7439462" y="4173062"/>
                  <a:pt x="7440394" y="4171730"/>
                  <a:pt x="7441059" y="4170000"/>
                </a:cubicBezTo>
                <a:cubicBezTo>
                  <a:pt x="7441858" y="4168402"/>
                  <a:pt x="7442124" y="4166539"/>
                  <a:pt x="7442124" y="4164542"/>
                </a:cubicBezTo>
                <a:cubicBezTo>
                  <a:pt x="7442124" y="4162678"/>
                  <a:pt x="7441725" y="4160948"/>
                  <a:pt x="7441059" y="4159351"/>
                </a:cubicBezTo>
                <a:cubicBezTo>
                  <a:pt x="7440394" y="4157620"/>
                  <a:pt x="7439462" y="4156289"/>
                  <a:pt x="7438397" y="4155091"/>
                </a:cubicBezTo>
                <a:cubicBezTo>
                  <a:pt x="7437332" y="4154026"/>
                  <a:pt x="7436001" y="4153094"/>
                  <a:pt x="7434403" y="4152428"/>
                </a:cubicBezTo>
                <a:cubicBezTo>
                  <a:pt x="7432939" y="4151763"/>
                  <a:pt x="7431342" y="4151497"/>
                  <a:pt x="7429345" y="4151497"/>
                </a:cubicBezTo>
                <a:close/>
                <a:moveTo>
                  <a:pt x="7211701" y="4151497"/>
                </a:moveTo>
                <a:cubicBezTo>
                  <a:pt x="7205844" y="4151497"/>
                  <a:pt x="7203314" y="4153493"/>
                  <a:pt x="7201717" y="4155091"/>
                </a:cubicBezTo>
                <a:cubicBezTo>
                  <a:pt x="7199188" y="4157753"/>
                  <a:pt x="7198123" y="4160549"/>
                  <a:pt x="7198123" y="4164542"/>
                </a:cubicBezTo>
                <a:cubicBezTo>
                  <a:pt x="7198123" y="4168668"/>
                  <a:pt x="7199188" y="4171464"/>
                  <a:pt x="7201717" y="4173993"/>
                </a:cubicBezTo>
                <a:cubicBezTo>
                  <a:pt x="7203314" y="4175592"/>
                  <a:pt x="7205844" y="4177455"/>
                  <a:pt x="7211701" y="4177455"/>
                </a:cubicBezTo>
                <a:cubicBezTo>
                  <a:pt x="7213830" y="4177455"/>
                  <a:pt x="7215561" y="4177056"/>
                  <a:pt x="7217026" y="4176657"/>
                </a:cubicBezTo>
                <a:cubicBezTo>
                  <a:pt x="7218490" y="4176124"/>
                  <a:pt x="7219821" y="4175192"/>
                  <a:pt x="7220752" y="4174260"/>
                </a:cubicBezTo>
                <a:cubicBezTo>
                  <a:pt x="7221818" y="4173062"/>
                  <a:pt x="7222750" y="4171730"/>
                  <a:pt x="7223415" y="4170000"/>
                </a:cubicBezTo>
                <a:cubicBezTo>
                  <a:pt x="7224214" y="4168402"/>
                  <a:pt x="7224480" y="4166539"/>
                  <a:pt x="7224480" y="4164542"/>
                </a:cubicBezTo>
                <a:cubicBezTo>
                  <a:pt x="7224480" y="4162678"/>
                  <a:pt x="7224080" y="4160948"/>
                  <a:pt x="7223415" y="4159351"/>
                </a:cubicBezTo>
                <a:cubicBezTo>
                  <a:pt x="7222750" y="4157620"/>
                  <a:pt x="7221818" y="4156289"/>
                  <a:pt x="7220752" y="4155091"/>
                </a:cubicBezTo>
                <a:cubicBezTo>
                  <a:pt x="7219687" y="4154026"/>
                  <a:pt x="7218356" y="4153094"/>
                  <a:pt x="7216759" y="4152428"/>
                </a:cubicBezTo>
                <a:cubicBezTo>
                  <a:pt x="7215295" y="4151763"/>
                  <a:pt x="7213698" y="4151497"/>
                  <a:pt x="7211701" y="4151497"/>
                </a:cubicBezTo>
                <a:close/>
                <a:moveTo>
                  <a:pt x="6994056" y="4151497"/>
                </a:moveTo>
                <a:cubicBezTo>
                  <a:pt x="6988199" y="4151497"/>
                  <a:pt x="6985669" y="4153493"/>
                  <a:pt x="6984072" y="4155091"/>
                </a:cubicBezTo>
                <a:cubicBezTo>
                  <a:pt x="6981543" y="4157753"/>
                  <a:pt x="6980478" y="4160549"/>
                  <a:pt x="6980478" y="4164542"/>
                </a:cubicBezTo>
                <a:cubicBezTo>
                  <a:pt x="6980478" y="4168668"/>
                  <a:pt x="6981543" y="4171464"/>
                  <a:pt x="6984072" y="4173993"/>
                </a:cubicBezTo>
                <a:cubicBezTo>
                  <a:pt x="6985669" y="4175592"/>
                  <a:pt x="6988199" y="4177455"/>
                  <a:pt x="6994056" y="4177455"/>
                </a:cubicBezTo>
                <a:cubicBezTo>
                  <a:pt x="6996185" y="4177455"/>
                  <a:pt x="6997916" y="4177056"/>
                  <a:pt x="6999380" y="4176657"/>
                </a:cubicBezTo>
                <a:cubicBezTo>
                  <a:pt x="7000844" y="4176124"/>
                  <a:pt x="7002176" y="4175192"/>
                  <a:pt x="7003107" y="4174260"/>
                </a:cubicBezTo>
                <a:cubicBezTo>
                  <a:pt x="7004172" y="4173062"/>
                  <a:pt x="7005104" y="4171730"/>
                  <a:pt x="7005769" y="4170000"/>
                </a:cubicBezTo>
                <a:cubicBezTo>
                  <a:pt x="7006568" y="4168402"/>
                  <a:pt x="7006834" y="4166539"/>
                  <a:pt x="7006834" y="4164542"/>
                </a:cubicBezTo>
                <a:cubicBezTo>
                  <a:pt x="7006834" y="4162678"/>
                  <a:pt x="7006435" y="4160948"/>
                  <a:pt x="7005769" y="4159351"/>
                </a:cubicBezTo>
                <a:cubicBezTo>
                  <a:pt x="7005104" y="4157620"/>
                  <a:pt x="7004172" y="4156289"/>
                  <a:pt x="7003107" y="4155091"/>
                </a:cubicBezTo>
                <a:cubicBezTo>
                  <a:pt x="7002042" y="4154026"/>
                  <a:pt x="7000711" y="4153094"/>
                  <a:pt x="6999113" y="4152428"/>
                </a:cubicBezTo>
                <a:cubicBezTo>
                  <a:pt x="6997649" y="4151763"/>
                  <a:pt x="6996052" y="4151497"/>
                  <a:pt x="6994056" y="4151497"/>
                </a:cubicBezTo>
                <a:close/>
                <a:moveTo>
                  <a:pt x="6776544" y="4151497"/>
                </a:moveTo>
                <a:cubicBezTo>
                  <a:pt x="6770687" y="4151497"/>
                  <a:pt x="6768157" y="4153493"/>
                  <a:pt x="6766560" y="4155091"/>
                </a:cubicBezTo>
                <a:cubicBezTo>
                  <a:pt x="6764031" y="4157753"/>
                  <a:pt x="6762966" y="4160549"/>
                  <a:pt x="6762966" y="4164542"/>
                </a:cubicBezTo>
                <a:cubicBezTo>
                  <a:pt x="6762966" y="4168668"/>
                  <a:pt x="6764031" y="4171464"/>
                  <a:pt x="6766560" y="4173993"/>
                </a:cubicBezTo>
                <a:cubicBezTo>
                  <a:pt x="6768157" y="4175592"/>
                  <a:pt x="6770687" y="4177455"/>
                  <a:pt x="6776544" y="4177455"/>
                </a:cubicBezTo>
                <a:cubicBezTo>
                  <a:pt x="6778541" y="4177455"/>
                  <a:pt x="6780270" y="4177056"/>
                  <a:pt x="6781869" y="4176657"/>
                </a:cubicBezTo>
                <a:cubicBezTo>
                  <a:pt x="6783333" y="4176124"/>
                  <a:pt x="6784664" y="4175192"/>
                  <a:pt x="6785595" y="4174260"/>
                </a:cubicBezTo>
                <a:cubicBezTo>
                  <a:pt x="6786661" y="4173062"/>
                  <a:pt x="6787593" y="4171730"/>
                  <a:pt x="6788258" y="4170000"/>
                </a:cubicBezTo>
                <a:cubicBezTo>
                  <a:pt x="6789057" y="4168402"/>
                  <a:pt x="6789323" y="4166539"/>
                  <a:pt x="6789323" y="4164542"/>
                </a:cubicBezTo>
                <a:cubicBezTo>
                  <a:pt x="6789323" y="4162678"/>
                  <a:pt x="6788923" y="4160948"/>
                  <a:pt x="6788258" y="4159351"/>
                </a:cubicBezTo>
                <a:cubicBezTo>
                  <a:pt x="6787593" y="4157620"/>
                  <a:pt x="6786661" y="4156289"/>
                  <a:pt x="6785595" y="4155091"/>
                </a:cubicBezTo>
                <a:cubicBezTo>
                  <a:pt x="6784530" y="4154026"/>
                  <a:pt x="6783199" y="4153094"/>
                  <a:pt x="6781602" y="4152428"/>
                </a:cubicBezTo>
                <a:cubicBezTo>
                  <a:pt x="6780138" y="4151763"/>
                  <a:pt x="6778541" y="4151497"/>
                  <a:pt x="6776544" y="4151497"/>
                </a:cubicBezTo>
                <a:close/>
                <a:moveTo>
                  <a:pt x="6558899" y="4151497"/>
                </a:moveTo>
                <a:cubicBezTo>
                  <a:pt x="6553042" y="4151497"/>
                  <a:pt x="6550512" y="4153493"/>
                  <a:pt x="6548915" y="4155091"/>
                </a:cubicBezTo>
                <a:cubicBezTo>
                  <a:pt x="6546386" y="4157753"/>
                  <a:pt x="6545321" y="4160549"/>
                  <a:pt x="6545321" y="4164542"/>
                </a:cubicBezTo>
                <a:cubicBezTo>
                  <a:pt x="6545321" y="4168668"/>
                  <a:pt x="6546386" y="4171464"/>
                  <a:pt x="6548915" y="4173993"/>
                </a:cubicBezTo>
                <a:cubicBezTo>
                  <a:pt x="6550512" y="4175592"/>
                  <a:pt x="6553042" y="4177455"/>
                  <a:pt x="6558899" y="4177455"/>
                </a:cubicBezTo>
                <a:cubicBezTo>
                  <a:pt x="6560895" y="4177455"/>
                  <a:pt x="6562759" y="4177056"/>
                  <a:pt x="6564223" y="4176657"/>
                </a:cubicBezTo>
                <a:cubicBezTo>
                  <a:pt x="6565687" y="4176124"/>
                  <a:pt x="6567019" y="4175192"/>
                  <a:pt x="6567950" y="4174260"/>
                </a:cubicBezTo>
                <a:cubicBezTo>
                  <a:pt x="6569015" y="4173062"/>
                  <a:pt x="6569947" y="4171730"/>
                  <a:pt x="6570612" y="4170000"/>
                </a:cubicBezTo>
                <a:cubicBezTo>
                  <a:pt x="6571412" y="4168402"/>
                  <a:pt x="6571677" y="4166539"/>
                  <a:pt x="6571677" y="4164542"/>
                </a:cubicBezTo>
                <a:cubicBezTo>
                  <a:pt x="6571677" y="4162678"/>
                  <a:pt x="6571278" y="4160948"/>
                  <a:pt x="6570612" y="4159351"/>
                </a:cubicBezTo>
                <a:cubicBezTo>
                  <a:pt x="6569947" y="4157620"/>
                  <a:pt x="6569015" y="4156289"/>
                  <a:pt x="6567950" y="4155091"/>
                </a:cubicBezTo>
                <a:cubicBezTo>
                  <a:pt x="6566885" y="4154026"/>
                  <a:pt x="6565554" y="4153094"/>
                  <a:pt x="6563956" y="4152428"/>
                </a:cubicBezTo>
                <a:cubicBezTo>
                  <a:pt x="6562492" y="4151763"/>
                  <a:pt x="6560895" y="4151497"/>
                  <a:pt x="6558899" y="4151497"/>
                </a:cubicBezTo>
                <a:close/>
                <a:moveTo>
                  <a:pt x="6341253" y="4151497"/>
                </a:moveTo>
                <a:cubicBezTo>
                  <a:pt x="6335396" y="4151497"/>
                  <a:pt x="6332867" y="4153493"/>
                  <a:pt x="6331270" y="4155091"/>
                </a:cubicBezTo>
                <a:cubicBezTo>
                  <a:pt x="6328740" y="4157753"/>
                  <a:pt x="6327675" y="4160549"/>
                  <a:pt x="6327675" y="4164542"/>
                </a:cubicBezTo>
                <a:cubicBezTo>
                  <a:pt x="6327675" y="4168668"/>
                  <a:pt x="6328740" y="4171464"/>
                  <a:pt x="6331270" y="4173993"/>
                </a:cubicBezTo>
                <a:cubicBezTo>
                  <a:pt x="6332867" y="4175592"/>
                  <a:pt x="6335396" y="4177455"/>
                  <a:pt x="6341253" y="4177455"/>
                </a:cubicBezTo>
                <a:cubicBezTo>
                  <a:pt x="6343250" y="4177455"/>
                  <a:pt x="6345114" y="4177056"/>
                  <a:pt x="6346578" y="4176657"/>
                </a:cubicBezTo>
                <a:cubicBezTo>
                  <a:pt x="6348042" y="4176124"/>
                  <a:pt x="6349373" y="4175192"/>
                  <a:pt x="6350305" y="4174260"/>
                </a:cubicBezTo>
                <a:cubicBezTo>
                  <a:pt x="6351370" y="4173062"/>
                  <a:pt x="6352302" y="4171730"/>
                  <a:pt x="6352968" y="4170000"/>
                </a:cubicBezTo>
                <a:cubicBezTo>
                  <a:pt x="6353766" y="4168402"/>
                  <a:pt x="6354033" y="4166539"/>
                  <a:pt x="6354033" y="4164542"/>
                </a:cubicBezTo>
                <a:cubicBezTo>
                  <a:pt x="6354033" y="4162678"/>
                  <a:pt x="6353633" y="4160948"/>
                  <a:pt x="6352968" y="4159351"/>
                </a:cubicBezTo>
                <a:cubicBezTo>
                  <a:pt x="6352302" y="4157620"/>
                  <a:pt x="6351370" y="4156289"/>
                  <a:pt x="6350305" y="4155091"/>
                </a:cubicBezTo>
                <a:cubicBezTo>
                  <a:pt x="6349241" y="4154026"/>
                  <a:pt x="6347909" y="4153094"/>
                  <a:pt x="6346312" y="4152428"/>
                </a:cubicBezTo>
                <a:cubicBezTo>
                  <a:pt x="6344848" y="4151763"/>
                  <a:pt x="6343250" y="4151497"/>
                  <a:pt x="6341253" y="4151497"/>
                </a:cubicBezTo>
                <a:close/>
                <a:moveTo>
                  <a:pt x="6123608" y="4151497"/>
                </a:moveTo>
                <a:cubicBezTo>
                  <a:pt x="6117751" y="4151497"/>
                  <a:pt x="6115221" y="4153493"/>
                  <a:pt x="6113624" y="4155091"/>
                </a:cubicBezTo>
                <a:cubicBezTo>
                  <a:pt x="6111095" y="4157753"/>
                  <a:pt x="6110030" y="4160549"/>
                  <a:pt x="6110030" y="4164542"/>
                </a:cubicBezTo>
                <a:cubicBezTo>
                  <a:pt x="6110030" y="4168668"/>
                  <a:pt x="6111095" y="4171464"/>
                  <a:pt x="6113624" y="4173993"/>
                </a:cubicBezTo>
                <a:cubicBezTo>
                  <a:pt x="6115221" y="4175592"/>
                  <a:pt x="6117751" y="4177455"/>
                  <a:pt x="6123608" y="4177455"/>
                </a:cubicBezTo>
                <a:cubicBezTo>
                  <a:pt x="6125737" y="4177455"/>
                  <a:pt x="6127468" y="4177056"/>
                  <a:pt x="6128932" y="4176657"/>
                </a:cubicBezTo>
                <a:cubicBezTo>
                  <a:pt x="6130530" y="4176124"/>
                  <a:pt x="6131728" y="4175192"/>
                  <a:pt x="6132659" y="4174260"/>
                </a:cubicBezTo>
                <a:cubicBezTo>
                  <a:pt x="6133724" y="4173062"/>
                  <a:pt x="6134656" y="4171730"/>
                  <a:pt x="6135322" y="4170000"/>
                </a:cubicBezTo>
                <a:cubicBezTo>
                  <a:pt x="6135987" y="4168402"/>
                  <a:pt x="6136387" y="4166539"/>
                  <a:pt x="6136387" y="4164542"/>
                </a:cubicBezTo>
                <a:cubicBezTo>
                  <a:pt x="6136387" y="4162678"/>
                  <a:pt x="6135987" y="4160948"/>
                  <a:pt x="6135322" y="4159351"/>
                </a:cubicBezTo>
                <a:cubicBezTo>
                  <a:pt x="6134656" y="4157620"/>
                  <a:pt x="6133724" y="4156289"/>
                  <a:pt x="6132659" y="4155091"/>
                </a:cubicBezTo>
                <a:cubicBezTo>
                  <a:pt x="6131594" y="4154026"/>
                  <a:pt x="6130263" y="4153094"/>
                  <a:pt x="6128666" y="4152428"/>
                </a:cubicBezTo>
                <a:cubicBezTo>
                  <a:pt x="6127202" y="4151763"/>
                  <a:pt x="6125604" y="4151497"/>
                  <a:pt x="6123608" y="4151497"/>
                </a:cubicBezTo>
                <a:close/>
                <a:moveTo>
                  <a:pt x="5905963" y="4151497"/>
                </a:moveTo>
                <a:cubicBezTo>
                  <a:pt x="5900106" y="4151497"/>
                  <a:pt x="5897576" y="4153493"/>
                  <a:pt x="5895979" y="4155091"/>
                </a:cubicBezTo>
                <a:cubicBezTo>
                  <a:pt x="5893450" y="4157753"/>
                  <a:pt x="5892385" y="4160549"/>
                  <a:pt x="5892385" y="4164542"/>
                </a:cubicBezTo>
                <a:cubicBezTo>
                  <a:pt x="5892385" y="4168668"/>
                  <a:pt x="5893450" y="4171464"/>
                  <a:pt x="5895979" y="4173993"/>
                </a:cubicBezTo>
                <a:cubicBezTo>
                  <a:pt x="5897576" y="4175592"/>
                  <a:pt x="5900106" y="4177455"/>
                  <a:pt x="5905963" y="4177455"/>
                </a:cubicBezTo>
                <a:cubicBezTo>
                  <a:pt x="5908093" y="4177455"/>
                  <a:pt x="5909823" y="4177056"/>
                  <a:pt x="5911287" y="4176657"/>
                </a:cubicBezTo>
                <a:cubicBezTo>
                  <a:pt x="5912751" y="4176124"/>
                  <a:pt x="5914083" y="4175192"/>
                  <a:pt x="5915014" y="4174260"/>
                </a:cubicBezTo>
                <a:cubicBezTo>
                  <a:pt x="5916079" y="4173062"/>
                  <a:pt x="5917011" y="4171730"/>
                  <a:pt x="5917677" y="4170000"/>
                </a:cubicBezTo>
                <a:cubicBezTo>
                  <a:pt x="5918342" y="4168402"/>
                  <a:pt x="5918742" y="4166539"/>
                  <a:pt x="5918742" y="4164542"/>
                </a:cubicBezTo>
                <a:cubicBezTo>
                  <a:pt x="5918742" y="4162678"/>
                  <a:pt x="5918342" y="4160948"/>
                  <a:pt x="5917677" y="4159351"/>
                </a:cubicBezTo>
                <a:cubicBezTo>
                  <a:pt x="5917011" y="4157620"/>
                  <a:pt x="5916079" y="4156289"/>
                  <a:pt x="5915014" y="4155091"/>
                </a:cubicBezTo>
                <a:cubicBezTo>
                  <a:pt x="5913950" y="4154026"/>
                  <a:pt x="5912618" y="4153094"/>
                  <a:pt x="5911021" y="4152428"/>
                </a:cubicBezTo>
                <a:cubicBezTo>
                  <a:pt x="5909557" y="4151763"/>
                  <a:pt x="5907826" y="4151497"/>
                  <a:pt x="5905963" y="4151497"/>
                </a:cubicBezTo>
                <a:close/>
                <a:moveTo>
                  <a:pt x="5688451" y="4151497"/>
                </a:moveTo>
                <a:cubicBezTo>
                  <a:pt x="5682594" y="4151497"/>
                  <a:pt x="5680064" y="4153493"/>
                  <a:pt x="5678467" y="4155091"/>
                </a:cubicBezTo>
                <a:cubicBezTo>
                  <a:pt x="5675938" y="4157753"/>
                  <a:pt x="5674873" y="4160549"/>
                  <a:pt x="5674873" y="4164542"/>
                </a:cubicBezTo>
                <a:cubicBezTo>
                  <a:pt x="5674873" y="4168668"/>
                  <a:pt x="5675938" y="4171464"/>
                  <a:pt x="5678467" y="4173993"/>
                </a:cubicBezTo>
                <a:cubicBezTo>
                  <a:pt x="5680064" y="4175592"/>
                  <a:pt x="5682594" y="4177455"/>
                  <a:pt x="5688451" y="4177455"/>
                </a:cubicBezTo>
                <a:cubicBezTo>
                  <a:pt x="5690447" y="4177455"/>
                  <a:pt x="5692178" y="4177056"/>
                  <a:pt x="5693775" y="4176657"/>
                </a:cubicBezTo>
                <a:cubicBezTo>
                  <a:pt x="5695239" y="4176124"/>
                  <a:pt x="5696571" y="4175192"/>
                  <a:pt x="5697502" y="4174260"/>
                </a:cubicBezTo>
                <a:cubicBezTo>
                  <a:pt x="5698567" y="4173062"/>
                  <a:pt x="5699499" y="4171730"/>
                  <a:pt x="5700165" y="4170000"/>
                </a:cubicBezTo>
                <a:cubicBezTo>
                  <a:pt x="5700830" y="4168402"/>
                  <a:pt x="5701230" y="4166539"/>
                  <a:pt x="5701230" y="4164542"/>
                </a:cubicBezTo>
                <a:cubicBezTo>
                  <a:pt x="5701230" y="4162678"/>
                  <a:pt x="5700830" y="4160948"/>
                  <a:pt x="5700165" y="4159351"/>
                </a:cubicBezTo>
                <a:cubicBezTo>
                  <a:pt x="5699499" y="4157620"/>
                  <a:pt x="5698567" y="4156289"/>
                  <a:pt x="5697502" y="4155091"/>
                </a:cubicBezTo>
                <a:cubicBezTo>
                  <a:pt x="5696437" y="4154026"/>
                  <a:pt x="5695106" y="4153094"/>
                  <a:pt x="5693509" y="4152428"/>
                </a:cubicBezTo>
                <a:cubicBezTo>
                  <a:pt x="5692045" y="4151763"/>
                  <a:pt x="5690314" y="4151497"/>
                  <a:pt x="5688451" y="4151497"/>
                </a:cubicBezTo>
                <a:close/>
                <a:moveTo>
                  <a:pt x="5470806" y="4151497"/>
                </a:moveTo>
                <a:cubicBezTo>
                  <a:pt x="5464949" y="4151497"/>
                  <a:pt x="5462419" y="4153493"/>
                  <a:pt x="5460822" y="4155091"/>
                </a:cubicBezTo>
                <a:cubicBezTo>
                  <a:pt x="5458293" y="4157753"/>
                  <a:pt x="5457228" y="4160549"/>
                  <a:pt x="5457228" y="4164542"/>
                </a:cubicBezTo>
                <a:cubicBezTo>
                  <a:pt x="5457228" y="4168668"/>
                  <a:pt x="5458293" y="4171464"/>
                  <a:pt x="5460822" y="4173993"/>
                </a:cubicBezTo>
                <a:cubicBezTo>
                  <a:pt x="5462419" y="4175592"/>
                  <a:pt x="5464949" y="4177455"/>
                  <a:pt x="5470806" y="4177455"/>
                </a:cubicBezTo>
                <a:cubicBezTo>
                  <a:pt x="5472802" y="4177455"/>
                  <a:pt x="5474666" y="4177056"/>
                  <a:pt x="5476130" y="4176657"/>
                </a:cubicBezTo>
                <a:cubicBezTo>
                  <a:pt x="5477594" y="4176124"/>
                  <a:pt x="5478926" y="4175192"/>
                  <a:pt x="5479857" y="4174260"/>
                </a:cubicBezTo>
                <a:cubicBezTo>
                  <a:pt x="5480922" y="4173062"/>
                  <a:pt x="5481854" y="4171730"/>
                  <a:pt x="5482520" y="4170000"/>
                </a:cubicBezTo>
                <a:cubicBezTo>
                  <a:pt x="5483319" y="4168402"/>
                  <a:pt x="5483585" y="4166539"/>
                  <a:pt x="5483585" y="4164542"/>
                </a:cubicBezTo>
                <a:cubicBezTo>
                  <a:pt x="5483585" y="4162678"/>
                  <a:pt x="5483185" y="4160948"/>
                  <a:pt x="5482520" y="4159351"/>
                </a:cubicBezTo>
                <a:cubicBezTo>
                  <a:pt x="5481854" y="4157620"/>
                  <a:pt x="5480922" y="4156289"/>
                  <a:pt x="5479857" y="4155091"/>
                </a:cubicBezTo>
                <a:cubicBezTo>
                  <a:pt x="5478793" y="4154026"/>
                  <a:pt x="5477461" y="4153094"/>
                  <a:pt x="5475864" y="4152428"/>
                </a:cubicBezTo>
                <a:cubicBezTo>
                  <a:pt x="5474400" y="4151763"/>
                  <a:pt x="5472669" y="4151497"/>
                  <a:pt x="5470806" y="4151497"/>
                </a:cubicBezTo>
                <a:close/>
                <a:moveTo>
                  <a:pt x="5253160" y="4151497"/>
                </a:moveTo>
                <a:cubicBezTo>
                  <a:pt x="5247303" y="4151497"/>
                  <a:pt x="5244774" y="4153493"/>
                  <a:pt x="5243177" y="4155091"/>
                </a:cubicBezTo>
                <a:cubicBezTo>
                  <a:pt x="5240647" y="4157753"/>
                  <a:pt x="5239583" y="4160549"/>
                  <a:pt x="5239583" y="4164542"/>
                </a:cubicBezTo>
                <a:cubicBezTo>
                  <a:pt x="5239583" y="4168668"/>
                  <a:pt x="5240647" y="4171464"/>
                  <a:pt x="5243177" y="4173993"/>
                </a:cubicBezTo>
                <a:cubicBezTo>
                  <a:pt x="5244774" y="4175592"/>
                  <a:pt x="5247303" y="4177455"/>
                  <a:pt x="5253160" y="4177455"/>
                </a:cubicBezTo>
                <a:cubicBezTo>
                  <a:pt x="5255157" y="4177455"/>
                  <a:pt x="5257021" y="4177056"/>
                  <a:pt x="5258485" y="4176657"/>
                </a:cubicBezTo>
                <a:cubicBezTo>
                  <a:pt x="5259949" y="4176124"/>
                  <a:pt x="5261280" y="4175192"/>
                  <a:pt x="5262212" y="4174260"/>
                </a:cubicBezTo>
                <a:cubicBezTo>
                  <a:pt x="5263277" y="4173062"/>
                  <a:pt x="5264209" y="4171730"/>
                  <a:pt x="5264875" y="4170000"/>
                </a:cubicBezTo>
                <a:cubicBezTo>
                  <a:pt x="5265673" y="4168402"/>
                  <a:pt x="5265939" y="4166539"/>
                  <a:pt x="5265939" y="4164542"/>
                </a:cubicBezTo>
                <a:cubicBezTo>
                  <a:pt x="5265939" y="4162678"/>
                  <a:pt x="5265540" y="4160948"/>
                  <a:pt x="5264875" y="4159351"/>
                </a:cubicBezTo>
                <a:cubicBezTo>
                  <a:pt x="5264209" y="4157620"/>
                  <a:pt x="5263277" y="4156289"/>
                  <a:pt x="5262212" y="4155091"/>
                </a:cubicBezTo>
                <a:cubicBezTo>
                  <a:pt x="5261147" y="4154026"/>
                  <a:pt x="5259816" y="4153094"/>
                  <a:pt x="5258219" y="4152428"/>
                </a:cubicBezTo>
                <a:cubicBezTo>
                  <a:pt x="5256754" y="4151763"/>
                  <a:pt x="5255024" y="4151497"/>
                  <a:pt x="5253160" y="4151497"/>
                </a:cubicBezTo>
                <a:close/>
                <a:moveTo>
                  <a:pt x="5035515" y="4151497"/>
                </a:moveTo>
                <a:cubicBezTo>
                  <a:pt x="5029658" y="4151497"/>
                  <a:pt x="5027129" y="4153493"/>
                  <a:pt x="5025532" y="4155091"/>
                </a:cubicBezTo>
                <a:cubicBezTo>
                  <a:pt x="5023002" y="4157753"/>
                  <a:pt x="5021938" y="4160549"/>
                  <a:pt x="5021938" y="4164542"/>
                </a:cubicBezTo>
                <a:cubicBezTo>
                  <a:pt x="5021938" y="4168668"/>
                  <a:pt x="5023002" y="4171464"/>
                  <a:pt x="5025532" y="4173993"/>
                </a:cubicBezTo>
                <a:cubicBezTo>
                  <a:pt x="5027129" y="4175592"/>
                  <a:pt x="5029658" y="4177455"/>
                  <a:pt x="5035515" y="4177455"/>
                </a:cubicBezTo>
                <a:cubicBezTo>
                  <a:pt x="5037645" y="4177455"/>
                  <a:pt x="5039376" y="4177056"/>
                  <a:pt x="5040840" y="4176657"/>
                </a:cubicBezTo>
                <a:cubicBezTo>
                  <a:pt x="5042304" y="4176124"/>
                  <a:pt x="5043636" y="4175192"/>
                  <a:pt x="5044567" y="4174260"/>
                </a:cubicBezTo>
                <a:cubicBezTo>
                  <a:pt x="5045632" y="4173062"/>
                  <a:pt x="5046564" y="4171730"/>
                  <a:pt x="5047230" y="4170000"/>
                </a:cubicBezTo>
                <a:cubicBezTo>
                  <a:pt x="5048028" y="4168402"/>
                  <a:pt x="5048294" y="4166539"/>
                  <a:pt x="5048294" y="4164542"/>
                </a:cubicBezTo>
                <a:cubicBezTo>
                  <a:pt x="5048294" y="4162678"/>
                  <a:pt x="5047895" y="4160948"/>
                  <a:pt x="5047230" y="4159351"/>
                </a:cubicBezTo>
                <a:cubicBezTo>
                  <a:pt x="5046564" y="4157620"/>
                  <a:pt x="5045632" y="4156289"/>
                  <a:pt x="5044567" y="4155091"/>
                </a:cubicBezTo>
                <a:cubicBezTo>
                  <a:pt x="5043502" y="4154026"/>
                  <a:pt x="5042171" y="4153094"/>
                  <a:pt x="5040574" y="4152428"/>
                </a:cubicBezTo>
                <a:cubicBezTo>
                  <a:pt x="5039110" y="4151763"/>
                  <a:pt x="5037379" y="4151497"/>
                  <a:pt x="5035515" y="4151497"/>
                </a:cubicBezTo>
                <a:close/>
                <a:moveTo>
                  <a:pt x="4817870" y="4151497"/>
                </a:moveTo>
                <a:cubicBezTo>
                  <a:pt x="4812013" y="4151497"/>
                  <a:pt x="4809484" y="4153493"/>
                  <a:pt x="4807887" y="4155091"/>
                </a:cubicBezTo>
                <a:cubicBezTo>
                  <a:pt x="4805357" y="4157753"/>
                  <a:pt x="4804293" y="4160549"/>
                  <a:pt x="4804293" y="4164542"/>
                </a:cubicBezTo>
                <a:cubicBezTo>
                  <a:pt x="4804293" y="4168668"/>
                  <a:pt x="4805357" y="4171464"/>
                  <a:pt x="4807887" y="4173993"/>
                </a:cubicBezTo>
                <a:cubicBezTo>
                  <a:pt x="4809484" y="4175592"/>
                  <a:pt x="4812013" y="4177455"/>
                  <a:pt x="4817870" y="4177455"/>
                </a:cubicBezTo>
                <a:cubicBezTo>
                  <a:pt x="4820000" y="4177455"/>
                  <a:pt x="4821731" y="4177056"/>
                  <a:pt x="4823195" y="4176657"/>
                </a:cubicBezTo>
                <a:cubicBezTo>
                  <a:pt x="4824659" y="4176124"/>
                  <a:pt x="4825857" y="4175192"/>
                  <a:pt x="4826922" y="4174260"/>
                </a:cubicBezTo>
                <a:cubicBezTo>
                  <a:pt x="4827987" y="4173062"/>
                  <a:pt x="4828919" y="4171730"/>
                  <a:pt x="4829585" y="4170000"/>
                </a:cubicBezTo>
                <a:cubicBezTo>
                  <a:pt x="4830383" y="4168402"/>
                  <a:pt x="4830650" y="4166539"/>
                  <a:pt x="4830650" y="4164542"/>
                </a:cubicBezTo>
                <a:cubicBezTo>
                  <a:pt x="4830650" y="4162678"/>
                  <a:pt x="4830250" y="4160948"/>
                  <a:pt x="4829585" y="4159351"/>
                </a:cubicBezTo>
                <a:cubicBezTo>
                  <a:pt x="4828919" y="4157620"/>
                  <a:pt x="4827987" y="4156289"/>
                  <a:pt x="4826922" y="4155091"/>
                </a:cubicBezTo>
                <a:cubicBezTo>
                  <a:pt x="4825857" y="4154026"/>
                  <a:pt x="4824526" y="4153094"/>
                  <a:pt x="4822929" y="4152428"/>
                </a:cubicBezTo>
                <a:cubicBezTo>
                  <a:pt x="4821465" y="4151763"/>
                  <a:pt x="4819734" y="4151497"/>
                  <a:pt x="4817870" y="4151497"/>
                </a:cubicBezTo>
                <a:close/>
                <a:moveTo>
                  <a:pt x="4600226" y="4151497"/>
                </a:moveTo>
                <a:cubicBezTo>
                  <a:pt x="4594369" y="4151497"/>
                  <a:pt x="4591839" y="4153493"/>
                  <a:pt x="4590242" y="4155091"/>
                </a:cubicBezTo>
                <a:cubicBezTo>
                  <a:pt x="4587713" y="4157753"/>
                  <a:pt x="4586648" y="4160549"/>
                  <a:pt x="4586648" y="4164542"/>
                </a:cubicBezTo>
                <a:cubicBezTo>
                  <a:pt x="4586648" y="4168668"/>
                  <a:pt x="4587713" y="4171464"/>
                  <a:pt x="4590242" y="4173993"/>
                </a:cubicBezTo>
                <a:cubicBezTo>
                  <a:pt x="4591839" y="4175592"/>
                  <a:pt x="4594369" y="4177455"/>
                  <a:pt x="4600226" y="4177455"/>
                </a:cubicBezTo>
                <a:cubicBezTo>
                  <a:pt x="4602355" y="4177455"/>
                  <a:pt x="4604086" y="4177056"/>
                  <a:pt x="4605550" y="4176657"/>
                </a:cubicBezTo>
                <a:cubicBezTo>
                  <a:pt x="4607148" y="4176124"/>
                  <a:pt x="4608346" y="4175192"/>
                  <a:pt x="4609277" y="4174260"/>
                </a:cubicBezTo>
                <a:cubicBezTo>
                  <a:pt x="4610342" y="4173062"/>
                  <a:pt x="4611274" y="4171730"/>
                  <a:pt x="4611940" y="4170000"/>
                </a:cubicBezTo>
                <a:cubicBezTo>
                  <a:pt x="4612605" y="4168402"/>
                  <a:pt x="4613005" y="4166539"/>
                  <a:pt x="4613005" y="4164542"/>
                </a:cubicBezTo>
                <a:cubicBezTo>
                  <a:pt x="4613005" y="4162678"/>
                  <a:pt x="4612605" y="4160948"/>
                  <a:pt x="4611940" y="4159351"/>
                </a:cubicBezTo>
                <a:cubicBezTo>
                  <a:pt x="4611274" y="4157620"/>
                  <a:pt x="4610342" y="4156289"/>
                  <a:pt x="4609277" y="4155091"/>
                </a:cubicBezTo>
                <a:cubicBezTo>
                  <a:pt x="4608212" y="4154026"/>
                  <a:pt x="4606881" y="4153094"/>
                  <a:pt x="4605284" y="4152428"/>
                </a:cubicBezTo>
                <a:cubicBezTo>
                  <a:pt x="4603820" y="4151763"/>
                  <a:pt x="4602222" y="4151497"/>
                  <a:pt x="4600226" y="4151497"/>
                </a:cubicBezTo>
                <a:close/>
                <a:moveTo>
                  <a:pt x="4382713" y="4151497"/>
                </a:moveTo>
                <a:cubicBezTo>
                  <a:pt x="4376857" y="4151497"/>
                  <a:pt x="4374327" y="4153493"/>
                  <a:pt x="4372730" y="4155091"/>
                </a:cubicBezTo>
                <a:cubicBezTo>
                  <a:pt x="4370201" y="4157753"/>
                  <a:pt x="4369136" y="4160549"/>
                  <a:pt x="4369136" y="4164542"/>
                </a:cubicBezTo>
                <a:cubicBezTo>
                  <a:pt x="4369136" y="4168668"/>
                  <a:pt x="4370201" y="4171464"/>
                  <a:pt x="4372730" y="4173993"/>
                </a:cubicBezTo>
                <a:cubicBezTo>
                  <a:pt x="4374327" y="4175592"/>
                  <a:pt x="4376857" y="4177455"/>
                  <a:pt x="4382713" y="4177455"/>
                </a:cubicBezTo>
                <a:cubicBezTo>
                  <a:pt x="4384710" y="4177455"/>
                  <a:pt x="4386441" y="4177056"/>
                  <a:pt x="4388038" y="4176657"/>
                </a:cubicBezTo>
                <a:cubicBezTo>
                  <a:pt x="4389502" y="4176124"/>
                  <a:pt x="4390834" y="4175192"/>
                  <a:pt x="4391765" y="4174260"/>
                </a:cubicBezTo>
                <a:cubicBezTo>
                  <a:pt x="4392830" y="4173062"/>
                  <a:pt x="4393762" y="4171730"/>
                  <a:pt x="4394428" y="4170000"/>
                </a:cubicBezTo>
                <a:cubicBezTo>
                  <a:pt x="4395093" y="4168402"/>
                  <a:pt x="4395493" y="4166539"/>
                  <a:pt x="4395493" y="4164542"/>
                </a:cubicBezTo>
                <a:cubicBezTo>
                  <a:pt x="4395493" y="4162678"/>
                  <a:pt x="4395093" y="4160948"/>
                  <a:pt x="4394428" y="4159351"/>
                </a:cubicBezTo>
                <a:cubicBezTo>
                  <a:pt x="4393762" y="4157620"/>
                  <a:pt x="4392830" y="4156289"/>
                  <a:pt x="4391765" y="4155091"/>
                </a:cubicBezTo>
                <a:cubicBezTo>
                  <a:pt x="4390700" y="4154026"/>
                  <a:pt x="4389369" y="4153094"/>
                  <a:pt x="4387772" y="4152428"/>
                </a:cubicBezTo>
                <a:cubicBezTo>
                  <a:pt x="4386308" y="4151763"/>
                  <a:pt x="4384710" y="4151497"/>
                  <a:pt x="4382713" y="4151497"/>
                </a:cubicBezTo>
                <a:close/>
                <a:moveTo>
                  <a:pt x="4165068" y="4151497"/>
                </a:moveTo>
                <a:cubicBezTo>
                  <a:pt x="4159211" y="4151497"/>
                  <a:pt x="4156681" y="4153493"/>
                  <a:pt x="4155084" y="4155091"/>
                </a:cubicBezTo>
                <a:cubicBezTo>
                  <a:pt x="4152555" y="4157753"/>
                  <a:pt x="4151490" y="4160549"/>
                  <a:pt x="4151490" y="4164542"/>
                </a:cubicBezTo>
                <a:cubicBezTo>
                  <a:pt x="4151490" y="4168668"/>
                  <a:pt x="4152555" y="4171464"/>
                  <a:pt x="4155084" y="4173993"/>
                </a:cubicBezTo>
                <a:cubicBezTo>
                  <a:pt x="4156681" y="4175592"/>
                  <a:pt x="4159211" y="4177455"/>
                  <a:pt x="4165068" y="4177455"/>
                </a:cubicBezTo>
                <a:cubicBezTo>
                  <a:pt x="4167064" y="4177455"/>
                  <a:pt x="4168928" y="4177056"/>
                  <a:pt x="4170392" y="4176657"/>
                </a:cubicBezTo>
                <a:cubicBezTo>
                  <a:pt x="4171856" y="4176124"/>
                  <a:pt x="4173188" y="4175192"/>
                  <a:pt x="4174119" y="4174260"/>
                </a:cubicBezTo>
                <a:cubicBezTo>
                  <a:pt x="4175184" y="4173062"/>
                  <a:pt x="4176116" y="4171730"/>
                  <a:pt x="4176782" y="4170000"/>
                </a:cubicBezTo>
                <a:cubicBezTo>
                  <a:pt x="4177447" y="4168402"/>
                  <a:pt x="4177847" y="4166539"/>
                  <a:pt x="4177847" y="4164542"/>
                </a:cubicBezTo>
                <a:cubicBezTo>
                  <a:pt x="4177847" y="4162678"/>
                  <a:pt x="4177447" y="4160948"/>
                  <a:pt x="4176782" y="4159351"/>
                </a:cubicBezTo>
                <a:cubicBezTo>
                  <a:pt x="4176116" y="4157620"/>
                  <a:pt x="4175184" y="4156289"/>
                  <a:pt x="4174119" y="4155091"/>
                </a:cubicBezTo>
                <a:cubicBezTo>
                  <a:pt x="4173054" y="4154026"/>
                  <a:pt x="4171723" y="4153094"/>
                  <a:pt x="4170126" y="4152428"/>
                </a:cubicBezTo>
                <a:cubicBezTo>
                  <a:pt x="4168662" y="4151763"/>
                  <a:pt x="4167064" y="4151497"/>
                  <a:pt x="4165068" y="4151497"/>
                </a:cubicBezTo>
                <a:close/>
                <a:moveTo>
                  <a:pt x="3947651" y="4151497"/>
                </a:moveTo>
                <a:cubicBezTo>
                  <a:pt x="3941794" y="4151497"/>
                  <a:pt x="3939265" y="4153493"/>
                  <a:pt x="3937668" y="4155091"/>
                </a:cubicBezTo>
                <a:cubicBezTo>
                  <a:pt x="3935137" y="4157753"/>
                  <a:pt x="3934074" y="4160549"/>
                  <a:pt x="3934074" y="4164542"/>
                </a:cubicBezTo>
                <a:cubicBezTo>
                  <a:pt x="3934074" y="4168668"/>
                  <a:pt x="3935137" y="4171464"/>
                  <a:pt x="3937668" y="4173993"/>
                </a:cubicBezTo>
                <a:cubicBezTo>
                  <a:pt x="3939265" y="4175592"/>
                  <a:pt x="3941794" y="4177455"/>
                  <a:pt x="3947651" y="4177455"/>
                </a:cubicBezTo>
                <a:cubicBezTo>
                  <a:pt x="3949649" y="4177455"/>
                  <a:pt x="3951512" y="4177056"/>
                  <a:pt x="3952979" y="4176657"/>
                </a:cubicBezTo>
                <a:cubicBezTo>
                  <a:pt x="3954442" y="4176124"/>
                  <a:pt x="3955773" y="4175192"/>
                  <a:pt x="3956705" y="4174260"/>
                </a:cubicBezTo>
                <a:cubicBezTo>
                  <a:pt x="3957770" y="4173062"/>
                  <a:pt x="3958703" y="4171730"/>
                  <a:pt x="3959368" y="4170000"/>
                </a:cubicBezTo>
                <a:cubicBezTo>
                  <a:pt x="3960034" y="4168402"/>
                  <a:pt x="3960433" y="4166539"/>
                  <a:pt x="3960433" y="4164542"/>
                </a:cubicBezTo>
                <a:cubicBezTo>
                  <a:pt x="3960433" y="4162678"/>
                  <a:pt x="3960034" y="4160948"/>
                  <a:pt x="3959368" y="4159351"/>
                </a:cubicBezTo>
                <a:cubicBezTo>
                  <a:pt x="3958703" y="4157620"/>
                  <a:pt x="3957770" y="4156289"/>
                  <a:pt x="3956705" y="4155091"/>
                </a:cubicBezTo>
                <a:cubicBezTo>
                  <a:pt x="3955640" y="4154026"/>
                  <a:pt x="3954309" y="4153094"/>
                  <a:pt x="3952712" y="4152428"/>
                </a:cubicBezTo>
                <a:cubicBezTo>
                  <a:pt x="3951246" y="4151763"/>
                  <a:pt x="3949649" y="4151497"/>
                  <a:pt x="3947651" y="4151497"/>
                </a:cubicBezTo>
                <a:close/>
                <a:moveTo>
                  <a:pt x="3729995" y="4151497"/>
                </a:moveTo>
                <a:cubicBezTo>
                  <a:pt x="3724139" y="4151497"/>
                  <a:pt x="3721609" y="4153493"/>
                  <a:pt x="3720009" y="4155091"/>
                </a:cubicBezTo>
                <a:cubicBezTo>
                  <a:pt x="3717480" y="4157753"/>
                  <a:pt x="3716416" y="4160549"/>
                  <a:pt x="3716416" y="4164542"/>
                </a:cubicBezTo>
                <a:cubicBezTo>
                  <a:pt x="3716416" y="4168668"/>
                  <a:pt x="3717480" y="4171464"/>
                  <a:pt x="3720009" y="4173993"/>
                </a:cubicBezTo>
                <a:cubicBezTo>
                  <a:pt x="3721609" y="4175592"/>
                  <a:pt x="3724139" y="4177455"/>
                  <a:pt x="3729995" y="4177455"/>
                </a:cubicBezTo>
                <a:cubicBezTo>
                  <a:pt x="3732126" y="4177455"/>
                  <a:pt x="3733857" y="4177056"/>
                  <a:pt x="3735320" y="4176657"/>
                </a:cubicBezTo>
                <a:cubicBezTo>
                  <a:pt x="3736785" y="4176124"/>
                  <a:pt x="3738117" y="4175192"/>
                  <a:pt x="3739048" y="4174260"/>
                </a:cubicBezTo>
                <a:cubicBezTo>
                  <a:pt x="3740113" y="4173062"/>
                  <a:pt x="3741045" y="4171730"/>
                  <a:pt x="3741711" y="4170000"/>
                </a:cubicBezTo>
                <a:cubicBezTo>
                  <a:pt x="3742376" y="4168402"/>
                  <a:pt x="3742776" y="4166539"/>
                  <a:pt x="3742776" y="4164542"/>
                </a:cubicBezTo>
                <a:cubicBezTo>
                  <a:pt x="3742776" y="4162678"/>
                  <a:pt x="3742376" y="4160948"/>
                  <a:pt x="3741711" y="4159351"/>
                </a:cubicBezTo>
                <a:cubicBezTo>
                  <a:pt x="3741045" y="4157620"/>
                  <a:pt x="3740113" y="4156289"/>
                  <a:pt x="3739048" y="4155091"/>
                </a:cubicBezTo>
                <a:cubicBezTo>
                  <a:pt x="3737983" y="4154026"/>
                  <a:pt x="3736652" y="4153094"/>
                  <a:pt x="3735055" y="4152428"/>
                </a:cubicBezTo>
                <a:cubicBezTo>
                  <a:pt x="3733590" y="4151763"/>
                  <a:pt x="3731993" y="4151497"/>
                  <a:pt x="3729995" y="4151497"/>
                </a:cubicBezTo>
                <a:close/>
                <a:moveTo>
                  <a:pt x="3512338" y="4151497"/>
                </a:moveTo>
                <a:cubicBezTo>
                  <a:pt x="3506480" y="4151497"/>
                  <a:pt x="3503951" y="4153493"/>
                  <a:pt x="3502351" y="4155091"/>
                </a:cubicBezTo>
                <a:cubicBezTo>
                  <a:pt x="3499821" y="4157753"/>
                  <a:pt x="3498758" y="4160549"/>
                  <a:pt x="3498758" y="4164542"/>
                </a:cubicBezTo>
                <a:cubicBezTo>
                  <a:pt x="3498758" y="4168668"/>
                  <a:pt x="3499821" y="4171464"/>
                  <a:pt x="3502351" y="4173993"/>
                </a:cubicBezTo>
                <a:cubicBezTo>
                  <a:pt x="3503951" y="4175592"/>
                  <a:pt x="3506480" y="4177455"/>
                  <a:pt x="3512338" y="4177455"/>
                </a:cubicBezTo>
                <a:cubicBezTo>
                  <a:pt x="3514468" y="4177455"/>
                  <a:pt x="3516200" y="4177056"/>
                  <a:pt x="3517664" y="4176657"/>
                </a:cubicBezTo>
                <a:cubicBezTo>
                  <a:pt x="3519128" y="4176124"/>
                  <a:pt x="3520460" y="4175192"/>
                  <a:pt x="3521391" y="4174260"/>
                </a:cubicBezTo>
                <a:cubicBezTo>
                  <a:pt x="3522456" y="4173062"/>
                  <a:pt x="3523388" y="4171730"/>
                  <a:pt x="3524054" y="4170000"/>
                </a:cubicBezTo>
                <a:cubicBezTo>
                  <a:pt x="3524719" y="4168402"/>
                  <a:pt x="3525119" y="4166539"/>
                  <a:pt x="3525119" y="4164542"/>
                </a:cubicBezTo>
                <a:cubicBezTo>
                  <a:pt x="3525119" y="4162678"/>
                  <a:pt x="3524719" y="4160948"/>
                  <a:pt x="3524054" y="4159351"/>
                </a:cubicBezTo>
                <a:cubicBezTo>
                  <a:pt x="3523388" y="4157620"/>
                  <a:pt x="3522456" y="4156289"/>
                  <a:pt x="3521391" y="4155091"/>
                </a:cubicBezTo>
                <a:cubicBezTo>
                  <a:pt x="3520326" y="4154026"/>
                  <a:pt x="3518995" y="4153094"/>
                  <a:pt x="3517398" y="4152428"/>
                </a:cubicBezTo>
                <a:cubicBezTo>
                  <a:pt x="3515934" y="4151763"/>
                  <a:pt x="3514336" y="4151497"/>
                  <a:pt x="3512338" y="4151497"/>
                </a:cubicBezTo>
                <a:close/>
                <a:moveTo>
                  <a:pt x="3294815" y="4151497"/>
                </a:moveTo>
                <a:cubicBezTo>
                  <a:pt x="3288957" y="4151497"/>
                  <a:pt x="3286426" y="4153493"/>
                  <a:pt x="3284829" y="4155091"/>
                </a:cubicBezTo>
                <a:cubicBezTo>
                  <a:pt x="3282299" y="4157753"/>
                  <a:pt x="3281235" y="4160549"/>
                  <a:pt x="3281235" y="4164542"/>
                </a:cubicBezTo>
                <a:cubicBezTo>
                  <a:pt x="3281235" y="4168668"/>
                  <a:pt x="3282299" y="4171464"/>
                  <a:pt x="3284829" y="4173993"/>
                </a:cubicBezTo>
                <a:cubicBezTo>
                  <a:pt x="3286426" y="4175592"/>
                  <a:pt x="3288957" y="4177455"/>
                  <a:pt x="3294815" y="4177455"/>
                </a:cubicBezTo>
                <a:cubicBezTo>
                  <a:pt x="3296812" y="4177455"/>
                  <a:pt x="3298543" y="4177056"/>
                  <a:pt x="3300140" y="4176657"/>
                </a:cubicBezTo>
                <a:cubicBezTo>
                  <a:pt x="3301604" y="4176124"/>
                  <a:pt x="3302936" y="4175192"/>
                  <a:pt x="3303867" y="4174260"/>
                </a:cubicBezTo>
                <a:cubicBezTo>
                  <a:pt x="3304933" y="4173062"/>
                  <a:pt x="3305864" y="4171730"/>
                  <a:pt x="3306531" y="4170000"/>
                </a:cubicBezTo>
                <a:cubicBezTo>
                  <a:pt x="3307196" y="4168402"/>
                  <a:pt x="3307594" y="4166539"/>
                  <a:pt x="3307594" y="4164542"/>
                </a:cubicBezTo>
                <a:cubicBezTo>
                  <a:pt x="3307594" y="4162678"/>
                  <a:pt x="3307196" y="4160948"/>
                  <a:pt x="3306531" y="4159351"/>
                </a:cubicBezTo>
                <a:cubicBezTo>
                  <a:pt x="3305864" y="4157620"/>
                  <a:pt x="3304933" y="4156289"/>
                  <a:pt x="3303867" y="4155091"/>
                </a:cubicBezTo>
                <a:cubicBezTo>
                  <a:pt x="3302802" y="4154026"/>
                  <a:pt x="3301471" y="4153094"/>
                  <a:pt x="3299874" y="4152428"/>
                </a:cubicBezTo>
                <a:cubicBezTo>
                  <a:pt x="3298410" y="4151763"/>
                  <a:pt x="3296812" y="4151497"/>
                  <a:pt x="3294815" y="4151497"/>
                </a:cubicBezTo>
                <a:close/>
                <a:moveTo>
                  <a:pt x="3077291" y="4151497"/>
                </a:moveTo>
                <a:cubicBezTo>
                  <a:pt x="3071433" y="4151497"/>
                  <a:pt x="3068904" y="4153493"/>
                  <a:pt x="3067308" y="4155091"/>
                </a:cubicBezTo>
                <a:cubicBezTo>
                  <a:pt x="3064643" y="4157753"/>
                  <a:pt x="3063577" y="4160549"/>
                  <a:pt x="3063577" y="4164542"/>
                </a:cubicBezTo>
                <a:cubicBezTo>
                  <a:pt x="3063577" y="4168668"/>
                  <a:pt x="3064643" y="4171464"/>
                  <a:pt x="3067173" y="4173993"/>
                </a:cubicBezTo>
                <a:cubicBezTo>
                  <a:pt x="3068771" y="4175592"/>
                  <a:pt x="3071301" y="4177455"/>
                  <a:pt x="3077158" y="4177455"/>
                </a:cubicBezTo>
                <a:cubicBezTo>
                  <a:pt x="3079155" y="4177455"/>
                  <a:pt x="3080885" y="4177056"/>
                  <a:pt x="3082616" y="4176657"/>
                </a:cubicBezTo>
                <a:cubicBezTo>
                  <a:pt x="3084081" y="4176124"/>
                  <a:pt x="3085412" y="4175192"/>
                  <a:pt x="3086344" y="4174260"/>
                </a:cubicBezTo>
                <a:cubicBezTo>
                  <a:pt x="3087408" y="4173062"/>
                  <a:pt x="3088340" y="4171730"/>
                  <a:pt x="3089006" y="4170000"/>
                </a:cubicBezTo>
                <a:cubicBezTo>
                  <a:pt x="3089671" y="4168402"/>
                  <a:pt x="3089938" y="4166539"/>
                  <a:pt x="3089938" y="4164542"/>
                </a:cubicBezTo>
                <a:cubicBezTo>
                  <a:pt x="3089938" y="4162678"/>
                  <a:pt x="3089671" y="4160948"/>
                  <a:pt x="3089006" y="4159351"/>
                </a:cubicBezTo>
                <a:cubicBezTo>
                  <a:pt x="3088340" y="4157620"/>
                  <a:pt x="3087408" y="4156289"/>
                  <a:pt x="3086344" y="4155091"/>
                </a:cubicBezTo>
                <a:cubicBezTo>
                  <a:pt x="3085279" y="4154026"/>
                  <a:pt x="3083947" y="4153094"/>
                  <a:pt x="3082350" y="4152428"/>
                </a:cubicBezTo>
                <a:cubicBezTo>
                  <a:pt x="3080885" y="4151763"/>
                  <a:pt x="3079288" y="4151497"/>
                  <a:pt x="3077291" y="4151497"/>
                </a:cubicBezTo>
                <a:close/>
                <a:moveTo>
                  <a:pt x="2859501" y="4151497"/>
                </a:moveTo>
                <a:cubicBezTo>
                  <a:pt x="2853644" y="4151497"/>
                  <a:pt x="2851115" y="4153493"/>
                  <a:pt x="2849515" y="4155091"/>
                </a:cubicBezTo>
                <a:cubicBezTo>
                  <a:pt x="2846982" y="4157753"/>
                  <a:pt x="2845918" y="4160549"/>
                  <a:pt x="2845918" y="4164542"/>
                </a:cubicBezTo>
                <a:cubicBezTo>
                  <a:pt x="2845918" y="4168668"/>
                  <a:pt x="2846982" y="4171464"/>
                  <a:pt x="2849515" y="4173993"/>
                </a:cubicBezTo>
                <a:cubicBezTo>
                  <a:pt x="2851115" y="4175592"/>
                  <a:pt x="2853644" y="4177455"/>
                  <a:pt x="2859501" y="4177455"/>
                </a:cubicBezTo>
                <a:cubicBezTo>
                  <a:pt x="2861498" y="4177455"/>
                  <a:pt x="2863362" y="4177056"/>
                  <a:pt x="2864826" y="4176657"/>
                </a:cubicBezTo>
                <a:cubicBezTo>
                  <a:pt x="2866424" y="4176124"/>
                  <a:pt x="2867622" y="4175192"/>
                  <a:pt x="2868553" y="4174260"/>
                </a:cubicBezTo>
                <a:cubicBezTo>
                  <a:pt x="2869618" y="4173062"/>
                  <a:pt x="2870550" y="4171730"/>
                  <a:pt x="2871216" y="4170000"/>
                </a:cubicBezTo>
                <a:cubicBezTo>
                  <a:pt x="2871748" y="4168402"/>
                  <a:pt x="2872147" y="4166539"/>
                  <a:pt x="2872147" y="4164542"/>
                </a:cubicBezTo>
                <a:cubicBezTo>
                  <a:pt x="2872147" y="4162678"/>
                  <a:pt x="2871881" y="4160948"/>
                  <a:pt x="2871216" y="4159351"/>
                </a:cubicBezTo>
                <a:cubicBezTo>
                  <a:pt x="2870550" y="4157620"/>
                  <a:pt x="2869618" y="4156289"/>
                  <a:pt x="2868553" y="4155091"/>
                </a:cubicBezTo>
                <a:cubicBezTo>
                  <a:pt x="2867489" y="4154026"/>
                  <a:pt x="2866157" y="4153094"/>
                  <a:pt x="2864560" y="4152428"/>
                </a:cubicBezTo>
                <a:cubicBezTo>
                  <a:pt x="2863096" y="4151763"/>
                  <a:pt x="2861498" y="4151497"/>
                  <a:pt x="2859501" y="4151497"/>
                </a:cubicBezTo>
                <a:close/>
                <a:moveTo>
                  <a:pt x="2641844" y="4151497"/>
                </a:moveTo>
                <a:cubicBezTo>
                  <a:pt x="2635987" y="4151497"/>
                  <a:pt x="2633458" y="4153493"/>
                  <a:pt x="2631861" y="4155091"/>
                </a:cubicBezTo>
                <a:cubicBezTo>
                  <a:pt x="2629331" y="4157753"/>
                  <a:pt x="2628266" y="4160549"/>
                  <a:pt x="2628266" y="4164542"/>
                </a:cubicBezTo>
                <a:cubicBezTo>
                  <a:pt x="2628266" y="4168668"/>
                  <a:pt x="2629331" y="4171464"/>
                  <a:pt x="2631861" y="4173993"/>
                </a:cubicBezTo>
                <a:cubicBezTo>
                  <a:pt x="2633458" y="4175592"/>
                  <a:pt x="2635987" y="4177455"/>
                  <a:pt x="2641844" y="4177455"/>
                </a:cubicBezTo>
                <a:cubicBezTo>
                  <a:pt x="2643841" y="4177455"/>
                  <a:pt x="2645705" y="4177056"/>
                  <a:pt x="2647169" y="4176657"/>
                </a:cubicBezTo>
                <a:cubicBezTo>
                  <a:pt x="2648766" y="4176124"/>
                  <a:pt x="2649964" y="4175192"/>
                  <a:pt x="2650896" y="4174260"/>
                </a:cubicBezTo>
                <a:cubicBezTo>
                  <a:pt x="2651961" y="4173062"/>
                  <a:pt x="2652893" y="4171730"/>
                  <a:pt x="2653559" y="4170000"/>
                </a:cubicBezTo>
                <a:cubicBezTo>
                  <a:pt x="2654091" y="4168402"/>
                  <a:pt x="2654490" y="4166539"/>
                  <a:pt x="2654490" y="4164542"/>
                </a:cubicBezTo>
                <a:cubicBezTo>
                  <a:pt x="2654490" y="4162678"/>
                  <a:pt x="2654224" y="4160948"/>
                  <a:pt x="2653559" y="4159351"/>
                </a:cubicBezTo>
                <a:cubicBezTo>
                  <a:pt x="2652893" y="4157620"/>
                  <a:pt x="2651961" y="4156289"/>
                  <a:pt x="2650896" y="4155091"/>
                </a:cubicBezTo>
                <a:cubicBezTo>
                  <a:pt x="2649831" y="4154026"/>
                  <a:pt x="2648500" y="4153094"/>
                  <a:pt x="2646903" y="4152428"/>
                </a:cubicBezTo>
                <a:cubicBezTo>
                  <a:pt x="2645438" y="4151763"/>
                  <a:pt x="2643841" y="4151497"/>
                  <a:pt x="2641844" y="4151497"/>
                </a:cubicBezTo>
                <a:close/>
                <a:moveTo>
                  <a:pt x="2424187" y="4151497"/>
                </a:moveTo>
                <a:cubicBezTo>
                  <a:pt x="2418330" y="4151497"/>
                  <a:pt x="2415801" y="4153493"/>
                  <a:pt x="2414204" y="4155091"/>
                </a:cubicBezTo>
                <a:cubicBezTo>
                  <a:pt x="2411673" y="4157753"/>
                  <a:pt x="2410609" y="4160549"/>
                  <a:pt x="2410609" y="4164542"/>
                </a:cubicBezTo>
                <a:cubicBezTo>
                  <a:pt x="2410609" y="4168668"/>
                  <a:pt x="2411673" y="4171464"/>
                  <a:pt x="2414204" y="4173993"/>
                </a:cubicBezTo>
                <a:cubicBezTo>
                  <a:pt x="2415801" y="4175592"/>
                  <a:pt x="2418330" y="4177455"/>
                  <a:pt x="2424187" y="4177455"/>
                </a:cubicBezTo>
                <a:cubicBezTo>
                  <a:pt x="2426317" y="4177455"/>
                  <a:pt x="2428048" y="4177056"/>
                  <a:pt x="2429512" y="4176657"/>
                </a:cubicBezTo>
                <a:cubicBezTo>
                  <a:pt x="2431110" y="4176124"/>
                  <a:pt x="2432308" y="4175192"/>
                  <a:pt x="2433239" y="4174260"/>
                </a:cubicBezTo>
                <a:cubicBezTo>
                  <a:pt x="2434304" y="4173062"/>
                  <a:pt x="2435236" y="4171730"/>
                  <a:pt x="2435902" y="4170000"/>
                </a:cubicBezTo>
                <a:cubicBezTo>
                  <a:pt x="2436434" y="4168402"/>
                  <a:pt x="2436833" y="4166539"/>
                  <a:pt x="2436833" y="4164542"/>
                </a:cubicBezTo>
                <a:cubicBezTo>
                  <a:pt x="2436833" y="4162678"/>
                  <a:pt x="2436567" y="4160948"/>
                  <a:pt x="2435902" y="4159351"/>
                </a:cubicBezTo>
                <a:cubicBezTo>
                  <a:pt x="2435236" y="4157620"/>
                  <a:pt x="2434304" y="4156289"/>
                  <a:pt x="2433239" y="4155091"/>
                </a:cubicBezTo>
                <a:cubicBezTo>
                  <a:pt x="2432175" y="4154026"/>
                  <a:pt x="2430843" y="4153094"/>
                  <a:pt x="2429246" y="4152428"/>
                </a:cubicBezTo>
                <a:cubicBezTo>
                  <a:pt x="2427782" y="4151763"/>
                  <a:pt x="2426184" y="4151497"/>
                  <a:pt x="2424187" y="4151497"/>
                </a:cubicBezTo>
                <a:close/>
                <a:moveTo>
                  <a:pt x="2206530" y="4151497"/>
                </a:moveTo>
                <a:cubicBezTo>
                  <a:pt x="2200673" y="4151497"/>
                  <a:pt x="2198144" y="4153493"/>
                  <a:pt x="2196546" y="4155091"/>
                </a:cubicBezTo>
                <a:cubicBezTo>
                  <a:pt x="2194017" y="4157753"/>
                  <a:pt x="2192952" y="4160549"/>
                  <a:pt x="2192952" y="4164542"/>
                </a:cubicBezTo>
                <a:cubicBezTo>
                  <a:pt x="2192952" y="4168668"/>
                  <a:pt x="2194017" y="4171464"/>
                  <a:pt x="2196546" y="4173993"/>
                </a:cubicBezTo>
                <a:cubicBezTo>
                  <a:pt x="2198144" y="4175592"/>
                  <a:pt x="2200673" y="4177455"/>
                  <a:pt x="2206530" y="4177455"/>
                </a:cubicBezTo>
                <a:cubicBezTo>
                  <a:pt x="2208660" y="4177455"/>
                  <a:pt x="2210391" y="4177056"/>
                  <a:pt x="2211855" y="4176657"/>
                </a:cubicBezTo>
                <a:cubicBezTo>
                  <a:pt x="2213452" y="4176124"/>
                  <a:pt x="2214650" y="4175192"/>
                  <a:pt x="2215582" y="4174260"/>
                </a:cubicBezTo>
                <a:cubicBezTo>
                  <a:pt x="2216647" y="4173062"/>
                  <a:pt x="2217579" y="4171730"/>
                  <a:pt x="2218245" y="4170000"/>
                </a:cubicBezTo>
                <a:cubicBezTo>
                  <a:pt x="2218777" y="4168402"/>
                  <a:pt x="2219176" y="4166539"/>
                  <a:pt x="2219176" y="4164542"/>
                </a:cubicBezTo>
                <a:cubicBezTo>
                  <a:pt x="2219176" y="4162678"/>
                  <a:pt x="2218910" y="4160948"/>
                  <a:pt x="2218245" y="4159351"/>
                </a:cubicBezTo>
                <a:cubicBezTo>
                  <a:pt x="2217579" y="4157620"/>
                  <a:pt x="2216647" y="4156289"/>
                  <a:pt x="2215582" y="4155091"/>
                </a:cubicBezTo>
                <a:cubicBezTo>
                  <a:pt x="2214517" y="4154026"/>
                  <a:pt x="2213186" y="4153094"/>
                  <a:pt x="2211589" y="4152428"/>
                </a:cubicBezTo>
                <a:cubicBezTo>
                  <a:pt x="2210124" y="4151763"/>
                  <a:pt x="2208527" y="4151497"/>
                  <a:pt x="2206530" y="4151497"/>
                </a:cubicBezTo>
                <a:close/>
                <a:moveTo>
                  <a:pt x="1989006" y="4151497"/>
                </a:moveTo>
                <a:cubicBezTo>
                  <a:pt x="1983148" y="4151497"/>
                  <a:pt x="1980619" y="4153493"/>
                  <a:pt x="1979023" y="4155091"/>
                </a:cubicBezTo>
                <a:cubicBezTo>
                  <a:pt x="1976492" y="4157753"/>
                  <a:pt x="1975428" y="4160549"/>
                  <a:pt x="1975428" y="4164542"/>
                </a:cubicBezTo>
                <a:cubicBezTo>
                  <a:pt x="1975428" y="4168668"/>
                  <a:pt x="1976492" y="4171464"/>
                  <a:pt x="1979023" y="4173993"/>
                </a:cubicBezTo>
                <a:cubicBezTo>
                  <a:pt x="1980619" y="4175592"/>
                  <a:pt x="1983148" y="4177455"/>
                  <a:pt x="1989006" y="4177455"/>
                </a:cubicBezTo>
                <a:cubicBezTo>
                  <a:pt x="1991002" y="4177455"/>
                  <a:pt x="1992734" y="4177056"/>
                  <a:pt x="1994330" y="4176657"/>
                </a:cubicBezTo>
                <a:cubicBezTo>
                  <a:pt x="1995928" y="4176124"/>
                  <a:pt x="1997127" y="4175192"/>
                  <a:pt x="1998058" y="4174260"/>
                </a:cubicBezTo>
                <a:cubicBezTo>
                  <a:pt x="1999123" y="4173062"/>
                  <a:pt x="2000055" y="4171730"/>
                  <a:pt x="2000721" y="4170000"/>
                </a:cubicBezTo>
                <a:cubicBezTo>
                  <a:pt x="2001253" y="4168402"/>
                  <a:pt x="2001651" y="4166539"/>
                  <a:pt x="2001651" y="4164542"/>
                </a:cubicBezTo>
                <a:cubicBezTo>
                  <a:pt x="2001651" y="4162678"/>
                  <a:pt x="2001386" y="4160948"/>
                  <a:pt x="2000721" y="4159351"/>
                </a:cubicBezTo>
                <a:cubicBezTo>
                  <a:pt x="2000055" y="4157620"/>
                  <a:pt x="1999123" y="4156289"/>
                  <a:pt x="1998058" y="4155091"/>
                </a:cubicBezTo>
                <a:cubicBezTo>
                  <a:pt x="1996994" y="4154026"/>
                  <a:pt x="1995662" y="4153094"/>
                  <a:pt x="1994064" y="4152428"/>
                </a:cubicBezTo>
                <a:cubicBezTo>
                  <a:pt x="1992600" y="4151763"/>
                  <a:pt x="1991002" y="4151497"/>
                  <a:pt x="1989006" y="4151497"/>
                </a:cubicBezTo>
                <a:close/>
                <a:moveTo>
                  <a:pt x="1771369" y="4151497"/>
                </a:moveTo>
                <a:cubicBezTo>
                  <a:pt x="1765512" y="4151497"/>
                  <a:pt x="1762984" y="4153493"/>
                  <a:pt x="1761387" y="4155091"/>
                </a:cubicBezTo>
                <a:cubicBezTo>
                  <a:pt x="1758858" y="4157753"/>
                  <a:pt x="1757793" y="4160549"/>
                  <a:pt x="1757793" y="4164542"/>
                </a:cubicBezTo>
                <a:cubicBezTo>
                  <a:pt x="1757793" y="4168668"/>
                  <a:pt x="1758858" y="4171464"/>
                  <a:pt x="1761387" y="4173993"/>
                </a:cubicBezTo>
                <a:cubicBezTo>
                  <a:pt x="1762984" y="4175592"/>
                  <a:pt x="1765512" y="4177455"/>
                  <a:pt x="1771369" y="4177455"/>
                </a:cubicBezTo>
                <a:cubicBezTo>
                  <a:pt x="1773366" y="4177455"/>
                  <a:pt x="1775230" y="4177056"/>
                  <a:pt x="1776694" y="4176657"/>
                </a:cubicBezTo>
                <a:cubicBezTo>
                  <a:pt x="1778158" y="4176124"/>
                  <a:pt x="1779488" y="4175192"/>
                  <a:pt x="1780421" y="4174260"/>
                </a:cubicBezTo>
                <a:cubicBezTo>
                  <a:pt x="1781485" y="4173062"/>
                  <a:pt x="1782417" y="4171730"/>
                  <a:pt x="1783083" y="4170000"/>
                </a:cubicBezTo>
                <a:cubicBezTo>
                  <a:pt x="1783748" y="4168402"/>
                  <a:pt x="1784148" y="4166539"/>
                  <a:pt x="1784148" y="4164542"/>
                </a:cubicBezTo>
                <a:cubicBezTo>
                  <a:pt x="1784148" y="4162678"/>
                  <a:pt x="1783748" y="4160948"/>
                  <a:pt x="1783083" y="4159351"/>
                </a:cubicBezTo>
                <a:cubicBezTo>
                  <a:pt x="1782417" y="4157620"/>
                  <a:pt x="1781485" y="4156289"/>
                  <a:pt x="1780421" y="4155091"/>
                </a:cubicBezTo>
                <a:cubicBezTo>
                  <a:pt x="1779356" y="4154026"/>
                  <a:pt x="1778025" y="4153094"/>
                  <a:pt x="1776428" y="4152428"/>
                </a:cubicBezTo>
                <a:cubicBezTo>
                  <a:pt x="1774963" y="4151763"/>
                  <a:pt x="1773366" y="4151497"/>
                  <a:pt x="1771369" y="4151497"/>
                </a:cubicBezTo>
                <a:close/>
                <a:moveTo>
                  <a:pt x="1553730" y="4151497"/>
                </a:moveTo>
                <a:cubicBezTo>
                  <a:pt x="1547873" y="4151497"/>
                  <a:pt x="1545344" y="4153493"/>
                  <a:pt x="1543747" y="4155091"/>
                </a:cubicBezTo>
                <a:cubicBezTo>
                  <a:pt x="1541217" y="4157753"/>
                  <a:pt x="1540153" y="4160549"/>
                  <a:pt x="1540153" y="4164542"/>
                </a:cubicBezTo>
                <a:cubicBezTo>
                  <a:pt x="1540153" y="4168668"/>
                  <a:pt x="1541217" y="4171464"/>
                  <a:pt x="1543747" y="4173993"/>
                </a:cubicBezTo>
                <a:cubicBezTo>
                  <a:pt x="1545344" y="4175592"/>
                  <a:pt x="1547873" y="4177455"/>
                  <a:pt x="1553730" y="4177455"/>
                </a:cubicBezTo>
                <a:cubicBezTo>
                  <a:pt x="1555727" y="4177455"/>
                  <a:pt x="1557591" y="4177056"/>
                  <a:pt x="1559055" y="4176657"/>
                </a:cubicBezTo>
                <a:cubicBezTo>
                  <a:pt x="1560519" y="4176124"/>
                  <a:pt x="1561851" y="4175192"/>
                  <a:pt x="1562782" y="4174260"/>
                </a:cubicBezTo>
                <a:cubicBezTo>
                  <a:pt x="1563847" y="4173062"/>
                  <a:pt x="1564779" y="4171730"/>
                  <a:pt x="1565445" y="4170000"/>
                </a:cubicBezTo>
                <a:cubicBezTo>
                  <a:pt x="1566110" y="4168402"/>
                  <a:pt x="1566510" y="4166539"/>
                  <a:pt x="1566510" y="4164542"/>
                </a:cubicBezTo>
                <a:cubicBezTo>
                  <a:pt x="1566510" y="4162678"/>
                  <a:pt x="1566110" y="4160948"/>
                  <a:pt x="1565445" y="4159351"/>
                </a:cubicBezTo>
                <a:cubicBezTo>
                  <a:pt x="1564779" y="4157620"/>
                  <a:pt x="1563847" y="4156289"/>
                  <a:pt x="1562782" y="4155091"/>
                </a:cubicBezTo>
                <a:cubicBezTo>
                  <a:pt x="1561717" y="4154026"/>
                  <a:pt x="1560386" y="4153094"/>
                  <a:pt x="1558789" y="4152428"/>
                </a:cubicBezTo>
                <a:cubicBezTo>
                  <a:pt x="1557325" y="4151763"/>
                  <a:pt x="1555727" y="4151497"/>
                  <a:pt x="1553730" y="4151497"/>
                </a:cubicBezTo>
                <a:close/>
                <a:moveTo>
                  <a:pt x="1336086" y="4151497"/>
                </a:moveTo>
                <a:cubicBezTo>
                  <a:pt x="1330228" y="4151497"/>
                  <a:pt x="1327699" y="4153493"/>
                  <a:pt x="1326103" y="4155091"/>
                </a:cubicBezTo>
                <a:cubicBezTo>
                  <a:pt x="1323572" y="4157753"/>
                  <a:pt x="1322508" y="4160549"/>
                  <a:pt x="1322508" y="4164542"/>
                </a:cubicBezTo>
                <a:cubicBezTo>
                  <a:pt x="1322508" y="4168668"/>
                  <a:pt x="1323572" y="4171464"/>
                  <a:pt x="1326103" y="4173993"/>
                </a:cubicBezTo>
                <a:cubicBezTo>
                  <a:pt x="1327699" y="4175592"/>
                  <a:pt x="1330228" y="4177455"/>
                  <a:pt x="1336086" y="4177455"/>
                </a:cubicBezTo>
                <a:cubicBezTo>
                  <a:pt x="1338216" y="4177455"/>
                  <a:pt x="1339946" y="4177056"/>
                  <a:pt x="1341413" y="4176657"/>
                </a:cubicBezTo>
                <a:cubicBezTo>
                  <a:pt x="1342876" y="4176124"/>
                  <a:pt x="1344207" y="4175192"/>
                  <a:pt x="1345140" y="4174260"/>
                </a:cubicBezTo>
                <a:cubicBezTo>
                  <a:pt x="1346204" y="4173062"/>
                  <a:pt x="1347137" y="4171730"/>
                  <a:pt x="1347802" y="4170000"/>
                </a:cubicBezTo>
                <a:cubicBezTo>
                  <a:pt x="1348467" y="4168402"/>
                  <a:pt x="1348868" y="4166539"/>
                  <a:pt x="1348868" y="4164542"/>
                </a:cubicBezTo>
                <a:cubicBezTo>
                  <a:pt x="1348868" y="4162678"/>
                  <a:pt x="1348467" y="4160948"/>
                  <a:pt x="1347802" y="4159351"/>
                </a:cubicBezTo>
                <a:cubicBezTo>
                  <a:pt x="1347137" y="4157620"/>
                  <a:pt x="1346204" y="4156289"/>
                  <a:pt x="1345140" y="4155091"/>
                </a:cubicBezTo>
                <a:cubicBezTo>
                  <a:pt x="1344075" y="4154026"/>
                  <a:pt x="1342743" y="4153094"/>
                  <a:pt x="1341145" y="4152428"/>
                </a:cubicBezTo>
                <a:cubicBezTo>
                  <a:pt x="1339681" y="4151763"/>
                  <a:pt x="1338082" y="4151497"/>
                  <a:pt x="1336086" y="4151497"/>
                </a:cubicBezTo>
                <a:close/>
                <a:moveTo>
                  <a:pt x="1118574" y="4151497"/>
                </a:moveTo>
                <a:cubicBezTo>
                  <a:pt x="1112715" y="4151497"/>
                  <a:pt x="1110186" y="4153493"/>
                  <a:pt x="1108589" y="4155091"/>
                </a:cubicBezTo>
                <a:cubicBezTo>
                  <a:pt x="1105926" y="4157753"/>
                  <a:pt x="1104862" y="4160549"/>
                  <a:pt x="1104862" y="4164542"/>
                </a:cubicBezTo>
                <a:cubicBezTo>
                  <a:pt x="1104862" y="4168668"/>
                  <a:pt x="1105926" y="4171464"/>
                  <a:pt x="1108456" y="4173993"/>
                </a:cubicBezTo>
                <a:cubicBezTo>
                  <a:pt x="1110053" y="4175592"/>
                  <a:pt x="1112583" y="4177455"/>
                  <a:pt x="1118441" y="4177455"/>
                </a:cubicBezTo>
                <a:cubicBezTo>
                  <a:pt x="1120571" y="4177455"/>
                  <a:pt x="1122303" y="4177056"/>
                  <a:pt x="1123898" y="4176657"/>
                </a:cubicBezTo>
                <a:cubicBezTo>
                  <a:pt x="1125363" y="4176124"/>
                  <a:pt x="1126698" y="4175192"/>
                  <a:pt x="1127627" y="4174260"/>
                </a:cubicBezTo>
                <a:cubicBezTo>
                  <a:pt x="1128692" y="4173062"/>
                  <a:pt x="1129624" y="4171730"/>
                  <a:pt x="1130291" y="4170000"/>
                </a:cubicBezTo>
                <a:cubicBezTo>
                  <a:pt x="1130955" y="4168402"/>
                  <a:pt x="1131356" y="4166539"/>
                  <a:pt x="1131356" y="4164542"/>
                </a:cubicBezTo>
                <a:cubicBezTo>
                  <a:pt x="1131356" y="4162678"/>
                  <a:pt x="1130955" y="4160948"/>
                  <a:pt x="1130291" y="4159351"/>
                </a:cubicBezTo>
                <a:cubicBezTo>
                  <a:pt x="1129624" y="4157620"/>
                  <a:pt x="1128692" y="4156289"/>
                  <a:pt x="1127627" y="4155091"/>
                </a:cubicBezTo>
                <a:cubicBezTo>
                  <a:pt x="1126562" y="4154026"/>
                  <a:pt x="1125231" y="4153094"/>
                  <a:pt x="1123632" y="4152428"/>
                </a:cubicBezTo>
                <a:cubicBezTo>
                  <a:pt x="1122170" y="4151763"/>
                  <a:pt x="1120571" y="4151497"/>
                  <a:pt x="1118574" y="4151497"/>
                </a:cubicBezTo>
                <a:close/>
                <a:moveTo>
                  <a:pt x="901062" y="4151497"/>
                </a:moveTo>
                <a:cubicBezTo>
                  <a:pt x="895204" y="4151497"/>
                  <a:pt x="892675" y="4153493"/>
                  <a:pt x="891078" y="4155091"/>
                </a:cubicBezTo>
                <a:cubicBezTo>
                  <a:pt x="888415" y="4157753"/>
                  <a:pt x="887351" y="4160549"/>
                  <a:pt x="887351" y="4164542"/>
                </a:cubicBezTo>
                <a:cubicBezTo>
                  <a:pt x="887351" y="4168668"/>
                  <a:pt x="888415" y="4171464"/>
                  <a:pt x="890945" y="4173993"/>
                </a:cubicBezTo>
                <a:cubicBezTo>
                  <a:pt x="892542" y="4175592"/>
                  <a:pt x="895071" y="4177455"/>
                  <a:pt x="900928" y="4177455"/>
                </a:cubicBezTo>
                <a:cubicBezTo>
                  <a:pt x="902925" y="4177455"/>
                  <a:pt x="904656" y="4177056"/>
                  <a:pt x="906386" y="4176657"/>
                </a:cubicBezTo>
                <a:cubicBezTo>
                  <a:pt x="907850" y="4176124"/>
                  <a:pt x="909182" y="4175192"/>
                  <a:pt x="910114" y="4174260"/>
                </a:cubicBezTo>
                <a:cubicBezTo>
                  <a:pt x="911178" y="4173062"/>
                  <a:pt x="912110" y="4171730"/>
                  <a:pt x="912776" y="4170000"/>
                </a:cubicBezTo>
                <a:cubicBezTo>
                  <a:pt x="913441" y="4168402"/>
                  <a:pt x="913841" y="4166539"/>
                  <a:pt x="913841" y="4164542"/>
                </a:cubicBezTo>
                <a:cubicBezTo>
                  <a:pt x="913841" y="4162678"/>
                  <a:pt x="913441" y="4160948"/>
                  <a:pt x="912776" y="4159351"/>
                </a:cubicBezTo>
                <a:cubicBezTo>
                  <a:pt x="912110" y="4157620"/>
                  <a:pt x="911178" y="4156289"/>
                  <a:pt x="910114" y="4155091"/>
                </a:cubicBezTo>
                <a:cubicBezTo>
                  <a:pt x="909049" y="4154026"/>
                  <a:pt x="907717" y="4153094"/>
                  <a:pt x="906120" y="4152428"/>
                </a:cubicBezTo>
                <a:cubicBezTo>
                  <a:pt x="904656" y="4151763"/>
                  <a:pt x="903058" y="4151497"/>
                  <a:pt x="901062" y="4151497"/>
                </a:cubicBezTo>
                <a:close/>
                <a:moveTo>
                  <a:pt x="683287" y="4151497"/>
                </a:moveTo>
                <a:cubicBezTo>
                  <a:pt x="677430" y="4151497"/>
                  <a:pt x="674901" y="4153493"/>
                  <a:pt x="673304" y="4155091"/>
                </a:cubicBezTo>
                <a:cubicBezTo>
                  <a:pt x="670774" y="4157753"/>
                  <a:pt x="669710" y="4160549"/>
                  <a:pt x="669710" y="4164542"/>
                </a:cubicBezTo>
                <a:cubicBezTo>
                  <a:pt x="669710" y="4168668"/>
                  <a:pt x="670774" y="4171464"/>
                  <a:pt x="673304" y="4173993"/>
                </a:cubicBezTo>
                <a:cubicBezTo>
                  <a:pt x="674901" y="4175592"/>
                  <a:pt x="677430" y="4177455"/>
                  <a:pt x="683287" y="4177455"/>
                </a:cubicBezTo>
                <a:cubicBezTo>
                  <a:pt x="685284" y="4177455"/>
                  <a:pt x="687148" y="4177056"/>
                  <a:pt x="688612" y="4176657"/>
                </a:cubicBezTo>
                <a:cubicBezTo>
                  <a:pt x="690076" y="4176124"/>
                  <a:pt x="691408" y="4175192"/>
                  <a:pt x="692339" y="4174260"/>
                </a:cubicBezTo>
                <a:cubicBezTo>
                  <a:pt x="693404" y="4173062"/>
                  <a:pt x="694336" y="4171730"/>
                  <a:pt x="695002" y="4170000"/>
                </a:cubicBezTo>
                <a:cubicBezTo>
                  <a:pt x="695667" y="4168402"/>
                  <a:pt x="696067" y="4166539"/>
                  <a:pt x="696067" y="4164542"/>
                </a:cubicBezTo>
                <a:cubicBezTo>
                  <a:pt x="696067" y="4162678"/>
                  <a:pt x="695667" y="4160948"/>
                  <a:pt x="695002" y="4159351"/>
                </a:cubicBezTo>
                <a:cubicBezTo>
                  <a:pt x="694336" y="4157620"/>
                  <a:pt x="693404" y="4156289"/>
                  <a:pt x="692339" y="4155091"/>
                </a:cubicBezTo>
                <a:cubicBezTo>
                  <a:pt x="691274" y="4154026"/>
                  <a:pt x="689943" y="4153094"/>
                  <a:pt x="688346" y="4152428"/>
                </a:cubicBezTo>
                <a:cubicBezTo>
                  <a:pt x="686882" y="4151763"/>
                  <a:pt x="685284" y="4151497"/>
                  <a:pt x="683287" y="4151497"/>
                </a:cubicBezTo>
                <a:close/>
                <a:moveTo>
                  <a:pt x="465645" y="4151497"/>
                </a:moveTo>
                <a:cubicBezTo>
                  <a:pt x="459787" y="4151497"/>
                  <a:pt x="457259" y="4153493"/>
                  <a:pt x="455662" y="4155091"/>
                </a:cubicBezTo>
                <a:cubicBezTo>
                  <a:pt x="453131" y="4157753"/>
                  <a:pt x="452068" y="4160549"/>
                  <a:pt x="452068" y="4164542"/>
                </a:cubicBezTo>
                <a:cubicBezTo>
                  <a:pt x="452068" y="4168668"/>
                  <a:pt x="453131" y="4171464"/>
                  <a:pt x="455662" y="4173993"/>
                </a:cubicBezTo>
                <a:cubicBezTo>
                  <a:pt x="457259" y="4175592"/>
                  <a:pt x="459787" y="4177455"/>
                  <a:pt x="465645" y="4177455"/>
                </a:cubicBezTo>
                <a:cubicBezTo>
                  <a:pt x="467642" y="4177455"/>
                  <a:pt x="469506" y="4177056"/>
                  <a:pt x="470970" y="4176657"/>
                </a:cubicBezTo>
                <a:cubicBezTo>
                  <a:pt x="472434" y="4176124"/>
                  <a:pt x="473765" y="4175192"/>
                  <a:pt x="474697" y="4174260"/>
                </a:cubicBezTo>
                <a:cubicBezTo>
                  <a:pt x="475762" y="4173062"/>
                  <a:pt x="476694" y="4171730"/>
                  <a:pt x="477360" y="4170000"/>
                </a:cubicBezTo>
                <a:cubicBezTo>
                  <a:pt x="478025" y="4168402"/>
                  <a:pt x="478425" y="4166539"/>
                  <a:pt x="478425" y="4164542"/>
                </a:cubicBezTo>
                <a:cubicBezTo>
                  <a:pt x="478425" y="4162678"/>
                  <a:pt x="478025" y="4160948"/>
                  <a:pt x="477360" y="4159351"/>
                </a:cubicBezTo>
                <a:cubicBezTo>
                  <a:pt x="476694" y="4157620"/>
                  <a:pt x="475762" y="4156289"/>
                  <a:pt x="474697" y="4155091"/>
                </a:cubicBezTo>
                <a:cubicBezTo>
                  <a:pt x="473632" y="4154026"/>
                  <a:pt x="472301" y="4153094"/>
                  <a:pt x="470704" y="4152428"/>
                </a:cubicBezTo>
                <a:cubicBezTo>
                  <a:pt x="469240" y="4151763"/>
                  <a:pt x="467642" y="4151497"/>
                  <a:pt x="465645" y="4151497"/>
                </a:cubicBezTo>
                <a:close/>
                <a:moveTo>
                  <a:pt x="248002" y="4151497"/>
                </a:moveTo>
                <a:cubicBezTo>
                  <a:pt x="242145" y="4151497"/>
                  <a:pt x="239617" y="4153493"/>
                  <a:pt x="238020" y="4155091"/>
                </a:cubicBezTo>
                <a:cubicBezTo>
                  <a:pt x="235490" y="4157753"/>
                  <a:pt x="234426" y="4160549"/>
                  <a:pt x="234426" y="4164542"/>
                </a:cubicBezTo>
                <a:cubicBezTo>
                  <a:pt x="234426" y="4168668"/>
                  <a:pt x="235490" y="4171464"/>
                  <a:pt x="238020" y="4173993"/>
                </a:cubicBezTo>
                <a:cubicBezTo>
                  <a:pt x="239617" y="4175592"/>
                  <a:pt x="242145" y="4177455"/>
                  <a:pt x="248002" y="4177455"/>
                </a:cubicBezTo>
                <a:cubicBezTo>
                  <a:pt x="250132" y="4177455"/>
                  <a:pt x="251863" y="4177056"/>
                  <a:pt x="253327" y="4176657"/>
                </a:cubicBezTo>
                <a:cubicBezTo>
                  <a:pt x="254791" y="4176124"/>
                  <a:pt x="256122" y="4175192"/>
                  <a:pt x="257054" y="4174260"/>
                </a:cubicBezTo>
                <a:cubicBezTo>
                  <a:pt x="258119" y="4173062"/>
                  <a:pt x="259051" y="4171730"/>
                  <a:pt x="259717" y="4170000"/>
                </a:cubicBezTo>
                <a:cubicBezTo>
                  <a:pt x="260382" y="4168402"/>
                  <a:pt x="260782" y="4166539"/>
                  <a:pt x="260782" y="4164542"/>
                </a:cubicBezTo>
                <a:cubicBezTo>
                  <a:pt x="260782" y="4162678"/>
                  <a:pt x="260382" y="4160948"/>
                  <a:pt x="259717" y="4159351"/>
                </a:cubicBezTo>
                <a:cubicBezTo>
                  <a:pt x="259051" y="4157620"/>
                  <a:pt x="258119" y="4156289"/>
                  <a:pt x="257054" y="4155091"/>
                </a:cubicBezTo>
                <a:cubicBezTo>
                  <a:pt x="255989" y="4154026"/>
                  <a:pt x="254658" y="4153094"/>
                  <a:pt x="253061" y="4152428"/>
                </a:cubicBezTo>
                <a:cubicBezTo>
                  <a:pt x="251596" y="4151763"/>
                  <a:pt x="249999" y="4151497"/>
                  <a:pt x="248002" y="4151497"/>
                </a:cubicBezTo>
                <a:close/>
                <a:moveTo>
                  <a:pt x="30360" y="4151497"/>
                </a:moveTo>
                <a:cubicBezTo>
                  <a:pt x="24503" y="4151497"/>
                  <a:pt x="21974" y="4153493"/>
                  <a:pt x="20377" y="4155091"/>
                </a:cubicBezTo>
                <a:cubicBezTo>
                  <a:pt x="17847" y="4157753"/>
                  <a:pt x="16783" y="4160549"/>
                  <a:pt x="16783" y="4164542"/>
                </a:cubicBezTo>
                <a:cubicBezTo>
                  <a:pt x="16783" y="4168668"/>
                  <a:pt x="17847" y="4171464"/>
                  <a:pt x="20377" y="4173993"/>
                </a:cubicBezTo>
                <a:cubicBezTo>
                  <a:pt x="21974" y="4175592"/>
                  <a:pt x="24503" y="4177455"/>
                  <a:pt x="30360" y="4177455"/>
                </a:cubicBezTo>
                <a:cubicBezTo>
                  <a:pt x="32490" y="4177455"/>
                  <a:pt x="34221" y="4177056"/>
                  <a:pt x="35685" y="4176657"/>
                </a:cubicBezTo>
                <a:cubicBezTo>
                  <a:pt x="37149" y="4176124"/>
                  <a:pt x="38481" y="4175192"/>
                  <a:pt x="39412" y="4174260"/>
                </a:cubicBezTo>
                <a:cubicBezTo>
                  <a:pt x="40477" y="4173062"/>
                  <a:pt x="41409" y="4171730"/>
                  <a:pt x="42075" y="4170000"/>
                </a:cubicBezTo>
                <a:cubicBezTo>
                  <a:pt x="42740" y="4168402"/>
                  <a:pt x="43006" y="4166539"/>
                  <a:pt x="43006" y="4164542"/>
                </a:cubicBezTo>
                <a:cubicBezTo>
                  <a:pt x="43006" y="4162678"/>
                  <a:pt x="42740" y="4160948"/>
                  <a:pt x="42075" y="4159351"/>
                </a:cubicBezTo>
                <a:cubicBezTo>
                  <a:pt x="41409" y="4157620"/>
                  <a:pt x="40477" y="4156289"/>
                  <a:pt x="39412" y="4155091"/>
                </a:cubicBezTo>
                <a:cubicBezTo>
                  <a:pt x="38347" y="4154026"/>
                  <a:pt x="37016" y="4153094"/>
                  <a:pt x="35419" y="4152428"/>
                </a:cubicBezTo>
                <a:cubicBezTo>
                  <a:pt x="33955" y="4151763"/>
                  <a:pt x="32357" y="4151497"/>
                  <a:pt x="30360" y="4151497"/>
                </a:cubicBezTo>
                <a:close/>
                <a:moveTo>
                  <a:pt x="10475977" y="4134724"/>
                </a:moveTo>
                <a:cubicBezTo>
                  <a:pt x="10480237" y="4134724"/>
                  <a:pt x="10484230" y="4135523"/>
                  <a:pt x="10487824" y="4137253"/>
                </a:cubicBezTo>
                <a:cubicBezTo>
                  <a:pt x="10491419" y="4138851"/>
                  <a:pt x="10494613" y="4140980"/>
                  <a:pt x="10497143" y="4143643"/>
                </a:cubicBezTo>
                <a:cubicBezTo>
                  <a:pt x="10499672" y="4146305"/>
                  <a:pt x="10501801" y="4149500"/>
                  <a:pt x="10503266" y="4153094"/>
                </a:cubicBezTo>
                <a:cubicBezTo>
                  <a:pt x="10504730" y="4156688"/>
                  <a:pt x="10505529" y="4160415"/>
                  <a:pt x="10505529" y="4164542"/>
                </a:cubicBezTo>
                <a:cubicBezTo>
                  <a:pt x="10505529" y="4168668"/>
                  <a:pt x="10504730" y="4172662"/>
                  <a:pt x="10503266" y="4176257"/>
                </a:cubicBezTo>
                <a:cubicBezTo>
                  <a:pt x="10501669" y="4179851"/>
                  <a:pt x="10499672" y="4182913"/>
                  <a:pt x="10497143" y="4185576"/>
                </a:cubicBezTo>
                <a:cubicBezTo>
                  <a:pt x="10494480" y="4188238"/>
                  <a:pt x="10491419" y="4190368"/>
                  <a:pt x="10487824" y="4191832"/>
                </a:cubicBezTo>
                <a:cubicBezTo>
                  <a:pt x="10484098" y="4193296"/>
                  <a:pt x="10480237" y="4194095"/>
                  <a:pt x="10475977" y="4194095"/>
                </a:cubicBezTo>
                <a:cubicBezTo>
                  <a:pt x="10466924" y="4194095"/>
                  <a:pt x="10459736" y="4191166"/>
                  <a:pt x="10454145" y="4185576"/>
                </a:cubicBezTo>
                <a:cubicBezTo>
                  <a:pt x="10448554" y="4179984"/>
                  <a:pt x="10445759" y="4172795"/>
                  <a:pt x="10445759" y="4164409"/>
                </a:cubicBezTo>
                <a:cubicBezTo>
                  <a:pt x="10445759" y="4156156"/>
                  <a:pt x="10448554" y="4149100"/>
                  <a:pt x="10454145" y="4143376"/>
                </a:cubicBezTo>
                <a:cubicBezTo>
                  <a:pt x="10459603" y="4137653"/>
                  <a:pt x="10466924" y="4134724"/>
                  <a:pt x="10475977" y="4134724"/>
                </a:cubicBezTo>
                <a:close/>
                <a:moveTo>
                  <a:pt x="10258466" y="4134724"/>
                </a:moveTo>
                <a:cubicBezTo>
                  <a:pt x="10262592" y="4134724"/>
                  <a:pt x="10266586" y="4135523"/>
                  <a:pt x="10270313" y="4137253"/>
                </a:cubicBezTo>
                <a:cubicBezTo>
                  <a:pt x="10273907" y="4138851"/>
                  <a:pt x="10277101" y="4140980"/>
                  <a:pt x="10279631" y="4143643"/>
                </a:cubicBezTo>
                <a:cubicBezTo>
                  <a:pt x="10282160" y="4146305"/>
                  <a:pt x="10284290" y="4149500"/>
                  <a:pt x="10285754" y="4153094"/>
                </a:cubicBezTo>
                <a:cubicBezTo>
                  <a:pt x="10287218" y="4156688"/>
                  <a:pt x="10288017" y="4160415"/>
                  <a:pt x="10288017" y="4164542"/>
                </a:cubicBezTo>
                <a:cubicBezTo>
                  <a:pt x="10288017" y="4168668"/>
                  <a:pt x="10287218" y="4172662"/>
                  <a:pt x="10285754" y="4176257"/>
                </a:cubicBezTo>
                <a:cubicBezTo>
                  <a:pt x="10284157" y="4179851"/>
                  <a:pt x="10282160" y="4182913"/>
                  <a:pt x="10279631" y="4185576"/>
                </a:cubicBezTo>
                <a:cubicBezTo>
                  <a:pt x="10276969" y="4188238"/>
                  <a:pt x="10273907" y="4190368"/>
                  <a:pt x="10270313" y="4191832"/>
                </a:cubicBezTo>
                <a:cubicBezTo>
                  <a:pt x="10266586" y="4193296"/>
                  <a:pt x="10262725" y="4194095"/>
                  <a:pt x="10258466" y="4194095"/>
                </a:cubicBezTo>
                <a:cubicBezTo>
                  <a:pt x="10249546" y="4194095"/>
                  <a:pt x="10242224" y="4191166"/>
                  <a:pt x="10236633" y="4185576"/>
                </a:cubicBezTo>
                <a:cubicBezTo>
                  <a:pt x="10231043" y="4179984"/>
                  <a:pt x="10228247" y="4172795"/>
                  <a:pt x="10228247" y="4164409"/>
                </a:cubicBezTo>
                <a:cubicBezTo>
                  <a:pt x="10228247" y="4156156"/>
                  <a:pt x="10231043" y="4149100"/>
                  <a:pt x="10236633" y="4143376"/>
                </a:cubicBezTo>
                <a:cubicBezTo>
                  <a:pt x="10242092" y="4137653"/>
                  <a:pt x="10249413" y="4134724"/>
                  <a:pt x="10258466" y="4134724"/>
                </a:cubicBezTo>
                <a:close/>
                <a:moveTo>
                  <a:pt x="10040820" y="4134724"/>
                </a:moveTo>
                <a:cubicBezTo>
                  <a:pt x="10045080" y="4134724"/>
                  <a:pt x="10048941" y="4135523"/>
                  <a:pt x="10052534" y="4137253"/>
                </a:cubicBezTo>
                <a:cubicBezTo>
                  <a:pt x="10056129" y="4138851"/>
                  <a:pt x="10059323" y="4140980"/>
                  <a:pt x="10061852" y="4143643"/>
                </a:cubicBezTo>
                <a:cubicBezTo>
                  <a:pt x="10064382" y="4146305"/>
                  <a:pt x="10066512" y="4149500"/>
                  <a:pt x="10067976" y="4153094"/>
                </a:cubicBezTo>
                <a:cubicBezTo>
                  <a:pt x="10069440" y="4156688"/>
                  <a:pt x="10070239" y="4160415"/>
                  <a:pt x="10070239" y="4164542"/>
                </a:cubicBezTo>
                <a:cubicBezTo>
                  <a:pt x="10070239" y="4168668"/>
                  <a:pt x="10069440" y="4172662"/>
                  <a:pt x="10067976" y="4176257"/>
                </a:cubicBezTo>
                <a:cubicBezTo>
                  <a:pt x="10066379" y="4179851"/>
                  <a:pt x="10064382" y="4182913"/>
                  <a:pt x="10061852" y="4185576"/>
                </a:cubicBezTo>
                <a:cubicBezTo>
                  <a:pt x="10059190" y="4188238"/>
                  <a:pt x="10056129" y="4190368"/>
                  <a:pt x="10052534" y="4191832"/>
                </a:cubicBezTo>
                <a:cubicBezTo>
                  <a:pt x="10048941" y="4193296"/>
                  <a:pt x="10045080" y="4194095"/>
                  <a:pt x="10040820" y="4194095"/>
                </a:cubicBezTo>
                <a:cubicBezTo>
                  <a:pt x="10031767" y="4194095"/>
                  <a:pt x="10024579" y="4191166"/>
                  <a:pt x="10018988" y="4185576"/>
                </a:cubicBezTo>
                <a:cubicBezTo>
                  <a:pt x="10013397" y="4179984"/>
                  <a:pt x="10010602" y="4172795"/>
                  <a:pt x="10010602" y="4164409"/>
                </a:cubicBezTo>
                <a:cubicBezTo>
                  <a:pt x="10010602" y="4156156"/>
                  <a:pt x="10013397" y="4149100"/>
                  <a:pt x="10018988" y="4143376"/>
                </a:cubicBezTo>
                <a:cubicBezTo>
                  <a:pt x="10024579" y="4137653"/>
                  <a:pt x="10031767" y="4134724"/>
                  <a:pt x="10040820" y="4134724"/>
                </a:cubicBezTo>
                <a:close/>
                <a:moveTo>
                  <a:pt x="9823176" y="4134724"/>
                </a:moveTo>
                <a:cubicBezTo>
                  <a:pt x="9827435" y="4134724"/>
                  <a:pt x="9831296" y="4135523"/>
                  <a:pt x="9834890" y="4137253"/>
                </a:cubicBezTo>
                <a:cubicBezTo>
                  <a:pt x="9838617" y="4138851"/>
                  <a:pt x="9841679" y="4140980"/>
                  <a:pt x="9844208" y="4143643"/>
                </a:cubicBezTo>
                <a:cubicBezTo>
                  <a:pt x="9846737" y="4146305"/>
                  <a:pt x="9848867" y="4149500"/>
                  <a:pt x="9850331" y="4153094"/>
                </a:cubicBezTo>
                <a:cubicBezTo>
                  <a:pt x="9851796" y="4156688"/>
                  <a:pt x="9852595" y="4160415"/>
                  <a:pt x="9852595" y="4164542"/>
                </a:cubicBezTo>
                <a:cubicBezTo>
                  <a:pt x="9852595" y="4168668"/>
                  <a:pt x="9851796" y="4172662"/>
                  <a:pt x="9850331" y="4176257"/>
                </a:cubicBezTo>
                <a:cubicBezTo>
                  <a:pt x="9848734" y="4179851"/>
                  <a:pt x="9846737" y="4182913"/>
                  <a:pt x="9844208" y="4185576"/>
                </a:cubicBezTo>
                <a:cubicBezTo>
                  <a:pt x="9841546" y="4188238"/>
                  <a:pt x="9838484" y="4190368"/>
                  <a:pt x="9834890" y="4191832"/>
                </a:cubicBezTo>
                <a:cubicBezTo>
                  <a:pt x="9831296" y="4193296"/>
                  <a:pt x="9827435" y="4194095"/>
                  <a:pt x="9823176" y="4194095"/>
                </a:cubicBezTo>
                <a:cubicBezTo>
                  <a:pt x="9814123" y="4194095"/>
                  <a:pt x="9806935" y="4191166"/>
                  <a:pt x="9801343" y="4185576"/>
                </a:cubicBezTo>
                <a:cubicBezTo>
                  <a:pt x="9795753" y="4179984"/>
                  <a:pt x="9792957" y="4172795"/>
                  <a:pt x="9792957" y="4164409"/>
                </a:cubicBezTo>
                <a:cubicBezTo>
                  <a:pt x="9792957" y="4156156"/>
                  <a:pt x="9795753" y="4149100"/>
                  <a:pt x="9801343" y="4143376"/>
                </a:cubicBezTo>
                <a:cubicBezTo>
                  <a:pt x="9806935" y="4137653"/>
                  <a:pt x="9814123" y="4134724"/>
                  <a:pt x="9823176" y="4134724"/>
                </a:cubicBezTo>
                <a:close/>
                <a:moveTo>
                  <a:pt x="9605531" y="4134724"/>
                </a:moveTo>
                <a:cubicBezTo>
                  <a:pt x="9609790" y="4134724"/>
                  <a:pt x="9613784" y="4135523"/>
                  <a:pt x="9617245" y="4137253"/>
                </a:cubicBezTo>
                <a:cubicBezTo>
                  <a:pt x="9620839" y="4138851"/>
                  <a:pt x="9624033" y="4140980"/>
                  <a:pt x="9626562" y="4143643"/>
                </a:cubicBezTo>
                <a:cubicBezTo>
                  <a:pt x="9629092" y="4146305"/>
                  <a:pt x="9631222" y="4149500"/>
                  <a:pt x="9632686" y="4153094"/>
                </a:cubicBezTo>
                <a:cubicBezTo>
                  <a:pt x="9634150" y="4156688"/>
                  <a:pt x="9634949" y="4160415"/>
                  <a:pt x="9634949" y="4164542"/>
                </a:cubicBezTo>
                <a:cubicBezTo>
                  <a:pt x="9634949" y="4168668"/>
                  <a:pt x="9634150" y="4172662"/>
                  <a:pt x="9632686" y="4176257"/>
                </a:cubicBezTo>
                <a:cubicBezTo>
                  <a:pt x="9631089" y="4179851"/>
                  <a:pt x="9629092" y="4182913"/>
                  <a:pt x="9626562" y="4185576"/>
                </a:cubicBezTo>
                <a:cubicBezTo>
                  <a:pt x="9623901" y="4188238"/>
                  <a:pt x="9620839" y="4190368"/>
                  <a:pt x="9617245" y="4191832"/>
                </a:cubicBezTo>
                <a:cubicBezTo>
                  <a:pt x="9613651" y="4193296"/>
                  <a:pt x="9609790" y="4194095"/>
                  <a:pt x="9605531" y="4194095"/>
                </a:cubicBezTo>
                <a:cubicBezTo>
                  <a:pt x="9596610" y="4194095"/>
                  <a:pt x="9589289" y="4191166"/>
                  <a:pt x="9583698" y="4185576"/>
                </a:cubicBezTo>
                <a:cubicBezTo>
                  <a:pt x="9578108" y="4179984"/>
                  <a:pt x="9575312" y="4172795"/>
                  <a:pt x="9575312" y="4164409"/>
                </a:cubicBezTo>
                <a:cubicBezTo>
                  <a:pt x="9575312" y="4156156"/>
                  <a:pt x="9578108" y="4149100"/>
                  <a:pt x="9583698" y="4143376"/>
                </a:cubicBezTo>
                <a:cubicBezTo>
                  <a:pt x="9589289" y="4137653"/>
                  <a:pt x="9596478" y="4134724"/>
                  <a:pt x="9605531" y="4134724"/>
                </a:cubicBezTo>
                <a:close/>
                <a:moveTo>
                  <a:pt x="9387885" y="4134724"/>
                </a:moveTo>
                <a:cubicBezTo>
                  <a:pt x="9392145" y="4134724"/>
                  <a:pt x="9396138" y="4135523"/>
                  <a:pt x="9399599" y="4137253"/>
                </a:cubicBezTo>
                <a:cubicBezTo>
                  <a:pt x="9403194" y="4138851"/>
                  <a:pt x="9406388" y="4140980"/>
                  <a:pt x="9408917" y="4143643"/>
                </a:cubicBezTo>
                <a:cubicBezTo>
                  <a:pt x="9411447" y="4146305"/>
                  <a:pt x="9413576" y="4149500"/>
                  <a:pt x="9415041" y="4153094"/>
                </a:cubicBezTo>
                <a:cubicBezTo>
                  <a:pt x="9416505" y="4156688"/>
                  <a:pt x="9417304" y="4160415"/>
                  <a:pt x="9417304" y="4164542"/>
                </a:cubicBezTo>
                <a:cubicBezTo>
                  <a:pt x="9417304" y="4168668"/>
                  <a:pt x="9416505" y="4172662"/>
                  <a:pt x="9415041" y="4176257"/>
                </a:cubicBezTo>
                <a:cubicBezTo>
                  <a:pt x="9413444" y="4179851"/>
                  <a:pt x="9411447" y="4182913"/>
                  <a:pt x="9408917" y="4185576"/>
                </a:cubicBezTo>
                <a:cubicBezTo>
                  <a:pt x="9406255" y="4188238"/>
                  <a:pt x="9403194" y="4190368"/>
                  <a:pt x="9399599" y="4191832"/>
                </a:cubicBezTo>
                <a:cubicBezTo>
                  <a:pt x="9396005" y="4193296"/>
                  <a:pt x="9392145" y="4194095"/>
                  <a:pt x="9387885" y="4194095"/>
                </a:cubicBezTo>
                <a:cubicBezTo>
                  <a:pt x="9378965" y="4194095"/>
                  <a:pt x="9371644" y="4191166"/>
                  <a:pt x="9366053" y="4185576"/>
                </a:cubicBezTo>
                <a:cubicBezTo>
                  <a:pt x="9360462" y="4179984"/>
                  <a:pt x="9357667" y="4172795"/>
                  <a:pt x="9357667" y="4164409"/>
                </a:cubicBezTo>
                <a:cubicBezTo>
                  <a:pt x="9357667" y="4156156"/>
                  <a:pt x="9360462" y="4149100"/>
                  <a:pt x="9366053" y="4143376"/>
                </a:cubicBezTo>
                <a:cubicBezTo>
                  <a:pt x="9371644" y="4137653"/>
                  <a:pt x="9378832" y="4134724"/>
                  <a:pt x="9387885" y="4134724"/>
                </a:cubicBezTo>
                <a:close/>
                <a:moveTo>
                  <a:pt x="9170374" y="4134724"/>
                </a:moveTo>
                <a:cubicBezTo>
                  <a:pt x="9174500" y="4134724"/>
                  <a:pt x="9178494" y="4135523"/>
                  <a:pt x="9182088" y="4137253"/>
                </a:cubicBezTo>
                <a:cubicBezTo>
                  <a:pt x="9185682" y="4138851"/>
                  <a:pt x="9188876" y="4140980"/>
                  <a:pt x="9191405" y="4143643"/>
                </a:cubicBezTo>
                <a:cubicBezTo>
                  <a:pt x="9193935" y="4146305"/>
                  <a:pt x="9196065" y="4149500"/>
                  <a:pt x="9197529" y="4153094"/>
                </a:cubicBezTo>
                <a:cubicBezTo>
                  <a:pt x="9198993" y="4156688"/>
                  <a:pt x="9199792" y="4160415"/>
                  <a:pt x="9199792" y="4164542"/>
                </a:cubicBezTo>
                <a:cubicBezTo>
                  <a:pt x="9199792" y="4168668"/>
                  <a:pt x="9198993" y="4172662"/>
                  <a:pt x="9197529" y="4176257"/>
                </a:cubicBezTo>
                <a:cubicBezTo>
                  <a:pt x="9195932" y="4179851"/>
                  <a:pt x="9193935" y="4182913"/>
                  <a:pt x="9191405" y="4185576"/>
                </a:cubicBezTo>
                <a:cubicBezTo>
                  <a:pt x="9188744" y="4188238"/>
                  <a:pt x="9185682" y="4190368"/>
                  <a:pt x="9182088" y="4191832"/>
                </a:cubicBezTo>
                <a:cubicBezTo>
                  <a:pt x="9178494" y="4193296"/>
                  <a:pt x="9174633" y="4194095"/>
                  <a:pt x="9170374" y="4194095"/>
                </a:cubicBezTo>
                <a:cubicBezTo>
                  <a:pt x="9161453" y="4194095"/>
                  <a:pt x="9154132" y="4191166"/>
                  <a:pt x="9148541" y="4185576"/>
                </a:cubicBezTo>
                <a:cubicBezTo>
                  <a:pt x="9142951" y="4179984"/>
                  <a:pt x="9140155" y="4172795"/>
                  <a:pt x="9140155" y="4164409"/>
                </a:cubicBezTo>
                <a:cubicBezTo>
                  <a:pt x="9140155" y="4156156"/>
                  <a:pt x="9142951" y="4149100"/>
                  <a:pt x="9148541" y="4143376"/>
                </a:cubicBezTo>
                <a:cubicBezTo>
                  <a:pt x="9154132" y="4137653"/>
                  <a:pt x="9161321" y="4134724"/>
                  <a:pt x="9170374" y="4134724"/>
                </a:cubicBezTo>
                <a:close/>
                <a:moveTo>
                  <a:pt x="8952728" y="4134724"/>
                </a:moveTo>
                <a:cubicBezTo>
                  <a:pt x="8956988" y="4134724"/>
                  <a:pt x="8960849" y="4135523"/>
                  <a:pt x="8964442" y="4137253"/>
                </a:cubicBezTo>
                <a:cubicBezTo>
                  <a:pt x="8968037" y="4138851"/>
                  <a:pt x="8971231" y="4140980"/>
                  <a:pt x="8973760" y="4143643"/>
                </a:cubicBezTo>
                <a:cubicBezTo>
                  <a:pt x="8976290" y="4146305"/>
                  <a:pt x="8978419" y="4149500"/>
                  <a:pt x="8979884" y="4153094"/>
                </a:cubicBezTo>
                <a:cubicBezTo>
                  <a:pt x="8981348" y="4156688"/>
                  <a:pt x="8982147" y="4160415"/>
                  <a:pt x="8982147" y="4164542"/>
                </a:cubicBezTo>
                <a:cubicBezTo>
                  <a:pt x="8982147" y="4168668"/>
                  <a:pt x="8981348" y="4172662"/>
                  <a:pt x="8979884" y="4176257"/>
                </a:cubicBezTo>
                <a:cubicBezTo>
                  <a:pt x="8978287" y="4179851"/>
                  <a:pt x="8976290" y="4182913"/>
                  <a:pt x="8973760" y="4185576"/>
                </a:cubicBezTo>
                <a:cubicBezTo>
                  <a:pt x="8971098" y="4188238"/>
                  <a:pt x="8968037" y="4190368"/>
                  <a:pt x="8964442" y="4191832"/>
                </a:cubicBezTo>
                <a:cubicBezTo>
                  <a:pt x="8960849" y="4193296"/>
                  <a:pt x="8956988" y="4194095"/>
                  <a:pt x="8952728" y="4194095"/>
                </a:cubicBezTo>
                <a:cubicBezTo>
                  <a:pt x="8943808" y="4194095"/>
                  <a:pt x="8936487" y="4191166"/>
                  <a:pt x="8930896" y="4185576"/>
                </a:cubicBezTo>
                <a:cubicBezTo>
                  <a:pt x="8925305" y="4179984"/>
                  <a:pt x="8922510" y="4172795"/>
                  <a:pt x="8922510" y="4164409"/>
                </a:cubicBezTo>
                <a:cubicBezTo>
                  <a:pt x="8922510" y="4156156"/>
                  <a:pt x="8925305" y="4149100"/>
                  <a:pt x="8930896" y="4143376"/>
                </a:cubicBezTo>
                <a:cubicBezTo>
                  <a:pt x="8936487" y="4137653"/>
                  <a:pt x="8943675" y="4134724"/>
                  <a:pt x="8952728" y="4134724"/>
                </a:cubicBezTo>
                <a:close/>
                <a:moveTo>
                  <a:pt x="8735083" y="4134724"/>
                </a:moveTo>
                <a:cubicBezTo>
                  <a:pt x="8739342" y="4134724"/>
                  <a:pt x="8743203" y="4135523"/>
                  <a:pt x="8746797" y="4137253"/>
                </a:cubicBezTo>
                <a:cubicBezTo>
                  <a:pt x="8750391" y="4138851"/>
                  <a:pt x="8753586" y="4140980"/>
                  <a:pt x="8756115" y="4143643"/>
                </a:cubicBezTo>
                <a:cubicBezTo>
                  <a:pt x="8758644" y="4146305"/>
                  <a:pt x="8760774" y="4149500"/>
                  <a:pt x="8762238" y="4153094"/>
                </a:cubicBezTo>
                <a:cubicBezTo>
                  <a:pt x="8763702" y="4156688"/>
                  <a:pt x="8764502" y="4160415"/>
                  <a:pt x="8764502" y="4164542"/>
                </a:cubicBezTo>
                <a:cubicBezTo>
                  <a:pt x="8764502" y="4168668"/>
                  <a:pt x="8763702" y="4172662"/>
                  <a:pt x="8762238" y="4176257"/>
                </a:cubicBezTo>
                <a:cubicBezTo>
                  <a:pt x="8760641" y="4179851"/>
                  <a:pt x="8758644" y="4182913"/>
                  <a:pt x="8756115" y="4185576"/>
                </a:cubicBezTo>
                <a:cubicBezTo>
                  <a:pt x="8753453" y="4188238"/>
                  <a:pt x="8750391" y="4190368"/>
                  <a:pt x="8746797" y="4191832"/>
                </a:cubicBezTo>
                <a:cubicBezTo>
                  <a:pt x="8743203" y="4193296"/>
                  <a:pt x="8739342" y="4194095"/>
                  <a:pt x="8735083" y="4194095"/>
                </a:cubicBezTo>
                <a:cubicBezTo>
                  <a:pt x="8726030" y="4194095"/>
                  <a:pt x="8718841" y="4191166"/>
                  <a:pt x="8713250" y="4185576"/>
                </a:cubicBezTo>
                <a:cubicBezTo>
                  <a:pt x="8707660" y="4179984"/>
                  <a:pt x="8704864" y="4172795"/>
                  <a:pt x="8704864" y="4164409"/>
                </a:cubicBezTo>
                <a:cubicBezTo>
                  <a:pt x="8704864" y="4156156"/>
                  <a:pt x="8707660" y="4149100"/>
                  <a:pt x="8713250" y="4143376"/>
                </a:cubicBezTo>
                <a:cubicBezTo>
                  <a:pt x="8718841" y="4137653"/>
                  <a:pt x="8726030" y="4134724"/>
                  <a:pt x="8735083" y="4134724"/>
                </a:cubicBezTo>
                <a:close/>
                <a:moveTo>
                  <a:pt x="8517438" y="4134724"/>
                </a:moveTo>
                <a:cubicBezTo>
                  <a:pt x="8521698" y="4134724"/>
                  <a:pt x="8525559" y="4135523"/>
                  <a:pt x="8529152" y="4137253"/>
                </a:cubicBezTo>
                <a:cubicBezTo>
                  <a:pt x="8532880" y="4138851"/>
                  <a:pt x="8535941" y="4140980"/>
                  <a:pt x="8538470" y="4143643"/>
                </a:cubicBezTo>
                <a:cubicBezTo>
                  <a:pt x="8541000" y="4146305"/>
                  <a:pt x="8543130" y="4149500"/>
                  <a:pt x="8544594" y="4153094"/>
                </a:cubicBezTo>
                <a:cubicBezTo>
                  <a:pt x="8546058" y="4156688"/>
                  <a:pt x="8546857" y="4160415"/>
                  <a:pt x="8546857" y="4164542"/>
                </a:cubicBezTo>
                <a:cubicBezTo>
                  <a:pt x="8546857" y="4168668"/>
                  <a:pt x="8546058" y="4172662"/>
                  <a:pt x="8544594" y="4176257"/>
                </a:cubicBezTo>
                <a:cubicBezTo>
                  <a:pt x="8542997" y="4179851"/>
                  <a:pt x="8541000" y="4182913"/>
                  <a:pt x="8538470" y="4185576"/>
                </a:cubicBezTo>
                <a:cubicBezTo>
                  <a:pt x="8535808" y="4188238"/>
                  <a:pt x="8532747" y="4190368"/>
                  <a:pt x="8529152" y="4191832"/>
                </a:cubicBezTo>
                <a:cubicBezTo>
                  <a:pt x="8525559" y="4193296"/>
                  <a:pt x="8521698" y="4194095"/>
                  <a:pt x="8517438" y="4194095"/>
                </a:cubicBezTo>
                <a:cubicBezTo>
                  <a:pt x="8508385" y="4194095"/>
                  <a:pt x="8501197" y="4191166"/>
                  <a:pt x="8495606" y="4185576"/>
                </a:cubicBezTo>
                <a:cubicBezTo>
                  <a:pt x="8490015" y="4179984"/>
                  <a:pt x="8487220" y="4172795"/>
                  <a:pt x="8487220" y="4164409"/>
                </a:cubicBezTo>
                <a:cubicBezTo>
                  <a:pt x="8487220" y="4156156"/>
                  <a:pt x="8490015" y="4149100"/>
                  <a:pt x="8495606" y="4143376"/>
                </a:cubicBezTo>
                <a:cubicBezTo>
                  <a:pt x="8501197" y="4137653"/>
                  <a:pt x="8508385" y="4134724"/>
                  <a:pt x="8517438" y="4134724"/>
                </a:cubicBezTo>
                <a:close/>
                <a:moveTo>
                  <a:pt x="8299793" y="4134724"/>
                </a:moveTo>
                <a:cubicBezTo>
                  <a:pt x="8304052" y="4134724"/>
                  <a:pt x="8308046" y="4135523"/>
                  <a:pt x="8311507" y="4137253"/>
                </a:cubicBezTo>
                <a:cubicBezTo>
                  <a:pt x="8315235" y="4138851"/>
                  <a:pt x="8318296" y="4140980"/>
                  <a:pt x="8320825" y="4143643"/>
                </a:cubicBezTo>
                <a:cubicBezTo>
                  <a:pt x="8323354" y="4146305"/>
                  <a:pt x="8325484" y="4149500"/>
                  <a:pt x="8326948" y="4153094"/>
                </a:cubicBezTo>
                <a:cubicBezTo>
                  <a:pt x="8328413" y="4156688"/>
                  <a:pt x="8329212" y="4160415"/>
                  <a:pt x="8329212" y="4164542"/>
                </a:cubicBezTo>
                <a:cubicBezTo>
                  <a:pt x="8329212" y="4168668"/>
                  <a:pt x="8328413" y="4172662"/>
                  <a:pt x="8326948" y="4176257"/>
                </a:cubicBezTo>
                <a:cubicBezTo>
                  <a:pt x="8325351" y="4179851"/>
                  <a:pt x="8323354" y="4182913"/>
                  <a:pt x="8320825" y="4185576"/>
                </a:cubicBezTo>
                <a:cubicBezTo>
                  <a:pt x="8318163" y="4188238"/>
                  <a:pt x="8315101" y="4190368"/>
                  <a:pt x="8311507" y="4191832"/>
                </a:cubicBezTo>
                <a:cubicBezTo>
                  <a:pt x="8307913" y="4193296"/>
                  <a:pt x="8304052" y="4194095"/>
                  <a:pt x="8299793" y="4194095"/>
                </a:cubicBezTo>
                <a:cubicBezTo>
                  <a:pt x="8290874" y="4194095"/>
                  <a:pt x="8283553" y="4191166"/>
                  <a:pt x="8277960" y="4185576"/>
                </a:cubicBezTo>
                <a:cubicBezTo>
                  <a:pt x="8272370" y="4179984"/>
                  <a:pt x="8269574" y="4172795"/>
                  <a:pt x="8269574" y="4164409"/>
                </a:cubicBezTo>
                <a:cubicBezTo>
                  <a:pt x="8269574" y="4156156"/>
                  <a:pt x="8272370" y="4149100"/>
                  <a:pt x="8277960" y="4143376"/>
                </a:cubicBezTo>
                <a:cubicBezTo>
                  <a:pt x="8283553" y="4137653"/>
                  <a:pt x="8290741" y="4134724"/>
                  <a:pt x="8299793" y="4134724"/>
                </a:cubicBezTo>
                <a:close/>
                <a:moveTo>
                  <a:pt x="8082281" y="4134724"/>
                </a:moveTo>
                <a:cubicBezTo>
                  <a:pt x="8086407" y="4134724"/>
                  <a:pt x="8090401" y="4135523"/>
                  <a:pt x="8094127" y="4137253"/>
                </a:cubicBezTo>
                <a:cubicBezTo>
                  <a:pt x="8097855" y="4138851"/>
                  <a:pt x="8100916" y="4140980"/>
                  <a:pt x="8103446" y="4143643"/>
                </a:cubicBezTo>
                <a:cubicBezTo>
                  <a:pt x="8105975" y="4146305"/>
                  <a:pt x="8108104" y="4149500"/>
                  <a:pt x="8109569" y="4153094"/>
                </a:cubicBezTo>
                <a:cubicBezTo>
                  <a:pt x="8111033" y="4156688"/>
                  <a:pt x="8111832" y="4160415"/>
                  <a:pt x="8111832" y="4164542"/>
                </a:cubicBezTo>
                <a:cubicBezTo>
                  <a:pt x="8111832" y="4168668"/>
                  <a:pt x="8111033" y="4172662"/>
                  <a:pt x="8109569" y="4176257"/>
                </a:cubicBezTo>
                <a:cubicBezTo>
                  <a:pt x="8107972" y="4179851"/>
                  <a:pt x="8105975" y="4182913"/>
                  <a:pt x="8103446" y="4185576"/>
                </a:cubicBezTo>
                <a:cubicBezTo>
                  <a:pt x="8100783" y="4188238"/>
                  <a:pt x="8097722" y="4190368"/>
                  <a:pt x="8094127" y="4191832"/>
                </a:cubicBezTo>
                <a:cubicBezTo>
                  <a:pt x="8090401" y="4193296"/>
                  <a:pt x="8086540" y="4194095"/>
                  <a:pt x="8082281" y="4194095"/>
                </a:cubicBezTo>
                <a:cubicBezTo>
                  <a:pt x="8073361" y="4194095"/>
                  <a:pt x="8066040" y="4191166"/>
                  <a:pt x="8060448" y="4185576"/>
                </a:cubicBezTo>
                <a:cubicBezTo>
                  <a:pt x="8054857" y="4179984"/>
                  <a:pt x="8052062" y="4172795"/>
                  <a:pt x="8052062" y="4164409"/>
                </a:cubicBezTo>
                <a:cubicBezTo>
                  <a:pt x="8052062" y="4156156"/>
                  <a:pt x="8054857" y="4149100"/>
                  <a:pt x="8060448" y="4143376"/>
                </a:cubicBezTo>
                <a:cubicBezTo>
                  <a:pt x="8066040" y="4137653"/>
                  <a:pt x="8073228" y="4134724"/>
                  <a:pt x="8082281" y="4134724"/>
                </a:cubicBezTo>
                <a:close/>
                <a:moveTo>
                  <a:pt x="7864636" y="4134724"/>
                </a:moveTo>
                <a:cubicBezTo>
                  <a:pt x="7868762" y="4134724"/>
                  <a:pt x="7872756" y="4135523"/>
                  <a:pt x="7876483" y="4137253"/>
                </a:cubicBezTo>
                <a:cubicBezTo>
                  <a:pt x="7880210" y="4138851"/>
                  <a:pt x="7883272" y="4140980"/>
                  <a:pt x="7885802" y="4143643"/>
                </a:cubicBezTo>
                <a:cubicBezTo>
                  <a:pt x="7888331" y="4146305"/>
                  <a:pt x="7890460" y="4149500"/>
                  <a:pt x="7891924" y="4153094"/>
                </a:cubicBezTo>
                <a:cubicBezTo>
                  <a:pt x="7893389" y="4156688"/>
                  <a:pt x="7894188" y="4160415"/>
                  <a:pt x="7894188" y="4164542"/>
                </a:cubicBezTo>
                <a:cubicBezTo>
                  <a:pt x="7894188" y="4168668"/>
                  <a:pt x="7893389" y="4172662"/>
                  <a:pt x="7891924" y="4176257"/>
                </a:cubicBezTo>
                <a:cubicBezTo>
                  <a:pt x="7890327" y="4179851"/>
                  <a:pt x="7888331" y="4182913"/>
                  <a:pt x="7885802" y="4185576"/>
                </a:cubicBezTo>
                <a:cubicBezTo>
                  <a:pt x="7883139" y="4188238"/>
                  <a:pt x="7880078" y="4190368"/>
                  <a:pt x="7876483" y="4191832"/>
                </a:cubicBezTo>
                <a:cubicBezTo>
                  <a:pt x="7872756" y="4193296"/>
                  <a:pt x="7868895" y="4194095"/>
                  <a:pt x="7864636" y="4194095"/>
                </a:cubicBezTo>
                <a:cubicBezTo>
                  <a:pt x="7855717" y="4194095"/>
                  <a:pt x="7848396" y="4191166"/>
                  <a:pt x="7842803" y="4185576"/>
                </a:cubicBezTo>
                <a:cubicBezTo>
                  <a:pt x="7837213" y="4179984"/>
                  <a:pt x="7834417" y="4172795"/>
                  <a:pt x="7834417" y="4164409"/>
                </a:cubicBezTo>
                <a:cubicBezTo>
                  <a:pt x="7834417" y="4156156"/>
                  <a:pt x="7837213" y="4149100"/>
                  <a:pt x="7842803" y="4143376"/>
                </a:cubicBezTo>
                <a:cubicBezTo>
                  <a:pt x="7848396" y="4137653"/>
                  <a:pt x="7855584" y="4134724"/>
                  <a:pt x="7864636" y="4134724"/>
                </a:cubicBezTo>
                <a:close/>
                <a:moveTo>
                  <a:pt x="7646991" y="4134724"/>
                </a:moveTo>
                <a:cubicBezTo>
                  <a:pt x="7651250" y="4134724"/>
                  <a:pt x="7655111" y="4135523"/>
                  <a:pt x="7658705" y="4137253"/>
                </a:cubicBezTo>
                <a:cubicBezTo>
                  <a:pt x="7662432" y="4138851"/>
                  <a:pt x="7665493" y="4140980"/>
                  <a:pt x="7668022" y="4143643"/>
                </a:cubicBezTo>
                <a:cubicBezTo>
                  <a:pt x="7670552" y="4146305"/>
                  <a:pt x="7672682" y="4149500"/>
                  <a:pt x="7674146" y="4153094"/>
                </a:cubicBezTo>
                <a:cubicBezTo>
                  <a:pt x="7675610" y="4156688"/>
                  <a:pt x="7676409" y="4160415"/>
                  <a:pt x="7676409" y="4164542"/>
                </a:cubicBezTo>
                <a:cubicBezTo>
                  <a:pt x="7676409" y="4168668"/>
                  <a:pt x="7675610" y="4172662"/>
                  <a:pt x="7674146" y="4176257"/>
                </a:cubicBezTo>
                <a:cubicBezTo>
                  <a:pt x="7672549" y="4179851"/>
                  <a:pt x="7670552" y="4182913"/>
                  <a:pt x="7668022" y="4185576"/>
                </a:cubicBezTo>
                <a:cubicBezTo>
                  <a:pt x="7665361" y="4188238"/>
                  <a:pt x="7662299" y="4190368"/>
                  <a:pt x="7658705" y="4191832"/>
                </a:cubicBezTo>
                <a:cubicBezTo>
                  <a:pt x="7655111" y="4193296"/>
                  <a:pt x="7651250" y="4194095"/>
                  <a:pt x="7646991" y="4194095"/>
                </a:cubicBezTo>
                <a:cubicBezTo>
                  <a:pt x="7638071" y="4194095"/>
                  <a:pt x="7630750" y="4191166"/>
                  <a:pt x="7625158" y="4185576"/>
                </a:cubicBezTo>
                <a:cubicBezTo>
                  <a:pt x="7619568" y="4179984"/>
                  <a:pt x="7616772" y="4172795"/>
                  <a:pt x="7616772" y="4164409"/>
                </a:cubicBezTo>
                <a:cubicBezTo>
                  <a:pt x="7616772" y="4156156"/>
                  <a:pt x="7619568" y="4149100"/>
                  <a:pt x="7625158" y="4143376"/>
                </a:cubicBezTo>
                <a:cubicBezTo>
                  <a:pt x="7630750" y="4137653"/>
                  <a:pt x="7637939" y="4134724"/>
                  <a:pt x="7646991" y="4134724"/>
                </a:cubicBezTo>
                <a:close/>
                <a:moveTo>
                  <a:pt x="7429345" y="4134724"/>
                </a:moveTo>
                <a:cubicBezTo>
                  <a:pt x="7433605" y="4134724"/>
                  <a:pt x="7437466" y="4135523"/>
                  <a:pt x="7441059" y="4137253"/>
                </a:cubicBezTo>
                <a:cubicBezTo>
                  <a:pt x="7444787" y="4138851"/>
                  <a:pt x="7447848" y="4140980"/>
                  <a:pt x="7450377" y="4143643"/>
                </a:cubicBezTo>
                <a:cubicBezTo>
                  <a:pt x="7452907" y="4146305"/>
                  <a:pt x="7455036" y="4149500"/>
                  <a:pt x="7456501" y="4153094"/>
                </a:cubicBezTo>
                <a:cubicBezTo>
                  <a:pt x="7457965" y="4156688"/>
                  <a:pt x="7458764" y="4160415"/>
                  <a:pt x="7458764" y="4164542"/>
                </a:cubicBezTo>
                <a:cubicBezTo>
                  <a:pt x="7458764" y="4168668"/>
                  <a:pt x="7457965" y="4172662"/>
                  <a:pt x="7456501" y="4176257"/>
                </a:cubicBezTo>
                <a:cubicBezTo>
                  <a:pt x="7454904" y="4179851"/>
                  <a:pt x="7452907" y="4182913"/>
                  <a:pt x="7450377" y="4185576"/>
                </a:cubicBezTo>
                <a:cubicBezTo>
                  <a:pt x="7447715" y="4188238"/>
                  <a:pt x="7444654" y="4190368"/>
                  <a:pt x="7441059" y="4191832"/>
                </a:cubicBezTo>
                <a:cubicBezTo>
                  <a:pt x="7437466" y="4193296"/>
                  <a:pt x="7433605" y="4194095"/>
                  <a:pt x="7429345" y="4194095"/>
                </a:cubicBezTo>
                <a:cubicBezTo>
                  <a:pt x="7420426" y="4194095"/>
                  <a:pt x="7413105" y="4191166"/>
                  <a:pt x="7407513" y="4185576"/>
                </a:cubicBezTo>
                <a:cubicBezTo>
                  <a:pt x="7401922" y="4179984"/>
                  <a:pt x="7399127" y="4172795"/>
                  <a:pt x="7399127" y="4164409"/>
                </a:cubicBezTo>
                <a:cubicBezTo>
                  <a:pt x="7399127" y="4156156"/>
                  <a:pt x="7401922" y="4149100"/>
                  <a:pt x="7407513" y="4143376"/>
                </a:cubicBezTo>
                <a:cubicBezTo>
                  <a:pt x="7413105" y="4137653"/>
                  <a:pt x="7420293" y="4134724"/>
                  <a:pt x="7429345" y="4134724"/>
                </a:cubicBezTo>
                <a:close/>
                <a:moveTo>
                  <a:pt x="7211701" y="4134724"/>
                </a:moveTo>
                <a:cubicBezTo>
                  <a:pt x="7215960" y="4134724"/>
                  <a:pt x="7219954" y="4135523"/>
                  <a:pt x="7223415" y="4137253"/>
                </a:cubicBezTo>
                <a:cubicBezTo>
                  <a:pt x="7227142" y="4138851"/>
                  <a:pt x="7230204" y="4140980"/>
                  <a:pt x="7232733" y="4143643"/>
                </a:cubicBezTo>
                <a:cubicBezTo>
                  <a:pt x="7235262" y="4146305"/>
                  <a:pt x="7237392" y="4149500"/>
                  <a:pt x="7238856" y="4153094"/>
                </a:cubicBezTo>
                <a:cubicBezTo>
                  <a:pt x="7240321" y="4156688"/>
                  <a:pt x="7241120" y="4160415"/>
                  <a:pt x="7241120" y="4164542"/>
                </a:cubicBezTo>
                <a:cubicBezTo>
                  <a:pt x="7241120" y="4168668"/>
                  <a:pt x="7240321" y="4172662"/>
                  <a:pt x="7238856" y="4176257"/>
                </a:cubicBezTo>
                <a:cubicBezTo>
                  <a:pt x="7237259" y="4179851"/>
                  <a:pt x="7235262" y="4182913"/>
                  <a:pt x="7232733" y="4185576"/>
                </a:cubicBezTo>
                <a:cubicBezTo>
                  <a:pt x="7230071" y="4188238"/>
                  <a:pt x="7227009" y="4190368"/>
                  <a:pt x="7223415" y="4191832"/>
                </a:cubicBezTo>
                <a:cubicBezTo>
                  <a:pt x="7219821" y="4193296"/>
                  <a:pt x="7215960" y="4194095"/>
                  <a:pt x="7211701" y="4194095"/>
                </a:cubicBezTo>
                <a:cubicBezTo>
                  <a:pt x="7202782" y="4194095"/>
                  <a:pt x="7195460" y="4191166"/>
                  <a:pt x="7189868" y="4185576"/>
                </a:cubicBezTo>
                <a:cubicBezTo>
                  <a:pt x="7184278" y="4179984"/>
                  <a:pt x="7181482" y="4172795"/>
                  <a:pt x="7181482" y="4164409"/>
                </a:cubicBezTo>
                <a:cubicBezTo>
                  <a:pt x="7181482" y="4156156"/>
                  <a:pt x="7184278" y="4149100"/>
                  <a:pt x="7189868" y="4143376"/>
                </a:cubicBezTo>
                <a:cubicBezTo>
                  <a:pt x="7195460" y="4137653"/>
                  <a:pt x="7202649" y="4134724"/>
                  <a:pt x="7211701" y="4134724"/>
                </a:cubicBezTo>
                <a:close/>
                <a:moveTo>
                  <a:pt x="6994056" y="4134724"/>
                </a:moveTo>
                <a:cubicBezTo>
                  <a:pt x="6998315" y="4134724"/>
                  <a:pt x="7002309" y="4135523"/>
                  <a:pt x="7005769" y="4137253"/>
                </a:cubicBezTo>
                <a:cubicBezTo>
                  <a:pt x="7009497" y="4138851"/>
                  <a:pt x="7012558" y="4140980"/>
                  <a:pt x="7015087" y="4143643"/>
                </a:cubicBezTo>
                <a:cubicBezTo>
                  <a:pt x="7017617" y="4146305"/>
                  <a:pt x="7019747" y="4149500"/>
                  <a:pt x="7021211" y="4153094"/>
                </a:cubicBezTo>
                <a:cubicBezTo>
                  <a:pt x="7022675" y="4156688"/>
                  <a:pt x="7023474" y="4160415"/>
                  <a:pt x="7023474" y="4164542"/>
                </a:cubicBezTo>
                <a:cubicBezTo>
                  <a:pt x="7023474" y="4168668"/>
                  <a:pt x="7022675" y="4172662"/>
                  <a:pt x="7021211" y="4176257"/>
                </a:cubicBezTo>
                <a:cubicBezTo>
                  <a:pt x="7019614" y="4179851"/>
                  <a:pt x="7017617" y="4182913"/>
                  <a:pt x="7015087" y="4185576"/>
                </a:cubicBezTo>
                <a:cubicBezTo>
                  <a:pt x="7012425" y="4188238"/>
                  <a:pt x="7009364" y="4190368"/>
                  <a:pt x="7005769" y="4191832"/>
                </a:cubicBezTo>
                <a:cubicBezTo>
                  <a:pt x="7002176" y="4193296"/>
                  <a:pt x="6998315" y="4194095"/>
                  <a:pt x="6994056" y="4194095"/>
                </a:cubicBezTo>
                <a:cubicBezTo>
                  <a:pt x="6985136" y="4194095"/>
                  <a:pt x="6977815" y="4191166"/>
                  <a:pt x="6972223" y="4185576"/>
                </a:cubicBezTo>
                <a:cubicBezTo>
                  <a:pt x="6966632" y="4179984"/>
                  <a:pt x="6963837" y="4172795"/>
                  <a:pt x="6963837" y="4164409"/>
                </a:cubicBezTo>
                <a:cubicBezTo>
                  <a:pt x="6963837" y="4156156"/>
                  <a:pt x="6966632" y="4149100"/>
                  <a:pt x="6972223" y="4143376"/>
                </a:cubicBezTo>
                <a:cubicBezTo>
                  <a:pt x="6977815" y="4137653"/>
                  <a:pt x="6985003" y="4134724"/>
                  <a:pt x="6994056" y="4134724"/>
                </a:cubicBezTo>
                <a:close/>
                <a:moveTo>
                  <a:pt x="6776544" y="4134724"/>
                </a:moveTo>
                <a:cubicBezTo>
                  <a:pt x="6780670" y="4134724"/>
                  <a:pt x="6784664" y="4135523"/>
                  <a:pt x="6788258" y="4137253"/>
                </a:cubicBezTo>
                <a:cubicBezTo>
                  <a:pt x="6791985" y="4138851"/>
                  <a:pt x="6795047" y="4140980"/>
                  <a:pt x="6797576" y="4143643"/>
                </a:cubicBezTo>
                <a:cubicBezTo>
                  <a:pt x="6800105" y="4146305"/>
                  <a:pt x="6802235" y="4149500"/>
                  <a:pt x="6803699" y="4153094"/>
                </a:cubicBezTo>
                <a:cubicBezTo>
                  <a:pt x="6805164" y="4156688"/>
                  <a:pt x="6805963" y="4160415"/>
                  <a:pt x="6805963" y="4164542"/>
                </a:cubicBezTo>
                <a:cubicBezTo>
                  <a:pt x="6805963" y="4168668"/>
                  <a:pt x="6805164" y="4172662"/>
                  <a:pt x="6803699" y="4176257"/>
                </a:cubicBezTo>
                <a:cubicBezTo>
                  <a:pt x="6802102" y="4179851"/>
                  <a:pt x="6800105" y="4182913"/>
                  <a:pt x="6797576" y="4185576"/>
                </a:cubicBezTo>
                <a:cubicBezTo>
                  <a:pt x="6794914" y="4188238"/>
                  <a:pt x="6791852" y="4190368"/>
                  <a:pt x="6788258" y="4191832"/>
                </a:cubicBezTo>
                <a:cubicBezTo>
                  <a:pt x="6784664" y="4193296"/>
                  <a:pt x="6780803" y="4194095"/>
                  <a:pt x="6776544" y="4194095"/>
                </a:cubicBezTo>
                <a:cubicBezTo>
                  <a:pt x="6767625" y="4194095"/>
                  <a:pt x="6760303" y="4191166"/>
                  <a:pt x="6754711" y="4185576"/>
                </a:cubicBezTo>
                <a:cubicBezTo>
                  <a:pt x="6749121" y="4179984"/>
                  <a:pt x="6746325" y="4172795"/>
                  <a:pt x="6746325" y="4164409"/>
                </a:cubicBezTo>
                <a:cubicBezTo>
                  <a:pt x="6746325" y="4156156"/>
                  <a:pt x="6749121" y="4149100"/>
                  <a:pt x="6754711" y="4143376"/>
                </a:cubicBezTo>
                <a:cubicBezTo>
                  <a:pt x="6760303" y="4137653"/>
                  <a:pt x="6767492" y="4134724"/>
                  <a:pt x="6776544" y="4134724"/>
                </a:cubicBezTo>
                <a:close/>
                <a:moveTo>
                  <a:pt x="6558899" y="4134724"/>
                </a:moveTo>
                <a:cubicBezTo>
                  <a:pt x="6563158" y="4134724"/>
                  <a:pt x="6567019" y="4135523"/>
                  <a:pt x="6570612" y="4137253"/>
                </a:cubicBezTo>
                <a:cubicBezTo>
                  <a:pt x="6574340" y="4138851"/>
                  <a:pt x="6577401" y="4140980"/>
                  <a:pt x="6579930" y="4143643"/>
                </a:cubicBezTo>
                <a:cubicBezTo>
                  <a:pt x="6582460" y="4146305"/>
                  <a:pt x="6584590" y="4149500"/>
                  <a:pt x="6586054" y="4153094"/>
                </a:cubicBezTo>
                <a:cubicBezTo>
                  <a:pt x="6587518" y="4156688"/>
                  <a:pt x="6588317" y="4160415"/>
                  <a:pt x="6588317" y="4164542"/>
                </a:cubicBezTo>
                <a:cubicBezTo>
                  <a:pt x="6588317" y="4168668"/>
                  <a:pt x="6587518" y="4172662"/>
                  <a:pt x="6586054" y="4176257"/>
                </a:cubicBezTo>
                <a:cubicBezTo>
                  <a:pt x="6584457" y="4179851"/>
                  <a:pt x="6582460" y="4182913"/>
                  <a:pt x="6579930" y="4185576"/>
                </a:cubicBezTo>
                <a:cubicBezTo>
                  <a:pt x="6577268" y="4188238"/>
                  <a:pt x="6574207" y="4190368"/>
                  <a:pt x="6570612" y="4191832"/>
                </a:cubicBezTo>
                <a:cubicBezTo>
                  <a:pt x="6567019" y="4193296"/>
                  <a:pt x="6563158" y="4194095"/>
                  <a:pt x="6558899" y="4194095"/>
                </a:cubicBezTo>
                <a:cubicBezTo>
                  <a:pt x="6549979" y="4194095"/>
                  <a:pt x="6542658" y="4191166"/>
                  <a:pt x="6537066" y="4185576"/>
                </a:cubicBezTo>
                <a:cubicBezTo>
                  <a:pt x="6531476" y="4179984"/>
                  <a:pt x="6528680" y="4172795"/>
                  <a:pt x="6528680" y="4164409"/>
                </a:cubicBezTo>
                <a:cubicBezTo>
                  <a:pt x="6528680" y="4156156"/>
                  <a:pt x="6531476" y="4149100"/>
                  <a:pt x="6537066" y="4143376"/>
                </a:cubicBezTo>
                <a:cubicBezTo>
                  <a:pt x="6542658" y="4137653"/>
                  <a:pt x="6549846" y="4134724"/>
                  <a:pt x="6558899" y="4134724"/>
                </a:cubicBezTo>
                <a:close/>
                <a:moveTo>
                  <a:pt x="6341253" y="4134724"/>
                </a:moveTo>
                <a:cubicBezTo>
                  <a:pt x="6345513" y="4134724"/>
                  <a:pt x="6349373" y="4135523"/>
                  <a:pt x="6352968" y="4137253"/>
                </a:cubicBezTo>
                <a:cubicBezTo>
                  <a:pt x="6356695" y="4138851"/>
                  <a:pt x="6359757" y="4140980"/>
                  <a:pt x="6362286" y="4143643"/>
                </a:cubicBezTo>
                <a:cubicBezTo>
                  <a:pt x="6364815" y="4146305"/>
                  <a:pt x="6366945" y="4149500"/>
                  <a:pt x="6368409" y="4153094"/>
                </a:cubicBezTo>
                <a:cubicBezTo>
                  <a:pt x="6369874" y="4156688"/>
                  <a:pt x="6370672" y="4160415"/>
                  <a:pt x="6370672" y="4164542"/>
                </a:cubicBezTo>
                <a:cubicBezTo>
                  <a:pt x="6370672" y="4168668"/>
                  <a:pt x="6369874" y="4172662"/>
                  <a:pt x="6368409" y="4176257"/>
                </a:cubicBezTo>
                <a:cubicBezTo>
                  <a:pt x="6366811" y="4179851"/>
                  <a:pt x="6364815" y="4182913"/>
                  <a:pt x="6362286" y="4185576"/>
                </a:cubicBezTo>
                <a:cubicBezTo>
                  <a:pt x="6359623" y="4188238"/>
                  <a:pt x="6356562" y="4190368"/>
                  <a:pt x="6352968" y="4191832"/>
                </a:cubicBezTo>
                <a:cubicBezTo>
                  <a:pt x="6349373" y="4193296"/>
                  <a:pt x="6345513" y="4194095"/>
                  <a:pt x="6341253" y="4194095"/>
                </a:cubicBezTo>
                <a:cubicBezTo>
                  <a:pt x="6332335" y="4194095"/>
                  <a:pt x="6325013" y="4191166"/>
                  <a:pt x="6319421" y="4185576"/>
                </a:cubicBezTo>
                <a:cubicBezTo>
                  <a:pt x="6313830" y="4179984"/>
                  <a:pt x="6311035" y="4172795"/>
                  <a:pt x="6311035" y="4164409"/>
                </a:cubicBezTo>
                <a:cubicBezTo>
                  <a:pt x="6311035" y="4156156"/>
                  <a:pt x="6313830" y="4149100"/>
                  <a:pt x="6319421" y="4143376"/>
                </a:cubicBezTo>
                <a:cubicBezTo>
                  <a:pt x="6325013" y="4137653"/>
                  <a:pt x="6332201" y="4134724"/>
                  <a:pt x="6341253" y="4134724"/>
                </a:cubicBezTo>
                <a:close/>
                <a:moveTo>
                  <a:pt x="6123608" y="4134724"/>
                </a:moveTo>
                <a:cubicBezTo>
                  <a:pt x="6127867" y="4134724"/>
                  <a:pt x="6131728" y="4135523"/>
                  <a:pt x="6135322" y="4137253"/>
                </a:cubicBezTo>
                <a:cubicBezTo>
                  <a:pt x="6139049" y="4138851"/>
                  <a:pt x="6142111" y="4140980"/>
                  <a:pt x="6144640" y="4143643"/>
                </a:cubicBezTo>
                <a:cubicBezTo>
                  <a:pt x="6147169" y="4146305"/>
                  <a:pt x="6149299" y="4149500"/>
                  <a:pt x="6150763" y="4153094"/>
                </a:cubicBezTo>
                <a:cubicBezTo>
                  <a:pt x="6152228" y="4156688"/>
                  <a:pt x="6153026" y="4160415"/>
                  <a:pt x="6153026" y="4164542"/>
                </a:cubicBezTo>
                <a:cubicBezTo>
                  <a:pt x="6153026" y="4168668"/>
                  <a:pt x="6152228" y="4172662"/>
                  <a:pt x="6150763" y="4176257"/>
                </a:cubicBezTo>
                <a:cubicBezTo>
                  <a:pt x="6149299" y="4179851"/>
                  <a:pt x="6147169" y="4182913"/>
                  <a:pt x="6144640" y="4185576"/>
                </a:cubicBezTo>
                <a:cubicBezTo>
                  <a:pt x="6141977" y="4188238"/>
                  <a:pt x="6138916" y="4190368"/>
                  <a:pt x="6135322" y="4191832"/>
                </a:cubicBezTo>
                <a:cubicBezTo>
                  <a:pt x="6131728" y="4193296"/>
                  <a:pt x="6127867" y="4194095"/>
                  <a:pt x="6123608" y="4194095"/>
                </a:cubicBezTo>
                <a:cubicBezTo>
                  <a:pt x="6114689" y="4194095"/>
                  <a:pt x="6107367" y="4191166"/>
                  <a:pt x="6101775" y="4185576"/>
                </a:cubicBezTo>
                <a:cubicBezTo>
                  <a:pt x="6096184" y="4179984"/>
                  <a:pt x="6093389" y="4172795"/>
                  <a:pt x="6093389" y="4164409"/>
                </a:cubicBezTo>
                <a:cubicBezTo>
                  <a:pt x="6093389" y="4156156"/>
                  <a:pt x="6096184" y="4149100"/>
                  <a:pt x="6101775" y="4143376"/>
                </a:cubicBezTo>
                <a:cubicBezTo>
                  <a:pt x="6107367" y="4137653"/>
                  <a:pt x="6114555" y="4134724"/>
                  <a:pt x="6123608" y="4134724"/>
                </a:cubicBezTo>
                <a:close/>
                <a:moveTo>
                  <a:pt x="5905963" y="4134724"/>
                </a:moveTo>
                <a:cubicBezTo>
                  <a:pt x="5910222" y="4134724"/>
                  <a:pt x="5914216" y="4135523"/>
                  <a:pt x="5917677" y="4137253"/>
                </a:cubicBezTo>
                <a:cubicBezTo>
                  <a:pt x="5921404" y="4138851"/>
                  <a:pt x="5924466" y="4140980"/>
                  <a:pt x="5926995" y="4143643"/>
                </a:cubicBezTo>
                <a:cubicBezTo>
                  <a:pt x="5929524" y="4146305"/>
                  <a:pt x="5931654" y="4149500"/>
                  <a:pt x="5933118" y="4153094"/>
                </a:cubicBezTo>
                <a:cubicBezTo>
                  <a:pt x="5934583" y="4156688"/>
                  <a:pt x="5935381" y="4160415"/>
                  <a:pt x="5935381" y="4164542"/>
                </a:cubicBezTo>
                <a:cubicBezTo>
                  <a:pt x="5935381" y="4168668"/>
                  <a:pt x="5934583" y="4172662"/>
                  <a:pt x="5933118" y="4176257"/>
                </a:cubicBezTo>
                <a:cubicBezTo>
                  <a:pt x="5931654" y="4179851"/>
                  <a:pt x="5929524" y="4182913"/>
                  <a:pt x="5926995" y="4185576"/>
                </a:cubicBezTo>
                <a:cubicBezTo>
                  <a:pt x="5924333" y="4188238"/>
                  <a:pt x="5921271" y="4190368"/>
                  <a:pt x="5917677" y="4191832"/>
                </a:cubicBezTo>
                <a:cubicBezTo>
                  <a:pt x="5914083" y="4193296"/>
                  <a:pt x="5910222" y="4194095"/>
                  <a:pt x="5905963" y="4194095"/>
                </a:cubicBezTo>
                <a:cubicBezTo>
                  <a:pt x="5897044" y="4194095"/>
                  <a:pt x="5889722" y="4191166"/>
                  <a:pt x="5884130" y="4185576"/>
                </a:cubicBezTo>
                <a:cubicBezTo>
                  <a:pt x="5878540" y="4179984"/>
                  <a:pt x="5875744" y="4172795"/>
                  <a:pt x="5875744" y="4164409"/>
                </a:cubicBezTo>
                <a:cubicBezTo>
                  <a:pt x="5875744" y="4156156"/>
                  <a:pt x="5878540" y="4149100"/>
                  <a:pt x="5884130" y="4143376"/>
                </a:cubicBezTo>
                <a:cubicBezTo>
                  <a:pt x="5889722" y="4137653"/>
                  <a:pt x="5896910" y="4134724"/>
                  <a:pt x="5905963" y="4134724"/>
                </a:cubicBezTo>
                <a:close/>
                <a:moveTo>
                  <a:pt x="5688451" y="4134724"/>
                </a:moveTo>
                <a:cubicBezTo>
                  <a:pt x="5692577" y="4134724"/>
                  <a:pt x="5696571" y="4135523"/>
                  <a:pt x="5700165" y="4137253"/>
                </a:cubicBezTo>
                <a:cubicBezTo>
                  <a:pt x="5703892" y="4138851"/>
                  <a:pt x="5706954" y="4140980"/>
                  <a:pt x="5709483" y="4143643"/>
                </a:cubicBezTo>
                <a:cubicBezTo>
                  <a:pt x="5712012" y="4146305"/>
                  <a:pt x="5714142" y="4149500"/>
                  <a:pt x="5715606" y="4153094"/>
                </a:cubicBezTo>
                <a:cubicBezTo>
                  <a:pt x="5717071" y="4156688"/>
                  <a:pt x="5717869" y="4160415"/>
                  <a:pt x="5717869" y="4164542"/>
                </a:cubicBezTo>
                <a:cubicBezTo>
                  <a:pt x="5717869" y="4168668"/>
                  <a:pt x="5717071" y="4172662"/>
                  <a:pt x="5715606" y="4176257"/>
                </a:cubicBezTo>
                <a:cubicBezTo>
                  <a:pt x="5714142" y="4179851"/>
                  <a:pt x="5712012" y="4182913"/>
                  <a:pt x="5709483" y="4185576"/>
                </a:cubicBezTo>
                <a:cubicBezTo>
                  <a:pt x="5706820" y="4188238"/>
                  <a:pt x="5703759" y="4190368"/>
                  <a:pt x="5700165" y="4191832"/>
                </a:cubicBezTo>
                <a:cubicBezTo>
                  <a:pt x="5696571" y="4193296"/>
                  <a:pt x="5692710" y="4194095"/>
                  <a:pt x="5688451" y="4194095"/>
                </a:cubicBezTo>
                <a:cubicBezTo>
                  <a:pt x="5679532" y="4194095"/>
                  <a:pt x="5672210" y="4191166"/>
                  <a:pt x="5666618" y="4185576"/>
                </a:cubicBezTo>
                <a:cubicBezTo>
                  <a:pt x="5661028" y="4179984"/>
                  <a:pt x="5658232" y="4172795"/>
                  <a:pt x="5658232" y="4164409"/>
                </a:cubicBezTo>
                <a:cubicBezTo>
                  <a:pt x="5658232" y="4156156"/>
                  <a:pt x="5661028" y="4149100"/>
                  <a:pt x="5666618" y="4143376"/>
                </a:cubicBezTo>
                <a:cubicBezTo>
                  <a:pt x="5672210" y="4137653"/>
                  <a:pt x="5679398" y="4134724"/>
                  <a:pt x="5688451" y="4134724"/>
                </a:cubicBezTo>
                <a:close/>
                <a:moveTo>
                  <a:pt x="5470806" y="4134724"/>
                </a:moveTo>
                <a:cubicBezTo>
                  <a:pt x="5475065" y="4134724"/>
                  <a:pt x="5478926" y="4135523"/>
                  <a:pt x="5482520" y="4137253"/>
                </a:cubicBezTo>
                <a:cubicBezTo>
                  <a:pt x="5486247" y="4138851"/>
                  <a:pt x="5489309" y="4140980"/>
                  <a:pt x="5491838" y="4143643"/>
                </a:cubicBezTo>
                <a:cubicBezTo>
                  <a:pt x="5494367" y="4146305"/>
                  <a:pt x="5496497" y="4149500"/>
                  <a:pt x="5497961" y="4153094"/>
                </a:cubicBezTo>
                <a:cubicBezTo>
                  <a:pt x="5499426" y="4156688"/>
                  <a:pt x="5500224" y="4160415"/>
                  <a:pt x="5500224" y="4164542"/>
                </a:cubicBezTo>
                <a:cubicBezTo>
                  <a:pt x="5500224" y="4168668"/>
                  <a:pt x="5499426" y="4172662"/>
                  <a:pt x="5497961" y="4176257"/>
                </a:cubicBezTo>
                <a:cubicBezTo>
                  <a:pt x="5496497" y="4179851"/>
                  <a:pt x="5494367" y="4182913"/>
                  <a:pt x="5491838" y="4185576"/>
                </a:cubicBezTo>
                <a:cubicBezTo>
                  <a:pt x="5489176" y="4188238"/>
                  <a:pt x="5486114" y="4190368"/>
                  <a:pt x="5482520" y="4191832"/>
                </a:cubicBezTo>
                <a:cubicBezTo>
                  <a:pt x="5478926" y="4193296"/>
                  <a:pt x="5475065" y="4194095"/>
                  <a:pt x="5470806" y="4194095"/>
                </a:cubicBezTo>
                <a:cubicBezTo>
                  <a:pt x="5461887" y="4194095"/>
                  <a:pt x="5454565" y="4191166"/>
                  <a:pt x="5448973" y="4185576"/>
                </a:cubicBezTo>
                <a:cubicBezTo>
                  <a:pt x="5443383" y="4179984"/>
                  <a:pt x="5440587" y="4172795"/>
                  <a:pt x="5440587" y="4164409"/>
                </a:cubicBezTo>
                <a:cubicBezTo>
                  <a:pt x="5440587" y="4156156"/>
                  <a:pt x="5443383" y="4149100"/>
                  <a:pt x="5448973" y="4143376"/>
                </a:cubicBezTo>
                <a:cubicBezTo>
                  <a:pt x="5454565" y="4137653"/>
                  <a:pt x="5461754" y="4134724"/>
                  <a:pt x="5470806" y="4134724"/>
                </a:cubicBezTo>
                <a:close/>
                <a:moveTo>
                  <a:pt x="5253160" y="4134724"/>
                </a:moveTo>
                <a:cubicBezTo>
                  <a:pt x="5257420" y="4134724"/>
                  <a:pt x="5261280" y="4135523"/>
                  <a:pt x="5264875" y="4137253"/>
                </a:cubicBezTo>
                <a:cubicBezTo>
                  <a:pt x="5268602" y="4138851"/>
                  <a:pt x="5271664" y="4140980"/>
                  <a:pt x="5274192" y="4143643"/>
                </a:cubicBezTo>
                <a:cubicBezTo>
                  <a:pt x="5276722" y="4146305"/>
                  <a:pt x="5278852" y="4149500"/>
                  <a:pt x="5280316" y="4153094"/>
                </a:cubicBezTo>
                <a:cubicBezTo>
                  <a:pt x="5281780" y="4156688"/>
                  <a:pt x="5282579" y="4160415"/>
                  <a:pt x="5282579" y="4164542"/>
                </a:cubicBezTo>
                <a:cubicBezTo>
                  <a:pt x="5282579" y="4168668"/>
                  <a:pt x="5281780" y="4172662"/>
                  <a:pt x="5280316" y="4176257"/>
                </a:cubicBezTo>
                <a:cubicBezTo>
                  <a:pt x="5278852" y="4179851"/>
                  <a:pt x="5276722" y="4182913"/>
                  <a:pt x="5274192" y="4185576"/>
                </a:cubicBezTo>
                <a:cubicBezTo>
                  <a:pt x="5271664" y="4188238"/>
                  <a:pt x="5268469" y="4190368"/>
                  <a:pt x="5264875" y="4191832"/>
                </a:cubicBezTo>
                <a:cubicBezTo>
                  <a:pt x="5261280" y="4193296"/>
                  <a:pt x="5257420" y="4194095"/>
                  <a:pt x="5253160" y="4194095"/>
                </a:cubicBezTo>
                <a:cubicBezTo>
                  <a:pt x="5244241" y="4194095"/>
                  <a:pt x="5236920" y="4191166"/>
                  <a:pt x="5231328" y="4185576"/>
                </a:cubicBezTo>
                <a:cubicBezTo>
                  <a:pt x="5225737" y="4179984"/>
                  <a:pt x="5222942" y="4172795"/>
                  <a:pt x="5222942" y="4164409"/>
                </a:cubicBezTo>
                <a:cubicBezTo>
                  <a:pt x="5222942" y="4156156"/>
                  <a:pt x="5225737" y="4149100"/>
                  <a:pt x="5231328" y="4143376"/>
                </a:cubicBezTo>
                <a:cubicBezTo>
                  <a:pt x="5236920" y="4137653"/>
                  <a:pt x="5244108" y="4134724"/>
                  <a:pt x="5253160" y="4134724"/>
                </a:cubicBezTo>
                <a:close/>
                <a:moveTo>
                  <a:pt x="5035515" y="4134724"/>
                </a:moveTo>
                <a:cubicBezTo>
                  <a:pt x="5039775" y="4134724"/>
                  <a:pt x="5043636" y="4135523"/>
                  <a:pt x="5047230" y="4137253"/>
                </a:cubicBezTo>
                <a:cubicBezTo>
                  <a:pt x="5050957" y="4138851"/>
                  <a:pt x="5054019" y="4140980"/>
                  <a:pt x="5056548" y="4143643"/>
                </a:cubicBezTo>
                <a:cubicBezTo>
                  <a:pt x="5059077" y="4146305"/>
                  <a:pt x="5061207" y="4149500"/>
                  <a:pt x="5062671" y="4153094"/>
                </a:cubicBezTo>
                <a:cubicBezTo>
                  <a:pt x="5064135" y="4156688"/>
                  <a:pt x="5064934" y="4160415"/>
                  <a:pt x="5064934" y="4164542"/>
                </a:cubicBezTo>
                <a:cubicBezTo>
                  <a:pt x="5064934" y="4168668"/>
                  <a:pt x="5064135" y="4172662"/>
                  <a:pt x="5062671" y="4176257"/>
                </a:cubicBezTo>
                <a:cubicBezTo>
                  <a:pt x="5061207" y="4179851"/>
                  <a:pt x="5059077" y="4182913"/>
                  <a:pt x="5056548" y="4185576"/>
                </a:cubicBezTo>
                <a:cubicBezTo>
                  <a:pt x="5053885" y="4188238"/>
                  <a:pt x="5050824" y="4190368"/>
                  <a:pt x="5047230" y="4191832"/>
                </a:cubicBezTo>
                <a:cubicBezTo>
                  <a:pt x="5043636" y="4193296"/>
                  <a:pt x="5039775" y="4194095"/>
                  <a:pt x="5035515" y="4194095"/>
                </a:cubicBezTo>
                <a:cubicBezTo>
                  <a:pt x="5026597" y="4194095"/>
                  <a:pt x="5019275" y="4191166"/>
                  <a:pt x="5013683" y="4185576"/>
                </a:cubicBezTo>
                <a:cubicBezTo>
                  <a:pt x="5008092" y="4179984"/>
                  <a:pt x="5005297" y="4172795"/>
                  <a:pt x="5005297" y="4164409"/>
                </a:cubicBezTo>
                <a:cubicBezTo>
                  <a:pt x="5005297" y="4156156"/>
                  <a:pt x="5008092" y="4149100"/>
                  <a:pt x="5013683" y="4143376"/>
                </a:cubicBezTo>
                <a:cubicBezTo>
                  <a:pt x="5019275" y="4137653"/>
                  <a:pt x="5026463" y="4134724"/>
                  <a:pt x="5035515" y="4134724"/>
                </a:cubicBezTo>
                <a:close/>
                <a:moveTo>
                  <a:pt x="4817870" y="4134724"/>
                </a:moveTo>
                <a:cubicBezTo>
                  <a:pt x="4822130" y="4134724"/>
                  <a:pt x="4826124" y="4135523"/>
                  <a:pt x="4829585" y="4137253"/>
                </a:cubicBezTo>
                <a:cubicBezTo>
                  <a:pt x="4833312" y="4138851"/>
                  <a:pt x="4836374" y="4140980"/>
                  <a:pt x="4838903" y="4143643"/>
                </a:cubicBezTo>
                <a:cubicBezTo>
                  <a:pt x="4841432" y="4146305"/>
                  <a:pt x="4843562" y="4149500"/>
                  <a:pt x="4845026" y="4153094"/>
                </a:cubicBezTo>
                <a:cubicBezTo>
                  <a:pt x="4846491" y="4156688"/>
                  <a:pt x="4847289" y="4160415"/>
                  <a:pt x="4847289" y="4164542"/>
                </a:cubicBezTo>
                <a:cubicBezTo>
                  <a:pt x="4847289" y="4168668"/>
                  <a:pt x="4846491" y="4172662"/>
                  <a:pt x="4845026" y="4176257"/>
                </a:cubicBezTo>
                <a:cubicBezTo>
                  <a:pt x="4843562" y="4179851"/>
                  <a:pt x="4841432" y="4182913"/>
                  <a:pt x="4838903" y="4185576"/>
                </a:cubicBezTo>
                <a:cubicBezTo>
                  <a:pt x="4836240" y="4188238"/>
                  <a:pt x="4833179" y="4190368"/>
                  <a:pt x="4829585" y="4191832"/>
                </a:cubicBezTo>
                <a:cubicBezTo>
                  <a:pt x="4825991" y="4193296"/>
                  <a:pt x="4822130" y="4194095"/>
                  <a:pt x="4817870" y="4194095"/>
                </a:cubicBezTo>
                <a:cubicBezTo>
                  <a:pt x="4808952" y="4194095"/>
                  <a:pt x="4801630" y="4191166"/>
                  <a:pt x="4796038" y="4185576"/>
                </a:cubicBezTo>
                <a:cubicBezTo>
                  <a:pt x="4790447" y="4179984"/>
                  <a:pt x="4787652" y="4172795"/>
                  <a:pt x="4787652" y="4164409"/>
                </a:cubicBezTo>
                <a:cubicBezTo>
                  <a:pt x="4787652" y="4156156"/>
                  <a:pt x="4790447" y="4149100"/>
                  <a:pt x="4796038" y="4143376"/>
                </a:cubicBezTo>
                <a:cubicBezTo>
                  <a:pt x="4801630" y="4137653"/>
                  <a:pt x="4808818" y="4134724"/>
                  <a:pt x="4817870" y="4134724"/>
                </a:cubicBezTo>
                <a:close/>
                <a:moveTo>
                  <a:pt x="4600226" y="4134724"/>
                </a:moveTo>
                <a:cubicBezTo>
                  <a:pt x="4604485" y="4134724"/>
                  <a:pt x="4608479" y="4135523"/>
                  <a:pt x="4612073" y="4137253"/>
                </a:cubicBezTo>
                <a:cubicBezTo>
                  <a:pt x="4615800" y="4138851"/>
                  <a:pt x="4618862" y="4140980"/>
                  <a:pt x="4621391" y="4143643"/>
                </a:cubicBezTo>
                <a:cubicBezTo>
                  <a:pt x="4623920" y="4146305"/>
                  <a:pt x="4626050" y="4149500"/>
                  <a:pt x="4627514" y="4153094"/>
                </a:cubicBezTo>
                <a:cubicBezTo>
                  <a:pt x="4628978" y="4156688"/>
                  <a:pt x="4629777" y="4160415"/>
                  <a:pt x="4629777" y="4164542"/>
                </a:cubicBezTo>
                <a:cubicBezTo>
                  <a:pt x="4629777" y="4168668"/>
                  <a:pt x="4628978" y="4172662"/>
                  <a:pt x="4627514" y="4176257"/>
                </a:cubicBezTo>
                <a:cubicBezTo>
                  <a:pt x="4626050" y="4179851"/>
                  <a:pt x="4623920" y="4182913"/>
                  <a:pt x="4621391" y="4185576"/>
                </a:cubicBezTo>
                <a:cubicBezTo>
                  <a:pt x="4618729" y="4188238"/>
                  <a:pt x="4615667" y="4190368"/>
                  <a:pt x="4612073" y="4191832"/>
                </a:cubicBezTo>
                <a:cubicBezTo>
                  <a:pt x="4608346" y="4193296"/>
                  <a:pt x="4604485" y="4194095"/>
                  <a:pt x="4600226" y="4194095"/>
                </a:cubicBezTo>
                <a:cubicBezTo>
                  <a:pt x="4591173" y="4194095"/>
                  <a:pt x="4583985" y="4191166"/>
                  <a:pt x="4578393" y="4185576"/>
                </a:cubicBezTo>
                <a:cubicBezTo>
                  <a:pt x="4572803" y="4179984"/>
                  <a:pt x="4570007" y="4172795"/>
                  <a:pt x="4570007" y="4164409"/>
                </a:cubicBezTo>
                <a:cubicBezTo>
                  <a:pt x="4570007" y="4156156"/>
                  <a:pt x="4572803" y="4149100"/>
                  <a:pt x="4578393" y="4143376"/>
                </a:cubicBezTo>
                <a:cubicBezTo>
                  <a:pt x="4583985" y="4137653"/>
                  <a:pt x="4591173" y="4134724"/>
                  <a:pt x="4600226" y="4134724"/>
                </a:cubicBezTo>
                <a:close/>
                <a:moveTo>
                  <a:pt x="4382713" y="4134724"/>
                </a:moveTo>
                <a:cubicBezTo>
                  <a:pt x="4386840" y="4134724"/>
                  <a:pt x="4390834" y="4135523"/>
                  <a:pt x="4394428" y="4137253"/>
                </a:cubicBezTo>
                <a:cubicBezTo>
                  <a:pt x="4398155" y="4138851"/>
                  <a:pt x="4401217" y="4140980"/>
                  <a:pt x="4403746" y="4143643"/>
                </a:cubicBezTo>
                <a:cubicBezTo>
                  <a:pt x="4406275" y="4146305"/>
                  <a:pt x="4408405" y="4149500"/>
                  <a:pt x="4409869" y="4153094"/>
                </a:cubicBezTo>
                <a:cubicBezTo>
                  <a:pt x="4411334" y="4156688"/>
                  <a:pt x="4412132" y="4160415"/>
                  <a:pt x="4412132" y="4164542"/>
                </a:cubicBezTo>
                <a:cubicBezTo>
                  <a:pt x="4412132" y="4168668"/>
                  <a:pt x="4411334" y="4172662"/>
                  <a:pt x="4409869" y="4176257"/>
                </a:cubicBezTo>
                <a:cubicBezTo>
                  <a:pt x="4408405" y="4179851"/>
                  <a:pt x="4406275" y="4182913"/>
                  <a:pt x="4403746" y="4185576"/>
                </a:cubicBezTo>
                <a:cubicBezTo>
                  <a:pt x="4401083" y="4188238"/>
                  <a:pt x="4398022" y="4190368"/>
                  <a:pt x="4394428" y="4191832"/>
                </a:cubicBezTo>
                <a:cubicBezTo>
                  <a:pt x="4390834" y="4193296"/>
                  <a:pt x="4386973" y="4194095"/>
                  <a:pt x="4382713" y="4194095"/>
                </a:cubicBezTo>
                <a:cubicBezTo>
                  <a:pt x="4373661" y="4194095"/>
                  <a:pt x="4366473" y="4191166"/>
                  <a:pt x="4360881" y="4185576"/>
                </a:cubicBezTo>
                <a:cubicBezTo>
                  <a:pt x="4355290" y="4179984"/>
                  <a:pt x="4352495" y="4172795"/>
                  <a:pt x="4352495" y="4164409"/>
                </a:cubicBezTo>
                <a:cubicBezTo>
                  <a:pt x="4352495" y="4156156"/>
                  <a:pt x="4355290" y="4149100"/>
                  <a:pt x="4360881" y="4143376"/>
                </a:cubicBezTo>
                <a:cubicBezTo>
                  <a:pt x="4366473" y="4137653"/>
                  <a:pt x="4373661" y="4134724"/>
                  <a:pt x="4382713" y="4134724"/>
                </a:cubicBezTo>
                <a:close/>
                <a:moveTo>
                  <a:pt x="4165068" y="4134724"/>
                </a:moveTo>
                <a:cubicBezTo>
                  <a:pt x="4169327" y="4134724"/>
                  <a:pt x="4173188" y="4135523"/>
                  <a:pt x="4176782" y="4137253"/>
                </a:cubicBezTo>
                <a:cubicBezTo>
                  <a:pt x="4180509" y="4138851"/>
                  <a:pt x="4183571" y="4140980"/>
                  <a:pt x="4186100" y="4143643"/>
                </a:cubicBezTo>
                <a:cubicBezTo>
                  <a:pt x="4188629" y="4146305"/>
                  <a:pt x="4190759" y="4149500"/>
                  <a:pt x="4192223" y="4153094"/>
                </a:cubicBezTo>
                <a:cubicBezTo>
                  <a:pt x="4193688" y="4156688"/>
                  <a:pt x="4194486" y="4160415"/>
                  <a:pt x="4194486" y="4164542"/>
                </a:cubicBezTo>
                <a:cubicBezTo>
                  <a:pt x="4194486" y="4168668"/>
                  <a:pt x="4193688" y="4172662"/>
                  <a:pt x="4192223" y="4176257"/>
                </a:cubicBezTo>
                <a:cubicBezTo>
                  <a:pt x="4190759" y="4179851"/>
                  <a:pt x="4188629" y="4182913"/>
                  <a:pt x="4186100" y="4185576"/>
                </a:cubicBezTo>
                <a:cubicBezTo>
                  <a:pt x="4183438" y="4188238"/>
                  <a:pt x="4180376" y="4190368"/>
                  <a:pt x="4176782" y="4191832"/>
                </a:cubicBezTo>
                <a:cubicBezTo>
                  <a:pt x="4173188" y="4193296"/>
                  <a:pt x="4169327" y="4194095"/>
                  <a:pt x="4165068" y="4194095"/>
                </a:cubicBezTo>
                <a:cubicBezTo>
                  <a:pt x="4156015" y="4194095"/>
                  <a:pt x="4148827" y="4191166"/>
                  <a:pt x="4143235" y="4185576"/>
                </a:cubicBezTo>
                <a:cubicBezTo>
                  <a:pt x="4137645" y="4179984"/>
                  <a:pt x="4134849" y="4172795"/>
                  <a:pt x="4134849" y="4164409"/>
                </a:cubicBezTo>
                <a:cubicBezTo>
                  <a:pt x="4134849" y="4156156"/>
                  <a:pt x="4137645" y="4149100"/>
                  <a:pt x="4143235" y="4143376"/>
                </a:cubicBezTo>
                <a:cubicBezTo>
                  <a:pt x="4148827" y="4137653"/>
                  <a:pt x="4156015" y="4134724"/>
                  <a:pt x="4165068" y="4134724"/>
                </a:cubicBezTo>
                <a:close/>
                <a:moveTo>
                  <a:pt x="3947651" y="4134724"/>
                </a:moveTo>
                <a:cubicBezTo>
                  <a:pt x="3951913" y="4134724"/>
                  <a:pt x="3955773" y="4135523"/>
                  <a:pt x="3959368" y="4137253"/>
                </a:cubicBezTo>
                <a:cubicBezTo>
                  <a:pt x="3963096" y="4138851"/>
                  <a:pt x="3966157" y="4140980"/>
                  <a:pt x="3968686" y="4143643"/>
                </a:cubicBezTo>
                <a:cubicBezTo>
                  <a:pt x="3971217" y="4146305"/>
                  <a:pt x="3973346" y="4149500"/>
                  <a:pt x="3974810" y="4153094"/>
                </a:cubicBezTo>
                <a:cubicBezTo>
                  <a:pt x="3976275" y="4156688"/>
                  <a:pt x="3977074" y="4160415"/>
                  <a:pt x="3977074" y="4164542"/>
                </a:cubicBezTo>
                <a:cubicBezTo>
                  <a:pt x="3977074" y="4168668"/>
                  <a:pt x="3976275" y="4172662"/>
                  <a:pt x="3974810" y="4176257"/>
                </a:cubicBezTo>
                <a:cubicBezTo>
                  <a:pt x="3973346" y="4179851"/>
                  <a:pt x="3971217" y="4182913"/>
                  <a:pt x="3968686" y="4185576"/>
                </a:cubicBezTo>
                <a:cubicBezTo>
                  <a:pt x="3966024" y="4188238"/>
                  <a:pt x="3962963" y="4190368"/>
                  <a:pt x="3959368" y="4191832"/>
                </a:cubicBezTo>
                <a:cubicBezTo>
                  <a:pt x="3955773" y="4193296"/>
                  <a:pt x="3951913" y="4194095"/>
                  <a:pt x="3947651" y="4194095"/>
                </a:cubicBezTo>
                <a:cubicBezTo>
                  <a:pt x="3938598" y="4194095"/>
                  <a:pt x="3931411" y="4191166"/>
                  <a:pt x="3925819" y="4185576"/>
                </a:cubicBezTo>
                <a:cubicBezTo>
                  <a:pt x="3920228" y="4179984"/>
                  <a:pt x="3917432" y="4172795"/>
                  <a:pt x="3917432" y="4164409"/>
                </a:cubicBezTo>
                <a:cubicBezTo>
                  <a:pt x="3917432" y="4156156"/>
                  <a:pt x="3920228" y="4149100"/>
                  <a:pt x="3925819" y="4143376"/>
                </a:cubicBezTo>
                <a:cubicBezTo>
                  <a:pt x="3931411" y="4137653"/>
                  <a:pt x="3938598" y="4134724"/>
                  <a:pt x="3947651" y="4134724"/>
                </a:cubicBezTo>
                <a:close/>
                <a:moveTo>
                  <a:pt x="3729995" y="4134724"/>
                </a:moveTo>
                <a:cubicBezTo>
                  <a:pt x="3734257" y="4134724"/>
                  <a:pt x="3738249" y="4135523"/>
                  <a:pt x="3741711" y="4137253"/>
                </a:cubicBezTo>
                <a:cubicBezTo>
                  <a:pt x="3745305" y="4138851"/>
                  <a:pt x="3748501" y="4140980"/>
                  <a:pt x="3751030" y="4143643"/>
                </a:cubicBezTo>
                <a:cubicBezTo>
                  <a:pt x="3753559" y="4146305"/>
                  <a:pt x="3755688" y="4149500"/>
                  <a:pt x="3757152" y="4153094"/>
                </a:cubicBezTo>
                <a:cubicBezTo>
                  <a:pt x="3758616" y="4156688"/>
                  <a:pt x="3759415" y="4160415"/>
                  <a:pt x="3759415" y="4164542"/>
                </a:cubicBezTo>
                <a:cubicBezTo>
                  <a:pt x="3759415" y="4168668"/>
                  <a:pt x="3758616" y="4172662"/>
                  <a:pt x="3757152" y="4176257"/>
                </a:cubicBezTo>
                <a:cubicBezTo>
                  <a:pt x="3755688" y="4179851"/>
                  <a:pt x="3753559" y="4182913"/>
                  <a:pt x="3751030" y="4185576"/>
                </a:cubicBezTo>
                <a:cubicBezTo>
                  <a:pt x="3748367" y="4188238"/>
                  <a:pt x="3745305" y="4190368"/>
                  <a:pt x="3741711" y="4191832"/>
                </a:cubicBezTo>
                <a:cubicBezTo>
                  <a:pt x="3738117" y="4193296"/>
                  <a:pt x="3734257" y="4194095"/>
                  <a:pt x="3729995" y="4194095"/>
                </a:cubicBezTo>
                <a:cubicBezTo>
                  <a:pt x="3720944" y="4194095"/>
                  <a:pt x="3713755" y="4191166"/>
                  <a:pt x="3708158" y="4185576"/>
                </a:cubicBezTo>
                <a:cubicBezTo>
                  <a:pt x="3702566" y="4179984"/>
                  <a:pt x="3699772" y="4172795"/>
                  <a:pt x="3699772" y="4164409"/>
                </a:cubicBezTo>
                <a:cubicBezTo>
                  <a:pt x="3699772" y="4156156"/>
                  <a:pt x="3702566" y="4149100"/>
                  <a:pt x="3708158" y="4143376"/>
                </a:cubicBezTo>
                <a:cubicBezTo>
                  <a:pt x="3713755" y="4137653"/>
                  <a:pt x="3720944" y="4134724"/>
                  <a:pt x="3729995" y="4134724"/>
                </a:cubicBezTo>
                <a:close/>
                <a:moveTo>
                  <a:pt x="3512338" y="4134724"/>
                </a:moveTo>
                <a:cubicBezTo>
                  <a:pt x="3516599" y="4134724"/>
                  <a:pt x="3520592" y="4135523"/>
                  <a:pt x="3524054" y="4137253"/>
                </a:cubicBezTo>
                <a:cubicBezTo>
                  <a:pt x="3527648" y="4138851"/>
                  <a:pt x="3530843" y="4140980"/>
                  <a:pt x="3533372" y="4143643"/>
                </a:cubicBezTo>
                <a:cubicBezTo>
                  <a:pt x="3535901" y="4146305"/>
                  <a:pt x="3538032" y="4149500"/>
                  <a:pt x="3539496" y="4153094"/>
                </a:cubicBezTo>
                <a:cubicBezTo>
                  <a:pt x="3540960" y="4156688"/>
                  <a:pt x="3541759" y="4160415"/>
                  <a:pt x="3541759" y="4164542"/>
                </a:cubicBezTo>
                <a:cubicBezTo>
                  <a:pt x="3541759" y="4168668"/>
                  <a:pt x="3540960" y="4172662"/>
                  <a:pt x="3539496" y="4176257"/>
                </a:cubicBezTo>
                <a:cubicBezTo>
                  <a:pt x="3538032" y="4179851"/>
                  <a:pt x="3535901" y="4182913"/>
                  <a:pt x="3533372" y="4185576"/>
                </a:cubicBezTo>
                <a:cubicBezTo>
                  <a:pt x="3530709" y="4188238"/>
                  <a:pt x="3527648" y="4190368"/>
                  <a:pt x="3524054" y="4191832"/>
                </a:cubicBezTo>
                <a:cubicBezTo>
                  <a:pt x="3520460" y="4193296"/>
                  <a:pt x="3516599" y="4194095"/>
                  <a:pt x="3512338" y="4194095"/>
                </a:cubicBezTo>
                <a:cubicBezTo>
                  <a:pt x="3503284" y="4194095"/>
                  <a:pt x="3496094" y="4191166"/>
                  <a:pt x="3490503" y="4185576"/>
                </a:cubicBezTo>
                <a:cubicBezTo>
                  <a:pt x="3484912" y="4179984"/>
                  <a:pt x="3482117" y="4172795"/>
                  <a:pt x="3482117" y="4164409"/>
                </a:cubicBezTo>
                <a:cubicBezTo>
                  <a:pt x="3482117" y="4156156"/>
                  <a:pt x="3484912" y="4149100"/>
                  <a:pt x="3490503" y="4143376"/>
                </a:cubicBezTo>
                <a:cubicBezTo>
                  <a:pt x="3496094" y="4137653"/>
                  <a:pt x="3503284" y="4134724"/>
                  <a:pt x="3512338" y="4134724"/>
                </a:cubicBezTo>
                <a:close/>
                <a:moveTo>
                  <a:pt x="3294815" y="4134724"/>
                </a:moveTo>
                <a:cubicBezTo>
                  <a:pt x="3298942" y="4134724"/>
                  <a:pt x="3302936" y="4135523"/>
                  <a:pt x="3306531" y="4137253"/>
                </a:cubicBezTo>
                <a:cubicBezTo>
                  <a:pt x="3310257" y="4138851"/>
                  <a:pt x="3313319" y="4140980"/>
                  <a:pt x="3315848" y="4143643"/>
                </a:cubicBezTo>
                <a:cubicBezTo>
                  <a:pt x="3318378" y="4146305"/>
                  <a:pt x="3320508" y="4149500"/>
                  <a:pt x="3321972" y="4153094"/>
                </a:cubicBezTo>
                <a:cubicBezTo>
                  <a:pt x="3323436" y="4156688"/>
                  <a:pt x="3324235" y="4160415"/>
                  <a:pt x="3324235" y="4164542"/>
                </a:cubicBezTo>
                <a:cubicBezTo>
                  <a:pt x="3324235" y="4168668"/>
                  <a:pt x="3323436" y="4172662"/>
                  <a:pt x="3321972" y="4176257"/>
                </a:cubicBezTo>
                <a:cubicBezTo>
                  <a:pt x="3320508" y="4179851"/>
                  <a:pt x="3318378" y="4182913"/>
                  <a:pt x="3315848" y="4185576"/>
                </a:cubicBezTo>
                <a:cubicBezTo>
                  <a:pt x="3313185" y="4188238"/>
                  <a:pt x="3310124" y="4190368"/>
                  <a:pt x="3306531" y="4191832"/>
                </a:cubicBezTo>
                <a:cubicBezTo>
                  <a:pt x="3302936" y="4193296"/>
                  <a:pt x="3299075" y="4194095"/>
                  <a:pt x="3294815" y="4194095"/>
                </a:cubicBezTo>
                <a:cubicBezTo>
                  <a:pt x="3285761" y="4194095"/>
                  <a:pt x="3278572" y="4191166"/>
                  <a:pt x="3272979" y="4185576"/>
                </a:cubicBezTo>
                <a:cubicBezTo>
                  <a:pt x="3267386" y="4179984"/>
                  <a:pt x="3264591" y="4172795"/>
                  <a:pt x="3264591" y="4164409"/>
                </a:cubicBezTo>
                <a:cubicBezTo>
                  <a:pt x="3264591" y="4156156"/>
                  <a:pt x="3267386" y="4149100"/>
                  <a:pt x="3272979" y="4143376"/>
                </a:cubicBezTo>
                <a:cubicBezTo>
                  <a:pt x="3278572" y="4137653"/>
                  <a:pt x="3285761" y="4134724"/>
                  <a:pt x="3294815" y="4134724"/>
                </a:cubicBezTo>
                <a:close/>
                <a:moveTo>
                  <a:pt x="3077158" y="4134724"/>
                </a:moveTo>
                <a:cubicBezTo>
                  <a:pt x="3081285" y="4134724"/>
                  <a:pt x="3085279" y="4135523"/>
                  <a:pt x="3088873" y="4137253"/>
                </a:cubicBezTo>
                <a:cubicBezTo>
                  <a:pt x="3092467" y="4138851"/>
                  <a:pt x="3095663" y="4140980"/>
                  <a:pt x="3098191" y="4143643"/>
                </a:cubicBezTo>
                <a:cubicBezTo>
                  <a:pt x="3100720" y="4146305"/>
                  <a:pt x="3102851" y="4149500"/>
                  <a:pt x="3104315" y="4153094"/>
                </a:cubicBezTo>
                <a:cubicBezTo>
                  <a:pt x="3105780" y="4156688"/>
                  <a:pt x="3106577" y="4160415"/>
                  <a:pt x="3106577" y="4164542"/>
                </a:cubicBezTo>
                <a:cubicBezTo>
                  <a:pt x="3106577" y="4168668"/>
                  <a:pt x="3105780" y="4172662"/>
                  <a:pt x="3104315" y="4176257"/>
                </a:cubicBezTo>
                <a:cubicBezTo>
                  <a:pt x="3102851" y="4179851"/>
                  <a:pt x="3100720" y="4182913"/>
                  <a:pt x="3098191" y="4185576"/>
                </a:cubicBezTo>
                <a:cubicBezTo>
                  <a:pt x="3095529" y="4188238"/>
                  <a:pt x="3092467" y="4190368"/>
                  <a:pt x="3088873" y="4191832"/>
                </a:cubicBezTo>
                <a:cubicBezTo>
                  <a:pt x="3085279" y="4193296"/>
                  <a:pt x="3081418" y="4194095"/>
                  <a:pt x="3077158" y="4194095"/>
                </a:cubicBezTo>
                <a:cubicBezTo>
                  <a:pt x="3068237" y="4194095"/>
                  <a:pt x="3060915" y="4191166"/>
                  <a:pt x="3055321" y="4185576"/>
                </a:cubicBezTo>
                <a:cubicBezTo>
                  <a:pt x="3049730" y="4179984"/>
                  <a:pt x="3046935" y="4172795"/>
                  <a:pt x="3046935" y="4164409"/>
                </a:cubicBezTo>
                <a:cubicBezTo>
                  <a:pt x="3046935" y="4156156"/>
                  <a:pt x="3049730" y="4149100"/>
                  <a:pt x="3055321" y="4143376"/>
                </a:cubicBezTo>
                <a:cubicBezTo>
                  <a:pt x="3060915" y="4137653"/>
                  <a:pt x="3068105" y="4134724"/>
                  <a:pt x="3077158" y="4134724"/>
                </a:cubicBezTo>
                <a:close/>
                <a:moveTo>
                  <a:pt x="2859501" y="4134724"/>
                </a:moveTo>
                <a:cubicBezTo>
                  <a:pt x="2863761" y="4134724"/>
                  <a:pt x="2867622" y="4135523"/>
                  <a:pt x="2871349" y="4137253"/>
                </a:cubicBezTo>
                <a:cubicBezTo>
                  <a:pt x="2875076" y="4138851"/>
                  <a:pt x="2878138" y="4140980"/>
                  <a:pt x="2880667" y="4143643"/>
                </a:cubicBezTo>
                <a:cubicBezTo>
                  <a:pt x="2883329" y="4146305"/>
                  <a:pt x="2885327" y="4149500"/>
                  <a:pt x="2886791" y="4153094"/>
                </a:cubicBezTo>
                <a:cubicBezTo>
                  <a:pt x="2888255" y="4156688"/>
                  <a:pt x="2889054" y="4160415"/>
                  <a:pt x="2889054" y="4164542"/>
                </a:cubicBezTo>
                <a:cubicBezTo>
                  <a:pt x="2889054" y="4168668"/>
                  <a:pt x="2888255" y="4172662"/>
                  <a:pt x="2886791" y="4176257"/>
                </a:cubicBezTo>
                <a:cubicBezTo>
                  <a:pt x="2885327" y="4179851"/>
                  <a:pt x="2883196" y="4182913"/>
                  <a:pt x="2880667" y="4185576"/>
                </a:cubicBezTo>
                <a:cubicBezTo>
                  <a:pt x="2878006" y="4188238"/>
                  <a:pt x="2874943" y="4190368"/>
                  <a:pt x="2871349" y="4191832"/>
                </a:cubicBezTo>
                <a:cubicBezTo>
                  <a:pt x="2867622" y="4193296"/>
                  <a:pt x="2863761" y="4194095"/>
                  <a:pt x="2859501" y="4194095"/>
                </a:cubicBezTo>
                <a:cubicBezTo>
                  <a:pt x="2850583" y="4194095"/>
                  <a:pt x="2843255" y="4191166"/>
                  <a:pt x="2837665" y="4185576"/>
                </a:cubicBezTo>
                <a:cubicBezTo>
                  <a:pt x="2832074" y="4179984"/>
                  <a:pt x="2829278" y="4172795"/>
                  <a:pt x="2829278" y="4164409"/>
                </a:cubicBezTo>
                <a:cubicBezTo>
                  <a:pt x="2829278" y="4156156"/>
                  <a:pt x="2832074" y="4149100"/>
                  <a:pt x="2837665" y="4143376"/>
                </a:cubicBezTo>
                <a:cubicBezTo>
                  <a:pt x="2843255" y="4137653"/>
                  <a:pt x="2850449" y="4134724"/>
                  <a:pt x="2859501" y="4134724"/>
                </a:cubicBezTo>
                <a:close/>
                <a:moveTo>
                  <a:pt x="2641844" y="4134724"/>
                </a:moveTo>
                <a:cubicBezTo>
                  <a:pt x="2646104" y="4134724"/>
                  <a:pt x="2649964" y="4135523"/>
                  <a:pt x="2653559" y="4137253"/>
                </a:cubicBezTo>
                <a:cubicBezTo>
                  <a:pt x="2657286" y="4138851"/>
                  <a:pt x="2660348" y="4140980"/>
                  <a:pt x="2662877" y="4143643"/>
                </a:cubicBezTo>
                <a:cubicBezTo>
                  <a:pt x="2665539" y="4146305"/>
                  <a:pt x="2667537" y="4149500"/>
                  <a:pt x="2669001" y="4153094"/>
                </a:cubicBezTo>
                <a:cubicBezTo>
                  <a:pt x="2670465" y="4156688"/>
                  <a:pt x="2671264" y="4160415"/>
                  <a:pt x="2671264" y="4164542"/>
                </a:cubicBezTo>
                <a:cubicBezTo>
                  <a:pt x="2671264" y="4168668"/>
                  <a:pt x="2670465" y="4172662"/>
                  <a:pt x="2669001" y="4176257"/>
                </a:cubicBezTo>
                <a:cubicBezTo>
                  <a:pt x="2667537" y="4179851"/>
                  <a:pt x="2665406" y="4182913"/>
                  <a:pt x="2662877" y="4185576"/>
                </a:cubicBezTo>
                <a:cubicBezTo>
                  <a:pt x="2660348" y="4188238"/>
                  <a:pt x="2657153" y="4190368"/>
                  <a:pt x="2653559" y="4191832"/>
                </a:cubicBezTo>
                <a:cubicBezTo>
                  <a:pt x="2649964" y="4193296"/>
                  <a:pt x="2646104" y="4194095"/>
                  <a:pt x="2641844" y="4194095"/>
                </a:cubicBezTo>
                <a:cubicBezTo>
                  <a:pt x="2632925" y="4194095"/>
                  <a:pt x="2625603" y="4191166"/>
                  <a:pt x="2620011" y="4185576"/>
                </a:cubicBezTo>
                <a:cubicBezTo>
                  <a:pt x="2614419" y="4179984"/>
                  <a:pt x="2611622" y="4172795"/>
                  <a:pt x="2611622" y="4164409"/>
                </a:cubicBezTo>
                <a:cubicBezTo>
                  <a:pt x="2611622" y="4156156"/>
                  <a:pt x="2614419" y="4149100"/>
                  <a:pt x="2620011" y="4143376"/>
                </a:cubicBezTo>
                <a:cubicBezTo>
                  <a:pt x="2625603" y="4137653"/>
                  <a:pt x="2632792" y="4134724"/>
                  <a:pt x="2641844" y="4134724"/>
                </a:cubicBezTo>
                <a:close/>
                <a:moveTo>
                  <a:pt x="2424187" y="4134724"/>
                </a:moveTo>
                <a:cubicBezTo>
                  <a:pt x="2428447" y="4134724"/>
                  <a:pt x="2432441" y="4135523"/>
                  <a:pt x="2435902" y="4137253"/>
                </a:cubicBezTo>
                <a:cubicBezTo>
                  <a:pt x="2439629" y="4138851"/>
                  <a:pt x="2442691" y="4140980"/>
                  <a:pt x="2445220" y="4143643"/>
                </a:cubicBezTo>
                <a:cubicBezTo>
                  <a:pt x="2447883" y="4146305"/>
                  <a:pt x="2449879" y="4149500"/>
                  <a:pt x="2451343" y="4153094"/>
                </a:cubicBezTo>
                <a:cubicBezTo>
                  <a:pt x="2452807" y="4156688"/>
                  <a:pt x="2453606" y="4160415"/>
                  <a:pt x="2453606" y="4164542"/>
                </a:cubicBezTo>
                <a:cubicBezTo>
                  <a:pt x="2453606" y="4168668"/>
                  <a:pt x="2452807" y="4172662"/>
                  <a:pt x="2451343" y="4176257"/>
                </a:cubicBezTo>
                <a:cubicBezTo>
                  <a:pt x="2449879" y="4179851"/>
                  <a:pt x="2447749" y="4182913"/>
                  <a:pt x="2445220" y="4185576"/>
                </a:cubicBezTo>
                <a:cubicBezTo>
                  <a:pt x="2442691" y="4188238"/>
                  <a:pt x="2439496" y="4190368"/>
                  <a:pt x="2435902" y="4191832"/>
                </a:cubicBezTo>
                <a:cubicBezTo>
                  <a:pt x="2432308" y="4193296"/>
                  <a:pt x="2428447" y="4194095"/>
                  <a:pt x="2424187" y="4194095"/>
                </a:cubicBezTo>
                <a:cubicBezTo>
                  <a:pt x="2415269" y="4194095"/>
                  <a:pt x="2407946" y="4191166"/>
                  <a:pt x="2402355" y="4185576"/>
                </a:cubicBezTo>
                <a:cubicBezTo>
                  <a:pt x="2396763" y="4179984"/>
                  <a:pt x="2393967" y="4172795"/>
                  <a:pt x="2393967" y="4164409"/>
                </a:cubicBezTo>
                <a:cubicBezTo>
                  <a:pt x="2393967" y="4156156"/>
                  <a:pt x="2396763" y="4149100"/>
                  <a:pt x="2402355" y="4143376"/>
                </a:cubicBezTo>
                <a:cubicBezTo>
                  <a:pt x="2407946" y="4137653"/>
                  <a:pt x="2415135" y="4134724"/>
                  <a:pt x="2424187" y="4134724"/>
                </a:cubicBezTo>
                <a:close/>
                <a:moveTo>
                  <a:pt x="2206530" y="4134724"/>
                </a:moveTo>
                <a:cubicBezTo>
                  <a:pt x="2210790" y="4134724"/>
                  <a:pt x="2214784" y="4135523"/>
                  <a:pt x="2218245" y="4137253"/>
                </a:cubicBezTo>
                <a:cubicBezTo>
                  <a:pt x="2221972" y="4138851"/>
                  <a:pt x="2225033" y="4140980"/>
                  <a:pt x="2227563" y="4143643"/>
                </a:cubicBezTo>
                <a:cubicBezTo>
                  <a:pt x="2230225" y="4146305"/>
                  <a:pt x="2232222" y="4149500"/>
                  <a:pt x="2233686" y="4153094"/>
                </a:cubicBezTo>
                <a:cubicBezTo>
                  <a:pt x="2235150" y="4156688"/>
                  <a:pt x="2235949" y="4160415"/>
                  <a:pt x="2235949" y="4164542"/>
                </a:cubicBezTo>
                <a:cubicBezTo>
                  <a:pt x="2235949" y="4168668"/>
                  <a:pt x="2235150" y="4172662"/>
                  <a:pt x="2233686" y="4176257"/>
                </a:cubicBezTo>
                <a:cubicBezTo>
                  <a:pt x="2232222" y="4179851"/>
                  <a:pt x="2230092" y="4182913"/>
                  <a:pt x="2227563" y="4185576"/>
                </a:cubicBezTo>
                <a:cubicBezTo>
                  <a:pt x="2225033" y="4188238"/>
                  <a:pt x="2221839" y="4190368"/>
                  <a:pt x="2218245" y="4191832"/>
                </a:cubicBezTo>
                <a:cubicBezTo>
                  <a:pt x="2214650" y="4193296"/>
                  <a:pt x="2210790" y="4194095"/>
                  <a:pt x="2206530" y="4194095"/>
                </a:cubicBezTo>
                <a:cubicBezTo>
                  <a:pt x="2197477" y="4194095"/>
                  <a:pt x="2190289" y="4191166"/>
                  <a:pt x="2184697" y="4185576"/>
                </a:cubicBezTo>
                <a:cubicBezTo>
                  <a:pt x="2179106" y="4179984"/>
                  <a:pt x="2176310" y="4172795"/>
                  <a:pt x="2176310" y="4164409"/>
                </a:cubicBezTo>
                <a:cubicBezTo>
                  <a:pt x="2176310" y="4156156"/>
                  <a:pt x="2179106" y="4149100"/>
                  <a:pt x="2184697" y="4143376"/>
                </a:cubicBezTo>
                <a:cubicBezTo>
                  <a:pt x="2190289" y="4137653"/>
                  <a:pt x="2197477" y="4134724"/>
                  <a:pt x="2206530" y="4134724"/>
                </a:cubicBezTo>
                <a:close/>
                <a:moveTo>
                  <a:pt x="1989006" y="4134724"/>
                </a:moveTo>
                <a:cubicBezTo>
                  <a:pt x="1993133" y="4134724"/>
                  <a:pt x="1997127" y="4135523"/>
                  <a:pt x="2000721" y="4137253"/>
                </a:cubicBezTo>
                <a:cubicBezTo>
                  <a:pt x="2004448" y="4138851"/>
                  <a:pt x="2007510" y="4140980"/>
                  <a:pt x="2010039" y="4143643"/>
                </a:cubicBezTo>
                <a:cubicBezTo>
                  <a:pt x="2012701" y="4146305"/>
                  <a:pt x="2014698" y="4149500"/>
                  <a:pt x="2016162" y="4153094"/>
                </a:cubicBezTo>
                <a:cubicBezTo>
                  <a:pt x="2017626" y="4156688"/>
                  <a:pt x="2018425" y="4160415"/>
                  <a:pt x="2018425" y="4164542"/>
                </a:cubicBezTo>
                <a:cubicBezTo>
                  <a:pt x="2018425" y="4168668"/>
                  <a:pt x="2017626" y="4172662"/>
                  <a:pt x="2016162" y="4176257"/>
                </a:cubicBezTo>
                <a:cubicBezTo>
                  <a:pt x="2014698" y="4179851"/>
                  <a:pt x="2012568" y="4182913"/>
                  <a:pt x="2010039" y="4185576"/>
                </a:cubicBezTo>
                <a:cubicBezTo>
                  <a:pt x="2007510" y="4188238"/>
                  <a:pt x="2004315" y="4190368"/>
                  <a:pt x="2000721" y="4191832"/>
                </a:cubicBezTo>
                <a:cubicBezTo>
                  <a:pt x="1997127" y="4193296"/>
                  <a:pt x="1993265" y="4194095"/>
                  <a:pt x="1989006" y="4194095"/>
                </a:cubicBezTo>
                <a:cubicBezTo>
                  <a:pt x="1979954" y="4194095"/>
                  <a:pt x="1972765" y="4191166"/>
                  <a:pt x="1967174" y="4185576"/>
                </a:cubicBezTo>
                <a:cubicBezTo>
                  <a:pt x="1961584" y="4179984"/>
                  <a:pt x="1958788" y="4172795"/>
                  <a:pt x="1958788" y="4164409"/>
                </a:cubicBezTo>
                <a:cubicBezTo>
                  <a:pt x="1958788" y="4156156"/>
                  <a:pt x="1961584" y="4149100"/>
                  <a:pt x="1967174" y="4143376"/>
                </a:cubicBezTo>
                <a:cubicBezTo>
                  <a:pt x="1972765" y="4137653"/>
                  <a:pt x="1979954" y="4134724"/>
                  <a:pt x="1989006" y="4134724"/>
                </a:cubicBezTo>
                <a:close/>
                <a:moveTo>
                  <a:pt x="1771369" y="4134724"/>
                </a:moveTo>
                <a:cubicBezTo>
                  <a:pt x="1775628" y="4134724"/>
                  <a:pt x="1779488" y="4135523"/>
                  <a:pt x="1783083" y="4137253"/>
                </a:cubicBezTo>
                <a:cubicBezTo>
                  <a:pt x="1786811" y="4138851"/>
                  <a:pt x="1789872" y="4140980"/>
                  <a:pt x="1792401" y="4143643"/>
                </a:cubicBezTo>
                <a:cubicBezTo>
                  <a:pt x="1795063" y="4146305"/>
                  <a:pt x="1797061" y="4149500"/>
                  <a:pt x="1798524" y="4153094"/>
                </a:cubicBezTo>
                <a:cubicBezTo>
                  <a:pt x="1799988" y="4156688"/>
                  <a:pt x="1800787" y="4160415"/>
                  <a:pt x="1800787" y="4164542"/>
                </a:cubicBezTo>
                <a:cubicBezTo>
                  <a:pt x="1800787" y="4168668"/>
                  <a:pt x="1799988" y="4172662"/>
                  <a:pt x="1798524" y="4176257"/>
                </a:cubicBezTo>
                <a:cubicBezTo>
                  <a:pt x="1797061" y="4179851"/>
                  <a:pt x="1794931" y="4182913"/>
                  <a:pt x="1792401" y="4185576"/>
                </a:cubicBezTo>
                <a:cubicBezTo>
                  <a:pt x="1789738" y="4188238"/>
                  <a:pt x="1786678" y="4190368"/>
                  <a:pt x="1783083" y="4191832"/>
                </a:cubicBezTo>
                <a:cubicBezTo>
                  <a:pt x="1779488" y="4193296"/>
                  <a:pt x="1775628" y="4194095"/>
                  <a:pt x="1771369" y="4194095"/>
                </a:cubicBezTo>
                <a:cubicBezTo>
                  <a:pt x="1762450" y="4194095"/>
                  <a:pt x="1755130" y="4191166"/>
                  <a:pt x="1749539" y="4185576"/>
                </a:cubicBezTo>
                <a:cubicBezTo>
                  <a:pt x="1743948" y="4179984"/>
                  <a:pt x="1741156" y="4172795"/>
                  <a:pt x="1741156" y="4164409"/>
                </a:cubicBezTo>
                <a:cubicBezTo>
                  <a:pt x="1741156" y="4156156"/>
                  <a:pt x="1743948" y="4149100"/>
                  <a:pt x="1749539" y="4143376"/>
                </a:cubicBezTo>
                <a:cubicBezTo>
                  <a:pt x="1755130" y="4137653"/>
                  <a:pt x="1762317" y="4134724"/>
                  <a:pt x="1771369" y="4134724"/>
                </a:cubicBezTo>
                <a:close/>
                <a:moveTo>
                  <a:pt x="1553730" y="4134724"/>
                </a:moveTo>
                <a:cubicBezTo>
                  <a:pt x="1557990" y="4134724"/>
                  <a:pt x="1561851" y="4135523"/>
                  <a:pt x="1565445" y="4137253"/>
                </a:cubicBezTo>
                <a:cubicBezTo>
                  <a:pt x="1569039" y="4138851"/>
                  <a:pt x="1572234" y="4140980"/>
                  <a:pt x="1574763" y="4143643"/>
                </a:cubicBezTo>
                <a:cubicBezTo>
                  <a:pt x="1577425" y="4146305"/>
                  <a:pt x="1579422" y="4149500"/>
                  <a:pt x="1580886" y="4153094"/>
                </a:cubicBezTo>
                <a:cubicBezTo>
                  <a:pt x="1582350" y="4156688"/>
                  <a:pt x="1583149" y="4160415"/>
                  <a:pt x="1583149" y="4164542"/>
                </a:cubicBezTo>
                <a:cubicBezTo>
                  <a:pt x="1583149" y="4168668"/>
                  <a:pt x="1582350" y="4172662"/>
                  <a:pt x="1580886" y="4176257"/>
                </a:cubicBezTo>
                <a:cubicBezTo>
                  <a:pt x="1579422" y="4179851"/>
                  <a:pt x="1577292" y="4182913"/>
                  <a:pt x="1574763" y="4185576"/>
                </a:cubicBezTo>
                <a:cubicBezTo>
                  <a:pt x="1572101" y="4188238"/>
                  <a:pt x="1569039" y="4190368"/>
                  <a:pt x="1565445" y="4191832"/>
                </a:cubicBezTo>
                <a:cubicBezTo>
                  <a:pt x="1561851" y="4193296"/>
                  <a:pt x="1557990" y="4194095"/>
                  <a:pt x="1553730" y="4194095"/>
                </a:cubicBezTo>
                <a:cubicBezTo>
                  <a:pt x="1544812" y="4194095"/>
                  <a:pt x="1537490" y="4191166"/>
                  <a:pt x="1531900" y="4185576"/>
                </a:cubicBezTo>
                <a:cubicBezTo>
                  <a:pt x="1526311" y="4179984"/>
                  <a:pt x="1523514" y="4172795"/>
                  <a:pt x="1523514" y="4164409"/>
                </a:cubicBezTo>
                <a:cubicBezTo>
                  <a:pt x="1523514" y="4156156"/>
                  <a:pt x="1526311" y="4149100"/>
                  <a:pt x="1531900" y="4143376"/>
                </a:cubicBezTo>
                <a:cubicBezTo>
                  <a:pt x="1537490" y="4137653"/>
                  <a:pt x="1544678" y="4134724"/>
                  <a:pt x="1553730" y="4134724"/>
                </a:cubicBezTo>
                <a:close/>
                <a:moveTo>
                  <a:pt x="1336086" y="4134724"/>
                </a:moveTo>
                <a:cubicBezTo>
                  <a:pt x="1340346" y="4134724"/>
                  <a:pt x="1344341" y="4135523"/>
                  <a:pt x="1347802" y="4137253"/>
                </a:cubicBezTo>
                <a:cubicBezTo>
                  <a:pt x="1351395" y="4138851"/>
                  <a:pt x="1354590" y="4140980"/>
                  <a:pt x="1357120" y="4143643"/>
                </a:cubicBezTo>
                <a:cubicBezTo>
                  <a:pt x="1359782" y="4146305"/>
                  <a:pt x="1361779" y="4149500"/>
                  <a:pt x="1363243" y="4153094"/>
                </a:cubicBezTo>
                <a:cubicBezTo>
                  <a:pt x="1364707" y="4156688"/>
                  <a:pt x="1365505" y="4160415"/>
                  <a:pt x="1365505" y="4164542"/>
                </a:cubicBezTo>
                <a:cubicBezTo>
                  <a:pt x="1365505" y="4168668"/>
                  <a:pt x="1364707" y="4172662"/>
                  <a:pt x="1363243" y="4176257"/>
                </a:cubicBezTo>
                <a:cubicBezTo>
                  <a:pt x="1361779" y="4179851"/>
                  <a:pt x="1359649" y="4182913"/>
                  <a:pt x="1357120" y="4185576"/>
                </a:cubicBezTo>
                <a:cubicBezTo>
                  <a:pt x="1354456" y="4188238"/>
                  <a:pt x="1351395" y="4190368"/>
                  <a:pt x="1347802" y="4191832"/>
                </a:cubicBezTo>
                <a:cubicBezTo>
                  <a:pt x="1344207" y="4193296"/>
                  <a:pt x="1340346" y="4194095"/>
                  <a:pt x="1336086" y="4194095"/>
                </a:cubicBezTo>
                <a:cubicBezTo>
                  <a:pt x="1327166" y="4194095"/>
                  <a:pt x="1319845" y="4191166"/>
                  <a:pt x="1314253" y="4185576"/>
                </a:cubicBezTo>
                <a:cubicBezTo>
                  <a:pt x="1308663" y="4179984"/>
                  <a:pt x="1305868" y="4172795"/>
                  <a:pt x="1305868" y="4164409"/>
                </a:cubicBezTo>
                <a:cubicBezTo>
                  <a:pt x="1305868" y="4156156"/>
                  <a:pt x="1308663" y="4149100"/>
                  <a:pt x="1314253" y="4143376"/>
                </a:cubicBezTo>
                <a:cubicBezTo>
                  <a:pt x="1319845" y="4137653"/>
                  <a:pt x="1327033" y="4134724"/>
                  <a:pt x="1336086" y="4134724"/>
                </a:cubicBezTo>
                <a:close/>
                <a:moveTo>
                  <a:pt x="1118441" y="4134724"/>
                </a:moveTo>
                <a:cubicBezTo>
                  <a:pt x="1122702" y="4134724"/>
                  <a:pt x="1126698" y="4135523"/>
                  <a:pt x="1130158" y="4137253"/>
                </a:cubicBezTo>
                <a:cubicBezTo>
                  <a:pt x="1133885" y="4138851"/>
                  <a:pt x="1136947" y="4140980"/>
                  <a:pt x="1139474" y="4143643"/>
                </a:cubicBezTo>
                <a:cubicBezTo>
                  <a:pt x="1142135" y="4146305"/>
                  <a:pt x="1144131" y="4149500"/>
                  <a:pt x="1145595" y="4153094"/>
                </a:cubicBezTo>
                <a:cubicBezTo>
                  <a:pt x="1147059" y="4156688"/>
                  <a:pt x="1147858" y="4160415"/>
                  <a:pt x="1147858" y="4164542"/>
                </a:cubicBezTo>
                <a:cubicBezTo>
                  <a:pt x="1147858" y="4168668"/>
                  <a:pt x="1147059" y="4172662"/>
                  <a:pt x="1145595" y="4176257"/>
                </a:cubicBezTo>
                <a:cubicBezTo>
                  <a:pt x="1144131" y="4179851"/>
                  <a:pt x="1142002" y="4182913"/>
                  <a:pt x="1139474" y="4185576"/>
                </a:cubicBezTo>
                <a:cubicBezTo>
                  <a:pt x="1136947" y="4188238"/>
                  <a:pt x="1133752" y="4190368"/>
                  <a:pt x="1130158" y="4191832"/>
                </a:cubicBezTo>
                <a:cubicBezTo>
                  <a:pt x="1126562" y="4193296"/>
                  <a:pt x="1122702" y="4194095"/>
                  <a:pt x="1118441" y="4194095"/>
                </a:cubicBezTo>
                <a:cubicBezTo>
                  <a:pt x="1109521" y="4194095"/>
                  <a:pt x="1102198" y="4191166"/>
                  <a:pt x="1096607" y="4185576"/>
                </a:cubicBezTo>
                <a:cubicBezTo>
                  <a:pt x="1091017" y="4179984"/>
                  <a:pt x="1088222" y="4172795"/>
                  <a:pt x="1088222" y="4164409"/>
                </a:cubicBezTo>
                <a:cubicBezTo>
                  <a:pt x="1088222" y="4156156"/>
                  <a:pt x="1091017" y="4149100"/>
                  <a:pt x="1096607" y="4143376"/>
                </a:cubicBezTo>
                <a:cubicBezTo>
                  <a:pt x="1102198" y="4137653"/>
                  <a:pt x="1109387" y="4134724"/>
                  <a:pt x="1118441" y="4134724"/>
                </a:cubicBezTo>
                <a:close/>
                <a:moveTo>
                  <a:pt x="900928" y="4134724"/>
                </a:moveTo>
                <a:cubicBezTo>
                  <a:pt x="905055" y="4134724"/>
                  <a:pt x="909049" y="4135523"/>
                  <a:pt x="912643" y="4137253"/>
                </a:cubicBezTo>
                <a:cubicBezTo>
                  <a:pt x="916370" y="4138851"/>
                  <a:pt x="919432" y="4140980"/>
                  <a:pt x="921961" y="4143643"/>
                </a:cubicBezTo>
                <a:cubicBezTo>
                  <a:pt x="924623" y="4146305"/>
                  <a:pt x="926620" y="4149500"/>
                  <a:pt x="928084" y="4153094"/>
                </a:cubicBezTo>
                <a:cubicBezTo>
                  <a:pt x="929548" y="4156688"/>
                  <a:pt x="930347" y="4160415"/>
                  <a:pt x="930347" y="4164542"/>
                </a:cubicBezTo>
                <a:cubicBezTo>
                  <a:pt x="930347" y="4168668"/>
                  <a:pt x="929548" y="4172662"/>
                  <a:pt x="928084" y="4176257"/>
                </a:cubicBezTo>
                <a:cubicBezTo>
                  <a:pt x="926620" y="4179851"/>
                  <a:pt x="924490" y="4182913"/>
                  <a:pt x="921961" y="4185576"/>
                </a:cubicBezTo>
                <a:cubicBezTo>
                  <a:pt x="919432" y="4188238"/>
                  <a:pt x="916237" y="4190368"/>
                  <a:pt x="912643" y="4191832"/>
                </a:cubicBezTo>
                <a:cubicBezTo>
                  <a:pt x="909049" y="4193296"/>
                  <a:pt x="905188" y="4194095"/>
                  <a:pt x="900928" y="4194095"/>
                </a:cubicBezTo>
                <a:cubicBezTo>
                  <a:pt x="892010" y="4194095"/>
                  <a:pt x="884688" y="4191166"/>
                  <a:pt x="879097" y="4185576"/>
                </a:cubicBezTo>
                <a:cubicBezTo>
                  <a:pt x="873508" y="4179984"/>
                  <a:pt x="870712" y="4172795"/>
                  <a:pt x="870712" y="4164409"/>
                </a:cubicBezTo>
                <a:cubicBezTo>
                  <a:pt x="870712" y="4156156"/>
                  <a:pt x="873508" y="4149100"/>
                  <a:pt x="879097" y="4143376"/>
                </a:cubicBezTo>
                <a:cubicBezTo>
                  <a:pt x="884688" y="4137653"/>
                  <a:pt x="891877" y="4134724"/>
                  <a:pt x="900928" y="4134724"/>
                </a:cubicBezTo>
                <a:close/>
                <a:moveTo>
                  <a:pt x="683287" y="4134724"/>
                </a:moveTo>
                <a:cubicBezTo>
                  <a:pt x="687547" y="4134724"/>
                  <a:pt x="691408" y="4135523"/>
                  <a:pt x="695002" y="4137253"/>
                </a:cubicBezTo>
                <a:cubicBezTo>
                  <a:pt x="698729" y="4138851"/>
                  <a:pt x="701791" y="4140980"/>
                  <a:pt x="704319" y="4143643"/>
                </a:cubicBezTo>
                <a:cubicBezTo>
                  <a:pt x="706981" y="4146305"/>
                  <a:pt x="708979" y="4149500"/>
                  <a:pt x="710442" y="4153094"/>
                </a:cubicBezTo>
                <a:cubicBezTo>
                  <a:pt x="711906" y="4156688"/>
                  <a:pt x="712705" y="4160415"/>
                  <a:pt x="712705" y="4164542"/>
                </a:cubicBezTo>
                <a:cubicBezTo>
                  <a:pt x="712705" y="4168668"/>
                  <a:pt x="711906" y="4172662"/>
                  <a:pt x="710442" y="4176257"/>
                </a:cubicBezTo>
                <a:cubicBezTo>
                  <a:pt x="708979" y="4179851"/>
                  <a:pt x="706849" y="4182913"/>
                  <a:pt x="704319" y="4185576"/>
                </a:cubicBezTo>
                <a:cubicBezTo>
                  <a:pt x="701791" y="4188238"/>
                  <a:pt x="698596" y="4190368"/>
                  <a:pt x="695002" y="4191832"/>
                </a:cubicBezTo>
                <a:cubicBezTo>
                  <a:pt x="691408" y="4193296"/>
                  <a:pt x="687547" y="4194095"/>
                  <a:pt x="683287" y="4194095"/>
                </a:cubicBezTo>
                <a:cubicBezTo>
                  <a:pt x="674369" y="4194095"/>
                  <a:pt x="667047" y="4191166"/>
                  <a:pt x="661455" y="4185576"/>
                </a:cubicBezTo>
                <a:cubicBezTo>
                  <a:pt x="655864" y="4179984"/>
                  <a:pt x="653069" y="4172795"/>
                  <a:pt x="653069" y="4164409"/>
                </a:cubicBezTo>
                <a:cubicBezTo>
                  <a:pt x="653069" y="4156156"/>
                  <a:pt x="655864" y="4149100"/>
                  <a:pt x="661455" y="4143376"/>
                </a:cubicBezTo>
                <a:cubicBezTo>
                  <a:pt x="667047" y="4137653"/>
                  <a:pt x="674236" y="4134724"/>
                  <a:pt x="683287" y="4134724"/>
                </a:cubicBezTo>
                <a:close/>
                <a:moveTo>
                  <a:pt x="465645" y="4134724"/>
                </a:moveTo>
                <a:cubicBezTo>
                  <a:pt x="469905" y="4134724"/>
                  <a:pt x="473765" y="4135523"/>
                  <a:pt x="477360" y="4137253"/>
                </a:cubicBezTo>
                <a:cubicBezTo>
                  <a:pt x="481087" y="4138851"/>
                  <a:pt x="484148" y="4140980"/>
                  <a:pt x="486677" y="4143643"/>
                </a:cubicBezTo>
                <a:cubicBezTo>
                  <a:pt x="489339" y="4146305"/>
                  <a:pt x="491336" y="4149500"/>
                  <a:pt x="492801" y="4153094"/>
                </a:cubicBezTo>
                <a:cubicBezTo>
                  <a:pt x="494264" y="4156688"/>
                  <a:pt x="495063" y="4160415"/>
                  <a:pt x="495063" y="4164542"/>
                </a:cubicBezTo>
                <a:cubicBezTo>
                  <a:pt x="495063" y="4168668"/>
                  <a:pt x="494264" y="4172662"/>
                  <a:pt x="492801" y="4176257"/>
                </a:cubicBezTo>
                <a:cubicBezTo>
                  <a:pt x="491336" y="4179851"/>
                  <a:pt x="489207" y="4182913"/>
                  <a:pt x="486677" y="4185576"/>
                </a:cubicBezTo>
                <a:cubicBezTo>
                  <a:pt x="484014" y="4188238"/>
                  <a:pt x="480954" y="4190368"/>
                  <a:pt x="477360" y="4191832"/>
                </a:cubicBezTo>
                <a:cubicBezTo>
                  <a:pt x="473765" y="4193296"/>
                  <a:pt x="469905" y="4194095"/>
                  <a:pt x="465645" y="4194095"/>
                </a:cubicBezTo>
                <a:cubicBezTo>
                  <a:pt x="456726" y="4194095"/>
                  <a:pt x="449404" y="4191166"/>
                  <a:pt x="443813" y="4185576"/>
                </a:cubicBezTo>
                <a:cubicBezTo>
                  <a:pt x="438222" y="4179984"/>
                  <a:pt x="435427" y="4172795"/>
                  <a:pt x="435427" y="4164409"/>
                </a:cubicBezTo>
                <a:cubicBezTo>
                  <a:pt x="435427" y="4156156"/>
                  <a:pt x="438222" y="4149100"/>
                  <a:pt x="443813" y="4143376"/>
                </a:cubicBezTo>
                <a:cubicBezTo>
                  <a:pt x="449404" y="4137653"/>
                  <a:pt x="456594" y="4134724"/>
                  <a:pt x="465645" y="4134724"/>
                </a:cubicBezTo>
                <a:close/>
                <a:moveTo>
                  <a:pt x="248002" y="4134724"/>
                </a:moveTo>
                <a:cubicBezTo>
                  <a:pt x="252262" y="4134724"/>
                  <a:pt x="256256" y="4135523"/>
                  <a:pt x="259717" y="4137253"/>
                </a:cubicBezTo>
                <a:cubicBezTo>
                  <a:pt x="263444" y="4138851"/>
                  <a:pt x="266506" y="4140980"/>
                  <a:pt x="269035" y="4143643"/>
                </a:cubicBezTo>
                <a:cubicBezTo>
                  <a:pt x="271697" y="4146305"/>
                  <a:pt x="273694" y="4149500"/>
                  <a:pt x="275158" y="4153094"/>
                </a:cubicBezTo>
                <a:cubicBezTo>
                  <a:pt x="276622" y="4156688"/>
                  <a:pt x="277421" y="4160415"/>
                  <a:pt x="277421" y="4164542"/>
                </a:cubicBezTo>
                <a:cubicBezTo>
                  <a:pt x="277421" y="4168668"/>
                  <a:pt x="276622" y="4172662"/>
                  <a:pt x="275158" y="4176257"/>
                </a:cubicBezTo>
                <a:cubicBezTo>
                  <a:pt x="273694" y="4179851"/>
                  <a:pt x="271564" y="4182913"/>
                  <a:pt x="269035" y="4185576"/>
                </a:cubicBezTo>
                <a:cubicBezTo>
                  <a:pt x="266372" y="4188238"/>
                  <a:pt x="263311" y="4190368"/>
                  <a:pt x="259717" y="4191832"/>
                </a:cubicBezTo>
                <a:cubicBezTo>
                  <a:pt x="256122" y="4193296"/>
                  <a:pt x="252262" y="4194095"/>
                  <a:pt x="248002" y="4194095"/>
                </a:cubicBezTo>
                <a:cubicBezTo>
                  <a:pt x="239085" y="4194095"/>
                  <a:pt x="231763" y="4191166"/>
                  <a:pt x="226172" y="4185576"/>
                </a:cubicBezTo>
                <a:cubicBezTo>
                  <a:pt x="220582" y="4179984"/>
                  <a:pt x="217787" y="4172795"/>
                  <a:pt x="217787" y="4164409"/>
                </a:cubicBezTo>
                <a:cubicBezTo>
                  <a:pt x="217787" y="4156156"/>
                  <a:pt x="220582" y="4149100"/>
                  <a:pt x="226172" y="4143376"/>
                </a:cubicBezTo>
                <a:cubicBezTo>
                  <a:pt x="231763" y="4137653"/>
                  <a:pt x="238951" y="4134724"/>
                  <a:pt x="248002" y="4134724"/>
                </a:cubicBezTo>
                <a:close/>
                <a:moveTo>
                  <a:pt x="30360" y="4134724"/>
                </a:moveTo>
                <a:cubicBezTo>
                  <a:pt x="34620" y="4134724"/>
                  <a:pt x="38614" y="4135523"/>
                  <a:pt x="42075" y="4137253"/>
                </a:cubicBezTo>
                <a:cubicBezTo>
                  <a:pt x="45802" y="4138851"/>
                  <a:pt x="48864" y="4140980"/>
                  <a:pt x="51393" y="4143643"/>
                </a:cubicBezTo>
                <a:cubicBezTo>
                  <a:pt x="54055" y="4146305"/>
                  <a:pt x="56052" y="4149500"/>
                  <a:pt x="57516" y="4153094"/>
                </a:cubicBezTo>
                <a:cubicBezTo>
                  <a:pt x="58980" y="4156688"/>
                  <a:pt x="59779" y="4160415"/>
                  <a:pt x="59779" y="4164542"/>
                </a:cubicBezTo>
                <a:cubicBezTo>
                  <a:pt x="59779" y="4168668"/>
                  <a:pt x="58980" y="4172662"/>
                  <a:pt x="57516" y="4176257"/>
                </a:cubicBezTo>
                <a:cubicBezTo>
                  <a:pt x="56052" y="4179851"/>
                  <a:pt x="53922" y="4182913"/>
                  <a:pt x="51393" y="4185576"/>
                </a:cubicBezTo>
                <a:cubicBezTo>
                  <a:pt x="48730" y="4188238"/>
                  <a:pt x="45669" y="4190368"/>
                  <a:pt x="42075" y="4191832"/>
                </a:cubicBezTo>
                <a:cubicBezTo>
                  <a:pt x="38481" y="4193296"/>
                  <a:pt x="34620" y="4194095"/>
                  <a:pt x="30360" y="4194095"/>
                </a:cubicBezTo>
                <a:cubicBezTo>
                  <a:pt x="21442" y="4194095"/>
                  <a:pt x="14121" y="4191166"/>
                  <a:pt x="8531" y="4185576"/>
                </a:cubicBezTo>
                <a:cubicBezTo>
                  <a:pt x="2940" y="4179984"/>
                  <a:pt x="145" y="4172795"/>
                  <a:pt x="145" y="4164409"/>
                </a:cubicBezTo>
                <a:cubicBezTo>
                  <a:pt x="145" y="4156156"/>
                  <a:pt x="2940" y="4149100"/>
                  <a:pt x="8531" y="4143376"/>
                </a:cubicBezTo>
                <a:cubicBezTo>
                  <a:pt x="14121" y="4137653"/>
                  <a:pt x="21308" y="4134724"/>
                  <a:pt x="30360" y="4134724"/>
                </a:cubicBezTo>
                <a:close/>
                <a:moveTo>
                  <a:pt x="10475977" y="3933852"/>
                </a:moveTo>
                <a:cubicBezTo>
                  <a:pt x="10470119" y="3933852"/>
                  <a:pt x="10467589" y="3935849"/>
                  <a:pt x="10465992" y="3937447"/>
                </a:cubicBezTo>
                <a:cubicBezTo>
                  <a:pt x="10463463" y="3940109"/>
                  <a:pt x="10462399" y="3942904"/>
                  <a:pt x="10462399" y="3946897"/>
                </a:cubicBezTo>
                <a:cubicBezTo>
                  <a:pt x="10462399" y="3951025"/>
                  <a:pt x="10463463" y="3953820"/>
                  <a:pt x="10465992" y="3956349"/>
                </a:cubicBezTo>
                <a:cubicBezTo>
                  <a:pt x="10467589" y="3957947"/>
                  <a:pt x="10470119" y="3959810"/>
                  <a:pt x="10475977" y="3959810"/>
                </a:cubicBezTo>
                <a:cubicBezTo>
                  <a:pt x="10478107" y="3959810"/>
                  <a:pt x="10479838" y="3959411"/>
                  <a:pt x="10481302" y="3959011"/>
                </a:cubicBezTo>
                <a:cubicBezTo>
                  <a:pt x="10482899" y="3958479"/>
                  <a:pt x="10484098" y="3957548"/>
                  <a:pt x="10485029" y="3956615"/>
                </a:cubicBezTo>
                <a:cubicBezTo>
                  <a:pt x="10486094" y="3955417"/>
                  <a:pt x="10487026" y="3954086"/>
                  <a:pt x="10487691" y="3952355"/>
                </a:cubicBezTo>
                <a:cubicBezTo>
                  <a:pt x="10488357" y="3950758"/>
                  <a:pt x="10488623" y="3948894"/>
                  <a:pt x="10488623" y="3946897"/>
                </a:cubicBezTo>
                <a:cubicBezTo>
                  <a:pt x="10488623" y="3945034"/>
                  <a:pt x="10488357" y="3943304"/>
                  <a:pt x="10487691" y="3941706"/>
                </a:cubicBezTo>
                <a:cubicBezTo>
                  <a:pt x="10487026" y="3939975"/>
                  <a:pt x="10486094" y="3938645"/>
                  <a:pt x="10485029" y="3937447"/>
                </a:cubicBezTo>
                <a:cubicBezTo>
                  <a:pt x="10483964" y="3936382"/>
                  <a:pt x="10482633" y="3935449"/>
                  <a:pt x="10481035" y="3934784"/>
                </a:cubicBezTo>
                <a:cubicBezTo>
                  <a:pt x="10479571" y="3934118"/>
                  <a:pt x="10477974" y="3933852"/>
                  <a:pt x="10475977" y="3933852"/>
                </a:cubicBezTo>
                <a:close/>
                <a:moveTo>
                  <a:pt x="10258466" y="3933852"/>
                </a:moveTo>
                <a:cubicBezTo>
                  <a:pt x="10252608" y="3933852"/>
                  <a:pt x="10250078" y="3935849"/>
                  <a:pt x="10248481" y="3937447"/>
                </a:cubicBezTo>
                <a:cubicBezTo>
                  <a:pt x="10245952" y="3940109"/>
                  <a:pt x="10244887" y="3942904"/>
                  <a:pt x="10244887" y="3946897"/>
                </a:cubicBezTo>
                <a:cubicBezTo>
                  <a:pt x="10244887" y="3951025"/>
                  <a:pt x="10245952" y="3953820"/>
                  <a:pt x="10248481" y="3956349"/>
                </a:cubicBezTo>
                <a:cubicBezTo>
                  <a:pt x="10250078" y="3957947"/>
                  <a:pt x="10252608" y="3959810"/>
                  <a:pt x="10258466" y="3959810"/>
                </a:cubicBezTo>
                <a:cubicBezTo>
                  <a:pt x="10260462" y="3959810"/>
                  <a:pt x="10262192" y="3959411"/>
                  <a:pt x="10263790" y="3959011"/>
                </a:cubicBezTo>
                <a:cubicBezTo>
                  <a:pt x="10265388" y="3958479"/>
                  <a:pt x="10266586" y="3957548"/>
                  <a:pt x="10267517" y="3956615"/>
                </a:cubicBezTo>
                <a:cubicBezTo>
                  <a:pt x="10268583" y="3955417"/>
                  <a:pt x="10269515" y="3954086"/>
                  <a:pt x="10270180" y="3952355"/>
                </a:cubicBezTo>
                <a:cubicBezTo>
                  <a:pt x="10270845" y="3950758"/>
                  <a:pt x="10271112" y="3948894"/>
                  <a:pt x="10271112" y="3946897"/>
                </a:cubicBezTo>
                <a:cubicBezTo>
                  <a:pt x="10271112" y="3945034"/>
                  <a:pt x="10270845" y="3943304"/>
                  <a:pt x="10270180" y="3941706"/>
                </a:cubicBezTo>
                <a:cubicBezTo>
                  <a:pt x="10269515" y="3939975"/>
                  <a:pt x="10268583" y="3938645"/>
                  <a:pt x="10267517" y="3937447"/>
                </a:cubicBezTo>
                <a:cubicBezTo>
                  <a:pt x="10266452" y="3936382"/>
                  <a:pt x="10265121" y="3935449"/>
                  <a:pt x="10263524" y="3934784"/>
                </a:cubicBezTo>
                <a:cubicBezTo>
                  <a:pt x="10262060" y="3934118"/>
                  <a:pt x="10260462" y="3933852"/>
                  <a:pt x="10258466" y="3933852"/>
                </a:cubicBezTo>
                <a:close/>
                <a:moveTo>
                  <a:pt x="10040820" y="3933852"/>
                </a:moveTo>
                <a:cubicBezTo>
                  <a:pt x="10034962" y="3933852"/>
                  <a:pt x="10032433" y="3935849"/>
                  <a:pt x="10030835" y="3937447"/>
                </a:cubicBezTo>
                <a:cubicBezTo>
                  <a:pt x="10028306" y="3940109"/>
                  <a:pt x="10027242" y="3942904"/>
                  <a:pt x="10027242" y="3946897"/>
                </a:cubicBezTo>
                <a:cubicBezTo>
                  <a:pt x="10027242" y="3951025"/>
                  <a:pt x="10028306" y="3953820"/>
                  <a:pt x="10030835" y="3956349"/>
                </a:cubicBezTo>
                <a:cubicBezTo>
                  <a:pt x="10032433" y="3957947"/>
                  <a:pt x="10034962" y="3959810"/>
                  <a:pt x="10040820" y="3959810"/>
                </a:cubicBezTo>
                <a:cubicBezTo>
                  <a:pt x="10042817" y="3959810"/>
                  <a:pt x="10044681" y="3959411"/>
                  <a:pt x="10046145" y="3959011"/>
                </a:cubicBezTo>
                <a:cubicBezTo>
                  <a:pt x="10047742" y="3958479"/>
                  <a:pt x="10048941" y="3957548"/>
                  <a:pt x="10049872" y="3956615"/>
                </a:cubicBezTo>
                <a:cubicBezTo>
                  <a:pt x="10050937" y="3955417"/>
                  <a:pt x="10051869" y="3954086"/>
                  <a:pt x="10052534" y="3952355"/>
                </a:cubicBezTo>
                <a:cubicBezTo>
                  <a:pt x="10053333" y="3950758"/>
                  <a:pt x="10053599" y="3948894"/>
                  <a:pt x="10053599" y="3946897"/>
                </a:cubicBezTo>
                <a:cubicBezTo>
                  <a:pt x="10053599" y="3945034"/>
                  <a:pt x="10053200" y="3943304"/>
                  <a:pt x="10052534" y="3941706"/>
                </a:cubicBezTo>
                <a:cubicBezTo>
                  <a:pt x="10051869" y="3939975"/>
                  <a:pt x="10050937" y="3938645"/>
                  <a:pt x="10049872" y="3937447"/>
                </a:cubicBezTo>
                <a:cubicBezTo>
                  <a:pt x="10048807" y="3936382"/>
                  <a:pt x="10047476" y="3935449"/>
                  <a:pt x="10045878" y="3934784"/>
                </a:cubicBezTo>
                <a:cubicBezTo>
                  <a:pt x="10044414" y="3934118"/>
                  <a:pt x="10042817" y="3933852"/>
                  <a:pt x="10040820" y="3933852"/>
                </a:cubicBezTo>
                <a:close/>
                <a:moveTo>
                  <a:pt x="9823176" y="3933852"/>
                </a:moveTo>
                <a:cubicBezTo>
                  <a:pt x="9817318" y="3933852"/>
                  <a:pt x="9814788" y="3935849"/>
                  <a:pt x="9813191" y="3937447"/>
                </a:cubicBezTo>
                <a:cubicBezTo>
                  <a:pt x="9810662" y="3940109"/>
                  <a:pt x="9809597" y="3942904"/>
                  <a:pt x="9809597" y="3946897"/>
                </a:cubicBezTo>
                <a:cubicBezTo>
                  <a:pt x="9809597" y="3951025"/>
                  <a:pt x="9810662" y="3953820"/>
                  <a:pt x="9813191" y="3956349"/>
                </a:cubicBezTo>
                <a:cubicBezTo>
                  <a:pt x="9814788" y="3957947"/>
                  <a:pt x="9817318" y="3959810"/>
                  <a:pt x="9823176" y="3959810"/>
                </a:cubicBezTo>
                <a:cubicBezTo>
                  <a:pt x="9825173" y="3959810"/>
                  <a:pt x="9827036" y="3959411"/>
                  <a:pt x="9828501" y="3959011"/>
                </a:cubicBezTo>
                <a:cubicBezTo>
                  <a:pt x="9830098" y="3958479"/>
                  <a:pt x="9831296" y="3957548"/>
                  <a:pt x="9832227" y="3956615"/>
                </a:cubicBezTo>
                <a:cubicBezTo>
                  <a:pt x="9833293" y="3955417"/>
                  <a:pt x="9834225" y="3954086"/>
                  <a:pt x="9834890" y="3952355"/>
                </a:cubicBezTo>
                <a:cubicBezTo>
                  <a:pt x="9835689" y="3950758"/>
                  <a:pt x="9835955" y="3948894"/>
                  <a:pt x="9835955" y="3946897"/>
                </a:cubicBezTo>
                <a:cubicBezTo>
                  <a:pt x="9835955" y="3945034"/>
                  <a:pt x="9835555" y="3943304"/>
                  <a:pt x="9834890" y="3941706"/>
                </a:cubicBezTo>
                <a:cubicBezTo>
                  <a:pt x="9834225" y="3939975"/>
                  <a:pt x="9833293" y="3938645"/>
                  <a:pt x="9832227" y="3937447"/>
                </a:cubicBezTo>
                <a:cubicBezTo>
                  <a:pt x="9831162" y="3936382"/>
                  <a:pt x="9829831" y="3935449"/>
                  <a:pt x="9828234" y="3934784"/>
                </a:cubicBezTo>
                <a:cubicBezTo>
                  <a:pt x="9826770" y="3934118"/>
                  <a:pt x="9825173" y="3933852"/>
                  <a:pt x="9823176" y="3933852"/>
                </a:cubicBezTo>
                <a:close/>
                <a:moveTo>
                  <a:pt x="9605531" y="3933852"/>
                </a:moveTo>
                <a:cubicBezTo>
                  <a:pt x="9599673" y="3933852"/>
                  <a:pt x="9597143" y="3935849"/>
                  <a:pt x="9595546" y="3937447"/>
                </a:cubicBezTo>
                <a:cubicBezTo>
                  <a:pt x="9593017" y="3940109"/>
                  <a:pt x="9591952" y="3942904"/>
                  <a:pt x="9591952" y="3946897"/>
                </a:cubicBezTo>
                <a:cubicBezTo>
                  <a:pt x="9591952" y="3951025"/>
                  <a:pt x="9593017" y="3953820"/>
                  <a:pt x="9595546" y="3956349"/>
                </a:cubicBezTo>
                <a:cubicBezTo>
                  <a:pt x="9597143" y="3957947"/>
                  <a:pt x="9599673" y="3959810"/>
                  <a:pt x="9605531" y="3959810"/>
                </a:cubicBezTo>
                <a:cubicBezTo>
                  <a:pt x="9607660" y="3959810"/>
                  <a:pt x="9609391" y="3959411"/>
                  <a:pt x="9610855" y="3959011"/>
                </a:cubicBezTo>
                <a:cubicBezTo>
                  <a:pt x="9612319" y="3958479"/>
                  <a:pt x="9613651" y="3957548"/>
                  <a:pt x="9614582" y="3956615"/>
                </a:cubicBezTo>
                <a:cubicBezTo>
                  <a:pt x="9615647" y="3955417"/>
                  <a:pt x="9616579" y="3954086"/>
                  <a:pt x="9617245" y="3952355"/>
                </a:cubicBezTo>
                <a:cubicBezTo>
                  <a:pt x="9618044" y="3950758"/>
                  <a:pt x="9618309" y="3948894"/>
                  <a:pt x="9618309" y="3946897"/>
                </a:cubicBezTo>
                <a:cubicBezTo>
                  <a:pt x="9618309" y="3945034"/>
                  <a:pt x="9617910" y="3943304"/>
                  <a:pt x="9617245" y="3941706"/>
                </a:cubicBezTo>
                <a:cubicBezTo>
                  <a:pt x="9616579" y="3939975"/>
                  <a:pt x="9615647" y="3938645"/>
                  <a:pt x="9614582" y="3937447"/>
                </a:cubicBezTo>
                <a:cubicBezTo>
                  <a:pt x="9613517" y="3936382"/>
                  <a:pt x="9612186" y="3935449"/>
                  <a:pt x="9610589" y="3934784"/>
                </a:cubicBezTo>
                <a:cubicBezTo>
                  <a:pt x="9609124" y="3934118"/>
                  <a:pt x="9607394" y="3933852"/>
                  <a:pt x="9605531" y="3933852"/>
                </a:cubicBezTo>
                <a:close/>
                <a:moveTo>
                  <a:pt x="9387885" y="3933852"/>
                </a:moveTo>
                <a:cubicBezTo>
                  <a:pt x="9382027" y="3933852"/>
                  <a:pt x="9379497" y="3935849"/>
                  <a:pt x="9377900" y="3937447"/>
                </a:cubicBezTo>
                <a:cubicBezTo>
                  <a:pt x="9375371" y="3940109"/>
                  <a:pt x="9374307" y="3942904"/>
                  <a:pt x="9374307" y="3946897"/>
                </a:cubicBezTo>
                <a:cubicBezTo>
                  <a:pt x="9374307" y="3951025"/>
                  <a:pt x="9375371" y="3953820"/>
                  <a:pt x="9377900" y="3956349"/>
                </a:cubicBezTo>
                <a:cubicBezTo>
                  <a:pt x="9379497" y="3957947"/>
                  <a:pt x="9382027" y="3959810"/>
                  <a:pt x="9387885" y="3959810"/>
                </a:cubicBezTo>
                <a:cubicBezTo>
                  <a:pt x="9390015" y="3959810"/>
                  <a:pt x="9391746" y="3959411"/>
                  <a:pt x="9393210" y="3959011"/>
                </a:cubicBezTo>
                <a:cubicBezTo>
                  <a:pt x="9394674" y="3958479"/>
                  <a:pt x="9396005" y="3957548"/>
                  <a:pt x="9396937" y="3956615"/>
                </a:cubicBezTo>
                <a:cubicBezTo>
                  <a:pt x="9398002" y="3955417"/>
                  <a:pt x="9398934" y="3954086"/>
                  <a:pt x="9399599" y="3952355"/>
                </a:cubicBezTo>
                <a:cubicBezTo>
                  <a:pt x="9400398" y="3950758"/>
                  <a:pt x="9400664" y="3948894"/>
                  <a:pt x="9400664" y="3946897"/>
                </a:cubicBezTo>
                <a:cubicBezTo>
                  <a:pt x="9400664" y="3945034"/>
                  <a:pt x="9400265" y="3943304"/>
                  <a:pt x="9399599" y="3941706"/>
                </a:cubicBezTo>
                <a:cubicBezTo>
                  <a:pt x="9398934" y="3939975"/>
                  <a:pt x="9398002" y="3938645"/>
                  <a:pt x="9396937" y="3937447"/>
                </a:cubicBezTo>
                <a:cubicBezTo>
                  <a:pt x="9395872" y="3936382"/>
                  <a:pt x="9394541" y="3935449"/>
                  <a:pt x="9392943" y="3934784"/>
                </a:cubicBezTo>
                <a:cubicBezTo>
                  <a:pt x="9391479" y="3934118"/>
                  <a:pt x="9389749" y="3933852"/>
                  <a:pt x="9387885" y="3933852"/>
                </a:cubicBezTo>
                <a:close/>
                <a:moveTo>
                  <a:pt x="9170374" y="3933852"/>
                </a:moveTo>
                <a:cubicBezTo>
                  <a:pt x="9164649" y="3933852"/>
                  <a:pt x="9161986" y="3935849"/>
                  <a:pt x="9160389" y="3937447"/>
                </a:cubicBezTo>
                <a:cubicBezTo>
                  <a:pt x="9157860" y="3940109"/>
                  <a:pt x="9156795" y="3942904"/>
                  <a:pt x="9156795" y="3946897"/>
                </a:cubicBezTo>
                <a:cubicBezTo>
                  <a:pt x="9156795" y="3951025"/>
                  <a:pt x="9157860" y="3953820"/>
                  <a:pt x="9160389" y="3956349"/>
                </a:cubicBezTo>
                <a:cubicBezTo>
                  <a:pt x="9161986" y="3957947"/>
                  <a:pt x="9164516" y="3959810"/>
                  <a:pt x="9170374" y="3959810"/>
                </a:cubicBezTo>
                <a:cubicBezTo>
                  <a:pt x="9172370" y="3959810"/>
                  <a:pt x="9174100" y="3959411"/>
                  <a:pt x="9175698" y="3959011"/>
                </a:cubicBezTo>
                <a:cubicBezTo>
                  <a:pt x="9177163" y="3958479"/>
                  <a:pt x="9178494" y="3957548"/>
                  <a:pt x="9179425" y="3956615"/>
                </a:cubicBezTo>
                <a:cubicBezTo>
                  <a:pt x="9180491" y="3955417"/>
                  <a:pt x="9181422" y="3954086"/>
                  <a:pt x="9182088" y="3952355"/>
                </a:cubicBezTo>
                <a:cubicBezTo>
                  <a:pt x="9182887" y="3950758"/>
                  <a:pt x="9183152" y="3948894"/>
                  <a:pt x="9183152" y="3946897"/>
                </a:cubicBezTo>
                <a:cubicBezTo>
                  <a:pt x="9183152" y="3945034"/>
                  <a:pt x="9182753" y="3943304"/>
                  <a:pt x="9182088" y="3941706"/>
                </a:cubicBezTo>
                <a:cubicBezTo>
                  <a:pt x="9181422" y="3939975"/>
                  <a:pt x="9180491" y="3938645"/>
                  <a:pt x="9179425" y="3937447"/>
                </a:cubicBezTo>
                <a:cubicBezTo>
                  <a:pt x="9178360" y="3936382"/>
                  <a:pt x="9177029" y="3935449"/>
                  <a:pt x="9175432" y="3934784"/>
                </a:cubicBezTo>
                <a:cubicBezTo>
                  <a:pt x="9173967" y="3934118"/>
                  <a:pt x="9172237" y="3933852"/>
                  <a:pt x="9170374" y="3933852"/>
                </a:cubicBezTo>
                <a:close/>
                <a:moveTo>
                  <a:pt x="8952728" y="3933852"/>
                </a:moveTo>
                <a:cubicBezTo>
                  <a:pt x="8947003" y="3933852"/>
                  <a:pt x="8944340" y="3935849"/>
                  <a:pt x="8942743" y="3937447"/>
                </a:cubicBezTo>
                <a:cubicBezTo>
                  <a:pt x="8940214" y="3940109"/>
                  <a:pt x="8939150" y="3942904"/>
                  <a:pt x="8939150" y="3946897"/>
                </a:cubicBezTo>
                <a:cubicBezTo>
                  <a:pt x="8939150" y="3951025"/>
                  <a:pt x="8940214" y="3953820"/>
                  <a:pt x="8942743" y="3956349"/>
                </a:cubicBezTo>
                <a:cubicBezTo>
                  <a:pt x="8944340" y="3957947"/>
                  <a:pt x="8946870" y="3959810"/>
                  <a:pt x="8952728" y="3959810"/>
                </a:cubicBezTo>
                <a:cubicBezTo>
                  <a:pt x="8954725" y="3959810"/>
                  <a:pt x="8956589" y="3959411"/>
                  <a:pt x="8958053" y="3959011"/>
                </a:cubicBezTo>
                <a:cubicBezTo>
                  <a:pt x="8959517" y="3958479"/>
                  <a:pt x="8960849" y="3957548"/>
                  <a:pt x="8961780" y="3956615"/>
                </a:cubicBezTo>
                <a:cubicBezTo>
                  <a:pt x="8962845" y="3955417"/>
                  <a:pt x="8963777" y="3954086"/>
                  <a:pt x="8964442" y="3952355"/>
                </a:cubicBezTo>
                <a:cubicBezTo>
                  <a:pt x="8965241" y="3950758"/>
                  <a:pt x="8965507" y="3948894"/>
                  <a:pt x="8965507" y="3946897"/>
                </a:cubicBezTo>
                <a:cubicBezTo>
                  <a:pt x="8965507" y="3945034"/>
                  <a:pt x="8965108" y="3943304"/>
                  <a:pt x="8964442" y="3941706"/>
                </a:cubicBezTo>
                <a:cubicBezTo>
                  <a:pt x="8963777" y="3939975"/>
                  <a:pt x="8962845" y="3938645"/>
                  <a:pt x="8961780" y="3937447"/>
                </a:cubicBezTo>
                <a:cubicBezTo>
                  <a:pt x="8960715" y="3936382"/>
                  <a:pt x="8959384" y="3935449"/>
                  <a:pt x="8957786" y="3934784"/>
                </a:cubicBezTo>
                <a:cubicBezTo>
                  <a:pt x="8956322" y="3934118"/>
                  <a:pt x="8954592" y="3933852"/>
                  <a:pt x="8952728" y="3933852"/>
                </a:cubicBezTo>
                <a:close/>
                <a:moveTo>
                  <a:pt x="8735083" y="3933852"/>
                </a:moveTo>
                <a:cubicBezTo>
                  <a:pt x="8729358" y="3933852"/>
                  <a:pt x="8726695" y="3935849"/>
                  <a:pt x="8725098" y="3937447"/>
                </a:cubicBezTo>
                <a:cubicBezTo>
                  <a:pt x="8722569" y="3940109"/>
                  <a:pt x="8721504" y="3942904"/>
                  <a:pt x="8721504" y="3946897"/>
                </a:cubicBezTo>
                <a:cubicBezTo>
                  <a:pt x="8721504" y="3951025"/>
                  <a:pt x="8722569" y="3953820"/>
                  <a:pt x="8725098" y="3956349"/>
                </a:cubicBezTo>
                <a:cubicBezTo>
                  <a:pt x="8726695" y="3957947"/>
                  <a:pt x="8729225" y="3959810"/>
                  <a:pt x="8735083" y="3959810"/>
                </a:cubicBezTo>
                <a:cubicBezTo>
                  <a:pt x="8737079" y="3959810"/>
                  <a:pt x="8738943" y="3959411"/>
                  <a:pt x="8740407" y="3959011"/>
                </a:cubicBezTo>
                <a:cubicBezTo>
                  <a:pt x="8741872" y="3958479"/>
                  <a:pt x="8743203" y="3957548"/>
                  <a:pt x="8744134" y="3956615"/>
                </a:cubicBezTo>
                <a:cubicBezTo>
                  <a:pt x="8745200" y="3955417"/>
                  <a:pt x="8746132" y="3954086"/>
                  <a:pt x="8746797" y="3952355"/>
                </a:cubicBezTo>
                <a:cubicBezTo>
                  <a:pt x="8747596" y="3950758"/>
                  <a:pt x="8747862" y="3948894"/>
                  <a:pt x="8747862" y="3946897"/>
                </a:cubicBezTo>
                <a:cubicBezTo>
                  <a:pt x="8747862" y="3945034"/>
                  <a:pt x="8747462" y="3943304"/>
                  <a:pt x="8746797" y="3941706"/>
                </a:cubicBezTo>
                <a:cubicBezTo>
                  <a:pt x="8746132" y="3939975"/>
                  <a:pt x="8745200" y="3938645"/>
                  <a:pt x="8744134" y="3937447"/>
                </a:cubicBezTo>
                <a:cubicBezTo>
                  <a:pt x="8743069" y="3936382"/>
                  <a:pt x="8741738" y="3935449"/>
                  <a:pt x="8740141" y="3934784"/>
                </a:cubicBezTo>
                <a:cubicBezTo>
                  <a:pt x="8738677" y="3934118"/>
                  <a:pt x="8736946" y="3933852"/>
                  <a:pt x="8735083" y="3933852"/>
                </a:cubicBezTo>
                <a:close/>
                <a:moveTo>
                  <a:pt x="8517438" y="3933852"/>
                </a:moveTo>
                <a:cubicBezTo>
                  <a:pt x="8511713" y="3933852"/>
                  <a:pt x="8509051" y="3935849"/>
                  <a:pt x="8507453" y="3937447"/>
                </a:cubicBezTo>
                <a:cubicBezTo>
                  <a:pt x="8504925" y="3940109"/>
                  <a:pt x="8503860" y="3942904"/>
                  <a:pt x="8503860" y="3946897"/>
                </a:cubicBezTo>
                <a:cubicBezTo>
                  <a:pt x="8503860" y="3951025"/>
                  <a:pt x="8504925" y="3953820"/>
                  <a:pt x="8507453" y="3956349"/>
                </a:cubicBezTo>
                <a:cubicBezTo>
                  <a:pt x="8509051" y="3957947"/>
                  <a:pt x="8511581" y="3959810"/>
                  <a:pt x="8517438" y="3959810"/>
                </a:cubicBezTo>
                <a:cubicBezTo>
                  <a:pt x="8519568" y="3959810"/>
                  <a:pt x="8521299" y="3959411"/>
                  <a:pt x="8522763" y="3959011"/>
                </a:cubicBezTo>
                <a:cubicBezTo>
                  <a:pt x="8524227" y="3958479"/>
                  <a:pt x="8525559" y="3957548"/>
                  <a:pt x="8526490" y="3956615"/>
                </a:cubicBezTo>
                <a:cubicBezTo>
                  <a:pt x="8527555" y="3955417"/>
                  <a:pt x="8528487" y="3954086"/>
                  <a:pt x="8529152" y="3952355"/>
                </a:cubicBezTo>
                <a:cubicBezTo>
                  <a:pt x="8529818" y="3950758"/>
                  <a:pt x="8530084" y="3948894"/>
                  <a:pt x="8530084" y="3946897"/>
                </a:cubicBezTo>
                <a:cubicBezTo>
                  <a:pt x="8530084" y="3945034"/>
                  <a:pt x="8529818" y="3943304"/>
                  <a:pt x="8529152" y="3941706"/>
                </a:cubicBezTo>
                <a:cubicBezTo>
                  <a:pt x="8528487" y="3939975"/>
                  <a:pt x="8527555" y="3938645"/>
                  <a:pt x="8526490" y="3937447"/>
                </a:cubicBezTo>
                <a:cubicBezTo>
                  <a:pt x="8525425" y="3936382"/>
                  <a:pt x="8524094" y="3935449"/>
                  <a:pt x="8522496" y="3934784"/>
                </a:cubicBezTo>
                <a:cubicBezTo>
                  <a:pt x="8521032" y="3934118"/>
                  <a:pt x="8519302" y="3933852"/>
                  <a:pt x="8517438" y="3933852"/>
                </a:cubicBezTo>
                <a:close/>
                <a:moveTo>
                  <a:pt x="8299793" y="3933852"/>
                </a:moveTo>
                <a:cubicBezTo>
                  <a:pt x="8294068" y="3933852"/>
                  <a:pt x="8291406" y="3935849"/>
                  <a:pt x="8289809" y="3937447"/>
                </a:cubicBezTo>
                <a:cubicBezTo>
                  <a:pt x="8287280" y="3940109"/>
                  <a:pt x="8286215" y="3942904"/>
                  <a:pt x="8286215" y="3946897"/>
                </a:cubicBezTo>
                <a:cubicBezTo>
                  <a:pt x="8286215" y="3951025"/>
                  <a:pt x="8287280" y="3953820"/>
                  <a:pt x="8289809" y="3956349"/>
                </a:cubicBezTo>
                <a:cubicBezTo>
                  <a:pt x="8291406" y="3957947"/>
                  <a:pt x="8293935" y="3959810"/>
                  <a:pt x="8299793" y="3959810"/>
                </a:cubicBezTo>
                <a:cubicBezTo>
                  <a:pt x="8301923" y="3959810"/>
                  <a:pt x="8303653" y="3959411"/>
                  <a:pt x="8305118" y="3959011"/>
                </a:cubicBezTo>
                <a:cubicBezTo>
                  <a:pt x="8306582" y="3958479"/>
                  <a:pt x="8307913" y="3957548"/>
                  <a:pt x="8308844" y="3956615"/>
                </a:cubicBezTo>
                <a:cubicBezTo>
                  <a:pt x="8309910" y="3955417"/>
                  <a:pt x="8310842" y="3954086"/>
                  <a:pt x="8311507" y="3952355"/>
                </a:cubicBezTo>
                <a:cubicBezTo>
                  <a:pt x="8312172" y="3950758"/>
                  <a:pt x="8312439" y="3948894"/>
                  <a:pt x="8312439" y="3946897"/>
                </a:cubicBezTo>
                <a:cubicBezTo>
                  <a:pt x="8312439" y="3945034"/>
                  <a:pt x="8312172" y="3943304"/>
                  <a:pt x="8311507" y="3941706"/>
                </a:cubicBezTo>
                <a:cubicBezTo>
                  <a:pt x="8310842" y="3939975"/>
                  <a:pt x="8309910" y="3938645"/>
                  <a:pt x="8308844" y="3937447"/>
                </a:cubicBezTo>
                <a:cubicBezTo>
                  <a:pt x="8307779" y="3936382"/>
                  <a:pt x="8306448" y="3935449"/>
                  <a:pt x="8304851" y="3934784"/>
                </a:cubicBezTo>
                <a:cubicBezTo>
                  <a:pt x="8303387" y="3934118"/>
                  <a:pt x="8301790" y="3933852"/>
                  <a:pt x="8299793" y="3933852"/>
                </a:cubicBezTo>
                <a:close/>
                <a:moveTo>
                  <a:pt x="8082281" y="3933852"/>
                </a:moveTo>
                <a:cubicBezTo>
                  <a:pt x="8076424" y="3933852"/>
                  <a:pt x="8073894" y="3935849"/>
                  <a:pt x="8072297" y="3937447"/>
                </a:cubicBezTo>
                <a:cubicBezTo>
                  <a:pt x="8069768" y="3940109"/>
                  <a:pt x="8068703" y="3942904"/>
                  <a:pt x="8068703" y="3946897"/>
                </a:cubicBezTo>
                <a:cubicBezTo>
                  <a:pt x="8068703" y="3951025"/>
                  <a:pt x="8069768" y="3953820"/>
                  <a:pt x="8072297" y="3956349"/>
                </a:cubicBezTo>
                <a:cubicBezTo>
                  <a:pt x="8073894" y="3957947"/>
                  <a:pt x="8076424" y="3959810"/>
                  <a:pt x="8082281" y="3959810"/>
                </a:cubicBezTo>
                <a:cubicBezTo>
                  <a:pt x="8084277" y="3959810"/>
                  <a:pt x="8086007" y="3959411"/>
                  <a:pt x="8087605" y="3959011"/>
                </a:cubicBezTo>
                <a:cubicBezTo>
                  <a:pt x="8089069" y="3958479"/>
                  <a:pt x="8090401" y="3957548"/>
                  <a:pt x="8091332" y="3956615"/>
                </a:cubicBezTo>
                <a:cubicBezTo>
                  <a:pt x="8092397" y="3955417"/>
                  <a:pt x="8093329" y="3954086"/>
                  <a:pt x="8093994" y="3952355"/>
                </a:cubicBezTo>
                <a:cubicBezTo>
                  <a:pt x="8094660" y="3950758"/>
                  <a:pt x="8094926" y="3948894"/>
                  <a:pt x="8094926" y="3946897"/>
                </a:cubicBezTo>
                <a:cubicBezTo>
                  <a:pt x="8094926" y="3945034"/>
                  <a:pt x="8094660" y="3943304"/>
                  <a:pt x="8093994" y="3941706"/>
                </a:cubicBezTo>
                <a:cubicBezTo>
                  <a:pt x="8093329" y="3939975"/>
                  <a:pt x="8092397" y="3938645"/>
                  <a:pt x="8091332" y="3937447"/>
                </a:cubicBezTo>
                <a:cubicBezTo>
                  <a:pt x="8090267" y="3936382"/>
                  <a:pt x="8088936" y="3935449"/>
                  <a:pt x="8087338" y="3934784"/>
                </a:cubicBezTo>
                <a:cubicBezTo>
                  <a:pt x="8085874" y="3934118"/>
                  <a:pt x="8084277" y="3933852"/>
                  <a:pt x="8082281" y="3933852"/>
                </a:cubicBezTo>
                <a:close/>
                <a:moveTo>
                  <a:pt x="7864636" y="3933852"/>
                </a:moveTo>
                <a:cubicBezTo>
                  <a:pt x="7858779" y="3933852"/>
                  <a:pt x="7856249" y="3935849"/>
                  <a:pt x="7854652" y="3937447"/>
                </a:cubicBezTo>
                <a:cubicBezTo>
                  <a:pt x="7852123" y="3940109"/>
                  <a:pt x="7851058" y="3942904"/>
                  <a:pt x="7851058" y="3946897"/>
                </a:cubicBezTo>
                <a:cubicBezTo>
                  <a:pt x="7851058" y="3951025"/>
                  <a:pt x="7852123" y="3953820"/>
                  <a:pt x="7854652" y="3956349"/>
                </a:cubicBezTo>
                <a:cubicBezTo>
                  <a:pt x="7856249" y="3957947"/>
                  <a:pt x="7858779" y="3959810"/>
                  <a:pt x="7864636" y="3959810"/>
                </a:cubicBezTo>
                <a:cubicBezTo>
                  <a:pt x="7866633" y="3959810"/>
                  <a:pt x="7868363" y="3959411"/>
                  <a:pt x="7869961" y="3959011"/>
                </a:cubicBezTo>
                <a:cubicBezTo>
                  <a:pt x="7871425" y="3958479"/>
                  <a:pt x="7872756" y="3957548"/>
                  <a:pt x="7873687" y="3956615"/>
                </a:cubicBezTo>
                <a:cubicBezTo>
                  <a:pt x="7874753" y="3955417"/>
                  <a:pt x="7875685" y="3954086"/>
                  <a:pt x="7876350" y="3952355"/>
                </a:cubicBezTo>
                <a:cubicBezTo>
                  <a:pt x="7877015" y="3950758"/>
                  <a:pt x="7877282" y="3948894"/>
                  <a:pt x="7877282" y="3946897"/>
                </a:cubicBezTo>
                <a:cubicBezTo>
                  <a:pt x="7877282" y="3945034"/>
                  <a:pt x="7877015" y="3943304"/>
                  <a:pt x="7876350" y="3941706"/>
                </a:cubicBezTo>
                <a:cubicBezTo>
                  <a:pt x="7875685" y="3939975"/>
                  <a:pt x="7874753" y="3938645"/>
                  <a:pt x="7873687" y="3937447"/>
                </a:cubicBezTo>
                <a:cubicBezTo>
                  <a:pt x="7872623" y="3936382"/>
                  <a:pt x="7871291" y="3935449"/>
                  <a:pt x="7869694" y="3934784"/>
                </a:cubicBezTo>
                <a:cubicBezTo>
                  <a:pt x="7868230" y="3934118"/>
                  <a:pt x="7866633" y="3933852"/>
                  <a:pt x="7864636" y="3933852"/>
                </a:cubicBezTo>
                <a:close/>
                <a:moveTo>
                  <a:pt x="7646991" y="3933852"/>
                </a:moveTo>
                <a:cubicBezTo>
                  <a:pt x="7641134" y="3933852"/>
                  <a:pt x="7638604" y="3935849"/>
                  <a:pt x="7637007" y="3937447"/>
                </a:cubicBezTo>
                <a:cubicBezTo>
                  <a:pt x="7634478" y="3940109"/>
                  <a:pt x="7633413" y="3942904"/>
                  <a:pt x="7633413" y="3946897"/>
                </a:cubicBezTo>
                <a:cubicBezTo>
                  <a:pt x="7633413" y="3951025"/>
                  <a:pt x="7634478" y="3953820"/>
                  <a:pt x="7637007" y="3956349"/>
                </a:cubicBezTo>
                <a:cubicBezTo>
                  <a:pt x="7638604" y="3957947"/>
                  <a:pt x="7641134" y="3959810"/>
                  <a:pt x="7646991" y="3959810"/>
                </a:cubicBezTo>
                <a:cubicBezTo>
                  <a:pt x="7648987" y="3959810"/>
                  <a:pt x="7650851" y="3959411"/>
                  <a:pt x="7652315" y="3959011"/>
                </a:cubicBezTo>
                <a:cubicBezTo>
                  <a:pt x="7653780" y="3958479"/>
                  <a:pt x="7655111" y="3957548"/>
                  <a:pt x="7656042" y="3956615"/>
                </a:cubicBezTo>
                <a:cubicBezTo>
                  <a:pt x="7657108" y="3955417"/>
                  <a:pt x="7658039" y="3954086"/>
                  <a:pt x="7658705" y="3952355"/>
                </a:cubicBezTo>
                <a:cubicBezTo>
                  <a:pt x="7659504" y="3950758"/>
                  <a:pt x="7659769" y="3948894"/>
                  <a:pt x="7659769" y="3946897"/>
                </a:cubicBezTo>
                <a:cubicBezTo>
                  <a:pt x="7659769" y="3945034"/>
                  <a:pt x="7659370" y="3943304"/>
                  <a:pt x="7658705" y="3941706"/>
                </a:cubicBezTo>
                <a:cubicBezTo>
                  <a:pt x="7658039" y="3939975"/>
                  <a:pt x="7657108" y="3938645"/>
                  <a:pt x="7656042" y="3937447"/>
                </a:cubicBezTo>
                <a:cubicBezTo>
                  <a:pt x="7654977" y="3936382"/>
                  <a:pt x="7653646" y="3935449"/>
                  <a:pt x="7652049" y="3934784"/>
                </a:cubicBezTo>
                <a:cubicBezTo>
                  <a:pt x="7650584" y="3934118"/>
                  <a:pt x="7648987" y="3933852"/>
                  <a:pt x="7646991" y="3933852"/>
                </a:cubicBezTo>
                <a:close/>
                <a:moveTo>
                  <a:pt x="7429345" y="3933852"/>
                </a:moveTo>
                <a:cubicBezTo>
                  <a:pt x="7423488" y="3933852"/>
                  <a:pt x="7420958" y="3935849"/>
                  <a:pt x="7419361" y="3937447"/>
                </a:cubicBezTo>
                <a:cubicBezTo>
                  <a:pt x="7416832" y="3940109"/>
                  <a:pt x="7415768" y="3942904"/>
                  <a:pt x="7415768" y="3946897"/>
                </a:cubicBezTo>
                <a:cubicBezTo>
                  <a:pt x="7415768" y="3951025"/>
                  <a:pt x="7416832" y="3953820"/>
                  <a:pt x="7419361" y="3956349"/>
                </a:cubicBezTo>
                <a:cubicBezTo>
                  <a:pt x="7420958" y="3957947"/>
                  <a:pt x="7423488" y="3959810"/>
                  <a:pt x="7429345" y="3959810"/>
                </a:cubicBezTo>
                <a:cubicBezTo>
                  <a:pt x="7431342" y="3959810"/>
                  <a:pt x="7433206" y="3959411"/>
                  <a:pt x="7434670" y="3959011"/>
                </a:cubicBezTo>
                <a:cubicBezTo>
                  <a:pt x="7436134" y="3958479"/>
                  <a:pt x="7437466" y="3957548"/>
                  <a:pt x="7438397" y="3956615"/>
                </a:cubicBezTo>
                <a:cubicBezTo>
                  <a:pt x="7439462" y="3955417"/>
                  <a:pt x="7440394" y="3954086"/>
                  <a:pt x="7441059" y="3952355"/>
                </a:cubicBezTo>
                <a:cubicBezTo>
                  <a:pt x="7441858" y="3950758"/>
                  <a:pt x="7442124" y="3948894"/>
                  <a:pt x="7442124" y="3946897"/>
                </a:cubicBezTo>
                <a:cubicBezTo>
                  <a:pt x="7442124" y="3945034"/>
                  <a:pt x="7441725" y="3943304"/>
                  <a:pt x="7441059" y="3941706"/>
                </a:cubicBezTo>
                <a:cubicBezTo>
                  <a:pt x="7440394" y="3939975"/>
                  <a:pt x="7439462" y="3938645"/>
                  <a:pt x="7438397" y="3937447"/>
                </a:cubicBezTo>
                <a:cubicBezTo>
                  <a:pt x="7437332" y="3936382"/>
                  <a:pt x="7436001" y="3935449"/>
                  <a:pt x="7434403" y="3934784"/>
                </a:cubicBezTo>
                <a:cubicBezTo>
                  <a:pt x="7432939" y="3934118"/>
                  <a:pt x="7431342" y="3933852"/>
                  <a:pt x="7429345" y="3933852"/>
                </a:cubicBezTo>
                <a:close/>
                <a:moveTo>
                  <a:pt x="7211701" y="3933852"/>
                </a:moveTo>
                <a:cubicBezTo>
                  <a:pt x="7205844" y="3933852"/>
                  <a:pt x="7203314" y="3935849"/>
                  <a:pt x="7201717" y="3937447"/>
                </a:cubicBezTo>
                <a:cubicBezTo>
                  <a:pt x="7199188" y="3940109"/>
                  <a:pt x="7198123" y="3942904"/>
                  <a:pt x="7198123" y="3946897"/>
                </a:cubicBezTo>
                <a:cubicBezTo>
                  <a:pt x="7198123" y="3951025"/>
                  <a:pt x="7199188" y="3953820"/>
                  <a:pt x="7201717" y="3956349"/>
                </a:cubicBezTo>
                <a:cubicBezTo>
                  <a:pt x="7203314" y="3957947"/>
                  <a:pt x="7205844" y="3959810"/>
                  <a:pt x="7211701" y="3959810"/>
                </a:cubicBezTo>
                <a:cubicBezTo>
                  <a:pt x="7213830" y="3959810"/>
                  <a:pt x="7215561" y="3959411"/>
                  <a:pt x="7217026" y="3959011"/>
                </a:cubicBezTo>
                <a:cubicBezTo>
                  <a:pt x="7218490" y="3958479"/>
                  <a:pt x="7219821" y="3957548"/>
                  <a:pt x="7220752" y="3956615"/>
                </a:cubicBezTo>
                <a:cubicBezTo>
                  <a:pt x="7221818" y="3955417"/>
                  <a:pt x="7222750" y="3954086"/>
                  <a:pt x="7223415" y="3952355"/>
                </a:cubicBezTo>
                <a:cubicBezTo>
                  <a:pt x="7224214" y="3950758"/>
                  <a:pt x="7224480" y="3948894"/>
                  <a:pt x="7224480" y="3946897"/>
                </a:cubicBezTo>
                <a:cubicBezTo>
                  <a:pt x="7224480" y="3945034"/>
                  <a:pt x="7224080" y="3943304"/>
                  <a:pt x="7223415" y="3941706"/>
                </a:cubicBezTo>
                <a:cubicBezTo>
                  <a:pt x="7222750" y="3939975"/>
                  <a:pt x="7221818" y="3938645"/>
                  <a:pt x="7220752" y="3937447"/>
                </a:cubicBezTo>
                <a:cubicBezTo>
                  <a:pt x="7219687" y="3936382"/>
                  <a:pt x="7218356" y="3935449"/>
                  <a:pt x="7216759" y="3934784"/>
                </a:cubicBezTo>
                <a:cubicBezTo>
                  <a:pt x="7215295" y="3934118"/>
                  <a:pt x="7213698" y="3933852"/>
                  <a:pt x="7211701" y="3933852"/>
                </a:cubicBezTo>
                <a:close/>
                <a:moveTo>
                  <a:pt x="6994056" y="3933852"/>
                </a:moveTo>
                <a:cubicBezTo>
                  <a:pt x="6988199" y="3933852"/>
                  <a:pt x="6985669" y="3935849"/>
                  <a:pt x="6984072" y="3937447"/>
                </a:cubicBezTo>
                <a:cubicBezTo>
                  <a:pt x="6981543" y="3940109"/>
                  <a:pt x="6980478" y="3942904"/>
                  <a:pt x="6980478" y="3946897"/>
                </a:cubicBezTo>
                <a:cubicBezTo>
                  <a:pt x="6980478" y="3951025"/>
                  <a:pt x="6981543" y="3953820"/>
                  <a:pt x="6984072" y="3956349"/>
                </a:cubicBezTo>
                <a:cubicBezTo>
                  <a:pt x="6985669" y="3957947"/>
                  <a:pt x="6988199" y="3959810"/>
                  <a:pt x="6994056" y="3959810"/>
                </a:cubicBezTo>
                <a:cubicBezTo>
                  <a:pt x="6996185" y="3959810"/>
                  <a:pt x="6997916" y="3959411"/>
                  <a:pt x="6999380" y="3959011"/>
                </a:cubicBezTo>
                <a:cubicBezTo>
                  <a:pt x="7000844" y="3958479"/>
                  <a:pt x="7002176" y="3957548"/>
                  <a:pt x="7003107" y="3956615"/>
                </a:cubicBezTo>
                <a:cubicBezTo>
                  <a:pt x="7004172" y="3955417"/>
                  <a:pt x="7005104" y="3954086"/>
                  <a:pt x="7005769" y="3952355"/>
                </a:cubicBezTo>
                <a:cubicBezTo>
                  <a:pt x="7006568" y="3950758"/>
                  <a:pt x="7006834" y="3948894"/>
                  <a:pt x="7006834" y="3946897"/>
                </a:cubicBezTo>
                <a:cubicBezTo>
                  <a:pt x="7006834" y="3945034"/>
                  <a:pt x="7006435" y="3943304"/>
                  <a:pt x="7005769" y="3941706"/>
                </a:cubicBezTo>
                <a:cubicBezTo>
                  <a:pt x="7005104" y="3939975"/>
                  <a:pt x="7004172" y="3938645"/>
                  <a:pt x="7003107" y="3937447"/>
                </a:cubicBezTo>
                <a:cubicBezTo>
                  <a:pt x="7002042" y="3936382"/>
                  <a:pt x="7000711" y="3935449"/>
                  <a:pt x="6999113" y="3934784"/>
                </a:cubicBezTo>
                <a:cubicBezTo>
                  <a:pt x="6997649" y="3934118"/>
                  <a:pt x="6996052" y="3933852"/>
                  <a:pt x="6994056" y="3933852"/>
                </a:cubicBezTo>
                <a:close/>
                <a:moveTo>
                  <a:pt x="6776544" y="3933852"/>
                </a:moveTo>
                <a:cubicBezTo>
                  <a:pt x="6770687" y="3933852"/>
                  <a:pt x="6768157" y="3935849"/>
                  <a:pt x="6766560" y="3937447"/>
                </a:cubicBezTo>
                <a:cubicBezTo>
                  <a:pt x="6764031" y="3940109"/>
                  <a:pt x="6762966" y="3942904"/>
                  <a:pt x="6762966" y="3946897"/>
                </a:cubicBezTo>
                <a:cubicBezTo>
                  <a:pt x="6762966" y="3951025"/>
                  <a:pt x="6764031" y="3953820"/>
                  <a:pt x="6766560" y="3956349"/>
                </a:cubicBezTo>
                <a:cubicBezTo>
                  <a:pt x="6768157" y="3957947"/>
                  <a:pt x="6770687" y="3959810"/>
                  <a:pt x="6776544" y="3959810"/>
                </a:cubicBezTo>
                <a:cubicBezTo>
                  <a:pt x="6778541" y="3959810"/>
                  <a:pt x="6780270" y="3959411"/>
                  <a:pt x="6781869" y="3959011"/>
                </a:cubicBezTo>
                <a:cubicBezTo>
                  <a:pt x="6783333" y="3958479"/>
                  <a:pt x="6784664" y="3957548"/>
                  <a:pt x="6785595" y="3956615"/>
                </a:cubicBezTo>
                <a:cubicBezTo>
                  <a:pt x="6786661" y="3955417"/>
                  <a:pt x="6787593" y="3954086"/>
                  <a:pt x="6788258" y="3952355"/>
                </a:cubicBezTo>
                <a:cubicBezTo>
                  <a:pt x="6789057" y="3950758"/>
                  <a:pt x="6789323" y="3948894"/>
                  <a:pt x="6789323" y="3946897"/>
                </a:cubicBezTo>
                <a:cubicBezTo>
                  <a:pt x="6789323" y="3945034"/>
                  <a:pt x="6788923" y="3943304"/>
                  <a:pt x="6788258" y="3941706"/>
                </a:cubicBezTo>
                <a:cubicBezTo>
                  <a:pt x="6787593" y="3939975"/>
                  <a:pt x="6786661" y="3938645"/>
                  <a:pt x="6785595" y="3937447"/>
                </a:cubicBezTo>
                <a:cubicBezTo>
                  <a:pt x="6784530" y="3936382"/>
                  <a:pt x="6783199" y="3935449"/>
                  <a:pt x="6781602" y="3934784"/>
                </a:cubicBezTo>
                <a:cubicBezTo>
                  <a:pt x="6780138" y="3934118"/>
                  <a:pt x="6778541" y="3933852"/>
                  <a:pt x="6776544" y="3933852"/>
                </a:cubicBezTo>
                <a:close/>
                <a:moveTo>
                  <a:pt x="6558899" y="3933852"/>
                </a:moveTo>
                <a:cubicBezTo>
                  <a:pt x="6553042" y="3933852"/>
                  <a:pt x="6550512" y="3935849"/>
                  <a:pt x="6548915" y="3937447"/>
                </a:cubicBezTo>
                <a:cubicBezTo>
                  <a:pt x="6546386" y="3940109"/>
                  <a:pt x="6545321" y="3942904"/>
                  <a:pt x="6545321" y="3946897"/>
                </a:cubicBezTo>
                <a:cubicBezTo>
                  <a:pt x="6545321" y="3951025"/>
                  <a:pt x="6546386" y="3953820"/>
                  <a:pt x="6548915" y="3956349"/>
                </a:cubicBezTo>
                <a:cubicBezTo>
                  <a:pt x="6550512" y="3957947"/>
                  <a:pt x="6553042" y="3959810"/>
                  <a:pt x="6558899" y="3959810"/>
                </a:cubicBezTo>
                <a:cubicBezTo>
                  <a:pt x="6560895" y="3959810"/>
                  <a:pt x="6562759" y="3959411"/>
                  <a:pt x="6564223" y="3959011"/>
                </a:cubicBezTo>
                <a:cubicBezTo>
                  <a:pt x="6565687" y="3958479"/>
                  <a:pt x="6567019" y="3957548"/>
                  <a:pt x="6567950" y="3956615"/>
                </a:cubicBezTo>
                <a:cubicBezTo>
                  <a:pt x="6569015" y="3955417"/>
                  <a:pt x="6569947" y="3954086"/>
                  <a:pt x="6570612" y="3952355"/>
                </a:cubicBezTo>
                <a:cubicBezTo>
                  <a:pt x="6571412" y="3950758"/>
                  <a:pt x="6571677" y="3948894"/>
                  <a:pt x="6571677" y="3946897"/>
                </a:cubicBezTo>
                <a:cubicBezTo>
                  <a:pt x="6571677" y="3945034"/>
                  <a:pt x="6571278" y="3943304"/>
                  <a:pt x="6570612" y="3941706"/>
                </a:cubicBezTo>
                <a:cubicBezTo>
                  <a:pt x="6569947" y="3939975"/>
                  <a:pt x="6569015" y="3938645"/>
                  <a:pt x="6567950" y="3937447"/>
                </a:cubicBezTo>
                <a:cubicBezTo>
                  <a:pt x="6566885" y="3936382"/>
                  <a:pt x="6565554" y="3935449"/>
                  <a:pt x="6563956" y="3934784"/>
                </a:cubicBezTo>
                <a:cubicBezTo>
                  <a:pt x="6562492" y="3934118"/>
                  <a:pt x="6560895" y="3933852"/>
                  <a:pt x="6558899" y="3933852"/>
                </a:cubicBezTo>
                <a:close/>
                <a:moveTo>
                  <a:pt x="6341253" y="3933852"/>
                </a:moveTo>
                <a:cubicBezTo>
                  <a:pt x="6335396" y="3933852"/>
                  <a:pt x="6332867" y="3935849"/>
                  <a:pt x="6331270" y="3937447"/>
                </a:cubicBezTo>
                <a:cubicBezTo>
                  <a:pt x="6328740" y="3940109"/>
                  <a:pt x="6327675" y="3942904"/>
                  <a:pt x="6327675" y="3946897"/>
                </a:cubicBezTo>
                <a:cubicBezTo>
                  <a:pt x="6327675" y="3951025"/>
                  <a:pt x="6328740" y="3953820"/>
                  <a:pt x="6331270" y="3956349"/>
                </a:cubicBezTo>
                <a:cubicBezTo>
                  <a:pt x="6332867" y="3957947"/>
                  <a:pt x="6335396" y="3959810"/>
                  <a:pt x="6341253" y="3959810"/>
                </a:cubicBezTo>
                <a:cubicBezTo>
                  <a:pt x="6343250" y="3959810"/>
                  <a:pt x="6345114" y="3959411"/>
                  <a:pt x="6346578" y="3959011"/>
                </a:cubicBezTo>
                <a:cubicBezTo>
                  <a:pt x="6348042" y="3958479"/>
                  <a:pt x="6349373" y="3957548"/>
                  <a:pt x="6350305" y="3956615"/>
                </a:cubicBezTo>
                <a:cubicBezTo>
                  <a:pt x="6351370" y="3955417"/>
                  <a:pt x="6352302" y="3954086"/>
                  <a:pt x="6352968" y="3952355"/>
                </a:cubicBezTo>
                <a:cubicBezTo>
                  <a:pt x="6353766" y="3950758"/>
                  <a:pt x="6354033" y="3948894"/>
                  <a:pt x="6354033" y="3946897"/>
                </a:cubicBezTo>
                <a:cubicBezTo>
                  <a:pt x="6354033" y="3945034"/>
                  <a:pt x="6353633" y="3943304"/>
                  <a:pt x="6352968" y="3941706"/>
                </a:cubicBezTo>
                <a:cubicBezTo>
                  <a:pt x="6352302" y="3939975"/>
                  <a:pt x="6351370" y="3938645"/>
                  <a:pt x="6350305" y="3937447"/>
                </a:cubicBezTo>
                <a:cubicBezTo>
                  <a:pt x="6349241" y="3936382"/>
                  <a:pt x="6347909" y="3935449"/>
                  <a:pt x="6346312" y="3934784"/>
                </a:cubicBezTo>
                <a:cubicBezTo>
                  <a:pt x="6344848" y="3934118"/>
                  <a:pt x="6343250" y="3933852"/>
                  <a:pt x="6341253" y="3933852"/>
                </a:cubicBezTo>
                <a:close/>
                <a:moveTo>
                  <a:pt x="6123608" y="3933852"/>
                </a:moveTo>
                <a:cubicBezTo>
                  <a:pt x="6117751" y="3933852"/>
                  <a:pt x="6115221" y="3935849"/>
                  <a:pt x="6113624" y="3937447"/>
                </a:cubicBezTo>
                <a:cubicBezTo>
                  <a:pt x="6111095" y="3940109"/>
                  <a:pt x="6110030" y="3942904"/>
                  <a:pt x="6110030" y="3946897"/>
                </a:cubicBezTo>
                <a:cubicBezTo>
                  <a:pt x="6110030" y="3951025"/>
                  <a:pt x="6111095" y="3953820"/>
                  <a:pt x="6113624" y="3956349"/>
                </a:cubicBezTo>
                <a:cubicBezTo>
                  <a:pt x="6115221" y="3957947"/>
                  <a:pt x="6117751" y="3959810"/>
                  <a:pt x="6123608" y="3959810"/>
                </a:cubicBezTo>
                <a:cubicBezTo>
                  <a:pt x="6125737" y="3959810"/>
                  <a:pt x="6127468" y="3959411"/>
                  <a:pt x="6128932" y="3959011"/>
                </a:cubicBezTo>
                <a:cubicBezTo>
                  <a:pt x="6130530" y="3958479"/>
                  <a:pt x="6131728" y="3957548"/>
                  <a:pt x="6132659" y="3956615"/>
                </a:cubicBezTo>
                <a:cubicBezTo>
                  <a:pt x="6133724" y="3955417"/>
                  <a:pt x="6134656" y="3954086"/>
                  <a:pt x="6135322" y="3952355"/>
                </a:cubicBezTo>
                <a:cubicBezTo>
                  <a:pt x="6135987" y="3950758"/>
                  <a:pt x="6136387" y="3948894"/>
                  <a:pt x="6136387" y="3946897"/>
                </a:cubicBezTo>
                <a:cubicBezTo>
                  <a:pt x="6136387" y="3945034"/>
                  <a:pt x="6135987" y="3943304"/>
                  <a:pt x="6135322" y="3941706"/>
                </a:cubicBezTo>
                <a:cubicBezTo>
                  <a:pt x="6134656" y="3939975"/>
                  <a:pt x="6133724" y="3938645"/>
                  <a:pt x="6132659" y="3937447"/>
                </a:cubicBezTo>
                <a:cubicBezTo>
                  <a:pt x="6131594" y="3936382"/>
                  <a:pt x="6130263" y="3935449"/>
                  <a:pt x="6128666" y="3934784"/>
                </a:cubicBezTo>
                <a:cubicBezTo>
                  <a:pt x="6127202" y="3934118"/>
                  <a:pt x="6125604" y="3933852"/>
                  <a:pt x="6123608" y="3933852"/>
                </a:cubicBezTo>
                <a:close/>
                <a:moveTo>
                  <a:pt x="5905963" y="3933852"/>
                </a:moveTo>
                <a:cubicBezTo>
                  <a:pt x="5900106" y="3933852"/>
                  <a:pt x="5897576" y="3935849"/>
                  <a:pt x="5895979" y="3937447"/>
                </a:cubicBezTo>
                <a:cubicBezTo>
                  <a:pt x="5893450" y="3940109"/>
                  <a:pt x="5892385" y="3942904"/>
                  <a:pt x="5892385" y="3946897"/>
                </a:cubicBezTo>
                <a:cubicBezTo>
                  <a:pt x="5892385" y="3951025"/>
                  <a:pt x="5893450" y="3953820"/>
                  <a:pt x="5895979" y="3956349"/>
                </a:cubicBezTo>
                <a:cubicBezTo>
                  <a:pt x="5897576" y="3957947"/>
                  <a:pt x="5900106" y="3959810"/>
                  <a:pt x="5905963" y="3959810"/>
                </a:cubicBezTo>
                <a:cubicBezTo>
                  <a:pt x="5908093" y="3959810"/>
                  <a:pt x="5909823" y="3959411"/>
                  <a:pt x="5911287" y="3959011"/>
                </a:cubicBezTo>
                <a:cubicBezTo>
                  <a:pt x="5912751" y="3958479"/>
                  <a:pt x="5914083" y="3957548"/>
                  <a:pt x="5915014" y="3956615"/>
                </a:cubicBezTo>
                <a:cubicBezTo>
                  <a:pt x="5916079" y="3955417"/>
                  <a:pt x="5917011" y="3954086"/>
                  <a:pt x="5917677" y="3952355"/>
                </a:cubicBezTo>
                <a:cubicBezTo>
                  <a:pt x="5918342" y="3950758"/>
                  <a:pt x="5918742" y="3948894"/>
                  <a:pt x="5918742" y="3946897"/>
                </a:cubicBezTo>
                <a:cubicBezTo>
                  <a:pt x="5918742" y="3945034"/>
                  <a:pt x="5918342" y="3943304"/>
                  <a:pt x="5917677" y="3941706"/>
                </a:cubicBezTo>
                <a:cubicBezTo>
                  <a:pt x="5917011" y="3939975"/>
                  <a:pt x="5916079" y="3938645"/>
                  <a:pt x="5915014" y="3937447"/>
                </a:cubicBezTo>
                <a:cubicBezTo>
                  <a:pt x="5913950" y="3936382"/>
                  <a:pt x="5912618" y="3935449"/>
                  <a:pt x="5911021" y="3934784"/>
                </a:cubicBezTo>
                <a:cubicBezTo>
                  <a:pt x="5909557" y="3934118"/>
                  <a:pt x="5907826" y="3933852"/>
                  <a:pt x="5905963" y="3933852"/>
                </a:cubicBezTo>
                <a:close/>
                <a:moveTo>
                  <a:pt x="5688451" y="3933852"/>
                </a:moveTo>
                <a:cubicBezTo>
                  <a:pt x="5682594" y="3933852"/>
                  <a:pt x="5680064" y="3935849"/>
                  <a:pt x="5678467" y="3937447"/>
                </a:cubicBezTo>
                <a:cubicBezTo>
                  <a:pt x="5675938" y="3940109"/>
                  <a:pt x="5674873" y="3942904"/>
                  <a:pt x="5674873" y="3946897"/>
                </a:cubicBezTo>
                <a:cubicBezTo>
                  <a:pt x="5674873" y="3951025"/>
                  <a:pt x="5675938" y="3953820"/>
                  <a:pt x="5678467" y="3956349"/>
                </a:cubicBezTo>
                <a:cubicBezTo>
                  <a:pt x="5680064" y="3957947"/>
                  <a:pt x="5682594" y="3959810"/>
                  <a:pt x="5688451" y="3959810"/>
                </a:cubicBezTo>
                <a:cubicBezTo>
                  <a:pt x="5690447" y="3959810"/>
                  <a:pt x="5692178" y="3959411"/>
                  <a:pt x="5693775" y="3959011"/>
                </a:cubicBezTo>
                <a:cubicBezTo>
                  <a:pt x="5695239" y="3958479"/>
                  <a:pt x="5696571" y="3957548"/>
                  <a:pt x="5697502" y="3956615"/>
                </a:cubicBezTo>
                <a:cubicBezTo>
                  <a:pt x="5698567" y="3955417"/>
                  <a:pt x="5699499" y="3954086"/>
                  <a:pt x="5700165" y="3952355"/>
                </a:cubicBezTo>
                <a:cubicBezTo>
                  <a:pt x="5700830" y="3950758"/>
                  <a:pt x="5701230" y="3948894"/>
                  <a:pt x="5701230" y="3946897"/>
                </a:cubicBezTo>
                <a:cubicBezTo>
                  <a:pt x="5701230" y="3945034"/>
                  <a:pt x="5700830" y="3943304"/>
                  <a:pt x="5700165" y="3941706"/>
                </a:cubicBezTo>
                <a:cubicBezTo>
                  <a:pt x="5699499" y="3939975"/>
                  <a:pt x="5698567" y="3938645"/>
                  <a:pt x="5697502" y="3937447"/>
                </a:cubicBezTo>
                <a:cubicBezTo>
                  <a:pt x="5696437" y="3936382"/>
                  <a:pt x="5695106" y="3935449"/>
                  <a:pt x="5693509" y="3934784"/>
                </a:cubicBezTo>
                <a:cubicBezTo>
                  <a:pt x="5692045" y="3934118"/>
                  <a:pt x="5690314" y="3933852"/>
                  <a:pt x="5688451" y="3933852"/>
                </a:cubicBezTo>
                <a:close/>
                <a:moveTo>
                  <a:pt x="5470806" y="3933852"/>
                </a:moveTo>
                <a:cubicBezTo>
                  <a:pt x="5464949" y="3933852"/>
                  <a:pt x="5462419" y="3935849"/>
                  <a:pt x="5460822" y="3937447"/>
                </a:cubicBezTo>
                <a:cubicBezTo>
                  <a:pt x="5458293" y="3940109"/>
                  <a:pt x="5457228" y="3942904"/>
                  <a:pt x="5457228" y="3946897"/>
                </a:cubicBezTo>
                <a:cubicBezTo>
                  <a:pt x="5457228" y="3951025"/>
                  <a:pt x="5458293" y="3953820"/>
                  <a:pt x="5460822" y="3956349"/>
                </a:cubicBezTo>
                <a:cubicBezTo>
                  <a:pt x="5462419" y="3957947"/>
                  <a:pt x="5464949" y="3959810"/>
                  <a:pt x="5470806" y="3959810"/>
                </a:cubicBezTo>
                <a:cubicBezTo>
                  <a:pt x="5472802" y="3959810"/>
                  <a:pt x="5474666" y="3959411"/>
                  <a:pt x="5476130" y="3959011"/>
                </a:cubicBezTo>
                <a:cubicBezTo>
                  <a:pt x="5477594" y="3958479"/>
                  <a:pt x="5478926" y="3957548"/>
                  <a:pt x="5479857" y="3956615"/>
                </a:cubicBezTo>
                <a:cubicBezTo>
                  <a:pt x="5480922" y="3955417"/>
                  <a:pt x="5481854" y="3954086"/>
                  <a:pt x="5482520" y="3952355"/>
                </a:cubicBezTo>
                <a:cubicBezTo>
                  <a:pt x="5483319" y="3950758"/>
                  <a:pt x="5483585" y="3948894"/>
                  <a:pt x="5483585" y="3946897"/>
                </a:cubicBezTo>
                <a:cubicBezTo>
                  <a:pt x="5483585" y="3945034"/>
                  <a:pt x="5483185" y="3943304"/>
                  <a:pt x="5482520" y="3941706"/>
                </a:cubicBezTo>
                <a:cubicBezTo>
                  <a:pt x="5481854" y="3939975"/>
                  <a:pt x="5480922" y="3938645"/>
                  <a:pt x="5479857" y="3937447"/>
                </a:cubicBezTo>
                <a:cubicBezTo>
                  <a:pt x="5478793" y="3936382"/>
                  <a:pt x="5477461" y="3935449"/>
                  <a:pt x="5475864" y="3934784"/>
                </a:cubicBezTo>
                <a:cubicBezTo>
                  <a:pt x="5474400" y="3934118"/>
                  <a:pt x="5472669" y="3933852"/>
                  <a:pt x="5470806" y="3933852"/>
                </a:cubicBezTo>
                <a:close/>
                <a:moveTo>
                  <a:pt x="5253160" y="3933852"/>
                </a:moveTo>
                <a:cubicBezTo>
                  <a:pt x="5247303" y="3933852"/>
                  <a:pt x="5244774" y="3935849"/>
                  <a:pt x="5243177" y="3937447"/>
                </a:cubicBezTo>
                <a:cubicBezTo>
                  <a:pt x="5240647" y="3940109"/>
                  <a:pt x="5239583" y="3942904"/>
                  <a:pt x="5239583" y="3946897"/>
                </a:cubicBezTo>
                <a:cubicBezTo>
                  <a:pt x="5239583" y="3951025"/>
                  <a:pt x="5240647" y="3953820"/>
                  <a:pt x="5243177" y="3956349"/>
                </a:cubicBezTo>
                <a:cubicBezTo>
                  <a:pt x="5244774" y="3957947"/>
                  <a:pt x="5247303" y="3959810"/>
                  <a:pt x="5253160" y="3959810"/>
                </a:cubicBezTo>
                <a:cubicBezTo>
                  <a:pt x="5255157" y="3959810"/>
                  <a:pt x="5257021" y="3959411"/>
                  <a:pt x="5258485" y="3959011"/>
                </a:cubicBezTo>
                <a:cubicBezTo>
                  <a:pt x="5259949" y="3958479"/>
                  <a:pt x="5261280" y="3957548"/>
                  <a:pt x="5262212" y="3956615"/>
                </a:cubicBezTo>
                <a:cubicBezTo>
                  <a:pt x="5263277" y="3955417"/>
                  <a:pt x="5264209" y="3954086"/>
                  <a:pt x="5264875" y="3952355"/>
                </a:cubicBezTo>
                <a:cubicBezTo>
                  <a:pt x="5265673" y="3950758"/>
                  <a:pt x="5265939" y="3948894"/>
                  <a:pt x="5265939" y="3946897"/>
                </a:cubicBezTo>
                <a:cubicBezTo>
                  <a:pt x="5265939" y="3945034"/>
                  <a:pt x="5265540" y="3943304"/>
                  <a:pt x="5264875" y="3941706"/>
                </a:cubicBezTo>
                <a:cubicBezTo>
                  <a:pt x="5264209" y="3939975"/>
                  <a:pt x="5263277" y="3938645"/>
                  <a:pt x="5262212" y="3937447"/>
                </a:cubicBezTo>
                <a:cubicBezTo>
                  <a:pt x="5261147" y="3936382"/>
                  <a:pt x="5259816" y="3935449"/>
                  <a:pt x="5258219" y="3934784"/>
                </a:cubicBezTo>
                <a:cubicBezTo>
                  <a:pt x="5256754" y="3934118"/>
                  <a:pt x="5255024" y="3933852"/>
                  <a:pt x="5253160" y="3933852"/>
                </a:cubicBezTo>
                <a:close/>
                <a:moveTo>
                  <a:pt x="5035515" y="3933852"/>
                </a:moveTo>
                <a:cubicBezTo>
                  <a:pt x="5029658" y="3933852"/>
                  <a:pt x="5027129" y="3935849"/>
                  <a:pt x="5025532" y="3937447"/>
                </a:cubicBezTo>
                <a:cubicBezTo>
                  <a:pt x="5023002" y="3940109"/>
                  <a:pt x="5021938" y="3942904"/>
                  <a:pt x="5021938" y="3946897"/>
                </a:cubicBezTo>
                <a:cubicBezTo>
                  <a:pt x="5021938" y="3951025"/>
                  <a:pt x="5023002" y="3953820"/>
                  <a:pt x="5025532" y="3956349"/>
                </a:cubicBezTo>
                <a:cubicBezTo>
                  <a:pt x="5027129" y="3957947"/>
                  <a:pt x="5029658" y="3959810"/>
                  <a:pt x="5035515" y="3959810"/>
                </a:cubicBezTo>
                <a:cubicBezTo>
                  <a:pt x="5037645" y="3959810"/>
                  <a:pt x="5039376" y="3959411"/>
                  <a:pt x="5040840" y="3959011"/>
                </a:cubicBezTo>
                <a:cubicBezTo>
                  <a:pt x="5042304" y="3958479"/>
                  <a:pt x="5043636" y="3957548"/>
                  <a:pt x="5044567" y="3956615"/>
                </a:cubicBezTo>
                <a:cubicBezTo>
                  <a:pt x="5045632" y="3955417"/>
                  <a:pt x="5046564" y="3954086"/>
                  <a:pt x="5047230" y="3952355"/>
                </a:cubicBezTo>
                <a:cubicBezTo>
                  <a:pt x="5048028" y="3950758"/>
                  <a:pt x="5048294" y="3948894"/>
                  <a:pt x="5048294" y="3946897"/>
                </a:cubicBezTo>
                <a:cubicBezTo>
                  <a:pt x="5048294" y="3945034"/>
                  <a:pt x="5047895" y="3943304"/>
                  <a:pt x="5047230" y="3941706"/>
                </a:cubicBezTo>
                <a:cubicBezTo>
                  <a:pt x="5046564" y="3939975"/>
                  <a:pt x="5045632" y="3938645"/>
                  <a:pt x="5044567" y="3937447"/>
                </a:cubicBezTo>
                <a:cubicBezTo>
                  <a:pt x="5043502" y="3936382"/>
                  <a:pt x="5042171" y="3935449"/>
                  <a:pt x="5040574" y="3934784"/>
                </a:cubicBezTo>
                <a:cubicBezTo>
                  <a:pt x="5039110" y="3934118"/>
                  <a:pt x="5037379" y="3933852"/>
                  <a:pt x="5035515" y="3933852"/>
                </a:cubicBezTo>
                <a:close/>
                <a:moveTo>
                  <a:pt x="4817870" y="3933852"/>
                </a:moveTo>
                <a:cubicBezTo>
                  <a:pt x="4812013" y="3933852"/>
                  <a:pt x="4809484" y="3935849"/>
                  <a:pt x="4807887" y="3937447"/>
                </a:cubicBezTo>
                <a:cubicBezTo>
                  <a:pt x="4805357" y="3940109"/>
                  <a:pt x="4804293" y="3942904"/>
                  <a:pt x="4804293" y="3946897"/>
                </a:cubicBezTo>
                <a:cubicBezTo>
                  <a:pt x="4804293" y="3951025"/>
                  <a:pt x="4805357" y="3953820"/>
                  <a:pt x="4807887" y="3956349"/>
                </a:cubicBezTo>
                <a:cubicBezTo>
                  <a:pt x="4809484" y="3957947"/>
                  <a:pt x="4812013" y="3959810"/>
                  <a:pt x="4817870" y="3959810"/>
                </a:cubicBezTo>
                <a:cubicBezTo>
                  <a:pt x="4820000" y="3959810"/>
                  <a:pt x="4821731" y="3959411"/>
                  <a:pt x="4823195" y="3959011"/>
                </a:cubicBezTo>
                <a:cubicBezTo>
                  <a:pt x="4824659" y="3958479"/>
                  <a:pt x="4825857" y="3957548"/>
                  <a:pt x="4826922" y="3956615"/>
                </a:cubicBezTo>
                <a:cubicBezTo>
                  <a:pt x="4827987" y="3955417"/>
                  <a:pt x="4828919" y="3954086"/>
                  <a:pt x="4829585" y="3952355"/>
                </a:cubicBezTo>
                <a:cubicBezTo>
                  <a:pt x="4830383" y="3950758"/>
                  <a:pt x="4830650" y="3948894"/>
                  <a:pt x="4830650" y="3946897"/>
                </a:cubicBezTo>
                <a:cubicBezTo>
                  <a:pt x="4830650" y="3945034"/>
                  <a:pt x="4830250" y="3943304"/>
                  <a:pt x="4829585" y="3941706"/>
                </a:cubicBezTo>
                <a:cubicBezTo>
                  <a:pt x="4828919" y="3939975"/>
                  <a:pt x="4827987" y="3938645"/>
                  <a:pt x="4826922" y="3937447"/>
                </a:cubicBezTo>
                <a:cubicBezTo>
                  <a:pt x="4825857" y="3936382"/>
                  <a:pt x="4824526" y="3935449"/>
                  <a:pt x="4822929" y="3934784"/>
                </a:cubicBezTo>
                <a:cubicBezTo>
                  <a:pt x="4821465" y="3934118"/>
                  <a:pt x="4819734" y="3933852"/>
                  <a:pt x="4817870" y="3933852"/>
                </a:cubicBezTo>
                <a:close/>
                <a:moveTo>
                  <a:pt x="4600226" y="3933852"/>
                </a:moveTo>
                <a:cubicBezTo>
                  <a:pt x="4594369" y="3933852"/>
                  <a:pt x="4591839" y="3935849"/>
                  <a:pt x="4590242" y="3937447"/>
                </a:cubicBezTo>
                <a:cubicBezTo>
                  <a:pt x="4587713" y="3940109"/>
                  <a:pt x="4586648" y="3942904"/>
                  <a:pt x="4586648" y="3946897"/>
                </a:cubicBezTo>
                <a:cubicBezTo>
                  <a:pt x="4586648" y="3951025"/>
                  <a:pt x="4587713" y="3953820"/>
                  <a:pt x="4590242" y="3956349"/>
                </a:cubicBezTo>
                <a:cubicBezTo>
                  <a:pt x="4591839" y="3957947"/>
                  <a:pt x="4594369" y="3959810"/>
                  <a:pt x="4600226" y="3959810"/>
                </a:cubicBezTo>
                <a:cubicBezTo>
                  <a:pt x="4602355" y="3959810"/>
                  <a:pt x="4604086" y="3959411"/>
                  <a:pt x="4605550" y="3959011"/>
                </a:cubicBezTo>
                <a:cubicBezTo>
                  <a:pt x="4607148" y="3958479"/>
                  <a:pt x="4608346" y="3957548"/>
                  <a:pt x="4609277" y="3956615"/>
                </a:cubicBezTo>
                <a:cubicBezTo>
                  <a:pt x="4610342" y="3955417"/>
                  <a:pt x="4611274" y="3954086"/>
                  <a:pt x="4611940" y="3952355"/>
                </a:cubicBezTo>
                <a:cubicBezTo>
                  <a:pt x="4612605" y="3950758"/>
                  <a:pt x="4613005" y="3948894"/>
                  <a:pt x="4613005" y="3946897"/>
                </a:cubicBezTo>
                <a:cubicBezTo>
                  <a:pt x="4613005" y="3945034"/>
                  <a:pt x="4612605" y="3943304"/>
                  <a:pt x="4611940" y="3941706"/>
                </a:cubicBezTo>
                <a:cubicBezTo>
                  <a:pt x="4611274" y="3939975"/>
                  <a:pt x="4610342" y="3938645"/>
                  <a:pt x="4609277" y="3937447"/>
                </a:cubicBezTo>
                <a:cubicBezTo>
                  <a:pt x="4608212" y="3936382"/>
                  <a:pt x="4606881" y="3935449"/>
                  <a:pt x="4605284" y="3934784"/>
                </a:cubicBezTo>
                <a:cubicBezTo>
                  <a:pt x="4603820" y="3934118"/>
                  <a:pt x="4602222" y="3933852"/>
                  <a:pt x="4600226" y="3933852"/>
                </a:cubicBezTo>
                <a:close/>
                <a:moveTo>
                  <a:pt x="4382713" y="3933852"/>
                </a:moveTo>
                <a:cubicBezTo>
                  <a:pt x="4376857" y="3933852"/>
                  <a:pt x="4374327" y="3935849"/>
                  <a:pt x="4372730" y="3937447"/>
                </a:cubicBezTo>
                <a:cubicBezTo>
                  <a:pt x="4370201" y="3940109"/>
                  <a:pt x="4369136" y="3942904"/>
                  <a:pt x="4369136" y="3946897"/>
                </a:cubicBezTo>
                <a:cubicBezTo>
                  <a:pt x="4369136" y="3951025"/>
                  <a:pt x="4370201" y="3953820"/>
                  <a:pt x="4372730" y="3956349"/>
                </a:cubicBezTo>
                <a:cubicBezTo>
                  <a:pt x="4374327" y="3957947"/>
                  <a:pt x="4376857" y="3959810"/>
                  <a:pt x="4382713" y="3959810"/>
                </a:cubicBezTo>
                <a:cubicBezTo>
                  <a:pt x="4384710" y="3959810"/>
                  <a:pt x="4386441" y="3959411"/>
                  <a:pt x="4388038" y="3959011"/>
                </a:cubicBezTo>
                <a:cubicBezTo>
                  <a:pt x="4389502" y="3958479"/>
                  <a:pt x="4390834" y="3957548"/>
                  <a:pt x="4391765" y="3956615"/>
                </a:cubicBezTo>
                <a:cubicBezTo>
                  <a:pt x="4392830" y="3955417"/>
                  <a:pt x="4393762" y="3954086"/>
                  <a:pt x="4394428" y="3952355"/>
                </a:cubicBezTo>
                <a:cubicBezTo>
                  <a:pt x="4395093" y="3950758"/>
                  <a:pt x="4395493" y="3948894"/>
                  <a:pt x="4395493" y="3946897"/>
                </a:cubicBezTo>
                <a:cubicBezTo>
                  <a:pt x="4395493" y="3945034"/>
                  <a:pt x="4395093" y="3943304"/>
                  <a:pt x="4394428" y="3941706"/>
                </a:cubicBezTo>
                <a:cubicBezTo>
                  <a:pt x="4393762" y="3939975"/>
                  <a:pt x="4392830" y="3938645"/>
                  <a:pt x="4391765" y="3937447"/>
                </a:cubicBezTo>
                <a:cubicBezTo>
                  <a:pt x="4390700" y="3936382"/>
                  <a:pt x="4389369" y="3935449"/>
                  <a:pt x="4387772" y="3934784"/>
                </a:cubicBezTo>
                <a:cubicBezTo>
                  <a:pt x="4386308" y="3934118"/>
                  <a:pt x="4384710" y="3933852"/>
                  <a:pt x="4382713" y="3933852"/>
                </a:cubicBezTo>
                <a:close/>
                <a:moveTo>
                  <a:pt x="4165068" y="3933852"/>
                </a:moveTo>
                <a:cubicBezTo>
                  <a:pt x="4159211" y="3933852"/>
                  <a:pt x="4156681" y="3935849"/>
                  <a:pt x="4155084" y="3937447"/>
                </a:cubicBezTo>
                <a:cubicBezTo>
                  <a:pt x="4152555" y="3940109"/>
                  <a:pt x="4151490" y="3942904"/>
                  <a:pt x="4151490" y="3946897"/>
                </a:cubicBezTo>
                <a:cubicBezTo>
                  <a:pt x="4151490" y="3951025"/>
                  <a:pt x="4152555" y="3953820"/>
                  <a:pt x="4155084" y="3956349"/>
                </a:cubicBezTo>
                <a:cubicBezTo>
                  <a:pt x="4156681" y="3957947"/>
                  <a:pt x="4159211" y="3959810"/>
                  <a:pt x="4165068" y="3959810"/>
                </a:cubicBezTo>
                <a:cubicBezTo>
                  <a:pt x="4167064" y="3959810"/>
                  <a:pt x="4168928" y="3959411"/>
                  <a:pt x="4170392" y="3959011"/>
                </a:cubicBezTo>
                <a:cubicBezTo>
                  <a:pt x="4171856" y="3958479"/>
                  <a:pt x="4173188" y="3957548"/>
                  <a:pt x="4174119" y="3956615"/>
                </a:cubicBezTo>
                <a:cubicBezTo>
                  <a:pt x="4175184" y="3955417"/>
                  <a:pt x="4176116" y="3954086"/>
                  <a:pt x="4176782" y="3952355"/>
                </a:cubicBezTo>
                <a:cubicBezTo>
                  <a:pt x="4177447" y="3950758"/>
                  <a:pt x="4177847" y="3948894"/>
                  <a:pt x="4177847" y="3946897"/>
                </a:cubicBezTo>
                <a:cubicBezTo>
                  <a:pt x="4177847" y="3945034"/>
                  <a:pt x="4177447" y="3943304"/>
                  <a:pt x="4176782" y="3941706"/>
                </a:cubicBezTo>
                <a:cubicBezTo>
                  <a:pt x="4176116" y="3939975"/>
                  <a:pt x="4175184" y="3938645"/>
                  <a:pt x="4174119" y="3937447"/>
                </a:cubicBezTo>
                <a:cubicBezTo>
                  <a:pt x="4173054" y="3936382"/>
                  <a:pt x="4171723" y="3935449"/>
                  <a:pt x="4170126" y="3934784"/>
                </a:cubicBezTo>
                <a:cubicBezTo>
                  <a:pt x="4168662" y="3934118"/>
                  <a:pt x="4167064" y="3933852"/>
                  <a:pt x="4165068" y="3933852"/>
                </a:cubicBezTo>
                <a:close/>
                <a:moveTo>
                  <a:pt x="3947640" y="3933852"/>
                </a:moveTo>
                <a:cubicBezTo>
                  <a:pt x="3941782" y="3933852"/>
                  <a:pt x="3939253" y="3935849"/>
                  <a:pt x="3937657" y="3937447"/>
                </a:cubicBezTo>
                <a:cubicBezTo>
                  <a:pt x="3935125" y="3940109"/>
                  <a:pt x="3934062" y="3942904"/>
                  <a:pt x="3934062" y="3946897"/>
                </a:cubicBezTo>
                <a:cubicBezTo>
                  <a:pt x="3934062" y="3951025"/>
                  <a:pt x="3935125" y="3953820"/>
                  <a:pt x="3937657" y="3956349"/>
                </a:cubicBezTo>
                <a:cubicBezTo>
                  <a:pt x="3939253" y="3957947"/>
                  <a:pt x="3941782" y="3959810"/>
                  <a:pt x="3947640" y="3959810"/>
                </a:cubicBezTo>
                <a:cubicBezTo>
                  <a:pt x="3949637" y="3959810"/>
                  <a:pt x="3951500" y="3959411"/>
                  <a:pt x="3952967" y="3959011"/>
                </a:cubicBezTo>
                <a:cubicBezTo>
                  <a:pt x="3954430" y="3958479"/>
                  <a:pt x="3955761" y="3957548"/>
                  <a:pt x="3956693" y="3956615"/>
                </a:cubicBezTo>
                <a:cubicBezTo>
                  <a:pt x="3957759" y="3955417"/>
                  <a:pt x="3958691" y="3954086"/>
                  <a:pt x="3959356" y="3952355"/>
                </a:cubicBezTo>
                <a:cubicBezTo>
                  <a:pt x="3960022" y="3950758"/>
                  <a:pt x="3960422" y="3948894"/>
                  <a:pt x="3960422" y="3946897"/>
                </a:cubicBezTo>
                <a:cubicBezTo>
                  <a:pt x="3960422" y="3945034"/>
                  <a:pt x="3960022" y="3943304"/>
                  <a:pt x="3959356" y="3941706"/>
                </a:cubicBezTo>
                <a:cubicBezTo>
                  <a:pt x="3958691" y="3939975"/>
                  <a:pt x="3957759" y="3938645"/>
                  <a:pt x="3956693" y="3937447"/>
                </a:cubicBezTo>
                <a:cubicBezTo>
                  <a:pt x="3955628" y="3936382"/>
                  <a:pt x="3954298" y="3935449"/>
                  <a:pt x="3952700" y="3934784"/>
                </a:cubicBezTo>
                <a:cubicBezTo>
                  <a:pt x="3951234" y="3934118"/>
                  <a:pt x="3949637" y="3933852"/>
                  <a:pt x="3947640" y="3933852"/>
                </a:cubicBezTo>
                <a:close/>
                <a:moveTo>
                  <a:pt x="3729984" y="3933852"/>
                </a:moveTo>
                <a:cubicBezTo>
                  <a:pt x="3724128" y="3933852"/>
                  <a:pt x="3721597" y="3935849"/>
                  <a:pt x="3719998" y="3937447"/>
                </a:cubicBezTo>
                <a:cubicBezTo>
                  <a:pt x="3717469" y="3940109"/>
                  <a:pt x="3716405" y="3942904"/>
                  <a:pt x="3716405" y="3946897"/>
                </a:cubicBezTo>
                <a:cubicBezTo>
                  <a:pt x="3716405" y="3951025"/>
                  <a:pt x="3717469" y="3953820"/>
                  <a:pt x="3719998" y="3956349"/>
                </a:cubicBezTo>
                <a:cubicBezTo>
                  <a:pt x="3721597" y="3957947"/>
                  <a:pt x="3724128" y="3959810"/>
                  <a:pt x="3729984" y="3959810"/>
                </a:cubicBezTo>
                <a:cubicBezTo>
                  <a:pt x="3732115" y="3959810"/>
                  <a:pt x="3733846" y="3959411"/>
                  <a:pt x="3735309" y="3959011"/>
                </a:cubicBezTo>
                <a:cubicBezTo>
                  <a:pt x="3736774" y="3958479"/>
                  <a:pt x="3738106" y="3957548"/>
                  <a:pt x="3739037" y="3956615"/>
                </a:cubicBezTo>
                <a:cubicBezTo>
                  <a:pt x="3740102" y="3955417"/>
                  <a:pt x="3741034" y="3954086"/>
                  <a:pt x="3741700" y="3952355"/>
                </a:cubicBezTo>
                <a:cubicBezTo>
                  <a:pt x="3742365" y="3950758"/>
                  <a:pt x="3742764" y="3948894"/>
                  <a:pt x="3742764" y="3946897"/>
                </a:cubicBezTo>
                <a:cubicBezTo>
                  <a:pt x="3742764" y="3945034"/>
                  <a:pt x="3742365" y="3943304"/>
                  <a:pt x="3741700" y="3941706"/>
                </a:cubicBezTo>
                <a:cubicBezTo>
                  <a:pt x="3741034" y="3939975"/>
                  <a:pt x="3740102" y="3938645"/>
                  <a:pt x="3739037" y="3937447"/>
                </a:cubicBezTo>
                <a:cubicBezTo>
                  <a:pt x="3737972" y="3936382"/>
                  <a:pt x="3736641" y="3935449"/>
                  <a:pt x="3735044" y="3934784"/>
                </a:cubicBezTo>
                <a:cubicBezTo>
                  <a:pt x="3733579" y="3934118"/>
                  <a:pt x="3731982" y="3933852"/>
                  <a:pt x="3729984" y="3933852"/>
                </a:cubicBezTo>
                <a:close/>
                <a:moveTo>
                  <a:pt x="3512328" y="3933852"/>
                </a:moveTo>
                <a:cubicBezTo>
                  <a:pt x="3506470" y="3933852"/>
                  <a:pt x="3503940" y="3935849"/>
                  <a:pt x="3502341" y="3937447"/>
                </a:cubicBezTo>
                <a:cubicBezTo>
                  <a:pt x="3499811" y="3940109"/>
                  <a:pt x="3498747" y="3942904"/>
                  <a:pt x="3498747" y="3946897"/>
                </a:cubicBezTo>
                <a:cubicBezTo>
                  <a:pt x="3498747" y="3951025"/>
                  <a:pt x="3499811" y="3953820"/>
                  <a:pt x="3502341" y="3956349"/>
                </a:cubicBezTo>
                <a:cubicBezTo>
                  <a:pt x="3503940" y="3957947"/>
                  <a:pt x="3506470" y="3959810"/>
                  <a:pt x="3512328" y="3959810"/>
                </a:cubicBezTo>
                <a:cubicBezTo>
                  <a:pt x="3514458" y="3959810"/>
                  <a:pt x="3516189" y="3959411"/>
                  <a:pt x="3517653" y="3959011"/>
                </a:cubicBezTo>
                <a:cubicBezTo>
                  <a:pt x="3519118" y="3958479"/>
                  <a:pt x="3520450" y="3957548"/>
                  <a:pt x="3521381" y="3956615"/>
                </a:cubicBezTo>
                <a:cubicBezTo>
                  <a:pt x="3522446" y="3955417"/>
                  <a:pt x="3523378" y="3954086"/>
                  <a:pt x="3524044" y="3952355"/>
                </a:cubicBezTo>
                <a:cubicBezTo>
                  <a:pt x="3524709" y="3950758"/>
                  <a:pt x="3525109" y="3948894"/>
                  <a:pt x="3525109" y="3946897"/>
                </a:cubicBezTo>
                <a:cubicBezTo>
                  <a:pt x="3525109" y="3945034"/>
                  <a:pt x="3524709" y="3943304"/>
                  <a:pt x="3524044" y="3941706"/>
                </a:cubicBezTo>
                <a:cubicBezTo>
                  <a:pt x="3523378" y="3939975"/>
                  <a:pt x="3522446" y="3938645"/>
                  <a:pt x="3521381" y="3937447"/>
                </a:cubicBezTo>
                <a:cubicBezTo>
                  <a:pt x="3520316" y="3936382"/>
                  <a:pt x="3518984" y="3935449"/>
                  <a:pt x="3517388" y="3934784"/>
                </a:cubicBezTo>
                <a:cubicBezTo>
                  <a:pt x="3515924" y="3934118"/>
                  <a:pt x="3514325" y="3933852"/>
                  <a:pt x="3512328" y="3933852"/>
                </a:cubicBezTo>
                <a:close/>
                <a:moveTo>
                  <a:pt x="3294805" y="3933852"/>
                </a:moveTo>
                <a:cubicBezTo>
                  <a:pt x="3288947" y="3933852"/>
                  <a:pt x="3286416" y="3935849"/>
                  <a:pt x="3284820" y="3937447"/>
                </a:cubicBezTo>
                <a:cubicBezTo>
                  <a:pt x="3282289" y="3940109"/>
                  <a:pt x="3281226" y="3942904"/>
                  <a:pt x="3281226" y="3946897"/>
                </a:cubicBezTo>
                <a:cubicBezTo>
                  <a:pt x="3281226" y="3951025"/>
                  <a:pt x="3282289" y="3953820"/>
                  <a:pt x="3284820" y="3956349"/>
                </a:cubicBezTo>
                <a:cubicBezTo>
                  <a:pt x="3286416" y="3957947"/>
                  <a:pt x="3288947" y="3959810"/>
                  <a:pt x="3294805" y="3959810"/>
                </a:cubicBezTo>
                <a:cubicBezTo>
                  <a:pt x="3296802" y="3959810"/>
                  <a:pt x="3298533" y="3959411"/>
                  <a:pt x="3300131" y="3959011"/>
                </a:cubicBezTo>
                <a:cubicBezTo>
                  <a:pt x="3301595" y="3958479"/>
                  <a:pt x="3302926" y="3957548"/>
                  <a:pt x="3303858" y="3956615"/>
                </a:cubicBezTo>
                <a:cubicBezTo>
                  <a:pt x="3304923" y="3955417"/>
                  <a:pt x="3305854" y="3954086"/>
                  <a:pt x="3306521" y="3952355"/>
                </a:cubicBezTo>
                <a:cubicBezTo>
                  <a:pt x="3307186" y="3950758"/>
                  <a:pt x="3307584" y="3948894"/>
                  <a:pt x="3307584" y="3946897"/>
                </a:cubicBezTo>
                <a:cubicBezTo>
                  <a:pt x="3307584" y="3945034"/>
                  <a:pt x="3307186" y="3943304"/>
                  <a:pt x="3306521" y="3941706"/>
                </a:cubicBezTo>
                <a:cubicBezTo>
                  <a:pt x="3305854" y="3939975"/>
                  <a:pt x="3304923" y="3938645"/>
                  <a:pt x="3303858" y="3937447"/>
                </a:cubicBezTo>
                <a:cubicBezTo>
                  <a:pt x="3302792" y="3936382"/>
                  <a:pt x="3301461" y="3935449"/>
                  <a:pt x="3299864" y="3934784"/>
                </a:cubicBezTo>
                <a:cubicBezTo>
                  <a:pt x="3298400" y="3934118"/>
                  <a:pt x="3296802" y="3933852"/>
                  <a:pt x="3294805" y="3933852"/>
                </a:cubicBezTo>
                <a:close/>
                <a:moveTo>
                  <a:pt x="3077282" y="3933852"/>
                </a:moveTo>
                <a:cubicBezTo>
                  <a:pt x="3071424" y="3933852"/>
                  <a:pt x="3068895" y="3935849"/>
                  <a:pt x="3067299" y="3937447"/>
                </a:cubicBezTo>
                <a:cubicBezTo>
                  <a:pt x="3064633" y="3940109"/>
                  <a:pt x="3063569" y="3942904"/>
                  <a:pt x="3063569" y="3946897"/>
                </a:cubicBezTo>
                <a:cubicBezTo>
                  <a:pt x="3063569" y="3951025"/>
                  <a:pt x="3064633" y="3953820"/>
                  <a:pt x="3067164" y="3956349"/>
                </a:cubicBezTo>
                <a:cubicBezTo>
                  <a:pt x="3068762" y="3957947"/>
                  <a:pt x="3071291" y="3959810"/>
                  <a:pt x="3077148" y="3959810"/>
                </a:cubicBezTo>
                <a:cubicBezTo>
                  <a:pt x="3079146" y="3959810"/>
                  <a:pt x="3080876" y="3959411"/>
                  <a:pt x="3082607" y="3959011"/>
                </a:cubicBezTo>
                <a:cubicBezTo>
                  <a:pt x="3084072" y="3958479"/>
                  <a:pt x="3085403" y="3957548"/>
                  <a:pt x="3086334" y="3956615"/>
                </a:cubicBezTo>
                <a:cubicBezTo>
                  <a:pt x="3087399" y="3955417"/>
                  <a:pt x="3088331" y="3954086"/>
                  <a:pt x="3088997" y="3952355"/>
                </a:cubicBezTo>
                <a:cubicBezTo>
                  <a:pt x="3089662" y="3950758"/>
                  <a:pt x="3089929" y="3948894"/>
                  <a:pt x="3089929" y="3946897"/>
                </a:cubicBezTo>
                <a:cubicBezTo>
                  <a:pt x="3089929" y="3945034"/>
                  <a:pt x="3089662" y="3943304"/>
                  <a:pt x="3088997" y="3941706"/>
                </a:cubicBezTo>
                <a:cubicBezTo>
                  <a:pt x="3088331" y="3939975"/>
                  <a:pt x="3087399" y="3938645"/>
                  <a:pt x="3086334" y="3937447"/>
                </a:cubicBezTo>
                <a:cubicBezTo>
                  <a:pt x="3085270" y="3936382"/>
                  <a:pt x="3083938" y="3935449"/>
                  <a:pt x="3082341" y="3934784"/>
                </a:cubicBezTo>
                <a:cubicBezTo>
                  <a:pt x="3080876" y="3934118"/>
                  <a:pt x="3079279" y="3933852"/>
                  <a:pt x="3077282" y="3933852"/>
                </a:cubicBezTo>
                <a:close/>
                <a:moveTo>
                  <a:pt x="2859492" y="3933852"/>
                </a:moveTo>
                <a:cubicBezTo>
                  <a:pt x="2853635" y="3933852"/>
                  <a:pt x="2851106" y="3935849"/>
                  <a:pt x="2849506" y="3937447"/>
                </a:cubicBezTo>
                <a:cubicBezTo>
                  <a:pt x="2846973" y="3940109"/>
                  <a:pt x="2845910" y="3942904"/>
                  <a:pt x="2845910" y="3946897"/>
                </a:cubicBezTo>
                <a:cubicBezTo>
                  <a:pt x="2845910" y="3951025"/>
                  <a:pt x="2846973" y="3953820"/>
                  <a:pt x="2849506" y="3956349"/>
                </a:cubicBezTo>
                <a:cubicBezTo>
                  <a:pt x="2851106" y="3957947"/>
                  <a:pt x="2853635" y="3959810"/>
                  <a:pt x="2859492" y="3959810"/>
                </a:cubicBezTo>
                <a:cubicBezTo>
                  <a:pt x="2861489" y="3959810"/>
                  <a:pt x="2863353" y="3959411"/>
                  <a:pt x="2864817" y="3959011"/>
                </a:cubicBezTo>
                <a:cubicBezTo>
                  <a:pt x="2866415" y="3958479"/>
                  <a:pt x="2867614" y="3957548"/>
                  <a:pt x="2868544" y="3956615"/>
                </a:cubicBezTo>
                <a:cubicBezTo>
                  <a:pt x="2869609" y="3955417"/>
                  <a:pt x="2870542" y="3954086"/>
                  <a:pt x="2871207" y="3952355"/>
                </a:cubicBezTo>
                <a:cubicBezTo>
                  <a:pt x="2871740" y="3950758"/>
                  <a:pt x="2872138" y="3948894"/>
                  <a:pt x="2872138" y="3946897"/>
                </a:cubicBezTo>
                <a:cubicBezTo>
                  <a:pt x="2872138" y="3945034"/>
                  <a:pt x="2871872" y="3943304"/>
                  <a:pt x="2871207" y="3941706"/>
                </a:cubicBezTo>
                <a:cubicBezTo>
                  <a:pt x="2870542" y="3939975"/>
                  <a:pt x="2869609" y="3938645"/>
                  <a:pt x="2868544" y="3937447"/>
                </a:cubicBezTo>
                <a:cubicBezTo>
                  <a:pt x="2867480" y="3936382"/>
                  <a:pt x="2866149" y="3935449"/>
                  <a:pt x="2864552" y="3934784"/>
                </a:cubicBezTo>
                <a:cubicBezTo>
                  <a:pt x="2863088" y="3934118"/>
                  <a:pt x="2861489" y="3933852"/>
                  <a:pt x="2859492" y="3933852"/>
                </a:cubicBezTo>
                <a:close/>
                <a:moveTo>
                  <a:pt x="2641836" y="3933852"/>
                </a:moveTo>
                <a:cubicBezTo>
                  <a:pt x="2635979" y="3933852"/>
                  <a:pt x="2633449" y="3935849"/>
                  <a:pt x="2631853" y="3937447"/>
                </a:cubicBezTo>
                <a:cubicBezTo>
                  <a:pt x="2629322" y="3940109"/>
                  <a:pt x="2628258" y="3942904"/>
                  <a:pt x="2628258" y="3946897"/>
                </a:cubicBezTo>
                <a:cubicBezTo>
                  <a:pt x="2628258" y="3951025"/>
                  <a:pt x="2629322" y="3953820"/>
                  <a:pt x="2631853" y="3956349"/>
                </a:cubicBezTo>
                <a:cubicBezTo>
                  <a:pt x="2633449" y="3957947"/>
                  <a:pt x="2635979" y="3959810"/>
                  <a:pt x="2641836" y="3959810"/>
                </a:cubicBezTo>
                <a:cubicBezTo>
                  <a:pt x="2643833" y="3959810"/>
                  <a:pt x="2645697" y="3959411"/>
                  <a:pt x="2647161" y="3959011"/>
                </a:cubicBezTo>
                <a:cubicBezTo>
                  <a:pt x="2648758" y="3958479"/>
                  <a:pt x="2649956" y="3957548"/>
                  <a:pt x="2650888" y="3956615"/>
                </a:cubicBezTo>
                <a:cubicBezTo>
                  <a:pt x="2651953" y="3955417"/>
                  <a:pt x="2652885" y="3954086"/>
                  <a:pt x="2653551" y="3952355"/>
                </a:cubicBezTo>
                <a:cubicBezTo>
                  <a:pt x="2654083" y="3950758"/>
                  <a:pt x="2654482" y="3948894"/>
                  <a:pt x="2654482" y="3946897"/>
                </a:cubicBezTo>
                <a:cubicBezTo>
                  <a:pt x="2654482" y="3945034"/>
                  <a:pt x="2654216" y="3943304"/>
                  <a:pt x="2653551" y="3941706"/>
                </a:cubicBezTo>
                <a:cubicBezTo>
                  <a:pt x="2652885" y="3939975"/>
                  <a:pt x="2651953" y="3938645"/>
                  <a:pt x="2650888" y="3937447"/>
                </a:cubicBezTo>
                <a:cubicBezTo>
                  <a:pt x="2649823" y="3936382"/>
                  <a:pt x="2648492" y="3935449"/>
                  <a:pt x="2646895" y="3934784"/>
                </a:cubicBezTo>
                <a:cubicBezTo>
                  <a:pt x="2645430" y="3934118"/>
                  <a:pt x="2643833" y="3933852"/>
                  <a:pt x="2641836" y="3933852"/>
                </a:cubicBezTo>
                <a:close/>
                <a:moveTo>
                  <a:pt x="2424179" y="3933852"/>
                </a:moveTo>
                <a:cubicBezTo>
                  <a:pt x="2418323" y="3933852"/>
                  <a:pt x="2415793" y="3935849"/>
                  <a:pt x="2414196" y="3937447"/>
                </a:cubicBezTo>
                <a:cubicBezTo>
                  <a:pt x="2411666" y="3940109"/>
                  <a:pt x="2410602" y="3942904"/>
                  <a:pt x="2410602" y="3946897"/>
                </a:cubicBezTo>
                <a:cubicBezTo>
                  <a:pt x="2410602" y="3951025"/>
                  <a:pt x="2411666" y="3953820"/>
                  <a:pt x="2414196" y="3956349"/>
                </a:cubicBezTo>
                <a:cubicBezTo>
                  <a:pt x="2415793" y="3957947"/>
                  <a:pt x="2418323" y="3959810"/>
                  <a:pt x="2424179" y="3959810"/>
                </a:cubicBezTo>
                <a:cubicBezTo>
                  <a:pt x="2426309" y="3959810"/>
                  <a:pt x="2428041" y="3959411"/>
                  <a:pt x="2429505" y="3959011"/>
                </a:cubicBezTo>
                <a:cubicBezTo>
                  <a:pt x="2431103" y="3958479"/>
                  <a:pt x="2432300" y="3957548"/>
                  <a:pt x="2433232" y="3956615"/>
                </a:cubicBezTo>
                <a:cubicBezTo>
                  <a:pt x="2434297" y="3955417"/>
                  <a:pt x="2435228" y="3954086"/>
                  <a:pt x="2435895" y="3952355"/>
                </a:cubicBezTo>
                <a:cubicBezTo>
                  <a:pt x="2436426" y="3950758"/>
                  <a:pt x="2436826" y="3948894"/>
                  <a:pt x="2436826" y="3946897"/>
                </a:cubicBezTo>
                <a:cubicBezTo>
                  <a:pt x="2436826" y="3945034"/>
                  <a:pt x="2436560" y="3943304"/>
                  <a:pt x="2435895" y="3941706"/>
                </a:cubicBezTo>
                <a:cubicBezTo>
                  <a:pt x="2435228" y="3939975"/>
                  <a:pt x="2434297" y="3938645"/>
                  <a:pt x="2433232" y="3937447"/>
                </a:cubicBezTo>
                <a:cubicBezTo>
                  <a:pt x="2432168" y="3936382"/>
                  <a:pt x="2430836" y="3935449"/>
                  <a:pt x="2429239" y="3934784"/>
                </a:cubicBezTo>
                <a:cubicBezTo>
                  <a:pt x="2427775" y="3934118"/>
                  <a:pt x="2426177" y="3933852"/>
                  <a:pt x="2424179" y="3933852"/>
                </a:cubicBezTo>
                <a:close/>
                <a:moveTo>
                  <a:pt x="2206523" y="3933852"/>
                </a:moveTo>
                <a:cubicBezTo>
                  <a:pt x="2200666" y="3933852"/>
                  <a:pt x="2198137" y="3935849"/>
                  <a:pt x="2196540" y="3937447"/>
                </a:cubicBezTo>
                <a:cubicBezTo>
                  <a:pt x="2194010" y="3940109"/>
                  <a:pt x="2192945" y="3942904"/>
                  <a:pt x="2192945" y="3946897"/>
                </a:cubicBezTo>
                <a:cubicBezTo>
                  <a:pt x="2192945" y="3951025"/>
                  <a:pt x="2194010" y="3953820"/>
                  <a:pt x="2196540" y="3956349"/>
                </a:cubicBezTo>
                <a:cubicBezTo>
                  <a:pt x="2198137" y="3957947"/>
                  <a:pt x="2200666" y="3959810"/>
                  <a:pt x="2206523" y="3959810"/>
                </a:cubicBezTo>
                <a:cubicBezTo>
                  <a:pt x="2208653" y="3959810"/>
                  <a:pt x="2210384" y="3959411"/>
                  <a:pt x="2211848" y="3959011"/>
                </a:cubicBezTo>
                <a:cubicBezTo>
                  <a:pt x="2213445" y="3958479"/>
                  <a:pt x="2214643" y="3957548"/>
                  <a:pt x="2215575" y="3956615"/>
                </a:cubicBezTo>
                <a:cubicBezTo>
                  <a:pt x="2216640" y="3955417"/>
                  <a:pt x="2217572" y="3954086"/>
                  <a:pt x="2218238" y="3952355"/>
                </a:cubicBezTo>
                <a:cubicBezTo>
                  <a:pt x="2218770" y="3950758"/>
                  <a:pt x="2219169" y="3948894"/>
                  <a:pt x="2219169" y="3946897"/>
                </a:cubicBezTo>
                <a:cubicBezTo>
                  <a:pt x="2219169" y="3945034"/>
                  <a:pt x="2218903" y="3943304"/>
                  <a:pt x="2218238" y="3941706"/>
                </a:cubicBezTo>
                <a:cubicBezTo>
                  <a:pt x="2217572" y="3939975"/>
                  <a:pt x="2216640" y="3938645"/>
                  <a:pt x="2215575" y="3937447"/>
                </a:cubicBezTo>
                <a:cubicBezTo>
                  <a:pt x="2214510" y="3936382"/>
                  <a:pt x="2213179" y="3935449"/>
                  <a:pt x="2211582" y="3934784"/>
                </a:cubicBezTo>
                <a:cubicBezTo>
                  <a:pt x="2210117" y="3934118"/>
                  <a:pt x="2208520" y="3933852"/>
                  <a:pt x="2206523" y="3933852"/>
                </a:cubicBezTo>
                <a:close/>
                <a:moveTo>
                  <a:pt x="1988999" y="3933852"/>
                </a:moveTo>
                <a:cubicBezTo>
                  <a:pt x="1983142" y="3933852"/>
                  <a:pt x="1980613" y="3935849"/>
                  <a:pt x="1979016" y="3937447"/>
                </a:cubicBezTo>
                <a:cubicBezTo>
                  <a:pt x="1976486" y="3940109"/>
                  <a:pt x="1975422" y="3942904"/>
                  <a:pt x="1975422" y="3946897"/>
                </a:cubicBezTo>
                <a:cubicBezTo>
                  <a:pt x="1975422" y="3951025"/>
                  <a:pt x="1976486" y="3953820"/>
                  <a:pt x="1979016" y="3956349"/>
                </a:cubicBezTo>
                <a:cubicBezTo>
                  <a:pt x="1980613" y="3957947"/>
                  <a:pt x="1983142" y="3959810"/>
                  <a:pt x="1988999" y="3959810"/>
                </a:cubicBezTo>
                <a:cubicBezTo>
                  <a:pt x="1990996" y="3959810"/>
                  <a:pt x="1992728" y="3959411"/>
                  <a:pt x="1994324" y="3959011"/>
                </a:cubicBezTo>
                <a:cubicBezTo>
                  <a:pt x="1995922" y="3958479"/>
                  <a:pt x="1997121" y="3957548"/>
                  <a:pt x="1998052" y="3956615"/>
                </a:cubicBezTo>
                <a:cubicBezTo>
                  <a:pt x="1999116" y="3955417"/>
                  <a:pt x="2000049" y="3954086"/>
                  <a:pt x="2000715" y="3952355"/>
                </a:cubicBezTo>
                <a:cubicBezTo>
                  <a:pt x="2001246" y="3950758"/>
                  <a:pt x="2001645" y="3948894"/>
                  <a:pt x="2001645" y="3946897"/>
                </a:cubicBezTo>
                <a:cubicBezTo>
                  <a:pt x="2001645" y="3945034"/>
                  <a:pt x="2001380" y="3943304"/>
                  <a:pt x="2000715" y="3941706"/>
                </a:cubicBezTo>
                <a:cubicBezTo>
                  <a:pt x="2000049" y="3939975"/>
                  <a:pt x="1999116" y="3938645"/>
                  <a:pt x="1998052" y="3937447"/>
                </a:cubicBezTo>
                <a:cubicBezTo>
                  <a:pt x="1996987" y="3936382"/>
                  <a:pt x="1995656" y="3935449"/>
                  <a:pt x="1994058" y="3934784"/>
                </a:cubicBezTo>
                <a:cubicBezTo>
                  <a:pt x="1992594" y="3934118"/>
                  <a:pt x="1990996" y="3933852"/>
                  <a:pt x="1988999" y="3933852"/>
                </a:cubicBezTo>
                <a:close/>
                <a:moveTo>
                  <a:pt x="1771363" y="3933852"/>
                </a:moveTo>
                <a:cubicBezTo>
                  <a:pt x="1765505" y="3933852"/>
                  <a:pt x="1762977" y="3935849"/>
                  <a:pt x="1761380" y="3937447"/>
                </a:cubicBezTo>
                <a:cubicBezTo>
                  <a:pt x="1758851" y="3940109"/>
                  <a:pt x="1757786" y="3942904"/>
                  <a:pt x="1757786" y="3946897"/>
                </a:cubicBezTo>
                <a:cubicBezTo>
                  <a:pt x="1757786" y="3951025"/>
                  <a:pt x="1758851" y="3953820"/>
                  <a:pt x="1761380" y="3956349"/>
                </a:cubicBezTo>
                <a:cubicBezTo>
                  <a:pt x="1762977" y="3957947"/>
                  <a:pt x="1765505" y="3959810"/>
                  <a:pt x="1771363" y="3959810"/>
                </a:cubicBezTo>
                <a:cubicBezTo>
                  <a:pt x="1773360" y="3959810"/>
                  <a:pt x="1775223" y="3959411"/>
                  <a:pt x="1776687" y="3959011"/>
                </a:cubicBezTo>
                <a:cubicBezTo>
                  <a:pt x="1778151" y="3958479"/>
                  <a:pt x="1779482" y="3957548"/>
                  <a:pt x="1780414" y="3956615"/>
                </a:cubicBezTo>
                <a:cubicBezTo>
                  <a:pt x="1781479" y="3955417"/>
                  <a:pt x="1782411" y="3954086"/>
                  <a:pt x="1783077" y="3952355"/>
                </a:cubicBezTo>
                <a:cubicBezTo>
                  <a:pt x="1783742" y="3950758"/>
                  <a:pt x="1784142" y="3948894"/>
                  <a:pt x="1784142" y="3946897"/>
                </a:cubicBezTo>
                <a:cubicBezTo>
                  <a:pt x="1784142" y="3945034"/>
                  <a:pt x="1783742" y="3943304"/>
                  <a:pt x="1783077" y="3941706"/>
                </a:cubicBezTo>
                <a:cubicBezTo>
                  <a:pt x="1782411" y="3939975"/>
                  <a:pt x="1781479" y="3938645"/>
                  <a:pt x="1780414" y="3937447"/>
                </a:cubicBezTo>
                <a:cubicBezTo>
                  <a:pt x="1779349" y="3936382"/>
                  <a:pt x="1778019" y="3935449"/>
                  <a:pt x="1776422" y="3934784"/>
                </a:cubicBezTo>
                <a:cubicBezTo>
                  <a:pt x="1774957" y="3934118"/>
                  <a:pt x="1773360" y="3933852"/>
                  <a:pt x="1771363" y="3933852"/>
                </a:cubicBezTo>
                <a:close/>
                <a:moveTo>
                  <a:pt x="1553723" y="3933852"/>
                </a:moveTo>
                <a:cubicBezTo>
                  <a:pt x="1547866" y="3933852"/>
                  <a:pt x="1545337" y="3935849"/>
                  <a:pt x="1543740" y="3937447"/>
                </a:cubicBezTo>
                <a:cubicBezTo>
                  <a:pt x="1541210" y="3940109"/>
                  <a:pt x="1540146" y="3942904"/>
                  <a:pt x="1540146" y="3946897"/>
                </a:cubicBezTo>
                <a:cubicBezTo>
                  <a:pt x="1540146" y="3951025"/>
                  <a:pt x="1541210" y="3953820"/>
                  <a:pt x="1543740" y="3956349"/>
                </a:cubicBezTo>
                <a:cubicBezTo>
                  <a:pt x="1545337" y="3957947"/>
                  <a:pt x="1547866" y="3959810"/>
                  <a:pt x="1553723" y="3959810"/>
                </a:cubicBezTo>
                <a:cubicBezTo>
                  <a:pt x="1555720" y="3959810"/>
                  <a:pt x="1557584" y="3959411"/>
                  <a:pt x="1559048" y="3959011"/>
                </a:cubicBezTo>
                <a:cubicBezTo>
                  <a:pt x="1560512" y="3958479"/>
                  <a:pt x="1561844" y="3957548"/>
                  <a:pt x="1562775" y="3956615"/>
                </a:cubicBezTo>
                <a:cubicBezTo>
                  <a:pt x="1563840" y="3955417"/>
                  <a:pt x="1564772" y="3954086"/>
                  <a:pt x="1565438" y="3952355"/>
                </a:cubicBezTo>
                <a:cubicBezTo>
                  <a:pt x="1566103" y="3950758"/>
                  <a:pt x="1566503" y="3948894"/>
                  <a:pt x="1566503" y="3946897"/>
                </a:cubicBezTo>
                <a:cubicBezTo>
                  <a:pt x="1566503" y="3945034"/>
                  <a:pt x="1566103" y="3943304"/>
                  <a:pt x="1565438" y="3941706"/>
                </a:cubicBezTo>
                <a:cubicBezTo>
                  <a:pt x="1564772" y="3939975"/>
                  <a:pt x="1563840" y="3938645"/>
                  <a:pt x="1562775" y="3937447"/>
                </a:cubicBezTo>
                <a:cubicBezTo>
                  <a:pt x="1561710" y="3936382"/>
                  <a:pt x="1560379" y="3935449"/>
                  <a:pt x="1558782" y="3934784"/>
                </a:cubicBezTo>
                <a:cubicBezTo>
                  <a:pt x="1557318" y="3934118"/>
                  <a:pt x="1555720" y="3933852"/>
                  <a:pt x="1553723" y="3933852"/>
                </a:cubicBezTo>
                <a:close/>
                <a:moveTo>
                  <a:pt x="1336079" y="3933852"/>
                </a:moveTo>
                <a:cubicBezTo>
                  <a:pt x="1330221" y="3933852"/>
                  <a:pt x="1327692" y="3935849"/>
                  <a:pt x="1326096" y="3937447"/>
                </a:cubicBezTo>
                <a:cubicBezTo>
                  <a:pt x="1323565" y="3940109"/>
                  <a:pt x="1322501" y="3942904"/>
                  <a:pt x="1322501" y="3946897"/>
                </a:cubicBezTo>
                <a:cubicBezTo>
                  <a:pt x="1322501" y="3951025"/>
                  <a:pt x="1323565" y="3953820"/>
                  <a:pt x="1326096" y="3956349"/>
                </a:cubicBezTo>
                <a:cubicBezTo>
                  <a:pt x="1327692" y="3957947"/>
                  <a:pt x="1330221" y="3959810"/>
                  <a:pt x="1336079" y="3959810"/>
                </a:cubicBezTo>
                <a:cubicBezTo>
                  <a:pt x="1338209" y="3959810"/>
                  <a:pt x="1339939" y="3959411"/>
                  <a:pt x="1341405" y="3959011"/>
                </a:cubicBezTo>
                <a:cubicBezTo>
                  <a:pt x="1342869" y="3958479"/>
                  <a:pt x="1344200" y="3957548"/>
                  <a:pt x="1345133" y="3956615"/>
                </a:cubicBezTo>
                <a:cubicBezTo>
                  <a:pt x="1346196" y="3955417"/>
                  <a:pt x="1347130" y="3954086"/>
                  <a:pt x="1347795" y="3952355"/>
                </a:cubicBezTo>
                <a:cubicBezTo>
                  <a:pt x="1348460" y="3950758"/>
                  <a:pt x="1348861" y="3948894"/>
                  <a:pt x="1348861" y="3946897"/>
                </a:cubicBezTo>
                <a:cubicBezTo>
                  <a:pt x="1348861" y="3945034"/>
                  <a:pt x="1348460" y="3943304"/>
                  <a:pt x="1347795" y="3941706"/>
                </a:cubicBezTo>
                <a:cubicBezTo>
                  <a:pt x="1347130" y="3939975"/>
                  <a:pt x="1346196" y="3938645"/>
                  <a:pt x="1345133" y="3937447"/>
                </a:cubicBezTo>
                <a:cubicBezTo>
                  <a:pt x="1344067" y="3936382"/>
                  <a:pt x="1342736" y="3935449"/>
                  <a:pt x="1341138" y="3934784"/>
                </a:cubicBezTo>
                <a:cubicBezTo>
                  <a:pt x="1339675" y="3934118"/>
                  <a:pt x="1338076" y="3933852"/>
                  <a:pt x="1336079" y="3933852"/>
                </a:cubicBezTo>
                <a:close/>
                <a:moveTo>
                  <a:pt x="1118567" y="3933852"/>
                </a:moveTo>
                <a:cubicBezTo>
                  <a:pt x="1112709" y="3933852"/>
                  <a:pt x="1110179" y="3935849"/>
                  <a:pt x="1108582" y="3937447"/>
                </a:cubicBezTo>
                <a:cubicBezTo>
                  <a:pt x="1105919" y="3940109"/>
                  <a:pt x="1104855" y="3942904"/>
                  <a:pt x="1104855" y="3946897"/>
                </a:cubicBezTo>
                <a:cubicBezTo>
                  <a:pt x="1104855" y="3951025"/>
                  <a:pt x="1105919" y="3953820"/>
                  <a:pt x="1108449" y="3956349"/>
                </a:cubicBezTo>
                <a:cubicBezTo>
                  <a:pt x="1110047" y="3957947"/>
                  <a:pt x="1112576" y="3959810"/>
                  <a:pt x="1118434" y="3959810"/>
                </a:cubicBezTo>
                <a:cubicBezTo>
                  <a:pt x="1120564" y="3959810"/>
                  <a:pt x="1122296" y="3959411"/>
                  <a:pt x="1123891" y="3959011"/>
                </a:cubicBezTo>
                <a:cubicBezTo>
                  <a:pt x="1125356" y="3958479"/>
                  <a:pt x="1126690" y="3957548"/>
                  <a:pt x="1127620" y="3956615"/>
                </a:cubicBezTo>
                <a:cubicBezTo>
                  <a:pt x="1128685" y="3955417"/>
                  <a:pt x="1129617" y="3954086"/>
                  <a:pt x="1130284" y="3952355"/>
                </a:cubicBezTo>
                <a:cubicBezTo>
                  <a:pt x="1130948" y="3950758"/>
                  <a:pt x="1131349" y="3948894"/>
                  <a:pt x="1131349" y="3946897"/>
                </a:cubicBezTo>
                <a:cubicBezTo>
                  <a:pt x="1131349" y="3945034"/>
                  <a:pt x="1130948" y="3943304"/>
                  <a:pt x="1130284" y="3941706"/>
                </a:cubicBezTo>
                <a:cubicBezTo>
                  <a:pt x="1129617" y="3939975"/>
                  <a:pt x="1128685" y="3938645"/>
                  <a:pt x="1127620" y="3937447"/>
                </a:cubicBezTo>
                <a:cubicBezTo>
                  <a:pt x="1126555" y="3936382"/>
                  <a:pt x="1125224" y="3935449"/>
                  <a:pt x="1123625" y="3934784"/>
                </a:cubicBezTo>
                <a:cubicBezTo>
                  <a:pt x="1122163" y="3934118"/>
                  <a:pt x="1120564" y="3933852"/>
                  <a:pt x="1118567" y="3933852"/>
                </a:cubicBezTo>
                <a:close/>
                <a:moveTo>
                  <a:pt x="901055" y="3933852"/>
                </a:moveTo>
                <a:cubicBezTo>
                  <a:pt x="895197" y="3933852"/>
                  <a:pt x="892668" y="3935849"/>
                  <a:pt x="891071" y="3937447"/>
                </a:cubicBezTo>
                <a:cubicBezTo>
                  <a:pt x="888408" y="3940109"/>
                  <a:pt x="887344" y="3942904"/>
                  <a:pt x="887344" y="3946897"/>
                </a:cubicBezTo>
                <a:cubicBezTo>
                  <a:pt x="887344" y="3951025"/>
                  <a:pt x="888408" y="3953820"/>
                  <a:pt x="890938" y="3956349"/>
                </a:cubicBezTo>
                <a:cubicBezTo>
                  <a:pt x="892535" y="3957947"/>
                  <a:pt x="895064" y="3959810"/>
                  <a:pt x="900921" y="3959810"/>
                </a:cubicBezTo>
                <a:cubicBezTo>
                  <a:pt x="902918" y="3959810"/>
                  <a:pt x="904649" y="3959411"/>
                  <a:pt x="906379" y="3959011"/>
                </a:cubicBezTo>
                <a:cubicBezTo>
                  <a:pt x="907843" y="3958479"/>
                  <a:pt x="909175" y="3957548"/>
                  <a:pt x="910107" y="3956615"/>
                </a:cubicBezTo>
                <a:cubicBezTo>
                  <a:pt x="911171" y="3955417"/>
                  <a:pt x="912103" y="3954086"/>
                  <a:pt x="912769" y="3952355"/>
                </a:cubicBezTo>
                <a:cubicBezTo>
                  <a:pt x="913434" y="3950758"/>
                  <a:pt x="913834" y="3948894"/>
                  <a:pt x="913834" y="3946897"/>
                </a:cubicBezTo>
                <a:cubicBezTo>
                  <a:pt x="913834" y="3945034"/>
                  <a:pt x="913434" y="3943304"/>
                  <a:pt x="912769" y="3941706"/>
                </a:cubicBezTo>
                <a:cubicBezTo>
                  <a:pt x="912103" y="3939975"/>
                  <a:pt x="911171" y="3938645"/>
                  <a:pt x="910107" y="3937447"/>
                </a:cubicBezTo>
                <a:cubicBezTo>
                  <a:pt x="909042" y="3936382"/>
                  <a:pt x="907710" y="3935449"/>
                  <a:pt x="906113" y="3934784"/>
                </a:cubicBezTo>
                <a:cubicBezTo>
                  <a:pt x="904649" y="3934118"/>
                  <a:pt x="903051" y="3933852"/>
                  <a:pt x="901055" y="3933852"/>
                </a:cubicBezTo>
                <a:close/>
                <a:moveTo>
                  <a:pt x="683280" y="3933852"/>
                </a:moveTo>
                <a:cubicBezTo>
                  <a:pt x="677423" y="3933852"/>
                  <a:pt x="674894" y="3935849"/>
                  <a:pt x="673296" y="3937447"/>
                </a:cubicBezTo>
                <a:cubicBezTo>
                  <a:pt x="670766" y="3940109"/>
                  <a:pt x="669703" y="3942904"/>
                  <a:pt x="669703" y="3946897"/>
                </a:cubicBezTo>
                <a:cubicBezTo>
                  <a:pt x="669703" y="3951025"/>
                  <a:pt x="670766" y="3953820"/>
                  <a:pt x="673296" y="3956349"/>
                </a:cubicBezTo>
                <a:cubicBezTo>
                  <a:pt x="674894" y="3957947"/>
                  <a:pt x="677423" y="3959810"/>
                  <a:pt x="683280" y="3959810"/>
                </a:cubicBezTo>
                <a:cubicBezTo>
                  <a:pt x="685277" y="3959810"/>
                  <a:pt x="687141" y="3959411"/>
                  <a:pt x="688605" y="3959011"/>
                </a:cubicBezTo>
                <a:cubicBezTo>
                  <a:pt x="690069" y="3958479"/>
                  <a:pt x="691401" y="3957548"/>
                  <a:pt x="692332" y="3956615"/>
                </a:cubicBezTo>
                <a:cubicBezTo>
                  <a:pt x="693397" y="3955417"/>
                  <a:pt x="694329" y="3954086"/>
                  <a:pt x="694995" y="3952355"/>
                </a:cubicBezTo>
                <a:cubicBezTo>
                  <a:pt x="695660" y="3950758"/>
                  <a:pt x="696060" y="3948894"/>
                  <a:pt x="696060" y="3946897"/>
                </a:cubicBezTo>
                <a:cubicBezTo>
                  <a:pt x="696060" y="3945034"/>
                  <a:pt x="695660" y="3943304"/>
                  <a:pt x="694995" y="3941706"/>
                </a:cubicBezTo>
                <a:cubicBezTo>
                  <a:pt x="694329" y="3939975"/>
                  <a:pt x="693397" y="3938645"/>
                  <a:pt x="692332" y="3937447"/>
                </a:cubicBezTo>
                <a:cubicBezTo>
                  <a:pt x="691267" y="3936382"/>
                  <a:pt x="689936" y="3935449"/>
                  <a:pt x="688339" y="3934784"/>
                </a:cubicBezTo>
                <a:cubicBezTo>
                  <a:pt x="686875" y="3934118"/>
                  <a:pt x="685277" y="3933852"/>
                  <a:pt x="683280" y="3933852"/>
                </a:cubicBezTo>
                <a:close/>
                <a:moveTo>
                  <a:pt x="465637" y="3933852"/>
                </a:moveTo>
                <a:cubicBezTo>
                  <a:pt x="459780" y="3933852"/>
                  <a:pt x="457251" y="3935849"/>
                  <a:pt x="455654" y="3937447"/>
                </a:cubicBezTo>
                <a:cubicBezTo>
                  <a:pt x="453124" y="3940109"/>
                  <a:pt x="452060" y="3942904"/>
                  <a:pt x="452060" y="3946897"/>
                </a:cubicBezTo>
                <a:cubicBezTo>
                  <a:pt x="452060" y="3951025"/>
                  <a:pt x="453124" y="3953820"/>
                  <a:pt x="455654" y="3956349"/>
                </a:cubicBezTo>
                <a:cubicBezTo>
                  <a:pt x="457251" y="3957947"/>
                  <a:pt x="459780" y="3959810"/>
                  <a:pt x="465637" y="3959810"/>
                </a:cubicBezTo>
                <a:cubicBezTo>
                  <a:pt x="467635" y="3959810"/>
                  <a:pt x="469498" y="3959411"/>
                  <a:pt x="470962" y="3959011"/>
                </a:cubicBezTo>
                <a:cubicBezTo>
                  <a:pt x="472426" y="3958479"/>
                  <a:pt x="473758" y="3957548"/>
                  <a:pt x="474689" y="3956615"/>
                </a:cubicBezTo>
                <a:cubicBezTo>
                  <a:pt x="475754" y="3955417"/>
                  <a:pt x="476686" y="3954086"/>
                  <a:pt x="477353" y="3952355"/>
                </a:cubicBezTo>
                <a:cubicBezTo>
                  <a:pt x="478018" y="3950758"/>
                  <a:pt x="478418" y="3948894"/>
                  <a:pt x="478418" y="3946897"/>
                </a:cubicBezTo>
                <a:cubicBezTo>
                  <a:pt x="478418" y="3945034"/>
                  <a:pt x="478018" y="3943304"/>
                  <a:pt x="477353" y="3941706"/>
                </a:cubicBezTo>
                <a:cubicBezTo>
                  <a:pt x="476686" y="3939975"/>
                  <a:pt x="475754" y="3938645"/>
                  <a:pt x="474689" y="3937447"/>
                </a:cubicBezTo>
                <a:cubicBezTo>
                  <a:pt x="473625" y="3936382"/>
                  <a:pt x="472293" y="3935449"/>
                  <a:pt x="470697" y="3934784"/>
                </a:cubicBezTo>
                <a:cubicBezTo>
                  <a:pt x="469232" y="3934118"/>
                  <a:pt x="467635" y="3933852"/>
                  <a:pt x="465637" y="3933852"/>
                </a:cubicBezTo>
                <a:close/>
                <a:moveTo>
                  <a:pt x="247995" y="3933852"/>
                </a:moveTo>
                <a:cubicBezTo>
                  <a:pt x="242138" y="3933852"/>
                  <a:pt x="239609" y="3935849"/>
                  <a:pt x="238012" y="3937447"/>
                </a:cubicBezTo>
                <a:cubicBezTo>
                  <a:pt x="235482" y="3940109"/>
                  <a:pt x="234419" y="3942904"/>
                  <a:pt x="234419" y="3946897"/>
                </a:cubicBezTo>
                <a:cubicBezTo>
                  <a:pt x="234419" y="3951025"/>
                  <a:pt x="235482" y="3953820"/>
                  <a:pt x="238012" y="3956349"/>
                </a:cubicBezTo>
                <a:cubicBezTo>
                  <a:pt x="239609" y="3957947"/>
                  <a:pt x="242138" y="3959810"/>
                  <a:pt x="247995" y="3959810"/>
                </a:cubicBezTo>
                <a:cubicBezTo>
                  <a:pt x="250125" y="3959810"/>
                  <a:pt x="251856" y="3959411"/>
                  <a:pt x="253320" y="3959011"/>
                </a:cubicBezTo>
                <a:cubicBezTo>
                  <a:pt x="254784" y="3958479"/>
                  <a:pt x="256114" y="3957548"/>
                  <a:pt x="257046" y="3956615"/>
                </a:cubicBezTo>
                <a:cubicBezTo>
                  <a:pt x="258111" y="3955417"/>
                  <a:pt x="259043" y="3954086"/>
                  <a:pt x="259710" y="3952355"/>
                </a:cubicBezTo>
                <a:cubicBezTo>
                  <a:pt x="260375" y="3950758"/>
                  <a:pt x="260775" y="3948894"/>
                  <a:pt x="260775" y="3946897"/>
                </a:cubicBezTo>
                <a:cubicBezTo>
                  <a:pt x="260775" y="3945034"/>
                  <a:pt x="260375" y="3943304"/>
                  <a:pt x="259710" y="3941706"/>
                </a:cubicBezTo>
                <a:cubicBezTo>
                  <a:pt x="259043" y="3939975"/>
                  <a:pt x="258111" y="3938645"/>
                  <a:pt x="257046" y="3937447"/>
                </a:cubicBezTo>
                <a:cubicBezTo>
                  <a:pt x="255981" y="3936382"/>
                  <a:pt x="254651" y="3935449"/>
                  <a:pt x="253054" y="3934784"/>
                </a:cubicBezTo>
                <a:cubicBezTo>
                  <a:pt x="251589" y="3934118"/>
                  <a:pt x="249992" y="3933852"/>
                  <a:pt x="247995" y="3933852"/>
                </a:cubicBezTo>
                <a:close/>
                <a:moveTo>
                  <a:pt x="30352" y="3933852"/>
                </a:moveTo>
                <a:cubicBezTo>
                  <a:pt x="24495" y="3933852"/>
                  <a:pt x="21966" y="3935849"/>
                  <a:pt x="20369" y="3937447"/>
                </a:cubicBezTo>
                <a:cubicBezTo>
                  <a:pt x="17840" y="3940109"/>
                  <a:pt x="16776" y="3942904"/>
                  <a:pt x="16776" y="3946897"/>
                </a:cubicBezTo>
                <a:cubicBezTo>
                  <a:pt x="16776" y="3951025"/>
                  <a:pt x="17840" y="3953820"/>
                  <a:pt x="20369" y="3956349"/>
                </a:cubicBezTo>
                <a:cubicBezTo>
                  <a:pt x="21966" y="3957947"/>
                  <a:pt x="24495" y="3959810"/>
                  <a:pt x="30352" y="3959810"/>
                </a:cubicBezTo>
                <a:cubicBezTo>
                  <a:pt x="32482" y="3959810"/>
                  <a:pt x="34213" y="3959411"/>
                  <a:pt x="35677" y="3959011"/>
                </a:cubicBezTo>
                <a:cubicBezTo>
                  <a:pt x="37142" y="3958479"/>
                  <a:pt x="38474" y="3957548"/>
                  <a:pt x="39405" y="3956615"/>
                </a:cubicBezTo>
                <a:cubicBezTo>
                  <a:pt x="40470" y="3955417"/>
                  <a:pt x="41402" y="3954086"/>
                  <a:pt x="42068" y="3952355"/>
                </a:cubicBezTo>
                <a:cubicBezTo>
                  <a:pt x="42733" y="3950758"/>
                  <a:pt x="42999" y="3948894"/>
                  <a:pt x="42999" y="3946897"/>
                </a:cubicBezTo>
                <a:cubicBezTo>
                  <a:pt x="42999" y="3945034"/>
                  <a:pt x="42733" y="3943304"/>
                  <a:pt x="42068" y="3941706"/>
                </a:cubicBezTo>
                <a:cubicBezTo>
                  <a:pt x="41402" y="3939975"/>
                  <a:pt x="40470" y="3938645"/>
                  <a:pt x="39405" y="3937447"/>
                </a:cubicBezTo>
                <a:cubicBezTo>
                  <a:pt x="38340" y="3936382"/>
                  <a:pt x="37009" y="3935449"/>
                  <a:pt x="35412" y="3934784"/>
                </a:cubicBezTo>
                <a:cubicBezTo>
                  <a:pt x="33948" y="3934118"/>
                  <a:pt x="32350" y="3933852"/>
                  <a:pt x="30352" y="3933852"/>
                </a:cubicBezTo>
                <a:close/>
                <a:moveTo>
                  <a:pt x="10475977" y="3917212"/>
                </a:moveTo>
                <a:cubicBezTo>
                  <a:pt x="10480237" y="3917212"/>
                  <a:pt x="10484230" y="3918011"/>
                  <a:pt x="10487824" y="3919741"/>
                </a:cubicBezTo>
                <a:cubicBezTo>
                  <a:pt x="10491419" y="3921339"/>
                  <a:pt x="10494613" y="3923468"/>
                  <a:pt x="10497143" y="3926131"/>
                </a:cubicBezTo>
                <a:cubicBezTo>
                  <a:pt x="10499672" y="3928793"/>
                  <a:pt x="10501801" y="3931988"/>
                  <a:pt x="10503266" y="3935582"/>
                </a:cubicBezTo>
                <a:cubicBezTo>
                  <a:pt x="10504730" y="3939177"/>
                  <a:pt x="10505529" y="3942904"/>
                  <a:pt x="10505529" y="3947031"/>
                </a:cubicBezTo>
                <a:cubicBezTo>
                  <a:pt x="10505529" y="3951157"/>
                  <a:pt x="10504730" y="3955151"/>
                  <a:pt x="10503266" y="3958745"/>
                </a:cubicBezTo>
                <a:cubicBezTo>
                  <a:pt x="10501669" y="3962339"/>
                  <a:pt x="10499672" y="3965401"/>
                  <a:pt x="10497143" y="3968064"/>
                </a:cubicBezTo>
                <a:cubicBezTo>
                  <a:pt x="10494480" y="3970726"/>
                  <a:pt x="10491419" y="3972856"/>
                  <a:pt x="10487824" y="3974320"/>
                </a:cubicBezTo>
                <a:cubicBezTo>
                  <a:pt x="10484098" y="3975784"/>
                  <a:pt x="10480237" y="3976583"/>
                  <a:pt x="10475977" y="3976583"/>
                </a:cubicBezTo>
                <a:cubicBezTo>
                  <a:pt x="10466924" y="3976583"/>
                  <a:pt x="10459736" y="3973654"/>
                  <a:pt x="10454145" y="3968064"/>
                </a:cubicBezTo>
                <a:cubicBezTo>
                  <a:pt x="10448554" y="3962339"/>
                  <a:pt x="10445759" y="3955284"/>
                  <a:pt x="10445759" y="3946897"/>
                </a:cubicBezTo>
                <a:cubicBezTo>
                  <a:pt x="10445759" y="3938645"/>
                  <a:pt x="10448554" y="3931589"/>
                  <a:pt x="10454145" y="3925864"/>
                </a:cubicBezTo>
                <a:cubicBezTo>
                  <a:pt x="10459603" y="3920141"/>
                  <a:pt x="10466924" y="3917212"/>
                  <a:pt x="10475977" y="3917212"/>
                </a:cubicBezTo>
                <a:close/>
                <a:moveTo>
                  <a:pt x="10258466" y="3917212"/>
                </a:moveTo>
                <a:cubicBezTo>
                  <a:pt x="10262592" y="3917212"/>
                  <a:pt x="10266586" y="3918011"/>
                  <a:pt x="10270313" y="3919741"/>
                </a:cubicBezTo>
                <a:cubicBezTo>
                  <a:pt x="10273907" y="3921339"/>
                  <a:pt x="10277101" y="3923468"/>
                  <a:pt x="10279631" y="3926131"/>
                </a:cubicBezTo>
                <a:cubicBezTo>
                  <a:pt x="10282160" y="3928793"/>
                  <a:pt x="10284290" y="3931988"/>
                  <a:pt x="10285754" y="3935582"/>
                </a:cubicBezTo>
                <a:cubicBezTo>
                  <a:pt x="10287218" y="3939177"/>
                  <a:pt x="10288017" y="3942904"/>
                  <a:pt x="10288017" y="3947031"/>
                </a:cubicBezTo>
                <a:cubicBezTo>
                  <a:pt x="10288017" y="3951157"/>
                  <a:pt x="10287218" y="3955151"/>
                  <a:pt x="10285754" y="3958745"/>
                </a:cubicBezTo>
                <a:cubicBezTo>
                  <a:pt x="10284157" y="3962339"/>
                  <a:pt x="10282160" y="3965401"/>
                  <a:pt x="10279631" y="3968064"/>
                </a:cubicBezTo>
                <a:cubicBezTo>
                  <a:pt x="10276969" y="3970726"/>
                  <a:pt x="10273907" y="3972856"/>
                  <a:pt x="10270313" y="3974320"/>
                </a:cubicBezTo>
                <a:cubicBezTo>
                  <a:pt x="10266586" y="3975784"/>
                  <a:pt x="10262725" y="3976583"/>
                  <a:pt x="10258466" y="3976583"/>
                </a:cubicBezTo>
                <a:cubicBezTo>
                  <a:pt x="10249546" y="3976583"/>
                  <a:pt x="10242224" y="3973654"/>
                  <a:pt x="10236633" y="3968064"/>
                </a:cubicBezTo>
                <a:cubicBezTo>
                  <a:pt x="10231043" y="3962339"/>
                  <a:pt x="10228247" y="3955284"/>
                  <a:pt x="10228247" y="3946897"/>
                </a:cubicBezTo>
                <a:cubicBezTo>
                  <a:pt x="10228247" y="3938645"/>
                  <a:pt x="10231043" y="3931589"/>
                  <a:pt x="10236633" y="3925864"/>
                </a:cubicBezTo>
                <a:cubicBezTo>
                  <a:pt x="10242092" y="3920141"/>
                  <a:pt x="10249413" y="3917212"/>
                  <a:pt x="10258466" y="3917212"/>
                </a:cubicBezTo>
                <a:close/>
                <a:moveTo>
                  <a:pt x="10040820" y="3917212"/>
                </a:moveTo>
                <a:cubicBezTo>
                  <a:pt x="10045080" y="3917212"/>
                  <a:pt x="10048941" y="3918011"/>
                  <a:pt x="10052534" y="3919741"/>
                </a:cubicBezTo>
                <a:cubicBezTo>
                  <a:pt x="10056129" y="3921339"/>
                  <a:pt x="10059323" y="3923468"/>
                  <a:pt x="10061852" y="3926131"/>
                </a:cubicBezTo>
                <a:cubicBezTo>
                  <a:pt x="10064382" y="3928793"/>
                  <a:pt x="10066512" y="3931988"/>
                  <a:pt x="10067976" y="3935582"/>
                </a:cubicBezTo>
                <a:cubicBezTo>
                  <a:pt x="10069440" y="3939177"/>
                  <a:pt x="10070239" y="3942904"/>
                  <a:pt x="10070239" y="3947031"/>
                </a:cubicBezTo>
                <a:cubicBezTo>
                  <a:pt x="10070239" y="3951157"/>
                  <a:pt x="10069440" y="3955151"/>
                  <a:pt x="10067976" y="3958745"/>
                </a:cubicBezTo>
                <a:cubicBezTo>
                  <a:pt x="10066379" y="3962339"/>
                  <a:pt x="10064382" y="3965401"/>
                  <a:pt x="10061852" y="3968064"/>
                </a:cubicBezTo>
                <a:cubicBezTo>
                  <a:pt x="10059190" y="3970726"/>
                  <a:pt x="10056129" y="3972856"/>
                  <a:pt x="10052534" y="3974320"/>
                </a:cubicBezTo>
                <a:cubicBezTo>
                  <a:pt x="10048941" y="3975784"/>
                  <a:pt x="10045080" y="3976583"/>
                  <a:pt x="10040820" y="3976583"/>
                </a:cubicBezTo>
                <a:cubicBezTo>
                  <a:pt x="10031767" y="3976583"/>
                  <a:pt x="10024579" y="3973654"/>
                  <a:pt x="10018988" y="3968064"/>
                </a:cubicBezTo>
                <a:cubicBezTo>
                  <a:pt x="10013397" y="3962339"/>
                  <a:pt x="10010602" y="3955284"/>
                  <a:pt x="10010602" y="3946897"/>
                </a:cubicBezTo>
                <a:cubicBezTo>
                  <a:pt x="10010602" y="3938645"/>
                  <a:pt x="10013397" y="3931589"/>
                  <a:pt x="10018988" y="3925864"/>
                </a:cubicBezTo>
                <a:cubicBezTo>
                  <a:pt x="10024579" y="3920141"/>
                  <a:pt x="10031767" y="3917212"/>
                  <a:pt x="10040820" y="3917212"/>
                </a:cubicBezTo>
                <a:close/>
                <a:moveTo>
                  <a:pt x="9823176" y="3917212"/>
                </a:moveTo>
                <a:cubicBezTo>
                  <a:pt x="9827435" y="3917212"/>
                  <a:pt x="9831296" y="3918011"/>
                  <a:pt x="9834890" y="3919741"/>
                </a:cubicBezTo>
                <a:cubicBezTo>
                  <a:pt x="9838617" y="3921339"/>
                  <a:pt x="9841679" y="3923468"/>
                  <a:pt x="9844208" y="3926131"/>
                </a:cubicBezTo>
                <a:cubicBezTo>
                  <a:pt x="9846737" y="3928793"/>
                  <a:pt x="9848867" y="3931988"/>
                  <a:pt x="9850331" y="3935582"/>
                </a:cubicBezTo>
                <a:cubicBezTo>
                  <a:pt x="9851796" y="3939177"/>
                  <a:pt x="9852595" y="3942904"/>
                  <a:pt x="9852595" y="3947031"/>
                </a:cubicBezTo>
                <a:cubicBezTo>
                  <a:pt x="9852595" y="3951157"/>
                  <a:pt x="9851796" y="3955151"/>
                  <a:pt x="9850331" y="3958745"/>
                </a:cubicBezTo>
                <a:cubicBezTo>
                  <a:pt x="9848734" y="3962339"/>
                  <a:pt x="9846737" y="3965401"/>
                  <a:pt x="9844208" y="3968064"/>
                </a:cubicBezTo>
                <a:cubicBezTo>
                  <a:pt x="9841546" y="3970726"/>
                  <a:pt x="9838484" y="3972856"/>
                  <a:pt x="9834890" y="3974320"/>
                </a:cubicBezTo>
                <a:cubicBezTo>
                  <a:pt x="9831296" y="3975784"/>
                  <a:pt x="9827435" y="3976583"/>
                  <a:pt x="9823176" y="3976583"/>
                </a:cubicBezTo>
                <a:cubicBezTo>
                  <a:pt x="9814123" y="3976583"/>
                  <a:pt x="9806935" y="3973654"/>
                  <a:pt x="9801343" y="3968064"/>
                </a:cubicBezTo>
                <a:cubicBezTo>
                  <a:pt x="9795753" y="3962339"/>
                  <a:pt x="9792957" y="3955284"/>
                  <a:pt x="9792957" y="3946897"/>
                </a:cubicBezTo>
                <a:cubicBezTo>
                  <a:pt x="9792957" y="3938645"/>
                  <a:pt x="9795753" y="3931589"/>
                  <a:pt x="9801343" y="3925864"/>
                </a:cubicBezTo>
                <a:cubicBezTo>
                  <a:pt x="9806935" y="3920141"/>
                  <a:pt x="9814123" y="3917212"/>
                  <a:pt x="9823176" y="3917212"/>
                </a:cubicBezTo>
                <a:close/>
                <a:moveTo>
                  <a:pt x="9605531" y="3917212"/>
                </a:moveTo>
                <a:cubicBezTo>
                  <a:pt x="9609790" y="3917212"/>
                  <a:pt x="9613784" y="3918011"/>
                  <a:pt x="9617245" y="3919741"/>
                </a:cubicBezTo>
                <a:cubicBezTo>
                  <a:pt x="9620839" y="3921339"/>
                  <a:pt x="9624033" y="3923468"/>
                  <a:pt x="9626562" y="3926131"/>
                </a:cubicBezTo>
                <a:cubicBezTo>
                  <a:pt x="9629092" y="3928793"/>
                  <a:pt x="9631222" y="3931988"/>
                  <a:pt x="9632686" y="3935582"/>
                </a:cubicBezTo>
                <a:cubicBezTo>
                  <a:pt x="9634150" y="3939177"/>
                  <a:pt x="9634949" y="3942904"/>
                  <a:pt x="9634949" y="3947031"/>
                </a:cubicBezTo>
                <a:cubicBezTo>
                  <a:pt x="9634949" y="3951157"/>
                  <a:pt x="9634150" y="3955151"/>
                  <a:pt x="9632686" y="3958745"/>
                </a:cubicBezTo>
                <a:cubicBezTo>
                  <a:pt x="9631089" y="3962339"/>
                  <a:pt x="9629092" y="3965401"/>
                  <a:pt x="9626562" y="3968064"/>
                </a:cubicBezTo>
                <a:cubicBezTo>
                  <a:pt x="9623901" y="3970726"/>
                  <a:pt x="9620839" y="3972856"/>
                  <a:pt x="9617245" y="3974320"/>
                </a:cubicBezTo>
                <a:cubicBezTo>
                  <a:pt x="9613651" y="3975784"/>
                  <a:pt x="9609790" y="3976583"/>
                  <a:pt x="9605531" y="3976583"/>
                </a:cubicBezTo>
                <a:cubicBezTo>
                  <a:pt x="9596610" y="3976583"/>
                  <a:pt x="9589289" y="3973654"/>
                  <a:pt x="9583698" y="3968064"/>
                </a:cubicBezTo>
                <a:cubicBezTo>
                  <a:pt x="9578108" y="3962339"/>
                  <a:pt x="9575312" y="3955284"/>
                  <a:pt x="9575312" y="3946897"/>
                </a:cubicBezTo>
                <a:cubicBezTo>
                  <a:pt x="9575312" y="3938645"/>
                  <a:pt x="9578108" y="3931589"/>
                  <a:pt x="9583698" y="3925864"/>
                </a:cubicBezTo>
                <a:cubicBezTo>
                  <a:pt x="9589289" y="3920141"/>
                  <a:pt x="9596478" y="3917212"/>
                  <a:pt x="9605531" y="3917212"/>
                </a:cubicBezTo>
                <a:close/>
                <a:moveTo>
                  <a:pt x="9387885" y="3917212"/>
                </a:moveTo>
                <a:cubicBezTo>
                  <a:pt x="9392145" y="3917212"/>
                  <a:pt x="9396138" y="3918011"/>
                  <a:pt x="9399599" y="3919741"/>
                </a:cubicBezTo>
                <a:cubicBezTo>
                  <a:pt x="9403194" y="3921339"/>
                  <a:pt x="9406388" y="3923468"/>
                  <a:pt x="9408917" y="3926131"/>
                </a:cubicBezTo>
                <a:cubicBezTo>
                  <a:pt x="9411447" y="3928793"/>
                  <a:pt x="9413576" y="3931988"/>
                  <a:pt x="9415041" y="3935582"/>
                </a:cubicBezTo>
                <a:cubicBezTo>
                  <a:pt x="9416505" y="3939177"/>
                  <a:pt x="9417304" y="3942904"/>
                  <a:pt x="9417304" y="3947031"/>
                </a:cubicBezTo>
                <a:cubicBezTo>
                  <a:pt x="9417304" y="3951157"/>
                  <a:pt x="9416505" y="3955151"/>
                  <a:pt x="9415041" y="3958745"/>
                </a:cubicBezTo>
                <a:cubicBezTo>
                  <a:pt x="9413444" y="3962339"/>
                  <a:pt x="9411447" y="3965401"/>
                  <a:pt x="9408917" y="3968064"/>
                </a:cubicBezTo>
                <a:cubicBezTo>
                  <a:pt x="9406255" y="3970726"/>
                  <a:pt x="9403194" y="3972856"/>
                  <a:pt x="9399599" y="3974320"/>
                </a:cubicBezTo>
                <a:cubicBezTo>
                  <a:pt x="9396005" y="3975784"/>
                  <a:pt x="9392145" y="3976583"/>
                  <a:pt x="9387885" y="3976583"/>
                </a:cubicBezTo>
                <a:cubicBezTo>
                  <a:pt x="9378965" y="3976583"/>
                  <a:pt x="9371644" y="3973654"/>
                  <a:pt x="9366053" y="3968064"/>
                </a:cubicBezTo>
                <a:cubicBezTo>
                  <a:pt x="9360462" y="3962339"/>
                  <a:pt x="9357667" y="3955284"/>
                  <a:pt x="9357667" y="3946897"/>
                </a:cubicBezTo>
                <a:cubicBezTo>
                  <a:pt x="9357667" y="3938645"/>
                  <a:pt x="9360462" y="3931589"/>
                  <a:pt x="9366053" y="3925864"/>
                </a:cubicBezTo>
                <a:cubicBezTo>
                  <a:pt x="9371644" y="3920141"/>
                  <a:pt x="9378832" y="3917212"/>
                  <a:pt x="9387885" y="3917212"/>
                </a:cubicBezTo>
                <a:close/>
                <a:moveTo>
                  <a:pt x="9170374" y="3917212"/>
                </a:moveTo>
                <a:cubicBezTo>
                  <a:pt x="9174500" y="3917212"/>
                  <a:pt x="9178494" y="3918011"/>
                  <a:pt x="9182088" y="3919741"/>
                </a:cubicBezTo>
                <a:cubicBezTo>
                  <a:pt x="9185682" y="3921339"/>
                  <a:pt x="9188876" y="3923468"/>
                  <a:pt x="9191405" y="3926131"/>
                </a:cubicBezTo>
                <a:cubicBezTo>
                  <a:pt x="9193935" y="3928793"/>
                  <a:pt x="9196065" y="3931988"/>
                  <a:pt x="9197529" y="3935582"/>
                </a:cubicBezTo>
                <a:cubicBezTo>
                  <a:pt x="9198993" y="3939177"/>
                  <a:pt x="9199792" y="3942904"/>
                  <a:pt x="9199792" y="3947031"/>
                </a:cubicBezTo>
                <a:cubicBezTo>
                  <a:pt x="9199792" y="3951157"/>
                  <a:pt x="9198993" y="3955151"/>
                  <a:pt x="9197529" y="3958745"/>
                </a:cubicBezTo>
                <a:cubicBezTo>
                  <a:pt x="9195932" y="3962339"/>
                  <a:pt x="9193935" y="3965401"/>
                  <a:pt x="9191405" y="3968064"/>
                </a:cubicBezTo>
                <a:cubicBezTo>
                  <a:pt x="9188744" y="3970726"/>
                  <a:pt x="9185682" y="3972856"/>
                  <a:pt x="9182088" y="3974320"/>
                </a:cubicBezTo>
                <a:cubicBezTo>
                  <a:pt x="9178494" y="3975784"/>
                  <a:pt x="9174633" y="3976583"/>
                  <a:pt x="9170374" y="3976583"/>
                </a:cubicBezTo>
                <a:cubicBezTo>
                  <a:pt x="9161453" y="3976583"/>
                  <a:pt x="9154132" y="3973654"/>
                  <a:pt x="9148541" y="3968064"/>
                </a:cubicBezTo>
                <a:cubicBezTo>
                  <a:pt x="9142951" y="3962339"/>
                  <a:pt x="9140155" y="3955284"/>
                  <a:pt x="9140155" y="3946897"/>
                </a:cubicBezTo>
                <a:cubicBezTo>
                  <a:pt x="9140155" y="3938645"/>
                  <a:pt x="9142951" y="3931589"/>
                  <a:pt x="9148541" y="3925864"/>
                </a:cubicBezTo>
                <a:cubicBezTo>
                  <a:pt x="9154132" y="3920141"/>
                  <a:pt x="9161321" y="3917212"/>
                  <a:pt x="9170374" y="3917212"/>
                </a:cubicBezTo>
                <a:close/>
                <a:moveTo>
                  <a:pt x="8952728" y="3917212"/>
                </a:moveTo>
                <a:cubicBezTo>
                  <a:pt x="8956988" y="3917212"/>
                  <a:pt x="8960849" y="3918011"/>
                  <a:pt x="8964442" y="3919741"/>
                </a:cubicBezTo>
                <a:cubicBezTo>
                  <a:pt x="8968037" y="3921339"/>
                  <a:pt x="8971231" y="3923468"/>
                  <a:pt x="8973760" y="3926131"/>
                </a:cubicBezTo>
                <a:cubicBezTo>
                  <a:pt x="8976290" y="3928793"/>
                  <a:pt x="8978419" y="3931988"/>
                  <a:pt x="8979884" y="3935582"/>
                </a:cubicBezTo>
                <a:cubicBezTo>
                  <a:pt x="8981348" y="3939177"/>
                  <a:pt x="8982147" y="3942904"/>
                  <a:pt x="8982147" y="3947031"/>
                </a:cubicBezTo>
                <a:cubicBezTo>
                  <a:pt x="8982147" y="3951157"/>
                  <a:pt x="8981348" y="3955151"/>
                  <a:pt x="8979884" y="3958745"/>
                </a:cubicBezTo>
                <a:cubicBezTo>
                  <a:pt x="8978287" y="3962339"/>
                  <a:pt x="8976290" y="3965401"/>
                  <a:pt x="8973760" y="3968064"/>
                </a:cubicBezTo>
                <a:cubicBezTo>
                  <a:pt x="8971098" y="3970726"/>
                  <a:pt x="8968037" y="3972856"/>
                  <a:pt x="8964442" y="3974320"/>
                </a:cubicBezTo>
                <a:cubicBezTo>
                  <a:pt x="8960849" y="3975784"/>
                  <a:pt x="8956988" y="3976583"/>
                  <a:pt x="8952728" y="3976583"/>
                </a:cubicBezTo>
                <a:cubicBezTo>
                  <a:pt x="8943808" y="3976583"/>
                  <a:pt x="8936487" y="3973654"/>
                  <a:pt x="8930896" y="3968064"/>
                </a:cubicBezTo>
                <a:cubicBezTo>
                  <a:pt x="8925305" y="3962339"/>
                  <a:pt x="8922510" y="3955284"/>
                  <a:pt x="8922510" y="3946897"/>
                </a:cubicBezTo>
                <a:cubicBezTo>
                  <a:pt x="8922510" y="3938645"/>
                  <a:pt x="8925305" y="3931589"/>
                  <a:pt x="8930896" y="3925864"/>
                </a:cubicBezTo>
                <a:cubicBezTo>
                  <a:pt x="8936487" y="3920141"/>
                  <a:pt x="8943675" y="3917212"/>
                  <a:pt x="8952728" y="3917212"/>
                </a:cubicBezTo>
                <a:close/>
                <a:moveTo>
                  <a:pt x="8735083" y="3917212"/>
                </a:moveTo>
                <a:cubicBezTo>
                  <a:pt x="8739342" y="3917212"/>
                  <a:pt x="8743203" y="3918011"/>
                  <a:pt x="8746797" y="3919741"/>
                </a:cubicBezTo>
                <a:cubicBezTo>
                  <a:pt x="8750391" y="3921339"/>
                  <a:pt x="8753586" y="3923468"/>
                  <a:pt x="8756115" y="3926131"/>
                </a:cubicBezTo>
                <a:cubicBezTo>
                  <a:pt x="8758644" y="3928793"/>
                  <a:pt x="8760774" y="3931988"/>
                  <a:pt x="8762238" y="3935582"/>
                </a:cubicBezTo>
                <a:cubicBezTo>
                  <a:pt x="8763702" y="3939177"/>
                  <a:pt x="8764502" y="3942904"/>
                  <a:pt x="8764502" y="3947031"/>
                </a:cubicBezTo>
                <a:cubicBezTo>
                  <a:pt x="8764502" y="3951157"/>
                  <a:pt x="8763702" y="3955151"/>
                  <a:pt x="8762238" y="3958745"/>
                </a:cubicBezTo>
                <a:cubicBezTo>
                  <a:pt x="8760641" y="3962339"/>
                  <a:pt x="8758644" y="3965401"/>
                  <a:pt x="8756115" y="3968064"/>
                </a:cubicBezTo>
                <a:cubicBezTo>
                  <a:pt x="8753453" y="3970726"/>
                  <a:pt x="8750391" y="3972856"/>
                  <a:pt x="8746797" y="3974320"/>
                </a:cubicBezTo>
                <a:cubicBezTo>
                  <a:pt x="8743203" y="3975784"/>
                  <a:pt x="8739342" y="3976583"/>
                  <a:pt x="8735083" y="3976583"/>
                </a:cubicBezTo>
                <a:cubicBezTo>
                  <a:pt x="8726030" y="3976583"/>
                  <a:pt x="8718841" y="3973654"/>
                  <a:pt x="8713250" y="3968064"/>
                </a:cubicBezTo>
                <a:cubicBezTo>
                  <a:pt x="8707660" y="3962339"/>
                  <a:pt x="8704864" y="3955284"/>
                  <a:pt x="8704864" y="3946897"/>
                </a:cubicBezTo>
                <a:cubicBezTo>
                  <a:pt x="8704864" y="3938645"/>
                  <a:pt x="8707660" y="3931589"/>
                  <a:pt x="8713250" y="3925864"/>
                </a:cubicBezTo>
                <a:cubicBezTo>
                  <a:pt x="8718841" y="3920141"/>
                  <a:pt x="8726030" y="3917212"/>
                  <a:pt x="8735083" y="3917212"/>
                </a:cubicBezTo>
                <a:close/>
                <a:moveTo>
                  <a:pt x="8517438" y="3917212"/>
                </a:moveTo>
                <a:cubicBezTo>
                  <a:pt x="8521698" y="3917212"/>
                  <a:pt x="8525559" y="3918011"/>
                  <a:pt x="8529152" y="3919741"/>
                </a:cubicBezTo>
                <a:cubicBezTo>
                  <a:pt x="8532880" y="3921339"/>
                  <a:pt x="8535941" y="3923468"/>
                  <a:pt x="8538470" y="3926131"/>
                </a:cubicBezTo>
                <a:cubicBezTo>
                  <a:pt x="8541000" y="3928793"/>
                  <a:pt x="8543130" y="3931988"/>
                  <a:pt x="8544594" y="3935582"/>
                </a:cubicBezTo>
                <a:cubicBezTo>
                  <a:pt x="8546058" y="3939177"/>
                  <a:pt x="8546857" y="3942904"/>
                  <a:pt x="8546857" y="3947031"/>
                </a:cubicBezTo>
                <a:cubicBezTo>
                  <a:pt x="8546857" y="3951157"/>
                  <a:pt x="8546058" y="3955151"/>
                  <a:pt x="8544594" y="3958745"/>
                </a:cubicBezTo>
                <a:cubicBezTo>
                  <a:pt x="8542997" y="3962339"/>
                  <a:pt x="8541000" y="3965401"/>
                  <a:pt x="8538470" y="3968064"/>
                </a:cubicBezTo>
                <a:cubicBezTo>
                  <a:pt x="8535808" y="3970726"/>
                  <a:pt x="8532747" y="3972856"/>
                  <a:pt x="8529152" y="3974320"/>
                </a:cubicBezTo>
                <a:cubicBezTo>
                  <a:pt x="8525559" y="3975784"/>
                  <a:pt x="8521698" y="3976583"/>
                  <a:pt x="8517438" y="3976583"/>
                </a:cubicBezTo>
                <a:cubicBezTo>
                  <a:pt x="8508385" y="3976583"/>
                  <a:pt x="8501197" y="3973654"/>
                  <a:pt x="8495606" y="3968064"/>
                </a:cubicBezTo>
                <a:cubicBezTo>
                  <a:pt x="8490015" y="3962339"/>
                  <a:pt x="8487220" y="3955284"/>
                  <a:pt x="8487220" y="3946897"/>
                </a:cubicBezTo>
                <a:cubicBezTo>
                  <a:pt x="8487220" y="3938645"/>
                  <a:pt x="8490015" y="3931589"/>
                  <a:pt x="8495606" y="3925864"/>
                </a:cubicBezTo>
                <a:cubicBezTo>
                  <a:pt x="8501197" y="3920141"/>
                  <a:pt x="8508385" y="3917212"/>
                  <a:pt x="8517438" y="3917212"/>
                </a:cubicBezTo>
                <a:close/>
                <a:moveTo>
                  <a:pt x="8299793" y="3917212"/>
                </a:moveTo>
                <a:cubicBezTo>
                  <a:pt x="8304052" y="3917212"/>
                  <a:pt x="8308046" y="3918011"/>
                  <a:pt x="8311507" y="3919741"/>
                </a:cubicBezTo>
                <a:cubicBezTo>
                  <a:pt x="8315235" y="3921339"/>
                  <a:pt x="8318296" y="3923468"/>
                  <a:pt x="8320825" y="3926131"/>
                </a:cubicBezTo>
                <a:cubicBezTo>
                  <a:pt x="8323354" y="3928793"/>
                  <a:pt x="8325484" y="3931988"/>
                  <a:pt x="8326948" y="3935582"/>
                </a:cubicBezTo>
                <a:cubicBezTo>
                  <a:pt x="8328413" y="3939177"/>
                  <a:pt x="8329212" y="3942904"/>
                  <a:pt x="8329212" y="3947031"/>
                </a:cubicBezTo>
                <a:cubicBezTo>
                  <a:pt x="8329212" y="3951157"/>
                  <a:pt x="8328413" y="3955151"/>
                  <a:pt x="8326948" y="3958745"/>
                </a:cubicBezTo>
                <a:cubicBezTo>
                  <a:pt x="8325351" y="3962339"/>
                  <a:pt x="8323354" y="3965401"/>
                  <a:pt x="8320825" y="3968064"/>
                </a:cubicBezTo>
                <a:cubicBezTo>
                  <a:pt x="8318163" y="3970726"/>
                  <a:pt x="8315101" y="3972856"/>
                  <a:pt x="8311507" y="3974320"/>
                </a:cubicBezTo>
                <a:cubicBezTo>
                  <a:pt x="8307913" y="3975784"/>
                  <a:pt x="8304052" y="3976583"/>
                  <a:pt x="8299793" y="3976583"/>
                </a:cubicBezTo>
                <a:cubicBezTo>
                  <a:pt x="8290874" y="3976583"/>
                  <a:pt x="8283553" y="3973654"/>
                  <a:pt x="8277960" y="3968064"/>
                </a:cubicBezTo>
                <a:cubicBezTo>
                  <a:pt x="8272370" y="3962339"/>
                  <a:pt x="8269574" y="3955284"/>
                  <a:pt x="8269574" y="3946897"/>
                </a:cubicBezTo>
                <a:cubicBezTo>
                  <a:pt x="8269574" y="3938645"/>
                  <a:pt x="8272370" y="3931589"/>
                  <a:pt x="8277960" y="3925864"/>
                </a:cubicBezTo>
                <a:cubicBezTo>
                  <a:pt x="8283553" y="3920141"/>
                  <a:pt x="8290741" y="3917212"/>
                  <a:pt x="8299793" y="3917212"/>
                </a:cubicBezTo>
                <a:close/>
                <a:moveTo>
                  <a:pt x="8082281" y="3917212"/>
                </a:moveTo>
                <a:cubicBezTo>
                  <a:pt x="8086407" y="3917212"/>
                  <a:pt x="8090401" y="3918011"/>
                  <a:pt x="8094127" y="3919741"/>
                </a:cubicBezTo>
                <a:cubicBezTo>
                  <a:pt x="8097855" y="3921339"/>
                  <a:pt x="8100916" y="3923468"/>
                  <a:pt x="8103446" y="3926131"/>
                </a:cubicBezTo>
                <a:cubicBezTo>
                  <a:pt x="8105975" y="3928793"/>
                  <a:pt x="8108104" y="3931988"/>
                  <a:pt x="8109569" y="3935582"/>
                </a:cubicBezTo>
                <a:cubicBezTo>
                  <a:pt x="8111033" y="3939177"/>
                  <a:pt x="8111832" y="3942904"/>
                  <a:pt x="8111832" y="3947031"/>
                </a:cubicBezTo>
                <a:cubicBezTo>
                  <a:pt x="8111832" y="3951157"/>
                  <a:pt x="8111033" y="3955151"/>
                  <a:pt x="8109569" y="3958745"/>
                </a:cubicBezTo>
                <a:cubicBezTo>
                  <a:pt x="8107972" y="3962339"/>
                  <a:pt x="8105975" y="3965401"/>
                  <a:pt x="8103446" y="3968064"/>
                </a:cubicBezTo>
                <a:cubicBezTo>
                  <a:pt x="8100783" y="3970726"/>
                  <a:pt x="8097722" y="3972856"/>
                  <a:pt x="8094127" y="3974320"/>
                </a:cubicBezTo>
                <a:cubicBezTo>
                  <a:pt x="8090401" y="3975784"/>
                  <a:pt x="8086540" y="3976583"/>
                  <a:pt x="8082281" y="3976583"/>
                </a:cubicBezTo>
                <a:cubicBezTo>
                  <a:pt x="8073361" y="3976583"/>
                  <a:pt x="8066040" y="3973654"/>
                  <a:pt x="8060448" y="3968064"/>
                </a:cubicBezTo>
                <a:cubicBezTo>
                  <a:pt x="8054857" y="3962339"/>
                  <a:pt x="8052062" y="3955284"/>
                  <a:pt x="8052062" y="3946897"/>
                </a:cubicBezTo>
                <a:cubicBezTo>
                  <a:pt x="8052062" y="3938645"/>
                  <a:pt x="8054857" y="3931589"/>
                  <a:pt x="8060448" y="3925864"/>
                </a:cubicBezTo>
                <a:cubicBezTo>
                  <a:pt x="8066040" y="3920141"/>
                  <a:pt x="8073228" y="3917212"/>
                  <a:pt x="8082281" y="3917212"/>
                </a:cubicBezTo>
                <a:close/>
                <a:moveTo>
                  <a:pt x="7864636" y="3917212"/>
                </a:moveTo>
                <a:cubicBezTo>
                  <a:pt x="7868762" y="3917212"/>
                  <a:pt x="7872756" y="3918011"/>
                  <a:pt x="7876483" y="3919741"/>
                </a:cubicBezTo>
                <a:cubicBezTo>
                  <a:pt x="7880210" y="3921339"/>
                  <a:pt x="7883272" y="3923468"/>
                  <a:pt x="7885802" y="3926131"/>
                </a:cubicBezTo>
                <a:cubicBezTo>
                  <a:pt x="7888331" y="3928793"/>
                  <a:pt x="7890460" y="3931988"/>
                  <a:pt x="7891924" y="3935582"/>
                </a:cubicBezTo>
                <a:cubicBezTo>
                  <a:pt x="7893389" y="3939177"/>
                  <a:pt x="7894188" y="3942904"/>
                  <a:pt x="7894188" y="3947031"/>
                </a:cubicBezTo>
                <a:cubicBezTo>
                  <a:pt x="7894188" y="3951157"/>
                  <a:pt x="7893389" y="3955151"/>
                  <a:pt x="7891924" y="3958745"/>
                </a:cubicBezTo>
                <a:cubicBezTo>
                  <a:pt x="7890327" y="3962339"/>
                  <a:pt x="7888331" y="3965401"/>
                  <a:pt x="7885802" y="3968064"/>
                </a:cubicBezTo>
                <a:cubicBezTo>
                  <a:pt x="7883139" y="3970726"/>
                  <a:pt x="7880078" y="3972856"/>
                  <a:pt x="7876483" y="3974320"/>
                </a:cubicBezTo>
                <a:cubicBezTo>
                  <a:pt x="7872756" y="3975784"/>
                  <a:pt x="7868895" y="3976583"/>
                  <a:pt x="7864636" y="3976583"/>
                </a:cubicBezTo>
                <a:cubicBezTo>
                  <a:pt x="7855717" y="3976583"/>
                  <a:pt x="7848396" y="3973654"/>
                  <a:pt x="7842803" y="3968064"/>
                </a:cubicBezTo>
                <a:cubicBezTo>
                  <a:pt x="7837213" y="3962339"/>
                  <a:pt x="7834417" y="3955284"/>
                  <a:pt x="7834417" y="3946897"/>
                </a:cubicBezTo>
                <a:cubicBezTo>
                  <a:pt x="7834417" y="3938645"/>
                  <a:pt x="7837213" y="3931589"/>
                  <a:pt x="7842803" y="3925864"/>
                </a:cubicBezTo>
                <a:cubicBezTo>
                  <a:pt x="7848396" y="3920141"/>
                  <a:pt x="7855584" y="3917212"/>
                  <a:pt x="7864636" y="3917212"/>
                </a:cubicBezTo>
                <a:close/>
                <a:moveTo>
                  <a:pt x="7646991" y="3917212"/>
                </a:moveTo>
                <a:cubicBezTo>
                  <a:pt x="7651250" y="3917212"/>
                  <a:pt x="7655111" y="3918011"/>
                  <a:pt x="7658705" y="3919741"/>
                </a:cubicBezTo>
                <a:cubicBezTo>
                  <a:pt x="7662432" y="3921339"/>
                  <a:pt x="7665493" y="3923468"/>
                  <a:pt x="7668022" y="3926131"/>
                </a:cubicBezTo>
                <a:cubicBezTo>
                  <a:pt x="7670552" y="3928793"/>
                  <a:pt x="7672682" y="3931988"/>
                  <a:pt x="7674146" y="3935582"/>
                </a:cubicBezTo>
                <a:cubicBezTo>
                  <a:pt x="7675610" y="3939177"/>
                  <a:pt x="7676409" y="3942904"/>
                  <a:pt x="7676409" y="3947031"/>
                </a:cubicBezTo>
                <a:cubicBezTo>
                  <a:pt x="7676409" y="3951157"/>
                  <a:pt x="7675610" y="3955151"/>
                  <a:pt x="7674146" y="3958745"/>
                </a:cubicBezTo>
                <a:cubicBezTo>
                  <a:pt x="7672549" y="3962339"/>
                  <a:pt x="7670552" y="3965401"/>
                  <a:pt x="7668022" y="3968064"/>
                </a:cubicBezTo>
                <a:cubicBezTo>
                  <a:pt x="7665361" y="3970726"/>
                  <a:pt x="7662299" y="3972856"/>
                  <a:pt x="7658705" y="3974320"/>
                </a:cubicBezTo>
                <a:cubicBezTo>
                  <a:pt x="7655111" y="3975784"/>
                  <a:pt x="7651250" y="3976583"/>
                  <a:pt x="7646991" y="3976583"/>
                </a:cubicBezTo>
                <a:cubicBezTo>
                  <a:pt x="7638071" y="3976583"/>
                  <a:pt x="7630750" y="3973654"/>
                  <a:pt x="7625158" y="3968064"/>
                </a:cubicBezTo>
                <a:cubicBezTo>
                  <a:pt x="7619568" y="3962339"/>
                  <a:pt x="7616772" y="3955284"/>
                  <a:pt x="7616772" y="3946897"/>
                </a:cubicBezTo>
                <a:cubicBezTo>
                  <a:pt x="7616772" y="3938645"/>
                  <a:pt x="7619568" y="3931589"/>
                  <a:pt x="7625158" y="3925864"/>
                </a:cubicBezTo>
                <a:cubicBezTo>
                  <a:pt x="7630750" y="3920141"/>
                  <a:pt x="7637939" y="3917212"/>
                  <a:pt x="7646991" y="3917212"/>
                </a:cubicBezTo>
                <a:close/>
                <a:moveTo>
                  <a:pt x="7429345" y="3917212"/>
                </a:moveTo>
                <a:cubicBezTo>
                  <a:pt x="7433605" y="3917212"/>
                  <a:pt x="7437466" y="3918011"/>
                  <a:pt x="7441059" y="3919741"/>
                </a:cubicBezTo>
                <a:cubicBezTo>
                  <a:pt x="7444787" y="3921339"/>
                  <a:pt x="7447848" y="3923468"/>
                  <a:pt x="7450377" y="3926131"/>
                </a:cubicBezTo>
                <a:cubicBezTo>
                  <a:pt x="7452907" y="3928793"/>
                  <a:pt x="7455036" y="3931988"/>
                  <a:pt x="7456501" y="3935582"/>
                </a:cubicBezTo>
                <a:cubicBezTo>
                  <a:pt x="7457965" y="3939177"/>
                  <a:pt x="7458764" y="3942904"/>
                  <a:pt x="7458764" y="3947031"/>
                </a:cubicBezTo>
                <a:cubicBezTo>
                  <a:pt x="7458764" y="3951157"/>
                  <a:pt x="7457965" y="3955151"/>
                  <a:pt x="7456501" y="3958745"/>
                </a:cubicBezTo>
                <a:cubicBezTo>
                  <a:pt x="7454904" y="3962339"/>
                  <a:pt x="7452907" y="3965401"/>
                  <a:pt x="7450377" y="3968064"/>
                </a:cubicBezTo>
                <a:cubicBezTo>
                  <a:pt x="7447715" y="3970726"/>
                  <a:pt x="7444654" y="3972856"/>
                  <a:pt x="7441059" y="3974320"/>
                </a:cubicBezTo>
                <a:cubicBezTo>
                  <a:pt x="7437466" y="3975784"/>
                  <a:pt x="7433605" y="3976583"/>
                  <a:pt x="7429345" y="3976583"/>
                </a:cubicBezTo>
                <a:cubicBezTo>
                  <a:pt x="7420426" y="3976583"/>
                  <a:pt x="7413105" y="3973654"/>
                  <a:pt x="7407513" y="3968064"/>
                </a:cubicBezTo>
                <a:cubicBezTo>
                  <a:pt x="7401922" y="3962339"/>
                  <a:pt x="7399127" y="3955284"/>
                  <a:pt x="7399127" y="3946897"/>
                </a:cubicBezTo>
                <a:cubicBezTo>
                  <a:pt x="7399127" y="3938645"/>
                  <a:pt x="7401922" y="3931589"/>
                  <a:pt x="7407513" y="3925864"/>
                </a:cubicBezTo>
                <a:cubicBezTo>
                  <a:pt x="7413105" y="3920141"/>
                  <a:pt x="7420293" y="3917212"/>
                  <a:pt x="7429345" y="3917212"/>
                </a:cubicBezTo>
                <a:close/>
                <a:moveTo>
                  <a:pt x="7211701" y="3917212"/>
                </a:moveTo>
                <a:cubicBezTo>
                  <a:pt x="7215960" y="3917212"/>
                  <a:pt x="7219954" y="3918011"/>
                  <a:pt x="7223415" y="3919741"/>
                </a:cubicBezTo>
                <a:cubicBezTo>
                  <a:pt x="7227142" y="3921339"/>
                  <a:pt x="7230204" y="3923468"/>
                  <a:pt x="7232733" y="3926131"/>
                </a:cubicBezTo>
                <a:cubicBezTo>
                  <a:pt x="7235262" y="3928793"/>
                  <a:pt x="7237392" y="3931988"/>
                  <a:pt x="7238856" y="3935582"/>
                </a:cubicBezTo>
                <a:cubicBezTo>
                  <a:pt x="7240321" y="3939177"/>
                  <a:pt x="7241120" y="3942904"/>
                  <a:pt x="7241120" y="3947031"/>
                </a:cubicBezTo>
                <a:cubicBezTo>
                  <a:pt x="7241120" y="3951157"/>
                  <a:pt x="7240321" y="3955151"/>
                  <a:pt x="7238856" y="3958745"/>
                </a:cubicBezTo>
                <a:cubicBezTo>
                  <a:pt x="7237259" y="3962339"/>
                  <a:pt x="7235262" y="3965401"/>
                  <a:pt x="7232733" y="3968064"/>
                </a:cubicBezTo>
                <a:cubicBezTo>
                  <a:pt x="7230071" y="3970726"/>
                  <a:pt x="7227009" y="3972856"/>
                  <a:pt x="7223415" y="3974320"/>
                </a:cubicBezTo>
                <a:cubicBezTo>
                  <a:pt x="7219821" y="3975784"/>
                  <a:pt x="7215960" y="3976583"/>
                  <a:pt x="7211701" y="3976583"/>
                </a:cubicBezTo>
                <a:cubicBezTo>
                  <a:pt x="7202782" y="3976583"/>
                  <a:pt x="7195460" y="3973654"/>
                  <a:pt x="7189868" y="3968064"/>
                </a:cubicBezTo>
                <a:cubicBezTo>
                  <a:pt x="7184278" y="3962339"/>
                  <a:pt x="7181482" y="3955284"/>
                  <a:pt x="7181482" y="3946897"/>
                </a:cubicBezTo>
                <a:cubicBezTo>
                  <a:pt x="7181482" y="3938645"/>
                  <a:pt x="7184278" y="3931589"/>
                  <a:pt x="7189868" y="3925864"/>
                </a:cubicBezTo>
                <a:cubicBezTo>
                  <a:pt x="7195460" y="3920141"/>
                  <a:pt x="7202649" y="3917212"/>
                  <a:pt x="7211701" y="3917212"/>
                </a:cubicBezTo>
                <a:close/>
                <a:moveTo>
                  <a:pt x="6994056" y="3917212"/>
                </a:moveTo>
                <a:cubicBezTo>
                  <a:pt x="6998315" y="3917212"/>
                  <a:pt x="7002309" y="3918011"/>
                  <a:pt x="7005769" y="3919741"/>
                </a:cubicBezTo>
                <a:cubicBezTo>
                  <a:pt x="7009497" y="3921339"/>
                  <a:pt x="7012558" y="3923468"/>
                  <a:pt x="7015087" y="3926131"/>
                </a:cubicBezTo>
                <a:cubicBezTo>
                  <a:pt x="7017617" y="3928793"/>
                  <a:pt x="7019747" y="3931988"/>
                  <a:pt x="7021211" y="3935582"/>
                </a:cubicBezTo>
                <a:cubicBezTo>
                  <a:pt x="7022675" y="3939177"/>
                  <a:pt x="7023474" y="3942904"/>
                  <a:pt x="7023474" y="3947031"/>
                </a:cubicBezTo>
                <a:cubicBezTo>
                  <a:pt x="7023474" y="3951157"/>
                  <a:pt x="7022675" y="3955151"/>
                  <a:pt x="7021211" y="3958745"/>
                </a:cubicBezTo>
                <a:cubicBezTo>
                  <a:pt x="7019614" y="3962339"/>
                  <a:pt x="7017617" y="3965401"/>
                  <a:pt x="7015087" y="3968064"/>
                </a:cubicBezTo>
                <a:cubicBezTo>
                  <a:pt x="7012425" y="3970726"/>
                  <a:pt x="7009364" y="3972856"/>
                  <a:pt x="7005769" y="3974320"/>
                </a:cubicBezTo>
                <a:cubicBezTo>
                  <a:pt x="7002176" y="3975784"/>
                  <a:pt x="6998315" y="3976583"/>
                  <a:pt x="6994056" y="3976583"/>
                </a:cubicBezTo>
                <a:cubicBezTo>
                  <a:pt x="6985136" y="3976583"/>
                  <a:pt x="6977815" y="3973654"/>
                  <a:pt x="6972223" y="3968064"/>
                </a:cubicBezTo>
                <a:cubicBezTo>
                  <a:pt x="6966632" y="3962339"/>
                  <a:pt x="6963837" y="3955284"/>
                  <a:pt x="6963837" y="3946897"/>
                </a:cubicBezTo>
                <a:cubicBezTo>
                  <a:pt x="6963837" y="3938645"/>
                  <a:pt x="6966632" y="3931589"/>
                  <a:pt x="6972223" y="3925864"/>
                </a:cubicBezTo>
                <a:cubicBezTo>
                  <a:pt x="6977815" y="3920141"/>
                  <a:pt x="6985003" y="3917212"/>
                  <a:pt x="6994056" y="3917212"/>
                </a:cubicBezTo>
                <a:close/>
                <a:moveTo>
                  <a:pt x="6776544" y="3917212"/>
                </a:moveTo>
                <a:cubicBezTo>
                  <a:pt x="6780670" y="3917212"/>
                  <a:pt x="6784664" y="3918011"/>
                  <a:pt x="6788258" y="3919741"/>
                </a:cubicBezTo>
                <a:cubicBezTo>
                  <a:pt x="6791985" y="3921339"/>
                  <a:pt x="6795047" y="3923468"/>
                  <a:pt x="6797576" y="3926131"/>
                </a:cubicBezTo>
                <a:cubicBezTo>
                  <a:pt x="6800105" y="3928793"/>
                  <a:pt x="6802235" y="3931988"/>
                  <a:pt x="6803699" y="3935582"/>
                </a:cubicBezTo>
                <a:cubicBezTo>
                  <a:pt x="6805164" y="3939177"/>
                  <a:pt x="6805963" y="3942904"/>
                  <a:pt x="6805963" y="3947031"/>
                </a:cubicBezTo>
                <a:cubicBezTo>
                  <a:pt x="6805963" y="3951157"/>
                  <a:pt x="6805164" y="3955151"/>
                  <a:pt x="6803699" y="3958745"/>
                </a:cubicBezTo>
                <a:cubicBezTo>
                  <a:pt x="6802102" y="3962339"/>
                  <a:pt x="6800105" y="3965401"/>
                  <a:pt x="6797576" y="3968064"/>
                </a:cubicBezTo>
                <a:cubicBezTo>
                  <a:pt x="6794914" y="3970726"/>
                  <a:pt x="6791852" y="3972856"/>
                  <a:pt x="6788258" y="3974320"/>
                </a:cubicBezTo>
                <a:cubicBezTo>
                  <a:pt x="6784664" y="3975784"/>
                  <a:pt x="6780803" y="3976583"/>
                  <a:pt x="6776544" y="3976583"/>
                </a:cubicBezTo>
                <a:cubicBezTo>
                  <a:pt x="6767625" y="3976583"/>
                  <a:pt x="6760303" y="3973654"/>
                  <a:pt x="6754711" y="3968064"/>
                </a:cubicBezTo>
                <a:cubicBezTo>
                  <a:pt x="6749121" y="3962339"/>
                  <a:pt x="6746325" y="3955284"/>
                  <a:pt x="6746325" y="3946897"/>
                </a:cubicBezTo>
                <a:cubicBezTo>
                  <a:pt x="6746325" y="3938645"/>
                  <a:pt x="6749121" y="3931589"/>
                  <a:pt x="6754711" y="3925864"/>
                </a:cubicBezTo>
                <a:cubicBezTo>
                  <a:pt x="6760303" y="3920141"/>
                  <a:pt x="6767492" y="3917212"/>
                  <a:pt x="6776544" y="3917212"/>
                </a:cubicBezTo>
                <a:close/>
                <a:moveTo>
                  <a:pt x="6558899" y="3917212"/>
                </a:moveTo>
                <a:cubicBezTo>
                  <a:pt x="6563158" y="3917212"/>
                  <a:pt x="6567019" y="3918011"/>
                  <a:pt x="6570612" y="3919741"/>
                </a:cubicBezTo>
                <a:cubicBezTo>
                  <a:pt x="6574340" y="3921339"/>
                  <a:pt x="6577401" y="3923468"/>
                  <a:pt x="6579930" y="3926131"/>
                </a:cubicBezTo>
                <a:cubicBezTo>
                  <a:pt x="6582460" y="3928793"/>
                  <a:pt x="6584590" y="3931988"/>
                  <a:pt x="6586054" y="3935582"/>
                </a:cubicBezTo>
                <a:cubicBezTo>
                  <a:pt x="6587518" y="3939177"/>
                  <a:pt x="6588317" y="3942904"/>
                  <a:pt x="6588317" y="3947031"/>
                </a:cubicBezTo>
                <a:cubicBezTo>
                  <a:pt x="6588317" y="3951157"/>
                  <a:pt x="6587518" y="3955151"/>
                  <a:pt x="6586054" y="3958745"/>
                </a:cubicBezTo>
                <a:cubicBezTo>
                  <a:pt x="6584457" y="3962339"/>
                  <a:pt x="6582460" y="3965401"/>
                  <a:pt x="6579930" y="3968064"/>
                </a:cubicBezTo>
                <a:cubicBezTo>
                  <a:pt x="6577268" y="3970726"/>
                  <a:pt x="6574207" y="3972856"/>
                  <a:pt x="6570612" y="3974320"/>
                </a:cubicBezTo>
                <a:cubicBezTo>
                  <a:pt x="6567019" y="3975784"/>
                  <a:pt x="6563158" y="3976583"/>
                  <a:pt x="6558899" y="3976583"/>
                </a:cubicBezTo>
                <a:cubicBezTo>
                  <a:pt x="6549979" y="3976583"/>
                  <a:pt x="6542658" y="3973654"/>
                  <a:pt x="6537066" y="3968064"/>
                </a:cubicBezTo>
                <a:cubicBezTo>
                  <a:pt x="6531476" y="3962339"/>
                  <a:pt x="6528680" y="3955284"/>
                  <a:pt x="6528680" y="3946897"/>
                </a:cubicBezTo>
                <a:cubicBezTo>
                  <a:pt x="6528680" y="3938645"/>
                  <a:pt x="6531476" y="3931589"/>
                  <a:pt x="6537066" y="3925864"/>
                </a:cubicBezTo>
                <a:cubicBezTo>
                  <a:pt x="6542658" y="3920141"/>
                  <a:pt x="6549846" y="3917212"/>
                  <a:pt x="6558899" y="3917212"/>
                </a:cubicBezTo>
                <a:close/>
                <a:moveTo>
                  <a:pt x="6341253" y="3917212"/>
                </a:moveTo>
                <a:cubicBezTo>
                  <a:pt x="6345513" y="3917212"/>
                  <a:pt x="6349373" y="3918011"/>
                  <a:pt x="6352968" y="3919741"/>
                </a:cubicBezTo>
                <a:cubicBezTo>
                  <a:pt x="6356695" y="3921339"/>
                  <a:pt x="6359757" y="3923468"/>
                  <a:pt x="6362286" y="3926131"/>
                </a:cubicBezTo>
                <a:cubicBezTo>
                  <a:pt x="6364815" y="3928793"/>
                  <a:pt x="6366945" y="3931988"/>
                  <a:pt x="6368409" y="3935582"/>
                </a:cubicBezTo>
                <a:cubicBezTo>
                  <a:pt x="6369874" y="3939177"/>
                  <a:pt x="6370672" y="3942904"/>
                  <a:pt x="6370672" y="3947031"/>
                </a:cubicBezTo>
                <a:cubicBezTo>
                  <a:pt x="6370672" y="3951157"/>
                  <a:pt x="6369874" y="3955151"/>
                  <a:pt x="6368409" y="3958745"/>
                </a:cubicBezTo>
                <a:cubicBezTo>
                  <a:pt x="6366811" y="3962339"/>
                  <a:pt x="6364815" y="3965401"/>
                  <a:pt x="6362286" y="3968064"/>
                </a:cubicBezTo>
                <a:cubicBezTo>
                  <a:pt x="6359623" y="3970726"/>
                  <a:pt x="6356562" y="3972856"/>
                  <a:pt x="6352968" y="3974320"/>
                </a:cubicBezTo>
                <a:cubicBezTo>
                  <a:pt x="6349373" y="3975784"/>
                  <a:pt x="6345513" y="3976583"/>
                  <a:pt x="6341253" y="3976583"/>
                </a:cubicBezTo>
                <a:cubicBezTo>
                  <a:pt x="6332335" y="3976583"/>
                  <a:pt x="6325013" y="3973654"/>
                  <a:pt x="6319421" y="3968064"/>
                </a:cubicBezTo>
                <a:cubicBezTo>
                  <a:pt x="6313830" y="3962339"/>
                  <a:pt x="6311035" y="3955284"/>
                  <a:pt x="6311035" y="3946897"/>
                </a:cubicBezTo>
                <a:cubicBezTo>
                  <a:pt x="6311035" y="3938645"/>
                  <a:pt x="6313830" y="3931589"/>
                  <a:pt x="6319421" y="3925864"/>
                </a:cubicBezTo>
                <a:cubicBezTo>
                  <a:pt x="6325013" y="3920141"/>
                  <a:pt x="6332201" y="3917212"/>
                  <a:pt x="6341253" y="3917212"/>
                </a:cubicBezTo>
                <a:close/>
                <a:moveTo>
                  <a:pt x="6123608" y="3917212"/>
                </a:moveTo>
                <a:cubicBezTo>
                  <a:pt x="6127867" y="3917212"/>
                  <a:pt x="6131728" y="3918011"/>
                  <a:pt x="6135322" y="3919741"/>
                </a:cubicBezTo>
                <a:cubicBezTo>
                  <a:pt x="6139049" y="3921339"/>
                  <a:pt x="6142111" y="3923468"/>
                  <a:pt x="6144640" y="3926131"/>
                </a:cubicBezTo>
                <a:cubicBezTo>
                  <a:pt x="6147169" y="3928793"/>
                  <a:pt x="6149299" y="3931988"/>
                  <a:pt x="6150763" y="3935582"/>
                </a:cubicBezTo>
                <a:cubicBezTo>
                  <a:pt x="6152228" y="3939177"/>
                  <a:pt x="6153026" y="3942904"/>
                  <a:pt x="6153026" y="3947031"/>
                </a:cubicBezTo>
                <a:cubicBezTo>
                  <a:pt x="6153026" y="3951157"/>
                  <a:pt x="6152228" y="3955151"/>
                  <a:pt x="6150763" y="3958745"/>
                </a:cubicBezTo>
                <a:cubicBezTo>
                  <a:pt x="6149299" y="3962339"/>
                  <a:pt x="6147169" y="3965401"/>
                  <a:pt x="6144640" y="3968064"/>
                </a:cubicBezTo>
                <a:cubicBezTo>
                  <a:pt x="6141977" y="3970726"/>
                  <a:pt x="6138916" y="3972856"/>
                  <a:pt x="6135322" y="3974320"/>
                </a:cubicBezTo>
                <a:cubicBezTo>
                  <a:pt x="6131728" y="3975784"/>
                  <a:pt x="6127867" y="3976583"/>
                  <a:pt x="6123608" y="3976583"/>
                </a:cubicBezTo>
                <a:cubicBezTo>
                  <a:pt x="6114689" y="3976583"/>
                  <a:pt x="6107367" y="3973654"/>
                  <a:pt x="6101775" y="3968064"/>
                </a:cubicBezTo>
                <a:cubicBezTo>
                  <a:pt x="6096184" y="3962339"/>
                  <a:pt x="6093389" y="3955284"/>
                  <a:pt x="6093389" y="3946897"/>
                </a:cubicBezTo>
                <a:cubicBezTo>
                  <a:pt x="6093389" y="3938645"/>
                  <a:pt x="6096184" y="3931589"/>
                  <a:pt x="6101775" y="3925864"/>
                </a:cubicBezTo>
                <a:cubicBezTo>
                  <a:pt x="6107367" y="3920141"/>
                  <a:pt x="6114555" y="3917212"/>
                  <a:pt x="6123608" y="3917212"/>
                </a:cubicBezTo>
                <a:close/>
                <a:moveTo>
                  <a:pt x="5905963" y="3917212"/>
                </a:moveTo>
                <a:cubicBezTo>
                  <a:pt x="5910222" y="3917212"/>
                  <a:pt x="5914216" y="3918011"/>
                  <a:pt x="5917677" y="3919741"/>
                </a:cubicBezTo>
                <a:cubicBezTo>
                  <a:pt x="5921404" y="3921339"/>
                  <a:pt x="5924466" y="3923468"/>
                  <a:pt x="5926995" y="3926131"/>
                </a:cubicBezTo>
                <a:cubicBezTo>
                  <a:pt x="5929524" y="3928793"/>
                  <a:pt x="5931654" y="3931988"/>
                  <a:pt x="5933118" y="3935582"/>
                </a:cubicBezTo>
                <a:cubicBezTo>
                  <a:pt x="5934583" y="3939177"/>
                  <a:pt x="5935381" y="3942904"/>
                  <a:pt x="5935381" y="3947031"/>
                </a:cubicBezTo>
                <a:cubicBezTo>
                  <a:pt x="5935381" y="3951157"/>
                  <a:pt x="5934583" y="3955151"/>
                  <a:pt x="5933118" y="3958745"/>
                </a:cubicBezTo>
                <a:cubicBezTo>
                  <a:pt x="5931654" y="3962339"/>
                  <a:pt x="5929524" y="3965401"/>
                  <a:pt x="5926995" y="3968064"/>
                </a:cubicBezTo>
                <a:cubicBezTo>
                  <a:pt x="5924333" y="3970726"/>
                  <a:pt x="5921271" y="3972856"/>
                  <a:pt x="5917677" y="3974320"/>
                </a:cubicBezTo>
                <a:cubicBezTo>
                  <a:pt x="5914083" y="3975784"/>
                  <a:pt x="5910222" y="3976583"/>
                  <a:pt x="5905963" y="3976583"/>
                </a:cubicBezTo>
                <a:cubicBezTo>
                  <a:pt x="5897044" y="3976583"/>
                  <a:pt x="5889722" y="3973654"/>
                  <a:pt x="5884130" y="3968064"/>
                </a:cubicBezTo>
                <a:cubicBezTo>
                  <a:pt x="5878540" y="3962339"/>
                  <a:pt x="5875744" y="3955284"/>
                  <a:pt x="5875744" y="3946897"/>
                </a:cubicBezTo>
                <a:cubicBezTo>
                  <a:pt x="5875744" y="3938645"/>
                  <a:pt x="5878540" y="3931589"/>
                  <a:pt x="5884130" y="3925864"/>
                </a:cubicBezTo>
                <a:cubicBezTo>
                  <a:pt x="5889722" y="3920141"/>
                  <a:pt x="5896910" y="3917212"/>
                  <a:pt x="5905963" y="3917212"/>
                </a:cubicBezTo>
                <a:close/>
                <a:moveTo>
                  <a:pt x="5688451" y="3917212"/>
                </a:moveTo>
                <a:cubicBezTo>
                  <a:pt x="5692577" y="3917212"/>
                  <a:pt x="5696571" y="3918011"/>
                  <a:pt x="5700165" y="3919741"/>
                </a:cubicBezTo>
                <a:cubicBezTo>
                  <a:pt x="5703892" y="3921339"/>
                  <a:pt x="5706954" y="3923468"/>
                  <a:pt x="5709483" y="3926131"/>
                </a:cubicBezTo>
                <a:cubicBezTo>
                  <a:pt x="5712012" y="3928793"/>
                  <a:pt x="5714142" y="3931988"/>
                  <a:pt x="5715606" y="3935582"/>
                </a:cubicBezTo>
                <a:cubicBezTo>
                  <a:pt x="5717071" y="3939177"/>
                  <a:pt x="5717869" y="3942904"/>
                  <a:pt x="5717869" y="3947031"/>
                </a:cubicBezTo>
                <a:cubicBezTo>
                  <a:pt x="5717869" y="3951157"/>
                  <a:pt x="5717071" y="3955151"/>
                  <a:pt x="5715606" y="3958745"/>
                </a:cubicBezTo>
                <a:cubicBezTo>
                  <a:pt x="5714142" y="3962339"/>
                  <a:pt x="5712012" y="3965401"/>
                  <a:pt x="5709483" y="3968064"/>
                </a:cubicBezTo>
                <a:cubicBezTo>
                  <a:pt x="5706820" y="3970726"/>
                  <a:pt x="5703759" y="3972856"/>
                  <a:pt x="5700165" y="3974320"/>
                </a:cubicBezTo>
                <a:cubicBezTo>
                  <a:pt x="5696571" y="3975784"/>
                  <a:pt x="5692710" y="3976583"/>
                  <a:pt x="5688451" y="3976583"/>
                </a:cubicBezTo>
                <a:cubicBezTo>
                  <a:pt x="5679532" y="3976583"/>
                  <a:pt x="5672210" y="3973654"/>
                  <a:pt x="5666618" y="3968064"/>
                </a:cubicBezTo>
                <a:cubicBezTo>
                  <a:pt x="5661028" y="3962339"/>
                  <a:pt x="5658232" y="3955284"/>
                  <a:pt x="5658232" y="3946897"/>
                </a:cubicBezTo>
                <a:cubicBezTo>
                  <a:pt x="5658232" y="3938645"/>
                  <a:pt x="5661028" y="3931589"/>
                  <a:pt x="5666618" y="3925864"/>
                </a:cubicBezTo>
                <a:cubicBezTo>
                  <a:pt x="5672210" y="3920141"/>
                  <a:pt x="5679398" y="3917212"/>
                  <a:pt x="5688451" y="3917212"/>
                </a:cubicBezTo>
                <a:close/>
                <a:moveTo>
                  <a:pt x="5470806" y="3917212"/>
                </a:moveTo>
                <a:cubicBezTo>
                  <a:pt x="5475065" y="3917212"/>
                  <a:pt x="5478926" y="3918011"/>
                  <a:pt x="5482520" y="3919741"/>
                </a:cubicBezTo>
                <a:cubicBezTo>
                  <a:pt x="5486247" y="3921339"/>
                  <a:pt x="5489309" y="3923468"/>
                  <a:pt x="5491838" y="3926131"/>
                </a:cubicBezTo>
                <a:cubicBezTo>
                  <a:pt x="5494367" y="3928793"/>
                  <a:pt x="5496497" y="3931988"/>
                  <a:pt x="5497961" y="3935582"/>
                </a:cubicBezTo>
                <a:cubicBezTo>
                  <a:pt x="5499426" y="3939177"/>
                  <a:pt x="5500224" y="3942904"/>
                  <a:pt x="5500224" y="3947031"/>
                </a:cubicBezTo>
                <a:cubicBezTo>
                  <a:pt x="5500224" y="3951157"/>
                  <a:pt x="5499426" y="3955151"/>
                  <a:pt x="5497961" y="3958745"/>
                </a:cubicBezTo>
                <a:cubicBezTo>
                  <a:pt x="5496497" y="3962339"/>
                  <a:pt x="5494367" y="3965401"/>
                  <a:pt x="5491838" y="3968064"/>
                </a:cubicBezTo>
                <a:cubicBezTo>
                  <a:pt x="5489176" y="3970726"/>
                  <a:pt x="5486114" y="3972856"/>
                  <a:pt x="5482520" y="3974320"/>
                </a:cubicBezTo>
                <a:cubicBezTo>
                  <a:pt x="5478926" y="3975784"/>
                  <a:pt x="5475065" y="3976583"/>
                  <a:pt x="5470806" y="3976583"/>
                </a:cubicBezTo>
                <a:cubicBezTo>
                  <a:pt x="5461887" y="3976583"/>
                  <a:pt x="5454565" y="3973654"/>
                  <a:pt x="5448973" y="3968064"/>
                </a:cubicBezTo>
                <a:cubicBezTo>
                  <a:pt x="5443383" y="3962339"/>
                  <a:pt x="5440587" y="3955284"/>
                  <a:pt x="5440587" y="3946897"/>
                </a:cubicBezTo>
                <a:cubicBezTo>
                  <a:pt x="5440587" y="3938645"/>
                  <a:pt x="5443383" y="3931589"/>
                  <a:pt x="5448973" y="3925864"/>
                </a:cubicBezTo>
                <a:cubicBezTo>
                  <a:pt x="5454565" y="3920141"/>
                  <a:pt x="5461754" y="3917212"/>
                  <a:pt x="5470806" y="3917212"/>
                </a:cubicBezTo>
                <a:close/>
                <a:moveTo>
                  <a:pt x="5253160" y="3917212"/>
                </a:moveTo>
                <a:cubicBezTo>
                  <a:pt x="5257420" y="3917212"/>
                  <a:pt x="5261280" y="3918011"/>
                  <a:pt x="5264875" y="3919741"/>
                </a:cubicBezTo>
                <a:cubicBezTo>
                  <a:pt x="5268602" y="3921339"/>
                  <a:pt x="5271664" y="3923468"/>
                  <a:pt x="5274192" y="3926131"/>
                </a:cubicBezTo>
                <a:cubicBezTo>
                  <a:pt x="5276722" y="3928793"/>
                  <a:pt x="5278852" y="3931988"/>
                  <a:pt x="5280316" y="3935582"/>
                </a:cubicBezTo>
                <a:cubicBezTo>
                  <a:pt x="5281780" y="3939177"/>
                  <a:pt x="5282579" y="3942904"/>
                  <a:pt x="5282579" y="3947031"/>
                </a:cubicBezTo>
                <a:cubicBezTo>
                  <a:pt x="5282579" y="3951157"/>
                  <a:pt x="5281780" y="3955151"/>
                  <a:pt x="5280316" y="3958745"/>
                </a:cubicBezTo>
                <a:cubicBezTo>
                  <a:pt x="5278852" y="3962339"/>
                  <a:pt x="5276722" y="3965401"/>
                  <a:pt x="5274192" y="3968064"/>
                </a:cubicBezTo>
                <a:cubicBezTo>
                  <a:pt x="5271664" y="3970726"/>
                  <a:pt x="5268469" y="3972856"/>
                  <a:pt x="5264875" y="3974320"/>
                </a:cubicBezTo>
                <a:cubicBezTo>
                  <a:pt x="5261280" y="3975784"/>
                  <a:pt x="5257420" y="3976583"/>
                  <a:pt x="5253160" y="3976583"/>
                </a:cubicBezTo>
                <a:cubicBezTo>
                  <a:pt x="5244241" y="3976583"/>
                  <a:pt x="5236920" y="3973654"/>
                  <a:pt x="5231328" y="3968064"/>
                </a:cubicBezTo>
                <a:cubicBezTo>
                  <a:pt x="5225737" y="3962339"/>
                  <a:pt x="5222942" y="3955284"/>
                  <a:pt x="5222942" y="3946897"/>
                </a:cubicBezTo>
                <a:cubicBezTo>
                  <a:pt x="5222942" y="3938645"/>
                  <a:pt x="5225737" y="3931589"/>
                  <a:pt x="5231328" y="3925864"/>
                </a:cubicBezTo>
                <a:cubicBezTo>
                  <a:pt x="5236920" y="3920141"/>
                  <a:pt x="5244108" y="3917212"/>
                  <a:pt x="5253160" y="3917212"/>
                </a:cubicBezTo>
                <a:close/>
                <a:moveTo>
                  <a:pt x="5035515" y="3917212"/>
                </a:moveTo>
                <a:cubicBezTo>
                  <a:pt x="5039775" y="3917212"/>
                  <a:pt x="5043636" y="3918011"/>
                  <a:pt x="5047230" y="3919741"/>
                </a:cubicBezTo>
                <a:cubicBezTo>
                  <a:pt x="5050957" y="3921339"/>
                  <a:pt x="5054019" y="3923468"/>
                  <a:pt x="5056548" y="3926131"/>
                </a:cubicBezTo>
                <a:cubicBezTo>
                  <a:pt x="5059077" y="3928793"/>
                  <a:pt x="5061207" y="3931988"/>
                  <a:pt x="5062671" y="3935582"/>
                </a:cubicBezTo>
                <a:cubicBezTo>
                  <a:pt x="5064135" y="3939177"/>
                  <a:pt x="5064934" y="3942904"/>
                  <a:pt x="5064934" y="3947031"/>
                </a:cubicBezTo>
                <a:cubicBezTo>
                  <a:pt x="5064934" y="3951157"/>
                  <a:pt x="5064135" y="3955151"/>
                  <a:pt x="5062671" y="3958745"/>
                </a:cubicBezTo>
                <a:cubicBezTo>
                  <a:pt x="5061207" y="3962339"/>
                  <a:pt x="5059077" y="3965401"/>
                  <a:pt x="5056548" y="3968064"/>
                </a:cubicBezTo>
                <a:cubicBezTo>
                  <a:pt x="5053885" y="3970726"/>
                  <a:pt x="5050824" y="3972856"/>
                  <a:pt x="5047230" y="3974320"/>
                </a:cubicBezTo>
                <a:cubicBezTo>
                  <a:pt x="5043636" y="3975784"/>
                  <a:pt x="5039775" y="3976583"/>
                  <a:pt x="5035515" y="3976583"/>
                </a:cubicBezTo>
                <a:cubicBezTo>
                  <a:pt x="5026597" y="3976583"/>
                  <a:pt x="5019275" y="3973654"/>
                  <a:pt x="5013683" y="3968064"/>
                </a:cubicBezTo>
                <a:cubicBezTo>
                  <a:pt x="5008092" y="3962339"/>
                  <a:pt x="5005297" y="3955284"/>
                  <a:pt x="5005297" y="3946897"/>
                </a:cubicBezTo>
                <a:cubicBezTo>
                  <a:pt x="5005297" y="3938645"/>
                  <a:pt x="5008092" y="3931589"/>
                  <a:pt x="5013683" y="3925864"/>
                </a:cubicBezTo>
                <a:cubicBezTo>
                  <a:pt x="5019275" y="3920141"/>
                  <a:pt x="5026463" y="3917212"/>
                  <a:pt x="5035515" y="3917212"/>
                </a:cubicBezTo>
                <a:close/>
                <a:moveTo>
                  <a:pt x="4817870" y="3917212"/>
                </a:moveTo>
                <a:cubicBezTo>
                  <a:pt x="4822130" y="3917212"/>
                  <a:pt x="4826124" y="3918011"/>
                  <a:pt x="4829585" y="3919741"/>
                </a:cubicBezTo>
                <a:cubicBezTo>
                  <a:pt x="4833312" y="3921339"/>
                  <a:pt x="4836374" y="3923468"/>
                  <a:pt x="4838903" y="3926131"/>
                </a:cubicBezTo>
                <a:cubicBezTo>
                  <a:pt x="4841432" y="3928793"/>
                  <a:pt x="4843562" y="3931988"/>
                  <a:pt x="4845026" y="3935582"/>
                </a:cubicBezTo>
                <a:cubicBezTo>
                  <a:pt x="4846491" y="3939177"/>
                  <a:pt x="4847289" y="3942904"/>
                  <a:pt x="4847289" y="3947031"/>
                </a:cubicBezTo>
                <a:cubicBezTo>
                  <a:pt x="4847289" y="3951157"/>
                  <a:pt x="4846491" y="3955151"/>
                  <a:pt x="4845026" y="3958745"/>
                </a:cubicBezTo>
                <a:cubicBezTo>
                  <a:pt x="4843562" y="3962339"/>
                  <a:pt x="4841432" y="3965401"/>
                  <a:pt x="4838903" y="3968064"/>
                </a:cubicBezTo>
                <a:cubicBezTo>
                  <a:pt x="4836240" y="3970726"/>
                  <a:pt x="4833179" y="3972856"/>
                  <a:pt x="4829585" y="3974320"/>
                </a:cubicBezTo>
                <a:cubicBezTo>
                  <a:pt x="4825991" y="3975784"/>
                  <a:pt x="4822130" y="3976583"/>
                  <a:pt x="4817870" y="3976583"/>
                </a:cubicBezTo>
                <a:cubicBezTo>
                  <a:pt x="4808952" y="3976583"/>
                  <a:pt x="4801630" y="3973654"/>
                  <a:pt x="4796038" y="3968064"/>
                </a:cubicBezTo>
                <a:cubicBezTo>
                  <a:pt x="4790447" y="3962339"/>
                  <a:pt x="4787652" y="3955284"/>
                  <a:pt x="4787652" y="3946897"/>
                </a:cubicBezTo>
                <a:cubicBezTo>
                  <a:pt x="4787652" y="3938645"/>
                  <a:pt x="4790447" y="3931589"/>
                  <a:pt x="4796038" y="3925864"/>
                </a:cubicBezTo>
                <a:cubicBezTo>
                  <a:pt x="4801630" y="3920141"/>
                  <a:pt x="4808818" y="3917212"/>
                  <a:pt x="4817870" y="3917212"/>
                </a:cubicBezTo>
                <a:close/>
                <a:moveTo>
                  <a:pt x="4600226" y="3917212"/>
                </a:moveTo>
                <a:cubicBezTo>
                  <a:pt x="4604485" y="3917212"/>
                  <a:pt x="4608479" y="3918011"/>
                  <a:pt x="4612073" y="3919741"/>
                </a:cubicBezTo>
                <a:cubicBezTo>
                  <a:pt x="4615800" y="3921339"/>
                  <a:pt x="4618862" y="3923468"/>
                  <a:pt x="4621391" y="3926131"/>
                </a:cubicBezTo>
                <a:cubicBezTo>
                  <a:pt x="4623920" y="3928793"/>
                  <a:pt x="4626050" y="3931988"/>
                  <a:pt x="4627514" y="3935582"/>
                </a:cubicBezTo>
                <a:cubicBezTo>
                  <a:pt x="4628978" y="3939177"/>
                  <a:pt x="4629777" y="3942904"/>
                  <a:pt x="4629777" y="3947031"/>
                </a:cubicBezTo>
                <a:cubicBezTo>
                  <a:pt x="4629777" y="3951157"/>
                  <a:pt x="4628978" y="3955151"/>
                  <a:pt x="4627514" y="3958745"/>
                </a:cubicBezTo>
                <a:cubicBezTo>
                  <a:pt x="4626050" y="3962339"/>
                  <a:pt x="4623920" y="3965401"/>
                  <a:pt x="4621391" y="3968064"/>
                </a:cubicBezTo>
                <a:cubicBezTo>
                  <a:pt x="4618729" y="3970726"/>
                  <a:pt x="4615667" y="3972856"/>
                  <a:pt x="4612073" y="3974320"/>
                </a:cubicBezTo>
                <a:cubicBezTo>
                  <a:pt x="4608346" y="3975784"/>
                  <a:pt x="4604485" y="3976583"/>
                  <a:pt x="4600226" y="3976583"/>
                </a:cubicBezTo>
                <a:cubicBezTo>
                  <a:pt x="4591173" y="3976583"/>
                  <a:pt x="4583985" y="3973654"/>
                  <a:pt x="4578393" y="3968064"/>
                </a:cubicBezTo>
                <a:cubicBezTo>
                  <a:pt x="4572803" y="3962339"/>
                  <a:pt x="4570007" y="3955284"/>
                  <a:pt x="4570007" y="3946897"/>
                </a:cubicBezTo>
                <a:cubicBezTo>
                  <a:pt x="4570007" y="3938645"/>
                  <a:pt x="4572803" y="3931589"/>
                  <a:pt x="4578393" y="3925864"/>
                </a:cubicBezTo>
                <a:cubicBezTo>
                  <a:pt x="4583985" y="3920141"/>
                  <a:pt x="4591173" y="3917212"/>
                  <a:pt x="4600226" y="3917212"/>
                </a:cubicBezTo>
                <a:close/>
                <a:moveTo>
                  <a:pt x="4382713" y="3917212"/>
                </a:moveTo>
                <a:cubicBezTo>
                  <a:pt x="4386840" y="3917212"/>
                  <a:pt x="4390834" y="3918011"/>
                  <a:pt x="4394428" y="3919741"/>
                </a:cubicBezTo>
                <a:cubicBezTo>
                  <a:pt x="4398155" y="3921339"/>
                  <a:pt x="4401217" y="3923468"/>
                  <a:pt x="4403746" y="3926131"/>
                </a:cubicBezTo>
                <a:cubicBezTo>
                  <a:pt x="4406275" y="3928793"/>
                  <a:pt x="4408405" y="3931988"/>
                  <a:pt x="4409869" y="3935582"/>
                </a:cubicBezTo>
                <a:cubicBezTo>
                  <a:pt x="4411334" y="3939177"/>
                  <a:pt x="4412132" y="3942904"/>
                  <a:pt x="4412132" y="3947031"/>
                </a:cubicBezTo>
                <a:cubicBezTo>
                  <a:pt x="4412132" y="3951157"/>
                  <a:pt x="4411334" y="3955151"/>
                  <a:pt x="4409869" y="3958745"/>
                </a:cubicBezTo>
                <a:cubicBezTo>
                  <a:pt x="4408405" y="3962339"/>
                  <a:pt x="4406275" y="3965401"/>
                  <a:pt x="4403746" y="3968064"/>
                </a:cubicBezTo>
                <a:cubicBezTo>
                  <a:pt x="4401083" y="3970726"/>
                  <a:pt x="4398022" y="3972856"/>
                  <a:pt x="4394428" y="3974320"/>
                </a:cubicBezTo>
                <a:cubicBezTo>
                  <a:pt x="4390834" y="3975784"/>
                  <a:pt x="4386973" y="3976583"/>
                  <a:pt x="4382713" y="3976583"/>
                </a:cubicBezTo>
                <a:cubicBezTo>
                  <a:pt x="4373661" y="3976583"/>
                  <a:pt x="4366473" y="3973654"/>
                  <a:pt x="4360881" y="3968064"/>
                </a:cubicBezTo>
                <a:cubicBezTo>
                  <a:pt x="4355290" y="3962339"/>
                  <a:pt x="4352495" y="3955284"/>
                  <a:pt x="4352495" y="3946897"/>
                </a:cubicBezTo>
                <a:cubicBezTo>
                  <a:pt x="4352495" y="3938645"/>
                  <a:pt x="4355290" y="3931589"/>
                  <a:pt x="4360881" y="3925864"/>
                </a:cubicBezTo>
                <a:cubicBezTo>
                  <a:pt x="4366473" y="3920141"/>
                  <a:pt x="4373661" y="3917212"/>
                  <a:pt x="4382713" y="3917212"/>
                </a:cubicBezTo>
                <a:close/>
                <a:moveTo>
                  <a:pt x="4165068" y="3917212"/>
                </a:moveTo>
                <a:cubicBezTo>
                  <a:pt x="4169327" y="3917212"/>
                  <a:pt x="4173188" y="3918011"/>
                  <a:pt x="4176782" y="3919741"/>
                </a:cubicBezTo>
                <a:cubicBezTo>
                  <a:pt x="4180509" y="3921339"/>
                  <a:pt x="4183571" y="3923468"/>
                  <a:pt x="4186100" y="3926131"/>
                </a:cubicBezTo>
                <a:cubicBezTo>
                  <a:pt x="4188629" y="3928793"/>
                  <a:pt x="4190759" y="3931988"/>
                  <a:pt x="4192223" y="3935582"/>
                </a:cubicBezTo>
                <a:cubicBezTo>
                  <a:pt x="4193688" y="3939177"/>
                  <a:pt x="4194486" y="3942904"/>
                  <a:pt x="4194486" y="3947031"/>
                </a:cubicBezTo>
                <a:cubicBezTo>
                  <a:pt x="4194486" y="3951157"/>
                  <a:pt x="4193688" y="3955151"/>
                  <a:pt x="4192223" y="3958745"/>
                </a:cubicBezTo>
                <a:cubicBezTo>
                  <a:pt x="4190759" y="3962339"/>
                  <a:pt x="4188629" y="3965401"/>
                  <a:pt x="4186100" y="3968064"/>
                </a:cubicBezTo>
                <a:cubicBezTo>
                  <a:pt x="4183438" y="3970726"/>
                  <a:pt x="4180376" y="3972856"/>
                  <a:pt x="4176782" y="3974320"/>
                </a:cubicBezTo>
                <a:cubicBezTo>
                  <a:pt x="4173188" y="3975784"/>
                  <a:pt x="4169327" y="3976583"/>
                  <a:pt x="4165068" y="3976583"/>
                </a:cubicBezTo>
                <a:cubicBezTo>
                  <a:pt x="4156015" y="3976583"/>
                  <a:pt x="4148827" y="3973654"/>
                  <a:pt x="4143235" y="3968064"/>
                </a:cubicBezTo>
                <a:cubicBezTo>
                  <a:pt x="4137645" y="3962339"/>
                  <a:pt x="4134849" y="3955284"/>
                  <a:pt x="4134849" y="3946897"/>
                </a:cubicBezTo>
                <a:cubicBezTo>
                  <a:pt x="4134849" y="3938645"/>
                  <a:pt x="4137645" y="3931589"/>
                  <a:pt x="4143235" y="3925864"/>
                </a:cubicBezTo>
                <a:cubicBezTo>
                  <a:pt x="4148827" y="3920141"/>
                  <a:pt x="4156015" y="3917212"/>
                  <a:pt x="4165068" y="3917212"/>
                </a:cubicBezTo>
                <a:close/>
                <a:moveTo>
                  <a:pt x="3947640" y="3917212"/>
                </a:moveTo>
                <a:cubicBezTo>
                  <a:pt x="3951902" y="3917212"/>
                  <a:pt x="3955761" y="3918011"/>
                  <a:pt x="3959356" y="3919741"/>
                </a:cubicBezTo>
                <a:cubicBezTo>
                  <a:pt x="3963085" y="3921339"/>
                  <a:pt x="3966145" y="3923468"/>
                  <a:pt x="3968674" y="3926131"/>
                </a:cubicBezTo>
                <a:cubicBezTo>
                  <a:pt x="3971205" y="3928793"/>
                  <a:pt x="3973334" y="3931988"/>
                  <a:pt x="3974798" y="3935582"/>
                </a:cubicBezTo>
                <a:cubicBezTo>
                  <a:pt x="3976263" y="3939177"/>
                  <a:pt x="3977062" y="3942904"/>
                  <a:pt x="3977062" y="3947031"/>
                </a:cubicBezTo>
                <a:cubicBezTo>
                  <a:pt x="3977062" y="3951157"/>
                  <a:pt x="3976263" y="3955151"/>
                  <a:pt x="3974798" y="3958745"/>
                </a:cubicBezTo>
                <a:cubicBezTo>
                  <a:pt x="3973334" y="3962339"/>
                  <a:pt x="3971205" y="3965401"/>
                  <a:pt x="3968674" y="3968064"/>
                </a:cubicBezTo>
                <a:cubicBezTo>
                  <a:pt x="3966013" y="3970726"/>
                  <a:pt x="3962951" y="3972856"/>
                  <a:pt x="3959356" y="3974320"/>
                </a:cubicBezTo>
                <a:cubicBezTo>
                  <a:pt x="3955761" y="3975784"/>
                  <a:pt x="3951902" y="3976583"/>
                  <a:pt x="3947640" y="3976583"/>
                </a:cubicBezTo>
                <a:cubicBezTo>
                  <a:pt x="3938587" y="3976583"/>
                  <a:pt x="3931399" y="3973654"/>
                  <a:pt x="3925807" y="3968064"/>
                </a:cubicBezTo>
                <a:cubicBezTo>
                  <a:pt x="3920216" y="3962339"/>
                  <a:pt x="3917421" y="3955284"/>
                  <a:pt x="3917421" y="3946897"/>
                </a:cubicBezTo>
                <a:cubicBezTo>
                  <a:pt x="3917421" y="3938645"/>
                  <a:pt x="3920216" y="3931589"/>
                  <a:pt x="3925807" y="3925864"/>
                </a:cubicBezTo>
                <a:cubicBezTo>
                  <a:pt x="3931399" y="3920141"/>
                  <a:pt x="3938587" y="3917212"/>
                  <a:pt x="3947640" y="3917212"/>
                </a:cubicBezTo>
                <a:close/>
                <a:moveTo>
                  <a:pt x="3729984" y="3917212"/>
                </a:moveTo>
                <a:cubicBezTo>
                  <a:pt x="3734245" y="3917212"/>
                  <a:pt x="3738238" y="3918011"/>
                  <a:pt x="3741700" y="3919741"/>
                </a:cubicBezTo>
                <a:cubicBezTo>
                  <a:pt x="3745294" y="3921339"/>
                  <a:pt x="3748489" y="3923468"/>
                  <a:pt x="3751018" y="3926131"/>
                </a:cubicBezTo>
                <a:cubicBezTo>
                  <a:pt x="3753548" y="3928793"/>
                  <a:pt x="3755677" y="3931988"/>
                  <a:pt x="3757141" y="3935582"/>
                </a:cubicBezTo>
                <a:cubicBezTo>
                  <a:pt x="3758605" y="3939177"/>
                  <a:pt x="3759404" y="3942904"/>
                  <a:pt x="3759404" y="3947031"/>
                </a:cubicBezTo>
                <a:cubicBezTo>
                  <a:pt x="3759404" y="3951157"/>
                  <a:pt x="3758605" y="3955151"/>
                  <a:pt x="3757141" y="3958745"/>
                </a:cubicBezTo>
                <a:cubicBezTo>
                  <a:pt x="3755677" y="3962339"/>
                  <a:pt x="3753548" y="3965401"/>
                  <a:pt x="3751018" y="3968064"/>
                </a:cubicBezTo>
                <a:cubicBezTo>
                  <a:pt x="3748355" y="3970726"/>
                  <a:pt x="3745294" y="3972856"/>
                  <a:pt x="3741700" y="3974320"/>
                </a:cubicBezTo>
                <a:cubicBezTo>
                  <a:pt x="3738106" y="3975784"/>
                  <a:pt x="3734245" y="3976583"/>
                  <a:pt x="3729984" y="3976583"/>
                </a:cubicBezTo>
                <a:cubicBezTo>
                  <a:pt x="3720932" y="3976583"/>
                  <a:pt x="3713743" y="3973654"/>
                  <a:pt x="3708147" y="3968064"/>
                </a:cubicBezTo>
                <a:cubicBezTo>
                  <a:pt x="3702555" y="3962339"/>
                  <a:pt x="3699761" y="3955284"/>
                  <a:pt x="3699761" y="3946897"/>
                </a:cubicBezTo>
                <a:cubicBezTo>
                  <a:pt x="3699761" y="3938645"/>
                  <a:pt x="3702555" y="3931589"/>
                  <a:pt x="3708147" y="3925864"/>
                </a:cubicBezTo>
                <a:cubicBezTo>
                  <a:pt x="3713743" y="3920141"/>
                  <a:pt x="3720932" y="3917212"/>
                  <a:pt x="3729984" y="3917212"/>
                </a:cubicBezTo>
                <a:close/>
                <a:moveTo>
                  <a:pt x="3512328" y="3917212"/>
                </a:moveTo>
                <a:cubicBezTo>
                  <a:pt x="3516589" y="3917212"/>
                  <a:pt x="3520582" y="3918011"/>
                  <a:pt x="3524044" y="3919741"/>
                </a:cubicBezTo>
                <a:cubicBezTo>
                  <a:pt x="3527637" y="3921339"/>
                  <a:pt x="3530833" y="3923468"/>
                  <a:pt x="3533362" y="3926131"/>
                </a:cubicBezTo>
                <a:cubicBezTo>
                  <a:pt x="3535891" y="3928793"/>
                  <a:pt x="3538021" y="3931988"/>
                  <a:pt x="3539485" y="3935582"/>
                </a:cubicBezTo>
                <a:cubicBezTo>
                  <a:pt x="3540949" y="3939177"/>
                  <a:pt x="3541748" y="3942904"/>
                  <a:pt x="3541748" y="3947031"/>
                </a:cubicBezTo>
                <a:cubicBezTo>
                  <a:pt x="3541748" y="3951157"/>
                  <a:pt x="3540949" y="3955151"/>
                  <a:pt x="3539485" y="3958745"/>
                </a:cubicBezTo>
                <a:cubicBezTo>
                  <a:pt x="3538021" y="3962339"/>
                  <a:pt x="3535891" y="3965401"/>
                  <a:pt x="3533362" y="3968064"/>
                </a:cubicBezTo>
                <a:cubicBezTo>
                  <a:pt x="3530699" y="3970726"/>
                  <a:pt x="3527637" y="3972856"/>
                  <a:pt x="3524044" y="3974320"/>
                </a:cubicBezTo>
                <a:cubicBezTo>
                  <a:pt x="3520450" y="3975784"/>
                  <a:pt x="3516589" y="3976583"/>
                  <a:pt x="3512328" y="3976583"/>
                </a:cubicBezTo>
                <a:cubicBezTo>
                  <a:pt x="3503274" y="3976583"/>
                  <a:pt x="3496084" y="3973654"/>
                  <a:pt x="3490493" y="3968064"/>
                </a:cubicBezTo>
                <a:cubicBezTo>
                  <a:pt x="3484902" y="3962339"/>
                  <a:pt x="3482106" y="3955284"/>
                  <a:pt x="3482106" y="3946897"/>
                </a:cubicBezTo>
                <a:cubicBezTo>
                  <a:pt x="3482106" y="3938645"/>
                  <a:pt x="3484902" y="3931589"/>
                  <a:pt x="3490493" y="3925864"/>
                </a:cubicBezTo>
                <a:cubicBezTo>
                  <a:pt x="3496084" y="3920141"/>
                  <a:pt x="3503274" y="3917212"/>
                  <a:pt x="3512328" y="3917212"/>
                </a:cubicBezTo>
                <a:close/>
                <a:moveTo>
                  <a:pt x="3294805" y="3917212"/>
                </a:moveTo>
                <a:cubicBezTo>
                  <a:pt x="3298932" y="3917212"/>
                  <a:pt x="3302926" y="3918011"/>
                  <a:pt x="3306521" y="3919741"/>
                </a:cubicBezTo>
                <a:cubicBezTo>
                  <a:pt x="3310248" y="3921339"/>
                  <a:pt x="3313309" y="3923468"/>
                  <a:pt x="3315839" y="3926131"/>
                </a:cubicBezTo>
                <a:cubicBezTo>
                  <a:pt x="3318368" y="3928793"/>
                  <a:pt x="3320498" y="3931988"/>
                  <a:pt x="3321962" y="3935582"/>
                </a:cubicBezTo>
                <a:cubicBezTo>
                  <a:pt x="3323426" y="3939177"/>
                  <a:pt x="3324225" y="3942904"/>
                  <a:pt x="3324225" y="3947031"/>
                </a:cubicBezTo>
                <a:cubicBezTo>
                  <a:pt x="3324225" y="3951157"/>
                  <a:pt x="3323426" y="3955151"/>
                  <a:pt x="3321962" y="3958745"/>
                </a:cubicBezTo>
                <a:cubicBezTo>
                  <a:pt x="3320498" y="3962339"/>
                  <a:pt x="3318368" y="3965401"/>
                  <a:pt x="3315839" y="3968064"/>
                </a:cubicBezTo>
                <a:cubicBezTo>
                  <a:pt x="3313175" y="3970726"/>
                  <a:pt x="3310114" y="3972856"/>
                  <a:pt x="3306521" y="3974320"/>
                </a:cubicBezTo>
                <a:cubicBezTo>
                  <a:pt x="3302926" y="3975784"/>
                  <a:pt x="3299065" y="3976583"/>
                  <a:pt x="3294805" y="3976583"/>
                </a:cubicBezTo>
                <a:cubicBezTo>
                  <a:pt x="3285751" y="3976583"/>
                  <a:pt x="3278562" y="3973654"/>
                  <a:pt x="3272969" y="3968064"/>
                </a:cubicBezTo>
                <a:cubicBezTo>
                  <a:pt x="3267376" y="3962339"/>
                  <a:pt x="3264581" y="3955284"/>
                  <a:pt x="3264581" y="3946897"/>
                </a:cubicBezTo>
                <a:cubicBezTo>
                  <a:pt x="3264581" y="3938645"/>
                  <a:pt x="3267376" y="3931589"/>
                  <a:pt x="3272969" y="3925864"/>
                </a:cubicBezTo>
                <a:cubicBezTo>
                  <a:pt x="3278562" y="3920141"/>
                  <a:pt x="3285751" y="3917212"/>
                  <a:pt x="3294805" y="3917212"/>
                </a:cubicBezTo>
                <a:close/>
                <a:moveTo>
                  <a:pt x="3077148" y="3917212"/>
                </a:moveTo>
                <a:cubicBezTo>
                  <a:pt x="3081276" y="3917212"/>
                  <a:pt x="3085270" y="3918011"/>
                  <a:pt x="3088864" y="3919741"/>
                </a:cubicBezTo>
                <a:cubicBezTo>
                  <a:pt x="3092458" y="3921339"/>
                  <a:pt x="3095653" y="3923468"/>
                  <a:pt x="3098182" y="3926131"/>
                </a:cubicBezTo>
                <a:cubicBezTo>
                  <a:pt x="3100711" y="3928793"/>
                  <a:pt x="3102841" y="3931988"/>
                  <a:pt x="3104305" y="3935582"/>
                </a:cubicBezTo>
                <a:cubicBezTo>
                  <a:pt x="3105770" y="3939177"/>
                  <a:pt x="3106568" y="3942904"/>
                  <a:pt x="3106568" y="3947031"/>
                </a:cubicBezTo>
                <a:cubicBezTo>
                  <a:pt x="3106568" y="3951157"/>
                  <a:pt x="3105770" y="3955151"/>
                  <a:pt x="3104305" y="3958745"/>
                </a:cubicBezTo>
                <a:cubicBezTo>
                  <a:pt x="3102841" y="3962339"/>
                  <a:pt x="3100711" y="3965401"/>
                  <a:pt x="3098182" y="3968064"/>
                </a:cubicBezTo>
                <a:cubicBezTo>
                  <a:pt x="3095519" y="3970726"/>
                  <a:pt x="3092458" y="3972856"/>
                  <a:pt x="3088864" y="3974320"/>
                </a:cubicBezTo>
                <a:cubicBezTo>
                  <a:pt x="3085270" y="3975784"/>
                  <a:pt x="3081409" y="3976583"/>
                  <a:pt x="3077148" y="3976583"/>
                </a:cubicBezTo>
                <a:cubicBezTo>
                  <a:pt x="3068228" y="3976583"/>
                  <a:pt x="3060906" y="3973654"/>
                  <a:pt x="3055312" y="3968064"/>
                </a:cubicBezTo>
                <a:cubicBezTo>
                  <a:pt x="3049722" y="3962339"/>
                  <a:pt x="3046926" y="3955284"/>
                  <a:pt x="3046926" y="3946897"/>
                </a:cubicBezTo>
                <a:cubicBezTo>
                  <a:pt x="3046926" y="3938645"/>
                  <a:pt x="3049722" y="3931589"/>
                  <a:pt x="3055312" y="3925864"/>
                </a:cubicBezTo>
                <a:cubicBezTo>
                  <a:pt x="3060906" y="3920141"/>
                  <a:pt x="3068095" y="3917212"/>
                  <a:pt x="3077148" y="3917212"/>
                </a:cubicBezTo>
                <a:close/>
                <a:moveTo>
                  <a:pt x="2859492" y="3917212"/>
                </a:moveTo>
                <a:cubicBezTo>
                  <a:pt x="2863753" y="3917212"/>
                  <a:pt x="2867614" y="3918011"/>
                  <a:pt x="2871341" y="3919741"/>
                </a:cubicBezTo>
                <a:cubicBezTo>
                  <a:pt x="2875068" y="3921339"/>
                  <a:pt x="2878130" y="3923468"/>
                  <a:pt x="2880659" y="3926131"/>
                </a:cubicBezTo>
                <a:cubicBezTo>
                  <a:pt x="2883321" y="3928793"/>
                  <a:pt x="2885318" y="3931988"/>
                  <a:pt x="2886782" y="3935582"/>
                </a:cubicBezTo>
                <a:cubicBezTo>
                  <a:pt x="2888247" y="3939177"/>
                  <a:pt x="2889045" y="3942904"/>
                  <a:pt x="2889045" y="3947031"/>
                </a:cubicBezTo>
                <a:cubicBezTo>
                  <a:pt x="2889045" y="3951157"/>
                  <a:pt x="2888247" y="3955151"/>
                  <a:pt x="2886782" y="3958745"/>
                </a:cubicBezTo>
                <a:cubicBezTo>
                  <a:pt x="2885318" y="3962339"/>
                  <a:pt x="2883188" y="3965401"/>
                  <a:pt x="2880659" y="3968064"/>
                </a:cubicBezTo>
                <a:cubicBezTo>
                  <a:pt x="2877997" y="3970726"/>
                  <a:pt x="2874934" y="3972856"/>
                  <a:pt x="2871341" y="3974320"/>
                </a:cubicBezTo>
                <a:cubicBezTo>
                  <a:pt x="2867614" y="3975784"/>
                  <a:pt x="2863753" y="3976583"/>
                  <a:pt x="2859492" y="3976583"/>
                </a:cubicBezTo>
                <a:cubicBezTo>
                  <a:pt x="2850575" y="3976583"/>
                  <a:pt x="2843247" y="3973654"/>
                  <a:pt x="2837657" y="3968064"/>
                </a:cubicBezTo>
                <a:cubicBezTo>
                  <a:pt x="2832066" y="3962339"/>
                  <a:pt x="2829269" y="3955284"/>
                  <a:pt x="2829269" y="3946897"/>
                </a:cubicBezTo>
                <a:cubicBezTo>
                  <a:pt x="2829269" y="3938645"/>
                  <a:pt x="2832066" y="3931589"/>
                  <a:pt x="2837657" y="3925864"/>
                </a:cubicBezTo>
                <a:cubicBezTo>
                  <a:pt x="2843247" y="3920141"/>
                  <a:pt x="2850441" y="3917212"/>
                  <a:pt x="2859492" y="3917212"/>
                </a:cubicBezTo>
                <a:close/>
                <a:moveTo>
                  <a:pt x="2641836" y="3917212"/>
                </a:moveTo>
                <a:cubicBezTo>
                  <a:pt x="2646096" y="3917212"/>
                  <a:pt x="2649956" y="3918011"/>
                  <a:pt x="2653551" y="3919741"/>
                </a:cubicBezTo>
                <a:cubicBezTo>
                  <a:pt x="2657278" y="3921339"/>
                  <a:pt x="2660340" y="3923468"/>
                  <a:pt x="2662869" y="3926131"/>
                </a:cubicBezTo>
                <a:cubicBezTo>
                  <a:pt x="2665531" y="3928793"/>
                  <a:pt x="2667529" y="3931988"/>
                  <a:pt x="2668993" y="3935582"/>
                </a:cubicBezTo>
                <a:cubicBezTo>
                  <a:pt x="2670457" y="3939177"/>
                  <a:pt x="2671256" y="3942904"/>
                  <a:pt x="2671256" y="3947031"/>
                </a:cubicBezTo>
                <a:cubicBezTo>
                  <a:pt x="2671256" y="3951157"/>
                  <a:pt x="2670457" y="3955151"/>
                  <a:pt x="2668993" y="3958745"/>
                </a:cubicBezTo>
                <a:cubicBezTo>
                  <a:pt x="2667529" y="3962339"/>
                  <a:pt x="2665398" y="3965401"/>
                  <a:pt x="2662869" y="3968064"/>
                </a:cubicBezTo>
                <a:cubicBezTo>
                  <a:pt x="2660340" y="3970726"/>
                  <a:pt x="2657145" y="3972856"/>
                  <a:pt x="2653551" y="3974320"/>
                </a:cubicBezTo>
                <a:cubicBezTo>
                  <a:pt x="2649956" y="3975784"/>
                  <a:pt x="2646096" y="3976583"/>
                  <a:pt x="2641836" y="3976583"/>
                </a:cubicBezTo>
                <a:cubicBezTo>
                  <a:pt x="2632917" y="3976583"/>
                  <a:pt x="2625595" y="3973654"/>
                  <a:pt x="2620003" y="3968064"/>
                </a:cubicBezTo>
                <a:cubicBezTo>
                  <a:pt x="2614411" y="3962339"/>
                  <a:pt x="2611614" y="3955284"/>
                  <a:pt x="2611614" y="3946897"/>
                </a:cubicBezTo>
                <a:cubicBezTo>
                  <a:pt x="2611614" y="3938645"/>
                  <a:pt x="2614411" y="3931589"/>
                  <a:pt x="2620003" y="3925864"/>
                </a:cubicBezTo>
                <a:cubicBezTo>
                  <a:pt x="2625595" y="3920141"/>
                  <a:pt x="2632784" y="3917212"/>
                  <a:pt x="2641836" y="3917212"/>
                </a:cubicBezTo>
                <a:close/>
                <a:moveTo>
                  <a:pt x="2424179" y="3917212"/>
                </a:moveTo>
                <a:cubicBezTo>
                  <a:pt x="2428440" y="3917212"/>
                  <a:pt x="2432434" y="3918011"/>
                  <a:pt x="2435895" y="3919741"/>
                </a:cubicBezTo>
                <a:cubicBezTo>
                  <a:pt x="2439622" y="3921339"/>
                  <a:pt x="2442684" y="3923468"/>
                  <a:pt x="2445213" y="3926131"/>
                </a:cubicBezTo>
                <a:cubicBezTo>
                  <a:pt x="2447875" y="3928793"/>
                  <a:pt x="2449872" y="3931988"/>
                  <a:pt x="2451336" y="3935582"/>
                </a:cubicBezTo>
                <a:cubicBezTo>
                  <a:pt x="2452800" y="3939177"/>
                  <a:pt x="2453599" y="3942904"/>
                  <a:pt x="2453599" y="3947031"/>
                </a:cubicBezTo>
                <a:cubicBezTo>
                  <a:pt x="2453599" y="3951157"/>
                  <a:pt x="2452800" y="3955151"/>
                  <a:pt x="2451336" y="3958745"/>
                </a:cubicBezTo>
                <a:cubicBezTo>
                  <a:pt x="2449872" y="3962339"/>
                  <a:pt x="2447742" y="3965401"/>
                  <a:pt x="2445213" y="3968064"/>
                </a:cubicBezTo>
                <a:cubicBezTo>
                  <a:pt x="2442684" y="3970726"/>
                  <a:pt x="2439489" y="3972856"/>
                  <a:pt x="2435895" y="3974320"/>
                </a:cubicBezTo>
                <a:cubicBezTo>
                  <a:pt x="2432300" y="3975784"/>
                  <a:pt x="2428440" y="3976583"/>
                  <a:pt x="2424179" y="3976583"/>
                </a:cubicBezTo>
                <a:cubicBezTo>
                  <a:pt x="2415261" y="3976583"/>
                  <a:pt x="2407939" y="3973654"/>
                  <a:pt x="2402347" y="3968064"/>
                </a:cubicBezTo>
                <a:cubicBezTo>
                  <a:pt x="2396756" y="3962339"/>
                  <a:pt x="2393959" y="3955284"/>
                  <a:pt x="2393959" y="3946897"/>
                </a:cubicBezTo>
                <a:cubicBezTo>
                  <a:pt x="2393959" y="3938645"/>
                  <a:pt x="2396756" y="3931589"/>
                  <a:pt x="2402347" y="3925864"/>
                </a:cubicBezTo>
                <a:cubicBezTo>
                  <a:pt x="2407939" y="3920141"/>
                  <a:pt x="2415127" y="3917212"/>
                  <a:pt x="2424179" y="3917212"/>
                </a:cubicBezTo>
                <a:close/>
                <a:moveTo>
                  <a:pt x="2206523" y="3917212"/>
                </a:moveTo>
                <a:cubicBezTo>
                  <a:pt x="2210783" y="3917212"/>
                  <a:pt x="2214777" y="3918011"/>
                  <a:pt x="2218238" y="3919741"/>
                </a:cubicBezTo>
                <a:cubicBezTo>
                  <a:pt x="2221965" y="3921339"/>
                  <a:pt x="2225026" y="3923468"/>
                  <a:pt x="2227557" y="3926131"/>
                </a:cubicBezTo>
                <a:cubicBezTo>
                  <a:pt x="2230218" y="3928793"/>
                  <a:pt x="2232215" y="3931988"/>
                  <a:pt x="2233679" y="3935582"/>
                </a:cubicBezTo>
                <a:cubicBezTo>
                  <a:pt x="2235143" y="3939177"/>
                  <a:pt x="2235942" y="3942904"/>
                  <a:pt x="2235942" y="3947031"/>
                </a:cubicBezTo>
                <a:cubicBezTo>
                  <a:pt x="2235942" y="3951157"/>
                  <a:pt x="2235143" y="3955151"/>
                  <a:pt x="2233679" y="3958745"/>
                </a:cubicBezTo>
                <a:cubicBezTo>
                  <a:pt x="2232215" y="3962339"/>
                  <a:pt x="2230085" y="3965401"/>
                  <a:pt x="2227557" y="3968064"/>
                </a:cubicBezTo>
                <a:cubicBezTo>
                  <a:pt x="2225026" y="3970726"/>
                  <a:pt x="2221832" y="3972856"/>
                  <a:pt x="2218238" y="3974320"/>
                </a:cubicBezTo>
                <a:cubicBezTo>
                  <a:pt x="2214643" y="3975784"/>
                  <a:pt x="2210783" y="3976583"/>
                  <a:pt x="2206523" y="3976583"/>
                </a:cubicBezTo>
                <a:cubicBezTo>
                  <a:pt x="2197471" y="3976583"/>
                  <a:pt x="2190282" y="3973654"/>
                  <a:pt x="2184690" y="3968064"/>
                </a:cubicBezTo>
                <a:cubicBezTo>
                  <a:pt x="2179099" y="3962339"/>
                  <a:pt x="2176303" y="3955284"/>
                  <a:pt x="2176303" y="3946897"/>
                </a:cubicBezTo>
                <a:cubicBezTo>
                  <a:pt x="2176303" y="3938645"/>
                  <a:pt x="2179099" y="3931589"/>
                  <a:pt x="2184690" y="3925864"/>
                </a:cubicBezTo>
                <a:cubicBezTo>
                  <a:pt x="2190282" y="3920141"/>
                  <a:pt x="2197471" y="3917212"/>
                  <a:pt x="2206523" y="3917212"/>
                </a:cubicBezTo>
                <a:close/>
                <a:moveTo>
                  <a:pt x="1988999" y="3917212"/>
                </a:moveTo>
                <a:cubicBezTo>
                  <a:pt x="1993126" y="3917212"/>
                  <a:pt x="1997121" y="3918011"/>
                  <a:pt x="2000715" y="3919741"/>
                </a:cubicBezTo>
                <a:cubicBezTo>
                  <a:pt x="2004442" y="3921339"/>
                  <a:pt x="2007504" y="3923468"/>
                  <a:pt x="2010033" y="3926131"/>
                </a:cubicBezTo>
                <a:cubicBezTo>
                  <a:pt x="2012695" y="3928793"/>
                  <a:pt x="2014692" y="3931988"/>
                  <a:pt x="2016156" y="3935582"/>
                </a:cubicBezTo>
                <a:cubicBezTo>
                  <a:pt x="2017620" y="3939177"/>
                  <a:pt x="2018419" y="3942904"/>
                  <a:pt x="2018419" y="3947031"/>
                </a:cubicBezTo>
                <a:cubicBezTo>
                  <a:pt x="2018419" y="3951157"/>
                  <a:pt x="2017620" y="3955151"/>
                  <a:pt x="2016156" y="3958745"/>
                </a:cubicBezTo>
                <a:cubicBezTo>
                  <a:pt x="2014692" y="3962339"/>
                  <a:pt x="2012562" y="3965401"/>
                  <a:pt x="2010033" y="3968064"/>
                </a:cubicBezTo>
                <a:cubicBezTo>
                  <a:pt x="2007504" y="3970726"/>
                  <a:pt x="2004308" y="3972856"/>
                  <a:pt x="2000715" y="3974320"/>
                </a:cubicBezTo>
                <a:cubicBezTo>
                  <a:pt x="1997121" y="3975784"/>
                  <a:pt x="1993259" y="3976583"/>
                  <a:pt x="1988999" y="3976583"/>
                </a:cubicBezTo>
                <a:cubicBezTo>
                  <a:pt x="1979948" y="3976583"/>
                  <a:pt x="1972759" y="3973654"/>
                  <a:pt x="1967168" y="3968064"/>
                </a:cubicBezTo>
                <a:cubicBezTo>
                  <a:pt x="1961578" y="3962339"/>
                  <a:pt x="1958782" y="3955284"/>
                  <a:pt x="1958782" y="3946897"/>
                </a:cubicBezTo>
                <a:cubicBezTo>
                  <a:pt x="1958782" y="3938645"/>
                  <a:pt x="1961578" y="3931589"/>
                  <a:pt x="1967168" y="3925864"/>
                </a:cubicBezTo>
                <a:cubicBezTo>
                  <a:pt x="1972759" y="3920141"/>
                  <a:pt x="1979948" y="3917212"/>
                  <a:pt x="1988999" y="3917212"/>
                </a:cubicBezTo>
                <a:close/>
                <a:moveTo>
                  <a:pt x="1771363" y="3917212"/>
                </a:moveTo>
                <a:cubicBezTo>
                  <a:pt x="1775622" y="3917212"/>
                  <a:pt x="1779482" y="3918011"/>
                  <a:pt x="1783077" y="3919741"/>
                </a:cubicBezTo>
                <a:cubicBezTo>
                  <a:pt x="1786804" y="3921339"/>
                  <a:pt x="1789866" y="3923468"/>
                  <a:pt x="1792394" y="3926131"/>
                </a:cubicBezTo>
                <a:cubicBezTo>
                  <a:pt x="1795057" y="3928793"/>
                  <a:pt x="1797054" y="3931988"/>
                  <a:pt x="1798518" y="3935582"/>
                </a:cubicBezTo>
                <a:cubicBezTo>
                  <a:pt x="1799982" y="3939177"/>
                  <a:pt x="1800780" y="3942904"/>
                  <a:pt x="1800780" y="3947031"/>
                </a:cubicBezTo>
                <a:cubicBezTo>
                  <a:pt x="1800780" y="3951157"/>
                  <a:pt x="1799982" y="3955151"/>
                  <a:pt x="1798518" y="3958745"/>
                </a:cubicBezTo>
                <a:cubicBezTo>
                  <a:pt x="1797054" y="3962339"/>
                  <a:pt x="1794924" y="3965401"/>
                  <a:pt x="1792394" y="3968064"/>
                </a:cubicBezTo>
                <a:cubicBezTo>
                  <a:pt x="1789732" y="3970726"/>
                  <a:pt x="1786671" y="3972856"/>
                  <a:pt x="1783077" y="3974320"/>
                </a:cubicBezTo>
                <a:cubicBezTo>
                  <a:pt x="1779482" y="3975784"/>
                  <a:pt x="1775622" y="3976583"/>
                  <a:pt x="1771363" y="3976583"/>
                </a:cubicBezTo>
                <a:cubicBezTo>
                  <a:pt x="1762443" y="3976583"/>
                  <a:pt x="1755123" y="3973654"/>
                  <a:pt x="1749533" y="3968064"/>
                </a:cubicBezTo>
                <a:cubicBezTo>
                  <a:pt x="1743941" y="3962339"/>
                  <a:pt x="1741149" y="3955284"/>
                  <a:pt x="1741149" y="3946897"/>
                </a:cubicBezTo>
                <a:cubicBezTo>
                  <a:pt x="1741149" y="3938645"/>
                  <a:pt x="1743941" y="3931589"/>
                  <a:pt x="1749533" y="3925864"/>
                </a:cubicBezTo>
                <a:cubicBezTo>
                  <a:pt x="1755123" y="3920141"/>
                  <a:pt x="1762310" y="3917212"/>
                  <a:pt x="1771363" y="3917212"/>
                </a:cubicBezTo>
                <a:close/>
                <a:moveTo>
                  <a:pt x="1553723" y="3917212"/>
                </a:moveTo>
                <a:cubicBezTo>
                  <a:pt x="1557983" y="3917212"/>
                  <a:pt x="1561844" y="3918011"/>
                  <a:pt x="1565438" y="3919741"/>
                </a:cubicBezTo>
                <a:cubicBezTo>
                  <a:pt x="1569032" y="3921339"/>
                  <a:pt x="1572227" y="3923468"/>
                  <a:pt x="1574756" y="3926131"/>
                </a:cubicBezTo>
                <a:cubicBezTo>
                  <a:pt x="1577418" y="3928793"/>
                  <a:pt x="1579415" y="3931988"/>
                  <a:pt x="1580879" y="3935582"/>
                </a:cubicBezTo>
                <a:cubicBezTo>
                  <a:pt x="1582343" y="3939177"/>
                  <a:pt x="1583142" y="3942904"/>
                  <a:pt x="1583142" y="3947031"/>
                </a:cubicBezTo>
                <a:cubicBezTo>
                  <a:pt x="1583142" y="3951157"/>
                  <a:pt x="1582343" y="3955151"/>
                  <a:pt x="1580879" y="3958745"/>
                </a:cubicBezTo>
                <a:cubicBezTo>
                  <a:pt x="1579415" y="3962339"/>
                  <a:pt x="1577285" y="3965401"/>
                  <a:pt x="1574756" y="3968064"/>
                </a:cubicBezTo>
                <a:cubicBezTo>
                  <a:pt x="1572094" y="3970726"/>
                  <a:pt x="1569032" y="3972856"/>
                  <a:pt x="1565438" y="3974320"/>
                </a:cubicBezTo>
                <a:cubicBezTo>
                  <a:pt x="1561844" y="3975784"/>
                  <a:pt x="1557983" y="3976583"/>
                  <a:pt x="1553723" y="3976583"/>
                </a:cubicBezTo>
                <a:cubicBezTo>
                  <a:pt x="1544805" y="3976583"/>
                  <a:pt x="1537483" y="3973654"/>
                  <a:pt x="1531893" y="3968064"/>
                </a:cubicBezTo>
                <a:cubicBezTo>
                  <a:pt x="1526304" y="3962339"/>
                  <a:pt x="1523507" y="3955284"/>
                  <a:pt x="1523507" y="3946897"/>
                </a:cubicBezTo>
                <a:cubicBezTo>
                  <a:pt x="1523507" y="3938645"/>
                  <a:pt x="1526304" y="3931589"/>
                  <a:pt x="1531893" y="3925864"/>
                </a:cubicBezTo>
                <a:cubicBezTo>
                  <a:pt x="1537483" y="3920141"/>
                  <a:pt x="1544670" y="3917212"/>
                  <a:pt x="1553723" y="3917212"/>
                </a:cubicBezTo>
                <a:close/>
                <a:moveTo>
                  <a:pt x="1336079" y="3917212"/>
                </a:moveTo>
                <a:cubicBezTo>
                  <a:pt x="1340339" y="3917212"/>
                  <a:pt x="1344334" y="3918011"/>
                  <a:pt x="1347795" y="3919741"/>
                </a:cubicBezTo>
                <a:cubicBezTo>
                  <a:pt x="1351388" y="3921339"/>
                  <a:pt x="1354583" y="3923468"/>
                  <a:pt x="1357113" y="3926131"/>
                </a:cubicBezTo>
                <a:cubicBezTo>
                  <a:pt x="1359775" y="3928793"/>
                  <a:pt x="1361772" y="3931988"/>
                  <a:pt x="1363236" y="3935582"/>
                </a:cubicBezTo>
                <a:cubicBezTo>
                  <a:pt x="1364700" y="3939177"/>
                  <a:pt x="1365498" y="3942904"/>
                  <a:pt x="1365498" y="3947031"/>
                </a:cubicBezTo>
                <a:cubicBezTo>
                  <a:pt x="1365498" y="3951157"/>
                  <a:pt x="1364700" y="3955151"/>
                  <a:pt x="1363236" y="3958745"/>
                </a:cubicBezTo>
                <a:cubicBezTo>
                  <a:pt x="1361772" y="3962339"/>
                  <a:pt x="1359642" y="3965401"/>
                  <a:pt x="1357113" y="3968064"/>
                </a:cubicBezTo>
                <a:cubicBezTo>
                  <a:pt x="1354449" y="3970726"/>
                  <a:pt x="1351388" y="3972856"/>
                  <a:pt x="1347795" y="3974320"/>
                </a:cubicBezTo>
                <a:cubicBezTo>
                  <a:pt x="1344200" y="3975784"/>
                  <a:pt x="1340339" y="3976583"/>
                  <a:pt x="1336079" y="3976583"/>
                </a:cubicBezTo>
                <a:cubicBezTo>
                  <a:pt x="1327159" y="3976583"/>
                  <a:pt x="1319838" y="3973654"/>
                  <a:pt x="1314246" y="3968064"/>
                </a:cubicBezTo>
                <a:cubicBezTo>
                  <a:pt x="1308656" y="3962339"/>
                  <a:pt x="1305861" y="3955284"/>
                  <a:pt x="1305861" y="3946897"/>
                </a:cubicBezTo>
                <a:cubicBezTo>
                  <a:pt x="1305861" y="3938645"/>
                  <a:pt x="1308656" y="3931589"/>
                  <a:pt x="1314246" y="3925864"/>
                </a:cubicBezTo>
                <a:cubicBezTo>
                  <a:pt x="1319838" y="3920141"/>
                  <a:pt x="1327026" y="3917212"/>
                  <a:pt x="1336079" y="3917212"/>
                </a:cubicBezTo>
                <a:close/>
                <a:moveTo>
                  <a:pt x="1118434" y="3917212"/>
                </a:moveTo>
                <a:cubicBezTo>
                  <a:pt x="1122695" y="3917212"/>
                  <a:pt x="1126690" y="3918011"/>
                  <a:pt x="1130151" y="3919741"/>
                </a:cubicBezTo>
                <a:cubicBezTo>
                  <a:pt x="1133878" y="3921339"/>
                  <a:pt x="1136940" y="3923468"/>
                  <a:pt x="1139467" y="3926131"/>
                </a:cubicBezTo>
                <a:cubicBezTo>
                  <a:pt x="1142128" y="3928793"/>
                  <a:pt x="1144125" y="3931988"/>
                  <a:pt x="1145588" y="3935582"/>
                </a:cubicBezTo>
                <a:cubicBezTo>
                  <a:pt x="1147052" y="3939177"/>
                  <a:pt x="1147851" y="3942904"/>
                  <a:pt x="1147851" y="3947031"/>
                </a:cubicBezTo>
                <a:cubicBezTo>
                  <a:pt x="1147851" y="3951157"/>
                  <a:pt x="1147052" y="3955151"/>
                  <a:pt x="1145588" y="3958745"/>
                </a:cubicBezTo>
                <a:cubicBezTo>
                  <a:pt x="1144125" y="3962339"/>
                  <a:pt x="1141995" y="3965401"/>
                  <a:pt x="1139467" y="3968064"/>
                </a:cubicBezTo>
                <a:cubicBezTo>
                  <a:pt x="1136940" y="3970726"/>
                  <a:pt x="1133745" y="3972856"/>
                  <a:pt x="1130151" y="3974320"/>
                </a:cubicBezTo>
                <a:cubicBezTo>
                  <a:pt x="1126555" y="3975784"/>
                  <a:pt x="1122695" y="3976583"/>
                  <a:pt x="1118434" y="3976583"/>
                </a:cubicBezTo>
                <a:cubicBezTo>
                  <a:pt x="1109514" y="3976583"/>
                  <a:pt x="1102191" y="3973654"/>
                  <a:pt x="1096600" y="3968064"/>
                </a:cubicBezTo>
                <a:cubicBezTo>
                  <a:pt x="1091010" y="3962339"/>
                  <a:pt x="1088215" y="3955284"/>
                  <a:pt x="1088215" y="3946897"/>
                </a:cubicBezTo>
                <a:cubicBezTo>
                  <a:pt x="1088215" y="3938645"/>
                  <a:pt x="1091010" y="3931589"/>
                  <a:pt x="1096600" y="3925864"/>
                </a:cubicBezTo>
                <a:cubicBezTo>
                  <a:pt x="1102191" y="3920141"/>
                  <a:pt x="1109380" y="3917212"/>
                  <a:pt x="1118434" y="3917212"/>
                </a:cubicBezTo>
                <a:close/>
                <a:moveTo>
                  <a:pt x="900921" y="3917212"/>
                </a:moveTo>
                <a:cubicBezTo>
                  <a:pt x="905048" y="3917212"/>
                  <a:pt x="909042" y="3918011"/>
                  <a:pt x="912636" y="3919741"/>
                </a:cubicBezTo>
                <a:cubicBezTo>
                  <a:pt x="916363" y="3921339"/>
                  <a:pt x="919425" y="3923468"/>
                  <a:pt x="921955" y="3926131"/>
                </a:cubicBezTo>
                <a:cubicBezTo>
                  <a:pt x="924616" y="3928793"/>
                  <a:pt x="926613" y="3931988"/>
                  <a:pt x="928077" y="3935582"/>
                </a:cubicBezTo>
                <a:cubicBezTo>
                  <a:pt x="929541" y="3939177"/>
                  <a:pt x="930340" y="3942904"/>
                  <a:pt x="930340" y="3947031"/>
                </a:cubicBezTo>
                <a:cubicBezTo>
                  <a:pt x="930340" y="3951157"/>
                  <a:pt x="929541" y="3955151"/>
                  <a:pt x="928077" y="3958745"/>
                </a:cubicBezTo>
                <a:cubicBezTo>
                  <a:pt x="926613" y="3962339"/>
                  <a:pt x="924483" y="3965401"/>
                  <a:pt x="921955" y="3968064"/>
                </a:cubicBezTo>
                <a:cubicBezTo>
                  <a:pt x="919425" y="3970726"/>
                  <a:pt x="916230" y="3972856"/>
                  <a:pt x="912636" y="3974320"/>
                </a:cubicBezTo>
                <a:cubicBezTo>
                  <a:pt x="909042" y="3975784"/>
                  <a:pt x="905181" y="3976583"/>
                  <a:pt x="900921" y="3976583"/>
                </a:cubicBezTo>
                <a:cubicBezTo>
                  <a:pt x="892003" y="3976583"/>
                  <a:pt x="884681" y="3973654"/>
                  <a:pt x="879090" y="3968064"/>
                </a:cubicBezTo>
                <a:cubicBezTo>
                  <a:pt x="873501" y="3962339"/>
                  <a:pt x="870705" y="3955284"/>
                  <a:pt x="870705" y="3946897"/>
                </a:cubicBezTo>
                <a:cubicBezTo>
                  <a:pt x="870705" y="3938645"/>
                  <a:pt x="873501" y="3931589"/>
                  <a:pt x="879090" y="3925864"/>
                </a:cubicBezTo>
                <a:cubicBezTo>
                  <a:pt x="884681" y="3920141"/>
                  <a:pt x="891870" y="3917212"/>
                  <a:pt x="900921" y="3917212"/>
                </a:cubicBezTo>
                <a:close/>
                <a:moveTo>
                  <a:pt x="683280" y="3917212"/>
                </a:moveTo>
                <a:cubicBezTo>
                  <a:pt x="687540" y="3917212"/>
                  <a:pt x="691401" y="3918011"/>
                  <a:pt x="694995" y="3919741"/>
                </a:cubicBezTo>
                <a:cubicBezTo>
                  <a:pt x="698722" y="3921339"/>
                  <a:pt x="701784" y="3923468"/>
                  <a:pt x="704312" y="3926131"/>
                </a:cubicBezTo>
                <a:cubicBezTo>
                  <a:pt x="706974" y="3928793"/>
                  <a:pt x="708972" y="3931988"/>
                  <a:pt x="710435" y="3935582"/>
                </a:cubicBezTo>
                <a:cubicBezTo>
                  <a:pt x="711899" y="3939177"/>
                  <a:pt x="712698" y="3942904"/>
                  <a:pt x="712698" y="3947031"/>
                </a:cubicBezTo>
                <a:cubicBezTo>
                  <a:pt x="712698" y="3951157"/>
                  <a:pt x="711899" y="3955151"/>
                  <a:pt x="710435" y="3958745"/>
                </a:cubicBezTo>
                <a:cubicBezTo>
                  <a:pt x="708972" y="3962339"/>
                  <a:pt x="706841" y="3965401"/>
                  <a:pt x="704312" y="3968064"/>
                </a:cubicBezTo>
                <a:cubicBezTo>
                  <a:pt x="701784" y="3970726"/>
                  <a:pt x="698589" y="3972856"/>
                  <a:pt x="694995" y="3974320"/>
                </a:cubicBezTo>
                <a:cubicBezTo>
                  <a:pt x="691401" y="3975784"/>
                  <a:pt x="687540" y="3976583"/>
                  <a:pt x="683280" y="3976583"/>
                </a:cubicBezTo>
                <a:cubicBezTo>
                  <a:pt x="674362" y="3976583"/>
                  <a:pt x="667040" y="3973654"/>
                  <a:pt x="661448" y="3968064"/>
                </a:cubicBezTo>
                <a:cubicBezTo>
                  <a:pt x="655857" y="3962339"/>
                  <a:pt x="653062" y="3955284"/>
                  <a:pt x="653062" y="3946897"/>
                </a:cubicBezTo>
                <a:cubicBezTo>
                  <a:pt x="653062" y="3938645"/>
                  <a:pt x="655857" y="3931589"/>
                  <a:pt x="661448" y="3925864"/>
                </a:cubicBezTo>
                <a:cubicBezTo>
                  <a:pt x="667040" y="3920141"/>
                  <a:pt x="674229" y="3917212"/>
                  <a:pt x="683280" y="3917212"/>
                </a:cubicBezTo>
                <a:close/>
                <a:moveTo>
                  <a:pt x="465637" y="3917212"/>
                </a:moveTo>
                <a:cubicBezTo>
                  <a:pt x="469897" y="3917212"/>
                  <a:pt x="473758" y="3918011"/>
                  <a:pt x="477353" y="3919741"/>
                </a:cubicBezTo>
                <a:cubicBezTo>
                  <a:pt x="481080" y="3921339"/>
                  <a:pt x="484141" y="3923468"/>
                  <a:pt x="486670" y="3926131"/>
                </a:cubicBezTo>
                <a:cubicBezTo>
                  <a:pt x="489332" y="3928793"/>
                  <a:pt x="491329" y="3931988"/>
                  <a:pt x="492793" y="3935582"/>
                </a:cubicBezTo>
                <a:cubicBezTo>
                  <a:pt x="494257" y="3939177"/>
                  <a:pt x="495056" y="3942904"/>
                  <a:pt x="495056" y="3947031"/>
                </a:cubicBezTo>
                <a:cubicBezTo>
                  <a:pt x="495056" y="3951157"/>
                  <a:pt x="494257" y="3955151"/>
                  <a:pt x="492793" y="3958745"/>
                </a:cubicBezTo>
                <a:cubicBezTo>
                  <a:pt x="491329" y="3962339"/>
                  <a:pt x="489199" y="3965401"/>
                  <a:pt x="486670" y="3968064"/>
                </a:cubicBezTo>
                <a:cubicBezTo>
                  <a:pt x="484007" y="3970726"/>
                  <a:pt x="480947" y="3972856"/>
                  <a:pt x="477353" y="3974320"/>
                </a:cubicBezTo>
                <a:cubicBezTo>
                  <a:pt x="473758" y="3975784"/>
                  <a:pt x="469897" y="3976583"/>
                  <a:pt x="465637" y="3976583"/>
                </a:cubicBezTo>
                <a:cubicBezTo>
                  <a:pt x="456719" y="3976583"/>
                  <a:pt x="449397" y="3973654"/>
                  <a:pt x="443806" y="3968064"/>
                </a:cubicBezTo>
                <a:cubicBezTo>
                  <a:pt x="438215" y="3962339"/>
                  <a:pt x="435420" y="3955284"/>
                  <a:pt x="435420" y="3946897"/>
                </a:cubicBezTo>
                <a:cubicBezTo>
                  <a:pt x="435420" y="3938645"/>
                  <a:pt x="438215" y="3931589"/>
                  <a:pt x="443806" y="3925864"/>
                </a:cubicBezTo>
                <a:cubicBezTo>
                  <a:pt x="449397" y="3920141"/>
                  <a:pt x="456586" y="3917212"/>
                  <a:pt x="465637" y="3917212"/>
                </a:cubicBezTo>
                <a:close/>
                <a:moveTo>
                  <a:pt x="247995" y="3917212"/>
                </a:moveTo>
                <a:cubicBezTo>
                  <a:pt x="252255" y="3917212"/>
                  <a:pt x="256249" y="3918011"/>
                  <a:pt x="259710" y="3919741"/>
                </a:cubicBezTo>
                <a:cubicBezTo>
                  <a:pt x="263437" y="3921339"/>
                  <a:pt x="266499" y="3923468"/>
                  <a:pt x="269028" y="3926131"/>
                </a:cubicBezTo>
                <a:cubicBezTo>
                  <a:pt x="271690" y="3928793"/>
                  <a:pt x="273687" y="3931988"/>
                  <a:pt x="275151" y="3935582"/>
                </a:cubicBezTo>
                <a:cubicBezTo>
                  <a:pt x="276615" y="3939177"/>
                  <a:pt x="277414" y="3942904"/>
                  <a:pt x="277414" y="3947031"/>
                </a:cubicBezTo>
                <a:cubicBezTo>
                  <a:pt x="277414" y="3951157"/>
                  <a:pt x="276615" y="3955151"/>
                  <a:pt x="275151" y="3958745"/>
                </a:cubicBezTo>
                <a:cubicBezTo>
                  <a:pt x="273687" y="3962339"/>
                  <a:pt x="271557" y="3965401"/>
                  <a:pt x="269028" y="3968064"/>
                </a:cubicBezTo>
                <a:cubicBezTo>
                  <a:pt x="266365" y="3970726"/>
                  <a:pt x="263304" y="3972856"/>
                  <a:pt x="259710" y="3974320"/>
                </a:cubicBezTo>
                <a:cubicBezTo>
                  <a:pt x="256114" y="3975784"/>
                  <a:pt x="252255" y="3976583"/>
                  <a:pt x="247995" y="3976583"/>
                </a:cubicBezTo>
                <a:cubicBezTo>
                  <a:pt x="239077" y="3976583"/>
                  <a:pt x="231756" y="3973654"/>
                  <a:pt x="226165" y="3968064"/>
                </a:cubicBezTo>
                <a:cubicBezTo>
                  <a:pt x="220574" y="3962339"/>
                  <a:pt x="217779" y="3955284"/>
                  <a:pt x="217779" y="3946897"/>
                </a:cubicBezTo>
                <a:cubicBezTo>
                  <a:pt x="217779" y="3938645"/>
                  <a:pt x="220574" y="3931589"/>
                  <a:pt x="226165" y="3925864"/>
                </a:cubicBezTo>
                <a:cubicBezTo>
                  <a:pt x="231756" y="3920141"/>
                  <a:pt x="238943" y="3917212"/>
                  <a:pt x="247995" y="3917212"/>
                </a:cubicBezTo>
                <a:close/>
                <a:moveTo>
                  <a:pt x="30352" y="3917212"/>
                </a:moveTo>
                <a:cubicBezTo>
                  <a:pt x="34613" y="3917212"/>
                  <a:pt x="38607" y="3918011"/>
                  <a:pt x="42068" y="3919741"/>
                </a:cubicBezTo>
                <a:cubicBezTo>
                  <a:pt x="45795" y="3921339"/>
                  <a:pt x="48857" y="3923468"/>
                  <a:pt x="51386" y="3926131"/>
                </a:cubicBezTo>
                <a:cubicBezTo>
                  <a:pt x="54048" y="3928793"/>
                  <a:pt x="56045" y="3931988"/>
                  <a:pt x="57509" y="3935582"/>
                </a:cubicBezTo>
                <a:cubicBezTo>
                  <a:pt x="58973" y="3939177"/>
                  <a:pt x="59772" y="3942904"/>
                  <a:pt x="59772" y="3947031"/>
                </a:cubicBezTo>
                <a:cubicBezTo>
                  <a:pt x="59772" y="3951157"/>
                  <a:pt x="58973" y="3955151"/>
                  <a:pt x="57509" y="3958745"/>
                </a:cubicBezTo>
                <a:cubicBezTo>
                  <a:pt x="56045" y="3962339"/>
                  <a:pt x="53915" y="3965401"/>
                  <a:pt x="51386" y="3968064"/>
                </a:cubicBezTo>
                <a:cubicBezTo>
                  <a:pt x="48723" y="3970726"/>
                  <a:pt x="45662" y="3972856"/>
                  <a:pt x="42068" y="3974320"/>
                </a:cubicBezTo>
                <a:cubicBezTo>
                  <a:pt x="38474" y="3975784"/>
                  <a:pt x="34613" y="3976583"/>
                  <a:pt x="30352" y="3976583"/>
                </a:cubicBezTo>
                <a:cubicBezTo>
                  <a:pt x="21434" y="3976583"/>
                  <a:pt x="14113" y="3973654"/>
                  <a:pt x="8524" y="3968064"/>
                </a:cubicBezTo>
                <a:cubicBezTo>
                  <a:pt x="2933" y="3962339"/>
                  <a:pt x="138" y="3955284"/>
                  <a:pt x="138" y="3946897"/>
                </a:cubicBezTo>
                <a:cubicBezTo>
                  <a:pt x="138" y="3938645"/>
                  <a:pt x="2933" y="3931589"/>
                  <a:pt x="8524" y="3925864"/>
                </a:cubicBezTo>
                <a:cubicBezTo>
                  <a:pt x="14113" y="3920141"/>
                  <a:pt x="21300" y="3917212"/>
                  <a:pt x="30352" y="3917212"/>
                </a:cubicBezTo>
                <a:close/>
                <a:moveTo>
                  <a:pt x="10475977" y="3716208"/>
                </a:moveTo>
                <a:cubicBezTo>
                  <a:pt x="10470119" y="3716208"/>
                  <a:pt x="10467589" y="3718204"/>
                  <a:pt x="10465992" y="3719802"/>
                </a:cubicBezTo>
                <a:cubicBezTo>
                  <a:pt x="10463463" y="3722464"/>
                  <a:pt x="10462399" y="3725259"/>
                  <a:pt x="10462399" y="3729253"/>
                </a:cubicBezTo>
                <a:cubicBezTo>
                  <a:pt x="10462399" y="3733381"/>
                  <a:pt x="10463463" y="3736175"/>
                  <a:pt x="10465992" y="3738705"/>
                </a:cubicBezTo>
                <a:cubicBezTo>
                  <a:pt x="10467589" y="3740302"/>
                  <a:pt x="10470119" y="3742165"/>
                  <a:pt x="10475977" y="3742165"/>
                </a:cubicBezTo>
                <a:cubicBezTo>
                  <a:pt x="10478107" y="3742165"/>
                  <a:pt x="10479838" y="3741766"/>
                  <a:pt x="10481302" y="3741367"/>
                </a:cubicBezTo>
                <a:cubicBezTo>
                  <a:pt x="10482899" y="3740834"/>
                  <a:pt x="10484098" y="3739902"/>
                  <a:pt x="10485029" y="3738970"/>
                </a:cubicBezTo>
                <a:cubicBezTo>
                  <a:pt x="10486094" y="3737772"/>
                  <a:pt x="10487026" y="3736441"/>
                  <a:pt x="10487691" y="3734711"/>
                </a:cubicBezTo>
                <a:cubicBezTo>
                  <a:pt x="10488357" y="3733113"/>
                  <a:pt x="10488623" y="3731250"/>
                  <a:pt x="10488623" y="3729253"/>
                </a:cubicBezTo>
                <a:cubicBezTo>
                  <a:pt x="10488623" y="3727388"/>
                  <a:pt x="10488357" y="3725659"/>
                  <a:pt x="10487691" y="3724061"/>
                </a:cubicBezTo>
                <a:cubicBezTo>
                  <a:pt x="10487026" y="3722331"/>
                  <a:pt x="10486094" y="3721000"/>
                  <a:pt x="10485029" y="3719802"/>
                </a:cubicBezTo>
                <a:cubicBezTo>
                  <a:pt x="10483964" y="3718737"/>
                  <a:pt x="10482633" y="3717805"/>
                  <a:pt x="10481035" y="3717139"/>
                </a:cubicBezTo>
                <a:cubicBezTo>
                  <a:pt x="10479571" y="3716473"/>
                  <a:pt x="10477974" y="3716208"/>
                  <a:pt x="10475977" y="3716208"/>
                </a:cubicBezTo>
                <a:close/>
                <a:moveTo>
                  <a:pt x="10258466" y="3716208"/>
                </a:moveTo>
                <a:cubicBezTo>
                  <a:pt x="10252608" y="3716208"/>
                  <a:pt x="10250078" y="3718204"/>
                  <a:pt x="10248481" y="3719802"/>
                </a:cubicBezTo>
                <a:cubicBezTo>
                  <a:pt x="10245952" y="3722464"/>
                  <a:pt x="10244887" y="3725259"/>
                  <a:pt x="10244887" y="3729253"/>
                </a:cubicBezTo>
                <a:cubicBezTo>
                  <a:pt x="10244887" y="3733381"/>
                  <a:pt x="10245952" y="3736175"/>
                  <a:pt x="10248481" y="3738705"/>
                </a:cubicBezTo>
                <a:cubicBezTo>
                  <a:pt x="10250078" y="3740302"/>
                  <a:pt x="10252608" y="3742165"/>
                  <a:pt x="10258466" y="3742165"/>
                </a:cubicBezTo>
                <a:cubicBezTo>
                  <a:pt x="10260462" y="3742165"/>
                  <a:pt x="10262192" y="3741766"/>
                  <a:pt x="10263790" y="3741367"/>
                </a:cubicBezTo>
                <a:cubicBezTo>
                  <a:pt x="10265388" y="3740834"/>
                  <a:pt x="10266586" y="3739902"/>
                  <a:pt x="10267517" y="3738970"/>
                </a:cubicBezTo>
                <a:cubicBezTo>
                  <a:pt x="10268583" y="3737772"/>
                  <a:pt x="10269515" y="3736441"/>
                  <a:pt x="10270180" y="3734711"/>
                </a:cubicBezTo>
                <a:cubicBezTo>
                  <a:pt x="10270845" y="3733113"/>
                  <a:pt x="10271112" y="3731250"/>
                  <a:pt x="10271112" y="3729253"/>
                </a:cubicBezTo>
                <a:cubicBezTo>
                  <a:pt x="10271112" y="3727388"/>
                  <a:pt x="10270845" y="3725659"/>
                  <a:pt x="10270180" y="3724061"/>
                </a:cubicBezTo>
                <a:cubicBezTo>
                  <a:pt x="10269515" y="3722331"/>
                  <a:pt x="10268583" y="3721000"/>
                  <a:pt x="10267517" y="3719802"/>
                </a:cubicBezTo>
                <a:cubicBezTo>
                  <a:pt x="10266452" y="3718737"/>
                  <a:pt x="10265121" y="3717805"/>
                  <a:pt x="10263524" y="3717139"/>
                </a:cubicBezTo>
                <a:cubicBezTo>
                  <a:pt x="10262060" y="3716473"/>
                  <a:pt x="10260462" y="3716208"/>
                  <a:pt x="10258466" y="3716208"/>
                </a:cubicBezTo>
                <a:close/>
                <a:moveTo>
                  <a:pt x="10040820" y="3716208"/>
                </a:moveTo>
                <a:cubicBezTo>
                  <a:pt x="10034962" y="3716208"/>
                  <a:pt x="10032433" y="3718204"/>
                  <a:pt x="10030835" y="3719802"/>
                </a:cubicBezTo>
                <a:cubicBezTo>
                  <a:pt x="10028306" y="3722464"/>
                  <a:pt x="10027242" y="3725259"/>
                  <a:pt x="10027242" y="3729253"/>
                </a:cubicBezTo>
                <a:cubicBezTo>
                  <a:pt x="10027242" y="3733381"/>
                  <a:pt x="10028306" y="3736175"/>
                  <a:pt x="10030835" y="3738705"/>
                </a:cubicBezTo>
                <a:cubicBezTo>
                  <a:pt x="10032433" y="3740302"/>
                  <a:pt x="10034962" y="3742165"/>
                  <a:pt x="10040820" y="3742165"/>
                </a:cubicBezTo>
                <a:cubicBezTo>
                  <a:pt x="10042817" y="3742165"/>
                  <a:pt x="10044681" y="3741766"/>
                  <a:pt x="10046145" y="3741367"/>
                </a:cubicBezTo>
                <a:cubicBezTo>
                  <a:pt x="10047742" y="3740834"/>
                  <a:pt x="10048941" y="3739902"/>
                  <a:pt x="10049872" y="3738970"/>
                </a:cubicBezTo>
                <a:cubicBezTo>
                  <a:pt x="10050937" y="3737772"/>
                  <a:pt x="10051869" y="3736441"/>
                  <a:pt x="10052534" y="3734711"/>
                </a:cubicBezTo>
                <a:cubicBezTo>
                  <a:pt x="10053333" y="3733113"/>
                  <a:pt x="10053599" y="3731250"/>
                  <a:pt x="10053599" y="3729253"/>
                </a:cubicBezTo>
                <a:cubicBezTo>
                  <a:pt x="10053599" y="3727388"/>
                  <a:pt x="10053200" y="3725659"/>
                  <a:pt x="10052534" y="3724061"/>
                </a:cubicBezTo>
                <a:cubicBezTo>
                  <a:pt x="10051869" y="3722331"/>
                  <a:pt x="10050937" y="3721000"/>
                  <a:pt x="10049872" y="3719802"/>
                </a:cubicBezTo>
                <a:cubicBezTo>
                  <a:pt x="10048807" y="3718737"/>
                  <a:pt x="10047476" y="3717805"/>
                  <a:pt x="10045878" y="3717139"/>
                </a:cubicBezTo>
                <a:cubicBezTo>
                  <a:pt x="10044414" y="3716473"/>
                  <a:pt x="10042817" y="3716208"/>
                  <a:pt x="10040820" y="3716208"/>
                </a:cubicBezTo>
                <a:close/>
                <a:moveTo>
                  <a:pt x="9823176" y="3716208"/>
                </a:moveTo>
                <a:cubicBezTo>
                  <a:pt x="9817318" y="3716208"/>
                  <a:pt x="9814788" y="3718204"/>
                  <a:pt x="9813191" y="3719802"/>
                </a:cubicBezTo>
                <a:cubicBezTo>
                  <a:pt x="9810662" y="3722464"/>
                  <a:pt x="9809597" y="3725259"/>
                  <a:pt x="9809597" y="3729253"/>
                </a:cubicBezTo>
                <a:cubicBezTo>
                  <a:pt x="9809597" y="3733381"/>
                  <a:pt x="9810662" y="3736175"/>
                  <a:pt x="9813191" y="3738705"/>
                </a:cubicBezTo>
                <a:cubicBezTo>
                  <a:pt x="9814788" y="3740302"/>
                  <a:pt x="9817318" y="3742165"/>
                  <a:pt x="9823176" y="3742165"/>
                </a:cubicBezTo>
                <a:cubicBezTo>
                  <a:pt x="9825173" y="3742165"/>
                  <a:pt x="9827036" y="3741766"/>
                  <a:pt x="9828501" y="3741367"/>
                </a:cubicBezTo>
                <a:cubicBezTo>
                  <a:pt x="9830098" y="3740834"/>
                  <a:pt x="9831296" y="3739902"/>
                  <a:pt x="9832227" y="3738970"/>
                </a:cubicBezTo>
                <a:cubicBezTo>
                  <a:pt x="9833293" y="3737772"/>
                  <a:pt x="9834225" y="3736441"/>
                  <a:pt x="9834890" y="3734711"/>
                </a:cubicBezTo>
                <a:cubicBezTo>
                  <a:pt x="9835689" y="3733113"/>
                  <a:pt x="9835955" y="3731250"/>
                  <a:pt x="9835955" y="3729253"/>
                </a:cubicBezTo>
                <a:cubicBezTo>
                  <a:pt x="9835955" y="3727388"/>
                  <a:pt x="9835555" y="3725659"/>
                  <a:pt x="9834890" y="3724061"/>
                </a:cubicBezTo>
                <a:cubicBezTo>
                  <a:pt x="9834225" y="3722331"/>
                  <a:pt x="9833293" y="3721000"/>
                  <a:pt x="9832227" y="3719802"/>
                </a:cubicBezTo>
                <a:cubicBezTo>
                  <a:pt x="9831162" y="3718737"/>
                  <a:pt x="9829831" y="3717805"/>
                  <a:pt x="9828234" y="3717139"/>
                </a:cubicBezTo>
                <a:cubicBezTo>
                  <a:pt x="9826770" y="3716473"/>
                  <a:pt x="9825173" y="3716208"/>
                  <a:pt x="9823176" y="3716208"/>
                </a:cubicBezTo>
                <a:close/>
                <a:moveTo>
                  <a:pt x="9605531" y="3716208"/>
                </a:moveTo>
                <a:cubicBezTo>
                  <a:pt x="9599673" y="3716208"/>
                  <a:pt x="9597143" y="3718204"/>
                  <a:pt x="9595546" y="3719802"/>
                </a:cubicBezTo>
                <a:cubicBezTo>
                  <a:pt x="9593017" y="3722464"/>
                  <a:pt x="9591952" y="3725259"/>
                  <a:pt x="9591952" y="3729253"/>
                </a:cubicBezTo>
                <a:cubicBezTo>
                  <a:pt x="9591952" y="3733381"/>
                  <a:pt x="9593017" y="3736175"/>
                  <a:pt x="9595546" y="3738705"/>
                </a:cubicBezTo>
                <a:cubicBezTo>
                  <a:pt x="9597143" y="3740302"/>
                  <a:pt x="9599673" y="3742165"/>
                  <a:pt x="9605531" y="3742165"/>
                </a:cubicBezTo>
                <a:cubicBezTo>
                  <a:pt x="9607660" y="3742165"/>
                  <a:pt x="9609391" y="3741766"/>
                  <a:pt x="9610855" y="3741367"/>
                </a:cubicBezTo>
                <a:cubicBezTo>
                  <a:pt x="9612319" y="3740834"/>
                  <a:pt x="9613651" y="3739902"/>
                  <a:pt x="9614582" y="3738970"/>
                </a:cubicBezTo>
                <a:cubicBezTo>
                  <a:pt x="9615647" y="3737772"/>
                  <a:pt x="9616579" y="3736441"/>
                  <a:pt x="9617245" y="3734711"/>
                </a:cubicBezTo>
                <a:cubicBezTo>
                  <a:pt x="9618044" y="3733113"/>
                  <a:pt x="9618309" y="3731250"/>
                  <a:pt x="9618309" y="3729253"/>
                </a:cubicBezTo>
                <a:cubicBezTo>
                  <a:pt x="9618309" y="3727388"/>
                  <a:pt x="9617910" y="3725659"/>
                  <a:pt x="9617245" y="3724061"/>
                </a:cubicBezTo>
                <a:cubicBezTo>
                  <a:pt x="9616579" y="3722331"/>
                  <a:pt x="9615647" y="3721000"/>
                  <a:pt x="9614582" y="3719802"/>
                </a:cubicBezTo>
                <a:cubicBezTo>
                  <a:pt x="9613517" y="3718737"/>
                  <a:pt x="9612186" y="3717805"/>
                  <a:pt x="9610589" y="3717139"/>
                </a:cubicBezTo>
                <a:cubicBezTo>
                  <a:pt x="9609124" y="3716473"/>
                  <a:pt x="9607394" y="3716208"/>
                  <a:pt x="9605531" y="3716208"/>
                </a:cubicBezTo>
                <a:close/>
                <a:moveTo>
                  <a:pt x="9387885" y="3716208"/>
                </a:moveTo>
                <a:cubicBezTo>
                  <a:pt x="9382027" y="3716208"/>
                  <a:pt x="9379497" y="3718204"/>
                  <a:pt x="9377900" y="3719802"/>
                </a:cubicBezTo>
                <a:cubicBezTo>
                  <a:pt x="9375371" y="3722464"/>
                  <a:pt x="9374307" y="3725259"/>
                  <a:pt x="9374307" y="3729253"/>
                </a:cubicBezTo>
                <a:cubicBezTo>
                  <a:pt x="9374307" y="3733381"/>
                  <a:pt x="9375371" y="3736175"/>
                  <a:pt x="9377900" y="3738705"/>
                </a:cubicBezTo>
                <a:cubicBezTo>
                  <a:pt x="9379497" y="3740302"/>
                  <a:pt x="9382027" y="3742165"/>
                  <a:pt x="9387885" y="3742165"/>
                </a:cubicBezTo>
                <a:cubicBezTo>
                  <a:pt x="9390015" y="3742165"/>
                  <a:pt x="9391746" y="3741766"/>
                  <a:pt x="9393210" y="3741367"/>
                </a:cubicBezTo>
                <a:cubicBezTo>
                  <a:pt x="9394674" y="3740834"/>
                  <a:pt x="9396005" y="3739902"/>
                  <a:pt x="9396937" y="3738970"/>
                </a:cubicBezTo>
                <a:cubicBezTo>
                  <a:pt x="9398002" y="3737772"/>
                  <a:pt x="9398934" y="3736441"/>
                  <a:pt x="9399599" y="3734711"/>
                </a:cubicBezTo>
                <a:cubicBezTo>
                  <a:pt x="9400398" y="3733113"/>
                  <a:pt x="9400664" y="3731250"/>
                  <a:pt x="9400664" y="3729253"/>
                </a:cubicBezTo>
                <a:cubicBezTo>
                  <a:pt x="9400664" y="3727388"/>
                  <a:pt x="9400265" y="3725659"/>
                  <a:pt x="9399599" y="3724061"/>
                </a:cubicBezTo>
                <a:cubicBezTo>
                  <a:pt x="9398934" y="3722331"/>
                  <a:pt x="9398002" y="3721000"/>
                  <a:pt x="9396937" y="3719802"/>
                </a:cubicBezTo>
                <a:cubicBezTo>
                  <a:pt x="9395872" y="3718737"/>
                  <a:pt x="9394541" y="3717805"/>
                  <a:pt x="9392943" y="3717139"/>
                </a:cubicBezTo>
                <a:cubicBezTo>
                  <a:pt x="9391479" y="3716473"/>
                  <a:pt x="9389749" y="3716208"/>
                  <a:pt x="9387885" y="3716208"/>
                </a:cubicBezTo>
                <a:close/>
                <a:moveTo>
                  <a:pt x="9170374" y="3716208"/>
                </a:moveTo>
                <a:cubicBezTo>
                  <a:pt x="9164649" y="3716208"/>
                  <a:pt x="9161986" y="3718204"/>
                  <a:pt x="9160389" y="3719802"/>
                </a:cubicBezTo>
                <a:cubicBezTo>
                  <a:pt x="9157860" y="3722464"/>
                  <a:pt x="9156795" y="3725259"/>
                  <a:pt x="9156795" y="3729253"/>
                </a:cubicBezTo>
                <a:cubicBezTo>
                  <a:pt x="9156795" y="3733381"/>
                  <a:pt x="9157860" y="3736175"/>
                  <a:pt x="9160389" y="3738705"/>
                </a:cubicBezTo>
                <a:cubicBezTo>
                  <a:pt x="9161986" y="3740302"/>
                  <a:pt x="9164516" y="3742165"/>
                  <a:pt x="9170374" y="3742165"/>
                </a:cubicBezTo>
                <a:cubicBezTo>
                  <a:pt x="9172370" y="3742165"/>
                  <a:pt x="9174100" y="3741766"/>
                  <a:pt x="9175698" y="3741367"/>
                </a:cubicBezTo>
                <a:cubicBezTo>
                  <a:pt x="9177163" y="3740834"/>
                  <a:pt x="9178494" y="3739902"/>
                  <a:pt x="9179425" y="3738970"/>
                </a:cubicBezTo>
                <a:cubicBezTo>
                  <a:pt x="9180491" y="3737772"/>
                  <a:pt x="9181422" y="3736441"/>
                  <a:pt x="9182088" y="3734711"/>
                </a:cubicBezTo>
                <a:cubicBezTo>
                  <a:pt x="9182887" y="3733113"/>
                  <a:pt x="9183152" y="3731250"/>
                  <a:pt x="9183152" y="3729253"/>
                </a:cubicBezTo>
                <a:cubicBezTo>
                  <a:pt x="9183152" y="3727388"/>
                  <a:pt x="9182753" y="3725659"/>
                  <a:pt x="9182088" y="3724061"/>
                </a:cubicBezTo>
                <a:cubicBezTo>
                  <a:pt x="9181422" y="3722331"/>
                  <a:pt x="9180491" y="3721000"/>
                  <a:pt x="9179425" y="3719802"/>
                </a:cubicBezTo>
                <a:cubicBezTo>
                  <a:pt x="9178360" y="3718737"/>
                  <a:pt x="9177029" y="3717805"/>
                  <a:pt x="9175432" y="3717139"/>
                </a:cubicBezTo>
                <a:cubicBezTo>
                  <a:pt x="9173967" y="3716473"/>
                  <a:pt x="9172237" y="3716208"/>
                  <a:pt x="9170374" y="3716208"/>
                </a:cubicBezTo>
                <a:close/>
                <a:moveTo>
                  <a:pt x="8952728" y="3716208"/>
                </a:moveTo>
                <a:cubicBezTo>
                  <a:pt x="8947003" y="3716208"/>
                  <a:pt x="8944340" y="3718204"/>
                  <a:pt x="8942743" y="3719802"/>
                </a:cubicBezTo>
                <a:cubicBezTo>
                  <a:pt x="8940214" y="3722464"/>
                  <a:pt x="8939150" y="3725259"/>
                  <a:pt x="8939150" y="3729253"/>
                </a:cubicBezTo>
                <a:cubicBezTo>
                  <a:pt x="8939150" y="3733381"/>
                  <a:pt x="8940214" y="3736175"/>
                  <a:pt x="8942743" y="3738705"/>
                </a:cubicBezTo>
                <a:cubicBezTo>
                  <a:pt x="8944340" y="3740302"/>
                  <a:pt x="8946870" y="3742165"/>
                  <a:pt x="8952728" y="3742165"/>
                </a:cubicBezTo>
                <a:cubicBezTo>
                  <a:pt x="8954725" y="3742165"/>
                  <a:pt x="8956589" y="3741766"/>
                  <a:pt x="8958053" y="3741367"/>
                </a:cubicBezTo>
                <a:cubicBezTo>
                  <a:pt x="8959517" y="3740834"/>
                  <a:pt x="8960849" y="3739902"/>
                  <a:pt x="8961780" y="3738970"/>
                </a:cubicBezTo>
                <a:cubicBezTo>
                  <a:pt x="8962845" y="3737772"/>
                  <a:pt x="8963777" y="3736441"/>
                  <a:pt x="8964442" y="3734711"/>
                </a:cubicBezTo>
                <a:cubicBezTo>
                  <a:pt x="8965241" y="3733113"/>
                  <a:pt x="8965507" y="3731250"/>
                  <a:pt x="8965507" y="3729253"/>
                </a:cubicBezTo>
                <a:cubicBezTo>
                  <a:pt x="8965507" y="3727388"/>
                  <a:pt x="8965108" y="3725659"/>
                  <a:pt x="8964442" y="3724061"/>
                </a:cubicBezTo>
                <a:cubicBezTo>
                  <a:pt x="8963777" y="3722331"/>
                  <a:pt x="8962845" y="3721000"/>
                  <a:pt x="8961780" y="3719802"/>
                </a:cubicBezTo>
                <a:cubicBezTo>
                  <a:pt x="8960715" y="3718737"/>
                  <a:pt x="8959384" y="3717805"/>
                  <a:pt x="8957786" y="3717139"/>
                </a:cubicBezTo>
                <a:cubicBezTo>
                  <a:pt x="8956322" y="3716473"/>
                  <a:pt x="8954592" y="3716208"/>
                  <a:pt x="8952728" y="3716208"/>
                </a:cubicBezTo>
                <a:close/>
                <a:moveTo>
                  <a:pt x="8735083" y="3716208"/>
                </a:moveTo>
                <a:cubicBezTo>
                  <a:pt x="8729358" y="3716208"/>
                  <a:pt x="8726695" y="3718204"/>
                  <a:pt x="8725098" y="3719802"/>
                </a:cubicBezTo>
                <a:cubicBezTo>
                  <a:pt x="8722569" y="3722464"/>
                  <a:pt x="8721504" y="3725259"/>
                  <a:pt x="8721504" y="3729253"/>
                </a:cubicBezTo>
                <a:cubicBezTo>
                  <a:pt x="8721504" y="3733381"/>
                  <a:pt x="8722569" y="3736175"/>
                  <a:pt x="8725098" y="3738705"/>
                </a:cubicBezTo>
                <a:cubicBezTo>
                  <a:pt x="8726695" y="3740302"/>
                  <a:pt x="8729225" y="3742165"/>
                  <a:pt x="8735083" y="3742165"/>
                </a:cubicBezTo>
                <a:cubicBezTo>
                  <a:pt x="8737079" y="3742165"/>
                  <a:pt x="8738943" y="3741766"/>
                  <a:pt x="8740407" y="3741367"/>
                </a:cubicBezTo>
                <a:cubicBezTo>
                  <a:pt x="8741872" y="3740834"/>
                  <a:pt x="8743203" y="3739902"/>
                  <a:pt x="8744134" y="3738970"/>
                </a:cubicBezTo>
                <a:cubicBezTo>
                  <a:pt x="8745200" y="3737772"/>
                  <a:pt x="8746132" y="3736441"/>
                  <a:pt x="8746797" y="3734711"/>
                </a:cubicBezTo>
                <a:cubicBezTo>
                  <a:pt x="8747596" y="3733113"/>
                  <a:pt x="8747862" y="3731250"/>
                  <a:pt x="8747862" y="3729253"/>
                </a:cubicBezTo>
                <a:cubicBezTo>
                  <a:pt x="8747862" y="3727388"/>
                  <a:pt x="8747462" y="3725659"/>
                  <a:pt x="8746797" y="3724061"/>
                </a:cubicBezTo>
                <a:cubicBezTo>
                  <a:pt x="8746132" y="3722331"/>
                  <a:pt x="8745200" y="3721000"/>
                  <a:pt x="8744134" y="3719802"/>
                </a:cubicBezTo>
                <a:cubicBezTo>
                  <a:pt x="8743069" y="3718737"/>
                  <a:pt x="8741738" y="3717805"/>
                  <a:pt x="8740141" y="3717139"/>
                </a:cubicBezTo>
                <a:cubicBezTo>
                  <a:pt x="8738677" y="3716473"/>
                  <a:pt x="8736946" y="3716208"/>
                  <a:pt x="8735083" y="3716208"/>
                </a:cubicBezTo>
                <a:close/>
                <a:moveTo>
                  <a:pt x="8517438" y="3716208"/>
                </a:moveTo>
                <a:cubicBezTo>
                  <a:pt x="8511713" y="3716208"/>
                  <a:pt x="8509051" y="3718204"/>
                  <a:pt x="8507453" y="3719802"/>
                </a:cubicBezTo>
                <a:cubicBezTo>
                  <a:pt x="8504925" y="3722464"/>
                  <a:pt x="8503860" y="3725259"/>
                  <a:pt x="8503860" y="3729253"/>
                </a:cubicBezTo>
                <a:cubicBezTo>
                  <a:pt x="8503860" y="3733381"/>
                  <a:pt x="8504925" y="3736175"/>
                  <a:pt x="8507453" y="3738705"/>
                </a:cubicBezTo>
                <a:cubicBezTo>
                  <a:pt x="8509051" y="3740302"/>
                  <a:pt x="8511581" y="3742165"/>
                  <a:pt x="8517438" y="3742165"/>
                </a:cubicBezTo>
                <a:cubicBezTo>
                  <a:pt x="8519568" y="3742165"/>
                  <a:pt x="8521299" y="3741766"/>
                  <a:pt x="8522763" y="3741367"/>
                </a:cubicBezTo>
                <a:cubicBezTo>
                  <a:pt x="8524227" y="3740834"/>
                  <a:pt x="8525559" y="3739902"/>
                  <a:pt x="8526490" y="3738970"/>
                </a:cubicBezTo>
                <a:cubicBezTo>
                  <a:pt x="8527555" y="3737772"/>
                  <a:pt x="8528487" y="3736441"/>
                  <a:pt x="8529152" y="3734711"/>
                </a:cubicBezTo>
                <a:cubicBezTo>
                  <a:pt x="8529818" y="3733113"/>
                  <a:pt x="8530084" y="3731250"/>
                  <a:pt x="8530084" y="3729253"/>
                </a:cubicBezTo>
                <a:cubicBezTo>
                  <a:pt x="8530084" y="3727388"/>
                  <a:pt x="8529818" y="3725659"/>
                  <a:pt x="8529152" y="3724061"/>
                </a:cubicBezTo>
                <a:cubicBezTo>
                  <a:pt x="8528487" y="3722331"/>
                  <a:pt x="8527555" y="3721000"/>
                  <a:pt x="8526490" y="3719802"/>
                </a:cubicBezTo>
                <a:cubicBezTo>
                  <a:pt x="8525425" y="3718737"/>
                  <a:pt x="8524094" y="3717805"/>
                  <a:pt x="8522496" y="3717139"/>
                </a:cubicBezTo>
                <a:cubicBezTo>
                  <a:pt x="8521032" y="3716473"/>
                  <a:pt x="8519302" y="3716208"/>
                  <a:pt x="8517438" y="3716208"/>
                </a:cubicBezTo>
                <a:close/>
                <a:moveTo>
                  <a:pt x="8299793" y="3716208"/>
                </a:moveTo>
                <a:cubicBezTo>
                  <a:pt x="8294068" y="3716208"/>
                  <a:pt x="8291406" y="3718204"/>
                  <a:pt x="8289809" y="3719802"/>
                </a:cubicBezTo>
                <a:cubicBezTo>
                  <a:pt x="8287280" y="3722464"/>
                  <a:pt x="8286215" y="3725259"/>
                  <a:pt x="8286215" y="3729253"/>
                </a:cubicBezTo>
                <a:cubicBezTo>
                  <a:pt x="8286215" y="3733381"/>
                  <a:pt x="8287280" y="3736175"/>
                  <a:pt x="8289809" y="3738705"/>
                </a:cubicBezTo>
                <a:cubicBezTo>
                  <a:pt x="8291406" y="3740302"/>
                  <a:pt x="8293935" y="3742165"/>
                  <a:pt x="8299793" y="3742165"/>
                </a:cubicBezTo>
                <a:cubicBezTo>
                  <a:pt x="8301923" y="3742165"/>
                  <a:pt x="8303653" y="3741766"/>
                  <a:pt x="8305118" y="3741367"/>
                </a:cubicBezTo>
                <a:cubicBezTo>
                  <a:pt x="8306582" y="3740834"/>
                  <a:pt x="8307913" y="3739902"/>
                  <a:pt x="8308844" y="3738970"/>
                </a:cubicBezTo>
                <a:cubicBezTo>
                  <a:pt x="8309910" y="3737772"/>
                  <a:pt x="8310842" y="3736441"/>
                  <a:pt x="8311507" y="3734711"/>
                </a:cubicBezTo>
                <a:cubicBezTo>
                  <a:pt x="8312172" y="3733113"/>
                  <a:pt x="8312439" y="3731250"/>
                  <a:pt x="8312439" y="3729253"/>
                </a:cubicBezTo>
                <a:cubicBezTo>
                  <a:pt x="8312439" y="3727388"/>
                  <a:pt x="8312172" y="3725659"/>
                  <a:pt x="8311507" y="3724061"/>
                </a:cubicBezTo>
                <a:cubicBezTo>
                  <a:pt x="8310842" y="3722331"/>
                  <a:pt x="8309910" y="3721000"/>
                  <a:pt x="8308844" y="3719802"/>
                </a:cubicBezTo>
                <a:cubicBezTo>
                  <a:pt x="8307779" y="3718737"/>
                  <a:pt x="8306448" y="3717805"/>
                  <a:pt x="8304851" y="3717139"/>
                </a:cubicBezTo>
                <a:cubicBezTo>
                  <a:pt x="8303387" y="3716473"/>
                  <a:pt x="8301790" y="3716208"/>
                  <a:pt x="8299793" y="3716208"/>
                </a:cubicBezTo>
                <a:close/>
                <a:moveTo>
                  <a:pt x="8082281" y="3716208"/>
                </a:moveTo>
                <a:cubicBezTo>
                  <a:pt x="8076424" y="3716208"/>
                  <a:pt x="8073894" y="3718204"/>
                  <a:pt x="8072297" y="3719802"/>
                </a:cubicBezTo>
                <a:cubicBezTo>
                  <a:pt x="8069768" y="3722464"/>
                  <a:pt x="8068703" y="3725259"/>
                  <a:pt x="8068703" y="3729253"/>
                </a:cubicBezTo>
                <a:cubicBezTo>
                  <a:pt x="8068703" y="3733381"/>
                  <a:pt x="8069768" y="3736175"/>
                  <a:pt x="8072297" y="3738705"/>
                </a:cubicBezTo>
                <a:cubicBezTo>
                  <a:pt x="8073894" y="3740302"/>
                  <a:pt x="8076424" y="3742165"/>
                  <a:pt x="8082281" y="3742165"/>
                </a:cubicBezTo>
                <a:cubicBezTo>
                  <a:pt x="8084277" y="3742165"/>
                  <a:pt x="8086007" y="3741766"/>
                  <a:pt x="8087605" y="3741367"/>
                </a:cubicBezTo>
                <a:cubicBezTo>
                  <a:pt x="8089069" y="3740834"/>
                  <a:pt x="8090401" y="3739902"/>
                  <a:pt x="8091332" y="3738970"/>
                </a:cubicBezTo>
                <a:cubicBezTo>
                  <a:pt x="8092397" y="3737772"/>
                  <a:pt x="8093329" y="3736441"/>
                  <a:pt x="8093994" y="3734711"/>
                </a:cubicBezTo>
                <a:cubicBezTo>
                  <a:pt x="8094660" y="3733113"/>
                  <a:pt x="8094926" y="3731250"/>
                  <a:pt x="8094926" y="3729253"/>
                </a:cubicBezTo>
                <a:cubicBezTo>
                  <a:pt x="8094926" y="3727388"/>
                  <a:pt x="8094660" y="3725659"/>
                  <a:pt x="8093994" y="3724061"/>
                </a:cubicBezTo>
                <a:cubicBezTo>
                  <a:pt x="8093329" y="3722331"/>
                  <a:pt x="8092397" y="3721000"/>
                  <a:pt x="8091332" y="3719802"/>
                </a:cubicBezTo>
                <a:cubicBezTo>
                  <a:pt x="8090267" y="3718737"/>
                  <a:pt x="8088936" y="3717805"/>
                  <a:pt x="8087338" y="3717139"/>
                </a:cubicBezTo>
                <a:cubicBezTo>
                  <a:pt x="8085874" y="3716473"/>
                  <a:pt x="8084277" y="3716208"/>
                  <a:pt x="8082281" y="3716208"/>
                </a:cubicBezTo>
                <a:close/>
                <a:moveTo>
                  <a:pt x="7864636" y="3716208"/>
                </a:moveTo>
                <a:cubicBezTo>
                  <a:pt x="7858779" y="3716208"/>
                  <a:pt x="7856249" y="3718204"/>
                  <a:pt x="7854652" y="3719802"/>
                </a:cubicBezTo>
                <a:cubicBezTo>
                  <a:pt x="7852123" y="3722464"/>
                  <a:pt x="7851058" y="3725259"/>
                  <a:pt x="7851058" y="3729253"/>
                </a:cubicBezTo>
                <a:cubicBezTo>
                  <a:pt x="7851058" y="3733381"/>
                  <a:pt x="7852123" y="3736175"/>
                  <a:pt x="7854652" y="3738705"/>
                </a:cubicBezTo>
                <a:cubicBezTo>
                  <a:pt x="7856249" y="3740302"/>
                  <a:pt x="7858779" y="3742165"/>
                  <a:pt x="7864636" y="3742165"/>
                </a:cubicBezTo>
                <a:cubicBezTo>
                  <a:pt x="7866633" y="3742165"/>
                  <a:pt x="7868363" y="3741766"/>
                  <a:pt x="7869961" y="3741367"/>
                </a:cubicBezTo>
                <a:cubicBezTo>
                  <a:pt x="7871425" y="3740834"/>
                  <a:pt x="7872756" y="3739902"/>
                  <a:pt x="7873687" y="3738970"/>
                </a:cubicBezTo>
                <a:cubicBezTo>
                  <a:pt x="7874753" y="3737772"/>
                  <a:pt x="7875685" y="3736441"/>
                  <a:pt x="7876350" y="3734711"/>
                </a:cubicBezTo>
                <a:cubicBezTo>
                  <a:pt x="7877015" y="3733113"/>
                  <a:pt x="7877282" y="3731250"/>
                  <a:pt x="7877282" y="3729253"/>
                </a:cubicBezTo>
                <a:cubicBezTo>
                  <a:pt x="7877282" y="3727388"/>
                  <a:pt x="7877015" y="3725659"/>
                  <a:pt x="7876350" y="3724061"/>
                </a:cubicBezTo>
                <a:cubicBezTo>
                  <a:pt x="7875685" y="3722331"/>
                  <a:pt x="7874753" y="3721000"/>
                  <a:pt x="7873687" y="3719802"/>
                </a:cubicBezTo>
                <a:cubicBezTo>
                  <a:pt x="7872623" y="3718737"/>
                  <a:pt x="7871291" y="3717805"/>
                  <a:pt x="7869694" y="3717139"/>
                </a:cubicBezTo>
                <a:cubicBezTo>
                  <a:pt x="7868230" y="3716473"/>
                  <a:pt x="7866633" y="3716208"/>
                  <a:pt x="7864636" y="3716208"/>
                </a:cubicBezTo>
                <a:close/>
                <a:moveTo>
                  <a:pt x="7646991" y="3716208"/>
                </a:moveTo>
                <a:cubicBezTo>
                  <a:pt x="7641134" y="3716208"/>
                  <a:pt x="7638604" y="3718204"/>
                  <a:pt x="7637007" y="3719802"/>
                </a:cubicBezTo>
                <a:cubicBezTo>
                  <a:pt x="7634478" y="3722464"/>
                  <a:pt x="7633413" y="3725259"/>
                  <a:pt x="7633413" y="3729253"/>
                </a:cubicBezTo>
                <a:cubicBezTo>
                  <a:pt x="7633413" y="3733381"/>
                  <a:pt x="7634478" y="3736175"/>
                  <a:pt x="7637007" y="3738705"/>
                </a:cubicBezTo>
                <a:cubicBezTo>
                  <a:pt x="7638604" y="3740302"/>
                  <a:pt x="7641134" y="3742165"/>
                  <a:pt x="7646991" y="3742165"/>
                </a:cubicBezTo>
                <a:cubicBezTo>
                  <a:pt x="7648987" y="3742165"/>
                  <a:pt x="7650851" y="3741766"/>
                  <a:pt x="7652315" y="3741367"/>
                </a:cubicBezTo>
                <a:cubicBezTo>
                  <a:pt x="7653780" y="3740834"/>
                  <a:pt x="7655111" y="3739902"/>
                  <a:pt x="7656042" y="3738970"/>
                </a:cubicBezTo>
                <a:cubicBezTo>
                  <a:pt x="7657108" y="3737772"/>
                  <a:pt x="7658039" y="3736441"/>
                  <a:pt x="7658705" y="3734711"/>
                </a:cubicBezTo>
                <a:cubicBezTo>
                  <a:pt x="7659504" y="3733113"/>
                  <a:pt x="7659769" y="3731250"/>
                  <a:pt x="7659769" y="3729253"/>
                </a:cubicBezTo>
                <a:cubicBezTo>
                  <a:pt x="7659769" y="3727388"/>
                  <a:pt x="7659370" y="3725659"/>
                  <a:pt x="7658705" y="3724061"/>
                </a:cubicBezTo>
                <a:cubicBezTo>
                  <a:pt x="7658039" y="3722331"/>
                  <a:pt x="7657108" y="3721000"/>
                  <a:pt x="7656042" y="3719802"/>
                </a:cubicBezTo>
                <a:cubicBezTo>
                  <a:pt x="7654977" y="3718737"/>
                  <a:pt x="7653646" y="3717805"/>
                  <a:pt x="7652049" y="3717139"/>
                </a:cubicBezTo>
                <a:cubicBezTo>
                  <a:pt x="7650584" y="3716473"/>
                  <a:pt x="7648987" y="3716208"/>
                  <a:pt x="7646991" y="3716208"/>
                </a:cubicBezTo>
                <a:close/>
                <a:moveTo>
                  <a:pt x="7429345" y="3716208"/>
                </a:moveTo>
                <a:cubicBezTo>
                  <a:pt x="7423488" y="3716208"/>
                  <a:pt x="7420958" y="3718204"/>
                  <a:pt x="7419361" y="3719802"/>
                </a:cubicBezTo>
                <a:cubicBezTo>
                  <a:pt x="7416832" y="3722464"/>
                  <a:pt x="7415768" y="3725259"/>
                  <a:pt x="7415768" y="3729253"/>
                </a:cubicBezTo>
                <a:cubicBezTo>
                  <a:pt x="7415768" y="3733381"/>
                  <a:pt x="7416832" y="3736175"/>
                  <a:pt x="7419361" y="3738705"/>
                </a:cubicBezTo>
                <a:cubicBezTo>
                  <a:pt x="7420958" y="3740302"/>
                  <a:pt x="7423488" y="3742165"/>
                  <a:pt x="7429345" y="3742165"/>
                </a:cubicBezTo>
                <a:cubicBezTo>
                  <a:pt x="7431342" y="3742165"/>
                  <a:pt x="7433206" y="3741766"/>
                  <a:pt x="7434670" y="3741367"/>
                </a:cubicBezTo>
                <a:cubicBezTo>
                  <a:pt x="7436134" y="3740834"/>
                  <a:pt x="7437466" y="3739902"/>
                  <a:pt x="7438397" y="3738970"/>
                </a:cubicBezTo>
                <a:cubicBezTo>
                  <a:pt x="7439462" y="3737772"/>
                  <a:pt x="7440394" y="3736441"/>
                  <a:pt x="7441059" y="3734711"/>
                </a:cubicBezTo>
                <a:cubicBezTo>
                  <a:pt x="7441858" y="3733113"/>
                  <a:pt x="7442124" y="3731250"/>
                  <a:pt x="7442124" y="3729253"/>
                </a:cubicBezTo>
                <a:cubicBezTo>
                  <a:pt x="7442124" y="3727388"/>
                  <a:pt x="7441725" y="3725659"/>
                  <a:pt x="7441059" y="3724061"/>
                </a:cubicBezTo>
                <a:cubicBezTo>
                  <a:pt x="7440394" y="3722331"/>
                  <a:pt x="7439462" y="3721000"/>
                  <a:pt x="7438397" y="3719802"/>
                </a:cubicBezTo>
                <a:cubicBezTo>
                  <a:pt x="7437332" y="3718737"/>
                  <a:pt x="7436001" y="3717805"/>
                  <a:pt x="7434403" y="3717139"/>
                </a:cubicBezTo>
                <a:cubicBezTo>
                  <a:pt x="7432939" y="3716473"/>
                  <a:pt x="7431342" y="3716208"/>
                  <a:pt x="7429345" y="3716208"/>
                </a:cubicBezTo>
                <a:close/>
                <a:moveTo>
                  <a:pt x="7211701" y="3716208"/>
                </a:moveTo>
                <a:cubicBezTo>
                  <a:pt x="7205844" y="3716208"/>
                  <a:pt x="7203314" y="3718204"/>
                  <a:pt x="7201717" y="3719802"/>
                </a:cubicBezTo>
                <a:cubicBezTo>
                  <a:pt x="7199188" y="3722464"/>
                  <a:pt x="7198123" y="3725259"/>
                  <a:pt x="7198123" y="3729253"/>
                </a:cubicBezTo>
                <a:cubicBezTo>
                  <a:pt x="7198123" y="3733381"/>
                  <a:pt x="7199188" y="3736175"/>
                  <a:pt x="7201717" y="3738705"/>
                </a:cubicBezTo>
                <a:cubicBezTo>
                  <a:pt x="7203314" y="3740302"/>
                  <a:pt x="7205844" y="3742165"/>
                  <a:pt x="7211701" y="3742165"/>
                </a:cubicBezTo>
                <a:cubicBezTo>
                  <a:pt x="7213830" y="3742165"/>
                  <a:pt x="7215561" y="3741766"/>
                  <a:pt x="7217026" y="3741367"/>
                </a:cubicBezTo>
                <a:cubicBezTo>
                  <a:pt x="7218490" y="3740834"/>
                  <a:pt x="7219821" y="3739902"/>
                  <a:pt x="7220752" y="3738970"/>
                </a:cubicBezTo>
                <a:cubicBezTo>
                  <a:pt x="7221818" y="3737772"/>
                  <a:pt x="7222750" y="3736441"/>
                  <a:pt x="7223415" y="3734711"/>
                </a:cubicBezTo>
                <a:cubicBezTo>
                  <a:pt x="7224214" y="3733113"/>
                  <a:pt x="7224480" y="3731250"/>
                  <a:pt x="7224480" y="3729253"/>
                </a:cubicBezTo>
                <a:cubicBezTo>
                  <a:pt x="7224480" y="3727388"/>
                  <a:pt x="7224080" y="3725659"/>
                  <a:pt x="7223415" y="3724061"/>
                </a:cubicBezTo>
                <a:cubicBezTo>
                  <a:pt x="7222750" y="3722331"/>
                  <a:pt x="7221818" y="3721000"/>
                  <a:pt x="7220752" y="3719802"/>
                </a:cubicBezTo>
                <a:cubicBezTo>
                  <a:pt x="7219687" y="3718737"/>
                  <a:pt x="7218356" y="3717805"/>
                  <a:pt x="7216759" y="3717139"/>
                </a:cubicBezTo>
                <a:cubicBezTo>
                  <a:pt x="7215295" y="3716473"/>
                  <a:pt x="7213698" y="3716208"/>
                  <a:pt x="7211701" y="3716208"/>
                </a:cubicBezTo>
                <a:close/>
                <a:moveTo>
                  <a:pt x="6994056" y="3716208"/>
                </a:moveTo>
                <a:cubicBezTo>
                  <a:pt x="6988199" y="3716208"/>
                  <a:pt x="6985669" y="3718204"/>
                  <a:pt x="6984072" y="3719802"/>
                </a:cubicBezTo>
                <a:cubicBezTo>
                  <a:pt x="6981543" y="3722464"/>
                  <a:pt x="6980478" y="3725259"/>
                  <a:pt x="6980478" y="3729253"/>
                </a:cubicBezTo>
                <a:cubicBezTo>
                  <a:pt x="6980478" y="3733381"/>
                  <a:pt x="6981543" y="3736175"/>
                  <a:pt x="6984072" y="3738705"/>
                </a:cubicBezTo>
                <a:cubicBezTo>
                  <a:pt x="6985669" y="3740302"/>
                  <a:pt x="6988199" y="3742165"/>
                  <a:pt x="6994056" y="3742165"/>
                </a:cubicBezTo>
                <a:cubicBezTo>
                  <a:pt x="6996185" y="3742165"/>
                  <a:pt x="6997916" y="3741766"/>
                  <a:pt x="6999380" y="3741367"/>
                </a:cubicBezTo>
                <a:cubicBezTo>
                  <a:pt x="7000844" y="3740834"/>
                  <a:pt x="7002176" y="3739902"/>
                  <a:pt x="7003107" y="3738970"/>
                </a:cubicBezTo>
                <a:cubicBezTo>
                  <a:pt x="7004172" y="3737772"/>
                  <a:pt x="7005104" y="3736441"/>
                  <a:pt x="7005769" y="3734711"/>
                </a:cubicBezTo>
                <a:cubicBezTo>
                  <a:pt x="7006568" y="3733113"/>
                  <a:pt x="7006834" y="3731250"/>
                  <a:pt x="7006834" y="3729253"/>
                </a:cubicBezTo>
                <a:cubicBezTo>
                  <a:pt x="7006834" y="3727388"/>
                  <a:pt x="7006435" y="3725659"/>
                  <a:pt x="7005769" y="3724061"/>
                </a:cubicBezTo>
                <a:cubicBezTo>
                  <a:pt x="7005104" y="3722331"/>
                  <a:pt x="7004172" y="3721000"/>
                  <a:pt x="7003107" y="3719802"/>
                </a:cubicBezTo>
                <a:cubicBezTo>
                  <a:pt x="7002042" y="3718737"/>
                  <a:pt x="7000711" y="3717805"/>
                  <a:pt x="6999113" y="3717139"/>
                </a:cubicBezTo>
                <a:cubicBezTo>
                  <a:pt x="6997649" y="3716473"/>
                  <a:pt x="6996052" y="3716208"/>
                  <a:pt x="6994056" y="3716208"/>
                </a:cubicBezTo>
                <a:close/>
                <a:moveTo>
                  <a:pt x="6776544" y="3716208"/>
                </a:moveTo>
                <a:cubicBezTo>
                  <a:pt x="6770687" y="3716208"/>
                  <a:pt x="6768157" y="3718204"/>
                  <a:pt x="6766560" y="3719802"/>
                </a:cubicBezTo>
                <a:cubicBezTo>
                  <a:pt x="6764031" y="3722464"/>
                  <a:pt x="6762966" y="3725259"/>
                  <a:pt x="6762966" y="3729253"/>
                </a:cubicBezTo>
                <a:cubicBezTo>
                  <a:pt x="6762966" y="3733381"/>
                  <a:pt x="6764031" y="3736175"/>
                  <a:pt x="6766560" y="3738705"/>
                </a:cubicBezTo>
                <a:cubicBezTo>
                  <a:pt x="6768157" y="3740302"/>
                  <a:pt x="6770687" y="3742165"/>
                  <a:pt x="6776544" y="3742165"/>
                </a:cubicBezTo>
                <a:cubicBezTo>
                  <a:pt x="6778541" y="3742165"/>
                  <a:pt x="6780270" y="3741766"/>
                  <a:pt x="6781869" y="3741367"/>
                </a:cubicBezTo>
                <a:cubicBezTo>
                  <a:pt x="6783333" y="3740834"/>
                  <a:pt x="6784664" y="3739902"/>
                  <a:pt x="6785595" y="3738970"/>
                </a:cubicBezTo>
                <a:cubicBezTo>
                  <a:pt x="6786661" y="3737772"/>
                  <a:pt x="6787593" y="3736441"/>
                  <a:pt x="6788258" y="3734711"/>
                </a:cubicBezTo>
                <a:cubicBezTo>
                  <a:pt x="6789057" y="3733113"/>
                  <a:pt x="6789323" y="3731250"/>
                  <a:pt x="6789323" y="3729253"/>
                </a:cubicBezTo>
                <a:cubicBezTo>
                  <a:pt x="6789323" y="3727388"/>
                  <a:pt x="6788923" y="3725659"/>
                  <a:pt x="6788258" y="3724061"/>
                </a:cubicBezTo>
                <a:cubicBezTo>
                  <a:pt x="6787593" y="3722331"/>
                  <a:pt x="6786661" y="3721000"/>
                  <a:pt x="6785595" y="3719802"/>
                </a:cubicBezTo>
                <a:cubicBezTo>
                  <a:pt x="6784530" y="3718737"/>
                  <a:pt x="6783199" y="3717805"/>
                  <a:pt x="6781602" y="3717139"/>
                </a:cubicBezTo>
                <a:cubicBezTo>
                  <a:pt x="6780138" y="3716473"/>
                  <a:pt x="6778541" y="3716208"/>
                  <a:pt x="6776544" y="3716208"/>
                </a:cubicBezTo>
                <a:close/>
                <a:moveTo>
                  <a:pt x="6558899" y="3716208"/>
                </a:moveTo>
                <a:cubicBezTo>
                  <a:pt x="6553042" y="3716208"/>
                  <a:pt x="6550512" y="3718204"/>
                  <a:pt x="6548915" y="3719802"/>
                </a:cubicBezTo>
                <a:cubicBezTo>
                  <a:pt x="6546386" y="3722464"/>
                  <a:pt x="6545321" y="3725259"/>
                  <a:pt x="6545321" y="3729253"/>
                </a:cubicBezTo>
                <a:cubicBezTo>
                  <a:pt x="6545321" y="3733381"/>
                  <a:pt x="6546386" y="3736175"/>
                  <a:pt x="6548915" y="3738705"/>
                </a:cubicBezTo>
                <a:cubicBezTo>
                  <a:pt x="6550512" y="3740302"/>
                  <a:pt x="6553042" y="3742165"/>
                  <a:pt x="6558899" y="3742165"/>
                </a:cubicBezTo>
                <a:cubicBezTo>
                  <a:pt x="6560895" y="3742165"/>
                  <a:pt x="6562759" y="3741766"/>
                  <a:pt x="6564223" y="3741367"/>
                </a:cubicBezTo>
                <a:cubicBezTo>
                  <a:pt x="6565687" y="3740834"/>
                  <a:pt x="6567019" y="3739902"/>
                  <a:pt x="6567950" y="3738970"/>
                </a:cubicBezTo>
                <a:cubicBezTo>
                  <a:pt x="6569015" y="3737772"/>
                  <a:pt x="6569947" y="3736441"/>
                  <a:pt x="6570612" y="3734711"/>
                </a:cubicBezTo>
                <a:cubicBezTo>
                  <a:pt x="6571412" y="3733113"/>
                  <a:pt x="6571677" y="3731250"/>
                  <a:pt x="6571677" y="3729253"/>
                </a:cubicBezTo>
                <a:cubicBezTo>
                  <a:pt x="6571677" y="3727388"/>
                  <a:pt x="6571278" y="3725659"/>
                  <a:pt x="6570612" y="3724061"/>
                </a:cubicBezTo>
                <a:cubicBezTo>
                  <a:pt x="6569947" y="3722331"/>
                  <a:pt x="6569015" y="3721000"/>
                  <a:pt x="6567950" y="3719802"/>
                </a:cubicBezTo>
                <a:cubicBezTo>
                  <a:pt x="6566885" y="3718737"/>
                  <a:pt x="6565554" y="3717805"/>
                  <a:pt x="6563956" y="3717139"/>
                </a:cubicBezTo>
                <a:cubicBezTo>
                  <a:pt x="6562492" y="3716473"/>
                  <a:pt x="6560895" y="3716208"/>
                  <a:pt x="6558899" y="3716208"/>
                </a:cubicBezTo>
                <a:close/>
                <a:moveTo>
                  <a:pt x="6341253" y="3716208"/>
                </a:moveTo>
                <a:cubicBezTo>
                  <a:pt x="6335396" y="3716208"/>
                  <a:pt x="6332867" y="3718204"/>
                  <a:pt x="6331270" y="3719802"/>
                </a:cubicBezTo>
                <a:cubicBezTo>
                  <a:pt x="6328740" y="3722464"/>
                  <a:pt x="6327675" y="3725259"/>
                  <a:pt x="6327675" y="3729253"/>
                </a:cubicBezTo>
                <a:cubicBezTo>
                  <a:pt x="6327675" y="3733381"/>
                  <a:pt x="6328740" y="3736175"/>
                  <a:pt x="6331270" y="3738705"/>
                </a:cubicBezTo>
                <a:cubicBezTo>
                  <a:pt x="6332867" y="3740302"/>
                  <a:pt x="6335396" y="3742165"/>
                  <a:pt x="6341253" y="3742165"/>
                </a:cubicBezTo>
                <a:cubicBezTo>
                  <a:pt x="6343250" y="3742165"/>
                  <a:pt x="6345114" y="3741766"/>
                  <a:pt x="6346578" y="3741367"/>
                </a:cubicBezTo>
                <a:cubicBezTo>
                  <a:pt x="6348042" y="3740834"/>
                  <a:pt x="6349373" y="3739902"/>
                  <a:pt x="6350305" y="3738970"/>
                </a:cubicBezTo>
                <a:cubicBezTo>
                  <a:pt x="6351370" y="3737772"/>
                  <a:pt x="6352302" y="3736441"/>
                  <a:pt x="6352968" y="3734711"/>
                </a:cubicBezTo>
                <a:cubicBezTo>
                  <a:pt x="6353766" y="3733113"/>
                  <a:pt x="6354033" y="3731250"/>
                  <a:pt x="6354033" y="3729253"/>
                </a:cubicBezTo>
                <a:cubicBezTo>
                  <a:pt x="6354033" y="3727388"/>
                  <a:pt x="6353633" y="3725659"/>
                  <a:pt x="6352968" y="3724061"/>
                </a:cubicBezTo>
                <a:cubicBezTo>
                  <a:pt x="6352302" y="3722331"/>
                  <a:pt x="6351370" y="3721000"/>
                  <a:pt x="6350305" y="3719802"/>
                </a:cubicBezTo>
                <a:cubicBezTo>
                  <a:pt x="6349241" y="3718737"/>
                  <a:pt x="6347909" y="3717805"/>
                  <a:pt x="6346312" y="3717139"/>
                </a:cubicBezTo>
                <a:cubicBezTo>
                  <a:pt x="6344848" y="3716473"/>
                  <a:pt x="6343250" y="3716208"/>
                  <a:pt x="6341253" y="3716208"/>
                </a:cubicBezTo>
                <a:close/>
                <a:moveTo>
                  <a:pt x="6123608" y="3716208"/>
                </a:moveTo>
                <a:cubicBezTo>
                  <a:pt x="6117751" y="3716208"/>
                  <a:pt x="6115221" y="3718204"/>
                  <a:pt x="6113624" y="3719802"/>
                </a:cubicBezTo>
                <a:cubicBezTo>
                  <a:pt x="6111095" y="3722464"/>
                  <a:pt x="6110030" y="3725259"/>
                  <a:pt x="6110030" y="3729253"/>
                </a:cubicBezTo>
                <a:cubicBezTo>
                  <a:pt x="6110030" y="3733381"/>
                  <a:pt x="6111095" y="3736175"/>
                  <a:pt x="6113624" y="3738705"/>
                </a:cubicBezTo>
                <a:cubicBezTo>
                  <a:pt x="6115221" y="3740302"/>
                  <a:pt x="6117751" y="3742165"/>
                  <a:pt x="6123608" y="3742165"/>
                </a:cubicBezTo>
                <a:cubicBezTo>
                  <a:pt x="6125737" y="3742165"/>
                  <a:pt x="6127468" y="3741766"/>
                  <a:pt x="6128932" y="3741367"/>
                </a:cubicBezTo>
                <a:cubicBezTo>
                  <a:pt x="6130530" y="3740834"/>
                  <a:pt x="6131728" y="3739902"/>
                  <a:pt x="6132659" y="3738970"/>
                </a:cubicBezTo>
                <a:cubicBezTo>
                  <a:pt x="6133724" y="3737772"/>
                  <a:pt x="6134656" y="3736441"/>
                  <a:pt x="6135322" y="3734711"/>
                </a:cubicBezTo>
                <a:cubicBezTo>
                  <a:pt x="6135987" y="3733113"/>
                  <a:pt x="6136387" y="3731250"/>
                  <a:pt x="6136387" y="3729253"/>
                </a:cubicBezTo>
                <a:cubicBezTo>
                  <a:pt x="6136387" y="3727388"/>
                  <a:pt x="6135987" y="3725659"/>
                  <a:pt x="6135322" y="3724061"/>
                </a:cubicBezTo>
                <a:cubicBezTo>
                  <a:pt x="6134656" y="3722331"/>
                  <a:pt x="6133724" y="3721000"/>
                  <a:pt x="6132659" y="3719802"/>
                </a:cubicBezTo>
                <a:cubicBezTo>
                  <a:pt x="6131594" y="3718737"/>
                  <a:pt x="6130263" y="3717805"/>
                  <a:pt x="6128666" y="3717139"/>
                </a:cubicBezTo>
                <a:cubicBezTo>
                  <a:pt x="6127202" y="3716473"/>
                  <a:pt x="6125604" y="3716208"/>
                  <a:pt x="6123608" y="3716208"/>
                </a:cubicBezTo>
                <a:close/>
                <a:moveTo>
                  <a:pt x="5905963" y="3716208"/>
                </a:moveTo>
                <a:cubicBezTo>
                  <a:pt x="5900106" y="3716208"/>
                  <a:pt x="5897576" y="3718204"/>
                  <a:pt x="5895979" y="3719802"/>
                </a:cubicBezTo>
                <a:cubicBezTo>
                  <a:pt x="5893450" y="3722464"/>
                  <a:pt x="5892385" y="3725259"/>
                  <a:pt x="5892385" y="3729253"/>
                </a:cubicBezTo>
                <a:cubicBezTo>
                  <a:pt x="5892385" y="3733381"/>
                  <a:pt x="5893450" y="3736175"/>
                  <a:pt x="5895979" y="3738705"/>
                </a:cubicBezTo>
                <a:cubicBezTo>
                  <a:pt x="5897576" y="3740302"/>
                  <a:pt x="5900106" y="3742165"/>
                  <a:pt x="5905963" y="3742165"/>
                </a:cubicBezTo>
                <a:cubicBezTo>
                  <a:pt x="5908093" y="3742165"/>
                  <a:pt x="5909823" y="3741766"/>
                  <a:pt x="5911287" y="3741367"/>
                </a:cubicBezTo>
                <a:cubicBezTo>
                  <a:pt x="5912751" y="3740834"/>
                  <a:pt x="5914083" y="3739902"/>
                  <a:pt x="5915014" y="3738970"/>
                </a:cubicBezTo>
                <a:cubicBezTo>
                  <a:pt x="5916079" y="3737772"/>
                  <a:pt x="5917011" y="3736441"/>
                  <a:pt x="5917677" y="3734711"/>
                </a:cubicBezTo>
                <a:cubicBezTo>
                  <a:pt x="5918342" y="3733113"/>
                  <a:pt x="5918742" y="3731250"/>
                  <a:pt x="5918742" y="3729253"/>
                </a:cubicBezTo>
                <a:cubicBezTo>
                  <a:pt x="5918742" y="3727388"/>
                  <a:pt x="5918342" y="3725659"/>
                  <a:pt x="5917677" y="3724061"/>
                </a:cubicBezTo>
                <a:cubicBezTo>
                  <a:pt x="5917011" y="3722331"/>
                  <a:pt x="5916079" y="3721000"/>
                  <a:pt x="5915014" y="3719802"/>
                </a:cubicBezTo>
                <a:cubicBezTo>
                  <a:pt x="5913950" y="3718737"/>
                  <a:pt x="5912618" y="3717805"/>
                  <a:pt x="5911021" y="3717139"/>
                </a:cubicBezTo>
                <a:cubicBezTo>
                  <a:pt x="5909557" y="3716473"/>
                  <a:pt x="5907826" y="3716208"/>
                  <a:pt x="5905963" y="3716208"/>
                </a:cubicBezTo>
                <a:close/>
                <a:moveTo>
                  <a:pt x="5688451" y="3716208"/>
                </a:moveTo>
                <a:cubicBezTo>
                  <a:pt x="5682594" y="3716208"/>
                  <a:pt x="5680064" y="3718204"/>
                  <a:pt x="5678467" y="3719802"/>
                </a:cubicBezTo>
                <a:cubicBezTo>
                  <a:pt x="5675938" y="3722464"/>
                  <a:pt x="5674873" y="3725259"/>
                  <a:pt x="5674873" y="3729253"/>
                </a:cubicBezTo>
                <a:cubicBezTo>
                  <a:pt x="5674873" y="3733381"/>
                  <a:pt x="5675938" y="3736175"/>
                  <a:pt x="5678467" y="3738705"/>
                </a:cubicBezTo>
                <a:cubicBezTo>
                  <a:pt x="5680064" y="3740302"/>
                  <a:pt x="5682594" y="3742165"/>
                  <a:pt x="5688451" y="3742165"/>
                </a:cubicBezTo>
                <a:cubicBezTo>
                  <a:pt x="5690447" y="3742165"/>
                  <a:pt x="5692178" y="3741766"/>
                  <a:pt x="5693775" y="3741367"/>
                </a:cubicBezTo>
                <a:cubicBezTo>
                  <a:pt x="5695239" y="3740834"/>
                  <a:pt x="5696571" y="3739902"/>
                  <a:pt x="5697502" y="3738970"/>
                </a:cubicBezTo>
                <a:cubicBezTo>
                  <a:pt x="5698567" y="3737772"/>
                  <a:pt x="5699499" y="3736441"/>
                  <a:pt x="5700165" y="3734711"/>
                </a:cubicBezTo>
                <a:cubicBezTo>
                  <a:pt x="5700830" y="3733113"/>
                  <a:pt x="5701230" y="3731250"/>
                  <a:pt x="5701230" y="3729253"/>
                </a:cubicBezTo>
                <a:cubicBezTo>
                  <a:pt x="5701230" y="3727388"/>
                  <a:pt x="5700830" y="3725659"/>
                  <a:pt x="5700165" y="3724061"/>
                </a:cubicBezTo>
                <a:cubicBezTo>
                  <a:pt x="5699499" y="3722331"/>
                  <a:pt x="5698567" y="3721000"/>
                  <a:pt x="5697502" y="3719802"/>
                </a:cubicBezTo>
                <a:cubicBezTo>
                  <a:pt x="5696437" y="3718737"/>
                  <a:pt x="5695106" y="3717805"/>
                  <a:pt x="5693509" y="3717139"/>
                </a:cubicBezTo>
                <a:cubicBezTo>
                  <a:pt x="5692045" y="3716473"/>
                  <a:pt x="5690314" y="3716208"/>
                  <a:pt x="5688451" y="3716208"/>
                </a:cubicBezTo>
                <a:close/>
                <a:moveTo>
                  <a:pt x="5470806" y="3716208"/>
                </a:moveTo>
                <a:cubicBezTo>
                  <a:pt x="5464949" y="3716208"/>
                  <a:pt x="5462419" y="3718204"/>
                  <a:pt x="5460822" y="3719802"/>
                </a:cubicBezTo>
                <a:cubicBezTo>
                  <a:pt x="5458293" y="3722464"/>
                  <a:pt x="5457228" y="3725259"/>
                  <a:pt x="5457228" y="3729253"/>
                </a:cubicBezTo>
                <a:cubicBezTo>
                  <a:pt x="5457228" y="3733381"/>
                  <a:pt x="5458293" y="3736175"/>
                  <a:pt x="5460822" y="3738705"/>
                </a:cubicBezTo>
                <a:cubicBezTo>
                  <a:pt x="5462419" y="3740302"/>
                  <a:pt x="5464949" y="3742165"/>
                  <a:pt x="5470806" y="3742165"/>
                </a:cubicBezTo>
                <a:cubicBezTo>
                  <a:pt x="5472802" y="3742165"/>
                  <a:pt x="5474666" y="3741766"/>
                  <a:pt x="5476130" y="3741367"/>
                </a:cubicBezTo>
                <a:cubicBezTo>
                  <a:pt x="5477594" y="3740834"/>
                  <a:pt x="5478926" y="3739902"/>
                  <a:pt x="5479857" y="3738970"/>
                </a:cubicBezTo>
                <a:cubicBezTo>
                  <a:pt x="5480922" y="3737772"/>
                  <a:pt x="5481854" y="3736441"/>
                  <a:pt x="5482520" y="3734711"/>
                </a:cubicBezTo>
                <a:cubicBezTo>
                  <a:pt x="5483319" y="3733113"/>
                  <a:pt x="5483585" y="3731250"/>
                  <a:pt x="5483585" y="3729253"/>
                </a:cubicBezTo>
                <a:cubicBezTo>
                  <a:pt x="5483585" y="3727388"/>
                  <a:pt x="5483185" y="3725659"/>
                  <a:pt x="5482520" y="3724061"/>
                </a:cubicBezTo>
                <a:cubicBezTo>
                  <a:pt x="5481854" y="3722331"/>
                  <a:pt x="5480922" y="3721000"/>
                  <a:pt x="5479857" y="3719802"/>
                </a:cubicBezTo>
                <a:cubicBezTo>
                  <a:pt x="5478793" y="3718737"/>
                  <a:pt x="5477461" y="3717805"/>
                  <a:pt x="5475864" y="3717139"/>
                </a:cubicBezTo>
                <a:cubicBezTo>
                  <a:pt x="5474400" y="3716473"/>
                  <a:pt x="5472669" y="3716208"/>
                  <a:pt x="5470806" y="3716208"/>
                </a:cubicBezTo>
                <a:close/>
                <a:moveTo>
                  <a:pt x="5253160" y="3716208"/>
                </a:moveTo>
                <a:cubicBezTo>
                  <a:pt x="5247303" y="3716208"/>
                  <a:pt x="5244774" y="3718204"/>
                  <a:pt x="5243177" y="3719802"/>
                </a:cubicBezTo>
                <a:cubicBezTo>
                  <a:pt x="5240647" y="3722464"/>
                  <a:pt x="5239583" y="3725259"/>
                  <a:pt x="5239583" y="3729253"/>
                </a:cubicBezTo>
                <a:cubicBezTo>
                  <a:pt x="5239583" y="3733381"/>
                  <a:pt x="5240647" y="3736175"/>
                  <a:pt x="5243177" y="3738705"/>
                </a:cubicBezTo>
                <a:cubicBezTo>
                  <a:pt x="5244774" y="3740302"/>
                  <a:pt x="5247303" y="3742165"/>
                  <a:pt x="5253160" y="3742165"/>
                </a:cubicBezTo>
                <a:cubicBezTo>
                  <a:pt x="5255157" y="3742165"/>
                  <a:pt x="5257021" y="3741766"/>
                  <a:pt x="5258485" y="3741367"/>
                </a:cubicBezTo>
                <a:cubicBezTo>
                  <a:pt x="5259949" y="3740834"/>
                  <a:pt x="5261280" y="3739902"/>
                  <a:pt x="5262212" y="3738970"/>
                </a:cubicBezTo>
                <a:cubicBezTo>
                  <a:pt x="5263277" y="3737772"/>
                  <a:pt x="5264209" y="3736441"/>
                  <a:pt x="5264875" y="3734711"/>
                </a:cubicBezTo>
                <a:cubicBezTo>
                  <a:pt x="5265673" y="3733113"/>
                  <a:pt x="5265939" y="3731250"/>
                  <a:pt x="5265939" y="3729253"/>
                </a:cubicBezTo>
                <a:cubicBezTo>
                  <a:pt x="5265939" y="3727388"/>
                  <a:pt x="5265540" y="3725659"/>
                  <a:pt x="5264875" y="3724061"/>
                </a:cubicBezTo>
                <a:cubicBezTo>
                  <a:pt x="5264209" y="3722331"/>
                  <a:pt x="5263277" y="3721000"/>
                  <a:pt x="5262212" y="3719802"/>
                </a:cubicBezTo>
                <a:cubicBezTo>
                  <a:pt x="5261147" y="3718737"/>
                  <a:pt x="5259816" y="3717805"/>
                  <a:pt x="5258219" y="3717139"/>
                </a:cubicBezTo>
                <a:cubicBezTo>
                  <a:pt x="5256754" y="3716473"/>
                  <a:pt x="5255024" y="3716208"/>
                  <a:pt x="5253160" y="3716208"/>
                </a:cubicBezTo>
                <a:close/>
                <a:moveTo>
                  <a:pt x="5035515" y="3716208"/>
                </a:moveTo>
                <a:cubicBezTo>
                  <a:pt x="5029658" y="3716208"/>
                  <a:pt x="5027129" y="3718204"/>
                  <a:pt x="5025532" y="3719802"/>
                </a:cubicBezTo>
                <a:cubicBezTo>
                  <a:pt x="5023002" y="3722464"/>
                  <a:pt x="5021938" y="3725259"/>
                  <a:pt x="5021938" y="3729253"/>
                </a:cubicBezTo>
                <a:cubicBezTo>
                  <a:pt x="5021938" y="3733381"/>
                  <a:pt x="5023002" y="3736175"/>
                  <a:pt x="5025532" y="3738705"/>
                </a:cubicBezTo>
                <a:cubicBezTo>
                  <a:pt x="5027129" y="3740302"/>
                  <a:pt x="5029658" y="3742165"/>
                  <a:pt x="5035515" y="3742165"/>
                </a:cubicBezTo>
                <a:cubicBezTo>
                  <a:pt x="5037645" y="3742165"/>
                  <a:pt x="5039376" y="3741766"/>
                  <a:pt x="5040840" y="3741367"/>
                </a:cubicBezTo>
                <a:cubicBezTo>
                  <a:pt x="5042304" y="3740834"/>
                  <a:pt x="5043636" y="3739902"/>
                  <a:pt x="5044567" y="3738970"/>
                </a:cubicBezTo>
                <a:cubicBezTo>
                  <a:pt x="5045632" y="3737772"/>
                  <a:pt x="5046564" y="3736441"/>
                  <a:pt x="5047230" y="3734711"/>
                </a:cubicBezTo>
                <a:cubicBezTo>
                  <a:pt x="5048028" y="3733113"/>
                  <a:pt x="5048294" y="3731250"/>
                  <a:pt x="5048294" y="3729253"/>
                </a:cubicBezTo>
                <a:cubicBezTo>
                  <a:pt x="5048294" y="3727388"/>
                  <a:pt x="5047895" y="3725659"/>
                  <a:pt x="5047230" y="3724061"/>
                </a:cubicBezTo>
                <a:cubicBezTo>
                  <a:pt x="5046564" y="3722331"/>
                  <a:pt x="5045632" y="3721000"/>
                  <a:pt x="5044567" y="3719802"/>
                </a:cubicBezTo>
                <a:cubicBezTo>
                  <a:pt x="5043502" y="3718737"/>
                  <a:pt x="5042171" y="3717805"/>
                  <a:pt x="5040574" y="3717139"/>
                </a:cubicBezTo>
                <a:cubicBezTo>
                  <a:pt x="5039110" y="3716473"/>
                  <a:pt x="5037379" y="3716208"/>
                  <a:pt x="5035515" y="3716208"/>
                </a:cubicBezTo>
                <a:close/>
                <a:moveTo>
                  <a:pt x="4817870" y="3716208"/>
                </a:moveTo>
                <a:cubicBezTo>
                  <a:pt x="4812013" y="3716208"/>
                  <a:pt x="4809484" y="3718204"/>
                  <a:pt x="4807887" y="3719802"/>
                </a:cubicBezTo>
                <a:cubicBezTo>
                  <a:pt x="4805357" y="3722464"/>
                  <a:pt x="4804293" y="3725259"/>
                  <a:pt x="4804293" y="3729253"/>
                </a:cubicBezTo>
                <a:cubicBezTo>
                  <a:pt x="4804293" y="3733381"/>
                  <a:pt x="4805357" y="3736175"/>
                  <a:pt x="4807887" y="3738705"/>
                </a:cubicBezTo>
                <a:cubicBezTo>
                  <a:pt x="4809484" y="3740302"/>
                  <a:pt x="4812013" y="3742165"/>
                  <a:pt x="4817870" y="3742165"/>
                </a:cubicBezTo>
                <a:cubicBezTo>
                  <a:pt x="4820000" y="3742165"/>
                  <a:pt x="4821731" y="3741766"/>
                  <a:pt x="4823195" y="3741367"/>
                </a:cubicBezTo>
                <a:cubicBezTo>
                  <a:pt x="4824659" y="3740834"/>
                  <a:pt x="4825857" y="3739902"/>
                  <a:pt x="4826922" y="3738970"/>
                </a:cubicBezTo>
                <a:cubicBezTo>
                  <a:pt x="4827987" y="3737772"/>
                  <a:pt x="4828919" y="3736441"/>
                  <a:pt x="4829585" y="3734711"/>
                </a:cubicBezTo>
                <a:cubicBezTo>
                  <a:pt x="4830383" y="3733113"/>
                  <a:pt x="4830650" y="3731250"/>
                  <a:pt x="4830650" y="3729253"/>
                </a:cubicBezTo>
                <a:cubicBezTo>
                  <a:pt x="4830650" y="3727388"/>
                  <a:pt x="4830250" y="3725659"/>
                  <a:pt x="4829585" y="3724061"/>
                </a:cubicBezTo>
                <a:cubicBezTo>
                  <a:pt x="4828919" y="3722331"/>
                  <a:pt x="4827987" y="3721000"/>
                  <a:pt x="4826922" y="3719802"/>
                </a:cubicBezTo>
                <a:cubicBezTo>
                  <a:pt x="4825857" y="3718737"/>
                  <a:pt x="4824526" y="3717805"/>
                  <a:pt x="4822929" y="3717139"/>
                </a:cubicBezTo>
                <a:cubicBezTo>
                  <a:pt x="4821465" y="3716473"/>
                  <a:pt x="4819734" y="3716208"/>
                  <a:pt x="4817870" y="3716208"/>
                </a:cubicBezTo>
                <a:close/>
                <a:moveTo>
                  <a:pt x="4600226" y="3716208"/>
                </a:moveTo>
                <a:cubicBezTo>
                  <a:pt x="4594369" y="3716208"/>
                  <a:pt x="4591839" y="3718204"/>
                  <a:pt x="4590242" y="3719802"/>
                </a:cubicBezTo>
                <a:cubicBezTo>
                  <a:pt x="4587713" y="3722464"/>
                  <a:pt x="4586648" y="3725259"/>
                  <a:pt x="4586648" y="3729253"/>
                </a:cubicBezTo>
                <a:cubicBezTo>
                  <a:pt x="4586648" y="3733381"/>
                  <a:pt x="4587713" y="3736175"/>
                  <a:pt x="4590242" y="3738705"/>
                </a:cubicBezTo>
                <a:cubicBezTo>
                  <a:pt x="4591839" y="3740302"/>
                  <a:pt x="4594369" y="3742165"/>
                  <a:pt x="4600226" y="3742165"/>
                </a:cubicBezTo>
                <a:cubicBezTo>
                  <a:pt x="4602355" y="3742165"/>
                  <a:pt x="4604086" y="3741766"/>
                  <a:pt x="4605550" y="3741367"/>
                </a:cubicBezTo>
                <a:cubicBezTo>
                  <a:pt x="4607148" y="3740834"/>
                  <a:pt x="4608346" y="3739902"/>
                  <a:pt x="4609277" y="3738970"/>
                </a:cubicBezTo>
                <a:cubicBezTo>
                  <a:pt x="4610342" y="3737772"/>
                  <a:pt x="4611274" y="3736441"/>
                  <a:pt x="4611940" y="3734711"/>
                </a:cubicBezTo>
                <a:cubicBezTo>
                  <a:pt x="4612605" y="3733113"/>
                  <a:pt x="4613005" y="3731250"/>
                  <a:pt x="4613005" y="3729253"/>
                </a:cubicBezTo>
                <a:cubicBezTo>
                  <a:pt x="4613005" y="3727388"/>
                  <a:pt x="4612605" y="3725659"/>
                  <a:pt x="4611940" y="3724061"/>
                </a:cubicBezTo>
                <a:cubicBezTo>
                  <a:pt x="4611274" y="3722331"/>
                  <a:pt x="4610342" y="3721000"/>
                  <a:pt x="4609277" y="3719802"/>
                </a:cubicBezTo>
                <a:cubicBezTo>
                  <a:pt x="4608212" y="3718737"/>
                  <a:pt x="4606881" y="3717805"/>
                  <a:pt x="4605284" y="3717139"/>
                </a:cubicBezTo>
                <a:cubicBezTo>
                  <a:pt x="4603820" y="3716473"/>
                  <a:pt x="4602222" y="3716208"/>
                  <a:pt x="4600226" y="3716208"/>
                </a:cubicBezTo>
                <a:close/>
                <a:moveTo>
                  <a:pt x="4382713" y="3716208"/>
                </a:moveTo>
                <a:cubicBezTo>
                  <a:pt x="4376857" y="3716208"/>
                  <a:pt x="4374327" y="3718204"/>
                  <a:pt x="4372730" y="3719802"/>
                </a:cubicBezTo>
                <a:cubicBezTo>
                  <a:pt x="4370201" y="3722464"/>
                  <a:pt x="4369136" y="3725259"/>
                  <a:pt x="4369136" y="3729253"/>
                </a:cubicBezTo>
                <a:cubicBezTo>
                  <a:pt x="4369136" y="3733381"/>
                  <a:pt x="4370201" y="3736175"/>
                  <a:pt x="4372730" y="3738705"/>
                </a:cubicBezTo>
                <a:cubicBezTo>
                  <a:pt x="4374327" y="3740302"/>
                  <a:pt x="4376857" y="3742165"/>
                  <a:pt x="4382713" y="3742165"/>
                </a:cubicBezTo>
                <a:cubicBezTo>
                  <a:pt x="4384710" y="3742165"/>
                  <a:pt x="4386441" y="3741766"/>
                  <a:pt x="4388038" y="3741367"/>
                </a:cubicBezTo>
                <a:cubicBezTo>
                  <a:pt x="4389502" y="3740834"/>
                  <a:pt x="4390834" y="3739902"/>
                  <a:pt x="4391765" y="3738970"/>
                </a:cubicBezTo>
                <a:cubicBezTo>
                  <a:pt x="4392830" y="3737772"/>
                  <a:pt x="4393762" y="3736441"/>
                  <a:pt x="4394428" y="3734711"/>
                </a:cubicBezTo>
                <a:cubicBezTo>
                  <a:pt x="4395093" y="3733113"/>
                  <a:pt x="4395493" y="3731250"/>
                  <a:pt x="4395493" y="3729253"/>
                </a:cubicBezTo>
                <a:cubicBezTo>
                  <a:pt x="4395493" y="3727388"/>
                  <a:pt x="4395093" y="3725659"/>
                  <a:pt x="4394428" y="3724061"/>
                </a:cubicBezTo>
                <a:cubicBezTo>
                  <a:pt x="4393762" y="3722331"/>
                  <a:pt x="4392830" y="3721000"/>
                  <a:pt x="4391765" y="3719802"/>
                </a:cubicBezTo>
                <a:cubicBezTo>
                  <a:pt x="4390700" y="3718737"/>
                  <a:pt x="4389369" y="3717805"/>
                  <a:pt x="4387772" y="3717139"/>
                </a:cubicBezTo>
                <a:cubicBezTo>
                  <a:pt x="4386308" y="3716473"/>
                  <a:pt x="4384710" y="3716208"/>
                  <a:pt x="4382713" y="3716208"/>
                </a:cubicBezTo>
                <a:close/>
                <a:moveTo>
                  <a:pt x="4165068" y="3716208"/>
                </a:moveTo>
                <a:cubicBezTo>
                  <a:pt x="4159211" y="3716208"/>
                  <a:pt x="4156681" y="3718204"/>
                  <a:pt x="4155084" y="3719802"/>
                </a:cubicBezTo>
                <a:cubicBezTo>
                  <a:pt x="4152555" y="3722464"/>
                  <a:pt x="4151490" y="3725259"/>
                  <a:pt x="4151490" y="3729253"/>
                </a:cubicBezTo>
                <a:cubicBezTo>
                  <a:pt x="4151490" y="3733381"/>
                  <a:pt x="4152555" y="3736175"/>
                  <a:pt x="4155084" y="3738705"/>
                </a:cubicBezTo>
                <a:cubicBezTo>
                  <a:pt x="4156681" y="3740302"/>
                  <a:pt x="4159211" y="3742165"/>
                  <a:pt x="4165068" y="3742165"/>
                </a:cubicBezTo>
                <a:cubicBezTo>
                  <a:pt x="4167064" y="3742165"/>
                  <a:pt x="4168928" y="3741766"/>
                  <a:pt x="4170392" y="3741367"/>
                </a:cubicBezTo>
                <a:cubicBezTo>
                  <a:pt x="4171856" y="3740834"/>
                  <a:pt x="4173188" y="3739902"/>
                  <a:pt x="4174119" y="3738970"/>
                </a:cubicBezTo>
                <a:cubicBezTo>
                  <a:pt x="4175184" y="3737772"/>
                  <a:pt x="4176116" y="3736441"/>
                  <a:pt x="4176782" y="3734711"/>
                </a:cubicBezTo>
                <a:cubicBezTo>
                  <a:pt x="4177447" y="3733113"/>
                  <a:pt x="4177847" y="3731250"/>
                  <a:pt x="4177847" y="3729253"/>
                </a:cubicBezTo>
                <a:cubicBezTo>
                  <a:pt x="4177847" y="3727388"/>
                  <a:pt x="4177447" y="3725659"/>
                  <a:pt x="4176782" y="3724061"/>
                </a:cubicBezTo>
                <a:cubicBezTo>
                  <a:pt x="4176116" y="3722331"/>
                  <a:pt x="4175184" y="3721000"/>
                  <a:pt x="4174119" y="3719802"/>
                </a:cubicBezTo>
                <a:cubicBezTo>
                  <a:pt x="4173054" y="3718737"/>
                  <a:pt x="4171723" y="3717805"/>
                  <a:pt x="4170126" y="3717139"/>
                </a:cubicBezTo>
                <a:cubicBezTo>
                  <a:pt x="4168662" y="3716473"/>
                  <a:pt x="4167064" y="3716208"/>
                  <a:pt x="4165068" y="3716208"/>
                </a:cubicBezTo>
                <a:close/>
                <a:moveTo>
                  <a:pt x="3947628" y="3716208"/>
                </a:moveTo>
                <a:cubicBezTo>
                  <a:pt x="3941770" y="3716208"/>
                  <a:pt x="3939242" y="3718204"/>
                  <a:pt x="3937645" y="3719802"/>
                </a:cubicBezTo>
                <a:cubicBezTo>
                  <a:pt x="3935113" y="3722464"/>
                  <a:pt x="3934050" y="3725259"/>
                  <a:pt x="3934050" y="3729253"/>
                </a:cubicBezTo>
                <a:cubicBezTo>
                  <a:pt x="3934050" y="3733381"/>
                  <a:pt x="3935113" y="3736175"/>
                  <a:pt x="3937645" y="3738705"/>
                </a:cubicBezTo>
                <a:cubicBezTo>
                  <a:pt x="3939242" y="3740302"/>
                  <a:pt x="3941770" y="3742165"/>
                  <a:pt x="3947628" y="3742165"/>
                </a:cubicBezTo>
                <a:cubicBezTo>
                  <a:pt x="3949626" y="3742165"/>
                  <a:pt x="3951488" y="3741766"/>
                  <a:pt x="3952955" y="3741367"/>
                </a:cubicBezTo>
                <a:cubicBezTo>
                  <a:pt x="3954419" y="3740834"/>
                  <a:pt x="3955749" y="3739902"/>
                  <a:pt x="3956682" y="3738970"/>
                </a:cubicBezTo>
                <a:cubicBezTo>
                  <a:pt x="3957747" y="3737772"/>
                  <a:pt x="3958680" y="3736441"/>
                  <a:pt x="3959345" y="3734711"/>
                </a:cubicBezTo>
                <a:cubicBezTo>
                  <a:pt x="3960010" y="3733113"/>
                  <a:pt x="3960410" y="3731250"/>
                  <a:pt x="3960410" y="3729253"/>
                </a:cubicBezTo>
                <a:cubicBezTo>
                  <a:pt x="3960410" y="3727388"/>
                  <a:pt x="3960010" y="3725659"/>
                  <a:pt x="3959345" y="3724061"/>
                </a:cubicBezTo>
                <a:cubicBezTo>
                  <a:pt x="3958680" y="3722331"/>
                  <a:pt x="3957747" y="3721000"/>
                  <a:pt x="3956682" y="3719802"/>
                </a:cubicBezTo>
                <a:cubicBezTo>
                  <a:pt x="3955617" y="3718737"/>
                  <a:pt x="3954286" y="3717805"/>
                  <a:pt x="3952688" y="3717139"/>
                </a:cubicBezTo>
                <a:cubicBezTo>
                  <a:pt x="3951223" y="3716473"/>
                  <a:pt x="3949626" y="3716208"/>
                  <a:pt x="3947628" y="3716208"/>
                </a:cubicBezTo>
                <a:close/>
                <a:moveTo>
                  <a:pt x="3729973" y="3716208"/>
                </a:moveTo>
                <a:cubicBezTo>
                  <a:pt x="3724117" y="3716208"/>
                  <a:pt x="3721586" y="3718204"/>
                  <a:pt x="3719987" y="3719802"/>
                </a:cubicBezTo>
                <a:cubicBezTo>
                  <a:pt x="3717457" y="3722464"/>
                  <a:pt x="3716395" y="3725259"/>
                  <a:pt x="3716395" y="3729253"/>
                </a:cubicBezTo>
                <a:cubicBezTo>
                  <a:pt x="3716395" y="3733381"/>
                  <a:pt x="3717457" y="3736175"/>
                  <a:pt x="3719987" y="3738705"/>
                </a:cubicBezTo>
                <a:cubicBezTo>
                  <a:pt x="3721586" y="3740302"/>
                  <a:pt x="3724117" y="3742165"/>
                  <a:pt x="3729973" y="3742165"/>
                </a:cubicBezTo>
                <a:cubicBezTo>
                  <a:pt x="3732103" y="3742165"/>
                  <a:pt x="3733835" y="3741766"/>
                  <a:pt x="3735298" y="3741367"/>
                </a:cubicBezTo>
                <a:cubicBezTo>
                  <a:pt x="3736763" y="3740834"/>
                  <a:pt x="3738095" y="3739902"/>
                  <a:pt x="3739026" y="3738970"/>
                </a:cubicBezTo>
                <a:cubicBezTo>
                  <a:pt x="3740091" y="3737772"/>
                  <a:pt x="3741023" y="3736441"/>
                  <a:pt x="3741689" y="3734711"/>
                </a:cubicBezTo>
                <a:cubicBezTo>
                  <a:pt x="3742354" y="3733113"/>
                  <a:pt x="3742753" y="3731250"/>
                  <a:pt x="3742753" y="3729253"/>
                </a:cubicBezTo>
                <a:cubicBezTo>
                  <a:pt x="3742753" y="3727388"/>
                  <a:pt x="3742354" y="3725659"/>
                  <a:pt x="3741689" y="3724061"/>
                </a:cubicBezTo>
                <a:cubicBezTo>
                  <a:pt x="3741023" y="3722331"/>
                  <a:pt x="3740091" y="3721000"/>
                  <a:pt x="3739026" y="3719802"/>
                </a:cubicBezTo>
                <a:cubicBezTo>
                  <a:pt x="3737961" y="3718737"/>
                  <a:pt x="3736630" y="3717805"/>
                  <a:pt x="3735033" y="3717139"/>
                </a:cubicBezTo>
                <a:cubicBezTo>
                  <a:pt x="3733568" y="3716473"/>
                  <a:pt x="3731971" y="3716208"/>
                  <a:pt x="3729973" y="3716208"/>
                </a:cubicBezTo>
                <a:close/>
                <a:moveTo>
                  <a:pt x="3512318" y="3716208"/>
                </a:moveTo>
                <a:cubicBezTo>
                  <a:pt x="3506460" y="3716208"/>
                  <a:pt x="3503930" y="3718204"/>
                  <a:pt x="3502330" y="3719802"/>
                </a:cubicBezTo>
                <a:cubicBezTo>
                  <a:pt x="3499801" y="3722464"/>
                  <a:pt x="3498737" y="3725259"/>
                  <a:pt x="3498737" y="3729253"/>
                </a:cubicBezTo>
                <a:cubicBezTo>
                  <a:pt x="3498737" y="3733381"/>
                  <a:pt x="3499801" y="3736175"/>
                  <a:pt x="3502330" y="3738705"/>
                </a:cubicBezTo>
                <a:cubicBezTo>
                  <a:pt x="3503930" y="3740302"/>
                  <a:pt x="3506460" y="3742165"/>
                  <a:pt x="3512318" y="3742165"/>
                </a:cubicBezTo>
                <a:cubicBezTo>
                  <a:pt x="3514447" y="3742165"/>
                  <a:pt x="3516179" y="3741766"/>
                  <a:pt x="3517643" y="3741367"/>
                </a:cubicBezTo>
                <a:cubicBezTo>
                  <a:pt x="3519107" y="3740834"/>
                  <a:pt x="3520439" y="3739902"/>
                  <a:pt x="3521370" y="3738970"/>
                </a:cubicBezTo>
                <a:cubicBezTo>
                  <a:pt x="3522435" y="3737772"/>
                  <a:pt x="3523367" y="3736441"/>
                  <a:pt x="3524033" y="3734711"/>
                </a:cubicBezTo>
                <a:cubicBezTo>
                  <a:pt x="3524698" y="3733113"/>
                  <a:pt x="3525098" y="3731250"/>
                  <a:pt x="3525098" y="3729253"/>
                </a:cubicBezTo>
                <a:cubicBezTo>
                  <a:pt x="3525098" y="3727388"/>
                  <a:pt x="3524698" y="3725659"/>
                  <a:pt x="3524033" y="3724061"/>
                </a:cubicBezTo>
                <a:cubicBezTo>
                  <a:pt x="3523367" y="3722331"/>
                  <a:pt x="3522435" y="3721000"/>
                  <a:pt x="3521370" y="3719802"/>
                </a:cubicBezTo>
                <a:cubicBezTo>
                  <a:pt x="3520305" y="3718737"/>
                  <a:pt x="3518974" y="3717805"/>
                  <a:pt x="3517377" y="3717139"/>
                </a:cubicBezTo>
                <a:cubicBezTo>
                  <a:pt x="3515913" y="3716473"/>
                  <a:pt x="3514315" y="3716208"/>
                  <a:pt x="3512318" y="3716208"/>
                </a:cubicBezTo>
                <a:close/>
                <a:moveTo>
                  <a:pt x="3294795" y="3716208"/>
                </a:moveTo>
                <a:cubicBezTo>
                  <a:pt x="3288937" y="3716208"/>
                  <a:pt x="3286407" y="3718204"/>
                  <a:pt x="3284810" y="3719802"/>
                </a:cubicBezTo>
                <a:cubicBezTo>
                  <a:pt x="3282279" y="3722464"/>
                  <a:pt x="3281216" y="3725259"/>
                  <a:pt x="3281216" y="3729253"/>
                </a:cubicBezTo>
                <a:cubicBezTo>
                  <a:pt x="3281216" y="3733381"/>
                  <a:pt x="3282279" y="3736175"/>
                  <a:pt x="3284810" y="3738705"/>
                </a:cubicBezTo>
                <a:cubicBezTo>
                  <a:pt x="3286407" y="3740302"/>
                  <a:pt x="3288937" y="3742165"/>
                  <a:pt x="3294795" y="3742165"/>
                </a:cubicBezTo>
                <a:cubicBezTo>
                  <a:pt x="3296792" y="3742165"/>
                  <a:pt x="3298523" y="3741766"/>
                  <a:pt x="3300121" y="3741367"/>
                </a:cubicBezTo>
                <a:cubicBezTo>
                  <a:pt x="3301585" y="3740834"/>
                  <a:pt x="3302916" y="3739902"/>
                  <a:pt x="3303848" y="3738970"/>
                </a:cubicBezTo>
                <a:cubicBezTo>
                  <a:pt x="3304913" y="3737772"/>
                  <a:pt x="3305844" y="3736441"/>
                  <a:pt x="3306511" y="3734711"/>
                </a:cubicBezTo>
                <a:cubicBezTo>
                  <a:pt x="3307176" y="3733113"/>
                  <a:pt x="3307575" y="3731250"/>
                  <a:pt x="3307575" y="3729253"/>
                </a:cubicBezTo>
                <a:cubicBezTo>
                  <a:pt x="3307575" y="3727388"/>
                  <a:pt x="3307176" y="3725659"/>
                  <a:pt x="3306511" y="3724061"/>
                </a:cubicBezTo>
                <a:cubicBezTo>
                  <a:pt x="3305844" y="3722331"/>
                  <a:pt x="3304913" y="3721000"/>
                  <a:pt x="3303848" y="3719802"/>
                </a:cubicBezTo>
                <a:cubicBezTo>
                  <a:pt x="3302782" y="3718737"/>
                  <a:pt x="3301451" y="3717805"/>
                  <a:pt x="3299855" y="3717139"/>
                </a:cubicBezTo>
                <a:cubicBezTo>
                  <a:pt x="3298391" y="3716473"/>
                  <a:pt x="3296792" y="3716208"/>
                  <a:pt x="3294795" y="3716208"/>
                </a:cubicBezTo>
                <a:close/>
                <a:moveTo>
                  <a:pt x="3077272" y="3716208"/>
                </a:moveTo>
                <a:cubicBezTo>
                  <a:pt x="3071415" y="3716208"/>
                  <a:pt x="3068886" y="3718204"/>
                  <a:pt x="3067289" y="3719802"/>
                </a:cubicBezTo>
                <a:cubicBezTo>
                  <a:pt x="3064624" y="3722464"/>
                  <a:pt x="3063559" y="3725259"/>
                  <a:pt x="3063559" y="3729253"/>
                </a:cubicBezTo>
                <a:cubicBezTo>
                  <a:pt x="3063559" y="3733381"/>
                  <a:pt x="3064624" y="3736175"/>
                  <a:pt x="3067155" y="3738705"/>
                </a:cubicBezTo>
                <a:cubicBezTo>
                  <a:pt x="3068753" y="3740302"/>
                  <a:pt x="3071282" y="3742165"/>
                  <a:pt x="3077139" y="3742165"/>
                </a:cubicBezTo>
                <a:cubicBezTo>
                  <a:pt x="3079137" y="3742165"/>
                  <a:pt x="3080867" y="3741766"/>
                  <a:pt x="3082597" y="3741367"/>
                </a:cubicBezTo>
                <a:cubicBezTo>
                  <a:pt x="3084063" y="3740834"/>
                  <a:pt x="3085394" y="3739902"/>
                  <a:pt x="3086325" y="3738970"/>
                </a:cubicBezTo>
                <a:cubicBezTo>
                  <a:pt x="3087389" y="3737772"/>
                  <a:pt x="3088322" y="3736441"/>
                  <a:pt x="3088987" y="3734711"/>
                </a:cubicBezTo>
                <a:cubicBezTo>
                  <a:pt x="3089652" y="3733113"/>
                  <a:pt x="3089920" y="3731250"/>
                  <a:pt x="3089920" y="3729253"/>
                </a:cubicBezTo>
                <a:cubicBezTo>
                  <a:pt x="3089920" y="3727388"/>
                  <a:pt x="3089652" y="3725659"/>
                  <a:pt x="3088987" y="3724061"/>
                </a:cubicBezTo>
                <a:cubicBezTo>
                  <a:pt x="3088322" y="3722331"/>
                  <a:pt x="3087389" y="3721000"/>
                  <a:pt x="3086325" y="3719802"/>
                </a:cubicBezTo>
                <a:cubicBezTo>
                  <a:pt x="3085260" y="3718737"/>
                  <a:pt x="3083929" y="3717805"/>
                  <a:pt x="3082332" y="3717139"/>
                </a:cubicBezTo>
                <a:cubicBezTo>
                  <a:pt x="3080867" y="3716473"/>
                  <a:pt x="3079269" y="3716208"/>
                  <a:pt x="3077272" y="3716208"/>
                </a:cubicBezTo>
                <a:close/>
                <a:moveTo>
                  <a:pt x="2859484" y="3716208"/>
                </a:moveTo>
                <a:cubicBezTo>
                  <a:pt x="2853627" y="3716208"/>
                  <a:pt x="2851097" y="3718204"/>
                  <a:pt x="2849498" y="3719802"/>
                </a:cubicBezTo>
                <a:cubicBezTo>
                  <a:pt x="2846965" y="3722464"/>
                  <a:pt x="2845902" y="3725259"/>
                  <a:pt x="2845902" y="3729253"/>
                </a:cubicBezTo>
                <a:cubicBezTo>
                  <a:pt x="2845902" y="3733381"/>
                  <a:pt x="2846965" y="3736175"/>
                  <a:pt x="2849498" y="3738705"/>
                </a:cubicBezTo>
                <a:cubicBezTo>
                  <a:pt x="2851097" y="3740302"/>
                  <a:pt x="2853627" y="3742165"/>
                  <a:pt x="2859484" y="3742165"/>
                </a:cubicBezTo>
                <a:cubicBezTo>
                  <a:pt x="2861481" y="3742165"/>
                  <a:pt x="2863345" y="3741766"/>
                  <a:pt x="2864809" y="3741367"/>
                </a:cubicBezTo>
                <a:cubicBezTo>
                  <a:pt x="2866407" y="3740834"/>
                  <a:pt x="2867605" y="3739902"/>
                  <a:pt x="2868536" y="3738970"/>
                </a:cubicBezTo>
                <a:cubicBezTo>
                  <a:pt x="2869601" y="3737772"/>
                  <a:pt x="2870533" y="3736441"/>
                  <a:pt x="2871199" y="3734711"/>
                </a:cubicBezTo>
                <a:cubicBezTo>
                  <a:pt x="2871731" y="3733113"/>
                  <a:pt x="2872130" y="3731250"/>
                  <a:pt x="2872130" y="3729253"/>
                </a:cubicBezTo>
                <a:cubicBezTo>
                  <a:pt x="2872130" y="3727388"/>
                  <a:pt x="2871864" y="3725659"/>
                  <a:pt x="2871199" y="3724061"/>
                </a:cubicBezTo>
                <a:cubicBezTo>
                  <a:pt x="2870533" y="3722331"/>
                  <a:pt x="2869601" y="3721000"/>
                  <a:pt x="2868536" y="3719802"/>
                </a:cubicBezTo>
                <a:cubicBezTo>
                  <a:pt x="2867472" y="3718737"/>
                  <a:pt x="2866140" y="3717805"/>
                  <a:pt x="2864543" y="3717139"/>
                </a:cubicBezTo>
                <a:cubicBezTo>
                  <a:pt x="2863079" y="3716473"/>
                  <a:pt x="2861481" y="3716208"/>
                  <a:pt x="2859484" y="3716208"/>
                </a:cubicBezTo>
                <a:close/>
                <a:moveTo>
                  <a:pt x="2641828" y="3716208"/>
                </a:moveTo>
                <a:cubicBezTo>
                  <a:pt x="2635971" y="3716208"/>
                  <a:pt x="2633441" y="3718204"/>
                  <a:pt x="2631845" y="3719802"/>
                </a:cubicBezTo>
                <a:cubicBezTo>
                  <a:pt x="2629314" y="3722464"/>
                  <a:pt x="2628250" y="3725259"/>
                  <a:pt x="2628250" y="3729253"/>
                </a:cubicBezTo>
                <a:cubicBezTo>
                  <a:pt x="2628250" y="3733381"/>
                  <a:pt x="2629314" y="3736175"/>
                  <a:pt x="2631845" y="3738705"/>
                </a:cubicBezTo>
                <a:cubicBezTo>
                  <a:pt x="2633441" y="3740302"/>
                  <a:pt x="2635971" y="3742165"/>
                  <a:pt x="2641828" y="3742165"/>
                </a:cubicBezTo>
                <a:cubicBezTo>
                  <a:pt x="2643825" y="3742165"/>
                  <a:pt x="2645689" y="3741766"/>
                  <a:pt x="2647153" y="3741367"/>
                </a:cubicBezTo>
                <a:cubicBezTo>
                  <a:pt x="2648750" y="3740834"/>
                  <a:pt x="2649948" y="3739902"/>
                  <a:pt x="2650880" y="3738970"/>
                </a:cubicBezTo>
                <a:cubicBezTo>
                  <a:pt x="2651945" y="3737772"/>
                  <a:pt x="2652877" y="3736441"/>
                  <a:pt x="2653543" y="3734711"/>
                </a:cubicBezTo>
                <a:cubicBezTo>
                  <a:pt x="2654075" y="3733113"/>
                  <a:pt x="2654474" y="3731250"/>
                  <a:pt x="2654474" y="3729253"/>
                </a:cubicBezTo>
                <a:cubicBezTo>
                  <a:pt x="2654474" y="3727388"/>
                  <a:pt x="2654208" y="3725659"/>
                  <a:pt x="2653543" y="3724061"/>
                </a:cubicBezTo>
                <a:cubicBezTo>
                  <a:pt x="2652877" y="3722331"/>
                  <a:pt x="2651945" y="3721000"/>
                  <a:pt x="2650880" y="3719802"/>
                </a:cubicBezTo>
                <a:cubicBezTo>
                  <a:pt x="2649815" y="3718737"/>
                  <a:pt x="2648484" y="3717805"/>
                  <a:pt x="2646887" y="3717139"/>
                </a:cubicBezTo>
                <a:cubicBezTo>
                  <a:pt x="2645422" y="3716473"/>
                  <a:pt x="2643825" y="3716208"/>
                  <a:pt x="2641828" y="3716208"/>
                </a:cubicBezTo>
                <a:close/>
                <a:moveTo>
                  <a:pt x="2424172" y="3716208"/>
                </a:moveTo>
                <a:cubicBezTo>
                  <a:pt x="2418315" y="3716208"/>
                  <a:pt x="2415786" y="3718204"/>
                  <a:pt x="2414189" y="3719802"/>
                </a:cubicBezTo>
                <a:cubicBezTo>
                  <a:pt x="2411658" y="3722464"/>
                  <a:pt x="2410594" y="3725259"/>
                  <a:pt x="2410594" y="3729253"/>
                </a:cubicBezTo>
                <a:cubicBezTo>
                  <a:pt x="2410594" y="3733381"/>
                  <a:pt x="2411658" y="3736175"/>
                  <a:pt x="2414189" y="3738705"/>
                </a:cubicBezTo>
                <a:cubicBezTo>
                  <a:pt x="2415786" y="3740302"/>
                  <a:pt x="2418315" y="3742165"/>
                  <a:pt x="2424172" y="3742165"/>
                </a:cubicBezTo>
                <a:cubicBezTo>
                  <a:pt x="2426302" y="3742165"/>
                  <a:pt x="2428033" y="3741766"/>
                  <a:pt x="2429497" y="3741367"/>
                </a:cubicBezTo>
                <a:cubicBezTo>
                  <a:pt x="2431095" y="3740834"/>
                  <a:pt x="2432293" y="3739902"/>
                  <a:pt x="2433224" y="3738970"/>
                </a:cubicBezTo>
                <a:cubicBezTo>
                  <a:pt x="2434289" y="3737772"/>
                  <a:pt x="2435221" y="3736441"/>
                  <a:pt x="2435887" y="3734711"/>
                </a:cubicBezTo>
                <a:cubicBezTo>
                  <a:pt x="2436419" y="3733113"/>
                  <a:pt x="2436818" y="3731250"/>
                  <a:pt x="2436818" y="3729253"/>
                </a:cubicBezTo>
                <a:cubicBezTo>
                  <a:pt x="2436818" y="3727388"/>
                  <a:pt x="2436552" y="3725659"/>
                  <a:pt x="2435887" y="3724061"/>
                </a:cubicBezTo>
                <a:cubicBezTo>
                  <a:pt x="2435221" y="3722331"/>
                  <a:pt x="2434289" y="3721000"/>
                  <a:pt x="2433224" y="3719802"/>
                </a:cubicBezTo>
                <a:cubicBezTo>
                  <a:pt x="2432160" y="3718737"/>
                  <a:pt x="2430828" y="3717805"/>
                  <a:pt x="2429231" y="3717139"/>
                </a:cubicBezTo>
                <a:cubicBezTo>
                  <a:pt x="2427767" y="3716473"/>
                  <a:pt x="2426169" y="3716208"/>
                  <a:pt x="2424172" y="3716208"/>
                </a:cubicBezTo>
                <a:close/>
                <a:moveTo>
                  <a:pt x="2206516" y="3716208"/>
                </a:moveTo>
                <a:cubicBezTo>
                  <a:pt x="2200659" y="3716208"/>
                  <a:pt x="2198130" y="3718204"/>
                  <a:pt x="2196533" y="3719802"/>
                </a:cubicBezTo>
                <a:cubicBezTo>
                  <a:pt x="2194003" y="3722464"/>
                  <a:pt x="2192938" y="3725259"/>
                  <a:pt x="2192938" y="3729253"/>
                </a:cubicBezTo>
                <a:cubicBezTo>
                  <a:pt x="2192938" y="3733381"/>
                  <a:pt x="2194003" y="3736175"/>
                  <a:pt x="2196533" y="3738705"/>
                </a:cubicBezTo>
                <a:cubicBezTo>
                  <a:pt x="2198130" y="3740302"/>
                  <a:pt x="2200659" y="3742165"/>
                  <a:pt x="2206516" y="3742165"/>
                </a:cubicBezTo>
                <a:cubicBezTo>
                  <a:pt x="2208646" y="3742165"/>
                  <a:pt x="2210377" y="3741766"/>
                  <a:pt x="2211841" y="3741367"/>
                </a:cubicBezTo>
                <a:cubicBezTo>
                  <a:pt x="2213439" y="3740834"/>
                  <a:pt x="2214636" y="3739902"/>
                  <a:pt x="2215568" y="3738970"/>
                </a:cubicBezTo>
                <a:cubicBezTo>
                  <a:pt x="2216633" y="3737772"/>
                  <a:pt x="2217565" y="3736441"/>
                  <a:pt x="2218231" y="3734711"/>
                </a:cubicBezTo>
                <a:cubicBezTo>
                  <a:pt x="2218763" y="3733113"/>
                  <a:pt x="2219162" y="3731250"/>
                  <a:pt x="2219162" y="3729253"/>
                </a:cubicBezTo>
                <a:cubicBezTo>
                  <a:pt x="2219162" y="3727388"/>
                  <a:pt x="2218896" y="3725659"/>
                  <a:pt x="2218231" y="3724061"/>
                </a:cubicBezTo>
                <a:cubicBezTo>
                  <a:pt x="2217565" y="3722331"/>
                  <a:pt x="2216633" y="3721000"/>
                  <a:pt x="2215568" y="3719802"/>
                </a:cubicBezTo>
                <a:cubicBezTo>
                  <a:pt x="2214503" y="3718737"/>
                  <a:pt x="2213172" y="3717805"/>
                  <a:pt x="2211575" y="3717139"/>
                </a:cubicBezTo>
                <a:cubicBezTo>
                  <a:pt x="2210110" y="3716473"/>
                  <a:pt x="2208513" y="3716208"/>
                  <a:pt x="2206516" y="3716208"/>
                </a:cubicBezTo>
                <a:close/>
                <a:moveTo>
                  <a:pt x="1988993" y="3716208"/>
                </a:moveTo>
                <a:cubicBezTo>
                  <a:pt x="1983136" y="3716208"/>
                  <a:pt x="1980607" y="3718204"/>
                  <a:pt x="1979010" y="3719802"/>
                </a:cubicBezTo>
                <a:cubicBezTo>
                  <a:pt x="1976480" y="3722464"/>
                  <a:pt x="1975416" y="3725259"/>
                  <a:pt x="1975416" y="3729253"/>
                </a:cubicBezTo>
                <a:cubicBezTo>
                  <a:pt x="1975416" y="3733381"/>
                  <a:pt x="1976480" y="3736175"/>
                  <a:pt x="1979010" y="3738705"/>
                </a:cubicBezTo>
                <a:cubicBezTo>
                  <a:pt x="1980607" y="3740302"/>
                  <a:pt x="1983136" y="3742165"/>
                  <a:pt x="1988993" y="3742165"/>
                </a:cubicBezTo>
                <a:cubicBezTo>
                  <a:pt x="1990990" y="3742165"/>
                  <a:pt x="1992721" y="3741766"/>
                  <a:pt x="1994318" y="3741367"/>
                </a:cubicBezTo>
                <a:cubicBezTo>
                  <a:pt x="1995916" y="3740834"/>
                  <a:pt x="1997115" y="3739902"/>
                  <a:pt x="1998046" y="3738970"/>
                </a:cubicBezTo>
                <a:cubicBezTo>
                  <a:pt x="1999110" y="3737772"/>
                  <a:pt x="2000042" y="3736441"/>
                  <a:pt x="2000709" y="3734711"/>
                </a:cubicBezTo>
                <a:cubicBezTo>
                  <a:pt x="2001240" y="3733113"/>
                  <a:pt x="2001639" y="3731250"/>
                  <a:pt x="2001639" y="3729253"/>
                </a:cubicBezTo>
                <a:cubicBezTo>
                  <a:pt x="2001639" y="3727388"/>
                  <a:pt x="2001374" y="3725659"/>
                  <a:pt x="2000709" y="3724061"/>
                </a:cubicBezTo>
                <a:cubicBezTo>
                  <a:pt x="2000042" y="3722331"/>
                  <a:pt x="1999110" y="3721000"/>
                  <a:pt x="1998046" y="3719802"/>
                </a:cubicBezTo>
                <a:cubicBezTo>
                  <a:pt x="1996981" y="3718737"/>
                  <a:pt x="1995649" y="3717805"/>
                  <a:pt x="1994052" y="3717139"/>
                </a:cubicBezTo>
                <a:cubicBezTo>
                  <a:pt x="1992588" y="3716473"/>
                  <a:pt x="1990990" y="3716208"/>
                  <a:pt x="1988993" y="3716208"/>
                </a:cubicBezTo>
                <a:close/>
                <a:moveTo>
                  <a:pt x="1771356" y="3716208"/>
                </a:moveTo>
                <a:cubicBezTo>
                  <a:pt x="1765499" y="3716208"/>
                  <a:pt x="1762971" y="3718204"/>
                  <a:pt x="1761374" y="3719802"/>
                </a:cubicBezTo>
                <a:cubicBezTo>
                  <a:pt x="1758844" y="3722464"/>
                  <a:pt x="1757780" y="3725259"/>
                  <a:pt x="1757780" y="3729253"/>
                </a:cubicBezTo>
                <a:cubicBezTo>
                  <a:pt x="1757780" y="3733381"/>
                  <a:pt x="1758844" y="3736175"/>
                  <a:pt x="1761374" y="3738705"/>
                </a:cubicBezTo>
                <a:cubicBezTo>
                  <a:pt x="1762971" y="3740302"/>
                  <a:pt x="1765499" y="3742165"/>
                  <a:pt x="1771356" y="3742165"/>
                </a:cubicBezTo>
                <a:cubicBezTo>
                  <a:pt x="1773353" y="3742165"/>
                  <a:pt x="1775217" y="3741766"/>
                  <a:pt x="1776681" y="3741367"/>
                </a:cubicBezTo>
                <a:cubicBezTo>
                  <a:pt x="1778145" y="3740834"/>
                  <a:pt x="1779475" y="3739902"/>
                  <a:pt x="1780407" y="3738970"/>
                </a:cubicBezTo>
                <a:cubicBezTo>
                  <a:pt x="1781472" y="3737772"/>
                  <a:pt x="1782404" y="3736441"/>
                  <a:pt x="1783070" y="3734711"/>
                </a:cubicBezTo>
                <a:cubicBezTo>
                  <a:pt x="1783735" y="3733113"/>
                  <a:pt x="1784135" y="3731250"/>
                  <a:pt x="1784135" y="3729253"/>
                </a:cubicBezTo>
                <a:cubicBezTo>
                  <a:pt x="1784135" y="3727388"/>
                  <a:pt x="1783735" y="3725659"/>
                  <a:pt x="1783070" y="3724061"/>
                </a:cubicBezTo>
                <a:cubicBezTo>
                  <a:pt x="1782404" y="3722331"/>
                  <a:pt x="1781472" y="3721000"/>
                  <a:pt x="1780407" y="3719802"/>
                </a:cubicBezTo>
                <a:cubicBezTo>
                  <a:pt x="1779342" y="3718737"/>
                  <a:pt x="1778012" y="3717805"/>
                  <a:pt x="1776415" y="3717139"/>
                </a:cubicBezTo>
                <a:cubicBezTo>
                  <a:pt x="1774950" y="3716473"/>
                  <a:pt x="1773353" y="3716208"/>
                  <a:pt x="1771356" y="3716208"/>
                </a:cubicBezTo>
                <a:close/>
                <a:moveTo>
                  <a:pt x="1553716" y="3716208"/>
                </a:moveTo>
                <a:cubicBezTo>
                  <a:pt x="1547859" y="3716208"/>
                  <a:pt x="1545330" y="3718204"/>
                  <a:pt x="1543733" y="3719802"/>
                </a:cubicBezTo>
                <a:cubicBezTo>
                  <a:pt x="1541203" y="3722464"/>
                  <a:pt x="1540138" y="3725259"/>
                  <a:pt x="1540138" y="3729253"/>
                </a:cubicBezTo>
                <a:cubicBezTo>
                  <a:pt x="1540138" y="3733381"/>
                  <a:pt x="1541203" y="3736175"/>
                  <a:pt x="1543733" y="3738705"/>
                </a:cubicBezTo>
                <a:cubicBezTo>
                  <a:pt x="1545330" y="3740302"/>
                  <a:pt x="1547859" y="3742165"/>
                  <a:pt x="1553716" y="3742165"/>
                </a:cubicBezTo>
                <a:cubicBezTo>
                  <a:pt x="1555713" y="3742165"/>
                  <a:pt x="1557577" y="3741766"/>
                  <a:pt x="1559041" y="3741367"/>
                </a:cubicBezTo>
                <a:cubicBezTo>
                  <a:pt x="1560505" y="3740834"/>
                  <a:pt x="1561837" y="3739902"/>
                  <a:pt x="1562768" y="3738970"/>
                </a:cubicBezTo>
                <a:cubicBezTo>
                  <a:pt x="1563833" y="3737772"/>
                  <a:pt x="1564765" y="3736441"/>
                  <a:pt x="1565431" y="3734711"/>
                </a:cubicBezTo>
                <a:cubicBezTo>
                  <a:pt x="1566096" y="3733113"/>
                  <a:pt x="1566496" y="3731250"/>
                  <a:pt x="1566496" y="3729253"/>
                </a:cubicBezTo>
                <a:cubicBezTo>
                  <a:pt x="1566496" y="3727388"/>
                  <a:pt x="1566096" y="3725659"/>
                  <a:pt x="1565431" y="3724061"/>
                </a:cubicBezTo>
                <a:cubicBezTo>
                  <a:pt x="1564765" y="3722331"/>
                  <a:pt x="1563833" y="3721000"/>
                  <a:pt x="1562768" y="3719802"/>
                </a:cubicBezTo>
                <a:cubicBezTo>
                  <a:pt x="1561703" y="3718737"/>
                  <a:pt x="1560372" y="3717805"/>
                  <a:pt x="1558775" y="3717139"/>
                </a:cubicBezTo>
                <a:cubicBezTo>
                  <a:pt x="1557311" y="3716473"/>
                  <a:pt x="1555713" y="3716208"/>
                  <a:pt x="1553716" y="3716208"/>
                </a:cubicBezTo>
                <a:close/>
                <a:moveTo>
                  <a:pt x="1336072" y="3716208"/>
                </a:moveTo>
                <a:cubicBezTo>
                  <a:pt x="1330214" y="3716208"/>
                  <a:pt x="1327685" y="3718204"/>
                  <a:pt x="1326089" y="3719802"/>
                </a:cubicBezTo>
                <a:cubicBezTo>
                  <a:pt x="1323559" y="3722464"/>
                  <a:pt x="1322494" y="3725259"/>
                  <a:pt x="1322494" y="3729253"/>
                </a:cubicBezTo>
                <a:cubicBezTo>
                  <a:pt x="1322494" y="3733381"/>
                  <a:pt x="1323559" y="3736175"/>
                  <a:pt x="1326089" y="3738705"/>
                </a:cubicBezTo>
                <a:cubicBezTo>
                  <a:pt x="1327685" y="3740302"/>
                  <a:pt x="1330214" y="3742165"/>
                  <a:pt x="1336072" y="3742165"/>
                </a:cubicBezTo>
                <a:cubicBezTo>
                  <a:pt x="1338202" y="3742165"/>
                  <a:pt x="1339932" y="3741766"/>
                  <a:pt x="1341398" y="3741367"/>
                </a:cubicBezTo>
                <a:cubicBezTo>
                  <a:pt x="1342862" y="3740834"/>
                  <a:pt x="1344193" y="3739902"/>
                  <a:pt x="1345126" y="3738970"/>
                </a:cubicBezTo>
                <a:cubicBezTo>
                  <a:pt x="1346189" y="3737772"/>
                  <a:pt x="1347122" y="3736441"/>
                  <a:pt x="1347788" y="3734711"/>
                </a:cubicBezTo>
                <a:cubicBezTo>
                  <a:pt x="1348453" y="3733113"/>
                  <a:pt x="1348854" y="3731250"/>
                  <a:pt x="1348854" y="3729253"/>
                </a:cubicBezTo>
                <a:cubicBezTo>
                  <a:pt x="1348854" y="3727388"/>
                  <a:pt x="1348453" y="3725659"/>
                  <a:pt x="1347788" y="3724061"/>
                </a:cubicBezTo>
                <a:cubicBezTo>
                  <a:pt x="1347122" y="3722331"/>
                  <a:pt x="1346189" y="3721000"/>
                  <a:pt x="1345126" y="3719802"/>
                </a:cubicBezTo>
                <a:cubicBezTo>
                  <a:pt x="1344060" y="3718737"/>
                  <a:pt x="1342730" y="3717805"/>
                  <a:pt x="1341131" y="3717139"/>
                </a:cubicBezTo>
                <a:cubicBezTo>
                  <a:pt x="1339667" y="3716473"/>
                  <a:pt x="1338068" y="3716208"/>
                  <a:pt x="1336072" y="3716208"/>
                </a:cubicBezTo>
                <a:close/>
                <a:moveTo>
                  <a:pt x="1118560" y="3716208"/>
                </a:moveTo>
                <a:cubicBezTo>
                  <a:pt x="1112702" y="3716208"/>
                  <a:pt x="1110172" y="3718204"/>
                  <a:pt x="1108575" y="3719802"/>
                </a:cubicBezTo>
                <a:cubicBezTo>
                  <a:pt x="1105912" y="3722464"/>
                  <a:pt x="1104848" y="3725259"/>
                  <a:pt x="1104848" y="3729253"/>
                </a:cubicBezTo>
                <a:cubicBezTo>
                  <a:pt x="1104848" y="3733381"/>
                  <a:pt x="1105912" y="3736175"/>
                  <a:pt x="1108442" y="3738705"/>
                </a:cubicBezTo>
                <a:cubicBezTo>
                  <a:pt x="1110039" y="3740302"/>
                  <a:pt x="1112569" y="3742165"/>
                  <a:pt x="1118427" y="3742165"/>
                </a:cubicBezTo>
                <a:cubicBezTo>
                  <a:pt x="1120557" y="3742165"/>
                  <a:pt x="1122289" y="3741766"/>
                  <a:pt x="1123884" y="3741367"/>
                </a:cubicBezTo>
                <a:cubicBezTo>
                  <a:pt x="1125349" y="3740834"/>
                  <a:pt x="1126683" y="3739902"/>
                  <a:pt x="1127613" y="3738970"/>
                </a:cubicBezTo>
                <a:cubicBezTo>
                  <a:pt x="1128678" y="3737772"/>
                  <a:pt x="1129611" y="3736441"/>
                  <a:pt x="1130277" y="3734711"/>
                </a:cubicBezTo>
                <a:cubicBezTo>
                  <a:pt x="1130941" y="3733113"/>
                  <a:pt x="1131342" y="3731250"/>
                  <a:pt x="1131342" y="3729253"/>
                </a:cubicBezTo>
                <a:cubicBezTo>
                  <a:pt x="1131342" y="3727388"/>
                  <a:pt x="1130941" y="3725659"/>
                  <a:pt x="1130277" y="3724061"/>
                </a:cubicBezTo>
                <a:cubicBezTo>
                  <a:pt x="1129611" y="3722331"/>
                  <a:pt x="1128678" y="3721000"/>
                  <a:pt x="1127613" y="3719802"/>
                </a:cubicBezTo>
                <a:cubicBezTo>
                  <a:pt x="1126549" y="3718737"/>
                  <a:pt x="1125217" y="3717805"/>
                  <a:pt x="1123618" y="3717139"/>
                </a:cubicBezTo>
                <a:cubicBezTo>
                  <a:pt x="1122156" y="3716473"/>
                  <a:pt x="1120557" y="3716208"/>
                  <a:pt x="1118560" y="3716208"/>
                </a:cubicBezTo>
                <a:close/>
                <a:moveTo>
                  <a:pt x="901048" y="3716208"/>
                </a:moveTo>
                <a:cubicBezTo>
                  <a:pt x="895190" y="3716208"/>
                  <a:pt x="892661" y="3718204"/>
                  <a:pt x="891064" y="3719802"/>
                </a:cubicBezTo>
                <a:cubicBezTo>
                  <a:pt x="888401" y="3722464"/>
                  <a:pt x="887337" y="3725259"/>
                  <a:pt x="887337" y="3729253"/>
                </a:cubicBezTo>
                <a:cubicBezTo>
                  <a:pt x="887337" y="3733381"/>
                  <a:pt x="888401" y="3736175"/>
                  <a:pt x="890931" y="3738705"/>
                </a:cubicBezTo>
                <a:cubicBezTo>
                  <a:pt x="892528" y="3740302"/>
                  <a:pt x="895057" y="3742165"/>
                  <a:pt x="900914" y="3742165"/>
                </a:cubicBezTo>
                <a:cubicBezTo>
                  <a:pt x="902911" y="3742165"/>
                  <a:pt x="904642" y="3741766"/>
                  <a:pt x="906372" y="3741367"/>
                </a:cubicBezTo>
                <a:cubicBezTo>
                  <a:pt x="907836" y="3740834"/>
                  <a:pt x="909168" y="3739902"/>
                  <a:pt x="910100" y="3738970"/>
                </a:cubicBezTo>
                <a:cubicBezTo>
                  <a:pt x="911164" y="3737772"/>
                  <a:pt x="912096" y="3736441"/>
                  <a:pt x="912762" y="3734711"/>
                </a:cubicBezTo>
                <a:cubicBezTo>
                  <a:pt x="913427" y="3733113"/>
                  <a:pt x="913828" y="3731250"/>
                  <a:pt x="913828" y="3729253"/>
                </a:cubicBezTo>
                <a:cubicBezTo>
                  <a:pt x="913828" y="3727388"/>
                  <a:pt x="913427" y="3725659"/>
                  <a:pt x="912762" y="3724061"/>
                </a:cubicBezTo>
                <a:cubicBezTo>
                  <a:pt x="912096" y="3722331"/>
                  <a:pt x="911164" y="3721000"/>
                  <a:pt x="910100" y="3719802"/>
                </a:cubicBezTo>
                <a:cubicBezTo>
                  <a:pt x="909035" y="3718737"/>
                  <a:pt x="907703" y="3717805"/>
                  <a:pt x="906106" y="3717139"/>
                </a:cubicBezTo>
                <a:cubicBezTo>
                  <a:pt x="904642" y="3716473"/>
                  <a:pt x="903044" y="3716208"/>
                  <a:pt x="901048" y="3716208"/>
                </a:cubicBezTo>
                <a:close/>
                <a:moveTo>
                  <a:pt x="683273" y="3716208"/>
                </a:moveTo>
                <a:cubicBezTo>
                  <a:pt x="677415" y="3716208"/>
                  <a:pt x="674886" y="3718204"/>
                  <a:pt x="673289" y="3719802"/>
                </a:cubicBezTo>
                <a:cubicBezTo>
                  <a:pt x="670759" y="3722464"/>
                  <a:pt x="669695" y="3725259"/>
                  <a:pt x="669695" y="3729253"/>
                </a:cubicBezTo>
                <a:cubicBezTo>
                  <a:pt x="669695" y="3733381"/>
                  <a:pt x="670759" y="3736175"/>
                  <a:pt x="673289" y="3738705"/>
                </a:cubicBezTo>
                <a:cubicBezTo>
                  <a:pt x="674886" y="3740302"/>
                  <a:pt x="677415" y="3742165"/>
                  <a:pt x="683273" y="3742165"/>
                </a:cubicBezTo>
                <a:cubicBezTo>
                  <a:pt x="685269" y="3742165"/>
                  <a:pt x="687133" y="3741766"/>
                  <a:pt x="688598" y="3741367"/>
                </a:cubicBezTo>
                <a:cubicBezTo>
                  <a:pt x="690062" y="3740834"/>
                  <a:pt x="691394" y="3739902"/>
                  <a:pt x="692325" y="3738970"/>
                </a:cubicBezTo>
                <a:cubicBezTo>
                  <a:pt x="693389" y="3737772"/>
                  <a:pt x="694322" y="3736441"/>
                  <a:pt x="694988" y="3734711"/>
                </a:cubicBezTo>
                <a:cubicBezTo>
                  <a:pt x="695653" y="3733113"/>
                  <a:pt x="696053" y="3731250"/>
                  <a:pt x="696053" y="3729253"/>
                </a:cubicBezTo>
                <a:cubicBezTo>
                  <a:pt x="696053" y="3727388"/>
                  <a:pt x="695653" y="3725659"/>
                  <a:pt x="694988" y="3724061"/>
                </a:cubicBezTo>
                <a:cubicBezTo>
                  <a:pt x="694322" y="3722331"/>
                  <a:pt x="693389" y="3721000"/>
                  <a:pt x="692325" y="3719802"/>
                </a:cubicBezTo>
                <a:cubicBezTo>
                  <a:pt x="691260" y="3718737"/>
                  <a:pt x="689929" y="3717805"/>
                  <a:pt x="688332" y="3717139"/>
                </a:cubicBezTo>
                <a:cubicBezTo>
                  <a:pt x="686868" y="3716473"/>
                  <a:pt x="685269" y="3716208"/>
                  <a:pt x="683273" y="3716208"/>
                </a:cubicBezTo>
                <a:close/>
                <a:moveTo>
                  <a:pt x="465630" y="3716208"/>
                </a:moveTo>
                <a:cubicBezTo>
                  <a:pt x="459773" y="3716208"/>
                  <a:pt x="457244" y="3718204"/>
                  <a:pt x="455647" y="3719802"/>
                </a:cubicBezTo>
                <a:cubicBezTo>
                  <a:pt x="453117" y="3722464"/>
                  <a:pt x="452053" y="3725259"/>
                  <a:pt x="452053" y="3729253"/>
                </a:cubicBezTo>
                <a:cubicBezTo>
                  <a:pt x="452053" y="3733381"/>
                  <a:pt x="453117" y="3736175"/>
                  <a:pt x="455647" y="3738705"/>
                </a:cubicBezTo>
                <a:cubicBezTo>
                  <a:pt x="457244" y="3740302"/>
                  <a:pt x="459773" y="3742165"/>
                  <a:pt x="465630" y="3742165"/>
                </a:cubicBezTo>
                <a:cubicBezTo>
                  <a:pt x="467627" y="3742165"/>
                  <a:pt x="469491" y="3741766"/>
                  <a:pt x="470955" y="3741367"/>
                </a:cubicBezTo>
                <a:cubicBezTo>
                  <a:pt x="472419" y="3740834"/>
                  <a:pt x="473750" y="3739902"/>
                  <a:pt x="474682" y="3738970"/>
                </a:cubicBezTo>
                <a:cubicBezTo>
                  <a:pt x="475747" y="3737772"/>
                  <a:pt x="476679" y="3736441"/>
                  <a:pt x="477345" y="3734711"/>
                </a:cubicBezTo>
                <a:cubicBezTo>
                  <a:pt x="478010" y="3733113"/>
                  <a:pt x="478410" y="3731250"/>
                  <a:pt x="478410" y="3729253"/>
                </a:cubicBezTo>
                <a:cubicBezTo>
                  <a:pt x="478410" y="3727388"/>
                  <a:pt x="478010" y="3725659"/>
                  <a:pt x="477345" y="3724061"/>
                </a:cubicBezTo>
                <a:cubicBezTo>
                  <a:pt x="476679" y="3722331"/>
                  <a:pt x="475747" y="3721000"/>
                  <a:pt x="474682" y="3719802"/>
                </a:cubicBezTo>
                <a:cubicBezTo>
                  <a:pt x="473617" y="3718737"/>
                  <a:pt x="472286" y="3717805"/>
                  <a:pt x="470689" y="3717139"/>
                </a:cubicBezTo>
                <a:cubicBezTo>
                  <a:pt x="469225" y="3716473"/>
                  <a:pt x="467627" y="3716208"/>
                  <a:pt x="465630" y="3716208"/>
                </a:cubicBezTo>
                <a:close/>
                <a:moveTo>
                  <a:pt x="247987" y="3716208"/>
                </a:moveTo>
                <a:cubicBezTo>
                  <a:pt x="242131" y="3716208"/>
                  <a:pt x="239602" y="3718204"/>
                  <a:pt x="238005" y="3719802"/>
                </a:cubicBezTo>
                <a:cubicBezTo>
                  <a:pt x="235475" y="3722464"/>
                  <a:pt x="234411" y="3725259"/>
                  <a:pt x="234411" y="3729253"/>
                </a:cubicBezTo>
                <a:cubicBezTo>
                  <a:pt x="234411" y="3733381"/>
                  <a:pt x="235475" y="3736175"/>
                  <a:pt x="238005" y="3738705"/>
                </a:cubicBezTo>
                <a:cubicBezTo>
                  <a:pt x="239602" y="3740302"/>
                  <a:pt x="242131" y="3742165"/>
                  <a:pt x="247987" y="3742165"/>
                </a:cubicBezTo>
                <a:cubicBezTo>
                  <a:pt x="250118" y="3742165"/>
                  <a:pt x="251848" y="3741766"/>
                  <a:pt x="253312" y="3741367"/>
                </a:cubicBezTo>
                <a:cubicBezTo>
                  <a:pt x="254776" y="3740834"/>
                  <a:pt x="256107" y="3739902"/>
                  <a:pt x="257039" y="3738970"/>
                </a:cubicBezTo>
                <a:cubicBezTo>
                  <a:pt x="258104" y="3737772"/>
                  <a:pt x="259036" y="3736441"/>
                  <a:pt x="259702" y="3734711"/>
                </a:cubicBezTo>
                <a:cubicBezTo>
                  <a:pt x="260367" y="3733113"/>
                  <a:pt x="260767" y="3731250"/>
                  <a:pt x="260767" y="3729253"/>
                </a:cubicBezTo>
                <a:cubicBezTo>
                  <a:pt x="260767" y="3727388"/>
                  <a:pt x="260367" y="3725659"/>
                  <a:pt x="259702" y="3724061"/>
                </a:cubicBezTo>
                <a:cubicBezTo>
                  <a:pt x="259036" y="3722331"/>
                  <a:pt x="258104" y="3721000"/>
                  <a:pt x="257039" y="3719802"/>
                </a:cubicBezTo>
                <a:cubicBezTo>
                  <a:pt x="255974" y="3718737"/>
                  <a:pt x="254643" y="3717805"/>
                  <a:pt x="253046" y="3717139"/>
                </a:cubicBezTo>
                <a:cubicBezTo>
                  <a:pt x="251581" y="3716473"/>
                  <a:pt x="249985" y="3716208"/>
                  <a:pt x="247987" y="3716208"/>
                </a:cubicBezTo>
                <a:close/>
                <a:moveTo>
                  <a:pt x="30345" y="3716208"/>
                </a:moveTo>
                <a:cubicBezTo>
                  <a:pt x="24488" y="3716208"/>
                  <a:pt x="21959" y="3718204"/>
                  <a:pt x="20362" y="3719802"/>
                </a:cubicBezTo>
                <a:cubicBezTo>
                  <a:pt x="17832" y="3722464"/>
                  <a:pt x="16768" y="3725259"/>
                  <a:pt x="16768" y="3729253"/>
                </a:cubicBezTo>
                <a:cubicBezTo>
                  <a:pt x="16768" y="3733381"/>
                  <a:pt x="17832" y="3736175"/>
                  <a:pt x="20362" y="3738705"/>
                </a:cubicBezTo>
                <a:cubicBezTo>
                  <a:pt x="21959" y="3740302"/>
                  <a:pt x="24488" y="3742165"/>
                  <a:pt x="30345" y="3742165"/>
                </a:cubicBezTo>
                <a:cubicBezTo>
                  <a:pt x="32475" y="3742165"/>
                  <a:pt x="34206" y="3741766"/>
                  <a:pt x="35670" y="3741367"/>
                </a:cubicBezTo>
                <a:cubicBezTo>
                  <a:pt x="37134" y="3740834"/>
                  <a:pt x="38466" y="3739902"/>
                  <a:pt x="39397" y="3738970"/>
                </a:cubicBezTo>
                <a:cubicBezTo>
                  <a:pt x="40462" y="3737772"/>
                  <a:pt x="41394" y="3736441"/>
                  <a:pt x="42060" y="3734711"/>
                </a:cubicBezTo>
                <a:cubicBezTo>
                  <a:pt x="42725" y="3733113"/>
                  <a:pt x="42991" y="3731250"/>
                  <a:pt x="42991" y="3729253"/>
                </a:cubicBezTo>
                <a:cubicBezTo>
                  <a:pt x="42991" y="3727388"/>
                  <a:pt x="42725" y="3725659"/>
                  <a:pt x="42060" y="3724061"/>
                </a:cubicBezTo>
                <a:cubicBezTo>
                  <a:pt x="41394" y="3722331"/>
                  <a:pt x="40462" y="3721000"/>
                  <a:pt x="39397" y="3719802"/>
                </a:cubicBezTo>
                <a:cubicBezTo>
                  <a:pt x="38332" y="3718737"/>
                  <a:pt x="37001" y="3717805"/>
                  <a:pt x="35404" y="3717139"/>
                </a:cubicBezTo>
                <a:cubicBezTo>
                  <a:pt x="33940" y="3716473"/>
                  <a:pt x="32342" y="3716208"/>
                  <a:pt x="30345" y="3716208"/>
                </a:cubicBezTo>
                <a:close/>
                <a:moveTo>
                  <a:pt x="10475977" y="3699567"/>
                </a:moveTo>
                <a:cubicBezTo>
                  <a:pt x="10480237" y="3699567"/>
                  <a:pt x="10484230" y="3700366"/>
                  <a:pt x="10487824" y="3702096"/>
                </a:cubicBezTo>
                <a:cubicBezTo>
                  <a:pt x="10491419" y="3703694"/>
                  <a:pt x="10494613" y="3705824"/>
                  <a:pt x="10497143" y="3708486"/>
                </a:cubicBezTo>
                <a:cubicBezTo>
                  <a:pt x="10499672" y="3711148"/>
                  <a:pt x="10501801" y="3714344"/>
                  <a:pt x="10503266" y="3717937"/>
                </a:cubicBezTo>
                <a:cubicBezTo>
                  <a:pt x="10504730" y="3721532"/>
                  <a:pt x="10505529" y="3725259"/>
                  <a:pt x="10505529" y="3729385"/>
                </a:cubicBezTo>
                <a:cubicBezTo>
                  <a:pt x="10505529" y="3733512"/>
                  <a:pt x="10504730" y="3737506"/>
                  <a:pt x="10503266" y="3741100"/>
                </a:cubicBezTo>
                <a:cubicBezTo>
                  <a:pt x="10501669" y="3744695"/>
                  <a:pt x="10499672" y="3747756"/>
                  <a:pt x="10497143" y="3750419"/>
                </a:cubicBezTo>
                <a:cubicBezTo>
                  <a:pt x="10494480" y="3753081"/>
                  <a:pt x="10491419" y="3755212"/>
                  <a:pt x="10487824" y="3756675"/>
                </a:cubicBezTo>
                <a:cubicBezTo>
                  <a:pt x="10484098" y="3758139"/>
                  <a:pt x="10480237" y="3758938"/>
                  <a:pt x="10475977" y="3758938"/>
                </a:cubicBezTo>
                <a:cubicBezTo>
                  <a:pt x="10466924" y="3758938"/>
                  <a:pt x="10459736" y="3756009"/>
                  <a:pt x="10454145" y="3750419"/>
                </a:cubicBezTo>
                <a:cubicBezTo>
                  <a:pt x="10448554" y="3744695"/>
                  <a:pt x="10445759" y="3737639"/>
                  <a:pt x="10445759" y="3729253"/>
                </a:cubicBezTo>
                <a:cubicBezTo>
                  <a:pt x="10445759" y="3721000"/>
                  <a:pt x="10448554" y="3713944"/>
                  <a:pt x="10454145" y="3708220"/>
                </a:cubicBezTo>
                <a:cubicBezTo>
                  <a:pt x="10459603" y="3702363"/>
                  <a:pt x="10466924" y="3699567"/>
                  <a:pt x="10475977" y="3699567"/>
                </a:cubicBezTo>
                <a:close/>
                <a:moveTo>
                  <a:pt x="10258466" y="3699567"/>
                </a:moveTo>
                <a:cubicBezTo>
                  <a:pt x="10262592" y="3699567"/>
                  <a:pt x="10266586" y="3700366"/>
                  <a:pt x="10270313" y="3702096"/>
                </a:cubicBezTo>
                <a:cubicBezTo>
                  <a:pt x="10273907" y="3703694"/>
                  <a:pt x="10277101" y="3705824"/>
                  <a:pt x="10279631" y="3708486"/>
                </a:cubicBezTo>
                <a:cubicBezTo>
                  <a:pt x="10282160" y="3711148"/>
                  <a:pt x="10284290" y="3714344"/>
                  <a:pt x="10285754" y="3717937"/>
                </a:cubicBezTo>
                <a:cubicBezTo>
                  <a:pt x="10287218" y="3721532"/>
                  <a:pt x="10288017" y="3725259"/>
                  <a:pt x="10288017" y="3729385"/>
                </a:cubicBezTo>
                <a:cubicBezTo>
                  <a:pt x="10288017" y="3733512"/>
                  <a:pt x="10287218" y="3737506"/>
                  <a:pt x="10285754" y="3741100"/>
                </a:cubicBezTo>
                <a:cubicBezTo>
                  <a:pt x="10284157" y="3744695"/>
                  <a:pt x="10282160" y="3747756"/>
                  <a:pt x="10279631" y="3750419"/>
                </a:cubicBezTo>
                <a:cubicBezTo>
                  <a:pt x="10276969" y="3753081"/>
                  <a:pt x="10273907" y="3755212"/>
                  <a:pt x="10270313" y="3756675"/>
                </a:cubicBezTo>
                <a:cubicBezTo>
                  <a:pt x="10266586" y="3758139"/>
                  <a:pt x="10262725" y="3758938"/>
                  <a:pt x="10258466" y="3758938"/>
                </a:cubicBezTo>
                <a:cubicBezTo>
                  <a:pt x="10249546" y="3758938"/>
                  <a:pt x="10242224" y="3756009"/>
                  <a:pt x="10236633" y="3750419"/>
                </a:cubicBezTo>
                <a:cubicBezTo>
                  <a:pt x="10231043" y="3744695"/>
                  <a:pt x="10228247" y="3737639"/>
                  <a:pt x="10228247" y="3729253"/>
                </a:cubicBezTo>
                <a:cubicBezTo>
                  <a:pt x="10228247" y="3721000"/>
                  <a:pt x="10231043" y="3713944"/>
                  <a:pt x="10236633" y="3708220"/>
                </a:cubicBezTo>
                <a:cubicBezTo>
                  <a:pt x="10242092" y="3702363"/>
                  <a:pt x="10249413" y="3699567"/>
                  <a:pt x="10258466" y="3699567"/>
                </a:cubicBezTo>
                <a:close/>
                <a:moveTo>
                  <a:pt x="10040820" y="3699567"/>
                </a:moveTo>
                <a:cubicBezTo>
                  <a:pt x="10045080" y="3699567"/>
                  <a:pt x="10048941" y="3700366"/>
                  <a:pt x="10052534" y="3702096"/>
                </a:cubicBezTo>
                <a:cubicBezTo>
                  <a:pt x="10056129" y="3703694"/>
                  <a:pt x="10059323" y="3705824"/>
                  <a:pt x="10061852" y="3708486"/>
                </a:cubicBezTo>
                <a:cubicBezTo>
                  <a:pt x="10064382" y="3711148"/>
                  <a:pt x="10066512" y="3714344"/>
                  <a:pt x="10067976" y="3717937"/>
                </a:cubicBezTo>
                <a:cubicBezTo>
                  <a:pt x="10069440" y="3721532"/>
                  <a:pt x="10070239" y="3725259"/>
                  <a:pt x="10070239" y="3729385"/>
                </a:cubicBezTo>
                <a:cubicBezTo>
                  <a:pt x="10070239" y="3733512"/>
                  <a:pt x="10069440" y="3737506"/>
                  <a:pt x="10067976" y="3741100"/>
                </a:cubicBezTo>
                <a:cubicBezTo>
                  <a:pt x="10066379" y="3744695"/>
                  <a:pt x="10064382" y="3747756"/>
                  <a:pt x="10061852" y="3750419"/>
                </a:cubicBezTo>
                <a:cubicBezTo>
                  <a:pt x="10059190" y="3753081"/>
                  <a:pt x="10056129" y="3755212"/>
                  <a:pt x="10052534" y="3756675"/>
                </a:cubicBezTo>
                <a:cubicBezTo>
                  <a:pt x="10048941" y="3758139"/>
                  <a:pt x="10045080" y="3758938"/>
                  <a:pt x="10040820" y="3758938"/>
                </a:cubicBezTo>
                <a:cubicBezTo>
                  <a:pt x="10031767" y="3758938"/>
                  <a:pt x="10024579" y="3756009"/>
                  <a:pt x="10018988" y="3750419"/>
                </a:cubicBezTo>
                <a:cubicBezTo>
                  <a:pt x="10013397" y="3744695"/>
                  <a:pt x="10010602" y="3737639"/>
                  <a:pt x="10010602" y="3729253"/>
                </a:cubicBezTo>
                <a:cubicBezTo>
                  <a:pt x="10010602" y="3721000"/>
                  <a:pt x="10013397" y="3713944"/>
                  <a:pt x="10018988" y="3708220"/>
                </a:cubicBezTo>
                <a:cubicBezTo>
                  <a:pt x="10024579" y="3702363"/>
                  <a:pt x="10031767" y="3699567"/>
                  <a:pt x="10040820" y="3699567"/>
                </a:cubicBezTo>
                <a:close/>
                <a:moveTo>
                  <a:pt x="9823176" y="3699567"/>
                </a:moveTo>
                <a:cubicBezTo>
                  <a:pt x="9827435" y="3699567"/>
                  <a:pt x="9831296" y="3700366"/>
                  <a:pt x="9834890" y="3702096"/>
                </a:cubicBezTo>
                <a:cubicBezTo>
                  <a:pt x="9838617" y="3703694"/>
                  <a:pt x="9841679" y="3705824"/>
                  <a:pt x="9844208" y="3708486"/>
                </a:cubicBezTo>
                <a:cubicBezTo>
                  <a:pt x="9846737" y="3711148"/>
                  <a:pt x="9848867" y="3714344"/>
                  <a:pt x="9850331" y="3717937"/>
                </a:cubicBezTo>
                <a:cubicBezTo>
                  <a:pt x="9851796" y="3721532"/>
                  <a:pt x="9852595" y="3725259"/>
                  <a:pt x="9852595" y="3729385"/>
                </a:cubicBezTo>
                <a:cubicBezTo>
                  <a:pt x="9852595" y="3733512"/>
                  <a:pt x="9851796" y="3737506"/>
                  <a:pt x="9850331" y="3741100"/>
                </a:cubicBezTo>
                <a:cubicBezTo>
                  <a:pt x="9848734" y="3744695"/>
                  <a:pt x="9846737" y="3747756"/>
                  <a:pt x="9844208" y="3750419"/>
                </a:cubicBezTo>
                <a:cubicBezTo>
                  <a:pt x="9841546" y="3753081"/>
                  <a:pt x="9838484" y="3755212"/>
                  <a:pt x="9834890" y="3756675"/>
                </a:cubicBezTo>
                <a:cubicBezTo>
                  <a:pt x="9831296" y="3758139"/>
                  <a:pt x="9827435" y="3758938"/>
                  <a:pt x="9823176" y="3758938"/>
                </a:cubicBezTo>
                <a:cubicBezTo>
                  <a:pt x="9814123" y="3758938"/>
                  <a:pt x="9806935" y="3756009"/>
                  <a:pt x="9801343" y="3750419"/>
                </a:cubicBezTo>
                <a:cubicBezTo>
                  <a:pt x="9795753" y="3744695"/>
                  <a:pt x="9792957" y="3737639"/>
                  <a:pt x="9792957" y="3729253"/>
                </a:cubicBezTo>
                <a:cubicBezTo>
                  <a:pt x="9792957" y="3721000"/>
                  <a:pt x="9795753" y="3713944"/>
                  <a:pt x="9801343" y="3708220"/>
                </a:cubicBezTo>
                <a:cubicBezTo>
                  <a:pt x="9806935" y="3702363"/>
                  <a:pt x="9814123" y="3699567"/>
                  <a:pt x="9823176" y="3699567"/>
                </a:cubicBezTo>
                <a:close/>
                <a:moveTo>
                  <a:pt x="9605531" y="3699567"/>
                </a:moveTo>
                <a:cubicBezTo>
                  <a:pt x="9609790" y="3699567"/>
                  <a:pt x="9613784" y="3700366"/>
                  <a:pt x="9617245" y="3702096"/>
                </a:cubicBezTo>
                <a:cubicBezTo>
                  <a:pt x="9620839" y="3703694"/>
                  <a:pt x="9624033" y="3705824"/>
                  <a:pt x="9626562" y="3708486"/>
                </a:cubicBezTo>
                <a:cubicBezTo>
                  <a:pt x="9629092" y="3711148"/>
                  <a:pt x="9631222" y="3714344"/>
                  <a:pt x="9632686" y="3717937"/>
                </a:cubicBezTo>
                <a:cubicBezTo>
                  <a:pt x="9634150" y="3721532"/>
                  <a:pt x="9634949" y="3725259"/>
                  <a:pt x="9634949" y="3729385"/>
                </a:cubicBezTo>
                <a:cubicBezTo>
                  <a:pt x="9634949" y="3733512"/>
                  <a:pt x="9634150" y="3737506"/>
                  <a:pt x="9632686" y="3741100"/>
                </a:cubicBezTo>
                <a:cubicBezTo>
                  <a:pt x="9631089" y="3744695"/>
                  <a:pt x="9629092" y="3747756"/>
                  <a:pt x="9626562" y="3750419"/>
                </a:cubicBezTo>
                <a:cubicBezTo>
                  <a:pt x="9623901" y="3753081"/>
                  <a:pt x="9620839" y="3755212"/>
                  <a:pt x="9617245" y="3756675"/>
                </a:cubicBezTo>
                <a:cubicBezTo>
                  <a:pt x="9613651" y="3758139"/>
                  <a:pt x="9609790" y="3758938"/>
                  <a:pt x="9605531" y="3758938"/>
                </a:cubicBezTo>
                <a:cubicBezTo>
                  <a:pt x="9596610" y="3758938"/>
                  <a:pt x="9589289" y="3756009"/>
                  <a:pt x="9583698" y="3750419"/>
                </a:cubicBezTo>
                <a:cubicBezTo>
                  <a:pt x="9578108" y="3744695"/>
                  <a:pt x="9575312" y="3737639"/>
                  <a:pt x="9575312" y="3729253"/>
                </a:cubicBezTo>
                <a:cubicBezTo>
                  <a:pt x="9575312" y="3721000"/>
                  <a:pt x="9578108" y="3713944"/>
                  <a:pt x="9583698" y="3708220"/>
                </a:cubicBezTo>
                <a:cubicBezTo>
                  <a:pt x="9589289" y="3702363"/>
                  <a:pt x="9596478" y="3699567"/>
                  <a:pt x="9605531" y="3699567"/>
                </a:cubicBezTo>
                <a:close/>
                <a:moveTo>
                  <a:pt x="9387885" y="3699567"/>
                </a:moveTo>
                <a:cubicBezTo>
                  <a:pt x="9392145" y="3699567"/>
                  <a:pt x="9396138" y="3700366"/>
                  <a:pt x="9399599" y="3702096"/>
                </a:cubicBezTo>
                <a:cubicBezTo>
                  <a:pt x="9403194" y="3703694"/>
                  <a:pt x="9406388" y="3705824"/>
                  <a:pt x="9408917" y="3708486"/>
                </a:cubicBezTo>
                <a:cubicBezTo>
                  <a:pt x="9411447" y="3711148"/>
                  <a:pt x="9413576" y="3714344"/>
                  <a:pt x="9415041" y="3717937"/>
                </a:cubicBezTo>
                <a:cubicBezTo>
                  <a:pt x="9416505" y="3721532"/>
                  <a:pt x="9417304" y="3725259"/>
                  <a:pt x="9417304" y="3729385"/>
                </a:cubicBezTo>
                <a:cubicBezTo>
                  <a:pt x="9417304" y="3733512"/>
                  <a:pt x="9416505" y="3737506"/>
                  <a:pt x="9415041" y="3741100"/>
                </a:cubicBezTo>
                <a:cubicBezTo>
                  <a:pt x="9413444" y="3744695"/>
                  <a:pt x="9411447" y="3747756"/>
                  <a:pt x="9408917" y="3750419"/>
                </a:cubicBezTo>
                <a:cubicBezTo>
                  <a:pt x="9406255" y="3753081"/>
                  <a:pt x="9403194" y="3755212"/>
                  <a:pt x="9399599" y="3756675"/>
                </a:cubicBezTo>
                <a:cubicBezTo>
                  <a:pt x="9396005" y="3758139"/>
                  <a:pt x="9392145" y="3758938"/>
                  <a:pt x="9387885" y="3758938"/>
                </a:cubicBezTo>
                <a:cubicBezTo>
                  <a:pt x="9378965" y="3758938"/>
                  <a:pt x="9371644" y="3756009"/>
                  <a:pt x="9366053" y="3750419"/>
                </a:cubicBezTo>
                <a:cubicBezTo>
                  <a:pt x="9360462" y="3744695"/>
                  <a:pt x="9357667" y="3737639"/>
                  <a:pt x="9357667" y="3729253"/>
                </a:cubicBezTo>
                <a:cubicBezTo>
                  <a:pt x="9357667" y="3721000"/>
                  <a:pt x="9360462" y="3713944"/>
                  <a:pt x="9366053" y="3708220"/>
                </a:cubicBezTo>
                <a:cubicBezTo>
                  <a:pt x="9371644" y="3702363"/>
                  <a:pt x="9378832" y="3699567"/>
                  <a:pt x="9387885" y="3699567"/>
                </a:cubicBezTo>
                <a:close/>
                <a:moveTo>
                  <a:pt x="9170374" y="3699567"/>
                </a:moveTo>
                <a:cubicBezTo>
                  <a:pt x="9174500" y="3699567"/>
                  <a:pt x="9178494" y="3700366"/>
                  <a:pt x="9182088" y="3702096"/>
                </a:cubicBezTo>
                <a:cubicBezTo>
                  <a:pt x="9185682" y="3703694"/>
                  <a:pt x="9188876" y="3705824"/>
                  <a:pt x="9191405" y="3708486"/>
                </a:cubicBezTo>
                <a:cubicBezTo>
                  <a:pt x="9193935" y="3711148"/>
                  <a:pt x="9196065" y="3714344"/>
                  <a:pt x="9197529" y="3717937"/>
                </a:cubicBezTo>
                <a:cubicBezTo>
                  <a:pt x="9198993" y="3721532"/>
                  <a:pt x="9199792" y="3725259"/>
                  <a:pt x="9199792" y="3729385"/>
                </a:cubicBezTo>
                <a:cubicBezTo>
                  <a:pt x="9199792" y="3733512"/>
                  <a:pt x="9198993" y="3737506"/>
                  <a:pt x="9197529" y="3741100"/>
                </a:cubicBezTo>
                <a:cubicBezTo>
                  <a:pt x="9195932" y="3744695"/>
                  <a:pt x="9193935" y="3747756"/>
                  <a:pt x="9191405" y="3750419"/>
                </a:cubicBezTo>
                <a:cubicBezTo>
                  <a:pt x="9188744" y="3753081"/>
                  <a:pt x="9185682" y="3755212"/>
                  <a:pt x="9182088" y="3756675"/>
                </a:cubicBezTo>
                <a:cubicBezTo>
                  <a:pt x="9178494" y="3758139"/>
                  <a:pt x="9174633" y="3758938"/>
                  <a:pt x="9170374" y="3758938"/>
                </a:cubicBezTo>
                <a:cubicBezTo>
                  <a:pt x="9161453" y="3758938"/>
                  <a:pt x="9154132" y="3756009"/>
                  <a:pt x="9148541" y="3750419"/>
                </a:cubicBezTo>
                <a:cubicBezTo>
                  <a:pt x="9142951" y="3744695"/>
                  <a:pt x="9140155" y="3737639"/>
                  <a:pt x="9140155" y="3729253"/>
                </a:cubicBezTo>
                <a:cubicBezTo>
                  <a:pt x="9140155" y="3721000"/>
                  <a:pt x="9142951" y="3713944"/>
                  <a:pt x="9148541" y="3708220"/>
                </a:cubicBezTo>
                <a:cubicBezTo>
                  <a:pt x="9154132" y="3702363"/>
                  <a:pt x="9161321" y="3699567"/>
                  <a:pt x="9170374" y="3699567"/>
                </a:cubicBezTo>
                <a:close/>
                <a:moveTo>
                  <a:pt x="8952728" y="3699567"/>
                </a:moveTo>
                <a:cubicBezTo>
                  <a:pt x="8956988" y="3699567"/>
                  <a:pt x="8960849" y="3700366"/>
                  <a:pt x="8964442" y="3702096"/>
                </a:cubicBezTo>
                <a:cubicBezTo>
                  <a:pt x="8968037" y="3703694"/>
                  <a:pt x="8971231" y="3705824"/>
                  <a:pt x="8973760" y="3708486"/>
                </a:cubicBezTo>
                <a:cubicBezTo>
                  <a:pt x="8976290" y="3711148"/>
                  <a:pt x="8978419" y="3714344"/>
                  <a:pt x="8979884" y="3717937"/>
                </a:cubicBezTo>
                <a:cubicBezTo>
                  <a:pt x="8981348" y="3721532"/>
                  <a:pt x="8982147" y="3725259"/>
                  <a:pt x="8982147" y="3729385"/>
                </a:cubicBezTo>
                <a:cubicBezTo>
                  <a:pt x="8982147" y="3733512"/>
                  <a:pt x="8981348" y="3737506"/>
                  <a:pt x="8979884" y="3741100"/>
                </a:cubicBezTo>
                <a:cubicBezTo>
                  <a:pt x="8978287" y="3744695"/>
                  <a:pt x="8976290" y="3747756"/>
                  <a:pt x="8973760" y="3750419"/>
                </a:cubicBezTo>
                <a:cubicBezTo>
                  <a:pt x="8971098" y="3753081"/>
                  <a:pt x="8968037" y="3755212"/>
                  <a:pt x="8964442" y="3756675"/>
                </a:cubicBezTo>
                <a:cubicBezTo>
                  <a:pt x="8960849" y="3758139"/>
                  <a:pt x="8956988" y="3758938"/>
                  <a:pt x="8952728" y="3758938"/>
                </a:cubicBezTo>
                <a:cubicBezTo>
                  <a:pt x="8943808" y="3758938"/>
                  <a:pt x="8936487" y="3756009"/>
                  <a:pt x="8930896" y="3750419"/>
                </a:cubicBezTo>
                <a:cubicBezTo>
                  <a:pt x="8925305" y="3744695"/>
                  <a:pt x="8922510" y="3737639"/>
                  <a:pt x="8922510" y="3729253"/>
                </a:cubicBezTo>
                <a:cubicBezTo>
                  <a:pt x="8922510" y="3721000"/>
                  <a:pt x="8925305" y="3713944"/>
                  <a:pt x="8930896" y="3708220"/>
                </a:cubicBezTo>
                <a:cubicBezTo>
                  <a:pt x="8936487" y="3702363"/>
                  <a:pt x="8943675" y="3699567"/>
                  <a:pt x="8952728" y="3699567"/>
                </a:cubicBezTo>
                <a:close/>
                <a:moveTo>
                  <a:pt x="8735083" y="3699567"/>
                </a:moveTo>
                <a:cubicBezTo>
                  <a:pt x="8739342" y="3699567"/>
                  <a:pt x="8743203" y="3700366"/>
                  <a:pt x="8746797" y="3702096"/>
                </a:cubicBezTo>
                <a:cubicBezTo>
                  <a:pt x="8750391" y="3703694"/>
                  <a:pt x="8753586" y="3705824"/>
                  <a:pt x="8756115" y="3708486"/>
                </a:cubicBezTo>
                <a:cubicBezTo>
                  <a:pt x="8758644" y="3711148"/>
                  <a:pt x="8760774" y="3714344"/>
                  <a:pt x="8762238" y="3717937"/>
                </a:cubicBezTo>
                <a:cubicBezTo>
                  <a:pt x="8763702" y="3721532"/>
                  <a:pt x="8764502" y="3725259"/>
                  <a:pt x="8764502" y="3729385"/>
                </a:cubicBezTo>
                <a:cubicBezTo>
                  <a:pt x="8764502" y="3733512"/>
                  <a:pt x="8763702" y="3737506"/>
                  <a:pt x="8762238" y="3741100"/>
                </a:cubicBezTo>
                <a:cubicBezTo>
                  <a:pt x="8760641" y="3744695"/>
                  <a:pt x="8758644" y="3747756"/>
                  <a:pt x="8756115" y="3750419"/>
                </a:cubicBezTo>
                <a:cubicBezTo>
                  <a:pt x="8753453" y="3753081"/>
                  <a:pt x="8750391" y="3755212"/>
                  <a:pt x="8746797" y="3756675"/>
                </a:cubicBezTo>
                <a:cubicBezTo>
                  <a:pt x="8743203" y="3758139"/>
                  <a:pt x="8739342" y="3758938"/>
                  <a:pt x="8735083" y="3758938"/>
                </a:cubicBezTo>
                <a:cubicBezTo>
                  <a:pt x="8726030" y="3758938"/>
                  <a:pt x="8718841" y="3756009"/>
                  <a:pt x="8713250" y="3750419"/>
                </a:cubicBezTo>
                <a:cubicBezTo>
                  <a:pt x="8707660" y="3744695"/>
                  <a:pt x="8704864" y="3737639"/>
                  <a:pt x="8704864" y="3729253"/>
                </a:cubicBezTo>
                <a:cubicBezTo>
                  <a:pt x="8704864" y="3721000"/>
                  <a:pt x="8707660" y="3713944"/>
                  <a:pt x="8713250" y="3708220"/>
                </a:cubicBezTo>
                <a:cubicBezTo>
                  <a:pt x="8718841" y="3702363"/>
                  <a:pt x="8726030" y="3699567"/>
                  <a:pt x="8735083" y="3699567"/>
                </a:cubicBezTo>
                <a:close/>
                <a:moveTo>
                  <a:pt x="8517438" y="3699567"/>
                </a:moveTo>
                <a:cubicBezTo>
                  <a:pt x="8521698" y="3699567"/>
                  <a:pt x="8525559" y="3700366"/>
                  <a:pt x="8529152" y="3702096"/>
                </a:cubicBezTo>
                <a:cubicBezTo>
                  <a:pt x="8532880" y="3703694"/>
                  <a:pt x="8535941" y="3705824"/>
                  <a:pt x="8538470" y="3708486"/>
                </a:cubicBezTo>
                <a:cubicBezTo>
                  <a:pt x="8541000" y="3711148"/>
                  <a:pt x="8543130" y="3714344"/>
                  <a:pt x="8544594" y="3717937"/>
                </a:cubicBezTo>
                <a:cubicBezTo>
                  <a:pt x="8546058" y="3721532"/>
                  <a:pt x="8546857" y="3725259"/>
                  <a:pt x="8546857" y="3729385"/>
                </a:cubicBezTo>
                <a:cubicBezTo>
                  <a:pt x="8546857" y="3733512"/>
                  <a:pt x="8546058" y="3737506"/>
                  <a:pt x="8544594" y="3741100"/>
                </a:cubicBezTo>
                <a:cubicBezTo>
                  <a:pt x="8542997" y="3744695"/>
                  <a:pt x="8541000" y="3747756"/>
                  <a:pt x="8538470" y="3750419"/>
                </a:cubicBezTo>
                <a:cubicBezTo>
                  <a:pt x="8535808" y="3753081"/>
                  <a:pt x="8532747" y="3755212"/>
                  <a:pt x="8529152" y="3756675"/>
                </a:cubicBezTo>
                <a:cubicBezTo>
                  <a:pt x="8525559" y="3758139"/>
                  <a:pt x="8521698" y="3758938"/>
                  <a:pt x="8517438" y="3758938"/>
                </a:cubicBezTo>
                <a:cubicBezTo>
                  <a:pt x="8508385" y="3758938"/>
                  <a:pt x="8501197" y="3756009"/>
                  <a:pt x="8495606" y="3750419"/>
                </a:cubicBezTo>
                <a:cubicBezTo>
                  <a:pt x="8490015" y="3744695"/>
                  <a:pt x="8487220" y="3737639"/>
                  <a:pt x="8487220" y="3729253"/>
                </a:cubicBezTo>
                <a:cubicBezTo>
                  <a:pt x="8487220" y="3721000"/>
                  <a:pt x="8490015" y="3713944"/>
                  <a:pt x="8495606" y="3708220"/>
                </a:cubicBezTo>
                <a:cubicBezTo>
                  <a:pt x="8501197" y="3702363"/>
                  <a:pt x="8508385" y="3699567"/>
                  <a:pt x="8517438" y="3699567"/>
                </a:cubicBezTo>
                <a:close/>
                <a:moveTo>
                  <a:pt x="8299793" y="3699567"/>
                </a:moveTo>
                <a:cubicBezTo>
                  <a:pt x="8304052" y="3699567"/>
                  <a:pt x="8308046" y="3700366"/>
                  <a:pt x="8311507" y="3702096"/>
                </a:cubicBezTo>
                <a:cubicBezTo>
                  <a:pt x="8315235" y="3703694"/>
                  <a:pt x="8318296" y="3705824"/>
                  <a:pt x="8320825" y="3708486"/>
                </a:cubicBezTo>
                <a:cubicBezTo>
                  <a:pt x="8323354" y="3711148"/>
                  <a:pt x="8325484" y="3714344"/>
                  <a:pt x="8326948" y="3717937"/>
                </a:cubicBezTo>
                <a:cubicBezTo>
                  <a:pt x="8328413" y="3721532"/>
                  <a:pt x="8329212" y="3725259"/>
                  <a:pt x="8329212" y="3729385"/>
                </a:cubicBezTo>
                <a:cubicBezTo>
                  <a:pt x="8329212" y="3733512"/>
                  <a:pt x="8328413" y="3737506"/>
                  <a:pt x="8326948" y="3741100"/>
                </a:cubicBezTo>
                <a:cubicBezTo>
                  <a:pt x="8325351" y="3744695"/>
                  <a:pt x="8323354" y="3747756"/>
                  <a:pt x="8320825" y="3750419"/>
                </a:cubicBezTo>
                <a:cubicBezTo>
                  <a:pt x="8318163" y="3753081"/>
                  <a:pt x="8315101" y="3755212"/>
                  <a:pt x="8311507" y="3756675"/>
                </a:cubicBezTo>
                <a:cubicBezTo>
                  <a:pt x="8307913" y="3758139"/>
                  <a:pt x="8304052" y="3758938"/>
                  <a:pt x="8299793" y="3758938"/>
                </a:cubicBezTo>
                <a:cubicBezTo>
                  <a:pt x="8290874" y="3758938"/>
                  <a:pt x="8283553" y="3756009"/>
                  <a:pt x="8277960" y="3750419"/>
                </a:cubicBezTo>
                <a:cubicBezTo>
                  <a:pt x="8272370" y="3744695"/>
                  <a:pt x="8269574" y="3737639"/>
                  <a:pt x="8269574" y="3729253"/>
                </a:cubicBezTo>
                <a:cubicBezTo>
                  <a:pt x="8269574" y="3721000"/>
                  <a:pt x="8272370" y="3713944"/>
                  <a:pt x="8277960" y="3708220"/>
                </a:cubicBezTo>
                <a:cubicBezTo>
                  <a:pt x="8283553" y="3702363"/>
                  <a:pt x="8290741" y="3699567"/>
                  <a:pt x="8299793" y="3699567"/>
                </a:cubicBezTo>
                <a:close/>
                <a:moveTo>
                  <a:pt x="8082281" y="3699567"/>
                </a:moveTo>
                <a:cubicBezTo>
                  <a:pt x="8086407" y="3699567"/>
                  <a:pt x="8090401" y="3700366"/>
                  <a:pt x="8094127" y="3702096"/>
                </a:cubicBezTo>
                <a:cubicBezTo>
                  <a:pt x="8097855" y="3703694"/>
                  <a:pt x="8100916" y="3705824"/>
                  <a:pt x="8103446" y="3708486"/>
                </a:cubicBezTo>
                <a:cubicBezTo>
                  <a:pt x="8105975" y="3711148"/>
                  <a:pt x="8108104" y="3714344"/>
                  <a:pt x="8109569" y="3717937"/>
                </a:cubicBezTo>
                <a:cubicBezTo>
                  <a:pt x="8111033" y="3721532"/>
                  <a:pt x="8111832" y="3725259"/>
                  <a:pt x="8111832" y="3729385"/>
                </a:cubicBezTo>
                <a:cubicBezTo>
                  <a:pt x="8111832" y="3733512"/>
                  <a:pt x="8111033" y="3737506"/>
                  <a:pt x="8109569" y="3741100"/>
                </a:cubicBezTo>
                <a:cubicBezTo>
                  <a:pt x="8107972" y="3744695"/>
                  <a:pt x="8105975" y="3747756"/>
                  <a:pt x="8103446" y="3750419"/>
                </a:cubicBezTo>
                <a:cubicBezTo>
                  <a:pt x="8100783" y="3753081"/>
                  <a:pt x="8097722" y="3755212"/>
                  <a:pt x="8094127" y="3756675"/>
                </a:cubicBezTo>
                <a:cubicBezTo>
                  <a:pt x="8090401" y="3758139"/>
                  <a:pt x="8086540" y="3758938"/>
                  <a:pt x="8082281" y="3758938"/>
                </a:cubicBezTo>
                <a:cubicBezTo>
                  <a:pt x="8073361" y="3758938"/>
                  <a:pt x="8066040" y="3756009"/>
                  <a:pt x="8060448" y="3750419"/>
                </a:cubicBezTo>
                <a:cubicBezTo>
                  <a:pt x="8054857" y="3744695"/>
                  <a:pt x="8052062" y="3737639"/>
                  <a:pt x="8052062" y="3729253"/>
                </a:cubicBezTo>
                <a:cubicBezTo>
                  <a:pt x="8052062" y="3721000"/>
                  <a:pt x="8054857" y="3713944"/>
                  <a:pt x="8060448" y="3708220"/>
                </a:cubicBezTo>
                <a:cubicBezTo>
                  <a:pt x="8066040" y="3702363"/>
                  <a:pt x="8073228" y="3699567"/>
                  <a:pt x="8082281" y="3699567"/>
                </a:cubicBezTo>
                <a:close/>
                <a:moveTo>
                  <a:pt x="7864636" y="3699567"/>
                </a:moveTo>
                <a:cubicBezTo>
                  <a:pt x="7868762" y="3699567"/>
                  <a:pt x="7872756" y="3700366"/>
                  <a:pt x="7876483" y="3702096"/>
                </a:cubicBezTo>
                <a:cubicBezTo>
                  <a:pt x="7880210" y="3703694"/>
                  <a:pt x="7883272" y="3705824"/>
                  <a:pt x="7885802" y="3708486"/>
                </a:cubicBezTo>
                <a:cubicBezTo>
                  <a:pt x="7888331" y="3711148"/>
                  <a:pt x="7890460" y="3714344"/>
                  <a:pt x="7891924" y="3717937"/>
                </a:cubicBezTo>
                <a:cubicBezTo>
                  <a:pt x="7893389" y="3721532"/>
                  <a:pt x="7894188" y="3725259"/>
                  <a:pt x="7894188" y="3729385"/>
                </a:cubicBezTo>
                <a:cubicBezTo>
                  <a:pt x="7894188" y="3733512"/>
                  <a:pt x="7893389" y="3737506"/>
                  <a:pt x="7891924" y="3741100"/>
                </a:cubicBezTo>
                <a:cubicBezTo>
                  <a:pt x="7890327" y="3744695"/>
                  <a:pt x="7888331" y="3747756"/>
                  <a:pt x="7885802" y="3750419"/>
                </a:cubicBezTo>
                <a:cubicBezTo>
                  <a:pt x="7883139" y="3753081"/>
                  <a:pt x="7880078" y="3755212"/>
                  <a:pt x="7876483" y="3756675"/>
                </a:cubicBezTo>
                <a:cubicBezTo>
                  <a:pt x="7872756" y="3758139"/>
                  <a:pt x="7868895" y="3758938"/>
                  <a:pt x="7864636" y="3758938"/>
                </a:cubicBezTo>
                <a:cubicBezTo>
                  <a:pt x="7855717" y="3758938"/>
                  <a:pt x="7848396" y="3756009"/>
                  <a:pt x="7842803" y="3750419"/>
                </a:cubicBezTo>
                <a:cubicBezTo>
                  <a:pt x="7837213" y="3744695"/>
                  <a:pt x="7834417" y="3737639"/>
                  <a:pt x="7834417" y="3729253"/>
                </a:cubicBezTo>
                <a:cubicBezTo>
                  <a:pt x="7834417" y="3721000"/>
                  <a:pt x="7837213" y="3713944"/>
                  <a:pt x="7842803" y="3708220"/>
                </a:cubicBezTo>
                <a:cubicBezTo>
                  <a:pt x="7848396" y="3702363"/>
                  <a:pt x="7855584" y="3699567"/>
                  <a:pt x="7864636" y="3699567"/>
                </a:cubicBezTo>
                <a:close/>
                <a:moveTo>
                  <a:pt x="7646991" y="3699567"/>
                </a:moveTo>
                <a:cubicBezTo>
                  <a:pt x="7651250" y="3699567"/>
                  <a:pt x="7655111" y="3700366"/>
                  <a:pt x="7658705" y="3702096"/>
                </a:cubicBezTo>
                <a:cubicBezTo>
                  <a:pt x="7662432" y="3703694"/>
                  <a:pt x="7665493" y="3705824"/>
                  <a:pt x="7668022" y="3708486"/>
                </a:cubicBezTo>
                <a:cubicBezTo>
                  <a:pt x="7670552" y="3711148"/>
                  <a:pt x="7672682" y="3714344"/>
                  <a:pt x="7674146" y="3717937"/>
                </a:cubicBezTo>
                <a:cubicBezTo>
                  <a:pt x="7675610" y="3721532"/>
                  <a:pt x="7676409" y="3725259"/>
                  <a:pt x="7676409" y="3729385"/>
                </a:cubicBezTo>
                <a:cubicBezTo>
                  <a:pt x="7676409" y="3733512"/>
                  <a:pt x="7675610" y="3737506"/>
                  <a:pt x="7674146" y="3741100"/>
                </a:cubicBezTo>
                <a:cubicBezTo>
                  <a:pt x="7672549" y="3744695"/>
                  <a:pt x="7670552" y="3747756"/>
                  <a:pt x="7668022" y="3750419"/>
                </a:cubicBezTo>
                <a:cubicBezTo>
                  <a:pt x="7665361" y="3753081"/>
                  <a:pt x="7662299" y="3755212"/>
                  <a:pt x="7658705" y="3756675"/>
                </a:cubicBezTo>
                <a:cubicBezTo>
                  <a:pt x="7655111" y="3758139"/>
                  <a:pt x="7651250" y="3758938"/>
                  <a:pt x="7646991" y="3758938"/>
                </a:cubicBezTo>
                <a:cubicBezTo>
                  <a:pt x="7638071" y="3758938"/>
                  <a:pt x="7630750" y="3756009"/>
                  <a:pt x="7625158" y="3750419"/>
                </a:cubicBezTo>
                <a:cubicBezTo>
                  <a:pt x="7619568" y="3744695"/>
                  <a:pt x="7616772" y="3737639"/>
                  <a:pt x="7616772" y="3729253"/>
                </a:cubicBezTo>
                <a:cubicBezTo>
                  <a:pt x="7616772" y="3721000"/>
                  <a:pt x="7619568" y="3713944"/>
                  <a:pt x="7625158" y="3708220"/>
                </a:cubicBezTo>
                <a:cubicBezTo>
                  <a:pt x="7630750" y="3702363"/>
                  <a:pt x="7637939" y="3699567"/>
                  <a:pt x="7646991" y="3699567"/>
                </a:cubicBezTo>
                <a:close/>
                <a:moveTo>
                  <a:pt x="7429345" y="3699567"/>
                </a:moveTo>
                <a:cubicBezTo>
                  <a:pt x="7433605" y="3699567"/>
                  <a:pt x="7437466" y="3700366"/>
                  <a:pt x="7441059" y="3702096"/>
                </a:cubicBezTo>
                <a:cubicBezTo>
                  <a:pt x="7444787" y="3703694"/>
                  <a:pt x="7447848" y="3705824"/>
                  <a:pt x="7450377" y="3708486"/>
                </a:cubicBezTo>
                <a:cubicBezTo>
                  <a:pt x="7452907" y="3711148"/>
                  <a:pt x="7455036" y="3714344"/>
                  <a:pt x="7456501" y="3717937"/>
                </a:cubicBezTo>
                <a:cubicBezTo>
                  <a:pt x="7457965" y="3721532"/>
                  <a:pt x="7458764" y="3725259"/>
                  <a:pt x="7458764" y="3729385"/>
                </a:cubicBezTo>
                <a:cubicBezTo>
                  <a:pt x="7458764" y="3733512"/>
                  <a:pt x="7457965" y="3737506"/>
                  <a:pt x="7456501" y="3741100"/>
                </a:cubicBezTo>
                <a:cubicBezTo>
                  <a:pt x="7454904" y="3744695"/>
                  <a:pt x="7452907" y="3747756"/>
                  <a:pt x="7450377" y="3750419"/>
                </a:cubicBezTo>
                <a:cubicBezTo>
                  <a:pt x="7447715" y="3753081"/>
                  <a:pt x="7444654" y="3755212"/>
                  <a:pt x="7441059" y="3756675"/>
                </a:cubicBezTo>
                <a:cubicBezTo>
                  <a:pt x="7437466" y="3758139"/>
                  <a:pt x="7433605" y="3758938"/>
                  <a:pt x="7429345" y="3758938"/>
                </a:cubicBezTo>
                <a:cubicBezTo>
                  <a:pt x="7420426" y="3758938"/>
                  <a:pt x="7413105" y="3756009"/>
                  <a:pt x="7407513" y="3750419"/>
                </a:cubicBezTo>
                <a:cubicBezTo>
                  <a:pt x="7401922" y="3744695"/>
                  <a:pt x="7399127" y="3737639"/>
                  <a:pt x="7399127" y="3729253"/>
                </a:cubicBezTo>
                <a:cubicBezTo>
                  <a:pt x="7399127" y="3721000"/>
                  <a:pt x="7401922" y="3713944"/>
                  <a:pt x="7407513" y="3708220"/>
                </a:cubicBezTo>
                <a:cubicBezTo>
                  <a:pt x="7413105" y="3702363"/>
                  <a:pt x="7420293" y="3699567"/>
                  <a:pt x="7429345" y="3699567"/>
                </a:cubicBezTo>
                <a:close/>
                <a:moveTo>
                  <a:pt x="7211701" y="3699567"/>
                </a:moveTo>
                <a:cubicBezTo>
                  <a:pt x="7215960" y="3699567"/>
                  <a:pt x="7219954" y="3700366"/>
                  <a:pt x="7223415" y="3702096"/>
                </a:cubicBezTo>
                <a:cubicBezTo>
                  <a:pt x="7227142" y="3703694"/>
                  <a:pt x="7230204" y="3705824"/>
                  <a:pt x="7232733" y="3708486"/>
                </a:cubicBezTo>
                <a:cubicBezTo>
                  <a:pt x="7235262" y="3711148"/>
                  <a:pt x="7237392" y="3714344"/>
                  <a:pt x="7238856" y="3717937"/>
                </a:cubicBezTo>
                <a:cubicBezTo>
                  <a:pt x="7240321" y="3721532"/>
                  <a:pt x="7241120" y="3725259"/>
                  <a:pt x="7241120" y="3729385"/>
                </a:cubicBezTo>
                <a:cubicBezTo>
                  <a:pt x="7241120" y="3733512"/>
                  <a:pt x="7240321" y="3737506"/>
                  <a:pt x="7238856" y="3741100"/>
                </a:cubicBezTo>
                <a:cubicBezTo>
                  <a:pt x="7237259" y="3744695"/>
                  <a:pt x="7235262" y="3747756"/>
                  <a:pt x="7232733" y="3750419"/>
                </a:cubicBezTo>
                <a:cubicBezTo>
                  <a:pt x="7230071" y="3753081"/>
                  <a:pt x="7227009" y="3755212"/>
                  <a:pt x="7223415" y="3756675"/>
                </a:cubicBezTo>
                <a:cubicBezTo>
                  <a:pt x="7219821" y="3758139"/>
                  <a:pt x="7215960" y="3758938"/>
                  <a:pt x="7211701" y="3758938"/>
                </a:cubicBezTo>
                <a:cubicBezTo>
                  <a:pt x="7202782" y="3758938"/>
                  <a:pt x="7195460" y="3756009"/>
                  <a:pt x="7189868" y="3750419"/>
                </a:cubicBezTo>
                <a:cubicBezTo>
                  <a:pt x="7184278" y="3744695"/>
                  <a:pt x="7181482" y="3737639"/>
                  <a:pt x="7181482" y="3729253"/>
                </a:cubicBezTo>
                <a:cubicBezTo>
                  <a:pt x="7181482" y="3721000"/>
                  <a:pt x="7184278" y="3713944"/>
                  <a:pt x="7189868" y="3708220"/>
                </a:cubicBezTo>
                <a:cubicBezTo>
                  <a:pt x="7195460" y="3702363"/>
                  <a:pt x="7202649" y="3699567"/>
                  <a:pt x="7211701" y="3699567"/>
                </a:cubicBezTo>
                <a:close/>
                <a:moveTo>
                  <a:pt x="6994056" y="3699567"/>
                </a:moveTo>
                <a:cubicBezTo>
                  <a:pt x="6998315" y="3699567"/>
                  <a:pt x="7002309" y="3700366"/>
                  <a:pt x="7005769" y="3702096"/>
                </a:cubicBezTo>
                <a:cubicBezTo>
                  <a:pt x="7009497" y="3703694"/>
                  <a:pt x="7012558" y="3705824"/>
                  <a:pt x="7015087" y="3708486"/>
                </a:cubicBezTo>
                <a:cubicBezTo>
                  <a:pt x="7017617" y="3711148"/>
                  <a:pt x="7019747" y="3714344"/>
                  <a:pt x="7021211" y="3717937"/>
                </a:cubicBezTo>
                <a:cubicBezTo>
                  <a:pt x="7022675" y="3721532"/>
                  <a:pt x="7023474" y="3725259"/>
                  <a:pt x="7023474" y="3729385"/>
                </a:cubicBezTo>
                <a:cubicBezTo>
                  <a:pt x="7023474" y="3733512"/>
                  <a:pt x="7022675" y="3737506"/>
                  <a:pt x="7021211" y="3741100"/>
                </a:cubicBezTo>
                <a:cubicBezTo>
                  <a:pt x="7019614" y="3744695"/>
                  <a:pt x="7017617" y="3747756"/>
                  <a:pt x="7015087" y="3750419"/>
                </a:cubicBezTo>
                <a:cubicBezTo>
                  <a:pt x="7012425" y="3753081"/>
                  <a:pt x="7009364" y="3755212"/>
                  <a:pt x="7005769" y="3756675"/>
                </a:cubicBezTo>
                <a:cubicBezTo>
                  <a:pt x="7002176" y="3758139"/>
                  <a:pt x="6998315" y="3758938"/>
                  <a:pt x="6994056" y="3758938"/>
                </a:cubicBezTo>
                <a:cubicBezTo>
                  <a:pt x="6985136" y="3758938"/>
                  <a:pt x="6977815" y="3756009"/>
                  <a:pt x="6972223" y="3750419"/>
                </a:cubicBezTo>
                <a:cubicBezTo>
                  <a:pt x="6966632" y="3744695"/>
                  <a:pt x="6963837" y="3737639"/>
                  <a:pt x="6963837" y="3729253"/>
                </a:cubicBezTo>
                <a:cubicBezTo>
                  <a:pt x="6963837" y="3721000"/>
                  <a:pt x="6966632" y="3713944"/>
                  <a:pt x="6972223" y="3708220"/>
                </a:cubicBezTo>
                <a:cubicBezTo>
                  <a:pt x="6977815" y="3702363"/>
                  <a:pt x="6985003" y="3699567"/>
                  <a:pt x="6994056" y="3699567"/>
                </a:cubicBezTo>
                <a:close/>
                <a:moveTo>
                  <a:pt x="6776544" y="3699567"/>
                </a:moveTo>
                <a:cubicBezTo>
                  <a:pt x="6780670" y="3699567"/>
                  <a:pt x="6784664" y="3700366"/>
                  <a:pt x="6788258" y="3702096"/>
                </a:cubicBezTo>
                <a:cubicBezTo>
                  <a:pt x="6791985" y="3703694"/>
                  <a:pt x="6795047" y="3705824"/>
                  <a:pt x="6797576" y="3708486"/>
                </a:cubicBezTo>
                <a:cubicBezTo>
                  <a:pt x="6800105" y="3711148"/>
                  <a:pt x="6802235" y="3714344"/>
                  <a:pt x="6803699" y="3717937"/>
                </a:cubicBezTo>
                <a:cubicBezTo>
                  <a:pt x="6805164" y="3721532"/>
                  <a:pt x="6805963" y="3725259"/>
                  <a:pt x="6805963" y="3729385"/>
                </a:cubicBezTo>
                <a:cubicBezTo>
                  <a:pt x="6805963" y="3733512"/>
                  <a:pt x="6805164" y="3737506"/>
                  <a:pt x="6803699" y="3741100"/>
                </a:cubicBezTo>
                <a:cubicBezTo>
                  <a:pt x="6802102" y="3744695"/>
                  <a:pt x="6800105" y="3747756"/>
                  <a:pt x="6797576" y="3750419"/>
                </a:cubicBezTo>
                <a:cubicBezTo>
                  <a:pt x="6794914" y="3753081"/>
                  <a:pt x="6791852" y="3755212"/>
                  <a:pt x="6788258" y="3756675"/>
                </a:cubicBezTo>
                <a:cubicBezTo>
                  <a:pt x="6784664" y="3758139"/>
                  <a:pt x="6780803" y="3758938"/>
                  <a:pt x="6776544" y="3758938"/>
                </a:cubicBezTo>
                <a:cubicBezTo>
                  <a:pt x="6767625" y="3758938"/>
                  <a:pt x="6760303" y="3756009"/>
                  <a:pt x="6754711" y="3750419"/>
                </a:cubicBezTo>
                <a:cubicBezTo>
                  <a:pt x="6749121" y="3744695"/>
                  <a:pt x="6746325" y="3737639"/>
                  <a:pt x="6746325" y="3729253"/>
                </a:cubicBezTo>
                <a:cubicBezTo>
                  <a:pt x="6746325" y="3721000"/>
                  <a:pt x="6749121" y="3713944"/>
                  <a:pt x="6754711" y="3708220"/>
                </a:cubicBezTo>
                <a:cubicBezTo>
                  <a:pt x="6760303" y="3702363"/>
                  <a:pt x="6767492" y="3699567"/>
                  <a:pt x="6776544" y="3699567"/>
                </a:cubicBezTo>
                <a:close/>
                <a:moveTo>
                  <a:pt x="6558899" y="3699567"/>
                </a:moveTo>
                <a:cubicBezTo>
                  <a:pt x="6563158" y="3699567"/>
                  <a:pt x="6567019" y="3700366"/>
                  <a:pt x="6570612" y="3702096"/>
                </a:cubicBezTo>
                <a:cubicBezTo>
                  <a:pt x="6574340" y="3703694"/>
                  <a:pt x="6577401" y="3705824"/>
                  <a:pt x="6579930" y="3708486"/>
                </a:cubicBezTo>
                <a:cubicBezTo>
                  <a:pt x="6582460" y="3711148"/>
                  <a:pt x="6584590" y="3714344"/>
                  <a:pt x="6586054" y="3717937"/>
                </a:cubicBezTo>
                <a:cubicBezTo>
                  <a:pt x="6587518" y="3721532"/>
                  <a:pt x="6588317" y="3725259"/>
                  <a:pt x="6588317" y="3729385"/>
                </a:cubicBezTo>
                <a:cubicBezTo>
                  <a:pt x="6588317" y="3733512"/>
                  <a:pt x="6587518" y="3737506"/>
                  <a:pt x="6586054" y="3741100"/>
                </a:cubicBezTo>
                <a:cubicBezTo>
                  <a:pt x="6584457" y="3744695"/>
                  <a:pt x="6582460" y="3747756"/>
                  <a:pt x="6579930" y="3750419"/>
                </a:cubicBezTo>
                <a:cubicBezTo>
                  <a:pt x="6577268" y="3753081"/>
                  <a:pt x="6574207" y="3755212"/>
                  <a:pt x="6570612" y="3756675"/>
                </a:cubicBezTo>
                <a:cubicBezTo>
                  <a:pt x="6567019" y="3758139"/>
                  <a:pt x="6563158" y="3758938"/>
                  <a:pt x="6558899" y="3758938"/>
                </a:cubicBezTo>
                <a:cubicBezTo>
                  <a:pt x="6549979" y="3758938"/>
                  <a:pt x="6542658" y="3756009"/>
                  <a:pt x="6537066" y="3750419"/>
                </a:cubicBezTo>
                <a:cubicBezTo>
                  <a:pt x="6531476" y="3744695"/>
                  <a:pt x="6528680" y="3737639"/>
                  <a:pt x="6528680" y="3729253"/>
                </a:cubicBezTo>
                <a:cubicBezTo>
                  <a:pt x="6528680" y="3721000"/>
                  <a:pt x="6531476" y="3713944"/>
                  <a:pt x="6537066" y="3708220"/>
                </a:cubicBezTo>
                <a:cubicBezTo>
                  <a:pt x="6542658" y="3702363"/>
                  <a:pt x="6549846" y="3699567"/>
                  <a:pt x="6558899" y="3699567"/>
                </a:cubicBezTo>
                <a:close/>
                <a:moveTo>
                  <a:pt x="6341253" y="3699567"/>
                </a:moveTo>
                <a:cubicBezTo>
                  <a:pt x="6345513" y="3699567"/>
                  <a:pt x="6349373" y="3700366"/>
                  <a:pt x="6352968" y="3702096"/>
                </a:cubicBezTo>
                <a:cubicBezTo>
                  <a:pt x="6356695" y="3703694"/>
                  <a:pt x="6359757" y="3705824"/>
                  <a:pt x="6362286" y="3708486"/>
                </a:cubicBezTo>
                <a:cubicBezTo>
                  <a:pt x="6364815" y="3711148"/>
                  <a:pt x="6366945" y="3714344"/>
                  <a:pt x="6368409" y="3717937"/>
                </a:cubicBezTo>
                <a:cubicBezTo>
                  <a:pt x="6369874" y="3721532"/>
                  <a:pt x="6370672" y="3725259"/>
                  <a:pt x="6370672" y="3729385"/>
                </a:cubicBezTo>
                <a:cubicBezTo>
                  <a:pt x="6370672" y="3733512"/>
                  <a:pt x="6369874" y="3737506"/>
                  <a:pt x="6368409" y="3741100"/>
                </a:cubicBezTo>
                <a:cubicBezTo>
                  <a:pt x="6366811" y="3744695"/>
                  <a:pt x="6364815" y="3747756"/>
                  <a:pt x="6362286" y="3750419"/>
                </a:cubicBezTo>
                <a:cubicBezTo>
                  <a:pt x="6359623" y="3753081"/>
                  <a:pt x="6356562" y="3755212"/>
                  <a:pt x="6352968" y="3756675"/>
                </a:cubicBezTo>
                <a:cubicBezTo>
                  <a:pt x="6349373" y="3758139"/>
                  <a:pt x="6345513" y="3758938"/>
                  <a:pt x="6341253" y="3758938"/>
                </a:cubicBezTo>
                <a:cubicBezTo>
                  <a:pt x="6332335" y="3758938"/>
                  <a:pt x="6325013" y="3756009"/>
                  <a:pt x="6319421" y="3750419"/>
                </a:cubicBezTo>
                <a:cubicBezTo>
                  <a:pt x="6313830" y="3744695"/>
                  <a:pt x="6311035" y="3737639"/>
                  <a:pt x="6311035" y="3729253"/>
                </a:cubicBezTo>
                <a:cubicBezTo>
                  <a:pt x="6311035" y="3721000"/>
                  <a:pt x="6313830" y="3713944"/>
                  <a:pt x="6319421" y="3708220"/>
                </a:cubicBezTo>
                <a:cubicBezTo>
                  <a:pt x="6325013" y="3702363"/>
                  <a:pt x="6332201" y="3699567"/>
                  <a:pt x="6341253" y="3699567"/>
                </a:cubicBezTo>
                <a:close/>
                <a:moveTo>
                  <a:pt x="6123608" y="3699567"/>
                </a:moveTo>
                <a:cubicBezTo>
                  <a:pt x="6127867" y="3699567"/>
                  <a:pt x="6131728" y="3700366"/>
                  <a:pt x="6135322" y="3702096"/>
                </a:cubicBezTo>
                <a:cubicBezTo>
                  <a:pt x="6139049" y="3703694"/>
                  <a:pt x="6142111" y="3705824"/>
                  <a:pt x="6144640" y="3708486"/>
                </a:cubicBezTo>
                <a:cubicBezTo>
                  <a:pt x="6147169" y="3711148"/>
                  <a:pt x="6149299" y="3714344"/>
                  <a:pt x="6150763" y="3717937"/>
                </a:cubicBezTo>
                <a:cubicBezTo>
                  <a:pt x="6152228" y="3721532"/>
                  <a:pt x="6153026" y="3725259"/>
                  <a:pt x="6153026" y="3729385"/>
                </a:cubicBezTo>
                <a:cubicBezTo>
                  <a:pt x="6153026" y="3733512"/>
                  <a:pt x="6152228" y="3737506"/>
                  <a:pt x="6150763" y="3741100"/>
                </a:cubicBezTo>
                <a:cubicBezTo>
                  <a:pt x="6149299" y="3744695"/>
                  <a:pt x="6147169" y="3747756"/>
                  <a:pt x="6144640" y="3750419"/>
                </a:cubicBezTo>
                <a:cubicBezTo>
                  <a:pt x="6141977" y="3753081"/>
                  <a:pt x="6138916" y="3755212"/>
                  <a:pt x="6135322" y="3756675"/>
                </a:cubicBezTo>
                <a:cubicBezTo>
                  <a:pt x="6131728" y="3758139"/>
                  <a:pt x="6127867" y="3758938"/>
                  <a:pt x="6123608" y="3758938"/>
                </a:cubicBezTo>
                <a:cubicBezTo>
                  <a:pt x="6114689" y="3758938"/>
                  <a:pt x="6107367" y="3756009"/>
                  <a:pt x="6101775" y="3750419"/>
                </a:cubicBezTo>
                <a:cubicBezTo>
                  <a:pt x="6096184" y="3744695"/>
                  <a:pt x="6093389" y="3737639"/>
                  <a:pt x="6093389" y="3729253"/>
                </a:cubicBezTo>
                <a:cubicBezTo>
                  <a:pt x="6093389" y="3721000"/>
                  <a:pt x="6096184" y="3713944"/>
                  <a:pt x="6101775" y="3708220"/>
                </a:cubicBezTo>
                <a:cubicBezTo>
                  <a:pt x="6107367" y="3702363"/>
                  <a:pt x="6114555" y="3699567"/>
                  <a:pt x="6123608" y="3699567"/>
                </a:cubicBezTo>
                <a:close/>
                <a:moveTo>
                  <a:pt x="5905963" y="3699567"/>
                </a:moveTo>
                <a:cubicBezTo>
                  <a:pt x="5910222" y="3699567"/>
                  <a:pt x="5914216" y="3700366"/>
                  <a:pt x="5917677" y="3702096"/>
                </a:cubicBezTo>
                <a:cubicBezTo>
                  <a:pt x="5921404" y="3703694"/>
                  <a:pt x="5924466" y="3705824"/>
                  <a:pt x="5926995" y="3708486"/>
                </a:cubicBezTo>
                <a:cubicBezTo>
                  <a:pt x="5929524" y="3711148"/>
                  <a:pt x="5931654" y="3714344"/>
                  <a:pt x="5933118" y="3717937"/>
                </a:cubicBezTo>
                <a:cubicBezTo>
                  <a:pt x="5934583" y="3721532"/>
                  <a:pt x="5935381" y="3725259"/>
                  <a:pt x="5935381" y="3729385"/>
                </a:cubicBezTo>
                <a:cubicBezTo>
                  <a:pt x="5935381" y="3733512"/>
                  <a:pt x="5934583" y="3737506"/>
                  <a:pt x="5933118" y="3741100"/>
                </a:cubicBezTo>
                <a:cubicBezTo>
                  <a:pt x="5931654" y="3744695"/>
                  <a:pt x="5929524" y="3747756"/>
                  <a:pt x="5926995" y="3750419"/>
                </a:cubicBezTo>
                <a:cubicBezTo>
                  <a:pt x="5924333" y="3753081"/>
                  <a:pt x="5921271" y="3755212"/>
                  <a:pt x="5917677" y="3756675"/>
                </a:cubicBezTo>
                <a:cubicBezTo>
                  <a:pt x="5914083" y="3758139"/>
                  <a:pt x="5910222" y="3758938"/>
                  <a:pt x="5905963" y="3758938"/>
                </a:cubicBezTo>
                <a:cubicBezTo>
                  <a:pt x="5897044" y="3758938"/>
                  <a:pt x="5889722" y="3756009"/>
                  <a:pt x="5884130" y="3750419"/>
                </a:cubicBezTo>
                <a:cubicBezTo>
                  <a:pt x="5878540" y="3744695"/>
                  <a:pt x="5875744" y="3737639"/>
                  <a:pt x="5875744" y="3729253"/>
                </a:cubicBezTo>
                <a:cubicBezTo>
                  <a:pt x="5875744" y="3721000"/>
                  <a:pt x="5878540" y="3713944"/>
                  <a:pt x="5884130" y="3708220"/>
                </a:cubicBezTo>
                <a:cubicBezTo>
                  <a:pt x="5889722" y="3702363"/>
                  <a:pt x="5896910" y="3699567"/>
                  <a:pt x="5905963" y="3699567"/>
                </a:cubicBezTo>
                <a:close/>
                <a:moveTo>
                  <a:pt x="5688451" y="3699567"/>
                </a:moveTo>
                <a:cubicBezTo>
                  <a:pt x="5692577" y="3699567"/>
                  <a:pt x="5696571" y="3700366"/>
                  <a:pt x="5700165" y="3702096"/>
                </a:cubicBezTo>
                <a:cubicBezTo>
                  <a:pt x="5703892" y="3703694"/>
                  <a:pt x="5706954" y="3705824"/>
                  <a:pt x="5709483" y="3708486"/>
                </a:cubicBezTo>
                <a:cubicBezTo>
                  <a:pt x="5712012" y="3711148"/>
                  <a:pt x="5714142" y="3714344"/>
                  <a:pt x="5715606" y="3717937"/>
                </a:cubicBezTo>
                <a:cubicBezTo>
                  <a:pt x="5717071" y="3721532"/>
                  <a:pt x="5717869" y="3725259"/>
                  <a:pt x="5717869" y="3729385"/>
                </a:cubicBezTo>
                <a:cubicBezTo>
                  <a:pt x="5717869" y="3733512"/>
                  <a:pt x="5717071" y="3737506"/>
                  <a:pt x="5715606" y="3741100"/>
                </a:cubicBezTo>
                <a:cubicBezTo>
                  <a:pt x="5714142" y="3744695"/>
                  <a:pt x="5712012" y="3747756"/>
                  <a:pt x="5709483" y="3750419"/>
                </a:cubicBezTo>
                <a:cubicBezTo>
                  <a:pt x="5706820" y="3753081"/>
                  <a:pt x="5703759" y="3755212"/>
                  <a:pt x="5700165" y="3756675"/>
                </a:cubicBezTo>
                <a:cubicBezTo>
                  <a:pt x="5696571" y="3758139"/>
                  <a:pt x="5692710" y="3758938"/>
                  <a:pt x="5688451" y="3758938"/>
                </a:cubicBezTo>
                <a:cubicBezTo>
                  <a:pt x="5679532" y="3758938"/>
                  <a:pt x="5672210" y="3756009"/>
                  <a:pt x="5666618" y="3750419"/>
                </a:cubicBezTo>
                <a:cubicBezTo>
                  <a:pt x="5661028" y="3744695"/>
                  <a:pt x="5658232" y="3737639"/>
                  <a:pt x="5658232" y="3729253"/>
                </a:cubicBezTo>
                <a:cubicBezTo>
                  <a:pt x="5658232" y="3721000"/>
                  <a:pt x="5661028" y="3713944"/>
                  <a:pt x="5666618" y="3708220"/>
                </a:cubicBezTo>
                <a:cubicBezTo>
                  <a:pt x="5672210" y="3702363"/>
                  <a:pt x="5679398" y="3699567"/>
                  <a:pt x="5688451" y="3699567"/>
                </a:cubicBezTo>
                <a:close/>
                <a:moveTo>
                  <a:pt x="5470806" y="3699567"/>
                </a:moveTo>
                <a:cubicBezTo>
                  <a:pt x="5475065" y="3699567"/>
                  <a:pt x="5478926" y="3700366"/>
                  <a:pt x="5482520" y="3702096"/>
                </a:cubicBezTo>
                <a:cubicBezTo>
                  <a:pt x="5486247" y="3703694"/>
                  <a:pt x="5489309" y="3705824"/>
                  <a:pt x="5491838" y="3708486"/>
                </a:cubicBezTo>
                <a:cubicBezTo>
                  <a:pt x="5494367" y="3711148"/>
                  <a:pt x="5496497" y="3714344"/>
                  <a:pt x="5497961" y="3717937"/>
                </a:cubicBezTo>
                <a:cubicBezTo>
                  <a:pt x="5499426" y="3721532"/>
                  <a:pt x="5500224" y="3725259"/>
                  <a:pt x="5500224" y="3729385"/>
                </a:cubicBezTo>
                <a:cubicBezTo>
                  <a:pt x="5500224" y="3733512"/>
                  <a:pt x="5499426" y="3737506"/>
                  <a:pt x="5497961" y="3741100"/>
                </a:cubicBezTo>
                <a:cubicBezTo>
                  <a:pt x="5496497" y="3744695"/>
                  <a:pt x="5494367" y="3747756"/>
                  <a:pt x="5491838" y="3750419"/>
                </a:cubicBezTo>
                <a:cubicBezTo>
                  <a:pt x="5489176" y="3753081"/>
                  <a:pt x="5486114" y="3755212"/>
                  <a:pt x="5482520" y="3756675"/>
                </a:cubicBezTo>
                <a:cubicBezTo>
                  <a:pt x="5478926" y="3758139"/>
                  <a:pt x="5475065" y="3758938"/>
                  <a:pt x="5470806" y="3758938"/>
                </a:cubicBezTo>
                <a:cubicBezTo>
                  <a:pt x="5461887" y="3758938"/>
                  <a:pt x="5454565" y="3756009"/>
                  <a:pt x="5448973" y="3750419"/>
                </a:cubicBezTo>
                <a:cubicBezTo>
                  <a:pt x="5443383" y="3744695"/>
                  <a:pt x="5440587" y="3737639"/>
                  <a:pt x="5440587" y="3729253"/>
                </a:cubicBezTo>
                <a:cubicBezTo>
                  <a:pt x="5440587" y="3721000"/>
                  <a:pt x="5443383" y="3713944"/>
                  <a:pt x="5448973" y="3708220"/>
                </a:cubicBezTo>
                <a:cubicBezTo>
                  <a:pt x="5454565" y="3702363"/>
                  <a:pt x="5461754" y="3699567"/>
                  <a:pt x="5470806" y="3699567"/>
                </a:cubicBezTo>
                <a:close/>
                <a:moveTo>
                  <a:pt x="5253160" y="3699567"/>
                </a:moveTo>
                <a:cubicBezTo>
                  <a:pt x="5257420" y="3699567"/>
                  <a:pt x="5261280" y="3700366"/>
                  <a:pt x="5264875" y="3702096"/>
                </a:cubicBezTo>
                <a:cubicBezTo>
                  <a:pt x="5268602" y="3703694"/>
                  <a:pt x="5271664" y="3705824"/>
                  <a:pt x="5274192" y="3708486"/>
                </a:cubicBezTo>
                <a:cubicBezTo>
                  <a:pt x="5276722" y="3711148"/>
                  <a:pt x="5278852" y="3714344"/>
                  <a:pt x="5280316" y="3717937"/>
                </a:cubicBezTo>
                <a:cubicBezTo>
                  <a:pt x="5281780" y="3721532"/>
                  <a:pt x="5282579" y="3725259"/>
                  <a:pt x="5282579" y="3729385"/>
                </a:cubicBezTo>
                <a:cubicBezTo>
                  <a:pt x="5282579" y="3733512"/>
                  <a:pt x="5281780" y="3737506"/>
                  <a:pt x="5280316" y="3741100"/>
                </a:cubicBezTo>
                <a:cubicBezTo>
                  <a:pt x="5278852" y="3744695"/>
                  <a:pt x="5276722" y="3747756"/>
                  <a:pt x="5274192" y="3750419"/>
                </a:cubicBezTo>
                <a:cubicBezTo>
                  <a:pt x="5271664" y="3753081"/>
                  <a:pt x="5268469" y="3755212"/>
                  <a:pt x="5264875" y="3756675"/>
                </a:cubicBezTo>
                <a:cubicBezTo>
                  <a:pt x="5261280" y="3758139"/>
                  <a:pt x="5257420" y="3758938"/>
                  <a:pt x="5253160" y="3758938"/>
                </a:cubicBezTo>
                <a:cubicBezTo>
                  <a:pt x="5244241" y="3758938"/>
                  <a:pt x="5236920" y="3756009"/>
                  <a:pt x="5231328" y="3750419"/>
                </a:cubicBezTo>
                <a:cubicBezTo>
                  <a:pt x="5225737" y="3744695"/>
                  <a:pt x="5222942" y="3737639"/>
                  <a:pt x="5222942" y="3729253"/>
                </a:cubicBezTo>
                <a:cubicBezTo>
                  <a:pt x="5222942" y="3721000"/>
                  <a:pt x="5225737" y="3713944"/>
                  <a:pt x="5231328" y="3708220"/>
                </a:cubicBezTo>
                <a:cubicBezTo>
                  <a:pt x="5236920" y="3702363"/>
                  <a:pt x="5244108" y="3699567"/>
                  <a:pt x="5253160" y="3699567"/>
                </a:cubicBezTo>
                <a:close/>
                <a:moveTo>
                  <a:pt x="5035515" y="3699567"/>
                </a:moveTo>
                <a:cubicBezTo>
                  <a:pt x="5039775" y="3699567"/>
                  <a:pt x="5043636" y="3700366"/>
                  <a:pt x="5047230" y="3702096"/>
                </a:cubicBezTo>
                <a:cubicBezTo>
                  <a:pt x="5050957" y="3703694"/>
                  <a:pt x="5054019" y="3705824"/>
                  <a:pt x="5056548" y="3708486"/>
                </a:cubicBezTo>
                <a:cubicBezTo>
                  <a:pt x="5059077" y="3711148"/>
                  <a:pt x="5061207" y="3714344"/>
                  <a:pt x="5062671" y="3717937"/>
                </a:cubicBezTo>
                <a:cubicBezTo>
                  <a:pt x="5064135" y="3721532"/>
                  <a:pt x="5064934" y="3725259"/>
                  <a:pt x="5064934" y="3729385"/>
                </a:cubicBezTo>
                <a:cubicBezTo>
                  <a:pt x="5064934" y="3733512"/>
                  <a:pt x="5064135" y="3737506"/>
                  <a:pt x="5062671" y="3741100"/>
                </a:cubicBezTo>
                <a:cubicBezTo>
                  <a:pt x="5061207" y="3744695"/>
                  <a:pt x="5059077" y="3747756"/>
                  <a:pt x="5056548" y="3750419"/>
                </a:cubicBezTo>
                <a:cubicBezTo>
                  <a:pt x="5053885" y="3753081"/>
                  <a:pt x="5050824" y="3755212"/>
                  <a:pt x="5047230" y="3756675"/>
                </a:cubicBezTo>
                <a:cubicBezTo>
                  <a:pt x="5043636" y="3758139"/>
                  <a:pt x="5039775" y="3758938"/>
                  <a:pt x="5035515" y="3758938"/>
                </a:cubicBezTo>
                <a:cubicBezTo>
                  <a:pt x="5026597" y="3758938"/>
                  <a:pt x="5019275" y="3756009"/>
                  <a:pt x="5013683" y="3750419"/>
                </a:cubicBezTo>
                <a:cubicBezTo>
                  <a:pt x="5008092" y="3744695"/>
                  <a:pt x="5005297" y="3737639"/>
                  <a:pt x="5005297" y="3729253"/>
                </a:cubicBezTo>
                <a:cubicBezTo>
                  <a:pt x="5005297" y="3721000"/>
                  <a:pt x="5008092" y="3713944"/>
                  <a:pt x="5013683" y="3708220"/>
                </a:cubicBezTo>
                <a:cubicBezTo>
                  <a:pt x="5019275" y="3702363"/>
                  <a:pt x="5026463" y="3699567"/>
                  <a:pt x="5035515" y="3699567"/>
                </a:cubicBezTo>
                <a:close/>
                <a:moveTo>
                  <a:pt x="4817870" y="3699567"/>
                </a:moveTo>
                <a:cubicBezTo>
                  <a:pt x="4822130" y="3699567"/>
                  <a:pt x="4826124" y="3700366"/>
                  <a:pt x="4829585" y="3702096"/>
                </a:cubicBezTo>
                <a:cubicBezTo>
                  <a:pt x="4833312" y="3703694"/>
                  <a:pt x="4836374" y="3705824"/>
                  <a:pt x="4838903" y="3708486"/>
                </a:cubicBezTo>
                <a:cubicBezTo>
                  <a:pt x="4841432" y="3711148"/>
                  <a:pt x="4843562" y="3714344"/>
                  <a:pt x="4845026" y="3717937"/>
                </a:cubicBezTo>
                <a:cubicBezTo>
                  <a:pt x="4846491" y="3721532"/>
                  <a:pt x="4847289" y="3725259"/>
                  <a:pt x="4847289" y="3729385"/>
                </a:cubicBezTo>
                <a:cubicBezTo>
                  <a:pt x="4847289" y="3733512"/>
                  <a:pt x="4846491" y="3737506"/>
                  <a:pt x="4845026" y="3741100"/>
                </a:cubicBezTo>
                <a:cubicBezTo>
                  <a:pt x="4843562" y="3744695"/>
                  <a:pt x="4841432" y="3747756"/>
                  <a:pt x="4838903" y="3750419"/>
                </a:cubicBezTo>
                <a:cubicBezTo>
                  <a:pt x="4836240" y="3753081"/>
                  <a:pt x="4833179" y="3755212"/>
                  <a:pt x="4829585" y="3756675"/>
                </a:cubicBezTo>
                <a:cubicBezTo>
                  <a:pt x="4825991" y="3758139"/>
                  <a:pt x="4822130" y="3758938"/>
                  <a:pt x="4817870" y="3758938"/>
                </a:cubicBezTo>
                <a:cubicBezTo>
                  <a:pt x="4808952" y="3758938"/>
                  <a:pt x="4801630" y="3756009"/>
                  <a:pt x="4796038" y="3750419"/>
                </a:cubicBezTo>
                <a:cubicBezTo>
                  <a:pt x="4790447" y="3744695"/>
                  <a:pt x="4787652" y="3737639"/>
                  <a:pt x="4787652" y="3729253"/>
                </a:cubicBezTo>
                <a:cubicBezTo>
                  <a:pt x="4787652" y="3721000"/>
                  <a:pt x="4790447" y="3713944"/>
                  <a:pt x="4796038" y="3708220"/>
                </a:cubicBezTo>
                <a:cubicBezTo>
                  <a:pt x="4801630" y="3702363"/>
                  <a:pt x="4808818" y="3699567"/>
                  <a:pt x="4817870" y="3699567"/>
                </a:cubicBezTo>
                <a:close/>
                <a:moveTo>
                  <a:pt x="4600226" y="3699567"/>
                </a:moveTo>
                <a:cubicBezTo>
                  <a:pt x="4604485" y="3699567"/>
                  <a:pt x="4608479" y="3700366"/>
                  <a:pt x="4612073" y="3702096"/>
                </a:cubicBezTo>
                <a:cubicBezTo>
                  <a:pt x="4615800" y="3703694"/>
                  <a:pt x="4618862" y="3705824"/>
                  <a:pt x="4621391" y="3708486"/>
                </a:cubicBezTo>
                <a:cubicBezTo>
                  <a:pt x="4623920" y="3711148"/>
                  <a:pt x="4626050" y="3714344"/>
                  <a:pt x="4627514" y="3717937"/>
                </a:cubicBezTo>
                <a:cubicBezTo>
                  <a:pt x="4628978" y="3721532"/>
                  <a:pt x="4629777" y="3725259"/>
                  <a:pt x="4629777" y="3729385"/>
                </a:cubicBezTo>
                <a:cubicBezTo>
                  <a:pt x="4629777" y="3733512"/>
                  <a:pt x="4628978" y="3737506"/>
                  <a:pt x="4627514" y="3741100"/>
                </a:cubicBezTo>
                <a:cubicBezTo>
                  <a:pt x="4626050" y="3744695"/>
                  <a:pt x="4623920" y="3747756"/>
                  <a:pt x="4621391" y="3750419"/>
                </a:cubicBezTo>
                <a:cubicBezTo>
                  <a:pt x="4618729" y="3753081"/>
                  <a:pt x="4615667" y="3755212"/>
                  <a:pt x="4612073" y="3756675"/>
                </a:cubicBezTo>
                <a:cubicBezTo>
                  <a:pt x="4608346" y="3758139"/>
                  <a:pt x="4604485" y="3758938"/>
                  <a:pt x="4600226" y="3758938"/>
                </a:cubicBezTo>
                <a:cubicBezTo>
                  <a:pt x="4591173" y="3758938"/>
                  <a:pt x="4583985" y="3756009"/>
                  <a:pt x="4578393" y="3750419"/>
                </a:cubicBezTo>
                <a:cubicBezTo>
                  <a:pt x="4572803" y="3744695"/>
                  <a:pt x="4570007" y="3737639"/>
                  <a:pt x="4570007" y="3729253"/>
                </a:cubicBezTo>
                <a:cubicBezTo>
                  <a:pt x="4570007" y="3721000"/>
                  <a:pt x="4572803" y="3713944"/>
                  <a:pt x="4578393" y="3708220"/>
                </a:cubicBezTo>
                <a:cubicBezTo>
                  <a:pt x="4583985" y="3702363"/>
                  <a:pt x="4591173" y="3699567"/>
                  <a:pt x="4600226" y="3699567"/>
                </a:cubicBezTo>
                <a:close/>
                <a:moveTo>
                  <a:pt x="4382713" y="3699567"/>
                </a:moveTo>
                <a:cubicBezTo>
                  <a:pt x="4386840" y="3699567"/>
                  <a:pt x="4390834" y="3700366"/>
                  <a:pt x="4394428" y="3702096"/>
                </a:cubicBezTo>
                <a:cubicBezTo>
                  <a:pt x="4398155" y="3703694"/>
                  <a:pt x="4401217" y="3705824"/>
                  <a:pt x="4403746" y="3708486"/>
                </a:cubicBezTo>
                <a:cubicBezTo>
                  <a:pt x="4406275" y="3711148"/>
                  <a:pt x="4408405" y="3714344"/>
                  <a:pt x="4409869" y="3717937"/>
                </a:cubicBezTo>
                <a:cubicBezTo>
                  <a:pt x="4411334" y="3721532"/>
                  <a:pt x="4412132" y="3725259"/>
                  <a:pt x="4412132" y="3729385"/>
                </a:cubicBezTo>
                <a:cubicBezTo>
                  <a:pt x="4412132" y="3733512"/>
                  <a:pt x="4411334" y="3737506"/>
                  <a:pt x="4409869" y="3741100"/>
                </a:cubicBezTo>
                <a:cubicBezTo>
                  <a:pt x="4408405" y="3744695"/>
                  <a:pt x="4406275" y="3747756"/>
                  <a:pt x="4403746" y="3750419"/>
                </a:cubicBezTo>
                <a:cubicBezTo>
                  <a:pt x="4401083" y="3753081"/>
                  <a:pt x="4398022" y="3755212"/>
                  <a:pt x="4394428" y="3756675"/>
                </a:cubicBezTo>
                <a:cubicBezTo>
                  <a:pt x="4390834" y="3758139"/>
                  <a:pt x="4386973" y="3758938"/>
                  <a:pt x="4382713" y="3758938"/>
                </a:cubicBezTo>
                <a:cubicBezTo>
                  <a:pt x="4373661" y="3758938"/>
                  <a:pt x="4366473" y="3756009"/>
                  <a:pt x="4360881" y="3750419"/>
                </a:cubicBezTo>
                <a:cubicBezTo>
                  <a:pt x="4355290" y="3744695"/>
                  <a:pt x="4352495" y="3737639"/>
                  <a:pt x="4352495" y="3729253"/>
                </a:cubicBezTo>
                <a:cubicBezTo>
                  <a:pt x="4352495" y="3721000"/>
                  <a:pt x="4355290" y="3713944"/>
                  <a:pt x="4360881" y="3708220"/>
                </a:cubicBezTo>
                <a:cubicBezTo>
                  <a:pt x="4366473" y="3702363"/>
                  <a:pt x="4373661" y="3699567"/>
                  <a:pt x="4382713" y="3699567"/>
                </a:cubicBezTo>
                <a:close/>
                <a:moveTo>
                  <a:pt x="4165068" y="3699567"/>
                </a:moveTo>
                <a:cubicBezTo>
                  <a:pt x="4169327" y="3699567"/>
                  <a:pt x="4173188" y="3700366"/>
                  <a:pt x="4176782" y="3702096"/>
                </a:cubicBezTo>
                <a:cubicBezTo>
                  <a:pt x="4180509" y="3703694"/>
                  <a:pt x="4183571" y="3705824"/>
                  <a:pt x="4186100" y="3708486"/>
                </a:cubicBezTo>
                <a:cubicBezTo>
                  <a:pt x="4188629" y="3711148"/>
                  <a:pt x="4190759" y="3714344"/>
                  <a:pt x="4192223" y="3717937"/>
                </a:cubicBezTo>
                <a:cubicBezTo>
                  <a:pt x="4193688" y="3721532"/>
                  <a:pt x="4194486" y="3725259"/>
                  <a:pt x="4194486" y="3729385"/>
                </a:cubicBezTo>
                <a:cubicBezTo>
                  <a:pt x="4194486" y="3733512"/>
                  <a:pt x="4193688" y="3737506"/>
                  <a:pt x="4192223" y="3741100"/>
                </a:cubicBezTo>
                <a:cubicBezTo>
                  <a:pt x="4190759" y="3744695"/>
                  <a:pt x="4188629" y="3747756"/>
                  <a:pt x="4186100" y="3750419"/>
                </a:cubicBezTo>
                <a:cubicBezTo>
                  <a:pt x="4183438" y="3753081"/>
                  <a:pt x="4180376" y="3755212"/>
                  <a:pt x="4176782" y="3756675"/>
                </a:cubicBezTo>
                <a:cubicBezTo>
                  <a:pt x="4173188" y="3758139"/>
                  <a:pt x="4169327" y="3758938"/>
                  <a:pt x="4165068" y="3758938"/>
                </a:cubicBezTo>
                <a:cubicBezTo>
                  <a:pt x="4156015" y="3758938"/>
                  <a:pt x="4148827" y="3756009"/>
                  <a:pt x="4143235" y="3750419"/>
                </a:cubicBezTo>
                <a:cubicBezTo>
                  <a:pt x="4137645" y="3744695"/>
                  <a:pt x="4134849" y="3737639"/>
                  <a:pt x="4134849" y="3729253"/>
                </a:cubicBezTo>
                <a:cubicBezTo>
                  <a:pt x="4134849" y="3721000"/>
                  <a:pt x="4137645" y="3713944"/>
                  <a:pt x="4143235" y="3708220"/>
                </a:cubicBezTo>
                <a:cubicBezTo>
                  <a:pt x="4148827" y="3702363"/>
                  <a:pt x="4156015" y="3699567"/>
                  <a:pt x="4165068" y="3699567"/>
                </a:cubicBezTo>
                <a:close/>
                <a:moveTo>
                  <a:pt x="3947628" y="3699567"/>
                </a:moveTo>
                <a:cubicBezTo>
                  <a:pt x="3951890" y="3699567"/>
                  <a:pt x="3955749" y="3700366"/>
                  <a:pt x="3959345" y="3702096"/>
                </a:cubicBezTo>
                <a:cubicBezTo>
                  <a:pt x="3963073" y="3703694"/>
                  <a:pt x="3966134" y="3705824"/>
                  <a:pt x="3968663" y="3708486"/>
                </a:cubicBezTo>
                <a:cubicBezTo>
                  <a:pt x="3971193" y="3711148"/>
                  <a:pt x="3973323" y="3714344"/>
                  <a:pt x="3974787" y="3717937"/>
                </a:cubicBezTo>
                <a:cubicBezTo>
                  <a:pt x="3976251" y="3721532"/>
                  <a:pt x="3977050" y="3725259"/>
                  <a:pt x="3977050" y="3729385"/>
                </a:cubicBezTo>
                <a:cubicBezTo>
                  <a:pt x="3977050" y="3733512"/>
                  <a:pt x="3976251" y="3737506"/>
                  <a:pt x="3974787" y="3741100"/>
                </a:cubicBezTo>
                <a:cubicBezTo>
                  <a:pt x="3973323" y="3744695"/>
                  <a:pt x="3971193" y="3747756"/>
                  <a:pt x="3968663" y="3750419"/>
                </a:cubicBezTo>
                <a:cubicBezTo>
                  <a:pt x="3966001" y="3753081"/>
                  <a:pt x="3962940" y="3755212"/>
                  <a:pt x="3959345" y="3756675"/>
                </a:cubicBezTo>
                <a:cubicBezTo>
                  <a:pt x="3955749" y="3758139"/>
                  <a:pt x="3951890" y="3758938"/>
                  <a:pt x="3947628" y="3758938"/>
                </a:cubicBezTo>
                <a:cubicBezTo>
                  <a:pt x="3938575" y="3758938"/>
                  <a:pt x="3931388" y="3756009"/>
                  <a:pt x="3925795" y="3750419"/>
                </a:cubicBezTo>
                <a:cubicBezTo>
                  <a:pt x="3920204" y="3744695"/>
                  <a:pt x="3917409" y="3737639"/>
                  <a:pt x="3917409" y="3729253"/>
                </a:cubicBezTo>
                <a:cubicBezTo>
                  <a:pt x="3917409" y="3721000"/>
                  <a:pt x="3920204" y="3713944"/>
                  <a:pt x="3925795" y="3708220"/>
                </a:cubicBezTo>
                <a:cubicBezTo>
                  <a:pt x="3931388" y="3702363"/>
                  <a:pt x="3938575" y="3699567"/>
                  <a:pt x="3947628" y="3699567"/>
                </a:cubicBezTo>
                <a:close/>
                <a:moveTo>
                  <a:pt x="3729973" y="3699567"/>
                </a:moveTo>
                <a:cubicBezTo>
                  <a:pt x="3734234" y="3699567"/>
                  <a:pt x="3738227" y="3700366"/>
                  <a:pt x="3741689" y="3702096"/>
                </a:cubicBezTo>
                <a:cubicBezTo>
                  <a:pt x="3745283" y="3703694"/>
                  <a:pt x="3748478" y="3705824"/>
                  <a:pt x="3751007" y="3708486"/>
                </a:cubicBezTo>
                <a:cubicBezTo>
                  <a:pt x="3753536" y="3711148"/>
                  <a:pt x="3755666" y="3714344"/>
                  <a:pt x="3757130" y="3717937"/>
                </a:cubicBezTo>
                <a:cubicBezTo>
                  <a:pt x="3758594" y="3721532"/>
                  <a:pt x="3759393" y="3725259"/>
                  <a:pt x="3759393" y="3729385"/>
                </a:cubicBezTo>
                <a:cubicBezTo>
                  <a:pt x="3759393" y="3733512"/>
                  <a:pt x="3758594" y="3737506"/>
                  <a:pt x="3757130" y="3741100"/>
                </a:cubicBezTo>
                <a:cubicBezTo>
                  <a:pt x="3755666" y="3744695"/>
                  <a:pt x="3753536" y="3747756"/>
                  <a:pt x="3751007" y="3750419"/>
                </a:cubicBezTo>
                <a:cubicBezTo>
                  <a:pt x="3748344" y="3753081"/>
                  <a:pt x="3745283" y="3755212"/>
                  <a:pt x="3741689" y="3756675"/>
                </a:cubicBezTo>
                <a:cubicBezTo>
                  <a:pt x="3738095" y="3758139"/>
                  <a:pt x="3734234" y="3758938"/>
                  <a:pt x="3729973" y="3758938"/>
                </a:cubicBezTo>
                <a:cubicBezTo>
                  <a:pt x="3720921" y="3758938"/>
                  <a:pt x="3713732" y="3756009"/>
                  <a:pt x="3708136" y="3750419"/>
                </a:cubicBezTo>
                <a:cubicBezTo>
                  <a:pt x="3702544" y="3744695"/>
                  <a:pt x="3699750" y="3737639"/>
                  <a:pt x="3699750" y="3729253"/>
                </a:cubicBezTo>
                <a:cubicBezTo>
                  <a:pt x="3699750" y="3721000"/>
                  <a:pt x="3702544" y="3713944"/>
                  <a:pt x="3708136" y="3708220"/>
                </a:cubicBezTo>
                <a:cubicBezTo>
                  <a:pt x="3713732" y="3702363"/>
                  <a:pt x="3720921" y="3699567"/>
                  <a:pt x="3729973" y="3699567"/>
                </a:cubicBezTo>
                <a:close/>
                <a:moveTo>
                  <a:pt x="3512318" y="3699567"/>
                </a:moveTo>
                <a:cubicBezTo>
                  <a:pt x="3516578" y="3699567"/>
                  <a:pt x="3520571" y="3700366"/>
                  <a:pt x="3524033" y="3702096"/>
                </a:cubicBezTo>
                <a:cubicBezTo>
                  <a:pt x="3527627" y="3703694"/>
                  <a:pt x="3530822" y="3705824"/>
                  <a:pt x="3533351" y="3708486"/>
                </a:cubicBezTo>
                <a:cubicBezTo>
                  <a:pt x="3535880" y="3711148"/>
                  <a:pt x="3538011" y="3714344"/>
                  <a:pt x="3539475" y="3717937"/>
                </a:cubicBezTo>
                <a:cubicBezTo>
                  <a:pt x="3540939" y="3721532"/>
                  <a:pt x="3541738" y="3725259"/>
                  <a:pt x="3541738" y="3729385"/>
                </a:cubicBezTo>
                <a:cubicBezTo>
                  <a:pt x="3541738" y="3733512"/>
                  <a:pt x="3540939" y="3737506"/>
                  <a:pt x="3539475" y="3741100"/>
                </a:cubicBezTo>
                <a:cubicBezTo>
                  <a:pt x="3538011" y="3744695"/>
                  <a:pt x="3535880" y="3747756"/>
                  <a:pt x="3533351" y="3750419"/>
                </a:cubicBezTo>
                <a:cubicBezTo>
                  <a:pt x="3530688" y="3753081"/>
                  <a:pt x="3527627" y="3755212"/>
                  <a:pt x="3524033" y="3756675"/>
                </a:cubicBezTo>
                <a:cubicBezTo>
                  <a:pt x="3520439" y="3758139"/>
                  <a:pt x="3516578" y="3758938"/>
                  <a:pt x="3512318" y="3758938"/>
                </a:cubicBezTo>
                <a:cubicBezTo>
                  <a:pt x="3503263" y="3758938"/>
                  <a:pt x="3496073" y="3756009"/>
                  <a:pt x="3490482" y="3750419"/>
                </a:cubicBezTo>
                <a:cubicBezTo>
                  <a:pt x="3484892" y="3744695"/>
                  <a:pt x="3482096" y="3737639"/>
                  <a:pt x="3482096" y="3729253"/>
                </a:cubicBezTo>
                <a:cubicBezTo>
                  <a:pt x="3482096" y="3721000"/>
                  <a:pt x="3484892" y="3713944"/>
                  <a:pt x="3490482" y="3708220"/>
                </a:cubicBezTo>
                <a:cubicBezTo>
                  <a:pt x="3496073" y="3702363"/>
                  <a:pt x="3503263" y="3699567"/>
                  <a:pt x="3512318" y="3699567"/>
                </a:cubicBezTo>
                <a:close/>
                <a:moveTo>
                  <a:pt x="3294795" y="3699567"/>
                </a:moveTo>
                <a:cubicBezTo>
                  <a:pt x="3298922" y="3699567"/>
                  <a:pt x="3302916" y="3700366"/>
                  <a:pt x="3306511" y="3702096"/>
                </a:cubicBezTo>
                <a:cubicBezTo>
                  <a:pt x="3310238" y="3703694"/>
                  <a:pt x="3313300" y="3705824"/>
                  <a:pt x="3315829" y="3708486"/>
                </a:cubicBezTo>
                <a:cubicBezTo>
                  <a:pt x="3318358" y="3711148"/>
                  <a:pt x="3320488" y="3714344"/>
                  <a:pt x="3321952" y="3717937"/>
                </a:cubicBezTo>
                <a:cubicBezTo>
                  <a:pt x="3323416" y="3721532"/>
                  <a:pt x="3324215" y="3725259"/>
                  <a:pt x="3324215" y="3729385"/>
                </a:cubicBezTo>
                <a:cubicBezTo>
                  <a:pt x="3324215" y="3733512"/>
                  <a:pt x="3323416" y="3737506"/>
                  <a:pt x="3321952" y="3741100"/>
                </a:cubicBezTo>
                <a:cubicBezTo>
                  <a:pt x="3320488" y="3744695"/>
                  <a:pt x="3318358" y="3747756"/>
                  <a:pt x="3315829" y="3750419"/>
                </a:cubicBezTo>
                <a:cubicBezTo>
                  <a:pt x="3313166" y="3753081"/>
                  <a:pt x="3310104" y="3755212"/>
                  <a:pt x="3306511" y="3756675"/>
                </a:cubicBezTo>
                <a:cubicBezTo>
                  <a:pt x="3302916" y="3758139"/>
                  <a:pt x="3299056" y="3758938"/>
                  <a:pt x="3294795" y="3758938"/>
                </a:cubicBezTo>
                <a:cubicBezTo>
                  <a:pt x="3285742" y="3758938"/>
                  <a:pt x="3278552" y="3756009"/>
                  <a:pt x="3272959" y="3750419"/>
                </a:cubicBezTo>
                <a:cubicBezTo>
                  <a:pt x="3267367" y="3744695"/>
                  <a:pt x="3264572" y="3737639"/>
                  <a:pt x="3264572" y="3729253"/>
                </a:cubicBezTo>
                <a:cubicBezTo>
                  <a:pt x="3264572" y="3721000"/>
                  <a:pt x="3267367" y="3713944"/>
                  <a:pt x="3272959" y="3708220"/>
                </a:cubicBezTo>
                <a:cubicBezTo>
                  <a:pt x="3278552" y="3702363"/>
                  <a:pt x="3285742" y="3699567"/>
                  <a:pt x="3294795" y="3699567"/>
                </a:cubicBezTo>
                <a:close/>
                <a:moveTo>
                  <a:pt x="3077139" y="3699567"/>
                </a:moveTo>
                <a:cubicBezTo>
                  <a:pt x="3081267" y="3699567"/>
                  <a:pt x="3085260" y="3700366"/>
                  <a:pt x="3088855" y="3702096"/>
                </a:cubicBezTo>
                <a:cubicBezTo>
                  <a:pt x="3092449" y="3703694"/>
                  <a:pt x="3095644" y="3705824"/>
                  <a:pt x="3098173" y="3708486"/>
                </a:cubicBezTo>
                <a:cubicBezTo>
                  <a:pt x="3100702" y="3711148"/>
                  <a:pt x="3102832" y="3714344"/>
                  <a:pt x="3104296" y="3717937"/>
                </a:cubicBezTo>
                <a:cubicBezTo>
                  <a:pt x="3105761" y="3721532"/>
                  <a:pt x="3106559" y="3725259"/>
                  <a:pt x="3106559" y="3729385"/>
                </a:cubicBezTo>
                <a:cubicBezTo>
                  <a:pt x="3106559" y="3733512"/>
                  <a:pt x="3105761" y="3737506"/>
                  <a:pt x="3104296" y="3741100"/>
                </a:cubicBezTo>
                <a:cubicBezTo>
                  <a:pt x="3102832" y="3744695"/>
                  <a:pt x="3100702" y="3747756"/>
                  <a:pt x="3098173" y="3750419"/>
                </a:cubicBezTo>
                <a:cubicBezTo>
                  <a:pt x="3095510" y="3753081"/>
                  <a:pt x="3092449" y="3755212"/>
                  <a:pt x="3088855" y="3756675"/>
                </a:cubicBezTo>
                <a:cubicBezTo>
                  <a:pt x="3085260" y="3758139"/>
                  <a:pt x="3081400" y="3758938"/>
                  <a:pt x="3077139" y="3758938"/>
                </a:cubicBezTo>
                <a:cubicBezTo>
                  <a:pt x="3068219" y="3758938"/>
                  <a:pt x="3060897" y="3756009"/>
                  <a:pt x="3055303" y="3750419"/>
                </a:cubicBezTo>
                <a:cubicBezTo>
                  <a:pt x="3049712" y="3744695"/>
                  <a:pt x="3046917" y="3737639"/>
                  <a:pt x="3046917" y="3729253"/>
                </a:cubicBezTo>
                <a:cubicBezTo>
                  <a:pt x="3046917" y="3721000"/>
                  <a:pt x="3049712" y="3713944"/>
                  <a:pt x="3055303" y="3708220"/>
                </a:cubicBezTo>
                <a:cubicBezTo>
                  <a:pt x="3060897" y="3702363"/>
                  <a:pt x="3068086" y="3699567"/>
                  <a:pt x="3077139" y="3699567"/>
                </a:cubicBezTo>
                <a:close/>
                <a:moveTo>
                  <a:pt x="2859484" y="3699567"/>
                </a:moveTo>
                <a:cubicBezTo>
                  <a:pt x="2863744" y="3699567"/>
                  <a:pt x="2867605" y="3700366"/>
                  <a:pt x="2871332" y="3702096"/>
                </a:cubicBezTo>
                <a:cubicBezTo>
                  <a:pt x="2875059" y="3703694"/>
                  <a:pt x="2878121" y="3705824"/>
                  <a:pt x="2880650" y="3708486"/>
                </a:cubicBezTo>
                <a:cubicBezTo>
                  <a:pt x="2883312" y="3711148"/>
                  <a:pt x="2885309" y="3714344"/>
                  <a:pt x="2886773" y="3717937"/>
                </a:cubicBezTo>
                <a:cubicBezTo>
                  <a:pt x="2888238" y="3721532"/>
                  <a:pt x="2889036" y="3725259"/>
                  <a:pt x="2889036" y="3729385"/>
                </a:cubicBezTo>
                <a:cubicBezTo>
                  <a:pt x="2889036" y="3733512"/>
                  <a:pt x="2888238" y="3737506"/>
                  <a:pt x="2886773" y="3741100"/>
                </a:cubicBezTo>
                <a:cubicBezTo>
                  <a:pt x="2885309" y="3744695"/>
                  <a:pt x="2883179" y="3747756"/>
                  <a:pt x="2880650" y="3750419"/>
                </a:cubicBezTo>
                <a:cubicBezTo>
                  <a:pt x="2877988" y="3753081"/>
                  <a:pt x="2874926" y="3755212"/>
                  <a:pt x="2871332" y="3756675"/>
                </a:cubicBezTo>
                <a:cubicBezTo>
                  <a:pt x="2867605" y="3758139"/>
                  <a:pt x="2863744" y="3758938"/>
                  <a:pt x="2859484" y="3758938"/>
                </a:cubicBezTo>
                <a:cubicBezTo>
                  <a:pt x="2850566" y="3758938"/>
                  <a:pt x="2843238" y="3756009"/>
                  <a:pt x="2837648" y="3750419"/>
                </a:cubicBezTo>
                <a:cubicBezTo>
                  <a:pt x="2832057" y="3744695"/>
                  <a:pt x="2829261" y="3737639"/>
                  <a:pt x="2829261" y="3729253"/>
                </a:cubicBezTo>
                <a:cubicBezTo>
                  <a:pt x="2829261" y="3721000"/>
                  <a:pt x="2832057" y="3713944"/>
                  <a:pt x="2837648" y="3708220"/>
                </a:cubicBezTo>
                <a:cubicBezTo>
                  <a:pt x="2843238" y="3702363"/>
                  <a:pt x="2850432" y="3699567"/>
                  <a:pt x="2859484" y="3699567"/>
                </a:cubicBezTo>
                <a:close/>
                <a:moveTo>
                  <a:pt x="2641828" y="3699567"/>
                </a:moveTo>
                <a:cubicBezTo>
                  <a:pt x="2646088" y="3699567"/>
                  <a:pt x="2649948" y="3700366"/>
                  <a:pt x="2653543" y="3702096"/>
                </a:cubicBezTo>
                <a:cubicBezTo>
                  <a:pt x="2657270" y="3703694"/>
                  <a:pt x="2660332" y="3705824"/>
                  <a:pt x="2662861" y="3708486"/>
                </a:cubicBezTo>
                <a:cubicBezTo>
                  <a:pt x="2665523" y="3711148"/>
                  <a:pt x="2667521" y="3714344"/>
                  <a:pt x="2668985" y="3717937"/>
                </a:cubicBezTo>
                <a:cubicBezTo>
                  <a:pt x="2670448" y="3721532"/>
                  <a:pt x="2671247" y="3725259"/>
                  <a:pt x="2671247" y="3729385"/>
                </a:cubicBezTo>
                <a:cubicBezTo>
                  <a:pt x="2671247" y="3733512"/>
                  <a:pt x="2670448" y="3737506"/>
                  <a:pt x="2668985" y="3741100"/>
                </a:cubicBezTo>
                <a:cubicBezTo>
                  <a:pt x="2667521" y="3744695"/>
                  <a:pt x="2665390" y="3747756"/>
                  <a:pt x="2662861" y="3750419"/>
                </a:cubicBezTo>
                <a:cubicBezTo>
                  <a:pt x="2660332" y="3753081"/>
                  <a:pt x="2657137" y="3755212"/>
                  <a:pt x="2653543" y="3756675"/>
                </a:cubicBezTo>
                <a:cubicBezTo>
                  <a:pt x="2649948" y="3758139"/>
                  <a:pt x="2646088" y="3758938"/>
                  <a:pt x="2641828" y="3758938"/>
                </a:cubicBezTo>
                <a:cubicBezTo>
                  <a:pt x="2632909" y="3758938"/>
                  <a:pt x="2625587" y="3756009"/>
                  <a:pt x="2619995" y="3750419"/>
                </a:cubicBezTo>
                <a:cubicBezTo>
                  <a:pt x="2614403" y="3744695"/>
                  <a:pt x="2611606" y="3737639"/>
                  <a:pt x="2611606" y="3729253"/>
                </a:cubicBezTo>
                <a:cubicBezTo>
                  <a:pt x="2611606" y="3721000"/>
                  <a:pt x="2614403" y="3713944"/>
                  <a:pt x="2619995" y="3708220"/>
                </a:cubicBezTo>
                <a:cubicBezTo>
                  <a:pt x="2625587" y="3702363"/>
                  <a:pt x="2632776" y="3699567"/>
                  <a:pt x="2641828" y="3699567"/>
                </a:cubicBezTo>
                <a:close/>
                <a:moveTo>
                  <a:pt x="2424172" y="3699567"/>
                </a:moveTo>
                <a:cubicBezTo>
                  <a:pt x="2428432" y="3699567"/>
                  <a:pt x="2432426" y="3700366"/>
                  <a:pt x="2435887" y="3702096"/>
                </a:cubicBezTo>
                <a:cubicBezTo>
                  <a:pt x="2439614" y="3703694"/>
                  <a:pt x="2442676" y="3705824"/>
                  <a:pt x="2445205" y="3708486"/>
                </a:cubicBezTo>
                <a:cubicBezTo>
                  <a:pt x="2447868" y="3711148"/>
                  <a:pt x="2449865" y="3714344"/>
                  <a:pt x="2451329" y="3717937"/>
                </a:cubicBezTo>
                <a:cubicBezTo>
                  <a:pt x="2452792" y="3721532"/>
                  <a:pt x="2453591" y="3725259"/>
                  <a:pt x="2453591" y="3729385"/>
                </a:cubicBezTo>
                <a:cubicBezTo>
                  <a:pt x="2453591" y="3733512"/>
                  <a:pt x="2452792" y="3737506"/>
                  <a:pt x="2451329" y="3741100"/>
                </a:cubicBezTo>
                <a:cubicBezTo>
                  <a:pt x="2449865" y="3744695"/>
                  <a:pt x="2447734" y="3747756"/>
                  <a:pt x="2445205" y="3750419"/>
                </a:cubicBezTo>
                <a:cubicBezTo>
                  <a:pt x="2442676" y="3753081"/>
                  <a:pt x="2439481" y="3755212"/>
                  <a:pt x="2435887" y="3756675"/>
                </a:cubicBezTo>
                <a:cubicBezTo>
                  <a:pt x="2432293" y="3758139"/>
                  <a:pt x="2428432" y="3758938"/>
                  <a:pt x="2424172" y="3758938"/>
                </a:cubicBezTo>
                <a:cubicBezTo>
                  <a:pt x="2415254" y="3758938"/>
                  <a:pt x="2407931" y="3756009"/>
                  <a:pt x="2402340" y="3750419"/>
                </a:cubicBezTo>
                <a:cubicBezTo>
                  <a:pt x="2396748" y="3744695"/>
                  <a:pt x="2393952" y="3737639"/>
                  <a:pt x="2393952" y="3729253"/>
                </a:cubicBezTo>
                <a:cubicBezTo>
                  <a:pt x="2393952" y="3721000"/>
                  <a:pt x="2396748" y="3713944"/>
                  <a:pt x="2402340" y="3708220"/>
                </a:cubicBezTo>
                <a:cubicBezTo>
                  <a:pt x="2407931" y="3702363"/>
                  <a:pt x="2415120" y="3699567"/>
                  <a:pt x="2424172" y="3699567"/>
                </a:cubicBezTo>
                <a:close/>
                <a:moveTo>
                  <a:pt x="2206516" y="3699567"/>
                </a:moveTo>
                <a:cubicBezTo>
                  <a:pt x="2210776" y="3699567"/>
                  <a:pt x="2214770" y="3700366"/>
                  <a:pt x="2218231" y="3702096"/>
                </a:cubicBezTo>
                <a:cubicBezTo>
                  <a:pt x="2221958" y="3703694"/>
                  <a:pt x="2225019" y="3705824"/>
                  <a:pt x="2227550" y="3708486"/>
                </a:cubicBezTo>
                <a:cubicBezTo>
                  <a:pt x="2230212" y="3711148"/>
                  <a:pt x="2232209" y="3714344"/>
                  <a:pt x="2233672" y="3717937"/>
                </a:cubicBezTo>
                <a:cubicBezTo>
                  <a:pt x="2235136" y="3721532"/>
                  <a:pt x="2235935" y="3725259"/>
                  <a:pt x="2235935" y="3729385"/>
                </a:cubicBezTo>
                <a:cubicBezTo>
                  <a:pt x="2235935" y="3733512"/>
                  <a:pt x="2235136" y="3737506"/>
                  <a:pt x="2233672" y="3741100"/>
                </a:cubicBezTo>
                <a:cubicBezTo>
                  <a:pt x="2232209" y="3744695"/>
                  <a:pt x="2230078" y="3747756"/>
                  <a:pt x="2227550" y="3750419"/>
                </a:cubicBezTo>
                <a:cubicBezTo>
                  <a:pt x="2225019" y="3753081"/>
                  <a:pt x="2221825" y="3755212"/>
                  <a:pt x="2218231" y="3756675"/>
                </a:cubicBezTo>
                <a:cubicBezTo>
                  <a:pt x="2214636" y="3758139"/>
                  <a:pt x="2210776" y="3758938"/>
                  <a:pt x="2206516" y="3758938"/>
                </a:cubicBezTo>
                <a:cubicBezTo>
                  <a:pt x="2197464" y="3758938"/>
                  <a:pt x="2190275" y="3756009"/>
                  <a:pt x="2184684" y="3750419"/>
                </a:cubicBezTo>
                <a:cubicBezTo>
                  <a:pt x="2179092" y="3744695"/>
                  <a:pt x="2176296" y="3737639"/>
                  <a:pt x="2176296" y="3729253"/>
                </a:cubicBezTo>
                <a:cubicBezTo>
                  <a:pt x="2176296" y="3721000"/>
                  <a:pt x="2179092" y="3713944"/>
                  <a:pt x="2184684" y="3708220"/>
                </a:cubicBezTo>
                <a:cubicBezTo>
                  <a:pt x="2190275" y="3702363"/>
                  <a:pt x="2197464" y="3699567"/>
                  <a:pt x="2206516" y="3699567"/>
                </a:cubicBezTo>
                <a:close/>
                <a:moveTo>
                  <a:pt x="1988993" y="3699567"/>
                </a:moveTo>
                <a:cubicBezTo>
                  <a:pt x="1993120" y="3699567"/>
                  <a:pt x="1997115" y="3700366"/>
                  <a:pt x="2000709" y="3702096"/>
                </a:cubicBezTo>
                <a:cubicBezTo>
                  <a:pt x="2004436" y="3703694"/>
                  <a:pt x="2007497" y="3705824"/>
                  <a:pt x="2010027" y="3708486"/>
                </a:cubicBezTo>
                <a:cubicBezTo>
                  <a:pt x="2012688" y="3711148"/>
                  <a:pt x="2014686" y="3714344"/>
                  <a:pt x="2016150" y="3717937"/>
                </a:cubicBezTo>
                <a:cubicBezTo>
                  <a:pt x="2017614" y="3721532"/>
                  <a:pt x="2018413" y="3725259"/>
                  <a:pt x="2018413" y="3729385"/>
                </a:cubicBezTo>
                <a:cubicBezTo>
                  <a:pt x="2018413" y="3733512"/>
                  <a:pt x="2017614" y="3737506"/>
                  <a:pt x="2016150" y="3741100"/>
                </a:cubicBezTo>
                <a:cubicBezTo>
                  <a:pt x="2014686" y="3744695"/>
                  <a:pt x="2012556" y="3747756"/>
                  <a:pt x="2010027" y="3750419"/>
                </a:cubicBezTo>
                <a:cubicBezTo>
                  <a:pt x="2007497" y="3753081"/>
                  <a:pt x="2004302" y="3755212"/>
                  <a:pt x="2000709" y="3756675"/>
                </a:cubicBezTo>
                <a:cubicBezTo>
                  <a:pt x="1997115" y="3758139"/>
                  <a:pt x="1993253" y="3758938"/>
                  <a:pt x="1988993" y="3758938"/>
                </a:cubicBezTo>
                <a:cubicBezTo>
                  <a:pt x="1979942" y="3758938"/>
                  <a:pt x="1972753" y="3756009"/>
                  <a:pt x="1967162" y="3750419"/>
                </a:cubicBezTo>
                <a:cubicBezTo>
                  <a:pt x="1961572" y="3744695"/>
                  <a:pt x="1958776" y="3737639"/>
                  <a:pt x="1958776" y="3729253"/>
                </a:cubicBezTo>
                <a:cubicBezTo>
                  <a:pt x="1958776" y="3721000"/>
                  <a:pt x="1961572" y="3713944"/>
                  <a:pt x="1967162" y="3708220"/>
                </a:cubicBezTo>
                <a:cubicBezTo>
                  <a:pt x="1972753" y="3702363"/>
                  <a:pt x="1979942" y="3699567"/>
                  <a:pt x="1988993" y="3699567"/>
                </a:cubicBezTo>
                <a:close/>
                <a:moveTo>
                  <a:pt x="1771356" y="3699567"/>
                </a:moveTo>
                <a:cubicBezTo>
                  <a:pt x="1775615" y="3699567"/>
                  <a:pt x="1779475" y="3700366"/>
                  <a:pt x="1783070" y="3702096"/>
                </a:cubicBezTo>
                <a:cubicBezTo>
                  <a:pt x="1786797" y="3703694"/>
                  <a:pt x="1789859" y="3705824"/>
                  <a:pt x="1792388" y="3708486"/>
                </a:cubicBezTo>
                <a:cubicBezTo>
                  <a:pt x="1795050" y="3711148"/>
                  <a:pt x="1797047" y="3714344"/>
                  <a:pt x="1798511" y="3717937"/>
                </a:cubicBezTo>
                <a:cubicBezTo>
                  <a:pt x="1799975" y="3721532"/>
                  <a:pt x="1800773" y="3725259"/>
                  <a:pt x="1800773" y="3729385"/>
                </a:cubicBezTo>
                <a:cubicBezTo>
                  <a:pt x="1800773" y="3733512"/>
                  <a:pt x="1799975" y="3737506"/>
                  <a:pt x="1798511" y="3741100"/>
                </a:cubicBezTo>
                <a:cubicBezTo>
                  <a:pt x="1797047" y="3744695"/>
                  <a:pt x="1794917" y="3747756"/>
                  <a:pt x="1792388" y="3750419"/>
                </a:cubicBezTo>
                <a:cubicBezTo>
                  <a:pt x="1789725" y="3753081"/>
                  <a:pt x="1786664" y="3755212"/>
                  <a:pt x="1783070" y="3756675"/>
                </a:cubicBezTo>
                <a:cubicBezTo>
                  <a:pt x="1779475" y="3758139"/>
                  <a:pt x="1775615" y="3758938"/>
                  <a:pt x="1771356" y="3758938"/>
                </a:cubicBezTo>
                <a:cubicBezTo>
                  <a:pt x="1762437" y="3758938"/>
                  <a:pt x="1755117" y="3756009"/>
                  <a:pt x="1749526" y="3750419"/>
                </a:cubicBezTo>
                <a:cubicBezTo>
                  <a:pt x="1743935" y="3744695"/>
                  <a:pt x="1741142" y="3737639"/>
                  <a:pt x="1741142" y="3729253"/>
                </a:cubicBezTo>
                <a:cubicBezTo>
                  <a:pt x="1741142" y="3721000"/>
                  <a:pt x="1743935" y="3713944"/>
                  <a:pt x="1749526" y="3708220"/>
                </a:cubicBezTo>
                <a:cubicBezTo>
                  <a:pt x="1755117" y="3702363"/>
                  <a:pt x="1762304" y="3699567"/>
                  <a:pt x="1771356" y="3699567"/>
                </a:cubicBezTo>
                <a:close/>
                <a:moveTo>
                  <a:pt x="1553716" y="3699567"/>
                </a:moveTo>
                <a:cubicBezTo>
                  <a:pt x="1557976" y="3699567"/>
                  <a:pt x="1561837" y="3700366"/>
                  <a:pt x="1565431" y="3702096"/>
                </a:cubicBezTo>
                <a:cubicBezTo>
                  <a:pt x="1569025" y="3703694"/>
                  <a:pt x="1572220" y="3705824"/>
                  <a:pt x="1574749" y="3708486"/>
                </a:cubicBezTo>
                <a:cubicBezTo>
                  <a:pt x="1577411" y="3711148"/>
                  <a:pt x="1579408" y="3714344"/>
                  <a:pt x="1580872" y="3717937"/>
                </a:cubicBezTo>
                <a:cubicBezTo>
                  <a:pt x="1582336" y="3721532"/>
                  <a:pt x="1583135" y="3725259"/>
                  <a:pt x="1583135" y="3729385"/>
                </a:cubicBezTo>
                <a:cubicBezTo>
                  <a:pt x="1583135" y="3733512"/>
                  <a:pt x="1582336" y="3737506"/>
                  <a:pt x="1580872" y="3741100"/>
                </a:cubicBezTo>
                <a:cubicBezTo>
                  <a:pt x="1579408" y="3744695"/>
                  <a:pt x="1577278" y="3747756"/>
                  <a:pt x="1574749" y="3750419"/>
                </a:cubicBezTo>
                <a:cubicBezTo>
                  <a:pt x="1572087" y="3753081"/>
                  <a:pt x="1569025" y="3755212"/>
                  <a:pt x="1565431" y="3756675"/>
                </a:cubicBezTo>
                <a:cubicBezTo>
                  <a:pt x="1561837" y="3758139"/>
                  <a:pt x="1557976" y="3758938"/>
                  <a:pt x="1553716" y="3758938"/>
                </a:cubicBezTo>
                <a:cubicBezTo>
                  <a:pt x="1544798" y="3758938"/>
                  <a:pt x="1537476" y="3756009"/>
                  <a:pt x="1531886" y="3750419"/>
                </a:cubicBezTo>
                <a:cubicBezTo>
                  <a:pt x="1526297" y="3744695"/>
                  <a:pt x="1523500" y="3737639"/>
                  <a:pt x="1523500" y="3729253"/>
                </a:cubicBezTo>
                <a:cubicBezTo>
                  <a:pt x="1523500" y="3721000"/>
                  <a:pt x="1526297" y="3713944"/>
                  <a:pt x="1531886" y="3708220"/>
                </a:cubicBezTo>
                <a:cubicBezTo>
                  <a:pt x="1537476" y="3702363"/>
                  <a:pt x="1544664" y="3699567"/>
                  <a:pt x="1553716" y="3699567"/>
                </a:cubicBezTo>
                <a:close/>
                <a:moveTo>
                  <a:pt x="1336072" y="3699567"/>
                </a:moveTo>
                <a:cubicBezTo>
                  <a:pt x="1340332" y="3699567"/>
                  <a:pt x="1344327" y="3700366"/>
                  <a:pt x="1347788" y="3702096"/>
                </a:cubicBezTo>
                <a:cubicBezTo>
                  <a:pt x="1351381" y="3703694"/>
                  <a:pt x="1354576" y="3705824"/>
                  <a:pt x="1357106" y="3708486"/>
                </a:cubicBezTo>
                <a:cubicBezTo>
                  <a:pt x="1359768" y="3711148"/>
                  <a:pt x="1361765" y="3714344"/>
                  <a:pt x="1363229" y="3717937"/>
                </a:cubicBezTo>
                <a:cubicBezTo>
                  <a:pt x="1364693" y="3721532"/>
                  <a:pt x="1365491" y="3725259"/>
                  <a:pt x="1365491" y="3729385"/>
                </a:cubicBezTo>
                <a:cubicBezTo>
                  <a:pt x="1365491" y="3733512"/>
                  <a:pt x="1364693" y="3737506"/>
                  <a:pt x="1363229" y="3741100"/>
                </a:cubicBezTo>
                <a:cubicBezTo>
                  <a:pt x="1361765" y="3744695"/>
                  <a:pt x="1359635" y="3747756"/>
                  <a:pt x="1357106" y="3750419"/>
                </a:cubicBezTo>
                <a:cubicBezTo>
                  <a:pt x="1354442" y="3753081"/>
                  <a:pt x="1351381" y="3755212"/>
                  <a:pt x="1347788" y="3756675"/>
                </a:cubicBezTo>
                <a:cubicBezTo>
                  <a:pt x="1344193" y="3758139"/>
                  <a:pt x="1340332" y="3758938"/>
                  <a:pt x="1336072" y="3758938"/>
                </a:cubicBezTo>
                <a:cubicBezTo>
                  <a:pt x="1327152" y="3758938"/>
                  <a:pt x="1319831" y="3756009"/>
                  <a:pt x="1314239" y="3750419"/>
                </a:cubicBezTo>
                <a:cubicBezTo>
                  <a:pt x="1308649" y="3744695"/>
                  <a:pt x="1305854" y="3737639"/>
                  <a:pt x="1305854" y="3729253"/>
                </a:cubicBezTo>
                <a:cubicBezTo>
                  <a:pt x="1305854" y="3721000"/>
                  <a:pt x="1308649" y="3713944"/>
                  <a:pt x="1314239" y="3708220"/>
                </a:cubicBezTo>
                <a:cubicBezTo>
                  <a:pt x="1319831" y="3702363"/>
                  <a:pt x="1327019" y="3699567"/>
                  <a:pt x="1336072" y="3699567"/>
                </a:cubicBezTo>
                <a:close/>
                <a:moveTo>
                  <a:pt x="1118427" y="3699567"/>
                </a:moveTo>
                <a:cubicBezTo>
                  <a:pt x="1122688" y="3699567"/>
                  <a:pt x="1126683" y="3700366"/>
                  <a:pt x="1130144" y="3702096"/>
                </a:cubicBezTo>
                <a:cubicBezTo>
                  <a:pt x="1133871" y="3703694"/>
                  <a:pt x="1136933" y="3705824"/>
                  <a:pt x="1139460" y="3708486"/>
                </a:cubicBezTo>
                <a:cubicBezTo>
                  <a:pt x="1142121" y="3711148"/>
                  <a:pt x="1144118" y="3714344"/>
                  <a:pt x="1145581" y="3717937"/>
                </a:cubicBezTo>
                <a:cubicBezTo>
                  <a:pt x="1147046" y="3721532"/>
                  <a:pt x="1147844" y="3725259"/>
                  <a:pt x="1147844" y="3729385"/>
                </a:cubicBezTo>
                <a:cubicBezTo>
                  <a:pt x="1147844" y="3733512"/>
                  <a:pt x="1147046" y="3737506"/>
                  <a:pt x="1145581" y="3741100"/>
                </a:cubicBezTo>
                <a:cubicBezTo>
                  <a:pt x="1144118" y="3744695"/>
                  <a:pt x="1141988" y="3747756"/>
                  <a:pt x="1139460" y="3750419"/>
                </a:cubicBezTo>
                <a:cubicBezTo>
                  <a:pt x="1136933" y="3753081"/>
                  <a:pt x="1133738" y="3755212"/>
                  <a:pt x="1130144" y="3756675"/>
                </a:cubicBezTo>
                <a:cubicBezTo>
                  <a:pt x="1126549" y="3758139"/>
                  <a:pt x="1122688" y="3758938"/>
                  <a:pt x="1118427" y="3758938"/>
                </a:cubicBezTo>
                <a:cubicBezTo>
                  <a:pt x="1109507" y="3758938"/>
                  <a:pt x="1102184" y="3756009"/>
                  <a:pt x="1096593" y="3750419"/>
                </a:cubicBezTo>
                <a:cubicBezTo>
                  <a:pt x="1091003" y="3744695"/>
                  <a:pt x="1088208" y="3737639"/>
                  <a:pt x="1088208" y="3729253"/>
                </a:cubicBezTo>
                <a:cubicBezTo>
                  <a:pt x="1088208" y="3721000"/>
                  <a:pt x="1091003" y="3713944"/>
                  <a:pt x="1096593" y="3708220"/>
                </a:cubicBezTo>
                <a:cubicBezTo>
                  <a:pt x="1102184" y="3702363"/>
                  <a:pt x="1109373" y="3699567"/>
                  <a:pt x="1118427" y="3699567"/>
                </a:cubicBezTo>
                <a:close/>
                <a:moveTo>
                  <a:pt x="900914" y="3699567"/>
                </a:moveTo>
                <a:cubicBezTo>
                  <a:pt x="905041" y="3699567"/>
                  <a:pt x="909035" y="3700366"/>
                  <a:pt x="912629" y="3702096"/>
                </a:cubicBezTo>
                <a:cubicBezTo>
                  <a:pt x="916356" y="3703694"/>
                  <a:pt x="919418" y="3705824"/>
                  <a:pt x="921948" y="3708486"/>
                </a:cubicBezTo>
                <a:cubicBezTo>
                  <a:pt x="924610" y="3711148"/>
                  <a:pt x="926606" y="3714344"/>
                  <a:pt x="928070" y="3717937"/>
                </a:cubicBezTo>
                <a:cubicBezTo>
                  <a:pt x="929535" y="3721532"/>
                  <a:pt x="930333" y="3725259"/>
                  <a:pt x="930333" y="3729385"/>
                </a:cubicBezTo>
                <a:cubicBezTo>
                  <a:pt x="930333" y="3733512"/>
                  <a:pt x="929535" y="3737506"/>
                  <a:pt x="928070" y="3741100"/>
                </a:cubicBezTo>
                <a:cubicBezTo>
                  <a:pt x="926606" y="3744695"/>
                  <a:pt x="924476" y="3747756"/>
                  <a:pt x="921948" y="3750419"/>
                </a:cubicBezTo>
                <a:cubicBezTo>
                  <a:pt x="919418" y="3753081"/>
                  <a:pt x="916223" y="3755212"/>
                  <a:pt x="912629" y="3756675"/>
                </a:cubicBezTo>
                <a:cubicBezTo>
                  <a:pt x="909035" y="3758139"/>
                  <a:pt x="905174" y="3758938"/>
                  <a:pt x="900914" y="3758938"/>
                </a:cubicBezTo>
                <a:cubicBezTo>
                  <a:pt x="891996" y="3758938"/>
                  <a:pt x="884674" y="3756009"/>
                  <a:pt x="879083" y="3750419"/>
                </a:cubicBezTo>
                <a:cubicBezTo>
                  <a:pt x="873494" y="3744695"/>
                  <a:pt x="870698" y="3737639"/>
                  <a:pt x="870698" y="3729253"/>
                </a:cubicBezTo>
                <a:cubicBezTo>
                  <a:pt x="870698" y="3721000"/>
                  <a:pt x="873494" y="3713944"/>
                  <a:pt x="879083" y="3708220"/>
                </a:cubicBezTo>
                <a:cubicBezTo>
                  <a:pt x="884674" y="3702363"/>
                  <a:pt x="891863" y="3699567"/>
                  <a:pt x="900914" y="3699567"/>
                </a:cubicBezTo>
                <a:close/>
                <a:moveTo>
                  <a:pt x="683273" y="3699567"/>
                </a:moveTo>
                <a:cubicBezTo>
                  <a:pt x="687533" y="3699567"/>
                  <a:pt x="691394" y="3700366"/>
                  <a:pt x="694988" y="3702096"/>
                </a:cubicBezTo>
                <a:cubicBezTo>
                  <a:pt x="698715" y="3703694"/>
                  <a:pt x="701777" y="3705824"/>
                  <a:pt x="704305" y="3708486"/>
                </a:cubicBezTo>
                <a:cubicBezTo>
                  <a:pt x="706967" y="3711148"/>
                  <a:pt x="708964" y="3714344"/>
                  <a:pt x="710428" y="3717937"/>
                </a:cubicBezTo>
                <a:cubicBezTo>
                  <a:pt x="711892" y="3721532"/>
                  <a:pt x="712691" y="3725259"/>
                  <a:pt x="712691" y="3729385"/>
                </a:cubicBezTo>
                <a:cubicBezTo>
                  <a:pt x="712691" y="3733512"/>
                  <a:pt x="711892" y="3737506"/>
                  <a:pt x="710428" y="3741100"/>
                </a:cubicBezTo>
                <a:cubicBezTo>
                  <a:pt x="708964" y="3744695"/>
                  <a:pt x="706834" y="3747756"/>
                  <a:pt x="704305" y="3750419"/>
                </a:cubicBezTo>
                <a:cubicBezTo>
                  <a:pt x="701777" y="3753081"/>
                  <a:pt x="698582" y="3755212"/>
                  <a:pt x="694988" y="3756675"/>
                </a:cubicBezTo>
                <a:cubicBezTo>
                  <a:pt x="691394" y="3758139"/>
                  <a:pt x="687533" y="3758938"/>
                  <a:pt x="683273" y="3758938"/>
                </a:cubicBezTo>
                <a:cubicBezTo>
                  <a:pt x="674354" y="3758938"/>
                  <a:pt x="667032" y="3756009"/>
                  <a:pt x="661441" y="3750419"/>
                </a:cubicBezTo>
                <a:cubicBezTo>
                  <a:pt x="655850" y="3744695"/>
                  <a:pt x="653055" y="3737639"/>
                  <a:pt x="653055" y="3729253"/>
                </a:cubicBezTo>
                <a:cubicBezTo>
                  <a:pt x="653055" y="3721000"/>
                  <a:pt x="655850" y="3713944"/>
                  <a:pt x="661441" y="3708220"/>
                </a:cubicBezTo>
                <a:cubicBezTo>
                  <a:pt x="667032" y="3702363"/>
                  <a:pt x="674221" y="3699567"/>
                  <a:pt x="683273" y="3699567"/>
                </a:cubicBezTo>
                <a:close/>
                <a:moveTo>
                  <a:pt x="465630" y="3699567"/>
                </a:moveTo>
                <a:cubicBezTo>
                  <a:pt x="469890" y="3699567"/>
                  <a:pt x="473750" y="3700366"/>
                  <a:pt x="477345" y="3702096"/>
                </a:cubicBezTo>
                <a:cubicBezTo>
                  <a:pt x="481073" y="3703694"/>
                  <a:pt x="484134" y="3705824"/>
                  <a:pt x="486663" y="3708486"/>
                </a:cubicBezTo>
                <a:cubicBezTo>
                  <a:pt x="489325" y="3711148"/>
                  <a:pt x="491322" y="3714344"/>
                  <a:pt x="492786" y="3717937"/>
                </a:cubicBezTo>
                <a:cubicBezTo>
                  <a:pt x="494250" y="3721532"/>
                  <a:pt x="495049" y="3725259"/>
                  <a:pt x="495049" y="3729385"/>
                </a:cubicBezTo>
                <a:cubicBezTo>
                  <a:pt x="495049" y="3733512"/>
                  <a:pt x="494250" y="3737506"/>
                  <a:pt x="492786" y="3741100"/>
                </a:cubicBezTo>
                <a:cubicBezTo>
                  <a:pt x="491322" y="3744695"/>
                  <a:pt x="489192" y="3747756"/>
                  <a:pt x="486663" y="3750419"/>
                </a:cubicBezTo>
                <a:cubicBezTo>
                  <a:pt x="484000" y="3753081"/>
                  <a:pt x="480939" y="3755212"/>
                  <a:pt x="477345" y="3756675"/>
                </a:cubicBezTo>
                <a:cubicBezTo>
                  <a:pt x="473750" y="3758139"/>
                  <a:pt x="469890" y="3758938"/>
                  <a:pt x="465630" y="3758938"/>
                </a:cubicBezTo>
                <a:cubicBezTo>
                  <a:pt x="456712" y="3758938"/>
                  <a:pt x="449390" y="3756009"/>
                  <a:pt x="443799" y="3750419"/>
                </a:cubicBezTo>
                <a:cubicBezTo>
                  <a:pt x="438208" y="3744695"/>
                  <a:pt x="435413" y="3737639"/>
                  <a:pt x="435413" y="3729253"/>
                </a:cubicBezTo>
                <a:cubicBezTo>
                  <a:pt x="435413" y="3721000"/>
                  <a:pt x="438208" y="3713944"/>
                  <a:pt x="443799" y="3708220"/>
                </a:cubicBezTo>
                <a:cubicBezTo>
                  <a:pt x="449390" y="3702363"/>
                  <a:pt x="456579" y="3699567"/>
                  <a:pt x="465630" y="3699567"/>
                </a:cubicBezTo>
                <a:close/>
                <a:moveTo>
                  <a:pt x="247987" y="3699567"/>
                </a:moveTo>
                <a:cubicBezTo>
                  <a:pt x="252247" y="3699567"/>
                  <a:pt x="256241" y="3700366"/>
                  <a:pt x="259702" y="3702096"/>
                </a:cubicBezTo>
                <a:cubicBezTo>
                  <a:pt x="263429" y="3703694"/>
                  <a:pt x="266491" y="3705824"/>
                  <a:pt x="269020" y="3708486"/>
                </a:cubicBezTo>
                <a:cubicBezTo>
                  <a:pt x="271682" y="3711148"/>
                  <a:pt x="273679" y="3714344"/>
                  <a:pt x="275143" y="3717937"/>
                </a:cubicBezTo>
                <a:cubicBezTo>
                  <a:pt x="276607" y="3721532"/>
                  <a:pt x="277406" y="3725259"/>
                  <a:pt x="277406" y="3729385"/>
                </a:cubicBezTo>
                <a:cubicBezTo>
                  <a:pt x="277406" y="3733512"/>
                  <a:pt x="276607" y="3737506"/>
                  <a:pt x="275143" y="3741100"/>
                </a:cubicBezTo>
                <a:cubicBezTo>
                  <a:pt x="273679" y="3744695"/>
                  <a:pt x="271549" y="3747756"/>
                  <a:pt x="269020" y="3750419"/>
                </a:cubicBezTo>
                <a:cubicBezTo>
                  <a:pt x="266357" y="3753081"/>
                  <a:pt x="263296" y="3755212"/>
                  <a:pt x="259702" y="3756675"/>
                </a:cubicBezTo>
                <a:cubicBezTo>
                  <a:pt x="256107" y="3758139"/>
                  <a:pt x="252247" y="3758938"/>
                  <a:pt x="247987" y="3758938"/>
                </a:cubicBezTo>
                <a:cubicBezTo>
                  <a:pt x="239070" y="3758938"/>
                  <a:pt x="231748" y="3756009"/>
                  <a:pt x="226157" y="3750419"/>
                </a:cubicBezTo>
                <a:cubicBezTo>
                  <a:pt x="220567" y="3744695"/>
                  <a:pt x="217772" y="3737639"/>
                  <a:pt x="217772" y="3729253"/>
                </a:cubicBezTo>
                <a:cubicBezTo>
                  <a:pt x="217772" y="3721000"/>
                  <a:pt x="220567" y="3713944"/>
                  <a:pt x="226157" y="3708220"/>
                </a:cubicBezTo>
                <a:cubicBezTo>
                  <a:pt x="231748" y="3702363"/>
                  <a:pt x="238936" y="3699567"/>
                  <a:pt x="247987" y="3699567"/>
                </a:cubicBezTo>
                <a:close/>
                <a:moveTo>
                  <a:pt x="30345" y="3699567"/>
                </a:moveTo>
                <a:cubicBezTo>
                  <a:pt x="34605" y="3699567"/>
                  <a:pt x="38599" y="3700366"/>
                  <a:pt x="42060" y="3702096"/>
                </a:cubicBezTo>
                <a:cubicBezTo>
                  <a:pt x="45787" y="3703694"/>
                  <a:pt x="48849" y="3705824"/>
                  <a:pt x="51378" y="3708486"/>
                </a:cubicBezTo>
                <a:cubicBezTo>
                  <a:pt x="54040" y="3711148"/>
                  <a:pt x="56037" y="3714344"/>
                  <a:pt x="57501" y="3717937"/>
                </a:cubicBezTo>
                <a:cubicBezTo>
                  <a:pt x="58965" y="3721532"/>
                  <a:pt x="59764" y="3725259"/>
                  <a:pt x="59764" y="3729385"/>
                </a:cubicBezTo>
                <a:cubicBezTo>
                  <a:pt x="59764" y="3733512"/>
                  <a:pt x="58965" y="3737506"/>
                  <a:pt x="57501" y="3741100"/>
                </a:cubicBezTo>
                <a:cubicBezTo>
                  <a:pt x="56037" y="3744695"/>
                  <a:pt x="53907" y="3747756"/>
                  <a:pt x="51378" y="3750419"/>
                </a:cubicBezTo>
                <a:cubicBezTo>
                  <a:pt x="48715" y="3753081"/>
                  <a:pt x="45654" y="3755212"/>
                  <a:pt x="42060" y="3756675"/>
                </a:cubicBezTo>
                <a:cubicBezTo>
                  <a:pt x="38466" y="3758139"/>
                  <a:pt x="34605" y="3758938"/>
                  <a:pt x="30345" y="3758938"/>
                </a:cubicBezTo>
                <a:cubicBezTo>
                  <a:pt x="21427" y="3758938"/>
                  <a:pt x="14106" y="3756009"/>
                  <a:pt x="8516" y="3750419"/>
                </a:cubicBezTo>
                <a:cubicBezTo>
                  <a:pt x="2925" y="3744695"/>
                  <a:pt x="130" y="3737639"/>
                  <a:pt x="130" y="3729253"/>
                </a:cubicBezTo>
                <a:cubicBezTo>
                  <a:pt x="130" y="3721000"/>
                  <a:pt x="2925" y="3713944"/>
                  <a:pt x="8516" y="3708220"/>
                </a:cubicBezTo>
                <a:cubicBezTo>
                  <a:pt x="14106" y="3702363"/>
                  <a:pt x="21293" y="3699567"/>
                  <a:pt x="30345" y="3699567"/>
                </a:cubicBezTo>
                <a:close/>
                <a:moveTo>
                  <a:pt x="10475977" y="3498563"/>
                </a:moveTo>
                <a:cubicBezTo>
                  <a:pt x="10470119" y="3498563"/>
                  <a:pt x="10467589" y="3500558"/>
                  <a:pt x="10465992" y="3502157"/>
                </a:cubicBezTo>
                <a:cubicBezTo>
                  <a:pt x="10463463" y="3504819"/>
                  <a:pt x="10462399" y="3507614"/>
                  <a:pt x="10462399" y="3511608"/>
                </a:cubicBezTo>
                <a:cubicBezTo>
                  <a:pt x="10462399" y="3515735"/>
                  <a:pt x="10463463" y="3518530"/>
                  <a:pt x="10465992" y="3521059"/>
                </a:cubicBezTo>
                <a:cubicBezTo>
                  <a:pt x="10467589" y="3522657"/>
                  <a:pt x="10470119" y="3524520"/>
                  <a:pt x="10475977" y="3524520"/>
                </a:cubicBezTo>
                <a:cubicBezTo>
                  <a:pt x="10478107" y="3524520"/>
                  <a:pt x="10479838" y="3524254"/>
                  <a:pt x="10481302" y="3523722"/>
                </a:cubicBezTo>
                <a:cubicBezTo>
                  <a:pt x="10482899" y="3523189"/>
                  <a:pt x="10484098" y="3522257"/>
                  <a:pt x="10485029" y="3521325"/>
                </a:cubicBezTo>
                <a:cubicBezTo>
                  <a:pt x="10486094" y="3520127"/>
                  <a:pt x="10487026" y="3518796"/>
                  <a:pt x="10487691" y="3517066"/>
                </a:cubicBezTo>
                <a:cubicBezTo>
                  <a:pt x="10488357" y="3515469"/>
                  <a:pt x="10488623" y="3513605"/>
                  <a:pt x="10488623" y="3511608"/>
                </a:cubicBezTo>
                <a:cubicBezTo>
                  <a:pt x="10488623" y="3509744"/>
                  <a:pt x="10488357" y="3508014"/>
                  <a:pt x="10487691" y="3506416"/>
                </a:cubicBezTo>
                <a:cubicBezTo>
                  <a:pt x="10487026" y="3504686"/>
                  <a:pt x="10486094" y="3503355"/>
                  <a:pt x="10485029" y="3502157"/>
                </a:cubicBezTo>
                <a:cubicBezTo>
                  <a:pt x="10483964" y="3501092"/>
                  <a:pt x="10482633" y="3500159"/>
                  <a:pt x="10481035" y="3499495"/>
                </a:cubicBezTo>
                <a:cubicBezTo>
                  <a:pt x="10479571" y="3498829"/>
                  <a:pt x="10477974" y="3498563"/>
                  <a:pt x="10475977" y="3498563"/>
                </a:cubicBezTo>
                <a:close/>
                <a:moveTo>
                  <a:pt x="10258466" y="3498563"/>
                </a:moveTo>
                <a:cubicBezTo>
                  <a:pt x="10252608" y="3498563"/>
                  <a:pt x="10250078" y="3500558"/>
                  <a:pt x="10248481" y="3502157"/>
                </a:cubicBezTo>
                <a:cubicBezTo>
                  <a:pt x="10245952" y="3504819"/>
                  <a:pt x="10244887" y="3507614"/>
                  <a:pt x="10244887" y="3511608"/>
                </a:cubicBezTo>
                <a:cubicBezTo>
                  <a:pt x="10244887" y="3515735"/>
                  <a:pt x="10245952" y="3518530"/>
                  <a:pt x="10248481" y="3521059"/>
                </a:cubicBezTo>
                <a:cubicBezTo>
                  <a:pt x="10250078" y="3522657"/>
                  <a:pt x="10252608" y="3524520"/>
                  <a:pt x="10258466" y="3524520"/>
                </a:cubicBezTo>
                <a:cubicBezTo>
                  <a:pt x="10260462" y="3524520"/>
                  <a:pt x="10262192" y="3524254"/>
                  <a:pt x="10263790" y="3523722"/>
                </a:cubicBezTo>
                <a:cubicBezTo>
                  <a:pt x="10265388" y="3523189"/>
                  <a:pt x="10266586" y="3522257"/>
                  <a:pt x="10267517" y="3521325"/>
                </a:cubicBezTo>
                <a:cubicBezTo>
                  <a:pt x="10268583" y="3520127"/>
                  <a:pt x="10269515" y="3518796"/>
                  <a:pt x="10270180" y="3517066"/>
                </a:cubicBezTo>
                <a:cubicBezTo>
                  <a:pt x="10270845" y="3515469"/>
                  <a:pt x="10271112" y="3513605"/>
                  <a:pt x="10271112" y="3511608"/>
                </a:cubicBezTo>
                <a:cubicBezTo>
                  <a:pt x="10271112" y="3509744"/>
                  <a:pt x="10270845" y="3508014"/>
                  <a:pt x="10270180" y="3506416"/>
                </a:cubicBezTo>
                <a:cubicBezTo>
                  <a:pt x="10269515" y="3504686"/>
                  <a:pt x="10268583" y="3503355"/>
                  <a:pt x="10267517" y="3502157"/>
                </a:cubicBezTo>
                <a:cubicBezTo>
                  <a:pt x="10266452" y="3501092"/>
                  <a:pt x="10265121" y="3500159"/>
                  <a:pt x="10263524" y="3499495"/>
                </a:cubicBezTo>
                <a:cubicBezTo>
                  <a:pt x="10262060" y="3498829"/>
                  <a:pt x="10260462" y="3498563"/>
                  <a:pt x="10258466" y="3498563"/>
                </a:cubicBezTo>
                <a:close/>
                <a:moveTo>
                  <a:pt x="10040820" y="3498563"/>
                </a:moveTo>
                <a:cubicBezTo>
                  <a:pt x="10034962" y="3498563"/>
                  <a:pt x="10032433" y="3500558"/>
                  <a:pt x="10030835" y="3502157"/>
                </a:cubicBezTo>
                <a:cubicBezTo>
                  <a:pt x="10028306" y="3504819"/>
                  <a:pt x="10027242" y="3507614"/>
                  <a:pt x="10027242" y="3511608"/>
                </a:cubicBezTo>
                <a:cubicBezTo>
                  <a:pt x="10027242" y="3515735"/>
                  <a:pt x="10028306" y="3518530"/>
                  <a:pt x="10030835" y="3521059"/>
                </a:cubicBezTo>
                <a:cubicBezTo>
                  <a:pt x="10032433" y="3522657"/>
                  <a:pt x="10034962" y="3524520"/>
                  <a:pt x="10040820" y="3524520"/>
                </a:cubicBezTo>
                <a:cubicBezTo>
                  <a:pt x="10042817" y="3524520"/>
                  <a:pt x="10044681" y="3524254"/>
                  <a:pt x="10046145" y="3523722"/>
                </a:cubicBezTo>
                <a:cubicBezTo>
                  <a:pt x="10047742" y="3523189"/>
                  <a:pt x="10048941" y="3522257"/>
                  <a:pt x="10049872" y="3521325"/>
                </a:cubicBezTo>
                <a:cubicBezTo>
                  <a:pt x="10050937" y="3520127"/>
                  <a:pt x="10051869" y="3518796"/>
                  <a:pt x="10052534" y="3517066"/>
                </a:cubicBezTo>
                <a:cubicBezTo>
                  <a:pt x="10053333" y="3515469"/>
                  <a:pt x="10053599" y="3513605"/>
                  <a:pt x="10053599" y="3511608"/>
                </a:cubicBezTo>
                <a:cubicBezTo>
                  <a:pt x="10053599" y="3509744"/>
                  <a:pt x="10053200" y="3508014"/>
                  <a:pt x="10052534" y="3506416"/>
                </a:cubicBezTo>
                <a:cubicBezTo>
                  <a:pt x="10051869" y="3504686"/>
                  <a:pt x="10050937" y="3503355"/>
                  <a:pt x="10049872" y="3502157"/>
                </a:cubicBezTo>
                <a:cubicBezTo>
                  <a:pt x="10048807" y="3501092"/>
                  <a:pt x="10047476" y="3500159"/>
                  <a:pt x="10045878" y="3499495"/>
                </a:cubicBezTo>
                <a:cubicBezTo>
                  <a:pt x="10044414" y="3498829"/>
                  <a:pt x="10042817" y="3498563"/>
                  <a:pt x="10040820" y="3498563"/>
                </a:cubicBezTo>
                <a:close/>
                <a:moveTo>
                  <a:pt x="9823176" y="3498563"/>
                </a:moveTo>
                <a:cubicBezTo>
                  <a:pt x="9817318" y="3498563"/>
                  <a:pt x="9814788" y="3500558"/>
                  <a:pt x="9813191" y="3502157"/>
                </a:cubicBezTo>
                <a:cubicBezTo>
                  <a:pt x="9810662" y="3504819"/>
                  <a:pt x="9809597" y="3507614"/>
                  <a:pt x="9809597" y="3511608"/>
                </a:cubicBezTo>
                <a:cubicBezTo>
                  <a:pt x="9809597" y="3515735"/>
                  <a:pt x="9810662" y="3518530"/>
                  <a:pt x="9813191" y="3521059"/>
                </a:cubicBezTo>
                <a:cubicBezTo>
                  <a:pt x="9814788" y="3522657"/>
                  <a:pt x="9817318" y="3524520"/>
                  <a:pt x="9823176" y="3524520"/>
                </a:cubicBezTo>
                <a:cubicBezTo>
                  <a:pt x="9825173" y="3524520"/>
                  <a:pt x="9827036" y="3524254"/>
                  <a:pt x="9828501" y="3523722"/>
                </a:cubicBezTo>
                <a:cubicBezTo>
                  <a:pt x="9830098" y="3523189"/>
                  <a:pt x="9831296" y="3522257"/>
                  <a:pt x="9832227" y="3521325"/>
                </a:cubicBezTo>
                <a:cubicBezTo>
                  <a:pt x="9833293" y="3520127"/>
                  <a:pt x="9834225" y="3518796"/>
                  <a:pt x="9834890" y="3517066"/>
                </a:cubicBezTo>
                <a:cubicBezTo>
                  <a:pt x="9835689" y="3515469"/>
                  <a:pt x="9835955" y="3513605"/>
                  <a:pt x="9835955" y="3511608"/>
                </a:cubicBezTo>
                <a:cubicBezTo>
                  <a:pt x="9835955" y="3509744"/>
                  <a:pt x="9835555" y="3508014"/>
                  <a:pt x="9834890" y="3506416"/>
                </a:cubicBezTo>
                <a:cubicBezTo>
                  <a:pt x="9834225" y="3504686"/>
                  <a:pt x="9833293" y="3503355"/>
                  <a:pt x="9832227" y="3502157"/>
                </a:cubicBezTo>
                <a:cubicBezTo>
                  <a:pt x="9831162" y="3501092"/>
                  <a:pt x="9829831" y="3500159"/>
                  <a:pt x="9828234" y="3499495"/>
                </a:cubicBezTo>
                <a:cubicBezTo>
                  <a:pt x="9826770" y="3498829"/>
                  <a:pt x="9825173" y="3498563"/>
                  <a:pt x="9823176" y="3498563"/>
                </a:cubicBezTo>
                <a:close/>
                <a:moveTo>
                  <a:pt x="9605531" y="3498563"/>
                </a:moveTo>
                <a:cubicBezTo>
                  <a:pt x="9599673" y="3498563"/>
                  <a:pt x="9597143" y="3500558"/>
                  <a:pt x="9595546" y="3502157"/>
                </a:cubicBezTo>
                <a:cubicBezTo>
                  <a:pt x="9593017" y="3504819"/>
                  <a:pt x="9591952" y="3507614"/>
                  <a:pt x="9591952" y="3511608"/>
                </a:cubicBezTo>
                <a:cubicBezTo>
                  <a:pt x="9591952" y="3515735"/>
                  <a:pt x="9593017" y="3518530"/>
                  <a:pt x="9595546" y="3521059"/>
                </a:cubicBezTo>
                <a:cubicBezTo>
                  <a:pt x="9597143" y="3522657"/>
                  <a:pt x="9599673" y="3524520"/>
                  <a:pt x="9605531" y="3524520"/>
                </a:cubicBezTo>
                <a:cubicBezTo>
                  <a:pt x="9607660" y="3524520"/>
                  <a:pt x="9609391" y="3524254"/>
                  <a:pt x="9610855" y="3523722"/>
                </a:cubicBezTo>
                <a:cubicBezTo>
                  <a:pt x="9612319" y="3523189"/>
                  <a:pt x="9613651" y="3522257"/>
                  <a:pt x="9614582" y="3521325"/>
                </a:cubicBezTo>
                <a:cubicBezTo>
                  <a:pt x="9615647" y="3520127"/>
                  <a:pt x="9616579" y="3518796"/>
                  <a:pt x="9617245" y="3517066"/>
                </a:cubicBezTo>
                <a:cubicBezTo>
                  <a:pt x="9618044" y="3515469"/>
                  <a:pt x="9618309" y="3513605"/>
                  <a:pt x="9618309" y="3511608"/>
                </a:cubicBezTo>
                <a:cubicBezTo>
                  <a:pt x="9618309" y="3509744"/>
                  <a:pt x="9617910" y="3508014"/>
                  <a:pt x="9617245" y="3506416"/>
                </a:cubicBezTo>
                <a:cubicBezTo>
                  <a:pt x="9616579" y="3504686"/>
                  <a:pt x="9615647" y="3503355"/>
                  <a:pt x="9614582" y="3502157"/>
                </a:cubicBezTo>
                <a:cubicBezTo>
                  <a:pt x="9613517" y="3501092"/>
                  <a:pt x="9612186" y="3500159"/>
                  <a:pt x="9610589" y="3499495"/>
                </a:cubicBezTo>
                <a:cubicBezTo>
                  <a:pt x="9609124" y="3498829"/>
                  <a:pt x="9607394" y="3498563"/>
                  <a:pt x="9605531" y="3498563"/>
                </a:cubicBezTo>
                <a:close/>
                <a:moveTo>
                  <a:pt x="9387885" y="3498563"/>
                </a:moveTo>
                <a:cubicBezTo>
                  <a:pt x="9382027" y="3498563"/>
                  <a:pt x="9379497" y="3500558"/>
                  <a:pt x="9377900" y="3502157"/>
                </a:cubicBezTo>
                <a:cubicBezTo>
                  <a:pt x="9375371" y="3504819"/>
                  <a:pt x="9374307" y="3507614"/>
                  <a:pt x="9374307" y="3511608"/>
                </a:cubicBezTo>
                <a:cubicBezTo>
                  <a:pt x="9374307" y="3515735"/>
                  <a:pt x="9375371" y="3518530"/>
                  <a:pt x="9377900" y="3521059"/>
                </a:cubicBezTo>
                <a:cubicBezTo>
                  <a:pt x="9379497" y="3522657"/>
                  <a:pt x="9382027" y="3524520"/>
                  <a:pt x="9387885" y="3524520"/>
                </a:cubicBezTo>
                <a:cubicBezTo>
                  <a:pt x="9390015" y="3524520"/>
                  <a:pt x="9391746" y="3524254"/>
                  <a:pt x="9393210" y="3523722"/>
                </a:cubicBezTo>
                <a:cubicBezTo>
                  <a:pt x="9394674" y="3523189"/>
                  <a:pt x="9396005" y="3522257"/>
                  <a:pt x="9396937" y="3521325"/>
                </a:cubicBezTo>
                <a:cubicBezTo>
                  <a:pt x="9398002" y="3520127"/>
                  <a:pt x="9398934" y="3518796"/>
                  <a:pt x="9399599" y="3517066"/>
                </a:cubicBezTo>
                <a:cubicBezTo>
                  <a:pt x="9400398" y="3515469"/>
                  <a:pt x="9400664" y="3513605"/>
                  <a:pt x="9400664" y="3511608"/>
                </a:cubicBezTo>
                <a:cubicBezTo>
                  <a:pt x="9400664" y="3509744"/>
                  <a:pt x="9400265" y="3508014"/>
                  <a:pt x="9399599" y="3506416"/>
                </a:cubicBezTo>
                <a:cubicBezTo>
                  <a:pt x="9398934" y="3504686"/>
                  <a:pt x="9398002" y="3503355"/>
                  <a:pt x="9396937" y="3502157"/>
                </a:cubicBezTo>
                <a:cubicBezTo>
                  <a:pt x="9395872" y="3501092"/>
                  <a:pt x="9394541" y="3500159"/>
                  <a:pt x="9392943" y="3499495"/>
                </a:cubicBezTo>
                <a:cubicBezTo>
                  <a:pt x="9391479" y="3498829"/>
                  <a:pt x="9389749" y="3498563"/>
                  <a:pt x="9387885" y="3498563"/>
                </a:cubicBezTo>
                <a:close/>
                <a:moveTo>
                  <a:pt x="9170374" y="3498563"/>
                </a:moveTo>
                <a:cubicBezTo>
                  <a:pt x="9164649" y="3498563"/>
                  <a:pt x="9161986" y="3500558"/>
                  <a:pt x="9160389" y="3502157"/>
                </a:cubicBezTo>
                <a:cubicBezTo>
                  <a:pt x="9157860" y="3504819"/>
                  <a:pt x="9156795" y="3507614"/>
                  <a:pt x="9156795" y="3511608"/>
                </a:cubicBezTo>
                <a:cubicBezTo>
                  <a:pt x="9156795" y="3515735"/>
                  <a:pt x="9157860" y="3518530"/>
                  <a:pt x="9160389" y="3521059"/>
                </a:cubicBezTo>
                <a:cubicBezTo>
                  <a:pt x="9161986" y="3522657"/>
                  <a:pt x="9164516" y="3524520"/>
                  <a:pt x="9170374" y="3524520"/>
                </a:cubicBezTo>
                <a:cubicBezTo>
                  <a:pt x="9172370" y="3524520"/>
                  <a:pt x="9174100" y="3524254"/>
                  <a:pt x="9175698" y="3523722"/>
                </a:cubicBezTo>
                <a:cubicBezTo>
                  <a:pt x="9177163" y="3523189"/>
                  <a:pt x="9178494" y="3522257"/>
                  <a:pt x="9179425" y="3521325"/>
                </a:cubicBezTo>
                <a:cubicBezTo>
                  <a:pt x="9180491" y="3520127"/>
                  <a:pt x="9181422" y="3518796"/>
                  <a:pt x="9182088" y="3517066"/>
                </a:cubicBezTo>
                <a:cubicBezTo>
                  <a:pt x="9182887" y="3515469"/>
                  <a:pt x="9183152" y="3513605"/>
                  <a:pt x="9183152" y="3511608"/>
                </a:cubicBezTo>
                <a:cubicBezTo>
                  <a:pt x="9183152" y="3509744"/>
                  <a:pt x="9182753" y="3508014"/>
                  <a:pt x="9182088" y="3506416"/>
                </a:cubicBezTo>
                <a:cubicBezTo>
                  <a:pt x="9181422" y="3504686"/>
                  <a:pt x="9180491" y="3503355"/>
                  <a:pt x="9179425" y="3502157"/>
                </a:cubicBezTo>
                <a:cubicBezTo>
                  <a:pt x="9178360" y="3501092"/>
                  <a:pt x="9177029" y="3500159"/>
                  <a:pt x="9175432" y="3499495"/>
                </a:cubicBezTo>
                <a:cubicBezTo>
                  <a:pt x="9173967" y="3498829"/>
                  <a:pt x="9172237" y="3498563"/>
                  <a:pt x="9170374" y="3498563"/>
                </a:cubicBezTo>
                <a:close/>
                <a:moveTo>
                  <a:pt x="8952728" y="3498563"/>
                </a:moveTo>
                <a:cubicBezTo>
                  <a:pt x="8947003" y="3498563"/>
                  <a:pt x="8944340" y="3500558"/>
                  <a:pt x="8942743" y="3502157"/>
                </a:cubicBezTo>
                <a:cubicBezTo>
                  <a:pt x="8940214" y="3504819"/>
                  <a:pt x="8939150" y="3507614"/>
                  <a:pt x="8939150" y="3511608"/>
                </a:cubicBezTo>
                <a:cubicBezTo>
                  <a:pt x="8939150" y="3515735"/>
                  <a:pt x="8940214" y="3518530"/>
                  <a:pt x="8942743" y="3521059"/>
                </a:cubicBezTo>
                <a:cubicBezTo>
                  <a:pt x="8944340" y="3522657"/>
                  <a:pt x="8946870" y="3524520"/>
                  <a:pt x="8952728" y="3524520"/>
                </a:cubicBezTo>
                <a:cubicBezTo>
                  <a:pt x="8954725" y="3524520"/>
                  <a:pt x="8956589" y="3524254"/>
                  <a:pt x="8958053" y="3523722"/>
                </a:cubicBezTo>
                <a:cubicBezTo>
                  <a:pt x="8959517" y="3523189"/>
                  <a:pt x="8960849" y="3522257"/>
                  <a:pt x="8961780" y="3521325"/>
                </a:cubicBezTo>
                <a:cubicBezTo>
                  <a:pt x="8962845" y="3520127"/>
                  <a:pt x="8963777" y="3518796"/>
                  <a:pt x="8964442" y="3517066"/>
                </a:cubicBezTo>
                <a:cubicBezTo>
                  <a:pt x="8965241" y="3515469"/>
                  <a:pt x="8965507" y="3513605"/>
                  <a:pt x="8965507" y="3511608"/>
                </a:cubicBezTo>
                <a:cubicBezTo>
                  <a:pt x="8965507" y="3509744"/>
                  <a:pt x="8965108" y="3508014"/>
                  <a:pt x="8964442" y="3506416"/>
                </a:cubicBezTo>
                <a:cubicBezTo>
                  <a:pt x="8963777" y="3504686"/>
                  <a:pt x="8962845" y="3503355"/>
                  <a:pt x="8961780" y="3502157"/>
                </a:cubicBezTo>
                <a:cubicBezTo>
                  <a:pt x="8960715" y="3501092"/>
                  <a:pt x="8959384" y="3500159"/>
                  <a:pt x="8957786" y="3499495"/>
                </a:cubicBezTo>
                <a:cubicBezTo>
                  <a:pt x="8956322" y="3498829"/>
                  <a:pt x="8954592" y="3498563"/>
                  <a:pt x="8952728" y="3498563"/>
                </a:cubicBezTo>
                <a:close/>
                <a:moveTo>
                  <a:pt x="8735083" y="3498563"/>
                </a:moveTo>
                <a:cubicBezTo>
                  <a:pt x="8729358" y="3498563"/>
                  <a:pt x="8726695" y="3500558"/>
                  <a:pt x="8725098" y="3502157"/>
                </a:cubicBezTo>
                <a:cubicBezTo>
                  <a:pt x="8722569" y="3504819"/>
                  <a:pt x="8721504" y="3507614"/>
                  <a:pt x="8721504" y="3511608"/>
                </a:cubicBezTo>
                <a:cubicBezTo>
                  <a:pt x="8721504" y="3515735"/>
                  <a:pt x="8722569" y="3518530"/>
                  <a:pt x="8725098" y="3521059"/>
                </a:cubicBezTo>
                <a:cubicBezTo>
                  <a:pt x="8726695" y="3522657"/>
                  <a:pt x="8729225" y="3524520"/>
                  <a:pt x="8735083" y="3524520"/>
                </a:cubicBezTo>
                <a:cubicBezTo>
                  <a:pt x="8737079" y="3524520"/>
                  <a:pt x="8738943" y="3524254"/>
                  <a:pt x="8740407" y="3523722"/>
                </a:cubicBezTo>
                <a:cubicBezTo>
                  <a:pt x="8741872" y="3523189"/>
                  <a:pt x="8743203" y="3522257"/>
                  <a:pt x="8744134" y="3521325"/>
                </a:cubicBezTo>
                <a:cubicBezTo>
                  <a:pt x="8745200" y="3520127"/>
                  <a:pt x="8746132" y="3518796"/>
                  <a:pt x="8746797" y="3517066"/>
                </a:cubicBezTo>
                <a:cubicBezTo>
                  <a:pt x="8747596" y="3515469"/>
                  <a:pt x="8747862" y="3513605"/>
                  <a:pt x="8747862" y="3511608"/>
                </a:cubicBezTo>
                <a:cubicBezTo>
                  <a:pt x="8747862" y="3509744"/>
                  <a:pt x="8747462" y="3508014"/>
                  <a:pt x="8746797" y="3506416"/>
                </a:cubicBezTo>
                <a:cubicBezTo>
                  <a:pt x="8746132" y="3504686"/>
                  <a:pt x="8745200" y="3503355"/>
                  <a:pt x="8744134" y="3502157"/>
                </a:cubicBezTo>
                <a:cubicBezTo>
                  <a:pt x="8743069" y="3501092"/>
                  <a:pt x="8741738" y="3500159"/>
                  <a:pt x="8740141" y="3499495"/>
                </a:cubicBezTo>
                <a:cubicBezTo>
                  <a:pt x="8738677" y="3498829"/>
                  <a:pt x="8736946" y="3498563"/>
                  <a:pt x="8735083" y="3498563"/>
                </a:cubicBezTo>
                <a:close/>
                <a:moveTo>
                  <a:pt x="8517438" y="3498563"/>
                </a:moveTo>
                <a:cubicBezTo>
                  <a:pt x="8511713" y="3498563"/>
                  <a:pt x="8509051" y="3500558"/>
                  <a:pt x="8507453" y="3502157"/>
                </a:cubicBezTo>
                <a:cubicBezTo>
                  <a:pt x="8504925" y="3504819"/>
                  <a:pt x="8503860" y="3507614"/>
                  <a:pt x="8503860" y="3511608"/>
                </a:cubicBezTo>
                <a:cubicBezTo>
                  <a:pt x="8503860" y="3515735"/>
                  <a:pt x="8504925" y="3518530"/>
                  <a:pt x="8507453" y="3521059"/>
                </a:cubicBezTo>
                <a:cubicBezTo>
                  <a:pt x="8509051" y="3522657"/>
                  <a:pt x="8511581" y="3524520"/>
                  <a:pt x="8517438" y="3524520"/>
                </a:cubicBezTo>
                <a:cubicBezTo>
                  <a:pt x="8519568" y="3524520"/>
                  <a:pt x="8521299" y="3524254"/>
                  <a:pt x="8522763" y="3523722"/>
                </a:cubicBezTo>
                <a:cubicBezTo>
                  <a:pt x="8524227" y="3523189"/>
                  <a:pt x="8525559" y="3522257"/>
                  <a:pt x="8526490" y="3521325"/>
                </a:cubicBezTo>
                <a:cubicBezTo>
                  <a:pt x="8527555" y="3520127"/>
                  <a:pt x="8528487" y="3518796"/>
                  <a:pt x="8529152" y="3517066"/>
                </a:cubicBezTo>
                <a:cubicBezTo>
                  <a:pt x="8529818" y="3515469"/>
                  <a:pt x="8530084" y="3513605"/>
                  <a:pt x="8530084" y="3511608"/>
                </a:cubicBezTo>
                <a:cubicBezTo>
                  <a:pt x="8530084" y="3509744"/>
                  <a:pt x="8529818" y="3508014"/>
                  <a:pt x="8529152" y="3506416"/>
                </a:cubicBezTo>
                <a:cubicBezTo>
                  <a:pt x="8528487" y="3504686"/>
                  <a:pt x="8527555" y="3503355"/>
                  <a:pt x="8526490" y="3502157"/>
                </a:cubicBezTo>
                <a:cubicBezTo>
                  <a:pt x="8525425" y="3501092"/>
                  <a:pt x="8524094" y="3500159"/>
                  <a:pt x="8522496" y="3499495"/>
                </a:cubicBezTo>
                <a:cubicBezTo>
                  <a:pt x="8521032" y="3498829"/>
                  <a:pt x="8519302" y="3498563"/>
                  <a:pt x="8517438" y="3498563"/>
                </a:cubicBezTo>
                <a:close/>
                <a:moveTo>
                  <a:pt x="8299793" y="3498563"/>
                </a:moveTo>
                <a:cubicBezTo>
                  <a:pt x="8294068" y="3498563"/>
                  <a:pt x="8291406" y="3500558"/>
                  <a:pt x="8289809" y="3502157"/>
                </a:cubicBezTo>
                <a:cubicBezTo>
                  <a:pt x="8287280" y="3504819"/>
                  <a:pt x="8286215" y="3507614"/>
                  <a:pt x="8286215" y="3511608"/>
                </a:cubicBezTo>
                <a:cubicBezTo>
                  <a:pt x="8286215" y="3515735"/>
                  <a:pt x="8287280" y="3518530"/>
                  <a:pt x="8289809" y="3521059"/>
                </a:cubicBezTo>
                <a:cubicBezTo>
                  <a:pt x="8291406" y="3522657"/>
                  <a:pt x="8293935" y="3524520"/>
                  <a:pt x="8299793" y="3524520"/>
                </a:cubicBezTo>
                <a:cubicBezTo>
                  <a:pt x="8301923" y="3524520"/>
                  <a:pt x="8303653" y="3524254"/>
                  <a:pt x="8305118" y="3523722"/>
                </a:cubicBezTo>
                <a:cubicBezTo>
                  <a:pt x="8306582" y="3523189"/>
                  <a:pt x="8307913" y="3522257"/>
                  <a:pt x="8308844" y="3521325"/>
                </a:cubicBezTo>
                <a:cubicBezTo>
                  <a:pt x="8309910" y="3520127"/>
                  <a:pt x="8310842" y="3518796"/>
                  <a:pt x="8311507" y="3517066"/>
                </a:cubicBezTo>
                <a:cubicBezTo>
                  <a:pt x="8312172" y="3515469"/>
                  <a:pt x="8312439" y="3513605"/>
                  <a:pt x="8312439" y="3511608"/>
                </a:cubicBezTo>
                <a:cubicBezTo>
                  <a:pt x="8312439" y="3509744"/>
                  <a:pt x="8312172" y="3508014"/>
                  <a:pt x="8311507" y="3506416"/>
                </a:cubicBezTo>
                <a:cubicBezTo>
                  <a:pt x="8310842" y="3504686"/>
                  <a:pt x="8309910" y="3503355"/>
                  <a:pt x="8308844" y="3502157"/>
                </a:cubicBezTo>
                <a:cubicBezTo>
                  <a:pt x="8307779" y="3501092"/>
                  <a:pt x="8306448" y="3500159"/>
                  <a:pt x="8304851" y="3499495"/>
                </a:cubicBezTo>
                <a:cubicBezTo>
                  <a:pt x="8303387" y="3498829"/>
                  <a:pt x="8301790" y="3498563"/>
                  <a:pt x="8299793" y="3498563"/>
                </a:cubicBezTo>
                <a:close/>
                <a:moveTo>
                  <a:pt x="8082281" y="3498563"/>
                </a:moveTo>
                <a:cubicBezTo>
                  <a:pt x="8076424" y="3498563"/>
                  <a:pt x="8073894" y="3500558"/>
                  <a:pt x="8072297" y="3502157"/>
                </a:cubicBezTo>
                <a:cubicBezTo>
                  <a:pt x="8069768" y="3504819"/>
                  <a:pt x="8068703" y="3507614"/>
                  <a:pt x="8068703" y="3511608"/>
                </a:cubicBezTo>
                <a:cubicBezTo>
                  <a:pt x="8068703" y="3515735"/>
                  <a:pt x="8069768" y="3518530"/>
                  <a:pt x="8072297" y="3521059"/>
                </a:cubicBezTo>
                <a:cubicBezTo>
                  <a:pt x="8073894" y="3522657"/>
                  <a:pt x="8076424" y="3524520"/>
                  <a:pt x="8082281" y="3524520"/>
                </a:cubicBezTo>
                <a:cubicBezTo>
                  <a:pt x="8084277" y="3524520"/>
                  <a:pt x="8086007" y="3524254"/>
                  <a:pt x="8087605" y="3523722"/>
                </a:cubicBezTo>
                <a:cubicBezTo>
                  <a:pt x="8089069" y="3523189"/>
                  <a:pt x="8090401" y="3522257"/>
                  <a:pt x="8091332" y="3521325"/>
                </a:cubicBezTo>
                <a:cubicBezTo>
                  <a:pt x="8092397" y="3520127"/>
                  <a:pt x="8093329" y="3518796"/>
                  <a:pt x="8093994" y="3517066"/>
                </a:cubicBezTo>
                <a:cubicBezTo>
                  <a:pt x="8094660" y="3515469"/>
                  <a:pt x="8094926" y="3513605"/>
                  <a:pt x="8094926" y="3511608"/>
                </a:cubicBezTo>
                <a:cubicBezTo>
                  <a:pt x="8094926" y="3509744"/>
                  <a:pt x="8094660" y="3508014"/>
                  <a:pt x="8093994" y="3506416"/>
                </a:cubicBezTo>
                <a:cubicBezTo>
                  <a:pt x="8093329" y="3504686"/>
                  <a:pt x="8092397" y="3503355"/>
                  <a:pt x="8091332" y="3502157"/>
                </a:cubicBezTo>
                <a:cubicBezTo>
                  <a:pt x="8090267" y="3501092"/>
                  <a:pt x="8088936" y="3500159"/>
                  <a:pt x="8087338" y="3499495"/>
                </a:cubicBezTo>
                <a:cubicBezTo>
                  <a:pt x="8085874" y="3498829"/>
                  <a:pt x="8084277" y="3498563"/>
                  <a:pt x="8082281" y="3498563"/>
                </a:cubicBezTo>
                <a:close/>
                <a:moveTo>
                  <a:pt x="7864636" y="3498563"/>
                </a:moveTo>
                <a:cubicBezTo>
                  <a:pt x="7858779" y="3498563"/>
                  <a:pt x="7856249" y="3500558"/>
                  <a:pt x="7854652" y="3502157"/>
                </a:cubicBezTo>
                <a:cubicBezTo>
                  <a:pt x="7852123" y="3504819"/>
                  <a:pt x="7851058" y="3507614"/>
                  <a:pt x="7851058" y="3511608"/>
                </a:cubicBezTo>
                <a:cubicBezTo>
                  <a:pt x="7851058" y="3515735"/>
                  <a:pt x="7852123" y="3518530"/>
                  <a:pt x="7854652" y="3521059"/>
                </a:cubicBezTo>
                <a:cubicBezTo>
                  <a:pt x="7856249" y="3522657"/>
                  <a:pt x="7858779" y="3524520"/>
                  <a:pt x="7864636" y="3524520"/>
                </a:cubicBezTo>
                <a:cubicBezTo>
                  <a:pt x="7866633" y="3524520"/>
                  <a:pt x="7868363" y="3524254"/>
                  <a:pt x="7869961" y="3523722"/>
                </a:cubicBezTo>
                <a:cubicBezTo>
                  <a:pt x="7871425" y="3523189"/>
                  <a:pt x="7872756" y="3522257"/>
                  <a:pt x="7873687" y="3521325"/>
                </a:cubicBezTo>
                <a:cubicBezTo>
                  <a:pt x="7874753" y="3520127"/>
                  <a:pt x="7875685" y="3518796"/>
                  <a:pt x="7876350" y="3517066"/>
                </a:cubicBezTo>
                <a:cubicBezTo>
                  <a:pt x="7877015" y="3515469"/>
                  <a:pt x="7877282" y="3513605"/>
                  <a:pt x="7877282" y="3511608"/>
                </a:cubicBezTo>
                <a:cubicBezTo>
                  <a:pt x="7877282" y="3509744"/>
                  <a:pt x="7877015" y="3508014"/>
                  <a:pt x="7876350" y="3506416"/>
                </a:cubicBezTo>
                <a:cubicBezTo>
                  <a:pt x="7875685" y="3504686"/>
                  <a:pt x="7874753" y="3503355"/>
                  <a:pt x="7873687" y="3502157"/>
                </a:cubicBezTo>
                <a:cubicBezTo>
                  <a:pt x="7872623" y="3501092"/>
                  <a:pt x="7871291" y="3500159"/>
                  <a:pt x="7869694" y="3499495"/>
                </a:cubicBezTo>
                <a:cubicBezTo>
                  <a:pt x="7868230" y="3498829"/>
                  <a:pt x="7866633" y="3498563"/>
                  <a:pt x="7864636" y="3498563"/>
                </a:cubicBezTo>
                <a:close/>
                <a:moveTo>
                  <a:pt x="7646991" y="3498563"/>
                </a:moveTo>
                <a:cubicBezTo>
                  <a:pt x="7641134" y="3498563"/>
                  <a:pt x="7638604" y="3500558"/>
                  <a:pt x="7637007" y="3502157"/>
                </a:cubicBezTo>
                <a:cubicBezTo>
                  <a:pt x="7634478" y="3504819"/>
                  <a:pt x="7633413" y="3507614"/>
                  <a:pt x="7633413" y="3511608"/>
                </a:cubicBezTo>
                <a:cubicBezTo>
                  <a:pt x="7633413" y="3515735"/>
                  <a:pt x="7634478" y="3518530"/>
                  <a:pt x="7637007" y="3521059"/>
                </a:cubicBezTo>
                <a:cubicBezTo>
                  <a:pt x="7638604" y="3522657"/>
                  <a:pt x="7641134" y="3524520"/>
                  <a:pt x="7646991" y="3524520"/>
                </a:cubicBezTo>
                <a:cubicBezTo>
                  <a:pt x="7648987" y="3524520"/>
                  <a:pt x="7650851" y="3524254"/>
                  <a:pt x="7652315" y="3523722"/>
                </a:cubicBezTo>
                <a:cubicBezTo>
                  <a:pt x="7653780" y="3523189"/>
                  <a:pt x="7655111" y="3522257"/>
                  <a:pt x="7656042" y="3521325"/>
                </a:cubicBezTo>
                <a:cubicBezTo>
                  <a:pt x="7657108" y="3520127"/>
                  <a:pt x="7658039" y="3518796"/>
                  <a:pt x="7658705" y="3517066"/>
                </a:cubicBezTo>
                <a:cubicBezTo>
                  <a:pt x="7659504" y="3515469"/>
                  <a:pt x="7659769" y="3513605"/>
                  <a:pt x="7659769" y="3511608"/>
                </a:cubicBezTo>
                <a:cubicBezTo>
                  <a:pt x="7659769" y="3509744"/>
                  <a:pt x="7659370" y="3508014"/>
                  <a:pt x="7658705" y="3506416"/>
                </a:cubicBezTo>
                <a:cubicBezTo>
                  <a:pt x="7658039" y="3504686"/>
                  <a:pt x="7657108" y="3503355"/>
                  <a:pt x="7656042" y="3502157"/>
                </a:cubicBezTo>
                <a:cubicBezTo>
                  <a:pt x="7654977" y="3501092"/>
                  <a:pt x="7653646" y="3500159"/>
                  <a:pt x="7652049" y="3499495"/>
                </a:cubicBezTo>
                <a:cubicBezTo>
                  <a:pt x="7650584" y="3498829"/>
                  <a:pt x="7648987" y="3498563"/>
                  <a:pt x="7646991" y="3498563"/>
                </a:cubicBezTo>
                <a:close/>
                <a:moveTo>
                  <a:pt x="7429345" y="3498563"/>
                </a:moveTo>
                <a:cubicBezTo>
                  <a:pt x="7423488" y="3498563"/>
                  <a:pt x="7420958" y="3500558"/>
                  <a:pt x="7419361" y="3502157"/>
                </a:cubicBezTo>
                <a:cubicBezTo>
                  <a:pt x="7416832" y="3504819"/>
                  <a:pt x="7415768" y="3507614"/>
                  <a:pt x="7415768" y="3511608"/>
                </a:cubicBezTo>
                <a:cubicBezTo>
                  <a:pt x="7415768" y="3515735"/>
                  <a:pt x="7416832" y="3518530"/>
                  <a:pt x="7419361" y="3521059"/>
                </a:cubicBezTo>
                <a:cubicBezTo>
                  <a:pt x="7420958" y="3522657"/>
                  <a:pt x="7423488" y="3524520"/>
                  <a:pt x="7429345" y="3524520"/>
                </a:cubicBezTo>
                <a:cubicBezTo>
                  <a:pt x="7431342" y="3524520"/>
                  <a:pt x="7433206" y="3524254"/>
                  <a:pt x="7434670" y="3523722"/>
                </a:cubicBezTo>
                <a:cubicBezTo>
                  <a:pt x="7436134" y="3523189"/>
                  <a:pt x="7437466" y="3522257"/>
                  <a:pt x="7438397" y="3521325"/>
                </a:cubicBezTo>
                <a:cubicBezTo>
                  <a:pt x="7439462" y="3520127"/>
                  <a:pt x="7440394" y="3518796"/>
                  <a:pt x="7441059" y="3517066"/>
                </a:cubicBezTo>
                <a:cubicBezTo>
                  <a:pt x="7441858" y="3515469"/>
                  <a:pt x="7442124" y="3513605"/>
                  <a:pt x="7442124" y="3511608"/>
                </a:cubicBezTo>
                <a:cubicBezTo>
                  <a:pt x="7442124" y="3509744"/>
                  <a:pt x="7441725" y="3508014"/>
                  <a:pt x="7441059" y="3506416"/>
                </a:cubicBezTo>
                <a:cubicBezTo>
                  <a:pt x="7440394" y="3504686"/>
                  <a:pt x="7439462" y="3503355"/>
                  <a:pt x="7438397" y="3502157"/>
                </a:cubicBezTo>
                <a:cubicBezTo>
                  <a:pt x="7437332" y="3501092"/>
                  <a:pt x="7436001" y="3500159"/>
                  <a:pt x="7434403" y="3499495"/>
                </a:cubicBezTo>
                <a:cubicBezTo>
                  <a:pt x="7432939" y="3498829"/>
                  <a:pt x="7431342" y="3498563"/>
                  <a:pt x="7429345" y="3498563"/>
                </a:cubicBezTo>
                <a:close/>
                <a:moveTo>
                  <a:pt x="7211701" y="3498563"/>
                </a:moveTo>
                <a:cubicBezTo>
                  <a:pt x="7205844" y="3498563"/>
                  <a:pt x="7203314" y="3500558"/>
                  <a:pt x="7201717" y="3502157"/>
                </a:cubicBezTo>
                <a:cubicBezTo>
                  <a:pt x="7199188" y="3504819"/>
                  <a:pt x="7198123" y="3507614"/>
                  <a:pt x="7198123" y="3511608"/>
                </a:cubicBezTo>
                <a:cubicBezTo>
                  <a:pt x="7198123" y="3515735"/>
                  <a:pt x="7199188" y="3518530"/>
                  <a:pt x="7201717" y="3521059"/>
                </a:cubicBezTo>
                <a:cubicBezTo>
                  <a:pt x="7203314" y="3522657"/>
                  <a:pt x="7205844" y="3524520"/>
                  <a:pt x="7211701" y="3524520"/>
                </a:cubicBezTo>
                <a:cubicBezTo>
                  <a:pt x="7213830" y="3524520"/>
                  <a:pt x="7215561" y="3524254"/>
                  <a:pt x="7217026" y="3523722"/>
                </a:cubicBezTo>
                <a:cubicBezTo>
                  <a:pt x="7218490" y="3523189"/>
                  <a:pt x="7219821" y="3522257"/>
                  <a:pt x="7220752" y="3521325"/>
                </a:cubicBezTo>
                <a:cubicBezTo>
                  <a:pt x="7221818" y="3520127"/>
                  <a:pt x="7222750" y="3518796"/>
                  <a:pt x="7223415" y="3517066"/>
                </a:cubicBezTo>
                <a:cubicBezTo>
                  <a:pt x="7224214" y="3515469"/>
                  <a:pt x="7224480" y="3513605"/>
                  <a:pt x="7224480" y="3511608"/>
                </a:cubicBezTo>
                <a:cubicBezTo>
                  <a:pt x="7224480" y="3509744"/>
                  <a:pt x="7224080" y="3508014"/>
                  <a:pt x="7223415" y="3506416"/>
                </a:cubicBezTo>
                <a:cubicBezTo>
                  <a:pt x="7222750" y="3504686"/>
                  <a:pt x="7221818" y="3503355"/>
                  <a:pt x="7220752" y="3502157"/>
                </a:cubicBezTo>
                <a:cubicBezTo>
                  <a:pt x="7219687" y="3501092"/>
                  <a:pt x="7218356" y="3500159"/>
                  <a:pt x="7216759" y="3499495"/>
                </a:cubicBezTo>
                <a:cubicBezTo>
                  <a:pt x="7215295" y="3498829"/>
                  <a:pt x="7213698" y="3498563"/>
                  <a:pt x="7211701" y="3498563"/>
                </a:cubicBezTo>
                <a:close/>
                <a:moveTo>
                  <a:pt x="6994056" y="3498563"/>
                </a:moveTo>
                <a:cubicBezTo>
                  <a:pt x="6988199" y="3498563"/>
                  <a:pt x="6985669" y="3500558"/>
                  <a:pt x="6984072" y="3502157"/>
                </a:cubicBezTo>
                <a:cubicBezTo>
                  <a:pt x="6981543" y="3504819"/>
                  <a:pt x="6980478" y="3507614"/>
                  <a:pt x="6980478" y="3511608"/>
                </a:cubicBezTo>
                <a:cubicBezTo>
                  <a:pt x="6980478" y="3515735"/>
                  <a:pt x="6981543" y="3518530"/>
                  <a:pt x="6984072" y="3521059"/>
                </a:cubicBezTo>
                <a:cubicBezTo>
                  <a:pt x="6985669" y="3522657"/>
                  <a:pt x="6988199" y="3524520"/>
                  <a:pt x="6994056" y="3524520"/>
                </a:cubicBezTo>
                <a:cubicBezTo>
                  <a:pt x="6996185" y="3524520"/>
                  <a:pt x="6997916" y="3524254"/>
                  <a:pt x="6999380" y="3523722"/>
                </a:cubicBezTo>
                <a:cubicBezTo>
                  <a:pt x="7000844" y="3523189"/>
                  <a:pt x="7002176" y="3522257"/>
                  <a:pt x="7003107" y="3521325"/>
                </a:cubicBezTo>
                <a:cubicBezTo>
                  <a:pt x="7004172" y="3520127"/>
                  <a:pt x="7005104" y="3518796"/>
                  <a:pt x="7005769" y="3517066"/>
                </a:cubicBezTo>
                <a:cubicBezTo>
                  <a:pt x="7006568" y="3515469"/>
                  <a:pt x="7006834" y="3513605"/>
                  <a:pt x="7006834" y="3511608"/>
                </a:cubicBezTo>
                <a:cubicBezTo>
                  <a:pt x="7006834" y="3509744"/>
                  <a:pt x="7006435" y="3508014"/>
                  <a:pt x="7005769" y="3506416"/>
                </a:cubicBezTo>
                <a:cubicBezTo>
                  <a:pt x="7005104" y="3504686"/>
                  <a:pt x="7004172" y="3503355"/>
                  <a:pt x="7003107" y="3502157"/>
                </a:cubicBezTo>
                <a:cubicBezTo>
                  <a:pt x="7002042" y="3501092"/>
                  <a:pt x="7000711" y="3500159"/>
                  <a:pt x="6999113" y="3499495"/>
                </a:cubicBezTo>
                <a:cubicBezTo>
                  <a:pt x="6997649" y="3498829"/>
                  <a:pt x="6996052" y="3498563"/>
                  <a:pt x="6994056" y="3498563"/>
                </a:cubicBezTo>
                <a:close/>
                <a:moveTo>
                  <a:pt x="6776544" y="3498563"/>
                </a:moveTo>
                <a:cubicBezTo>
                  <a:pt x="6770687" y="3498563"/>
                  <a:pt x="6768157" y="3500558"/>
                  <a:pt x="6766560" y="3502157"/>
                </a:cubicBezTo>
                <a:cubicBezTo>
                  <a:pt x="6764031" y="3504819"/>
                  <a:pt x="6762966" y="3507614"/>
                  <a:pt x="6762966" y="3511608"/>
                </a:cubicBezTo>
                <a:cubicBezTo>
                  <a:pt x="6762966" y="3515735"/>
                  <a:pt x="6764031" y="3518530"/>
                  <a:pt x="6766560" y="3521059"/>
                </a:cubicBezTo>
                <a:cubicBezTo>
                  <a:pt x="6768157" y="3522657"/>
                  <a:pt x="6770687" y="3524520"/>
                  <a:pt x="6776544" y="3524520"/>
                </a:cubicBezTo>
                <a:cubicBezTo>
                  <a:pt x="6778541" y="3524520"/>
                  <a:pt x="6780270" y="3524254"/>
                  <a:pt x="6781869" y="3523722"/>
                </a:cubicBezTo>
                <a:cubicBezTo>
                  <a:pt x="6783333" y="3523189"/>
                  <a:pt x="6784664" y="3522257"/>
                  <a:pt x="6785595" y="3521325"/>
                </a:cubicBezTo>
                <a:cubicBezTo>
                  <a:pt x="6786661" y="3520127"/>
                  <a:pt x="6787593" y="3518796"/>
                  <a:pt x="6788258" y="3517066"/>
                </a:cubicBezTo>
                <a:cubicBezTo>
                  <a:pt x="6789057" y="3515469"/>
                  <a:pt x="6789323" y="3513605"/>
                  <a:pt x="6789323" y="3511608"/>
                </a:cubicBezTo>
                <a:cubicBezTo>
                  <a:pt x="6789323" y="3509744"/>
                  <a:pt x="6788923" y="3508014"/>
                  <a:pt x="6788258" y="3506416"/>
                </a:cubicBezTo>
                <a:cubicBezTo>
                  <a:pt x="6787593" y="3504686"/>
                  <a:pt x="6786661" y="3503355"/>
                  <a:pt x="6785595" y="3502157"/>
                </a:cubicBezTo>
                <a:cubicBezTo>
                  <a:pt x="6784530" y="3501092"/>
                  <a:pt x="6783199" y="3500159"/>
                  <a:pt x="6781602" y="3499495"/>
                </a:cubicBezTo>
                <a:cubicBezTo>
                  <a:pt x="6780138" y="3498829"/>
                  <a:pt x="6778541" y="3498563"/>
                  <a:pt x="6776544" y="3498563"/>
                </a:cubicBezTo>
                <a:close/>
                <a:moveTo>
                  <a:pt x="6558899" y="3498563"/>
                </a:moveTo>
                <a:cubicBezTo>
                  <a:pt x="6553042" y="3498563"/>
                  <a:pt x="6550512" y="3500558"/>
                  <a:pt x="6548915" y="3502157"/>
                </a:cubicBezTo>
                <a:cubicBezTo>
                  <a:pt x="6546386" y="3504819"/>
                  <a:pt x="6545321" y="3507614"/>
                  <a:pt x="6545321" y="3511608"/>
                </a:cubicBezTo>
                <a:cubicBezTo>
                  <a:pt x="6545321" y="3515735"/>
                  <a:pt x="6546386" y="3518530"/>
                  <a:pt x="6548915" y="3521059"/>
                </a:cubicBezTo>
                <a:cubicBezTo>
                  <a:pt x="6550512" y="3522657"/>
                  <a:pt x="6553042" y="3524520"/>
                  <a:pt x="6558899" y="3524520"/>
                </a:cubicBezTo>
                <a:cubicBezTo>
                  <a:pt x="6560895" y="3524520"/>
                  <a:pt x="6562759" y="3524254"/>
                  <a:pt x="6564223" y="3523722"/>
                </a:cubicBezTo>
                <a:cubicBezTo>
                  <a:pt x="6565687" y="3523189"/>
                  <a:pt x="6567019" y="3522257"/>
                  <a:pt x="6567950" y="3521325"/>
                </a:cubicBezTo>
                <a:cubicBezTo>
                  <a:pt x="6569015" y="3520127"/>
                  <a:pt x="6569947" y="3518796"/>
                  <a:pt x="6570612" y="3517066"/>
                </a:cubicBezTo>
                <a:cubicBezTo>
                  <a:pt x="6571412" y="3515469"/>
                  <a:pt x="6571677" y="3513605"/>
                  <a:pt x="6571677" y="3511608"/>
                </a:cubicBezTo>
                <a:cubicBezTo>
                  <a:pt x="6571677" y="3509744"/>
                  <a:pt x="6571278" y="3508014"/>
                  <a:pt x="6570612" y="3506416"/>
                </a:cubicBezTo>
                <a:cubicBezTo>
                  <a:pt x="6569947" y="3504686"/>
                  <a:pt x="6569015" y="3503355"/>
                  <a:pt x="6567950" y="3502157"/>
                </a:cubicBezTo>
                <a:cubicBezTo>
                  <a:pt x="6566885" y="3501092"/>
                  <a:pt x="6565554" y="3500159"/>
                  <a:pt x="6563956" y="3499495"/>
                </a:cubicBezTo>
                <a:cubicBezTo>
                  <a:pt x="6562492" y="3498829"/>
                  <a:pt x="6560895" y="3498563"/>
                  <a:pt x="6558899" y="3498563"/>
                </a:cubicBezTo>
                <a:close/>
                <a:moveTo>
                  <a:pt x="6341253" y="3498563"/>
                </a:moveTo>
                <a:cubicBezTo>
                  <a:pt x="6335396" y="3498563"/>
                  <a:pt x="6332867" y="3500558"/>
                  <a:pt x="6331270" y="3502157"/>
                </a:cubicBezTo>
                <a:cubicBezTo>
                  <a:pt x="6328740" y="3504819"/>
                  <a:pt x="6327675" y="3507614"/>
                  <a:pt x="6327675" y="3511608"/>
                </a:cubicBezTo>
                <a:cubicBezTo>
                  <a:pt x="6327675" y="3515735"/>
                  <a:pt x="6328740" y="3518530"/>
                  <a:pt x="6331270" y="3521059"/>
                </a:cubicBezTo>
                <a:cubicBezTo>
                  <a:pt x="6332867" y="3522657"/>
                  <a:pt x="6335396" y="3524520"/>
                  <a:pt x="6341253" y="3524520"/>
                </a:cubicBezTo>
                <a:cubicBezTo>
                  <a:pt x="6343250" y="3524520"/>
                  <a:pt x="6345114" y="3524254"/>
                  <a:pt x="6346578" y="3523722"/>
                </a:cubicBezTo>
                <a:cubicBezTo>
                  <a:pt x="6348042" y="3523189"/>
                  <a:pt x="6349373" y="3522257"/>
                  <a:pt x="6350305" y="3521325"/>
                </a:cubicBezTo>
                <a:cubicBezTo>
                  <a:pt x="6351370" y="3520127"/>
                  <a:pt x="6352302" y="3518796"/>
                  <a:pt x="6352968" y="3517066"/>
                </a:cubicBezTo>
                <a:cubicBezTo>
                  <a:pt x="6353766" y="3515469"/>
                  <a:pt x="6354033" y="3513605"/>
                  <a:pt x="6354033" y="3511608"/>
                </a:cubicBezTo>
                <a:cubicBezTo>
                  <a:pt x="6354033" y="3509744"/>
                  <a:pt x="6353633" y="3508014"/>
                  <a:pt x="6352968" y="3506416"/>
                </a:cubicBezTo>
                <a:cubicBezTo>
                  <a:pt x="6352302" y="3504686"/>
                  <a:pt x="6351370" y="3503355"/>
                  <a:pt x="6350305" y="3502157"/>
                </a:cubicBezTo>
                <a:cubicBezTo>
                  <a:pt x="6349241" y="3501092"/>
                  <a:pt x="6347909" y="3500159"/>
                  <a:pt x="6346312" y="3499495"/>
                </a:cubicBezTo>
                <a:cubicBezTo>
                  <a:pt x="6344848" y="3498829"/>
                  <a:pt x="6343250" y="3498563"/>
                  <a:pt x="6341253" y="3498563"/>
                </a:cubicBezTo>
                <a:close/>
                <a:moveTo>
                  <a:pt x="6123608" y="3498563"/>
                </a:moveTo>
                <a:cubicBezTo>
                  <a:pt x="6117751" y="3498563"/>
                  <a:pt x="6115221" y="3500558"/>
                  <a:pt x="6113624" y="3502157"/>
                </a:cubicBezTo>
                <a:cubicBezTo>
                  <a:pt x="6111095" y="3504819"/>
                  <a:pt x="6110030" y="3507614"/>
                  <a:pt x="6110030" y="3511608"/>
                </a:cubicBezTo>
                <a:cubicBezTo>
                  <a:pt x="6110030" y="3515735"/>
                  <a:pt x="6111095" y="3518530"/>
                  <a:pt x="6113624" y="3521059"/>
                </a:cubicBezTo>
                <a:cubicBezTo>
                  <a:pt x="6115221" y="3522657"/>
                  <a:pt x="6117751" y="3524520"/>
                  <a:pt x="6123608" y="3524520"/>
                </a:cubicBezTo>
                <a:cubicBezTo>
                  <a:pt x="6125737" y="3524520"/>
                  <a:pt x="6127468" y="3524254"/>
                  <a:pt x="6128932" y="3523722"/>
                </a:cubicBezTo>
                <a:cubicBezTo>
                  <a:pt x="6130530" y="3523189"/>
                  <a:pt x="6131728" y="3522257"/>
                  <a:pt x="6132659" y="3521325"/>
                </a:cubicBezTo>
                <a:cubicBezTo>
                  <a:pt x="6133724" y="3520127"/>
                  <a:pt x="6134656" y="3518796"/>
                  <a:pt x="6135322" y="3517066"/>
                </a:cubicBezTo>
                <a:cubicBezTo>
                  <a:pt x="6135987" y="3515469"/>
                  <a:pt x="6136387" y="3513605"/>
                  <a:pt x="6136387" y="3511608"/>
                </a:cubicBezTo>
                <a:cubicBezTo>
                  <a:pt x="6136387" y="3509744"/>
                  <a:pt x="6135987" y="3508014"/>
                  <a:pt x="6135322" y="3506416"/>
                </a:cubicBezTo>
                <a:cubicBezTo>
                  <a:pt x="6134656" y="3504686"/>
                  <a:pt x="6133724" y="3503355"/>
                  <a:pt x="6132659" y="3502157"/>
                </a:cubicBezTo>
                <a:cubicBezTo>
                  <a:pt x="6131594" y="3501092"/>
                  <a:pt x="6130263" y="3500159"/>
                  <a:pt x="6128666" y="3499495"/>
                </a:cubicBezTo>
                <a:cubicBezTo>
                  <a:pt x="6127202" y="3498829"/>
                  <a:pt x="6125604" y="3498563"/>
                  <a:pt x="6123608" y="3498563"/>
                </a:cubicBezTo>
                <a:close/>
                <a:moveTo>
                  <a:pt x="5905963" y="3498563"/>
                </a:moveTo>
                <a:cubicBezTo>
                  <a:pt x="5900106" y="3498563"/>
                  <a:pt x="5897576" y="3500558"/>
                  <a:pt x="5895979" y="3502157"/>
                </a:cubicBezTo>
                <a:cubicBezTo>
                  <a:pt x="5893450" y="3504819"/>
                  <a:pt x="5892385" y="3507614"/>
                  <a:pt x="5892385" y="3511608"/>
                </a:cubicBezTo>
                <a:cubicBezTo>
                  <a:pt x="5892385" y="3515735"/>
                  <a:pt x="5893450" y="3518530"/>
                  <a:pt x="5895979" y="3521059"/>
                </a:cubicBezTo>
                <a:cubicBezTo>
                  <a:pt x="5897576" y="3522657"/>
                  <a:pt x="5900106" y="3524520"/>
                  <a:pt x="5905963" y="3524520"/>
                </a:cubicBezTo>
                <a:cubicBezTo>
                  <a:pt x="5908093" y="3524520"/>
                  <a:pt x="5909823" y="3524254"/>
                  <a:pt x="5911287" y="3523722"/>
                </a:cubicBezTo>
                <a:cubicBezTo>
                  <a:pt x="5912751" y="3523189"/>
                  <a:pt x="5914083" y="3522257"/>
                  <a:pt x="5915014" y="3521325"/>
                </a:cubicBezTo>
                <a:cubicBezTo>
                  <a:pt x="5916079" y="3520127"/>
                  <a:pt x="5917011" y="3518796"/>
                  <a:pt x="5917677" y="3517066"/>
                </a:cubicBezTo>
                <a:cubicBezTo>
                  <a:pt x="5918342" y="3515469"/>
                  <a:pt x="5918742" y="3513605"/>
                  <a:pt x="5918742" y="3511608"/>
                </a:cubicBezTo>
                <a:cubicBezTo>
                  <a:pt x="5918742" y="3509744"/>
                  <a:pt x="5918342" y="3508014"/>
                  <a:pt x="5917677" y="3506416"/>
                </a:cubicBezTo>
                <a:cubicBezTo>
                  <a:pt x="5917011" y="3504686"/>
                  <a:pt x="5916079" y="3503355"/>
                  <a:pt x="5915014" y="3502157"/>
                </a:cubicBezTo>
                <a:cubicBezTo>
                  <a:pt x="5913950" y="3501092"/>
                  <a:pt x="5912618" y="3500159"/>
                  <a:pt x="5911021" y="3499495"/>
                </a:cubicBezTo>
                <a:cubicBezTo>
                  <a:pt x="5909557" y="3498829"/>
                  <a:pt x="5907826" y="3498563"/>
                  <a:pt x="5905963" y="3498563"/>
                </a:cubicBezTo>
                <a:close/>
                <a:moveTo>
                  <a:pt x="5688451" y="3498563"/>
                </a:moveTo>
                <a:cubicBezTo>
                  <a:pt x="5682594" y="3498563"/>
                  <a:pt x="5680064" y="3500558"/>
                  <a:pt x="5678467" y="3502157"/>
                </a:cubicBezTo>
                <a:cubicBezTo>
                  <a:pt x="5675938" y="3504819"/>
                  <a:pt x="5674873" y="3507614"/>
                  <a:pt x="5674873" y="3511608"/>
                </a:cubicBezTo>
                <a:cubicBezTo>
                  <a:pt x="5674873" y="3515735"/>
                  <a:pt x="5675938" y="3518530"/>
                  <a:pt x="5678467" y="3521059"/>
                </a:cubicBezTo>
                <a:cubicBezTo>
                  <a:pt x="5680064" y="3522657"/>
                  <a:pt x="5682594" y="3524520"/>
                  <a:pt x="5688451" y="3524520"/>
                </a:cubicBezTo>
                <a:cubicBezTo>
                  <a:pt x="5690447" y="3524520"/>
                  <a:pt x="5692178" y="3524254"/>
                  <a:pt x="5693775" y="3523722"/>
                </a:cubicBezTo>
                <a:cubicBezTo>
                  <a:pt x="5695239" y="3523189"/>
                  <a:pt x="5696571" y="3522257"/>
                  <a:pt x="5697502" y="3521325"/>
                </a:cubicBezTo>
                <a:cubicBezTo>
                  <a:pt x="5698567" y="3520127"/>
                  <a:pt x="5699499" y="3518796"/>
                  <a:pt x="5700165" y="3517066"/>
                </a:cubicBezTo>
                <a:cubicBezTo>
                  <a:pt x="5700830" y="3515469"/>
                  <a:pt x="5701230" y="3513605"/>
                  <a:pt x="5701230" y="3511608"/>
                </a:cubicBezTo>
                <a:cubicBezTo>
                  <a:pt x="5701230" y="3509744"/>
                  <a:pt x="5700830" y="3508014"/>
                  <a:pt x="5700165" y="3506416"/>
                </a:cubicBezTo>
                <a:cubicBezTo>
                  <a:pt x="5699499" y="3504686"/>
                  <a:pt x="5698567" y="3503355"/>
                  <a:pt x="5697502" y="3502157"/>
                </a:cubicBezTo>
                <a:cubicBezTo>
                  <a:pt x="5696437" y="3501092"/>
                  <a:pt x="5695106" y="3500159"/>
                  <a:pt x="5693509" y="3499495"/>
                </a:cubicBezTo>
                <a:cubicBezTo>
                  <a:pt x="5692045" y="3498829"/>
                  <a:pt x="5690314" y="3498563"/>
                  <a:pt x="5688451" y="3498563"/>
                </a:cubicBezTo>
                <a:close/>
                <a:moveTo>
                  <a:pt x="5470806" y="3498563"/>
                </a:moveTo>
                <a:cubicBezTo>
                  <a:pt x="5464949" y="3498563"/>
                  <a:pt x="5462419" y="3500558"/>
                  <a:pt x="5460822" y="3502157"/>
                </a:cubicBezTo>
                <a:cubicBezTo>
                  <a:pt x="5458293" y="3504819"/>
                  <a:pt x="5457228" y="3507614"/>
                  <a:pt x="5457228" y="3511608"/>
                </a:cubicBezTo>
                <a:cubicBezTo>
                  <a:pt x="5457228" y="3515735"/>
                  <a:pt x="5458293" y="3518530"/>
                  <a:pt x="5460822" y="3521059"/>
                </a:cubicBezTo>
                <a:cubicBezTo>
                  <a:pt x="5462419" y="3522657"/>
                  <a:pt x="5464949" y="3524520"/>
                  <a:pt x="5470806" y="3524520"/>
                </a:cubicBezTo>
                <a:cubicBezTo>
                  <a:pt x="5472802" y="3524520"/>
                  <a:pt x="5474666" y="3524254"/>
                  <a:pt x="5476130" y="3523722"/>
                </a:cubicBezTo>
                <a:cubicBezTo>
                  <a:pt x="5477594" y="3523189"/>
                  <a:pt x="5478926" y="3522257"/>
                  <a:pt x="5479857" y="3521325"/>
                </a:cubicBezTo>
                <a:cubicBezTo>
                  <a:pt x="5480922" y="3520127"/>
                  <a:pt x="5481854" y="3518796"/>
                  <a:pt x="5482520" y="3517066"/>
                </a:cubicBezTo>
                <a:cubicBezTo>
                  <a:pt x="5483319" y="3515469"/>
                  <a:pt x="5483585" y="3513605"/>
                  <a:pt x="5483585" y="3511608"/>
                </a:cubicBezTo>
                <a:cubicBezTo>
                  <a:pt x="5483585" y="3509744"/>
                  <a:pt x="5483185" y="3508014"/>
                  <a:pt x="5482520" y="3506416"/>
                </a:cubicBezTo>
                <a:cubicBezTo>
                  <a:pt x="5481854" y="3504686"/>
                  <a:pt x="5480922" y="3503355"/>
                  <a:pt x="5479857" y="3502157"/>
                </a:cubicBezTo>
                <a:cubicBezTo>
                  <a:pt x="5478793" y="3501092"/>
                  <a:pt x="5477461" y="3500159"/>
                  <a:pt x="5475864" y="3499495"/>
                </a:cubicBezTo>
                <a:cubicBezTo>
                  <a:pt x="5474400" y="3498829"/>
                  <a:pt x="5472669" y="3498563"/>
                  <a:pt x="5470806" y="3498563"/>
                </a:cubicBezTo>
                <a:close/>
                <a:moveTo>
                  <a:pt x="5253160" y="3498563"/>
                </a:moveTo>
                <a:cubicBezTo>
                  <a:pt x="5247303" y="3498563"/>
                  <a:pt x="5244774" y="3500558"/>
                  <a:pt x="5243177" y="3502157"/>
                </a:cubicBezTo>
                <a:cubicBezTo>
                  <a:pt x="5240647" y="3504819"/>
                  <a:pt x="5239583" y="3507614"/>
                  <a:pt x="5239583" y="3511608"/>
                </a:cubicBezTo>
                <a:cubicBezTo>
                  <a:pt x="5239583" y="3515735"/>
                  <a:pt x="5240647" y="3518530"/>
                  <a:pt x="5243177" y="3521059"/>
                </a:cubicBezTo>
                <a:cubicBezTo>
                  <a:pt x="5244774" y="3522657"/>
                  <a:pt x="5247303" y="3524520"/>
                  <a:pt x="5253160" y="3524520"/>
                </a:cubicBezTo>
                <a:cubicBezTo>
                  <a:pt x="5255157" y="3524520"/>
                  <a:pt x="5257021" y="3524254"/>
                  <a:pt x="5258485" y="3523722"/>
                </a:cubicBezTo>
                <a:cubicBezTo>
                  <a:pt x="5259949" y="3523189"/>
                  <a:pt x="5261280" y="3522257"/>
                  <a:pt x="5262212" y="3521325"/>
                </a:cubicBezTo>
                <a:cubicBezTo>
                  <a:pt x="5263277" y="3520127"/>
                  <a:pt x="5264209" y="3518796"/>
                  <a:pt x="5264875" y="3517066"/>
                </a:cubicBezTo>
                <a:cubicBezTo>
                  <a:pt x="5265673" y="3515469"/>
                  <a:pt x="5265939" y="3513605"/>
                  <a:pt x="5265939" y="3511608"/>
                </a:cubicBezTo>
                <a:cubicBezTo>
                  <a:pt x="5265939" y="3509744"/>
                  <a:pt x="5265540" y="3508014"/>
                  <a:pt x="5264875" y="3506416"/>
                </a:cubicBezTo>
                <a:cubicBezTo>
                  <a:pt x="5264209" y="3504686"/>
                  <a:pt x="5263277" y="3503355"/>
                  <a:pt x="5262212" y="3502157"/>
                </a:cubicBezTo>
                <a:cubicBezTo>
                  <a:pt x="5261147" y="3501092"/>
                  <a:pt x="5259816" y="3500159"/>
                  <a:pt x="5258219" y="3499495"/>
                </a:cubicBezTo>
                <a:cubicBezTo>
                  <a:pt x="5256754" y="3498829"/>
                  <a:pt x="5255024" y="3498563"/>
                  <a:pt x="5253160" y="3498563"/>
                </a:cubicBezTo>
                <a:close/>
                <a:moveTo>
                  <a:pt x="5035515" y="3498563"/>
                </a:moveTo>
                <a:cubicBezTo>
                  <a:pt x="5029658" y="3498563"/>
                  <a:pt x="5027129" y="3500558"/>
                  <a:pt x="5025532" y="3502157"/>
                </a:cubicBezTo>
                <a:cubicBezTo>
                  <a:pt x="5023002" y="3504819"/>
                  <a:pt x="5021938" y="3507614"/>
                  <a:pt x="5021938" y="3511608"/>
                </a:cubicBezTo>
                <a:cubicBezTo>
                  <a:pt x="5021938" y="3515735"/>
                  <a:pt x="5023002" y="3518530"/>
                  <a:pt x="5025532" y="3521059"/>
                </a:cubicBezTo>
                <a:cubicBezTo>
                  <a:pt x="5027129" y="3522657"/>
                  <a:pt x="5029658" y="3524520"/>
                  <a:pt x="5035515" y="3524520"/>
                </a:cubicBezTo>
                <a:cubicBezTo>
                  <a:pt x="5037645" y="3524520"/>
                  <a:pt x="5039376" y="3524254"/>
                  <a:pt x="5040840" y="3523722"/>
                </a:cubicBezTo>
                <a:cubicBezTo>
                  <a:pt x="5042304" y="3523189"/>
                  <a:pt x="5043636" y="3522257"/>
                  <a:pt x="5044567" y="3521325"/>
                </a:cubicBezTo>
                <a:cubicBezTo>
                  <a:pt x="5045632" y="3520127"/>
                  <a:pt x="5046564" y="3518796"/>
                  <a:pt x="5047230" y="3517066"/>
                </a:cubicBezTo>
                <a:cubicBezTo>
                  <a:pt x="5048028" y="3515469"/>
                  <a:pt x="5048294" y="3513605"/>
                  <a:pt x="5048294" y="3511608"/>
                </a:cubicBezTo>
                <a:cubicBezTo>
                  <a:pt x="5048294" y="3509744"/>
                  <a:pt x="5047895" y="3508014"/>
                  <a:pt x="5047230" y="3506416"/>
                </a:cubicBezTo>
                <a:cubicBezTo>
                  <a:pt x="5046564" y="3504686"/>
                  <a:pt x="5045632" y="3503355"/>
                  <a:pt x="5044567" y="3502157"/>
                </a:cubicBezTo>
                <a:cubicBezTo>
                  <a:pt x="5043502" y="3501092"/>
                  <a:pt x="5042171" y="3500159"/>
                  <a:pt x="5040574" y="3499495"/>
                </a:cubicBezTo>
                <a:cubicBezTo>
                  <a:pt x="5039110" y="3498829"/>
                  <a:pt x="5037379" y="3498563"/>
                  <a:pt x="5035515" y="3498563"/>
                </a:cubicBezTo>
                <a:close/>
                <a:moveTo>
                  <a:pt x="4817870" y="3498563"/>
                </a:moveTo>
                <a:cubicBezTo>
                  <a:pt x="4812013" y="3498563"/>
                  <a:pt x="4809484" y="3500558"/>
                  <a:pt x="4807887" y="3502157"/>
                </a:cubicBezTo>
                <a:cubicBezTo>
                  <a:pt x="4805357" y="3504819"/>
                  <a:pt x="4804293" y="3507614"/>
                  <a:pt x="4804293" y="3511608"/>
                </a:cubicBezTo>
                <a:cubicBezTo>
                  <a:pt x="4804293" y="3515735"/>
                  <a:pt x="4805357" y="3518530"/>
                  <a:pt x="4807887" y="3521059"/>
                </a:cubicBezTo>
                <a:cubicBezTo>
                  <a:pt x="4809484" y="3522657"/>
                  <a:pt x="4812013" y="3524520"/>
                  <a:pt x="4817870" y="3524520"/>
                </a:cubicBezTo>
                <a:cubicBezTo>
                  <a:pt x="4820000" y="3524520"/>
                  <a:pt x="4821731" y="3524254"/>
                  <a:pt x="4823195" y="3523722"/>
                </a:cubicBezTo>
                <a:cubicBezTo>
                  <a:pt x="4824659" y="3523189"/>
                  <a:pt x="4825857" y="3522257"/>
                  <a:pt x="4826922" y="3521325"/>
                </a:cubicBezTo>
                <a:cubicBezTo>
                  <a:pt x="4827987" y="3520127"/>
                  <a:pt x="4828919" y="3518796"/>
                  <a:pt x="4829585" y="3517066"/>
                </a:cubicBezTo>
                <a:cubicBezTo>
                  <a:pt x="4830383" y="3515469"/>
                  <a:pt x="4830650" y="3513605"/>
                  <a:pt x="4830650" y="3511608"/>
                </a:cubicBezTo>
                <a:cubicBezTo>
                  <a:pt x="4830650" y="3509744"/>
                  <a:pt x="4830250" y="3508014"/>
                  <a:pt x="4829585" y="3506416"/>
                </a:cubicBezTo>
                <a:cubicBezTo>
                  <a:pt x="4828919" y="3504686"/>
                  <a:pt x="4827987" y="3503355"/>
                  <a:pt x="4826922" y="3502157"/>
                </a:cubicBezTo>
                <a:cubicBezTo>
                  <a:pt x="4825857" y="3501092"/>
                  <a:pt x="4824526" y="3500159"/>
                  <a:pt x="4822929" y="3499495"/>
                </a:cubicBezTo>
                <a:cubicBezTo>
                  <a:pt x="4821465" y="3498829"/>
                  <a:pt x="4819734" y="3498563"/>
                  <a:pt x="4817870" y="3498563"/>
                </a:cubicBezTo>
                <a:close/>
                <a:moveTo>
                  <a:pt x="4600226" y="3498563"/>
                </a:moveTo>
                <a:cubicBezTo>
                  <a:pt x="4594369" y="3498563"/>
                  <a:pt x="4591839" y="3500558"/>
                  <a:pt x="4590242" y="3502157"/>
                </a:cubicBezTo>
                <a:cubicBezTo>
                  <a:pt x="4587713" y="3504819"/>
                  <a:pt x="4586648" y="3507614"/>
                  <a:pt x="4586648" y="3511608"/>
                </a:cubicBezTo>
                <a:cubicBezTo>
                  <a:pt x="4586648" y="3515735"/>
                  <a:pt x="4587713" y="3518530"/>
                  <a:pt x="4590242" y="3521059"/>
                </a:cubicBezTo>
                <a:cubicBezTo>
                  <a:pt x="4591839" y="3522657"/>
                  <a:pt x="4594369" y="3524520"/>
                  <a:pt x="4600226" y="3524520"/>
                </a:cubicBezTo>
                <a:cubicBezTo>
                  <a:pt x="4602355" y="3524520"/>
                  <a:pt x="4604086" y="3524254"/>
                  <a:pt x="4605550" y="3523722"/>
                </a:cubicBezTo>
                <a:cubicBezTo>
                  <a:pt x="4607148" y="3523189"/>
                  <a:pt x="4608346" y="3522257"/>
                  <a:pt x="4609277" y="3521325"/>
                </a:cubicBezTo>
                <a:cubicBezTo>
                  <a:pt x="4610342" y="3520127"/>
                  <a:pt x="4611274" y="3518796"/>
                  <a:pt x="4611940" y="3517066"/>
                </a:cubicBezTo>
                <a:cubicBezTo>
                  <a:pt x="4612605" y="3515469"/>
                  <a:pt x="4613005" y="3513605"/>
                  <a:pt x="4613005" y="3511608"/>
                </a:cubicBezTo>
                <a:cubicBezTo>
                  <a:pt x="4613005" y="3509744"/>
                  <a:pt x="4612605" y="3508014"/>
                  <a:pt x="4611940" y="3506416"/>
                </a:cubicBezTo>
                <a:cubicBezTo>
                  <a:pt x="4611274" y="3504686"/>
                  <a:pt x="4610342" y="3503355"/>
                  <a:pt x="4609277" y="3502157"/>
                </a:cubicBezTo>
                <a:cubicBezTo>
                  <a:pt x="4608212" y="3501092"/>
                  <a:pt x="4606881" y="3500159"/>
                  <a:pt x="4605284" y="3499495"/>
                </a:cubicBezTo>
                <a:cubicBezTo>
                  <a:pt x="4603820" y="3498829"/>
                  <a:pt x="4602222" y="3498563"/>
                  <a:pt x="4600226" y="3498563"/>
                </a:cubicBezTo>
                <a:close/>
                <a:moveTo>
                  <a:pt x="4382713" y="3498563"/>
                </a:moveTo>
                <a:cubicBezTo>
                  <a:pt x="4376857" y="3498563"/>
                  <a:pt x="4374327" y="3500558"/>
                  <a:pt x="4372730" y="3502157"/>
                </a:cubicBezTo>
                <a:cubicBezTo>
                  <a:pt x="4370201" y="3504819"/>
                  <a:pt x="4369136" y="3507614"/>
                  <a:pt x="4369136" y="3511608"/>
                </a:cubicBezTo>
                <a:cubicBezTo>
                  <a:pt x="4369136" y="3515735"/>
                  <a:pt x="4370201" y="3518530"/>
                  <a:pt x="4372730" y="3521059"/>
                </a:cubicBezTo>
                <a:cubicBezTo>
                  <a:pt x="4374327" y="3522657"/>
                  <a:pt x="4376857" y="3524520"/>
                  <a:pt x="4382713" y="3524520"/>
                </a:cubicBezTo>
                <a:cubicBezTo>
                  <a:pt x="4384710" y="3524520"/>
                  <a:pt x="4386441" y="3524254"/>
                  <a:pt x="4388038" y="3523722"/>
                </a:cubicBezTo>
                <a:cubicBezTo>
                  <a:pt x="4389502" y="3523189"/>
                  <a:pt x="4390834" y="3522257"/>
                  <a:pt x="4391765" y="3521325"/>
                </a:cubicBezTo>
                <a:cubicBezTo>
                  <a:pt x="4392830" y="3520127"/>
                  <a:pt x="4393762" y="3518796"/>
                  <a:pt x="4394428" y="3517066"/>
                </a:cubicBezTo>
                <a:cubicBezTo>
                  <a:pt x="4395093" y="3515469"/>
                  <a:pt x="4395493" y="3513605"/>
                  <a:pt x="4395493" y="3511608"/>
                </a:cubicBezTo>
                <a:cubicBezTo>
                  <a:pt x="4395493" y="3509744"/>
                  <a:pt x="4395093" y="3508014"/>
                  <a:pt x="4394428" y="3506416"/>
                </a:cubicBezTo>
                <a:cubicBezTo>
                  <a:pt x="4393762" y="3504686"/>
                  <a:pt x="4392830" y="3503355"/>
                  <a:pt x="4391765" y="3502157"/>
                </a:cubicBezTo>
                <a:cubicBezTo>
                  <a:pt x="4390700" y="3501092"/>
                  <a:pt x="4389369" y="3500159"/>
                  <a:pt x="4387772" y="3499495"/>
                </a:cubicBezTo>
                <a:cubicBezTo>
                  <a:pt x="4386308" y="3498829"/>
                  <a:pt x="4384710" y="3498563"/>
                  <a:pt x="4382713" y="3498563"/>
                </a:cubicBezTo>
                <a:close/>
                <a:moveTo>
                  <a:pt x="4165068" y="3498563"/>
                </a:moveTo>
                <a:cubicBezTo>
                  <a:pt x="4159211" y="3498563"/>
                  <a:pt x="4156681" y="3500558"/>
                  <a:pt x="4155084" y="3502157"/>
                </a:cubicBezTo>
                <a:cubicBezTo>
                  <a:pt x="4152555" y="3504819"/>
                  <a:pt x="4151490" y="3507614"/>
                  <a:pt x="4151490" y="3511608"/>
                </a:cubicBezTo>
                <a:cubicBezTo>
                  <a:pt x="4151490" y="3515735"/>
                  <a:pt x="4152555" y="3518530"/>
                  <a:pt x="4155084" y="3521059"/>
                </a:cubicBezTo>
                <a:cubicBezTo>
                  <a:pt x="4156681" y="3522657"/>
                  <a:pt x="4159211" y="3524520"/>
                  <a:pt x="4165068" y="3524520"/>
                </a:cubicBezTo>
                <a:cubicBezTo>
                  <a:pt x="4167064" y="3524520"/>
                  <a:pt x="4168928" y="3524254"/>
                  <a:pt x="4170392" y="3523722"/>
                </a:cubicBezTo>
                <a:cubicBezTo>
                  <a:pt x="4171856" y="3523189"/>
                  <a:pt x="4173188" y="3522257"/>
                  <a:pt x="4174119" y="3521325"/>
                </a:cubicBezTo>
                <a:cubicBezTo>
                  <a:pt x="4175184" y="3520127"/>
                  <a:pt x="4176116" y="3518796"/>
                  <a:pt x="4176782" y="3517066"/>
                </a:cubicBezTo>
                <a:cubicBezTo>
                  <a:pt x="4177447" y="3515469"/>
                  <a:pt x="4177847" y="3513605"/>
                  <a:pt x="4177847" y="3511608"/>
                </a:cubicBezTo>
                <a:cubicBezTo>
                  <a:pt x="4177847" y="3509744"/>
                  <a:pt x="4177447" y="3508014"/>
                  <a:pt x="4176782" y="3506416"/>
                </a:cubicBezTo>
                <a:cubicBezTo>
                  <a:pt x="4176116" y="3504686"/>
                  <a:pt x="4175184" y="3503355"/>
                  <a:pt x="4174119" y="3502157"/>
                </a:cubicBezTo>
                <a:cubicBezTo>
                  <a:pt x="4173054" y="3501092"/>
                  <a:pt x="4171723" y="3500159"/>
                  <a:pt x="4170126" y="3499495"/>
                </a:cubicBezTo>
                <a:cubicBezTo>
                  <a:pt x="4168662" y="3498829"/>
                  <a:pt x="4167064" y="3498563"/>
                  <a:pt x="4165068" y="3498563"/>
                </a:cubicBezTo>
                <a:close/>
                <a:moveTo>
                  <a:pt x="3947617" y="3498563"/>
                </a:moveTo>
                <a:cubicBezTo>
                  <a:pt x="3941759" y="3498563"/>
                  <a:pt x="3939230" y="3500558"/>
                  <a:pt x="3937633" y="3502157"/>
                </a:cubicBezTo>
                <a:cubicBezTo>
                  <a:pt x="3935102" y="3504819"/>
                  <a:pt x="3934039" y="3507614"/>
                  <a:pt x="3934039" y="3511608"/>
                </a:cubicBezTo>
                <a:cubicBezTo>
                  <a:pt x="3934039" y="3515735"/>
                  <a:pt x="3935102" y="3518530"/>
                  <a:pt x="3937633" y="3521059"/>
                </a:cubicBezTo>
                <a:cubicBezTo>
                  <a:pt x="3939230" y="3522657"/>
                  <a:pt x="3941759" y="3524520"/>
                  <a:pt x="3947617" y="3524520"/>
                </a:cubicBezTo>
                <a:cubicBezTo>
                  <a:pt x="3949614" y="3524520"/>
                  <a:pt x="3951476" y="3524254"/>
                  <a:pt x="3952944" y="3523722"/>
                </a:cubicBezTo>
                <a:cubicBezTo>
                  <a:pt x="3954407" y="3523189"/>
                  <a:pt x="3955737" y="3522257"/>
                  <a:pt x="3956670" y="3521325"/>
                </a:cubicBezTo>
                <a:cubicBezTo>
                  <a:pt x="3957735" y="3520127"/>
                  <a:pt x="3958668" y="3518796"/>
                  <a:pt x="3959333" y="3517066"/>
                </a:cubicBezTo>
                <a:cubicBezTo>
                  <a:pt x="3959999" y="3515469"/>
                  <a:pt x="3960398" y="3513605"/>
                  <a:pt x="3960398" y="3511608"/>
                </a:cubicBezTo>
                <a:cubicBezTo>
                  <a:pt x="3960398" y="3509744"/>
                  <a:pt x="3959999" y="3508014"/>
                  <a:pt x="3959333" y="3506416"/>
                </a:cubicBezTo>
                <a:cubicBezTo>
                  <a:pt x="3958668" y="3504686"/>
                  <a:pt x="3957735" y="3503355"/>
                  <a:pt x="3956670" y="3502157"/>
                </a:cubicBezTo>
                <a:cubicBezTo>
                  <a:pt x="3955605" y="3501092"/>
                  <a:pt x="3954274" y="3500159"/>
                  <a:pt x="3952676" y="3499495"/>
                </a:cubicBezTo>
                <a:cubicBezTo>
                  <a:pt x="3951211" y="3498829"/>
                  <a:pt x="3949614" y="3498563"/>
                  <a:pt x="3947617" y="3498563"/>
                </a:cubicBezTo>
                <a:close/>
                <a:moveTo>
                  <a:pt x="3729962" y="3498563"/>
                </a:moveTo>
                <a:cubicBezTo>
                  <a:pt x="3724105" y="3498563"/>
                  <a:pt x="3721576" y="3500558"/>
                  <a:pt x="3719976" y="3502157"/>
                </a:cubicBezTo>
                <a:cubicBezTo>
                  <a:pt x="3717446" y="3504819"/>
                  <a:pt x="3716384" y="3507614"/>
                  <a:pt x="3716384" y="3511608"/>
                </a:cubicBezTo>
                <a:cubicBezTo>
                  <a:pt x="3716384" y="3515735"/>
                  <a:pt x="3717446" y="3518530"/>
                  <a:pt x="3719976" y="3521059"/>
                </a:cubicBezTo>
                <a:cubicBezTo>
                  <a:pt x="3721576" y="3522657"/>
                  <a:pt x="3724105" y="3524520"/>
                  <a:pt x="3729962" y="3524520"/>
                </a:cubicBezTo>
                <a:cubicBezTo>
                  <a:pt x="3732092" y="3524520"/>
                  <a:pt x="3733824" y="3524254"/>
                  <a:pt x="3735287" y="3523722"/>
                </a:cubicBezTo>
                <a:cubicBezTo>
                  <a:pt x="3736751" y="3523189"/>
                  <a:pt x="3738084" y="3522257"/>
                  <a:pt x="3739014" y="3521325"/>
                </a:cubicBezTo>
                <a:cubicBezTo>
                  <a:pt x="3740080" y="3520127"/>
                  <a:pt x="3741012" y="3518796"/>
                  <a:pt x="3741678" y="3517066"/>
                </a:cubicBezTo>
                <a:cubicBezTo>
                  <a:pt x="3742343" y="3515469"/>
                  <a:pt x="3742742" y="3513605"/>
                  <a:pt x="3742742" y="3511608"/>
                </a:cubicBezTo>
                <a:cubicBezTo>
                  <a:pt x="3742742" y="3509744"/>
                  <a:pt x="3742343" y="3508014"/>
                  <a:pt x="3741678" y="3506416"/>
                </a:cubicBezTo>
                <a:cubicBezTo>
                  <a:pt x="3741012" y="3504686"/>
                  <a:pt x="3740080" y="3503355"/>
                  <a:pt x="3739014" y="3502157"/>
                </a:cubicBezTo>
                <a:cubicBezTo>
                  <a:pt x="3737950" y="3501092"/>
                  <a:pt x="3736619" y="3500159"/>
                  <a:pt x="3735021" y="3499495"/>
                </a:cubicBezTo>
                <a:cubicBezTo>
                  <a:pt x="3733557" y="3498829"/>
                  <a:pt x="3731959" y="3498563"/>
                  <a:pt x="3729962" y="3498563"/>
                </a:cubicBezTo>
                <a:close/>
                <a:moveTo>
                  <a:pt x="3512307" y="3498563"/>
                </a:moveTo>
                <a:cubicBezTo>
                  <a:pt x="3506449" y="3498563"/>
                  <a:pt x="3503920" y="3500558"/>
                  <a:pt x="3502320" y="3502157"/>
                </a:cubicBezTo>
                <a:cubicBezTo>
                  <a:pt x="3499790" y="3504819"/>
                  <a:pt x="3498727" y="3507614"/>
                  <a:pt x="3498727" y="3511608"/>
                </a:cubicBezTo>
                <a:cubicBezTo>
                  <a:pt x="3498727" y="3515735"/>
                  <a:pt x="3499790" y="3518530"/>
                  <a:pt x="3502320" y="3521059"/>
                </a:cubicBezTo>
                <a:cubicBezTo>
                  <a:pt x="3503920" y="3522657"/>
                  <a:pt x="3506449" y="3524520"/>
                  <a:pt x="3512307" y="3524520"/>
                </a:cubicBezTo>
                <a:cubicBezTo>
                  <a:pt x="3514437" y="3524520"/>
                  <a:pt x="3516168" y="3524254"/>
                  <a:pt x="3517632" y="3523722"/>
                </a:cubicBezTo>
                <a:cubicBezTo>
                  <a:pt x="3519097" y="3523189"/>
                  <a:pt x="3520429" y="3522257"/>
                  <a:pt x="3521360" y="3521325"/>
                </a:cubicBezTo>
                <a:cubicBezTo>
                  <a:pt x="3522425" y="3520127"/>
                  <a:pt x="3523357" y="3518796"/>
                  <a:pt x="3524023" y="3517066"/>
                </a:cubicBezTo>
                <a:cubicBezTo>
                  <a:pt x="3524688" y="3515469"/>
                  <a:pt x="3525088" y="3513605"/>
                  <a:pt x="3525088" y="3511608"/>
                </a:cubicBezTo>
                <a:cubicBezTo>
                  <a:pt x="3525088" y="3509744"/>
                  <a:pt x="3524688" y="3508014"/>
                  <a:pt x="3524023" y="3506416"/>
                </a:cubicBezTo>
                <a:cubicBezTo>
                  <a:pt x="3523357" y="3504686"/>
                  <a:pt x="3522425" y="3503355"/>
                  <a:pt x="3521360" y="3502157"/>
                </a:cubicBezTo>
                <a:cubicBezTo>
                  <a:pt x="3520295" y="3501092"/>
                  <a:pt x="3518963" y="3500159"/>
                  <a:pt x="3517367" y="3499495"/>
                </a:cubicBezTo>
                <a:cubicBezTo>
                  <a:pt x="3515903" y="3498829"/>
                  <a:pt x="3514304" y="3498563"/>
                  <a:pt x="3512307" y="3498563"/>
                </a:cubicBezTo>
                <a:close/>
                <a:moveTo>
                  <a:pt x="3294785" y="3498563"/>
                </a:moveTo>
                <a:cubicBezTo>
                  <a:pt x="3288927" y="3498563"/>
                  <a:pt x="3286397" y="3500558"/>
                  <a:pt x="3284800" y="3502157"/>
                </a:cubicBezTo>
                <a:cubicBezTo>
                  <a:pt x="3282269" y="3504819"/>
                  <a:pt x="3281206" y="3507614"/>
                  <a:pt x="3281206" y="3511608"/>
                </a:cubicBezTo>
                <a:cubicBezTo>
                  <a:pt x="3281206" y="3515735"/>
                  <a:pt x="3282269" y="3518530"/>
                  <a:pt x="3284800" y="3521059"/>
                </a:cubicBezTo>
                <a:cubicBezTo>
                  <a:pt x="3286397" y="3522657"/>
                  <a:pt x="3288927" y="3524520"/>
                  <a:pt x="3294785" y="3524520"/>
                </a:cubicBezTo>
                <a:cubicBezTo>
                  <a:pt x="3296782" y="3524520"/>
                  <a:pt x="3298513" y="3524254"/>
                  <a:pt x="3300111" y="3523722"/>
                </a:cubicBezTo>
                <a:cubicBezTo>
                  <a:pt x="3301575" y="3523189"/>
                  <a:pt x="3302907" y="3522257"/>
                  <a:pt x="3303838" y="3521325"/>
                </a:cubicBezTo>
                <a:cubicBezTo>
                  <a:pt x="3304903" y="3520127"/>
                  <a:pt x="3305834" y="3518796"/>
                  <a:pt x="3306501" y="3517066"/>
                </a:cubicBezTo>
                <a:cubicBezTo>
                  <a:pt x="3307166" y="3515469"/>
                  <a:pt x="3307565" y="3513605"/>
                  <a:pt x="3307565" y="3511608"/>
                </a:cubicBezTo>
                <a:cubicBezTo>
                  <a:pt x="3307565" y="3509744"/>
                  <a:pt x="3307166" y="3508014"/>
                  <a:pt x="3306501" y="3506416"/>
                </a:cubicBezTo>
                <a:cubicBezTo>
                  <a:pt x="3305834" y="3504686"/>
                  <a:pt x="3304903" y="3503355"/>
                  <a:pt x="3303838" y="3502157"/>
                </a:cubicBezTo>
                <a:cubicBezTo>
                  <a:pt x="3302773" y="3501092"/>
                  <a:pt x="3301441" y="3500159"/>
                  <a:pt x="3299845" y="3499495"/>
                </a:cubicBezTo>
                <a:cubicBezTo>
                  <a:pt x="3298381" y="3498829"/>
                  <a:pt x="3296782" y="3498563"/>
                  <a:pt x="3294785" y="3498563"/>
                </a:cubicBezTo>
                <a:close/>
                <a:moveTo>
                  <a:pt x="3077263" y="3498563"/>
                </a:moveTo>
                <a:cubicBezTo>
                  <a:pt x="3071405" y="3498563"/>
                  <a:pt x="3068876" y="3500558"/>
                  <a:pt x="3067280" y="3502157"/>
                </a:cubicBezTo>
                <a:cubicBezTo>
                  <a:pt x="3064615" y="3504819"/>
                  <a:pt x="3063551" y="3507614"/>
                  <a:pt x="3063551" y="3511608"/>
                </a:cubicBezTo>
                <a:cubicBezTo>
                  <a:pt x="3063551" y="3515735"/>
                  <a:pt x="3064615" y="3518530"/>
                  <a:pt x="3067146" y="3521059"/>
                </a:cubicBezTo>
                <a:cubicBezTo>
                  <a:pt x="3068744" y="3522657"/>
                  <a:pt x="3071273" y="3524520"/>
                  <a:pt x="3077130" y="3524520"/>
                </a:cubicBezTo>
                <a:cubicBezTo>
                  <a:pt x="3079127" y="3524520"/>
                  <a:pt x="3080857" y="3524254"/>
                  <a:pt x="3082588" y="3523722"/>
                </a:cubicBezTo>
                <a:cubicBezTo>
                  <a:pt x="3084053" y="3523189"/>
                  <a:pt x="3085385" y="3522257"/>
                  <a:pt x="3086316" y="3521325"/>
                </a:cubicBezTo>
                <a:cubicBezTo>
                  <a:pt x="3087380" y="3520127"/>
                  <a:pt x="3088312" y="3518796"/>
                  <a:pt x="3088978" y="3517066"/>
                </a:cubicBezTo>
                <a:cubicBezTo>
                  <a:pt x="3089643" y="3515469"/>
                  <a:pt x="3089910" y="3513605"/>
                  <a:pt x="3089910" y="3511608"/>
                </a:cubicBezTo>
                <a:cubicBezTo>
                  <a:pt x="3089910" y="3509744"/>
                  <a:pt x="3089643" y="3508014"/>
                  <a:pt x="3088978" y="3506416"/>
                </a:cubicBezTo>
                <a:cubicBezTo>
                  <a:pt x="3088312" y="3504686"/>
                  <a:pt x="3087380" y="3503355"/>
                  <a:pt x="3086316" y="3502157"/>
                </a:cubicBezTo>
                <a:cubicBezTo>
                  <a:pt x="3085251" y="3501092"/>
                  <a:pt x="3083919" y="3500159"/>
                  <a:pt x="3082323" y="3499495"/>
                </a:cubicBezTo>
                <a:cubicBezTo>
                  <a:pt x="3080857" y="3498829"/>
                  <a:pt x="3079260" y="3498563"/>
                  <a:pt x="3077263" y="3498563"/>
                </a:cubicBezTo>
                <a:close/>
                <a:moveTo>
                  <a:pt x="2859475" y="3498563"/>
                </a:moveTo>
                <a:cubicBezTo>
                  <a:pt x="2853618" y="3498563"/>
                  <a:pt x="2851089" y="3500558"/>
                  <a:pt x="2849489" y="3502157"/>
                </a:cubicBezTo>
                <a:cubicBezTo>
                  <a:pt x="2846957" y="3504819"/>
                  <a:pt x="2845893" y="3507614"/>
                  <a:pt x="2845893" y="3511608"/>
                </a:cubicBezTo>
                <a:cubicBezTo>
                  <a:pt x="2845893" y="3515735"/>
                  <a:pt x="2846957" y="3518530"/>
                  <a:pt x="2849489" y="3521059"/>
                </a:cubicBezTo>
                <a:cubicBezTo>
                  <a:pt x="2851089" y="3522657"/>
                  <a:pt x="2853618" y="3524520"/>
                  <a:pt x="2859475" y="3524520"/>
                </a:cubicBezTo>
                <a:cubicBezTo>
                  <a:pt x="2861472" y="3524520"/>
                  <a:pt x="2863336" y="3524254"/>
                  <a:pt x="2864800" y="3523722"/>
                </a:cubicBezTo>
                <a:cubicBezTo>
                  <a:pt x="2866398" y="3523189"/>
                  <a:pt x="2867596" y="3522257"/>
                  <a:pt x="2868527" y="3521325"/>
                </a:cubicBezTo>
                <a:cubicBezTo>
                  <a:pt x="2869592" y="3520127"/>
                  <a:pt x="2870524" y="3518796"/>
                  <a:pt x="2871190" y="3517066"/>
                </a:cubicBezTo>
                <a:cubicBezTo>
                  <a:pt x="2871722" y="3515469"/>
                  <a:pt x="2872121" y="3513605"/>
                  <a:pt x="2872121" y="3511608"/>
                </a:cubicBezTo>
                <a:cubicBezTo>
                  <a:pt x="2872121" y="3509744"/>
                  <a:pt x="2871855" y="3508014"/>
                  <a:pt x="2871190" y="3506416"/>
                </a:cubicBezTo>
                <a:cubicBezTo>
                  <a:pt x="2870524" y="3504686"/>
                  <a:pt x="2869592" y="3503355"/>
                  <a:pt x="2868527" y="3502157"/>
                </a:cubicBezTo>
                <a:cubicBezTo>
                  <a:pt x="2867463" y="3501092"/>
                  <a:pt x="2866131" y="3500159"/>
                  <a:pt x="2864534" y="3499495"/>
                </a:cubicBezTo>
                <a:cubicBezTo>
                  <a:pt x="2863070" y="3498829"/>
                  <a:pt x="2861472" y="3498563"/>
                  <a:pt x="2859475" y="3498563"/>
                </a:cubicBezTo>
                <a:close/>
                <a:moveTo>
                  <a:pt x="2641820" y="3498563"/>
                </a:moveTo>
                <a:cubicBezTo>
                  <a:pt x="2635962" y="3498563"/>
                  <a:pt x="2633433" y="3500558"/>
                  <a:pt x="2631837" y="3502157"/>
                </a:cubicBezTo>
                <a:cubicBezTo>
                  <a:pt x="2629306" y="3504819"/>
                  <a:pt x="2628242" y="3507614"/>
                  <a:pt x="2628242" y="3511608"/>
                </a:cubicBezTo>
                <a:cubicBezTo>
                  <a:pt x="2628242" y="3515735"/>
                  <a:pt x="2629306" y="3518530"/>
                  <a:pt x="2631837" y="3521059"/>
                </a:cubicBezTo>
                <a:cubicBezTo>
                  <a:pt x="2633433" y="3522657"/>
                  <a:pt x="2635962" y="3524520"/>
                  <a:pt x="2641820" y="3524520"/>
                </a:cubicBezTo>
                <a:cubicBezTo>
                  <a:pt x="2643816" y="3524520"/>
                  <a:pt x="2645681" y="3524254"/>
                  <a:pt x="2647145" y="3523722"/>
                </a:cubicBezTo>
                <a:cubicBezTo>
                  <a:pt x="2648742" y="3523189"/>
                  <a:pt x="2649940" y="3522257"/>
                  <a:pt x="2650872" y="3521325"/>
                </a:cubicBezTo>
                <a:cubicBezTo>
                  <a:pt x="2651937" y="3520127"/>
                  <a:pt x="2652869" y="3518796"/>
                  <a:pt x="2653535" y="3517066"/>
                </a:cubicBezTo>
                <a:cubicBezTo>
                  <a:pt x="2654067" y="3515469"/>
                  <a:pt x="2654466" y="3513605"/>
                  <a:pt x="2654466" y="3511608"/>
                </a:cubicBezTo>
                <a:cubicBezTo>
                  <a:pt x="2654466" y="3509744"/>
                  <a:pt x="2654200" y="3508014"/>
                  <a:pt x="2653535" y="3506416"/>
                </a:cubicBezTo>
                <a:cubicBezTo>
                  <a:pt x="2652869" y="3504686"/>
                  <a:pt x="2651937" y="3503355"/>
                  <a:pt x="2650872" y="3502157"/>
                </a:cubicBezTo>
                <a:cubicBezTo>
                  <a:pt x="2649807" y="3501092"/>
                  <a:pt x="2648476" y="3500159"/>
                  <a:pt x="2646879" y="3499495"/>
                </a:cubicBezTo>
                <a:cubicBezTo>
                  <a:pt x="2645414" y="3498829"/>
                  <a:pt x="2643816" y="3498563"/>
                  <a:pt x="2641820" y="3498563"/>
                </a:cubicBezTo>
                <a:close/>
                <a:moveTo>
                  <a:pt x="2424164" y="3498563"/>
                </a:moveTo>
                <a:cubicBezTo>
                  <a:pt x="2418308" y="3498563"/>
                  <a:pt x="2415779" y="3500558"/>
                  <a:pt x="2414181" y="3502157"/>
                </a:cubicBezTo>
                <a:cubicBezTo>
                  <a:pt x="2411651" y="3504819"/>
                  <a:pt x="2410587" y="3507614"/>
                  <a:pt x="2410587" y="3511608"/>
                </a:cubicBezTo>
                <a:cubicBezTo>
                  <a:pt x="2410587" y="3515735"/>
                  <a:pt x="2411651" y="3518530"/>
                  <a:pt x="2414181" y="3521059"/>
                </a:cubicBezTo>
                <a:cubicBezTo>
                  <a:pt x="2415779" y="3522657"/>
                  <a:pt x="2418308" y="3524520"/>
                  <a:pt x="2424164" y="3524520"/>
                </a:cubicBezTo>
                <a:cubicBezTo>
                  <a:pt x="2426294" y="3524520"/>
                  <a:pt x="2428026" y="3524254"/>
                  <a:pt x="2429490" y="3523722"/>
                </a:cubicBezTo>
                <a:cubicBezTo>
                  <a:pt x="2431088" y="3523189"/>
                  <a:pt x="2432286" y="3522257"/>
                  <a:pt x="2433217" y="3521325"/>
                </a:cubicBezTo>
                <a:cubicBezTo>
                  <a:pt x="2434282" y="3520127"/>
                  <a:pt x="2435214" y="3518796"/>
                  <a:pt x="2435880" y="3517066"/>
                </a:cubicBezTo>
                <a:cubicBezTo>
                  <a:pt x="2436411" y="3515469"/>
                  <a:pt x="2436811" y="3513605"/>
                  <a:pt x="2436811" y="3511608"/>
                </a:cubicBezTo>
                <a:cubicBezTo>
                  <a:pt x="2436811" y="3509744"/>
                  <a:pt x="2436545" y="3508014"/>
                  <a:pt x="2435880" y="3506416"/>
                </a:cubicBezTo>
                <a:cubicBezTo>
                  <a:pt x="2435214" y="3504686"/>
                  <a:pt x="2434282" y="3503355"/>
                  <a:pt x="2433217" y="3502157"/>
                </a:cubicBezTo>
                <a:cubicBezTo>
                  <a:pt x="2432153" y="3501092"/>
                  <a:pt x="2430821" y="3500159"/>
                  <a:pt x="2429224" y="3499495"/>
                </a:cubicBezTo>
                <a:cubicBezTo>
                  <a:pt x="2427760" y="3498829"/>
                  <a:pt x="2426162" y="3498563"/>
                  <a:pt x="2424164" y="3498563"/>
                </a:cubicBezTo>
                <a:close/>
                <a:moveTo>
                  <a:pt x="2206509" y="3498563"/>
                </a:moveTo>
                <a:cubicBezTo>
                  <a:pt x="2200652" y="3498563"/>
                  <a:pt x="2198123" y="3500558"/>
                  <a:pt x="2196526" y="3502157"/>
                </a:cubicBezTo>
                <a:cubicBezTo>
                  <a:pt x="2193996" y="3504819"/>
                  <a:pt x="2192932" y="3507614"/>
                  <a:pt x="2192932" y="3511608"/>
                </a:cubicBezTo>
                <a:cubicBezTo>
                  <a:pt x="2192932" y="3515735"/>
                  <a:pt x="2193996" y="3518530"/>
                  <a:pt x="2196526" y="3521059"/>
                </a:cubicBezTo>
                <a:cubicBezTo>
                  <a:pt x="2198123" y="3522657"/>
                  <a:pt x="2200652" y="3524520"/>
                  <a:pt x="2206509" y="3524520"/>
                </a:cubicBezTo>
                <a:cubicBezTo>
                  <a:pt x="2208639" y="3524520"/>
                  <a:pt x="2210370" y="3524254"/>
                  <a:pt x="2211834" y="3523722"/>
                </a:cubicBezTo>
                <a:cubicBezTo>
                  <a:pt x="2213432" y="3523189"/>
                  <a:pt x="2214630" y="3522257"/>
                  <a:pt x="2215561" y="3521325"/>
                </a:cubicBezTo>
                <a:cubicBezTo>
                  <a:pt x="2216626" y="3520127"/>
                  <a:pt x="2217558" y="3518796"/>
                  <a:pt x="2218224" y="3517066"/>
                </a:cubicBezTo>
                <a:cubicBezTo>
                  <a:pt x="2218757" y="3515469"/>
                  <a:pt x="2219156" y="3513605"/>
                  <a:pt x="2219156" y="3511608"/>
                </a:cubicBezTo>
                <a:cubicBezTo>
                  <a:pt x="2219156" y="3509744"/>
                  <a:pt x="2218889" y="3508014"/>
                  <a:pt x="2218224" y="3506416"/>
                </a:cubicBezTo>
                <a:cubicBezTo>
                  <a:pt x="2217558" y="3504686"/>
                  <a:pt x="2216626" y="3503355"/>
                  <a:pt x="2215561" y="3502157"/>
                </a:cubicBezTo>
                <a:cubicBezTo>
                  <a:pt x="2214496" y="3501092"/>
                  <a:pt x="2213166" y="3500159"/>
                  <a:pt x="2211568" y="3499495"/>
                </a:cubicBezTo>
                <a:cubicBezTo>
                  <a:pt x="2210104" y="3498829"/>
                  <a:pt x="2208506" y="3498563"/>
                  <a:pt x="2206509" y="3498563"/>
                </a:cubicBezTo>
                <a:close/>
                <a:moveTo>
                  <a:pt x="1988987" y="3498563"/>
                </a:moveTo>
                <a:cubicBezTo>
                  <a:pt x="1983130" y="3498563"/>
                  <a:pt x="1980601" y="3500558"/>
                  <a:pt x="1979004" y="3502157"/>
                </a:cubicBezTo>
                <a:cubicBezTo>
                  <a:pt x="1976474" y="3504819"/>
                  <a:pt x="1975410" y="3507614"/>
                  <a:pt x="1975410" y="3511608"/>
                </a:cubicBezTo>
                <a:cubicBezTo>
                  <a:pt x="1975410" y="3515735"/>
                  <a:pt x="1976474" y="3518530"/>
                  <a:pt x="1979004" y="3521059"/>
                </a:cubicBezTo>
                <a:cubicBezTo>
                  <a:pt x="1980601" y="3522657"/>
                  <a:pt x="1983130" y="3524520"/>
                  <a:pt x="1988987" y="3524520"/>
                </a:cubicBezTo>
                <a:cubicBezTo>
                  <a:pt x="1990984" y="3524520"/>
                  <a:pt x="1992715" y="3524254"/>
                  <a:pt x="1994312" y="3523722"/>
                </a:cubicBezTo>
                <a:cubicBezTo>
                  <a:pt x="1995910" y="3523189"/>
                  <a:pt x="1997108" y="3522257"/>
                  <a:pt x="1998039" y="3521325"/>
                </a:cubicBezTo>
                <a:cubicBezTo>
                  <a:pt x="1999104" y="3520127"/>
                  <a:pt x="2000036" y="3518796"/>
                  <a:pt x="2000702" y="3517066"/>
                </a:cubicBezTo>
                <a:cubicBezTo>
                  <a:pt x="2001234" y="3515469"/>
                  <a:pt x="2001633" y="3513605"/>
                  <a:pt x="2001633" y="3511608"/>
                </a:cubicBezTo>
                <a:cubicBezTo>
                  <a:pt x="2001633" y="3509744"/>
                  <a:pt x="2001367" y="3508014"/>
                  <a:pt x="2000702" y="3506416"/>
                </a:cubicBezTo>
                <a:cubicBezTo>
                  <a:pt x="2000036" y="3504686"/>
                  <a:pt x="1999104" y="3503355"/>
                  <a:pt x="1998039" y="3502157"/>
                </a:cubicBezTo>
                <a:cubicBezTo>
                  <a:pt x="1996975" y="3501092"/>
                  <a:pt x="1995643" y="3500159"/>
                  <a:pt x="1994046" y="3499495"/>
                </a:cubicBezTo>
                <a:cubicBezTo>
                  <a:pt x="1992582" y="3498829"/>
                  <a:pt x="1990984" y="3498563"/>
                  <a:pt x="1988987" y="3498563"/>
                </a:cubicBezTo>
                <a:close/>
                <a:moveTo>
                  <a:pt x="1771349" y="3498563"/>
                </a:moveTo>
                <a:cubicBezTo>
                  <a:pt x="1765492" y="3498563"/>
                  <a:pt x="1762964" y="3500558"/>
                  <a:pt x="1761367" y="3502157"/>
                </a:cubicBezTo>
                <a:cubicBezTo>
                  <a:pt x="1758837" y="3504819"/>
                  <a:pt x="1757773" y="3507614"/>
                  <a:pt x="1757773" y="3511608"/>
                </a:cubicBezTo>
                <a:cubicBezTo>
                  <a:pt x="1757773" y="3515735"/>
                  <a:pt x="1758837" y="3518530"/>
                  <a:pt x="1761367" y="3521059"/>
                </a:cubicBezTo>
                <a:cubicBezTo>
                  <a:pt x="1762964" y="3522657"/>
                  <a:pt x="1765492" y="3524520"/>
                  <a:pt x="1771349" y="3524520"/>
                </a:cubicBezTo>
                <a:cubicBezTo>
                  <a:pt x="1773347" y="3524520"/>
                  <a:pt x="1775210" y="3524254"/>
                  <a:pt x="1776674" y="3523722"/>
                </a:cubicBezTo>
                <a:cubicBezTo>
                  <a:pt x="1778138" y="3523189"/>
                  <a:pt x="1779468" y="3522257"/>
                  <a:pt x="1780401" y="3521325"/>
                </a:cubicBezTo>
                <a:cubicBezTo>
                  <a:pt x="1781466" y="3520127"/>
                  <a:pt x="1782398" y="3518796"/>
                  <a:pt x="1783063" y="3517066"/>
                </a:cubicBezTo>
                <a:cubicBezTo>
                  <a:pt x="1783728" y="3515469"/>
                  <a:pt x="1784129" y="3513605"/>
                  <a:pt x="1784129" y="3511608"/>
                </a:cubicBezTo>
                <a:cubicBezTo>
                  <a:pt x="1784129" y="3509744"/>
                  <a:pt x="1783728" y="3508014"/>
                  <a:pt x="1783063" y="3506416"/>
                </a:cubicBezTo>
                <a:cubicBezTo>
                  <a:pt x="1782398" y="3504686"/>
                  <a:pt x="1781466" y="3503355"/>
                  <a:pt x="1780401" y="3502157"/>
                </a:cubicBezTo>
                <a:cubicBezTo>
                  <a:pt x="1779336" y="3501092"/>
                  <a:pt x="1778005" y="3500159"/>
                  <a:pt x="1776408" y="3499495"/>
                </a:cubicBezTo>
                <a:cubicBezTo>
                  <a:pt x="1774943" y="3498829"/>
                  <a:pt x="1773347" y="3498563"/>
                  <a:pt x="1771349" y="3498563"/>
                </a:cubicBezTo>
                <a:close/>
                <a:moveTo>
                  <a:pt x="1553709" y="3498563"/>
                </a:moveTo>
                <a:cubicBezTo>
                  <a:pt x="1547852" y="3498563"/>
                  <a:pt x="1545323" y="3500558"/>
                  <a:pt x="1543726" y="3502157"/>
                </a:cubicBezTo>
                <a:cubicBezTo>
                  <a:pt x="1541196" y="3504819"/>
                  <a:pt x="1540131" y="3507614"/>
                  <a:pt x="1540131" y="3511608"/>
                </a:cubicBezTo>
                <a:cubicBezTo>
                  <a:pt x="1540131" y="3515735"/>
                  <a:pt x="1541196" y="3518530"/>
                  <a:pt x="1543726" y="3521059"/>
                </a:cubicBezTo>
                <a:cubicBezTo>
                  <a:pt x="1545323" y="3522657"/>
                  <a:pt x="1547852" y="3524520"/>
                  <a:pt x="1553709" y="3524520"/>
                </a:cubicBezTo>
                <a:cubicBezTo>
                  <a:pt x="1555706" y="3524520"/>
                  <a:pt x="1557570" y="3524254"/>
                  <a:pt x="1559034" y="3523722"/>
                </a:cubicBezTo>
                <a:cubicBezTo>
                  <a:pt x="1560498" y="3523189"/>
                  <a:pt x="1561830" y="3522257"/>
                  <a:pt x="1562761" y="3521325"/>
                </a:cubicBezTo>
                <a:cubicBezTo>
                  <a:pt x="1563826" y="3520127"/>
                  <a:pt x="1564758" y="3518796"/>
                  <a:pt x="1565424" y="3517066"/>
                </a:cubicBezTo>
                <a:cubicBezTo>
                  <a:pt x="1566089" y="3515469"/>
                  <a:pt x="1566489" y="3513605"/>
                  <a:pt x="1566489" y="3511608"/>
                </a:cubicBezTo>
                <a:cubicBezTo>
                  <a:pt x="1566489" y="3509744"/>
                  <a:pt x="1566089" y="3508014"/>
                  <a:pt x="1565424" y="3506416"/>
                </a:cubicBezTo>
                <a:cubicBezTo>
                  <a:pt x="1564758" y="3504686"/>
                  <a:pt x="1563826" y="3503355"/>
                  <a:pt x="1562761" y="3502157"/>
                </a:cubicBezTo>
                <a:cubicBezTo>
                  <a:pt x="1561696" y="3501092"/>
                  <a:pt x="1560365" y="3500159"/>
                  <a:pt x="1558768" y="3499495"/>
                </a:cubicBezTo>
                <a:cubicBezTo>
                  <a:pt x="1557304" y="3498829"/>
                  <a:pt x="1555706" y="3498563"/>
                  <a:pt x="1553709" y="3498563"/>
                </a:cubicBezTo>
                <a:close/>
                <a:moveTo>
                  <a:pt x="1336065" y="3498563"/>
                </a:moveTo>
                <a:cubicBezTo>
                  <a:pt x="1330207" y="3498563"/>
                  <a:pt x="1327678" y="3500558"/>
                  <a:pt x="1326082" y="3502157"/>
                </a:cubicBezTo>
                <a:cubicBezTo>
                  <a:pt x="1323551" y="3504819"/>
                  <a:pt x="1322487" y="3507614"/>
                  <a:pt x="1322487" y="3511608"/>
                </a:cubicBezTo>
                <a:cubicBezTo>
                  <a:pt x="1322487" y="3515735"/>
                  <a:pt x="1323551" y="3518530"/>
                  <a:pt x="1326082" y="3521059"/>
                </a:cubicBezTo>
                <a:cubicBezTo>
                  <a:pt x="1327678" y="3522657"/>
                  <a:pt x="1330207" y="3524520"/>
                  <a:pt x="1336065" y="3524520"/>
                </a:cubicBezTo>
                <a:cubicBezTo>
                  <a:pt x="1338195" y="3524520"/>
                  <a:pt x="1339925" y="3524254"/>
                  <a:pt x="1341391" y="3523722"/>
                </a:cubicBezTo>
                <a:cubicBezTo>
                  <a:pt x="1342855" y="3523189"/>
                  <a:pt x="1344186" y="3522257"/>
                  <a:pt x="1345118" y="3521325"/>
                </a:cubicBezTo>
                <a:cubicBezTo>
                  <a:pt x="1346183" y="3520127"/>
                  <a:pt x="1347115" y="3518796"/>
                  <a:pt x="1347781" y="3517066"/>
                </a:cubicBezTo>
                <a:cubicBezTo>
                  <a:pt x="1348446" y="3515469"/>
                  <a:pt x="1348847" y="3513605"/>
                  <a:pt x="1348847" y="3511608"/>
                </a:cubicBezTo>
                <a:cubicBezTo>
                  <a:pt x="1348847" y="3509744"/>
                  <a:pt x="1348446" y="3508014"/>
                  <a:pt x="1347781" y="3506416"/>
                </a:cubicBezTo>
                <a:cubicBezTo>
                  <a:pt x="1347115" y="3504686"/>
                  <a:pt x="1346183" y="3503355"/>
                  <a:pt x="1345118" y="3502157"/>
                </a:cubicBezTo>
                <a:cubicBezTo>
                  <a:pt x="1344053" y="3501092"/>
                  <a:pt x="1342722" y="3500159"/>
                  <a:pt x="1341124" y="3499495"/>
                </a:cubicBezTo>
                <a:cubicBezTo>
                  <a:pt x="1339660" y="3498829"/>
                  <a:pt x="1338061" y="3498563"/>
                  <a:pt x="1336065" y="3498563"/>
                </a:cubicBezTo>
                <a:close/>
                <a:moveTo>
                  <a:pt x="1118553" y="3498563"/>
                </a:moveTo>
                <a:cubicBezTo>
                  <a:pt x="1112695" y="3498563"/>
                  <a:pt x="1110165" y="3500558"/>
                  <a:pt x="1108568" y="3502157"/>
                </a:cubicBezTo>
                <a:cubicBezTo>
                  <a:pt x="1105906" y="3504819"/>
                  <a:pt x="1104841" y="3507614"/>
                  <a:pt x="1104841" y="3511608"/>
                </a:cubicBezTo>
                <a:cubicBezTo>
                  <a:pt x="1104841" y="3515735"/>
                  <a:pt x="1105906" y="3518530"/>
                  <a:pt x="1108436" y="3521059"/>
                </a:cubicBezTo>
                <a:cubicBezTo>
                  <a:pt x="1110033" y="3522657"/>
                  <a:pt x="1112562" y="3524520"/>
                  <a:pt x="1118420" y="3524520"/>
                </a:cubicBezTo>
                <a:cubicBezTo>
                  <a:pt x="1120550" y="3524520"/>
                  <a:pt x="1122282" y="3524254"/>
                  <a:pt x="1123877" y="3523722"/>
                </a:cubicBezTo>
                <a:cubicBezTo>
                  <a:pt x="1125342" y="3523189"/>
                  <a:pt x="1126676" y="3522257"/>
                  <a:pt x="1127606" y="3521325"/>
                </a:cubicBezTo>
                <a:cubicBezTo>
                  <a:pt x="1128671" y="3520127"/>
                  <a:pt x="1129603" y="3518796"/>
                  <a:pt x="1130270" y="3517066"/>
                </a:cubicBezTo>
                <a:cubicBezTo>
                  <a:pt x="1130934" y="3515469"/>
                  <a:pt x="1131335" y="3513605"/>
                  <a:pt x="1131335" y="3511608"/>
                </a:cubicBezTo>
                <a:cubicBezTo>
                  <a:pt x="1131335" y="3509744"/>
                  <a:pt x="1130934" y="3508014"/>
                  <a:pt x="1130270" y="3506416"/>
                </a:cubicBezTo>
                <a:cubicBezTo>
                  <a:pt x="1129603" y="3504686"/>
                  <a:pt x="1128671" y="3503355"/>
                  <a:pt x="1127606" y="3502157"/>
                </a:cubicBezTo>
                <a:cubicBezTo>
                  <a:pt x="1126541" y="3501092"/>
                  <a:pt x="1125210" y="3500159"/>
                  <a:pt x="1123611" y="3499495"/>
                </a:cubicBezTo>
                <a:cubicBezTo>
                  <a:pt x="1122149" y="3498829"/>
                  <a:pt x="1120550" y="3498563"/>
                  <a:pt x="1118553" y="3498563"/>
                </a:cubicBezTo>
                <a:close/>
                <a:moveTo>
                  <a:pt x="901041" y="3498563"/>
                </a:moveTo>
                <a:cubicBezTo>
                  <a:pt x="895183" y="3498563"/>
                  <a:pt x="892654" y="3500558"/>
                  <a:pt x="891057" y="3502157"/>
                </a:cubicBezTo>
                <a:cubicBezTo>
                  <a:pt x="888394" y="3504819"/>
                  <a:pt x="887330" y="3507614"/>
                  <a:pt x="887330" y="3511608"/>
                </a:cubicBezTo>
                <a:cubicBezTo>
                  <a:pt x="887330" y="3515735"/>
                  <a:pt x="888394" y="3518530"/>
                  <a:pt x="890924" y="3521059"/>
                </a:cubicBezTo>
                <a:cubicBezTo>
                  <a:pt x="892521" y="3522657"/>
                  <a:pt x="895050" y="3524520"/>
                  <a:pt x="900907" y="3524520"/>
                </a:cubicBezTo>
                <a:cubicBezTo>
                  <a:pt x="902904" y="3524520"/>
                  <a:pt x="904635" y="3524254"/>
                  <a:pt x="906365" y="3523722"/>
                </a:cubicBezTo>
                <a:cubicBezTo>
                  <a:pt x="907829" y="3523189"/>
                  <a:pt x="909161" y="3522257"/>
                  <a:pt x="910093" y="3521325"/>
                </a:cubicBezTo>
                <a:cubicBezTo>
                  <a:pt x="911157" y="3520127"/>
                  <a:pt x="912089" y="3518796"/>
                  <a:pt x="912755" y="3517066"/>
                </a:cubicBezTo>
                <a:cubicBezTo>
                  <a:pt x="913420" y="3515469"/>
                  <a:pt x="913821" y="3513605"/>
                  <a:pt x="913821" y="3511608"/>
                </a:cubicBezTo>
                <a:cubicBezTo>
                  <a:pt x="913821" y="3509744"/>
                  <a:pt x="913420" y="3508014"/>
                  <a:pt x="912755" y="3506416"/>
                </a:cubicBezTo>
                <a:cubicBezTo>
                  <a:pt x="912089" y="3504686"/>
                  <a:pt x="911157" y="3503355"/>
                  <a:pt x="910093" y="3502157"/>
                </a:cubicBezTo>
                <a:cubicBezTo>
                  <a:pt x="909028" y="3501092"/>
                  <a:pt x="907696" y="3500159"/>
                  <a:pt x="906099" y="3499495"/>
                </a:cubicBezTo>
                <a:cubicBezTo>
                  <a:pt x="904635" y="3498829"/>
                  <a:pt x="903037" y="3498563"/>
                  <a:pt x="901041" y="3498563"/>
                </a:cubicBezTo>
                <a:close/>
                <a:moveTo>
                  <a:pt x="683265" y="3498563"/>
                </a:moveTo>
                <a:cubicBezTo>
                  <a:pt x="677408" y="3498563"/>
                  <a:pt x="674879" y="3500558"/>
                  <a:pt x="673282" y="3502157"/>
                </a:cubicBezTo>
                <a:cubicBezTo>
                  <a:pt x="670752" y="3504819"/>
                  <a:pt x="669688" y="3507614"/>
                  <a:pt x="669688" y="3511608"/>
                </a:cubicBezTo>
                <a:cubicBezTo>
                  <a:pt x="669688" y="3515735"/>
                  <a:pt x="670752" y="3518530"/>
                  <a:pt x="673282" y="3521059"/>
                </a:cubicBezTo>
                <a:cubicBezTo>
                  <a:pt x="674879" y="3522657"/>
                  <a:pt x="677408" y="3524520"/>
                  <a:pt x="683265" y="3524520"/>
                </a:cubicBezTo>
                <a:cubicBezTo>
                  <a:pt x="685262" y="3524520"/>
                  <a:pt x="687126" y="3524254"/>
                  <a:pt x="688591" y="3523722"/>
                </a:cubicBezTo>
                <a:cubicBezTo>
                  <a:pt x="690055" y="3523189"/>
                  <a:pt x="691386" y="3522257"/>
                  <a:pt x="692318" y="3521325"/>
                </a:cubicBezTo>
                <a:cubicBezTo>
                  <a:pt x="693382" y="3520127"/>
                  <a:pt x="694314" y="3518796"/>
                  <a:pt x="694981" y="3517066"/>
                </a:cubicBezTo>
                <a:cubicBezTo>
                  <a:pt x="695646" y="3515469"/>
                  <a:pt x="696046" y="3513605"/>
                  <a:pt x="696046" y="3511608"/>
                </a:cubicBezTo>
                <a:cubicBezTo>
                  <a:pt x="696046" y="3509744"/>
                  <a:pt x="695646" y="3508014"/>
                  <a:pt x="694981" y="3506416"/>
                </a:cubicBezTo>
                <a:cubicBezTo>
                  <a:pt x="694314" y="3504686"/>
                  <a:pt x="693382" y="3503355"/>
                  <a:pt x="692318" y="3502157"/>
                </a:cubicBezTo>
                <a:cubicBezTo>
                  <a:pt x="691252" y="3501092"/>
                  <a:pt x="689922" y="3500159"/>
                  <a:pt x="688325" y="3499495"/>
                </a:cubicBezTo>
                <a:cubicBezTo>
                  <a:pt x="686861" y="3498829"/>
                  <a:pt x="685262" y="3498563"/>
                  <a:pt x="683265" y="3498563"/>
                </a:cubicBezTo>
                <a:close/>
                <a:moveTo>
                  <a:pt x="465623" y="3498563"/>
                </a:moveTo>
                <a:cubicBezTo>
                  <a:pt x="459766" y="3498563"/>
                  <a:pt x="457237" y="3500558"/>
                  <a:pt x="455640" y="3502157"/>
                </a:cubicBezTo>
                <a:cubicBezTo>
                  <a:pt x="453110" y="3504819"/>
                  <a:pt x="452046" y="3507614"/>
                  <a:pt x="452046" y="3511608"/>
                </a:cubicBezTo>
                <a:cubicBezTo>
                  <a:pt x="452046" y="3515735"/>
                  <a:pt x="453110" y="3518530"/>
                  <a:pt x="455640" y="3521059"/>
                </a:cubicBezTo>
                <a:cubicBezTo>
                  <a:pt x="457237" y="3522657"/>
                  <a:pt x="459766" y="3524520"/>
                  <a:pt x="465623" y="3524520"/>
                </a:cubicBezTo>
                <a:cubicBezTo>
                  <a:pt x="467620" y="3524520"/>
                  <a:pt x="469484" y="3524254"/>
                  <a:pt x="470948" y="3523722"/>
                </a:cubicBezTo>
                <a:cubicBezTo>
                  <a:pt x="472412" y="3523189"/>
                  <a:pt x="473743" y="3522257"/>
                  <a:pt x="474675" y="3521325"/>
                </a:cubicBezTo>
                <a:cubicBezTo>
                  <a:pt x="475740" y="3520127"/>
                  <a:pt x="476672" y="3518796"/>
                  <a:pt x="477338" y="3517066"/>
                </a:cubicBezTo>
                <a:cubicBezTo>
                  <a:pt x="478003" y="3515469"/>
                  <a:pt x="478403" y="3513605"/>
                  <a:pt x="478403" y="3511608"/>
                </a:cubicBezTo>
                <a:cubicBezTo>
                  <a:pt x="478403" y="3509744"/>
                  <a:pt x="478003" y="3508014"/>
                  <a:pt x="477338" y="3506416"/>
                </a:cubicBezTo>
                <a:cubicBezTo>
                  <a:pt x="476672" y="3504686"/>
                  <a:pt x="475740" y="3503355"/>
                  <a:pt x="474675" y="3502157"/>
                </a:cubicBezTo>
                <a:cubicBezTo>
                  <a:pt x="473610" y="3501092"/>
                  <a:pt x="472279" y="3500159"/>
                  <a:pt x="470682" y="3499495"/>
                </a:cubicBezTo>
                <a:cubicBezTo>
                  <a:pt x="469218" y="3498829"/>
                  <a:pt x="467620" y="3498563"/>
                  <a:pt x="465623" y="3498563"/>
                </a:cubicBezTo>
                <a:close/>
                <a:moveTo>
                  <a:pt x="247980" y="3498563"/>
                </a:moveTo>
                <a:cubicBezTo>
                  <a:pt x="242123" y="3498563"/>
                  <a:pt x="239594" y="3500558"/>
                  <a:pt x="237997" y="3502157"/>
                </a:cubicBezTo>
                <a:cubicBezTo>
                  <a:pt x="235468" y="3504819"/>
                  <a:pt x="234404" y="3507614"/>
                  <a:pt x="234404" y="3511608"/>
                </a:cubicBezTo>
                <a:cubicBezTo>
                  <a:pt x="234404" y="3515735"/>
                  <a:pt x="235468" y="3518530"/>
                  <a:pt x="237997" y="3521059"/>
                </a:cubicBezTo>
                <a:cubicBezTo>
                  <a:pt x="239594" y="3522657"/>
                  <a:pt x="242123" y="3524520"/>
                  <a:pt x="247980" y="3524520"/>
                </a:cubicBezTo>
                <a:cubicBezTo>
                  <a:pt x="250110" y="3524520"/>
                  <a:pt x="251841" y="3524254"/>
                  <a:pt x="253305" y="3523722"/>
                </a:cubicBezTo>
                <a:cubicBezTo>
                  <a:pt x="254769" y="3523189"/>
                  <a:pt x="256100" y="3522257"/>
                  <a:pt x="257032" y="3521325"/>
                </a:cubicBezTo>
                <a:cubicBezTo>
                  <a:pt x="258097" y="3520127"/>
                  <a:pt x="259029" y="3518796"/>
                  <a:pt x="259695" y="3517066"/>
                </a:cubicBezTo>
                <a:cubicBezTo>
                  <a:pt x="260360" y="3515469"/>
                  <a:pt x="260760" y="3513605"/>
                  <a:pt x="260760" y="3511608"/>
                </a:cubicBezTo>
                <a:cubicBezTo>
                  <a:pt x="260760" y="3509744"/>
                  <a:pt x="260360" y="3508014"/>
                  <a:pt x="259695" y="3506416"/>
                </a:cubicBezTo>
                <a:cubicBezTo>
                  <a:pt x="259029" y="3504686"/>
                  <a:pt x="258097" y="3503355"/>
                  <a:pt x="257032" y="3502157"/>
                </a:cubicBezTo>
                <a:cubicBezTo>
                  <a:pt x="255967" y="3501092"/>
                  <a:pt x="254636" y="3500159"/>
                  <a:pt x="253039" y="3499495"/>
                </a:cubicBezTo>
                <a:cubicBezTo>
                  <a:pt x="251574" y="3498829"/>
                  <a:pt x="249977" y="3498563"/>
                  <a:pt x="247980" y="3498563"/>
                </a:cubicBezTo>
                <a:close/>
                <a:moveTo>
                  <a:pt x="30337" y="3498563"/>
                </a:moveTo>
                <a:cubicBezTo>
                  <a:pt x="24480" y="3498563"/>
                  <a:pt x="21951" y="3500558"/>
                  <a:pt x="20354" y="3502157"/>
                </a:cubicBezTo>
                <a:cubicBezTo>
                  <a:pt x="17825" y="3504819"/>
                  <a:pt x="16761" y="3507614"/>
                  <a:pt x="16761" y="3511608"/>
                </a:cubicBezTo>
                <a:cubicBezTo>
                  <a:pt x="16761" y="3515735"/>
                  <a:pt x="17825" y="3518530"/>
                  <a:pt x="20354" y="3521059"/>
                </a:cubicBezTo>
                <a:cubicBezTo>
                  <a:pt x="21951" y="3522657"/>
                  <a:pt x="24480" y="3524520"/>
                  <a:pt x="30337" y="3524520"/>
                </a:cubicBezTo>
                <a:cubicBezTo>
                  <a:pt x="32467" y="3524520"/>
                  <a:pt x="34198" y="3524254"/>
                  <a:pt x="35662" y="3523722"/>
                </a:cubicBezTo>
                <a:cubicBezTo>
                  <a:pt x="37126" y="3523189"/>
                  <a:pt x="38459" y="3522257"/>
                  <a:pt x="39389" y="3521325"/>
                </a:cubicBezTo>
                <a:cubicBezTo>
                  <a:pt x="40455" y="3520127"/>
                  <a:pt x="41387" y="3518796"/>
                  <a:pt x="42053" y="3517066"/>
                </a:cubicBezTo>
                <a:cubicBezTo>
                  <a:pt x="42718" y="3515469"/>
                  <a:pt x="42984" y="3513605"/>
                  <a:pt x="42984" y="3511608"/>
                </a:cubicBezTo>
                <a:cubicBezTo>
                  <a:pt x="42984" y="3509744"/>
                  <a:pt x="42718" y="3508014"/>
                  <a:pt x="42053" y="3506416"/>
                </a:cubicBezTo>
                <a:cubicBezTo>
                  <a:pt x="41387" y="3504686"/>
                  <a:pt x="40455" y="3503355"/>
                  <a:pt x="39389" y="3502157"/>
                </a:cubicBezTo>
                <a:cubicBezTo>
                  <a:pt x="38325" y="3501092"/>
                  <a:pt x="36994" y="3500159"/>
                  <a:pt x="35397" y="3499495"/>
                </a:cubicBezTo>
                <a:cubicBezTo>
                  <a:pt x="33932" y="3498829"/>
                  <a:pt x="32334" y="3498563"/>
                  <a:pt x="30337" y="3498563"/>
                </a:cubicBezTo>
                <a:close/>
                <a:moveTo>
                  <a:pt x="10475977" y="3481923"/>
                </a:moveTo>
                <a:cubicBezTo>
                  <a:pt x="10480237" y="3481923"/>
                  <a:pt x="10484230" y="3482721"/>
                  <a:pt x="10487824" y="3484451"/>
                </a:cubicBezTo>
                <a:cubicBezTo>
                  <a:pt x="10491419" y="3486050"/>
                  <a:pt x="10494613" y="3488179"/>
                  <a:pt x="10497143" y="3490842"/>
                </a:cubicBezTo>
                <a:cubicBezTo>
                  <a:pt x="10499672" y="3493504"/>
                  <a:pt x="10501801" y="3496699"/>
                  <a:pt x="10503266" y="3500292"/>
                </a:cubicBezTo>
                <a:cubicBezTo>
                  <a:pt x="10504730" y="3503887"/>
                  <a:pt x="10505529" y="3507614"/>
                  <a:pt x="10505529" y="3511741"/>
                </a:cubicBezTo>
                <a:cubicBezTo>
                  <a:pt x="10505529" y="3515868"/>
                  <a:pt x="10504730" y="3519862"/>
                  <a:pt x="10503266" y="3523456"/>
                </a:cubicBezTo>
                <a:cubicBezTo>
                  <a:pt x="10501669" y="3527050"/>
                  <a:pt x="10499672" y="3530111"/>
                  <a:pt x="10497143" y="3532774"/>
                </a:cubicBezTo>
                <a:cubicBezTo>
                  <a:pt x="10494480" y="3535437"/>
                  <a:pt x="10491419" y="3537566"/>
                  <a:pt x="10487824" y="3539030"/>
                </a:cubicBezTo>
                <a:cubicBezTo>
                  <a:pt x="10484098" y="3540494"/>
                  <a:pt x="10480237" y="3541293"/>
                  <a:pt x="10475977" y="3541293"/>
                </a:cubicBezTo>
                <a:cubicBezTo>
                  <a:pt x="10466924" y="3541293"/>
                  <a:pt x="10459736" y="3538365"/>
                  <a:pt x="10454145" y="3532774"/>
                </a:cubicBezTo>
                <a:cubicBezTo>
                  <a:pt x="10448554" y="3527050"/>
                  <a:pt x="10445759" y="3520127"/>
                  <a:pt x="10445759" y="3511608"/>
                </a:cubicBezTo>
                <a:cubicBezTo>
                  <a:pt x="10445759" y="3503355"/>
                  <a:pt x="10448554" y="3496299"/>
                  <a:pt x="10454145" y="3490575"/>
                </a:cubicBezTo>
                <a:cubicBezTo>
                  <a:pt x="10459603" y="3484717"/>
                  <a:pt x="10466924" y="3481923"/>
                  <a:pt x="10475977" y="3481923"/>
                </a:cubicBezTo>
                <a:close/>
                <a:moveTo>
                  <a:pt x="10258466" y="3481923"/>
                </a:moveTo>
                <a:cubicBezTo>
                  <a:pt x="10262592" y="3481923"/>
                  <a:pt x="10266586" y="3482721"/>
                  <a:pt x="10270313" y="3484451"/>
                </a:cubicBezTo>
                <a:cubicBezTo>
                  <a:pt x="10273907" y="3486050"/>
                  <a:pt x="10277101" y="3488179"/>
                  <a:pt x="10279631" y="3490842"/>
                </a:cubicBezTo>
                <a:cubicBezTo>
                  <a:pt x="10282160" y="3493504"/>
                  <a:pt x="10284290" y="3496699"/>
                  <a:pt x="10285754" y="3500292"/>
                </a:cubicBezTo>
                <a:cubicBezTo>
                  <a:pt x="10287218" y="3503887"/>
                  <a:pt x="10288017" y="3507614"/>
                  <a:pt x="10288017" y="3511741"/>
                </a:cubicBezTo>
                <a:cubicBezTo>
                  <a:pt x="10288017" y="3515868"/>
                  <a:pt x="10287218" y="3519862"/>
                  <a:pt x="10285754" y="3523456"/>
                </a:cubicBezTo>
                <a:cubicBezTo>
                  <a:pt x="10284157" y="3527050"/>
                  <a:pt x="10282160" y="3530111"/>
                  <a:pt x="10279631" y="3532774"/>
                </a:cubicBezTo>
                <a:cubicBezTo>
                  <a:pt x="10276969" y="3535437"/>
                  <a:pt x="10273907" y="3537566"/>
                  <a:pt x="10270313" y="3539030"/>
                </a:cubicBezTo>
                <a:cubicBezTo>
                  <a:pt x="10266586" y="3540494"/>
                  <a:pt x="10262725" y="3541293"/>
                  <a:pt x="10258466" y="3541293"/>
                </a:cubicBezTo>
                <a:cubicBezTo>
                  <a:pt x="10249546" y="3541293"/>
                  <a:pt x="10242224" y="3538365"/>
                  <a:pt x="10236633" y="3532774"/>
                </a:cubicBezTo>
                <a:cubicBezTo>
                  <a:pt x="10231043" y="3527050"/>
                  <a:pt x="10228247" y="3520127"/>
                  <a:pt x="10228247" y="3511608"/>
                </a:cubicBezTo>
                <a:cubicBezTo>
                  <a:pt x="10228247" y="3503355"/>
                  <a:pt x="10231043" y="3496299"/>
                  <a:pt x="10236633" y="3490575"/>
                </a:cubicBezTo>
                <a:cubicBezTo>
                  <a:pt x="10242092" y="3484717"/>
                  <a:pt x="10249413" y="3481923"/>
                  <a:pt x="10258466" y="3481923"/>
                </a:cubicBezTo>
                <a:close/>
                <a:moveTo>
                  <a:pt x="10040820" y="3481923"/>
                </a:moveTo>
                <a:cubicBezTo>
                  <a:pt x="10045080" y="3481923"/>
                  <a:pt x="10048941" y="3482721"/>
                  <a:pt x="10052534" y="3484451"/>
                </a:cubicBezTo>
                <a:cubicBezTo>
                  <a:pt x="10056129" y="3486050"/>
                  <a:pt x="10059323" y="3488179"/>
                  <a:pt x="10061852" y="3490842"/>
                </a:cubicBezTo>
                <a:cubicBezTo>
                  <a:pt x="10064382" y="3493504"/>
                  <a:pt x="10066512" y="3496699"/>
                  <a:pt x="10067976" y="3500292"/>
                </a:cubicBezTo>
                <a:cubicBezTo>
                  <a:pt x="10069440" y="3503887"/>
                  <a:pt x="10070239" y="3507614"/>
                  <a:pt x="10070239" y="3511741"/>
                </a:cubicBezTo>
                <a:cubicBezTo>
                  <a:pt x="10070239" y="3515868"/>
                  <a:pt x="10069440" y="3519862"/>
                  <a:pt x="10067976" y="3523456"/>
                </a:cubicBezTo>
                <a:cubicBezTo>
                  <a:pt x="10066379" y="3527050"/>
                  <a:pt x="10064382" y="3530111"/>
                  <a:pt x="10061852" y="3532774"/>
                </a:cubicBezTo>
                <a:cubicBezTo>
                  <a:pt x="10059190" y="3535437"/>
                  <a:pt x="10056129" y="3537566"/>
                  <a:pt x="10052534" y="3539030"/>
                </a:cubicBezTo>
                <a:cubicBezTo>
                  <a:pt x="10048941" y="3540494"/>
                  <a:pt x="10045080" y="3541293"/>
                  <a:pt x="10040820" y="3541293"/>
                </a:cubicBezTo>
                <a:cubicBezTo>
                  <a:pt x="10031767" y="3541293"/>
                  <a:pt x="10024579" y="3538365"/>
                  <a:pt x="10018988" y="3532774"/>
                </a:cubicBezTo>
                <a:cubicBezTo>
                  <a:pt x="10013397" y="3527050"/>
                  <a:pt x="10010602" y="3520127"/>
                  <a:pt x="10010602" y="3511608"/>
                </a:cubicBezTo>
                <a:cubicBezTo>
                  <a:pt x="10010602" y="3503355"/>
                  <a:pt x="10013397" y="3496299"/>
                  <a:pt x="10018988" y="3490575"/>
                </a:cubicBezTo>
                <a:cubicBezTo>
                  <a:pt x="10024579" y="3484717"/>
                  <a:pt x="10031767" y="3481923"/>
                  <a:pt x="10040820" y="3481923"/>
                </a:cubicBezTo>
                <a:close/>
                <a:moveTo>
                  <a:pt x="9823176" y="3481923"/>
                </a:moveTo>
                <a:cubicBezTo>
                  <a:pt x="9827435" y="3481923"/>
                  <a:pt x="9831296" y="3482721"/>
                  <a:pt x="9834890" y="3484451"/>
                </a:cubicBezTo>
                <a:cubicBezTo>
                  <a:pt x="9838617" y="3486050"/>
                  <a:pt x="9841679" y="3488179"/>
                  <a:pt x="9844208" y="3490842"/>
                </a:cubicBezTo>
                <a:cubicBezTo>
                  <a:pt x="9846737" y="3493504"/>
                  <a:pt x="9848867" y="3496699"/>
                  <a:pt x="9850331" y="3500292"/>
                </a:cubicBezTo>
                <a:cubicBezTo>
                  <a:pt x="9851796" y="3503887"/>
                  <a:pt x="9852595" y="3507614"/>
                  <a:pt x="9852595" y="3511741"/>
                </a:cubicBezTo>
                <a:cubicBezTo>
                  <a:pt x="9852595" y="3515868"/>
                  <a:pt x="9851796" y="3519862"/>
                  <a:pt x="9850331" y="3523456"/>
                </a:cubicBezTo>
                <a:cubicBezTo>
                  <a:pt x="9848734" y="3527050"/>
                  <a:pt x="9846737" y="3530111"/>
                  <a:pt x="9844208" y="3532774"/>
                </a:cubicBezTo>
                <a:cubicBezTo>
                  <a:pt x="9841546" y="3535437"/>
                  <a:pt x="9838484" y="3537566"/>
                  <a:pt x="9834890" y="3539030"/>
                </a:cubicBezTo>
                <a:cubicBezTo>
                  <a:pt x="9831296" y="3540494"/>
                  <a:pt x="9827435" y="3541293"/>
                  <a:pt x="9823176" y="3541293"/>
                </a:cubicBezTo>
                <a:cubicBezTo>
                  <a:pt x="9814123" y="3541293"/>
                  <a:pt x="9806935" y="3538365"/>
                  <a:pt x="9801343" y="3532774"/>
                </a:cubicBezTo>
                <a:cubicBezTo>
                  <a:pt x="9795753" y="3527050"/>
                  <a:pt x="9792957" y="3520127"/>
                  <a:pt x="9792957" y="3511608"/>
                </a:cubicBezTo>
                <a:cubicBezTo>
                  <a:pt x="9792957" y="3503355"/>
                  <a:pt x="9795753" y="3496299"/>
                  <a:pt x="9801343" y="3490575"/>
                </a:cubicBezTo>
                <a:cubicBezTo>
                  <a:pt x="9806935" y="3484717"/>
                  <a:pt x="9814123" y="3481923"/>
                  <a:pt x="9823176" y="3481923"/>
                </a:cubicBezTo>
                <a:close/>
                <a:moveTo>
                  <a:pt x="9605531" y="3481923"/>
                </a:moveTo>
                <a:cubicBezTo>
                  <a:pt x="9609790" y="3481923"/>
                  <a:pt x="9613784" y="3482721"/>
                  <a:pt x="9617245" y="3484451"/>
                </a:cubicBezTo>
                <a:cubicBezTo>
                  <a:pt x="9620839" y="3486050"/>
                  <a:pt x="9624033" y="3488179"/>
                  <a:pt x="9626562" y="3490842"/>
                </a:cubicBezTo>
                <a:cubicBezTo>
                  <a:pt x="9629092" y="3493504"/>
                  <a:pt x="9631222" y="3496699"/>
                  <a:pt x="9632686" y="3500292"/>
                </a:cubicBezTo>
                <a:cubicBezTo>
                  <a:pt x="9634150" y="3503887"/>
                  <a:pt x="9634949" y="3507614"/>
                  <a:pt x="9634949" y="3511741"/>
                </a:cubicBezTo>
                <a:cubicBezTo>
                  <a:pt x="9634949" y="3515868"/>
                  <a:pt x="9634150" y="3519862"/>
                  <a:pt x="9632686" y="3523456"/>
                </a:cubicBezTo>
                <a:cubicBezTo>
                  <a:pt x="9631089" y="3527050"/>
                  <a:pt x="9629092" y="3530111"/>
                  <a:pt x="9626562" y="3532774"/>
                </a:cubicBezTo>
                <a:cubicBezTo>
                  <a:pt x="9623901" y="3535437"/>
                  <a:pt x="9620839" y="3537566"/>
                  <a:pt x="9617245" y="3539030"/>
                </a:cubicBezTo>
                <a:cubicBezTo>
                  <a:pt x="9613651" y="3540494"/>
                  <a:pt x="9609790" y="3541293"/>
                  <a:pt x="9605531" y="3541293"/>
                </a:cubicBezTo>
                <a:cubicBezTo>
                  <a:pt x="9596610" y="3541293"/>
                  <a:pt x="9589289" y="3538365"/>
                  <a:pt x="9583698" y="3532774"/>
                </a:cubicBezTo>
                <a:cubicBezTo>
                  <a:pt x="9578108" y="3527050"/>
                  <a:pt x="9575312" y="3520127"/>
                  <a:pt x="9575312" y="3511608"/>
                </a:cubicBezTo>
                <a:cubicBezTo>
                  <a:pt x="9575312" y="3503355"/>
                  <a:pt x="9578108" y="3496299"/>
                  <a:pt x="9583698" y="3490575"/>
                </a:cubicBezTo>
                <a:cubicBezTo>
                  <a:pt x="9589289" y="3484717"/>
                  <a:pt x="9596478" y="3481923"/>
                  <a:pt x="9605531" y="3481923"/>
                </a:cubicBezTo>
                <a:close/>
                <a:moveTo>
                  <a:pt x="9387885" y="3481923"/>
                </a:moveTo>
                <a:cubicBezTo>
                  <a:pt x="9392145" y="3481923"/>
                  <a:pt x="9396138" y="3482721"/>
                  <a:pt x="9399599" y="3484451"/>
                </a:cubicBezTo>
                <a:cubicBezTo>
                  <a:pt x="9403194" y="3486050"/>
                  <a:pt x="9406388" y="3488179"/>
                  <a:pt x="9408917" y="3490842"/>
                </a:cubicBezTo>
                <a:cubicBezTo>
                  <a:pt x="9411447" y="3493504"/>
                  <a:pt x="9413576" y="3496699"/>
                  <a:pt x="9415041" y="3500292"/>
                </a:cubicBezTo>
                <a:cubicBezTo>
                  <a:pt x="9416505" y="3503887"/>
                  <a:pt x="9417304" y="3507614"/>
                  <a:pt x="9417304" y="3511741"/>
                </a:cubicBezTo>
                <a:cubicBezTo>
                  <a:pt x="9417304" y="3515868"/>
                  <a:pt x="9416505" y="3519862"/>
                  <a:pt x="9415041" y="3523456"/>
                </a:cubicBezTo>
                <a:cubicBezTo>
                  <a:pt x="9413444" y="3527050"/>
                  <a:pt x="9411447" y="3530111"/>
                  <a:pt x="9408917" y="3532774"/>
                </a:cubicBezTo>
                <a:cubicBezTo>
                  <a:pt x="9406255" y="3535437"/>
                  <a:pt x="9403194" y="3537566"/>
                  <a:pt x="9399599" y="3539030"/>
                </a:cubicBezTo>
                <a:cubicBezTo>
                  <a:pt x="9396005" y="3540494"/>
                  <a:pt x="9392145" y="3541293"/>
                  <a:pt x="9387885" y="3541293"/>
                </a:cubicBezTo>
                <a:cubicBezTo>
                  <a:pt x="9378965" y="3541293"/>
                  <a:pt x="9371644" y="3538365"/>
                  <a:pt x="9366053" y="3532774"/>
                </a:cubicBezTo>
                <a:cubicBezTo>
                  <a:pt x="9360462" y="3527050"/>
                  <a:pt x="9357667" y="3520127"/>
                  <a:pt x="9357667" y="3511608"/>
                </a:cubicBezTo>
                <a:cubicBezTo>
                  <a:pt x="9357667" y="3503355"/>
                  <a:pt x="9360462" y="3496299"/>
                  <a:pt x="9366053" y="3490575"/>
                </a:cubicBezTo>
                <a:cubicBezTo>
                  <a:pt x="9371644" y="3484717"/>
                  <a:pt x="9378832" y="3481923"/>
                  <a:pt x="9387885" y="3481923"/>
                </a:cubicBezTo>
                <a:close/>
                <a:moveTo>
                  <a:pt x="9170374" y="3481923"/>
                </a:moveTo>
                <a:cubicBezTo>
                  <a:pt x="9174500" y="3481923"/>
                  <a:pt x="9178494" y="3482721"/>
                  <a:pt x="9182088" y="3484451"/>
                </a:cubicBezTo>
                <a:cubicBezTo>
                  <a:pt x="9185682" y="3486050"/>
                  <a:pt x="9188876" y="3488179"/>
                  <a:pt x="9191405" y="3490842"/>
                </a:cubicBezTo>
                <a:cubicBezTo>
                  <a:pt x="9193935" y="3493504"/>
                  <a:pt x="9196065" y="3496699"/>
                  <a:pt x="9197529" y="3500292"/>
                </a:cubicBezTo>
                <a:cubicBezTo>
                  <a:pt x="9198993" y="3503887"/>
                  <a:pt x="9199792" y="3507614"/>
                  <a:pt x="9199792" y="3511741"/>
                </a:cubicBezTo>
                <a:cubicBezTo>
                  <a:pt x="9199792" y="3515868"/>
                  <a:pt x="9198993" y="3519862"/>
                  <a:pt x="9197529" y="3523456"/>
                </a:cubicBezTo>
                <a:cubicBezTo>
                  <a:pt x="9195932" y="3527050"/>
                  <a:pt x="9193935" y="3530111"/>
                  <a:pt x="9191405" y="3532774"/>
                </a:cubicBezTo>
                <a:cubicBezTo>
                  <a:pt x="9188744" y="3535437"/>
                  <a:pt x="9185682" y="3537566"/>
                  <a:pt x="9182088" y="3539030"/>
                </a:cubicBezTo>
                <a:cubicBezTo>
                  <a:pt x="9178494" y="3540494"/>
                  <a:pt x="9174633" y="3541293"/>
                  <a:pt x="9170374" y="3541293"/>
                </a:cubicBezTo>
                <a:cubicBezTo>
                  <a:pt x="9161453" y="3541293"/>
                  <a:pt x="9154132" y="3538365"/>
                  <a:pt x="9148541" y="3532774"/>
                </a:cubicBezTo>
                <a:cubicBezTo>
                  <a:pt x="9142951" y="3527050"/>
                  <a:pt x="9140155" y="3520127"/>
                  <a:pt x="9140155" y="3511608"/>
                </a:cubicBezTo>
                <a:cubicBezTo>
                  <a:pt x="9140155" y="3503355"/>
                  <a:pt x="9142951" y="3496299"/>
                  <a:pt x="9148541" y="3490575"/>
                </a:cubicBezTo>
                <a:cubicBezTo>
                  <a:pt x="9154132" y="3484717"/>
                  <a:pt x="9161321" y="3481923"/>
                  <a:pt x="9170374" y="3481923"/>
                </a:cubicBezTo>
                <a:close/>
                <a:moveTo>
                  <a:pt x="8952728" y="3481923"/>
                </a:moveTo>
                <a:cubicBezTo>
                  <a:pt x="8956988" y="3481923"/>
                  <a:pt x="8960849" y="3482721"/>
                  <a:pt x="8964442" y="3484451"/>
                </a:cubicBezTo>
                <a:cubicBezTo>
                  <a:pt x="8968037" y="3486050"/>
                  <a:pt x="8971231" y="3488179"/>
                  <a:pt x="8973760" y="3490842"/>
                </a:cubicBezTo>
                <a:cubicBezTo>
                  <a:pt x="8976290" y="3493504"/>
                  <a:pt x="8978419" y="3496699"/>
                  <a:pt x="8979884" y="3500292"/>
                </a:cubicBezTo>
                <a:cubicBezTo>
                  <a:pt x="8981348" y="3503887"/>
                  <a:pt x="8982147" y="3507614"/>
                  <a:pt x="8982147" y="3511741"/>
                </a:cubicBezTo>
                <a:cubicBezTo>
                  <a:pt x="8982147" y="3515868"/>
                  <a:pt x="8981348" y="3519862"/>
                  <a:pt x="8979884" y="3523456"/>
                </a:cubicBezTo>
                <a:cubicBezTo>
                  <a:pt x="8978287" y="3527050"/>
                  <a:pt x="8976290" y="3530111"/>
                  <a:pt x="8973760" y="3532774"/>
                </a:cubicBezTo>
                <a:cubicBezTo>
                  <a:pt x="8971098" y="3535437"/>
                  <a:pt x="8968037" y="3537566"/>
                  <a:pt x="8964442" y="3539030"/>
                </a:cubicBezTo>
                <a:cubicBezTo>
                  <a:pt x="8960849" y="3540494"/>
                  <a:pt x="8956988" y="3541293"/>
                  <a:pt x="8952728" y="3541293"/>
                </a:cubicBezTo>
                <a:cubicBezTo>
                  <a:pt x="8943808" y="3541293"/>
                  <a:pt x="8936487" y="3538365"/>
                  <a:pt x="8930896" y="3532774"/>
                </a:cubicBezTo>
                <a:cubicBezTo>
                  <a:pt x="8925305" y="3527050"/>
                  <a:pt x="8922510" y="3520127"/>
                  <a:pt x="8922510" y="3511608"/>
                </a:cubicBezTo>
                <a:cubicBezTo>
                  <a:pt x="8922510" y="3503355"/>
                  <a:pt x="8925305" y="3496299"/>
                  <a:pt x="8930896" y="3490575"/>
                </a:cubicBezTo>
                <a:cubicBezTo>
                  <a:pt x="8936487" y="3484717"/>
                  <a:pt x="8943675" y="3481923"/>
                  <a:pt x="8952728" y="3481923"/>
                </a:cubicBezTo>
                <a:close/>
                <a:moveTo>
                  <a:pt x="8735083" y="3481923"/>
                </a:moveTo>
                <a:cubicBezTo>
                  <a:pt x="8739342" y="3481923"/>
                  <a:pt x="8743203" y="3482721"/>
                  <a:pt x="8746797" y="3484451"/>
                </a:cubicBezTo>
                <a:cubicBezTo>
                  <a:pt x="8750391" y="3486050"/>
                  <a:pt x="8753586" y="3488179"/>
                  <a:pt x="8756115" y="3490842"/>
                </a:cubicBezTo>
                <a:cubicBezTo>
                  <a:pt x="8758644" y="3493504"/>
                  <a:pt x="8760774" y="3496699"/>
                  <a:pt x="8762238" y="3500292"/>
                </a:cubicBezTo>
                <a:cubicBezTo>
                  <a:pt x="8763702" y="3503887"/>
                  <a:pt x="8764502" y="3507614"/>
                  <a:pt x="8764502" y="3511741"/>
                </a:cubicBezTo>
                <a:cubicBezTo>
                  <a:pt x="8764502" y="3515868"/>
                  <a:pt x="8763702" y="3519862"/>
                  <a:pt x="8762238" y="3523456"/>
                </a:cubicBezTo>
                <a:cubicBezTo>
                  <a:pt x="8760641" y="3527050"/>
                  <a:pt x="8758644" y="3530111"/>
                  <a:pt x="8756115" y="3532774"/>
                </a:cubicBezTo>
                <a:cubicBezTo>
                  <a:pt x="8753453" y="3535437"/>
                  <a:pt x="8750391" y="3537566"/>
                  <a:pt x="8746797" y="3539030"/>
                </a:cubicBezTo>
                <a:cubicBezTo>
                  <a:pt x="8743203" y="3540494"/>
                  <a:pt x="8739342" y="3541293"/>
                  <a:pt x="8735083" y="3541293"/>
                </a:cubicBezTo>
                <a:cubicBezTo>
                  <a:pt x="8726030" y="3541293"/>
                  <a:pt x="8718841" y="3538365"/>
                  <a:pt x="8713250" y="3532774"/>
                </a:cubicBezTo>
                <a:cubicBezTo>
                  <a:pt x="8707660" y="3527050"/>
                  <a:pt x="8704864" y="3520127"/>
                  <a:pt x="8704864" y="3511608"/>
                </a:cubicBezTo>
                <a:cubicBezTo>
                  <a:pt x="8704864" y="3503355"/>
                  <a:pt x="8707660" y="3496299"/>
                  <a:pt x="8713250" y="3490575"/>
                </a:cubicBezTo>
                <a:cubicBezTo>
                  <a:pt x="8718841" y="3484717"/>
                  <a:pt x="8726030" y="3481923"/>
                  <a:pt x="8735083" y="3481923"/>
                </a:cubicBezTo>
                <a:close/>
                <a:moveTo>
                  <a:pt x="8517438" y="3481923"/>
                </a:moveTo>
                <a:cubicBezTo>
                  <a:pt x="8521698" y="3481923"/>
                  <a:pt x="8525559" y="3482721"/>
                  <a:pt x="8529152" y="3484451"/>
                </a:cubicBezTo>
                <a:cubicBezTo>
                  <a:pt x="8532880" y="3486050"/>
                  <a:pt x="8535941" y="3488179"/>
                  <a:pt x="8538470" y="3490842"/>
                </a:cubicBezTo>
                <a:cubicBezTo>
                  <a:pt x="8541000" y="3493504"/>
                  <a:pt x="8543130" y="3496699"/>
                  <a:pt x="8544594" y="3500292"/>
                </a:cubicBezTo>
                <a:cubicBezTo>
                  <a:pt x="8546058" y="3503887"/>
                  <a:pt x="8546857" y="3507614"/>
                  <a:pt x="8546857" y="3511741"/>
                </a:cubicBezTo>
                <a:cubicBezTo>
                  <a:pt x="8546857" y="3515868"/>
                  <a:pt x="8546058" y="3519862"/>
                  <a:pt x="8544594" y="3523456"/>
                </a:cubicBezTo>
                <a:cubicBezTo>
                  <a:pt x="8542997" y="3527050"/>
                  <a:pt x="8541000" y="3530111"/>
                  <a:pt x="8538470" y="3532774"/>
                </a:cubicBezTo>
                <a:cubicBezTo>
                  <a:pt x="8535808" y="3535437"/>
                  <a:pt x="8532747" y="3537566"/>
                  <a:pt x="8529152" y="3539030"/>
                </a:cubicBezTo>
                <a:cubicBezTo>
                  <a:pt x="8525559" y="3540494"/>
                  <a:pt x="8521698" y="3541293"/>
                  <a:pt x="8517438" y="3541293"/>
                </a:cubicBezTo>
                <a:cubicBezTo>
                  <a:pt x="8508385" y="3541293"/>
                  <a:pt x="8501197" y="3538365"/>
                  <a:pt x="8495606" y="3532774"/>
                </a:cubicBezTo>
                <a:cubicBezTo>
                  <a:pt x="8490015" y="3527050"/>
                  <a:pt x="8487220" y="3520127"/>
                  <a:pt x="8487220" y="3511608"/>
                </a:cubicBezTo>
                <a:cubicBezTo>
                  <a:pt x="8487220" y="3503355"/>
                  <a:pt x="8490015" y="3496299"/>
                  <a:pt x="8495606" y="3490575"/>
                </a:cubicBezTo>
                <a:cubicBezTo>
                  <a:pt x="8501197" y="3484717"/>
                  <a:pt x="8508385" y="3481923"/>
                  <a:pt x="8517438" y="3481923"/>
                </a:cubicBezTo>
                <a:close/>
                <a:moveTo>
                  <a:pt x="8299793" y="3481923"/>
                </a:moveTo>
                <a:cubicBezTo>
                  <a:pt x="8304052" y="3481923"/>
                  <a:pt x="8308046" y="3482721"/>
                  <a:pt x="8311507" y="3484451"/>
                </a:cubicBezTo>
                <a:cubicBezTo>
                  <a:pt x="8315235" y="3486050"/>
                  <a:pt x="8318296" y="3488179"/>
                  <a:pt x="8320825" y="3490842"/>
                </a:cubicBezTo>
                <a:cubicBezTo>
                  <a:pt x="8323354" y="3493504"/>
                  <a:pt x="8325484" y="3496699"/>
                  <a:pt x="8326948" y="3500292"/>
                </a:cubicBezTo>
                <a:cubicBezTo>
                  <a:pt x="8328413" y="3503887"/>
                  <a:pt x="8329212" y="3507614"/>
                  <a:pt x="8329212" y="3511741"/>
                </a:cubicBezTo>
                <a:cubicBezTo>
                  <a:pt x="8329212" y="3515868"/>
                  <a:pt x="8328413" y="3519862"/>
                  <a:pt x="8326948" y="3523456"/>
                </a:cubicBezTo>
                <a:cubicBezTo>
                  <a:pt x="8325351" y="3527050"/>
                  <a:pt x="8323354" y="3530111"/>
                  <a:pt x="8320825" y="3532774"/>
                </a:cubicBezTo>
                <a:cubicBezTo>
                  <a:pt x="8318163" y="3535437"/>
                  <a:pt x="8315101" y="3537566"/>
                  <a:pt x="8311507" y="3539030"/>
                </a:cubicBezTo>
                <a:cubicBezTo>
                  <a:pt x="8307913" y="3540494"/>
                  <a:pt x="8304052" y="3541293"/>
                  <a:pt x="8299793" y="3541293"/>
                </a:cubicBezTo>
                <a:cubicBezTo>
                  <a:pt x="8290874" y="3541293"/>
                  <a:pt x="8283553" y="3538365"/>
                  <a:pt x="8277960" y="3532774"/>
                </a:cubicBezTo>
                <a:cubicBezTo>
                  <a:pt x="8272370" y="3527050"/>
                  <a:pt x="8269574" y="3520127"/>
                  <a:pt x="8269574" y="3511608"/>
                </a:cubicBezTo>
                <a:cubicBezTo>
                  <a:pt x="8269574" y="3503355"/>
                  <a:pt x="8272370" y="3496299"/>
                  <a:pt x="8277960" y="3490575"/>
                </a:cubicBezTo>
                <a:cubicBezTo>
                  <a:pt x="8283553" y="3484717"/>
                  <a:pt x="8290741" y="3481923"/>
                  <a:pt x="8299793" y="3481923"/>
                </a:cubicBezTo>
                <a:close/>
                <a:moveTo>
                  <a:pt x="8082281" y="3481923"/>
                </a:moveTo>
                <a:cubicBezTo>
                  <a:pt x="8086407" y="3481923"/>
                  <a:pt x="8090401" y="3482721"/>
                  <a:pt x="8094127" y="3484451"/>
                </a:cubicBezTo>
                <a:cubicBezTo>
                  <a:pt x="8097855" y="3486050"/>
                  <a:pt x="8100916" y="3488179"/>
                  <a:pt x="8103446" y="3490842"/>
                </a:cubicBezTo>
                <a:cubicBezTo>
                  <a:pt x="8105975" y="3493504"/>
                  <a:pt x="8108104" y="3496699"/>
                  <a:pt x="8109569" y="3500292"/>
                </a:cubicBezTo>
                <a:cubicBezTo>
                  <a:pt x="8111033" y="3503887"/>
                  <a:pt x="8111832" y="3507614"/>
                  <a:pt x="8111832" y="3511741"/>
                </a:cubicBezTo>
                <a:cubicBezTo>
                  <a:pt x="8111832" y="3515868"/>
                  <a:pt x="8111033" y="3519862"/>
                  <a:pt x="8109569" y="3523456"/>
                </a:cubicBezTo>
                <a:cubicBezTo>
                  <a:pt x="8107972" y="3527050"/>
                  <a:pt x="8105975" y="3530111"/>
                  <a:pt x="8103446" y="3532774"/>
                </a:cubicBezTo>
                <a:cubicBezTo>
                  <a:pt x="8100783" y="3535437"/>
                  <a:pt x="8097722" y="3537566"/>
                  <a:pt x="8094127" y="3539030"/>
                </a:cubicBezTo>
                <a:cubicBezTo>
                  <a:pt x="8090401" y="3540494"/>
                  <a:pt x="8086540" y="3541293"/>
                  <a:pt x="8082281" y="3541293"/>
                </a:cubicBezTo>
                <a:cubicBezTo>
                  <a:pt x="8073361" y="3541293"/>
                  <a:pt x="8066040" y="3538365"/>
                  <a:pt x="8060448" y="3532774"/>
                </a:cubicBezTo>
                <a:cubicBezTo>
                  <a:pt x="8054857" y="3527050"/>
                  <a:pt x="8052062" y="3520127"/>
                  <a:pt x="8052062" y="3511608"/>
                </a:cubicBezTo>
                <a:cubicBezTo>
                  <a:pt x="8052062" y="3503355"/>
                  <a:pt x="8054857" y="3496299"/>
                  <a:pt x="8060448" y="3490575"/>
                </a:cubicBezTo>
                <a:cubicBezTo>
                  <a:pt x="8066040" y="3484717"/>
                  <a:pt x="8073228" y="3481923"/>
                  <a:pt x="8082281" y="3481923"/>
                </a:cubicBezTo>
                <a:close/>
                <a:moveTo>
                  <a:pt x="7864636" y="3481923"/>
                </a:moveTo>
                <a:cubicBezTo>
                  <a:pt x="7868762" y="3481923"/>
                  <a:pt x="7872756" y="3482721"/>
                  <a:pt x="7876483" y="3484451"/>
                </a:cubicBezTo>
                <a:cubicBezTo>
                  <a:pt x="7880210" y="3486050"/>
                  <a:pt x="7883272" y="3488179"/>
                  <a:pt x="7885802" y="3490842"/>
                </a:cubicBezTo>
                <a:cubicBezTo>
                  <a:pt x="7888331" y="3493504"/>
                  <a:pt x="7890460" y="3496699"/>
                  <a:pt x="7891924" y="3500292"/>
                </a:cubicBezTo>
                <a:cubicBezTo>
                  <a:pt x="7893389" y="3503887"/>
                  <a:pt x="7894188" y="3507614"/>
                  <a:pt x="7894188" y="3511741"/>
                </a:cubicBezTo>
                <a:cubicBezTo>
                  <a:pt x="7894188" y="3515868"/>
                  <a:pt x="7893389" y="3519862"/>
                  <a:pt x="7891924" y="3523456"/>
                </a:cubicBezTo>
                <a:cubicBezTo>
                  <a:pt x="7890327" y="3527050"/>
                  <a:pt x="7888331" y="3530111"/>
                  <a:pt x="7885802" y="3532774"/>
                </a:cubicBezTo>
                <a:cubicBezTo>
                  <a:pt x="7883139" y="3535437"/>
                  <a:pt x="7880078" y="3537566"/>
                  <a:pt x="7876483" y="3539030"/>
                </a:cubicBezTo>
                <a:cubicBezTo>
                  <a:pt x="7872756" y="3540494"/>
                  <a:pt x="7868895" y="3541293"/>
                  <a:pt x="7864636" y="3541293"/>
                </a:cubicBezTo>
                <a:cubicBezTo>
                  <a:pt x="7855717" y="3541293"/>
                  <a:pt x="7848396" y="3538365"/>
                  <a:pt x="7842803" y="3532774"/>
                </a:cubicBezTo>
                <a:cubicBezTo>
                  <a:pt x="7837213" y="3527050"/>
                  <a:pt x="7834417" y="3520127"/>
                  <a:pt x="7834417" y="3511608"/>
                </a:cubicBezTo>
                <a:cubicBezTo>
                  <a:pt x="7834417" y="3503355"/>
                  <a:pt x="7837213" y="3496299"/>
                  <a:pt x="7842803" y="3490575"/>
                </a:cubicBezTo>
                <a:cubicBezTo>
                  <a:pt x="7848396" y="3484717"/>
                  <a:pt x="7855584" y="3481923"/>
                  <a:pt x="7864636" y="3481923"/>
                </a:cubicBezTo>
                <a:close/>
                <a:moveTo>
                  <a:pt x="7646991" y="3481923"/>
                </a:moveTo>
                <a:cubicBezTo>
                  <a:pt x="7651250" y="3481923"/>
                  <a:pt x="7655111" y="3482721"/>
                  <a:pt x="7658705" y="3484451"/>
                </a:cubicBezTo>
                <a:cubicBezTo>
                  <a:pt x="7662432" y="3486050"/>
                  <a:pt x="7665493" y="3488179"/>
                  <a:pt x="7668022" y="3490842"/>
                </a:cubicBezTo>
                <a:cubicBezTo>
                  <a:pt x="7670552" y="3493504"/>
                  <a:pt x="7672682" y="3496699"/>
                  <a:pt x="7674146" y="3500292"/>
                </a:cubicBezTo>
                <a:cubicBezTo>
                  <a:pt x="7675610" y="3503887"/>
                  <a:pt x="7676409" y="3507614"/>
                  <a:pt x="7676409" y="3511741"/>
                </a:cubicBezTo>
                <a:cubicBezTo>
                  <a:pt x="7676409" y="3515868"/>
                  <a:pt x="7675610" y="3519862"/>
                  <a:pt x="7674146" y="3523456"/>
                </a:cubicBezTo>
                <a:cubicBezTo>
                  <a:pt x="7672549" y="3527050"/>
                  <a:pt x="7670552" y="3530111"/>
                  <a:pt x="7668022" y="3532774"/>
                </a:cubicBezTo>
                <a:cubicBezTo>
                  <a:pt x="7665361" y="3535437"/>
                  <a:pt x="7662299" y="3537566"/>
                  <a:pt x="7658705" y="3539030"/>
                </a:cubicBezTo>
                <a:cubicBezTo>
                  <a:pt x="7655111" y="3540494"/>
                  <a:pt x="7651250" y="3541293"/>
                  <a:pt x="7646991" y="3541293"/>
                </a:cubicBezTo>
                <a:cubicBezTo>
                  <a:pt x="7638071" y="3541293"/>
                  <a:pt x="7630750" y="3538365"/>
                  <a:pt x="7625158" y="3532774"/>
                </a:cubicBezTo>
                <a:cubicBezTo>
                  <a:pt x="7619568" y="3527050"/>
                  <a:pt x="7616772" y="3520127"/>
                  <a:pt x="7616772" y="3511608"/>
                </a:cubicBezTo>
                <a:cubicBezTo>
                  <a:pt x="7616772" y="3503355"/>
                  <a:pt x="7619568" y="3496299"/>
                  <a:pt x="7625158" y="3490575"/>
                </a:cubicBezTo>
                <a:cubicBezTo>
                  <a:pt x="7630750" y="3484717"/>
                  <a:pt x="7637939" y="3481923"/>
                  <a:pt x="7646991" y="3481923"/>
                </a:cubicBezTo>
                <a:close/>
                <a:moveTo>
                  <a:pt x="7429345" y="3481923"/>
                </a:moveTo>
                <a:cubicBezTo>
                  <a:pt x="7433605" y="3481923"/>
                  <a:pt x="7437466" y="3482721"/>
                  <a:pt x="7441059" y="3484451"/>
                </a:cubicBezTo>
                <a:cubicBezTo>
                  <a:pt x="7444787" y="3486050"/>
                  <a:pt x="7447848" y="3488179"/>
                  <a:pt x="7450377" y="3490842"/>
                </a:cubicBezTo>
                <a:cubicBezTo>
                  <a:pt x="7452907" y="3493504"/>
                  <a:pt x="7455036" y="3496699"/>
                  <a:pt x="7456501" y="3500292"/>
                </a:cubicBezTo>
                <a:cubicBezTo>
                  <a:pt x="7457965" y="3503887"/>
                  <a:pt x="7458764" y="3507614"/>
                  <a:pt x="7458764" y="3511741"/>
                </a:cubicBezTo>
                <a:cubicBezTo>
                  <a:pt x="7458764" y="3515868"/>
                  <a:pt x="7457965" y="3519862"/>
                  <a:pt x="7456501" y="3523456"/>
                </a:cubicBezTo>
                <a:cubicBezTo>
                  <a:pt x="7454904" y="3527050"/>
                  <a:pt x="7452907" y="3530111"/>
                  <a:pt x="7450377" y="3532774"/>
                </a:cubicBezTo>
                <a:cubicBezTo>
                  <a:pt x="7447715" y="3535437"/>
                  <a:pt x="7444654" y="3537566"/>
                  <a:pt x="7441059" y="3539030"/>
                </a:cubicBezTo>
                <a:cubicBezTo>
                  <a:pt x="7437466" y="3540494"/>
                  <a:pt x="7433605" y="3541293"/>
                  <a:pt x="7429345" y="3541293"/>
                </a:cubicBezTo>
                <a:cubicBezTo>
                  <a:pt x="7420426" y="3541293"/>
                  <a:pt x="7413105" y="3538365"/>
                  <a:pt x="7407513" y="3532774"/>
                </a:cubicBezTo>
                <a:cubicBezTo>
                  <a:pt x="7401922" y="3527050"/>
                  <a:pt x="7399127" y="3520127"/>
                  <a:pt x="7399127" y="3511608"/>
                </a:cubicBezTo>
                <a:cubicBezTo>
                  <a:pt x="7399127" y="3503355"/>
                  <a:pt x="7401922" y="3496299"/>
                  <a:pt x="7407513" y="3490575"/>
                </a:cubicBezTo>
                <a:cubicBezTo>
                  <a:pt x="7413105" y="3484717"/>
                  <a:pt x="7420293" y="3481923"/>
                  <a:pt x="7429345" y="3481923"/>
                </a:cubicBezTo>
                <a:close/>
                <a:moveTo>
                  <a:pt x="7211701" y="3481923"/>
                </a:moveTo>
                <a:cubicBezTo>
                  <a:pt x="7215960" y="3481923"/>
                  <a:pt x="7219954" y="3482721"/>
                  <a:pt x="7223415" y="3484451"/>
                </a:cubicBezTo>
                <a:cubicBezTo>
                  <a:pt x="7227142" y="3486050"/>
                  <a:pt x="7230204" y="3488179"/>
                  <a:pt x="7232733" y="3490842"/>
                </a:cubicBezTo>
                <a:cubicBezTo>
                  <a:pt x="7235262" y="3493504"/>
                  <a:pt x="7237392" y="3496699"/>
                  <a:pt x="7238856" y="3500292"/>
                </a:cubicBezTo>
                <a:cubicBezTo>
                  <a:pt x="7240321" y="3503887"/>
                  <a:pt x="7241120" y="3507614"/>
                  <a:pt x="7241120" y="3511741"/>
                </a:cubicBezTo>
                <a:cubicBezTo>
                  <a:pt x="7241120" y="3515868"/>
                  <a:pt x="7240321" y="3519862"/>
                  <a:pt x="7238856" y="3523456"/>
                </a:cubicBezTo>
                <a:cubicBezTo>
                  <a:pt x="7237259" y="3527050"/>
                  <a:pt x="7235262" y="3530111"/>
                  <a:pt x="7232733" y="3532774"/>
                </a:cubicBezTo>
                <a:cubicBezTo>
                  <a:pt x="7230071" y="3535437"/>
                  <a:pt x="7227009" y="3537566"/>
                  <a:pt x="7223415" y="3539030"/>
                </a:cubicBezTo>
                <a:cubicBezTo>
                  <a:pt x="7219821" y="3540494"/>
                  <a:pt x="7215960" y="3541293"/>
                  <a:pt x="7211701" y="3541293"/>
                </a:cubicBezTo>
                <a:cubicBezTo>
                  <a:pt x="7202782" y="3541293"/>
                  <a:pt x="7195460" y="3538365"/>
                  <a:pt x="7189868" y="3532774"/>
                </a:cubicBezTo>
                <a:cubicBezTo>
                  <a:pt x="7184278" y="3527050"/>
                  <a:pt x="7181482" y="3520127"/>
                  <a:pt x="7181482" y="3511608"/>
                </a:cubicBezTo>
                <a:cubicBezTo>
                  <a:pt x="7181482" y="3503355"/>
                  <a:pt x="7184278" y="3496299"/>
                  <a:pt x="7189868" y="3490575"/>
                </a:cubicBezTo>
                <a:cubicBezTo>
                  <a:pt x="7195460" y="3484717"/>
                  <a:pt x="7202649" y="3481923"/>
                  <a:pt x="7211701" y="3481923"/>
                </a:cubicBezTo>
                <a:close/>
                <a:moveTo>
                  <a:pt x="6994056" y="3481923"/>
                </a:moveTo>
                <a:cubicBezTo>
                  <a:pt x="6998315" y="3481923"/>
                  <a:pt x="7002309" y="3482721"/>
                  <a:pt x="7005769" y="3484451"/>
                </a:cubicBezTo>
                <a:cubicBezTo>
                  <a:pt x="7009497" y="3486050"/>
                  <a:pt x="7012558" y="3488179"/>
                  <a:pt x="7015087" y="3490842"/>
                </a:cubicBezTo>
                <a:cubicBezTo>
                  <a:pt x="7017617" y="3493504"/>
                  <a:pt x="7019747" y="3496699"/>
                  <a:pt x="7021211" y="3500292"/>
                </a:cubicBezTo>
                <a:cubicBezTo>
                  <a:pt x="7022675" y="3503887"/>
                  <a:pt x="7023474" y="3507614"/>
                  <a:pt x="7023474" y="3511741"/>
                </a:cubicBezTo>
                <a:cubicBezTo>
                  <a:pt x="7023474" y="3515868"/>
                  <a:pt x="7022675" y="3519862"/>
                  <a:pt x="7021211" y="3523456"/>
                </a:cubicBezTo>
                <a:cubicBezTo>
                  <a:pt x="7019614" y="3527050"/>
                  <a:pt x="7017617" y="3530111"/>
                  <a:pt x="7015087" y="3532774"/>
                </a:cubicBezTo>
                <a:cubicBezTo>
                  <a:pt x="7012425" y="3535437"/>
                  <a:pt x="7009364" y="3537566"/>
                  <a:pt x="7005769" y="3539030"/>
                </a:cubicBezTo>
                <a:cubicBezTo>
                  <a:pt x="7002176" y="3540494"/>
                  <a:pt x="6998315" y="3541293"/>
                  <a:pt x="6994056" y="3541293"/>
                </a:cubicBezTo>
                <a:cubicBezTo>
                  <a:pt x="6985136" y="3541293"/>
                  <a:pt x="6977815" y="3538365"/>
                  <a:pt x="6972223" y="3532774"/>
                </a:cubicBezTo>
                <a:cubicBezTo>
                  <a:pt x="6966632" y="3527050"/>
                  <a:pt x="6963837" y="3520127"/>
                  <a:pt x="6963837" y="3511608"/>
                </a:cubicBezTo>
                <a:cubicBezTo>
                  <a:pt x="6963837" y="3503355"/>
                  <a:pt x="6966632" y="3496299"/>
                  <a:pt x="6972223" y="3490575"/>
                </a:cubicBezTo>
                <a:cubicBezTo>
                  <a:pt x="6977815" y="3484717"/>
                  <a:pt x="6985003" y="3481923"/>
                  <a:pt x="6994056" y="3481923"/>
                </a:cubicBezTo>
                <a:close/>
                <a:moveTo>
                  <a:pt x="6776544" y="3481923"/>
                </a:moveTo>
                <a:cubicBezTo>
                  <a:pt x="6780670" y="3481923"/>
                  <a:pt x="6784664" y="3482721"/>
                  <a:pt x="6788258" y="3484451"/>
                </a:cubicBezTo>
                <a:cubicBezTo>
                  <a:pt x="6791985" y="3486050"/>
                  <a:pt x="6795047" y="3488179"/>
                  <a:pt x="6797576" y="3490842"/>
                </a:cubicBezTo>
                <a:cubicBezTo>
                  <a:pt x="6800105" y="3493504"/>
                  <a:pt x="6802235" y="3496699"/>
                  <a:pt x="6803699" y="3500292"/>
                </a:cubicBezTo>
                <a:cubicBezTo>
                  <a:pt x="6805164" y="3503887"/>
                  <a:pt x="6805963" y="3507614"/>
                  <a:pt x="6805963" y="3511741"/>
                </a:cubicBezTo>
                <a:cubicBezTo>
                  <a:pt x="6805963" y="3515868"/>
                  <a:pt x="6805164" y="3519862"/>
                  <a:pt x="6803699" y="3523456"/>
                </a:cubicBezTo>
                <a:cubicBezTo>
                  <a:pt x="6802102" y="3527050"/>
                  <a:pt x="6800105" y="3530111"/>
                  <a:pt x="6797576" y="3532774"/>
                </a:cubicBezTo>
                <a:cubicBezTo>
                  <a:pt x="6794914" y="3535437"/>
                  <a:pt x="6791852" y="3537566"/>
                  <a:pt x="6788258" y="3539030"/>
                </a:cubicBezTo>
                <a:cubicBezTo>
                  <a:pt x="6784664" y="3540494"/>
                  <a:pt x="6780803" y="3541293"/>
                  <a:pt x="6776544" y="3541293"/>
                </a:cubicBezTo>
                <a:cubicBezTo>
                  <a:pt x="6767625" y="3541293"/>
                  <a:pt x="6760303" y="3538365"/>
                  <a:pt x="6754711" y="3532774"/>
                </a:cubicBezTo>
                <a:cubicBezTo>
                  <a:pt x="6749121" y="3527050"/>
                  <a:pt x="6746325" y="3520127"/>
                  <a:pt x="6746325" y="3511608"/>
                </a:cubicBezTo>
                <a:cubicBezTo>
                  <a:pt x="6746325" y="3503355"/>
                  <a:pt x="6749121" y="3496299"/>
                  <a:pt x="6754711" y="3490575"/>
                </a:cubicBezTo>
                <a:cubicBezTo>
                  <a:pt x="6760303" y="3484717"/>
                  <a:pt x="6767492" y="3481923"/>
                  <a:pt x="6776544" y="3481923"/>
                </a:cubicBezTo>
                <a:close/>
                <a:moveTo>
                  <a:pt x="6558899" y="3481923"/>
                </a:moveTo>
                <a:cubicBezTo>
                  <a:pt x="6563158" y="3481923"/>
                  <a:pt x="6567019" y="3482721"/>
                  <a:pt x="6570612" y="3484451"/>
                </a:cubicBezTo>
                <a:cubicBezTo>
                  <a:pt x="6574340" y="3486050"/>
                  <a:pt x="6577401" y="3488179"/>
                  <a:pt x="6579930" y="3490842"/>
                </a:cubicBezTo>
                <a:cubicBezTo>
                  <a:pt x="6582460" y="3493504"/>
                  <a:pt x="6584590" y="3496699"/>
                  <a:pt x="6586054" y="3500292"/>
                </a:cubicBezTo>
                <a:cubicBezTo>
                  <a:pt x="6587518" y="3503887"/>
                  <a:pt x="6588317" y="3507614"/>
                  <a:pt x="6588317" y="3511741"/>
                </a:cubicBezTo>
                <a:cubicBezTo>
                  <a:pt x="6588317" y="3515868"/>
                  <a:pt x="6587518" y="3519862"/>
                  <a:pt x="6586054" y="3523456"/>
                </a:cubicBezTo>
                <a:cubicBezTo>
                  <a:pt x="6584457" y="3527050"/>
                  <a:pt x="6582460" y="3530111"/>
                  <a:pt x="6579930" y="3532774"/>
                </a:cubicBezTo>
                <a:cubicBezTo>
                  <a:pt x="6577268" y="3535437"/>
                  <a:pt x="6574207" y="3537566"/>
                  <a:pt x="6570612" y="3539030"/>
                </a:cubicBezTo>
                <a:cubicBezTo>
                  <a:pt x="6567019" y="3540494"/>
                  <a:pt x="6563158" y="3541293"/>
                  <a:pt x="6558899" y="3541293"/>
                </a:cubicBezTo>
                <a:cubicBezTo>
                  <a:pt x="6549979" y="3541293"/>
                  <a:pt x="6542658" y="3538365"/>
                  <a:pt x="6537066" y="3532774"/>
                </a:cubicBezTo>
                <a:cubicBezTo>
                  <a:pt x="6531476" y="3527050"/>
                  <a:pt x="6528680" y="3520127"/>
                  <a:pt x="6528680" y="3511608"/>
                </a:cubicBezTo>
                <a:cubicBezTo>
                  <a:pt x="6528680" y="3503355"/>
                  <a:pt x="6531476" y="3496299"/>
                  <a:pt x="6537066" y="3490575"/>
                </a:cubicBezTo>
                <a:cubicBezTo>
                  <a:pt x="6542658" y="3484717"/>
                  <a:pt x="6549846" y="3481923"/>
                  <a:pt x="6558899" y="3481923"/>
                </a:cubicBezTo>
                <a:close/>
                <a:moveTo>
                  <a:pt x="6341253" y="3481923"/>
                </a:moveTo>
                <a:cubicBezTo>
                  <a:pt x="6345513" y="3481923"/>
                  <a:pt x="6349373" y="3482721"/>
                  <a:pt x="6352968" y="3484451"/>
                </a:cubicBezTo>
                <a:cubicBezTo>
                  <a:pt x="6356695" y="3486050"/>
                  <a:pt x="6359757" y="3488179"/>
                  <a:pt x="6362286" y="3490842"/>
                </a:cubicBezTo>
                <a:cubicBezTo>
                  <a:pt x="6364815" y="3493504"/>
                  <a:pt x="6366945" y="3496699"/>
                  <a:pt x="6368409" y="3500292"/>
                </a:cubicBezTo>
                <a:cubicBezTo>
                  <a:pt x="6369874" y="3503887"/>
                  <a:pt x="6370672" y="3507614"/>
                  <a:pt x="6370672" y="3511741"/>
                </a:cubicBezTo>
                <a:cubicBezTo>
                  <a:pt x="6370672" y="3515868"/>
                  <a:pt x="6369874" y="3519862"/>
                  <a:pt x="6368409" y="3523456"/>
                </a:cubicBezTo>
                <a:cubicBezTo>
                  <a:pt x="6366811" y="3527050"/>
                  <a:pt x="6364815" y="3530111"/>
                  <a:pt x="6362286" y="3532774"/>
                </a:cubicBezTo>
                <a:cubicBezTo>
                  <a:pt x="6359623" y="3535437"/>
                  <a:pt x="6356562" y="3537566"/>
                  <a:pt x="6352968" y="3539030"/>
                </a:cubicBezTo>
                <a:cubicBezTo>
                  <a:pt x="6349373" y="3540494"/>
                  <a:pt x="6345513" y="3541293"/>
                  <a:pt x="6341253" y="3541293"/>
                </a:cubicBezTo>
                <a:cubicBezTo>
                  <a:pt x="6332335" y="3541293"/>
                  <a:pt x="6325013" y="3538365"/>
                  <a:pt x="6319421" y="3532774"/>
                </a:cubicBezTo>
                <a:cubicBezTo>
                  <a:pt x="6313830" y="3527050"/>
                  <a:pt x="6311035" y="3520127"/>
                  <a:pt x="6311035" y="3511608"/>
                </a:cubicBezTo>
                <a:cubicBezTo>
                  <a:pt x="6311035" y="3503355"/>
                  <a:pt x="6313830" y="3496299"/>
                  <a:pt x="6319421" y="3490575"/>
                </a:cubicBezTo>
                <a:cubicBezTo>
                  <a:pt x="6325013" y="3484717"/>
                  <a:pt x="6332201" y="3481923"/>
                  <a:pt x="6341253" y="3481923"/>
                </a:cubicBezTo>
                <a:close/>
                <a:moveTo>
                  <a:pt x="6123608" y="3481923"/>
                </a:moveTo>
                <a:cubicBezTo>
                  <a:pt x="6127867" y="3481923"/>
                  <a:pt x="6131728" y="3482721"/>
                  <a:pt x="6135322" y="3484451"/>
                </a:cubicBezTo>
                <a:cubicBezTo>
                  <a:pt x="6139049" y="3486050"/>
                  <a:pt x="6142111" y="3488179"/>
                  <a:pt x="6144640" y="3490842"/>
                </a:cubicBezTo>
                <a:cubicBezTo>
                  <a:pt x="6147169" y="3493504"/>
                  <a:pt x="6149299" y="3496699"/>
                  <a:pt x="6150763" y="3500292"/>
                </a:cubicBezTo>
                <a:cubicBezTo>
                  <a:pt x="6152228" y="3503887"/>
                  <a:pt x="6153026" y="3507614"/>
                  <a:pt x="6153026" y="3511741"/>
                </a:cubicBezTo>
                <a:cubicBezTo>
                  <a:pt x="6153026" y="3515868"/>
                  <a:pt x="6152228" y="3519862"/>
                  <a:pt x="6150763" y="3523456"/>
                </a:cubicBezTo>
                <a:cubicBezTo>
                  <a:pt x="6149299" y="3527050"/>
                  <a:pt x="6147169" y="3530111"/>
                  <a:pt x="6144640" y="3532774"/>
                </a:cubicBezTo>
                <a:cubicBezTo>
                  <a:pt x="6141977" y="3535437"/>
                  <a:pt x="6138916" y="3537566"/>
                  <a:pt x="6135322" y="3539030"/>
                </a:cubicBezTo>
                <a:cubicBezTo>
                  <a:pt x="6131728" y="3540494"/>
                  <a:pt x="6127867" y="3541293"/>
                  <a:pt x="6123608" y="3541293"/>
                </a:cubicBezTo>
                <a:cubicBezTo>
                  <a:pt x="6114689" y="3541293"/>
                  <a:pt x="6107367" y="3538365"/>
                  <a:pt x="6101775" y="3532774"/>
                </a:cubicBezTo>
                <a:cubicBezTo>
                  <a:pt x="6096184" y="3527050"/>
                  <a:pt x="6093389" y="3520127"/>
                  <a:pt x="6093389" y="3511608"/>
                </a:cubicBezTo>
                <a:cubicBezTo>
                  <a:pt x="6093389" y="3503355"/>
                  <a:pt x="6096184" y="3496299"/>
                  <a:pt x="6101775" y="3490575"/>
                </a:cubicBezTo>
                <a:cubicBezTo>
                  <a:pt x="6107367" y="3484717"/>
                  <a:pt x="6114555" y="3481923"/>
                  <a:pt x="6123608" y="3481923"/>
                </a:cubicBezTo>
                <a:close/>
                <a:moveTo>
                  <a:pt x="5905963" y="3481923"/>
                </a:moveTo>
                <a:cubicBezTo>
                  <a:pt x="5910222" y="3481923"/>
                  <a:pt x="5914216" y="3482721"/>
                  <a:pt x="5917677" y="3484451"/>
                </a:cubicBezTo>
                <a:cubicBezTo>
                  <a:pt x="5921404" y="3486050"/>
                  <a:pt x="5924466" y="3488179"/>
                  <a:pt x="5926995" y="3490842"/>
                </a:cubicBezTo>
                <a:cubicBezTo>
                  <a:pt x="5929524" y="3493504"/>
                  <a:pt x="5931654" y="3496699"/>
                  <a:pt x="5933118" y="3500292"/>
                </a:cubicBezTo>
                <a:cubicBezTo>
                  <a:pt x="5934583" y="3503887"/>
                  <a:pt x="5935381" y="3507614"/>
                  <a:pt x="5935381" y="3511741"/>
                </a:cubicBezTo>
                <a:cubicBezTo>
                  <a:pt x="5935381" y="3515868"/>
                  <a:pt x="5934583" y="3519862"/>
                  <a:pt x="5933118" y="3523456"/>
                </a:cubicBezTo>
                <a:cubicBezTo>
                  <a:pt x="5931654" y="3527050"/>
                  <a:pt x="5929524" y="3530111"/>
                  <a:pt x="5926995" y="3532774"/>
                </a:cubicBezTo>
                <a:cubicBezTo>
                  <a:pt x="5924333" y="3535437"/>
                  <a:pt x="5921271" y="3537566"/>
                  <a:pt x="5917677" y="3539030"/>
                </a:cubicBezTo>
                <a:cubicBezTo>
                  <a:pt x="5914083" y="3540494"/>
                  <a:pt x="5910222" y="3541293"/>
                  <a:pt x="5905963" y="3541293"/>
                </a:cubicBezTo>
                <a:cubicBezTo>
                  <a:pt x="5897044" y="3541293"/>
                  <a:pt x="5889722" y="3538365"/>
                  <a:pt x="5884130" y="3532774"/>
                </a:cubicBezTo>
                <a:cubicBezTo>
                  <a:pt x="5878540" y="3527050"/>
                  <a:pt x="5875744" y="3520127"/>
                  <a:pt x="5875744" y="3511608"/>
                </a:cubicBezTo>
                <a:cubicBezTo>
                  <a:pt x="5875744" y="3503355"/>
                  <a:pt x="5878540" y="3496299"/>
                  <a:pt x="5884130" y="3490575"/>
                </a:cubicBezTo>
                <a:cubicBezTo>
                  <a:pt x="5889722" y="3484717"/>
                  <a:pt x="5896910" y="3481923"/>
                  <a:pt x="5905963" y="3481923"/>
                </a:cubicBezTo>
                <a:close/>
                <a:moveTo>
                  <a:pt x="5688451" y="3481923"/>
                </a:moveTo>
                <a:cubicBezTo>
                  <a:pt x="5692577" y="3481923"/>
                  <a:pt x="5696571" y="3482721"/>
                  <a:pt x="5700165" y="3484451"/>
                </a:cubicBezTo>
                <a:cubicBezTo>
                  <a:pt x="5703892" y="3486050"/>
                  <a:pt x="5706954" y="3488179"/>
                  <a:pt x="5709483" y="3490842"/>
                </a:cubicBezTo>
                <a:cubicBezTo>
                  <a:pt x="5712012" y="3493504"/>
                  <a:pt x="5714142" y="3496699"/>
                  <a:pt x="5715606" y="3500292"/>
                </a:cubicBezTo>
                <a:cubicBezTo>
                  <a:pt x="5717071" y="3503887"/>
                  <a:pt x="5717869" y="3507614"/>
                  <a:pt x="5717869" y="3511741"/>
                </a:cubicBezTo>
                <a:cubicBezTo>
                  <a:pt x="5717869" y="3515868"/>
                  <a:pt x="5717071" y="3519862"/>
                  <a:pt x="5715606" y="3523456"/>
                </a:cubicBezTo>
                <a:cubicBezTo>
                  <a:pt x="5714142" y="3527050"/>
                  <a:pt x="5712012" y="3530111"/>
                  <a:pt x="5709483" y="3532774"/>
                </a:cubicBezTo>
                <a:cubicBezTo>
                  <a:pt x="5706820" y="3535437"/>
                  <a:pt x="5703759" y="3537566"/>
                  <a:pt x="5700165" y="3539030"/>
                </a:cubicBezTo>
                <a:cubicBezTo>
                  <a:pt x="5696571" y="3540494"/>
                  <a:pt x="5692710" y="3541293"/>
                  <a:pt x="5688451" y="3541293"/>
                </a:cubicBezTo>
                <a:cubicBezTo>
                  <a:pt x="5679532" y="3541293"/>
                  <a:pt x="5672210" y="3538365"/>
                  <a:pt x="5666618" y="3532774"/>
                </a:cubicBezTo>
                <a:cubicBezTo>
                  <a:pt x="5661028" y="3527050"/>
                  <a:pt x="5658232" y="3520127"/>
                  <a:pt x="5658232" y="3511608"/>
                </a:cubicBezTo>
                <a:cubicBezTo>
                  <a:pt x="5658232" y="3503355"/>
                  <a:pt x="5661028" y="3496299"/>
                  <a:pt x="5666618" y="3490575"/>
                </a:cubicBezTo>
                <a:cubicBezTo>
                  <a:pt x="5672210" y="3484717"/>
                  <a:pt x="5679398" y="3481923"/>
                  <a:pt x="5688451" y="3481923"/>
                </a:cubicBezTo>
                <a:close/>
                <a:moveTo>
                  <a:pt x="5470806" y="3481923"/>
                </a:moveTo>
                <a:cubicBezTo>
                  <a:pt x="5475065" y="3481923"/>
                  <a:pt x="5478926" y="3482721"/>
                  <a:pt x="5482520" y="3484451"/>
                </a:cubicBezTo>
                <a:cubicBezTo>
                  <a:pt x="5486247" y="3486050"/>
                  <a:pt x="5489309" y="3488179"/>
                  <a:pt x="5491838" y="3490842"/>
                </a:cubicBezTo>
                <a:cubicBezTo>
                  <a:pt x="5494367" y="3493504"/>
                  <a:pt x="5496497" y="3496699"/>
                  <a:pt x="5497961" y="3500292"/>
                </a:cubicBezTo>
                <a:cubicBezTo>
                  <a:pt x="5499426" y="3503887"/>
                  <a:pt x="5500224" y="3507614"/>
                  <a:pt x="5500224" y="3511741"/>
                </a:cubicBezTo>
                <a:cubicBezTo>
                  <a:pt x="5500224" y="3515868"/>
                  <a:pt x="5499426" y="3519862"/>
                  <a:pt x="5497961" y="3523456"/>
                </a:cubicBezTo>
                <a:cubicBezTo>
                  <a:pt x="5496497" y="3527050"/>
                  <a:pt x="5494367" y="3530111"/>
                  <a:pt x="5491838" y="3532774"/>
                </a:cubicBezTo>
                <a:cubicBezTo>
                  <a:pt x="5489176" y="3535437"/>
                  <a:pt x="5486114" y="3537566"/>
                  <a:pt x="5482520" y="3539030"/>
                </a:cubicBezTo>
                <a:cubicBezTo>
                  <a:pt x="5478926" y="3540494"/>
                  <a:pt x="5475065" y="3541293"/>
                  <a:pt x="5470806" y="3541293"/>
                </a:cubicBezTo>
                <a:cubicBezTo>
                  <a:pt x="5461887" y="3541293"/>
                  <a:pt x="5454565" y="3538365"/>
                  <a:pt x="5448973" y="3532774"/>
                </a:cubicBezTo>
                <a:cubicBezTo>
                  <a:pt x="5443383" y="3527050"/>
                  <a:pt x="5440587" y="3520127"/>
                  <a:pt x="5440587" y="3511608"/>
                </a:cubicBezTo>
                <a:cubicBezTo>
                  <a:pt x="5440587" y="3503355"/>
                  <a:pt x="5443383" y="3496299"/>
                  <a:pt x="5448973" y="3490575"/>
                </a:cubicBezTo>
                <a:cubicBezTo>
                  <a:pt x="5454565" y="3484717"/>
                  <a:pt x="5461754" y="3481923"/>
                  <a:pt x="5470806" y="3481923"/>
                </a:cubicBezTo>
                <a:close/>
                <a:moveTo>
                  <a:pt x="5253160" y="3481923"/>
                </a:moveTo>
                <a:cubicBezTo>
                  <a:pt x="5257420" y="3481923"/>
                  <a:pt x="5261280" y="3482721"/>
                  <a:pt x="5264875" y="3484451"/>
                </a:cubicBezTo>
                <a:cubicBezTo>
                  <a:pt x="5268602" y="3486050"/>
                  <a:pt x="5271664" y="3488179"/>
                  <a:pt x="5274192" y="3490842"/>
                </a:cubicBezTo>
                <a:cubicBezTo>
                  <a:pt x="5276722" y="3493504"/>
                  <a:pt x="5278852" y="3496699"/>
                  <a:pt x="5280316" y="3500292"/>
                </a:cubicBezTo>
                <a:cubicBezTo>
                  <a:pt x="5281780" y="3503887"/>
                  <a:pt x="5282579" y="3507614"/>
                  <a:pt x="5282579" y="3511741"/>
                </a:cubicBezTo>
                <a:cubicBezTo>
                  <a:pt x="5282579" y="3515868"/>
                  <a:pt x="5281780" y="3519862"/>
                  <a:pt x="5280316" y="3523456"/>
                </a:cubicBezTo>
                <a:cubicBezTo>
                  <a:pt x="5278852" y="3527050"/>
                  <a:pt x="5276722" y="3530111"/>
                  <a:pt x="5274192" y="3532774"/>
                </a:cubicBezTo>
                <a:cubicBezTo>
                  <a:pt x="5271664" y="3535437"/>
                  <a:pt x="5268469" y="3537566"/>
                  <a:pt x="5264875" y="3539030"/>
                </a:cubicBezTo>
                <a:cubicBezTo>
                  <a:pt x="5261280" y="3540494"/>
                  <a:pt x="5257420" y="3541293"/>
                  <a:pt x="5253160" y="3541293"/>
                </a:cubicBezTo>
                <a:cubicBezTo>
                  <a:pt x="5244241" y="3541293"/>
                  <a:pt x="5236920" y="3538365"/>
                  <a:pt x="5231328" y="3532774"/>
                </a:cubicBezTo>
                <a:cubicBezTo>
                  <a:pt x="5225737" y="3527050"/>
                  <a:pt x="5222942" y="3520127"/>
                  <a:pt x="5222942" y="3511608"/>
                </a:cubicBezTo>
                <a:cubicBezTo>
                  <a:pt x="5222942" y="3503355"/>
                  <a:pt x="5225737" y="3496299"/>
                  <a:pt x="5231328" y="3490575"/>
                </a:cubicBezTo>
                <a:cubicBezTo>
                  <a:pt x="5236920" y="3484717"/>
                  <a:pt x="5244108" y="3481923"/>
                  <a:pt x="5253160" y="3481923"/>
                </a:cubicBezTo>
                <a:close/>
                <a:moveTo>
                  <a:pt x="5035515" y="3481923"/>
                </a:moveTo>
                <a:cubicBezTo>
                  <a:pt x="5039775" y="3481923"/>
                  <a:pt x="5043636" y="3482721"/>
                  <a:pt x="5047230" y="3484451"/>
                </a:cubicBezTo>
                <a:cubicBezTo>
                  <a:pt x="5050957" y="3486050"/>
                  <a:pt x="5054019" y="3488179"/>
                  <a:pt x="5056548" y="3490842"/>
                </a:cubicBezTo>
                <a:cubicBezTo>
                  <a:pt x="5059077" y="3493504"/>
                  <a:pt x="5061207" y="3496699"/>
                  <a:pt x="5062671" y="3500292"/>
                </a:cubicBezTo>
                <a:cubicBezTo>
                  <a:pt x="5064135" y="3503887"/>
                  <a:pt x="5064934" y="3507614"/>
                  <a:pt x="5064934" y="3511741"/>
                </a:cubicBezTo>
                <a:cubicBezTo>
                  <a:pt x="5064934" y="3515868"/>
                  <a:pt x="5064135" y="3519862"/>
                  <a:pt x="5062671" y="3523456"/>
                </a:cubicBezTo>
                <a:cubicBezTo>
                  <a:pt x="5061207" y="3527050"/>
                  <a:pt x="5059077" y="3530111"/>
                  <a:pt x="5056548" y="3532774"/>
                </a:cubicBezTo>
                <a:cubicBezTo>
                  <a:pt x="5053885" y="3535437"/>
                  <a:pt x="5050824" y="3537566"/>
                  <a:pt x="5047230" y="3539030"/>
                </a:cubicBezTo>
                <a:cubicBezTo>
                  <a:pt x="5043636" y="3540494"/>
                  <a:pt x="5039775" y="3541293"/>
                  <a:pt x="5035515" y="3541293"/>
                </a:cubicBezTo>
                <a:cubicBezTo>
                  <a:pt x="5026597" y="3541293"/>
                  <a:pt x="5019275" y="3538365"/>
                  <a:pt x="5013683" y="3532774"/>
                </a:cubicBezTo>
                <a:cubicBezTo>
                  <a:pt x="5008092" y="3527050"/>
                  <a:pt x="5005297" y="3520127"/>
                  <a:pt x="5005297" y="3511608"/>
                </a:cubicBezTo>
                <a:cubicBezTo>
                  <a:pt x="5005297" y="3503355"/>
                  <a:pt x="5008092" y="3496299"/>
                  <a:pt x="5013683" y="3490575"/>
                </a:cubicBezTo>
                <a:cubicBezTo>
                  <a:pt x="5019275" y="3484717"/>
                  <a:pt x="5026463" y="3481923"/>
                  <a:pt x="5035515" y="3481923"/>
                </a:cubicBezTo>
                <a:close/>
                <a:moveTo>
                  <a:pt x="4817870" y="3481923"/>
                </a:moveTo>
                <a:cubicBezTo>
                  <a:pt x="4822130" y="3481923"/>
                  <a:pt x="4826124" y="3482721"/>
                  <a:pt x="4829585" y="3484451"/>
                </a:cubicBezTo>
                <a:cubicBezTo>
                  <a:pt x="4833312" y="3486050"/>
                  <a:pt x="4836374" y="3488179"/>
                  <a:pt x="4838903" y="3490842"/>
                </a:cubicBezTo>
                <a:cubicBezTo>
                  <a:pt x="4841432" y="3493504"/>
                  <a:pt x="4843562" y="3496699"/>
                  <a:pt x="4845026" y="3500292"/>
                </a:cubicBezTo>
                <a:cubicBezTo>
                  <a:pt x="4846491" y="3503887"/>
                  <a:pt x="4847289" y="3507614"/>
                  <a:pt x="4847289" y="3511741"/>
                </a:cubicBezTo>
                <a:cubicBezTo>
                  <a:pt x="4847289" y="3515868"/>
                  <a:pt x="4846491" y="3519862"/>
                  <a:pt x="4845026" y="3523456"/>
                </a:cubicBezTo>
                <a:cubicBezTo>
                  <a:pt x="4843562" y="3527050"/>
                  <a:pt x="4841432" y="3530111"/>
                  <a:pt x="4838903" y="3532774"/>
                </a:cubicBezTo>
                <a:cubicBezTo>
                  <a:pt x="4836240" y="3535437"/>
                  <a:pt x="4833179" y="3537566"/>
                  <a:pt x="4829585" y="3539030"/>
                </a:cubicBezTo>
                <a:cubicBezTo>
                  <a:pt x="4825991" y="3540494"/>
                  <a:pt x="4822130" y="3541293"/>
                  <a:pt x="4817870" y="3541293"/>
                </a:cubicBezTo>
                <a:cubicBezTo>
                  <a:pt x="4808952" y="3541293"/>
                  <a:pt x="4801630" y="3538365"/>
                  <a:pt x="4796038" y="3532774"/>
                </a:cubicBezTo>
                <a:cubicBezTo>
                  <a:pt x="4790447" y="3527050"/>
                  <a:pt x="4787652" y="3520127"/>
                  <a:pt x="4787652" y="3511608"/>
                </a:cubicBezTo>
                <a:cubicBezTo>
                  <a:pt x="4787652" y="3503355"/>
                  <a:pt x="4790447" y="3496299"/>
                  <a:pt x="4796038" y="3490575"/>
                </a:cubicBezTo>
                <a:cubicBezTo>
                  <a:pt x="4801630" y="3484717"/>
                  <a:pt x="4808818" y="3481923"/>
                  <a:pt x="4817870" y="3481923"/>
                </a:cubicBezTo>
                <a:close/>
                <a:moveTo>
                  <a:pt x="4600226" y="3481923"/>
                </a:moveTo>
                <a:cubicBezTo>
                  <a:pt x="4604485" y="3481923"/>
                  <a:pt x="4608479" y="3482721"/>
                  <a:pt x="4612073" y="3484451"/>
                </a:cubicBezTo>
                <a:cubicBezTo>
                  <a:pt x="4615800" y="3486050"/>
                  <a:pt x="4618862" y="3488179"/>
                  <a:pt x="4621391" y="3490842"/>
                </a:cubicBezTo>
                <a:cubicBezTo>
                  <a:pt x="4623920" y="3493504"/>
                  <a:pt x="4626050" y="3496699"/>
                  <a:pt x="4627514" y="3500292"/>
                </a:cubicBezTo>
                <a:cubicBezTo>
                  <a:pt x="4628978" y="3503887"/>
                  <a:pt x="4629777" y="3507614"/>
                  <a:pt x="4629777" y="3511741"/>
                </a:cubicBezTo>
                <a:cubicBezTo>
                  <a:pt x="4629777" y="3515868"/>
                  <a:pt x="4628978" y="3519862"/>
                  <a:pt x="4627514" y="3523456"/>
                </a:cubicBezTo>
                <a:cubicBezTo>
                  <a:pt x="4626050" y="3527050"/>
                  <a:pt x="4623920" y="3530111"/>
                  <a:pt x="4621391" y="3532774"/>
                </a:cubicBezTo>
                <a:cubicBezTo>
                  <a:pt x="4618729" y="3535437"/>
                  <a:pt x="4615667" y="3537566"/>
                  <a:pt x="4612073" y="3539030"/>
                </a:cubicBezTo>
                <a:cubicBezTo>
                  <a:pt x="4608346" y="3540494"/>
                  <a:pt x="4604485" y="3541293"/>
                  <a:pt x="4600226" y="3541293"/>
                </a:cubicBezTo>
                <a:cubicBezTo>
                  <a:pt x="4591173" y="3541293"/>
                  <a:pt x="4583985" y="3538365"/>
                  <a:pt x="4578393" y="3532774"/>
                </a:cubicBezTo>
                <a:cubicBezTo>
                  <a:pt x="4572803" y="3527050"/>
                  <a:pt x="4570007" y="3520127"/>
                  <a:pt x="4570007" y="3511608"/>
                </a:cubicBezTo>
                <a:cubicBezTo>
                  <a:pt x="4570007" y="3503355"/>
                  <a:pt x="4572803" y="3496299"/>
                  <a:pt x="4578393" y="3490575"/>
                </a:cubicBezTo>
                <a:cubicBezTo>
                  <a:pt x="4583985" y="3484717"/>
                  <a:pt x="4591173" y="3481923"/>
                  <a:pt x="4600226" y="3481923"/>
                </a:cubicBezTo>
                <a:close/>
                <a:moveTo>
                  <a:pt x="4382713" y="3481923"/>
                </a:moveTo>
                <a:cubicBezTo>
                  <a:pt x="4386840" y="3481923"/>
                  <a:pt x="4390834" y="3482721"/>
                  <a:pt x="4394428" y="3484451"/>
                </a:cubicBezTo>
                <a:cubicBezTo>
                  <a:pt x="4398155" y="3486050"/>
                  <a:pt x="4401217" y="3488179"/>
                  <a:pt x="4403746" y="3490842"/>
                </a:cubicBezTo>
                <a:cubicBezTo>
                  <a:pt x="4406275" y="3493504"/>
                  <a:pt x="4408405" y="3496699"/>
                  <a:pt x="4409869" y="3500292"/>
                </a:cubicBezTo>
                <a:cubicBezTo>
                  <a:pt x="4411334" y="3503887"/>
                  <a:pt x="4412132" y="3507614"/>
                  <a:pt x="4412132" y="3511741"/>
                </a:cubicBezTo>
                <a:cubicBezTo>
                  <a:pt x="4412132" y="3515868"/>
                  <a:pt x="4411334" y="3519862"/>
                  <a:pt x="4409869" y="3523456"/>
                </a:cubicBezTo>
                <a:cubicBezTo>
                  <a:pt x="4408405" y="3527050"/>
                  <a:pt x="4406275" y="3530111"/>
                  <a:pt x="4403746" y="3532774"/>
                </a:cubicBezTo>
                <a:cubicBezTo>
                  <a:pt x="4401083" y="3535437"/>
                  <a:pt x="4398022" y="3537566"/>
                  <a:pt x="4394428" y="3539030"/>
                </a:cubicBezTo>
                <a:cubicBezTo>
                  <a:pt x="4390834" y="3540494"/>
                  <a:pt x="4386973" y="3541293"/>
                  <a:pt x="4382713" y="3541293"/>
                </a:cubicBezTo>
                <a:cubicBezTo>
                  <a:pt x="4373661" y="3541293"/>
                  <a:pt x="4366473" y="3538365"/>
                  <a:pt x="4360881" y="3532774"/>
                </a:cubicBezTo>
                <a:cubicBezTo>
                  <a:pt x="4355290" y="3527050"/>
                  <a:pt x="4352495" y="3520127"/>
                  <a:pt x="4352495" y="3511608"/>
                </a:cubicBezTo>
                <a:cubicBezTo>
                  <a:pt x="4352495" y="3503355"/>
                  <a:pt x="4355290" y="3496299"/>
                  <a:pt x="4360881" y="3490575"/>
                </a:cubicBezTo>
                <a:cubicBezTo>
                  <a:pt x="4366473" y="3484717"/>
                  <a:pt x="4373661" y="3481923"/>
                  <a:pt x="4382713" y="3481923"/>
                </a:cubicBezTo>
                <a:close/>
                <a:moveTo>
                  <a:pt x="4165068" y="3481923"/>
                </a:moveTo>
                <a:cubicBezTo>
                  <a:pt x="4169327" y="3481923"/>
                  <a:pt x="4173188" y="3482721"/>
                  <a:pt x="4176782" y="3484451"/>
                </a:cubicBezTo>
                <a:cubicBezTo>
                  <a:pt x="4180509" y="3486050"/>
                  <a:pt x="4183571" y="3488179"/>
                  <a:pt x="4186100" y="3490842"/>
                </a:cubicBezTo>
                <a:cubicBezTo>
                  <a:pt x="4188629" y="3493504"/>
                  <a:pt x="4190759" y="3496699"/>
                  <a:pt x="4192223" y="3500292"/>
                </a:cubicBezTo>
                <a:cubicBezTo>
                  <a:pt x="4193688" y="3503887"/>
                  <a:pt x="4194486" y="3507614"/>
                  <a:pt x="4194486" y="3511741"/>
                </a:cubicBezTo>
                <a:cubicBezTo>
                  <a:pt x="4194486" y="3515868"/>
                  <a:pt x="4193688" y="3519862"/>
                  <a:pt x="4192223" y="3523456"/>
                </a:cubicBezTo>
                <a:cubicBezTo>
                  <a:pt x="4190759" y="3527050"/>
                  <a:pt x="4188629" y="3530111"/>
                  <a:pt x="4186100" y="3532774"/>
                </a:cubicBezTo>
                <a:cubicBezTo>
                  <a:pt x="4183438" y="3535437"/>
                  <a:pt x="4180376" y="3537566"/>
                  <a:pt x="4176782" y="3539030"/>
                </a:cubicBezTo>
                <a:cubicBezTo>
                  <a:pt x="4173188" y="3540494"/>
                  <a:pt x="4169327" y="3541293"/>
                  <a:pt x="4165068" y="3541293"/>
                </a:cubicBezTo>
                <a:cubicBezTo>
                  <a:pt x="4156015" y="3541293"/>
                  <a:pt x="4148827" y="3538365"/>
                  <a:pt x="4143235" y="3532774"/>
                </a:cubicBezTo>
                <a:cubicBezTo>
                  <a:pt x="4137645" y="3527050"/>
                  <a:pt x="4134849" y="3520127"/>
                  <a:pt x="4134849" y="3511608"/>
                </a:cubicBezTo>
                <a:cubicBezTo>
                  <a:pt x="4134849" y="3503355"/>
                  <a:pt x="4137645" y="3496299"/>
                  <a:pt x="4143235" y="3490575"/>
                </a:cubicBezTo>
                <a:cubicBezTo>
                  <a:pt x="4148827" y="3484717"/>
                  <a:pt x="4156015" y="3481923"/>
                  <a:pt x="4165068" y="3481923"/>
                </a:cubicBezTo>
                <a:close/>
                <a:moveTo>
                  <a:pt x="3947617" y="3481923"/>
                </a:moveTo>
                <a:cubicBezTo>
                  <a:pt x="3951878" y="3481923"/>
                  <a:pt x="3955737" y="3482721"/>
                  <a:pt x="3959333" y="3484451"/>
                </a:cubicBezTo>
                <a:cubicBezTo>
                  <a:pt x="3963061" y="3486050"/>
                  <a:pt x="3966122" y="3488179"/>
                  <a:pt x="3968651" y="3490842"/>
                </a:cubicBezTo>
                <a:cubicBezTo>
                  <a:pt x="3971181" y="3493504"/>
                  <a:pt x="3973311" y="3496699"/>
                  <a:pt x="3974775" y="3500292"/>
                </a:cubicBezTo>
                <a:cubicBezTo>
                  <a:pt x="3976239" y="3503887"/>
                  <a:pt x="3977038" y="3507614"/>
                  <a:pt x="3977038" y="3511741"/>
                </a:cubicBezTo>
                <a:cubicBezTo>
                  <a:pt x="3977038" y="3515868"/>
                  <a:pt x="3976239" y="3519862"/>
                  <a:pt x="3974775" y="3523456"/>
                </a:cubicBezTo>
                <a:cubicBezTo>
                  <a:pt x="3973311" y="3527050"/>
                  <a:pt x="3971181" y="3530111"/>
                  <a:pt x="3968651" y="3532774"/>
                </a:cubicBezTo>
                <a:cubicBezTo>
                  <a:pt x="3965989" y="3535437"/>
                  <a:pt x="3962928" y="3537566"/>
                  <a:pt x="3959333" y="3539030"/>
                </a:cubicBezTo>
                <a:cubicBezTo>
                  <a:pt x="3955737" y="3540494"/>
                  <a:pt x="3951878" y="3541293"/>
                  <a:pt x="3947617" y="3541293"/>
                </a:cubicBezTo>
                <a:cubicBezTo>
                  <a:pt x="3938564" y="3541293"/>
                  <a:pt x="3931376" y="3538365"/>
                  <a:pt x="3925784" y="3532774"/>
                </a:cubicBezTo>
                <a:cubicBezTo>
                  <a:pt x="3920193" y="3527050"/>
                  <a:pt x="3917397" y="3520127"/>
                  <a:pt x="3917397" y="3511608"/>
                </a:cubicBezTo>
                <a:cubicBezTo>
                  <a:pt x="3917397" y="3503355"/>
                  <a:pt x="3920193" y="3496299"/>
                  <a:pt x="3925784" y="3490575"/>
                </a:cubicBezTo>
                <a:cubicBezTo>
                  <a:pt x="3931376" y="3484717"/>
                  <a:pt x="3938564" y="3481923"/>
                  <a:pt x="3947617" y="3481923"/>
                </a:cubicBezTo>
                <a:close/>
                <a:moveTo>
                  <a:pt x="3729962" y="3481923"/>
                </a:moveTo>
                <a:cubicBezTo>
                  <a:pt x="3734223" y="3481923"/>
                  <a:pt x="3738215" y="3482721"/>
                  <a:pt x="3741678" y="3484451"/>
                </a:cubicBezTo>
                <a:cubicBezTo>
                  <a:pt x="3745272" y="3486050"/>
                  <a:pt x="3748467" y="3488179"/>
                  <a:pt x="3750996" y="3490842"/>
                </a:cubicBezTo>
                <a:cubicBezTo>
                  <a:pt x="3753525" y="3493504"/>
                  <a:pt x="3755655" y="3496699"/>
                  <a:pt x="3757119" y="3500292"/>
                </a:cubicBezTo>
                <a:cubicBezTo>
                  <a:pt x="3758583" y="3503887"/>
                  <a:pt x="3759382" y="3507614"/>
                  <a:pt x="3759382" y="3511741"/>
                </a:cubicBezTo>
                <a:cubicBezTo>
                  <a:pt x="3759382" y="3515868"/>
                  <a:pt x="3758583" y="3519862"/>
                  <a:pt x="3757119" y="3523456"/>
                </a:cubicBezTo>
                <a:cubicBezTo>
                  <a:pt x="3755655" y="3527050"/>
                  <a:pt x="3753525" y="3530111"/>
                  <a:pt x="3750996" y="3532774"/>
                </a:cubicBezTo>
                <a:cubicBezTo>
                  <a:pt x="3748333" y="3535437"/>
                  <a:pt x="3745272" y="3537566"/>
                  <a:pt x="3741678" y="3539030"/>
                </a:cubicBezTo>
                <a:cubicBezTo>
                  <a:pt x="3738084" y="3540494"/>
                  <a:pt x="3734223" y="3541293"/>
                  <a:pt x="3729962" y="3541293"/>
                </a:cubicBezTo>
                <a:cubicBezTo>
                  <a:pt x="3720910" y="3541293"/>
                  <a:pt x="3713721" y="3538365"/>
                  <a:pt x="3708126" y="3532774"/>
                </a:cubicBezTo>
                <a:cubicBezTo>
                  <a:pt x="3702533" y="3527050"/>
                  <a:pt x="3699739" y="3520127"/>
                  <a:pt x="3699739" y="3511608"/>
                </a:cubicBezTo>
                <a:cubicBezTo>
                  <a:pt x="3699739" y="3503355"/>
                  <a:pt x="3702533" y="3496299"/>
                  <a:pt x="3708126" y="3490575"/>
                </a:cubicBezTo>
                <a:cubicBezTo>
                  <a:pt x="3713721" y="3484717"/>
                  <a:pt x="3720910" y="3481923"/>
                  <a:pt x="3729962" y="3481923"/>
                </a:cubicBezTo>
                <a:close/>
                <a:moveTo>
                  <a:pt x="3512307" y="3481923"/>
                </a:moveTo>
                <a:cubicBezTo>
                  <a:pt x="3516568" y="3481923"/>
                  <a:pt x="3520561" y="3482721"/>
                  <a:pt x="3524023" y="3484451"/>
                </a:cubicBezTo>
                <a:cubicBezTo>
                  <a:pt x="3527616" y="3486050"/>
                  <a:pt x="3530812" y="3488179"/>
                  <a:pt x="3533341" y="3490842"/>
                </a:cubicBezTo>
                <a:cubicBezTo>
                  <a:pt x="3535870" y="3493504"/>
                  <a:pt x="3538000" y="3496699"/>
                  <a:pt x="3539464" y="3500292"/>
                </a:cubicBezTo>
                <a:cubicBezTo>
                  <a:pt x="3540928" y="3503887"/>
                  <a:pt x="3541727" y="3507614"/>
                  <a:pt x="3541727" y="3511741"/>
                </a:cubicBezTo>
                <a:cubicBezTo>
                  <a:pt x="3541727" y="3515868"/>
                  <a:pt x="3540928" y="3519862"/>
                  <a:pt x="3539464" y="3523456"/>
                </a:cubicBezTo>
                <a:cubicBezTo>
                  <a:pt x="3538000" y="3527050"/>
                  <a:pt x="3535870" y="3530111"/>
                  <a:pt x="3533341" y="3532774"/>
                </a:cubicBezTo>
                <a:cubicBezTo>
                  <a:pt x="3530678" y="3535437"/>
                  <a:pt x="3527616" y="3537566"/>
                  <a:pt x="3524023" y="3539030"/>
                </a:cubicBezTo>
                <a:cubicBezTo>
                  <a:pt x="3520429" y="3540494"/>
                  <a:pt x="3516568" y="3541293"/>
                  <a:pt x="3512307" y="3541293"/>
                </a:cubicBezTo>
                <a:cubicBezTo>
                  <a:pt x="3503253" y="3541293"/>
                  <a:pt x="3496063" y="3538365"/>
                  <a:pt x="3490472" y="3532774"/>
                </a:cubicBezTo>
                <a:cubicBezTo>
                  <a:pt x="3484881" y="3527050"/>
                  <a:pt x="3482086" y="3520127"/>
                  <a:pt x="3482086" y="3511608"/>
                </a:cubicBezTo>
                <a:cubicBezTo>
                  <a:pt x="3482086" y="3503355"/>
                  <a:pt x="3484881" y="3496299"/>
                  <a:pt x="3490472" y="3490575"/>
                </a:cubicBezTo>
                <a:cubicBezTo>
                  <a:pt x="3496063" y="3484717"/>
                  <a:pt x="3503253" y="3481923"/>
                  <a:pt x="3512307" y="3481923"/>
                </a:cubicBezTo>
                <a:close/>
                <a:moveTo>
                  <a:pt x="3294785" y="3481923"/>
                </a:moveTo>
                <a:cubicBezTo>
                  <a:pt x="3298912" y="3481923"/>
                  <a:pt x="3302907" y="3482721"/>
                  <a:pt x="3306501" y="3484451"/>
                </a:cubicBezTo>
                <a:cubicBezTo>
                  <a:pt x="3310228" y="3486050"/>
                  <a:pt x="3313290" y="3488179"/>
                  <a:pt x="3315819" y="3490842"/>
                </a:cubicBezTo>
                <a:cubicBezTo>
                  <a:pt x="3318348" y="3493504"/>
                  <a:pt x="3320478" y="3496699"/>
                  <a:pt x="3321942" y="3500292"/>
                </a:cubicBezTo>
                <a:cubicBezTo>
                  <a:pt x="3323406" y="3503887"/>
                  <a:pt x="3324205" y="3507614"/>
                  <a:pt x="3324205" y="3511741"/>
                </a:cubicBezTo>
                <a:cubicBezTo>
                  <a:pt x="3324205" y="3515868"/>
                  <a:pt x="3323406" y="3519862"/>
                  <a:pt x="3321942" y="3523456"/>
                </a:cubicBezTo>
                <a:cubicBezTo>
                  <a:pt x="3320478" y="3527050"/>
                  <a:pt x="3318348" y="3530111"/>
                  <a:pt x="3315819" y="3532774"/>
                </a:cubicBezTo>
                <a:cubicBezTo>
                  <a:pt x="3313156" y="3535437"/>
                  <a:pt x="3310094" y="3537566"/>
                  <a:pt x="3306501" y="3539030"/>
                </a:cubicBezTo>
                <a:cubicBezTo>
                  <a:pt x="3302907" y="3540494"/>
                  <a:pt x="3299046" y="3541293"/>
                  <a:pt x="3294785" y="3541293"/>
                </a:cubicBezTo>
                <a:cubicBezTo>
                  <a:pt x="3285732" y="3541293"/>
                  <a:pt x="3278542" y="3538365"/>
                  <a:pt x="3272950" y="3532774"/>
                </a:cubicBezTo>
                <a:cubicBezTo>
                  <a:pt x="3267357" y="3527050"/>
                  <a:pt x="3264562" y="3520127"/>
                  <a:pt x="3264562" y="3511608"/>
                </a:cubicBezTo>
                <a:cubicBezTo>
                  <a:pt x="3264562" y="3503355"/>
                  <a:pt x="3267357" y="3496299"/>
                  <a:pt x="3272950" y="3490575"/>
                </a:cubicBezTo>
                <a:cubicBezTo>
                  <a:pt x="3278542" y="3484717"/>
                  <a:pt x="3285732" y="3481923"/>
                  <a:pt x="3294785" y="3481923"/>
                </a:cubicBezTo>
                <a:close/>
                <a:moveTo>
                  <a:pt x="3077130" y="3481923"/>
                </a:moveTo>
                <a:cubicBezTo>
                  <a:pt x="3081257" y="3481923"/>
                  <a:pt x="3085251" y="3482721"/>
                  <a:pt x="3088845" y="3484451"/>
                </a:cubicBezTo>
                <a:cubicBezTo>
                  <a:pt x="3092440" y="3486050"/>
                  <a:pt x="3095635" y="3488179"/>
                  <a:pt x="3098163" y="3490842"/>
                </a:cubicBezTo>
                <a:cubicBezTo>
                  <a:pt x="3100692" y="3493504"/>
                  <a:pt x="3102823" y="3496699"/>
                  <a:pt x="3104287" y="3500292"/>
                </a:cubicBezTo>
                <a:cubicBezTo>
                  <a:pt x="3105752" y="3503887"/>
                  <a:pt x="3106550" y="3507614"/>
                  <a:pt x="3106550" y="3511741"/>
                </a:cubicBezTo>
                <a:cubicBezTo>
                  <a:pt x="3106550" y="3515868"/>
                  <a:pt x="3105752" y="3519862"/>
                  <a:pt x="3104287" y="3523456"/>
                </a:cubicBezTo>
                <a:cubicBezTo>
                  <a:pt x="3102823" y="3527050"/>
                  <a:pt x="3100692" y="3530111"/>
                  <a:pt x="3098163" y="3532774"/>
                </a:cubicBezTo>
                <a:cubicBezTo>
                  <a:pt x="3095501" y="3535437"/>
                  <a:pt x="3092440" y="3537566"/>
                  <a:pt x="3088845" y="3539030"/>
                </a:cubicBezTo>
                <a:cubicBezTo>
                  <a:pt x="3085251" y="3540494"/>
                  <a:pt x="3081390" y="3541293"/>
                  <a:pt x="3077130" y="3541293"/>
                </a:cubicBezTo>
                <a:cubicBezTo>
                  <a:pt x="3068209" y="3541293"/>
                  <a:pt x="3060888" y="3538365"/>
                  <a:pt x="3055294" y="3532774"/>
                </a:cubicBezTo>
                <a:cubicBezTo>
                  <a:pt x="3049704" y="3527050"/>
                  <a:pt x="3046908" y="3520127"/>
                  <a:pt x="3046908" y="3511608"/>
                </a:cubicBezTo>
                <a:cubicBezTo>
                  <a:pt x="3046908" y="3503355"/>
                  <a:pt x="3049704" y="3496299"/>
                  <a:pt x="3055294" y="3490575"/>
                </a:cubicBezTo>
                <a:cubicBezTo>
                  <a:pt x="3060888" y="3484717"/>
                  <a:pt x="3068077" y="3481923"/>
                  <a:pt x="3077130" y="3481923"/>
                </a:cubicBezTo>
                <a:close/>
                <a:moveTo>
                  <a:pt x="2859475" y="3481923"/>
                </a:moveTo>
                <a:cubicBezTo>
                  <a:pt x="2863735" y="3481923"/>
                  <a:pt x="2867596" y="3482721"/>
                  <a:pt x="2871323" y="3484451"/>
                </a:cubicBezTo>
                <a:cubicBezTo>
                  <a:pt x="2875050" y="3486050"/>
                  <a:pt x="2878112" y="3488179"/>
                  <a:pt x="2880641" y="3490842"/>
                </a:cubicBezTo>
                <a:cubicBezTo>
                  <a:pt x="2883303" y="3493504"/>
                  <a:pt x="2885301" y="3496699"/>
                  <a:pt x="2886765" y="3500292"/>
                </a:cubicBezTo>
                <a:cubicBezTo>
                  <a:pt x="2888229" y="3503887"/>
                  <a:pt x="2889028" y="3507614"/>
                  <a:pt x="2889028" y="3511741"/>
                </a:cubicBezTo>
                <a:cubicBezTo>
                  <a:pt x="2889028" y="3515868"/>
                  <a:pt x="2888229" y="3519862"/>
                  <a:pt x="2886765" y="3523456"/>
                </a:cubicBezTo>
                <a:cubicBezTo>
                  <a:pt x="2885301" y="3527050"/>
                  <a:pt x="2883170" y="3530111"/>
                  <a:pt x="2880641" y="3532774"/>
                </a:cubicBezTo>
                <a:cubicBezTo>
                  <a:pt x="2877979" y="3535437"/>
                  <a:pt x="2874917" y="3537566"/>
                  <a:pt x="2871323" y="3539030"/>
                </a:cubicBezTo>
                <a:cubicBezTo>
                  <a:pt x="2867596" y="3540494"/>
                  <a:pt x="2863735" y="3541293"/>
                  <a:pt x="2859475" y="3541293"/>
                </a:cubicBezTo>
                <a:cubicBezTo>
                  <a:pt x="2850557" y="3541293"/>
                  <a:pt x="2843230" y="3538365"/>
                  <a:pt x="2837640" y="3532774"/>
                </a:cubicBezTo>
                <a:cubicBezTo>
                  <a:pt x="2832049" y="3527050"/>
                  <a:pt x="2829253" y="3520127"/>
                  <a:pt x="2829253" y="3511608"/>
                </a:cubicBezTo>
                <a:cubicBezTo>
                  <a:pt x="2829253" y="3503355"/>
                  <a:pt x="2832049" y="3496299"/>
                  <a:pt x="2837640" y="3490575"/>
                </a:cubicBezTo>
                <a:cubicBezTo>
                  <a:pt x="2843230" y="3484717"/>
                  <a:pt x="2850423" y="3481923"/>
                  <a:pt x="2859475" y="3481923"/>
                </a:cubicBezTo>
                <a:close/>
                <a:moveTo>
                  <a:pt x="2641820" y="3481923"/>
                </a:moveTo>
                <a:cubicBezTo>
                  <a:pt x="2646080" y="3481923"/>
                  <a:pt x="2649940" y="3482721"/>
                  <a:pt x="2653535" y="3484451"/>
                </a:cubicBezTo>
                <a:cubicBezTo>
                  <a:pt x="2657262" y="3486050"/>
                  <a:pt x="2660324" y="3488179"/>
                  <a:pt x="2662853" y="3490842"/>
                </a:cubicBezTo>
                <a:cubicBezTo>
                  <a:pt x="2665515" y="3493504"/>
                  <a:pt x="2667512" y="3496699"/>
                  <a:pt x="2668976" y="3500292"/>
                </a:cubicBezTo>
                <a:cubicBezTo>
                  <a:pt x="2670440" y="3503887"/>
                  <a:pt x="2671239" y="3507614"/>
                  <a:pt x="2671239" y="3511741"/>
                </a:cubicBezTo>
                <a:cubicBezTo>
                  <a:pt x="2671239" y="3515868"/>
                  <a:pt x="2670440" y="3519862"/>
                  <a:pt x="2668976" y="3523456"/>
                </a:cubicBezTo>
                <a:cubicBezTo>
                  <a:pt x="2667512" y="3527050"/>
                  <a:pt x="2665382" y="3530111"/>
                  <a:pt x="2662853" y="3532774"/>
                </a:cubicBezTo>
                <a:cubicBezTo>
                  <a:pt x="2660324" y="3535437"/>
                  <a:pt x="2657129" y="3537566"/>
                  <a:pt x="2653535" y="3539030"/>
                </a:cubicBezTo>
                <a:cubicBezTo>
                  <a:pt x="2649940" y="3540494"/>
                  <a:pt x="2646080" y="3541293"/>
                  <a:pt x="2641820" y="3541293"/>
                </a:cubicBezTo>
                <a:cubicBezTo>
                  <a:pt x="2632901" y="3541293"/>
                  <a:pt x="2625579" y="3538365"/>
                  <a:pt x="2619987" y="3532774"/>
                </a:cubicBezTo>
                <a:cubicBezTo>
                  <a:pt x="2614395" y="3527050"/>
                  <a:pt x="2611599" y="3520127"/>
                  <a:pt x="2611599" y="3511608"/>
                </a:cubicBezTo>
                <a:cubicBezTo>
                  <a:pt x="2611599" y="3503355"/>
                  <a:pt x="2614395" y="3496299"/>
                  <a:pt x="2619987" y="3490575"/>
                </a:cubicBezTo>
                <a:cubicBezTo>
                  <a:pt x="2625579" y="3484717"/>
                  <a:pt x="2632768" y="3481923"/>
                  <a:pt x="2641820" y="3481923"/>
                </a:cubicBezTo>
                <a:close/>
                <a:moveTo>
                  <a:pt x="2424164" y="3481923"/>
                </a:moveTo>
                <a:cubicBezTo>
                  <a:pt x="2428425" y="3481923"/>
                  <a:pt x="2432419" y="3482721"/>
                  <a:pt x="2435880" y="3484451"/>
                </a:cubicBezTo>
                <a:cubicBezTo>
                  <a:pt x="2439607" y="3486050"/>
                  <a:pt x="2442669" y="3488179"/>
                  <a:pt x="2445198" y="3490842"/>
                </a:cubicBezTo>
                <a:cubicBezTo>
                  <a:pt x="2447860" y="3493504"/>
                  <a:pt x="2449857" y="3496699"/>
                  <a:pt x="2451321" y="3500292"/>
                </a:cubicBezTo>
                <a:cubicBezTo>
                  <a:pt x="2452785" y="3503887"/>
                  <a:pt x="2453584" y="3507614"/>
                  <a:pt x="2453584" y="3511741"/>
                </a:cubicBezTo>
                <a:cubicBezTo>
                  <a:pt x="2453584" y="3515868"/>
                  <a:pt x="2452785" y="3519862"/>
                  <a:pt x="2451321" y="3523456"/>
                </a:cubicBezTo>
                <a:cubicBezTo>
                  <a:pt x="2449857" y="3527050"/>
                  <a:pt x="2447727" y="3530111"/>
                  <a:pt x="2445198" y="3532774"/>
                </a:cubicBezTo>
                <a:cubicBezTo>
                  <a:pt x="2442669" y="3535437"/>
                  <a:pt x="2439474" y="3537566"/>
                  <a:pt x="2435880" y="3539030"/>
                </a:cubicBezTo>
                <a:cubicBezTo>
                  <a:pt x="2432286" y="3540494"/>
                  <a:pt x="2428425" y="3541293"/>
                  <a:pt x="2424164" y="3541293"/>
                </a:cubicBezTo>
                <a:cubicBezTo>
                  <a:pt x="2415246" y="3541293"/>
                  <a:pt x="2407924" y="3538365"/>
                  <a:pt x="2402332" y="3532774"/>
                </a:cubicBezTo>
                <a:cubicBezTo>
                  <a:pt x="2396741" y="3527050"/>
                  <a:pt x="2393944" y="3520127"/>
                  <a:pt x="2393944" y="3511608"/>
                </a:cubicBezTo>
                <a:cubicBezTo>
                  <a:pt x="2393944" y="3503355"/>
                  <a:pt x="2396741" y="3496299"/>
                  <a:pt x="2402332" y="3490575"/>
                </a:cubicBezTo>
                <a:cubicBezTo>
                  <a:pt x="2407924" y="3484717"/>
                  <a:pt x="2415112" y="3481923"/>
                  <a:pt x="2424164" y="3481923"/>
                </a:cubicBezTo>
                <a:close/>
                <a:moveTo>
                  <a:pt x="2206509" y="3481923"/>
                </a:moveTo>
                <a:cubicBezTo>
                  <a:pt x="2210769" y="3481923"/>
                  <a:pt x="2214764" y="3482721"/>
                  <a:pt x="2218224" y="3484451"/>
                </a:cubicBezTo>
                <a:cubicBezTo>
                  <a:pt x="2221951" y="3486050"/>
                  <a:pt x="2225013" y="3488179"/>
                  <a:pt x="2227543" y="3490842"/>
                </a:cubicBezTo>
                <a:cubicBezTo>
                  <a:pt x="2230205" y="3493504"/>
                  <a:pt x="2232202" y="3496699"/>
                  <a:pt x="2233666" y="3500292"/>
                </a:cubicBezTo>
                <a:cubicBezTo>
                  <a:pt x="2235130" y="3503887"/>
                  <a:pt x="2235929" y="3507614"/>
                  <a:pt x="2235929" y="3511741"/>
                </a:cubicBezTo>
                <a:cubicBezTo>
                  <a:pt x="2235929" y="3515868"/>
                  <a:pt x="2235130" y="3519862"/>
                  <a:pt x="2233666" y="3523456"/>
                </a:cubicBezTo>
                <a:cubicBezTo>
                  <a:pt x="2232202" y="3527050"/>
                  <a:pt x="2230071" y="3530111"/>
                  <a:pt x="2227543" y="3532774"/>
                </a:cubicBezTo>
                <a:cubicBezTo>
                  <a:pt x="2225013" y="3535437"/>
                  <a:pt x="2221819" y="3537566"/>
                  <a:pt x="2218224" y="3539030"/>
                </a:cubicBezTo>
                <a:cubicBezTo>
                  <a:pt x="2214630" y="3540494"/>
                  <a:pt x="2210769" y="3541293"/>
                  <a:pt x="2206509" y="3541293"/>
                </a:cubicBezTo>
                <a:cubicBezTo>
                  <a:pt x="2197457" y="3541293"/>
                  <a:pt x="2190269" y="3538365"/>
                  <a:pt x="2184677" y="3532774"/>
                </a:cubicBezTo>
                <a:cubicBezTo>
                  <a:pt x="2179085" y="3527050"/>
                  <a:pt x="2176289" y="3520127"/>
                  <a:pt x="2176289" y="3511608"/>
                </a:cubicBezTo>
                <a:cubicBezTo>
                  <a:pt x="2176289" y="3503355"/>
                  <a:pt x="2179085" y="3496299"/>
                  <a:pt x="2184677" y="3490575"/>
                </a:cubicBezTo>
                <a:cubicBezTo>
                  <a:pt x="2190269" y="3484717"/>
                  <a:pt x="2197457" y="3481923"/>
                  <a:pt x="2206509" y="3481923"/>
                </a:cubicBezTo>
                <a:close/>
                <a:moveTo>
                  <a:pt x="1988987" y="3481923"/>
                </a:moveTo>
                <a:cubicBezTo>
                  <a:pt x="1993114" y="3481923"/>
                  <a:pt x="1997108" y="3482721"/>
                  <a:pt x="2000702" y="3484451"/>
                </a:cubicBezTo>
                <a:cubicBezTo>
                  <a:pt x="2004429" y="3486050"/>
                  <a:pt x="2007491" y="3488179"/>
                  <a:pt x="2010020" y="3490842"/>
                </a:cubicBezTo>
                <a:cubicBezTo>
                  <a:pt x="2012682" y="3493504"/>
                  <a:pt x="2014680" y="3496699"/>
                  <a:pt x="2016144" y="3500292"/>
                </a:cubicBezTo>
                <a:cubicBezTo>
                  <a:pt x="2017608" y="3503887"/>
                  <a:pt x="2018407" y="3507614"/>
                  <a:pt x="2018407" y="3511741"/>
                </a:cubicBezTo>
                <a:cubicBezTo>
                  <a:pt x="2018407" y="3515868"/>
                  <a:pt x="2017608" y="3519862"/>
                  <a:pt x="2016144" y="3523456"/>
                </a:cubicBezTo>
                <a:cubicBezTo>
                  <a:pt x="2014680" y="3527050"/>
                  <a:pt x="2012549" y="3530111"/>
                  <a:pt x="2010020" y="3532774"/>
                </a:cubicBezTo>
                <a:cubicBezTo>
                  <a:pt x="2007491" y="3535437"/>
                  <a:pt x="2004296" y="3537566"/>
                  <a:pt x="2000702" y="3539030"/>
                </a:cubicBezTo>
                <a:cubicBezTo>
                  <a:pt x="1997108" y="3540494"/>
                  <a:pt x="1993247" y="3541293"/>
                  <a:pt x="1988987" y="3541293"/>
                </a:cubicBezTo>
                <a:cubicBezTo>
                  <a:pt x="1979936" y="3541293"/>
                  <a:pt x="1972747" y="3538365"/>
                  <a:pt x="1967156" y="3532774"/>
                </a:cubicBezTo>
                <a:cubicBezTo>
                  <a:pt x="1961565" y="3527050"/>
                  <a:pt x="1958770" y="3520127"/>
                  <a:pt x="1958770" y="3511608"/>
                </a:cubicBezTo>
                <a:cubicBezTo>
                  <a:pt x="1958770" y="3503355"/>
                  <a:pt x="1961565" y="3496299"/>
                  <a:pt x="1967156" y="3490575"/>
                </a:cubicBezTo>
                <a:cubicBezTo>
                  <a:pt x="1972747" y="3484717"/>
                  <a:pt x="1979936" y="3481923"/>
                  <a:pt x="1988987" y="3481923"/>
                </a:cubicBezTo>
                <a:close/>
                <a:moveTo>
                  <a:pt x="1771349" y="3481923"/>
                </a:moveTo>
                <a:cubicBezTo>
                  <a:pt x="1775608" y="3481923"/>
                  <a:pt x="1779468" y="3482721"/>
                  <a:pt x="1783063" y="3484451"/>
                </a:cubicBezTo>
                <a:cubicBezTo>
                  <a:pt x="1786791" y="3486050"/>
                  <a:pt x="1789852" y="3488179"/>
                  <a:pt x="1792381" y="3490842"/>
                </a:cubicBezTo>
                <a:cubicBezTo>
                  <a:pt x="1795043" y="3493504"/>
                  <a:pt x="1797041" y="3496699"/>
                  <a:pt x="1798505" y="3500292"/>
                </a:cubicBezTo>
                <a:cubicBezTo>
                  <a:pt x="1799968" y="3503887"/>
                  <a:pt x="1800767" y="3507614"/>
                  <a:pt x="1800767" y="3511741"/>
                </a:cubicBezTo>
                <a:cubicBezTo>
                  <a:pt x="1800767" y="3515868"/>
                  <a:pt x="1799968" y="3519862"/>
                  <a:pt x="1798505" y="3523456"/>
                </a:cubicBezTo>
                <a:cubicBezTo>
                  <a:pt x="1797041" y="3527050"/>
                  <a:pt x="1794911" y="3530111"/>
                  <a:pt x="1792381" y="3532774"/>
                </a:cubicBezTo>
                <a:cubicBezTo>
                  <a:pt x="1789718" y="3535437"/>
                  <a:pt x="1786658" y="3537566"/>
                  <a:pt x="1783063" y="3539030"/>
                </a:cubicBezTo>
                <a:cubicBezTo>
                  <a:pt x="1779468" y="3540494"/>
                  <a:pt x="1775608" y="3541293"/>
                  <a:pt x="1771349" y="3541293"/>
                </a:cubicBezTo>
                <a:cubicBezTo>
                  <a:pt x="1762430" y="3541293"/>
                  <a:pt x="1755110" y="3538365"/>
                  <a:pt x="1749519" y="3532774"/>
                </a:cubicBezTo>
                <a:cubicBezTo>
                  <a:pt x="1743928" y="3527050"/>
                  <a:pt x="1741135" y="3520127"/>
                  <a:pt x="1741135" y="3511608"/>
                </a:cubicBezTo>
                <a:cubicBezTo>
                  <a:pt x="1741135" y="3503355"/>
                  <a:pt x="1743928" y="3496299"/>
                  <a:pt x="1749519" y="3490575"/>
                </a:cubicBezTo>
                <a:cubicBezTo>
                  <a:pt x="1755110" y="3484717"/>
                  <a:pt x="1762297" y="3481923"/>
                  <a:pt x="1771349" y="3481923"/>
                </a:cubicBezTo>
                <a:close/>
                <a:moveTo>
                  <a:pt x="1553709" y="3481923"/>
                </a:moveTo>
                <a:cubicBezTo>
                  <a:pt x="1557969" y="3481923"/>
                  <a:pt x="1561830" y="3482721"/>
                  <a:pt x="1565424" y="3484451"/>
                </a:cubicBezTo>
                <a:cubicBezTo>
                  <a:pt x="1569018" y="3486050"/>
                  <a:pt x="1572213" y="3488179"/>
                  <a:pt x="1574742" y="3490842"/>
                </a:cubicBezTo>
                <a:cubicBezTo>
                  <a:pt x="1577404" y="3493504"/>
                  <a:pt x="1579401" y="3496699"/>
                  <a:pt x="1580865" y="3500292"/>
                </a:cubicBezTo>
                <a:cubicBezTo>
                  <a:pt x="1582329" y="3503887"/>
                  <a:pt x="1583128" y="3507614"/>
                  <a:pt x="1583128" y="3511741"/>
                </a:cubicBezTo>
                <a:cubicBezTo>
                  <a:pt x="1583128" y="3515868"/>
                  <a:pt x="1582329" y="3519862"/>
                  <a:pt x="1580865" y="3523456"/>
                </a:cubicBezTo>
                <a:cubicBezTo>
                  <a:pt x="1579401" y="3527050"/>
                  <a:pt x="1577271" y="3530111"/>
                  <a:pt x="1574742" y="3532774"/>
                </a:cubicBezTo>
                <a:cubicBezTo>
                  <a:pt x="1572080" y="3535437"/>
                  <a:pt x="1569018" y="3537566"/>
                  <a:pt x="1565424" y="3539030"/>
                </a:cubicBezTo>
                <a:cubicBezTo>
                  <a:pt x="1561830" y="3540494"/>
                  <a:pt x="1557969" y="3541293"/>
                  <a:pt x="1553709" y="3541293"/>
                </a:cubicBezTo>
                <a:cubicBezTo>
                  <a:pt x="1544791" y="3541293"/>
                  <a:pt x="1537469" y="3538365"/>
                  <a:pt x="1531878" y="3532774"/>
                </a:cubicBezTo>
                <a:cubicBezTo>
                  <a:pt x="1526290" y="3527050"/>
                  <a:pt x="1523493" y="3520127"/>
                  <a:pt x="1523493" y="3511608"/>
                </a:cubicBezTo>
                <a:cubicBezTo>
                  <a:pt x="1523493" y="3503355"/>
                  <a:pt x="1526290" y="3496299"/>
                  <a:pt x="1531878" y="3490575"/>
                </a:cubicBezTo>
                <a:cubicBezTo>
                  <a:pt x="1537469" y="3484717"/>
                  <a:pt x="1544657" y="3481923"/>
                  <a:pt x="1553709" y="3481923"/>
                </a:cubicBezTo>
                <a:close/>
                <a:moveTo>
                  <a:pt x="1336065" y="3481923"/>
                </a:moveTo>
                <a:cubicBezTo>
                  <a:pt x="1340324" y="3481923"/>
                  <a:pt x="1344320" y="3482721"/>
                  <a:pt x="1347781" y="3484451"/>
                </a:cubicBezTo>
                <a:cubicBezTo>
                  <a:pt x="1351374" y="3486050"/>
                  <a:pt x="1354568" y="3488179"/>
                  <a:pt x="1357099" y="3490842"/>
                </a:cubicBezTo>
                <a:cubicBezTo>
                  <a:pt x="1359761" y="3493504"/>
                  <a:pt x="1361758" y="3496699"/>
                  <a:pt x="1363222" y="3500292"/>
                </a:cubicBezTo>
                <a:cubicBezTo>
                  <a:pt x="1364686" y="3503887"/>
                  <a:pt x="1365484" y="3507614"/>
                  <a:pt x="1365484" y="3511741"/>
                </a:cubicBezTo>
                <a:cubicBezTo>
                  <a:pt x="1365484" y="3515868"/>
                  <a:pt x="1364686" y="3519862"/>
                  <a:pt x="1363222" y="3523456"/>
                </a:cubicBezTo>
                <a:cubicBezTo>
                  <a:pt x="1361758" y="3527050"/>
                  <a:pt x="1359628" y="3530111"/>
                  <a:pt x="1357099" y="3532774"/>
                </a:cubicBezTo>
                <a:cubicBezTo>
                  <a:pt x="1354435" y="3535437"/>
                  <a:pt x="1351374" y="3537566"/>
                  <a:pt x="1347781" y="3539030"/>
                </a:cubicBezTo>
                <a:cubicBezTo>
                  <a:pt x="1344186" y="3540494"/>
                  <a:pt x="1340324" y="3541293"/>
                  <a:pt x="1336065" y="3541293"/>
                </a:cubicBezTo>
                <a:cubicBezTo>
                  <a:pt x="1327145" y="3541293"/>
                  <a:pt x="1319824" y="3538365"/>
                  <a:pt x="1314232" y="3532774"/>
                </a:cubicBezTo>
                <a:cubicBezTo>
                  <a:pt x="1308642" y="3527050"/>
                  <a:pt x="1305847" y="3520127"/>
                  <a:pt x="1305847" y="3511608"/>
                </a:cubicBezTo>
                <a:cubicBezTo>
                  <a:pt x="1305847" y="3503355"/>
                  <a:pt x="1308642" y="3496299"/>
                  <a:pt x="1314232" y="3490575"/>
                </a:cubicBezTo>
                <a:cubicBezTo>
                  <a:pt x="1319824" y="3484717"/>
                  <a:pt x="1327012" y="3481923"/>
                  <a:pt x="1336065" y="3481923"/>
                </a:cubicBezTo>
                <a:close/>
                <a:moveTo>
                  <a:pt x="1118420" y="3481923"/>
                </a:moveTo>
                <a:cubicBezTo>
                  <a:pt x="1122681" y="3481923"/>
                  <a:pt x="1126676" y="3482721"/>
                  <a:pt x="1130137" y="3484451"/>
                </a:cubicBezTo>
                <a:cubicBezTo>
                  <a:pt x="1133864" y="3486050"/>
                  <a:pt x="1136925" y="3488179"/>
                  <a:pt x="1139453" y="3490842"/>
                </a:cubicBezTo>
                <a:cubicBezTo>
                  <a:pt x="1142114" y="3493504"/>
                  <a:pt x="1144111" y="3496699"/>
                  <a:pt x="1145574" y="3500292"/>
                </a:cubicBezTo>
                <a:cubicBezTo>
                  <a:pt x="1147039" y="3503887"/>
                  <a:pt x="1147837" y="3507614"/>
                  <a:pt x="1147837" y="3511741"/>
                </a:cubicBezTo>
                <a:cubicBezTo>
                  <a:pt x="1147837" y="3515868"/>
                  <a:pt x="1147039" y="3519862"/>
                  <a:pt x="1145574" y="3523456"/>
                </a:cubicBezTo>
                <a:cubicBezTo>
                  <a:pt x="1144111" y="3527050"/>
                  <a:pt x="1141981" y="3530111"/>
                  <a:pt x="1139453" y="3532774"/>
                </a:cubicBezTo>
                <a:cubicBezTo>
                  <a:pt x="1136925" y="3535437"/>
                  <a:pt x="1133731" y="3537566"/>
                  <a:pt x="1130137" y="3539030"/>
                </a:cubicBezTo>
                <a:cubicBezTo>
                  <a:pt x="1126541" y="3540494"/>
                  <a:pt x="1122681" y="3541293"/>
                  <a:pt x="1118420" y="3541293"/>
                </a:cubicBezTo>
                <a:cubicBezTo>
                  <a:pt x="1109500" y="3541293"/>
                  <a:pt x="1102177" y="3538365"/>
                  <a:pt x="1096586" y="3532774"/>
                </a:cubicBezTo>
                <a:cubicBezTo>
                  <a:pt x="1090996" y="3527050"/>
                  <a:pt x="1088201" y="3520127"/>
                  <a:pt x="1088201" y="3511608"/>
                </a:cubicBezTo>
                <a:cubicBezTo>
                  <a:pt x="1088201" y="3503355"/>
                  <a:pt x="1090996" y="3496299"/>
                  <a:pt x="1096586" y="3490575"/>
                </a:cubicBezTo>
                <a:cubicBezTo>
                  <a:pt x="1102177" y="3484717"/>
                  <a:pt x="1109366" y="3481923"/>
                  <a:pt x="1118420" y="3481923"/>
                </a:cubicBezTo>
                <a:close/>
                <a:moveTo>
                  <a:pt x="900907" y="3481923"/>
                </a:moveTo>
                <a:cubicBezTo>
                  <a:pt x="905034" y="3481923"/>
                  <a:pt x="909028" y="3482721"/>
                  <a:pt x="912622" y="3484451"/>
                </a:cubicBezTo>
                <a:cubicBezTo>
                  <a:pt x="916349" y="3486050"/>
                  <a:pt x="919411" y="3488179"/>
                  <a:pt x="921941" y="3490842"/>
                </a:cubicBezTo>
                <a:cubicBezTo>
                  <a:pt x="924603" y="3493504"/>
                  <a:pt x="926600" y="3496699"/>
                  <a:pt x="928063" y="3500292"/>
                </a:cubicBezTo>
                <a:cubicBezTo>
                  <a:pt x="929528" y="3503887"/>
                  <a:pt x="930326" y="3507614"/>
                  <a:pt x="930326" y="3511741"/>
                </a:cubicBezTo>
                <a:cubicBezTo>
                  <a:pt x="930326" y="3515868"/>
                  <a:pt x="929528" y="3519862"/>
                  <a:pt x="928063" y="3523456"/>
                </a:cubicBezTo>
                <a:cubicBezTo>
                  <a:pt x="926600" y="3527050"/>
                  <a:pt x="924469" y="3530111"/>
                  <a:pt x="921941" y="3532774"/>
                </a:cubicBezTo>
                <a:cubicBezTo>
                  <a:pt x="919411" y="3535437"/>
                  <a:pt x="916216" y="3537566"/>
                  <a:pt x="912622" y="3539030"/>
                </a:cubicBezTo>
                <a:cubicBezTo>
                  <a:pt x="909028" y="3540494"/>
                  <a:pt x="905167" y="3541293"/>
                  <a:pt x="900907" y="3541293"/>
                </a:cubicBezTo>
                <a:cubicBezTo>
                  <a:pt x="891989" y="3541293"/>
                  <a:pt x="884667" y="3538365"/>
                  <a:pt x="879076" y="3532774"/>
                </a:cubicBezTo>
                <a:cubicBezTo>
                  <a:pt x="873487" y="3527050"/>
                  <a:pt x="870691" y="3520127"/>
                  <a:pt x="870691" y="3511608"/>
                </a:cubicBezTo>
                <a:cubicBezTo>
                  <a:pt x="870691" y="3503355"/>
                  <a:pt x="873487" y="3496299"/>
                  <a:pt x="879076" y="3490575"/>
                </a:cubicBezTo>
                <a:cubicBezTo>
                  <a:pt x="884667" y="3484717"/>
                  <a:pt x="891856" y="3481923"/>
                  <a:pt x="900907" y="3481923"/>
                </a:cubicBezTo>
                <a:close/>
                <a:moveTo>
                  <a:pt x="683265" y="3481923"/>
                </a:moveTo>
                <a:cubicBezTo>
                  <a:pt x="687526" y="3481923"/>
                  <a:pt x="691386" y="3482721"/>
                  <a:pt x="694981" y="3484451"/>
                </a:cubicBezTo>
                <a:cubicBezTo>
                  <a:pt x="698708" y="3486050"/>
                  <a:pt x="701770" y="3488179"/>
                  <a:pt x="704298" y="3490842"/>
                </a:cubicBezTo>
                <a:cubicBezTo>
                  <a:pt x="706960" y="3493504"/>
                  <a:pt x="708957" y="3496699"/>
                  <a:pt x="710421" y="3500292"/>
                </a:cubicBezTo>
                <a:cubicBezTo>
                  <a:pt x="711885" y="3503887"/>
                  <a:pt x="712684" y="3507614"/>
                  <a:pt x="712684" y="3511741"/>
                </a:cubicBezTo>
                <a:cubicBezTo>
                  <a:pt x="712684" y="3515868"/>
                  <a:pt x="711885" y="3519862"/>
                  <a:pt x="710421" y="3523456"/>
                </a:cubicBezTo>
                <a:cubicBezTo>
                  <a:pt x="708957" y="3527050"/>
                  <a:pt x="706827" y="3530111"/>
                  <a:pt x="704298" y="3532774"/>
                </a:cubicBezTo>
                <a:cubicBezTo>
                  <a:pt x="701770" y="3535437"/>
                  <a:pt x="698575" y="3537566"/>
                  <a:pt x="694981" y="3539030"/>
                </a:cubicBezTo>
                <a:cubicBezTo>
                  <a:pt x="691386" y="3540494"/>
                  <a:pt x="687526" y="3541293"/>
                  <a:pt x="683265" y="3541293"/>
                </a:cubicBezTo>
                <a:cubicBezTo>
                  <a:pt x="674347" y="3541293"/>
                  <a:pt x="667025" y="3538365"/>
                  <a:pt x="661434" y="3532774"/>
                </a:cubicBezTo>
                <a:cubicBezTo>
                  <a:pt x="655843" y="3527050"/>
                  <a:pt x="653048" y="3520127"/>
                  <a:pt x="653048" y="3511608"/>
                </a:cubicBezTo>
                <a:cubicBezTo>
                  <a:pt x="653048" y="3503355"/>
                  <a:pt x="655843" y="3496299"/>
                  <a:pt x="661434" y="3490575"/>
                </a:cubicBezTo>
                <a:cubicBezTo>
                  <a:pt x="667025" y="3484717"/>
                  <a:pt x="674214" y="3481923"/>
                  <a:pt x="683265" y="3481923"/>
                </a:cubicBezTo>
                <a:close/>
                <a:moveTo>
                  <a:pt x="465623" y="3481923"/>
                </a:moveTo>
                <a:cubicBezTo>
                  <a:pt x="469883" y="3481923"/>
                  <a:pt x="473743" y="3482721"/>
                  <a:pt x="477338" y="3484451"/>
                </a:cubicBezTo>
                <a:cubicBezTo>
                  <a:pt x="481065" y="3486050"/>
                  <a:pt x="484127" y="3488179"/>
                  <a:pt x="486656" y="3490842"/>
                </a:cubicBezTo>
                <a:cubicBezTo>
                  <a:pt x="489318" y="3493504"/>
                  <a:pt x="491315" y="3496699"/>
                  <a:pt x="492779" y="3500292"/>
                </a:cubicBezTo>
                <a:cubicBezTo>
                  <a:pt x="494243" y="3503887"/>
                  <a:pt x="495042" y="3507614"/>
                  <a:pt x="495042" y="3511741"/>
                </a:cubicBezTo>
                <a:cubicBezTo>
                  <a:pt x="495042" y="3515868"/>
                  <a:pt x="494243" y="3519862"/>
                  <a:pt x="492779" y="3523456"/>
                </a:cubicBezTo>
                <a:cubicBezTo>
                  <a:pt x="491315" y="3527050"/>
                  <a:pt x="489185" y="3530111"/>
                  <a:pt x="486656" y="3532774"/>
                </a:cubicBezTo>
                <a:cubicBezTo>
                  <a:pt x="483993" y="3535437"/>
                  <a:pt x="480932" y="3537566"/>
                  <a:pt x="477338" y="3539030"/>
                </a:cubicBezTo>
                <a:cubicBezTo>
                  <a:pt x="473743" y="3540494"/>
                  <a:pt x="469883" y="3541293"/>
                  <a:pt x="465623" y="3541293"/>
                </a:cubicBezTo>
                <a:cubicBezTo>
                  <a:pt x="456705" y="3541293"/>
                  <a:pt x="449382" y="3538365"/>
                  <a:pt x="443792" y="3532774"/>
                </a:cubicBezTo>
                <a:cubicBezTo>
                  <a:pt x="438201" y="3527050"/>
                  <a:pt x="435406" y="3520127"/>
                  <a:pt x="435406" y="3511608"/>
                </a:cubicBezTo>
                <a:cubicBezTo>
                  <a:pt x="435406" y="3503355"/>
                  <a:pt x="438201" y="3496299"/>
                  <a:pt x="443792" y="3490575"/>
                </a:cubicBezTo>
                <a:cubicBezTo>
                  <a:pt x="449382" y="3484717"/>
                  <a:pt x="456572" y="3481923"/>
                  <a:pt x="465623" y="3481923"/>
                </a:cubicBezTo>
                <a:close/>
                <a:moveTo>
                  <a:pt x="247980" y="3481923"/>
                </a:moveTo>
                <a:cubicBezTo>
                  <a:pt x="252240" y="3481923"/>
                  <a:pt x="256234" y="3482721"/>
                  <a:pt x="259695" y="3484451"/>
                </a:cubicBezTo>
                <a:cubicBezTo>
                  <a:pt x="263422" y="3486050"/>
                  <a:pt x="266484" y="3488179"/>
                  <a:pt x="269013" y="3490842"/>
                </a:cubicBezTo>
                <a:cubicBezTo>
                  <a:pt x="271675" y="3493504"/>
                  <a:pt x="273672" y="3496699"/>
                  <a:pt x="275136" y="3500292"/>
                </a:cubicBezTo>
                <a:cubicBezTo>
                  <a:pt x="276600" y="3503887"/>
                  <a:pt x="277399" y="3507614"/>
                  <a:pt x="277399" y="3511741"/>
                </a:cubicBezTo>
                <a:cubicBezTo>
                  <a:pt x="277399" y="3515868"/>
                  <a:pt x="276600" y="3519862"/>
                  <a:pt x="275136" y="3523456"/>
                </a:cubicBezTo>
                <a:cubicBezTo>
                  <a:pt x="273672" y="3527050"/>
                  <a:pt x="271542" y="3530111"/>
                  <a:pt x="269013" y="3532774"/>
                </a:cubicBezTo>
                <a:cubicBezTo>
                  <a:pt x="266350" y="3535437"/>
                  <a:pt x="263289" y="3537566"/>
                  <a:pt x="259695" y="3539030"/>
                </a:cubicBezTo>
                <a:cubicBezTo>
                  <a:pt x="256100" y="3540494"/>
                  <a:pt x="252240" y="3541293"/>
                  <a:pt x="247980" y="3541293"/>
                </a:cubicBezTo>
                <a:cubicBezTo>
                  <a:pt x="239062" y="3541293"/>
                  <a:pt x="231741" y="3538365"/>
                  <a:pt x="226150" y="3532774"/>
                </a:cubicBezTo>
                <a:cubicBezTo>
                  <a:pt x="220559" y="3527050"/>
                  <a:pt x="217764" y="3520127"/>
                  <a:pt x="217764" y="3511608"/>
                </a:cubicBezTo>
                <a:cubicBezTo>
                  <a:pt x="217764" y="3503355"/>
                  <a:pt x="220559" y="3496299"/>
                  <a:pt x="226150" y="3490575"/>
                </a:cubicBezTo>
                <a:cubicBezTo>
                  <a:pt x="231741" y="3484717"/>
                  <a:pt x="238928" y="3481923"/>
                  <a:pt x="247980" y="3481923"/>
                </a:cubicBezTo>
                <a:close/>
                <a:moveTo>
                  <a:pt x="30337" y="3481923"/>
                </a:moveTo>
                <a:cubicBezTo>
                  <a:pt x="34597" y="3481923"/>
                  <a:pt x="38592" y="3482721"/>
                  <a:pt x="42053" y="3484451"/>
                </a:cubicBezTo>
                <a:cubicBezTo>
                  <a:pt x="45780" y="3486050"/>
                  <a:pt x="48842" y="3488179"/>
                  <a:pt x="51371" y="3490842"/>
                </a:cubicBezTo>
                <a:cubicBezTo>
                  <a:pt x="54033" y="3493504"/>
                  <a:pt x="56030" y="3496699"/>
                  <a:pt x="57494" y="3500292"/>
                </a:cubicBezTo>
                <a:cubicBezTo>
                  <a:pt x="58958" y="3503887"/>
                  <a:pt x="59757" y="3507614"/>
                  <a:pt x="59757" y="3511741"/>
                </a:cubicBezTo>
                <a:cubicBezTo>
                  <a:pt x="59757" y="3515868"/>
                  <a:pt x="58958" y="3519862"/>
                  <a:pt x="57494" y="3523456"/>
                </a:cubicBezTo>
                <a:cubicBezTo>
                  <a:pt x="56030" y="3527050"/>
                  <a:pt x="53900" y="3530111"/>
                  <a:pt x="51371" y="3532774"/>
                </a:cubicBezTo>
                <a:cubicBezTo>
                  <a:pt x="48708" y="3535437"/>
                  <a:pt x="45647" y="3537566"/>
                  <a:pt x="42053" y="3539030"/>
                </a:cubicBezTo>
                <a:cubicBezTo>
                  <a:pt x="38459" y="3540494"/>
                  <a:pt x="34597" y="3541293"/>
                  <a:pt x="30337" y="3541293"/>
                </a:cubicBezTo>
                <a:cubicBezTo>
                  <a:pt x="21419" y="3541293"/>
                  <a:pt x="14098" y="3538365"/>
                  <a:pt x="8508" y="3532774"/>
                </a:cubicBezTo>
                <a:cubicBezTo>
                  <a:pt x="2917" y="3527050"/>
                  <a:pt x="122" y="3520127"/>
                  <a:pt x="122" y="3511608"/>
                </a:cubicBezTo>
                <a:cubicBezTo>
                  <a:pt x="122" y="3503355"/>
                  <a:pt x="2917" y="3496299"/>
                  <a:pt x="8508" y="3490575"/>
                </a:cubicBezTo>
                <a:cubicBezTo>
                  <a:pt x="14098" y="3484717"/>
                  <a:pt x="21285" y="3481923"/>
                  <a:pt x="30337" y="3481923"/>
                </a:cubicBezTo>
                <a:close/>
                <a:moveTo>
                  <a:pt x="10475977" y="3280919"/>
                </a:moveTo>
                <a:cubicBezTo>
                  <a:pt x="10470119" y="3280919"/>
                  <a:pt x="10467589" y="3282914"/>
                  <a:pt x="10465992" y="3284512"/>
                </a:cubicBezTo>
                <a:cubicBezTo>
                  <a:pt x="10463463" y="3287174"/>
                  <a:pt x="10462399" y="3289970"/>
                  <a:pt x="10462399" y="3293962"/>
                </a:cubicBezTo>
                <a:cubicBezTo>
                  <a:pt x="10462399" y="3298090"/>
                  <a:pt x="10463463" y="3300885"/>
                  <a:pt x="10465992" y="3303414"/>
                </a:cubicBezTo>
                <a:cubicBezTo>
                  <a:pt x="10467589" y="3305013"/>
                  <a:pt x="10470119" y="3306875"/>
                  <a:pt x="10475977" y="3306875"/>
                </a:cubicBezTo>
                <a:cubicBezTo>
                  <a:pt x="10478107" y="3306875"/>
                  <a:pt x="10479838" y="3306609"/>
                  <a:pt x="10481302" y="3305943"/>
                </a:cubicBezTo>
                <a:cubicBezTo>
                  <a:pt x="10482899" y="3305411"/>
                  <a:pt x="10484098" y="3304612"/>
                  <a:pt x="10485029" y="3303547"/>
                </a:cubicBezTo>
                <a:cubicBezTo>
                  <a:pt x="10486094" y="3302483"/>
                  <a:pt x="10487026" y="3301018"/>
                  <a:pt x="10487691" y="3299421"/>
                </a:cubicBezTo>
                <a:cubicBezTo>
                  <a:pt x="10488357" y="3297824"/>
                  <a:pt x="10488623" y="3295960"/>
                  <a:pt x="10488623" y="3293962"/>
                </a:cubicBezTo>
                <a:cubicBezTo>
                  <a:pt x="10488623" y="3292100"/>
                  <a:pt x="10488357" y="3290369"/>
                  <a:pt x="10487691" y="3288772"/>
                </a:cubicBezTo>
                <a:cubicBezTo>
                  <a:pt x="10487026" y="3287040"/>
                  <a:pt x="10486094" y="3285709"/>
                  <a:pt x="10485029" y="3284512"/>
                </a:cubicBezTo>
                <a:cubicBezTo>
                  <a:pt x="10483964" y="3283446"/>
                  <a:pt x="10482633" y="3282514"/>
                  <a:pt x="10481035" y="3281849"/>
                </a:cubicBezTo>
                <a:cubicBezTo>
                  <a:pt x="10479571" y="3281184"/>
                  <a:pt x="10477974" y="3280919"/>
                  <a:pt x="10475977" y="3280919"/>
                </a:cubicBezTo>
                <a:close/>
                <a:moveTo>
                  <a:pt x="10258466" y="3280919"/>
                </a:moveTo>
                <a:cubicBezTo>
                  <a:pt x="10252608" y="3280919"/>
                  <a:pt x="10250078" y="3282914"/>
                  <a:pt x="10248481" y="3284512"/>
                </a:cubicBezTo>
                <a:cubicBezTo>
                  <a:pt x="10245952" y="3287174"/>
                  <a:pt x="10244887" y="3289970"/>
                  <a:pt x="10244887" y="3293962"/>
                </a:cubicBezTo>
                <a:cubicBezTo>
                  <a:pt x="10244887" y="3298090"/>
                  <a:pt x="10245952" y="3300885"/>
                  <a:pt x="10248481" y="3303414"/>
                </a:cubicBezTo>
                <a:cubicBezTo>
                  <a:pt x="10250078" y="3305013"/>
                  <a:pt x="10252608" y="3306875"/>
                  <a:pt x="10258466" y="3306875"/>
                </a:cubicBezTo>
                <a:cubicBezTo>
                  <a:pt x="10260462" y="3306875"/>
                  <a:pt x="10262192" y="3306609"/>
                  <a:pt x="10263790" y="3305943"/>
                </a:cubicBezTo>
                <a:cubicBezTo>
                  <a:pt x="10265388" y="3305411"/>
                  <a:pt x="10266586" y="3304612"/>
                  <a:pt x="10267517" y="3303547"/>
                </a:cubicBezTo>
                <a:cubicBezTo>
                  <a:pt x="10268583" y="3302483"/>
                  <a:pt x="10269515" y="3301018"/>
                  <a:pt x="10270180" y="3299421"/>
                </a:cubicBezTo>
                <a:cubicBezTo>
                  <a:pt x="10270845" y="3297824"/>
                  <a:pt x="10271112" y="3295960"/>
                  <a:pt x="10271112" y="3293962"/>
                </a:cubicBezTo>
                <a:cubicBezTo>
                  <a:pt x="10271112" y="3292100"/>
                  <a:pt x="10270845" y="3290369"/>
                  <a:pt x="10270180" y="3288772"/>
                </a:cubicBezTo>
                <a:cubicBezTo>
                  <a:pt x="10269515" y="3287040"/>
                  <a:pt x="10268583" y="3285709"/>
                  <a:pt x="10267517" y="3284512"/>
                </a:cubicBezTo>
                <a:cubicBezTo>
                  <a:pt x="10266452" y="3283446"/>
                  <a:pt x="10265121" y="3282514"/>
                  <a:pt x="10263524" y="3281849"/>
                </a:cubicBezTo>
                <a:cubicBezTo>
                  <a:pt x="10262060" y="3281184"/>
                  <a:pt x="10260462" y="3280919"/>
                  <a:pt x="10258466" y="3280919"/>
                </a:cubicBezTo>
                <a:close/>
                <a:moveTo>
                  <a:pt x="10040820" y="3280919"/>
                </a:moveTo>
                <a:cubicBezTo>
                  <a:pt x="10034962" y="3280919"/>
                  <a:pt x="10032433" y="3282914"/>
                  <a:pt x="10030835" y="3284512"/>
                </a:cubicBezTo>
                <a:cubicBezTo>
                  <a:pt x="10028306" y="3287174"/>
                  <a:pt x="10027242" y="3289970"/>
                  <a:pt x="10027242" y="3293962"/>
                </a:cubicBezTo>
                <a:cubicBezTo>
                  <a:pt x="10027242" y="3298090"/>
                  <a:pt x="10028306" y="3300885"/>
                  <a:pt x="10030835" y="3303414"/>
                </a:cubicBezTo>
                <a:cubicBezTo>
                  <a:pt x="10032433" y="3305013"/>
                  <a:pt x="10034962" y="3306875"/>
                  <a:pt x="10040820" y="3306875"/>
                </a:cubicBezTo>
                <a:cubicBezTo>
                  <a:pt x="10042817" y="3306875"/>
                  <a:pt x="10044681" y="3306609"/>
                  <a:pt x="10046145" y="3305943"/>
                </a:cubicBezTo>
                <a:cubicBezTo>
                  <a:pt x="10047742" y="3305411"/>
                  <a:pt x="10048941" y="3304612"/>
                  <a:pt x="10049872" y="3303547"/>
                </a:cubicBezTo>
                <a:cubicBezTo>
                  <a:pt x="10050937" y="3302483"/>
                  <a:pt x="10051869" y="3301018"/>
                  <a:pt x="10052534" y="3299421"/>
                </a:cubicBezTo>
                <a:cubicBezTo>
                  <a:pt x="10053333" y="3297824"/>
                  <a:pt x="10053599" y="3295960"/>
                  <a:pt x="10053599" y="3293962"/>
                </a:cubicBezTo>
                <a:cubicBezTo>
                  <a:pt x="10053599" y="3292100"/>
                  <a:pt x="10053200" y="3290369"/>
                  <a:pt x="10052534" y="3288772"/>
                </a:cubicBezTo>
                <a:cubicBezTo>
                  <a:pt x="10051869" y="3287040"/>
                  <a:pt x="10050937" y="3285709"/>
                  <a:pt x="10049872" y="3284512"/>
                </a:cubicBezTo>
                <a:cubicBezTo>
                  <a:pt x="10048807" y="3283446"/>
                  <a:pt x="10047476" y="3282514"/>
                  <a:pt x="10045878" y="3281849"/>
                </a:cubicBezTo>
                <a:cubicBezTo>
                  <a:pt x="10044414" y="3281184"/>
                  <a:pt x="10042817" y="3280919"/>
                  <a:pt x="10040820" y="3280919"/>
                </a:cubicBezTo>
                <a:close/>
                <a:moveTo>
                  <a:pt x="9823176" y="3280919"/>
                </a:moveTo>
                <a:cubicBezTo>
                  <a:pt x="9817318" y="3280919"/>
                  <a:pt x="9814788" y="3282914"/>
                  <a:pt x="9813191" y="3284512"/>
                </a:cubicBezTo>
                <a:cubicBezTo>
                  <a:pt x="9810662" y="3287174"/>
                  <a:pt x="9809597" y="3289970"/>
                  <a:pt x="9809597" y="3293962"/>
                </a:cubicBezTo>
                <a:cubicBezTo>
                  <a:pt x="9809597" y="3298090"/>
                  <a:pt x="9810662" y="3300885"/>
                  <a:pt x="9813191" y="3303414"/>
                </a:cubicBezTo>
                <a:cubicBezTo>
                  <a:pt x="9814788" y="3305013"/>
                  <a:pt x="9817318" y="3306875"/>
                  <a:pt x="9823176" y="3306875"/>
                </a:cubicBezTo>
                <a:cubicBezTo>
                  <a:pt x="9825173" y="3306875"/>
                  <a:pt x="9827036" y="3306609"/>
                  <a:pt x="9828501" y="3305943"/>
                </a:cubicBezTo>
                <a:cubicBezTo>
                  <a:pt x="9830098" y="3305411"/>
                  <a:pt x="9831296" y="3304612"/>
                  <a:pt x="9832227" y="3303547"/>
                </a:cubicBezTo>
                <a:cubicBezTo>
                  <a:pt x="9833293" y="3302483"/>
                  <a:pt x="9834225" y="3301018"/>
                  <a:pt x="9834890" y="3299421"/>
                </a:cubicBezTo>
                <a:cubicBezTo>
                  <a:pt x="9835689" y="3297824"/>
                  <a:pt x="9835955" y="3295960"/>
                  <a:pt x="9835955" y="3293962"/>
                </a:cubicBezTo>
                <a:cubicBezTo>
                  <a:pt x="9835955" y="3292100"/>
                  <a:pt x="9835555" y="3290369"/>
                  <a:pt x="9834890" y="3288772"/>
                </a:cubicBezTo>
                <a:cubicBezTo>
                  <a:pt x="9834225" y="3287040"/>
                  <a:pt x="9833293" y="3285709"/>
                  <a:pt x="9832227" y="3284512"/>
                </a:cubicBezTo>
                <a:cubicBezTo>
                  <a:pt x="9831162" y="3283446"/>
                  <a:pt x="9829831" y="3282514"/>
                  <a:pt x="9828234" y="3281849"/>
                </a:cubicBezTo>
                <a:cubicBezTo>
                  <a:pt x="9826770" y="3281184"/>
                  <a:pt x="9825173" y="3280919"/>
                  <a:pt x="9823176" y="3280919"/>
                </a:cubicBezTo>
                <a:close/>
                <a:moveTo>
                  <a:pt x="9605531" y="3280919"/>
                </a:moveTo>
                <a:cubicBezTo>
                  <a:pt x="9599673" y="3280919"/>
                  <a:pt x="9597143" y="3282914"/>
                  <a:pt x="9595546" y="3284512"/>
                </a:cubicBezTo>
                <a:cubicBezTo>
                  <a:pt x="9593017" y="3287174"/>
                  <a:pt x="9591952" y="3289970"/>
                  <a:pt x="9591952" y="3293962"/>
                </a:cubicBezTo>
                <a:cubicBezTo>
                  <a:pt x="9591952" y="3298090"/>
                  <a:pt x="9593017" y="3300885"/>
                  <a:pt x="9595546" y="3303414"/>
                </a:cubicBezTo>
                <a:cubicBezTo>
                  <a:pt x="9597143" y="3305013"/>
                  <a:pt x="9599673" y="3306875"/>
                  <a:pt x="9605531" y="3306875"/>
                </a:cubicBezTo>
                <a:cubicBezTo>
                  <a:pt x="9607660" y="3306875"/>
                  <a:pt x="9609391" y="3306609"/>
                  <a:pt x="9610855" y="3305943"/>
                </a:cubicBezTo>
                <a:cubicBezTo>
                  <a:pt x="9612319" y="3305411"/>
                  <a:pt x="9613651" y="3304612"/>
                  <a:pt x="9614582" y="3303547"/>
                </a:cubicBezTo>
                <a:cubicBezTo>
                  <a:pt x="9615647" y="3302483"/>
                  <a:pt x="9616579" y="3301018"/>
                  <a:pt x="9617245" y="3299421"/>
                </a:cubicBezTo>
                <a:cubicBezTo>
                  <a:pt x="9618044" y="3297824"/>
                  <a:pt x="9618309" y="3295960"/>
                  <a:pt x="9618309" y="3293962"/>
                </a:cubicBezTo>
                <a:cubicBezTo>
                  <a:pt x="9618309" y="3292100"/>
                  <a:pt x="9617910" y="3290369"/>
                  <a:pt x="9617245" y="3288772"/>
                </a:cubicBezTo>
                <a:cubicBezTo>
                  <a:pt x="9616579" y="3287040"/>
                  <a:pt x="9615647" y="3285709"/>
                  <a:pt x="9614582" y="3284512"/>
                </a:cubicBezTo>
                <a:cubicBezTo>
                  <a:pt x="9613517" y="3283446"/>
                  <a:pt x="9612186" y="3282514"/>
                  <a:pt x="9610589" y="3281849"/>
                </a:cubicBezTo>
                <a:cubicBezTo>
                  <a:pt x="9609124" y="3281184"/>
                  <a:pt x="9607394" y="3280919"/>
                  <a:pt x="9605531" y="3280919"/>
                </a:cubicBezTo>
                <a:close/>
                <a:moveTo>
                  <a:pt x="9387885" y="3280919"/>
                </a:moveTo>
                <a:cubicBezTo>
                  <a:pt x="9382027" y="3280919"/>
                  <a:pt x="9379497" y="3282914"/>
                  <a:pt x="9377900" y="3284512"/>
                </a:cubicBezTo>
                <a:cubicBezTo>
                  <a:pt x="9375371" y="3287174"/>
                  <a:pt x="9374307" y="3289970"/>
                  <a:pt x="9374307" y="3293962"/>
                </a:cubicBezTo>
                <a:cubicBezTo>
                  <a:pt x="9374307" y="3298090"/>
                  <a:pt x="9375371" y="3300885"/>
                  <a:pt x="9377900" y="3303414"/>
                </a:cubicBezTo>
                <a:cubicBezTo>
                  <a:pt x="9379497" y="3305013"/>
                  <a:pt x="9382027" y="3306875"/>
                  <a:pt x="9387885" y="3306875"/>
                </a:cubicBezTo>
                <a:cubicBezTo>
                  <a:pt x="9390015" y="3306875"/>
                  <a:pt x="9391746" y="3306609"/>
                  <a:pt x="9393210" y="3305943"/>
                </a:cubicBezTo>
                <a:cubicBezTo>
                  <a:pt x="9394674" y="3305411"/>
                  <a:pt x="9396005" y="3304612"/>
                  <a:pt x="9396937" y="3303547"/>
                </a:cubicBezTo>
                <a:cubicBezTo>
                  <a:pt x="9398002" y="3302483"/>
                  <a:pt x="9398934" y="3301018"/>
                  <a:pt x="9399599" y="3299421"/>
                </a:cubicBezTo>
                <a:cubicBezTo>
                  <a:pt x="9400398" y="3297824"/>
                  <a:pt x="9400664" y="3295960"/>
                  <a:pt x="9400664" y="3293962"/>
                </a:cubicBezTo>
                <a:cubicBezTo>
                  <a:pt x="9400664" y="3292100"/>
                  <a:pt x="9400265" y="3290369"/>
                  <a:pt x="9399599" y="3288772"/>
                </a:cubicBezTo>
                <a:cubicBezTo>
                  <a:pt x="9398934" y="3287040"/>
                  <a:pt x="9398002" y="3285709"/>
                  <a:pt x="9396937" y="3284512"/>
                </a:cubicBezTo>
                <a:cubicBezTo>
                  <a:pt x="9395872" y="3283446"/>
                  <a:pt x="9394541" y="3282514"/>
                  <a:pt x="9392943" y="3281849"/>
                </a:cubicBezTo>
                <a:cubicBezTo>
                  <a:pt x="9391479" y="3281184"/>
                  <a:pt x="9389749" y="3280919"/>
                  <a:pt x="9387885" y="3280919"/>
                </a:cubicBezTo>
                <a:close/>
                <a:moveTo>
                  <a:pt x="9170374" y="3280919"/>
                </a:moveTo>
                <a:cubicBezTo>
                  <a:pt x="9164649" y="3280919"/>
                  <a:pt x="9161986" y="3282914"/>
                  <a:pt x="9160389" y="3284512"/>
                </a:cubicBezTo>
                <a:cubicBezTo>
                  <a:pt x="9157860" y="3287174"/>
                  <a:pt x="9156795" y="3289970"/>
                  <a:pt x="9156795" y="3293962"/>
                </a:cubicBezTo>
                <a:cubicBezTo>
                  <a:pt x="9156795" y="3298090"/>
                  <a:pt x="9157860" y="3300885"/>
                  <a:pt x="9160389" y="3303414"/>
                </a:cubicBezTo>
                <a:cubicBezTo>
                  <a:pt x="9161986" y="3305013"/>
                  <a:pt x="9164516" y="3306875"/>
                  <a:pt x="9170374" y="3306875"/>
                </a:cubicBezTo>
                <a:cubicBezTo>
                  <a:pt x="9172370" y="3306875"/>
                  <a:pt x="9174100" y="3306609"/>
                  <a:pt x="9175698" y="3305943"/>
                </a:cubicBezTo>
                <a:cubicBezTo>
                  <a:pt x="9177163" y="3305411"/>
                  <a:pt x="9178494" y="3304612"/>
                  <a:pt x="9179425" y="3303547"/>
                </a:cubicBezTo>
                <a:cubicBezTo>
                  <a:pt x="9180491" y="3302483"/>
                  <a:pt x="9181422" y="3301018"/>
                  <a:pt x="9182088" y="3299421"/>
                </a:cubicBezTo>
                <a:cubicBezTo>
                  <a:pt x="9182887" y="3297824"/>
                  <a:pt x="9183152" y="3295960"/>
                  <a:pt x="9183152" y="3293962"/>
                </a:cubicBezTo>
                <a:cubicBezTo>
                  <a:pt x="9183152" y="3292100"/>
                  <a:pt x="9182753" y="3290369"/>
                  <a:pt x="9182088" y="3288772"/>
                </a:cubicBezTo>
                <a:cubicBezTo>
                  <a:pt x="9181422" y="3287040"/>
                  <a:pt x="9180491" y="3285709"/>
                  <a:pt x="9179425" y="3284512"/>
                </a:cubicBezTo>
                <a:cubicBezTo>
                  <a:pt x="9178360" y="3283446"/>
                  <a:pt x="9177029" y="3282514"/>
                  <a:pt x="9175432" y="3281849"/>
                </a:cubicBezTo>
                <a:cubicBezTo>
                  <a:pt x="9173967" y="3281184"/>
                  <a:pt x="9172237" y="3280919"/>
                  <a:pt x="9170374" y="3280919"/>
                </a:cubicBezTo>
                <a:close/>
                <a:moveTo>
                  <a:pt x="8952728" y="3280919"/>
                </a:moveTo>
                <a:cubicBezTo>
                  <a:pt x="8947003" y="3280919"/>
                  <a:pt x="8944340" y="3282914"/>
                  <a:pt x="8942743" y="3284512"/>
                </a:cubicBezTo>
                <a:cubicBezTo>
                  <a:pt x="8940214" y="3287174"/>
                  <a:pt x="8939150" y="3289970"/>
                  <a:pt x="8939150" y="3293962"/>
                </a:cubicBezTo>
                <a:cubicBezTo>
                  <a:pt x="8939150" y="3298090"/>
                  <a:pt x="8940214" y="3300885"/>
                  <a:pt x="8942743" y="3303414"/>
                </a:cubicBezTo>
                <a:cubicBezTo>
                  <a:pt x="8944340" y="3305013"/>
                  <a:pt x="8946870" y="3306875"/>
                  <a:pt x="8952728" y="3306875"/>
                </a:cubicBezTo>
                <a:cubicBezTo>
                  <a:pt x="8954725" y="3306875"/>
                  <a:pt x="8956589" y="3306609"/>
                  <a:pt x="8958053" y="3305943"/>
                </a:cubicBezTo>
                <a:cubicBezTo>
                  <a:pt x="8959517" y="3305411"/>
                  <a:pt x="8960849" y="3304612"/>
                  <a:pt x="8961780" y="3303547"/>
                </a:cubicBezTo>
                <a:cubicBezTo>
                  <a:pt x="8962845" y="3302483"/>
                  <a:pt x="8963777" y="3301018"/>
                  <a:pt x="8964442" y="3299421"/>
                </a:cubicBezTo>
                <a:cubicBezTo>
                  <a:pt x="8965241" y="3297824"/>
                  <a:pt x="8965507" y="3295960"/>
                  <a:pt x="8965507" y="3293962"/>
                </a:cubicBezTo>
                <a:cubicBezTo>
                  <a:pt x="8965507" y="3292100"/>
                  <a:pt x="8965108" y="3290369"/>
                  <a:pt x="8964442" y="3288772"/>
                </a:cubicBezTo>
                <a:cubicBezTo>
                  <a:pt x="8963777" y="3287040"/>
                  <a:pt x="8962845" y="3285709"/>
                  <a:pt x="8961780" y="3284512"/>
                </a:cubicBezTo>
                <a:cubicBezTo>
                  <a:pt x="8960715" y="3283446"/>
                  <a:pt x="8959384" y="3282514"/>
                  <a:pt x="8957786" y="3281849"/>
                </a:cubicBezTo>
                <a:cubicBezTo>
                  <a:pt x="8956322" y="3281184"/>
                  <a:pt x="8954592" y="3280919"/>
                  <a:pt x="8952728" y="3280919"/>
                </a:cubicBezTo>
                <a:close/>
                <a:moveTo>
                  <a:pt x="8735083" y="3280919"/>
                </a:moveTo>
                <a:cubicBezTo>
                  <a:pt x="8729358" y="3280919"/>
                  <a:pt x="8726695" y="3282914"/>
                  <a:pt x="8725098" y="3284512"/>
                </a:cubicBezTo>
                <a:cubicBezTo>
                  <a:pt x="8722569" y="3287174"/>
                  <a:pt x="8721504" y="3289970"/>
                  <a:pt x="8721504" y="3293962"/>
                </a:cubicBezTo>
                <a:cubicBezTo>
                  <a:pt x="8721504" y="3298090"/>
                  <a:pt x="8722569" y="3300885"/>
                  <a:pt x="8725098" y="3303414"/>
                </a:cubicBezTo>
                <a:cubicBezTo>
                  <a:pt x="8726695" y="3305013"/>
                  <a:pt x="8729225" y="3306875"/>
                  <a:pt x="8735083" y="3306875"/>
                </a:cubicBezTo>
                <a:cubicBezTo>
                  <a:pt x="8737079" y="3306875"/>
                  <a:pt x="8738943" y="3306609"/>
                  <a:pt x="8740407" y="3305943"/>
                </a:cubicBezTo>
                <a:cubicBezTo>
                  <a:pt x="8741872" y="3305411"/>
                  <a:pt x="8743203" y="3304612"/>
                  <a:pt x="8744134" y="3303547"/>
                </a:cubicBezTo>
                <a:cubicBezTo>
                  <a:pt x="8745200" y="3302483"/>
                  <a:pt x="8746132" y="3301018"/>
                  <a:pt x="8746797" y="3299421"/>
                </a:cubicBezTo>
                <a:cubicBezTo>
                  <a:pt x="8747596" y="3297824"/>
                  <a:pt x="8747862" y="3295960"/>
                  <a:pt x="8747862" y="3293962"/>
                </a:cubicBezTo>
                <a:cubicBezTo>
                  <a:pt x="8747862" y="3292100"/>
                  <a:pt x="8747462" y="3290369"/>
                  <a:pt x="8746797" y="3288772"/>
                </a:cubicBezTo>
                <a:cubicBezTo>
                  <a:pt x="8746132" y="3287040"/>
                  <a:pt x="8745200" y="3285709"/>
                  <a:pt x="8744134" y="3284512"/>
                </a:cubicBezTo>
                <a:cubicBezTo>
                  <a:pt x="8743069" y="3283446"/>
                  <a:pt x="8741738" y="3282514"/>
                  <a:pt x="8740141" y="3281849"/>
                </a:cubicBezTo>
                <a:cubicBezTo>
                  <a:pt x="8738677" y="3281184"/>
                  <a:pt x="8736946" y="3280919"/>
                  <a:pt x="8735083" y="3280919"/>
                </a:cubicBezTo>
                <a:close/>
                <a:moveTo>
                  <a:pt x="8517438" y="3280919"/>
                </a:moveTo>
                <a:cubicBezTo>
                  <a:pt x="8511713" y="3280919"/>
                  <a:pt x="8509051" y="3282914"/>
                  <a:pt x="8507453" y="3284512"/>
                </a:cubicBezTo>
                <a:cubicBezTo>
                  <a:pt x="8504925" y="3287174"/>
                  <a:pt x="8503860" y="3289970"/>
                  <a:pt x="8503860" y="3293962"/>
                </a:cubicBezTo>
                <a:cubicBezTo>
                  <a:pt x="8503860" y="3298090"/>
                  <a:pt x="8504925" y="3300885"/>
                  <a:pt x="8507453" y="3303414"/>
                </a:cubicBezTo>
                <a:cubicBezTo>
                  <a:pt x="8509051" y="3305013"/>
                  <a:pt x="8511581" y="3306875"/>
                  <a:pt x="8517438" y="3306875"/>
                </a:cubicBezTo>
                <a:cubicBezTo>
                  <a:pt x="8519568" y="3306875"/>
                  <a:pt x="8521299" y="3306609"/>
                  <a:pt x="8522763" y="3305943"/>
                </a:cubicBezTo>
                <a:cubicBezTo>
                  <a:pt x="8524227" y="3305411"/>
                  <a:pt x="8525559" y="3304612"/>
                  <a:pt x="8526490" y="3303547"/>
                </a:cubicBezTo>
                <a:cubicBezTo>
                  <a:pt x="8527555" y="3302483"/>
                  <a:pt x="8528487" y="3301018"/>
                  <a:pt x="8529152" y="3299421"/>
                </a:cubicBezTo>
                <a:cubicBezTo>
                  <a:pt x="8529818" y="3297824"/>
                  <a:pt x="8530084" y="3295960"/>
                  <a:pt x="8530084" y="3293962"/>
                </a:cubicBezTo>
                <a:cubicBezTo>
                  <a:pt x="8530084" y="3292100"/>
                  <a:pt x="8529818" y="3290369"/>
                  <a:pt x="8529152" y="3288772"/>
                </a:cubicBezTo>
                <a:cubicBezTo>
                  <a:pt x="8528487" y="3287040"/>
                  <a:pt x="8527555" y="3285709"/>
                  <a:pt x="8526490" y="3284512"/>
                </a:cubicBezTo>
                <a:cubicBezTo>
                  <a:pt x="8525425" y="3283446"/>
                  <a:pt x="8524094" y="3282514"/>
                  <a:pt x="8522496" y="3281849"/>
                </a:cubicBezTo>
                <a:cubicBezTo>
                  <a:pt x="8521032" y="3281184"/>
                  <a:pt x="8519302" y="3280919"/>
                  <a:pt x="8517438" y="3280919"/>
                </a:cubicBezTo>
                <a:close/>
                <a:moveTo>
                  <a:pt x="8299793" y="3280919"/>
                </a:moveTo>
                <a:cubicBezTo>
                  <a:pt x="8294068" y="3280919"/>
                  <a:pt x="8291406" y="3282914"/>
                  <a:pt x="8289809" y="3284512"/>
                </a:cubicBezTo>
                <a:cubicBezTo>
                  <a:pt x="8287280" y="3287174"/>
                  <a:pt x="8286215" y="3289970"/>
                  <a:pt x="8286215" y="3293962"/>
                </a:cubicBezTo>
                <a:cubicBezTo>
                  <a:pt x="8286215" y="3298090"/>
                  <a:pt x="8287280" y="3300885"/>
                  <a:pt x="8289809" y="3303414"/>
                </a:cubicBezTo>
                <a:cubicBezTo>
                  <a:pt x="8291406" y="3305013"/>
                  <a:pt x="8293935" y="3306875"/>
                  <a:pt x="8299793" y="3306875"/>
                </a:cubicBezTo>
                <a:cubicBezTo>
                  <a:pt x="8301923" y="3306875"/>
                  <a:pt x="8303653" y="3306609"/>
                  <a:pt x="8305118" y="3305943"/>
                </a:cubicBezTo>
                <a:cubicBezTo>
                  <a:pt x="8306582" y="3305411"/>
                  <a:pt x="8307913" y="3304612"/>
                  <a:pt x="8308844" y="3303547"/>
                </a:cubicBezTo>
                <a:cubicBezTo>
                  <a:pt x="8309910" y="3302483"/>
                  <a:pt x="8310842" y="3301018"/>
                  <a:pt x="8311507" y="3299421"/>
                </a:cubicBezTo>
                <a:cubicBezTo>
                  <a:pt x="8312172" y="3297824"/>
                  <a:pt x="8312439" y="3295960"/>
                  <a:pt x="8312439" y="3293962"/>
                </a:cubicBezTo>
                <a:cubicBezTo>
                  <a:pt x="8312439" y="3292100"/>
                  <a:pt x="8312172" y="3290369"/>
                  <a:pt x="8311507" y="3288772"/>
                </a:cubicBezTo>
                <a:cubicBezTo>
                  <a:pt x="8310842" y="3287040"/>
                  <a:pt x="8309910" y="3285709"/>
                  <a:pt x="8308844" y="3284512"/>
                </a:cubicBezTo>
                <a:cubicBezTo>
                  <a:pt x="8307779" y="3283446"/>
                  <a:pt x="8306448" y="3282514"/>
                  <a:pt x="8304851" y="3281849"/>
                </a:cubicBezTo>
                <a:cubicBezTo>
                  <a:pt x="8303387" y="3281184"/>
                  <a:pt x="8301790" y="3280919"/>
                  <a:pt x="8299793" y="3280919"/>
                </a:cubicBezTo>
                <a:close/>
                <a:moveTo>
                  <a:pt x="8082281" y="3280919"/>
                </a:moveTo>
                <a:cubicBezTo>
                  <a:pt x="8076424" y="3280919"/>
                  <a:pt x="8073894" y="3282914"/>
                  <a:pt x="8072297" y="3284512"/>
                </a:cubicBezTo>
                <a:cubicBezTo>
                  <a:pt x="8069768" y="3287174"/>
                  <a:pt x="8068703" y="3289970"/>
                  <a:pt x="8068703" y="3293962"/>
                </a:cubicBezTo>
                <a:cubicBezTo>
                  <a:pt x="8068703" y="3298090"/>
                  <a:pt x="8069768" y="3300885"/>
                  <a:pt x="8072297" y="3303414"/>
                </a:cubicBezTo>
                <a:cubicBezTo>
                  <a:pt x="8073894" y="3305013"/>
                  <a:pt x="8076424" y="3306875"/>
                  <a:pt x="8082281" y="3306875"/>
                </a:cubicBezTo>
                <a:cubicBezTo>
                  <a:pt x="8084277" y="3306875"/>
                  <a:pt x="8086007" y="3306609"/>
                  <a:pt x="8087605" y="3305943"/>
                </a:cubicBezTo>
                <a:cubicBezTo>
                  <a:pt x="8089069" y="3305411"/>
                  <a:pt x="8090401" y="3304612"/>
                  <a:pt x="8091332" y="3303547"/>
                </a:cubicBezTo>
                <a:cubicBezTo>
                  <a:pt x="8092397" y="3302483"/>
                  <a:pt x="8093329" y="3301018"/>
                  <a:pt x="8093994" y="3299421"/>
                </a:cubicBezTo>
                <a:cubicBezTo>
                  <a:pt x="8094660" y="3297824"/>
                  <a:pt x="8094926" y="3295960"/>
                  <a:pt x="8094926" y="3293962"/>
                </a:cubicBezTo>
                <a:cubicBezTo>
                  <a:pt x="8094926" y="3292100"/>
                  <a:pt x="8094660" y="3290369"/>
                  <a:pt x="8093994" y="3288772"/>
                </a:cubicBezTo>
                <a:cubicBezTo>
                  <a:pt x="8093329" y="3287040"/>
                  <a:pt x="8092397" y="3285709"/>
                  <a:pt x="8091332" y="3284512"/>
                </a:cubicBezTo>
                <a:cubicBezTo>
                  <a:pt x="8090267" y="3283446"/>
                  <a:pt x="8088936" y="3282514"/>
                  <a:pt x="8087338" y="3281849"/>
                </a:cubicBezTo>
                <a:cubicBezTo>
                  <a:pt x="8085874" y="3281184"/>
                  <a:pt x="8084277" y="3280919"/>
                  <a:pt x="8082281" y="3280919"/>
                </a:cubicBezTo>
                <a:close/>
                <a:moveTo>
                  <a:pt x="7864636" y="3280919"/>
                </a:moveTo>
                <a:cubicBezTo>
                  <a:pt x="7858779" y="3280919"/>
                  <a:pt x="7856249" y="3282914"/>
                  <a:pt x="7854652" y="3284512"/>
                </a:cubicBezTo>
                <a:cubicBezTo>
                  <a:pt x="7852123" y="3287174"/>
                  <a:pt x="7851058" y="3289970"/>
                  <a:pt x="7851058" y="3293962"/>
                </a:cubicBezTo>
                <a:cubicBezTo>
                  <a:pt x="7851058" y="3298090"/>
                  <a:pt x="7852123" y="3300885"/>
                  <a:pt x="7854652" y="3303414"/>
                </a:cubicBezTo>
                <a:cubicBezTo>
                  <a:pt x="7856249" y="3305013"/>
                  <a:pt x="7858779" y="3306875"/>
                  <a:pt x="7864636" y="3306875"/>
                </a:cubicBezTo>
                <a:cubicBezTo>
                  <a:pt x="7866633" y="3306875"/>
                  <a:pt x="7868363" y="3306609"/>
                  <a:pt x="7869961" y="3305943"/>
                </a:cubicBezTo>
                <a:cubicBezTo>
                  <a:pt x="7871425" y="3305411"/>
                  <a:pt x="7872756" y="3304612"/>
                  <a:pt x="7873687" y="3303547"/>
                </a:cubicBezTo>
                <a:cubicBezTo>
                  <a:pt x="7874753" y="3302483"/>
                  <a:pt x="7875685" y="3301018"/>
                  <a:pt x="7876350" y="3299421"/>
                </a:cubicBezTo>
                <a:cubicBezTo>
                  <a:pt x="7877015" y="3297824"/>
                  <a:pt x="7877282" y="3295960"/>
                  <a:pt x="7877282" y="3293962"/>
                </a:cubicBezTo>
                <a:cubicBezTo>
                  <a:pt x="7877282" y="3292100"/>
                  <a:pt x="7877015" y="3290369"/>
                  <a:pt x="7876350" y="3288772"/>
                </a:cubicBezTo>
                <a:cubicBezTo>
                  <a:pt x="7875685" y="3287040"/>
                  <a:pt x="7874753" y="3285709"/>
                  <a:pt x="7873687" y="3284512"/>
                </a:cubicBezTo>
                <a:cubicBezTo>
                  <a:pt x="7872623" y="3283446"/>
                  <a:pt x="7871291" y="3282514"/>
                  <a:pt x="7869694" y="3281849"/>
                </a:cubicBezTo>
                <a:cubicBezTo>
                  <a:pt x="7868230" y="3281184"/>
                  <a:pt x="7866633" y="3280919"/>
                  <a:pt x="7864636" y="3280919"/>
                </a:cubicBezTo>
                <a:close/>
                <a:moveTo>
                  <a:pt x="7646991" y="3280919"/>
                </a:moveTo>
                <a:cubicBezTo>
                  <a:pt x="7641134" y="3280919"/>
                  <a:pt x="7638604" y="3282914"/>
                  <a:pt x="7637007" y="3284512"/>
                </a:cubicBezTo>
                <a:cubicBezTo>
                  <a:pt x="7634478" y="3287174"/>
                  <a:pt x="7633413" y="3289970"/>
                  <a:pt x="7633413" y="3293962"/>
                </a:cubicBezTo>
                <a:cubicBezTo>
                  <a:pt x="7633413" y="3298090"/>
                  <a:pt x="7634478" y="3300885"/>
                  <a:pt x="7637007" y="3303414"/>
                </a:cubicBezTo>
                <a:cubicBezTo>
                  <a:pt x="7638604" y="3305013"/>
                  <a:pt x="7641134" y="3306875"/>
                  <a:pt x="7646991" y="3306875"/>
                </a:cubicBezTo>
                <a:cubicBezTo>
                  <a:pt x="7648987" y="3306875"/>
                  <a:pt x="7650851" y="3306609"/>
                  <a:pt x="7652315" y="3305943"/>
                </a:cubicBezTo>
                <a:cubicBezTo>
                  <a:pt x="7653780" y="3305411"/>
                  <a:pt x="7655111" y="3304612"/>
                  <a:pt x="7656042" y="3303547"/>
                </a:cubicBezTo>
                <a:cubicBezTo>
                  <a:pt x="7657108" y="3302483"/>
                  <a:pt x="7658039" y="3301018"/>
                  <a:pt x="7658705" y="3299421"/>
                </a:cubicBezTo>
                <a:cubicBezTo>
                  <a:pt x="7659504" y="3297824"/>
                  <a:pt x="7659769" y="3295960"/>
                  <a:pt x="7659769" y="3293962"/>
                </a:cubicBezTo>
                <a:cubicBezTo>
                  <a:pt x="7659769" y="3292100"/>
                  <a:pt x="7659370" y="3290369"/>
                  <a:pt x="7658705" y="3288772"/>
                </a:cubicBezTo>
                <a:cubicBezTo>
                  <a:pt x="7658039" y="3287040"/>
                  <a:pt x="7657108" y="3285709"/>
                  <a:pt x="7656042" y="3284512"/>
                </a:cubicBezTo>
                <a:cubicBezTo>
                  <a:pt x="7654977" y="3283446"/>
                  <a:pt x="7653646" y="3282514"/>
                  <a:pt x="7652049" y="3281849"/>
                </a:cubicBezTo>
                <a:cubicBezTo>
                  <a:pt x="7650584" y="3281184"/>
                  <a:pt x="7648987" y="3280919"/>
                  <a:pt x="7646991" y="3280919"/>
                </a:cubicBezTo>
                <a:close/>
                <a:moveTo>
                  <a:pt x="7429345" y="3280919"/>
                </a:moveTo>
                <a:cubicBezTo>
                  <a:pt x="7423488" y="3280919"/>
                  <a:pt x="7420958" y="3282914"/>
                  <a:pt x="7419361" y="3284512"/>
                </a:cubicBezTo>
                <a:cubicBezTo>
                  <a:pt x="7416832" y="3287174"/>
                  <a:pt x="7415768" y="3289970"/>
                  <a:pt x="7415768" y="3293962"/>
                </a:cubicBezTo>
                <a:cubicBezTo>
                  <a:pt x="7415768" y="3298090"/>
                  <a:pt x="7416832" y="3300885"/>
                  <a:pt x="7419361" y="3303414"/>
                </a:cubicBezTo>
                <a:cubicBezTo>
                  <a:pt x="7420958" y="3305013"/>
                  <a:pt x="7423488" y="3306875"/>
                  <a:pt x="7429345" y="3306875"/>
                </a:cubicBezTo>
                <a:cubicBezTo>
                  <a:pt x="7431342" y="3306875"/>
                  <a:pt x="7433206" y="3306609"/>
                  <a:pt x="7434670" y="3305943"/>
                </a:cubicBezTo>
                <a:cubicBezTo>
                  <a:pt x="7436134" y="3305411"/>
                  <a:pt x="7437466" y="3304612"/>
                  <a:pt x="7438397" y="3303547"/>
                </a:cubicBezTo>
                <a:cubicBezTo>
                  <a:pt x="7439462" y="3302483"/>
                  <a:pt x="7440394" y="3301018"/>
                  <a:pt x="7441059" y="3299421"/>
                </a:cubicBezTo>
                <a:cubicBezTo>
                  <a:pt x="7441858" y="3297824"/>
                  <a:pt x="7442124" y="3295960"/>
                  <a:pt x="7442124" y="3293962"/>
                </a:cubicBezTo>
                <a:cubicBezTo>
                  <a:pt x="7442124" y="3292100"/>
                  <a:pt x="7441725" y="3290369"/>
                  <a:pt x="7441059" y="3288772"/>
                </a:cubicBezTo>
                <a:cubicBezTo>
                  <a:pt x="7440394" y="3287040"/>
                  <a:pt x="7439462" y="3285709"/>
                  <a:pt x="7438397" y="3284512"/>
                </a:cubicBezTo>
                <a:cubicBezTo>
                  <a:pt x="7437332" y="3283446"/>
                  <a:pt x="7436001" y="3282514"/>
                  <a:pt x="7434403" y="3281849"/>
                </a:cubicBezTo>
                <a:cubicBezTo>
                  <a:pt x="7432939" y="3281184"/>
                  <a:pt x="7431342" y="3280919"/>
                  <a:pt x="7429345" y="3280919"/>
                </a:cubicBezTo>
                <a:close/>
                <a:moveTo>
                  <a:pt x="7211701" y="3280919"/>
                </a:moveTo>
                <a:cubicBezTo>
                  <a:pt x="7205844" y="3280919"/>
                  <a:pt x="7203314" y="3282914"/>
                  <a:pt x="7201717" y="3284512"/>
                </a:cubicBezTo>
                <a:cubicBezTo>
                  <a:pt x="7199188" y="3287174"/>
                  <a:pt x="7198123" y="3289970"/>
                  <a:pt x="7198123" y="3293962"/>
                </a:cubicBezTo>
                <a:cubicBezTo>
                  <a:pt x="7198123" y="3298090"/>
                  <a:pt x="7199188" y="3300885"/>
                  <a:pt x="7201717" y="3303414"/>
                </a:cubicBezTo>
                <a:cubicBezTo>
                  <a:pt x="7203314" y="3305013"/>
                  <a:pt x="7205844" y="3306875"/>
                  <a:pt x="7211701" y="3306875"/>
                </a:cubicBezTo>
                <a:cubicBezTo>
                  <a:pt x="7213830" y="3306875"/>
                  <a:pt x="7215561" y="3306609"/>
                  <a:pt x="7217026" y="3305943"/>
                </a:cubicBezTo>
                <a:cubicBezTo>
                  <a:pt x="7218490" y="3305411"/>
                  <a:pt x="7219821" y="3304612"/>
                  <a:pt x="7220752" y="3303547"/>
                </a:cubicBezTo>
                <a:cubicBezTo>
                  <a:pt x="7221818" y="3302483"/>
                  <a:pt x="7222750" y="3301018"/>
                  <a:pt x="7223415" y="3299421"/>
                </a:cubicBezTo>
                <a:cubicBezTo>
                  <a:pt x="7224214" y="3297824"/>
                  <a:pt x="7224480" y="3295960"/>
                  <a:pt x="7224480" y="3293962"/>
                </a:cubicBezTo>
                <a:cubicBezTo>
                  <a:pt x="7224480" y="3292100"/>
                  <a:pt x="7224080" y="3290369"/>
                  <a:pt x="7223415" y="3288772"/>
                </a:cubicBezTo>
                <a:cubicBezTo>
                  <a:pt x="7222750" y="3287040"/>
                  <a:pt x="7221818" y="3285709"/>
                  <a:pt x="7220752" y="3284512"/>
                </a:cubicBezTo>
                <a:cubicBezTo>
                  <a:pt x="7219687" y="3283446"/>
                  <a:pt x="7218356" y="3282514"/>
                  <a:pt x="7216759" y="3281849"/>
                </a:cubicBezTo>
                <a:cubicBezTo>
                  <a:pt x="7215295" y="3281184"/>
                  <a:pt x="7213698" y="3280919"/>
                  <a:pt x="7211701" y="3280919"/>
                </a:cubicBezTo>
                <a:close/>
                <a:moveTo>
                  <a:pt x="6994056" y="3280919"/>
                </a:moveTo>
                <a:cubicBezTo>
                  <a:pt x="6988199" y="3280919"/>
                  <a:pt x="6985669" y="3282914"/>
                  <a:pt x="6984072" y="3284512"/>
                </a:cubicBezTo>
                <a:cubicBezTo>
                  <a:pt x="6981543" y="3287174"/>
                  <a:pt x="6980478" y="3289970"/>
                  <a:pt x="6980478" y="3293962"/>
                </a:cubicBezTo>
                <a:cubicBezTo>
                  <a:pt x="6980478" y="3298090"/>
                  <a:pt x="6981543" y="3300885"/>
                  <a:pt x="6984072" y="3303414"/>
                </a:cubicBezTo>
                <a:cubicBezTo>
                  <a:pt x="6985669" y="3305013"/>
                  <a:pt x="6988199" y="3306875"/>
                  <a:pt x="6994056" y="3306875"/>
                </a:cubicBezTo>
                <a:cubicBezTo>
                  <a:pt x="6996185" y="3306875"/>
                  <a:pt x="6997916" y="3306609"/>
                  <a:pt x="6999380" y="3305943"/>
                </a:cubicBezTo>
                <a:cubicBezTo>
                  <a:pt x="7000844" y="3305411"/>
                  <a:pt x="7002176" y="3304612"/>
                  <a:pt x="7003107" y="3303547"/>
                </a:cubicBezTo>
                <a:cubicBezTo>
                  <a:pt x="7004172" y="3302483"/>
                  <a:pt x="7005104" y="3301018"/>
                  <a:pt x="7005769" y="3299421"/>
                </a:cubicBezTo>
                <a:cubicBezTo>
                  <a:pt x="7006568" y="3297824"/>
                  <a:pt x="7006834" y="3295960"/>
                  <a:pt x="7006834" y="3293962"/>
                </a:cubicBezTo>
                <a:cubicBezTo>
                  <a:pt x="7006834" y="3292100"/>
                  <a:pt x="7006435" y="3290369"/>
                  <a:pt x="7005769" y="3288772"/>
                </a:cubicBezTo>
                <a:cubicBezTo>
                  <a:pt x="7005104" y="3287040"/>
                  <a:pt x="7004172" y="3285709"/>
                  <a:pt x="7003107" y="3284512"/>
                </a:cubicBezTo>
                <a:cubicBezTo>
                  <a:pt x="7002042" y="3283446"/>
                  <a:pt x="7000711" y="3282514"/>
                  <a:pt x="6999113" y="3281849"/>
                </a:cubicBezTo>
                <a:cubicBezTo>
                  <a:pt x="6997649" y="3281184"/>
                  <a:pt x="6996052" y="3280919"/>
                  <a:pt x="6994056" y="3280919"/>
                </a:cubicBezTo>
                <a:close/>
                <a:moveTo>
                  <a:pt x="6776544" y="3280919"/>
                </a:moveTo>
                <a:cubicBezTo>
                  <a:pt x="6770687" y="3280919"/>
                  <a:pt x="6768157" y="3282914"/>
                  <a:pt x="6766560" y="3284512"/>
                </a:cubicBezTo>
                <a:cubicBezTo>
                  <a:pt x="6764031" y="3287174"/>
                  <a:pt x="6762966" y="3289970"/>
                  <a:pt x="6762966" y="3293962"/>
                </a:cubicBezTo>
                <a:cubicBezTo>
                  <a:pt x="6762966" y="3298090"/>
                  <a:pt x="6764031" y="3300885"/>
                  <a:pt x="6766560" y="3303414"/>
                </a:cubicBezTo>
                <a:cubicBezTo>
                  <a:pt x="6768157" y="3305013"/>
                  <a:pt x="6770687" y="3306875"/>
                  <a:pt x="6776544" y="3306875"/>
                </a:cubicBezTo>
                <a:cubicBezTo>
                  <a:pt x="6778541" y="3306875"/>
                  <a:pt x="6780270" y="3306609"/>
                  <a:pt x="6781869" y="3305943"/>
                </a:cubicBezTo>
                <a:cubicBezTo>
                  <a:pt x="6783333" y="3305411"/>
                  <a:pt x="6784664" y="3304612"/>
                  <a:pt x="6785595" y="3303547"/>
                </a:cubicBezTo>
                <a:cubicBezTo>
                  <a:pt x="6786661" y="3302483"/>
                  <a:pt x="6787593" y="3301018"/>
                  <a:pt x="6788258" y="3299421"/>
                </a:cubicBezTo>
                <a:cubicBezTo>
                  <a:pt x="6789057" y="3297824"/>
                  <a:pt x="6789323" y="3295960"/>
                  <a:pt x="6789323" y="3293962"/>
                </a:cubicBezTo>
                <a:cubicBezTo>
                  <a:pt x="6789323" y="3292100"/>
                  <a:pt x="6788923" y="3290369"/>
                  <a:pt x="6788258" y="3288772"/>
                </a:cubicBezTo>
                <a:cubicBezTo>
                  <a:pt x="6787593" y="3287040"/>
                  <a:pt x="6786661" y="3285709"/>
                  <a:pt x="6785595" y="3284512"/>
                </a:cubicBezTo>
                <a:cubicBezTo>
                  <a:pt x="6784530" y="3283446"/>
                  <a:pt x="6783199" y="3282514"/>
                  <a:pt x="6781602" y="3281849"/>
                </a:cubicBezTo>
                <a:cubicBezTo>
                  <a:pt x="6780138" y="3281184"/>
                  <a:pt x="6778541" y="3280919"/>
                  <a:pt x="6776544" y="3280919"/>
                </a:cubicBezTo>
                <a:close/>
                <a:moveTo>
                  <a:pt x="6558899" y="3280919"/>
                </a:moveTo>
                <a:cubicBezTo>
                  <a:pt x="6553042" y="3280919"/>
                  <a:pt x="6550512" y="3282914"/>
                  <a:pt x="6548915" y="3284512"/>
                </a:cubicBezTo>
                <a:cubicBezTo>
                  <a:pt x="6546386" y="3287174"/>
                  <a:pt x="6545321" y="3289970"/>
                  <a:pt x="6545321" y="3293962"/>
                </a:cubicBezTo>
                <a:cubicBezTo>
                  <a:pt x="6545321" y="3298090"/>
                  <a:pt x="6546386" y="3300885"/>
                  <a:pt x="6548915" y="3303414"/>
                </a:cubicBezTo>
                <a:cubicBezTo>
                  <a:pt x="6550512" y="3305013"/>
                  <a:pt x="6553042" y="3306875"/>
                  <a:pt x="6558899" y="3306875"/>
                </a:cubicBezTo>
                <a:cubicBezTo>
                  <a:pt x="6560895" y="3306875"/>
                  <a:pt x="6562759" y="3306609"/>
                  <a:pt x="6564223" y="3305943"/>
                </a:cubicBezTo>
                <a:cubicBezTo>
                  <a:pt x="6565687" y="3305411"/>
                  <a:pt x="6567019" y="3304612"/>
                  <a:pt x="6567950" y="3303547"/>
                </a:cubicBezTo>
                <a:cubicBezTo>
                  <a:pt x="6569015" y="3302483"/>
                  <a:pt x="6569947" y="3301018"/>
                  <a:pt x="6570612" y="3299421"/>
                </a:cubicBezTo>
                <a:cubicBezTo>
                  <a:pt x="6571412" y="3297824"/>
                  <a:pt x="6571677" y="3295960"/>
                  <a:pt x="6571677" y="3293962"/>
                </a:cubicBezTo>
                <a:cubicBezTo>
                  <a:pt x="6571677" y="3292100"/>
                  <a:pt x="6571278" y="3290369"/>
                  <a:pt x="6570612" y="3288772"/>
                </a:cubicBezTo>
                <a:cubicBezTo>
                  <a:pt x="6569947" y="3287040"/>
                  <a:pt x="6569015" y="3285709"/>
                  <a:pt x="6567950" y="3284512"/>
                </a:cubicBezTo>
                <a:cubicBezTo>
                  <a:pt x="6566885" y="3283446"/>
                  <a:pt x="6565554" y="3282514"/>
                  <a:pt x="6563956" y="3281849"/>
                </a:cubicBezTo>
                <a:cubicBezTo>
                  <a:pt x="6562492" y="3281184"/>
                  <a:pt x="6560895" y="3280919"/>
                  <a:pt x="6558899" y="3280919"/>
                </a:cubicBezTo>
                <a:close/>
                <a:moveTo>
                  <a:pt x="6341253" y="3280919"/>
                </a:moveTo>
                <a:cubicBezTo>
                  <a:pt x="6335396" y="3280919"/>
                  <a:pt x="6332867" y="3282914"/>
                  <a:pt x="6331270" y="3284512"/>
                </a:cubicBezTo>
                <a:cubicBezTo>
                  <a:pt x="6328740" y="3287174"/>
                  <a:pt x="6327675" y="3289970"/>
                  <a:pt x="6327675" y="3293962"/>
                </a:cubicBezTo>
                <a:cubicBezTo>
                  <a:pt x="6327675" y="3298090"/>
                  <a:pt x="6328740" y="3300885"/>
                  <a:pt x="6331270" y="3303414"/>
                </a:cubicBezTo>
                <a:cubicBezTo>
                  <a:pt x="6332867" y="3305013"/>
                  <a:pt x="6335396" y="3306875"/>
                  <a:pt x="6341253" y="3306875"/>
                </a:cubicBezTo>
                <a:cubicBezTo>
                  <a:pt x="6343250" y="3306875"/>
                  <a:pt x="6345114" y="3306609"/>
                  <a:pt x="6346578" y="3305943"/>
                </a:cubicBezTo>
                <a:cubicBezTo>
                  <a:pt x="6348042" y="3305411"/>
                  <a:pt x="6349373" y="3304612"/>
                  <a:pt x="6350305" y="3303547"/>
                </a:cubicBezTo>
                <a:cubicBezTo>
                  <a:pt x="6351370" y="3302483"/>
                  <a:pt x="6352302" y="3301018"/>
                  <a:pt x="6352968" y="3299421"/>
                </a:cubicBezTo>
                <a:cubicBezTo>
                  <a:pt x="6353766" y="3297824"/>
                  <a:pt x="6354033" y="3295960"/>
                  <a:pt x="6354033" y="3293962"/>
                </a:cubicBezTo>
                <a:cubicBezTo>
                  <a:pt x="6354033" y="3292100"/>
                  <a:pt x="6353633" y="3290369"/>
                  <a:pt x="6352968" y="3288772"/>
                </a:cubicBezTo>
                <a:cubicBezTo>
                  <a:pt x="6352302" y="3287040"/>
                  <a:pt x="6351370" y="3285709"/>
                  <a:pt x="6350305" y="3284512"/>
                </a:cubicBezTo>
                <a:cubicBezTo>
                  <a:pt x="6349241" y="3283446"/>
                  <a:pt x="6347909" y="3282514"/>
                  <a:pt x="6346312" y="3281849"/>
                </a:cubicBezTo>
                <a:cubicBezTo>
                  <a:pt x="6344848" y="3281184"/>
                  <a:pt x="6343250" y="3280919"/>
                  <a:pt x="6341253" y="3280919"/>
                </a:cubicBezTo>
                <a:close/>
                <a:moveTo>
                  <a:pt x="6123608" y="3280919"/>
                </a:moveTo>
                <a:cubicBezTo>
                  <a:pt x="6117751" y="3280919"/>
                  <a:pt x="6115221" y="3282914"/>
                  <a:pt x="6113624" y="3284512"/>
                </a:cubicBezTo>
                <a:cubicBezTo>
                  <a:pt x="6111095" y="3287174"/>
                  <a:pt x="6110030" y="3289970"/>
                  <a:pt x="6110030" y="3293962"/>
                </a:cubicBezTo>
                <a:cubicBezTo>
                  <a:pt x="6110030" y="3298090"/>
                  <a:pt x="6111095" y="3300885"/>
                  <a:pt x="6113624" y="3303414"/>
                </a:cubicBezTo>
                <a:cubicBezTo>
                  <a:pt x="6115221" y="3305013"/>
                  <a:pt x="6117751" y="3306875"/>
                  <a:pt x="6123608" y="3306875"/>
                </a:cubicBezTo>
                <a:cubicBezTo>
                  <a:pt x="6125737" y="3306875"/>
                  <a:pt x="6127468" y="3306609"/>
                  <a:pt x="6128932" y="3305943"/>
                </a:cubicBezTo>
                <a:cubicBezTo>
                  <a:pt x="6130530" y="3305411"/>
                  <a:pt x="6131728" y="3304612"/>
                  <a:pt x="6132659" y="3303547"/>
                </a:cubicBezTo>
                <a:cubicBezTo>
                  <a:pt x="6133724" y="3302483"/>
                  <a:pt x="6134656" y="3301018"/>
                  <a:pt x="6135322" y="3299421"/>
                </a:cubicBezTo>
                <a:cubicBezTo>
                  <a:pt x="6135987" y="3297824"/>
                  <a:pt x="6136387" y="3295960"/>
                  <a:pt x="6136387" y="3293962"/>
                </a:cubicBezTo>
                <a:cubicBezTo>
                  <a:pt x="6136387" y="3292100"/>
                  <a:pt x="6135987" y="3290369"/>
                  <a:pt x="6135322" y="3288772"/>
                </a:cubicBezTo>
                <a:cubicBezTo>
                  <a:pt x="6134656" y="3287040"/>
                  <a:pt x="6133724" y="3285709"/>
                  <a:pt x="6132659" y="3284512"/>
                </a:cubicBezTo>
                <a:cubicBezTo>
                  <a:pt x="6131594" y="3283446"/>
                  <a:pt x="6130263" y="3282514"/>
                  <a:pt x="6128666" y="3281849"/>
                </a:cubicBezTo>
                <a:cubicBezTo>
                  <a:pt x="6127202" y="3281184"/>
                  <a:pt x="6125604" y="3280919"/>
                  <a:pt x="6123608" y="3280919"/>
                </a:cubicBezTo>
                <a:close/>
                <a:moveTo>
                  <a:pt x="5905963" y="3280919"/>
                </a:moveTo>
                <a:cubicBezTo>
                  <a:pt x="5900106" y="3280919"/>
                  <a:pt x="5897576" y="3282914"/>
                  <a:pt x="5895979" y="3284512"/>
                </a:cubicBezTo>
                <a:cubicBezTo>
                  <a:pt x="5893450" y="3287174"/>
                  <a:pt x="5892385" y="3289970"/>
                  <a:pt x="5892385" y="3293962"/>
                </a:cubicBezTo>
                <a:cubicBezTo>
                  <a:pt x="5892385" y="3298090"/>
                  <a:pt x="5893450" y="3300885"/>
                  <a:pt x="5895979" y="3303414"/>
                </a:cubicBezTo>
                <a:cubicBezTo>
                  <a:pt x="5897576" y="3305013"/>
                  <a:pt x="5900106" y="3306875"/>
                  <a:pt x="5905963" y="3306875"/>
                </a:cubicBezTo>
                <a:cubicBezTo>
                  <a:pt x="5908093" y="3306875"/>
                  <a:pt x="5909823" y="3306609"/>
                  <a:pt x="5911287" y="3305943"/>
                </a:cubicBezTo>
                <a:cubicBezTo>
                  <a:pt x="5912751" y="3305411"/>
                  <a:pt x="5914083" y="3304612"/>
                  <a:pt x="5915014" y="3303547"/>
                </a:cubicBezTo>
                <a:cubicBezTo>
                  <a:pt x="5916079" y="3302483"/>
                  <a:pt x="5917011" y="3301018"/>
                  <a:pt x="5917677" y="3299421"/>
                </a:cubicBezTo>
                <a:cubicBezTo>
                  <a:pt x="5918342" y="3297824"/>
                  <a:pt x="5918742" y="3295960"/>
                  <a:pt x="5918742" y="3293962"/>
                </a:cubicBezTo>
                <a:cubicBezTo>
                  <a:pt x="5918742" y="3292100"/>
                  <a:pt x="5918342" y="3290369"/>
                  <a:pt x="5917677" y="3288772"/>
                </a:cubicBezTo>
                <a:cubicBezTo>
                  <a:pt x="5917011" y="3287040"/>
                  <a:pt x="5916079" y="3285709"/>
                  <a:pt x="5915014" y="3284512"/>
                </a:cubicBezTo>
                <a:cubicBezTo>
                  <a:pt x="5913950" y="3283446"/>
                  <a:pt x="5912618" y="3282514"/>
                  <a:pt x="5911021" y="3281849"/>
                </a:cubicBezTo>
                <a:cubicBezTo>
                  <a:pt x="5909557" y="3281184"/>
                  <a:pt x="5907826" y="3280919"/>
                  <a:pt x="5905963" y="3280919"/>
                </a:cubicBezTo>
                <a:close/>
                <a:moveTo>
                  <a:pt x="5688451" y="3280919"/>
                </a:moveTo>
                <a:cubicBezTo>
                  <a:pt x="5682594" y="3280919"/>
                  <a:pt x="5680064" y="3282914"/>
                  <a:pt x="5678467" y="3284512"/>
                </a:cubicBezTo>
                <a:cubicBezTo>
                  <a:pt x="5675938" y="3287174"/>
                  <a:pt x="5674873" y="3289970"/>
                  <a:pt x="5674873" y="3293962"/>
                </a:cubicBezTo>
                <a:cubicBezTo>
                  <a:pt x="5674873" y="3298090"/>
                  <a:pt x="5675938" y="3300885"/>
                  <a:pt x="5678467" y="3303414"/>
                </a:cubicBezTo>
                <a:cubicBezTo>
                  <a:pt x="5680064" y="3305013"/>
                  <a:pt x="5682594" y="3306875"/>
                  <a:pt x="5688451" y="3306875"/>
                </a:cubicBezTo>
                <a:cubicBezTo>
                  <a:pt x="5690447" y="3306875"/>
                  <a:pt x="5692178" y="3306609"/>
                  <a:pt x="5693775" y="3305943"/>
                </a:cubicBezTo>
                <a:cubicBezTo>
                  <a:pt x="5695239" y="3305411"/>
                  <a:pt x="5696571" y="3304612"/>
                  <a:pt x="5697502" y="3303547"/>
                </a:cubicBezTo>
                <a:cubicBezTo>
                  <a:pt x="5698567" y="3302483"/>
                  <a:pt x="5699499" y="3301018"/>
                  <a:pt x="5700165" y="3299421"/>
                </a:cubicBezTo>
                <a:cubicBezTo>
                  <a:pt x="5700830" y="3297824"/>
                  <a:pt x="5701230" y="3295960"/>
                  <a:pt x="5701230" y="3293962"/>
                </a:cubicBezTo>
                <a:cubicBezTo>
                  <a:pt x="5701230" y="3292100"/>
                  <a:pt x="5700830" y="3290369"/>
                  <a:pt x="5700165" y="3288772"/>
                </a:cubicBezTo>
                <a:cubicBezTo>
                  <a:pt x="5699499" y="3287040"/>
                  <a:pt x="5698567" y="3285709"/>
                  <a:pt x="5697502" y="3284512"/>
                </a:cubicBezTo>
                <a:cubicBezTo>
                  <a:pt x="5696437" y="3283446"/>
                  <a:pt x="5695106" y="3282514"/>
                  <a:pt x="5693509" y="3281849"/>
                </a:cubicBezTo>
                <a:cubicBezTo>
                  <a:pt x="5692045" y="3281184"/>
                  <a:pt x="5690314" y="3280919"/>
                  <a:pt x="5688451" y="3280919"/>
                </a:cubicBezTo>
                <a:close/>
                <a:moveTo>
                  <a:pt x="5470806" y="3280919"/>
                </a:moveTo>
                <a:cubicBezTo>
                  <a:pt x="5464949" y="3280919"/>
                  <a:pt x="5462419" y="3282914"/>
                  <a:pt x="5460822" y="3284512"/>
                </a:cubicBezTo>
                <a:cubicBezTo>
                  <a:pt x="5458293" y="3287174"/>
                  <a:pt x="5457228" y="3289970"/>
                  <a:pt x="5457228" y="3293962"/>
                </a:cubicBezTo>
                <a:cubicBezTo>
                  <a:pt x="5457228" y="3298090"/>
                  <a:pt x="5458293" y="3300885"/>
                  <a:pt x="5460822" y="3303414"/>
                </a:cubicBezTo>
                <a:cubicBezTo>
                  <a:pt x="5462419" y="3305013"/>
                  <a:pt x="5464949" y="3306875"/>
                  <a:pt x="5470806" y="3306875"/>
                </a:cubicBezTo>
                <a:cubicBezTo>
                  <a:pt x="5472802" y="3306875"/>
                  <a:pt x="5474666" y="3306609"/>
                  <a:pt x="5476130" y="3305943"/>
                </a:cubicBezTo>
                <a:cubicBezTo>
                  <a:pt x="5477594" y="3305411"/>
                  <a:pt x="5478926" y="3304612"/>
                  <a:pt x="5479857" y="3303547"/>
                </a:cubicBezTo>
                <a:cubicBezTo>
                  <a:pt x="5480922" y="3302483"/>
                  <a:pt x="5481854" y="3301018"/>
                  <a:pt x="5482520" y="3299421"/>
                </a:cubicBezTo>
                <a:cubicBezTo>
                  <a:pt x="5483319" y="3297824"/>
                  <a:pt x="5483585" y="3295960"/>
                  <a:pt x="5483585" y="3293962"/>
                </a:cubicBezTo>
                <a:cubicBezTo>
                  <a:pt x="5483585" y="3292100"/>
                  <a:pt x="5483185" y="3290369"/>
                  <a:pt x="5482520" y="3288772"/>
                </a:cubicBezTo>
                <a:cubicBezTo>
                  <a:pt x="5481854" y="3287040"/>
                  <a:pt x="5480922" y="3285709"/>
                  <a:pt x="5479857" y="3284512"/>
                </a:cubicBezTo>
                <a:cubicBezTo>
                  <a:pt x="5478793" y="3283446"/>
                  <a:pt x="5477461" y="3282514"/>
                  <a:pt x="5475864" y="3281849"/>
                </a:cubicBezTo>
                <a:cubicBezTo>
                  <a:pt x="5474400" y="3281184"/>
                  <a:pt x="5472669" y="3280919"/>
                  <a:pt x="5470806" y="3280919"/>
                </a:cubicBezTo>
                <a:close/>
                <a:moveTo>
                  <a:pt x="5253160" y="3280919"/>
                </a:moveTo>
                <a:cubicBezTo>
                  <a:pt x="5247303" y="3280919"/>
                  <a:pt x="5244774" y="3282914"/>
                  <a:pt x="5243177" y="3284512"/>
                </a:cubicBezTo>
                <a:cubicBezTo>
                  <a:pt x="5240647" y="3287174"/>
                  <a:pt x="5239583" y="3289970"/>
                  <a:pt x="5239583" y="3293962"/>
                </a:cubicBezTo>
                <a:cubicBezTo>
                  <a:pt x="5239583" y="3298090"/>
                  <a:pt x="5240647" y="3300885"/>
                  <a:pt x="5243177" y="3303414"/>
                </a:cubicBezTo>
                <a:cubicBezTo>
                  <a:pt x="5244774" y="3305013"/>
                  <a:pt x="5247303" y="3306875"/>
                  <a:pt x="5253160" y="3306875"/>
                </a:cubicBezTo>
                <a:cubicBezTo>
                  <a:pt x="5255157" y="3306875"/>
                  <a:pt x="5257021" y="3306609"/>
                  <a:pt x="5258485" y="3305943"/>
                </a:cubicBezTo>
                <a:cubicBezTo>
                  <a:pt x="5259949" y="3305411"/>
                  <a:pt x="5261280" y="3304612"/>
                  <a:pt x="5262212" y="3303547"/>
                </a:cubicBezTo>
                <a:cubicBezTo>
                  <a:pt x="5263277" y="3302483"/>
                  <a:pt x="5264209" y="3301018"/>
                  <a:pt x="5264875" y="3299421"/>
                </a:cubicBezTo>
                <a:cubicBezTo>
                  <a:pt x="5265673" y="3297824"/>
                  <a:pt x="5265939" y="3295960"/>
                  <a:pt x="5265939" y="3293962"/>
                </a:cubicBezTo>
                <a:cubicBezTo>
                  <a:pt x="5265939" y="3292100"/>
                  <a:pt x="5265540" y="3290369"/>
                  <a:pt x="5264875" y="3288772"/>
                </a:cubicBezTo>
                <a:cubicBezTo>
                  <a:pt x="5264209" y="3287040"/>
                  <a:pt x="5263277" y="3285709"/>
                  <a:pt x="5262212" y="3284512"/>
                </a:cubicBezTo>
                <a:cubicBezTo>
                  <a:pt x="5261147" y="3283446"/>
                  <a:pt x="5259816" y="3282514"/>
                  <a:pt x="5258219" y="3281849"/>
                </a:cubicBezTo>
                <a:cubicBezTo>
                  <a:pt x="5256754" y="3281184"/>
                  <a:pt x="5255024" y="3280919"/>
                  <a:pt x="5253160" y="3280919"/>
                </a:cubicBezTo>
                <a:close/>
                <a:moveTo>
                  <a:pt x="5035515" y="3280919"/>
                </a:moveTo>
                <a:cubicBezTo>
                  <a:pt x="5029658" y="3280919"/>
                  <a:pt x="5027129" y="3282914"/>
                  <a:pt x="5025532" y="3284512"/>
                </a:cubicBezTo>
                <a:cubicBezTo>
                  <a:pt x="5023002" y="3287174"/>
                  <a:pt x="5021938" y="3289970"/>
                  <a:pt x="5021938" y="3293962"/>
                </a:cubicBezTo>
                <a:cubicBezTo>
                  <a:pt x="5021938" y="3298090"/>
                  <a:pt x="5023002" y="3300885"/>
                  <a:pt x="5025532" y="3303414"/>
                </a:cubicBezTo>
                <a:cubicBezTo>
                  <a:pt x="5027129" y="3305013"/>
                  <a:pt x="5029658" y="3306875"/>
                  <a:pt x="5035515" y="3306875"/>
                </a:cubicBezTo>
                <a:cubicBezTo>
                  <a:pt x="5037645" y="3306875"/>
                  <a:pt x="5039376" y="3306609"/>
                  <a:pt x="5040840" y="3305943"/>
                </a:cubicBezTo>
                <a:cubicBezTo>
                  <a:pt x="5042304" y="3305411"/>
                  <a:pt x="5043636" y="3304612"/>
                  <a:pt x="5044567" y="3303547"/>
                </a:cubicBezTo>
                <a:cubicBezTo>
                  <a:pt x="5045632" y="3302483"/>
                  <a:pt x="5046564" y="3301018"/>
                  <a:pt x="5047230" y="3299421"/>
                </a:cubicBezTo>
                <a:cubicBezTo>
                  <a:pt x="5048028" y="3297824"/>
                  <a:pt x="5048294" y="3295960"/>
                  <a:pt x="5048294" y="3293962"/>
                </a:cubicBezTo>
                <a:cubicBezTo>
                  <a:pt x="5048294" y="3292100"/>
                  <a:pt x="5047895" y="3290369"/>
                  <a:pt x="5047230" y="3288772"/>
                </a:cubicBezTo>
                <a:cubicBezTo>
                  <a:pt x="5046564" y="3287040"/>
                  <a:pt x="5045632" y="3285709"/>
                  <a:pt x="5044567" y="3284512"/>
                </a:cubicBezTo>
                <a:cubicBezTo>
                  <a:pt x="5043502" y="3283446"/>
                  <a:pt x="5042171" y="3282514"/>
                  <a:pt x="5040574" y="3281849"/>
                </a:cubicBezTo>
                <a:cubicBezTo>
                  <a:pt x="5039110" y="3281184"/>
                  <a:pt x="5037379" y="3280919"/>
                  <a:pt x="5035515" y="3280919"/>
                </a:cubicBezTo>
                <a:close/>
                <a:moveTo>
                  <a:pt x="4817870" y="3280919"/>
                </a:moveTo>
                <a:cubicBezTo>
                  <a:pt x="4812013" y="3280919"/>
                  <a:pt x="4809484" y="3282914"/>
                  <a:pt x="4807887" y="3284512"/>
                </a:cubicBezTo>
                <a:cubicBezTo>
                  <a:pt x="4805357" y="3287174"/>
                  <a:pt x="4804293" y="3289970"/>
                  <a:pt x="4804293" y="3293962"/>
                </a:cubicBezTo>
                <a:cubicBezTo>
                  <a:pt x="4804293" y="3298090"/>
                  <a:pt x="4805357" y="3300885"/>
                  <a:pt x="4807887" y="3303414"/>
                </a:cubicBezTo>
                <a:cubicBezTo>
                  <a:pt x="4809484" y="3305013"/>
                  <a:pt x="4812013" y="3306875"/>
                  <a:pt x="4817870" y="3306875"/>
                </a:cubicBezTo>
                <a:cubicBezTo>
                  <a:pt x="4820000" y="3306875"/>
                  <a:pt x="4821731" y="3306609"/>
                  <a:pt x="4823195" y="3305943"/>
                </a:cubicBezTo>
                <a:cubicBezTo>
                  <a:pt x="4824659" y="3305411"/>
                  <a:pt x="4825857" y="3304612"/>
                  <a:pt x="4826922" y="3303547"/>
                </a:cubicBezTo>
                <a:cubicBezTo>
                  <a:pt x="4827987" y="3302483"/>
                  <a:pt x="4828919" y="3301018"/>
                  <a:pt x="4829585" y="3299421"/>
                </a:cubicBezTo>
                <a:cubicBezTo>
                  <a:pt x="4830383" y="3297824"/>
                  <a:pt x="4830650" y="3295960"/>
                  <a:pt x="4830650" y="3293962"/>
                </a:cubicBezTo>
                <a:cubicBezTo>
                  <a:pt x="4830650" y="3292100"/>
                  <a:pt x="4830250" y="3290369"/>
                  <a:pt x="4829585" y="3288772"/>
                </a:cubicBezTo>
                <a:cubicBezTo>
                  <a:pt x="4828919" y="3287040"/>
                  <a:pt x="4827987" y="3285709"/>
                  <a:pt x="4826922" y="3284512"/>
                </a:cubicBezTo>
                <a:cubicBezTo>
                  <a:pt x="4825857" y="3283446"/>
                  <a:pt x="4824526" y="3282514"/>
                  <a:pt x="4822929" y="3281849"/>
                </a:cubicBezTo>
                <a:cubicBezTo>
                  <a:pt x="4821465" y="3281184"/>
                  <a:pt x="4819734" y="3280919"/>
                  <a:pt x="4817870" y="3280919"/>
                </a:cubicBezTo>
                <a:close/>
                <a:moveTo>
                  <a:pt x="4600226" y="3280919"/>
                </a:moveTo>
                <a:cubicBezTo>
                  <a:pt x="4594369" y="3280919"/>
                  <a:pt x="4591839" y="3282914"/>
                  <a:pt x="4590242" y="3284512"/>
                </a:cubicBezTo>
                <a:cubicBezTo>
                  <a:pt x="4587713" y="3287174"/>
                  <a:pt x="4586648" y="3289970"/>
                  <a:pt x="4586648" y="3293962"/>
                </a:cubicBezTo>
                <a:cubicBezTo>
                  <a:pt x="4586648" y="3298090"/>
                  <a:pt x="4587713" y="3300885"/>
                  <a:pt x="4590242" y="3303414"/>
                </a:cubicBezTo>
                <a:cubicBezTo>
                  <a:pt x="4591839" y="3305013"/>
                  <a:pt x="4594369" y="3306875"/>
                  <a:pt x="4600226" y="3306875"/>
                </a:cubicBezTo>
                <a:cubicBezTo>
                  <a:pt x="4602355" y="3306875"/>
                  <a:pt x="4604086" y="3306609"/>
                  <a:pt x="4605550" y="3305943"/>
                </a:cubicBezTo>
                <a:cubicBezTo>
                  <a:pt x="4607148" y="3305411"/>
                  <a:pt x="4608346" y="3304612"/>
                  <a:pt x="4609277" y="3303547"/>
                </a:cubicBezTo>
                <a:cubicBezTo>
                  <a:pt x="4610342" y="3302483"/>
                  <a:pt x="4611274" y="3301018"/>
                  <a:pt x="4611940" y="3299421"/>
                </a:cubicBezTo>
                <a:cubicBezTo>
                  <a:pt x="4612605" y="3297824"/>
                  <a:pt x="4613005" y="3295960"/>
                  <a:pt x="4613005" y="3293962"/>
                </a:cubicBezTo>
                <a:cubicBezTo>
                  <a:pt x="4613005" y="3292100"/>
                  <a:pt x="4612605" y="3290369"/>
                  <a:pt x="4611940" y="3288772"/>
                </a:cubicBezTo>
                <a:cubicBezTo>
                  <a:pt x="4611274" y="3287040"/>
                  <a:pt x="4610342" y="3285709"/>
                  <a:pt x="4609277" y="3284512"/>
                </a:cubicBezTo>
                <a:cubicBezTo>
                  <a:pt x="4608212" y="3283446"/>
                  <a:pt x="4606881" y="3282514"/>
                  <a:pt x="4605284" y="3281849"/>
                </a:cubicBezTo>
                <a:cubicBezTo>
                  <a:pt x="4603820" y="3281184"/>
                  <a:pt x="4602222" y="3280919"/>
                  <a:pt x="4600226" y="3280919"/>
                </a:cubicBezTo>
                <a:close/>
                <a:moveTo>
                  <a:pt x="4382713" y="3280919"/>
                </a:moveTo>
                <a:cubicBezTo>
                  <a:pt x="4376857" y="3280919"/>
                  <a:pt x="4374327" y="3282914"/>
                  <a:pt x="4372730" y="3284512"/>
                </a:cubicBezTo>
                <a:cubicBezTo>
                  <a:pt x="4370201" y="3287174"/>
                  <a:pt x="4369136" y="3289970"/>
                  <a:pt x="4369136" y="3293962"/>
                </a:cubicBezTo>
                <a:cubicBezTo>
                  <a:pt x="4369136" y="3298090"/>
                  <a:pt x="4370201" y="3300885"/>
                  <a:pt x="4372730" y="3303414"/>
                </a:cubicBezTo>
                <a:cubicBezTo>
                  <a:pt x="4374327" y="3305013"/>
                  <a:pt x="4376857" y="3306875"/>
                  <a:pt x="4382713" y="3306875"/>
                </a:cubicBezTo>
                <a:cubicBezTo>
                  <a:pt x="4384710" y="3306875"/>
                  <a:pt x="4386441" y="3306609"/>
                  <a:pt x="4388038" y="3305943"/>
                </a:cubicBezTo>
                <a:cubicBezTo>
                  <a:pt x="4389502" y="3305411"/>
                  <a:pt x="4390834" y="3304612"/>
                  <a:pt x="4391765" y="3303547"/>
                </a:cubicBezTo>
                <a:cubicBezTo>
                  <a:pt x="4392830" y="3302483"/>
                  <a:pt x="4393762" y="3301018"/>
                  <a:pt x="4394428" y="3299421"/>
                </a:cubicBezTo>
                <a:cubicBezTo>
                  <a:pt x="4395093" y="3297824"/>
                  <a:pt x="4395493" y="3295960"/>
                  <a:pt x="4395493" y="3293962"/>
                </a:cubicBezTo>
                <a:cubicBezTo>
                  <a:pt x="4395493" y="3292100"/>
                  <a:pt x="4395093" y="3290369"/>
                  <a:pt x="4394428" y="3288772"/>
                </a:cubicBezTo>
                <a:cubicBezTo>
                  <a:pt x="4393762" y="3287040"/>
                  <a:pt x="4392830" y="3285709"/>
                  <a:pt x="4391765" y="3284512"/>
                </a:cubicBezTo>
                <a:cubicBezTo>
                  <a:pt x="4390700" y="3283446"/>
                  <a:pt x="4389369" y="3282514"/>
                  <a:pt x="4387772" y="3281849"/>
                </a:cubicBezTo>
                <a:cubicBezTo>
                  <a:pt x="4386308" y="3281184"/>
                  <a:pt x="4384710" y="3280919"/>
                  <a:pt x="4382713" y="3280919"/>
                </a:cubicBezTo>
                <a:close/>
                <a:moveTo>
                  <a:pt x="4165068" y="3280919"/>
                </a:moveTo>
                <a:cubicBezTo>
                  <a:pt x="4159211" y="3280919"/>
                  <a:pt x="4156681" y="3282914"/>
                  <a:pt x="4155084" y="3284512"/>
                </a:cubicBezTo>
                <a:cubicBezTo>
                  <a:pt x="4152555" y="3287174"/>
                  <a:pt x="4151490" y="3289970"/>
                  <a:pt x="4151490" y="3293962"/>
                </a:cubicBezTo>
                <a:cubicBezTo>
                  <a:pt x="4151490" y="3298090"/>
                  <a:pt x="4152555" y="3300885"/>
                  <a:pt x="4155084" y="3303414"/>
                </a:cubicBezTo>
                <a:cubicBezTo>
                  <a:pt x="4156681" y="3305013"/>
                  <a:pt x="4159211" y="3306875"/>
                  <a:pt x="4165068" y="3306875"/>
                </a:cubicBezTo>
                <a:cubicBezTo>
                  <a:pt x="4167064" y="3306875"/>
                  <a:pt x="4168928" y="3306609"/>
                  <a:pt x="4170392" y="3305943"/>
                </a:cubicBezTo>
                <a:cubicBezTo>
                  <a:pt x="4171856" y="3305411"/>
                  <a:pt x="4173188" y="3304612"/>
                  <a:pt x="4174119" y="3303547"/>
                </a:cubicBezTo>
                <a:cubicBezTo>
                  <a:pt x="4175184" y="3302483"/>
                  <a:pt x="4176116" y="3301018"/>
                  <a:pt x="4176782" y="3299421"/>
                </a:cubicBezTo>
                <a:cubicBezTo>
                  <a:pt x="4177447" y="3297824"/>
                  <a:pt x="4177847" y="3295960"/>
                  <a:pt x="4177847" y="3293962"/>
                </a:cubicBezTo>
                <a:cubicBezTo>
                  <a:pt x="4177847" y="3292100"/>
                  <a:pt x="4177447" y="3290369"/>
                  <a:pt x="4176782" y="3288772"/>
                </a:cubicBezTo>
                <a:cubicBezTo>
                  <a:pt x="4176116" y="3287040"/>
                  <a:pt x="4175184" y="3285709"/>
                  <a:pt x="4174119" y="3284512"/>
                </a:cubicBezTo>
                <a:cubicBezTo>
                  <a:pt x="4173054" y="3283446"/>
                  <a:pt x="4171723" y="3282514"/>
                  <a:pt x="4170126" y="3281849"/>
                </a:cubicBezTo>
                <a:cubicBezTo>
                  <a:pt x="4168662" y="3281184"/>
                  <a:pt x="4167064" y="3280919"/>
                  <a:pt x="4165068" y="3280919"/>
                </a:cubicBezTo>
                <a:close/>
                <a:moveTo>
                  <a:pt x="3947605" y="3280919"/>
                </a:moveTo>
                <a:cubicBezTo>
                  <a:pt x="3941747" y="3280919"/>
                  <a:pt x="3939219" y="3282914"/>
                  <a:pt x="3937622" y="3284512"/>
                </a:cubicBezTo>
                <a:cubicBezTo>
                  <a:pt x="3935090" y="3287174"/>
                  <a:pt x="3934027" y="3289970"/>
                  <a:pt x="3934027" y="3293962"/>
                </a:cubicBezTo>
                <a:cubicBezTo>
                  <a:pt x="3934027" y="3298090"/>
                  <a:pt x="3935090" y="3300885"/>
                  <a:pt x="3937622" y="3303414"/>
                </a:cubicBezTo>
                <a:cubicBezTo>
                  <a:pt x="3939219" y="3305013"/>
                  <a:pt x="3941747" y="3306875"/>
                  <a:pt x="3947605" y="3306875"/>
                </a:cubicBezTo>
                <a:cubicBezTo>
                  <a:pt x="3949602" y="3306875"/>
                  <a:pt x="3951465" y="3306609"/>
                  <a:pt x="3952932" y="3305943"/>
                </a:cubicBezTo>
                <a:cubicBezTo>
                  <a:pt x="3954395" y="3305411"/>
                  <a:pt x="3955726" y="3304612"/>
                  <a:pt x="3956658" y="3303547"/>
                </a:cubicBezTo>
                <a:cubicBezTo>
                  <a:pt x="3957723" y="3302483"/>
                  <a:pt x="3958656" y="3301018"/>
                  <a:pt x="3959321" y="3299421"/>
                </a:cubicBezTo>
                <a:cubicBezTo>
                  <a:pt x="3959987" y="3297824"/>
                  <a:pt x="3960386" y="3295960"/>
                  <a:pt x="3960386" y="3293962"/>
                </a:cubicBezTo>
                <a:cubicBezTo>
                  <a:pt x="3960386" y="3292100"/>
                  <a:pt x="3959987" y="3290369"/>
                  <a:pt x="3959321" y="3288772"/>
                </a:cubicBezTo>
                <a:cubicBezTo>
                  <a:pt x="3958656" y="3287040"/>
                  <a:pt x="3957723" y="3285709"/>
                  <a:pt x="3956658" y="3284512"/>
                </a:cubicBezTo>
                <a:cubicBezTo>
                  <a:pt x="3955593" y="3283446"/>
                  <a:pt x="3954262" y="3282514"/>
                  <a:pt x="3952664" y="3281849"/>
                </a:cubicBezTo>
                <a:cubicBezTo>
                  <a:pt x="3951199" y="3281184"/>
                  <a:pt x="3949602" y="3280919"/>
                  <a:pt x="3947605" y="3280919"/>
                </a:cubicBezTo>
                <a:close/>
                <a:moveTo>
                  <a:pt x="3729951" y="3280919"/>
                </a:moveTo>
                <a:cubicBezTo>
                  <a:pt x="3724094" y="3280919"/>
                  <a:pt x="3721565" y="3282914"/>
                  <a:pt x="3719965" y="3284512"/>
                </a:cubicBezTo>
                <a:cubicBezTo>
                  <a:pt x="3717435" y="3287174"/>
                  <a:pt x="3716373" y="3289970"/>
                  <a:pt x="3716373" y="3293962"/>
                </a:cubicBezTo>
                <a:cubicBezTo>
                  <a:pt x="3716373" y="3298090"/>
                  <a:pt x="3717435" y="3300885"/>
                  <a:pt x="3719965" y="3303414"/>
                </a:cubicBezTo>
                <a:cubicBezTo>
                  <a:pt x="3721565" y="3305013"/>
                  <a:pt x="3724094" y="3306875"/>
                  <a:pt x="3729951" y="3306875"/>
                </a:cubicBezTo>
                <a:cubicBezTo>
                  <a:pt x="3732081" y="3306875"/>
                  <a:pt x="3733812" y="3306609"/>
                  <a:pt x="3735276" y="3305943"/>
                </a:cubicBezTo>
                <a:cubicBezTo>
                  <a:pt x="3736740" y="3305411"/>
                  <a:pt x="3738073" y="3304612"/>
                  <a:pt x="3739003" y="3303547"/>
                </a:cubicBezTo>
                <a:cubicBezTo>
                  <a:pt x="3740068" y="3302483"/>
                  <a:pt x="3741001" y="3301018"/>
                  <a:pt x="3741666" y="3299421"/>
                </a:cubicBezTo>
                <a:cubicBezTo>
                  <a:pt x="3742331" y="3297824"/>
                  <a:pt x="3742731" y="3295960"/>
                  <a:pt x="3742731" y="3293962"/>
                </a:cubicBezTo>
                <a:cubicBezTo>
                  <a:pt x="3742731" y="3292100"/>
                  <a:pt x="3742331" y="3290369"/>
                  <a:pt x="3741666" y="3288772"/>
                </a:cubicBezTo>
                <a:cubicBezTo>
                  <a:pt x="3741001" y="3287040"/>
                  <a:pt x="3740068" y="3285709"/>
                  <a:pt x="3739003" y="3284512"/>
                </a:cubicBezTo>
                <a:cubicBezTo>
                  <a:pt x="3737939" y="3283446"/>
                  <a:pt x="3736608" y="3282514"/>
                  <a:pt x="3735010" y="3281849"/>
                </a:cubicBezTo>
                <a:cubicBezTo>
                  <a:pt x="3733546" y="3281184"/>
                  <a:pt x="3731948" y="3280919"/>
                  <a:pt x="3729951" y="3280919"/>
                </a:cubicBezTo>
                <a:close/>
                <a:moveTo>
                  <a:pt x="3512297" y="3280919"/>
                </a:moveTo>
                <a:cubicBezTo>
                  <a:pt x="3506439" y="3280919"/>
                  <a:pt x="3503909" y="3282914"/>
                  <a:pt x="3502310" y="3284512"/>
                </a:cubicBezTo>
                <a:cubicBezTo>
                  <a:pt x="3499780" y="3287174"/>
                  <a:pt x="3498717" y="3289970"/>
                  <a:pt x="3498717" y="3293962"/>
                </a:cubicBezTo>
                <a:cubicBezTo>
                  <a:pt x="3498717" y="3298090"/>
                  <a:pt x="3499780" y="3300885"/>
                  <a:pt x="3502310" y="3303414"/>
                </a:cubicBezTo>
                <a:cubicBezTo>
                  <a:pt x="3503909" y="3305013"/>
                  <a:pt x="3506439" y="3306875"/>
                  <a:pt x="3512297" y="3306875"/>
                </a:cubicBezTo>
                <a:cubicBezTo>
                  <a:pt x="3514426" y="3306875"/>
                  <a:pt x="3516158" y="3306609"/>
                  <a:pt x="3517622" y="3305943"/>
                </a:cubicBezTo>
                <a:cubicBezTo>
                  <a:pt x="3519086" y="3305411"/>
                  <a:pt x="3520418" y="3304612"/>
                  <a:pt x="3521349" y="3303547"/>
                </a:cubicBezTo>
                <a:cubicBezTo>
                  <a:pt x="3522414" y="3302483"/>
                  <a:pt x="3523346" y="3301018"/>
                  <a:pt x="3524012" y="3299421"/>
                </a:cubicBezTo>
                <a:cubicBezTo>
                  <a:pt x="3524677" y="3297824"/>
                  <a:pt x="3525077" y="3295960"/>
                  <a:pt x="3525077" y="3293962"/>
                </a:cubicBezTo>
                <a:cubicBezTo>
                  <a:pt x="3525077" y="3292100"/>
                  <a:pt x="3524677" y="3290369"/>
                  <a:pt x="3524012" y="3288772"/>
                </a:cubicBezTo>
                <a:cubicBezTo>
                  <a:pt x="3523346" y="3287040"/>
                  <a:pt x="3522414" y="3285709"/>
                  <a:pt x="3521349" y="3284512"/>
                </a:cubicBezTo>
                <a:cubicBezTo>
                  <a:pt x="3520284" y="3283446"/>
                  <a:pt x="3518953" y="3282514"/>
                  <a:pt x="3517356" y="3281849"/>
                </a:cubicBezTo>
                <a:cubicBezTo>
                  <a:pt x="3515892" y="3281184"/>
                  <a:pt x="3514293" y="3280919"/>
                  <a:pt x="3512297" y="3280919"/>
                </a:cubicBezTo>
                <a:close/>
                <a:moveTo>
                  <a:pt x="3294775" y="3280919"/>
                </a:moveTo>
                <a:cubicBezTo>
                  <a:pt x="3288917" y="3280919"/>
                  <a:pt x="3286387" y="3282914"/>
                  <a:pt x="3284790" y="3284512"/>
                </a:cubicBezTo>
                <a:cubicBezTo>
                  <a:pt x="3282259" y="3287174"/>
                  <a:pt x="3281196" y="3289970"/>
                  <a:pt x="3281196" y="3293962"/>
                </a:cubicBezTo>
                <a:cubicBezTo>
                  <a:pt x="3281196" y="3298090"/>
                  <a:pt x="3282259" y="3300885"/>
                  <a:pt x="3284790" y="3303414"/>
                </a:cubicBezTo>
                <a:cubicBezTo>
                  <a:pt x="3286387" y="3305013"/>
                  <a:pt x="3288917" y="3306875"/>
                  <a:pt x="3294775" y="3306875"/>
                </a:cubicBezTo>
                <a:cubicBezTo>
                  <a:pt x="3296772" y="3306875"/>
                  <a:pt x="3298503" y="3306609"/>
                  <a:pt x="3300101" y="3305943"/>
                </a:cubicBezTo>
                <a:cubicBezTo>
                  <a:pt x="3301565" y="3305411"/>
                  <a:pt x="3302897" y="3304612"/>
                  <a:pt x="3303828" y="3303547"/>
                </a:cubicBezTo>
                <a:cubicBezTo>
                  <a:pt x="3304893" y="3302483"/>
                  <a:pt x="3305825" y="3301018"/>
                  <a:pt x="3306491" y="3299421"/>
                </a:cubicBezTo>
                <a:cubicBezTo>
                  <a:pt x="3307156" y="3297824"/>
                  <a:pt x="3307555" y="3295960"/>
                  <a:pt x="3307555" y="3293962"/>
                </a:cubicBezTo>
                <a:cubicBezTo>
                  <a:pt x="3307555" y="3292100"/>
                  <a:pt x="3307156" y="3290369"/>
                  <a:pt x="3306491" y="3288772"/>
                </a:cubicBezTo>
                <a:cubicBezTo>
                  <a:pt x="3305825" y="3287040"/>
                  <a:pt x="3304893" y="3285709"/>
                  <a:pt x="3303828" y="3284512"/>
                </a:cubicBezTo>
                <a:cubicBezTo>
                  <a:pt x="3302763" y="3283446"/>
                  <a:pt x="3301431" y="3282514"/>
                  <a:pt x="3299835" y="3281849"/>
                </a:cubicBezTo>
                <a:cubicBezTo>
                  <a:pt x="3298371" y="3281184"/>
                  <a:pt x="3296772" y="3280919"/>
                  <a:pt x="3294775" y="3280919"/>
                </a:cubicBezTo>
                <a:close/>
                <a:moveTo>
                  <a:pt x="3077254" y="3280919"/>
                </a:moveTo>
                <a:cubicBezTo>
                  <a:pt x="3071396" y="3280919"/>
                  <a:pt x="3068867" y="3282914"/>
                  <a:pt x="3067271" y="3284512"/>
                </a:cubicBezTo>
                <a:cubicBezTo>
                  <a:pt x="3064606" y="3287174"/>
                  <a:pt x="3063541" y="3289970"/>
                  <a:pt x="3063541" y="3293962"/>
                </a:cubicBezTo>
                <a:cubicBezTo>
                  <a:pt x="3063541" y="3298090"/>
                  <a:pt x="3064606" y="3300885"/>
                  <a:pt x="3067136" y="3303414"/>
                </a:cubicBezTo>
                <a:cubicBezTo>
                  <a:pt x="3068734" y="3305013"/>
                  <a:pt x="3071263" y="3306875"/>
                  <a:pt x="3077120" y="3306875"/>
                </a:cubicBezTo>
                <a:cubicBezTo>
                  <a:pt x="3079118" y="3306875"/>
                  <a:pt x="3080848" y="3306609"/>
                  <a:pt x="3082579" y="3305943"/>
                </a:cubicBezTo>
                <a:cubicBezTo>
                  <a:pt x="3084044" y="3305411"/>
                  <a:pt x="3085375" y="3304612"/>
                  <a:pt x="3086306" y="3303547"/>
                </a:cubicBezTo>
                <a:cubicBezTo>
                  <a:pt x="3087371" y="3302483"/>
                  <a:pt x="3088303" y="3301018"/>
                  <a:pt x="3088969" y="3299421"/>
                </a:cubicBezTo>
                <a:cubicBezTo>
                  <a:pt x="3089634" y="3297824"/>
                  <a:pt x="3089901" y="3295960"/>
                  <a:pt x="3089901" y="3293962"/>
                </a:cubicBezTo>
                <a:cubicBezTo>
                  <a:pt x="3089901" y="3292100"/>
                  <a:pt x="3089634" y="3290369"/>
                  <a:pt x="3088969" y="3288772"/>
                </a:cubicBezTo>
                <a:cubicBezTo>
                  <a:pt x="3088303" y="3287040"/>
                  <a:pt x="3087371" y="3285709"/>
                  <a:pt x="3086306" y="3284512"/>
                </a:cubicBezTo>
                <a:cubicBezTo>
                  <a:pt x="3085242" y="3283446"/>
                  <a:pt x="3083910" y="3282514"/>
                  <a:pt x="3082313" y="3281849"/>
                </a:cubicBezTo>
                <a:cubicBezTo>
                  <a:pt x="3080848" y="3281184"/>
                  <a:pt x="3079251" y="3280919"/>
                  <a:pt x="3077254" y="3280919"/>
                </a:cubicBezTo>
                <a:close/>
                <a:moveTo>
                  <a:pt x="2859466" y="3280919"/>
                </a:moveTo>
                <a:cubicBezTo>
                  <a:pt x="2853609" y="3280919"/>
                  <a:pt x="2851080" y="3282914"/>
                  <a:pt x="2849480" y="3284512"/>
                </a:cubicBezTo>
                <a:cubicBezTo>
                  <a:pt x="2846948" y="3287174"/>
                  <a:pt x="2845885" y="3289970"/>
                  <a:pt x="2845885" y="3293962"/>
                </a:cubicBezTo>
                <a:cubicBezTo>
                  <a:pt x="2845885" y="3298090"/>
                  <a:pt x="2846948" y="3300885"/>
                  <a:pt x="2849480" y="3303414"/>
                </a:cubicBezTo>
                <a:cubicBezTo>
                  <a:pt x="2851080" y="3305013"/>
                  <a:pt x="2853609" y="3306875"/>
                  <a:pt x="2859466" y="3306875"/>
                </a:cubicBezTo>
                <a:cubicBezTo>
                  <a:pt x="2861463" y="3306875"/>
                  <a:pt x="2863327" y="3306609"/>
                  <a:pt x="2864791" y="3305943"/>
                </a:cubicBezTo>
                <a:cubicBezTo>
                  <a:pt x="2866389" y="3305411"/>
                  <a:pt x="2867588" y="3304612"/>
                  <a:pt x="2868518" y="3303547"/>
                </a:cubicBezTo>
                <a:cubicBezTo>
                  <a:pt x="2869583" y="3302483"/>
                  <a:pt x="2870516" y="3301018"/>
                  <a:pt x="2871181" y="3299421"/>
                </a:cubicBezTo>
                <a:cubicBezTo>
                  <a:pt x="2871714" y="3297824"/>
                  <a:pt x="2872112" y="3295960"/>
                  <a:pt x="2872112" y="3293962"/>
                </a:cubicBezTo>
                <a:cubicBezTo>
                  <a:pt x="2872112" y="3292100"/>
                  <a:pt x="2871846" y="3290369"/>
                  <a:pt x="2871181" y="3288772"/>
                </a:cubicBezTo>
                <a:cubicBezTo>
                  <a:pt x="2870516" y="3287040"/>
                  <a:pt x="2869583" y="3285709"/>
                  <a:pt x="2868518" y="3284512"/>
                </a:cubicBezTo>
                <a:cubicBezTo>
                  <a:pt x="2867454" y="3283446"/>
                  <a:pt x="2866122" y="3282514"/>
                  <a:pt x="2864526" y="3281849"/>
                </a:cubicBezTo>
                <a:cubicBezTo>
                  <a:pt x="2863062" y="3281184"/>
                  <a:pt x="2861463" y="3280919"/>
                  <a:pt x="2859466" y="3280919"/>
                </a:cubicBezTo>
                <a:close/>
                <a:moveTo>
                  <a:pt x="2641812" y="3280919"/>
                </a:moveTo>
                <a:cubicBezTo>
                  <a:pt x="2635954" y="3280919"/>
                  <a:pt x="2633425" y="3282914"/>
                  <a:pt x="2631829" y="3284512"/>
                </a:cubicBezTo>
                <a:cubicBezTo>
                  <a:pt x="2629298" y="3287174"/>
                  <a:pt x="2628234" y="3289970"/>
                  <a:pt x="2628234" y="3293962"/>
                </a:cubicBezTo>
                <a:cubicBezTo>
                  <a:pt x="2628234" y="3298090"/>
                  <a:pt x="2629298" y="3300885"/>
                  <a:pt x="2631829" y="3303414"/>
                </a:cubicBezTo>
                <a:cubicBezTo>
                  <a:pt x="2633425" y="3305013"/>
                  <a:pt x="2635954" y="3306875"/>
                  <a:pt x="2641812" y="3306875"/>
                </a:cubicBezTo>
                <a:cubicBezTo>
                  <a:pt x="2643808" y="3306875"/>
                  <a:pt x="2645673" y="3306609"/>
                  <a:pt x="2647137" y="3305943"/>
                </a:cubicBezTo>
                <a:cubicBezTo>
                  <a:pt x="2648734" y="3305411"/>
                  <a:pt x="2649932" y="3304612"/>
                  <a:pt x="2650864" y="3303547"/>
                </a:cubicBezTo>
                <a:cubicBezTo>
                  <a:pt x="2651929" y="3302483"/>
                  <a:pt x="2652861" y="3301018"/>
                  <a:pt x="2653527" y="3299421"/>
                </a:cubicBezTo>
                <a:cubicBezTo>
                  <a:pt x="2654059" y="3297824"/>
                  <a:pt x="2654458" y="3295960"/>
                  <a:pt x="2654458" y="3293962"/>
                </a:cubicBezTo>
                <a:cubicBezTo>
                  <a:pt x="2654458" y="3292100"/>
                  <a:pt x="2654192" y="3290369"/>
                  <a:pt x="2653527" y="3288772"/>
                </a:cubicBezTo>
                <a:cubicBezTo>
                  <a:pt x="2652861" y="3287040"/>
                  <a:pt x="2651929" y="3285709"/>
                  <a:pt x="2650864" y="3284512"/>
                </a:cubicBezTo>
                <a:cubicBezTo>
                  <a:pt x="2649799" y="3283446"/>
                  <a:pt x="2648468" y="3282514"/>
                  <a:pt x="2646871" y="3281849"/>
                </a:cubicBezTo>
                <a:cubicBezTo>
                  <a:pt x="2645406" y="3281184"/>
                  <a:pt x="2643808" y="3280919"/>
                  <a:pt x="2641812" y="3280919"/>
                </a:cubicBezTo>
                <a:close/>
                <a:moveTo>
                  <a:pt x="2424157" y="3280919"/>
                </a:moveTo>
                <a:cubicBezTo>
                  <a:pt x="2418300" y="3280919"/>
                  <a:pt x="2415771" y="3282914"/>
                  <a:pt x="2414174" y="3284512"/>
                </a:cubicBezTo>
                <a:cubicBezTo>
                  <a:pt x="2411643" y="3287174"/>
                  <a:pt x="2410580" y="3289970"/>
                  <a:pt x="2410580" y="3293962"/>
                </a:cubicBezTo>
                <a:cubicBezTo>
                  <a:pt x="2410580" y="3298090"/>
                  <a:pt x="2411643" y="3300885"/>
                  <a:pt x="2414174" y="3303414"/>
                </a:cubicBezTo>
                <a:cubicBezTo>
                  <a:pt x="2415771" y="3305013"/>
                  <a:pt x="2418300" y="3306875"/>
                  <a:pt x="2424157" y="3306875"/>
                </a:cubicBezTo>
                <a:cubicBezTo>
                  <a:pt x="2426287" y="3306875"/>
                  <a:pt x="2428018" y="3306609"/>
                  <a:pt x="2429482" y="3305943"/>
                </a:cubicBezTo>
                <a:cubicBezTo>
                  <a:pt x="2431080" y="3305411"/>
                  <a:pt x="2432278" y="3304612"/>
                  <a:pt x="2433209" y="3303547"/>
                </a:cubicBezTo>
                <a:cubicBezTo>
                  <a:pt x="2434274" y="3302483"/>
                  <a:pt x="2435206" y="3301018"/>
                  <a:pt x="2435872" y="3299421"/>
                </a:cubicBezTo>
                <a:cubicBezTo>
                  <a:pt x="2436404" y="3297824"/>
                  <a:pt x="2436803" y="3295960"/>
                  <a:pt x="2436803" y="3293962"/>
                </a:cubicBezTo>
                <a:cubicBezTo>
                  <a:pt x="2436803" y="3292100"/>
                  <a:pt x="2436537" y="3290369"/>
                  <a:pt x="2435872" y="3288772"/>
                </a:cubicBezTo>
                <a:cubicBezTo>
                  <a:pt x="2435206" y="3287040"/>
                  <a:pt x="2434274" y="3285709"/>
                  <a:pt x="2433209" y="3284512"/>
                </a:cubicBezTo>
                <a:cubicBezTo>
                  <a:pt x="2432145" y="3283446"/>
                  <a:pt x="2430814" y="3282514"/>
                  <a:pt x="2429216" y="3281849"/>
                </a:cubicBezTo>
                <a:cubicBezTo>
                  <a:pt x="2427752" y="3281184"/>
                  <a:pt x="2426154" y="3280919"/>
                  <a:pt x="2424157" y="3280919"/>
                </a:cubicBezTo>
                <a:close/>
                <a:moveTo>
                  <a:pt x="2206503" y="3280919"/>
                </a:moveTo>
                <a:cubicBezTo>
                  <a:pt x="2200645" y="3280919"/>
                  <a:pt x="2198116" y="3282914"/>
                  <a:pt x="2196519" y="3284512"/>
                </a:cubicBezTo>
                <a:cubicBezTo>
                  <a:pt x="2193989" y="3287174"/>
                  <a:pt x="2192925" y="3289970"/>
                  <a:pt x="2192925" y="3293962"/>
                </a:cubicBezTo>
                <a:cubicBezTo>
                  <a:pt x="2192925" y="3298090"/>
                  <a:pt x="2193989" y="3300885"/>
                  <a:pt x="2196519" y="3303414"/>
                </a:cubicBezTo>
                <a:cubicBezTo>
                  <a:pt x="2198116" y="3305013"/>
                  <a:pt x="2200645" y="3306875"/>
                  <a:pt x="2206503" y="3306875"/>
                </a:cubicBezTo>
                <a:cubicBezTo>
                  <a:pt x="2208632" y="3306875"/>
                  <a:pt x="2210364" y="3306609"/>
                  <a:pt x="2211828" y="3305943"/>
                </a:cubicBezTo>
                <a:cubicBezTo>
                  <a:pt x="2213425" y="3305411"/>
                  <a:pt x="2214623" y="3304612"/>
                  <a:pt x="2215554" y="3303547"/>
                </a:cubicBezTo>
                <a:cubicBezTo>
                  <a:pt x="2216620" y="3302483"/>
                  <a:pt x="2217551" y="3301018"/>
                  <a:pt x="2218218" y="3299421"/>
                </a:cubicBezTo>
                <a:cubicBezTo>
                  <a:pt x="2218750" y="3297824"/>
                  <a:pt x="2219149" y="3295960"/>
                  <a:pt x="2219149" y="3293962"/>
                </a:cubicBezTo>
                <a:cubicBezTo>
                  <a:pt x="2219149" y="3292100"/>
                  <a:pt x="2218883" y="3290369"/>
                  <a:pt x="2218218" y="3288772"/>
                </a:cubicBezTo>
                <a:cubicBezTo>
                  <a:pt x="2217551" y="3287040"/>
                  <a:pt x="2216620" y="3285709"/>
                  <a:pt x="2215554" y="3284512"/>
                </a:cubicBezTo>
                <a:cubicBezTo>
                  <a:pt x="2214489" y="3283446"/>
                  <a:pt x="2213159" y="3282514"/>
                  <a:pt x="2211561" y="3281849"/>
                </a:cubicBezTo>
                <a:cubicBezTo>
                  <a:pt x="2210097" y="3281184"/>
                  <a:pt x="2208499" y="3280919"/>
                  <a:pt x="2206503" y="3280919"/>
                </a:cubicBezTo>
                <a:close/>
                <a:moveTo>
                  <a:pt x="1988981" y="3280919"/>
                </a:moveTo>
                <a:cubicBezTo>
                  <a:pt x="1983124" y="3280919"/>
                  <a:pt x="1980595" y="3282914"/>
                  <a:pt x="1978998" y="3284512"/>
                </a:cubicBezTo>
                <a:cubicBezTo>
                  <a:pt x="1976468" y="3287174"/>
                  <a:pt x="1975404" y="3289970"/>
                  <a:pt x="1975404" y="3293962"/>
                </a:cubicBezTo>
                <a:cubicBezTo>
                  <a:pt x="1975404" y="3298090"/>
                  <a:pt x="1976468" y="3300885"/>
                  <a:pt x="1978998" y="3303414"/>
                </a:cubicBezTo>
                <a:cubicBezTo>
                  <a:pt x="1980595" y="3305013"/>
                  <a:pt x="1983124" y="3306875"/>
                  <a:pt x="1988981" y="3306875"/>
                </a:cubicBezTo>
                <a:cubicBezTo>
                  <a:pt x="1990978" y="3306875"/>
                  <a:pt x="1992709" y="3306609"/>
                  <a:pt x="1994306" y="3305943"/>
                </a:cubicBezTo>
                <a:cubicBezTo>
                  <a:pt x="1995904" y="3305411"/>
                  <a:pt x="1997102" y="3304612"/>
                  <a:pt x="1998033" y="3303547"/>
                </a:cubicBezTo>
                <a:cubicBezTo>
                  <a:pt x="1999098" y="3302483"/>
                  <a:pt x="2000030" y="3301018"/>
                  <a:pt x="2000696" y="3299421"/>
                </a:cubicBezTo>
                <a:cubicBezTo>
                  <a:pt x="2001228" y="3297824"/>
                  <a:pt x="2001627" y="3295960"/>
                  <a:pt x="2001627" y="3293962"/>
                </a:cubicBezTo>
                <a:cubicBezTo>
                  <a:pt x="2001627" y="3292100"/>
                  <a:pt x="2001361" y="3290369"/>
                  <a:pt x="2000696" y="3288772"/>
                </a:cubicBezTo>
                <a:cubicBezTo>
                  <a:pt x="2000030" y="3287040"/>
                  <a:pt x="1999098" y="3285709"/>
                  <a:pt x="1998033" y="3284512"/>
                </a:cubicBezTo>
                <a:cubicBezTo>
                  <a:pt x="1996969" y="3283446"/>
                  <a:pt x="1995637" y="3282514"/>
                  <a:pt x="1994040" y="3281849"/>
                </a:cubicBezTo>
                <a:cubicBezTo>
                  <a:pt x="1992576" y="3281184"/>
                  <a:pt x="1990978" y="3280919"/>
                  <a:pt x="1988981" y="3280919"/>
                </a:cubicBezTo>
                <a:close/>
                <a:moveTo>
                  <a:pt x="1771343" y="3280919"/>
                </a:moveTo>
                <a:cubicBezTo>
                  <a:pt x="1765486" y="3280919"/>
                  <a:pt x="1762957" y="3282914"/>
                  <a:pt x="1761360" y="3284512"/>
                </a:cubicBezTo>
                <a:cubicBezTo>
                  <a:pt x="1758831" y="3287174"/>
                  <a:pt x="1757766" y="3289970"/>
                  <a:pt x="1757766" y="3293962"/>
                </a:cubicBezTo>
                <a:cubicBezTo>
                  <a:pt x="1757766" y="3298090"/>
                  <a:pt x="1758831" y="3300885"/>
                  <a:pt x="1761360" y="3303414"/>
                </a:cubicBezTo>
                <a:cubicBezTo>
                  <a:pt x="1762957" y="3305013"/>
                  <a:pt x="1765486" y="3306875"/>
                  <a:pt x="1771343" y="3306875"/>
                </a:cubicBezTo>
                <a:cubicBezTo>
                  <a:pt x="1773340" y="3306875"/>
                  <a:pt x="1775204" y="3306609"/>
                  <a:pt x="1776668" y="3305943"/>
                </a:cubicBezTo>
                <a:cubicBezTo>
                  <a:pt x="1778132" y="3305411"/>
                  <a:pt x="1779462" y="3304612"/>
                  <a:pt x="1780394" y="3303547"/>
                </a:cubicBezTo>
                <a:cubicBezTo>
                  <a:pt x="1781459" y="3302483"/>
                  <a:pt x="1782391" y="3301018"/>
                  <a:pt x="1783057" y="3299421"/>
                </a:cubicBezTo>
                <a:cubicBezTo>
                  <a:pt x="1783722" y="3297824"/>
                  <a:pt x="1784122" y="3295960"/>
                  <a:pt x="1784122" y="3293962"/>
                </a:cubicBezTo>
                <a:cubicBezTo>
                  <a:pt x="1784122" y="3292100"/>
                  <a:pt x="1783722" y="3290369"/>
                  <a:pt x="1783057" y="3288772"/>
                </a:cubicBezTo>
                <a:cubicBezTo>
                  <a:pt x="1782391" y="3287040"/>
                  <a:pt x="1781459" y="3285709"/>
                  <a:pt x="1780394" y="3284512"/>
                </a:cubicBezTo>
                <a:cubicBezTo>
                  <a:pt x="1779329" y="3283446"/>
                  <a:pt x="1777999" y="3282514"/>
                  <a:pt x="1776402" y="3281849"/>
                </a:cubicBezTo>
                <a:cubicBezTo>
                  <a:pt x="1774937" y="3281184"/>
                  <a:pt x="1773340" y="3280919"/>
                  <a:pt x="1771343" y="3280919"/>
                </a:cubicBezTo>
                <a:close/>
                <a:moveTo>
                  <a:pt x="1553702" y="3280919"/>
                </a:moveTo>
                <a:cubicBezTo>
                  <a:pt x="1547845" y="3280919"/>
                  <a:pt x="1545316" y="3282914"/>
                  <a:pt x="1543719" y="3284512"/>
                </a:cubicBezTo>
                <a:cubicBezTo>
                  <a:pt x="1541189" y="3287174"/>
                  <a:pt x="1540125" y="3289970"/>
                  <a:pt x="1540125" y="3293962"/>
                </a:cubicBezTo>
                <a:cubicBezTo>
                  <a:pt x="1540125" y="3298090"/>
                  <a:pt x="1541189" y="3300885"/>
                  <a:pt x="1543719" y="3303414"/>
                </a:cubicBezTo>
                <a:cubicBezTo>
                  <a:pt x="1545316" y="3305013"/>
                  <a:pt x="1547845" y="3306875"/>
                  <a:pt x="1553702" y="3306875"/>
                </a:cubicBezTo>
                <a:cubicBezTo>
                  <a:pt x="1555699" y="3306875"/>
                  <a:pt x="1557563" y="3306609"/>
                  <a:pt x="1559027" y="3305943"/>
                </a:cubicBezTo>
                <a:cubicBezTo>
                  <a:pt x="1560491" y="3305411"/>
                  <a:pt x="1561823" y="3304612"/>
                  <a:pt x="1562754" y="3303547"/>
                </a:cubicBezTo>
                <a:cubicBezTo>
                  <a:pt x="1563819" y="3302483"/>
                  <a:pt x="1564751" y="3301018"/>
                  <a:pt x="1565417" y="3299421"/>
                </a:cubicBezTo>
                <a:cubicBezTo>
                  <a:pt x="1566082" y="3297824"/>
                  <a:pt x="1566482" y="3295960"/>
                  <a:pt x="1566482" y="3293962"/>
                </a:cubicBezTo>
                <a:cubicBezTo>
                  <a:pt x="1566482" y="3292100"/>
                  <a:pt x="1566082" y="3290369"/>
                  <a:pt x="1565417" y="3288772"/>
                </a:cubicBezTo>
                <a:cubicBezTo>
                  <a:pt x="1564751" y="3287040"/>
                  <a:pt x="1563819" y="3285709"/>
                  <a:pt x="1562754" y="3284512"/>
                </a:cubicBezTo>
                <a:cubicBezTo>
                  <a:pt x="1561689" y="3283446"/>
                  <a:pt x="1560358" y="3282514"/>
                  <a:pt x="1558761" y="3281849"/>
                </a:cubicBezTo>
                <a:cubicBezTo>
                  <a:pt x="1557297" y="3281184"/>
                  <a:pt x="1555699" y="3280919"/>
                  <a:pt x="1553702" y="3280919"/>
                </a:cubicBezTo>
                <a:close/>
                <a:moveTo>
                  <a:pt x="1336057" y="3280919"/>
                </a:moveTo>
                <a:cubicBezTo>
                  <a:pt x="1330200" y="3280919"/>
                  <a:pt x="1327671" y="3282914"/>
                  <a:pt x="1326075" y="3284512"/>
                </a:cubicBezTo>
                <a:cubicBezTo>
                  <a:pt x="1323544" y="3287174"/>
                  <a:pt x="1322480" y="3289970"/>
                  <a:pt x="1322480" y="3293962"/>
                </a:cubicBezTo>
                <a:cubicBezTo>
                  <a:pt x="1322480" y="3298090"/>
                  <a:pt x="1323544" y="3300885"/>
                  <a:pt x="1326075" y="3303414"/>
                </a:cubicBezTo>
                <a:cubicBezTo>
                  <a:pt x="1327671" y="3305013"/>
                  <a:pt x="1330200" y="3306875"/>
                  <a:pt x="1336057" y="3306875"/>
                </a:cubicBezTo>
                <a:cubicBezTo>
                  <a:pt x="1338188" y="3306875"/>
                  <a:pt x="1339918" y="3306609"/>
                  <a:pt x="1341384" y="3305943"/>
                </a:cubicBezTo>
                <a:cubicBezTo>
                  <a:pt x="1342848" y="3305411"/>
                  <a:pt x="1344179" y="3304612"/>
                  <a:pt x="1345111" y="3303547"/>
                </a:cubicBezTo>
                <a:cubicBezTo>
                  <a:pt x="1346175" y="3302483"/>
                  <a:pt x="1347109" y="3301018"/>
                  <a:pt x="1347774" y="3299421"/>
                </a:cubicBezTo>
                <a:cubicBezTo>
                  <a:pt x="1348439" y="3297824"/>
                  <a:pt x="1348840" y="3295960"/>
                  <a:pt x="1348840" y="3293962"/>
                </a:cubicBezTo>
                <a:cubicBezTo>
                  <a:pt x="1348840" y="3292100"/>
                  <a:pt x="1348439" y="3290369"/>
                  <a:pt x="1347774" y="3288772"/>
                </a:cubicBezTo>
                <a:cubicBezTo>
                  <a:pt x="1347109" y="3287040"/>
                  <a:pt x="1346175" y="3285709"/>
                  <a:pt x="1345111" y="3284512"/>
                </a:cubicBezTo>
                <a:cubicBezTo>
                  <a:pt x="1344046" y="3283446"/>
                  <a:pt x="1342715" y="3282514"/>
                  <a:pt x="1341117" y="3281849"/>
                </a:cubicBezTo>
                <a:cubicBezTo>
                  <a:pt x="1339653" y="3281184"/>
                  <a:pt x="1338054" y="3280919"/>
                  <a:pt x="1336057" y="3280919"/>
                </a:cubicBezTo>
                <a:close/>
                <a:moveTo>
                  <a:pt x="1118546" y="3280919"/>
                </a:moveTo>
                <a:cubicBezTo>
                  <a:pt x="1112688" y="3280919"/>
                  <a:pt x="1110158" y="3282914"/>
                  <a:pt x="1108561" y="3284512"/>
                </a:cubicBezTo>
                <a:cubicBezTo>
                  <a:pt x="1105899" y="3287174"/>
                  <a:pt x="1104834" y="3289970"/>
                  <a:pt x="1104834" y="3293962"/>
                </a:cubicBezTo>
                <a:cubicBezTo>
                  <a:pt x="1104834" y="3298090"/>
                  <a:pt x="1105899" y="3300885"/>
                  <a:pt x="1108429" y="3303414"/>
                </a:cubicBezTo>
                <a:cubicBezTo>
                  <a:pt x="1110026" y="3305013"/>
                  <a:pt x="1112555" y="3306875"/>
                  <a:pt x="1118413" y="3306875"/>
                </a:cubicBezTo>
                <a:cubicBezTo>
                  <a:pt x="1120543" y="3306875"/>
                  <a:pt x="1122275" y="3306609"/>
                  <a:pt x="1123870" y="3305943"/>
                </a:cubicBezTo>
                <a:cubicBezTo>
                  <a:pt x="1125335" y="3305411"/>
                  <a:pt x="1126669" y="3304612"/>
                  <a:pt x="1127599" y="3303547"/>
                </a:cubicBezTo>
                <a:cubicBezTo>
                  <a:pt x="1128664" y="3302483"/>
                  <a:pt x="1129596" y="3301018"/>
                  <a:pt x="1130262" y="3299421"/>
                </a:cubicBezTo>
                <a:cubicBezTo>
                  <a:pt x="1130927" y="3297824"/>
                  <a:pt x="1131328" y="3295960"/>
                  <a:pt x="1131328" y="3293962"/>
                </a:cubicBezTo>
                <a:cubicBezTo>
                  <a:pt x="1131328" y="3292100"/>
                  <a:pt x="1130927" y="3290369"/>
                  <a:pt x="1130262" y="3288772"/>
                </a:cubicBezTo>
                <a:cubicBezTo>
                  <a:pt x="1129596" y="3287040"/>
                  <a:pt x="1128664" y="3285709"/>
                  <a:pt x="1127599" y="3284512"/>
                </a:cubicBezTo>
                <a:cubicBezTo>
                  <a:pt x="1126534" y="3283446"/>
                  <a:pt x="1125203" y="3282514"/>
                  <a:pt x="1123604" y="3281849"/>
                </a:cubicBezTo>
                <a:cubicBezTo>
                  <a:pt x="1122142" y="3281184"/>
                  <a:pt x="1120543" y="3280919"/>
                  <a:pt x="1118546" y="3280919"/>
                </a:cubicBezTo>
                <a:close/>
                <a:moveTo>
                  <a:pt x="901034" y="3280919"/>
                </a:moveTo>
                <a:cubicBezTo>
                  <a:pt x="895176" y="3280919"/>
                  <a:pt x="892647" y="3282914"/>
                  <a:pt x="891050" y="3284512"/>
                </a:cubicBezTo>
                <a:cubicBezTo>
                  <a:pt x="888387" y="3287174"/>
                  <a:pt x="887323" y="3289970"/>
                  <a:pt x="887323" y="3293962"/>
                </a:cubicBezTo>
                <a:cubicBezTo>
                  <a:pt x="887323" y="3298090"/>
                  <a:pt x="888387" y="3300885"/>
                  <a:pt x="890917" y="3303414"/>
                </a:cubicBezTo>
                <a:cubicBezTo>
                  <a:pt x="892514" y="3305013"/>
                  <a:pt x="895043" y="3306875"/>
                  <a:pt x="900900" y="3306875"/>
                </a:cubicBezTo>
                <a:cubicBezTo>
                  <a:pt x="902897" y="3306875"/>
                  <a:pt x="904628" y="3306609"/>
                  <a:pt x="906358" y="3305943"/>
                </a:cubicBezTo>
                <a:cubicBezTo>
                  <a:pt x="907822" y="3305411"/>
                  <a:pt x="909154" y="3304612"/>
                  <a:pt x="910086" y="3303547"/>
                </a:cubicBezTo>
                <a:cubicBezTo>
                  <a:pt x="911150" y="3302483"/>
                  <a:pt x="912083" y="3301018"/>
                  <a:pt x="912748" y="3299421"/>
                </a:cubicBezTo>
                <a:cubicBezTo>
                  <a:pt x="913413" y="3297824"/>
                  <a:pt x="913814" y="3295960"/>
                  <a:pt x="913814" y="3293962"/>
                </a:cubicBezTo>
                <a:cubicBezTo>
                  <a:pt x="913814" y="3292100"/>
                  <a:pt x="913413" y="3290369"/>
                  <a:pt x="912748" y="3288772"/>
                </a:cubicBezTo>
                <a:cubicBezTo>
                  <a:pt x="912083" y="3287040"/>
                  <a:pt x="911150" y="3285709"/>
                  <a:pt x="910086" y="3284512"/>
                </a:cubicBezTo>
                <a:cubicBezTo>
                  <a:pt x="909021" y="3283446"/>
                  <a:pt x="907689" y="3282514"/>
                  <a:pt x="906092" y="3281849"/>
                </a:cubicBezTo>
                <a:cubicBezTo>
                  <a:pt x="904628" y="3281184"/>
                  <a:pt x="903030" y="3280919"/>
                  <a:pt x="901034" y="3280919"/>
                </a:cubicBezTo>
                <a:close/>
                <a:moveTo>
                  <a:pt x="683258" y="3280919"/>
                </a:moveTo>
                <a:cubicBezTo>
                  <a:pt x="677401" y="3280919"/>
                  <a:pt x="674872" y="3282914"/>
                  <a:pt x="673275" y="3284512"/>
                </a:cubicBezTo>
                <a:cubicBezTo>
                  <a:pt x="670745" y="3287174"/>
                  <a:pt x="669681" y="3289970"/>
                  <a:pt x="669681" y="3293962"/>
                </a:cubicBezTo>
                <a:cubicBezTo>
                  <a:pt x="669681" y="3298090"/>
                  <a:pt x="670745" y="3300885"/>
                  <a:pt x="673275" y="3303414"/>
                </a:cubicBezTo>
                <a:cubicBezTo>
                  <a:pt x="674872" y="3305013"/>
                  <a:pt x="677401" y="3306875"/>
                  <a:pt x="683258" y="3306875"/>
                </a:cubicBezTo>
                <a:cubicBezTo>
                  <a:pt x="685255" y="3306875"/>
                  <a:pt x="687119" y="3306609"/>
                  <a:pt x="688584" y="3305943"/>
                </a:cubicBezTo>
                <a:cubicBezTo>
                  <a:pt x="690048" y="3305411"/>
                  <a:pt x="691379" y="3304612"/>
                  <a:pt x="692310" y="3303547"/>
                </a:cubicBezTo>
                <a:cubicBezTo>
                  <a:pt x="693375" y="3302483"/>
                  <a:pt x="694307" y="3301018"/>
                  <a:pt x="694974" y="3299421"/>
                </a:cubicBezTo>
                <a:cubicBezTo>
                  <a:pt x="695639" y="3297824"/>
                  <a:pt x="696039" y="3295960"/>
                  <a:pt x="696039" y="3293962"/>
                </a:cubicBezTo>
                <a:cubicBezTo>
                  <a:pt x="696039" y="3292100"/>
                  <a:pt x="695639" y="3290369"/>
                  <a:pt x="694974" y="3288772"/>
                </a:cubicBezTo>
                <a:cubicBezTo>
                  <a:pt x="694307" y="3287040"/>
                  <a:pt x="693375" y="3285709"/>
                  <a:pt x="692310" y="3284512"/>
                </a:cubicBezTo>
                <a:cubicBezTo>
                  <a:pt x="691245" y="3283446"/>
                  <a:pt x="689914" y="3282514"/>
                  <a:pt x="688317" y="3281849"/>
                </a:cubicBezTo>
                <a:cubicBezTo>
                  <a:pt x="686853" y="3281184"/>
                  <a:pt x="685255" y="3280919"/>
                  <a:pt x="683258" y="3280919"/>
                </a:cubicBezTo>
                <a:close/>
                <a:moveTo>
                  <a:pt x="465615" y="3280919"/>
                </a:moveTo>
                <a:cubicBezTo>
                  <a:pt x="459758" y="3280919"/>
                  <a:pt x="457230" y="3282914"/>
                  <a:pt x="455632" y="3284512"/>
                </a:cubicBezTo>
                <a:cubicBezTo>
                  <a:pt x="453102" y="3287174"/>
                  <a:pt x="452038" y="3289970"/>
                  <a:pt x="452038" y="3293962"/>
                </a:cubicBezTo>
                <a:cubicBezTo>
                  <a:pt x="452038" y="3298090"/>
                  <a:pt x="453102" y="3300885"/>
                  <a:pt x="455632" y="3303414"/>
                </a:cubicBezTo>
                <a:cubicBezTo>
                  <a:pt x="457230" y="3305013"/>
                  <a:pt x="459758" y="3306875"/>
                  <a:pt x="465615" y="3306875"/>
                </a:cubicBezTo>
                <a:cubicBezTo>
                  <a:pt x="467613" y="3306875"/>
                  <a:pt x="469477" y="3306609"/>
                  <a:pt x="470941" y="3305943"/>
                </a:cubicBezTo>
                <a:cubicBezTo>
                  <a:pt x="472405" y="3305411"/>
                  <a:pt x="473736" y="3304612"/>
                  <a:pt x="474668" y="3303547"/>
                </a:cubicBezTo>
                <a:cubicBezTo>
                  <a:pt x="475733" y="3302483"/>
                  <a:pt x="476665" y="3301018"/>
                  <a:pt x="477331" y="3299421"/>
                </a:cubicBezTo>
                <a:cubicBezTo>
                  <a:pt x="477996" y="3297824"/>
                  <a:pt x="478396" y="3295960"/>
                  <a:pt x="478396" y="3293962"/>
                </a:cubicBezTo>
                <a:cubicBezTo>
                  <a:pt x="478396" y="3292100"/>
                  <a:pt x="477996" y="3290369"/>
                  <a:pt x="477331" y="3288772"/>
                </a:cubicBezTo>
                <a:cubicBezTo>
                  <a:pt x="476665" y="3287040"/>
                  <a:pt x="475733" y="3285709"/>
                  <a:pt x="474668" y="3284512"/>
                </a:cubicBezTo>
                <a:cubicBezTo>
                  <a:pt x="473603" y="3283446"/>
                  <a:pt x="472272" y="3282514"/>
                  <a:pt x="470675" y="3281849"/>
                </a:cubicBezTo>
                <a:cubicBezTo>
                  <a:pt x="469210" y="3281184"/>
                  <a:pt x="467613" y="3280919"/>
                  <a:pt x="465615" y="3280919"/>
                </a:cubicBezTo>
                <a:close/>
                <a:moveTo>
                  <a:pt x="247973" y="3280919"/>
                </a:moveTo>
                <a:cubicBezTo>
                  <a:pt x="242116" y="3280919"/>
                  <a:pt x="239587" y="3282914"/>
                  <a:pt x="237990" y="3284512"/>
                </a:cubicBezTo>
                <a:cubicBezTo>
                  <a:pt x="235460" y="3287174"/>
                  <a:pt x="234396" y="3289970"/>
                  <a:pt x="234396" y="3293962"/>
                </a:cubicBezTo>
                <a:cubicBezTo>
                  <a:pt x="234396" y="3298090"/>
                  <a:pt x="235460" y="3300885"/>
                  <a:pt x="237990" y="3303414"/>
                </a:cubicBezTo>
                <a:cubicBezTo>
                  <a:pt x="239587" y="3305013"/>
                  <a:pt x="242116" y="3306875"/>
                  <a:pt x="247973" y="3306875"/>
                </a:cubicBezTo>
                <a:cubicBezTo>
                  <a:pt x="250103" y="3306875"/>
                  <a:pt x="251834" y="3306609"/>
                  <a:pt x="253298" y="3305943"/>
                </a:cubicBezTo>
                <a:cubicBezTo>
                  <a:pt x="254762" y="3305411"/>
                  <a:pt x="256092" y="3304612"/>
                  <a:pt x="257024" y="3303547"/>
                </a:cubicBezTo>
                <a:cubicBezTo>
                  <a:pt x="258089" y="3302483"/>
                  <a:pt x="259021" y="3301018"/>
                  <a:pt x="259687" y="3299421"/>
                </a:cubicBezTo>
                <a:cubicBezTo>
                  <a:pt x="260352" y="3297824"/>
                  <a:pt x="260752" y="3295960"/>
                  <a:pt x="260752" y="3293962"/>
                </a:cubicBezTo>
                <a:cubicBezTo>
                  <a:pt x="260752" y="3292100"/>
                  <a:pt x="260352" y="3290369"/>
                  <a:pt x="259687" y="3288772"/>
                </a:cubicBezTo>
                <a:cubicBezTo>
                  <a:pt x="259021" y="3287040"/>
                  <a:pt x="258089" y="3285709"/>
                  <a:pt x="257024" y="3284512"/>
                </a:cubicBezTo>
                <a:cubicBezTo>
                  <a:pt x="255959" y="3283446"/>
                  <a:pt x="254628" y="3282514"/>
                  <a:pt x="253032" y="3281849"/>
                </a:cubicBezTo>
                <a:cubicBezTo>
                  <a:pt x="251567" y="3281184"/>
                  <a:pt x="249970" y="3280919"/>
                  <a:pt x="247973" y="3280919"/>
                </a:cubicBezTo>
                <a:close/>
                <a:moveTo>
                  <a:pt x="30330" y="3280919"/>
                </a:moveTo>
                <a:cubicBezTo>
                  <a:pt x="24473" y="3280919"/>
                  <a:pt x="21944" y="3282914"/>
                  <a:pt x="20347" y="3284512"/>
                </a:cubicBezTo>
                <a:cubicBezTo>
                  <a:pt x="17817" y="3287174"/>
                  <a:pt x="16753" y="3289970"/>
                  <a:pt x="16753" y="3293962"/>
                </a:cubicBezTo>
                <a:cubicBezTo>
                  <a:pt x="16753" y="3298090"/>
                  <a:pt x="17817" y="3300885"/>
                  <a:pt x="20347" y="3303414"/>
                </a:cubicBezTo>
                <a:cubicBezTo>
                  <a:pt x="21944" y="3305013"/>
                  <a:pt x="24473" y="3306875"/>
                  <a:pt x="30330" y="3306875"/>
                </a:cubicBezTo>
                <a:cubicBezTo>
                  <a:pt x="32460" y="3306875"/>
                  <a:pt x="34191" y="3306609"/>
                  <a:pt x="35655" y="3305943"/>
                </a:cubicBezTo>
                <a:cubicBezTo>
                  <a:pt x="37119" y="3305411"/>
                  <a:pt x="38451" y="3304612"/>
                  <a:pt x="39382" y="3303547"/>
                </a:cubicBezTo>
                <a:cubicBezTo>
                  <a:pt x="40447" y="3302483"/>
                  <a:pt x="41379" y="3301018"/>
                  <a:pt x="42045" y="3299421"/>
                </a:cubicBezTo>
                <a:cubicBezTo>
                  <a:pt x="42710" y="3297824"/>
                  <a:pt x="42976" y="3295960"/>
                  <a:pt x="42976" y="3293962"/>
                </a:cubicBezTo>
                <a:cubicBezTo>
                  <a:pt x="42976" y="3292100"/>
                  <a:pt x="42710" y="3290369"/>
                  <a:pt x="42045" y="3288772"/>
                </a:cubicBezTo>
                <a:cubicBezTo>
                  <a:pt x="41379" y="3287040"/>
                  <a:pt x="40447" y="3285709"/>
                  <a:pt x="39382" y="3284512"/>
                </a:cubicBezTo>
                <a:cubicBezTo>
                  <a:pt x="38317" y="3283446"/>
                  <a:pt x="36986" y="3282514"/>
                  <a:pt x="35389" y="3281849"/>
                </a:cubicBezTo>
                <a:cubicBezTo>
                  <a:pt x="33925" y="3281184"/>
                  <a:pt x="32327" y="3280919"/>
                  <a:pt x="30330" y="3280919"/>
                </a:cubicBezTo>
                <a:close/>
                <a:moveTo>
                  <a:pt x="10475977" y="3264278"/>
                </a:moveTo>
                <a:cubicBezTo>
                  <a:pt x="10480237" y="3264278"/>
                  <a:pt x="10484230" y="3265076"/>
                  <a:pt x="10487824" y="3266807"/>
                </a:cubicBezTo>
                <a:cubicBezTo>
                  <a:pt x="10491419" y="3268405"/>
                  <a:pt x="10494613" y="3270534"/>
                  <a:pt x="10497143" y="3273196"/>
                </a:cubicBezTo>
                <a:cubicBezTo>
                  <a:pt x="10499672" y="3275859"/>
                  <a:pt x="10501801" y="3279054"/>
                  <a:pt x="10503266" y="3282648"/>
                </a:cubicBezTo>
                <a:cubicBezTo>
                  <a:pt x="10504730" y="3286242"/>
                  <a:pt x="10505529" y="3289970"/>
                  <a:pt x="10505529" y="3294096"/>
                </a:cubicBezTo>
                <a:cubicBezTo>
                  <a:pt x="10505529" y="3298223"/>
                  <a:pt x="10504730" y="3302216"/>
                  <a:pt x="10503266" y="3305811"/>
                </a:cubicBezTo>
                <a:cubicBezTo>
                  <a:pt x="10501669" y="3309405"/>
                  <a:pt x="10499672" y="3312466"/>
                  <a:pt x="10497143" y="3315129"/>
                </a:cubicBezTo>
                <a:cubicBezTo>
                  <a:pt x="10494480" y="3317791"/>
                  <a:pt x="10491419" y="3319921"/>
                  <a:pt x="10487824" y="3321385"/>
                </a:cubicBezTo>
                <a:cubicBezTo>
                  <a:pt x="10484098" y="3322850"/>
                  <a:pt x="10480237" y="3323648"/>
                  <a:pt x="10475977" y="3323648"/>
                </a:cubicBezTo>
                <a:cubicBezTo>
                  <a:pt x="10466924" y="3323648"/>
                  <a:pt x="10459736" y="3320721"/>
                  <a:pt x="10454145" y="3315129"/>
                </a:cubicBezTo>
                <a:cubicBezTo>
                  <a:pt x="10448554" y="3309538"/>
                  <a:pt x="10445759" y="3302483"/>
                  <a:pt x="10445759" y="3293962"/>
                </a:cubicBezTo>
                <a:cubicBezTo>
                  <a:pt x="10445759" y="3285709"/>
                  <a:pt x="10448554" y="3278655"/>
                  <a:pt x="10454145" y="3272931"/>
                </a:cubicBezTo>
                <a:cubicBezTo>
                  <a:pt x="10459603" y="3267207"/>
                  <a:pt x="10466924" y="3264278"/>
                  <a:pt x="10475977" y="3264278"/>
                </a:cubicBezTo>
                <a:close/>
                <a:moveTo>
                  <a:pt x="10258466" y="3264278"/>
                </a:moveTo>
                <a:cubicBezTo>
                  <a:pt x="10262592" y="3264278"/>
                  <a:pt x="10266586" y="3265076"/>
                  <a:pt x="10270313" y="3266807"/>
                </a:cubicBezTo>
                <a:cubicBezTo>
                  <a:pt x="10273907" y="3268405"/>
                  <a:pt x="10277101" y="3270534"/>
                  <a:pt x="10279631" y="3273196"/>
                </a:cubicBezTo>
                <a:cubicBezTo>
                  <a:pt x="10282160" y="3275859"/>
                  <a:pt x="10284290" y="3279054"/>
                  <a:pt x="10285754" y="3282648"/>
                </a:cubicBezTo>
                <a:cubicBezTo>
                  <a:pt x="10287218" y="3286242"/>
                  <a:pt x="10288017" y="3289970"/>
                  <a:pt x="10288017" y="3294096"/>
                </a:cubicBezTo>
                <a:cubicBezTo>
                  <a:pt x="10288017" y="3298223"/>
                  <a:pt x="10287218" y="3302216"/>
                  <a:pt x="10285754" y="3305811"/>
                </a:cubicBezTo>
                <a:cubicBezTo>
                  <a:pt x="10284157" y="3309405"/>
                  <a:pt x="10282160" y="3312466"/>
                  <a:pt x="10279631" y="3315129"/>
                </a:cubicBezTo>
                <a:cubicBezTo>
                  <a:pt x="10276969" y="3317791"/>
                  <a:pt x="10273907" y="3319921"/>
                  <a:pt x="10270313" y="3321385"/>
                </a:cubicBezTo>
                <a:cubicBezTo>
                  <a:pt x="10266586" y="3322850"/>
                  <a:pt x="10262725" y="3323648"/>
                  <a:pt x="10258466" y="3323648"/>
                </a:cubicBezTo>
                <a:cubicBezTo>
                  <a:pt x="10249546" y="3323648"/>
                  <a:pt x="10242224" y="3320721"/>
                  <a:pt x="10236633" y="3315129"/>
                </a:cubicBezTo>
                <a:cubicBezTo>
                  <a:pt x="10231043" y="3309538"/>
                  <a:pt x="10228247" y="3302483"/>
                  <a:pt x="10228247" y="3293962"/>
                </a:cubicBezTo>
                <a:cubicBezTo>
                  <a:pt x="10228247" y="3285709"/>
                  <a:pt x="10231043" y="3278655"/>
                  <a:pt x="10236633" y="3272931"/>
                </a:cubicBezTo>
                <a:cubicBezTo>
                  <a:pt x="10242092" y="3267207"/>
                  <a:pt x="10249413" y="3264278"/>
                  <a:pt x="10258466" y="3264278"/>
                </a:cubicBezTo>
                <a:close/>
                <a:moveTo>
                  <a:pt x="10040820" y="3264278"/>
                </a:moveTo>
                <a:cubicBezTo>
                  <a:pt x="10045080" y="3264278"/>
                  <a:pt x="10048941" y="3265076"/>
                  <a:pt x="10052534" y="3266807"/>
                </a:cubicBezTo>
                <a:cubicBezTo>
                  <a:pt x="10056129" y="3268405"/>
                  <a:pt x="10059323" y="3270534"/>
                  <a:pt x="10061852" y="3273196"/>
                </a:cubicBezTo>
                <a:cubicBezTo>
                  <a:pt x="10064382" y="3275859"/>
                  <a:pt x="10066512" y="3279054"/>
                  <a:pt x="10067976" y="3282648"/>
                </a:cubicBezTo>
                <a:cubicBezTo>
                  <a:pt x="10069440" y="3286242"/>
                  <a:pt x="10070239" y="3289970"/>
                  <a:pt x="10070239" y="3294096"/>
                </a:cubicBezTo>
                <a:cubicBezTo>
                  <a:pt x="10070239" y="3298223"/>
                  <a:pt x="10069440" y="3302216"/>
                  <a:pt x="10067976" y="3305811"/>
                </a:cubicBezTo>
                <a:cubicBezTo>
                  <a:pt x="10066379" y="3309405"/>
                  <a:pt x="10064382" y="3312466"/>
                  <a:pt x="10061852" y="3315129"/>
                </a:cubicBezTo>
                <a:cubicBezTo>
                  <a:pt x="10059190" y="3317791"/>
                  <a:pt x="10056129" y="3319921"/>
                  <a:pt x="10052534" y="3321385"/>
                </a:cubicBezTo>
                <a:cubicBezTo>
                  <a:pt x="10048941" y="3322850"/>
                  <a:pt x="10045080" y="3323648"/>
                  <a:pt x="10040820" y="3323648"/>
                </a:cubicBezTo>
                <a:cubicBezTo>
                  <a:pt x="10031767" y="3323648"/>
                  <a:pt x="10024579" y="3320721"/>
                  <a:pt x="10018988" y="3315129"/>
                </a:cubicBezTo>
                <a:cubicBezTo>
                  <a:pt x="10013397" y="3309538"/>
                  <a:pt x="10010602" y="3302483"/>
                  <a:pt x="10010602" y="3293962"/>
                </a:cubicBezTo>
                <a:cubicBezTo>
                  <a:pt x="10010602" y="3285709"/>
                  <a:pt x="10013397" y="3278655"/>
                  <a:pt x="10018988" y="3272931"/>
                </a:cubicBezTo>
                <a:cubicBezTo>
                  <a:pt x="10024579" y="3267207"/>
                  <a:pt x="10031767" y="3264278"/>
                  <a:pt x="10040820" y="3264278"/>
                </a:cubicBezTo>
                <a:close/>
                <a:moveTo>
                  <a:pt x="9823176" y="3264278"/>
                </a:moveTo>
                <a:cubicBezTo>
                  <a:pt x="9827435" y="3264278"/>
                  <a:pt x="9831296" y="3265076"/>
                  <a:pt x="9834890" y="3266807"/>
                </a:cubicBezTo>
                <a:cubicBezTo>
                  <a:pt x="9838617" y="3268405"/>
                  <a:pt x="9841679" y="3270534"/>
                  <a:pt x="9844208" y="3273196"/>
                </a:cubicBezTo>
                <a:cubicBezTo>
                  <a:pt x="9846737" y="3275859"/>
                  <a:pt x="9848867" y="3279054"/>
                  <a:pt x="9850331" y="3282648"/>
                </a:cubicBezTo>
                <a:cubicBezTo>
                  <a:pt x="9851796" y="3286242"/>
                  <a:pt x="9852595" y="3289970"/>
                  <a:pt x="9852595" y="3294096"/>
                </a:cubicBezTo>
                <a:cubicBezTo>
                  <a:pt x="9852595" y="3298223"/>
                  <a:pt x="9851796" y="3302216"/>
                  <a:pt x="9850331" y="3305811"/>
                </a:cubicBezTo>
                <a:cubicBezTo>
                  <a:pt x="9848734" y="3309405"/>
                  <a:pt x="9846737" y="3312466"/>
                  <a:pt x="9844208" y="3315129"/>
                </a:cubicBezTo>
                <a:cubicBezTo>
                  <a:pt x="9841546" y="3317791"/>
                  <a:pt x="9838484" y="3319921"/>
                  <a:pt x="9834890" y="3321385"/>
                </a:cubicBezTo>
                <a:cubicBezTo>
                  <a:pt x="9831296" y="3322850"/>
                  <a:pt x="9827435" y="3323648"/>
                  <a:pt x="9823176" y="3323648"/>
                </a:cubicBezTo>
                <a:cubicBezTo>
                  <a:pt x="9814123" y="3323648"/>
                  <a:pt x="9806935" y="3320721"/>
                  <a:pt x="9801343" y="3315129"/>
                </a:cubicBezTo>
                <a:cubicBezTo>
                  <a:pt x="9795753" y="3309538"/>
                  <a:pt x="9792957" y="3302483"/>
                  <a:pt x="9792957" y="3293962"/>
                </a:cubicBezTo>
                <a:cubicBezTo>
                  <a:pt x="9792957" y="3285709"/>
                  <a:pt x="9795753" y="3278655"/>
                  <a:pt x="9801343" y="3272931"/>
                </a:cubicBezTo>
                <a:cubicBezTo>
                  <a:pt x="9806935" y="3267207"/>
                  <a:pt x="9814123" y="3264278"/>
                  <a:pt x="9823176" y="3264278"/>
                </a:cubicBezTo>
                <a:close/>
                <a:moveTo>
                  <a:pt x="9605531" y="3264278"/>
                </a:moveTo>
                <a:cubicBezTo>
                  <a:pt x="9609790" y="3264278"/>
                  <a:pt x="9613784" y="3265076"/>
                  <a:pt x="9617245" y="3266807"/>
                </a:cubicBezTo>
                <a:cubicBezTo>
                  <a:pt x="9620839" y="3268405"/>
                  <a:pt x="9624033" y="3270534"/>
                  <a:pt x="9626562" y="3273196"/>
                </a:cubicBezTo>
                <a:cubicBezTo>
                  <a:pt x="9629092" y="3275859"/>
                  <a:pt x="9631222" y="3279054"/>
                  <a:pt x="9632686" y="3282648"/>
                </a:cubicBezTo>
                <a:cubicBezTo>
                  <a:pt x="9634150" y="3286242"/>
                  <a:pt x="9634949" y="3289970"/>
                  <a:pt x="9634949" y="3294096"/>
                </a:cubicBezTo>
                <a:cubicBezTo>
                  <a:pt x="9634949" y="3298223"/>
                  <a:pt x="9634150" y="3302216"/>
                  <a:pt x="9632686" y="3305811"/>
                </a:cubicBezTo>
                <a:cubicBezTo>
                  <a:pt x="9631089" y="3309405"/>
                  <a:pt x="9629092" y="3312466"/>
                  <a:pt x="9626562" y="3315129"/>
                </a:cubicBezTo>
                <a:cubicBezTo>
                  <a:pt x="9623901" y="3317791"/>
                  <a:pt x="9620839" y="3319921"/>
                  <a:pt x="9617245" y="3321385"/>
                </a:cubicBezTo>
                <a:cubicBezTo>
                  <a:pt x="9613651" y="3322850"/>
                  <a:pt x="9609790" y="3323648"/>
                  <a:pt x="9605531" y="3323648"/>
                </a:cubicBezTo>
                <a:cubicBezTo>
                  <a:pt x="9596610" y="3323648"/>
                  <a:pt x="9589289" y="3320721"/>
                  <a:pt x="9583698" y="3315129"/>
                </a:cubicBezTo>
                <a:cubicBezTo>
                  <a:pt x="9578108" y="3309538"/>
                  <a:pt x="9575312" y="3302483"/>
                  <a:pt x="9575312" y="3293962"/>
                </a:cubicBezTo>
                <a:cubicBezTo>
                  <a:pt x="9575312" y="3285709"/>
                  <a:pt x="9578108" y="3278655"/>
                  <a:pt x="9583698" y="3272931"/>
                </a:cubicBezTo>
                <a:cubicBezTo>
                  <a:pt x="9589289" y="3267207"/>
                  <a:pt x="9596478" y="3264278"/>
                  <a:pt x="9605531" y="3264278"/>
                </a:cubicBezTo>
                <a:close/>
                <a:moveTo>
                  <a:pt x="9387885" y="3264278"/>
                </a:moveTo>
                <a:cubicBezTo>
                  <a:pt x="9392145" y="3264278"/>
                  <a:pt x="9396138" y="3265076"/>
                  <a:pt x="9399599" y="3266807"/>
                </a:cubicBezTo>
                <a:cubicBezTo>
                  <a:pt x="9403194" y="3268405"/>
                  <a:pt x="9406388" y="3270534"/>
                  <a:pt x="9408917" y="3273196"/>
                </a:cubicBezTo>
                <a:cubicBezTo>
                  <a:pt x="9411447" y="3275859"/>
                  <a:pt x="9413576" y="3279054"/>
                  <a:pt x="9415041" y="3282648"/>
                </a:cubicBezTo>
                <a:cubicBezTo>
                  <a:pt x="9416505" y="3286242"/>
                  <a:pt x="9417304" y="3289970"/>
                  <a:pt x="9417304" y="3294096"/>
                </a:cubicBezTo>
                <a:cubicBezTo>
                  <a:pt x="9417304" y="3298223"/>
                  <a:pt x="9416505" y="3302216"/>
                  <a:pt x="9415041" y="3305811"/>
                </a:cubicBezTo>
                <a:cubicBezTo>
                  <a:pt x="9413444" y="3309405"/>
                  <a:pt x="9411447" y="3312466"/>
                  <a:pt x="9408917" y="3315129"/>
                </a:cubicBezTo>
                <a:cubicBezTo>
                  <a:pt x="9406255" y="3317791"/>
                  <a:pt x="9403194" y="3319921"/>
                  <a:pt x="9399599" y="3321385"/>
                </a:cubicBezTo>
                <a:cubicBezTo>
                  <a:pt x="9396005" y="3322850"/>
                  <a:pt x="9392145" y="3323648"/>
                  <a:pt x="9387885" y="3323648"/>
                </a:cubicBezTo>
                <a:cubicBezTo>
                  <a:pt x="9378965" y="3323648"/>
                  <a:pt x="9371644" y="3320721"/>
                  <a:pt x="9366053" y="3315129"/>
                </a:cubicBezTo>
                <a:cubicBezTo>
                  <a:pt x="9360462" y="3309538"/>
                  <a:pt x="9357667" y="3302483"/>
                  <a:pt x="9357667" y="3293962"/>
                </a:cubicBezTo>
                <a:cubicBezTo>
                  <a:pt x="9357667" y="3285709"/>
                  <a:pt x="9360462" y="3278655"/>
                  <a:pt x="9366053" y="3272931"/>
                </a:cubicBezTo>
                <a:cubicBezTo>
                  <a:pt x="9371644" y="3267207"/>
                  <a:pt x="9378832" y="3264278"/>
                  <a:pt x="9387885" y="3264278"/>
                </a:cubicBezTo>
                <a:close/>
                <a:moveTo>
                  <a:pt x="9170374" y="3264278"/>
                </a:moveTo>
                <a:cubicBezTo>
                  <a:pt x="9174500" y="3264278"/>
                  <a:pt x="9178494" y="3265076"/>
                  <a:pt x="9182088" y="3266807"/>
                </a:cubicBezTo>
                <a:cubicBezTo>
                  <a:pt x="9185682" y="3268405"/>
                  <a:pt x="9188876" y="3270534"/>
                  <a:pt x="9191405" y="3273196"/>
                </a:cubicBezTo>
                <a:cubicBezTo>
                  <a:pt x="9193935" y="3275859"/>
                  <a:pt x="9196065" y="3279054"/>
                  <a:pt x="9197529" y="3282648"/>
                </a:cubicBezTo>
                <a:cubicBezTo>
                  <a:pt x="9198993" y="3286242"/>
                  <a:pt x="9199792" y="3289970"/>
                  <a:pt x="9199792" y="3294096"/>
                </a:cubicBezTo>
                <a:cubicBezTo>
                  <a:pt x="9199792" y="3298223"/>
                  <a:pt x="9198993" y="3302216"/>
                  <a:pt x="9197529" y="3305811"/>
                </a:cubicBezTo>
                <a:cubicBezTo>
                  <a:pt x="9195932" y="3309405"/>
                  <a:pt x="9193935" y="3312466"/>
                  <a:pt x="9191405" y="3315129"/>
                </a:cubicBezTo>
                <a:cubicBezTo>
                  <a:pt x="9188744" y="3317791"/>
                  <a:pt x="9185682" y="3319921"/>
                  <a:pt x="9182088" y="3321385"/>
                </a:cubicBezTo>
                <a:cubicBezTo>
                  <a:pt x="9178494" y="3322850"/>
                  <a:pt x="9174633" y="3323648"/>
                  <a:pt x="9170374" y="3323648"/>
                </a:cubicBezTo>
                <a:cubicBezTo>
                  <a:pt x="9161453" y="3323648"/>
                  <a:pt x="9154132" y="3320721"/>
                  <a:pt x="9148541" y="3315129"/>
                </a:cubicBezTo>
                <a:cubicBezTo>
                  <a:pt x="9142951" y="3309538"/>
                  <a:pt x="9140155" y="3302483"/>
                  <a:pt x="9140155" y="3293962"/>
                </a:cubicBezTo>
                <a:cubicBezTo>
                  <a:pt x="9140155" y="3285709"/>
                  <a:pt x="9142951" y="3278655"/>
                  <a:pt x="9148541" y="3272931"/>
                </a:cubicBezTo>
                <a:cubicBezTo>
                  <a:pt x="9154132" y="3267207"/>
                  <a:pt x="9161321" y="3264278"/>
                  <a:pt x="9170374" y="3264278"/>
                </a:cubicBezTo>
                <a:close/>
                <a:moveTo>
                  <a:pt x="8952728" y="3264278"/>
                </a:moveTo>
                <a:cubicBezTo>
                  <a:pt x="8956988" y="3264278"/>
                  <a:pt x="8960849" y="3265076"/>
                  <a:pt x="8964442" y="3266807"/>
                </a:cubicBezTo>
                <a:cubicBezTo>
                  <a:pt x="8968037" y="3268405"/>
                  <a:pt x="8971231" y="3270534"/>
                  <a:pt x="8973760" y="3273196"/>
                </a:cubicBezTo>
                <a:cubicBezTo>
                  <a:pt x="8976290" y="3275859"/>
                  <a:pt x="8978419" y="3279054"/>
                  <a:pt x="8979884" y="3282648"/>
                </a:cubicBezTo>
                <a:cubicBezTo>
                  <a:pt x="8981348" y="3286242"/>
                  <a:pt x="8982147" y="3289970"/>
                  <a:pt x="8982147" y="3294096"/>
                </a:cubicBezTo>
                <a:cubicBezTo>
                  <a:pt x="8982147" y="3298223"/>
                  <a:pt x="8981348" y="3302216"/>
                  <a:pt x="8979884" y="3305811"/>
                </a:cubicBezTo>
                <a:cubicBezTo>
                  <a:pt x="8978287" y="3309405"/>
                  <a:pt x="8976290" y="3312466"/>
                  <a:pt x="8973760" y="3315129"/>
                </a:cubicBezTo>
                <a:cubicBezTo>
                  <a:pt x="8971098" y="3317791"/>
                  <a:pt x="8968037" y="3319921"/>
                  <a:pt x="8964442" y="3321385"/>
                </a:cubicBezTo>
                <a:cubicBezTo>
                  <a:pt x="8960849" y="3322850"/>
                  <a:pt x="8956988" y="3323648"/>
                  <a:pt x="8952728" y="3323648"/>
                </a:cubicBezTo>
                <a:cubicBezTo>
                  <a:pt x="8943808" y="3323648"/>
                  <a:pt x="8936487" y="3320721"/>
                  <a:pt x="8930896" y="3315129"/>
                </a:cubicBezTo>
                <a:cubicBezTo>
                  <a:pt x="8925305" y="3309538"/>
                  <a:pt x="8922510" y="3302483"/>
                  <a:pt x="8922510" y="3293962"/>
                </a:cubicBezTo>
                <a:cubicBezTo>
                  <a:pt x="8922510" y="3285709"/>
                  <a:pt x="8925305" y="3278655"/>
                  <a:pt x="8930896" y="3272931"/>
                </a:cubicBezTo>
                <a:cubicBezTo>
                  <a:pt x="8936487" y="3267207"/>
                  <a:pt x="8943675" y="3264278"/>
                  <a:pt x="8952728" y="3264278"/>
                </a:cubicBezTo>
                <a:close/>
                <a:moveTo>
                  <a:pt x="8735083" y="3264278"/>
                </a:moveTo>
                <a:cubicBezTo>
                  <a:pt x="8739342" y="3264278"/>
                  <a:pt x="8743203" y="3265076"/>
                  <a:pt x="8746797" y="3266807"/>
                </a:cubicBezTo>
                <a:cubicBezTo>
                  <a:pt x="8750391" y="3268405"/>
                  <a:pt x="8753586" y="3270534"/>
                  <a:pt x="8756115" y="3273196"/>
                </a:cubicBezTo>
                <a:cubicBezTo>
                  <a:pt x="8758644" y="3275859"/>
                  <a:pt x="8760774" y="3279054"/>
                  <a:pt x="8762238" y="3282648"/>
                </a:cubicBezTo>
                <a:cubicBezTo>
                  <a:pt x="8763702" y="3286242"/>
                  <a:pt x="8764502" y="3289970"/>
                  <a:pt x="8764502" y="3294096"/>
                </a:cubicBezTo>
                <a:cubicBezTo>
                  <a:pt x="8764502" y="3298223"/>
                  <a:pt x="8763702" y="3302216"/>
                  <a:pt x="8762238" y="3305811"/>
                </a:cubicBezTo>
                <a:cubicBezTo>
                  <a:pt x="8760641" y="3309405"/>
                  <a:pt x="8758644" y="3312466"/>
                  <a:pt x="8756115" y="3315129"/>
                </a:cubicBezTo>
                <a:cubicBezTo>
                  <a:pt x="8753453" y="3317791"/>
                  <a:pt x="8750391" y="3319921"/>
                  <a:pt x="8746797" y="3321385"/>
                </a:cubicBezTo>
                <a:cubicBezTo>
                  <a:pt x="8743203" y="3322850"/>
                  <a:pt x="8739342" y="3323648"/>
                  <a:pt x="8735083" y="3323648"/>
                </a:cubicBezTo>
                <a:cubicBezTo>
                  <a:pt x="8726030" y="3323648"/>
                  <a:pt x="8718841" y="3320721"/>
                  <a:pt x="8713250" y="3315129"/>
                </a:cubicBezTo>
                <a:cubicBezTo>
                  <a:pt x="8707660" y="3309538"/>
                  <a:pt x="8704864" y="3302483"/>
                  <a:pt x="8704864" y="3293962"/>
                </a:cubicBezTo>
                <a:cubicBezTo>
                  <a:pt x="8704864" y="3285709"/>
                  <a:pt x="8707660" y="3278655"/>
                  <a:pt x="8713250" y="3272931"/>
                </a:cubicBezTo>
                <a:cubicBezTo>
                  <a:pt x="8718841" y="3267207"/>
                  <a:pt x="8726030" y="3264278"/>
                  <a:pt x="8735083" y="3264278"/>
                </a:cubicBezTo>
                <a:close/>
                <a:moveTo>
                  <a:pt x="8517438" y="3264278"/>
                </a:moveTo>
                <a:cubicBezTo>
                  <a:pt x="8521698" y="3264278"/>
                  <a:pt x="8525559" y="3265076"/>
                  <a:pt x="8529152" y="3266807"/>
                </a:cubicBezTo>
                <a:cubicBezTo>
                  <a:pt x="8532880" y="3268405"/>
                  <a:pt x="8535941" y="3270534"/>
                  <a:pt x="8538470" y="3273196"/>
                </a:cubicBezTo>
                <a:cubicBezTo>
                  <a:pt x="8541000" y="3275859"/>
                  <a:pt x="8543130" y="3279054"/>
                  <a:pt x="8544594" y="3282648"/>
                </a:cubicBezTo>
                <a:cubicBezTo>
                  <a:pt x="8546058" y="3286242"/>
                  <a:pt x="8546857" y="3289970"/>
                  <a:pt x="8546857" y="3294096"/>
                </a:cubicBezTo>
                <a:cubicBezTo>
                  <a:pt x="8546857" y="3298223"/>
                  <a:pt x="8546058" y="3302216"/>
                  <a:pt x="8544594" y="3305811"/>
                </a:cubicBezTo>
                <a:cubicBezTo>
                  <a:pt x="8542997" y="3309405"/>
                  <a:pt x="8541000" y="3312466"/>
                  <a:pt x="8538470" y="3315129"/>
                </a:cubicBezTo>
                <a:cubicBezTo>
                  <a:pt x="8535808" y="3317791"/>
                  <a:pt x="8532747" y="3319921"/>
                  <a:pt x="8529152" y="3321385"/>
                </a:cubicBezTo>
                <a:cubicBezTo>
                  <a:pt x="8525559" y="3322850"/>
                  <a:pt x="8521698" y="3323648"/>
                  <a:pt x="8517438" y="3323648"/>
                </a:cubicBezTo>
                <a:cubicBezTo>
                  <a:pt x="8508385" y="3323648"/>
                  <a:pt x="8501197" y="3320721"/>
                  <a:pt x="8495606" y="3315129"/>
                </a:cubicBezTo>
                <a:cubicBezTo>
                  <a:pt x="8490015" y="3309538"/>
                  <a:pt x="8487220" y="3302483"/>
                  <a:pt x="8487220" y="3293962"/>
                </a:cubicBezTo>
                <a:cubicBezTo>
                  <a:pt x="8487220" y="3285709"/>
                  <a:pt x="8490015" y="3278655"/>
                  <a:pt x="8495606" y="3272931"/>
                </a:cubicBezTo>
                <a:cubicBezTo>
                  <a:pt x="8501197" y="3267207"/>
                  <a:pt x="8508385" y="3264278"/>
                  <a:pt x="8517438" y="3264278"/>
                </a:cubicBezTo>
                <a:close/>
                <a:moveTo>
                  <a:pt x="8299793" y="3264278"/>
                </a:moveTo>
                <a:cubicBezTo>
                  <a:pt x="8304052" y="3264278"/>
                  <a:pt x="8308046" y="3265076"/>
                  <a:pt x="8311507" y="3266807"/>
                </a:cubicBezTo>
                <a:cubicBezTo>
                  <a:pt x="8315235" y="3268405"/>
                  <a:pt x="8318296" y="3270534"/>
                  <a:pt x="8320825" y="3273196"/>
                </a:cubicBezTo>
                <a:cubicBezTo>
                  <a:pt x="8323354" y="3275859"/>
                  <a:pt x="8325484" y="3279054"/>
                  <a:pt x="8326948" y="3282648"/>
                </a:cubicBezTo>
                <a:cubicBezTo>
                  <a:pt x="8328413" y="3286242"/>
                  <a:pt x="8329212" y="3289970"/>
                  <a:pt x="8329212" y="3294096"/>
                </a:cubicBezTo>
                <a:cubicBezTo>
                  <a:pt x="8329212" y="3298223"/>
                  <a:pt x="8328413" y="3302216"/>
                  <a:pt x="8326948" y="3305811"/>
                </a:cubicBezTo>
                <a:cubicBezTo>
                  <a:pt x="8325351" y="3309405"/>
                  <a:pt x="8323354" y="3312466"/>
                  <a:pt x="8320825" y="3315129"/>
                </a:cubicBezTo>
                <a:cubicBezTo>
                  <a:pt x="8318163" y="3317791"/>
                  <a:pt x="8315101" y="3319921"/>
                  <a:pt x="8311507" y="3321385"/>
                </a:cubicBezTo>
                <a:cubicBezTo>
                  <a:pt x="8307913" y="3322850"/>
                  <a:pt x="8304052" y="3323648"/>
                  <a:pt x="8299793" y="3323648"/>
                </a:cubicBezTo>
                <a:cubicBezTo>
                  <a:pt x="8290874" y="3323648"/>
                  <a:pt x="8283553" y="3320721"/>
                  <a:pt x="8277960" y="3315129"/>
                </a:cubicBezTo>
                <a:cubicBezTo>
                  <a:pt x="8272370" y="3309538"/>
                  <a:pt x="8269574" y="3302483"/>
                  <a:pt x="8269574" y="3293962"/>
                </a:cubicBezTo>
                <a:cubicBezTo>
                  <a:pt x="8269574" y="3285709"/>
                  <a:pt x="8272370" y="3278655"/>
                  <a:pt x="8277960" y="3272931"/>
                </a:cubicBezTo>
                <a:cubicBezTo>
                  <a:pt x="8283553" y="3267207"/>
                  <a:pt x="8290741" y="3264278"/>
                  <a:pt x="8299793" y="3264278"/>
                </a:cubicBezTo>
                <a:close/>
                <a:moveTo>
                  <a:pt x="8082281" y="3264278"/>
                </a:moveTo>
                <a:cubicBezTo>
                  <a:pt x="8086407" y="3264278"/>
                  <a:pt x="8090401" y="3265076"/>
                  <a:pt x="8094127" y="3266807"/>
                </a:cubicBezTo>
                <a:cubicBezTo>
                  <a:pt x="8097855" y="3268405"/>
                  <a:pt x="8100916" y="3270534"/>
                  <a:pt x="8103446" y="3273196"/>
                </a:cubicBezTo>
                <a:cubicBezTo>
                  <a:pt x="8105975" y="3275859"/>
                  <a:pt x="8108104" y="3279054"/>
                  <a:pt x="8109569" y="3282648"/>
                </a:cubicBezTo>
                <a:cubicBezTo>
                  <a:pt x="8111033" y="3286242"/>
                  <a:pt x="8111832" y="3289970"/>
                  <a:pt x="8111832" y="3294096"/>
                </a:cubicBezTo>
                <a:cubicBezTo>
                  <a:pt x="8111832" y="3298223"/>
                  <a:pt x="8111033" y="3302216"/>
                  <a:pt x="8109569" y="3305811"/>
                </a:cubicBezTo>
                <a:cubicBezTo>
                  <a:pt x="8107972" y="3309405"/>
                  <a:pt x="8105975" y="3312466"/>
                  <a:pt x="8103446" y="3315129"/>
                </a:cubicBezTo>
                <a:cubicBezTo>
                  <a:pt x="8100783" y="3317791"/>
                  <a:pt x="8097722" y="3319921"/>
                  <a:pt x="8094127" y="3321385"/>
                </a:cubicBezTo>
                <a:cubicBezTo>
                  <a:pt x="8090401" y="3322850"/>
                  <a:pt x="8086540" y="3323648"/>
                  <a:pt x="8082281" y="3323648"/>
                </a:cubicBezTo>
                <a:cubicBezTo>
                  <a:pt x="8073361" y="3323648"/>
                  <a:pt x="8066040" y="3320721"/>
                  <a:pt x="8060448" y="3315129"/>
                </a:cubicBezTo>
                <a:cubicBezTo>
                  <a:pt x="8054857" y="3309538"/>
                  <a:pt x="8052062" y="3302483"/>
                  <a:pt x="8052062" y="3293962"/>
                </a:cubicBezTo>
                <a:cubicBezTo>
                  <a:pt x="8052062" y="3285709"/>
                  <a:pt x="8054857" y="3278655"/>
                  <a:pt x="8060448" y="3272931"/>
                </a:cubicBezTo>
                <a:cubicBezTo>
                  <a:pt x="8066040" y="3267207"/>
                  <a:pt x="8073228" y="3264278"/>
                  <a:pt x="8082281" y="3264278"/>
                </a:cubicBezTo>
                <a:close/>
                <a:moveTo>
                  <a:pt x="7864636" y="3264278"/>
                </a:moveTo>
                <a:cubicBezTo>
                  <a:pt x="7868762" y="3264278"/>
                  <a:pt x="7872756" y="3265076"/>
                  <a:pt x="7876483" y="3266807"/>
                </a:cubicBezTo>
                <a:cubicBezTo>
                  <a:pt x="7880210" y="3268405"/>
                  <a:pt x="7883272" y="3270534"/>
                  <a:pt x="7885802" y="3273196"/>
                </a:cubicBezTo>
                <a:cubicBezTo>
                  <a:pt x="7888331" y="3275859"/>
                  <a:pt x="7890460" y="3279054"/>
                  <a:pt x="7891924" y="3282648"/>
                </a:cubicBezTo>
                <a:cubicBezTo>
                  <a:pt x="7893389" y="3286242"/>
                  <a:pt x="7894188" y="3289970"/>
                  <a:pt x="7894188" y="3294096"/>
                </a:cubicBezTo>
                <a:cubicBezTo>
                  <a:pt x="7894188" y="3298223"/>
                  <a:pt x="7893389" y="3302216"/>
                  <a:pt x="7891924" y="3305811"/>
                </a:cubicBezTo>
                <a:cubicBezTo>
                  <a:pt x="7890327" y="3309405"/>
                  <a:pt x="7888331" y="3312466"/>
                  <a:pt x="7885802" y="3315129"/>
                </a:cubicBezTo>
                <a:cubicBezTo>
                  <a:pt x="7883139" y="3317791"/>
                  <a:pt x="7880078" y="3319921"/>
                  <a:pt x="7876483" y="3321385"/>
                </a:cubicBezTo>
                <a:cubicBezTo>
                  <a:pt x="7872756" y="3322850"/>
                  <a:pt x="7868895" y="3323648"/>
                  <a:pt x="7864636" y="3323648"/>
                </a:cubicBezTo>
                <a:cubicBezTo>
                  <a:pt x="7855717" y="3323648"/>
                  <a:pt x="7848396" y="3320721"/>
                  <a:pt x="7842803" y="3315129"/>
                </a:cubicBezTo>
                <a:cubicBezTo>
                  <a:pt x="7837213" y="3309538"/>
                  <a:pt x="7834417" y="3302483"/>
                  <a:pt x="7834417" y="3293962"/>
                </a:cubicBezTo>
                <a:cubicBezTo>
                  <a:pt x="7834417" y="3285709"/>
                  <a:pt x="7837213" y="3278655"/>
                  <a:pt x="7842803" y="3272931"/>
                </a:cubicBezTo>
                <a:cubicBezTo>
                  <a:pt x="7848396" y="3267207"/>
                  <a:pt x="7855584" y="3264278"/>
                  <a:pt x="7864636" y="3264278"/>
                </a:cubicBezTo>
                <a:close/>
                <a:moveTo>
                  <a:pt x="7646991" y="3264278"/>
                </a:moveTo>
                <a:cubicBezTo>
                  <a:pt x="7651250" y="3264278"/>
                  <a:pt x="7655111" y="3265076"/>
                  <a:pt x="7658705" y="3266807"/>
                </a:cubicBezTo>
                <a:cubicBezTo>
                  <a:pt x="7662432" y="3268405"/>
                  <a:pt x="7665493" y="3270534"/>
                  <a:pt x="7668022" y="3273196"/>
                </a:cubicBezTo>
                <a:cubicBezTo>
                  <a:pt x="7670552" y="3275859"/>
                  <a:pt x="7672682" y="3279054"/>
                  <a:pt x="7674146" y="3282648"/>
                </a:cubicBezTo>
                <a:cubicBezTo>
                  <a:pt x="7675610" y="3286242"/>
                  <a:pt x="7676409" y="3289970"/>
                  <a:pt x="7676409" y="3294096"/>
                </a:cubicBezTo>
                <a:cubicBezTo>
                  <a:pt x="7676409" y="3298223"/>
                  <a:pt x="7675610" y="3302216"/>
                  <a:pt x="7674146" y="3305811"/>
                </a:cubicBezTo>
                <a:cubicBezTo>
                  <a:pt x="7672549" y="3309405"/>
                  <a:pt x="7670552" y="3312466"/>
                  <a:pt x="7668022" y="3315129"/>
                </a:cubicBezTo>
                <a:cubicBezTo>
                  <a:pt x="7665361" y="3317791"/>
                  <a:pt x="7662299" y="3319921"/>
                  <a:pt x="7658705" y="3321385"/>
                </a:cubicBezTo>
                <a:cubicBezTo>
                  <a:pt x="7655111" y="3322850"/>
                  <a:pt x="7651250" y="3323648"/>
                  <a:pt x="7646991" y="3323648"/>
                </a:cubicBezTo>
                <a:cubicBezTo>
                  <a:pt x="7638071" y="3323648"/>
                  <a:pt x="7630750" y="3320721"/>
                  <a:pt x="7625158" y="3315129"/>
                </a:cubicBezTo>
                <a:cubicBezTo>
                  <a:pt x="7619568" y="3309538"/>
                  <a:pt x="7616772" y="3302483"/>
                  <a:pt x="7616772" y="3293962"/>
                </a:cubicBezTo>
                <a:cubicBezTo>
                  <a:pt x="7616772" y="3285709"/>
                  <a:pt x="7619568" y="3278655"/>
                  <a:pt x="7625158" y="3272931"/>
                </a:cubicBezTo>
                <a:cubicBezTo>
                  <a:pt x="7630750" y="3267207"/>
                  <a:pt x="7637939" y="3264278"/>
                  <a:pt x="7646991" y="3264278"/>
                </a:cubicBezTo>
                <a:close/>
                <a:moveTo>
                  <a:pt x="7429345" y="3264278"/>
                </a:moveTo>
                <a:cubicBezTo>
                  <a:pt x="7433605" y="3264278"/>
                  <a:pt x="7437466" y="3265076"/>
                  <a:pt x="7441059" y="3266807"/>
                </a:cubicBezTo>
                <a:cubicBezTo>
                  <a:pt x="7444787" y="3268405"/>
                  <a:pt x="7447848" y="3270534"/>
                  <a:pt x="7450377" y="3273196"/>
                </a:cubicBezTo>
                <a:cubicBezTo>
                  <a:pt x="7452907" y="3275859"/>
                  <a:pt x="7455036" y="3279054"/>
                  <a:pt x="7456501" y="3282648"/>
                </a:cubicBezTo>
                <a:cubicBezTo>
                  <a:pt x="7457965" y="3286242"/>
                  <a:pt x="7458764" y="3289970"/>
                  <a:pt x="7458764" y="3294096"/>
                </a:cubicBezTo>
                <a:cubicBezTo>
                  <a:pt x="7458764" y="3298223"/>
                  <a:pt x="7457965" y="3302216"/>
                  <a:pt x="7456501" y="3305811"/>
                </a:cubicBezTo>
                <a:cubicBezTo>
                  <a:pt x="7454904" y="3309405"/>
                  <a:pt x="7452907" y="3312466"/>
                  <a:pt x="7450377" y="3315129"/>
                </a:cubicBezTo>
                <a:cubicBezTo>
                  <a:pt x="7447715" y="3317791"/>
                  <a:pt x="7444654" y="3319921"/>
                  <a:pt x="7441059" y="3321385"/>
                </a:cubicBezTo>
                <a:cubicBezTo>
                  <a:pt x="7437466" y="3322850"/>
                  <a:pt x="7433605" y="3323648"/>
                  <a:pt x="7429345" y="3323648"/>
                </a:cubicBezTo>
                <a:cubicBezTo>
                  <a:pt x="7420426" y="3323648"/>
                  <a:pt x="7413105" y="3320721"/>
                  <a:pt x="7407513" y="3315129"/>
                </a:cubicBezTo>
                <a:cubicBezTo>
                  <a:pt x="7401922" y="3309538"/>
                  <a:pt x="7399127" y="3302483"/>
                  <a:pt x="7399127" y="3293962"/>
                </a:cubicBezTo>
                <a:cubicBezTo>
                  <a:pt x="7399127" y="3285709"/>
                  <a:pt x="7401922" y="3278655"/>
                  <a:pt x="7407513" y="3272931"/>
                </a:cubicBezTo>
                <a:cubicBezTo>
                  <a:pt x="7413105" y="3267207"/>
                  <a:pt x="7420293" y="3264278"/>
                  <a:pt x="7429345" y="3264278"/>
                </a:cubicBezTo>
                <a:close/>
                <a:moveTo>
                  <a:pt x="7211701" y="3264278"/>
                </a:moveTo>
                <a:cubicBezTo>
                  <a:pt x="7215960" y="3264278"/>
                  <a:pt x="7219954" y="3265076"/>
                  <a:pt x="7223415" y="3266807"/>
                </a:cubicBezTo>
                <a:cubicBezTo>
                  <a:pt x="7227142" y="3268405"/>
                  <a:pt x="7230204" y="3270534"/>
                  <a:pt x="7232733" y="3273196"/>
                </a:cubicBezTo>
                <a:cubicBezTo>
                  <a:pt x="7235262" y="3275859"/>
                  <a:pt x="7237392" y="3279054"/>
                  <a:pt x="7238856" y="3282648"/>
                </a:cubicBezTo>
                <a:cubicBezTo>
                  <a:pt x="7240321" y="3286242"/>
                  <a:pt x="7241120" y="3289970"/>
                  <a:pt x="7241120" y="3294096"/>
                </a:cubicBezTo>
                <a:cubicBezTo>
                  <a:pt x="7241120" y="3298223"/>
                  <a:pt x="7240321" y="3302216"/>
                  <a:pt x="7238856" y="3305811"/>
                </a:cubicBezTo>
                <a:cubicBezTo>
                  <a:pt x="7237259" y="3309405"/>
                  <a:pt x="7235262" y="3312466"/>
                  <a:pt x="7232733" y="3315129"/>
                </a:cubicBezTo>
                <a:cubicBezTo>
                  <a:pt x="7230071" y="3317791"/>
                  <a:pt x="7227009" y="3319921"/>
                  <a:pt x="7223415" y="3321385"/>
                </a:cubicBezTo>
                <a:cubicBezTo>
                  <a:pt x="7219821" y="3322850"/>
                  <a:pt x="7215960" y="3323648"/>
                  <a:pt x="7211701" y="3323648"/>
                </a:cubicBezTo>
                <a:cubicBezTo>
                  <a:pt x="7202782" y="3323648"/>
                  <a:pt x="7195460" y="3320721"/>
                  <a:pt x="7189868" y="3315129"/>
                </a:cubicBezTo>
                <a:cubicBezTo>
                  <a:pt x="7184278" y="3309538"/>
                  <a:pt x="7181482" y="3302483"/>
                  <a:pt x="7181482" y="3293962"/>
                </a:cubicBezTo>
                <a:cubicBezTo>
                  <a:pt x="7181482" y="3285709"/>
                  <a:pt x="7184278" y="3278655"/>
                  <a:pt x="7189868" y="3272931"/>
                </a:cubicBezTo>
                <a:cubicBezTo>
                  <a:pt x="7195460" y="3267207"/>
                  <a:pt x="7202649" y="3264278"/>
                  <a:pt x="7211701" y="3264278"/>
                </a:cubicBezTo>
                <a:close/>
                <a:moveTo>
                  <a:pt x="6994056" y="3264278"/>
                </a:moveTo>
                <a:cubicBezTo>
                  <a:pt x="6998315" y="3264278"/>
                  <a:pt x="7002309" y="3265076"/>
                  <a:pt x="7005769" y="3266807"/>
                </a:cubicBezTo>
                <a:cubicBezTo>
                  <a:pt x="7009497" y="3268405"/>
                  <a:pt x="7012558" y="3270534"/>
                  <a:pt x="7015087" y="3273196"/>
                </a:cubicBezTo>
                <a:cubicBezTo>
                  <a:pt x="7017617" y="3275859"/>
                  <a:pt x="7019747" y="3279054"/>
                  <a:pt x="7021211" y="3282648"/>
                </a:cubicBezTo>
                <a:cubicBezTo>
                  <a:pt x="7022675" y="3286242"/>
                  <a:pt x="7023474" y="3289970"/>
                  <a:pt x="7023474" y="3294096"/>
                </a:cubicBezTo>
                <a:cubicBezTo>
                  <a:pt x="7023474" y="3298223"/>
                  <a:pt x="7022675" y="3302216"/>
                  <a:pt x="7021211" y="3305811"/>
                </a:cubicBezTo>
                <a:cubicBezTo>
                  <a:pt x="7019614" y="3309405"/>
                  <a:pt x="7017617" y="3312466"/>
                  <a:pt x="7015087" y="3315129"/>
                </a:cubicBezTo>
                <a:cubicBezTo>
                  <a:pt x="7012425" y="3317791"/>
                  <a:pt x="7009364" y="3319921"/>
                  <a:pt x="7005769" y="3321385"/>
                </a:cubicBezTo>
                <a:cubicBezTo>
                  <a:pt x="7002176" y="3322850"/>
                  <a:pt x="6998315" y="3323648"/>
                  <a:pt x="6994056" y="3323648"/>
                </a:cubicBezTo>
                <a:cubicBezTo>
                  <a:pt x="6985136" y="3323648"/>
                  <a:pt x="6977815" y="3320721"/>
                  <a:pt x="6972223" y="3315129"/>
                </a:cubicBezTo>
                <a:cubicBezTo>
                  <a:pt x="6966632" y="3309538"/>
                  <a:pt x="6963837" y="3302483"/>
                  <a:pt x="6963837" y="3293962"/>
                </a:cubicBezTo>
                <a:cubicBezTo>
                  <a:pt x="6963837" y="3285709"/>
                  <a:pt x="6966632" y="3278655"/>
                  <a:pt x="6972223" y="3272931"/>
                </a:cubicBezTo>
                <a:cubicBezTo>
                  <a:pt x="6977815" y="3267207"/>
                  <a:pt x="6985003" y="3264278"/>
                  <a:pt x="6994056" y="3264278"/>
                </a:cubicBezTo>
                <a:close/>
                <a:moveTo>
                  <a:pt x="6776544" y="3264278"/>
                </a:moveTo>
                <a:cubicBezTo>
                  <a:pt x="6780670" y="3264278"/>
                  <a:pt x="6784664" y="3265076"/>
                  <a:pt x="6788258" y="3266807"/>
                </a:cubicBezTo>
                <a:cubicBezTo>
                  <a:pt x="6791985" y="3268405"/>
                  <a:pt x="6795047" y="3270534"/>
                  <a:pt x="6797576" y="3273196"/>
                </a:cubicBezTo>
                <a:cubicBezTo>
                  <a:pt x="6800105" y="3275859"/>
                  <a:pt x="6802235" y="3279054"/>
                  <a:pt x="6803699" y="3282648"/>
                </a:cubicBezTo>
                <a:cubicBezTo>
                  <a:pt x="6805164" y="3286242"/>
                  <a:pt x="6805963" y="3289970"/>
                  <a:pt x="6805963" y="3294096"/>
                </a:cubicBezTo>
                <a:cubicBezTo>
                  <a:pt x="6805963" y="3298223"/>
                  <a:pt x="6805164" y="3302216"/>
                  <a:pt x="6803699" y="3305811"/>
                </a:cubicBezTo>
                <a:cubicBezTo>
                  <a:pt x="6802102" y="3309405"/>
                  <a:pt x="6800105" y="3312466"/>
                  <a:pt x="6797576" y="3315129"/>
                </a:cubicBezTo>
                <a:cubicBezTo>
                  <a:pt x="6794914" y="3317791"/>
                  <a:pt x="6791852" y="3319921"/>
                  <a:pt x="6788258" y="3321385"/>
                </a:cubicBezTo>
                <a:cubicBezTo>
                  <a:pt x="6784664" y="3322850"/>
                  <a:pt x="6780803" y="3323648"/>
                  <a:pt x="6776544" y="3323648"/>
                </a:cubicBezTo>
                <a:cubicBezTo>
                  <a:pt x="6767625" y="3323648"/>
                  <a:pt x="6760303" y="3320721"/>
                  <a:pt x="6754711" y="3315129"/>
                </a:cubicBezTo>
                <a:cubicBezTo>
                  <a:pt x="6749121" y="3309538"/>
                  <a:pt x="6746325" y="3302483"/>
                  <a:pt x="6746325" y="3293962"/>
                </a:cubicBezTo>
                <a:cubicBezTo>
                  <a:pt x="6746325" y="3285709"/>
                  <a:pt x="6749121" y="3278655"/>
                  <a:pt x="6754711" y="3272931"/>
                </a:cubicBezTo>
                <a:cubicBezTo>
                  <a:pt x="6760303" y="3267207"/>
                  <a:pt x="6767492" y="3264278"/>
                  <a:pt x="6776544" y="3264278"/>
                </a:cubicBezTo>
                <a:close/>
                <a:moveTo>
                  <a:pt x="6558899" y="3264278"/>
                </a:moveTo>
                <a:cubicBezTo>
                  <a:pt x="6563158" y="3264278"/>
                  <a:pt x="6567019" y="3265076"/>
                  <a:pt x="6570612" y="3266807"/>
                </a:cubicBezTo>
                <a:cubicBezTo>
                  <a:pt x="6574340" y="3268405"/>
                  <a:pt x="6577401" y="3270534"/>
                  <a:pt x="6579930" y="3273196"/>
                </a:cubicBezTo>
                <a:cubicBezTo>
                  <a:pt x="6582460" y="3275859"/>
                  <a:pt x="6584590" y="3279054"/>
                  <a:pt x="6586054" y="3282648"/>
                </a:cubicBezTo>
                <a:cubicBezTo>
                  <a:pt x="6587518" y="3286242"/>
                  <a:pt x="6588317" y="3289970"/>
                  <a:pt x="6588317" y="3294096"/>
                </a:cubicBezTo>
                <a:cubicBezTo>
                  <a:pt x="6588317" y="3298223"/>
                  <a:pt x="6587518" y="3302216"/>
                  <a:pt x="6586054" y="3305811"/>
                </a:cubicBezTo>
                <a:cubicBezTo>
                  <a:pt x="6584457" y="3309405"/>
                  <a:pt x="6582460" y="3312466"/>
                  <a:pt x="6579930" y="3315129"/>
                </a:cubicBezTo>
                <a:cubicBezTo>
                  <a:pt x="6577268" y="3317791"/>
                  <a:pt x="6574207" y="3319921"/>
                  <a:pt x="6570612" y="3321385"/>
                </a:cubicBezTo>
                <a:cubicBezTo>
                  <a:pt x="6567019" y="3322850"/>
                  <a:pt x="6563158" y="3323648"/>
                  <a:pt x="6558899" y="3323648"/>
                </a:cubicBezTo>
                <a:cubicBezTo>
                  <a:pt x="6549979" y="3323648"/>
                  <a:pt x="6542658" y="3320721"/>
                  <a:pt x="6537066" y="3315129"/>
                </a:cubicBezTo>
                <a:cubicBezTo>
                  <a:pt x="6531476" y="3309538"/>
                  <a:pt x="6528680" y="3302483"/>
                  <a:pt x="6528680" y="3293962"/>
                </a:cubicBezTo>
                <a:cubicBezTo>
                  <a:pt x="6528680" y="3285709"/>
                  <a:pt x="6531476" y="3278655"/>
                  <a:pt x="6537066" y="3272931"/>
                </a:cubicBezTo>
                <a:cubicBezTo>
                  <a:pt x="6542658" y="3267207"/>
                  <a:pt x="6549846" y="3264278"/>
                  <a:pt x="6558899" y="3264278"/>
                </a:cubicBezTo>
                <a:close/>
                <a:moveTo>
                  <a:pt x="6341253" y="3264278"/>
                </a:moveTo>
                <a:cubicBezTo>
                  <a:pt x="6345513" y="3264278"/>
                  <a:pt x="6349373" y="3265076"/>
                  <a:pt x="6352968" y="3266807"/>
                </a:cubicBezTo>
                <a:cubicBezTo>
                  <a:pt x="6356695" y="3268405"/>
                  <a:pt x="6359757" y="3270534"/>
                  <a:pt x="6362286" y="3273196"/>
                </a:cubicBezTo>
                <a:cubicBezTo>
                  <a:pt x="6364815" y="3275859"/>
                  <a:pt x="6366945" y="3279054"/>
                  <a:pt x="6368409" y="3282648"/>
                </a:cubicBezTo>
                <a:cubicBezTo>
                  <a:pt x="6369874" y="3286242"/>
                  <a:pt x="6370672" y="3289970"/>
                  <a:pt x="6370672" y="3294096"/>
                </a:cubicBezTo>
                <a:cubicBezTo>
                  <a:pt x="6370672" y="3298223"/>
                  <a:pt x="6369874" y="3302216"/>
                  <a:pt x="6368409" y="3305811"/>
                </a:cubicBezTo>
                <a:cubicBezTo>
                  <a:pt x="6366811" y="3309405"/>
                  <a:pt x="6364815" y="3312466"/>
                  <a:pt x="6362286" y="3315129"/>
                </a:cubicBezTo>
                <a:cubicBezTo>
                  <a:pt x="6359623" y="3317791"/>
                  <a:pt x="6356562" y="3319921"/>
                  <a:pt x="6352968" y="3321385"/>
                </a:cubicBezTo>
                <a:cubicBezTo>
                  <a:pt x="6349373" y="3322850"/>
                  <a:pt x="6345513" y="3323648"/>
                  <a:pt x="6341253" y="3323648"/>
                </a:cubicBezTo>
                <a:cubicBezTo>
                  <a:pt x="6332335" y="3323648"/>
                  <a:pt x="6325013" y="3320721"/>
                  <a:pt x="6319421" y="3315129"/>
                </a:cubicBezTo>
                <a:cubicBezTo>
                  <a:pt x="6313830" y="3309538"/>
                  <a:pt x="6311035" y="3302483"/>
                  <a:pt x="6311035" y="3293962"/>
                </a:cubicBezTo>
                <a:cubicBezTo>
                  <a:pt x="6311035" y="3285709"/>
                  <a:pt x="6313830" y="3278655"/>
                  <a:pt x="6319421" y="3272931"/>
                </a:cubicBezTo>
                <a:cubicBezTo>
                  <a:pt x="6325013" y="3267207"/>
                  <a:pt x="6332201" y="3264278"/>
                  <a:pt x="6341253" y="3264278"/>
                </a:cubicBezTo>
                <a:close/>
                <a:moveTo>
                  <a:pt x="6123608" y="3264278"/>
                </a:moveTo>
                <a:cubicBezTo>
                  <a:pt x="6127867" y="3264278"/>
                  <a:pt x="6131728" y="3265076"/>
                  <a:pt x="6135322" y="3266807"/>
                </a:cubicBezTo>
                <a:cubicBezTo>
                  <a:pt x="6139049" y="3268405"/>
                  <a:pt x="6142111" y="3270534"/>
                  <a:pt x="6144640" y="3273196"/>
                </a:cubicBezTo>
                <a:cubicBezTo>
                  <a:pt x="6147169" y="3275859"/>
                  <a:pt x="6149299" y="3279054"/>
                  <a:pt x="6150763" y="3282648"/>
                </a:cubicBezTo>
                <a:cubicBezTo>
                  <a:pt x="6152228" y="3286242"/>
                  <a:pt x="6153026" y="3289970"/>
                  <a:pt x="6153026" y="3294096"/>
                </a:cubicBezTo>
                <a:cubicBezTo>
                  <a:pt x="6153026" y="3298223"/>
                  <a:pt x="6152228" y="3302216"/>
                  <a:pt x="6150763" y="3305811"/>
                </a:cubicBezTo>
                <a:cubicBezTo>
                  <a:pt x="6149299" y="3309405"/>
                  <a:pt x="6147169" y="3312466"/>
                  <a:pt x="6144640" y="3315129"/>
                </a:cubicBezTo>
                <a:cubicBezTo>
                  <a:pt x="6141977" y="3317791"/>
                  <a:pt x="6138916" y="3319921"/>
                  <a:pt x="6135322" y="3321385"/>
                </a:cubicBezTo>
                <a:cubicBezTo>
                  <a:pt x="6131728" y="3322850"/>
                  <a:pt x="6127867" y="3323648"/>
                  <a:pt x="6123608" y="3323648"/>
                </a:cubicBezTo>
                <a:cubicBezTo>
                  <a:pt x="6114689" y="3323648"/>
                  <a:pt x="6107367" y="3320721"/>
                  <a:pt x="6101775" y="3315129"/>
                </a:cubicBezTo>
                <a:cubicBezTo>
                  <a:pt x="6096184" y="3309538"/>
                  <a:pt x="6093389" y="3302483"/>
                  <a:pt x="6093389" y="3293962"/>
                </a:cubicBezTo>
                <a:cubicBezTo>
                  <a:pt x="6093389" y="3285709"/>
                  <a:pt x="6096184" y="3278655"/>
                  <a:pt x="6101775" y="3272931"/>
                </a:cubicBezTo>
                <a:cubicBezTo>
                  <a:pt x="6107367" y="3267207"/>
                  <a:pt x="6114555" y="3264278"/>
                  <a:pt x="6123608" y="3264278"/>
                </a:cubicBezTo>
                <a:close/>
                <a:moveTo>
                  <a:pt x="5905963" y="3264278"/>
                </a:moveTo>
                <a:cubicBezTo>
                  <a:pt x="5910222" y="3264278"/>
                  <a:pt x="5914216" y="3265076"/>
                  <a:pt x="5917677" y="3266807"/>
                </a:cubicBezTo>
                <a:cubicBezTo>
                  <a:pt x="5921404" y="3268405"/>
                  <a:pt x="5924466" y="3270534"/>
                  <a:pt x="5926995" y="3273196"/>
                </a:cubicBezTo>
                <a:cubicBezTo>
                  <a:pt x="5929524" y="3275859"/>
                  <a:pt x="5931654" y="3279054"/>
                  <a:pt x="5933118" y="3282648"/>
                </a:cubicBezTo>
                <a:cubicBezTo>
                  <a:pt x="5934583" y="3286242"/>
                  <a:pt x="5935381" y="3289970"/>
                  <a:pt x="5935381" y="3294096"/>
                </a:cubicBezTo>
                <a:cubicBezTo>
                  <a:pt x="5935381" y="3298223"/>
                  <a:pt x="5934583" y="3302216"/>
                  <a:pt x="5933118" y="3305811"/>
                </a:cubicBezTo>
                <a:cubicBezTo>
                  <a:pt x="5931654" y="3309405"/>
                  <a:pt x="5929524" y="3312466"/>
                  <a:pt x="5926995" y="3315129"/>
                </a:cubicBezTo>
                <a:cubicBezTo>
                  <a:pt x="5924333" y="3317791"/>
                  <a:pt x="5921271" y="3319921"/>
                  <a:pt x="5917677" y="3321385"/>
                </a:cubicBezTo>
                <a:cubicBezTo>
                  <a:pt x="5914083" y="3322850"/>
                  <a:pt x="5910222" y="3323648"/>
                  <a:pt x="5905963" y="3323648"/>
                </a:cubicBezTo>
                <a:cubicBezTo>
                  <a:pt x="5897044" y="3323648"/>
                  <a:pt x="5889722" y="3320721"/>
                  <a:pt x="5884130" y="3315129"/>
                </a:cubicBezTo>
                <a:cubicBezTo>
                  <a:pt x="5878540" y="3309538"/>
                  <a:pt x="5875744" y="3302483"/>
                  <a:pt x="5875744" y="3293962"/>
                </a:cubicBezTo>
                <a:cubicBezTo>
                  <a:pt x="5875744" y="3285709"/>
                  <a:pt x="5878540" y="3278655"/>
                  <a:pt x="5884130" y="3272931"/>
                </a:cubicBezTo>
                <a:cubicBezTo>
                  <a:pt x="5889722" y="3267207"/>
                  <a:pt x="5896910" y="3264278"/>
                  <a:pt x="5905963" y="3264278"/>
                </a:cubicBezTo>
                <a:close/>
                <a:moveTo>
                  <a:pt x="5688451" y="3264278"/>
                </a:moveTo>
                <a:cubicBezTo>
                  <a:pt x="5692577" y="3264278"/>
                  <a:pt x="5696571" y="3265076"/>
                  <a:pt x="5700165" y="3266807"/>
                </a:cubicBezTo>
                <a:cubicBezTo>
                  <a:pt x="5703892" y="3268405"/>
                  <a:pt x="5706954" y="3270534"/>
                  <a:pt x="5709483" y="3273196"/>
                </a:cubicBezTo>
                <a:cubicBezTo>
                  <a:pt x="5712012" y="3275859"/>
                  <a:pt x="5714142" y="3279054"/>
                  <a:pt x="5715606" y="3282648"/>
                </a:cubicBezTo>
                <a:cubicBezTo>
                  <a:pt x="5717071" y="3286242"/>
                  <a:pt x="5717869" y="3289970"/>
                  <a:pt x="5717869" y="3294096"/>
                </a:cubicBezTo>
                <a:cubicBezTo>
                  <a:pt x="5717869" y="3298223"/>
                  <a:pt x="5717071" y="3302216"/>
                  <a:pt x="5715606" y="3305811"/>
                </a:cubicBezTo>
                <a:cubicBezTo>
                  <a:pt x="5714142" y="3309405"/>
                  <a:pt x="5712012" y="3312466"/>
                  <a:pt x="5709483" y="3315129"/>
                </a:cubicBezTo>
                <a:cubicBezTo>
                  <a:pt x="5706820" y="3317791"/>
                  <a:pt x="5703759" y="3319921"/>
                  <a:pt x="5700165" y="3321385"/>
                </a:cubicBezTo>
                <a:cubicBezTo>
                  <a:pt x="5696571" y="3322850"/>
                  <a:pt x="5692710" y="3323648"/>
                  <a:pt x="5688451" y="3323648"/>
                </a:cubicBezTo>
                <a:cubicBezTo>
                  <a:pt x="5679532" y="3323648"/>
                  <a:pt x="5672210" y="3320721"/>
                  <a:pt x="5666618" y="3315129"/>
                </a:cubicBezTo>
                <a:cubicBezTo>
                  <a:pt x="5661028" y="3309538"/>
                  <a:pt x="5658232" y="3302483"/>
                  <a:pt x="5658232" y="3293962"/>
                </a:cubicBezTo>
                <a:cubicBezTo>
                  <a:pt x="5658232" y="3285709"/>
                  <a:pt x="5661028" y="3278655"/>
                  <a:pt x="5666618" y="3272931"/>
                </a:cubicBezTo>
                <a:cubicBezTo>
                  <a:pt x="5672210" y="3267207"/>
                  <a:pt x="5679398" y="3264278"/>
                  <a:pt x="5688451" y="3264278"/>
                </a:cubicBezTo>
                <a:close/>
                <a:moveTo>
                  <a:pt x="5470806" y="3264278"/>
                </a:moveTo>
                <a:cubicBezTo>
                  <a:pt x="5475065" y="3264278"/>
                  <a:pt x="5478926" y="3265076"/>
                  <a:pt x="5482520" y="3266807"/>
                </a:cubicBezTo>
                <a:cubicBezTo>
                  <a:pt x="5486247" y="3268405"/>
                  <a:pt x="5489309" y="3270534"/>
                  <a:pt x="5491838" y="3273196"/>
                </a:cubicBezTo>
                <a:cubicBezTo>
                  <a:pt x="5494367" y="3275859"/>
                  <a:pt x="5496497" y="3279054"/>
                  <a:pt x="5497961" y="3282648"/>
                </a:cubicBezTo>
                <a:cubicBezTo>
                  <a:pt x="5499426" y="3286242"/>
                  <a:pt x="5500224" y="3289970"/>
                  <a:pt x="5500224" y="3294096"/>
                </a:cubicBezTo>
                <a:cubicBezTo>
                  <a:pt x="5500224" y="3298223"/>
                  <a:pt x="5499426" y="3302216"/>
                  <a:pt x="5497961" y="3305811"/>
                </a:cubicBezTo>
                <a:cubicBezTo>
                  <a:pt x="5496497" y="3309405"/>
                  <a:pt x="5494367" y="3312466"/>
                  <a:pt x="5491838" y="3315129"/>
                </a:cubicBezTo>
                <a:cubicBezTo>
                  <a:pt x="5489176" y="3317791"/>
                  <a:pt x="5486114" y="3319921"/>
                  <a:pt x="5482520" y="3321385"/>
                </a:cubicBezTo>
                <a:cubicBezTo>
                  <a:pt x="5478926" y="3322850"/>
                  <a:pt x="5475065" y="3323648"/>
                  <a:pt x="5470806" y="3323648"/>
                </a:cubicBezTo>
                <a:cubicBezTo>
                  <a:pt x="5461887" y="3323648"/>
                  <a:pt x="5454565" y="3320721"/>
                  <a:pt x="5448973" y="3315129"/>
                </a:cubicBezTo>
                <a:cubicBezTo>
                  <a:pt x="5443383" y="3309538"/>
                  <a:pt x="5440587" y="3302483"/>
                  <a:pt x="5440587" y="3293962"/>
                </a:cubicBezTo>
                <a:cubicBezTo>
                  <a:pt x="5440587" y="3285709"/>
                  <a:pt x="5443383" y="3278655"/>
                  <a:pt x="5448973" y="3272931"/>
                </a:cubicBezTo>
                <a:cubicBezTo>
                  <a:pt x="5454565" y="3267207"/>
                  <a:pt x="5461754" y="3264278"/>
                  <a:pt x="5470806" y="3264278"/>
                </a:cubicBezTo>
                <a:close/>
                <a:moveTo>
                  <a:pt x="5253160" y="3264278"/>
                </a:moveTo>
                <a:cubicBezTo>
                  <a:pt x="5257420" y="3264278"/>
                  <a:pt x="5261280" y="3265076"/>
                  <a:pt x="5264875" y="3266807"/>
                </a:cubicBezTo>
                <a:cubicBezTo>
                  <a:pt x="5268602" y="3268405"/>
                  <a:pt x="5271664" y="3270534"/>
                  <a:pt x="5274192" y="3273196"/>
                </a:cubicBezTo>
                <a:cubicBezTo>
                  <a:pt x="5276722" y="3275859"/>
                  <a:pt x="5278852" y="3279054"/>
                  <a:pt x="5280316" y="3282648"/>
                </a:cubicBezTo>
                <a:cubicBezTo>
                  <a:pt x="5281780" y="3286242"/>
                  <a:pt x="5282579" y="3289970"/>
                  <a:pt x="5282579" y="3294096"/>
                </a:cubicBezTo>
                <a:cubicBezTo>
                  <a:pt x="5282579" y="3298223"/>
                  <a:pt x="5281780" y="3302216"/>
                  <a:pt x="5280316" y="3305811"/>
                </a:cubicBezTo>
                <a:cubicBezTo>
                  <a:pt x="5278852" y="3309405"/>
                  <a:pt x="5276722" y="3312466"/>
                  <a:pt x="5274192" y="3315129"/>
                </a:cubicBezTo>
                <a:cubicBezTo>
                  <a:pt x="5271664" y="3317791"/>
                  <a:pt x="5268469" y="3319921"/>
                  <a:pt x="5264875" y="3321385"/>
                </a:cubicBezTo>
                <a:cubicBezTo>
                  <a:pt x="5261280" y="3322850"/>
                  <a:pt x="5257420" y="3323648"/>
                  <a:pt x="5253160" y="3323648"/>
                </a:cubicBezTo>
                <a:cubicBezTo>
                  <a:pt x="5244241" y="3323648"/>
                  <a:pt x="5236920" y="3320721"/>
                  <a:pt x="5231328" y="3315129"/>
                </a:cubicBezTo>
                <a:cubicBezTo>
                  <a:pt x="5225737" y="3309538"/>
                  <a:pt x="5222942" y="3302483"/>
                  <a:pt x="5222942" y="3293962"/>
                </a:cubicBezTo>
                <a:cubicBezTo>
                  <a:pt x="5222942" y="3285709"/>
                  <a:pt x="5225737" y="3278655"/>
                  <a:pt x="5231328" y="3272931"/>
                </a:cubicBezTo>
                <a:cubicBezTo>
                  <a:pt x="5236920" y="3267207"/>
                  <a:pt x="5244108" y="3264278"/>
                  <a:pt x="5253160" y="3264278"/>
                </a:cubicBezTo>
                <a:close/>
                <a:moveTo>
                  <a:pt x="5035515" y="3264278"/>
                </a:moveTo>
                <a:cubicBezTo>
                  <a:pt x="5039775" y="3264278"/>
                  <a:pt x="5043636" y="3265076"/>
                  <a:pt x="5047230" y="3266807"/>
                </a:cubicBezTo>
                <a:cubicBezTo>
                  <a:pt x="5050957" y="3268405"/>
                  <a:pt x="5054019" y="3270534"/>
                  <a:pt x="5056548" y="3273196"/>
                </a:cubicBezTo>
                <a:cubicBezTo>
                  <a:pt x="5059077" y="3275859"/>
                  <a:pt x="5061207" y="3279054"/>
                  <a:pt x="5062671" y="3282648"/>
                </a:cubicBezTo>
                <a:cubicBezTo>
                  <a:pt x="5064135" y="3286242"/>
                  <a:pt x="5064934" y="3289970"/>
                  <a:pt x="5064934" y="3294096"/>
                </a:cubicBezTo>
                <a:cubicBezTo>
                  <a:pt x="5064934" y="3298223"/>
                  <a:pt x="5064135" y="3302216"/>
                  <a:pt x="5062671" y="3305811"/>
                </a:cubicBezTo>
                <a:cubicBezTo>
                  <a:pt x="5061207" y="3309405"/>
                  <a:pt x="5059077" y="3312466"/>
                  <a:pt x="5056548" y="3315129"/>
                </a:cubicBezTo>
                <a:cubicBezTo>
                  <a:pt x="5053885" y="3317791"/>
                  <a:pt x="5050824" y="3319921"/>
                  <a:pt x="5047230" y="3321385"/>
                </a:cubicBezTo>
                <a:cubicBezTo>
                  <a:pt x="5043636" y="3322850"/>
                  <a:pt x="5039775" y="3323648"/>
                  <a:pt x="5035515" y="3323648"/>
                </a:cubicBezTo>
                <a:cubicBezTo>
                  <a:pt x="5026597" y="3323648"/>
                  <a:pt x="5019275" y="3320721"/>
                  <a:pt x="5013683" y="3315129"/>
                </a:cubicBezTo>
                <a:cubicBezTo>
                  <a:pt x="5008092" y="3309538"/>
                  <a:pt x="5005297" y="3302483"/>
                  <a:pt x="5005297" y="3293962"/>
                </a:cubicBezTo>
                <a:cubicBezTo>
                  <a:pt x="5005297" y="3285709"/>
                  <a:pt x="5008092" y="3278655"/>
                  <a:pt x="5013683" y="3272931"/>
                </a:cubicBezTo>
                <a:cubicBezTo>
                  <a:pt x="5019275" y="3267207"/>
                  <a:pt x="5026463" y="3264278"/>
                  <a:pt x="5035515" y="3264278"/>
                </a:cubicBezTo>
                <a:close/>
                <a:moveTo>
                  <a:pt x="4817870" y="3264278"/>
                </a:moveTo>
                <a:cubicBezTo>
                  <a:pt x="4822130" y="3264278"/>
                  <a:pt x="4826124" y="3265076"/>
                  <a:pt x="4829585" y="3266807"/>
                </a:cubicBezTo>
                <a:cubicBezTo>
                  <a:pt x="4833312" y="3268405"/>
                  <a:pt x="4836374" y="3270534"/>
                  <a:pt x="4838903" y="3273196"/>
                </a:cubicBezTo>
                <a:cubicBezTo>
                  <a:pt x="4841432" y="3275859"/>
                  <a:pt x="4843562" y="3279054"/>
                  <a:pt x="4845026" y="3282648"/>
                </a:cubicBezTo>
                <a:cubicBezTo>
                  <a:pt x="4846491" y="3286242"/>
                  <a:pt x="4847289" y="3289970"/>
                  <a:pt x="4847289" y="3294096"/>
                </a:cubicBezTo>
                <a:cubicBezTo>
                  <a:pt x="4847289" y="3298223"/>
                  <a:pt x="4846491" y="3302216"/>
                  <a:pt x="4845026" y="3305811"/>
                </a:cubicBezTo>
                <a:cubicBezTo>
                  <a:pt x="4843562" y="3309405"/>
                  <a:pt x="4841432" y="3312466"/>
                  <a:pt x="4838903" y="3315129"/>
                </a:cubicBezTo>
                <a:cubicBezTo>
                  <a:pt x="4836240" y="3317791"/>
                  <a:pt x="4833179" y="3319921"/>
                  <a:pt x="4829585" y="3321385"/>
                </a:cubicBezTo>
                <a:cubicBezTo>
                  <a:pt x="4825991" y="3322850"/>
                  <a:pt x="4822130" y="3323648"/>
                  <a:pt x="4817870" y="3323648"/>
                </a:cubicBezTo>
                <a:cubicBezTo>
                  <a:pt x="4808952" y="3323648"/>
                  <a:pt x="4801630" y="3320721"/>
                  <a:pt x="4796038" y="3315129"/>
                </a:cubicBezTo>
                <a:cubicBezTo>
                  <a:pt x="4790447" y="3309538"/>
                  <a:pt x="4787652" y="3302483"/>
                  <a:pt x="4787652" y="3293962"/>
                </a:cubicBezTo>
                <a:cubicBezTo>
                  <a:pt x="4787652" y="3285709"/>
                  <a:pt x="4790447" y="3278655"/>
                  <a:pt x="4796038" y="3272931"/>
                </a:cubicBezTo>
                <a:cubicBezTo>
                  <a:pt x="4801630" y="3267207"/>
                  <a:pt x="4808818" y="3264278"/>
                  <a:pt x="4817870" y="3264278"/>
                </a:cubicBezTo>
                <a:close/>
                <a:moveTo>
                  <a:pt x="4600226" y="3264278"/>
                </a:moveTo>
                <a:cubicBezTo>
                  <a:pt x="4604485" y="3264278"/>
                  <a:pt x="4608479" y="3265076"/>
                  <a:pt x="4612073" y="3266807"/>
                </a:cubicBezTo>
                <a:cubicBezTo>
                  <a:pt x="4615800" y="3268405"/>
                  <a:pt x="4618862" y="3270534"/>
                  <a:pt x="4621391" y="3273196"/>
                </a:cubicBezTo>
                <a:cubicBezTo>
                  <a:pt x="4623920" y="3275859"/>
                  <a:pt x="4626050" y="3279054"/>
                  <a:pt x="4627514" y="3282648"/>
                </a:cubicBezTo>
                <a:cubicBezTo>
                  <a:pt x="4628978" y="3286242"/>
                  <a:pt x="4629777" y="3289970"/>
                  <a:pt x="4629777" y="3294096"/>
                </a:cubicBezTo>
                <a:cubicBezTo>
                  <a:pt x="4629777" y="3298223"/>
                  <a:pt x="4628978" y="3302216"/>
                  <a:pt x="4627514" y="3305811"/>
                </a:cubicBezTo>
                <a:cubicBezTo>
                  <a:pt x="4626050" y="3309405"/>
                  <a:pt x="4623920" y="3312466"/>
                  <a:pt x="4621391" y="3315129"/>
                </a:cubicBezTo>
                <a:cubicBezTo>
                  <a:pt x="4618729" y="3317791"/>
                  <a:pt x="4615667" y="3319921"/>
                  <a:pt x="4612073" y="3321385"/>
                </a:cubicBezTo>
                <a:cubicBezTo>
                  <a:pt x="4608346" y="3322850"/>
                  <a:pt x="4604485" y="3323648"/>
                  <a:pt x="4600226" y="3323648"/>
                </a:cubicBezTo>
                <a:cubicBezTo>
                  <a:pt x="4591173" y="3323648"/>
                  <a:pt x="4583985" y="3320721"/>
                  <a:pt x="4578393" y="3315129"/>
                </a:cubicBezTo>
                <a:cubicBezTo>
                  <a:pt x="4572803" y="3309538"/>
                  <a:pt x="4570007" y="3302483"/>
                  <a:pt x="4570007" y="3293962"/>
                </a:cubicBezTo>
                <a:cubicBezTo>
                  <a:pt x="4570007" y="3285709"/>
                  <a:pt x="4572803" y="3278655"/>
                  <a:pt x="4578393" y="3272931"/>
                </a:cubicBezTo>
                <a:cubicBezTo>
                  <a:pt x="4583985" y="3267207"/>
                  <a:pt x="4591173" y="3264278"/>
                  <a:pt x="4600226" y="3264278"/>
                </a:cubicBezTo>
                <a:close/>
                <a:moveTo>
                  <a:pt x="4382713" y="3264278"/>
                </a:moveTo>
                <a:cubicBezTo>
                  <a:pt x="4386840" y="3264278"/>
                  <a:pt x="4390834" y="3265076"/>
                  <a:pt x="4394428" y="3266807"/>
                </a:cubicBezTo>
                <a:cubicBezTo>
                  <a:pt x="4398155" y="3268405"/>
                  <a:pt x="4401217" y="3270534"/>
                  <a:pt x="4403746" y="3273196"/>
                </a:cubicBezTo>
                <a:cubicBezTo>
                  <a:pt x="4406275" y="3275859"/>
                  <a:pt x="4408405" y="3279054"/>
                  <a:pt x="4409869" y="3282648"/>
                </a:cubicBezTo>
                <a:cubicBezTo>
                  <a:pt x="4411334" y="3286242"/>
                  <a:pt x="4412132" y="3289970"/>
                  <a:pt x="4412132" y="3294096"/>
                </a:cubicBezTo>
                <a:cubicBezTo>
                  <a:pt x="4412132" y="3298223"/>
                  <a:pt x="4411334" y="3302216"/>
                  <a:pt x="4409869" y="3305811"/>
                </a:cubicBezTo>
                <a:cubicBezTo>
                  <a:pt x="4408405" y="3309405"/>
                  <a:pt x="4406275" y="3312466"/>
                  <a:pt x="4403746" y="3315129"/>
                </a:cubicBezTo>
                <a:cubicBezTo>
                  <a:pt x="4401083" y="3317791"/>
                  <a:pt x="4398022" y="3319921"/>
                  <a:pt x="4394428" y="3321385"/>
                </a:cubicBezTo>
                <a:cubicBezTo>
                  <a:pt x="4390834" y="3322850"/>
                  <a:pt x="4386973" y="3323648"/>
                  <a:pt x="4382713" y="3323648"/>
                </a:cubicBezTo>
                <a:cubicBezTo>
                  <a:pt x="4373661" y="3323648"/>
                  <a:pt x="4366473" y="3320721"/>
                  <a:pt x="4360881" y="3315129"/>
                </a:cubicBezTo>
                <a:cubicBezTo>
                  <a:pt x="4355290" y="3309538"/>
                  <a:pt x="4352495" y="3302483"/>
                  <a:pt x="4352495" y="3293962"/>
                </a:cubicBezTo>
                <a:cubicBezTo>
                  <a:pt x="4352495" y="3285709"/>
                  <a:pt x="4355290" y="3278655"/>
                  <a:pt x="4360881" y="3272931"/>
                </a:cubicBezTo>
                <a:cubicBezTo>
                  <a:pt x="4366473" y="3267207"/>
                  <a:pt x="4373661" y="3264278"/>
                  <a:pt x="4382713" y="3264278"/>
                </a:cubicBezTo>
                <a:close/>
                <a:moveTo>
                  <a:pt x="4165068" y="3264278"/>
                </a:moveTo>
                <a:cubicBezTo>
                  <a:pt x="4169327" y="3264278"/>
                  <a:pt x="4173188" y="3265076"/>
                  <a:pt x="4176782" y="3266807"/>
                </a:cubicBezTo>
                <a:cubicBezTo>
                  <a:pt x="4180509" y="3268405"/>
                  <a:pt x="4183571" y="3270534"/>
                  <a:pt x="4186100" y="3273196"/>
                </a:cubicBezTo>
                <a:cubicBezTo>
                  <a:pt x="4188629" y="3275859"/>
                  <a:pt x="4190759" y="3279054"/>
                  <a:pt x="4192223" y="3282648"/>
                </a:cubicBezTo>
                <a:cubicBezTo>
                  <a:pt x="4193688" y="3286242"/>
                  <a:pt x="4194486" y="3289970"/>
                  <a:pt x="4194486" y="3294096"/>
                </a:cubicBezTo>
                <a:cubicBezTo>
                  <a:pt x="4194486" y="3298223"/>
                  <a:pt x="4193688" y="3302216"/>
                  <a:pt x="4192223" y="3305811"/>
                </a:cubicBezTo>
                <a:cubicBezTo>
                  <a:pt x="4190759" y="3309405"/>
                  <a:pt x="4188629" y="3312466"/>
                  <a:pt x="4186100" y="3315129"/>
                </a:cubicBezTo>
                <a:cubicBezTo>
                  <a:pt x="4183438" y="3317791"/>
                  <a:pt x="4180376" y="3319921"/>
                  <a:pt x="4176782" y="3321385"/>
                </a:cubicBezTo>
                <a:cubicBezTo>
                  <a:pt x="4173188" y="3322850"/>
                  <a:pt x="4169327" y="3323648"/>
                  <a:pt x="4165068" y="3323648"/>
                </a:cubicBezTo>
                <a:cubicBezTo>
                  <a:pt x="4156015" y="3323648"/>
                  <a:pt x="4148827" y="3320721"/>
                  <a:pt x="4143235" y="3315129"/>
                </a:cubicBezTo>
                <a:cubicBezTo>
                  <a:pt x="4137645" y="3309538"/>
                  <a:pt x="4134849" y="3302483"/>
                  <a:pt x="4134849" y="3293962"/>
                </a:cubicBezTo>
                <a:cubicBezTo>
                  <a:pt x="4134849" y="3285709"/>
                  <a:pt x="4137645" y="3278655"/>
                  <a:pt x="4143235" y="3272931"/>
                </a:cubicBezTo>
                <a:cubicBezTo>
                  <a:pt x="4148827" y="3267207"/>
                  <a:pt x="4156015" y="3264278"/>
                  <a:pt x="4165068" y="3264278"/>
                </a:cubicBezTo>
                <a:close/>
                <a:moveTo>
                  <a:pt x="3947605" y="3264278"/>
                </a:moveTo>
                <a:cubicBezTo>
                  <a:pt x="3951867" y="3264278"/>
                  <a:pt x="3955726" y="3265076"/>
                  <a:pt x="3959321" y="3266807"/>
                </a:cubicBezTo>
                <a:cubicBezTo>
                  <a:pt x="3963049" y="3268405"/>
                  <a:pt x="3966110" y="3270534"/>
                  <a:pt x="3968639" y="3273196"/>
                </a:cubicBezTo>
                <a:cubicBezTo>
                  <a:pt x="3971169" y="3275859"/>
                  <a:pt x="3973299" y="3279054"/>
                  <a:pt x="3974763" y="3282648"/>
                </a:cubicBezTo>
                <a:cubicBezTo>
                  <a:pt x="3976228" y="3286242"/>
                  <a:pt x="3977027" y="3289970"/>
                  <a:pt x="3977027" y="3294096"/>
                </a:cubicBezTo>
                <a:cubicBezTo>
                  <a:pt x="3977027" y="3298223"/>
                  <a:pt x="3976228" y="3302216"/>
                  <a:pt x="3974763" y="3305811"/>
                </a:cubicBezTo>
                <a:cubicBezTo>
                  <a:pt x="3973299" y="3309405"/>
                  <a:pt x="3971169" y="3312466"/>
                  <a:pt x="3968639" y="3315129"/>
                </a:cubicBezTo>
                <a:cubicBezTo>
                  <a:pt x="3965977" y="3317791"/>
                  <a:pt x="3962916" y="3319921"/>
                  <a:pt x="3959321" y="3321385"/>
                </a:cubicBezTo>
                <a:cubicBezTo>
                  <a:pt x="3955726" y="3322850"/>
                  <a:pt x="3951867" y="3323648"/>
                  <a:pt x="3947605" y="3323648"/>
                </a:cubicBezTo>
                <a:cubicBezTo>
                  <a:pt x="3938552" y="3323648"/>
                  <a:pt x="3931365" y="3320721"/>
                  <a:pt x="3925772" y="3315129"/>
                </a:cubicBezTo>
                <a:cubicBezTo>
                  <a:pt x="3920181" y="3309538"/>
                  <a:pt x="3917386" y="3302483"/>
                  <a:pt x="3917386" y="3293962"/>
                </a:cubicBezTo>
                <a:cubicBezTo>
                  <a:pt x="3917386" y="3285709"/>
                  <a:pt x="3920181" y="3278655"/>
                  <a:pt x="3925772" y="3272931"/>
                </a:cubicBezTo>
                <a:cubicBezTo>
                  <a:pt x="3931365" y="3267207"/>
                  <a:pt x="3938552" y="3264278"/>
                  <a:pt x="3947605" y="3264278"/>
                </a:cubicBezTo>
                <a:close/>
                <a:moveTo>
                  <a:pt x="3729951" y="3264278"/>
                </a:moveTo>
                <a:cubicBezTo>
                  <a:pt x="3734212" y="3264278"/>
                  <a:pt x="3738204" y="3265076"/>
                  <a:pt x="3741666" y="3266807"/>
                </a:cubicBezTo>
                <a:cubicBezTo>
                  <a:pt x="3745261" y="3268405"/>
                  <a:pt x="3748456" y="3270534"/>
                  <a:pt x="3750985" y="3273196"/>
                </a:cubicBezTo>
                <a:cubicBezTo>
                  <a:pt x="3753514" y="3275859"/>
                  <a:pt x="3755644" y="3279054"/>
                  <a:pt x="3757108" y="3282648"/>
                </a:cubicBezTo>
                <a:cubicBezTo>
                  <a:pt x="3758572" y="3286242"/>
                  <a:pt x="3759371" y="3289970"/>
                  <a:pt x="3759371" y="3294096"/>
                </a:cubicBezTo>
                <a:cubicBezTo>
                  <a:pt x="3759371" y="3298223"/>
                  <a:pt x="3758572" y="3302216"/>
                  <a:pt x="3757108" y="3305811"/>
                </a:cubicBezTo>
                <a:cubicBezTo>
                  <a:pt x="3755644" y="3309405"/>
                  <a:pt x="3753514" y="3312466"/>
                  <a:pt x="3750985" y="3315129"/>
                </a:cubicBezTo>
                <a:cubicBezTo>
                  <a:pt x="3748322" y="3317791"/>
                  <a:pt x="3745261" y="3319921"/>
                  <a:pt x="3741666" y="3321385"/>
                </a:cubicBezTo>
                <a:cubicBezTo>
                  <a:pt x="3738073" y="3322850"/>
                  <a:pt x="3734212" y="3323648"/>
                  <a:pt x="3729951" y="3323648"/>
                </a:cubicBezTo>
                <a:cubicBezTo>
                  <a:pt x="3720899" y="3323648"/>
                  <a:pt x="3713710" y="3320721"/>
                  <a:pt x="3708115" y="3315129"/>
                </a:cubicBezTo>
                <a:cubicBezTo>
                  <a:pt x="3702522" y="3309538"/>
                  <a:pt x="3699728" y="3302483"/>
                  <a:pt x="3699728" y="3293962"/>
                </a:cubicBezTo>
                <a:cubicBezTo>
                  <a:pt x="3699728" y="3285709"/>
                  <a:pt x="3702522" y="3278655"/>
                  <a:pt x="3708115" y="3272931"/>
                </a:cubicBezTo>
                <a:cubicBezTo>
                  <a:pt x="3713710" y="3267207"/>
                  <a:pt x="3720899" y="3264278"/>
                  <a:pt x="3729951" y="3264278"/>
                </a:cubicBezTo>
                <a:close/>
                <a:moveTo>
                  <a:pt x="3512297" y="3264278"/>
                </a:moveTo>
                <a:cubicBezTo>
                  <a:pt x="3516557" y="3264278"/>
                  <a:pt x="3520550" y="3265076"/>
                  <a:pt x="3524012" y="3266807"/>
                </a:cubicBezTo>
                <a:cubicBezTo>
                  <a:pt x="3527606" y="3268405"/>
                  <a:pt x="3530801" y="3270534"/>
                  <a:pt x="3533330" y="3273196"/>
                </a:cubicBezTo>
                <a:cubicBezTo>
                  <a:pt x="3535859" y="3275859"/>
                  <a:pt x="3537989" y="3279054"/>
                  <a:pt x="3539453" y="3282648"/>
                </a:cubicBezTo>
                <a:cubicBezTo>
                  <a:pt x="3540917" y="3286242"/>
                  <a:pt x="3541716" y="3289970"/>
                  <a:pt x="3541716" y="3294096"/>
                </a:cubicBezTo>
                <a:cubicBezTo>
                  <a:pt x="3541716" y="3298223"/>
                  <a:pt x="3540917" y="3302216"/>
                  <a:pt x="3539453" y="3305811"/>
                </a:cubicBezTo>
                <a:cubicBezTo>
                  <a:pt x="3537989" y="3309405"/>
                  <a:pt x="3535859" y="3312466"/>
                  <a:pt x="3533330" y="3315129"/>
                </a:cubicBezTo>
                <a:cubicBezTo>
                  <a:pt x="3530667" y="3317791"/>
                  <a:pt x="3527606" y="3319921"/>
                  <a:pt x="3524012" y="3321385"/>
                </a:cubicBezTo>
                <a:cubicBezTo>
                  <a:pt x="3520418" y="3322850"/>
                  <a:pt x="3516557" y="3323648"/>
                  <a:pt x="3512297" y="3323648"/>
                </a:cubicBezTo>
                <a:cubicBezTo>
                  <a:pt x="3503242" y="3323648"/>
                  <a:pt x="3496053" y="3320721"/>
                  <a:pt x="3490462" y="3315129"/>
                </a:cubicBezTo>
                <a:cubicBezTo>
                  <a:pt x="3484871" y="3309538"/>
                  <a:pt x="3482075" y="3302483"/>
                  <a:pt x="3482075" y="3293962"/>
                </a:cubicBezTo>
                <a:cubicBezTo>
                  <a:pt x="3482075" y="3285709"/>
                  <a:pt x="3484871" y="3278655"/>
                  <a:pt x="3490462" y="3272931"/>
                </a:cubicBezTo>
                <a:cubicBezTo>
                  <a:pt x="3496053" y="3267207"/>
                  <a:pt x="3503242" y="3264278"/>
                  <a:pt x="3512297" y="3264278"/>
                </a:cubicBezTo>
                <a:close/>
                <a:moveTo>
                  <a:pt x="3294775" y="3264278"/>
                </a:moveTo>
                <a:cubicBezTo>
                  <a:pt x="3298902" y="3264278"/>
                  <a:pt x="3302897" y="3265076"/>
                  <a:pt x="3306491" y="3266807"/>
                </a:cubicBezTo>
                <a:cubicBezTo>
                  <a:pt x="3310218" y="3268405"/>
                  <a:pt x="3313280" y="3270534"/>
                  <a:pt x="3315809" y="3273196"/>
                </a:cubicBezTo>
                <a:cubicBezTo>
                  <a:pt x="3318338" y="3275859"/>
                  <a:pt x="3320468" y="3279054"/>
                  <a:pt x="3321932" y="3282648"/>
                </a:cubicBezTo>
                <a:cubicBezTo>
                  <a:pt x="3323396" y="3286242"/>
                  <a:pt x="3324195" y="3289970"/>
                  <a:pt x="3324195" y="3294096"/>
                </a:cubicBezTo>
                <a:cubicBezTo>
                  <a:pt x="3324195" y="3298223"/>
                  <a:pt x="3323396" y="3302216"/>
                  <a:pt x="3321932" y="3305811"/>
                </a:cubicBezTo>
                <a:cubicBezTo>
                  <a:pt x="3320468" y="3309405"/>
                  <a:pt x="3318338" y="3312466"/>
                  <a:pt x="3315809" y="3315129"/>
                </a:cubicBezTo>
                <a:cubicBezTo>
                  <a:pt x="3313146" y="3317791"/>
                  <a:pt x="3310084" y="3319921"/>
                  <a:pt x="3306491" y="3321385"/>
                </a:cubicBezTo>
                <a:cubicBezTo>
                  <a:pt x="3302897" y="3322850"/>
                  <a:pt x="3299036" y="3323648"/>
                  <a:pt x="3294775" y="3323648"/>
                </a:cubicBezTo>
                <a:cubicBezTo>
                  <a:pt x="3285722" y="3323648"/>
                  <a:pt x="3278533" y="3320721"/>
                  <a:pt x="3272940" y="3315129"/>
                </a:cubicBezTo>
                <a:cubicBezTo>
                  <a:pt x="3267348" y="3309538"/>
                  <a:pt x="3264553" y="3302483"/>
                  <a:pt x="3264553" y="3293962"/>
                </a:cubicBezTo>
                <a:cubicBezTo>
                  <a:pt x="3264553" y="3285709"/>
                  <a:pt x="3267348" y="3278655"/>
                  <a:pt x="3272940" y="3272931"/>
                </a:cubicBezTo>
                <a:cubicBezTo>
                  <a:pt x="3278533" y="3267207"/>
                  <a:pt x="3285722" y="3264278"/>
                  <a:pt x="3294775" y="3264278"/>
                </a:cubicBezTo>
                <a:close/>
                <a:moveTo>
                  <a:pt x="3077120" y="3264278"/>
                </a:moveTo>
                <a:cubicBezTo>
                  <a:pt x="3081248" y="3264278"/>
                  <a:pt x="3085242" y="3265076"/>
                  <a:pt x="3088836" y="3266807"/>
                </a:cubicBezTo>
                <a:cubicBezTo>
                  <a:pt x="3092430" y="3268405"/>
                  <a:pt x="3095626" y="3270534"/>
                  <a:pt x="3098154" y="3273196"/>
                </a:cubicBezTo>
                <a:cubicBezTo>
                  <a:pt x="3100683" y="3275859"/>
                  <a:pt x="3102813" y="3279054"/>
                  <a:pt x="3104277" y="3282648"/>
                </a:cubicBezTo>
                <a:cubicBezTo>
                  <a:pt x="3105743" y="3286242"/>
                  <a:pt x="3106540" y="3289970"/>
                  <a:pt x="3106540" y="3294096"/>
                </a:cubicBezTo>
                <a:cubicBezTo>
                  <a:pt x="3106540" y="3298223"/>
                  <a:pt x="3105743" y="3302216"/>
                  <a:pt x="3104277" y="3305811"/>
                </a:cubicBezTo>
                <a:cubicBezTo>
                  <a:pt x="3102813" y="3309405"/>
                  <a:pt x="3100683" y="3312466"/>
                  <a:pt x="3098154" y="3315129"/>
                </a:cubicBezTo>
                <a:cubicBezTo>
                  <a:pt x="3095492" y="3317791"/>
                  <a:pt x="3092430" y="3319921"/>
                  <a:pt x="3088836" y="3321385"/>
                </a:cubicBezTo>
                <a:cubicBezTo>
                  <a:pt x="3085242" y="3322850"/>
                  <a:pt x="3081381" y="3323648"/>
                  <a:pt x="3077120" y="3323648"/>
                </a:cubicBezTo>
                <a:cubicBezTo>
                  <a:pt x="3068201" y="3323648"/>
                  <a:pt x="3060879" y="3320721"/>
                  <a:pt x="3055285" y="3315129"/>
                </a:cubicBezTo>
                <a:cubicBezTo>
                  <a:pt x="3049694" y="3309538"/>
                  <a:pt x="3046899" y="3302483"/>
                  <a:pt x="3046899" y="3293962"/>
                </a:cubicBezTo>
                <a:cubicBezTo>
                  <a:pt x="3046899" y="3285709"/>
                  <a:pt x="3049694" y="3278655"/>
                  <a:pt x="3055285" y="3272931"/>
                </a:cubicBezTo>
                <a:cubicBezTo>
                  <a:pt x="3060879" y="3267207"/>
                  <a:pt x="3068068" y="3264278"/>
                  <a:pt x="3077120" y="3264278"/>
                </a:cubicBezTo>
                <a:close/>
                <a:moveTo>
                  <a:pt x="2859466" y="3264278"/>
                </a:moveTo>
                <a:cubicBezTo>
                  <a:pt x="2863727" y="3264278"/>
                  <a:pt x="2867588" y="3265076"/>
                  <a:pt x="2871315" y="3266807"/>
                </a:cubicBezTo>
                <a:cubicBezTo>
                  <a:pt x="2875042" y="3268405"/>
                  <a:pt x="2878104" y="3270534"/>
                  <a:pt x="2880633" y="3273196"/>
                </a:cubicBezTo>
                <a:cubicBezTo>
                  <a:pt x="2883294" y="3275859"/>
                  <a:pt x="2885292" y="3279054"/>
                  <a:pt x="2886756" y="3282648"/>
                </a:cubicBezTo>
                <a:cubicBezTo>
                  <a:pt x="2888221" y="3286242"/>
                  <a:pt x="2889019" y="3289970"/>
                  <a:pt x="2889019" y="3294096"/>
                </a:cubicBezTo>
                <a:cubicBezTo>
                  <a:pt x="2889019" y="3298223"/>
                  <a:pt x="2888221" y="3302216"/>
                  <a:pt x="2886756" y="3305811"/>
                </a:cubicBezTo>
                <a:cubicBezTo>
                  <a:pt x="2885292" y="3309405"/>
                  <a:pt x="2883162" y="3312466"/>
                  <a:pt x="2880633" y="3315129"/>
                </a:cubicBezTo>
                <a:cubicBezTo>
                  <a:pt x="2877971" y="3317791"/>
                  <a:pt x="2874908" y="3319921"/>
                  <a:pt x="2871315" y="3321385"/>
                </a:cubicBezTo>
                <a:cubicBezTo>
                  <a:pt x="2867588" y="3322850"/>
                  <a:pt x="2863727" y="3323648"/>
                  <a:pt x="2859466" y="3323648"/>
                </a:cubicBezTo>
                <a:cubicBezTo>
                  <a:pt x="2850548" y="3323648"/>
                  <a:pt x="2843222" y="3320721"/>
                  <a:pt x="2837631" y="3315129"/>
                </a:cubicBezTo>
                <a:cubicBezTo>
                  <a:pt x="2832040" y="3309538"/>
                  <a:pt x="2829244" y="3302483"/>
                  <a:pt x="2829244" y="3293962"/>
                </a:cubicBezTo>
                <a:cubicBezTo>
                  <a:pt x="2829244" y="3285709"/>
                  <a:pt x="2832040" y="3278655"/>
                  <a:pt x="2837631" y="3272931"/>
                </a:cubicBezTo>
                <a:cubicBezTo>
                  <a:pt x="2843222" y="3267207"/>
                  <a:pt x="2850414" y="3264278"/>
                  <a:pt x="2859466" y="3264278"/>
                </a:cubicBezTo>
                <a:close/>
                <a:moveTo>
                  <a:pt x="2641812" y="3264278"/>
                </a:moveTo>
                <a:cubicBezTo>
                  <a:pt x="2646072" y="3264278"/>
                  <a:pt x="2649932" y="3265076"/>
                  <a:pt x="2653527" y="3266807"/>
                </a:cubicBezTo>
                <a:cubicBezTo>
                  <a:pt x="2657254" y="3268405"/>
                  <a:pt x="2660316" y="3270534"/>
                  <a:pt x="2662845" y="3273196"/>
                </a:cubicBezTo>
                <a:cubicBezTo>
                  <a:pt x="2665507" y="3275859"/>
                  <a:pt x="2667504" y="3279054"/>
                  <a:pt x="2668968" y="3282648"/>
                </a:cubicBezTo>
                <a:cubicBezTo>
                  <a:pt x="2670432" y="3286242"/>
                  <a:pt x="2671231" y="3289970"/>
                  <a:pt x="2671231" y="3294096"/>
                </a:cubicBezTo>
                <a:cubicBezTo>
                  <a:pt x="2671231" y="3298223"/>
                  <a:pt x="2670432" y="3302216"/>
                  <a:pt x="2668968" y="3305811"/>
                </a:cubicBezTo>
                <a:cubicBezTo>
                  <a:pt x="2667504" y="3309405"/>
                  <a:pt x="2665374" y="3312466"/>
                  <a:pt x="2662845" y="3315129"/>
                </a:cubicBezTo>
                <a:cubicBezTo>
                  <a:pt x="2660316" y="3317791"/>
                  <a:pt x="2657121" y="3319921"/>
                  <a:pt x="2653527" y="3321385"/>
                </a:cubicBezTo>
                <a:cubicBezTo>
                  <a:pt x="2649932" y="3322850"/>
                  <a:pt x="2646072" y="3323648"/>
                  <a:pt x="2641812" y="3323648"/>
                </a:cubicBezTo>
                <a:cubicBezTo>
                  <a:pt x="2632892" y="3323648"/>
                  <a:pt x="2625571" y="3320721"/>
                  <a:pt x="2619979" y="3315129"/>
                </a:cubicBezTo>
                <a:cubicBezTo>
                  <a:pt x="2614388" y="3309538"/>
                  <a:pt x="2611591" y="3302483"/>
                  <a:pt x="2611591" y="3293962"/>
                </a:cubicBezTo>
                <a:cubicBezTo>
                  <a:pt x="2611591" y="3285709"/>
                  <a:pt x="2614388" y="3278655"/>
                  <a:pt x="2619979" y="3272931"/>
                </a:cubicBezTo>
                <a:cubicBezTo>
                  <a:pt x="2625571" y="3267207"/>
                  <a:pt x="2632760" y="3264278"/>
                  <a:pt x="2641812" y="3264278"/>
                </a:cubicBezTo>
                <a:close/>
                <a:moveTo>
                  <a:pt x="2424157" y="3264278"/>
                </a:moveTo>
                <a:cubicBezTo>
                  <a:pt x="2428417" y="3264278"/>
                  <a:pt x="2432412" y="3265076"/>
                  <a:pt x="2435872" y="3266807"/>
                </a:cubicBezTo>
                <a:cubicBezTo>
                  <a:pt x="2439599" y="3268405"/>
                  <a:pt x="2442661" y="3270534"/>
                  <a:pt x="2445190" y="3273196"/>
                </a:cubicBezTo>
                <a:cubicBezTo>
                  <a:pt x="2447853" y="3275859"/>
                  <a:pt x="2449850" y="3279054"/>
                  <a:pt x="2451314" y="3282648"/>
                </a:cubicBezTo>
                <a:cubicBezTo>
                  <a:pt x="2452778" y="3286242"/>
                  <a:pt x="2453577" y="3289970"/>
                  <a:pt x="2453577" y="3294096"/>
                </a:cubicBezTo>
                <a:cubicBezTo>
                  <a:pt x="2453577" y="3298223"/>
                  <a:pt x="2452778" y="3302216"/>
                  <a:pt x="2451314" y="3305811"/>
                </a:cubicBezTo>
                <a:cubicBezTo>
                  <a:pt x="2449850" y="3309405"/>
                  <a:pt x="2447719" y="3312466"/>
                  <a:pt x="2445190" y="3315129"/>
                </a:cubicBezTo>
                <a:cubicBezTo>
                  <a:pt x="2442661" y="3317791"/>
                  <a:pt x="2439467" y="3319921"/>
                  <a:pt x="2435872" y="3321385"/>
                </a:cubicBezTo>
                <a:cubicBezTo>
                  <a:pt x="2432278" y="3322850"/>
                  <a:pt x="2428417" y="3323648"/>
                  <a:pt x="2424157" y="3323648"/>
                </a:cubicBezTo>
                <a:cubicBezTo>
                  <a:pt x="2415239" y="3323648"/>
                  <a:pt x="2407917" y="3320721"/>
                  <a:pt x="2402325" y="3315129"/>
                </a:cubicBezTo>
                <a:cubicBezTo>
                  <a:pt x="2396733" y="3309538"/>
                  <a:pt x="2393937" y="3302483"/>
                  <a:pt x="2393937" y="3293962"/>
                </a:cubicBezTo>
                <a:cubicBezTo>
                  <a:pt x="2393937" y="3285709"/>
                  <a:pt x="2396733" y="3278655"/>
                  <a:pt x="2402325" y="3272931"/>
                </a:cubicBezTo>
                <a:cubicBezTo>
                  <a:pt x="2407917" y="3267207"/>
                  <a:pt x="2415105" y="3264278"/>
                  <a:pt x="2424157" y="3264278"/>
                </a:cubicBezTo>
                <a:close/>
                <a:moveTo>
                  <a:pt x="2206503" y="3264278"/>
                </a:moveTo>
                <a:cubicBezTo>
                  <a:pt x="2210762" y="3264278"/>
                  <a:pt x="2214757" y="3265076"/>
                  <a:pt x="2218218" y="3266807"/>
                </a:cubicBezTo>
                <a:cubicBezTo>
                  <a:pt x="2221945" y="3268405"/>
                  <a:pt x="2225006" y="3270534"/>
                  <a:pt x="2227536" y="3273196"/>
                </a:cubicBezTo>
                <a:cubicBezTo>
                  <a:pt x="2230198" y="3275859"/>
                  <a:pt x="2232195" y="3279054"/>
                  <a:pt x="2233659" y="3282648"/>
                </a:cubicBezTo>
                <a:cubicBezTo>
                  <a:pt x="2235123" y="3286242"/>
                  <a:pt x="2235922" y="3289970"/>
                  <a:pt x="2235922" y="3294096"/>
                </a:cubicBezTo>
                <a:cubicBezTo>
                  <a:pt x="2235922" y="3298223"/>
                  <a:pt x="2235123" y="3302216"/>
                  <a:pt x="2233659" y="3305811"/>
                </a:cubicBezTo>
                <a:cubicBezTo>
                  <a:pt x="2232195" y="3309405"/>
                  <a:pt x="2230065" y="3312466"/>
                  <a:pt x="2227536" y="3315129"/>
                </a:cubicBezTo>
                <a:cubicBezTo>
                  <a:pt x="2225006" y="3317791"/>
                  <a:pt x="2221812" y="3319921"/>
                  <a:pt x="2218218" y="3321385"/>
                </a:cubicBezTo>
                <a:cubicBezTo>
                  <a:pt x="2214623" y="3322850"/>
                  <a:pt x="2210762" y="3323648"/>
                  <a:pt x="2206503" y="3323648"/>
                </a:cubicBezTo>
                <a:cubicBezTo>
                  <a:pt x="2197450" y="3323648"/>
                  <a:pt x="2190262" y="3320721"/>
                  <a:pt x="2184670" y="3315129"/>
                </a:cubicBezTo>
                <a:cubicBezTo>
                  <a:pt x="2179078" y="3309538"/>
                  <a:pt x="2176283" y="3302483"/>
                  <a:pt x="2176283" y="3293962"/>
                </a:cubicBezTo>
                <a:cubicBezTo>
                  <a:pt x="2176283" y="3285709"/>
                  <a:pt x="2179078" y="3278655"/>
                  <a:pt x="2184670" y="3272931"/>
                </a:cubicBezTo>
                <a:cubicBezTo>
                  <a:pt x="2190262" y="3267207"/>
                  <a:pt x="2197450" y="3264278"/>
                  <a:pt x="2206503" y="3264278"/>
                </a:cubicBezTo>
                <a:close/>
                <a:moveTo>
                  <a:pt x="1988981" y="3264278"/>
                </a:moveTo>
                <a:cubicBezTo>
                  <a:pt x="1993108" y="3264278"/>
                  <a:pt x="1997102" y="3265076"/>
                  <a:pt x="2000696" y="3266807"/>
                </a:cubicBezTo>
                <a:cubicBezTo>
                  <a:pt x="2004423" y="3268405"/>
                  <a:pt x="2007485" y="3270534"/>
                  <a:pt x="2010014" y="3273196"/>
                </a:cubicBezTo>
                <a:cubicBezTo>
                  <a:pt x="2012676" y="3275859"/>
                  <a:pt x="2014673" y="3279054"/>
                  <a:pt x="2016137" y="3282648"/>
                </a:cubicBezTo>
                <a:cubicBezTo>
                  <a:pt x="2017601" y="3286242"/>
                  <a:pt x="2018400" y="3289970"/>
                  <a:pt x="2018400" y="3294096"/>
                </a:cubicBezTo>
                <a:cubicBezTo>
                  <a:pt x="2018400" y="3298223"/>
                  <a:pt x="2017601" y="3302216"/>
                  <a:pt x="2016137" y="3305811"/>
                </a:cubicBezTo>
                <a:cubicBezTo>
                  <a:pt x="2014673" y="3309405"/>
                  <a:pt x="2012543" y="3312466"/>
                  <a:pt x="2010014" y="3315129"/>
                </a:cubicBezTo>
                <a:cubicBezTo>
                  <a:pt x="2007485" y="3317791"/>
                  <a:pt x="2004290" y="3319921"/>
                  <a:pt x="2000696" y="3321385"/>
                </a:cubicBezTo>
                <a:cubicBezTo>
                  <a:pt x="1997102" y="3322850"/>
                  <a:pt x="1993241" y="3323648"/>
                  <a:pt x="1988981" y="3323648"/>
                </a:cubicBezTo>
                <a:cubicBezTo>
                  <a:pt x="1979930" y="3323648"/>
                  <a:pt x="1972741" y="3320721"/>
                  <a:pt x="1967150" y="3315129"/>
                </a:cubicBezTo>
                <a:cubicBezTo>
                  <a:pt x="1961559" y="3309538"/>
                  <a:pt x="1958763" y="3302483"/>
                  <a:pt x="1958763" y="3293962"/>
                </a:cubicBezTo>
                <a:cubicBezTo>
                  <a:pt x="1958763" y="3285709"/>
                  <a:pt x="1961559" y="3278655"/>
                  <a:pt x="1967150" y="3272931"/>
                </a:cubicBezTo>
                <a:cubicBezTo>
                  <a:pt x="1972741" y="3267207"/>
                  <a:pt x="1979930" y="3264278"/>
                  <a:pt x="1988981" y="3264278"/>
                </a:cubicBezTo>
                <a:close/>
                <a:moveTo>
                  <a:pt x="1771343" y="3264278"/>
                </a:moveTo>
                <a:cubicBezTo>
                  <a:pt x="1775602" y="3264278"/>
                  <a:pt x="1779462" y="3265076"/>
                  <a:pt x="1783057" y="3266807"/>
                </a:cubicBezTo>
                <a:cubicBezTo>
                  <a:pt x="1786784" y="3268405"/>
                  <a:pt x="1789846" y="3270534"/>
                  <a:pt x="1792375" y="3273196"/>
                </a:cubicBezTo>
                <a:cubicBezTo>
                  <a:pt x="1795037" y="3275859"/>
                  <a:pt x="1797034" y="3279054"/>
                  <a:pt x="1798498" y="3282648"/>
                </a:cubicBezTo>
                <a:cubicBezTo>
                  <a:pt x="1799962" y="3286242"/>
                  <a:pt x="1800760" y="3289970"/>
                  <a:pt x="1800760" y="3294096"/>
                </a:cubicBezTo>
                <a:cubicBezTo>
                  <a:pt x="1800760" y="3298223"/>
                  <a:pt x="1799962" y="3302216"/>
                  <a:pt x="1798498" y="3305811"/>
                </a:cubicBezTo>
                <a:cubicBezTo>
                  <a:pt x="1797034" y="3309405"/>
                  <a:pt x="1794904" y="3312466"/>
                  <a:pt x="1792375" y="3315129"/>
                </a:cubicBezTo>
                <a:cubicBezTo>
                  <a:pt x="1789712" y="3317791"/>
                  <a:pt x="1786651" y="3319921"/>
                  <a:pt x="1783057" y="3321385"/>
                </a:cubicBezTo>
                <a:cubicBezTo>
                  <a:pt x="1779462" y="3322850"/>
                  <a:pt x="1775602" y="3323648"/>
                  <a:pt x="1771343" y="3323648"/>
                </a:cubicBezTo>
                <a:cubicBezTo>
                  <a:pt x="1762424" y="3323648"/>
                  <a:pt x="1755103" y="3320721"/>
                  <a:pt x="1749513" y="3315129"/>
                </a:cubicBezTo>
                <a:cubicBezTo>
                  <a:pt x="1743921" y="3309538"/>
                  <a:pt x="1741128" y="3302483"/>
                  <a:pt x="1741128" y="3293962"/>
                </a:cubicBezTo>
                <a:cubicBezTo>
                  <a:pt x="1741128" y="3285709"/>
                  <a:pt x="1743921" y="3278655"/>
                  <a:pt x="1749513" y="3272931"/>
                </a:cubicBezTo>
                <a:cubicBezTo>
                  <a:pt x="1755103" y="3267207"/>
                  <a:pt x="1762290" y="3264278"/>
                  <a:pt x="1771343" y="3264278"/>
                </a:cubicBezTo>
                <a:close/>
                <a:moveTo>
                  <a:pt x="1553702" y="3264278"/>
                </a:moveTo>
                <a:cubicBezTo>
                  <a:pt x="1557962" y="3264278"/>
                  <a:pt x="1561823" y="3265076"/>
                  <a:pt x="1565417" y="3266807"/>
                </a:cubicBezTo>
                <a:cubicBezTo>
                  <a:pt x="1569011" y="3268405"/>
                  <a:pt x="1572206" y="3270534"/>
                  <a:pt x="1574735" y="3273196"/>
                </a:cubicBezTo>
                <a:cubicBezTo>
                  <a:pt x="1577397" y="3275859"/>
                  <a:pt x="1579394" y="3279054"/>
                  <a:pt x="1580858" y="3282648"/>
                </a:cubicBezTo>
                <a:cubicBezTo>
                  <a:pt x="1582322" y="3286242"/>
                  <a:pt x="1583121" y="3289970"/>
                  <a:pt x="1583121" y="3294096"/>
                </a:cubicBezTo>
                <a:cubicBezTo>
                  <a:pt x="1583121" y="3298223"/>
                  <a:pt x="1582322" y="3302216"/>
                  <a:pt x="1580858" y="3305811"/>
                </a:cubicBezTo>
                <a:cubicBezTo>
                  <a:pt x="1579394" y="3309405"/>
                  <a:pt x="1577264" y="3312466"/>
                  <a:pt x="1574735" y="3315129"/>
                </a:cubicBezTo>
                <a:cubicBezTo>
                  <a:pt x="1572073" y="3317791"/>
                  <a:pt x="1569011" y="3319921"/>
                  <a:pt x="1565417" y="3321385"/>
                </a:cubicBezTo>
                <a:cubicBezTo>
                  <a:pt x="1561823" y="3322850"/>
                  <a:pt x="1557962" y="3323648"/>
                  <a:pt x="1553702" y="3323648"/>
                </a:cubicBezTo>
                <a:cubicBezTo>
                  <a:pt x="1544784" y="3323648"/>
                  <a:pt x="1537462" y="3320721"/>
                  <a:pt x="1531871" y="3315129"/>
                </a:cubicBezTo>
                <a:cubicBezTo>
                  <a:pt x="1526282" y="3309538"/>
                  <a:pt x="1523486" y="3302483"/>
                  <a:pt x="1523486" y="3293962"/>
                </a:cubicBezTo>
                <a:cubicBezTo>
                  <a:pt x="1523486" y="3285709"/>
                  <a:pt x="1526282" y="3278655"/>
                  <a:pt x="1531871" y="3272931"/>
                </a:cubicBezTo>
                <a:cubicBezTo>
                  <a:pt x="1537462" y="3267207"/>
                  <a:pt x="1544650" y="3264278"/>
                  <a:pt x="1553702" y="3264278"/>
                </a:cubicBezTo>
                <a:close/>
                <a:moveTo>
                  <a:pt x="1336057" y="3264278"/>
                </a:moveTo>
                <a:cubicBezTo>
                  <a:pt x="1340318" y="3264278"/>
                  <a:pt x="1344313" y="3265076"/>
                  <a:pt x="1347774" y="3266807"/>
                </a:cubicBezTo>
                <a:cubicBezTo>
                  <a:pt x="1351367" y="3268405"/>
                  <a:pt x="1354561" y="3270534"/>
                  <a:pt x="1357092" y="3273196"/>
                </a:cubicBezTo>
                <a:cubicBezTo>
                  <a:pt x="1359754" y="3275859"/>
                  <a:pt x="1361750" y="3279054"/>
                  <a:pt x="1363214" y="3282648"/>
                </a:cubicBezTo>
                <a:cubicBezTo>
                  <a:pt x="1364679" y="3286242"/>
                  <a:pt x="1365477" y="3289970"/>
                  <a:pt x="1365477" y="3294096"/>
                </a:cubicBezTo>
                <a:cubicBezTo>
                  <a:pt x="1365477" y="3298223"/>
                  <a:pt x="1364679" y="3302216"/>
                  <a:pt x="1363214" y="3305811"/>
                </a:cubicBezTo>
                <a:cubicBezTo>
                  <a:pt x="1361750" y="3309405"/>
                  <a:pt x="1359621" y="3312466"/>
                  <a:pt x="1357092" y="3315129"/>
                </a:cubicBezTo>
                <a:cubicBezTo>
                  <a:pt x="1354428" y="3317791"/>
                  <a:pt x="1351367" y="3319921"/>
                  <a:pt x="1347774" y="3321385"/>
                </a:cubicBezTo>
                <a:cubicBezTo>
                  <a:pt x="1344179" y="3322850"/>
                  <a:pt x="1340318" y="3323648"/>
                  <a:pt x="1336057" y="3323648"/>
                </a:cubicBezTo>
                <a:cubicBezTo>
                  <a:pt x="1327138" y="3323648"/>
                  <a:pt x="1319817" y="3320721"/>
                  <a:pt x="1314226" y="3315129"/>
                </a:cubicBezTo>
                <a:cubicBezTo>
                  <a:pt x="1308635" y="3309538"/>
                  <a:pt x="1305840" y="3302483"/>
                  <a:pt x="1305840" y="3293962"/>
                </a:cubicBezTo>
                <a:cubicBezTo>
                  <a:pt x="1305840" y="3285709"/>
                  <a:pt x="1308635" y="3278655"/>
                  <a:pt x="1314226" y="3272931"/>
                </a:cubicBezTo>
                <a:cubicBezTo>
                  <a:pt x="1319817" y="3267207"/>
                  <a:pt x="1327006" y="3264278"/>
                  <a:pt x="1336057" y="3264278"/>
                </a:cubicBezTo>
                <a:close/>
                <a:moveTo>
                  <a:pt x="1118413" y="3264278"/>
                </a:moveTo>
                <a:cubicBezTo>
                  <a:pt x="1122674" y="3264278"/>
                  <a:pt x="1126669" y="3265076"/>
                  <a:pt x="1130130" y="3266807"/>
                </a:cubicBezTo>
                <a:cubicBezTo>
                  <a:pt x="1133856" y="3268405"/>
                  <a:pt x="1136918" y="3270534"/>
                  <a:pt x="1139446" y="3273196"/>
                </a:cubicBezTo>
                <a:cubicBezTo>
                  <a:pt x="1142107" y="3275859"/>
                  <a:pt x="1144103" y="3279054"/>
                  <a:pt x="1145567" y="3282648"/>
                </a:cubicBezTo>
                <a:cubicBezTo>
                  <a:pt x="1147032" y="3286242"/>
                  <a:pt x="1147830" y="3289970"/>
                  <a:pt x="1147830" y="3294096"/>
                </a:cubicBezTo>
                <a:cubicBezTo>
                  <a:pt x="1147830" y="3298223"/>
                  <a:pt x="1147032" y="3302216"/>
                  <a:pt x="1145567" y="3305811"/>
                </a:cubicBezTo>
                <a:cubicBezTo>
                  <a:pt x="1144103" y="3309405"/>
                  <a:pt x="1141974" y="3312466"/>
                  <a:pt x="1139446" y="3315129"/>
                </a:cubicBezTo>
                <a:cubicBezTo>
                  <a:pt x="1136918" y="3317791"/>
                  <a:pt x="1133724" y="3319921"/>
                  <a:pt x="1130130" y="3321385"/>
                </a:cubicBezTo>
                <a:cubicBezTo>
                  <a:pt x="1126534" y="3322850"/>
                  <a:pt x="1122674" y="3323648"/>
                  <a:pt x="1118413" y="3323648"/>
                </a:cubicBezTo>
                <a:cubicBezTo>
                  <a:pt x="1109494" y="3323648"/>
                  <a:pt x="1102170" y="3320721"/>
                  <a:pt x="1096579" y="3315129"/>
                </a:cubicBezTo>
                <a:cubicBezTo>
                  <a:pt x="1090989" y="3309538"/>
                  <a:pt x="1088194" y="3302483"/>
                  <a:pt x="1088194" y="3293962"/>
                </a:cubicBezTo>
                <a:cubicBezTo>
                  <a:pt x="1088194" y="3285709"/>
                  <a:pt x="1090989" y="3278655"/>
                  <a:pt x="1096579" y="3272931"/>
                </a:cubicBezTo>
                <a:cubicBezTo>
                  <a:pt x="1102170" y="3267207"/>
                  <a:pt x="1109360" y="3264278"/>
                  <a:pt x="1118413" y="3264278"/>
                </a:cubicBezTo>
                <a:close/>
                <a:moveTo>
                  <a:pt x="900900" y="3264278"/>
                </a:moveTo>
                <a:cubicBezTo>
                  <a:pt x="905027" y="3264278"/>
                  <a:pt x="909021" y="3265076"/>
                  <a:pt x="912615" y="3266807"/>
                </a:cubicBezTo>
                <a:cubicBezTo>
                  <a:pt x="916342" y="3268405"/>
                  <a:pt x="919404" y="3270534"/>
                  <a:pt x="921934" y="3273196"/>
                </a:cubicBezTo>
                <a:cubicBezTo>
                  <a:pt x="924596" y="3275859"/>
                  <a:pt x="926593" y="3279054"/>
                  <a:pt x="928056" y="3282648"/>
                </a:cubicBezTo>
                <a:cubicBezTo>
                  <a:pt x="929521" y="3286242"/>
                  <a:pt x="930319" y="3289970"/>
                  <a:pt x="930319" y="3294096"/>
                </a:cubicBezTo>
                <a:cubicBezTo>
                  <a:pt x="930319" y="3298223"/>
                  <a:pt x="929521" y="3302216"/>
                  <a:pt x="928056" y="3305811"/>
                </a:cubicBezTo>
                <a:cubicBezTo>
                  <a:pt x="926593" y="3309405"/>
                  <a:pt x="924463" y="3312466"/>
                  <a:pt x="921934" y="3315129"/>
                </a:cubicBezTo>
                <a:cubicBezTo>
                  <a:pt x="919404" y="3317791"/>
                  <a:pt x="916209" y="3319921"/>
                  <a:pt x="912615" y="3321385"/>
                </a:cubicBezTo>
                <a:cubicBezTo>
                  <a:pt x="909021" y="3322850"/>
                  <a:pt x="905160" y="3323648"/>
                  <a:pt x="900900" y="3323648"/>
                </a:cubicBezTo>
                <a:cubicBezTo>
                  <a:pt x="891982" y="3323648"/>
                  <a:pt x="884660" y="3320721"/>
                  <a:pt x="879069" y="3315129"/>
                </a:cubicBezTo>
                <a:cubicBezTo>
                  <a:pt x="873480" y="3309538"/>
                  <a:pt x="870684" y="3302483"/>
                  <a:pt x="870684" y="3293962"/>
                </a:cubicBezTo>
                <a:cubicBezTo>
                  <a:pt x="870684" y="3285709"/>
                  <a:pt x="873480" y="3278655"/>
                  <a:pt x="879069" y="3272931"/>
                </a:cubicBezTo>
                <a:cubicBezTo>
                  <a:pt x="884660" y="3267207"/>
                  <a:pt x="891849" y="3264278"/>
                  <a:pt x="900900" y="3264278"/>
                </a:cubicBezTo>
                <a:close/>
                <a:moveTo>
                  <a:pt x="683258" y="3264278"/>
                </a:moveTo>
                <a:cubicBezTo>
                  <a:pt x="687518" y="3264278"/>
                  <a:pt x="691379" y="3265076"/>
                  <a:pt x="694974" y="3266807"/>
                </a:cubicBezTo>
                <a:cubicBezTo>
                  <a:pt x="698701" y="3268405"/>
                  <a:pt x="701762" y="3270534"/>
                  <a:pt x="704291" y="3273196"/>
                </a:cubicBezTo>
                <a:cubicBezTo>
                  <a:pt x="706953" y="3275859"/>
                  <a:pt x="708950" y="3279054"/>
                  <a:pt x="710414" y="3282648"/>
                </a:cubicBezTo>
                <a:cubicBezTo>
                  <a:pt x="711878" y="3286242"/>
                  <a:pt x="712677" y="3289970"/>
                  <a:pt x="712677" y="3294096"/>
                </a:cubicBezTo>
                <a:cubicBezTo>
                  <a:pt x="712677" y="3298223"/>
                  <a:pt x="711878" y="3302216"/>
                  <a:pt x="710414" y="3305811"/>
                </a:cubicBezTo>
                <a:cubicBezTo>
                  <a:pt x="708950" y="3309405"/>
                  <a:pt x="706820" y="3312466"/>
                  <a:pt x="704291" y="3315129"/>
                </a:cubicBezTo>
                <a:cubicBezTo>
                  <a:pt x="701762" y="3317791"/>
                  <a:pt x="698567" y="3319921"/>
                  <a:pt x="694974" y="3321385"/>
                </a:cubicBezTo>
                <a:cubicBezTo>
                  <a:pt x="691379" y="3322850"/>
                  <a:pt x="687518" y="3323648"/>
                  <a:pt x="683258" y="3323648"/>
                </a:cubicBezTo>
                <a:cubicBezTo>
                  <a:pt x="674340" y="3323648"/>
                  <a:pt x="667018" y="3320721"/>
                  <a:pt x="661427" y="3315129"/>
                </a:cubicBezTo>
                <a:cubicBezTo>
                  <a:pt x="655836" y="3309538"/>
                  <a:pt x="653041" y="3302483"/>
                  <a:pt x="653041" y="3293962"/>
                </a:cubicBezTo>
                <a:cubicBezTo>
                  <a:pt x="653041" y="3285709"/>
                  <a:pt x="655836" y="3278655"/>
                  <a:pt x="661427" y="3272931"/>
                </a:cubicBezTo>
                <a:cubicBezTo>
                  <a:pt x="667018" y="3267207"/>
                  <a:pt x="674207" y="3264278"/>
                  <a:pt x="683258" y="3264278"/>
                </a:cubicBezTo>
                <a:close/>
                <a:moveTo>
                  <a:pt x="465615" y="3264278"/>
                </a:moveTo>
                <a:cubicBezTo>
                  <a:pt x="469876" y="3264278"/>
                  <a:pt x="473736" y="3265076"/>
                  <a:pt x="477331" y="3266807"/>
                </a:cubicBezTo>
                <a:cubicBezTo>
                  <a:pt x="481058" y="3268405"/>
                  <a:pt x="484119" y="3270534"/>
                  <a:pt x="486649" y="3273196"/>
                </a:cubicBezTo>
                <a:cubicBezTo>
                  <a:pt x="489310" y="3275859"/>
                  <a:pt x="491307" y="3279054"/>
                  <a:pt x="492772" y="3282648"/>
                </a:cubicBezTo>
                <a:cubicBezTo>
                  <a:pt x="494235" y="3286242"/>
                  <a:pt x="495035" y="3289970"/>
                  <a:pt x="495035" y="3294096"/>
                </a:cubicBezTo>
                <a:cubicBezTo>
                  <a:pt x="495035" y="3298223"/>
                  <a:pt x="494235" y="3302216"/>
                  <a:pt x="492772" y="3305811"/>
                </a:cubicBezTo>
                <a:cubicBezTo>
                  <a:pt x="491307" y="3309405"/>
                  <a:pt x="489178" y="3312466"/>
                  <a:pt x="486649" y="3315129"/>
                </a:cubicBezTo>
                <a:cubicBezTo>
                  <a:pt x="483985" y="3317791"/>
                  <a:pt x="480925" y="3319921"/>
                  <a:pt x="477331" y="3321385"/>
                </a:cubicBezTo>
                <a:cubicBezTo>
                  <a:pt x="473736" y="3322850"/>
                  <a:pt x="469876" y="3323648"/>
                  <a:pt x="465615" y="3323648"/>
                </a:cubicBezTo>
                <a:cubicBezTo>
                  <a:pt x="456697" y="3323648"/>
                  <a:pt x="449375" y="3320721"/>
                  <a:pt x="443784" y="3315129"/>
                </a:cubicBezTo>
                <a:cubicBezTo>
                  <a:pt x="438193" y="3309538"/>
                  <a:pt x="435398" y="3302483"/>
                  <a:pt x="435398" y="3293962"/>
                </a:cubicBezTo>
                <a:cubicBezTo>
                  <a:pt x="435398" y="3285709"/>
                  <a:pt x="438193" y="3278655"/>
                  <a:pt x="443784" y="3272931"/>
                </a:cubicBezTo>
                <a:cubicBezTo>
                  <a:pt x="449375" y="3267207"/>
                  <a:pt x="456565" y="3264278"/>
                  <a:pt x="465615" y="3264278"/>
                </a:cubicBezTo>
                <a:close/>
                <a:moveTo>
                  <a:pt x="247973" y="3264278"/>
                </a:moveTo>
                <a:cubicBezTo>
                  <a:pt x="252233" y="3264278"/>
                  <a:pt x="256227" y="3265076"/>
                  <a:pt x="259687" y="3266807"/>
                </a:cubicBezTo>
                <a:cubicBezTo>
                  <a:pt x="263415" y="3268405"/>
                  <a:pt x="266477" y="3270534"/>
                  <a:pt x="269006" y="3273196"/>
                </a:cubicBezTo>
                <a:cubicBezTo>
                  <a:pt x="271668" y="3275859"/>
                  <a:pt x="273665" y="3279054"/>
                  <a:pt x="275129" y="3282648"/>
                </a:cubicBezTo>
                <a:cubicBezTo>
                  <a:pt x="276593" y="3286242"/>
                  <a:pt x="277392" y="3289970"/>
                  <a:pt x="277392" y="3294096"/>
                </a:cubicBezTo>
                <a:cubicBezTo>
                  <a:pt x="277392" y="3298223"/>
                  <a:pt x="276593" y="3302216"/>
                  <a:pt x="275129" y="3305811"/>
                </a:cubicBezTo>
                <a:cubicBezTo>
                  <a:pt x="273665" y="3309405"/>
                  <a:pt x="271535" y="3312466"/>
                  <a:pt x="269006" y="3315129"/>
                </a:cubicBezTo>
                <a:cubicBezTo>
                  <a:pt x="266343" y="3317791"/>
                  <a:pt x="263281" y="3319921"/>
                  <a:pt x="259687" y="3321385"/>
                </a:cubicBezTo>
                <a:cubicBezTo>
                  <a:pt x="256092" y="3322850"/>
                  <a:pt x="252233" y="3323648"/>
                  <a:pt x="247973" y="3323648"/>
                </a:cubicBezTo>
                <a:cubicBezTo>
                  <a:pt x="239055" y="3323648"/>
                  <a:pt x="231733" y="3320721"/>
                  <a:pt x="226142" y="3315129"/>
                </a:cubicBezTo>
                <a:cubicBezTo>
                  <a:pt x="220552" y="3309538"/>
                  <a:pt x="217757" y="3302483"/>
                  <a:pt x="217757" y="3293962"/>
                </a:cubicBezTo>
                <a:cubicBezTo>
                  <a:pt x="217757" y="3285709"/>
                  <a:pt x="220552" y="3278655"/>
                  <a:pt x="226142" y="3272931"/>
                </a:cubicBezTo>
                <a:cubicBezTo>
                  <a:pt x="231733" y="3267207"/>
                  <a:pt x="238921" y="3264278"/>
                  <a:pt x="247973" y="3264278"/>
                </a:cubicBezTo>
                <a:close/>
                <a:moveTo>
                  <a:pt x="30330" y="3264278"/>
                </a:moveTo>
                <a:cubicBezTo>
                  <a:pt x="34590" y="3264278"/>
                  <a:pt x="38584" y="3265076"/>
                  <a:pt x="42045" y="3266807"/>
                </a:cubicBezTo>
                <a:cubicBezTo>
                  <a:pt x="45772" y="3268405"/>
                  <a:pt x="48834" y="3270534"/>
                  <a:pt x="51363" y="3273196"/>
                </a:cubicBezTo>
                <a:cubicBezTo>
                  <a:pt x="54025" y="3275859"/>
                  <a:pt x="56022" y="3279054"/>
                  <a:pt x="57486" y="3282648"/>
                </a:cubicBezTo>
                <a:cubicBezTo>
                  <a:pt x="58950" y="3286242"/>
                  <a:pt x="59749" y="3289970"/>
                  <a:pt x="59749" y="3294096"/>
                </a:cubicBezTo>
                <a:cubicBezTo>
                  <a:pt x="59749" y="3298223"/>
                  <a:pt x="58950" y="3302216"/>
                  <a:pt x="57486" y="3305811"/>
                </a:cubicBezTo>
                <a:cubicBezTo>
                  <a:pt x="56022" y="3309405"/>
                  <a:pt x="53892" y="3312466"/>
                  <a:pt x="51363" y="3315129"/>
                </a:cubicBezTo>
                <a:cubicBezTo>
                  <a:pt x="48700" y="3317791"/>
                  <a:pt x="45639" y="3319921"/>
                  <a:pt x="42045" y="3321385"/>
                </a:cubicBezTo>
                <a:cubicBezTo>
                  <a:pt x="38451" y="3322850"/>
                  <a:pt x="34590" y="3323648"/>
                  <a:pt x="30330" y="3323648"/>
                </a:cubicBezTo>
                <a:cubicBezTo>
                  <a:pt x="21412" y="3323648"/>
                  <a:pt x="14091" y="3320721"/>
                  <a:pt x="8501" y="3315129"/>
                </a:cubicBezTo>
                <a:cubicBezTo>
                  <a:pt x="2910" y="3309538"/>
                  <a:pt x="115" y="3302483"/>
                  <a:pt x="115" y="3293962"/>
                </a:cubicBezTo>
                <a:cubicBezTo>
                  <a:pt x="115" y="3285709"/>
                  <a:pt x="2910" y="3278655"/>
                  <a:pt x="8501" y="3272931"/>
                </a:cubicBezTo>
                <a:cubicBezTo>
                  <a:pt x="14091" y="3267207"/>
                  <a:pt x="21278" y="3264278"/>
                  <a:pt x="30330" y="3264278"/>
                </a:cubicBezTo>
                <a:close/>
                <a:moveTo>
                  <a:pt x="10475977" y="3063272"/>
                </a:moveTo>
                <a:cubicBezTo>
                  <a:pt x="10470119" y="3063272"/>
                  <a:pt x="10467589" y="3065269"/>
                  <a:pt x="10465992" y="3066867"/>
                </a:cubicBezTo>
                <a:cubicBezTo>
                  <a:pt x="10463463" y="3069529"/>
                  <a:pt x="10462399" y="3072325"/>
                  <a:pt x="10462399" y="3076318"/>
                </a:cubicBezTo>
                <a:cubicBezTo>
                  <a:pt x="10462399" y="3080445"/>
                  <a:pt x="10463463" y="3083240"/>
                  <a:pt x="10465992" y="3085769"/>
                </a:cubicBezTo>
                <a:cubicBezTo>
                  <a:pt x="10467589" y="3087368"/>
                  <a:pt x="10470119" y="3089230"/>
                  <a:pt x="10475977" y="3089230"/>
                </a:cubicBezTo>
                <a:cubicBezTo>
                  <a:pt x="10478107" y="3089230"/>
                  <a:pt x="10479838" y="3088964"/>
                  <a:pt x="10481302" y="3088298"/>
                </a:cubicBezTo>
                <a:cubicBezTo>
                  <a:pt x="10482899" y="3087766"/>
                  <a:pt x="10484098" y="3086835"/>
                  <a:pt x="10485029" y="3085902"/>
                </a:cubicBezTo>
                <a:cubicBezTo>
                  <a:pt x="10486094" y="3084838"/>
                  <a:pt x="10487026" y="3083373"/>
                  <a:pt x="10487691" y="3081776"/>
                </a:cubicBezTo>
                <a:cubicBezTo>
                  <a:pt x="10488357" y="3080178"/>
                  <a:pt x="10488623" y="3078315"/>
                  <a:pt x="10488623" y="3076318"/>
                </a:cubicBezTo>
                <a:cubicBezTo>
                  <a:pt x="10488623" y="3074454"/>
                  <a:pt x="10488357" y="3072724"/>
                  <a:pt x="10487691" y="3071126"/>
                </a:cubicBezTo>
                <a:cubicBezTo>
                  <a:pt x="10487026" y="3069396"/>
                  <a:pt x="10486094" y="3068065"/>
                  <a:pt x="10485029" y="3066867"/>
                </a:cubicBezTo>
                <a:cubicBezTo>
                  <a:pt x="10483964" y="3065802"/>
                  <a:pt x="10482633" y="3064870"/>
                  <a:pt x="10481035" y="3064204"/>
                </a:cubicBezTo>
                <a:cubicBezTo>
                  <a:pt x="10479571" y="3063539"/>
                  <a:pt x="10477974" y="3063272"/>
                  <a:pt x="10475977" y="3063272"/>
                </a:cubicBezTo>
                <a:close/>
                <a:moveTo>
                  <a:pt x="10258466" y="3063272"/>
                </a:moveTo>
                <a:cubicBezTo>
                  <a:pt x="10252608" y="3063272"/>
                  <a:pt x="10250078" y="3065269"/>
                  <a:pt x="10248481" y="3066867"/>
                </a:cubicBezTo>
                <a:cubicBezTo>
                  <a:pt x="10245952" y="3069529"/>
                  <a:pt x="10244887" y="3072325"/>
                  <a:pt x="10244887" y="3076318"/>
                </a:cubicBezTo>
                <a:cubicBezTo>
                  <a:pt x="10244887" y="3080445"/>
                  <a:pt x="10245952" y="3083240"/>
                  <a:pt x="10248481" y="3085769"/>
                </a:cubicBezTo>
                <a:cubicBezTo>
                  <a:pt x="10250078" y="3087368"/>
                  <a:pt x="10252608" y="3089230"/>
                  <a:pt x="10258466" y="3089230"/>
                </a:cubicBezTo>
                <a:cubicBezTo>
                  <a:pt x="10260462" y="3089230"/>
                  <a:pt x="10262192" y="3088964"/>
                  <a:pt x="10263790" y="3088298"/>
                </a:cubicBezTo>
                <a:cubicBezTo>
                  <a:pt x="10265388" y="3087766"/>
                  <a:pt x="10266586" y="3086835"/>
                  <a:pt x="10267517" y="3085902"/>
                </a:cubicBezTo>
                <a:cubicBezTo>
                  <a:pt x="10268583" y="3084838"/>
                  <a:pt x="10269515" y="3083373"/>
                  <a:pt x="10270180" y="3081776"/>
                </a:cubicBezTo>
                <a:cubicBezTo>
                  <a:pt x="10270845" y="3080178"/>
                  <a:pt x="10271112" y="3078315"/>
                  <a:pt x="10271112" y="3076318"/>
                </a:cubicBezTo>
                <a:cubicBezTo>
                  <a:pt x="10271112" y="3074454"/>
                  <a:pt x="10270845" y="3072724"/>
                  <a:pt x="10270180" y="3071126"/>
                </a:cubicBezTo>
                <a:cubicBezTo>
                  <a:pt x="10269515" y="3069396"/>
                  <a:pt x="10268583" y="3068065"/>
                  <a:pt x="10267517" y="3066867"/>
                </a:cubicBezTo>
                <a:cubicBezTo>
                  <a:pt x="10266452" y="3065802"/>
                  <a:pt x="10265121" y="3064870"/>
                  <a:pt x="10263524" y="3064204"/>
                </a:cubicBezTo>
                <a:cubicBezTo>
                  <a:pt x="10262060" y="3063539"/>
                  <a:pt x="10260462" y="3063272"/>
                  <a:pt x="10258466" y="3063272"/>
                </a:cubicBezTo>
                <a:close/>
                <a:moveTo>
                  <a:pt x="10040820" y="3063272"/>
                </a:moveTo>
                <a:cubicBezTo>
                  <a:pt x="10034962" y="3063272"/>
                  <a:pt x="10032433" y="3065269"/>
                  <a:pt x="10030835" y="3066867"/>
                </a:cubicBezTo>
                <a:cubicBezTo>
                  <a:pt x="10028306" y="3069529"/>
                  <a:pt x="10027242" y="3072325"/>
                  <a:pt x="10027242" y="3076318"/>
                </a:cubicBezTo>
                <a:cubicBezTo>
                  <a:pt x="10027242" y="3080445"/>
                  <a:pt x="10028306" y="3083240"/>
                  <a:pt x="10030835" y="3085769"/>
                </a:cubicBezTo>
                <a:cubicBezTo>
                  <a:pt x="10032433" y="3087368"/>
                  <a:pt x="10034962" y="3089230"/>
                  <a:pt x="10040820" y="3089230"/>
                </a:cubicBezTo>
                <a:cubicBezTo>
                  <a:pt x="10042817" y="3089230"/>
                  <a:pt x="10044681" y="3088964"/>
                  <a:pt x="10046145" y="3088298"/>
                </a:cubicBezTo>
                <a:cubicBezTo>
                  <a:pt x="10047742" y="3087766"/>
                  <a:pt x="10048941" y="3086835"/>
                  <a:pt x="10049872" y="3085902"/>
                </a:cubicBezTo>
                <a:cubicBezTo>
                  <a:pt x="10050937" y="3084838"/>
                  <a:pt x="10051869" y="3083373"/>
                  <a:pt x="10052534" y="3081776"/>
                </a:cubicBezTo>
                <a:cubicBezTo>
                  <a:pt x="10053333" y="3080178"/>
                  <a:pt x="10053599" y="3078315"/>
                  <a:pt x="10053599" y="3076318"/>
                </a:cubicBezTo>
                <a:cubicBezTo>
                  <a:pt x="10053599" y="3074454"/>
                  <a:pt x="10053200" y="3072724"/>
                  <a:pt x="10052534" y="3071126"/>
                </a:cubicBezTo>
                <a:cubicBezTo>
                  <a:pt x="10051869" y="3069396"/>
                  <a:pt x="10050937" y="3068065"/>
                  <a:pt x="10049872" y="3066867"/>
                </a:cubicBezTo>
                <a:cubicBezTo>
                  <a:pt x="10048807" y="3065802"/>
                  <a:pt x="10047476" y="3064870"/>
                  <a:pt x="10045878" y="3064204"/>
                </a:cubicBezTo>
                <a:cubicBezTo>
                  <a:pt x="10044414" y="3063539"/>
                  <a:pt x="10042817" y="3063272"/>
                  <a:pt x="10040820" y="3063272"/>
                </a:cubicBezTo>
                <a:close/>
                <a:moveTo>
                  <a:pt x="9823176" y="3063272"/>
                </a:moveTo>
                <a:cubicBezTo>
                  <a:pt x="9817318" y="3063272"/>
                  <a:pt x="9814788" y="3065269"/>
                  <a:pt x="9813191" y="3066867"/>
                </a:cubicBezTo>
                <a:cubicBezTo>
                  <a:pt x="9810662" y="3069529"/>
                  <a:pt x="9809597" y="3072325"/>
                  <a:pt x="9809597" y="3076318"/>
                </a:cubicBezTo>
                <a:cubicBezTo>
                  <a:pt x="9809597" y="3080445"/>
                  <a:pt x="9810662" y="3083240"/>
                  <a:pt x="9813191" y="3085769"/>
                </a:cubicBezTo>
                <a:cubicBezTo>
                  <a:pt x="9814788" y="3087368"/>
                  <a:pt x="9817318" y="3089230"/>
                  <a:pt x="9823176" y="3089230"/>
                </a:cubicBezTo>
                <a:cubicBezTo>
                  <a:pt x="9825173" y="3089230"/>
                  <a:pt x="9827036" y="3088964"/>
                  <a:pt x="9828501" y="3088298"/>
                </a:cubicBezTo>
                <a:cubicBezTo>
                  <a:pt x="9830098" y="3087766"/>
                  <a:pt x="9831296" y="3086835"/>
                  <a:pt x="9832227" y="3085902"/>
                </a:cubicBezTo>
                <a:cubicBezTo>
                  <a:pt x="9833293" y="3084838"/>
                  <a:pt x="9834225" y="3083373"/>
                  <a:pt x="9834890" y="3081776"/>
                </a:cubicBezTo>
                <a:cubicBezTo>
                  <a:pt x="9835689" y="3080178"/>
                  <a:pt x="9835955" y="3078315"/>
                  <a:pt x="9835955" y="3076318"/>
                </a:cubicBezTo>
                <a:cubicBezTo>
                  <a:pt x="9835955" y="3074454"/>
                  <a:pt x="9835555" y="3072724"/>
                  <a:pt x="9834890" y="3071126"/>
                </a:cubicBezTo>
                <a:cubicBezTo>
                  <a:pt x="9834225" y="3069396"/>
                  <a:pt x="9833293" y="3068065"/>
                  <a:pt x="9832227" y="3066867"/>
                </a:cubicBezTo>
                <a:cubicBezTo>
                  <a:pt x="9831162" y="3065802"/>
                  <a:pt x="9829831" y="3064870"/>
                  <a:pt x="9828234" y="3064204"/>
                </a:cubicBezTo>
                <a:cubicBezTo>
                  <a:pt x="9826770" y="3063539"/>
                  <a:pt x="9825173" y="3063272"/>
                  <a:pt x="9823176" y="3063272"/>
                </a:cubicBezTo>
                <a:close/>
                <a:moveTo>
                  <a:pt x="9605531" y="3063272"/>
                </a:moveTo>
                <a:cubicBezTo>
                  <a:pt x="9599673" y="3063272"/>
                  <a:pt x="9597143" y="3065269"/>
                  <a:pt x="9595546" y="3066867"/>
                </a:cubicBezTo>
                <a:cubicBezTo>
                  <a:pt x="9593017" y="3069529"/>
                  <a:pt x="9591952" y="3072325"/>
                  <a:pt x="9591952" y="3076318"/>
                </a:cubicBezTo>
                <a:cubicBezTo>
                  <a:pt x="9591952" y="3080445"/>
                  <a:pt x="9593017" y="3083240"/>
                  <a:pt x="9595546" y="3085769"/>
                </a:cubicBezTo>
                <a:cubicBezTo>
                  <a:pt x="9597143" y="3087368"/>
                  <a:pt x="9599673" y="3089230"/>
                  <a:pt x="9605531" y="3089230"/>
                </a:cubicBezTo>
                <a:cubicBezTo>
                  <a:pt x="9607660" y="3089230"/>
                  <a:pt x="9609391" y="3088964"/>
                  <a:pt x="9610855" y="3088298"/>
                </a:cubicBezTo>
                <a:cubicBezTo>
                  <a:pt x="9612319" y="3087766"/>
                  <a:pt x="9613651" y="3086835"/>
                  <a:pt x="9614582" y="3085902"/>
                </a:cubicBezTo>
                <a:cubicBezTo>
                  <a:pt x="9615647" y="3084838"/>
                  <a:pt x="9616579" y="3083373"/>
                  <a:pt x="9617245" y="3081776"/>
                </a:cubicBezTo>
                <a:cubicBezTo>
                  <a:pt x="9618044" y="3080178"/>
                  <a:pt x="9618309" y="3078315"/>
                  <a:pt x="9618309" y="3076318"/>
                </a:cubicBezTo>
                <a:cubicBezTo>
                  <a:pt x="9618309" y="3074454"/>
                  <a:pt x="9617910" y="3072724"/>
                  <a:pt x="9617245" y="3071126"/>
                </a:cubicBezTo>
                <a:cubicBezTo>
                  <a:pt x="9616579" y="3069396"/>
                  <a:pt x="9615647" y="3068065"/>
                  <a:pt x="9614582" y="3066867"/>
                </a:cubicBezTo>
                <a:cubicBezTo>
                  <a:pt x="9613517" y="3065802"/>
                  <a:pt x="9612186" y="3064870"/>
                  <a:pt x="9610589" y="3064204"/>
                </a:cubicBezTo>
                <a:cubicBezTo>
                  <a:pt x="9609124" y="3063539"/>
                  <a:pt x="9607394" y="3063272"/>
                  <a:pt x="9605531" y="3063272"/>
                </a:cubicBezTo>
                <a:close/>
                <a:moveTo>
                  <a:pt x="9387885" y="3063272"/>
                </a:moveTo>
                <a:cubicBezTo>
                  <a:pt x="9382027" y="3063272"/>
                  <a:pt x="9379497" y="3065269"/>
                  <a:pt x="9377900" y="3066867"/>
                </a:cubicBezTo>
                <a:cubicBezTo>
                  <a:pt x="9375371" y="3069529"/>
                  <a:pt x="9374307" y="3072325"/>
                  <a:pt x="9374307" y="3076318"/>
                </a:cubicBezTo>
                <a:cubicBezTo>
                  <a:pt x="9374307" y="3080445"/>
                  <a:pt x="9375371" y="3083240"/>
                  <a:pt x="9377900" y="3085769"/>
                </a:cubicBezTo>
                <a:cubicBezTo>
                  <a:pt x="9379497" y="3087368"/>
                  <a:pt x="9382027" y="3089230"/>
                  <a:pt x="9387885" y="3089230"/>
                </a:cubicBezTo>
                <a:cubicBezTo>
                  <a:pt x="9390015" y="3089230"/>
                  <a:pt x="9391746" y="3088964"/>
                  <a:pt x="9393210" y="3088298"/>
                </a:cubicBezTo>
                <a:cubicBezTo>
                  <a:pt x="9394674" y="3087766"/>
                  <a:pt x="9396005" y="3086835"/>
                  <a:pt x="9396937" y="3085902"/>
                </a:cubicBezTo>
                <a:cubicBezTo>
                  <a:pt x="9398002" y="3084838"/>
                  <a:pt x="9398934" y="3083373"/>
                  <a:pt x="9399599" y="3081776"/>
                </a:cubicBezTo>
                <a:cubicBezTo>
                  <a:pt x="9400398" y="3080178"/>
                  <a:pt x="9400664" y="3078315"/>
                  <a:pt x="9400664" y="3076318"/>
                </a:cubicBezTo>
                <a:cubicBezTo>
                  <a:pt x="9400664" y="3074454"/>
                  <a:pt x="9400265" y="3072724"/>
                  <a:pt x="9399599" y="3071126"/>
                </a:cubicBezTo>
                <a:cubicBezTo>
                  <a:pt x="9398934" y="3069396"/>
                  <a:pt x="9398002" y="3068065"/>
                  <a:pt x="9396937" y="3066867"/>
                </a:cubicBezTo>
                <a:cubicBezTo>
                  <a:pt x="9395872" y="3065802"/>
                  <a:pt x="9394541" y="3064870"/>
                  <a:pt x="9392943" y="3064204"/>
                </a:cubicBezTo>
                <a:cubicBezTo>
                  <a:pt x="9391479" y="3063539"/>
                  <a:pt x="9389749" y="3063272"/>
                  <a:pt x="9387885" y="3063272"/>
                </a:cubicBezTo>
                <a:close/>
                <a:moveTo>
                  <a:pt x="9170374" y="3063272"/>
                </a:moveTo>
                <a:cubicBezTo>
                  <a:pt x="9164649" y="3063272"/>
                  <a:pt x="9161986" y="3065269"/>
                  <a:pt x="9160389" y="3066867"/>
                </a:cubicBezTo>
                <a:cubicBezTo>
                  <a:pt x="9157860" y="3069529"/>
                  <a:pt x="9156795" y="3072325"/>
                  <a:pt x="9156795" y="3076318"/>
                </a:cubicBezTo>
                <a:cubicBezTo>
                  <a:pt x="9156795" y="3080445"/>
                  <a:pt x="9157860" y="3083240"/>
                  <a:pt x="9160389" y="3085769"/>
                </a:cubicBezTo>
                <a:cubicBezTo>
                  <a:pt x="9161986" y="3087368"/>
                  <a:pt x="9164516" y="3089230"/>
                  <a:pt x="9170374" y="3089230"/>
                </a:cubicBezTo>
                <a:cubicBezTo>
                  <a:pt x="9172370" y="3089230"/>
                  <a:pt x="9174100" y="3088964"/>
                  <a:pt x="9175698" y="3088298"/>
                </a:cubicBezTo>
                <a:cubicBezTo>
                  <a:pt x="9177163" y="3087766"/>
                  <a:pt x="9178494" y="3086835"/>
                  <a:pt x="9179425" y="3085902"/>
                </a:cubicBezTo>
                <a:cubicBezTo>
                  <a:pt x="9180491" y="3084838"/>
                  <a:pt x="9181422" y="3083373"/>
                  <a:pt x="9182088" y="3081776"/>
                </a:cubicBezTo>
                <a:cubicBezTo>
                  <a:pt x="9182887" y="3080178"/>
                  <a:pt x="9183152" y="3078315"/>
                  <a:pt x="9183152" y="3076318"/>
                </a:cubicBezTo>
                <a:cubicBezTo>
                  <a:pt x="9183152" y="3074454"/>
                  <a:pt x="9182753" y="3072724"/>
                  <a:pt x="9182088" y="3071126"/>
                </a:cubicBezTo>
                <a:cubicBezTo>
                  <a:pt x="9181422" y="3069396"/>
                  <a:pt x="9180491" y="3068065"/>
                  <a:pt x="9179425" y="3066867"/>
                </a:cubicBezTo>
                <a:cubicBezTo>
                  <a:pt x="9178360" y="3065802"/>
                  <a:pt x="9177029" y="3064870"/>
                  <a:pt x="9175432" y="3064204"/>
                </a:cubicBezTo>
                <a:cubicBezTo>
                  <a:pt x="9173967" y="3063539"/>
                  <a:pt x="9172237" y="3063272"/>
                  <a:pt x="9170374" y="3063272"/>
                </a:cubicBezTo>
                <a:close/>
                <a:moveTo>
                  <a:pt x="8952728" y="3063272"/>
                </a:moveTo>
                <a:cubicBezTo>
                  <a:pt x="8947003" y="3063272"/>
                  <a:pt x="8944340" y="3065269"/>
                  <a:pt x="8942743" y="3066867"/>
                </a:cubicBezTo>
                <a:cubicBezTo>
                  <a:pt x="8940214" y="3069529"/>
                  <a:pt x="8939150" y="3072325"/>
                  <a:pt x="8939150" y="3076318"/>
                </a:cubicBezTo>
                <a:cubicBezTo>
                  <a:pt x="8939150" y="3080445"/>
                  <a:pt x="8940214" y="3083240"/>
                  <a:pt x="8942743" y="3085769"/>
                </a:cubicBezTo>
                <a:cubicBezTo>
                  <a:pt x="8944340" y="3087368"/>
                  <a:pt x="8946870" y="3089230"/>
                  <a:pt x="8952728" y="3089230"/>
                </a:cubicBezTo>
                <a:cubicBezTo>
                  <a:pt x="8954725" y="3089230"/>
                  <a:pt x="8956589" y="3088964"/>
                  <a:pt x="8958053" y="3088298"/>
                </a:cubicBezTo>
                <a:cubicBezTo>
                  <a:pt x="8959517" y="3087766"/>
                  <a:pt x="8960849" y="3086835"/>
                  <a:pt x="8961780" y="3085902"/>
                </a:cubicBezTo>
                <a:cubicBezTo>
                  <a:pt x="8962845" y="3084838"/>
                  <a:pt x="8963777" y="3083373"/>
                  <a:pt x="8964442" y="3081776"/>
                </a:cubicBezTo>
                <a:cubicBezTo>
                  <a:pt x="8965241" y="3080178"/>
                  <a:pt x="8965507" y="3078315"/>
                  <a:pt x="8965507" y="3076318"/>
                </a:cubicBezTo>
                <a:cubicBezTo>
                  <a:pt x="8965507" y="3074454"/>
                  <a:pt x="8965108" y="3072724"/>
                  <a:pt x="8964442" y="3071126"/>
                </a:cubicBezTo>
                <a:cubicBezTo>
                  <a:pt x="8963777" y="3069396"/>
                  <a:pt x="8962845" y="3068065"/>
                  <a:pt x="8961780" y="3066867"/>
                </a:cubicBezTo>
                <a:cubicBezTo>
                  <a:pt x="8960715" y="3065802"/>
                  <a:pt x="8959384" y="3064870"/>
                  <a:pt x="8957786" y="3064204"/>
                </a:cubicBezTo>
                <a:cubicBezTo>
                  <a:pt x="8956322" y="3063539"/>
                  <a:pt x="8954592" y="3063272"/>
                  <a:pt x="8952728" y="3063272"/>
                </a:cubicBezTo>
                <a:close/>
                <a:moveTo>
                  <a:pt x="8735083" y="3063272"/>
                </a:moveTo>
                <a:cubicBezTo>
                  <a:pt x="8729358" y="3063272"/>
                  <a:pt x="8726695" y="3065269"/>
                  <a:pt x="8725098" y="3066867"/>
                </a:cubicBezTo>
                <a:cubicBezTo>
                  <a:pt x="8722569" y="3069529"/>
                  <a:pt x="8721504" y="3072325"/>
                  <a:pt x="8721504" y="3076318"/>
                </a:cubicBezTo>
                <a:cubicBezTo>
                  <a:pt x="8721504" y="3080445"/>
                  <a:pt x="8722569" y="3083240"/>
                  <a:pt x="8725098" y="3085769"/>
                </a:cubicBezTo>
                <a:cubicBezTo>
                  <a:pt x="8726695" y="3087368"/>
                  <a:pt x="8729225" y="3089230"/>
                  <a:pt x="8735083" y="3089230"/>
                </a:cubicBezTo>
                <a:cubicBezTo>
                  <a:pt x="8737079" y="3089230"/>
                  <a:pt x="8738943" y="3088964"/>
                  <a:pt x="8740407" y="3088298"/>
                </a:cubicBezTo>
                <a:cubicBezTo>
                  <a:pt x="8741872" y="3087766"/>
                  <a:pt x="8743203" y="3086835"/>
                  <a:pt x="8744134" y="3085902"/>
                </a:cubicBezTo>
                <a:cubicBezTo>
                  <a:pt x="8745200" y="3084838"/>
                  <a:pt x="8746132" y="3083373"/>
                  <a:pt x="8746797" y="3081776"/>
                </a:cubicBezTo>
                <a:cubicBezTo>
                  <a:pt x="8747596" y="3080178"/>
                  <a:pt x="8747862" y="3078315"/>
                  <a:pt x="8747862" y="3076318"/>
                </a:cubicBezTo>
                <a:cubicBezTo>
                  <a:pt x="8747862" y="3074454"/>
                  <a:pt x="8747462" y="3072724"/>
                  <a:pt x="8746797" y="3071126"/>
                </a:cubicBezTo>
                <a:cubicBezTo>
                  <a:pt x="8746132" y="3069396"/>
                  <a:pt x="8745200" y="3068065"/>
                  <a:pt x="8744134" y="3066867"/>
                </a:cubicBezTo>
                <a:cubicBezTo>
                  <a:pt x="8743069" y="3065802"/>
                  <a:pt x="8741738" y="3064870"/>
                  <a:pt x="8740141" y="3064204"/>
                </a:cubicBezTo>
                <a:cubicBezTo>
                  <a:pt x="8738677" y="3063539"/>
                  <a:pt x="8736946" y="3063272"/>
                  <a:pt x="8735083" y="3063272"/>
                </a:cubicBezTo>
                <a:close/>
                <a:moveTo>
                  <a:pt x="8517438" y="3063272"/>
                </a:moveTo>
                <a:cubicBezTo>
                  <a:pt x="8511713" y="3063272"/>
                  <a:pt x="8509051" y="3065269"/>
                  <a:pt x="8507453" y="3066867"/>
                </a:cubicBezTo>
                <a:cubicBezTo>
                  <a:pt x="8504925" y="3069529"/>
                  <a:pt x="8503860" y="3072325"/>
                  <a:pt x="8503860" y="3076318"/>
                </a:cubicBezTo>
                <a:cubicBezTo>
                  <a:pt x="8503860" y="3080445"/>
                  <a:pt x="8504925" y="3083240"/>
                  <a:pt x="8507453" y="3085769"/>
                </a:cubicBezTo>
                <a:cubicBezTo>
                  <a:pt x="8509051" y="3087368"/>
                  <a:pt x="8511581" y="3089230"/>
                  <a:pt x="8517438" y="3089230"/>
                </a:cubicBezTo>
                <a:cubicBezTo>
                  <a:pt x="8519568" y="3089230"/>
                  <a:pt x="8521299" y="3088964"/>
                  <a:pt x="8522763" y="3088298"/>
                </a:cubicBezTo>
                <a:cubicBezTo>
                  <a:pt x="8524227" y="3087766"/>
                  <a:pt x="8525559" y="3086835"/>
                  <a:pt x="8526490" y="3085902"/>
                </a:cubicBezTo>
                <a:cubicBezTo>
                  <a:pt x="8527555" y="3084838"/>
                  <a:pt x="8528487" y="3083373"/>
                  <a:pt x="8529152" y="3081776"/>
                </a:cubicBezTo>
                <a:cubicBezTo>
                  <a:pt x="8529818" y="3080178"/>
                  <a:pt x="8530084" y="3078315"/>
                  <a:pt x="8530084" y="3076318"/>
                </a:cubicBezTo>
                <a:cubicBezTo>
                  <a:pt x="8530084" y="3074454"/>
                  <a:pt x="8529818" y="3072724"/>
                  <a:pt x="8529152" y="3071126"/>
                </a:cubicBezTo>
                <a:cubicBezTo>
                  <a:pt x="8528487" y="3069396"/>
                  <a:pt x="8527555" y="3068065"/>
                  <a:pt x="8526490" y="3066867"/>
                </a:cubicBezTo>
                <a:cubicBezTo>
                  <a:pt x="8525425" y="3065802"/>
                  <a:pt x="8524094" y="3064870"/>
                  <a:pt x="8522496" y="3064204"/>
                </a:cubicBezTo>
                <a:cubicBezTo>
                  <a:pt x="8521032" y="3063539"/>
                  <a:pt x="8519302" y="3063272"/>
                  <a:pt x="8517438" y="3063272"/>
                </a:cubicBezTo>
                <a:close/>
                <a:moveTo>
                  <a:pt x="8299793" y="3063272"/>
                </a:moveTo>
                <a:cubicBezTo>
                  <a:pt x="8294068" y="3063272"/>
                  <a:pt x="8291406" y="3065269"/>
                  <a:pt x="8289809" y="3066867"/>
                </a:cubicBezTo>
                <a:cubicBezTo>
                  <a:pt x="8287280" y="3069529"/>
                  <a:pt x="8286215" y="3072325"/>
                  <a:pt x="8286215" y="3076318"/>
                </a:cubicBezTo>
                <a:cubicBezTo>
                  <a:pt x="8286215" y="3080445"/>
                  <a:pt x="8287280" y="3083240"/>
                  <a:pt x="8289809" y="3085769"/>
                </a:cubicBezTo>
                <a:cubicBezTo>
                  <a:pt x="8291406" y="3087368"/>
                  <a:pt x="8293935" y="3089230"/>
                  <a:pt x="8299793" y="3089230"/>
                </a:cubicBezTo>
                <a:cubicBezTo>
                  <a:pt x="8301923" y="3089230"/>
                  <a:pt x="8303653" y="3088964"/>
                  <a:pt x="8305118" y="3088298"/>
                </a:cubicBezTo>
                <a:cubicBezTo>
                  <a:pt x="8306582" y="3087766"/>
                  <a:pt x="8307913" y="3086835"/>
                  <a:pt x="8308844" y="3085902"/>
                </a:cubicBezTo>
                <a:cubicBezTo>
                  <a:pt x="8309910" y="3084838"/>
                  <a:pt x="8310842" y="3083373"/>
                  <a:pt x="8311507" y="3081776"/>
                </a:cubicBezTo>
                <a:cubicBezTo>
                  <a:pt x="8312172" y="3080178"/>
                  <a:pt x="8312439" y="3078315"/>
                  <a:pt x="8312439" y="3076318"/>
                </a:cubicBezTo>
                <a:cubicBezTo>
                  <a:pt x="8312439" y="3074454"/>
                  <a:pt x="8312172" y="3072724"/>
                  <a:pt x="8311507" y="3071126"/>
                </a:cubicBezTo>
                <a:cubicBezTo>
                  <a:pt x="8310842" y="3069396"/>
                  <a:pt x="8309910" y="3068065"/>
                  <a:pt x="8308844" y="3066867"/>
                </a:cubicBezTo>
                <a:cubicBezTo>
                  <a:pt x="8307779" y="3065802"/>
                  <a:pt x="8306448" y="3064870"/>
                  <a:pt x="8304851" y="3064204"/>
                </a:cubicBezTo>
                <a:cubicBezTo>
                  <a:pt x="8303387" y="3063539"/>
                  <a:pt x="8301790" y="3063272"/>
                  <a:pt x="8299793" y="3063272"/>
                </a:cubicBezTo>
                <a:close/>
                <a:moveTo>
                  <a:pt x="8082281" y="3063272"/>
                </a:moveTo>
                <a:cubicBezTo>
                  <a:pt x="8076424" y="3063272"/>
                  <a:pt x="8073894" y="3065269"/>
                  <a:pt x="8072297" y="3066867"/>
                </a:cubicBezTo>
                <a:cubicBezTo>
                  <a:pt x="8069768" y="3069529"/>
                  <a:pt x="8068703" y="3072325"/>
                  <a:pt x="8068703" y="3076318"/>
                </a:cubicBezTo>
                <a:cubicBezTo>
                  <a:pt x="8068703" y="3080445"/>
                  <a:pt x="8069768" y="3083240"/>
                  <a:pt x="8072297" y="3085769"/>
                </a:cubicBezTo>
                <a:cubicBezTo>
                  <a:pt x="8073894" y="3087368"/>
                  <a:pt x="8076424" y="3089230"/>
                  <a:pt x="8082281" y="3089230"/>
                </a:cubicBezTo>
                <a:cubicBezTo>
                  <a:pt x="8084277" y="3089230"/>
                  <a:pt x="8086007" y="3088964"/>
                  <a:pt x="8087605" y="3088298"/>
                </a:cubicBezTo>
                <a:cubicBezTo>
                  <a:pt x="8089069" y="3087766"/>
                  <a:pt x="8090401" y="3086835"/>
                  <a:pt x="8091332" y="3085902"/>
                </a:cubicBezTo>
                <a:cubicBezTo>
                  <a:pt x="8092397" y="3084838"/>
                  <a:pt x="8093329" y="3083373"/>
                  <a:pt x="8093994" y="3081776"/>
                </a:cubicBezTo>
                <a:cubicBezTo>
                  <a:pt x="8094660" y="3080178"/>
                  <a:pt x="8094926" y="3078315"/>
                  <a:pt x="8094926" y="3076318"/>
                </a:cubicBezTo>
                <a:cubicBezTo>
                  <a:pt x="8094926" y="3074454"/>
                  <a:pt x="8094660" y="3072724"/>
                  <a:pt x="8093994" y="3071126"/>
                </a:cubicBezTo>
                <a:cubicBezTo>
                  <a:pt x="8093329" y="3069396"/>
                  <a:pt x="8092397" y="3068065"/>
                  <a:pt x="8091332" y="3066867"/>
                </a:cubicBezTo>
                <a:cubicBezTo>
                  <a:pt x="8090267" y="3065802"/>
                  <a:pt x="8088936" y="3064870"/>
                  <a:pt x="8087338" y="3064204"/>
                </a:cubicBezTo>
                <a:cubicBezTo>
                  <a:pt x="8085874" y="3063539"/>
                  <a:pt x="8084277" y="3063272"/>
                  <a:pt x="8082281" y="3063272"/>
                </a:cubicBezTo>
                <a:close/>
                <a:moveTo>
                  <a:pt x="7864636" y="3063272"/>
                </a:moveTo>
                <a:cubicBezTo>
                  <a:pt x="7858779" y="3063272"/>
                  <a:pt x="7856249" y="3065269"/>
                  <a:pt x="7854652" y="3066867"/>
                </a:cubicBezTo>
                <a:cubicBezTo>
                  <a:pt x="7852123" y="3069529"/>
                  <a:pt x="7851058" y="3072325"/>
                  <a:pt x="7851058" y="3076318"/>
                </a:cubicBezTo>
                <a:cubicBezTo>
                  <a:pt x="7851058" y="3080445"/>
                  <a:pt x="7852123" y="3083240"/>
                  <a:pt x="7854652" y="3085769"/>
                </a:cubicBezTo>
                <a:cubicBezTo>
                  <a:pt x="7856249" y="3087368"/>
                  <a:pt x="7858779" y="3089230"/>
                  <a:pt x="7864636" y="3089230"/>
                </a:cubicBezTo>
                <a:cubicBezTo>
                  <a:pt x="7866633" y="3089230"/>
                  <a:pt x="7868363" y="3088964"/>
                  <a:pt x="7869961" y="3088298"/>
                </a:cubicBezTo>
                <a:cubicBezTo>
                  <a:pt x="7871425" y="3087766"/>
                  <a:pt x="7872756" y="3086835"/>
                  <a:pt x="7873687" y="3085902"/>
                </a:cubicBezTo>
                <a:cubicBezTo>
                  <a:pt x="7874753" y="3084838"/>
                  <a:pt x="7875685" y="3083373"/>
                  <a:pt x="7876350" y="3081776"/>
                </a:cubicBezTo>
                <a:cubicBezTo>
                  <a:pt x="7877015" y="3080178"/>
                  <a:pt x="7877282" y="3078315"/>
                  <a:pt x="7877282" y="3076318"/>
                </a:cubicBezTo>
                <a:cubicBezTo>
                  <a:pt x="7877282" y="3074454"/>
                  <a:pt x="7877015" y="3072724"/>
                  <a:pt x="7876350" y="3071126"/>
                </a:cubicBezTo>
                <a:cubicBezTo>
                  <a:pt x="7875685" y="3069396"/>
                  <a:pt x="7874753" y="3068065"/>
                  <a:pt x="7873687" y="3066867"/>
                </a:cubicBezTo>
                <a:cubicBezTo>
                  <a:pt x="7872623" y="3065802"/>
                  <a:pt x="7871291" y="3064870"/>
                  <a:pt x="7869694" y="3064204"/>
                </a:cubicBezTo>
                <a:cubicBezTo>
                  <a:pt x="7868230" y="3063539"/>
                  <a:pt x="7866633" y="3063272"/>
                  <a:pt x="7864636" y="3063272"/>
                </a:cubicBezTo>
                <a:close/>
                <a:moveTo>
                  <a:pt x="7646991" y="3063272"/>
                </a:moveTo>
                <a:cubicBezTo>
                  <a:pt x="7641134" y="3063272"/>
                  <a:pt x="7638604" y="3065269"/>
                  <a:pt x="7637007" y="3066867"/>
                </a:cubicBezTo>
                <a:cubicBezTo>
                  <a:pt x="7634478" y="3069529"/>
                  <a:pt x="7633413" y="3072325"/>
                  <a:pt x="7633413" y="3076318"/>
                </a:cubicBezTo>
                <a:cubicBezTo>
                  <a:pt x="7633413" y="3080445"/>
                  <a:pt x="7634478" y="3083240"/>
                  <a:pt x="7637007" y="3085769"/>
                </a:cubicBezTo>
                <a:cubicBezTo>
                  <a:pt x="7638604" y="3087368"/>
                  <a:pt x="7641134" y="3089230"/>
                  <a:pt x="7646991" y="3089230"/>
                </a:cubicBezTo>
                <a:cubicBezTo>
                  <a:pt x="7648987" y="3089230"/>
                  <a:pt x="7650851" y="3088964"/>
                  <a:pt x="7652315" y="3088298"/>
                </a:cubicBezTo>
                <a:cubicBezTo>
                  <a:pt x="7653780" y="3087766"/>
                  <a:pt x="7655111" y="3086835"/>
                  <a:pt x="7656042" y="3085902"/>
                </a:cubicBezTo>
                <a:cubicBezTo>
                  <a:pt x="7657108" y="3084838"/>
                  <a:pt x="7658039" y="3083373"/>
                  <a:pt x="7658705" y="3081776"/>
                </a:cubicBezTo>
                <a:cubicBezTo>
                  <a:pt x="7659504" y="3080178"/>
                  <a:pt x="7659769" y="3078315"/>
                  <a:pt x="7659769" y="3076318"/>
                </a:cubicBezTo>
                <a:cubicBezTo>
                  <a:pt x="7659769" y="3074454"/>
                  <a:pt x="7659370" y="3072724"/>
                  <a:pt x="7658705" y="3071126"/>
                </a:cubicBezTo>
                <a:cubicBezTo>
                  <a:pt x="7658039" y="3069396"/>
                  <a:pt x="7657108" y="3068065"/>
                  <a:pt x="7656042" y="3066867"/>
                </a:cubicBezTo>
                <a:cubicBezTo>
                  <a:pt x="7654977" y="3065802"/>
                  <a:pt x="7653646" y="3064870"/>
                  <a:pt x="7652049" y="3064204"/>
                </a:cubicBezTo>
                <a:cubicBezTo>
                  <a:pt x="7650584" y="3063539"/>
                  <a:pt x="7648987" y="3063272"/>
                  <a:pt x="7646991" y="3063272"/>
                </a:cubicBezTo>
                <a:close/>
                <a:moveTo>
                  <a:pt x="7429345" y="3063272"/>
                </a:moveTo>
                <a:cubicBezTo>
                  <a:pt x="7423488" y="3063272"/>
                  <a:pt x="7420958" y="3065269"/>
                  <a:pt x="7419361" y="3066867"/>
                </a:cubicBezTo>
                <a:cubicBezTo>
                  <a:pt x="7416832" y="3069529"/>
                  <a:pt x="7415768" y="3072325"/>
                  <a:pt x="7415768" y="3076318"/>
                </a:cubicBezTo>
                <a:cubicBezTo>
                  <a:pt x="7415768" y="3080445"/>
                  <a:pt x="7416832" y="3083240"/>
                  <a:pt x="7419361" y="3085769"/>
                </a:cubicBezTo>
                <a:cubicBezTo>
                  <a:pt x="7420958" y="3087368"/>
                  <a:pt x="7423488" y="3089230"/>
                  <a:pt x="7429345" y="3089230"/>
                </a:cubicBezTo>
                <a:cubicBezTo>
                  <a:pt x="7431342" y="3089230"/>
                  <a:pt x="7433206" y="3088964"/>
                  <a:pt x="7434670" y="3088298"/>
                </a:cubicBezTo>
                <a:cubicBezTo>
                  <a:pt x="7436134" y="3087766"/>
                  <a:pt x="7437466" y="3086835"/>
                  <a:pt x="7438397" y="3085902"/>
                </a:cubicBezTo>
                <a:cubicBezTo>
                  <a:pt x="7439462" y="3084838"/>
                  <a:pt x="7440394" y="3083373"/>
                  <a:pt x="7441059" y="3081776"/>
                </a:cubicBezTo>
                <a:cubicBezTo>
                  <a:pt x="7441858" y="3080178"/>
                  <a:pt x="7442124" y="3078315"/>
                  <a:pt x="7442124" y="3076318"/>
                </a:cubicBezTo>
                <a:cubicBezTo>
                  <a:pt x="7442124" y="3074454"/>
                  <a:pt x="7441725" y="3072724"/>
                  <a:pt x="7441059" y="3071126"/>
                </a:cubicBezTo>
                <a:cubicBezTo>
                  <a:pt x="7440394" y="3069396"/>
                  <a:pt x="7439462" y="3068065"/>
                  <a:pt x="7438397" y="3066867"/>
                </a:cubicBezTo>
                <a:cubicBezTo>
                  <a:pt x="7437332" y="3065802"/>
                  <a:pt x="7436001" y="3064870"/>
                  <a:pt x="7434403" y="3064204"/>
                </a:cubicBezTo>
                <a:cubicBezTo>
                  <a:pt x="7432939" y="3063539"/>
                  <a:pt x="7431342" y="3063272"/>
                  <a:pt x="7429345" y="3063272"/>
                </a:cubicBezTo>
                <a:close/>
                <a:moveTo>
                  <a:pt x="7211701" y="3063272"/>
                </a:moveTo>
                <a:cubicBezTo>
                  <a:pt x="7205844" y="3063272"/>
                  <a:pt x="7203314" y="3065269"/>
                  <a:pt x="7201717" y="3066867"/>
                </a:cubicBezTo>
                <a:cubicBezTo>
                  <a:pt x="7199188" y="3069529"/>
                  <a:pt x="7198123" y="3072325"/>
                  <a:pt x="7198123" y="3076318"/>
                </a:cubicBezTo>
                <a:cubicBezTo>
                  <a:pt x="7198123" y="3080445"/>
                  <a:pt x="7199188" y="3083240"/>
                  <a:pt x="7201717" y="3085769"/>
                </a:cubicBezTo>
                <a:cubicBezTo>
                  <a:pt x="7203314" y="3087368"/>
                  <a:pt x="7205844" y="3089230"/>
                  <a:pt x="7211701" y="3089230"/>
                </a:cubicBezTo>
                <a:cubicBezTo>
                  <a:pt x="7213830" y="3089230"/>
                  <a:pt x="7215561" y="3088964"/>
                  <a:pt x="7217026" y="3088298"/>
                </a:cubicBezTo>
                <a:cubicBezTo>
                  <a:pt x="7218490" y="3087766"/>
                  <a:pt x="7219821" y="3086835"/>
                  <a:pt x="7220752" y="3085902"/>
                </a:cubicBezTo>
                <a:cubicBezTo>
                  <a:pt x="7221818" y="3084838"/>
                  <a:pt x="7222750" y="3083373"/>
                  <a:pt x="7223415" y="3081776"/>
                </a:cubicBezTo>
                <a:cubicBezTo>
                  <a:pt x="7224214" y="3080178"/>
                  <a:pt x="7224480" y="3078315"/>
                  <a:pt x="7224480" y="3076318"/>
                </a:cubicBezTo>
                <a:cubicBezTo>
                  <a:pt x="7224480" y="3074454"/>
                  <a:pt x="7224080" y="3072724"/>
                  <a:pt x="7223415" y="3071126"/>
                </a:cubicBezTo>
                <a:cubicBezTo>
                  <a:pt x="7222750" y="3069396"/>
                  <a:pt x="7221818" y="3068065"/>
                  <a:pt x="7220752" y="3066867"/>
                </a:cubicBezTo>
                <a:cubicBezTo>
                  <a:pt x="7219687" y="3065802"/>
                  <a:pt x="7218356" y="3064870"/>
                  <a:pt x="7216759" y="3064204"/>
                </a:cubicBezTo>
                <a:cubicBezTo>
                  <a:pt x="7215295" y="3063539"/>
                  <a:pt x="7213698" y="3063272"/>
                  <a:pt x="7211701" y="3063272"/>
                </a:cubicBezTo>
                <a:close/>
                <a:moveTo>
                  <a:pt x="6994056" y="3063272"/>
                </a:moveTo>
                <a:cubicBezTo>
                  <a:pt x="6988199" y="3063272"/>
                  <a:pt x="6985669" y="3065269"/>
                  <a:pt x="6984072" y="3066867"/>
                </a:cubicBezTo>
                <a:cubicBezTo>
                  <a:pt x="6981543" y="3069529"/>
                  <a:pt x="6980478" y="3072325"/>
                  <a:pt x="6980478" y="3076318"/>
                </a:cubicBezTo>
                <a:cubicBezTo>
                  <a:pt x="6980478" y="3080445"/>
                  <a:pt x="6981543" y="3083240"/>
                  <a:pt x="6984072" y="3085769"/>
                </a:cubicBezTo>
                <a:cubicBezTo>
                  <a:pt x="6985669" y="3087368"/>
                  <a:pt x="6988199" y="3089230"/>
                  <a:pt x="6994056" y="3089230"/>
                </a:cubicBezTo>
                <a:cubicBezTo>
                  <a:pt x="6996185" y="3089230"/>
                  <a:pt x="6997916" y="3088964"/>
                  <a:pt x="6999380" y="3088298"/>
                </a:cubicBezTo>
                <a:cubicBezTo>
                  <a:pt x="7000844" y="3087766"/>
                  <a:pt x="7002176" y="3086835"/>
                  <a:pt x="7003107" y="3085902"/>
                </a:cubicBezTo>
                <a:cubicBezTo>
                  <a:pt x="7004172" y="3084838"/>
                  <a:pt x="7005104" y="3083373"/>
                  <a:pt x="7005769" y="3081776"/>
                </a:cubicBezTo>
                <a:cubicBezTo>
                  <a:pt x="7006568" y="3080178"/>
                  <a:pt x="7006834" y="3078315"/>
                  <a:pt x="7006834" y="3076318"/>
                </a:cubicBezTo>
                <a:cubicBezTo>
                  <a:pt x="7006834" y="3074454"/>
                  <a:pt x="7006435" y="3072724"/>
                  <a:pt x="7005769" y="3071126"/>
                </a:cubicBezTo>
                <a:cubicBezTo>
                  <a:pt x="7005104" y="3069396"/>
                  <a:pt x="7004172" y="3068065"/>
                  <a:pt x="7003107" y="3066867"/>
                </a:cubicBezTo>
                <a:cubicBezTo>
                  <a:pt x="7002042" y="3065802"/>
                  <a:pt x="7000711" y="3064870"/>
                  <a:pt x="6999113" y="3064204"/>
                </a:cubicBezTo>
                <a:cubicBezTo>
                  <a:pt x="6997649" y="3063539"/>
                  <a:pt x="6996052" y="3063272"/>
                  <a:pt x="6994056" y="3063272"/>
                </a:cubicBezTo>
                <a:close/>
                <a:moveTo>
                  <a:pt x="6776544" y="3063272"/>
                </a:moveTo>
                <a:cubicBezTo>
                  <a:pt x="6770687" y="3063272"/>
                  <a:pt x="6768157" y="3065269"/>
                  <a:pt x="6766560" y="3066867"/>
                </a:cubicBezTo>
                <a:cubicBezTo>
                  <a:pt x="6764031" y="3069529"/>
                  <a:pt x="6762966" y="3072325"/>
                  <a:pt x="6762966" y="3076318"/>
                </a:cubicBezTo>
                <a:cubicBezTo>
                  <a:pt x="6762966" y="3080445"/>
                  <a:pt x="6764031" y="3083240"/>
                  <a:pt x="6766560" y="3085769"/>
                </a:cubicBezTo>
                <a:cubicBezTo>
                  <a:pt x="6768157" y="3087368"/>
                  <a:pt x="6770687" y="3089230"/>
                  <a:pt x="6776544" y="3089230"/>
                </a:cubicBezTo>
                <a:cubicBezTo>
                  <a:pt x="6778541" y="3089230"/>
                  <a:pt x="6780270" y="3088964"/>
                  <a:pt x="6781869" y="3088298"/>
                </a:cubicBezTo>
                <a:cubicBezTo>
                  <a:pt x="6783333" y="3087766"/>
                  <a:pt x="6784664" y="3086835"/>
                  <a:pt x="6785595" y="3085902"/>
                </a:cubicBezTo>
                <a:cubicBezTo>
                  <a:pt x="6786661" y="3084838"/>
                  <a:pt x="6787593" y="3083373"/>
                  <a:pt x="6788258" y="3081776"/>
                </a:cubicBezTo>
                <a:cubicBezTo>
                  <a:pt x="6789057" y="3080178"/>
                  <a:pt x="6789323" y="3078315"/>
                  <a:pt x="6789323" y="3076318"/>
                </a:cubicBezTo>
                <a:cubicBezTo>
                  <a:pt x="6789323" y="3074454"/>
                  <a:pt x="6788923" y="3072724"/>
                  <a:pt x="6788258" y="3071126"/>
                </a:cubicBezTo>
                <a:cubicBezTo>
                  <a:pt x="6787593" y="3069396"/>
                  <a:pt x="6786661" y="3068065"/>
                  <a:pt x="6785595" y="3066867"/>
                </a:cubicBezTo>
                <a:cubicBezTo>
                  <a:pt x="6784530" y="3065802"/>
                  <a:pt x="6783199" y="3064870"/>
                  <a:pt x="6781602" y="3064204"/>
                </a:cubicBezTo>
                <a:cubicBezTo>
                  <a:pt x="6780138" y="3063539"/>
                  <a:pt x="6778541" y="3063272"/>
                  <a:pt x="6776544" y="3063272"/>
                </a:cubicBezTo>
                <a:close/>
                <a:moveTo>
                  <a:pt x="6558899" y="3063272"/>
                </a:moveTo>
                <a:cubicBezTo>
                  <a:pt x="6553042" y="3063272"/>
                  <a:pt x="6550512" y="3065269"/>
                  <a:pt x="6548915" y="3066867"/>
                </a:cubicBezTo>
                <a:cubicBezTo>
                  <a:pt x="6546386" y="3069529"/>
                  <a:pt x="6545321" y="3072325"/>
                  <a:pt x="6545321" y="3076318"/>
                </a:cubicBezTo>
                <a:cubicBezTo>
                  <a:pt x="6545321" y="3080445"/>
                  <a:pt x="6546386" y="3083240"/>
                  <a:pt x="6548915" y="3085769"/>
                </a:cubicBezTo>
                <a:cubicBezTo>
                  <a:pt x="6550512" y="3087368"/>
                  <a:pt x="6553042" y="3089230"/>
                  <a:pt x="6558899" y="3089230"/>
                </a:cubicBezTo>
                <a:cubicBezTo>
                  <a:pt x="6560895" y="3089230"/>
                  <a:pt x="6562759" y="3088964"/>
                  <a:pt x="6564223" y="3088298"/>
                </a:cubicBezTo>
                <a:cubicBezTo>
                  <a:pt x="6565687" y="3087766"/>
                  <a:pt x="6567019" y="3086835"/>
                  <a:pt x="6567950" y="3085902"/>
                </a:cubicBezTo>
                <a:cubicBezTo>
                  <a:pt x="6569015" y="3084838"/>
                  <a:pt x="6569947" y="3083373"/>
                  <a:pt x="6570612" y="3081776"/>
                </a:cubicBezTo>
                <a:cubicBezTo>
                  <a:pt x="6571412" y="3080178"/>
                  <a:pt x="6571677" y="3078315"/>
                  <a:pt x="6571677" y="3076318"/>
                </a:cubicBezTo>
                <a:cubicBezTo>
                  <a:pt x="6571677" y="3074454"/>
                  <a:pt x="6571278" y="3072724"/>
                  <a:pt x="6570612" y="3071126"/>
                </a:cubicBezTo>
                <a:cubicBezTo>
                  <a:pt x="6569947" y="3069396"/>
                  <a:pt x="6569015" y="3068065"/>
                  <a:pt x="6567950" y="3066867"/>
                </a:cubicBezTo>
                <a:cubicBezTo>
                  <a:pt x="6566885" y="3065802"/>
                  <a:pt x="6565554" y="3064870"/>
                  <a:pt x="6563956" y="3064204"/>
                </a:cubicBezTo>
                <a:cubicBezTo>
                  <a:pt x="6562492" y="3063539"/>
                  <a:pt x="6560895" y="3063272"/>
                  <a:pt x="6558899" y="3063272"/>
                </a:cubicBezTo>
                <a:close/>
                <a:moveTo>
                  <a:pt x="6341253" y="3063272"/>
                </a:moveTo>
                <a:cubicBezTo>
                  <a:pt x="6335396" y="3063272"/>
                  <a:pt x="6332867" y="3065269"/>
                  <a:pt x="6331270" y="3066867"/>
                </a:cubicBezTo>
                <a:cubicBezTo>
                  <a:pt x="6328740" y="3069529"/>
                  <a:pt x="6327675" y="3072325"/>
                  <a:pt x="6327675" y="3076318"/>
                </a:cubicBezTo>
                <a:cubicBezTo>
                  <a:pt x="6327675" y="3080445"/>
                  <a:pt x="6328740" y="3083240"/>
                  <a:pt x="6331270" y="3085769"/>
                </a:cubicBezTo>
                <a:cubicBezTo>
                  <a:pt x="6332867" y="3087368"/>
                  <a:pt x="6335396" y="3089230"/>
                  <a:pt x="6341253" y="3089230"/>
                </a:cubicBezTo>
                <a:cubicBezTo>
                  <a:pt x="6343250" y="3089230"/>
                  <a:pt x="6345114" y="3088964"/>
                  <a:pt x="6346578" y="3088298"/>
                </a:cubicBezTo>
                <a:cubicBezTo>
                  <a:pt x="6348042" y="3087766"/>
                  <a:pt x="6349373" y="3086835"/>
                  <a:pt x="6350305" y="3085902"/>
                </a:cubicBezTo>
                <a:cubicBezTo>
                  <a:pt x="6351370" y="3084838"/>
                  <a:pt x="6352302" y="3083373"/>
                  <a:pt x="6352968" y="3081776"/>
                </a:cubicBezTo>
                <a:cubicBezTo>
                  <a:pt x="6353766" y="3080178"/>
                  <a:pt x="6354033" y="3078315"/>
                  <a:pt x="6354033" y="3076318"/>
                </a:cubicBezTo>
                <a:cubicBezTo>
                  <a:pt x="6354033" y="3074454"/>
                  <a:pt x="6353633" y="3072724"/>
                  <a:pt x="6352968" y="3071126"/>
                </a:cubicBezTo>
                <a:cubicBezTo>
                  <a:pt x="6352302" y="3069396"/>
                  <a:pt x="6351370" y="3068065"/>
                  <a:pt x="6350305" y="3066867"/>
                </a:cubicBezTo>
                <a:cubicBezTo>
                  <a:pt x="6349241" y="3065802"/>
                  <a:pt x="6347909" y="3064870"/>
                  <a:pt x="6346312" y="3064204"/>
                </a:cubicBezTo>
                <a:cubicBezTo>
                  <a:pt x="6344848" y="3063539"/>
                  <a:pt x="6343250" y="3063272"/>
                  <a:pt x="6341253" y="3063272"/>
                </a:cubicBezTo>
                <a:close/>
                <a:moveTo>
                  <a:pt x="6123608" y="3063272"/>
                </a:moveTo>
                <a:cubicBezTo>
                  <a:pt x="6117751" y="3063272"/>
                  <a:pt x="6115221" y="3065269"/>
                  <a:pt x="6113624" y="3066867"/>
                </a:cubicBezTo>
                <a:cubicBezTo>
                  <a:pt x="6111095" y="3069529"/>
                  <a:pt x="6110030" y="3072325"/>
                  <a:pt x="6110030" y="3076318"/>
                </a:cubicBezTo>
                <a:cubicBezTo>
                  <a:pt x="6110030" y="3080445"/>
                  <a:pt x="6111095" y="3083240"/>
                  <a:pt x="6113624" y="3085769"/>
                </a:cubicBezTo>
                <a:cubicBezTo>
                  <a:pt x="6115221" y="3087368"/>
                  <a:pt x="6117751" y="3089230"/>
                  <a:pt x="6123608" y="3089230"/>
                </a:cubicBezTo>
                <a:cubicBezTo>
                  <a:pt x="6125737" y="3089230"/>
                  <a:pt x="6127468" y="3088964"/>
                  <a:pt x="6128932" y="3088298"/>
                </a:cubicBezTo>
                <a:cubicBezTo>
                  <a:pt x="6130530" y="3087766"/>
                  <a:pt x="6131728" y="3086835"/>
                  <a:pt x="6132659" y="3085902"/>
                </a:cubicBezTo>
                <a:cubicBezTo>
                  <a:pt x="6133724" y="3084838"/>
                  <a:pt x="6134656" y="3083373"/>
                  <a:pt x="6135322" y="3081776"/>
                </a:cubicBezTo>
                <a:cubicBezTo>
                  <a:pt x="6135987" y="3080178"/>
                  <a:pt x="6136387" y="3078315"/>
                  <a:pt x="6136387" y="3076318"/>
                </a:cubicBezTo>
                <a:cubicBezTo>
                  <a:pt x="6136387" y="3074454"/>
                  <a:pt x="6135987" y="3072724"/>
                  <a:pt x="6135322" y="3071126"/>
                </a:cubicBezTo>
                <a:cubicBezTo>
                  <a:pt x="6134656" y="3069396"/>
                  <a:pt x="6133724" y="3068065"/>
                  <a:pt x="6132659" y="3066867"/>
                </a:cubicBezTo>
                <a:cubicBezTo>
                  <a:pt x="6131594" y="3065802"/>
                  <a:pt x="6130263" y="3064870"/>
                  <a:pt x="6128666" y="3064204"/>
                </a:cubicBezTo>
                <a:cubicBezTo>
                  <a:pt x="6127202" y="3063539"/>
                  <a:pt x="6125604" y="3063272"/>
                  <a:pt x="6123608" y="3063272"/>
                </a:cubicBezTo>
                <a:close/>
                <a:moveTo>
                  <a:pt x="5905963" y="3063272"/>
                </a:moveTo>
                <a:cubicBezTo>
                  <a:pt x="5900106" y="3063272"/>
                  <a:pt x="5897576" y="3065269"/>
                  <a:pt x="5895979" y="3066867"/>
                </a:cubicBezTo>
                <a:cubicBezTo>
                  <a:pt x="5893450" y="3069529"/>
                  <a:pt x="5892385" y="3072325"/>
                  <a:pt x="5892385" y="3076318"/>
                </a:cubicBezTo>
                <a:cubicBezTo>
                  <a:pt x="5892385" y="3080445"/>
                  <a:pt x="5893450" y="3083240"/>
                  <a:pt x="5895979" y="3085769"/>
                </a:cubicBezTo>
                <a:cubicBezTo>
                  <a:pt x="5897576" y="3087368"/>
                  <a:pt x="5900106" y="3089230"/>
                  <a:pt x="5905963" y="3089230"/>
                </a:cubicBezTo>
                <a:cubicBezTo>
                  <a:pt x="5908093" y="3089230"/>
                  <a:pt x="5909823" y="3088964"/>
                  <a:pt x="5911287" y="3088298"/>
                </a:cubicBezTo>
                <a:cubicBezTo>
                  <a:pt x="5912751" y="3087766"/>
                  <a:pt x="5914083" y="3086835"/>
                  <a:pt x="5915014" y="3085902"/>
                </a:cubicBezTo>
                <a:cubicBezTo>
                  <a:pt x="5916079" y="3084838"/>
                  <a:pt x="5917011" y="3083373"/>
                  <a:pt x="5917677" y="3081776"/>
                </a:cubicBezTo>
                <a:cubicBezTo>
                  <a:pt x="5918342" y="3080178"/>
                  <a:pt x="5918742" y="3078315"/>
                  <a:pt x="5918742" y="3076318"/>
                </a:cubicBezTo>
                <a:cubicBezTo>
                  <a:pt x="5918742" y="3074454"/>
                  <a:pt x="5918342" y="3072724"/>
                  <a:pt x="5917677" y="3071126"/>
                </a:cubicBezTo>
                <a:cubicBezTo>
                  <a:pt x="5917011" y="3069396"/>
                  <a:pt x="5916079" y="3068065"/>
                  <a:pt x="5915014" y="3066867"/>
                </a:cubicBezTo>
                <a:cubicBezTo>
                  <a:pt x="5913950" y="3065802"/>
                  <a:pt x="5912618" y="3064870"/>
                  <a:pt x="5911021" y="3064204"/>
                </a:cubicBezTo>
                <a:cubicBezTo>
                  <a:pt x="5909557" y="3063539"/>
                  <a:pt x="5907826" y="3063272"/>
                  <a:pt x="5905963" y="3063272"/>
                </a:cubicBezTo>
                <a:close/>
                <a:moveTo>
                  <a:pt x="5688451" y="3063272"/>
                </a:moveTo>
                <a:cubicBezTo>
                  <a:pt x="5682594" y="3063272"/>
                  <a:pt x="5680064" y="3065269"/>
                  <a:pt x="5678467" y="3066867"/>
                </a:cubicBezTo>
                <a:cubicBezTo>
                  <a:pt x="5675938" y="3069529"/>
                  <a:pt x="5674873" y="3072325"/>
                  <a:pt x="5674873" y="3076318"/>
                </a:cubicBezTo>
                <a:cubicBezTo>
                  <a:pt x="5674873" y="3080445"/>
                  <a:pt x="5675938" y="3083240"/>
                  <a:pt x="5678467" y="3085769"/>
                </a:cubicBezTo>
                <a:cubicBezTo>
                  <a:pt x="5680064" y="3087368"/>
                  <a:pt x="5682594" y="3089230"/>
                  <a:pt x="5688451" y="3089230"/>
                </a:cubicBezTo>
                <a:cubicBezTo>
                  <a:pt x="5690447" y="3089230"/>
                  <a:pt x="5692178" y="3088964"/>
                  <a:pt x="5693775" y="3088298"/>
                </a:cubicBezTo>
                <a:cubicBezTo>
                  <a:pt x="5695239" y="3087766"/>
                  <a:pt x="5696571" y="3086835"/>
                  <a:pt x="5697502" y="3085902"/>
                </a:cubicBezTo>
                <a:cubicBezTo>
                  <a:pt x="5698567" y="3084838"/>
                  <a:pt x="5699499" y="3083373"/>
                  <a:pt x="5700165" y="3081776"/>
                </a:cubicBezTo>
                <a:cubicBezTo>
                  <a:pt x="5700830" y="3080178"/>
                  <a:pt x="5701230" y="3078315"/>
                  <a:pt x="5701230" y="3076318"/>
                </a:cubicBezTo>
                <a:cubicBezTo>
                  <a:pt x="5701230" y="3074454"/>
                  <a:pt x="5700830" y="3072724"/>
                  <a:pt x="5700165" y="3071126"/>
                </a:cubicBezTo>
                <a:cubicBezTo>
                  <a:pt x="5699499" y="3069396"/>
                  <a:pt x="5698567" y="3068065"/>
                  <a:pt x="5697502" y="3066867"/>
                </a:cubicBezTo>
                <a:cubicBezTo>
                  <a:pt x="5696437" y="3065802"/>
                  <a:pt x="5695106" y="3064870"/>
                  <a:pt x="5693509" y="3064204"/>
                </a:cubicBezTo>
                <a:cubicBezTo>
                  <a:pt x="5692045" y="3063539"/>
                  <a:pt x="5690314" y="3063272"/>
                  <a:pt x="5688451" y="3063272"/>
                </a:cubicBezTo>
                <a:close/>
                <a:moveTo>
                  <a:pt x="5470806" y="3063272"/>
                </a:moveTo>
                <a:cubicBezTo>
                  <a:pt x="5464949" y="3063272"/>
                  <a:pt x="5462419" y="3065269"/>
                  <a:pt x="5460822" y="3066867"/>
                </a:cubicBezTo>
                <a:cubicBezTo>
                  <a:pt x="5458293" y="3069529"/>
                  <a:pt x="5457228" y="3072325"/>
                  <a:pt x="5457228" y="3076318"/>
                </a:cubicBezTo>
                <a:cubicBezTo>
                  <a:pt x="5457228" y="3080445"/>
                  <a:pt x="5458293" y="3083240"/>
                  <a:pt x="5460822" y="3085769"/>
                </a:cubicBezTo>
                <a:cubicBezTo>
                  <a:pt x="5462419" y="3087368"/>
                  <a:pt x="5464949" y="3089230"/>
                  <a:pt x="5470806" y="3089230"/>
                </a:cubicBezTo>
                <a:cubicBezTo>
                  <a:pt x="5472802" y="3089230"/>
                  <a:pt x="5474666" y="3088964"/>
                  <a:pt x="5476130" y="3088298"/>
                </a:cubicBezTo>
                <a:cubicBezTo>
                  <a:pt x="5477594" y="3087766"/>
                  <a:pt x="5478926" y="3086835"/>
                  <a:pt x="5479857" y="3085902"/>
                </a:cubicBezTo>
                <a:cubicBezTo>
                  <a:pt x="5480922" y="3084838"/>
                  <a:pt x="5481854" y="3083373"/>
                  <a:pt x="5482520" y="3081776"/>
                </a:cubicBezTo>
                <a:cubicBezTo>
                  <a:pt x="5483319" y="3080178"/>
                  <a:pt x="5483585" y="3078315"/>
                  <a:pt x="5483585" y="3076318"/>
                </a:cubicBezTo>
                <a:cubicBezTo>
                  <a:pt x="5483585" y="3074454"/>
                  <a:pt x="5483185" y="3072724"/>
                  <a:pt x="5482520" y="3071126"/>
                </a:cubicBezTo>
                <a:cubicBezTo>
                  <a:pt x="5481854" y="3069396"/>
                  <a:pt x="5480922" y="3068065"/>
                  <a:pt x="5479857" y="3066867"/>
                </a:cubicBezTo>
                <a:cubicBezTo>
                  <a:pt x="5478793" y="3065802"/>
                  <a:pt x="5477461" y="3064870"/>
                  <a:pt x="5475864" y="3064204"/>
                </a:cubicBezTo>
                <a:cubicBezTo>
                  <a:pt x="5474400" y="3063539"/>
                  <a:pt x="5472669" y="3063272"/>
                  <a:pt x="5470806" y="3063272"/>
                </a:cubicBezTo>
                <a:close/>
                <a:moveTo>
                  <a:pt x="5253160" y="3063272"/>
                </a:moveTo>
                <a:cubicBezTo>
                  <a:pt x="5247303" y="3063272"/>
                  <a:pt x="5244774" y="3065269"/>
                  <a:pt x="5243177" y="3066867"/>
                </a:cubicBezTo>
                <a:cubicBezTo>
                  <a:pt x="5240647" y="3069529"/>
                  <a:pt x="5239583" y="3072325"/>
                  <a:pt x="5239583" y="3076318"/>
                </a:cubicBezTo>
                <a:cubicBezTo>
                  <a:pt x="5239583" y="3080445"/>
                  <a:pt x="5240647" y="3083240"/>
                  <a:pt x="5243177" y="3085769"/>
                </a:cubicBezTo>
                <a:cubicBezTo>
                  <a:pt x="5244774" y="3087368"/>
                  <a:pt x="5247303" y="3089230"/>
                  <a:pt x="5253160" y="3089230"/>
                </a:cubicBezTo>
                <a:cubicBezTo>
                  <a:pt x="5255157" y="3089230"/>
                  <a:pt x="5257021" y="3088964"/>
                  <a:pt x="5258485" y="3088298"/>
                </a:cubicBezTo>
                <a:cubicBezTo>
                  <a:pt x="5259949" y="3087766"/>
                  <a:pt x="5261280" y="3086835"/>
                  <a:pt x="5262212" y="3085902"/>
                </a:cubicBezTo>
                <a:cubicBezTo>
                  <a:pt x="5263277" y="3084838"/>
                  <a:pt x="5264209" y="3083373"/>
                  <a:pt x="5264875" y="3081776"/>
                </a:cubicBezTo>
                <a:cubicBezTo>
                  <a:pt x="5265673" y="3080178"/>
                  <a:pt x="5265939" y="3078315"/>
                  <a:pt x="5265939" y="3076318"/>
                </a:cubicBezTo>
                <a:cubicBezTo>
                  <a:pt x="5265939" y="3074454"/>
                  <a:pt x="5265540" y="3072724"/>
                  <a:pt x="5264875" y="3071126"/>
                </a:cubicBezTo>
                <a:cubicBezTo>
                  <a:pt x="5264209" y="3069396"/>
                  <a:pt x="5263277" y="3068065"/>
                  <a:pt x="5262212" y="3066867"/>
                </a:cubicBezTo>
                <a:cubicBezTo>
                  <a:pt x="5261147" y="3065802"/>
                  <a:pt x="5259816" y="3064870"/>
                  <a:pt x="5258219" y="3064204"/>
                </a:cubicBezTo>
                <a:cubicBezTo>
                  <a:pt x="5256754" y="3063539"/>
                  <a:pt x="5255024" y="3063272"/>
                  <a:pt x="5253160" y="3063272"/>
                </a:cubicBezTo>
                <a:close/>
                <a:moveTo>
                  <a:pt x="5035515" y="3063272"/>
                </a:moveTo>
                <a:cubicBezTo>
                  <a:pt x="5029658" y="3063272"/>
                  <a:pt x="5027129" y="3065269"/>
                  <a:pt x="5025532" y="3066867"/>
                </a:cubicBezTo>
                <a:cubicBezTo>
                  <a:pt x="5023002" y="3069529"/>
                  <a:pt x="5021938" y="3072325"/>
                  <a:pt x="5021938" y="3076318"/>
                </a:cubicBezTo>
                <a:cubicBezTo>
                  <a:pt x="5021938" y="3080445"/>
                  <a:pt x="5023002" y="3083240"/>
                  <a:pt x="5025532" y="3085769"/>
                </a:cubicBezTo>
                <a:cubicBezTo>
                  <a:pt x="5027129" y="3087368"/>
                  <a:pt x="5029658" y="3089230"/>
                  <a:pt x="5035515" y="3089230"/>
                </a:cubicBezTo>
                <a:cubicBezTo>
                  <a:pt x="5037645" y="3089230"/>
                  <a:pt x="5039376" y="3088964"/>
                  <a:pt x="5040840" y="3088298"/>
                </a:cubicBezTo>
                <a:cubicBezTo>
                  <a:pt x="5042304" y="3087766"/>
                  <a:pt x="5043636" y="3086835"/>
                  <a:pt x="5044567" y="3085902"/>
                </a:cubicBezTo>
                <a:cubicBezTo>
                  <a:pt x="5045632" y="3084838"/>
                  <a:pt x="5046564" y="3083373"/>
                  <a:pt x="5047230" y="3081776"/>
                </a:cubicBezTo>
                <a:cubicBezTo>
                  <a:pt x="5048028" y="3080178"/>
                  <a:pt x="5048294" y="3078315"/>
                  <a:pt x="5048294" y="3076318"/>
                </a:cubicBezTo>
                <a:cubicBezTo>
                  <a:pt x="5048294" y="3074454"/>
                  <a:pt x="5047895" y="3072724"/>
                  <a:pt x="5047230" y="3071126"/>
                </a:cubicBezTo>
                <a:cubicBezTo>
                  <a:pt x="5046564" y="3069396"/>
                  <a:pt x="5045632" y="3068065"/>
                  <a:pt x="5044567" y="3066867"/>
                </a:cubicBezTo>
                <a:cubicBezTo>
                  <a:pt x="5043502" y="3065802"/>
                  <a:pt x="5042171" y="3064870"/>
                  <a:pt x="5040574" y="3064204"/>
                </a:cubicBezTo>
                <a:cubicBezTo>
                  <a:pt x="5039110" y="3063539"/>
                  <a:pt x="5037379" y="3063272"/>
                  <a:pt x="5035515" y="3063272"/>
                </a:cubicBezTo>
                <a:close/>
                <a:moveTo>
                  <a:pt x="4817870" y="3063272"/>
                </a:moveTo>
                <a:cubicBezTo>
                  <a:pt x="4812013" y="3063272"/>
                  <a:pt x="4809484" y="3065269"/>
                  <a:pt x="4807887" y="3066867"/>
                </a:cubicBezTo>
                <a:cubicBezTo>
                  <a:pt x="4805357" y="3069529"/>
                  <a:pt x="4804293" y="3072325"/>
                  <a:pt x="4804293" y="3076318"/>
                </a:cubicBezTo>
                <a:cubicBezTo>
                  <a:pt x="4804293" y="3080445"/>
                  <a:pt x="4805357" y="3083240"/>
                  <a:pt x="4807887" y="3085769"/>
                </a:cubicBezTo>
                <a:cubicBezTo>
                  <a:pt x="4809484" y="3087368"/>
                  <a:pt x="4812013" y="3089230"/>
                  <a:pt x="4817870" y="3089230"/>
                </a:cubicBezTo>
                <a:cubicBezTo>
                  <a:pt x="4820000" y="3089230"/>
                  <a:pt x="4821731" y="3088964"/>
                  <a:pt x="4823195" y="3088298"/>
                </a:cubicBezTo>
                <a:cubicBezTo>
                  <a:pt x="4824659" y="3087766"/>
                  <a:pt x="4825857" y="3086835"/>
                  <a:pt x="4826922" y="3085902"/>
                </a:cubicBezTo>
                <a:cubicBezTo>
                  <a:pt x="4827987" y="3084838"/>
                  <a:pt x="4828919" y="3083373"/>
                  <a:pt x="4829585" y="3081776"/>
                </a:cubicBezTo>
                <a:cubicBezTo>
                  <a:pt x="4830383" y="3080178"/>
                  <a:pt x="4830650" y="3078315"/>
                  <a:pt x="4830650" y="3076318"/>
                </a:cubicBezTo>
                <a:cubicBezTo>
                  <a:pt x="4830650" y="3074454"/>
                  <a:pt x="4830250" y="3072724"/>
                  <a:pt x="4829585" y="3071126"/>
                </a:cubicBezTo>
                <a:cubicBezTo>
                  <a:pt x="4828919" y="3069396"/>
                  <a:pt x="4827987" y="3068065"/>
                  <a:pt x="4826922" y="3066867"/>
                </a:cubicBezTo>
                <a:cubicBezTo>
                  <a:pt x="4825857" y="3065802"/>
                  <a:pt x="4824526" y="3064870"/>
                  <a:pt x="4822929" y="3064204"/>
                </a:cubicBezTo>
                <a:cubicBezTo>
                  <a:pt x="4821465" y="3063539"/>
                  <a:pt x="4819734" y="3063272"/>
                  <a:pt x="4817870" y="3063272"/>
                </a:cubicBezTo>
                <a:close/>
                <a:moveTo>
                  <a:pt x="4600226" y="3063272"/>
                </a:moveTo>
                <a:cubicBezTo>
                  <a:pt x="4594369" y="3063272"/>
                  <a:pt x="4591839" y="3065269"/>
                  <a:pt x="4590242" y="3066867"/>
                </a:cubicBezTo>
                <a:cubicBezTo>
                  <a:pt x="4587713" y="3069529"/>
                  <a:pt x="4586648" y="3072325"/>
                  <a:pt x="4586648" y="3076318"/>
                </a:cubicBezTo>
                <a:cubicBezTo>
                  <a:pt x="4586648" y="3080445"/>
                  <a:pt x="4587713" y="3083240"/>
                  <a:pt x="4590242" y="3085769"/>
                </a:cubicBezTo>
                <a:cubicBezTo>
                  <a:pt x="4591839" y="3087368"/>
                  <a:pt x="4594369" y="3089230"/>
                  <a:pt x="4600226" y="3089230"/>
                </a:cubicBezTo>
                <a:cubicBezTo>
                  <a:pt x="4602355" y="3089230"/>
                  <a:pt x="4604086" y="3088964"/>
                  <a:pt x="4605550" y="3088298"/>
                </a:cubicBezTo>
                <a:cubicBezTo>
                  <a:pt x="4607148" y="3087766"/>
                  <a:pt x="4608346" y="3086835"/>
                  <a:pt x="4609277" y="3085902"/>
                </a:cubicBezTo>
                <a:cubicBezTo>
                  <a:pt x="4610342" y="3084838"/>
                  <a:pt x="4611274" y="3083373"/>
                  <a:pt x="4611940" y="3081776"/>
                </a:cubicBezTo>
                <a:cubicBezTo>
                  <a:pt x="4612605" y="3080178"/>
                  <a:pt x="4613005" y="3078315"/>
                  <a:pt x="4613005" y="3076318"/>
                </a:cubicBezTo>
                <a:cubicBezTo>
                  <a:pt x="4613005" y="3074454"/>
                  <a:pt x="4612605" y="3072724"/>
                  <a:pt x="4611940" y="3071126"/>
                </a:cubicBezTo>
                <a:cubicBezTo>
                  <a:pt x="4611274" y="3069396"/>
                  <a:pt x="4610342" y="3068065"/>
                  <a:pt x="4609277" y="3066867"/>
                </a:cubicBezTo>
                <a:cubicBezTo>
                  <a:pt x="4608212" y="3065802"/>
                  <a:pt x="4606881" y="3064870"/>
                  <a:pt x="4605284" y="3064204"/>
                </a:cubicBezTo>
                <a:cubicBezTo>
                  <a:pt x="4603820" y="3063539"/>
                  <a:pt x="4602222" y="3063272"/>
                  <a:pt x="4600226" y="3063272"/>
                </a:cubicBezTo>
                <a:close/>
                <a:moveTo>
                  <a:pt x="4382713" y="3063272"/>
                </a:moveTo>
                <a:cubicBezTo>
                  <a:pt x="4376857" y="3063272"/>
                  <a:pt x="4374327" y="3065269"/>
                  <a:pt x="4372730" y="3066867"/>
                </a:cubicBezTo>
                <a:cubicBezTo>
                  <a:pt x="4370201" y="3069529"/>
                  <a:pt x="4369136" y="3072325"/>
                  <a:pt x="4369136" y="3076318"/>
                </a:cubicBezTo>
                <a:cubicBezTo>
                  <a:pt x="4369136" y="3080445"/>
                  <a:pt x="4370201" y="3083240"/>
                  <a:pt x="4372730" y="3085769"/>
                </a:cubicBezTo>
                <a:cubicBezTo>
                  <a:pt x="4374327" y="3087368"/>
                  <a:pt x="4376857" y="3089230"/>
                  <a:pt x="4382713" y="3089230"/>
                </a:cubicBezTo>
                <a:cubicBezTo>
                  <a:pt x="4384710" y="3089230"/>
                  <a:pt x="4386441" y="3088964"/>
                  <a:pt x="4388038" y="3088298"/>
                </a:cubicBezTo>
                <a:cubicBezTo>
                  <a:pt x="4389502" y="3087766"/>
                  <a:pt x="4390834" y="3086835"/>
                  <a:pt x="4391765" y="3085902"/>
                </a:cubicBezTo>
                <a:cubicBezTo>
                  <a:pt x="4392830" y="3084838"/>
                  <a:pt x="4393762" y="3083373"/>
                  <a:pt x="4394428" y="3081776"/>
                </a:cubicBezTo>
                <a:cubicBezTo>
                  <a:pt x="4395093" y="3080178"/>
                  <a:pt x="4395493" y="3078315"/>
                  <a:pt x="4395493" y="3076318"/>
                </a:cubicBezTo>
                <a:cubicBezTo>
                  <a:pt x="4395493" y="3074454"/>
                  <a:pt x="4395093" y="3072724"/>
                  <a:pt x="4394428" y="3071126"/>
                </a:cubicBezTo>
                <a:cubicBezTo>
                  <a:pt x="4393762" y="3069396"/>
                  <a:pt x="4392830" y="3068065"/>
                  <a:pt x="4391765" y="3066867"/>
                </a:cubicBezTo>
                <a:cubicBezTo>
                  <a:pt x="4390700" y="3065802"/>
                  <a:pt x="4389369" y="3064870"/>
                  <a:pt x="4387772" y="3064204"/>
                </a:cubicBezTo>
                <a:cubicBezTo>
                  <a:pt x="4386308" y="3063539"/>
                  <a:pt x="4384710" y="3063272"/>
                  <a:pt x="4382713" y="3063272"/>
                </a:cubicBezTo>
                <a:close/>
                <a:moveTo>
                  <a:pt x="4165068" y="3063272"/>
                </a:moveTo>
                <a:cubicBezTo>
                  <a:pt x="4159211" y="3063272"/>
                  <a:pt x="4156681" y="3065269"/>
                  <a:pt x="4155084" y="3066867"/>
                </a:cubicBezTo>
                <a:cubicBezTo>
                  <a:pt x="4152555" y="3069529"/>
                  <a:pt x="4151490" y="3072325"/>
                  <a:pt x="4151490" y="3076318"/>
                </a:cubicBezTo>
                <a:cubicBezTo>
                  <a:pt x="4151490" y="3080445"/>
                  <a:pt x="4152555" y="3083240"/>
                  <a:pt x="4155084" y="3085769"/>
                </a:cubicBezTo>
                <a:cubicBezTo>
                  <a:pt x="4156681" y="3087368"/>
                  <a:pt x="4159211" y="3089230"/>
                  <a:pt x="4165068" y="3089230"/>
                </a:cubicBezTo>
                <a:cubicBezTo>
                  <a:pt x="4167064" y="3089230"/>
                  <a:pt x="4168928" y="3088964"/>
                  <a:pt x="4170392" y="3088298"/>
                </a:cubicBezTo>
                <a:cubicBezTo>
                  <a:pt x="4171856" y="3087766"/>
                  <a:pt x="4173188" y="3086835"/>
                  <a:pt x="4174119" y="3085902"/>
                </a:cubicBezTo>
                <a:cubicBezTo>
                  <a:pt x="4175184" y="3084838"/>
                  <a:pt x="4176116" y="3083373"/>
                  <a:pt x="4176782" y="3081776"/>
                </a:cubicBezTo>
                <a:cubicBezTo>
                  <a:pt x="4177447" y="3080178"/>
                  <a:pt x="4177847" y="3078315"/>
                  <a:pt x="4177847" y="3076318"/>
                </a:cubicBezTo>
                <a:cubicBezTo>
                  <a:pt x="4177847" y="3074454"/>
                  <a:pt x="4177447" y="3072724"/>
                  <a:pt x="4176782" y="3071126"/>
                </a:cubicBezTo>
                <a:cubicBezTo>
                  <a:pt x="4176116" y="3069396"/>
                  <a:pt x="4175184" y="3068065"/>
                  <a:pt x="4174119" y="3066867"/>
                </a:cubicBezTo>
                <a:cubicBezTo>
                  <a:pt x="4173054" y="3065802"/>
                  <a:pt x="4171723" y="3064870"/>
                  <a:pt x="4170126" y="3064204"/>
                </a:cubicBezTo>
                <a:cubicBezTo>
                  <a:pt x="4168662" y="3063539"/>
                  <a:pt x="4167064" y="3063272"/>
                  <a:pt x="4165068" y="3063272"/>
                </a:cubicBezTo>
                <a:close/>
                <a:moveTo>
                  <a:pt x="3947593" y="3063272"/>
                </a:moveTo>
                <a:cubicBezTo>
                  <a:pt x="3941735" y="3063272"/>
                  <a:pt x="3939207" y="3065269"/>
                  <a:pt x="3937610" y="3066867"/>
                </a:cubicBezTo>
                <a:cubicBezTo>
                  <a:pt x="3935079" y="3069529"/>
                  <a:pt x="3934015" y="3072325"/>
                  <a:pt x="3934015" y="3076318"/>
                </a:cubicBezTo>
                <a:cubicBezTo>
                  <a:pt x="3934015" y="3080445"/>
                  <a:pt x="3935079" y="3083240"/>
                  <a:pt x="3937610" y="3085769"/>
                </a:cubicBezTo>
                <a:cubicBezTo>
                  <a:pt x="3939207" y="3087368"/>
                  <a:pt x="3941735" y="3089230"/>
                  <a:pt x="3947593" y="3089230"/>
                </a:cubicBezTo>
                <a:cubicBezTo>
                  <a:pt x="3949591" y="3089230"/>
                  <a:pt x="3951453" y="3088964"/>
                  <a:pt x="3952920" y="3088298"/>
                </a:cubicBezTo>
                <a:cubicBezTo>
                  <a:pt x="3954383" y="3087766"/>
                  <a:pt x="3955714" y="3086835"/>
                  <a:pt x="3956646" y="3085902"/>
                </a:cubicBezTo>
                <a:cubicBezTo>
                  <a:pt x="3957712" y="3084838"/>
                  <a:pt x="3958644" y="3083373"/>
                  <a:pt x="3959309" y="3081776"/>
                </a:cubicBezTo>
                <a:cubicBezTo>
                  <a:pt x="3959975" y="3080178"/>
                  <a:pt x="3960374" y="3078315"/>
                  <a:pt x="3960374" y="3076318"/>
                </a:cubicBezTo>
                <a:cubicBezTo>
                  <a:pt x="3960374" y="3074454"/>
                  <a:pt x="3959975" y="3072724"/>
                  <a:pt x="3959309" y="3071126"/>
                </a:cubicBezTo>
                <a:cubicBezTo>
                  <a:pt x="3958644" y="3069396"/>
                  <a:pt x="3957712" y="3068065"/>
                  <a:pt x="3956646" y="3066867"/>
                </a:cubicBezTo>
                <a:cubicBezTo>
                  <a:pt x="3955581" y="3065802"/>
                  <a:pt x="3954251" y="3064870"/>
                  <a:pt x="3952653" y="3064204"/>
                </a:cubicBezTo>
                <a:cubicBezTo>
                  <a:pt x="3951188" y="3063539"/>
                  <a:pt x="3949591" y="3063272"/>
                  <a:pt x="3947593" y="3063272"/>
                </a:cubicBezTo>
                <a:close/>
                <a:moveTo>
                  <a:pt x="3729940" y="3063272"/>
                </a:moveTo>
                <a:cubicBezTo>
                  <a:pt x="3724083" y="3063272"/>
                  <a:pt x="3721554" y="3065269"/>
                  <a:pt x="3719954" y="3066867"/>
                </a:cubicBezTo>
                <a:cubicBezTo>
                  <a:pt x="3717424" y="3069529"/>
                  <a:pt x="3716362" y="3072325"/>
                  <a:pt x="3716362" y="3076318"/>
                </a:cubicBezTo>
                <a:cubicBezTo>
                  <a:pt x="3716362" y="3080445"/>
                  <a:pt x="3717424" y="3083240"/>
                  <a:pt x="3719954" y="3085769"/>
                </a:cubicBezTo>
                <a:cubicBezTo>
                  <a:pt x="3721554" y="3087368"/>
                  <a:pt x="3724083" y="3089230"/>
                  <a:pt x="3729940" y="3089230"/>
                </a:cubicBezTo>
                <a:cubicBezTo>
                  <a:pt x="3732070" y="3089230"/>
                  <a:pt x="3733801" y="3088964"/>
                  <a:pt x="3735265" y="3088298"/>
                </a:cubicBezTo>
                <a:cubicBezTo>
                  <a:pt x="3736729" y="3087766"/>
                  <a:pt x="3738062" y="3086835"/>
                  <a:pt x="3738992" y="3085902"/>
                </a:cubicBezTo>
                <a:cubicBezTo>
                  <a:pt x="3740057" y="3084838"/>
                  <a:pt x="3740990" y="3083373"/>
                  <a:pt x="3741655" y="3081776"/>
                </a:cubicBezTo>
                <a:cubicBezTo>
                  <a:pt x="3742320" y="3080178"/>
                  <a:pt x="3742720" y="3078315"/>
                  <a:pt x="3742720" y="3076318"/>
                </a:cubicBezTo>
                <a:cubicBezTo>
                  <a:pt x="3742720" y="3074454"/>
                  <a:pt x="3742320" y="3072724"/>
                  <a:pt x="3741655" y="3071126"/>
                </a:cubicBezTo>
                <a:cubicBezTo>
                  <a:pt x="3740990" y="3069396"/>
                  <a:pt x="3740057" y="3068065"/>
                  <a:pt x="3738992" y="3066867"/>
                </a:cubicBezTo>
                <a:cubicBezTo>
                  <a:pt x="3737928" y="3065802"/>
                  <a:pt x="3736596" y="3064870"/>
                  <a:pt x="3734999" y="3064204"/>
                </a:cubicBezTo>
                <a:cubicBezTo>
                  <a:pt x="3733534" y="3063539"/>
                  <a:pt x="3731937" y="3063272"/>
                  <a:pt x="3729940" y="3063272"/>
                </a:cubicBezTo>
                <a:close/>
                <a:moveTo>
                  <a:pt x="3512286" y="3063272"/>
                </a:moveTo>
                <a:cubicBezTo>
                  <a:pt x="3506429" y="3063272"/>
                  <a:pt x="3503899" y="3065269"/>
                  <a:pt x="3502299" y="3066867"/>
                </a:cubicBezTo>
                <a:cubicBezTo>
                  <a:pt x="3499770" y="3069529"/>
                  <a:pt x="3498706" y="3072325"/>
                  <a:pt x="3498706" y="3076318"/>
                </a:cubicBezTo>
                <a:cubicBezTo>
                  <a:pt x="3498706" y="3080445"/>
                  <a:pt x="3499770" y="3083240"/>
                  <a:pt x="3502299" y="3085769"/>
                </a:cubicBezTo>
                <a:cubicBezTo>
                  <a:pt x="3503899" y="3087368"/>
                  <a:pt x="3506429" y="3089230"/>
                  <a:pt x="3512286" y="3089230"/>
                </a:cubicBezTo>
                <a:cubicBezTo>
                  <a:pt x="3514416" y="3089230"/>
                  <a:pt x="3516147" y="3088964"/>
                  <a:pt x="3517611" y="3088298"/>
                </a:cubicBezTo>
                <a:cubicBezTo>
                  <a:pt x="3519076" y="3087766"/>
                  <a:pt x="3520407" y="3086835"/>
                  <a:pt x="3521339" y="3085902"/>
                </a:cubicBezTo>
                <a:cubicBezTo>
                  <a:pt x="3522404" y="3084838"/>
                  <a:pt x="3523335" y="3083373"/>
                  <a:pt x="3524002" y="3081776"/>
                </a:cubicBezTo>
                <a:cubicBezTo>
                  <a:pt x="3524667" y="3080178"/>
                  <a:pt x="3525067" y="3078315"/>
                  <a:pt x="3525067" y="3076318"/>
                </a:cubicBezTo>
                <a:cubicBezTo>
                  <a:pt x="3525067" y="3074454"/>
                  <a:pt x="3524667" y="3072724"/>
                  <a:pt x="3524002" y="3071126"/>
                </a:cubicBezTo>
                <a:cubicBezTo>
                  <a:pt x="3523335" y="3069396"/>
                  <a:pt x="3522404" y="3068065"/>
                  <a:pt x="3521339" y="3066867"/>
                </a:cubicBezTo>
                <a:cubicBezTo>
                  <a:pt x="3520273" y="3065802"/>
                  <a:pt x="3518942" y="3064870"/>
                  <a:pt x="3517346" y="3064204"/>
                </a:cubicBezTo>
                <a:cubicBezTo>
                  <a:pt x="3515882" y="3063539"/>
                  <a:pt x="3514283" y="3063272"/>
                  <a:pt x="3512286" y="3063272"/>
                </a:cubicBezTo>
                <a:close/>
                <a:moveTo>
                  <a:pt x="3294765" y="3063272"/>
                </a:moveTo>
                <a:cubicBezTo>
                  <a:pt x="3288908" y="3063272"/>
                  <a:pt x="3286377" y="3065269"/>
                  <a:pt x="3284780" y="3066867"/>
                </a:cubicBezTo>
                <a:cubicBezTo>
                  <a:pt x="3282250" y="3069529"/>
                  <a:pt x="3281186" y="3072325"/>
                  <a:pt x="3281186" y="3076318"/>
                </a:cubicBezTo>
                <a:cubicBezTo>
                  <a:pt x="3281186" y="3080445"/>
                  <a:pt x="3282250" y="3083240"/>
                  <a:pt x="3284780" y="3085769"/>
                </a:cubicBezTo>
                <a:cubicBezTo>
                  <a:pt x="3286377" y="3087368"/>
                  <a:pt x="3288908" y="3089230"/>
                  <a:pt x="3294765" y="3089230"/>
                </a:cubicBezTo>
                <a:cubicBezTo>
                  <a:pt x="3296762" y="3089230"/>
                  <a:pt x="3298493" y="3088964"/>
                  <a:pt x="3300091" y="3088298"/>
                </a:cubicBezTo>
                <a:cubicBezTo>
                  <a:pt x="3301555" y="3087766"/>
                  <a:pt x="3302887" y="3086835"/>
                  <a:pt x="3303818" y="3085902"/>
                </a:cubicBezTo>
                <a:cubicBezTo>
                  <a:pt x="3304883" y="3084838"/>
                  <a:pt x="3305815" y="3083373"/>
                  <a:pt x="3306481" y="3081776"/>
                </a:cubicBezTo>
                <a:cubicBezTo>
                  <a:pt x="3307146" y="3080178"/>
                  <a:pt x="3307545" y="3078315"/>
                  <a:pt x="3307545" y="3076318"/>
                </a:cubicBezTo>
                <a:cubicBezTo>
                  <a:pt x="3307545" y="3074454"/>
                  <a:pt x="3307146" y="3072724"/>
                  <a:pt x="3306481" y="3071126"/>
                </a:cubicBezTo>
                <a:cubicBezTo>
                  <a:pt x="3305815" y="3069396"/>
                  <a:pt x="3304883" y="3068065"/>
                  <a:pt x="3303818" y="3066867"/>
                </a:cubicBezTo>
                <a:cubicBezTo>
                  <a:pt x="3302753" y="3065802"/>
                  <a:pt x="3301421" y="3064870"/>
                  <a:pt x="3299825" y="3064204"/>
                </a:cubicBezTo>
                <a:cubicBezTo>
                  <a:pt x="3298361" y="3063539"/>
                  <a:pt x="3296762" y="3063272"/>
                  <a:pt x="3294765" y="3063272"/>
                </a:cubicBezTo>
                <a:close/>
                <a:moveTo>
                  <a:pt x="3077245" y="3063272"/>
                </a:moveTo>
                <a:cubicBezTo>
                  <a:pt x="3071387" y="3063272"/>
                  <a:pt x="3068858" y="3065269"/>
                  <a:pt x="3067262" y="3066867"/>
                </a:cubicBezTo>
                <a:cubicBezTo>
                  <a:pt x="3064597" y="3069529"/>
                  <a:pt x="3063532" y="3072325"/>
                  <a:pt x="3063532" y="3076318"/>
                </a:cubicBezTo>
                <a:cubicBezTo>
                  <a:pt x="3063532" y="3080445"/>
                  <a:pt x="3064597" y="3083240"/>
                  <a:pt x="3067127" y="3085769"/>
                </a:cubicBezTo>
                <a:cubicBezTo>
                  <a:pt x="3068725" y="3087368"/>
                  <a:pt x="3071254" y="3089230"/>
                  <a:pt x="3077111" y="3089230"/>
                </a:cubicBezTo>
                <a:cubicBezTo>
                  <a:pt x="3079109" y="3089230"/>
                  <a:pt x="3080839" y="3088964"/>
                  <a:pt x="3082569" y="3088298"/>
                </a:cubicBezTo>
                <a:cubicBezTo>
                  <a:pt x="3084035" y="3087766"/>
                  <a:pt x="3085366" y="3086835"/>
                  <a:pt x="3086297" y="3085902"/>
                </a:cubicBezTo>
                <a:cubicBezTo>
                  <a:pt x="3087362" y="3084838"/>
                  <a:pt x="3088294" y="3083373"/>
                  <a:pt x="3088959" y="3081776"/>
                </a:cubicBezTo>
                <a:cubicBezTo>
                  <a:pt x="3089624" y="3080178"/>
                  <a:pt x="3089892" y="3078315"/>
                  <a:pt x="3089892" y="3076318"/>
                </a:cubicBezTo>
                <a:cubicBezTo>
                  <a:pt x="3089892" y="3074454"/>
                  <a:pt x="3089624" y="3072724"/>
                  <a:pt x="3088959" y="3071126"/>
                </a:cubicBezTo>
                <a:cubicBezTo>
                  <a:pt x="3088294" y="3069396"/>
                  <a:pt x="3087362" y="3068065"/>
                  <a:pt x="3086297" y="3066867"/>
                </a:cubicBezTo>
                <a:cubicBezTo>
                  <a:pt x="3085233" y="3065802"/>
                  <a:pt x="3083901" y="3064870"/>
                  <a:pt x="3082304" y="3064204"/>
                </a:cubicBezTo>
                <a:cubicBezTo>
                  <a:pt x="3080839" y="3063539"/>
                  <a:pt x="3079241" y="3063272"/>
                  <a:pt x="3077245" y="3063272"/>
                </a:cubicBezTo>
                <a:close/>
                <a:moveTo>
                  <a:pt x="2859458" y="3063272"/>
                </a:moveTo>
                <a:cubicBezTo>
                  <a:pt x="2853600" y="3063272"/>
                  <a:pt x="2851071" y="3065269"/>
                  <a:pt x="2849472" y="3066867"/>
                </a:cubicBezTo>
                <a:cubicBezTo>
                  <a:pt x="2846940" y="3069529"/>
                  <a:pt x="2845877" y="3072325"/>
                  <a:pt x="2845877" y="3076318"/>
                </a:cubicBezTo>
                <a:cubicBezTo>
                  <a:pt x="2845877" y="3080445"/>
                  <a:pt x="2846940" y="3083240"/>
                  <a:pt x="2849472" y="3085769"/>
                </a:cubicBezTo>
                <a:cubicBezTo>
                  <a:pt x="2851071" y="3087368"/>
                  <a:pt x="2853600" y="3089230"/>
                  <a:pt x="2859458" y="3089230"/>
                </a:cubicBezTo>
                <a:cubicBezTo>
                  <a:pt x="2861454" y="3089230"/>
                  <a:pt x="2863319" y="3088964"/>
                  <a:pt x="2864783" y="3088298"/>
                </a:cubicBezTo>
                <a:cubicBezTo>
                  <a:pt x="2866381" y="3087766"/>
                  <a:pt x="2867579" y="3086835"/>
                  <a:pt x="2868510" y="3085902"/>
                </a:cubicBezTo>
                <a:cubicBezTo>
                  <a:pt x="2869575" y="3084838"/>
                  <a:pt x="2870507" y="3083373"/>
                  <a:pt x="2871173" y="3081776"/>
                </a:cubicBezTo>
                <a:cubicBezTo>
                  <a:pt x="2871705" y="3080178"/>
                  <a:pt x="2872104" y="3078315"/>
                  <a:pt x="2872104" y="3076318"/>
                </a:cubicBezTo>
                <a:cubicBezTo>
                  <a:pt x="2872104" y="3074454"/>
                  <a:pt x="2871838" y="3072724"/>
                  <a:pt x="2871173" y="3071126"/>
                </a:cubicBezTo>
                <a:cubicBezTo>
                  <a:pt x="2870507" y="3069396"/>
                  <a:pt x="2869575" y="3068065"/>
                  <a:pt x="2868510" y="3066867"/>
                </a:cubicBezTo>
                <a:cubicBezTo>
                  <a:pt x="2867446" y="3065802"/>
                  <a:pt x="2866114" y="3064870"/>
                  <a:pt x="2864517" y="3064204"/>
                </a:cubicBezTo>
                <a:cubicBezTo>
                  <a:pt x="2863053" y="3063539"/>
                  <a:pt x="2861454" y="3063272"/>
                  <a:pt x="2859458" y="3063272"/>
                </a:cubicBezTo>
                <a:close/>
                <a:moveTo>
                  <a:pt x="2641803" y="3063272"/>
                </a:moveTo>
                <a:cubicBezTo>
                  <a:pt x="2635946" y="3063272"/>
                  <a:pt x="2633417" y="3065269"/>
                  <a:pt x="2631821" y="3066867"/>
                </a:cubicBezTo>
                <a:cubicBezTo>
                  <a:pt x="2629290" y="3069529"/>
                  <a:pt x="2628226" y="3072325"/>
                  <a:pt x="2628226" y="3076318"/>
                </a:cubicBezTo>
                <a:cubicBezTo>
                  <a:pt x="2628226" y="3080445"/>
                  <a:pt x="2629290" y="3083240"/>
                  <a:pt x="2631821" y="3085769"/>
                </a:cubicBezTo>
                <a:cubicBezTo>
                  <a:pt x="2633417" y="3087368"/>
                  <a:pt x="2635946" y="3089230"/>
                  <a:pt x="2641803" y="3089230"/>
                </a:cubicBezTo>
                <a:cubicBezTo>
                  <a:pt x="2643800" y="3089230"/>
                  <a:pt x="2645665" y="3088964"/>
                  <a:pt x="2647129" y="3088298"/>
                </a:cubicBezTo>
                <a:cubicBezTo>
                  <a:pt x="2648726" y="3087766"/>
                  <a:pt x="2649924" y="3086835"/>
                  <a:pt x="2650856" y="3085902"/>
                </a:cubicBezTo>
                <a:cubicBezTo>
                  <a:pt x="2651921" y="3084838"/>
                  <a:pt x="2652853" y="3083373"/>
                  <a:pt x="2653519" y="3081776"/>
                </a:cubicBezTo>
                <a:cubicBezTo>
                  <a:pt x="2654051" y="3080178"/>
                  <a:pt x="2654450" y="3078315"/>
                  <a:pt x="2654450" y="3076318"/>
                </a:cubicBezTo>
                <a:cubicBezTo>
                  <a:pt x="2654450" y="3074454"/>
                  <a:pt x="2654184" y="3072724"/>
                  <a:pt x="2653519" y="3071126"/>
                </a:cubicBezTo>
                <a:cubicBezTo>
                  <a:pt x="2652853" y="3069396"/>
                  <a:pt x="2651921" y="3068065"/>
                  <a:pt x="2650856" y="3066867"/>
                </a:cubicBezTo>
                <a:cubicBezTo>
                  <a:pt x="2649791" y="3065802"/>
                  <a:pt x="2648460" y="3064870"/>
                  <a:pt x="2646863" y="3064204"/>
                </a:cubicBezTo>
                <a:cubicBezTo>
                  <a:pt x="2645398" y="3063539"/>
                  <a:pt x="2643800" y="3063272"/>
                  <a:pt x="2641803" y="3063272"/>
                </a:cubicBezTo>
                <a:close/>
                <a:moveTo>
                  <a:pt x="2424149" y="3063272"/>
                </a:moveTo>
                <a:cubicBezTo>
                  <a:pt x="2418293" y="3063272"/>
                  <a:pt x="2415764" y="3065269"/>
                  <a:pt x="2414166" y="3066867"/>
                </a:cubicBezTo>
                <a:cubicBezTo>
                  <a:pt x="2411636" y="3069529"/>
                  <a:pt x="2410572" y="3072325"/>
                  <a:pt x="2410572" y="3076318"/>
                </a:cubicBezTo>
                <a:cubicBezTo>
                  <a:pt x="2410572" y="3080445"/>
                  <a:pt x="2411636" y="3083240"/>
                  <a:pt x="2414166" y="3085769"/>
                </a:cubicBezTo>
                <a:cubicBezTo>
                  <a:pt x="2415764" y="3087368"/>
                  <a:pt x="2418293" y="3089230"/>
                  <a:pt x="2424149" y="3089230"/>
                </a:cubicBezTo>
                <a:cubicBezTo>
                  <a:pt x="2426280" y="3089230"/>
                  <a:pt x="2428011" y="3088964"/>
                  <a:pt x="2429475" y="3088298"/>
                </a:cubicBezTo>
                <a:cubicBezTo>
                  <a:pt x="2431073" y="3087766"/>
                  <a:pt x="2432271" y="3086835"/>
                  <a:pt x="2433202" y="3085902"/>
                </a:cubicBezTo>
                <a:cubicBezTo>
                  <a:pt x="2434267" y="3084838"/>
                  <a:pt x="2435199" y="3083373"/>
                  <a:pt x="2435865" y="3081776"/>
                </a:cubicBezTo>
                <a:cubicBezTo>
                  <a:pt x="2436397" y="3080178"/>
                  <a:pt x="2436796" y="3078315"/>
                  <a:pt x="2436796" y="3076318"/>
                </a:cubicBezTo>
                <a:cubicBezTo>
                  <a:pt x="2436796" y="3074454"/>
                  <a:pt x="2436530" y="3072724"/>
                  <a:pt x="2435865" y="3071126"/>
                </a:cubicBezTo>
                <a:cubicBezTo>
                  <a:pt x="2435199" y="3069396"/>
                  <a:pt x="2434267" y="3068065"/>
                  <a:pt x="2433202" y="3066867"/>
                </a:cubicBezTo>
                <a:cubicBezTo>
                  <a:pt x="2432138" y="3065802"/>
                  <a:pt x="2430806" y="3064870"/>
                  <a:pt x="2429209" y="3064204"/>
                </a:cubicBezTo>
                <a:cubicBezTo>
                  <a:pt x="2427745" y="3063539"/>
                  <a:pt x="2426147" y="3063272"/>
                  <a:pt x="2424149" y="3063272"/>
                </a:cubicBezTo>
                <a:close/>
                <a:moveTo>
                  <a:pt x="2206496" y="3063272"/>
                </a:moveTo>
                <a:cubicBezTo>
                  <a:pt x="2200639" y="3063272"/>
                  <a:pt x="2198110" y="3065269"/>
                  <a:pt x="2196512" y="3066867"/>
                </a:cubicBezTo>
                <a:cubicBezTo>
                  <a:pt x="2193982" y="3069529"/>
                  <a:pt x="2192918" y="3072325"/>
                  <a:pt x="2192918" y="3076318"/>
                </a:cubicBezTo>
                <a:cubicBezTo>
                  <a:pt x="2192918" y="3080445"/>
                  <a:pt x="2193982" y="3083240"/>
                  <a:pt x="2196512" y="3085769"/>
                </a:cubicBezTo>
                <a:cubicBezTo>
                  <a:pt x="2198110" y="3087368"/>
                  <a:pt x="2200639" y="3089230"/>
                  <a:pt x="2206496" y="3089230"/>
                </a:cubicBezTo>
                <a:cubicBezTo>
                  <a:pt x="2208625" y="3089230"/>
                  <a:pt x="2210357" y="3088964"/>
                  <a:pt x="2211821" y="3088298"/>
                </a:cubicBezTo>
                <a:cubicBezTo>
                  <a:pt x="2213418" y="3087766"/>
                  <a:pt x="2214616" y="3086835"/>
                  <a:pt x="2215548" y="3085902"/>
                </a:cubicBezTo>
                <a:cubicBezTo>
                  <a:pt x="2216613" y="3084838"/>
                  <a:pt x="2217545" y="3083373"/>
                  <a:pt x="2218211" y="3081776"/>
                </a:cubicBezTo>
                <a:cubicBezTo>
                  <a:pt x="2218743" y="3080178"/>
                  <a:pt x="2219142" y="3078315"/>
                  <a:pt x="2219142" y="3076318"/>
                </a:cubicBezTo>
                <a:cubicBezTo>
                  <a:pt x="2219142" y="3074454"/>
                  <a:pt x="2218876" y="3072724"/>
                  <a:pt x="2218211" y="3071126"/>
                </a:cubicBezTo>
                <a:cubicBezTo>
                  <a:pt x="2217545" y="3069396"/>
                  <a:pt x="2216613" y="3068065"/>
                  <a:pt x="2215548" y="3066867"/>
                </a:cubicBezTo>
                <a:cubicBezTo>
                  <a:pt x="2214483" y="3065802"/>
                  <a:pt x="2213152" y="3064870"/>
                  <a:pt x="2211555" y="3064204"/>
                </a:cubicBezTo>
                <a:cubicBezTo>
                  <a:pt x="2210090" y="3063539"/>
                  <a:pt x="2208493" y="3063272"/>
                  <a:pt x="2206496" y="3063272"/>
                </a:cubicBezTo>
                <a:close/>
                <a:moveTo>
                  <a:pt x="1988975" y="3063272"/>
                </a:moveTo>
                <a:cubicBezTo>
                  <a:pt x="1983117" y="3063272"/>
                  <a:pt x="1980588" y="3065269"/>
                  <a:pt x="1978992" y="3066867"/>
                </a:cubicBezTo>
                <a:cubicBezTo>
                  <a:pt x="1976461" y="3069529"/>
                  <a:pt x="1975397" y="3072325"/>
                  <a:pt x="1975397" y="3076318"/>
                </a:cubicBezTo>
                <a:cubicBezTo>
                  <a:pt x="1975397" y="3080445"/>
                  <a:pt x="1976461" y="3083240"/>
                  <a:pt x="1978992" y="3085769"/>
                </a:cubicBezTo>
                <a:cubicBezTo>
                  <a:pt x="1980588" y="3087368"/>
                  <a:pt x="1983117" y="3089230"/>
                  <a:pt x="1988975" y="3089230"/>
                </a:cubicBezTo>
                <a:cubicBezTo>
                  <a:pt x="1990971" y="3089230"/>
                  <a:pt x="1992703" y="3088964"/>
                  <a:pt x="1994299" y="3088298"/>
                </a:cubicBezTo>
                <a:cubicBezTo>
                  <a:pt x="1995897" y="3087766"/>
                  <a:pt x="1997096" y="3086835"/>
                  <a:pt x="1998027" y="3085902"/>
                </a:cubicBezTo>
                <a:cubicBezTo>
                  <a:pt x="1999092" y="3084838"/>
                  <a:pt x="2000024" y="3083373"/>
                  <a:pt x="2000690" y="3081776"/>
                </a:cubicBezTo>
                <a:cubicBezTo>
                  <a:pt x="2001222" y="3080178"/>
                  <a:pt x="2001620" y="3078315"/>
                  <a:pt x="2001620" y="3076318"/>
                </a:cubicBezTo>
                <a:cubicBezTo>
                  <a:pt x="2001620" y="3074454"/>
                  <a:pt x="2001355" y="3072724"/>
                  <a:pt x="2000690" y="3071126"/>
                </a:cubicBezTo>
                <a:cubicBezTo>
                  <a:pt x="2000024" y="3069396"/>
                  <a:pt x="1999092" y="3068065"/>
                  <a:pt x="1998027" y="3066867"/>
                </a:cubicBezTo>
                <a:cubicBezTo>
                  <a:pt x="1996963" y="3065802"/>
                  <a:pt x="1995631" y="3064870"/>
                  <a:pt x="1994033" y="3064204"/>
                </a:cubicBezTo>
                <a:cubicBezTo>
                  <a:pt x="1992569" y="3063539"/>
                  <a:pt x="1990971" y="3063272"/>
                  <a:pt x="1988975" y="3063272"/>
                </a:cubicBezTo>
                <a:close/>
                <a:moveTo>
                  <a:pt x="1771336" y="3063272"/>
                </a:moveTo>
                <a:cubicBezTo>
                  <a:pt x="1765479" y="3063272"/>
                  <a:pt x="1762950" y="3065269"/>
                  <a:pt x="1761353" y="3066867"/>
                </a:cubicBezTo>
                <a:cubicBezTo>
                  <a:pt x="1758824" y="3069529"/>
                  <a:pt x="1757759" y="3072325"/>
                  <a:pt x="1757759" y="3076318"/>
                </a:cubicBezTo>
                <a:cubicBezTo>
                  <a:pt x="1757759" y="3080445"/>
                  <a:pt x="1758824" y="3083240"/>
                  <a:pt x="1761353" y="3085769"/>
                </a:cubicBezTo>
                <a:cubicBezTo>
                  <a:pt x="1762950" y="3087368"/>
                  <a:pt x="1765479" y="3089230"/>
                  <a:pt x="1771336" y="3089230"/>
                </a:cubicBezTo>
                <a:cubicBezTo>
                  <a:pt x="1773333" y="3089230"/>
                  <a:pt x="1775197" y="3088964"/>
                  <a:pt x="1776661" y="3088298"/>
                </a:cubicBezTo>
                <a:cubicBezTo>
                  <a:pt x="1778125" y="3087766"/>
                  <a:pt x="1779455" y="3086835"/>
                  <a:pt x="1780388" y="3085902"/>
                </a:cubicBezTo>
                <a:cubicBezTo>
                  <a:pt x="1781452" y="3084838"/>
                  <a:pt x="1782384" y="3083373"/>
                  <a:pt x="1783050" y="3081776"/>
                </a:cubicBezTo>
                <a:cubicBezTo>
                  <a:pt x="1783715" y="3080178"/>
                  <a:pt x="1784115" y="3078315"/>
                  <a:pt x="1784115" y="3076318"/>
                </a:cubicBezTo>
                <a:cubicBezTo>
                  <a:pt x="1784115" y="3074454"/>
                  <a:pt x="1783715" y="3072724"/>
                  <a:pt x="1783050" y="3071126"/>
                </a:cubicBezTo>
                <a:cubicBezTo>
                  <a:pt x="1782384" y="3069396"/>
                  <a:pt x="1781452" y="3068065"/>
                  <a:pt x="1780388" y="3066867"/>
                </a:cubicBezTo>
                <a:cubicBezTo>
                  <a:pt x="1779323" y="3065802"/>
                  <a:pt x="1777992" y="3064870"/>
                  <a:pt x="1776395" y="3064204"/>
                </a:cubicBezTo>
                <a:cubicBezTo>
                  <a:pt x="1774930" y="3063539"/>
                  <a:pt x="1773333" y="3063272"/>
                  <a:pt x="1771336" y="3063272"/>
                </a:cubicBezTo>
                <a:close/>
                <a:moveTo>
                  <a:pt x="1553695" y="3063272"/>
                </a:moveTo>
                <a:cubicBezTo>
                  <a:pt x="1547838" y="3063272"/>
                  <a:pt x="1545309" y="3065269"/>
                  <a:pt x="1543712" y="3066867"/>
                </a:cubicBezTo>
                <a:cubicBezTo>
                  <a:pt x="1541182" y="3069529"/>
                  <a:pt x="1540118" y="3072325"/>
                  <a:pt x="1540118" y="3076318"/>
                </a:cubicBezTo>
                <a:cubicBezTo>
                  <a:pt x="1540118" y="3080445"/>
                  <a:pt x="1541182" y="3083240"/>
                  <a:pt x="1543712" y="3085769"/>
                </a:cubicBezTo>
                <a:cubicBezTo>
                  <a:pt x="1545309" y="3087368"/>
                  <a:pt x="1547838" y="3089230"/>
                  <a:pt x="1553695" y="3089230"/>
                </a:cubicBezTo>
                <a:cubicBezTo>
                  <a:pt x="1555692" y="3089230"/>
                  <a:pt x="1557556" y="3088964"/>
                  <a:pt x="1559020" y="3088298"/>
                </a:cubicBezTo>
                <a:cubicBezTo>
                  <a:pt x="1560484" y="3087766"/>
                  <a:pt x="1561816" y="3086835"/>
                  <a:pt x="1562747" y="3085902"/>
                </a:cubicBezTo>
                <a:cubicBezTo>
                  <a:pt x="1563812" y="3084838"/>
                  <a:pt x="1564744" y="3083373"/>
                  <a:pt x="1565410" y="3081776"/>
                </a:cubicBezTo>
                <a:cubicBezTo>
                  <a:pt x="1566075" y="3080178"/>
                  <a:pt x="1566475" y="3078315"/>
                  <a:pt x="1566475" y="3076318"/>
                </a:cubicBezTo>
                <a:cubicBezTo>
                  <a:pt x="1566475" y="3074454"/>
                  <a:pt x="1566075" y="3072724"/>
                  <a:pt x="1565410" y="3071126"/>
                </a:cubicBezTo>
                <a:cubicBezTo>
                  <a:pt x="1564744" y="3069396"/>
                  <a:pt x="1563812" y="3068065"/>
                  <a:pt x="1562747" y="3066867"/>
                </a:cubicBezTo>
                <a:cubicBezTo>
                  <a:pt x="1561682" y="3065802"/>
                  <a:pt x="1560351" y="3064870"/>
                  <a:pt x="1558754" y="3064204"/>
                </a:cubicBezTo>
                <a:cubicBezTo>
                  <a:pt x="1557290" y="3063539"/>
                  <a:pt x="1555692" y="3063272"/>
                  <a:pt x="1553695" y="3063272"/>
                </a:cubicBezTo>
                <a:close/>
                <a:moveTo>
                  <a:pt x="1336051" y="3063272"/>
                </a:moveTo>
                <a:cubicBezTo>
                  <a:pt x="1330193" y="3063272"/>
                  <a:pt x="1327664" y="3065269"/>
                  <a:pt x="1326068" y="3066867"/>
                </a:cubicBezTo>
                <a:cubicBezTo>
                  <a:pt x="1323537" y="3069529"/>
                  <a:pt x="1322473" y="3072325"/>
                  <a:pt x="1322473" y="3076318"/>
                </a:cubicBezTo>
                <a:cubicBezTo>
                  <a:pt x="1322473" y="3080445"/>
                  <a:pt x="1323537" y="3083240"/>
                  <a:pt x="1326068" y="3085769"/>
                </a:cubicBezTo>
                <a:cubicBezTo>
                  <a:pt x="1327664" y="3087368"/>
                  <a:pt x="1330193" y="3089230"/>
                  <a:pt x="1336051" y="3089230"/>
                </a:cubicBezTo>
                <a:cubicBezTo>
                  <a:pt x="1338181" y="3089230"/>
                  <a:pt x="1339911" y="3088964"/>
                  <a:pt x="1341377" y="3088298"/>
                </a:cubicBezTo>
                <a:cubicBezTo>
                  <a:pt x="1342841" y="3087766"/>
                  <a:pt x="1344172" y="3086835"/>
                  <a:pt x="1345104" y="3085902"/>
                </a:cubicBezTo>
                <a:cubicBezTo>
                  <a:pt x="1346168" y="3084838"/>
                  <a:pt x="1347102" y="3083373"/>
                  <a:pt x="1347767" y="3081776"/>
                </a:cubicBezTo>
                <a:cubicBezTo>
                  <a:pt x="1348432" y="3080178"/>
                  <a:pt x="1348833" y="3078315"/>
                  <a:pt x="1348833" y="3076318"/>
                </a:cubicBezTo>
                <a:cubicBezTo>
                  <a:pt x="1348833" y="3074454"/>
                  <a:pt x="1348432" y="3072724"/>
                  <a:pt x="1347767" y="3071126"/>
                </a:cubicBezTo>
                <a:cubicBezTo>
                  <a:pt x="1347102" y="3069396"/>
                  <a:pt x="1346168" y="3068065"/>
                  <a:pt x="1345104" y="3066867"/>
                </a:cubicBezTo>
                <a:cubicBezTo>
                  <a:pt x="1344039" y="3065802"/>
                  <a:pt x="1342709" y="3064870"/>
                  <a:pt x="1341110" y="3064204"/>
                </a:cubicBezTo>
                <a:cubicBezTo>
                  <a:pt x="1339646" y="3063539"/>
                  <a:pt x="1338047" y="3063272"/>
                  <a:pt x="1336051" y="3063272"/>
                </a:cubicBezTo>
                <a:close/>
                <a:moveTo>
                  <a:pt x="1118539" y="3063272"/>
                </a:moveTo>
                <a:cubicBezTo>
                  <a:pt x="1112681" y="3063272"/>
                  <a:pt x="1110152" y="3065269"/>
                  <a:pt x="1108554" y="3066867"/>
                </a:cubicBezTo>
                <a:cubicBezTo>
                  <a:pt x="1105892" y="3069529"/>
                  <a:pt x="1104827" y="3072325"/>
                  <a:pt x="1104827" y="3076318"/>
                </a:cubicBezTo>
                <a:cubicBezTo>
                  <a:pt x="1104827" y="3080445"/>
                  <a:pt x="1105892" y="3083240"/>
                  <a:pt x="1108422" y="3085769"/>
                </a:cubicBezTo>
                <a:cubicBezTo>
                  <a:pt x="1110019" y="3087368"/>
                  <a:pt x="1112548" y="3089230"/>
                  <a:pt x="1118406" y="3089230"/>
                </a:cubicBezTo>
                <a:cubicBezTo>
                  <a:pt x="1120536" y="3089230"/>
                  <a:pt x="1122268" y="3088964"/>
                  <a:pt x="1123863" y="3088298"/>
                </a:cubicBezTo>
                <a:cubicBezTo>
                  <a:pt x="1125328" y="3087766"/>
                  <a:pt x="1126662" y="3086835"/>
                  <a:pt x="1127592" y="3085902"/>
                </a:cubicBezTo>
                <a:cubicBezTo>
                  <a:pt x="1128657" y="3084838"/>
                  <a:pt x="1129589" y="3083373"/>
                  <a:pt x="1130255" y="3081776"/>
                </a:cubicBezTo>
                <a:cubicBezTo>
                  <a:pt x="1130920" y="3080178"/>
                  <a:pt x="1131321" y="3078315"/>
                  <a:pt x="1131321" y="3076318"/>
                </a:cubicBezTo>
                <a:cubicBezTo>
                  <a:pt x="1131321" y="3074454"/>
                  <a:pt x="1130920" y="3072724"/>
                  <a:pt x="1130255" y="3071126"/>
                </a:cubicBezTo>
                <a:cubicBezTo>
                  <a:pt x="1129589" y="3069396"/>
                  <a:pt x="1128657" y="3068065"/>
                  <a:pt x="1127592" y="3066867"/>
                </a:cubicBezTo>
                <a:cubicBezTo>
                  <a:pt x="1126527" y="3065802"/>
                  <a:pt x="1125196" y="3064870"/>
                  <a:pt x="1123597" y="3064204"/>
                </a:cubicBezTo>
                <a:cubicBezTo>
                  <a:pt x="1122134" y="3063539"/>
                  <a:pt x="1120536" y="3063272"/>
                  <a:pt x="1118539" y="3063272"/>
                </a:cubicBezTo>
                <a:close/>
                <a:moveTo>
                  <a:pt x="901027" y="3063272"/>
                </a:moveTo>
                <a:cubicBezTo>
                  <a:pt x="895169" y="3063272"/>
                  <a:pt x="892640" y="3065269"/>
                  <a:pt x="891043" y="3066867"/>
                </a:cubicBezTo>
                <a:cubicBezTo>
                  <a:pt x="888380" y="3069529"/>
                  <a:pt x="887316" y="3072325"/>
                  <a:pt x="887316" y="3076318"/>
                </a:cubicBezTo>
                <a:cubicBezTo>
                  <a:pt x="887316" y="3080445"/>
                  <a:pt x="888380" y="3083240"/>
                  <a:pt x="890910" y="3085769"/>
                </a:cubicBezTo>
                <a:cubicBezTo>
                  <a:pt x="892507" y="3087368"/>
                  <a:pt x="895036" y="3089230"/>
                  <a:pt x="900893" y="3089230"/>
                </a:cubicBezTo>
                <a:cubicBezTo>
                  <a:pt x="902890" y="3089230"/>
                  <a:pt x="904621" y="3088964"/>
                  <a:pt x="906351" y="3088298"/>
                </a:cubicBezTo>
                <a:cubicBezTo>
                  <a:pt x="907816" y="3087766"/>
                  <a:pt x="909147" y="3086835"/>
                  <a:pt x="910080" y="3085902"/>
                </a:cubicBezTo>
                <a:cubicBezTo>
                  <a:pt x="911143" y="3084838"/>
                  <a:pt x="912076" y="3083373"/>
                  <a:pt x="912741" y="3081776"/>
                </a:cubicBezTo>
                <a:cubicBezTo>
                  <a:pt x="913406" y="3080178"/>
                  <a:pt x="913807" y="3078315"/>
                  <a:pt x="913807" y="3076318"/>
                </a:cubicBezTo>
                <a:cubicBezTo>
                  <a:pt x="913807" y="3074454"/>
                  <a:pt x="913406" y="3072724"/>
                  <a:pt x="912741" y="3071126"/>
                </a:cubicBezTo>
                <a:cubicBezTo>
                  <a:pt x="912076" y="3069396"/>
                  <a:pt x="911143" y="3068065"/>
                  <a:pt x="910080" y="3066867"/>
                </a:cubicBezTo>
                <a:cubicBezTo>
                  <a:pt x="909014" y="3065802"/>
                  <a:pt x="907683" y="3064870"/>
                  <a:pt x="906085" y="3064204"/>
                </a:cubicBezTo>
                <a:cubicBezTo>
                  <a:pt x="904621" y="3063539"/>
                  <a:pt x="903023" y="3063272"/>
                  <a:pt x="901027" y="3063272"/>
                </a:cubicBezTo>
                <a:close/>
                <a:moveTo>
                  <a:pt x="683251" y="3063272"/>
                </a:moveTo>
                <a:cubicBezTo>
                  <a:pt x="677394" y="3063272"/>
                  <a:pt x="674865" y="3065269"/>
                  <a:pt x="673268" y="3066867"/>
                </a:cubicBezTo>
                <a:cubicBezTo>
                  <a:pt x="670738" y="3069529"/>
                  <a:pt x="669674" y="3072325"/>
                  <a:pt x="669674" y="3076318"/>
                </a:cubicBezTo>
                <a:cubicBezTo>
                  <a:pt x="669674" y="3080445"/>
                  <a:pt x="670738" y="3083240"/>
                  <a:pt x="673268" y="3085769"/>
                </a:cubicBezTo>
                <a:cubicBezTo>
                  <a:pt x="674865" y="3087368"/>
                  <a:pt x="677394" y="3089230"/>
                  <a:pt x="683251" y="3089230"/>
                </a:cubicBezTo>
                <a:cubicBezTo>
                  <a:pt x="685248" y="3089230"/>
                  <a:pt x="687112" y="3088964"/>
                  <a:pt x="688576" y="3088298"/>
                </a:cubicBezTo>
                <a:cubicBezTo>
                  <a:pt x="690040" y="3087766"/>
                  <a:pt x="691372" y="3086835"/>
                  <a:pt x="692303" y="3085902"/>
                </a:cubicBezTo>
                <a:cubicBezTo>
                  <a:pt x="693368" y="3084838"/>
                  <a:pt x="694300" y="3083373"/>
                  <a:pt x="694966" y="3081776"/>
                </a:cubicBezTo>
                <a:cubicBezTo>
                  <a:pt x="695631" y="3080178"/>
                  <a:pt x="696031" y="3078315"/>
                  <a:pt x="696031" y="3076318"/>
                </a:cubicBezTo>
                <a:cubicBezTo>
                  <a:pt x="696031" y="3074454"/>
                  <a:pt x="695631" y="3072724"/>
                  <a:pt x="694966" y="3071126"/>
                </a:cubicBezTo>
                <a:cubicBezTo>
                  <a:pt x="694300" y="3069396"/>
                  <a:pt x="693368" y="3068065"/>
                  <a:pt x="692303" y="3066867"/>
                </a:cubicBezTo>
                <a:cubicBezTo>
                  <a:pt x="691238" y="3065802"/>
                  <a:pt x="689907" y="3064870"/>
                  <a:pt x="688310" y="3064204"/>
                </a:cubicBezTo>
                <a:cubicBezTo>
                  <a:pt x="686846" y="3063539"/>
                  <a:pt x="685248" y="3063272"/>
                  <a:pt x="683251" y="3063272"/>
                </a:cubicBezTo>
                <a:close/>
                <a:moveTo>
                  <a:pt x="465608" y="3063272"/>
                </a:moveTo>
                <a:cubicBezTo>
                  <a:pt x="459751" y="3063272"/>
                  <a:pt x="457222" y="3065269"/>
                  <a:pt x="455625" y="3066867"/>
                </a:cubicBezTo>
                <a:cubicBezTo>
                  <a:pt x="453095" y="3069529"/>
                  <a:pt x="452031" y="3072325"/>
                  <a:pt x="452031" y="3076318"/>
                </a:cubicBezTo>
                <a:cubicBezTo>
                  <a:pt x="452031" y="3080445"/>
                  <a:pt x="453095" y="3083240"/>
                  <a:pt x="455625" y="3085769"/>
                </a:cubicBezTo>
                <a:cubicBezTo>
                  <a:pt x="457222" y="3087368"/>
                  <a:pt x="459751" y="3089230"/>
                  <a:pt x="465608" y="3089230"/>
                </a:cubicBezTo>
                <a:cubicBezTo>
                  <a:pt x="467605" y="3089230"/>
                  <a:pt x="469469" y="3088964"/>
                  <a:pt x="470933" y="3088298"/>
                </a:cubicBezTo>
                <a:cubicBezTo>
                  <a:pt x="472397" y="3087766"/>
                  <a:pt x="473729" y="3086835"/>
                  <a:pt x="474660" y="3085902"/>
                </a:cubicBezTo>
                <a:cubicBezTo>
                  <a:pt x="475725" y="3084838"/>
                  <a:pt x="476657" y="3083373"/>
                  <a:pt x="477324" y="3081776"/>
                </a:cubicBezTo>
                <a:cubicBezTo>
                  <a:pt x="477989" y="3080178"/>
                  <a:pt x="478388" y="3078315"/>
                  <a:pt x="478388" y="3076318"/>
                </a:cubicBezTo>
                <a:cubicBezTo>
                  <a:pt x="478388" y="3074454"/>
                  <a:pt x="477989" y="3072724"/>
                  <a:pt x="477324" y="3071126"/>
                </a:cubicBezTo>
                <a:cubicBezTo>
                  <a:pt x="476657" y="3069396"/>
                  <a:pt x="475725" y="3068065"/>
                  <a:pt x="474660" y="3066867"/>
                </a:cubicBezTo>
                <a:cubicBezTo>
                  <a:pt x="473596" y="3065802"/>
                  <a:pt x="472264" y="3064870"/>
                  <a:pt x="470668" y="3064204"/>
                </a:cubicBezTo>
                <a:cubicBezTo>
                  <a:pt x="469203" y="3063539"/>
                  <a:pt x="467605" y="3063272"/>
                  <a:pt x="465608" y="3063272"/>
                </a:cubicBezTo>
                <a:close/>
                <a:moveTo>
                  <a:pt x="247965" y="3063272"/>
                </a:moveTo>
                <a:cubicBezTo>
                  <a:pt x="242108" y="3063272"/>
                  <a:pt x="239579" y="3065269"/>
                  <a:pt x="237983" y="3066867"/>
                </a:cubicBezTo>
                <a:cubicBezTo>
                  <a:pt x="235453" y="3069529"/>
                  <a:pt x="234389" y="3072325"/>
                  <a:pt x="234389" y="3076318"/>
                </a:cubicBezTo>
                <a:cubicBezTo>
                  <a:pt x="234389" y="3080445"/>
                  <a:pt x="235453" y="3083240"/>
                  <a:pt x="237983" y="3085769"/>
                </a:cubicBezTo>
                <a:cubicBezTo>
                  <a:pt x="239579" y="3087368"/>
                  <a:pt x="242108" y="3089230"/>
                  <a:pt x="247965" y="3089230"/>
                </a:cubicBezTo>
                <a:cubicBezTo>
                  <a:pt x="250095" y="3089230"/>
                  <a:pt x="251826" y="3088964"/>
                  <a:pt x="253290" y="3088298"/>
                </a:cubicBezTo>
                <a:cubicBezTo>
                  <a:pt x="254754" y="3087766"/>
                  <a:pt x="256085" y="3086835"/>
                  <a:pt x="257017" y="3085902"/>
                </a:cubicBezTo>
                <a:cubicBezTo>
                  <a:pt x="258082" y="3084838"/>
                  <a:pt x="259014" y="3083373"/>
                  <a:pt x="259680" y="3081776"/>
                </a:cubicBezTo>
                <a:cubicBezTo>
                  <a:pt x="260345" y="3080178"/>
                  <a:pt x="260745" y="3078315"/>
                  <a:pt x="260745" y="3076318"/>
                </a:cubicBezTo>
                <a:cubicBezTo>
                  <a:pt x="260745" y="3074454"/>
                  <a:pt x="260345" y="3072724"/>
                  <a:pt x="259680" y="3071126"/>
                </a:cubicBezTo>
                <a:cubicBezTo>
                  <a:pt x="259014" y="3069396"/>
                  <a:pt x="258082" y="3068065"/>
                  <a:pt x="257017" y="3066867"/>
                </a:cubicBezTo>
                <a:cubicBezTo>
                  <a:pt x="255952" y="3065802"/>
                  <a:pt x="254621" y="3064870"/>
                  <a:pt x="253024" y="3064204"/>
                </a:cubicBezTo>
                <a:cubicBezTo>
                  <a:pt x="251559" y="3063539"/>
                  <a:pt x="249962" y="3063272"/>
                  <a:pt x="247965" y="3063272"/>
                </a:cubicBezTo>
                <a:close/>
                <a:moveTo>
                  <a:pt x="30322" y="3063272"/>
                </a:moveTo>
                <a:cubicBezTo>
                  <a:pt x="24465" y="3063272"/>
                  <a:pt x="21936" y="3065269"/>
                  <a:pt x="20339" y="3066867"/>
                </a:cubicBezTo>
                <a:cubicBezTo>
                  <a:pt x="17809" y="3069529"/>
                  <a:pt x="16745" y="3072325"/>
                  <a:pt x="16745" y="3076318"/>
                </a:cubicBezTo>
                <a:cubicBezTo>
                  <a:pt x="16745" y="3080445"/>
                  <a:pt x="17809" y="3083240"/>
                  <a:pt x="20339" y="3085769"/>
                </a:cubicBezTo>
                <a:cubicBezTo>
                  <a:pt x="21936" y="3087368"/>
                  <a:pt x="24465" y="3089230"/>
                  <a:pt x="30322" y="3089230"/>
                </a:cubicBezTo>
                <a:cubicBezTo>
                  <a:pt x="32452" y="3089230"/>
                  <a:pt x="34183" y="3088964"/>
                  <a:pt x="35647" y="3088298"/>
                </a:cubicBezTo>
                <a:cubicBezTo>
                  <a:pt x="37111" y="3087766"/>
                  <a:pt x="38443" y="3086835"/>
                  <a:pt x="39374" y="3085902"/>
                </a:cubicBezTo>
                <a:cubicBezTo>
                  <a:pt x="40440" y="3084838"/>
                  <a:pt x="41371" y="3083373"/>
                  <a:pt x="42038" y="3081776"/>
                </a:cubicBezTo>
                <a:cubicBezTo>
                  <a:pt x="42703" y="3080178"/>
                  <a:pt x="42969" y="3078315"/>
                  <a:pt x="42969" y="3076318"/>
                </a:cubicBezTo>
                <a:cubicBezTo>
                  <a:pt x="42969" y="3074454"/>
                  <a:pt x="42703" y="3072724"/>
                  <a:pt x="42038" y="3071126"/>
                </a:cubicBezTo>
                <a:cubicBezTo>
                  <a:pt x="41371" y="3069396"/>
                  <a:pt x="40440" y="3068065"/>
                  <a:pt x="39374" y="3066867"/>
                </a:cubicBezTo>
                <a:cubicBezTo>
                  <a:pt x="38309" y="3065802"/>
                  <a:pt x="36979" y="3064870"/>
                  <a:pt x="35381" y="3064204"/>
                </a:cubicBezTo>
                <a:cubicBezTo>
                  <a:pt x="33917" y="3063539"/>
                  <a:pt x="32319" y="3063272"/>
                  <a:pt x="30322" y="3063272"/>
                </a:cubicBezTo>
                <a:close/>
                <a:moveTo>
                  <a:pt x="10475977" y="3046633"/>
                </a:moveTo>
                <a:cubicBezTo>
                  <a:pt x="10480237" y="3046633"/>
                  <a:pt x="10484230" y="3047431"/>
                  <a:pt x="10487824" y="3049161"/>
                </a:cubicBezTo>
                <a:cubicBezTo>
                  <a:pt x="10491419" y="3050760"/>
                  <a:pt x="10494613" y="3052889"/>
                  <a:pt x="10497143" y="3055552"/>
                </a:cubicBezTo>
                <a:cubicBezTo>
                  <a:pt x="10499672" y="3058213"/>
                  <a:pt x="10501801" y="3061408"/>
                  <a:pt x="10503266" y="3065002"/>
                </a:cubicBezTo>
                <a:cubicBezTo>
                  <a:pt x="10504730" y="3068597"/>
                  <a:pt x="10505529" y="3072325"/>
                  <a:pt x="10505529" y="3076451"/>
                </a:cubicBezTo>
                <a:cubicBezTo>
                  <a:pt x="10505529" y="3080578"/>
                  <a:pt x="10504730" y="3084572"/>
                  <a:pt x="10503266" y="3088165"/>
                </a:cubicBezTo>
                <a:cubicBezTo>
                  <a:pt x="10501669" y="3091759"/>
                  <a:pt x="10499672" y="3094821"/>
                  <a:pt x="10497143" y="3097485"/>
                </a:cubicBezTo>
                <a:cubicBezTo>
                  <a:pt x="10494480" y="3100146"/>
                  <a:pt x="10491419" y="3102277"/>
                  <a:pt x="10487824" y="3103740"/>
                </a:cubicBezTo>
                <a:cubicBezTo>
                  <a:pt x="10484098" y="3105204"/>
                  <a:pt x="10480237" y="3106003"/>
                  <a:pt x="10475977" y="3106003"/>
                </a:cubicBezTo>
                <a:cubicBezTo>
                  <a:pt x="10466924" y="3106003"/>
                  <a:pt x="10459736" y="3103074"/>
                  <a:pt x="10454145" y="3097485"/>
                </a:cubicBezTo>
                <a:cubicBezTo>
                  <a:pt x="10448554" y="3091894"/>
                  <a:pt x="10445759" y="3084838"/>
                  <a:pt x="10445759" y="3076318"/>
                </a:cubicBezTo>
                <a:cubicBezTo>
                  <a:pt x="10445759" y="3068065"/>
                  <a:pt x="10448554" y="3061009"/>
                  <a:pt x="10454145" y="3055286"/>
                </a:cubicBezTo>
                <a:cubicBezTo>
                  <a:pt x="10459603" y="3049561"/>
                  <a:pt x="10466924" y="3046633"/>
                  <a:pt x="10475977" y="3046633"/>
                </a:cubicBezTo>
                <a:close/>
                <a:moveTo>
                  <a:pt x="10258466" y="3046633"/>
                </a:moveTo>
                <a:cubicBezTo>
                  <a:pt x="10262592" y="3046633"/>
                  <a:pt x="10266586" y="3047431"/>
                  <a:pt x="10270313" y="3049161"/>
                </a:cubicBezTo>
                <a:cubicBezTo>
                  <a:pt x="10273907" y="3050760"/>
                  <a:pt x="10277101" y="3052889"/>
                  <a:pt x="10279631" y="3055552"/>
                </a:cubicBezTo>
                <a:cubicBezTo>
                  <a:pt x="10282160" y="3058213"/>
                  <a:pt x="10284290" y="3061408"/>
                  <a:pt x="10285754" y="3065002"/>
                </a:cubicBezTo>
                <a:cubicBezTo>
                  <a:pt x="10287218" y="3068597"/>
                  <a:pt x="10288017" y="3072325"/>
                  <a:pt x="10288017" y="3076451"/>
                </a:cubicBezTo>
                <a:cubicBezTo>
                  <a:pt x="10288017" y="3080578"/>
                  <a:pt x="10287218" y="3084572"/>
                  <a:pt x="10285754" y="3088165"/>
                </a:cubicBezTo>
                <a:cubicBezTo>
                  <a:pt x="10284157" y="3091759"/>
                  <a:pt x="10282160" y="3094821"/>
                  <a:pt x="10279631" y="3097485"/>
                </a:cubicBezTo>
                <a:cubicBezTo>
                  <a:pt x="10276969" y="3100146"/>
                  <a:pt x="10273907" y="3102277"/>
                  <a:pt x="10270313" y="3103740"/>
                </a:cubicBezTo>
                <a:cubicBezTo>
                  <a:pt x="10266586" y="3105204"/>
                  <a:pt x="10262725" y="3106003"/>
                  <a:pt x="10258466" y="3106003"/>
                </a:cubicBezTo>
                <a:cubicBezTo>
                  <a:pt x="10249546" y="3106003"/>
                  <a:pt x="10242224" y="3103074"/>
                  <a:pt x="10236633" y="3097485"/>
                </a:cubicBezTo>
                <a:cubicBezTo>
                  <a:pt x="10231043" y="3091894"/>
                  <a:pt x="10228247" y="3084838"/>
                  <a:pt x="10228247" y="3076318"/>
                </a:cubicBezTo>
                <a:cubicBezTo>
                  <a:pt x="10228247" y="3068065"/>
                  <a:pt x="10231043" y="3061009"/>
                  <a:pt x="10236633" y="3055286"/>
                </a:cubicBezTo>
                <a:cubicBezTo>
                  <a:pt x="10242092" y="3049561"/>
                  <a:pt x="10249413" y="3046633"/>
                  <a:pt x="10258466" y="3046633"/>
                </a:cubicBezTo>
                <a:close/>
                <a:moveTo>
                  <a:pt x="10040820" y="3046633"/>
                </a:moveTo>
                <a:cubicBezTo>
                  <a:pt x="10045080" y="3046633"/>
                  <a:pt x="10048941" y="3047431"/>
                  <a:pt x="10052534" y="3049161"/>
                </a:cubicBezTo>
                <a:cubicBezTo>
                  <a:pt x="10056129" y="3050760"/>
                  <a:pt x="10059323" y="3052889"/>
                  <a:pt x="10061852" y="3055552"/>
                </a:cubicBezTo>
                <a:cubicBezTo>
                  <a:pt x="10064382" y="3058213"/>
                  <a:pt x="10066512" y="3061408"/>
                  <a:pt x="10067976" y="3065002"/>
                </a:cubicBezTo>
                <a:cubicBezTo>
                  <a:pt x="10069440" y="3068597"/>
                  <a:pt x="10070239" y="3072325"/>
                  <a:pt x="10070239" y="3076451"/>
                </a:cubicBezTo>
                <a:cubicBezTo>
                  <a:pt x="10070239" y="3080578"/>
                  <a:pt x="10069440" y="3084572"/>
                  <a:pt x="10067976" y="3088165"/>
                </a:cubicBezTo>
                <a:cubicBezTo>
                  <a:pt x="10066379" y="3091759"/>
                  <a:pt x="10064382" y="3094821"/>
                  <a:pt x="10061852" y="3097485"/>
                </a:cubicBezTo>
                <a:cubicBezTo>
                  <a:pt x="10059190" y="3100146"/>
                  <a:pt x="10056129" y="3102277"/>
                  <a:pt x="10052534" y="3103740"/>
                </a:cubicBezTo>
                <a:cubicBezTo>
                  <a:pt x="10048941" y="3105204"/>
                  <a:pt x="10045080" y="3106003"/>
                  <a:pt x="10040820" y="3106003"/>
                </a:cubicBezTo>
                <a:cubicBezTo>
                  <a:pt x="10031767" y="3106003"/>
                  <a:pt x="10024579" y="3103074"/>
                  <a:pt x="10018988" y="3097485"/>
                </a:cubicBezTo>
                <a:cubicBezTo>
                  <a:pt x="10013397" y="3091894"/>
                  <a:pt x="10010602" y="3084838"/>
                  <a:pt x="10010602" y="3076318"/>
                </a:cubicBezTo>
                <a:cubicBezTo>
                  <a:pt x="10010602" y="3068065"/>
                  <a:pt x="10013397" y="3061009"/>
                  <a:pt x="10018988" y="3055286"/>
                </a:cubicBezTo>
                <a:cubicBezTo>
                  <a:pt x="10024579" y="3049561"/>
                  <a:pt x="10031767" y="3046633"/>
                  <a:pt x="10040820" y="3046633"/>
                </a:cubicBezTo>
                <a:close/>
                <a:moveTo>
                  <a:pt x="9823176" y="3046633"/>
                </a:moveTo>
                <a:cubicBezTo>
                  <a:pt x="9827435" y="3046633"/>
                  <a:pt x="9831296" y="3047431"/>
                  <a:pt x="9834890" y="3049161"/>
                </a:cubicBezTo>
                <a:cubicBezTo>
                  <a:pt x="9838617" y="3050760"/>
                  <a:pt x="9841679" y="3052889"/>
                  <a:pt x="9844208" y="3055552"/>
                </a:cubicBezTo>
                <a:cubicBezTo>
                  <a:pt x="9846737" y="3058213"/>
                  <a:pt x="9848867" y="3061408"/>
                  <a:pt x="9850331" y="3065002"/>
                </a:cubicBezTo>
                <a:cubicBezTo>
                  <a:pt x="9851796" y="3068597"/>
                  <a:pt x="9852595" y="3072325"/>
                  <a:pt x="9852595" y="3076451"/>
                </a:cubicBezTo>
                <a:cubicBezTo>
                  <a:pt x="9852595" y="3080578"/>
                  <a:pt x="9851796" y="3084572"/>
                  <a:pt x="9850331" y="3088165"/>
                </a:cubicBezTo>
                <a:cubicBezTo>
                  <a:pt x="9848734" y="3091759"/>
                  <a:pt x="9846737" y="3094821"/>
                  <a:pt x="9844208" y="3097485"/>
                </a:cubicBezTo>
                <a:cubicBezTo>
                  <a:pt x="9841546" y="3100146"/>
                  <a:pt x="9838484" y="3102277"/>
                  <a:pt x="9834890" y="3103740"/>
                </a:cubicBezTo>
                <a:cubicBezTo>
                  <a:pt x="9831296" y="3105204"/>
                  <a:pt x="9827435" y="3106003"/>
                  <a:pt x="9823176" y="3106003"/>
                </a:cubicBezTo>
                <a:cubicBezTo>
                  <a:pt x="9814123" y="3106003"/>
                  <a:pt x="9806935" y="3103074"/>
                  <a:pt x="9801343" y="3097485"/>
                </a:cubicBezTo>
                <a:cubicBezTo>
                  <a:pt x="9795753" y="3091894"/>
                  <a:pt x="9792957" y="3084838"/>
                  <a:pt x="9792957" y="3076318"/>
                </a:cubicBezTo>
                <a:cubicBezTo>
                  <a:pt x="9792957" y="3068065"/>
                  <a:pt x="9795753" y="3061009"/>
                  <a:pt x="9801343" y="3055286"/>
                </a:cubicBezTo>
                <a:cubicBezTo>
                  <a:pt x="9806935" y="3049561"/>
                  <a:pt x="9814123" y="3046633"/>
                  <a:pt x="9823176" y="3046633"/>
                </a:cubicBezTo>
                <a:close/>
                <a:moveTo>
                  <a:pt x="9605531" y="3046633"/>
                </a:moveTo>
                <a:cubicBezTo>
                  <a:pt x="9609790" y="3046633"/>
                  <a:pt x="9613784" y="3047431"/>
                  <a:pt x="9617245" y="3049161"/>
                </a:cubicBezTo>
                <a:cubicBezTo>
                  <a:pt x="9620839" y="3050760"/>
                  <a:pt x="9624033" y="3052889"/>
                  <a:pt x="9626562" y="3055552"/>
                </a:cubicBezTo>
                <a:cubicBezTo>
                  <a:pt x="9629092" y="3058213"/>
                  <a:pt x="9631222" y="3061408"/>
                  <a:pt x="9632686" y="3065002"/>
                </a:cubicBezTo>
                <a:cubicBezTo>
                  <a:pt x="9634150" y="3068597"/>
                  <a:pt x="9634949" y="3072325"/>
                  <a:pt x="9634949" y="3076451"/>
                </a:cubicBezTo>
                <a:cubicBezTo>
                  <a:pt x="9634949" y="3080578"/>
                  <a:pt x="9634150" y="3084572"/>
                  <a:pt x="9632686" y="3088165"/>
                </a:cubicBezTo>
                <a:cubicBezTo>
                  <a:pt x="9631089" y="3091759"/>
                  <a:pt x="9629092" y="3094821"/>
                  <a:pt x="9626562" y="3097485"/>
                </a:cubicBezTo>
                <a:cubicBezTo>
                  <a:pt x="9623901" y="3100146"/>
                  <a:pt x="9620839" y="3102277"/>
                  <a:pt x="9617245" y="3103740"/>
                </a:cubicBezTo>
                <a:cubicBezTo>
                  <a:pt x="9613651" y="3105204"/>
                  <a:pt x="9609790" y="3106003"/>
                  <a:pt x="9605531" y="3106003"/>
                </a:cubicBezTo>
                <a:cubicBezTo>
                  <a:pt x="9596610" y="3106003"/>
                  <a:pt x="9589289" y="3103074"/>
                  <a:pt x="9583698" y="3097485"/>
                </a:cubicBezTo>
                <a:cubicBezTo>
                  <a:pt x="9578108" y="3091894"/>
                  <a:pt x="9575312" y="3084838"/>
                  <a:pt x="9575312" y="3076318"/>
                </a:cubicBezTo>
                <a:cubicBezTo>
                  <a:pt x="9575312" y="3068065"/>
                  <a:pt x="9578108" y="3061009"/>
                  <a:pt x="9583698" y="3055286"/>
                </a:cubicBezTo>
                <a:cubicBezTo>
                  <a:pt x="9589289" y="3049561"/>
                  <a:pt x="9596478" y="3046633"/>
                  <a:pt x="9605531" y="3046633"/>
                </a:cubicBezTo>
                <a:close/>
                <a:moveTo>
                  <a:pt x="9387885" y="3046633"/>
                </a:moveTo>
                <a:cubicBezTo>
                  <a:pt x="9392145" y="3046633"/>
                  <a:pt x="9396138" y="3047431"/>
                  <a:pt x="9399599" y="3049161"/>
                </a:cubicBezTo>
                <a:cubicBezTo>
                  <a:pt x="9403194" y="3050760"/>
                  <a:pt x="9406388" y="3052889"/>
                  <a:pt x="9408917" y="3055552"/>
                </a:cubicBezTo>
                <a:cubicBezTo>
                  <a:pt x="9411447" y="3058213"/>
                  <a:pt x="9413576" y="3061408"/>
                  <a:pt x="9415041" y="3065002"/>
                </a:cubicBezTo>
                <a:cubicBezTo>
                  <a:pt x="9416505" y="3068597"/>
                  <a:pt x="9417304" y="3072325"/>
                  <a:pt x="9417304" y="3076451"/>
                </a:cubicBezTo>
                <a:cubicBezTo>
                  <a:pt x="9417304" y="3080578"/>
                  <a:pt x="9416505" y="3084572"/>
                  <a:pt x="9415041" y="3088165"/>
                </a:cubicBezTo>
                <a:cubicBezTo>
                  <a:pt x="9413444" y="3091759"/>
                  <a:pt x="9411447" y="3094821"/>
                  <a:pt x="9408917" y="3097485"/>
                </a:cubicBezTo>
                <a:cubicBezTo>
                  <a:pt x="9406255" y="3100146"/>
                  <a:pt x="9403194" y="3102277"/>
                  <a:pt x="9399599" y="3103740"/>
                </a:cubicBezTo>
                <a:cubicBezTo>
                  <a:pt x="9396005" y="3105204"/>
                  <a:pt x="9392145" y="3106003"/>
                  <a:pt x="9387885" y="3106003"/>
                </a:cubicBezTo>
                <a:cubicBezTo>
                  <a:pt x="9378965" y="3106003"/>
                  <a:pt x="9371644" y="3103074"/>
                  <a:pt x="9366053" y="3097485"/>
                </a:cubicBezTo>
                <a:cubicBezTo>
                  <a:pt x="9360462" y="3091894"/>
                  <a:pt x="9357667" y="3084838"/>
                  <a:pt x="9357667" y="3076318"/>
                </a:cubicBezTo>
                <a:cubicBezTo>
                  <a:pt x="9357667" y="3068065"/>
                  <a:pt x="9360462" y="3061009"/>
                  <a:pt x="9366053" y="3055286"/>
                </a:cubicBezTo>
                <a:cubicBezTo>
                  <a:pt x="9371644" y="3049561"/>
                  <a:pt x="9378832" y="3046633"/>
                  <a:pt x="9387885" y="3046633"/>
                </a:cubicBezTo>
                <a:close/>
                <a:moveTo>
                  <a:pt x="9170374" y="3046633"/>
                </a:moveTo>
                <a:cubicBezTo>
                  <a:pt x="9174500" y="3046633"/>
                  <a:pt x="9178494" y="3047431"/>
                  <a:pt x="9182088" y="3049161"/>
                </a:cubicBezTo>
                <a:cubicBezTo>
                  <a:pt x="9185682" y="3050760"/>
                  <a:pt x="9188876" y="3052889"/>
                  <a:pt x="9191405" y="3055552"/>
                </a:cubicBezTo>
                <a:cubicBezTo>
                  <a:pt x="9193935" y="3058213"/>
                  <a:pt x="9196065" y="3061408"/>
                  <a:pt x="9197529" y="3065002"/>
                </a:cubicBezTo>
                <a:cubicBezTo>
                  <a:pt x="9198993" y="3068597"/>
                  <a:pt x="9199792" y="3072325"/>
                  <a:pt x="9199792" y="3076451"/>
                </a:cubicBezTo>
                <a:cubicBezTo>
                  <a:pt x="9199792" y="3080578"/>
                  <a:pt x="9198993" y="3084572"/>
                  <a:pt x="9197529" y="3088165"/>
                </a:cubicBezTo>
                <a:cubicBezTo>
                  <a:pt x="9195932" y="3091759"/>
                  <a:pt x="9193935" y="3094821"/>
                  <a:pt x="9191405" y="3097485"/>
                </a:cubicBezTo>
                <a:cubicBezTo>
                  <a:pt x="9188744" y="3100146"/>
                  <a:pt x="9185682" y="3102277"/>
                  <a:pt x="9182088" y="3103740"/>
                </a:cubicBezTo>
                <a:cubicBezTo>
                  <a:pt x="9178494" y="3105204"/>
                  <a:pt x="9174633" y="3106003"/>
                  <a:pt x="9170374" y="3106003"/>
                </a:cubicBezTo>
                <a:cubicBezTo>
                  <a:pt x="9161453" y="3106003"/>
                  <a:pt x="9154132" y="3103074"/>
                  <a:pt x="9148541" y="3097485"/>
                </a:cubicBezTo>
                <a:cubicBezTo>
                  <a:pt x="9142951" y="3091894"/>
                  <a:pt x="9140155" y="3084838"/>
                  <a:pt x="9140155" y="3076318"/>
                </a:cubicBezTo>
                <a:cubicBezTo>
                  <a:pt x="9140155" y="3068065"/>
                  <a:pt x="9142951" y="3061009"/>
                  <a:pt x="9148541" y="3055286"/>
                </a:cubicBezTo>
                <a:cubicBezTo>
                  <a:pt x="9154132" y="3049561"/>
                  <a:pt x="9161321" y="3046633"/>
                  <a:pt x="9170374" y="3046633"/>
                </a:cubicBezTo>
                <a:close/>
                <a:moveTo>
                  <a:pt x="8952728" y="3046633"/>
                </a:moveTo>
                <a:cubicBezTo>
                  <a:pt x="8956988" y="3046633"/>
                  <a:pt x="8960849" y="3047431"/>
                  <a:pt x="8964442" y="3049161"/>
                </a:cubicBezTo>
                <a:cubicBezTo>
                  <a:pt x="8968037" y="3050760"/>
                  <a:pt x="8971231" y="3052889"/>
                  <a:pt x="8973760" y="3055552"/>
                </a:cubicBezTo>
                <a:cubicBezTo>
                  <a:pt x="8976290" y="3058213"/>
                  <a:pt x="8978419" y="3061408"/>
                  <a:pt x="8979884" y="3065002"/>
                </a:cubicBezTo>
                <a:cubicBezTo>
                  <a:pt x="8981348" y="3068597"/>
                  <a:pt x="8982147" y="3072325"/>
                  <a:pt x="8982147" y="3076451"/>
                </a:cubicBezTo>
                <a:cubicBezTo>
                  <a:pt x="8982147" y="3080578"/>
                  <a:pt x="8981348" y="3084572"/>
                  <a:pt x="8979884" y="3088165"/>
                </a:cubicBezTo>
                <a:cubicBezTo>
                  <a:pt x="8978287" y="3091759"/>
                  <a:pt x="8976290" y="3094821"/>
                  <a:pt x="8973760" y="3097485"/>
                </a:cubicBezTo>
                <a:cubicBezTo>
                  <a:pt x="8971098" y="3100146"/>
                  <a:pt x="8968037" y="3102277"/>
                  <a:pt x="8964442" y="3103740"/>
                </a:cubicBezTo>
                <a:cubicBezTo>
                  <a:pt x="8960849" y="3105204"/>
                  <a:pt x="8956988" y="3106003"/>
                  <a:pt x="8952728" y="3106003"/>
                </a:cubicBezTo>
                <a:cubicBezTo>
                  <a:pt x="8943808" y="3106003"/>
                  <a:pt x="8936487" y="3103074"/>
                  <a:pt x="8930896" y="3097485"/>
                </a:cubicBezTo>
                <a:cubicBezTo>
                  <a:pt x="8925305" y="3091894"/>
                  <a:pt x="8922510" y="3084838"/>
                  <a:pt x="8922510" y="3076318"/>
                </a:cubicBezTo>
                <a:cubicBezTo>
                  <a:pt x="8922510" y="3068065"/>
                  <a:pt x="8925305" y="3061009"/>
                  <a:pt x="8930896" y="3055286"/>
                </a:cubicBezTo>
                <a:cubicBezTo>
                  <a:pt x="8936487" y="3049561"/>
                  <a:pt x="8943675" y="3046633"/>
                  <a:pt x="8952728" y="3046633"/>
                </a:cubicBezTo>
                <a:close/>
                <a:moveTo>
                  <a:pt x="8735083" y="3046633"/>
                </a:moveTo>
                <a:cubicBezTo>
                  <a:pt x="8739342" y="3046633"/>
                  <a:pt x="8743203" y="3047431"/>
                  <a:pt x="8746797" y="3049161"/>
                </a:cubicBezTo>
                <a:cubicBezTo>
                  <a:pt x="8750391" y="3050760"/>
                  <a:pt x="8753586" y="3052889"/>
                  <a:pt x="8756115" y="3055552"/>
                </a:cubicBezTo>
                <a:cubicBezTo>
                  <a:pt x="8758644" y="3058213"/>
                  <a:pt x="8760774" y="3061408"/>
                  <a:pt x="8762238" y="3065002"/>
                </a:cubicBezTo>
                <a:cubicBezTo>
                  <a:pt x="8763702" y="3068597"/>
                  <a:pt x="8764502" y="3072325"/>
                  <a:pt x="8764502" y="3076451"/>
                </a:cubicBezTo>
                <a:cubicBezTo>
                  <a:pt x="8764502" y="3080578"/>
                  <a:pt x="8763702" y="3084572"/>
                  <a:pt x="8762238" y="3088165"/>
                </a:cubicBezTo>
                <a:cubicBezTo>
                  <a:pt x="8760641" y="3091759"/>
                  <a:pt x="8758644" y="3094821"/>
                  <a:pt x="8756115" y="3097485"/>
                </a:cubicBezTo>
                <a:cubicBezTo>
                  <a:pt x="8753453" y="3100146"/>
                  <a:pt x="8750391" y="3102277"/>
                  <a:pt x="8746797" y="3103740"/>
                </a:cubicBezTo>
                <a:cubicBezTo>
                  <a:pt x="8743203" y="3105204"/>
                  <a:pt x="8739342" y="3106003"/>
                  <a:pt x="8735083" y="3106003"/>
                </a:cubicBezTo>
                <a:cubicBezTo>
                  <a:pt x="8726030" y="3106003"/>
                  <a:pt x="8718841" y="3103074"/>
                  <a:pt x="8713250" y="3097485"/>
                </a:cubicBezTo>
                <a:cubicBezTo>
                  <a:pt x="8707660" y="3091894"/>
                  <a:pt x="8704864" y="3084838"/>
                  <a:pt x="8704864" y="3076318"/>
                </a:cubicBezTo>
                <a:cubicBezTo>
                  <a:pt x="8704864" y="3068065"/>
                  <a:pt x="8707660" y="3061009"/>
                  <a:pt x="8713250" y="3055286"/>
                </a:cubicBezTo>
                <a:cubicBezTo>
                  <a:pt x="8718841" y="3049561"/>
                  <a:pt x="8726030" y="3046633"/>
                  <a:pt x="8735083" y="3046633"/>
                </a:cubicBezTo>
                <a:close/>
                <a:moveTo>
                  <a:pt x="8517438" y="3046633"/>
                </a:moveTo>
                <a:cubicBezTo>
                  <a:pt x="8521698" y="3046633"/>
                  <a:pt x="8525559" y="3047431"/>
                  <a:pt x="8529152" y="3049161"/>
                </a:cubicBezTo>
                <a:cubicBezTo>
                  <a:pt x="8532880" y="3050760"/>
                  <a:pt x="8535941" y="3052889"/>
                  <a:pt x="8538470" y="3055552"/>
                </a:cubicBezTo>
                <a:cubicBezTo>
                  <a:pt x="8541000" y="3058213"/>
                  <a:pt x="8543130" y="3061408"/>
                  <a:pt x="8544594" y="3065002"/>
                </a:cubicBezTo>
                <a:cubicBezTo>
                  <a:pt x="8546058" y="3068597"/>
                  <a:pt x="8546857" y="3072325"/>
                  <a:pt x="8546857" y="3076451"/>
                </a:cubicBezTo>
                <a:cubicBezTo>
                  <a:pt x="8546857" y="3080578"/>
                  <a:pt x="8546058" y="3084572"/>
                  <a:pt x="8544594" y="3088165"/>
                </a:cubicBezTo>
                <a:cubicBezTo>
                  <a:pt x="8542997" y="3091759"/>
                  <a:pt x="8541000" y="3094821"/>
                  <a:pt x="8538470" y="3097485"/>
                </a:cubicBezTo>
                <a:cubicBezTo>
                  <a:pt x="8535808" y="3100146"/>
                  <a:pt x="8532747" y="3102277"/>
                  <a:pt x="8529152" y="3103740"/>
                </a:cubicBezTo>
                <a:cubicBezTo>
                  <a:pt x="8525559" y="3105204"/>
                  <a:pt x="8521698" y="3106003"/>
                  <a:pt x="8517438" y="3106003"/>
                </a:cubicBezTo>
                <a:cubicBezTo>
                  <a:pt x="8508385" y="3106003"/>
                  <a:pt x="8501197" y="3103074"/>
                  <a:pt x="8495606" y="3097485"/>
                </a:cubicBezTo>
                <a:cubicBezTo>
                  <a:pt x="8490015" y="3091894"/>
                  <a:pt x="8487220" y="3084838"/>
                  <a:pt x="8487220" y="3076318"/>
                </a:cubicBezTo>
                <a:cubicBezTo>
                  <a:pt x="8487220" y="3068065"/>
                  <a:pt x="8490015" y="3061009"/>
                  <a:pt x="8495606" y="3055286"/>
                </a:cubicBezTo>
                <a:cubicBezTo>
                  <a:pt x="8501197" y="3049561"/>
                  <a:pt x="8508385" y="3046633"/>
                  <a:pt x="8517438" y="3046633"/>
                </a:cubicBezTo>
                <a:close/>
                <a:moveTo>
                  <a:pt x="8299793" y="3046633"/>
                </a:moveTo>
                <a:cubicBezTo>
                  <a:pt x="8304052" y="3046633"/>
                  <a:pt x="8308046" y="3047431"/>
                  <a:pt x="8311507" y="3049161"/>
                </a:cubicBezTo>
                <a:cubicBezTo>
                  <a:pt x="8315235" y="3050760"/>
                  <a:pt x="8318296" y="3052889"/>
                  <a:pt x="8320825" y="3055552"/>
                </a:cubicBezTo>
                <a:cubicBezTo>
                  <a:pt x="8323354" y="3058213"/>
                  <a:pt x="8325484" y="3061408"/>
                  <a:pt x="8326948" y="3065002"/>
                </a:cubicBezTo>
                <a:cubicBezTo>
                  <a:pt x="8328413" y="3068597"/>
                  <a:pt x="8329212" y="3072325"/>
                  <a:pt x="8329212" y="3076451"/>
                </a:cubicBezTo>
                <a:cubicBezTo>
                  <a:pt x="8329212" y="3080578"/>
                  <a:pt x="8328413" y="3084572"/>
                  <a:pt x="8326948" y="3088165"/>
                </a:cubicBezTo>
                <a:cubicBezTo>
                  <a:pt x="8325351" y="3091759"/>
                  <a:pt x="8323354" y="3094821"/>
                  <a:pt x="8320825" y="3097485"/>
                </a:cubicBezTo>
                <a:cubicBezTo>
                  <a:pt x="8318163" y="3100146"/>
                  <a:pt x="8315101" y="3102277"/>
                  <a:pt x="8311507" y="3103740"/>
                </a:cubicBezTo>
                <a:cubicBezTo>
                  <a:pt x="8307913" y="3105204"/>
                  <a:pt x="8304052" y="3106003"/>
                  <a:pt x="8299793" y="3106003"/>
                </a:cubicBezTo>
                <a:cubicBezTo>
                  <a:pt x="8290874" y="3106003"/>
                  <a:pt x="8283553" y="3103074"/>
                  <a:pt x="8277960" y="3097485"/>
                </a:cubicBezTo>
                <a:cubicBezTo>
                  <a:pt x="8272370" y="3091894"/>
                  <a:pt x="8269574" y="3084838"/>
                  <a:pt x="8269574" y="3076318"/>
                </a:cubicBezTo>
                <a:cubicBezTo>
                  <a:pt x="8269574" y="3068065"/>
                  <a:pt x="8272370" y="3061009"/>
                  <a:pt x="8277960" y="3055286"/>
                </a:cubicBezTo>
                <a:cubicBezTo>
                  <a:pt x="8283553" y="3049561"/>
                  <a:pt x="8290741" y="3046633"/>
                  <a:pt x="8299793" y="3046633"/>
                </a:cubicBezTo>
                <a:close/>
                <a:moveTo>
                  <a:pt x="8082281" y="3046633"/>
                </a:moveTo>
                <a:cubicBezTo>
                  <a:pt x="8086407" y="3046633"/>
                  <a:pt x="8090401" y="3047431"/>
                  <a:pt x="8094127" y="3049161"/>
                </a:cubicBezTo>
                <a:cubicBezTo>
                  <a:pt x="8097855" y="3050760"/>
                  <a:pt x="8100916" y="3052889"/>
                  <a:pt x="8103446" y="3055552"/>
                </a:cubicBezTo>
                <a:cubicBezTo>
                  <a:pt x="8105975" y="3058213"/>
                  <a:pt x="8108104" y="3061408"/>
                  <a:pt x="8109569" y="3065002"/>
                </a:cubicBezTo>
                <a:cubicBezTo>
                  <a:pt x="8111033" y="3068597"/>
                  <a:pt x="8111832" y="3072325"/>
                  <a:pt x="8111832" y="3076451"/>
                </a:cubicBezTo>
                <a:cubicBezTo>
                  <a:pt x="8111832" y="3080578"/>
                  <a:pt x="8111033" y="3084572"/>
                  <a:pt x="8109569" y="3088165"/>
                </a:cubicBezTo>
                <a:cubicBezTo>
                  <a:pt x="8107972" y="3091759"/>
                  <a:pt x="8105975" y="3094821"/>
                  <a:pt x="8103446" y="3097485"/>
                </a:cubicBezTo>
                <a:cubicBezTo>
                  <a:pt x="8100783" y="3100146"/>
                  <a:pt x="8097722" y="3102277"/>
                  <a:pt x="8094127" y="3103740"/>
                </a:cubicBezTo>
                <a:cubicBezTo>
                  <a:pt x="8090401" y="3105204"/>
                  <a:pt x="8086540" y="3106003"/>
                  <a:pt x="8082281" y="3106003"/>
                </a:cubicBezTo>
                <a:cubicBezTo>
                  <a:pt x="8073361" y="3106003"/>
                  <a:pt x="8066040" y="3103074"/>
                  <a:pt x="8060448" y="3097485"/>
                </a:cubicBezTo>
                <a:cubicBezTo>
                  <a:pt x="8054857" y="3091894"/>
                  <a:pt x="8052062" y="3084838"/>
                  <a:pt x="8052062" y="3076318"/>
                </a:cubicBezTo>
                <a:cubicBezTo>
                  <a:pt x="8052062" y="3068065"/>
                  <a:pt x="8054857" y="3061009"/>
                  <a:pt x="8060448" y="3055286"/>
                </a:cubicBezTo>
                <a:cubicBezTo>
                  <a:pt x="8066040" y="3049561"/>
                  <a:pt x="8073228" y="3046633"/>
                  <a:pt x="8082281" y="3046633"/>
                </a:cubicBezTo>
                <a:close/>
                <a:moveTo>
                  <a:pt x="7864636" y="3046633"/>
                </a:moveTo>
                <a:cubicBezTo>
                  <a:pt x="7868762" y="3046633"/>
                  <a:pt x="7872756" y="3047431"/>
                  <a:pt x="7876483" y="3049161"/>
                </a:cubicBezTo>
                <a:cubicBezTo>
                  <a:pt x="7880210" y="3050760"/>
                  <a:pt x="7883272" y="3052889"/>
                  <a:pt x="7885802" y="3055552"/>
                </a:cubicBezTo>
                <a:cubicBezTo>
                  <a:pt x="7888331" y="3058213"/>
                  <a:pt x="7890460" y="3061408"/>
                  <a:pt x="7891924" y="3065002"/>
                </a:cubicBezTo>
                <a:cubicBezTo>
                  <a:pt x="7893389" y="3068597"/>
                  <a:pt x="7894188" y="3072325"/>
                  <a:pt x="7894188" y="3076451"/>
                </a:cubicBezTo>
                <a:cubicBezTo>
                  <a:pt x="7894188" y="3080578"/>
                  <a:pt x="7893389" y="3084572"/>
                  <a:pt x="7891924" y="3088165"/>
                </a:cubicBezTo>
                <a:cubicBezTo>
                  <a:pt x="7890327" y="3091759"/>
                  <a:pt x="7888331" y="3094821"/>
                  <a:pt x="7885802" y="3097485"/>
                </a:cubicBezTo>
                <a:cubicBezTo>
                  <a:pt x="7883139" y="3100146"/>
                  <a:pt x="7880078" y="3102277"/>
                  <a:pt x="7876483" y="3103740"/>
                </a:cubicBezTo>
                <a:cubicBezTo>
                  <a:pt x="7872756" y="3105204"/>
                  <a:pt x="7868895" y="3106003"/>
                  <a:pt x="7864636" y="3106003"/>
                </a:cubicBezTo>
                <a:cubicBezTo>
                  <a:pt x="7855717" y="3106003"/>
                  <a:pt x="7848396" y="3103074"/>
                  <a:pt x="7842803" y="3097485"/>
                </a:cubicBezTo>
                <a:cubicBezTo>
                  <a:pt x="7837213" y="3091894"/>
                  <a:pt x="7834417" y="3084838"/>
                  <a:pt x="7834417" y="3076318"/>
                </a:cubicBezTo>
                <a:cubicBezTo>
                  <a:pt x="7834417" y="3068065"/>
                  <a:pt x="7837213" y="3061009"/>
                  <a:pt x="7842803" y="3055286"/>
                </a:cubicBezTo>
                <a:cubicBezTo>
                  <a:pt x="7848396" y="3049561"/>
                  <a:pt x="7855584" y="3046633"/>
                  <a:pt x="7864636" y="3046633"/>
                </a:cubicBezTo>
                <a:close/>
                <a:moveTo>
                  <a:pt x="7646991" y="3046633"/>
                </a:moveTo>
                <a:cubicBezTo>
                  <a:pt x="7651250" y="3046633"/>
                  <a:pt x="7655111" y="3047431"/>
                  <a:pt x="7658705" y="3049161"/>
                </a:cubicBezTo>
                <a:cubicBezTo>
                  <a:pt x="7662432" y="3050760"/>
                  <a:pt x="7665493" y="3052889"/>
                  <a:pt x="7668022" y="3055552"/>
                </a:cubicBezTo>
                <a:cubicBezTo>
                  <a:pt x="7670552" y="3058213"/>
                  <a:pt x="7672682" y="3061408"/>
                  <a:pt x="7674146" y="3065002"/>
                </a:cubicBezTo>
                <a:cubicBezTo>
                  <a:pt x="7675610" y="3068597"/>
                  <a:pt x="7676409" y="3072325"/>
                  <a:pt x="7676409" y="3076451"/>
                </a:cubicBezTo>
                <a:cubicBezTo>
                  <a:pt x="7676409" y="3080578"/>
                  <a:pt x="7675610" y="3084572"/>
                  <a:pt x="7674146" y="3088165"/>
                </a:cubicBezTo>
                <a:cubicBezTo>
                  <a:pt x="7672549" y="3091759"/>
                  <a:pt x="7670552" y="3094821"/>
                  <a:pt x="7668022" y="3097485"/>
                </a:cubicBezTo>
                <a:cubicBezTo>
                  <a:pt x="7665361" y="3100146"/>
                  <a:pt x="7662299" y="3102277"/>
                  <a:pt x="7658705" y="3103740"/>
                </a:cubicBezTo>
                <a:cubicBezTo>
                  <a:pt x="7655111" y="3105204"/>
                  <a:pt x="7651250" y="3106003"/>
                  <a:pt x="7646991" y="3106003"/>
                </a:cubicBezTo>
                <a:cubicBezTo>
                  <a:pt x="7638071" y="3106003"/>
                  <a:pt x="7630750" y="3103074"/>
                  <a:pt x="7625158" y="3097485"/>
                </a:cubicBezTo>
                <a:cubicBezTo>
                  <a:pt x="7619568" y="3091894"/>
                  <a:pt x="7616772" y="3084838"/>
                  <a:pt x="7616772" y="3076318"/>
                </a:cubicBezTo>
                <a:cubicBezTo>
                  <a:pt x="7616772" y="3068065"/>
                  <a:pt x="7619568" y="3061009"/>
                  <a:pt x="7625158" y="3055286"/>
                </a:cubicBezTo>
                <a:cubicBezTo>
                  <a:pt x="7630750" y="3049561"/>
                  <a:pt x="7637939" y="3046633"/>
                  <a:pt x="7646991" y="3046633"/>
                </a:cubicBezTo>
                <a:close/>
                <a:moveTo>
                  <a:pt x="7429345" y="3046633"/>
                </a:moveTo>
                <a:cubicBezTo>
                  <a:pt x="7433605" y="3046633"/>
                  <a:pt x="7437466" y="3047431"/>
                  <a:pt x="7441059" y="3049161"/>
                </a:cubicBezTo>
                <a:cubicBezTo>
                  <a:pt x="7444787" y="3050760"/>
                  <a:pt x="7447848" y="3052889"/>
                  <a:pt x="7450377" y="3055552"/>
                </a:cubicBezTo>
                <a:cubicBezTo>
                  <a:pt x="7452907" y="3058213"/>
                  <a:pt x="7455036" y="3061408"/>
                  <a:pt x="7456501" y="3065002"/>
                </a:cubicBezTo>
                <a:cubicBezTo>
                  <a:pt x="7457965" y="3068597"/>
                  <a:pt x="7458764" y="3072325"/>
                  <a:pt x="7458764" y="3076451"/>
                </a:cubicBezTo>
                <a:cubicBezTo>
                  <a:pt x="7458764" y="3080578"/>
                  <a:pt x="7457965" y="3084572"/>
                  <a:pt x="7456501" y="3088165"/>
                </a:cubicBezTo>
                <a:cubicBezTo>
                  <a:pt x="7454904" y="3091759"/>
                  <a:pt x="7452907" y="3094821"/>
                  <a:pt x="7450377" y="3097485"/>
                </a:cubicBezTo>
                <a:cubicBezTo>
                  <a:pt x="7447715" y="3100146"/>
                  <a:pt x="7444654" y="3102277"/>
                  <a:pt x="7441059" y="3103740"/>
                </a:cubicBezTo>
                <a:cubicBezTo>
                  <a:pt x="7437466" y="3105204"/>
                  <a:pt x="7433605" y="3106003"/>
                  <a:pt x="7429345" y="3106003"/>
                </a:cubicBezTo>
                <a:cubicBezTo>
                  <a:pt x="7420426" y="3106003"/>
                  <a:pt x="7413105" y="3103074"/>
                  <a:pt x="7407513" y="3097485"/>
                </a:cubicBezTo>
                <a:cubicBezTo>
                  <a:pt x="7401922" y="3091894"/>
                  <a:pt x="7399127" y="3084838"/>
                  <a:pt x="7399127" y="3076318"/>
                </a:cubicBezTo>
                <a:cubicBezTo>
                  <a:pt x="7399127" y="3068065"/>
                  <a:pt x="7401922" y="3061009"/>
                  <a:pt x="7407513" y="3055286"/>
                </a:cubicBezTo>
                <a:cubicBezTo>
                  <a:pt x="7413105" y="3049561"/>
                  <a:pt x="7420293" y="3046633"/>
                  <a:pt x="7429345" y="3046633"/>
                </a:cubicBezTo>
                <a:close/>
                <a:moveTo>
                  <a:pt x="7211701" y="3046633"/>
                </a:moveTo>
                <a:cubicBezTo>
                  <a:pt x="7215960" y="3046633"/>
                  <a:pt x="7219954" y="3047431"/>
                  <a:pt x="7223415" y="3049161"/>
                </a:cubicBezTo>
                <a:cubicBezTo>
                  <a:pt x="7227142" y="3050760"/>
                  <a:pt x="7230204" y="3052889"/>
                  <a:pt x="7232733" y="3055552"/>
                </a:cubicBezTo>
                <a:cubicBezTo>
                  <a:pt x="7235262" y="3058213"/>
                  <a:pt x="7237392" y="3061408"/>
                  <a:pt x="7238856" y="3065002"/>
                </a:cubicBezTo>
                <a:cubicBezTo>
                  <a:pt x="7240321" y="3068597"/>
                  <a:pt x="7241120" y="3072325"/>
                  <a:pt x="7241120" y="3076451"/>
                </a:cubicBezTo>
                <a:cubicBezTo>
                  <a:pt x="7241120" y="3080578"/>
                  <a:pt x="7240321" y="3084572"/>
                  <a:pt x="7238856" y="3088165"/>
                </a:cubicBezTo>
                <a:cubicBezTo>
                  <a:pt x="7237259" y="3091759"/>
                  <a:pt x="7235262" y="3094821"/>
                  <a:pt x="7232733" y="3097485"/>
                </a:cubicBezTo>
                <a:cubicBezTo>
                  <a:pt x="7230071" y="3100146"/>
                  <a:pt x="7227009" y="3102277"/>
                  <a:pt x="7223415" y="3103740"/>
                </a:cubicBezTo>
                <a:cubicBezTo>
                  <a:pt x="7219821" y="3105204"/>
                  <a:pt x="7215960" y="3106003"/>
                  <a:pt x="7211701" y="3106003"/>
                </a:cubicBezTo>
                <a:cubicBezTo>
                  <a:pt x="7202782" y="3106003"/>
                  <a:pt x="7195460" y="3103074"/>
                  <a:pt x="7189868" y="3097485"/>
                </a:cubicBezTo>
                <a:cubicBezTo>
                  <a:pt x="7184278" y="3091894"/>
                  <a:pt x="7181482" y="3084838"/>
                  <a:pt x="7181482" y="3076318"/>
                </a:cubicBezTo>
                <a:cubicBezTo>
                  <a:pt x="7181482" y="3068065"/>
                  <a:pt x="7184278" y="3061009"/>
                  <a:pt x="7189868" y="3055286"/>
                </a:cubicBezTo>
                <a:cubicBezTo>
                  <a:pt x="7195460" y="3049561"/>
                  <a:pt x="7202649" y="3046633"/>
                  <a:pt x="7211701" y="3046633"/>
                </a:cubicBezTo>
                <a:close/>
                <a:moveTo>
                  <a:pt x="6994056" y="3046633"/>
                </a:moveTo>
                <a:cubicBezTo>
                  <a:pt x="6998315" y="3046633"/>
                  <a:pt x="7002309" y="3047431"/>
                  <a:pt x="7005769" y="3049161"/>
                </a:cubicBezTo>
                <a:cubicBezTo>
                  <a:pt x="7009497" y="3050760"/>
                  <a:pt x="7012558" y="3052889"/>
                  <a:pt x="7015087" y="3055552"/>
                </a:cubicBezTo>
                <a:cubicBezTo>
                  <a:pt x="7017617" y="3058213"/>
                  <a:pt x="7019747" y="3061408"/>
                  <a:pt x="7021211" y="3065002"/>
                </a:cubicBezTo>
                <a:cubicBezTo>
                  <a:pt x="7022675" y="3068597"/>
                  <a:pt x="7023474" y="3072325"/>
                  <a:pt x="7023474" y="3076451"/>
                </a:cubicBezTo>
                <a:cubicBezTo>
                  <a:pt x="7023474" y="3080578"/>
                  <a:pt x="7022675" y="3084572"/>
                  <a:pt x="7021211" y="3088165"/>
                </a:cubicBezTo>
                <a:cubicBezTo>
                  <a:pt x="7019614" y="3091759"/>
                  <a:pt x="7017617" y="3094821"/>
                  <a:pt x="7015087" y="3097485"/>
                </a:cubicBezTo>
                <a:cubicBezTo>
                  <a:pt x="7012425" y="3100146"/>
                  <a:pt x="7009364" y="3102277"/>
                  <a:pt x="7005769" y="3103740"/>
                </a:cubicBezTo>
                <a:cubicBezTo>
                  <a:pt x="7002176" y="3105204"/>
                  <a:pt x="6998315" y="3106003"/>
                  <a:pt x="6994056" y="3106003"/>
                </a:cubicBezTo>
                <a:cubicBezTo>
                  <a:pt x="6985136" y="3106003"/>
                  <a:pt x="6977815" y="3103074"/>
                  <a:pt x="6972223" y="3097485"/>
                </a:cubicBezTo>
                <a:cubicBezTo>
                  <a:pt x="6966632" y="3091894"/>
                  <a:pt x="6963837" y="3084838"/>
                  <a:pt x="6963837" y="3076318"/>
                </a:cubicBezTo>
                <a:cubicBezTo>
                  <a:pt x="6963837" y="3068065"/>
                  <a:pt x="6966632" y="3061009"/>
                  <a:pt x="6972223" y="3055286"/>
                </a:cubicBezTo>
                <a:cubicBezTo>
                  <a:pt x="6977815" y="3049561"/>
                  <a:pt x="6985003" y="3046633"/>
                  <a:pt x="6994056" y="3046633"/>
                </a:cubicBezTo>
                <a:close/>
                <a:moveTo>
                  <a:pt x="6776544" y="3046633"/>
                </a:moveTo>
                <a:cubicBezTo>
                  <a:pt x="6780670" y="3046633"/>
                  <a:pt x="6784664" y="3047431"/>
                  <a:pt x="6788258" y="3049161"/>
                </a:cubicBezTo>
                <a:cubicBezTo>
                  <a:pt x="6791985" y="3050760"/>
                  <a:pt x="6795047" y="3052889"/>
                  <a:pt x="6797576" y="3055552"/>
                </a:cubicBezTo>
                <a:cubicBezTo>
                  <a:pt x="6800105" y="3058213"/>
                  <a:pt x="6802235" y="3061408"/>
                  <a:pt x="6803699" y="3065002"/>
                </a:cubicBezTo>
                <a:cubicBezTo>
                  <a:pt x="6805164" y="3068597"/>
                  <a:pt x="6805963" y="3072325"/>
                  <a:pt x="6805963" y="3076451"/>
                </a:cubicBezTo>
                <a:cubicBezTo>
                  <a:pt x="6805963" y="3080578"/>
                  <a:pt x="6805164" y="3084572"/>
                  <a:pt x="6803699" y="3088165"/>
                </a:cubicBezTo>
                <a:cubicBezTo>
                  <a:pt x="6802102" y="3091759"/>
                  <a:pt x="6800105" y="3094821"/>
                  <a:pt x="6797576" y="3097485"/>
                </a:cubicBezTo>
                <a:cubicBezTo>
                  <a:pt x="6794914" y="3100146"/>
                  <a:pt x="6791852" y="3102277"/>
                  <a:pt x="6788258" y="3103740"/>
                </a:cubicBezTo>
                <a:cubicBezTo>
                  <a:pt x="6784664" y="3105204"/>
                  <a:pt x="6780803" y="3106003"/>
                  <a:pt x="6776544" y="3106003"/>
                </a:cubicBezTo>
                <a:cubicBezTo>
                  <a:pt x="6767625" y="3106003"/>
                  <a:pt x="6760303" y="3103074"/>
                  <a:pt x="6754711" y="3097485"/>
                </a:cubicBezTo>
                <a:cubicBezTo>
                  <a:pt x="6749121" y="3091894"/>
                  <a:pt x="6746325" y="3084838"/>
                  <a:pt x="6746325" y="3076318"/>
                </a:cubicBezTo>
                <a:cubicBezTo>
                  <a:pt x="6746325" y="3068065"/>
                  <a:pt x="6749121" y="3061009"/>
                  <a:pt x="6754711" y="3055286"/>
                </a:cubicBezTo>
                <a:cubicBezTo>
                  <a:pt x="6760303" y="3049561"/>
                  <a:pt x="6767492" y="3046633"/>
                  <a:pt x="6776544" y="3046633"/>
                </a:cubicBezTo>
                <a:close/>
                <a:moveTo>
                  <a:pt x="6558899" y="3046633"/>
                </a:moveTo>
                <a:cubicBezTo>
                  <a:pt x="6563158" y="3046633"/>
                  <a:pt x="6567019" y="3047431"/>
                  <a:pt x="6570612" y="3049161"/>
                </a:cubicBezTo>
                <a:cubicBezTo>
                  <a:pt x="6574340" y="3050760"/>
                  <a:pt x="6577401" y="3052889"/>
                  <a:pt x="6579930" y="3055552"/>
                </a:cubicBezTo>
                <a:cubicBezTo>
                  <a:pt x="6582460" y="3058213"/>
                  <a:pt x="6584590" y="3061408"/>
                  <a:pt x="6586054" y="3065002"/>
                </a:cubicBezTo>
                <a:cubicBezTo>
                  <a:pt x="6587518" y="3068597"/>
                  <a:pt x="6588317" y="3072325"/>
                  <a:pt x="6588317" y="3076451"/>
                </a:cubicBezTo>
                <a:cubicBezTo>
                  <a:pt x="6588317" y="3080578"/>
                  <a:pt x="6587518" y="3084572"/>
                  <a:pt x="6586054" y="3088165"/>
                </a:cubicBezTo>
                <a:cubicBezTo>
                  <a:pt x="6584457" y="3091759"/>
                  <a:pt x="6582460" y="3094821"/>
                  <a:pt x="6579930" y="3097485"/>
                </a:cubicBezTo>
                <a:cubicBezTo>
                  <a:pt x="6577268" y="3100146"/>
                  <a:pt x="6574207" y="3102277"/>
                  <a:pt x="6570612" y="3103740"/>
                </a:cubicBezTo>
                <a:cubicBezTo>
                  <a:pt x="6567019" y="3105204"/>
                  <a:pt x="6563158" y="3106003"/>
                  <a:pt x="6558899" y="3106003"/>
                </a:cubicBezTo>
                <a:cubicBezTo>
                  <a:pt x="6549979" y="3106003"/>
                  <a:pt x="6542658" y="3103074"/>
                  <a:pt x="6537066" y="3097485"/>
                </a:cubicBezTo>
                <a:cubicBezTo>
                  <a:pt x="6531476" y="3091894"/>
                  <a:pt x="6528680" y="3084838"/>
                  <a:pt x="6528680" y="3076318"/>
                </a:cubicBezTo>
                <a:cubicBezTo>
                  <a:pt x="6528680" y="3068065"/>
                  <a:pt x="6531476" y="3061009"/>
                  <a:pt x="6537066" y="3055286"/>
                </a:cubicBezTo>
                <a:cubicBezTo>
                  <a:pt x="6542658" y="3049561"/>
                  <a:pt x="6549846" y="3046633"/>
                  <a:pt x="6558899" y="3046633"/>
                </a:cubicBezTo>
                <a:close/>
                <a:moveTo>
                  <a:pt x="6341253" y="3046633"/>
                </a:moveTo>
                <a:cubicBezTo>
                  <a:pt x="6345513" y="3046633"/>
                  <a:pt x="6349373" y="3047431"/>
                  <a:pt x="6352968" y="3049161"/>
                </a:cubicBezTo>
                <a:cubicBezTo>
                  <a:pt x="6356695" y="3050760"/>
                  <a:pt x="6359757" y="3052889"/>
                  <a:pt x="6362286" y="3055552"/>
                </a:cubicBezTo>
                <a:cubicBezTo>
                  <a:pt x="6364815" y="3058213"/>
                  <a:pt x="6366945" y="3061408"/>
                  <a:pt x="6368409" y="3065002"/>
                </a:cubicBezTo>
                <a:cubicBezTo>
                  <a:pt x="6369874" y="3068597"/>
                  <a:pt x="6370672" y="3072325"/>
                  <a:pt x="6370672" y="3076451"/>
                </a:cubicBezTo>
                <a:cubicBezTo>
                  <a:pt x="6370672" y="3080578"/>
                  <a:pt x="6369874" y="3084572"/>
                  <a:pt x="6368409" y="3088165"/>
                </a:cubicBezTo>
                <a:cubicBezTo>
                  <a:pt x="6366811" y="3091759"/>
                  <a:pt x="6364815" y="3094821"/>
                  <a:pt x="6362286" y="3097485"/>
                </a:cubicBezTo>
                <a:cubicBezTo>
                  <a:pt x="6359623" y="3100146"/>
                  <a:pt x="6356562" y="3102277"/>
                  <a:pt x="6352968" y="3103740"/>
                </a:cubicBezTo>
                <a:cubicBezTo>
                  <a:pt x="6349373" y="3105204"/>
                  <a:pt x="6345513" y="3106003"/>
                  <a:pt x="6341253" y="3106003"/>
                </a:cubicBezTo>
                <a:cubicBezTo>
                  <a:pt x="6332335" y="3106003"/>
                  <a:pt x="6325013" y="3103074"/>
                  <a:pt x="6319421" y="3097485"/>
                </a:cubicBezTo>
                <a:cubicBezTo>
                  <a:pt x="6313830" y="3091894"/>
                  <a:pt x="6311035" y="3084838"/>
                  <a:pt x="6311035" y="3076318"/>
                </a:cubicBezTo>
                <a:cubicBezTo>
                  <a:pt x="6311035" y="3068065"/>
                  <a:pt x="6313830" y="3061009"/>
                  <a:pt x="6319421" y="3055286"/>
                </a:cubicBezTo>
                <a:cubicBezTo>
                  <a:pt x="6325013" y="3049561"/>
                  <a:pt x="6332201" y="3046633"/>
                  <a:pt x="6341253" y="3046633"/>
                </a:cubicBezTo>
                <a:close/>
                <a:moveTo>
                  <a:pt x="6123608" y="3046633"/>
                </a:moveTo>
                <a:cubicBezTo>
                  <a:pt x="6127867" y="3046633"/>
                  <a:pt x="6131728" y="3047431"/>
                  <a:pt x="6135322" y="3049161"/>
                </a:cubicBezTo>
                <a:cubicBezTo>
                  <a:pt x="6139049" y="3050760"/>
                  <a:pt x="6142111" y="3052889"/>
                  <a:pt x="6144640" y="3055552"/>
                </a:cubicBezTo>
                <a:cubicBezTo>
                  <a:pt x="6147169" y="3058213"/>
                  <a:pt x="6149299" y="3061408"/>
                  <a:pt x="6150763" y="3065002"/>
                </a:cubicBezTo>
                <a:cubicBezTo>
                  <a:pt x="6152228" y="3068597"/>
                  <a:pt x="6153026" y="3072325"/>
                  <a:pt x="6153026" y="3076451"/>
                </a:cubicBezTo>
                <a:cubicBezTo>
                  <a:pt x="6153026" y="3080578"/>
                  <a:pt x="6152228" y="3084572"/>
                  <a:pt x="6150763" y="3088165"/>
                </a:cubicBezTo>
                <a:cubicBezTo>
                  <a:pt x="6149299" y="3091759"/>
                  <a:pt x="6147169" y="3094821"/>
                  <a:pt x="6144640" y="3097485"/>
                </a:cubicBezTo>
                <a:cubicBezTo>
                  <a:pt x="6141977" y="3100146"/>
                  <a:pt x="6138916" y="3102277"/>
                  <a:pt x="6135322" y="3103740"/>
                </a:cubicBezTo>
                <a:cubicBezTo>
                  <a:pt x="6131728" y="3105204"/>
                  <a:pt x="6127867" y="3106003"/>
                  <a:pt x="6123608" y="3106003"/>
                </a:cubicBezTo>
                <a:cubicBezTo>
                  <a:pt x="6114689" y="3106003"/>
                  <a:pt x="6107367" y="3103074"/>
                  <a:pt x="6101775" y="3097485"/>
                </a:cubicBezTo>
                <a:cubicBezTo>
                  <a:pt x="6096184" y="3091894"/>
                  <a:pt x="6093389" y="3084838"/>
                  <a:pt x="6093389" y="3076318"/>
                </a:cubicBezTo>
                <a:cubicBezTo>
                  <a:pt x="6093389" y="3068065"/>
                  <a:pt x="6096184" y="3061009"/>
                  <a:pt x="6101775" y="3055286"/>
                </a:cubicBezTo>
                <a:cubicBezTo>
                  <a:pt x="6107367" y="3049561"/>
                  <a:pt x="6114555" y="3046633"/>
                  <a:pt x="6123608" y="3046633"/>
                </a:cubicBezTo>
                <a:close/>
                <a:moveTo>
                  <a:pt x="5905963" y="3046633"/>
                </a:moveTo>
                <a:cubicBezTo>
                  <a:pt x="5910222" y="3046633"/>
                  <a:pt x="5914216" y="3047431"/>
                  <a:pt x="5917677" y="3049161"/>
                </a:cubicBezTo>
                <a:cubicBezTo>
                  <a:pt x="5921404" y="3050760"/>
                  <a:pt x="5924466" y="3052889"/>
                  <a:pt x="5926995" y="3055552"/>
                </a:cubicBezTo>
                <a:cubicBezTo>
                  <a:pt x="5929524" y="3058213"/>
                  <a:pt x="5931654" y="3061408"/>
                  <a:pt x="5933118" y="3065002"/>
                </a:cubicBezTo>
                <a:cubicBezTo>
                  <a:pt x="5934583" y="3068597"/>
                  <a:pt x="5935381" y="3072325"/>
                  <a:pt x="5935381" y="3076451"/>
                </a:cubicBezTo>
                <a:cubicBezTo>
                  <a:pt x="5935381" y="3080578"/>
                  <a:pt x="5934583" y="3084572"/>
                  <a:pt x="5933118" y="3088165"/>
                </a:cubicBezTo>
                <a:cubicBezTo>
                  <a:pt x="5931654" y="3091759"/>
                  <a:pt x="5929524" y="3094821"/>
                  <a:pt x="5926995" y="3097485"/>
                </a:cubicBezTo>
                <a:cubicBezTo>
                  <a:pt x="5924333" y="3100146"/>
                  <a:pt x="5921271" y="3102277"/>
                  <a:pt x="5917677" y="3103740"/>
                </a:cubicBezTo>
                <a:cubicBezTo>
                  <a:pt x="5914083" y="3105204"/>
                  <a:pt x="5910222" y="3106003"/>
                  <a:pt x="5905963" y="3106003"/>
                </a:cubicBezTo>
                <a:cubicBezTo>
                  <a:pt x="5897044" y="3106003"/>
                  <a:pt x="5889722" y="3103074"/>
                  <a:pt x="5884130" y="3097485"/>
                </a:cubicBezTo>
                <a:cubicBezTo>
                  <a:pt x="5878540" y="3091894"/>
                  <a:pt x="5875744" y="3084838"/>
                  <a:pt x="5875744" y="3076318"/>
                </a:cubicBezTo>
                <a:cubicBezTo>
                  <a:pt x="5875744" y="3068065"/>
                  <a:pt x="5878540" y="3061009"/>
                  <a:pt x="5884130" y="3055286"/>
                </a:cubicBezTo>
                <a:cubicBezTo>
                  <a:pt x="5889722" y="3049561"/>
                  <a:pt x="5896910" y="3046633"/>
                  <a:pt x="5905963" y="3046633"/>
                </a:cubicBezTo>
                <a:close/>
                <a:moveTo>
                  <a:pt x="5688451" y="3046633"/>
                </a:moveTo>
                <a:cubicBezTo>
                  <a:pt x="5692577" y="3046633"/>
                  <a:pt x="5696571" y="3047431"/>
                  <a:pt x="5700165" y="3049161"/>
                </a:cubicBezTo>
                <a:cubicBezTo>
                  <a:pt x="5703892" y="3050760"/>
                  <a:pt x="5706954" y="3052889"/>
                  <a:pt x="5709483" y="3055552"/>
                </a:cubicBezTo>
                <a:cubicBezTo>
                  <a:pt x="5712012" y="3058213"/>
                  <a:pt x="5714142" y="3061408"/>
                  <a:pt x="5715606" y="3065002"/>
                </a:cubicBezTo>
                <a:cubicBezTo>
                  <a:pt x="5717071" y="3068597"/>
                  <a:pt x="5717869" y="3072325"/>
                  <a:pt x="5717869" y="3076451"/>
                </a:cubicBezTo>
                <a:cubicBezTo>
                  <a:pt x="5717869" y="3080578"/>
                  <a:pt x="5717071" y="3084572"/>
                  <a:pt x="5715606" y="3088165"/>
                </a:cubicBezTo>
                <a:cubicBezTo>
                  <a:pt x="5714142" y="3091759"/>
                  <a:pt x="5712012" y="3094821"/>
                  <a:pt x="5709483" y="3097485"/>
                </a:cubicBezTo>
                <a:cubicBezTo>
                  <a:pt x="5706820" y="3100146"/>
                  <a:pt x="5703759" y="3102277"/>
                  <a:pt x="5700165" y="3103740"/>
                </a:cubicBezTo>
                <a:cubicBezTo>
                  <a:pt x="5696571" y="3105204"/>
                  <a:pt x="5692710" y="3106003"/>
                  <a:pt x="5688451" y="3106003"/>
                </a:cubicBezTo>
                <a:cubicBezTo>
                  <a:pt x="5679532" y="3106003"/>
                  <a:pt x="5672210" y="3103074"/>
                  <a:pt x="5666618" y="3097485"/>
                </a:cubicBezTo>
                <a:cubicBezTo>
                  <a:pt x="5661028" y="3091894"/>
                  <a:pt x="5658232" y="3084838"/>
                  <a:pt x="5658232" y="3076318"/>
                </a:cubicBezTo>
                <a:cubicBezTo>
                  <a:pt x="5658232" y="3068065"/>
                  <a:pt x="5661028" y="3061009"/>
                  <a:pt x="5666618" y="3055286"/>
                </a:cubicBezTo>
                <a:cubicBezTo>
                  <a:pt x="5672210" y="3049561"/>
                  <a:pt x="5679398" y="3046633"/>
                  <a:pt x="5688451" y="3046633"/>
                </a:cubicBezTo>
                <a:close/>
                <a:moveTo>
                  <a:pt x="5470806" y="3046633"/>
                </a:moveTo>
                <a:cubicBezTo>
                  <a:pt x="5475065" y="3046633"/>
                  <a:pt x="5478926" y="3047431"/>
                  <a:pt x="5482520" y="3049161"/>
                </a:cubicBezTo>
                <a:cubicBezTo>
                  <a:pt x="5486247" y="3050760"/>
                  <a:pt x="5489309" y="3052889"/>
                  <a:pt x="5491838" y="3055552"/>
                </a:cubicBezTo>
                <a:cubicBezTo>
                  <a:pt x="5494367" y="3058213"/>
                  <a:pt x="5496497" y="3061408"/>
                  <a:pt x="5497961" y="3065002"/>
                </a:cubicBezTo>
                <a:cubicBezTo>
                  <a:pt x="5499426" y="3068597"/>
                  <a:pt x="5500224" y="3072325"/>
                  <a:pt x="5500224" y="3076451"/>
                </a:cubicBezTo>
                <a:cubicBezTo>
                  <a:pt x="5500224" y="3080578"/>
                  <a:pt x="5499426" y="3084572"/>
                  <a:pt x="5497961" y="3088165"/>
                </a:cubicBezTo>
                <a:cubicBezTo>
                  <a:pt x="5496497" y="3091759"/>
                  <a:pt x="5494367" y="3094821"/>
                  <a:pt x="5491838" y="3097485"/>
                </a:cubicBezTo>
                <a:cubicBezTo>
                  <a:pt x="5489176" y="3100146"/>
                  <a:pt x="5486114" y="3102277"/>
                  <a:pt x="5482520" y="3103740"/>
                </a:cubicBezTo>
                <a:cubicBezTo>
                  <a:pt x="5478926" y="3105204"/>
                  <a:pt x="5475065" y="3106003"/>
                  <a:pt x="5470806" y="3106003"/>
                </a:cubicBezTo>
                <a:cubicBezTo>
                  <a:pt x="5461887" y="3106003"/>
                  <a:pt x="5454565" y="3103074"/>
                  <a:pt x="5448973" y="3097485"/>
                </a:cubicBezTo>
                <a:cubicBezTo>
                  <a:pt x="5443383" y="3091894"/>
                  <a:pt x="5440587" y="3084838"/>
                  <a:pt x="5440587" y="3076318"/>
                </a:cubicBezTo>
                <a:cubicBezTo>
                  <a:pt x="5440587" y="3068065"/>
                  <a:pt x="5443383" y="3061009"/>
                  <a:pt x="5448973" y="3055286"/>
                </a:cubicBezTo>
                <a:cubicBezTo>
                  <a:pt x="5454565" y="3049561"/>
                  <a:pt x="5461754" y="3046633"/>
                  <a:pt x="5470806" y="3046633"/>
                </a:cubicBezTo>
                <a:close/>
                <a:moveTo>
                  <a:pt x="5253160" y="3046633"/>
                </a:moveTo>
                <a:cubicBezTo>
                  <a:pt x="5257420" y="3046633"/>
                  <a:pt x="5261280" y="3047431"/>
                  <a:pt x="5264875" y="3049161"/>
                </a:cubicBezTo>
                <a:cubicBezTo>
                  <a:pt x="5268602" y="3050760"/>
                  <a:pt x="5271664" y="3052889"/>
                  <a:pt x="5274192" y="3055552"/>
                </a:cubicBezTo>
                <a:cubicBezTo>
                  <a:pt x="5276722" y="3058213"/>
                  <a:pt x="5278852" y="3061408"/>
                  <a:pt x="5280316" y="3065002"/>
                </a:cubicBezTo>
                <a:cubicBezTo>
                  <a:pt x="5281780" y="3068597"/>
                  <a:pt x="5282579" y="3072325"/>
                  <a:pt x="5282579" y="3076451"/>
                </a:cubicBezTo>
                <a:cubicBezTo>
                  <a:pt x="5282579" y="3080578"/>
                  <a:pt x="5281780" y="3084572"/>
                  <a:pt x="5280316" y="3088165"/>
                </a:cubicBezTo>
                <a:cubicBezTo>
                  <a:pt x="5278852" y="3091759"/>
                  <a:pt x="5276722" y="3094821"/>
                  <a:pt x="5274192" y="3097485"/>
                </a:cubicBezTo>
                <a:cubicBezTo>
                  <a:pt x="5271664" y="3100146"/>
                  <a:pt x="5268469" y="3102277"/>
                  <a:pt x="5264875" y="3103740"/>
                </a:cubicBezTo>
                <a:cubicBezTo>
                  <a:pt x="5261280" y="3105204"/>
                  <a:pt x="5257420" y="3106003"/>
                  <a:pt x="5253160" y="3106003"/>
                </a:cubicBezTo>
                <a:cubicBezTo>
                  <a:pt x="5244241" y="3106003"/>
                  <a:pt x="5236920" y="3103074"/>
                  <a:pt x="5231328" y="3097485"/>
                </a:cubicBezTo>
                <a:cubicBezTo>
                  <a:pt x="5225737" y="3091894"/>
                  <a:pt x="5222942" y="3084838"/>
                  <a:pt x="5222942" y="3076318"/>
                </a:cubicBezTo>
                <a:cubicBezTo>
                  <a:pt x="5222942" y="3068065"/>
                  <a:pt x="5225737" y="3061009"/>
                  <a:pt x="5231328" y="3055286"/>
                </a:cubicBezTo>
                <a:cubicBezTo>
                  <a:pt x="5236920" y="3049561"/>
                  <a:pt x="5244108" y="3046633"/>
                  <a:pt x="5253160" y="3046633"/>
                </a:cubicBezTo>
                <a:close/>
                <a:moveTo>
                  <a:pt x="5035515" y="3046633"/>
                </a:moveTo>
                <a:cubicBezTo>
                  <a:pt x="5039775" y="3046633"/>
                  <a:pt x="5043636" y="3047431"/>
                  <a:pt x="5047230" y="3049161"/>
                </a:cubicBezTo>
                <a:cubicBezTo>
                  <a:pt x="5050957" y="3050760"/>
                  <a:pt x="5054019" y="3052889"/>
                  <a:pt x="5056548" y="3055552"/>
                </a:cubicBezTo>
                <a:cubicBezTo>
                  <a:pt x="5059077" y="3058213"/>
                  <a:pt x="5061207" y="3061408"/>
                  <a:pt x="5062671" y="3065002"/>
                </a:cubicBezTo>
                <a:cubicBezTo>
                  <a:pt x="5064135" y="3068597"/>
                  <a:pt x="5064934" y="3072325"/>
                  <a:pt x="5064934" y="3076451"/>
                </a:cubicBezTo>
                <a:cubicBezTo>
                  <a:pt x="5064934" y="3080578"/>
                  <a:pt x="5064135" y="3084572"/>
                  <a:pt x="5062671" y="3088165"/>
                </a:cubicBezTo>
                <a:cubicBezTo>
                  <a:pt x="5061207" y="3091759"/>
                  <a:pt x="5059077" y="3094821"/>
                  <a:pt x="5056548" y="3097485"/>
                </a:cubicBezTo>
                <a:cubicBezTo>
                  <a:pt x="5053885" y="3100146"/>
                  <a:pt x="5050824" y="3102277"/>
                  <a:pt x="5047230" y="3103740"/>
                </a:cubicBezTo>
                <a:cubicBezTo>
                  <a:pt x="5043636" y="3105204"/>
                  <a:pt x="5039775" y="3106003"/>
                  <a:pt x="5035515" y="3106003"/>
                </a:cubicBezTo>
                <a:cubicBezTo>
                  <a:pt x="5026597" y="3106003"/>
                  <a:pt x="5019275" y="3103074"/>
                  <a:pt x="5013683" y="3097485"/>
                </a:cubicBezTo>
                <a:cubicBezTo>
                  <a:pt x="5008092" y="3091894"/>
                  <a:pt x="5005297" y="3084838"/>
                  <a:pt x="5005297" y="3076318"/>
                </a:cubicBezTo>
                <a:cubicBezTo>
                  <a:pt x="5005297" y="3068065"/>
                  <a:pt x="5008092" y="3061009"/>
                  <a:pt x="5013683" y="3055286"/>
                </a:cubicBezTo>
                <a:cubicBezTo>
                  <a:pt x="5019275" y="3049561"/>
                  <a:pt x="5026463" y="3046633"/>
                  <a:pt x="5035515" y="3046633"/>
                </a:cubicBezTo>
                <a:close/>
                <a:moveTo>
                  <a:pt x="4817870" y="3046633"/>
                </a:moveTo>
                <a:cubicBezTo>
                  <a:pt x="4822130" y="3046633"/>
                  <a:pt x="4826124" y="3047431"/>
                  <a:pt x="4829585" y="3049161"/>
                </a:cubicBezTo>
                <a:cubicBezTo>
                  <a:pt x="4833312" y="3050760"/>
                  <a:pt x="4836374" y="3052889"/>
                  <a:pt x="4838903" y="3055552"/>
                </a:cubicBezTo>
                <a:cubicBezTo>
                  <a:pt x="4841432" y="3058213"/>
                  <a:pt x="4843562" y="3061408"/>
                  <a:pt x="4845026" y="3065002"/>
                </a:cubicBezTo>
                <a:cubicBezTo>
                  <a:pt x="4846491" y="3068597"/>
                  <a:pt x="4847289" y="3072325"/>
                  <a:pt x="4847289" y="3076451"/>
                </a:cubicBezTo>
                <a:cubicBezTo>
                  <a:pt x="4847289" y="3080578"/>
                  <a:pt x="4846491" y="3084572"/>
                  <a:pt x="4845026" y="3088165"/>
                </a:cubicBezTo>
                <a:cubicBezTo>
                  <a:pt x="4843562" y="3091759"/>
                  <a:pt x="4841432" y="3094821"/>
                  <a:pt x="4838903" y="3097485"/>
                </a:cubicBezTo>
                <a:cubicBezTo>
                  <a:pt x="4836240" y="3100146"/>
                  <a:pt x="4833179" y="3102277"/>
                  <a:pt x="4829585" y="3103740"/>
                </a:cubicBezTo>
                <a:cubicBezTo>
                  <a:pt x="4825991" y="3105204"/>
                  <a:pt x="4822130" y="3106003"/>
                  <a:pt x="4817870" y="3106003"/>
                </a:cubicBezTo>
                <a:cubicBezTo>
                  <a:pt x="4808952" y="3106003"/>
                  <a:pt x="4801630" y="3103074"/>
                  <a:pt x="4796038" y="3097485"/>
                </a:cubicBezTo>
                <a:cubicBezTo>
                  <a:pt x="4790447" y="3091894"/>
                  <a:pt x="4787652" y="3084838"/>
                  <a:pt x="4787652" y="3076318"/>
                </a:cubicBezTo>
                <a:cubicBezTo>
                  <a:pt x="4787652" y="3068065"/>
                  <a:pt x="4790447" y="3061009"/>
                  <a:pt x="4796038" y="3055286"/>
                </a:cubicBezTo>
                <a:cubicBezTo>
                  <a:pt x="4801630" y="3049561"/>
                  <a:pt x="4808818" y="3046633"/>
                  <a:pt x="4817870" y="3046633"/>
                </a:cubicBezTo>
                <a:close/>
                <a:moveTo>
                  <a:pt x="4600226" y="3046633"/>
                </a:moveTo>
                <a:cubicBezTo>
                  <a:pt x="4604485" y="3046633"/>
                  <a:pt x="4608479" y="3047431"/>
                  <a:pt x="4612073" y="3049161"/>
                </a:cubicBezTo>
                <a:cubicBezTo>
                  <a:pt x="4615800" y="3050760"/>
                  <a:pt x="4618862" y="3052889"/>
                  <a:pt x="4621391" y="3055552"/>
                </a:cubicBezTo>
                <a:cubicBezTo>
                  <a:pt x="4623920" y="3058213"/>
                  <a:pt x="4626050" y="3061408"/>
                  <a:pt x="4627514" y="3065002"/>
                </a:cubicBezTo>
                <a:cubicBezTo>
                  <a:pt x="4628978" y="3068597"/>
                  <a:pt x="4629777" y="3072325"/>
                  <a:pt x="4629777" y="3076451"/>
                </a:cubicBezTo>
                <a:cubicBezTo>
                  <a:pt x="4629777" y="3080578"/>
                  <a:pt x="4628978" y="3084572"/>
                  <a:pt x="4627514" y="3088165"/>
                </a:cubicBezTo>
                <a:cubicBezTo>
                  <a:pt x="4626050" y="3091759"/>
                  <a:pt x="4623920" y="3094821"/>
                  <a:pt x="4621391" y="3097485"/>
                </a:cubicBezTo>
                <a:cubicBezTo>
                  <a:pt x="4618729" y="3100146"/>
                  <a:pt x="4615667" y="3102277"/>
                  <a:pt x="4612073" y="3103740"/>
                </a:cubicBezTo>
                <a:cubicBezTo>
                  <a:pt x="4608346" y="3105204"/>
                  <a:pt x="4604485" y="3106003"/>
                  <a:pt x="4600226" y="3106003"/>
                </a:cubicBezTo>
                <a:cubicBezTo>
                  <a:pt x="4591173" y="3106003"/>
                  <a:pt x="4583985" y="3103074"/>
                  <a:pt x="4578393" y="3097485"/>
                </a:cubicBezTo>
                <a:cubicBezTo>
                  <a:pt x="4572803" y="3091894"/>
                  <a:pt x="4570007" y="3084838"/>
                  <a:pt x="4570007" y="3076318"/>
                </a:cubicBezTo>
                <a:cubicBezTo>
                  <a:pt x="4570007" y="3068065"/>
                  <a:pt x="4572803" y="3061009"/>
                  <a:pt x="4578393" y="3055286"/>
                </a:cubicBezTo>
                <a:cubicBezTo>
                  <a:pt x="4583985" y="3049561"/>
                  <a:pt x="4591173" y="3046633"/>
                  <a:pt x="4600226" y="3046633"/>
                </a:cubicBezTo>
                <a:close/>
                <a:moveTo>
                  <a:pt x="4382713" y="3046633"/>
                </a:moveTo>
                <a:cubicBezTo>
                  <a:pt x="4386840" y="3046633"/>
                  <a:pt x="4390834" y="3047431"/>
                  <a:pt x="4394428" y="3049161"/>
                </a:cubicBezTo>
                <a:cubicBezTo>
                  <a:pt x="4398155" y="3050760"/>
                  <a:pt x="4401217" y="3052889"/>
                  <a:pt x="4403746" y="3055552"/>
                </a:cubicBezTo>
                <a:cubicBezTo>
                  <a:pt x="4406275" y="3058213"/>
                  <a:pt x="4408405" y="3061408"/>
                  <a:pt x="4409869" y="3065002"/>
                </a:cubicBezTo>
                <a:cubicBezTo>
                  <a:pt x="4411334" y="3068597"/>
                  <a:pt x="4412132" y="3072325"/>
                  <a:pt x="4412132" y="3076451"/>
                </a:cubicBezTo>
                <a:cubicBezTo>
                  <a:pt x="4412132" y="3080578"/>
                  <a:pt x="4411334" y="3084572"/>
                  <a:pt x="4409869" y="3088165"/>
                </a:cubicBezTo>
                <a:cubicBezTo>
                  <a:pt x="4408405" y="3091759"/>
                  <a:pt x="4406275" y="3094821"/>
                  <a:pt x="4403746" y="3097485"/>
                </a:cubicBezTo>
                <a:cubicBezTo>
                  <a:pt x="4401083" y="3100146"/>
                  <a:pt x="4398022" y="3102277"/>
                  <a:pt x="4394428" y="3103740"/>
                </a:cubicBezTo>
                <a:cubicBezTo>
                  <a:pt x="4390834" y="3105204"/>
                  <a:pt x="4386973" y="3106003"/>
                  <a:pt x="4382713" y="3106003"/>
                </a:cubicBezTo>
                <a:cubicBezTo>
                  <a:pt x="4373661" y="3106003"/>
                  <a:pt x="4366473" y="3103074"/>
                  <a:pt x="4360881" y="3097485"/>
                </a:cubicBezTo>
                <a:cubicBezTo>
                  <a:pt x="4355290" y="3091894"/>
                  <a:pt x="4352495" y="3084838"/>
                  <a:pt x="4352495" y="3076318"/>
                </a:cubicBezTo>
                <a:cubicBezTo>
                  <a:pt x="4352495" y="3068065"/>
                  <a:pt x="4355290" y="3061009"/>
                  <a:pt x="4360881" y="3055286"/>
                </a:cubicBezTo>
                <a:cubicBezTo>
                  <a:pt x="4366473" y="3049561"/>
                  <a:pt x="4373661" y="3046633"/>
                  <a:pt x="4382713" y="3046633"/>
                </a:cubicBezTo>
                <a:close/>
                <a:moveTo>
                  <a:pt x="4165068" y="3046633"/>
                </a:moveTo>
                <a:cubicBezTo>
                  <a:pt x="4169327" y="3046633"/>
                  <a:pt x="4173188" y="3047431"/>
                  <a:pt x="4176782" y="3049161"/>
                </a:cubicBezTo>
                <a:cubicBezTo>
                  <a:pt x="4180509" y="3050760"/>
                  <a:pt x="4183571" y="3052889"/>
                  <a:pt x="4186100" y="3055552"/>
                </a:cubicBezTo>
                <a:cubicBezTo>
                  <a:pt x="4188629" y="3058213"/>
                  <a:pt x="4190759" y="3061408"/>
                  <a:pt x="4192223" y="3065002"/>
                </a:cubicBezTo>
                <a:cubicBezTo>
                  <a:pt x="4193688" y="3068597"/>
                  <a:pt x="4194486" y="3072325"/>
                  <a:pt x="4194486" y="3076451"/>
                </a:cubicBezTo>
                <a:cubicBezTo>
                  <a:pt x="4194486" y="3080578"/>
                  <a:pt x="4193688" y="3084572"/>
                  <a:pt x="4192223" y="3088165"/>
                </a:cubicBezTo>
                <a:cubicBezTo>
                  <a:pt x="4190759" y="3091759"/>
                  <a:pt x="4188629" y="3094821"/>
                  <a:pt x="4186100" y="3097485"/>
                </a:cubicBezTo>
                <a:cubicBezTo>
                  <a:pt x="4183438" y="3100146"/>
                  <a:pt x="4180376" y="3102277"/>
                  <a:pt x="4176782" y="3103740"/>
                </a:cubicBezTo>
                <a:cubicBezTo>
                  <a:pt x="4173188" y="3105204"/>
                  <a:pt x="4169327" y="3106003"/>
                  <a:pt x="4165068" y="3106003"/>
                </a:cubicBezTo>
                <a:cubicBezTo>
                  <a:pt x="4156015" y="3106003"/>
                  <a:pt x="4148827" y="3103074"/>
                  <a:pt x="4143235" y="3097485"/>
                </a:cubicBezTo>
                <a:cubicBezTo>
                  <a:pt x="4137645" y="3091894"/>
                  <a:pt x="4134849" y="3084838"/>
                  <a:pt x="4134849" y="3076318"/>
                </a:cubicBezTo>
                <a:cubicBezTo>
                  <a:pt x="4134849" y="3068065"/>
                  <a:pt x="4137645" y="3061009"/>
                  <a:pt x="4143235" y="3055286"/>
                </a:cubicBezTo>
                <a:cubicBezTo>
                  <a:pt x="4148827" y="3049561"/>
                  <a:pt x="4156015" y="3046633"/>
                  <a:pt x="4165068" y="3046633"/>
                </a:cubicBezTo>
                <a:close/>
                <a:moveTo>
                  <a:pt x="3947593" y="3046633"/>
                </a:moveTo>
                <a:cubicBezTo>
                  <a:pt x="3951855" y="3046633"/>
                  <a:pt x="3955714" y="3047431"/>
                  <a:pt x="3959309" y="3049161"/>
                </a:cubicBezTo>
                <a:cubicBezTo>
                  <a:pt x="3963038" y="3050760"/>
                  <a:pt x="3966098" y="3052889"/>
                  <a:pt x="3968627" y="3055552"/>
                </a:cubicBezTo>
                <a:cubicBezTo>
                  <a:pt x="3971158" y="3058213"/>
                  <a:pt x="3973287" y="3061408"/>
                  <a:pt x="3974751" y="3065002"/>
                </a:cubicBezTo>
                <a:cubicBezTo>
                  <a:pt x="3976216" y="3068597"/>
                  <a:pt x="3977015" y="3072325"/>
                  <a:pt x="3977015" y="3076451"/>
                </a:cubicBezTo>
                <a:cubicBezTo>
                  <a:pt x="3977015" y="3080578"/>
                  <a:pt x="3976216" y="3084572"/>
                  <a:pt x="3974751" y="3088165"/>
                </a:cubicBezTo>
                <a:cubicBezTo>
                  <a:pt x="3973287" y="3091759"/>
                  <a:pt x="3971158" y="3094821"/>
                  <a:pt x="3968627" y="3097485"/>
                </a:cubicBezTo>
                <a:cubicBezTo>
                  <a:pt x="3965965" y="3100146"/>
                  <a:pt x="3962904" y="3102277"/>
                  <a:pt x="3959309" y="3103740"/>
                </a:cubicBezTo>
                <a:cubicBezTo>
                  <a:pt x="3955714" y="3105204"/>
                  <a:pt x="3951855" y="3106003"/>
                  <a:pt x="3947593" y="3106003"/>
                </a:cubicBezTo>
                <a:cubicBezTo>
                  <a:pt x="3938541" y="3106003"/>
                  <a:pt x="3931353" y="3103074"/>
                  <a:pt x="3925761" y="3097485"/>
                </a:cubicBezTo>
                <a:cubicBezTo>
                  <a:pt x="3920170" y="3091894"/>
                  <a:pt x="3917374" y="3084838"/>
                  <a:pt x="3917374" y="3076318"/>
                </a:cubicBezTo>
                <a:cubicBezTo>
                  <a:pt x="3917374" y="3068065"/>
                  <a:pt x="3920170" y="3061009"/>
                  <a:pt x="3925761" y="3055286"/>
                </a:cubicBezTo>
                <a:cubicBezTo>
                  <a:pt x="3931353" y="3049561"/>
                  <a:pt x="3938541" y="3046633"/>
                  <a:pt x="3947593" y="3046633"/>
                </a:cubicBezTo>
                <a:close/>
                <a:moveTo>
                  <a:pt x="3729940" y="3046633"/>
                </a:moveTo>
                <a:cubicBezTo>
                  <a:pt x="3734201" y="3046633"/>
                  <a:pt x="3738193" y="3047431"/>
                  <a:pt x="3741655" y="3049161"/>
                </a:cubicBezTo>
                <a:cubicBezTo>
                  <a:pt x="3745249" y="3050760"/>
                  <a:pt x="3748445" y="3052889"/>
                  <a:pt x="3750974" y="3055552"/>
                </a:cubicBezTo>
                <a:cubicBezTo>
                  <a:pt x="3753503" y="3058213"/>
                  <a:pt x="3755632" y="3061408"/>
                  <a:pt x="3757096" y="3065002"/>
                </a:cubicBezTo>
                <a:cubicBezTo>
                  <a:pt x="3758560" y="3068597"/>
                  <a:pt x="3759359" y="3072325"/>
                  <a:pt x="3759359" y="3076451"/>
                </a:cubicBezTo>
                <a:cubicBezTo>
                  <a:pt x="3759359" y="3080578"/>
                  <a:pt x="3758560" y="3084572"/>
                  <a:pt x="3757096" y="3088165"/>
                </a:cubicBezTo>
                <a:cubicBezTo>
                  <a:pt x="3755632" y="3091759"/>
                  <a:pt x="3753503" y="3094821"/>
                  <a:pt x="3750974" y="3097485"/>
                </a:cubicBezTo>
                <a:cubicBezTo>
                  <a:pt x="3748311" y="3100146"/>
                  <a:pt x="3745249" y="3102277"/>
                  <a:pt x="3741655" y="3103740"/>
                </a:cubicBezTo>
                <a:cubicBezTo>
                  <a:pt x="3738062" y="3105204"/>
                  <a:pt x="3734201" y="3106003"/>
                  <a:pt x="3729940" y="3106003"/>
                </a:cubicBezTo>
                <a:cubicBezTo>
                  <a:pt x="3720888" y="3106003"/>
                  <a:pt x="3713699" y="3103074"/>
                  <a:pt x="3708104" y="3097485"/>
                </a:cubicBezTo>
                <a:cubicBezTo>
                  <a:pt x="3702512" y="3091894"/>
                  <a:pt x="3699718" y="3084838"/>
                  <a:pt x="3699718" y="3076318"/>
                </a:cubicBezTo>
                <a:cubicBezTo>
                  <a:pt x="3699718" y="3068065"/>
                  <a:pt x="3702512" y="3061009"/>
                  <a:pt x="3708104" y="3055286"/>
                </a:cubicBezTo>
                <a:cubicBezTo>
                  <a:pt x="3713699" y="3049561"/>
                  <a:pt x="3720888" y="3046633"/>
                  <a:pt x="3729940" y="3046633"/>
                </a:cubicBezTo>
                <a:close/>
                <a:moveTo>
                  <a:pt x="3512286" y="3046633"/>
                </a:moveTo>
                <a:cubicBezTo>
                  <a:pt x="3516547" y="3046633"/>
                  <a:pt x="3520540" y="3047431"/>
                  <a:pt x="3524002" y="3049161"/>
                </a:cubicBezTo>
                <a:cubicBezTo>
                  <a:pt x="3527595" y="3050760"/>
                  <a:pt x="3530791" y="3052889"/>
                  <a:pt x="3533320" y="3055552"/>
                </a:cubicBezTo>
                <a:cubicBezTo>
                  <a:pt x="3535849" y="3058213"/>
                  <a:pt x="3537979" y="3061408"/>
                  <a:pt x="3539443" y="3065002"/>
                </a:cubicBezTo>
                <a:cubicBezTo>
                  <a:pt x="3540907" y="3068597"/>
                  <a:pt x="3541706" y="3072325"/>
                  <a:pt x="3541706" y="3076451"/>
                </a:cubicBezTo>
                <a:cubicBezTo>
                  <a:pt x="3541706" y="3080578"/>
                  <a:pt x="3540907" y="3084572"/>
                  <a:pt x="3539443" y="3088165"/>
                </a:cubicBezTo>
                <a:cubicBezTo>
                  <a:pt x="3537979" y="3091759"/>
                  <a:pt x="3535849" y="3094821"/>
                  <a:pt x="3533320" y="3097485"/>
                </a:cubicBezTo>
                <a:cubicBezTo>
                  <a:pt x="3530657" y="3100146"/>
                  <a:pt x="3527595" y="3102277"/>
                  <a:pt x="3524002" y="3103740"/>
                </a:cubicBezTo>
                <a:cubicBezTo>
                  <a:pt x="3520407" y="3105204"/>
                  <a:pt x="3516547" y="3106003"/>
                  <a:pt x="3512286" y="3106003"/>
                </a:cubicBezTo>
                <a:cubicBezTo>
                  <a:pt x="3503232" y="3106003"/>
                  <a:pt x="3496042" y="3103074"/>
                  <a:pt x="3490452" y="3097485"/>
                </a:cubicBezTo>
                <a:cubicBezTo>
                  <a:pt x="3484861" y="3091894"/>
                  <a:pt x="3482065" y="3084838"/>
                  <a:pt x="3482065" y="3076318"/>
                </a:cubicBezTo>
                <a:cubicBezTo>
                  <a:pt x="3482065" y="3068065"/>
                  <a:pt x="3484861" y="3061009"/>
                  <a:pt x="3490452" y="3055286"/>
                </a:cubicBezTo>
                <a:cubicBezTo>
                  <a:pt x="3496042" y="3049561"/>
                  <a:pt x="3503232" y="3046633"/>
                  <a:pt x="3512286" y="3046633"/>
                </a:cubicBezTo>
                <a:close/>
                <a:moveTo>
                  <a:pt x="3294765" y="3046633"/>
                </a:moveTo>
                <a:cubicBezTo>
                  <a:pt x="3298892" y="3046633"/>
                  <a:pt x="3302887" y="3047431"/>
                  <a:pt x="3306481" y="3049161"/>
                </a:cubicBezTo>
                <a:cubicBezTo>
                  <a:pt x="3310208" y="3050760"/>
                  <a:pt x="3313270" y="3052889"/>
                  <a:pt x="3315799" y="3055552"/>
                </a:cubicBezTo>
                <a:cubicBezTo>
                  <a:pt x="3318328" y="3058213"/>
                  <a:pt x="3320458" y="3061408"/>
                  <a:pt x="3321922" y="3065002"/>
                </a:cubicBezTo>
                <a:cubicBezTo>
                  <a:pt x="3323386" y="3068597"/>
                  <a:pt x="3324185" y="3072325"/>
                  <a:pt x="3324185" y="3076451"/>
                </a:cubicBezTo>
                <a:cubicBezTo>
                  <a:pt x="3324185" y="3080578"/>
                  <a:pt x="3323386" y="3084572"/>
                  <a:pt x="3321922" y="3088165"/>
                </a:cubicBezTo>
                <a:cubicBezTo>
                  <a:pt x="3320458" y="3091759"/>
                  <a:pt x="3318328" y="3094821"/>
                  <a:pt x="3315799" y="3097485"/>
                </a:cubicBezTo>
                <a:cubicBezTo>
                  <a:pt x="3313136" y="3100146"/>
                  <a:pt x="3310074" y="3102277"/>
                  <a:pt x="3306481" y="3103740"/>
                </a:cubicBezTo>
                <a:cubicBezTo>
                  <a:pt x="3302887" y="3105204"/>
                  <a:pt x="3299026" y="3106003"/>
                  <a:pt x="3294765" y="3106003"/>
                </a:cubicBezTo>
                <a:cubicBezTo>
                  <a:pt x="3285712" y="3106003"/>
                  <a:pt x="3278523" y="3103074"/>
                  <a:pt x="3272930" y="3097485"/>
                </a:cubicBezTo>
                <a:cubicBezTo>
                  <a:pt x="3267338" y="3091894"/>
                  <a:pt x="3264543" y="3084838"/>
                  <a:pt x="3264543" y="3076318"/>
                </a:cubicBezTo>
                <a:cubicBezTo>
                  <a:pt x="3264543" y="3068065"/>
                  <a:pt x="3267338" y="3061009"/>
                  <a:pt x="3272930" y="3055286"/>
                </a:cubicBezTo>
                <a:cubicBezTo>
                  <a:pt x="3278523" y="3049561"/>
                  <a:pt x="3285712" y="3046633"/>
                  <a:pt x="3294765" y="3046633"/>
                </a:cubicBezTo>
                <a:close/>
                <a:moveTo>
                  <a:pt x="3077111" y="3046633"/>
                </a:moveTo>
                <a:cubicBezTo>
                  <a:pt x="3081239" y="3046633"/>
                  <a:pt x="3085233" y="3047431"/>
                  <a:pt x="3088827" y="3049161"/>
                </a:cubicBezTo>
                <a:cubicBezTo>
                  <a:pt x="3092421" y="3050760"/>
                  <a:pt x="3095616" y="3052889"/>
                  <a:pt x="3098145" y="3055552"/>
                </a:cubicBezTo>
                <a:cubicBezTo>
                  <a:pt x="3100674" y="3058213"/>
                  <a:pt x="3102804" y="3061408"/>
                  <a:pt x="3104268" y="3065002"/>
                </a:cubicBezTo>
                <a:cubicBezTo>
                  <a:pt x="3105733" y="3068597"/>
                  <a:pt x="3106531" y="3072325"/>
                  <a:pt x="3106531" y="3076451"/>
                </a:cubicBezTo>
                <a:cubicBezTo>
                  <a:pt x="3106531" y="3080578"/>
                  <a:pt x="3105733" y="3084572"/>
                  <a:pt x="3104268" y="3088165"/>
                </a:cubicBezTo>
                <a:cubicBezTo>
                  <a:pt x="3102804" y="3091759"/>
                  <a:pt x="3100674" y="3094821"/>
                  <a:pt x="3098145" y="3097485"/>
                </a:cubicBezTo>
                <a:cubicBezTo>
                  <a:pt x="3095482" y="3100146"/>
                  <a:pt x="3092421" y="3102277"/>
                  <a:pt x="3088827" y="3103740"/>
                </a:cubicBezTo>
                <a:cubicBezTo>
                  <a:pt x="3085233" y="3105204"/>
                  <a:pt x="3081372" y="3106003"/>
                  <a:pt x="3077111" y="3106003"/>
                </a:cubicBezTo>
                <a:cubicBezTo>
                  <a:pt x="3068191" y="3106003"/>
                  <a:pt x="3060870" y="3103074"/>
                  <a:pt x="3055276" y="3097485"/>
                </a:cubicBezTo>
                <a:cubicBezTo>
                  <a:pt x="3049686" y="3091894"/>
                  <a:pt x="3046890" y="3084838"/>
                  <a:pt x="3046890" y="3076318"/>
                </a:cubicBezTo>
                <a:cubicBezTo>
                  <a:pt x="3046890" y="3068065"/>
                  <a:pt x="3049686" y="3061009"/>
                  <a:pt x="3055276" y="3055286"/>
                </a:cubicBezTo>
                <a:cubicBezTo>
                  <a:pt x="3060870" y="3049561"/>
                  <a:pt x="3068059" y="3046633"/>
                  <a:pt x="3077111" y="3046633"/>
                </a:cubicBezTo>
                <a:close/>
                <a:moveTo>
                  <a:pt x="2859458" y="3046633"/>
                </a:moveTo>
                <a:cubicBezTo>
                  <a:pt x="2863718" y="3046633"/>
                  <a:pt x="2867579" y="3047431"/>
                  <a:pt x="2871306" y="3049161"/>
                </a:cubicBezTo>
                <a:cubicBezTo>
                  <a:pt x="2875033" y="3050760"/>
                  <a:pt x="2878095" y="3052889"/>
                  <a:pt x="2880624" y="3055552"/>
                </a:cubicBezTo>
                <a:cubicBezTo>
                  <a:pt x="2883286" y="3058213"/>
                  <a:pt x="2885283" y="3061408"/>
                  <a:pt x="2886747" y="3065002"/>
                </a:cubicBezTo>
                <a:cubicBezTo>
                  <a:pt x="2888212" y="3068597"/>
                  <a:pt x="2889010" y="3072325"/>
                  <a:pt x="2889010" y="3076451"/>
                </a:cubicBezTo>
                <a:cubicBezTo>
                  <a:pt x="2889010" y="3080578"/>
                  <a:pt x="2888212" y="3084572"/>
                  <a:pt x="2886747" y="3088165"/>
                </a:cubicBezTo>
                <a:cubicBezTo>
                  <a:pt x="2885283" y="3091759"/>
                  <a:pt x="2883153" y="3094821"/>
                  <a:pt x="2880624" y="3097485"/>
                </a:cubicBezTo>
                <a:cubicBezTo>
                  <a:pt x="2877962" y="3100146"/>
                  <a:pt x="2874900" y="3102277"/>
                  <a:pt x="2871306" y="3103740"/>
                </a:cubicBezTo>
                <a:cubicBezTo>
                  <a:pt x="2867579" y="3105204"/>
                  <a:pt x="2863718" y="3106003"/>
                  <a:pt x="2859458" y="3106003"/>
                </a:cubicBezTo>
                <a:cubicBezTo>
                  <a:pt x="2850540" y="3106003"/>
                  <a:pt x="2843213" y="3103074"/>
                  <a:pt x="2837623" y="3097485"/>
                </a:cubicBezTo>
                <a:cubicBezTo>
                  <a:pt x="2832032" y="3091894"/>
                  <a:pt x="2829236" y="3084838"/>
                  <a:pt x="2829236" y="3076318"/>
                </a:cubicBezTo>
                <a:cubicBezTo>
                  <a:pt x="2829236" y="3068065"/>
                  <a:pt x="2832032" y="3061009"/>
                  <a:pt x="2837623" y="3055286"/>
                </a:cubicBezTo>
                <a:cubicBezTo>
                  <a:pt x="2843213" y="3049561"/>
                  <a:pt x="2850406" y="3046633"/>
                  <a:pt x="2859458" y="3046633"/>
                </a:cubicBezTo>
                <a:close/>
                <a:moveTo>
                  <a:pt x="2641803" y="3046633"/>
                </a:moveTo>
                <a:cubicBezTo>
                  <a:pt x="2646064" y="3046633"/>
                  <a:pt x="2649924" y="3047431"/>
                  <a:pt x="2653519" y="3049161"/>
                </a:cubicBezTo>
                <a:cubicBezTo>
                  <a:pt x="2657246" y="3050760"/>
                  <a:pt x="2660308" y="3052889"/>
                  <a:pt x="2662837" y="3055552"/>
                </a:cubicBezTo>
                <a:cubicBezTo>
                  <a:pt x="2665499" y="3058213"/>
                  <a:pt x="2667496" y="3061408"/>
                  <a:pt x="2668960" y="3065002"/>
                </a:cubicBezTo>
                <a:cubicBezTo>
                  <a:pt x="2670424" y="3068597"/>
                  <a:pt x="2671223" y="3072325"/>
                  <a:pt x="2671223" y="3076451"/>
                </a:cubicBezTo>
                <a:cubicBezTo>
                  <a:pt x="2671223" y="3080578"/>
                  <a:pt x="2670424" y="3084572"/>
                  <a:pt x="2668960" y="3088165"/>
                </a:cubicBezTo>
                <a:cubicBezTo>
                  <a:pt x="2667496" y="3091759"/>
                  <a:pt x="2665366" y="3094821"/>
                  <a:pt x="2662837" y="3097485"/>
                </a:cubicBezTo>
                <a:cubicBezTo>
                  <a:pt x="2660308" y="3100146"/>
                  <a:pt x="2657113" y="3102277"/>
                  <a:pt x="2653519" y="3103740"/>
                </a:cubicBezTo>
                <a:cubicBezTo>
                  <a:pt x="2649924" y="3105204"/>
                  <a:pt x="2646064" y="3106003"/>
                  <a:pt x="2641803" y="3106003"/>
                </a:cubicBezTo>
                <a:cubicBezTo>
                  <a:pt x="2632884" y="3106003"/>
                  <a:pt x="2625563" y="3103074"/>
                  <a:pt x="2619971" y="3097485"/>
                </a:cubicBezTo>
                <a:cubicBezTo>
                  <a:pt x="2614380" y="3091894"/>
                  <a:pt x="2611583" y="3084838"/>
                  <a:pt x="2611583" y="3076318"/>
                </a:cubicBezTo>
                <a:cubicBezTo>
                  <a:pt x="2611583" y="3068065"/>
                  <a:pt x="2614380" y="3061009"/>
                  <a:pt x="2619971" y="3055286"/>
                </a:cubicBezTo>
                <a:cubicBezTo>
                  <a:pt x="2625563" y="3049561"/>
                  <a:pt x="2632752" y="3046633"/>
                  <a:pt x="2641803" y="3046633"/>
                </a:cubicBezTo>
                <a:close/>
                <a:moveTo>
                  <a:pt x="2424149" y="3046633"/>
                </a:moveTo>
                <a:cubicBezTo>
                  <a:pt x="2428410" y="3046633"/>
                  <a:pt x="2432404" y="3047431"/>
                  <a:pt x="2435865" y="3049161"/>
                </a:cubicBezTo>
                <a:cubicBezTo>
                  <a:pt x="2439592" y="3050760"/>
                  <a:pt x="2442654" y="3052889"/>
                  <a:pt x="2445183" y="3055552"/>
                </a:cubicBezTo>
                <a:cubicBezTo>
                  <a:pt x="2447845" y="3058213"/>
                  <a:pt x="2449842" y="3061408"/>
                  <a:pt x="2451306" y="3065002"/>
                </a:cubicBezTo>
                <a:cubicBezTo>
                  <a:pt x="2452770" y="3068597"/>
                  <a:pt x="2453569" y="3072325"/>
                  <a:pt x="2453569" y="3076451"/>
                </a:cubicBezTo>
                <a:cubicBezTo>
                  <a:pt x="2453569" y="3080578"/>
                  <a:pt x="2452770" y="3084572"/>
                  <a:pt x="2451306" y="3088165"/>
                </a:cubicBezTo>
                <a:cubicBezTo>
                  <a:pt x="2449842" y="3091759"/>
                  <a:pt x="2447712" y="3094821"/>
                  <a:pt x="2445183" y="3097485"/>
                </a:cubicBezTo>
                <a:cubicBezTo>
                  <a:pt x="2442654" y="3100146"/>
                  <a:pt x="2439459" y="3102277"/>
                  <a:pt x="2435865" y="3103740"/>
                </a:cubicBezTo>
                <a:cubicBezTo>
                  <a:pt x="2432271" y="3105204"/>
                  <a:pt x="2428410" y="3106003"/>
                  <a:pt x="2424149" y="3106003"/>
                </a:cubicBezTo>
                <a:cubicBezTo>
                  <a:pt x="2415231" y="3106003"/>
                  <a:pt x="2407909" y="3103074"/>
                  <a:pt x="2402317" y="3097485"/>
                </a:cubicBezTo>
                <a:cubicBezTo>
                  <a:pt x="2396726" y="3091894"/>
                  <a:pt x="2393929" y="3084838"/>
                  <a:pt x="2393929" y="3076318"/>
                </a:cubicBezTo>
                <a:cubicBezTo>
                  <a:pt x="2393929" y="3068065"/>
                  <a:pt x="2396726" y="3061009"/>
                  <a:pt x="2402317" y="3055286"/>
                </a:cubicBezTo>
                <a:cubicBezTo>
                  <a:pt x="2407909" y="3049561"/>
                  <a:pt x="2415097" y="3046633"/>
                  <a:pt x="2424149" y="3046633"/>
                </a:cubicBezTo>
                <a:close/>
                <a:moveTo>
                  <a:pt x="2206496" y="3046633"/>
                </a:moveTo>
                <a:cubicBezTo>
                  <a:pt x="2210756" y="3046633"/>
                  <a:pt x="2214750" y="3047431"/>
                  <a:pt x="2218211" y="3049161"/>
                </a:cubicBezTo>
                <a:cubicBezTo>
                  <a:pt x="2221938" y="3050760"/>
                  <a:pt x="2224999" y="3052889"/>
                  <a:pt x="2227529" y="3055552"/>
                </a:cubicBezTo>
                <a:cubicBezTo>
                  <a:pt x="2230191" y="3058213"/>
                  <a:pt x="2232188" y="3061408"/>
                  <a:pt x="2233652" y="3065002"/>
                </a:cubicBezTo>
                <a:cubicBezTo>
                  <a:pt x="2235116" y="3068597"/>
                  <a:pt x="2235915" y="3072325"/>
                  <a:pt x="2235915" y="3076451"/>
                </a:cubicBezTo>
                <a:cubicBezTo>
                  <a:pt x="2235915" y="3080578"/>
                  <a:pt x="2235116" y="3084572"/>
                  <a:pt x="2233652" y="3088165"/>
                </a:cubicBezTo>
                <a:cubicBezTo>
                  <a:pt x="2232188" y="3091759"/>
                  <a:pt x="2230058" y="3094821"/>
                  <a:pt x="2227529" y="3097485"/>
                </a:cubicBezTo>
                <a:cubicBezTo>
                  <a:pt x="2224999" y="3100146"/>
                  <a:pt x="2221805" y="3102277"/>
                  <a:pt x="2218211" y="3103740"/>
                </a:cubicBezTo>
                <a:cubicBezTo>
                  <a:pt x="2214616" y="3105204"/>
                  <a:pt x="2210756" y="3106003"/>
                  <a:pt x="2206496" y="3106003"/>
                </a:cubicBezTo>
                <a:cubicBezTo>
                  <a:pt x="2197443" y="3106003"/>
                  <a:pt x="2190255" y="3103074"/>
                  <a:pt x="2184663" y="3097485"/>
                </a:cubicBezTo>
                <a:cubicBezTo>
                  <a:pt x="2179072" y="3091894"/>
                  <a:pt x="2176276" y="3084838"/>
                  <a:pt x="2176276" y="3076318"/>
                </a:cubicBezTo>
                <a:cubicBezTo>
                  <a:pt x="2176276" y="3068065"/>
                  <a:pt x="2179072" y="3061009"/>
                  <a:pt x="2184663" y="3055286"/>
                </a:cubicBezTo>
                <a:cubicBezTo>
                  <a:pt x="2190255" y="3049561"/>
                  <a:pt x="2197443" y="3046633"/>
                  <a:pt x="2206496" y="3046633"/>
                </a:cubicBezTo>
                <a:close/>
                <a:moveTo>
                  <a:pt x="1988975" y="3046633"/>
                </a:moveTo>
                <a:cubicBezTo>
                  <a:pt x="1993102" y="3046633"/>
                  <a:pt x="1997096" y="3047431"/>
                  <a:pt x="2000690" y="3049161"/>
                </a:cubicBezTo>
                <a:cubicBezTo>
                  <a:pt x="2004417" y="3050760"/>
                  <a:pt x="2007479" y="3052889"/>
                  <a:pt x="2010008" y="3055552"/>
                </a:cubicBezTo>
                <a:cubicBezTo>
                  <a:pt x="2012670" y="3058213"/>
                  <a:pt x="2014667" y="3061408"/>
                  <a:pt x="2016131" y="3065002"/>
                </a:cubicBezTo>
                <a:cubicBezTo>
                  <a:pt x="2017595" y="3068597"/>
                  <a:pt x="2018394" y="3072325"/>
                  <a:pt x="2018394" y="3076451"/>
                </a:cubicBezTo>
                <a:cubicBezTo>
                  <a:pt x="2018394" y="3080578"/>
                  <a:pt x="2017595" y="3084572"/>
                  <a:pt x="2016131" y="3088165"/>
                </a:cubicBezTo>
                <a:cubicBezTo>
                  <a:pt x="2014667" y="3091759"/>
                  <a:pt x="2012537" y="3094821"/>
                  <a:pt x="2010008" y="3097485"/>
                </a:cubicBezTo>
                <a:cubicBezTo>
                  <a:pt x="2007479" y="3100146"/>
                  <a:pt x="2004284" y="3102277"/>
                  <a:pt x="2000690" y="3103740"/>
                </a:cubicBezTo>
                <a:cubicBezTo>
                  <a:pt x="1997096" y="3105204"/>
                  <a:pt x="1993234" y="3106003"/>
                  <a:pt x="1988975" y="3106003"/>
                </a:cubicBezTo>
                <a:cubicBezTo>
                  <a:pt x="1979923" y="3106003"/>
                  <a:pt x="1972734" y="3103074"/>
                  <a:pt x="1967143" y="3097485"/>
                </a:cubicBezTo>
                <a:cubicBezTo>
                  <a:pt x="1961553" y="3091894"/>
                  <a:pt x="1958757" y="3084838"/>
                  <a:pt x="1958757" y="3076318"/>
                </a:cubicBezTo>
                <a:cubicBezTo>
                  <a:pt x="1958757" y="3068065"/>
                  <a:pt x="1961553" y="3061009"/>
                  <a:pt x="1967143" y="3055286"/>
                </a:cubicBezTo>
                <a:cubicBezTo>
                  <a:pt x="1972734" y="3049561"/>
                  <a:pt x="1979923" y="3046633"/>
                  <a:pt x="1988975" y="3046633"/>
                </a:cubicBezTo>
                <a:close/>
                <a:moveTo>
                  <a:pt x="1771336" y="3046633"/>
                </a:moveTo>
                <a:cubicBezTo>
                  <a:pt x="1775595" y="3046633"/>
                  <a:pt x="1779455" y="3047431"/>
                  <a:pt x="1783050" y="3049161"/>
                </a:cubicBezTo>
                <a:cubicBezTo>
                  <a:pt x="1786778" y="3050760"/>
                  <a:pt x="1789839" y="3052889"/>
                  <a:pt x="1792368" y="3055552"/>
                </a:cubicBezTo>
                <a:cubicBezTo>
                  <a:pt x="1795030" y="3058213"/>
                  <a:pt x="1797028" y="3061408"/>
                  <a:pt x="1798491" y="3065002"/>
                </a:cubicBezTo>
                <a:cubicBezTo>
                  <a:pt x="1799955" y="3068597"/>
                  <a:pt x="1800754" y="3072325"/>
                  <a:pt x="1800754" y="3076451"/>
                </a:cubicBezTo>
                <a:cubicBezTo>
                  <a:pt x="1800754" y="3080578"/>
                  <a:pt x="1799955" y="3084572"/>
                  <a:pt x="1798491" y="3088165"/>
                </a:cubicBezTo>
                <a:cubicBezTo>
                  <a:pt x="1797028" y="3091759"/>
                  <a:pt x="1794897" y="3094821"/>
                  <a:pt x="1792368" y="3097485"/>
                </a:cubicBezTo>
                <a:cubicBezTo>
                  <a:pt x="1789705" y="3100146"/>
                  <a:pt x="1786645" y="3102277"/>
                  <a:pt x="1783050" y="3103740"/>
                </a:cubicBezTo>
                <a:cubicBezTo>
                  <a:pt x="1779455" y="3105204"/>
                  <a:pt x="1775595" y="3106003"/>
                  <a:pt x="1771336" y="3106003"/>
                </a:cubicBezTo>
                <a:cubicBezTo>
                  <a:pt x="1762417" y="3106003"/>
                  <a:pt x="1755096" y="3103074"/>
                  <a:pt x="1749506" y="3097485"/>
                </a:cubicBezTo>
                <a:cubicBezTo>
                  <a:pt x="1743915" y="3091894"/>
                  <a:pt x="1741121" y="3084838"/>
                  <a:pt x="1741121" y="3076318"/>
                </a:cubicBezTo>
                <a:cubicBezTo>
                  <a:pt x="1741121" y="3068065"/>
                  <a:pt x="1743915" y="3061009"/>
                  <a:pt x="1749506" y="3055286"/>
                </a:cubicBezTo>
                <a:cubicBezTo>
                  <a:pt x="1755096" y="3049561"/>
                  <a:pt x="1762284" y="3046633"/>
                  <a:pt x="1771336" y="3046633"/>
                </a:cubicBezTo>
                <a:close/>
                <a:moveTo>
                  <a:pt x="1553695" y="3046633"/>
                </a:moveTo>
                <a:cubicBezTo>
                  <a:pt x="1557955" y="3046633"/>
                  <a:pt x="1561816" y="3047431"/>
                  <a:pt x="1565410" y="3049161"/>
                </a:cubicBezTo>
                <a:cubicBezTo>
                  <a:pt x="1569004" y="3050760"/>
                  <a:pt x="1572199" y="3052889"/>
                  <a:pt x="1574728" y="3055552"/>
                </a:cubicBezTo>
                <a:cubicBezTo>
                  <a:pt x="1577390" y="3058213"/>
                  <a:pt x="1579387" y="3061408"/>
                  <a:pt x="1580851" y="3065002"/>
                </a:cubicBezTo>
                <a:cubicBezTo>
                  <a:pt x="1582315" y="3068597"/>
                  <a:pt x="1583114" y="3072325"/>
                  <a:pt x="1583114" y="3076451"/>
                </a:cubicBezTo>
                <a:cubicBezTo>
                  <a:pt x="1583114" y="3080578"/>
                  <a:pt x="1582315" y="3084572"/>
                  <a:pt x="1580851" y="3088165"/>
                </a:cubicBezTo>
                <a:cubicBezTo>
                  <a:pt x="1579387" y="3091759"/>
                  <a:pt x="1577257" y="3094821"/>
                  <a:pt x="1574728" y="3097485"/>
                </a:cubicBezTo>
                <a:cubicBezTo>
                  <a:pt x="1572066" y="3100146"/>
                  <a:pt x="1569004" y="3102277"/>
                  <a:pt x="1565410" y="3103740"/>
                </a:cubicBezTo>
                <a:cubicBezTo>
                  <a:pt x="1561816" y="3105204"/>
                  <a:pt x="1557955" y="3106003"/>
                  <a:pt x="1553695" y="3106003"/>
                </a:cubicBezTo>
                <a:cubicBezTo>
                  <a:pt x="1544777" y="3106003"/>
                  <a:pt x="1537455" y="3103074"/>
                  <a:pt x="1531864" y="3097485"/>
                </a:cubicBezTo>
                <a:cubicBezTo>
                  <a:pt x="1526275" y="3091894"/>
                  <a:pt x="1523479" y="3084838"/>
                  <a:pt x="1523479" y="3076318"/>
                </a:cubicBezTo>
                <a:cubicBezTo>
                  <a:pt x="1523479" y="3068065"/>
                  <a:pt x="1526275" y="3061009"/>
                  <a:pt x="1531864" y="3055286"/>
                </a:cubicBezTo>
                <a:cubicBezTo>
                  <a:pt x="1537455" y="3049561"/>
                  <a:pt x="1544643" y="3046633"/>
                  <a:pt x="1553695" y="3046633"/>
                </a:cubicBezTo>
                <a:close/>
                <a:moveTo>
                  <a:pt x="1336051" y="3046633"/>
                </a:moveTo>
                <a:cubicBezTo>
                  <a:pt x="1340311" y="3046633"/>
                  <a:pt x="1344306" y="3047431"/>
                  <a:pt x="1347767" y="3049161"/>
                </a:cubicBezTo>
                <a:cubicBezTo>
                  <a:pt x="1351360" y="3050760"/>
                  <a:pt x="1354554" y="3052889"/>
                  <a:pt x="1357085" y="3055552"/>
                </a:cubicBezTo>
                <a:cubicBezTo>
                  <a:pt x="1359747" y="3058213"/>
                  <a:pt x="1361744" y="3061408"/>
                  <a:pt x="1363207" y="3065002"/>
                </a:cubicBezTo>
                <a:cubicBezTo>
                  <a:pt x="1364672" y="3068597"/>
                  <a:pt x="1365470" y="3072325"/>
                  <a:pt x="1365470" y="3076451"/>
                </a:cubicBezTo>
                <a:cubicBezTo>
                  <a:pt x="1365470" y="3080578"/>
                  <a:pt x="1364672" y="3084572"/>
                  <a:pt x="1363207" y="3088165"/>
                </a:cubicBezTo>
                <a:cubicBezTo>
                  <a:pt x="1361744" y="3091759"/>
                  <a:pt x="1359614" y="3094821"/>
                  <a:pt x="1357085" y="3097485"/>
                </a:cubicBezTo>
                <a:cubicBezTo>
                  <a:pt x="1354421" y="3100146"/>
                  <a:pt x="1351360" y="3102277"/>
                  <a:pt x="1347767" y="3103740"/>
                </a:cubicBezTo>
                <a:cubicBezTo>
                  <a:pt x="1344172" y="3105204"/>
                  <a:pt x="1340311" y="3106003"/>
                  <a:pt x="1336051" y="3106003"/>
                </a:cubicBezTo>
                <a:cubicBezTo>
                  <a:pt x="1327131" y="3106003"/>
                  <a:pt x="1319810" y="3103074"/>
                  <a:pt x="1314219" y="3097485"/>
                </a:cubicBezTo>
                <a:cubicBezTo>
                  <a:pt x="1308628" y="3091894"/>
                  <a:pt x="1305833" y="3084838"/>
                  <a:pt x="1305833" y="3076318"/>
                </a:cubicBezTo>
                <a:cubicBezTo>
                  <a:pt x="1305833" y="3068065"/>
                  <a:pt x="1308628" y="3061009"/>
                  <a:pt x="1314219" y="3055286"/>
                </a:cubicBezTo>
                <a:cubicBezTo>
                  <a:pt x="1319810" y="3049561"/>
                  <a:pt x="1326998" y="3046633"/>
                  <a:pt x="1336051" y="3046633"/>
                </a:cubicBezTo>
                <a:close/>
                <a:moveTo>
                  <a:pt x="1118406" y="3046633"/>
                </a:moveTo>
                <a:cubicBezTo>
                  <a:pt x="1122667" y="3046633"/>
                  <a:pt x="1126662" y="3047431"/>
                  <a:pt x="1130123" y="3049161"/>
                </a:cubicBezTo>
                <a:cubicBezTo>
                  <a:pt x="1133849" y="3050760"/>
                  <a:pt x="1136911" y="3052889"/>
                  <a:pt x="1139439" y="3055552"/>
                </a:cubicBezTo>
                <a:cubicBezTo>
                  <a:pt x="1142100" y="3058213"/>
                  <a:pt x="1144096" y="3061408"/>
                  <a:pt x="1145560" y="3065002"/>
                </a:cubicBezTo>
                <a:cubicBezTo>
                  <a:pt x="1147025" y="3068597"/>
                  <a:pt x="1147824" y="3072325"/>
                  <a:pt x="1147824" y="3076451"/>
                </a:cubicBezTo>
                <a:cubicBezTo>
                  <a:pt x="1147824" y="3080578"/>
                  <a:pt x="1147025" y="3084572"/>
                  <a:pt x="1145560" y="3088165"/>
                </a:cubicBezTo>
                <a:cubicBezTo>
                  <a:pt x="1144096" y="3091759"/>
                  <a:pt x="1141967" y="3094821"/>
                  <a:pt x="1139439" y="3097485"/>
                </a:cubicBezTo>
                <a:cubicBezTo>
                  <a:pt x="1136911" y="3100146"/>
                  <a:pt x="1133716" y="3102277"/>
                  <a:pt x="1130123" y="3103740"/>
                </a:cubicBezTo>
                <a:cubicBezTo>
                  <a:pt x="1126527" y="3105204"/>
                  <a:pt x="1122667" y="3106003"/>
                  <a:pt x="1118406" y="3106003"/>
                </a:cubicBezTo>
                <a:cubicBezTo>
                  <a:pt x="1109487" y="3106003"/>
                  <a:pt x="1102163" y="3103074"/>
                  <a:pt x="1096572" y="3097485"/>
                </a:cubicBezTo>
                <a:cubicBezTo>
                  <a:pt x="1090982" y="3091894"/>
                  <a:pt x="1088187" y="3084838"/>
                  <a:pt x="1088187" y="3076318"/>
                </a:cubicBezTo>
                <a:cubicBezTo>
                  <a:pt x="1088187" y="3068065"/>
                  <a:pt x="1090982" y="3061009"/>
                  <a:pt x="1096572" y="3055286"/>
                </a:cubicBezTo>
                <a:cubicBezTo>
                  <a:pt x="1102163" y="3049561"/>
                  <a:pt x="1109353" y="3046633"/>
                  <a:pt x="1118406" y="3046633"/>
                </a:cubicBezTo>
                <a:close/>
                <a:moveTo>
                  <a:pt x="900893" y="3046633"/>
                </a:moveTo>
                <a:cubicBezTo>
                  <a:pt x="905020" y="3046633"/>
                  <a:pt x="909014" y="3047431"/>
                  <a:pt x="912608" y="3049161"/>
                </a:cubicBezTo>
                <a:cubicBezTo>
                  <a:pt x="916336" y="3050760"/>
                  <a:pt x="919398" y="3052889"/>
                  <a:pt x="921927" y="3055552"/>
                </a:cubicBezTo>
                <a:cubicBezTo>
                  <a:pt x="924589" y="3058213"/>
                  <a:pt x="926586" y="3061408"/>
                  <a:pt x="928049" y="3065002"/>
                </a:cubicBezTo>
                <a:cubicBezTo>
                  <a:pt x="929514" y="3068597"/>
                  <a:pt x="930312" y="3072325"/>
                  <a:pt x="930312" y="3076451"/>
                </a:cubicBezTo>
                <a:cubicBezTo>
                  <a:pt x="930312" y="3080578"/>
                  <a:pt x="929514" y="3084572"/>
                  <a:pt x="928049" y="3088165"/>
                </a:cubicBezTo>
                <a:cubicBezTo>
                  <a:pt x="926586" y="3091759"/>
                  <a:pt x="924456" y="3094821"/>
                  <a:pt x="921927" y="3097485"/>
                </a:cubicBezTo>
                <a:cubicBezTo>
                  <a:pt x="919398" y="3100146"/>
                  <a:pt x="916202" y="3102277"/>
                  <a:pt x="912608" y="3103740"/>
                </a:cubicBezTo>
                <a:cubicBezTo>
                  <a:pt x="909014" y="3105204"/>
                  <a:pt x="905153" y="3106003"/>
                  <a:pt x="900893" y="3106003"/>
                </a:cubicBezTo>
                <a:cubicBezTo>
                  <a:pt x="891975" y="3106003"/>
                  <a:pt x="884653" y="3103074"/>
                  <a:pt x="879062" y="3097485"/>
                </a:cubicBezTo>
                <a:cubicBezTo>
                  <a:pt x="873473" y="3091894"/>
                  <a:pt x="870677" y="3084838"/>
                  <a:pt x="870677" y="3076318"/>
                </a:cubicBezTo>
                <a:cubicBezTo>
                  <a:pt x="870677" y="3068065"/>
                  <a:pt x="873473" y="3061009"/>
                  <a:pt x="879062" y="3055286"/>
                </a:cubicBezTo>
                <a:cubicBezTo>
                  <a:pt x="884653" y="3049561"/>
                  <a:pt x="891842" y="3046633"/>
                  <a:pt x="900893" y="3046633"/>
                </a:cubicBezTo>
                <a:close/>
                <a:moveTo>
                  <a:pt x="683251" y="3046633"/>
                </a:moveTo>
                <a:cubicBezTo>
                  <a:pt x="687511" y="3046633"/>
                  <a:pt x="691372" y="3047431"/>
                  <a:pt x="694966" y="3049161"/>
                </a:cubicBezTo>
                <a:cubicBezTo>
                  <a:pt x="698693" y="3050760"/>
                  <a:pt x="701755" y="3052889"/>
                  <a:pt x="704284" y="3055552"/>
                </a:cubicBezTo>
                <a:cubicBezTo>
                  <a:pt x="706946" y="3058213"/>
                  <a:pt x="708943" y="3061408"/>
                  <a:pt x="710407" y="3065002"/>
                </a:cubicBezTo>
                <a:cubicBezTo>
                  <a:pt x="711871" y="3068597"/>
                  <a:pt x="712670" y="3072325"/>
                  <a:pt x="712670" y="3076451"/>
                </a:cubicBezTo>
                <a:cubicBezTo>
                  <a:pt x="712670" y="3080578"/>
                  <a:pt x="711871" y="3084572"/>
                  <a:pt x="710407" y="3088165"/>
                </a:cubicBezTo>
                <a:cubicBezTo>
                  <a:pt x="708943" y="3091759"/>
                  <a:pt x="706813" y="3094821"/>
                  <a:pt x="704284" y="3097485"/>
                </a:cubicBezTo>
                <a:cubicBezTo>
                  <a:pt x="701755" y="3100146"/>
                  <a:pt x="698560" y="3102277"/>
                  <a:pt x="694966" y="3103740"/>
                </a:cubicBezTo>
                <a:cubicBezTo>
                  <a:pt x="691372" y="3105204"/>
                  <a:pt x="687511" y="3106003"/>
                  <a:pt x="683251" y="3106003"/>
                </a:cubicBezTo>
                <a:cubicBezTo>
                  <a:pt x="674333" y="3106003"/>
                  <a:pt x="667011" y="3103074"/>
                  <a:pt x="661420" y="3097485"/>
                </a:cubicBezTo>
                <a:cubicBezTo>
                  <a:pt x="655829" y="3091894"/>
                  <a:pt x="653034" y="3084838"/>
                  <a:pt x="653034" y="3076318"/>
                </a:cubicBezTo>
                <a:cubicBezTo>
                  <a:pt x="653034" y="3068065"/>
                  <a:pt x="655829" y="3061009"/>
                  <a:pt x="661420" y="3055286"/>
                </a:cubicBezTo>
                <a:cubicBezTo>
                  <a:pt x="667011" y="3049561"/>
                  <a:pt x="674200" y="3046633"/>
                  <a:pt x="683251" y="3046633"/>
                </a:cubicBezTo>
                <a:close/>
                <a:moveTo>
                  <a:pt x="465608" y="3046633"/>
                </a:moveTo>
                <a:cubicBezTo>
                  <a:pt x="469868" y="3046633"/>
                  <a:pt x="473729" y="3047431"/>
                  <a:pt x="477324" y="3049161"/>
                </a:cubicBezTo>
                <a:cubicBezTo>
                  <a:pt x="481051" y="3050760"/>
                  <a:pt x="484112" y="3052889"/>
                  <a:pt x="486641" y="3055552"/>
                </a:cubicBezTo>
                <a:cubicBezTo>
                  <a:pt x="489303" y="3058213"/>
                  <a:pt x="491300" y="3061408"/>
                  <a:pt x="492764" y="3065002"/>
                </a:cubicBezTo>
                <a:cubicBezTo>
                  <a:pt x="494228" y="3068597"/>
                  <a:pt x="495027" y="3072325"/>
                  <a:pt x="495027" y="3076451"/>
                </a:cubicBezTo>
                <a:cubicBezTo>
                  <a:pt x="495027" y="3080578"/>
                  <a:pt x="494228" y="3084572"/>
                  <a:pt x="492764" y="3088165"/>
                </a:cubicBezTo>
                <a:cubicBezTo>
                  <a:pt x="491300" y="3091759"/>
                  <a:pt x="489170" y="3094821"/>
                  <a:pt x="486641" y="3097485"/>
                </a:cubicBezTo>
                <a:cubicBezTo>
                  <a:pt x="483978" y="3100146"/>
                  <a:pt x="480918" y="3102277"/>
                  <a:pt x="477324" y="3103740"/>
                </a:cubicBezTo>
                <a:cubicBezTo>
                  <a:pt x="473729" y="3105204"/>
                  <a:pt x="469868" y="3106003"/>
                  <a:pt x="465608" y="3106003"/>
                </a:cubicBezTo>
                <a:cubicBezTo>
                  <a:pt x="456690" y="3106003"/>
                  <a:pt x="449368" y="3103074"/>
                  <a:pt x="443777" y="3097485"/>
                </a:cubicBezTo>
                <a:cubicBezTo>
                  <a:pt x="438186" y="3091894"/>
                  <a:pt x="435391" y="3084838"/>
                  <a:pt x="435391" y="3076318"/>
                </a:cubicBezTo>
                <a:cubicBezTo>
                  <a:pt x="435391" y="3068065"/>
                  <a:pt x="438186" y="3061009"/>
                  <a:pt x="443777" y="3055286"/>
                </a:cubicBezTo>
                <a:cubicBezTo>
                  <a:pt x="449368" y="3049561"/>
                  <a:pt x="456557" y="3046633"/>
                  <a:pt x="465608" y="3046633"/>
                </a:cubicBezTo>
                <a:close/>
                <a:moveTo>
                  <a:pt x="247965" y="3046633"/>
                </a:moveTo>
                <a:cubicBezTo>
                  <a:pt x="252225" y="3046633"/>
                  <a:pt x="256219" y="3047431"/>
                  <a:pt x="259680" y="3049161"/>
                </a:cubicBezTo>
                <a:cubicBezTo>
                  <a:pt x="263407" y="3050760"/>
                  <a:pt x="266469" y="3052889"/>
                  <a:pt x="268998" y="3055552"/>
                </a:cubicBezTo>
                <a:cubicBezTo>
                  <a:pt x="271660" y="3058213"/>
                  <a:pt x="273657" y="3061408"/>
                  <a:pt x="275121" y="3065002"/>
                </a:cubicBezTo>
                <a:cubicBezTo>
                  <a:pt x="276585" y="3068597"/>
                  <a:pt x="277384" y="3072325"/>
                  <a:pt x="277384" y="3076451"/>
                </a:cubicBezTo>
                <a:cubicBezTo>
                  <a:pt x="277384" y="3080578"/>
                  <a:pt x="276585" y="3084572"/>
                  <a:pt x="275121" y="3088165"/>
                </a:cubicBezTo>
                <a:cubicBezTo>
                  <a:pt x="273657" y="3091759"/>
                  <a:pt x="271527" y="3094821"/>
                  <a:pt x="268998" y="3097485"/>
                </a:cubicBezTo>
                <a:cubicBezTo>
                  <a:pt x="266335" y="3100146"/>
                  <a:pt x="263274" y="3102277"/>
                  <a:pt x="259680" y="3103740"/>
                </a:cubicBezTo>
                <a:cubicBezTo>
                  <a:pt x="256085" y="3105204"/>
                  <a:pt x="252225" y="3106003"/>
                  <a:pt x="247965" y="3106003"/>
                </a:cubicBezTo>
                <a:cubicBezTo>
                  <a:pt x="239048" y="3106003"/>
                  <a:pt x="231726" y="3103074"/>
                  <a:pt x="226135" y="3097485"/>
                </a:cubicBezTo>
                <a:cubicBezTo>
                  <a:pt x="220544" y="3091894"/>
                  <a:pt x="217749" y="3084838"/>
                  <a:pt x="217749" y="3076318"/>
                </a:cubicBezTo>
                <a:cubicBezTo>
                  <a:pt x="217749" y="3068065"/>
                  <a:pt x="220544" y="3061009"/>
                  <a:pt x="226135" y="3055286"/>
                </a:cubicBezTo>
                <a:cubicBezTo>
                  <a:pt x="231726" y="3049561"/>
                  <a:pt x="238914" y="3046633"/>
                  <a:pt x="247965" y="3046633"/>
                </a:cubicBezTo>
                <a:close/>
                <a:moveTo>
                  <a:pt x="30322" y="3046633"/>
                </a:moveTo>
                <a:cubicBezTo>
                  <a:pt x="34582" y="3046633"/>
                  <a:pt x="38577" y="3047431"/>
                  <a:pt x="42038" y="3049161"/>
                </a:cubicBezTo>
                <a:cubicBezTo>
                  <a:pt x="45765" y="3050760"/>
                  <a:pt x="48827" y="3052889"/>
                  <a:pt x="51356" y="3055552"/>
                </a:cubicBezTo>
                <a:cubicBezTo>
                  <a:pt x="54018" y="3058213"/>
                  <a:pt x="56015" y="3061408"/>
                  <a:pt x="57479" y="3065002"/>
                </a:cubicBezTo>
                <a:cubicBezTo>
                  <a:pt x="58943" y="3068597"/>
                  <a:pt x="59742" y="3072325"/>
                  <a:pt x="59742" y="3076451"/>
                </a:cubicBezTo>
                <a:cubicBezTo>
                  <a:pt x="59742" y="3080578"/>
                  <a:pt x="58943" y="3084572"/>
                  <a:pt x="57479" y="3088165"/>
                </a:cubicBezTo>
                <a:cubicBezTo>
                  <a:pt x="56015" y="3091759"/>
                  <a:pt x="53885" y="3094821"/>
                  <a:pt x="51356" y="3097485"/>
                </a:cubicBezTo>
                <a:cubicBezTo>
                  <a:pt x="48693" y="3100146"/>
                  <a:pt x="45632" y="3102277"/>
                  <a:pt x="42038" y="3103740"/>
                </a:cubicBezTo>
                <a:cubicBezTo>
                  <a:pt x="38443" y="3105204"/>
                  <a:pt x="34582" y="3106003"/>
                  <a:pt x="30322" y="3106003"/>
                </a:cubicBezTo>
                <a:cubicBezTo>
                  <a:pt x="21404" y="3106003"/>
                  <a:pt x="14083" y="3103074"/>
                  <a:pt x="8493" y="3097485"/>
                </a:cubicBezTo>
                <a:cubicBezTo>
                  <a:pt x="2902" y="3091894"/>
                  <a:pt x="107" y="3084838"/>
                  <a:pt x="107" y="3076318"/>
                </a:cubicBezTo>
                <a:cubicBezTo>
                  <a:pt x="107" y="3068065"/>
                  <a:pt x="2902" y="3061009"/>
                  <a:pt x="8493" y="3055286"/>
                </a:cubicBezTo>
                <a:cubicBezTo>
                  <a:pt x="14083" y="3049561"/>
                  <a:pt x="21270" y="3046633"/>
                  <a:pt x="30322" y="3046633"/>
                </a:cubicBezTo>
                <a:close/>
                <a:moveTo>
                  <a:pt x="10475977" y="2845761"/>
                </a:moveTo>
                <a:cubicBezTo>
                  <a:pt x="10470119" y="2845761"/>
                  <a:pt x="10467589" y="2847756"/>
                  <a:pt x="10465992" y="2849355"/>
                </a:cubicBezTo>
                <a:cubicBezTo>
                  <a:pt x="10463463" y="2852017"/>
                  <a:pt x="10462399" y="2854812"/>
                  <a:pt x="10462399" y="2858806"/>
                </a:cubicBezTo>
                <a:cubicBezTo>
                  <a:pt x="10462399" y="2862933"/>
                  <a:pt x="10463463" y="2865729"/>
                  <a:pt x="10465992" y="2868257"/>
                </a:cubicBezTo>
                <a:cubicBezTo>
                  <a:pt x="10467589" y="2869855"/>
                  <a:pt x="10470119" y="2871718"/>
                  <a:pt x="10475977" y="2871718"/>
                </a:cubicBezTo>
                <a:cubicBezTo>
                  <a:pt x="10478107" y="2871718"/>
                  <a:pt x="10479838" y="2871319"/>
                  <a:pt x="10481302" y="2870787"/>
                </a:cubicBezTo>
                <a:cubicBezTo>
                  <a:pt x="10482899" y="2870254"/>
                  <a:pt x="10484098" y="2869455"/>
                  <a:pt x="10485029" y="2868390"/>
                </a:cubicBezTo>
                <a:cubicBezTo>
                  <a:pt x="10486094" y="2867325"/>
                  <a:pt x="10487026" y="2865861"/>
                  <a:pt x="10487691" y="2864264"/>
                </a:cubicBezTo>
                <a:cubicBezTo>
                  <a:pt x="10488357" y="2862666"/>
                  <a:pt x="10488623" y="2860803"/>
                  <a:pt x="10488623" y="2858806"/>
                </a:cubicBezTo>
                <a:cubicBezTo>
                  <a:pt x="10488623" y="2856941"/>
                  <a:pt x="10488357" y="2855212"/>
                  <a:pt x="10487691" y="2853614"/>
                </a:cubicBezTo>
                <a:cubicBezTo>
                  <a:pt x="10487026" y="2851884"/>
                  <a:pt x="10486094" y="2850552"/>
                  <a:pt x="10485029" y="2849355"/>
                </a:cubicBezTo>
                <a:cubicBezTo>
                  <a:pt x="10483964" y="2848289"/>
                  <a:pt x="10482633" y="2847357"/>
                  <a:pt x="10481035" y="2846692"/>
                </a:cubicBezTo>
                <a:cubicBezTo>
                  <a:pt x="10479571" y="2846027"/>
                  <a:pt x="10477974" y="2845761"/>
                  <a:pt x="10475977" y="2845761"/>
                </a:cubicBezTo>
                <a:close/>
                <a:moveTo>
                  <a:pt x="10258466" y="2845761"/>
                </a:moveTo>
                <a:cubicBezTo>
                  <a:pt x="10252608" y="2845761"/>
                  <a:pt x="10250078" y="2847756"/>
                  <a:pt x="10248481" y="2849355"/>
                </a:cubicBezTo>
                <a:cubicBezTo>
                  <a:pt x="10245952" y="2852017"/>
                  <a:pt x="10244887" y="2854812"/>
                  <a:pt x="10244887" y="2858806"/>
                </a:cubicBezTo>
                <a:cubicBezTo>
                  <a:pt x="10244887" y="2862933"/>
                  <a:pt x="10245952" y="2865729"/>
                  <a:pt x="10248481" y="2868257"/>
                </a:cubicBezTo>
                <a:cubicBezTo>
                  <a:pt x="10250078" y="2869855"/>
                  <a:pt x="10252608" y="2871718"/>
                  <a:pt x="10258466" y="2871718"/>
                </a:cubicBezTo>
                <a:cubicBezTo>
                  <a:pt x="10260462" y="2871718"/>
                  <a:pt x="10262192" y="2871319"/>
                  <a:pt x="10263790" y="2870787"/>
                </a:cubicBezTo>
                <a:cubicBezTo>
                  <a:pt x="10265388" y="2870254"/>
                  <a:pt x="10266586" y="2869455"/>
                  <a:pt x="10267517" y="2868390"/>
                </a:cubicBezTo>
                <a:cubicBezTo>
                  <a:pt x="10268583" y="2867325"/>
                  <a:pt x="10269515" y="2865861"/>
                  <a:pt x="10270180" y="2864264"/>
                </a:cubicBezTo>
                <a:cubicBezTo>
                  <a:pt x="10270845" y="2862666"/>
                  <a:pt x="10271112" y="2860803"/>
                  <a:pt x="10271112" y="2858806"/>
                </a:cubicBezTo>
                <a:cubicBezTo>
                  <a:pt x="10271112" y="2856941"/>
                  <a:pt x="10270845" y="2855212"/>
                  <a:pt x="10270180" y="2853614"/>
                </a:cubicBezTo>
                <a:cubicBezTo>
                  <a:pt x="10269515" y="2851884"/>
                  <a:pt x="10268583" y="2850552"/>
                  <a:pt x="10267517" y="2849355"/>
                </a:cubicBezTo>
                <a:cubicBezTo>
                  <a:pt x="10266452" y="2848289"/>
                  <a:pt x="10265121" y="2847357"/>
                  <a:pt x="10263524" y="2846692"/>
                </a:cubicBezTo>
                <a:cubicBezTo>
                  <a:pt x="10262060" y="2846027"/>
                  <a:pt x="10260462" y="2845761"/>
                  <a:pt x="10258466" y="2845761"/>
                </a:cubicBezTo>
                <a:close/>
                <a:moveTo>
                  <a:pt x="10040820" y="2845761"/>
                </a:moveTo>
                <a:cubicBezTo>
                  <a:pt x="10034962" y="2845761"/>
                  <a:pt x="10032433" y="2847756"/>
                  <a:pt x="10030835" y="2849355"/>
                </a:cubicBezTo>
                <a:cubicBezTo>
                  <a:pt x="10028306" y="2852017"/>
                  <a:pt x="10027242" y="2854812"/>
                  <a:pt x="10027242" y="2858806"/>
                </a:cubicBezTo>
                <a:cubicBezTo>
                  <a:pt x="10027242" y="2862933"/>
                  <a:pt x="10028306" y="2865729"/>
                  <a:pt x="10030835" y="2868257"/>
                </a:cubicBezTo>
                <a:cubicBezTo>
                  <a:pt x="10032433" y="2869855"/>
                  <a:pt x="10034962" y="2871718"/>
                  <a:pt x="10040820" y="2871718"/>
                </a:cubicBezTo>
                <a:cubicBezTo>
                  <a:pt x="10042817" y="2871718"/>
                  <a:pt x="10044681" y="2871319"/>
                  <a:pt x="10046145" y="2870787"/>
                </a:cubicBezTo>
                <a:cubicBezTo>
                  <a:pt x="10047742" y="2870254"/>
                  <a:pt x="10048941" y="2869455"/>
                  <a:pt x="10049872" y="2868390"/>
                </a:cubicBezTo>
                <a:cubicBezTo>
                  <a:pt x="10050937" y="2867325"/>
                  <a:pt x="10051869" y="2865861"/>
                  <a:pt x="10052534" y="2864264"/>
                </a:cubicBezTo>
                <a:cubicBezTo>
                  <a:pt x="10053333" y="2862666"/>
                  <a:pt x="10053599" y="2860803"/>
                  <a:pt x="10053599" y="2858806"/>
                </a:cubicBezTo>
                <a:cubicBezTo>
                  <a:pt x="10053599" y="2856941"/>
                  <a:pt x="10053200" y="2855212"/>
                  <a:pt x="10052534" y="2853614"/>
                </a:cubicBezTo>
                <a:cubicBezTo>
                  <a:pt x="10051869" y="2851884"/>
                  <a:pt x="10050937" y="2850552"/>
                  <a:pt x="10049872" y="2849355"/>
                </a:cubicBezTo>
                <a:cubicBezTo>
                  <a:pt x="10048807" y="2848289"/>
                  <a:pt x="10047476" y="2847357"/>
                  <a:pt x="10045878" y="2846692"/>
                </a:cubicBezTo>
                <a:cubicBezTo>
                  <a:pt x="10044414" y="2846027"/>
                  <a:pt x="10042817" y="2845761"/>
                  <a:pt x="10040820" y="2845761"/>
                </a:cubicBezTo>
                <a:close/>
                <a:moveTo>
                  <a:pt x="9823176" y="2845761"/>
                </a:moveTo>
                <a:cubicBezTo>
                  <a:pt x="9817318" y="2845761"/>
                  <a:pt x="9814788" y="2847756"/>
                  <a:pt x="9813191" y="2849355"/>
                </a:cubicBezTo>
                <a:cubicBezTo>
                  <a:pt x="9810662" y="2852017"/>
                  <a:pt x="9809597" y="2854812"/>
                  <a:pt x="9809597" y="2858806"/>
                </a:cubicBezTo>
                <a:cubicBezTo>
                  <a:pt x="9809597" y="2862933"/>
                  <a:pt x="9810662" y="2865729"/>
                  <a:pt x="9813191" y="2868257"/>
                </a:cubicBezTo>
                <a:cubicBezTo>
                  <a:pt x="9814788" y="2869855"/>
                  <a:pt x="9817318" y="2871718"/>
                  <a:pt x="9823176" y="2871718"/>
                </a:cubicBezTo>
                <a:cubicBezTo>
                  <a:pt x="9825173" y="2871718"/>
                  <a:pt x="9827036" y="2871319"/>
                  <a:pt x="9828501" y="2870787"/>
                </a:cubicBezTo>
                <a:cubicBezTo>
                  <a:pt x="9830098" y="2870254"/>
                  <a:pt x="9831296" y="2869455"/>
                  <a:pt x="9832227" y="2868390"/>
                </a:cubicBezTo>
                <a:cubicBezTo>
                  <a:pt x="9833293" y="2867325"/>
                  <a:pt x="9834225" y="2865861"/>
                  <a:pt x="9834890" y="2864264"/>
                </a:cubicBezTo>
                <a:cubicBezTo>
                  <a:pt x="9835689" y="2862666"/>
                  <a:pt x="9835955" y="2860803"/>
                  <a:pt x="9835955" y="2858806"/>
                </a:cubicBezTo>
                <a:cubicBezTo>
                  <a:pt x="9835955" y="2856941"/>
                  <a:pt x="9835555" y="2855212"/>
                  <a:pt x="9834890" y="2853614"/>
                </a:cubicBezTo>
                <a:cubicBezTo>
                  <a:pt x="9834225" y="2851884"/>
                  <a:pt x="9833293" y="2850552"/>
                  <a:pt x="9832227" y="2849355"/>
                </a:cubicBezTo>
                <a:cubicBezTo>
                  <a:pt x="9831162" y="2848289"/>
                  <a:pt x="9829831" y="2847357"/>
                  <a:pt x="9828234" y="2846692"/>
                </a:cubicBezTo>
                <a:cubicBezTo>
                  <a:pt x="9826770" y="2846027"/>
                  <a:pt x="9825173" y="2845761"/>
                  <a:pt x="9823176" y="2845761"/>
                </a:cubicBezTo>
                <a:close/>
                <a:moveTo>
                  <a:pt x="9605531" y="2845761"/>
                </a:moveTo>
                <a:cubicBezTo>
                  <a:pt x="9599673" y="2845761"/>
                  <a:pt x="9597143" y="2847756"/>
                  <a:pt x="9595546" y="2849355"/>
                </a:cubicBezTo>
                <a:cubicBezTo>
                  <a:pt x="9593017" y="2852017"/>
                  <a:pt x="9591952" y="2854812"/>
                  <a:pt x="9591952" y="2858806"/>
                </a:cubicBezTo>
                <a:cubicBezTo>
                  <a:pt x="9591952" y="2862933"/>
                  <a:pt x="9593017" y="2865729"/>
                  <a:pt x="9595546" y="2868257"/>
                </a:cubicBezTo>
                <a:cubicBezTo>
                  <a:pt x="9597143" y="2869855"/>
                  <a:pt x="9599673" y="2871718"/>
                  <a:pt x="9605531" y="2871718"/>
                </a:cubicBezTo>
                <a:cubicBezTo>
                  <a:pt x="9607660" y="2871718"/>
                  <a:pt x="9609391" y="2871319"/>
                  <a:pt x="9610855" y="2870787"/>
                </a:cubicBezTo>
                <a:cubicBezTo>
                  <a:pt x="9612319" y="2870254"/>
                  <a:pt x="9613651" y="2869455"/>
                  <a:pt x="9614582" y="2868390"/>
                </a:cubicBezTo>
                <a:cubicBezTo>
                  <a:pt x="9615647" y="2867325"/>
                  <a:pt x="9616579" y="2865861"/>
                  <a:pt x="9617245" y="2864264"/>
                </a:cubicBezTo>
                <a:cubicBezTo>
                  <a:pt x="9618044" y="2862666"/>
                  <a:pt x="9618309" y="2860803"/>
                  <a:pt x="9618309" y="2858806"/>
                </a:cubicBezTo>
                <a:cubicBezTo>
                  <a:pt x="9618309" y="2856941"/>
                  <a:pt x="9617910" y="2855212"/>
                  <a:pt x="9617245" y="2853614"/>
                </a:cubicBezTo>
                <a:cubicBezTo>
                  <a:pt x="9616579" y="2851884"/>
                  <a:pt x="9615647" y="2850552"/>
                  <a:pt x="9614582" y="2849355"/>
                </a:cubicBezTo>
                <a:cubicBezTo>
                  <a:pt x="9613517" y="2848289"/>
                  <a:pt x="9612186" y="2847357"/>
                  <a:pt x="9610589" y="2846692"/>
                </a:cubicBezTo>
                <a:cubicBezTo>
                  <a:pt x="9609124" y="2846027"/>
                  <a:pt x="9607394" y="2845761"/>
                  <a:pt x="9605531" y="2845761"/>
                </a:cubicBezTo>
                <a:close/>
                <a:moveTo>
                  <a:pt x="9387885" y="2845761"/>
                </a:moveTo>
                <a:cubicBezTo>
                  <a:pt x="9382027" y="2845761"/>
                  <a:pt x="9379497" y="2847756"/>
                  <a:pt x="9377900" y="2849355"/>
                </a:cubicBezTo>
                <a:cubicBezTo>
                  <a:pt x="9375371" y="2852017"/>
                  <a:pt x="9374307" y="2854812"/>
                  <a:pt x="9374307" y="2858806"/>
                </a:cubicBezTo>
                <a:cubicBezTo>
                  <a:pt x="9374307" y="2862933"/>
                  <a:pt x="9375371" y="2865729"/>
                  <a:pt x="9377900" y="2868257"/>
                </a:cubicBezTo>
                <a:cubicBezTo>
                  <a:pt x="9379497" y="2869855"/>
                  <a:pt x="9382027" y="2871718"/>
                  <a:pt x="9387885" y="2871718"/>
                </a:cubicBezTo>
                <a:cubicBezTo>
                  <a:pt x="9390015" y="2871718"/>
                  <a:pt x="9391746" y="2871319"/>
                  <a:pt x="9393210" y="2870787"/>
                </a:cubicBezTo>
                <a:cubicBezTo>
                  <a:pt x="9394674" y="2870254"/>
                  <a:pt x="9396005" y="2869455"/>
                  <a:pt x="9396937" y="2868390"/>
                </a:cubicBezTo>
                <a:cubicBezTo>
                  <a:pt x="9398002" y="2867325"/>
                  <a:pt x="9398934" y="2865861"/>
                  <a:pt x="9399599" y="2864264"/>
                </a:cubicBezTo>
                <a:cubicBezTo>
                  <a:pt x="9400398" y="2862666"/>
                  <a:pt x="9400664" y="2860803"/>
                  <a:pt x="9400664" y="2858806"/>
                </a:cubicBezTo>
                <a:cubicBezTo>
                  <a:pt x="9400664" y="2856941"/>
                  <a:pt x="9400265" y="2855212"/>
                  <a:pt x="9399599" y="2853614"/>
                </a:cubicBezTo>
                <a:cubicBezTo>
                  <a:pt x="9398934" y="2851884"/>
                  <a:pt x="9398002" y="2850552"/>
                  <a:pt x="9396937" y="2849355"/>
                </a:cubicBezTo>
                <a:cubicBezTo>
                  <a:pt x="9395872" y="2848289"/>
                  <a:pt x="9394541" y="2847357"/>
                  <a:pt x="9392943" y="2846692"/>
                </a:cubicBezTo>
                <a:cubicBezTo>
                  <a:pt x="9391479" y="2846027"/>
                  <a:pt x="9389749" y="2845761"/>
                  <a:pt x="9387885" y="2845761"/>
                </a:cubicBezTo>
                <a:close/>
                <a:moveTo>
                  <a:pt x="9170374" y="2845761"/>
                </a:moveTo>
                <a:cubicBezTo>
                  <a:pt x="9164649" y="2845761"/>
                  <a:pt x="9161986" y="2847756"/>
                  <a:pt x="9160389" y="2849355"/>
                </a:cubicBezTo>
                <a:cubicBezTo>
                  <a:pt x="9157860" y="2852017"/>
                  <a:pt x="9156795" y="2854812"/>
                  <a:pt x="9156795" y="2858806"/>
                </a:cubicBezTo>
                <a:cubicBezTo>
                  <a:pt x="9156795" y="2862933"/>
                  <a:pt x="9157860" y="2865729"/>
                  <a:pt x="9160389" y="2868257"/>
                </a:cubicBezTo>
                <a:cubicBezTo>
                  <a:pt x="9161986" y="2869855"/>
                  <a:pt x="9164516" y="2871718"/>
                  <a:pt x="9170374" y="2871718"/>
                </a:cubicBezTo>
                <a:cubicBezTo>
                  <a:pt x="9172370" y="2871718"/>
                  <a:pt x="9174100" y="2871319"/>
                  <a:pt x="9175698" y="2870787"/>
                </a:cubicBezTo>
                <a:cubicBezTo>
                  <a:pt x="9177163" y="2870254"/>
                  <a:pt x="9178494" y="2869455"/>
                  <a:pt x="9179425" y="2868390"/>
                </a:cubicBezTo>
                <a:cubicBezTo>
                  <a:pt x="9180491" y="2867325"/>
                  <a:pt x="9181422" y="2865861"/>
                  <a:pt x="9182088" y="2864264"/>
                </a:cubicBezTo>
                <a:cubicBezTo>
                  <a:pt x="9182887" y="2862666"/>
                  <a:pt x="9183152" y="2860803"/>
                  <a:pt x="9183152" y="2858806"/>
                </a:cubicBezTo>
                <a:cubicBezTo>
                  <a:pt x="9183152" y="2856941"/>
                  <a:pt x="9182753" y="2855212"/>
                  <a:pt x="9182088" y="2853614"/>
                </a:cubicBezTo>
                <a:cubicBezTo>
                  <a:pt x="9181422" y="2851884"/>
                  <a:pt x="9180491" y="2850552"/>
                  <a:pt x="9179425" y="2849355"/>
                </a:cubicBezTo>
                <a:cubicBezTo>
                  <a:pt x="9178360" y="2848289"/>
                  <a:pt x="9177029" y="2847357"/>
                  <a:pt x="9175432" y="2846692"/>
                </a:cubicBezTo>
                <a:cubicBezTo>
                  <a:pt x="9173967" y="2846027"/>
                  <a:pt x="9172237" y="2845761"/>
                  <a:pt x="9170374" y="2845761"/>
                </a:cubicBezTo>
                <a:close/>
                <a:moveTo>
                  <a:pt x="8952728" y="2845761"/>
                </a:moveTo>
                <a:cubicBezTo>
                  <a:pt x="8947003" y="2845761"/>
                  <a:pt x="8944340" y="2847756"/>
                  <a:pt x="8942743" y="2849355"/>
                </a:cubicBezTo>
                <a:cubicBezTo>
                  <a:pt x="8940214" y="2852017"/>
                  <a:pt x="8939150" y="2854812"/>
                  <a:pt x="8939150" y="2858806"/>
                </a:cubicBezTo>
                <a:cubicBezTo>
                  <a:pt x="8939150" y="2862933"/>
                  <a:pt x="8940214" y="2865729"/>
                  <a:pt x="8942743" y="2868257"/>
                </a:cubicBezTo>
                <a:cubicBezTo>
                  <a:pt x="8944340" y="2869855"/>
                  <a:pt x="8946870" y="2871718"/>
                  <a:pt x="8952728" y="2871718"/>
                </a:cubicBezTo>
                <a:cubicBezTo>
                  <a:pt x="8954725" y="2871718"/>
                  <a:pt x="8956589" y="2871319"/>
                  <a:pt x="8958053" y="2870787"/>
                </a:cubicBezTo>
                <a:cubicBezTo>
                  <a:pt x="8959517" y="2870254"/>
                  <a:pt x="8960849" y="2869455"/>
                  <a:pt x="8961780" y="2868390"/>
                </a:cubicBezTo>
                <a:cubicBezTo>
                  <a:pt x="8962845" y="2867325"/>
                  <a:pt x="8963777" y="2865861"/>
                  <a:pt x="8964442" y="2864264"/>
                </a:cubicBezTo>
                <a:cubicBezTo>
                  <a:pt x="8965241" y="2862666"/>
                  <a:pt x="8965507" y="2860803"/>
                  <a:pt x="8965507" y="2858806"/>
                </a:cubicBezTo>
                <a:cubicBezTo>
                  <a:pt x="8965507" y="2856941"/>
                  <a:pt x="8965108" y="2855212"/>
                  <a:pt x="8964442" y="2853614"/>
                </a:cubicBezTo>
                <a:cubicBezTo>
                  <a:pt x="8963777" y="2851884"/>
                  <a:pt x="8962845" y="2850552"/>
                  <a:pt x="8961780" y="2849355"/>
                </a:cubicBezTo>
                <a:cubicBezTo>
                  <a:pt x="8960715" y="2848289"/>
                  <a:pt x="8959384" y="2847357"/>
                  <a:pt x="8957786" y="2846692"/>
                </a:cubicBezTo>
                <a:cubicBezTo>
                  <a:pt x="8956322" y="2846027"/>
                  <a:pt x="8954592" y="2845761"/>
                  <a:pt x="8952728" y="2845761"/>
                </a:cubicBezTo>
                <a:close/>
                <a:moveTo>
                  <a:pt x="8735083" y="2845761"/>
                </a:moveTo>
                <a:cubicBezTo>
                  <a:pt x="8729358" y="2845761"/>
                  <a:pt x="8726695" y="2847756"/>
                  <a:pt x="8725098" y="2849355"/>
                </a:cubicBezTo>
                <a:cubicBezTo>
                  <a:pt x="8722569" y="2852017"/>
                  <a:pt x="8721504" y="2854812"/>
                  <a:pt x="8721504" y="2858806"/>
                </a:cubicBezTo>
                <a:cubicBezTo>
                  <a:pt x="8721504" y="2862933"/>
                  <a:pt x="8722569" y="2865729"/>
                  <a:pt x="8725098" y="2868257"/>
                </a:cubicBezTo>
                <a:cubicBezTo>
                  <a:pt x="8726695" y="2869855"/>
                  <a:pt x="8729225" y="2871718"/>
                  <a:pt x="8735083" y="2871718"/>
                </a:cubicBezTo>
                <a:cubicBezTo>
                  <a:pt x="8737079" y="2871718"/>
                  <a:pt x="8738943" y="2871319"/>
                  <a:pt x="8740407" y="2870787"/>
                </a:cubicBezTo>
                <a:cubicBezTo>
                  <a:pt x="8741872" y="2870254"/>
                  <a:pt x="8743203" y="2869455"/>
                  <a:pt x="8744134" y="2868390"/>
                </a:cubicBezTo>
                <a:cubicBezTo>
                  <a:pt x="8745200" y="2867325"/>
                  <a:pt x="8746132" y="2865861"/>
                  <a:pt x="8746797" y="2864264"/>
                </a:cubicBezTo>
                <a:cubicBezTo>
                  <a:pt x="8747596" y="2862666"/>
                  <a:pt x="8747862" y="2860803"/>
                  <a:pt x="8747862" y="2858806"/>
                </a:cubicBezTo>
                <a:cubicBezTo>
                  <a:pt x="8747862" y="2856941"/>
                  <a:pt x="8747462" y="2855212"/>
                  <a:pt x="8746797" y="2853614"/>
                </a:cubicBezTo>
                <a:cubicBezTo>
                  <a:pt x="8746132" y="2851884"/>
                  <a:pt x="8745200" y="2850552"/>
                  <a:pt x="8744134" y="2849355"/>
                </a:cubicBezTo>
                <a:cubicBezTo>
                  <a:pt x="8743069" y="2848289"/>
                  <a:pt x="8741738" y="2847357"/>
                  <a:pt x="8740141" y="2846692"/>
                </a:cubicBezTo>
                <a:cubicBezTo>
                  <a:pt x="8738677" y="2846027"/>
                  <a:pt x="8736946" y="2845761"/>
                  <a:pt x="8735083" y="2845761"/>
                </a:cubicBezTo>
                <a:close/>
                <a:moveTo>
                  <a:pt x="8517438" y="2845761"/>
                </a:moveTo>
                <a:cubicBezTo>
                  <a:pt x="8511713" y="2845761"/>
                  <a:pt x="8509051" y="2847756"/>
                  <a:pt x="8507453" y="2849355"/>
                </a:cubicBezTo>
                <a:cubicBezTo>
                  <a:pt x="8504925" y="2852017"/>
                  <a:pt x="8503860" y="2854812"/>
                  <a:pt x="8503860" y="2858806"/>
                </a:cubicBezTo>
                <a:cubicBezTo>
                  <a:pt x="8503860" y="2862933"/>
                  <a:pt x="8504925" y="2865729"/>
                  <a:pt x="8507453" y="2868257"/>
                </a:cubicBezTo>
                <a:cubicBezTo>
                  <a:pt x="8509051" y="2869855"/>
                  <a:pt x="8511581" y="2871718"/>
                  <a:pt x="8517438" y="2871718"/>
                </a:cubicBezTo>
                <a:cubicBezTo>
                  <a:pt x="8519568" y="2871718"/>
                  <a:pt x="8521299" y="2871319"/>
                  <a:pt x="8522763" y="2870787"/>
                </a:cubicBezTo>
                <a:cubicBezTo>
                  <a:pt x="8524227" y="2870254"/>
                  <a:pt x="8525559" y="2869455"/>
                  <a:pt x="8526490" y="2868390"/>
                </a:cubicBezTo>
                <a:cubicBezTo>
                  <a:pt x="8527555" y="2867325"/>
                  <a:pt x="8528487" y="2865861"/>
                  <a:pt x="8529152" y="2864264"/>
                </a:cubicBezTo>
                <a:cubicBezTo>
                  <a:pt x="8529818" y="2862666"/>
                  <a:pt x="8530084" y="2860803"/>
                  <a:pt x="8530084" y="2858806"/>
                </a:cubicBezTo>
                <a:cubicBezTo>
                  <a:pt x="8530084" y="2856941"/>
                  <a:pt x="8529818" y="2855212"/>
                  <a:pt x="8529152" y="2853614"/>
                </a:cubicBezTo>
                <a:cubicBezTo>
                  <a:pt x="8528487" y="2851884"/>
                  <a:pt x="8527555" y="2850552"/>
                  <a:pt x="8526490" y="2849355"/>
                </a:cubicBezTo>
                <a:cubicBezTo>
                  <a:pt x="8525425" y="2848289"/>
                  <a:pt x="8524094" y="2847357"/>
                  <a:pt x="8522496" y="2846692"/>
                </a:cubicBezTo>
                <a:cubicBezTo>
                  <a:pt x="8521032" y="2846027"/>
                  <a:pt x="8519302" y="2845761"/>
                  <a:pt x="8517438" y="2845761"/>
                </a:cubicBezTo>
                <a:close/>
                <a:moveTo>
                  <a:pt x="8299793" y="2845761"/>
                </a:moveTo>
                <a:cubicBezTo>
                  <a:pt x="8294068" y="2845761"/>
                  <a:pt x="8291406" y="2847756"/>
                  <a:pt x="8289809" y="2849355"/>
                </a:cubicBezTo>
                <a:cubicBezTo>
                  <a:pt x="8287280" y="2852017"/>
                  <a:pt x="8286215" y="2854812"/>
                  <a:pt x="8286215" y="2858806"/>
                </a:cubicBezTo>
                <a:cubicBezTo>
                  <a:pt x="8286215" y="2862933"/>
                  <a:pt x="8287280" y="2865729"/>
                  <a:pt x="8289809" y="2868257"/>
                </a:cubicBezTo>
                <a:cubicBezTo>
                  <a:pt x="8291406" y="2869855"/>
                  <a:pt x="8293935" y="2871718"/>
                  <a:pt x="8299793" y="2871718"/>
                </a:cubicBezTo>
                <a:cubicBezTo>
                  <a:pt x="8301923" y="2871718"/>
                  <a:pt x="8303653" y="2871319"/>
                  <a:pt x="8305118" y="2870787"/>
                </a:cubicBezTo>
                <a:cubicBezTo>
                  <a:pt x="8306582" y="2870254"/>
                  <a:pt x="8307913" y="2869455"/>
                  <a:pt x="8308844" y="2868390"/>
                </a:cubicBezTo>
                <a:cubicBezTo>
                  <a:pt x="8309910" y="2867325"/>
                  <a:pt x="8310842" y="2865861"/>
                  <a:pt x="8311507" y="2864264"/>
                </a:cubicBezTo>
                <a:cubicBezTo>
                  <a:pt x="8312172" y="2862666"/>
                  <a:pt x="8312439" y="2860803"/>
                  <a:pt x="8312439" y="2858806"/>
                </a:cubicBezTo>
                <a:cubicBezTo>
                  <a:pt x="8312439" y="2856941"/>
                  <a:pt x="8312172" y="2855212"/>
                  <a:pt x="8311507" y="2853614"/>
                </a:cubicBezTo>
                <a:cubicBezTo>
                  <a:pt x="8310842" y="2851884"/>
                  <a:pt x="8309910" y="2850552"/>
                  <a:pt x="8308844" y="2849355"/>
                </a:cubicBezTo>
                <a:cubicBezTo>
                  <a:pt x="8307779" y="2848289"/>
                  <a:pt x="8306448" y="2847357"/>
                  <a:pt x="8304851" y="2846692"/>
                </a:cubicBezTo>
                <a:cubicBezTo>
                  <a:pt x="8303387" y="2846027"/>
                  <a:pt x="8301790" y="2845761"/>
                  <a:pt x="8299793" y="2845761"/>
                </a:cubicBezTo>
                <a:close/>
                <a:moveTo>
                  <a:pt x="8082281" y="2845761"/>
                </a:moveTo>
                <a:cubicBezTo>
                  <a:pt x="8076424" y="2845761"/>
                  <a:pt x="8073894" y="2847756"/>
                  <a:pt x="8072297" y="2849355"/>
                </a:cubicBezTo>
                <a:cubicBezTo>
                  <a:pt x="8069768" y="2852017"/>
                  <a:pt x="8068703" y="2854812"/>
                  <a:pt x="8068703" y="2858806"/>
                </a:cubicBezTo>
                <a:cubicBezTo>
                  <a:pt x="8068703" y="2862933"/>
                  <a:pt x="8069768" y="2865729"/>
                  <a:pt x="8072297" y="2868257"/>
                </a:cubicBezTo>
                <a:cubicBezTo>
                  <a:pt x="8073894" y="2869855"/>
                  <a:pt x="8076424" y="2871718"/>
                  <a:pt x="8082281" y="2871718"/>
                </a:cubicBezTo>
                <a:cubicBezTo>
                  <a:pt x="8084277" y="2871718"/>
                  <a:pt x="8086007" y="2871319"/>
                  <a:pt x="8087605" y="2870787"/>
                </a:cubicBezTo>
                <a:cubicBezTo>
                  <a:pt x="8089069" y="2870254"/>
                  <a:pt x="8090401" y="2869455"/>
                  <a:pt x="8091332" y="2868390"/>
                </a:cubicBezTo>
                <a:cubicBezTo>
                  <a:pt x="8092397" y="2867325"/>
                  <a:pt x="8093329" y="2865861"/>
                  <a:pt x="8093994" y="2864264"/>
                </a:cubicBezTo>
                <a:cubicBezTo>
                  <a:pt x="8094660" y="2862666"/>
                  <a:pt x="8094926" y="2860803"/>
                  <a:pt x="8094926" y="2858806"/>
                </a:cubicBezTo>
                <a:cubicBezTo>
                  <a:pt x="8094926" y="2856941"/>
                  <a:pt x="8094660" y="2855212"/>
                  <a:pt x="8093994" y="2853614"/>
                </a:cubicBezTo>
                <a:cubicBezTo>
                  <a:pt x="8093329" y="2851884"/>
                  <a:pt x="8092397" y="2850552"/>
                  <a:pt x="8091332" y="2849355"/>
                </a:cubicBezTo>
                <a:cubicBezTo>
                  <a:pt x="8090267" y="2848289"/>
                  <a:pt x="8088936" y="2847357"/>
                  <a:pt x="8087338" y="2846692"/>
                </a:cubicBezTo>
                <a:cubicBezTo>
                  <a:pt x="8085874" y="2846027"/>
                  <a:pt x="8084277" y="2845761"/>
                  <a:pt x="8082281" y="2845761"/>
                </a:cubicBezTo>
                <a:close/>
                <a:moveTo>
                  <a:pt x="7864636" y="2845761"/>
                </a:moveTo>
                <a:cubicBezTo>
                  <a:pt x="7858779" y="2845761"/>
                  <a:pt x="7856249" y="2847756"/>
                  <a:pt x="7854652" y="2849355"/>
                </a:cubicBezTo>
                <a:cubicBezTo>
                  <a:pt x="7852123" y="2852017"/>
                  <a:pt x="7851058" y="2854812"/>
                  <a:pt x="7851058" y="2858806"/>
                </a:cubicBezTo>
                <a:cubicBezTo>
                  <a:pt x="7851058" y="2862933"/>
                  <a:pt x="7852123" y="2865729"/>
                  <a:pt x="7854652" y="2868257"/>
                </a:cubicBezTo>
                <a:cubicBezTo>
                  <a:pt x="7856249" y="2869855"/>
                  <a:pt x="7858779" y="2871718"/>
                  <a:pt x="7864636" y="2871718"/>
                </a:cubicBezTo>
                <a:cubicBezTo>
                  <a:pt x="7866633" y="2871718"/>
                  <a:pt x="7868363" y="2871319"/>
                  <a:pt x="7869961" y="2870787"/>
                </a:cubicBezTo>
                <a:cubicBezTo>
                  <a:pt x="7871425" y="2870254"/>
                  <a:pt x="7872756" y="2869455"/>
                  <a:pt x="7873687" y="2868390"/>
                </a:cubicBezTo>
                <a:cubicBezTo>
                  <a:pt x="7874753" y="2867325"/>
                  <a:pt x="7875685" y="2865861"/>
                  <a:pt x="7876350" y="2864264"/>
                </a:cubicBezTo>
                <a:cubicBezTo>
                  <a:pt x="7877015" y="2862666"/>
                  <a:pt x="7877282" y="2860803"/>
                  <a:pt x="7877282" y="2858806"/>
                </a:cubicBezTo>
                <a:cubicBezTo>
                  <a:pt x="7877282" y="2856941"/>
                  <a:pt x="7877015" y="2855212"/>
                  <a:pt x="7876350" y="2853614"/>
                </a:cubicBezTo>
                <a:cubicBezTo>
                  <a:pt x="7875685" y="2851884"/>
                  <a:pt x="7874753" y="2850552"/>
                  <a:pt x="7873687" y="2849355"/>
                </a:cubicBezTo>
                <a:cubicBezTo>
                  <a:pt x="7872623" y="2848289"/>
                  <a:pt x="7871291" y="2847357"/>
                  <a:pt x="7869694" y="2846692"/>
                </a:cubicBezTo>
                <a:cubicBezTo>
                  <a:pt x="7868230" y="2846027"/>
                  <a:pt x="7866633" y="2845761"/>
                  <a:pt x="7864636" y="2845761"/>
                </a:cubicBezTo>
                <a:close/>
                <a:moveTo>
                  <a:pt x="7646991" y="2845761"/>
                </a:moveTo>
                <a:cubicBezTo>
                  <a:pt x="7641134" y="2845761"/>
                  <a:pt x="7638604" y="2847756"/>
                  <a:pt x="7637007" y="2849355"/>
                </a:cubicBezTo>
                <a:cubicBezTo>
                  <a:pt x="7634478" y="2852017"/>
                  <a:pt x="7633413" y="2854812"/>
                  <a:pt x="7633413" y="2858806"/>
                </a:cubicBezTo>
                <a:cubicBezTo>
                  <a:pt x="7633413" y="2862933"/>
                  <a:pt x="7634478" y="2865729"/>
                  <a:pt x="7637007" y="2868257"/>
                </a:cubicBezTo>
                <a:cubicBezTo>
                  <a:pt x="7638604" y="2869855"/>
                  <a:pt x="7641134" y="2871718"/>
                  <a:pt x="7646991" y="2871718"/>
                </a:cubicBezTo>
                <a:cubicBezTo>
                  <a:pt x="7648987" y="2871718"/>
                  <a:pt x="7650851" y="2871319"/>
                  <a:pt x="7652315" y="2870787"/>
                </a:cubicBezTo>
                <a:cubicBezTo>
                  <a:pt x="7653780" y="2870254"/>
                  <a:pt x="7655111" y="2869455"/>
                  <a:pt x="7656042" y="2868390"/>
                </a:cubicBezTo>
                <a:cubicBezTo>
                  <a:pt x="7657108" y="2867325"/>
                  <a:pt x="7658039" y="2865861"/>
                  <a:pt x="7658705" y="2864264"/>
                </a:cubicBezTo>
                <a:cubicBezTo>
                  <a:pt x="7659504" y="2862666"/>
                  <a:pt x="7659769" y="2860803"/>
                  <a:pt x="7659769" y="2858806"/>
                </a:cubicBezTo>
                <a:cubicBezTo>
                  <a:pt x="7659769" y="2856941"/>
                  <a:pt x="7659370" y="2855212"/>
                  <a:pt x="7658705" y="2853614"/>
                </a:cubicBezTo>
                <a:cubicBezTo>
                  <a:pt x="7658039" y="2851884"/>
                  <a:pt x="7657108" y="2850552"/>
                  <a:pt x="7656042" y="2849355"/>
                </a:cubicBezTo>
                <a:cubicBezTo>
                  <a:pt x="7654977" y="2848289"/>
                  <a:pt x="7653646" y="2847357"/>
                  <a:pt x="7652049" y="2846692"/>
                </a:cubicBezTo>
                <a:cubicBezTo>
                  <a:pt x="7650584" y="2846027"/>
                  <a:pt x="7648987" y="2845761"/>
                  <a:pt x="7646991" y="2845761"/>
                </a:cubicBezTo>
                <a:close/>
                <a:moveTo>
                  <a:pt x="7429345" y="2845761"/>
                </a:moveTo>
                <a:cubicBezTo>
                  <a:pt x="7423488" y="2845761"/>
                  <a:pt x="7420958" y="2847756"/>
                  <a:pt x="7419361" y="2849355"/>
                </a:cubicBezTo>
                <a:cubicBezTo>
                  <a:pt x="7416832" y="2852017"/>
                  <a:pt x="7415768" y="2854812"/>
                  <a:pt x="7415768" y="2858806"/>
                </a:cubicBezTo>
                <a:cubicBezTo>
                  <a:pt x="7415768" y="2862933"/>
                  <a:pt x="7416832" y="2865729"/>
                  <a:pt x="7419361" y="2868257"/>
                </a:cubicBezTo>
                <a:cubicBezTo>
                  <a:pt x="7420958" y="2869855"/>
                  <a:pt x="7423488" y="2871718"/>
                  <a:pt x="7429345" y="2871718"/>
                </a:cubicBezTo>
                <a:cubicBezTo>
                  <a:pt x="7431342" y="2871718"/>
                  <a:pt x="7433206" y="2871319"/>
                  <a:pt x="7434670" y="2870787"/>
                </a:cubicBezTo>
                <a:cubicBezTo>
                  <a:pt x="7436134" y="2870254"/>
                  <a:pt x="7437466" y="2869455"/>
                  <a:pt x="7438397" y="2868390"/>
                </a:cubicBezTo>
                <a:cubicBezTo>
                  <a:pt x="7439462" y="2867325"/>
                  <a:pt x="7440394" y="2865861"/>
                  <a:pt x="7441059" y="2864264"/>
                </a:cubicBezTo>
                <a:cubicBezTo>
                  <a:pt x="7441858" y="2862666"/>
                  <a:pt x="7442124" y="2860803"/>
                  <a:pt x="7442124" y="2858806"/>
                </a:cubicBezTo>
                <a:cubicBezTo>
                  <a:pt x="7442124" y="2856941"/>
                  <a:pt x="7441725" y="2855212"/>
                  <a:pt x="7441059" y="2853614"/>
                </a:cubicBezTo>
                <a:cubicBezTo>
                  <a:pt x="7440394" y="2851884"/>
                  <a:pt x="7439462" y="2850552"/>
                  <a:pt x="7438397" y="2849355"/>
                </a:cubicBezTo>
                <a:cubicBezTo>
                  <a:pt x="7437332" y="2848289"/>
                  <a:pt x="7436001" y="2847357"/>
                  <a:pt x="7434403" y="2846692"/>
                </a:cubicBezTo>
                <a:cubicBezTo>
                  <a:pt x="7432939" y="2846027"/>
                  <a:pt x="7431342" y="2845761"/>
                  <a:pt x="7429345" y="2845761"/>
                </a:cubicBezTo>
                <a:close/>
                <a:moveTo>
                  <a:pt x="7211701" y="2845761"/>
                </a:moveTo>
                <a:cubicBezTo>
                  <a:pt x="7205844" y="2845761"/>
                  <a:pt x="7203314" y="2847756"/>
                  <a:pt x="7201717" y="2849355"/>
                </a:cubicBezTo>
                <a:cubicBezTo>
                  <a:pt x="7199188" y="2852017"/>
                  <a:pt x="7198123" y="2854812"/>
                  <a:pt x="7198123" y="2858806"/>
                </a:cubicBezTo>
                <a:cubicBezTo>
                  <a:pt x="7198123" y="2862933"/>
                  <a:pt x="7199188" y="2865729"/>
                  <a:pt x="7201717" y="2868257"/>
                </a:cubicBezTo>
                <a:cubicBezTo>
                  <a:pt x="7203314" y="2869855"/>
                  <a:pt x="7205844" y="2871718"/>
                  <a:pt x="7211701" y="2871718"/>
                </a:cubicBezTo>
                <a:cubicBezTo>
                  <a:pt x="7213830" y="2871718"/>
                  <a:pt x="7215561" y="2871319"/>
                  <a:pt x="7217026" y="2870787"/>
                </a:cubicBezTo>
                <a:cubicBezTo>
                  <a:pt x="7218490" y="2870254"/>
                  <a:pt x="7219821" y="2869455"/>
                  <a:pt x="7220752" y="2868390"/>
                </a:cubicBezTo>
                <a:cubicBezTo>
                  <a:pt x="7221818" y="2867325"/>
                  <a:pt x="7222750" y="2865861"/>
                  <a:pt x="7223415" y="2864264"/>
                </a:cubicBezTo>
                <a:cubicBezTo>
                  <a:pt x="7224214" y="2862666"/>
                  <a:pt x="7224480" y="2860803"/>
                  <a:pt x="7224480" y="2858806"/>
                </a:cubicBezTo>
                <a:cubicBezTo>
                  <a:pt x="7224480" y="2856941"/>
                  <a:pt x="7224080" y="2855212"/>
                  <a:pt x="7223415" y="2853614"/>
                </a:cubicBezTo>
                <a:cubicBezTo>
                  <a:pt x="7222750" y="2851884"/>
                  <a:pt x="7221818" y="2850552"/>
                  <a:pt x="7220752" y="2849355"/>
                </a:cubicBezTo>
                <a:cubicBezTo>
                  <a:pt x="7219687" y="2848289"/>
                  <a:pt x="7218356" y="2847357"/>
                  <a:pt x="7216759" y="2846692"/>
                </a:cubicBezTo>
                <a:cubicBezTo>
                  <a:pt x="7215295" y="2846027"/>
                  <a:pt x="7213698" y="2845761"/>
                  <a:pt x="7211701" y="2845761"/>
                </a:cubicBezTo>
                <a:close/>
                <a:moveTo>
                  <a:pt x="6994056" y="2845761"/>
                </a:moveTo>
                <a:cubicBezTo>
                  <a:pt x="6988199" y="2845761"/>
                  <a:pt x="6985669" y="2847756"/>
                  <a:pt x="6984072" y="2849355"/>
                </a:cubicBezTo>
                <a:cubicBezTo>
                  <a:pt x="6981543" y="2852017"/>
                  <a:pt x="6980478" y="2854812"/>
                  <a:pt x="6980478" y="2858806"/>
                </a:cubicBezTo>
                <a:cubicBezTo>
                  <a:pt x="6980478" y="2862933"/>
                  <a:pt x="6981543" y="2865729"/>
                  <a:pt x="6984072" y="2868257"/>
                </a:cubicBezTo>
                <a:cubicBezTo>
                  <a:pt x="6985669" y="2869855"/>
                  <a:pt x="6988199" y="2871718"/>
                  <a:pt x="6994056" y="2871718"/>
                </a:cubicBezTo>
                <a:cubicBezTo>
                  <a:pt x="6996185" y="2871718"/>
                  <a:pt x="6997916" y="2871319"/>
                  <a:pt x="6999380" y="2870787"/>
                </a:cubicBezTo>
                <a:cubicBezTo>
                  <a:pt x="7000844" y="2870254"/>
                  <a:pt x="7002176" y="2869455"/>
                  <a:pt x="7003107" y="2868390"/>
                </a:cubicBezTo>
                <a:cubicBezTo>
                  <a:pt x="7004172" y="2867325"/>
                  <a:pt x="7005104" y="2865861"/>
                  <a:pt x="7005769" y="2864264"/>
                </a:cubicBezTo>
                <a:cubicBezTo>
                  <a:pt x="7006568" y="2862666"/>
                  <a:pt x="7006834" y="2860803"/>
                  <a:pt x="7006834" y="2858806"/>
                </a:cubicBezTo>
                <a:cubicBezTo>
                  <a:pt x="7006834" y="2856941"/>
                  <a:pt x="7006435" y="2855212"/>
                  <a:pt x="7005769" y="2853614"/>
                </a:cubicBezTo>
                <a:cubicBezTo>
                  <a:pt x="7005104" y="2851884"/>
                  <a:pt x="7004172" y="2850552"/>
                  <a:pt x="7003107" y="2849355"/>
                </a:cubicBezTo>
                <a:cubicBezTo>
                  <a:pt x="7002042" y="2848289"/>
                  <a:pt x="7000711" y="2847357"/>
                  <a:pt x="6999113" y="2846692"/>
                </a:cubicBezTo>
                <a:cubicBezTo>
                  <a:pt x="6997649" y="2846027"/>
                  <a:pt x="6996052" y="2845761"/>
                  <a:pt x="6994056" y="2845761"/>
                </a:cubicBezTo>
                <a:close/>
                <a:moveTo>
                  <a:pt x="6776544" y="2845761"/>
                </a:moveTo>
                <a:cubicBezTo>
                  <a:pt x="6770687" y="2845761"/>
                  <a:pt x="6768157" y="2847756"/>
                  <a:pt x="6766560" y="2849355"/>
                </a:cubicBezTo>
                <a:cubicBezTo>
                  <a:pt x="6764031" y="2852017"/>
                  <a:pt x="6762966" y="2854812"/>
                  <a:pt x="6762966" y="2858806"/>
                </a:cubicBezTo>
                <a:cubicBezTo>
                  <a:pt x="6762966" y="2862933"/>
                  <a:pt x="6764031" y="2865729"/>
                  <a:pt x="6766560" y="2868257"/>
                </a:cubicBezTo>
                <a:cubicBezTo>
                  <a:pt x="6768157" y="2869855"/>
                  <a:pt x="6770687" y="2871718"/>
                  <a:pt x="6776544" y="2871718"/>
                </a:cubicBezTo>
                <a:cubicBezTo>
                  <a:pt x="6778541" y="2871718"/>
                  <a:pt x="6780270" y="2871319"/>
                  <a:pt x="6781869" y="2870787"/>
                </a:cubicBezTo>
                <a:cubicBezTo>
                  <a:pt x="6783333" y="2870254"/>
                  <a:pt x="6784664" y="2869455"/>
                  <a:pt x="6785595" y="2868390"/>
                </a:cubicBezTo>
                <a:cubicBezTo>
                  <a:pt x="6786661" y="2867325"/>
                  <a:pt x="6787593" y="2865861"/>
                  <a:pt x="6788258" y="2864264"/>
                </a:cubicBezTo>
                <a:cubicBezTo>
                  <a:pt x="6789057" y="2862666"/>
                  <a:pt x="6789323" y="2860803"/>
                  <a:pt x="6789323" y="2858806"/>
                </a:cubicBezTo>
                <a:cubicBezTo>
                  <a:pt x="6789323" y="2856941"/>
                  <a:pt x="6788923" y="2855212"/>
                  <a:pt x="6788258" y="2853614"/>
                </a:cubicBezTo>
                <a:cubicBezTo>
                  <a:pt x="6787593" y="2851884"/>
                  <a:pt x="6786661" y="2850552"/>
                  <a:pt x="6785595" y="2849355"/>
                </a:cubicBezTo>
                <a:cubicBezTo>
                  <a:pt x="6784530" y="2848289"/>
                  <a:pt x="6783199" y="2847357"/>
                  <a:pt x="6781602" y="2846692"/>
                </a:cubicBezTo>
                <a:cubicBezTo>
                  <a:pt x="6780138" y="2846027"/>
                  <a:pt x="6778541" y="2845761"/>
                  <a:pt x="6776544" y="2845761"/>
                </a:cubicBezTo>
                <a:close/>
                <a:moveTo>
                  <a:pt x="6558899" y="2845761"/>
                </a:moveTo>
                <a:cubicBezTo>
                  <a:pt x="6553042" y="2845761"/>
                  <a:pt x="6550512" y="2847756"/>
                  <a:pt x="6548915" y="2849355"/>
                </a:cubicBezTo>
                <a:cubicBezTo>
                  <a:pt x="6546386" y="2852017"/>
                  <a:pt x="6545321" y="2854812"/>
                  <a:pt x="6545321" y="2858806"/>
                </a:cubicBezTo>
                <a:cubicBezTo>
                  <a:pt x="6545321" y="2862933"/>
                  <a:pt x="6546386" y="2865729"/>
                  <a:pt x="6548915" y="2868257"/>
                </a:cubicBezTo>
                <a:cubicBezTo>
                  <a:pt x="6550512" y="2869855"/>
                  <a:pt x="6553042" y="2871718"/>
                  <a:pt x="6558899" y="2871718"/>
                </a:cubicBezTo>
                <a:cubicBezTo>
                  <a:pt x="6560895" y="2871718"/>
                  <a:pt x="6562759" y="2871319"/>
                  <a:pt x="6564223" y="2870787"/>
                </a:cubicBezTo>
                <a:cubicBezTo>
                  <a:pt x="6565687" y="2870254"/>
                  <a:pt x="6567019" y="2869455"/>
                  <a:pt x="6567950" y="2868390"/>
                </a:cubicBezTo>
                <a:cubicBezTo>
                  <a:pt x="6569015" y="2867325"/>
                  <a:pt x="6569947" y="2865861"/>
                  <a:pt x="6570612" y="2864264"/>
                </a:cubicBezTo>
                <a:cubicBezTo>
                  <a:pt x="6571412" y="2862666"/>
                  <a:pt x="6571677" y="2860803"/>
                  <a:pt x="6571677" y="2858806"/>
                </a:cubicBezTo>
                <a:cubicBezTo>
                  <a:pt x="6571677" y="2856941"/>
                  <a:pt x="6571278" y="2855212"/>
                  <a:pt x="6570612" y="2853614"/>
                </a:cubicBezTo>
                <a:cubicBezTo>
                  <a:pt x="6569947" y="2851884"/>
                  <a:pt x="6569015" y="2850552"/>
                  <a:pt x="6567950" y="2849355"/>
                </a:cubicBezTo>
                <a:cubicBezTo>
                  <a:pt x="6566885" y="2848289"/>
                  <a:pt x="6565554" y="2847357"/>
                  <a:pt x="6563956" y="2846692"/>
                </a:cubicBezTo>
                <a:cubicBezTo>
                  <a:pt x="6562492" y="2846027"/>
                  <a:pt x="6560895" y="2845761"/>
                  <a:pt x="6558899" y="2845761"/>
                </a:cubicBezTo>
                <a:close/>
                <a:moveTo>
                  <a:pt x="6341253" y="2845761"/>
                </a:moveTo>
                <a:cubicBezTo>
                  <a:pt x="6335396" y="2845761"/>
                  <a:pt x="6332867" y="2847756"/>
                  <a:pt x="6331270" y="2849355"/>
                </a:cubicBezTo>
                <a:cubicBezTo>
                  <a:pt x="6328740" y="2852017"/>
                  <a:pt x="6327675" y="2854812"/>
                  <a:pt x="6327675" y="2858806"/>
                </a:cubicBezTo>
                <a:cubicBezTo>
                  <a:pt x="6327675" y="2862933"/>
                  <a:pt x="6328740" y="2865729"/>
                  <a:pt x="6331270" y="2868257"/>
                </a:cubicBezTo>
                <a:cubicBezTo>
                  <a:pt x="6332867" y="2869855"/>
                  <a:pt x="6335396" y="2871718"/>
                  <a:pt x="6341253" y="2871718"/>
                </a:cubicBezTo>
                <a:cubicBezTo>
                  <a:pt x="6343250" y="2871718"/>
                  <a:pt x="6345114" y="2871319"/>
                  <a:pt x="6346578" y="2870787"/>
                </a:cubicBezTo>
                <a:cubicBezTo>
                  <a:pt x="6348042" y="2870254"/>
                  <a:pt x="6349373" y="2869455"/>
                  <a:pt x="6350305" y="2868390"/>
                </a:cubicBezTo>
                <a:cubicBezTo>
                  <a:pt x="6351370" y="2867325"/>
                  <a:pt x="6352302" y="2865861"/>
                  <a:pt x="6352968" y="2864264"/>
                </a:cubicBezTo>
                <a:cubicBezTo>
                  <a:pt x="6353766" y="2862666"/>
                  <a:pt x="6354033" y="2860803"/>
                  <a:pt x="6354033" y="2858806"/>
                </a:cubicBezTo>
                <a:cubicBezTo>
                  <a:pt x="6354033" y="2856941"/>
                  <a:pt x="6353633" y="2855212"/>
                  <a:pt x="6352968" y="2853614"/>
                </a:cubicBezTo>
                <a:cubicBezTo>
                  <a:pt x="6352302" y="2851884"/>
                  <a:pt x="6351370" y="2850552"/>
                  <a:pt x="6350305" y="2849355"/>
                </a:cubicBezTo>
                <a:cubicBezTo>
                  <a:pt x="6349241" y="2848289"/>
                  <a:pt x="6347909" y="2847357"/>
                  <a:pt x="6346312" y="2846692"/>
                </a:cubicBezTo>
                <a:cubicBezTo>
                  <a:pt x="6344848" y="2846027"/>
                  <a:pt x="6343250" y="2845761"/>
                  <a:pt x="6341253" y="2845761"/>
                </a:cubicBezTo>
                <a:close/>
                <a:moveTo>
                  <a:pt x="6123608" y="2845761"/>
                </a:moveTo>
                <a:cubicBezTo>
                  <a:pt x="6117751" y="2845761"/>
                  <a:pt x="6115221" y="2847756"/>
                  <a:pt x="6113624" y="2849355"/>
                </a:cubicBezTo>
                <a:cubicBezTo>
                  <a:pt x="6111095" y="2852017"/>
                  <a:pt x="6110030" y="2854812"/>
                  <a:pt x="6110030" y="2858806"/>
                </a:cubicBezTo>
                <a:cubicBezTo>
                  <a:pt x="6110030" y="2862933"/>
                  <a:pt x="6111095" y="2865729"/>
                  <a:pt x="6113624" y="2868257"/>
                </a:cubicBezTo>
                <a:cubicBezTo>
                  <a:pt x="6115221" y="2869855"/>
                  <a:pt x="6117751" y="2871718"/>
                  <a:pt x="6123608" y="2871718"/>
                </a:cubicBezTo>
                <a:cubicBezTo>
                  <a:pt x="6125737" y="2871718"/>
                  <a:pt x="6127468" y="2871319"/>
                  <a:pt x="6128932" y="2870787"/>
                </a:cubicBezTo>
                <a:cubicBezTo>
                  <a:pt x="6130530" y="2870254"/>
                  <a:pt x="6131728" y="2869455"/>
                  <a:pt x="6132659" y="2868390"/>
                </a:cubicBezTo>
                <a:cubicBezTo>
                  <a:pt x="6133724" y="2867325"/>
                  <a:pt x="6134656" y="2865861"/>
                  <a:pt x="6135322" y="2864264"/>
                </a:cubicBezTo>
                <a:cubicBezTo>
                  <a:pt x="6135987" y="2862666"/>
                  <a:pt x="6136387" y="2860803"/>
                  <a:pt x="6136387" y="2858806"/>
                </a:cubicBezTo>
                <a:cubicBezTo>
                  <a:pt x="6136387" y="2856941"/>
                  <a:pt x="6135987" y="2855212"/>
                  <a:pt x="6135322" y="2853614"/>
                </a:cubicBezTo>
                <a:cubicBezTo>
                  <a:pt x="6134656" y="2851884"/>
                  <a:pt x="6133724" y="2850552"/>
                  <a:pt x="6132659" y="2849355"/>
                </a:cubicBezTo>
                <a:cubicBezTo>
                  <a:pt x="6131594" y="2848289"/>
                  <a:pt x="6130263" y="2847357"/>
                  <a:pt x="6128666" y="2846692"/>
                </a:cubicBezTo>
                <a:cubicBezTo>
                  <a:pt x="6127202" y="2846027"/>
                  <a:pt x="6125604" y="2845761"/>
                  <a:pt x="6123608" y="2845761"/>
                </a:cubicBezTo>
                <a:close/>
                <a:moveTo>
                  <a:pt x="5905963" y="2845761"/>
                </a:moveTo>
                <a:cubicBezTo>
                  <a:pt x="5900106" y="2845761"/>
                  <a:pt x="5897576" y="2847756"/>
                  <a:pt x="5895979" y="2849355"/>
                </a:cubicBezTo>
                <a:cubicBezTo>
                  <a:pt x="5893450" y="2852017"/>
                  <a:pt x="5892385" y="2854812"/>
                  <a:pt x="5892385" y="2858806"/>
                </a:cubicBezTo>
                <a:cubicBezTo>
                  <a:pt x="5892385" y="2862933"/>
                  <a:pt x="5893450" y="2865729"/>
                  <a:pt x="5895979" y="2868257"/>
                </a:cubicBezTo>
                <a:cubicBezTo>
                  <a:pt x="5897576" y="2869855"/>
                  <a:pt x="5900106" y="2871718"/>
                  <a:pt x="5905963" y="2871718"/>
                </a:cubicBezTo>
                <a:cubicBezTo>
                  <a:pt x="5908093" y="2871718"/>
                  <a:pt x="5909823" y="2871319"/>
                  <a:pt x="5911287" y="2870787"/>
                </a:cubicBezTo>
                <a:cubicBezTo>
                  <a:pt x="5912751" y="2870254"/>
                  <a:pt x="5914083" y="2869455"/>
                  <a:pt x="5915014" y="2868390"/>
                </a:cubicBezTo>
                <a:cubicBezTo>
                  <a:pt x="5916079" y="2867325"/>
                  <a:pt x="5917011" y="2865861"/>
                  <a:pt x="5917677" y="2864264"/>
                </a:cubicBezTo>
                <a:cubicBezTo>
                  <a:pt x="5918342" y="2862666"/>
                  <a:pt x="5918742" y="2860803"/>
                  <a:pt x="5918742" y="2858806"/>
                </a:cubicBezTo>
                <a:cubicBezTo>
                  <a:pt x="5918742" y="2856941"/>
                  <a:pt x="5918342" y="2855212"/>
                  <a:pt x="5917677" y="2853614"/>
                </a:cubicBezTo>
                <a:cubicBezTo>
                  <a:pt x="5917011" y="2851884"/>
                  <a:pt x="5916079" y="2850552"/>
                  <a:pt x="5915014" y="2849355"/>
                </a:cubicBezTo>
                <a:cubicBezTo>
                  <a:pt x="5913950" y="2848289"/>
                  <a:pt x="5912618" y="2847357"/>
                  <a:pt x="5911021" y="2846692"/>
                </a:cubicBezTo>
                <a:cubicBezTo>
                  <a:pt x="5909557" y="2846027"/>
                  <a:pt x="5907826" y="2845761"/>
                  <a:pt x="5905963" y="2845761"/>
                </a:cubicBezTo>
                <a:close/>
                <a:moveTo>
                  <a:pt x="5688451" y="2845761"/>
                </a:moveTo>
                <a:cubicBezTo>
                  <a:pt x="5682594" y="2845761"/>
                  <a:pt x="5680064" y="2847756"/>
                  <a:pt x="5678467" y="2849355"/>
                </a:cubicBezTo>
                <a:cubicBezTo>
                  <a:pt x="5675938" y="2852017"/>
                  <a:pt x="5674873" y="2854812"/>
                  <a:pt x="5674873" y="2858806"/>
                </a:cubicBezTo>
                <a:cubicBezTo>
                  <a:pt x="5674873" y="2862933"/>
                  <a:pt x="5675938" y="2865729"/>
                  <a:pt x="5678467" y="2868257"/>
                </a:cubicBezTo>
                <a:cubicBezTo>
                  <a:pt x="5680064" y="2869855"/>
                  <a:pt x="5682594" y="2871718"/>
                  <a:pt x="5688451" y="2871718"/>
                </a:cubicBezTo>
                <a:cubicBezTo>
                  <a:pt x="5690447" y="2871718"/>
                  <a:pt x="5692178" y="2871319"/>
                  <a:pt x="5693775" y="2870787"/>
                </a:cubicBezTo>
                <a:cubicBezTo>
                  <a:pt x="5695239" y="2870254"/>
                  <a:pt x="5696571" y="2869455"/>
                  <a:pt x="5697502" y="2868390"/>
                </a:cubicBezTo>
                <a:cubicBezTo>
                  <a:pt x="5698567" y="2867325"/>
                  <a:pt x="5699499" y="2865861"/>
                  <a:pt x="5700165" y="2864264"/>
                </a:cubicBezTo>
                <a:cubicBezTo>
                  <a:pt x="5700830" y="2862666"/>
                  <a:pt x="5701230" y="2860803"/>
                  <a:pt x="5701230" y="2858806"/>
                </a:cubicBezTo>
                <a:cubicBezTo>
                  <a:pt x="5701230" y="2856941"/>
                  <a:pt x="5700830" y="2855212"/>
                  <a:pt x="5700165" y="2853614"/>
                </a:cubicBezTo>
                <a:cubicBezTo>
                  <a:pt x="5699499" y="2851884"/>
                  <a:pt x="5698567" y="2850552"/>
                  <a:pt x="5697502" y="2849355"/>
                </a:cubicBezTo>
                <a:cubicBezTo>
                  <a:pt x="5696437" y="2848289"/>
                  <a:pt x="5695106" y="2847357"/>
                  <a:pt x="5693509" y="2846692"/>
                </a:cubicBezTo>
                <a:cubicBezTo>
                  <a:pt x="5692045" y="2846027"/>
                  <a:pt x="5690314" y="2845761"/>
                  <a:pt x="5688451" y="2845761"/>
                </a:cubicBezTo>
                <a:close/>
                <a:moveTo>
                  <a:pt x="5470806" y="2845761"/>
                </a:moveTo>
                <a:cubicBezTo>
                  <a:pt x="5464949" y="2845761"/>
                  <a:pt x="5462419" y="2847756"/>
                  <a:pt x="5460822" y="2849355"/>
                </a:cubicBezTo>
                <a:cubicBezTo>
                  <a:pt x="5458293" y="2852017"/>
                  <a:pt x="5457228" y="2854812"/>
                  <a:pt x="5457228" y="2858806"/>
                </a:cubicBezTo>
                <a:cubicBezTo>
                  <a:pt x="5457228" y="2862933"/>
                  <a:pt x="5458293" y="2865729"/>
                  <a:pt x="5460822" y="2868257"/>
                </a:cubicBezTo>
                <a:cubicBezTo>
                  <a:pt x="5462419" y="2869855"/>
                  <a:pt x="5464949" y="2871718"/>
                  <a:pt x="5470806" y="2871718"/>
                </a:cubicBezTo>
                <a:cubicBezTo>
                  <a:pt x="5472802" y="2871718"/>
                  <a:pt x="5474666" y="2871319"/>
                  <a:pt x="5476130" y="2870787"/>
                </a:cubicBezTo>
                <a:cubicBezTo>
                  <a:pt x="5477594" y="2870254"/>
                  <a:pt x="5478926" y="2869455"/>
                  <a:pt x="5479857" y="2868390"/>
                </a:cubicBezTo>
                <a:cubicBezTo>
                  <a:pt x="5480922" y="2867325"/>
                  <a:pt x="5481854" y="2865861"/>
                  <a:pt x="5482520" y="2864264"/>
                </a:cubicBezTo>
                <a:cubicBezTo>
                  <a:pt x="5483319" y="2862666"/>
                  <a:pt x="5483585" y="2860803"/>
                  <a:pt x="5483585" y="2858806"/>
                </a:cubicBezTo>
                <a:cubicBezTo>
                  <a:pt x="5483585" y="2856941"/>
                  <a:pt x="5483185" y="2855212"/>
                  <a:pt x="5482520" y="2853614"/>
                </a:cubicBezTo>
                <a:cubicBezTo>
                  <a:pt x="5481854" y="2851884"/>
                  <a:pt x="5480922" y="2850552"/>
                  <a:pt x="5479857" y="2849355"/>
                </a:cubicBezTo>
                <a:cubicBezTo>
                  <a:pt x="5478793" y="2848289"/>
                  <a:pt x="5477461" y="2847357"/>
                  <a:pt x="5475864" y="2846692"/>
                </a:cubicBezTo>
                <a:cubicBezTo>
                  <a:pt x="5474400" y="2846027"/>
                  <a:pt x="5472669" y="2845761"/>
                  <a:pt x="5470806" y="2845761"/>
                </a:cubicBezTo>
                <a:close/>
                <a:moveTo>
                  <a:pt x="5253160" y="2845761"/>
                </a:moveTo>
                <a:cubicBezTo>
                  <a:pt x="5247303" y="2845761"/>
                  <a:pt x="5244774" y="2847756"/>
                  <a:pt x="5243177" y="2849355"/>
                </a:cubicBezTo>
                <a:cubicBezTo>
                  <a:pt x="5240647" y="2852017"/>
                  <a:pt x="5239583" y="2854812"/>
                  <a:pt x="5239583" y="2858806"/>
                </a:cubicBezTo>
                <a:cubicBezTo>
                  <a:pt x="5239583" y="2862933"/>
                  <a:pt x="5240647" y="2865729"/>
                  <a:pt x="5243177" y="2868257"/>
                </a:cubicBezTo>
                <a:cubicBezTo>
                  <a:pt x="5244774" y="2869855"/>
                  <a:pt x="5247303" y="2871718"/>
                  <a:pt x="5253160" y="2871718"/>
                </a:cubicBezTo>
                <a:cubicBezTo>
                  <a:pt x="5255157" y="2871718"/>
                  <a:pt x="5257021" y="2871319"/>
                  <a:pt x="5258485" y="2870787"/>
                </a:cubicBezTo>
                <a:cubicBezTo>
                  <a:pt x="5259949" y="2870254"/>
                  <a:pt x="5261280" y="2869455"/>
                  <a:pt x="5262212" y="2868390"/>
                </a:cubicBezTo>
                <a:cubicBezTo>
                  <a:pt x="5263277" y="2867325"/>
                  <a:pt x="5264209" y="2865861"/>
                  <a:pt x="5264875" y="2864264"/>
                </a:cubicBezTo>
                <a:cubicBezTo>
                  <a:pt x="5265673" y="2862666"/>
                  <a:pt x="5265939" y="2860803"/>
                  <a:pt x="5265939" y="2858806"/>
                </a:cubicBezTo>
                <a:cubicBezTo>
                  <a:pt x="5265939" y="2856941"/>
                  <a:pt x="5265540" y="2855212"/>
                  <a:pt x="5264875" y="2853614"/>
                </a:cubicBezTo>
                <a:cubicBezTo>
                  <a:pt x="5264209" y="2851884"/>
                  <a:pt x="5263277" y="2850552"/>
                  <a:pt x="5262212" y="2849355"/>
                </a:cubicBezTo>
                <a:cubicBezTo>
                  <a:pt x="5261147" y="2848289"/>
                  <a:pt x="5259816" y="2847357"/>
                  <a:pt x="5258219" y="2846692"/>
                </a:cubicBezTo>
                <a:cubicBezTo>
                  <a:pt x="5256754" y="2846027"/>
                  <a:pt x="5255024" y="2845761"/>
                  <a:pt x="5253160" y="2845761"/>
                </a:cubicBezTo>
                <a:close/>
                <a:moveTo>
                  <a:pt x="5035515" y="2845761"/>
                </a:moveTo>
                <a:cubicBezTo>
                  <a:pt x="5029658" y="2845761"/>
                  <a:pt x="5027129" y="2847756"/>
                  <a:pt x="5025532" y="2849355"/>
                </a:cubicBezTo>
                <a:cubicBezTo>
                  <a:pt x="5023002" y="2852017"/>
                  <a:pt x="5021938" y="2854812"/>
                  <a:pt x="5021938" y="2858806"/>
                </a:cubicBezTo>
                <a:cubicBezTo>
                  <a:pt x="5021938" y="2862933"/>
                  <a:pt x="5023002" y="2865729"/>
                  <a:pt x="5025532" y="2868257"/>
                </a:cubicBezTo>
                <a:cubicBezTo>
                  <a:pt x="5027129" y="2869855"/>
                  <a:pt x="5029658" y="2871718"/>
                  <a:pt x="5035515" y="2871718"/>
                </a:cubicBezTo>
                <a:cubicBezTo>
                  <a:pt x="5037645" y="2871718"/>
                  <a:pt x="5039376" y="2871319"/>
                  <a:pt x="5040840" y="2870787"/>
                </a:cubicBezTo>
                <a:cubicBezTo>
                  <a:pt x="5042304" y="2870254"/>
                  <a:pt x="5043636" y="2869455"/>
                  <a:pt x="5044567" y="2868390"/>
                </a:cubicBezTo>
                <a:cubicBezTo>
                  <a:pt x="5045632" y="2867325"/>
                  <a:pt x="5046564" y="2865861"/>
                  <a:pt x="5047230" y="2864264"/>
                </a:cubicBezTo>
                <a:cubicBezTo>
                  <a:pt x="5048028" y="2862666"/>
                  <a:pt x="5048294" y="2860803"/>
                  <a:pt x="5048294" y="2858806"/>
                </a:cubicBezTo>
                <a:cubicBezTo>
                  <a:pt x="5048294" y="2856941"/>
                  <a:pt x="5047895" y="2855212"/>
                  <a:pt x="5047230" y="2853614"/>
                </a:cubicBezTo>
                <a:cubicBezTo>
                  <a:pt x="5046564" y="2851884"/>
                  <a:pt x="5045632" y="2850552"/>
                  <a:pt x="5044567" y="2849355"/>
                </a:cubicBezTo>
                <a:cubicBezTo>
                  <a:pt x="5043502" y="2848289"/>
                  <a:pt x="5042171" y="2847357"/>
                  <a:pt x="5040574" y="2846692"/>
                </a:cubicBezTo>
                <a:cubicBezTo>
                  <a:pt x="5039110" y="2846027"/>
                  <a:pt x="5037379" y="2845761"/>
                  <a:pt x="5035515" y="2845761"/>
                </a:cubicBezTo>
                <a:close/>
                <a:moveTo>
                  <a:pt x="4817870" y="2845761"/>
                </a:moveTo>
                <a:cubicBezTo>
                  <a:pt x="4812013" y="2845761"/>
                  <a:pt x="4809484" y="2847756"/>
                  <a:pt x="4807887" y="2849355"/>
                </a:cubicBezTo>
                <a:cubicBezTo>
                  <a:pt x="4805357" y="2852017"/>
                  <a:pt x="4804293" y="2854812"/>
                  <a:pt x="4804293" y="2858806"/>
                </a:cubicBezTo>
                <a:cubicBezTo>
                  <a:pt x="4804293" y="2862933"/>
                  <a:pt x="4805357" y="2865729"/>
                  <a:pt x="4807887" y="2868257"/>
                </a:cubicBezTo>
                <a:cubicBezTo>
                  <a:pt x="4809484" y="2869855"/>
                  <a:pt x="4812013" y="2871718"/>
                  <a:pt x="4817870" y="2871718"/>
                </a:cubicBezTo>
                <a:cubicBezTo>
                  <a:pt x="4820000" y="2871718"/>
                  <a:pt x="4821731" y="2871319"/>
                  <a:pt x="4823195" y="2870787"/>
                </a:cubicBezTo>
                <a:cubicBezTo>
                  <a:pt x="4824659" y="2870254"/>
                  <a:pt x="4825857" y="2869455"/>
                  <a:pt x="4826922" y="2868390"/>
                </a:cubicBezTo>
                <a:cubicBezTo>
                  <a:pt x="4827987" y="2867325"/>
                  <a:pt x="4828919" y="2865861"/>
                  <a:pt x="4829585" y="2864264"/>
                </a:cubicBezTo>
                <a:cubicBezTo>
                  <a:pt x="4830383" y="2862666"/>
                  <a:pt x="4830650" y="2860803"/>
                  <a:pt x="4830650" y="2858806"/>
                </a:cubicBezTo>
                <a:cubicBezTo>
                  <a:pt x="4830650" y="2856941"/>
                  <a:pt x="4830250" y="2855212"/>
                  <a:pt x="4829585" y="2853614"/>
                </a:cubicBezTo>
                <a:cubicBezTo>
                  <a:pt x="4828919" y="2851884"/>
                  <a:pt x="4827987" y="2850552"/>
                  <a:pt x="4826922" y="2849355"/>
                </a:cubicBezTo>
                <a:cubicBezTo>
                  <a:pt x="4825857" y="2848289"/>
                  <a:pt x="4824526" y="2847357"/>
                  <a:pt x="4822929" y="2846692"/>
                </a:cubicBezTo>
                <a:cubicBezTo>
                  <a:pt x="4821465" y="2846027"/>
                  <a:pt x="4819734" y="2845761"/>
                  <a:pt x="4817870" y="2845761"/>
                </a:cubicBezTo>
                <a:close/>
                <a:moveTo>
                  <a:pt x="4600226" y="2845761"/>
                </a:moveTo>
                <a:cubicBezTo>
                  <a:pt x="4594369" y="2845761"/>
                  <a:pt x="4591839" y="2847756"/>
                  <a:pt x="4590242" y="2849355"/>
                </a:cubicBezTo>
                <a:cubicBezTo>
                  <a:pt x="4587713" y="2852017"/>
                  <a:pt x="4586648" y="2854812"/>
                  <a:pt x="4586648" y="2858806"/>
                </a:cubicBezTo>
                <a:cubicBezTo>
                  <a:pt x="4586648" y="2862933"/>
                  <a:pt x="4587713" y="2865729"/>
                  <a:pt x="4590242" y="2868257"/>
                </a:cubicBezTo>
                <a:cubicBezTo>
                  <a:pt x="4591839" y="2869855"/>
                  <a:pt x="4594369" y="2871718"/>
                  <a:pt x="4600226" y="2871718"/>
                </a:cubicBezTo>
                <a:cubicBezTo>
                  <a:pt x="4602355" y="2871718"/>
                  <a:pt x="4604086" y="2871319"/>
                  <a:pt x="4605550" y="2870787"/>
                </a:cubicBezTo>
                <a:cubicBezTo>
                  <a:pt x="4607148" y="2870254"/>
                  <a:pt x="4608346" y="2869455"/>
                  <a:pt x="4609277" y="2868390"/>
                </a:cubicBezTo>
                <a:cubicBezTo>
                  <a:pt x="4610342" y="2867325"/>
                  <a:pt x="4611274" y="2865861"/>
                  <a:pt x="4611940" y="2864264"/>
                </a:cubicBezTo>
                <a:cubicBezTo>
                  <a:pt x="4612605" y="2862666"/>
                  <a:pt x="4613005" y="2860803"/>
                  <a:pt x="4613005" y="2858806"/>
                </a:cubicBezTo>
                <a:cubicBezTo>
                  <a:pt x="4613005" y="2856941"/>
                  <a:pt x="4612605" y="2855212"/>
                  <a:pt x="4611940" y="2853614"/>
                </a:cubicBezTo>
                <a:cubicBezTo>
                  <a:pt x="4611274" y="2851884"/>
                  <a:pt x="4610342" y="2850552"/>
                  <a:pt x="4609277" y="2849355"/>
                </a:cubicBezTo>
                <a:cubicBezTo>
                  <a:pt x="4608212" y="2848289"/>
                  <a:pt x="4606881" y="2847357"/>
                  <a:pt x="4605284" y="2846692"/>
                </a:cubicBezTo>
                <a:cubicBezTo>
                  <a:pt x="4603820" y="2846027"/>
                  <a:pt x="4602222" y="2845761"/>
                  <a:pt x="4600226" y="2845761"/>
                </a:cubicBezTo>
                <a:close/>
                <a:moveTo>
                  <a:pt x="4382713" y="2845761"/>
                </a:moveTo>
                <a:cubicBezTo>
                  <a:pt x="4376857" y="2845761"/>
                  <a:pt x="4374327" y="2847756"/>
                  <a:pt x="4372730" y="2849355"/>
                </a:cubicBezTo>
                <a:cubicBezTo>
                  <a:pt x="4370201" y="2852017"/>
                  <a:pt x="4369136" y="2854812"/>
                  <a:pt x="4369136" y="2858806"/>
                </a:cubicBezTo>
                <a:cubicBezTo>
                  <a:pt x="4369136" y="2862933"/>
                  <a:pt x="4370201" y="2865729"/>
                  <a:pt x="4372730" y="2868257"/>
                </a:cubicBezTo>
                <a:cubicBezTo>
                  <a:pt x="4374327" y="2869855"/>
                  <a:pt x="4376857" y="2871718"/>
                  <a:pt x="4382713" y="2871718"/>
                </a:cubicBezTo>
                <a:cubicBezTo>
                  <a:pt x="4384710" y="2871718"/>
                  <a:pt x="4386441" y="2871319"/>
                  <a:pt x="4388038" y="2870787"/>
                </a:cubicBezTo>
                <a:cubicBezTo>
                  <a:pt x="4389502" y="2870254"/>
                  <a:pt x="4390834" y="2869455"/>
                  <a:pt x="4391765" y="2868390"/>
                </a:cubicBezTo>
                <a:cubicBezTo>
                  <a:pt x="4392830" y="2867325"/>
                  <a:pt x="4393762" y="2865861"/>
                  <a:pt x="4394428" y="2864264"/>
                </a:cubicBezTo>
                <a:cubicBezTo>
                  <a:pt x="4395093" y="2862666"/>
                  <a:pt x="4395493" y="2860803"/>
                  <a:pt x="4395493" y="2858806"/>
                </a:cubicBezTo>
                <a:cubicBezTo>
                  <a:pt x="4395493" y="2856941"/>
                  <a:pt x="4395093" y="2855212"/>
                  <a:pt x="4394428" y="2853614"/>
                </a:cubicBezTo>
                <a:cubicBezTo>
                  <a:pt x="4393762" y="2851884"/>
                  <a:pt x="4392830" y="2850552"/>
                  <a:pt x="4391765" y="2849355"/>
                </a:cubicBezTo>
                <a:cubicBezTo>
                  <a:pt x="4390700" y="2848289"/>
                  <a:pt x="4389369" y="2847357"/>
                  <a:pt x="4387772" y="2846692"/>
                </a:cubicBezTo>
                <a:cubicBezTo>
                  <a:pt x="4386308" y="2846027"/>
                  <a:pt x="4384710" y="2845761"/>
                  <a:pt x="4382713" y="2845761"/>
                </a:cubicBezTo>
                <a:close/>
                <a:moveTo>
                  <a:pt x="4165068" y="2845761"/>
                </a:moveTo>
                <a:cubicBezTo>
                  <a:pt x="4159211" y="2845761"/>
                  <a:pt x="4156681" y="2847756"/>
                  <a:pt x="4155084" y="2849355"/>
                </a:cubicBezTo>
                <a:cubicBezTo>
                  <a:pt x="4152555" y="2852017"/>
                  <a:pt x="4151490" y="2854812"/>
                  <a:pt x="4151490" y="2858806"/>
                </a:cubicBezTo>
                <a:cubicBezTo>
                  <a:pt x="4151490" y="2862933"/>
                  <a:pt x="4152555" y="2865729"/>
                  <a:pt x="4155084" y="2868257"/>
                </a:cubicBezTo>
                <a:cubicBezTo>
                  <a:pt x="4156681" y="2869855"/>
                  <a:pt x="4159211" y="2871718"/>
                  <a:pt x="4165068" y="2871718"/>
                </a:cubicBezTo>
                <a:cubicBezTo>
                  <a:pt x="4167064" y="2871718"/>
                  <a:pt x="4168928" y="2871319"/>
                  <a:pt x="4170392" y="2870787"/>
                </a:cubicBezTo>
                <a:cubicBezTo>
                  <a:pt x="4171856" y="2870254"/>
                  <a:pt x="4173188" y="2869455"/>
                  <a:pt x="4174119" y="2868390"/>
                </a:cubicBezTo>
                <a:cubicBezTo>
                  <a:pt x="4175184" y="2867325"/>
                  <a:pt x="4176116" y="2865861"/>
                  <a:pt x="4176782" y="2864264"/>
                </a:cubicBezTo>
                <a:cubicBezTo>
                  <a:pt x="4177447" y="2862666"/>
                  <a:pt x="4177847" y="2860803"/>
                  <a:pt x="4177847" y="2858806"/>
                </a:cubicBezTo>
                <a:cubicBezTo>
                  <a:pt x="4177847" y="2856941"/>
                  <a:pt x="4177447" y="2855212"/>
                  <a:pt x="4176782" y="2853614"/>
                </a:cubicBezTo>
                <a:cubicBezTo>
                  <a:pt x="4176116" y="2851884"/>
                  <a:pt x="4175184" y="2850552"/>
                  <a:pt x="4174119" y="2849355"/>
                </a:cubicBezTo>
                <a:cubicBezTo>
                  <a:pt x="4173054" y="2848289"/>
                  <a:pt x="4171723" y="2847357"/>
                  <a:pt x="4170126" y="2846692"/>
                </a:cubicBezTo>
                <a:cubicBezTo>
                  <a:pt x="4168662" y="2846027"/>
                  <a:pt x="4167064" y="2845761"/>
                  <a:pt x="4165068" y="2845761"/>
                </a:cubicBezTo>
                <a:close/>
                <a:moveTo>
                  <a:pt x="3947582" y="2845761"/>
                </a:moveTo>
                <a:cubicBezTo>
                  <a:pt x="3941724" y="2845761"/>
                  <a:pt x="3939195" y="2847756"/>
                  <a:pt x="3937598" y="2849355"/>
                </a:cubicBezTo>
                <a:cubicBezTo>
                  <a:pt x="3935067" y="2852017"/>
                  <a:pt x="3934004" y="2854812"/>
                  <a:pt x="3934004" y="2858806"/>
                </a:cubicBezTo>
                <a:cubicBezTo>
                  <a:pt x="3934004" y="2862933"/>
                  <a:pt x="3935067" y="2865729"/>
                  <a:pt x="3937598" y="2868257"/>
                </a:cubicBezTo>
                <a:cubicBezTo>
                  <a:pt x="3939195" y="2869855"/>
                  <a:pt x="3941724" y="2871718"/>
                  <a:pt x="3947582" y="2871718"/>
                </a:cubicBezTo>
                <a:cubicBezTo>
                  <a:pt x="3949579" y="2871718"/>
                  <a:pt x="3951442" y="2871319"/>
                  <a:pt x="3952908" y="2870787"/>
                </a:cubicBezTo>
                <a:cubicBezTo>
                  <a:pt x="3954372" y="2870254"/>
                  <a:pt x="3955702" y="2869455"/>
                  <a:pt x="3956634" y="2868390"/>
                </a:cubicBezTo>
                <a:cubicBezTo>
                  <a:pt x="3957700" y="2867325"/>
                  <a:pt x="3958633" y="2865861"/>
                  <a:pt x="3959298" y="2864264"/>
                </a:cubicBezTo>
                <a:cubicBezTo>
                  <a:pt x="3959963" y="2862666"/>
                  <a:pt x="3960363" y="2860803"/>
                  <a:pt x="3960363" y="2858806"/>
                </a:cubicBezTo>
                <a:cubicBezTo>
                  <a:pt x="3960363" y="2856941"/>
                  <a:pt x="3959963" y="2855212"/>
                  <a:pt x="3959298" y="2853614"/>
                </a:cubicBezTo>
                <a:cubicBezTo>
                  <a:pt x="3958633" y="2851884"/>
                  <a:pt x="3957700" y="2850552"/>
                  <a:pt x="3956634" y="2849355"/>
                </a:cubicBezTo>
                <a:cubicBezTo>
                  <a:pt x="3955569" y="2848289"/>
                  <a:pt x="3954239" y="2847357"/>
                  <a:pt x="3952641" y="2846692"/>
                </a:cubicBezTo>
                <a:cubicBezTo>
                  <a:pt x="3951176" y="2846027"/>
                  <a:pt x="3949579" y="2845761"/>
                  <a:pt x="3947582" y="2845761"/>
                </a:cubicBezTo>
                <a:close/>
                <a:moveTo>
                  <a:pt x="3729929" y="2845761"/>
                </a:moveTo>
                <a:cubicBezTo>
                  <a:pt x="3724072" y="2845761"/>
                  <a:pt x="3721543" y="2847756"/>
                  <a:pt x="3719943" y="2849355"/>
                </a:cubicBezTo>
                <a:cubicBezTo>
                  <a:pt x="3717413" y="2852017"/>
                  <a:pt x="3716351" y="2854812"/>
                  <a:pt x="3716351" y="2858806"/>
                </a:cubicBezTo>
                <a:cubicBezTo>
                  <a:pt x="3716351" y="2862933"/>
                  <a:pt x="3717413" y="2865729"/>
                  <a:pt x="3719943" y="2868257"/>
                </a:cubicBezTo>
                <a:cubicBezTo>
                  <a:pt x="3721543" y="2869855"/>
                  <a:pt x="3724072" y="2871718"/>
                  <a:pt x="3729929" y="2871718"/>
                </a:cubicBezTo>
                <a:cubicBezTo>
                  <a:pt x="3732059" y="2871718"/>
                  <a:pt x="3733790" y="2871319"/>
                  <a:pt x="3735254" y="2870787"/>
                </a:cubicBezTo>
                <a:cubicBezTo>
                  <a:pt x="3736718" y="2870254"/>
                  <a:pt x="3738050" y="2869455"/>
                  <a:pt x="3738981" y="2868390"/>
                </a:cubicBezTo>
                <a:cubicBezTo>
                  <a:pt x="3740046" y="2867325"/>
                  <a:pt x="3740978" y="2865861"/>
                  <a:pt x="3741644" y="2864264"/>
                </a:cubicBezTo>
                <a:cubicBezTo>
                  <a:pt x="3742309" y="2862666"/>
                  <a:pt x="3742709" y="2860803"/>
                  <a:pt x="3742709" y="2858806"/>
                </a:cubicBezTo>
                <a:cubicBezTo>
                  <a:pt x="3742709" y="2856941"/>
                  <a:pt x="3742309" y="2855212"/>
                  <a:pt x="3741644" y="2853614"/>
                </a:cubicBezTo>
                <a:cubicBezTo>
                  <a:pt x="3740978" y="2851884"/>
                  <a:pt x="3740046" y="2850552"/>
                  <a:pt x="3738981" y="2849355"/>
                </a:cubicBezTo>
                <a:cubicBezTo>
                  <a:pt x="3737916" y="2848289"/>
                  <a:pt x="3736585" y="2847357"/>
                  <a:pt x="3734988" y="2846692"/>
                </a:cubicBezTo>
                <a:cubicBezTo>
                  <a:pt x="3733523" y="2846027"/>
                  <a:pt x="3731926" y="2845761"/>
                  <a:pt x="3729929" y="2845761"/>
                </a:cubicBezTo>
                <a:close/>
                <a:moveTo>
                  <a:pt x="3512276" y="2845761"/>
                </a:moveTo>
                <a:cubicBezTo>
                  <a:pt x="3506418" y="2845761"/>
                  <a:pt x="3503889" y="2847756"/>
                  <a:pt x="3502289" y="2849355"/>
                </a:cubicBezTo>
                <a:cubicBezTo>
                  <a:pt x="3499759" y="2852017"/>
                  <a:pt x="3498696" y="2854812"/>
                  <a:pt x="3498696" y="2858806"/>
                </a:cubicBezTo>
                <a:cubicBezTo>
                  <a:pt x="3498696" y="2862933"/>
                  <a:pt x="3499759" y="2865729"/>
                  <a:pt x="3502289" y="2868257"/>
                </a:cubicBezTo>
                <a:cubicBezTo>
                  <a:pt x="3503889" y="2869855"/>
                  <a:pt x="3506418" y="2871718"/>
                  <a:pt x="3512276" y="2871718"/>
                </a:cubicBezTo>
                <a:cubicBezTo>
                  <a:pt x="3514405" y="2871718"/>
                  <a:pt x="3516136" y="2871319"/>
                  <a:pt x="3517600" y="2870787"/>
                </a:cubicBezTo>
                <a:cubicBezTo>
                  <a:pt x="3519065" y="2870254"/>
                  <a:pt x="3520397" y="2869455"/>
                  <a:pt x="3521328" y="2868390"/>
                </a:cubicBezTo>
                <a:cubicBezTo>
                  <a:pt x="3522393" y="2867325"/>
                  <a:pt x="3523325" y="2865861"/>
                  <a:pt x="3523991" y="2864264"/>
                </a:cubicBezTo>
                <a:cubicBezTo>
                  <a:pt x="3524656" y="2862666"/>
                  <a:pt x="3525056" y="2860803"/>
                  <a:pt x="3525056" y="2858806"/>
                </a:cubicBezTo>
                <a:cubicBezTo>
                  <a:pt x="3525056" y="2856941"/>
                  <a:pt x="3524656" y="2855212"/>
                  <a:pt x="3523991" y="2853614"/>
                </a:cubicBezTo>
                <a:cubicBezTo>
                  <a:pt x="3523325" y="2851884"/>
                  <a:pt x="3522393" y="2850552"/>
                  <a:pt x="3521328" y="2849355"/>
                </a:cubicBezTo>
                <a:cubicBezTo>
                  <a:pt x="3520263" y="2848289"/>
                  <a:pt x="3518932" y="2847357"/>
                  <a:pt x="3517335" y="2846692"/>
                </a:cubicBezTo>
                <a:cubicBezTo>
                  <a:pt x="3515871" y="2846027"/>
                  <a:pt x="3514272" y="2845761"/>
                  <a:pt x="3512276" y="2845761"/>
                </a:cubicBezTo>
                <a:close/>
                <a:moveTo>
                  <a:pt x="3294755" y="2845761"/>
                </a:moveTo>
                <a:cubicBezTo>
                  <a:pt x="3288898" y="2845761"/>
                  <a:pt x="3286367" y="2847756"/>
                  <a:pt x="3284771" y="2849355"/>
                </a:cubicBezTo>
                <a:cubicBezTo>
                  <a:pt x="3282240" y="2852017"/>
                  <a:pt x="3281177" y="2854812"/>
                  <a:pt x="3281177" y="2858806"/>
                </a:cubicBezTo>
                <a:cubicBezTo>
                  <a:pt x="3281177" y="2862933"/>
                  <a:pt x="3282240" y="2865729"/>
                  <a:pt x="3284771" y="2868257"/>
                </a:cubicBezTo>
                <a:cubicBezTo>
                  <a:pt x="3286367" y="2869855"/>
                  <a:pt x="3288898" y="2871718"/>
                  <a:pt x="3294755" y="2871718"/>
                </a:cubicBezTo>
                <a:cubicBezTo>
                  <a:pt x="3296752" y="2871718"/>
                  <a:pt x="3298483" y="2871319"/>
                  <a:pt x="3300081" y="2870787"/>
                </a:cubicBezTo>
                <a:cubicBezTo>
                  <a:pt x="3301545" y="2870254"/>
                  <a:pt x="3302877" y="2869455"/>
                  <a:pt x="3303808" y="2868390"/>
                </a:cubicBezTo>
                <a:cubicBezTo>
                  <a:pt x="3304873" y="2867325"/>
                  <a:pt x="3305805" y="2865861"/>
                  <a:pt x="3306471" y="2864264"/>
                </a:cubicBezTo>
                <a:cubicBezTo>
                  <a:pt x="3307136" y="2862666"/>
                  <a:pt x="3307535" y="2860803"/>
                  <a:pt x="3307535" y="2858806"/>
                </a:cubicBezTo>
                <a:cubicBezTo>
                  <a:pt x="3307535" y="2856941"/>
                  <a:pt x="3307136" y="2855212"/>
                  <a:pt x="3306471" y="2853614"/>
                </a:cubicBezTo>
                <a:cubicBezTo>
                  <a:pt x="3305805" y="2851884"/>
                  <a:pt x="3304873" y="2850552"/>
                  <a:pt x="3303808" y="2849355"/>
                </a:cubicBezTo>
                <a:cubicBezTo>
                  <a:pt x="3302743" y="2848289"/>
                  <a:pt x="3301412" y="2847357"/>
                  <a:pt x="3299815" y="2846692"/>
                </a:cubicBezTo>
                <a:cubicBezTo>
                  <a:pt x="3298351" y="2846027"/>
                  <a:pt x="3296752" y="2845761"/>
                  <a:pt x="3294755" y="2845761"/>
                </a:cubicBezTo>
                <a:close/>
                <a:moveTo>
                  <a:pt x="3077235" y="2845761"/>
                </a:moveTo>
                <a:cubicBezTo>
                  <a:pt x="3071377" y="2845761"/>
                  <a:pt x="3068848" y="2847756"/>
                  <a:pt x="3067252" y="2849355"/>
                </a:cubicBezTo>
                <a:cubicBezTo>
                  <a:pt x="3064588" y="2852017"/>
                  <a:pt x="3063523" y="2854812"/>
                  <a:pt x="3063523" y="2858806"/>
                </a:cubicBezTo>
                <a:cubicBezTo>
                  <a:pt x="3063523" y="2862933"/>
                  <a:pt x="3064588" y="2865729"/>
                  <a:pt x="3067118" y="2868257"/>
                </a:cubicBezTo>
                <a:cubicBezTo>
                  <a:pt x="3068716" y="2869855"/>
                  <a:pt x="3071245" y="2871718"/>
                  <a:pt x="3077102" y="2871718"/>
                </a:cubicBezTo>
                <a:cubicBezTo>
                  <a:pt x="3079099" y="2871718"/>
                  <a:pt x="3080829" y="2871319"/>
                  <a:pt x="3082560" y="2870787"/>
                </a:cubicBezTo>
                <a:cubicBezTo>
                  <a:pt x="3084025" y="2870254"/>
                  <a:pt x="3085357" y="2869455"/>
                  <a:pt x="3086288" y="2868390"/>
                </a:cubicBezTo>
                <a:cubicBezTo>
                  <a:pt x="3087352" y="2867325"/>
                  <a:pt x="3088285" y="2865861"/>
                  <a:pt x="3088950" y="2864264"/>
                </a:cubicBezTo>
                <a:cubicBezTo>
                  <a:pt x="3089615" y="2862666"/>
                  <a:pt x="3089883" y="2860803"/>
                  <a:pt x="3089883" y="2858806"/>
                </a:cubicBezTo>
                <a:cubicBezTo>
                  <a:pt x="3089883" y="2856941"/>
                  <a:pt x="3089615" y="2855212"/>
                  <a:pt x="3088950" y="2853614"/>
                </a:cubicBezTo>
                <a:cubicBezTo>
                  <a:pt x="3088285" y="2851884"/>
                  <a:pt x="3087352" y="2850552"/>
                  <a:pt x="3086288" y="2849355"/>
                </a:cubicBezTo>
                <a:cubicBezTo>
                  <a:pt x="3085223" y="2848289"/>
                  <a:pt x="3083891" y="2847357"/>
                  <a:pt x="3082295" y="2846692"/>
                </a:cubicBezTo>
                <a:cubicBezTo>
                  <a:pt x="3080829" y="2846027"/>
                  <a:pt x="3079232" y="2845761"/>
                  <a:pt x="3077235" y="2845761"/>
                </a:cubicBezTo>
                <a:close/>
                <a:moveTo>
                  <a:pt x="2859449" y="2845761"/>
                </a:moveTo>
                <a:cubicBezTo>
                  <a:pt x="2853592" y="2845761"/>
                  <a:pt x="2851063" y="2847756"/>
                  <a:pt x="2849463" y="2849355"/>
                </a:cubicBezTo>
                <a:cubicBezTo>
                  <a:pt x="2846931" y="2852017"/>
                  <a:pt x="2845868" y="2854812"/>
                  <a:pt x="2845868" y="2858806"/>
                </a:cubicBezTo>
                <a:cubicBezTo>
                  <a:pt x="2845868" y="2862933"/>
                  <a:pt x="2846931" y="2865729"/>
                  <a:pt x="2849463" y="2868257"/>
                </a:cubicBezTo>
                <a:cubicBezTo>
                  <a:pt x="2851063" y="2869855"/>
                  <a:pt x="2853592" y="2871718"/>
                  <a:pt x="2859449" y="2871718"/>
                </a:cubicBezTo>
                <a:cubicBezTo>
                  <a:pt x="2861446" y="2871718"/>
                  <a:pt x="2863310" y="2871319"/>
                  <a:pt x="2864774" y="2870787"/>
                </a:cubicBezTo>
                <a:cubicBezTo>
                  <a:pt x="2866372" y="2870254"/>
                  <a:pt x="2867570" y="2869455"/>
                  <a:pt x="2868501" y="2868390"/>
                </a:cubicBezTo>
                <a:cubicBezTo>
                  <a:pt x="2869566" y="2867325"/>
                  <a:pt x="2870498" y="2865861"/>
                  <a:pt x="2871164" y="2864264"/>
                </a:cubicBezTo>
                <a:cubicBezTo>
                  <a:pt x="2871696" y="2862666"/>
                  <a:pt x="2872095" y="2860803"/>
                  <a:pt x="2872095" y="2858806"/>
                </a:cubicBezTo>
                <a:cubicBezTo>
                  <a:pt x="2872095" y="2856941"/>
                  <a:pt x="2871829" y="2855212"/>
                  <a:pt x="2871164" y="2853614"/>
                </a:cubicBezTo>
                <a:cubicBezTo>
                  <a:pt x="2870498" y="2851884"/>
                  <a:pt x="2869566" y="2850552"/>
                  <a:pt x="2868501" y="2849355"/>
                </a:cubicBezTo>
                <a:cubicBezTo>
                  <a:pt x="2867437" y="2848289"/>
                  <a:pt x="2866105" y="2847357"/>
                  <a:pt x="2864508" y="2846692"/>
                </a:cubicBezTo>
                <a:cubicBezTo>
                  <a:pt x="2863044" y="2846027"/>
                  <a:pt x="2861446" y="2845761"/>
                  <a:pt x="2859449" y="2845761"/>
                </a:cubicBezTo>
                <a:close/>
                <a:moveTo>
                  <a:pt x="2641795" y="2845761"/>
                </a:moveTo>
                <a:cubicBezTo>
                  <a:pt x="2635938" y="2845761"/>
                  <a:pt x="2633409" y="2847756"/>
                  <a:pt x="2631812" y="2849355"/>
                </a:cubicBezTo>
                <a:cubicBezTo>
                  <a:pt x="2629282" y="2852017"/>
                  <a:pt x="2628218" y="2854812"/>
                  <a:pt x="2628218" y="2858806"/>
                </a:cubicBezTo>
                <a:cubicBezTo>
                  <a:pt x="2628218" y="2862933"/>
                  <a:pt x="2629282" y="2865729"/>
                  <a:pt x="2631812" y="2868257"/>
                </a:cubicBezTo>
                <a:cubicBezTo>
                  <a:pt x="2633409" y="2869855"/>
                  <a:pt x="2635938" y="2871718"/>
                  <a:pt x="2641795" y="2871718"/>
                </a:cubicBezTo>
                <a:cubicBezTo>
                  <a:pt x="2643792" y="2871718"/>
                  <a:pt x="2645657" y="2871319"/>
                  <a:pt x="2647121" y="2870787"/>
                </a:cubicBezTo>
                <a:cubicBezTo>
                  <a:pt x="2648718" y="2870254"/>
                  <a:pt x="2649916" y="2869455"/>
                  <a:pt x="2650848" y="2868390"/>
                </a:cubicBezTo>
                <a:cubicBezTo>
                  <a:pt x="2651913" y="2867325"/>
                  <a:pt x="2652845" y="2865861"/>
                  <a:pt x="2653511" y="2864264"/>
                </a:cubicBezTo>
                <a:cubicBezTo>
                  <a:pt x="2654043" y="2862666"/>
                  <a:pt x="2654441" y="2860803"/>
                  <a:pt x="2654441" y="2858806"/>
                </a:cubicBezTo>
                <a:cubicBezTo>
                  <a:pt x="2654441" y="2856941"/>
                  <a:pt x="2654176" y="2855212"/>
                  <a:pt x="2653511" y="2853614"/>
                </a:cubicBezTo>
                <a:cubicBezTo>
                  <a:pt x="2652845" y="2851884"/>
                  <a:pt x="2651913" y="2850552"/>
                  <a:pt x="2650848" y="2849355"/>
                </a:cubicBezTo>
                <a:cubicBezTo>
                  <a:pt x="2649783" y="2848289"/>
                  <a:pt x="2648452" y="2847357"/>
                  <a:pt x="2646855" y="2846692"/>
                </a:cubicBezTo>
                <a:cubicBezTo>
                  <a:pt x="2645390" y="2846027"/>
                  <a:pt x="2643792" y="2845761"/>
                  <a:pt x="2641795" y="2845761"/>
                </a:cubicBezTo>
                <a:close/>
                <a:moveTo>
                  <a:pt x="2424142" y="2845761"/>
                </a:moveTo>
                <a:cubicBezTo>
                  <a:pt x="2418285" y="2845761"/>
                  <a:pt x="2415756" y="2847756"/>
                  <a:pt x="2414159" y="2849355"/>
                </a:cubicBezTo>
                <a:cubicBezTo>
                  <a:pt x="2411629" y="2852017"/>
                  <a:pt x="2410565" y="2854812"/>
                  <a:pt x="2410565" y="2858806"/>
                </a:cubicBezTo>
                <a:cubicBezTo>
                  <a:pt x="2410565" y="2862933"/>
                  <a:pt x="2411629" y="2865729"/>
                  <a:pt x="2414159" y="2868257"/>
                </a:cubicBezTo>
                <a:cubicBezTo>
                  <a:pt x="2415756" y="2869855"/>
                  <a:pt x="2418285" y="2871718"/>
                  <a:pt x="2424142" y="2871718"/>
                </a:cubicBezTo>
                <a:cubicBezTo>
                  <a:pt x="2426272" y="2871718"/>
                  <a:pt x="2428003" y="2871319"/>
                  <a:pt x="2429467" y="2870787"/>
                </a:cubicBezTo>
                <a:cubicBezTo>
                  <a:pt x="2431065" y="2870254"/>
                  <a:pt x="2432263" y="2869455"/>
                  <a:pt x="2433194" y="2868390"/>
                </a:cubicBezTo>
                <a:cubicBezTo>
                  <a:pt x="2434259" y="2867325"/>
                  <a:pt x="2435191" y="2865861"/>
                  <a:pt x="2435857" y="2864264"/>
                </a:cubicBezTo>
                <a:cubicBezTo>
                  <a:pt x="2436389" y="2862666"/>
                  <a:pt x="2436789" y="2860803"/>
                  <a:pt x="2436789" y="2858806"/>
                </a:cubicBezTo>
                <a:cubicBezTo>
                  <a:pt x="2436789" y="2856941"/>
                  <a:pt x="2436522" y="2855212"/>
                  <a:pt x="2435857" y="2853614"/>
                </a:cubicBezTo>
                <a:cubicBezTo>
                  <a:pt x="2435191" y="2851884"/>
                  <a:pt x="2434259" y="2850552"/>
                  <a:pt x="2433194" y="2849355"/>
                </a:cubicBezTo>
                <a:cubicBezTo>
                  <a:pt x="2432131" y="2848289"/>
                  <a:pt x="2430799" y="2847357"/>
                  <a:pt x="2429201" y="2846692"/>
                </a:cubicBezTo>
                <a:cubicBezTo>
                  <a:pt x="2427737" y="2846027"/>
                  <a:pt x="2426139" y="2845761"/>
                  <a:pt x="2424142" y="2845761"/>
                </a:cubicBezTo>
                <a:close/>
                <a:moveTo>
                  <a:pt x="2206489" y="2845761"/>
                </a:moveTo>
                <a:cubicBezTo>
                  <a:pt x="2200632" y="2845761"/>
                  <a:pt x="2198103" y="2847756"/>
                  <a:pt x="2196505" y="2849355"/>
                </a:cubicBezTo>
                <a:cubicBezTo>
                  <a:pt x="2193976" y="2852017"/>
                  <a:pt x="2192911" y="2854812"/>
                  <a:pt x="2192911" y="2858806"/>
                </a:cubicBezTo>
                <a:cubicBezTo>
                  <a:pt x="2192911" y="2862933"/>
                  <a:pt x="2193976" y="2865729"/>
                  <a:pt x="2196505" y="2868257"/>
                </a:cubicBezTo>
                <a:cubicBezTo>
                  <a:pt x="2198103" y="2869855"/>
                  <a:pt x="2200632" y="2871718"/>
                  <a:pt x="2206489" y="2871718"/>
                </a:cubicBezTo>
                <a:cubicBezTo>
                  <a:pt x="2208619" y="2871718"/>
                  <a:pt x="2210350" y="2871319"/>
                  <a:pt x="2211814" y="2870787"/>
                </a:cubicBezTo>
                <a:cubicBezTo>
                  <a:pt x="2213411" y="2870254"/>
                  <a:pt x="2214609" y="2869455"/>
                  <a:pt x="2215541" y="2868390"/>
                </a:cubicBezTo>
                <a:cubicBezTo>
                  <a:pt x="2216606" y="2867325"/>
                  <a:pt x="2217538" y="2865861"/>
                  <a:pt x="2218204" y="2864264"/>
                </a:cubicBezTo>
                <a:cubicBezTo>
                  <a:pt x="2218736" y="2862666"/>
                  <a:pt x="2219135" y="2860803"/>
                  <a:pt x="2219135" y="2858806"/>
                </a:cubicBezTo>
                <a:cubicBezTo>
                  <a:pt x="2219135" y="2856941"/>
                  <a:pt x="2218869" y="2855212"/>
                  <a:pt x="2218204" y="2853614"/>
                </a:cubicBezTo>
                <a:cubicBezTo>
                  <a:pt x="2217538" y="2851884"/>
                  <a:pt x="2216606" y="2850552"/>
                  <a:pt x="2215541" y="2849355"/>
                </a:cubicBezTo>
                <a:cubicBezTo>
                  <a:pt x="2214476" y="2848289"/>
                  <a:pt x="2213145" y="2847357"/>
                  <a:pt x="2211548" y="2846692"/>
                </a:cubicBezTo>
                <a:cubicBezTo>
                  <a:pt x="2210083" y="2846027"/>
                  <a:pt x="2208486" y="2845761"/>
                  <a:pt x="2206489" y="2845761"/>
                </a:cubicBezTo>
                <a:close/>
                <a:moveTo>
                  <a:pt x="1988968" y="2845761"/>
                </a:moveTo>
                <a:cubicBezTo>
                  <a:pt x="1983111" y="2845761"/>
                  <a:pt x="1980582" y="2847756"/>
                  <a:pt x="1978985" y="2849355"/>
                </a:cubicBezTo>
                <a:cubicBezTo>
                  <a:pt x="1976455" y="2852017"/>
                  <a:pt x="1975391" y="2854812"/>
                  <a:pt x="1975391" y="2858806"/>
                </a:cubicBezTo>
                <a:cubicBezTo>
                  <a:pt x="1975391" y="2862933"/>
                  <a:pt x="1976455" y="2865729"/>
                  <a:pt x="1978985" y="2868257"/>
                </a:cubicBezTo>
                <a:cubicBezTo>
                  <a:pt x="1980582" y="2869855"/>
                  <a:pt x="1983111" y="2871718"/>
                  <a:pt x="1988968" y="2871718"/>
                </a:cubicBezTo>
                <a:cubicBezTo>
                  <a:pt x="1990965" y="2871718"/>
                  <a:pt x="1992697" y="2871319"/>
                  <a:pt x="1994293" y="2870787"/>
                </a:cubicBezTo>
                <a:cubicBezTo>
                  <a:pt x="1995891" y="2870254"/>
                  <a:pt x="1997090" y="2869455"/>
                  <a:pt x="1998021" y="2868390"/>
                </a:cubicBezTo>
                <a:cubicBezTo>
                  <a:pt x="1999085" y="2867325"/>
                  <a:pt x="2000018" y="2865861"/>
                  <a:pt x="2000684" y="2864264"/>
                </a:cubicBezTo>
                <a:cubicBezTo>
                  <a:pt x="2001215" y="2862666"/>
                  <a:pt x="2001614" y="2860803"/>
                  <a:pt x="2001614" y="2858806"/>
                </a:cubicBezTo>
                <a:cubicBezTo>
                  <a:pt x="2001614" y="2856941"/>
                  <a:pt x="2001349" y="2855212"/>
                  <a:pt x="2000684" y="2853614"/>
                </a:cubicBezTo>
                <a:cubicBezTo>
                  <a:pt x="2000018" y="2851884"/>
                  <a:pt x="1999085" y="2850552"/>
                  <a:pt x="1998021" y="2849355"/>
                </a:cubicBezTo>
                <a:cubicBezTo>
                  <a:pt x="1996956" y="2848289"/>
                  <a:pt x="1995624" y="2847357"/>
                  <a:pt x="1994027" y="2846692"/>
                </a:cubicBezTo>
                <a:cubicBezTo>
                  <a:pt x="1992563" y="2846027"/>
                  <a:pt x="1990965" y="2845761"/>
                  <a:pt x="1988968" y="2845761"/>
                </a:cubicBezTo>
                <a:close/>
                <a:moveTo>
                  <a:pt x="1771329" y="2845761"/>
                </a:moveTo>
                <a:cubicBezTo>
                  <a:pt x="1765472" y="2845761"/>
                  <a:pt x="1762944" y="2847756"/>
                  <a:pt x="1761347" y="2849355"/>
                </a:cubicBezTo>
                <a:cubicBezTo>
                  <a:pt x="1758818" y="2852017"/>
                  <a:pt x="1757753" y="2854812"/>
                  <a:pt x="1757753" y="2858806"/>
                </a:cubicBezTo>
                <a:cubicBezTo>
                  <a:pt x="1757753" y="2862933"/>
                  <a:pt x="1758818" y="2865729"/>
                  <a:pt x="1761347" y="2868257"/>
                </a:cubicBezTo>
                <a:cubicBezTo>
                  <a:pt x="1762944" y="2869855"/>
                  <a:pt x="1765472" y="2871718"/>
                  <a:pt x="1771329" y="2871718"/>
                </a:cubicBezTo>
                <a:cubicBezTo>
                  <a:pt x="1773327" y="2871718"/>
                  <a:pt x="1775190" y="2871319"/>
                  <a:pt x="1776654" y="2870787"/>
                </a:cubicBezTo>
                <a:cubicBezTo>
                  <a:pt x="1778118" y="2870254"/>
                  <a:pt x="1779449" y="2869455"/>
                  <a:pt x="1780381" y="2868390"/>
                </a:cubicBezTo>
                <a:cubicBezTo>
                  <a:pt x="1781446" y="2867325"/>
                  <a:pt x="1782378" y="2865861"/>
                  <a:pt x="1783044" y="2864264"/>
                </a:cubicBezTo>
                <a:cubicBezTo>
                  <a:pt x="1783709" y="2862666"/>
                  <a:pt x="1784109" y="2860803"/>
                  <a:pt x="1784109" y="2858806"/>
                </a:cubicBezTo>
                <a:cubicBezTo>
                  <a:pt x="1784109" y="2856941"/>
                  <a:pt x="1783709" y="2855212"/>
                  <a:pt x="1783044" y="2853614"/>
                </a:cubicBezTo>
                <a:cubicBezTo>
                  <a:pt x="1782378" y="2851884"/>
                  <a:pt x="1781446" y="2850552"/>
                  <a:pt x="1780381" y="2849355"/>
                </a:cubicBezTo>
                <a:cubicBezTo>
                  <a:pt x="1779316" y="2848289"/>
                  <a:pt x="1777985" y="2847357"/>
                  <a:pt x="1776388" y="2846692"/>
                </a:cubicBezTo>
                <a:cubicBezTo>
                  <a:pt x="1774923" y="2846027"/>
                  <a:pt x="1773327" y="2845761"/>
                  <a:pt x="1771329" y="2845761"/>
                </a:cubicBezTo>
                <a:close/>
                <a:moveTo>
                  <a:pt x="1553688" y="2845761"/>
                </a:moveTo>
                <a:cubicBezTo>
                  <a:pt x="1547831" y="2845761"/>
                  <a:pt x="1545302" y="2847756"/>
                  <a:pt x="1543705" y="2849355"/>
                </a:cubicBezTo>
                <a:cubicBezTo>
                  <a:pt x="1541175" y="2852017"/>
                  <a:pt x="1540111" y="2854812"/>
                  <a:pt x="1540111" y="2858806"/>
                </a:cubicBezTo>
                <a:cubicBezTo>
                  <a:pt x="1540111" y="2862933"/>
                  <a:pt x="1541175" y="2865729"/>
                  <a:pt x="1543705" y="2868257"/>
                </a:cubicBezTo>
                <a:cubicBezTo>
                  <a:pt x="1545302" y="2869855"/>
                  <a:pt x="1547831" y="2871718"/>
                  <a:pt x="1553688" y="2871718"/>
                </a:cubicBezTo>
                <a:cubicBezTo>
                  <a:pt x="1555685" y="2871718"/>
                  <a:pt x="1557549" y="2871319"/>
                  <a:pt x="1559013" y="2870787"/>
                </a:cubicBezTo>
                <a:cubicBezTo>
                  <a:pt x="1560477" y="2870254"/>
                  <a:pt x="1561809" y="2869455"/>
                  <a:pt x="1562740" y="2868390"/>
                </a:cubicBezTo>
                <a:cubicBezTo>
                  <a:pt x="1563805" y="2867325"/>
                  <a:pt x="1564737" y="2865861"/>
                  <a:pt x="1565403" y="2864264"/>
                </a:cubicBezTo>
                <a:cubicBezTo>
                  <a:pt x="1566068" y="2862666"/>
                  <a:pt x="1566468" y="2860803"/>
                  <a:pt x="1566468" y="2858806"/>
                </a:cubicBezTo>
                <a:cubicBezTo>
                  <a:pt x="1566468" y="2856941"/>
                  <a:pt x="1566068" y="2855212"/>
                  <a:pt x="1565403" y="2853614"/>
                </a:cubicBezTo>
                <a:cubicBezTo>
                  <a:pt x="1564737" y="2851884"/>
                  <a:pt x="1563805" y="2850552"/>
                  <a:pt x="1562740" y="2849355"/>
                </a:cubicBezTo>
                <a:cubicBezTo>
                  <a:pt x="1561675" y="2848289"/>
                  <a:pt x="1560344" y="2847357"/>
                  <a:pt x="1558747" y="2846692"/>
                </a:cubicBezTo>
                <a:cubicBezTo>
                  <a:pt x="1557283" y="2846027"/>
                  <a:pt x="1555685" y="2845761"/>
                  <a:pt x="1553688" y="2845761"/>
                </a:cubicBezTo>
                <a:close/>
                <a:moveTo>
                  <a:pt x="1336044" y="2845761"/>
                </a:moveTo>
                <a:cubicBezTo>
                  <a:pt x="1330186" y="2845761"/>
                  <a:pt x="1327657" y="2847756"/>
                  <a:pt x="1326061" y="2849355"/>
                </a:cubicBezTo>
                <a:cubicBezTo>
                  <a:pt x="1323530" y="2852017"/>
                  <a:pt x="1322466" y="2854812"/>
                  <a:pt x="1322466" y="2858806"/>
                </a:cubicBezTo>
                <a:cubicBezTo>
                  <a:pt x="1322466" y="2862933"/>
                  <a:pt x="1323530" y="2865729"/>
                  <a:pt x="1326061" y="2868257"/>
                </a:cubicBezTo>
                <a:cubicBezTo>
                  <a:pt x="1327657" y="2869855"/>
                  <a:pt x="1330186" y="2871718"/>
                  <a:pt x="1336044" y="2871718"/>
                </a:cubicBezTo>
                <a:cubicBezTo>
                  <a:pt x="1338174" y="2871718"/>
                  <a:pt x="1339904" y="2871319"/>
                  <a:pt x="1341370" y="2870787"/>
                </a:cubicBezTo>
                <a:cubicBezTo>
                  <a:pt x="1342834" y="2870254"/>
                  <a:pt x="1344165" y="2869455"/>
                  <a:pt x="1345097" y="2868390"/>
                </a:cubicBezTo>
                <a:cubicBezTo>
                  <a:pt x="1346161" y="2867325"/>
                  <a:pt x="1347094" y="2865861"/>
                  <a:pt x="1347760" y="2864264"/>
                </a:cubicBezTo>
                <a:cubicBezTo>
                  <a:pt x="1348425" y="2862666"/>
                  <a:pt x="1348826" y="2860803"/>
                  <a:pt x="1348826" y="2858806"/>
                </a:cubicBezTo>
                <a:cubicBezTo>
                  <a:pt x="1348826" y="2856941"/>
                  <a:pt x="1348425" y="2855212"/>
                  <a:pt x="1347760" y="2853614"/>
                </a:cubicBezTo>
                <a:cubicBezTo>
                  <a:pt x="1347094" y="2851884"/>
                  <a:pt x="1346161" y="2850552"/>
                  <a:pt x="1345097" y="2849355"/>
                </a:cubicBezTo>
                <a:cubicBezTo>
                  <a:pt x="1344032" y="2848289"/>
                  <a:pt x="1342702" y="2847357"/>
                  <a:pt x="1341103" y="2846692"/>
                </a:cubicBezTo>
                <a:cubicBezTo>
                  <a:pt x="1339639" y="2846027"/>
                  <a:pt x="1338040" y="2845761"/>
                  <a:pt x="1336044" y="2845761"/>
                </a:cubicBezTo>
                <a:close/>
                <a:moveTo>
                  <a:pt x="1118532" y="2845761"/>
                </a:moveTo>
                <a:cubicBezTo>
                  <a:pt x="1112674" y="2845761"/>
                  <a:pt x="1110145" y="2847756"/>
                  <a:pt x="1108547" y="2849355"/>
                </a:cubicBezTo>
                <a:cubicBezTo>
                  <a:pt x="1105885" y="2852017"/>
                  <a:pt x="1104820" y="2854812"/>
                  <a:pt x="1104820" y="2858806"/>
                </a:cubicBezTo>
                <a:cubicBezTo>
                  <a:pt x="1104820" y="2862933"/>
                  <a:pt x="1105885" y="2865729"/>
                  <a:pt x="1108415" y="2868257"/>
                </a:cubicBezTo>
                <a:cubicBezTo>
                  <a:pt x="1110012" y="2869855"/>
                  <a:pt x="1112541" y="2871718"/>
                  <a:pt x="1118399" y="2871718"/>
                </a:cubicBezTo>
                <a:cubicBezTo>
                  <a:pt x="1120529" y="2871718"/>
                  <a:pt x="1122260" y="2871319"/>
                  <a:pt x="1123856" y="2870787"/>
                </a:cubicBezTo>
                <a:cubicBezTo>
                  <a:pt x="1125321" y="2870254"/>
                  <a:pt x="1126655" y="2869455"/>
                  <a:pt x="1127585" y="2868390"/>
                </a:cubicBezTo>
                <a:cubicBezTo>
                  <a:pt x="1128650" y="2867325"/>
                  <a:pt x="1129582" y="2865861"/>
                  <a:pt x="1130248" y="2864264"/>
                </a:cubicBezTo>
                <a:cubicBezTo>
                  <a:pt x="1130913" y="2862666"/>
                  <a:pt x="1131314" y="2860803"/>
                  <a:pt x="1131314" y="2858806"/>
                </a:cubicBezTo>
                <a:cubicBezTo>
                  <a:pt x="1131314" y="2856941"/>
                  <a:pt x="1130913" y="2855212"/>
                  <a:pt x="1130248" y="2853614"/>
                </a:cubicBezTo>
                <a:cubicBezTo>
                  <a:pt x="1129582" y="2851884"/>
                  <a:pt x="1128650" y="2850552"/>
                  <a:pt x="1127585" y="2849355"/>
                </a:cubicBezTo>
                <a:cubicBezTo>
                  <a:pt x="1126520" y="2848289"/>
                  <a:pt x="1125189" y="2847357"/>
                  <a:pt x="1123590" y="2846692"/>
                </a:cubicBezTo>
                <a:cubicBezTo>
                  <a:pt x="1122127" y="2846027"/>
                  <a:pt x="1120529" y="2845761"/>
                  <a:pt x="1118532" y="2845761"/>
                </a:cubicBezTo>
                <a:close/>
                <a:moveTo>
                  <a:pt x="901020" y="2845761"/>
                </a:moveTo>
                <a:cubicBezTo>
                  <a:pt x="895162" y="2845761"/>
                  <a:pt x="892633" y="2847756"/>
                  <a:pt x="891036" y="2849355"/>
                </a:cubicBezTo>
                <a:cubicBezTo>
                  <a:pt x="888373" y="2852017"/>
                  <a:pt x="887309" y="2854812"/>
                  <a:pt x="887309" y="2858806"/>
                </a:cubicBezTo>
                <a:cubicBezTo>
                  <a:pt x="887309" y="2862933"/>
                  <a:pt x="888373" y="2865729"/>
                  <a:pt x="890903" y="2868257"/>
                </a:cubicBezTo>
                <a:cubicBezTo>
                  <a:pt x="892500" y="2869855"/>
                  <a:pt x="895029" y="2871718"/>
                  <a:pt x="900886" y="2871718"/>
                </a:cubicBezTo>
                <a:cubicBezTo>
                  <a:pt x="902883" y="2871718"/>
                  <a:pt x="904614" y="2871319"/>
                  <a:pt x="906345" y="2870787"/>
                </a:cubicBezTo>
                <a:cubicBezTo>
                  <a:pt x="907809" y="2870254"/>
                  <a:pt x="909140" y="2869455"/>
                  <a:pt x="910073" y="2868390"/>
                </a:cubicBezTo>
                <a:cubicBezTo>
                  <a:pt x="911137" y="2867325"/>
                  <a:pt x="912069" y="2865861"/>
                  <a:pt x="912735" y="2864264"/>
                </a:cubicBezTo>
                <a:cubicBezTo>
                  <a:pt x="913400" y="2862666"/>
                  <a:pt x="913800" y="2860803"/>
                  <a:pt x="913800" y="2858806"/>
                </a:cubicBezTo>
                <a:cubicBezTo>
                  <a:pt x="913800" y="2856941"/>
                  <a:pt x="913400" y="2855212"/>
                  <a:pt x="912735" y="2853614"/>
                </a:cubicBezTo>
                <a:cubicBezTo>
                  <a:pt x="912069" y="2851884"/>
                  <a:pt x="911137" y="2850552"/>
                  <a:pt x="910073" y="2849355"/>
                </a:cubicBezTo>
                <a:cubicBezTo>
                  <a:pt x="909007" y="2848289"/>
                  <a:pt x="907676" y="2847357"/>
                  <a:pt x="906078" y="2846692"/>
                </a:cubicBezTo>
                <a:cubicBezTo>
                  <a:pt x="904614" y="2846027"/>
                  <a:pt x="903016" y="2845761"/>
                  <a:pt x="901020" y="2845761"/>
                </a:cubicBezTo>
                <a:close/>
                <a:moveTo>
                  <a:pt x="683244" y="2845761"/>
                </a:moveTo>
                <a:cubicBezTo>
                  <a:pt x="677387" y="2845761"/>
                  <a:pt x="674858" y="2847756"/>
                  <a:pt x="673261" y="2849355"/>
                </a:cubicBezTo>
                <a:cubicBezTo>
                  <a:pt x="670731" y="2852017"/>
                  <a:pt x="669667" y="2854812"/>
                  <a:pt x="669667" y="2858806"/>
                </a:cubicBezTo>
                <a:cubicBezTo>
                  <a:pt x="669667" y="2862933"/>
                  <a:pt x="670731" y="2865729"/>
                  <a:pt x="673261" y="2868257"/>
                </a:cubicBezTo>
                <a:cubicBezTo>
                  <a:pt x="674858" y="2869855"/>
                  <a:pt x="677387" y="2871718"/>
                  <a:pt x="683244" y="2871718"/>
                </a:cubicBezTo>
                <a:cubicBezTo>
                  <a:pt x="685241" y="2871718"/>
                  <a:pt x="687105" y="2871319"/>
                  <a:pt x="688569" y="2870787"/>
                </a:cubicBezTo>
                <a:cubicBezTo>
                  <a:pt x="690033" y="2870254"/>
                  <a:pt x="691365" y="2869455"/>
                  <a:pt x="692296" y="2868390"/>
                </a:cubicBezTo>
                <a:cubicBezTo>
                  <a:pt x="693361" y="2867325"/>
                  <a:pt x="694293" y="2865861"/>
                  <a:pt x="694959" y="2864264"/>
                </a:cubicBezTo>
                <a:cubicBezTo>
                  <a:pt x="695624" y="2862666"/>
                  <a:pt x="696024" y="2860803"/>
                  <a:pt x="696024" y="2858806"/>
                </a:cubicBezTo>
                <a:cubicBezTo>
                  <a:pt x="696024" y="2856941"/>
                  <a:pt x="695624" y="2855212"/>
                  <a:pt x="694959" y="2853614"/>
                </a:cubicBezTo>
                <a:cubicBezTo>
                  <a:pt x="694293" y="2851884"/>
                  <a:pt x="693361" y="2850552"/>
                  <a:pt x="692296" y="2849355"/>
                </a:cubicBezTo>
                <a:cubicBezTo>
                  <a:pt x="691231" y="2848289"/>
                  <a:pt x="689900" y="2847357"/>
                  <a:pt x="688303" y="2846692"/>
                </a:cubicBezTo>
                <a:cubicBezTo>
                  <a:pt x="686839" y="2846027"/>
                  <a:pt x="685241" y="2845761"/>
                  <a:pt x="683244" y="2845761"/>
                </a:cubicBezTo>
                <a:close/>
                <a:moveTo>
                  <a:pt x="465601" y="2845761"/>
                </a:moveTo>
                <a:cubicBezTo>
                  <a:pt x="459744" y="2845761"/>
                  <a:pt x="457215" y="2847756"/>
                  <a:pt x="455618" y="2849355"/>
                </a:cubicBezTo>
                <a:cubicBezTo>
                  <a:pt x="453088" y="2852017"/>
                  <a:pt x="452024" y="2854812"/>
                  <a:pt x="452024" y="2858806"/>
                </a:cubicBezTo>
                <a:cubicBezTo>
                  <a:pt x="452024" y="2862933"/>
                  <a:pt x="453088" y="2865729"/>
                  <a:pt x="455618" y="2868257"/>
                </a:cubicBezTo>
                <a:cubicBezTo>
                  <a:pt x="457215" y="2869855"/>
                  <a:pt x="459744" y="2871718"/>
                  <a:pt x="465601" y="2871718"/>
                </a:cubicBezTo>
                <a:cubicBezTo>
                  <a:pt x="467598" y="2871718"/>
                  <a:pt x="469462" y="2871319"/>
                  <a:pt x="470926" y="2870787"/>
                </a:cubicBezTo>
                <a:cubicBezTo>
                  <a:pt x="472390" y="2870254"/>
                  <a:pt x="473721" y="2869455"/>
                  <a:pt x="474653" y="2868390"/>
                </a:cubicBezTo>
                <a:cubicBezTo>
                  <a:pt x="475718" y="2867325"/>
                  <a:pt x="476650" y="2865861"/>
                  <a:pt x="477316" y="2864264"/>
                </a:cubicBezTo>
                <a:cubicBezTo>
                  <a:pt x="477981" y="2862666"/>
                  <a:pt x="478381" y="2860803"/>
                  <a:pt x="478381" y="2858806"/>
                </a:cubicBezTo>
                <a:cubicBezTo>
                  <a:pt x="478381" y="2856941"/>
                  <a:pt x="477981" y="2855212"/>
                  <a:pt x="477316" y="2853614"/>
                </a:cubicBezTo>
                <a:cubicBezTo>
                  <a:pt x="476650" y="2851884"/>
                  <a:pt x="475718" y="2850552"/>
                  <a:pt x="474653" y="2849355"/>
                </a:cubicBezTo>
                <a:cubicBezTo>
                  <a:pt x="473588" y="2848289"/>
                  <a:pt x="472257" y="2847357"/>
                  <a:pt x="470660" y="2846692"/>
                </a:cubicBezTo>
                <a:cubicBezTo>
                  <a:pt x="469196" y="2846027"/>
                  <a:pt x="467598" y="2845761"/>
                  <a:pt x="465601" y="2845761"/>
                </a:cubicBezTo>
                <a:close/>
                <a:moveTo>
                  <a:pt x="247958" y="2845761"/>
                </a:moveTo>
                <a:cubicBezTo>
                  <a:pt x="242101" y="2845761"/>
                  <a:pt x="239572" y="2847756"/>
                  <a:pt x="237975" y="2849355"/>
                </a:cubicBezTo>
                <a:cubicBezTo>
                  <a:pt x="235445" y="2852017"/>
                  <a:pt x="234381" y="2854812"/>
                  <a:pt x="234381" y="2858806"/>
                </a:cubicBezTo>
                <a:cubicBezTo>
                  <a:pt x="234381" y="2862933"/>
                  <a:pt x="235445" y="2865729"/>
                  <a:pt x="237975" y="2868257"/>
                </a:cubicBezTo>
                <a:cubicBezTo>
                  <a:pt x="239572" y="2869855"/>
                  <a:pt x="242101" y="2871718"/>
                  <a:pt x="247958" y="2871718"/>
                </a:cubicBezTo>
                <a:cubicBezTo>
                  <a:pt x="250088" y="2871718"/>
                  <a:pt x="251819" y="2871319"/>
                  <a:pt x="253283" y="2870787"/>
                </a:cubicBezTo>
                <a:cubicBezTo>
                  <a:pt x="254747" y="2870254"/>
                  <a:pt x="256078" y="2869455"/>
                  <a:pt x="257010" y="2868390"/>
                </a:cubicBezTo>
                <a:cubicBezTo>
                  <a:pt x="258075" y="2867325"/>
                  <a:pt x="259007" y="2865861"/>
                  <a:pt x="259673" y="2864264"/>
                </a:cubicBezTo>
                <a:cubicBezTo>
                  <a:pt x="260338" y="2862666"/>
                  <a:pt x="260738" y="2860803"/>
                  <a:pt x="260738" y="2858806"/>
                </a:cubicBezTo>
                <a:cubicBezTo>
                  <a:pt x="260738" y="2856941"/>
                  <a:pt x="260338" y="2855212"/>
                  <a:pt x="259673" y="2853614"/>
                </a:cubicBezTo>
                <a:cubicBezTo>
                  <a:pt x="259007" y="2851884"/>
                  <a:pt x="258075" y="2850552"/>
                  <a:pt x="257010" y="2849355"/>
                </a:cubicBezTo>
                <a:cubicBezTo>
                  <a:pt x="255945" y="2848289"/>
                  <a:pt x="254614" y="2847357"/>
                  <a:pt x="253017" y="2846692"/>
                </a:cubicBezTo>
                <a:cubicBezTo>
                  <a:pt x="251552" y="2846027"/>
                  <a:pt x="249955" y="2845761"/>
                  <a:pt x="247958" y="2845761"/>
                </a:cubicBezTo>
                <a:close/>
                <a:moveTo>
                  <a:pt x="30315" y="2845761"/>
                </a:moveTo>
                <a:cubicBezTo>
                  <a:pt x="24458" y="2845761"/>
                  <a:pt x="21929" y="2847756"/>
                  <a:pt x="20332" y="2849355"/>
                </a:cubicBezTo>
                <a:cubicBezTo>
                  <a:pt x="17802" y="2852017"/>
                  <a:pt x="16738" y="2854812"/>
                  <a:pt x="16738" y="2858806"/>
                </a:cubicBezTo>
                <a:cubicBezTo>
                  <a:pt x="16738" y="2862933"/>
                  <a:pt x="17802" y="2865729"/>
                  <a:pt x="20332" y="2868257"/>
                </a:cubicBezTo>
                <a:cubicBezTo>
                  <a:pt x="21929" y="2869855"/>
                  <a:pt x="24458" y="2871718"/>
                  <a:pt x="30315" y="2871718"/>
                </a:cubicBezTo>
                <a:cubicBezTo>
                  <a:pt x="32445" y="2871718"/>
                  <a:pt x="34176" y="2871319"/>
                  <a:pt x="35640" y="2870787"/>
                </a:cubicBezTo>
                <a:cubicBezTo>
                  <a:pt x="37104" y="2870254"/>
                  <a:pt x="38436" y="2869455"/>
                  <a:pt x="39367" y="2868390"/>
                </a:cubicBezTo>
                <a:cubicBezTo>
                  <a:pt x="40432" y="2867325"/>
                  <a:pt x="41364" y="2865861"/>
                  <a:pt x="42030" y="2864264"/>
                </a:cubicBezTo>
                <a:cubicBezTo>
                  <a:pt x="42695" y="2862666"/>
                  <a:pt x="42961" y="2860803"/>
                  <a:pt x="42961" y="2858806"/>
                </a:cubicBezTo>
                <a:cubicBezTo>
                  <a:pt x="42961" y="2856941"/>
                  <a:pt x="42695" y="2855212"/>
                  <a:pt x="42030" y="2853614"/>
                </a:cubicBezTo>
                <a:cubicBezTo>
                  <a:pt x="41364" y="2851884"/>
                  <a:pt x="40432" y="2850552"/>
                  <a:pt x="39367" y="2849355"/>
                </a:cubicBezTo>
                <a:cubicBezTo>
                  <a:pt x="38302" y="2848289"/>
                  <a:pt x="36971" y="2847357"/>
                  <a:pt x="35374" y="2846692"/>
                </a:cubicBezTo>
                <a:cubicBezTo>
                  <a:pt x="33910" y="2846027"/>
                  <a:pt x="32312" y="2845761"/>
                  <a:pt x="30315" y="2845761"/>
                </a:cubicBezTo>
                <a:close/>
                <a:moveTo>
                  <a:pt x="10475977" y="2828988"/>
                </a:moveTo>
                <a:cubicBezTo>
                  <a:pt x="10480237" y="2828988"/>
                  <a:pt x="10484230" y="2829786"/>
                  <a:pt x="10487824" y="2831516"/>
                </a:cubicBezTo>
                <a:cubicBezTo>
                  <a:pt x="10491419" y="2833114"/>
                  <a:pt x="10494613" y="2835243"/>
                  <a:pt x="10497143" y="2837906"/>
                </a:cubicBezTo>
                <a:cubicBezTo>
                  <a:pt x="10499672" y="2840568"/>
                  <a:pt x="10501801" y="2843764"/>
                  <a:pt x="10503266" y="2847357"/>
                </a:cubicBezTo>
                <a:cubicBezTo>
                  <a:pt x="10504730" y="2850952"/>
                  <a:pt x="10505529" y="2854678"/>
                  <a:pt x="10505529" y="2858806"/>
                </a:cubicBezTo>
                <a:cubicBezTo>
                  <a:pt x="10505529" y="2862933"/>
                  <a:pt x="10504730" y="2866926"/>
                  <a:pt x="10503266" y="2870520"/>
                </a:cubicBezTo>
                <a:cubicBezTo>
                  <a:pt x="10501669" y="2874114"/>
                  <a:pt x="10499672" y="2877176"/>
                  <a:pt x="10497143" y="2879838"/>
                </a:cubicBezTo>
                <a:cubicBezTo>
                  <a:pt x="10494480" y="2882501"/>
                  <a:pt x="10491419" y="2884631"/>
                  <a:pt x="10487824" y="2886095"/>
                </a:cubicBezTo>
                <a:cubicBezTo>
                  <a:pt x="10484098" y="2887559"/>
                  <a:pt x="10480237" y="2888359"/>
                  <a:pt x="10475977" y="2888359"/>
                </a:cubicBezTo>
                <a:cubicBezTo>
                  <a:pt x="10466924" y="2888359"/>
                  <a:pt x="10459736" y="2885429"/>
                  <a:pt x="10454145" y="2879838"/>
                </a:cubicBezTo>
                <a:cubicBezTo>
                  <a:pt x="10448554" y="2874247"/>
                  <a:pt x="10445759" y="2867192"/>
                  <a:pt x="10445759" y="2858673"/>
                </a:cubicBezTo>
                <a:cubicBezTo>
                  <a:pt x="10445759" y="2850420"/>
                  <a:pt x="10448554" y="2843363"/>
                  <a:pt x="10454145" y="2837640"/>
                </a:cubicBezTo>
                <a:cubicBezTo>
                  <a:pt x="10459603" y="2831916"/>
                  <a:pt x="10466924" y="2828988"/>
                  <a:pt x="10475977" y="2828988"/>
                </a:cubicBezTo>
                <a:close/>
                <a:moveTo>
                  <a:pt x="10258466" y="2828988"/>
                </a:moveTo>
                <a:cubicBezTo>
                  <a:pt x="10262592" y="2828988"/>
                  <a:pt x="10266586" y="2829786"/>
                  <a:pt x="10270313" y="2831516"/>
                </a:cubicBezTo>
                <a:cubicBezTo>
                  <a:pt x="10273907" y="2833114"/>
                  <a:pt x="10277101" y="2835243"/>
                  <a:pt x="10279631" y="2837906"/>
                </a:cubicBezTo>
                <a:cubicBezTo>
                  <a:pt x="10282160" y="2840568"/>
                  <a:pt x="10284290" y="2843764"/>
                  <a:pt x="10285754" y="2847357"/>
                </a:cubicBezTo>
                <a:cubicBezTo>
                  <a:pt x="10287218" y="2850952"/>
                  <a:pt x="10288017" y="2854678"/>
                  <a:pt x="10288017" y="2858806"/>
                </a:cubicBezTo>
                <a:cubicBezTo>
                  <a:pt x="10288017" y="2862933"/>
                  <a:pt x="10287218" y="2866926"/>
                  <a:pt x="10285754" y="2870520"/>
                </a:cubicBezTo>
                <a:cubicBezTo>
                  <a:pt x="10284157" y="2874114"/>
                  <a:pt x="10282160" y="2877176"/>
                  <a:pt x="10279631" y="2879838"/>
                </a:cubicBezTo>
                <a:cubicBezTo>
                  <a:pt x="10276969" y="2882501"/>
                  <a:pt x="10273907" y="2884631"/>
                  <a:pt x="10270313" y="2886095"/>
                </a:cubicBezTo>
                <a:cubicBezTo>
                  <a:pt x="10266586" y="2887559"/>
                  <a:pt x="10262725" y="2888359"/>
                  <a:pt x="10258466" y="2888359"/>
                </a:cubicBezTo>
                <a:cubicBezTo>
                  <a:pt x="10249546" y="2888359"/>
                  <a:pt x="10242224" y="2885429"/>
                  <a:pt x="10236633" y="2879838"/>
                </a:cubicBezTo>
                <a:cubicBezTo>
                  <a:pt x="10231043" y="2874247"/>
                  <a:pt x="10228247" y="2867192"/>
                  <a:pt x="10228247" y="2858673"/>
                </a:cubicBezTo>
                <a:cubicBezTo>
                  <a:pt x="10228247" y="2850420"/>
                  <a:pt x="10231043" y="2843363"/>
                  <a:pt x="10236633" y="2837640"/>
                </a:cubicBezTo>
                <a:cubicBezTo>
                  <a:pt x="10242092" y="2831916"/>
                  <a:pt x="10249413" y="2828988"/>
                  <a:pt x="10258466" y="2828988"/>
                </a:cubicBezTo>
                <a:close/>
                <a:moveTo>
                  <a:pt x="10040820" y="2828988"/>
                </a:moveTo>
                <a:cubicBezTo>
                  <a:pt x="10045080" y="2828988"/>
                  <a:pt x="10048941" y="2829786"/>
                  <a:pt x="10052534" y="2831516"/>
                </a:cubicBezTo>
                <a:cubicBezTo>
                  <a:pt x="10056129" y="2833114"/>
                  <a:pt x="10059323" y="2835243"/>
                  <a:pt x="10061852" y="2837906"/>
                </a:cubicBezTo>
                <a:cubicBezTo>
                  <a:pt x="10064382" y="2840568"/>
                  <a:pt x="10066512" y="2843764"/>
                  <a:pt x="10067976" y="2847357"/>
                </a:cubicBezTo>
                <a:cubicBezTo>
                  <a:pt x="10069440" y="2850952"/>
                  <a:pt x="10070239" y="2854678"/>
                  <a:pt x="10070239" y="2858806"/>
                </a:cubicBezTo>
                <a:cubicBezTo>
                  <a:pt x="10070239" y="2862933"/>
                  <a:pt x="10069440" y="2866926"/>
                  <a:pt x="10067976" y="2870520"/>
                </a:cubicBezTo>
                <a:cubicBezTo>
                  <a:pt x="10066379" y="2874114"/>
                  <a:pt x="10064382" y="2877176"/>
                  <a:pt x="10061852" y="2879838"/>
                </a:cubicBezTo>
                <a:cubicBezTo>
                  <a:pt x="10059190" y="2882501"/>
                  <a:pt x="10056129" y="2884631"/>
                  <a:pt x="10052534" y="2886095"/>
                </a:cubicBezTo>
                <a:cubicBezTo>
                  <a:pt x="10048941" y="2887559"/>
                  <a:pt x="10045080" y="2888359"/>
                  <a:pt x="10040820" y="2888359"/>
                </a:cubicBezTo>
                <a:cubicBezTo>
                  <a:pt x="10031767" y="2888359"/>
                  <a:pt x="10024579" y="2885429"/>
                  <a:pt x="10018988" y="2879838"/>
                </a:cubicBezTo>
                <a:cubicBezTo>
                  <a:pt x="10013397" y="2874247"/>
                  <a:pt x="10010602" y="2867192"/>
                  <a:pt x="10010602" y="2858673"/>
                </a:cubicBezTo>
                <a:cubicBezTo>
                  <a:pt x="10010602" y="2850420"/>
                  <a:pt x="10013397" y="2843363"/>
                  <a:pt x="10018988" y="2837640"/>
                </a:cubicBezTo>
                <a:cubicBezTo>
                  <a:pt x="10024579" y="2831916"/>
                  <a:pt x="10031767" y="2828988"/>
                  <a:pt x="10040820" y="2828988"/>
                </a:cubicBezTo>
                <a:close/>
                <a:moveTo>
                  <a:pt x="9823176" y="2828988"/>
                </a:moveTo>
                <a:cubicBezTo>
                  <a:pt x="9827435" y="2828988"/>
                  <a:pt x="9831296" y="2829786"/>
                  <a:pt x="9834890" y="2831516"/>
                </a:cubicBezTo>
                <a:cubicBezTo>
                  <a:pt x="9838617" y="2833114"/>
                  <a:pt x="9841679" y="2835243"/>
                  <a:pt x="9844208" y="2837906"/>
                </a:cubicBezTo>
                <a:cubicBezTo>
                  <a:pt x="9846737" y="2840568"/>
                  <a:pt x="9848867" y="2843764"/>
                  <a:pt x="9850331" y="2847357"/>
                </a:cubicBezTo>
                <a:cubicBezTo>
                  <a:pt x="9851796" y="2850952"/>
                  <a:pt x="9852595" y="2854678"/>
                  <a:pt x="9852595" y="2858806"/>
                </a:cubicBezTo>
                <a:cubicBezTo>
                  <a:pt x="9852595" y="2862933"/>
                  <a:pt x="9851796" y="2866926"/>
                  <a:pt x="9850331" y="2870520"/>
                </a:cubicBezTo>
                <a:cubicBezTo>
                  <a:pt x="9848734" y="2874114"/>
                  <a:pt x="9846737" y="2877176"/>
                  <a:pt x="9844208" y="2879838"/>
                </a:cubicBezTo>
                <a:cubicBezTo>
                  <a:pt x="9841546" y="2882501"/>
                  <a:pt x="9838484" y="2884631"/>
                  <a:pt x="9834890" y="2886095"/>
                </a:cubicBezTo>
                <a:cubicBezTo>
                  <a:pt x="9831296" y="2887559"/>
                  <a:pt x="9827435" y="2888359"/>
                  <a:pt x="9823176" y="2888359"/>
                </a:cubicBezTo>
                <a:cubicBezTo>
                  <a:pt x="9814123" y="2888359"/>
                  <a:pt x="9806935" y="2885429"/>
                  <a:pt x="9801343" y="2879838"/>
                </a:cubicBezTo>
                <a:cubicBezTo>
                  <a:pt x="9795753" y="2874247"/>
                  <a:pt x="9792957" y="2867192"/>
                  <a:pt x="9792957" y="2858673"/>
                </a:cubicBezTo>
                <a:cubicBezTo>
                  <a:pt x="9792957" y="2850420"/>
                  <a:pt x="9795753" y="2843363"/>
                  <a:pt x="9801343" y="2837640"/>
                </a:cubicBezTo>
                <a:cubicBezTo>
                  <a:pt x="9806935" y="2831916"/>
                  <a:pt x="9814123" y="2828988"/>
                  <a:pt x="9823176" y="2828988"/>
                </a:cubicBezTo>
                <a:close/>
                <a:moveTo>
                  <a:pt x="9605531" y="2828988"/>
                </a:moveTo>
                <a:cubicBezTo>
                  <a:pt x="9609790" y="2828988"/>
                  <a:pt x="9613784" y="2829786"/>
                  <a:pt x="9617245" y="2831516"/>
                </a:cubicBezTo>
                <a:cubicBezTo>
                  <a:pt x="9620839" y="2833114"/>
                  <a:pt x="9624033" y="2835243"/>
                  <a:pt x="9626562" y="2837906"/>
                </a:cubicBezTo>
                <a:cubicBezTo>
                  <a:pt x="9629092" y="2840568"/>
                  <a:pt x="9631222" y="2843764"/>
                  <a:pt x="9632686" y="2847357"/>
                </a:cubicBezTo>
                <a:cubicBezTo>
                  <a:pt x="9634150" y="2850952"/>
                  <a:pt x="9634949" y="2854678"/>
                  <a:pt x="9634949" y="2858806"/>
                </a:cubicBezTo>
                <a:cubicBezTo>
                  <a:pt x="9634949" y="2862933"/>
                  <a:pt x="9634150" y="2866926"/>
                  <a:pt x="9632686" y="2870520"/>
                </a:cubicBezTo>
                <a:cubicBezTo>
                  <a:pt x="9631089" y="2874114"/>
                  <a:pt x="9629092" y="2877176"/>
                  <a:pt x="9626562" y="2879838"/>
                </a:cubicBezTo>
                <a:cubicBezTo>
                  <a:pt x="9623901" y="2882501"/>
                  <a:pt x="9620839" y="2884631"/>
                  <a:pt x="9617245" y="2886095"/>
                </a:cubicBezTo>
                <a:cubicBezTo>
                  <a:pt x="9613651" y="2887559"/>
                  <a:pt x="9609790" y="2888359"/>
                  <a:pt x="9605531" y="2888359"/>
                </a:cubicBezTo>
                <a:cubicBezTo>
                  <a:pt x="9596610" y="2888359"/>
                  <a:pt x="9589289" y="2885429"/>
                  <a:pt x="9583698" y="2879838"/>
                </a:cubicBezTo>
                <a:cubicBezTo>
                  <a:pt x="9578108" y="2874247"/>
                  <a:pt x="9575312" y="2867192"/>
                  <a:pt x="9575312" y="2858673"/>
                </a:cubicBezTo>
                <a:cubicBezTo>
                  <a:pt x="9575312" y="2850420"/>
                  <a:pt x="9578108" y="2843363"/>
                  <a:pt x="9583698" y="2837640"/>
                </a:cubicBezTo>
                <a:cubicBezTo>
                  <a:pt x="9589289" y="2831916"/>
                  <a:pt x="9596478" y="2828988"/>
                  <a:pt x="9605531" y="2828988"/>
                </a:cubicBezTo>
                <a:close/>
                <a:moveTo>
                  <a:pt x="9387885" y="2828988"/>
                </a:moveTo>
                <a:cubicBezTo>
                  <a:pt x="9392145" y="2828988"/>
                  <a:pt x="9396138" y="2829786"/>
                  <a:pt x="9399599" y="2831516"/>
                </a:cubicBezTo>
                <a:cubicBezTo>
                  <a:pt x="9403194" y="2833114"/>
                  <a:pt x="9406388" y="2835243"/>
                  <a:pt x="9408917" y="2837906"/>
                </a:cubicBezTo>
                <a:cubicBezTo>
                  <a:pt x="9411447" y="2840568"/>
                  <a:pt x="9413576" y="2843764"/>
                  <a:pt x="9415041" y="2847357"/>
                </a:cubicBezTo>
                <a:cubicBezTo>
                  <a:pt x="9416505" y="2850952"/>
                  <a:pt x="9417304" y="2854678"/>
                  <a:pt x="9417304" y="2858806"/>
                </a:cubicBezTo>
                <a:cubicBezTo>
                  <a:pt x="9417304" y="2862933"/>
                  <a:pt x="9416505" y="2866926"/>
                  <a:pt x="9415041" y="2870520"/>
                </a:cubicBezTo>
                <a:cubicBezTo>
                  <a:pt x="9413444" y="2874114"/>
                  <a:pt x="9411447" y="2877176"/>
                  <a:pt x="9408917" y="2879838"/>
                </a:cubicBezTo>
                <a:cubicBezTo>
                  <a:pt x="9406255" y="2882501"/>
                  <a:pt x="9403194" y="2884631"/>
                  <a:pt x="9399599" y="2886095"/>
                </a:cubicBezTo>
                <a:cubicBezTo>
                  <a:pt x="9396005" y="2887559"/>
                  <a:pt x="9392145" y="2888359"/>
                  <a:pt x="9387885" y="2888359"/>
                </a:cubicBezTo>
                <a:cubicBezTo>
                  <a:pt x="9378965" y="2888359"/>
                  <a:pt x="9371644" y="2885429"/>
                  <a:pt x="9366053" y="2879838"/>
                </a:cubicBezTo>
                <a:cubicBezTo>
                  <a:pt x="9360462" y="2874247"/>
                  <a:pt x="9357667" y="2867192"/>
                  <a:pt x="9357667" y="2858673"/>
                </a:cubicBezTo>
                <a:cubicBezTo>
                  <a:pt x="9357667" y="2850420"/>
                  <a:pt x="9360462" y="2843363"/>
                  <a:pt x="9366053" y="2837640"/>
                </a:cubicBezTo>
                <a:cubicBezTo>
                  <a:pt x="9371644" y="2831916"/>
                  <a:pt x="9378832" y="2828988"/>
                  <a:pt x="9387885" y="2828988"/>
                </a:cubicBezTo>
                <a:close/>
                <a:moveTo>
                  <a:pt x="9170374" y="2828988"/>
                </a:moveTo>
                <a:cubicBezTo>
                  <a:pt x="9174500" y="2828988"/>
                  <a:pt x="9178494" y="2829786"/>
                  <a:pt x="9182088" y="2831516"/>
                </a:cubicBezTo>
                <a:cubicBezTo>
                  <a:pt x="9185682" y="2833114"/>
                  <a:pt x="9188876" y="2835243"/>
                  <a:pt x="9191405" y="2837906"/>
                </a:cubicBezTo>
                <a:cubicBezTo>
                  <a:pt x="9193935" y="2840568"/>
                  <a:pt x="9196065" y="2843764"/>
                  <a:pt x="9197529" y="2847357"/>
                </a:cubicBezTo>
                <a:cubicBezTo>
                  <a:pt x="9198993" y="2850952"/>
                  <a:pt x="9199792" y="2854678"/>
                  <a:pt x="9199792" y="2858806"/>
                </a:cubicBezTo>
                <a:cubicBezTo>
                  <a:pt x="9199792" y="2862933"/>
                  <a:pt x="9198993" y="2866926"/>
                  <a:pt x="9197529" y="2870520"/>
                </a:cubicBezTo>
                <a:cubicBezTo>
                  <a:pt x="9195932" y="2874114"/>
                  <a:pt x="9193935" y="2877176"/>
                  <a:pt x="9191405" y="2879838"/>
                </a:cubicBezTo>
                <a:cubicBezTo>
                  <a:pt x="9188744" y="2882501"/>
                  <a:pt x="9185682" y="2884631"/>
                  <a:pt x="9182088" y="2886095"/>
                </a:cubicBezTo>
                <a:cubicBezTo>
                  <a:pt x="9178494" y="2887559"/>
                  <a:pt x="9174633" y="2888359"/>
                  <a:pt x="9170374" y="2888359"/>
                </a:cubicBezTo>
                <a:cubicBezTo>
                  <a:pt x="9161453" y="2888359"/>
                  <a:pt x="9154132" y="2885429"/>
                  <a:pt x="9148541" y="2879838"/>
                </a:cubicBezTo>
                <a:cubicBezTo>
                  <a:pt x="9142951" y="2874247"/>
                  <a:pt x="9140155" y="2867192"/>
                  <a:pt x="9140155" y="2858673"/>
                </a:cubicBezTo>
                <a:cubicBezTo>
                  <a:pt x="9140155" y="2850420"/>
                  <a:pt x="9142951" y="2843363"/>
                  <a:pt x="9148541" y="2837640"/>
                </a:cubicBezTo>
                <a:cubicBezTo>
                  <a:pt x="9154132" y="2831916"/>
                  <a:pt x="9161321" y="2828988"/>
                  <a:pt x="9170374" y="2828988"/>
                </a:cubicBezTo>
                <a:close/>
                <a:moveTo>
                  <a:pt x="8952728" y="2828988"/>
                </a:moveTo>
                <a:cubicBezTo>
                  <a:pt x="8956988" y="2828988"/>
                  <a:pt x="8960849" y="2829786"/>
                  <a:pt x="8964442" y="2831516"/>
                </a:cubicBezTo>
                <a:cubicBezTo>
                  <a:pt x="8968037" y="2833114"/>
                  <a:pt x="8971231" y="2835243"/>
                  <a:pt x="8973760" y="2837906"/>
                </a:cubicBezTo>
                <a:cubicBezTo>
                  <a:pt x="8976290" y="2840568"/>
                  <a:pt x="8978419" y="2843764"/>
                  <a:pt x="8979884" y="2847357"/>
                </a:cubicBezTo>
                <a:cubicBezTo>
                  <a:pt x="8981348" y="2850952"/>
                  <a:pt x="8982147" y="2854678"/>
                  <a:pt x="8982147" y="2858806"/>
                </a:cubicBezTo>
                <a:cubicBezTo>
                  <a:pt x="8982147" y="2862933"/>
                  <a:pt x="8981348" y="2866926"/>
                  <a:pt x="8979884" y="2870520"/>
                </a:cubicBezTo>
                <a:cubicBezTo>
                  <a:pt x="8978287" y="2874114"/>
                  <a:pt x="8976290" y="2877176"/>
                  <a:pt x="8973760" y="2879838"/>
                </a:cubicBezTo>
                <a:cubicBezTo>
                  <a:pt x="8971098" y="2882501"/>
                  <a:pt x="8968037" y="2884631"/>
                  <a:pt x="8964442" y="2886095"/>
                </a:cubicBezTo>
                <a:cubicBezTo>
                  <a:pt x="8960849" y="2887559"/>
                  <a:pt x="8956988" y="2888359"/>
                  <a:pt x="8952728" y="2888359"/>
                </a:cubicBezTo>
                <a:cubicBezTo>
                  <a:pt x="8943808" y="2888359"/>
                  <a:pt x="8936487" y="2885429"/>
                  <a:pt x="8930896" y="2879838"/>
                </a:cubicBezTo>
                <a:cubicBezTo>
                  <a:pt x="8925305" y="2874247"/>
                  <a:pt x="8922510" y="2867192"/>
                  <a:pt x="8922510" y="2858673"/>
                </a:cubicBezTo>
                <a:cubicBezTo>
                  <a:pt x="8922510" y="2850420"/>
                  <a:pt x="8925305" y="2843363"/>
                  <a:pt x="8930896" y="2837640"/>
                </a:cubicBezTo>
                <a:cubicBezTo>
                  <a:pt x="8936487" y="2831916"/>
                  <a:pt x="8943675" y="2828988"/>
                  <a:pt x="8952728" y="2828988"/>
                </a:cubicBezTo>
                <a:close/>
                <a:moveTo>
                  <a:pt x="8735083" y="2828988"/>
                </a:moveTo>
                <a:cubicBezTo>
                  <a:pt x="8739342" y="2828988"/>
                  <a:pt x="8743203" y="2829786"/>
                  <a:pt x="8746797" y="2831516"/>
                </a:cubicBezTo>
                <a:cubicBezTo>
                  <a:pt x="8750391" y="2833114"/>
                  <a:pt x="8753586" y="2835243"/>
                  <a:pt x="8756115" y="2837906"/>
                </a:cubicBezTo>
                <a:cubicBezTo>
                  <a:pt x="8758644" y="2840568"/>
                  <a:pt x="8760774" y="2843764"/>
                  <a:pt x="8762238" y="2847357"/>
                </a:cubicBezTo>
                <a:cubicBezTo>
                  <a:pt x="8763702" y="2850952"/>
                  <a:pt x="8764502" y="2854678"/>
                  <a:pt x="8764502" y="2858806"/>
                </a:cubicBezTo>
                <a:cubicBezTo>
                  <a:pt x="8764502" y="2862933"/>
                  <a:pt x="8763702" y="2866926"/>
                  <a:pt x="8762238" y="2870520"/>
                </a:cubicBezTo>
                <a:cubicBezTo>
                  <a:pt x="8760641" y="2874114"/>
                  <a:pt x="8758644" y="2877176"/>
                  <a:pt x="8756115" y="2879838"/>
                </a:cubicBezTo>
                <a:cubicBezTo>
                  <a:pt x="8753453" y="2882501"/>
                  <a:pt x="8750391" y="2884631"/>
                  <a:pt x="8746797" y="2886095"/>
                </a:cubicBezTo>
                <a:cubicBezTo>
                  <a:pt x="8743203" y="2887559"/>
                  <a:pt x="8739342" y="2888359"/>
                  <a:pt x="8735083" y="2888359"/>
                </a:cubicBezTo>
                <a:cubicBezTo>
                  <a:pt x="8726030" y="2888359"/>
                  <a:pt x="8718841" y="2885429"/>
                  <a:pt x="8713250" y="2879838"/>
                </a:cubicBezTo>
                <a:cubicBezTo>
                  <a:pt x="8707660" y="2874247"/>
                  <a:pt x="8704864" y="2867192"/>
                  <a:pt x="8704864" y="2858673"/>
                </a:cubicBezTo>
                <a:cubicBezTo>
                  <a:pt x="8704864" y="2850420"/>
                  <a:pt x="8707660" y="2843363"/>
                  <a:pt x="8713250" y="2837640"/>
                </a:cubicBezTo>
                <a:cubicBezTo>
                  <a:pt x="8718841" y="2831916"/>
                  <a:pt x="8726030" y="2828988"/>
                  <a:pt x="8735083" y="2828988"/>
                </a:cubicBezTo>
                <a:close/>
                <a:moveTo>
                  <a:pt x="8517438" y="2828988"/>
                </a:moveTo>
                <a:cubicBezTo>
                  <a:pt x="8521698" y="2828988"/>
                  <a:pt x="8525559" y="2829786"/>
                  <a:pt x="8529152" y="2831516"/>
                </a:cubicBezTo>
                <a:cubicBezTo>
                  <a:pt x="8532880" y="2833114"/>
                  <a:pt x="8535941" y="2835243"/>
                  <a:pt x="8538470" y="2837906"/>
                </a:cubicBezTo>
                <a:cubicBezTo>
                  <a:pt x="8541000" y="2840568"/>
                  <a:pt x="8543130" y="2843764"/>
                  <a:pt x="8544594" y="2847357"/>
                </a:cubicBezTo>
                <a:cubicBezTo>
                  <a:pt x="8546058" y="2850952"/>
                  <a:pt x="8546857" y="2854678"/>
                  <a:pt x="8546857" y="2858806"/>
                </a:cubicBezTo>
                <a:cubicBezTo>
                  <a:pt x="8546857" y="2862933"/>
                  <a:pt x="8546058" y="2866926"/>
                  <a:pt x="8544594" y="2870520"/>
                </a:cubicBezTo>
                <a:cubicBezTo>
                  <a:pt x="8542997" y="2874114"/>
                  <a:pt x="8541000" y="2877176"/>
                  <a:pt x="8538470" y="2879838"/>
                </a:cubicBezTo>
                <a:cubicBezTo>
                  <a:pt x="8535808" y="2882501"/>
                  <a:pt x="8532747" y="2884631"/>
                  <a:pt x="8529152" y="2886095"/>
                </a:cubicBezTo>
                <a:cubicBezTo>
                  <a:pt x="8525559" y="2887559"/>
                  <a:pt x="8521698" y="2888359"/>
                  <a:pt x="8517438" y="2888359"/>
                </a:cubicBezTo>
                <a:cubicBezTo>
                  <a:pt x="8508385" y="2888359"/>
                  <a:pt x="8501197" y="2885429"/>
                  <a:pt x="8495606" y="2879838"/>
                </a:cubicBezTo>
                <a:cubicBezTo>
                  <a:pt x="8490015" y="2874247"/>
                  <a:pt x="8487220" y="2867192"/>
                  <a:pt x="8487220" y="2858673"/>
                </a:cubicBezTo>
                <a:cubicBezTo>
                  <a:pt x="8487220" y="2850420"/>
                  <a:pt x="8490015" y="2843363"/>
                  <a:pt x="8495606" y="2837640"/>
                </a:cubicBezTo>
                <a:cubicBezTo>
                  <a:pt x="8501197" y="2831916"/>
                  <a:pt x="8508385" y="2828988"/>
                  <a:pt x="8517438" y="2828988"/>
                </a:cubicBezTo>
                <a:close/>
                <a:moveTo>
                  <a:pt x="8299793" y="2828988"/>
                </a:moveTo>
                <a:cubicBezTo>
                  <a:pt x="8304052" y="2828988"/>
                  <a:pt x="8308046" y="2829786"/>
                  <a:pt x="8311507" y="2831516"/>
                </a:cubicBezTo>
                <a:cubicBezTo>
                  <a:pt x="8315235" y="2833114"/>
                  <a:pt x="8318296" y="2835243"/>
                  <a:pt x="8320825" y="2837906"/>
                </a:cubicBezTo>
                <a:cubicBezTo>
                  <a:pt x="8323354" y="2840568"/>
                  <a:pt x="8325484" y="2843764"/>
                  <a:pt x="8326948" y="2847357"/>
                </a:cubicBezTo>
                <a:cubicBezTo>
                  <a:pt x="8328413" y="2850952"/>
                  <a:pt x="8329212" y="2854678"/>
                  <a:pt x="8329212" y="2858806"/>
                </a:cubicBezTo>
                <a:cubicBezTo>
                  <a:pt x="8329212" y="2862933"/>
                  <a:pt x="8328413" y="2866926"/>
                  <a:pt x="8326948" y="2870520"/>
                </a:cubicBezTo>
                <a:cubicBezTo>
                  <a:pt x="8325351" y="2874114"/>
                  <a:pt x="8323354" y="2877176"/>
                  <a:pt x="8320825" y="2879838"/>
                </a:cubicBezTo>
                <a:cubicBezTo>
                  <a:pt x="8318163" y="2882501"/>
                  <a:pt x="8315101" y="2884631"/>
                  <a:pt x="8311507" y="2886095"/>
                </a:cubicBezTo>
                <a:cubicBezTo>
                  <a:pt x="8307913" y="2887559"/>
                  <a:pt x="8304052" y="2888359"/>
                  <a:pt x="8299793" y="2888359"/>
                </a:cubicBezTo>
                <a:cubicBezTo>
                  <a:pt x="8290874" y="2888359"/>
                  <a:pt x="8283553" y="2885429"/>
                  <a:pt x="8277960" y="2879838"/>
                </a:cubicBezTo>
                <a:cubicBezTo>
                  <a:pt x="8272370" y="2874247"/>
                  <a:pt x="8269574" y="2867192"/>
                  <a:pt x="8269574" y="2858673"/>
                </a:cubicBezTo>
                <a:cubicBezTo>
                  <a:pt x="8269574" y="2850420"/>
                  <a:pt x="8272370" y="2843363"/>
                  <a:pt x="8277960" y="2837640"/>
                </a:cubicBezTo>
                <a:cubicBezTo>
                  <a:pt x="8283553" y="2831916"/>
                  <a:pt x="8290741" y="2828988"/>
                  <a:pt x="8299793" y="2828988"/>
                </a:cubicBezTo>
                <a:close/>
                <a:moveTo>
                  <a:pt x="8082281" y="2828988"/>
                </a:moveTo>
                <a:cubicBezTo>
                  <a:pt x="8086407" y="2828988"/>
                  <a:pt x="8090401" y="2829786"/>
                  <a:pt x="8094127" y="2831516"/>
                </a:cubicBezTo>
                <a:cubicBezTo>
                  <a:pt x="8097855" y="2833114"/>
                  <a:pt x="8100916" y="2835243"/>
                  <a:pt x="8103446" y="2837906"/>
                </a:cubicBezTo>
                <a:cubicBezTo>
                  <a:pt x="8105975" y="2840568"/>
                  <a:pt x="8108104" y="2843764"/>
                  <a:pt x="8109569" y="2847357"/>
                </a:cubicBezTo>
                <a:cubicBezTo>
                  <a:pt x="8111033" y="2850952"/>
                  <a:pt x="8111832" y="2854678"/>
                  <a:pt x="8111832" y="2858806"/>
                </a:cubicBezTo>
                <a:cubicBezTo>
                  <a:pt x="8111832" y="2862933"/>
                  <a:pt x="8111033" y="2866926"/>
                  <a:pt x="8109569" y="2870520"/>
                </a:cubicBezTo>
                <a:cubicBezTo>
                  <a:pt x="8107972" y="2874114"/>
                  <a:pt x="8105975" y="2877176"/>
                  <a:pt x="8103446" y="2879838"/>
                </a:cubicBezTo>
                <a:cubicBezTo>
                  <a:pt x="8100783" y="2882501"/>
                  <a:pt x="8097722" y="2884631"/>
                  <a:pt x="8094127" y="2886095"/>
                </a:cubicBezTo>
                <a:cubicBezTo>
                  <a:pt x="8090401" y="2887559"/>
                  <a:pt x="8086540" y="2888359"/>
                  <a:pt x="8082281" y="2888359"/>
                </a:cubicBezTo>
                <a:cubicBezTo>
                  <a:pt x="8073361" y="2888359"/>
                  <a:pt x="8066040" y="2885429"/>
                  <a:pt x="8060448" y="2879838"/>
                </a:cubicBezTo>
                <a:cubicBezTo>
                  <a:pt x="8054857" y="2874247"/>
                  <a:pt x="8052062" y="2867192"/>
                  <a:pt x="8052062" y="2858673"/>
                </a:cubicBezTo>
                <a:cubicBezTo>
                  <a:pt x="8052062" y="2850420"/>
                  <a:pt x="8054857" y="2843363"/>
                  <a:pt x="8060448" y="2837640"/>
                </a:cubicBezTo>
                <a:cubicBezTo>
                  <a:pt x="8066040" y="2831916"/>
                  <a:pt x="8073228" y="2828988"/>
                  <a:pt x="8082281" y="2828988"/>
                </a:cubicBezTo>
                <a:close/>
                <a:moveTo>
                  <a:pt x="7864636" y="2828988"/>
                </a:moveTo>
                <a:cubicBezTo>
                  <a:pt x="7868762" y="2828988"/>
                  <a:pt x="7872756" y="2829786"/>
                  <a:pt x="7876483" y="2831516"/>
                </a:cubicBezTo>
                <a:cubicBezTo>
                  <a:pt x="7880210" y="2833114"/>
                  <a:pt x="7883272" y="2835243"/>
                  <a:pt x="7885802" y="2837906"/>
                </a:cubicBezTo>
                <a:cubicBezTo>
                  <a:pt x="7888331" y="2840568"/>
                  <a:pt x="7890460" y="2843764"/>
                  <a:pt x="7891924" y="2847357"/>
                </a:cubicBezTo>
                <a:cubicBezTo>
                  <a:pt x="7893389" y="2850952"/>
                  <a:pt x="7894188" y="2854678"/>
                  <a:pt x="7894188" y="2858806"/>
                </a:cubicBezTo>
                <a:cubicBezTo>
                  <a:pt x="7894188" y="2862933"/>
                  <a:pt x="7893389" y="2866926"/>
                  <a:pt x="7891924" y="2870520"/>
                </a:cubicBezTo>
                <a:cubicBezTo>
                  <a:pt x="7890327" y="2874114"/>
                  <a:pt x="7888331" y="2877176"/>
                  <a:pt x="7885802" y="2879838"/>
                </a:cubicBezTo>
                <a:cubicBezTo>
                  <a:pt x="7883139" y="2882501"/>
                  <a:pt x="7880078" y="2884631"/>
                  <a:pt x="7876483" y="2886095"/>
                </a:cubicBezTo>
                <a:cubicBezTo>
                  <a:pt x="7872756" y="2887559"/>
                  <a:pt x="7868895" y="2888359"/>
                  <a:pt x="7864636" y="2888359"/>
                </a:cubicBezTo>
                <a:cubicBezTo>
                  <a:pt x="7855717" y="2888359"/>
                  <a:pt x="7848396" y="2885429"/>
                  <a:pt x="7842803" y="2879838"/>
                </a:cubicBezTo>
                <a:cubicBezTo>
                  <a:pt x="7837213" y="2874247"/>
                  <a:pt x="7834417" y="2867192"/>
                  <a:pt x="7834417" y="2858673"/>
                </a:cubicBezTo>
                <a:cubicBezTo>
                  <a:pt x="7834417" y="2850420"/>
                  <a:pt x="7837213" y="2843363"/>
                  <a:pt x="7842803" y="2837640"/>
                </a:cubicBezTo>
                <a:cubicBezTo>
                  <a:pt x="7848396" y="2831916"/>
                  <a:pt x="7855584" y="2828988"/>
                  <a:pt x="7864636" y="2828988"/>
                </a:cubicBezTo>
                <a:close/>
                <a:moveTo>
                  <a:pt x="7646991" y="2828988"/>
                </a:moveTo>
                <a:cubicBezTo>
                  <a:pt x="7651250" y="2828988"/>
                  <a:pt x="7655111" y="2829786"/>
                  <a:pt x="7658705" y="2831516"/>
                </a:cubicBezTo>
                <a:cubicBezTo>
                  <a:pt x="7662432" y="2833114"/>
                  <a:pt x="7665493" y="2835243"/>
                  <a:pt x="7668022" y="2837906"/>
                </a:cubicBezTo>
                <a:cubicBezTo>
                  <a:pt x="7670552" y="2840568"/>
                  <a:pt x="7672682" y="2843764"/>
                  <a:pt x="7674146" y="2847357"/>
                </a:cubicBezTo>
                <a:cubicBezTo>
                  <a:pt x="7675610" y="2850952"/>
                  <a:pt x="7676409" y="2854678"/>
                  <a:pt x="7676409" y="2858806"/>
                </a:cubicBezTo>
                <a:cubicBezTo>
                  <a:pt x="7676409" y="2862933"/>
                  <a:pt x="7675610" y="2866926"/>
                  <a:pt x="7674146" y="2870520"/>
                </a:cubicBezTo>
                <a:cubicBezTo>
                  <a:pt x="7672549" y="2874114"/>
                  <a:pt x="7670552" y="2877176"/>
                  <a:pt x="7668022" y="2879838"/>
                </a:cubicBezTo>
                <a:cubicBezTo>
                  <a:pt x="7665361" y="2882501"/>
                  <a:pt x="7662299" y="2884631"/>
                  <a:pt x="7658705" y="2886095"/>
                </a:cubicBezTo>
                <a:cubicBezTo>
                  <a:pt x="7655111" y="2887559"/>
                  <a:pt x="7651250" y="2888359"/>
                  <a:pt x="7646991" y="2888359"/>
                </a:cubicBezTo>
                <a:cubicBezTo>
                  <a:pt x="7638071" y="2888359"/>
                  <a:pt x="7630750" y="2885429"/>
                  <a:pt x="7625158" y="2879838"/>
                </a:cubicBezTo>
                <a:cubicBezTo>
                  <a:pt x="7619568" y="2874247"/>
                  <a:pt x="7616772" y="2867192"/>
                  <a:pt x="7616772" y="2858673"/>
                </a:cubicBezTo>
                <a:cubicBezTo>
                  <a:pt x="7616772" y="2850420"/>
                  <a:pt x="7619568" y="2843363"/>
                  <a:pt x="7625158" y="2837640"/>
                </a:cubicBezTo>
                <a:cubicBezTo>
                  <a:pt x="7630750" y="2831916"/>
                  <a:pt x="7637939" y="2828988"/>
                  <a:pt x="7646991" y="2828988"/>
                </a:cubicBezTo>
                <a:close/>
                <a:moveTo>
                  <a:pt x="7429345" y="2828988"/>
                </a:moveTo>
                <a:cubicBezTo>
                  <a:pt x="7433605" y="2828988"/>
                  <a:pt x="7437466" y="2829786"/>
                  <a:pt x="7441059" y="2831516"/>
                </a:cubicBezTo>
                <a:cubicBezTo>
                  <a:pt x="7444787" y="2833114"/>
                  <a:pt x="7447848" y="2835243"/>
                  <a:pt x="7450377" y="2837906"/>
                </a:cubicBezTo>
                <a:cubicBezTo>
                  <a:pt x="7452907" y="2840568"/>
                  <a:pt x="7455036" y="2843764"/>
                  <a:pt x="7456501" y="2847357"/>
                </a:cubicBezTo>
                <a:cubicBezTo>
                  <a:pt x="7457965" y="2850952"/>
                  <a:pt x="7458764" y="2854678"/>
                  <a:pt x="7458764" y="2858806"/>
                </a:cubicBezTo>
                <a:cubicBezTo>
                  <a:pt x="7458764" y="2862933"/>
                  <a:pt x="7457965" y="2866926"/>
                  <a:pt x="7456501" y="2870520"/>
                </a:cubicBezTo>
                <a:cubicBezTo>
                  <a:pt x="7454904" y="2874114"/>
                  <a:pt x="7452907" y="2877176"/>
                  <a:pt x="7450377" y="2879838"/>
                </a:cubicBezTo>
                <a:cubicBezTo>
                  <a:pt x="7447715" y="2882501"/>
                  <a:pt x="7444654" y="2884631"/>
                  <a:pt x="7441059" y="2886095"/>
                </a:cubicBezTo>
                <a:cubicBezTo>
                  <a:pt x="7437466" y="2887559"/>
                  <a:pt x="7433605" y="2888359"/>
                  <a:pt x="7429345" y="2888359"/>
                </a:cubicBezTo>
                <a:cubicBezTo>
                  <a:pt x="7420426" y="2888359"/>
                  <a:pt x="7413105" y="2885429"/>
                  <a:pt x="7407513" y="2879838"/>
                </a:cubicBezTo>
                <a:cubicBezTo>
                  <a:pt x="7401922" y="2874247"/>
                  <a:pt x="7399127" y="2867192"/>
                  <a:pt x="7399127" y="2858673"/>
                </a:cubicBezTo>
                <a:cubicBezTo>
                  <a:pt x="7399127" y="2850420"/>
                  <a:pt x="7401922" y="2843363"/>
                  <a:pt x="7407513" y="2837640"/>
                </a:cubicBezTo>
                <a:cubicBezTo>
                  <a:pt x="7413105" y="2831916"/>
                  <a:pt x="7420293" y="2828988"/>
                  <a:pt x="7429345" y="2828988"/>
                </a:cubicBezTo>
                <a:close/>
                <a:moveTo>
                  <a:pt x="7211701" y="2828988"/>
                </a:moveTo>
                <a:cubicBezTo>
                  <a:pt x="7215960" y="2828988"/>
                  <a:pt x="7219954" y="2829786"/>
                  <a:pt x="7223415" y="2831516"/>
                </a:cubicBezTo>
                <a:cubicBezTo>
                  <a:pt x="7227142" y="2833114"/>
                  <a:pt x="7230204" y="2835243"/>
                  <a:pt x="7232733" y="2837906"/>
                </a:cubicBezTo>
                <a:cubicBezTo>
                  <a:pt x="7235262" y="2840568"/>
                  <a:pt x="7237392" y="2843764"/>
                  <a:pt x="7238856" y="2847357"/>
                </a:cubicBezTo>
                <a:cubicBezTo>
                  <a:pt x="7240321" y="2850952"/>
                  <a:pt x="7241120" y="2854678"/>
                  <a:pt x="7241120" y="2858806"/>
                </a:cubicBezTo>
                <a:cubicBezTo>
                  <a:pt x="7241120" y="2862933"/>
                  <a:pt x="7240321" y="2866926"/>
                  <a:pt x="7238856" y="2870520"/>
                </a:cubicBezTo>
                <a:cubicBezTo>
                  <a:pt x="7237259" y="2874114"/>
                  <a:pt x="7235262" y="2877176"/>
                  <a:pt x="7232733" y="2879838"/>
                </a:cubicBezTo>
                <a:cubicBezTo>
                  <a:pt x="7230071" y="2882501"/>
                  <a:pt x="7227009" y="2884631"/>
                  <a:pt x="7223415" y="2886095"/>
                </a:cubicBezTo>
                <a:cubicBezTo>
                  <a:pt x="7219821" y="2887559"/>
                  <a:pt x="7215960" y="2888359"/>
                  <a:pt x="7211701" y="2888359"/>
                </a:cubicBezTo>
                <a:cubicBezTo>
                  <a:pt x="7202782" y="2888359"/>
                  <a:pt x="7195460" y="2885429"/>
                  <a:pt x="7189868" y="2879838"/>
                </a:cubicBezTo>
                <a:cubicBezTo>
                  <a:pt x="7184278" y="2874247"/>
                  <a:pt x="7181482" y="2867192"/>
                  <a:pt x="7181482" y="2858673"/>
                </a:cubicBezTo>
                <a:cubicBezTo>
                  <a:pt x="7181482" y="2850420"/>
                  <a:pt x="7184278" y="2843363"/>
                  <a:pt x="7189868" y="2837640"/>
                </a:cubicBezTo>
                <a:cubicBezTo>
                  <a:pt x="7195460" y="2831916"/>
                  <a:pt x="7202649" y="2828988"/>
                  <a:pt x="7211701" y="2828988"/>
                </a:cubicBezTo>
                <a:close/>
                <a:moveTo>
                  <a:pt x="6994056" y="2828988"/>
                </a:moveTo>
                <a:cubicBezTo>
                  <a:pt x="6998315" y="2828988"/>
                  <a:pt x="7002309" y="2829786"/>
                  <a:pt x="7005769" y="2831516"/>
                </a:cubicBezTo>
                <a:cubicBezTo>
                  <a:pt x="7009497" y="2833114"/>
                  <a:pt x="7012558" y="2835243"/>
                  <a:pt x="7015087" y="2837906"/>
                </a:cubicBezTo>
                <a:cubicBezTo>
                  <a:pt x="7017617" y="2840568"/>
                  <a:pt x="7019747" y="2843764"/>
                  <a:pt x="7021211" y="2847357"/>
                </a:cubicBezTo>
                <a:cubicBezTo>
                  <a:pt x="7022675" y="2850952"/>
                  <a:pt x="7023474" y="2854678"/>
                  <a:pt x="7023474" y="2858806"/>
                </a:cubicBezTo>
                <a:cubicBezTo>
                  <a:pt x="7023474" y="2862933"/>
                  <a:pt x="7022675" y="2866926"/>
                  <a:pt x="7021211" y="2870520"/>
                </a:cubicBezTo>
                <a:cubicBezTo>
                  <a:pt x="7019614" y="2874114"/>
                  <a:pt x="7017617" y="2877176"/>
                  <a:pt x="7015087" y="2879838"/>
                </a:cubicBezTo>
                <a:cubicBezTo>
                  <a:pt x="7012425" y="2882501"/>
                  <a:pt x="7009364" y="2884631"/>
                  <a:pt x="7005769" y="2886095"/>
                </a:cubicBezTo>
                <a:cubicBezTo>
                  <a:pt x="7002176" y="2887559"/>
                  <a:pt x="6998315" y="2888359"/>
                  <a:pt x="6994056" y="2888359"/>
                </a:cubicBezTo>
                <a:cubicBezTo>
                  <a:pt x="6985136" y="2888359"/>
                  <a:pt x="6977815" y="2885429"/>
                  <a:pt x="6972223" y="2879838"/>
                </a:cubicBezTo>
                <a:cubicBezTo>
                  <a:pt x="6966632" y="2874247"/>
                  <a:pt x="6963837" y="2867192"/>
                  <a:pt x="6963837" y="2858673"/>
                </a:cubicBezTo>
                <a:cubicBezTo>
                  <a:pt x="6963837" y="2850420"/>
                  <a:pt x="6966632" y="2843363"/>
                  <a:pt x="6972223" y="2837640"/>
                </a:cubicBezTo>
                <a:cubicBezTo>
                  <a:pt x="6977815" y="2831916"/>
                  <a:pt x="6985003" y="2828988"/>
                  <a:pt x="6994056" y="2828988"/>
                </a:cubicBezTo>
                <a:close/>
                <a:moveTo>
                  <a:pt x="6776544" y="2828988"/>
                </a:moveTo>
                <a:cubicBezTo>
                  <a:pt x="6780670" y="2828988"/>
                  <a:pt x="6784664" y="2829786"/>
                  <a:pt x="6788258" y="2831516"/>
                </a:cubicBezTo>
                <a:cubicBezTo>
                  <a:pt x="6791985" y="2833114"/>
                  <a:pt x="6795047" y="2835243"/>
                  <a:pt x="6797576" y="2837906"/>
                </a:cubicBezTo>
                <a:cubicBezTo>
                  <a:pt x="6800105" y="2840568"/>
                  <a:pt x="6802235" y="2843764"/>
                  <a:pt x="6803699" y="2847357"/>
                </a:cubicBezTo>
                <a:cubicBezTo>
                  <a:pt x="6805164" y="2850952"/>
                  <a:pt x="6805963" y="2854678"/>
                  <a:pt x="6805963" y="2858806"/>
                </a:cubicBezTo>
                <a:cubicBezTo>
                  <a:pt x="6805963" y="2862933"/>
                  <a:pt x="6805164" y="2866926"/>
                  <a:pt x="6803699" y="2870520"/>
                </a:cubicBezTo>
                <a:cubicBezTo>
                  <a:pt x="6802102" y="2874114"/>
                  <a:pt x="6800105" y="2877176"/>
                  <a:pt x="6797576" y="2879838"/>
                </a:cubicBezTo>
                <a:cubicBezTo>
                  <a:pt x="6794914" y="2882501"/>
                  <a:pt x="6791852" y="2884631"/>
                  <a:pt x="6788258" y="2886095"/>
                </a:cubicBezTo>
                <a:cubicBezTo>
                  <a:pt x="6784664" y="2887559"/>
                  <a:pt x="6780803" y="2888359"/>
                  <a:pt x="6776544" y="2888359"/>
                </a:cubicBezTo>
                <a:cubicBezTo>
                  <a:pt x="6767625" y="2888359"/>
                  <a:pt x="6760303" y="2885429"/>
                  <a:pt x="6754711" y="2879838"/>
                </a:cubicBezTo>
                <a:cubicBezTo>
                  <a:pt x="6749121" y="2874247"/>
                  <a:pt x="6746325" y="2867192"/>
                  <a:pt x="6746325" y="2858673"/>
                </a:cubicBezTo>
                <a:cubicBezTo>
                  <a:pt x="6746325" y="2850420"/>
                  <a:pt x="6749121" y="2843363"/>
                  <a:pt x="6754711" y="2837640"/>
                </a:cubicBezTo>
                <a:cubicBezTo>
                  <a:pt x="6760303" y="2831916"/>
                  <a:pt x="6767492" y="2828988"/>
                  <a:pt x="6776544" y="2828988"/>
                </a:cubicBezTo>
                <a:close/>
                <a:moveTo>
                  <a:pt x="6558899" y="2828988"/>
                </a:moveTo>
                <a:cubicBezTo>
                  <a:pt x="6563158" y="2828988"/>
                  <a:pt x="6567019" y="2829786"/>
                  <a:pt x="6570612" y="2831516"/>
                </a:cubicBezTo>
                <a:cubicBezTo>
                  <a:pt x="6574340" y="2833114"/>
                  <a:pt x="6577401" y="2835243"/>
                  <a:pt x="6579930" y="2837906"/>
                </a:cubicBezTo>
                <a:cubicBezTo>
                  <a:pt x="6582460" y="2840568"/>
                  <a:pt x="6584590" y="2843764"/>
                  <a:pt x="6586054" y="2847357"/>
                </a:cubicBezTo>
                <a:cubicBezTo>
                  <a:pt x="6587518" y="2850952"/>
                  <a:pt x="6588317" y="2854678"/>
                  <a:pt x="6588317" y="2858806"/>
                </a:cubicBezTo>
                <a:cubicBezTo>
                  <a:pt x="6588317" y="2862933"/>
                  <a:pt x="6587518" y="2866926"/>
                  <a:pt x="6586054" y="2870520"/>
                </a:cubicBezTo>
                <a:cubicBezTo>
                  <a:pt x="6584457" y="2874114"/>
                  <a:pt x="6582460" y="2877176"/>
                  <a:pt x="6579930" y="2879838"/>
                </a:cubicBezTo>
                <a:cubicBezTo>
                  <a:pt x="6577268" y="2882501"/>
                  <a:pt x="6574207" y="2884631"/>
                  <a:pt x="6570612" y="2886095"/>
                </a:cubicBezTo>
                <a:cubicBezTo>
                  <a:pt x="6567019" y="2887559"/>
                  <a:pt x="6563158" y="2888359"/>
                  <a:pt x="6558899" y="2888359"/>
                </a:cubicBezTo>
                <a:cubicBezTo>
                  <a:pt x="6549979" y="2888359"/>
                  <a:pt x="6542658" y="2885429"/>
                  <a:pt x="6537066" y="2879838"/>
                </a:cubicBezTo>
                <a:cubicBezTo>
                  <a:pt x="6531476" y="2874247"/>
                  <a:pt x="6528680" y="2867192"/>
                  <a:pt x="6528680" y="2858673"/>
                </a:cubicBezTo>
                <a:cubicBezTo>
                  <a:pt x="6528680" y="2850420"/>
                  <a:pt x="6531476" y="2843363"/>
                  <a:pt x="6537066" y="2837640"/>
                </a:cubicBezTo>
                <a:cubicBezTo>
                  <a:pt x="6542658" y="2831916"/>
                  <a:pt x="6549846" y="2828988"/>
                  <a:pt x="6558899" y="2828988"/>
                </a:cubicBezTo>
                <a:close/>
                <a:moveTo>
                  <a:pt x="6341253" y="2828988"/>
                </a:moveTo>
                <a:cubicBezTo>
                  <a:pt x="6345513" y="2828988"/>
                  <a:pt x="6349373" y="2829786"/>
                  <a:pt x="6352968" y="2831516"/>
                </a:cubicBezTo>
                <a:cubicBezTo>
                  <a:pt x="6356695" y="2833114"/>
                  <a:pt x="6359757" y="2835243"/>
                  <a:pt x="6362286" y="2837906"/>
                </a:cubicBezTo>
                <a:cubicBezTo>
                  <a:pt x="6364815" y="2840568"/>
                  <a:pt x="6366945" y="2843764"/>
                  <a:pt x="6368409" y="2847357"/>
                </a:cubicBezTo>
                <a:cubicBezTo>
                  <a:pt x="6369874" y="2850952"/>
                  <a:pt x="6370672" y="2854678"/>
                  <a:pt x="6370672" y="2858806"/>
                </a:cubicBezTo>
                <a:cubicBezTo>
                  <a:pt x="6370672" y="2862933"/>
                  <a:pt x="6369874" y="2866926"/>
                  <a:pt x="6368409" y="2870520"/>
                </a:cubicBezTo>
                <a:cubicBezTo>
                  <a:pt x="6366811" y="2874114"/>
                  <a:pt x="6364815" y="2877176"/>
                  <a:pt x="6362286" y="2879838"/>
                </a:cubicBezTo>
                <a:cubicBezTo>
                  <a:pt x="6359623" y="2882501"/>
                  <a:pt x="6356562" y="2884631"/>
                  <a:pt x="6352968" y="2886095"/>
                </a:cubicBezTo>
                <a:cubicBezTo>
                  <a:pt x="6349373" y="2887559"/>
                  <a:pt x="6345513" y="2888359"/>
                  <a:pt x="6341253" y="2888359"/>
                </a:cubicBezTo>
                <a:cubicBezTo>
                  <a:pt x="6332335" y="2888359"/>
                  <a:pt x="6325013" y="2885429"/>
                  <a:pt x="6319421" y="2879838"/>
                </a:cubicBezTo>
                <a:cubicBezTo>
                  <a:pt x="6313830" y="2874247"/>
                  <a:pt x="6311035" y="2867192"/>
                  <a:pt x="6311035" y="2858673"/>
                </a:cubicBezTo>
                <a:cubicBezTo>
                  <a:pt x="6311035" y="2850420"/>
                  <a:pt x="6313830" y="2843363"/>
                  <a:pt x="6319421" y="2837640"/>
                </a:cubicBezTo>
                <a:cubicBezTo>
                  <a:pt x="6325013" y="2831916"/>
                  <a:pt x="6332201" y="2828988"/>
                  <a:pt x="6341253" y="2828988"/>
                </a:cubicBezTo>
                <a:close/>
                <a:moveTo>
                  <a:pt x="6123608" y="2828988"/>
                </a:moveTo>
                <a:cubicBezTo>
                  <a:pt x="6127867" y="2828988"/>
                  <a:pt x="6131728" y="2829786"/>
                  <a:pt x="6135322" y="2831516"/>
                </a:cubicBezTo>
                <a:cubicBezTo>
                  <a:pt x="6139049" y="2833114"/>
                  <a:pt x="6142111" y="2835243"/>
                  <a:pt x="6144640" y="2837906"/>
                </a:cubicBezTo>
                <a:cubicBezTo>
                  <a:pt x="6147169" y="2840568"/>
                  <a:pt x="6149299" y="2843764"/>
                  <a:pt x="6150763" y="2847357"/>
                </a:cubicBezTo>
                <a:cubicBezTo>
                  <a:pt x="6152228" y="2850952"/>
                  <a:pt x="6153026" y="2854678"/>
                  <a:pt x="6153026" y="2858806"/>
                </a:cubicBezTo>
                <a:cubicBezTo>
                  <a:pt x="6153026" y="2862933"/>
                  <a:pt x="6152228" y="2866926"/>
                  <a:pt x="6150763" y="2870520"/>
                </a:cubicBezTo>
                <a:cubicBezTo>
                  <a:pt x="6149299" y="2874114"/>
                  <a:pt x="6147169" y="2877176"/>
                  <a:pt x="6144640" y="2879838"/>
                </a:cubicBezTo>
                <a:cubicBezTo>
                  <a:pt x="6141977" y="2882501"/>
                  <a:pt x="6138916" y="2884631"/>
                  <a:pt x="6135322" y="2886095"/>
                </a:cubicBezTo>
                <a:cubicBezTo>
                  <a:pt x="6131728" y="2887559"/>
                  <a:pt x="6127867" y="2888359"/>
                  <a:pt x="6123608" y="2888359"/>
                </a:cubicBezTo>
                <a:cubicBezTo>
                  <a:pt x="6114689" y="2888359"/>
                  <a:pt x="6107367" y="2885429"/>
                  <a:pt x="6101775" y="2879838"/>
                </a:cubicBezTo>
                <a:cubicBezTo>
                  <a:pt x="6096184" y="2874247"/>
                  <a:pt x="6093389" y="2867192"/>
                  <a:pt x="6093389" y="2858673"/>
                </a:cubicBezTo>
                <a:cubicBezTo>
                  <a:pt x="6093389" y="2850420"/>
                  <a:pt x="6096184" y="2843363"/>
                  <a:pt x="6101775" y="2837640"/>
                </a:cubicBezTo>
                <a:cubicBezTo>
                  <a:pt x="6107367" y="2831916"/>
                  <a:pt x="6114555" y="2828988"/>
                  <a:pt x="6123608" y="2828988"/>
                </a:cubicBezTo>
                <a:close/>
                <a:moveTo>
                  <a:pt x="5905963" y="2828988"/>
                </a:moveTo>
                <a:cubicBezTo>
                  <a:pt x="5910222" y="2828988"/>
                  <a:pt x="5914216" y="2829786"/>
                  <a:pt x="5917677" y="2831516"/>
                </a:cubicBezTo>
                <a:cubicBezTo>
                  <a:pt x="5921404" y="2833114"/>
                  <a:pt x="5924466" y="2835243"/>
                  <a:pt x="5926995" y="2837906"/>
                </a:cubicBezTo>
                <a:cubicBezTo>
                  <a:pt x="5929524" y="2840568"/>
                  <a:pt x="5931654" y="2843764"/>
                  <a:pt x="5933118" y="2847357"/>
                </a:cubicBezTo>
                <a:cubicBezTo>
                  <a:pt x="5934583" y="2850952"/>
                  <a:pt x="5935381" y="2854678"/>
                  <a:pt x="5935381" y="2858806"/>
                </a:cubicBezTo>
                <a:cubicBezTo>
                  <a:pt x="5935381" y="2862933"/>
                  <a:pt x="5934583" y="2866926"/>
                  <a:pt x="5933118" y="2870520"/>
                </a:cubicBezTo>
                <a:cubicBezTo>
                  <a:pt x="5931654" y="2874114"/>
                  <a:pt x="5929524" y="2877176"/>
                  <a:pt x="5926995" y="2879838"/>
                </a:cubicBezTo>
                <a:cubicBezTo>
                  <a:pt x="5924333" y="2882501"/>
                  <a:pt x="5921271" y="2884631"/>
                  <a:pt x="5917677" y="2886095"/>
                </a:cubicBezTo>
                <a:cubicBezTo>
                  <a:pt x="5914083" y="2887559"/>
                  <a:pt x="5910222" y="2888359"/>
                  <a:pt x="5905963" y="2888359"/>
                </a:cubicBezTo>
                <a:cubicBezTo>
                  <a:pt x="5897044" y="2888359"/>
                  <a:pt x="5889722" y="2885429"/>
                  <a:pt x="5884130" y="2879838"/>
                </a:cubicBezTo>
                <a:cubicBezTo>
                  <a:pt x="5878540" y="2874247"/>
                  <a:pt x="5875744" y="2867192"/>
                  <a:pt x="5875744" y="2858673"/>
                </a:cubicBezTo>
                <a:cubicBezTo>
                  <a:pt x="5875744" y="2850420"/>
                  <a:pt x="5878540" y="2843363"/>
                  <a:pt x="5884130" y="2837640"/>
                </a:cubicBezTo>
                <a:cubicBezTo>
                  <a:pt x="5889722" y="2831916"/>
                  <a:pt x="5896910" y="2828988"/>
                  <a:pt x="5905963" y="2828988"/>
                </a:cubicBezTo>
                <a:close/>
                <a:moveTo>
                  <a:pt x="5688451" y="2828988"/>
                </a:moveTo>
                <a:cubicBezTo>
                  <a:pt x="5692577" y="2828988"/>
                  <a:pt x="5696571" y="2829786"/>
                  <a:pt x="5700165" y="2831516"/>
                </a:cubicBezTo>
                <a:cubicBezTo>
                  <a:pt x="5703892" y="2833114"/>
                  <a:pt x="5706954" y="2835243"/>
                  <a:pt x="5709483" y="2837906"/>
                </a:cubicBezTo>
                <a:cubicBezTo>
                  <a:pt x="5712012" y="2840568"/>
                  <a:pt x="5714142" y="2843764"/>
                  <a:pt x="5715606" y="2847357"/>
                </a:cubicBezTo>
                <a:cubicBezTo>
                  <a:pt x="5717071" y="2850952"/>
                  <a:pt x="5717869" y="2854678"/>
                  <a:pt x="5717869" y="2858806"/>
                </a:cubicBezTo>
                <a:cubicBezTo>
                  <a:pt x="5717869" y="2862933"/>
                  <a:pt x="5717071" y="2866926"/>
                  <a:pt x="5715606" y="2870520"/>
                </a:cubicBezTo>
                <a:cubicBezTo>
                  <a:pt x="5714142" y="2874114"/>
                  <a:pt x="5712012" y="2877176"/>
                  <a:pt x="5709483" y="2879838"/>
                </a:cubicBezTo>
                <a:cubicBezTo>
                  <a:pt x="5706820" y="2882501"/>
                  <a:pt x="5703759" y="2884631"/>
                  <a:pt x="5700165" y="2886095"/>
                </a:cubicBezTo>
                <a:cubicBezTo>
                  <a:pt x="5696571" y="2887559"/>
                  <a:pt x="5692710" y="2888359"/>
                  <a:pt x="5688451" y="2888359"/>
                </a:cubicBezTo>
                <a:cubicBezTo>
                  <a:pt x="5679532" y="2888359"/>
                  <a:pt x="5672210" y="2885429"/>
                  <a:pt x="5666618" y="2879838"/>
                </a:cubicBezTo>
                <a:cubicBezTo>
                  <a:pt x="5661028" y="2874247"/>
                  <a:pt x="5658232" y="2867192"/>
                  <a:pt x="5658232" y="2858673"/>
                </a:cubicBezTo>
                <a:cubicBezTo>
                  <a:pt x="5658232" y="2850420"/>
                  <a:pt x="5661028" y="2843363"/>
                  <a:pt x="5666618" y="2837640"/>
                </a:cubicBezTo>
                <a:cubicBezTo>
                  <a:pt x="5672210" y="2831916"/>
                  <a:pt x="5679398" y="2828988"/>
                  <a:pt x="5688451" y="2828988"/>
                </a:cubicBezTo>
                <a:close/>
                <a:moveTo>
                  <a:pt x="5470806" y="2828988"/>
                </a:moveTo>
                <a:cubicBezTo>
                  <a:pt x="5475065" y="2828988"/>
                  <a:pt x="5478926" y="2829786"/>
                  <a:pt x="5482520" y="2831516"/>
                </a:cubicBezTo>
                <a:cubicBezTo>
                  <a:pt x="5486247" y="2833114"/>
                  <a:pt x="5489309" y="2835243"/>
                  <a:pt x="5491838" y="2837906"/>
                </a:cubicBezTo>
                <a:cubicBezTo>
                  <a:pt x="5494367" y="2840568"/>
                  <a:pt x="5496497" y="2843764"/>
                  <a:pt x="5497961" y="2847357"/>
                </a:cubicBezTo>
                <a:cubicBezTo>
                  <a:pt x="5499426" y="2850952"/>
                  <a:pt x="5500224" y="2854678"/>
                  <a:pt x="5500224" y="2858806"/>
                </a:cubicBezTo>
                <a:cubicBezTo>
                  <a:pt x="5500224" y="2862933"/>
                  <a:pt x="5499426" y="2866926"/>
                  <a:pt x="5497961" y="2870520"/>
                </a:cubicBezTo>
                <a:cubicBezTo>
                  <a:pt x="5496497" y="2874114"/>
                  <a:pt x="5494367" y="2877176"/>
                  <a:pt x="5491838" y="2879838"/>
                </a:cubicBezTo>
                <a:cubicBezTo>
                  <a:pt x="5489176" y="2882501"/>
                  <a:pt x="5486114" y="2884631"/>
                  <a:pt x="5482520" y="2886095"/>
                </a:cubicBezTo>
                <a:cubicBezTo>
                  <a:pt x="5478926" y="2887559"/>
                  <a:pt x="5475065" y="2888359"/>
                  <a:pt x="5470806" y="2888359"/>
                </a:cubicBezTo>
                <a:cubicBezTo>
                  <a:pt x="5461887" y="2888359"/>
                  <a:pt x="5454565" y="2885429"/>
                  <a:pt x="5448973" y="2879838"/>
                </a:cubicBezTo>
                <a:cubicBezTo>
                  <a:pt x="5443383" y="2874247"/>
                  <a:pt x="5440587" y="2867192"/>
                  <a:pt x="5440587" y="2858673"/>
                </a:cubicBezTo>
                <a:cubicBezTo>
                  <a:pt x="5440587" y="2850420"/>
                  <a:pt x="5443383" y="2843363"/>
                  <a:pt x="5448973" y="2837640"/>
                </a:cubicBezTo>
                <a:cubicBezTo>
                  <a:pt x="5454565" y="2831916"/>
                  <a:pt x="5461754" y="2828988"/>
                  <a:pt x="5470806" y="2828988"/>
                </a:cubicBezTo>
                <a:close/>
                <a:moveTo>
                  <a:pt x="5253160" y="2828988"/>
                </a:moveTo>
                <a:cubicBezTo>
                  <a:pt x="5257420" y="2828988"/>
                  <a:pt x="5261280" y="2829786"/>
                  <a:pt x="5264875" y="2831516"/>
                </a:cubicBezTo>
                <a:cubicBezTo>
                  <a:pt x="5268602" y="2833114"/>
                  <a:pt x="5271664" y="2835243"/>
                  <a:pt x="5274192" y="2837906"/>
                </a:cubicBezTo>
                <a:cubicBezTo>
                  <a:pt x="5276722" y="2840568"/>
                  <a:pt x="5278852" y="2843764"/>
                  <a:pt x="5280316" y="2847357"/>
                </a:cubicBezTo>
                <a:cubicBezTo>
                  <a:pt x="5281780" y="2850952"/>
                  <a:pt x="5282579" y="2854678"/>
                  <a:pt x="5282579" y="2858806"/>
                </a:cubicBezTo>
                <a:cubicBezTo>
                  <a:pt x="5282579" y="2862933"/>
                  <a:pt x="5281780" y="2866926"/>
                  <a:pt x="5280316" y="2870520"/>
                </a:cubicBezTo>
                <a:cubicBezTo>
                  <a:pt x="5278852" y="2874114"/>
                  <a:pt x="5276722" y="2877176"/>
                  <a:pt x="5274192" y="2879838"/>
                </a:cubicBezTo>
                <a:cubicBezTo>
                  <a:pt x="5271664" y="2882501"/>
                  <a:pt x="5268469" y="2884631"/>
                  <a:pt x="5264875" y="2886095"/>
                </a:cubicBezTo>
                <a:cubicBezTo>
                  <a:pt x="5261280" y="2887559"/>
                  <a:pt x="5257420" y="2888359"/>
                  <a:pt x="5253160" y="2888359"/>
                </a:cubicBezTo>
                <a:cubicBezTo>
                  <a:pt x="5244241" y="2888359"/>
                  <a:pt x="5236920" y="2885429"/>
                  <a:pt x="5231328" y="2879838"/>
                </a:cubicBezTo>
                <a:cubicBezTo>
                  <a:pt x="5225737" y="2874247"/>
                  <a:pt x="5222942" y="2867192"/>
                  <a:pt x="5222942" y="2858673"/>
                </a:cubicBezTo>
                <a:cubicBezTo>
                  <a:pt x="5222942" y="2850420"/>
                  <a:pt x="5225737" y="2843363"/>
                  <a:pt x="5231328" y="2837640"/>
                </a:cubicBezTo>
                <a:cubicBezTo>
                  <a:pt x="5236920" y="2831916"/>
                  <a:pt x="5244108" y="2828988"/>
                  <a:pt x="5253160" y="2828988"/>
                </a:cubicBezTo>
                <a:close/>
                <a:moveTo>
                  <a:pt x="5035515" y="2828988"/>
                </a:moveTo>
                <a:cubicBezTo>
                  <a:pt x="5039775" y="2828988"/>
                  <a:pt x="5043636" y="2829786"/>
                  <a:pt x="5047230" y="2831516"/>
                </a:cubicBezTo>
                <a:cubicBezTo>
                  <a:pt x="5050957" y="2833114"/>
                  <a:pt x="5054019" y="2835243"/>
                  <a:pt x="5056548" y="2837906"/>
                </a:cubicBezTo>
                <a:cubicBezTo>
                  <a:pt x="5059077" y="2840568"/>
                  <a:pt x="5061207" y="2843764"/>
                  <a:pt x="5062671" y="2847357"/>
                </a:cubicBezTo>
                <a:cubicBezTo>
                  <a:pt x="5064135" y="2850952"/>
                  <a:pt x="5064934" y="2854678"/>
                  <a:pt x="5064934" y="2858806"/>
                </a:cubicBezTo>
                <a:cubicBezTo>
                  <a:pt x="5064934" y="2862933"/>
                  <a:pt x="5064135" y="2866926"/>
                  <a:pt x="5062671" y="2870520"/>
                </a:cubicBezTo>
                <a:cubicBezTo>
                  <a:pt x="5061207" y="2874114"/>
                  <a:pt x="5059077" y="2877176"/>
                  <a:pt x="5056548" y="2879838"/>
                </a:cubicBezTo>
                <a:cubicBezTo>
                  <a:pt x="5053885" y="2882501"/>
                  <a:pt x="5050824" y="2884631"/>
                  <a:pt x="5047230" y="2886095"/>
                </a:cubicBezTo>
                <a:cubicBezTo>
                  <a:pt x="5043636" y="2887559"/>
                  <a:pt x="5039775" y="2888359"/>
                  <a:pt x="5035515" y="2888359"/>
                </a:cubicBezTo>
                <a:cubicBezTo>
                  <a:pt x="5026597" y="2888359"/>
                  <a:pt x="5019275" y="2885429"/>
                  <a:pt x="5013683" y="2879838"/>
                </a:cubicBezTo>
                <a:cubicBezTo>
                  <a:pt x="5008092" y="2874247"/>
                  <a:pt x="5005297" y="2867192"/>
                  <a:pt x="5005297" y="2858673"/>
                </a:cubicBezTo>
                <a:cubicBezTo>
                  <a:pt x="5005297" y="2850420"/>
                  <a:pt x="5008092" y="2843363"/>
                  <a:pt x="5013683" y="2837640"/>
                </a:cubicBezTo>
                <a:cubicBezTo>
                  <a:pt x="5019275" y="2831916"/>
                  <a:pt x="5026463" y="2828988"/>
                  <a:pt x="5035515" y="2828988"/>
                </a:cubicBezTo>
                <a:close/>
                <a:moveTo>
                  <a:pt x="4817870" y="2828988"/>
                </a:moveTo>
                <a:cubicBezTo>
                  <a:pt x="4822130" y="2828988"/>
                  <a:pt x="4826124" y="2829786"/>
                  <a:pt x="4829585" y="2831516"/>
                </a:cubicBezTo>
                <a:cubicBezTo>
                  <a:pt x="4833312" y="2833114"/>
                  <a:pt x="4836374" y="2835243"/>
                  <a:pt x="4838903" y="2837906"/>
                </a:cubicBezTo>
                <a:cubicBezTo>
                  <a:pt x="4841432" y="2840568"/>
                  <a:pt x="4843562" y="2843764"/>
                  <a:pt x="4845026" y="2847357"/>
                </a:cubicBezTo>
                <a:cubicBezTo>
                  <a:pt x="4846491" y="2850952"/>
                  <a:pt x="4847289" y="2854678"/>
                  <a:pt x="4847289" y="2858806"/>
                </a:cubicBezTo>
                <a:cubicBezTo>
                  <a:pt x="4847289" y="2862933"/>
                  <a:pt x="4846491" y="2866926"/>
                  <a:pt x="4845026" y="2870520"/>
                </a:cubicBezTo>
                <a:cubicBezTo>
                  <a:pt x="4843562" y="2874114"/>
                  <a:pt x="4841432" y="2877176"/>
                  <a:pt x="4838903" y="2879838"/>
                </a:cubicBezTo>
                <a:cubicBezTo>
                  <a:pt x="4836240" y="2882501"/>
                  <a:pt x="4833179" y="2884631"/>
                  <a:pt x="4829585" y="2886095"/>
                </a:cubicBezTo>
                <a:cubicBezTo>
                  <a:pt x="4825991" y="2887559"/>
                  <a:pt x="4822130" y="2888359"/>
                  <a:pt x="4817870" y="2888359"/>
                </a:cubicBezTo>
                <a:cubicBezTo>
                  <a:pt x="4808952" y="2888359"/>
                  <a:pt x="4801630" y="2885429"/>
                  <a:pt x="4796038" y="2879838"/>
                </a:cubicBezTo>
                <a:cubicBezTo>
                  <a:pt x="4790447" y="2874247"/>
                  <a:pt x="4787652" y="2867192"/>
                  <a:pt x="4787652" y="2858673"/>
                </a:cubicBezTo>
                <a:cubicBezTo>
                  <a:pt x="4787652" y="2850420"/>
                  <a:pt x="4790447" y="2843363"/>
                  <a:pt x="4796038" y="2837640"/>
                </a:cubicBezTo>
                <a:cubicBezTo>
                  <a:pt x="4801630" y="2831916"/>
                  <a:pt x="4808818" y="2828988"/>
                  <a:pt x="4817870" y="2828988"/>
                </a:cubicBezTo>
                <a:close/>
                <a:moveTo>
                  <a:pt x="4600226" y="2828988"/>
                </a:moveTo>
                <a:cubicBezTo>
                  <a:pt x="4604485" y="2828988"/>
                  <a:pt x="4608479" y="2829786"/>
                  <a:pt x="4612073" y="2831516"/>
                </a:cubicBezTo>
                <a:cubicBezTo>
                  <a:pt x="4615800" y="2833114"/>
                  <a:pt x="4618862" y="2835243"/>
                  <a:pt x="4621391" y="2837906"/>
                </a:cubicBezTo>
                <a:cubicBezTo>
                  <a:pt x="4623920" y="2840568"/>
                  <a:pt x="4626050" y="2843764"/>
                  <a:pt x="4627514" y="2847357"/>
                </a:cubicBezTo>
                <a:cubicBezTo>
                  <a:pt x="4628978" y="2850952"/>
                  <a:pt x="4629777" y="2854678"/>
                  <a:pt x="4629777" y="2858806"/>
                </a:cubicBezTo>
                <a:cubicBezTo>
                  <a:pt x="4629777" y="2862933"/>
                  <a:pt x="4628978" y="2866926"/>
                  <a:pt x="4627514" y="2870520"/>
                </a:cubicBezTo>
                <a:cubicBezTo>
                  <a:pt x="4626050" y="2874114"/>
                  <a:pt x="4623920" y="2877176"/>
                  <a:pt x="4621391" y="2879838"/>
                </a:cubicBezTo>
                <a:cubicBezTo>
                  <a:pt x="4618729" y="2882501"/>
                  <a:pt x="4615667" y="2884631"/>
                  <a:pt x="4612073" y="2886095"/>
                </a:cubicBezTo>
                <a:cubicBezTo>
                  <a:pt x="4608346" y="2887559"/>
                  <a:pt x="4604485" y="2888359"/>
                  <a:pt x="4600226" y="2888359"/>
                </a:cubicBezTo>
                <a:cubicBezTo>
                  <a:pt x="4591173" y="2888359"/>
                  <a:pt x="4583985" y="2885429"/>
                  <a:pt x="4578393" y="2879838"/>
                </a:cubicBezTo>
                <a:cubicBezTo>
                  <a:pt x="4572803" y="2874247"/>
                  <a:pt x="4570007" y="2867192"/>
                  <a:pt x="4570007" y="2858673"/>
                </a:cubicBezTo>
                <a:cubicBezTo>
                  <a:pt x="4570007" y="2850420"/>
                  <a:pt x="4572803" y="2843363"/>
                  <a:pt x="4578393" y="2837640"/>
                </a:cubicBezTo>
                <a:cubicBezTo>
                  <a:pt x="4583985" y="2831916"/>
                  <a:pt x="4591173" y="2828988"/>
                  <a:pt x="4600226" y="2828988"/>
                </a:cubicBezTo>
                <a:close/>
                <a:moveTo>
                  <a:pt x="4382713" y="2828988"/>
                </a:moveTo>
                <a:cubicBezTo>
                  <a:pt x="4386840" y="2828988"/>
                  <a:pt x="4390834" y="2829786"/>
                  <a:pt x="4394428" y="2831516"/>
                </a:cubicBezTo>
                <a:cubicBezTo>
                  <a:pt x="4398155" y="2833114"/>
                  <a:pt x="4401217" y="2835243"/>
                  <a:pt x="4403746" y="2837906"/>
                </a:cubicBezTo>
                <a:cubicBezTo>
                  <a:pt x="4406275" y="2840568"/>
                  <a:pt x="4408405" y="2843764"/>
                  <a:pt x="4409869" y="2847357"/>
                </a:cubicBezTo>
                <a:cubicBezTo>
                  <a:pt x="4411334" y="2850952"/>
                  <a:pt x="4412132" y="2854678"/>
                  <a:pt x="4412132" y="2858806"/>
                </a:cubicBezTo>
                <a:cubicBezTo>
                  <a:pt x="4412132" y="2862933"/>
                  <a:pt x="4411334" y="2866926"/>
                  <a:pt x="4409869" y="2870520"/>
                </a:cubicBezTo>
                <a:cubicBezTo>
                  <a:pt x="4408405" y="2874114"/>
                  <a:pt x="4406275" y="2877176"/>
                  <a:pt x="4403746" y="2879838"/>
                </a:cubicBezTo>
                <a:cubicBezTo>
                  <a:pt x="4401083" y="2882501"/>
                  <a:pt x="4398022" y="2884631"/>
                  <a:pt x="4394428" y="2886095"/>
                </a:cubicBezTo>
                <a:cubicBezTo>
                  <a:pt x="4390834" y="2887559"/>
                  <a:pt x="4386973" y="2888359"/>
                  <a:pt x="4382713" y="2888359"/>
                </a:cubicBezTo>
                <a:cubicBezTo>
                  <a:pt x="4373661" y="2888359"/>
                  <a:pt x="4366473" y="2885429"/>
                  <a:pt x="4360881" y="2879838"/>
                </a:cubicBezTo>
                <a:cubicBezTo>
                  <a:pt x="4355290" y="2874247"/>
                  <a:pt x="4352495" y="2867192"/>
                  <a:pt x="4352495" y="2858673"/>
                </a:cubicBezTo>
                <a:cubicBezTo>
                  <a:pt x="4352495" y="2850420"/>
                  <a:pt x="4355290" y="2843363"/>
                  <a:pt x="4360881" y="2837640"/>
                </a:cubicBezTo>
                <a:cubicBezTo>
                  <a:pt x="4366473" y="2831916"/>
                  <a:pt x="4373661" y="2828988"/>
                  <a:pt x="4382713" y="2828988"/>
                </a:cubicBezTo>
                <a:close/>
                <a:moveTo>
                  <a:pt x="4165068" y="2828988"/>
                </a:moveTo>
                <a:cubicBezTo>
                  <a:pt x="4169327" y="2828988"/>
                  <a:pt x="4173188" y="2829786"/>
                  <a:pt x="4176782" y="2831516"/>
                </a:cubicBezTo>
                <a:cubicBezTo>
                  <a:pt x="4180509" y="2833114"/>
                  <a:pt x="4183571" y="2835243"/>
                  <a:pt x="4186100" y="2837906"/>
                </a:cubicBezTo>
                <a:cubicBezTo>
                  <a:pt x="4188629" y="2840568"/>
                  <a:pt x="4190759" y="2843764"/>
                  <a:pt x="4192223" y="2847357"/>
                </a:cubicBezTo>
                <a:cubicBezTo>
                  <a:pt x="4193688" y="2850952"/>
                  <a:pt x="4194486" y="2854678"/>
                  <a:pt x="4194486" y="2858806"/>
                </a:cubicBezTo>
                <a:cubicBezTo>
                  <a:pt x="4194486" y="2862933"/>
                  <a:pt x="4193688" y="2866926"/>
                  <a:pt x="4192223" y="2870520"/>
                </a:cubicBezTo>
                <a:cubicBezTo>
                  <a:pt x="4190759" y="2874114"/>
                  <a:pt x="4188629" y="2877176"/>
                  <a:pt x="4186100" y="2879838"/>
                </a:cubicBezTo>
                <a:cubicBezTo>
                  <a:pt x="4183438" y="2882501"/>
                  <a:pt x="4180376" y="2884631"/>
                  <a:pt x="4176782" y="2886095"/>
                </a:cubicBezTo>
                <a:cubicBezTo>
                  <a:pt x="4173188" y="2887559"/>
                  <a:pt x="4169327" y="2888359"/>
                  <a:pt x="4165068" y="2888359"/>
                </a:cubicBezTo>
                <a:cubicBezTo>
                  <a:pt x="4156015" y="2888359"/>
                  <a:pt x="4148827" y="2885429"/>
                  <a:pt x="4143235" y="2879838"/>
                </a:cubicBezTo>
                <a:cubicBezTo>
                  <a:pt x="4137645" y="2874247"/>
                  <a:pt x="4134849" y="2867192"/>
                  <a:pt x="4134849" y="2858673"/>
                </a:cubicBezTo>
                <a:cubicBezTo>
                  <a:pt x="4134849" y="2850420"/>
                  <a:pt x="4137645" y="2843363"/>
                  <a:pt x="4143235" y="2837640"/>
                </a:cubicBezTo>
                <a:cubicBezTo>
                  <a:pt x="4148827" y="2831916"/>
                  <a:pt x="4156015" y="2828988"/>
                  <a:pt x="4165068" y="2828988"/>
                </a:cubicBezTo>
                <a:close/>
                <a:moveTo>
                  <a:pt x="3947582" y="2828988"/>
                </a:moveTo>
                <a:cubicBezTo>
                  <a:pt x="3951843" y="2828988"/>
                  <a:pt x="3955702" y="2829786"/>
                  <a:pt x="3959298" y="2831516"/>
                </a:cubicBezTo>
                <a:cubicBezTo>
                  <a:pt x="3963026" y="2833114"/>
                  <a:pt x="3966086" y="2835243"/>
                  <a:pt x="3968616" y="2837906"/>
                </a:cubicBezTo>
                <a:cubicBezTo>
                  <a:pt x="3971146" y="2840568"/>
                  <a:pt x="3973275" y="2843764"/>
                  <a:pt x="3974739" y="2847357"/>
                </a:cubicBezTo>
                <a:cubicBezTo>
                  <a:pt x="3976204" y="2850952"/>
                  <a:pt x="3977003" y="2854678"/>
                  <a:pt x="3977003" y="2858806"/>
                </a:cubicBezTo>
                <a:cubicBezTo>
                  <a:pt x="3977003" y="2862933"/>
                  <a:pt x="3976204" y="2866926"/>
                  <a:pt x="3974739" y="2870520"/>
                </a:cubicBezTo>
                <a:cubicBezTo>
                  <a:pt x="3973275" y="2874114"/>
                  <a:pt x="3971146" y="2877176"/>
                  <a:pt x="3968616" y="2879838"/>
                </a:cubicBezTo>
                <a:cubicBezTo>
                  <a:pt x="3965954" y="2882501"/>
                  <a:pt x="3962892" y="2884631"/>
                  <a:pt x="3959298" y="2886095"/>
                </a:cubicBezTo>
                <a:cubicBezTo>
                  <a:pt x="3955702" y="2887559"/>
                  <a:pt x="3951843" y="2888359"/>
                  <a:pt x="3947582" y="2888359"/>
                </a:cubicBezTo>
                <a:cubicBezTo>
                  <a:pt x="3938529" y="2888359"/>
                  <a:pt x="3931341" y="2885429"/>
                  <a:pt x="3925749" y="2879838"/>
                </a:cubicBezTo>
                <a:cubicBezTo>
                  <a:pt x="3920158" y="2874247"/>
                  <a:pt x="3917363" y="2867192"/>
                  <a:pt x="3917363" y="2858673"/>
                </a:cubicBezTo>
                <a:cubicBezTo>
                  <a:pt x="3917363" y="2850420"/>
                  <a:pt x="3920158" y="2843363"/>
                  <a:pt x="3925749" y="2837640"/>
                </a:cubicBezTo>
                <a:cubicBezTo>
                  <a:pt x="3931341" y="2831916"/>
                  <a:pt x="3938529" y="2828988"/>
                  <a:pt x="3947582" y="2828988"/>
                </a:cubicBezTo>
                <a:close/>
                <a:moveTo>
                  <a:pt x="3729929" y="2828988"/>
                </a:moveTo>
                <a:cubicBezTo>
                  <a:pt x="3734190" y="2828988"/>
                  <a:pt x="3738182" y="2829786"/>
                  <a:pt x="3741644" y="2831516"/>
                </a:cubicBezTo>
                <a:cubicBezTo>
                  <a:pt x="3745238" y="2833114"/>
                  <a:pt x="3748434" y="2835243"/>
                  <a:pt x="3750963" y="2837906"/>
                </a:cubicBezTo>
                <a:cubicBezTo>
                  <a:pt x="3753492" y="2840568"/>
                  <a:pt x="3755621" y="2843764"/>
                  <a:pt x="3757085" y="2847357"/>
                </a:cubicBezTo>
                <a:cubicBezTo>
                  <a:pt x="3758549" y="2850952"/>
                  <a:pt x="3759348" y="2854678"/>
                  <a:pt x="3759348" y="2858806"/>
                </a:cubicBezTo>
                <a:cubicBezTo>
                  <a:pt x="3759348" y="2862933"/>
                  <a:pt x="3758549" y="2866926"/>
                  <a:pt x="3757085" y="2870520"/>
                </a:cubicBezTo>
                <a:cubicBezTo>
                  <a:pt x="3755621" y="2874114"/>
                  <a:pt x="3753492" y="2877176"/>
                  <a:pt x="3750963" y="2879838"/>
                </a:cubicBezTo>
                <a:cubicBezTo>
                  <a:pt x="3748300" y="2882501"/>
                  <a:pt x="3745238" y="2884631"/>
                  <a:pt x="3741644" y="2886095"/>
                </a:cubicBezTo>
                <a:cubicBezTo>
                  <a:pt x="3738050" y="2887559"/>
                  <a:pt x="3734190" y="2888359"/>
                  <a:pt x="3729929" y="2888359"/>
                </a:cubicBezTo>
                <a:cubicBezTo>
                  <a:pt x="3720877" y="2888359"/>
                  <a:pt x="3713688" y="2885429"/>
                  <a:pt x="3708093" y="2879838"/>
                </a:cubicBezTo>
                <a:cubicBezTo>
                  <a:pt x="3702501" y="2874247"/>
                  <a:pt x="3699707" y="2867192"/>
                  <a:pt x="3699707" y="2858673"/>
                </a:cubicBezTo>
                <a:cubicBezTo>
                  <a:pt x="3699707" y="2850420"/>
                  <a:pt x="3702501" y="2843363"/>
                  <a:pt x="3708093" y="2837640"/>
                </a:cubicBezTo>
                <a:cubicBezTo>
                  <a:pt x="3713688" y="2831916"/>
                  <a:pt x="3720877" y="2828988"/>
                  <a:pt x="3729929" y="2828988"/>
                </a:cubicBezTo>
                <a:close/>
                <a:moveTo>
                  <a:pt x="3512276" y="2828988"/>
                </a:moveTo>
                <a:cubicBezTo>
                  <a:pt x="3516536" y="2828988"/>
                  <a:pt x="3520529" y="2829786"/>
                  <a:pt x="3523991" y="2831516"/>
                </a:cubicBezTo>
                <a:cubicBezTo>
                  <a:pt x="3527585" y="2833114"/>
                  <a:pt x="3530780" y="2835243"/>
                  <a:pt x="3533309" y="2837906"/>
                </a:cubicBezTo>
                <a:cubicBezTo>
                  <a:pt x="3535838" y="2840568"/>
                  <a:pt x="3537968" y="2843764"/>
                  <a:pt x="3539432" y="2847357"/>
                </a:cubicBezTo>
                <a:cubicBezTo>
                  <a:pt x="3540896" y="2850952"/>
                  <a:pt x="3541695" y="2854678"/>
                  <a:pt x="3541695" y="2858806"/>
                </a:cubicBezTo>
                <a:cubicBezTo>
                  <a:pt x="3541695" y="2862933"/>
                  <a:pt x="3540896" y="2866926"/>
                  <a:pt x="3539432" y="2870520"/>
                </a:cubicBezTo>
                <a:cubicBezTo>
                  <a:pt x="3537968" y="2874114"/>
                  <a:pt x="3535838" y="2877176"/>
                  <a:pt x="3533309" y="2879838"/>
                </a:cubicBezTo>
                <a:cubicBezTo>
                  <a:pt x="3530646" y="2882501"/>
                  <a:pt x="3527585" y="2884631"/>
                  <a:pt x="3523991" y="2886095"/>
                </a:cubicBezTo>
                <a:cubicBezTo>
                  <a:pt x="3520397" y="2887559"/>
                  <a:pt x="3516536" y="2888359"/>
                  <a:pt x="3512276" y="2888359"/>
                </a:cubicBezTo>
                <a:cubicBezTo>
                  <a:pt x="3503221" y="2888359"/>
                  <a:pt x="3496032" y="2885429"/>
                  <a:pt x="3490441" y="2879838"/>
                </a:cubicBezTo>
                <a:cubicBezTo>
                  <a:pt x="3484850" y="2874247"/>
                  <a:pt x="3482055" y="2867192"/>
                  <a:pt x="3482055" y="2858673"/>
                </a:cubicBezTo>
                <a:cubicBezTo>
                  <a:pt x="3482055" y="2850420"/>
                  <a:pt x="3484850" y="2843363"/>
                  <a:pt x="3490441" y="2837640"/>
                </a:cubicBezTo>
                <a:cubicBezTo>
                  <a:pt x="3496032" y="2831916"/>
                  <a:pt x="3503221" y="2828988"/>
                  <a:pt x="3512276" y="2828988"/>
                </a:cubicBezTo>
                <a:close/>
                <a:moveTo>
                  <a:pt x="3294755" y="2828988"/>
                </a:moveTo>
                <a:cubicBezTo>
                  <a:pt x="3298882" y="2828988"/>
                  <a:pt x="3302877" y="2829786"/>
                  <a:pt x="3306471" y="2831516"/>
                </a:cubicBezTo>
                <a:cubicBezTo>
                  <a:pt x="3310198" y="2833114"/>
                  <a:pt x="3313260" y="2835243"/>
                  <a:pt x="3315789" y="2837906"/>
                </a:cubicBezTo>
                <a:cubicBezTo>
                  <a:pt x="3318318" y="2840568"/>
                  <a:pt x="3320448" y="2843764"/>
                  <a:pt x="3321912" y="2847357"/>
                </a:cubicBezTo>
                <a:cubicBezTo>
                  <a:pt x="3323376" y="2850952"/>
                  <a:pt x="3324175" y="2854678"/>
                  <a:pt x="3324175" y="2858806"/>
                </a:cubicBezTo>
                <a:cubicBezTo>
                  <a:pt x="3324175" y="2862933"/>
                  <a:pt x="3323376" y="2866926"/>
                  <a:pt x="3321912" y="2870520"/>
                </a:cubicBezTo>
                <a:cubicBezTo>
                  <a:pt x="3320448" y="2874114"/>
                  <a:pt x="3318318" y="2877176"/>
                  <a:pt x="3315789" y="2879838"/>
                </a:cubicBezTo>
                <a:cubicBezTo>
                  <a:pt x="3313126" y="2882501"/>
                  <a:pt x="3310065" y="2884631"/>
                  <a:pt x="3306471" y="2886095"/>
                </a:cubicBezTo>
                <a:cubicBezTo>
                  <a:pt x="3302877" y="2887559"/>
                  <a:pt x="3299016" y="2888359"/>
                  <a:pt x="3294755" y="2888359"/>
                </a:cubicBezTo>
                <a:cubicBezTo>
                  <a:pt x="3285702" y="2888359"/>
                  <a:pt x="3278513" y="2885429"/>
                  <a:pt x="3272920" y="2879838"/>
                </a:cubicBezTo>
                <a:cubicBezTo>
                  <a:pt x="3267329" y="2874247"/>
                  <a:pt x="3264534" y="2867192"/>
                  <a:pt x="3264534" y="2858673"/>
                </a:cubicBezTo>
                <a:cubicBezTo>
                  <a:pt x="3264534" y="2850420"/>
                  <a:pt x="3267329" y="2843363"/>
                  <a:pt x="3272920" y="2837640"/>
                </a:cubicBezTo>
                <a:cubicBezTo>
                  <a:pt x="3278513" y="2831916"/>
                  <a:pt x="3285702" y="2828988"/>
                  <a:pt x="3294755" y="2828988"/>
                </a:cubicBezTo>
                <a:close/>
                <a:moveTo>
                  <a:pt x="3077102" y="2828988"/>
                </a:moveTo>
                <a:cubicBezTo>
                  <a:pt x="3081230" y="2828988"/>
                  <a:pt x="3085223" y="2829786"/>
                  <a:pt x="3088817" y="2831516"/>
                </a:cubicBezTo>
                <a:cubicBezTo>
                  <a:pt x="3092412" y="2833114"/>
                  <a:pt x="3095607" y="2835243"/>
                  <a:pt x="3098135" y="2837906"/>
                </a:cubicBezTo>
                <a:cubicBezTo>
                  <a:pt x="3100664" y="2840568"/>
                  <a:pt x="3102795" y="2843764"/>
                  <a:pt x="3104259" y="2847357"/>
                </a:cubicBezTo>
                <a:cubicBezTo>
                  <a:pt x="3105724" y="2850952"/>
                  <a:pt x="3106522" y="2854678"/>
                  <a:pt x="3106522" y="2858806"/>
                </a:cubicBezTo>
                <a:cubicBezTo>
                  <a:pt x="3106522" y="2862933"/>
                  <a:pt x="3105724" y="2866926"/>
                  <a:pt x="3104259" y="2870520"/>
                </a:cubicBezTo>
                <a:cubicBezTo>
                  <a:pt x="3102795" y="2874114"/>
                  <a:pt x="3100664" y="2877176"/>
                  <a:pt x="3098135" y="2879838"/>
                </a:cubicBezTo>
                <a:cubicBezTo>
                  <a:pt x="3095473" y="2882501"/>
                  <a:pt x="3092412" y="2884631"/>
                  <a:pt x="3088817" y="2886095"/>
                </a:cubicBezTo>
                <a:cubicBezTo>
                  <a:pt x="3085223" y="2887559"/>
                  <a:pt x="3081362" y="2888359"/>
                  <a:pt x="3077102" y="2888359"/>
                </a:cubicBezTo>
                <a:cubicBezTo>
                  <a:pt x="3068183" y="2888359"/>
                  <a:pt x="3060860" y="2885429"/>
                  <a:pt x="3055267" y="2879838"/>
                </a:cubicBezTo>
                <a:cubicBezTo>
                  <a:pt x="3049676" y="2874247"/>
                  <a:pt x="3046881" y="2867192"/>
                  <a:pt x="3046881" y="2858673"/>
                </a:cubicBezTo>
                <a:cubicBezTo>
                  <a:pt x="3046881" y="2850420"/>
                  <a:pt x="3049676" y="2843363"/>
                  <a:pt x="3055267" y="2837640"/>
                </a:cubicBezTo>
                <a:cubicBezTo>
                  <a:pt x="3060860" y="2831916"/>
                  <a:pt x="3068050" y="2828988"/>
                  <a:pt x="3077102" y="2828988"/>
                </a:cubicBezTo>
                <a:close/>
                <a:moveTo>
                  <a:pt x="2859449" y="2828988"/>
                </a:moveTo>
                <a:cubicBezTo>
                  <a:pt x="2863709" y="2828988"/>
                  <a:pt x="2867570" y="2829786"/>
                  <a:pt x="2871297" y="2831516"/>
                </a:cubicBezTo>
                <a:cubicBezTo>
                  <a:pt x="2875024" y="2833114"/>
                  <a:pt x="2878086" y="2835243"/>
                  <a:pt x="2880615" y="2837906"/>
                </a:cubicBezTo>
                <a:cubicBezTo>
                  <a:pt x="2883277" y="2840568"/>
                  <a:pt x="2885275" y="2843764"/>
                  <a:pt x="2886739" y="2847357"/>
                </a:cubicBezTo>
                <a:cubicBezTo>
                  <a:pt x="2888203" y="2850952"/>
                  <a:pt x="2889002" y="2854678"/>
                  <a:pt x="2889002" y="2858806"/>
                </a:cubicBezTo>
                <a:cubicBezTo>
                  <a:pt x="2889002" y="2862933"/>
                  <a:pt x="2888203" y="2866926"/>
                  <a:pt x="2886739" y="2870520"/>
                </a:cubicBezTo>
                <a:cubicBezTo>
                  <a:pt x="2885275" y="2874114"/>
                  <a:pt x="2883144" y="2877176"/>
                  <a:pt x="2880615" y="2879838"/>
                </a:cubicBezTo>
                <a:cubicBezTo>
                  <a:pt x="2877953" y="2882501"/>
                  <a:pt x="2874891" y="2884631"/>
                  <a:pt x="2871297" y="2886095"/>
                </a:cubicBezTo>
                <a:cubicBezTo>
                  <a:pt x="2867570" y="2887559"/>
                  <a:pt x="2863709" y="2888359"/>
                  <a:pt x="2859449" y="2888359"/>
                </a:cubicBezTo>
                <a:cubicBezTo>
                  <a:pt x="2850531" y="2888359"/>
                  <a:pt x="2843205" y="2885429"/>
                  <a:pt x="2837615" y="2879838"/>
                </a:cubicBezTo>
                <a:cubicBezTo>
                  <a:pt x="2832024" y="2874247"/>
                  <a:pt x="2829228" y="2867192"/>
                  <a:pt x="2829228" y="2858673"/>
                </a:cubicBezTo>
                <a:cubicBezTo>
                  <a:pt x="2829228" y="2850420"/>
                  <a:pt x="2832024" y="2843363"/>
                  <a:pt x="2837615" y="2837640"/>
                </a:cubicBezTo>
                <a:cubicBezTo>
                  <a:pt x="2843205" y="2831916"/>
                  <a:pt x="2850397" y="2828988"/>
                  <a:pt x="2859449" y="2828988"/>
                </a:cubicBezTo>
                <a:close/>
                <a:moveTo>
                  <a:pt x="2641795" y="2828988"/>
                </a:moveTo>
                <a:cubicBezTo>
                  <a:pt x="2646056" y="2828988"/>
                  <a:pt x="2649916" y="2829786"/>
                  <a:pt x="2653511" y="2831516"/>
                </a:cubicBezTo>
                <a:cubicBezTo>
                  <a:pt x="2657238" y="2833114"/>
                  <a:pt x="2660300" y="2835243"/>
                  <a:pt x="2662829" y="2837906"/>
                </a:cubicBezTo>
                <a:cubicBezTo>
                  <a:pt x="2665491" y="2840568"/>
                  <a:pt x="2667488" y="2843764"/>
                  <a:pt x="2668952" y="2847357"/>
                </a:cubicBezTo>
                <a:cubicBezTo>
                  <a:pt x="2670416" y="2850952"/>
                  <a:pt x="2671215" y="2854678"/>
                  <a:pt x="2671215" y="2858806"/>
                </a:cubicBezTo>
                <a:cubicBezTo>
                  <a:pt x="2671215" y="2862933"/>
                  <a:pt x="2670416" y="2866926"/>
                  <a:pt x="2668952" y="2870520"/>
                </a:cubicBezTo>
                <a:cubicBezTo>
                  <a:pt x="2667488" y="2874114"/>
                  <a:pt x="2665358" y="2877176"/>
                  <a:pt x="2662829" y="2879838"/>
                </a:cubicBezTo>
                <a:cubicBezTo>
                  <a:pt x="2660300" y="2882501"/>
                  <a:pt x="2657105" y="2884631"/>
                  <a:pt x="2653511" y="2886095"/>
                </a:cubicBezTo>
                <a:cubicBezTo>
                  <a:pt x="2649916" y="2887559"/>
                  <a:pt x="2646056" y="2888359"/>
                  <a:pt x="2641795" y="2888359"/>
                </a:cubicBezTo>
                <a:cubicBezTo>
                  <a:pt x="2632876" y="2888359"/>
                  <a:pt x="2625555" y="2885429"/>
                  <a:pt x="2619963" y="2879838"/>
                </a:cubicBezTo>
                <a:cubicBezTo>
                  <a:pt x="2614372" y="2874247"/>
                  <a:pt x="2611575" y="2867192"/>
                  <a:pt x="2611575" y="2858673"/>
                </a:cubicBezTo>
                <a:cubicBezTo>
                  <a:pt x="2611575" y="2850420"/>
                  <a:pt x="2614372" y="2843363"/>
                  <a:pt x="2619963" y="2837640"/>
                </a:cubicBezTo>
                <a:cubicBezTo>
                  <a:pt x="2625555" y="2831916"/>
                  <a:pt x="2632744" y="2828988"/>
                  <a:pt x="2641795" y="2828988"/>
                </a:cubicBezTo>
                <a:close/>
                <a:moveTo>
                  <a:pt x="2424142" y="2828988"/>
                </a:moveTo>
                <a:cubicBezTo>
                  <a:pt x="2428402" y="2828988"/>
                  <a:pt x="2432397" y="2829786"/>
                  <a:pt x="2435857" y="2831516"/>
                </a:cubicBezTo>
                <a:cubicBezTo>
                  <a:pt x="2439584" y="2833114"/>
                  <a:pt x="2442646" y="2835243"/>
                  <a:pt x="2445175" y="2837906"/>
                </a:cubicBezTo>
                <a:cubicBezTo>
                  <a:pt x="2447838" y="2840568"/>
                  <a:pt x="2449835" y="2843764"/>
                  <a:pt x="2451299" y="2847357"/>
                </a:cubicBezTo>
                <a:cubicBezTo>
                  <a:pt x="2452763" y="2850952"/>
                  <a:pt x="2453562" y="2854678"/>
                  <a:pt x="2453562" y="2858806"/>
                </a:cubicBezTo>
                <a:cubicBezTo>
                  <a:pt x="2453562" y="2862933"/>
                  <a:pt x="2452763" y="2866926"/>
                  <a:pt x="2451299" y="2870520"/>
                </a:cubicBezTo>
                <a:cubicBezTo>
                  <a:pt x="2449835" y="2874114"/>
                  <a:pt x="2447705" y="2877176"/>
                  <a:pt x="2445175" y="2879838"/>
                </a:cubicBezTo>
                <a:cubicBezTo>
                  <a:pt x="2442646" y="2882501"/>
                  <a:pt x="2439452" y="2884631"/>
                  <a:pt x="2435857" y="2886095"/>
                </a:cubicBezTo>
                <a:cubicBezTo>
                  <a:pt x="2432263" y="2887559"/>
                  <a:pt x="2428402" y="2888359"/>
                  <a:pt x="2424142" y="2888359"/>
                </a:cubicBezTo>
                <a:cubicBezTo>
                  <a:pt x="2415224" y="2888359"/>
                  <a:pt x="2407902" y="2885429"/>
                  <a:pt x="2402310" y="2879838"/>
                </a:cubicBezTo>
                <a:cubicBezTo>
                  <a:pt x="2396718" y="2874247"/>
                  <a:pt x="2393922" y="2867192"/>
                  <a:pt x="2393922" y="2858673"/>
                </a:cubicBezTo>
                <a:cubicBezTo>
                  <a:pt x="2393922" y="2850420"/>
                  <a:pt x="2396718" y="2843363"/>
                  <a:pt x="2402310" y="2837640"/>
                </a:cubicBezTo>
                <a:cubicBezTo>
                  <a:pt x="2407902" y="2831916"/>
                  <a:pt x="2415090" y="2828988"/>
                  <a:pt x="2424142" y="2828988"/>
                </a:cubicBezTo>
                <a:close/>
                <a:moveTo>
                  <a:pt x="2206489" y="2828988"/>
                </a:moveTo>
                <a:cubicBezTo>
                  <a:pt x="2210749" y="2828988"/>
                  <a:pt x="2214743" y="2829786"/>
                  <a:pt x="2218204" y="2831516"/>
                </a:cubicBezTo>
                <a:cubicBezTo>
                  <a:pt x="2221931" y="2833114"/>
                  <a:pt x="2224992" y="2835243"/>
                  <a:pt x="2227523" y="2837906"/>
                </a:cubicBezTo>
                <a:cubicBezTo>
                  <a:pt x="2230184" y="2840568"/>
                  <a:pt x="2232181" y="2843764"/>
                  <a:pt x="2233645" y="2847357"/>
                </a:cubicBezTo>
                <a:cubicBezTo>
                  <a:pt x="2235109" y="2850952"/>
                  <a:pt x="2235908" y="2854678"/>
                  <a:pt x="2235908" y="2858806"/>
                </a:cubicBezTo>
                <a:cubicBezTo>
                  <a:pt x="2235908" y="2862933"/>
                  <a:pt x="2235109" y="2866926"/>
                  <a:pt x="2233645" y="2870520"/>
                </a:cubicBezTo>
                <a:cubicBezTo>
                  <a:pt x="2232181" y="2874114"/>
                  <a:pt x="2230051" y="2877176"/>
                  <a:pt x="2227523" y="2879838"/>
                </a:cubicBezTo>
                <a:cubicBezTo>
                  <a:pt x="2224992" y="2882501"/>
                  <a:pt x="2221798" y="2884631"/>
                  <a:pt x="2218204" y="2886095"/>
                </a:cubicBezTo>
                <a:cubicBezTo>
                  <a:pt x="2214609" y="2887559"/>
                  <a:pt x="2210749" y="2888359"/>
                  <a:pt x="2206489" y="2888359"/>
                </a:cubicBezTo>
                <a:cubicBezTo>
                  <a:pt x="2197436" y="2888359"/>
                  <a:pt x="2190248" y="2885429"/>
                  <a:pt x="2184656" y="2879838"/>
                </a:cubicBezTo>
                <a:cubicBezTo>
                  <a:pt x="2179065" y="2874247"/>
                  <a:pt x="2176270" y="2867192"/>
                  <a:pt x="2176270" y="2858673"/>
                </a:cubicBezTo>
                <a:cubicBezTo>
                  <a:pt x="2176270" y="2850420"/>
                  <a:pt x="2179065" y="2843363"/>
                  <a:pt x="2184656" y="2837640"/>
                </a:cubicBezTo>
                <a:cubicBezTo>
                  <a:pt x="2190248" y="2831916"/>
                  <a:pt x="2197436" y="2828988"/>
                  <a:pt x="2206489" y="2828988"/>
                </a:cubicBezTo>
                <a:close/>
                <a:moveTo>
                  <a:pt x="1988968" y="2828988"/>
                </a:moveTo>
                <a:cubicBezTo>
                  <a:pt x="1993095" y="2828988"/>
                  <a:pt x="1997090" y="2829786"/>
                  <a:pt x="2000684" y="2831516"/>
                </a:cubicBezTo>
                <a:cubicBezTo>
                  <a:pt x="2004411" y="2833114"/>
                  <a:pt x="2007473" y="2835243"/>
                  <a:pt x="2010002" y="2837906"/>
                </a:cubicBezTo>
                <a:cubicBezTo>
                  <a:pt x="2012664" y="2840568"/>
                  <a:pt x="2014661" y="2843764"/>
                  <a:pt x="2016125" y="2847357"/>
                </a:cubicBezTo>
                <a:cubicBezTo>
                  <a:pt x="2017589" y="2850952"/>
                  <a:pt x="2018388" y="2854678"/>
                  <a:pt x="2018388" y="2858806"/>
                </a:cubicBezTo>
                <a:cubicBezTo>
                  <a:pt x="2018388" y="2862933"/>
                  <a:pt x="2017589" y="2866926"/>
                  <a:pt x="2016125" y="2870520"/>
                </a:cubicBezTo>
                <a:cubicBezTo>
                  <a:pt x="2014661" y="2874114"/>
                  <a:pt x="2012531" y="2877176"/>
                  <a:pt x="2010002" y="2879838"/>
                </a:cubicBezTo>
                <a:cubicBezTo>
                  <a:pt x="2007473" y="2882501"/>
                  <a:pt x="2004277" y="2884631"/>
                  <a:pt x="2000684" y="2886095"/>
                </a:cubicBezTo>
                <a:cubicBezTo>
                  <a:pt x="1997090" y="2887559"/>
                  <a:pt x="1993228" y="2888359"/>
                  <a:pt x="1988968" y="2888359"/>
                </a:cubicBezTo>
                <a:cubicBezTo>
                  <a:pt x="1979917" y="2888359"/>
                  <a:pt x="1972728" y="2885429"/>
                  <a:pt x="1967137" y="2879838"/>
                </a:cubicBezTo>
                <a:cubicBezTo>
                  <a:pt x="1961547" y="2874247"/>
                  <a:pt x="1958751" y="2867192"/>
                  <a:pt x="1958751" y="2858673"/>
                </a:cubicBezTo>
                <a:cubicBezTo>
                  <a:pt x="1958751" y="2850420"/>
                  <a:pt x="1961547" y="2843363"/>
                  <a:pt x="1967137" y="2837640"/>
                </a:cubicBezTo>
                <a:cubicBezTo>
                  <a:pt x="1972728" y="2831916"/>
                  <a:pt x="1979917" y="2828988"/>
                  <a:pt x="1988968" y="2828988"/>
                </a:cubicBezTo>
                <a:close/>
                <a:moveTo>
                  <a:pt x="1771329" y="2828988"/>
                </a:moveTo>
                <a:cubicBezTo>
                  <a:pt x="1775589" y="2828988"/>
                  <a:pt x="1779449" y="2829786"/>
                  <a:pt x="1783044" y="2831516"/>
                </a:cubicBezTo>
                <a:cubicBezTo>
                  <a:pt x="1786771" y="2833114"/>
                  <a:pt x="1789833" y="2835243"/>
                  <a:pt x="1792362" y="2837906"/>
                </a:cubicBezTo>
                <a:cubicBezTo>
                  <a:pt x="1795024" y="2840568"/>
                  <a:pt x="1797021" y="2843764"/>
                  <a:pt x="1798485" y="2847357"/>
                </a:cubicBezTo>
                <a:cubicBezTo>
                  <a:pt x="1799949" y="2850952"/>
                  <a:pt x="1800747" y="2854678"/>
                  <a:pt x="1800747" y="2858806"/>
                </a:cubicBezTo>
                <a:cubicBezTo>
                  <a:pt x="1800747" y="2862933"/>
                  <a:pt x="1799949" y="2866926"/>
                  <a:pt x="1798485" y="2870520"/>
                </a:cubicBezTo>
                <a:cubicBezTo>
                  <a:pt x="1797021" y="2874114"/>
                  <a:pt x="1794891" y="2877176"/>
                  <a:pt x="1792362" y="2879838"/>
                </a:cubicBezTo>
                <a:cubicBezTo>
                  <a:pt x="1789699" y="2882501"/>
                  <a:pt x="1786638" y="2884631"/>
                  <a:pt x="1783044" y="2886095"/>
                </a:cubicBezTo>
                <a:cubicBezTo>
                  <a:pt x="1779449" y="2887559"/>
                  <a:pt x="1775589" y="2888359"/>
                  <a:pt x="1771329" y="2888359"/>
                </a:cubicBezTo>
                <a:cubicBezTo>
                  <a:pt x="1762410" y="2888359"/>
                  <a:pt x="1755090" y="2885429"/>
                  <a:pt x="1749499" y="2879838"/>
                </a:cubicBezTo>
                <a:cubicBezTo>
                  <a:pt x="1743908" y="2874247"/>
                  <a:pt x="1741115" y="2867192"/>
                  <a:pt x="1741115" y="2858673"/>
                </a:cubicBezTo>
                <a:cubicBezTo>
                  <a:pt x="1741115" y="2850420"/>
                  <a:pt x="1743908" y="2843363"/>
                  <a:pt x="1749499" y="2837640"/>
                </a:cubicBezTo>
                <a:cubicBezTo>
                  <a:pt x="1755090" y="2831916"/>
                  <a:pt x="1762277" y="2828988"/>
                  <a:pt x="1771329" y="2828988"/>
                </a:cubicBezTo>
                <a:close/>
                <a:moveTo>
                  <a:pt x="1553688" y="2828988"/>
                </a:moveTo>
                <a:cubicBezTo>
                  <a:pt x="1557948" y="2828988"/>
                  <a:pt x="1561809" y="2829786"/>
                  <a:pt x="1565403" y="2831516"/>
                </a:cubicBezTo>
                <a:cubicBezTo>
                  <a:pt x="1568997" y="2833114"/>
                  <a:pt x="1572192" y="2835243"/>
                  <a:pt x="1574722" y="2837906"/>
                </a:cubicBezTo>
                <a:cubicBezTo>
                  <a:pt x="1577383" y="2840568"/>
                  <a:pt x="1579380" y="2843764"/>
                  <a:pt x="1580844" y="2847357"/>
                </a:cubicBezTo>
                <a:cubicBezTo>
                  <a:pt x="1582308" y="2850952"/>
                  <a:pt x="1583107" y="2854678"/>
                  <a:pt x="1583107" y="2858806"/>
                </a:cubicBezTo>
                <a:cubicBezTo>
                  <a:pt x="1583107" y="2862933"/>
                  <a:pt x="1582308" y="2866926"/>
                  <a:pt x="1580844" y="2870520"/>
                </a:cubicBezTo>
                <a:cubicBezTo>
                  <a:pt x="1579380" y="2874114"/>
                  <a:pt x="1577250" y="2877176"/>
                  <a:pt x="1574722" y="2879838"/>
                </a:cubicBezTo>
                <a:cubicBezTo>
                  <a:pt x="1572059" y="2882501"/>
                  <a:pt x="1568997" y="2884631"/>
                  <a:pt x="1565403" y="2886095"/>
                </a:cubicBezTo>
                <a:cubicBezTo>
                  <a:pt x="1561809" y="2887559"/>
                  <a:pt x="1557948" y="2888359"/>
                  <a:pt x="1553688" y="2888359"/>
                </a:cubicBezTo>
                <a:cubicBezTo>
                  <a:pt x="1544770" y="2888359"/>
                  <a:pt x="1537448" y="2885429"/>
                  <a:pt x="1531857" y="2879838"/>
                </a:cubicBezTo>
                <a:cubicBezTo>
                  <a:pt x="1526268" y="2874247"/>
                  <a:pt x="1523472" y="2867192"/>
                  <a:pt x="1523472" y="2858673"/>
                </a:cubicBezTo>
                <a:cubicBezTo>
                  <a:pt x="1523472" y="2850420"/>
                  <a:pt x="1526268" y="2843363"/>
                  <a:pt x="1531857" y="2837640"/>
                </a:cubicBezTo>
                <a:cubicBezTo>
                  <a:pt x="1537448" y="2831916"/>
                  <a:pt x="1544636" y="2828988"/>
                  <a:pt x="1553688" y="2828988"/>
                </a:cubicBezTo>
                <a:close/>
                <a:moveTo>
                  <a:pt x="1336044" y="2828988"/>
                </a:moveTo>
                <a:cubicBezTo>
                  <a:pt x="1340304" y="2828988"/>
                  <a:pt x="1344298" y="2829786"/>
                  <a:pt x="1347760" y="2831516"/>
                </a:cubicBezTo>
                <a:cubicBezTo>
                  <a:pt x="1351353" y="2833114"/>
                  <a:pt x="1354548" y="2835243"/>
                  <a:pt x="1357078" y="2837906"/>
                </a:cubicBezTo>
                <a:cubicBezTo>
                  <a:pt x="1359740" y="2840568"/>
                  <a:pt x="1361736" y="2843764"/>
                  <a:pt x="1363200" y="2847357"/>
                </a:cubicBezTo>
                <a:cubicBezTo>
                  <a:pt x="1364665" y="2850952"/>
                  <a:pt x="1365463" y="2854678"/>
                  <a:pt x="1365463" y="2858806"/>
                </a:cubicBezTo>
                <a:cubicBezTo>
                  <a:pt x="1365463" y="2862933"/>
                  <a:pt x="1364665" y="2866926"/>
                  <a:pt x="1363200" y="2870520"/>
                </a:cubicBezTo>
                <a:cubicBezTo>
                  <a:pt x="1361736" y="2874114"/>
                  <a:pt x="1359607" y="2877176"/>
                  <a:pt x="1357078" y="2879838"/>
                </a:cubicBezTo>
                <a:cubicBezTo>
                  <a:pt x="1354414" y="2882501"/>
                  <a:pt x="1351353" y="2884631"/>
                  <a:pt x="1347760" y="2886095"/>
                </a:cubicBezTo>
                <a:cubicBezTo>
                  <a:pt x="1344165" y="2887559"/>
                  <a:pt x="1340304" y="2888359"/>
                  <a:pt x="1336044" y="2888359"/>
                </a:cubicBezTo>
                <a:cubicBezTo>
                  <a:pt x="1327124" y="2888359"/>
                  <a:pt x="1319803" y="2885429"/>
                  <a:pt x="1314212" y="2879838"/>
                </a:cubicBezTo>
                <a:cubicBezTo>
                  <a:pt x="1308621" y="2874247"/>
                  <a:pt x="1305826" y="2867192"/>
                  <a:pt x="1305826" y="2858673"/>
                </a:cubicBezTo>
                <a:cubicBezTo>
                  <a:pt x="1305826" y="2850420"/>
                  <a:pt x="1308621" y="2843363"/>
                  <a:pt x="1314212" y="2837640"/>
                </a:cubicBezTo>
                <a:cubicBezTo>
                  <a:pt x="1319803" y="2831916"/>
                  <a:pt x="1326991" y="2828988"/>
                  <a:pt x="1336044" y="2828988"/>
                </a:cubicBezTo>
                <a:close/>
                <a:moveTo>
                  <a:pt x="1118399" y="2828988"/>
                </a:moveTo>
                <a:cubicBezTo>
                  <a:pt x="1122659" y="2828988"/>
                  <a:pt x="1126655" y="2829786"/>
                  <a:pt x="1130116" y="2831516"/>
                </a:cubicBezTo>
                <a:cubicBezTo>
                  <a:pt x="1133842" y="2833114"/>
                  <a:pt x="1136904" y="2835243"/>
                  <a:pt x="1139433" y="2837906"/>
                </a:cubicBezTo>
                <a:cubicBezTo>
                  <a:pt x="1142093" y="2840568"/>
                  <a:pt x="1144089" y="2843764"/>
                  <a:pt x="1145553" y="2847357"/>
                </a:cubicBezTo>
                <a:cubicBezTo>
                  <a:pt x="1147018" y="2850952"/>
                  <a:pt x="1147817" y="2854678"/>
                  <a:pt x="1147817" y="2858806"/>
                </a:cubicBezTo>
                <a:cubicBezTo>
                  <a:pt x="1147817" y="2862933"/>
                  <a:pt x="1147018" y="2866926"/>
                  <a:pt x="1145553" y="2870520"/>
                </a:cubicBezTo>
                <a:cubicBezTo>
                  <a:pt x="1144089" y="2874114"/>
                  <a:pt x="1141960" y="2877176"/>
                  <a:pt x="1139433" y="2879838"/>
                </a:cubicBezTo>
                <a:cubicBezTo>
                  <a:pt x="1136904" y="2882501"/>
                  <a:pt x="1133709" y="2884631"/>
                  <a:pt x="1130116" y="2886095"/>
                </a:cubicBezTo>
                <a:cubicBezTo>
                  <a:pt x="1126520" y="2887559"/>
                  <a:pt x="1122659" y="2888359"/>
                  <a:pt x="1118399" y="2888359"/>
                </a:cubicBezTo>
                <a:cubicBezTo>
                  <a:pt x="1109480" y="2888359"/>
                  <a:pt x="1102156" y="2885429"/>
                  <a:pt x="1096565" y="2879838"/>
                </a:cubicBezTo>
                <a:cubicBezTo>
                  <a:pt x="1090975" y="2874247"/>
                  <a:pt x="1088180" y="2867192"/>
                  <a:pt x="1088180" y="2858673"/>
                </a:cubicBezTo>
                <a:cubicBezTo>
                  <a:pt x="1088180" y="2850420"/>
                  <a:pt x="1090975" y="2843363"/>
                  <a:pt x="1096565" y="2837640"/>
                </a:cubicBezTo>
                <a:cubicBezTo>
                  <a:pt x="1102156" y="2831916"/>
                  <a:pt x="1109346" y="2828988"/>
                  <a:pt x="1118399" y="2828988"/>
                </a:cubicBezTo>
                <a:close/>
                <a:moveTo>
                  <a:pt x="900886" y="2828988"/>
                </a:moveTo>
                <a:cubicBezTo>
                  <a:pt x="905013" y="2828988"/>
                  <a:pt x="909007" y="2829786"/>
                  <a:pt x="912601" y="2831516"/>
                </a:cubicBezTo>
                <a:cubicBezTo>
                  <a:pt x="916329" y="2833114"/>
                  <a:pt x="919391" y="2835243"/>
                  <a:pt x="921920" y="2837906"/>
                </a:cubicBezTo>
                <a:cubicBezTo>
                  <a:pt x="924582" y="2840568"/>
                  <a:pt x="926579" y="2843764"/>
                  <a:pt x="928042" y="2847357"/>
                </a:cubicBezTo>
                <a:cubicBezTo>
                  <a:pt x="929507" y="2850952"/>
                  <a:pt x="930305" y="2854678"/>
                  <a:pt x="930305" y="2858806"/>
                </a:cubicBezTo>
                <a:cubicBezTo>
                  <a:pt x="930305" y="2862933"/>
                  <a:pt x="929507" y="2866926"/>
                  <a:pt x="928042" y="2870520"/>
                </a:cubicBezTo>
                <a:cubicBezTo>
                  <a:pt x="926579" y="2874114"/>
                  <a:pt x="924449" y="2877176"/>
                  <a:pt x="921920" y="2879838"/>
                </a:cubicBezTo>
                <a:cubicBezTo>
                  <a:pt x="919391" y="2882501"/>
                  <a:pt x="916195" y="2884631"/>
                  <a:pt x="912601" y="2886095"/>
                </a:cubicBezTo>
                <a:cubicBezTo>
                  <a:pt x="909007" y="2887559"/>
                  <a:pt x="905146" y="2888359"/>
                  <a:pt x="900886" y="2888359"/>
                </a:cubicBezTo>
                <a:cubicBezTo>
                  <a:pt x="891968" y="2888359"/>
                  <a:pt x="884646" y="2885429"/>
                  <a:pt x="879056" y="2879838"/>
                </a:cubicBezTo>
                <a:cubicBezTo>
                  <a:pt x="873466" y="2874247"/>
                  <a:pt x="870670" y="2867192"/>
                  <a:pt x="870670" y="2858673"/>
                </a:cubicBezTo>
                <a:cubicBezTo>
                  <a:pt x="870670" y="2850420"/>
                  <a:pt x="873466" y="2843363"/>
                  <a:pt x="879056" y="2837640"/>
                </a:cubicBezTo>
                <a:cubicBezTo>
                  <a:pt x="884646" y="2831916"/>
                  <a:pt x="891835" y="2828988"/>
                  <a:pt x="900886" y="2828988"/>
                </a:cubicBezTo>
                <a:close/>
                <a:moveTo>
                  <a:pt x="683244" y="2828988"/>
                </a:moveTo>
                <a:cubicBezTo>
                  <a:pt x="687504" y="2828988"/>
                  <a:pt x="691365" y="2829786"/>
                  <a:pt x="694959" y="2831516"/>
                </a:cubicBezTo>
                <a:cubicBezTo>
                  <a:pt x="698686" y="2833114"/>
                  <a:pt x="701748" y="2835243"/>
                  <a:pt x="704277" y="2837906"/>
                </a:cubicBezTo>
                <a:cubicBezTo>
                  <a:pt x="706939" y="2840568"/>
                  <a:pt x="708936" y="2843764"/>
                  <a:pt x="710400" y="2847357"/>
                </a:cubicBezTo>
                <a:cubicBezTo>
                  <a:pt x="711864" y="2850952"/>
                  <a:pt x="712663" y="2854678"/>
                  <a:pt x="712663" y="2858806"/>
                </a:cubicBezTo>
                <a:cubicBezTo>
                  <a:pt x="712663" y="2862933"/>
                  <a:pt x="711864" y="2866926"/>
                  <a:pt x="710400" y="2870520"/>
                </a:cubicBezTo>
                <a:cubicBezTo>
                  <a:pt x="708936" y="2874114"/>
                  <a:pt x="706806" y="2877176"/>
                  <a:pt x="704277" y="2879838"/>
                </a:cubicBezTo>
                <a:cubicBezTo>
                  <a:pt x="701748" y="2882501"/>
                  <a:pt x="698553" y="2884631"/>
                  <a:pt x="694959" y="2886095"/>
                </a:cubicBezTo>
                <a:cubicBezTo>
                  <a:pt x="691365" y="2887559"/>
                  <a:pt x="687504" y="2888359"/>
                  <a:pt x="683244" y="2888359"/>
                </a:cubicBezTo>
                <a:cubicBezTo>
                  <a:pt x="674326" y="2888359"/>
                  <a:pt x="667004" y="2885429"/>
                  <a:pt x="661413" y="2879838"/>
                </a:cubicBezTo>
                <a:cubicBezTo>
                  <a:pt x="655822" y="2874247"/>
                  <a:pt x="653027" y="2867192"/>
                  <a:pt x="653027" y="2858673"/>
                </a:cubicBezTo>
                <a:cubicBezTo>
                  <a:pt x="653027" y="2850420"/>
                  <a:pt x="655822" y="2843363"/>
                  <a:pt x="661413" y="2837640"/>
                </a:cubicBezTo>
                <a:cubicBezTo>
                  <a:pt x="667004" y="2831916"/>
                  <a:pt x="674193" y="2828988"/>
                  <a:pt x="683244" y="2828988"/>
                </a:cubicBezTo>
                <a:close/>
                <a:moveTo>
                  <a:pt x="465601" y="2828988"/>
                </a:moveTo>
                <a:cubicBezTo>
                  <a:pt x="469861" y="2828988"/>
                  <a:pt x="473721" y="2829786"/>
                  <a:pt x="477316" y="2831516"/>
                </a:cubicBezTo>
                <a:cubicBezTo>
                  <a:pt x="481043" y="2833114"/>
                  <a:pt x="484105" y="2835243"/>
                  <a:pt x="486634" y="2837906"/>
                </a:cubicBezTo>
                <a:cubicBezTo>
                  <a:pt x="489296" y="2840568"/>
                  <a:pt x="491293" y="2843764"/>
                  <a:pt x="492757" y="2847357"/>
                </a:cubicBezTo>
                <a:cubicBezTo>
                  <a:pt x="494221" y="2850952"/>
                  <a:pt x="495020" y="2854678"/>
                  <a:pt x="495020" y="2858806"/>
                </a:cubicBezTo>
                <a:cubicBezTo>
                  <a:pt x="495020" y="2862933"/>
                  <a:pt x="494221" y="2866926"/>
                  <a:pt x="492757" y="2870520"/>
                </a:cubicBezTo>
                <a:cubicBezTo>
                  <a:pt x="491293" y="2874114"/>
                  <a:pt x="489163" y="2877176"/>
                  <a:pt x="486634" y="2879838"/>
                </a:cubicBezTo>
                <a:cubicBezTo>
                  <a:pt x="483971" y="2882501"/>
                  <a:pt x="480910" y="2884631"/>
                  <a:pt x="477316" y="2886095"/>
                </a:cubicBezTo>
                <a:cubicBezTo>
                  <a:pt x="473721" y="2887559"/>
                  <a:pt x="469861" y="2888359"/>
                  <a:pt x="465601" y="2888359"/>
                </a:cubicBezTo>
                <a:cubicBezTo>
                  <a:pt x="456683" y="2888359"/>
                  <a:pt x="449361" y="2885429"/>
                  <a:pt x="443770" y="2879838"/>
                </a:cubicBezTo>
                <a:cubicBezTo>
                  <a:pt x="438179" y="2874247"/>
                  <a:pt x="435384" y="2867192"/>
                  <a:pt x="435384" y="2858673"/>
                </a:cubicBezTo>
                <a:cubicBezTo>
                  <a:pt x="435384" y="2850420"/>
                  <a:pt x="438179" y="2843363"/>
                  <a:pt x="443770" y="2837640"/>
                </a:cubicBezTo>
                <a:cubicBezTo>
                  <a:pt x="449361" y="2831916"/>
                  <a:pt x="456550" y="2828988"/>
                  <a:pt x="465601" y="2828988"/>
                </a:cubicBezTo>
                <a:close/>
                <a:moveTo>
                  <a:pt x="247958" y="2828988"/>
                </a:moveTo>
                <a:cubicBezTo>
                  <a:pt x="252218" y="2828988"/>
                  <a:pt x="256212" y="2829786"/>
                  <a:pt x="259673" y="2831516"/>
                </a:cubicBezTo>
                <a:cubicBezTo>
                  <a:pt x="263400" y="2833114"/>
                  <a:pt x="266462" y="2835243"/>
                  <a:pt x="268991" y="2837906"/>
                </a:cubicBezTo>
                <a:cubicBezTo>
                  <a:pt x="271653" y="2840568"/>
                  <a:pt x="273650" y="2843764"/>
                  <a:pt x="275114" y="2847357"/>
                </a:cubicBezTo>
                <a:cubicBezTo>
                  <a:pt x="276578" y="2850952"/>
                  <a:pt x="277377" y="2854678"/>
                  <a:pt x="277377" y="2858806"/>
                </a:cubicBezTo>
                <a:cubicBezTo>
                  <a:pt x="277377" y="2862933"/>
                  <a:pt x="276578" y="2866926"/>
                  <a:pt x="275114" y="2870520"/>
                </a:cubicBezTo>
                <a:cubicBezTo>
                  <a:pt x="273650" y="2874114"/>
                  <a:pt x="271520" y="2877176"/>
                  <a:pt x="268991" y="2879838"/>
                </a:cubicBezTo>
                <a:cubicBezTo>
                  <a:pt x="266328" y="2882501"/>
                  <a:pt x="263267" y="2884631"/>
                  <a:pt x="259673" y="2886095"/>
                </a:cubicBezTo>
                <a:cubicBezTo>
                  <a:pt x="256078" y="2887559"/>
                  <a:pt x="252218" y="2888359"/>
                  <a:pt x="247958" y="2888359"/>
                </a:cubicBezTo>
                <a:cubicBezTo>
                  <a:pt x="239040" y="2888359"/>
                  <a:pt x="231718" y="2885429"/>
                  <a:pt x="226127" y="2879838"/>
                </a:cubicBezTo>
                <a:cubicBezTo>
                  <a:pt x="220537" y="2874247"/>
                  <a:pt x="217742" y="2867192"/>
                  <a:pt x="217742" y="2858673"/>
                </a:cubicBezTo>
                <a:cubicBezTo>
                  <a:pt x="217742" y="2850420"/>
                  <a:pt x="220537" y="2843363"/>
                  <a:pt x="226127" y="2837640"/>
                </a:cubicBezTo>
                <a:cubicBezTo>
                  <a:pt x="231718" y="2831916"/>
                  <a:pt x="238906" y="2828988"/>
                  <a:pt x="247958" y="2828988"/>
                </a:cubicBezTo>
                <a:close/>
                <a:moveTo>
                  <a:pt x="30315" y="2828988"/>
                </a:moveTo>
                <a:cubicBezTo>
                  <a:pt x="34575" y="2828988"/>
                  <a:pt x="38569" y="2829786"/>
                  <a:pt x="42030" y="2831516"/>
                </a:cubicBezTo>
                <a:cubicBezTo>
                  <a:pt x="45757" y="2833114"/>
                  <a:pt x="48819" y="2835243"/>
                  <a:pt x="51348" y="2837906"/>
                </a:cubicBezTo>
                <a:cubicBezTo>
                  <a:pt x="54010" y="2840568"/>
                  <a:pt x="56007" y="2843764"/>
                  <a:pt x="57471" y="2847357"/>
                </a:cubicBezTo>
                <a:cubicBezTo>
                  <a:pt x="58935" y="2850952"/>
                  <a:pt x="59734" y="2854678"/>
                  <a:pt x="59734" y="2858806"/>
                </a:cubicBezTo>
                <a:cubicBezTo>
                  <a:pt x="59734" y="2862933"/>
                  <a:pt x="58935" y="2866926"/>
                  <a:pt x="57471" y="2870520"/>
                </a:cubicBezTo>
                <a:cubicBezTo>
                  <a:pt x="56007" y="2874114"/>
                  <a:pt x="53877" y="2877176"/>
                  <a:pt x="51348" y="2879838"/>
                </a:cubicBezTo>
                <a:cubicBezTo>
                  <a:pt x="48685" y="2882501"/>
                  <a:pt x="45624" y="2884631"/>
                  <a:pt x="42030" y="2886095"/>
                </a:cubicBezTo>
                <a:cubicBezTo>
                  <a:pt x="38436" y="2887559"/>
                  <a:pt x="34575" y="2888359"/>
                  <a:pt x="30315" y="2888359"/>
                </a:cubicBezTo>
                <a:cubicBezTo>
                  <a:pt x="21397" y="2888359"/>
                  <a:pt x="14076" y="2885429"/>
                  <a:pt x="8485" y="2879838"/>
                </a:cubicBezTo>
                <a:cubicBezTo>
                  <a:pt x="2894" y="2874247"/>
                  <a:pt x="99" y="2867192"/>
                  <a:pt x="99" y="2858673"/>
                </a:cubicBezTo>
                <a:cubicBezTo>
                  <a:pt x="99" y="2850420"/>
                  <a:pt x="2894" y="2843363"/>
                  <a:pt x="8485" y="2837640"/>
                </a:cubicBezTo>
                <a:cubicBezTo>
                  <a:pt x="14076" y="2831916"/>
                  <a:pt x="21263" y="2828988"/>
                  <a:pt x="30315" y="2828988"/>
                </a:cubicBezTo>
                <a:close/>
                <a:moveTo>
                  <a:pt x="10475977" y="2628116"/>
                </a:moveTo>
                <a:cubicBezTo>
                  <a:pt x="10470119" y="2628116"/>
                  <a:pt x="10467589" y="2630111"/>
                  <a:pt x="10465992" y="2631711"/>
                </a:cubicBezTo>
                <a:cubicBezTo>
                  <a:pt x="10463463" y="2634372"/>
                  <a:pt x="10462399" y="2637168"/>
                  <a:pt x="10462399" y="2641161"/>
                </a:cubicBezTo>
                <a:cubicBezTo>
                  <a:pt x="10462399" y="2645288"/>
                  <a:pt x="10463463" y="2648084"/>
                  <a:pt x="10465992" y="2650612"/>
                </a:cubicBezTo>
                <a:cubicBezTo>
                  <a:pt x="10467589" y="2652210"/>
                  <a:pt x="10470119" y="2654073"/>
                  <a:pt x="10475977" y="2654073"/>
                </a:cubicBezTo>
                <a:cubicBezTo>
                  <a:pt x="10478107" y="2654073"/>
                  <a:pt x="10479838" y="2653808"/>
                  <a:pt x="10481302" y="2653141"/>
                </a:cubicBezTo>
                <a:cubicBezTo>
                  <a:pt x="10482899" y="2652609"/>
                  <a:pt x="10484098" y="2651810"/>
                  <a:pt x="10485029" y="2650745"/>
                </a:cubicBezTo>
                <a:cubicBezTo>
                  <a:pt x="10486094" y="2649547"/>
                  <a:pt x="10487026" y="2648216"/>
                  <a:pt x="10487691" y="2646486"/>
                </a:cubicBezTo>
                <a:cubicBezTo>
                  <a:pt x="10488357" y="2644889"/>
                  <a:pt x="10488623" y="2643025"/>
                  <a:pt x="10488623" y="2641028"/>
                </a:cubicBezTo>
                <a:cubicBezTo>
                  <a:pt x="10488623" y="2639164"/>
                  <a:pt x="10488357" y="2637434"/>
                  <a:pt x="10487691" y="2635836"/>
                </a:cubicBezTo>
                <a:cubicBezTo>
                  <a:pt x="10487026" y="2634238"/>
                  <a:pt x="10486094" y="2632908"/>
                  <a:pt x="10485029" y="2631711"/>
                </a:cubicBezTo>
                <a:cubicBezTo>
                  <a:pt x="10483964" y="2630645"/>
                  <a:pt x="10482633" y="2629712"/>
                  <a:pt x="10481035" y="2629047"/>
                </a:cubicBezTo>
                <a:cubicBezTo>
                  <a:pt x="10479571" y="2628382"/>
                  <a:pt x="10477974" y="2628116"/>
                  <a:pt x="10475977" y="2628116"/>
                </a:cubicBezTo>
                <a:close/>
                <a:moveTo>
                  <a:pt x="10258466" y="2628116"/>
                </a:moveTo>
                <a:cubicBezTo>
                  <a:pt x="10252608" y="2628116"/>
                  <a:pt x="10250078" y="2630111"/>
                  <a:pt x="10248481" y="2631711"/>
                </a:cubicBezTo>
                <a:cubicBezTo>
                  <a:pt x="10245952" y="2634372"/>
                  <a:pt x="10244887" y="2637168"/>
                  <a:pt x="10244887" y="2641161"/>
                </a:cubicBezTo>
                <a:cubicBezTo>
                  <a:pt x="10244887" y="2645288"/>
                  <a:pt x="10245952" y="2648084"/>
                  <a:pt x="10248481" y="2650612"/>
                </a:cubicBezTo>
                <a:cubicBezTo>
                  <a:pt x="10250078" y="2652210"/>
                  <a:pt x="10252608" y="2654073"/>
                  <a:pt x="10258466" y="2654073"/>
                </a:cubicBezTo>
                <a:cubicBezTo>
                  <a:pt x="10260462" y="2654073"/>
                  <a:pt x="10262192" y="2653808"/>
                  <a:pt x="10263790" y="2653141"/>
                </a:cubicBezTo>
                <a:cubicBezTo>
                  <a:pt x="10265388" y="2652609"/>
                  <a:pt x="10266586" y="2651810"/>
                  <a:pt x="10267517" y="2650745"/>
                </a:cubicBezTo>
                <a:cubicBezTo>
                  <a:pt x="10268583" y="2649547"/>
                  <a:pt x="10269515" y="2648216"/>
                  <a:pt x="10270180" y="2646486"/>
                </a:cubicBezTo>
                <a:cubicBezTo>
                  <a:pt x="10270845" y="2644889"/>
                  <a:pt x="10271112" y="2643025"/>
                  <a:pt x="10271112" y="2641028"/>
                </a:cubicBezTo>
                <a:cubicBezTo>
                  <a:pt x="10271112" y="2639164"/>
                  <a:pt x="10270845" y="2637434"/>
                  <a:pt x="10270180" y="2635836"/>
                </a:cubicBezTo>
                <a:cubicBezTo>
                  <a:pt x="10269515" y="2634238"/>
                  <a:pt x="10268583" y="2632908"/>
                  <a:pt x="10267517" y="2631711"/>
                </a:cubicBezTo>
                <a:cubicBezTo>
                  <a:pt x="10266452" y="2630645"/>
                  <a:pt x="10265121" y="2629712"/>
                  <a:pt x="10263524" y="2629047"/>
                </a:cubicBezTo>
                <a:cubicBezTo>
                  <a:pt x="10262060" y="2628382"/>
                  <a:pt x="10260462" y="2628116"/>
                  <a:pt x="10258466" y="2628116"/>
                </a:cubicBezTo>
                <a:close/>
                <a:moveTo>
                  <a:pt x="10040820" y="2628116"/>
                </a:moveTo>
                <a:cubicBezTo>
                  <a:pt x="10034962" y="2628116"/>
                  <a:pt x="10032433" y="2630111"/>
                  <a:pt x="10030835" y="2631711"/>
                </a:cubicBezTo>
                <a:cubicBezTo>
                  <a:pt x="10028306" y="2634372"/>
                  <a:pt x="10027242" y="2637168"/>
                  <a:pt x="10027242" y="2641161"/>
                </a:cubicBezTo>
                <a:cubicBezTo>
                  <a:pt x="10027242" y="2645288"/>
                  <a:pt x="10028306" y="2648084"/>
                  <a:pt x="10030835" y="2650612"/>
                </a:cubicBezTo>
                <a:cubicBezTo>
                  <a:pt x="10032433" y="2652210"/>
                  <a:pt x="10034962" y="2654073"/>
                  <a:pt x="10040820" y="2654073"/>
                </a:cubicBezTo>
                <a:cubicBezTo>
                  <a:pt x="10042817" y="2654073"/>
                  <a:pt x="10044681" y="2653808"/>
                  <a:pt x="10046145" y="2653141"/>
                </a:cubicBezTo>
                <a:cubicBezTo>
                  <a:pt x="10047742" y="2652609"/>
                  <a:pt x="10048941" y="2651810"/>
                  <a:pt x="10049872" y="2650745"/>
                </a:cubicBezTo>
                <a:cubicBezTo>
                  <a:pt x="10050937" y="2649547"/>
                  <a:pt x="10051869" y="2648216"/>
                  <a:pt x="10052534" y="2646486"/>
                </a:cubicBezTo>
                <a:cubicBezTo>
                  <a:pt x="10053333" y="2644889"/>
                  <a:pt x="10053599" y="2643025"/>
                  <a:pt x="10053599" y="2641028"/>
                </a:cubicBezTo>
                <a:cubicBezTo>
                  <a:pt x="10053599" y="2639164"/>
                  <a:pt x="10053200" y="2637434"/>
                  <a:pt x="10052534" y="2635836"/>
                </a:cubicBezTo>
                <a:cubicBezTo>
                  <a:pt x="10051869" y="2634238"/>
                  <a:pt x="10050937" y="2632908"/>
                  <a:pt x="10049872" y="2631711"/>
                </a:cubicBezTo>
                <a:cubicBezTo>
                  <a:pt x="10048807" y="2630645"/>
                  <a:pt x="10047476" y="2629712"/>
                  <a:pt x="10045878" y="2629047"/>
                </a:cubicBezTo>
                <a:cubicBezTo>
                  <a:pt x="10044414" y="2628382"/>
                  <a:pt x="10042817" y="2628116"/>
                  <a:pt x="10040820" y="2628116"/>
                </a:cubicBezTo>
                <a:close/>
                <a:moveTo>
                  <a:pt x="9823176" y="2628116"/>
                </a:moveTo>
                <a:cubicBezTo>
                  <a:pt x="9817318" y="2628116"/>
                  <a:pt x="9814788" y="2630111"/>
                  <a:pt x="9813191" y="2631711"/>
                </a:cubicBezTo>
                <a:cubicBezTo>
                  <a:pt x="9810662" y="2634372"/>
                  <a:pt x="9809597" y="2637168"/>
                  <a:pt x="9809597" y="2641161"/>
                </a:cubicBezTo>
                <a:cubicBezTo>
                  <a:pt x="9809597" y="2645288"/>
                  <a:pt x="9810662" y="2648084"/>
                  <a:pt x="9813191" y="2650612"/>
                </a:cubicBezTo>
                <a:cubicBezTo>
                  <a:pt x="9814788" y="2652210"/>
                  <a:pt x="9817318" y="2654073"/>
                  <a:pt x="9823176" y="2654073"/>
                </a:cubicBezTo>
                <a:cubicBezTo>
                  <a:pt x="9825173" y="2654073"/>
                  <a:pt x="9827036" y="2653808"/>
                  <a:pt x="9828501" y="2653141"/>
                </a:cubicBezTo>
                <a:cubicBezTo>
                  <a:pt x="9830098" y="2652609"/>
                  <a:pt x="9831296" y="2651810"/>
                  <a:pt x="9832227" y="2650745"/>
                </a:cubicBezTo>
                <a:cubicBezTo>
                  <a:pt x="9833293" y="2649547"/>
                  <a:pt x="9834225" y="2648216"/>
                  <a:pt x="9834890" y="2646486"/>
                </a:cubicBezTo>
                <a:cubicBezTo>
                  <a:pt x="9835689" y="2644889"/>
                  <a:pt x="9835955" y="2643025"/>
                  <a:pt x="9835955" y="2641028"/>
                </a:cubicBezTo>
                <a:cubicBezTo>
                  <a:pt x="9835955" y="2639164"/>
                  <a:pt x="9835555" y="2637434"/>
                  <a:pt x="9834890" y="2635836"/>
                </a:cubicBezTo>
                <a:cubicBezTo>
                  <a:pt x="9834225" y="2634238"/>
                  <a:pt x="9833293" y="2632908"/>
                  <a:pt x="9832227" y="2631711"/>
                </a:cubicBezTo>
                <a:cubicBezTo>
                  <a:pt x="9831162" y="2630645"/>
                  <a:pt x="9829831" y="2629712"/>
                  <a:pt x="9828234" y="2629047"/>
                </a:cubicBezTo>
                <a:cubicBezTo>
                  <a:pt x="9826770" y="2628382"/>
                  <a:pt x="9825173" y="2628116"/>
                  <a:pt x="9823176" y="2628116"/>
                </a:cubicBezTo>
                <a:close/>
                <a:moveTo>
                  <a:pt x="9605531" y="2628116"/>
                </a:moveTo>
                <a:cubicBezTo>
                  <a:pt x="9599673" y="2628116"/>
                  <a:pt x="9597143" y="2630111"/>
                  <a:pt x="9595546" y="2631711"/>
                </a:cubicBezTo>
                <a:cubicBezTo>
                  <a:pt x="9593017" y="2634372"/>
                  <a:pt x="9591952" y="2637168"/>
                  <a:pt x="9591952" y="2641161"/>
                </a:cubicBezTo>
                <a:cubicBezTo>
                  <a:pt x="9591952" y="2645288"/>
                  <a:pt x="9593017" y="2648084"/>
                  <a:pt x="9595546" y="2650612"/>
                </a:cubicBezTo>
                <a:cubicBezTo>
                  <a:pt x="9597143" y="2652210"/>
                  <a:pt x="9599673" y="2654073"/>
                  <a:pt x="9605531" y="2654073"/>
                </a:cubicBezTo>
                <a:cubicBezTo>
                  <a:pt x="9607660" y="2654073"/>
                  <a:pt x="9609391" y="2653808"/>
                  <a:pt x="9610855" y="2653141"/>
                </a:cubicBezTo>
                <a:cubicBezTo>
                  <a:pt x="9612319" y="2652609"/>
                  <a:pt x="9613651" y="2651810"/>
                  <a:pt x="9614582" y="2650745"/>
                </a:cubicBezTo>
                <a:cubicBezTo>
                  <a:pt x="9615647" y="2649547"/>
                  <a:pt x="9616579" y="2648216"/>
                  <a:pt x="9617245" y="2646486"/>
                </a:cubicBezTo>
                <a:cubicBezTo>
                  <a:pt x="9618044" y="2644889"/>
                  <a:pt x="9618309" y="2643025"/>
                  <a:pt x="9618309" y="2641028"/>
                </a:cubicBezTo>
                <a:cubicBezTo>
                  <a:pt x="9618309" y="2639164"/>
                  <a:pt x="9617910" y="2637434"/>
                  <a:pt x="9617245" y="2635836"/>
                </a:cubicBezTo>
                <a:cubicBezTo>
                  <a:pt x="9616579" y="2634238"/>
                  <a:pt x="9615647" y="2632908"/>
                  <a:pt x="9614582" y="2631711"/>
                </a:cubicBezTo>
                <a:cubicBezTo>
                  <a:pt x="9613517" y="2630645"/>
                  <a:pt x="9612186" y="2629712"/>
                  <a:pt x="9610589" y="2629047"/>
                </a:cubicBezTo>
                <a:cubicBezTo>
                  <a:pt x="9609124" y="2628382"/>
                  <a:pt x="9607394" y="2628116"/>
                  <a:pt x="9605531" y="2628116"/>
                </a:cubicBezTo>
                <a:close/>
                <a:moveTo>
                  <a:pt x="9387885" y="2628116"/>
                </a:moveTo>
                <a:cubicBezTo>
                  <a:pt x="9382027" y="2628116"/>
                  <a:pt x="9379497" y="2630111"/>
                  <a:pt x="9377900" y="2631711"/>
                </a:cubicBezTo>
                <a:cubicBezTo>
                  <a:pt x="9375371" y="2634372"/>
                  <a:pt x="9374307" y="2637168"/>
                  <a:pt x="9374307" y="2641161"/>
                </a:cubicBezTo>
                <a:cubicBezTo>
                  <a:pt x="9374307" y="2645288"/>
                  <a:pt x="9375371" y="2648084"/>
                  <a:pt x="9377900" y="2650612"/>
                </a:cubicBezTo>
                <a:cubicBezTo>
                  <a:pt x="9379497" y="2652210"/>
                  <a:pt x="9382027" y="2654073"/>
                  <a:pt x="9387885" y="2654073"/>
                </a:cubicBezTo>
                <a:cubicBezTo>
                  <a:pt x="9390015" y="2654073"/>
                  <a:pt x="9391746" y="2653808"/>
                  <a:pt x="9393210" y="2653141"/>
                </a:cubicBezTo>
                <a:cubicBezTo>
                  <a:pt x="9394674" y="2652609"/>
                  <a:pt x="9396005" y="2651810"/>
                  <a:pt x="9396937" y="2650745"/>
                </a:cubicBezTo>
                <a:cubicBezTo>
                  <a:pt x="9398002" y="2649547"/>
                  <a:pt x="9398934" y="2648216"/>
                  <a:pt x="9399599" y="2646486"/>
                </a:cubicBezTo>
                <a:cubicBezTo>
                  <a:pt x="9400398" y="2644889"/>
                  <a:pt x="9400664" y="2643025"/>
                  <a:pt x="9400664" y="2641028"/>
                </a:cubicBezTo>
                <a:cubicBezTo>
                  <a:pt x="9400664" y="2639164"/>
                  <a:pt x="9400265" y="2637434"/>
                  <a:pt x="9399599" y="2635836"/>
                </a:cubicBezTo>
                <a:cubicBezTo>
                  <a:pt x="9398934" y="2634238"/>
                  <a:pt x="9398002" y="2632908"/>
                  <a:pt x="9396937" y="2631711"/>
                </a:cubicBezTo>
                <a:cubicBezTo>
                  <a:pt x="9395872" y="2630645"/>
                  <a:pt x="9394541" y="2629712"/>
                  <a:pt x="9392943" y="2629047"/>
                </a:cubicBezTo>
                <a:cubicBezTo>
                  <a:pt x="9391479" y="2628382"/>
                  <a:pt x="9389749" y="2628116"/>
                  <a:pt x="9387885" y="2628116"/>
                </a:cubicBezTo>
                <a:close/>
                <a:moveTo>
                  <a:pt x="9170374" y="2628116"/>
                </a:moveTo>
                <a:cubicBezTo>
                  <a:pt x="9164649" y="2628116"/>
                  <a:pt x="9161986" y="2630111"/>
                  <a:pt x="9160389" y="2631711"/>
                </a:cubicBezTo>
                <a:cubicBezTo>
                  <a:pt x="9157860" y="2634372"/>
                  <a:pt x="9156795" y="2637168"/>
                  <a:pt x="9156795" y="2641161"/>
                </a:cubicBezTo>
                <a:cubicBezTo>
                  <a:pt x="9156795" y="2645288"/>
                  <a:pt x="9157860" y="2648084"/>
                  <a:pt x="9160389" y="2650612"/>
                </a:cubicBezTo>
                <a:cubicBezTo>
                  <a:pt x="9161986" y="2652210"/>
                  <a:pt x="9164516" y="2654073"/>
                  <a:pt x="9170374" y="2654073"/>
                </a:cubicBezTo>
                <a:cubicBezTo>
                  <a:pt x="9172370" y="2654073"/>
                  <a:pt x="9174100" y="2653808"/>
                  <a:pt x="9175698" y="2653141"/>
                </a:cubicBezTo>
                <a:cubicBezTo>
                  <a:pt x="9177163" y="2652609"/>
                  <a:pt x="9178494" y="2651810"/>
                  <a:pt x="9179425" y="2650745"/>
                </a:cubicBezTo>
                <a:cubicBezTo>
                  <a:pt x="9180491" y="2649547"/>
                  <a:pt x="9181422" y="2648216"/>
                  <a:pt x="9182088" y="2646486"/>
                </a:cubicBezTo>
                <a:cubicBezTo>
                  <a:pt x="9182887" y="2644889"/>
                  <a:pt x="9183152" y="2643025"/>
                  <a:pt x="9183152" y="2641028"/>
                </a:cubicBezTo>
                <a:cubicBezTo>
                  <a:pt x="9183152" y="2639164"/>
                  <a:pt x="9182753" y="2637434"/>
                  <a:pt x="9182088" y="2635836"/>
                </a:cubicBezTo>
                <a:cubicBezTo>
                  <a:pt x="9181422" y="2634238"/>
                  <a:pt x="9180491" y="2632908"/>
                  <a:pt x="9179425" y="2631711"/>
                </a:cubicBezTo>
                <a:cubicBezTo>
                  <a:pt x="9178360" y="2630645"/>
                  <a:pt x="9177029" y="2629712"/>
                  <a:pt x="9175432" y="2629047"/>
                </a:cubicBezTo>
                <a:cubicBezTo>
                  <a:pt x="9173967" y="2628382"/>
                  <a:pt x="9172237" y="2628116"/>
                  <a:pt x="9170374" y="2628116"/>
                </a:cubicBezTo>
                <a:close/>
                <a:moveTo>
                  <a:pt x="8952728" y="2628116"/>
                </a:moveTo>
                <a:cubicBezTo>
                  <a:pt x="8947003" y="2628116"/>
                  <a:pt x="8944340" y="2630111"/>
                  <a:pt x="8942743" y="2631711"/>
                </a:cubicBezTo>
                <a:cubicBezTo>
                  <a:pt x="8940214" y="2634372"/>
                  <a:pt x="8939150" y="2637168"/>
                  <a:pt x="8939150" y="2641161"/>
                </a:cubicBezTo>
                <a:cubicBezTo>
                  <a:pt x="8939150" y="2645288"/>
                  <a:pt x="8940214" y="2648084"/>
                  <a:pt x="8942743" y="2650612"/>
                </a:cubicBezTo>
                <a:cubicBezTo>
                  <a:pt x="8944340" y="2652210"/>
                  <a:pt x="8946870" y="2654073"/>
                  <a:pt x="8952728" y="2654073"/>
                </a:cubicBezTo>
                <a:cubicBezTo>
                  <a:pt x="8954725" y="2654073"/>
                  <a:pt x="8956589" y="2653808"/>
                  <a:pt x="8958053" y="2653141"/>
                </a:cubicBezTo>
                <a:cubicBezTo>
                  <a:pt x="8959517" y="2652609"/>
                  <a:pt x="8960849" y="2651810"/>
                  <a:pt x="8961780" y="2650745"/>
                </a:cubicBezTo>
                <a:cubicBezTo>
                  <a:pt x="8962845" y="2649547"/>
                  <a:pt x="8963777" y="2648216"/>
                  <a:pt x="8964442" y="2646486"/>
                </a:cubicBezTo>
                <a:cubicBezTo>
                  <a:pt x="8965241" y="2644889"/>
                  <a:pt x="8965507" y="2643025"/>
                  <a:pt x="8965507" y="2641028"/>
                </a:cubicBezTo>
                <a:cubicBezTo>
                  <a:pt x="8965507" y="2639164"/>
                  <a:pt x="8965108" y="2637434"/>
                  <a:pt x="8964442" y="2635836"/>
                </a:cubicBezTo>
                <a:cubicBezTo>
                  <a:pt x="8963777" y="2634238"/>
                  <a:pt x="8962845" y="2632908"/>
                  <a:pt x="8961780" y="2631711"/>
                </a:cubicBezTo>
                <a:cubicBezTo>
                  <a:pt x="8960715" y="2630645"/>
                  <a:pt x="8959384" y="2629712"/>
                  <a:pt x="8957786" y="2629047"/>
                </a:cubicBezTo>
                <a:cubicBezTo>
                  <a:pt x="8956322" y="2628382"/>
                  <a:pt x="8954592" y="2628116"/>
                  <a:pt x="8952728" y="2628116"/>
                </a:cubicBezTo>
                <a:close/>
                <a:moveTo>
                  <a:pt x="8735083" y="2628116"/>
                </a:moveTo>
                <a:cubicBezTo>
                  <a:pt x="8729358" y="2628116"/>
                  <a:pt x="8726695" y="2630111"/>
                  <a:pt x="8725098" y="2631711"/>
                </a:cubicBezTo>
                <a:cubicBezTo>
                  <a:pt x="8722569" y="2634372"/>
                  <a:pt x="8721504" y="2637168"/>
                  <a:pt x="8721504" y="2641161"/>
                </a:cubicBezTo>
                <a:cubicBezTo>
                  <a:pt x="8721504" y="2645288"/>
                  <a:pt x="8722569" y="2648084"/>
                  <a:pt x="8725098" y="2650612"/>
                </a:cubicBezTo>
                <a:cubicBezTo>
                  <a:pt x="8726695" y="2652210"/>
                  <a:pt x="8729225" y="2654073"/>
                  <a:pt x="8735083" y="2654073"/>
                </a:cubicBezTo>
                <a:cubicBezTo>
                  <a:pt x="8737079" y="2654073"/>
                  <a:pt x="8738943" y="2653808"/>
                  <a:pt x="8740407" y="2653141"/>
                </a:cubicBezTo>
                <a:cubicBezTo>
                  <a:pt x="8741872" y="2652609"/>
                  <a:pt x="8743203" y="2651810"/>
                  <a:pt x="8744134" y="2650745"/>
                </a:cubicBezTo>
                <a:cubicBezTo>
                  <a:pt x="8745200" y="2649547"/>
                  <a:pt x="8746132" y="2648216"/>
                  <a:pt x="8746797" y="2646486"/>
                </a:cubicBezTo>
                <a:cubicBezTo>
                  <a:pt x="8747596" y="2644889"/>
                  <a:pt x="8747862" y="2643025"/>
                  <a:pt x="8747862" y="2641028"/>
                </a:cubicBezTo>
                <a:cubicBezTo>
                  <a:pt x="8747862" y="2639164"/>
                  <a:pt x="8747462" y="2637434"/>
                  <a:pt x="8746797" y="2635836"/>
                </a:cubicBezTo>
                <a:cubicBezTo>
                  <a:pt x="8746132" y="2634238"/>
                  <a:pt x="8745200" y="2632908"/>
                  <a:pt x="8744134" y="2631711"/>
                </a:cubicBezTo>
                <a:cubicBezTo>
                  <a:pt x="8743069" y="2630645"/>
                  <a:pt x="8741738" y="2629712"/>
                  <a:pt x="8740141" y="2629047"/>
                </a:cubicBezTo>
                <a:cubicBezTo>
                  <a:pt x="8738677" y="2628382"/>
                  <a:pt x="8736946" y="2628116"/>
                  <a:pt x="8735083" y="2628116"/>
                </a:cubicBezTo>
                <a:close/>
                <a:moveTo>
                  <a:pt x="8517438" y="2628116"/>
                </a:moveTo>
                <a:cubicBezTo>
                  <a:pt x="8511713" y="2628116"/>
                  <a:pt x="8509051" y="2630111"/>
                  <a:pt x="8507453" y="2631711"/>
                </a:cubicBezTo>
                <a:cubicBezTo>
                  <a:pt x="8504925" y="2634372"/>
                  <a:pt x="8503860" y="2637168"/>
                  <a:pt x="8503860" y="2641161"/>
                </a:cubicBezTo>
                <a:cubicBezTo>
                  <a:pt x="8503860" y="2645288"/>
                  <a:pt x="8504925" y="2648084"/>
                  <a:pt x="8507453" y="2650612"/>
                </a:cubicBezTo>
                <a:cubicBezTo>
                  <a:pt x="8509051" y="2652210"/>
                  <a:pt x="8511581" y="2654073"/>
                  <a:pt x="8517438" y="2654073"/>
                </a:cubicBezTo>
                <a:cubicBezTo>
                  <a:pt x="8519568" y="2654073"/>
                  <a:pt x="8521299" y="2653808"/>
                  <a:pt x="8522763" y="2653141"/>
                </a:cubicBezTo>
                <a:cubicBezTo>
                  <a:pt x="8524227" y="2652609"/>
                  <a:pt x="8525559" y="2651810"/>
                  <a:pt x="8526490" y="2650745"/>
                </a:cubicBezTo>
                <a:cubicBezTo>
                  <a:pt x="8527555" y="2649547"/>
                  <a:pt x="8528487" y="2648216"/>
                  <a:pt x="8529152" y="2646486"/>
                </a:cubicBezTo>
                <a:cubicBezTo>
                  <a:pt x="8529818" y="2644889"/>
                  <a:pt x="8530084" y="2643025"/>
                  <a:pt x="8530084" y="2641028"/>
                </a:cubicBezTo>
                <a:cubicBezTo>
                  <a:pt x="8530084" y="2639164"/>
                  <a:pt x="8529818" y="2637434"/>
                  <a:pt x="8529152" y="2635836"/>
                </a:cubicBezTo>
                <a:cubicBezTo>
                  <a:pt x="8528487" y="2634238"/>
                  <a:pt x="8527555" y="2632908"/>
                  <a:pt x="8526490" y="2631711"/>
                </a:cubicBezTo>
                <a:cubicBezTo>
                  <a:pt x="8525425" y="2630645"/>
                  <a:pt x="8524094" y="2629712"/>
                  <a:pt x="8522496" y="2629047"/>
                </a:cubicBezTo>
                <a:cubicBezTo>
                  <a:pt x="8521032" y="2628382"/>
                  <a:pt x="8519302" y="2628116"/>
                  <a:pt x="8517438" y="2628116"/>
                </a:cubicBezTo>
                <a:close/>
                <a:moveTo>
                  <a:pt x="8299793" y="2628116"/>
                </a:moveTo>
                <a:cubicBezTo>
                  <a:pt x="8294068" y="2628116"/>
                  <a:pt x="8291406" y="2630111"/>
                  <a:pt x="8289809" y="2631711"/>
                </a:cubicBezTo>
                <a:cubicBezTo>
                  <a:pt x="8287280" y="2634372"/>
                  <a:pt x="8286215" y="2637168"/>
                  <a:pt x="8286215" y="2641161"/>
                </a:cubicBezTo>
                <a:cubicBezTo>
                  <a:pt x="8286215" y="2645288"/>
                  <a:pt x="8287280" y="2648084"/>
                  <a:pt x="8289809" y="2650612"/>
                </a:cubicBezTo>
                <a:cubicBezTo>
                  <a:pt x="8291406" y="2652210"/>
                  <a:pt x="8293935" y="2654073"/>
                  <a:pt x="8299793" y="2654073"/>
                </a:cubicBezTo>
                <a:cubicBezTo>
                  <a:pt x="8301923" y="2654073"/>
                  <a:pt x="8303653" y="2653808"/>
                  <a:pt x="8305118" y="2653141"/>
                </a:cubicBezTo>
                <a:cubicBezTo>
                  <a:pt x="8306582" y="2652609"/>
                  <a:pt x="8307913" y="2651810"/>
                  <a:pt x="8308844" y="2650745"/>
                </a:cubicBezTo>
                <a:cubicBezTo>
                  <a:pt x="8309910" y="2649547"/>
                  <a:pt x="8310842" y="2648216"/>
                  <a:pt x="8311507" y="2646486"/>
                </a:cubicBezTo>
                <a:cubicBezTo>
                  <a:pt x="8312172" y="2644889"/>
                  <a:pt x="8312439" y="2643025"/>
                  <a:pt x="8312439" y="2641028"/>
                </a:cubicBezTo>
                <a:cubicBezTo>
                  <a:pt x="8312439" y="2639164"/>
                  <a:pt x="8312172" y="2637434"/>
                  <a:pt x="8311507" y="2635836"/>
                </a:cubicBezTo>
                <a:cubicBezTo>
                  <a:pt x="8310842" y="2634238"/>
                  <a:pt x="8309910" y="2632908"/>
                  <a:pt x="8308844" y="2631711"/>
                </a:cubicBezTo>
                <a:cubicBezTo>
                  <a:pt x="8307779" y="2630645"/>
                  <a:pt x="8306448" y="2629712"/>
                  <a:pt x="8304851" y="2629047"/>
                </a:cubicBezTo>
                <a:cubicBezTo>
                  <a:pt x="8303387" y="2628382"/>
                  <a:pt x="8301790" y="2628116"/>
                  <a:pt x="8299793" y="2628116"/>
                </a:cubicBezTo>
                <a:close/>
                <a:moveTo>
                  <a:pt x="8082281" y="2628116"/>
                </a:moveTo>
                <a:cubicBezTo>
                  <a:pt x="8076424" y="2628116"/>
                  <a:pt x="8073894" y="2630111"/>
                  <a:pt x="8072297" y="2631711"/>
                </a:cubicBezTo>
                <a:cubicBezTo>
                  <a:pt x="8069768" y="2634372"/>
                  <a:pt x="8068703" y="2637168"/>
                  <a:pt x="8068703" y="2641161"/>
                </a:cubicBezTo>
                <a:cubicBezTo>
                  <a:pt x="8068703" y="2645288"/>
                  <a:pt x="8069768" y="2648084"/>
                  <a:pt x="8072297" y="2650612"/>
                </a:cubicBezTo>
                <a:cubicBezTo>
                  <a:pt x="8073894" y="2652210"/>
                  <a:pt x="8076424" y="2654073"/>
                  <a:pt x="8082281" y="2654073"/>
                </a:cubicBezTo>
                <a:cubicBezTo>
                  <a:pt x="8084277" y="2654073"/>
                  <a:pt x="8086007" y="2653808"/>
                  <a:pt x="8087605" y="2653141"/>
                </a:cubicBezTo>
                <a:cubicBezTo>
                  <a:pt x="8089069" y="2652609"/>
                  <a:pt x="8090401" y="2651810"/>
                  <a:pt x="8091332" y="2650745"/>
                </a:cubicBezTo>
                <a:cubicBezTo>
                  <a:pt x="8092397" y="2649547"/>
                  <a:pt x="8093329" y="2648216"/>
                  <a:pt x="8093994" y="2646486"/>
                </a:cubicBezTo>
                <a:cubicBezTo>
                  <a:pt x="8094660" y="2644889"/>
                  <a:pt x="8094926" y="2643025"/>
                  <a:pt x="8094926" y="2641028"/>
                </a:cubicBezTo>
                <a:cubicBezTo>
                  <a:pt x="8094926" y="2639164"/>
                  <a:pt x="8094660" y="2637434"/>
                  <a:pt x="8093994" y="2635836"/>
                </a:cubicBezTo>
                <a:cubicBezTo>
                  <a:pt x="8093329" y="2634238"/>
                  <a:pt x="8092397" y="2632908"/>
                  <a:pt x="8091332" y="2631711"/>
                </a:cubicBezTo>
                <a:cubicBezTo>
                  <a:pt x="8090267" y="2630645"/>
                  <a:pt x="8088936" y="2629712"/>
                  <a:pt x="8087338" y="2629047"/>
                </a:cubicBezTo>
                <a:cubicBezTo>
                  <a:pt x="8085874" y="2628382"/>
                  <a:pt x="8084277" y="2628116"/>
                  <a:pt x="8082281" y="2628116"/>
                </a:cubicBezTo>
                <a:close/>
                <a:moveTo>
                  <a:pt x="7864636" y="2628116"/>
                </a:moveTo>
                <a:cubicBezTo>
                  <a:pt x="7858779" y="2628116"/>
                  <a:pt x="7856249" y="2630111"/>
                  <a:pt x="7854652" y="2631711"/>
                </a:cubicBezTo>
                <a:cubicBezTo>
                  <a:pt x="7852123" y="2634372"/>
                  <a:pt x="7851058" y="2637168"/>
                  <a:pt x="7851058" y="2641161"/>
                </a:cubicBezTo>
                <a:cubicBezTo>
                  <a:pt x="7851058" y="2645288"/>
                  <a:pt x="7852123" y="2648084"/>
                  <a:pt x="7854652" y="2650612"/>
                </a:cubicBezTo>
                <a:cubicBezTo>
                  <a:pt x="7856249" y="2652210"/>
                  <a:pt x="7858779" y="2654073"/>
                  <a:pt x="7864636" y="2654073"/>
                </a:cubicBezTo>
                <a:cubicBezTo>
                  <a:pt x="7866633" y="2654073"/>
                  <a:pt x="7868363" y="2653808"/>
                  <a:pt x="7869961" y="2653141"/>
                </a:cubicBezTo>
                <a:cubicBezTo>
                  <a:pt x="7871425" y="2652609"/>
                  <a:pt x="7872756" y="2651810"/>
                  <a:pt x="7873687" y="2650745"/>
                </a:cubicBezTo>
                <a:cubicBezTo>
                  <a:pt x="7874753" y="2649547"/>
                  <a:pt x="7875685" y="2648216"/>
                  <a:pt x="7876350" y="2646486"/>
                </a:cubicBezTo>
                <a:cubicBezTo>
                  <a:pt x="7877015" y="2644889"/>
                  <a:pt x="7877282" y="2643025"/>
                  <a:pt x="7877282" y="2641028"/>
                </a:cubicBezTo>
                <a:cubicBezTo>
                  <a:pt x="7877282" y="2639164"/>
                  <a:pt x="7877015" y="2637434"/>
                  <a:pt x="7876350" y="2635836"/>
                </a:cubicBezTo>
                <a:cubicBezTo>
                  <a:pt x="7875685" y="2634238"/>
                  <a:pt x="7874753" y="2632908"/>
                  <a:pt x="7873687" y="2631711"/>
                </a:cubicBezTo>
                <a:cubicBezTo>
                  <a:pt x="7872623" y="2630645"/>
                  <a:pt x="7871291" y="2629712"/>
                  <a:pt x="7869694" y="2629047"/>
                </a:cubicBezTo>
                <a:cubicBezTo>
                  <a:pt x="7868230" y="2628382"/>
                  <a:pt x="7866633" y="2628116"/>
                  <a:pt x="7864636" y="2628116"/>
                </a:cubicBezTo>
                <a:close/>
                <a:moveTo>
                  <a:pt x="7646991" y="2628116"/>
                </a:moveTo>
                <a:cubicBezTo>
                  <a:pt x="7641134" y="2628116"/>
                  <a:pt x="7638604" y="2630111"/>
                  <a:pt x="7637007" y="2631711"/>
                </a:cubicBezTo>
                <a:cubicBezTo>
                  <a:pt x="7634478" y="2634372"/>
                  <a:pt x="7633413" y="2637168"/>
                  <a:pt x="7633413" y="2641161"/>
                </a:cubicBezTo>
                <a:cubicBezTo>
                  <a:pt x="7633413" y="2645288"/>
                  <a:pt x="7634478" y="2648084"/>
                  <a:pt x="7637007" y="2650612"/>
                </a:cubicBezTo>
                <a:cubicBezTo>
                  <a:pt x="7638604" y="2652210"/>
                  <a:pt x="7641134" y="2654073"/>
                  <a:pt x="7646991" y="2654073"/>
                </a:cubicBezTo>
                <a:cubicBezTo>
                  <a:pt x="7648987" y="2654073"/>
                  <a:pt x="7650851" y="2653808"/>
                  <a:pt x="7652315" y="2653141"/>
                </a:cubicBezTo>
                <a:cubicBezTo>
                  <a:pt x="7653780" y="2652609"/>
                  <a:pt x="7655111" y="2651810"/>
                  <a:pt x="7656042" y="2650745"/>
                </a:cubicBezTo>
                <a:cubicBezTo>
                  <a:pt x="7657108" y="2649547"/>
                  <a:pt x="7658039" y="2648216"/>
                  <a:pt x="7658705" y="2646486"/>
                </a:cubicBezTo>
                <a:cubicBezTo>
                  <a:pt x="7659504" y="2644889"/>
                  <a:pt x="7659769" y="2643025"/>
                  <a:pt x="7659769" y="2641028"/>
                </a:cubicBezTo>
                <a:cubicBezTo>
                  <a:pt x="7659769" y="2639164"/>
                  <a:pt x="7659370" y="2637434"/>
                  <a:pt x="7658705" y="2635836"/>
                </a:cubicBezTo>
                <a:cubicBezTo>
                  <a:pt x="7658039" y="2634238"/>
                  <a:pt x="7657108" y="2632908"/>
                  <a:pt x="7656042" y="2631711"/>
                </a:cubicBezTo>
                <a:cubicBezTo>
                  <a:pt x="7654977" y="2630645"/>
                  <a:pt x="7653646" y="2629712"/>
                  <a:pt x="7652049" y="2629047"/>
                </a:cubicBezTo>
                <a:cubicBezTo>
                  <a:pt x="7650584" y="2628382"/>
                  <a:pt x="7648987" y="2628116"/>
                  <a:pt x="7646991" y="2628116"/>
                </a:cubicBezTo>
                <a:close/>
                <a:moveTo>
                  <a:pt x="7429345" y="2628116"/>
                </a:moveTo>
                <a:cubicBezTo>
                  <a:pt x="7423488" y="2628116"/>
                  <a:pt x="7420958" y="2630111"/>
                  <a:pt x="7419361" y="2631711"/>
                </a:cubicBezTo>
                <a:cubicBezTo>
                  <a:pt x="7416832" y="2634372"/>
                  <a:pt x="7415768" y="2637168"/>
                  <a:pt x="7415768" y="2641161"/>
                </a:cubicBezTo>
                <a:cubicBezTo>
                  <a:pt x="7415768" y="2645288"/>
                  <a:pt x="7416832" y="2648084"/>
                  <a:pt x="7419361" y="2650612"/>
                </a:cubicBezTo>
                <a:cubicBezTo>
                  <a:pt x="7420958" y="2652210"/>
                  <a:pt x="7423488" y="2654073"/>
                  <a:pt x="7429345" y="2654073"/>
                </a:cubicBezTo>
                <a:cubicBezTo>
                  <a:pt x="7431342" y="2654073"/>
                  <a:pt x="7433206" y="2653808"/>
                  <a:pt x="7434670" y="2653141"/>
                </a:cubicBezTo>
                <a:cubicBezTo>
                  <a:pt x="7436134" y="2652609"/>
                  <a:pt x="7437466" y="2651810"/>
                  <a:pt x="7438397" y="2650745"/>
                </a:cubicBezTo>
                <a:cubicBezTo>
                  <a:pt x="7439462" y="2649547"/>
                  <a:pt x="7440394" y="2648216"/>
                  <a:pt x="7441059" y="2646486"/>
                </a:cubicBezTo>
                <a:cubicBezTo>
                  <a:pt x="7441858" y="2644889"/>
                  <a:pt x="7442124" y="2643025"/>
                  <a:pt x="7442124" y="2641028"/>
                </a:cubicBezTo>
                <a:cubicBezTo>
                  <a:pt x="7442124" y="2639164"/>
                  <a:pt x="7441725" y="2637434"/>
                  <a:pt x="7441059" y="2635836"/>
                </a:cubicBezTo>
                <a:cubicBezTo>
                  <a:pt x="7440394" y="2634238"/>
                  <a:pt x="7439462" y="2632908"/>
                  <a:pt x="7438397" y="2631711"/>
                </a:cubicBezTo>
                <a:cubicBezTo>
                  <a:pt x="7437332" y="2630645"/>
                  <a:pt x="7436001" y="2629712"/>
                  <a:pt x="7434403" y="2629047"/>
                </a:cubicBezTo>
                <a:cubicBezTo>
                  <a:pt x="7432939" y="2628382"/>
                  <a:pt x="7431342" y="2628116"/>
                  <a:pt x="7429345" y="2628116"/>
                </a:cubicBezTo>
                <a:close/>
                <a:moveTo>
                  <a:pt x="7211701" y="2628116"/>
                </a:moveTo>
                <a:cubicBezTo>
                  <a:pt x="7205844" y="2628116"/>
                  <a:pt x="7203314" y="2630111"/>
                  <a:pt x="7201717" y="2631711"/>
                </a:cubicBezTo>
                <a:cubicBezTo>
                  <a:pt x="7199188" y="2634372"/>
                  <a:pt x="7198123" y="2637168"/>
                  <a:pt x="7198123" y="2641161"/>
                </a:cubicBezTo>
                <a:cubicBezTo>
                  <a:pt x="7198123" y="2645288"/>
                  <a:pt x="7199188" y="2648084"/>
                  <a:pt x="7201717" y="2650612"/>
                </a:cubicBezTo>
                <a:cubicBezTo>
                  <a:pt x="7203314" y="2652210"/>
                  <a:pt x="7205844" y="2654073"/>
                  <a:pt x="7211701" y="2654073"/>
                </a:cubicBezTo>
                <a:cubicBezTo>
                  <a:pt x="7213830" y="2654073"/>
                  <a:pt x="7215561" y="2653808"/>
                  <a:pt x="7217026" y="2653141"/>
                </a:cubicBezTo>
                <a:cubicBezTo>
                  <a:pt x="7218490" y="2652609"/>
                  <a:pt x="7219821" y="2651810"/>
                  <a:pt x="7220752" y="2650745"/>
                </a:cubicBezTo>
                <a:cubicBezTo>
                  <a:pt x="7221818" y="2649547"/>
                  <a:pt x="7222750" y="2648216"/>
                  <a:pt x="7223415" y="2646486"/>
                </a:cubicBezTo>
                <a:cubicBezTo>
                  <a:pt x="7224214" y="2644889"/>
                  <a:pt x="7224480" y="2643025"/>
                  <a:pt x="7224480" y="2641028"/>
                </a:cubicBezTo>
                <a:cubicBezTo>
                  <a:pt x="7224480" y="2639164"/>
                  <a:pt x="7224080" y="2637434"/>
                  <a:pt x="7223415" y="2635836"/>
                </a:cubicBezTo>
                <a:cubicBezTo>
                  <a:pt x="7222750" y="2634238"/>
                  <a:pt x="7221818" y="2632908"/>
                  <a:pt x="7220752" y="2631711"/>
                </a:cubicBezTo>
                <a:cubicBezTo>
                  <a:pt x="7219687" y="2630645"/>
                  <a:pt x="7218356" y="2629712"/>
                  <a:pt x="7216759" y="2629047"/>
                </a:cubicBezTo>
                <a:cubicBezTo>
                  <a:pt x="7215295" y="2628382"/>
                  <a:pt x="7213698" y="2628116"/>
                  <a:pt x="7211701" y="2628116"/>
                </a:cubicBezTo>
                <a:close/>
                <a:moveTo>
                  <a:pt x="6994056" y="2628116"/>
                </a:moveTo>
                <a:cubicBezTo>
                  <a:pt x="6988199" y="2628116"/>
                  <a:pt x="6985669" y="2630111"/>
                  <a:pt x="6984072" y="2631711"/>
                </a:cubicBezTo>
                <a:cubicBezTo>
                  <a:pt x="6981543" y="2634372"/>
                  <a:pt x="6980478" y="2637168"/>
                  <a:pt x="6980478" y="2641161"/>
                </a:cubicBezTo>
                <a:cubicBezTo>
                  <a:pt x="6980478" y="2645288"/>
                  <a:pt x="6981543" y="2648084"/>
                  <a:pt x="6984072" y="2650612"/>
                </a:cubicBezTo>
                <a:cubicBezTo>
                  <a:pt x="6985669" y="2652210"/>
                  <a:pt x="6988199" y="2654073"/>
                  <a:pt x="6994056" y="2654073"/>
                </a:cubicBezTo>
                <a:cubicBezTo>
                  <a:pt x="6996185" y="2654073"/>
                  <a:pt x="6997916" y="2653808"/>
                  <a:pt x="6999380" y="2653141"/>
                </a:cubicBezTo>
                <a:cubicBezTo>
                  <a:pt x="7000844" y="2652609"/>
                  <a:pt x="7002176" y="2651810"/>
                  <a:pt x="7003107" y="2650745"/>
                </a:cubicBezTo>
                <a:cubicBezTo>
                  <a:pt x="7004172" y="2649547"/>
                  <a:pt x="7005104" y="2648216"/>
                  <a:pt x="7005769" y="2646486"/>
                </a:cubicBezTo>
                <a:cubicBezTo>
                  <a:pt x="7006568" y="2644889"/>
                  <a:pt x="7006834" y="2643025"/>
                  <a:pt x="7006834" y="2641028"/>
                </a:cubicBezTo>
                <a:cubicBezTo>
                  <a:pt x="7006834" y="2639164"/>
                  <a:pt x="7006435" y="2637434"/>
                  <a:pt x="7005769" y="2635836"/>
                </a:cubicBezTo>
                <a:cubicBezTo>
                  <a:pt x="7005104" y="2634238"/>
                  <a:pt x="7004172" y="2632908"/>
                  <a:pt x="7003107" y="2631711"/>
                </a:cubicBezTo>
                <a:cubicBezTo>
                  <a:pt x="7002042" y="2630645"/>
                  <a:pt x="7000711" y="2629712"/>
                  <a:pt x="6999113" y="2629047"/>
                </a:cubicBezTo>
                <a:cubicBezTo>
                  <a:pt x="6997649" y="2628382"/>
                  <a:pt x="6996052" y="2628116"/>
                  <a:pt x="6994056" y="2628116"/>
                </a:cubicBezTo>
                <a:close/>
                <a:moveTo>
                  <a:pt x="6776544" y="2628116"/>
                </a:moveTo>
                <a:cubicBezTo>
                  <a:pt x="6770687" y="2628116"/>
                  <a:pt x="6768157" y="2630111"/>
                  <a:pt x="6766560" y="2631711"/>
                </a:cubicBezTo>
                <a:cubicBezTo>
                  <a:pt x="6764031" y="2634372"/>
                  <a:pt x="6762966" y="2637168"/>
                  <a:pt x="6762966" y="2641161"/>
                </a:cubicBezTo>
                <a:cubicBezTo>
                  <a:pt x="6762966" y="2645288"/>
                  <a:pt x="6764031" y="2648084"/>
                  <a:pt x="6766560" y="2650612"/>
                </a:cubicBezTo>
                <a:cubicBezTo>
                  <a:pt x="6768157" y="2652210"/>
                  <a:pt x="6770687" y="2654073"/>
                  <a:pt x="6776544" y="2654073"/>
                </a:cubicBezTo>
                <a:cubicBezTo>
                  <a:pt x="6778541" y="2654073"/>
                  <a:pt x="6780270" y="2653808"/>
                  <a:pt x="6781869" y="2653141"/>
                </a:cubicBezTo>
                <a:cubicBezTo>
                  <a:pt x="6783333" y="2652609"/>
                  <a:pt x="6784664" y="2651810"/>
                  <a:pt x="6785595" y="2650745"/>
                </a:cubicBezTo>
                <a:cubicBezTo>
                  <a:pt x="6786661" y="2649547"/>
                  <a:pt x="6787593" y="2648216"/>
                  <a:pt x="6788258" y="2646486"/>
                </a:cubicBezTo>
                <a:cubicBezTo>
                  <a:pt x="6789057" y="2644889"/>
                  <a:pt x="6789323" y="2643025"/>
                  <a:pt x="6789323" y="2641028"/>
                </a:cubicBezTo>
                <a:cubicBezTo>
                  <a:pt x="6789323" y="2639164"/>
                  <a:pt x="6788923" y="2637434"/>
                  <a:pt x="6788258" y="2635836"/>
                </a:cubicBezTo>
                <a:cubicBezTo>
                  <a:pt x="6787593" y="2634238"/>
                  <a:pt x="6786661" y="2632908"/>
                  <a:pt x="6785595" y="2631711"/>
                </a:cubicBezTo>
                <a:cubicBezTo>
                  <a:pt x="6784530" y="2630645"/>
                  <a:pt x="6783199" y="2629712"/>
                  <a:pt x="6781602" y="2629047"/>
                </a:cubicBezTo>
                <a:cubicBezTo>
                  <a:pt x="6780138" y="2628382"/>
                  <a:pt x="6778541" y="2628116"/>
                  <a:pt x="6776544" y="2628116"/>
                </a:cubicBezTo>
                <a:close/>
                <a:moveTo>
                  <a:pt x="6558899" y="2628116"/>
                </a:moveTo>
                <a:cubicBezTo>
                  <a:pt x="6553042" y="2628116"/>
                  <a:pt x="6550512" y="2630111"/>
                  <a:pt x="6548915" y="2631711"/>
                </a:cubicBezTo>
                <a:cubicBezTo>
                  <a:pt x="6546386" y="2634372"/>
                  <a:pt x="6545321" y="2637168"/>
                  <a:pt x="6545321" y="2641161"/>
                </a:cubicBezTo>
                <a:cubicBezTo>
                  <a:pt x="6545321" y="2645288"/>
                  <a:pt x="6546386" y="2648084"/>
                  <a:pt x="6548915" y="2650612"/>
                </a:cubicBezTo>
                <a:cubicBezTo>
                  <a:pt x="6550512" y="2652210"/>
                  <a:pt x="6553042" y="2654073"/>
                  <a:pt x="6558899" y="2654073"/>
                </a:cubicBezTo>
                <a:cubicBezTo>
                  <a:pt x="6560895" y="2654073"/>
                  <a:pt x="6562759" y="2653808"/>
                  <a:pt x="6564223" y="2653141"/>
                </a:cubicBezTo>
                <a:cubicBezTo>
                  <a:pt x="6565687" y="2652609"/>
                  <a:pt x="6567019" y="2651810"/>
                  <a:pt x="6567950" y="2650745"/>
                </a:cubicBezTo>
                <a:cubicBezTo>
                  <a:pt x="6569015" y="2649547"/>
                  <a:pt x="6569947" y="2648216"/>
                  <a:pt x="6570612" y="2646486"/>
                </a:cubicBezTo>
                <a:cubicBezTo>
                  <a:pt x="6571412" y="2644889"/>
                  <a:pt x="6571677" y="2643025"/>
                  <a:pt x="6571677" y="2641028"/>
                </a:cubicBezTo>
                <a:cubicBezTo>
                  <a:pt x="6571677" y="2639164"/>
                  <a:pt x="6571278" y="2637434"/>
                  <a:pt x="6570612" y="2635836"/>
                </a:cubicBezTo>
                <a:cubicBezTo>
                  <a:pt x="6569947" y="2634238"/>
                  <a:pt x="6569015" y="2632908"/>
                  <a:pt x="6567950" y="2631711"/>
                </a:cubicBezTo>
                <a:cubicBezTo>
                  <a:pt x="6566885" y="2630645"/>
                  <a:pt x="6565554" y="2629712"/>
                  <a:pt x="6563956" y="2629047"/>
                </a:cubicBezTo>
                <a:cubicBezTo>
                  <a:pt x="6562492" y="2628382"/>
                  <a:pt x="6560895" y="2628116"/>
                  <a:pt x="6558899" y="2628116"/>
                </a:cubicBezTo>
                <a:close/>
                <a:moveTo>
                  <a:pt x="6341253" y="2628116"/>
                </a:moveTo>
                <a:cubicBezTo>
                  <a:pt x="6335396" y="2628116"/>
                  <a:pt x="6332867" y="2630111"/>
                  <a:pt x="6331270" y="2631711"/>
                </a:cubicBezTo>
                <a:cubicBezTo>
                  <a:pt x="6328740" y="2634372"/>
                  <a:pt x="6327675" y="2637168"/>
                  <a:pt x="6327675" y="2641161"/>
                </a:cubicBezTo>
                <a:cubicBezTo>
                  <a:pt x="6327675" y="2645288"/>
                  <a:pt x="6328740" y="2648084"/>
                  <a:pt x="6331270" y="2650612"/>
                </a:cubicBezTo>
                <a:cubicBezTo>
                  <a:pt x="6332867" y="2652210"/>
                  <a:pt x="6335396" y="2654073"/>
                  <a:pt x="6341253" y="2654073"/>
                </a:cubicBezTo>
                <a:cubicBezTo>
                  <a:pt x="6343250" y="2654073"/>
                  <a:pt x="6345114" y="2653808"/>
                  <a:pt x="6346578" y="2653141"/>
                </a:cubicBezTo>
                <a:cubicBezTo>
                  <a:pt x="6348042" y="2652609"/>
                  <a:pt x="6349373" y="2651810"/>
                  <a:pt x="6350305" y="2650745"/>
                </a:cubicBezTo>
                <a:cubicBezTo>
                  <a:pt x="6351370" y="2649547"/>
                  <a:pt x="6352302" y="2648216"/>
                  <a:pt x="6352968" y="2646486"/>
                </a:cubicBezTo>
                <a:cubicBezTo>
                  <a:pt x="6353766" y="2644889"/>
                  <a:pt x="6354033" y="2643025"/>
                  <a:pt x="6354033" y="2641028"/>
                </a:cubicBezTo>
                <a:cubicBezTo>
                  <a:pt x="6354033" y="2639164"/>
                  <a:pt x="6353633" y="2637434"/>
                  <a:pt x="6352968" y="2635836"/>
                </a:cubicBezTo>
                <a:cubicBezTo>
                  <a:pt x="6352302" y="2634238"/>
                  <a:pt x="6351370" y="2632908"/>
                  <a:pt x="6350305" y="2631711"/>
                </a:cubicBezTo>
                <a:cubicBezTo>
                  <a:pt x="6349241" y="2630645"/>
                  <a:pt x="6347909" y="2629712"/>
                  <a:pt x="6346312" y="2629047"/>
                </a:cubicBezTo>
                <a:cubicBezTo>
                  <a:pt x="6344848" y="2628382"/>
                  <a:pt x="6343250" y="2628116"/>
                  <a:pt x="6341253" y="2628116"/>
                </a:cubicBezTo>
                <a:close/>
                <a:moveTo>
                  <a:pt x="6123608" y="2628116"/>
                </a:moveTo>
                <a:cubicBezTo>
                  <a:pt x="6117751" y="2628116"/>
                  <a:pt x="6115221" y="2630111"/>
                  <a:pt x="6113624" y="2631711"/>
                </a:cubicBezTo>
                <a:cubicBezTo>
                  <a:pt x="6111095" y="2634372"/>
                  <a:pt x="6110030" y="2637168"/>
                  <a:pt x="6110030" y="2641161"/>
                </a:cubicBezTo>
                <a:cubicBezTo>
                  <a:pt x="6110030" y="2645288"/>
                  <a:pt x="6111095" y="2648084"/>
                  <a:pt x="6113624" y="2650612"/>
                </a:cubicBezTo>
                <a:cubicBezTo>
                  <a:pt x="6115221" y="2652210"/>
                  <a:pt x="6117751" y="2654073"/>
                  <a:pt x="6123608" y="2654073"/>
                </a:cubicBezTo>
                <a:cubicBezTo>
                  <a:pt x="6125737" y="2654073"/>
                  <a:pt x="6127468" y="2653808"/>
                  <a:pt x="6128932" y="2653141"/>
                </a:cubicBezTo>
                <a:cubicBezTo>
                  <a:pt x="6130530" y="2652609"/>
                  <a:pt x="6131728" y="2651810"/>
                  <a:pt x="6132659" y="2650745"/>
                </a:cubicBezTo>
                <a:cubicBezTo>
                  <a:pt x="6133724" y="2649547"/>
                  <a:pt x="6134656" y="2648216"/>
                  <a:pt x="6135322" y="2646486"/>
                </a:cubicBezTo>
                <a:cubicBezTo>
                  <a:pt x="6135987" y="2644889"/>
                  <a:pt x="6136387" y="2643025"/>
                  <a:pt x="6136387" y="2641028"/>
                </a:cubicBezTo>
                <a:cubicBezTo>
                  <a:pt x="6136387" y="2639164"/>
                  <a:pt x="6135987" y="2637434"/>
                  <a:pt x="6135322" y="2635836"/>
                </a:cubicBezTo>
                <a:cubicBezTo>
                  <a:pt x="6134656" y="2634238"/>
                  <a:pt x="6133724" y="2632908"/>
                  <a:pt x="6132659" y="2631711"/>
                </a:cubicBezTo>
                <a:cubicBezTo>
                  <a:pt x="6131594" y="2630645"/>
                  <a:pt x="6130263" y="2629712"/>
                  <a:pt x="6128666" y="2629047"/>
                </a:cubicBezTo>
                <a:cubicBezTo>
                  <a:pt x="6127202" y="2628382"/>
                  <a:pt x="6125604" y="2628116"/>
                  <a:pt x="6123608" y="2628116"/>
                </a:cubicBezTo>
                <a:close/>
                <a:moveTo>
                  <a:pt x="5905963" y="2628116"/>
                </a:moveTo>
                <a:cubicBezTo>
                  <a:pt x="5900106" y="2628116"/>
                  <a:pt x="5897576" y="2630111"/>
                  <a:pt x="5895979" y="2631711"/>
                </a:cubicBezTo>
                <a:cubicBezTo>
                  <a:pt x="5893450" y="2634372"/>
                  <a:pt x="5892385" y="2637168"/>
                  <a:pt x="5892385" y="2641161"/>
                </a:cubicBezTo>
                <a:cubicBezTo>
                  <a:pt x="5892385" y="2645288"/>
                  <a:pt x="5893450" y="2648084"/>
                  <a:pt x="5895979" y="2650612"/>
                </a:cubicBezTo>
                <a:cubicBezTo>
                  <a:pt x="5897576" y="2652210"/>
                  <a:pt x="5900106" y="2654073"/>
                  <a:pt x="5905963" y="2654073"/>
                </a:cubicBezTo>
                <a:cubicBezTo>
                  <a:pt x="5908093" y="2654073"/>
                  <a:pt x="5909823" y="2653808"/>
                  <a:pt x="5911287" y="2653141"/>
                </a:cubicBezTo>
                <a:cubicBezTo>
                  <a:pt x="5912751" y="2652609"/>
                  <a:pt x="5914083" y="2651810"/>
                  <a:pt x="5915014" y="2650745"/>
                </a:cubicBezTo>
                <a:cubicBezTo>
                  <a:pt x="5916079" y="2649547"/>
                  <a:pt x="5917011" y="2648216"/>
                  <a:pt x="5917677" y="2646486"/>
                </a:cubicBezTo>
                <a:cubicBezTo>
                  <a:pt x="5918342" y="2644889"/>
                  <a:pt x="5918742" y="2643025"/>
                  <a:pt x="5918742" y="2641028"/>
                </a:cubicBezTo>
                <a:cubicBezTo>
                  <a:pt x="5918742" y="2639164"/>
                  <a:pt x="5918342" y="2637434"/>
                  <a:pt x="5917677" y="2635836"/>
                </a:cubicBezTo>
                <a:cubicBezTo>
                  <a:pt x="5917011" y="2634238"/>
                  <a:pt x="5916079" y="2632908"/>
                  <a:pt x="5915014" y="2631711"/>
                </a:cubicBezTo>
                <a:cubicBezTo>
                  <a:pt x="5913950" y="2630645"/>
                  <a:pt x="5912618" y="2629712"/>
                  <a:pt x="5911021" y="2629047"/>
                </a:cubicBezTo>
                <a:cubicBezTo>
                  <a:pt x="5909557" y="2628382"/>
                  <a:pt x="5907826" y="2628116"/>
                  <a:pt x="5905963" y="2628116"/>
                </a:cubicBezTo>
                <a:close/>
                <a:moveTo>
                  <a:pt x="5688451" y="2628116"/>
                </a:moveTo>
                <a:cubicBezTo>
                  <a:pt x="5682594" y="2628116"/>
                  <a:pt x="5680064" y="2630111"/>
                  <a:pt x="5678467" y="2631711"/>
                </a:cubicBezTo>
                <a:cubicBezTo>
                  <a:pt x="5675938" y="2634372"/>
                  <a:pt x="5674873" y="2637168"/>
                  <a:pt x="5674873" y="2641161"/>
                </a:cubicBezTo>
                <a:cubicBezTo>
                  <a:pt x="5674873" y="2645288"/>
                  <a:pt x="5675938" y="2648084"/>
                  <a:pt x="5678467" y="2650612"/>
                </a:cubicBezTo>
                <a:cubicBezTo>
                  <a:pt x="5680064" y="2652210"/>
                  <a:pt x="5682594" y="2654073"/>
                  <a:pt x="5688451" y="2654073"/>
                </a:cubicBezTo>
                <a:cubicBezTo>
                  <a:pt x="5690447" y="2654073"/>
                  <a:pt x="5692178" y="2653808"/>
                  <a:pt x="5693775" y="2653141"/>
                </a:cubicBezTo>
                <a:cubicBezTo>
                  <a:pt x="5695239" y="2652609"/>
                  <a:pt x="5696571" y="2651810"/>
                  <a:pt x="5697502" y="2650745"/>
                </a:cubicBezTo>
                <a:cubicBezTo>
                  <a:pt x="5698567" y="2649547"/>
                  <a:pt x="5699499" y="2648216"/>
                  <a:pt x="5700165" y="2646486"/>
                </a:cubicBezTo>
                <a:cubicBezTo>
                  <a:pt x="5700830" y="2644889"/>
                  <a:pt x="5701230" y="2643025"/>
                  <a:pt x="5701230" y="2641028"/>
                </a:cubicBezTo>
                <a:cubicBezTo>
                  <a:pt x="5701230" y="2639164"/>
                  <a:pt x="5700830" y="2637434"/>
                  <a:pt x="5700165" y="2635836"/>
                </a:cubicBezTo>
                <a:cubicBezTo>
                  <a:pt x="5699499" y="2634238"/>
                  <a:pt x="5698567" y="2632908"/>
                  <a:pt x="5697502" y="2631711"/>
                </a:cubicBezTo>
                <a:cubicBezTo>
                  <a:pt x="5696437" y="2630645"/>
                  <a:pt x="5695106" y="2629712"/>
                  <a:pt x="5693509" y="2629047"/>
                </a:cubicBezTo>
                <a:cubicBezTo>
                  <a:pt x="5692045" y="2628382"/>
                  <a:pt x="5690314" y="2628116"/>
                  <a:pt x="5688451" y="2628116"/>
                </a:cubicBezTo>
                <a:close/>
                <a:moveTo>
                  <a:pt x="5470806" y="2628116"/>
                </a:moveTo>
                <a:cubicBezTo>
                  <a:pt x="5464949" y="2628116"/>
                  <a:pt x="5462419" y="2630111"/>
                  <a:pt x="5460822" y="2631711"/>
                </a:cubicBezTo>
                <a:cubicBezTo>
                  <a:pt x="5458293" y="2634372"/>
                  <a:pt x="5457228" y="2637168"/>
                  <a:pt x="5457228" y="2641161"/>
                </a:cubicBezTo>
                <a:cubicBezTo>
                  <a:pt x="5457228" y="2645288"/>
                  <a:pt x="5458293" y="2648084"/>
                  <a:pt x="5460822" y="2650612"/>
                </a:cubicBezTo>
                <a:cubicBezTo>
                  <a:pt x="5462419" y="2652210"/>
                  <a:pt x="5464949" y="2654073"/>
                  <a:pt x="5470806" y="2654073"/>
                </a:cubicBezTo>
                <a:cubicBezTo>
                  <a:pt x="5472802" y="2654073"/>
                  <a:pt x="5474666" y="2653808"/>
                  <a:pt x="5476130" y="2653141"/>
                </a:cubicBezTo>
                <a:cubicBezTo>
                  <a:pt x="5477594" y="2652609"/>
                  <a:pt x="5478926" y="2651810"/>
                  <a:pt x="5479857" y="2650745"/>
                </a:cubicBezTo>
                <a:cubicBezTo>
                  <a:pt x="5480922" y="2649547"/>
                  <a:pt x="5481854" y="2648216"/>
                  <a:pt x="5482520" y="2646486"/>
                </a:cubicBezTo>
                <a:cubicBezTo>
                  <a:pt x="5483319" y="2644889"/>
                  <a:pt x="5483585" y="2643025"/>
                  <a:pt x="5483585" y="2641028"/>
                </a:cubicBezTo>
                <a:cubicBezTo>
                  <a:pt x="5483585" y="2639164"/>
                  <a:pt x="5483185" y="2637434"/>
                  <a:pt x="5482520" y="2635836"/>
                </a:cubicBezTo>
                <a:cubicBezTo>
                  <a:pt x="5481854" y="2634238"/>
                  <a:pt x="5480922" y="2632908"/>
                  <a:pt x="5479857" y="2631711"/>
                </a:cubicBezTo>
                <a:cubicBezTo>
                  <a:pt x="5478793" y="2630645"/>
                  <a:pt x="5477461" y="2629712"/>
                  <a:pt x="5475864" y="2629047"/>
                </a:cubicBezTo>
                <a:cubicBezTo>
                  <a:pt x="5474400" y="2628382"/>
                  <a:pt x="5472669" y="2628116"/>
                  <a:pt x="5470806" y="2628116"/>
                </a:cubicBezTo>
                <a:close/>
                <a:moveTo>
                  <a:pt x="5253160" y="2628116"/>
                </a:moveTo>
                <a:cubicBezTo>
                  <a:pt x="5247303" y="2628116"/>
                  <a:pt x="5244774" y="2630111"/>
                  <a:pt x="5243177" y="2631711"/>
                </a:cubicBezTo>
                <a:cubicBezTo>
                  <a:pt x="5240647" y="2634372"/>
                  <a:pt x="5239583" y="2637168"/>
                  <a:pt x="5239583" y="2641161"/>
                </a:cubicBezTo>
                <a:cubicBezTo>
                  <a:pt x="5239583" y="2645288"/>
                  <a:pt x="5240647" y="2648084"/>
                  <a:pt x="5243177" y="2650612"/>
                </a:cubicBezTo>
                <a:cubicBezTo>
                  <a:pt x="5244774" y="2652210"/>
                  <a:pt x="5247303" y="2654073"/>
                  <a:pt x="5253160" y="2654073"/>
                </a:cubicBezTo>
                <a:cubicBezTo>
                  <a:pt x="5255157" y="2654073"/>
                  <a:pt x="5257021" y="2653808"/>
                  <a:pt x="5258485" y="2653141"/>
                </a:cubicBezTo>
                <a:cubicBezTo>
                  <a:pt x="5259949" y="2652609"/>
                  <a:pt x="5261280" y="2651810"/>
                  <a:pt x="5262212" y="2650745"/>
                </a:cubicBezTo>
                <a:cubicBezTo>
                  <a:pt x="5263277" y="2649547"/>
                  <a:pt x="5264209" y="2648216"/>
                  <a:pt x="5264875" y="2646486"/>
                </a:cubicBezTo>
                <a:cubicBezTo>
                  <a:pt x="5265673" y="2644889"/>
                  <a:pt x="5265939" y="2643025"/>
                  <a:pt x="5265939" y="2641028"/>
                </a:cubicBezTo>
                <a:cubicBezTo>
                  <a:pt x="5265939" y="2639164"/>
                  <a:pt x="5265540" y="2637434"/>
                  <a:pt x="5264875" y="2635836"/>
                </a:cubicBezTo>
                <a:cubicBezTo>
                  <a:pt x="5264209" y="2634238"/>
                  <a:pt x="5263277" y="2632908"/>
                  <a:pt x="5262212" y="2631711"/>
                </a:cubicBezTo>
                <a:cubicBezTo>
                  <a:pt x="5261147" y="2630645"/>
                  <a:pt x="5259816" y="2629712"/>
                  <a:pt x="5258219" y="2629047"/>
                </a:cubicBezTo>
                <a:cubicBezTo>
                  <a:pt x="5256754" y="2628382"/>
                  <a:pt x="5255024" y="2628116"/>
                  <a:pt x="5253160" y="2628116"/>
                </a:cubicBezTo>
                <a:close/>
                <a:moveTo>
                  <a:pt x="5035515" y="2628116"/>
                </a:moveTo>
                <a:cubicBezTo>
                  <a:pt x="5029658" y="2628116"/>
                  <a:pt x="5027129" y="2630111"/>
                  <a:pt x="5025532" y="2631711"/>
                </a:cubicBezTo>
                <a:cubicBezTo>
                  <a:pt x="5023002" y="2634372"/>
                  <a:pt x="5021938" y="2637168"/>
                  <a:pt x="5021938" y="2641161"/>
                </a:cubicBezTo>
                <a:cubicBezTo>
                  <a:pt x="5021938" y="2645288"/>
                  <a:pt x="5023002" y="2648084"/>
                  <a:pt x="5025532" y="2650612"/>
                </a:cubicBezTo>
                <a:cubicBezTo>
                  <a:pt x="5027129" y="2652210"/>
                  <a:pt x="5029658" y="2654073"/>
                  <a:pt x="5035515" y="2654073"/>
                </a:cubicBezTo>
                <a:cubicBezTo>
                  <a:pt x="5037645" y="2654073"/>
                  <a:pt x="5039376" y="2653808"/>
                  <a:pt x="5040840" y="2653141"/>
                </a:cubicBezTo>
                <a:cubicBezTo>
                  <a:pt x="5042304" y="2652609"/>
                  <a:pt x="5043636" y="2651810"/>
                  <a:pt x="5044567" y="2650745"/>
                </a:cubicBezTo>
                <a:cubicBezTo>
                  <a:pt x="5045632" y="2649547"/>
                  <a:pt x="5046564" y="2648216"/>
                  <a:pt x="5047230" y="2646486"/>
                </a:cubicBezTo>
                <a:cubicBezTo>
                  <a:pt x="5048028" y="2644889"/>
                  <a:pt x="5048294" y="2643025"/>
                  <a:pt x="5048294" y="2641028"/>
                </a:cubicBezTo>
                <a:cubicBezTo>
                  <a:pt x="5048294" y="2639164"/>
                  <a:pt x="5047895" y="2637434"/>
                  <a:pt x="5047230" y="2635836"/>
                </a:cubicBezTo>
                <a:cubicBezTo>
                  <a:pt x="5046564" y="2634238"/>
                  <a:pt x="5045632" y="2632908"/>
                  <a:pt x="5044567" y="2631711"/>
                </a:cubicBezTo>
                <a:cubicBezTo>
                  <a:pt x="5043502" y="2630645"/>
                  <a:pt x="5042171" y="2629712"/>
                  <a:pt x="5040574" y="2629047"/>
                </a:cubicBezTo>
                <a:cubicBezTo>
                  <a:pt x="5039110" y="2628382"/>
                  <a:pt x="5037379" y="2628116"/>
                  <a:pt x="5035515" y="2628116"/>
                </a:cubicBezTo>
                <a:close/>
                <a:moveTo>
                  <a:pt x="4817870" y="2628116"/>
                </a:moveTo>
                <a:cubicBezTo>
                  <a:pt x="4812013" y="2628116"/>
                  <a:pt x="4809484" y="2630111"/>
                  <a:pt x="4807887" y="2631711"/>
                </a:cubicBezTo>
                <a:cubicBezTo>
                  <a:pt x="4805357" y="2634372"/>
                  <a:pt x="4804293" y="2637168"/>
                  <a:pt x="4804293" y="2641161"/>
                </a:cubicBezTo>
                <a:cubicBezTo>
                  <a:pt x="4804293" y="2645288"/>
                  <a:pt x="4805357" y="2648084"/>
                  <a:pt x="4807887" y="2650612"/>
                </a:cubicBezTo>
                <a:cubicBezTo>
                  <a:pt x="4809484" y="2652210"/>
                  <a:pt x="4812013" y="2654073"/>
                  <a:pt x="4817870" y="2654073"/>
                </a:cubicBezTo>
                <a:cubicBezTo>
                  <a:pt x="4820000" y="2654073"/>
                  <a:pt x="4821731" y="2653808"/>
                  <a:pt x="4823195" y="2653141"/>
                </a:cubicBezTo>
                <a:cubicBezTo>
                  <a:pt x="4824659" y="2652609"/>
                  <a:pt x="4825857" y="2651810"/>
                  <a:pt x="4826922" y="2650745"/>
                </a:cubicBezTo>
                <a:cubicBezTo>
                  <a:pt x="4827987" y="2649547"/>
                  <a:pt x="4828919" y="2648216"/>
                  <a:pt x="4829585" y="2646486"/>
                </a:cubicBezTo>
                <a:cubicBezTo>
                  <a:pt x="4830383" y="2644889"/>
                  <a:pt x="4830650" y="2643025"/>
                  <a:pt x="4830650" y="2641028"/>
                </a:cubicBezTo>
                <a:cubicBezTo>
                  <a:pt x="4830650" y="2639164"/>
                  <a:pt x="4830250" y="2637434"/>
                  <a:pt x="4829585" y="2635836"/>
                </a:cubicBezTo>
                <a:cubicBezTo>
                  <a:pt x="4828919" y="2634238"/>
                  <a:pt x="4827987" y="2632908"/>
                  <a:pt x="4826922" y="2631711"/>
                </a:cubicBezTo>
                <a:cubicBezTo>
                  <a:pt x="4825857" y="2630645"/>
                  <a:pt x="4824526" y="2629712"/>
                  <a:pt x="4822929" y="2629047"/>
                </a:cubicBezTo>
                <a:cubicBezTo>
                  <a:pt x="4821465" y="2628382"/>
                  <a:pt x="4819734" y="2628116"/>
                  <a:pt x="4817870" y="2628116"/>
                </a:cubicBezTo>
                <a:close/>
                <a:moveTo>
                  <a:pt x="4600226" y="2628116"/>
                </a:moveTo>
                <a:cubicBezTo>
                  <a:pt x="4594369" y="2628116"/>
                  <a:pt x="4591839" y="2630111"/>
                  <a:pt x="4590242" y="2631711"/>
                </a:cubicBezTo>
                <a:cubicBezTo>
                  <a:pt x="4587713" y="2634372"/>
                  <a:pt x="4586648" y="2637168"/>
                  <a:pt x="4586648" y="2641161"/>
                </a:cubicBezTo>
                <a:cubicBezTo>
                  <a:pt x="4586648" y="2645288"/>
                  <a:pt x="4587713" y="2648084"/>
                  <a:pt x="4590242" y="2650612"/>
                </a:cubicBezTo>
                <a:cubicBezTo>
                  <a:pt x="4591839" y="2652210"/>
                  <a:pt x="4594369" y="2654073"/>
                  <a:pt x="4600226" y="2654073"/>
                </a:cubicBezTo>
                <a:cubicBezTo>
                  <a:pt x="4602355" y="2654073"/>
                  <a:pt x="4604086" y="2653808"/>
                  <a:pt x="4605550" y="2653141"/>
                </a:cubicBezTo>
                <a:cubicBezTo>
                  <a:pt x="4607148" y="2652609"/>
                  <a:pt x="4608346" y="2651810"/>
                  <a:pt x="4609277" y="2650745"/>
                </a:cubicBezTo>
                <a:cubicBezTo>
                  <a:pt x="4610342" y="2649547"/>
                  <a:pt x="4611274" y="2648216"/>
                  <a:pt x="4611940" y="2646486"/>
                </a:cubicBezTo>
                <a:cubicBezTo>
                  <a:pt x="4612605" y="2644889"/>
                  <a:pt x="4613005" y="2643025"/>
                  <a:pt x="4613005" y="2641028"/>
                </a:cubicBezTo>
                <a:cubicBezTo>
                  <a:pt x="4613005" y="2639164"/>
                  <a:pt x="4612605" y="2637434"/>
                  <a:pt x="4611940" y="2635836"/>
                </a:cubicBezTo>
                <a:cubicBezTo>
                  <a:pt x="4611274" y="2634238"/>
                  <a:pt x="4610342" y="2632908"/>
                  <a:pt x="4609277" y="2631711"/>
                </a:cubicBezTo>
                <a:cubicBezTo>
                  <a:pt x="4608212" y="2630645"/>
                  <a:pt x="4606881" y="2629712"/>
                  <a:pt x="4605284" y="2629047"/>
                </a:cubicBezTo>
                <a:cubicBezTo>
                  <a:pt x="4603820" y="2628382"/>
                  <a:pt x="4602222" y="2628116"/>
                  <a:pt x="4600226" y="2628116"/>
                </a:cubicBezTo>
                <a:close/>
                <a:moveTo>
                  <a:pt x="4382713" y="2628116"/>
                </a:moveTo>
                <a:cubicBezTo>
                  <a:pt x="4376857" y="2628116"/>
                  <a:pt x="4374327" y="2630111"/>
                  <a:pt x="4372730" y="2631711"/>
                </a:cubicBezTo>
                <a:cubicBezTo>
                  <a:pt x="4370201" y="2634372"/>
                  <a:pt x="4369136" y="2637168"/>
                  <a:pt x="4369136" y="2641161"/>
                </a:cubicBezTo>
                <a:cubicBezTo>
                  <a:pt x="4369136" y="2645288"/>
                  <a:pt x="4370201" y="2648084"/>
                  <a:pt x="4372730" y="2650612"/>
                </a:cubicBezTo>
                <a:cubicBezTo>
                  <a:pt x="4374327" y="2652210"/>
                  <a:pt x="4376857" y="2654073"/>
                  <a:pt x="4382713" y="2654073"/>
                </a:cubicBezTo>
                <a:cubicBezTo>
                  <a:pt x="4384710" y="2654073"/>
                  <a:pt x="4386441" y="2653808"/>
                  <a:pt x="4388038" y="2653141"/>
                </a:cubicBezTo>
                <a:cubicBezTo>
                  <a:pt x="4389502" y="2652609"/>
                  <a:pt x="4390834" y="2651810"/>
                  <a:pt x="4391765" y="2650745"/>
                </a:cubicBezTo>
                <a:cubicBezTo>
                  <a:pt x="4392830" y="2649547"/>
                  <a:pt x="4393762" y="2648216"/>
                  <a:pt x="4394428" y="2646486"/>
                </a:cubicBezTo>
                <a:cubicBezTo>
                  <a:pt x="4395093" y="2644889"/>
                  <a:pt x="4395493" y="2643025"/>
                  <a:pt x="4395493" y="2641028"/>
                </a:cubicBezTo>
                <a:cubicBezTo>
                  <a:pt x="4395493" y="2639164"/>
                  <a:pt x="4395093" y="2637434"/>
                  <a:pt x="4394428" y="2635836"/>
                </a:cubicBezTo>
                <a:cubicBezTo>
                  <a:pt x="4393762" y="2634238"/>
                  <a:pt x="4392830" y="2632908"/>
                  <a:pt x="4391765" y="2631711"/>
                </a:cubicBezTo>
                <a:cubicBezTo>
                  <a:pt x="4390700" y="2630645"/>
                  <a:pt x="4389369" y="2629712"/>
                  <a:pt x="4387772" y="2629047"/>
                </a:cubicBezTo>
                <a:cubicBezTo>
                  <a:pt x="4386308" y="2628382"/>
                  <a:pt x="4384710" y="2628116"/>
                  <a:pt x="4382713" y="2628116"/>
                </a:cubicBezTo>
                <a:close/>
                <a:moveTo>
                  <a:pt x="4165068" y="2628116"/>
                </a:moveTo>
                <a:cubicBezTo>
                  <a:pt x="4159211" y="2628116"/>
                  <a:pt x="4156681" y="2630111"/>
                  <a:pt x="4155084" y="2631711"/>
                </a:cubicBezTo>
                <a:cubicBezTo>
                  <a:pt x="4152555" y="2634372"/>
                  <a:pt x="4151490" y="2637168"/>
                  <a:pt x="4151490" y="2641161"/>
                </a:cubicBezTo>
                <a:cubicBezTo>
                  <a:pt x="4151490" y="2645288"/>
                  <a:pt x="4152555" y="2648084"/>
                  <a:pt x="4155084" y="2650612"/>
                </a:cubicBezTo>
                <a:cubicBezTo>
                  <a:pt x="4156681" y="2652210"/>
                  <a:pt x="4159211" y="2654073"/>
                  <a:pt x="4165068" y="2654073"/>
                </a:cubicBezTo>
                <a:cubicBezTo>
                  <a:pt x="4167064" y="2654073"/>
                  <a:pt x="4168928" y="2653808"/>
                  <a:pt x="4170392" y="2653141"/>
                </a:cubicBezTo>
                <a:cubicBezTo>
                  <a:pt x="4171856" y="2652609"/>
                  <a:pt x="4173188" y="2651810"/>
                  <a:pt x="4174119" y="2650745"/>
                </a:cubicBezTo>
                <a:cubicBezTo>
                  <a:pt x="4175184" y="2649547"/>
                  <a:pt x="4176116" y="2648216"/>
                  <a:pt x="4176782" y="2646486"/>
                </a:cubicBezTo>
                <a:cubicBezTo>
                  <a:pt x="4177447" y="2644889"/>
                  <a:pt x="4177847" y="2643025"/>
                  <a:pt x="4177847" y="2641028"/>
                </a:cubicBezTo>
                <a:cubicBezTo>
                  <a:pt x="4177847" y="2639164"/>
                  <a:pt x="4177447" y="2637434"/>
                  <a:pt x="4176782" y="2635836"/>
                </a:cubicBezTo>
                <a:cubicBezTo>
                  <a:pt x="4176116" y="2634238"/>
                  <a:pt x="4175184" y="2632908"/>
                  <a:pt x="4174119" y="2631711"/>
                </a:cubicBezTo>
                <a:cubicBezTo>
                  <a:pt x="4173054" y="2630645"/>
                  <a:pt x="4171723" y="2629712"/>
                  <a:pt x="4170126" y="2629047"/>
                </a:cubicBezTo>
                <a:cubicBezTo>
                  <a:pt x="4168662" y="2628382"/>
                  <a:pt x="4167064" y="2628116"/>
                  <a:pt x="4165068" y="2628116"/>
                </a:cubicBezTo>
                <a:close/>
                <a:moveTo>
                  <a:pt x="3947570" y="2628116"/>
                </a:moveTo>
                <a:cubicBezTo>
                  <a:pt x="3941712" y="2628116"/>
                  <a:pt x="3939184" y="2630111"/>
                  <a:pt x="3937587" y="2631711"/>
                </a:cubicBezTo>
                <a:cubicBezTo>
                  <a:pt x="3935056" y="2634372"/>
                  <a:pt x="3933992" y="2637168"/>
                  <a:pt x="3933992" y="2641161"/>
                </a:cubicBezTo>
                <a:cubicBezTo>
                  <a:pt x="3933992" y="2645288"/>
                  <a:pt x="3935056" y="2648084"/>
                  <a:pt x="3937587" y="2650612"/>
                </a:cubicBezTo>
                <a:cubicBezTo>
                  <a:pt x="3939184" y="2652210"/>
                  <a:pt x="3941712" y="2654073"/>
                  <a:pt x="3947570" y="2654073"/>
                </a:cubicBezTo>
                <a:cubicBezTo>
                  <a:pt x="3949568" y="2654073"/>
                  <a:pt x="3951430" y="2653808"/>
                  <a:pt x="3952896" y="2653141"/>
                </a:cubicBezTo>
                <a:cubicBezTo>
                  <a:pt x="3954360" y="2652609"/>
                  <a:pt x="3955690" y="2651810"/>
                  <a:pt x="3956623" y="2650745"/>
                </a:cubicBezTo>
                <a:cubicBezTo>
                  <a:pt x="3957688" y="2649547"/>
                  <a:pt x="3958621" y="2648216"/>
                  <a:pt x="3959286" y="2646486"/>
                </a:cubicBezTo>
                <a:cubicBezTo>
                  <a:pt x="3959951" y="2644889"/>
                  <a:pt x="3960351" y="2643025"/>
                  <a:pt x="3960351" y="2641028"/>
                </a:cubicBezTo>
                <a:cubicBezTo>
                  <a:pt x="3960351" y="2639164"/>
                  <a:pt x="3959951" y="2637434"/>
                  <a:pt x="3959286" y="2635836"/>
                </a:cubicBezTo>
                <a:cubicBezTo>
                  <a:pt x="3958621" y="2634238"/>
                  <a:pt x="3957688" y="2632908"/>
                  <a:pt x="3956623" y="2631711"/>
                </a:cubicBezTo>
                <a:cubicBezTo>
                  <a:pt x="3955558" y="2630645"/>
                  <a:pt x="3954227" y="2629712"/>
                  <a:pt x="3952629" y="2629047"/>
                </a:cubicBezTo>
                <a:cubicBezTo>
                  <a:pt x="3951164" y="2628382"/>
                  <a:pt x="3949568" y="2628116"/>
                  <a:pt x="3947570" y="2628116"/>
                </a:cubicBezTo>
                <a:close/>
                <a:moveTo>
                  <a:pt x="3729918" y="2628116"/>
                </a:moveTo>
                <a:cubicBezTo>
                  <a:pt x="3724061" y="2628116"/>
                  <a:pt x="3721532" y="2630111"/>
                  <a:pt x="3719932" y="2631711"/>
                </a:cubicBezTo>
                <a:cubicBezTo>
                  <a:pt x="3717402" y="2634372"/>
                  <a:pt x="3716340" y="2637168"/>
                  <a:pt x="3716340" y="2641161"/>
                </a:cubicBezTo>
                <a:cubicBezTo>
                  <a:pt x="3716340" y="2645288"/>
                  <a:pt x="3717402" y="2648084"/>
                  <a:pt x="3719932" y="2650612"/>
                </a:cubicBezTo>
                <a:cubicBezTo>
                  <a:pt x="3721532" y="2652210"/>
                  <a:pt x="3724061" y="2654073"/>
                  <a:pt x="3729918" y="2654073"/>
                </a:cubicBezTo>
                <a:cubicBezTo>
                  <a:pt x="3732048" y="2654073"/>
                  <a:pt x="3733779" y="2653808"/>
                  <a:pt x="3735243" y="2653141"/>
                </a:cubicBezTo>
                <a:cubicBezTo>
                  <a:pt x="3736707" y="2652609"/>
                  <a:pt x="3738039" y="2651810"/>
                  <a:pt x="3738970" y="2650745"/>
                </a:cubicBezTo>
                <a:cubicBezTo>
                  <a:pt x="3740035" y="2649547"/>
                  <a:pt x="3740967" y="2648216"/>
                  <a:pt x="3741633" y="2646486"/>
                </a:cubicBezTo>
                <a:cubicBezTo>
                  <a:pt x="3742298" y="2644889"/>
                  <a:pt x="3742697" y="2643025"/>
                  <a:pt x="3742697" y="2641028"/>
                </a:cubicBezTo>
                <a:cubicBezTo>
                  <a:pt x="3742697" y="2639164"/>
                  <a:pt x="3742298" y="2637434"/>
                  <a:pt x="3741633" y="2635836"/>
                </a:cubicBezTo>
                <a:cubicBezTo>
                  <a:pt x="3740967" y="2634238"/>
                  <a:pt x="3740035" y="2632908"/>
                  <a:pt x="3738970" y="2631711"/>
                </a:cubicBezTo>
                <a:cubicBezTo>
                  <a:pt x="3737905" y="2630645"/>
                  <a:pt x="3736574" y="2629712"/>
                  <a:pt x="3734977" y="2629047"/>
                </a:cubicBezTo>
                <a:cubicBezTo>
                  <a:pt x="3733512" y="2628382"/>
                  <a:pt x="3731915" y="2628116"/>
                  <a:pt x="3729918" y="2628116"/>
                </a:cubicBezTo>
                <a:close/>
                <a:moveTo>
                  <a:pt x="3512265" y="2628116"/>
                </a:moveTo>
                <a:cubicBezTo>
                  <a:pt x="3506408" y="2628116"/>
                  <a:pt x="3503878" y="2630111"/>
                  <a:pt x="3502279" y="2631711"/>
                </a:cubicBezTo>
                <a:cubicBezTo>
                  <a:pt x="3499749" y="2634372"/>
                  <a:pt x="3498686" y="2637168"/>
                  <a:pt x="3498686" y="2641161"/>
                </a:cubicBezTo>
                <a:cubicBezTo>
                  <a:pt x="3498686" y="2645288"/>
                  <a:pt x="3499749" y="2648084"/>
                  <a:pt x="3502279" y="2650612"/>
                </a:cubicBezTo>
                <a:cubicBezTo>
                  <a:pt x="3503878" y="2652210"/>
                  <a:pt x="3506408" y="2654073"/>
                  <a:pt x="3512265" y="2654073"/>
                </a:cubicBezTo>
                <a:cubicBezTo>
                  <a:pt x="3514395" y="2654073"/>
                  <a:pt x="3516126" y="2653808"/>
                  <a:pt x="3517590" y="2653141"/>
                </a:cubicBezTo>
                <a:cubicBezTo>
                  <a:pt x="3519055" y="2652609"/>
                  <a:pt x="3520386" y="2651810"/>
                  <a:pt x="3521317" y="2650745"/>
                </a:cubicBezTo>
                <a:cubicBezTo>
                  <a:pt x="3522383" y="2649547"/>
                  <a:pt x="3523314" y="2648216"/>
                  <a:pt x="3523981" y="2646486"/>
                </a:cubicBezTo>
                <a:cubicBezTo>
                  <a:pt x="3524646" y="2644889"/>
                  <a:pt x="3525046" y="2643025"/>
                  <a:pt x="3525046" y="2641028"/>
                </a:cubicBezTo>
                <a:cubicBezTo>
                  <a:pt x="3525046" y="2639164"/>
                  <a:pt x="3524646" y="2637434"/>
                  <a:pt x="3523981" y="2635836"/>
                </a:cubicBezTo>
                <a:cubicBezTo>
                  <a:pt x="3523314" y="2634238"/>
                  <a:pt x="3522383" y="2632908"/>
                  <a:pt x="3521317" y="2631711"/>
                </a:cubicBezTo>
                <a:cubicBezTo>
                  <a:pt x="3520252" y="2630645"/>
                  <a:pt x="3518921" y="2629712"/>
                  <a:pt x="3517324" y="2629047"/>
                </a:cubicBezTo>
                <a:cubicBezTo>
                  <a:pt x="3515860" y="2628382"/>
                  <a:pt x="3514262" y="2628116"/>
                  <a:pt x="3512265" y="2628116"/>
                </a:cubicBezTo>
                <a:close/>
                <a:moveTo>
                  <a:pt x="3294745" y="2628116"/>
                </a:moveTo>
                <a:cubicBezTo>
                  <a:pt x="3288888" y="2628116"/>
                  <a:pt x="3286358" y="2630111"/>
                  <a:pt x="3284761" y="2631711"/>
                </a:cubicBezTo>
                <a:cubicBezTo>
                  <a:pt x="3282230" y="2634372"/>
                  <a:pt x="3281167" y="2637168"/>
                  <a:pt x="3281167" y="2641161"/>
                </a:cubicBezTo>
                <a:cubicBezTo>
                  <a:pt x="3281167" y="2645288"/>
                  <a:pt x="3282230" y="2648084"/>
                  <a:pt x="3284761" y="2650612"/>
                </a:cubicBezTo>
                <a:cubicBezTo>
                  <a:pt x="3286358" y="2652210"/>
                  <a:pt x="3288888" y="2654073"/>
                  <a:pt x="3294745" y="2654073"/>
                </a:cubicBezTo>
                <a:cubicBezTo>
                  <a:pt x="3296742" y="2654073"/>
                  <a:pt x="3298473" y="2653808"/>
                  <a:pt x="3300071" y="2653141"/>
                </a:cubicBezTo>
                <a:cubicBezTo>
                  <a:pt x="3301535" y="2652609"/>
                  <a:pt x="3302867" y="2651810"/>
                  <a:pt x="3303798" y="2650745"/>
                </a:cubicBezTo>
                <a:cubicBezTo>
                  <a:pt x="3304863" y="2649547"/>
                  <a:pt x="3305795" y="2648216"/>
                  <a:pt x="3306461" y="2646486"/>
                </a:cubicBezTo>
                <a:cubicBezTo>
                  <a:pt x="3307126" y="2644889"/>
                  <a:pt x="3307525" y="2643025"/>
                  <a:pt x="3307525" y="2641028"/>
                </a:cubicBezTo>
                <a:cubicBezTo>
                  <a:pt x="3307525" y="2639164"/>
                  <a:pt x="3307126" y="2637434"/>
                  <a:pt x="3306461" y="2635836"/>
                </a:cubicBezTo>
                <a:cubicBezTo>
                  <a:pt x="3305795" y="2634238"/>
                  <a:pt x="3304863" y="2632908"/>
                  <a:pt x="3303798" y="2631711"/>
                </a:cubicBezTo>
                <a:cubicBezTo>
                  <a:pt x="3302733" y="2630645"/>
                  <a:pt x="3301402" y="2629712"/>
                  <a:pt x="3299805" y="2629047"/>
                </a:cubicBezTo>
                <a:cubicBezTo>
                  <a:pt x="3298341" y="2628382"/>
                  <a:pt x="3296742" y="2628116"/>
                  <a:pt x="3294745" y="2628116"/>
                </a:cubicBezTo>
                <a:close/>
                <a:moveTo>
                  <a:pt x="3077226" y="2628116"/>
                </a:moveTo>
                <a:cubicBezTo>
                  <a:pt x="3071368" y="2628116"/>
                  <a:pt x="3068839" y="2630111"/>
                  <a:pt x="3067243" y="2631711"/>
                </a:cubicBezTo>
                <a:cubicBezTo>
                  <a:pt x="3064579" y="2634372"/>
                  <a:pt x="3063514" y="2637168"/>
                  <a:pt x="3063514" y="2641161"/>
                </a:cubicBezTo>
                <a:cubicBezTo>
                  <a:pt x="3063514" y="2645288"/>
                  <a:pt x="3064579" y="2648084"/>
                  <a:pt x="3067108" y="2650612"/>
                </a:cubicBezTo>
                <a:cubicBezTo>
                  <a:pt x="3068706" y="2652210"/>
                  <a:pt x="3071235" y="2654073"/>
                  <a:pt x="3077093" y="2654073"/>
                </a:cubicBezTo>
                <a:cubicBezTo>
                  <a:pt x="3079090" y="2654073"/>
                  <a:pt x="3080820" y="2653808"/>
                  <a:pt x="3082551" y="2653141"/>
                </a:cubicBezTo>
                <a:cubicBezTo>
                  <a:pt x="3084016" y="2652609"/>
                  <a:pt x="3085347" y="2651810"/>
                  <a:pt x="3086278" y="2650745"/>
                </a:cubicBezTo>
                <a:cubicBezTo>
                  <a:pt x="3087343" y="2649547"/>
                  <a:pt x="3088275" y="2648216"/>
                  <a:pt x="3088941" y="2646486"/>
                </a:cubicBezTo>
                <a:cubicBezTo>
                  <a:pt x="3089606" y="2644889"/>
                  <a:pt x="3089873" y="2643025"/>
                  <a:pt x="3089873" y="2641028"/>
                </a:cubicBezTo>
                <a:cubicBezTo>
                  <a:pt x="3089873" y="2639164"/>
                  <a:pt x="3089606" y="2637434"/>
                  <a:pt x="3088941" y="2635836"/>
                </a:cubicBezTo>
                <a:cubicBezTo>
                  <a:pt x="3088275" y="2634238"/>
                  <a:pt x="3087343" y="2632908"/>
                  <a:pt x="3086278" y="2631711"/>
                </a:cubicBezTo>
                <a:cubicBezTo>
                  <a:pt x="3085214" y="2630645"/>
                  <a:pt x="3083882" y="2629712"/>
                  <a:pt x="3082285" y="2629047"/>
                </a:cubicBezTo>
                <a:cubicBezTo>
                  <a:pt x="3080820" y="2628382"/>
                  <a:pt x="3079223" y="2628116"/>
                  <a:pt x="3077226" y="2628116"/>
                </a:cubicBezTo>
                <a:close/>
                <a:moveTo>
                  <a:pt x="2859440" y="2628116"/>
                </a:moveTo>
                <a:cubicBezTo>
                  <a:pt x="2853583" y="2628116"/>
                  <a:pt x="2851054" y="2630111"/>
                  <a:pt x="2849455" y="2631711"/>
                </a:cubicBezTo>
                <a:cubicBezTo>
                  <a:pt x="2846923" y="2634372"/>
                  <a:pt x="2845860" y="2637168"/>
                  <a:pt x="2845860" y="2641161"/>
                </a:cubicBezTo>
                <a:cubicBezTo>
                  <a:pt x="2845860" y="2645288"/>
                  <a:pt x="2846923" y="2648084"/>
                  <a:pt x="2849455" y="2650612"/>
                </a:cubicBezTo>
                <a:cubicBezTo>
                  <a:pt x="2851054" y="2652210"/>
                  <a:pt x="2853583" y="2654073"/>
                  <a:pt x="2859440" y="2654073"/>
                </a:cubicBezTo>
                <a:cubicBezTo>
                  <a:pt x="2861437" y="2654073"/>
                  <a:pt x="2863301" y="2653808"/>
                  <a:pt x="2864765" y="2653141"/>
                </a:cubicBezTo>
                <a:cubicBezTo>
                  <a:pt x="2866363" y="2652609"/>
                  <a:pt x="2867562" y="2651810"/>
                  <a:pt x="2868492" y="2650745"/>
                </a:cubicBezTo>
                <a:cubicBezTo>
                  <a:pt x="2869557" y="2649547"/>
                  <a:pt x="2870490" y="2648216"/>
                  <a:pt x="2871155" y="2646486"/>
                </a:cubicBezTo>
                <a:cubicBezTo>
                  <a:pt x="2871687" y="2644889"/>
                  <a:pt x="2872086" y="2643025"/>
                  <a:pt x="2872086" y="2641028"/>
                </a:cubicBezTo>
                <a:cubicBezTo>
                  <a:pt x="2872086" y="2639164"/>
                  <a:pt x="2871820" y="2637434"/>
                  <a:pt x="2871155" y="2635836"/>
                </a:cubicBezTo>
                <a:cubicBezTo>
                  <a:pt x="2870490" y="2634238"/>
                  <a:pt x="2869557" y="2632908"/>
                  <a:pt x="2868492" y="2631711"/>
                </a:cubicBezTo>
                <a:cubicBezTo>
                  <a:pt x="2867428" y="2630645"/>
                  <a:pt x="2866096" y="2629712"/>
                  <a:pt x="2864500" y="2629047"/>
                </a:cubicBezTo>
                <a:cubicBezTo>
                  <a:pt x="2863036" y="2628382"/>
                  <a:pt x="2861437" y="2628116"/>
                  <a:pt x="2859440" y="2628116"/>
                </a:cubicBezTo>
                <a:close/>
                <a:moveTo>
                  <a:pt x="2641787" y="2628116"/>
                </a:moveTo>
                <a:cubicBezTo>
                  <a:pt x="2635930" y="2628116"/>
                  <a:pt x="2633401" y="2630111"/>
                  <a:pt x="2631804" y="2631711"/>
                </a:cubicBezTo>
                <a:cubicBezTo>
                  <a:pt x="2629274" y="2634372"/>
                  <a:pt x="2628210" y="2637168"/>
                  <a:pt x="2628210" y="2641161"/>
                </a:cubicBezTo>
                <a:cubicBezTo>
                  <a:pt x="2628210" y="2645288"/>
                  <a:pt x="2629274" y="2648084"/>
                  <a:pt x="2631804" y="2650612"/>
                </a:cubicBezTo>
                <a:cubicBezTo>
                  <a:pt x="2633401" y="2652210"/>
                  <a:pt x="2635930" y="2654073"/>
                  <a:pt x="2641787" y="2654073"/>
                </a:cubicBezTo>
                <a:cubicBezTo>
                  <a:pt x="2643784" y="2654073"/>
                  <a:pt x="2645649" y="2653808"/>
                  <a:pt x="2647113" y="2653141"/>
                </a:cubicBezTo>
                <a:cubicBezTo>
                  <a:pt x="2648710" y="2652609"/>
                  <a:pt x="2649907" y="2651810"/>
                  <a:pt x="2650840" y="2650745"/>
                </a:cubicBezTo>
                <a:cubicBezTo>
                  <a:pt x="2651905" y="2649547"/>
                  <a:pt x="2652837" y="2648216"/>
                  <a:pt x="2653503" y="2646486"/>
                </a:cubicBezTo>
                <a:cubicBezTo>
                  <a:pt x="2654035" y="2644889"/>
                  <a:pt x="2654433" y="2643025"/>
                  <a:pt x="2654433" y="2641028"/>
                </a:cubicBezTo>
                <a:cubicBezTo>
                  <a:pt x="2654433" y="2639164"/>
                  <a:pt x="2654168" y="2637434"/>
                  <a:pt x="2653503" y="2635836"/>
                </a:cubicBezTo>
                <a:cubicBezTo>
                  <a:pt x="2652837" y="2634238"/>
                  <a:pt x="2651905" y="2632908"/>
                  <a:pt x="2650840" y="2631711"/>
                </a:cubicBezTo>
                <a:cubicBezTo>
                  <a:pt x="2649775" y="2630645"/>
                  <a:pt x="2648444" y="2629712"/>
                  <a:pt x="2646847" y="2629047"/>
                </a:cubicBezTo>
                <a:cubicBezTo>
                  <a:pt x="2645382" y="2628382"/>
                  <a:pt x="2643784" y="2628116"/>
                  <a:pt x="2641787" y="2628116"/>
                </a:cubicBezTo>
                <a:close/>
                <a:moveTo>
                  <a:pt x="2424134" y="2628116"/>
                </a:moveTo>
                <a:cubicBezTo>
                  <a:pt x="2418278" y="2628116"/>
                  <a:pt x="2415749" y="2630111"/>
                  <a:pt x="2414151" y="2631711"/>
                </a:cubicBezTo>
                <a:cubicBezTo>
                  <a:pt x="2411621" y="2634372"/>
                  <a:pt x="2410557" y="2637168"/>
                  <a:pt x="2410557" y="2641161"/>
                </a:cubicBezTo>
                <a:cubicBezTo>
                  <a:pt x="2410557" y="2645288"/>
                  <a:pt x="2411621" y="2648084"/>
                  <a:pt x="2414151" y="2650612"/>
                </a:cubicBezTo>
                <a:cubicBezTo>
                  <a:pt x="2415749" y="2652210"/>
                  <a:pt x="2418278" y="2654073"/>
                  <a:pt x="2424134" y="2654073"/>
                </a:cubicBezTo>
                <a:cubicBezTo>
                  <a:pt x="2426265" y="2654073"/>
                  <a:pt x="2427996" y="2653808"/>
                  <a:pt x="2429460" y="2653141"/>
                </a:cubicBezTo>
                <a:cubicBezTo>
                  <a:pt x="2431058" y="2652609"/>
                  <a:pt x="2432256" y="2651810"/>
                  <a:pt x="2433187" y="2650745"/>
                </a:cubicBezTo>
                <a:cubicBezTo>
                  <a:pt x="2434252" y="2649547"/>
                  <a:pt x="2435184" y="2648216"/>
                  <a:pt x="2435850" y="2646486"/>
                </a:cubicBezTo>
                <a:cubicBezTo>
                  <a:pt x="2436382" y="2644889"/>
                  <a:pt x="2436781" y="2643025"/>
                  <a:pt x="2436781" y="2641028"/>
                </a:cubicBezTo>
                <a:cubicBezTo>
                  <a:pt x="2436781" y="2639164"/>
                  <a:pt x="2436515" y="2637434"/>
                  <a:pt x="2435850" y="2635836"/>
                </a:cubicBezTo>
                <a:cubicBezTo>
                  <a:pt x="2435184" y="2634238"/>
                  <a:pt x="2434252" y="2632908"/>
                  <a:pt x="2433187" y="2631711"/>
                </a:cubicBezTo>
                <a:cubicBezTo>
                  <a:pt x="2432123" y="2630645"/>
                  <a:pt x="2430791" y="2629712"/>
                  <a:pt x="2429194" y="2629047"/>
                </a:cubicBezTo>
                <a:cubicBezTo>
                  <a:pt x="2427730" y="2628382"/>
                  <a:pt x="2426132" y="2628116"/>
                  <a:pt x="2424134" y="2628116"/>
                </a:cubicBezTo>
                <a:close/>
                <a:moveTo>
                  <a:pt x="2206482" y="2628116"/>
                </a:moveTo>
                <a:cubicBezTo>
                  <a:pt x="2200625" y="2628116"/>
                  <a:pt x="2198096" y="2630111"/>
                  <a:pt x="2196499" y="2631711"/>
                </a:cubicBezTo>
                <a:cubicBezTo>
                  <a:pt x="2193969" y="2634372"/>
                  <a:pt x="2192904" y="2637168"/>
                  <a:pt x="2192904" y="2641161"/>
                </a:cubicBezTo>
                <a:cubicBezTo>
                  <a:pt x="2192904" y="2645288"/>
                  <a:pt x="2193969" y="2648084"/>
                  <a:pt x="2196499" y="2650612"/>
                </a:cubicBezTo>
                <a:cubicBezTo>
                  <a:pt x="2198096" y="2652210"/>
                  <a:pt x="2200625" y="2654073"/>
                  <a:pt x="2206482" y="2654073"/>
                </a:cubicBezTo>
                <a:cubicBezTo>
                  <a:pt x="2208612" y="2654073"/>
                  <a:pt x="2210343" y="2653808"/>
                  <a:pt x="2211807" y="2653141"/>
                </a:cubicBezTo>
                <a:cubicBezTo>
                  <a:pt x="2213404" y="2652609"/>
                  <a:pt x="2214602" y="2651810"/>
                  <a:pt x="2215534" y="2650745"/>
                </a:cubicBezTo>
                <a:cubicBezTo>
                  <a:pt x="2216599" y="2649547"/>
                  <a:pt x="2217531" y="2648216"/>
                  <a:pt x="2218197" y="2646486"/>
                </a:cubicBezTo>
                <a:cubicBezTo>
                  <a:pt x="2218729" y="2644889"/>
                  <a:pt x="2219128" y="2643025"/>
                  <a:pt x="2219128" y="2641028"/>
                </a:cubicBezTo>
                <a:cubicBezTo>
                  <a:pt x="2219128" y="2639164"/>
                  <a:pt x="2218862" y="2637434"/>
                  <a:pt x="2218197" y="2635836"/>
                </a:cubicBezTo>
                <a:cubicBezTo>
                  <a:pt x="2217531" y="2634238"/>
                  <a:pt x="2216599" y="2632908"/>
                  <a:pt x="2215534" y="2631711"/>
                </a:cubicBezTo>
                <a:cubicBezTo>
                  <a:pt x="2214469" y="2630645"/>
                  <a:pt x="2213138" y="2629712"/>
                  <a:pt x="2211541" y="2629047"/>
                </a:cubicBezTo>
                <a:cubicBezTo>
                  <a:pt x="2210076" y="2628382"/>
                  <a:pt x="2208479" y="2628116"/>
                  <a:pt x="2206482" y="2628116"/>
                </a:cubicBezTo>
                <a:close/>
                <a:moveTo>
                  <a:pt x="1988962" y="2628116"/>
                </a:moveTo>
                <a:cubicBezTo>
                  <a:pt x="1983105" y="2628116"/>
                  <a:pt x="1980576" y="2630111"/>
                  <a:pt x="1978979" y="2631711"/>
                </a:cubicBezTo>
                <a:cubicBezTo>
                  <a:pt x="1976449" y="2634372"/>
                  <a:pt x="1975385" y="2637168"/>
                  <a:pt x="1975385" y="2641161"/>
                </a:cubicBezTo>
                <a:cubicBezTo>
                  <a:pt x="1975385" y="2645288"/>
                  <a:pt x="1976449" y="2648084"/>
                  <a:pt x="1978979" y="2650612"/>
                </a:cubicBezTo>
                <a:cubicBezTo>
                  <a:pt x="1980576" y="2652210"/>
                  <a:pt x="1983105" y="2654073"/>
                  <a:pt x="1988962" y="2654073"/>
                </a:cubicBezTo>
                <a:cubicBezTo>
                  <a:pt x="1990959" y="2654073"/>
                  <a:pt x="1992690" y="2653808"/>
                  <a:pt x="1994287" y="2653141"/>
                </a:cubicBezTo>
                <a:cubicBezTo>
                  <a:pt x="1995885" y="2652609"/>
                  <a:pt x="1997084" y="2651810"/>
                  <a:pt x="1998015" y="2650745"/>
                </a:cubicBezTo>
                <a:cubicBezTo>
                  <a:pt x="1999079" y="2649547"/>
                  <a:pt x="2000011" y="2648216"/>
                  <a:pt x="2000678" y="2646486"/>
                </a:cubicBezTo>
                <a:cubicBezTo>
                  <a:pt x="2001209" y="2644889"/>
                  <a:pt x="2001608" y="2643025"/>
                  <a:pt x="2001608" y="2641028"/>
                </a:cubicBezTo>
                <a:cubicBezTo>
                  <a:pt x="2001608" y="2639164"/>
                  <a:pt x="2001343" y="2637434"/>
                  <a:pt x="2000678" y="2635836"/>
                </a:cubicBezTo>
                <a:cubicBezTo>
                  <a:pt x="2000011" y="2634238"/>
                  <a:pt x="1999079" y="2632908"/>
                  <a:pt x="1998015" y="2631711"/>
                </a:cubicBezTo>
                <a:cubicBezTo>
                  <a:pt x="1996950" y="2630645"/>
                  <a:pt x="1995618" y="2629712"/>
                  <a:pt x="1994021" y="2629047"/>
                </a:cubicBezTo>
                <a:cubicBezTo>
                  <a:pt x="1992557" y="2628382"/>
                  <a:pt x="1990959" y="2628116"/>
                  <a:pt x="1988962" y="2628116"/>
                </a:cubicBezTo>
                <a:close/>
                <a:moveTo>
                  <a:pt x="1771323" y="2628116"/>
                </a:moveTo>
                <a:cubicBezTo>
                  <a:pt x="1765466" y="2628116"/>
                  <a:pt x="1762937" y="2630111"/>
                  <a:pt x="1761340" y="2631711"/>
                </a:cubicBezTo>
                <a:cubicBezTo>
                  <a:pt x="1758811" y="2634372"/>
                  <a:pt x="1757746" y="2637168"/>
                  <a:pt x="1757746" y="2641161"/>
                </a:cubicBezTo>
                <a:cubicBezTo>
                  <a:pt x="1757746" y="2645288"/>
                  <a:pt x="1758811" y="2648084"/>
                  <a:pt x="1761340" y="2650612"/>
                </a:cubicBezTo>
                <a:cubicBezTo>
                  <a:pt x="1762937" y="2652210"/>
                  <a:pt x="1765466" y="2654073"/>
                  <a:pt x="1771323" y="2654073"/>
                </a:cubicBezTo>
                <a:cubicBezTo>
                  <a:pt x="1773320" y="2654073"/>
                  <a:pt x="1775184" y="2653808"/>
                  <a:pt x="1776648" y="2653141"/>
                </a:cubicBezTo>
                <a:cubicBezTo>
                  <a:pt x="1778112" y="2652609"/>
                  <a:pt x="1779442" y="2651810"/>
                  <a:pt x="1780374" y="2650745"/>
                </a:cubicBezTo>
                <a:cubicBezTo>
                  <a:pt x="1781439" y="2649547"/>
                  <a:pt x="1782371" y="2648216"/>
                  <a:pt x="1783037" y="2646486"/>
                </a:cubicBezTo>
                <a:cubicBezTo>
                  <a:pt x="1783702" y="2644889"/>
                  <a:pt x="1784102" y="2643025"/>
                  <a:pt x="1784102" y="2641028"/>
                </a:cubicBezTo>
                <a:cubicBezTo>
                  <a:pt x="1784102" y="2639164"/>
                  <a:pt x="1783702" y="2637434"/>
                  <a:pt x="1783037" y="2635836"/>
                </a:cubicBezTo>
                <a:cubicBezTo>
                  <a:pt x="1782371" y="2634238"/>
                  <a:pt x="1781439" y="2632908"/>
                  <a:pt x="1780374" y="2631711"/>
                </a:cubicBezTo>
                <a:cubicBezTo>
                  <a:pt x="1779310" y="2630645"/>
                  <a:pt x="1777979" y="2629712"/>
                  <a:pt x="1776382" y="2629047"/>
                </a:cubicBezTo>
                <a:cubicBezTo>
                  <a:pt x="1774917" y="2628382"/>
                  <a:pt x="1773320" y="2628116"/>
                  <a:pt x="1771323" y="2628116"/>
                </a:cubicBezTo>
                <a:close/>
                <a:moveTo>
                  <a:pt x="1553681" y="2628116"/>
                </a:moveTo>
                <a:cubicBezTo>
                  <a:pt x="1547824" y="2628116"/>
                  <a:pt x="1545295" y="2630111"/>
                  <a:pt x="1543698" y="2631711"/>
                </a:cubicBezTo>
                <a:cubicBezTo>
                  <a:pt x="1541168" y="2634372"/>
                  <a:pt x="1540104" y="2637168"/>
                  <a:pt x="1540104" y="2641161"/>
                </a:cubicBezTo>
                <a:cubicBezTo>
                  <a:pt x="1540104" y="2645288"/>
                  <a:pt x="1541168" y="2648084"/>
                  <a:pt x="1543698" y="2650612"/>
                </a:cubicBezTo>
                <a:cubicBezTo>
                  <a:pt x="1545295" y="2652210"/>
                  <a:pt x="1547824" y="2654073"/>
                  <a:pt x="1553681" y="2654073"/>
                </a:cubicBezTo>
                <a:cubicBezTo>
                  <a:pt x="1555678" y="2654073"/>
                  <a:pt x="1557542" y="2653808"/>
                  <a:pt x="1559006" y="2653141"/>
                </a:cubicBezTo>
                <a:cubicBezTo>
                  <a:pt x="1560470" y="2652609"/>
                  <a:pt x="1561802" y="2651810"/>
                  <a:pt x="1562733" y="2650745"/>
                </a:cubicBezTo>
                <a:cubicBezTo>
                  <a:pt x="1563798" y="2649547"/>
                  <a:pt x="1564730" y="2648216"/>
                  <a:pt x="1565396" y="2646486"/>
                </a:cubicBezTo>
                <a:cubicBezTo>
                  <a:pt x="1566061" y="2644889"/>
                  <a:pt x="1566461" y="2643025"/>
                  <a:pt x="1566461" y="2641028"/>
                </a:cubicBezTo>
                <a:cubicBezTo>
                  <a:pt x="1566461" y="2639164"/>
                  <a:pt x="1566061" y="2637434"/>
                  <a:pt x="1565396" y="2635836"/>
                </a:cubicBezTo>
                <a:cubicBezTo>
                  <a:pt x="1564730" y="2634238"/>
                  <a:pt x="1563798" y="2632908"/>
                  <a:pt x="1562733" y="2631711"/>
                </a:cubicBezTo>
                <a:cubicBezTo>
                  <a:pt x="1561668" y="2630645"/>
                  <a:pt x="1560337" y="2629712"/>
                  <a:pt x="1558740" y="2629047"/>
                </a:cubicBezTo>
                <a:cubicBezTo>
                  <a:pt x="1557276" y="2628382"/>
                  <a:pt x="1555678" y="2628116"/>
                  <a:pt x="1553681" y="2628116"/>
                </a:cubicBezTo>
                <a:close/>
                <a:moveTo>
                  <a:pt x="1336036" y="2628116"/>
                </a:moveTo>
                <a:cubicBezTo>
                  <a:pt x="1330179" y="2628116"/>
                  <a:pt x="1327650" y="2630111"/>
                  <a:pt x="1326054" y="2631711"/>
                </a:cubicBezTo>
                <a:cubicBezTo>
                  <a:pt x="1323523" y="2634372"/>
                  <a:pt x="1322459" y="2637168"/>
                  <a:pt x="1322459" y="2641161"/>
                </a:cubicBezTo>
                <a:cubicBezTo>
                  <a:pt x="1322459" y="2645288"/>
                  <a:pt x="1323523" y="2648084"/>
                  <a:pt x="1326054" y="2650612"/>
                </a:cubicBezTo>
                <a:cubicBezTo>
                  <a:pt x="1327650" y="2652210"/>
                  <a:pt x="1330179" y="2654073"/>
                  <a:pt x="1336036" y="2654073"/>
                </a:cubicBezTo>
                <a:cubicBezTo>
                  <a:pt x="1338166" y="2654073"/>
                  <a:pt x="1339897" y="2653808"/>
                  <a:pt x="1341363" y="2653141"/>
                </a:cubicBezTo>
                <a:cubicBezTo>
                  <a:pt x="1342827" y="2652609"/>
                  <a:pt x="1344158" y="2651810"/>
                  <a:pt x="1345090" y="2650745"/>
                </a:cubicBezTo>
                <a:cubicBezTo>
                  <a:pt x="1346154" y="2649547"/>
                  <a:pt x="1347087" y="2648216"/>
                  <a:pt x="1347753" y="2646486"/>
                </a:cubicBezTo>
                <a:cubicBezTo>
                  <a:pt x="1348418" y="2644889"/>
                  <a:pt x="1348818" y="2643025"/>
                  <a:pt x="1348818" y="2641028"/>
                </a:cubicBezTo>
                <a:cubicBezTo>
                  <a:pt x="1348818" y="2639164"/>
                  <a:pt x="1348418" y="2637434"/>
                  <a:pt x="1347753" y="2635836"/>
                </a:cubicBezTo>
                <a:cubicBezTo>
                  <a:pt x="1347087" y="2634238"/>
                  <a:pt x="1346154" y="2632908"/>
                  <a:pt x="1345090" y="2631711"/>
                </a:cubicBezTo>
                <a:cubicBezTo>
                  <a:pt x="1344025" y="2630645"/>
                  <a:pt x="1342694" y="2629712"/>
                  <a:pt x="1341096" y="2629047"/>
                </a:cubicBezTo>
                <a:cubicBezTo>
                  <a:pt x="1339632" y="2628382"/>
                  <a:pt x="1338033" y="2628116"/>
                  <a:pt x="1336036" y="2628116"/>
                </a:cubicBezTo>
                <a:close/>
                <a:moveTo>
                  <a:pt x="1118525" y="2628116"/>
                </a:moveTo>
                <a:cubicBezTo>
                  <a:pt x="1112667" y="2628116"/>
                  <a:pt x="1110138" y="2630111"/>
                  <a:pt x="1108541" y="2631711"/>
                </a:cubicBezTo>
                <a:cubicBezTo>
                  <a:pt x="1105878" y="2634372"/>
                  <a:pt x="1104814" y="2637168"/>
                  <a:pt x="1104814" y="2641161"/>
                </a:cubicBezTo>
                <a:cubicBezTo>
                  <a:pt x="1104814" y="2645288"/>
                  <a:pt x="1105878" y="2648084"/>
                  <a:pt x="1108408" y="2650612"/>
                </a:cubicBezTo>
                <a:cubicBezTo>
                  <a:pt x="1110005" y="2652210"/>
                  <a:pt x="1112534" y="2654073"/>
                  <a:pt x="1118392" y="2654073"/>
                </a:cubicBezTo>
                <a:cubicBezTo>
                  <a:pt x="1120522" y="2654073"/>
                  <a:pt x="1122253" y="2653808"/>
                  <a:pt x="1123849" y="2653141"/>
                </a:cubicBezTo>
                <a:cubicBezTo>
                  <a:pt x="1125314" y="2652609"/>
                  <a:pt x="1126648" y="2651810"/>
                  <a:pt x="1127578" y="2650745"/>
                </a:cubicBezTo>
                <a:cubicBezTo>
                  <a:pt x="1128642" y="2649547"/>
                  <a:pt x="1129575" y="2648216"/>
                  <a:pt x="1130241" y="2646486"/>
                </a:cubicBezTo>
                <a:cubicBezTo>
                  <a:pt x="1130906" y="2644889"/>
                  <a:pt x="1131307" y="2643025"/>
                  <a:pt x="1131307" y="2641028"/>
                </a:cubicBezTo>
                <a:cubicBezTo>
                  <a:pt x="1131307" y="2639164"/>
                  <a:pt x="1130906" y="2637434"/>
                  <a:pt x="1130241" y="2635836"/>
                </a:cubicBezTo>
                <a:cubicBezTo>
                  <a:pt x="1129575" y="2634238"/>
                  <a:pt x="1128642" y="2632908"/>
                  <a:pt x="1127578" y="2631711"/>
                </a:cubicBezTo>
                <a:cubicBezTo>
                  <a:pt x="1126513" y="2630645"/>
                  <a:pt x="1125182" y="2629712"/>
                  <a:pt x="1123583" y="2629047"/>
                </a:cubicBezTo>
                <a:cubicBezTo>
                  <a:pt x="1122120" y="2628382"/>
                  <a:pt x="1120522" y="2628116"/>
                  <a:pt x="1118525" y="2628116"/>
                </a:cubicBezTo>
                <a:close/>
                <a:moveTo>
                  <a:pt x="901013" y="2628116"/>
                </a:moveTo>
                <a:cubicBezTo>
                  <a:pt x="895155" y="2628116"/>
                  <a:pt x="892626" y="2630111"/>
                  <a:pt x="891029" y="2631711"/>
                </a:cubicBezTo>
                <a:cubicBezTo>
                  <a:pt x="888366" y="2634372"/>
                  <a:pt x="887302" y="2637168"/>
                  <a:pt x="887302" y="2641161"/>
                </a:cubicBezTo>
                <a:cubicBezTo>
                  <a:pt x="887302" y="2645288"/>
                  <a:pt x="888366" y="2648084"/>
                  <a:pt x="890896" y="2650612"/>
                </a:cubicBezTo>
                <a:cubicBezTo>
                  <a:pt x="892493" y="2652210"/>
                  <a:pt x="895022" y="2654073"/>
                  <a:pt x="900879" y="2654073"/>
                </a:cubicBezTo>
                <a:cubicBezTo>
                  <a:pt x="902876" y="2654073"/>
                  <a:pt x="904607" y="2653808"/>
                  <a:pt x="906338" y="2653141"/>
                </a:cubicBezTo>
                <a:cubicBezTo>
                  <a:pt x="907802" y="2652609"/>
                  <a:pt x="909134" y="2651810"/>
                  <a:pt x="910066" y="2650745"/>
                </a:cubicBezTo>
                <a:cubicBezTo>
                  <a:pt x="911130" y="2649547"/>
                  <a:pt x="912062" y="2648216"/>
                  <a:pt x="912728" y="2646486"/>
                </a:cubicBezTo>
                <a:cubicBezTo>
                  <a:pt x="913393" y="2644889"/>
                  <a:pt x="913793" y="2643025"/>
                  <a:pt x="913793" y="2641028"/>
                </a:cubicBezTo>
                <a:cubicBezTo>
                  <a:pt x="913793" y="2639164"/>
                  <a:pt x="913393" y="2637434"/>
                  <a:pt x="912728" y="2635836"/>
                </a:cubicBezTo>
                <a:cubicBezTo>
                  <a:pt x="912062" y="2634238"/>
                  <a:pt x="911130" y="2632908"/>
                  <a:pt x="910066" y="2631711"/>
                </a:cubicBezTo>
                <a:cubicBezTo>
                  <a:pt x="909000" y="2630645"/>
                  <a:pt x="907669" y="2629712"/>
                  <a:pt x="906072" y="2629047"/>
                </a:cubicBezTo>
                <a:cubicBezTo>
                  <a:pt x="904607" y="2628382"/>
                  <a:pt x="903009" y="2628116"/>
                  <a:pt x="901013" y="2628116"/>
                </a:cubicBezTo>
                <a:close/>
                <a:moveTo>
                  <a:pt x="683237" y="2628116"/>
                </a:moveTo>
                <a:cubicBezTo>
                  <a:pt x="677380" y="2628116"/>
                  <a:pt x="674851" y="2630111"/>
                  <a:pt x="673254" y="2631711"/>
                </a:cubicBezTo>
                <a:cubicBezTo>
                  <a:pt x="670724" y="2634372"/>
                  <a:pt x="669660" y="2637168"/>
                  <a:pt x="669660" y="2641161"/>
                </a:cubicBezTo>
                <a:cubicBezTo>
                  <a:pt x="669660" y="2645288"/>
                  <a:pt x="670724" y="2648084"/>
                  <a:pt x="673254" y="2650612"/>
                </a:cubicBezTo>
                <a:cubicBezTo>
                  <a:pt x="674851" y="2652210"/>
                  <a:pt x="677380" y="2654073"/>
                  <a:pt x="683237" y="2654073"/>
                </a:cubicBezTo>
                <a:cubicBezTo>
                  <a:pt x="685234" y="2654073"/>
                  <a:pt x="687098" y="2653808"/>
                  <a:pt x="688562" y="2653141"/>
                </a:cubicBezTo>
                <a:cubicBezTo>
                  <a:pt x="690026" y="2652609"/>
                  <a:pt x="691358" y="2651810"/>
                  <a:pt x="692289" y="2650745"/>
                </a:cubicBezTo>
                <a:cubicBezTo>
                  <a:pt x="693354" y="2649547"/>
                  <a:pt x="694286" y="2648216"/>
                  <a:pt x="694952" y="2646486"/>
                </a:cubicBezTo>
                <a:cubicBezTo>
                  <a:pt x="695617" y="2644889"/>
                  <a:pt x="696017" y="2643025"/>
                  <a:pt x="696017" y="2641028"/>
                </a:cubicBezTo>
                <a:cubicBezTo>
                  <a:pt x="696017" y="2639164"/>
                  <a:pt x="695617" y="2637434"/>
                  <a:pt x="694952" y="2635836"/>
                </a:cubicBezTo>
                <a:cubicBezTo>
                  <a:pt x="694286" y="2634238"/>
                  <a:pt x="693354" y="2632908"/>
                  <a:pt x="692289" y="2631711"/>
                </a:cubicBezTo>
                <a:cubicBezTo>
                  <a:pt x="691224" y="2630645"/>
                  <a:pt x="689893" y="2629712"/>
                  <a:pt x="688296" y="2629047"/>
                </a:cubicBezTo>
                <a:cubicBezTo>
                  <a:pt x="686832" y="2628382"/>
                  <a:pt x="685234" y="2628116"/>
                  <a:pt x="683237" y="2628116"/>
                </a:cubicBezTo>
                <a:close/>
                <a:moveTo>
                  <a:pt x="465594" y="2628116"/>
                </a:moveTo>
                <a:cubicBezTo>
                  <a:pt x="459737" y="2628116"/>
                  <a:pt x="457208" y="2630111"/>
                  <a:pt x="455611" y="2631711"/>
                </a:cubicBezTo>
                <a:cubicBezTo>
                  <a:pt x="453081" y="2634372"/>
                  <a:pt x="452017" y="2637168"/>
                  <a:pt x="452017" y="2641161"/>
                </a:cubicBezTo>
                <a:cubicBezTo>
                  <a:pt x="452017" y="2645288"/>
                  <a:pt x="453081" y="2648084"/>
                  <a:pt x="455611" y="2650612"/>
                </a:cubicBezTo>
                <a:cubicBezTo>
                  <a:pt x="457208" y="2652210"/>
                  <a:pt x="459737" y="2654073"/>
                  <a:pt x="465594" y="2654073"/>
                </a:cubicBezTo>
                <a:cubicBezTo>
                  <a:pt x="467591" y="2654073"/>
                  <a:pt x="469455" y="2653808"/>
                  <a:pt x="470919" y="2653141"/>
                </a:cubicBezTo>
                <a:cubicBezTo>
                  <a:pt x="472383" y="2652609"/>
                  <a:pt x="473714" y="2651810"/>
                  <a:pt x="474646" y="2650745"/>
                </a:cubicBezTo>
                <a:cubicBezTo>
                  <a:pt x="475711" y="2649547"/>
                  <a:pt x="476643" y="2648216"/>
                  <a:pt x="477309" y="2646486"/>
                </a:cubicBezTo>
                <a:cubicBezTo>
                  <a:pt x="477974" y="2644889"/>
                  <a:pt x="478374" y="2643025"/>
                  <a:pt x="478374" y="2641028"/>
                </a:cubicBezTo>
                <a:cubicBezTo>
                  <a:pt x="478374" y="2639164"/>
                  <a:pt x="477974" y="2637434"/>
                  <a:pt x="477309" y="2635836"/>
                </a:cubicBezTo>
                <a:cubicBezTo>
                  <a:pt x="476643" y="2634238"/>
                  <a:pt x="475711" y="2632908"/>
                  <a:pt x="474646" y="2631711"/>
                </a:cubicBezTo>
                <a:cubicBezTo>
                  <a:pt x="473581" y="2630645"/>
                  <a:pt x="472250" y="2629712"/>
                  <a:pt x="470653" y="2629047"/>
                </a:cubicBezTo>
                <a:cubicBezTo>
                  <a:pt x="469189" y="2628382"/>
                  <a:pt x="467591" y="2628116"/>
                  <a:pt x="465594" y="2628116"/>
                </a:cubicBezTo>
                <a:close/>
                <a:moveTo>
                  <a:pt x="247951" y="2628116"/>
                </a:moveTo>
                <a:cubicBezTo>
                  <a:pt x="242093" y="2628116"/>
                  <a:pt x="239565" y="2630111"/>
                  <a:pt x="237968" y="2631711"/>
                </a:cubicBezTo>
                <a:cubicBezTo>
                  <a:pt x="235438" y="2634372"/>
                  <a:pt x="234374" y="2637168"/>
                  <a:pt x="234374" y="2641161"/>
                </a:cubicBezTo>
                <a:cubicBezTo>
                  <a:pt x="234374" y="2645288"/>
                  <a:pt x="235438" y="2648084"/>
                  <a:pt x="237968" y="2650612"/>
                </a:cubicBezTo>
                <a:cubicBezTo>
                  <a:pt x="239565" y="2652210"/>
                  <a:pt x="242093" y="2654073"/>
                  <a:pt x="247951" y="2654073"/>
                </a:cubicBezTo>
                <a:cubicBezTo>
                  <a:pt x="250081" y="2654073"/>
                  <a:pt x="251812" y="2653808"/>
                  <a:pt x="253275" y="2653141"/>
                </a:cubicBezTo>
                <a:cubicBezTo>
                  <a:pt x="254739" y="2652609"/>
                  <a:pt x="256070" y="2651810"/>
                  <a:pt x="257002" y="2650745"/>
                </a:cubicBezTo>
                <a:cubicBezTo>
                  <a:pt x="258067" y="2649547"/>
                  <a:pt x="258999" y="2648216"/>
                  <a:pt x="259665" y="2646486"/>
                </a:cubicBezTo>
                <a:cubicBezTo>
                  <a:pt x="260330" y="2644889"/>
                  <a:pt x="260730" y="2643025"/>
                  <a:pt x="260730" y="2641028"/>
                </a:cubicBezTo>
                <a:cubicBezTo>
                  <a:pt x="260730" y="2639164"/>
                  <a:pt x="260330" y="2637434"/>
                  <a:pt x="259665" y="2635836"/>
                </a:cubicBezTo>
                <a:cubicBezTo>
                  <a:pt x="258999" y="2634238"/>
                  <a:pt x="258067" y="2632908"/>
                  <a:pt x="257002" y="2631711"/>
                </a:cubicBezTo>
                <a:cubicBezTo>
                  <a:pt x="255937" y="2630645"/>
                  <a:pt x="254606" y="2629712"/>
                  <a:pt x="253009" y="2629047"/>
                </a:cubicBezTo>
                <a:cubicBezTo>
                  <a:pt x="251545" y="2628382"/>
                  <a:pt x="249947" y="2628116"/>
                  <a:pt x="247951" y="2628116"/>
                </a:cubicBezTo>
                <a:close/>
                <a:moveTo>
                  <a:pt x="30307" y="2628116"/>
                </a:moveTo>
                <a:cubicBezTo>
                  <a:pt x="24450" y="2628116"/>
                  <a:pt x="21921" y="2630111"/>
                  <a:pt x="20324" y="2631711"/>
                </a:cubicBezTo>
                <a:cubicBezTo>
                  <a:pt x="17794" y="2634372"/>
                  <a:pt x="16730" y="2637168"/>
                  <a:pt x="16730" y="2641161"/>
                </a:cubicBezTo>
                <a:cubicBezTo>
                  <a:pt x="16730" y="2645288"/>
                  <a:pt x="17794" y="2648084"/>
                  <a:pt x="20324" y="2650612"/>
                </a:cubicBezTo>
                <a:cubicBezTo>
                  <a:pt x="21921" y="2652210"/>
                  <a:pt x="24450" y="2654073"/>
                  <a:pt x="30307" y="2654073"/>
                </a:cubicBezTo>
                <a:cubicBezTo>
                  <a:pt x="32437" y="2654073"/>
                  <a:pt x="34168" y="2653808"/>
                  <a:pt x="35632" y="2653141"/>
                </a:cubicBezTo>
                <a:cubicBezTo>
                  <a:pt x="37096" y="2652609"/>
                  <a:pt x="38428" y="2651810"/>
                  <a:pt x="39359" y="2650745"/>
                </a:cubicBezTo>
                <a:cubicBezTo>
                  <a:pt x="40425" y="2649547"/>
                  <a:pt x="41356" y="2648216"/>
                  <a:pt x="42023" y="2646486"/>
                </a:cubicBezTo>
                <a:cubicBezTo>
                  <a:pt x="42688" y="2644889"/>
                  <a:pt x="42954" y="2643025"/>
                  <a:pt x="42954" y="2641028"/>
                </a:cubicBezTo>
                <a:cubicBezTo>
                  <a:pt x="42954" y="2639164"/>
                  <a:pt x="42688" y="2637434"/>
                  <a:pt x="42023" y="2635836"/>
                </a:cubicBezTo>
                <a:cubicBezTo>
                  <a:pt x="41356" y="2634238"/>
                  <a:pt x="40425" y="2632908"/>
                  <a:pt x="39359" y="2631711"/>
                </a:cubicBezTo>
                <a:cubicBezTo>
                  <a:pt x="38294" y="2630645"/>
                  <a:pt x="36964" y="2629712"/>
                  <a:pt x="35366" y="2629047"/>
                </a:cubicBezTo>
                <a:cubicBezTo>
                  <a:pt x="33902" y="2628382"/>
                  <a:pt x="32304" y="2628116"/>
                  <a:pt x="30307" y="2628116"/>
                </a:cubicBezTo>
                <a:close/>
                <a:moveTo>
                  <a:pt x="10475977" y="2611475"/>
                </a:moveTo>
                <a:cubicBezTo>
                  <a:pt x="10480237" y="2611475"/>
                  <a:pt x="10484230" y="2612274"/>
                  <a:pt x="10487824" y="2614137"/>
                </a:cubicBezTo>
                <a:cubicBezTo>
                  <a:pt x="10491419" y="2615735"/>
                  <a:pt x="10494613" y="2617865"/>
                  <a:pt x="10497143" y="2620528"/>
                </a:cubicBezTo>
                <a:cubicBezTo>
                  <a:pt x="10499672" y="2623057"/>
                  <a:pt x="10501801" y="2626252"/>
                  <a:pt x="10503266" y="2629846"/>
                </a:cubicBezTo>
                <a:cubicBezTo>
                  <a:pt x="10504730" y="2633439"/>
                  <a:pt x="10505529" y="2637168"/>
                  <a:pt x="10505529" y="2641294"/>
                </a:cubicBezTo>
                <a:cubicBezTo>
                  <a:pt x="10505529" y="2645421"/>
                  <a:pt x="10504730" y="2649414"/>
                  <a:pt x="10503266" y="2653009"/>
                </a:cubicBezTo>
                <a:cubicBezTo>
                  <a:pt x="10501669" y="2656602"/>
                  <a:pt x="10499672" y="2659664"/>
                  <a:pt x="10497143" y="2662328"/>
                </a:cubicBezTo>
                <a:cubicBezTo>
                  <a:pt x="10494480" y="2664989"/>
                  <a:pt x="10491419" y="2667119"/>
                  <a:pt x="10487824" y="2668583"/>
                </a:cubicBezTo>
                <a:cubicBezTo>
                  <a:pt x="10484098" y="2670047"/>
                  <a:pt x="10480237" y="2670846"/>
                  <a:pt x="10475977" y="2670846"/>
                </a:cubicBezTo>
                <a:cubicBezTo>
                  <a:pt x="10466924" y="2670846"/>
                  <a:pt x="10459736" y="2667917"/>
                  <a:pt x="10454145" y="2662328"/>
                </a:cubicBezTo>
                <a:cubicBezTo>
                  <a:pt x="10448554" y="2656736"/>
                  <a:pt x="10445759" y="2649681"/>
                  <a:pt x="10445759" y="2641161"/>
                </a:cubicBezTo>
                <a:cubicBezTo>
                  <a:pt x="10445759" y="2632908"/>
                  <a:pt x="10448554" y="2625852"/>
                  <a:pt x="10454145" y="2620128"/>
                </a:cubicBezTo>
                <a:cubicBezTo>
                  <a:pt x="10459603" y="2614271"/>
                  <a:pt x="10466924" y="2611475"/>
                  <a:pt x="10475977" y="2611475"/>
                </a:cubicBezTo>
                <a:close/>
                <a:moveTo>
                  <a:pt x="10258466" y="2611475"/>
                </a:moveTo>
                <a:cubicBezTo>
                  <a:pt x="10262592" y="2611475"/>
                  <a:pt x="10266586" y="2612274"/>
                  <a:pt x="10270313" y="2614137"/>
                </a:cubicBezTo>
                <a:cubicBezTo>
                  <a:pt x="10273907" y="2615735"/>
                  <a:pt x="10277101" y="2617865"/>
                  <a:pt x="10279631" y="2620528"/>
                </a:cubicBezTo>
                <a:cubicBezTo>
                  <a:pt x="10282160" y="2623057"/>
                  <a:pt x="10284290" y="2626252"/>
                  <a:pt x="10285754" y="2629846"/>
                </a:cubicBezTo>
                <a:cubicBezTo>
                  <a:pt x="10287218" y="2633439"/>
                  <a:pt x="10288017" y="2637168"/>
                  <a:pt x="10288017" y="2641294"/>
                </a:cubicBezTo>
                <a:cubicBezTo>
                  <a:pt x="10288017" y="2645421"/>
                  <a:pt x="10287218" y="2649414"/>
                  <a:pt x="10285754" y="2653009"/>
                </a:cubicBezTo>
                <a:cubicBezTo>
                  <a:pt x="10284157" y="2656602"/>
                  <a:pt x="10282160" y="2659664"/>
                  <a:pt x="10279631" y="2662328"/>
                </a:cubicBezTo>
                <a:cubicBezTo>
                  <a:pt x="10276969" y="2664989"/>
                  <a:pt x="10273907" y="2667119"/>
                  <a:pt x="10270313" y="2668583"/>
                </a:cubicBezTo>
                <a:cubicBezTo>
                  <a:pt x="10266586" y="2670047"/>
                  <a:pt x="10262725" y="2670846"/>
                  <a:pt x="10258466" y="2670846"/>
                </a:cubicBezTo>
                <a:cubicBezTo>
                  <a:pt x="10249546" y="2670846"/>
                  <a:pt x="10242224" y="2667917"/>
                  <a:pt x="10236633" y="2662328"/>
                </a:cubicBezTo>
                <a:cubicBezTo>
                  <a:pt x="10231043" y="2656736"/>
                  <a:pt x="10228247" y="2649681"/>
                  <a:pt x="10228247" y="2641161"/>
                </a:cubicBezTo>
                <a:cubicBezTo>
                  <a:pt x="10228247" y="2632908"/>
                  <a:pt x="10231043" y="2625852"/>
                  <a:pt x="10236633" y="2620128"/>
                </a:cubicBezTo>
                <a:cubicBezTo>
                  <a:pt x="10242092" y="2614271"/>
                  <a:pt x="10249413" y="2611475"/>
                  <a:pt x="10258466" y="2611475"/>
                </a:cubicBezTo>
                <a:close/>
                <a:moveTo>
                  <a:pt x="10040820" y="2611475"/>
                </a:moveTo>
                <a:cubicBezTo>
                  <a:pt x="10045080" y="2611475"/>
                  <a:pt x="10048941" y="2612274"/>
                  <a:pt x="10052534" y="2614137"/>
                </a:cubicBezTo>
                <a:cubicBezTo>
                  <a:pt x="10056129" y="2615735"/>
                  <a:pt x="10059323" y="2617865"/>
                  <a:pt x="10061852" y="2620528"/>
                </a:cubicBezTo>
                <a:cubicBezTo>
                  <a:pt x="10064382" y="2623057"/>
                  <a:pt x="10066512" y="2626252"/>
                  <a:pt x="10067976" y="2629846"/>
                </a:cubicBezTo>
                <a:cubicBezTo>
                  <a:pt x="10069440" y="2633439"/>
                  <a:pt x="10070239" y="2637168"/>
                  <a:pt x="10070239" y="2641294"/>
                </a:cubicBezTo>
                <a:cubicBezTo>
                  <a:pt x="10070239" y="2645421"/>
                  <a:pt x="10069440" y="2649414"/>
                  <a:pt x="10067976" y="2653009"/>
                </a:cubicBezTo>
                <a:cubicBezTo>
                  <a:pt x="10066379" y="2656602"/>
                  <a:pt x="10064382" y="2659664"/>
                  <a:pt x="10061852" y="2662328"/>
                </a:cubicBezTo>
                <a:cubicBezTo>
                  <a:pt x="10059190" y="2664989"/>
                  <a:pt x="10056129" y="2667119"/>
                  <a:pt x="10052534" y="2668583"/>
                </a:cubicBezTo>
                <a:cubicBezTo>
                  <a:pt x="10048941" y="2670047"/>
                  <a:pt x="10045080" y="2670846"/>
                  <a:pt x="10040820" y="2670846"/>
                </a:cubicBezTo>
                <a:cubicBezTo>
                  <a:pt x="10031767" y="2670846"/>
                  <a:pt x="10024579" y="2667917"/>
                  <a:pt x="10018988" y="2662328"/>
                </a:cubicBezTo>
                <a:cubicBezTo>
                  <a:pt x="10013397" y="2656736"/>
                  <a:pt x="10010602" y="2649681"/>
                  <a:pt x="10010602" y="2641161"/>
                </a:cubicBezTo>
                <a:cubicBezTo>
                  <a:pt x="10010602" y="2632908"/>
                  <a:pt x="10013397" y="2625852"/>
                  <a:pt x="10018988" y="2620128"/>
                </a:cubicBezTo>
                <a:cubicBezTo>
                  <a:pt x="10024579" y="2614271"/>
                  <a:pt x="10031767" y="2611475"/>
                  <a:pt x="10040820" y="2611475"/>
                </a:cubicBezTo>
                <a:close/>
                <a:moveTo>
                  <a:pt x="9823176" y="2611475"/>
                </a:moveTo>
                <a:cubicBezTo>
                  <a:pt x="9827435" y="2611475"/>
                  <a:pt x="9831296" y="2612274"/>
                  <a:pt x="9834890" y="2614137"/>
                </a:cubicBezTo>
                <a:cubicBezTo>
                  <a:pt x="9838617" y="2615735"/>
                  <a:pt x="9841679" y="2617865"/>
                  <a:pt x="9844208" y="2620528"/>
                </a:cubicBezTo>
                <a:cubicBezTo>
                  <a:pt x="9846737" y="2623057"/>
                  <a:pt x="9848867" y="2626252"/>
                  <a:pt x="9850331" y="2629846"/>
                </a:cubicBezTo>
                <a:cubicBezTo>
                  <a:pt x="9851796" y="2633439"/>
                  <a:pt x="9852595" y="2637168"/>
                  <a:pt x="9852595" y="2641294"/>
                </a:cubicBezTo>
                <a:cubicBezTo>
                  <a:pt x="9852595" y="2645421"/>
                  <a:pt x="9851796" y="2649414"/>
                  <a:pt x="9850331" y="2653009"/>
                </a:cubicBezTo>
                <a:cubicBezTo>
                  <a:pt x="9848734" y="2656602"/>
                  <a:pt x="9846737" y="2659664"/>
                  <a:pt x="9844208" y="2662328"/>
                </a:cubicBezTo>
                <a:cubicBezTo>
                  <a:pt x="9841546" y="2664989"/>
                  <a:pt x="9838484" y="2667119"/>
                  <a:pt x="9834890" y="2668583"/>
                </a:cubicBezTo>
                <a:cubicBezTo>
                  <a:pt x="9831296" y="2670047"/>
                  <a:pt x="9827435" y="2670846"/>
                  <a:pt x="9823176" y="2670846"/>
                </a:cubicBezTo>
                <a:cubicBezTo>
                  <a:pt x="9814123" y="2670846"/>
                  <a:pt x="9806935" y="2667917"/>
                  <a:pt x="9801343" y="2662328"/>
                </a:cubicBezTo>
                <a:cubicBezTo>
                  <a:pt x="9795753" y="2656736"/>
                  <a:pt x="9792957" y="2649681"/>
                  <a:pt x="9792957" y="2641161"/>
                </a:cubicBezTo>
                <a:cubicBezTo>
                  <a:pt x="9792957" y="2632908"/>
                  <a:pt x="9795753" y="2625852"/>
                  <a:pt x="9801343" y="2620128"/>
                </a:cubicBezTo>
                <a:cubicBezTo>
                  <a:pt x="9806935" y="2614271"/>
                  <a:pt x="9814123" y="2611475"/>
                  <a:pt x="9823176" y="2611475"/>
                </a:cubicBezTo>
                <a:close/>
                <a:moveTo>
                  <a:pt x="9605531" y="2611475"/>
                </a:moveTo>
                <a:cubicBezTo>
                  <a:pt x="9609790" y="2611475"/>
                  <a:pt x="9613784" y="2612274"/>
                  <a:pt x="9617245" y="2614137"/>
                </a:cubicBezTo>
                <a:cubicBezTo>
                  <a:pt x="9620839" y="2615735"/>
                  <a:pt x="9624033" y="2617865"/>
                  <a:pt x="9626562" y="2620528"/>
                </a:cubicBezTo>
                <a:cubicBezTo>
                  <a:pt x="9629092" y="2623057"/>
                  <a:pt x="9631222" y="2626252"/>
                  <a:pt x="9632686" y="2629846"/>
                </a:cubicBezTo>
                <a:cubicBezTo>
                  <a:pt x="9634150" y="2633439"/>
                  <a:pt x="9634949" y="2637168"/>
                  <a:pt x="9634949" y="2641294"/>
                </a:cubicBezTo>
                <a:cubicBezTo>
                  <a:pt x="9634949" y="2645421"/>
                  <a:pt x="9634150" y="2649414"/>
                  <a:pt x="9632686" y="2653009"/>
                </a:cubicBezTo>
                <a:cubicBezTo>
                  <a:pt x="9631089" y="2656602"/>
                  <a:pt x="9629092" y="2659664"/>
                  <a:pt x="9626562" y="2662328"/>
                </a:cubicBezTo>
                <a:cubicBezTo>
                  <a:pt x="9623901" y="2664989"/>
                  <a:pt x="9620839" y="2667119"/>
                  <a:pt x="9617245" y="2668583"/>
                </a:cubicBezTo>
                <a:cubicBezTo>
                  <a:pt x="9613651" y="2670047"/>
                  <a:pt x="9609790" y="2670846"/>
                  <a:pt x="9605531" y="2670846"/>
                </a:cubicBezTo>
                <a:cubicBezTo>
                  <a:pt x="9596610" y="2670846"/>
                  <a:pt x="9589289" y="2667917"/>
                  <a:pt x="9583698" y="2662328"/>
                </a:cubicBezTo>
                <a:cubicBezTo>
                  <a:pt x="9578108" y="2656736"/>
                  <a:pt x="9575312" y="2649681"/>
                  <a:pt x="9575312" y="2641161"/>
                </a:cubicBezTo>
                <a:cubicBezTo>
                  <a:pt x="9575312" y="2632908"/>
                  <a:pt x="9578108" y="2625852"/>
                  <a:pt x="9583698" y="2620128"/>
                </a:cubicBezTo>
                <a:cubicBezTo>
                  <a:pt x="9589289" y="2614271"/>
                  <a:pt x="9596478" y="2611475"/>
                  <a:pt x="9605531" y="2611475"/>
                </a:cubicBezTo>
                <a:close/>
                <a:moveTo>
                  <a:pt x="9387885" y="2611475"/>
                </a:moveTo>
                <a:cubicBezTo>
                  <a:pt x="9392145" y="2611475"/>
                  <a:pt x="9396138" y="2612274"/>
                  <a:pt x="9399599" y="2614137"/>
                </a:cubicBezTo>
                <a:cubicBezTo>
                  <a:pt x="9403194" y="2615735"/>
                  <a:pt x="9406388" y="2617865"/>
                  <a:pt x="9408917" y="2620528"/>
                </a:cubicBezTo>
                <a:cubicBezTo>
                  <a:pt x="9411447" y="2623057"/>
                  <a:pt x="9413576" y="2626252"/>
                  <a:pt x="9415041" y="2629846"/>
                </a:cubicBezTo>
                <a:cubicBezTo>
                  <a:pt x="9416505" y="2633439"/>
                  <a:pt x="9417304" y="2637168"/>
                  <a:pt x="9417304" y="2641294"/>
                </a:cubicBezTo>
                <a:cubicBezTo>
                  <a:pt x="9417304" y="2645421"/>
                  <a:pt x="9416505" y="2649414"/>
                  <a:pt x="9415041" y="2653009"/>
                </a:cubicBezTo>
                <a:cubicBezTo>
                  <a:pt x="9413444" y="2656602"/>
                  <a:pt x="9411447" y="2659664"/>
                  <a:pt x="9408917" y="2662328"/>
                </a:cubicBezTo>
                <a:cubicBezTo>
                  <a:pt x="9406255" y="2664989"/>
                  <a:pt x="9403194" y="2667119"/>
                  <a:pt x="9399599" y="2668583"/>
                </a:cubicBezTo>
                <a:cubicBezTo>
                  <a:pt x="9396005" y="2670047"/>
                  <a:pt x="9392145" y="2670846"/>
                  <a:pt x="9387885" y="2670846"/>
                </a:cubicBezTo>
                <a:cubicBezTo>
                  <a:pt x="9378965" y="2670846"/>
                  <a:pt x="9371644" y="2667917"/>
                  <a:pt x="9366053" y="2662328"/>
                </a:cubicBezTo>
                <a:cubicBezTo>
                  <a:pt x="9360462" y="2656736"/>
                  <a:pt x="9357667" y="2649681"/>
                  <a:pt x="9357667" y="2641161"/>
                </a:cubicBezTo>
                <a:cubicBezTo>
                  <a:pt x="9357667" y="2632908"/>
                  <a:pt x="9360462" y="2625852"/>
                  <a:pt x="9366053" y="2620128"/>
                </a:cubicBezTo>
                <a:cubicBezTo>
                  <a:pt x="9371644" y="2614271"/>
                  <a:pt x="9378832" y="2611475"/>
                  <a:pt x="9387885" y="2611475"/>
                </a:cubicBezTo>
                <a:close/>
                <a:moveTo>
                  <a:pt x="9170374" y="2611475"/>
                </a:moveTo>
                <a:cubicBezTo>
                  <a:pt x="9174500" y="2611475"/>
                  <a:pt x="9178494" y="2612274"/>
                  <a:pt x="9182088" y="2614137"/>
                </a:cubicBezTo>
                <a:cubicBezTo>
                  <a:pt x="9185682" y="2615735"/>
                  <a:pt x="9188876" y="2617865"/>
                  <a:pt x="9191405" y="2620528"/>
                </a:cubicBezTo>
                <a:cubicBezTo>
                  <a:pt x="9193935" y="2623057"/>
                  <a:pt x="9196065" y="2626252"/>
                  <a:pt x="9197529" y="2629846"/>
                </a:cubicBezTo>
                <a:cubicBezTo>
                  <a:pt x="9198993" y="2633439"/>
                  <a:pt x="9199792" y="2637168"/>
                  <a:pt x="9199792" y="2641294"/>
                </a:cubicBezTo>
                <a:cubicBezTo>
                  <a:pt x="9199792" y="2645421"/>
                  <a:pt x="9198993" y="2649414"/>
                  <a:pt x="9197529" y="2653009"/>
                </a:cubicBezTo>
                <a:cubicBezTo>
                  <a:pt x="9195932" y="2656602"/>
                  <a:pt x="9193935" y="2659664"/>
                  <a:pt x="9191405" y="2662328"/>
                </a:cubicBezTo>
                <a:cubicBezTo>
                  <a:pt x="9188744" y="2664989"/>
                  <a:pt x="9185682" y="2667119"/>
                  <a:pt x="9182088" y="2668583"/>
                </a:cubicBezTo>
                <a:cubicBezTo>
                  <a:pt x="9178494" y="2670047"/>
                  <a:pt x="9174633" y="2670846"/>
                  <a:pt x="9170374" y="2670846"/>
                </a:cubicBezTo>
                <a:cubicBezTo>
                  <a:pt x="9161453" y="2670846"/>
                  <a:pt x="9154132" y="2667917"/>
                  <a:pt x="9148541" y="2662328"/>
                </a:cubicBezTo>
                <a:cubicBezTo>
                  <a:pt x="9142951" y="2656736"/>
                  <a:pt x="9140155" y="2649681"/>
                  <a:pt x="9140155" y="2641161"/>
                </a:cubicBezTo>
                <a:cubicBezTo>
                  <a:pt x="9140155" y="2632908"/>
                  <a:pt x="9142951" y="2625852"/>
                  <a:pt x="9148541" y="2620128"/>
                </a:cubicBezTo>
                <a:cubicBezTo>
                  <a:pt x="9154132" y="2614271"/>
                  <a:pt x="9161321" y="2611475"/>
                  <a:pt x="9170374" y="2611475"/>
                </a:cubicBezTo>
                <a:close/>
                <a:moveTo>
                  <a:pt x="8952728" y="2611475"/>
                </a:moveTo>
                <a:cubicBezTo>
                  <a:pt x="8956988" y="2611475"/>
                  <a:pt x="8960849" y="2612274"/>
                  <a:pt x="8964442" y="2614137"/>
                </a:cubicBezTo>
                <a:cubicBezTo>
                  <a:pt x="8968037" y="2615735"/>
                  <a:pt x="8971231" y="2617865"/>
                  <a:pt x="8973760" y="2620528"/>
                </a:cubicBezTo>
                <a:cubicBezTo>
                  <a:pt x="8976290" y="2623057"/>
                  <a:pt x="8978419" y="2626252"/>
                  <a:pt x="8979884" y="2629846"/>
                </a:cubicBezTo>
                <a:cubicBezTo>
                  <a:pt x="8981348" y="2633439"/>
                  <a:pt x="8982147" y="2637168"/>
                  <a:pt x="8982147" y="2641294"/>
                </a:cubicBezTo>
                <a:cubicBezTo>
                  <a:pt x="8982147" y="2645421"/>
                  <a:pt x="8981348" y="2649414"/>
                  <a:pt x="8979884" y="2653009"/>
                </a:cubicBezTo>
                <a:cubicBezTo>
                  <a:pt x="8978287" y="2656602"/>
                  <a:pt x="8976290" y="2659664"/>
                  <a:pt x="8973760" y="2662328"/>
                </a:cubicBezTo>
                <a:cubicBezTo>
                  <a:pt x="8971098" y="2664989"/>
                  <a:pt x="8968037" y="2667119"/>
                  <a:pt x="8964442" y="2668583"/>
                </a:cubicBezTo>
                <a:cubicBezTo>
                  <a:pt x="8960849" y="2670047"/>
                  <a:pt x="8956988" y="2670846"/>
                  <a:pt x="8952728" y="2670846"/>
                </a:cubicBezTo>
                <a:cubicBezTo>
                  <a:pt x="8943808" y="2670846"/>
                  <a:pt x="8936487" y="2667917"/>
                  <a:pt x="8930896" y="2662328"/>
                </a:cubicBezTo>
                <a:cubicBezTo>
                  <a:pt x="8925305" y="2656736"/>
                  <a:pt x="8922510" y="2649681"/>
                  <a:pt x="8922510" y="2641161"/>
                </a:cubicBezTo>
                <a:cubicBezTo>
                  <a:pt x="8922510" y="2632908"/>
                  <a:pt x="8925305" y="2625852"/>
                  <a:pt x="8930896" y="2620128"/>
                </a:cubicBezTo>
                <a:cubicBezTo>
                  <a:pt x="8936487" y="2614271"/>
                  <a:pt x="8943675" y="2611475"/>
                  <a:pt x="8952728" y="2611475"/>
                </a:cubicBezTo>
                <a:close/>
                <a:moveTo>
                  <a:pt x="8735083" y="2611475"/>
                </a:moveTo>
                <a:cubicBezTo>
                  <a:pt x="8739342" y="2611475"/>
                  <a:pt x="8743203" y="2612274"/>
                  <a:pt x="8746797" y="2614137"/>
                </a:cubicBezTo>
                <a:cubicBezTo>
                  <a:pt x="8750391" y="2615735"/>
                  <a:pt x="8753586" y="2617865"/>
                  <a:pt x="8756115" y="2620528"/>
                </a:cubicBezTo>
                <a:cubicBezTo>
                  <a:pt x="8758644" y="2623057"/>
                  <a:pt x="8760774" y="2626252"/>
                  <a:pt x="8762238" y="2629846"/>
                </a:cubicBezTo>
                <a:cubicBezTo>
                  <a:pt x="8763702" y="2633439"/>
                  <a:pt x="8764502" y="2637168"/>
                  <a:pt x="8764502" y="2641294"/>
                </a:cubicBezTo>
                <a:cubicBezTo>
                  <a:pt x="8764502" y="2645421"/>
                  <a:pt x="8763702" y="2649414"/>
                  <a:pt x="8762238" y="2653009"/>
                </a:cubicBezTo>
                <a:cubicBezTo>
                  <a:pt x="8760641" y="2656602"/>
                  <a:pt x="8758644" y="2659664"/>
                  <a:pt x="8756115" y="2662328"/>
                </a:cubicBezTo>
                <a:cubicBezTo>
                  <a:pt x="8753453" y="2664989"/>
                  <a:pt x="8750391" y="2667119"/>
                  <a:pt x="8746797" y="2668583"/>
                </a:cubicBezTo>
                <a:cubicBezTo>
                  <a:pt x="8743203" y="2670047"/>
                  <a:pt x="8739342" y="2670846"/>
                  <a:pt x="8735083" y="2670846"/>
                </a:cubicBezTo>
                <a:cubicBezTo>
                  <a:pt x="8726030" y="2670846"/>
                  <a:pt x="8718841" y="2667917"/>
                  <a:pt x="8713250" y="2662328"/>
                </a:cubicBezTo>
                <a:cubicBezTo>
                  <a:pt x="8707660" y="2656736"/>
                  <a:pt x="8704864" y="2649681"/>
                  <a:pt x="8704864" y="2641161"/>
                </a:cubicBezTo>
                <a:cubicBezTo>
                  <a:pt x="8704864" y="2632908"/>
                  <a:pt x="8707660" y="2625852"/>
                  <a:pt x="8713250" y="2620128"/>
                </a:cubicBezTo>
                <a:cubicBezTo>
                  <a:pt x="8718841" y="2614271"/>
                  <a:pt x="8726030" y="2611475"/>
                  <a:pt x="8735083" y="2611475"/>
                </a:cubicBezTo>
                <a:close/>
                <a:moveTo>
                  <a:pt x="8517438" y="2611475"/>
                </a:moveTo>
                <a:cubicBezTo>
                  <a:pt x="8521698" y="2611475"/>
                  <a:pt x="8525559" y="2612274"/>
                  <a:pt x="8529152" y="2614137"/>
                </a:cubicBezTo>
                <a:cubicBezTo>
                  <a:pt x="8532880" y="2615735"/>
                  <a:pt x="8535941" y="2617865"/>
                  <a:pt x="8538470" y="2620528"/>
                </a:cubicBezTo>
                <a:cubicBezTo>
                  <a:pt x="8541000" y="2623057"/>
                  <a:pt x="8543130" y="2626252"/>
                  <a:pt x="8544594" y="2629846"/>
                </a:cubicBezTo>
                <a:cubicBezTo>
                  <a:pt x="8546058" y="2633439"/>
                  <a:pt x="8546857" y="2637168"/>
                  <a:pt x="8546857" y="2641294"/>
                </a:cubicBezTo>
                <a:cubicBezTo>
                  <a:pt x="8546857" y="2645421"/>
                  <a:pt x="8546058" y="2649414"/>
                  <a:pt x="8544594" y="2653009"/>
                </a:cubicBezTo>
                <a:cubicBezTo>
                  <a:pt x="8542997" y="2656602"/>
                  <a:pt x="8541000" y="2659664"/>
                  <a:pt x="8538470" y="2662328"/>
                </a:cubicBezTo>
                <a:cubicBezTo>
                  <a:pt x="8535808" y="2664989"/>
                  <a:pt x="8532747" y="2667119"/>
                  <a:pt x="8529152" y="2668583"/>
                </a:cubicBezTo>
                <a:cubicBezTo>
                  <a:pt x="8525559" y="2670047"/>
                  <a:pt x="8521698" y="2670846"/>
                  <a:pt x="8517438" y="2670846"/>
                </a:cubicBezTo>
                <a:cubicBezTo>
                  <a:pt x="8508385" y="2670846"/>
                  <a:pt x="8501197" y="2667917"/>
                  <a:pt x="8495606" y="2662328"/>
                </a:cubicBezTo>
                <a:cubicBezTo>
                  <a:pt x="8490015" y="2656736"/>
                  <a:pt x="8487220" y="2649681"/>
                  <a:pt x="8487220" y="2641161"/>
                </a:cubicBezTo>
                <a:cubicBezTo>
                  <a:pt x="8487220" y="2632908"/>
                  <a:pt x="8490015" y="2625852"/>
                  <a:pt x="8495606" y="2620128"/>
                </a:cubicBezTo>
                <a:cubicBezTo>
                  <a:pt x="8501197" y="2614271"/>
                  <a:pt x="8508385" y="2611475"/>
                  <a:pt x="8517438" y="2611475"/>
                </a:cubicBezTo>
                <a:close/>
                <a:moveTo>
                  <a:pt x="8299793" y="2611475"/>
                </a:moveTo>
                <a:cubicBezTo>
                  <a:pt x="8304052" y="2611475"/>
                  <a:pt x="8308046" y="2612274"/>
                  <a:pt x="8311507" y="2614137"/>
                </a:cubicBezTo>
                <a:cubicBezTo>
                  <a:pt x="8315235" y="2615735"/>
                  <a:pt x="8318296" y="2617865"/>
                  <a:pt x="8320825" y="2620528"/>
                </a:cubicBezTo>
                <a:cubicBezTo>
                  <a:pt x="8323354" y="2623057"/>
                  <a:pt x="8325484" y="2626252"/>
                  <a:pt x="8326948" y="2629846"/>
                </a:cubicBezTo>
                <a:cubicBezTo>
                  <a:pt x="8328413" y="2633439"/>
                  <a:pt x="8329212" y="2637168"/>
                  <a:pt x="8329212" y="2641294"/>
                </a:cubicBezTo>
                <a:cubicBezTo>
                  <a:pt x="8329212" y="2645421"/>
                  <a:pt x="8328413" y="2649414"/>
                  <a:pt x="8326948" y="2653009"/>
                </a:cubicBezTo>
                <a:cubicBezTo>
                  <a:pt x="8325351" y="2656602"/>
                  <a:pt x="8323354" y="2659664"/>
                  <a:pt x="8320825" y="2662328"/>
                </a:cubicBezTo>
                <a:cubicBezTo>
                  <a:pt x="8318163" y="2664989"/>
                  <a:pt x="8315101" y="2667119"/>
                  <a:pt x="8311507" y="2668583"/>
                </a:cubicBezTo>
                <a:cubicBezTo>
                  <a:pt x="8307913" y="2670047"/>
                  <a:pt x="8304052" y="2670846"/>
                  <a:pt x="8299793" y="2670846"/>
                </a:cubicBezTo>
                <a:cubicBezTo>
                  <a:pt x="8290874" y="2670846"/>
                  <a:pt x="8283553" y="2667917"/>
                  <a:pt x="8277960" y="2662328"/>
                </a:cubicBezTo>
                <a:cubicBezTo>
                  <a:pt x="8272370" y="2656736"/>
                  <a:pt x="8269574" y="2649681"/>
                  <a:pt x="8269574" y="2641161"/>
                </a:cubicBezTo>
                <a:cubicBezTo>
                  <a:pt x="8269574" y="2632908"/>
                  <a:pt x="8272370" y="2625852"/>
                  <a:pt x="8277960" y="2620128"/>
                </a:cubicBezTo>
                <a:cubicBezTo>
                  <a:pt x="8283553" y="2614271"/>
                  <a:pt x="8290741" y="2611475"/>
                  <a:pt x="8299793" y="2611475"/>
                </a:cubicBezTo>
                <a:close/>
                <a:moveTo>
                  <a:pt x="8082281" y="2611475"/>
                </a:moveTo>
                <a:cubicBezTo>
                  <a:pt x="8086407" y="2611475"/>
                  <a:pt x="8090401" y="2612274"/>
                  <a:pt x="8094127" y="2614137"/>
                </a:cubicBezTo>
                <a:cubicBezTo>
                  <a:pt x="8097855" y="2615735"/>
                  <a:pt x="8100916" y="2617865"/>
                  <a:pt x="8103446" y="2620528"/>
                </a:cubicBezTo>
                <a:cubicBezTo>
                  <a:pt x="8105975" y="2623057"/>
                  <a:pt x="8108104" y="2626252"/>
                  <a:pt x="8109569" y="2629846"/>
                </a:cubicBezTo>
                <a:cubicBezTo>
                  <a:pt x="8111033" y="2633439"/>
                  <a:pt x="8111832" y="2637168"/>
                  <a:pt x="8111832" y="2641294"/>
                </a:cubicBezTo>
                <a:cubicBezTo>
                  <a:pt x="8111832" y="2645421"/>
                  <a:pt x="8111033" y="2649414"/>
                  <a:pt x="8109569" y="2653009"/>
                </a:cubicBezTo>
                <a:cubicBezTo>
                  <a:pt x="8107972" y="2656602"/>
                  <a:pt x="8105975" y="2659664"/>
                  <a:pt x="8103446" y="2662328"/>
                </a:cubicBezTo>
                <a:cubicBezTo>
                  <a:pt x="8100783" y="2664989"/>
                  <a:pt x="8097722" y="2667119"/>
                  <a:pt x="8094127" y="2668583"/>
                </a:cubicBezTo>
                <a:cubicBezTo>
                  <a:pt x="8090401" y="2670047"/>
                  <a:pt x="8086540" y="2670846"/>
                  <a:pt x="8082281" y="2670846"/>
                </a:cubicBezTo>
                <a:cubicBezTo>
                  <a:pt x="8073361" y="2670846"/>
                  <a:pt x="8066040" y="2667917"/>
                  <a:pt x="8060448" y="2662328"/>
                </a:cubicBezTo>
                <a:cubicBezTo>
                  <a:pt x="8054857" y="2656736"/>
                  <a:pt x="8052062" y="2649681"/>
                  <a:pt x="8052062" y="2641161"/>
                </a:cubicBezTo>
                <a:cubicBezTo>
                  <a:pt x="8052062" y="2632908"/>
                  <a:pt x="8054857" y="2625852"/>
                  <a:pt x="8060448" y="2620128"/>
                </a:cubicBezTo>
                <a:cubicBezTo>
                  <a:pt x="8066040" y="2614271"/>
                  <a:pt x="8073228" y="2611475"/>
                  <a:pt x="8082281" y="2611475"/>
                </a:cubicBezTo>
                <a:close/>
                <a:moveTo>
                  <a:pt x="7864636" y="2611475"/>
                </a:moveTo>
                <a:cubicBezTo>
                  <a:pt x="7868762" y="2611475"/>
                  <a:pt x="7872756" y="2612274"/>
                  <a:pt x="7876483" y="2614137"/>
                </a:cubicBezTo>
                <a:cubicBezTo>
                  <a:pt x="7880210" y="2615735"/>
                  <a:pt x="7883272" y="2617865"/>
                  <a:pt x="7885802" y="2620528"/>
                </a:cubicBezTo>
                <a:cubicBezTo>
                  <a:pt x="7888331" y="2623057"/>
                  <a:pt x="7890460" y="2626252"/>
                  <a:pt x="7891924" y="2629846"/>
                </a:cubicBezTo>
                <a:cubicBezTo>
                  <a:pt x="7893389" y="2633439"/>
                  <a:pt x="7894188" y="2637168"/>
                  <a:pt x="7894188" y="2641294"/>
                </a:cubicBezTo>
                <a:cubicBezTo>
                  <a:pt x="7894188" y="2645421"/>
                  <a:pt x="7893389" y="2649414"/>
                  <a:pt x="7891924" y="2653009"/>
                </a:cubicBezTo>
                <a:cubicBezTo>
                  <a:pt x="7890327" y="2656602"/>
                  <a:pt x="7888331" y="2659664"/>
                  <a:pt x="7885802" y="2662328"/>
                </a:cubicBezTo>
                <a:cubicBezTo>
                  <a:pt x="7883139" y="2664989"/>
                  <a:pt x="7880078" y="2667119"/>
                  <a:pt x="7876483" y="2668583"/>
                </a:cubicBezTo>
                <a:cubicBezTo>
                  <a:pt x="7872756" y="2670047"/>
                  <a:pt x="7868895" y="2670846"/>
                  <a:pt x="7864636" y="2670846"/>
                </a:cubicBezTo>
                <a:cubicBezTo>
                  <a:pt x="7855717" y="2670846"/>
                  <a:pt x="7848396" y="2667917"/>
                  <a:pt x="7842803" y="2662328"/>
                </a:cubicBezTo>
                <a:cubicBezTo>
                  <a:pt x="7837213" y="2656736"/>
                  <a:pt x="7834417" y="2649681"/>
                  <a:pt x="7834417" y="2641161"/>
                </a:cubicBezTo>
                <a:cubicBezTo>
                  <a:pt x="7834417" y="2632908"/>
                  <a:pt x="7837213" y="2625852"/>
                  <a:pt x="7842803" y="2620128"/>
                </a:cubicBezTo>
                <a:cubicBezTo>
                  <a:pt x="7848396" y="2614271"/>
                  <a:pt x="7855584" y="2611475"/>
                  <a:pt x="7864636" y="2611475"/>
                </a:cubicBezTo>
                <a:close/>
                <a:moveTo>
                  <a:pt x="7646991" y="2611475"/>
                </a:moveTo>
                <a:cubicBezTo>
                  <a:pt x="7651250" y="2611475"/>
                  <a:pt x="7655111" y="2612274"/>
                  <a:pt x="7658705" y="2614137"/>
                </a:cubicBezTo>
                <a:cubicBezTo>
                  <a:pt x="7662432" y="2615735"/>
                  <a:pt x="7665493" y="2617865"/>
                  <a:pt x="7668022" y="2620528"/>
                </a:cubicBezTo>
                <a:cubicBezTo>
                  <a:pt x="7670552" y="2623057"/>
                  <a:pt x="7672682" y="2626252"/>
                  <a:pt x="7674146" y="2629846"/>
                </a:cubicBezTo>
                <a:cubicBezTo>
                  <a:pt x="7675610" y="2633439"/>
                  <a:pt x="7676409" y="2637168"/>
                  <a:pt x="7676409" y="2641294"/>
                </a:cubicBezTo>
                <a:cubicBezTo>
                  <a:pt x="7676409" y="2645421"/>
                  <a:pt x="7675610" y="2649414"/>
                  <a:pt x="7674146" y="2653009"/>
                </a:cubicBezTo>
                <a:cubicBezTo>
                  <a:pt x="7672549" y="2656602"/>
                  <a:pt x="7670552" y="2659664"/>
                  <a:pt x="7668022" y="2662328"/>
                </a:cubicBezTo>
                <a:cubicBezTo>
                  <a:pt x="7665361" y="2664989"/>
                  <a:pt x="7662299" y="2667119"/>
                  <a:pt x="7658705" y="2668583"/>
                </a:cubicBezTo>
                <a:cubicBezTo>
                  <a:pt x="7655111" y="2670047"/>
                  <a:pt x="7651250" y="2670846"/>
                  <a:pt x="7646991" y="2670846"/>
                </a:cubicBezTo>
                <a:cubicBezTo>
                  <a:pt x="7638071" y="2670846"/>
                  <a:pt x="7630750" y="2667917"/>
                  <a:pt x="7625158" y="2662328"/>
                </a:cubicBezTo>
                <a:cubicBezTo>
                  <a:pt x="7619568" y="2656736"/>
                  <a:pt x="7616772" y="2649681"/>
                  <a:pt x="7616772" y="2641161"/>
                </a:cubicBezTo>
                <a:cubicBezTo>
                  <a:pt x="7616772" y="2632908"/>
                  <a:pt x="7619568" y="2625852"/>
                  <a:pt x="7625158" y="2620128"/>
                </a:cubicBezTo>
                <a:cubicBezTo>
                  <a:pt x="7630750" y="2614271"/>
                  <a:pt x="7637939" y="2611475"/>
                  <a:pt x="7646991" y="2611475"/>
                </a:cubicBezTo>
                <a:close/>
                <a:moveTo>
                  <a:pt x="7429345" y="2611475"/>
                </a:moveTo>
                <a:cubicBezTo>
                  <a:pt x="7433605" y="2611475"/>
                  <a:pt x="7437466" y="2612274"/>
                  <a:pt x="7441059" y="2614137"/>
                </a:cubicBezTo>
                <a:cubicBezTo>
                  <a:pt x="7444787" y="2615735"/>
                  <a:pt x="7447848" y="2617865"/>
                  <a:pt x="7450377" y="2620528"/>
                </a:cubicBezTo>
                <a:cubicBezTo>
                  <a:pt x="7452907" y="2623057"/>
                  <a:pt x="7455036" y="2626252"/>
                  <a:pt x="7456501" y="2629846"/>
                </a:cubicBezTo>
                <a:cubicBezTo>
                  <a:pt x="7457965" y="2633439"/>
                  <a:pt x="7458764" y="2637168"/>
                  <a:pt x="7458764" y="2641294"/>
                </a:cubicBezTo>
                <a:cubicBezTo>
                  <a:pt x="7458764" y="2645421"/>
                  <a:pt x="7457965" y="2649414"/>
                  <a:pt x="7456501" y="2653009"/>
                </a:cubicBezTo>
                <a:cubicBezTo>
                  <a:pt x="7454904" y="2656602"/>
                  <a:pt x="7452907" y="2659664"/>
                  <a:pt x="7450377" y="2662328"/>
                </a:cubicBezTo>
                <a:cubicBezTo>
                  <a:pt x="7447715" y="2664989"/>
                  <a:pt x="7444654" y="2667119"/>
                  <a:pt x="7441059" y="2668583"/>
                </a:cubicBezTo>
                <a:cubicBezTo>
                  <a:pt x="7437466" y="2670047"/>
                  <a:pt x="7433605" y="2670846"/>
                  <a:pt x="7429345" y="2670846"/>
                </a:cubicBezTo>
                <a:cubicBezTo>
                  <a:pt x="7420426" y="2670846"/>
                  <a:pt x="7413105" y="2667917"/>
                  <a:pt x="7407513" y="2662328"/>
                </a:cubicBezTo>
                <a:cubicBezTo>
                  <a:pt x="7401922" y="2656736"/>
                  <a:pt x="7399127" y="2649681"/>
                  <a:pt x="7399127" y="2641161"/>
                </a:cubicBezTo>
                <a:cubicBezTo>
                  <a:pt x="7399127" y="2632908"/>
                  <a:pt x="7401922" y="2625852"/>
                  <a:pt x="7407513" y="2620128"/>
                </a:cubicBezTo>
                <a:cubicBezTo>
                  <a:pt x="7413105" y="2614271"/>
                  <a:pt x="7420293" y="2611475"/>
                  <a:pt x="7429345" y="2611475"/>
                </a:cubicBezTo>
                <a:close/>
                <a:moveTo>
                  <a:pt x="7211701" y="2611475"/>
                </a:moveTo>
                <a:cubicBezTo>
                  <a:pt x="7215960" y="2611475"/>
                  <a:pt x="7219954" y="2612274"/>
                  <a:pt x="7223415" y="2614137"/>
                </a:cubicBezTo>
                <a:cubicBezTo>
                  <a:pt x="7227142" y="2615735"/>
                  <a:pt x="7230204" y="2617865"/>
                  <a:pt x="7232733" y="2620528"/>
                </a:cubicBezTo>
                <a:cubicBezTo>
                  <a:pt x="7235262" y="2623057"/>
                  <a:pt x="7237392" y="2626252"/>
                  <a:pt x="7238856" y="2629846"/>
                </a:cubicBezTo>
                <a:cubicBezTo>
                  <a:pt x="7240321" y="2633439"/>
                  <a:pt x="7241120" y="2637168"/>
                  <a:pt x="7241120" y="2641294"/>
                </a:cubicBezTo>
                <a:cubicBezTo>
                  <a:pt x="7241120" y="2645421"/>
                  <a:pt x="7240321" y="2649414"/>
                  <a:pt x="7238856" y="2653009"/>
                </a:cubicBezTo>
                <a:cubicBezTo>
                  <a:pt x="7237259" y="2656602"/>
                  <a:pt x="7235262" y="2659664"/>
                  <a:pt x="7232733" y="2662328"/>
                </a:cubicBezTo>
                <a:cubicBezTo>
                  <a:pt x="7230071" y="2664989"/>
                  <a:pt x="7227009" y="2667119"/>
                  <a:pt x="7223415" y="2668583"/>
                </a:cubicBezTo>
                <a:cubicBezTo>
                  <a:pt x="7219821" y="2670047"/>
                  <a:pt x="7215960" y="2670846"/>
                  <a:pt x="7211701" y="2670846"/>
                </a:cubicBezTo>
                <a:cubicBezTo>
                  <a:pt x="7202782" y="2670846"/>
                  <a:pt x="7195460" y="2667917"/>
                  <a:pt x="7189868" y="2662328"/>
                </a:cubicBezTo>
                <a:cubicBezTo>
                  <a:pt x="7184278" y="2656736"/>
                  <a:pt x="7181482" y="2649681"/>
                  <a:pt x="7181482" y="2641161"/>
                </a:cubicBezTo>
                <a:cubicBezTo>
                  <a:pt x="7181482" y="2632908"/>
                  <a:pt x="7184278" y="2625852"/>
                  <a:pt x="7189868" y="2620128"/>
                </a:cubicBezTo>
                <a:cubicBezTo>
                  <a:pt x="7195460" y="2614271"/>
                  <a:pt x="7202649" y="2611475"/>
                  <a:pt x="7211701" y="2611475"/>
                </a:cubicBezTo>
                <a:close/>
                <a:moveTo>
                  <a:pt x="6994056" y="2611475"/>
                </a:moveTo>
                <a:cubicBezTo>
                  <a:pt x="6998315" y="2611475"/>
                  <a:pt x="7002309" y="2612274"/>
                  <a:pt x="7005769" y="2614137"/>
                </a:cubicBezTo>
                <a:cubicBezTo>
                  <a:pt x="7009497" y="2615735"/>
                  <a:pt x="7012558" y="2617865"/>
                  <a:pt x="7015087" y="2620528"/>
                </a:cubicBezTo>
                <a:cubicBezTo>
                  <a:pt x="7017617" y="2623057"/>
                  <a:pt x="7019747" y="2626252"/>
                  <a:pt x="7021211" y="2629846"/>
                </a:cubicBezTo>
                <a:cubicBezTo>
                  <a:pt x="7022675" y="2633439"/>
                  <a:pt x="7023474" y="2637168"/>
                  <a:pt x="7023474" y="2641294"/>
                </a:cubicBezTo>
                <a:cubicBezTo>
                  <a:pt x="7023474" y="2645421"/>
                  <a:pt x="7022675" y="2649414"/>
                  <a:pt x="7021211" y="2653009"/>
                </a:cubicBezTo>
                <a:cubicBezTo>
                  <a:pt x="7019614" y="2656602"/>
                  <a:pt x="7017617" y="2659664"/>
                  <a:pt x="7015087" y="2662328"/>
                </a:cubicBezTo>
                <a:cubicBezTo>
                  <a:pt x="7012425" y="2664989"/>
                  <a:pt x="7009364" y="2667119"/>
                  <a:pt x="7005769" y="2668583"/>
                </a:cubicBezTo>
                <a:cubicBezTo>
                  <a:pt x="7002176" y="2670047"/>
                  <a:pt x="6998315" y="2670846"/>
                  <a:pt x="6994056" y="2670846"/>
                </a:cubicBezTo>
                <a:cubicBezTo>
                  <a:pt x="6985136" y="2670846"/>
                  <a:pt x="6977815" y="2667917"/>
                  <a:pt x="6972223" y="2662328"/>
                </a:cubicBezTo>
                <a:cubicBezTo>
                  <a:pt x="6966632" y="2656736"/>
                  <a:pt x="6963837" y="2649681"/>
                  <a:pt x="6963837" y="2641161"/>
                </a:cubicBezTo>
                <a:cubicBezTo>
                  <a:pt x="6963837" y="2632908"/>
                  <a:pt x="6966632" y="2625852"/>
                  <a:pt x="6972223" y="2620128"/>
                </a:cubicBezTo>
                <a:cubicBezTo>
                  <a:pt x="6977815" y="2614271"/>
                  <a:pt x="6985003" y="2611475"/>
                  <a:pt x="6994056" y="2611475"/>
                </a:cubicBezTo>
                <a:close/>
                <a:moveTo>
                  <a:pt x="6776544" y="2611475"/>
                </a:moveTo>
                <a:cubicBezTo>
                  <a:pt x="6780670" y="2611475"/>
                  <a:pt x="6784664" y="2612274"/>
                  <a:pt x="6788258" y="2614137"/>
                </a:cubicBezTo>
                <a:cubicBezTo>
                  <a:pt x="6791985" y="2615735"/>
                  <a:pt x="6795047" y="2617865"/>
                  <a:pt x="6797576" y="2620528"/>
                </a:cubicBezTo>
                <a:cubicBezTo>
                  <a:pt x="6800105" y="2623057"/>
                  <a:pt x="6802235" y="2626252"/>
                  <a:pt x="6803699" y="2629846"/>
                </a:cubicBezTo>
                <a:cubicBezTo>
                  <a:pt x="6805164" y="2633439"/>
                  <a:pt x="6805963" y="2637168"/>
                  <a:pt x="6805963" y="2641294"/>
                </a:cubicBezTo>
                <a:cubicBezTo>
                  <a:pt x="6805963" y="2645421"/>
                  <a:pt x="6805164" y="2649414"/>
                  <a:pt x="6803699" y="2653009"/>
                </a:cubicBezTo>
                <a:cubicBezTo>
                  <a:pt x="6802102" y="2656602"/>
                  <a:pt x="6800105" y="2659664"/>
                  <a:pt x="6797576" y="2662328"/>
                </a:cubicBezTo>
                <a:cubicBezTo>
                  <a:pt x="6794914" y="2664989"/>
                  <a:pt x="6791852" y="2667119"/>
                  <a:pt x="6788258" y="2668583"/>
                </a:cubicBezTo>
                <a:cubicBezTo>
                  <a:pt x="6784664" y="2670047"/>
                  <a:pt x="6780803" y="2670846"/>
                  <a:pt x="6776544" y="2670846"/>
                </a:cubicBezTo>
                <a:cubicBezTo>
                  <a:pt x="6767625" y="2670846"/>
                  <a:pt x="6760303" y="2667917"/>
                  <a:pt x="6754711" y="2662328"/>
                </a:cubicBezTo>
                <a:cubicBezTo>
                  <a:pt x="6749121" y="2656736"/>
                  <a:pt x="6746325" y="2649681"/>
                  <a:pt x="6746325" y="2641161"/>
                </a:cubicBezTo>
                <a:cubicBezTo>
                  <a:pt x="6746325" y="2632908"/>
                  <a:pt x="6749121" y="2625852"/>
                  <a:pt x="6754711" y="2620128"/>
                </a:cubicBezTo>
                <a:cubicBezTo>
                  <a:pt x="6760303" y="2614271"/>
                  <a:pt x="6767492" y="2611475"/>
                  <a:pt x="6776544" y="2611475"/>
                </a:cubicBezTo>
                <a:close/>
                <a:moveTo>
                  <a:pt x="6558899" y="2611475"/>
                </a:moveTo>
                <a:cubicBezTo>
                  <a:pt x="6563158" y="2611475"/>
                  <a:pt x="6567019" y="2612274"/>
                  <a:pt x="6570612" y="2614137"/>
                </a:cubicBezTo>
                <a:cubicBezTo>
                  <a:pt x="6574340" y="2615735"/>
                  <a:pt x="6577401" y="2617865"/>
                  <a:pt x="6579930" y="2620528"/>
                </a:cubicBezTo>
                <a:cubicBezTo>
                  <a:pt x="6582460" y="2623057"/>
                  <a:pt x="6584590" y="2626252"/>
                  <a:pt x="6586054" y="2629846"/>
                </a:cubicBezTo>
                <a:cubicBezTo>
                  <a:pt x="6587518" y="2633439"/>
                  <a:pt x="6588317" y="2637168"/>
                  <a:pt x="6588317" y="2641294"/>
                </a:cubicBezTo>
                <a:cubicBezTo>
                  <a:pt x="6588317" y="2645421"/>
                  <a:pt x="6587518" y="2649414"/>
                  <a:pt x="6586054" y="2653009"/>
                </a:cubicBezTo>
                <a:cubicBezTo>
                  <a:pt x="6584457" y="2656602"/>
                  <a:pt x="6582460" y="2659664"/>
                  <a:pt x="6579930" y="2662328"/>
                </a:cubicBezTo>
                <a:cubicBezTo>
                  <a:pt x="6577268" y="2664989"/>
                  <a:pt x="6574207" y="2667119"/>
                  <a:pt x="6570612" y="2668583"/>
                </a:cubicBezTo>
                <a:cubicBezTo>
                  <a:pt x="6567019" y="2670047"/>
                  <a:pt x="6563158" y="2670846"/>
                  <a:pt x="6558899" y="2670846"/>
                </a:cubicBezTo>
                <a:cubicBezTo>
                  <a:pt x="6549979" y="2670846"/>
                  <a:pt x="6542658" y="2667917"/>
                  <a:pt x="6537066" y="2662328"/>
                </a:cubicBezTo>
                <a:cubicBezTo>
                  <a:pt x="6531476" y="2656736"/>
                  <a:pt x="6528680" y="2649681"/>
                  <a:pt x="6528680" y="2641161"/>
                </a:cubicBezTo>
                <a:cubicBezTo>
                  <a:pt x="6528680" y="2632908"/>
                  <a:pt x="6531476" y="2625852"/>
                  <a:pt x="6537066" y="2620128"/>
                </a:cubicBezTo>
                <a:cubicBezTo>
                  <a:pt x="6542658" y="2614271"/>
                  <a:pt x="6549846" y="2611475"/>
                  <a:pt x="6558899" y="2611475"/>
                </a:cubicBezTo>
                <a:close/>
                <a:moveTo>
                  <a:pt x="6341253" y="2611475"/>
                </a:moveTo>
                <a:cubicBezTo>
                  <a:pt x="6345513" y="2611475"/>
                  <a:pt x="6349373" y="2612274"/>
                  <a:pt x="6352968" y="2614137"/>
                </a:cubicBezTo>
                <a:cubicBezTo>
                  <a:pt x="6356695" y="2615735"/>
                  <a:pt x="6359757" y="2617865"/>
                  <a:pt x="6362286" y="2620528"/>
                </a:cubicBezTo>
                <a:cubicBezTo>
                  <a:pt x="6364815" y="2623057"/>
                  <a:pt x="6366945" y="2626252"/>
                  <a:pt x="6368409" y="2629846"/>
                </a:cubicBezTo>
                <a:cubicBezTo>
                  <a:pt x="6369874" y="2633439"/>
                  <a:pt x="6370672" y="2637168"/>
                  <a:pt x="6370672" y="2641294"/>
                </a:cubicBezTo>
                <a:cubicBezTo>
                  <a:pt x="6370672" y="2645421"/>
                  <a:pt x="6369874" y="2649414"/>
                  <a:pt x="6368409" y="2653009"/>
                </a:cubicBezTo>
                <a:cubicBezTo>
                  <a:pt x="6366811" y="2656602"/>
                  <a:pt x="6364815" y="2659664"/>
                  <a:pt x="6362286" y="2662328"/>
                </a:cubicBezTo>
                <a:cubicBezTo>
                  <a:pt x="6359623" y="2664989"/>
                  <a:pt x="6356562" y="2667119"/>
                  <a:pt x="6352968" y="2668583"/>
                </a:cubicBezTo>
                <a:cubicBezTo>
                  <a:pt x="6349373" y="2670047"/>
                  <a:pt x="6345513" y="2670846"/>
                  <a:pt x="6341253" y="2670846"/>
                </a:cubicBezTo>
                <a:cubicBezTo>
                  <a:pt x="6332335" y="2670846"/>
                  <a:pt x="6325013" y="2667917"/>
                  <a:pt x="6319421" y="2662328"/>
                </a:cubicBezTo>
                <a:cubicBezTo>
                  <a:pt x="6313830" y="2656736"/>
                  <a:pt x="6311035" y="2649681"/>
                  <a:pt x="6311035" y="2641161"/>
                </a:cubicBezTo>
                <a:cubicBezTo>
                  <a:pt x="6311035" y="2632908"/>
                  <a:pt x="6313830" y="2625852"/>
                  <a:pt x="6319421" y="2620128"/>
                </a:cubicBezTo>
                <a:cubicBezTo>
                  <a:pt x="6325013" y="2614271"/>
                  <a:pt x="6332201" y="2611475"/>
                  <a:pt x="6341253" y="2611475"/>
                </a:cubicBezTo>
                <a:close/>
                <a:moveTo>
                  <a:pt x="6123608" y="2611475"/>
                </a:moveTo>
                <a:cubicBezTo>
                  <a:pt x="6127867" y="2611475"/>
                  <a:pt x="6131728" y="2612274"/>
                  <a:pt x="6135322" y="2614137"/>
                </a:cubicBezTo>
                <a:cubicBezTo>
                  <a:pt x="6139049" y="2615735"/>
                  <a:pt x="6142111" y="2617865"/>
                  <a:pt x="6144640" y="2620528"/>
                </a:cubicBezTo>
                <a:cubicBezTo>
                  <a:pt x="6147169" y="2623057"/>
                  <a:pt x="6149299" y="2626252"/>
                  <a:pt x="6150763" y="2629846"/>
                </a:cubicBezTo>
                <a:cubicBezTo>
                  <a:pt x="6152228" y="2633439"/>
                  <a:pt x="6153026" y="2637168"/>
                  <a:pt x="6153026" y="2641294"/>
                </a:cubicBezTo>
                <a:cubicBezTo>
                  <a:pt x="6153026" y="2645421"/>
                  <a:pt x="6152228" y="2649414"/>
                  <a:pt x="6150763" y="2653009"/>
                </a:cubicBezTo>
                <a:cubicBezTo>
                  <a:pt x="6149299" y="2656602"/>
                  <a:pt x="6147169" y="2659664"/>
                  <a:pt x="6144640" y="2662328"/>
                </a:cubicBezTo>
                <a:cubicBezTo>
                  <a:pt x="6141977" y="2664989"/>
                  <a:pt x="6138916" y="2667119"/>
                  <a:pt x="6135322" y="2668583"/>
                </a:cubicBezTo>
                <a:cubicBezTo>
                  <a:pt x="6131728" y="2670047"/>
                  <a:pt x="6127867" y="2670846"/>
                  <a:pt x="6123608" y="2670846"/>
                </a:cubicBezTo>
                <a:cubicBezTo>
                  <a:pt x="6114689" y="2670846"/>
                  <a:pt x="6107367" y="2667917"/>
                  <a:pt x="6101775" y="2662328"/>
                </a:cubicBezTo>
                <a:cubicBezTo>
                  <a:pt x="6096184" y="2656736"/>
                  <a:pt x="6093389" y="2649681"/>
                  <a:pt x="6093389" y="2641161"/>
                </a:cubicBezTo>
                <a:cubicBezTo>
                  <a:pt x="6093389" y="2632908"/>
                  <a:pt x="6096184" y="2625852"/>
                  <a:pt x="6101775" y="2620128"/>
                </a:cubicBezTo>
                <a:cubicBezTo>
                  <a:pt x="6107367" y="2614271"/>
                  <a:pt x="6114555" y="2611475"/>
                  <a:pt x="6123608" y="2611475"/>
                </a:cubicBezTo>
                <a:close/>
                <a:moveTo>
                  <a:pt x="5905963" y="2611475"/>
                </a:moveTo>
                <a:cubicBezTo>
                  <a:pt x="5910222" y="2611475"/>
                  <a:pt x="5914216" y="2612274"/>
                  <a:pt x="5917677" y="2614137"/>
                </a:cubicBezTo>
                <a:cubicBezTo>
                  <a:pt x="5921404" y="2615735"/>
                  <a:pt x="5924466" y="2617865"/>
                  <a:pt x="5926995" y="2620528"/>
                </a:cubicBezTo>
                <a:cubicBezTo>
                  <a:pt x="5929524" y="2623057"/>
                  <a:pt x="5931654" y="2626252"/>
                  <a:pt x="5933118" y="2629846"/>
                </a:cubicBezTo>
                <a:cubicBezTo>
                  <a:pt x="5934583" y="2633439"/>
                  <a:pt x="5935381" y="2637168"/>
                  <a:pt x="5935381" y="2641294"/>
                </a:cubicBezTo>
                <a:cubicBezTo>
                  <a:pt x="5935381" y="2645421"/>
                  <a:pt x="5934583" y="2649414"/>
                  <a:pt x="5933118" y="2653009"/>
                </a:cubicBezTo>
                <a:cubicBezTo>
                  <a:pt x="5931654" y="2656602"/>
                  <a:pt x="5929524" y="2659664"/>
                  <a:pt x="5926995" y="2662328"/>
                </a:cubicBezTo>
                <a:cubicBezTo>
                  <a:pt x="5924333" y="2664989"/>
                  <a:pt x="5921271" y="2667119"/>
                  <a:pt x="5917677" y="2668583"/>
                </a:cubicBezTo>
                <a:cubicBezTo>
                  <a:pt x="5914083" y="2670047"/>
                  <a:pt x="5910222" y="2670846"/>
                  <a:pt x="5905963" y="2670846"/>
                </a:cubicBezTo>
                <a:cubicBezTo>
                  <a:pt x="5897044" y="2670846"/>
                  <a:pt x="5889722" y="2667917"/>
                  <a:pt x="5884130" y="2662328"/>
                </a:cubicBezTo>
                <a:cubicBezTo>
                  <a:pt x="5878540" y="2656736"/>
                  <a:pt x="5875744" y="2649681"/>
                  <a:pt x="5875744" y="2641161"/>
                </a:cubicBezTo>
                <a:cubicBezTo>
                  <a:pt x="5875744" y="2632908"/>
                  <a:pt x="5878540" y="2625852"/>
                  <a:pt x="5884130" y="2620128"/>
                </a:cubicBezTo>
                <a:cubicBezTo>
                  <a:pt x="5889722" y="2614271"/>
                  <a:pt x="5896910" y="2611475"/>
                  <a:pt x="5905963" y="2611475"/>
                </a:cubicBezTo>
                <a:close/>
                <a:moveTo>
                  <a:pt x="5688451" y="2611475"/>
                </a:moveTo>
                <a:cubicBezTo>
                  <a:pt x="5692577" y="2611475"/>
                  <a:pt x="5696571" y="2612274"/>
                  <a:pt x="5700165" y="2614137"/>
                </a:cubicBezTo>
                <a:cubicBezTo>
                  <a:pt x="5703892" y="2615735"/>
                  <a:pt x="5706954" y="2617865"/>
                  <a:pt x="5709483" y="2620528"/>
                </a:cubicBezTo>
                <a:cubicBezTo>
                  <a:pt x="5712012" y="2623057"/>
                  <a:pt x="5714142" y="2626252"/>
                  <a:pt x="5715606" y="2629846"/>
                </a:cubicBezTo>
                <a:cubicBezTo>
                  <a:pt x="5717071" y="2633439"/>
                  <a:pt x="5717869" y="2637168"/>
                  <a:pt x="5717869" y="2641294"/>
                </a:cubicBezTo>
                <a:cubicBezTo>
                  <a:pt x="5717869" y="2645421"/>
                  <a:pt x="5717071" y="2649414"/>
                  <a:pt x="5715606" y="2653009"/>
                </a:cubicBezTo>
                <a:cubicBezTo>
                  <a:pt x="5714142" y="2656602"/>
                  <a:pt x="5712012" y="2659664"/>
                  <a:pt x="5709483" y="2662328"/>
                </a:cubicBezTo>
                <a:cubicBezTo>
                  <a:pt x="5706820" y="2664989"/>
                  <a:pt x="5703759" y="2667119"/>
                  <a:pt x="5700165" y="2668583"/>
                </a:cubicBezTo>
                <a:cubicBezTo>
                  <a:pt x="5696571" y="2670047"/>
                  <a:pt x="5692710" y="2670846"/>
                  <a:pt x="5688451" y="2670846"/>
                </a:cubicBezTo>
                <a:cubicBezTo>
                  <a:pt x="5679532" y="2670846"/>
                  <a:pt x="5672210" y="2667917"/>
                  <a:pt x="5666618" y="2662328"/>
                </a:cubicBezTo>
                <a:cubicBezTo>
                  <a:pt x="5661028" y="2656736"/>
                  <a:pt x="5658232" y="2649681"/>
                  <a:pt x="5658232" y="2641161"/>
                </a:cubicBezTo>
                <a:cubicBezTo>
                  <a:pt x="5658232" y="2632908"/>
                  <a:pt x="5661028" y="2625852"/>
                  <a:pt x="5666618" y="2620128"/>
                </a:cubicBezTo>
                <a:cubicBezTo>
                  <a:pt x="5672210" y="2614271"/>
                  <a:pt x="5679398" y="2611475"/>
                  <a:pt x="5688451" y="2611475"/>
                </a:cubicBezTo>
                <a:close/>
                <a:moveTo>
                  <a:pt x="5470806" y="2611475"/>
                </a:moveTo>
                <a:cubicBezTo>
                  <a:pt x="5475065" y="2611475"/>
                  <a:pt x="5478926" y="2612274"/>
                  <a:pt x="5482520" y="2614137"/>
                </a:cubicBezTo>
                <a:cubicBezTo>
                  <a:pt x="5486247" y="2615735"/>
                  <a:pt x="5489309" y="2617865"/>
                  <a:pt x="5491838" y="2620528"/>
                </a:cubicBezTo>
                <a:cubicBezTo>
                  <a:pt x="5494367" y="2623057"/>
                  <a:pt x="5496497" y="2626252"/>
                  <a:pt x="5497961" y="2629846"/>
                </a:cubicBezTo>
                <a:cubicBezTo>
                  <a:pt x="5499426" y="2633439"/>
                  <a:pt x="5500224" y="2637168"/>
                  <a:pt x="5500224" y="2641294"/>
                </a:cubicBezTo>
                <a:cubicBezTo>
                  <a:pt x="5500224" y="2645421"/>
                  <a:pt x="5499426" y="2649414"/>
                  <a:pt x="5497961" y="2653009"/>
                </a:cubicBezTo>
                <a:cubicBezTo>
                  <a:pt x="5496497" y="2656602"/>
                  <a:pt x="5494367" y="2659664"/>
                  <a:pt x="5491838" y="2662328"/>
                </a:cubicBezTo>
                <a:cubicBezTo>
                  <a:pt x="5489176" y="2664989"/>
                  <a:pt x="5486114" y="2667119"/>
                  <a:pt x="5482520" y="2668583"/>
                </a:cubicBezTo>
                <a:cubicBezTo>
                  <a:pt x="5478926" y="2670047"/>
                  <a:pt x="5475065" y="2670846"/>
                  <a:pt x="5470806" y="2670846"/>
                </a:cubicBezTo>
                <a:cubicBezTo>
                  <a:pt x="5461887" y="2670846"/>
                  <a:pt x="5454565" y="2667917"/>
                  <a:pt x="5448973" y="2662328"/>
                </a:cubicBezTo>
                <a:cubicBezTo>
                  <a:pt x="5443383" y="2656736"/>
                  <a:pt x="5440587" y="2649681"/>
                  <a:pt x="5440587" y="2641161"/>
                </a:cubicBezTo>
                <a:cubicBezTo>
                  <a:pt x="5440587" y="2632908"/>
                  <a:pt x="5443383" y="2625852"/>
                  <a:pt x="5448973" y="2620128"/>
                </a:cubicBezTo>
                <a:cubicBezTo>
                  <a:pt x="5454565" y="2614271"/>
                  <a:pt x="5461754" y="2611475"/>
                  <a:pt x="5470806" y="2611475"/>
                </a:cubicBezTo>
                <a:close/>
                <a:moveTo>
                  <a:pt x="5253160" y="2611475"/>
                </a:moveTo>
                <a:cubicBezTo>
                  <a:pt x="5257420" y="2611475"/>
                  <a:pt x="5261280" y="2612274"/>
                  <a:pt x="5264875" y="2614137"/>
                </a:cubicBezTo>
                <a:cubicBezTo>
                  <a:pt x="5268602" y="2615735"/>
                  <a:pt x="5271664" y="2617865"/>
                  <a:pt x="5274192" y="2620528"/>
                </a:cubicBezTo>
                <a:cubicBezTo>
                  <a:pt x="5276722" y="2623057"/>
                  <a:pt x="5278852" y="2626252"/>
                  <a:pt x="5280316" y="2629846"/>
                </a:cubicBezTo>
                <a:cubicBezTo>
                  <a:pt x="5281780" y="2633439"/>
                  <a:pt x="5282579" y="2637168"/>
                  <a:pt x="5282579" y="2641294"/>
                </a:cubicBezTo>
                <a:cubicBezTo>
                  <a:pt x="5282579" y="2645421"/>
                  <a:pt x="5281780" y="2649414"/>
                  <a:pt x="5280316" y="2653009"/>
                </a:cubicBezTo>
                <a:cubicBezTo>
                  <a:pt x="5278852" y="2656602"/>
                  <a:pt x="5276722" y="2659664"/>
                  <a:pt x="5274192" y="2662328"/>
                </a:cubicBezTo>
                <a:cubicBezTo>
                  <a:pt x="5271664" y="2664989"/>
                  <a:pt x="5268469" y="2667119"/>
                  <a:pt x="5264875" y="2668583"/>
                </a:cubicBezTo>
                <a:cubicBezTo>
                  <a:pt x="5261280" y="2670047"/>
                  <a:pt x="5257420" y="2670846"/>
                  <a:pt x="5253160" y="2670846"/>
                </a:cubicBezTo>
                <a:cubicBezTo>
                  <a:pt x="5244241" y="2670846"/>
                  <a:pt x="5236920" y="2667917"/>
                  <a:pt x="5231328" y="2662328"/>
                </a:cubicBezTo>
                <a:cubicBezTo>
                  <a:pt x="5225737" y="2656736"/>
                  <a:pt x="5222942" y="2649681"/>
                  <a:pt x="5222942" y="2641161"/>
                </a:cubicBezTo>
                <a:cubicBezTo>
                  <a:pt x="5222942" y="2632908"/>
                  <a:pt x="5225737" y="2625852"/>
                  <a:pt x="5231328" y="2620128"/>
                </a:cubicBezTo>
                <a:cubicBezTo>
                  <a:pt x="5236920" y="2614271"/>
                  <a:pt x="5244108" y="2611475"/>
                  <a:pt x="5253160" y="2611475"/>
                </a:cubicBezTo>
                <a:close/>
                <a:moveTo>
                  <a:pt x="5035515" y="2611475"/>
                </a:moveTo>
                <a:cubicBezTo>
                  <a:pt x="5039775" y="2611475"/>
                  <a:pt x="5043636" y="2612274"/>
                  <a:pt x="5047230" y="2614137"/>
                </a:cubicBezTo>
                <a:cubicBezTo>
                  <a:pt x="5050957" y="2615735"/>
                  <a:pt x="5054019" y="2617865"/>
                  <a:pt x="5056548" y="2620528"/>
                </a:cubicBezTo>
                <a:cubicBezTo>
                  <a:pt x="5059077" y="2623057"/>
                  <a:pt x="5061207" y="2626252"/>
                  <a:pt x="5062671" y="2629846"/>
                </a:cubicBezTo>
                <a:cubicBezTo>
                  <a:pt x="5064135" y="2633439"/>
                  <a:pt x="5064934" y="2637168"/>
                  <a:pt x="5064934" y="2641294"/>
                </a:cubicBezTo>
                <a:cubicBezTo>
                  <a:pt x="5064934" y="2645421"/>
                  <a:pt x="5064135" y="2649414"/>
                  <a:pt x="5062671" y="2653009"/>
                </a:cubicBezTo>
                <a:cubicBezTo>
                  <a:pt x="5061207" y="2656602"/>
                  <a:pt x="5059077" y="2659664"/>
                  <a:pt x="5056548" y="2662328"/>
                </a:cubicBezTo>
                <a:cubicBezTo>
                  <a:pt x="5053885" y="2664989"/>
                  <a:pt x="5050824" y="2667119"/>
                  <a:pt x="5047230" y="2668583"/>
                </a:cubicBezTo>
                <a:cubicBezTo>
                  <a:pt x="5043636" y="2670047"/>
                  <a:pt x="5039775" y="2670846"/>
                  <a:pt x="5035515" y="2670846"/>
                </a:cubicBezTo>
                <a:cubicBezTo>
                  <a:pt x="5026597" y="2670846"/>
                  <a:pt x="5019275" y="2667917"/>
                  <a:pt x="5013683" y="2662328"/>
                </a:cubicBezTo>
                <a:cubicBezTo>
                  <a:pt x="5008092" y="2656736"/>
                  <a:pt x="5005297" y="2649681"/>
                  <a:pt x="5005297" y="2641161"/>
                </a:cubicBezTo>
                <a:cubicBezTo>
                  <a:pt x="5005297" y="2632908"/>
                  <a:pt x="5008092" y="2625852"/>
                  <a:pt x="5013683" y="2620128"/>
                </a:cubicBezTo>
                <a:cubicBezTo>
                  <a:pt x="5019275" y="2614271"/>
                  <a:pt x="5026463" y="2611475"/>
                  <a:pt x="5035515" y="2611475"/>
                </a:cubicBezTo>
                <a:close/>
                <a:moveTo>
                  <a:pt x="4817870" y="2611475"/>
                </a:moveTo>
                <a:cubicBezTo>
                  <a:pt x="4822130" y="2611475"/>
                  <a:pt x="4826124" y="2612274"/>
                  <a:pt x="4829585" y="2614137"/>
                </a:cubicBezTo>
                <a:cubicBezTo>
                  <a:pt x="4833312" y="2615735"/>
                  <a:pt x="4836374" y="2617865"/>
                  <a:pt x="4838903" y="2620528"/>
                </a:cubicBezTo>
                <a:cubicBezTo>
                  <a:pt x="4841432" y="2623057"/>
                  <a:pt x="4843562" y="2626252"/>
                  <a:pt x="4845026" y="2629846"/>
                </a:cubicBezTo>
                <a:cubicBezTo>
                  <a:pt x="4846491" y="2633439"/>
                  <a:pt x="4847289" y="2637168"/>
                  <a:pt x="4847289" y="2641294"/>
                </a:cubicBezTo>
                <a:cubicBezTo>
                  <a:pt x="4847289" y="2645421"/>
                  <a:pt x="4846491" y="2649414"/>
                  <a:pt x="4845026" y="2653009"/>
                </a:cubicBezTo>
                <a:cubicBezTo>
                  <a:pt x="4843562" y="2656602"/>
                  <a:pt x="4841432" y="2659664"/>
                  <a:pt x="4838903" y="2662328"/>
                </a:cubicBezTo>
                <a:cubicBezTo>
                  <a:pt x="4836240" y="2664989"/>
                  <a:pt x="4833179" y="2667119"/>
                  <a:pt x="4829585" y="2668583"/>
                </a:cubicBezTo>
                <a:cubicBezTo>
                  <a:pt x="4825991" y="2670047"/>
                  <a:pt x="4822130" y="2670846"/>
                  <a:pt x="4817870" y="2670846"/>
                </a:cubicBezTo>
                <a:cubicBezTo>
                  <a:pt x="4808952" y="2670846"/>
                  <a:pt x="4801630" y="2667917"/>
                  <a:pt x="4796038" y="2662328"/>
                </a:cubicBezTo>
                <a:cubicBezTo>
                  <a:pt x="4790447" y="2656736"/>
                  <a:pt x="4787652" y="2649681"/>
                  <a:pt x="4787652" y="2641161"/>
                </a:cubicBezTo>
                <a:cubicBezTo>
                  <a:pt x="4787652" y="2632908"/>
                  <a:pt x="4790447" y="2625852"/>
                  <a:pt x="4796038" y="2620128"/>
                </a:cubicBezTo>
                <a:cubicBezTo>
                  <a:pt x="4801630" y="2614271"/>
                  <a:pt x="4808818" y="2611475"/>
                  <a:pt x="4817870" y="2611475"/>
                </a:cubicBezTo>
                <a:close/>
                <a:moveTo>
                  <a:pt x="4600226" y="2611475"/>
                </a:moveTo>
                <a:cubicBezTo>
                  <a:pt x="4604485" y="2611475"/>
                  <a:pt x="4608479" y="2612274"/>
                  <a:pt x="4612073" y="2614137"/>
                </a:cubicBezTo>
                <a:cubicBezTo>
                  <a:pt x="4615800" y="2615735"/>
                  <a:pt x="4618862" y="2617865"/>
                  <a:pt x="4621391" y="2620528"/>
                </a:cubicBezTo>
                <a:cubicBezTo>
                  <a:pt x="4623920" y="2623057"/>
                  <a:pt x="4626050" y="2626252"/>
                  <a:pt x="4627514" y="2629846"/>
                </a:cubicBezTo>
                <a:cubicBezTo>
                  <a:pt x="4628978" y="2633439"/>
                  <a:pt x="4629777" y="2637168"/>
                  <a:pt x="4629777" y="2641294"/>
                </a:cubicBezTo>
                <a:cubicBezTo>
                  <a:pt x="4629777" y="2645421"/>
                  <a:pt x="4628978" y="2649414"/>
                  <a:pt x="4627514" y="2653009"/>
                </a:cubicBezTo>
                <a:cubicBezTo>
                  <a:pt x="4626050" y="2656602"/>
                  <a:pt x="4623920" y="2659664"/>
                  <a:pt x="4621391" y="2662328"/>
                </a:cubicBezTo>
                <a:cubicBezTo>
                  <a:pt x="4618729" y="2664989"/>
                  <a:pt x="4615667" y="2667119"/>
                  <a:pt x="4612073" y="2668583"/>
                </a:cubicBezTo>
                <a:cubicBezTo>
                  <a:pt x="4608346" y="2670047"/>
                  <a:pt x="4604485" y="2670846"/>
                  <a:pt x="4600226" y="2670846"/>
                </a:cubicBezTo>
                <a:cubicBezTo>
                  <a:pt x="4591173" y="2670846"/>
                  <a:pt x="4583985" y="2667917"/>
                  <a:pt x="4578393" y="2662328"/>
                </a:cubicBezTo>
                <a:cubicBezTo>
                  <a:pt x="4572803" y="2656736"/>
                  <a:pt x="4570007" y="2649681"/>
                  <a:pt x="4570007" y="2641161"/>
                </a:cubicBezTo>
                <a:cubicBezTo>
                  <a:pt x="4570007" y="2632908"/>
                  <a:pt x="4572803" y="2625852"/>
                  <a:pt x="4578393" y="2620128"/>
                </a:cubicBezTo>
                <a:cubicBezTo>
                  <a:pt x="4583985" y="2614271"/>
                  <a:pt x="4591173" y="2611475"/>
                  <a:pt x="4600226" y="2611475"/>
                </a:cubicBezTo>
                <a:close/>
                <a:moveTo>
                  <a:pt x="4382713" y="2611475"/>
                </a:moveTo>
                <a:cubicBezTo>
                  <a:pt x="4386840" y="2611475"/>
                  <a:pt x="4390834" y="2612274"/>
                  <a:pt x="4394428" y="2614137"/>
                </a:cubicBezTo>
                <a:cubicBezTo>
                  <a:pt x="4398155" y="2615735"/>
                  <a:pt x="4401217" y="2617865"/>
                  <a:pt x="4403746" y="2620528"/>
                </a:cubicBezTo>
                <a:cubicBezTo>
                  <a:pt x="4406275" y="2623057"/>
                  <a:pt x="4408405" y="2626252"/>
                  <a:pt x="4409869" y="2629846"/>
                </a:cubicBezTo>
                <a:cubicBezTo>
                  <a:pt x="4411334" y="2633439"/>
                  <a:pt x="4412132" y="2637168"/>
                  <a:pt x="4412132" y="2641294"/>
                </a:cubicBezTo>
                <a:cubicBezTo>
                  <a:pt x="4412132" y="2645421"/>
                  <a:pt x="4411334" y="2649414"/>
                  <a:pt x="4409869" y="2653009"/>
                </a:cubicBezTo>
                <a:cubicBezTo>
                  <a:pt x="4408405" y="2656602"/>
                  <a:pt x="4406275" y="2659664"/>
                  <a:pt x="4403746" y="2662328"/>
                </a:cubicBezTo>
                <a:cubicBezTo>
                  <a:pt x="4401083" y="2664989"/>
                  <a:pt x="4398022" y="2667119"/>
                  <a:pt x="4394428" y="2668583"/>
                </a:cubicBezTo>
                <a:cubicBezTo>
                  <a:pt x="4390834" y="2670047"/>
                  <a:pt x="4386973" y="2670846"/>
                  <a:pt x="4382713" y="2670846"/>
                </a:cubicBezTo>
                <a:cubicBezTo>
                  <a:pt x="4373661" y="2670846"/>
                  <a:pt x="4366473" y="2667917"/>
                  <a:pt x="4360881" y="2662328"/>
                </a:cubicBezTo>
                <a:cubicBezTo>
                  <a:pt x="4355290" y="2656736"/>
                  <a:pt x="4352495" y="2649681"/>
                  <a:pt x="4352495" y="2641161"/>
                </a:cubicBezTo>
                <a:cubicBezTo>
                  <a:pt x="4352495" y="2632908"/>
                  <a:pt x="4355290" y="2625852"/>
                  <a:pt x="4360881" y="2620128"/>
                </a:cubicBezTo>
                <a:cubicBezTo>
                  <a:pt x="4366473" y="2614271"/>
                  <a:pt x="4373661" y="2611475"/>
                  <a:pt x="4382713" y="2611475"/>
                </a:cubicBezTo>
                <a:close/>
                <a:moveTo>
                  <a:pt x="4165068" y="2611475"/>
                </a:moveTo>
                <a:cubicBezTo>
                  <a:pt x="4169327" y="2611475"/>
                  <a:pt x="4173188" y="2612274"/>
                  <a:pt x="4176782" y="2614137"/>
                </a:cubicBezTo>
                <a:cubicBezTo>
                  <a:pt x="4180509" y="2615735"/>
                  <a:pt x="4183571" y="2617865"/>
                  <a:pt x="4186100" y="2620528"/>
                </a:cubicBezTo>
                <a:cubicBezTo>
                  <a:pt x="4188629" y="2623057"/>
                  <a:pt x="4190759" y="2626252"/>
                  <a:pt x="4192223" y="2629846"/>
                </a:cubicBezTo>
                <a:cubicBezTo>
                  <a:pt x="4193688" y="2633439"/>
                  <a:pt x="4194486" y="2637168"/>
                  <a:pt x="4194486" y="2641294"/>
                </a:cubicBezTo>
                <a:cubicBezTo>
                  <a:pt x="4194486" y="2645421"/>
                  <a:pt x="4193688" y="2649414"/>
                  <a:pt x="4192223" y="2653009"/>
                </a:cubicBezTo>
                <a:cubicBezTo>
                  <a:pt x="4190759" y="2656602"/>
                  <a:pt x="4188629" y="2659664"/>
                  <a:pt x="4186100" y="2662328"/>
                </a:cubicBezTo>
                <a:cubicBezTo>
                  <a:pt x="4183438" y="2664989"/>
                  <a:pt x="4180376" y="2667119"/>
                  <a:pt x="4176782" y="2668583"/>
                </a:cubicBezTo>
                <a:cubicBezTo>
                  <a:pt x="4173188" y="2670047"/>
                  <a:pt x="4169327" y="2670846"/>
                  <a:pt x="4165068" y="2670846"/>
                </a:cubicBezTo>
                <a:cubicBezTo>
                  <a:pt x="4156015" y="2670846"/>
                  <a:pt x="4148827" y="2667917"/>
                  <a:pt x="4143235" y="2662328"/>
                </a:cubicBezTo>
                <a:cubicBezTo>
                  <a:pt x="4137645" y="2656736"/>
                  <a:pt x="4134849" y="2649681"/>
                  <a:pt x="4134849" y="2641161"/>
                </a:cubicBezTo>
                <a:cubicBezTo>
                  <a:pt x="4134849" y="2632908"/>
                  <a:pt x="4137645" y="2625852"/>
                  <a:pt x="4143235" y="2620128"/>
                </a:cubicBezTo>
                <a:cubicBezTo>
                  <a:pt x="4148827" y="2614271"/>
                  <a:pt x="4156015" y="2611475"/>
                  <a:pt x="4165068" y="2611475"/>
                </a:cubicBezTo>
                <a:close/>
                <a:moveTo>
                  <a:pt x="3947570" y="2611475"/>
                </a:moveTo>
                <a:cubicBezTo>
                  <a:pt x="3951831" y="2611475"/>
                  <a:pt x="3955690" y="2612274"/>
                  <a:pt x="3959286" y="2614137"/>
                </a:cubicBezTo>
                <a:cubicBezTo>
                  <a:pt x="3963014" y="2615735"/>
                  <a:pt x="3966075" y="2617865"/>
                  <a:pt x="3968604" y="2620528"/>
                </a:cubicBezTo>
                <a:cubicBezTo>
                  <a:pt x="3971134" y="2623057"/>
                  <a:pt x="3973264" y="2626252"/>
                  <a:pt x="3974728" y="2629846"/>
                </a:cubicBezTo>
                <a:cubicBezTo>
                  <a:pt x="3976192" y="2633439"/>
                  <a:pt x="3976991" y="2637168"/>
                  <a:pt x="3976991" y="2641294"/>
                </a:cubicBezTo>
                <a:cubicBezTo>
                  <a:pt x="3976991" y="2645421"/>
                  <a:pt x="3976192" y="2649414"/>
                  <a:pt x="3974728" y="2653009"/>
                </a:cubicBezTo>
                <a:cubicBezTo>
                  <a:pt x="3973264" y="2656602"/>
                  <a:pt x="3971134" y="2659664"/>
                  <a:pt x="3968604" y="2662328"/>
                </a:cubicBezTo>
                <a:cubicBezTo>
                  <a:pt x="3965942" y="2664989"/>
                  <a:pt x="3962881" y="2667119"/>
                  <a:pt x="3959286" y="2668583"/>
                </a:cubicBezTo>
                <a:cubicBezTo>
                  <a:pt x="3955690" y="2670047"/>
                  <a:pt x="3951831" y="2670846"/>
                  <a:pt x="3947570" y="2670846"/>
                </a:cubicBezTo>
                <a:cubicBezTo>
                  <a:pt x="3938517" y="2670846"/>
                  <a:pt x="3931329" y="2667917"/>
                  <a:pt x="3925738" y="2662328"/>
                </a:cubicBezTo>
                <a:cubicBezTo>
                  <a:pt x="3920147" y="2656736"/>
                  <a:pt x="3917351" y="2649681"/>
                  <a:pt x="3917351" y="2641161"/>
                </a:cubicBezTo>
                <a:cubicBezTo>
                  <a:pt x="3917351" y="2632908"/>
                  <a:pt x="3920147" y="2625852"/>
                  <a:pt x="3925738" y="2620128"/>
                </a:cubicBezTo>
                <a:cubicBezTo>
                  <a:pt x="3931329" y="2614271"/>
                  <a:pt x="3938517" y="2611475"/>
                  <a:pt x="3947570" y="2611475"/>
                </a:cubicBezTo>
                <a:close/>
                <a:moveTo>
                  <a:pt x="3729918" y="2611475"/>
                </a:moveTo>
                <a:cubicBezTo>
                  <a:pt x="3734178" y="2611475"/>
                  <a:pt x="3738171" y="2612274"/>
                  <a:pt x="3741633" y="2614137"/>
                </a:cubicBezTo>
                <a:cubicBezTo>
                  <a:pt x="3745227" y="2615735"/>
                  <a:pt x="3748422" y="2617865"/>
                  <a:pt x="3750951" y="2620528"/>
                </a:cubicBezTo>
                <a:cubicBezTo>
                  <a:pt x="3753481" y="2623057"/>
                  <a:pt x="3755610" y="2626252"/>
                  <a:pt x="3757074" y="2629846"/>
                </a:cubicBezTo>
                <a:cubicBezTo>
                  <a:pt x="3758538" y="2633439"/>
                  <a:pt x="3759337" y="2637168"/>
                  <a:pt x="3759337" y="2641294"/>
                </a:cubicBezTo>
                <a:cubicBezTo>
                  <a:pt x="3759337" y="2645421"/>
                  <a:pt x="3758538" y="2649414"/>
                  <a:pt x="3757074" y="2653009"/>
                </a:cubicBezTo>
                <a:cubicBezTo>
                  <a:pt x="3755610" y="2656602"/>
                  <a:pt x="3753481" y="2659664"/>
                  <a:pt x="3750951" y="2662328"/>
                </a:cubicBezTo>
                <a:cubicBezTo>
                  <a:pt x="3748288" y="2664989"/>
                  <a:pt x="3745227" y="2667119"/>
                  <a:pt x="3741633" y="2668583"/>
                </a:cubicBezTo>
                <a:cubicBezTo>
                  <a:pt x="3738039" y="2670047"/>
                  <a:pt x="3734178" y="2670846"/>
                  <a:pt x="3729918" y="2670846"/>
                </a:cubicBezTo>
                <a:cubicBezTo>
                  <a:pt x="3720865" y="2670846"/>
                  <a:pt x="3713676" y="2667917"/>
                  <a:pt x="3708082" y="2662328"/>
                </a:cubicBezTo>
                <a:cubicBezTo>
                  <a:pt x="3702490" y="2656736"/>
                  <a:pt x="3699696" y="2649681"/>
                  <a:pt x="3699696" y="2641161"/>
                </a:cubicBezTo>
                <a:cubicBezTo>
                  <a:pt x="3699696" y="2632908"/>
                  <a:pt x="3702490" y="2625852"/>
                  <a:pt x="3708082" y="2620128"/>
                </a:cubicBezTo>
                <a:cubicBezTo>
                  <a:pt x="3713676" y="2614271"/>
                  <a:pt x="3720865" y="2611475"/>
                  <a:pt x="3729918" y="2611475"/>
                </a:cubicBezTo>
                <a:close/>
                <a:moveTo>
                  <a:pt x="3512265" y="2611475"/>
                </a:moveTo>
                <a:cubicBezTo>
                  <a:pt x="3516525" y="2611475"/>
                  <a:pt x="3520519" y="2612274"/>
                  <a:pt x="3523981" y="2614137"/>
                </a:cubicBezTo>
                <a:cubicBezTo>
                  <a:pt x="3527574" y="2615735"/>
                  <a:pt x="3530769" y="2617865"/>
                  <a:pt x="3533299" y="2620528"/>
                </a:cubicBezTo>
                <a:cubicBezTo>
                  <a:pt x="3535828" y="2623057"/>
                  <a:pt x="3537958" y="2626252"/>
                  <a:pt x="3539422" y="2629846"/>
                </a:cubicBezTo>
                <a:cubicBezTo>
                  <a:pt x="3540886" y="2633439"/>
                  <a:pt x="3541685" y="2637168"/>
                  <a:pt x="3541685" y="2641294"/>
                </a:cubicBezTo>
                <a:cubicBezTo>
                  <a:pt x="3541685" y="2645421"/>
                  <a:pt x="3540886" y="2649414"/>
                  <a:pt x="3539422" y="2653009"/>
                </a:cubicBezTo>
                <a:cubicBezTo>
                  <a:pt x="3537958" y="2656602"/>
                  <a:pt x="3535828" y="2659664"/>
                  <a:pt x="3533299" y="2662328"/>
                </a:cubicBezTo>
                <a:cubicBezTo>
                  <a:pt x="3530635" y="2664989"/>
                  <a:pt x="3527574" y="2667119"/>
                  <a:pt x="3523981" y="2668583"/>
                </a:cubicBezTo>
                <a:cubicBezTo>
                  <a:pt x="3520386" y="2670047"/>
                  <a:pt x="3516525" y="2670846"/>
                  <a:pt x="3512265" y="2670846"/>
                </a:cubicBezTo>
                <a:cubicBezTo>
                  <a:pt x="3503211" y="2670846"/>
                  <a:pt x="3496022" y="2667917"/>
                  <a:pt x="3490431" y="2662328"/>
                </a:cubicBezTo>
                <a:cubicBezTo>
                  <a:pt x="3484840" y="2656736"/>
                  <a:pt x="3482044" y="2649681"/>
                  <a:pt x="3482044" y="2641161"/>
                </a:cubicBezTo>
                <a:cubicBezTo>
                  <a:pt x="3482044" y="2632908"/>
                  <a:pt x="3484840" y="2625852"/>
                  <a:pt x="3490431" y="2620128"/>
                </a:cubicBezTo>
                <a:cubicBezTo>
                  <a:pt x="3496022" y="2614271"/>
                  <a:pt x="3503211" y="2611475"/>
                  <a:pt x="3512265" y="2611475"/>
                </a:cubicBezTo>
                <a:close/>
                <a:moveTo>
                  <a:pt x="3294745" y="2611475"/>
                </a:moveTo>
                <a:cubicBezTo>
                  <a:pt x="3298873" y="2611475"/>
                  <a:pt x="3302867" y="2612274"/>
                  <a:pt x="3306461" y="2614137"/>
                </a:cubicBezTo>
                <a:cubicBezTo>
                  <a:pt x="3310188" y="2615735"/>
                  <a:pt x="3313250" y="2617865"/>
                  <a:pt x="3315779" y="2620528"/>
                </a:cubicBezTo>
                <a:cubicBezTo>
                  <a:pt x="3318308" y="2623057"/>
                  <a:pt x="3320438" y="2626252"/>
                  <a:pt x="3321902" y="2629846"/>
                </a:cubicBezTo>
                <a:cubicBezTo>
                  <a:pt x="3323366" y="2633439"/>
                  <a:pt x="3324165" y="2637168"/>
                  <a:pt x="3324165" y="2641294"/>
                </a:cubicBezTo>
                <a:cubicBezTo>
                  <a:pt x="3324165" y="2645421"/>
                  <a:pt x="3323366" y="2649414"/>
                  <a:pt x="3321902" y="2653009"/>
                </a:cubicBezTo>
                <a:cubicBezTo>
                  <a:pt x="3320438" y="2656602"/>
                  <a:pt x="3318308" y="2659664"/>
                  <a:pt x="3315779" y="2662328"/>
                </a:cubicBezTo>
                <a:cubicBezTo>
                  <a:pt x="3313116" y="2664989"/>
                  <a:pt x="3310055" y="2667119"/>
                  <a:pt x="3306461" y="2668583"/>
                </a:cubicBezTo>
                <a:cubicBezTo>
                  <a:pt x="3302867" y="2670047"/>
                  <a:pt x="3299006" y="2670846"/>
                  <a:pt x="3294745" y="2670846"/>
                </a:cubicBezTo>
                <a:cubicBezTo>
                  <a:pt x="3285693" y="2670846"/>
                  <a:pt x="3278504" y="2667917"/>
                  <a:pt x="3272910" y="2662328"/>
                </a:cubicBezTo>
                <a:cubicBezTo>
                  <a:pt x="3267319" y="2656736"/>
                  <a:pt x="3264524" y="2649681"/>
                  <a:pt x="3264524" y="2641161"/>
                </a:cubicBezTo>
                <a:cubicBezTo>
                  <a:pt x="3264524" y="2632908"/>
                  <a:pt x="3267319" y="2625852"/>
                  <a:pt x="3272910" y="2620128"/>
                </a:cubicBezTo>
                <a:cubicBezTo>
                  <a:pt x="3278504" y="2614271"/>
                  <a:pt x="3285693" y="2611475"/>
                  <a:pt x="3294745" y="2611475"/>
                </a:cubicBezTo>
                <a:close/>
                <a:moveTo>
                  <a:pt x="3077093" y="2611475"/>
                </a:moveTo>
                <a:cubicBezTo>
                  <a:pt x="3081220" y="2611475"/>
                  <a:pt x="3085214" y="2612274"/>
                  <a:pt x="3088808" y="2614137"/>
                </a:cubicBezTo>
                <a:cubicBezTo>
                  <a:pt x="3092402" y="2615735"/>
                  <a:pt x="3095598" y="2617865"/>
                  <a:pt x="3098126" y="2620528"/>
                </a:cubicBezTo>
                <a:cubicBezTo>
                  <a:pt x="3100655" y="2623057"/>
                  <a:pt x="3102785" y="2626252"/>
                  <a:pt x="3104249" y="2629846"/>
                </a:cubicBezTo>
                <a:cubicBezTo>
                  <a:pt x="3105715" y="2633439"/>
                  <a:pt x="3106512" y="2637168"/>
                  <a:pt x="3106512" y="2641294"/>
                </a:cubicBezTo>
                <a:cubicBezTo>
                  <a:pt x="3106512" y="2645421"/>
                  <a:pt x="3105715" y="2649414"/>
                  <a:pt x="3104249" y="2653009"/>
                </a:cubicBezTo>
                <a:cubicBezTo>
                  <a:pt x="3102785" y="2656602"/>
                  <a:pt x="3100655" y="2659664"/>
                  <a:pt x="3098126" y="2662328"/>
                </a:cubicBezTo>
                <a:cubicBezTo>
                  <a:pt x="3095464" y="2664989"/>
                  <a:pt x="3092402" y="2667119"/>
                  <a:pt x="3088808" y="2668583"/>
                </a:cubicBezTo>
                <a:cubicBezTo>
                  <a:pt x="3085214" y="2670047"/>
                  <a:pt x="3081353" y="2670846"/>
                  <a:pt x="3077093" y="2670846"/>
                </a:cubicBezTo>
                <a:cubicBezTo>
                  <a:pt x="3068173" y="2670846"/>
                  <a:pt x="3060851" y="2667917"/>
                  <a:pt x="3055258" y="2662328"/>
                </a:cubicBezTo>
                <a:cubicBezTo>
                  <a:pt x="3049667" y="2656736"/>
                  <a:pt x="3046872" y="2649681"/>
                  <a:pt x="3046872" y="2641161"/>
                </a:cubicBezTo>
                <a:cubicBezTo>
                  <a:pt x="3046872" y="2632908"/>
                  <a:pt x="3049667" y="2625852"/>
                  <a:pt x="3055258" y="2620128"/>
                </a:cubicBezTo>
                <a:cubicBezTo>
                  <a:pt x="3060851" y="2614271"/>
                  <a:pt x="3068041" y="2611475"/>
                  <a:pt x="3077093" y="2611475"/>
                </a:cubicBezTo>
                <a:close/>
                <a:moveTo>
                  <a:pt x="2859440" y="2611475"/>
                </a:moveTo>
                <a:cubicBezTo>
                  <a:pt x="2863701" y="2611475"/>
                  <a:pt x="2867562" y="2612274"/>
                  <a:pt x="2871289" y="2614137"/>
                </a:cubicBezTo>
                <a:cubicBezTo>
                  <a:pt x="2875016" y="2615735"/>
                  <a:pt x="2878077" y="2617865"/>
                  <a:pt x="2880607" y="2620528"/>
                </a:cubicBezTo>
                <a:cubicBezTo>
                  <a:pt x="2883268" y="2623057"/>
                  <a:pt x="2885266" y="2626252"/>
                  <a:pt x="2886730" y="2629846"/>
                </a:cubicBezTo>
                <a:cubicBezTo>
                  <a:pt x="2888194" y="2633439"/>
                  <a:pt x="2888993" y="2637168"/>
                  <a:pt x="2888993" y="2641294"/>
                </a:cubicBezTo>
                <a:cubicBezTo>
                  <a:pt x="2888993" y="2645421"/>
                  <a:pt x="2888194" y="2649414"/>
                  <a:pt x="2886730" y="2653009"/>
                </a:cubicBezTo>
                <a:cubicBezTo>
                  <a:pt x="2885266" y="2656602"/>
                  <a:pt x="2883136" y="2659664"/>
                  <a:pt x="2880607" y="2662328"/>
                </a:cubicBezTo>
                <a:cubicBezTo>
                  <a:pt x="2877945" y="2664989"/>
                  <a:pt x="2874882" y="2667119"/>
                  <a:pt x="2871289" y="2668583"/>
                </a:cubicBezTo>
                <a:cubicBezTo>
                  <a:pt x="2867562" y="2670047"/>
                  <a:pt x="2863701" y="2670846"/>
                  <a:pt x="2859440" y="2670846"/>
                </a:cubicBezTo>
                <a:cubicBezTo>
                  <a:pt x="2850522" y="2670846"/>
                  <a:pt x="2843196" y="2667917"/>
                  <a:pt x="2837606" y="2662328"/>
                </a:cubicBezTo>
                <a:cubicBezTo>
                  <a:pt x="2832015" y="2656736"/>
                  <a:pt x="2829219" y="2649681"/>
                  <a:pt x="2829219" y="2641161"/>
                </a:cubicBezTo>
                <a:cubicBezTo>
                  <a:pt x="2829219" y="2632908"/>
                  <a:pt x="2832015" y="2625852"/>
                  <a:pt x="2837606" y="2620128"/>
                </a:cubicBezTo>
                <a:cubicBezTo>
                  <a:pt x="2843196" y="2614271"/>
                  <a:pt x="2850388" y="2611475"/>
                  <a:pt x="2859440" y="2611475"/>
                </a:cubicBezTo>
                <a:close/>
                <a:moveTo>
                  <a:pt x="2641787" y="2611475"/>
                </a:moveTo>
                <a:cubicBezTo>
                  <a:pt x="2646048" y="2611475"/>
                  <a:pt x="2649907" y="2612274"/>
                  <a:pt x="2653503" y="2614137"/>
                </a:cubicBezTo>
                <a:cubicBezTo>
                  <a:pt x="2657230" y="2615735"/>
                  <a:pt x="2660292" y="2617865"/>
                  <a:pt x="2662821" y="2620528"/>
                </a:cubicBezTo>
                <a:cubicBezTo>
                  <a:pt x="2665483" y="2623057"/>
                  <a:pt x="2667480" y="2626252"/>
                  <a:pt x="2668944" y="2629846"/>
                </a:cubicBezTo>
                <a:cubicBezTo>
                  <a:pt x="2670408" y="2633439"/>
                  <a:pt x="2671207" y="2637168"/>
                  <a:pt x="2671207" y="2641294"/>
                </a:cubicBezTo>
                <a:cubicBezTo>
                  <a:pt x="2671207" y="2645421"/>
                  <a:pt x="2670408" y="2649414"/>
                  <a:pt x="2668944" y="2653009"/>
                </a:cubicBezTo>
                <a:cubicBezTo>
                  <a:pt x="2667480" y="2656602"/>
                  <a:pt x="2665350" y="2659664"/>
                  <a:pt x="2662821" y="2662328"/>
                </a:cubicBezTo>
                <a:cubicBezTo>
                  <a:pt x="2660292" y="2664989"/>
                  <a:pt x="2657096" y="2667119"/>
                  <a:pt x="2653503" y="2668583"/>
                </a:cubicBezTo>
                <a:cubicBezTo>
                  <a:pt x="2649907" y="2670047"/>
                  <a:pt x="2646048" y="2670846"/>
                  <a:pt x="2641787" y="2670846"/>
                </a:cubicBezTo>
                <a:cubicBezTo>
                  <a:pt x="2632868" y="2670846"/>
                  <a:pt x="2625547" y="2667917"/>
                  <a:pt x="2619955" y="2662328"/>
                </a:cubicBezTo>
                <a:cubicBezTo>
                  <a:pt x="2614364" y="2656736"/>
                  <a:pt x="2611568" y="2649681"/>
                  <a:pt x="2611568" y="2641161"/>
                </a:cubicBezTo>
                <a:cubicBezTo>
                  <a:pt x="2611568" y="2632908"/>
                  <a:pt x="2614364" y="2625852"/>
                  <a:pt x="2619955" y="2620128"/>
                </a:cubicBezTo>
                <a:cubicBezTo>
                  <a:pt x="2625547" y="2614271"/>
                  <a:pt x="2632735" y="2611475"/>
                  <a:pt x="2641787" y="2611475"/>
                </a:cubicBezTo>
                <a:close/>
                <a:moveTo>
                  <a:pt x="2424134" y="2611475"/>
                </a:moveTo>
                <a:cubicBezTo>
                  <a:pt x="2428395" y="2611475"/>
                  <a:pt x="2432389" y="2612274"/>
                  <a:pt x="2435850" y="2614137"/>
                </a:cubicBezTo>
                <a:cubicBezTo>
                  <a:pt x="2439577" y="2615735"/>
                  <a:pt x="2442639" y="2617865"/>
                  <a:pt x="2445168" y="2620528"/>
                </a:cubicBezTo>
                <a:cubicBezTo>
                  <a:pt x="2447830" y="2623057"/>
                  <a:pt x="2449827" y="2626252"/>
                  <a:pt x="2451291" y="2629846"/>
                </a:cubicBezTo>
                <a:cubicBezTo>
                  <a:pt x="2452755" y="2633439"/>
                  <a:pt x="2453554" y="2637168"/>
                  <a:pt x="2453554" y="2641294"/>
                </a:cubicBezTo>
                <a:cubicBezTo>
                  <a:pt x="2453554" y="2645421"/>
                  <a:pt x="2452755" y="2649414"/>
                  <a:pt x="2451291" y="2653009"/>
                </a:cubicBezTo>
                <a:cubicBezTo>
                  <a:pt x="2449827" y="2656602"/>
                  <a:pt x="2447697" y="2659664"/>
                  <a:pt x="2445168" y="2662328"/>
                </a:cubicBezTo>
                <a:cubicBezTo>
                  <a:pt x="2442639" y="2664989"/>
                  <a:pt x="2439444" y="2667119"/>
                  <a:pt x="2435850" y="2668583"/>
                </a:cubicBezTo>
                <a:cubicBezTo>
                  <a:pt x="2432256" y="2670047"/>
                  <a:pt x="2428395" y="2670846"/>
                  <a:pt x="2424134" y="2670846"/>
                </a:cubicBezTo>
                <a:cubicBezTo>
                  <a:pt x="2415217" y="2670846"/>
                  <a:pt x="2407894" y="2667917"/>
                  <a:pt x="2402303" y="2662328"/>
                </a:cubicBezTo>
                <a:cubicBezTo>
                  <a:pt x="2396711" y="2656736"/>
                  <a:pt x="2393915" y="2649681"/>
                  <a:pt x="2393915" y="2641161"/>
                </a:cubicBezTo>
                <a:cubicBezTo>
                  <a:pt x="2393915" y="2632908"/>
                  <a:pt x="2396711" y="2625852"/>
                  <a:pt x="2402303" y="2620128"/>
                </a:cubicBezTo>
                <a:cubicBezTo>
                  <a:pt x="2407894" y="2614271"/>
                  <a:pt x="2415083" y="2611475"/>
                  <a:pt x="2424134" y="2611475"/>
                </a:cubicBezTo>
                <a:close/>
                <a:moveTo>
                  <a:pt x="2206482" y="2611475"/>
                </a:moveTo>
                <a:cubicBezTo>
                  <a:pt x="2210742" y="2611475"/>
                  <a:pt x="2214736" y="2612274"/>
                  <a:pt x="2218197" y="2614137"/>
                </a:cubicBezTo>
                <a:cubicBezTo>
                  <a:pt x="2221924" y="2615735"/>
                  <a:pt x="2224985" y="2617865"/>
                  <a:pt x="2227516" y="2620528"/>
                </a:cubicBezTo>
                <a:cubicBezTo>
                  <a:pt x="2230178" y="2623057"/>
                  <a:pt x="2232174" y="2626252"/>
                  <a:pt x="2233638" y="2629846"/>
                </a:cubicBezTo>
                <a:cubicBezTo>
                  <a:pt x="2235102" y="2633439"/>
                  <a:pt x="2235901" y="2637168"/>
                  <a:pt x="2235901" y="2641294"/>
                </a:cubicBezTo>
                <a:cubicBezTo>
                  <a:pt x="2235901" y="2645421"/>
                  <a:pt x="2235102" y="2649414"/>
                  <a:pt x="2233638" y="2653009"/>
                </a:cubicBezTo>
                <a:cubicBezTo>
                  <a:pt x="2232174" y="2656602"/>
                  <a:pt x="2230044" y="2659664"/>
                  <a:pt x="2227516" y="2662328"/>
                </a:cubicBezTo>
                <a:cubicBezTo>
                  <a:pt x="2224985" y="2664989"/>
                  <a:pt x="2221791" y="2667119"/>
                  <a:pt x="2218197" y="2668583"/>
                </a:cubicBezTo>
                <a:cubicBezTo>
                  <a:pt x="2214602" y="2670047"/>
                  <a:pt x="2210742" y="2670846"/>
                  <a:pt x="2206482" y="2670846"/>
                </a:cubicBezTo>
                <a:cubicBezTo>
                  <a:pt x="2197430" y="2670846"/>
                  <a:pt x="2190241" y="2667917"/>
                  <a:pt x="2184650" y="2662328"/>
                </a:cubicBezTo>
                <a:cubicBezTo>
                  <a:pt x="2179059" y="2656736"/>
                  <a:pt x="2176263" y="2649681"/>
                  <a:pt x="2176263" y="2641161"/>
                </a:cubicBezTo>
                <a:cubicBezTo>
                  <a:pt x="2176263" y="2632908"/>
                  <a:pt x="2179059" y="2625852"/>
                  <a:pt x="2184650" y="2620128"/>
                </a:cubicBezTo>
                <a:cubicBezTo>
                  <a:pt x="2190241" y="2614271"/>
                  <a:pt x="2197430" y="2611475"/>
                  <a:pt x="2206482" y="2611475"/>
                </a:cubicBezTo>
                <a:close/>
                <a:moveTo>
                  <a:pt x="1988962" y="2611475"/>
                </a:moveTo>
                <a:cubicBezTo>
                  <a:pt x="1993089" y="2611475"/>
                  <a:pt x="1997084" y="2612274"/>
                  <a:pt x="2000678" y="2614137"/>
                </a:cubicBezTo>
                <a:cubicBezTo>
                  <a:pt x="2004405" y="2615735"/>
                  <a:pt x="2007466" y="2617865"/>
                  <a:pt x="2009996" y="2620528"/>
                </a:cubicBezTo>
                <a:cubicBezTo>
                  <a:pt x="2012657" y="2623057"/>
                  <a:pt x="2014655" y="2626252"/>
                  <a:pt x="2016119" y="2629846"/>
                </a:cubicBezTo>
                <a:cubicBezTo>
                  <a:pt x="2017583" y="2633439"/>
                  <a:pt x="2018382" y="2637168"/>
                  <a:pt x="2018382" y="2641294"/>
                </a:cubicBezTo>
                <a:cubicBezTo>
                  <a:pt x="2018382" y="2645421"/>
                  <a:pt x="2017583" y="2649414"/>
                  <a:pt x="2016119" y="2653009"/>
                </a:cubicBezTo>
                <a:cubicBezTo>
                  <a:pt x="2014655" y="2656602"/>
                  <a:pt x="2012525" y="2659664"/>
                  <a:pt x="2009996" y="2662328"/>
                </a:cubicBezTo>
                <a:cubicBezTo>
                  <a:pt x="2007466" y="2664989"/>
                  <a:pt x="2004271" y="2667119"/>
                  <a:pt x="2000678" y="2668583"/>
                </a:cubicBezTo>
                <a:cubicBezTo>
                  <a:pt x="1997084" y="2670047"/>
                  <a:pt x="1993222" y="2670846"/>
                  <a:pt x="1988962" y="2670846"/>
                </a:cubicBezTo>
                <a:cubicBezTo>
                  <a:pt x="1979911" y="2670846"/>
                  <a:pt x="1972722" y="2667917"/>
                  <a:pt x="1967131" y="2662328"/>
                </a:cubicBezTo>
                <a:cubicBezTo>
                  <a:pt x="1961541" y="2656736"/>
                  <a:pt x="1958745" y="2649681"/>
                  <a:pt x="1958745" y="2641161"/>
                </a:cubicBezTo>
                <a:cubicBezTo>
                  <a:pt x="1958745" y="2632908"/>
                  <a:pt x="1961541" y="2625852"/>
                  <a:pt x="1967131" y="2620128"/>
                </a:cubicBezTo>
                <a:cubicBezTo>
                  <a:pt x="1972722" y="2614271"/>
                  <a:pt x="1979911" y="2611475"/>
                  <a:pt x="1988962" y="2611475"/>
                </a:cubicBezTo>
                <a:close/>
                <a:moveTo>
                  <a:pt x="1771323" y="2611475"/>
                </a:moveTo>
                <a:cubicBezTo>
                  <a:pt x="1775582" y="2611475"/>
                  <a:pt x="1779442" y="2612274"/>
                  <a:pt x="1783037" y="2614137"/>
                </a:cubicBezTo>
                <a:cubicBezTo>
                  <a:pt x="1786764" y="2615735"/>
                  <a:pt x="1789826" y="2617865"/>
                  <a:pt x="1792355" y="2620528"/>
                </a:cubicBezTo>
                <a:cubicBezTo>
                  <a:pt x="1795017" y="2623057"/>
                  <a:pt x="1797014" y="2626252"/>
                  <a:pt x="1798478" y="2629846"/>
                </a:cubicBezTo>
                <a:cubicBezTo>
                  <a:pt x="1799942" y="2633439"/>
                  <a:pt x="1800741" y="2637168"/>
                  <a:pt x="1800741" y="2641294"/>
                </a:cubicBezTo>
                <a:cubicBezTo>
                  <a:pt x="1800741" y="2645421"/>
                  <a:pt x="1799942" y="2649414"/>
                  <a:pt x="1798478" y="2653009"/>
                </a:cubicBezTo>
                <a:cubicBezTo>
                  <a:pt x="1797014" y="2656602"/>
                  <a:pt x="1794884" y="2659664"/>
                  <a:pt x="1792355" y="2662328"/>
                </a:cubicBezTo>
                <a:cubicBezTo>
                  <a:pt x="1789692" y="2664989"/>
                  <a:pt x="1786632" y="2667119"/>
                  <a:pt x="1783037" y="2668583"/>
                </a:cubicBezTo>
                <a:cubicBezTo>
                  <a:pt x="1779442" y="2670047"/>
                  <a:pt x="1775582" y="2670846"/>
                  <a:pt x="1771323" y="2670846"/>
                </a:cubicBezTo>
                <a:cubicBezTo>
                  <a:pt x="1762404" y="2670846"/>
                  <a:pt x="1755083" y="2667917"/>
                  <a:pt x="1749493" y="2662328"/>
                </a:cubicBezTo>
                <a:cubicBezTo>
                  <a:pt x="1743901" y="2656736"/>
                  <a:pt x="1741108" y="2649681"/>
                  <a:pt x="1741108" y="2641161"/>
                </a:cubicBezTo>
                <a:cubicBezTo>
                  <a:pt x="1741108" y="2632908"/>
                  <a:pt x="1743901" y="2625852"/>
                  <a:pt x="1749493" y="2620128"/>
                </a:cubicBezTo>
                <a:cubicBezTo>
                  <a:pt x="1755083" y="2614271"/>
                  <a:pt x="1762271" y="2611475"/>
                  <a:pt x="1771323" y="2611475"/>
                </a:cubicBezTo>
                <a:close/>
                <a:moveTo>
                  <a:pt x="1553681" y="2611475"/>
                </a:moveTo>
                <a:cubicBezTo>
                  <a:pt x="1557941" y="2611475"/>
                  <a:pt x="1561802" y="2612274"/>
                  <a:pt x="1565396" y="2614137"/>
                </a:cubicBezTo>
                <a:cubicBezTo>
                  <a:pt x="1568990" y="2615735"/>
                  <a:pt x="1572185" y="2617865"/>
                  <a:pt x="1574714" y="2620528"/>
                </a:cubicBezTo>
                <a:cubicBezTo>
                  <a:pt x="1577377" y="2623057"/>
                  <a:pt x="1579373" y="2626252"/>
                  <a:pt x="1580837" y="2629846"/>
                </a:cubicBezTo>
                <a:cubicBezTo>
                  <a:pt x="1582301" y="2633439"/>
                  <a:pt x="1583100" y="2637168"/>
                  <a:pt x="1583100" y="2641294"/>
                </a:cubicBezTo>
                <a:cubicBezTo>
                  <a:pt x="1583100" y="2645421"/>
                  <a:pt x="1582301" y="2649414"/>
                  <a:pt x="1580837" y="2653009"/>
                </a:cubicBezTo>
                <a:cubicBezTo>
                  <a:pt x="1579373" y="2656602"/>
                  <a:pt x="1577243" y="2659664"/>
                  <a:pt x="1574714" y="2662328"/>
                </a:cubicBezTo>
                <a:cubicBezTo>
                  <a:pt x="1572052" y="2664989"/>
                  <a:pt x="1568990" y="2667119"/>
                  <a:pt x="1565396" y="2668583"/>
                </a:cubicBezTo>
                <a:cubicBezTo>
                  <a:pt x="1561802" y="2670047"/>
                  <a:pt x="1557941" y="2670846"/>
                  <a:pt x="1553681" y="2670846"/>
                </a:cubicBezTo>
                <a:cubicBezTo>
                  <a:pt x="1544763" y="2670846"/>
                  <a:pt x="1537441" y="2667917"/>
                  <a:pt x="1531850" y="2662328"/>
                </a:cubicBezTo>
                <a:cubicBezTo>
                  <a:pt x="1526261" y="2656736"/>
                  <a:pt x="1523464" y="2649681"/>
                  <a:pt x="1523464" y="2641161"/>
                </a:cubicBezTo>
                <a:cubicBezTo>
                  <a:pt x="1523464" y="2632908"/>
                  <a:pt x="1526261" y="2625852"/>
                  <a:pt x="1531850" y="2620128"/>
                </a:cubicBezTo>
                <a:cubicBezTo>
                  <a:pt x="1537441" y="2614271"/>
                  <a:pt x="1544629" y="2611475"/>
                  <a:pt x="1553681" y="2611475"/>
                </a:cubicBezTo>
                <a:close/>
                <a:moveTo>
                  <a:pt x="1336036" y="2611475"/>
                </a:moveTo>
                <a:cubicBezTo>
                  <a:pt x="1340297" y="2611475"/>
                  <a:pt x="1344292" y="2612274"/>
                  <a:pt x="1347753" y="2614137"/>
                </a:cubicBezTo>
                <a:cubicBezTo>
                  <a:pt x="1351346" y="2615735"/>
                  <a:pt x="1354541" y="2617865"/>
                  <a:pt x="1357071" y="2620528"/>
                </a:cubicBezTo>
                <a:cubicBezTo>
                  <a:pt x="1359733" y="2623057"/>
                  <a:pt x="1361729" y="2626252"/>
                  <a:pt x="1363193" y="2629846"/>
                </a:cubicBezTo>
                <a:cubicBezTo>
                  <a:pt x="1364658" y="2633439"/>
                  <a:pt x="1365456" y="2637168"/>
                  <a:pt x="1365456" y="2641294"/>
                </a:cubicBezTo>
                <a:cubicBezTo>
                  <a:pt x="1365456" y="2645421"/>
                  <a:pt x="1364658" y="2649414"/>
                  <a:pt x="1363193" y="2653009"/>
                </a:cubicBezTo>
                <a:cubicBezTo>
                  <a:pt x="1361729" y="2656602"/>
                  <a:pt x="1359599" y="2659664"/>
                  <a:pt x="1357071" y="2662328"/>
                </a:cubicBezTo>
                <a:cubicBezTo>
                  <a:pt x="1354407" y="2664989"/>
                  <a:pt x="1351346" y="2667119"/>
                  <a:pt x="1347753" y="2668583"/>
                </a:cubicBezTo>
                <a:cubicBezTo>
                  <a:pt x="1344158" y="2670047"/>
                  <a:pt x="1340297" y="2670846"/>
                  <a:pt x="1336036" y="2670846"/>
                </a:cubicBezTo>
                <a:cubicBezTo>
                  <a:pt x="1327117" y="2670846"/>
                  <a:pt x="1319796" y="2667917"/>
                  <a:pt x="1314205" y="2662328"/>
                </a:cubicBezTo>
                <a:cubicBezTo>
                  <a:pt x="1308614" y="2656736"/>
                  <a:pt x="1305819" y="2649681"/>
                  <a:pt x="1305819" y="2641161"/>
                </a:cubicBezTo>
                <a:cubicBezTo>
                  <a:pt x="1305819" y="2632908"/>
                  <a:pt x="1308614" y="2625852"/>
                  <a:pt x="1314205" y="2620128"/>
                </a:cubicBezTo>
                <a:cubicBezTo>
                  <a:pt x="1319796" y="2614271"/>
                  <a:pt x="1326985" y="2611475"/>
                  <a:pt x="1336036" y="2611475"/>
                </a:cubicBezTo>
                <a:close/>
                <a:moveTo>
                  <a:pt x="1118392" y="2611475"/>
                </a:moveTo>
                <a:cubicBezTo>
                  <a:pt x="1122652" y="2611475"/>
                  <a:pt x="1126648" y="2612274"/>
                  <a:pt x="1130109" y="2614137"/>
                </a:cubicBezTo>
                <a:cubicBezTo>
                  <a:pt x="1133835" y="2615735"/>
                  <a:pt x="1136897" y="2617865"/>
                  <a:pt x="1139426" y="2620528"/>
                </a:cubicBezTo>
                <a:cubicBezTo>
                  <a:pt x="1142086" y="2623057"/>
                  <a:pt x="1144083" y="2626252"/>
                  <a:pt x="1145546" y="2629846"/>
                </a:cubicBezTo>
                <a:cubicBezTo>
                  <a:pt x="1147011" y="2633439"/>
                  <a:pt x="1147810" y="2637168"/>
                  <a:pt x="1147810" y="2641294"/>
                </a:cubicBezTo>
                <a:cubicBezTo>
                  <a:pt x="1147810" y="2645421"/>
                  <a:pt x="1147011" y="2649414"/>
                  <a:pt x="1145546" y="2653009"/>
                </a:cubicBezTo>
                <a:cubicBezTo>
                  <a:pt x="1144083" y="2656602"/>
                  <a:pt x="1141954" y="2659664"/>
                  <a:pt x="1139426" y="2662328"/>
                </a:cubicBezTo>
                <a:cubicBezTo>
                  <a:pt x="1136897" y="2664989"/>
                  <a:pt x="1133702" y="2667119"/>
                  <a:pt x="1130109" y="2668583"/>
                </a:cubicBezTo>
                <a:cubicBezTo>
                  <a:pt x="1126513" y="2670047"/>
                  <a:pt x="1122652" y="2670846"/>
                  <a:pt x="1118392" y="2670846"/>
                </a:cubicBezTo>
                <a:cubicBezTo>
                  <a:pt x="1109473" y="2670846"/>
                  <a:pt x="1102149" y="2667917"/>
                  <a:pt x="1096558" y="2662328"/>
                </a:cubicBezTo>
                <a:cubicBezTo>
                  <a:pt x="1090968" y="2656736"/>
                  <a:pt x="1088173" y="2649681"/>
                  <a:pt x="1088173" y="2641161"/>
                </a:cubicBezTo>
                <a:cubicBezTo>
                  <a:pt x="1088173" y="2632908"/>
                  <a:pt x="1090968" y="2625852"/>
                  <a:pt x="1096558" y="2620128"/>
                </a:cubicBezTo>
                <a:cubicBezTo>
                  <a:pt x="1102149" y="2614271"/>
                  <a:pt x="1109339" y="2611475"/>
                  <a:pt x="1118392" y="2611475"/>
                </a:cubicBezTo>
                <a:close/>
                <a:moveTo>
                  <a:pt x="900879" y="2611475"/>
                </a:moveTo>
                <a:cubicBezTo>
                  <a:pt x="905006" y="2611475"/>
                  <a:pt x="909000" y="2612274"/>
                  <a:pt x="912594" y="2614137"/>
                </a:cubicBezTo>
                <a:cubicBezTo>
                  <a:pt x="916322" y="2615735"/>
                  <a:pt x="919384" y="2617865"/>
                  <a:pt x="921913" y="2620528"/>
                </a:cubicBezTo>
                <a:cubicBezTo>
                  <a:pt x="924575" y="2623057"/>
                  <a:pt x="926572" y="2626252"/>
                  <a:pt x="928035" y="2629846"/>
                </a:cubicBezTo>
                <a:cubicBezTo>
                  <a:pt x="929500" y="2633439"/>
                  <a:pt x="930299" y="2637168"/>
                  <a:pt x="930299" y="2641294"/>
                </a:cubicBezTo>
                <a:cubicBezTo>
                  <a:pt x="930299" y="2645421"/>
                  <a:pt x="929500" y="2649414"/>
                  <a:pt x="928035" y="2653009"/>
                </a:cubicBezTo>
                <a:cubicBezTo>
                  <a:pt x="926572" y="2656602"/>
                  <a:pt x="924442" y="2659664"/>
                  <a:pt x="921913" y="2662328"/>
                </a:cubicBezTo>
                <a:cubicBezTo>
                  <a:pt x="919384" y="2664989"/>
                  <a:pt x="916189" y="2667119"/>
                  <a:pt x="912594" y="2668583"/>
                </a:cubicBezTo>
                <a:cubicBezTo>
                  <a:pt x="909000" y="2670047"/>
                  <a:pt x="905139" y="2670846"/>
                  <a:pt x="900879" y="2670846"/>
                </a:cubicBezTo>
                <a:cubicBezTo>
                  <a:pt x="891961" y="2670846"/>
                  <a:pt x="884639" y="2667917"/>
                  <a:pt x="879049" y="2662328"/>
                </a:cubicBezTo>
                <a:cubicBezTo>
                  <a:pt x="873459" y="2656736"/>
                  <a:pt x="870663" y="2649681"/>
                  <a:pt x="870663" y="2641161"/>
                </a:cubicBezTo>
                <a:cubicBezTo>
                  <a:pt x="870663" y="2632908"/>
                  <a:pt x="873459" y="2625852"/>
                  <a:pt x="879049" y="2620128"/>
                </a:cubicBezTo>
                <a:cubicBezTo>
                  <a:pt x="884639" y="2614271"/>
                  <a:pt x="891828" y="2611475"/>
                  <a:pt x="900879" y="2611475"/>
                </a:cubicBezTo>
                <a:close/>
                <a:moveTo>
                  <a:pt x="683237" y="2611475"/>
                </a:moveTo>
                <a:cubicBezTo>
                  <a:pt x="687497" y="2611475"/>
                  <a:pt x="691358" y="2612274"/>
                  <a:pt x="694952" y="2614137"/>
                </a:cubicBezTo>
                <a:cubicBezTo>
                  <a:pt x="698679" y="2615735"/>
                  <a:pt x="701741" y="2617865"/>
                  <a:pt x="704270" y="2620528"/>
                </a:cubicBezTo>
                <a:cubicBezTo>
                  <a:pt x="706932" y="2623057"/>
                  <a:pt x="708929" y="2626252"/>
                  <a:pt x="710393" y="2629846"/>
                </a:cubicBezTo>
                <a:cubicBezTo>
                  <a:pt x="711857" y="2633439"/>
                  <a:pt x="712656" y="2637168"/>
                  <a:pt x="712656" y="2641294"/>
                </a:cubicBezTo>
                <a:cubicBezTo>
                  <a:pt x="712656" y="2645421"/>
                  <a:pt x="711857" y="2649414"/>
                  <a:pt x="710393" y="2653009"/>
                </a:cubicBezTo>
                <a:cubicBezTo>
                  <a:pt x="708929" y="2656602"/>
                  <a:pt x="706799" y="2659664"/>
                  <a:pt x="704270" y="2662328"/>
                </a:cubicBezTo>
                <a:cubicBezTo>
                  <a:pt x="701741" y="2664989"/>
                  <a:pt x="698546" y="2667119"/>
                  <a:pt x="694952" y="2668583"/>
                </a:cubicBezTo>
                <a:cubicBezTo>
                  <a:pt x="691358" y="2670047"/>
                  <a:pt x="687497" y="2670846"/>
                  <a:pt x="683237" y="2670846"/>
                </a:cubicBezTo>
                <a:cubicBezTo>
                  <a:pt x="674319" y="2670846"/>
                  <a:pt x="666997" y="2667917"/>
                  <a:pt x="661405" y="2662328"/>
                </a:cubicBezTo>
                <a:cubicBezTo>
                  <a:pt x="655814" y="2656736"/>
                  <a:pt x="653019" y="2649681"/>
                  <a:pt x="653019" y="2641161"/>
                </a:cubicBezTo>
                <a:cubicBezTo>
                  <a:pt x="653019" y="2632908"/>
                  <a:pt x="655814" y="2625852"/>
                  <a:pt x="661405" y="2620128"/>
                </a:cubicBezTo>
                <a:cubicBezTo>
                  <a:pt x="666997" y="2614271"/>
                  <a:pt x="674186" y="2611475"/>
                  <a:pt x="683237" y="2611475"/>
                </a:cubicBezTo>
                <a:close/>
                <a:moveTo>
                  <a:pt x="465594" y="2611475"/>
                </a:moveTo>
                <a:cubicBezTo>
                  <a:pt x="469854" y="2611475"/>
                  <a:pt x="473714" y="2612274"/>
                  <a:pt x="477309" y="2614137"/>
                </a:cubicBezTo>
                <a:cubicBezTo>
                  <a:pt x="481036" y="2615735"/>
                  <a:pt x="484098" y="2617865"/>
                  <a:pt x="486627" y="2620528"/>
                </a:cubicBezTo>
                <a:cubicBezTo>
                  <a:pt x="489289" y="2623057"/>
                  <a:pt x="491286" y="2626252"/>
                  <a:pt x="492750" y="2629846"/>
                </a:cubicBezTo>
                <a:cubicBezTo>
                  <a:pt x="494214" y="2633439"/>
                  <a:pt x="495013" y="2637168"/>
                  <a:pt x="495013" y="2641294"/>
                </a:cubicBezTo>
                <a:cubicBezTo>
                  <a:pt x="495013" y="2645421"/>
                  <a:pt x="494214" y="2649414"/>
                  <a:pt x="492750" y="2653009"/>
                </a:cubicBezTo>
                <a:cubicBezTo>
                  <a:pt x="491286" y="2656602"/>
                  <a:pt x="489156" y="2659664"/>
                  <a:pt x="486627" y="2662328"/>
                </a:cubicBezTo>
                <a:cubicBezTo>
                  <a:pt x="483964" y="2664989"/>
                  <a:pt x="480903" y="2667119"/>
                  <a:pt x="477309" y="2668583"/>
                </a:cubicBezTo>
                <a:cubicBezTo>
                  <a:pt x="473714" y="2670047"/>
                  <a:pt x="469854" y="2670846"/>
                  <a:pt x="465594" y="2670846"/>
                </a:cubicBezTo>
                <a:cubicBezTo>
                  <a:pt x="456676" y="2670846"/>
                  <a:pt x="449353" y="2667917"/>
                  <a:pt x="443762" y="2662328"/>
                </a:cubicBezTo>
                <a:cubicBezTo>
                  <a:pt x="438172" y="2656736"/>
                  <a:pt x="435377" y="2649681"/>
                  <a:pt x="435377" y="2641161"/>
                </a:cubicBezTo>
                <a:cubicBezTo>
                  <a:pt x="435377" y="2632908"/>
                  <a:pt x="438172" y="2625852"/>
                  <a:pt x="443762" y="2620128"/>
                </a:cubicBezTo>
                <a:cubicBezTo>
                  <a:pt x="449353" y="2614271"/>
                  <a:pt x="456543" y="2611475"/>
                  <a:pt x="465594" y="2611475"/>
                </a:cubicBezTo>
                <a:close/>
                <a:moveTo>
                  <a:pt x="247951" y="2611475"/>
                </a:moveTo>
                <a:cubicBezTo>
                  <a:pt x="252211" y="2611475"/>
                  <a:pt x="256204" y="2612274"/>
                  <a:pt x="259665" y="2614137"/>
                </a:cubicBezTo>
                <a:cubicBezTo>
                  <a:pt x="263392" y="2615735"/>
                  <a:pt x="266454" y="2617865"/>
                  <a:pt x="268984" y="2620528"/>
                </a:cubicBezTo>
                <a:cubicBezTo>
                  <a:pt x="271646" y="2623057"/>
                  <a:pt x="273643" y="2626252"/>
                  <a:pt x="275107" y="2629846"/>
                </a:cubicBezTo>
                <a:cubicBezTo>
                  <a:pt x="276571" y="2633439"/>
                  <a:pt x="277370" y="2637168"/>
                  <a:pt x="277370" y="2641294"/>
                </a:cubicBezTo>
                <a:cubicBezTo>
                  <a:pt x="277370" y="2645421"/>
                  <a:pt x="276571" y="2649414"/>
                  <a:pt x="275107" y="2653009"/>
                </a:cubicBezTo>
                <a:cubicBezTo>
                  <a:pt x="273643" y="2656602"/>
                  <a:pt x="271513" y="2659664"/>
                  <a:pt x="268984" y="2662328"/>
                </a:cubicBezTo>
                <a:cubicBezTo>
                  <a:pt x="266320" y="2664989"/>
                  <a:pt x="263259" y="2667119"/>
                  <a:pt x="259665" y="2668583"/>
                </a:cubicBezTo>
                <a:cubicBezTo>
                  <a:pt x="256070" y="2670047"/>
                  <a:pt x="252211" y="2670846"/>
                  <a:pt x="247951" y="2670846"/>
                </a:cubicBezTo>
                <a:cubicBezTo>
                  <a:pt x="239033" y="2670846"/>
                  <a:pt x="231711" y="2667917"/>
                  <a:pt x="226120" y="2662328"/>
                </a:cubicBezTo>
                <a:cubicBezTo>
                  <a:pt x="220529" y="2656736"/>
                  <a:pt x="217734" y="2649681"/>
                  <a:pt x="217734" y="2641161"/>
                </a:cubicBezTo>
                <a:cubicBezTo>
                  <a:pt x="217734" y="2632908"/>
                  <a:pt x="220529" y="2625852"/>
                  <a:pt x="226120" y="2620128"/>
                </a:cubicBezTo>
                <a:cubicBezTo>
                  <a:pt x="231711" y="2614271"/>
                  <a:pt x="238899" y="2611475"/>
                  <a:pt x="247951" y="2611475"/>
                </a:cubicBezTo>
                <a:close/>
                <a:moveTo>
                  <a:pt x="30307" y="2611475"/>
                </a:moveTo>
                <a:cubicBezTo>
                  <a:pt x="34567" y="2611475"/>
                  <a:pt x="38562" y="2612274"/>
                  <a:pt x="42023" y="2614137"/>
                </a:cubicBezTo>
                <a:cubicBezTo>
                  <a:pt x="45750" y="2615735"/>
                  <a:pt x="48812" y="2617865"/>
                  <a:pt x="51341" y="2620528"/>
                </a:cubicBezTo>
                <a:cubicBezTo>
                  <a:pt x="54003" y="2623057"/>
                  <a:pt x="56000" y="2626252"/>
                  <a:pt x="57464" y="2629846"/>
                </a:cubicBezTo>
                <a:cubicBezTo>
                  <a:pt x="58928" y="2633439"/>
                  <a:pt x="59727" y="2637168"/>
                  <a:pt x="59727" y="2641294"/>
                </a:cubicBezTo>
                <a:cubicBezTo>
                  <a:pt x="59727" y="2645421"/>
                  <a:pt x="58928" y="2649414"/>
                  <a:pt x="57464" y="2653009"/>
                </a:cubicBezTo>
                <a:cubicBezTo>
                  <a:pt x="56000" y="2656602"/>
                  <a:pt x="53870" y="2659664"/>
                  <a:pt x="51341" y="2662328"/>
                </a:cubicBezTo>
                <a:cubicBezTo>
                  <a:pt x="48678" y="2664989"/>
                  <a:pt x="45617" y="2667119"/>
                  <a:pt x="42023" y="2668583"/>
                </a:cubicBezTo>
                <a:cubicBezTo>
                  <a:pt x="38428" y="2670047"/>
                  <a:pt x="34567" y="2670846"/>
                  <a:pt x="30307" y="2670846"/>
                </a:cubicBezTo>
                <a:cubicBezTo>
                  <a:pt x="21389" y="2670846"/>
                  <a:pt x="14068" y="2667917"/>
                  <a:pt x="8478" y="2662328"/>
                </a:cubicBezTo>
                <a:cubicBezTo>
                  <a:pt x="2887" y="2656736"/>
                  <a:pt x="92" y="2649681"/>
                  <a:pt x="92" y="2641161"/>
                </a:cubicBezTo>
                <a:cubicBezTo>
                  <a:pt x="92" y="2632908"/>
                  <a:pt x="2887" y="2625852"/>
                  <a:pt x="8478" y="2620128"/>
                </a:cubicBezTo>
                <a:cubicBezTo>
                  <a:pt x="14068" y="2614271"/>
                  <a:pt x="21255" y="2611475"/>
                  <a:pt x="30307" y="2611475"/>
                </a:cubicBezTo>
                <a:close/>
                <a:moveTo>
                  <a:pt x="10475977" y="2410471"/>
                </a:moveTo>
                <a:cubicBezTo>
                  <a:pt x="10470119" y="2410471"/>
                  <a:pt x="10467589" y="2412467"/>
                  <a:pt x="10465992" y="2414065"/>
                </a:cubicBezTo>
                <a:cubicBezTo>
                  <a:pt x="10463463" y="2416727"/>
                  <a:pt x="10462399" y="2419522"/>
                  <a:pt x="10462399" y="2423515"/>
                </a:cubicBezTo>
                <a:cubicBezTo>
                  <a:pt x="10462399" y="2427642"/>
                  <a:pt x="10463463" y="2430438"/>
                  <a:pt x="10465992" y="2432967"/>
                </a:cubicBezTo>
                <a:cubicBezTo>
                  <a:pt x="10467589" y="2434565"/>
                  <a:pt x="10470119" y="2436428"/>
                  <a:pt x="10475977" y="2436428"/>
                </a:cubicBezTo>
                <a:cubicBezTo>
                  <a:pt x="10478107" y="2436428"/>
                  <a:pt x="10479838" y="2436162"/>
                  <a:pt x="10481302" y="2435496"/>
                </a:cubicBezTo>
                <a:cubicBezTo>
                  <a:pt x="10482899" y="2434965"/>
                  <a:pt x="10484098" y="2434165"/>
                  <a:pt x="10485029" y="2433101"/>
                </a:cubicBezTo>
                <a:cubicBezTo>
                  <a:pt x="10486094" y="2432035"/>
                  <a:pt x="10487026" y="2430704"/>
                  <a:pt x="10487691" y="2428974"/>
                </a:cubicBezTo>
                <a:cubicBezTo>
                  <a:pt x="10488357" y="2427376"/>
                  <a:pt x="10488623" y="2425513"/>
                  <a:pt x="10488623" y="2423515"/>
                </a:cubicBezTo>
                <a:cubicBezTo>
                  <a:pt x="10488623" y="2421652"/>
                  <a:pt x="10488357" y="2419922"/>
                  <a:pt x="10487691" y="2418324"/>
                </a:cubicBezTo>
                <a:cubicBezTo>
                  <a:pt x="10487026" y="2416594"/>
                  <a:pt x="10486094" y="2415263"/>
                  <a:pt x="10485029" y="2414065"/>
                </a:cubicBezTo>
                <a:cubicBezTo>
                  <a:pt x="10483964" y="2412999"/>
                  <a:pt x="10482633" y="2412067"/>
                  <a:pt x="10481035" y="2411402"/>
                </a:cubicBezTo>
                <a:cubicBezTo>
                  <a:pt x="10479571" y="2410737"/>
                  <a:pt x="10477974" y="2410471"/>
                  <a:pt x="10475977" y="2410471"/>
                </a:cubicBezTo>
                <a:close/>
                <a:moveTo>
                  <a:pt x="10258466" y="2410471"/>
                </a:moveTo>
                <a:cubicBezTo>
                  <a:pt x="10252608" y="2410471"/>
                  <a:pt x="10250078" y="2412467"/>
                  <a:pt x="10248481" y="2414065"/>
                </a:cubicBezTo>
                <a:cubicBezTo>
                  <a:pt x="10245952" y="2416727"/>
                  <a:pt x="10244887" y="2419522"/>
                  <a:pt x="10244887" y="2423515"/>
                </a:cubicBezTo>
                <a:cubicBezTo>
                  <a:pt x="10244887" y="2427642"/>
                  <a:pt x="10245952" y="2430438"/>
                  <a:pt x="10248481" y="2432967"/>
                </a:cubicBezTo>
                <a:cubicBezTo>
                  <a:pt x="10250078" y="2434565"/>
                  <a:pt x="10252608" y="2436428"/>
                  <a:pt x="10258466" y="2436428"/>
                </a:cubicBezTo>
                <a:cubicBezTo>
                  <a:pt x="10260462" y="2436428"/>
                  <a:pt x="10262192" y="2436162"/>
                  <a:pt x="10263790" y="2435496"/>
                </a:cubicBezTo>
                <a:cubicBezTo>
                  <a:pt x="10265388" y="2434965"/>
                  <a:pt x="10266586" y="2434165"/>
                  <a:pt x="10267517" y="2433101"/>
                </a:cubicBezTo>
                <a:cubicBezTo>
                  <a:pt x="10268583" y="2432035"/>
                  <a:pt x="10269515" y="2430704"/>
                  <a:pt x="10270180" y="2428974"/>
                </a:cubicBezTo>
                <a:cubicBezTo>
                  <a:pt x="10270845" y="2427376"/>
                  <a:pt x="10271112" y="2425513"/>
                  <a:pt x="10271112" y="2423515"/>
                </a:cubicBezTo>
                <a:cubicBezTo>
                  <a:pt x="10271112" y="2421652"/>
                  <a:pt x="10270845" y="2419922"/>
                  <a:pt x="10270180" y="2418324"/>
                </a:cubicBezTo>
                <a:cubicBezTo>
                  <a:pt x="10269515" y="2416594"/>
                  <a:pt x="10268583" y="2415263"/>
                  <a:pt x="10267517" y="2414065"/>
                </a:cubicBezTo>
                <a:cubicBezTo>
                  <a:pt x="10266452" y="2412999"/>
                  <a:pt x="10265121" y="2412067"/>
                  <a:pt x="10263524" y="2411402"/>
                </a:cubicBezTo>
                <a:cubicBezTo>
                  <a:pt x="10262060" y="2410737"/>
                  <a:pt x="10260462" y="2410471"/>
                  <a:pt x="10258466" y="2410471"/>
                </a:cubicBezTo>
                <a:close/>
                <a:moveTo>
                  <a:pt x="10040820" y="2410471"/>
                </a:moveTo>
                <a:cubicBezTo>
                  <a:pt x="10034962" y="2410471"/>
                  <a:pt x="10032433" y="2412467"/>
                  <a:pt x="10030835" y="2414065"/>
                </a:cubicBezTo>
                <a:cubicBezTo>
                  <a:pt x="10028306" y="2416727"/>
                  <a:pt x="10027242" y="2419522"/>
                  <a:pt x="10027242" y="2423515"/>
                </a:cubicBezTo>
                <a:cubicBezTo>
                  <a:pt x="10027242" y="2427642"/>
                  <a:pt x="10028306" y="2430438"/>
                  <a:pt x="10030835" y="2432967"/>
                </a:cubicBezTo>
                <a:cubicBezTo>
                  <a:pt x="10032433" y="2434565"/>
                  <a:pt x="10034962" y="2436428"/>
                  <a:pt x="10040820" y="2436428"/>
                </a:cubicBezTo>
                <a:cubicBezTo>
                  <a:pt x="10042817" y="2436428"/>
                  <a:pt x="10044681" y="2436162"/>
                  <a:pt x="10046145" y="2435496"/>
                </a:cubicBezTo>
                <a:cubicBezTo>
                  <a:pt x="10047742" y="2434965"/>
                  <a:pt x="10048941" y="2434165"/>
                  <a:pt x="10049872" y="2433101"/>
                </a:cubicBezTo>
                <a:cubicBezTo>
                  <a:pt x="10050937" y="2432035"/>
                  <a:pt x="10051869" y="2430704"/>
                  <a:pt x="10052534" y="2428974"/>
                </a:cubicBezTo>
                <a:cubicBezTo>
                  <a:pt x="10053333" y="2427376"/>
                  <a:pt x="10053599" y="2425513"/>
                  <a:pt x="10053599" y="2423515"/>
                </a:cubicBezTo>
                <a:cubicBezTo>
                  <a:pt x="10053599" y="2421652"/>
                  <a:pt x="10053200" y="2419922"/>
                  <a:pt x="10052534" y="2418324"/>
                </a:cubicBezTo>
                <a:cubicBezTo>
                  <a:pt x="10051869" y="2416594"/>
                  <a:pt x="10050937" y="2415263"/>
                  <a:pt x="10049872" y="2414065"/>
                </a:cubicBezTo>
                <a:cubicBezTo>
                  <a:pt x="10048807" y="2412999"/>
                  <a:pt x="10047476" y="2412067"/>
                  <a:pt x="10045878" y="2411402"/>
                </a:cubicBezTo>
                <a:cubicBezTo>
                  <a:pt x="10044414" y="2410737"/>
                  <a:pt x="10042817" y="2410471"/>
                  <a:pt x="10040820" y="2410471"/>
                </a:cubicBezTo>
                <a:close/>
                <a:moveTo>
                  <a:pt x="9823176" y="2410471"/>
                </a:moveTo>
                <a:cubicBezTo>
                  <a:pt x="9817318" y="2410471"/>
                  <a:pt x="9814788" y="2412467"/>
                  <a:pt x="9813191" y="2414065"/>
                </a:cubicBezTo>
                <a:cubicBezTo>
                  <a:pt x="9810662" y="2416727"/>
                  <a:pt x="9809597" y="2419522"/>
                  <a:pt x="9809597" y="2423515"/>
                </a:cubicBezTo>
                <a:cubicBezTo>
                  <a:pt x="9809597" y="2427642"/>
                  <a:pt x="9810662" y="2430438"/>
                  <a:pt x="9813191" y="2432967"/>
                </a:cubicBezTo>
                <a:cubicBezTo>
                  <a:pt x="9814788" y="2434565"/>
                  <a:pt x="9817318" y="2436428"/>
                  <a:pt x="9823176" y="2436428"/>
                </a:cubicBezTo>
                <a:cubicBezTo>
                  <a:pt x="9825173" y="2436428"/>
                  <a:pt x="9827036" y="2436162"/>
                  <a:pt x="9828501" y="2435496"/>
                </a:cubicBezTo>
                <a:cubicBezTo>
                  <a:pt x="9830098" y="2434965"/>
                  <a:pt x="9831296" y="2434165"/>
                  <a:pt x="9832227" y="2433101"/>
                </a:cubicBezTo>
                <a:cubicBezTo>
                  <a:pt x="9833293" y="2432035"/>
                  <a:pt x="9834225" y="2430704"/>
                  <a:pt x="9834890" y="2428974"/>
                </a:cubicBezTo>
                <a:cubicBezTo>
                  <a:pt x="9835689" y="2427376"/>
                  <a:pt x="9835955" y="2425513"/>
                  <a:pt x="9835955" y="2423515"/>
                </a:cubicBezTo>
                <a:cubicBezTo>
                  <a:pt x="9835955" y="2421652"/>
                  <a:pt x="9835555" y="2419922"/>
                  <a:pt x="9834890" y="2418324"/>
                </a:cubicBezTo>
                <a:cubicBezTo>
                  <a:pt x="9834225" y="2416594"/>
                  <a:pt x="9833293" y="2415263"/>
                  <a:pt x="9832227" y="2414065"/>
                </a:cubicBezTo>
                <a:cubicBezTo>
                  <a:pt x="9831162" y="2412999"/>
                  <a:pt x="9829831" y="2412067"/>
                  <a:pt x="9828234" y="2411402"/>
                </a:cubicBezTo>
                <a:cubicBezTo>
                  <a:pt x="9826770" y="2410737"/>
                  <a:pt x="9825173" y="2410471"/>
                  <a:pt x="9823176" y="2410471"/>
                </a:cubicBezTo>
                <a:close/>
                <a:moveTo>
                  <a:pt x="9605531" y="2410471"/>
                </a:moveTo>
                <a:cubicBezTo>
                  <a:pt x="9599673" y="2410471"/>
                  <a:pt x="9597143" y="2412467"/>
                  <a:pt x="9595546" y="2414065"/>
                </a:cubicBezTo>
                <a:cubicBezTo>
                  <a:pt x="9593017" y="2416727"/>
                  <a:pt x="9591952" y="2419522"/>
                  <a:pt x="9591952" y="2423515"/>
                </a:cubicBezTo>
                <a:cubicBezTo>
                  <a:pt x="9591952" y="2427642"/>
                  <a:pt x="9593017" y="2430438"/>
                  <a:pt x="9595546" y="2432967"/>
                </a:cubicBezTo>
                <a:cubicBezTo>
                  <a:pt x="9597143" y="2434565"/>
                  <a:pt x="9599673" y="2436428"/>
                  <a:pt x="9605531" y="2436428"/>
                </a:cubicBezTo>
                <a:cubicBezTo>
                  <a:pt x="9607660" y="2436428"/>
                  <a:pt x="9609391" y="2436162"/>
                  <a:pt x="9610855" y="2435496"/>
                </a:cubicBezTo>
                <a:cubicBezTo>
                  <a:pt x="9612319" y="2434965"/>
                  <a:pt x="9613651" y="2434165"/>
                  <a:pt x="9614582" y="2433101"/>
                </a:cubicBezTo>
                <a:cubicBezTo>
                  <a:pt x="9615647" y="2432035"/>
                  <a:pt x="9616579" y="2430704"/>
                  <a:pt x="9617245" y="2428974"/>
                </a:cubicBezTo>
                <a:cubicBezTo>
                  <a:pt x="9618044" y="2427376"/>
                  <a:pt x="9618309" y="2425513"/>
                  <a:pt x="9618309" y="2423515"/>
                </a:cubicBezTo>
                <a:cubicBezTo>
                  <a:pt x="9618309" y="2421652"/>
                  <a:pt x="9617910" y="2419922"/>
                  <a:pt x="9617245" y="2418324"/>
                </a:cubicBezTo>
                <a:cubicBezTo>
                  <a:pt x="9616579" y="2416594"/>
                  <a:pt x="9615647" y="2415263"/>
                  <a:pt x="9614582" y="2414065"/>
                </a:cubicBezTo>
                <a:cubicBezTo>
                  <a:pt x="9613517" y="2412999"/>
                  <a:pt x="9612186" y="2412067"/>
                  <a:pt x="9610589" y="2411402"/>
                </a:cubicBezTo>
                <a:cubicBezTo>
                  <a:pt x="9609124" y="2410737"/>
                  <a:pt x="9607394" y="2410471"/>
                  <a:pt x="9605531" y="2410471"/>
                </a:cubicBezTo>
                <a:close/>
                <a:moveTo>
                  <a:pt x="9387885" y="2410471"/>
                </a:moveTo>
                <a:cubicBezTo>
                  <a:pt x="9382027" y="2410471"/>
                  <a:pt x="9379497" y="2412467"/>
                  <a:pt x="9377900" y="2414065"/>
                </a:cubicBezTo>
                <a:cubicBezTo>
                  <a:pt x="9375371" y="2416727"/>
                  <a:pt x="9374307" y="2419522"/>
                  <a:pt x="9374307" y="2423515"/>
                </a:cubicBezTo>
                <a:cubicBezTo>
                  <a:pt x="9374307" y="2427642"/>
                  <a:pt x="9375371" y="2430438"/>
                  <a:pt x="9377900" y="2432967"/>
                </a:cubicBezTo>
                <a:cubicBezTo>
                  <a:pt x="9379497" y="2434565"/>
                  <a:pt x="9382027" y="2436428"/>
                  <a:pt x="9387885" y="2436428"/>
                </a:cubicBezTo>
                <a:cubicBezTo>
                  <a:pt x="9390015" y="2436428"/>
                  <a:pt x="9391746" y="2436162"/>
                  <a:pt x="9393210" y="2435496"/>
                </a:cubicBezTo>
                <a:cubicBezTo>
                  <a:pt x="9394674" y="2434965"/>
                  <a:pt x="9396005" y="2434165"/>
                  <a:pt x="9396937" y="2433101"/>
                </a:cubicBezTo>
                <a:cubicBezTo>
                  <a:pt x="9398002" y="2432035"/>
                  <a:pt x="9398934" y="2430704"/>
                  <a:pt x="9399599" y="2428974"/>
                </a:cubicBezTo>
                <a:cubicBezTo>
                  <a:pt x="9400398" y="2427376"/>
                  <a:pt x="9400664" y="2425513"/>
                  <a:pt x="9400664" y="2423515"/>
                </a:cubicBezTo>
                <a:cubicBezTo>
                  <a:pt x="9400664" y="2421652"/>
                  <a:pt x="9400265" y="2419922"/>
                  <a:pt x="9399599" y="2418324"/>
                </a:cubicBezTo>
                <a:cubicBezTo>
                  <a:pt x="9398934" y="2416594"/>
                  <a:pt x="9398002" y="2415263"/>
                  <a:pt x="9396937" y="2414065"/>
                </a:cubicBezTo>
                <a:cubicBezTo>
                  <a:pt x="9395872" y="2412999"/>
                  <a:pt x="9394541" y="2412067"/>
                  <a:pt x="9392943" y="2411402"/>
                </a:cubicBezTo>
                <a:cubicBezTo>
                  <a:pt x="9391479" y="2410737"/>
                  <a:pt x="9389749" y="2410471"/>
                  <a:pt x="9387885" y="2410471"/>
                </a:cubicBezTo>
                <a:close/>
                <a:moveTo>
                  <a:pt x="9170374" y="2410471"/>
                </a:moveTo>
                <a:cubicBezTo>
                  <a:pt x="9164649" y="2410471"/>
                  <a:pt x="9161986" y="2412467"/>
                  <a:pt x="9160389" y="2414065"/>
                </a:cubicBezTo>
                <a:cubicBezTo>
                  <a:pt x="9157860" y="2416727"/>
                  <a:pt x="9156795" y="2419522"/>
                  <a:pt x="9156795" y="2423515"/>
                </a:cubicBezTo>
                <a:cubicBezTo>
                  <a:pt x="9156795" y="2427642"/>
                  <a:pt x="9157860" y="2430438"/>
                  <a:pt x="9160389" y="2432967"/>
                </a:cubicBezTo>
                <a:cubicBezTo>
                  <a:pt x="9161986" y="2434565"/>
                  <a:pt x="9164516" y="2436428"/>
                  <a:pt x="9170374" y="2436428"/>
                </a:cubicBezTo>
                <a:cubicBezTo>
                  <a:pt x="9172370" y="2436428"/>
                  <a:pt x="9174100" y="2436162"/>
                  <a:pt x="9175698" y="2435496"/>
                </a:cubicBezTo>
                <a:cubicBezTo>
                  <a:pt x="9177163" y="2434965"/>
                  <a:pt x="9178494" y="2434165"/>
                  <a:pt x="9179425" y="2433101"/>
                </a:cubicBezTo>
                <a:cubicBezTo>
                  <a:pt x="9180491" y="2432035"/>
                  <a:pt x="9181422" y="2430704"/>
                  <a:pt x="9182088" y="2428974"/>
                </a:cubicBezTo>
                <a:cubicBezTo>
                  <a:pt x="9182887" y="2427376"/>
                  <a:pt x="9183152" y="2425513"/>
                  <a:pt x="9183152" y="2423515"/>
                </a:cubicBezTo>
                <a:cubicBezTo>
                  <a:pt x="9183152" y="2421652"/>
                  <a:pt x="9182753" y="2419922"/>
                  <a:pt x="9182088" y="2418324"/>
                </a:cubicBezTo>
                <a:cubicBezTo>
                  <a:pt x="9181422" y="2416594"/>
                  <a:pt x="9180491" y="2415263"/>
                  <a:pt x="9179425" y="2414065"/>
                </a:cubicBezTo>
                <a:cubicBezTo>
                  <a:pt x="9178360" y="2412999"/>
                  <a:pt x="9177029" y="2412067"/>
                  <a:pt x="9175432" y="2411402"/>
                </a:cubicBezTo>
                <a:cubicBezTo>
                  <a:pt x="9173967" y="2410737"/>
                  <a:pt x="9172237" y="2410471"/>
                  <a:pt x="9170374" y="2410471"/>
                </a:cubicBezTo>
                <a:close/>
                <a:moveTo>
                  <a:pt x="8952728" y="2410471"/>
                </a:moveTo>
                <a:cubicBezTo>
                  <a:pt x="8947003" y="2410471"/>
                  <a:pt x="8944340" y="2412467"/>
                  <a:pt x="8942743" y="2414065"/>
                </a:cubicBezTo>
                <a:cubicBezTo>
                  <a:pt x="8940214" y="2416727"/>
                  <a:pt x="8939150" y="2419522"/>
                  <a:pt x="8939150" y="2423515"/>
                </a:cubicBezTo>
                <a:cubicBezTo>
                  <a:pt x="8939150" y="2427642"/>
                  <a:pt x="8940214" y="2430438"/>
                  <a:pt x="8942743" y="2432967"/>
                </a:cubicBezTo>
                <a:cubicBezTo>
                  <a:pt x="8944340" y="2434565"/>
                  <a:pt x="8946870" y="2436428"/>
                  <a:pt x="8952728" y="2436428"/>
                </a:cubicBezTo>
                <a:cubicBezTo>
                  <a:pt x="8954725" y="2436428"/>
                  <a:pt x="8956589" y="2436162"/>
                  <a:pt x="8958053" y="2435496"/>
                </a:cubicBezTo>
                <a:cubicBezTo>
                  <a:pt x="8959517" y="2434965"/>
                  <a:pt x="8960849" y="2434165"/>
                  <a:pt x="8961780" y="2433101"/>
                </a:cubicBezTo>
                <a:cubicBezTo>
                  <a:pt x="8962845" y="2432035"/>
                  <a:pt x="8963777" y="2430704"/>
                  <a:pt x="8964442" y="2428974"/>
                </a:cubicBezTo>
                <a:cubicBezTo>
                  <a:pt x="8965241" y="2427376"/>
                  <a:pt x="8965507" y="2425513"/>
                  <a:pt x="8965507" y="2423515"/>
                </a:cubicBezTo>
                <a:cubicBezTo>
                  <a:pt x="8965507" y="2421652"/>
                  <a:pt x="8965108" y="2419922"/>
                  <a:pt x="8964442" y="2418324"/>
                </a:cubicBezTo>
                <a:cubicBezTo>
                  <a:pt x="8963777" y="2416594"/>
                  <a:pt x="8962845" y="2415263"/>
                  <a:pt x="8961780" y="2414065"/>
                </a:cubicBezTo>
                <a:cubicBezTo>
                  <a:pt x="8960715" y="2412999"/>
                  <a:pt x="8959384" y="2412067"/>
                  <a:pt x="8957786" y="2411402"/>
                </a:cubicBezTo>
                <a:cubicBezTo>
                  <a:pt x="8956322" y="2410737"/>
                  <a:pt x="8954592" y="2410471"/>
                  <a:pt x="8952728" y="2410471"/>
                </a:cubicBezTo>
                <a:close/>
                <a:moveTo>
                  <a:pt x="8735083" y="2410471"/>
                </a:moveTo>
                <a:cubicBezTo>
                  <a:pt x="8729358" y="2410471"/>
                  <a:pt x="8726695" y="2412467"/>
                  <a:pt x="8725098" y="2414065"/>
                </a:cubicBezTo>
                <a:cubicBezTo>
                  <a:pt x="8722569" y="2416727"/>
                  <a:pt x="8721504" y="2419522"/>
                  <a:pt x="8721504" y="2423515"/>
                </a:cubicBezTo>
                <a:cubicBezTo>
                  <a:pt x="8721504" y="2427642"/>
                  <a:pt x="8722569" y="2430438"/>
                  <a:pt x="8725098" y="2432967"/>
                </a:cubicBezTo>
                <a:cubicBezTo>
                  <a:pt x="8726695" y="2434565"/>
                  <a:pt x="8729225" y="2436428"/>
                  <a:pt x="8735083" y="2436428"/>
                </a:cubicBezTo>
                <a:cubicBezTo>
                  <a:pt x="8737079" y="2436428"/>
                  <a:pt x="8738943" y="2436162"/>
                  <a:pt x="8740407" y="2435496"/>
                </a:cubicBezTo>
                <a:cubicBezTo>
                  <a:pt x="8741872" y="2434965"/>
                  <a:pt x="8743203" y="2434165"/>
                  <a:pt x="8744134" y="2433101"/>
                </a:cubicBezTo>
                <a:cubicBezTo>
                  <a:pt x="8745200" y="2432035"/>
                  <a:pt x="8746132" y="2430704"/>
                  <a:pt x="8746797" y="2428974"/>
                </a:cubicBezTo>
                <a:cubicBezTo>
                  <a:pt x="8747596" y="2427376"/>
                  <a:pt x="8747862" y="2425513"/>
                  <a:pt x="8747862" y="2423515"/>
                </a:cubicBezTo>
                <a:cubicBezTo>
                  <a:pt x="8747862" y="2421652"/>
                  <a:pt x="8747462" y="2419922"/>
                  <a:pt x="8746797" y="2418324"/>
                </a:cubicBezTo>
                <a:cubicBezTo>
                  <a:pt x="8746132" y="2416594"/>
                  <a:pt x="8745200" y="2415263"/>
                  <a:pt x="8744134" y="2414065"/>
                </a:cubicBezTo>
                <a:cubicBezTo>
                  <a:pt x="8743069" y="2412999"/>
                  <a:pt x="8741738" y="2412067"/>
                  <a:pt x="8740141" y="2411402"/>
                </a:cubicBezTo>
                <a:cubicBezTo>
                  <a:pt x="8738677" y="2410737"/>
                  <a:pt x="8736946" y="2410471"/>
                  <a:pt x="8735083" y="2410471"/>
                </a:cubicBezTo>
                <a:close/>
                <a:moveTo>
                  <a:pt x="8517438" y="2410471"/>
                </a:moveTo>
                <a:cubicBezTo>
                  <a:pt x="8511713" y="2410471"/>
                  <a:pt x="8509051" y="2412467"/>
                  <a:pt x="8507453" y="2414065"/>
                </a:cubicBezTo>
                <a:cubicBezTo>
                  <a:pt x="8504925" y="2416727"/>
                  <a:pt x="8503860" y="2419522"/>
                  <a:pt x="8503860" y="2423515"/>
                </a:cubicBezTo>
                <a:cubicBezTo>
                  <a:pt x="8503860" y="2427642"/>
                  <a:pt x="8504925" y="2430438"/>
                  <a:pt x="8507453" y="2432967"/>
                </a:cubicBezTo>
                <a:cubicBezTo>
                  <a:pt x="8509051" y="2434565"/>
                  <a:pt x="8511581" y="2436428"/>
                  <a:pt x="8517438" y="2436428"/>
                </a:cubicBezTo>
                <a:cubicBezTo>
                  <a:pt x="8519568" y="2436428"/>
                  <a:pt x="8521299" y="2436162"/>
                  <a:pt x="8522763" y="2435496"/>
                </a:cubicBezTo>
                <a:cubicBezTo>
                  <a:pt x="8524227" y="2434965"/>
                  <a:pt x="8525559" y="2434165"/>
                  <a:pt x="8526490" y="2433101"/>
                </a:cubicBezTo>
                <a:cubicBezTo>
                  <a:pt x="8527555" y="2432035"/>
                  <a:pt x="8528487" y="2430704"/>
                  <a:pt x="8529152" y="2428974"/>
                </a:cubicBezTo>
                <a:cubicBezTo>
                  <a:pt x="8529818" y="2427376"/>
                  <a:pt x="8530084" y="2425513"/>
                  <a:pt x="8530084" y="2423515"/>
                </a:cubicBezTo>
                <a:cubicBezTo>
                  <a:pt x="8530084" y="2421652"/>
                  <a:pt x="8529818" y="2419922"/>
                  <a:pt x="8529152" y="2418324"/>
                </a:cubicBezTo>
                <a:cubicBezTo>
                  <a:pt x="8528487" y="2416594"/>
                  <a:pt x="8527555" y="2415263"/>
                  <a:pt x="8526490" y="2414065"/>
                </a:cubicBezTo>
                <a:cubicBezTo>
                  <a:pt x="8525425" y="2412999"/>
                  <a:pt x="8524094" y="2412067"/>
                  <a:pt x="8522496" y="2411402"/>
                </a:cubicBezTo>
                <a:cubicBezTo>
                  <a:pt x="8521032" y="2410737"/>
                  <a:pt x="8519302" y="2410471"/>
                  <a:pt x="8517438" y="2410471"/>
                </a:cubicBezTo>
                <a:close/>
                <a:moveTo>
                  <a:pt x="8299793" y="2410471"/>
                </a:moveTo>
                <a:cubicBezTo>
                  <a:pt x="8294068" y="2410471"/>
                  <a:pt x="8291406" y="2412467"/>
                  <a:pt x="8289809" y="2414065"/>
                </a:cubicBezTo>
                <a:cubicBezTo>
                  <a:pt x="8287280" y="2416727"/>
                  <a:pt x="8286215" y="2419522"/>
                  <a:pt x="8286215" y="2423515"/>
                </a:cubicBezTo>
                <a:cubicBezTo>
                  <a:pt x="8286215" y="2427642"/>
                  <a:pt x="8287280" y="2430438"/>
                  <a:pt x="8289809" y="2432967"/>
                </a:cubicBezTo>
                <a:cubicBezTo>
                  <a:pt x="8291406" y="2434565"/>
                  <a:pt x="8293935" y="2436428"/>
                  <a:pt x="8299793" y="2436428"/>
                </a:cubicBezTo>
                <a:cubicBezTo>
                  <a:pt x="8301923" y="2436428"/>
                  <a:pt x="8303653" y="2436162"/>
                  <a:pt x="8305118" y="2435496"/>
                </a:cubicBezTo>
                <a:cubicBezTo>
                  <a:pt x="8306582" y="2434965"/>
                  <a:pt x="8307913" y="2434165"/>
                  <a:pt x="8308844" y="2433101"/>
                </a:cubicBezTo>
                <a:cubicBezTo>
                  <a:pt x="8309910" y="2432035"/>
                  <a:pt x="8310842" y="2430704"/>
                  <a:pt x="8311507" y="2428974"/>
                </a:cubicBezTo>
                <a:cubicBezTo>
                  <a:pt x="8312172" y="2427376"/>
                  <a:pt x="8312439" y="2425513"/>
                  <a:pt x="8312439" y="2423515"/>
                </a:cubicBezTo>
                <a:cubicBezTo>
                  <a:pt x="8312439" y="2421652"/>
                  <a:pt x="8312172" y="2419922"/>
                  <a:pt x="8311507" y="2418324"/>
                </a:cubicBezTo>
                <a:cubicBezTo>
                  <a:pt x="8310842" y="2416594"/>
                  <a:pt x="8309910" y="2415263"/>
                  <a:pt x="8308844" y="2414065"/>
                </a:cubicBezTo>
                <a:cubicBezTo>
                  <a:pt x="8307779" y="2412999"/>
                  <a:pt x="8306448" y="2412067"/>
                  <a:pt x="8304851" y="2411402"/>
                </a:cubicBezTo>
                <a:cubicBezTo>
                  <a:pt x="8303387" y="2410737"/>
                  <a:pt x="8301790" y="2410471"/>
                  <a:pt x="8299793" y="2410471"/>
                </a:cubicBezTo>
                <a:close/>
                <a:moveTo>
                  <a:pt x="8082281" y="2410471"/>
                </a:moveTo>
                <a:cubicBezTo>
                  <a:pt x="8076424" y="2410471"/>
                  <a:pt x="8073894" y="2412467"/>
                  <a:pt x="8072297" y="2414065"/>
                </a:cubicBezTo>
                <a:cubicBezTo>
                  <a:pt x="8069768" y="2416727"/>
                  <a:pt x="8068703" y="2419522"/>
                  <a:pt x="8068703" y="2423515"/>
                </a:cubicBezTo>
                <a:cubicBezTo>
                  <a:pt x="8068703" y="2427642"/>
                  <a:pt x="8069768" y="2430438"/>
                  <a:pt x="8072297" y="2432967"/>
                </a:cubicBezTo>
                <a:cubicBezTo>
                  <a:pt x="8073894" y="2434565"/>
                  <a:pt x="8076424" y="2436428"/>
                  <a:pt x="8082281" y="2436428"/>
                </a:cubicBezTo>
                <a:cubicBezTo>
                  <a:pt x="8084277" y="2436428"/>
                  <a:pt x="8086007" y="2436162"/>
                  <a:pt x="8087605" y="2435496"/>
                </a:cubicBezTo>
                <a:cubicBezTo>
                  <a:pt x="8089069" y="2434965"/>
                  <a:pt x="8090401" y="2434165"/>
                  <a:pt x="8091332" y="2433101"/>
                </a:cubicBezTo>
                <a:cubicBezTo>
                  <a:pt x="8092397" y="2432035"/>
                  <a:pt x="8093329" y="2430704"/>
                  <a:pt x="8093994" y="2428974"/>
                </a:cubicBezTo>
                <a:cubicBezTo>
                  <a:pt x="8094660" y="2427376"/>
                  <a:pt x="8094926" y="2425513"/>
                  <a:pt x="8094926" y="2423515"/>
                </a:cubicBezTo>
                <a:cubicBezTo>
                  <a:pt x="8094926" y="2421652"/>
                  <a:pt x="8094660" y="2419922"/>
                  <a:pt x="8093994" y="2418324"/>
                </a:cubicBezTo>
                <a:cubicBezTo>
                  <a:pt x="8093329" y="2416594"/>
                  <a:pt x="8092397" y="2415263"/>
                  <a:pt x="8091332" y="2414065"/>
                </a:cubicBezTo>
                <a:cubicBezTo>
                  <a:pt x="8090267" y="2412999"/>
                  <a:pt x="8088936" y="2412067"/>
                  <a:pt x="8087338" y="2411402"/>
                </a:cubicBezTo>
                <a:cubicBezTo>
                  <a:pt x="8085874" y="2410737"/>
                  <a:pt x="8084277" y="2410471"/>
                  <a:pt x="8082281" y="2410471"/>
                </a:cubicBezTo>
                <a:close/>
                <a:moveTo>
                  <a:pt x="7864636" y="2410471"/>
                </a:moveTo>
                <a:cubicBezTo>
                  <a:pt x="7858779" y="2410471"/>
                  <a:pt x="7856249" y="2412467"/>
                  <a:pt x="7854652" y="2414065"/>
                </a:cubicBezTo>
                <a:cubicBezTo>
                  <a:pt x="7852123" y="2416727"/>
                  <a:pt x="7851058" y="2419522"/>
                  <a:pt x="7851058" y="2423515"/>
                </a:cubicBezTo>
                <a:cubicBezTo>
                  <a:pt x="7851058" y="2427642"/>
                  <a:pt x="7852123" y="2430438"/>
                  <a:pt x="7854652" y="2432967"/>
                </a:cubicBezTo>
                <a:cubicBezTo>
                  <a:pt x="7856249" y="2434565"/>
                  <a:pt x="7858779" y="2436428"/>
                  <a:pt x="7864636" y="2436428"/>
                </a:cubicBezTo>
                <a:cubicBezTo>
                  <a:pt x="7866633" y="2436428"/>
                  <a:pt x="7868363" y="2436162"/>
                  <a:pt x="7869961" y="2435496"/>
                </a:cubicBezTo>
                <a:cubicBezTo>
                  <a:pt x="7871425" y="2434965"/>
                  <a:pt x="7872756" y="2434165"/>
                  <a:pt x="7873687" y="2433101"/>
                </a:cubicBezTo>
                <a:cubicBezTo>
                  <a:pt x="7874753" y="2432035"/>
                  <a:pt x="7875685" y="2430704"/>
                  <a:pt x="7876350" y="2428974"/>
                </a:cubicBezTo>
                <a:cubicBezTo>
                  <a:pt x="7877015" y="2427376"/>
                  <a:pt x="7877282" y="2425513"/>
                  <a:pt x="7877282" y="2423515"/>
                </a:cubicBezTo>
                <a:cubicBezTo>
                  <a:pt x="7877282" y="2421652"/>
                  <a:pt x="7877015" y="2419922"/>
                  <a:pt x="7876350" y="2418324"/>
                </a:cubicBezTo>
                <a:cubicBezTo>
                  <a:pt x="7875685" y="2416594"/>
                  <a:pt x="7874753" y="2415263"/>
                  <a:pt x="7873687" y="2414065"/>
                </a:cubicBezTo>
                <a:cubicBezTo>
                  <a:pt x="7872623" y="2412999"/>
                  <a:pt x="7871291" y="2412067"/>
                  <a:pt x="7869694" y="2411402"/>
                </a:cubicBezTo>
                <a:cubicBezTo>
                  <a:pt x="7868230" y="2410737"/>
                  <a:pt x="7866633" y="2410471"/>
                  <a:pt x="7864636" y="2410471"/>
                </a:cubicBezTo>
                <a:close/>
                <a:moveTo>
                  <a:pt x="7646991" y="2410471"/>
                </a:moveTo>
                <a:cubicBezTo>
                  <a:pt x="7641134" y="2410471"/>
                  <a:pt x="7638604" y="2412467"/>
                  <a:pt x="7637007" y="2414065"/>
                </a:cubicBezTo>
                <a:cubicBezTo>
                  <a:pt x="7634478" y="2416727"/>
                  <a:pt x="7633413" y="2419522"/>
                  <a:pt x="7633413" y="2423515"/>
                </a:cubicBezTo>
                <a:cubicBezTo>
                  <a:pt x="7633413" y="2427642"/>
                  <a:pt x="7634478" y="2430438"/>
                  <a:pt x="7637007" y="2432967"/>
                </a:cubicBezTo>
                <a:cubicBezTo>
                  <a:pt x="7638604" y="2434565"/>
                  <a:pt x="7641134" y="2436428"/>
                  <a:pt x="7646991" y="2436428"/>
                </a:cubicBezTo>
                <a:cubicBezTo>
                  <a:pt x="7648987" y="2436428"/>
                  <a:pt x="7650851" y="2436162"/>
                  <a:pt x="7652315" y="2435496"/>
                </a:cubicBezTo>
                <a:cubicBezTo>
                  <a:pt x="7653780" y="2434965"/>
                  <a:pt x="7655111" y="2434165"/>
                  <a:pt x="7656042" y="2433101"/>
                </a:cubicBezTo>
                <a:cubicBezTo>
                  <a:pt x="7657108" y="2432035"/>
                  <a:pt x="7658039" y="2430704"/>
                  <a:pt x="7658705" y="2428974"/>
                </a:cubicBezTo>
                <a:cubicBezTo>
                  <a:pt x="7659504" y="2427376"/>
                  <a:pt x="7659769" y="2425513"/>
                  <a:pt x="7659769" y="2423515"/>
                </a:cubicBezTo>
                <a:cubicBezTo>
                  <a:pt x="7659769" y="2421652"/>
                  <a:pt x="7659370" y="2419922"/>
                  <a:pt x="7658705" y="2418324"/>
                </a:cubicBezTo>
                <a:cubicBezTo>
                  <a:pt x="7658039" y="2416594"/>
                  <a:pt x="7657108" y="2415263"/>
                  <a:pt x="7656042" y="2414065"/>
                </a:cubicBezTo>
                <a:cubicBezTo>
                  <a:pt x="7654977" y="2412999"/>
                  <a:pt x="7653646" y="2412067"/>
                  <a:pt x="7652049" y="2411402"/>
                </a:cubicBezTo>
                <a:cubicBezTo>
                  <a:pt x="7650584" y="2410737"/>
                  <a:pt x="7648987" y="2410471"/>
                  <a:pt x="7646991" y="2410471"/>
                </a:cubicBezTo>
                <a:close/>
                <a:moveTo>
                  <a:pt x="7429345" y="2410471"/>
                </a:moveTo>
                <a:cubicBezTo>
                  <a:pt x="7423488" y="2410471"/>
                  <a:pt x="7420958" y="2412467"/>
                  <a:pt x="7419361" y="2414065"/>
                </a:cubicBezTo>
                <a:cubicBezTo>
                  <a:pt x="7416832" y="2416727"/>
                  <a:pt x="7415768" y="2419522"/>
                  <a:pt x="7415768" y="2423515"/>
                </a:cubicBezTo>
                <a:cubicBezTo>
                  <a:pt x="7415768" y="2427642"/>
                  <a:pt x="7416832" y="2430438"/>
                  <a:pt x="7419361" y="2432967"/>
                </a:cubicBezTo>
                <a:cubicBezTo>
                  <a:pt x="7420958" y="2434565"/>
                  <a:pt x="7423488" y="2436428"/>
                  <a:pt x="7429345" y="2436428"/>
                </a:cubicBezTo>
                <a:cubicBezTo>
                  <a:pt x="7431342" y="2436428"/>
                  <a:pt x="7433206" y="2436162"/>
                  <a:pt x="7434670" y="2435496"/>
                </a:cubicBezTo>
                <a:cubicBezTo>
                  <a:pt x="7436134" y="2434965"/>
                  <a:pt x="7437466" y="2434165"/>
                  <a:pt x="7438397" y="2433101"/>
                </a:cubicBezTo>
                <a:cubicBezTo>
                  <a:pt x="7439462" y="2432035"/>
                  <a:pt x="7440394" y="2430704"/>
                  <a:pt x="7441059" y="2428974"/>
                </a:cubicBezTo>
                <a:cubicBezTo>
                  <a:pt x="7441858" y="2427376"/>
                  <a:pt x="7442124" y="2425513"/>
                  <a:pt x="7442124" y="2423515"/>
                </a:cubicBezTo>
                <a:cubicBezTo>
                  <a:pt x="7442124" y="2421652"/>
                  <a:pt x="7441725" y="2419922"/>
                  <a:pt x="7441059" y="2418324"/>
                </a:cubicBezTo>
                <a:cubicBezTo>
                  <a:pt x="7440394" y="2416594"/>
                  <a:pt x="7439462" y="2415263"/>
                  <a:pt x="7438397" y="2414065"/>
                </a:cubicBezTo>
                <a:cubicBezTo>
                  <a:pt x="7437332" y="2412999"/>
                  <a:pt x="7436001" y="2412067"/>
                  <a:pt x="7434403" y="2411402"/>
                </a:cubicBezTo>
                <a:cubicBezTo>
                  <a:pt x="7432939" y="2410737"/>
                  <a:pt x="7431342" y="2410471"/>
                  <a:pt x="7429345" y="2410471"/>
                </a:cubicBezTo>
                <a:close/>
                <a:moveTo>
                  <a:pt x="7211701" y="2410471"/>
                </a:moveTo>
                <a:cubicBezTo>
                  <a:pt x="7205844" y="2410471"/>
                  <a:pt x="7203314" y="2412467"/>
                  <a:pt x="7201717" y="2414065"/>
                </a:cubicBezTo>
                <a:cubicBezTo>
                  <a:pt x="7199188" y="2416727"/>
                  <a:pt x="7198123" y="2419522"/>
                  <a:pt x="7198123" y="2423515"/>
                </a:cubicBezTo>
                <a:cubicBezTo>
                  <a:pt x="7198123" y="2427642"/>
                  <a:pt x="7199188" y="2430438"/>
                  <a:pt x="7201717" y="2432967"/>
                </a:cubicBezTo>
                <a:cubicBezTo>
                  <a:pt x="7203314" y="2434565"/>
                  <a:pt x="7205844" y="2436428"/>
                  <a:pt x="7211701" y="2436428"/>
                </a:cubicBezTo>
                <a:cubicBezTo>
                  <a:pt x="7213830" y="2436428"/>
                  <a:pt x="7215561" y="2436162"/>
                  <a:pt x="7217026" y="2435496"/>
                </a:cubicBezTo>
                <a:cubicBezTo>
                  <a:pt x="7218490" y="2434965"/>
                  <a:pt x="7219821" y="2434165"/>
                  <a:pt x="7220752" y="2433101"/>
                </a:cubicBezTo>
                <a:cubicBezTo>
                  <a:pt x="7221818" y="2432035"/>
                  <a:pt x="7222750" y="2430704"/>
                  <a:pt x="7223415" y="2428974"/>
                </a:cubicBezTo>
                <a:cubicBezTo>
                  <a:pt x="7224214" y="2427376"/>
                  <a:pt x="7224480" y="2425513"/>
                  <a:pt x="7224480" y="2423515"/>
                </a:cubicBezTo>
                <a:cubicBezTo>
                  <a:pt x="7224480" y="2421652"/>
                  <a:pt x="7224080" y="2419922"/>
                  <a:pt x="7223415" y="2418324"/>
                </a:cubicBezTo>
                <a:cubicBezTo>
                  <a:pt x="7222750" y="2416594"/>
                  <a:pt x="7221818" y="2415263"/>
                  <a:pt x="7220752" y="2414065"/>
                </a:cubicBezTo>
                <a:cubicBezTo>
                  <a:pt x="7219687" y="2412999"/>
                  <a:pt x="7218356" y="2412067"/>
                  <a:pt x="7216759" y="2411402"/>
                </a:cubicBezTo>
                <a:cubicBezTo>
                  <a:pt x="7215295" y="2410737"/>
                  <a:pt x="7213698" y="2410471"/>
                  <a:pt x="7211701" y="2410471"/>
                </a:cubicBezTo>
                <a:close/>
                <a:moveTo>
                  <a:pt x="6994056" y="2410471"/>
                </a:moveTo>
                <a:cubicBezTo>
                  <a:pt x="6988199" y="2410471"/>
                  <a:pt x="6985669" y="2412467"/>
                  <a:pt x="6984072" y="2414065"/>
                </a:cubicBezTo>
                <a:cubicBezTo>
                  <a:pt x="6981543" y="2416727"/>
                  <a:pt x="6980478" y="2419522"/>
                  <a:pt x="6980478" y="2423515"/>
                </a:cubicBezTo>
                <a:cubicBezTo>
                  <a:pt x="6980478" y="2427642"/>
                  <a:pt x="6981543" y="2430438"/>
                  <a:pt x="6984072" y="2432967"/>
                </a:cubicBezTo>
                <a:cubicBezTo>
                  <a:pt x="6985669" y="2434565"/>
                  <a:pt x="6988199" y="2436428"/>
                  <a:pt x="6994056" y="2436428"/>
                </a:cubicBezTo>
                <a:cubicBezTo>
                  <a:pt x="6996185" y="2436428"/>
                  <a:pt x="6997916" y="2436162"/>
                  <a:pt x="6999380" y="2435496"/>
                </a:cubicBezTo>
                <a:cubicBezTo>
                  <a:pt x="7000844" y="2434965"/>
                  <a:pt x="7002176" y="2434165"/>
                  <a:pt x="7003107" y="2433101"/>
                </a:cubicBezTo>
                <a:cubicBezTo>
                  <a:pt x="7004172" y="2432035"/>
                  <a:pt x="7005104" y="2430704"/>
                  <a:pt x="7005769" y="2428974"/>
                </a:cubicBezTo>
                <a:cubicBezTo>
                  <a:pt x="7006568" y="2427376"/>
                  <a:pt x="7006834" y="2425513"/>
                  <a:pt x="7006834" y="2423515"/>
                </a:cubicBezTo>
                <a:cubicBezTo>
                  <a:pt x="7006834" y="2421652"/>
                  <a:pt x="7006435" y="2419922"/>
                  <a:pt x="7005769" y="2418324"/>
                </a:cubicBezTo>
                <a:cubicBezTo>
                  <a:pt x="7005104" y="2416594"/>
                  <a:pt x="7004172" y="2415263"/>
                  <a:pt x="7003107" y="2414065"/>
                </a:cubicBezTo>
                <a:cubicBezTo>
                  <a:pt x="7002042" y="2412999"/>
                  <a:pt x="7000711" y="2412067"/>
                  <a:pt x="6999113" y="2411402"/>
                </a:cubicBezTo>
                <a:cubicBezTo>
                  <a:pt x="6997649" y="2410737"/>
                  <a:pt x="6996052" y="2410471"/>
                  <a:pt x="6994056" y="2410471"/>
                </a:cubicBezTo>
                <a:close/>
                <a:moveTo>
                  <a:pt x="6776544" y="2410471"/>
                </a:moveTo>
                <a:cubicBezTo>
                  <a:pt x="6770687" y="2410471"/>
                  <a:pt x="6768157" y="2412467"/>
                  <a:pt x="6766560" y="2414065"/>
                </a:cubicBezTo>
                <a:cubicBezTo>
                  <a:pt x="6764031" y="2416727"/>
                  <a:pt x="6762966" y="2419522"/>
                  <a:pt x="6762966" y="2423515"/>
                </a:cubicBezTo>
                <a:cubicBezTo>
                  <a:pt x="6762966" y="2427642"/>
                  <a:pt x="6764031" y="2430438"/>
                  <a:pt x="6766560" y="2432967"/>
                </a:cubicBezTo>
                <a:cubicBezTo>
                  <a:pt x="6768157" y="2434565"/>
                  <a:pt x="6770687" y="2436428"/>
                  <a:pt x="6776544" y="2436428"/>
                </a:cubicBezTo>
                <a:cubicBezTo>
                  <a:pt x="6778541" y="2436428"/>
                  <a:pt x="6780270" y="2436162"/>
                  <a:pt x="6781869" y="2435496"/>
                </a:cubicBezTo>
                <a:cubicBezTo>
                  <a:pt x="6783333" y="2434965"/>
                  <a:pt x="6784664" y="2434165"/>
                  <a:pt x="6785595" y="2433101"/>
                </a:cubicBezTo>
                <a:cubicBezTo>
                  <a:pt x="6786661" y="2432035"/>
                  <a:pt x="6787593" y="2430704"/>
                  <a:pt x="6788258" y="2428974"/>
                </a:cubicBezTo>
                <a:cubicBezTo>
                  <a:pt x="6789057" y="2427376"/>
                  <a:pt x="6789323" y="2425513"/>
                  <a:pt x="6789323" y="2423515"/>
                </a:cubicBezTo>
                <a:cubicBezTo>
                  <a:pt x="6789323" y="2421652"/>
                  <a:pt x="6788923" y="2419922"/>
                  <a:pt x="6788258" y="2418324"/>
                </a:cubicBezTo>
                <a:cubicBezTo>
                  <a:pt x="6787593" y="2416594"/>
                  <a:pt x="6786661" y="2415263"/>
                  <a:pt x="6785595" y="2414065"/>
                </a:cubicBezTo>
                <a:cubicBezTo>
                  <a:pt x="6784530" y="2412999"/>
                  <a:pt x="6783199" y="2412067"/>
                  <a:pt x="6781602" y="2411402"/>
                </a:cubicBezTo>
                <a:cubicBezTo>
                  <a:pt x="6780138" y="2410737"/>
                  <a:pt x="6778541" y="2410471"/>
                  <a:pt x="6776544" y="2410471"/>
                </a:cubicBezTo>
                <a:close/>
                <a:moveTo>
                  <a:pt x="6558899" y="2410471"/>
                </a:moveTo>
                <a:cubicBezTo>
                  <a:pt x="6553042" y="2410471"/>
                  <a:pt x="6550512" y="2412467"/>
                  <a:pt x="6548915" y="2414065"/>
                </a:cubicBezTo>
                <a:cubicBezTo>
                  <a:pt x="6546386" y="2416727"/>
                  <a:pt x="6545321" y="2419522"/>
                  <a:pt x="6545321" y="2423515"/>
                </a:cubicBezTo>
                <a:cubicBezTo>
                  <a:pt x="6545321" y="2427642"/>
                  <a:pt x="6546386" y="2430438"/>
                  <a:pt x="6548915" y="2432967"/>
                </a:cubicBezTo>
                <a:cubicBezTo>
                  <a:pt x="6550512" y="2434565"/>
                  <a:pt x="6553042" y="2436428"/>
                  <a:pt x="6558899" y="2436428"/>
                </a:cubicBezTo>
                <a:cubicBezTo>
                  <a:pt x="6560895" y="2436428"/>
                  <a:pt x="6562759" y="2436162"/>
                  <a:pt x="6564223" y="2435496"/>
                </a:cubicBezTo>
                <a:cubicBezTo>
                  <a:pt x="6565687" y="2434965"/>
                  <a:pt x="6567019" y="2434165"/>
                  <a:pt x="6567950" y="2433101"/>
                </a:cubicBezTo>
                <a:cubicBezTo>
                  <a:pt x="6569015" y="2432035"/>
                  <a:pt x="6569947" y="2430704"/>
                  <a:pt x="6570612" y="2428974"/>
                </a:cubicBezTo>
                <a:cubicBezTo>
                  <a:pt x="6571412" y="2427376"/>
                  <a:pt x="6571677" y="2425513"/>
                  <a:pt x="6571677" y="2423515"/>
                </a:cubicBezTo>
                <a:cubicBezTo>
                  <a:pt x="6571677" y="2421652"/>
                  <a:pt x="6571278" y="2419922"/>
                  <a:pt x="6570612" y="2418324"/>
                </a:cubicBezTo>
                <a:cubicBezTo>
                  <a:pt x="6569947" y="2416594"/>
                  <a:pt x="6569015" y="2415263"/>
                  <a:pt x="6567950" y="2414065"/>
                </a:cubicBezTo>
                <a:cubicBezTo>
                  <a:pt x="6566885" y="2412999"/>
                  <a:pt x="6565554" y="2412067"/>
                  <a:pt x="6563956" y="2411402"/>
                </a:cubicBezTo>
                <a:cubicBezTo>
                  <a:pt x="6562492" y="2410737"/>
                  <a:pt x="6560895" y="2410471"/>
                  <a:pt x="6558899" y="2410471"/>
                </a:cubicBezTo>
                <a:close/>
                <a:moveTo>
                  <a:pt x="6341253" y="2410471"/>
                </a:moveTo>
                <a:cubicBezTo>
                  <a:pt x="6335396" y="2410471"/>
                  <a:pt x="6332867" y="2412467"/>
                  <a:pt x="6331270" y="2414065"/>
                </a:cubicBezTo>
                <a:cubicBezTo>
                  <a:pt x="6328740" y="2416727"/>
                  <a:pt x="6327675" y="2419522"/>
                  <a:pt x="6327675" y="2423515"/>
                </a:cubicBezTo>
                <a:cubicBezTo>
                  <a:pt x="6327675" y="2427642"/>
                  <a:pt x="6328740" y="2430438"/>
                  <a:pt x="6331270" y="2432967"/>
                </a:cubicBezTo>
                <a:cubicBezTo>
                  <a:pt x="6332867" y="2434565"/>
                  <a:pt x="6335396" y="2436428"/>
                  <a:pt x="6341253" y="2436428"/>
                </a:cubicBezTo>
                <a:cubicBezTo>
                  <a:pt x="6343250" y="2436428"/>
                  <a:pt x="6345114" y="2436162"/>
                  <a:pt x="6346578" y="2435496"/>
                </a:cubicBezTo>
                <a:cubicBezTo>
                  <a:pt x="6348042" y="2434965"/>
                  <a:pt x="6349373" y="2434165"/>
                  <a:pt x="6350305" y="2433101"/>
                </a:cubicBezTo>
                <a:cubicBezTo>
                  <a:pt x="6351370" y="2432035"/>
                  <a:pt x="6352302" y="2430704"/>
                  <a:pt x="6352968" y="2428974"/>
                </a:cubicBezTo>
                <a:cubicBezTo>
                  <a:pt x="6353766" y="2427376"/>
                  <a:pt x="6354033" y="2425513"/>
                  <a:pt x="6354033" y="2423515"/>
                </a:cubicBezTo>
                <a:cubicBezTo>
                  <a:pt x="6354033" y="2421652"/>
                  <a:pt x="6353633" y="2419922"/>
                  <a:pt x="6352968" y="2418324"/>
                </a:cubicBezTo>
                <a:cubicBezTo>
                  <a:pt x="6352302" y="2416594"/>
                  <a:pt x="6351370" y="2415263"/>
                  <a:pt x="6350305" y="2414065"/>
                </a:cubicBezTo>
                <a:cubicBezTo>
                  <a:pt x="6349241" y="2412999"/>
                  <a:pt x="6347909" y="2412067"/>
                  <a:pt x="6346312" y="2411402"/>
                </a:cubicBezTo>
                <a:cubicBezTo>
                  <a:pt x="6344848" y="2410737"/>
                  <a:pt x="6343250" y="2410471"/>
                  <a:pt x="6341253" y="2410471"/>
                </a:cubicBezTo>
                <a:close/>
                <a:moveTo>
                  <a:pt x="6123608" y="2410471"/>
                </a:moveTo>
                <a:cubicBezTo>
                  <a:pt x="6117751" y="2410471"/>
                  <a:pt x="6115221" y="2412467"/>
                  <a:pt x="6113624" y="2414065"/>
                </a:cubicBezTo>
                <a:cubicBezTo>
                  <a:pt x="6111095" y="2416727"/>
                  <a:pt x="6110030" y="2419522"/>
                  <a:pt x="6110030" y="2423515"/>
                </a:cubicBezTo>
                <a:cubicBezTo>
                  <a:pt x="6110030" y="2427642"/>
                  <a:pt x="6111095" y="2430438"/>
                  <a:pt x="6113624" y="2432967"/>
                </a:cubicBezTo>
                <a:cubicBezTo>
                  <a:pt x="6115221" y="2434565"/>
                  <a:pt x="6117751" y="2436428"/>
                  <a:pt x="6123608" y="2436428"/>
                </a:cubicBezTo>
                <a:cubicBezTo>
                  <a:pt x="6125737" y="2436428"/>
                  <a:pt x="6127468" y="2436162"/>
                  <a:pt x="6128932" y="2435496"/>
                </a:cubicBezTo>
                <a:cubicBezTo>
                  <a:pt x="6130530" y="2434965"/>
                  <a:pt x="6131728" y="2434165"/>
                  <a:pt x="6132659" y="2433101"/>
                </a:cubicBezTo>
                <a:cubicBezTo>
                  <a:pt x="6133724" y="2432035"/>
                  <a:pt x="6134656" y="2430704"/>
                  <a:pt x="6135322" y="2428974"/>
                </a:cubicBezTo>
                <a:cubicBezTo>
                  <a:pt x="6135987" y="2427376"/>
                  <a:pt x="6136387" y="2425513"/>
                  <a:pt x="6136387" y="2423515"/>
                </a:cubicBezTo>
                <a:cubicBezTo>
                  <a:pt x="6136387" y="2421652"/>
                  <a:pt x="6135987" y="2419922"/>
                  <a:pt x="6135322" y="2418324"/>
                </a:cubicBezTo>
                <a:cubicBezTo>
                  <a:pt x="6134656" y="2416594"/>
                  <a:pt x="6133724" y="2415263"/>
                  <a:pt x="6132659" y="2414065"/>
                </a:cubicBezTo>
                <a:cubicBezTo>
                  <a:pt x="6131594" y="2412999"/>
                  <a:pt x="6130263" y="2412067"/>
                  <a:pt x="6128666" y="2411402"/>
                </a:cubicBezTo>
                <a:cubicBezTo>
                  <a:pt x="6127202" y="2410737"/>
                  <a:pt x="6125604" y="2410471"/>
                  <a:pt x="6123608" y="2410471"/>
                </a:cubicBezTo>
                <a:close/>
                <a:moveTo>
                  <a:pt x="5905963" y="2410471"/>
                </a:moveTo>
                <a:cubicBezTo>
                  <a:pt x="5900106" y="2410471"/>
                  <a:pt x="5897576" y="2412467"/>
                  <a:pt x="5895979" y="2414065"/>
                </a:cubicBezTo>
                <a:cubicBezTo>
                  <a:pt x="5893450" y="2416727"/>
                  <a:pt x="5892385" y="2419522"/>
                  <a:pt x="5892385" y="2423515"/>
                </a:cubicBezTo>
                <a:cubicBezTo>
                  <a:pt x="5892385" y="2427642"/>
                  <a:pt x="5893450" y="2430438"/>
                  <a:pt x="5895979" y="2432967"/>
                </a:cubicBezTo>
                <a:cubicBezTo>
                  <a:pt x="5897576" y="2434565"/>
                  <a:pt x="5900106" y="2436428"/>
                  <a:pt x="5905963" y="2436428"/>
                </a:cubicBezTo>
                <a:cubicBezTo>
                  <a:pt x="5908093" y="2436428"/>
                  <a:pt x="5909823" y="2436162"/>
                  <a:pt x="5911287" y="2435496"/>
                </a:cubicBezTo>
                <a:cubicBezTo>
                  <a:pt x="5912751" y="2434965"/>
                  <a:pt x="5914083" y="2434165"/>
                  <a:pt x="5915014" y="2433101"/>
                </a:cubicBezTo>
                <a:cubicBezTo>
                  <a:pt x="5916079" y="2432035"/>
                  <a:pt x="5917011" y="2430704"/>
                  <a:pt x="5917677" y="2428974"/>
                </a:cubicBezTo>
                <a:cubicBezTo>
                  <a:pt x="5918342" y="2427376"/>
                  <a:pt x="5918742" y="2425513"/>
                  <a:pt x="5918742" y="2423515"/>
                </a:cubicBezTo>
                <a:cubicBezTo>
                  <a:pt x="5918742" y="2421652"/>
                  <a:pt x="5918342" y="2419922"/>
                  <a:pt x="5917677" y="2418324"/>
                </a:cubicBezTo>
                <a:cubicBezTo>
                  <a:pt x="5917011" y="2416594"/>
                  <a:pt x="5916079" y="2415263"/>
                  <a:pt x="5915014" y="2414065"/>
                </a:cubicBezTo>
                <a:cubicBezTo>
                  <a:pt x="5913950" y="2412999"/>
                  <a:pt x="5912618" y="2412067"/>
                  <a:pt x="5911021" y="2411402"/>
                </a:cubicBezTo>
                <a:cubicBezTo>
                  <a:pt x="5909557" y="2410737"/>
                  <a:pt x="5907826" y="2410471"/>
                  <a:pt x="5905963" y="2410471"/>
                </a:cubicBezTo>
                <a:close/>
                <a:moveTo>
                  <a:pt x="5688451" y="2410471"/>
                </a:moveTo>
                <a:cubicBezTo>
                  <a:pt x="5682594" y="2410471"/>
                  <a:pt x="5680064" y="2412467"/>
                  <a:pt x="5678467" y="2414065"/>
                </a:cubicBezTo>
                <a:cubicBezTo>
                  <a:pt x="5675938" y="2416727"/>
                  <a:pt x="5674873" y="2419522"/>
                  <a:pt x="5674873" y="2423515"/>
                </a:cubicBezTo>
                <a:cubicBezTo>
                  <a:pt x="5674873" y="2427642"/>
                  <a:pt x="5675938" y="2430438"/>
                  <a:pt x="5678467" y="2432967"/>
                </a:cubicBezTo>
                <a:cubicBezTo>
                  <a:pt x="5680064" y="2434565"/>
                  <a:pt x="5682594" y="2436428"/>
                  <a:pt x="5688451" y="2436428"/>
                </a:cubicBezTo>
                <a:cubicBezTo>
                  <a:pt x="5690447" y="2436428"/>
                  <a:pt x="5692178" y="2436162"/>
                  <a:pt x="5693775" y="2435496"/>
                </a:cubicBezTo>
                <a:cubicBezTo>
                  <a:pt x="5695239" y="2434965"/>
                  <a:pt x="5696571" y="2434165"/>
                  <a:pt x="5697502" y="2433101"/>
                </a:cubicBezTo>
                <a:cubicBezTo>
                  <a:pt x="5698567" y="2432035"/>
                  <a:pt x="5699499" y="2430704"/>
                  <a:pt x="5700165" y="2428974"/>
                </a:cubicBezTo>
                <a:cubicBezTo>
                  <a:pt x="5700830" y="2427376"/>
                  <a:pt x="5701230" y="2425513"/>
                  <a:pt x="5701230" y="2423515"/>
                </a:cubicBezTo>
                <a:cubicBezTo>
                  <a:pt x="5701230" y="2421652"/>
                  <a:pt x="5700830" y="2419922"/>
                  <a:pt x="5700165" y="2418324"/>
                </a:cubicBezTo>
                <a:cubicBezTo>
                  <a:pt x="5699499" y="2416594"/>
                  <a:pt x="5698567" y="2415263"/>
                  <a:pt x="5697502" y="2414065"/>
                </a:cubicBezTo>
                <a:cubicBezTo>
                  <a:pt x="5696437" y="2412999"/>
                  <a:pt x="5695106" y="2412067"/>
                  <a:pt x="5693509" y="2411402"/>
                </a:cubicBezTo>
                <a:cubicBezTo>
                  <a:pt x="5692045" y="2410737"/>
                  <a:pt x="5690314" y="2410471"/>
                  <a:pt x="5688451" y="2410471"/>
                </a:cubicBezTo>
                <a:close/>
                <a:moveTo>
                  <a:pt x="5470806" y="2410471"/>
                </a:moveTo>
                <a:cubicBezTo>
                  <a:pt x="5464949" y="2410471"/>
                  <a:pt x="5462419" y="2412467"/>
                  <a:pt x="5460822" y="2414065"/>
                </a:cubicBezTo>
                <a:cubicBezTo>
                  <a:pt x="5458293" y="2416727"/>
                  <a:pt x="5457228" y="2419522"/>
                  <a:pt x="5457228" y="2423515"/>
                </a:cubicBezTo>
                <a:cubicBezTo>
                  <a:pt x="5457228" y="2427642"/>
                  <a:pt x="5458293" y="2430438"/>
                  <a:pt x="5460822" y="2432967"/>
                </a:cubicBezTo>
                <a:cubicBezTo>
                  <a:pt x="5462419" y="2434565"/>
                  <a:pt x="5464949" y="2436428"/>
                  <a:pt x="5470806" y="2436428"/>
                </a:cubicBezTo>
                <a:cubicBezTo>
                  <a:pt x="5472802" y="2436428"/>
                  <a:pt x="5474666" y="2436162"/>
                  <a:pt x="5476130" y="2435496"/>
                </a:cubicBezTo>
                <a:cubicBezTo>
                  <a:pt x="5477594" y="2434965"/>
                  <a:pt x="5478926" y="2434165"/>
                  <a:pt x="5479857" y="2433101"/>
                </a:cubicBezTo>
                <a:cubicBezTo>
                  <a:pt x="5480922" y="2432035"/>
                  <a:pt x="5481854" y="2430704"/>
                  <a:pt x="5482520" y="2428974"/>
                </a:cubicBezTo>
                <a:cubicBezTo>
                  <a:pt x="5483319" y="2427376"/>
                  <a:pt x="5483585" y="2425513"/>
                  <a:pt x="5483585" y="2423515"/>
                </a:cubicBezTo>
                <a:cubicBezTo>
                  <a:pt x="5483585" y="2421652"/>
                  <a:pt x="5483185" y="2419922"/>
                  <a:pt x="5482520" y="2418324"/>
                </a:cubicBezTo>
                <a:cubicBezTo>
                  <a:pt x="5481854" y="2416594"/>
                  <a:pt x="5480922" y="2415263"/>
                  <a:pt x="5479857" y="2414065"/>
                </a:cubicBezTo>
                <a:cubicBezTo>
                  <a:pt x="5478793" y="2412999"/>
                  <a:pt x="5477461" y="2412067"/>
                  <a:pt x="5475864" y="2411402"/>
                </a:cubicBezTo>
                <a:cubicBezTo>
                  <a:pt x="5474400" y="2410737"/>
                  <a:pt x="5472669" y="2410471"/>
                  <a:pt x="5470806" y="2410471"/>
                </a:cubicBezTo>
                <a:close/>
                <a:moveTo>
                  <a:pt x="5253160" y="2410471"/>
                </a:moveTo>
                <a:cubicBezTo>
                  <a:pt x="5247303" y="2410471"/>
                  <a:pt x="5244774" y="2412467"/>
                  <a:pt x="5243177" y="2414065"/>
                </a:cubicBezTo>
                <a:cubicBezTo>
                  <a:pt x="5240647" y="2416727"/>
                  <a:pt x="5239583" y="2419522"/>
                  <a:pt x="5239583" y="2423515"/>
                </a:cubicBezTo>
                <a:cubicBezTo>
                  <a:pt x="5239583" y="2427642"/>
                  <a:pt x="5240647" y="2430438"/>
                  <a:pt x="5243177" y="2432967"/>
                </a:cubicBezTo>
                <a:cubicBezTo>
                  <a:pt x="5244774" y="2434565"/>
                  <a:pt x="5247303" y="2436428"/>
                  <a:pt x="5253160" y="2436428"/>
                </a:cubicBezTo>
                <a:cubicBezTo>
                  <a:pt x="5255157" y="2436428"/>
                  <a:pt x="5257021" y="2436162"/>
                  <a:pt x="5258485" y="2435496"/>
                </a:cubicBezTo>
                <a:cubicBezTo>
                  <a:pt x="5259949" y="2434965"/>
                  <a:pt x="5261280" y="2434165"/>
                  <a:pt x="5262212" y="2433101"/>
                </a:cubicBezTo>
                <a:cubicBezTo>
                  <a:pt x="5263277" y="2432035"/>
                  <a:pt x="5264209" y="2430704"/>
                  <a:pt x="5264875" y="2428974"/>
                </a:cubicBezTo>
                <a:cubicBezTo>
                  <a:pt x="5265673" y="2427376"/>
                  <a:pt x="5265939" y="2425513"/>
                  <a:pt x="5265939" y="2423515"/>
                </a:cubicBezTo>
                <a:cubicBezTo>
                  <a:pt x="5265939" y="2421652"/>
                  <a:pt x="5265540" y="2419922"/>
                  <a:pt x="5264875" y="2418324"/>
                </a:cubicBezTo>
                <a:cubicBezTo>
                  <a:pt x="5264209" y="2416594"/>
                  <a:pt x="5263277" y="2415263"/>
                  <a:pt x="5262212" y="2414065"/>
                </a:cubicBezTo>
                <a:cubicBezTo>
                  <a:pt x="5261147" y="2412999"/>
                  <a:pt x="5259816" y="2412067"/>
                  <a:pt x="5258219" y="2411402"/>
                </a:cubicBezTo>
                <a:cubicBezTo>
                  <a:pt x="5256754" y="2410737"/>
                  <a:pt x="5255024" y="2410471"/>
                  <a:pt x="5253160" y="2410471"/>
                </a:cubicBezTo>
                <a:close/>
                <a:moveTo>
                  <a:pt x="5035515" y="2410471"/>
                </a:moveTo>
                <a:cubicBezTo>
                  <a:pt x="5029658" y="2410471"/>
                  <a:pt x="5027129" y="2412467"/>
                  <a:pt x="5025532" y="2414065"/>
                </a:cubicBezTo>
                <a:cubicBezTo>
                  <a:pt x="5023002" y="2416727"/>
                  <a:pt x="5021938" y="2419522"/>
                  <a:pt x="5021938" y="2423515"/>
                </a:cubicBezTo>
                <a:cubicBezTo>
                  <a:pt x="5021938" y="2427642"/>
                  <a:pt x="5023002" y="2430438"/>
                  <a:pt x="5025532" y="2432967"/>
                </a:cubicBezTo>
                <a:cubicBezTo>
                  <a:pt x="5027129" y="2434565"/>
                  <a:pt x="5029658" y="2436428"/>
                  <a:pt x="5035515" y="2436428"/>
                </a:cubicBezTo>
                <a:cubicBezTo>
                  <a:pt x="5037645" y="2436428"/>
                  <a:pt x="5039376" y="2436162"/>
                  <a:pt x="5040840" y="2435496"/>
                </a:cubicBezTo>
                <a:cubicBezTo>
                  <a:pt x="5042304" y="2434965"/>
                  <a:pt x="5043636" y="2434165"/>
                  <a:pt x="5044567" y="2433101"/>
                </a:cubicBezTo>
                <a:cubicBezTo>
                  <a:pt x="5045632" y="2432035"/>
                  <a:pt x="5046564" y="2430704"/>
                  <a:pt x="5047230" y="2428974"/>
                </a:cubicBezTo>
                <a:cubicBezTo>
                  <a:pt x="5048028" y="2427376"/>
                  <a:pt x="5048294" y="2425513"/>
                  <a:pt x="5048294" y="2423515"/>
                </a:cubicBezTo>
                <a:cubicBezTo>
                  <a:pt x="5048294" y="2421652"/>
                  <a:pt x="5047895" y="2419922"/>
                  <a:pt x="5047230" y="2418324"/>
                </a:cubicBezTo>
                <a:cubicBezTo>
                  <a:pt x="5046564" y="2416594"/>
                  <a:pt x="5045632" y="2415263"/>
                  <a:pt x="5044567" y="2414065"/>
                </a:cubicBezTo>
                <a:cubicBezTo>
                  <a:pt x="5043502" y="2412999"/>
                  <a:pt x="5042171" y="2412067"/>
                  <a:pt x="5040574" y="2411402"/>
                </a:cubicBezTo>
                <a:cubicBezTo>
                  <a:pt x="5039110" y="2410737"/>
                  <a:pt x="5037379" y="2410471"/>
                  <a:pt x="5035515" y="2410471"/>
                </a:cubicBezTo>
                <a:close/>
                <a:moveTo>
                  <a:pt x="4817870" y="2410471"/>
                </a:moveTo>
                <a:cubicBezTo>
                  <a:pt x="4812013" y="2410471"/>
                  <a:pt x="4809484" y="2412467"/>
                  <a:pt x="4807887" y="2414065"/>
                </a:cubicBezTo>
                <a:cubicBezTo>
                  <a:pt x="4805357" y="2416727"/>
                  <a:pt x="4804293" y="2419522"/>
                  <a:pt x="4804293" y="2423515"/>
                </a:cubicBezTo>
                <a:cubicBezTo>
                  <a:pt x="4804293" y="2427642"/>
                  <a:pt x="4805357" y="2430438"/>
                  <a:pt x="4807887" y="2432967"/>
                </a:cubicBezTo>
                <a:cubicBezTo>
                  <a:pt x="4809484" y="2434565"/>
                  <a:pt x="4812013" y="2436428"/>
                  <a:pt x="4817870" y="2436428"/>
                </a:cubicBezTo>
                <a:cubicBezTo>
                  <a:pt x="4820000" y="2436428"/>
                  <a:pt x="4821731" y="2436162"/>
                  <a:pt x="4823195" y="2435496"/>
                </a:cubicBezTo>
                <a:cubicBezTo>
                  <a:pt x="4824659" y="2434965"/>
                  <a:pt x="4825857" y="2434165"/>
                  <a:pt x="4826922" y="2433101"/>
                </a:cubicBezTo>
                <a:cubicBezTo>
                  <a:pt x="4827987" y="2432035"/>
                  <a:pt x="4828919" y="2430704"/>
                  <a:pt x="4829585" y="2428974"/>
                </a:cubicBezTo>
                <a:cubicBezTo>
                  <a:pt x="4830383" y="2427376"/>
                  <a:pt x="4830650" y="2425513"/>
                  <a:pt x="4830650" y="2423515"/>
                </a:cubicBezTo>
                <a:cubicBezTo>
                  <a:pt x="4830650" y="2421652"/>
                  <a:pt x="4830250" y="2419922"/>
                  <a:pt x="4829585" y="2418324"/>
                </a:cubicBezTo>
                <a:cubicBezTo>
                  <a:pt x="4828919" y="2416594"/>
                  <a:pt x="4827987" y="2415263"/>
                  <a:pt x="4826922" y="2414065"/>
                </a:cubicBezTo>
                <a:cubicBezTo>
                  <a:pt x="4825857" y="2412999"/>
                  <a:pt x="4824526" y="2412067"/>
                  <a:pt x="4822929" y="2411402"/>
                </a:cubicBezTo>
                <a:cubicBezTo>
                  <a:pt x="4821465" y="2410737"/>
                  <a:pt x="4819734" y="2410471"/>
                  <a:pt x="4817870" y="2410471"/>
                </a:cubicBezTo>
                <a:close/>
                <a:moveTo>
                  <a:pt x="4600226" y="2410471"/>
                </a:moveTo>
                <a:cubicBezTo>
                  <a:pt x="4594369" y="2410471"/>
                  <a:pt x="4591839" y="2412467"/>
                  <a:pt x="4590242" y="2414065"/>
                </a:cubicBezTo>
                <a:cubicBezTo>
                  <a:pt x="4587713" y="2416727"/>
                  <a:pt x="4586648" y="2419522"/>
                  <a:pt x="4586648" y="2423515"/>
                </a:cubicBezTo>
                <a:cubicBezTo>
                  <a:pt x="4586648" y="2427642"/>
                  <a:pt x="4587713" y="2430438"/>
                  <a:pt x="4590242" y="2432967"/>
                </a:cubicBezTo>
                <a:cubicBezTo>
                  <a:pt x="4591839" y="2434565"/>
                  <a:pt x="4594369" y="2436428"/>
                  <a:pt x="4600226" y="2436428"/>
                </a:cubicBezTo>
                <a:cubicBezTo>
                  <a:pt x="4602355" y="2436428"/>
                  <a:pt x="4604086" y="2436162"/>
                  <a:pt x="4605550" y="2435496"/>
                </a:cubicBezTo>
                <a:cubicBezTo>
                  <a:pt x="4607148" y="2434965"/>
                  <a:pt x="4608346" y="2434165"/>
                  <a:pt x="4609277" y="2433101"/>
                </a:cubicBezTo>
                <a:cubicBezTo>
                  <a:pt x="4610342" y="2432035"/>
                  <a:pt x="4611274" y="2430704"/>
                  <a:pt x="4611940" y="2428974"/>
                </a:cubicBezTo>
                <a:cubicBezTo>
                  <a:pt x="4612605" y="2427376"/>
                  <a:pt x="4613005" y="2425513"/>
                  <a:pt x="4613005" y="2423515"/>
                </a:cubicBezTo>
                <a:cubicBezTo>
                  <a:pt x="4613005" y="2421652"/>
                  <a:pt x="4612605" y="2419922"/>
                  <a:pt x="4611940" y="2418324"/>
                </a:cubicBezTo>
                <a:cubicBezTo>
                  <a:pt x="4611274" y="2416594"/>
                  <a:pt x="4610342" y="2415263"/>
                  <a:pt x="4609277" y="2414065"/>
                </a:cubicBezTo>
                <a:cubicBezTo>
                  <a:pt x="4608212" y="2412999"/>
                  <a:pt x="4606881" y="2412067"/>
                  <a:pt x="4605284" y="2411402"/>
                </a:cubicBezTo>
                <a:cubicBezTo>
                  <a:pt x="4603820" y="2410737"/>
                  <a:pt x="4602222" y="2410471"/>
                  <a:pt x="4600226" y="2410471"/>
                </a:cubicBezTo>
                <a:close/>
                <a:moveTo>
                  <a:pt x="4382713" y="2410471"/>
                </a:moveTo>
                <a:cubicBezTo>
                  <a:pt x="4376857" y="2410471"/>
                  <a:pt x="4374327" y="2412467"/>
                  <a:pt x="4372730" y="2414065"/>
                </a:cubicBezTo>
                <a:cubicBezTo>
                  <a:pt x="4370201" y="2416727"/>
                  <a:pt x="4369136" y="2419522"/>
                  <a:pt x="4369136" y="2423515"/>
                </a:cubicBezTo>
                <a:cubicBezTo>
                  <a:pt x="4369136" y="2427642"/>
                  <a:pt x="4370201" y="2430438"/>
                  <a:pt x="4372730" y="2432967"/>
                </a:cubicBezTo>
                <a:cubicBezTo>
                  <a:pt x="4374327" y="2434565"/>
                  <a:pt x="4376857" y="2436428"/>
                  <a:pt x="4382713" y="2436428"/>
                </a:cubicBezTo>
                <a:cubicBezTo>
                  <a:pt x="4384710" y="2436428"/>
                  <a:pt x="4386441" y="2436162"/>
                  <a:pt x="4388038" y="2435496"/>
                </a:cubicBezTo>
                <a:cubicBezTo>
                  <a:pt x="4389502" y="2434965"/>
                  <a:pt x="4390834" y="2434165"/>
                  <a:pt x="4391765" y="2433101"/>
                </a:cubicBezTo>
                <a:cubicBezTo>
                  <a:pt x="4392830" y="2432035"/>
                  <a:pt x="4393762" y="2430704"/>
                  <a:pt x="4394428" y="2428974"/>
                </a:cubicBezTo>
                <a:cubicBezTo>
                  <a:pt x="4395093" y="2427376"/>
                  <a:pt x="4395493" y="2425513"/>
                  <a:pt x="4395493" y="2423515"/>
                </a:cubicBezTo>
                <a:cubicBezTo>
                  <a:pt x="4395493" y="2421652"/>
                  <a:pt x="4395093" y="2419922"/>
                  <a:pt x="4394428" y="2418324"/>
                </a:cubicBezTo>
                <a:cubicBezTo>
                  <a:pt x="4393762" y="2416594"/>
                  <a:pt x="4392830" y="2415263"/>
                  <a:pt x="4391765" y="2414065"/>
                </a:cubicBezTo>
                <a:cubicBezTo>
                  <a:pt x="4390700" y="2412999"/>
                  <a:pt x="4389369" y="2412067"/>
                  <a:pt x="4387772" y="2411402"/>
                </a:cubicBezTo>
                <a:cubicBezTo>
                  <a:pt x="4386308" y="2410737"/>
                  <a:pt x="4384710" y="2410471"/>
                  <a:pt x="4382713" y="2410471"/>
                </a:cubicBezTo>
                <a:close/>
                <a:moveTo>
                  <a:pt x="4165068" y="2410471"/>
                </a:moveTo>
                <a:cubicBezTo>
                  <a:pt x="4159211" y="2410471"/>
                  <a:pt x="4156681" y="2412467"/>
                  <a:pt x="4155084" y="2414065"/>
                </a:cubicBezTo>
                <a:cubicBezTo>
                  <a:pt x="4152555" y="2416727"/>
                  <a:pt x="4151490" y="2419522"/>
                  <a:pt x="4151490" y="2423515"/>
                </a:cubicBezTo>
                <a:cubicBezTo>
                  <a:pt x="4151490" y="2427642"/>
                  <a:pt x="4152555" y="2430438"/>
                  <a:pt x="4155084" y="2432967"/>
                </a:cubicBezTo>
                <a:cubicBezTo>
                  <a:pt x="4156681" y="2434565"/>
                  <a:pt x="4159211" y="2436428"/>
                  <a:pt x="4165068" y="2436428"/>
                </a:cubicBezTo>
                <a:cubicBezTo>
                  <a:pt x="4167064" y="2436428"/>
                  <a:pt x="4168928" y="2436162"/>
                  <a:pt x="4170392" y="2435496"/>
                </a:cubicBezTo>
                <a:cubicBezTo>
                  <a:pt x="4171856" y="2434965"/>
                  <a:pt x="4173188" y="2434165"/>
                  <a:pt x="4174119" y="2433101"/>
                </a:cubicBezTo>
                <a:cubicBezTo>
                  <a:pt x="4175184" y="2432035"/>
                  <a:pt x="4176116" y="2430704"/>
                  <a:pt x="4176782" y="2428974"/>
                </a:cubicBezTo>
                <a:cubicBezTo>
                  <a:pt x="4177447" y="2427376"/>
                  <a:pt x="4177847" y="2425513"/>
                  <a:pt x="4177847" y="2423515"/>
                </a:cubicBezTo>
                <a:cubicBezTo>
                  <a:pt x="4177847" y="2421652"/>
                  <a:pt x="4177447" y="2419922"/>
                  <a:pt x="4176782" y="2418324"/>
                </a:cubicBezTo>
                <a:cubicBezTo>
                  <a:pt x="4176116" y="2416594"/>
                  <a:pt x="4175184" y="2415263"/>
                  <a:pt x="4174119" y="2414065"/>
                </a:cubicBezTo>
                <a:cubicBezTo>
                  <a:pt x="4173054" y="2412999"/>
                  <a:pt x="4171723" y="2412067"/>
                  <a:pt x="4170126" y="2411402"/>
                </a:cubicBezTo>
                <a:cubicBezTo>
                  <a:pt x="4168662" y="2410737"/>
                  <a:pt x="4167064" y="2410471"/>
                  <a:pt x="4165068" y="2410471"/>
                </a:cubicBezTo>
                <a:close/>
                <a:moveTo>
                  <a:pt x="3947558" y="2410471"/>
                </a:moveTo>
                <a:cubicBezTo>
                  <a:pt x="3941701" y="2410471"/>
                  <a:pt x="3939172" y="2412467"/>
                  <a:pt x="3937575" y="2414065"/>
                </a:cubicBezTo>
                <a:cubicBezTo>
                  <a:pt x="3935044" y="2416727"/>
                  <a:pt x="3933981" y="2419522"/>
                  <a:pt x="3933981" y="2423515"/>
                </a:cubicBezTo>
                <a:cubicBezTo>
                  <a:pt x="3933981" y="2427642"/>
                  <a:pt x="3935044" y="2430438"/>
                  <a:pt x="3937575" y="2432967"/>
                </a:cubicBezTo>
                <a:cubicBezTo>
                  <a:pt x="3939172" y="2434565"/>
                  <a:pt x="3941701" y="2436428"/>
                  <a:pt x="3947558" y="2436428"/>
                </a:cubicBezTo>
                <a:cubicBezTo>
                  <a:pt x="3949556" y="2436428"/>
                  <a:pt x="3951419" y="2436162"/>
                  <a:pt x="3952885" y="2435496"/>
                </a:cubicBezTo>
                <a:cubicBezTo>
                  <a:pt x="3954348" y="2434965"/>
                  <a:pt x="3955679" y="2434165"/>
                  <a:pt x="3956611" y="2433101"/>
                </a:cubicBezTo>
                <a:cubicBezTo>
                  <a:pt x="3957677" y="2432035"/>
                  <a:pt x="3958609" y="2430704"/>
                  <a:pt x="3959274" y="2428974"/>
                </a:cubicBezTo>
                <a:cubicBezTo>
                  <a:pt x="3959940" y="2427376"/>
                  <a:pt x="3960339" y="2425513"/>
                  <a:pt x="3960339" y="2423515"/>
                </a:cubicBezTo>
                <a:cubicBezTo>
                  <a:pt x="3960339" y="2421652"/>
                  <a:pt x="3959940" y="2419922"/>
                  <a:pt x="3959274" y="2418324"/>
                </a:cubicBezTo>
                <a:cubicBezTo>
                  <a:pt x="3958609" y="2416594"/>
                  <a:pt x="3957677" y="2415263"/>
                  <a:pt x="3956611" y="2414065"/>
                </a:cubicBezTo>
                <a:cubicBezTo>
                  <a:pt x="3955546" y="2412999"/>
                  <a:pt x="3954215" y="2412067"/>
                  <a:pt x="3952617" y="2411402"/>
                </a:cubicBezTo>
                <a:cubicBezTo>
                  <a:pt x="3951153" y="2410737"/>
                  <a:pt x="3949556" y="2410471"/>
                  <a:pt x="3947558" y="2410471"/>
                </a:cubicBezTo>
                <a:close/>
                <a:moveTo>
                  <a:pt x="3729907" y="2410471"/>
                </a:moveTo>
                <a:cubicBezTo>
                  <a:pt x="3724050" y="2410471"/>
                  <a:pt x="3721521" y="2412467"/>
                  <a:pt x="3719921" y="2414065"/>
                </a:cubicBezTo>
                <a:cubicBezTo>
                  <a:pt x="3717391" y="2416727"/>
                  <a:pt x="3716328" y="2419522"/>
                  <a:pt x="3716328" y="2423515"/>
                </a:cubicBezTo>
                <a:cubicBezTo>
                  <a:pt x="3716328" y="2427642"/>
                  <a:pt x="3717391" y="2430438"/>
                  <a:pt x="3719921" y="2432967"/>
                </a:cubicBezTo>
                <a:cubicBezTo>
                  <a:pt x="3721521" y="2434565"/>
                  <a:pt x="3724050" y="2436428"/>
                  <a:pt x="3729907" y="2436428"/>
                </a:cubicBezTo>
                <a:cubicBezTo>
                  <a:pt x="3732036" y="2436428"/>
                  <a:pt x="3733768" y="2436162"/>
                  <a:pt x="3735232" y="2435496"/>
                </a:cubicBezTo>
                <a:cubicBezTo>
                  <a:pt x="3736696" y="2434965"/>
                  <a:pt x="3738028" y="2434165"/>
                  <a:pt x="3738959" y="2433101"/>
                </a:cubicBezTo>
                <a:cubicBezTo>
                  <a:pt x="3740024" y="2432035"/>
                  <a:pt x="3740956" y="2430704"/>
                  <a:pt x="3741622" y="2428974"/>
                </a:cubicBezTo>
                <a:cubicBezTo>
                  <a:pt x="3742287" y="2427376"/>
                  <a:pt x="3742686" y="2425513"/>
                  <a:pt x="3742686" y="2423515"/>
                </a:cubicBezTo>
                <a:cubicBezTo>
                  <a:pt x="3742686" y="2421652"/>
                  <a:pt x="3742287" y="2419922"/>
                  <a:pt x="3741622" y="2418324"/>
                </a:cubicBezTo>
                <a:cubicBezTo>
                  <a:pt x="3740956" y="2416594"/>
                  <a:pt x="3740024" y="2415263"/>
                  <a:pt x="3738959" y="2414065"/>
                </a:cubicBezTo>
                <a:cubicBezTo>
                  <a:pt x="3737894" y="2412999"/>
                  <a:pt x="3736563" y="2412067"/>
                  <a:pt x="3734966" y="2411402"/>
                </a:cubicBezTo>
                <a:cubicBezTo>
                  <a:pt x="3733501" y="2410737"/>
                  <a:pt x="3731904" y="2410471"/>
                  <a:pt x="3729907" y="2410471"/>
                </a:cubicBezTo>
                <a:close/>
                <a:moveTo>
                  <a:pt x="3512254" y="2410471"/>
                </a:moveTo>
                <a:cubicBezTo>
                  <a:pt x="3506397" y="2410471"/>
                  <a:pt x="3503868" y="2412467"/>
                  <a:pt x="3502269" y="2414065"/>
                </a:cubicBezTo>
                <a:cubicBezTo>
                  <a:pt x="3499739" y="2416727"/>
                  <a:pt x="3498675" y="2419522"/>
                  <a:pt x="3498675" y="2423515"/>
                </a:cubicBezTo>
                <a:cubicBezTo>
                  <a:pt x="3498675" y="2427642"/>
                  <a:pt x="3499739" y="2430438"/>
                  <a:pt x="3502269" y="2432967"/>
                </a:cubicBezTo>
                <a:cubicBezTo>
                  <a:pt x="3503868" y="2434565"/>
                  <a:pt x="3506397" y="2436428"/>
                  <a:pt x="3512254" y="2436428"/>
                </a:cubicBezTo>
                <a:cubicBezTo>
                  <a:pt x="3514384" y="2436428"/>
                  <a:pt x="3516115" y="2436162"/>
                  <a:pt x="3517580" y="2435496"/>
                </a:cubicBezTo>
                <a:cubicBezTo>
                  <a:pt x="3519044" y="2434965"/>
                  <a:pt x="3520376" y="2434165"/>
                  <a:pt x="3521307" y="2433101"/>
                </a:cubicBezTo>
                <a:cubicBezTo>
                  <a:pt x="3522372" y="2432035"/>
                  <a:pt x="3523304" y="2430704"/>
                  <a:pt x="3523970" y="2428974"/>
                </a:cubicBezTo>
                <a:cubicBezTo>
                  <a:pt x="3524635" y="2427376"/>
                  <a:pt x="3525035" y="2425513"/>
                  <a:pt x="3525035" y="2423515"/>
                </a:cubicBezTo>
                <a:cubicBezTo>
                  <a:pt x="3525035" y="2421652"/>
                  <a:pt x="3524635" y="2419922"/>
                  <a:pt x="3523970" y="2418324"/>
                </a:cubicBezTo>
                <a:cubicBezTo>
                  <a:pt x="3523304" y="2416594"/>
                  <a:pt x="3522372" y="2415263"/>
                  <a:pt x="3521307" y="2414065"/>
                </a:cubicBezTo>
                <a:cubicBezTo>
                  <a:pt x="3520242" y="2412999"/>
                  <a:pt x="3518911" y="2412067"/>
                  <a:pt x="3517314" y="2411402"/>
                </a:cubicBezTo>
                <a:cubicBezTo>
                  <a:pt x="3515850" y="2410737"/>
                  <a:pt x="3514251" y="2410471"/>
                  <a:pt x="3512254" y="2410471"/>
                </a:cubicBezTo>
                <a:close/>
                <a:moveTo>
                  <a:pt x="3294736" y="2410471"/>
                </a:moveTo>
                <a:cubicBezTo>
                  <a:pt x="3288878" y="2410471"/>
                  <a:pt x="3286348" y="2412467"/>
                  <a:pt x="3284751" y="2414065"/>
                </a:cubicBezTo>
                <a:cubicBezTo>
                  <a:pt x="3282220" y="2416727"/>
                  <a:pt x="3281157" y="2419522"/>
                  <a:pt x="3281157" y="2423515"/>
                </a:cubicBezTo>
                <a:cubicBezTo>
                  <a:pt x="3281157" y="2427642"/>
                  <a:pt x="3282220" y="2430438"/>
                  <a:pt x="3284751" y="2432967"/>
                </a:cubicBezTo>
                <a:cubicBezTo>
                  <a:pt x="3286348" y="2434565"/>
                  <a:pt x="3288878" y="2436428"/>
                  <a:pt x="3294736" y="2436428"/>
                </a:cubicBezTo>
                <a:cubicBezTo>
                  <a:pt x="3296732" y="2436428"/>
                  <a:pt x="3298463" y="2436162"/>
                  <a:pt x="3300061" y="2435496"/>
                </a:cubicBezTo>
                <a:cubicBezTo>
                  <a:pt x="3301525" y="2434965"/>
                  <a:pt x="3302857" y="2434165"/>
                  <a:pt x="3303788" y="2433101"/>
                </a:cubicBezTo>
                <a:cubicBezTo>
                  <a:pt x="3304853" y="2432035"/>
                  <a:pt x="3305785" y="2430704"/>
                  <a:pt x="3306451" y="2428974"/>
                </a:cubicBezTo>
                <a:cubicBezTo>
                  <a:pt x="3307116" y="2427376"/>
                  <a:pt x="3307515" y="2425513"/>
                  <a:pt x="3307515" y="2423515"/>
                </a:cubicBezTo>
                <a:cubicBezTo>
                  <a:pt x="3307515" y="2421652"/>
                  <a:pt x="3307116" y="2419922"/>
                  <a:pt x="3306451" y="2418324"/>
                </a:cubicBezTo>
                <a:cubicBezTo>
                  <a:pt x="3305785" y="2416594"/>
                  <a:pt x="3304853" y="2415263"/>
                  <a:pt x="3303788" y="2414065"/>
                </a:cubicBezTo>
                <a:cubicBezTo>
                  <a:pt x="3302723" y="2412999"/>
                  <a:pt x="3301392" y="2412067"/>
                  <a:pt x="3299795" y="2411402"/>
                </a:cubicBezTo>
                <a:cubicBezTo>
                  <a:pt x="3298331" y="2410737"/>
                  <a:pt x="3296732" y="2410471"/>
                  <a:pt x="3294736" y="2410471"/>
                </a:cubicBezTo>
                <a:close/>
                <a:moveTo>
                  <a:pt x="3077217" y="2410471"/>
                </a:moveTo>
                <a:cubicBezTo>
                  <a:pt x="3071359" y="2410471"/>
                  <a:pt x="3068830" y="2412467"/>
                  <a:pt x="3067234" y="2414065"/>
                </a:cubicBezTo>
                <a:cubicBezTo>
                  <a:pt x="3064569" y="2416727"/>
                  <a:pt x="3063504" y="2419522"/>
                  <a:pt x="3063504" y="2423515"/>
                </a:cubicBezTo>
                <a:cubicBezTo>
                  <a:pt x="3063504" y="2427642"/>
                  <a:pt x="3064569" y="2430438"/>
                  <a:pt x="3067099" y="2432967"/>
                </a:cubicBezTo>
                <a:cubicBezTo>
                  <a:pt x="3068697" y="2434565"/>
                  <a:pt x="3071226" y="2436428"/>
                  <a:pt x="3077083" y="2436428"/>
                </a:cubicBezTo>
                <a:cubicBezTo>
                  <a:pt x="3079081" y="2436428"/>
                  <a:pt x="3080811" y="2436162"/>
                  <a:pt x="3082542" y="2435496"/>
                </a:cubicBezTo>
                <a:cubicBezTo>
                  <a:pt x="3084007" y="2434965"/>
                  <a:pt x="3085338" y="2434165"/>
                  <a:pt x="3086269" y="2433101"/>
                </a:cubicBezTo>
                <a:cubicBezTo>
                  <a:pt x="3087334" y="2432035"/>
                  <a:pt x="3088266" y="2430704"/>
                  <a:pt x="3088932" y="2428974"/>
                </a:cubicBezTo>
                <a:cubicBezTo>
                  <a:pt x="3089597" y="2427376"/>
                  <a:pt x="3089864" y="2425513"/>
                  <a:pt x="3089864" y="2423515"/>
                </a:cubicBezTo>
                <a:cubicBezTo>
                  <a:pt x="3089864" y="2421652"/>
                  <a:pt x="3089597" y="2419922"/>
                  <a:pt x="3088932" y="2418324"/>
                </a:cubicBezTo>
                <a:cubicBezTo>
                  <a:pt x="3088266" y="2416594"/>
                  <a:pt x="3087334" y="2415263"/>
                  <a:pt x="3086269" y="2414065"/>
                </a:cubicBezTo>
                <a:cubicBezTo>
                  <a:pt x="3085205" y="2412999"/>
                  <a:pt x="3083873" y="2412067"/>
                  <a:pt x="3082276" y="2411402"/>
                </a:cubicBezTo>
                <a:cubicBezTo>
                  <a:pt x="3080811" y="2410737"/>
                  <a:pt x="3079213" y="2410471"/>
                  <a:pt x="3077217" y="2410471"/>
                </a:cubicBezTo>
                <a:close/>
                <a:moveTo>
                  <a:pt x="2859432" y="2410471"/>
                </a:moveTo>
                <a:cubicBezTo>
                  <a:pt x="2853574" y="2410471"/>
                  <a:pt x="2851045" y="2412467"/>
                  <a:pt x="2849447" y="2414065"/>
                </a:cubicBezTo>
                <a:cubicBezTo>
                  <a:pt x="2846915" y="2416727"/>
                  <a:pt x="2845851" y="2419522"/>
                  <a:pt x="2845851" y="2423515"/>
                </a:cubicBezTo>
                <a:cubicBezTo>
                  <a:pt x="2845851" y="2427642"/>
                  <a:pt x="2846915" y="2430438"/>
                  <a:pt x="2849447" y="2432967"/>
                </a:cubicBezTo>
                <a:cubicBezTo>
                  <a:pt x="2851045" y="2434565"/>
                  <a:pt x="2853574" y="2436428"/>
                  <a:pt x="2859432" y="2436428"/>
                </a:cubicBezTo>
                <a:cubicBezTo>
                  <a:pt x="2861428" y="2436428"/>
                  <a:pt x="2863293" y="2436162"/>
                  <a:pt x="2864757" y="2435496"/>
                </a:cubicBezTo>
                <a:cubicBezTo>
                  <a:pt x="2866354" y="2434965"/>
                  <a:pt x="2867553" y="2434165"/>
                  <a:pt x="2868483" y="2433101"/>
                </a:cubicBezTo>
                <a:cubicBezTo>
                  <a:pt x="2869549" y="2432035"/>
                  <a:pt x="2870481" y="2430704"/>
                  <a:pt x="2871147" y="2428974"/>
                </a:cubicBezTo>
                <a:cubicBezTo>
                  <a:pt x="2871679" y="2427376"/>
                  <a:pt x="2872078" y="2425513"/>
                  <a:pt x="2872078" y="2423515"/>
                </a:cubicBezTo>
                <a:cubicBezTo>
                  <a:pt x="2872078" y="2421652"/>
                  <a:pt x="2871812" y="2419922"/>
                  <a:pt x="2871147" y="2418324"/>
                </a:cubicBezTo>
                <a:cubicBezTo>
                  <a:pt x="2870481" y="2416594"/>
                  <a:pt x="2869549" y="2415263"/>
                  <a:pt x="2868483" y="2414065"/>
                </a:cubicBezTo>
                <a:cubicBezTo>
                  <a:pt x="2867420" y="2412999"/>
                  <a:pt x="2866088" y="2412067"/>
                  <a:pt x="2864491" y="2411402"/>
                </a:cubicBezTo>
                <a:cubicBezTo>
                  <a:pt x="2863027" y="2410737"/>
                  <a:pt x="2861428" y="2410471"/>
                  <a:pt x="2859432" y="2410471"/>
                </a:cubicBezTo>
                <a:close/>
                <a:moveTo>
                  <a:pt x="2641779" y="2410471"/>
                </a:moveTo>
                <a:cubicBezTo>
                  <a:pt x="2635922" y="2410471"/>
                  <a:pt x="2633393" y="2412467"/>
                  <a:pt x="2631796" y="2414065"/>
                </a:cubicBezTo>
                <a:cubicBezTo>
                  <a:pt x="2629266" y="2416727"/>
                  <a:pt x="2628202" y="2419522"/>
                  <a:pt x="2628202" y="2423515"/>
                </a:cubicBezTo>
                <a:cubicBezTo>
                  <a:pt x="2628202" y="2427642"/>
                  <a:pt x="2629266" y="2430438"/>
                  <a:pt x="2631796" y="2432967"/>
                </a:cubicBezTo>
                <a:cubicBezTo>
                  <a:pt x="2633393" y="2434565"/>
                  <a:pt x="2635922" y="2436428"/>
                  <a:pt x="2641779" y="2436428"/>
                </a:cubicBezTo>
                <a:cubicBezTo>
                  <a:pt x="2643776" y="2436428"/>
                  <a:pt x="2645641" y="2436162"/>
                  <a:pt x="2647105" y="2435496"/>
                </a:cubicBezTo>
                <a:cubicBezTo>
                  <a:pt x="2648702" y="2434965"/>
                  <a:pt x="2649899" y="2434165"/>
                  <a:pt x="2650832" y="2433101"/>
                </a:cubicBezTo>
                <a:cubicBezTo>
                  <a:pt x="2651897" y="2432035"/>
                  <a:pt x="2652829" y="2430704"/>
                  <a:pt x="2653495" y="2428974"/>
                </a:cubicBezTo>
                <a:cubicBezTo>
                  <a:pt x="2654026" y="2427376"/>
                  <a:pt x="2654425" y="2425513"/>
                  <a:pt x="2654425" y="2423515"/>
                </a:cubicBezTo>
                <a:cubicBezTo>
                  <a:pt x="2654425" y="2421652"/>
                  <a:pt x="2654160" y="2419922"/>
                  <a:pt x="2653495" y="2418324"/>
                </a:cubicBezTo>
                <a:cubicBezTo>
                  <a:pt x="2652829" y="2416594"/>
                  <a:pt x="2651897" y="2415263"/>
                  <a:pt x="2650832" y="2414065"/>
                </a:cubicBezTo>
                <a:cubicBezTo>
                  <a:pt x="2649767" y="2412999"/>
                  <a:pt x="2648435" y="2412067"/>
                  <a:pt x="2646839" y="2411402"/>
                </a:cubicBezTo>
                <a:cubicBezTo>
                  <a:pt x="2645373" y="2410737"/>
                  <a:pt x="2643776" y="2410471"/>
                  <a:pt x="2641779" y="2410471"/>
                </a:cubicBezTo>
                <a:close/>
                <a:moveTo>
                  <a:pt x="2424127" y="2410471"/>
                </a:moveTo>
                <a:cubicBezTo>
                  <a:pt x="2418270" y="2410471"/>
                  <a:pt x="2415741" y="2412467"/>
                  <a:pt x="2414144" y="2414065"/>
                </a:cubicBezTo>
                <a:cubicBezTo>
                  <a:pt x="2411614" y="2416727"/>
                  <a:pt x="2410550" y="2419522"/>
                  <a:pt x="2410550" y="2423515"/>
                </a:cubicBezTo>
                <a:cubicBezTo>
                  <a:pt x="2410550" y="2427642"/>
                  <a:pt x="2411614" y="2430438"/>
                  <a:pt x="2414144" y="2432967"/>
                </a:cubicBezTo>
                <a:cubicBezTo>
                  <a:pt x="2415741" y="2434565"/>
                  <a:pt x="2418270" y="2436428"/>
                  <a:pt x="2424127" y="2436428"/>
                </a:cubicBezTo>
                <a:cubicBezTo>
                  <a:pt x="2426257" y="2436428"/>
                  <a:pt x="2427989" y="2436162"/>
                  <a:pt x="2429453" y="2435496"/>
                </a:cubicBezTo>
                <a:cubicBezTo>
                  <a:pt x="2431051" y="2434965"/>
                  <a:pt x="2432248" y="2434165"/>
                  <a:pt x="2433179" y="2433101"/>
                </a:cubicBezTo>
                <a:cubicBezTo>
                  <a:pt x="2434245" y="2432035"/>
                  <a:pt x="2435176" y="2430704"/>
                  <a:pt x="2435843" y="2428974"/>
                </a:cubicBezTo>
                <a:cubicBezTo>
                  <a:pt x="2436374" y="2427376"/>
                  <a:pt x="2436774" y="2425513"/>
                  <a:pt x="2436774" y="2423515"/>
                </a:cubicBezTo>
                <a:cubicBezTo>
                  <a:pt x="2436774" y="2421652"/>
                  <a:pt x="2436508" y="2419922"/>
                  <a:pt x="2435843" y="2418324"/>
                </a:cubicBezTo>
                <a:cubicBezTo>
                  <a:pt x="2435176" y="2416594"/>
                  <a:pt x="2434245" y="2415263"/>
                  <a:pt x="2433179" y="2414065"/>
                </a:cubicBezTo>
                <a:cubicBezTo>
                  <a:pt x="2432116" y="2412999"/>
                  <a:pt x="2430784" y="2412067"/>
                  <a:pt x="2429186" y="2411402"/>
                </a:cubicBezTo>
                <a:cubicBezTo>
                  <a:pt x="2427722" y="2410737"/>
                  <a:pt x="2426124" y="2410471"/>
                  <a:pt x="2424127" y="2410471"/>
                </a:cubicBezTo>
                <a:close/>
                <a:moveTo>
                  <a:pt x="2206475" y="2410471"/>
                </a:moveTo>
                <a:cubicBezTo>
                  <a:pt x="2200618" y="2410471"/>
                  <a:pt x="2198089" y="2412467"/>
                  <a:pt x="2196492" y="2414065"/>
                </a:cubicBezTo>
                <a:cubicBezTo>
                  <a:pt x="2193962" y="2416727"/>
                  <a:pt x="2192898" y="2419522"/>
                  <a:pt x="2192898" y="2423515"/>
                </a:cubicBezTo>
                <a:cubicBezTo>
                  <a:pt x="2192898" y="2427642"/>
                  <a:pt x="2193962" y="2430438"/>
                  <a:pt x="2196492" y="2432967"/>
                </a:cubicBezTo>
                <a:cubicBezTo>
                  <a:pt x="2198089" y="2434565"/>
                  <a:pt x="2200618" y="2436428"/>
                  <a:pt x="2206475" y="2436428"/>
                </a:cubicBezTo>
                <a:cubicBezTo>
                  <a:pt x="2208605" y="2436428"/>
                  <a:pt x="2210336" y="2436162"/>
                  <a:pt x="2211800" y="2435496"/>
                </a:cubicBezTo>
                <a:cubicBezTo>
                  <a:pt x="2213398" y="2434965"/>
                  <a:pt x="2214595" y="2434165"/>
                  <a:pt x="2215527" y="2433101"/>
                </a:cubicBezTo>
                <a:cubicBezTo>
                  <a:pt x="2216592" y="2432035"/>
                  <a:pt x="2217524" y="2430704"/>
                  <a:pt x="2218190" y="2428974"/>
                </a:cubicBezTo>
                <a:cubicBezTo>
                  <a:pt x="2218723" y="2427376"/>
                  <a:pt x="2219121" y="2425513"/>
                  <a:pt x="2219121" y="2423515"/>
                </a:cubicBezTo>
                <a:cubicBezTo>
                  <a:pt x="2219121" y="2421652"/>
                  <a:pt x="2218855" y="2419922"/>
                  <a:pt x="2218190" y="2418324"/>
                </a:cubicBezTo>
                <a:cubicBezTo>
                  <a:pt x="2217524" y="2416594"/>
                  <a:pt x="2216592" y="2415263"/>
                  <a:pt x="2215527" y="2414065"/>
                </a:cubicBezTo>
                <a:cubicBezTo>
                  <a:pt x="2214462" y="2412999"/>
                  <a:pt x="2213131" y="2412067"/>
                  <a:pt x="2211534" y="2411402"/>
                </a:cubicBezTo>
                <a:cubicBezTo>
                  <a:pt x="2210070" y="2410737"/>
                  <a:pt x="2208472" y="2410471"/>
                  <a:pt x="2206475" y="2410471"/>
                </a:cubicBezTo>
                <a:close/>
                <a:moveTo>
                  <a:pt x="1988956" y="2410471"/>
                </a:moveTo>
                <a:cubicBezTo>
                  <a:pt x="1983099" y="2410471"/>
                  <a:pt x="1980570" y="2412467"/>
                  <a:pt x="1978973" y="2414065"/>
                </a:cubicBezTo>
                <a:cubicBezTo>
                  <a:pt x="1976443" y="2416727"/>
                  <a:pt x="1975379" y="2419522"/>
                  <a:pt x="1975379" y="2423515"/>
                </a:cubicBezTo>
                <a:cubicBezTo>
                  <a:pt x="1975379" y="2427642"/>
                  <a:pt x="1976443" y="2430438"/>
                  <a:pt x="1978973" y="2432967"/>
                </a:cubicBezTo>
                <a:cubicBezTo>
                  <a:pt x="1980570" y="2434565"/>
                  <a:pt x="1983099" y="2436428"/>
                  <a:pt x="1988956" y="2436428"/>
                </a:cubicBezTo>
                <a:cubicBezTo>
                  <a:pt x="1990953" y="2436428"/>
                  <a:pt x="1992684" y="2436162"/>
                  <a:pt x="1994281" y="2435496"/>
                </a:cubicBezTo>
                <a:cubicBezTo>
                  <a:pt x="1995879" y="2434965"/>
                  <a:pt x="1997077" y="2434165"/>
                  <a:pt x="1998008" y="2433101"/>
                </a:cubicBezTo>
                <a:cubicBezTo>
                  <a:pt x="1999073" y="2432035"/>
                  <a:pt x="2000005" y="2430704"/>
                  <a:pt x="2000671" y="2428974"/>
                </a:cubicBezTo>
                <a:cubicBezTo>
                  <a:pt x="2001203" y="2427376"/>
                  <a:pt x="2001602" y="2425513"/>
                  <a:pt x="2001602" y="2423515"/>
                </a:cubicBezTo>
                <a:cubicBezTo>
                  <a:pt x="2001602" y="2421652"/>
                  <a:pt x="2001336" y="2419922"/>
                  <a:pt x="2000671" y="2418324"/>
                </a:cubicBezTo>
                <a:cubicBezTo>
                  <a:pt x="2000005" y="2416594"/>
                  <a:pt x="1999073" y="2415263"/>
                  <a:pt x="1998008" y="2414065"/>
                </a:cubicBezTo>
                <a:cubicBezTo>
                  <a:pt x="1996944" y="2412999"/>
                  <a:pt x="1995612" y="2412067"/>
                  <a:pt x="1994015" y="2411402"/>
                </a:cubicBezTo>
                <a:cubicBezTo>
                  <a:pt x="1992551" y="2410737"/>
                  <a:pt x="1990953" y="2410471"/>
                  <a:pt x="1988956" y="2410471"/>
                </a:cubicBezTo>
                <a:close/>
                <a:moveTo>
                  <a:pt x="1771316" y="2410471"/>
                </a:moveTo>
                <a:cubicBezTo>
                  <a:pt x="1765459" y="2410471"/>
                  <a:pt x="1762930" y="2412467"/>
                  <a:pt x="1761333" y="2414065"/>
                </a:cubicBezTo>
                <a:cubicBezTo>
                  <a:pt x="1758804" y="2416727"/>
                  <a:pt x="1757739" y="2419522"/>
                  <a:pt x="1757739" y="2423515"/>
                </a:cubicBezTo>
                <a:cubicBezTo>
                  <a:pt x="1757739" y="2427642"/>
                  <a:pt x="1758804" y="2430438"/>
                  <a:pt x="1761333" y="2432967"/>
                </a:cubicBezTo>
                <a:cubicBezTo>
                  <a:pt x="1762930" y="2434565"/>
                  <a:pt x="1765459" y="2436428"/>
                  <a:pt x="1771316" y="2436428"/>
                </a:cubicBezTo>
                <a:cubicBezTo>
                  <a:pt x="1773313" y="2436428"/>
                  <a:pt x="1775177" y="2436162"/>
                  <a:pt x="1776641" y="2435496"/>
                </a:cubicBezTo>
                <a:cubicBezTo>
                  <a:pt x="1778105" y="2434965"/>
                  <a:pt x="1779436" y="2434165"/>
                  <a:pt x="1780368" y="2433101"/>
                </a:cubicBezTo>
                <a:cubicBezTo>
                  <a:pt x="1781433" y="2432035"/>
                  <a:pt x="1782365" y="2430704"/>
                  <a:pt x="1783031" y="2428974"/>
                </a:cubicBezTo>
                <a:cubicBezTo>
                  <a:pt x="1783696" y="2427376"/>
                  <a:pt x="1784096" y="2425513"/>
                  <a:pt x="1784096" y="2423515"/>
                </a:cubicBezTo>
                <a:cubicBezTo>
                  <a:pt x="1784096" y="2421652"/>
                  <a:pt x="1783696" y="2419922"/>
                  <a:pt x="1783031" y="2418324"/>
                </a:cubicBezTo>
                <a:cubicBezTo>
                  <a:pt x="1782365" y="2416594"/>
                  <a:pt x="1781433" y="2415263"/>
                  <a:pt x="1780368" y="2414065"/>
                </a:cubicBezTo>
                <a:cubicBezTo>
                  <a:pt x="1779303" y="2412999"/>
                  <a:pt x="1777972" y="2412067"/>
                  <a:pt x="1776375" y="2411402"/>
                </a:cubicBezTo>
                <a:cubicBezTo>
                  <a:pt x="1774910" y="2410737"/>
                  <a:pt x="1773313" y="2410471"/>
                  <a:pt x="1771316" y="2410471"/>
                </a:cubicBezTo>
                <a:close/>
                <a:moveTo>
                  <a:pt x="1553674" y="2410471"/>
                </a:moveTo>
                <a:cubicBezTo>
                  <a:pt x="1547817" y="2410471"/>
                  <a:pt x="1545288" y="2412467"/>
                  <a:pt x="1543691" y="2414065"/>
                </a:cubicBezTo>
                <a:cubicBezTo>
                  <a:pt x="1541161" y="2416727"/>
                  <a:pt x="1540097" y="2419522"/>
                  <a:pt x="1540097" y="2423515"/>
                </a:cubicBezTo>
                <a:cubicBezTo>
                  <a:pt x="1540097" y="2427642"/>
                  <a:pt x="1541161" y="2430438"/>
                  <a:pt x="1543691" y="2432967"/>
                </a:cubicBezTo>
                <a:cubicBezTo>
                  <a:pt x="1545288" y="2434565"/>
                  <a:pt x="1547817" y="2436428"/>
                  <a:pt x="1553674" y="2436428"/>
                </a:cubicBezTo>
                <a:cubicBezTo>
                  <a:pt x="1555671" y="2436428"/>
                  <a:pt x="1557535" y="2436162"/>
                  <a:pt x="1558999" y="2435496"/>
                </a:cubicBezTo>
                <a:cubicBezTo>
                  <a:pt x="1560463" y="2434965"/>
                  <a:pt x="1561795" y="2434165"/>
                  <a:pt x="1562726" y="2433101"/>
                </a:cubicBezTo>
                <a:cubicBezTo>
                  <a:pt x="1563791" y="2432035"/>
                  <a:pt x="1564723" y="2430704"/>
                  <a:pt x="1565389" y="2428974"/>
                </a:cubicBezTo>
                <a:cubicBezTo>
                  <a:pt x="1566054" y="2427376"/>
                  <a:pt x="1566454" y="2425513"/>
                  <a:pt x="1566454" y="2423515"/>
                </a:cubicBezTo>
                <a:cubicBezTo>
                  <a:pt x="1566454" y="2421652"/>
                  <a:pt x="1566054" y="2419922"/>
                  <a:pt x="1565389" y="2418324"/>
                </a:cubicBezTo>
                <a:cubicBezTo>
                  <a:pt x="1564723" y="2416594"/>
                  <a:pt x="1563791" y="2415263"/>
                  <a:pt x="1562726" y="2414065"/>
                </a:cubicBezTo>
                <a:cubicBezTo>
                  <a:pt x="1561661" y="2412999"/>
                  <a:pt x="1560331" y="2412067"/>
                  <a:pt x="1558733" y="2411402"/>
                </a:cubicBezTo>
                <a:cubicBezTo>
                  <a:pt x="1557269" y="2410737"/>
                  <a:pt x="1555671" y="2410471"/>
                  <a:pt x="1553674" y="2410471"/>
                </a:cubicBezTo>
                <a:close/>
                <a:moveTo>
                  <a:pt x="1336029" y="2410471"/>
                </a:moveTo>
                <a:cubicBezTo>
                  <a:pt x="1330172" y="2410471"/>
                  <a:pt x="1327643" y="2412467"/>
                  <a:pt x="1326047" y="2414065"/>
                </a:cubicBezTo>
                <a:cubicBezTo>
                  <a:pt x="1323516" y="2416727"/>
                  <a:pt x="1322452" y="2419522"/>
                  <a:pt x="1322452" y="2423515"/>
                </a:cubicBezTo>
                <a:cubicBezTo>
                  <a:pt x="1322452" y="2427642"/>
                  <a:pt x="1323516" y="2430438"/>
                  <a:pt x="1326047" y="2432967"/>
                </a:cubicBezTo>
                <a:cubicBezTo>
                  <a:pt x="1327643" y="2434565"/>
                  <a:pt x="1330172" y="2436428"/>
                  <a:pt x="1336029" y="2436428"/>
                </a:cubicBezTo>
                <a:cubicBezTo>
                  <a:pt x="1338160" y="2436428"/>
                  <a:pt x="1339890" y="2436162"/>
                  <a:pt x="1341356" y="2435496"/>
                </a:cubicBezTo>
                <a:cubicBezTo>
                  <a:pt x="1342820" y="2434965"/>
                  <a:pt x="1344151" y="2434165"/>
                  <a:pt x="1345083" y="2433101"/>
                </a:cubicBezTo>
                <a:cubicBezTo>
                  <a:pt x="1346147" y="2432035"/>
                  <a:pt x="1347080" y="2430704"/>
                  <a:pt x="1347746" y="2428974"/>
                </a:cubicBezTo>
                <a:cubicBezTo>
                  <a:pt x="1348411" y="2427376"/>
                  <a:pt x="1348811" y="2425513"/>
                  <a:pt x="1348811" y="2423515"/>
                </a:cubicBezTo>
                <a:cubicBezTo>
                  <a:pt x="1348811" y="2421652"/>
                  <a:pt x="1348411" y="2419922"/>
                  <a:pt x="1347746" y="2418324"/>
                </a:cubicBezTo>
                <a:cubicBezTo>
                  <a:pt x="1347080" y="2416594"/>
                  <a:pt x="1346147" y="2415263"/>
                  <a:pt x="1345083" y="2414065"/>
                </a:cubicBezTo>
                <a:cubicBezTo>
                  <a:pt x="1344018" y="2412999"/>
                  <a:pt x="1342687" y="2412067"/>
                  <a:pt x="1341089" y="2411402"/>
                </a:cubicBezTo>
                <a:cubicBezTo>
                  <a:pt x="1339625" y="2410737"/>
                  <a:pt x="1338026" y="2410471"/>
                  <a:pt x="1336029" y="2410471"/>
                </a:cubicBezTo>
                <a:close/>
                <a:moveTo>
                  <a:pt x="1118518" y="2410471"/>
                </a:moveTo>
                <a:cubicBezTo>
                  <a:pt x="1112660" y="2410471"/>
                  <a:pt x="1110131" y="2412467"/>
                  <a:pt x="1108534" y="2414065"/>
                </a:cubicBezTo>
                <a:cubicBezTo>
                  <a:pt x="1105871" y="2416727"/>
                  <a:pt x="1104807" y="2419522"/>
                  <a:pt x="1104807" y="2423515"/>
                </a:cubicBezTo>
                <a:cubicBezTo>
                  <a:pt x="1104807" y="2427642"/>
                  <a:pt x="1105871" y="2430438"/>
                  <a:pt x="1108401" y="2432967"/>
                </a:cubicBezTo>
                <a:cubicBezTo>
                  <a:pt x="1109998" y="2434565"/>
                  <a:pt x="1112527" y="2436428"/>
                  <a:pt x="1118385" y="2436428"/>
                </a:cubicBezTo>
                <a:cubicBezTo>
                  <a:pt x="1120515" y="2436428"/>
                  <a:pt x="1122246" y="2436162"/>
                  <a:pt x="1123842" y="2435496"/>
                </a:cubicBezTo>
                <a:cubicBezTo>
                  <a:pt x="1125307" y="2434965"/>
                  <a:pt x="1126641" y="2434165"/>
                  <a:pt x="1127570" y="2433101"/>
                </a:cubicBezTo>
                <a:cubicBezTo>
                  <a:pt x="1128635" y="2432035"/>
                  <a:pt x="1129568" y="2430704"/>
                  <a:pt x="1130234" y="2428974"/>
                </a:cubicBezTo>
                <a:cubicBezTo>
                  <a:pt x="1130898" y="2427376"/>
                  <a:pt x="1131299" y="2425513"/>
                  <a:pt x="1131299" y="2423515"/>
                </a:cubicBezTo>
                <a:cubicBezTo>
                  <a:pt x="1131299" y="2421652"/>
                  <a:pt x="1130898" y="2419922"/>
                  <a:pt x="1130234" y="2418324"/>
                </a:cubicBezTo>
                <a:cubicBezTo>
                  <a:pt x="1129568" y="2416594"/>
                  <a:pt x="1128635" y="2415263"/>
                  <a:pt x="1127570" y="2414065"/>
                </a:cubicBezTo>
                <a:cubicBezTo>
                  <a:pt x="1126506" y="2412999"/>
                  <a:pt x="1125175" y="2412067"/>
                  <a:pt x="1123577" y="2411402"/>
                </a:cubicBezTo>
                <a:cubicBezTo>
                  <a:pt x="1122113" y="2410737"/>
                  <a:pt x="1120515" y="2410471"/>
                  <a:pt x="1118518" y="2410471"/>
                </a:cubicBezTo>
                <a:close/>
                <a:moveTo>
                  <a:pt x="901007" y="2410471"/>
                </a:moveTo>
                <a:cubicBezTo>
                  <a:pt x="895148" y="2410471"/>
                  <a:pt x="892619" y="2412467"/>
                  <a:pt x="891022" y="2414065"/>
                </a:cubicBezTo>
                <a:cubicBezTo>
                  <a:pt x="888359" y="2416727"/>
                  <a:pt x="887295" y="2419522"/>
                  <a:pt x="887295" y="2423515"/>
                </a:cubicBezTo>
                <a:cubicBezTo>
                  <a:pt x="887295" y="2427642"/>
                  <a:pt x="888359" y="2430438"/>
                  <a:pt x="890889" y="2432967"/>
                </a:cubicBezTo>
                <a:cubicBezTo>
                  <a:pt x="892487" y="2434565"/>
                  <a:pt x="895015" y="2436428"/>
                  <a:pt x="900873" y="2436428"/>
                </a:cubicBezTo>
                <a:cubicBezTo>
                  <a:pt x="902869" y="2436428"/>
                  <a:pt x="904600" y="2436162"/>
                  <a:pt x="906331" y="2435496"/>
                </a:cubicBezTo>
                <a:cubicBezTo>
                  <a:pt x="907795" y="2434965"/>
                  <a:pt x="909127" y="2434165"/>
                  <a:pt x="910059" y="2433101"/>
                </a:cubicBezTo>
                <a:cubicBezTo>
                  <a:pt x="911123" y="2432035"/>
                  <a:pt x="912055" y="2430704"/>
                  <a:pt x="912721" y="2428974"/>
                </a:cubicBezTo>
                <a:cubicBezTo>
                  <a:pt x="913386" y="2427376"/>
                  <a:pt x="913786" y="2425513"/>
                  <a:pt x="913786" y="2423515"/>
                </a:cubicBezTo>
                <a:cubicBezTo>
                  <a:pt x="913786" y="2421652"/>
                  <a:pt x="913386" y="2419922"/>
                  <a:pt x="912721" y="2418324"/>
                </a:cubicBezTo>
                <a:cubicBezTo>
                  <a:pt x="912055" y="2416594"/>
                  <a:pt x="911123" y="2415263"/>
                  <a:pt x="910059" y="2414065"/>
                </a:cubicBezTo>
                <a:cubicBezTo>
                  <a:pt x="908994" y="2412999"/>
                  <a:pt x="907662" y="2412067"/>
                  <a:pt x="906065" y="2411402"/>
                </a:cubicBezTo>
                <a:cubicBezTo>
                  <a:pt x="904600" y="2410737"/>
                  <a:pt x="903002" y="2410471"/>
                  <a:pt x="901007" y="2410471"/>
                </a:cubicBezTo>
                <a:close/>
                <a:moveTo>
                  <a:pt x="683230" y="2410471"/>
                </a:moveTo>
                <a:cubicBezTo>
                  <a:pt x="677373" y="2410471"/>
                  <a:pt x="674844" y="2412467"/>
                  <a:pt x="673247" y="2414065"/>
                </a:cubicBezTo>
                <a:cubicBezTo>
                  <a:pt x="670716" y="2416727"/>
                  <a:pt x="669653" y="2419522"/>
                  <a:pt x="669653" y="2423515"/>
                </a:cubicBezTo>
                <a:cubicBezTo>
                  <a:pt x="669653" y="2427642"/>
                  <a:pt x="670716" y="2430438"/>
                  <a:pt x="673247" y="2432967"/>
                </a:cubicBezTo>
                <a:cubicBezTo>
                  <a:pt x="674844" y="2434565"/>
                  <a:pt x="677373" y="2436428"/>
                  <a:pt x="683230" y="2436428"/>
                </a:cubicBezTo>
                <a:cubicBezTo>
                  <a:pt x="685227" y="2436428"/>
                  <a:pt x="687091" y="2436162"/>
                  <a:pt x="688555" y="2435496"/>
                </a:cubicBezTo>
                <a:cubicBezTo>
                  <a:pt x="690019" y="2434965"/>
                  <a:pt x="691351" y="2434165"/>
                  <a:pt x="692282" y="2433101"/>
                </a:cubicBezTo>
                <a:cubicBezTo>
                  <a:pt x="693347" y="2432035"/>
                  <a:pt x="694279" y="2430704"/>
                  <a:pt x="694945" y="2428974"/>
                </a:cubicBezTo>
                <a:cubicBezTo>
                  <a:pt x="695610" y="2427376"/>
                  <a:pt x="696010" y="2425513"/>
                  <a:pt x="696010" y="2423515"/>
                </a:cubicBezTo>
                <a:cubicBezTo>
                  <a:pt x="696010" y="2421652"/>
                  <a:pt x="695610" y="2419922"/>
                  <a:pt x="694945" y="2418324"/>
                </a:cubicBezTo>
                <a:cubicBezTo>
                  <a:pt x="694279" y="2416594"/>
                  <a:pt x="693347" y="2415263"/>
                  <a:pt x="692282" y="2414065"/>
                </a:cubicBezTo>
                <a:cubicBezTo>
                  <a:pt x="691217" y="2412999"/>
                  <a:pt x="689886" y="2412067"/>
                  <a:pt x="688289" y="2411402"/>
                </a:cubicBezTo>
                <a:cubicBezTo>
                  <a:pt x="686825" y="2410737"/>
                  <a:pt x="685227" y="2410471"/>
                  <a:pt x="683230" y="2410471"/>
                </a:cubicBezTo>
                <a:close/>
                <a:moveTo>
                  <a:pt x="465586" y="2410471"/>
                </a:moveTo>
                <a:cubicBezTo>
                  <a:pt x="459729" y="2410471"/>
                  <a:pt x="457200" y="2412467"/>
                  <a:pt x="455603" y="2414065"/>
                </a:cubicBezTo>
                <a:cubicBezTo>
                  <a:pt x="453073" y="2416727"/>
                  <a:pt x="452009" y="2419522"/>
                  <a:pt x="452009" y="2423515"/>
                </a:cubicBezTo>
                <a:cubicBezTo>
                  <a:pt x="452009" y="2427642"/>
                  <a:pt x="453073" y="2430438"/>
                  <a:pt x="455603" y="2432967"/>
                </a:cubicBezTo>
                <a:cubicBezTo>
                  <a:pt x="457200" y="2434565"/>
                  <a:pt x="459729" y="2436428"/>
                  <a:pt x="465586" y="2436428"/>
                </a:cubicBezTo>
                <a:cubicBezTo>
                  <a:pt x="467584" y="2436428"/>
                  <a:pt x="469448" y="2436162"/>
                  <a:pt x="470912" y="2435496"/>
                </a:cubicBezTo>
                <a:cubicBezTo>
                  <a:pt x="472376" y="2434965"/>
                  <a:pt x="473707" y="2434165"/>
                  <a:pt x="474639" y="2433101"/>
                </a:cubicBezTo>
                <a:cubicBezTo>
                  <a:pt x="475703" y="2432035"/>
                  <a:pt x="476636" y="2430704"/>
                  <a:pt x="477302" y="2428974"/>
                </a:cubicBezTo>
                <a:cubicBezTo>
                  <a:pt x="477967" y="2427376"/>
                  <a:pt x="478367" y="2425513"/>
                  <a:pt x="478367" y="2423515"/>
                </a:cubicBezTo>
                <a:cubicBezTo>
                  <a:pt x="478367" y="2421652"/>
                  <a:pt x="477967" y="2419922"/>
                  <a:pt x="477302" y="2418324"/>
                </a:cubicBezTo>
                <a:cubicBezTo>
                  <a:pt x="476636" y="2416594"/>
                  <a:pt x="475703" y="2415263"/>
                  <a:pt x="474639" y="2414065"/>
                </a:cubicBezTo>
                <a:cubicBezTo>
                  <a:pt x="473574" y="2412999"/>
                  <a:pt x="472243" y="2412067"/>
                  <a:pt x="470646" y="2411402"/>
                </a:cubicBezTo>
                <a:cubicBezTo>
                  <a:pt x="469181" y="2410737"/>
                  <a:pt x="467584" y="2410471"/>
                  <a:pt x="465586" y="2410471"/>
                </a:cubicBezTo>
                <a:close/>
                <a:moveTo>
                  <a:pt x="247943" y="2410471"/>
                </a:moveTo>
                <a:cubicBezTo>
                  <a:pt x="242086" y="2410471"/>
                  <a:pt x="239557" y="2412467"/>
                  <a:pt x="237960" y="2414065"/>
                </a:cubicBezTo>
                <a:cubicBezTo>
                  <a:pt x="235430" y="2416727"/>
                  <a:pt x="234367" y="2419522"/>
                  <a:pt x="234367" y="2423515"/>
                </a:cubicBezTo>
                <a:cubicBezTo>
                  <a:pt x="234367" y="2427642"/>
                  <a:pt x="235430" y="2430438"/>
                  <a:pt x="237960" y="2432967"/>
                </a:cubicBezTo>
                <a:cubicBezTo>
                  <a:pt x="239557" y="2434565"/>
                  <a:pt x="242086" y="2436428"/>
                  <a:pt x="247943" y="2436428"/>
                </a:cubicBezTo>
                <a:cubicBezTo>
                  <a:pt x="250073" y="2436428"/>
                  <a:pt x="251804" y="2436162"/>
                  <a:pt x="253268" y="2435496"/>
                </a:cubicBezTo>
                <a:cubicBezTo>
                  <a:pt x="254732" y="2434965"/>
                  <a:pt x="256063" y="2434165"/>
                  <a:pt x="256995" y="2433101"/>
                </a:cubicBezTo>
                <a:cubicBezTo>
                  <a:pt x="258060" y="2432035"/>
                  <a:pt x="258992" y="2430704"/>
                  <a:pt x="259658" y="2428974"/>
                </a:cubicBezTo>
                <a:cubicBezTo>
                  <a:pt x="260323" y="2427376"/>
                  <a:pt x="260723" y="2425513"/>
                  <a:pt x="260723" y="2423515"/>
                </a:cubicBezTo>
                <a:cubicBezTo>
                  <a:pt x="260723" y="2421652"/>
                  <a:pt x="260323" y="2419922"/>
                  <a:pt x="259658" y="2418324"/>
                </a:cubicBezTo>
                <a:cubicBezTo>
                  <a:pt x="258992" y="2416594"/>
                  <a:pt x="258060" y="2415263"/>
                  <a:pt x="256995" y="2414065"/>
                </a:cubicBezTo>
                <a:cubicBezTo>
                  <a:pt x="255930" y="2412999"/>
                  <a:pt x="254599" y="2412067"/>
                  <a:pt x="253002" y="2411402"/>
                </a:cubicBezTo>
                <a:cubicBezTo>
                  <a:pt x="251537" y="2410737"/>
                  <a:pt x="249940" y="2410471"/>
                  <a:pt x="247943" y="2410471"/>
                </a:cubicBezTo>
                <a:close/>
                <a:moveTo>
                  <a:pt x="30300" y="2410471"/>
                </a:moveTo>
                <a:cubicBezTo>
                  <a:pt x="24443" y="2410471"/>
                  <a:pt x="21914" y="2412467"/>
                  <a:pt x="20317" y="2414065"/>
                </a:cubicBezTo>
                <a:cubicBezTo>
                  <a:pt x="17787" y="2416727"/>
                  <a:pt x="16723" y="2419522"/>
                  <a:pt x="16723" y="2423515"/>
                </a:cubicBezTo>
                <a:cubicBezTo>
                  <a:pt x="16723" y="2427642"/>
                  <a:pt x="17787" y="2430438"/>
                  <a:pt x="20317" y="2432967"/>
                </a:cubicBezTo>
                <a:cubicBezTo>
                  <a:pt x="21914" y="2434565"/>
                  <a:pt x="24443" y="2436428"/>
                  <a:pt x="30300" y="2436428"/>
                </a:cubicBezTo>
                <a:cubicBezTo>
                  <a:pt x="32430" y="2436428"/>
                  <a:pt x="34161" y="2436162"/>
                  <a:pt x="35625" y="2435496"/>
                </a:cubicBezTo>
                <a:cubicBezTo>
                  <a:pt x="37089" y="2434965"/>
                  <a:pt x="38421" y="2434165"/>
                  <a:pt x="39352" y="2433101"/>
                </a:cubicBezTo>
                <a:cubicBezTo>
                  <a:pt x="40417" y="2432035"/>
                  <a:pt x="41349" y="2430704"/>
                  <a:pt x="42015" y="2428974"/>
                </a:cubicBezTo>
                <a:cubicBezTo>
                  <a:pt x="42680" y="2427376"/>
                  <a:pt x="42946" y="2425513"/>
                  <a:pt x="42946" y="2423515"/>
                </a:cubicBezTo>
                <a:cubicBezTo>
                  <a:pt x="42946" y="2421652"/>
                  <a:pt x="42680" y="2419922"/>
                  <a:pt x="42015" y="2418324"/>
                </a:cubicBezTo>
                <a:cubicBezTo>
                  <a:pt x="41349" y="2416594"/>
                  <a:pt x="40417" y="2415263"/>
                  <a:pt x="39352" y="2414065"/>
                </a:cubicBezTo>
                <a:cubicBezTo>
                  <a:pt x="38287" y="2412999"/>
                  <a:pt x="36956" y="2412067"/>
                  <a:pt x="35359" y="2411402"/>
                </a:cubicBezTo>
                <a:cubicBezTo>
                  <a:pt x="33895" y="2410737"/>
                  <a:pt x="32297" y="2410471"/>
                  <a:pt x="30300" y="2410471"/>
                </a:cubicBezTo>
                <a:close/>
                <a:moveTo>
                  <a:pt x="10475977" y="2393830"/>
                </a:moveTo>
                <a:cubicBezTo>
                  <a:pt x="10480237" y="2393830"/>
                  <a:pt x="10484230" y="2394630"/>
                  <a:pt x="10487824" y="2396493"/>
                </a:cubicBezTo>
                <a:cubicBezTo>
                  <a:pt x="10491419" y="2398090"/>
                  <a:pt x="10494613" y="2400220"/>
                  <a:pt x="10497143" y="2402882"/>
                </a:cubicBezTo>
                <a:cubicBezTo>
                  <a:pt x="10499672" y="2405412"/>
                  <a:pt x="10501801" y="2408607"/>
                  <a:pt x="10503266" y="2412201"/>
                </a:cubicBezTo>
                <a:cubicBezTo>
                  <a:pt x="10504730" y="2415795"/>
                  <a:pt x="10505529" y="2419522"/>
                  <a:pt x="10505529" y="2423650"/>
                </a:cubicBezTo>
                <a:cubicBezTo>
                  <a:pt x="10505529" y="2427776"/>
                  <a:pt x="10504730" y="2431769"/>
                  <a:pt x="10503266" y="2435363"/>
                </a:cubicBezTo>
                <a:cubicBezTo>
                  <a:pt x="10501669" y="2438958"/>
                  <a:pt x="10499672" y="2442019"/>
                  <a:pt x="10497143" y="2444681"/>
                </a:cubicBezTo>
                <a:cubicBezTo>
                  <a:pt x="10494480" y="2447344"/>
                  <a:pt x="10491419" y="2449474"/>
                  <a:pt x="10487824" y="2450938"/>
                </a:cubicBezTo>
                <a:cubicBezTo>
                  <a:pt x="10484098" y="2452402"/>
                  <a:pt x="10480237" y="2453201"/>
                  <a:pt x="10475977" y="2453201"/>
                </a:cubicBezTo>
                <a:cubicBezTo>
                  <a:pt x="10466924" y="2453201"/>
                  <a:pt x="10459736" y="2450273"/>
                  <a:pt x="10454145" y="2444681"/>
                </a:cubicBezTo>
                <a:cubicBezTo>
                  <a:pt x="10448554" y="2439090"/>
                  <a:pt x="10445759" y="2432035"/>
                  <a:pt x="10445759" y="2423515"/>
                </a:cubicBezTo>
                <a:cubicBezTo>
                  <a:pt x="10445759" y="2415263"/>
                  <a:pt x="10448554" y="2408208"/>
                  <a:pt x="10454145" y="2402482"/>
                </a:cubicBezTo>
                <a:cubicBezTo>
                  <a:pt x="10459603" y="2396625"/>
                  <a:pt x="10466924" y="2393830"/>
                  <a:pt x="10475977" y="2393830"/>
                </a:cubicBezTo>
                <a:close/>
                <a:moveTo>
                  <a:pt x="10258466" y="2393830"/>
                </a:moveTo>
                <a:cubicBezTo>
                  <a:pt x="10262592" y="2393830"/>
                  <a:pt x="10266586" y="2394630"/>
                  <a:pt x="10270313" y="2396493"/>
                </a:cubicBezTo>
                <a:cubicBezTo>
                  <a:pt x="10273907" y="2398090"/>
                  <a:pt x="10277101" y="2400220"/>
                  <a:pt x="10279631" y="2402882"/>
                </a:cubicBezTo>
                <a:cubicBezTo>
                  <a:pt x="10282160" y="2405412"/>
                  <a:pt x="10284290" y="2408607"/>
                  <a:pt x="10285754" y="2412201"/>
                </a:cubicBezTo>
                <a:cubicBezTo>
                  <a:pt x="10287218" y="2415795"/>
                  <a:pt x="10288017" y="2419522"/>
                  <a:pt x="10288017" y="2423650"/>
                </a:cubicBezTo>
                <a:cubicBezTo>
                  <a:pt x="10288017" y="2427776"/>
                  <a:pt x="10287218" y="2431769"/>
                  <a:pt x="10285754" y="2435363"/>
                </a:cubicBezTo>
                <a:cubicBezTo>
                  <a:pt x="10284157" y="2438958"/>
                  <a:pt x="10282160" y="2442019"/>
                  <a:pt x="10279631" y="2444681"/>
                </a:cubicBezTo>
                <a:cubicBezTo>
                  <a:pt x="10276969" y="2447344"/>
                  <a:pt x="10273907" y="2449474"/>
                  <a:pt x="10270313" y="2450938"/>
                </a:cubicBezTo>
                <a:cubicBezTo>
                  <a:pt x="10266586" y="2452402"/>
                  <a:pt x="10262725" y="2453201"/>
                  <a:pt x="10258466" y="2453201"/>
                </a:cubicBezTo>
                <a:cubicBezTo>
                  <a:pt x="10249546" y="2453201"/>
                  <a:pt x="10242224" y="2450273"/>
                  <a:pt x="10236633" y="2444681"/>
                </a:cubicBezTo>
                <a:cubicBezTo>
                  <a:pt x="10231043" y="2439090"/>
                  <a:pt x="10228247" y="2432035"/>
                  <a:pt x="10228247" y="2423515"/>
                </a:cubicBezTo>
                <a:cubicBezTo>
                  <a:pt x="10228247" y="2415263"/>
                  <a:pt x="10231043" y="2408208"/>
                  <a:pt x="10236633" y="2402482"/>
                </a:cubicBezTo>
                <a:cubicBezTo>
                  <a:pt x="10242092" y="2396625"/>
                  <a:pt x="10249413" y="2393830"/>
                  <a:pt x="10258466" y="2393830"/>
                </a:cubicBezTo>
                <a:close/>
                <a:moveTo>
                  <a:pt x="10040820" y="2393830"/>
                </a:moveTo>
                <a:cubicBezTo>
                  <a:pt x="10045080" y="2393830"/>
                  <a:pt x="10048941" y="2394630"/>
                  <a:pt x="10052534" y="2396493"/>
                </a:cubicBezTo>
                <a:cubicBezTo>
                  <a:pt x="10056129" y="2398090"/>
                  <a:pt x="10059323" y="2400220"/>
                  <a:pt x="10061852" y="2402882"/>
                </a:cubicBezTo>
                <a:cubicBezTo>
                  <a:pt x="10064382" y="2405412"/>
                  <a:pt x="10066512" y="2408607"/>
                  <a:pt x="10067976" y="2412201"/>
                </a:cubicBezTo>
                <a:cubicBezTo>
                  <a:pt x="10069440" y="2415795"/>
                  <a:pt x="10070239" y="2419522"/>
                  <a:pt x="10070239" y="2423650"/>
                </a:cubicBezTo>
                <a:cubicBezTo>
                  <a:pt x="10070239" y="2427776"/>
                  <a:pt x="10069440" y="2431769"/>
                  <a:pt x="10067976" y="2435363"/>
                </a:cubicBezTo>
                <a:cubicBezTo>
                  <a:pt x="10066379" y="2438958"/>
                  <a:pt x="10064382" y="2442019"/>
                  <a:pt x="10061852" y="2444681"/>
                </a:cubicBezTo>
                <a:cubicBezTo>
                  <a:pt x="10059190" y="2447344"/>
                  <a:pt x="10056129" y="2449474"/>
                  <a:pt x="10052534" y="2450938"/>
                </a:cubicBezTo>
                <a:cubicBezTo>
                  <a:pt x="10048941" y="2452402"/>
                  <a:pt x="10045080" y="2453201"/>
                  <a:pt x="10040820" y="2453201"/>
                </a:cubicBezTo>
                <a:cubicBezTo>
                  <a:pt x="10031767" y="2453201"/>
                  <a:pt x="10024579" y="2450273"/>
                  <a:pt x="10018988" y="2444681"/>
                </a:cubicBezTo>
                <a:cubicBezTo>
                  <a:pt x="10013397" y="2439090"/>
                  <a:pt x="10010602" y="2432035"/>
                  <a:pt x="10010602" y="2423515"/>
                </a:cubicBezTo>
                <a:cubicBezTo>
                  <a:pt x="10010602" y="2415263"/>
                  <a:pt x="10013397" y="2408208"/>
                  <a:pt x="10018988" y="2402482"/>
                </a:cubicBezTo>
                <a:cubicBezTo>
                  <a:pt x="10024579" y="2396625"/>
                  <a:pt x="10031767" y="2393830"/>
                  <a:pt x="10040820" y="2393830"/>
                </a:cubicBezTo>
                <a:close/>
                <a:moveTo>
                  <a:pt x="9823176" y="2393830"/>
                </a:moveTo>
                <a:cubicBezTo>
                  <a:pt x="9827435" y="2393830"/>
                  <a:pt x="9831296" y="2394630"/>
                  <a:pt x="9834890" y="2396493"/>
                </a:cubicBezTo>
                <a:cubicBezTo>
                  <a:pt x="9838617" y="2398090"/>
                  <a:pt x="9841679" y="2400220"/>
                  <a:pt x="9844208" y="2402882"/>
                </a:cubicBezTo>
                <a:cubicBezTo>
                  <a:pt x="9846737" y="2405412"/>
                  <a:pt x="9848867" y="2408607"/>
                  <a:pt x="9850331" y="2412201"/>
                </a:cubicBezTo>
                <a:cubicBezTo>
                  <a:pt x="9851796" y="2415795"/>
                  <a:pt x="9852595" y="2419522"/>
                  <a:pt x="9852595" y="2423650"/>
                </a:cubicBezTo>
                <a:cubicBezTo>
                  <a:pt x="9852595" y="2427776"/>
                  <a:pt x="9851796" y="2431769"/>
                  <a:pt x="9850331" y="2435363"/>
                </a:cubicBezTo>
                <a:cubicBezTo>
                  <a:pt x="9848734" y="2438958"/>
                  <a:pt x="9846737" y="2442019"/>
                  <a:pt x="9844208" y="2444681"/>
                </a:cubicBezTo>
                <a:cubicBezTo>
                  <a:pt x="9841546" y="2447344"/>
                  <a:pt x="9838484" y="2449474"/>
                  <a:pt x="9834890" y="2450938"/>
                </a:cubicBezTo>
                <a:cubicBezTo>
                  <a:pt x="9831296" y="2452402"/>
                  <a:pt x="9827435" y="2453201"/>
                  <a:pt x="9823176" y="2453201"/>
                </a:cubicBezTo>
                <a:cubicBezTo>
                  <a:pt x="9814123" y="2453201"/>
                  <a:pt x="9806935" y="2450273"/>
                  <a:pt x="9801343" y="2444681"/>
                </a:cubicBezTo>
                <a:cubicBezTo>
                  <a:pt x="9795753" y="2439090"/>
                  <a:pt x="9792957" y="2432035"/>
                  <a:pt x="9792957" y="2423515"/>
                </a:cubicBezTo>
                <a:cubicBezTo>
                  <a:pt x="9792957" y="2415263"/>
                  <a:pt x="9795753" y="2408208"/>
                  <a:pt x="9801343" y="2402482"/>
                </a:cubicBezTo>
                <a:cubicBezTo>
                  <a:pt x="9806935" y="2396625"/>
                  <a:pt x="9814123" y="2393830"/>
                  <a:pt x="9823176" y="2393830"/>
                </a:cubicBezTo>
                <a:close/>
                <a:moveTo>
                  <a:pt x="9605531" y="2393830"/>
                </a:moveTo>
                <a:cubicBezTo>
                  <a:pt x="9609790" y="2393830"/>
                  <a:pt x="9613784" y="2394630"/>
                  <a:pt x="9617245" y="2396493"/>
                </a:cubicBezTo>
                <a:cubicBezTo>
                  <a:pt x="9620839" y="2398090"/>
                  <a:pt x="9624033" y="2400220"/>
                  <a:pt x="9626562" y="2402882"/>
                </a:cubicBezTo>
                <a:cubicBezTo>
                  <a:pt x="9629092" y="2405412"/>
                  <a:pt x="9631222" y="2408607"/>
                  <a:pt x="9632686" y="2412201"/>
                </a:cubicBezTo>
                <a:cubicBezTo>
                  <a:pt x="9634150" y="2415795"/>
                  <a:pt x="9634949" y="2419522"/>
                  <a:pt x="9634949" y="2423650"/>
                </a:cubicBezTo>
                <a:cubicBezTo>
                  <a:pt x="9634949" y="2427776"/>
                  <a:pt x="9634150" y="2431769"/>
                  <a:pt x="9632686" y="2435363"/>
                </a:cubicBezTo>
                <a:cubicBezTo>
                  <a:pt x="9631089" y="2438958"/>
                  <a:pt x="9629092" y="2442019"/>
                  <a:pt x="9626562" y="2444681"/>
                </a:cubicBezTo>
                <a:cubicBezTo>
                  <a:pt x="9623901" y="2447344"/>
                  <a:pt x="9620839" y="2449474"/>
                  <a:pt x="9617245" y="2450938"/>
                </a:cubicBezTo>
                <a:cubicBezTo>
                  <a:pt x="9613651" y="2452402"/>
                  <a:pt x="9609790" y="2453201"/>
                  <a:pt x="9605531" y="2453201"/>
                </a:cubicBezTo>
                <a:cubicBezTo>
                  <a:pt x="9596610" y="2453201"/>
                  <a:pt x="9589289" y="2450273"/>
                  <a:pt x="9583698" y="2444681"/>
                </a:cubicBezTo>
                <a:cubicBezTo>
                  <a:pt x="9578108" y="2439090"/>
                  <a:pt x="9575312" y="2432035"/>
                  <a:pt x="9575312" y="2423515"/>
                </a:cubicBezTo>
                <a:cubicBezTo>
                  <a:pt x="9575312" y="2415263"/>
                  <a:pt x="9578108" y="2408208"/>
                  <a:pt x="9583698" y="2402482"/>
                </a:cubicBezTo>
                <a:cubicBezTo>
                  <a:pt x="9589289" y="2396625"/>
                  <a:pt x="9596478" y="2393830"/>
                  <a:pt x="9605531" y="2393830"/>
                </a:cubicBezTo>
                <a:close/>
                <a:moveTo>
                  <a:pt x="9387885" y="2393830"/>
                </a:moveTo>
                <a:cubicBezTo>
                  <a:pt x="9392145" y="2393830"/>
                  <a:pt x="9396138" y="2394630"/>
                  <a:pt x="9399599" y="2396493"/>
                </a:cubicBezTo>
                <a:cubicBezTo>
                  <a:pt x="9403194" y="2398090"/>
                  <a:pt x="9406388" y="2400220"/>
                  <a:pt x="9408917" y="2402882"/>
                </a:cubicBezTo>
                <a:cubicBezTo>
                  <a:pt x="9411447" y="2405412"/>
                  <a:pt x="9413576" y="2408607"/>
                  <a:pt x="9415041" y="2412201"/>
                </a:cubicBezTo>
                <a:cubicBezTo>
                  <a:pt x="9416505" y="2415795"/>
                  <a:pt x="9417304" y="2419522"/>
                  <a:pt x="9417304" y="2423650"/>
                </a:cubicBezTo>
                <a:cubicBezTo>
                  <a:pt x="9417304" y="2427776"/>
                  <a:pt x="9416505" y="2431769"/>
                  <a:pt x="9415041" y="2435363"/>
                </a:cubicBezTo>
                <a:cubicBezTo>
                  <a:pt x="9413444" y="2438958"/>
                  <a:pt x="9411447" y="2442019"/>
                  <a:pt x="9408917" y="2444681"/>
                </a:cubicBezTo>
                <a:cubicBezTo>
                  <a:pt x="9406255" y="2447344"/>
                  <a:pt x="9403194" y="2449474"/>
                  <a:pt x="9399599" y="2450938"/>
                </a:cubicBezTo>
                <a:cubicBezTo>
                  <a:pt x="9396005" y="2452402"/>
                  <a:pt x="9392145" y="2453201"/>
                  <a:pt x="9387885" y="2453201"/>
                </a:cubicBezTo>
                <a:cubicBezTo>
                  <a:pt x="9378965" y="2453201"/>
                  <a:pt x="9371644" y="2450273"/>
                  <a:pt x="9366053" y="2444681"/>
                </a:cubicBezTo>
                <a:cubicBezTo>
                  <a:pt x="9360462" y="2439090"/>
                  <a:pt x="9357667" y="2432035"/>
                  <a:pt x="9357667" y="2423515"/>
                </a:cubicBezTo>
                <a:cubicBezTo>
                  <a:pt x="9357667" y="2415263"/>
                  <a:pt x="9360462" y="2408208"/>
                  <a:pt x="9366053" y="2402482"/>
                </a:cubicBezTo>
                <a:cubicBezTo>
                  <a:pt x="9371644" y="2396625"/>
                  <a:pt x="9378832" y="2393830"/>
                  <a:pt x="9387885" y="2393830"/>
                </a:cubicBezTo>
                <a:close/>
                <a:moveTo>
                  <a:pt x="9170374" y="2393830"/>
                </a:moveTo>
                <a:cubicBezTo>
                  <a:pt x="9174500" y="2393830"/>
                  <a:pt x="9178494" y="2394630"/>
                  <a:pt x="9182088" y="2396493"/>
                </a:cubicBezTo>
                <a:cubicBezTo>
                  <a:pt x="9185682" y="2398090"/>
                  <a:pt x="9188876" y="2400220"/>
                  <a:pt x="9191405" y="2402882"/>
                </a:cubicBezTo>
                <a:cubicBezTo>
                  <a:pt x="9193935" y="2405412"/>
                  <a:pt x="9196065" y="2408607"/>
                  <a:pt x="9197529" y="2412201"/>
                </a:cubicBezTo>
                <a:cubicBezTo>
                  <a:pt x="9198993" y="2415795"/>
                  <a:pt x="9199792" y="2419522"/>
                  <a:pt x="9199792" y="2423650"/>
                </a:cubicBezTo>
                <a:cubicBezTo>
                  <a:pt x="9199792" y="2427776"/>
                  <a:pt x="9198993" y="2431769"/>
                  <a:pt x="9197529" y="2435363"/>
                </a:cubicBezTo>
                <a:cubicBezTo>
                  <a:pt x="9195932" y="2438958"/>
                  <a:pt x="9193935" y="2442019"/>
                  <a:pt x="9191405" y="2444681"/>
                </a:cubicBezTo>
                <a:cubicBezTo>
                  <a:pt x="9188744" y="2447344"/>
                  <a:pt x="9185682" y="2449474"/>
                  <a:pt x="9182088" y="2450938"/>
                </a:cubicBezTo>
                <a:cubicBezTo>
                  <a:pt x="9178494" y="2452402"/>
                  <a:pt x="9174633" y="2453201"/>
                  <a:pt x="9170374" y="2453201"/>
                </a:cubicBezTo>
                <a:cubicBezTo>
                  <a:pt x="9161453" y="2453201"/>
                  <a:pt x="9154132" y="2450273"/>
                  <a:pt x="9148541" y="2444681"/>
                </a:cubicBezTo>
                <a:cubicBezTo>
                  <a:pt x="9142951" y="2439090"/>
                  <a:pt x="9140155" y="2432035"/>
                  <a:pt x="9140155" y="2423515"/>
                </a:cubicBezTo>
                <a:cubicBezTo>
                  <a:pt x="9140155" y="2415263"/>
                  <a:pt x="9142951" y="2408208"/>
                  <a:pt x="9148541" y="2402482"/>
                </a:cubicBezTo>
                <a:cubicBezTo>
                  <a:pt x="9154132" y="2396625"/>
                  <a:pt x="9161321" y="2393830"/>
                  <a:pt x="9170374" y="2393830"/>
                </a:cubicBezTo>
                <a:close/>
                <a:moveTo>
                  <a:pt x="8952728" y="2393830"/>
                </a:moveTo>
                <a:cubicBezTo>
                  <a:pt x="8956988" y="2393830"/>
                  <a:pt x="8960849" y="2394630"/>
                  <a:pt x="8964442" y="2396493"/>
                </a:cubicBezTo>
                <a:cubicBezTo>
                  <a:pt x="8968037" y="2398090"/>
                  <a:pt x="8971231" y="2400220"/>
                  <a:pt x="8973760" y="2402882"/>
                </a:cubicBezTo>
                <a:cubicBezTo>
                  <a:pt x="8976290" y="2405412"/>
                  <a:pt x="8978419" y="2408607"/>
                  <a:pt x="8979884" y="2412201"/>
                </a:cubicBezTo>
                <a:cubicBezTo>
                  <a:pt x="8981348" y="2415795"/>
                  <a:pt x="8982147" y="2419522"/>
                  <a:pt x="8982147" y="2423650"/>
                </a:cubicBezTo>
                <a:cubicBezTo>
                  <a:pt x="8982147" y="2427776"/>
                  <a:pt x="8981348" y="2431769"/>
                  <a:pt x="8979884" y="2435363"/>
                </a:cubicBezTo>
                <a:cubicBezTo>
                  <a:pt x="8978287" y="2438958"/>
                  <a:pt x="8976290" y="2442019"/>
                  <a:pt x="8973760" y="2444681"/>
                </a:cubicBezTo>
                <a:cubicBezTo>
                  <a:pt x="8971098" y="2447344"/>
                  <a:pt x="8968037" y="2449474"/>
                  <a:pt x="8964442" y="2450938"/>
                </a:cubicBezTo>
                <a:cubicBezTo>
                  <a:pt x="8960849" y="2452402"/>
                  <a:pt x="8956988" y="2453201"/>
                  <a:pt x="8952728" y="2453201"/>
                </a:cubicBezTo>
                <a:cubicBezTo>
                  <a:pt x="8943808" y="2453201"/>
                  <a:pt x="8936487" y="2450273"/>
                  <a:pt x="8930896" y="2444681"/>
                </a:cubicBezTo>
                <a:cubicBezTo>
                  <a:pt x="8925305" y="2439090"/>
                  <a:pt x="8922510" y="2432035"/>
                  <a:pt x="8922510" y="2423515"/>
                </a:cubicBezTo>
                <a:cubicBezTo>
                  <a:pt x="8922510" y="2415263"/>
                  <a:pt x="8925305" y="2408208"/>
                  <a:pt x="8930896" y="2402482"/>
                </a:cubicBezTo>
                <a:cubicBezTo>
                  <a:pt x="8936487" y="2396625"/>
                  <a:pt x="8943675" y="2393830"/>
                  <a:pt x="8952728" y="2393830"/>
                </a:cubicBezTo>
                <a:close/>
                <a:moveTo>
                  <a:pt x="8735083" y="2393830"/>
                </a:moveTo>
                <a:cubicBezTo>
                  <a:pt x="8739342" y="2393830"/>
                  <a:pt x="8743203" y="2394630"/>
                  <a:pt x="8746797" y="2396493"/>
                </a:cubicBezTo>
                <a:cubicBezTo>
                  <a:pt x="8750391" y="2398090"/>
                  <a:pt x="8753586" y="2400220"/>
                  <a:pt x="8756115" y="2402882"/>
                </a:cubicBezTo>
                <a:cubicBezTo>
                  <a:pt x="8758644" y="2405412"/>
                  <a:pt x="8760774" y="2408607"/>
                  <a:pt x="8762238" y="2412201"/>
                </a:cubicBezTo>
                <a:cubicBezTo>
                  <a:pt x="8763702" y="2415795"/>
                  <a:pt x="8764502" y="2419522"/>
                  <a:pt x="8764502" y="2423650"/>
                </a:cubicBezTo>
                <a:cubicBezTo>
                  <a:pt x="8764502" y="2427776"/>
                  <a:pt x="8763702" y="2431769"/>
                  <a:pt x="8762238" y="2435363"/>
                </a:cubicBezTo>
                <a:cubicBezTo>
                  <a:pt x="8760641" y="2438958"/>
                  <a:pt x="8758644" y="2442019"/>
                  <a:pt x="8756115" y="2444681"/>
                </a:cubicBezTo>
                <a:cubicBezTo>
                  <a:pt x="8753453" y="2447344"/>
                  <a:pt x="8750391" y="2449474"/>
                  <a:pt x="8746797" y="2450938"/>
                </a:cubicBezTo>
                <a:cubicBezTo>
                  <a:pt x="8743203" y="2452402"/>
                  <a:pt x="8739342" y="2453201"/>
                  <a:pt x="8735083" y="2453201"/>
                </a:cubicBezTo>
                <a:cubicBezTo>
                  <a:pt x="8726030" y="2453201"/>
                  <a:pt x="8718841" y="2450273"/>
                  <a:pt x="8713250" y="2444681"/>
                </a:cubicBezTo>
                <a:cubicBezTo>
                  <a:pt x="8707660" y="2439090"/>
                  <a:pt x="8704864" y="2432035"/>
                  <a:pt x="8704864" y="2423515"/>
                </a:cubicBezTo>
                <a:cubicBezTo>
                  <a:pt x="8704864" y="2415263"/>
                  <a:pt x="8707660" y="2408208"/>
                  <a:pt x="8713250" y="2402482"/>
                </a:cubicBezTo>
                <a:cubicBezTo>
                  <a:pt x="8718841" y="2396625"/>
                  <a:pt x="8726030" y="2393830"/>
                  <a:pt x="8735083" y="2393830"/>
                </a:cubicBezTo>
                <a:close/>
                <a:moveTo>
                  <a:pt x="8517438" y="2393830"/>
                </a:moveTo>
                <a:cubicBezTo>
                  <a:pt x="8521698" y="2393830"/>
                  <a:pt x="8525559" y="2394630"/>
                  <a:pt x="8529152" y="2396493"/>
                </a:cubicBezTo>
                <a:cubicBezTo>
                  <a:pt x="8532880" y="2398090"/>
                  <a:pt x="8535941" y="2400220"/>
                  <a:pt x="8538470" y="2402882"/>
                </a:cubicBezTo>
                <a:cubicBezTo>
                  <a:pt x="8541000" y="2405412"/>
                  <a:pt x="8543130" y="2408607"/>
                  <a:pt x="8544594" y="2412201"/>
                </a:cubicBezTo>
                <a:cubicBezTo>
                  <a:pt x="8546058" y="2415795"/>
                  <a:pt x="8546857" y="2419522"/>
                  <a:pt x="8546857" y="2423650"/>
                </a:cubicBezTo>
                <a:cubicBezTo>
                  <a:pt x="8546857" y="2427776"/>
                  <a:pt x="8546058" y="2431769"/>
                  <a:pt x="8544594" y="2435363"/>
                </a:cubicBezTo>
                <a:cubicBezTo>
                  <a:pt x="8542997" y="2438958"/>
                  <a:pt x="8541000" y="2442019"/>
                  <a:pt x="8538470" y="2444681"/>
                </a:cubicBezTo>
                <a:cubicBezTo>
                  <a:pt x="8535808" y="2447344"/>
                  <a:pt x="8532747" y="2449474"/>
                  <a:pt x="8529152" y="2450938"/>
                </a:cubicBezTo>
                <a:cubicBezTo>
                  <a:pt x="8525559" y="2452402"/>
                  <a:pt x="8521698" y="2453201"/>
                  <a:pt x="8517438" y="2453201"/>
                </a:cubicBezTo>
                <a:cubicBezTo>
                  <a:pt x="8508385" y="2453201"/>
                  <a:pt x="8501197" y="2450273"/>
                  <a:pt x="8495606" y="2444681"/>
                </a:cubicBezTo>
                <a:cubicBezTo>
                  <a:pt x="8490015" y="2439090"/>
                  <a:pt x="8487220" y="2432035"/>
                  <a:pt x="8487220" y="2423515"/>
                </a:cubicBezTo>
                <a:cubicBezTo>
                  <a:pt x="8487220" y="2415263"/>
                  <a:pt x="8490015" y="2408208"/>
                  <a:pt x="8495606" y="2402482"/>
                </a:cubicBezTo>
                <a:cubicBezTo>
                  <a:pt x="8501197" y="2396625"/>
                  <a:pt x="8508385" y="2393830"/>
                  <a:pt x="8517438" y="2393830"/>
                </a:cubicBezTo>
                <a:close/>
                <a:moveTo>
                  <a:pt x="8299793" y="2393830"/>
                </a:moveTo>
                <a:cubicBezTo>
                  <a:pt x="8304052" y="2393830"/>
                  <a:pt x="8308046" y="2394630"/>
                  <a:pt x="8311507" y="2396493"/>
                </a:cubicBezTo>
                <a:cubicBezTo>
                  <a:pt x="8315235" y="2398090"/>
                  <a:pt x="8318296" y="2400220"/>
                  <a:pt x="8320825" y="2402882"/>
                </a:cubicBezTo>
                <a:cubicBezTo>
                  <a:pt x="8323354" y="2405412"/>
                  <a:pt x="8325484" y="2408607"/>
                  <a:pt x="8326948" y="2412201"/>
                </a:cubicBezTo>
                <a:cubicBezTo>
                  <a:pt x="8328413" y="2415795"/>
                  <a:pt x="8329212" y="2419522"/>
                  <a:pt x="8329212" y="2423650"/>
                </a:cubicBezTo>
                <a:cubicBezTo>
                  <a:pt x="8329212" y="2427776"/>
                  <a:pt x="8328413" y="2431769"/>
                  <a:pt x="8326948" y="2435363"/>
                </a:cubicBezTo>
                <a:cubicBezTo>
                  <a:pt x="8325351" y="2438958"/>
                  <a:pt x="8323354" y="2442019"/>
                  <a:pt x="8320825" y="2444681"/>
                </a:cubicBezTo>
                <a:cubicBezTo>
                  <a:pt x="8318163" y="2447344"/>
                  <a:pt x="8315101" y="2449474"/>
                  <a:pt x="8311507" y="2450938"/>
                </a:cubicBezTo>
                <a:cubicBezTo>
                  <a:pt x="8307913" y="2452402"/>
                  <a:pt x="8304052" y="2453201"/>
                  <a:pt x="8299793" y="2453201"/>
                </a:cubicBezTo>
                <a:cubicBezTo>
                  <a:pt x="8290874" y="2453201"/>
                  <a:pt x="8283553" y="2450273"/>
                  <a:pt x="8277960" y="2444681"/>
                </a:cubicBezTo>
                <a:cubicBezTo>
                  <a:pt x="8272370" y="2439090"/>
                  <a:pt x="8269574" y="2432035"/>
                  <a:pt x="8269574" y="2423515"/>
                </a:cubicBezTo>
                <a:cubicBezTo>
                  <a:pt x="8269574" y="2415263"/>
                  <a:pt x="8272370" y="2408208"/>
                  <a:pt x="8277960" y="2402482"/>
                </a:cubicBezTo>
                <a:cubicBezTo>
                  <a:pt x="8283553" y="2396625"/>
                  <a:pt x="8290741" y="2393830"/>
                  <a:pt x="8299793" y="2393830"/>
                </a:cubicBezTo>
                <a:close/>
                <a:moveTo>
                  <a:pt x="8082281" y="2393830"/>
                </a:moveTo>
                <a:cubicBezTo>
                  <a:pt x="8086407" y="2393830"/>
                  <a:pt x="8090401" y="2394630"/>
                  <a:pt x="8094127" y="2396493"/>
                </a:cubicBezTo>
                <a:cubicBezTo>
                  <a:pt x="8097855" y="2398090"/>
                  <a:pt x="8100916" y="2400220"/>
                  <a:pt x="8103446" y="2402882"/>
                </a:cubicBezTo>
                <a:cubicBezTo>
                  <a:pt x="8105975" y="2405412"/>
                  <a:pt x="8108104" y="2408607"/>
                  <a:pt x="8109569" y="2412201"/>
                </a:cubicBezTo>
                <a:cubicBezTo>
                  <a:pt x="8111033" y="2415795"/>
                  <a:pt x="8111832" y="2419522"/>
                  <a:pt x="8111832" y="2423650"/>
                </a:cubicBezTo>
                <a:cubicBezTo>
                  <a:pt x="8111832" y="2427776"/>
                  <a:pt x="8111033" y="2431769"/>
                  <a:pt x="8109569" y="2435363"/>
                </a:cubicBezTo>
                <a:cubicBezTo>
                  <a:pt x="8107972" y="2438958"/>
                  <a:pt x="8105975" y="2442019"/>
                  <a:pt x="8103446" y="2444681"/>
                </a:cubicBezTo>
                <a:cubicBezTo>
                  <a:pt x="8100783" y="2447344"/>
                  <a:pt x="8097722" y="2449474"/>
                  <a:pt x="8094127" y="2450938"/>
                </a:cubicBezTo>
                <a:cubicBezTo>
                  <a:pt x="8090401" y="2452402"/>
                  <a:pt x="8086540" y="2453201"/>
                  <a:pt x="8082281" y="2453201"/>
                </a:cubicBezTo>
                <a:cubicBezTo>
                  <a:pt x="8073361" y="2453201"/>
                  <a:pt x="8066040" y="2450273"/>
                  <a:pt x="8060448" y="2444681"/>
                </a:cubicBezTo>
                <a:cubicBezTo>
                  <a:pt x="8054857" y="2439090"/>
                  <a:pt x="8052062" y="2432035"/>
                  <a:pt x="8052062" y="2423515"/>
                </a:cubicBezTo>
                <a:cubicBezTo>
                  <a:pt x="8052062" y="2415263"/>
                  <a:pt x="8054857" y="2408208"/>
                  <a:pt x="8060448" y="2402482"/>
                </a:cubicBezTo>
                <a:cubicBezTo>
                  <a:pt x="8066040" y="2396625"/>
                  <a:pt x="8073228" y="2393830"/>
                  <a:pt x="8082281" y="2393830"/>
                </a:cubicBezTo>
                <a:close/>
                <a:moveTo>
                  <a:pt x="7864636" y="2393830"/>
                </a:moveTo>
                <a:cubicBezTo>
                  <a:pt x="7868762" y="2393830"/>
                  <a:pt x="7872756" y="2394630"/>
                  <a:pt x="7876483" y="2396493"/>
                </a:cubicBezTo>
                <a:cubicBezTo>
                  <a:pt x="7880210" y="2398090"/>
                  <a:pt x="7883272" y="2400220"/>
                  <a:pt x="7885802" y="2402882"/>
                </a:cubicBezTo>
                <a:cubicBezTo>
                  <a:pt x="7888331" y="2405412"/>
                  <a:pt x="7890460" y="2408607"/>
                  <a:pt x="7891924" y="2412201"/>
                </a:cubicBezTo>
                <a:cubicBezTo>
                  <a:pt x="7893389" y="2415795"/>
                  <a:pt x="7894188" y="2419522"/>
                  <a:pt x="7894188" y="2423650"/>
                </a:cubicBezTo>
                <a:cubicBezTo>
                  <a:pt x="7894188" y="2427776"/>
                  <a:pt x="7893389" y="2431769"/>
                  <a:pt x="7891924" y="2435363"/>
                </a:cubicBezTo>
                <a:cubicBezTo>
                  <a:pt x="7890327" y="2438958"/>
                  <a:pt x="7888331" y="2442019"/>
                  <a:pt x="7885802" y="2444681"/>
                </a:cubicBezTo>
                <a:cubicBezTo>
                  <a:pt x="7883139" y="2447344"/>
                  <a:pt x="7880078" y="2449474"/>
                  <a:pt x="7876483" y="2450938"/>
                </a:cubicBezTo>
                <a:cubicBezTo>
                  <a:pt x="7872756" y="2452402"/>
                  <a:pt x="7868895" y="2453201"/>
                  <a:pt x="7864636" y="2453201"/>
                </a:cubicBezTo>
                <a:cubicBezTo>
                  <a:pt x="7855717" y="2453201"/>
                  <a:pt x="7848396" y="2450273"/>
                  <a:pt x="7842803" y="2444681"/>
                </a:cubicBezTo>
                <a:cubicBezTo>
                  <a:pt x="7837213" y="2439090"/>
                  <a:pt x="7834417" y="2432035"/>
                  <a:pt x="7834417" y="2423515"/>
                </a:cubicBezTo>
                <a:cubicBezTo>
                  <a:pt x="7834417" y="2415263"/>
                  <a:pt x="7837213" y="2408208"/>
                  <a:pt x="7842803" y="2402482"/>
                </a:cubicBezTo>
                <a:cubicBezTo>
                  <a:pt x="7848396" y="2396625"/>
                  <a:pt x="7855584" y="2393830"/>
                  <a:pt x="7864636" y="2393830"/>
                </a:cubicBezTo>
                <a:close/>
                <a:moveTo>
                  <a:pt x="7646991" y="2393830"/>
                </a:moveTo>
                <a:cubicBezTo>
                  <a:pt x="7651250" y="2393830"/>
                  <a:pt x="7655111" y="2394630"/>
                  <a:pt x="7658705" y="2396493"/>
                </a:cubicBezTo>
                <a:cubicBezTo>
                  <a:pt x="7662432" y="2398090"/>
                  <a:pt x="7665493" y="2400220"/>
                  <a:pt x="7668022" y="2402882"/>
                </a:cubicBezTo>
                <a:cubicBezTo>
                  <a:pt x="7670552" y="2405412"/>
                  <a:pt x="7672682" y="2408607"/>
                  <a:pt x="7674146" y="2412201"/>
                </a:cubicBezTo>
                <a:cubicBezTo>
                  <a:pt x="7675610" y="2415795"/>
                  <a:pt x="7676409" y="2419522"/>
                  <a:pt x="7676409" y="2423650"/>
                </a:cubicBezTo>
                <a:cubicBezTo>
                  <a:pt x="7676409" y="2427776"/>
                  <a:pt x="7675610" y="2431769"/>
                  <a:pt x="7674146" y="2435363"/>
                </a:cubicBezTo>
                <a:cubicBezTo>
                  <a:pt x="7672549" y="2438958"/>
                  <a:pt x="7670552" y="2442019"/>
                  <a:pt x="7668022" y="2444681"/>
                </a:cubicBezTo>
                <a:cubicBezTo>
                  <a:pt x="7665361" y="2447344"/>
                  <a:pt x="7662299" y="2449474"/>
                  <a:pt x="7658705" y="2450938"/>
                </a:cubicBezTo>
                <a:cubicBezTo>
                  <a:pt x="7655111" y="2452402"/>
                  <a:pt x="7651250" y="2453201"/>
                  <a:pt x="7646991" y="2453201"/>
                </a:cubicBezTo>
                <a:cubicBezTo>
                  <a:pt x="7638071" y="2453201"/>
                  <a:pt x="7630750" y="2450273"/>
                  <a:pt x="7625158" y="2444681"/>
                </a:cubicBezTo>
                <a:cubicBezTo>
                  <a:pt x="7619568" y="2439090"/>
                  <a:pt x="7616772" y="2432035"/>
                  <a:pt x="7616772" y="2423515"/>
                </a:cubicBezTo>
                <a:cubicBezTo>
                  <a:pt x="7616772" y="2415263"/>
                  <a:pt x="7619568" y="2408208"/>
                  <a:pt x="7625158" y="2402482"/>
                </a:cubicBezTo>
                <a:cubicBezTo>
                  <a:pt x="7630750" y="2396625"/>
                  <a:pt x="7637939" y="2393830"/>
                  <a:pt x="7646991" y="2393830"/>
                </a:cubicBezTo>
                <a:close/>
                <a:moveTo>
                  <a:pt x="7429345" y="2393830"/>
                </a:moveTo>
                <a:cubicBezTo>
                  <a:pt x="7433605" y="2393830"/>
                  <a:pt x="7437466" y="2394630"/>
                  <a:pt x="7441059" y="2396493"/>
                </a:cubicBezTo>
                <a:cubicBezTo>
                  <a:pt x="7444787" y="2398090"/>
                  <a:pt x="7447848" y="2400220"/>
                  <a:pt x="7450377" y="2402882"/>
                </a:cubicBezTo>
                <a:cubicBezTo>
                  <a:pt x="7452907" y="2405412"/>
                  <a:pt x="7455036" y="2408607"/>
                  <a:pt x="7456501" y="2412201"/>
                </a:cubicBezTo>
                <a:cubicBezTo>
                  <a:pt x="7457965" y="2415795"/>
                  <a:pt x="7458764" y="2419522"/>
                  <a:pt x="7458764" y="2423650"/>
                </a:cubicBezTo>
                <a:cubicBezTo>
                  <a:pt x="7458764" y="2427776"/>
                  <a:pt x="7457965" y="2431769"/>
                  <a:pt x="7456501" y="2435363"/>
                </a:cubicBezTo>
                <a:cubicBezTo>
                  <a:pt x="7454904" y="2438958"/>
                  <a:pt x="7452907" y="2442019"/>
                  <a:pt x="7450377" y="2444681"/>
                </a:cubicBezTo>
                <a:cubicBezTo>
                  <a:pt x="7447715" y="2447344"/>
                  <a:pt x="7444654" y="2449474"/>
                  <a:pt x="7441059" y="2450938"/>
                </a:cubicBezTo>
                <a:cubicBezTo>
                  <a:pt x="7437466" y="2452402"/>
                  <a:pt x="7433605" y="2453201"/>
                  <a:pt x="7429345" y="2453201"/>
                </a:cubicBezTo>
                <a:cubicBezTo>
                  <a:pt x="7420426" y="2453201"/>
                  <a:pt x="7413105" y="2450273"/>
                  <a:pt x="7407513" y="2444681"/>
                </a:cubicBezTo>
                <a:cubicBezTo>
                  <a:pt x="7401922" y="2439090"/>
                  <a:pt x="7399127" y="2432035"/>
                  <a:pt x="7399127" y="2423515"/>
                </a:cubicBezTo>
                <a:cubicBezTo>
                  <a:pt x="7399127" y="2415263"/>
                  <a:pt x="7401922" y="2408208"/>
                  <a:pt x="7407513" y="2402482"/>
                </a:cubicBezTo>
                <a:cubicBezTo>
                  <a:pt x="7413105" y="2396625"/>
                  <a:pt x="7420293" y="2393830"/>
                  <a:pt x="7429345" y="2393830"/>
                </a:cubicBezTo>
                <a:close/>
                <a:moveTo>
                  <a:pt x="7211701" y="2393830"/>
                </a:moveTo>
                <a:cubicBezTo>
                  <a:pt x="7215960" y="2393830"/>
                  <a:pt x="7219954" y="2394630"/>
                  <a:pt x="7223415" y="2396493"/>
                </a:cubicBezTo>
                <a:cubicBezTo>
                  <a:pt x="7227142" y="2398090"/>
                  <a:pt x="7230204" y="2400220"/>
                  <a:pt x="7232733" y="2402882"/>
                </a:cubicBezTo>
                <a:cubicBezTo>
                  <a:pt x="7235262" y="2405412"/>
                  <a:pt x="7237392" y="2408607"/>
                  <a:pt x="7238856" y="2412201"/>
                </a:cubicBezTo>
                <a:cubicBezTo>
                  <a:pt x="7240321" y="2415795"/>
                  <a:pt x="7241120" y="2419522"/>
                  <a:pt x="7241120" y="2423650"/>
                </a:cubicBezTo>
                <a:cubicBezTo>
                  <a:pt x="7241120" y="2427776"/>
                  <a:pt x="7240321" y="2431769"/>
                  <a:pt x="7238856" y="2435363"/>
                </a:cubicBezTo>
                <a:cubicBezTo>
                  <a:pt x="7237259" y="2438958"/>
                  <a:pt x="7235262" y="2442019"/>
                  <a:pt x="7232733" y="2444681"/>
                </a:cubicBezTo>
                <a:cubicBezTo>
                  <a:pt x="7230071" y="2447344"/>
                  <a:pt x="7227009" y="2449474"/>
                  <a:pt x="7223415" y="2450938"/>
                </a:cubicBezTo>
                <a:cubicBezTo>
                  <a:pt x="7219821" y="2452402"/>
                  <a:pt x="7215960" y="2453201"/>
                  <a:pt x="7211701" y="2453201"/>
                </a:cubicBezTo>
                <a:cubicBezTo>
                  <a:pt x="7202782" y="2453201"/>
                  <a:pt x="7195460" y="2450273"/>
                  <a:pt x="7189868" y="2444681"/>
                </a:cubicBezTo>
                <a:cubicBezTo>
                  <a:pt x="7184278" y="2439090"/>
                  <a:pt x="7181482" y="2432035"/>
                  <a:pt x="7181482" y="2423515"/>
                </a:cubicBezTo>
                <a:cubicBezTo>
                  <a:pt x="7181482" y="2415263"/>
                  <a:pt x="7184278" y="2408208"/>
                  <a:pt x="7189868" y="2402482"/>
                </a:cubicBezTo>
                <a:cubicBezTo>
                  <a:pt x="7195460" y="2396625"/>
                  <a:pt x="7202649" y="2393830"/>
                  <a:pt x="7211701" y="2393830"/>
                </a:cubicBezTo>
                <a:close/>
                <a:moveTo>
                  <a:pt x="6994056" y="2393830"/>
                </a:moveTo>
                <a:cubicBezTo>
                  <a:pt x="6998315" y="2393830"/>
                  <a:pt x="7002309" y="2394630"/>
                  <a:pt x="7005769" y="2396493"/>
                </a:cubicBezTo>
                <a:cubicBezTo>
                  <a:pt x="7009497" y="2398090"/>
                  <a:pt x="7012558" y="2400220"/>
                  <a:pt x="7015087" y="2402882"/>
                </a:cubicBezTo>
                <a:cubicBezTo>
                  <a:pt x="7017617" y="2405412"/>
                  <a:pt x="7019747" y="2408607"/>
                  <a:pt x="7021211" y="2412201"/>
                </a:cubicBezTo>
                <a:cubicBezTo>
                  <a:pt x="7022675" y="2415795"/>
                  <a:pt x="7023474" y="2419522"/>
                  <a:pt x="7023474" y="2423650"/>
                </a:cubicBezTo>
                <a:cubicBezTo>
                  <a:pt x="7023474" y="2427776"/>
                  <a:pt x="7022675" y="2431769"/>
                  <a:pt x="7021211" y="2435363"/>
                </a:cubicBezTo>
                <a:cubicBezTo>
                  <a:pt x="7019614" y="2438958"/>
                  <a:pt x="7017617" y="2442019"/>
                  <a:pt x="7015087" y="2444681"/>
                </a:cubicBezTo>
                <a:cubicBezTo>
                  <a:pt x="7012425" y="2447344"/>
                  <a:pt x="7009364" y="2449474"/>
                  <a:pt x="7005769" y="2450938"/>
                </a:cubicBezTo>
                <a:cubicBezTo>
                  <a:pt x="7002176" y="2452402"/>
                  <a:pt x="6998315" y="2453201"/>
                  <a:pt x="6994056" y="2453201"/>
                </a:cubicBezTo>
                <a:cubicBezTo>
                  <a:pt x="6985136" y="2453201"/>
                  <a:pt x="6977815" y="2450273"/>
                  <a:pt x="6972223" y="2444681"/>
                </a:cubicBezTo>
                <a:cubicBezTo>
                  <a:pt x="6966632" y="2439090"/>
                  <a:pt x="6963837" y="2432035"/>
                  <a:pt x="6963837" y="2423515"/>
                </a:cubicBezTo>
                <a:cubicBezTo>
                  <a:pt x="6963837" y="2415263"/>
                  <a:pt x="6966632" y="2408208"/>
                  <a:pt x="6972223" y="2402482"/>
                </a:cubicBezTo>
                <a:cubicBezTo>
                  <a:pt x="6977815" y="2396625"/>
                  <a:pt x="6985003" y="2393830"/>
                  <a:pt x="6994056" y="2393830"/>
                </a:cubicBezTo>
                <a:close/>
                <a:moveTo>
                  <a:pt x="6776544" y="2393830"/>
                </a:moveTo>
                <a:cubicBezTo>
                  <a:pt x="6780670" y="2393830"/>
                  <a:pt x="6784664" y="2394630"/>
                  <a:pt x="6788258" y="2396493"/>
                </a:cubicBezTo>
                <a:cubicBezTo>
                  <a:pt x="6791985" y="2398090"/>
                  <a:pt x="6795047" y="2400220"/>
                  <a:pt x="6797576" y="2402882"/>
                </a:cubicBezTo>
                <a:cubicBezTo>
                  <a:pt x="6800105" y="2405412"/>
                  <a:pt x="6802235" y="2408607"/>
                  <a:pt x="6803699" y="2412201"/>
                </a:cubicBezTo>
                <a:cubicBezTo>
                  <a:pt x="6805164" y="2415795"/>
                  <a:pt x="6805963" y="2419522"/>
                  <a:pt x="6805963" y="2423650"/>
                </a:cubicBezTo>
                <a:cubicBezTo>
                  <a:pt x="6805963" y="2427776"/>
                  <a:pt x="6805164" y="2431769"/>
                  <a:pt x="6803699" y="2435363"/>
                </a:cubicBezTo>
                <a:cubicBezTo>
                  <a:pt x="6802102" y="2438958"/>
                  <a:pt x="6800105" y="2442019"/>
                  <a:pt x="6797576" y="2444681"/>
                </a:cubicBezTo>
                <a:cubicBezTo>
                  <a:pt x="6794914" y="2447344"/>
                  <a:pt x="6791852" y="2449474"/>
                  <a:pt x="6788258" y="2450938"/>
                </a:cubicBezTo>
                <a:cubicBezTo>
                  <a:pt x="6784664" y="2452402"/>
                  <a:pt x="6780803" y="2453201"/>
                  <a:pt x="6776544" y="2453201"/>
                </a:cubicBezTo>
                <a:cubicBezTo>
                  <a:pt x="6767625" y="2453201"/>
                  <a:pt x="6760303" y="2450273"/>
                  <a:pt x="6754711" y="2444681"/>
                </a:cubicBezTo>
                <a:cubicBezTo>
                  <a:pt x="6749121" y="2439090"/>
                  <a:pt x="6746325" y="2432035"/>
                  <a:pt x="6746325" y="2423515"/>
                </a:cubicBezTo>
                <a:cubicBezTo>
                  <a:pt x="6746325" y="2415263"/>
                  <a:pt x="6749121" y="2408208"/>
                  <a:pt x="6754711" y="2402482"/>
                </a:cubicBezTo>
                <a:cubicBezTo>
                  <a:pt x="6760303" y="2396625"/>
                  <a:pt x="6767492" y="2393830"/>
                  <a:pt x="6776544" y="2393830"/>
                </a:cubicBezTo>
                <a:close/>
                <a:moveTo>
                  <a:pt x="6558899" y="2393830"/>
                </a:moveTo>
                <a:cubicBezTo>
                  <a:pt x="6563158" y="2393830"/>
                  <a:pt x="6567019" y="2394630"/>
                  <a:pt x="6570612" y="2396493"/>
                </a:cubicBezTo>
                <a:cubicBezTo>
                  <a:pt x="6574340" y="2398090"/>
                  <a:pt x="6577401" y="2400220"/>
                  <a:pt x="6579930" y="2402882"/>
                </a:cubicBezTo>
                <a:cubicBezTo>
                  <a:pt x="6582460" y="2405412"/>
                  <a:pt x="6584590" y="2408607"/>
                  <a:pt x="6586054" y="2412201"/>
                </a:cubicBezTo>
                <a:cubicBezTo>
                  <a:pt x="6587518" y="2415795"/>
                  <a:pt x="6588317" y="2419522"/>
                  <a:pt x="6588317" y="2423650"/>
                </a:cubicBezTo>
                <a:cubicBezTo>
                  <a:pt x="6588317" y="2427776"/>
                  <a:pt x="6587518" y="2431769"/>
                  <a:pt x="6586054" y="2435363"/>
                </a:cubicBezTo>
                <a:cubicBezTo>
                  <a:pt x="6584457" y="2438958"/>
                  <a:pt x="6582460" y="2442019"/>
                  <a:pt x="6579930" y="2444681"/>
                </a:cubicBezTo>
                <a:cubicBezTo>
                  <a:pt x="6577268" y="2447344"/>
                  <a:pt x="6574207" y="2449474"/>
                  <a:pt x="6570612" y="2450938"/>
                </a:cubicBezTo>
                <a:cubicBezTo>
                  <a:pt x="6567019" y="2452402"/>
                  <a:pt x="6563158" y="2453201"/>
                  <a:pt x="6558899" y="2453201"/>
                </a:cubicBezTo>
                <a:cubicBezTo>
                  <a:pt x="6549979" y="2453201"/>
                  <a:pt x="6542658" y="2450273"/>
                  <a:pt x="6537066" y="2444681"/>
                </a:cubicBezTo>
                <a:cubicBezTo>
                  <a:pt x="6531476" y="2439090"/>
                  <a:pt x="6528680" y="2432035"/>
                  <a:pt x="6528680" y="2423515"/>
                </a:cubicBezTo>
                <a:cubicBezTo>
                  <a:pt x="6528680" y="2415263"/>
                  <a:pt x="6531476" y="2408208"/>
                  <a:pt x="6537066" y="2402482"/>
                </a:cubicBezTo>
                <a:cubicBezTo>
                  <a:pt x="6542658" y="2396625"/>
                  <a:pt x="6549846" y="2393830"/>
                  <a:pt x="6558899" y="2393830"/>
                </a:cubicBezTo>
                <a:close/>
                <a:moveTo>
                  <a:pt x="6341253" y="2393830"/>
                </a:moveTo>
                <a:cubicBezTo>
                  <a:pt x="6345513" y="2393830"/>
                  <a:pt x="6349373" y="2394630"/>
                  <a:pt x="6352968" y="2396493"/>
                </a:cubicBezTo>
                <a:cubicBezTo>
                  <a:pt x="6356695" y="2398090"/>
                  <a:pt x="6359757" y="2400220"/>
                  <a:pt x="6362286" y="2402882"/>
                </a:cubicBezTo>
                <a:cubicBezTo>
                  <a:pt x="6364815" y="2405412"/>
                  <a:pt x="6366945" y="2408607"/>
                  <a:pt x="6368409" y="2412201"/>
                </a:cubicBezTo>
                <a:cubicBezTo>
                  <a:pt x="6369874" y="2415795"/>
                  <a:pt x="6370672" y="2419522"/>
                  <a:pt x="6370672" y="2423650"/>
                </a:cubicBezTo>
                <a:cubicBezTo>
                  <a:pt x="6370672" y="2427776"/>
                  <a:pt x="6369874" y="2431769"/>
                  <a:pt x="6368409" y="2435363"/>
                </a:cubicBezTo>
                <a:cubicBezTo>
                  <a:pt x="6366811" y="2438958"/>
                  <a:pt x="6364815" y="2442019"/>
                  <a:pt x="6362286" y="2444681"/>
                </a:cubicBezTo>
                <a:cubicBezTo>
                  <a:pt x="6359623" y="2447344"/>
                  <a:pt x="6356562" y="2449474"/>
                  <a:pt x="6352968" y="2450938"/>
                </a:cubicBezTo>
                <a:cubicBezTo>
                  <a:pt x="6349373" y="2452402"/>
                  <a:pt x="6345513" y="2453201"/>
                  <a:pt x="6341253" y="2453201"/>
                </a:cubicBezTo>
                <a:cubicBezTo>
                  <a:pt x="6332335" y="2453201"/>
                  <a:pt x="6325013" y="2450273"/>
                  <a:pt x="6319421" y="2444681"/>
                </a:cubicBezTo>
                <a:cubicBezTo>
                  <a:pt x="6313830" y="2439090"/>
                  <a:pt x="6311035" y="2432035"/>
                  <a:pt x="6311035" y="2423515"/>
                </a:cubicBezTo>
                <a:cubicBezTo>
                  <a:pt x="6311035" y="2415263"/>
                  <a:pt x="6313830" y="2408208"/>
                  <a:pt x="6319421" y="2402482"/>
                </a:cubicBezTo>
                <a:cubicBezTo>
                  <a:pt x="6325013" y="2396625"/>
                  <a:pt x="6332201" y="2393830"/>
                  <a:pt x="6341253" y="2393830"/>
                </a:cubicBezTo>
                <a:close/>
                <a:moveTo>
                  <a:pt x="6123608" y="2393830"/>
                </a:moveTo>
                <a:cubicBezTo>
                  <a:pt x="6127867" y="2393830"/>
                  <a:pt x="6131728" y="2394630"/>
                  <a:pt x="6135322" y="2396493"/>
                </a:cubicBezTo>
                <a:cubicBezTo>
                  <a:pt x="6139049" y="2398090"/>
                  <a:pt x="6142111" y="2400220"/>
                  <a:pt x="6144640" y="2402882"/>
                </a:cubicBezTo>
                <a:cubicBezTo>
                  <a:pt x="6147169" y="2405412"/>
                  <a:pt x="6149299" y="2408607"/>
                  <a:pt x="6150763" y="2412201"/>
                </a:cubicBezTo>
                <a:cubicBezTo>
                  <a:pt x="6152228" y="2415795"/>
                  <a:pt x="6153026" y="2419522"/>
                  <a:pt x="6153026" y="2423650"/>
                </a:cubicBezTo>
                <a:cubicBezTo>
                  <a:pt x="6153026" y="2427776"/>
                  <a:pt x="6152228" y="2431769"/>
                  <a:pt x="6150763" y="2435363"/>
                </a:cubicBezTo>
                <a:cubicBezTo>
                  <a:pt x="6149299" y="2438958"/>
                  <a:pt x="6147169" y="2442019"/>
                  <a:pt x="6144640" y="2444681"/>
                </a:cubicBezTo>
                <a:cubicBezTo>
                  <a:pt x="6141977" y="2447344"/>
                  <a:pt x="6138916" y="2449474"/>
                  <a:pt x="6135322" y="2450938"/>
                </a:cubicBezTo>
                <a:cubicBezTo>
                  <a:pt x="6131728" y="2452402"/>
                  <a:pt x="6127867" y="2453201"/>
                  <a:pt x="6123608" y="2453201"/>
                </a:cubicBezTo>
                <a:cubicBezTo>
                  <a:pt x="6114689" y="2453201"/>
                  <a:pt x="6107367" y="2450273"/>
                  <a:pt x="6101775" y="2444681"/>
                </a:cubicBezTo>
                <a:cubicBezTo>
                  <a:pt x="6096184" y="2439090"/>
                  <a:pt x="6093389" y="2432035"/>
                  <a:pt x="6093389" y="2423515"/>
                </a:cubicBezTo>
                <a:cubicBezTo>
                  <a:pt x="6093389" y="2415263"/>
                  <a:pt x="6096184" y="2408208"/>
                  <a:pt x="6101775" y="2402482"/>
                </a:cubicBezTo>
                <a:cubicBezTo>
                  <a:pt x="6107367" y="2396625"/>
                  <a:pt x="6114555" y="2393830"/>
                  <a:pt x="6123608" y="2393830"/>
                </a:cubicBezTo>
                <a:close/>
                <a:moveTo>
                  <a:pt x="5905963" y="2393830"/>
                </a:moveTo>
                <a:cubicBezTo>
                  <a:pt x="5910222" y="2393830"/>
                  <a:pt x="5914216" y="2394630"/>
                  <a:pt x="5917677" y="2396493"/>
                </a:cubicBezTo>
                <a:cubicBezTo>
                  <a:pt x="5921404" y="2398090"/>
                  <a:pt x="5924466" y="2400220"/>
                  <a:pt x="5926995" y="2402882"/>
                </a:cubicBezTo>
                <a:cubicBezTo>
                  <a:pt x="5929524" y="2405412"/>
                  <a:pt x="5931654" y="2408607"/>
                  <a:pt x="5933118" y="2412201"/>
                </a:cubicBezTo>
                <a:cubicBezTo>
                  <a:pt x="5934583" y="2415795"/>
                  <a:pt x="5935381" y="2419522"/>
                  <a:pt x="5935381" y="2423650"/>
                </a:cubicBezTo>
                <a:cubicBezTo>
                  <a:pt x="5935381" y="2427776"/>
                  <a:pt x="5934583" y="2431769"/>
                  <a:pt x="5933118" y="2435363"/>
                </a:cubicBezTo>
                <a:cubicBezTo>
                  <a:pt x="5931654" y="2438958"/>
                  <a:pt x="5929524" y="2442019"/>
                  <a:pt x="5926995" y="2444681"/>
                </a:cubicBezTo>
                <a:cubicBezTo>
                  <a:pt x="5924333" y="2447344"/>
                  <a:pt x="5921271" y="2449474"/>
                  <a:pt x="5917677" y="2450938"/>
                </a:cubicBezTo>
                <a:cubicBezTo>
                  <a:pt x="5914083" y="2452402"/>
                  <a:pt x="5910222" y="2453201"/>
                  <a:pt x="5905963" y="2453201"/>
                </a:cubicBezTo>
                <a:cubicBezTo>
                  <a:pt x="5897044" y="2453201"/>
                  <a:pt x="5889722" y="2450273"/>
                  <a:pt x="5884130" y="2444681"/>
                </a:cubicBezTo>
                <a:cubicBezTo>
                  <a:pt x="5878540" y="2439090"/>
                  <a:pt x="5875744" y="2432035"/>
                  <a:pt x="5875744" y="2423515"/>
                </a:cubicBezTo>
                <a:cubicBezTo>
                  <a:pt x="5875744" y="2415263"/>
                  <a:pt x="5878540" y="2408208"/>
                  <a:pt x="5884130" y="2402482"/>
                </a:cubicBezTo>
                <a:cubicBezTo>
                  <a:pt x="5889722" y="2396625"/>
                  <a:pt x="5896910" y="2393830"/>
                  <a:pt x="5905963" y="2393830"/>
                </a:cubicBezTo>
                <a:close/>
                <a:moveTo>
                  <a:pt x="5688451" y="2393830"/>
                </a:moveTo>
                <a:cubicBezTo>
                  <a:pt x="5692577" y="2393830"/>
                  <a:pt x="5696571" y="2394630"/>
                  <a:pt x="5700165" y="2396493"/>
                </a:cubicBezTo>
                <a:cubicBezTo>
                  <a:pt x="5703892" y="2398090"/>
                  <a:pt x="5706954" y="2400220"/>
                  <a:pt x="5709483" y="2402882"/>
                </a:cubicBezTo>
                <a:cubicBezTo>
                  <a:pt x="5712012" y="2405412"/>
                  <a:pt x="5714142" y="2408607"/>
                  <a:pt x="5715606" y="2412201"/>
                </a:cubicBezTo>
                <a:cubicBezTo>
                  <a:pt x="5717071" y="2415795"/>
                  <a:pt x="5717869" y="2419522"/>
                  <a:pt x="5717869" y="2423650"/>
                </a:cubicBezTo>
                <a:cubicBezTo>
                  <a:pt x="5717869" y="2427776"/>
                  <a:pt x="5717071" y="2431769"/>
                  <a:pt x="5715606" y="2435363"/>
                </a:cubicBezTo>
                <a:cubicBezTo>
                  <a:pt x="5714142" y="2438958"/>
                  <a:pt x="5712012" y="2442019"/>
                  <a:pt x="5709483" y="2444681"/>
                </a:cubicBezTo>
                <a:cubicBezTo>
                  <a:pt x="5706820" y="2447344"/>
                  <a:pt x="5703759" y="2449474"/>
                  <a:pt x="5700165" y="2450938"/>
                </a:cubicBezTo>
                <a:cubicBezTo>
                  <a:pt x="5696571" y="2452402"/>
                  <a:pt x="5692710" y="2453201"/>
                  <a:pt x="5688451" y="2453201"/>
                </a:cubicBezTo>
                <a:cubicBezTo>
                  <a:pt x="5679532" y="2453201"/>
                  <a:pt x="5672210" y="2450273"/>
                  <a:pt x="5666618" y="2444681"/>
                </a:cubicBezTo>
                <a:cubicBezTo>
                  <a:pt x="5661028" y="2439090"/>
                  <a:pt x="5658232" y="2432035"/>
                  <a:pt x="5658232" y="2423515"/>
                </a:cubicBezTo>
                <a:cubicBezTo>
                  <a:pt x="5658232" y="2415263"/>
                  <a:pt x="5661028" y="2408208"/>
                  <a:pt x="5666618" y="2402482"/>
                </a:cubicBezTo>
                <a:cubicBezTo>
                  <a:pt x="5672210" y="2396625"/>
                  <a:pt x="5679398" y="2393830"/>
                  <a:pt x="5688451" y="2393830"/>
                </a:cubicBezTo>
                <a:close/>
                <a:moveTo>
                  <a:pt x="5470806" y="2393830"/>
                </a:moveTo>
                <a:cubicBezTo>
                  <a:pt x="5475065" y="2393830"/>
                  <a:pt x="5478926" y="2394630"/>
                  <a:pt x="5482520" y="2396493"/>
                </a:cubicBezTo>
                <a:cubicBezTo>
                  <a:pt x="5486247" y="2398090"/>
                  <a:pt x="5489309" y="2400220"/>
                  <a:pt x="5491838" y="2402882"/>
                </a:cubicBezTo>
                <a:cubicBezTo>
                  <a:pt x="5494367" y="2405412"/>
                  <a:pt x="5496497" y="2408607"/>
                  <a:pt x="5497961" y="2412201"/>
                </a:cubicBezTo>
                <a:cubicBezTo>
                  <a:pt x="5499426" y="2415795"/>
                  <a:pt x="5500224" y="2419522"/>
                  <a:pt x="5500224" y="2423650"/>
                </a:cubicBezTo>
                <a:cubicBezTo>
                  <a:pt x="5500224" y="2427776"/>
                  <a:pt x="5499426" y="2431769"/>
                  <a:pt x="5497961" y="2435363"/>
                </a:cubicBezTo>
                <a:cubicBezTo>
                  <a:pt x="5496497" y="2438958"/>
                  <a:pt x="5494367" y="2442019"/>
                  <a:pt x="5491838" y="2444681"/>
                </a:cubicBezTo>
                <a:cubicBezTo>
                  <a:pt x="5489176" y="2447344"/>
                  <a:pt x="5486114" y="2449474"/>
                  <a:pt x="5482520" y="2450938"/>
                </a:cubicBezTo>
                <a:cubicBezTo>
                  <a:pt x="5478926" y="2452402"/>
                  <a:pt x="5475065" y="2453201"/>
                  <a:pt x="5470806" y="2453201"/>
                </a:cubicBezTo>
                <a:cubicBezTo>
                  <a:pt x="5461887" y="2453201"/>
                  <a:pt x="5454565" y="2450273"/>
                  <a:pt x="5448973" y="2444681"/>
                </a:cubicBezTo>
                <a:cubicBezTo>
                  <a:pt x="5443383" y="2439090"/>
                  <a:pt x="5440587" y="2432035"/>
                  <a:pt x="5440587" y="2423515"/>
                </a:cubicBezTo>
                <a:cubicBezTo>
                  <a:pt x="5440587" y="2415263"/>
                  <a:pt x="5443383" y="2408208"/>
                  <a:pt x="5448973" y="2402482"/>
                </a:cubicBezTo>
                <a:cubicBezTo>
                  <a:pt x="5454565" y="2396625"/>
                  <a:pt x="5461754" y="2393830"/>
                  <a:pt x="5470806" y="2393830"/>
                </a:cubicBezTo>
                <a:close/>
                <a:moveTo>
                  <a:pt x="5253160" y="2393830"/>
                </a:moveTo>
                <a:cubicBezTo>
                  <a:pt x="5257420" y="2393830"/>
                  <a:pt x="5261280" y="2394630"/>
                  <a:pt x="5264875" y="2396493"/>
                </a:cubicBezTo>
                <a:cubicBezTo>
                  <a:pt x="5268602" y="2398090"/>
                  <a:pt x="5271664" y="2400220"/>
                  <a:pt x="5274192" y="2402882"/>
                </a:cubicBezTo>
                <a:cubicBezTo>
                  <a:pt x="5276722" y="2405412"/>
                  <a:pt x="5278852" y="2408607"/>
                  <a:pt x="5280316" y="2412201"/>
                </a:cubicBezTo>
                <a:cubicBezTo>
                  <a:pt x="5281780" y="2415795"/>
                  <a:pt x="5282579" y="2419522"/>
                  <a:pt x="5282579" y="2423650"/>
                </a:cubicBezTo>
                <a:cubicBezTo>
                  <a:pt x="5282579" y="2427776"/>
                  <a:pt x="5281780" y="2431769"/>
                  <a:pt x="5280316" y="2435363"/>
                </a:cubicBezTo>
                <a:cubicBezTo>
                  <a:pt x="5278852" y="2438958"/>
                  <a:pt x="5276722" y="2442019"/>
                  <a:pt x="5274192" y="2444681"/>
                </a:cubicBezTo>
                <a:cubicBezTo>
                  <a:pt x="5271664" y="2447344"/>
                  <a:pt x="5268469" y="2449474"/>
                  <a:pt x="5264875" y="2450938"/>
                </a:cubicBezTo>
                <a:cubicBezTo>
                  <a:pt x="5261280" y="2452402"/>
                  <a:pt x="5257420" y="2453201"/>
                  <a:pt x="5253160" y="2453201"/>
                </a:cubicBezTo>
                <a:cubicBezTo>
                  <a:pt x="5244241" y="2453201"/>
                  <a:pt x="5236920" y="2450273"/>
                  <a:pt x="5231328" y="2444681"/>
                </a:cubicBezTo>
                <a:cubicBezTo>
                  <a:pt x="5225737" y="2439090"/>
                  <a:pt x="5222942" y="2432035"/>
                  <a:pt x="5222942" y="2423515"/>
                </a:cubicBezTo>
                <a:cubicBezTo>
                  <a:pt x="5222942" y="2415263"/>
                  <a:pt x="5225737" y="2408208"/>
                  <a:pt x="5231328" y="2402482"/>
                </a:cubicBezTo>
                <a:cubicBezTo>
                  <a:pt x="5236920" y="2396625"/>
                  <a:pt x="5244108" y="2393830"/>
                  <a:pt x="5253160" y="2393830"/>
                </a:cubicBezTo>
                <a:close/>
                <a:moveTo>
                  <a:pt x="5035515" y="2393830"/>
                </a:moveTo>
                <a:cubicBezTo>
                  <a:pt x="5039775" y="2393830"/>
                  <a:pt x="5043636" y="2394630"/>
                  <a:pt x="5047230" y="2396493"/>
                </a:cubicBezTo>
                <a:cubicBezTo>
                  <a:pt x="5050957" y="2398090"/>
                  <a:pt x="5054019" y="2400220"/>
                  <a:pt x="5056548" y="2402882"/>
                </a:cubicBezTo>
                <a:cubicBezTo>
                  <a:pt x="5059077" y="2405412"/>
                  <a:pt x="5061207" y="2408607"/>
                  <a:pt x="5062671" y="2412201"/>
                </a:cubicBezTo>
                <a:cubicBezTo>
                  <a:pt x="5064135" y="2415795"/>
                  <a:pt x="5064934" y="2419522"/>
                  <a:pt x="5064934" y="2423650"/>
                </a:cubicBezTo>
                <a:cubicBezTo>
                  <a:pt x="5064934" y="2427776"/>
                  <a:pt x="5064135" y="2431769"/>
                  <a:pt x="5062671" y="2435363"/>
                </a:cubicBezTo>
                <a:cubicBezTo>
                  <a:pt x="5061207" y="2438958"/>
                  <a:pt x="5059077" y="2442019"/>
                  <a:pt x="5056548" y="2444681"/>
                </a:cubicBezTo>
                <a:cubicBezTo>
                  <a:pt x="5053885" y="2447344"/>
                  <a:pt x="5050824" y="2449474"/>
                  <a:pt x="5047230" y="2450938"/>
                </a:cubicBezTo>
                <a:cubicBezTo>
                  <a:pt x="5043636" y="2452402"/>
                  <a:pt x="5039775" y="2453201"/>
                  <a:pt x="5035515" y="2453201"/>
                </a:cubicBezTo>
                <a:cubicBezTo>
                  <a:pt x="5026597" y="2453201"/>
                  <a:pt x="5019275" y="2450273"/>
                  <a:pt x="5013683" y="2444681"/>
                </a:cubicBezTo>
                <a:cubicBezTo>
                  <a:pt x="5008092" y="2439090"/>
                  <a:pt x="5005297" y="2432035"/>
                  <a:pt x="5005297" y="2423515"/>
                </a:cubicBezTo>
                <a:cubicBezTo>
                  <a:pt x="5005297" y="2415263"/>
                  <a:pt x="5008092" y="2408208"/>
                  <a:pt x="5013683" y="2402482"/>
                </a:cubicBezTo>
                <a:cubicBezTo>
                  <a:pt x="5019275" y="2396625"/>
                  <a:pt x="5026463" y="2393830"/>
                  <a:pt x="5035515" y="2393830"/>
                </a:cubicBezTo>
                <a:close/>
                <a:moveTo>
                  <a:pt x="4817870" y="2393830"/>
                </a:moveTo>
                <a:cubicBezTo>
                  <a:pt x="4822130" y="2393830"/>
                  <a:pt x="4826124" y="2394630"/>
                  <a:pt x="4829585" y="2396493"/>
                </a:cubicBezTo>
                <a:cubicBezTo>
                  <a:pt x="4833312" y="2398090"/>
                  <a:pt x="4836374" y="2400220"/>
                  <a:pt x="4838903" y="2402882"/>
                </a:cubicBezTo>
                <a:cubicBezTo>
                  <a:pt x="4841432" y="2405412"/>
                  <a:pt x="4843562" y="2408607"/>
                  <a:pt x="4845026" y="2412201"/>
                </a:cubicBezTo>
                <a:cubicBezTo>
                  <a:pt x="4846491" y="2415795"/>
                  <a:pt x="4847289" y="2419522"/>
                  <a:pt x="4847289" y="2423650"/>
                </a:cubicBezTo>
                <a:cubicBezTo>
                  <a:pt x="4847289" y="2427776"/>
                  <a:pt x="4846491" y="2431769"/>
                  <a:pt x="4845026" y="2435363"/>
                </a:cubicBezTo>
                <a:cubicBezTo>
                  <a:pt x="4843562" y="2438958"/>
                  <a:pt x="4841432" y="2442019"/>
                  <a:pt x="4838903" y="2444681"/>
                </a:cubicBezTo>
                <a:cubicBezTo>
                  <a:pt x="4836240" y="2447344"/>
                  <a:pt x="4833179" y="2449474"/>
                  <a:pt x="4829585" y="2450938"/>
                </a:cubicBezTo>
                <a:cubicBezTo>
                  <a:pt x="4825991" y="2452402"/>
                  <a:pt x="4822130" y="2453201"/>
                  <a:pt x="4817870" y="2453201"/>
                </a:cubicBezTo>
                <a:cubicBezTo>
                  <a:pt x="4808952" y="2453201"/>
                  <a:pt x="4801630" y="2450273"/>
                  <a:pt x="4796038" y="2444681"/>
                </a:cubicBezTo>
                <a:cubicBezTo>
                  <a:pt x="4790447" y="2439090"/>
                  <a:pt x="4787652" y="2432035"/>
                  <a:pt x="4787652" y="2423515"/>
                </a:cubicBezTo>
                <a:cubicBezTo>
                  <a:pt x="4787652" y="2415263"/>
                  <a:pt x="4790447" y="2408208"/>
                  <a:pt x="4796038" y="2402482"/>
                </a:cubicBezTo>
                <a:cubicBezTo>
                  <a:pt x="4801630" y="2396625"/>
                  <a:pt x="4808818" y="2393830"/>
                  <a:pt x="4817870" y="2393830"/>
                </a:cubicBezTo>
                <a:close/>
                <a:moveTo>
                  <a:pt x="4600226" y="2393830"/>
                </a:moveTo>
                <a:cubicBezTo>
                  <a:pt x="4604485" y="2393830"/>
                  <a:pt x="4608479" y="2394630"/>
                  <a:pt x="4612073" y="2396493"/>
                </a:cubicBezTo>
                <a:cubicBezTo>
                  <a:pt x="4615800" y="2398090"/>
                  <a:pt x="4618862" y="2400220"/>
                  <a:pt x="4621391" y="2402882"/>
                </a:cubicBezTo>
                <a:cubicBezTo>
                  <a:pt x="4623920" y="2405412"/>
                  <a:pt x="4626050" y="2408607"/>
                  <a:pt x="4627514" y="2412201"/>
                </a:cubicBezTo>
                <a:cubicBezTo>
                  <a:pt x="4628978" y="2415795"/>
                  <a:pt x="4629777" y="2419522"/>
                  <a:pt x="4629777" y="2423650"/>
                </a:cubicBezTo>
                <a:cubicBezTo>
                  <a:pt x="4629777" y="2427776"/>
                  <a:pt x="4628978" y="2431769"/>
                  <a:pt x="4627514" y="2435363"/>
                </a:cubicBezTo>
                <a:cubicBezTo>
                  <a:pt x="4626050" y="2438958"/>
                  <a:pt x="4623920" y="2442019"/>
                  <a:pt x="4621391" y="2444681"/>
                </a:cubicBezTo>
                <a:cubicBezTo>
                  <a:pt x="4618729" y="2447344"/>
                  <a:pt x="4615667" y="2449474"/>
                  <a:pt x="4612073" y="2450938"/>
                </a:cubicBezTo>
                <a:cubicBezTo>
                  <a:pt x="4608346" y="2452402"/>
                  <a:pt x="4604485" y="2453201"/>
                  <a:pt x="4600226" y="2453201"/>
                </a:cubicBezTo>
                <a:cubicBezTo>
                  <a:pt x="4591173" y="2453201"/>
                  <a:pt x="4583985" y="2450273"/>
                  <a:pt x="4578393" y="2444681"/>
                </a:cubicBezTo>
                <a:cubicBezTo>
                  <a:pt x="4572803" y="2439090"/>
                  <a:pt x="4570007" y="2432035"/>
                  <a:pt x="4570007" y="2423515"/>
                </a:cubicBezTo>
                <a:cubicBezTo>
                  <a:pt x="4570007" y="2415263"/>
                  <a:pt x="4572803" y="2408208"/>
                  <a:pt x="4578393" y="2402482"/>
                </a:cubicBezTo>
                <a:cubicBezTo>
                  <a:pt x="4583985" y="2396625"/>
                  <a:pt x="4591173" y="2393830"/>
                  <a:pt x="4600226" y="2393830"/>
                </a:cubicBezTo>
                <a:close/>
                <a:moveTo>
                  <a:pt x="4382713" y="2393830"/>
                </a:moveTo>
                <a:cubicBezTo>
                  <a:pt x="4386840" y="2393830"/>
                  <a:pt x="4390834" y="2394630"/>
                  <a:pt x="4394428" y="2396493"/>
                </a:cubicBezTo>
                <a:cubicBezTo>
                  <a:pt x="4398155" y="2398090"/>
                  <a:pt x="4401217" y="2400220"/>
                  <a:pt x="4403746" y="2402882"/>
                </a:cubicBezTo>
                <a:cubicBezTo>
                  <a:pt x="4406275" y="2405412"/>
                  <a:pt x="4408405" y="2408607"/>
                  <a:pt x="4409869" y="2412201"/>
                </a:cubicBezTo>
                <a:cubicBezTo>
                  <a:pt x="4411334" y="2415795"/>
                  <a:pt x="4412132" y="2419522"/>
                  <a:pt x="4412132" y="2423650"/>
                </a:cubicBezTo>
                <a:cubicBezTo>
                  <a:pt x="4412132" y="2427776"/>
                  <a:pt x="4411334" y="2431769"/>
                  <a:pt x="4409869" y="2435363"/>
                </a:cubicBezTo>
                <a:cubicBezTo>
                  <a:pt x="4408405" y="2438958"/>
                  <a:pt x="4406275" y="2442019"/>
                  <a:pt x="4403746" y="2444681"/>
                </a:cubicBezTo>
                <a:cubicBezTo>
                  <a:pt x="4401083" y="2447344"/>
                  <a:pt x="4398022" y="2449474"/>
                  <a:pt x="4394428" y="2450938"/>
                </a:cubicBezTo>
                <a:cubicBezTo>
                  <a:pt x="4390834" y="2452402"/>
                  <a:pt x="4386973" y="2453201"/>
                  <a:pt x="4382713" y="2453201"/>
                </a:cubicBezTo>
                <a:cubicBezTo>
                  <a:pt x="4373661" y="2453201"/>
                  <a:pt x="4366473" y="2450273"/>
                  <a:pt x="4360881" y="2444681"/>
                </a:cubicBezTo>
                <a:cubicBezTo>
                  <a:pt x="4355290" y="2439090"/>
                  <a:pt x="4352495" y="2432035"/>
                  <a:pt x="4352495" y="2423515"/>
                </a:cubicBezTo>
                <a:cubicBezTo>
                  <a:pt x="4352495" y="2415263"/>
                  <a:pt x="4355290" y="2408208"/>
                  <a:pt x="4360881" y="2402482"/>
                </a:cubicBezTo>
                <a:cubicBezTo>
                  <a:pt x="4366473" y="2396625"/>
                  <a:pt x="4373661" y="2393830"/>
                  <a:pt x="4382713" y="2393830"/>
                </a:cubicBezTo>
                <a:close/>
                <a:moveTo>
                  <a:pt x="4165068" y="2393830"/>
                </a:moveTo>
                <a:cubicBezTo>
                  <a:pt x="4169327" y="2393830"/>
                  <a:pt x="4173188" y="2394630"/>
                  <a:pt x="4176782" y="2396493"/>
                </a:cubicBezTo>
                <a:cubicBezTo>
                  <a:pt x="4180509" y="2398090"/>
                  <a:pt x="4183571" y="2400220"/>
                  <a:pt x="4186100" y="2402882"/>
                </a:cubicBezTo>
                <a:cubicBezTo>
                  <a:pt x="4188629" y="2405412"/>
                  <a:pt x="4190759" y="2408607"/>
                  <a:pt x="4192223" y="2412201"/>
                </a:cubicBezTo>
                <a:cubicBezTo>
                  <a:pt x="4193688" y="2415795"/>
                  <a:pt x="4194486" y="2419522"/>
                  <a:pt x="4194486" y="2423650"/>
                </a:cubicBezTo>
                <a:cubicBezTo>
                  <a:pt x="4194486" y="2427776"/>
                  <a:pt x="4193688" y="2431769"/>
                  <a:pt x="4192223" y="2435363"/>
                </a:cubicBezTo>
                <a:cubicBezTo>
                  <a:pt x="4190759" y="2438958"/>
                  <a:pt x="4188629" y="2442019"/>
                  <a:pt x="4186100" y="2444681"/>
                </a:cubicBezTo>
                <a:cubicBezTo>
                  <a:pt x="4183438" y="2447344"/>
                  <a:pt x="4180376" y="2449474"/>
                  <a:pt x="4176782" y="2450938"/>
                </a:cubicBezTo>
                <a:cubicBezTo>
                  <a:pt x="4173188" y="2452402"/>
                  <a:pt x="4169327" y="2453201"/>
                  <a:pt x="4165068" y="2453201"/>
                </a:cubicBezTo>
                <a:cubicBezTo>
                  <a:pt x="4156015" y="2453201"/>
                  <a:pt x="4148827" y="2450273"/>
                  <a:pt x="4143235" y="2444681"/>
                </a:cubicBezTo>
                <a:cubicBezTo>
                  <a:pt x="4137645" y="2439090"/>
                  <a:pt x="4134849" y="2432035"/>
                  <a:pt x="4134849" y="2423515"/>
                </a:cubicBezTo>
                <a:cubicBezTo>
                  <a:pt x="4134849" y="2415263"/>
                  <a:pt x="4137645" y="2408208"/>
                  <a:pt x="4143235" y="2402482"/>
                </a:cubicBezTo>
                <a:cubicBezTo>
                  <a:pt x="4148827" y="2396625"/>
                  <a:pt x="4156015" y="2393830"/>
                  <a:pt x="4165068" y="2393830"/>
                </a:cubicBezTo>
                <a:close/>
                <a:moveTo>
                  <a:pt x="3947558" y="2393830"/>
                </a:moveTo>
                <a:cubicBezTo>
                  <a:pt x="3951819" y="2393830"/>
                  <a:pt x="3955679" y="2394630"/>
                  <a:pt x="3959274" y="2396493"/>
                </a:cubicBezTo>
                <a:cubicBezTo>
                  <a:pt x="3963002" y="2398090"/>
                  <a:pt x="3966063" y="2400220"/>
                  <a:pt x="3968592" y="2402882"/>
                </a:cubicBezTo>
                <a:cubicBezTo>
                  <a:pt x="3971122" y="2405412"/>
                  <a:pt x="3973252" y="2408607"/>
                  <a:pt x="3974716" y="2412201"/>
                </a:cubicBezTo>
                <a:cubicBezTo>
                  <a:pt x="3976180" y="2415795"/>
                  <a:pt x="3976979" y="2419522"/>
                  <a:pt x="3976979" y="2423650"/>
                </a:cubicBezTo>
                <a:cubicBezTo>
                  <a:pt x="3976979" y="2427776"/>
                  <a:pt x="3976180" y="2431769"/>
                  <a:pt x="3974716" y="2435363"/>
                </a:cubicBezTo>
                <a:cubicBezTo>
                  <a:pt x="3973252" y="2438958"/>
                  <a:pt x="3971122" y="2442019"/>
                  <a:pt x="3968592" y="2444681"/>
                </a:cubicBezTo>
                <a:cubicBezTo>
                  <a:pt x="3965930" y="2447344"/>
                  <a:pt x="3962869" y="2449474"/>
                  <a:pt x="3959274" y="2450938"/>
                </a:cubicBezTo>
                <a:cubicBezTo>
                  <a:pt x="3955679" y="2452402"/>
                  <a:pt x="3951819" y="2453201"/>
                  <a:pt x="3947558" y="2453201"/>
                </a:cubicBezTo>
                <a:cubicBezTo>
                  <a:pt x="3938506" y="2453201"/>
                  <a:pt x="3931318" y="2450273"/>
                  <a:pt x="3925726" y="2444681"/>
                </a:cubicBezTo>
                <a:cubicBezTo>
                  <a:pt x="3920135" y="2439090"/>
                  <a:pt x="3917340" y="2432035"/>
                  <a:pt x="3917340" y="2423515"/>
                </a:cubicBezTo>
                <a:cubicBezTo>
                  <a:pt x="3917340" y="2415263"/>
                  <a:pt x="3920135" y="2408208"/>
                  <a:pt x="3925726" y="2402482"/>
                </a:cubicBezTo>
                <a:cubicBezTo>
                  <a:pt x="3931318" y="2396625"/>
                  <a:pt x="3938506" y="2393830"/>
                  <a:pt x="3947558" y="2393830"/>
                </a:cubicBezTo>
                <a:close/>
                <a:moveTo>
                  <a:pt x="3729907" y="2393830"/>
                </a:moveTo>
                <a:cubicBezTo>
                  <a:pt x="3734167" y="2393830"/>
                  <a:pt x="3738160" y="2394630"/>
                  <a:pt x="3741622" y="2396493"/>
                </a:cubicBezTo>
                <a:cubicBezTo>
                  <a:pt x="3745216" y="2398090"/>
                  <a:pt x="3748411" y="2400220"/>
                  <a:pt x="3750940" y="2402882"/>
                </a:cubicBezTo>
                <a:cubicBezTo>
                  <a:pt x="3753469" y="2405412"/>
                  <a:pt x="3755599" y="2408607"/>
                  <a:pt x="3757063" y="2412201"/>
                </a:cubicBezTo>
                <a:cubicBezTo>
                  <a:pt x="3758527" y="2415795"/>
                  <a:pt x="3759326" y="2419522"/>
                  <a:pt x="3759326" y="2423650"/>
                </a:cubicBezTo>
                <a:cubicBezTo>
                  <a:pt x="3759326" y="2427776"/>
                  <a:pt x="3758527" y="2431769"/>
                  <a:pt x="3757063" y="2435363"/>
                </a:cubicBezTo>
                <a:cubicBezTo>
                  <a:pt x="3755599" y="2438958"/>
                  <a:pt x="3753469" y="2442019"/>
                  <a:pt x="3750940" y="2444681"/>
                </a:cubicBezTo>
                <a:cubicBezTo>
                  <a:pt x="3748277" y="2447344"/>
                  <a:pt x="3745216" y="2449474"/>
                  <a:pt x="3741622" y="2450938"/>
                </a:cubicBezTo>
                <a:cubicBezTo>
                  <a:pt x="3738028" y="2452402"/>
                  <a:pt x="3734167" y="2453201"/>
                  <a:pt x="3729907" y="2453201"/>
                </a:cubicBezTo>
                <a:cubicBezTo>
                  <a:pt x="3720854" y="2453201"/>
                  <a:pt x="3713665" y="2450273"/>
                  <a:pt x="3708072" y="2444681"/>
                </a:cubicBezTo>
                <a:cubicBezTo>
                  <a:pt x="3702479" y="2439090"/>
                  <a:pt x="3699685" y="2432035"/>
                  <a:pt x="3699685" y="2423515"/>
                </a:cubicBezTo>
                <a:cubicBezTo>
                  <a:pt x="3699685" y="2415263"/>
                  <a:pt x="3702479" y="2408208"/>
                  <a:pt x="3708072" y="2402482"/>
                </a:cubicBezTo>
                <a:cubicBezTo>
                  <a:pt x="3713665" y="2396625"/>
                  <a:pt x="3720854" y="2393830"/>
                  <a:pt x="3729907" y="2393830"/>
                </a:cubicBezTo>
                <a:close/>
                <a:moveTo>
                  <a:pt x="3512254" y="2393830"/>
                </a:moveTo>
                <a:cubicBezTo>
                  <a:pt x="3516515" y="2393830"/>
                  <a:pt x="3520508" y="2394630"/>
                  <a:pt x="3523970" y="2396493"/>
                </a:cubicBezTo>
                <a:cubicBezTo>
                  <a:pt x="3527564" y="2398090"/>
                  <a:pt x="3530759" y="2400220"/>
                  <a:pt x="3533288" y="2402882"/>
                </a:cubicBezTo>
                <a:cubicBezTo>
                  <a:pt x="3535817" y="2405412"/>
                  <a:pt x="3537947" y="2408607"/>
                  <a:pt x="3539411" y="2412201"/>
                </a:cubicBezTo>
                <a:cubicBezTo>
                  <a:pt x="3540875" y="2415795"/>
                  <a:pt x="3541674" y="2419522"/>
                  <a:pt x="3541674" y="2423650"/>
                </a:cubicBezTo>
                <a:cubicBezTo>
                  <a:pt x="3541674" y="2427776"/>
                  <a:pt x="3540875" y="2431769"/>
                  <a:pt x="3539411" y="2435363"/>
                </a:cubicBezTo>
                <a:cubicBezTo>
                  <a:pt x="3537947" y="2438958"/>
                  <a:pt x="3535817" y="2442019"/>
                  <a:pt x="3533288" y="2444681"/>
                </a:cubicBezTo>
                <a:cubicBezTo>
                  <a:pt x="3530625" y="2447344"/>
                  <a:pt x="3527564" y="2449474"/>
                  <a:pt x="3523970" y="2450938"/>
                </a:cubicBezTo>
                <a:cubicBezTo>
                  <a:pt x="3520376" y="2452402"/>
                  <a:pt x="3516515" y="2453201"/>
                  <a:pt x="3512254" y="2453201"/>
                </a:cubicBezTo>
                <a:cubicBezTo>
                  <a:pt x="3503201" y="2453201"/>
                  <a:pt x="3496012" y="2450273"/>
                  <a:pt x="3490421" y="2444681"/>
                </a:cubicBezTo>
                <a:cubicBezTo>
                  <a:pt x="3484830" y="2439090"/>
                  <a:pt x="3482034" y="2432035"/>
                  <a:pt x="3482034" y="2423515"/>
                </a:cubicBezTo>
                <a:cubicBezTo>
                  <a:pt x="3482034" y="2415263"/>
                  <a:pt x="3484830" y="2408208"/>
                  <a:pt x="3490421" y="2402482"/>
                </a:cubicBezTo>
                <a:cubicBezTo>
                  <a:pt x="3496012" y="2396625"/>
                  <a:pt x="3503201" y="2393830"/>
                  <a:pt x="3512254" y="2393830"/>
                </a:cubicBezTo>
                <a:close/>
                <a:moveTo>
                  <a:pt x="3294736" y="2393830"/>
                </a:moveTo>
                <a:cubicBezTo>
                  <a:pt x="3298863" y="2393830"/>
                  <a:pt x="3302857" y="2394630"/>
                  <a:pt x="3306451" y="2396493"/>
                </a:cubicBezTo>
                <a:cubicBezTo>
                  <a:pt x="3310178" y="2398090"/>
                  <a:pt x="3313240" y="2400220"/>
                  <a:pt x="3315769" y="2402882"/>
                </a:cubicBezTo>
                <a:cubicBezTo>
                  <a:pt x="3318298" y="2405412"/>
                  <a:pt x="3320428" y="2408607"/>
                  <a:pt x="3321892" y="2412201"/>
                </a:cubicBezTo>
                <a:cubicBezTo>
                  <a:pt x="3323356" y="2415795"/>
                  <a:pt x="3324155" y="2419522"/>
                  <a:pt x="3324155" y="2423650"/>
                </a:cubicBezTo>
                <a:cubicBezTo>
                  <a:pt x="3324155" y="2427776"/>
                  <a:pt x="3323356" y="2431769"/>
                  <a:pt x="3321892" y="2435363"/>
                </a:cubicBezTo>
                <a:cubicBezTo>
                  <a:pt x="3320428" y="2438958"/>
                  <a:pt x="3318298" y="2442019"/>
                  <a:pt x="3315769" y="2444681"/>
                </a:cubicBezTo>
                <a:cubicBezTo>
                  <a:pt x="3313106" y="2447344"/>
                  <a:pt x="3310045" y="2449474"/>
                  <a:pt x="3306451" y="2450938"/>
                </a:cubicBezTo>
                <a:cubicBezTo>
                  <a:pt x="3302857" y="2452402"/>
                  <a:pt x="3298996" y="2453201"/>
                  <a:pt x="3294736" y="2453201"/>
                </a:cubicBezTo>
                <a:cubicBezTo>
                  <a:pt x="3285683" y="2453201"/>
                  <a:pt x="3278494" y="2450273"/>
                  <a:pt x="3272901" y="2444681"/>
                </a:cubicBezTo>
                <a:cubicBezTo>
                  <a:pt x="3267309" y="2439090"/>
                  <a:pt x="3264514" y="2432035"/>
                  <a:pt x="3264514" y="2423515"/>
                </a:cubicBezTo>
                <a:cubicBezTo>
                  <a:pt x="3264514" y="2415263"/>
                  <a:pt x="3267309" y="2408208"/>
                  <a:pt x="3272901" y="2402482"/>
                </a:cubicBezTo>
                <a:cubicBezTo>
                  <a:pt x="3278494" y="2396625"/>
                  <a:pt x="3285683" y="2393830"/>
                  <a:pt x="3294736" y="2393830"/>
                </a:cubicBezTo>
                <a:close/>
                <a:moveTo>
                  <a:pt x="3077083" y="2393830"/>
                </a:moveTo>
                <a:cubicBezTo>
                  <a:pt x="3081211" y="2393830"/>
                  <a:pt x="3085205" y="2394630"/>
                  <a:pt x="3088799" y="2396493"/>
                </a:cubicBezTo>
                <a:cubicBezTo>
                  <a:pt x="3092393" y="2398090"/>
                  <a:pt x="3095588" y="2400220"/>
                  <a:pt x="3098117" y="2402882"/>
                </a:cubicBezTo>
                <a:cubicBezTo>
                  <a:pt x="3100646" y="2405412"/>
                  <a:pt x="3102776" y="2408607"/>
                  <a:pt x="3104240" y="2412201"/>
                </a:cubicBezTo>
                <a:cubicBezTo>
                  <a:pt x="3105705" y="2415795"/>
                  <a:pt x="3106503" y="2419522"/>
                  <a:pt x="3106503" y="2423650"/>
                </a:cubicBezTo>
                <a:cubicBezTo>
                  <a:pt x="3106503" y="2427776"/>
                  <a:pt x="3105705" y="2431769"/>
                  <a:pt x="3104240" y="2435363"/>
                </a:cubicBezTo>
                <a:cubicBezTo>
                  <a:pt x="3102776" y="2438958"/>
                  <a:pt x="3100646" y="2442019"/>
                  <a:pt x="3098117" y="2444681"/>
                </a:cubicBezTo>
                <a:cubicBezTo>
                  <a:pt x="3095454" y="2447344"/>
                  <a:pt x="3092393" y="2449474"/>
                  <a:pt x="3088799" y="2450938"/>
                </a:cubicBezTo>
                <a:cubicBezTo>
                  <a:pt x="3085205" y="2452402"/>
                  <a:pt x="3081344" y="2453201"/>
                  <a:pt x="3077083" y="2453201"/>
                </a:cubicBezTo>
                <a:cubicBezTo>
                  <a:pt x="3068164" y="2453201"/>
                  <a:pt x="3060842" y="2450273"/>
                  <a:pt x="3055249" y="2444681"/>
                </a:cubicBezTo>
                <a:cubicBezTo>
                  <a:pt x="3049658" y="2439090"/>
                  <a:pt x="3046863" y="2432035"/>
                  <a:pt x="3046863" y="2423515"/>
                </a:cubicBezTo>
                <a:cubicBezTo>
                  <a:pt x="3046863" y="2415263"/>
                  <a:pt x="3049658" y="2408208"/>
                  <a:pt x="3055249" y="2402482"/>
                </a:cubicBezTo>
                <a:cubicBezTo>
                  <a:pt x="3060842" y="2396625"/>
                  <a:pt x="3068031" y="2393830"/>
                  <a:pt x="3077083" y="2393830"/>
                </a:cubicBezTo>
                <a:close/>
                <a:moveTo>
                  <a:pt x="2859432" y="2393830"/>
                </a:moveTo>
                <a:cubicBezTo>
                  <a:pt x="2863692" y="2393830"/>
                  <a:pt x="2867553" y="2394630"/>
                  <a:pt x="2871280" y="2396493"/>
                </a:cubicBezTo>
                <a:cubicBezTo>
                  <a:pt x="2875007" y="2398090"/>
                  <a:pt x="2878069" y="2400220"/>
                  <a:pt x="2880598" y="2402882"/>
                </a:cubicBezTo>
                <a:cubicBezTo>
                  <a:pt x="2883260" y="2405412"/>
                  <a:pt x="2885257" y="2408607"/>
                  <a:pt x="2886721" y="2412201"/>
                </a:cubicBezTo>
                <a:cubicBezTo>
                  <a:pt x="2888186" y="2415795"/>
                  <a:pt x="2888984" y="2419522"/>
                  <a:pt x="2888984" y="2423650"/>
                </a:cubicBezTo>
                <a:cubicBezTo>
                  <a:pt x="2888984" y="2427776"/>
                  <a:pt x="2888186" y="2431769"/>
                  <a:pt x="2886721" y="2435363"/>
                </a:cubicBezTo>
                <a:cubicBezTo>
                  <a:pt x="2885257" y="2438958"/>
                  <a:pt x="2883127" y="2442019"/>
                  <a:pt x="2880598" y="2444681"/>
                </a:cubicBezTo>
                <a:cubicBezTo>
                  <a:pt x="2877936" y="2447344"/>
                  <a:pt x="2874873" y="2449474"/>
                  <a:pt x="2871280" y="2450938"/>
                </a:cubicBezTo>
                <a:cubicBezTo>
                  <a:pt x="2867553" y="2452402"/>
                  <a:pt x="2863692" y="2453201"/>
                  <a:pt x="2859432" y="2453201"/>
                </a:cubicBezTo>
                <a:cubicBezTo>
                  <a:pt x="2850514" y="2453201"/>
                  <a:pt x="2843188" y="2450273"/>
                  <a:pt x="2837598" y="2444681"/>
                </a:cubicBezTo>
                <a:cubicBezTo>
                  <a:pt x="2832007" y="2439090"/>
                  <a:pt x="2829211" y="2432035"/>
                  <a:pt x="2829211" y="2423515"/>
                </a:cubicBezTo>
                <a:cubicBezTo>
                  <a:pt x="2829211" y="2415263"/>
                  <a:pt x="2832007" y="2408208"/>
                  <a:pt x="2837598" y="2402482"/>
                </a:cubicBezTo>
                <a:cubicBezTo>
                  <a:pt x="2843188" y="2396625"/>
                  <a:pt x="2850380" y="2393830"/>
                  <a:pt x="2859432" y="2393830"/>
                </a:cubicBezTo>
                <a:close/>
                <a:moveTo>
                  <a:pt x="2641779" y="2393830"/>
                </a:moveTo>
                <a:cubicBezTo>
                  <a:pt x="2646040" y="2393830"/>
                  <a:pt x="2649899" y="2394630"/>
                  <a:pt x="2653495" y="2396493"/>
                </a:cubicBezTo>
                <a:cubicBezTo>
                  <a:pt x="2657222" y="2398090"/>
                  <a:pt x="2660284" y="2400220"/>
                  <a:pt x="2662813" y="2402882"/>
                </a:cubicBezTo>
                <a:cubicBezTo>
                  <a:pt x="2665475" y="2405412"/>
                  <a:pt x="2667472" y="2408607"/>
                  <a:pt x="2668936" y="2412201"/>
                </a:cubicBezTo>
                <a:cubicBezTo>
                  <a:pt x="2670400" y="2415795"/>
                  <a:pt x="2671199" y="2419522"/>
                  <a:pt x="2671199" y="2423650"/>
                </a:cubicBezTo>
                <a:cubicBezTo>
                  <a:pt x="2671199" y="2427776"/>
                  <a:pt x="2670400" y="2431769"/>
                  <a:pt x="2668936" y="2435363"/>
                </a:cubicBezTo>
                <a:cubicBezTo>
                  <a:pt x="2667472" y="2438958"/>
                  <a:pt x="2665342" y="2442019"/>
                  <a:pt x="2662813" y="2444681"/>
                </a:cubicBezTo>
                <a:cubicBezTo>
                  <a:pt x="2660284" y="2447344"/>
                  <a:pt x="2657088" y="2449474"/>
                  <a:pt x="2653495" y="2450938"/>
                </a:cubicBezTo>
                <a:cubicBezTo>
                  <a:pt x="2649899" y="2452402"/>
                  <a:pt x="2646040" y="2453201"/>
                  <a:pt x="2641779" y="2453201"/>
                </a:cubicBezTo>
                <a:cubicBezTo>
                  <a:pt x="2632860" y="2453201"/>
                  <a:pt x="2625539" y="2450273"/>
                  <a:pt x="2619947" y="2444681"/>
                </a:cubicBezTo>
                <a:cubicBezTo>
                  <a:pt x="2614357" y="2439090"/>
                  <a:pt x="2611560" y="2432035"/>
                  <a:pt x="2611560" y="2423515"/>
                </a:cubicBezTo>
                <a:cubicBezTo>
                  <a:pt x="2611560" y="2415263"/>
                  <a:pt x="2614357" y="2408208"/>
                  <a:pt x="2619947" y="2402482"/>
                </a:cubicBezTo>
                <a:cubicBezTo>
                  <a:pt x="2625539" y="2396625"/>
                  <a:pt x="2632727" y="2393830"/>
                  <a:pt x="2641779" y="2393830"/>
                </a:cubicBezTo>
                <a:close/>
                <a:moveTo>
                  <a:pt x="2424127" y="2393830"/>
                </a:moveTo>
                <a:cubicBezTo>
                  <a:pt x="2428387" y="2393830"/>
                  <a:pt x="2432382" y="2394630"/>
                  <a:pt x="2435843" y="2396493"/>
                </a:cubicBezTo>
                <a:cubicBezTo>
                  <a:pt x="2439570" y="2398090"/>
                  <a:pt x="2442631" y="2400220"/>
                  <a:pt x="2445161" y="2402882"/>
                </a:cubicBezTo>
                <a:cubicBezTo>
                  <a:pt x="2447823" y="2405412"/>
                  <a:pt x="2449820" y="2408607"/>
                  <a:pt x="2451284" y="2412201"/>
                </a:cubicBezTo>
                <a:cubicBezTo>
                  <a:pt x="2452748" y="2415795"/>
                  <a:pt x="2453547" y="2419522"/>
                  <a:pt x="2453547" y="2423650"/>
                </a:cubicBezTo>
                <a:cubicBezTo>
                  <a:pt x="2453547" y="2427776"/>
                  <a:pt x="2452748" y="2431769"/>
                  <a:pt x="2451284" y="2435363"/>
                </a:cubicBezTo>
                <a:cubicBezTo>
                  <a:pt x="2449820" y="2438958"/>
                  <a:pt x="2447690" y="2442019"/>
                  <a:pt x="2445161" y="2444681"/>
                </a:cubicBezTo>
                <a:cubicBezTo>
                  <a:pt x="2442631" y="2447344"/>
                  <a:pt x="2439437" y="2449474"/>
                  <a:pt x="2435843" y="2450938"/>
                </a:cubicBezTo>
                <a:cubicBezTo>
                  <a:pt x="2432248" y="2452402"/>
                  <a:pt x="2428387" y="2453201"/>
                  <a:pt x="2424127" y="2453201"/>
                </a:cubicBezTo>
                <a:cubicBezTo>
                  <a:pt x="2415209" y="2453201"/>
                  <a:pt x="2407887" y="2450273"/>
                  <a:pt x="2402295" y="2444681"/>
                </a:cubicBezTo>
                <a:cubicBezTo>
                  <a:pt x="2396704" y="2439090"/>
                  <a:pt x="2393908" y="2432035"/>
                  <a:pt x="2393908" y="2423515"/>
                </a:cubicBezTo>
                <a:cubicBezTo>
                  <a:pt x="2393908" y="2415263"/>
                  <a:pt x="2396704" y="2408208"/>
                  <a:pt x="2402295" y="2402482"/>
                </a:cubicBezTo>
                <a:cubicBezTo>
                  <a:pt x="2407887" y="2396625"/>
                  <a:pt x="2415075" y="2393830"/>
                  <a:pt x="2424127" y="2393830"/>
                </a:cubicBezTo>
                <a:close/>
                <a:moveTo>
                  <a:pt x="2206475" y="2393830"/>
                </a:moveTo>
                <a:cubicBezTo>
                  <a:pt x="2210735" y="2393830"/>
                  <a:pt x="2214729" y="2394630"/>
                  <a:pt x="2218190" y="2396493"/>
                </a:cubicBezTo>
                <a:cubicBezTo>
                  <a:pt x="2221917" y="2398090"/>
                  <a:pt x="2224979" y="2400220"/>
                  <a:pt x="2227509" y="2402882"/>
                </a:cubicBezTo>
                <a:cubicBezTo>
                  <a:pt x="2230171" y="2405412"/>
                  <a:pt x="2232168" y="2408607"/>
                  <a:pt x="2233632" y="2412201"/>
                </a:cubicBezTo>
                <a:cubicBezTo>
                  <a:pt x="2235096" y="2415795"/>
                  <a:pt x="2235895" y="2419522"/>
                  <a:pt x="2235895" y="2423650"/>
                </a:cubicBezTo>
                <a:cubicBezTo>
                  <a:pt x="2235895" y="2427776"/>
                  <a:pt x="2235096" y="2431769"/>
                  <a:pt x="2233632" y="2435363"/>
                </a:cubicBezTo>
                <a:cubicBezTo>
                  <a:pt x="2232168" y="2438958"/>
                  <a:pt x="2230037" y="2442019"/>
                  <a:pt x="2227509" y="2444681"/>
                </a:cubicBezTo>
                <a:cubicBezTo>
                  <a:pt x="2224979" y="2447344"/>
                  <a:pt x="2221784" y="2449474"/>
                  <a:pt x="2218190" y="2450938"/>
                </a:cubicBezTo>
                <a:cubicBezTo>
                  <a:pt x="2214595" y="2452402"/>
                  <a:pt x="2210735" y="2453201"/>
                  <a:pt x="2206475" y="2453201"/>
                </a:cubicBezTo>
                <a:cubicBezTo>
                  <a:pt x="2197423" y="2453201"/>
                  <a:pt x="2190234" y="2450273"/>
                  <a:pt x="2184643" y="2444681"/>
                </a:cubicBezTo>
                <a:cubicBezTo>
                  <a:pt x="2179052" y="2439090"/>
                  <a:pt x="2176256" y="2432035"/>
                  <a:pt x="2176256" y="2423515"/>
                </a:cubicBezTo>
                <a:cubicBezTo>
                  <a:pt x="2176256" y="2415263"/>
                  <a:pt x="2179052" y="2408208"/>
                  <a:pt x="2184643" y="2402482"/>
                </a:cubicBezTo>
                <a:cubicBezTo>
                  <a:pt x="2190234" y="2396625"/>
                  <a:pt x="2197423" y="2393830"/>
                  <a:pt x="2206475" y="2393830"/>
                </a:cubicBezTo>
                <a:close/>
                <a:moveTo>
                  <a:pt x="1988956" y="2393830"/>
                </a:moveTo>
                <a:cubicBezTo>
                  <a:pt x="1993083" y="2393830"/>
                  <a:pt x="1997077" y="2394630"/>
                  <a:pt x="2000671" y="2396493"/>
                </a:cubicBezTo>
                <a:cubicBezTo>
                  <a:pt x="2004398" y="2398090"/>
                  <a:pt x="2007460" y="2400220"/>
                  <a:pt x="2009989" y="2402882"/>
                </a:cubicBezTo>
                <a:cubicBezTo>
                  <a:pt x="2012651" y="2405412"/>
                  <a:pt x="2014649" y="2408607"/>
                  <a:pt x="2016113" y="2412201"/>
                </a:cubicBezTo>
                <a:cubicBezTo>
                  <a:pt x="2017577" y="2415795"/>
                  <a:pt x="2018376" y="2419522"/>
                  <a:pt x="2018376" y="2423650"/>
                </a:cubicBezTo>
                <a:cubicBezTo>
                  <a:pt x="2018376" y="2427776"/>
                  <a:pt x="2017577" y="2431769"/>
                  <a:pt x="2016113" y="2435363"/>
                </a:cubicBezTo>
                <a:cubicBezTo>
                  <a:pt x="2014649" y="2438958"/>
                  <a:pt x="2012518" y="2442019"/>
                  <a:pt x="2009989" y="2444681"/>
                </a:cubicBezTo>
                <a:cubicBezTo>
                  <a:pt x="2007460" y="2447344"/>
                  <a:pt x="2004265" y="2449474"/>
                  <a:pt x="2000671" y="2450938"/>
                </a:cubicBezTo>
                <a:cubicBezTo>
                  <a:pt x="1997077" y="2452402"/>
                  <a:pt x="1993216" y="2453201"/>
                  <a:pt x="1988956" y="2453201"/>
                </a:cubicBezTo>
                <a:cubicBezTo>
                  <a:pt x="1979905" y="2453201"/>
                  <a:pt x="1972716" y="2450273"/>
                  <a:pt x="1967125" y="2444681"/>
                </a:cubicBezTo>
                <a:cubicBezTo>
                  <a:pt x="1961534" y="2439090"/>
                  <a:pt x="1958739" y="2432035"/>
                  <a:pt x="1958739" y="2423515"/>
                </a:cubicBezTo>
                <a:cubicBezTo>
                  <a:pt x="1958739" y="2415263"/>
                  <a:pt x="1961534" y="2408208"/>
                  <a:pt x="1967125" y="2402482"/>
                </a:cubicBezTo>
                <a:cubicBezTo>
                  <a:pt x="1972716" y="2396625"/>
                  <a:pt x="1979905" y="2393830"/>
                  <a:pt x="1988956" y="2393830"/>
                </a:cubicBezTo>
                <a:close/>
                <a:moveTo>
                  <a:pt x="1771316" y="2393830"/>
                </a:moveTo>
                <a:cubicBezTo>
                  <a:pt x="1775575" y="2393830"/>
                  <a:pt x="1779436" y="2394630"/>
                  <a:pt x="1783031" y="2396493"/>
                </a:cubicBezTo>
                <a:cubicBezTo>
                  <a:pt x="1786758" y="2398090"/>
                  <a:pt x="1789819" y="2400220"/>
                  <a:pt x="1792348" y="2402882"/>
                </a:cubicBezTo>
                <a:cubicBezTo>
                  <a:pt x="1795011" y="2405412"/>
                  <a:pt x="1797008" y="2408607"/>
                  <a:pt x="1798472" y="2412201"/>
                </a:cubicBezTo>
                <a:cubicBezTo>
                  <a:pt x="1799936" y="2415795"/>
                  <a:pt x="1800734" y="2419522"/>
                  <a:pt x="1800734" y="2423650"/>
                </a:cubicBezTo>
                <a:cubicBezTo>
                  <a:pt x="1800734" y="2427776"/>
                  <a:pt x="1799936" y="2431769"/>
                  <a:pt x="1798472" y="2435363"/>
                </a:cubicBezTo>
                <a:cubicBezTo>
                  <a:pt x="1797008" y="2438958"/>
                  <a:pt x="1794878" y="2442019"/>
                  <a:pt x="1792348" y="2444681"/>
                </a:cubicBezTo>
                <a:cubicBezTo>
                  <a:pt x="1789685" y="2447344"/>
                  <a:pt x="1786625" y="2449474"/>
                  <a:pt x="1783031" y="2450938"/>
                </a:cubicBezTo>
                <a:cubicBezTo>
                  <a:pt x="1779436" y="2452402"/>
                  <a:pt x="1775575" y="2453201"/>
                  <a:pt x="1771316" y="2453201"/>
                </a:cubicBezTo>
                <a:cubicBezTo>
                  <a:pt x="1762397" y="2453201"/>
                  <a:pt x="1755076" y="2450273"/>
                  <a:pt x="1749486" y="2444681"/>
                </a:cubicBezTo>
                <a:cubicBezTo>
                  <a:pt x="1743894" y="2439090"/>
                  <a:pt x="1741101" y="2432035"/>
                  <a:pt x="1741101" y="2423515"/>
                </a:cubicBezTo>
                <a:cubicBezTo>
                  <a:pt x="1741101" y="2415263"/>
                  <a:pt x="1743894" y="2408208"/>
                  <a:pt x="1749486" y="2402482"/>
                </a:cubicBezTo>
                <a:cubicBezTo>
                  <a:pt x="1755076" y="2396625"/>
                  <a:pt x="1762264" y="2393830"/>
                  <a:pt x="1771316" y="2393830"/>
                </a:cubicBezTo>
                <a:close/>
                <a:moveTo>
                  <a:pt x="1553674" y="2393830"/>
                </a:moveTo>
                <a:cubicBezTo>
                  <a:pt x="1557934" y="2393830"/>
                  <a:pt x="1561795" y="2394630"/>
                  <a:pt x="1565389" y="2396493"/>
                </a:cubicBezTo>
                <a:cubicBezTo>
                  <a:pt x="1568984" y="2398090"/>
                  <a:pt x="1572178" y="2400220"/>
                  <a:pt x="1574707" y="2402882"/>
                </a:cubicBezTo>
                <a:cubicBezTo>
                  <a:pt x="1577369" y="2405412"/>
                  <a:pt x="1579366" y="2408607"/>
                  <a:pt x="1580831" y="2412201"/>
                </a:cubicBezTo>
                <a:cubicBezTo>
                  <a:pt x="1582295" y="2415795"/>
                  <a:pt x="1583094" y="2419522"/>
                  <a:pt x="1583094" y="2423650"/>
                </a:cubicBezTo>
                <a:cubicBezTo>
                  <a:pt x="1583094" y="2427776"/>
                  <a:pt x="1582295" y="2431769"/>
                  <a:pt x="1580831" y="2435363"/>
                </a:cubicBezTo>
                <a:cubicBezTo>
                  <a:pt x="1579366" y="2438958"/>
                  <a:pt x="1577236" y="2442019"/>
                  <a:pt x="1574707" y="2444681"/>
                </a:cubicBezTo>
                <a:cubicBezTo>
                  <a:pt x="1572045" y="2447344"/>
                  <a:pt x="1568984" y="2449474"/>
                  <a:pt x="1565389" y="2450938"/>
                </a:cubicBezTo>
                <a:cubicBezTo>
                  <a:pt x="1561795" y="2452402"/>
                  <a:pt x="1557934" y="2453201"/>
                  <a:pt x="1553674" y="2453201"/>
                </a:cubicBezTo>
                <a:cubicBezTo>
                  <a:pt x="1544756" y="2453201"/>
                  <a:pt x="1537434" y="2450273"/>
                  <a:pt x="1531843" y="2444681"/>
                </a:cubicBezTo>
                <a:cubicBezTo>
                  <a:pt x="1526254" y="2439090"/>
                  <a:pt x="1523457" y="2432035"/>
                  <a:pt x="1523457" y="2423515"/>
                </a:cubicBezTo>
                <a:cubicBezTo>
                  <a:pt x="1523457" y="2415263"/>
                  <a:pt x="1526254" y="2408208"/>
                  <a:pt x="1531843" y="2402482"/>
                </a:cubicBezTo>
                <a:cubicBezTo>
                  <a:pt x="1537434" y="2396625"/>
                  <a:pt x="1544622" y="2393830"/>
                  <a:pt x="1553674" y="2393830"/>
                </a:cubicBezTo>
                <a:close/>
                <a:moveTo>
                  <a:pt x="1336029" y="2393830"/>
                </a:moveTo>
                <a:cubicBezTo>
                  <a:pt x="1340290" y="2393830"/>
                  <a:pt x="1344285" y="2394630"/>
                  <a:pt x="1347746" y="2396493"/>
                </a:cubicBezTo>
                <a:cubicBezTo>
                  <a:pt x="1351339" y="2398090"/>
                  <a:pt x="1354533" y="2400220"/>
                  <a:pt x="1357064" y="2402882"/>
                </a:cubicBezTo>
                <a:cubicBezTo>
                  <a:pt x="1359726" y="2405412"/>
                  <a:pt x="1361722" y="2408607"/>
                  <a:pt x="1363186" y="2412201"/>
                </a:cubicBezTo>
                <a:cubicBezTo>
                  <a:pt x="1364651" y="2415795"/>
                  <a:pt x="1365449" y="2419522"/>
                  <a:pt x="1365449" y="2423650"/>
                </a:cubicBezTo>
                <a:cubicBezTo>
                  <a:pt x="1365449" y="2427776"/>
                  <a:pt x="1364651" y="2431769"/>
                  <a:pt x="1363186" y="2435363"/>
                </a:cubicBezTo>
                <a:cubicBezTo>
                  <a:pt x="1361722" y="2438958"/>
                  <a:pt x="1359592" y="2442019"/>
                  <a:pt x="1357064" y="2444681"/>
                </a:cubicBezTo>
                <a:cubicBezTo>
                  <a:pt x="1354400" y="2447344"/>
                  <a:pt x="1351339" y="2449474"/>
                  <a:pt x="1347746" y="2450938"/>
                </a:cubicBezTo>
                <a:cubicBezTo>
                  <a:pt x="1344151" y="2452402"/>
                  <a:pt x="1340290" y="2453201"/>
                  <a:pt x="1336029" y="2453201"/>
                </a:cubicBezTo>
                <a:cubicBezTo>
                  <a:pt x="1327110" y="2453201"/>
                  <a:pt x="1319789" y="2450273"/>
                  <a:pt x="1314198" y="2444681"/>
                </a:cubicBezTo>
                <a:cubicBezTo>
                  <a:pt x="1308607" y="2439090"/>
                  <a:pt x="1305812" y="2432035"/>
                  <a:pt x="1305812" y="2423515"/>
                </a:cubicBezTo>
                <a:cubicBezTo>
                  <a:pt x="1305812" y="2415263"/>
                  <a:pt x="1308607" y="2408208"/>
                  <a:pt x="1314198" y="2402482"/>
                </a:cubicBezTo>
                <a:cubicBezTo>
                  <a:pt x="1319789" y="2396625"/>
                  <a:pt x="1326978" y="2393830"/>
                  <a:pt x="1336029" y="2393830"/>
                </a:cubicBezTo>
                <a:close/>
                <a:moveTo>
                  <a:pt x="1118385" y="2393830"/>
                </a:moveTo>
                <a:cubicBezTo>
                  <a:pt x="1122645" y="2393830"/>
                  <a:pt x="1126641" y="2394630"/>
                  <a:pt x="1130102" y="2396493"/>
                </a:cubicBezTo>
                <a:cubicBezTo>
                  <a:pt x="1133828" y="2398090"/>
                  <a:pt x="1136890" y="2400220"/>
                  <a:pt x="1139419" y="2402882"/>
                </a:cubicBezTo>
                <a:cubicBezTo>
                  <a:pt x="1142080" y="2405412"/>
                  <a:pt x="1144076" y="2408607"/>
                  <a:pt x="1145540" y="2412201"/>
                </a:cubicBezTo>
                <a:cubicBezTo>
                  <a:pt x="1147004" y="2415795"/>
                  <a:pt x="1147803" y="2419522"/>
                  <a:pt x="1147803" y="2423650"/>
                </a:cubicBezTo>
                <a:cubicBezTo>
                  <a:pt x="1147803" y="2427776"/>
                  <a:pt x="1147004" y="2431769"/>
                  <a:pt x="1145540" y="2435363"/>
                </a:cubicBezTo>
                <a:cubicBezTo>
                  <a:pt x="1144076" y="2438958"/>
                  <a:pt x="1141947" y="2442019"/>
                  <a:pt x="1139419" y="2444681"/>
                </a:cubicBezTo>
                <a:cubicBezTo>
                  <a:pt x="1136890" y="2447344"/>
                  <a:pt x="1133695" y="2449474"/>
                  <a:pt x="1130102" y="2450938"/>
                </a:cubicBezTo>
                <a:cubicBezTo>
                  <a:pt x="1126506" y="2452402"/>
                  <a:pt x="1122645" y="2453201"/>
                  <a:pt x="1118385" y="2453201"/>
                </a:cubicBezTo>
                <a:cubicBezTo>
                  <a:pt x="1109466" y="2453201"/>
                  <a:pt x="1102143" y="2450273"/>
                  <a:pt x="1096552" y="2444681"/>
                </a:cubicBezTo>
                <a:cubicBezTo>
                  <a:pt x="1090961" y="2439090"/>
                  <a:pt x="1088167" y="2432035"/>
                  <a:pt x="1088167" y="2423515"/>
                </a:cubicBezTo>
                <a:cubicBezTo>
                  <a:pt x="1088167" y="2415263"/>
                  <a:pt x="1090961" y="2408208"/>
                  <a:pt x="1096552" y="2402482"/>
                </a:cubicBezTo>
                <a:cubicBezTo>
                  <a:pt x="1102143" y="2396625"/>
                  <a:pt x="1109332" y="2393830"/>
                  <a:pt x="1118385" y="2393830"/>
                </a:cubicBezTo>
                <a:close/>
                <a:moveTo>
                  <a:pt x="900873" y="2393830"/>
                </a:moveTo>
                <a:cubicBezTo>
                  <a:pt x="904999" y="2393830"/>
                  <a:pt x="908994" y="2394630"/>
                  <a:pt x="912588" y="2396493"/>
                </a:cubicBezTo>
                <a:cubicBezTo>
                  <a:pt x="916315" y="2398090"/>
                  <a:pt x="919377" y="2400220"/>
                  <a:pt x="921906" y="2402882"/>
                </a:cubicBezTo>
                <a:cubicBezTo>
                  <a:pt x="924568" y="2405412"/>
                  <a:pt x="926565" y="2408607"/>
                  <a:pt x="928028" y="2412201"/>
                </a:cubicBezTo>
                <a:cubicBezTo>
                  <a:pt x="929493" y="2415795"/>
                  <a:pt x="930292" y="2419522"/>
                  <a:pt x="930292" y="2423650"/>
                </a:cubicBezTo>
                <a:cubicBezTo>
                  <a:pt x="930292" y="2427776"/>
                  <a:pt x="929493" y="2431769"/>
                  <a:pt x="928028" y="2435363"/>
                </a:cubicBezTo>
                <a:cubicBezTo>
                  <a:pt x="926565" y="2438958"/>
                  <a:pt x="924435" y="2442019"/>
                  <a:pt x="921906" y="2444681"/>
                </a:cubicBezTo>
                <a:cubicBezTo>
                  <a:pt x="919377" y="2447344"/>
                  <a:pt x="916182" y="2449474"/>
                  <a:pt x="912588" y="2450938"/>
                </a:cubicBezTo>
                <a:cubicBezTo>
                  <a:pt x="908994" y="2452402"/>
                  <a:pt x="905132" y="2453201"/>
                  <a:pt x="900873" y="2453201"/>
                </a:cubicBezTo>
                <a:cubicBezTo>
                  <a:pt x="891954" y="2453201"/>
                  <a:pt x="884632" y="2450273"/>
                  <a:pt x="879042" y="2444681"/>
                </a:cubicBezTo>
                <a:cubicBezTo>
                  <a:pt x="873452" y="2439090"/>
                  <a:pt x="870656" y="2432035"/>
                  <a:pt x="870656" y="2423515"/>
                </a:cubicBezTo>
                <a:cubicBezTo>
                  <a:pt x="870656" y="2415263"/>
                  <a:pt x="873452" y="2408208"/>
                  <a:pt x="879042" y="2402482"/>
                </a:cubicBezTo>
                <a:cubicBezTo>
                  <a:pt x="884632" y="2396625"/>
                  <a:pt x="891821" y="2393830"/>
                  <a:pt x="900873" y="2393830"/>
                </a:cubicBezTo>
                <a:close/>
                <a:moveTo>
                  <a:pt x="683230" y="2393830"/>
                </a:moveTo>
                <a:cubicBezTo>
                  <a:pt x="687490" y="2393830"/>
                  <a:pt x="691351" y="2394630"/>
                  <a:pt x="694945" y="2396493"/>
                </a:cubicBezTo>
                <a:cubicBezTo>
                  <a:pt x="698672" y="2398090"/>
                  <a:pt x="701734" y="2400220"/>
                  <a:pt x="704263" y="2402882"/>
                </a:cubicBezTo>
                <a:cubicBezTo>
                  <a:pt x="706924" y="2405412"/>
                  <a:pt x="708922" y="2408607"/>
                  <a:pt x="710386" y="2412201"/>
                </a:cubicBezTo>
                <a:cubicBezTo>
                  <a:pt x="711850" y="2415795"/>
                  <a:pt x="712649" y="2419522"/>
                  <a:pt x="712649" y="2423650"/>
                </a:cubicBezTo>
                <a:cubicBezTo>
                  <a:pt x="712649" y="2427776"/>
                  <a:pt x="711850" y="2431769"/>
                  <a:pt x="710386" y="2435363"/>
                </a:cubicBezTo>
                <a:cubicBezTo>
                  <a:pt x="708922" y="2438958"/>
                  <a:pt x="706792" y="2442019"/>
                  <a:pt x="704263" y="2444681"/>
                </a:cubicBezTo>
                <a:cubicBezTo>
                  <a:pt x="701734" y="2447344"/>
                  <a:pt x="698539" y="2449474"/>
                  <a:pt x="694945" y="2450938"/>
                </a:cubicBezTo>
                <a:cubicBezTo>
                  <a:pt x="691351" y="2452402"/>
                  <a:pt x="687490" y="2453201"/>
                  <a:pt x="683230" y="2453201"/>
                </a:cubicBezTo>
                <a:cubicBezTo>
                  <a:pt x="674312" y="2453201"/>
                  <a:pt x="666990" y="2450273"/>
                  <a:pt x="661398" y="2444681"/>
                </a:cubicBezTo>
                <a:cubicBezTo>
                  <a:pt x="655807" y="2439090"/>
                  <a:pt x="653012" y="2432035"/>
                  <a:pt x="653012" y="2423515"/>
                </a:cubicBezTo>
                <a:cubicBezTo>
                  <a:pt x="653012" y="2415263"/>
                  <a:pt x="655807" y="2408208"/>
                  <a:pt x="661398" y="2402482"/>
                </a:cubicBezTo>
                <a:cubicBezTo>
                  <a:pt x="666990" y="2396625"/>
                  <a:pt x="674179" y="2393830"/>
                  <a:pt x="683230" y="2393830"/>
                </a:cubicBezTo>
                <a:close/>
                <a:moveTo>
                  <a:pt x="465586" y="2393830"/>
                </a:moveTo>
                <a:cubicBezTo>
                  <a:pt x="469846" y="2393830"/>
                  <a:pt x="473707" y="2394630"/>
                  <a:pt x="477302" y="2396493"/>
                </a:cubicBezTo>
                <a:cubicBezTo>
                  <a:pt x="481029" y="2398090"/>
                  <a:pt x="484090" y="2400220"/>
                  <a:pt x="486620" y="2402882"/>
                </a:cubicBezTo>
                <a:cubicBezTo>
                  <a:pt x="489281" y="2405412"/>
                  <a:pt x="491279" y="2408607"/>
                  <a:pt x="492743" y="2412201"/>
                </a:cubicBezTo>
                <a:cubicBezTo>
                  <a:pt x="494206" y="2415795"/>
                  <a:pt x="495006" y="2419522"/>
                  <a:pt x="495006" y="2423650"/>
                </a:cubicBezTo>
                <a:cubicBezTo>
                  <a:pt x="495006" y="2427776"/>
                  <a:pt x="494206" y="2431769"/>
                  <a:pt x="492743" y="2435363"/>
                </a:cubicBezTo>
                <a:cubicBezTo>
                  <a:pt x="491279" y="2438958"/>
                  <a:pt x="489149" y="2442019"/>
                  <a:pt x="486620" y="2444681"/>
                </a:cubicBezTo>
                <a:cubicBezTo>
                  <a:pt x="483957" y="2447344"/>
                  <a:pt x="480896" y="2449474"/>
                  <a:pt x="477302" y="2450938"/>
                </a:cubicBezTo>
                <a:cubicBezTo>
                  <a:pt x="473707" y="2452402"/>
                  <a:pt x="469846" y="2453201"/>
                  <a:pt x="465586" y="2453201"/>
                </a:cubicBezTo>
                <a:cubicBezTo>
                  <a:pt x="456668" y="2453201"/>
                  <a:pt x="449346" y="2450273"/>
                  <a:pt x="443755" y="2444681"/>
                </a:cubicBezTo>
                <a:cubicBezTo>
                  <a:pt x="438164" y="2439090"/>
                  <a:pt x="435369" y="2432035"/>
                  <a:pt x="435369" y="2423515"/>
                </a:cubicBezTo>
                <a:cubicBezTo>
                  <a:pt x="435369" y="2415263"/>
                  <a:pt x="438164" y="2408208"/>
                  <a:pt x="443755" y="2402482"/>
                </a:cubicBezTo>
                <a:cubicBezTo>
                  <a:pt x="449346" y="2396625"/>
                  <a:pt x="456535" y="2393830"/>
                  <a:pt x="465586" y="2393830"/>
                </a:cubicBezTo>
                <a:close/>
                <a:moveTo>
                  <a:pt x="247943" y="2393830"/>
                </a:moveTo>
                <a:cubicBezTo>
                  <a:pt x="252203" y="2393830"/>
                  <a:pt x="256197" y="2394630"/>
                  <a:pt x="259658" y="2396493"/>
                </a:cubicBezTo>
                <a:cubicBezTo>
                  <a:pt x="263385" y="2398090"/>
                  <a:pt x="266447" y="2400220"/>
                  <a:pt x="268976" y="2402882"/>
                </a:cubicBezTo>
                <a:cubicBezTo>
                  <a:pt x="271638" y="2405412"/>
                  <a:pt x="273635" y="2408607"/>
                  <a:pt x="275099" y="2412201"/>
                </a:cubicBezTo>
                <a:cubicBezTo>
                  <a:pt x="276563" y="2415795"/>
                  <a:pt x="277362" y="2419522"/>
                  <a:pt x="277362" y="2423650"/>
                </a:cubicBezTo>
                <a:cubicBezTo>
                  <a:pt x="277362" y="2427776"/>
                  <a:pt x="276563" y="2431769"/>
                  <a:pt x="275099" y="2435363"/>
                </a:cubicBezTo>
                <a:cubicBezTo>
                  <a:pt x="273635" y="2438958"/>
                  <a:pt x="271505" y="2442019"/>
                  <a:pt x="268976" y="2444681"/>
                </a:cubicBezTo>
                <a:cubicBezTo>
                  <a:pt x="266313" y="2447344"/>
                  <a:pt x="263252" y="2449474"/>
                  <a:pt x="259658" y="2450938"/>
                </a:cubicBezTo>
                <a:cubicBezTo>
                  <a:pt x="256063" y="2452402"/>
                  <a:pt x="252203" y="2453201"/>
                  <a:pt x="247943" y="2453201"/>
                </a:cubicBezTo>
                <a:cubicBezTo>
                  <a:pt x="239025" y="2453201"/>
                  <a:pt x="231704" y="2450273"/>
                  <a:pt x="226113" y="2444681"/>
                </a:cubicBezTo>
                <a:cubicBezTo>
                  <a:pt x="220522" y="2439090"/>
                  <a:pt x="217727" y="2432035"/>
                  <a:pt x="217727" y="2423515"/>
                </a:cubicBezTo>
                <a:cubicBezTo>
                  <a:pt x="217727" y="2415263"/>
                  <a:pt x="220522" y="2408208"/>
                  <a:pt x="226113" y="2402482"/>
                </a:cubicBezTo>
                <a:cubicBezTo>
                  <a:pt x="231704" y="2396625"/>
                  <a:pt x="238891" y="2393830"/>
                  <a:pt x="247943" y="2393830"/>
                </a:cubicBezTo>
                <a:close/>
                <a:moveTo>
                  <a:pt x="30300" y="2393830"/>
                </a:moveTo>
                <a:cubicBezTo>
                  <a:pt x="34560" y="2393830"/>
                  <a:pt x="38554" y="2394630"/>
                  <a:pt x="42015" y="2396493"/>
                </a:cubicBezTo>
                <a:cubicBezTo>
                  <a:pt x="45742" y="2398090"/>
                  <a:pt x="48804" y="2400220"/>
                  <a:pt x="51333" y="2402882"/>
                </a:cubicBezTo>
                <a:cubicBezTo>
                  <a:pt x="53995" y="2405412"/>
                  <a:pt x="55992" y="2408607"/>
                  <a:pt x="57456" y="2412201"/>
                </a:cubicBezTo>
                <a:cubicBezTo>
                  <a:pt x="58920" y="2415795"/>
                  <a:pt x="59719" y="2419522"/>
                  <a:pt x="59719" y="2423650"/>
                </a:cubicBezTo>
                <a:cubicBezTo>
                  <a:pt x="59719" y="2427776"/>
                  <a:pt x="58920" y="2431769"/>
                  <a:pt x="57456" y="2435363"/>
                </a:cubicBezTo>
                <a:cubicBezTo>
                  <a:pt x="55992" y="2438958"/>
                  <a:pt x="53862" y="2442019"/>
                  <a:pt x="51333" y="2444681"/>
                </a:cubicBezTo>
                <a:cubicBezTo>
                  <a:pt x="48670" y="2447344"/>
                  <a:pt x="45609" y="2449474"/>
                  <a:pt x="42015" y="2450938"/>
                </a:cubicBezTo>
                <a:cubicBezTo>
                  <a:pt x="38421" y="2452402"/>
                  <a:pt x="34560" y="2453201"/>
                  <a:pt x="30300" y="2453201"/>
                </a:cubicBezTo>
                <a:cubicBezTo>
                  <a:pt x="21382" y="2453201"/>
                  <a:pt x="14060" y="2450273"/>
                  <a:pt x="8470" y="2444681"/>
                </a:cubicBezTo>
                <a:cubicBezTo>
                  <a:pt x="2879" y="2439090"/>
                  <a:pt x="84" y="2432035"/>
                  <a:pt x="84" y="2423515"/>
                </a:cubicBezTo>
                <a:cubicBezTo>
                  <a:pt x="84" y="2415263"/>
                  <a:pt x="2879" y="2408208"/>
                  <a:pt x="8470" y="2402482"/>
                </a:cubicBezTo>
                <a:cubicBezTo>
                  <a:pt x="14060" y="2396625"/>
                  <a:pt x="21248" y="2393830"/>
                  <a:pt x="30300" y="2393830"/>
                </a:cubicBezTo>
                <a:close/>
                <a:moveTo>
                  <a:pt x="10475977" y="2192826"/>
                </a:moveTo>
                <a:cubicBezTo>
                  <a:pt x="10470119" y="2192826"/>
                  <a:pt x="10467589" y="2194822"/>
                  <a:pt x="10465992" y="2196420"/>
                </a:cubicBezTo>
                <a:cubicBezTo>
                  <a:pt x="10463463" y="2199082"/>
                  <a:pt x="10462399" y="2201878"/>
                  <a:pt x="10462399" y="2205871"/>
                </a:cubicBezTo>
                <a:cubicBezTo>
                  <a:pt x="10462399" y="2209999"/>
                  <a:pt x="10463463" y="2212793"/>
                  <a:pt x="10465992" y="2215322"/>
                </a:cubicBezTo>
                <a:cubicBezTo>
                  <a:pt x="10467589" y="2216920"/>
                  <a:pt x="10470119" y="2218783"/>
                  <a:pt x="10475977" y="2218783"/>
                </a:cubicBezTo>
                <a:cubicBezTo>
                  <a:pt x="10478107" y="2218783"/>
                  <a:pt x="10479838" y="2218517"/>
                  <a:pt x="10481302" y="2217851"/>
                </a:cubicBezTo>
                <a:cubicBezTo>
                  <a:pt x="10482899" y="2217319"/>
                  <a:pt x="10484098" y="2216520"/>
                  <a:pt x="10485029" y="2215455"/>
                </a:cubicBezTo>
                <a:cubicBezTo>
                  <a:pt x="10486094" y="2214257"/>
                  <a:pt x="10487026" y="2212926"/>
                  <a:pt x="10487691" y="2211196"/>
                </a:cubicBezTo>
                <a:cubicBezTo>
                  <a:pt x="10488357" y="2209598"/>
                  <a:pt x="10488623" y="2207734"/>
                  <a:pt x="10488623" y="2205738"/>
                </a:cubicBezTo>
                <a:cubicBezTo>
                  <a:pt x="10488623" y="2203874"/>
                  <a:pt x="10488357" y="2202144"/>
                  <a:pt x="10487691" y="2200546"/>
                </a:cubicBezTo>
                <a:cubicBezTo>
                  <a:pt x="10487026" y="2198949"/>
                  <a:pt x="10486094" y="2197618"/>
                  <a:pt x="10485029" y="2196420"/>
                </a:cubicBezTo>
                <a:cubicBezTo>
                  <a:pt x="10483964" y="2195354"/>
                  <a:pt x="10482633" y="2194555"/>
                  <a:pt x="10481035" y="2193757"/>
                </a:cubicBezTo>
                <a:cubicBezTo>
                  <a:pt x="10479571" y="2193091"/>
                  <a:pt x="10477974" y="2192826"/>
                  <a:pt x="10475977" y="2192826"/>
                </a:cubicBezTo>
                <a:close/>
                <a:moveTo>
                  <a:pt x="10258466" y="2192826"/>
                </a:moveTo>
                <a:cubicBezTo>
                  <a:pt x="10252608" y="2192826"/>
                  <a:pt x="10250078" y="2194822"/>
                  <a:pt x="10248481" y="2196420"/>
                </a:cubicBezTo>
                <a:cubicBezTo>
                  <a:pt x="10245952" y="2199082"/>
                  <a:pt x="10244887" y="2201878"/>
                  <a:pt x="10244887" y="2205871"/>
                </a:cubicBezTo>
                <a:cubicBezTo>
                  <a:pt x="10244887" y="2209999"/>
                  <a:pt x="10245952" y="2212793"/>
                  <a:pt x="10248481" y="2215322"/>
                </a:cubicBezTo>
                <a:cubicBezTo>
                  <a:pt x="10250078" y="2216920"/>
                  <a:pt x="10252608" y="2218783"/>
                  <a:pt x="10258466" y="2218783"/>
                </a:cubicBezTo>
                <a:cubicBezTo>
                  <a:pt x="10260462" y="2218783"/>
                  <a:pt x="10262192" y="2218517"/>
                  <a:pt x="10263790" y="2217851"/>
                </a:cubicBezTo>
                <a:cubicBezTo>
                  <a:pt x="10265388" y="2217319"/>
                  <a:pt x="10266586" y="2216520"/>
                  <a:pt x="10267517" y="2215455"/>
                </a:cubicBezTo>
                <a:cubicBezTo>
                  <a:pt x="10268583" y="2214257"/>
                  <a:pt x="10269515" y="2212926"/>
                  <a:pt x="10270180" y="2211196"/>
                </a:cubicBezTo>
                <a:cubicBezTo>
                  <a:pt x="10270845" y="2209598"/>
                  <a:pt x="10271112" y="2207734"/>
                  <a:pt x="10271112" y="2205738"/>
                </a:cubicBezTo>
                <a:cubicBezTo>
                  <a:pt x="10271112" y="2203874"/>
                  <a:pt x="10270845" y="2202144"/>
                  <a:pt x="10270180" y="2200546"/>
                </a:cubicBezTo>
                <a:cubicBezTo>
                  <a:pt x="10269515" y="2198949"/>
                  <a:pt x="10268583" y="2197618"/>
                  <a:pt x="10267517" y="2196420"/>
                </a:cubicBezTo>
                <a:cubicBezTo>
                  <a:pt x="10266452" y="2195354"/>
                  <a:pt x="10265121" y="2194555"/>
                  <a:pt x="10263524" y="2193757"/>
                </a:cubicBezTo>
                <a:cubicBezTo>
                  <a:pt x="10262060" y="2193091"/>
                  <a:pt x="10260462" y="2192826"/>
                  <a:pt x="10258466" y="2192826"/>
                </a:cubicBezTo>
                <a:close/>
                <a:moveTo>
                  <a:pt x="10040820" y="2192826"/>
                </a:moveTo>
                <a:cubicBezTo>
                  <a:pt x="10034962" y="2192826"/>
                  <a:pt x="10032433" y="2194822"/>
                  <a:pt x="10030835" y="2196420"/>
                </a:cubicBezTo>
                <a:cubicBezTo>
                  <a:pt x="10028306" y="2199082"/>
                  <a:pt x="10027242" y="2201878"/>
                  <a:pt x="10027242" y="2205871"/>
                </a:cubicBezTo>
                <a:cubicBezTo>
                  <a:pt x="10027242" y="2209999"/>
                  <a:pt x="10028306" y="2212793"/>
                  <a:pt x="10030835" y="2215322"/>
                </a:cubicBezTo>
                <a:cubicBezTo>
                  <a:pt x="10032433" y="2216920"/>
                  <a:pt x="10034962" y="2218783"/>
                  <a:pt x="10040820" y="2218783"/>
                </a:cubicBezTo>
                <a:cubicBezTo>
                  <a:pt x="10042817" y="2218783"/>
                  <a:pt x="10044681" y="2218517"/>
                  <a:pt x="10046145" y="2217851"/>
                </a:cubicBezTo>
                <a:cubicBezTo>
                  <a:pt x="10047742" y="2217319"/>
                  <a:pt x="10048941" y="2216520"/>
                  <a:pt x="10049872" y="2215455"/>
                </a:cubicBezTo>
                <a:cubicBezTo>
                  <a:pt x="10050937" y="2214257"/>
                  <a:pt x="10051869" y="2212926"/>
                  <a:pt x="10052534" y="2211196"/>
                </a:cubicBezTo>
                <a:cubicBezTo>
                  <a:pt x="10053333" y="2209598"/>
                  <a:pt x="10053599" y="2207734"/>
                  <a:pt x="10053599" y="2205738"/>
                </a:cubicBezTo>
                <a:cubicBezTo>
                  <a:pt x="10053599" y="2203874"/>
                  <a:pt x="10053200" y="2202144"/>
                  <a:pt x="10052534" y="2200546"/>
                </a:cubicBezTo>
                <a:cubicBezTo>
                  <a:pt x="10051869" y="2198949"/>
                  <a:pt x="10050937" y="2197618"/>
                  <a:pt x="10049872" y="2196420"/>
                </a:cubicBezTo>
                <a:cubicBezTo>
                  <a:pt x="10048807" y="2195354"/>
                  <a:pt x="10047476" y="2194555"/>
                  <a:pt x="10045878" y="2193757"/>
                </a:cubicBezTo>
                <a:cubicBezTo>
                  <a:pt x="10044414" y="2193091"/>
                  <a:pt x="10042817" y="2192826"/>
                  <a:pt x="10040820" y="2192826"/>
                </a:cubicBezTo>
                <a:close/>
                <a:moveTo>
                  <a:pt x="9823176" y="2192826"/>
                </a:moveTo>
                <a:cubicBezTo>
                  <a:pt x="9817318" y="2192826"/>
                  <a:pt x="9814788" y="2194822"/>
                  <a:pt x="9813191" y="2196420"/>
                </a:cubicBezTo>
                <a:cubicBezTo>
                  <a:pt x="9810662" y="2199082"/>
                  <a:pt x="9809597" y="2201878"/>
                  <a:pt x="9809597" y="2205871"/>
                </a:cubicBezTo>
                <a:cubicBezTo>
                  <a:pt x="9809597" y="2209999"/>
                  <a:pt x="9810662" y="2212793"/>
                  <a:pt x="9813191" y="2215322"/>
                </a:cubicBezTo>
                <a:cubicBezTo>
                  <a:pt x="9814788" y="2216920"/>
                  <a:pt x="9817318" y="2218783"/>
                  <a:pt x="9823176" y="2218783"/>
                </a:cubicBezTo>
                <a:cubicBezTo>
                  <a:pt x="9825173" y="2218783"/>
                  <a:pt x="9827036" y="2218517"/>
                  <a:pt x="9828501" y="2217851"/>
                </a:cubicBezTo>
                <a:cubicBezTo>
                  <a:pt x="9830098" y="2217319"/>
                  <a:pt x="9831296" y="2216520"/>
                  <a:pt x="9832227" y="2215455"/>
                </a:cubicBezTo>
                <a:cubicBezTo>
                  <a:pt x="9833293" y="2214257"/>
                  <a:pt x="9834225" y="2212926"/>
                  <a:pt x="9834890" y="2211196"/>
                </a:cubicBezTo>
                <a:cubicBezTo>
                  <a:pt x="9835689" y="2209598"/>
                  <a:pt x="9835955" y="2207734"/>
                  <a:pt x="9835955" y="2205738"/>
                </a:cubicBezTo>
                <a:cubicBezTo>
                  <a:pt x="9835955" y="2203874"/>
                  <a:pt x="9835555" y="2202144"/>
                  <a:pt x="9834890" y="2200546"/>
                </a:cubicBezTo>
                <a:cubicBezTo>
                  <a:pt x="9834225" y="2198949"/>
                  <a:pt x="9833293" y="2197618"/>
                  <a:pt x="9832227" y="2196420"/>
                </a:cubicBezTo>
                <a:cubicBezTo>
                  <a:pt x="9831162" y="2195354"/>
                  <a:pt x="9829831" y="2194555"/>
                  <a:pt x="9828234" y="2193757"/>
                </a:cubicBezTo>
                <a:cubicBezTo>
                  <a:pt x="9826770" y="2193091"/>
                  <a:pt x="9825173" y="2192826"/>
                  <a:pt x="9823176" y="2192826"/>
                </a:cubicBezTo>
                <a:close/>
                <a:moveTo>
                  <a:pt x="9605531" y="2192826"/>
                </a:moveTo>
                <a:cubicBezTo>
                  <a:pt x="9599673" y="2192826"/>
                  <a:pt x="9597143" y="2194822"/>
                  <a:pt x="9595546" y="2196420"/>
                </a:cubicBezTo>
                <a:cubicBezTo>
                  <a:pt x="9593017" y="2199082"/>
                  <a:pt x="9591952" y="2201878"/>
                  <a:pt x="9591952" y="2205871"/>
                </a:cubicBezTo>
                <a:cubicBezTo>
                  <a:pt x="9591952" y="2209999"/>
                  <a:pt x="9593017" y="2212793"/>
                  <a:pt x="9595546" y="2215322"/>
                </a:cubicBezTo>
                <a:cubicBezTo>
                  <a:pt x="9597143" y="2216920"/>
                  <a:pt x="9599673" y="2218783"/>
                  <a:pt x="9605531" y="2218783"/>
                </a:cubicBezTo>
                <a:cubicBezTo>
                  <a:pt x="9607660" y="2218783"/>
                  <a:pt x="9609391" y="2218517"/>
                  <a:pt x="9610855" y="2217851"/>
                </a:cubicBezTo>
                <a:cubicBezTo>
                  <a:pt x="9612319" y="2217319"/>
                  <a:pt x="9613651" y="2216520"/>
                  <a:pt x="9614582" y="2215455"/>
                </a:cubicBezTo>
                <a:cubicBezTo>
                  <a:pt x="9615647" y="2214257"/>
                  <a:pt x="9616579" y="2212926"/>
                  <a:pt x="9617245" y="2211196"/>
                </a:cubicBezTo>
                <a:cubicBezTo>
                  <a:pt x="9618044" y="2209598"/>
                  <a:pt x="9618309" y="2207734"/>
                  <a:pt x="9618309" y="2205738"/>
                </a:cubicBezTo>
                <a:cubicBezTo>
                  <a:pt x="9618309" y="2203874"/>
                  <a:pt x="9617910" y="2202144"/>
                  <a:pt x="9617245" y="2200546"/>
                </a:cubicBezTo>
                <a:cubicBezTo>
                  <a:pt x="9616579" y="2198949"/>
                  <a:pt x="9615647" y="2197618"/>
                  <a:pt x="9614582" y="2196420"/>
                </a:cubicBezTo>
                <a:cubicBezTo>
                  <a:pt x="9613517" y="2195354"/>
                  <a:pt x="9612186" y="2194555"/>
                  <a:pt x="9610589" y="2193757"/>
                </a:cubicBezTo>
                <a:cubicBezTo>
                  <a:pt x="9609124" y="2193091"/>
                  <a:pt x="9607394" y="2192826"/>
                  <a:pt x="9605531" y="2192826"/>
                </a:cubicBezTo>
                <a:close/>
                <a:moveTo>
                  <a:pt x="9387885" y="2192826"/>
                </a:moveTo>
                <a:cubicBezTo>
                  <a:pt x="9382027" y="2192826"/>
                  <a:pt x="9379497" y="2194822"/>
                  <a:pt x="9377900" y="2196420"/>
                </a:cubicBezTo>
                <a:cubicBezTo>
                  <a:pt x="9375371" y="2199082"/>
                  <a:pt x="9374307" y="2201878"/>
                  <a:pt x="9374307" y="2205871"/>
                </a:cubicBezTo>
                <a:cubicBezTo>
                  <a:pt x="9374307" y="2209999"/>
                  <a:pt x="9375371" y="2212793"/>
                  <a:pt x="9377900" y="2215322"/>
                </a:cubicBezTo>
                <a:cubicBezTo>
                  <a:pt x="9379497" y="2216920"/>
                  <a:pt x="9382027" y="2218783"/>
                  <a:pt x="9387885" y="2218783"/>
                </a:cubicBezTo>
                <a:cubicBezTo>
                  <a:pt x="9390015" y="2218783"/>
                  <a:pt x="9391746" y="2218517"/>
                  <a:pt x="9393210" y="2217851"/>
                </a:cubicBezTo>
                <a:cubicBezTo>
                  <a:pt x="9394674" y="2217319"/>
                  <a:pt x="9396005" y="2216520"/>
                  <a:pt x="9396937" y="2215455"/>
                </a:cubicBezTo>
                <a:cubicBezTo>
                  <a:pt x="9398002" y="2214257"/>
                  <a:pt x="9398934" y="2212926"/>
                  <a:pt x="9399599" y="2211196"/>
                </a:cubicBezTo>
                <a:cubicBezTo>
                  <a:pt x="9400398" y="2209598"/>
                  <a:pt x="9400664" y="2207734"/>
                  <a:pt x="9400664" y="2205738"/>
                </a:cubicBezTo>
                <a:cubicBezTo>
                  <a:pt x="9400664" y="2203874"/>
                  <a:pt x="9400265" y="2202144"/>
                  <a:pt x="9399599" y="2200546"/>
                </a:cubicBezTo>
                <a:cubicBezTo>
                  <a:pt x="9398934" y="2198949"/>
                  <a:pt x="9398002" y="2197618"/>
                  <a:pt x="9396937" y="2196420"/>
                </a:cubicBezTo>
                <a:cubicBezTo>
                  <a:pt x="9395872" y="2195354"/>
                  <a:pt x="9394541" y="2194555"/>
                  <a:pt x="9392943" y="2193757"/>
                </a:cubicBezTo>
                <a:cubicBezTo>
                  <a:pt x="9391479" y="2193091"/>
                  <a:pt x="9389749" y="2192826"/>
                  <a:pt x="9387885" y="2192826"/>
                </a:cubicBezTo>
                <a:close/>
                <a:moveTo>
                  <a:pt x="9170374" y="2192826"/>
                </a:moveTo>
                <a:cubicBezTo>
                  <a:pt x="9164649" y="2192826"/>
                  <a:pt x="9161986" y="2194822"/>
                  <a:pt x="9160389" y="2196420"/>
                </a:cubicBezTo>
                <a:cubicBezTo>
                  <a:pt x="9157860" y="2199082"/>
                  <a:pt x="9156795" y="2201878"/>
                  <a:pt x="9156795" y="2205871"/>
                </a:cubicBezTo>
                <a:cubicBezTo>
                  <a:pt x="9156795" y="2209999"/>
                  <a:pt x="9157860" y="2212793"/>
                  <a:pt x="9160389" y="2215322"/>
                </a:cubicBezTo>
                <a:cubicBezTo>
                  <a:pt x="9161986" y="2216920"/>
                  <a:pt x="9164516" y="2218783"/>
                  <a:pt x="9170374" y="2218783"/>
                </a:cubicBezTo>
                <a:cubicBezTo>
                  <a:pt x="9172370" y="2218783"/>
                  <a:pt x="9174100" y="2218517"/>
                  <a:pt x="9175698" y="2217851"/>
                </a:cubicBezTo>
                <a:cubicBezTo>
                  <a:pt x="9177163" y="2217319"/>
                  <a:pt x="9178494" y="2216520"/>
                  <a:pt x="9179425" y="2215455"/>
                </a:cubicBezTo>
                <a:cubicBezTo>
                  <a:pt x="9180491" y="2214257"/>
                  <a:pt x="9181422" y="2212926"/>
                  <a:pt x="9182088" y="2211196"/>
                </a:cubicBezTo>
                <a:cubicBezTo>
                  <a:pt x="9182887" y="2209598"/>
                  <a:pt x="9183152" y="2207734"/>
                  <a:pt x="9183152" y="2205738"/>
                </a:cubicBezTo>
                <a:cubicBezTo>
                  <a:pt x="9183152" y="2203874"/>
                  <a:pt x="9182753" y="2202144"/>
                  <a:pt x="9182088" y="2200546"/>
                </a:cubicBezTo>
                <a:cubicBezTo>
                  <a:pt x="9181422" y="2198949"/>
                  <a:pt x="9180491" y="2197618"/>
                  <a:pt x="9179425" y="2196420"/>
                </a:cubicBezTo>
                <a:cubicBezTo>
                  <a:pt x="9178360" y="2195354"/>
                  <a:pt x="9177029" y="2194555"/>
                  <a:pt x="9175432" y="2193757"/>
                </a:cubicBezTo>
                <a:cubicBezTo>
                  <a:pt x="9173967" y="2193091"/>
                  <a:pt x="9172237" y="2192826"/>
                  <a:pt x="9170374" y="2192826"/>
                </a:cubicBezTo>
                <a:close/>
                <a:moveTo>
                  <a:pt x="8952728" y="2192826"/>
                </a:moveTo>
                <a:cubicBezTo>
                  <a:pt x="8947003" y="2192826"/>
                  <a:pt x="8944340" y="2194822"/>
                  <a:pt x="8942743" y="2196420"/>
                </a:cubicBezTo>
                <a:cubicBezTo>
                  <a:pt x="8940214" y="2199082"/>
                  <a:pt x="8939150" y="2201878"/>
                  <a:pt x="8939150" y="2205871"/>
                </a:cubicBezTo>
                <a:cubicBezTo>
                  <a:pt x="8939150" y="2209999"/>
                  <a:pt x="8940214" y="2212793"/>
                  <a:pt x="8942743" y="2215322"/>
                </a:cubicBezTo>
                <a:cubicBezTo>
                  <a:pt x="8944340" y="2216920"/>
                  <a:pt x="8946870" y="2218783"/>
                  <a:pt x="8952728" y="2218783"/>
                </a:cubicBezTo>
                <a:cubicBezTo>
                  <a:pt x="8954725" y="2218783"/>
                  <a:pt x="8956589" y="2218517"/>
                  <a:pt x="8958053" y="2217851"/>
                </a:cubicBezTo>
                <a:cubicBezTo>
                  <a:pt x="8959517" y="2217319"/>
                  <a:pt x="8960849" y="2216520"/>
                  <a:pt x="8961780" y="2215455"/>
                </a:cubicBezTo>
                <a:cubicBezTo>
                  <a:pt x="8962845" y="2214257"/>
                  <a:pt x="8963777" y="2212926"/>
                  <a:pt x="8964442" y="2211196"/>
                </a:cubicBezTo>
                <a:cubicBezTo>
                  <a:pt x="8965241" y="2209598"/>
                  <a:pt x="8965507" y="2207734"/>
                  <a:pt x="8965507" y="2205738"/>
                </a:cubicBezTo>
                <a:cubicBezTo>
                  <a:pt x="8965507" y="2203874"/>
                  <a:pt x="8965108" y="2202144"/>
                  <a:pt x="8964442" y="2200546"/>
                </a:cubicBezTo>
                <a:cubicBezTo>
                  <a:pt x="8963777" y="2198949"/>
                  <a:pt x="8962845" y="2197618"/>
                  <a:pt x="8961780" y="2196420"/>
                </a:cubicBezTo>
                <a:cubicBezTo>
                  <a:pt x="8960715" y="2195354"/>
                  <a:pt x="8959384" y="2194555"/>
                  <a:pt x="8957786" y="2193757"/>
                </a:cubicBezTo>
                <a:cubicBezTo>
                  <a:pt x="8956322" y="2193091"/>
                  <a:pt x="8954592" y="2192826"/>
                  <a:pt x="8952728" y="2192826"/>
                </a:cubicBezTo>
                <a:close/>
                <a:moveTo>
                  <a:pt x="8735083" y="2192826"/>
                </a:moveTo>
                <a:cubicBezTo>
                  <a:pt x="8729358" y="2192826"/>
                  <a:pt x="8726695" y="2194822"/>
                  <a:pt x="8725098" y="2196420"/>
                </a:cubicBezTo>
                <a:cubicBezTo>
                  <a:pt x="8722569" y="2199082"/>
                  <a:pt x="8721504" y="2201878"/>
                  <a:pt x="8721504" y="2205871"/>
                </a:cubicBezTo>
                <a:cubicBezTo>
                  <a:pt x="8721504" y="2209999"/>
                  <a:pt x="8722569" y="2212793"/>
                  <a:pt x="8725098" y="2215322"/>
                </a:cubicBezTo>
                <a:cubicBezTo>
                  <a:pt x="8726695" y="2216920"/>
                  <a:pt x="8729225" y="2218783"/>
                  <a:pt x="8735083" y="2218783"/>
                </a:cubicBezTo>
                <a:cubicBezTo>
                  <a:pt x="8737079" y="2218783"/>
                  <a:pt x="8738943" y="2218517"/>
                  <a:pt x="8740407" y="2217851"/>
                </a:cubicBezTo>
                <a:cubicBezTo>
                  <a:pt x="8741872" y="2217319"/>
                  <a:pt x="8743203" y="2216520"/>
                  <a:pt x="8744134" y="2215455"/>
                </a:cubicBezTo>
                <a:cubicBezTo>
                  <a:pt x="8745200" y="2214257"/>
                  <a:pt x="8746132" y="2212926"/>
                  <a:pt x="8746797" y="2211196"/>
                </a:cubicBezTo>
                <a:cubicBezTo>
                  <a:pt x="8747596" y="2209598"/>
                  <a:pt x="8747862" y="2207734"/>
                  <a:pt x="8747862" y="2205738"/>
                </a:cubicBezTo>
                <a:cubicBezTo>
                  <a:pt x="8747862" y="2203874"/>
                  <a:pt x="8747462" y="2202144"/>
                  <a:pt x="8746797" y="2200546"/>
                </a:cubicBezTo>
                <a:cubicBezTo>
                  <a:pt x="8746132" y="2198949"/>
                  <a:pt x="8745200" y="2197618"/>
                  <a:pt x="8744134" y="2196420"/>
                </a:cubicBezTo>
                <a:cubicBezTo>
                  <a:pt x="8743069" y="2195354"/>
                  <a:pt x="8741738" y="2194555"/>
                  <a:pt x="8740141" y="2193757"/>
                </a:cubicBezTo>
                <a:cubicBezTo>
                  <a:pt x="8738677" y="2193091"/>
                  <a:pt x="8736946" y="2192826"/>
                  <a:pt x="8735083" y="2192826"/>
                </a:cubicBezTo>
                <a:close/>
                <a:moveTo>
                  <a:pt x="8517438" y="2192826"/>
                </a:moveTo>
                <a:cubicBezTo>
                  <a:pt x="8511713" y="2192826"/>
                  <a:pt x="8509051" y="2194822"/>
                  <a:pt x="8507453" y="2196420"/>
                </a:cubicBezTo>
                <a:cubicBezTo>
                  <a:pt x="8504925" y="2199082"/>
                  <a:pt x="8503860" y="2201878"/>
                  <a:pt x="8503860" y="2205871"/>
                </a:cubicBezTo>
                <a:cubicBezTo>
                  <a:pt x="8503860" y="2209999"/>
                  <a:pt x="8504925" y="2212793"/>
                  <a:pt x="8507453" y="2215322"/>
                </a:cubicBezTo>
                <a:cubicBezTo>
                  <a:pt x="8509051" y="2216920"/>
                  <a:pt x="8511581" y="2218783"/>
                  <a:pt x="8517438" y="2218783"/>
                </a:cubicBezTo>
                <a:cubicBezTo>
                  <a:pt x="8519568" y="2218783"/>
                  <a:pt x="8521299" y="2218517"/>
                  <a:pt x="8522763" y="2217851"/>
                </a:cubicBezTo>
                <a:cubicBezTo>
                  <a:pt x="8524227" y="2217319"/>
                  <a:pt x="8525559" y="2216520"/>
                  <a:pt x="8526490" y="2215455"/>
                </a:cubicBezTo>
                <a:cubicBezTo>
                  <a:pt x="8527555" y="2214257"/>
                  <a:pt x="8528487" y="2212926"/>
                  <a:pt x="8529152" y="2211196"/>
                </a:cubicBezTo>
                <a:cubicBezTo>
                  <a:pt x="8529818" y="2209598"/>
                  <a:pt x="8530084" y="2207734"/>
                  <a:pt x="8530084" y="2205738"/>
                </a:cubicBezTo>
                <a:cubicBezTo>
                  <a:pt x="8530084" y="2203874"/>
                  <a:pt x="8529818" y="2202144"/>
                  <a:pt x="8529152" y="2200546"/>
                </a:cubicBezTo>
                <a:cubicBezTo>
                  <a:pt x="8528487" y="2198949"/>
                  <a:pt x="8527555" y="2197618"/>
                  <a:pt x="8526490" y="2196420"/>
                </a:cubicBezTo>
                <a:cubicBezTo>
                  <a:pt x="8525425" y="2195354"/>
                  <a:pt x="8524094" y="2194555"/>
                  <a:pt x="8522496" y="2193757"/>
                </a:cubicBezTo>
                <a:cubicBezTo>
                  <a:pt x="8521032" y="2193091"/>
                  <a:pt x="8519302" y="2192826"/>
                  <a:pt x="8517438" y="2192826"/>
                </a:cubicBezTo>
                <a:close/>
                <a:moveTo>
                  <a:pt x="8299793" y="2192826"/>
                </a:moveTo>
                <a:cubicBezTo>
                  <a:pt x="8294068" y="2192826"/>
                  <a:pt x="8291406" y="2194822"/>
                  <a:pt x="8289809" y="2196420"/>
                </a:cubicBezTo>
                <a:cubicBezTo>
                  <a:pt x="8287280" y="2199082"/>
                  <a:pt x="8286215" y="2201878"/>
                  <a:pt x="8286215" y="2205871"/>
                </a:cubicBezTo>
                <a:cubicBezTo>
                  <a:pt x="8286215" y="2209999"/>
                  <a:pt x="8287280" y="2212793"/>
                  <a:pt x="8289809" y="2215322"/>
                </a:cubicBezTo>
                <a:cubicBezTo>
                  <a:pt x="8291406" y="2216920"/>
                  <a:pt x="8293935" y="2218783"/>
                  <a:pt x="8299793" y="2218783"/>
                </a:cubicBezTo>
                <a:cubicBezTo>
                  <a:pt x="8301923" y="2218783"/>
                  <a:pt x="8303653" y="2218517"/>
                  <a:pt x="8305118" y="2217851"/>
                </a:cubicBezTo>
                <a:cubicBezTo>
                  <a:pt x="8306582" y="2217319"/>
                  <a:pt x="8307913" y="2216520"/>
                  <a:pt x="8308844" y="2215455"/>
                </a:cubicBezTo>
                <a:cubicBezTo>
                  <a:pt x="8309910" y="2214257"/>
                  <a:pt x="8310842" y="2212926"/>
                  <a:pt x="8311507" y="2211196"/>
                </a:cubicBezTo>
                <a:cubicBezTo>
                  <a:pt x="8312172" y="2209598"/>
                  <a:pt x="8312439" y="2207734"/>
                  <a:pt x="8312439" y="2205738"/>
                </a:cubicBezTo>
                <a:cubicBezTo>
                  <a:pt x="8312439" y="2203874"/>
                  <a:pt x="8312172" y="2202144"/>
                  <a:pt x="8311507" y="2200546"/>
                </a:cubicBezTo>
                <a:cubicBezTo>
                  <a:pt x="8310842" y="2198949"/>
                  <a:pt x="8309910" y="2197618"/>
                  <a:pt x="8308844" y="2196420"/>
                </a:cubicBezTo>
                <a:cubicBezTo>
                  <a:pt x="8307779" y="2195354"/>
                  <a:pt x="8306448" y="2194555"/>
                  <a:pt x="8304851" y="2193757"/>
                </a:cubicBezTo>
                <a:cubicBezTo>
                  <a:pt x="8303387" y="2193091"/>
                  <a:pt x="8301790" y="2192826"/>
                  <a:pt x="8299793" y="2192826"/>
                </a:cubicBezTo>
                <a:close/>
                <a:moveTo>
                  <a:pt x="8082281" y="2192826"/>
                </a:moveTo>
                <a:cubicBezTo>
                  <a:pt x="8076424" y="2192826"/>
                  <a:pt x="8073894" y="2194822"/>
                  <a:pt x="8072297" y="2196420"/>
                </a:cubicBezTo>
                <a:cubicBezTo>
                  <a:pt x="8069768" y="2199082"/>
                  <a:pt x="8068703" y="2201878"/>
                  <a:pt x="8068703" y="2205871"/>
                </a:cubicBezTo>
                <a:cubicBezTo>
                  <a:pt x="8068703" y="2209999"/>
                  <a:pt x="8069768" y="2212793"/>
                  <a:pt x="8072297" y="2215322"/>
                </a:cubicBezTo>
                <a:cubicBezTo>
                  <a:pt x="8073894" y="2216920"/>
                  <a:pt x="8076424" y="2218783"/>
                  <a:pt x="8082281" y="2218783"/>
                </a:cubicBezTo>
                <a:cubicBezTo>
                  <a:pt x="8084277" y="2218783"/>
                  <a:pt x="8086007" y="2218517"/>
                  <a:pt x="8087605" y="2217851"/>
                </a:cubicBezTo>
                <a:cubicBezTo>
                  <a:pt x="8089069" y="2217319"/>
                  <a:pt x="8090401" y="2216520"/>
                  <a:pt x="8091332" y="2215455"/>
                </a:cubicBezTo>
                <a:cubicBezTo>
                  <a:pt x="8092397" y="2214257"/>
                  <a:pt x="8093329" y="2212926"/>
                  <a:pt x="8093994" y="2211196"/>
                </a:cubicBezTo>
                <a:cubicBezTo>
                  <a:pt x="8094660" y="2209598"/>
                  <a:pt x="8094926" y="2207734"/>
                  <a:pt x="8094926" y="2205738"/>
                </a:cubicBezTo>
                <a:cubicBezTo>
                  <a:pt x="8094926" y="2203874"/>
                  <a:pt x="8094660" y="2202144"/>
                  <a:pt x="8093994" y="2200546"/>
                </a:cubicBezTo>
                <a:cubicBezTo>
                  <a:pt x="8093329" y="2198949"/>
                  <a:pt x="8092397" y="2197618"/>
                  <a:pt x="8091332" y="2196420"/>
                </a:cubicBezTo>
                <a:cubicBezTo>
                  <a:pt x="8090267" y="2195354"/>
                  <a:pt x="8088936" y="2194555"/>
                  <a:pt x="8087338" y="2193757"/>
                </a:cubicBezTo>
                <a:cubicBezTo>
                  <a:pt x="8085874" y="2193091"/>
                  <a:pt x="8084277" y="2192826"/>
                  <a:pt x="8082281" y="2192826"/>
                </a:cubicBezTo>
                <a:close/>
                <a:moveTo>
                  <a:pt x="7864636" y="2192826"/>
                </a:moveTo>
                <a:cubicBezTo>
                  <a:pt x="7858779" y="2192826"/>
                  <a:pt x="7856249" y="2194822"/>
                  <a:pt x="7854652" y="2196420"/>
                </a:cubicBezTo>
                <a:cubicBezTo>
                  <a:pt x="7852123" y="2199082"/>
                  <a:pt x="7851058" y="2201878"/>
                  <a:pt x="7851058" y="2205871"/>
                </a:cubicBezTo>
                <a:cubicBezTo>
                  <a:pt x="7851058" y="2209999"/>
                  <a:pt x="7852123" y="2212793"/>
                  <a:pt x="7854652" y="2215322"/>
                </a:cubicBezTo>
                <a:cubicBezTo>
                  <a:pt x="7856249" y="2216920"/>
                  <a:pt x="7858779" y="2218783"/>
                  <a:pt x="7864636" y="2218783"/>
                </a:cubicBezTo>
                <a:cubicBezTo>
                  <a:pt x="7866633" y="2218783"/>
                  <a:pt x="7868363" y="2218517"/>
                  <a:pt x="7869961" y="2217851"/>
                </a:cubicBezTo>
                <a:cubicBezTo>
                  <a:pt x="7871425" y="2217319"/>
                  <a:pt x="7872756" y="2216520"/>
                  <a:pt x="7873687" y="2215455"/>
                </a:cubicBezTo>
                <a:cubicBezTo>
                  <a:pt x="7874753" y="2214257"/>
                  <a:pt x="7875685" y="2212926"/>
                  <a:pt x="7876350" y="2211196"/>
                </a:cubicBezTo>
                <a:cubicBezTo>
                  <a:pt x="7877015" y="2209598"/>
                  <a:pt x="7877282" y="2207734"/>
                  <a:pt x="7877282" y="2205738"/>
                </a:cubicBezTo>
                <a:cubicBezTo>
                  <a:pt x="7877282" y="2203874"/>
                  <a:pt x="7877015" y="2202144"/>
                  <a:pt x="7876350" y="2200546"/>
                </a:cubicBezTo>
                <a:cubicBezTo>
                  <a:pt x="7875685" y="2198949"/>
                  <a:pt x="7874753" y="2197618"/>
                  <a:pt x="7873687" y="2196420"/>
                </a:cubicBezTo>
                <a:cubicBezTo>
                  <a:pt x="7872623" y="2195354"/>
                  <a:pt x="7871291" y="2194555"/>
                  <a:pt x="7869694" y="2193757"/>
                </a:cubicBezTo>
                <a:cubicBezTo>
                  <a:pt x="7868230" y="2193091"/>
                  <a:pt x="7866633" y="2192826"/>
                  <a:pt x="7864636" y="2192826"/>
                </a:cubicBezTo>
                <a:close/>
                <a:moveTo>
                  <a:pt x="7646991" y="2192826"/>
                </a:moveTo>
                <a:cubicBezTo>
                  <a:pt x="7641134" y="2192826"/>
                  <a:pt x="7638604" y="2194822"/>
                  <a:pt x="7637007" y="2196420"/>
                </a:cubicBezTo>
                <a:cubicBezTo>
                  <a:pt x="7634478" y="2199082"/>
                  <a:pt x="7633413" y="2201878"/>
                  <a:pt x="7633413" y="2205871"/>
                </a:cubicBezTo>
                <a:cubicBezTo>
                  <a:pt x="7633413" y="2209999"/>
                  <a:pt x="7634478" y="2212793"/>
                  <a:pt x="7637007" y="2215322"/>
                </a:cubicBezTo>
                <a:cubicBezTo>
                  <a:pt x="7638604" y="2216920"/>
                  <a:pt x="7641134" y="2218783"/>
                  <a:pt x="7646991" y="2218783"/>
                </a:cubicBezTo>
                <a:cubicBezTo>
                  <a:pt x="7648987" y="2218783"/>
                  <a:pt x="7650851" y="2218517"/>
                  <a:pt x="7652315" y="2217851"/>
                </a:cubicBezTo>
                <a:cubicBezTo>
                  <a:pt x="7653780" y="2217319"/>
                  <a:pt x="7655111" y="2216520"/>
                  <a:pt x="7656042" y="2215455"/>
                </a:cubicBezTo>
                <a:cubicBezTo>
                  <a:pt x="7657108" y="2214257"/>
                  <a:pt x="7658039" y="2212926"/>
                  <a:pt x="7658705" y="2211196"/>
                </a:cubicBezTo>
                <a:cubicBezTo>
                  <a:pt x="7659504" y="2209598"/>
                  <a:pt x="7659769" y="2207734"/>
                  <a:pt x="7659769" y="2205738"/>
                </a:cubicBezTo>
                <a:cubicBezTo>
                  <a:pt x="7659769" y="2203874"/>
                  <a:pt x="7659370" y="2202144"/>
                  <a:pt x="7658705" y="2200546"/>
                </a:cubicBezTo>
                <a:cubicBezTo>
                  <a:pt x="7658039" y="2198949"/>
                  <a:pt x="7657108" y="2197618"/>
                  <a:pt x="7656042" y="2196420"/>
                </a:cubicBezTo>
                <a:cubicBezTo>
                  <a:pt x="7654977" y="2195354"/>
                  <a:pt x="7653646" y="2194555"/>
                  <a:pt x="7652049" y="2193757"/>
                </a:cubicBezTo>
                <a:cubicBezTo>
                  <a:pt x="7650584" y="2193091"/>
                  <a:pt x="7648987" y="2192826"/>
                  <a:pt x="7646991" y="2192826"/>
                </a:cubicBezTo>
                <a:close/>
                <a:moveTo>
                  <a:pt x="7429345" y="2192826"/>
                </a:moveTo>
                <a:cubicBezTo>
                  <a:pt x="7423488" y="2192826"/>
                  <a:pt x="7420958" y="2194822"/>
                  <a:pt x="7419361" y="2196420"/>
                </a:cubicBezTo>
                <a:cubicBezTo>
                  <a:pt x="7416832" y="2199082"/>
                  <a:pt x="7415768" y="2201878"/>
                  <a:pt x="7415768" y="2205871"/>
                </a:cubicBezTo>
                <a:cubicBezTo>
                  <a:pt x="7415768" y="2209999"/>
                  <a:pt x="7416832" y="2212793"/>
                  <a:pt x="7419361" y="2215322"/>
                </a:cubicBezTo>
                <a:cubicBezTo>
                  <a:pt x="7420958" y="2216920"/>
                  <a:pt x="7423488" y="2218783"/>
                  <a:pt x="7429345" y="2218783"/>
                </a:cubicBezTo>
                <a:cubicBezTo>
                  <a:pt x="7431342" y="2218783"/>
                  <a:pt x="7433206" y="2218517"/>
                  <a:pt x="7434670" y="2217851"/>
                </a:cubicBezTo>
                <a:cubicBezTo>
                  <a:pt x="7436134" y="2217319"/>
                  <a:pt x="7437466" y="2216520"/>
                  <a:pt x="7438397" y="2215455"/>
                </a:cubicBezTo>
                <a:cubicBezTo>
                  <a:pt x="7439462" y="2214257"/>
                  <a:pt x="7440394" y="2212926"/>
                  <a:pt x="7441059" y="2211196"/>
                </a:cubicBezTo>
                <a:cubicBezTo>
                  <a:pt x="7441858" y="2209598"/>
                  <a:pt x="7442124" y="2207734"/>
                  <a:pt x="7442124" y="2205738"/>
                </a:cubicBezTo>
                <a:cubicBezTo>
                  <a:pt x="7442124" y="2203874"/>
                  <a:pt x="7441725" y="2202144"/>
                  <a:pt x="7441059" y="2200546"/>
                </a:cubicBezTo>
                <a:cubicBezTo>
                  <a:pt x="7440394" y="2198949"/>
                  <a:pt x="7439462" y="2197618"/>
                  <a:pt x="7438397" y="2196420"/>
                </a:cubicBezTo>
                <a:cubicBezTo>
                  <a:pt x="7437332" y="2195354"/>
                  <a:pt x="7436001" y="2194555"/>
                  <a:pt x="7434403" y="2193757"/>
                </a:cubicBezTo>
                <a:cubicBezTo>
                  <a:pt x="7432939" y="2193091"/>
                  <a:pt x="7431342" y="2192826"/>
                  <a:pt x="7429345" y="2192826"/>
                </a:cubicBezTo>
                <a:close/>
                <a:moveTo>
                  <a:pt x="7211701" y="2192826"/>
                </a:moveTo>
                <a:cubicBezTo>
                  <a:pt x="7205844" y="2192826"/>
                  <a:pt x="7203314" y="2194822"/>
                  <a:pt x="7201717" y="2196420"/>
                </a:cubicBezTo>
                <a:cubicBezTo>
                  <a:pt x="7199188" y="2199082"/>
                  <a:pt x="7198123" y="2201878"/>
                  <a:pt x="7198123" y="2205871"/>
                </a:cubicBezTo>
                <a:cubicBezTo>
                  <a:pt x="7198123" y="2209999"/>
                  <a:pt x="7199188" y="2212793"/>
                  <a:pt x="7201717" y="2215322"/>
                </a:cubicBezTo>
                <a:cubicBezTo>
                  <a:pt x="7203314" y="2216920"/>
                  <a:pt x="7205844" y="2218783"/>
                  <a:pt x="7211701" y="2218783"/>
                </a:cubicBezTo>
                <a:cubicBezTo>
                  <a:pt x="7213830" y="2218783"/>
                  <a:pt x="7215561" y="2218517"/>
                  <a:pt x="7217026" y="2217851"/>
                </a:cubicBezTo>
                <a:cubicBezTo>
                  <a:pt x="7218490" y="2217319"/>
                  <a:pt x="7219821" y="2216520"/>
                  <a:pt x="7220752" y="2215455"/>
                </a:cubicBezTo>
                <a:cubicBezTo>
                  <a:pt x="7221818" y="2214257"/>
                  <a:pt x="7222750" y="2212926"/>
                  <a:pt x="7223415" y="2211196"/>
                </a:cubicBezTo>
                <a:cubicBezTo>
                  <a:pt x="7224214" y="2209598"/>
                  <a:pt x="7224480" y="2207734"/>
                  <a:pt x="7224480" y="2205738"/>
                </a:cubicBezTo>
                <a:cubicBezTo>
                  <a:pt x="7224480" y="2203874"/>
                  <a:pt x="7224080" y="2202144"/>
                  <a:pt x="7223415" y="2200546"/>
                </a:cubicBezTo>
                <a:cubicBezTo>
                  <a:pt x="7222750" y="2198949"/>
                  <a:pt x="7221818" y="2197618"/>
                  <a:pt x="7220752" y="2196420"/>
                </a:cubicBezTo>
                <a:cubicBezTo>
                  <a:pt x="7219687" y="2195354"/>
                  <a:pt x="7218356" y="2194555"/>
                  <a:pt x="7216759" y="2193757"/>
                </a:cubicBezTo>
                <a:cubicBezTo>
                  <a:pt x="7215295" y="2193091"/>
                  <a:pt x="7213698" y="2192826"/>
                  <a:pt x="7211701" y="2192826"/>
                </a:cubicBezTo>
                <a:close/>
                <a:moveTo>
                  <a:pt x="6994056" y="2192826"/>
                </a:moveTo>
                <a:cubicBezTo>
                  <a:pt x="6988199" y="2192826"/>
                  <a:pt x="6985669" y="2194822"/>
                  <a:pt x="6984072" y="2196420"/>
                </a:cubicBezTo>
                <a:cubicBezTo>
                  <a:pt x="6981543" y="2199082"/>
                  <a:pt x="6980478" y="2201878"/>
                  <a:pt x="6980478" y="2205871"/>
                </a:cubicBezTo>
                <a:cubicBezTo>
                  <a:pt x="6980478" y="2209999"/>
                  <a:pt x="6981543" y="2212793"/>
                  <a:pt x="6984072" y="2215322"/>
                </a:cubicBezTo>
                <a:cubicBezTo>
                  <a:pt x="6985669" y="2216920"/>
                  <a:pt x="6988199" y="2218783"/>
                  <a:pt x="6994056" y="2218783"/>
                </a:cubicBezTo>
                <a:cubicBezTo>
                  <a:pt x="6996185" y="2218783"/>
                  <a:pt x="6997916" y="2218517"/>
                  <a:pt x="6999380" y="2217851"/>
                </a:cubicBezTo>
                <a:cubicBezTo>
                  <a:pt x="7000844" y="2217319"/>
                  <a:pt x="7002176" y="2216520"/>
                  <a:pt x="7003107" y="2215455"/>
                </a:cubicBezTo>
                <a:cubicBezTo>
                  <a:pt x="7004172" y="2214257"/>
                  <a:pt x="7005104" y="2212926"/>
                  <a:pt x="7005769" y="2211196"/>
                </a:cubicBezTo>
                <a:cubicBezTo>
                  <a:pt x="7006568" y="2209598"/>
                  <a:pt x="7006834" y="2207734"/>
                  <a:pt x="7006834" y="2205738"/>
                </a:cubicBezTo>
                <a:cubicBezTo>
                  <a:pt x="7006834" y="2203874"/>
                  <a:pt x="7006435" y="2202144"/>
                  <a:pt x="7005769" y="2200546"/>
                </a:cubicBezTo>
                <a:cubicBezTo>
                  <a:pt x="7005104" y="2198949"/>
                  <a:pt x="7004172" y="2197618"/>
                  <a:pt x="7003107" y="2196420"/>
                </a:cubicBezTo>
                <a:cubicBezTo>
                  <a:pt x="7002042" y="2195354"/>
                  <a:pt x="7000711" y="2194555"/>
                  <a:pt x="6999113" y="2193757"/>
                </a:cubicBezTo>
                <a:cubicBezTo>
                  <a:pt x="6997649" y="2193091"/>
                  <a:pt x="6996052" y="2192826"/>
                  <a:pt x="6994056" y="2192826"/>
                </a:cubicBezTo>
                <a:close/>
                <a:moveTo>
                  <a:pt x="6776544" y="2192826"/>
                </a:moveTo>
                <a:cubicBezTo>
                  <a:pt x="6770687" y="2192826"/>
                  <a:pt x="6768157" y="2194822"/>
                  <a:pt x="6766560" y="2196420"/>
                </a:cubicBezTo>
                <a:cubicBezTo>
                  <a:pt x="6764031" y="2199082"/>
                  <a:pt x="6762966" y="2201878"/>
                  <a:pt x="6762966" y="2205871"/>
                </a:cubicBezTo>
                <a:cubicBezTo>
                  <a:pt x="6762966" y="2209999"/>
                  <a:pt x="6764031" y="2212793"/>
                  <a:pt x="6766560" y="2215322"/>
                </a:cubicBezTo>
                <a:cubicBezTo>
                  <a:pt x="6768157" y="2216920"/>
                  <a:pt x="6770687" y="2218783"/>
                  <a:pt x="6776544" y="2218783"/>
                </a:cubicBezTo>
                <a:cubicBezTo>
                  <a:pt x="6778541" y="2218783"/>
                  <a:pt x="6780270" y="2218517"/>
                  <a:pt x="6781869" y="2217851"/>
                </a:cubicBezTo>
                <a:cubicBezTo>
                  <a:pt x="6783333" y="2217319"/>
                  <a:pt x="6784664" y="2216520"/>
                  <a:pt x="6785595" y="2215455"/>
                </a:cubicBezTo>
                <a:cubicBezTo>
                  <a:pt x="6786661" y="2214257"/>
                  <a:pt x="6787593" y="2212926"/>
                  <a:pt x="6788258" y="2211196"/>
                </a:cubicBezTo>
                <a:cubicBezTo>
                  <a:pt x="6789057" y="2209598"/>
                  <a:pt x="6789323" y="2207734"/>
                  <a:pt x="6789323" y="2205738"/>
                </a:cubicBezTo>
                <a:cubicBezTo>
                  <a:pt x="6789323" y="2203874"/>
                  <a:pt x="6788923" y="2202144"/>
                  <a:pt x="6788258" y="2200546"/>
                </a:cubicBezTo>
                <a:cubicBezTo>
                  <a:pt x="6787593" y="2198949"/>
                  <a:pt x="6786661" y="2197618"/>
                  <a:pt x="6785595" y="2196420"/>
                </a:cubicBezTo>
                <a:cubicBezTo>
                  <a:pt x="6784530" y="2195354"/>
                  <a:pt x="6783199" y="2194555"/>
                  <a:pt x="6781602" y="2193757"/>
                </a:cubicBezTo>
                <a:cubicBezTo>
                  <a:pt x="6780138" y="2193091"/>
                  <a:pt x="6778541" y="2192826"/>
                  <a:pt x="6776544" y="2192826"/>
                </a:cubicBezTo>
                <a:close/>
                <a:moveTo>
                  <a:pt x="6558899" y="2192826"/>
                </a:moveTo>
                <a:cubicBezTo>
                  <a:pt x="6553042" y="2192826"/>
                  <a:pt x="6550512" y="2194822"/>
                  <a:pt x="6548915" y="2196420"/>
                </a:cubicBezTo>
                <a:cubicBezTo>
                  <a:pt x="6546386" y="2199082"/>
                  <a:pt x="6545321" y="2201878"/>
                  <a:pt x="6545321" y="2205871"/>
                </a:cubicBezTo>
                <a:cubicBezTo>
                  <a:pt x="6545321" y="2209999"/>
                  <a:pt x="6546386" y="2212793"/>
                  <a:pt x="6548915" y="2215322"/>
                </a:cubicBezTo>
                <a:cubicBezTo>
                  <a:pt x="6550512" y="2216920"/>
                  <a:pt x="6553042" y="2218783"/>
                  <a:pt x="6558899" y="2218783"/>
                </a:cubicBezTo>
                <a:cubicBezTo>
                  <a:pt x="6560895" y="2218783"/>
                  <a:pt x="6562759" y="2218517"/>
                  <a:pt x="6564223" y="2217851"/>
                </a:cubicBezTo>
                <a:cubicBezTo>
                  <a:pt x="6565687" y="2217319"/>
                  <a:pt x="6567019" y="2216520"/>
                  <a:pt x="6567950" y="2215455"/>
                </a:cubicBezTo>
                <a:cubicBezTo>
                  <a:pt x="6569015" y="2214257"/>
                  <a:pt x="6569947" y="2212926"/>
                  <a:pt x="6570612" y="2211196"/>
                </a:cubicBezTo>
                <a:cubicBezTo>
                  <a:pt x="6571412" y="2209598"/>
                  <a:pt x="6571677" y="2207734"/>
                  <a:pt x="6571677" y="2205738"/>
                </a:cubicBezTo>
                <a:cubicBezTo>
                  <a:pt x="6571677" y="2203874"/>
                  <a:pt x="6571278" y="2202144"/>
                  <a:pt x="6570612" y="2200546"/>
                </a:cubicBezTo>
                <a:cubicBezTo>
                  <a:pt x="6569947" y="2198949"/>
                  <a:pt x="6569015" y="2197618"/>
                  <a:pt x="6567950" y="2196420"/>
                </a:cubicBezTo>
                <a:cubicBezTo>
                  <a:pt x="6566885" y="2195354"/>
                  <a:pt x="6565554" y="2194555"/>
                  <a:pt x="6563956" y="2193757"/>
                </a:cubicBezTo>
                <a:cubicBezTo>
                  <a:pt x="6562492" y="2193091"/>
                  <a:pt x="6560895" y="2192826"/>
                  <a:pt x="6558899" y="2192826"/>
                </a:cubicBezTo>
                <a:close/>
                <a:moveTo>
                  <a:pt x="6341253" y="2192826"/>
                </a:moveTo>
                <a:cubicBezTo>
                  <a:pt x="6335396" y="2192826"/>
                  <a:pt x="6332867" y="2194822"/>
                  <a:pt x="6331270" y="2196420"/>
                </a:cubicBezTo>
                <a:cubicBezTo>
                  <a:pt x="6328740" y="2199082"/>
                  <a:pt x="6327675" y="2201878"/>
                  <a:pt x="6327675" y="2205871"/>
                </a:cubicBezTo>
                <a:cubicBezTo>
                  <a:pt x="6327675" y="2209999"/>
                  <a:pt x="6328740" y="2212793"/>
                  <a:pt x="6331270" y="2215322"/>
                </a:cubicBezTo>
                <a:cubicBezTo>
                  <a:pt x="6332867" y="2216920"/>
                  <a:pt x="6335396" y="2218783"/>
                  <a:pt x="6341253" y="2218783"/>
                </a:cubicBezTo>
                <a:cubicBezTo>
                  <a:pt x="6343250" y="2218783"/>
                  <a:pt x="6345114" y="2218517"/>
                  <a:pt x="6346578" y="2217851"/>
                </a:cubicBezTo>
                <a:cubicBezTo>
                  <a:pt x="6348042" y="2217319"/>
                  <a:pt x="6349373" y="2216520"/>
                  <a:pt x="6350305" y="2215455"/>
                </a:cubicBezTo>
                <a:cubicBezTo>
                  <a:pt x="6351370" y="2214257"/>
                  <a:pt x="6352302" y="2212926"/>
                  <a:pt x="6352968" y="2211196"/>
                </a:cubicBezTo>
                <a:cubicBezTo>
                  <a:pt x="6353766" y="2209598"/>
                  <a:pt x="6354033" y="2207734"/>
                  <a:pt x="6354033" y="2205738"/>
                </a:cubicBezTo>
                <a:cubicBezTo>
                  <a:pt x="6354033" y="2203874"/>
                  <a:pt x="6353633" y="2202144"/>
                  <a:pt x="6352968" y="2200546"/>
                </a:cubicBezTo>
                <a:cubicBezTo>
                  <a:pt x="6352302" y="2198949"/>
                  <a:pt x="6351370" y="2197618"/>
                  <a:pt x="6350305" y="2196420"/>
                </a:cubicBezTo>
                <a:cubicBezTo>
                  <a:pt x="6349241" y="2195354"/>
                  <a:pt x="6347909" y="2194555"/>
                  <a:pt x="6346312" y="2193757"/>
                </a:cubicBezTo>
                <a:cubicBezTo>
                  <a:pt x="6344848" y="2193091"/>
                  <a:pt x="6343250" y="2192826"/>
                  <a:pt x="6341253" y="2192826"/>
                </a:cubicBezTo>
                <a:close/>
                <a:moveTo>
                  <a:pt x="6123608" y="2192826"/>
                </a:moveTo>
                <a:cubicBezTo>
                  <a:pt x="6117751" y="2192826"/>
                  <a:pt x="6115221" y="2194822"/>
                  <a:pt x="6113624" y="2196420"/>
                </a:cubicBezTo>
                <a:cubicBezTo>
                  <a:pt x="6111095" y="2199082"/>
                  <a:pt x="6110030" y="2201878"/>
                  <a:pt x="6110030" y="2205871"/>
                </a:cubicBezTo>
                <a:cubicBezTo>
                  <a:pt x="6110030" y="2209999"/>
                  <a:pt x="6111095" y="2212793"/>
                  <a:pt x="6113624" y="2215322"/>
                </a:cubicBezTo>
                <a:cubicBezTo>
                  <a:pt x="6115221" y="2216920"/>
                  <a:pt x="6117751" y="2218783"/>
                  <a:pt x="6123608" y="2218783"/>
                </a:cubicBezTo>
                <a:cubicBezTo>
                  <a:pt x="6125737" y="2218783"/>
                  <a:pt x="6127468" y="2218517"/>
                  <a:pt x="6128932" y="2217851"/>
                </a:cubicBezTo>
                <a:cubicBezTo>
                  <a:pt x="6130530" y="2217319"/>
                  <a:pt x="6131728" y="2216520"/>
                  <a:pt x="6132659" y="2215455"/>
                </a:cubicBezTo>
                <a:cubicBezTo>
                  <a:pt x="6133724" y="2214257"/>
                  <a:pt x="6134656" y="2212926"/>
                  <a:pt x="6135322" y="2211196"/>
                </a:cubicBezTo>
                <a:cubicBezTo>
                  <a:pt x="6135987" y="2209598"/>
                  <a:pt x="6136387" y="2207734"/>
                  <a:pt x="6136387" y="2205738"/>
                </a:cubicBezTo>
                <a:cubicBezTo>
                  <a:pt x="6136387" y="2203874"/>
                  <a:pt x="6135987" y="2202144"/>
                  <a:pt x="6135322" y="2200546"/>
                </a:cubicBezTo>
                <a:cubicBezTo>
                  <a:pt x="6134656" y="2198949"/>
                  <a:pt x="6133724" y="2197618"/>
                  <a:pt x="6132659" y="2196420"/>
                </a:cubicBezTo>
                <a:cubicBezTo>
                  <a:pt x="6131594" y="2195354"/>
                  <a:pt x="6130263" y="2194555"/>
                  <a:pt x="6128666" y="2193757"/>
                </a:cubicBezTo>
                <a:cubicBezTo>
                  <a:pt x="6127202" y="2193091"/>
                  <a:pt x="6125604" y="2192826"/>
                  <a:pt x="6123608" y="2192826"/>
                </a:cubicBezTo>
                <a:close/>
                <a:moveTo>
                  <a:pt x="5905963" y="2192826"/>
                </a:moveTo>
                <a:cubicBezTo>
                  <a:pt x="5900106" y="2192826"/>
                  <a:pt x="5897576" y="2194822"/>
                  <a:pt x="5895979" y="2196420"/>
                </a:cubicBezTo>
                <a:cubicBezTo>
                  <a:pt x="5893450" y="2199082"/>
                  <a:pt x="5892385" y="2201878"/>
                  <a:pt x="5892385" y="2205871"/>
                </a:cubicBezTo>
                <a:cubicBezTo>
                  <a:pt x="5892385" y="2209999"/>
                  <a:pt x="5893450" y="2212793"/>
                  <a:pt x="5895979" y="2215322"/>
                </a:cubicBezTo>
                <a:cubicBezTo>
                  <a:pt x="5897576" y="2216920"/>
                  <a:pt x="5900106" y="2218783"/>
                  <a:pt x="5905963" y="2218783"/>
                </a:cubicBezTo>
                <a:cubicBezTo>
                  <a:pt x="5908093" y="2218783"/>
                  <a:pt x="5909823" y="2218517"/>
                  <a:pt x="5911287" y="2217851"/>
                </a:cubicBezTo>
                <a:cubicBezTo>
                  <a:pt x="5912751" y="2217319"/>
                  <a:pt x="5914083" y="2216520"/>
                  <a:pt x="5915014" y="2215455"/>
                </a:cubicBezTo>
                <a:cubicBezTo>
                  <a:pt x="5916079" y="2214257"/>
                  <a:pt x="5917011" y="2212926"/>
                  <a:pt x="5917677" y="2211196"/>
                </a:cubicBezTo>
                <a:cubicBezTo>
                  <a:pt x="5918342" y="2209598"/>
                  <a:pt x="5918742" y="2207734"/>
                  <a:pt x="5918742" y="2205738"/>
                </a:cubicBezTo>
                <a:cubicBezTo>
                  <a:pt x="5918742" y="2203874"/>
                  <a:pt x="5918342" y="2202144"/>
                  <a:pt x="5917677" y="2200546"/>
                </a:cubicBezTo>
                <a:cubicBezTo>
                  <a:pt x="5917011" y="2198949"/>
                  <a:pt x="5916079" y="2197618"/>
                  <a:pt x="5915014" y="2196420"/>
                </a:cubicBezTo>
                <a:cubicBezTo>
                  <a:pt x="5913950" y="2195354"/>
                  <a:pt x="5912618" y="2194555"/>
                  <a:pt x="5911021" y="2193757"/>
                </a:cubicBezTo>
                <a:cubicBezTo>
                  <a:pt x="5909557" y="2193091"/>
                  <a:pt x="5907826" y="2192826"/>
                  <a:pt x="5905963" y="2192826"/>
                </a:cubicBezTo>
                <a:close/>
                <a:moveTo>
                  <a:pt x="5688451" y="2192826"/>
                </a:moveTo>
                <a:cubicBezTo>
                  <a:pt x="5682594" y="2192826"/>
                  <a:pt x="5680064" y="2194822"/>
                  <a:pt x="5678467" y="2196420"/>
                </a:cubicBezTo>
                <a:cubicBezTo>
                  <a:pt x="5675938" y="2199082"/>
                  <a:pt x="5674873" y="2201878"/>
                  <a:pt x="5674873" y="2205871"/>
                </a:cubicBezTo>
                <a:cubicBezTo>
                  <a:pt x="5674873" y="2209999"/>
                  <a:pt x="5675938" y="2212793"/>
                  <a:pt x="5678467" y="2215322"/>
                </a:cubicBezTo>
                <a:cubicBezTo>
                  <a:pt x="5680064" y="2216920"/>
                  <a:pt x="5682594" y="2218783"/>
                  <a:pt x="5688451" y="2218783"/>
                </a:cubicBezTo>
                <a:cubicBezTo>
                  <a:pt x="5690447" y="2218783"/>
                  <a:pt x="5692178" y="2218517"/>
                  <a:pt x="5693775" y="2217851"/>
                </a:cubicBezTo>
                <a:cubicBezTo>
                  <a:pt x="5695239" y="2217319"/>
                  <a:pt x="5696571" y="2216520"/>
                  <a:pt x="5697502" y="2215455"/>
                </a:cubicBezTo>
                <a:cubicBezTo>
                  <a:pt x="5698567" y="2214257"/>
                  <a:pt x="5699499" y="2212926"/>
                  <a:pt x="5700165" y="2211196"/>
                </a:cubicBezTo>
                <a:cubicBezTo>
                  <a:pt x="5700830" y="2209598"/>
                  <a:pt x="5701230" y="2207734"/>
                  <a:pt x="5701230" y="2205738"/>
                </a:cubicBezTo>
                <a:cubicBezTo>
                  <a:pt x="5701230" y="2203874"/>
                  <a:pt x="5700830" y="2202144"/>
                  <a:pt x="5700165" y="2200546"/>
                </a:cubicBezTo>
                <a:cubicBezTo>
                  <a:pt x="5699499" y="2198949"/>
                  <a:pt x="5698567" y="2197618"/>
                  <a:pt x="5697502" y="2196420"/>
                </a:cubicBezTo>
                <a:cubicBezTo>
                  <a:pt x="5696437" y="2195354"/>
                  <a:pt x="5695106" y="2194555"/>
                  <a:pt x="5693509" y="2193757"/>
                </a:cubicBezTo>
                <a:cubicBezTo>
                  <a:pt x="5692045" y="2193091"/>
                  <a:pt x="5690314" y="2192826"/>
                  <a:pt x="5688451" y="2192826"/>
                </a:cubicBezTo>
                <a:close/>
                <a:moveTo>
                  <a:pt x="5470806" y="2192826"/>
                </a:moveTo>
                <a:cubicBezTo>
                  <a:pt x="5464949" y="2192826"/>
                  <a:pt x="5462419" y="2194822"/>
                  <a:pt x="5460822" y="2196420"/>
                </a:cubicBezTo>
                <a:cubicBezTo>
                  <a:pt x="5458293" y="2199082"/>
                  <a:pt x="5457228" y="2201878"/>
                  <a:pt x="5457228" y="2205871"/>
                </a:cubicBezTo>
                <a:cubicBezTo>
                  <a:pt x="5457228" y="2209999"/>
                  <a:pt x="5458293" y="2212793"/>
                  <a:pt x="5460822" y="2215322"/>
                </a:cubicBezTo>
                <a:cubicBezTo>
                  <a:pt x="5462419" y="2216920"/>
                  <a:pt x="5464949" y="2218783"/>
                  <a:pt x="5470806" y="2218783"/>
                </a:cubicBezTo>
                <a:cubicBezTo>
                  <a:pt x="5472802" y="2218783"/>
                  <a:pt x="5474666" y="2218517"/>
                  <a:pt x="5476130" y="2217851"/>
                </a:cubicBezTo>
                <a:cubicBezTo>
                  <a:pt x="5477594" y="2217319"/>
                  <a:pt x="5478926" y="2216520"/>
                  <a:pt x="5479857" y="2215455"/>
                </a:cubicBezTo>
                <a:cubicBezTo>
                  <a:pt x="5480922" y="2214257"/>
                  <a:pt x="5481854" y="2212926"/>
                  <a:pt x="5482520" y="2211196"/>
                </a:cubicBezTo>
                <a:cubicBezTo>
                  <a:pt x="5483319" y="2209598"/>
                  <a:pt x="5483585" y="2207734"/>
                  <a:pt x="5483585" y="2205738"/>
                </a:cubicBezTo>
                <a:cubicBezTo>
                  <a:pt x="5483585" y="2203874"/>
                  <a:pt x="5483185" y="2202144"/>
                  <a:pt x="5482520" y="2200546"/>
                </a:cubicBezTo>
                <a:cubicBezTo>
                  <a:pt x="5481854" y="2198949"/>
                  <a:pt x="5480922" y="2197618"/>
                  <a:pt x="5479857" y="2196420"/>
                </a:cubicBezTo>
                <a:cubicBezTo>
                  <a:pt x="5478793" y="2195354"/>
                  <a:pt x="5477461" y="2194555"/>
                  <a:pt x="5475864" y="2193757"/>
                </a:cubicBezTo>
                <a:cubicBezTo>
                  <a:pt x="5474400" y="2193091"/>
                  <a:pt x="5472669" y="2192826"/>
                  <a:pt x="5470806" y="2192826"/>
                </a:cubicBezTo>
                <a:close/>
                <a:moveTo>
                  <a:pt x="5253160" y="2192826"/>
                </a:moveTo>
                <a:cubicBezTo>
                  <a:pt x="5247303" y="2192826"/>
                  <a:pt x="5244774" y="2194822"/>
                  <a:pt x="5243177" y="2196420"/>
                </a:cubicBezTo>
                <a:cubicBezTo>
                  <a:pt x="5240647" y="2199082"/>
                  <a:pt x="5239583" y="2201878"/>
                  <a:pt x="5239583" y="2205871"/>
                </a:cubicBezTo>
                <a:cubicBezTo>
                  <a:pt x="5239583" y="2209999"/>
                  <a:pt x="5240647" y="2212793"/>
                  <a:pt x="5243177" y="2215322"/>
                </a:cubicBezTo>
                <a:cubicBezTo>
                  <a:pt x="5244774" y="2216920"/>
                  <a:pt x="5247303" y="2218783"/>
                  <a:pt x="5253160" y="2218783"/>
                </a:cubicBezTo>
                <a:cubicBezTo>
                  <a:pt x="5255157" y="2218783"/>
                  <a:pt x="5257021" y="2218517"/>
                  <a:pt x="5258485" y="2217851"/>
                </a:cubicBezTo>
                <a:cubicBezTo>
                  <a:pt x="5259949" y="2217319"/>
                  <a:pt x="5261280" y="2216520"/>
                  <a:pt x="5262212" y="2215455"/>
                </a:cubicBezTo>
                <a:cubicBezTo>
                  <a:pt x="5263277" y="2214257"/>
                  <a:pt x="5264209" y="2212926"/>
                  <a:pt x="5264875" y="2211196"/>
                </a:cubicBezTo>
                <a:cubicBezTo>
                  <a:pt x="5265673" y="2209598"/>
                  <a:pt x="5265939" y="2207734"/>
                  <a:pt x="5265939" y="2205738"/>
                </a:cubicBezTo>
                <a:cubicBezTo>
                  <a:pt x="5265939" y="2203874"/>
                  <a:pt x="5265540" y="2202144"/>
                  <a:pt x="5264875" y="2200546"/>
                </a:cubicBezTo>
                <a:cubicBezTo>
                  <a:pt x="5264209" y="2198949"/>
                  <a:pt x="5263277" y="2197618"/>
                  <a:pt x="5262212" y="2196420"/>
                </a:cubicBezTo>
                <a:cubicBezTo>
                  <a:pt x="5261147" y="2195354"/>
                  <a:pt x="5259816" y="2194555"/>
                  <a:pt x="5258219" y="2193757"/>
                </a:cubicBezTo>
                <a:cubicBezTo>
                  <a:pt x="5256754" y="2193091"/>
                  <a:pt x="5255024" y="2192826"/>
                  <a:pt x="5253160" y="2192826"/>
                </a:cubicBezTo>
                <a:close/>
                <a:moveTo>
                  <a:pt x="5035515" y="2192826"/>
                </a:moveTo>
                <a:cubicBezTo>
                  <a:pt x="5029658" y="2192826"/>
                  <a:pt x="5027129" y="2194822"/>
                  <a:pt x="5025532" y="2196420"/>
                </a:cubicBezTo>
                <a:cubicBezTo>
                  <a:pt x="5023002" y="2199082"/>
                  <a:pt x="5021938" y="2201878"/>
                  <a:pt x="5021938" y="2205871"/>
                </a:cubicBezTo>
                <a:cubicBezTo>
                  <a:pt x="5021938" y="2209999"/>
                  <a:pt x="5023002" y="2212793"/>
                  <a:pt x="5025532" y="2215322"/>
                </a:cubicBezTo>
                <a:cubicBezTo>
                  <a:pt x="5027129" y="2216920"/>
                  <a:pt x="5029658" y="2218783"/>
                  <a:pt x="5035515" y="2218783"/>
                </a:cubicBezTo>
                <a:cubicBezTo>
                  <a:pt x="5037645" y="2218783"/>
                  <a:pt x="5039376" y="2218517"/>
                  <a:pt x="5040840" y="2217851"/>
                </a:cubicBezTo>
                <a:cubicBezTo>
                  <a:pt x="5042304" y="2217319"/>
                  <a:pt x="5043636" y="2216520"/>
                  <a:pt x="5044567" y="2215455"/>
                </a:cubicBezTo>
                <a:cubicBezTo>
                  <a:pt x="5045632" y="2214257"/>
                  <a:pt x="5046564" y="2212926"/>
                  <a:pt x="5047230" y="2211196"/>
                </a:cubicBezTo>
                <a:cubicBezTo>
                  <a:pt x="5048028" y="2209598"/>
                  <a:pt x="5048294" y="2207734"/>
                  <a:pt x="5048294" y="2205738"/>
                </a:cubicBezTo>
                <a:cubicBezTo>
                  <a:pt x="5048294" y="2203874"/>
                  <a:pt x="5047895" y="2202144"/>
                  <a:pt x="5047230" y="2200546"/>
                </a:cubicBezTo>
                <a:cubicBezTo>
                  <a:pt x="5046564" y="2198949"/>
                  <a:pt x="5045632" y="2197618"/>
                  <a:pt x="5044567" y="2196420"/>
                </a:cubicBezTo>
                <a:cubicBezTo>
                  <a:pt x="5043502" y="2195354"/>
                  <a:pt x="5042171" y="2194555"/>
                  <a:pt x="5040574" y="2193757"/>
                </a:cubicBezTo>
                <a:cubicBezTo>
                  <a:pt x="5039110" y="2193091"/>
                  <a:pt x="5037379" y="2192826"/>
                  <a:pt x="5035515" y="2192826"/>
                </a:cubicBezTo>
                <a:close/>
                <a:moveTo>
                  <a:pt x="4817870" y="2192826"/>
                </a:moveTo>
                <a:cubicBezTo>
                  <a:pt x="4812013" y="2192826"/>
                  <a:pt x="4809484" y="2194822"/>
                  <a:pt x="4807887" y="2196420"/>
                </a:cubicBezTo>
                <a:cubicBezTo>
                  <a:pt x="4805357" y="2199082"/>
                  <a:pt x="4804293" y="2201878"/>
                  <a:pt x="4804293" y="2205871"/>
                </a:cubicBezTo>
                <a:cubicBezTo>
                  <a:pt x="4804293" y="2209999"/>
                  <a:pt x="4805357" y="2212793"/>
                  <a:pt x="4807887" y="2215322"/>
                </a:cubicBezTo>
                <a:cubicBezTo>
                  <a:pt x="4809484" y="2216920"/>
                  <a:pt x="4812013" y="2218783"/>
                  <a:pt x="4817870" y="2218783"/>
                </a:cubicBezTo>
                <a:cubicBezTo>
                  <a:pt x="4820000" y="2218783"/>
                  <a:pt x="4821731" y="2218517"/>
                  <a:pt x="4823195" y="2217851"/>
                </a:cubicBezTo>
                <a:cubicBezTo>
                  <a:pt x="4824659" y="2217319"/>
                  <a:pt x="4825857" y="2216520"/>
                  <a:pt x="4826922" y="2215455"/>
                </a:cubicBezTo>
                <a:cubicBezTo>
                  <a:pt x="4827987" y="2214257"/>
                  <a:pt x="4828919" y="2212926"/>
                  <a:pt x="4829585" y="2211196"/>
                </a:cubicBezTo>
                <a:cubicBezTo>
                  <a:pt x="4830383" y="2209598"/>
                  <a:pt x="4830650" y="2207734"/>
                  <a:pt x="4830650" y="2205738"/>
                </a:cubicBezTo>
                <a:cubicBezTo>
                  <a:pt x="4830650" y="2203874"/>
                  <a:pt x="4830250" y="2202144"/>
                  <a:pt x="4829585" y="2200546"/>
                </a:cubicBezTo>
                <a:cubicBezTo>
                  <a:pt x="4828919" y="2198949"/>
                  <a:pt x="4827987" y="2197618"/>
                  <a:pt x="4826922" y="2196420"/>
                </a:cubicBezTo>
                <a:cubicBezTo>
                  <a:pt x="4825857" y="2195354"/>
                  <a:pt x="4824526" y="2194555"/>
                  <a:pt x="4822929" y="2193757"/>
                </a:cubicBezTo>
                <a:cubicBezTo>
                  <a:pt x="4821465" y="2193091"/>
                  <a:pt x="4819734" y="2192826"/>
                  <a:pt x="4817870" y="2192826"/>
                </a:cubicBezTo>
                <a:close/>
                <a:moveTo>
                  <a:pt x="4600226" y="2192826"/>
                </a:moveTo>
                <a:cubicBezTo>
                  <a:pt x="4594369" y="2192826"/>
                  <a:pt x="4591839" y="2194822"/>
                  <a:pt x="4590242" y="2196420"/>
                </a:cubicBezTo>
                <a:cubicBezTo>
                  <a:pt x="4587713" y="2199082"/>
                  <a:pt x="4586648" y="2201878"/>
                  <a:pt x="4586648" y="2205871"/>
                </a:cubicBezTo>
                <a:cubicBezTo>
                  <a:pt x="4586648" y="2209999"/>
                  <a:pt x="4587713" y="2212793"/>
                  <a:pt x="4590242" y="2215322"/>
                </a:cubicBezTo>
                <a:cubicBezTo>
                  <a:pt x="4591839" y="2216920"/>
                  <a:pt x="4594369" y="2218783"/>
                  <a:pt x="4600226" y="2218783"/>
                </a:cubicBezTo>
                <a:cubicBezTo>
                  <a:pt x="4602355" y="2218783"/>
                  <a:pt x="4604086" y="2218517"/>
                  <a:pt x="4605550" y="2217851"/>
                </a:cubicBezTo>
                <a:cubicBezTo>
                  <a:pt x="4607148" y="2217319"/>
                  <a:pt x="4608346" y="2216520"/>
                  <a:pt x="4609277" y="2215455"/>
                </a:cubicBezTo>
                <a:cubicBezTo>
                  <a:pt x="4610342" y="2214257"/>
                  <a:pt x="4611274" y="2212926"/>
                  <a:pt x="4611940" y="2211196"/>
                </a:cubicBezTo>
                <a:cubicBezTo>
                  <a:pt x="4612605" y="2209598"/>
                  <a:pt x="4613005" y="2207734"/>
                  <a:pt x="4613005" y="2205738"/>
                </a:cubicBezTo>
                <a:cubicBezTo>
                  <a:pt x="4613005" y="2203874"/>
                  <a:pt x="4612605" y="2202144"/>
                  <a:pt x="4611940" y="2200546"/>
                </a:cubicBezTo>
                <a:cubicBezTo>
                  <a:pt x="4611274" y="2198949"/>
                  <a:pt x="4610342" y="2197618"/>
                  <a:pt x="4609277" y="2196420"/>
                </a:cubicBezTo>
                <a:cubicBezTo>
                  <a:pt x="4608212" y="2195354"/>
                  <a:pt x="4606881" y="2194555"/>
                  <a:pt x="4605284" y="2193757"/>
                </a:cubicBezTo>
                <a:cubicBezTo>
                  <a:pt x="4603820" y="2193091"/>
                  <a:pt x="4602222" y="2192826"/>
                  <a:pt x="4600226" y="2192826"/>
                </a:cubicBezTo>
                <a:close/>
                <a:moveTo>
                  <a:pt x="4382713" y="2192826"/>
                </a:moveTo>
                <a:cubicBezTo>
                  <a:pt x="4376857" y="2192826"/>
                  <a:pt x="4374327" y="2194822"/>
                  <a:pt x="4372730" y="2196420"/>
                </a:cubicBezTo>
                <a:cubicBezTo>
                  <a:pt x="4370201" y="2199082"/>
                  <a:pt x="4369136" y="2201878"/>
                  <a:pt x="4369136" y="2205871"/>
                </a:cubicBezTo>
                <a:cubicBezTo>
                  <a:pt x="4369136" y="2209999"/>
                  <a:pt x="4370201" y="2212793"/>
                  <a:pt x="4372730" y="2215322"/>
                </a:cubicBezTo>
                <a:cubicBezTo>
                  <a:pt x="4374327" y="2216920"/>
                  <a:pt x="4376857" y="2218783"/>
                  <a:pt x="4382713" y="2218783"/>
                </a:cubicBezTo>
                <a:cubicBezTo>
                  <a:pt x="4384710" y="2218783"/>
                  <a:pt x="4386441" y="2218517"/>
                  <a:pt x="4388038" y="2217851"/>
                </a:cubicBezTo>
                <a:cubicBezTo>
                  <a:pt x="4389502" y="2217319"/>
                  <a:pt x="4390834" y="2216520"/>
                  <a:pt x="4391765" y="2215455"/>
                </a:cubicBezTo>
                <a:cubicBezTo>
                  <a:pt x="4392830" y="2214257"/>
                  <a:pt x="4393762" y="2212926"/>
                  <a:pt x="4394428" y="2211196"/>
                </a:cubicBezTo>
                <a:cubicBezTo>
                  <a:pt x="4395093" y="2209598"/>
                  <a:pt x="4395493" y="2207734"/>
                  <a:pt x="4395493" y="2205738"/>
                </a:cubicBezTo>
                <a:cubicBezTo>
                  <a:pt x="4395493" y="2203874"/>
                  <a:pt x="4395093" y="2202144"/>
                  <a:pt x="4394428" y="2200546"/>
                </a:cubicBezTo>
                <a:cubicBezTo>
                  <a:pt x="4393762" y="2198949"/>
                  <a:pt x="4392830" y="2197618"/>
                  <a:pt x="4391765" y="2196420"/>
                </a:cubicBezTo>
                <a:cubicBezTo>
                  <a:pt x="4390700" y="2195354"/>
                  <a:pt x="4389369" y="2194555"/>
                  <a:pt x="4387772" y="2193757"/>
                </a:cubicBezTo>
                <a:cubicBezTo>
                  <a:pt x="4386308" y="2193091"/>
                  <a:pt x="4384710" y="2192826"/>
                  <a:pt x="4382713" y="2192826"/>
                </a:cubicBezTo>
                <a:close/>
                <a:moveTo>
                  <a:pt x="4165068" y="2192826"/>
                </a:moveTo>
                <a:cubicBezTo>
                  <a:pt x="4159211" y="2192826"/>
                  <a:pt x="4156681" y="2194822"/>
                  <a:pt x="4155084" y="2196420"/>
                </a:cubicBezTo>
                <a:cubicBezTo>
                  <a:pt x="4152555" y="2199082"/>
                  <a:pt x="4151490" y="2201878"/>
                  <a:pt x="4151490" y="2205871"/>
                </a:cubicBezTo>
                <a:cubicBezTo>
                  <a:pt x="4151490" y="2209999"/>
                  <a:pt x="4152555" y="2212793"/>
                  <a:pt x="4155084" y="2215322"/>
                </a:cubicBezTo>
                <a:cubicBezTo>
                  <a:pt x="4156681" y="2216920"/>
                  <a:pt x="4159211" y="2218783"/>
                  <a:pt x="4165068" y="2218783"/>
                </a:cubicBezTo>
                <a:cubicBezTo>
                  <a:pt x="4167064" y="2218783"/>
                  <a:pt x="4168928" y="2218517"/>
                  <a:pt x="4170392" y="2217851"/>
                </a:cubicBezTo>
                <a:cubicBezTo>
                  <a:pt x="4171856" y="2217319"/>
                  <a:pt x="4173188" y="2216520"/>
                  <a:pt x="4174119" y="2215455"/>
                </a:cubicBezTo>
                <a:cubicBezTo>
                  <a:pt x="4175184" y="2214257"/>
                  <a:pt x="4176116" y="2212926"/>
                  <a:pt x="4176782" y="2211196"/>
                </a:cubicBezTo>
                <a:cubicBezTo>
                  <a:pt x="4177447" y="2209598"/>
                  <a:pt x="4177847" y="2207734"/>
                  <a:pt x="4177847" y="2205738"/>
                </a:cubicBezTo>
                <a:cubicBezTo>
                  <a:pt x="4177847" y="2203874"/>
                  <a:pt x="4177447" y="2202144"/>
                  <a:pt x="4176782" y="2200546"/>
                </a:cubicBezTo>
                <a:cubicBezTo>
                  <a:pt x="4176116" y="2198949"/>
                  <a:pt x="4175184" y="2197618"/>
                  <a:pt x="4174119" y="2196420"/>
                </a:cubicBezTo>
                <a:cubicBezTo>
                  <a:pt x="4173054" y="2195354"/>
                  <a:pt x="4171723" y="2194555"/>
                  <a:pt x="4170126" y="2193757"/>
                </a:cubicBezTo>
                <a:cubicBezTo>
                  <a:pt x="4168662" y="2193091"/>
                  <a:pt x="4167064" y="2192826"/>
                  <a:pt x="4165068" y="2192826"/>
                </a:cubicBezTo>
                <a:close/>
                <a:moveTo>
                  <a:pt x="3947547" y="2192826"/>
                </a:moveTo>
                <a:cubicBezTo>
                  <a:pt x="3941689" y="2192826"/>
                  <a:pt x="3939160" y="2194822"/>
                  <a:pt x="3937564" y="2196420"/>
                </a:cubicBezTo>
                <a:cubicBezTo>
                  <a:pt x="3935033" y="2199082"/>
                  <a:pt x="3933969" y="2201878"/>
                  <a:pt x="3933969" y="2205871"/>
                </a:cubicBezTo>
                <a:cubicBezTo>
                  <a:pt x="3933969" y="2209999"/>
                  <a:pt x="3935033" y="2212793"/>
                  <a:pt x="3937564" y="2215322"/>
                </a:cubicBezTo>
                <a:cubicBezTo>
                  <a:pt x="3939160" y="2216920"/>
                  <a:pt x="3941689" y="2218783"/>
                  <a:pt x="3947547" y="2218783"/>
                </a:cubicBezTo>
                <a:cubicBezTo>
                  <a:pt x="3949545" y="2218783"/>
                  <a:pt x="3951407" y="2218517"/>
                  <a:pt x="3952873" y="2217851"/>
                </a:cubicBezTo>
                <a:cubicBezTo>
                  <a:pt x="3954336" y="2217319"/>
                  <a:pt x="3955667" y="2216520"/>
                  <a:pt x="3956600" y="2215455"/>
                </a:cubicBezTo>
                <a:cubicBezTo>
                  <a:pt x="3957665" y="2214257"/>
                  <a:pt x="3958597" y="2212926"/>
                  <a:pt x="3959262" y="2211196"/>
                </a:cubicBezTo>
                <a:cubicBezTo>
                  <a:pt x="3959928" y="2209598"/>
                  <a:pt x="3960327" y="2207734"/>
                  <a:pt x="3960327" y="2205738"/>
                </a:cubicBezTo>
                <a:cubicBezTo>
                  <a:pt x="3960327" y="2203874"/>
                  <a:pt x="3959928" y="2202144"/>
                  <a:pt x="3959262" y="2200546"/>
                </a:cubicBezTo>
                <a:cubicBezTo>
                  <a:pt x="3958597" y="2198949"/>
                  <a:pt x="3957665" y="2197618"/>
                  <a:pt x="3956600" y="2196420"/>
                </a:cubicBezTo>
                <a:cubicBezTo>
                  <a:pt x="3955534" y="2195354"/>
                  <a:pt x="3954203" y="2194555"/>
                  <a:pt x="3952605" y="2193757"/>
                </a:cubicBezTo>
                <a:cubicBezTo>
                  <a:pt x="3951141" y="2193091"/>
                  <a:pt x="3949545" y="2192826"/>
                  <a:pt x="3947547" y="2192826"/>
                </a:cubicBezTo>
                <a:close/>
                <a:moveTo>
                  <a:pt x="3729896" y="2192826"/>
                </a:moveTo>
                <a:cubicBezTo>
                  <a:pt x="3724038" y="2192826"/>
                  <a:pt x="3721509" y="2194822"/>
                  <a:pt x="3719910" y="2196420"/>
                </a:cubicBezTo>
                <a:cubicBezTo>
                  <a:pt x="3717380" y="2199082"/>
                  <a:pt x="3716317" y="2201878"/>
                  <a:pt x="3716317" y="2205871"/>
                </a:cubicBezTo>
                <a:cubicBezTo>
                  <a:pt x="3716317" y="2209999"/>
                  <a:pt x="3717380" y="2212793"/>
                  <a:pt x="3719910" y="2215322"/>
                </a:cubicBezTo>
                <a:cubicBezTo>
                  <a:pt x="3721509" y="2216920"/>
                  <a:pt x="3724038" y="2218783"/>
                  <a:pt x="3729896" y="2218783"/>
                </a:cubicBezTo>
                <a:cubicBezTo>
                  <a:pt x="3732025" y="2218783"/>
                  <a:pt x="3733757" y="2218517"/>
                  <a:pt x="3735221" y="2217851"/>
                </a:cubicBezTo>
                <a:cubicBezTo>
                  <a:pt x="3736684" y="2217319"/>
                  <a:pt x="3738017" y="2216520"/>
                  <a:pt x="3738947" y="2215455"/>
                </a:cubicBezTo>
                <a:cubicBezTo>
                  <a:pt x="3740013" y="2214257"/>
                  <a:pt x="3740945" y="2212926"/>
                  <a:pt x="3741611" y="2211196"/>
                </a:cubicBezTo>
                <a:cubicBezTo>
                  <a:pt x="3742276" y="2209598"/>
                  <a:pt x="3742675" y="2207734"/>
                  <a:pt x="3742675" y="2205738"/>
                </a:cubicBezTo>
                <a:cubicBezTo>
                  <a:pt x="3742675" y="2203874"/>
                  <a:pt x="3742276" y="2202144"/>
                  <a:pt x="3741611" y="2200546"/>
                </a:cubicBezTo>
                <a:cubicBezTo>
                  <a:pt x="3740945" y="2198949"/>
                  <a:pt x="3740013" y="2197618"/>
                  <a:pt x="3738947" y="2196420"/>
                </a:cubicBezTo>
                <a:cubicBezTo>
                  <a:pt x="3737883" y="2195354"/>
                  <a:pt x="3736552" y="2194555"/>
                  <a:pt x="3734955" y="2193757"/>
                </a:cubicBezTo>
                <a:cubicBezTo>
                  <a:pt x="3733490" y="2193091"/>
                  <a:pt x="3731892" y="2192826"/>
                  <a:pt x="3729896" y="2192826"/>
                </a:cubicBezTo>
                <a:close/>
                <a:moveTo>
                  <a:pt x="3512244" y="2192826"/>
                </a:moveTo>
                <a:cubicBezTo>
                  <a:pt x="3506387" y="2192826"/>
                  <a:pt x="3503857" y="2194822"/>
                  <a:pt x="3502258" y="2196420"/>
                </a:cubicBezTo>
                <a:cubicBezTo>
                  <a:pt x="3499728" y="2199082"/>
                  <a:pt x="3498665" y="2201878"/>
                  <a:pt x="3498665" y="2205871"/>
                </a:cubicBezTo>
                <a:cubicBezTo>
                  <a:pt x="3498665" y="2209999"/>
                  <a:pt x="3499728" y="2212793"/>
                  <a:pt x="3502258" y="2215322"/>
                </a:cubicBezTo>
                <a:cubicBezTo>
                  <a:pt x="3503857" y="2216920"/>
                  <a:pt x="3506387" y="2218783"/>
                  <a:pt x="3512244" y="2218783"/>
                </a:cubicBezTo>
                <a:cubicBezTo>
                  <a:pt x="3514374" y="2218783"/>
                  <a:pt x="3516105" y="2218517"/>
                  <a:pt x="3517569" y="2217851"/>
                </a:cubicBezTo>
                <a:cubicBezTo>
                  <a:pt x="3519033" y="2217319"/>
                  <a:pt x="3520365" y="2216520"/>
                  <a:pt x="3521296" y="2215455"/>
                </a:cubicBezTo>
                <a:cubicBezTo>
                  <a:pt x="3522362" y="2214257"/>
                  <a:pt x="3523293" y="2212926"/>
                  <a:pt x="3523959" y="2211196"/>
                </a:cubicBezTo>
                <a:cubicBezTo>
                  <a:pt x="3524624" y="2209598"/>
                  <a:pt x="3525025" y="2207734"/>
                  <a:pt x="3525025" y="2205738"/>
                </a:cubicBezTo>
                <a:cubicBezTo>
                  <a:pt x="3525025" y="2203874"/>
                  <a:pt x="3524624" y="2202144"/>
                  <a:pt x="3523959" y="2200546"/>
                </a:cubicBezTo>
                <a:cubicBezTo>
                  <a:pt x="3523293" y="2198949"/>
                  <a:pt x="3522362" y="2197618"/>
                  <a:pt x="3521296" y="2196420"/>
                </a:cubicBezTo>
                <a:cubicBezTo>
                  <a:pt x="3520231" y="2195354"/>
                  <a:pt x="3518900" y="2194555"/>
                  <a:pt x="3517303" y="2193757"/>
                </a:cubicBezTo>
                <a:cubicBezTo>
                  <a:pt x="3515839" y="2193091"/>
                  <a:pt x="3514241" y="2192826"/>
                  <a:pt x="3512244" y="2192826"/>
                </a:cubicBezTo>
                <a:close/>
                <a:moveTo>
                  <a:pt x="3294726" y="2192826"/>
                </a:moveTo>
                <a:cubicBezTo>
                  <a:pt x="3288868" y="2192826"/>
                  <a:pt x="3286339" y="2194822"/>
                  <a:pt x="3284741" y="2196420"/>
                </a:cubicBezTo>
                <a:cubicBezTo>
                  <a:pt x="3282210" y="2199082"/>
                  <a:pt x="3281147" y="2201878"/>
                  <a:pt x="3281147" y="2205871"/>
                </a:cubicBezTo>
                <a:cubicBezTo>
                  <a:pt x="3281147" y="2209999"/>
                  <a:pt x="3282210" y="2212793"/>
                  <a:pt x="3284741" y="2215322"/>
                </a:cubicBezTo>
                <a:cubicBezTo>
                  <a:pt x="3286339" y="2216920"/>
                  <a:pt x="3288868" y="2218783"/>
                  <a:pt x="3294726" y="2218783"/>
                </a:cubicBezTo>
                <a:cubicBezTo>
                  <a:pt x="3296722" y="2218783"/>
                  <a:pt x="3298453" y="2218517"/>
                  <a:pt x="3300051" y="2217851"/>
                </a:cubicBezTo>
                <a:cubicBezTo>
                  <a:pt x="3301515" y="2217319"/>
                  <a:pt x="3302847" y="2216520"/>
                  <a:pt x="3303778" y="2215455"/>
                </a:cubicBezTo>
                <a:cubicBezTo>
                  <a:pt x="3304843" y="2214257"/>
                  <a:pt x="3305775" y="2212926"/>
                  <a:pt x="3306441" y="2211196"/>
                </a:cubicBezTo>
                <a:cubicBezTo>
                  <a:pt x="3307106" y="2209598"/>
                  <a:pt x="3307505" y="2207734"/>
                  <a:pt x="3307505" y="2205738"/>
                </a:cubicBezTo>
                <a:cubicBezTo>
                  <a:pt x="3307505" y="2203874"/>
                  <a:pt x="3307106" y="2202144"/>
                  <a:pt x="3306441" y="2200546"/>
                </a:cubicBezTo>
                <a:cubicBezTo>
                  <a:pt x="3305775" y="2198949"/>
                  <a:pt x="3304843" y="2197618"/>
                  <a:pt x="3303778" y="2196420"/>
                </a:cubicBezTo>
                <a:cubicBezTo>
                  <a:pt x="3302713" y="2195354"/>
                  <a:pt x="3301382" y="2194555"/>
                  <a:pt x="3299785" y="2193757"/>
                </a:cubicBezTo>
                <a:cubicBezTo>
                  <a:pt x="3298321" y="2193091"/>
                  <a:pt x="3296722" y="2192826"/>
                  <a:pt x="3294726" y="2192826"/>
                </a:cubicBezTo>
                <a:close/>
                <a:moveTo>
                  <a:pt x="3077207" y="2192826"/>
                </a:moveTo>
                <a:cubicBezTo>
                  <a:pt x="3071350" y="2192826"/>
                  <a:pt x="3068820" y="2194822"/>
                  <a:pt x="3067224" y="2196420"/>
                </a:cubicBezTo>
                <a:cubicBezTo>
                  <a:pt x="3064560" y="2199082"/>
                  <a:pt x="3063495" y="2201878"/>
                  <a:pt x="3063495" y="2205871"/>
                </a:cubicBezTo>
                <a:cubicBezTo>
                  <a:pt x="3063495" y="2209999"/>
                  <a:pt x="3064560" y="2212793"/>
                  <a:pt x="3067090" y="2215322"/>
                </a:cubicBezTo>
                <a:cubicBezTo>
                  <a:pt x="3068688" y="2216920"/>
                  <a:pt x="3071217" y="2218783"/>
                  <a:pt x="3077074" y="2218783"/>
                </a:cubicBezTo>
                <a:cubicBezTo>
                  <a:pt x="3079071" y="2218783"/>
                  <a:pt x="3080802" y="2218517"/>
                  <a:pt x="3082532" y="2217851"/>
                </a:cubicBezTo>
                <a:cubicBezTo>
                  <a:pt x="3083997" y="2217319"/>
                  <a:pt x="3085329" y="2216520"/>
                  <a:pt x="3086260" y="2215455"/>
                </a:cubicBezTo>
                <a:cubicBezTo>
                  <a:pt x="3087324" y="2214257"/>
                  <a:pt x="3088257" y="2212926"/>
                  <a:pt x="3088922" y="2211196"/>
                </a:cubicBezTo>
                <a:cubicBezTo>
                  <a:pt x="3089587" y="2209598"/>
                  <a:pt x="3089855" y="2207734"/>
                  <a:pt x="3089855" y="2205738"/>
                </a:cubicBezTo>
                <a:cubicBezTo>
                  <a:pt x="3089855" y="2203874"/>
                  <a:pt x="3089587" y="2202144"/>
                  <a:pt x="3088922" y="2200546"/>
                </a:cubicBezTo>
                <a:cubicBezTo>
                  <a:pt x="3088257" y="2198949"/>
                  <a:pt x="3087324" y="2197618"/>
                  <a:pt x="3086260" y="2196420"/>
                </a:cubicBezTo>
                <a:cubicBezTo>
                  <a:pt x="3085195" y="2195354"/>
                  <a:pt x="3083863" y="2194555"/>
                  <a:pt x="3082267" y="2193757"/>
                </a:cubicBezTo>
                <a:cubicBezTo>
                  <a:pt x="3080802" y="2193091"/>
                  <a:pt x="3079204" y="2192826"/>
                  <a:pt x="3077207" y="2192826"/>
                </a:cubicBezTo>
                <a:close/>
                <a:moveTo>
                  <a:pt x="2859423" y="2192826"/>
                </a:moveTo>
                <a:cubicBezTo>
                  <a:pt x="2853566" y="2192826"/>
                  <a:pt x="2851037" y="2194822"/>
                  <a:pt x="2849438" y="2196420"/>
                </a:cubicBezTo>
                <a:cubicBezTo>
                  <a:pt x="2846906" y="2199082"/>
                  <a:pt x="2845843" y="2201878"/>
                  <a:pt x="2845843" y="2205871"/>
                </a:cubicBezTo>
                <a:cubicBezTo>
                  <a:pt x="2845843" y="2209999"/>
                  <a:pt x="2846906" y="2212793"/>
                  <a:pt x="2849438" y="2215322"/>
                </a:cubicBezTo>
                <a:cubicBezTo>
                  <a:pt x="2851037" y="2216920"/>
                  <a:pt x="2853566" y="2218783"/>
                  <a:pt x="2859423" y="2218783"/>
                </a:cubicBezTo>
                <a:cubicBezTo>
                  <a:pt x="2861420" y="2218783"/>
                  <a:pt x="2863284" y="2218517"/>
                  <a:pt x="2864748" y="2217851"/>
                </a:cubicBezTo>
                <a:cubicBezTo>
                  <a:pt x="2866346" y="2217319"/>
                  <a:pt x="2867544" y="2216520"/>
                  <a:pt x="2868475" y="2215455"/>
                </a:cubicBezTo>
                <a:cubicBezTo>
                  <a:pt x="2869540" y="2214257"/>
                  <a:pt x="2870472" y="2212926"/>
                  <a:pt x="2871138" y="2211196"/>
                </a:cubicBezTo>
                <a:cubicBezTo>
                  <a:pt x="2871670" y="2209598"/>
                  <a:pt x="2872069" y="2207734"/>
                  <a:pt x="2872069" y="2205738"/>
                </a:cubicBezTo>
                <a:cubicBezTo>
                  <a:pt x="2872069" y="2203874"/>
                  <a:pt x="2871803" y="2202144"/>
                  <a:pt x="2871138" y="2200546"/>
                </a:cubicBezTo>
                <a:cubicBezTo>
                  <a:pt x="2870472" y="2198949"/>
                  <a:pt x="2869540" y="2197618"/>
                  <a:pt x="2868475" y="2196420"/>
                </a:cubicBezTo>
                <a:cubicBezTo>
                  <a:pt x="2867411" y="2195354"/>
                  <a:pt x="2866079" y="2194555"/>
                  <a:pt x="2864482" y="2193757"/>
                </a:cubicBezTo>
                <a:cubicBezTo>
                  <a:pt x="2863018" y="2193091"/>
                  <a:pt x="2861420" y="2192826"/>
                  <a:pt x="2859423" y="2192826"/>
                </a:cubicBezTo>
                <a:close/>
                <a:moveTo>
                  <a:pt x="2641771" y="2192826"/>
                </a:moveTo>
                <a:cubicBezTo>
                  <a:pt x="2635914" y="2192826"/>
                  <a:pt x="2633385" y="2194822"/>
                  <a:pt x="2631788" y="2196420"/>
                </a:cubicBezTo>
                <a:cubicBezTo>
                  <a:pt x="2629258" y="2199082"/>
                  <a:pt x="2628194" y="2201878"/>
                  <a:pt x="2628194" y="2205871"/>
                </a:cubicBezTo>
                <a:cubicBezTo>
                  <a:pt x="2628194" y="2209999"/>
                  <a:pt x="2629258" y="2212793"/>
                  <a:pt x="2631788" y="2215322"/>
                </a:cubicBezTo>
                <a:cubicBezTo>
                  <a:pt x="2633385" y="2216920"/>
                  <a:pt x="2635914" y="2218783"/>
                  <a:pt x="2641771" y="2218783"/>
                </a:cubicBezTo>
                <a:cubicBezTo>
                  <a:pt x="2643768" y="2218783"/>
                  <a:pt x="2645633" y="2218517"/>
                  <a:pt x="2647097" y="2217851"/>
                </a:cubicBezTo>
                <a:cubicBezTo>
                  <a:pt x="2648693" y="2217319"/>
                  <a:pt x="2649891" y="2216520"/>
                  <a:pt x="2650824" y="2215455"/>
                </a:cubicBezTo>
                <a:cubicBezTo>
                  <a:pt x="2651889" y="2214257"/>
                  <a:pt x="2652821" y="2212926"/>
                  <a:pt x="2653487" y="2211196"/>
                </a:cubicBezTo>
                <a:cubicBezTo>
                  <a:pt x="2654018" y="2209598"/>
                  <a:pt x="2654417" y="2207734"/>
                  <a:pt x="2654417" y="2205738"/>
                </a:cubicBezTo>
                <a:cubicBezTo>
                  <a:pt x="2654417" y="2203874"/>
                  <a:pt x="2654152" y="2202144"/>
                  <a:pt x="2653487" y="2200546"/>
                </a:cubicBezTo>
                <a:cubicBezTo>
                  <a:pt x="2652821" y="2198949"/>
                  <a:pt x="2651889" y="2197618"/>
                  <a:pt x="2650824" y="2196420"/>
                </a:cubicBezTo>
                <a:cubicBezTo>
                  <a:pt x="2649759" y="2195354"/>
                  <a:pt x="2648427" y="2194555"/>
                  <a:pt x="2646831" y="2193757"/>
                </a:cubicBezTo>
                <a:cubicBezTo>
                  <a:pt x="2645365" y="2193091"/>
                  <a:pt x="2643768" y="2192826"/>
                  <a:pt x="2641771" y="2192826"/>
                </a:cubicBezTo>
                <a:close/>
                <a:moveTo>
                  <a:pt x="2424120" y="2192826"/>
                </a:moveTo>
                <a:cubicBezTo>
                  <a:pt x="2418263" y="2192826"/>
                  <a:pt x="2415734" y="2194822"/>
                  <a:pt x="2414137" y="2196420"/>
                </a:cubicBezTo>
                <a:cubicBezTo>
                  <a:pt x="2411606" y="2199082"/>
                  <a:pt x="2410542" y="2201878"/>
                  <a:pt x="2410542" y="2205871"/>
                </a:cubicBezTo>
                <a:cubicBezTo>
                  <a:pt x="2410542" y="2209999"/>
                  <a:pt x="2411606" y="2212793"/>
                  <a:pt x="2414137" y="2215322"/>
                </a:cubicBezTo>
                <a:cubicBezTo>
                  <a:pt x="2415734" y="2216920"/>
                  <a:pt x="2418263" y="2218783"/>
                  <a:pt x="2424120" y="2218783"/>
                </a:cubicBezTo>
                <a:cubicBezTo>
                  <a:pt x="2426250" y="2218783"/>
                  <a:pt x="2427981" y="2218517"/>
                  <a:pt x="2429445" y="2217851"/>
                </a:cubicBezTo>
                <a:cubicBezTo>
                  <a:pt x="2431043" y="2217319"/>
                  <a:pt x="2432241" y="2216520"/>
                  <a:pt x="2433172" y="2215455"/>
                </a:cubicBezTo>
                <a:cubicBezTo>
                  <a:pt x="2434237" y="2214257"/>
                  <a:pt x="2435169" y="2212926"/>
                  <a:pt x="2435835" y="2211196"/>
                </a:cubicBezTo>
                <a:cubicBezTo>
                  <a:pt x="2436367" y="2209598"/>
                  <a:pt x="2436766" y="2207734"/>
                  <a:pt x="2436766" y="2205738"/>
                </a:cubicBezTo>
                <a:cubicBezTo>
                  <a:pt x="2436766" y="2203874"/>
                  <a:pt x="2436500" y="2202144"/>
                  <a:pt x="2435835" y="2200546"/>
                </a:cubicBezTo>
                <a:cubicBezTo>
                  <a:pt x="2435169" y="2198949"/>
                  <a:pt x="2434237" y="2197618"/>
                  <a:pt x="2433172" y="2196420"/>
                </a:cubicBezTo>
                <a:cubicBezTo>
                  <a:pt x="2432108" y="2195354"/>
                  <a:pt x="2430776" y="2194555"/>
                  <a:pt x="2429179" y="2193757"/>
                </a:cubicBezTo>
                <a:cubicBezTo>
                  <a:pt x="2427715" y="2193091"/>
                  <a:pt x="2426117" y="2192826"/>
                  <a:pt x="2424120" y="2192826"/>
                </a:cubicBezTo>
                <a:close/>
                <a:moveTo>
                  <a:pt x="2206469" y="2192826"/>
                </a:moveTo>
                <a:cubicBezTo>
                  <a:pt x="2200611" y="2192826"/>
                  <a:pt x="2198082" y="2194822"/>
                  <a:pt x="2196485" y="2196420"/>
                </a:cubicBezTo>
                <a:cubicBezTo>
                  <a:pt x="2193955" y="2199082"/>
                  <a:pt x="2192891" y="2201878"/>
                  <a:pt x="2192891" y="2205871"/>
                </a:cubicBezTo>
                <a:cubicBezTo>
                  <a:pt x="2192891" y="2209999"/>
                  <a:pt x="2193955" y="2212793"/>
                  <a:pt x="2196485" y="2215322"/>
                </a:cubicBezTo>
                <a:cubicBezTo>
                  <a:pt x="2198082" y="2216920"/>
                  <a:pt x="2200611" y="2218783"/>
                  <a:pt x="2206469" y="2218783"/>
                </a:cubicBezTo>
                <a:cubicBezTo>
                  <a:pt x="2208598" y="2218783"/>
                  <a:pt x="2210329" y="2218517"/>
                  <a:pt x="2211793" y="2217851"/>
                </a:cubicBezTo>
                <a:cubicBezTo>
                  <a:pt x="2213391" y="2217319"/>
                  <a:pt x="2214589" y="2216520"/>
                  <a:pt x="2215520" y="2215455"/>
                </a:cubicBezTo>
                <a:cubicBezTo>
                  <a:pt x="2216585" y="2214257"/>
                  <a:pt x="2217517" y="2212926"/>
                  <a:pt x="2218183" y="2211196"/>
                </a:cubicBezTo>
                <a:cubicBezTo>
                  <a:pt x="2218716" y="2209598"/>
                  <a:pt x="2219115" y="2207734"/>
                  <a:pt x="2219115" y="2205738"/>
                </a:cubicBezTo>
                <a:cubicBezTo>
                  <a:pt x="2219115" y="2203874"/>
                  <a:pt x="2218848" y="2202144"/>
                  <a:pt x="2218183" y="2200546"/>
                </a:cubicBezTo>
                <a:cubicBezTo>
                  <a:pt x="2217517" y="2198949"/>
                  <a:pt x="2216585" y="2197618"/>
                  <a:pt x="2215520" y="2196420"/>
                </a:cubicBezTo>
                <a:cubicBezTo>
                  <a:pt x="2214455" y="2195354"/>
                  <a:pt x="2213125" y="2194555"/>
                  <a:pt x="2211527" y="2193757"/>
                </a:cubicBezTo>
                <a:cubicBezTo>
                  <a:pt x="2210063" y="2193091"/>
                  <a:pt x="2208465" y="2192826"/>
                  <a:pt x="2206469" y="2192826"/>
                </a:cubicBezTo>
                <a:close/>
                <a:moveTo>
                  <a:pt x="1988950" y="2192826"/>
                </a:moveTo>
                <a:cubicBezTo>
                  <a:pt x="1983093" y="2192826"/>
                  <a:pt x="1980564" y="2194822"/>
                  <a:pt x="1978967" y="2196420"/>
                </a:cubicBezTo>
                <a:cubicBezTo>
                  <a:pt x="1976436" y="2199082"/>
                  <a:pt x="1975373" y="2201878"/>
                  <a:pt x="1975373" y="2205871"/>
                </a:cubicBezTo>
                <a:cubicBezTo>
                  <a:pt x="1975373" y="2209999"/>
                  <a:pt x="1976436" y="2212793"/>
                  <a:pt x="1978967" y="2215322"/>
                </a:cubicBezTo>
                <a:cubicBezTo>
                  <a:pt x="1980564" y="2216920"/>
                  <a:pt x="1983093" y="2218783"/>
                  <a:pt x="1988950" y="2218783"/>
                </a:cubicBezTo>
                <a:cubicBezTo>
                  <a:pt x="1990947" y="2218783"/>
                  <a:pt x="1992678" y="2218517"/>
                  <a:pt x="1994275" y="2217851"/>
                </a:cubicBezTo>
                <a:cubicBezTo>
                  <a:pt x="1995873" y="2217319"/>
                  <a:pt x="1997071" y="2216520"/>
                  <a:pt x="1998002" y="2215455"/>
                </a:cubicBezTo>
                <a:cubicBezTo>
                  <a:pt x="1999067" y="2214257"/>
                  <a:pt x="1999999" y="2212926"/>
                  <a:pt x="2000665" y="2211196"/>
                </a:cubicBezTo>
                <a:cubicBezTo>
                  <a:pt x="2001197" y="2209598"/>
                  <a:pt x="2001596" y="2207734"/>
                  <a:pt x="2001596" y="2205738"/>
                </a:cubicBezTo>
                <a:cubicBezTo>
                  <a:pt x="2001596" y="2203874"/>
                  <a:pt x="2001330" y="2202144"/>
                  <a:pt x="2000665" y="2200546"/>
                </a:cubicBezTo>
                <a:cubicBezTo>
                  <a:pt x="1999999" y="2198949"/>
                  <a:pt x="1999067" y="2197618"/>
                  <a:pt x="1998002" y="2196420"/>
                </a:cubicBezTo>
                <a:cubicBezTo>
                  <a:pt x="1996938" y="2195354"/>
                  <a:pt x="1995606" y="2194555"/>
                  <a:pt x="1994009" y="2193757"/>
                </a:cubicBezTo>
                <a:cubicBezTo>
                  <a:pt x="1992545" y="2193091"/>
                  <a:pt x="1990947" y="2192826"/>
                  <a:pt x="1988950" y="2192826"/>
                </a:cubicBezTo>
                <a:close/>
                <a:moveTo>
                  <a:pt x="1771309" y="2192826"/>
                </a:moveTo>
                <a:cubicBezTo>
                  <a:pt x="1765452" y="2192826"/>
                  <a:pt x="1762924" y="2194822"/>
                  <a:pt x="1761327" y="2196420"/>
                </a:cubicBezTo>
                <a:cubicBezTo>
                  <a:pt x="1758797" y="2199082"/>
                  <a:pt x="1757733" y="2201878"/>
                  <a:pt x="1757733" y="2205871"/>
                </a:cubicBezTo>
                <a:cubicBezTo>
                  <a:pt x="1757733" y="2209999"/>
                  <a:pt x="1758797" y="2212793"/>
                  <a:pt x="1761327" y="2215322"/>
                </a:cubicBezTo>
                <a:cubicBezTo>
                  <a:pt x="1762924" y="2216920"/>
                  <a:pt x="1765452" y="2218783"/>
                  <a:pt x="1771309" y="2218783"/>
                </a:cubicBezTo>
                <a:cubicBezTo>
                  <a:pt x="1773307" y="2218783"/>
                  <a:pt x="1775170" y="2218517"/>
                  <a:pt x="1776634" y="2217851"/>
                </a:cubicBezTo>
                <a:cubicBezTo>
                  <a:pt x="1778098" y="2217319"/>
                  <a:pt x="1779429" y="2216520"/>
                  <a:pt x="1780361" y="2215455"/>
                </a:cubicBezTo>
                <a:cubicBezTo>
                  <a:pt x="1781426" y="2214257"/>
                  <a:pt x="1782358" y="2212926"/>
                  <a:pt x="1783024" y="2211196"/>
                </a:cubicBezTo>
                <a:cubicBezTo>
                  <a:pt x="1783689" y="2209598"/>
                  <a:pt x="1784089" y="2207734"/>
                  <a:pt x="1784089" y="2205738"/>
                </a:cubicBezTo>
                <a:cubicBezTo>
                  <a:pt x="1784089" y="2203874"/>
                  <a:pt x="1783689" y="2202144"/>
                  <a:pt x="1783024" y="2200546"/>
                </a:cubicBezTo>
                <a:cubicBezTo>
                  <a:pt x="1782358" y="2198949"/>
                  <a:pt x="1781426" y="2197618"/>
                  <a:pt x="1780361" y="2196420"/>
                </a:cubicBezTo>
                <a:cubicBezTo>
                  <a:pt x="1779296" y="2195354"/>
                  <a:pt x="1777966" y="2194555"/>
                  <a:pt x="1776369" y="2193757"/>
                </a:cubicBezTo>
                <a:cubicBezTo>
                  <a:pt x="1774903" y="2193091"/>
                  <a:pt x="1773307" y="2192826"/>
                  <a:pt x="1771309" y="2192826"/>
                </a:cubicBezTo>
                <a:close/>
                <a:moveTo>
                  <a:pt x="1553668" y="2192826"/>
                </a:moveTo>
                <a:cubicBezTo>
                  <a:pt x="1547810" y="2192826"/>
                  <a:pt x="1545281" y="2194822"/>
                  <a:pt x="1543684" y="2196420"/>
                </a:cubicBezTo>
                <a:cubicBezTo>
                  <a:pt x="1541154" y="2199082"/>
                  <a:pt x="1540090" y="2201878"/>
                  <a:pt x="1540090" y="2205871"/>
                </a:cubicBezTo>
                <a:cubicBezTo>
                  <a:pt x="1540090" y="2209999"/>
                  <a:pt x="1541154" y="2212793"/>
                  <a:pt x="1543684" y="2215322"/>
                </a:cubicBezTo>
                <a:cubicBezTo>
                  <a:pt x="1545281" y="2216920"/>
                  <a:pt x="1547810" y="2218783"/>
                  <a:pt x="1553668" y="2218783"/>
                </a:cubicBezTo>
                <a:cubicBezTo>
                  <a:pt x="1555664" y="2218783"/>
                  <a:pt x="1557528" y="2218517"/>
                  <a:pt x="1558992" y="2217851"/>
                </a:cubicBezTo>
                <a:cubicBezTo>
                  <a:pt x="1560456" y="2217319"/>
                  <a:pt x="1561788" y="2216520"/>
                  <a:pt x="1562719" y="2215455"/>
                </a:cubicBezTo>
                <a:cubicBezTo>
                  <a:pt x="1563784" y="2214257"/>
                  <a:pt x="1564716" y="2212926"/>
                  <a:pt x="1565382" y="2211196"/>
                </a:cubicBezTo>
                <a:cubicBezTo>
                  <a:pt x="1566047" y="2209598"/>
                  <a:pt x="1566447" y="2207734"/>
                  <a:pt x="1566447" y="2205738"/>
                </a:cubicBezTo>
                <a:cubicBezTo>
                  <a:pt x="1566447" y="2203874"/>
                  <a:pt x="1566047" y="2202144"/>
                  <a:pt x="1565382" y="2200546"/>
                </a:cubicBezTo>
                <a:cubicBezTo>
                  <a:pt x="1564716" y="2198949"/>
                  <a:pt x="1563784" y="2197618"/>
                  <a:pt x="1562719" y="2196420"/>
                </a:cubicBezTo>
                <a:cubicBezTo>
                  <a:pt x="1561654" y="2195354"/>
                  <a:pt x="1560324" y="2194555"/>
                  <a:pt x="1558726" y="2193757"/>
                </a:cubicBezTo>
                <a:cubicBezTo>
                  <a:pt x="1557262" y="2193091"/>
                  <a:pt x="1555664" y="2192826"/>
                  <a:pt x="1553668" y="2192826"/>
                </a:cubicBezTo>
                <a:close/>
                <a:moveTo>
                  <a:pt x="1336023" y="2192826"/>
                </a:moveTo>
                <a:cubicBezTo>
                  <a:pt x="1330166" y="2192826"/>
                  <a:pt x="1327636" y="2194822"/>
                  <a:pt x="1326040" y="2196420"/>
                </a:cubicBezTo>
                <a:cubicBezTo>
                  <a:pt x="1323509" y="2199082"/>
                  <a:pt x="1322445" y="2201878"/>
                  <a:pt x="1322445" y="2205871"/>
                </a:cubicBezTo>
                <a:cubicBezTo>
                  <a:pt x="1322445" y="2209999"/>
                  <a:pt x="1323509" y="2212793"/>
                  <a:pt x="1326040" y="2215322"/>
                </a:cubicBezTo>
                <a:cubicBezTo>
                  <a:pt x="1327636" y="2216920"/>
                  <a:pt x="1330166" y="2218783"/>
                  <a:pt x="1336023" y="2218783"/>
                </a:cubicBezTo>
                <a:cubicBezTo>
                  <a:pt x="1338153" y="2218783"/>
                  <a:pt x="1339883" y="2218517"/>
                  <a:pt x="1341349" y="2217851"/>
                </a:cubicBezTo>
                <a:cubicBezTo>
                  <a:pt x="1342813" y="2217319"/>
                  <a:pt x="1344143" y="2216520"/>
                  <a:pt x="1345076" y="2215455"/>
                </a:cubicBezTo>
                <a:cubicBezTo>
                  <a:pt x="1346140" y="2214257"/>
                  <a:pt x="1347073" y="2212926"/>
                  <a:pt x="1347739" y="2211196"/>
                </a:cubicBezTo>
                <a:cubicBezTo>
                  <a:pt x="1348404" y="2209598"/>
                  <a:pt x="1348804" y="2207734"/>
                  <a:pt x="1348804" y="2205738"/>
                </a:cubicBezTo>
                <a:cubicBezTo>
                  <a:pt x="1348804" y="2203874"/>
                  <a:pt x="1348404" y="2202144"/>
                  <a:pt x="1347739" y="2200546"/>
                </a:cubicBezTo>
                <a:cubicBezTo>
                  <a:pt x="1347073" y="2198949"/>
                  <a:pt x="1346140" y="2197618"/>
                  <a:pt x="1345076" y="2196420"/>
                </a:cubicBezTo>
                <a:cubicBezTo>
                  <a:pt x="1344011" y="2195354"/>
                  <a:pt x="1342680" y="2194555"/>
                  <a:pt x="1341082" y="2193757"/>
                </a:cubicBezTo>
                <a:cubicBezTo>
                  <a:pt x="1339618" y="2193091"/>
                  <a:pt x="1338020" y="2192826"/>
                  <a:pt x="1336023" y="2192826"/>
                </a:cubicBezTo>
                <a:close/>
                <a:moveTo>
                  <a:pt x="1118511" y="2192826"/>
                </a:moveTo>
                <a:cubicBezTo>
                  <a:pt x="1112653" y="2192826"/>
                  <a:pt x="1110124" y="2194822"/>
                  <a:pt x="1108527" y="2196420"/>
                </a:cubicBezTo>
                <a:cubicBezTo>
                  <a:pt x="1105864" y="2199082"/>
                  <a:pt x="1104800" y="2201878"/>
                  <a:pt x="1104800" y="2205871"/>
                </a:cubicBezTo>
                <a:cubicBezTo>
                  <a:pt x="1104800" y="2209999"/>
                  <a:pt x="1105864" y="2212793"/>
                  <a:pt x="1108394" y="2215322"/>
                </a:cubicBezTo>
                <a:cubicBezTo>
                  <a:pt x="1109991" y="2216920"/>
                  <a:pt x="1112520" y="2218783"/>
                  <a:pt x="1118378" y="2218783"/>
                </a:cubicBezTo>
                <a:cubicBezTo>
                  <a:pt x="1120508" y="2218783"/>
                  <a:pt x="1122239" y="2218517"/>
                  <a:pt x="1123836" y="2217851"/>
                </a:cubicBezTo>
                <a:cubicBezTo>
                  <a:pt x="1125300" y="2217319"/>
                  <a:pt x="1126634" y="2216520"/>
                  <a:pt x="1127563" y="2215455"/>
                </a:cubicBezTo>
                <a:cubicBezTo>
                  <a:pt x="1128628" y="2214257"/>
                  <a:pt x="1129561" y="2212926"/>
                  <a:pt x="1130227" y="2211196"/>
                </a:cubicBezTo>
                <a:cubicBezTo>
                  <a:pt x="1130891" y="2209598"/>
                  <a:pt x="1131292" y="2207734"/>
                  <a:pt x="1131292" y="2205738"/>
                </a:cubicBezTo>
                <a:cubicBezTo>
                  <a:pt x="1131292" y="2203874"/>
                  <a:pt x="1130891" y="2202144"/>
                  <a:pt x="1130227" y="2200546"/>
                </a:cubicBezTo>
                <a:cubicBezTo>
                  <a:pt x="1129561" y="2198949"/>
                  <a:pt x="1128628" y="2197618"/>
                  <a:pt x="1127563" y="2196420"/>
                </a:cubicBezTo>
                <a:cubicBezTo>
                  <a:pt x="1126498" y="2195354"/>
                  <a:pt x="1125168" y="2194555"/>
                  <a:pt x="1123569" y="2193757"/>
                </a:cubicBezTo>
                <a:cubicBezTo>
                  <a:pt x="1122106" y="2193091"/>
                  <a:pt x="1120508" y="2192826"/>
                  <a:pt x="1118511" y="2192826"/>
                </a:cubicBezTo>
                <a:close/>
                <a:moveTo>
                  <a:pt x="901000" y="2192826"/>
                </a:moveTo>
                <a:cubicBezTo>
                  <a:pt x="895141" y="2192826"/>
                  <a:pt x="892612" y="2194822"/>
                  <a:pt x="891015" y="2196420"/>
                </a:cubicBezTo>
                <a:cubicBezTo>
                  <a:pt x="888352" y="2199082"/>
                  <a:pt x="887289" y="2201878"/>
                  <a:pt x="887289" y="2205871"/>
                </a:cubicBezTo>
                <a:cubicBezTo>
                  <a:pt x="887289" y="2209999"/>
                  <a:pt x="888352" y="2212793"/>
                  <a:pt x="890882" y="2215322"/>
                </a:cubicBezTo>
                <a:cubicBezTo>
                  <a:pt x="892480" y="2216920"/>
                  <a:pt x="895008" y="2218783"/>
                  <a:pt x="900866" y="2218783"/>
                </a:cubicBezTo>
                <a:cubicBezTo>
                  <a:pt x="902862" y="2218783"/>
                  <a:pt x="904594" y="2218517"/>
                  <a:pt x="906324" y="2217851"/>
                </a:cubicBezTo>
                <a:cubicBezTo>
                  <a:pt x="907788" y="2217319"/>
                  <a:pt x="909120" y="2216520"/>
                  <a:pt x="910052" y="2215455"/>
                </a:cubicBezTo>
                <a:cubicBezTo>
                  <a:pt x="911116" y="2214257"/>
                  <a:pt x="912048" y="2212926"/>
                  <a:pt x="912714" y="2211196"/>
                </a:cubicBezTo>
                <a:cubicBezTo>
                  <a:pt x="913379" y="2209598"/>
                  <a:pt x="913779" y="2207734"/>
                  <a:pt x="913779" y="2205738"/>
                </a:cubicBezTo>
                <a:cubicBezTo>
                  <a:pt x="913779" y="2203874"/>
                  <a:pt x="913379" y="2202144"/>
                  <a:pt x="912714" y="2200546"/>
                </a:cubicBezTo>
                <a:cubicBezTo>
                  <a:pt x="912048" y="2198949"/>
                  <a:pt x="911116" y="2197618"/>
                  <a:pt x="910052" y="2196420"/>
                </a:cubicBezTo>
                <a:cubicBezTo>
                  <a:pt x="908987" y="2195354"/>
                  <a:pt x="907655" y="2194555"/>
                  <a:pt x="906058" y="2193757"/>
                </a:cubicBezTo>
                <a:cubicBezTo>
                  <a:pt x="904594" y="2193091"/>
                  <a:pt x="902995" y="2192826"/>
                  <a:pt x="901000" y="2192826"/>
                </a:cubicBezTo>
                <a:close/>
                <a:moveTo>
                  <a:pt x="683223" y="2192826"/>
                </a:moveTo>
                <a:cubicBezTo>
                  <a:pt x="677366" y="2192826"/>
                  <a:pt x="674836" y="2194822"/>
                  <a:pt x="673239" y="2196420"/>
                </a:cubicBezTo>
                <a:cubicBezTo>
                  <a:pt x="670709" y="2199082"/>
                  <a:pt x="669646" y="2201878"/>
                  <a:pt x="669646" y="2205871"/>
                </a:cubicBezTo>
                <a:cubicBezTo>
                  <a:pt x="669646" y="2209999"/>
                  <a:pt x="670709" y="2212793"/>
                  <a:pt x="673239" y="2215322"/>
                </a:cubicBezTo>
                <a:cubicBezTo>
                  <a:pt x="674836" y="2216920"/>
                  <a:pt x="677366" y="2218783"/>
                  <a:pt x="683223" y="2218783"/>
                </a:cubicBezTo>
                <a:cubicBezTo>
                  <a:pt x="685220" y="2218783"/>
                  <a:pt x="687084" y="2218517"/>
                  <a:pt x="688548" y="2217851"/>
                </a:cubicBezTo>
                <a:cubicBezTo>
                  <a:pt x="690012" y="2217319"/>
                  <a:pt x="691344" y="2216520"/>
                  <a:pt x="692275" y="2215455"/>
                </a:cubicBezTo>
                <a:cubicBezTo>
                  <a:pt x="693340" y="2214257"/>
                  <a:pt x="694272" y="2212926"/>
                  <a:pt x="694938" y="2211196"/>
                </a:cubicBezTo>
                <a:cubicBezTo>
                  <a:pt x="695603" y="2209598"/>
                  <a:pt x="696003" y="2207734"/>
                  <a:pt x="696003" y="2205738"/>
                </a:cubicBezTo>
                <a:cubicBezTo>
                  <a:pt x="696003" y="2203874"/>
                  <a:pt x="695603" y="2202144"/>
                  <a:pt x="694938" y="2200546"/>
                </a:cubicBezTo>
                <a:cubicBezTo>
                  <a:pt x="694272" y="2198949"/>
                  <a:pt x="693340" y="2197618"/>
                  <a:pt x="692275" y="2196420"/>
                </a:cubicBezTo>
                <a:cubicBezTo>
                  <a:pt x="691210" y="2195354"/>
                  <a:pt x="689879" y="2194555"/>
                  <a:pt x="688282" y="2193757"/>
                </a:cubicBezTo>
                <a:cubicBezTo>
                  <a:pt x="686818" y="2193091"/>
                  <a:pt x="685220" y="2192826"/>
                  <a:pt x="683223" y="2192826"/>
                </a:cubicBezTo>
                <a:close/>
                <a:moveTo>
                  <a:pt x="465579" y="2192826"/>
                </a:moveTo>
                <a:cubicBezTo>
                  <a:pt x="459722" y="2192826"/>
                  <a:pt x="457193" y="2194822"/>
                  <a:pt x="455596" y="2196420"/>
                </a:cubicBezTo>
                <a:cubicBezTo>
                  <a:pt x="453066" y="2199082"/>
                  <a:pt x="452002" y="2201878"/>
                  <a:pt x="452002" y="2205871"/>
                </a:cubicBezTo>
                <a:cubicBezTo>
                  <a:pt x="452002" y="2209999"/>
                  <a:pt x="453066" y="2212793"/>
                  <a:pt x="455596" y="2215322"/>
                </a:cubicBezTo>
                <a:cubicBezTo>
                  <a:pt x="457193" y="2216920"/>
                  <a:pt x="459722" y="2218783"/>
                  <a:pt x="465579" y="2218783"/>
                </a:cubicBezTo>
                <a:cubicBezTo>
                  <a:pt x="467576" y="2218783"/>
                  <a:pt x="469440" y="2218517"/>
                  <a:pt x="470904" y="2217851"/>
                </a:cubicBezTo>
                <a:cubicBezTo>
                  <a:pt x="472368" y="2217319"/>
                  <a:pt x="473700" y="2216520"/>
                  <a:pt x="474631" y="2215455"/>
                </a:cubicBezTo>
                <a:cubicBezTo>
                  <a:pt x="475696" y="2214257"/>
                  <a:pt x="476628" y="2212926"/>
                  <a:pt x="477295" y="2211196"/>
                </a:cubicBezTo>
                <a:cubicBezTo>
                  <a:pt x="477960" y="2209598"/>
                  <a:pt x="478359" y="2207734"/>
                  <a:pt x="478359" y="2205738"/>
                </a:cubicBezTo>
                <a:cubicBezTo>
                  <a:pt x="478359" y="2203874"/>
                  <a:pt x="477960" y="2202144"/>
                  <a:pt x="477295" y="2200546"/>
                </a:cubicBezTo>
                <a:cubicBezTo>
                  <a:pt x="476628" y="2198949"/>
                  <a:pt x="475696" y="2197618"/>
                  <a:pt x="474631" y="2196420"/>
                </a:cubicBezTo>
                <a:cubicBezTo>
                  <a:pt x="473567" y="2195354"/>
                  <a:pt x="472235" y="2194555"/>
                  <a:pt x="470638" y="2193757"/>
                </a:cubicBezTo>
                <a:cubicBezTo>
                  <a:pt x="469174" y="2193091"/>
                  <a:pt x="467576" y="2192826"/>
                  <a:pt x="465579" y="2192826"/>
                </a:cubicBezTo>
                <a:close/>
                <a:moveTo>
                  <a:pt x="247936" y="2192826"/>
                </a:moveTo>
                <a:cubicBezTo>
                  <a:pt x="242079" y="2192826"/>
                  <a:pt x="239550" y="2194822"/>
                  <a:pt x="237953" y="2196420"/>
                </a:cubicBezTo>
                <a:cubicBezTo>
                  <a:pt x="235423" y="2199082"/>
                  <a:pt x="234359" y="2201878"/>
                  <a:pt x="234359" y="2205871"/>
                </a:cubicBezTo>
                <a:cubicBezTo>
                  <a:pt x="234359" y="2209999"/>
                  <a:pt x="235423" y="2212793"/>
                  <a:pt x="237953" y="2215322"/>
                </a:cubicBezTo>
                <a:cubicBezTo>
                  <a:pt x="239550" y="2216920"/>
                  <a:pt x="242079" y="2218783"/>
                  <a:pt x="247936" y="2218783"/>
                </a:cubicBezTo>
                <a:cubicBezTo>
                  <a:pt x="250066" y="2218783"/>
                  <a:pt x="251797" y="2218517"/>
                  <a:pt x="253261" y="2217851"/>
                </a:cubicBezTo>
                <a:cubicBezTo>
                  <a:pt x="254725" y="2217319"/>
                  <a:pt x="256056" y="2216520"/>
                  <a:pt x="256988" y="2215455"/>
                </a:cubicBezTo>
                <a:cubicBezTo>
                  <a:pt x="258053" y="2214257"/>
                  <a:pt x="258985" y="2212926"/>
                  <a:pt x="259651" y="2211196"/>
                </a:cubicBezTo>
                <a:cubicBezTo>
                  <a:pt x="260316" y="2209598"/>
                  <a:pt x="260716" y="2207734"/>
                  <a:pt x="260716" y="2205738"/>
                </a:cubicBezTo>
                <a:cubicBezTo>
                  <a:pt x="260716" y="2203874"/>
                  <a:pt x="260316" y="2202144"/>
                  <a:pt x="259651" y="2200546"/>
                </a:cubicBezTo>
                <a:cubicBezTo>
                  <a:pt x="258985" y="2198949"/>
                  <a:pt x="258053" y="2197618"/>
                  <a:pt x="256988" y="2196420"/>
                </a:cubicBezTo>
                <a:cubicBezTo>
                  <a:pt x="255923" y="2195354"/>
                  <a:pt x="254592" y="2194555"/>
                  <a:pt x="252995" y="2193757"/>
                </a:cubicBezTo>
                <a:cubicBezTo>
                  <a:pt x="251530" y="2193091"/>
                  <a:pt x="249933" y="2192826"/>
                  <a:pt x="247936" y="2192826"/>
                </a:cubicBezTo>
                <a:close/>
                <a:moveTo>
                  <a:pt x="30292" y="2192826"/>
                </a:moveTo>
                <a:cubicBezTo>
                  <a:pt x="24435" y="2192826"/>
                  <a:pt x="21906" y="2194822"/>
                  <a:pt x="20309" y="2196420"/>
                </a:cubicBezTo>
                <a:cubicBezTo>
                  <a:pt x="17779" y="2199082"/>
                  <a:pt x="16715" y="2201878"/>
                  <a:pt x="16715" y="2205871"/>
                </a:cubicBezTo>
                <a:cubicBezTo>
                  <a:pt x="16715" y="2209999"/>
                  <a:pt x="17779" y="2212793"/>
                  <a:pt x="20309" y="2215322"/>
                </a:cubicBezTo>
                <a:cubicBezTo>
                  <a:pt x="21906" y="2216920"/>
                  <a:pt x="24435" y="2218783"/>
                  <a:pt x="30292" y="2218783"/>
                </a:cubicBezTo>
                <a:cubicBezTo>
                  <a:pt x="32422" y="2218783"/>
                  <a:pt x="34153" y="2218517"/>
                  <a:pt x="35617" y="2217851"/>
                </a:cubicBezTo>
                <a:cubicBezTo>
                  <a:pt x="37081" y="2217319"/>
                  <a:pt x="38413" y="2216520"/>
                  <a:pt x="39344" y="2215455"/>
                </a:cubicBezTo>
                <a:cubicBezTo>
                  <a:pt x="40410" y="2214257"/>
                  <a:pt x="41341" y="2212926"/>
                  <a:pt x="42008" y="2211196"/>
                </a:cubicBezTo>
                <a:cubicBezTo>
                  <a:pt x="42673" y="2209598"/>
                  <a:pt x="42939" y="2207734"/>
                  <a:pt x="42939" y="2205738"/>
                </a:cubicBezTo>
                <a:cubicBezTo>
                  <a:pt x="42939" y="2203874"/>
                  <a:pt x="42673" y="2202144"/>
                  <a:pt x="42008" y="2200546"/>
                </a:cubicBezTo>
                <a:cubicBezTo>
                  <a:pt x="41341" y="2198949"/>
                  <a:pt x="40410" y="2197618"/>
                  <a:pt x="39344" y="2196420"/>
                </a:cubicBezTo>
                <a:cubicBezTo>
                  <a:pt x="38279" y="2195354"/>
                  <a:pt x="36948" y="2194555"/>
                  <a:pt x="35351" y="2193757"/>
                </a:cubicBezTo>
                <a:cubicBezTo>
                  <a:pt x="33887" y="2193091"/>
                  <a:pt x="32289" y="2192826"/>
                  <a:pt x="30292" y="2192826"/>
                </a:cubicBezTo>
                <a:close/>
                <a:moveTo>
                  <a:pt x="10475977" y="2176186"/>
                </a:moveTo>
                <a:cubicBezTo>
                  <a:pt x="10480237" y="2176186"/>
                  <a:pt x="10484230" y="2176985"/>
                  <a:pt x="10487824" y="2178848"/>
                </a:cubicBezTo>
                <a:cubicBezTo>
                  <a:pt x="10491419" y="2180445"/>
                  <a:pt x="10494613" y="2182575"/>
                  <a:pt x="10497143" y="2185238"/>
                </a:cubicBezTo>
                <a:cubicBezTo>
                  <a:pt x="10499672" y="2187766"/>
                  <a:pt x="10501801" y="2190962"/>
                  <a:pt x="10503266" y="2194555"/>
                </a:cubicBezTo>
                <a:cubicBezTo>
                  <a:pt x="10504730" y="2198150"/>
                  <a:pt x="10505529" y="2201878"/>
                  <a:pt x="10505529" y="2206004"/>
                </a:cubicBezTo>
                <a:cubicBezTo>
                  <a:pt x="10505529" y="2210131"/>
                  <a:pt x="10504730" y="2214125"/>
                  <a:pt x="10503266" y="2217718"/>
                </a:cubicBezTo>
                <a:cubicBezTo>
                  <a:pt x="10501669" y="2221312"/>
                  <a:pt x="10499672" y="2224374"/>
                  <a:pt x="10497143" y="2227037"/>
                </a:cubicBezTo>
                <a:cubicBezTo>
                  <a:pt x="10494480" y="2229700"/>
                  <a:pt x="10491419" y="2231830"/>
                  <a:pt x="10487824" y="2233293"/>
                </a:cubicBezTo>
                <a:cubicBezTo>
                  <a:pt x="10484098" y="2234757"/>
                  <a:pt x="10480237" y="2235556"/>
                  <a:pt x="10475977" y="2235556"/>
                </a:cubicBezTo>
                <a:cubicBezTo>
                  <a:pt x="10466924" y="2235556"/>
                  <a:pt x="10459736" y="2232628"/>
                  <a:pt x="10454145" y="2227037"/>
                </a:cubicBezTo>
                <a:cubicBezTo>
                  <a:pt x="10448554" y="2221446"/>
                  <a:pt x="10445759" y="2214390"/>
                  <a:pt x="10445759" y="2205871"/>
                </a:cubicBezTo>
                <a:cubicBezTo>
                  <a:pt x="10445759" y="2197618"/>
                  <a:pt x="10448554" y="2190563"/>
                  <a:pt x="10454145" y="2184838"/>
                </a:cubicBezTo>
                <a:cubicBezTo>
                  <a:pt x="10459603" y="2178981"/>
                  <a:pt x="10466924" y="2176186"/>
                  <a:pt x="10475977" y="2176186"/>
                </a:cubicBezTo>
                <a:close/>
                <a:moveTo>
                  <a:pt x="10258466" y="2176186"/>
                </a:moveTo>
                <a:cubicBezTo>
                  <a:pt x="10262592" y="2176186"/>
                  <a:pt x="10266586" y="2176985"/>
                  <a:pt x="10270313" y="2178848"/>
                </a:cubicBezTo>
                <a:cubicBezTo>
                  <a:pt x="10273907" y="2180445"/>
                  <a:pt x="10277101" y="2182575"/>
                  <a:pt x="10279631" y="2185238"/>
                </a:cubicBezTo>
                <a:cubicBezTo>
                  <a:pt x="10282160" y="2187766"/>
                  <a:pt x="10284290" y="2190962"/>
                  <a:pt x="10285754" y="2194555"/>
                </a:cubicBezTo>
                <a:cubicBezTo>
                  <a:pt x="10287218" y="2198150"/>
                  <a:pt x="10288017" y="2201878"/>
                  <a:pt x="10288017" y="2206004"/>
                </a:cubicBezTo>
                <a:cubicBezTo>
                  <a:pt x="10288017" y="2210131"/>
                  <a:pt x="10287218" y="2214125"/>
                  <a:pt x="10285754" y="2217718"/>
                </a:cubicBezTo>
                <a:cubicBezTo>
                  <a:pt x="10284157" y="2221312"/>
                  <a:pt x="10282160" y="2224374"/>
                  <a:pt x="10279631" y="2227037"/>
                </a:cubicBezTo>
                <a:cubicBezTo>
                  <a:pt x="10276969" y="2229700"/>
                  <a:pt x="10273907" y="2231830"/>
                  <a:pt x="10270313" y="2233293"/>
                </a:cubicBezTo>
                <a:cubicBezTo>
                  <a:pt x="10266586" y="2234757"/>
                  <a:pt x="10262725" y="2235556"/>
                  <a:pt x="10258466" y="2235556"/>
                </a:cubicBezTo>
                <a:cubicBezTo>
                  <a:pt x="10249546" y="2235556"/>
                  <a:pt x="10242224" y="2232628"/>
                  <a:pt x="10236633" y="2227037"/>
                </a:cubicBezTo>
                <a:cubicBezTo>
                  <a:pt x="10231043" y="2221446"/>
                  <a:pt x="10228247" y="2214390"/>
                  <a:pt x="10228247" y="2205871"/>
                </a:cubicBezTo>
                <a:cubicBezTo>
                  <a:pt x="10228247" y="2197618"/>
                  <a:pt x="10231043" y="2190563"/>
                  <a:pt x="10236633" y="2184838"/>
                </a:cubicBezTo>
                <a:cubicBezTo>
                  <a:pt x="10242092" y="2178981"/>
                  <a:pt x="10249413" y="2176186"/>
                  <a:pt x="10258466" y="2176186"/>
                </a:cubicBezTo>
                <a:close/>
                <a:moveTo>
                  <a:pt x="10040820" y="2176186"/>
                </a:moveTo>
                <a:cubicBezTo>
                  <a:pt x="10045080" y="2176186"/>
                  <a:pt x="10048941" y="2176985"/>
                  <a:pt x="10052534" y="2178848"/>
                </a:cubicBezTo>
                <a:cubicBezTo>
                  <a:pt x="10056129" y="2180445"/>
                  <a:pt x="10059323" y="2182575"/>
                  <a:pt x="10061852" y="2185238"/>
                </a:cubicBezTo>
                <a:cubicBezTo>
                  <a:pt x="10064382" y="2187766"/>
                  <a:pt x="10066512" y="2190962"/>
                  <a:pt x="10067976" y="2194555"/>
                </a:cubicBezTo>
                <a:cubicBezTo>
                  <a:pt x="10069440" y="2198150"/>
                  <a:pt x="10070239" y="2201878"/>
                  <a:pt x="10070239" y="2206004"/>
                </a:cubicBezTo>
                <a:cubicBezTo>
                  <a:pt x="10070239" y="2210131"/>
                  <a:pt x="10069440" y="2214125"/>
                  <a:pt x="10067976" y="2217718"/>
                </a:cubicBezTo>
                <a:cubicBezTo>
                  <a:pt x="10066379" y="2221312"/>
                  <a:pt x="10064382" y="2224374"/>
                  <a:pt x="10061852" y="2227037"/>
                </a:cubicBezTo>
                <a:cubicBezTo>
                  <a:pt x="10059190" y="2229700"/>
                  <a:pt x="10056129" y="2231830"/>
                  <a:pt x="10052534" y="2233293"/>
                </a:cubicBezTo>
                <a:cubicBezTo>
                  <a:pt x="10048941" y="2234757"/>
                  <a:pt x="10045080" y="2235556"/>
                  <a:pt x="10040820" y="2235556"/>
                </a:cubicBezTo>
                <a:cubicBezTo>
                  <a:pt x="10031767" y="2235556"/>
                  <a:pt x="10024579" y="2232628"/>
                  <a:pt x="10018988" y="2227037"/>
                </a:cubicBezTo>
                <a:cubicBezTo>
                  <a:pt x="10013397" y="2221446"/>
                  <a:pt x="10010602" y="2214390"/>
                  <a:pt x="10010602" y="2205871"/>
                </a:cubicBezTo>
                <a:cubicBezTo>
                  <a:pt x="10010602" y="2197618"/>
                  <a:pt x="10013397" y="2190563"/>
                  <a:pt x="10018988" y="2184838"/>
                </a:cubicBezTo>
                <a:cubicBezTo>
                  <a:pt x="10024579" y="2178981"/>
                  <a:pt x="10031767" y="2176186"/>
                  <a:pt x="10040820" y="2176186"/>
                </a:cubicBezTo>
                <a:close/>
                <a:moveTo>
                  <a:pt x="9823176" y="2176186"/>
                </a:moveTo>
                <a:cubicBezTo>
                  <a:pt x="9827435" y="2176186"/>
                  <a:pt x="9831296" y="2176985"/>
                  <a:pt x="9834890" y="2178848"/>
                </a:cubicBezTo>
                <a:cubicBezTo>
                  <a:pt x="9838617" y="2180445"/>
                  <a:pt x="9841679" y="2182575"/>
                  <a:pt x="9844208" y="2185238"/>
                </a:cubicBezTo>
                <a:cubicBezTo>
                  <a:pt x="9846737" y="2187766"/>
                  <a:pt x="9848867" y="2190962"/>
                  <a:pt x="9850331" y="2194555"/>
                </a:cubicBezTo>
                <a:cubicBezTo>
                  <a:pt x="9851796" y="2198150"/>
                  <a:pt x="9852595" y="2201878"/>
                  <a:pt x="9852595" y="2206004"/>
                </a:cubicBezTo>
                <a:cubicBezTo>
                  <a:pt x="9852595" y="2210131"/>
                  <a:pt x="9851796" y="2214125"/>
                  <a:pt x="9850331" y="2217718"/>
                </a:cubicBezTo>
                <a:cubicBezTo>
                  <a:pt x="9848734" y="2221312"/>
                  <a:pt x="9846737" y="2224374"/>
                  <a:pt x="9844208" y="2227037"/>
                </a:cubicBezTo>
                <a:cubicBezTo>
                  <a:pt x="9841546" y="2229700"/>
                  <a:pt x="9838484" y="2231830"/>
                  <a:pt x="9834890" y="2233293"/>
                </a:cubicBezTo>
                <a:cubicBezTo>
                  <a:pt x="9831296" y="2234757"/>
                  <a:pt x="9827435" y="2235556"/>
                  <a:pt x="9823176" y="2235556"/>
                </a:cubicBezTo>
                <a:cubicBezTo>
                  <a:pt x="9814123" y="2235556"/>
                  <a:pt x="9806935" y="2232628"/>
                  <a:pt x="9801343" y="2227037"/>
                </a:cubicBezTo>
                <a:cubicBezTo>
                  <a:pt x="9795753" y="2221446"/>
                  <a:pt x="9792957" y="2214390"/>
                  <a:pt x="9792957" y="2205871"/>
                </a:cubicBezTo>
                <a:cubicBezTo>
                  <a:pt x="9792957" y="2197618"/>
                  <a:pt x="9795753" y="2190563"/>
                  <a:pt x="9801343" y="2184838"/>
                </a:cubicBezTo>
                <a:cubicBezTo>
                  <a:pt x="9806935" y="2178981"/>
                  <a:pt x="9814123" y="2176186"/>
                  <a:pt x="9823176" y="2176186"/>
                </a:cubicBezTo>
                <a:close/>
                <a:moveTo>
                  <a:pt x="9605531" y="2176186"/>
                </a:moveTo>
                <a:cubicBezTo>
                  <a:pt x="9609790" y="2176186"/>
                  <a:pt x="9613784" y="2176985"/>
                  <a:pt x="9617245" y="2178848"/>
                </a:cubicBezTo>
                <a:cubicBezTo>
                  <a:pt x="9620839" y="2180445"/>
                  <a:pt x="9624033" y="2182575"/>
                  <a:pt x="9626562" y="2185238"/>
                </a:cubicBezTo>
                <a:cubicBezTo>
                  <a:pt x="9629092" y="2187766"/>
                  <a:pt x="9631222" y="2190962"/>
                  <a:pt x="9632686" y="2194555"/>
                </a:cubicBezTo>
                <a:cubicBezTo>
                  <a:pt x="9634150" y="2198150"/>
                  <a:pt x="9634949" y="2201878"/>
                  <a:pt x="9634949" y="2206004"/>
                </a:cubicBezTo>
                <a:cubicBezTo>
                  <a:pt x="9634949" y="2210131"/>
                  <a:pt x="9634150" y="2214125"/>
                  <a:pt x="9632686" y="2217718"/>
                </a:cubicBezTo>
                <a:cubicBezTo>
                  <a:pt x="9631089" y="2221312"/>
                  <a:pt x="9629092" y="2224374"/>
                  <a:pt x="9626562" y="2227037"/>
                </a:cubicBezTo>
                <a:cubicBezTo>
                  <a:pt x="9623901" y="2229700"/>
                  <a:pt x="9620839" y="2231830"/>
                  <a:pt x="9617245" y="2233293"/>
                </a:cubicBezTo>
                <a:cubicBezTo>
                  <a:pt x="9613651" y="2234757"/>
                  <a:pt x="9609790" y="2235556"/>
                  <a:pt x="9605531" y="2235556"/>
                </a:cubicBezTo>
                <a:cubicBezTo>
                  <a:pt x="9596610" y="2235556"/>
                  <a:pt x="9589289" y="2232628"/>
                  <a:pt x="9583698" y="2227037"/>
                </a:cubicBezTo>
                <a:cubicBezTo>
                  <a:pt x="9578108" y="2221446"/>
                  <a:pt x="9575312" y="2214390"/>
                  <a:pt x="9575312" y="2205871"/>
                </a:cubicBezTo>
                <a:cubicBezTo>
                  <a:pt x="9575312" y="2197618"/>
                  <a:pt x="9578108" y="2190563"/>
                  <a:pt x="9583698" y="2184838"/>
                </a:cubicBezTo>
                <a:cubicBezTo>
                  <a:pt x="9589289" y="2178981"/>
                  <a:pt x="9596478" y="2176186"/>
                  <a:pt x="9605531" y="2176186"/>
                </a:cubicBezTo>
                <a:close/>
                <a:moveTo>
                  <a:pt x="9387885" y="2176186"/>
                </a:moveTo>
                <a:cubicBezTo>
                  <a:pt x="9392145" y="2176186"/>
                  <a:pt x="9396138" y="2176985"/>
                  <a:pt x="9399599" y="2178848"/>
                </a:cubicBezTo>
                <a:cubicBezTo>
                  <a:pt x="9403194" y="2180445"/>
                  <a:pt x="9406388" y="2182575"/>
                  <a:pt x="9408917" y="2185238"/>
                </a:cubicBezTo>
                <a:cubicBezTo>
                  <a:pt x="9411447" y="2187766"/>
                  <a:pt x="9413576" y="2190962"/>
                  <a:pt x="9415041" y="2194555"/>
                </a:cubicBezTo>
                <a:cubicBezTo>
                  <a:pt x="9416505" y="2198150"/>
                  <a:pt x="9417304" y="2201878"/>
                  <a:pt x="9417304" y="2206004"/>
                </a:cubicBezTo>
                <a:cubicBezTo>
                  <a:pt x="9417304" y="2210131"/>
                  <a:pt x="9416505" y="2214125"/>
                  <a:pt x="9415041" y="2217718"/>
                </a:cubicBezTo>
                <a:cubicBezTo>
                  <a:pt x="9413444" y="2221312"/>
                  <a:pt x="9411447" y="2224374"/>
                  <a:pt x="9408917" y="2227037"/>
                </a:cubicBezTo>
                <a:cubicBezTo>
                  <a:pt x="9406255" y="2229700"/>
                  <a:pt x="9403194" y="2231830"/>
                  <a:pt x="9399599" y="2233293"/>
                </a:cubicBezTo>
                <a:cubicBezTo>
                  <a:pt x="9396005" y="2234757"/>
                  <a:pt x="9392145" y="2235556"/>
                  <a:pt x="9387885" y="2235556"/>
                </a:cubicBezTo>
                <a:cubicBezTo>
                  <a:pt x="9378965" y="2235556"/>
                  <a:pt x="9371644" y="2232628"/>
                  <a:pt x="9366053" y="2227037"/>
                </a:cubicBezTo>
                <a:cubicBezTo>
                  <a:pt x="9360462" y="2221446"/>
                  <a:pt x="9357667" y="2214390"/>
                  <a:pt x="9357667" y="2205871"/>
                </a:cubicBezTo>
                <a:cubicBezTo>
                  <a:pt x="9357667" y="2197618"/>
                  <a:pt x="9360462" y="2190563"/>
                  <a:pt x="9366053" y="2184838"/>
                </a:cubicBezTo>
                <a:cubicBezTo>
                  <a:pt x="9371644" y="2178981"/>
                  <a:pt x="9378832" y="2176186"/>
                  <a:pt x="9387885" y="2176186"/>
                </a:cubicBezTo>
                <a:close/>
                <a:moveTo>
                  <a:pt x="9170374" y="2176186"/>
                </a:moveTo>
                <a:cubicBezTo>
                  <a:pt x="9174500" y="2176186"/>
                  <a:pt x="9178494" y="2176985"/>
                  <a:pt x="9182088" y="2178848"/>
                </a:cubicBezTo>
                <a:cubicBezTo>
                  <a:pt x="9185682" y="2180445"/>
                  <a:pt x="9188876" y="2182575"/>
                  <a:pt x="9191405" y="2185238"/>
                </a:cubicBezTo>
                <a:cubicBezTo>
                  <a:pt x="9193935" y="2187766"/>
                  <a:pt x="9196065" y="2190962"/>
                  <a:pt x="9197529" y="2194555"/>
                </a:cubicBezTo>
                <a:cubicBezTo>
                  <a:pt x="9198993" y="2198150"/>
                  <a:pt x="9199792" y="2201878"/>
                  <a:pt x="9199792" y="2206004"/>
                </a:cubicBezTo>
                <a:cubicBezTo>
                  <a:pt x="9199792" y="2210131"/>
                  <a:pt x="9198993" y="2214125"/>
                  <a:pt x="9197529" y="2217718"/>
                </a:cubicBezTo>
                <a:cubicBezTo>
                  <a:pt x="9195932" y="2221312"/>
                  <a:pt x="9193935" y="2224374"/>
                  <a:pt x="9191405" y="2227037"/>
                </a:cubicBezTo>
                <a:cubicBezTo>
                  <a:pt x="9188744" y="2229700"/>
                  <a:pt x="9185682" y="2231830"/>
                  <a:pt x="9182088" y="2233293"/>
                </a:cubicBezTo>
                <a:cubicBezTo>
                  <a:pt x="9178494" y="2234757"/>
                  <a:pt x="9174633" y="2235556"/>
                  <a:pt x="9170374" y="2235556"/>
                </a:cubicBezTo>
                <a:cubicBezTo>
                  <a:pt x="9161453" y="2235556"/>
                  <a:pt x="9154132" y="2232628"/>
                  <a:pt x="9148541" y="2227037"/>
                </a:cubicBezTo>
                <a:cubicBezTo>
                  <a:pt x="9142951" y="2221446"/>
                  <a:pt x="9140155" y="2214390"/>
                  <a:pt x="9140155" y="2205871"/>
                </a:cubicBezTo>
                <a:cubicBezTo>
                  <a:pt x="9140155" y="2197618"/>
                  <a:pt x="9142951" y="2190563"/>
                  <a:pt x="9148541" y="2184838"/>
                </a:cubicBezTo>
                <a:cubicBezTo>
                  <a:pt x="9154132" y="2178981"/>
                  <a:pt x="9161321" y="2176186"/>
                  <a:pt x="9170374" y="2176186"/>
                </a:cubicBezTo>
                <a:close/>
                <a:moveTo>
                  <a:pt x="8952728" y="2176186"/>
                </a:moveTo>
                <a:cubicBezTo>
                  <a:pt x="8956988" y="2176186"/>
                  <a:pt x="8960849" y="2176985"/>
                  <a:pt x="8964442" y="2178848"/>
                </a:cubicBezTo>
                <a:cubicBezTo>
                  <a:pt x="8968037" y="2180445"/>
                  <a:pt x="8971231" y="2182575"/>
                  <a:pt x="8973760" y="2185238"/>
                </a:cubicBezTo>
                <a:cubicBezTo>
                  <a:pt x="8976290" y="2187766"/>
                  <a:pt x="8978419" y="2190962"/>
                  <a:pt x="8979884" y="2194555"/>
                </a:cubicBezTo>
                <a:cubicBezTo>
                  <a:pt x="8981348" y="2198150"/>
                  <a:pt x="8982147" y="2201878"/>
                  <a:pt x="8982147" y="2206004"/>
                </a:cubicBezTo>
                <a:cubicBezTo>
                  <a:pt x="8982147" y="2210131"/>
                  <a:pt x="8981348" y="2214125"/>
                  <a:pt x="8979884" y="2217718"/>
                </a:cubicBezTo>
                <a:cubicBezTo>
                  <a:pt x="8978287" y="2221312"/>
                  <a:pt x="8976290" y="2224374"/>
                  <a:pt x="8973760" y="2227037"/>
                </a:cubicBezTo>
                <a:cubicBezTo>
                  <a:pt x="8971098" y="2229700"/>
                  <a:pt x="8968037" y="2231830"/>
                  <a:pt x="8964442" y="2233293"/>
                </a:cubicBezTo>
                <a:cubicBezTo>
                  <a:pt x="8960849" y="2234757"/>
                  <a:pt x="8956988" y="2235556"/>
                  <a:pt x="8952728" y="2235556"/>
                </a:cubicBezTo>
                <a:cubicBezTo>
                  <a:pt x="8943808" y="2235556"/>
                  <a:pt x="8936487" y="2232628"/>
                  <a:pt x="8930896" y="2227037"/>
                </a:cubicBezTo>
                <a:cubicBezTo>
                  <a:pt x="8925305" y="2221446"/>
                  <a:pt x="8922510" y="2214390"/>
                  <a:pt x="8922510" y="2205871"/>
                </a:cubicBezTo>
                <a:cubicBezTo>
                  <a:pt x="8922510" y="2197618"/>
                  <a:pt x="8925305" y="2190563"/>
                  <a:pt x="8930896" y="2184838"/>
                </a:cubicBezTo>
                <a:cubicBezTo>
                  <a:pt x="8936487" y="2178981"/>
                  <a:pt x="8943675" y="2176186"/>
                  <a:pt x="8952728" y="2176186"/>
                </a:cubicBezTo>
                <a:close/>
                <a:moveTo>
                  <a:pt x="8735083" y="2176186"/>
                </a:moveTo>
                <a:cubicBezTo>
                  <a:pt x="8739342" y="2176186"/>
                  <a:pt x="8743203" y="2176985"/>
                  <a:pt x="8746797" y="2178848"/>
                </a:cubicBezTo>
                <a:cubicBezTo>
                  <a:pt x="8750391" y="2180445"/>
                  <a:pt x="8753586" y="2182575"/>
                  <a:pt x="8756115" y="2185238"/>
                </a:cubicBezTo>
                <a:cubicBezTo>
                  <a:pt x="8758644" y="2187766"/>
                  <a:pt x="8760774" y="2190962"/>
                  <a:pt x="8762238" y="2194555"/>
                </a:cubicBezTo>
                <a:cubicBezTo>
                  <a:pt x="8763702" y="2198150"/>
                  <a:pt x="8764502" y="2201878"/>
                  <a:pt x="8764502" y="2206004"/>
                </a:cubicBezTo>
                <a:cubicBezTo>
                  <a:pt x="8764502" y="2210131"/>
                  <a:pt x="8763702" y="2214125"/>
                  <a:pt x="8762238" y="2217718"/>
                </a:cubicBezTo>
                <a:cubicBezTo>
                  <a:pt x="8760641" y="2221312"/>
                  <a:pt x="8758644" y="2224374"/>
                  <a:pt x="8756115" y="2227037"/>
                </a:cubicBezTo>
                <a:cubicBezTo>
                  <a:pt x="8753453" y="2229700"/>
                  <a:pt x="8750391" y="2231830"/>
                  <a:pt x="8746797" y="2233293"/>
                </a:cubicBezTo>
                <a:cubicBezTo>
                  <a:pt x="8743203" y="2234757"/>
                  <a:pt x="8739342" y="2235556"/>
                  <a:pt x="8735083" y="2235556"/>
                </a:cubicBezTo>
                <a:cubicBezTo>
                  <a:pt x="8726030" y="2235556"/>
                  <a:pt x="8718841" y="2232628"/>
                  <a:pt x="8713250" y="2227037"/>
                </a:cubicBezTo>
                <a:cubicBezTo>
                  <a:pt x="8707660" y="2221446"/>
                  <a:pt x="8704864" y="2214390"/>
                  <a:pt x="8704864" y="2205871"/>
                </a:cubicBezTo>
                <a:cubicBezTo>
                  <a:pt x="8704864" y="2197618"/>
                  <a:pt x="8707660" y="2190563"/>
                  <a:pt x="8713250" y="2184838"/>
                </a:cubicBezTo>
                <a:cubicBezTo>
                  <a:pt x="8718841" y="2178981"/>
                  <a:pt x="8726030" y="2176186"/>
                  <a:pt x="8735083" y="2176186"/>
                </a:cubicBezTo>
                <a:close/>
                <a:moveTo>
                  <a:pt x="8517438" y="2176186"/>
                </a:moveTo>
                <a:cubicBezTo>
                  <a:pt x="8521698" y="2176186"/>
                  <a:pt x="8525559" y="2176985"/>
                  <a:pt x="8529152" y="2178848"/>
                </a:cubicBezTo>
                <a:cubicBezTo>
                  <a:pt x="8532880" y="2180445"/>
                  <a:pt x="8535941" y="2182575"/>
                  <a:pt x="8538470" y="2185238"/>
                </a:cubicBezTo>
                <a:cubicBezTo>
                  <a:pt x="8541000" y="2187766"/>
                  <a:pt x="8543130" y="2190962"/>
                  <a:pt x="8544594" y="2194555"/>
                </a:cubicBezTo>
                <a:cubicBezTo>
                  <a:pt x="8546058" y="2198150"/>
                  <a:pt x="8546857" y="2201878"/>
                  <a:pt x="8546857" y="2206004"/>
                </a:cubicBezTo>
                <a:cubicBezTo>
                  <a:pt x="8546857" y="2210131"/>
                  <a:pt x="8546058" y="2214125"/>
                  <a:pt x="8544594" y="2217718"/>
                </a:cubicBezTo>
                <a:cubicBezTo>
                  <a:pt x="8542997" y="2221312"/>
                  <a:pt x="8541000" y="2224374"/>
                  <a:pt x="8538470" y="2227037"/>
                </a:cubicBezTo>
                <a:cubicBezTo>
                  <a:pt x="8535808" y="2229700"/>
                  <a:pt x="8532747" y="2231830"/>
                  <a:pt x="8529152" y="2233293"/>
                </a:cubicBezTo>
                <a:cubicBezTo>
                  <a:pt x="8525559" y="2234757"/>
                  <a:pt x="8521698" y="2235556"/>
                  <a:pt x="8517438" y="2235556"/>
                </a:cubicBezTo>
                <a:cubicBezTo>
                  <a:pt x="8508385" y="2235556"/>
                  <a:pt x="8501197" y="2232628"/>
                  <a:pt x="8495606" y="2227037"/>
                </a:cubicBezTo>
                <a:cubicBezTo>
                  <a:pt x="8490015" y="2221446"/>
                  <a:pt x="8487220" y="2214390"/>
                  <a:pt x="8487220" y="2205871"/>
                </a:cubicBezTo>
                <a:cubicBezTo>
                  <a:pt x="8487220" y="2197618"/>
                  <a:pt x="8490015" y="2190563"/>
                  <a:pt x="8495606" y="2184838"/>
                </a:cubicBezTo>
                <a:cubicBezTo>
                  <a:pt x="8501197" y="2178981"/>
                  <a:pt x="8508385" y="2176186"/>
                  <a:pt x="8517438" y="2176186"/>
                </a:cubicBezTo>
                <a:close/>
                <a:moveTo>
                  <a:pt x="8299793" y="2176186"/>
                </a:moveTo>
                <a:cubicBezTo>
                  <a:pt x="8304052" y="2176186"/>
                  <a:pt x="8308046" y="2176985"/>
                  <a:pt x="8311507" y="2178848"/>
                </a:cubicBezTo>
                <a:cubicBezTo>
                  <a:pt x="8315235" y="2180445"/>
                  <a:pt x="8318296" y="2182575"/>
                  <a:pt x="8320825" y="2185238"/>
                </a:cubicBezTo>
                <a:cubicBezTo>
                  <a:pt x="8323354" y="2187766"/>
                  <a:pt x="8325484" y="2190962"/>
                  <a:pt x="8326948" y="2194555"/>
                </a:cubicBezTo>
                <a:cubicBezTo>
                  <a:pt x="8328413" y="2198150"/>
                  <a:pt x="8329212" y="2201878"/>
                  <a:pt x="8329212" y="2206004"/>
                </a:cubicBezTo>
                <a:cubicBezTo>
                  <a:pt x="8329212" y="2210131"/>
                  <a:pt x="8328413" y="2214125"/>
                  <a:pt x="8326948" y="2217718"/>
                </a:cubicBezTo>
                <a:cubicBezTo>
                  <a:pt x="8325351" y="2221312"/>
                  <a:pt x="8323354" y="2224374"/>
                  <a:pt x="8320825" y="2227037"/>
                </a:cubicBezTo>
                <a:cubicBezTo>
                  <a:pt x="8318163" y="2229700"/>
                  <a:pt x="8315101" y="2231830"/>
                  <a:pt x="8311507" y="2233293"/>
                </a:cubicBezTo>
                <a:cubicBezTo>
                  <a:pt x="8307913" y="2234757"/>
                  <a:pt x="8304052" y="2235556"/>
                  <a:pt x="8299793" y="2235556"/>
                </a:cubicBezTo>
                <a:cubicBezTo>
                  <a:pt x="8290874" y="2235556"/>
                  <a:pt x="8283553" y="2232628"/>
                  <a:pt x="8277960" y="2227037"/>
                </a:cubicBezTo>
                <a:cubicBezTo>
                  <a:pt x="8272370" y="2221446"/>
                  <a:pt x="8269574" y="2214390"/>
                  <a:pt x="8269574" y="2205871"/>
                </a:cubicBezTo>
                <a:cubicBezTo>
                  <a:pt x="8269574" y="2197618"/>
                  <a:pt x="8272370" y="2190563"/>
                  <a:pt x="8277960" y="2184838"/>
                </a:cubicBezTo>
                <a:cubicBezTo>
                  <a:pt x="8283553" y="2178981"/>
                  <a:pt x="8290741" y="2176186"/>
                  <a:pt x="8299793" y="2176186"/>
                </a:cubicBezTo>
                <a:close/>
                <a:moveTo>
                  <a:pt x="8082281" y="2176186"/>
                </a:moveTo>
                <a:cubicBezTo>
                  <a:pt x="8086407" y="2176186"/>
                  <a:pt x="8090401" y="2176985"/>
                  <a:pt x="8094127" y="2178848"/>
                </a:cubicBezTo>
                <a:cubicBezTo>
                  <a:pt x="8097855" y="2180445"/>
                  <a:pt x="8100916" y="2182575"/>
                  <a:pt x="8103446" y="2185238"/>
                </a:cubicBezTo>
                <a:cubicBezTo>
                  <a:pt x="8105975" y="2187766"/>
                  <a:pt x="8108104" y="2190962"/>
                  <a:pt x="8109569" y="2194555"/>
                </a:cubicBezTo>
                <a:cubicBezTo>
                  <a:pt x="8111033" y="2198150"/>
                  <a:pt x="8111832" y="2201878"/>
                  <a:pt x="8111832" y="2206004"/>
                </a:cubicBezTo>
                <a:cubicBezTo>
                  <a:pt x="8111832" y="2210131"/>
                  <a:pt x="8111033" y="2214125"/>
                  <a:pt x="8109569" y="2217718"/>
                </a:cubicBezTo>
                <a:cubicBezTo>
                  <a:pt x="8107972" y="2221312"/>
                  <a:pt x="8105975" y="2224374"/>
                  <a:pt x="8103446" y="2227037"/>
                </a:cubicBezTo>
                <a:cubicBezTo>
                  <a:pt x="8100783" y="2229700"/>
                  <a:pt x="8097722" y="2231830"/>
                  <a:pt x="8094127" y="2233293"/>
                </a:cubicBezTo>
                <a:cubicBezTo>
                  <a:pt x="8090401" y="2234757"/>
                  <a:pt x="8086540" y="2235556"/>
                  <a:pt x="8082281" y="2235556"/>
                </a:cubicBezTo>
                <a:cubicBezTo>
                  <a:pt x="8073361" y="2235556"/>
                  <a:pt x="8066040" y="2232628"/>
                  <a:pt x="8060448" y="2227037"/>
                </a:cubicBezTo>
                <a:cubicBezTo>
                  <a:pt x="8054857" y="2221446"/>
                  <a:pt x="8052062" y="2214390"/>
                  <a:pt x="8052062" y="2205871"/>
                </a:cubicBezTo>
                <a:cubicBezTo>
                  <a:pt x="8052062" y="2197618"/>
                  <a:pt x="8054857" y="2190563"/>
                  <a:pt x="8060448" y="2184838"/>
                </a:cubicBezTo>
                <a:cubicBezTo>
                  <a:pt x="8066040" y="2178981"/>
                  <a:pt x="8073228" y="2176186"/>
                  <a:pt x="8082281" y="2176186"/>
                </a:cubicBezTo>
                <a:close/>
                <a:moveTo>
                  <a:pt x="7864636" y="2176186"/>
                </a:moveTo>
                <a:cubicBezTo>
                  <a:pt x="7868762" y="2176186"/>
                  <a:pt x="7872756" y="2176985"/>
                  <a:pt x="7876483" y="2178848"/>
                </a:cubicBezTo>
                <a:cubicBezTo>
                  <a:pt x="7880210" y="2180445"/>
                  <a:pt x="7883272" y="2182575"/>
                  <a:pt x="7885802" y="2185238"/>
                </a:cubicBezTo>
                <a:cubicBezTo>
                  <a:pt x="7888331" y="2187766"/>
                  <a:pt x="7890460" y="2190962"/>
                  <a:pt x="7891924" y="2194555"/>
                </a:cubicBezTo>
                <a:cubicBezTo>
                  <a:pt x="7893389" y="2198150"/>
                  <a:pt x="7894188" y="2201878"/>
                  <a:pt x="7894188" y="2206004"/>
                </a:cubicBezTo>
                <a:cubicBezTo>
                  <a:pt x="7894188" y="2210131"/>
                  <a:pt x="7893389" y="2214125"/>
                  <a:pt x="7891924" y="2217718"/>
                </a:cubicBezTo>
                <a:cubicBezTo>
                  <a:pt x="7890327" y="2221312"/>
                  <a:pt x="7888331" y="2224374"/>
                  <a:pt x="7885802" y="2227037"/>
                </a:cubicBezTo>
                <a:cubicBezTo>
                  <a:pt x="7883139" y="2229700"/>
                  <a:pt x="7880078" y="2231830"/>
                  <a:pt x="7876483" y="2233293"/>
                </a:cubicBezTo>
                <a:cubicBezTo>
                  <a:pt x="7872756" y="2234757"/>
                  <a:pt x="7868895" y="2235556"/>
                  <a:pt x="7864636" y="2235556"/>
                </a:cubicBezTo>
                <a:cubicBezTo>
                  <a:pt x="7855717" y="2235556"/>
                  <a:pt x="7848396" y="2232628"/>
                  <a:pt x="7842803" y="2227037"/>
                </a:cubicBezTo>
                <a:cubicBezTo>
                  <a:pt x="7837213" y="2221446"/>
                  <a:pt x="7834417" y="2214390"/>
                  <a:pt x="7834417" y="2205871"/>
                </a:cubicBezTo>
                <a:cubicBezTo>
                  <a:pt x="7834417" y="2197618"/>
                  <a:pt x="7837213" y="2190563"/>
                  <a:pt x="7842803" y="2184838"/>
                </a:cubicBezTo>
                <a:cubicBezTo>
                  <a:pt x="7848396" y="2178981"/>
                  <a:pt x="7855584" y="2176186"/>
                  <a:pt x="7864636" y="2176186"/>
                </a:cubicBezTo>
                <a:close/>
                <a:moveTo>
                  <a:pt x="7646991" y="2176186"/>
                </a:moveTo>
                <a:cubicBezTo>
                  <a:pt x="7651250" y="2176186"/>
                  <a:pt x="7655111" y="2176985"/>
                  <a:pt x="7658705" y="2178848"/>
                </a:cubicBezTo>
                <a:cubicBezTo>
                  <a:pt x="7662432" y="2180445"/>
                  <a:pt x="7665493" y="2182575"/>
                  <a:pt x="7668022" y="2185238"/>
                </a:cubicBezTo>
                <a:cubicBezTo>
                  <a:pt x="7670552" y="2187766"/>
                  <a:pt x="7672682" y="2190962"/>
                  <a:pt x="7674146" y="2194555"/>
                </a:cubicBezTo>
                <a:cubicBezTo>
                  <a:pt x="7675610" y="2198150"/>
                  <a:pt x="7676409" y="2201878"/>
                  <a:pt x="7676409" y="2206004"/>
                </a:cubicBezTo>
                <a:cubicBezTo>
                  <a:pt x="7676409" y="2210131"/>
                  <a:pt x="7675610" y="2214125"/>
                  <a:pt x="7674146" y="2217718"/>
                </a:cubicBezTo>
                <a:cubicBezTo>
                  <a:pt x="7672549" y="2221312"/>
                  <a:pt x="7670552" y="2224374"/>
                  <a:pt x="7668022" y="2227037"/>
                </a:cubicBezTo>
                <a:cubicBezTo>
                  <a:pt x="7665361" y="2229700"/>
                  <a:pt x="7662299" y="2231830"/>
                  <a:pt x="7658705" y="2233293"/>
                </a:cubicBezTo>
                <a:cubicBezTo>
                  <a:pt x="7655111" y="2234757"/>
                  <a:pt x="7651250" y="2235556"/>
                  <a:pt x="7646991" y="2235556"/>
                </a:cubicBezTo>
                <a:cubicBezTo>
                  <a:pt x="7638071" y="2235556"/>
                  <a:pt x="7630750" y="2232628"/>
                  <a:pt x="7625158" y="2227037"/>
                </a:cubicBezTo>
                <a:cubicBezTo>
                  <a:pt x="7619568" y="2221446"/>
                  <a:pt x="7616772" y="2214390"/>
                  <a:pt x="7616772" y="2205871"/>
                </a:cubicBezTo>
                <a:cubicBezTo>
                  <a:pt x="7616772" y="2197618"/>
                  <a:pt x="7619568" y="2190563"/>
                  <a:pt x="7625158" y="2184838"/>
                </a:cubicBezTo>
                <a:cubicBezTo>
                  <a:pt x="7630750" y="2178981"/>
                  <a:pt x="7637939" y="2176186"/>
                  <a:pt x="7646991" y="2176186"/>
                </a:cubicBezTo>
                <a:close/>
                <a:moveTo>
                  <a:pt x="7429345" y="2176186"/>
                </a:moveTo>
                <a:cubicBezTo>
                  <a:pt x="7433605" y="2176186"/>
                  <a:pt x="7437466" y="2176985"/>
                  <a:pt x="7441059" y="2178848"/>
                </a:cubicBezTo>
                <a:cubicBezTo>
                  <a:pt x="7444787" y="2180445"/>
                  <a:pt x="7447848" y="2182575"/>
                  <a:pt x="7450377" y="2185238"/>
                </a:cubicBezTo>
                <a:cubicBezTo>
                  <a:pt x="7452907" y="2187766"/>
                  <a:pt x="7455036" y="2190962"/>
                  <a:pt x="7456501" y="2194555"/>
                </a:cubicBezTo>
                <a:cubicBezTo>
                  <a:pt x="7457965" y="2198150"/>
                  <a:pt x="7458764" y="2201878"/>
                  <a:pt x="7458764" y="2206004"/>
                </a:cubicBezTo>
                <a:cubicBezTo>
                  <a:pt x="7458764" y="2210131"/>
                  <a:pt x="7457965" y="2214125"/>
                  <a:pt x="7456501" y="2217718"/>
                </a:cubicBezTo>
                <a:cubicBezTo>
                  <a:pt x="7454904" y="2221312"/>
                  <a:pt x="7452907" y="2224374"/>
                  <a:pt x="7450377" y="2227037"/>
                </a:cubicBezTo>
                <a:cubicBezTo>
                  <a:pt x="7447715" y="2229700"/>
                  <a:pt x="7444654" y="2231830"/>
                  <a:pt x="7441059" y="2233293"/>
                </a:cubicBezTo>
                <a:cubicBezTo>
                  <a:pt x="7437466" y="2234757"/>
                  <a:pt x="7433605" y="2235556"/>
                  <a:pt x="7429345" y="2235556"/>
                </a:cubicBezTo>
                <a:cubicBezTo>
                  <a:pt x="7420426" y="2235556"/>
                  <a:pt x="7413105" y="2232628"/>
                  <a:pt x="7407513" y="2227037"/>
                </a:cubicBezTo>
                <a:cubicBezTo>
                  <a:pt x="7401922" y="2221446"/>
                  <a:pt x="7399127" y="2214390"/>
                  <a:pt x="7399127" y="2205871"/>
                </a:cubicBezTo>
                <a:cubicBezTo>
                  <a:pt x="7399127" y="2197618"/>
                  <a:pt x="7401922" y="2190563"/>
                  <a:pt x="7407513" y="2184838"/>
                </a:cubicBezTo>
                <a:cubicBezTo>
                  <a:pt x="7413105" y="2178981"/>
                  <a:pt x="7420293" y="2176186"/>
                  <a:pt x="7429345" y="2176186"/>
                </a:cubicBezTo>
                <a:close/>
                <a:moveTo>
                  <a:pt x="7211701" y="2176186"/>
                </a:moveTo>
                <a:cubicBezTo>
                  <a:pt x="7215960" y="2176186"/>
                  <a:pt x="7219954" y="2176985"/>
                  <a:pt x="7223415" y="2178848"/>
                </a:cubicBezTo>
                <a:cubicBezTo>
                  <a:pt x="7227142" y="2180445"/>
                  <a:pt x="7230204" y="2182575"/>
                  <a:pt x="7232733" y="2185238"/>
                </a:cubicBezTo>
                <a:cubicBezTo>
                  <a:pt x="7235262" y="2187766"/>
                  <a:pt x="7237392" y="2190962"/>
                  <a:pt x="7238856" y="2194555"/>
                </a:cubicBezTo>
                <a:cubicBezTo>
                  <a:pt x="7240321" y="2198150"/>
                  <a:pt x="7241120" y="2201878"/>
                  <a:pt x="7241120" y="2206004"/>
                </a:cubicBezTo>
                <a:cubicBezTo>
                  <a:pt x="7241120" y="2210131"/>
                  <a:pt x="7240321" y="2214125"/>
                  <a:pt x="7238856" y="2217718"/>
                </a:cubicBezTo>
                <a:cubicBezTo>
                  <a:pt x="7237259" y="2221312"/>
                  <a:pt x="7235262" y="2224374"/>
                  <a:pt x="7232733" y="2227037"/>
                </a:cubicBezTo>
                <a:cubicBezTo>
                  <a:pt x="7230071" y="2229700"/>
                  <a:pt x="7227009" y="2231830"/>
                  <a:pt x="7223415" y="2233293"/>
                </a:cubicBezTo>
                <a:cubicBezTo>
                  <a:pt x="7219821" y="2234757"/>
                  <a:pt x="7215960" y="2235556"/>
                  <a:pt x="7211701" y="2235556"/>
                </a:cubicBezTo>
                <a:cubicBezTo>
                  <a:pt x="7202782" y="2235556"/>
                  <a:pt x="7195460" y="2232628"/>
                  <a:pt x="7189868" y="2227037"/>
                </a:cubicBezTo>
                <a:cubicBezTo>
                  <a:pt x="7184278" y="2221446"/>
                  <a:pt x="7181482" y="2214390"/>
                  <a:pt x="7181482" y="2205871"/>
                </a:cubicBezTo>
                <a:cubicBezTo>
                  <a:pt x="7181482" y="2197618"/>
                  <a:pt x="7184278" y="2190563"/>
                  <a:pt x="7189868" y="2184838"/>
                </a:cubicBezTo>
                <a:cubicBezTo>
                  <a:pt x="7195460" y="2178981"/>
                  <a:pt x="7202649" y="2176186"/>
                  <a:pt x="7211701" y="2176186"/>
                </a:cubicBezTo>
                <a:close/>
                <a:moveTo>
                  <a:pt x="6994056" y="2176186"/>
                </a:moveTo>
                <a:cubicBezTo>
                  <a:pt x="6998315" y="2176186"/>
                  <a:pt x="7002309" y="2176985"/>
                  <a:pt x="7005769" y="2178848"/>
                </a:cubicBezTo>
                <a:cubicBezTo>
                  <a:pt x="7009497" y="2180445"/>
                  <a:pt x="7012558" y="2182575"/>
                  <a:pt x="7015087" y="2185238"/>
                </a:cubicBezTo>
                <a:cubicBezTo>
                  <a:pt x="7017617" y="2187766"/>
                  <a:pt x="7019747" y="2190962"/>
                  <a:pt x="7021211" y="2194555"/>
                </a:cubicBezTo>
                <a:cubicBezTo>
                  <a:pt x="7022675" y="2198150"/>
                  <a:pt x="7023474" y="2201878"/>
                  <a:pt x="7023474" y="2206004"/>
                </a:cubicBezTo>
                <a:cubicBezTo>
                  <a:pt x="7023474" y="2210131"/>
                  <a:pt x="7022675" y="2214125"/>
                  <a:pt x="7021211" y="2217718"/>
                </a:cubicBezTo>
                <a:cubicBezTo>
                  <a:pt x="7019614" y="2221312"/>
                  <a:pt x="7017617" y="2224374"/>
                  <a:pt x="7015087" y="2227037"/>
                </a:cubicBezTo>
                <a:cubicBezTo>
                  <a:pt x="7012425" y="2229700"/>
                  <a:pt x="7009364" y="2231830"/>
                  <a:pt x="7005769" y="2233293"/>
                </a:cubicBezTo>
                <a:cubicBezTo>
                  <a:pt x="7002176" y="2234757"/>
                  <a:pt x="6998315" y="2235556"/>
                  <a:pt x="6994056" y="2235556"/>
                </a:cubicBezTo>
                <a:cubicBezTo>
                  <a:pt x="6985136" y="2235556"/>
                  <a:pt x="6977815" y="2232628"/>
                  <a:pt x="6972223" y="2227037"/>
                </a:cubicBezTo>
                <a:cubicBezTo>
                  <a:pt x="6966632" y="2221446"/>
                  <a:pt x="6963837" y="2214390"/>
                  <a:pt x="6963837" y="2205871"/>
                </a:cubicBezTo>
                <a:cubicBezTo>
                  <a:pt x="6963837" y="2197618"/>
                  <a:pt x="6966632" y="2190563"/>
                  <a:pt x="6972223" y="2184838"/>
                </a:cubicBezTo>
                <a:cubicBezTo>
                  <a:pt x="6977815" y="2178981"/>
                  <a:pt x="6985003" y="2176186"/>
                  <a:pt x="6994056" y="2176186"/>
                </a:cubicBezTo>
                <a:close/>
                <a:moveTo>
                  <a:pt x="6776544" y="2176186"/>
                </a:moveTo>
                <a:cubicBezTo>
                  <a:pt x="6780670" y="2176186"/>
                  <a:pt x="6784664" y="2176985"/>
                  <a:pt x="6788258" y="2178848"/>
                </a:cubicBezTo>
                <a:cubicBezTo>
                  <a:pt x="6791985" y="2180445"/>
                  <a:pt x="6795047" y="2182575"/>
                  <a:pt x="6797576" y="2185238"/>
                </a:cubicBezTo>
                <a:cubicBezTo>
                  <a:pt x="6800105" y="2187766"/>
                  <a:pt x="6802235" y="2190962"/>
                  <a:pt x="6803699" y="2194555"/>
                </a:cubicBezTo>
                <a:cubicBezTo>
                  <a:pt x="6805164" y="2198150"/>
                  <a:pt x="6805963" y="2201878"/>
                  <a:pt x="6805963" y="2206004"/>
                </a:cubicBezTo>
                <a:cubicBezTo>
                  <a:pt x="6805963" y="2210131"/>
                  <a:pt x="6805164" y="2214125"/>
                  <a:pt x="6803699" y="2217718"/>
                </a:cubicBezTo>
                <a:cubicBezTo>
                  <a:pt x="6802102" y="2221312"/>
                  <a:pt x="6800105" y="2224374"/>
                  <a:pt x="6797576" y="2227037"/>
                </a:cubicBezTo>
                <a:cubicBezTo>
                  <a:pt x="6794914" y="2229700"/>
                  <a:pt x="6791852" y="2231830"/>
                  <a:pt x="6788258" y="2233293"/>
                </a:cubicBezTo>
                <a:cubicBezTo>
                  <a:pt x="6784664" y="2234757"/>
                  <a:pt x="6780803" y="2235556"/>
                  <a:pt x="6776544" y="2235556"/>
                </a:cubicBezTo>
                <a:cubicBezTo>
                  <a:pt x="6767625" y="2235556"/>
                  <a:pt x="6760303" y="2232628"/>
                  <a:pt x="6754711" y="2227037"/>
                </a:cubicBezTo>
                <a:cubicBezTo>
                  <a:pt x="6749121" y="2221446"/>
                  <a:pt x="6746325" y="2214390"/>
                  <a:pt x="6746325" y="2205871"/>
                </a:cubicBezTo>
                <a:cubicBezTo>
                  <a:pt x="6746325" y="2197618"/>
                  <a:pt x="6749121" y="2190563"/>
                  <a:pt x="6754711" y="2184838"/>
                </a:cubicBezTo>
                <a:cubicBezTo>
                  <a:pt x="6760303" y="2178981"/>
                  <a:pt x="6767492" y="2176186"/>
                  <a:pt x="6776544" y="2176186"/>
                </a:cubicBezTo>
                <a:close/>
                <a:moveTo>
                  <a:pt x="6558899" y="2176186"/>
                </a:moveTo>
                <a:cubicBezTo>
                  <a:pt x="6563158" y="2176186"/>
                  <a:pt x="6567019" y="2176985"/>
                  <a:pt x="6570612" y="2178848"/>
                </a:cubicBezTo>
                <a:cubicBezTo>
                  <a:pt x="6574340" y="2180445"/>
                  <a:pt x="6577401" y="2182575"/>
                  <a:pt x="6579930" y="2185238"/>
                </a:cubicBezTo>
                <a:cubicBezTo>
                  <a:pt x="6582460" y="2187766"/>
                  <a:pt x="6584590" y="2190962"/>
                  <a:pt x="6586054" y="2194555"/>
                </a:cubicBezTo>
                <a:cubicBezTo>
                  <a:pt x="6587518" y="2198150"/>
                  <a:pt x="6588317" y="2201878"/>
                  <a:pt x="6588317" y="2206004"/>
                </a:cubicBezTo>
                <a:cubicBezTo>
                  <a:pt x="6588317" y="2210131"/>
                  <a:pt x="6587518" y="2214125"/>
                  <a:pt x="6586054" y="2217718"/>
                </a:cubicBezTo>
                <a:cubicBezTo>
                  <a:pt x="6584457" y="2221312"/>
                  <a:pt x="6582460" y="2224374"/>
                  <a:pt x="6579930" y="2227037"/>
                </a:cubicBezTo>
                <a:cubicBezTo>
                  <a:pt x="6577268" y="2229700"/>
                  <a:pt x="6574207" y="2231830"/>
                  <a:pt x="6570612" y="2233293"/>
                </a:cubicBezTo>
                <a:cubicBezTo>
                  <a:pt x="6567019" y="2234757"/>
                  <a:pt x="6563158" y="2235556"/>
                  <a:pt x="6558899" y="2235556"/>
                </a:cubicBezTo>
                <a:cubicBezTo>
                  <a:pt x="6549979" y="2235556"/>
                  <a:pt x="6542658" y="2232628"/>
                  <a:pt x="6537066" y="2227037"/>
                </a:cubicBezTo>
                <a:cubicBezTo>
                  <a:pt x="6531476" y="2221446"/>
                  <a:pt x="6528680" y="2214390"/>
                  <a:pt x="6528680" y="2205871"/>
                </a:cubicBezTo>
                <a:cubicBezTo>
                  <a:pt x="6528680" y="2197618"/>
                  <a:pt x="6531476" y="2190563"/>
                  <a:pt x="6537066" y="2184838"/>
                </a:cubicBezTo>
                <a:cubicBezTo>
                  <a:pt x="6542658" y="2178981"/>
                  <a:pt x="6549846" y="2176186"/>
                  <a:pt x="6558899" y="2176186"/>
                </a:cubicBezTo>
                <a:close/>
                <a:moveTo>
                  <a:pt x="6341253" y="2176186"/>
                </a:moveTo>
                <a:cubicBezTo>
                  <a:pt x="6345513" y="2176186"/>
                  <a:pt x="6349373" y="2176985"/>
                  <a:pt x="6352968" y="2178848"/>
                </a:cubicBezTo>
                <a:cubicBezTo>
                  <a:pt x="6356695" y="2180445"/>
                  <a:pt x="6359757" y="2182575"/>
                  <a:pt x="6362286" y="2185238"/>
                </a:cubicBezTo>
                <a:cubicBezTo>
                  <a:pt x="6364815" y="2187766"/>
                  <a:pt x="6366945" y="2190962"/>
                  <a:pt x="6368409" y="2194555"/>
                </a:cubicBezTo>
                <a:cubicBezTo>
                  <a:pt x="6369874" y="2198150"/>
                  <a:pt x="6370672" y="2201878"/>
                  <a:pt x="6370672" y="2206004"/>
                </a:cubicBezTo>
                <a:cubicBezTo>
                  <a:pt x="6370672" y="2210131"/>
                  <a:pt x="6369874" y="2214125"/>
                  <a:pt x="6368409" y="2217718"/>
                </a:cubicBezTo>
                <a:cubicBezTo>
                  <a:pt x="6366811" y="2221312"/>
                  <a:pt x="6364815" y="2224374"/>
                  <a:pt x="6362286" y="2227037"/>
                </a:cubicBezTo>
                <a:cubicBezTo>
                  <a:pt x="6359623" y="2229700"/>
                  <a:pt x="6356562" y="2231830"/>
                  <a:pt x="6352968" y="2233293"/>
                </a:cubicBezTo>
                <a:cubicBezTo>
                  <a:pt x="6349373" y="2234757"/>
                  <a:pt x="6345513" y="2235556"/>
                  <a:pt x="6341253" y="2235556"/>
                </a:cubicBezTo>
                <a:cubicBezTo>
                  <a:pt x="6332335" y="2235556"/>
                  <a:pt x="6325013" y="2232628"/>
                  <a:pt x="6319421" y="2227037"/>
                </a:cubicBezTo>
                <a:cubicBezTo>
                  <a:pt x="6313830" y="2221446"/>
                  <a:pt x="6311035" y="2214390"/>
                  <a:pt x="6311035" y="2205871"/>
                </a:cubicBezTo>
                <a:cubicBezTo>
                  <a:pt x="6311035" y="2197618"/>
                  <a:pt x="6313830" y="2190563"/>
                  <a:pt x="6319421" y="2184838"/>
                </a:cubicBezTo>
                <a:cubicBezTo>
                  <a:pt x="6325013" y="2178981"/>
                  <a:pt x="6332201" y="2176186"/>
                  <a:pt x="6341253" y="2176186"/>
                </a:cubicBezTo>
                <a:close/>
                <a:moveTo>
                  <a:pt x="6123608" y="2176186"/>
                </a:moveTo>
                <a:cubicBezTo>
                  <a:pt x="6127867" y="2176186"/>
                  <a:pt x="6131728" y="2176985"/>
                  <a:pt x="6135322" y="2178848"/>
                </a:cubicBezTo>
                <a:cubicBezTo>
                  <a:pt x="6139049" y="2180445"/>
                  <a:pt x="6142111" y="2182575"/>
                  <a:pt x="6144640" y="2185238"/>
                </a:cubicBezTo>
                <a:cubicBezTo>
                  <a:pt x="6147169" y="2187766"/>
                  <a:pt x="6149299" y="2190962"/>
                  <a:pt x="6150763" y="2194555"/>
                </a:cubicBezTo>
                <a:cubicBezTo>
                  <a:pt x="6152228" y="2198150"/>
                  <a:pt x="6153026" y="2201878"/>
                  <a:pt x="6153026" y="2206004"/>
                </a:cubicBezTo>
                <a:cubicBezTo>
                  <a:pt x="6153026" y="2210131"/>
                  <a:pt x="6152228" y="2214125"/>
                  <a:pt x="6150763" y="2217718"/>
                </a:cubicBezTo>
                <a:cubicBezTo>
                  <a:pt x="6149299" y="2221312"/>
                  <a:pt x="6147169" y="2224374"/>
                  <a:pt x="6144640" y="2227037"/>
                </a:cubicBezTo>
                <a:cubicBezTo>
                  <a:pt x="6141977" y="2229700"/>
                  <a:pt x="6138916" y="2231830"/>
                  <a:pt x="6135322" y="2233293"/>
                </a:cubicBezTo>
                <a:cubicBezTo>
                  <a:pt x="6131728" y="2234757"/>
                  <a:pt x="6127867" y="2235556"/>
                  <a:pt x="6123608" y="2235556"/>
                </a:cubicBezTo>
                <a:cubicBezTo>
                  <a:pt x="6114689" y="2235556"/>
                  <a:pt x="6107367" y="2232628"/>
                  <a:pt x="6101775" y="2227037"/>
                </a:cubicBezTo>
                <a:cubicBezTo>
                  <a:pt x="6096184" y="2221446"/>
                  <a:pt x="6093389" y="2214390"/>
                  <a:pt x="6093389" y="2205871"/>
                </a:cubicBezTo>
                <a:cubicBezTo>
                  <a:pt x="6093389" y="2197618"/>
                  <a:pt x="6096184" y="2190563"/>
                  <a:pt x="6101775" y="2184838"/>
                </a:cubicBezTo>
                <a:cubicBezTo>
                  <a:pt x="6107367" y="2178981"/>
                  <a:pt x="6114555" y="2176186"/>
                  <a:pt x="6123608" y="2176186"/>
                </a:cubicBezTo>
                <a:close/>
                <a:moveTo>
                  <a:pt x="5905963" y="2176186"/>
                </a:moveTo>
                <a:cubicBezTo>
                  <a:pt x="5910222" y="2176186"/>
                  <a:pt x="5914216" y="2176985"/>
                  <a:pt x="5917677" y="2178848"/>
                </a:cubicBezTo>
                <a:cubicBezTo>
                  <a:pt x="5921404" y="2180445"/>
                  <a:pt x="5924466" y="2182575"/>
                  <a:pt x="5926995" y="2185238"/>
                </a:cubicBezTo>
                <a:cubicBezTo>
                  <a:pt x="5929524" y="2187766"/>
                  <a:pt x="5931654" y="2190962"/>
                  <a:pt x="5933118" y="2194555"/>
                </a:cubicBezTo>
                <a:cubicBezTo>
                  <a:pt x="5934583" y="2198150"/>
                  <a:pt x="5935381" y="2201878"/>
                  <a:pt x="5935381" y="2206004"/>
                </a:cubicBezTo>
                <a:cubicBezTo>
                  <a:pt x="5935381" y="2210131"/>
                  <a:pt x="5934583" y="2214125"/>
                  <a:pt x="5933118" y="2217718"/>
                </a:cubicBezTo>
                <a:cubicBezTo>
                  <a:pt x="5931654" y="2221312"/>
                  <a:pt x="5929524" y="2224374"/>
                  <a:pt x="5926995" y="2227037"/>
                </a:cubicBezTo>
                <a:cubicBezTo>
                  <a:pt x="5924333" y="2229700"/>
                  <a:pt x="5921271" y="2231830"/>
                  <a:pt x="5917677" y="2233293"/>
                </a:cubicBezTo>
                <a:cubicBezTo>
                  <a:pt x="5914083" y="2234757"/>
                  <a:pt x="5910222" y="2235556"/>
                  <a:pt x="5905963" y="2235556"/>
                </a:cubicBezTo>
                <a:cubicBezTo>
                  <a:pt x="5897044" y="2235556"/>
                  <a:pt x="5889722" y="2232628"/>
                  <a:pt x="5884130" y="2227037"/>
                </a:cubicBezTo>
                <a:cubicBezTo>
                  <a:pt x="5878540" y="2221446"/>
                  <a:pt x="5875744" y="2214390"/>
                  <a:pt x="5875744" y="2205871"/>
                </a:cubicBezTo>
                <a:cubicBezTo>
                  <a:pt x="5875744" y="2197618"/>
                  <a:pt x="5878540" y="2190563"/>
                  <a:pt x="5884130" y="2184838"/>
                </a:cubicBezTo>
                <a:cubicBezTo>
                  <a:pt x="5889722" y="2178981"/>
                  <a:pt x="5896910" y="2176186"/>
                  <a:pt x="5905963" y="2176186"/>
                </a:cubicBezTo>
                <a:close/>
                <a:moveTo>
                  <a:pt x="5688451" y="2176186"/>
                </a:moveTo>
                <a:cubicBezTo>
                  <a:pt x="5692577" y="2176186"/>
                  <a:pt x="5696571" y="2176985"/>
                  <a:pt x="5700165" y="2178848"/>
                </a:cubicBezTo>
                <a:cubicBezTo>
                  <a:pt x="5703892" y="2180445"/>
                  <a:pt x="5706954" y="2182575"/>
                  <a:pt x="5709483" y="2185238"/>
                </a:cubicBezTo>
                <a:cubicBezTo>
                  <a:pt x="5712012" y="2187766"/>
                  <a:pt x="5714142" y="2190962"/>
                  <a:pt x="5715606" y="2194555"/>
                </a:cubicBezTo>
                <a:cubicBezTo>
                  <a:pt x="5717071" y="2198150"/>
                  <a:pt x="5717869" y="2201878"/>
                  <a:pt x="5717869" y="2206004"/>
                </a:cubicBezTo>
                <a:cubicBezTo>
                  <a:pt x="5717869" y="2210131"/>
                  <a:pt x="5717071" y="2214125"/>
                  <a:pt x="5715606" y="2217718"/>
                </a:cubicBezTo>
                <a:cubicBezTo>
                  <a:pt x="5714142" y="2221312"/>
                  <a:pt x="5712012" y="2224374"/>
                  <a:pt x="5709483" y="2227037"/>
                </a:cubicBezTo>
                <a:cubicBezTo>
                  <a:pt x="5706820" y="2229700"/>
                  <a:pt x="5703759" y="2231830"/>
                  <a:pt x="5700165" y="2233293"/>
                </a:cubicBezTo>
                <a:cubicBezTo>
                  <a:pt x="5696571" y="2234757"/>
                  <a:pt x="5692710" y="2235556"/>
                  <a:pt x="5688451" y="2235556"/>
                </a:cubicBezTo>
                <a:cubicBezTo>
                  <a:pt x="5679532" y="2235556"/>
                  <a:pt x="5672210" y="2232628"/>
                  <a:pt x="5666618" y="2227037"/>
                </a:cubicBezTo>
                <a:cubicBezTo>
                  <a:pt x="5661028" y="2221446"/>
                  <a:pt x="5658232" y="2214390"/>
                  <a:pt x="5658232" y="2205871"/>
                </a:cubicBezTo>
                <a:cubicBezTo>
                  <a:pt x="5658232" y="2197618"/>
                  <a:pt x="5661028" y="2190563"/>
                  <a:pt x="5666618" y="2184838"/>
                </a:cubicBezTo>
                <a:cubicBezTo>
                  <a:pt x="5672210" y="2178981"/>
                  <a:pt x="5679398" y="2176186"/>
                  <a:pt x="5688451" y="2176186"/>
                </a:cubicBezTo>
                <a:close/>
                <a:moveTo>
                  <a:pt x="5470806" y="2176186"/>
                </a:moveTo>
                <a:cubicBezTo>
                  <a:pt x="5475065" y="2176186"/>
                  <a:pt x="5478926" y="2176985"/>
                  <a:pt x="5482520" y="2178848"/>
                </a:cubicBezTo>
                <a:cubicBezTo>
                  <a:pt x="5486247" y="2180445"/>
                  <a:pt x="5489309" y="2182575"/>
                  <a:pt x="5491838" y="2185238"/>
                </a:cubicBezTo>
                <a:cubicBezTo>
                  <a:pt x="5494367" y="2187766"/>
                  <a:pt x="5496497" y="2190962"/>
                  <a:pt x="5497961" y="2194555"/>
                </a:cubicBezTo>
                <a:cubicBezTo>
                  <a:pt x="5499426" y="2198150"/>
                  <a:pt x="5500224" y="2201878"/>
                  <a:pt x="5500224" y="2206004"/>
                </a:cubicBezTo>
                <a:cubicBezTo>
                  <a:pt x="5500224" y="2210131"/>
                  <a:pt x="5499426" y="2214125"/>
                  <a:pt x="5497961" y="2217718"/>
                </a:cubicBezTo>
                <a:cubicBezTo>
                  <a:pt x="5496497" y="2221312"/>
                  <a:pt x="5494367" y="2224374"/>
                  <a:pt x="5491838" y="2227037"/>
                </a:cubicBezTo>
                <a:cubicBezTo>
                  <a:pt x="5489176" y="2229700"/>
                  <a:pt x="5486114" y="2231830"/>
                  <a:pt x="5482520" y="2233293"/>
                </a:cubicBezTo>
                <a:cubicBezTo>
                  <a:pt x="5478926" y="2234757"/>
                  <a:pt x="5475065" y="2235556"/>
                  <a:pt x="5470806" y="2235556"/>
                </a:cubicBezTo>
                <a:cubicBezTo>
                  <a:pt x="5461887" y="2235556"/>
                  <a:pt x="5454565" y="2232628"/>
                  <a:pt x="5448973" y="2227037"/>
                </a:cubicBezTo>
                <a:cubicBezTo>
                  <a:pt x="5443383" y="2221446"/>
                  <a:pt x="5440587" y="2214390"/>
                  <a:pt x="5440587" y="2205871"/>
                </a:cubicBezTo>
                <a:cubicBezTo>
                  <a:pt x="5440587" y="2197618"/>
                  <a:pt x="5443383" y="2190563"/>
                  <a:pt x="5448973" y="2184838"/>
                </a:cubicBezTo>
                <a:cubicBezTo>
                  <a:pt x="5454565" y="2178981"/>
                  <a:pt x="5461754" y="2176186"/>
                  <a:pt x="5470806" y="2176186"/>
                </a:cubicBezTo>
                <a:close/>
                <a:moveTo>
                  <a:pt x="5253160" y="2176186"/>
                </a:moveTo>
                <a:cubicBezTo>
                  <a:pt x="5257420" y="2176186"/>
                  <a:pt x="5261280" y="2176985"/>
                  <a:pt x="5264875" y="2178848"/>
                </a:cubicBezTo>
                <a:cubicBezTo>
                  <a:pt x="5268602" y="2180445"/>
                  <a:pt x="5271664" y="2182575"/>
                  <a:pt x="5274192" y="2185238"/>
                </a:cubicBezTo>
                <a:cubicBezTo>
                  <a:pt x="5276722" y="2187766"/>
                  <a:pt x="5278852" y="2190962"/>
                  <a:pt x="5280316" y="2194555"/>
                </a:cubicBezTo>
                <a:cubicBezTo>
                  <a:pt x="5281780" y="2198150"/>
                  <a:pt x="5282579" y="2201878"/>
                  <a:pt x="5282579" y="2206004"/>
                </a:cubicBezTo>
                <a:cubicBezTo>
                  <a:pt x="5282579" y="2210131"/>
                  <a:pt x="5281780" y="2214125"/>
                  <a:pt x="5280316" y="2217718"/>
                </a:cubicBezTo>
                <a:cubicBezTo>
                  <a:pt x="5278852" y="2221312"/>
                  <a:pt x="5276722" y="2224374"/>
                  <a:pt x="5274192" y="2227037"/>
                </a:cubicBezTo>
                <a:cubicBezTo>
                  <a:pt x="5271664" y="2229700"/>
                  <a:pt x="5268469" y="2231830"/>
                  <a:pt x="5264875" y="2233293"/>
                </a:cubicBezTo>
                <a:cubicBezTo>
                  <a:pt x="5261280" y="2234757"/>
                  <a:pt x="5257420" y="2235556"/>
                  <a:pt x="5253160" y="2235556"/>
                </a:cubicBezTo>
                <a:cubicBezTo>
                  <a:pt x="5244241" y="2235556"/>
                  <a:pt x="5236920" y="2232628"/>
                  <a:pt x="5231328" y="2227037"/>
                </a:cubicBezTo>
                <a:cubicBezTo>
                  <a:pt x="5225737" y="2221446"/>
                  <a:pt x="5222942" y="2214390"/>
                  <a:pt x="5222942" y="2205871"/>
                </a:cubicBezTo>
                <a:cubicBezTo>
                  <a:pt x="5222942" y="2197618"/>
                  <a:pt x="5225737" y="2190563"/>
                  <a:pt x="5231328" y="2184838"/>
                </a:cubicBezTo>
                <a:cubicBezTo>
                  <a:pt x="5236920" y="2178981"/>
                  <a:pt x="5244108" y="2176186"/>
                  <a:pt x="5253160" y="2176186"/>
                </a:cubicBezTo>
                <a:close/>
                <a:moveTo>
                  <a:pt x="5035515" y="2176186"/>
                </a:moveTo>
                <a:cubicBezTo>
                  <a:pt x="5039775" y="2176186"/>
                  <a:pt x="5043636" y="2176985"/>
                  <a:pt x="5047230" y="2178848"/>
                </a:cubicBezTo>
                <a:cubicBezTo>
                  <a:pt x="5050957" y="2180445"/>
                  <a:pt x="5054019" y="2182575"/>
                  <a:pt x="5056548" y="2185238"/>
                </a:cubicBezTo>
                <a:cubicBezTo>
                  <a:pt x="5059077" y="2187766"/>
                  <a:pt x="5061207" y="2190962"/>
                  <a:pt x="5062671" y="2194555"/>
                </a:cubicBezTo>
                <a:cubicBezTo>
                  <a:pt x="5064135" y="2198150"/>
                  <a:pt x="5064934" y="2201878"/>
                  <a:pt x="5064934" y="2206004"/>
                </a:cubicBezTo>
                <a:cubicBezTo>
                  <a:pt x="5064934" y="2210131"/>
                  <a:pt x="5064135" y="2214125"/>
                  <a:pt x="5062671" y="2217718"/>
                </a:cubicBezTo>
                <a:cubicBezTo>
                  <a:pt x="5061207" y="2221312"/>
                  <a:pt x="5059077" y="2224374"/>
                  <a:pt x="5056548" y="2227037"/>
                </a:cubicBezTo>
                <a:cubicBezTo>
                  <a:pt x="5053885" y="2229700"/>
                  <a:pt x="5050824" y="2231830"/>
                  <a:pt x="5047230" y="2233293"/>
                </a:cubicBezTo>
                <a:cubicBezTo>
                  <a:pt x="5043636" y="2234757"/>
                  <a:pt x="5039775" y="2235556"/>
                  <a:pt x="5035515" y="2235556"/>
                </a:cubicBezTo>
                <a:cubicBezTo>
                  <a:pt x="5026597" y="2235556"/>
                  <a:pt x="5019275" y="2232628"/>
                  <a:pt x="5013683" y="2227037"/>
                </a:cubicBezTo>
                <a:cubicBezTo>
                  <a:pt x="5008092" y="2221446"/>
                  <a:pt x="5005297" y="2214390"/>
                  <a:pt x="5005297" y="2205871"/>
                </a:cubicBezTo>
                <a:cubicBezTo>
                  <a:pt x="5005297" y="2197618"/>
                  <a:pt x="5008092" y="2190563"/>
                  <a:pt x="5013683" y="2184838"/>
                </a:cubicBezTo>
                <a:cubicBezTo>
                  <a:pt x="5019275" y="2178981"/>
                  <a:pt x="5026463" y="2176186"/>
                  <a:pt x="5035515" y="2176186"/>
                </a:cubicBezTo>
                <a:close/>
                <a:moveTo>
                  <a:pt x="4817870" y="2176186"/>
                </a:moveTo>
                <a:cubicBezTo>
                  <a:pt x="4822130" y="2176186"/>
                  <a:pt x="4826124" y="2176985"/>
                  <a:pt x="4829585" y="2178848"/>
                </a:cubicBezTo>
                <a:cubicBezTo>
                  <a:pt x="4833312" y="2180445"/>
                  <a:pt x="4836374" y="2182575"/>
                  <a:pt x="4838903" y="2185238"/>
                </a:cubicBezTo>
                <a:cubicBezTo>
                  <a:pt x="4841432" y="2187766"/>
                  <a:pt x="4843562" y="2190962"/>
                  <a:pt x="4845026" y="2194555"/>
                </a:cubicBezTo>
                <a:cubicBezTo>
                  <a:pt x="4846491" y="2198150"/>
                  <a:pt x="4847289" y="2201878"/>
                  <a:pt x="4847289" y="2206004"/>
                </a:cubicBezTo>
                <a:cubicBezTo>
                  <a:pt x="4847289" y="2210131"/>
                  <a:pt x="4846491" y="2214125"/>
                  <a:pt x="4845026" y="2217718"/>
                </a:cubicBezTo>
                <a:cubicBezTo>
                  <a:pt x="4843562" y="2221312"/>
                  <a:pt x="4841432" y="2224374"/>
                  <a:pt x="4838903" y="2227037"/>
                </a:cubicBezTo>
                <a:cubicBezTo>
                  <a:pt x="4836240" y="2229700"/>
                  <a:pt x="4833179" y="2231830"/>
                  <a:pt x="4829585" y="2233293"/>
                </a:cubicBezTo>
                <a:cubicBezTo>
                  <a:pt x="4825991" y="2234757"/>
                  <a:pt x="4822130" y="2235556"/>
                  <a:pt x="4817870" y="2235556"/>
                </a:cubicBezTo>
                <a:cubicBezTo>
                  <a:pt x="4808952" y="2235556"/>
                  <a:pt x="4801630" y="2232628"/>
                  <a:pt x="4796038" y="2227037"/>
                </a:cubicBezTo>
                <a:cubicBezTo>
                  <a:pt x="4790447" y="2221446"/>
                  <a:pt x="4787652" y="2214390"/>
                  <a:pt x="4787652" y="2205871"/>
                </a:cubicBezTo>
                <a:cubicBezTo>
                  <a:pt x="4787652" y="2197618"/>
                  <a:pt x="4790447" y="2190563"/>
                  <a:pt x="4796038" y="2184838"/>
                </a:cubicBezTo>
                <a:cubicBezTo>
                  <a:pt x="4801630" y="2178981"/>
                  <a:pt x="4808818" y="2176186"/>
                  <a:pt x="4817870" y="2176186"/>
                </a:cubicBezTo>
                <a:close/>
                <a:moveTo>
                  <a:pt x="4600226" y="2176186"/>
                </a:moveTo>
                <a:cubicBezTo>
                  <a:pt x="4604485" y="2176186"/>
                  <a:pt x="4608479" y="2176985"/>
                  <a:pt x="4612073" y="2178848"/>
                </a:cubicBezTo>
                <a:cubicBezTo>
                  <a:pt x="4615800" y="2180445"/>
                  <a:pt x="4618862" y="2182575"/>
                  <a:pt x="4621391" y="2185238"/>
                </a:cubicBezTo>
                <a:cubicBezTo>
                  <a:pt x="4623920" y="2187766"/>
                  <a:pt x="4626050" y="2190962"/>
                  <a:pt x="4627514" y="2194555"/>
                </a:cubicBezTo>
                <a:cubicBezTo>
                  <a:pt x="4628978" y="2198150"/>
                  <a:pt x="4629777" y="2201878"/>
                  <a:pt x="4629777" y="2206004"/>
                </a:cubicBezTo>
                <a:cubicBezTo>
                  <a:pt x="4629777" y="2210131"/>
                  <a:pt x="4628978" y="2214125"/>
                  <a:pt x="4627514" y="2217718"/>
                </a:cubicBezTo>
                <a:cubicBezTo>
                  <a:pt x="4626050" y="2221312"/>
                  <a:pt x="4623920" y="2224374"/>
                  <a:pt x="4621391" y="2227037"/>
                </a:cubicBezTo>
                <a:cubicBezTo>
                  <a:pt x="4618729" y="2229700"/>
                  <a:pt x="4615667" y="2231830"/>
                  <a:pt x="4612073" y="2233293"/>
                </a:cubicBezTo>
                <a:cubicBezTo>
                  <a:pt x="4608346" y="2234757"/>
                  <a:pt x="4604485" y="2235556"/>
                  <a:pt x="4600226" y="2235556"/>
                </a:cubicBezTo>
                <a:cubicBezTo>
                  <a:pt x="4591173" y="2235556"/>
                  <a:pt x="4583985" y="2232628"/>
                  <a:pt x="4578393" y="2227037"/>
                </a:cubicBezTo>
                <a:cubicBezTo>
                  <a:pt x="4572803" y="2221446"/>
                  <a:pt x="4570007" y="2214390"/>
                  <a:pt x="4570007" y="2205871"/>
                </a:cubicBezTo>
                <a:cubicBezTo>
                  <a:pt x="4570007" y="2197618"/>
                  <a:pt x="4572803" y="2190563"/>
                  <a:pt x="4578393" y="2184838"/>
                </a:cubicBezTo>
                <a:cubicBezTo>
                  <a:pt x="4583985" y="2178981"/>
                  <a:pt x="4591173" y="2176186"/>
                  <a:pt x="4600226" y="2176186"/>
                </a:cubicBezTo>
                <a:close/>
                <a:moveTo>
                  <a:pt x="4382713" y="2176186"/>
                </a:moveTo>
                <a:cubicBezTo>
                  <a:pt x="4386840" y="2176186"/>
                  <a:pt x="4390834" y="2176985"/>
                  <a:pt x="4394428" y="2178848"/>
                </a:cubicBezTo>
                <a:cubicBezTo>
                  <a:pt x="4398155" y="2180445"/>
                  <a:pt x="4401217" y="2182575"/>
                  <a:pt x="4403746" y="2185238"/>
                </a:cubicBezTo>
                <a:cubicBezTo>
                  <a:pt x="4406275" y="2187766"/>
                  <a:pt x="4408405" y="2190962"/>
                  <a:pt x="4409869" y="2194555"/>
                </a:cubicBezTo>
                <a:cubicBezTo>
                  <a:pt x="4411334" y="2198150"/>
                  <a:pt x="4412132" y="2201878"/>
                  <a:pt x="4412132" y="2206004"/>
                </a:cubicBezTo>
                <a:cubicBezTo>
                  <a:pt x="4412132" y="2210131"/>
                  <a:pt x="4411334" y="2214125"/>
                  <a:pt x="4409869" y="2217718"/>
                </a:cubicBezTo>
                <a:cubicBezTo>
                  <a:pt x="4408405" y="2221312"/>
                  <a:pt x="4406275" y="2224374"/>
                  <a:pt x="4403746" y="2227037"/>
                </a:cubicBezTo>
                <a:cubicBezTo>
                  <a:pt x="4401083" y="2229700"/>
                  <a:pt x="4398022" y="2231830"/>
                  <a:pt x="4394428" y="2233293"/>
                </a:cubicBezTo>
                <a:cubicBezTo>
                  <a:pt x="4390834" y="2234757"/>
                  <a:pt x="4386973" y="2235556"/>
                  <a:pt x="4382713" y="2235556"/>
                </a:cubicBezTo>
                <a:cubicBezTo>
                  <a:pt x="4373661" y="2235556"/>
                  <a:pt x="4366473" y="2232628"/>
                  <a:pt x="4360881" y="2227037"/>
                </a:cubicBezTo>
                <a:cubicBezTo>
                  <a:pt x="4355290" y="2221446"/>
                  <a:pt x="4352495" y="2214390"/>
                  <a:pt x="4352495" y="2205871"/>
                </a:cubicBezTo>
                <a:cubicBezTo>
                  <a:pt x="4352495" y="2197618"/>
                  <a:pt x="4355290" y="2190563"/>
                  <a:pt x="4360881" y="2184838"/>
                </a:cubicBezTo>
                <a:cubicBezTo>
                  <a:pt x="4366473" y="2178981"/>
                  <a:pt x="4373661" y="2176186"/>
                  <a:pt x="4382713" y="2176186"/>
                </a:cubicBezTo>
                <a:close/>
                <a:moveTo>
                  <a:pt x="4165068" y="2176186"/>
                </a:moveTo>
                <a:cubicBezTo>
                  <a:pt x="4169327" y="2176186"/>
                  <a:pt x="4173188" y="2176985"/>
                  <a:pt x="4176782" y="2178848"/>
                </a:cubicBezTo>
                <a:cubicBezTo>
                  <a:pt x="4180509" y="2180445"/>
                  <a:pt x="4183571" y="2182575"/>
                  <a:pt x="4186100" y="2185238"/>
                </a:cubicBezTo>
                <a:cubicBezTo>
                  <a:pt x="4188629" y="2187766"/>
                  <a:pt x="4190759" y="2190962"/>
                  <a:pt x="4192223" y="2194555"/>
                </a:cubicBezTo>
                <a:cubicBezTo>
                  <a:pt x="4193688" y="2198150"/>
                  <a:pt x="4194486" y="2201878"/>
                  <a:pt x="4194486" y="2206004"/>
                </a:cubicBezTo>
                <a:cubicBezTo>
                  <a:pt x="4194486" y="2210131"/>
                  <a:pt x="4193688" y="2214125"/>
                  <a:pt x="4192223" y="2217718"/>
                </a:cubicBezTo>
                <a:cubicBezTo>
                  <a:pt x="4190759" y="2221312"/>
                  <a:pt x="4188629" y="2224374"/>
                  <a:pt x="4186100" y="2227037"/>
                </a:cubicBezTo>
                <a:cubicBezTo>
                  <a:pt x="4183438" y="2229700"/>
                  <a:pt x="4180376" y="2231830"/>
                  <a:pt x="4176782" y="2233293"/>
                </a:cubicBezTo>
                <a:cubicBezTo>
                  <a:pt x="4173188" y="2234757"/>
                  <a:pt x="4169327" y="2235556"/>
                  <a:pt x="4165068" y="2235556"/>
                </a:cubicBezTo>
                <a:cubicBezTo>
                  <a:pt x="4156015" y="2235556"/>
                  <a:pt x="4148827" y="2232628"/>
                  <a:pt x="4143235" y="2227037"/>
                </a:cubicBezTo>
                <a:cubicBezTo>
                  <a:pt x="4137645" y="2221446"/>
                  <a:pt x="4134849" y="2214390"/>
                  <a:pt x="4134849" y="2205871"/>
                </a:cubicBezTo>
                <a:cubicBezTo>
                  <a:pt x="4134849" y="2197618"/>
                  <a:pt x="4137645" y="2190563"/>
                  <a:pt x="4143235" y="2184838"/>
                </a:cubicBezTo>
                <a:cubicBezTo>
                  <a:pt x="4148827" y="2178981"/>
                  <a:pt x="4156015" y="2176186"/>
                  <a:pt x="4165068" y="2176186"/>
                </a:cubicBezTo>
                <a:close/>
                <a:moveTo>
                  <a:pt x="3947547" y="2176186"/>
                </a:moveTo>
                <a:cubicBezTo>
                  <a:pt x="3951808" y="2176186"/>
                  <a:pt x="3955667" y="2176985"/>
                  <a:pt x="3959262" y="2178848"/>
                </a:cubicBezTo>
                <a:cubicBezTo>
                  <a:pt x="3962990" y="2180445"/>
                  <a:pt x="3966051" y="2182575"/>
                  <a:pt x="3968580" y="2185238"/>
                </a:cubicBezTo>
                <a:cubicBezTo>
                  <a:pt x="3971111" y="2187766"/>
                  <a:pt x="3973240" y="2190962"/>
                  <a:pt x="3974704" y="2194555"/>
                </a:cubicBezTo>
                <a:cubicBezTo>
                  <a:pt x="3976169" y="2198150"/>
                  <a:pt x="3976968" y="2201878"/>
                  <a:pt x="3976968" y="2206004"/>
                </a:cubicBezTo>
                <a:cubicBezTo>
                  <a:pt x="3976968" y="2210131"/>
                  <a:pt x="3976169" y="2214125"/>
                  <a:pt x="3974704" y="2217718"/>
                </a:cubicBezTo>
                <a:cubicBezTo>
                  <a:pt x="3973240" y="2221312"/>
                  <a:pt x="3971111" y="2224374"/>
                  <a:pt x="3968580" y="2227037"/>
                </a:cubicBezTo>
                <a:cubicBezTo>
                  <a:pt x="3965918" y="2229700"/>
                  <a:pt x="3962857" y="2231830"/>
                  <a:pt x="3959262" y="2233293"/>
                </a:cubicBezTo>
                <a:cubicBezTo>
                  <a:pt x="3955667" y="2234757"/>
                  <a:pt x="3951808" y="2235556"/>
                  <a:pt x="3947547" y="2235556"/>
                </a:cubicBezTo>
                <a:cubicBezTo>
                  <a:pt x="3938494" y="2235556"/>
                  <a:pt x="3931306" y="2232628"/>
                  <a:pt x="3925714" y="2227037"/>
                </a:cubicBezTo>
                <a:cubicBezTo>
                  <a:pt x="3920123" y="2221446"/>
                  <a:pt x="3917328" y="2214390"/>
                  <a:pt x="3917328" y="2205871"/>
                </a:cubicBezTo>
                <a:cubicBezTo>
                  <a:pt x="3917328" y="2197618"/>
                  <a:pt x="3920123" y="2190563"/>
                  <a:pt x="3925714" y="2184838"/>
                </a:cubicBezTo>
                <a:cubicBezTo>
                  <a:pt x="3931306" y="2178981"/>
                  <a:pt x="3938494" y="2176186"/>
                  <a:pt x="3947547" y="2176186"/>
                </a:cubicBezTo>
                <a:close/>
                <a:moveTo>
                  <a:pt x="3729896" y="2176186"/>
                </a:moveTo>
                <a:cubicBezTo>
                  <a:pt x="3734156" y="2176186"/>
                  <a:pt x="3738148" y="2176985"/>
                  <a:pt x="3741611" y="2178848"/>
                </a:cubicBezTo>
                <a:cubicBezTo>
                  <a:pt x="3745205" y="2180445"/>
                  <a:pt x="3748400" y="2182575"/>
                  <a:pt x="3750929" y="2185238"/>
                </a:cubicBezTo>
                <a:cubicBezTo>
                  <a:pt x="3753458" y="2187766"/>
                  <a:pt x="3755588" y="2190962"/>
                  <a:pt x="3757052" y="2194555"/>
                </a:cubicBezTo>
                <a:cubicBezTo>
                  <a:pt x="3758516" y="2198150"/>
                  <a:pt x="3759315" y="2201878"/>
                  <a:pt x="3759315" y="2206004"/>
                </a:cubicBezTo>
                <a:cubicBezTo>
                  <a:pt x="3759315" y="2210131"/>
                  <a:pt x="3758516" y="2214125"/>
                  <a:pt x="3757052" y="2217718"/>
                </a:cubicBezTo>
                <a:cubicBezTo>
                  <a:pt x="3755588" y="2221312"/>
                  <a:pt x="3753458" y="2224374"/>
                  <a:pt x="3750929" y="2227037"/>
                </a:cubicBezTo>
                <a:cubicBezTo>
                  <a:pt x="3748266" y="2229700"/>
                  <a:pt x="3745205" y="2231830"/>
                  <a:pt x="3741611" y="2233293"/>
                </a:cubicBezTo>
                <a:cubicBezTo>
                  <a:pt x="3738017" y="2234757"/>
                  <a:pt x="3734156" y="2235556"/>
                  <a:pt x="3729896" y="2235556"/>
                </a:cubicBezTo>
                <a:cubicBezTo>
                  <a:pt x="3720843" y="2235556"/>
                  <a:pt x="3713655" y="2232628"/>
                  <a:pt x="3708061" y="2227037"/>
                </a:cubicBezTo>
                <a:cubicBezTo>
                  <a:pt x="3702468" y="2221446"/>
                  <a:pt x="3699675" y="2214390"/>
                  <a:pt x="3699675" y="2205871"/>
                </a:cubicBezTo>
                <a:cubicBezTo>
                  <a:pt x="3699675" y="2197618"/>
                  <a:pt x="3702468" y="2190563"/>
                  <a:pt x="3708061" y="2184838"/>
                </a:cubicBezTo>
                <a:cubicBezTo>
                  <a:pt x="3713655" y="2178981"/>
                  <a:pt x="3720843" y="2176186"/>
                  <a:pt x="3729896" y="2176186"/>
                </a:cubicBezTo>
                <a:close/>
                <a:moveTo>
                  <a:pt x="3512244" y="2176186"/>
                </a:moveTo>
                <a:cubicBezTo>
                  <a:pt x="3516504" y="2176186"/>
                  <a:pt x="3520497" y="2176985"/>
                  <a:pt x="3523959" y="2178848"/>
                </a:cubicBezTo>
                <a:cubicBezTo>
                  <a:pt x="3527553" y="2180445"/>
                  <a:pt x="3530748" y="2182575"/>
                  <a:pt x="3533277" y="2185238"/>
                </a:cubicBezTo>
                <a:cubicBezTo>
                  <a:pt x="3535807" y="2187766"/>
                  <a:pt x="3537937" y="2190962"/>
                  <a:pt x="3539401" y="2194555"/>
                </a:cubicBezTo>
                <a:cubicBezTo>
                  <a:pt x="3540865" y="2198150"/>
                  <a:pt x="3541664" y="2201878"/>
                  <a:pt x="3541664" y="2206004"/>
                </a:cubicBezTo>
                <a:cubicBezTo>
                  <a:pt x="3541664" y="2210131"/>
                  <a:pt x="3540865" y="2214125"/>
                  <a:pt x="3539401" y="2217718"/>
                </a:cubicBezTo>
                <a:cubicBezTo>
                  <a:pt x="3537937" y="2221312"/>
                  <a:pt x="3535807" y="2224374"/>
                  <a:pt x="3533277" y="2227037"/>
                </a:cubicBezTo>
                <a:cubicBezTo>
                  <a:pt x="3530614" y="2229700"/>
                  <a:pt x="3527553" y="2231830"/>
                  <a:pt x="3523959" y="2233293"/>
                </a:cubicBezTo>
                <a:cubicBezTo>
                  <a:pt x="3520365" y="2234757"/>
                  <a:pt x="3516504" y="2235556"/>
                  <a:pt x="3512244" y="2235556"/>
                </a:cubicBezTo>
                <a:cubicBezTo>
                  <a:pt x="3503190" y="2235556"/>
                  <a:pt x="3496001" y="2232628"/>
                  <a:pt x="3490410" y="2227037"/>
                </a:cubicBezTo>
                <a:cubicBezTo>
                  <a:pt x="3484819" y="2221446"/>
                  <a:pt x="3482024" y="2214390"/>
                  <a:pt x="3482024" y="2205871"/>
                </a:cubicBezTo>
                <a:cubicBezTo>
                  <a:pt x="3482024" y="2197618"/>
                  <a:pt x="3484819" y="2190563"/>
                  <a:pt x="3490410" y="2184838"/>
                </a:cubicBezTo>
                <a:cubicBezTo>
                  <a:pt x="3496001" y="2178981"/>
                  <a:pt x="3503190" y="2176186"/>
                  <a:pt x="3512244" y="2176186"/>
                </a:cubicBezTo>
                <a:close/>
                <a:moveTo>
                  <a:pt x="3294726" y="2176186"/>
                </a:moveTo>
                <a:cubicBezTo>
                  <a:pt x="3298853" y="2176186"/>
                  <a:pt x="3302847" y="2176985"/>
                  <a:pt x="3306441" y="2178848"/>
                </a:cubicBezTo>
                <a:cubicBezTo>
                  <a:pt x="3310168" y="2180445"/>
                  <a:pt x="3313230" y="2182575"/>
                  <a:pt x="3315759" y="2185238"/>
                </a:cubicBezTo>
                <a:cubicBezTo>
                  <a:pt x="3318288" y="2187766"/>
                  <a:pt x="3320418" y="2190962"/>
                  <a:pt x="3321882" y="2194555"/>
                </a:cubicBezTo>
                <a:cubicBezTo>
                  <a:pt x="3323346" y="2198150"/>
                  <a:pt x="3324145" y="2201878"/>
                  <a:pt x="3324145" y="2206004"/>
                </a:cubicBezTo>
                <a:cubicBezTo>
                  <a:pt x="3324145" y="2210131"/>
                  <a:pt x="3323346" y="2214125"/>
                  <a:pt x="3321882" y="2217718"/>
                </a:cubicBezTo>
                <a:cubicBezTo>
                  <a:pt x="3320418" y="2221312"/>
                  <a:pt x="3318288" y="2224374"/>
                  <a:pt x="3315759" y="2227037"/>
                </a:cubicBezTo>
                <a:cubicBezTo>
                  <a:pt x="3313096" y="2229700"/>
                  <a:pt x="3310035" y="2231830"/>
                  <a:pt x="3306441" y="2233293"/>
                </a:cubicBezTo>
                <a:cubicBezTo>
                  <a:pt x="3302847" y="2234757"/>
                  <a:pt x="3298986" y="2235556"/>
                  <a:pt x="3294726" y="2235556"/>
                </a:cubicBezTo>
                <a:cubicBezTo>
                  <a:pt x="3285673" y="2235556"/>
                  <a:pt x="3278484" y="2232628"/>
                  <a:pt x="3272891" y="2227037"/>
                </a:cubicBezTo>
                <a:cubicBezTo>
                  <a:pt x="3267300" y="2221446"/>
                  <a:pt x="3264505" y="2214390"/>
                  <a:pt x="3264505" y="2205871"/>
                </a:cubicBezTo>
                <a:cubicBezTo>
                  <a:pt x="3264505" y="2197618"/>
                  <a:pt x="3267300" y="2190563"/>
                  <a:pt x="3272891" y="2184838"/>
                </a:cubicBezTo>
                <a:cubicBezTo>
                  <a:pt x="3278484" y="2178981"/>
                  <a:pt x="3285673" y="2176186"/>
                  <a:pt x="3294726" y="2176186"/>
                </a:cubicBezTo>
                <a:close/>
                <a:moveTo>
                  <a:pt x="3077074" y="2176186"/>
                </a:moveTo>
                <a:cubicBezTo>
                  <a:pt x="3081202" y="2176186"/>
                  <a:pt x="3085195" y="2176985"/>
                  <a:pt x="3088790" y="2178848"/>
                </a:cubicBezTo>
                <a:cubicBezTo>
                  <a:pt x="3092384" y="2180445"/>
                  <a:pt x="3095579" y="2182575"/>
                  <a:pt x="3098107" y="2185238"/>
                </a:cubicBezTo>
                <a:cubicBezTo>
                  <a:pt x="3100637" y="2187766"/>
                  <a:pt x="3102767" y="2190962"/>
                  <a:pt x="3104231" y="2194555"/>
                </a:cubicBezTo>
                <a:cubicBezTo>
                  <a:pt x="3105696" y="2198150"/>
                  <a:pt x="3106494" y="2201878"/>
                  <a:pt x="3106494" y="2206004"/>
                </a:cubicBezTo>
                <a:cubicBezTo>
                  <a:pt x="3106494" y="2210131"/>
                  <a:pt x="3105696" y="2214125"/>
                  <a:pt x="3104231" y="2217718"/>
                </a:cubicBezTo>
                <a:cubicBezTo>
                  <a:pt x="3102767" y="2221312"/>
                  <a:pt x="3100637" y="2224374"/>
                  <a:pt x="3098107" y="2227037"/>
                </a:cubicBezTo>
                <a:cubicBezTo>
                  <a:pt x="3095445" y="2229700"/>
                  <a:pt x="3092384" y="2231830"/>
                  <a:pt x="3088790" y="2233293"/>
                </a:cubicBezTo>
                <a:cubicBezTo>
                  <a:pt x="3085195" y="2234757"/>
                  <a:pt x="3081334" y="2235556"/>
                  <a:pt x="3077074" y="2235556"/>
                </a:cubicBezTo>
                <a:cubicBezTo>
                  <a:pt x="3068155" y="2235556"/>
                  <a:pt x="3060832" y="2232628"/>
                  <a:pt x="3055240" y="2227037"/>
                </a:cubicBezTo>
                <a:cubicBezTo>
                  <a:pt x="3049649" y="2221446"/>
                  <a:pt x="3046854" y="2214390"/>
                  <a:pt x="3046854" y="2205871"/>
                </a:cubicBezTo>
                <a:cubicBezTo>
                  <a:pt x="3046854" y="2197618"/>
                  <a:pt x="3049649" y="2190563"/>
                  <a:pt x="3055240" y="2184838"/>
                </a:cubicBezTo>
                <a:cubicBezTo>
                  <a:pt x="3060832" y="2178981"/>
                  <a:pt x="3068022" y="2176186"/>
                  <a:pt x="3077074" y="2176186"/>
                </a:cubicBezTo>
                <a:close/>
                <a:moveTo>
                  <a:pt x="2859423" y="2176186"/>
                </a:moveTo>
                <a:cubicBezTo>
                  <a:pt x="2863683" y="2176186"/>
                  <a:pt x="2867544" y="2176985"/>
                  <a:pt x="2871271" y="2178848"/>
                </a:cubicBezTo>
                <a:cubicBezTo>
                  <a:pt x="2874998" y="2180445"/>
                  <a:pt x="2878060" y="2182575"/>
                  <a:pt x="2880589" y="2185238"/>
                </a:cubicBezTo>
                <a:cubicBezTo>
                  <a:pt x="2883251" y="2187766"/>
                  <a:pt x="2885249" y="2190962"/>
                  <a:pt x="2886712" y="2194555"/>
                </a:cubicBezTo>
                <a:cubicBezTo>
                  <a:pt x="2888177" y="2198150"/>
                  <a:pt x="2888975" y="2201878"/>
                  <a:pt x="2888975" y="2206004"/>
                </a:cubicBezTo>
                <a:cubicBezTo>
                  <a:pt x="2888975" y="2210131"/>
                  <a:pt x="2888177" y="2214125"/>
                  <a:pt x="2886712" y="2217718"/>
                </a:cubicBezTo>
                <a:cubicBezTo>
                  <a:pt x="2885249" y="2221312"/>
                  <a:pt x="2883118" y="2224374"/>
                  <a:pt x="2880589" y="2227037"/>
                </a:cubicBezTo>
                <a:cubicBezTo>
                  <a:pt x="2877927" y="2229700"/>
                  <a:pt x="2874865" y="2231830"/>
                  <a:pt x="2871271" y="2233293"/>
                </a:cubicBezTo>
                <a:cubicBezTo>
                  <a:pt x="2867544" y="2234757"/>
                  <a:pt x="2863683" y="2235556"/>
                  <a:pt x="2859423" y="2235556"/>
                </a:cubicBezTo>
                <a:cubicBezTo>
                  <a:pt x="2850505" y="2235556"/>
                  <a:pt x="2843180" y="2232628"/>
                  <a:pt x="2837590" y="2227037"/>
                </a:cubicBezTo>
                <a:cubicBezTo>
                  <a:pt x="2831999" y="2221446"/>
                  <a:pt x="2829202" y="2214390"/>
                  <a:pt x="2829202" y="2205871"/>
                </a:cubicBezTo>
                <a:cubicBezTo>
                  <a:pt x="2829202" y="2197618"/>
                  <a:pt x="2831999" y="2190563"/>
                  <a:pt x="2837590" y="2184838"/>
                </a:cubicBezTo>
                <a:cubicBezTo>
                  <a:pt x="2843180" y="2178981"/>
                  <a:pt x="2850371" y="2176186"/>
                  <a:pt x="2859423" y="2176186"/>
                </a:cubicBezTo>
                <a:close/>
                <a:moveTo>
                  <a:pt x="2641771" y="2176186"/>
                </a:moveTo>
                <a:cubicBezTo>
                  <a:pt x="2646032" y="2176186"/>
                  <a:pt x="2649891" y="2176985"/>
                  <a:pt x="2653487" y="2178848"/>
                </a:cubicBezTo>
                <a:cubicBezTo>
                  <a:pt x="2657214" y="2180445"/>
                  <a:pt x="2660276" y="2182575"/>
                  <a:pt x="2662805" y="2185238"/>
                </a:cubicBezTo>
                <a:cubicBezTo>
                  <a:pt x="2665467" y="2187766"/>
                  <a:pt x="2667464" y="2190962"/>
                  <a:pt x="2668928" y="2194555"/>
                </a:cubicBezTo>
                <a:cubicBezTo>
                  <a:pt x="2670392" y="2198150"/>
                  <a:pt x="2671191" y="2201878"/>
                  <a:pt x="2671191" y="2206004"/>
                </a:cubicBezTo>
                <a:cubicBezTo>
                  <a:pt x="2671191" y="2210131"/>
                  <a:pt x="2670392" y="2214125"/>
                  <a:pt x="2668928" y="2217718"/>
                </a:cubicBezTo>
                <a:cubicBezTo>
                  <a:pt x="2667464" y="2221312"/>
                  <a:pt x="2665334" y="2224374"/>
                  <a:pt x="2662805" y="2227037"/>
                </a:cubicBezTo>
                <a:cubicBezTo>
                  <a:pt x="2660276" y="2229700"/>
                  <a:pt x="2657080" y="2231830"/>
                  <a:pt x="2653487" y="2233293"/>
                </a:cubicBezTo>
                <a:cubicBezTo>
                  <a:pt x="2649891" y="2234757"/>
                  <a:pt x="2646032" y="2235556"/>
                  <a:pt x="2641771" y="2235556"/>
                </a:cubicBezTo>
                <a:cubicBezTo>
                  <a:pt x="2632852" y="2235556"/>
                  <a:pt x="2625531" y="2232628"/>
                  <a:pt x="2619939" y="2227037"/>
                </a:cubicBezTo>
                <a:cubicBezTo>
                  <a:pt x="2614349" y="2221446"/>
                  <a:pt x="2611552" y="2214390"/>
                  <a:pt x="2611552" y="2205871"/>
                </a:cubicBezTo>
                <a:cubicBezTo>
                  <a:pt x="2611552" y="2197618"/>
                  <a:pt x="2614349" y="2190563"/>
                  <a:pt x="2619939" y="2184838"/>
                </a:cubicBezTo>
                <a:cubicBezTo>
                  <a:pt x="2625531" y="2178981"/>
                  <a:pt x="2632719" y="2176186"/>
                  <a:pt x="2641771" y="2176186"/>
                </a:cubicBezTo>
                <a:close/>
                <a:moveTo>
                  <a:pt x="2424120" y="2176186"/>
                </a:moveTo>
                <a:cubicBezTo>
                  <a:pt x="2428380" y="2176186"/>
                  <a:pt x="2432374" y="2176985"/>
                  <a:pt x="2435835" y="2178848"/>
                </a:cubicBezTo>
                <a:cubicBezTo>
                  <a:pt x="2439562" y="2180445"/>
                  <a:pt x="2442624" y="2182575"/>
                  <a:pt x="2445153" y="2185238"/>
                </a:cubicBezTo>
                <a:cubicBezTo>
                  <a:pt x="2447816" y="2187766"/>
                  <a:pt x="2449812" y="2190962"/>
                  <a:pt x="2451276" y="2194555"/>
                </a:cubicBezTo>
                <a:cubicBezTo>
                  <a:pt x="2452740" y="2198150"/>
                  <a:pt x="2453539" y="2201878"/>
                  <a:pt x="2453539" y="2206004"/>
                </a:cubicBezTo>
                <a:cubicBezTo>
                  <a:pt x="2453539" y="2210131"/>
                  <a:pt x="2452740" y="2214125"/>
                  <a:pt x="2451276" y="2217718"/>
                </a:cubicBezTo>
                <a:cubicBezTo>
                  <a:pt x="2449812" y="2221312"/>
                  <a:pt x="2447682" y="2224374"/>
                  <a:pt x="2445153" y="2227037"/>
                </a:cubicBezTo>
                <a:cubicBezTo>
                  <a:pt x="2442624" y="2229700"/>
                  <a:pt x="2439429" y="2231830"/>
                  <a:pt x="2435835" y="2233293"/>
                </a:cubicBezTo>
                <a:cubicBezTo>
                  <a:pt x="2432241" y="2234757"/>
                  <a:pt x="2428380" y="2235556"/>
                  <a:pt x="2424120" y="2235556"/>
                </a:cubicBezTo>
                <a:cubicBezTo>
                  <a:pt x="2415202" y="2235556"/>
                  <a:pt x="2407879" y="2232628"/>
                  <a:pt x="2402288" y="2227037"/>
                </a:cubicBezTo>
                <a:cubicBezTo>
                  <a:pt x="2396697" y="2221446"/>
                  <a:pt x="2393901" y="2214390"/>
                  <a:pt x="2393901" y="2205871"/>
                </a:cubicBezTo>
                <a:cubicBezTo>
                  <a:pt x="2393901" y="2197618"/>
                  <a:pt x="2396697" y="2190563"/>
                  <a:pt x="2402288" y="2184838"/>
                </a:cubicBezTo>
                <a:cubicBezTo>
                  <a:pt x="2407879" y="2178981"/>
                  <a:pt x="2415068" y="2176186"/>
                  <a:pt x="2424120" y="2176186"/>
                </a:cubicBezTo>
                <a:close/>
                <a:moveTo>
                  <a:pt x="2206469" y="2176186"/>
                </a:moveTo>
                <a:cubicBezTo>
                  <a:pt x="2210728" y="2176186"/>
                  <a:pt x="2214723" y="2176985"/>
                  <a:pt x="2218183" y="2178848"/>
                </a:cubicBezTo>
                <a:cubicBezTo>
                  <a:pt x="2221910" y="2180445"/>
                  <a:pt x="2224972" y="2182575"/>
                  <a:pt x="2227502" y="2185238"/>
                </a:cubicBezTo>
                <a:cubicBezTo>
                  <a:pt x="2230164" y="2187766"/>
                  <a:pt x="2232161" y="2190962"/>
                  <a:pt x="2233625" y="2194555"/>
                </a:cubicBezTo>
                <a:cubicBezTo>
                  <a:pt x="2235089" y="2198150"/>
                  <a:pt x="2235888" y="2201878"/>
                  <a:pt x="2235888" y="2206004"/>
                </a:cubicBezTo>
                <a:cubicBezTo>
                  <a:pt x="2235888" y="2210131"/>
                  <a:pt x="2235089" y="2214125"/>
                  <a:pt x="2233625" y="2217718"/>
                </a:cubicBezTo>
                <a:cubicBezTo>
                  <a:pt x="2232161" y="2221312"/>
                  <a:pt x="2230031" y="2224374"/>
                  <a:pt x="2227502" y="2227037"/>
                </a:cubicBezTo>
                <a:cubicBezTo>
                  <a:pt x="2224972" y="2229700"/>
                  <a:pt x="2221778" y="2231830"/>
                  <a:pt x="2218183" y="2233293"/>
                </a:cubicBezTo>
                <a:cubicBezTo>
                  <a:pt x="2214589" y="2234757"/>
                  <a:pt x="2210728" y="2235556"/>
                  <a:pt x="2206469" y="2235556"/>
                </a:cubicBezTo>
                <a:cubicBezTo>
                  <a:pt x="2197416" y="2235556"/>
                  <a:pt x="2190228" y="2232628"/>
                  <a:pt x="2184637" y="2227037"/>
                </a:cubicBezTo>
                <a:cubicBezTo>
                  <a:pt x="2179045" y="2221446"/>
                  <a:pt x="2176250" y="2214390"/>
                  <a:pt x="2176250" y="2205871"/>
                </a:cubicBezTo>
                <a:cubicBezTo>
                  <a:pt x="2176250" y="2197618"/>
                  <a:pt x="2179045" y="2190563"/>
                  <a:pt x="2184637" y="2184838"/>
                </a:cubicBezTo>
                <a:cubicBezTo>
                  <a:pt x="2190228" y="2178981"/>
                  <a:pt x="2197416" y="2176186"/>
                  <a:pt x="2206469" y="2176186"/>
                </a:cubicBezTo>
                <a:close/>
                <a:moveTo>
                  <a:pt x="1988950" y="2176186"/>
                </a:moveTo>
                <a:cubicBezTo>
                  <a:pt x="1993077" y="2176186"/>
                  <a:pt x="1997071" y="2176985"/>
                  <a:pt x="2000665" y="2178848"/>
                </a:cubicBezTo>
                <a:cubicBezTo>
                  <a:pt x="2004392" y="2180445"/>
                  <a:pt x="2007454" y="2182575"/>
                  <a:pt x="2009983" y="2185238"/>
                </a:cubicBezTo>
                <a:cubicBezTo>
                  <a:pt x="2012645" y="2187766"/>
                  <a:pt x="2014642" y="2190962"/>
                  <a:pt x="2016106" y="2194555"/>
                </a:cubicBezTo>
                <a:cubicBezTo>
                  <a:pt x="2017570" y="2198150"/>
                  <a:pt x="2018369" y="2201878"/>
                  <a:pt x="2018369" y="2206004"/>
                </a:cubicBezTo>
                <a:cubicBezTo>
                  <a:pt x="2018369" y="2210131"/>
                  <a:pt x="2017570" y="2214125"/>
                  <a:pt x="2016106" y="2217718"/>
                </a:cubicBezTo>
                <a:cubicBezTo>
                  <a:pt x="2014642" y="2221312"/>
                  <a:pt x="2012512" y="2224374"/>
                  <a:pt x="2009983" y="2227037"/>
                </a:cubicBezTo>
                <a:cubicBezTo>
                  <a:pt x="2007454" y="2229700"/>
                  <a:pt x="2004259" y="2231830"/>
                  <a:pt x="2000665" y="2233293"/>
                </a:cubicBezTo>
                <a:cubicBezTo>
                  <a:pt x="1997071" y="2234757"/>
                  <a:pt x="1993210" y="2235556"/>
                  <a:pt x="1988950" y="2235556"/>
                </a:cubicBezTo>
                <a:cubicBezTo>
                  <a:pt x="1979899" y="2235556"/>
                  <a:pt x="1972710" y="2232628"/>
                  <a:pt x="1967119" y="2227037"/>
                </a:cubicBezTo>
                <a:cubicBezTo>
                  <a:pt x="1961528" y="2221446"/>
                  <a:pt x="1958732" y="2214390"/>
                  <a:pt x="1958732" y="2205871"/>
                </a:cubicBezTo>
                <a:cubicBezTo>
                  <a:pt x="1958732" y="2197618"/>
                  <a:pt x="1961528" y="2190563"/>
                  <a:pt x="1967119" y="2184838"/>
                </a:cubicBezTo>
                <a:cubicBezTo>
                  <a:pt x="1972710" y="2178981"/>
                  <a:pt x="1979899" y="2176186"/>
                  <a:pt x="1988950" y="2176186"/>
                </a:cubicBezTo>
                <a:close/>
                <a:moveTo>
                  <a:pt x="1771309" y="2176186"/>
                </a:moveTo>
                <a:cubicBezTo>
                  <a:pt x="1775569" y="2176186"/>
                  <a:pt x="1779429" y="2176985"/>
                  <a:pt x="1783024" y="2178848"/>
                </a:cubicBezTo>
                <a:cubicBezTo>
                  <a:pt x="1786751" y="2180445"/>
                  <a:pt x="1789813" y="2182575"/>
                  <a:pt x="1792342" y="2185238"/>
                </a:cubicBezTo>
                <a:cubicBezTo>
                  <a:pt x="1795004" y="2187766"/>
                  <a:pt x="1797001" y="2190962"/>
                  <a:pt x="1798465" y="2194555"/>
                </a:cubicBezTo>
                <a:cubicBezTo>
                  <a:pt x="1799929" y="2198150"/>
                  <a:pt x="1800728" y="2201878"/>
                  <a:pt x="1800728" y="2206004"/>
                </a:cubicBezTo>
                <a:cubicBezTo>
                  <a:pt x="1800728" y="2210131"/>
                  <a:pt x="1799929" y="2214125"/>
                  <a:pt x="1798465" y="2217718"/>
                </a:cubicBezTo>
                <a:cubicBezTo>
                  <a:pt x="1797001" y="2221312"/>
                  <a:pt x="1794871" y="2224374"/>
                  <a:pt x="1792342" y="2227037"/>
                </a:cubicBezTo>
                <a:cubicBezTo>
                  <a:pt x="1789679" y="2229700"/>
                  <a:pt x="1786619" y="2231830"/>
                  <a:pt x="1783024" y="2233293"/>
                </a:cubicBezTo>
                <a:cubicBezTo>
                  <a:pt x="1779429" y="2234757"/>
                  <a:pt x="1775569" y="2235556"/>
                  <a:pt x="1771309" y="2235556"/>
                </a:cubicBezTo>
                <a:cubicBezTo>
                  <a:pt x="1762390" y="2235556"/>
                  <a:pt x="1755070" y="2232628"/>
                  <a:pt x="1749479" y="2227037"/>
                </a:cubicBezTo>
                <a:cubicBezTo>
                  <a:pt x="1743888" y="2221446"/>
                  <a:pt x="1741094" y="2214390"/>
                  <a:pt x="1741094" y="2205871"/>
                </a:cubicBezTo>
                <a:cubicBezTo>
                  <a:pt x="1741094" y="2197618"/>
                  <a:pt x="1743888" y="2190563"/>
                  <a:pt x="1749479" y="2184838"/>
                </a:cubicBezTo>
                <a:cubicBezTo>
                  <a:pt x="1755070" y="2178981"/>
                  <a:pt x="1762257" y="2176186"/>
                  <a:pt x="1771309" y="2176186"/>
                </a:cubicBezTo>
                <a:close/>
                <a:moveTo>
                  <a:pt x="1553668" y="2176186"/>
                </a:moveTo>
                <a:cubicBezTo>
                  <a:pt x="1557927" y="2176186"/>
                  <a:pt x="1561788" y="2176985"/>
                  <a:pt x="1565382" y="2178848"/>
                </a:cubicBezTo>
                <a:cubicBezTo>
                  <a:pt x="1568977" y="2180445"/>
                  <a:pt x="1572171" y="2182575"/>
                  <a:pt x="1574701" y="2185238"/>
                </a:cubicBezTo>
                <a:cubicBezTo>
                  <a:pt x="1577362" y="2187766"/>
                  <a:pt x="1579359" y="2190962"/>
                  <a:pt x="1580823" y="2194555"/>
                </a:cubicBezTo>
                <a:cubicBezTo>
                  <a:pt x="1582287" y="2198150"/>
                  <a:pt x="1583087" y="2201878"/>
                  <a:pt x="1583087" y="2206004"/>
                </a:cubicBezTo>
                <a:cubicBezTo>
                  <a:pt x="1583087" y="2210131"/>
                  <a:pt x="1582287" y="2214125"/>
                  <a:pt x="1580823" y="2217718"/>
                </a:cubicBezTo>
                <a:cubicBezTo>
                  <a:pt x="1579359" y="2221312"/>
                  <a:pt x="1577229" y="2224374"/>
                  <a:pt x="1574701" y="2227037"/>
                </a:cubicBezTo>
                <a:cubicBezTo>
                  <a:pt x="1572038" y="2229700"/>
                  <a:pt x="1568977" y="2231830"/>
                  <a:pt x="1565382" y="2233293"/>
                </a:cubicBezTo>
                <a:cubicBezTo>
                  <a:pt x="1561788" y="2234757"/>
                  <a:pt x="1557927" y="2235556"/>
                  <a:pt x="1553668" y="2235556"/>
                </a:cubicBezTo>
                <a:cubicBezTo>
                  <a:pt x="1544749" y="2235556"/>
                  <a:pt x="1537427" y="2232628"/>
                  <a:pt x="1531836" y="2227037"/>
                </a:cubicBezTo>
                <a:cubicBezTo>
                  <a:pt x="1526247" y="2221446"/>
                  <a:pt x="1523450" y="2214390"/>
                  <a:pt x="1523450" y="2205871"/>
                </a:cubicBezTo>
                <a:cubicBezTo>
                  <a:pt x="1523450" y="2197618"/>
                  <a:pt x="1526247" y="2190563"/>
                  <a:pt x="1531836" y="2184838"/>
                </a:cubicBezTo>
                <a:cubicBezTo>
                  <a:pt x="1537427" y="2178981"/>
                  <a:pt x="1544615" y="2176186"/>
                  <a:pt x="1553668" y="2176186"/>
                </a:cubicBezTo>
                <a:close/>
                <a:moveTo>
                  <a:pt x="1336023" y="2176186"/>
                </a:moveTo>
                <a:cubicBezTo>
                  <a:pt x="1340283" y="2176186"/>
                  <a:pt x="1344278" y="2176985"/>
                  <a:pt x="1347739" y="2178848"/>
                </a:cubicBezTo>
                <a:cubicBezTo>
                  <a:pt x="1351332" y="2180445"/>
                  <a:pt x="1354527" y="2182575"/>
                  <a:pt x="1357057" y="2185238"/>
                </a:cubicBezTo>
                <a:cubicBezTo>
                  <a:pt x="1359719" y="2187766"/>
                  <a:pt x="1361716" y="2190962"/>
                  <a:pt x="1363179" y="2194555"/>
                </a:cubicBezTo>
                <a:cubicBezTo>
                  <a:pt x="1364644" y="2198150"/>
                  <a:pt x="1365442" y="2201878"/>
                  <a:pt x="1365442" y="2206004"/>
                </a:cubicBezTo>
                <a:cubicBezTo>
                  <a:pt x="1365442" y="2210131"/>
                  <a:pt x="1364644" y="2214125"/>
                  <a:pt x="1363179" y="2217718"/>
                </a:cubicBezTo>
                <a:cubicBezTo>
                  <a:pt x="1361716" y="2221312"/>
                  <a:pt x="1359585" y="2224374"/>
                  <a:pt x="1357057" y="2227037"/>
                </a:cubicBezTo>
                <a:cubicBezTo>
                  <a:pt x="1354393" y="2229700"/>
                  <a:pt x="1351332" y="2231830"/>
                  <a:pt x="1347739" y="2233293"/>
                </a:cubicBezTo>
                <a:cubicBezTo>
                  <a:pt x="1344143" y="2234757"/>
                  <a:pt x="1340283" y="2235556"/>
                  <a:pt x="1336023" y="2235556"/>
                </a:cubicBezTo>
                <a:cubicBezTo>
                  <a:pt x="1327103" y="2235556"/>
                  <a:pt x="1319782" y="2232628"/>
                  <a:pt x="1314191" y="2227037"/>
                </a:cubicBezTo>
                <a:cubicBezTo>
                  <a:pt x="1308600" y="2221446"/>
                  <a:pt x="1305805" y="2214390"/>
                  <a:pt x="1305805" y="2205871"/>
                </a:cubicBezTo>
                <a:cubicBezTo>
                  <a:pt x="1305805" y="2197618"/>
                  <a:pt x="1308600" y="2190563"/>
                  <a:pt x="1314191" y="2184838"/>
                </a:cubicBezTo>
                <a:cubicBezTo>
                  <a:pt x="1319782" y="2178981"/>
                  <a:pt x="1326970" y="2176186"/>
                  <a:pt x="1336023" y="2176186"/>
                </a:cubicBezTo>
                <a:close/>
                <a:moveTo>
                  <a:pt x="1118378" y="2176186"/>
                </a:moveTo>
                <a:cubicBezTo>
                  <a:pt x="1122638" y="2176186"/>
                  <a:pt x="1126634" y="2176985"/>
                  <a:pt x="1130094" y="2178848"/>
                </a:cubicBezTo>
                <a:cubicBezTo>
                  <a:pt x="1133821" y="2180445"/>
                  <a:pt x="1136882" y="2182575"/>
                  <a:pt x="1139412" y="2185238"/>
                </a:cubicBezTo>
                <a:cubicBezTo>
                  <a:pt x="1142073" y="2187766"/>
                  <a:pt x="1144069" y="2190962"/>
                  <a:pt x="1145533" y="2194555"/>
                </a:cubicBezTo>
                <a:cubicBezTo>
                  <a:pt x="1146997" y="2198150"/>
                  <a:pt x="1147796" y="2201878"/>
                  <a:pt x="1147796" y="2206004"/>
                </a:cubicBezTo>
                <a:cubicBezTo>
                  <a:pt x="1147796" y="2210131"/>
                  <a:pt x="1146997" y="2214125"/>
                  <a:pt x="1145533" y="2217718"/>
                </a:cubicBezTo>
                <a:cubicBezTo>
                  <a:pt x="1144069" y="2221312"/>
                  <a:pt x="1141940" y="2224374"/>
                  <a:pt x="1139412" y="2227037"/>
                </a:cubicBezTo>
                <a:cubicBezTo>
                  <a:pt x="1136882" y="2229700"/>
                  <a:pt x="1133688" y="2231830"/>
                  <a:pt x="1130094" y="2233293"/>
                </a:cubicBezTo>
                <a:cubicBezTo>
                  <a:pt x="1126498" y="2234757"/>
                  <a:pt x="1122638" y="2235556"/>
                  <a:pt x="1118378" y="2235556"/>
                </a:cubicBezTo>
                <a:cubicBezTo>
                  <a:pt x="1109459" y="2235556"/>
                  <a:pt x="1102136" y="2232628"/>
                  <a:pt x="1096545" y="2227037"/>
                </a:cubicBezTo>
                <a:cubicBezTo>
                  <a:pt x="1090954" y="2221446"/>
                  <a:pt x="1088160" y="2214390"/>
                  <a:pt x="1088160" y="2205871"/>
                </a:cubicBezTo>
                <a:cubicBezTo>
                  <a:pt x="1088160" y="2197618"/>
                  <a:pt x="1090954" y="2190563"/>
                  <a:pt x="1096545" y="2184838"/>
                </a:cubicBezTo>
                <a:cubicBezTo>
                  <a:pt x="1102136" y="2178981"/>
                  <a:pt x="1109325" y="2176186"/>
                  <a:pt x="1118378" y="2176186"/>
                </a:cubicBezTo>
                <a:close/>
                <a:moveTo>
                  <a:pt x="900866" y="2176186"/>
                </a:moveTo>
                <a:cubicBezTo>
                  <a:pt x="904992" y="2176186"/>
                  <a:pt x="908987" y="2176985"/>
                  <a:pt x="912581" y="2178848"/>
                </a:cubicBezTo>
                <a:cubicBezTo>
                  <a:pt x="916308" y="2180445"/>
                  <a:pt x="919370" y="2182575"/>
                  <a:pt x="921899" y="2185238"/>
                </a:cubicBezTo>
                <a:cubicBezTo>
                  <a:pt x="924561" y="2187766"/>
                  <a:pt x="926558" y="2190962"/>
                  <a:pt x="928021" y="2194555"/>
                </a:cubicBezTo>
                <a:cubicBezTo>
                  <a:pt x="929486" y="2198150"/>
                  <a:pt x="930285" y="2201878"/>
                  <a:pt x="930285" y="2206004"/>
                </a:cubicBezTo>
                <a:cubicBezTo>
                  <a:pt x="930285" y="2210131"/>
                  <a:pt x="929486" y="2214125"/>
                  <a:pt x="928021" y="2217718"/>
                </a:cubicBezTo>
                <a:cubicBezTo>
                  <a:pt x="926558" y="2221312"/>
                  <a:pt x="924428" y="2224374"/>
                  <a:pt x="921899" y="2227037"/>
                </a:cubicBezTo>
                <a:cubicBezTo>
                  <a:pt x="919370" y="2229700"/>
                  <a:pt x="916175" y="2231830"/>
                  <a:pt x="912581" y="2233293"/>
                </a:cubicBezTo>
                <a:cubicBezTo>
                  <a:pt x="908987" y="2234757"/>
                  <a:pt x="905126" y="2235556"/>
                  <a:pt x="900866" y="2235556"/>
                </a:cubicBezTo>
                <a:cubicBezTo>
                  <a:pt x="891947" y="2235556"/>
                  <a:pt x="884625" y="2232628"/>
                  <a:pt x="879035" y="2227037"/>
                </a:cubicBezTo>
                <a:cubicBezTo>
                  <a:pt x="873445" y="2221446"/>
                  <a:pt x="870649" y="2214390"/>
                  <a:pt x="870649" y="2205871"/>
                </a:cubicBezTo>
                <a:cubicBezTo>
                  <a:pt x="870649" y="2197618"/>
                  <a:pt x="873445" y="2190563"/>
                  <a:pt x="879035" y="2184838"/>
                </a:cubicBezTo>
                <a:cubicBezTo>
                  <a:pt x="884625" y="2178981"/>
                  <a:pt x="891814" y="2176186"/>
                  <a:pt x="900866" y="2176186"/>
                </a:cubicBezTo>
                <a:close/>
                <a:moveTo>
                  <a:pt x="683223" y="2176186"/>
                </a:moveTo>
                <a:cubicBezTo>
                  <a:pt x="687483" y="2176186"/>
                  <a:pt x="691344" y="2176985"/>
                  <a:pt x="694938" y="2178848"/>
                </a:cubicBezTo>
                <a:cubicBezTo>
                  <a:pt x="698665" y="2180445"/>
                  <a:pt x="701727" y="2182575"/>
                  <a:pt x="704256" y="2185238"/>
                </a:cubicBezTo>
                <a:cubicBezTo>
                  <a:pt x="706917" y="2187766"/>
                  <a:pt x="708915" y="2190962"/>
                  <a:pt x="710378" y="2194555"/>
                </a:cubicBezTo>
                <a:cubicBezTo>
                  <a:pt x="711843" y="2198150"/>
                  <a:pt x="712642" y="2201878"/>
                  <a:pt x="712642" y="2206004"/>
                </a:cubicBezTo>
                <a:cubicBezTo>
                  <a:pt x="712642" y="2210131"/>
                  <a:pt x="711843" y="2214125"/>
                  <a:pt x="710378" y="2217718"/>
                </a:cubicBezTo>
                <a:cubicBezTo>
                  <a:pt x="708915" y="2221312"/>
                  <a:pt x="706785" y="2224374"/>
                  <a:pt x="704256" y="2227037"/>
                </a:cubicBezTo>
                <a:cubicBezTo>
                  <a:pt x="701727" y="2229700"/>
                  <a:pt x="698532" y="2231830"/>
                  <a:pt x="694938" y="2233293"/>
                </a:cubicBezTo>
                <a:cubicBezTo>
                  <a:pt x="691344" y="2234757"/>
                  <a:pt x="687483" y="2235556"/>
                  <a:pt x="683223" y="2235556"/>
                </a:cubicBezTo>
                <a:cubicBezTo>
                  <a:pt x="674304" y="2235556"/>
                  <a:pt x="666982" y="2232628"/>
                  <a:pt x="661391" y="2227037"/>
                </a:cubicBezTo>
                <a:cubicBezTo>
                  <a:pt x="655800" y="2221446"/>
                  <a:pt x="653005" y="2214390"/>
                  <a:pt x="653005" y="2205871"/>
                </a:cubicBezTo>
                <a:cubicBezTo>
                  <a:pt x="653005" y="2197618"/>
                  <a:pt x="655800" y="2190563"/>
                  <a:pt x="661391" y="2184838"/>
                </a:cubicBezTo>
                <a:cubicBezTo>
                  <a:pt x="666982" y="2178981"/>
                  <a:pt x="674171" y="2176186"/>
                  <a:pt x="683223" y="2176186"/>
                </a:cubicBezTo>
                <a:close/>
                <a:moveTo>
                  <a:pt x="465579" y="2176186"/>
                </a:moveTo>
                <a:cubicBezTo>
                  <a:pt x="469839" y="2176186"/>
                  <a:pt x="473700" y="2176985"/>
                  <a:pt x="477295" y="2178848"/>
                </a:cubicBezTo>
                <a:cubicBezTo>
                  <a:pt x="481022" y="2180445"/>
                  <a:pt x="484083" y="2182575"/>
                  <a:pt x="486612" y="2185238"/>
                </a:cubicBezTo>
                <a:cubicBezTo>
                  <a:pt x="489274" y="2187766"/>
                  <a:pt x="491271" y="2190962"/>
                  <a:pt x="492735" y="2194555"/>
                </a:cubicBezTo>
                <a:cubicBezTo>
                  <a:pt x="494199" y="2198150"/>
                  <a:pt x="494998" y="2201878"/>
                  <a:pt x="494998" y="2206004"/>
                </a:cubicBezTo>
                <a:cubicBezTo>
                  <a:pt x="494998" y="2210131"/>
                  <a:pt x="494199" y="2214125"/>
                  <a:pt x="492735" y="2217718"/>
                </a:cubicBezTo>
                <a:cubicBezTo>
                  <a:pt x="491271" y="2221312"/>
                  <a:pt x="489141" y="2224374"/>
                  <a:pt x="486612" y="2227037"/>
                </a:cubicBezTo>
                <a:cubicBezTo>
                  <a:pt x="483949" y="2229700"/>
                  <a:pt x="480889" y="2231830"/>
                  <a:pt x="477295" y="2233293"/>
                </a:cubicBezTo>
                <a:cubicBezTo>
                  <a:pt x="473700" y="2234757"/>
                  <a:pt x="469839" y="2235556"/>
                  <a:pt x="465579" y="2235556"/>
                </a:cubicBezTo>
                <a:cubicBezTo>
                  <a:pt x="456661" y="2235556"/>
                  <a:pt x="449339" y="2232628"/>
                  <a:pt x="443748" y="2227037"/>
                </a:cubicBezTo>
                <a:cubicBezTo>
                  <a:pt x="438157" y="2221446"/>
                  <a:pt x="435362" y="2214390"/>
                  <a:pt x="435362" y="2205871"/>
                </a:cubicBezTo>
                <a:cubicBezTo>
                  <a:pt x="435362" y="2197618"/>
                  <a:pt x="438157" y="2190563"/>
                  <a:pt x="443748" y="2184838"/>
                </a:cubicBezTo>
                <a:cubicBezTo>
                  <a:pt x="449339" y="2178981"/>
                  <a:pt x="456528" y="2176186"/>
                  <a:pt x="465579" y="2176186"/>
                </a:cubicBezTo>
                <a:close/>
                <a:moveTo>
                  <a:pt x="247936" y="2176186"/>
                </a:moveTo>
                <a:cubicBezTo>
                  <a:pt x="252196" y="2176186"/>
                  <a:pt x="256190" y="2176985"/>
                  <a:pt x="259651" y="2178848"/>
                </a:cubicBezTo>
                <a:cubicBezTo>
                  <a:pt x="263378" y="2180445"/>
                  <a:pt x="266440" y="2182575"/>
                  <a:pt x="268969" y="2185238"/>
                </a:cubicBezTo>
                <a:cubicBezTo>
                  <a:pt x="271631" y="2187766"/>
                  <a:pt x="273628" y="2190962"/>
                  <a:pt x="275092" y="2194555"/>
                </a:cubicBezTo>
                <a:cubicBezTo>
                  <a:pt x="276556" y="2198150"/>
                  <a:pt x="277355" y="2201878"/>
                  <a:pt x="277355" y="2206004"/>
                </a:cubicBezTo>
                <a:cubicBezTo>
                  <a:pt x="277355" y="2210131"/>
                  <a:pt x="276556" y="2214125"/>
                  <a:pt x="275092" y="2217718"/>
                </a:cubicBezTo>
                <a:cubicBezTo>
                  <a:pt x="273628" y="2221312"/>
                  <a:pt x="271498" y="2224374"/>
                  <a:pt x="268969" y="2227037"/>
                </a:cubicBezTo>
                <a:cubicBezTo>
                  <a:pt x="266306" y="2229700"/>
                  <a:pt x="263245" y="2231830"/>
                  <a:pt x="259651" y="2233293"/>
                </a:cubicBezTo>
                <a:cubicBezTo>
                  <a:pt x="256056" y="2234757"/>
                  <a:pt x="252196" y="2235556"/>
                  <a:pt x="247936" y="2235556"/>
                </a:cubicBezTo>
                <a:cubicBezTo>
                  <a:pt x="239018" y="2235556"/>
                  <a:pt x="231696" y="2232628"/>
                  <a:pt x="226105" y="2227037"/>
                </a:cubicBezTo>
                <a:cubicBezTo>
                  <a:pt x="220514" y="2221446"/>
                  <a:pt x="217719" y="2214390"/>
                  <a:pt x="217719" y="2205871"/>
                </a:cubicBezTo>
                <a:cubicBezTo>
                  <a:pt x="217719" y="2197618"/>
                  <a:pt x="220514" y="2190563"/>
                  <a:pt x="226105" y="2184838"/>
                </a:cubicBezTo>
                <a:cubicBezTo>
                  <a:pt x="231696" y="2178981"/>
                  <a:pt x="238884" y="2176186"/>
                  <a:pt x="247936" y="2176186"/>
                </a:cubicBezTo>
                <a:close/>
                <a:moveTo>
                  <a:pt x="30292" y="2176186"/>
                </a:moveTo>
                <a:cubicBezTo>
                  <a:pt x="34552" y="2176186"/>
                  <a:pt x="38546" y="2176985"/>
                  <a:pt x="42008" y="2178848"/>
                </a:cubicBezTo>
                <a:cubicBezTo>
                  <a:pt x="45735" y="2180445"/>
                  <a:pt x="48797" y="2182575"/>
                  <a:pt x="51326" y="2185238"/>
                </a:cubicBezTo>
                <a:cubicBezTo>
                  <a:pt x="53988" y="2187766"/>
                  <a:pt x="55985" y="2190962"/>
                  <a:pt x="57449" y="2194555"/>
                </a:cubicBezTo>
                <a:cubicBezTo>
                  <a:pt x="58913" y="2198150"/>
                  <a:pt x="59712" y="2201878"/>
                  <a:pt x="59712" y="2206004"/>
                </a:cubicBezTo>
                <a:cubicBezTo>
                  <a:pt x="59712" y="2210131"/>
                  <a:pt x="58913" y="2214125"/>
                  <a:pt x="57449" y="2217718"/>
                </a:cubicBezTo>
                <a:cubicBezTo>
                  <a:pt x="55985" y="2221312"/>
                  <a:pt x="53855" y="2224374"/>
                  <a:pt x="51326" y="2227037"/>
                </a:cubicBezTo>
                <a:cubicBezTo>
                  <a:pt x="48663" y="2229700"/>
                  <a:pt x="45602" y="2231830"/>
                  <a:pt x="42008" y="2233293"/>
                </a:cubicBezTo>
                <a:cubicBezTo>
                  <a:pt x="38413" y="2234757"/>
                  <a:pt x="34552" y="2235556"/>
                  <a:pt x="30292" y="2235556"/>
                </a:cubicBezTo>
                <a:cubicBezTo>
                  <a:pt x="21374" y="2235556"/>
                  <a:pt x="14053" y="2232628"/>
                  <a:pt x="8462" y="2227037"/>
                </a:cubicBezTo>
                <a:cubicBezTo>
                  <a:pt x="2871" y="2221446"/>
                  <a:pt x="76" y="2214390"/>
                  <a:pt x="76" y="2205871"/>
                </a:cubicBezTo>
                <a:cubicBezTo>
                  <a:pt x="76" y="2197618"/>
                  <a:pt x="2871" y="2190563"/>
                  <a:pt x="8462" y="2184838"/>
                </a:cubicBezTo>
                <a:cubicBezTo>
                  <a:pt x="14053" y="2178981"/>
                  <a:pt x="21240" y="2176186"/>
                  <a:pt x="30292" y="2176186"/>
                </a:cubicBezTo>
                <a:close/>
                <a:moveTo>
                  <a:pt x="10475977" y="1975188"/>
                </a:moveTo>
                <a:cubicBezTo>
                  <a:pt x="10470119" y="1975188"/>
                  <a:pt x="10467589" y="1977179"/>
                  <a:pt x="10465992" y="1978785"/>
                </a:cubicBezTo>
                <a:cubicBezTo>
                  <a:pt x="10463463" y="1981446"/>
                  <a:pt x="10462399" y="1984237"/>
                  <a:pt x="10462399" y="1988232"/>
                </a:cubicBezTo>
                <a:cubicBezTo>
                  <a:pt x="10462399" y="1992362"/>
                  <a:pt x="10463463" y="1995153"/>
                  <a:pt x="10465992" y="1997689"/>
                </a:cubicBezTo>
                <a:cubicBezTo>
                  <a:pt x="10467589" y="1999281"/>
                  <a:pt x="10470119" y="2001146"/>
                  <a:pt x="10475977" y="2001146"/>
                </a:cubicBezTo>
                <a:cubicBezTo>
                  <a:pt x="10478107" y="2001146"/>
                  <a:pt x="10479838" y="2000877"/>
                  <a:pt x="10481302" y="2000210"/>
                </a:cubicBezTo>
                <a:cubicBezTo>
                  <a:pt x="10482899" y="1999681"/>
                  <a:pt x="10484098" y="1998885"/>
                  <a:pt x="10485029" y="1997817"/>
                </a:cubicBezTo>
                <a:cubicBezTo>
                  <a:pt x="10486094" y="1996753"/>
                  <a:pt x="10487026" y="1995425"/>
                  <a:pt x="10487691" y="1993688"/>
                </a:cubicBezTo>
                <a:cubicBezTo>
                  <a:pt x="10488357" y="1992096"/>
                  <a:pt x="10488623" y="1990232"/>
                  <a:pt x="10488623" y="1988232"/>
                </a:cubicBezTo>
                <a:cubicBezTo>
                  <a:pt x="10488623" y="1986373"/>
                  <a:pt x="10488357" y="1984638"/>
                  <a:pt x="10487691" y="1983046"/>
                </a:cubicBezTo>
                <a:cubicBezTo>
                  <a:pt x="10487026" y="1981308"/>
                  <a:pt x="10486094" y="1979983"/>
                  <a:pt x="10485029" y="1978785"/>
                </a:cubicBezTo>
                <a:cubicBezTo>
                  <a:pt x="10483964" y="1977722"/>
                  <a:pt x="10482633" y="1976783"/>
                  <a:pt x="10481035" y="1976116"/>
                </a:cubicBezTo>
                <a:cubicBezTo>
                  <a:pt x="10479571" y="1975456"/>
                  <a:pt x="10477974" y="1975188"/>
                  <a:pt x="10475977" y="1975188"/>
                </a:cubicBezTo>
                <a:close/>
                <a:moveTo>
                  <a:pt x="10258466" y="1975188"/>
                </a:moveTo>
                <a:cubicBezTo>
                  <a:pt x="10252608" y="1975188"/>
                  <a:pt x="10250078" y="1977179"/>
                  <a:pt x="10248481" y="1978785"/>
                </a:cubicBezTo>
                <a:cubicBezTo>
                  <a:pt x="10245952" y="1981446"/>
                  <a:pt x="10244887" y="1984237"/>
                  <a:pt x="10244887" y="1988237"/>
                </a:cubicBezTo>
                <a:cubicBezTo>
                  <a:pt x="10244887" y="1992362"/>
                  <a:pt x="10245952" y="1995153"/>
                  <a:pt x="10248481" y="1997689"/>
                </a:cubicBezTo>
                <a:cubicBezTo>
                  <a:pt x="10250078" y="1999281"/>
                  <a:pt x="10252608" y="2001146"/>
                  <a:pt x="10258466" y="2001146"/>
                </a:cubicBezTo>
                <a:cubicBezTo>
                  <a:pt x="10260462" y="2001146"/>
                  <a:pt x="10262192" y="2000877"/>
                  <a:pt x="10263790" y="2000210"/>
                </a:cubicBezTo>
                <a:cubicBezTo>
                  <a:pt x="10265388" y="1999681"/>
                  <a:pt x="10266586" y="1998885"/>
                  <a:pt x="10267517" y="1997817"/>
                </a:cubicBezTo>
                <a:cubicBezTo>
                  <a:pt x="10268583" y="1996753"/>
                  <a:pt x="10269515" y="1995425"/>
                  <a:pt x="10270180" y="1993688"/>
                </a:cubicBezTo>
                <a:cubicBezTo>
                  <a:pt x="10270845" y="1992096"/>
                  <a:pt x="10271112" y="1990232"/>
                  <a:pt x="10271112" y="1988237"/>
                </a:cubicBezTo>
                <a:cubicBezTo>
                  <a:pt x="10271112" y="1986373"/>
                  <a:pt x="10270845" y="1984638"/>
                  <a:pt x="10270180" y="1983046"/>
                </a:cubicBezTo>
                <a:cubicBezTo>
                  <a:pt x="10269515" y="1981308"/>
                  <a:pt x="10268583" y="1979983"/>
                  <a:pt x="10267517" y="1978785"/>
                </a:cubicBezTo>
                <a:cubicBezTo>
                  <a:pt x="10266452" y="1977722"/>
                  <a:pt x="10265121" y="1976783"/>
                  <a:pt x="10263524" y="1976116"/>
                </a:cubicBezTo>
                <a:cubicBezTo>
                  <a:pt x="10262060" y="1975456"/>
                  <a:pt x="10260462" y="1975188"/>
                  <a:pt x="10258466" y="1975188"/>
                </a:cubicBezTo>
                <a:close/>
                <a:moveTo>
                  <a:pt x="10040820" y="1975188"/>
                </a:moveTo>
                <a:cubicBezTo>
                  <a:pt x="10034962" y="1975188"/>
                  <a:pt x="10032433" y="1977179"/>
                  <a:pt x="10030835" y="1978785"/>
                </a:cubicBezTo>
                <a:cubicBezTo>
                  <a:pt x="10028306" y="1981446"/>
                  <a:pt x="10027242" y="1984237"/>
                  <a:pt x="10027242" y="1988237"/>
                </a:cubicBezTo>
                <a:cubicBezTo>
                  <a:pt x="10027242" y="1992362"/>
                  <a:pt x="10028306" y="1995153"/>
                  <a:pt x="10030835" y="1997689"/>
                </a:cubicBezTo>
                <a:cubicBezTo>
                  <a:pt x="10032433" y="1999281"/>
                  <a:pt x="10034962" y="2001146"/>
                  <a:pt x="10040820" y="2001146"/>
                </a:cubicBezTo>
                <a:cubicBezTo>
                  <a:pt x="10042817" y="2001146"/>
                  <a:pt x="10044681" y="2000877"/>
                  <a:pt x="10046145" y="2000210"/>
                </a:cubicBezTo>
                <a:cubicBezTo>
                  <a:pt x="10047742" y="1999681"/>
                  <a:pt x="10048941" y="1998886"/>
                  <a:pt x="10049872" y="1997817"/>
                </a:cubicBezTo>
                <a:cubicBezTo>
                  <a:pt x="10050937" y="1996753"/>
                  <a:pt x="10051869" y="1995425"/>
                  <a:pt x="10052534" y="1993688"/>
                </a:cubicBezTo>
                <a:cubicBezTo>
                  <a:pt x="10053333" y="1992096"/>
                  <a:pt x="10053599" y="1990232"/>
                  <a:pt x="10053599" y="1988237"/>
                </a:cubicBezTo>
                <a:cubicBezTo>
                  <a:pt x="10053599" y="1986373"/>
                  <a:pt x="10053200" y="1984638"/>
                  <a:pt x="10052534" y="1983046"/>
                </a:cubicBezTo>
                <a:cubicBezTo>
                  <a:pt x="10051869" y="1981308"/>
                  <a:pt x="10050937" y="1979983"/>
                  <a:pt x="10049872" y="1978785"/>
                </a:cubicBezTo>
                <a:cubicBezTo>
                  <a:pt x="10048807" y="1977722"/>
                  <a:pt x="10047476" y="1976783"/>
                  <a:pt x="10045878" y="1976116"/>
                </a:cubicBezTo>
                <a:cubicBezTo>
                  <a:pt x="10044414" y="1975456"/>
                  <a:pt x="10042817" y="1975188"/>
                  <a:pt x="10040820" y="1975188"/>
                </a:cubicBezTo>
                <a:close/>
                <a:moveTo>
                  <a:pt x="9823176" y="1975188"/>
                </a:moveTo>
                <a:cubicBezTo>
                  <a:pt x="9817318" y="1975188"/>
                  <a:pt x="9814788" y="1977179"/>
                  <a:pt x="9813191" y="1978785"/>
                </a:cubicBezTo>
                <a:cubicBezTo>
                  <a:pt x="9810662" y="1981446"/>
                  <a:pt x="9809597" y="1984237"/>
                  <a:pt x="9809597" y="1988237"/>
                </a:cubicBezTo>
                <a:cubicBezTo>
                  <a:pt x="9809597" y="1992362"/>
                  <a:pt x="9810662" y="1995153"/>
                  <a:pt x="9813191" y="1997689"/>
                </a:cubicBezTo>
                <a:cubicBezTo>
                  <a:pt x="9814788" y="1999281"/>
                  <a:pt x="9817318" y="2001146"/>
                  <a:pt x="9823176" y="2001146"/>
                </a:cubicBezTo>
                <a:cubicBezTo>
                  <a:pt x="9825173" y="2001146"/>
                  <a:pt x="9827036" y="2000877"/>
                  <a:pt x="9828501" y="2000210"/>
                </a:cubicBezTo>
                <a:cubicBezTo>
                  <a:pt x="9830098" y="1999681"/>
                  <a:pt x="9831296" y="1998886"/>
                  <a:pt x="9832227" y="1997817"/>
                </a:cubicBezTo>
                <a:cubicBezTo>
                  <a:pt x="9833293" y="1996753"/>
                  <a:pt x="9834225" y="1995425"/>
                  <a:pt x="9834890" y="1993688"/>
                </a:cubicBezTo>
                <a:cubicBezTo>
                  <a:pt x="9835689" y="1992096"/>
                  <a:pt x="9835955" y="1990232"/>
                  <a:pt x="9835955" y="1988237"/>
                </a:cubicBezTo>
                <a:cubicBezTo>
                  <a:pt x="9835955" y="1986373"/>
                  <a:pt x="9835555" y="1984638"/>
                  <a:pt x="9834890" y="1983046"/>
                </a:cubicBezTo>
                <a:cubicBezTo>
                  <a:pt x="9834225" y="1981308"/>
                  <a:pt x="9833293" y="1979983"/>
                  <a:pt x="9832227" y="1978785"/>
                </a:cubicBezTo>
                <a:cubicBezTo>
                  <a:pt x="9831162" y="1977722"/>
                  <a:pt x="9829831" y="1976783"/>
                  <a:pt x="9828234" y="1976116"/>
                </a:cubicBezTo>
                <a:cubicBezTo>
                  <a:pt x="9826770" y="1975456"/>
                  <a:pt x="9825173" y="1975188"/>
                  <a:pt x="9823176" y="1975188"/>
                </a:cubicBezTo>
                <a:close/>
                <a:moveTo>
                  <a:pt x="9605531" y="1975188"/>
                </a:moveTo>
                <a:cubicBezTo>
                  <a:pt x="9599673" y="1975188"/>
                  <a:pt x="9597143" y="1977179"/>
                  <a:pt x="9595546" y="1978785"/>
                </a:cubicBezTo>
                <a:cubicBezTo>
                  <a:pt x="9593017" y="1981446"/>
                  <a:pt x="9591952" y="1984237"/>
                  <a:pt x="9591952" y="1988237"/>
                </a:cubicBezTo>
                <a:cubicBezTo>
                  <a:pt x="9591952" y="1992362"/>
                  <a:pt x="9593017" y="1995153"/>
                  <a:pt x="9595546" y="1997689"/>
                </a:cubicBezTo>
                <a:cubicBezTo>
                  <a:pt x="9597143" y="1999281"/>
                  <a:pt x="9599673" y="2001146"/>
                  <a:pt x="9605531" y="2001146"/>
                </a:cubicBezTo>
                <a:cubicBezTo>
                  <a:pt x="9607660" y="2001146"/>
                  <a:pt x="9609391" y="2000877"/>
                  <a:pt x="9610855" y="2000210"/>
                </a:cubicBezTo>
                <a:cubicBezTo>
                  <a:pt x="9612319" y="1999681"/>
                  <a:pt x="9613651" y="1998886"/>
                  <a:pt x="9614582" y="1997817"/>
                </a:cubicBezTo>
                <a:cubicBezTo>
                  <a:pt x="9615647" y="1996753"/>
                  <a:pt x="9616579" y="1995425"/>
                  <a:pt x="9617245" y="1993688"/>
                </a:cubicBezTo>
                <a:cubicBezTo>
                  <a:pt x="9618044" y="1992096"/>
                  <a:pt x="9618309" y="1990232"/>
                  <a:pt x="9618309" y="1988237"/>
                </a:cubicBezTo>
                <a:cubicBezTo>
                  <a:pt x="9618309" y="1986373"/>
                  <a:pt x="9617910" y="1984638"/>
                  <a:pt x="9617245" y="1983046"/>
                </a:cubicBezTo>
                <a:cubicBezTo>
                  <a:pt x="9616579" y="1981310"/>
                  <a:pt x="9615647" y="1979983"/>
                  <a:pt x="9614582" y="1978785"/>
                </a:cubicBezTo>
                <a:cubicBezTo>
                  <a:pt x="9613517" y="1977722"/>
                  <a:pt x="9612186" y="1976783"/>
                  <a:pt x="9610589" y="1976116"/>
                </a:cubicBezTo>
                <a:cubicBezTo>
                  <a:pt x="9609124" y="1975456"/>
                  <a:pt x="9607394" y="1975188"/>
                  <a:pt x="9605531" y="1975188"/>
                </a:cubicBezTo>
                <a:close/>
                <a:moveTo>
                  <a:pt x="9387885" y="1975188"/>
                </a:moveTo>
                <a:cubicBezTo>
                  <a:pt x="9382027" y="1975188"/>
                  <a:pt x="9379497" y="1977179"/>
                  <a:pt x="9377900" y="1978785"/>
                </a:cubicBezTo>
                <a:cubicBezTo>
                  <a:pt x="9375371" y="1981446"/>
                  <a:pt x="9374307" y="1984237"/>
                  <a:pt x="9374307" y="1988237"/>
                </a:cubicBezTo>
                <a:cubicBezTo>
                  <a:pt x="9374307" y="1992362"/>
                  <a:pt x="9375371" y="1995153"/>
                  <a:pt x="9377900" y="1997689"/>
                </a:cubicBezTo>
                <a:cubicBezTo>
                  <a:pt x="9379497" y="1999281"/>
                  <a:pt x="9382027" y="2001146"/>
                  <a:pt x="9387885" y="2001146"/>
                </a:cubicBezTo>
                <a:cubicBezTo>
                  <a:pt x="9390015" y="2001146"/>
                  <a:pt x="9391746" y="2000877"/>
                  <a:pt x="9393210" y="2000210"/>
                </a:cubicBezTo>
                <a:cubicBezTo>
                  <a:pt x="9394674" y="1999681"/>
                  <a:pt x="9396005" y="1998886"/>
                  <a:pt x="9396937" y="1997817"/>
                </a:cubicBezTo>
                <a:cubicBezTo>
                  <a:pt x="9398002" y="1996753"/>
                  <a:pt x="9398934" y="1995425"/>
                  <a:pt x="9399599" y="1993688"/>
                </a:cubicBezTo>
                <a:cubicBezTo>
                  <a:pt x="9400398" y="1992096"/>
                  <a:pt x="9400664" y="1990232"/>
                  <a:pt x="9400664" y="1988237"/>
                </a:cubicBezTo>
                <a:cubicBezTo>
                  <a:pt x="9400664" y="1986373"/>
                  <a:pt x="9400265" y="1984638"/>
                  <a:pt x="9399599" y="1983046"/>
                </a:cubicBezTo>
                <a:cubicBezTo>
                  <a:pt x="9398934" y="1981310"/>
                  <a:pt x="9398002" y="1979983"/>
                  <a:pt x="9396937" y="1978785"/>
                </a:cubicBezTo>
                <a:cubicBezTo>
                  <a:pt x="9395872" y="1977722"/>
                  <a:pt x="9394541" y="1976783"/>
                  <a:pt x="9392943" y="1976116"/>
                </a:cubicBezTo>
                <a:cubicBezTo>
                  <a:pt x="9391479" y="1975456"/>
                  <a:pt x="9389749" y="1975188"/>
                  <a:pt x="9387885" y="1975188"/>
                </a:cubicBezTo>
                <a:close/>
                <a:moveTo>
                  <a:pt x="9170374" y="1975188"/>
                </a:moveTo>
                <a:cubicBezTo>
                  <a:pt x="9164649" y="1975188"/>
                  <a:pt x="9161986" y="1977179"/>
                  <a:pt x="9160389" y="1978785"/>
                </a:cubicBezTo>
                <a:cubicBezTo>
                  <a:pt x="9157860" y="1981446"/>
                  <a:pt x="9156795" y="1984237"/>
                  <a:pt x="9156795" y="1988237"/>
                </a:cubicBezTo>
                <a:cubicBezTo>
                  <a:pt x="9156795" y="1992362"/>
                  <a:pt x="9157860" y="1995153"/>
                  <a:pt x="9160389" y="1997689"/>
                </a:cubicBezTo>
                <a:cubicBezTo>
                  <a:pt x="9161986" y="1999281"/>
                  <a:pt x="9164516" y="2001146"/>
                  <a:pt x="9170374" y="2001146"/>
                </a:cubicBezTo>
                <a:cubicBezTo>
                  <a:pt x="9172370" y="2001146"/>
                  <a:pt x="9174100" y="2000877"/>
                  <a:pt x="9175698" y="2000210"/>
                </a:cubicBezTo>
                <a:cubicBezTo>
                  <a:pt x="9177163" y="1999681"/>
                  <a:pt x="9178494" y="1998886"/>
                  <a:pt x="9179425" y="1997817"/>
                </a:cubicBezTo>
                <a:cubicBezTo>
                  <a:pt x="9180491" y="1996753"/>
                  <a:pt x="9181422" y="1995425"/>
                  <a:pt x="9182088" y="1993688"/>
                </a:cubicBezTo>
                <a:cubicBezTo>
                  <a:pt x="9182887" y="1992096"/>
                  <a:pt x="9183152" y="1990232"/>
                  <a:pt x="9183152" y="1988237"/>
                </a:cubicBezTo>
                <a:cubicBezTo>
                  <a:pt x="9183152" y="1986373"/>
                  <a:pt x="9182753" y="1984638"/>
                  <a:pt x="9182088" y="1983046"/>
                </a:cubicBezTo>
                <a:cubicBezTo>
                  <a:pt x="9181422" y="1981310"/>
                  <a:pt x="9180491" y="1979983"/>
                  <a:pt x="9179425" y="1978785"/>
                </a:cubicBezTo>
                <a:cubicBezTo>
                  <a:pt x="9178360" y="1977722"/>
                  <a:pt x="9177029" y="1976783"/>
                  <a:pt x="9175432" y="1976116"/>
                </a:cubicBezTo>
                <a:cubicBezTo>
                  <a:pt x="9173967" y="1975456"/>
                  <a:pt x="9172237" y="1975188"/>
                  <a:pt x="9170374" y="1975188"/>
                </a:cubicBezTo>
                <a:close/>
                <a:moveTo>
                  <a:pt x="8952728" y="1975188"/>
                </a:moveTo>
                <a:cubicBezTo>
                  <a:pt x="8947003" y="1975188"/>
                  <a:pt x="8944340" y="1977179"/>
                  <a:pt x="8942743" y="1978785"/>
                </a:cubicBezTo>
                <a:cubicBezTo>
                  <a:pt x="8940214" y="1981446"/>
                  <a:pt x="8939150" y="1984237"/>
                  <a:pt x="8939150" y="1988237"/>
                </a:cubicBezTo>
                <a:cubicBezTo>
                  <a:pt x="8939150" y="1992362"/>
                  <a:pt x="8940214" y="1995153"/>
                  <a:pt x="8942743" y="1997689"/>
                </a:cubicBezTo>
                <a:cubicBezTo>
                  <a:pt x="8944340" y="1999281"/>
                  <a:pt x="8946870" y="2001146"/>
                  <a:pt x="8952728" y="2001146"/>
                </a:cubicBezTo>
                <a:cubicBezTo>
                  <a:pt x="8954725" y="2001146"/>
                  <a:pt x="8956589" y="2000877"/>
                  <a:pt x="8958053" y="2000210"/>
                </a:cubicBezTo>
                <a:cubicBezTo>
                  <a:pt x="8959517" y="1999681"/>
                  <a:pt x="8960849" y="1998886"/>
                  <a:pt x="8961780" y="1997817"/>
                </a:cubicBezTo>
                <a:cubicBezTo>
                  <a:pt x="8962845" y="1996753"/>
                  <a:pt x="8963777" y="1995425"/>
                  <a:pt x="8964442" y="1993688"/>
                </a:cubicBezTo>
                <a:cubicBezTo>
                  <a:pt x="8965241" y="1992096"/>
                  <a:pt x="8965507" y="1990232"/>
                  <a:pt x="8965507" y="1988237"/>
                </a:cubicBezTo>
                <a:cubicBezTo>
                  <a:pt x="8965507" y="1986373"/>
                  <a:pt x="8965108" y="1984638"/>
                  <a:pt x="8964442" y="1983046"/>
                </a:cubicBezTo>
                <a:cubicBezTo>
                  <a:pt x="8963777" y="1981310"/>
                  <a:pt x="8962845" y="1979983"/>
                  <a:pt x="8961780" y="1978785"/>
                </a:cubicBezTo>
                <a:cubicBezTo>
                  <a:pt x="8960715" y="1977722"/>
                  <a:pt x="8959384" y="1976783"/>
                  <a:pt x="8957786" y="1976116"/>
                </a:cubicBezTo>
                <a:cubicBezTo>
                  <a:pt x="8956322" y="1975456"/>
                  <a:pt x="8954592" y="1975188"/>
                  <a:pt x="8952728" y="1975188"/>
                </a:cubicBezTo>
                <a:close/>
                <a:moveTo>
                  <a:pt x="8735083" y="1975188"/>
                </a:moveTo>
                <a:cubicBezTo>
                  <a:pt x="8729358" y="1975188"/>
                  <a:pt x="8726695" y="1977179"/>
                  <a:pt x="8725098" y="1978785"/>
                </a:cubicBezTo>
                <a:cubicBezTo>
                  <a:pt x="8722569" y="1981446"/>
                  <a:pt x="8721504" y="1984237"/>
                  <a:pt x="8721504" y="1988237"/>
                </a:cubicBezTo>
                <a:cubicBezTo>
                  <a:pt x="8721504" y="1992362"/>
                  <a:pt x="8722569" y="1995153"/>
                  <a:pt x="8725098" y="1997689"/>
                </a:cubicBezTo>
                <a:cubicBezTo>
                  <a:pt x="8726695" y="1999281"/>
                  <a:pt x="8729225" y="2001146"/>
                  <a:pt x="8735083" y="2001146"/>
                </a:cubicBezTo>
                <a:cubicBezTo>
                  <a:pt x="8737079" y="2001146"/>
                  <a:pt x="8738943" y="2000877"/>
                  <a:pt x="8740407" y="2000210"/>
                </a:cubicBezTo>
                <a:cubicBezTo>
                  <a:pt x="8741872" y="1999681"/>
                  <a:pt x="8743203" y="1998886"/>
                  <a:pt x="8744134" y="1997817"/>
                </a:cubicBezTo>
                <a:cubicBezTo>
                  <a:pt x="8745200" y="1996753"/>
                  <a:pt x="8746132" y="1995425"/>
                  <a:pt x="8746797" y="1993688"/>
                </a:cubicBezTo>
                <a:cubicBezTo>
                  <a:pt x="8747596" y="1992096"/>
                  <a:pt x="8747862" y="1990232"/>
                  <a:pt x="8747862" y="1988237"/>
                </a:cubicBezTo>
                <a:cubicBezTo>
                  <a:pt x="8747862" y="1986373"/>
                  <a:pt x="8747462" y="1984638"/>
                  <a:pt x="8746797" y="1983046"/>
                </a:cubicBezTo>
                <a:cubicBezTo>
                  <a:pt x="8746132" y="1981310"/>
                  <a:pt x="8745200" y="1979983"/>
                  <a:pt x="8744134" y="1978785"/>
                </a:cubicBezTo>
                <a:cubicBezTo>
                  <a:pt x="8743069" y="1977722"/>
                  <a:pt x="8741738" y="1976783"/>
                  <a:pt x="8740141" y="1976116"/>
                </a:cubicBezTo>
                <a:cubicBezTo>
                  <a:pt x="8738677" y="1975456"/>
                  <a:pt x="8736946" y="1975188"/>
                  <a:pt x="8735083" y="1975188"/>
                </a:cubicBezTo>
                <a:close/>
                <a:moveTo>
                  <a:pt x="8517438" y="1975188"/>
                </a:moveTo>
                <a:cubicBezTo>
                  <a:pt x="8511713" y="1975188"/>
                  <a:pt x="8509051" y="1977179"/>
                  <a:pt x="8507453" y="1978785"/>
                </a:cubicBezTo>
                <a:cubicBezTo>
                  <a:pt x="8504925" y="1981446"/>
                  <a:pt x="8503860" y="1984237"/>
                  <a:pt x="8503860" y="1988237"/>
                </a:cubicBezTo>
                <a:cubicBezTo>
                  <a:pt x="8503860" y="1992362"/>
                  <a:pt x="8504925" y="1995153"/>
                  <a:pt x="8507453" y="1997689"/>
                </a:cubicBezTo>
                <a:cubicBezTo>
                  <a:pt x="8509051" y="1999281"/>
                  <a:pt x="8511581" y="2001146"/>
                  <a:pt x="8517438" y="2001146"/>
                </a:cubicBezTo>
                <a:cubicBezTo>
                  <a:pt x="8519568" y="2001146"/>
                  <a:pt x="8521299" y="2000877"/>
                  <a:pt x="8522763" y="2000210"/>
                </a:cubicBezTo>
                <a:cubicBezTo>
                  <a:pt x="8524227" y="1999681"/>
                  <a:pt x="8525559" y="1998886"/>
                  <a:pt x="8526490" y="1997817"/>
                </a:cubicBezTo>
                <a:cubicBezTo>
                  <a:pt x="8527555" y="1996753"/>
                  <a:pt x="8528487" y="1995425"/>
                  <a:pt x="8529152" y="1993688"/>
                </a:cubicBezTo>
                <a:cubicBezTo>
                  <a:pt x="8529818" y="1992096"/>
                  <a:pt x="8530084" y="1990232"/>
                  <a:pt x="8530084" y="1988237"/>
                </a:cubicBezTo>
                <a:cubicBezTo>
                  <a:pt x="8530084" y="1986373"/>
                  <a:pt x="8529818" y="1984638"/>
                  <a:pt x="8529152" y="1983046"/>
                </a:cubicBezTo>
                <a:cubicBezTo>
                  <a:pt x="8528487" y="1981310"/>
                  <a:pt x="8527555" y="1979983"/>
                  <a:pt x="8526490" y="1978785"/>
                </a:cubicBezTo>
                <a:cubicBezTo>
                  <a:pt x="8525425" y="1977722"/>
                  <a:pt x="8524094" y="1976783"/>
                  <a:pt x="8522496" y="1976116"/>
                </a:cubicBezTo>
                <a:cubicBezTo>
                  <a:pt x="8521032" y="1975456"/>
                  <a:pt x="8519302" y="1975188"/>
                  <a:pt x="8517438" y="1975188"/>
                </a:cubicBezTo>
                <a:close/>
                <a:moveTo>
                  <a:pt x="8299793" y="1975188"/>
                </a:moveTo>
                <a:cubicBezTo>
                  <a:pt x="8294068" y="1975188"/>
                  <a:pt x="8291406" y="1977179"/>
                  <a:pt x="8289809" y="1978785"/>
                </a:cubicBezTo>
                <a:cubicBezTo>
                  <a:pt x="8287280" y="1981446"/>
                  <a:pt x="8286215" y="1984237"/>
                  <a:pt x="8286215" y="1988237"/>
                </a:cubicBezTo>
                <a:cubicBezTo>
                  <a:pt x="8286215" y="1992362"/>
                  <a:pt x="8287280" y="1995153"/>
                  <a:pt x="8289809" y="1997689"/>
                </a:cubicBezTo>
                <a:cubicBezTo>
                  <a:pt x="8291406" y="1999281"/>
                  <a:pt x="8293935" y="2001146"/>
                  <a:pt x="8299793" y="2001146"/>
                </a:cubicBezTo>
                <a:cubicBezTo>
                  <a:pt x="8301923" y="2001146"/>
                  <a:pt x="8303653" y="2000877"/>
                  <a:pt x="8305118" y="2000210"/>
                </a:cubicBezTo>
                <a:cubicBezTo>
                  <a:pt x="8306582" y="1999681"/>
                  <a:pt x="8307913" y="1998886"/>
                  <a:pt x="8308844" y="1997817"/>
                </a:cubicBezTo>
                <a:cubicBezTo>
                  <a:pt x="8309910" y="1996753"/>
                  <a:pt x="8310842" y="1995425"/>
                  <a:pt x="8311507" y="1993688"/>
                </a:cubicBezTo>
                <a:cubicBezTo>
                  <a:pt x="8312172" y="1992096"/>
                  <a:pt x="8312439" y="1990232"/>
                  <a:pt x="8312439" y="1988237"/>
                </a:cubicBezTo>
                <a:cubicBezTo>
                  <a:pt x="8312439" y="1986373"/>
                  <a:pt x="8312172" y="1984638"/>
                  <a:pt x="8311507" y="1983046"/>
                </a:cubicBezTo>
                <a:cubicBezTo>
                  <a:pt x="8310842" y="1981310"/>
                  <a:pt x="8309910" y="1979983"/>
                  <a:pt x="8308844" y="1978785"/>
                </a:cubicBezTo>
                <a:cubicBezTo>
                  <a:pt x="8307779" y="1977722"/>
                  <a:pt x="8306448" y="1976783"/>
                  <a:pt x="8304851" y="1976116"/>
                </a:cubicBezTo>
                <a:cubicBezTo>
                  <a:pt x="8303387" y="1975456"/>
                  <a:pt x="8301790" y="1975188"/>
                  <a:pt x="8299793" y="1975188"/>
                </a:cubicBezTo>
                <a:close/>
                <a:moveTo>
                  <a:pt x="8082281" y="1975188"/>
                </a:moveTo>
                <a:cubicBezTo>
                  <a:pt x="8076424" y="1975188"/>
                  <a:pt x="8073894" y="1977179"/>
                  <a:pt x="8072297" y="1978785"/>
                </a:cubicBezTo>
                <a:cubicBezTo>
                  <a:pt x="8069768" y="1981446"/>
                  <a:pt x="8068703" y="1984237"/>
                  <a:pt x="8068703" y="1988237"/>
                </a:cubicBezTo>
                <a:cubicBezTo>
                  <a:pt x="8068703" y="1992362"/>
                  <a:pt x="8069768" y="1995153"/>
                  <a:pt x="8072297" y="1997689"/>
                </a:cubicBezTo>
                <a:cubicBezTo>
                  <a:pt x="8073894" y="1999281"/>
                  <a:pt x="8076424" y="2001146"/>
                  <a:pt x="8082281" y="2001146"/>
                </a:cubicBezTo>
                <a:cubicBezTo>
                  <a:pt x="8084277" y="2001146"/>
                  <a:pt x="8086007" y="2000877"/>
                  <a:pt x="8087605" y="2000210"/>
                </a:cubicBezTo>
                <a:cubicBezTo>
                  <a:pt x="8089069" y="1999681"/>
                  <a:pt x="8090401" y="1998886"/>
                  <a:pt x="8091332" y="1997817"/>
                </a:cubicBezTo>
                <a:cubicBezTo>
                  <a:pt x="8092397" y="1996753"/>
                  <a:pt x="8093329" y="1995425"/>
                  <a:pt x="8093994" y="1993688"/>
                </a:cubicBezTo>
                <a:cubicBezTo>
                  <a:pt x="8094660" y="1992096"/>
                  <a:pt x="8094926" y="1990232"/>
                  <a:pt x="8094926" y="1988237"/>
                </a:cubicBezTo>
                <a:cubicBezTo>
                  <a:pt x="8094926" y="1986373"/>
                  <a:pt x="8094660" y="1984638"/>
                  <a:pt x="8093994" y="1983046"/>
                </a:cubicBezTo>
                <a:cubicBezTo>
                  <a:pt x="8093329" y="1981310"/>
                  <a:pt x="8092397" y="1979983"/>
                  <a:pt x="8091332" y="1978785"/>
                </a:cubicBezTo>
                <a:cubicBezTo>
                  <a:pt x="8090267" y="1977722"/>
                  <a:pt x="8088936" y="1976783"/>
                  <a:pt x="8087338" y="1976116"/>
                </a:cubicBezTo>
                <a:cubicBezTo>
                  <a:pt x="8085874" y="1975456"/>
                  <a:pt x="8084277" y="1975188"/>
                  <a:pt x="8082281" y="1975188"/>
                </a:cubicBezTo>
                <a:close/>
                <a:moveTo>
                  <a:pt x="7864636" y="1975188"/>
                </a:moveTo>
                <a:cubicBezTo>
                  <a:pt x="7858779" y="1975188"/>
                  <a:pt x="7856249" y="1977179"/>
                  <a:pt x="7854652" y="1978785"/>
                </a:cubicBezTo>
                <a:cubicBezTo>
                  <a:pt x="7852123" y="1981446"/>
                  <a:pt x="7851058" y="1984237"/>
                  <a:pt x="7851058" y="1988237"/>
                </a:cubicBezTo>
                <a:cubicBezTo>
                  <a:pt x="7851058" y="1992362"/>
                  <a:pt x="7852123" y="1995153"/>
                  <a:pt x="7854652" y="1997689"/>
                </a:cubicBezTo>
                <a:cubicBezTo>
                  <a:pt x="7856249" y="1999281"/>
                  <a:pt x="7858779" y="2001146"/>
                  <a:pt x="7864636" y="2001146"/>
                </a:cubicBezTo>
                <a:cubicBezTo>
                  <a:pt x="7866633" y="2001146"/>
                  <a:pt x="7868363" y="2000877"/>
                  <a:pt x="7869961" y="2000210"/>
                </a:cubicBezTo>
                <a:cubicBezTo>
                  <a:pt x="7871425" y="1999681"/>
                  <a:pt x="7872756" y="1998886"/>
                  <a:pt x="7873687" y="1997817"/>
                </a:cubicBezTo>
                <a:cubicBezTo>
                  <a:pt x="7874753" y="1996753"/>
                  <a:pt x="7875685" y="1995425"/>
                  <a:pt x="7876350" y="1993688"/>
                </a:cubicBezTo>
                <a:cubicBezTo>
                  <a:pt x="7877015" y="1992096"/>
                  <a:pt x="7877282" y="1990232"/>
                  <a:pt x="7877282" y="1988237"/>
                </a:cubicBezTo>
                <a:cubicBezTo>
                  <a:pt x="7877282" y="1986373"/>
                  <a:pt x="7877015" y="1984638"/>
                  <a:pt x="7876350" y="1983046"/>
                </a:cubicBezTo>
                <a:cubicBezTo>
                  <a:pt x="7875685" y="1981310"/>
                  <a:pt x="7874753" y="1979983"/>
                  <a:pt x="7873687" y="1978785"/>
                </a:cubicBezTo>
                <a:cubicBezTo>
                  <a:pt x="7872623" y="1977722"/>
                  <a:pt x="7871291" y="1976783"/>
                  <a:pt x="7869694" y="1976116"/>
                </a:cubicBezTo>
                <a:cubicBezTo>
                  <a:pt x="7868230" y="1975456"/>
                  <a:pt x="7866633" y="1975188"/>
                  <a:pt x="7864636" y="1975188"/>
                </a:cubicBezTo>
                <a:close/>
                <a:moveTo>
                  <a:pt x="7646991" y="1975188"/>
                </a:moveTo>
                <a:cubicBezTo>
                  <a:pt x="7641134" y="1975188"/>
                  <a:pt x="7638604" y="1977179"/>
                  <a:pt x="7637007" y="1978785"/>
                </a:cubicBezTo>
                <a:cubicBezTo>
                  <a:pt x="7634478" y="1981446"/>
                  <a:pt x="7633413" y="1984237"/>
                  <a:pt x="7633413" y="1988237"/>
                </a:cubicBezTo>
                <a:cubicBezTo>
                  <a:pt x="7633413" y="1992362"/>
                  <a:pt x="7634478" y="1995153"/>
                  <a:pt x="7637007" y="1997689"/>
                </a:cubicBezTo>
                <a:cubicBezTo>
                  <a:pt x="7638604" y="1999281"/>
                  <a:pt x="7641134" y="2001146"/>
                  <a:pt x="7646991" y="2001146"/>
                </a:cubicBezTo>
                <a:cubicBezTo>
                  <a:pt x="7648987" y="2001146"/>
                  <a:pt x="7650851" y="2000877"/>
                  <a:pt x="7652315" y="2000210"/>
                </a:cubicBezTo>
                <a:cubicBezTo>
                  <a:pt x="7653780" y="1999681"/>
                  <a:pt x="7655111" y="1998886"/>
                  <a:pt x="7656042" y="1997817"/>
                </a:cubicBezTo>
                <a:cubicBezTo>
                  <a:pt x="7657108" y="1996753"/>
                  <a:pt x="7658039" y="1995425"/>
                  <a:pt x="7658705" y="1993688"/>
                </a:cubicBezTo>
                <a:cubicBezTo>
                  <a:pt x="7659504" y="1992096"/>
                  <a:pt x="7659769" y="1990232"/>
                  <a:pt x="7659769" y="1988237"/>
                </a:cubicBezTo>
                <a:cubicBezTo>
                  <a:pt x="7659769" y="1986373"/>
                  <a:pt x="7659370" y="1984638"/>
                  <a:pt x="7658705" y="1983046"/>
                </a:cubicBezTo>
                <a:cubicBezTo>
                  <a:pt x="7658039" y="1981310"/>
                  <a:pt x="7657108" y="1979983"/>
                  <a:pt x="7656042" y="1978785"/>
                </a:cubicBezTo>
                <a:cubicBezTo>
                  <a:pt x="7654977" y="1977722"/>
                  <a:pt x="7653646" y="1976783"/>
                  <a:pt x="7652049" y="1976116"/>
                </a:cubicBezTo>
                <a:cubicBezTo>
                  <a:pt x="7650584" y="1975456"/>
                  <a:pt x="7648987" y="1975188"/>
                  <a:pt x="7646991" y="1975188"/>
                </a:cubicBezTo>
                <a:close/>
                <a:moveTo>
                  <a:pt x="7429345" y="1975188"/>
                </a:moveTo>
                <a:cubicBezTo>
                  <a:pt x="7423488" y="1975188"/>
                  <a:pt x="7420958" y="1977179"/>
                  <a:pt x="7419361" y="1978785"/>
                </a:cubicBezTo>
                <a:cubicBezTo>
                  <a:pt x="7416832" y="1981446"/>
                  <a:pt x="7415768" y="1984237"/>
                  <a:pt x="7415768" y="1988237"/>
                </a:cubicBezTo>
                <a:cubicBezTo>
                  <a:pt x="7415768" y="1992362"/>
                  <a:pt x="7416832" y="1995153"/>
                  <a:pt x="7419361" y="1997689"/>
                </a:cubicBezTo>
                <a:cubicBezTo>
                  <a:pt x="7420958" y="1999281"/>
                  <a:pt x="7423488" y="2001146"/>
                  <a:pt x="7429345" y="2001146"/>
                </a:cubicBezTo>
                <a:cubicBezTo>
                  <a:pt x="7431342" y="2001146"/>
                  <a:pt x="7433206" y="2000877"/>
                  <a:pt x="7434670" y="2000210"/>
                </a:cubicBezTo>
                <a:cubicBezTo>
                  <a:pt x="7436134" y="1999681"/>
                  <a:pt x="7437466" y="1998886"/>
                  <a:pt x="7438397" y="1997817"/>
                </a:cubicBezTo>
                <a:cubicBezTo>
                  <a:pt x="7439462" y="1996753"/>
                  <a:pt x="7440394" y="1995425"/>
                  <a:pt x="7441059" y="1993688"/>
                </a:cubicBezTo>
                <a:cubicBezTo>
                  <a:pt x="7441858" y="1992096"/>
                  <a:pt x="7442124" y="1990232"/>
                  <a:pt x="7442124" y="1988237"/>
                </a:cubicBezTo>
                <a:cubicBezTo>
                  <a:pt x="7442124" y="1986373"/>
                  <a:pt x="7441725" y="1984638"/>
                  <a:pt x="7441059" y="1983046"/>
                </a:cubicBezTo>
                <a:cubicBezTo>
                  <a:pt x="7440394" y="1981310"/>
                  <a:pt x="7439462" y="1979983"/>
                  <a:pt x="7438397" y="1978785"/>
                </a:cubicBezTo>
                <a:cubicBezTo>
                  <a:pt x="7437332" y="1977722"/>
                  <a:pt x="7436001" y="1976783"/>
                  <a:pt x="7434403" y="1976116"/>
                </a:cubicBezTo>
                <a:cubicBezTo>
                  <a:pt x="7432939" y="1975456"/>
                  <a:pt x="7431342" y="1975188"/>
                  <a:pt x="7429345" y="1975188"/>
                </a:cubicBezTo>
                <a:close/>
                <a:moveTo>
                  <a:pt x="7211701" y="1975188"/>
                </a:moveTo>
                <a:cubicBezTo>
                  <a:pt x="7205844" y="1975188"/>
                  <a:pt x="7203314" y="1977179"/>
                  <a:pt x="7201717" y="1978785"/>
                </a:cubicBezTo>
                <a:cubicBezTo>
                  <a:pt x="7199188" y="1981446"/>
                  <a:pt x="7198123" y="1984237"/>
                  <a:pt x="7198123" y="1988237"/>
                </a:cubicBezTo>
                <a:cubicBezTo>
                  <a:pt x="7198123" y="1992362"/>
                  <a:pt x="7199188" y="1995153"/>
                  <a:pt x="7201717" y="1997689"/>
                </a:cubicBezTo>
                <a:cubicBezTo>
                  <a:pt x="7203314" y="1999281"/>
                  <a:pt x="7205844" y="2001146"/>
                  <a:pt x="7211701" y="2001146"/>
                </a:cubicBezTo>
                <a:cubicBezTo>
                  <a:pt x="7213830" y="2001146"/>
                  <a:pt x="7215561" y="2000877"/>
                  <a:pt x="7217026" y="2000210"/>
                </a:cubicBezTo>
                <a:cubicBezTo>
                  <a:pt x="7218490" y="1999681"/>
                  <a:pt x="7219821" y="1998886"/>
                  <a:pt x="7220752" y="1997817"/>
                </a:cubicBezTo>
                <a:cubicBezTo>
                  <a:pt x="7221818" y="1996753"/>
                  <a:pt x="7222750" y="1995425"/>
                  <a:pt x="7223415" y="1993688"/>
                </a:cubicBezTo>
                <a:cubicBezTo>
                  <a:pt x="7224214" y="1992096"/>
                  <a:pt x="7224480" y="1990232"/>
                  <a:pt x="7224480" y="1988237"/>
                </a:cubicBezTo>
                <a:cubicBezTo>
                  <a:pt x="7224480" y="1986373"/>
                  <a:pt x="7224080" y="1984638"/>
                  <a:pt x="7223415" y="1983046"/>
                </a:cubicBezTo>
                <a:cubicBezTo>
                  <a:pt x="7222750" y="1981310"/>
                  <a:pt x="7221818" y="1979983"/>
                  <a:pt x="7220752" y="1978785"/>
                </a:cubicBezTo>
                <a:cubicBezTo>
                  <a:pt x="7219687" y="1977722"/>
                  <a:pt x="7218356" y="1976783"/>
                  <a:pt x="7216759" y="1976116"/>
                </a:cubicBezTo>
                <a:cubicBezTo>
                  <a:pt x="7215295" y="1975456"/>
                  <a:pt x="7213698" y="1975188"/>
                  <a:pt x="7211701" y="1975188"/>
                </a:cubicBezTo>
                <a:close/>
                <a:moveTo>
                  <a:pt x="6994056" y="1975188"/>
                </a:moveTo>
                <a:cubicBezTo>
                  <a:pt x="6988199" y="1975188"/>
                  <a:pt x="6985669" y="1977179"/>
                  <a:pt x="6984072" y="1978785"/>
                </a:cubicBezTo>
                <a:cubicBezTo>
                  <a:pt x="6981543" y="1981446"/>
                  <a:pt x="6980478" y="1984237"/>
                  <a:pt x="6980478" y="1988237"/>
                </a:cubicBezTo>
                <a:cubicBezTo>
                  <a:pt x="6980478" y="1992362"/>
                  <a:pt x="6981543" y="1995153"/>
                  <a:pt x="6984072" y="1997689"/>
                </a:cubicBezTo>
                <a:cubicBezTo>
                  <a:pt x="6985669" y="1999281"/>
                  <a:pt x="6988199" y="2001146"/>
                  <a:pt x="6994056" y="2001146"/>
                </a:cubicBezTo>
                <a:cubicBezTo>
                  <a:pt x="6996185" y="2001146"/>
                  <a:pt x="6997916" y="2000877"/>
                  <a:pt x="6999380" y="2000210"/>
                </a:cubicBezTo>
                <a:cubicBezTo>
                  <a:pt x="7000844" y="1999681"/>
                  <a:pt x="7002176" y="1998886"/>
                  <a:pt x="7003107" y="1997817"/>
                </a:cubicBezTo>
                <a:cubicBezTo>
                  <a:pt x="7004172" y="1996753"/>
                  <a:pt x="7005104" y="1995425"/>
                  <a:pt x="7005769" y="1993688"/>
                </a:cubicBezTo>
                <a:cubicBezTo>
                  <a:pt x="7006568" y="1992096"/>
                  <a:pt x="7006834" y="1990232"/>
                  <a:pt x="7006834" y="1988237"/>
                </a:cubicBezTo>
                <a:cubicBezTo>
                  <a:pt x="7006834" y="1986373"/>
                  <a:pt x="7006435" y="1984638"/>
                  <a:pt x="7005769" y="1983046"/>
                </a:cubicBezTo>
                <a:cubicBezTo>
                  <a:pt x="7005104" y="1981310"/>
                  <a:pt x="7004172" y="1979983"/>
                  <a:pt x="7003107" y="1978785"/>
                </a:cubicBezTo>
                <a:cubicBezTo>
                  <a:pt x="7002042" y="1977722"/>
                  <a:pt x="7000711" y="1976783"/>
                  <a:pt x="6999113" y="1976116"/>
                </a:cubicBezTo>
                <a:cubicBezTo>
                  <a:pt x="6997649" y="1975456"/>
                  <a:pt x="6996052" y="1975188"/>
                  <a:pt x="6994056" y="1975188"/>
                </a:cubicBezTo>
                <a:close/>
                <a:moveTo>
                  <a:pt x="6776544" y="1975188"/>
                </a:moveTo>
                <a:cubicBezTo>
                  <a:pt x="6770687" y="1975188"/>
                  <a:pt x="6768157" y="1977179"/>
                  <a:pt x="6766560" y="1978785"/>
                </a:cubicBezTo>
                <a:cubicBezTo>
                  <a:pt x="6764031" y="1981446"/>
                  <a:pt x="6762966" y="1984237"/>
                  <a:pt x="6762966" y="1988237"/>
                </a:cubicBezTo>
                <a:cubicBezTo>
                  <a:pt x="6762966" y="1992362"/>
                  <a:pt x="6764031" y="1995153"/>
                  <a:pt x="6766560" y="1997689"/>
                </a:cubicBezTo>
                <a:cubicBezTo>
                  <a:pt x="6768157" y="1999281"/>
                  <a:pt x="6770687" y="2001146"/>
                  <a:pt x="6776544" y="2001146"/>
                </a:cubicBezTo>
                <a:cubicBezTo>
                  <a:pt x="6778541" y="2001146"/>
                  <a:pt x="6780270" y="2000877"/>
                  <a:pt x="6781869" y="2000210"/>
                </a:cubicBezTo>
                <a:cubicBezTo>
                  <a:pt x="6783333" y="1999681"/>
                  <a:pt x="6784664" y="1998886"/>
                  <a:pt x="6785595" y="1997817"/>
                </a:cubicBezTo>
                <a:cubicBezTo>
                  <a:pt x="6786661" y="1996753"/>
                  <a:pt x="6787593" y="1995425"/>
                  <a:pt x="6788258" y="1993688"/>
                </a:cubicBezTo>
                <a:cubicBezTo>
                  <a:pt x="6789057" y="1992096"/>
                  <a:pt x="6789323" y="1990232"/>
                  <a:pt x="6789323" y="1988237"/>
                </a:cubicBezTo>
                <a:cubicBezTo>
                  <a:pt x="6789323" y="1986373"/>
                  <a:pt x="6788923" y="1984638"/>
                  <a:pt x="6788258" y="1983046"/>
                </a:cubicBezTo>
                <a:cubicBezTo>
                  <a:pt x="6787593" y="1981310"/>
                  <a:pt x="6786661" y="1979983"/>
                  <a:pt x="6785595" y="1978785"/>
                </a:cubicBezTo>
                <a:cubicBezTo>
                  <a:pt x="6784530" y="1977722"/>
                  <a:pt x="6783199" y="1976783"/>
                  <a:pt x="6781602" y="1976116"/>
                </a:cubicBezTo>
                <a:cubicBezTo>
                  <a:pt x="6780138" y="1975456"/>
                  <a:pt x="6778541" y="1975188"/>
                  <a:pt x="6776544" y="1975188"/>
                </a:cubicBezTo>
                <a:close/>
                <a:moveTo>
                  <a:pt x="6558899" y="1975188"/>
                </a:moveTo>
                <a:cubicBezTo>
                  <a:pt x="6553042" y="1975188"/>
                  <a:pt x="6550512" y="1977179"/>
                  <a:pt x="6548915" y="1978785"/>
                </a:cubicBezTo>
                <a:cubicBezTo>
                  <a:pt x="6546386" y="1981446"/>
                  <a:pt x="6545321" y="1984237"/>
                  <a:pt x="6545321" y="1988237"/>
                </a:cubicBezTo>
                <a:cubicBezTo>
                  <a:pt x="6545321" y="1992362"/>
                  <a:pt x="6546386" y="1995153"/>
                  <a:pt x="6548915" y="1997689"/>
                </a:cubicBezTo>
                <a:cubicBezTo>
                  <a:pt x="6550512" y="1999281"/>
                  <a:pt x="6553042" y="2001146"/>
                  <a:pt x="6558899" y="2001146"/>
                </a:cubicBezTo>
                <a:cubicBezTo>
                  <a:pt x="6560895" y="2001146"/>
                  <a:pt x="6562759" y="2000877"/>
                  <a:pt x="6564223" y="2000210"/>
                </a:cubicBezTo>
                <a:cubicBezTo>
                  <a:pt x="6565687" y="1999681"/>
                  <a:pt x="6567019" y="1998886"/>
                  <a:pt x="6567950" y="1997817"/>
                </a:cubicBezTo>
                <a:cubicBezTo>
                  <a:pt x="6569015" y="1996753"/>
                  <a:pt x="6569947" y="1995425"/>
                  <a:pt x="6570612" y="1993688"/>
                </a:cubicBezTo>
                <a:cubicBezTo>
                  <a:pt x="6571412" y="1992096"/>
                  <a:pt x="6571677" y="1990232"/>
                  <a:pt x="6571677" y="1988237"/>
                </a:cubicBezTo>
                <a:cubicBezTo>
                  <a:pt x="6571677" y="1986373"/>
                  <a:pt x="6571278" y="1984638"/>
                  <a:pt x="6570612" y="1983046"/>
                </a:cubicBezTo>
                <a:cubicBezTo>
                  <a:pt x="6569947" y="1981310"/>
                  <a:pt x="6569015" y="1979983"/>
                  <a:pt x="6567950" y="1978785"/>
                </a:cubicBezTo>
                <a:cubicBezTo>
                  <a:pt x="6566885" y="1977722"/>
                  <a:pt x="6565554" y="1976783"/>
                  <a:pt x="6563956" y="1976116"/>
                </a:cubicBezTo>
                <a:cubicBezTo>
                  <a:pt x="6562492" y="1975456"/>
                  <a:pt x="6560895" y="1975188"/>
                  <a:pt x="6558899" y="1975188"/>
                </a:cubicBezTo>
                <a:close/>
                <a:moveTo>
                  <a:pt x="6341253" y="1975188"/>
                </a:moveTo>
                <a:cubicBezTo>
                  <a:pt x="6335396" y="1975188"/>
                  <a:pt x="6332867" y="1977179"/>
                  <a:pt x="6331270" y="1978785"/>
                </a:cubicBezTo>
                <a:cubicBezTo>
                  <a:pt x="6328740" y="1981446"/>
                  <a:pt x="6327675" y="1984237"/>
                  <a:pt x="6327675" y="1988237"/>
                </a:cubicBezTo>
                <a:cubicBezTo>
                  <a:pt x="6327675" y="1992362"/>
                  <a:pt x="6328740" y="1995153"/>
                  <a:pt x="6331270" y="1997689"/>
                </a:cubicBezTo>
                <a:cubicBezTo>
                  <a:pt x="6332867" y="1999281"/>
                  <a:pt x="6335396" y="2001146"/>
                  <a:pt x="6341253" y="2001146"/>
                </a:cubicBezTo>
                <a:cubicBezTo>
                  <a:pt x="6343250" y="2001146"/>
                  <a:pt x="6345114" y="2000877"/>
                  <a:pt x="6346578" y="2000210"/>
                </a:cubicBezTo>
                <a:cubicBezTo>
                  <a:pt x="6348042" y="1999681"/>
                  <a:pt x="6349373" y="1998886"/>
                  <a:pt x="6350305" y="1997817"/>
                </a:cubicBezTo>
                <a:cubicBezTo>
                  <a:pt x="6351370" y="1996753"/>
                  <a:pt x="6352302" y="1995425"/>
                  <a:pt x="6352968" y="1993688"/>
                </a:cubicBezTo>
                <a:cubicBezTo>
                  <a:pt x="6353766" y="1992096"/>
                  <a:pt x="6354033" y="1990232"/>
                  <a:pt x="6354033" y="1988237"/>
                </a:cubicBezTo>
                <a:cubicBezTo>
                  <a:pt x="6354033" y="1986373"/>
                  <a:pt x="6353633" y="1984638"/>
                  <a:pt x="6352968" y="1983046"/>
                </a:cubicBezTo>
                <a:cubicBezTo>
                  <a:pt x="6352302" y="1981310"/>
                  <a:pt x="6351370" y="1979983"/>
                  <a:pt x="6350305" y="1978785"/>
                </a:cubicBezTo>
                <a:cubicBezTo>
                  <a:pt x="6349241" y="1977722"/>
                  <a:pt x="6347909" y="1976783"/>
                  <a:pt x="6346312" y="1976116"/>
                </a:cubicBezTo>
                <a:cubicBezTo>
                  <a:pt x="6344848" y="1975456"/>
                  <a:pt x="6343250" y="1975188"/>
                  <a:pt x="6341253" y="1975188"/>
                </a:cubicBezTo>
                <a:close/>
                <a:moveTo>
                  <a:pt x="6123608" y="1975188"/>
                </a:moveTo>
                <a:cubicBezTo>
                  <a:pt x="6117751" y="1975188"/>
                  <a:pt x="6115221" y="1977179"/>
                  <a:pt x="6113624" y="1978785"/>
                </a:cubicBezTo>
                <a:cubicBezTo>
                  <a:pt x="6111095" y="1981446"/>
                  <a:pt x="6110030" y="1984237"/>
                  <a:pt x="6110030" y="1988237"/>
                </a:cubicBezTo>
                <a:cubicBezTo>
                  <a:pt x="6110030" y="1992362"/>
                  <a:pt x="6111095" y="1995153"/>
                  <a:pt x="6113624" y="1997689"/>
                </a:cubicBezTo>
                <a:cubicBezTo>
                  <a:pt x="6115221" y="1999281"/>
                  <a:pt x="6117751" y="2001146"/>
                  <a:pt x="6123608" y="2001146"/>
                </a:cubicBezTo>
                <a:cubicBezTo>
                  <a:pt x="6125737" y="2001146"/>
                  <a:pt x="6127468" y="2000877"/>
                  <a:pt x="6128932" y="2000210"/>
                </a:cubicBezTo>
                <a:cubicBezTo>
                  <a:pt x="6130530" y="1999681"/>
                  <a:pt x="6131728" y="1998886"/>
                  <a:pt x="6132659" y="1997817"/>
                </a:cubicBezTo>
                <a:cubicBezTo>
                  <a:pt x="6133724" y="1996753"/>
                  <a:pt x="6134656" y="1995425"/>
                  <a:pt x="6135322" y="1993688"/>
                </a:cubicBezTo>
                <a:cubicBezTo>
                  <a:pt x="6135987" y="1992096"/>
                  <a:pt x="6136387" y="1990232"/>
                  <a:pt x="6136387" y="1988237"/>
                </a:cubicBezTo>
                <a:cubicBezTo>
                  <a:pt x="6136387" y="1986373"/>
                  <a:pt x="6135987" y="1984638"/>
                  <a:pt x="6135322" y="1983046"/>
                </a:cubicBezTo>
                <a:cubicBezTo>
                  <a:pt x="6134656" y="1981310"/>
                  <a:pt x="6133724" y="1979983"/>
                  <a:pt x="6132659" y="1978785"/>
                </a:cubicBezTo>
                <a:cubicBezTo>
                  <a:pt x="6131594" y="1977722"/>
                  <a:pt x="6130263" y="1976783"/>
                  <a:pt x="6128666" y="1976116"/>
                </a:cubicBezTo>
                <a:cubicBezTo>
                  <a:pt x="6127202" y="1975456"/>
                  <a:pt x="6125604" y="1975188"/>
                  <a:pt x="6123608" y="1975188"/>
                </a:cubicBezTo>
                <a:close/>
                <a:moveTo>
                  <a:pt x="5905963" y="1975188"/>
                </a:moveTo>
                <a:cubicBezTo>
                  <a:pt x="5900106" y="1975188"/>
                  <a:pt x="5897576" y="1977179"/>
                  <a:pt x="5895979" y="1978785"/>
                </a:cubicBezTo>
                <a:cubicBezTo>
                  <a:pt x="5893450" y="1981446"/>
                  <a:pt x="5892385" y="1984237"/>
                  <a:pt x="5892385" y="1988237"/>
                </a:cubicBezTo>
                <a:cubicBezTo>
                  <a:pt x="5892385" y="1992362"/>
                  <a:pt x="5893450" y="1995153"/>
                  <a:pt x="5895979" y="1997689"/>
                </a:cubicBezTo>
                <a:cubicBezTo>
                  <a:pt x="5897576" y="1999281"/>
                  <a:pt x="5900106" y="2001146"/>
                  <a:pt x="5905963" y="2001146"/>
                </a:cubicBezTo>
                <a:cubicBezTo>
                  <a:pt x="5908093" y="2001146"/>
                  <a:pt x="5909823" y="2000877"/>
                  <a:pt x="5911287" y="2000210"/>
                </a:cubicBezTo>
                <a:cubicBezTo>
                  <a:pt x="5912751" y="1999681"/>
                  <a:pt x="5914083" y="1998886"/>
                  <a:pt x="5915014" y="1997817"/>
                </a:cubicBezTo>
                <a:cubicBezTo>
                  <a:pt x="5916079" y="1996753"/>
                  <a:pt x="5917011" y="1995425"/>
                  <a:pt x="5917677" y="1993688"/>
                </a:cubicBezTo>
                <a:cubicBezTo>
                  <a:pt x="5918342" y="1992096"/>
                  <a:pt x="5918742" y="1990232"/>
                  <a:pt x="5918742" y="1988237"/>
                </a:cubicBezTo>
                <a:cubicBezTo>
                  <a:pt x="5918742" y="1986373"/>
                  <a:pt x="5918342" y="1984638"/>
                  <a:pt x="5917677" y="1983046"/>
                </a:cubicBezTo>
                <a:cubicBezTo>
                  <a:pt x="5917011" y="1981310"/>
                  <a:pt x="5916079" y="1979983"/>
                  <a:pt x="5915014" y="1978785"/>
                </a:cubicBezTo>
                <a:cubicBezTo>
                  <a:pt x="5913950" y="1977722"/>
                  <a:pt x="5912618" y="1976783"/>
                  <a:pt x="5911021" y="1976116"/>
                </a:cubicBezTo>
                <a:cubicBezTo>
                  <a:pt x="5909557" y="1975456"/>
                  <a:pt x="5907826" y="1975188"/>
                  <a:pt x="5905963" y="1975188"/>
                </a:cubicBezTo>
                <a:close/>
                <a:moveTo>
                  <a:pt x="5688451" y="1975188"/>
                </a:moveTo>
                <a:cubicBezTo>
                  <a:pt x="5682594" y="1975188"/>
                  <a:pt x="5680064" y="1977179"/>
                  <a:pt x="5678467" y="1978785"/>
                </a:cubicBezTo>
                <a:cubicBezTo>
                  <a:pt x="5675938" y="1981446"/>
                  <a:pt x="5674873" y="1984237"/>
                  <a:pt x="5674873" y="1988237"/>
                </a:cubicBezTo>
                <a:cubicBezTo>
                  <a:pt x="5674873" y="1992362"/>
                  <a:pt x="5675938" y="1995153"/>
                  <a:pt x="5678467" y="1997689"/>
                </a:cubicBezTo>
                <a:cubicBezTo>
                  <a:pt x="5680064" y="1999281"/>
                  <a:pt x="5682594" y="2001146"/>
                  <a:pt x="5688451" y="2001146"/>
                </a:cubicBezTo>
                <a:cubicBezTo>
                  <a:pt x="5690447" y="2001146"/>
                  <a:pt x="5692178" y="2000877"/>
                  <a:pt x="5693775" y="2000210"/>
                </a:cubicBezTo>
                <a:cubicBezTo>
                  <a:pt x="5695239" y="1999681"/>
                  <a:pt x="5696571" y="1998886"/>
                  <a:pt x="5697502" y="1997817"/>
                </a:cubicBezTo>
                <a:cubicBezTo>
                  <a:pt x="5698567" y="1996753"/>
                  <a:pt x="5699499" y="1995425"/>
                  <a:pt x="5700165" y="1993688"/>
                </a:cubicBezTo>
                <a:cubicBezTo>
                  <a:pt x="5700830" y="1992096"/>
                  <a:pt x="5701230" y="1990232"/>
                  <a:pt x="5701230" y="1988237"/>
                </a:cubicBezTo>
                <a:cubicBezTo>
                  <a:pt x="5701230" y="1986373"/>
                  <a:pt x="5700830" y="1984638"/>
                  <a:pt x="5700165" y="1983046"/>
                </a:cubicBezTo>
                <a:cubicBezTo>
                  <a:pt x="5699499" y="1981310"/>
                  <a:pt x="5698567" y="1979983"/>
                  <a:pt x="5697502" y="1978785"/>
                </a:cubicBezTo>
                <a:cubicBezTo>
                  <a:pt x="5696437" y="1977722"/>
                  <a:pt x="5695106" y="1976783"/>
                  <a:pt x="5693509" y="1976116"/>
                </a:cubicBezTo>
                <a:cubicBezTo>
                  <a:pt x="5692045" y="1975456"/>
                  <a:pt x="5690314" y="1975188"/>
                  <a:pt x="5688451" y="1975188"/>
                </a:cubicBezTo>
                <a:close/>
                <a:moveTo>
                  <a:pt x="5470806" y="1975188"/>
                </a:moveTo>
                <a:cubicBezTo>
                  <a:pt x="5464949" y="1975188"/>
                  <a:pt x="5462419" y="1977179"/>
                  <a:pt x="5460822" y="1978785"/>
                </a:cubicBezTo>
                <a:cubicBezTo>
                  <a:pt x="5458293" y="1981446"/>
                  <a:pt x="5457228" y="1984237"/>
                  <a:pt x="5457228" y="1988237"/>
                </a:cubicBezTo>
                <a:cubicBezTo>
                  <a:pt x="5457228" y="1992362"/>
                  <a:pt x="5458293" y="1995153"/>
                  <a:pt x="5460822" y="1997689"/>
                </a:cubicBezTo>
                <a:cubicBezTo>
                  <a:pt x="5462419" y="1999281"/>
                  <a:pt x="5464949" y="2001146"/>
                  <a:pt x="5470806" y="2001146"/>
                </a:cubicBezTo>
                <a:cubicBezTo>
                  <a:pt x="5472802" y="2001146"/>
                  <a:pt x="5474666" y="2000877"/>
                  <a:pt x="5476130" y="2000210"/>
                </a:cubicBezTo>
                <a:cubicBezTo>
                  <a:pt x="5477594" y="1999681"/>
                  <a:pt x="5478926" y="1998886"/>
                  <a:pt x="5479857" y="1997817"/>
                </a:cubicBezTo>
                <a:cubicBezTo>
                  <a:pt x="5480922" y="1996753"/>
                  <a:pt x="5481854" y="1995425"/>
                  <a:pt x="5482520" y="1993688"/>
                </a:cubicBezTo>
                <a:cubicBezTo>
                  <a:pt x="5483319" y="1992096"/>
                  <a:pt x="5483585" y="1990232"/>
                  <a:pt x="5483585" y="1988237"/>
                </a:cubicBezTo>
                <a:cubicBezTo>
                  <a:pt x="5483585" y="1986373"/>
                  <a:pt x="5483185" y="1984638"/>
                  <a:pt x="5482520" y="1983046"/>
                </a:cubicBezTo>
                <a:cubicBezTo>
                  <a:pt x="5481854" y="1981310"/>
                  <a:pt x="5480922" y="1979983"/>
                  <a:pt x="5479857" y="1978785"/>
                </a:cubicBezTo>
                <a:cubicBezTo>
                  <a:pt x="5478793" y="1977722"/>
                  <a:pt x="5477461" y="1976783"/>
                  <a:pt x="5475864" y="1976116"/>
                </a:cubicBezTo>
                <a:cubicBezTo>
                  <a:pt x="5474400" y="1975456"/>
                  <a:pt x="5472669" y="1975188"/>
                  <a:pt x="5470806" y="1975188"/>
                </a:cubicBezTo>
                <a:close/>
                <a:moveTo>
                  <a:pt x="5253160" y="1975188"/>
                </a:moveTo>
                <a:cubicBezTo>
                  <a:pt x="5247303" y="1975188"/>
                  <a:pt x="5244774" y="1977179"/>
                  <a:pt x="5243177" y="1978785"/>
                </a:cubicBezTo>
                <a:cubicBezTo>
                  <a:pt x="5240647" y="1981446"/>
                  <a:pt x="5239583" y="1984237"/>
                  <a:pt x="5239583" y="1988237"/>
                </a:cubicBezTo>
                <a:cubicBezTo>
                  <a:pt x="5239583" y="1992362"/>
                  <a:pt x="5240647" y="1995153"/>
                  <a:pt x="5243177" y="1997689"/>
                </a:cubicBezTo>
                <a:cubicBezTo>
                  <a:pt x="5244774" y="1999281"/>
                  <a:pt x="5247303" y="2001146"/>
                  <a:pt x="5253160" y="2001146"/>
                </a:cubicBezTo>
                <a:cubicBezTo>
                  <a:pt x="5255157" y="2001146"/>
                  <a:pt x="5257021" y="2000877"/>
                  <a:pt x="5258485" y="2000210"/>
                </a:cubicBezTo>
                <a:cubicBezTo>
                  <a:pt x="5259949" y="1999681"/>
                  <a:pt x="5261280" y="1998886"/>
                  <a:pt x="5262212" y="1997817"/>
                </a:cubicBezTo>
                <a:cubicBezTo>
                  <a:pt x="5263277" y="1996753"/>
                  <a:pt x="5264209" y="1995425"/>
                  <a:pt x="5264875" y="1993688"/>
                </a:cubicBezTo>
                <a:cubicBezTo>
                  <a:pt x="5265673" y="1992096"/>
                  <a:pt x="5265939" y="1990232"/>
                  <a:pt x="5265939" y="1988237"/>
                </a:cubicBezTo>
                <a:cubicBezTo>
                  <a:pt x="5265939" y="1986373"/>
                  <a:pt x="5265540" y="1984638"/>
                  <a:pt x="5264875" y="1983046"/>
                </a:cubicBezTo>
                <a:cubicBezTo>
                  <a:pt x="5264209" y="1981310"/>
                  <a:pt x="5263277" y="1979983"/>
                  <a:pt x="5262212" y="1978785"/>
                </a:cubicBezTo>
                <a:cubicBezTo>
                  <a:pt x="5261147" y="1977722"/>
                  <a:pt x="5259816" y="1976783"/>
                  <a:pt x="5258219" y="1976116"/>
                </a:cubicBezTo>
                <a:cubicBezTo>
                  <a:pt x="5256754" y="1975456"/>
                  <a:pt x="5255024" y="1975188"/>
                  <a:pt x="5253160" y="1975188"/>
                </a:cubicBezTo>
                <a:close/>
                <a:moveTo>
                  <a:pt x="5035515" y="1975188"/>
                </a:moveTo>
                <a:cubicBezTo>
                  <a:pt x="5029658" y="1975188"/>
                  <a:pt x="5027129" y="1977179"/>
                  <a:pt x="5025532" y="1978785"/>
                </a:cubicBezTo>
                <a:cubicBezTo>
                  <a:pt x="5023002" y="1981446"/>
                  <a:pt x="5021938" y="1984237"/>
                  <a:pt x="5021938" y="1988237"/>
                </a:cubicBezTo>
                <a:cubicBezTo>
                  <a:pt x="5021938" y="1992362"/>
                  <a:pt x="5023002" y="1995153"/>
                  <a:pt x="5025532" y="1997689"/>
                </a:cubicBezTo>
                <a:cubicBezTo>
                  <a:pt x="5027129" y="1999281"/>
                  <a:pt x="5029658" y="2001146"/>
                  <a:pt x="5035515" y="2001146"/>
                </a:cubicBezTo>
                <a:cubicBezTo>
                  <a:pt x="5037645" y="2001146"/>
                  <a:pt x="5039376" y="2000877"/>
                  <a:pt x="5040840" y="2000210"/>
                </a:cubicBezTo>
                <a:cubicBezTo>
                  <a:pt x="5042304" y="1999681"/>
                  <a:pt x="5043636" y="1998886"/>
                  <a:pt x="5044567" y="1997817"/>
                </a:cubicBezTo>
                <a:cubicBezTo>
                  <a:pt x="5045632" y="1996753"/>
                  <a:pt x="5046564" y="1995425"/>
                  <a:pt x="5047230" y="1993688"/>
                </a:cubicBezTo>
                <a:cubicBezTo>
                  <a:pt x="5048028" y="1992096"/>
                  <a:pt x="5048294" y="1990232"/>
                  <a:pt x="5048294" y="1988237"/>
                </a:cubicBezTo>
                <a:cubicBezTo>
                  <a:pt x="5048294" y="1986373"/>
                  <a:pt x="5047895" y="1984638"/>
                  <a:pt x="5047230" y="1983046"/>
                </a:cubicBezTo>
                <a:cubicBezTo>
                  <a:pt x="5046564" y="1981310"/>
                  <a:pt x="5045632" y="1979983"/>
                  <a:pt x="5044567" y="1978785"/>
                </a:cubicBezTo>
                <a:cubicBezTo>
                  <a:pt x="5043502" y="1977722"/>
                  <a:pt x="5042171" y="1976783"/>
                  <a:pt x="5040574" y="1976116"/>
                </a:cubicBezTo>
                <a:cubicBezTo>
                  <a:pt x="5039110" y="1975456"/>
                  <a:pt x="5037379" y="1975188"/>
                  <a:pt x="5035515" y="1975188"/>
                </a:cubicBezTo>
                <a:close/>
                <a:moveTo>
                  <a:pt x="4817870" y="1975188"/>
                </a:moveTo>
                <a:cubicBezTo>
                  <a:pt x="4812013" y="1975188"/>
                  <a:pt x="4809484" y="1977179"/>
                  <a:pt x="4807887" y="1978785"/>
                </a:cubicBezTo>
                <a:cubicBezTo>
                  <a:pt x="4805357" y="1981446"/>
                  <a:pt x="4804293" y="1984237"/>
                  <a:pt x="4804293" y="1988237"/>
                </a:cubicBezTo>
                <a:cubicBezTo>
                  <a:pt x="4804293" y="1992362"/>
                  <a:pt x="4805357" y="1995153"/>
                  <a:pt x="4807887" y="1997689"/>
                </a:cubicBezTo>
                <a:cubicBezTo>
                  <a:pt x="4809484" y="1999281"/>
                  <a:pt x="4812013" y="2001146"/>
                  <a:pt x="4817870" y="2001146"/>
                </a:cubicBezTo>
                <a:cubicBezTo>
                  <a:pt x="4820000" y="2001146"/>
                  <a:pt x="4821731" y="2000877"/>
                  <a:pt x="4823195" y="2000210"/>
                </a:cubicBezTo>
                <a:cubicBezTo>
                  <a:pt x="4824659" y="1999681"/>
                  <a:pt x="4825857" y="1998886"/>
                  <a:pt x="4826922" y="1997817"/>
                </a:cubicBezTo>
                <a:cubicBezTo>
                  <a:pt x="4827987" y="1996753"/>
                  <a:pt x="4828919" y="1995425"/>
                  <a:pt x="4829585" y="1993688"/>
                </a:cubicBezTo>
                <a:cubicBezTo>
                  <a:pt x="4830383" y="1992096"/>
                  <a:pt x="4830650" y="1990232"/>
                  <a:pt x="4830650" y="1988237"/>
                </a:cubicBezTo>
                <a:cubicBezTo>
                  <a:pt x="4830650" y="1986373"/>
                  <a:pt x="4830250" y="1984638"/>
                  <a:pt x="4829585" y="1983046"/>
                </a:cubicBezTo>
                <a:cubicBezTo>
                  <a:pt x="4828919" y="1981310"/>
                  <a:pt x="4827987" y="1979983"/>
                  <a:pt x="4826922" y="1978785"/>
                </a:cubicBezTo>
                <a:cubicBezTo>
                  <a:pt x="4825857" y="1977722"/>
                  <a:pt x="4824526" y="1976783"/>
                  <a:pt x="4822929" y="1976116"/>
                </a:cubicBezTo>
                <a:cubicBezTo>
                  <a:pt x="4821465" y="1975456"/>
                  <a:pt x="4819734" y="1975188"/>
                  <a:pt x="4817870" y="1975188"/>
                </a:cubicBezTo>
                <a:close/>
                <a:moveTo>
                  <a:pt x="4600226" y="1975188"/>
                </a:moveTo>
                <a:cubicBezTo>
                  <a:pt x="4594369" y="1975188"/>
                  <a:pt x="4591839" y="1977179"/>
                  <a:pt x="4590242" y="1978785"/>
                </a:cubicBezTo>
                <a:cubicBezTo>
                  <a:pt x="4587713" y="1981446"/>
                  <a:pt x="4586648" y="1984237"/>
                  <a:pt x="4586648" y="1988237"/>
                </a:cubicBezTo>
                <a:cubicBezTo>
                  <a:pt x="4586648" y="1992362"/>
                  <a:pt x="4587713" y="1995153"/>
                  <a:pt x="4590242" y="1997689"/>
                </a:cubicBezTo>
                <a:cubicBezTo>
                  <a:pt x="4591839" y="1999281"/>
                  <a:pt x="4594369" y="2001146"/>
                  <a:pt x="4600226" y="2001146"/>
                </a:cubicBezTo>
                <a:cubicBezTo>
                  <a:pt x="4602355" y="2001146"/>
                  <a:pt x="4604086" y="2000877"/>
                  <a:pt x="4605550" y="2000210"/>
                </a:cubicBezTo>
                <a:cubicBezTo>
                  <a:pt x="4607148" y="1999681"/>
                  <a:pt x="4608346" y="1998886"/>
                  <a:pt x="4609277" y="1997817"/>
                </a:cubicBezTo>
                <a:cubicBezTo>
                  <a:pt x="4610342" y="1996753"/>
                  <a:pt x="4611274" y="1995425"/>
                  <a:pt x="4611940" y="1993688"/>
                </a:cubicBezTo>
                <a:cubicBezTo>
                  <a:pt x="4612605" y="1992096"/>
                  <a:pt x="4613005" y="1990232"/>
                  <a:pt x="4613005" y="1988237"/>
                </a:cubicBezTo>
                <a:cubicBezTo>
                  <a:pt x="4613005" y="1986373"/>
                  <a:pt x="4612605" y="1984638"/>
                  <a:pt x="4611940" y="1983046"/>
                </a:cubicBezTo>
                <a:cubicBezTo>
                  <a:pt x="4611274" y="1981310"/>
                  <a:pt x="4610342" y="1979983"/>
                  <a:pt x="4609277" y="1978785"/>
                </a:cubicBezTo>
                <a:cubicBezTo>
                  <a:pt x="4608212" y="1977722"/>
                  <a:pt x="4606881" y="1976783"/>
                  <a:pt x="4605284" y="1976116"/>
                </a:cubicBezTo>
                <a:cubicBezTo>
                  <a:pt x="4603820" y="1975456"/>
                  <a:pt x="4602222" y="1975188"/>
                  <a:pt x="4600226" y="1975188"/>
                </a:cubicBezTo>
                <a:close/>
                <a:moveTo>
                  <a:pt x="4382713" y="1975188"/>
                </a:moveTo>
                <a:cubicBezTo>
                  <a:pt x="4376857" y="1975188"/>
                  <a:pt x="4374327" y="1977179"/>
                  <a:pt x="4372730" y="1978785"/>
                </a:cubicBezTo>
                <a:cubicBezTo>
                  <a:pt x="4370201" y="1981446"/>
                  <a:pt x="4369136" y="1984237"/>
                  <a:pt x="4369136" y="1988237"/>
                </a:cubicBezTo>
                <a:cubicBezTo>
                  <a:pt x="4369136" y="1992362"/>
                  <a:pt x="4370201" y="1995153"/>
                  <a:pt x="4372730" y="1997689"/>
                </a:cubicBezTo>
                <a:cubicBezTo>
                  <a:pt x="4374327" y="1999281"/>
                  <a:pt x="4376857" y="2001146"/>
                  <a:pt x="4382713" y="2001146"/>
                </a:cubicBezTo>
                <a:cubicBezTo>
                  <a:pt x="4384710" y="2001146"/>
                  <a:pt x="4386441" y="2000877"/>
                  <a:pt x="4388038" y="2000210"/>
                </a:cubicBezTo>
                <a:cubicBezTo>
                  <a:pt x="4389502" y="1999681"/>
                  <a:pt x="4390834" y="1998886"/>
                  <a:pt x="4391765" y="1997817"/>
                </a:cubicBezTo>
                <a:cubicBezTo>
                  <a:pt x="4392830" y="1996753"/>
                  <a:pt x="4393762" y="1995425"/>
                  <a:pt x="4394428" y="1993688"/>
                </a:cubicBezTo>
                <a:cubicBezTo>
                  <a:pt x="4395093" y="1992096"/>
                  <a:pt x="4395493" y="1990232"/>
                  <a:pt x="4395493" y="1988237"/>
                </a:cubicBezTo>
                <a:cubicBezTo>
                  <a:pt x="4395493" y="1986373"/>
                  <a:pt x="4395093" y="1984638"/>
                  <a:pt x="4394428" y="1983046"/>
                </a:cubicBezTo>
                <a:cubicBezTo>
                  <a:pt x="4393762" y="1981310"/>
                  <a:pt x="4392830" y="1979983"/>
                  <a:pt x="4391765" y="1978785"/>
                </a:cubicBezTo>
                <a:cubicBezTo>
                  <a:pt x="4390700" y="1977722"/>
                  <a:pt x="4389369" y="1976783"/>
                  <a:pt x="4387772" y="1976116"/>
                </a:cubicBezTo>
                <a:cubicBezTo>
                  <a:pt x="4386308" y="1975456"/>
                  <a:pt x="4384710" y="1975188"/>
                  <a:pt x="4382713" y="1975188"/>
                </a:cubicBezTo>
                <a:close/>
                <a:moveTo>
                  <a:pt x="4165068" y="1975188"/>
                </a:moveTo>
                <a:cubicBezTo>
                  <a:pt x="4159211" y="1975188"/>
                  <a:pt x="4156681" y="1977179"/>
                  <a:pt x="4155084" y="1978785"/>
                </a:cubicBezTo>
                <a:cubicBezTo>
                  <a:pt x="4152555" y="1981446"/>
                  <a:pt x="4151490" y="1984237"/>
                  <a:pt x="4151490" y="1988237"/>
                </a:cubicBezTo>
                <a:cubicBezTo>
                  <a:pt x="4151490" y="1992362"/>
                  <a:pt x="4152555" y="1995153"/>
                  <a:pt x="4155084" y="1997689"/>
                </a:cubicBezTo>
                <a:cubicBezTo>
                  <a:pt x="4156681" y="1999281"/>
                  <a:pt x="4159211" y="2001146"/>
                  <a:pt x="4165068" y="2001146"/>
                </a:cubicBezTo>
                <a:cubicBezTo>
                  <a:pt x="4167064" y="2001146"/>
                  <a:pt x="4168928" y="2000877"/>
                  <a:pt x="4170392" y="2000210"/>
                </a:cubicBezTo>
                <a:cubicBezTo>
                  <a:pt x="4171856" y="1999681"/>
                  <a:pt x="4173188" y="1998886"/>
                  <a:pt x="4174119" y="1997817"/>
                </a:cubicBezTo>
                <a:cubicBezTo>
                  <a:pt x="4175184" y="1996753"/>
                  <a:pt x="4176116" y="1995425"/>
                  <a:pt x="4176782" y="1993688"/>
                </a:cubicBezTo>
                <a:cubicBezTo>
                  <a:pt x="4177447" y="1992096"/>
                  <a:pt x="4177847" y="1990232"/>
                  <a:pt x="4177847" y="1988237"/>
                </a:cubicBezTo>
                <a:cubicBezTo>
                  <a:pt x="4177847" y="1986373"/>
                  <a:pt x="4177447" y="1984638"/>
                  <a:pt x="4176782" y="1983046"/>
                </a:cubicBezTo>
                <a:cubicBezTo>
                  <a:pt x="4176116" y="1981310"/>
                  <a:pt x="4175184" y="1979983"/>
                  <a:pt x="4174119" y="1978785"/>
                </a:cubicBezTo>
                <a:cubicBezTo>
                  <a:pt x="4173054" y="1977722"/>
                  <a:pt x="4171723" y="1976783"/>
                  <a:pt x="4170126" y="1976116"/>
                </a:cubicBezTo>
                <a:cubicBezTo>
                  <a:pt x="4168662" y="1975456"/>
                  <a:pt x="4167064" y="1975188"/>
                  <a:pt x="4165068" y="1975188"/>
                </a:cubicBezTo>
                <a:close/>
                <a:moveTo>
                  <a:pt x="3947535" y="1975188"/>
                </a:moveTo>
                <a:cubicBezTo>
                  <a:pt x="3941678" y="1975188"/>
                  <a:pt x="3939149" y="1977179"/>
                  <a:pt x="3937552" y="1978785"/>
                </a:cubicBezTo>
                <a:cubicBezTo>
                  <a:pt x="3935021" y="1981446"/>
                  <a:pt x="3933958" y="1984237"/>
                  <a:pt x="3933958" y="1988237"/>
                </a:cubicBezTo>
                <a:cubicBezTo>
                  <a:pt x="3933958" y="1992362"/>
                  <a:pt x="3935021" y="1995153"/>
                  <a:pt x="3937552" y="1997689"/>
                </a:cubicBezTo>
                <a:cubicBezTo>
                  <a:pt x="3939149" y="1999281"/>
                  <a:pt x="3941678" y="2001146"/>
                  <a:pt x="3947535" y="2001146"/>
                </a:cubicBezTo>
                <a:cubicBezTo>
                  <a:pt x="3949533" y="2001146"/>
                  <a:pt x="3951395" y="2000877"/>
                  <a:pt x="3952861" y="2000210"/>
                </a:cubicBezTo>
                <a:cubicBezTo>
                  <a:pt x="3954325" y="1999681"/>
                  <a:pt x="3955655" y="1998886"/>
                  <a:pt x="3956588" y="1997817"/>
                </a:cubicBezTo>
                <a:cubicBezTo>
                  <a:pt x="3957653" y="1996753"/>
                  <a:pt x="3958585" y="1995425"/>
                  <a:pt x="3959250" y="1993688"/>
                </a:cubicBezTo>
                <a:cubicBezTo>
                  <a:pt x="3959916" y="1992096"/>
                  <a:pt x="3960316" y="1990232"/>
                  <a:pt x="3960316" y="1988237"/>
                </a:cubicBezTo>
                <a:cubicBezTo>
                  <a:pt x="3960316" y="1986373"/>
                  <a:pt x="3959916" y="1984638"/>
                  <a:pt x="3959250" y="1983046"/>
                </a:cubicBezTo>
                <a:cubicBezTo>
                  <a:pt x="3958585" y="1981310"/>
                  <a:pt x="3957653" y="1979983"/>
                  <a:pt x="3956588" y="1978785"/>
                </a:cubicBezTo>
                <a:cubicBezTo>
                  <a:pt x="3955522" y="1977722"/>
                  <a:pt x="3954192" y="1976783"/>
                  <a:pt x="3952594" y="1976116"/>
                </a:cubicBezTo>
                <a:cubicBezTo>
                  <a:pt x="3951129" y="1975456"/>
                  <a:pt x="3949533" y="1975188"/>
                  <a:pt x="3947535" y="1975188"/>
                </a:cubicBezTo>
                <a:close/>
                <a:moveTo>
                  <a:pt x="3729884" y="1975188"/>
                </a:moveTo>
                <a:cubicBezTo>
                  <a:pt x="3724027" y="1975188"/>
                  <a:pt x="3721498" y="1977179"/>
                  <a:pt x="3719898" y="1978785"/>
                </a:cubicBezTo>
                <a:cubicBezTo>
                  <a:pt x="3717369" y="1981446"/>
                  <a:pt x="3716306" y="1984237"/>
                  <a:pt x="3716306" y="1988237"/>
                </a:cubicBezTo>
                <a:cubicBezTo>
                  <a:pt x="3716306" y="1992362"/>
                  <a:pt x="3717369" y="1995153"/>
                  <a:pt x="3719898" y="1997689"/>
                </a:cubicBezTo>
                <a:cubicBezTo>
                  <a:pt x="3721498" y="1999281"/>
                  <a:pt x="3724027" y="2001146"/>
                  <a:pt x="3729884" y="2001146"/>
                </a:cubicBezTo>
                <a:cubicBezTo>
                  <a:pt x="3732014" y="2001146"/>
                  <a:pt x="3733745" y="2000877"/>
                  <a:pt x="3735209" y="2000210"/>
                </a:cubicBezTo>
                <a:cubicBezTo>
                  <a:pt x="3736673" y="1999681"/>
                  <a:pt x="3738006" y="1998886"/>
                  <a:pt x="3738936" y="1997817"/>
                </a:cubicBezTo>
                <a:cubicBezTo>
                  <a:pt x="3740001" y="1996753"/>
                  <a:pt x="3740934" y="1995425"/>
                  <a:pt x="3741599" y="1993688"/>
                </a:cubicBezTo>
                <a:cubicBezTo>
                  <a:pt x="3742264" y="1992096"/>
                  <a:pt x="3742664" y="1990232"/>
                  <a:pt x="3742664" y="1988237"/>
                </a:cubicBezTo>
                <a:cubicBezTo>
                  <a:pt x="3742664" y="1986373"/>
                  <a:pt x="3742264" y="1984638"/>
                  <a:pt x="3741599" y="1983046"/>
                </a:cubicBezTo>
                <a:cubicBezTo>
                  <a:pt x="3740934" y="1981310"/>
                  <a:pt x="3740001" y="1979983"/>
                  <a:pt x="3738936" y="1978785"/>
                </a:cubicBezTo>
                <a:cubicBezTo>
                  <a:pt x="3737872" y="1977722"/>
                  <a:pt x="3736541" y="1976783"/>
                  <a:pt x="3734944" y="1976116"/>
                </a:cubicBezTo>
                <a:cubicBezTo>
                  <a:pt x="3733479" y="1975456"/>
                  <a:pt x="3731881" y="1975188"/>
                  <a:pt x="3729884" y="1975188"/>
                </a:cubicBezTo>
                <a:close/>
                <a:moveTo>
                  <a:pt x="3512233" y="1975188"/>
                </a:moveTo>
                <a:cubicBezTo>
                  <a:pt x="3506376" y="1975188"/>
                  <a:pt x="3503847" y="1977179"/>
                  <a:pt x="3502248" y="1978785"/>
                </a:cubicBezTo>
                <a:cubicBezTo>
                  <a:pt x="3499718" y="1981446"/>
                  <a:pt x="3498655" y="1984237"/>
                  <a:pt x="3498655" y="1988237"/>
                </a:cubicBezTo>
                <a:cubicBezTo>
                  <a:pt x="3498655" y="1992362"/>
                  <a:pt x="3499718" y="1995153"/>
                  <a:pt x="3502248" y="1997689"/>
                </a:cubicBezTo>
                <a:cubicBezTo>
                  <a:pt x="3503847" y="1999281"/>
                  <a:pt x="3506376" y="2001146"/>
                  <a:pt x="3512233" y="2001146"/>
                </a:cubicBezTo>
                <a:cubicBezTo>
                  <a:pt x="3514363" y="2001146"/>
                  <a:pt x="3516094" y="2000877"/>
                  <a:pt x="3517559" y="2000210"/>
                </a:cubicBezTo>
                <a:cubicBezTo>
                  <a:pt x="3519023" y="1999681"/>
                  <a:pt x="3520355" y="1998886"/>
                  <a:pt x="3521286" y="1997817"/>
                </a:cubicBezTo>
                <a:cubicBezTo>
                  <a:pt x="3522351" y="1996753"/>
                  <a:pt x="3523283" y="1995425"/>
                  <a:pt x="3523949" y="1993688"/>
                </a:cubicBezTo>
                <a:cubicBezTo>
                  <a:pt x="3524614" y="1992096"/>
                  <a:pt x="3525014" y="1990232"/>
                  <a:pt x="3525014" y="1988237"/>
                </a:cubicBezTo>
                <a:cubicBezTo>
                  <a:pt x="3525014" y="1986373"/>
                  <a:pt x="3524614" y="1984638"/>
                  <a:pt x="3523949" y="1983046"/>
                </a:cubicBezTo>
                <a:cubicBezTo>
                  <a:pt x="3523283" y="1981310"/>
                  <a:pt x="3522351" y="1979983"/>
                  <a:pt x="3521286" y="1978785"/>
                </a:cubicBezTo>
                <a:cubicBezTo>
                  <a:pt x="3520221" y="1977722"/>
                  <a:pt x="3518890" y="1976783"/>
                  <a:pt x="3517293" y="1976116"/>
                </a:cubicBezTo>
                <a:cubicBezTo>
                  <a:pt x="3515829" y="1975456"/>
                  <a:pt x="3514230" y="1975188"/>
                  <a:pt x="3512233" y="1975188"/>
                </a:cubicBezTo>
                <a:close/>
                <a:moveTo>
                  <a:pt x="3294716" y="1975188"/>
                </a:moveTo>
                <a:cubicBezTo>
                  <a:pt x="3288859" y="1975188"/>
                  <a:pt x="3286329" y="1977179"/>
                  <a:pt x="3284731" y="1978785"/>
                </a:cubicBezTo>
                <a:cubicBezTo>
                  <a:pt x="3282201" y="1981446"/>
                  <a:pt x="3281137" y="1984237"/>
                  <a:pt x="3281137" y="1988237"/>
                </a:cubicBezTo>
                <a:cubicBezTo>
                  <a:pt x="3281137" y="1992362"/>
                  <a:pt x="3282201" y="1995153"/>
                  <a:pt x="3284731" y="1997689"/>
                </a:cubicBezTo>
                <a:cubicBezTo>
                  <a:pt x="3286329" y="1999281"/>
                  <a:pt x="3288859" y="2001146"/>
                  <a:pt x="3294716" y="2001146"/>
                </a:cubicBezTo>
                <a:cubicBezTo>
                  <a:pt x="3296713" y="2001146"/>
                  <a:pt x="3298443" y="2000877"/>
                  <a:pt x="3300041" y="2000210"/>
                </a:cubicBezTo>
                <a:cubicBezTo>
                  <a:pt x="3301505" y="1999681"/>
                  <a:pt x="3302837" y="1998886"/>
                  <a:pt x="3303768" y="1997817"/>
                </a:cubicBezTo>
                <a:cubicBezTo>
                  <a:pt x="3304833" y="1996753"/>
                  <a:pt x="3305765" y="1995425"/>
                  <a:pt x="3306431" y="1993688"/>
                </a:cubicBezTo>
                <a:cubicBezTo>
                  <a:pt x="3307096" y="1992096"/>
                  <a:pt x="3307495" y="1990232"/>
                  <a:pt x="3307495" y="1988237"/>
                </a:cubicBezTo>
                <a:cubicBezTo>
                  <a:pt x="3307495" y="1986373"/>
                  <a:pt x="3307096" y="1984638"/>
                  <a:pt x="3306431" y="1983046"/>
                </a:cubicBezTo>
                <a:cubicBezTo>
                  <a:pt x="3305765" y="1981310"/>
                  <a:pt x="3304833" y="1979983"/>
                  <a:pt x="3303768" y="1978785"/>
                </a:cubicBezTo>
                <a:cubicBezTo>
                  <a:pt x="3302703" y="1977722"/>
                  <a:pt x="3301372" y="1976783"/>
                  <a:pt x="3299775" y="1976116"/>
                </a:cubicBezTo>
                <a:cubicBezTo>
                  <a:pt x="3298311" y="1975456"/>
                  <a:pt x="3296713" y="1975188"/>
                  <a:pt x="3294716" y="1975188"/>
                </a:cubicBezTo>
                <a:close/>
                <a:moveTo>
                  <a:pt x="3077198" y="1975188"/>
                </a:moveTo>
                <a:cubicBezTo>
                  <a:pt x="3071340" y="1975188"/>
                  <a:pt x="3068811" y="1977179"/>
                  <a:pt x="3067215" y="1978785"/>
                </a:cubicBezTo>
                <a:cubicBezTo>
                  <a:pt x="3064551" y="1981446"/>
                  <a:pt x="3063486" y="1984237"/>
                  <a:pt x="3063486" y="1988237"/>
                </a:cubicBezTo>
                <a:cubicBezTo>
                  <a:pt x="3063486" y="1992362"/>
                  <a:pt x="3064551" y="1995153"/>
                  <a:pt x="3067080" y="1997689"/>
                </a:cubicBezTo>
                <a:cubicBezTo>
                  <a:pt x="3068678" y="1999281"/>
                  <a:pt x="3071207" y="2001146"/>
                  <a:pt x="3077065" y="2001146"/>
                </a:cubicBezTo>
                <a:cubicBezTo>
                  <a:pt x="3079062" y="2001146"/>
                  <a:pt x="3080792" y="2000877"/>
                  <a:pt x="3082523" y="2000210"/>
                </a:cubicBezTo>
                <a:cubicBezTo>
                  <a:pt x="3083988" y="1999681"/>
                  <a:pt x="3085319" y="1998886"/>
                  <a:pt x="3086250" y="1997817"/>
                </a:cubicBezTo>
                <a:cubicBezTo>
                  <a:pt x="3087315" y="1996753"/>
                  <a:pt x="3088247" y="1995425"/>
                  <a:pt x="3088913" y="1993688"/>
                </a:cubicBezTo>
                <a:cubicBezTo>
                  <a:pt x="3089578" y="1992096"/>
                  <a:pt x="3089845" y="1990232"/>
                  <a:pt x="3089845" y="1988237"/>
                </a:cubicBezTo>
                <a:cubicBezTo>
                  <a:pt x="3089845" y="1986373"/>
                  <a:pt x="3089578" y="1984638"/>
                  <a:pt x="3088913" y="1983046"/>
                </a:cubicBezTo>
                <a:cubicBezTo>
                  <a:pt x="3088247" y="1981310"/>
                  <a:pt x="3087315" y="1979983"/>
                  <a:pt x="3086250" y="1978785"/>
                </a:cubicBezTo>
                <a:cubicBezTo>
                  <a:pt x="3085186" y="1977722"/>
                  <a:pt x="3083854" y="1976783"/>
                  <a:pt x="3082257" y="1976116"/>
                </a:cubicBezTo>
                <a:cubicBezTo>
                  <a:pt x="3080792" y="1975456"/>
                  <a:pt x="3079195" y="1975188"/>
                  <a:pt x="3077198" y="1975188"/>
                </a:cubicBezTo>
                <a:close/>
                <a:moveTo>
                  <a:pt x="2859414" y="1975188"/>
                </a:moveTo>
                <a:cubicBezTo>
                  <a:pt x="2853557" y="1975188"/>
                  <a:pt x="2851028" y="1977179"/>
                  <a:pt x="2849430" y="1978785"/>
                </a:cubicBezTo>
                <a:cubicBezTo>
                  <a:pt x="2846898" y="1981446"/>
                  <a:pt x="2845835" y="1984237"/>
                  <a:pt x="2845835" y="1988237"/>
                </a:cubicBezTo>
                <a:cubicBezTo>
                  <a:pt x="2845835" y="1992362"/>
                  <a:pt x="2846898" y="1995153"/>
                  <a:pt x="2849430" y="1997689"/>
                </a:cubicBezTo>
                <a:cubicBezTo>
                  <a:pt x="2851028" y="1999281"/>
                  <a:pt x="2853557" y="2001146"/>
                  <a:pt x="2859414" y="2001146"/>
                </a:cubicBezTo>
                <a:cubicBezTo>
                  <a:pt x="2861411" y="2001146"/>
                  <a:pt x="2863275" y="2000877"/>
                  <a:pt x="2864739" y="2000210"/>
                </a:cubicBezTo>
                <a:cubicBezTo>
                  <a:pt x="2866337" y="1999681"/>
                  <a:pt x="2867536" y="1998886"/>
                  <a:pt x="2868466" y="1997817"/>
                </a:cubicBezTo>
                <a:cubicBezTo>
                  <a:pt x="2869531" y="1996753"/>
                  <a:pt x="2870464" y="1995425"/>
                  <a:pt x="2871129" y="1993688"/>
                </a:cubicBezTo>
                <a:cubicBezTo>
                  <a:pt x="2871661" y="1992096"/>
                  <a:pt x="2872060" y="1990232"/>
                  <a:pt x="2872060" y="1988237"/>
                </a:cubicBezTo>
                <a:cubicBezTo>
                  <a:pt x="2872060" y="1986373"/>
                  <a:pt x="2871794" y="1984638"/>
                  <a:pt x="2871129" y="1983046"/>
                </a:cubicBezTo>
                <a:cubicBezTo>
                  <a:pt x="2870464" y="1981310"/>
                  <a:pt x="2869531" y="1979983"/>
                  <a:pt x="2868466" y="1978785"/>
                </a:cubicBezTo>
                <a:cubicBezTo>
                  <a:pt x="2867402" y="1977722"/>
                  <a:pt x="2866070" y="1976783"/>
                  <a:pt x="2864474" y="1976116"/>
                </a:cubicBezTo>
                <a:cubicBezTo>
                  <a:pt x="2863010" y="1975456"/>
                  <a:pt x="2861411" y="1975188"/>
                  <a:pt x="2859414" y="1975188"/>
                </a:cubicBezTo>
                <a:close/>
                <a:moveTo>
                  <a:pt x="2641763" y="1975188"/>
                </a:moveTo>
                <a:cubicBezTo>
                  <a:pt x="2635906" y="1975188"/>
                  <a:pt x="2633377" y="1977179"/>
                  <a:pt x="2631780" y="1978785"/>
                </a:cubicBezTo>
                <a:cubicBezTo>
                  <a:pt x="2629250" y="1981446"/>
                  <a:pt x="2628186" y="1984237"/>
                  <a:pt x="2628186" y="1988237"/>
                </a:cubicBezTo>
                <a:cubicBezTo>
                  <a:pt x="2628186" y="1992362"/>
                  <a:pt x="2629250" y="1995153"/>
                  <a:pt x="2631780" y="1997689"/>
                </a:cubicBezTo>
                <a:cubicBezTo>
                  <a:pt x="2633377" y="1999281"/>
                  <a:pt x="2635906" y="2001146"/>
                  <a:pt x="2641763" y="2001146"/>
                </a:cubicBezTo>
                <a:cubicBezTo>
                  <a:pt x="2643760" y="2001146"/>
                  <a:pt x="2645625" y="2000877"/>
                  <a:pt x="2647089" y="2000210"/>
                </a:cubicBezTo>
                <a:cubicBezTo>
                  <a:pt x="2648685" y="1999681"/>
                  <a:pt x="2649883" y="1998886"/>
                  <a:pt x="2650816" y="1997817"/>
                </a:cubicBezTo>
                <a:cubicBezTo>
                  <a:pt x="2651881" y="1996753"/>
                  <a:pt x="2652812" y="1995425"/>
                  <a:pt x="2653479" y="1993688"/>
                </a:cubicBezTo>
                <a:cubicBezTo>
                  <a:pt x="2654010" y="1992096"/>
                  <a:pt x="2654409" y="1990232"/>
                  <a:pt x="2654409" y="1988237"/>
                </a:cubicBezTo>
                <a:cubicBezTo>
                  <a:pt x="2654409" y="1986373"/>
                  <a:pt x="2654144" y="1984638"/>
                  <a:pt x="2653479" y="1983046"/>
                </a:cubicBezTo>
                <a:cubicBezTo>
                  <a:pt x="2652812" y="1981310"/>
                  <a:pt x="2651881" y="1979983"/>
                  <a:pt x="2650816" y="1978785"/>
                </a:cubicBezTo>
                <a:cubicBezTo>
                  <a:pt x="2649751" y="1977722"/>
                  <a:pt x="2648419" y="1976783"/>
                  <a:pt x="2646823" y="1976116"/>
                </a:cubicBezTo>
                <a:cubicBezTo>
                  <a:pt x="2645357" y="1975456"/>
                  <a:pt x="2643760" y="1975188"/>
                  <a:pt x="2641763" y="1975188"/>
                </a:cubicBezTo>
                <a:close/>
                <a:moveTo>
                  <a:pt x="2424112" y="1975188"/>
                </a:moveTo>
                <a:cubicBezTo>
                  <a:pt x="2418256" y="1975188"/>
                  <a:pt x="2415726" y="1977179"/>
                  <a:pt x="2414129" y="1978785"/>
                </a:cubicBezTo>
                <a:cubicBezTo>
                  <a:pt x="2411599" y="1981446"/>
                  <a:pt x="2410535" y="1984237"/>
                  <a:pt x="2410535" y="1988237"/>
                </a:cubicBezTo>
                <a:cubicBezTo>
                  <a:pt x="2410535" y="1992362"/>
                  <a:pt x="2411599" y="1995153"/>
                  <a:pt x="2414129" y="1997689"/>
                </a:cubicBezTo>
                <a:cubicBezTo>
                  <a:pt x="2415726" y="1999281"/>
                  <a:pt x="2418256" y="2001146"/>
                  <a:pt x="2424112" y="2001146"/>
                </a:cubicBezTo>
                <a:cubicBezTo>
                  <a:pt x="2426242" y="2001146"/>
                  <a:pt x="2427974" y="2000877"/>
                  <a:pt x="2429438" y="2000210"/>
                </a:cubicBezTo>
                <a:cubicBezTo>
                  <a:pt x="2431036" y="1999681"/>
                  <a:pt x="2432233" y="1998886"/>
                  <a:pt x="2433165" y="1997817"/>
                </a:cubicBezTo>
                <a:cubicBezTo>
                  <a:pt x="2434230" y="1996753"/>
                  <a:pt x="2435161" y="1995425"/>
                  <a:pt x="2435828" y="1993688"/>
                </a:cubicBezTo>
                <a:cubicBezTo>
                  <a:pt x="2436359" y="1992096"/>
                  <a:pt x="2436759" y="1990232"/>
                  <a:pt x="2436759" y="1988237"/>
                </a:cubicBezTo>
                <a:cubicBezTo>
                  <a:pt x="2436759" y="1986373"/>
                  <a:pt x="2436493" y="1984638"/>
                  <a:pt x="2435828" y="1983046"/>
                </a:cubicBezTo>
                <a:cubicBezTo>
                  <a:pt x="2435161" y="1981310"/>
                  <a:pt x="2434230" y="1979983"/>
                  <a:pt x="2433165" y="1978785"/>
                </a:cubicBezTo>
                <a:cubicBezTo>
                  <a:pt x="2432101" y="1977722"/>
                  <a:pt x="2430769" y="1976783"/>
                  <a:pt x="2429172" y="1976116"/>
                </a:cubicBezTo>
                <a:cubicBezTo>
                  <a:pt x="2427708" y="1975456"/>
                  <a:pt x="2426110" y="1975188"/>
                  <a:pt x="2424112" y="1975188"/>
                </a:cubicBezTo>
                <a:close/>
                <a:moveTo>
                  <a:pt x="2206462" y="1975188"/>
                </a:moveTo>
                <a:cubicBezTo>
                  <a:pt x="2200605" y="1975188"/>
                  <a:pt x="2198075" y="1977179"/>
                  <a:pt x="2196478" y="1978785"/>
                </a:cubicBezTo>
                <a:cubicBezTo>
                  <a:pt x="2193948" y="1981446"/>
                  <a:pt x="2192884" y="1984237"/>
                  <a:pt x="2192884" y="1988237"/>
                </a:cubicBezTo>
                <a:cubicBezTo>
                  <a:pt x="2192884" y="1992362"/>
                  <a:pt x="2193948" y="1995153"/>
                  <a:pt x="2196478" y="1997689"/>
                </a:cubicBezTo>
                <a:cubicBezTo>
                  <a:pt x="2198075" y="1999281"/>
                  <a:pt x="2200605" y="2001146"/>
                  <a:pt x="2206462" y="2001146"/>
                </a:cubicBezTo>
                <a:cubicBezTo>
                  <a:pt x="2208591" y="2001146"/>
                  <a:pt x="2210323" y="2000877"/>
                  <a:pt x="2211787" y="2000210"/>
                </a:cubicBezTo>
                <a:cubicBezTo>
                  <a:pt x="2213384" y="1999681"/>
                  <a:pt x="2214582" y="1998886"/>
                  <a:pt x="2215514" y="1997817"/>
                </a:cubicBezTo>
                <a:cubicBezTo>
                  <a:pt x="2216579" y="1996753"/>
                  <a:pt x="2217510" y="1995425"/>
                  <a:pt x="2218177" y="1993688"/>
                </a:cubicBezTo>
                <a:cubicBezTo>
                  <a:pt x="2218709" y="1992096"/>
                  <a:pt x="2219108" y="1990232"/>
                  <a:pt x="2219108" y="1988237"/>
                </a:cubicBezTo>
                <a:cubicBezTo>
                  <a:pt x="2219108" y="1986373"/>
                  <a:pt x="2218842" y="1984638"/>
                  <a:pt x="2218177" y="1983046"/>
                </a:cubicBezTo>
                <a:cubicBezTo>
                  <a:pt x="2217510" y="1981310"/>
                  <a:pt x="2216579" y="1979983"/>
                  <a:pt x="2215514" y="1978785"/>
                </a:cubicBezTo>
                <a:cubicBezTo>
                  <a:pt x="2214448" y="1977722"/>
                  <a:pt x="2213118" y="1976783"/>
                  <a:pt x="2211520" y="1976116"/>
                </a:cubicBezTo>
                <a:cubicBezTo>
                  <a:pt x="2210056" y="1975456"/>
                  <a:pt x="2208459" y="1975188"/>
                  <a:pt x="2206462" y="1975188"/>
                </a:cubicBezTo>
                <a:close/>
                <a:moveTo>
                  <a:pt x="1988944" y="1975188"/>
                </a:moveTo>
                <a:cubicBezTo>
                  <a:pt x="1983086" y="1975188"/>
                  <a:pt x="1980557" y="1977179"/>
                  <a:pt x="1978961" y="1978785"/>
                </a:cubicBezTo>
                <a:cubicBezTo>
                  <a:pt x="1976430" y="1981446"/>
                  <a:pt x="1975366" y="1984237"/>
                  <a:pt x="1975366" y="1988237"/>
                </a:cubicBezTo>
                <a:cubicBezTo>
                  <a:pt x="1975366" y="1992362"/>
                  <a:pt x="1976430" y="1995153"/>
                  <a:pt x="1978961" y="1997689"/>
                </a:cubicBezTo>
                <a:cubicBezTo>
                  <a:pt x="1980557" y="1999281"/>
                  <a:pt x="1983086" y="2001146"/>
                  <a:pt x="1988944" y="2001146"/>
                </a:cubicBezTo>
                <a:cubicBezTo>
                  <a:pt x="1990940" y="2001146"/>
                  <a:pt x="1992672" y="2000877"/>
                  <a:pt x="1994268" y="2000210"/>
                </a:cubicBezTo>
                <a:cubicBezTo>
                  <a:pt x="1995866" y="1999681"/>
                  <a:pt x="1997065" y="1998886"/>
                  <a:pt x="1997996" y="1997817"/>
                </a:cubicBezTo>
                <a:cubicBezTo>
                  <a:pt x="1999060" y="1996753"/>
                  <a:pt x="1999993" y="1995425"/>
                  <a:pt x="2000659" y="1993688"/>
                </a:cubicBezTo>
                <a:cubicBezTo>
                  <a:pt x="2001191" y="1992096"/>
                  <a:pt x="2001589" y="1990232"/>
                  <a:pt x="2001589" y="1988237"/>
                </a:cubicBezTo>
                <a:cubicBezTo>
                  <a:pt x="2001589" y="1986373"/>
                  <a:pt x="2001324" y="1984638"/>
                  <a:pt x="2000659" y="1983046"/>
                </a:cubicBezTo>
                <a:cubicBezTo>
                  <a:pt x="1999993" y="1981310"/>
                  <a:pt x="1999060" y="1979983"/>
                  <a:pt x="1997996" y="1978785"/>
                </a:cubicBezTo>
                <a:cubicBezTo>
                  <a:pt x="1996932" y="1977722"/>
                  <a:pt x="1995600" y="1976783"/>
                  <a:pt x="1994002" y="1976116"/>
                </a:cubicBezTo>
                <a:cubicBezTo>
                  <a:pt x="1992538" y="1975456"/>
                  <a:pt x="1990940" y="1975188"/>
                  <a:pt x="1988944" y="1975188"/>
                </a:cubicBezTo>
                <a:close/>
                <a:moveTo>
                  <a:pt x="1771303" y="1975188"/>
                </a:moveTo>
                <a:cubicBezTo>
                  <a:pt x="1765446" y="1975188"/>
                  <a:pt x="1762917" y="1977179"/>
                  <a:pt x="1761320" y="1978785"/>
                </a:cubicBezTo>
                <a:cubicBezTo>
                  <a:pt x="1758790" y="1981446"/>
                  <a:pt x="1757726" y="1984237"/>
                  <a:pt x="1757726" y="1988237"/>
                </a:cubicBezTo>
                <a:cubicBezTo>
                  <a:pt x="1757726" y="1992362"/>
                  <a:pt x="1758790" y="1995153"/>
                  <a:pt x="1761320" y="1997689"/>
                </a:cubicBezTo>
                <a:cubicBezTo>
                  <a:pt x="1762917" y="1999281"/>
                  <a:pt x="1765446" y="2001146"/>
                  <a:pt x="1771303" y="2001146"/>
                </a:cubicBezTo>
                <a:cubicBezTo>
                  <a:pt x="1773300" y="2001146"/>
                  <a:pt x="1775164" y="2000877"/>
                  <a:pt x="1776628" y="2000210"/>
                </a:cubicBezTo>
                <a:cubicBezTo>
                  <a:pt x="1778092" y="1999681"/>
                  <a:pt x="1779423" y="1998886"/>
                  <a:pt x="1780355" y="1997817"/>
                </a:cubicBezTo>
                <a:cubicBezTo>
                  <a:pt x="1781420" y="1996753"/>
                  <a:pt x="1782351" y="1995425"/>
                  <a:pt x="1783018" y="1993688"/>
                </a:cubicBezTo>
                <a:cubicBezTo>
                  <a:pt x="1783683" y="1992096"/>
                  <a:pt x="1784082" y="1990232"/>
                  <a:pt x="1784082" y="1988237"/>
                </a:cubicBezTo>
                <a:cubicBezTo>
                  <a:pt x="1784082" y="1986373"/>
                  <a:pt x="1783683" y="1984638"/>
                  <a:pt x="1783018" y="1983046"/>
                </a:cubicBezTo>
                <a:cubicBezTo>
                  <a:pt x="1782351" y="1981310"/>
                  <a:pt x="1781420" y="1979983"/>
                  <a:pt x="1780355" y="1978785"/>
                </a:cubicBezTo>
                <a:cubicBezTo>
                  <a:pt x="1779290" y="1977722"/>
                  <a:pt x="1777959" y="1976783"/>
                  <a:pt x="1776362" y="1976116"/>
                </a:cubicBezTo>
                <a:cubicBezTo>
                  <a:pt x="1774897" y="1975456"/>
                  <a:pt x="1773300" y="1975188"/>
                  <a:pt x="1771303" y="1975188"/>
                </a:cubicBezTo>
                <a:close/>
                <a:moveTo>
                  <a:pt x="1553661" y="1975188"/>
                </a:moveTo>
                <a:cubicBezTo>
                  <a:pt x="1547803" y="1975188"/>
                  <a:pt x="1545274" y="1977179"/>
                  <a:pt x="1543677" y="1978785"/>
                </a:cubicBezTo>
                <a:cubicBezTo>
                  <a:pt x="1541147" y="1981446"/>
                  <a:pt x="1540083" y="1984237"/>
                  <a:pt x="1540083" y="1988237"/>
                </a:cubicBezTo>
                <a:cubicBezTo>
                  <a:pt x="1540083" y="1992362"/>
                  <a:pt x="1541147" y="1995153"/>
                  <a:pt x="1543677" y="1997689"/>
                </a:cubicBezTo>
                <a:cubicBezTo>
                  <a:pt x="1545274" y="1999281"/>
                  <a:pt x="1547803" y="2001146"/>
                  <a:pt x="1553661" y="2001146"/>
                </a:cubicBezTo>
                <a:cubicBezTo>
                  <a:pt x="1555658" y="2001146"/>
                  <a:pt x="1557521" y="2000877"/>
                  <a:pt x="1558985" y="2000210"/>
                </a:cubicBezTo>
                <a:cubicBezTo>
                  <a:pt x="1560449" y="1999681"/>
                  <a:pt x="1561781" y="1998886"/>
                  <a:pt x="1562712" y="1997817"/>
                </a:cubicBezTo>
                <a:cubicBezTo>
                  <a:pt x="1563777" y="1996753"/>
                  <a:pt x="1564709" y="1995425"/>
                  <a:pt x="1565375" y="1993688"/>
                </a:cubicBezTo>
                <a:cubicBezTo>
                  <a:pt x="1566040" y="1992096"/>
                  <a:pt x="1566440" y="1990232"/>
                  <a:pt x="1566440" y="1988237"/>
                </a:cubicBezTo>
                <a:cubicBezTo>
                  <a:pt x="1566440" y="1986373"/>
                  <a:pt x="1566040" y="1984638"/>
                  <a:pt x="1565375" y="1983046"/>
                </a:cubicBezTo>
                <a:cubicBezTo>
                  <a:pt x="1564709" y="1981310"/>
                  <a:pt x="1563777" y="1979983"/>
                  <a:pt x="1562712" y="1978785"/>
                </a:cubicBezTo>
                <a:cubicBezTo>
                  <a:pt x="1561647" y="1977722"/>
                  <a:pt x="1560317" y="1976783"/>
                  <a:pt x="1558719" y="1976116"/>
                </a:cubicBezTo>
                <a:cubicBezTo>
                  <a:pt x="1557255" y="1975456"/>
                  <a:pt x="1555658" y="1975188"/>
                  <a:pt x="1553661" y="1975188"/>
                </a:cubicBezTo>
                <a:close/>
                <a:moveTo>
                  <a:pt x="1336016" y="1975188"/>
                </a:moveTo>
                <a:cubicBezTo>
                  <a:pt x="1330158" y="1975188"/>
                  <a:pt x="1327629" y="1977179"/>
                  <a:pt x="1326033" y="1978785"/>
                </a:cubicBezTo>
                <a:cubicBezTo>
                  <a:pt x="1323503" y="1981446"/>
                  <a:pt x="1322438" y="1984237"/>
                  <a:pt x="1322438" y="1988237"/>
                </a:cubicBezTo>
                <a:cubicBezTo>
                  <a:pt x="1322438" y="1992362"/>
                  <a:pt x="1323503" y="1995153"/>
                  <a:pt x="1326033" y="1997689"/>
                </a:cubicBezTo>
                <a:cubicBezTo>
                  <a:pt x="1327629" y="1999281"/>
                  <a:pt x="1330158" y="2001146"/>
                  <a:pt x="1336016" y="2001146"/>
                </a:cubicBezTo>
                <a:cubicBezTo>
                  <a:pt x="1338146" y="2001146"/>
                  <a:pt x="1339876" y="2000877"/>
                  <a:pt x="1341342" y="2000210"/>
                </a:cubicBezTo>
                <a:cubicBezTo>
                  <a:pt x="1342806" y="1999681"/>
                  <a:pt x="1344136" y="1998886"/>
                  <a:pt x="1345069" y="1997817"/>
                </a:cubicBezTo>
                <a:cubicBezTo>
                  <a:pt x="1346133" y="1996753"/>
                  <a:pt x="1347066" y="1995425"/>
                  <a:pt x="1347731" y="1993688"/>
                </a:cubicBezTo>
                <a:cubicBezTo>
                  <a:pt x="1348397" y="1992096"/>
                  <a:pt x="1348797" y="1990232"/>
                  <a:pt x="1348797" y="1988237"/>
                </a:cubicBezTo>
                <a:cubicBezTo>
                  <a:pt x="1348797" y="1986373"/>
                  <a:pt x="1348397" y="1984638"/>
                  <a:pt x="1347731" y="1983046"/>
                </a:cubicBezTo>
                <a:cubicBezTo>
                  <a:pt x="1347066" y="1981310"/>
                  <a:pt x="1346133" y="1979983"/>
                  <a:pt x="1345069" y="1978785"/>
                </a:cubicBezTo>
                <a:cubicBezTo>
                  <a:pt x="1344004" y="1977722"/>
                  <a:pt x="1342673" y="1976783"/>
                  <a:pt x="1341075" y="1976116"/>
                </a:cubicBezTo>
                <a:cubicBezTo>
                  <a:pt x="1339610" y="1975456"/>
                  <a:pt x="1338012" y="1975188"/>
                  <a:pt x="1336016" y="1975188"/>
                </a:cubicBezTo>
                <a:close/>
                <a:moveTo>
                  <a:pt x="1118504" y="1975188"/>
                </a:moveTo>
                <a:cubicBezTo>
                  <a:pt x="1112646" y="1975188"/>
                  <a:pt x="1110117" y="1977179"/>
                  <a:pt x="1108520" y="1978785"/>
                </a:cubicBezTo>
                <a:cubicBezTo>
                  <a:pt x="1105857" y="1981446"/>
                  <a:pt x="1104793" y="1984237"/>
                  <a:pt x="1104793" y="1988237"/>
                </a:cubicBezTo>
                <a:cubicBezTo>
                  <a:pt x="1104793" y="1992362"/>
                  <a:pt x="1105857" y="1995153"/>
                  <a:pt x="1108387" y="1997689"/>
                </a:cubicBezTo>
                <a:cubicBezTo>
                  <a:pt x="1109984" y="1999281"/>
                  <a:pt x="1112514" y="2001146"/>
                  <a:pt x="1118371" y="2001146"/>
                </a:cubicBezTo>
                <a:cubicBezTo>
                  <a:pt x="1120501" y="2001146"/>
                  <a:pt x="1122232" y="2000877"/>
                  <a:pt x="1123829" y="2000210"/>
                </a:cubicBezTo>
                <a:cubicBezTo>
                  <a:pt x="1125293" y="1999681"/>
                  <a:pt x="1126626" y="1998886"/>
                  <a:pt x="1127556" y="1997817"/>
                </a:cubicBezTo>
                <a:cubicBezTo>
                  <a:pt x="1128621" y="1996753"/>
                  <a:pt x="1129554" y="1995425"/>
                  <a:pt x="1130220" y="1993688"/>
                </a:cubicBezTo>
                <a:cubicBezTo>
                  <a:pt x="1130884" y="1992096"/>
                  <a:pt x="1131285" y="1990232"/>
                  <a:pt x="1131285" y="1988237"/>
                </a:cubicBezTo>
                <a:cubicBezTo>
                  <a:pt x="1131285" y="1986373"/>
                  <a:pt x="1130884" y="1984638"/>
                  <a:pt x="1130220" y="1983046"/>
                </a:cubicBezTo>
                <a:cubicBezTo>
                  <a:pt x="1129554" y="1981310"/>
                  <a:pt x="1128621" y="1979983"/>
                  <a:pt x="1127556" y="1978785"/>
                </a:cubicBezTo>
                <a:cubicBezTo>
                  <a:pt x="1126491" y="1977722"/>
                  <a:pt x="1125161" y="1976783"/>
                  <a:pt x="1123562" y="1976116"/>
                </a:cubicBezTo>
                <a:cubicBezTo>
                  <a:pt x="1122099" y="1975456"/>
                  <a:pt x="1120501" y="1975188"/>
                  <a:pt x="1118504" y="1975188"/>
                </a:cubicBezTo>
                <a:close/>
                <a:moveTo>
                  <a:pt x="900993" y="1975188"/>
                </a:moveTo>
                <a:cubicBezTo>
                  <a:pt x="895135" y="1975188"/>
                  <a:pt x="892605" y="1977179"/>
                  <a:pt x="891008" y="1978785"/>
                </a:cubicBezTo>
                <a:cubicBezTo>
                  <a:pt x="888345" y="1981446"/>
                  <a:pt x="887282" y="1984237"/>
                  <a:pt x="887282" y="1988237"/>
                </a:cubicBezTo>
                <a:cubicBezTo>
                  <a:pt x="887282" y="1992362"/>
                  <a:pt x="888345" y="1995153"/>
                  <a:pt x="890876" y="1997689"/>
                </a:cubicBezTo>
                <a:cubicBezTo>
                  <a:pt x="892473" y="1999281"/>
                  <a:pt x="895001" y="2001146"/>
                  <a:pt x="900859" y="2001146"/>
                </a:cubicBezTo>
                <a:cubicBezTo>
                  <a:pt x="902855" y="2001146"/>
                  <a:pt x="904587" y="2000877"/>
                  <a:pt x="906317" y="2000210"/>
                </a:cubicBezTo>
                <a:cubicBezTo>
                  <a:pt x="907781" y="1999681"/>
                  <a:pt x="909113" y="1998886"/>
                  <a:pt x="910045" y="1997817"/>
                </a:cubicBezTo>
                <a:cubicBezTo>
                  <a:pt x="911109" y="1996753"/>
                  <a:pt x="912041" y="1995425"/>
                  <a:pt x="912707" y="1993688"/>
                </a:cubicBezTo>
                <a:cubicBezTo>
                  <a:pt x="913372" y="1992096"/>
                  <a:pt x="913772" y="1990232"/>
                  <a:pt x="913772" y="1988237"/>
                </a:cubicBezTo>
                <a:cubicBezTo>
                  <a:pt x="913772" y="1986373"/>
                  <a:pt x="913372" y="1984638"/>
                  <a:pt x="912707" y="1983046"/>
                </a:cubicBezTo>
                <a:cubicBezTo>
                  <a:pt x="912041" y="1981310"/>
                  <a:pt x="911109" y="1979983"/>
                  <a:pt x="910045" y="1978785"/>
                </a:cubicBezTo>
                <a:cubicBezTo>
                  <a:pt x="908980" y="1977722"/>
                  <a:pt x="907648" y="1976783"/>
                  <a:pt x="906051" y="1976116"/>
                </a:cubicBezTo>
                <a:cubicBezTo>
                  <a:pt x="904587" y="1975456"/>
                  <a:pt x="902989" y="1975188"/>
                  <a:pt x="900993" y="1975188"/>
                </a:cubicBezTo>
                <a:close/>
                <a:moveTo>
                  <a:pt x="683215" y="1975188"/>
                </a:moveTo>
                <a:cubicBezTo>
                  <a:pt x="677358" y="1975188"/>
                  <a:pt x="674829" y="1977179"/>
                  <a:pt x="673232" y="1978785"/>
                </a:cubicBezTo>
                <a:cubicBezTo>
                  <a:pt x="670702" y="1981446"/>
                  <a:pt x="669638" y="1984237"/>
                  <a:pt x="669638" y="1988237"/>
                </a:cubicBezTo>
                <a:cubicBezTo>
                  <a:pt x="669638" y="1992362"/>
                  <a:pt x="670702" y="1995153"/>
                  <a:pt x="673232" y="1997689"/>
                </a:cubicBezTo>
                <a:cubicBezTo>
                  <a:pt x="674829" y="1999281"/>
                  <a:pt x="677358" y="2001146"/>
                  <a:pt x="683215" y="2001146"/>
                </a:cubicBezTo>
                <a:cubicBezTo>
                  <a:pt x="685212" y="2001146"/>
                  <a:pt x="687076" y="2000877"/>
                  <a:pt x="688541" y="2000210"/>
                </a:cubicBezTo>
                <a:cubicBezTo>
                  <a:pt x="690005" y="1999681"/>
                  <a:pt x="691337" y="1998886"/>
                  <a:pt x="692268" y="1997817"/>
                </a:cubicBezTo>
                <a:cubicBezTo>
                  <a:pt x="693332" y="1996753"/>
                  <a:pt x="694265" y="1995425"/>
                  <a:pt x="694931" y="1993688"/>
                </a:cubicBezTo>
                <a:cubicBezTo>
                  <a:pt x="695596" y="1992096"/>
                  <a:pt x="695996" y="1990232"/>
                  <a:pt x="695996" y="1988237"/>
                </a:cubicBezTo>
                <a:cubicBezTo>
                  <a:pt x="695996" y="1986373"/>
                  <a:pt x="695596" y="1984638"/>
                  <a:pt x="694931" y="1983046"/>
                </a:cubicBezTo>
                <a:cubicBezTo>
                  <a:pt x="694265" y="1981310"/>
                  <a:pt x="693332" y="1979983"/>
                  <a:pt x="692268" y="1978785"/>
                </a:cubicBezTo>
                <a:cubicBezTo>
                  <a:pt x="691203" y="1977722"/>
                  <a:pt x="689872" y="1976783"/>
                  <a:pt x="688275" y="1976116"/>
                </a:cubicBezTo>
                <a:cubicBezTo>
                  <a:pt x="686811" y="1975456"/>
                  <a:pt x="685212" y="1975188"/>
                  <a:pt x="683215" y="1975188"/>
                </a:cubicBezTo>
                <a:close/>
                <a:moveTo>
                  <a:pt x="465572" y="1975188"/>
                </a:moveTo>
                <a:cubicBezTo>
                  <a:pt x="459715" y="1975188"/>
                  <a:pt x="457186" y="1977179"/>
                  <a:pt x="455589" y="1978785"/>
                </a:cubicBezTo>
                <a:cubicBezTo>
                  <a:pt x="453059" y="1981446"/>
                  <a:pt x="451995" y="1984237"/>
                  <a:pt x="451995" y="1988237"/>
                </a:cubicBezTo>
                <a:cubicBezTo>
                  <a:pt x="451995" y="1992362"/>
                  <a:pt x="453059" y="1995153"/>
                  <a:pt x="455589" y="1997689"/>
                </a:cubicBezTo>
                <a:cubicBezTo>
                  <a:pt x="457186" y="1999281"/>
                  <a:pt x="459715" y="2001146"/>
                  <a:pt x="465572" y="2001146"/>
                </a:cubicBezTo>
                <a:cubicBezTo>
                  <a:pt x="467569" y="2001146"/>
                  <a:pt x="469433" y="2000877"/>
                  <a:pt x="470897" y="2000210"/>
                </a:cubicBezTo>
                <a:cubicBezTo>
                  <a:pt x="472361" y="1999681"/>
                  <a:pt x="473692" y="1998886"/>
                  <a:pt x="474624" y="1997817"/>
                </a:cubicBezTo>
                <a:cubicBezTo>
                  <a:pt x="475689" y="1996753"/>
                  <a:pt x="476621" y="1995425"/>
                  <a:pt x="477287" y="1993688"/>
                </a:cubicBezTo>
                <a:cubicBezTo>
                  <a:pt x="477952" y="1992096"/>
                  <a:pt x="478352" y="1990232"/>
                  <a:pt x="478352" y="1988237"/>
                </a:cubicBezTo>
                <a:cubicBezTo>
                  <a:pt x="478352" y="1986373"/>
                  <a:pt x="477952" y="1984638"/>
                  <a:pt x="477287" y="1983046"/>
                </a:cubicBezTo>
                <a:cubicBezTo>
                  <a:pt x="476621" y="1981310"/>
                  <a:pt x="475689" y="1979983"/>
                  <a:pt x="474624" y="1978785"/>
                </a:cubicBezTo>
                <a:cubicBezTo>
                  <a:pt x="473559" y="1977722"/>
                  <a:pt x="472228" y="1976783"/>
                  <a:pt x="470631" y="1976116"/>
                </a:cubicBezTo>
                <a:cubicBezTo>
                  <a:pt x="469167" y="1975456"/>
                  <a:pt x="467569" y="1975188"/>
                  <a:pt x="465572" y="1975188"/>
                </a:cubicBezTo>
                <a:close/>
                <a:moveTo>
                  <a:pt x="247928" y="1975188"/>
                </a:moveTo>
                <a:cubicBezTo>
                  <a:pt x="242071" y="1975188"/>
                  <a:pt x="239542" y="1977179"/>
                  <a:pt x="237945" y="1978785"/>
                </a:cubicBezTo>
                <a:cubicBezTo>
                  <a:pt x="235416" y="1981446"/>
                  <a:pt x="234352" y="1984237"/>
                  <a:pt x="234352" y="1988237"/>
                </a:cubicBezTo>
                <a:cubicBezTo>
                  <a:pt x="234352" y="1992362"/>
                  <a:pt x="235416" y="1995153"/>
                  <a:pt x="237945" y="1997689"/>
                </a:cubicBezTo>
                <a:cubicBezTo>
                  <a:pt x="239542" y="1999281"/>
                  <a:pt x="242071" y="2001146"/>
                  <a:pt x="247928" y="2001146"/>
                </a:cubicBezTo>
                <a:cubicBezTo>
                  <a:pt x="250058" y="2001146"/>
                  <a:pt x="251789" y="2000877"/>
                  <a:pt x="253253" y="2000210"/>
                </a:cubicBezTo>
                <a:cubicBezTo>
                  <a:pt x="254717" y="1999681"/>
                  <a:pt x="256048" y="1998886"/>
                  <a:pt x="256980" y="1997817"/>
                </a:cubicBezTo>
                <a:cubicBezTo>
                  <a:pt x="258045" y="1996753"/>
                  <a:pt x="258977" y="1995425"/>
                  <a:pt x="259643" y="1993688"/>
                </a:cubicBezTo>
                <a:cubicBezTo>
                  <a:pt x="260308" y="1992096"/>
                  <a:pt x="260708" y="1990232"/>
                  <a:pt x="260708" y="1988237"/>
                </a:cubicBezTo>
                <a:cubicBezTo>
                  <a:pt x="260708" y="1986373"/>
                  <a:pt x="260308" y="1984638"/>
                  <a:pt x="259643" y="1983046"/>
                </a:cubicBezTo>
                <a:cubicBezTo>
                  <a:pt x="258977" y="1981310"/>
                  <a:pt x="258045" y="1979983"/>
                  <a:pt x="256980" y="1978785"/>
                </a:cubicBezTo>
                <a:cubicBezTo>
                  <a:pt x="255915" y="1977722"/>
                  <a:pt x="254584" y="1976783"/>
                  <a:pt x="252987" y="1976116"/>
                </a:cubicBezTo>
                <a:cubicBezTo>
                  <a:pt x="251522" y="1975456"/>
                  <a:pt x="249925" y="1975188"/>
                  <a:pt x="247928" y="1975188"/>
                </a:cubicBezTo>
                <a:close/>
                <a:moveTo>
                  <a:pt x="30285" y="1975188"/>
                </a:moveTo>
                <a:cubicBezTo>
                  <a:pt x="24428" y="1975188"/>
                  <a:pt x="21899" y="1977179"/>
                  <a:pt x="20302" y="1978785"/>
                </a:cubicBezTo>
                <a:cubicBezTo>
                  <a:pt x="17772" y="1981446"/>
                  <a:pt x="16708" y="1984237"/>
                  <a:pt x="16708" y="1988237"/>
                </a:cubicBezTo>
                <a:cubicBezTo>
                  <a:pt x="16708" y="1992362"/>
                  <a:pt x="17772" y="1995153"/>
                  <a:pt x="20302" y="1997689"/>
                </a:cubicBezTo>
                <a:cubicBezTo>
                  <a:pt x="21899" y="1999281"/>
                  <a:pt x="24428" y="2001146"/>
                  <a:pt x="30285" y="2001146"/>
                </a:cubicBezTo>
                <a:cubicBezTo>
                  <a:pt x="32415" y="2001146"/>
                  <a:pt x="34146" y="2000877"/>
                  <a:pt x="35610" y="2000210"/>
                </a:cubicBezTo>
                <a:cubicBezTo>
                  <a:pt x="37074" y="1999681"/>
                  <a:pt x="38406" y="1998886"/>
                  <a:pt x="39337" y="1997817"/>
                </a:cubicBezTo>
                <a:cubicBezTo>
                  <a:pt x="40402" y="1996753"/>
                  <a:pt x="41334" y="1995425"/>
                  <a:pt x="42000" y="1993688"/>
                </a:cubicBezTo>
                <a:cubicBezTo>
                  <a:pt x="42665" y="1992096"/>
                  <a:pt x="42931" y="1990232"/>
                  <a:pt x="42931" y="1988237"/>
                </a:cubicBezTo>
                <a:cubicBezTo>
                  <a:pt x="42931" y="1986373"/>
                  <a:pt x="42665" y="1984638"/>
                  <a:pt x="42000" y="1983046"/>
                </a:cubicBezTo>
                <a:cubicBezTo>
                  <a:pt x="41334" y="1981310"/>
                  <a:pt x="40402" y="1979983"/>
                  <a:pt x="39337" y="1978785"/>
                </a:cubicBezTo>
                <a:cubicBezTo>
                  <a:pt x="38272" y="1977722"/>
                  <a:pt x="36941" y="1976783"/>
                  <a:pt x="35344" y="1976116"/>
                </a:cubicBezTo>
                <a:cubicBezTo>
                  <a:pt x="33880" y="1975456"/>
                  <a:pt x="32282" y="1975188"/>
                  <a:pt x="30285" y="1975188"/>
                </a:cubicBezTo>
                <a:close/>
                <a:moveTo>
                  <a:pt x="10040820" y="1958553"/>
                </a:moveTo>
                <a:cubicBezTo>
                  <a:pt x="10045080" y="1958553"/>
                  <a:pt x="10048941" y="1959348"/>
                  <a:pt x="10052534" y="1961216"/>
                </a:cubicBezTo>
                <a:cubicBezTo>
                  <a:pt x="10056129" y="1962805"/>
                  <a:pt x="10059323" y="1964941"/>
                  <a:pt x="10061852" y="1967605"/>
                </a:cubicBezTo>
                <a:cubicBezTo>
                  <a:pt x="10064382" y="1970132"/>
                  <a:pt x="10066512" y="1973322"/>
                  <a:pt x="10067976" y="1976921"/>
                </a:cubicBezTo>
                <a:cubicBezTo>
                  <a:pt x="10069440" y="1980510"/>
                  <a:pt x="10070239" y="1984237"/>
                  <a:pt x="10070239" y="1988365"/>
                </a:cubicBezTo>
                <a:cubicBezTo>
                  <a:pt x="10070239" y="1992494"/>
                  <a:pt x="10069440" y="1996490"/>
                  <a:pt x="10067976" y="2000077"/>
                </a:cubicBezTo>
                <a:cubicBezTo>
                  <a:pt x="10066379" y="2003681"/>
                  <a:pt x="10064382" y="2006739"/>
                  <a:pt x="10061852" y="2009402"/>
                </a:cubicBezTo>
                <a:cubicBezTo>
                  <a:pt x="10059190" y="2012064"/>
                  <a:pt x="10056129" y="2014194"/>
                  <a:pt x="10052534" y="2015653"/>
                </a:cubicBezTo>
                <a:cubicBezTo>
                  <a:pt x="10048941" y="2017117"/>
                  <a:pt x="10045080" y="2017922"/>
                  <a:pt x="10040820" y="2017922"/>
                </a:cubicBezTo>
                <a:cubicBezTo>
                  <a:pt x="10031767" y="2017922"/>
                  <a:pt x="10024579" y="2014994"/>
                  <a:pt x="10018988" y="2009402"/>
                </a:cubicBezTo>
                <a:cubicBezTo>
                  <a:pt x="10013397" y="2003806"/>
                  <a:pt x="10010602" y="1996753"/>
                  <a:pt x="10010602" y="1988237"/>
                </a:cubicBezTo>
                <a:cubicBezTo>
                  <a:pt x="10010602" y="1979983"/>
                  <a:pt x="10013397" y="1972925"/>
                  <a:pt x="10018988" y="1967203"/>
                </a:cubicBezTo>
                <a:cubicBezTo>
                  <a:pt x="10024579" y="1961479"/>
                  <a:pt x="10031767" y="1958553"/>
                  <a:pt x="10040820" y="1958553"/>
                </a:cubicBezTo>
                <a:close/>
                <a:moveTo>
                  <a:pt x="9823176" y="1958553"/>
                </a:moveTo>
                <a:cubicBezTo>
                  <a:pt x="9827435" y="1958553"/>
                  <a:pt x="9831296" y="1959348"/>
                  <a:pt x="9834890" y="1961216"/>
                </a:cubicBezTo>
                <a:cubicBezTo>
                  <a:pt x="9838617" y="1962805"/>
                  <a:pt x="9841679" y="1964941"/>
                  <a:pt x="9844208" y="1967605"/>
                </a:cubicBezTo>
                <a:cubicBezTo>
                  <a:pt x="9846737" y="1970132"/>
                  <a:pt x="9848867" y="1973322"/>
                  <a:pt x="9850331" y="1976921"/>
                </a:cubicBezTo>
                <a:cubicBezTo>
                  <a:pt x="9851796" y="1980510"/>
                  <a:pt x="9852595" y="1984237"/>
                  <a:pt x="9852595" y="1988365"/>
                </a:cubicBezTo>
                <a:cubicBezTo>
                  <a:pt x="9852595" y="1992494"/>
                  <a:pt x="9851796" y="1996490"/>
                  <a:pt x="9850331" y="2000077"/>
                </a:cubicBezTo>
                <a:cubicBezTo>
                  <a:pt x="9848734" y="2003681"/>
                  <a:pt x="9846737" y="2006739"/>
                  <a:pt x="9844208" y="2009402"/>
                </a:cubicBezTo>
                <a:cubicBezTo>
                  <a:pt x="9841546" y="2012064"/>
                  <a:pt x="9838484" y="2014194"/>
                  <a:pt x="9834890" y="2015653"/>
                </a:cubicBezTo>
                <a:cubicBezTo>
                  <a:pt x="9831296" y="2017117"/>
                  <a:pt x="9827435" y="2017922"/>
                  <a:pt x="9823176" y="2017922"/>
                </a:cubicBezTo>
                <a:cubicBezTo>
                  <a:pt x="9814123" y="2017922"/>
                  <a:pt x="9806935" y="2014994"/>
                  <a:pt x="9801343" y="2009402"/>
                </a:cubicBezTo>
                <a:cubicBezTo>
                  <a:pt x="9795753" y="2003806"/>
                  <a:pt x="9792957" y="1996753"/>
                  <a:pt x="9792957" y="1988237"/>
                </a:cubicBezTo>
                <a:cubicBezTo>
                  <a:pt x="9792957" y="1979983"/>
                  <a:pt x="9795753" y="1972925"/>
                  <a:pt x="9801343" y="1967203"/>
                </a:cubicBezTo>
                <a:cubicBezTo>
                  <a:pt x="9806935" y="1961479"/>
                  <a:pt x="9814123" y="1958553"/>
                  <a:pt x="9823176" y="1958553"/>
                </a:cubicBezTo>
                <a:close/>
                <a:moveTo>
                  <a:pt x="9605531" y="1958553"/>
                </a:moveTo>
                <a:cubicBezTo>
                  <a:pt x="9609790" y="1958553"/>
                  <a:pt x="9613784" y="1959348"/>
                  <a:pt x="9617245" y="1961216"/>
                </a:cubicBezTo>
                <a:cubicBezTo>
                  <a:pt x="9620839" y="1962805"/>
                  <a:pt x="9624033" y="1964941"/>
                  <a:pt x="9626562" y="1967605"/>
                </a:cubicBezTo>
                <a:cubicBezTo>
                  <a:pt x="9629092" y="1970132"/>
                  <a:pt x="9631222" y="1973322"/>
                  <a:pt x="9632686" y="1976921"/>
                </a:cubicBezTo>
                <a:cubicBezTo>
                  <a:pt x="9634150" y="1980510"/>
                  <a:pt x="9634949" y="1984237"/>
                  <a:pt x="9634949" y="1988365"/>
                </a:cubicBezTo>
                <a:cubicBezTo>
                  <a:pt x="9634949" y="1992494"/>
                  <a:pt x="9634150" y="1996490"/>
                  <a:pt x="9632686" y="2000077"/>
                </a:cubicBezTo>
                <a:cubicBezTo>
                  <a:pt x="9631089" y="2003681"/>
                  <a:pt x="9629092" y="2006739"/>
                  <a:pt x="9626562" y="2009402"/>
                </a:cubicBezTo>
                <a:cubicBezTo>
                  <a:pt x="9623901" y="2012064"/>
                  <a:pt x="9620839" y="2014194"/>
                  <a:pt x="9617245" y="2015653"/>
                </a:cubicBezTo>
                <a:cubicBezTo>
                  <a:pt x="9613651" y="2017117"/>
                  <a:pt x="9609790" y="2017922"/>
                  <a:pt x="9605531" y="2017922"/>
                </a:cubicBezTo>
                <a:cubicBezTo>
                  <a:pt x="9596610" y="2017922"/>
                  <a:pt x="9589289" y="2014994"/>
                  <a:pt x="9583698" y="2009402"/>
                </a:cubicBezTo>
                <a:cubicBezTo>
                  <a:pt x="9578108" y="2003806"/>
                  <a:pt x="9575312" y="1996753"/>
                  <a:pt x="9575312" y="1988237"/>
                </a:cubicBezTo>
                <a:cubicBezTo>
                  <a:pt x="9575312" y="1979983"/>
                  <a:pt x="9578108" y="1972925"/>
                  <a:pt x="9583698" y="1967203"/>
                </a:cubicBezTo>
                <a:cubicBezTo>
                  <a:pt x="9589289" y="1961479"/>
                  <a:pt x="9596478" y="1958553"/>
                  <a:pt x="9605531" y="1958553"/>
                </a:cubicBezTo>
                <a:close/>
                <a:moveTo>
                  <a:pt x="9387885" y="1958553"/>
                </a:moveTo>
                <a:cubicBezTo>
                  <a:pt x="9392145" y="1958553"/>
                  <a:pt x="9396138" y="1959348"/>
                  <a:pt x="9399599" y="1961216"/>
                </a:cubicBezTo>
                <a:cubicBezTo>
                  <a:pt x="9403194" y="1962805"/>
                  <a:pt x="9406388" y="1964941"/>
                  <a:pt x="9408917" y="1967605"/>
                </a:cubicBezTo>
                <a:cubicBezTo>
                  <a:pt x="9411447" y="1970132"/>
                  <a:pt x="9413576" y="1973322"/>
                  <a:pt x="9415041" y="1976921"/>
                </a:cubicBezTo>
                <a:cubicBezTo>
                  <a:pt x="9416505" y="1980510"/>
                  <a:pt x="9417304" y="1984237"/>
                  <a:pt x="9417304" y="1988367"/>
                </a:cubicBezTo>
                <a:cubicBezTo>
                  <a:pt x="9417304" y="1992494"/>
                  <a:pt x="9416505" y="1996490"/>
                  <a:pt x="9415041" y="2000077"/>
                </a:cubicBezTo>
                <a:cubicBezTo>
                  <a:pt x="9413444" y="2003681"/>
                  <a:pt x="9411447" y="2006739"/>
                  <a:pt x="9408917" y="2009402"/>
                </a:cubicBezTo>
                <a:cubicBezTo>
                  <a:pt x="9406255" y="2012064"/>
                  <a:pt x="9403194" y="2014194"/>
                  <a:pt x="9399599" y="2015653"/>
                </a:cubicBezTo>
                <a:cubicBezTo>
                  <a:pt x="9396005" y="2017117"/>
                  <a:pt x="9392145" y="2017922"/>
                  <a:pt x="9387885" y="2017922"/>
                </a:cubicBezTo>
                <a:cubicBezTo>
                  <a:pt x="9378965" y="2017922"/>
                  <a:pt x="9371644" y="2014994"/>
                  <a:pt x="9366053" y="2009402"/>
                </a:cubicBezTo>
                <a:cubicBezTo>
                  <a:pt x="9360462" y="2003806"/>
                  <a:pt x="9357667" y="1996753"/>
                  <a:pt x="9357667" y="1988237"/>
                </a:cubicBezTo>
                <a:cubicBezTo>
                  <a:pt x="9357667" y="1979983"/>
                  <a:pt x="9360462" y="1972925"/>
                  <a:pt x="9366053" y="1967203"/>
                </a:cubicBezTo>
                <a:cubicBezTo>
                  <a:pt x="9371644" y="1961479"/>
                  <a:pt x="9378832" y="1958553"/>
                  <a:pt x="9387885" y="1958553"/>
                </a:cubicBezTo>
                <a:close/>
                <a:moveTo>
                  <a:pt x="9170374" y="1958553"/>
                </a:moveTo>
                <a:cubicBezTo>
                  <a:pt x="9174500" y="1958553"/>
                  <a:pt x="9178494" y="1959348"/>
                  <a:pt x="9182088" y="1961216"/>
                </a:cubicBezTo>
                <a:cubicBezTo>
                  <a:pt x="9185682" y="1962805"/>
                  <a:pt x="9188876" y="1964941"/>
                  <a:pt x="9191405" y="1967605"/>
                </a:cubicBezTo>
                <a:cubicBezTo>
                  <a:pt x="9193935" y="1970132"/>
                  <a:pt x="9196065" y="1973322"/>
                  <a:pt x="9197529" y="1976921"/>
                </a:cubicBezTo>
                <a:cubicBezTo>
                  <a:pt x="9198993" y="1980510"/>
                  <a:pt x="9199792" y="1984237"/>
                  <a:pt x="9199792" y="1988367"/>
                </a:cubicBezTo>
                <a:cubicBezTo>
                  <a:pt x="9199792" y="1992494"/>
                  <a:pt x="9198993" y="1996490"/>
                  <a:pt x="9197529" y="2000077"/>
                </a:cubicBezTo>
                <a:cubicBezTo>
                  <a:pt x="9195932" y="2003681"/>
                  <a:pt x="9193935" y="2006739"/>
                  <a:pt x="9191405" y="2009402"/>
                </a:cubicBezTo>
                <a:cubicBezTo>
                  <a:pt x="9188744" y="2012064"/>
                  <a:pt x="9185682" y="2014194"/>
                  <a:pt x="9182088" y="2015653"/>
                </a:cubicBezTo>
                <a:cubicBezTo>
                  <a:pt x="9178494" y="2017117"/>
                  <a:pt x="9174633" y="2017922"/>
                  <a:pt x="9170374" y="2017922"/>
                </a:cubicBezTo>
                <a:cubicBezTo>
                  <a:pt x="9161453" y="2017922"/>
                  <a:pt x="9154132" y="2014994"/>
                  <a:pt x="9148541" y="2009402"/>
                </a:cubicBezTo>
                <a:cubicBezTo>
                  <a:pt x="9142951" y="2003806"/>
                  <a:pt x="9140155" y="1996753"/>
                  <a:pt x="9140155" y="1988237"/>
                </a:cubicBezTo>
                <a:cubicBezTo>
                  <a:pt x="9140155" y="1979983"/>
                  <a:pt x="9142951" y="1972925"/>
                  <a:pt x="9148541" y="1967203"/>
                </a:cubicBezTo>
                <a:cubicBezTo>
                  <a:pt x="9154132" y="1961479"/>
                  <a:pt x="9161321" y="1958553"/>
                  <a:pt x="9170374" y="1958553"/>
                </a:cubicBezTo>
                <a:close/>
                <a:moveTo>
                  <a:pt x="8952728" y="1958553"/>
                </a:moveTo>
                <a:cubicBezTo>
                  <a:pt x="8956988" y="1958553"/>
                  <a:pt x="8960849" y="1959348"/>
                  <a:pt x="8964442" y="1961216"/>
                </a:cubicBezTo>
                <a:cubicBezTo>
                  <a:pt x="8968037" y="1962805"/>
                  <a:pt x="8971231" y="1964941"/>
                  <a:pt x="8973760" y="1967605"/>
                </a:cubicBezTo>
                <a:cubicBezTo>
                  <a:pt x="8976290" y="1970132"/>
                  <a:pt x="8978419" y="1973322"/>
                  <a:pt x="8979884" y="1976921"/>
                </a:cubicBezTo>
                <a:cubicBezTo>
                  <a:pt x="8981348" y="1980510"/>
                  <a:pt x="8982147" y="1984237"/>
                  <a:pt x="8982147" y="1988367"/>
                </a:cubicBezTo>
                <a:cubicBezTo>
                  <a:pt x="8982147" y="1992494"/>
                  <a:pt x="8981348" y="1996490"/>
                  <a:pt x="8979884" y="2000077"/>
                </a:cubicBezTo>
                <a:cubicBezTo>
                  <a:pt x="8978287" y="2003681"/>
                  <a:pt x="8976290" y="2006739"/>
                  <a:pt x="8973760" y="2009402"/>
                </a:cubicBezTo>
                <a:cubicBezTo>
                  <a:pt x="8971098" y="2012064"/>
                  <a:pt x="8968037" y="2014194"/>
                  <a:pt x="8964442" y="2015653"/>
                </a:cubicBezTo>
                <a:cubicBezTo>
                  <a:pt x="8960849" y="2017117"/>
                  <a:pt x="8956988" y="2017922"/>
                  <a:pt x="8952728" y="2017922"/>
                </a:cubicBezTo>
                <a:cubicBezTo>
                  <a:pt x="8943808" y="2017922"/>
                  <a:pt x="8936487" y="2014994"/>
                  <a:pt x="8930896" y="2009402"/>
                </a:cubicBezTo>
                <a:cubicBezTo>
                  <a:pt x="8925305" y="2003806"/>
                  <a:pt x="8922510" y="1996753"/>
                  <a:pt x="8922510" y="1988237"/>
                </a:cubicBezTo>
                <a:cubicBezTo>
                  <a:pt x="8922510" y="1979983"/>
                  <a:pt x="8925305" y="1972925"/>
                  <a:pt x="8930896" y="1967203"/>
                </a:cubicBezTo>
                <a:cubicBezTo>
                  <a:pt x="8936487" y="1961479"/>
                  <a:pt x="8943675" y="1958553"/>
                  <a:pt x="8952728" y="1958553"/>
                </a:cubicBezTo>
                <a:close/>
                <a:moveTo>
                  <a:pt x="8735083" y="1958553"/>
                </a:moveTo>
                <a:cubicBezTo>
                  <a:pt x="8739342" y="1958553"/>
                  <a:pt x="8743203" y="1959348"/>
                  <a:pt x="8746797" y="1961216"/>
                </a:cubicBezTo>
                <a:cubicBezTo>
                  <a:pt x="8750391" y="1962805"/>
                  <a:pt x="8753586" y="1964941"/>
                  <a:pt x="8756115" y="1967605"/>
                </a:cubicBezTo>
                <a:cubicBezTo>
                  <a:pt x="8758644" y="1970132"/>
                  <a:pt x="8760774" y="1973322"/>
                  <a:pt x="8762238" y="1976921"/>
                </a:cubicBezTo>
                <a:cubicBezTo>
                  <a:pt x="8763702" y="1980510"/>
                  <a:pt x="8764502" y="1984237"/>
                  <a:pt x="8764502" y="1988367"/>
                </a:cubicBezTo>
                <a:cubicBezTo>
                  <a:pt x="8764502" y="1992494"/>
                  <a:pt x="8763702" y="1996490"/>
                  <a:pt x="8762238" y="2000077"/>
                </a:cubicBezTo>
                <a:cubicBezTo>
                  <a:pt x="8760641" y="2003681"/>
                  <a:pt x="8758644" y="2006739"/>
                  <a:pt x="8756115" y="2009402"/>
                </a:cubicBezTo>
                <a:cubicBezTo>
                  <a:pt x="8753453" y="2012064"/>
                  <a:pt x="8750391" y="2014194"/>
                  <a:pt x="8746797" y="2015653"/>
                </a:cubicBezTo>
                <a:cubicBezTo>
                  <a:pt x="8743203" y="2017117"/>
                  <a:pt x="8739342" y="2017922"/>
                  <a:pt x="8735083" y="2017922"/>
                </a:cubicBezTo>
                <a:cubicBezTo>
                  <a:pt x="8726030" y="2017922"/>
                  <a:pt x="8718841" y="2014994"/>
                  <a:pt x="8713250" y="2009402"/>
                </a:cubicBezTo>
                <a:cubicBezTo>
                  <a:pt x="8707660" y="2003806"/>
                  <a:pt x="8704864" y="1996753"/>
                  <a:pt x="8704864" y="1988237"/>
                </a:cubicBezTo>
                <a:cubicBezTo>
                  <a:pt x="8704864" y="1979983"/>
                  <a:pt x="8707660" y="1972925"/>
                  <a:pt x="8713250" y="1967203"/>
                </a:cubicBezTo>
                <a:cubicBezTo>
                  <a:pt x="8718841" y="1961479"/>
                  <a:pt x="8726030" y="1958553"/>
                  <a:pt x="8735083" y="1958553"/>
                </a:cubicBezTo>
                <a:close/>
                <a:moveTo>
                  <a:pt x="8517438" y="1958553"/>
                </a:moveTo>
                <a:cubicBezTo>
                  <a:pt x="8521698" y="1958553"/>
                  <a:pt x="8525559" y="1959348"/>
                  <a:pt x="8529152" y="1961216"/>
                </a:cubicBezTo>
                <a:cubicBezTo>
                  <a:pt x="8532880" y="1962805"/>
                  <a:pt x="8535941" y="1964941"/>
                  <a:pt x="8538470" y="1967605"/>
                </a:cubicBezTo>
                <a:cubicBezTo>
                  <a:pt x="8541000" y="1970132"/>
                  <a:pt x="8543130" y="1973322"/>
                  <a:pt x="8544594" y="1976921"/>
                </a:cubicBezTo>
                <a:cubicBezTo>
                  <a:pt x="8546058" y="1980510"/>
                  <a:pt x="8546857" y="1984237"/>
                  <a:pt x="8546857" y="1988367"/>
                </a:cubicBezTo>
                <a:cubicBezTo>
                  <a:pt x="8546857" y="1992494"/>
                  <a:pt x="8546058" y="1996490"/>
                  <a:pt x="8544594" y="2000077"/>
                </a:cubicBezTo>
                <a:cubicBezTo>
                  <a:pt x="8542997" y="2003681"/>
                  <a:pt x="8541000" y="2006739"/>
                  <a:pt x="8538470" y="2009402"/>
                </a:cubicBezTo>
                <a:cubicBezTo>
                  <a:pt x="8535808" y="2012064"/>
                  <a:pt x="8532747" y="2014194"/>
                  <a:pt x="8529152" y="2015653"/>
                </a:cubicBezTo>
                <a:cubicBezTo>
                  <a:pt x="8525559" y="2017117"/>
                  <a:pt x="8521698" y="2017922"/>
                  <a:pt x="8517438" y="2017922"/>
                </a:cubicBezTo>
                <a:cubicBezTo>
                  <a:pt x="8508385" y="2017922"/>
                  <a:pt x="8501197" y="2014994"/>
                  <a:pt x="8495606" y="2009402"/>
                </a:cubicBezTo>
                <a:cubicBezTo>
                  <a:pt x="8490015" y="2003806"/>
                  <a:pt x="8487220" y="1996753"/>
                  <a:pt x="8487220" y="1988237"/>
                </a:cubicBezTo>
                <a:cubicBezTo>
                  <a:pt x="8487220" y="1979983"/>
                  <a:pt x="8490015" y="1972925"/>
                  <a:pt x="8495606" y="1967203"/>
                </a:cubicBezTo>
                <a:cubicBezTo>
                  <a:pt x="8501197" y="1961479"/>
                  <a:pt x="8508385" y="1958553"/>
                  <a:pt x="8517438" y="1958553"/>
                </a:cubicBezTo>
                <a:close/>
                <a:moveTo>
                  <a:pt x="8299793" y="1958553"/>
                </a:moveTo>
                <a:cubicBezTo>
                  <a:pt x="8304052" y="1958553"/>
                  <a:pt x="8308046" y="1959348"/>
                  <a:pt x="8311507" y="1961216"/>
                </a:cubicBezTo>
                <a:cubicBezTo>
                  <a:pt x="8315235" y="1962805"/>
                  <a:pt x="8318296" y="1964941"/>
                  <a:pt x="8320825" y="1967605"/>
                </a:cubicBezTo>
                <a:cubicBezTo>
                  <a:pt x="8323354" y="1970132"/>
                  <a:pt x="8325484" y="1973322"/>
                  <a:pt x="8326948" y="1976921"/>
                </a:cubicBezTo>
                <a:cubicBezTo>
                  <a:pt x="8328413" y="1980510"/>
                  <a:pt x="8329212" y="1984237"/>
                  <a:pt x="8329212" y="1988367"/>
                </a:cubicBezTo>
                <a:cubicBezTo>
                  <a:pt x="8329212" y="1992494"/>
                  <a:pt x="8328413" y="1996490"/>
                  <a:pt x="8326948" y="2000077"/>
                </a:cubicBezTo>
                <a:cubicBezTo>
                  <a:pt x="8325351" y="2003681"/>
                  <a:pt x="8323354" y="2006739"/>
                  <a:pt x="8320825" y="2009402"/>
                </a:cubicBezTo>
                <a:cubicBezTo>
                  <a:pt x="8318163" y="2012064"/>
                  <a:pt x="8315101" y="2014194"/>
                  <a:pt x="8311507" y="2015653"/>
                </a:cubicBezTo>
                <a:cubicBezTo>
                  <a:pt x="8307913" y="2017117"/>
                  <a:pt x="8304052" y="2017922"/>
                  <a:pt x="8299793" y="2017922"/>
                </a:cubicBezTo>
                <a:cubicBezTo>
                  <a:pt x="8290874" y="2017922"/>
                  <a:pt x="8283553" y="2014994"/>
                  <a:pt x="8277960" y="2009402"/>
                </a:cubicBezTo>
                <a:cubicBezTo>
                  <a:pt x="8272370" y="2003806"/>
                  <a:pt x="8269574" y="1996753"/>
                  <a:pt x="8269574" y="1988237"/>
                </a:cubicBezTo>
                <a:cubicBezTo>
                  <a:pt x="8269574" y="1979983"/>
                  <a:pt x="8272370" y="1972925"/>
                  <a:pt x="8277960" y="1967203"/>
                </a:cubicBezTo>
                <a:cubicBezTo>
                  <a:pt x="8283553" y="1961479"/>
                  <a:pt x="8290741" y="1958553"/>
                  <a:pt x="8299793" y="1958553"/>
                </a:cubicBezTo>
                <a:close/>
                <a:moveTo>
                  <a:pt x="8082281" y="1958553"/>
                </a:moveTo>
                <a:cubicBezTo>
                  <a:pt x="8086407" y="1958553"/>
                  <a:pt x="8090401" y="1959348"/>
                  <a:pt x="8094127" y="1961216"/>
                </a:cubicBezTo>
                <a:cubicBezTo>
                  <a:pt x="8097855" y="1962805"/>
                  <a:pt x="8100916" y="1964941"/>
                  <a:pt x="8103446" y="1967605"/>
                </a:cubicBezTo>
                <a:cubicBezTo>
                  <a:pt x="8105975" y="1970132"/>
                  <a:pt x="8108104" y="1973322"/>
                  <a:pt x="8109569" y="1976921"/>
                </a:cubicBezTo>
                <a:cubicBezTo>
                  <a:pt x="8111033" y="1980510"/>
                  <a:pt x="8111832" y="1984237"/>
                  <a:pt x="8111832" y="1988367"/>
                </a:cubicBezTo>
                <a:cubicBezTo>
                  <a:pt x="8111832" y="1992494"/>
                  <a:pt x="8111033" y="1996490"/>
                  <a:pt x="8109569" y="2000077"/>
                </a:cubicBezTo>
                <a:cubicBezTo>
                  <a:pt x="8107972" y="2003681"/>
                  <a:pt x="8105975" y="2006739"/>
                  <a:pt x="8103446" y="2009402"/>
                </a:cubicBezTo>
                <a:cubicBezTo>
                  <a:pt x="8100783" y="2012064"/>
                  <a:pt x="8097722" y="2014194"/>
                  <a:pt x="8094127" y="2015653"/>
                </a:cubicBezTo>
                <a:cubicBezTo>
                  <a:pt x="8090401" y="2017117"/>
                  <a:pt x="8086540" y="2017922"/>
                  <a:pt x="8082281" y="2017922"/>
                </a:cubicBezTo>
                <a:cubicBezTo>
                  <a:pt x="8073361" y="2017922"/>
                  <a:pt x="8066040" y="2014994"/>
                  <a:pt x="8060448" y="2009402"/>
                </a:cubicBezTo>
                <a:cubicBezTo>
                  <a:pt x="8054857" y="2003806"/>
                  <a:pt x="8052062" y="1996753"/>
                  <a:pt x="8052062" y="1988237"/>
                </a:cubicBezTo>
                <a:cubicBezTo>
                  <a:pt x="8052062" y="1979983"/>
                  <a:pt x="8054857" y="1972925"/>
                  <a:pt x="8060448" y="1967203"/>
                </a:cubicBezTo>
                <a:cubicBezTo>
                  <a:pt x="8066040" y="1961479"/>
                  <a:pt x="8073228" y="1958553"/>
                  <a:pt x="8082281" y="1958553"/>
                </a:cubicBezTo>
                <a:close/>
                <a:moveTo>
                  <a:pt x="7864636" y="1958553"/>
                </a:moveTo>
                <a:cubicBezTo>
                  <a:pt x="7868762" y="1958553"/>
                  <a:pt x="7872756" y="1959348"/>
                  <a:pt x="7876483" y="1961216"/>
                </a:cubicBezTo>
                <a:cubicBezTo>
                  <a:pt x="7880210" y="1962805"/>
                  <a:pt x="7883272" y="1964941"/>
                  <a:pt x="7885802" y="1967605"/>
                </a:cubicBezTo>
                <a:cubicBezTo>
                  <a:pt x="7888331" y="1970132"/>
                  <a:pt x="7890460" y="1973322"/>
                  <a:pt x="7891924" y="1976921"/>
                </a:cubicBezTo>
                <a:cubicBezTo>
                  <a:pt x="7893389" y="1980510"/>
                  <a:pt x="7894188" y="1984237"/>
                  <a:pt x="7894188" y="1988367"/>
                </a:cubicBezTo>
                <a:cubicBezTo>
                  <a:pt x="7894188" y="1992494"/>
                  <a:pt x="7893389" y="1996490"/>
                  <a:pt x="7891924" y="2000077"/>
                </a:cubicBezTo>
                <a:cubicBezTo>
                  <a:pt x="7890327" y="2003681"/>
                  <a:pt x="7888331" y="2006739"/>
                  <a:pt x="7885802" y="2009402"/>
                </a:cubicBezTo>
                <a:cubicBezTo>
                  <a:pt x="7883139" y="2012064"/>
                  <a:pt x="7880078" y="2014194"/>
                  <a:pt x="7876483" y="2015653"/>
                </a:cubicBezTo>
                <a:cubicBezTo>
                  <a:pt x="7872756" y="2017117"/>
                  <a:pt x="7868895" y="2017922"/>
                  <a:pt x="7864636" y="2017922"/>
                </a:cubicBezTo>
                <a:cubicBezTo>
                  <a:pt x="7855717" y="2017922"/>
                  <a:pt x="7848396" y="2014994"/>
                  <a:pt x="7842803" y="2009402"/>
                </a:cubicBezTo>
                <a:cubicBezTo>
                  <a:pt x="7837213" y="2003806"/>
                  <a:pt x="7834417" y="1996753"/>
                  <a:pt x="7834417" y="1988237"/>
                </a:cubicBezTo>
                <a:cubicBezTo>
                  <a:pt x="7834417" y="1979983"/>
                  <a:pt x="7837213" y="1972925"/>
                  <a:pt x="7842803" y="1967203"/>
                </a:cubicBezTo>
                <a:cubicBezTo>
                  <a:pt x="7848396" y="1961479"/>
                  <a:pt x="7855584" y="1958553"/>
                  <a:pt x="7864636" y="1958553"/>
                </a:cubicBezTo>
                <a:close/>
                <a:moveTo>
                  <a:pt x="7646991" y="1958553"/>
                </a:moveTo>
                <a:cubicBezTo>
                  <a:pt x="7651250" y="1958553"/>
                  <a:pt x="7655111" y="1959348"/>
                  <a:pt x="7658705" y="1961216"/>
                </a:cubicBezTo>
                <a:cubicBezTo>
                  <a:pt x="7662432" y="1962805"/>
                  <a:pt x="7665493" y="1964941"/>
                  <a:pt x="7668022" y="1967605"/>
                </a:cubicBezTo>
                <a:cubicBezTo>
                  <a:pt x="7670552" y="1970132"/>
                  <a:pt x="7672682" y="1973322"/>
                  <a:pt x="7674146" y="1976921"/>
                </a:cubicBezTo>
                <a:cubicBezTo>
                  <a:pt x="7675610" y="1980510"/>
                  <a:pt x="7676409" y="1984237"/>
                  <a:pt x="7676409" y="1988367"/>
                </a:cubicBezTo>
                <a:cubicBezTo>
                  <a:pt x="7676409" y="1992494"/>
                  <a:pt x="7675610" y="1996490"/>
                  <a:pt x="7674146" y="2000077"/>
                </a:cubicBezTo>
                <a:cubicBezTo>
                  <a:pt x="7672549" y="2003681"/>
                  <a:pt x="7670552" y="2006739"/>
                  <a:pt x="7668022" y="2009402"/>
                </a:cubicBezTo>
                <a:cubicBezTo>
                  <a:pt x="7665361" y="2012064"/>
                  <a:pt x="7662299" y="2014194"/>
                  <a:pt x="7658705" y="2015653"/>
                </a:cubicBezTo>
                <a:cubicBezTo>
                  <a:pt x="7655111" y="2017117"/>
                  <a:pt x="7651250" y="2017922"/>
                  <a:pt x="7646991" y="2017922"/>
                </a:cubicBezTo>
                <a:cubicBezTo>
                  <a:pt x="7638071" y="2017922"/>
                  <a:pt x="7630750" y="2014994"/>
                  <a:pt x="7625158" y="2009402"/>
                </a:cubicBezTo>
                <a:cubicBezTo>
                  <a:pt x="7619568" y="2003806"/>
                  <a:pt x="7616772" y="1996753"/>
                  <a:pt x="7616772" y="1988237"/>
                </a:cubicBezTo>
                <a:cubicBezTo>
                  <a:pt x="7616772" y="1979983"/>
                  <a:pt x="7619568" y="1972925"/>
                  <a:pt x="7625158" y="1967203"/>
                </a:cubicBezTo>
                <a:cubicBezTo>
                  <a:pt x="7630750" y="1961479"/>
                  <a:pt x="7637939" y="1958553"/>
                  <a:pt x="7646991" y="1958553"/>
                </a:cubicBezTo>
                <a:close/>
                <a:moveTo>
                  <a:pt x="7429345" y="1958553"/>
                </a:moveTo>
                <a:cubicBezTo>
                  <a:pt x="7433605" y="1958553"/>
                  <a:pt x="7437466" y="1959348"/>
                  <a:pt x="7441059" y="1961216"/>
                </a:cubicBezTo>
                <a:cubicBezTo>
                  <a:pt x="7444787" y="1962805"/>
                  <a:pt x="7447848" y="1964941"/>
                  <a:pt x="7450377" y="1967605"/>
                </a:cubicBezTo>
                <a:cubicBezTo>
                  <a:pt x="7452907" y="1970132"/>
                  <a:pt x="7455036" y="1973322"/>
                  <a:pt x="7456501" y="1976921"/>
                </a:cubicBezTo>
                <a:cubicBezTo>
                  <a:pt x="7457965" y="1980510"/>
                  <a:pt x="7458764" y="1984237"/>
                  <a:pt x="7458764" y="1988367"/>
                </a:cubicBezTo>
                <a:cubicBezTo>
                  <a:pt x="7458764" y="1992494"/>
                  <a:pt x="7457965" y="1996490"/>
                  <a:pt x="7456501" y="2000077"/>
                </a:cubicBezTo>
                <a:cubicBezTo>
                  <a:pt x="7454904" y="2003681"/>
                  <a:pt x="7452907" y="2006739"/>
                  <a:pt x="7450377" y="2009402"/>
                </a:cubicBezTo>
                <a:cubicBezTo>
                  <a:pt x="7447715" y="2012064"/>
                  <a:pt x="7444654" y="2014194"/>
                  <a:pt x="7441059" y="2015653"/>
                </a:cubicBezTo>
                <a:cubicBezTo>
                  <a:pt x="7437466" y="2017117"/>
                  <a:pt x="7433605" y="2017922"/>
                  <a:pt x="7429345" y="2017922"/>
                </a:cubicBezTo>
                <a:cubicBezTo>
                  <a:pt x="7420426" y="2017922"/>
                  <a:pt x="7413105" y="2014994"/>
                  <a:pt x="7407513" y="2009402"/>
                </a:cubicBezTo>
                <a:cubicBezTo>
                  <a:pt x="7401922" y="2003806"/>
                  <a:pt x="7399127" y="1996753"/>
                  <a:pt x="7399127" y="1988237"/>
                </a:cubicBezTo>
                <a:cubicBezTo>
                  <a:pt x="7399127" y="1979983"/>
                  <a:pt x="7401922" y="1972925"/>
                  <a:pt x="7407513" y="1967203"/>
                </a:cubicBezTo>
                <a:cubicBezTo>
                  <a:pt x="7413105" y="1961479"/>
                  <a:pt x="7420293" y="1958553"/>
                  <a:pt x="7429345" y="1958553"/>
                </a:cubicBezTo>
                <a:close/>
                <a:moveTo>
                  <a:pt x="7211701" y="1958553"/>
                </a:moveTo>
                <a:cubicBezTo>
                  <a:pt x="7215960" y="1958553"/>
                  <a:pt x="7219954" y="1959348"/>
                  <a:pt x="7223415" y="1961216"/>
                </a:cubicBezTo>
                <a:cubicBezTo>
                  <a:pt x="7227142" y="1962805"/>
                  <a:pt x="7230204" y="1964941"/>
                  <a:pt x="7232733" y="1967605"/>
                </a:cubicBezTo>
                <a:cubicBezTo>
                  <a:pt x="7235262" y="1970132"/>
                  <a:pt x="7237392" y="1973322"/>
                  <a:pt x="7238856" y="1976921"/>
                </a:cubicBezTo>
                <a:cubicBezTo>
                  <a:pt x="7240321" y="1980510"/>
                  <a:pt x="7241120" y="1984237"/>
                  <a:pt x="7241120" y="1988367"/>
                </a:cubicBezTo>
                <a:cubicBezTo>
                  <a:pt x="7241120" y="1992494"/>
                  <a:pt x="7240321" y="1996490"/>
                  <a:pt x="7238856" y="2000077"/>
                </a:cubicBezTo>
                <a:cubicBezTo>
                  <a:pt x="7237259" y="2003681"/>
                  <a:pt x="7235262" y="2006739"/>
                  <a:pt x="7232733" y="2009402"/>
                </a:cubicBezTo>
                <a:cubicBezTo>
                  <a:pt x="7230071" y="2012064"/>
                  <a:pt x="7227009" y="2014194"/>
                  <a:pt x="7223415" y="2015653"/>
                </a:cubicBezTo>
                <a:cubicBezTo>
                  <a:pt x="7219821" y="2017117"/>
                  <a:pt x="7215960" y="2017922"/>
                  <a:pt x="7211701" y="2017922"/>
                </a:cubicBezTo>
                <a:cubicBezTo>
                  <a:pt x="7202782" y="2017922"/>
                  <a:pt x="7195460" y="2014994"/>
                  <a:pt x="7189868" y="2009402"/>
                </a:cubicBezTo>
                <a:cubicBezTo>
                  <a:pt x="7184278" y="2003806"/>
                  <a:pt x="7181482" y="1996753"/>
                  <a:pt x="7181482" y="1988237"/>
                </a:cubicBezTo>
                <a:cubicBezTo>
                  <a:pt x="7181482" y="1979983"/>
                  <a:pt x="7184278" y="1972925"/>
                  <a:pt x="7189868" y="1967203"/>
                </a:cubicBezTo>
                <a:cubicBezTo>
                  <a:pt x="7195460" y="1961479"/>
                  <a:pt x="7202649" y="1958553"/>
                  <a:pt x="7211701" y="1958553"/>
                </a:cubicBezTo>
                <a:close/>
                <a:moveTo>
                  <a:pt x="6994056" y="1958553"/>
                </a:moveTo>
                <a:cubicBezTo>
                  <a:pt x="6998315" y="1958553"/>
                  <a:pt x="7002309" y="1959348"/>
                  <a:pt x="7005769" y="1961216"/>
                </a:cubicBezTo>
                <a:cubicBezTo>
                  <a:pt x="7009497" y="1962805"/>
                  <a:pt x="7012558" y="1964941"/>
                  <a:pt x="7015087" y="1967605"/>
                </a:cubicBezTo>
                <a:cubicBezTo>
                  <a:pt x="7017617" y="1970132"/>
                  <a:pt x="7019747" y="1973322"/>
                  <a:pt x="7021211" y="1976921"/>
                </a:cubicBezTo>
                <a:cubicBezTo>
                  <a:pt x="7022675" y="1980510"/>
                  <a:pt x="7023474" y="1984237"/>
                  <a:pt x="7023474" y="1988367"/>
                </a:cubicBezTo>
                <a:cubicBezTo>
                  <a:pt x="7023474" y="1992494"/>
                  <a:pt x="7022675" y="1996490"/>
                  <a:pt x="7021211" y="2000077"/>
                </a:cubicBezTo>
                <a:cubicBezTo>
                  <a:pt x="7019614" y="2003681"/>
                  <a:pt x="7017617" y="2006739"/>
                  <a:pt x="7015087" y="2009402"/>
                </a:cubicBezTo>
                <a:cubicBezTo>
                  <a:pt x="7012425" y="2012064"/>
                  <a:pt x="7009364" y="2014194"/>
                  <a:pt x="7005769" y="2015653"/>
                </a:cubicBezTo>
                <a:cubicBezTo>
                  <a:pt x="7002176" y="2017117"/>
                  <a:pt x="6998315" y="2017922"/>
                  <a:pt x="6994056" y="2017922"/>
                </a:cubicBezTo>
                <a:cubicBezTo>
                  <a:pt x="6985136" y="2017922"/>
                  <a:pt x="6977815" y="2014994"/>
                  <a:pt x="6972223" y="2009402"/>
                </a:cubicBezTo>
                <a:cubicBezTo>
                  <a:pt x="6966632" y="2003806"/>
                  <a:pt x="6963837" y="1996753"/>
                  <a:pt x="6963837" y="1988237"/>
                </a:cubicBezTo>
                <a:cubicBezTo>
                  <a:pt x="6963837" y="1979983"/>
                  <a:pt x="6966632" y="1972925"/>
                  <a:pt x="6972223" y="1967203"/>
                </a:cubicBezTo>
                <a:cubicBezTo>
                  <a:pt x="6977815" y="1961479"/>
                  <a:pt x="6985003" y="1958553"/>
                  <a:pt x="6994056" y="1958553"/>
                </a:cubicBezTo>
                <a:close/>
                <a:moveTo>
                  <a:pt x="6776544" y="1958553"/>
                </a:moveTo>
                <a:cubicBezTo>
                  <a:pt x="6780670" y="1958553"/>
                  <a:pt x="6784664" y="1959348"/>
                  <a:pt x="6788258" y="1961216"/>
                </a:cubicBezTo>
                <a:cubicBezTo>
                  <a:pt x="6791985" y="1962805"/>
                  <a:pt x="6795047" y="1964941"/>
                  <a:pt x="6797576" y="1967605"/>
                </a:cubicBezTo>
                <a:cubicBezTo>
                  <a:pt x="6800105" y="1970132"/>
                  <a:pt x="6802235" y="1973322"/>
                  <a:pt x="6803699" y="1976921"/>
                </a:cubicBezTo>
                <a:cubicBezTo>
                  <a:pt x="6805164" y="1980510"/>
                  <a:pt x="6805963" y="1984237"/>
                  <a:pt x="6805963" y="1988367"/>
                </a:cubicBezTo>
                <a:cubicBezTo>
                  <a:pt x="6805963" y="1992494"/>
                  <a:pt x="6805164" y="1996490"/>
                  <a:pt x="6803699" y="2000077"/>
                </a:cubicBezTo>
                <a:cubicBezTo>
                  <a:pt x="6802102" y="2003681"/>
                  <a:pt x="6800105" y="2006739"/>
                  <a:pt x="6797576" y="2009402"/>
                </a:cubicBezTo>
                <a:cubicBezTo>
                  <a:pt x="6794914" y="2012064"/>
                  <a:pt x="6791852" y="2014194"/>
                  <a:pt x="6788258" y="2015653"/>
                </a:cubicBezTo>
                <a:cubicBezTo>
                  <a:pt x="6784664" y="2017117"/>
                  <a:pt x="6780803" y="2017922"/>
                  <a:pt x="6776544" y="2017922"/>
                </a:cubicBezTo>
                <a:cubicBezTo>
                  <a:pt x="6767625" y="2017922"/>
                  <a:pt x="6760303" y="2014994"/>
                  <a:pt x="6754711" y="2009402"/>
                </a:cubicBezTo>
                <a:cubicBezTo>
                  <a:pt x="6749121" y="2003806"/>
                  <a:pt x="6746325" y="1996753"/>
                  <a:pt x="6746325" y="1988237"/>
                </a:cubicBezTo>
                <a:cubicBezTo>
                  <a:pt x="6746325" y="1979983"/>
                  <a:pt x="6749121" y="1972925"/>
                  <a:pt x="6754711" y="1967203"/>
                </a:cubicBezTo>
                <a:cubicBezTo>
                  <a:pt x="6760303" y="1961479"/>
                  <a:pt x="6767492" y="1958553"/>
                  <a:pt x="6776544" y="1958553"/>
                </a:cubicBezTo>
                <a:close/>
                <a:moveTo>
                  <a:pt x="6558899" y="1958553"/>
                </a:moveTo>
                <a:cubicBezTo>
                  <a:pt x="6563158" y="1958553"/>
                  <a:pt x="6567019" y="1959348"/>
                  <a:pt x="6570612" y="1961216"/>
                </a:cubicBezTo>
                <a:cubicBezTo>
                  <a:pt x="6574340" y="1962805"/>
                  <a:pt x="6577401" y="1964941"/>
                  <a:pt x="6579930" y="1967605"/>
                </a:cubicBezTo>
                <a:cubicBezTo>
                  <a:pt x="6582460" y="1970132"/>
                  <a:pt x="6584590" y="1973322"/>
                  <a:pt x="6586054" y="1976921"/>
                </a:cubicBezTo>
                <a:cubicBezTo>
                  <a:pt x="6587518" y="1980510"/>
                  <a:pt x="6588317" y="1984237"/>
                  <a:pt x="6588317" y="1988367"/>
                </a:cubicBezTo>
                <a:cubicBezTo>
                  <a:pt x="6588317" y="1992494"/>
                  <a:pt x="6587518" y="1996490"/>
                  <a:pt x="6586054" y="2000077"/>
                </a:cubicBezTo>
                <a:cubicBezTo>
                  <a:pt x="6584457" y="2003681"/>
                  <a:pt x="6582460" y="2006739"/>
                  <a:pt x="6579930" y="2009402"/>
                </a:cubicBezTo>
                <a:cubicBezTo>
                  <a:pt x="6577268" y="2012064"/>
                  <a:pt x="6574207" y="2014194"/>
                  <a:pt x="6570612" y="2015653"/>
                </a:cubicBezTo>
                <a:cubicBezTo>
                  <a:pt x="6567019" y="2017117"/>
                  <a:pt x="6563158" y="2017922"/>
                  <a:pt x="6558899" y="2017922"/>
                </a:cubicBezTo>
                <a:cubicBezTo>
                  <a:pt x="6549979" y="2017922"/>
                  <a:pt x="6542658" y="2014994"/>
                  <a:pt x="6537066" y="2009402"/>
                </a:cubicBezTo>
                <a:cubicBezTo>
                  <a:pt x="6531476" y="2003806"/>
                  <a:pt x="6528680" y="1996753"/>
                  <a:pt x="6528680" y="1988237"/>
                </a:cubicBezTo>
                <a:cubicBezTo>
                  <a:pt x="6528680" y="1979983"/>
                  <a:pt x="6531476" y="1972925"/>
                  <a:pt x="6537066" y="1967203"/>
                </a:cubicBezTo>
                <a:cubicBezTo>
                  <a:pt x="6542658" y="1961479"/>
                  <a:pt x="6549846" y="1958553"/>
                  <a:pt x="6558899" y="1958553"/>
                </a:cubicBezTo>
                <a:close/>
                <a:moveTo>
                  <a:pt x="6341253" y="1958553"/>
                </a:moveTo>
                <a:cubicBezTo>
                  <a:pt x="6345513" y="1958553"/>
                  <a:pt x="6349373" y="1959348"/>
                  <a:pt x="6352968" y="1961216"/>
                </a:cubicBezTo>
                <a:cubicBezTo>
                  <a:pt x="6356695" y="1962805"/>
                  <a:pt x="6359757" y="1964941"/>
                  <a:pt x="6362286" y="1967605"/>
                </a:cubicBezTo>
                <a:cubicBezTo>
                  <a:pt x="6364815" y="1970132"/>
                  <a:pt x="6366945" y="1973322"/>
                  <a:pt x="6368409" y="1976921"/>
                </a:cubicBezTo>
                <a:cubicBezTo>
                  <a:pt x="6369874" y="1980510"/>
                  <a:pt x="6370672" y="1984237"/>
                  <a:pt x="6370672" y="1988367"/>
                </a:cubicBezTo>
                <a:cubicBezTo>
                  <a:pt x="6370672" y="1992494"/>
                  <a:pt x="6369874" y="1996490"/>
                  <a:pt x="6368409" y="2000077"/>
                </a:cubicBezTo>
                <a:cubicBezTo>
                  <a:pt x="6366811" y="2003681"/>
                  <a:pt x="6364815" y="2006739"/>
                  <a:pt x="6362286" y="2009402"/>
                </a:cubicBezTo>
                <a:cubicBezTo>
                  <a:pt x="6359623" y="2012064"/>
                  <a:pt x="6356562" y="2014194"/>
                  <a:pt x="6352968" y="2015653"/>
                </a:cubicBezTo>
                <a:cubicBezTo>
                  <a:pt x="6349373" y="2017117"/>
                  <a:pt x="6345513" y="2017922"/>
                  <a:pt x="6341253" y="2017922"/>
                </a:cubicBezTo>
                <a:cubicBezTo>
                  <a:pt x="6332335" y="2017922"/>
                  <a:pt x="6325013" y="2014994"/>
                  <a:pt x="6319421" y="2009402"/>
                </a:cubicBezTo>
                <a:cubicBezTo>
                  <a:pt x="6313830" y="2003806"/>
                  <a:pt x="6311035" y="1996753"/>
                  <a:pt x="6311035" y="1988237"/>
                </a:cubicBezTo>
                <a:cubicBezTo>
                  <a:pt x="6311035" y="1979983"/>
                  <a:pt x="6313830" y="1972925"/>
                  <a:pt x="6319421" y="1967203"/>
                </a:cubicBezTo>
                <a:cubicBezTo>
                  <a:pt x="6325013" y="1961479"/>
                  <a:pt x="6332201" y="1958553"/>
                  <a:pt x="6341253" y="1958553"/>
                </a:cubicBezTo>
                <a:close/>
                <a:moveTo>
                  <a:pt x="6123608" y="1958553"/>
                </a:moveTo>
                <a:cubicBezTo>
                  <a:pt x="6127867" y="1958553"/>
                  <a:pt x="6131728" y="1959348"/>
                  <a:pt x="6135322" y="1961216"/>
                </a:cubicBezTo>
                <a:cubicBezTo>
                  <a:pt x="6139049" y="1962805"/>
                  <a:pt x="6142111" y="1964941"/>
                  <a:pt x="6144640" y="1967605"/>
                </a:cubicBezTo>
                <a:cubicBezTo>
                  <a:pt x="6147169" y="1970132"/>
                  <a:pt x="6149299" y="1973322"/>
                  <a:pt x="6150763" y="1976921"/>
                </a:cubicBezTo>
                <a:cubicBezTo>
                  <a:pt x="6152228" y="1980510"/>
                  <a:pt x="6153026" y="1984237"/>
                  <a:pt x="6153026" y="1988367"/>
                </a:cubicBezTo>
                <a:cubicBezTo>
                  <a:pt x="6153026" y="1992494"/>
                  <a:pt x="6152228" y="1996490"/>
                  <a:pt x="6150763" y="2000077"/>
                </a:cubicBezTo>
                <a:cubicBezTo>
                  <a:pt x="6149299" y="2003681"/>
                  <a:pt x="6147169" y="2006739"/>
                  <a:pt x="6144640" y="2009402"/>
                </a:cubicBezTo>
                <a:cubicBezTo>
                  <a:pt x="6141977" y="2012064"/>
                  <a:pt x="6138916" y="2014194"/>
                  <a:pt x="6135322" y="2015653"/>
                </a:cubicBezTo>
                <a:cubicBezTo>
                  <a:pt x="6131728" y="2017117"/>
                  <a:pt x="6127867" y="2017922"/>
                  <a:pt x="6123608" y="2017922"/>
                </a:cubicBezTo>
                <a:cubicBezTo>
                  <a:pt x="6114689" y="2017922"/>
                  <a:pt x="6107367" y="2014994"/>
                  <a:pt x="6101775" y="2009402"/>
                </a:cubicBezTo>
                <a:cubicBezTo>
                  <a:pt x="6096184" y="2003806"/>
                  <a:pt x="6093389" y="1996753"/>
                  <a:pt x="6093389" y="1988237"/>
                </a:cubicBezTo>
                <a:cubicBezTo>
                  <a:pt x="6093389" y="1979983"/>
                  <a:pt x="6096184" y="1972925"/>
                  <a:pt x="6101775" y="1967203"/>
                </a:cubicBezTo>
                <a:cubicBezTo>
                  <a:pt x="6107367" y="1961479"/>
                  <a:pt x="6114555" y="1958553"/>
                  <a:pt x="6123608" y="1958553"/>
                </a:cubicBezTo>
                <a:close/>
                <a:moveTo>
                  <a:pt x="5905963" y="1958553"/>
                </a:moveTo>
                <a:cubicBezTo>
                  <a:pt x="5910222" y="1958553"/>
                  <a:pt x="5914216" y="1959348"/>
                  <a:pt x="5917677" y="1961216"/>
                </a:cubicBezTo>
                <a:cubicBezTo>
                  <a:pt x="5921404" y="1962805"/>
                  <a:pt x="5924466" y="1964941"/>
                  <a:pt x="5926995" y="1967605"/>
                </a:cubicBezTo>
                <a:cubicBezTo>
                  <a:pt x="5929524" y="1970132"/>
                  <a:pt x="5931654" y="1973322"/>
                  <a:pt x="5933118" y="1976921"/>
                </a:cubicBezTo>
                <a:cubicBezTo>
                  <a:pt x="5934583" y="1980510"/>
                  <a:pt x="5935381" y="1984237"/>
                  <a:pt x="5935381" y="1988367"/>
                </a:cubicBezTo>
                <a:cubicBezTo>
                  <a:pt x="5935381" y="1992494"/>
                  <a:pt x="5934583" y="1996490"/>
                  <a:pt x="5933118" y="2000077"/>
                </a:cubicBezTo>
                <a:cubicBezTo>
                  <a:pt x="5931654" y="2003681"/>
                  <a:pt x="5929524" y="2006739"/>
                  <a:pt x="5926995" y="2009402"/>
                </a:cubicBezTo>
                <a:cubicBezTo>
                  <a:pt x="5924333" y="2012064"/>
                  <a:pt x="5921271" y="2014194"/>
                  <a:pt x="5917677" y="2015653"/>
                </a:cubicBezTo>
                <a:cubicBezTo>
                  <a:pt x="5914083" y="2017117"/>
                  <a:pt x="5910222" y="2017922"/>
                  <a:pt x="5905963" y="2017922"/>
                </a:cubicBezTo>
                <a:cubicBezTo>
                  <a:pt x="5897044" y="2017922"/>
                  <a:pt x="5889722" y="2014994"/>
                  <a:pt x="5884130" y="2009402"/>
                </a:cubicBezTo>
                <a:cubicBezTo>
                  <a:pt x="5878540" y="2003806"/>
                  <a:pt x="5875744" y="1996753"/>
                  <a:pt x="5875744" y="1988237"/>
                </a:cubicBezTo>
                <a:cubicBezTo>
                  <a:pt x="5875744" y="1979983"/>
                  <a:pt x="5878540" y="1972925"/>
                  <a:pt x="5884130" y="1967203"/>
                </a:cubicBezTo>
                <a:cubicBezTo>
                  <a:pt x="5889722" y="1961479"/>
                  <a:pt x="5896910" y="1958553"/>
                  <a:pt x="5905963" y="1958553"/>
                </a:cubicBezTo>
                <a:close/>
                <a:moveTo>
                  <a:pt x="5688451" y="1958553"/>
                </a:moveTo>
                <a:cubicBezTo>
                  <a:pt x="5692577" y="1958553"/>
                  <a:pt x="5696571" y="1959348"/>
                  <a:pt x="5700165" y="1961216"/>
                </a:cubicBezTo>
                <a:cubicBezTo>
                  <a:pt x="5703892" y="1962805"/>
                  <a:pt x="5706954" y="1964941"/>
                  <a:pt x="5709483" y="1967605"/>
                </a:cubicBezTo>
                <a:cubicBezTo>
                  <a:pt x="5712012" y="1970132"/>
                  <a:pt x="5714142" y="1973322"/>
                  <a:pt x="5715606" y="1976921"/>
                </a:cubicBezTo>
                <a:cubicBezTo>
                  <a:pt x="5717071" y="1980510"/>
                  <a:pt x="5717869" y="1984237"/>
                  <a:pt x="5717869" y="1988367"/>
                </a:cubicBezTo>
                <a:cubicBezTo>
                  <a:pt x="5717869" y="1992494"/>
                  <a:pt x="5717071" y="1996490"/>
                  <a:pt x="5715606" y="2000077"/>
                </a:cubicBezTo>
                <a:cubicBezTo>
                  <a:pt x="5714142" y="2003681"/>
                  <a:pt x="5712012" y="2006739"/>
                  <a:pt x="5709483" y="2009402"/>
                </a:cubicBezTo>
                <a:cubicBezTo>
                  <a:pt x="5706820" y="2012064"/>
                  <a:pt x="5703759" y="2014194"/>
                  <a:pt x="5700165" y="2015653"/>
                </a:cubicBezTo>
                <a:cubicBezTo>
                  <a:pt x="5696571" y="2017117"/>
                  <a:pt x="5692710" y="2017922"/>
                  <a:pt x="5688451" y="2017922"/>
                </a:cubicBezTo>
                <a:cubicBezTo>
                  <a:pt x="5679532" y="2017922"/>
                  <a:pt x="5672210" y="2014994"/>
                  <a:pt x="5666618" y="2009402"/>
                </a:cubicBezTo>
                <a:cubicBezTo>
                  <a:pt x="5661028" y="2003806"/>
                  <a:pt x="5658232" y="1996753"/>
                  <a:pt x="5658232" y="1988237"/>
                </a:cubicBezTo>
                <a:cubicBezTo>
                  <a:pt x="5658232" y="1979983"/>
                  <a:pt x="5661028" y="1972925"/>
                  <a:pt x="5666618" y="1967203"/>
                </a:cubicBezTo>
                <a:cubicBezTo>
                  <a:pt x="5672210" y="1961479"/>
                  <a:pt x="5679398" y="1958553"/>
                  <a:pt x="5688451" y="1958553"/>
                </a:cubicBezTo>
                <a:close/>
                <a:moveTo>
                  <a:pt x="5470806" y="1958553"/>
                </a:moveTo>
                <a:cubicBezTo>
                  <a:pt x="5475065" y="1958553"/>
                  <a:pt x="5478926" y="1959348"/>
                  <a:pt x="5482520" y="1961216"/>
                </a:cubicBezTo>
                <a:cubicBezTo>
                  <a:pt x="5486247" y="1962805"/>
                  <a:pt x="5489309" y="1964941"/>
                  <a:pt x="5491838" y="1967605"/>
                </a:cubicBezTo>
                <a:cubicBezTo>
                  <a:pt x="5494367" y="1970132"/>
                  <a:pt x="5496497" y="1973322"/>
                  <a:pt x="5497961" y="1976921"/>
                </a:cubicBezTo>
                <a:cubicBezTo>
                  <a:pt x="5499426" y="1980510"/>
                  <a:pt x="5500224" y="1984237"/>
                  <a:pt x="5500224" y="1988367"/>
                </a:cubicBezTo>
                <a:cubicBezTo>
                  <a:pt x="5500224" y="1992494"/>
                  <a:pt x="5499426" y="1996490"/>
                  <a:pt x="5497961" y="2000077"/>
                </a:cubicBezTo>
                <a:cubicBezTo>
                  <a:pt x="5496497" y="2003681"/>
                  <a:pt x="5494367" y="2006739"/>
                  <a:pt x="5491838" y="2009402"/>
                </a:cubicBezTo>
                <a:cubicBezTo>
                  <a:pt x="5489176" y="2012064"/>
                  <a:pt x="5486114" y="2014194"/>
                  <a:pt x="5482520" y="2015653"/>
                </a:cubicBezTo>
                <a:cubicBezTo>
                  <a:pt x="5478926" y="2017117"/>
                  <a:pt x="5475065" y="2017922"/>
                  <a:pt x="5470806" y="2017922"/>
                </a:cubicBezTo>
                <a:cubicBezTo>
                  <a:pt x="5461887" y="2017922"/>
                  <a:pt x="5454565" y="2014994"/>
                  <a:pt x="5448973" y="2009402"/>
                </a:cubicBezTo>
                <a:cubicBezTo>
                  <a:pt x="5443383" y="2003806"/>
                  <a:pt x="5440587" y="1996753"/>
                  <a:pt x="5440587" y="1988237"/>
                </a:cubicBezTo>
                <a:cubicBezTo>
                  <a:pt x="5440587" y="1979983"/>
                  <a:pt x="5443383" y="1972925"/>
                  <a:pt x="5448973" y="1967203"/>
                </a:cubicBezTo>
                <a:cubicBezTo>
                  <a:pt x="5454565" y="1961479"/>
                  <a:pt x="5461754" y="1958553"/>
                  <a:pt x="5470806" y="1958553"/>
                </a:cubicBezTo>
                <a:close/>
                <a:moveTo>
                  <a:pt x="5253160" y="1958553"/>
                </a:moveTo>
                <a:cubicBezTo>
                  <a:pt x="5257420" y="1958553"/>
                  <a:pt x="5261280" y="1959348"/>
                  <a:pt x="5264875" y="1961216"/>
                </a:cubicBezTo>
                <a:cubicBezTo>
                  <a:pt x="5268602" y="1962805"/>
                  <a:pt x="5271664" y="1964941"/>
                  <a:pt x="5274192" y="1967605"/>
                </a:cubicBezTo>
                <a:cubicBezTo>
                  <a:pt x="5276722" y="1970132"/>
                  <a:pt x="5278852" y="1973322"/>
                  <a:pt x="5280316" y="1976921"/>
                </a:cubicBezTo>
                <a:cubicBezTo>
                  <a:pt x="5281780" y="1980510"/>
                  <a:pt x="5282579" y="1984237"/>
                  <a:pt x="5282579" y="1988367"/>
                </a:cubicBezTo>
                <a:cubicBezTo>
                  <a:pt x="5282579" y="1992494"/>
                  <a:pt x="5281780" y="1996490"/>
                  <a:pt x="5280316" y="2000077"/>
                </a:cubicBezTo>
                <a:cubicBezTo>
                  <a:pt x="5278852" y="2003681"/>
                  <a:pt x="5276722" y="2006739"/>
                  <a:pt x="5274192" y="2009402"/>
                </a:cubicBezTo>
                <a:cubicBezTo>
                  <a:pt x="5271664" y="2012064"/>
                  <a:pt x="5268469" y="2014194"/>
                  <a:pt x="5264875" y="2015653"/>
                </a:cubicBezTo>
                <a:cubicBezTo>
                  <a:pt x="5261280" y="2017117"/>
                  <a:pt x="5257420" y="2017922"/>
                  <a:pt x="5253160" y="2017922"/>
                </a:cubicBezTo>
                <a:cubicBezTo>
                  <a:pt x="5244241" y="2017922"/>
                  <a:pt x="5236920" y="2014994"/>
                  <a:pt x="5231328" y="2009402"/>
                </a:cubicBezTo>
                <a:cubicBezTo>
                  <a:pt x="5225737" y="2003806"/>
                  <a:pt x="5222942" y="1996753"/>
                  <a:pt x="5222942" y="1988237"/>
                </a:cubicBezTo>
                <a:cubicBezTo>
                  <a:pt x="5222942" y="1979983"/>
                  <a:pt x="5225737" y="1972925"/>
                  <a:pt x="5231328" y="1967203"/>
                </a:cubicBezTo>
                <a:cubicBezTo>
                  <a:pt x="5236920" y="1961479"/>
                  <a:pt x="5244108" y="1958553"/>
                  <a:pt x="5253160" y="1958553"/>
                </a:cubicBezTo>
                <a:close/>
                <a:moveTo>
                  <a:pt x="5035515" y="1958553"/>
                </a:moveTo>
                <a:cubicBezTo>
                  <a:pt x="5039775" y="1958553"/>
                  <a:pt x="5043636" y="1959348"/>
                  <a:pt x="5047230" y="1961216"/>
                </a:cubicBezTo>
                <a:cubicBezTo>
                  <a:pt x="5050957" y="1962805"/>
                  <a:pt x="5054019" y="1964941"/>
                  <a:pt x="5056548" y="1967605"/>
                </a:cubicBezTo>
                <a:cubicBezTo>
                  <a:pt x="5059077" y="1970132"/>
                  <a:pt x="5061207" y="1973322"/>
                  <a:pt x="5062671" y="1976921"/>
                </a:cubicBezTo>
                <a:cubicBezTo>
                  <a:pt x="5064135" y="1980510"/>
                  <a:pt x="5064934" y="1984237"/>
                  <a:pt x="5064934" y="1988367"/>
                </a:cubicBezTo>
                <a:cubicBezTo>
                  <a:pt x="5064934" y="1992494"/>
                  <a:pt x="5064135" y="1996490"/>
                  <a:pt x="5062671" y="2000077"/>
                </a:cubicBezTo>
                <a:cubicBezTo>
                  <a:pt x="5061207" y="2003681"/>
                  <a:pt x="5059077" y="2006739"/>
                  <a:pt x="5056548" y="2009402"/>
                </a:cubicBezTo>
                <a:cubicBezTo>
                  <a:pt x="5053885" y="2012064"/>
                  <a:pt x="5050824" y="2014194"/>
                  <a:pt x="5047230" y="2015653"/>
                </a:cubicBezTo>
                <a:cubicBezTo>
                  <a:pt x="5043636" y="2017117"/>
                  <a:pt x="5039775" y="2017922"/>
                  <a:pt x="5035515" y="2017922"/>
                </a:cubicBezTo>
                <a:cubicBezTo>
                  <a:pt x="5026597" y="2017922"/>
                  <a:pt x="5019275" y="2014994"/>
                  <a:pt x="5013683" y="2009402"/>
                </a:cubicBezTo>
                <a:cubicBezTo>
                  <a:pt x="5008092" y="2003806"/>
                  <a:pt x="5005297" y="1996753"/>
                  <a:pt x="5005297" y="1988237"/>
                </a:cubicBezTo>
                <a:cubicBezTo>
                  <a:pt x="5005297" y="1979983"/>
                  <a:pt x="5008092" y="1972925"/>
                  <a:pt x="5013683" y="1967203"/>
                </a:cubicBezTo>
                <a:cubicBezTo>
                  <a:pt x="5019275" y="1961479"/>
                  <a:pt x="5026463" y="1958553"/>
                  <a:pt x="5035515" y="1958553"/>
                </a:cubicBezTo>
                <a:close/>
                <a:moveTo>
                  <a:pt x="4817870" y="1958553"/>
                </a:moveTo>
                <a:cubicBezTo>
                  <a:pt x="4822130" y="1958553"/>
                  <a:pt x="4826124" y="1959348"/>
                  <a:pt x="4829585" y="1961216"/>
                </a:cubicBezTo>
                <a:cubicBezTo>
                  <a:pt x="4833312" y="1962805"/>
                  <a:pt x="4836374" y="1964941"/>
                  <a:pt x="4838903" y="1967605"/>
                </a:cubicBezTo>
                <a:cubicBezTo>
                  <a:pt x="4841432" y="1970132"/>
                  <a:pt x="4843562" y="1973322"/>
                  <a:pt x="4845026" y="1976921"/>
                </a:cubicBezTo>
                <a:cubicBezTo>
                  <a:pt x="4846491" y="1980510"/>
                  <a:pt x="4847289" y="1984237"/>
                  <a:pt x="4847289" y="1988367"/>
                </a:cubicBezTo>
                <a:cubicBezTo>
                  <a:pt x="4847289" y="1992494"/>
                  <a:pt x="4846491" y="1996490"/>
                  <a:pt x="4845026" y="2000077"/>
                </a:cubicBezTo>
                <a:cubicBezTo>
                  <a:pt x="4843562" y="2003681"/>
                  <a:pt x="4841432" y="2006739"/>
                  <a:pt x="4838903" y="2009402"/>
                </a:cubicBezTo>
                <a:cubicBezTo>
                  <a:pt x="4836240" y="2012064"/>
                  <a:pt x="4833179" y="2014194"/>
                  <a:pt x="4829585" y="2015653"/>
                </a:cubicBezTo>
                <a:cubicBezTo>
                  <a:pt x="4825991" y="2017117"/>
                  <a:pt x="4822130" y="2017922"/>
                  <a:pt x="4817870" y="2017922"/>
                </a:cubicBezTo>
                <a:cubicBezTo>
                  <a:pt x="4808952" y="2017922"/>
                  <a:pt x="4801630" y="2014994"/>
                  <a:pt x="4796038" y="2009402"/>
                </a:cubicBezTo>
                <a:cubicBezTo>
                  <a:pt x="4790447" y="2003806"/>
                  <a:pt x="4787652" y="1996753"/>
                  <a:pt x="4787652" y="1988237"/>
                </a:cubicBezTo>
                <a:cubicBezTo>
                  <a:pt x="4787652" y="1979983"/>
                  <a:pt x="4790447" y="1972925"/>
                  <a:pt x="4796038" y="1967203"/>
                </a:cubicBezTo>
                <a:cubicBezTo>
                  <a:pt x="4801630" y="1961479"/>
                  <a:pt x="4808818" y="1958553"/>
                  <a:pt x="4817870" y="1958553"/>
                </a:cubicBezTo>
                <a:close/>
                <a:moveTo>
                  <a:pt x="4600226" y="1958553"/>
                </a:moveTo>
                <a:cubicBezTo>
                  <a:pt x="4604485" y="1958553"/>
                  <a:pt x="4608479" y="1959348"/>
                  <a:pt x="4612073" y="1961216"/>
                </a:cubicBezTo>
                <a:cubicBezTo>
                  <a:pt x="4615800" y="1962805"/>
                  <a:pt x="4618862" y="1964941"/>
                  <a:pt x="4621391" y="1967605"/>
                </a:cubicBezTo>
                <a:cubicBezTo>
                  <a:pt x="4623920" y="1970132"/>
                  <a:pt x="4626050" y="1973322"/>
                  <a:pt x="4627514" y="1976921"/>
                </a:cubicBezTo>
                <a:cubicBezTo>
                  <a:pt x="4628978" y="1980510"/>
                  <a:pt x="4629777" y="1984237"/>
                  <a:pt x="4629777" y="1988367"/>
                </a:cubicBezTo>
                <a:cubicBezTo>
                  <a:pt x="4629777" y="1992494"/>
                  <a:pt x="4628978" y="1996490"/>
                  <a:pt x="4627514" y="2000077"/>
                </a:cubicBezTo>
                <a:cubicBezTo>
                  <a:pt x="4626050" y="2003681"/>
                  <a:pt x="4623920" y="2006739"/>
                  <a:pt x="4621391" y="2009402"/>
                </a:cubicBezTo>
                <a:cubicBezTo>
                  <a:pt x="4618729" y="2012064"/>
                  <a:pt x="4615667" y="2014194"/>
                  <a:pt x="4612073" y="2015653"/>
                </a:cubicBezTo>
                <a:cubicBezTo>
                  <a:pt x="4608346" y="2017117"/>
                  <a:pt x="4604485" y="2017922"/>
                  <a:pt x="4600226" y="2017922"/>
                </a:cubicBezTo>
                <a:cubicBezTo>
                  <a:pt x="4591173" y="2017922"/>
                  <a:pt x="4583985" y="2014994"/>
                  <a:pt x="4578393" y="2009402"/>
                </a:cubicBezTo>
                <a:cubicBezTo>
                  <a:pt x="4572803" y="2003806"/>
                  <a:pt x="4570007" y="1996753"/>
                  <a:pt x="4570007" y="1988237"/>
                </a:cubicBezTo>
                <a:cubicBezTo>
                  <a:pt x="4570007" y="1979983"/>
                  <a:pt x="4572803" y="1972925"/>
                  <a:pt x="4578393" y="1967203"/>
                </a:cubicBezTo>
                <a:cubicBezTo>
                  <a:pt x="4583985" y="1961479"/>
                  <a:pt x="4591173" y="1958553"/>
                  <a:pt x="4600226" y="1958553"/>
                </a:cubicBezTo>
                <a:close/>
                <a:moveTo>
                  <a:pt x="4382713" y="1958553"/>
                </a:moveTo>
                <a:cubicBezTo>
                  <a:pt x="4386840" y="1958553"/>
                  <a:pt x="4390834" y="1959348"/>
                  <a:pt x="4394428" y="1961216"/>
                </a:cubicBezTo>
                <a:cubicBezTo>
                  <a:pt x="4398155" y="1962805"/>
                  <a:pt x="4401217" y="1964941"/>
                  <a:pt x="4403746" y="1967605"/>
                </a:cubicBezTo>
                <a:cubicBezTo>
                  <a:pt x="4406275" y="1970132"/>
                  <a:pt x="4408405" y="1973322"/>
                  <a:pt x="4409869" y="1976921"/>
                </a:cubicBezTo>
                <a:cubicBezTo>
                  <a:pt x="4411334" y="1980510"/>
                  <a:pt x="4412132" y="1984237"/>
                  <a:pt x="4412132" y="1988367"/>
                </a:cubicBezTo>
                <a:cubicBezTo>
                  <a:pt x="4412132" y="1992494"/>
                  <a:pt x="4411334" y="1996490"/>
                  <a:pt x="4409869" y="2000077"/>
                </a:cubicBezTo>
                <a:cubicBezTo>
                  <a:pt x="4408405" y="2003681"/>
                  <a:pt x="4406275" y="2006739"/>
                  <a:pt x="4403746" y="2009402"/>
                </a:cubicBezTo>
                <a:cubicBezTo>
                  <a:pt x="4401083" y="2012064"/>
                  <a:pt x="4398022" y="2014194"/>
                  <a:pt x="4394428" y="2015653"/>
                </a:cubicBezTo>
                <a:cubicBezTo>
                  <a:pt x="4390834" y="2017117"/>
                  <a:pt x="4386973" y="2017922"/>
                  <a:pt x="4382713" y="2017922"/>
                </a:cubicBezTo>
                <a:cubicBezTo>
                  <a:pt x="4373661" y="2017922"/>
                  <a:pt x="4366473" y="2014994"/>
                  <a:pt x="4360881" y="2009402"/>
                </a:cubicBezTo>
                <a:cubicBezTo>
                  <a:pt x="4355290" y="2003806"/>
                  <a:pt x="4352495" y="1996753"/>
                  <a:pt x="4352495" y="1988237"/>
                </a:cubicBezTo>
                <a:cubicBezTo>
                  <a:pt x="4352495" y="1979983"/>
                  <a:pt x="4355290" y="1972925"/>
                  <a:pt x="4360881" y="1967203"/>
                </a:cubicBezTo>
                <a:cubicBezTo>
                  <a:pt x="4366473" y="1961479"/>
                  <a:pt x="4373661" y="1958553"/>
                  <a:pt x="4382713" y="1958553"/>
                </a:cubicBezTo>
                <a:close/>
                <a:moveTo>
                  <a:pt x="4165068" y="1958553"/>
                </a:moveTo>
                <a:cubicBezTo>
                  <a:pt x="4169327" y="1958553"/>
                  <a:pt x="4173188" y="1959348"/>
                  <a:pt x="4176782" y="1961216"/>
                </a:cubicBezTo>
                <a:cubicBezTo>
                  <a:pt x="4180509" y="1962805"/>
                  <a:pt x="4183571" y="1964941"/>
                  <a:pt x="4186100" y="1967605"/>
                </a:cubicBezTo>
                <a:cubicBezTo>
                  <a:pt x="4188629" y="1970132"/>
                  <a:pt x="4190759" y="1973322"/>
                  <a:pt x="4192223" y="1976921"/>
                </a:cubicBezTo>
                <a:cubicBezTo>
                  <a:pt x="4193688" y="1980510"/>
                  <a:pt x="4194486" y="1984237"/>
                  <a:pt x="4194486" y="1988367"/>
                </a:cubicBezTo>
                <a:cubicBezTo>
                  <a:pt x="4194486" y="1992494"/>
                  <a:pt x="4193688" y="1996490"/>
                  <a:pt x="4192223" y="2000077"/>
                </a:cubicBezTo>
                <a:cubicBezTo>
                  <a:pt x="4190759" y="2003681"/>
                  <a:pt x="4188629" y="2006739"/>
                  <a:pt x="4186100" y="2009402"/>
                </a:cubicBezTo>
                <a:cubicBezTo>
                  <a:pt x="4183438" y="2012064"/>
                  <a:pt x="4180376" y="2014194"/>
                  <a:pt x="4176782" y="2015653"/>
                </a:cubicBezTo>
                <a:cubicBezTo>
                  <a:pt x="4173188" y="2017117"/>
                  <a:pt x="4169327" y="2017922"/>
                  <a:pt x="4165068" y="2017922"/>
                </a:cubicBezTo>
                <a:cubicBezTo>
                  <a:pt x="4156015" y="2017922"/>
                  <a:pt x="4148827" y="2014994"/>
                  <a:pt x="4143235" y="2009402"/>
                </a:cubicBezTo>
                <a:cubicBezTo>
                  <a:pt x="4137645" y="2003806"/>
                  <a:pt x="4134849" y="1996753"/>
                  <a:pt x="4134849" y="1988237"/>
                </a:cubicBezTo>
                <a:cubicBezTo>
                  <a:pt x="4134849" y="1979983"/>
                  <a:pt x="4137645" y="1972925"/>
                  <a:pt x="4143235" y="1967203"/>
                </a:cubicBezTo>
                <a:cubicBezTo>
                  <a:pt x="4148827" y="1961479"/>
                  <a:pt x="4156015" y="1958553"/>
                  <a:pt x="4165068" y="1958553"/>
                </a:cubicBezTo>
                <a:close/>
                <a:moveTo>
                  <a:pt x="3947535" y="1958553"/>
                </a:moveTo>
                <a:cubicBezTo>
                  <a:pt x="3951796" y="1958553"/>
                  <a:pt x="3955655" y="1959348"/>
                  <a:pt x="3959250" y="1961216"/>
                </a:cubicBezTo>
                <a:cubicBezTo>
                  <a:pt x="3962979" y="1962805"/>
                  <a:pt x="3966039" y="1964941"/>
                  <a:pt x="3968568" y="1967605"/>
                </a:cubicBezTo>
                <a:cubicBezTo>
                  <a:pt x="3971099" y="1970132"/>
                  <a:pt x="3973228" y="1973322"/>
                  <a:pt x="3974692" y="1976921"/>
                </a:cubicBezTo>
                <a:cubicBezTo>
                  <a:pt x="3976157" y="1980510"/>
                  <a:pt x="3976956" y="1984237"/>
                  <a:pt x="3976956" y="1988367"/>
                </a:cubicBezTo>
                <a:cubicBezTo>
                  <a:pt x="3976956" y="1992494"/>
                  <a:pt x="3976157" y="1996490"/>
                  <a:pt x="3974692" y="2000077"/>
                </a:cubicBezTo>
                <a:cubicBezTo>
                  <a:pt x="3973228" y="2003681"/>
                  <a:pt x="3971099" y="2006739"/>
                  <a:pt x="3968568" y="2009402"/>
                </a:cubicBezTo>
                <a:cubicBezTo>
                  <a:pt x="3965907" y="2012064"/>
                  <a:pt x="3962845" y="2014194"/>
                  <a:pt x="3959250" y="2015653"/>
                </a:cubicBezTo>
                <a:cubicBezTo>
                  <a:pt x="3955655" y="2017117"/>
                  <a:pt x="3951796" y="2017922"/>
                  <a:pt x="3947535" y="2017922"/>
                </a:cubicBezTo>
                <a:cubicBezTo>
                  <a:pt x="3938482" y="2017922"/>
                  <a:pt x="3931295" y="2014994"/>
                  <a:pt x="3925703" y="2009402"/>
                </a:cubicBezTo>
                <a:cubicBezTo>
                  <a:pt x="3920112" y="2003806"/>
                  <a:pt x="3917316" y="1996753"/>
                  <a:pt x="3917316" y="1988237"/>
                </a:cubicBezTo>
                <a:cubicBezTo>
                  <a:pt x="3917316" y="1979983"/>
                  <a:pt x="3920112" y="1972925"/>
                  <a:pt x="3925703" y="1967203"/>
                </a:cubicBezTo>
                <a:cubicBezTo>
                  <a:pt x="3931295" y="1961479"/>
                  <a:pt x="3938482" y="1958553"/>
                  <a:pt x="3947535" y="1958553"/>
                </a:cubicBezTo>
                <a:close/>
                <a:moveTo>
                  <a:pt x="3729884" y="1958553"/>
                </a:moveTo>
                <a:cubicBezTo>
                  <a:pt x="3734145" y="1958553"/>
                  <a:pt x="3738137" y="1959348"/>
                  <a:pt x="3741599" y="1961216"/>
                </a:cubicBezTo>
                <a:cubicBezTo>
                  <a:pt x="3745194" y="1962805"/>
                  <a:pt x="3748389" y="1964941"/>
                  <a:pt x="3750918" y="1967605"/>
                </a:cubicBezTo>
                <a:cubicBezTo>
                  <a:pt x="3753447" y="1970132"/>
                  <a:pt x="3755577" y="1973322"/>
                  <a:pt x="3757041" y="1976921"/>
                </a:cubicBezTo>
                <a:cubicBezTo>
                  <a:pt x="3758505" y="1980510"/>
                  <a:pt x="3759304" y="1984237"/>
                  <a:pt x="3759304" y="1988367"/>
                </a:cubicBezTo>
                <a:cubicBezTo>
                  <a:pt x="3759304" y="1992494"/>
                  <a:pt x="3758505" y="1996490"/>
                  <a:pt x="3757041" y="2000077"/>
                </a:cubicBezTo>
                <a:cubicBezTo>
                  <a:pt x="3755577" y="2003681"/>
                  <a:pt x="3753447" y="2006739"/>
                  <a:pt x="3750918" y="2009402"/>
                </a:cubicBezTo>
                <a:cubicBezTo>
                  <a:pt x="3748255" y="2012064"/>
                  <a:pt x="3745194" y="2014194"/>
                  <a:pt x="3741599" y="2015653"/>
                </a:cubicBezTo>
                <a:cubicBezTo>
                  <a:pt x="3738006" y="2017117"/>
                  <a:pt x="3734145" y="2017922"/>
                  <a:pt x="3729884" y="2017922"/>
                </a:cubicBezTo>
                <a:cubicBezTo>
                  <a:pt x="3720832" y="2017922"/>
                  <a:pt x="3713644" y="2014994"/>
                  <a:pt x="3708050" y="2009402"/>
                </a:cubicBezTo>
                <a:cubicBezTo>
                  <a:pt x="3702458" y="2003806"/>
                  <a:pt x="3699664" y="1996753"/>
                  <a:pt x="3699664" y="1988237"/>
                </a:cubicBezTo>
                <a:cubicBezTo>
                  <a:pt x="3699664" y="1979983"/>
                  <a:pt x="3702458" y="1972925"/>
                  <a:pt x="3708050" y="1967203"/>
                </a:cubicBezTo>
                <a:cubicBezTo>
                  <a:pt x="3713644" y="1961479"/>
                  <a:pt x="3720832" y="1958553"/>
                  <a:pt x="3729884" y="1958553"/>
                </a:cubicBezTo>
                <a:close/>
                <a:moveTo>
                  <a:pt x="3512233" y="1958553"/>
                </a:moveTo>
                <a:cubicBezTo>
                  <a:pt x="3516494" y="1958553"/>
                  <a:pt x="3520487" y="1959348"/>
                  <a:pt x="3523949" y="1961216"/>
                </a:cubicBezTo>
                <a:cubicBezTo>
                  <a:pt x="3527543" y="1962805"/>
                  <a:pt x="3530738" y="1964941"/>
                  <a:pt x="3533267" y="1967605"/>
                </a:cubicBezTo>
                <a:cubicBezTo>
                  <a:pt x="3535796" y="1970132"/>
                  <a:pt x="3537926" y="1973322"/>
                  <a:pt x="3539390" y="1976921"/>
                </a:cubicBezTo>
                <a:cubicBezTo>
                  <a:pt x="3540854" y="1980510"/>
                  <a:pt x="3541653" y="1984237"/>
                  <a:pt x="3541653" y="1988367"/>
                </a:cubicBezTo>
                <a:cubicBezTo>
                  <a:pt x="3541653" y="1992494"/>
                  <a:pt x="3540854" y="1996490"/>
                  <a:pt x="3539390" y="2000077"/>
                </a:cubicBezTo>
                <a:cubicBezTo>
                  <a:pt x="3537926" y="2003681"/>
                  <a:pt x="3535796" y="2006739"/>
                  <a:pt x="3533267" y="2009402"/>
                </a:cubicBezTo>
                <a:cubicBezTo>
                  <a:pt x="3530604" y="2012064"/>
                  <a:pt x="3527543" y="2014194"/>
                  <a:pt x="3523949" y="2015653"/>
                </a:cubicBezTo>
                <a:cubicBezTo>
                  <a:pt x="3520355" y="2017117"/>
                  <a:pt x="3516494" y="2017922"/>
                  <a:pt x="3512233" y="2017922"/>
                </a:cubicBezTo>
                <a:cubicBezTo>
                  <a:pt x="3503180" y="2017922"/>
                  <a:pt x="3495991" y="2014994"/>
                  <a:pt x="3490400" y="2009402"/>
                </a:cubicBezTo>
                <a:cubicBezTo>
                  <a:pt x="3484809" y="2003806"/>
                  <a:pt x="3482013" y="1996753"/>
                  <a:pt x="3482013" y="1988237"/>
                </a:cubicBezTo>
                <a:cubicBezTo>
                  <a:pt x="3482013" y="1979983"/>
                  <a:pt x="3484809" y="1972925"/>
                  <a:pt x="3490400" y="1967203"/>
                </a:cubicBezTo>
                <a:cubicBezTo>
                  <a:pt x="3495991" y="1961479"/>
                  <a:pt x="3503180" y="1958553"/>
                  <a:pt x="3512233" y="1958553"/>
                </a:cubicBezTo>
                <a:close/>
                <a:moveTo>
                  <a:pt x="3294716" y="1958553"/>
                </a:moveTo>
                <a:cubicBezTo>
                  <a:pt x="3298843" y="1958553"/>
                  <a:pt x="3302837" y="1959348"/>
                  <a:pt x="3306431" y="1961216"/>
                </a:cubicBezTo>
                <a:cubicBezTo>
                  <a:pt x="3310158" y="1962805"/>
                  <a:pt x="3313220" y="1964941"/>
                  <a:pt x="3315749" y="1967605"/>
                </a:cubicBezTo>
                <a:cubicBezTo>
                  <a:pt x="3318278" y="1970132"/>
                  <a:pt x="3320409" y="1973322"/>
                  <a:pt x="3321873" y="1976921"/>
                </a:cubicBezTo>
                <a:cubicBezTo>
                  <a:pt x="3323337" y="1980510"/>
                  <a:pt x="3324135" y="1984237"/>
                  <a:pt x="3324135" y="1988367"/>
                </a:cubicBezTo>
                <a:cubicBezTo>
                  <a:pt x="3324135" y="1992494"/>
                  <a:pt x="3323337" y="1996490"/>
                  <a:pt x="3321873" y="2000077"/>
                </a:cubicBezTo>
                <a:cubicBezTo>
                  <a:pt x="3320409" y="2003681"/>
                  <a:pt x="3318278" y="2006739"/>
                  <a:pt x="3315749" y="2009402"/>
                </a:cubicBezTo>
                <a:cubicBezTo>
                  <a:pt x="3313086" y="2012064"/>
                  <a:pt x="3310025" y="2014194"/>
                  <a:pt x="3306431" y="2015653"/>
                </a:cubicBezTo>
                <a:cubicBezTo>
                  <a:pt x="3302837" y="2017117"/>
                  <a:pt x="3298976" y="2017922"/>
                  <a:pt x="3294716" y="2017922"/>
                </a:cubicBezTo>
                <a:cubicBezTo>
                  <a:pt x="3285663" y="2017922"/>
                  <a:pt x="3278474" y="2014994"/>
                  <a:pt x="3272881" y="2009402"/>
                </a:cubicBezTo>
                <a:cubicBezTo>
                  <a:pt x="3267290" y="2003806"/>
                  <a:pt x="3264495" y="1996753"/>
                  <a:pt x="3264495" y="1988237"/>
                </a:cubicBezTo>
                <a:cubicBezTo>
                  <a:pt x="3264495" y="1979983"/>
                  <a:pt x="3267290" y="1972925"/>
                  <a:pt x="3272881" y="1967203"/>
                </a:cubicBezTo>
                <a:cubicBezTo>
                  <a:pt x="3278474" y="1961479"/>
                  <a:pt x="3285663" y="1958553"/>
                  <a:pt x="3294716" y="1958553"/>
                </a:cubicBezTo>
                <a:close/>
                <a:moveTo>
                  <a:pt x="3077065" y="1958553"/>
                </a:moveTo>
                <a:cubicBezTo>
                  <a:pt x="3081192" y="1958553"/>
                  <a:pt x="3085186" y="1959348"/>
                  <a:pt x="3088780" y="1961216"/>
                </a:cubicBezTo>
                <a:cubicBezTo>
                  <a:pt x="3092374" y="1962805"/>
                  <a:pt x="3095570" y="1964941"/>
                  <a:pt x="3098098" y="1967605"/>
                </a:cubicBezTo>
                <a:cubicBezTo>
                  <a:pt x="3100627" y="1970132"/>
                  <a:pt x="3102757" y="1973322"/>
                  <a:pt x="3104221" y="1976921"/>
                </a:cubicBezTo>
                <a:cubicBezTo>
                  <a:pt x="3105687" y="1980510"/>
                  <a:pt x="3106484" y="1984237"/>
                  <a:pt x="3106484" y="1988367"/>
                </a:cubicBezTo>
                <a:cubicBezTo>
                  <a:pt x="3106484" y="1992494"/>
                  <a:pt x="3105687" y="1996490"/>
                  <a:pt x="3104221" y="2000077"/>
                </a:cubicBezTo>
                <a:cubicBezTo>
                  <a:pt x="3102757" y="2003681"/>
                  <a:pt x="3100627" y="2006739"/>
                  <a:pt x="3098098" y="2009402"/>
                </a:cubicBezTo>
                <a:cubicBezTo>
                  <a:pt x="3095436" y="2012064"/>
                  <a:pt x="3092374" y="2014194"/>
                  <a:pt x="3088780" y="2015653"/>
                </a:cubicBezTo>
                <a:cubicBezTo>
                  <a:pt x="3085186" y="2017117"/>
                  <a:pt x="3081325" y="2017922"/>
                  <a:pt x="3077065" y="2017922"/>
                </a:cubicBezTo>
                <a:cubicBezTo>
                  <a:pt x="3068146" y="2017922"/>
                  <a:pt x="3060823" y="2014994"/>
                  <a:pt x="3055231" y="2009402"/>
                </a:cubicBezTo>
                <a:cubicBezTo>
                  <a:pt x="3049640" y="2003806"/>
                  <a:pt x="3046845" y="1996753"/>
                  <a:pt x="3046845" y="1988237"/>
                </a:cubicBezTo>
                <a:cubicBezTo>
                  <a:pt x="3046845" y="1979983"/>
                  <a:pt x="3049640" y="1972925"/>
                  <a:pt x="3055231" y="1967203"/>
                </a:cubicBezTo>
                <a:cubicBezTo>
                  <a:pt x="3060823" y="1961479"/>
                  <a:pt x="3068013" y="1958553"/>
                  <a:pt x="3077065" y="1958553"/>
                </a:cubicBezTo>
                <a:close/>
                <a:moveTo>
                  <a:pt x="2859414" y="1958553"/>
                </a:moveTo>
                <a:cubicBezTo>
                  <a:pt x="2863675" y="1958553"/>
                  <a:pt x="2867536" y="1959348"/>
                  <a:pt x="2871263" y="1961216"/>
                </a:cubicBezTo>
                <a:cubicBezTo>
                  <a:pt x="2874989" y="1962805"/>
                  <a:pt x="2878051" y="1964941"/>
                  <a:pt x="2880581" y="1967605"/>
                </a:cubicBezTo>
                <a:cubicBezTo>
                  <a:pt x="2883242" y="1970132"/>
                  <a:pt x="2885240" y="1973322"/>
                  <a:pt x="2886704" y="1976921"/>
                </a:cubicBezTo>
                <a:cubicBezTo>
                  <a:pt x="2888168" y="1980510"/>
                  <a:pt x="2888967" y="1984237"/>
                  <a:pt x="2888967" y="1988367"/>
                </a:cubicBezTo>
                <a:cubicBezTo>
                  <a:pt x="2888967" y="1992494"/>
                  <a:pt x="2888168" y="1996490"/>
                  <a:pt x="2886704" y="2000077"/>
                </a:cubicBezTo>
                <a:cubicBezTo>
                  <a:pt x="2885240" y="2003681"/>
                  <a:pt x="2883110" y="2006739"/>
                  <a:pt x="2880581" y="2009402"/>
                </a:cubicBezTo>
                <a:cubicBezTo>
                  <a:pt x="2877919" y="2012064"/>
                  <a:pt x="2874856" y="2014194"/>
                  <a:pt x="2871263" y="2015653"/>
                </a:cubicBezTo>
                <a:cubicBezTo>
                  <a:pt x="2867536" y="2017117"/>
                  <a:pt x="2863675" y="2017922"/>
                  <a:pt x="2859414" y="2017922"/>
                </a:cubicBezTo>
                <a:cubicBezTo>
                  <a:pt x="2850496" y="2017922"/>
                  <a:pt x="2843171" y="2014994"/>
                  <a:pt x="2837581" y="2009402"/>
                </a:cubicBezTo>
                <a:cubicBezTo>
                  <a:pt x="2831990" y="2003806"/>
                  <a:pt x="2829194" y="1996753"/>
                  <a:pt x="2829194" y="1988237"/>
                </a:cubicBezTo>
                <a:cubicBezTo>
                  <a:pt x="2829194" y="1979983"/>
                  <a:pt x="2831990" y="1972925"/>
                  <a:pt x="2837581" y="1967203"/>
                </a:cubicBezTo>
                <a:cubicBezTo>
                  <a:pt x="2843171" y="1961479"/>
                  <a:pt x="2850362" y="1958553"/>
                  <a:pt x="2859414" y="1958553"/>
                </a:cubicBezTo>
                <a:close/>
                <a:moveTo>
                  <a:pt x="2641763" y="1958553"/>
                </a:moveTo>
                <a:cubicBezTo>
                  <a:pt x="2646024" y="1958553"/>
                  <a:pt x="2649883" y="1959348"/>
                  <a:pt x="2653479" y="1961216"/>
                </a:cubicBezTo>
                <a:cubicBezTo>
                  <a:pt x="2657206" y="1962805"/>
                  <a:pt x="2660268" y="1964941"/>
                  <a:pt x="2662797" y="1967605"/>
                </a:cubicBezTo>
                <a:cubicBezTo>
                  <a:pt x="2665459" y="1970132"/>
                  <a:pt x="2667456" y="1973322"/>
                  <a:pt x="2668920" y="1976921"/>
                </a:cubicBezTo>
                <a:cubicBezTo>
                  <a:pt x="2670384" y="1980510"/>
                  <a:pt x="2671183" y="1984237"/>
                  <a:pt x="2671183" y="1988367"/>
                </a:cubicBezTo>
                <a:cubicBezTo>
                  <a:pt x="2671183" y="1992494"/>
                  <a:pt x="2670384" y="1996490"/>
                  <a:pt x="2668920" y="2000077"/>
                </a:cubicBezTo>
                <a:cubicBezTo>
                  <a:pt x="2667456" y="2003681"/>
                  <a:pt x="2665326" y="2006739"/>
                  <a:pt x="2662797" y="2009402"/>
                </a:cubicBezTo>
                <a:cubicBezTo>
                  <a:pt x="2660268" y="2012064"/>
                  <a:pt x="2657072" y="2014194"/>
                  <a:pt x="2653479" y="2015653"/>
                </a:cubicBezTo>
                <a:cubicBezTo>
                  <a:pt x="2649883" y="2017117"/>
                  <a:pt x="2646024" y="2017922"/>
                  <a:pt x="2641763" y="2017922"/>
                </a:cubicBezTo>
                <a:cubicBezTo>
                  <a:pt x="2632844" y="2017922"/>
                  <a:pt x="2625523" y="2014994"/>
                  <a:pt x="2619931" y="2009402"/>
                </a:cubicBezTo>
                <a:cubicBezTo>
                  <a:pt x="2614341" y="2003806"/>
                  <a:pt x="2611544" y="1996753"/>
                  <a:pt x="2611544" y="1988237"/>
                </a:cubicBezTo>
                <a:cubicBezTo>
                  <a:pt x="2611544" y="1979983"/>
                  <a:pt x="2614341" y="1972925"/>
                  <a:pt x="2619931" y="1967203"/>
                </a:cubicBezTo>
                <a:cubicBezTo>
                  <a:pt x="2625523" y="1961479"/>
                  <a:pt x="2632711" y="1958553"/>
                  <a:pt x="2641763" y="1958553"/>
                </a:cubicBezTo>
                <a:close/>
                <a:moveTo>
                  <a:pt x="2424112" y="1958553"/>
                </a:moveTo>
                <a:cubicBezTo>
                  <a:pt x="2428373" y="1958553"/>
                  <a:pt x="2432367" y="1959348"/>
                  <a:pt x="2435828" y="1961216"/>
                </a:cubicBezTo>
                <a:cubicBezTo>
                  <a:pt x="2439555" y="1962805"/>
                  <a:pt x="2442617" y="1964941"/>
                  <a:pt x="2445146" y="1967605"/>
                </a:cubicBezTo>
                <a:cubicBezTo>
                  <a:pt x="2447808" y="1970132"/>
                  <a:pt x="2449805" y="1973322"/>
                  <a:pt x="2451269" y="1976921"/>
                </a:cubicBezTo>
                <a:cubicBezTo>
                  <a:pt x="2452733" y="1980510"/>
                  <a:pt x="2453532" y="1984237"/>
                  <a:pt x="2453532" y="1988367"/>
                </a:cubicBezTo>
                <a:cubicBezTo>
                  <a:pt x="2453532" y="1992494"/>
                  <a:pt x="2452733" y="1996490"/>
                  <a:pt x="2451269" y="2000077"/>
                </a:cubicBezTo>
                <a:cubicBezTo>
                  <a:pt x="2449805" y="2003681"/>
                  <a:pt x="2447675" y="2006739"/>
                  <a:pt x="2445146" y="2009402"/>
                </a:cubicBezTo>
                <a:cubicBezTo>
                  <a:pt x="2442617" y="2012064"/>
                  <a:pt x="2439422" y="2014194"/>
                  <a:pt x="2435828" y="2015653"/>
                </a:cubicBezTo>
                <a:cubicBezTo>
                  <a:pt x="2432233" y="2017117"/>
                  <a:pt x="2428373" y="2017922"/>
                  <a:pt x="2424112" y="2017922"/>
                </a:cubicBezTo>
                <a:cubicBezTo>
                  <a:pt x="2415194" y="2017922"/>
                  <a:pt x="2407872" y="2014994"/>
                  <a:pt x="2402280" y="2009402"/>
                </a:cubicBezTo>
                <a:cubicBezTo>
                  <a:pt x="2396690" y="2003806"/>
                  <a:pt x="2393893" y="1996753"/>
                  <a:pt x="2393893" y="1988237"/>
                </a:cubicBezTo>
                <a:cubicBezTo>
                  <a:pt x="2393893" y="1979983"/>
                  <a:pt x="2396690" y="1972925"/>
                  <a:pt x="2402280" y="1967203"/>
                </a:cubicBezTo>
                <a:cubicBezTo>
                  <a:pt x="2407872" y="1961479"/>
                  <a:pt x="2415060" y="1958553"/>
                  <a:pt x="2424112" y="1958553"/>
                </a:cubicBezTo>
                <a:close/>
                <a:moveTo>
                  <a:pt x="2206462" y="1958553"/>
                </a:moveTo>
                <a:cubicBezTo>
                  <a:pt x="2210721" y="1958553"/>
                  <a:pt x="2214716" y="1959348"/>
                  <a:pt x="2218177" y="1961216"/>
                </a:cubicBezTo>
                <a:cubicBezTo>
                  <a:pt x="2221904" y="1962805"/>
                  <a:pt x="2224965" y="1964941"/>
                  <a:pt x="2227495" y="1967605"/>
                </a:cubicBezTo>
                <a:cubicBezTo>
                  <a:pt x="2230157" y="1970132"/>
                  <a:pt x="2232154" y="1973322"/>
                  <a:pt x="2233618" y="1976921"/>
                </a:cubicBezTo>
                <a:cubicBezTo>
                  <a:pt x="2235082" y="1980510"/>
                  <a:pt x="2235881" y="1984237"/>
                  <a:pt x="2235881" y="1988367"/>
                </a:cubicBezTo>
                <a:cubicBezTo>
                  <a:pt x="2235881" y="1992494"/>
                  <a:pt x="2235082" y="1996490"/>
                  <a:pt x="2233618" y="2000077"/>
                </a:cubicBezTo>
                <a:cubicBezTo>
                  <a:pt x="2232154" y="2003681"/>
                  <a:pt x="2230024" y="2006739"/>
                  <a:pt x="2227495" y="2009402"/>
                </a:cubicBezTo>
                <a:cubicBezTo>
                  <a:pt x="2224965" y="2012064"/>
                  <a:pt x="2221771" y="2014194"/>
                  <a:pt x="2218177" y="2015653"/>
                </a:cubicBezTo>
                <a:cubicBezTo>
                  <a:pt x="2214582" y="2017117"/>
                  <a:pt x="2210721" y="2017922"/>
                  <a:pt x="2206462" y="2017922"/>
                </a:cubicBezTo>
                <a:cubicBezTo>
                  <a:pt x="2197409" y="2017922"/>
                  <a:pt x="2190221" y="2014994"/>
                  <a:pt x="2184630" y="2009402"/>
                </a:cubicBezTo>
                <a:cubicBezTo>
                  <a:pt x="2179039" y="2003806"/>
                  <a:pt x="2176243" y="1996753"/>
                  <a:pt x="2176243" y="1988237"/>
                </a:cubicBezTo>
                <a:cubicBezTo>
                  <a:pt x="2176243" y="1979983"/>
                  <a:pt x="2179039" y="1972925"/>
                  <a:pt x="2184630" y="1967203"/>
                </a:cubicBezTo>
                <a:cubicBezTo>
                  <a:pt x="2190221" y="1961479"/>
                  <a:pt x="2197409" y="1958553"/>
                  <a:pt x="2206462" y="1958553"/>
                </a:cubicBezTo>
                <a:close/>
                <a:moveTo>
                  <a:pt x="1988944" y="1958553"/>
                </a:moveTo>
                <a:cubicBezTo>
                  <a:pt x="1993071" y="1958553"/>
                  <a:pt x="1997065" y="1959348"/>
                  <a:pt x="2000659" y="1961216"/>
                </a:cubicBezTo>
                <a:cubicBezTo>
                  <a:pt x="2004386" y="1962805"/>
                  <a:pt x="2007448" y="1964941"/>
                  <a:pt x="2009977" y="1967605"/>
                </a:cubicBezTo>
                <a:cubicBezTo>
                  <a:pt x="2012639" y="1970132"/>
                  <a:pt x="2014636" y="1973322"/>
                  <a:pt x="2016100" y="1976921"/>
                </a:cubicBezTo>
                <a:cubicBezTo>
                  <a:pt x="2017564" y="1980510"/>
                  <a:pt x="2018363" y="1984237"/>
                  <a:pt x="2018363" y="1988367"/>
                </a:cubicBezTo>
                <a:cubicBezTo>
                  <a:pt x="2018363" y="1992494"/>
                  <a:pt x="2017564" y="1996490"/>
                  <a:pt x="2016100" y="2000077"/>
                </a:cubicBezTo>
                <a:cubicBezTo>
                  <a:pt x="2014636" y="2003681"/>
                  <a:pt x="2012506" y="2006739"/>
                  <a:pt x="2009977" y="2009402"/>
                </a:cubicBezTo>
                <a:cubicBezTo>
                  <a:pt x="2007448" y="2012064"/>
                  <a:pt x="2004253" y="2014194"/>
                  <a:pt x="2000659" y="2015653"/>
                </a:cubicBezTo>
                <a:cubicBezTo>
                  <a:pt x="1997065" y="2017117"/>
                  <a:pt x="1993203" y="2017922"/>
                  <a:pt x="1988944" y="2017922"/>
                </a:cubicBezTo>
                <a:cubicBezTo>
                  <a:pt x="1979892" y="2017922"/>
                  <a:pt x="1972703" y="2014994"/>
                  <a:pt x="1967112" y="2009402"/>
                </a:cubicBezTo>
                <a:cubicBezTo>
                  <a:pt x="1961522" y="2003806"/>
                  <a:pt x="1958726" y="1996753"/>
                  <a:pt x="1958726" y="1988237"/>
                </a:cubicBezTo>
                <a:cubicBezTo>
                  <a:pt x="1958726" y="1979983"/>
                  <a:pt x="1961522" y="1972925"/>
                  <a:pt x="1967112" y="1967203"/>
                </a:cubicBezTo>
                <a:cubicBezTo>
                  <a:pt x="1972703" y="1961479"/>
                  <a:pt x="1979892" y="1958553"/>
                  <a:pt x="1988944" y="1958553"/>
                </a:cubicBezTo>
                <a:close/>
                <a:moveTo>
                  <a:pt x="1771303" y="1958553"/>
                </a:moveTo>
                <a:cubicBezTo>
                  <a:pt x="1775562" y="1958553"/>
                  <a:pt x="1779423" y="1959348"/>
                  <a:pt x="1783018" y="1961216"/>
                </a:cubicBezTo>
                <a:cubicBezTo>
                  <a:pt x="1786745" y="1962805"/>
                  <a:pt x="1789806" y="1964941"/>
                  <a:pt x="1792335" y="1967605"/>
                </a:cubicBezTo>
                <a:cubicBezTo>
                  <a:pt x="1794997" y="1970132"/>
                  <a:pt x="1796995" y="1973322"/>
                  <a:pt x="1798459" y="1976921"/>
                </a:cubicBezTo>
                <a:cubicBezTo>
                  <a:pt x="1799923" y="1980510"/>
                  <a:pt x="1800721" y="1984237"/>
                  <a:pt x="1800721" y="1988367"/>
                </a:cubicBezTo>
                <a:cubicBezTo>
                  <a:pt x="1800721" y="1992494"/>
                  <a:pt x="1799923" y="1996490"/>
                  <a:pt x="1798459" y="2000077"/>
                </a:cubicBezTo>
                <a:cubicBezTo>
                  <a:pt x="1796995" y="2003681"/>
                  <a:pt x="1794865" y="2006739"/>
                  <a:pt x="1792335" y="2009402"/>
                </a:cubicBezTo>
                <a:cubicBezTo>
                  <a:pt x="1789672" y="2012064"/>
                  <a:pt x="1786612" y="2014194"/>
                  <a:pt x="1783018" y="2015653"/>
                </a:cubicBezTo>
                <a:cubicBezTo>
                  <a:pt x="1779423" y="2017117"/>
                  <a:pt x="1775562" y="2017922"/>
                  <a:pt x="1771303" y="2017922"/>
                </a:cubicBezTo>
                <a:cubicBezTo>
                  <a:pt x="1762384" y="2017922"/>
                  <a:pt x="1755063" y="2014994"/>
                  <a:pt x="1749472" y="2009402"/>
                </a:cubicBezTo>
                <a:cubicBezTo>
                  <a:pt x="1743881" y="2003806"/>
                  <a:pt x="1741087" y="1996753"/>
                  <a:pt x="1741087" y="1988237"/>
                </a:cubicBezTo>
                <a:cubicBezTo>
                  <a:pt x="1741087" y="1979983"/>
                  <a:pt x="1743881" y="1972925"/>
                  <a:pt x="1749472" y="1967203"/>
                </a:cubicBezTo>
                <a:cubicBezTo>
                  <a:pt x="1755063" y="1961479"/>
                  <a:pt x="1762251" y="1958553"/>
                  <a:pt x="1771303" y="1958553"/>
                </a:cubicBezTo>
                <a:close/>
                <a:moveTo>
                  <a:pt x="1553661" y="1958553"/>
                </a:moveTo>
                <a:cubicBezTo>
                  <a:pt x="1557920" y="1958553"/>
                  <a:pt x="1561781" y="1959348"/>
                  <a:pt x="1565375" y="1961216"/>
                </a:cubicBezTo>
                <a:cubicBezTo>
                  <a:pt x="1568970" y="1962805"/>
                  <a:pt x="1572165" y="1964941"/>
                  <a:pt x="1574694" y="1967605"/>
                </a:cubicBezTo>
                <a:cubicBezTo>
                  <a:pt x="1577356" y="1970132"/>
                  <a:pt x="1579352" y="1973322"/>
                  <a:pt x="1580816" y="1976921"/>
                </a:cubicBezTo>
                <a:cubicBezTo>
                  <a:pt x="1582280" y="1980510"/>
                  <a:pt x="1583079" y="1984237"/>
                  <a:pt x="1583079" y="1988367"/>
                </a:cubicBezTo>
                <a:cubicBezTo>
                  <a:pt x="1583079" y="1992494"/>
                  <a:pt x="1582280" y="1996490"/>
                  <a:pt x="1580816" y="2000077"/>
                </a:cubicBezTo>
                <a:cubicBezTo>
                  <a:pt x="1579352" y="2003681"/>
                  <a:pt x="1577222" y="2006739"/>
                  <a:pt x="1574694" y="2009402"/>
                </a:cubicBezTo>
                <a:cubicBezTo>
                  <a:pt x="1572031" y="2012064"/>
                  <a:pt x="1568970" y="2014194"/>
                  <a:pt x="1565375" y="2015653"/>
                </a:cubicBezTo>
                <a:cubicBezTo>
                  <a:pt x="1561781" y="2017117"/>
                  <a:pt x="1557920" y="2017922"/>
                  <a:pt x="1553661" y="2017922"/>
                </a:cubicBezTo>
                <a:cubicBezTo>
                  <a:pt x="1544742" y="2017922"/>
                  <a:pt x="1537420" y="2014994"/>
                  <a:pt x="1531829" y="2009402"/>
                </a:cubicBezTo>
                <a:cubicBezTo>
                  <a:pt x="1526240" y="2003806"/>
                  <a:pt x="1523443" y="1996753"/>
                  <a:pt x="1523443" y="1988237"/>
                </a:cubicBezTo>
                <a:cubicBezTo>
                  <a:pt x="1523443" y="1979983"/>
                  <a:pt x="1526240" y="1972925"/>
                  <a:pt x="1531829" y="1967203"/>
                </a:cubicBezTo>
                <a:cubicBezTo>
                  <a:pt x="1537420" y="1961479"/>
                  <a:pt x="1544608" y="1958553"/>
                  <a:pt x="1553661" y="1958553"/>
                </a:cubicBezTo>
                <a:close/>
                <a:moveTo>
                  <a:pt x="1336016" y="1958553"/>
                </a:moveTo>
                <a:cubicBezTo>
                  <a:pt x="1340276" y="1958553"/>
                  <a:pt x="1344271" y="1959348"/>
                  <a:pt x="1347731" y="1961216"/>
                </a:cubicBezTo>
                <a:cubicBezTo>
                  <a:pt x="1351325" y="1962805"/>
                  <a:pt x="1354520" y="1964941"/>
                  <a:pt x="1357050" y="1967605"/>
                </a:cubicBezTo>
                <a:cubicBezTo>
                  <a:pt x="1359712" y="1970132"/>
                  <a:pt x="1361708" y="1973322"/>
                  <a:pt x="1363172" y="1976921"/>
                </a:cubicBezTo>
                <a:cubicBezTo>
                  <a:pt x="1364637" y="1980510"/>
                  <a:pt x="1365435" y="1984237"/>
                  <a:pt x="1365435" y="1988367"/>
                </a:cubicBezTo>
                <a:cubicBezTo>
                  <a:pt x="1365435" y="1992494"/>
                  <a:pt x="1364637" y="1996490"/>
                  <a:pt x="1363172" y="2000077"/>
                </a:cubicBezTo>
                <a:cubicBezTo>
                  <a:pt x="1361708" y="2003681"/>
                  <a:pt x="1359579" y="2006739"/>
                  <a:pt x="1357050" y="2009402"/>
                </a:cubicBezTo>
                <a:cubicBezTo>
                  <a:pt x="1354386" y="2012064"/>
                  <a:pt x="1351325" y="2014194"/>
                  <a:pt x="1347731" y="2015653"/>
                </a:cubicBezTo>
                <a:cubicBezTo>
                  <a:pt x="1344136" y="2017117"/>
                  <a:pt x="1340276" y="2017922"/>
                  <a:pt x="1336016" y="2017922"/>
                </a:cubicBezTo>
                <a:cubicBezTo>
                  <a:pt x="1327096" y="2017922"/>
                  <a:pt x="1319775" y="2014994"/>
                  <a:pt x="1314184" y="2009402"/>
                </a:cubicBezTo>
                <a:cubicBezTo>
                  <a:pt x="1308593" y="2003806"/>
                  <a:pt x="1305798" y="1996753"/>
                  <a:pt x="1305798" y="1988237"/>
                </a:cubicBezTo>
                <a:cubicBezTo>
                  <a:pt x="1305798" y="1979983"/>
                  <a:pt x="1308593" y="1972925"/>
                  <a:pt x="1314184" y="1967203"/>
                </a:cubicBezTo>
                <a:cubicBezTo>
                  <a:pt x="1319775" y="1961479"/>
                  <a:pt x="1326963" y="1958553"/>
                  <a:pt x="1336016" y="1958553"/>
                </a:cubicBezTo>
                <a:close/>
                <a:moveTo>
                  <a:pt x="1118371" y="1958553"/>
                </a:moveTo>
                <a:cubicBezTo>
                  <a:pt x="1122631" y="1958553"/>
                  <a:pt x="1126626" y="1959348"/>
                  <a:pt x="1130087" y="1961216"/>
                </a:cubicBezTo>
                <a:cubicBezTo>
                  <a:pt x="1133814" y="1962805"/>
                  <a:pt x="1136876" y="1964941"/>
                  <a:pt x="1139404" y="1967605"/>
                </a:cubicBezTo>
                <a:cubicBezTo>
                  <a:pt x="1142066" y="1970132"/>
                  <a:pt x="1144062" y="1973322"/>
                  <a:pt x="1145526" y="1976921"/>
                </a:cubicBezTo>
                <a:cubicBezTo>
                  <a:pt x="1146991" y="1980510"/>
                  <a:pt x="1147789" y="1984237"/>
                  <a:pt x="1147789" y="1988367"/>
                </a:cubicBezTo>
                <a:cubicBezTo>
                  <a:pt x="1147789" y="1992494"/>
                  <a:pt x="1146991" y="1996490"/>
                  <a:pt x="1145526" y="2000077"/>
                </a:cubicBezTo>
                <a:cubicBezTo>
                  <a:pt x="1144062" y="2003681"/>
                  <a:pt x="1141933" y="2006739"/>
                  <a:pt x="1139404" y="2009402"/>
                </a:cubicBezTo>
                <a:cubicBezTo>
                  <a:pt x="1136876" y="2012064"/>
                  <a:pt x="1133681" y="2014194"/>
                  <a:pt x="1130087" y="2015653"/>
                </a:cubicBezTo>
                <a:cubicBezTo>
                  <a:pt x="1126491" y="2017117"/>
                  <a:pt x="1122631" y="2017922"/>
                  <a:pt x="1118371" y="2017922"/>
                </a:cubicBezTo>
                <a:cubicBezTo>
                  <a:pt x="1109452" y="2017922"/>
                  <a:pt x="1102129" y="2014994"/>
                  <a:pt x="1096538" y="2009402"/>
                </a:cubicBezTo>
                <a:cubicBezTo>
                  <a:pt x="1090947" y="2003806"/>
                  <a:pt x="1088153" y="1996753"/>
                  <a:pt x="1088153" y="1988237"/>
                </a:cubicBezTo>
                <a:cubicBezTo>
                  <a:pt x="1088153" y="1979983"/>
                  <a:pt x="1090947" y="1972925"/>
                  <a:pt x="1096538" y="1967203"/>
                </a:cubicBezTo>
                <a:cubicBezTo>
                  <a:pt x="1102129" y="1961479"/>
                  <a:pt x="1109318" y="1958553"/>
                  <a:pt x="1118371" y="1958553"/>
                </a:cubicBezTo>
                <a:close/>
                <a:moveTo>
                  <a:pt x="900859" y="1958553"/>
                </a:moveTo>
                <a:cubicBezTo>
                  <a:pt x="904985" y="1958553"/>
                  <a:pt x="908980" y="1959348"/>
                  <a:pt x="912574" y="1961216"/>
                </a:cubicBezTo>
                <a:cubicBezTo>
                  <a:pt x="916301" y="1962805"/>
                  <a:pt x="919363" y="1964941"/>
                  <a:pt x="921892" y="1967605"/>
                </a:cubicBezTo>
                <a:cubicBezTo>
                  <a:pt x="924554" y="1970132"/>
                  <a:pt x="926551" y="1973322"/>
                  <a:pt x="928015" y="1976921"/>
                </a:cubicBezTo>
                <a:cubicBezTo>
                  <a:pt x="929479" y="1980510"/>
                  <a:pt x="930278" y="1984237"/>
                  <a:pt x="930278" y="1988367"/>
                </a:cubicBezTo>
                <a:cubicBezTo>
                  <a:pt x="930278" y="1992494"/>
                  <a:pt x="929479" y="1996490"/>
                  <a:pt x="928015" y="2000077"/>
                </a:cubicBezTo>
                <a:cubicBezTo>
                  <a:pt x="926551" y="2003681"/>
                  <a:pt x="924421" y="2006739"/>
                  <a:pt x="921892" y="2009402"/>
                </a:cubicBezTo>
                <a:cubicBezTo>
                  <a:pt x="919363" y="2012064"/>
                  <a:pt x="916168" y="2014194"/>
                  <a:pt x="912574" y="2015653"/>
                </a:cubicBezTo>
                <a:cubicBezTo>
                  <a:pt x="908980" y="2017117"/>
                  <a:pt x="905119" y="2017922"/>
                  <a:pt x="900859" y="2017922"/>
                </a:cubicBezTo>
                <a:cubicBezTo>
                  <a:pt x="891940" y="2017922"/>
                  <a:pt x="884618" y="2014994"/>
                  <a:pt x="879028" y="2009402"/>
                </a:cubicBezTo>
                <a:cubicBezTo>
                  <a:pt x="873438" y="2003806"/>
                  <a:pt x="870642" y="1996753"/>
                  <a:pt x="870642" y="1988237"/>
                </a:cubicBezTo>
                <a:cubicBezTo>
                  <a:pt x="870642" y="1979983"/>
                  <a:pt x="873438" y="1972925"/>
                  <a:pt x="879028" y="1967203"/>
                </a:cubicBezTo>
                <a:cubicBezTo>
                  <a:pt x="884618" y="1961479"/>
                  <a:pt x="891807" y="1958553"/>
                  <a:pt x="900859" y="1958553"/>
                </a:cubicBezTo>
                <a:close/>
                <a:moveTo>
                  <a:pt x="683215" y="1958553"/>
                </a:moveTo>
                <a:cubicBezTo>
                  <a:pt x="687476" y="1958553"/>
                  <a:pt x="691337" y="1959348"/>
                  <a:pt x="694931" y="1961216"/>
                </a:cubicBezTo>
                <a:cubicBezTo>
                  <a:pt x="698658" y="1962805"/>
                  <a:pt x="701720" y="1964941"/>
                  <a:pt x="704248" y="1967605"/>
                </a:cubicBezTo>
                <a:cubicBezTo>
                  <a:pt x="706910" y="1970132"/>
                  <a:pt x="708908" y="1973322"/>
                  <a:pt x="710371" y="1976921"/>
                </a:cubicBezTo>
                <a:cubicBezTo>
                  <a:pt x="711836" y="1980510"/>
                  <a:pt x="712635" y="1984237"/>
                  <a:pt x="712635" y="1988367"/>
                </a:cubicBezTo>
                <a:cubicBezTo>
                  <a:pt x="712635" y="1992494"/>
                  <a:pt x="711836" y="1996490"/>
                  <a:pt x="710371" y="2000077"/>
                </a:cubicBezTo>
                <a:cubicBezTo>
                  <a:pt x="708908" y="2003681"/>
                  <a:pt x="706778" y="2006739"/>
                  <a:pt x="704248" y="2009402"/>
                </a:cubicBezTo>
                <a:cubicBezTo>
                  <a:pt x="701720" y="2012064"/>
                  <a:pt x="698525" y="2014194"/>
                  <a:pt x="694931" y="2015653"/>
                </a:cubicBezTo>
                <a:cubicBezTo>
                  <a:pt x="691337" y="2017117"/>
                  <a:pt x="687476" y="2017922"/>
                  <a:pt x="683215" y="2017922"/>
                </a:cubicBezTo>
                <a:cubicBezTo>
                  <a:pt x="674297" y="2017922"/>
                  <a:pt x="666975" y="2014994"/>
                  <a:pt x="661384" y="2009402"/>
                </a:cubicBezTo>
                <a:cubicBezTo>
                  <a:pt x="655793" y="2003806"/>
                  <a:pt x="652998" y="1996753"/>
                  <a:pt x="652998" y="1988237"/>
                </a:cubicBezTo>
                <a:cubicBezTo>
                  <a:pt x="652998" y="1979983"/>
                  <a:pt x="655793" y="1972925"/>
                  <a:pt x="661384" y="1967203"/>
                </a:cubicBezTo>
                <a:cubicBezTo>
                  <a:pt x="666975" y="1961479"/>
                  <a:pt x="674164" y="1958553"/>
                  <a:pt x="683215" y="1958553"/>
                </a:cubicBezTo>
                <a:close/>
                <a:moveTo>
                  <a:pt x="465572" y="1958553"/>
                </a:moveTo>
                <a:cubicBezTo>
                  <a:pt x="469832" y="1958553"/>
                  <a:pt x="473692" y="1959348"/>
                  <a:pt x="477287" y="1961216"/>
                </a:cubicBezTo>
                <a:cubicBezTo>
                  <a:pt x="481014" y="1962805"/>
                  <a:pt x="484076" y="1964941"/>
                  <a:pt x="486605" y="1967605"/>
                </a:cubicBezTo>
                <a:cubicBezTo>
                  <a:pt x="489267" y="1970132"/>
                  <a:pt x="491264" y="1973322"/>
                  <a:pt x="492728" y="1976921"/>
                </a:cubicBezTo>
                <a:cubicBezTo>
                  <a:pt x="494192" y="1980510"/>
                  <a:pt x="494991" y="1984237"/>
                  <a:pt x="494991" y="1988367"/>
                </a:cubicBezTo>
                <a:cubicBezTo>
                  <a:pt x="494991" y="1992494"/>
                  <a:pt x="494192" y="1996490"/>
                  <a:pt x="492728" y="2000077"/>
                </a:cubicBezTo>
                <a:cubicBezTo>
                  <a:pt x="491264" y="2003681"/>
                  <a:pt x="489134" y="2006739"/>
                  <a:pt x="486605" y="2009402"/>
                </a:cubicBezTo>
                <a:cubicBezTo>
                  <a:pt x="483942" y="2012064"/>
                  <a:pt x="480881" y="2014194"/>
                  <a:pt x="477287" y="2015653"/>
                </a:cubicBezTo>
                <a:cubicBezTo>
                  <a:pt x="473692" y="2017117"/>
                  <a:pt x="469832" y="2017922"/>
                  <a:pt x="465572" y="2017922"/>
                </a:cubicBezTo>
                <a:cubicBezTo>
                  <a:pt x="456654" y="2017922"/>
                  <a:pt x="449332" y="2014994"/>
                  <a:pt x="443741" y="2009402"/>
                </a:cubicBezTo>
                <a:cubicBezTo>
                  <a:pt x="438150" y="2003806"/>
                  <a:pt x="435355" y="1996753"/>
                  <a:pt x="435355" y="1988237"/>
                </a:cubicBezTo>
                <a:cubicBezTo>
                  <a:pt x="435355" y="1979983"/>
                  <a:pt x="438150" y="1972925"/>
                  <a:pt x="443741" y="1967203"/>
                </a:cubicBezTo>
                <a:cubicBezTo>
                  <a:pt x="449332" y="1961479"/>
                  <a:pt x="456521" y="1958553"/>
                  <a:pt x="465572" y="1958553"/>
                </a:cubicBezTo>
                <a:close/>
                <a:moveTo>
                  <a:pt x="247928" y="1958553"/>
                </a:moveTo>
                <a:cubicBezTo>
                  <a:pt x="252188" y="1958553"/>
                  <a:pt x="256182" y="1959348"/>
                  <a:pt x="259643" y="1961216"/>
                </a:cubicBezTo>
                <a:cubicBezTo>
                  <a:pt x="263370" y="1962805"/>
                  <a:pt x="266432" y="1964941"/>
                  <a:pt x="268962" y="1967605"/>
                </a:cubicBezTo>
                <a:cubicBezTo>
                  <a:pt x="271624" y="1970132"/>
                  <a:pt x="273621" y="1973322"/>
                  <a:pt x="275085" y="1976921"/>
                </a:cubicBezTo>
                <a:cubicBezTo>
                  <a:pt x="276549" y="1980510"/>
                  <a:pt x="277348" y="1984237"/>
                  <a:pt x="277348" y="1988367"/>
                </a:cubicBezTo>
                <a:cubicBezTo>
                  <a:pt x="277348" y="1992494"/>
                  <a:pt x="276549" y="1996490"/>
                  <a:pt x="275085" y="2000077"/>
                </a:cubicBezTo>
                <a:cubicBezTo>
                  <a:pt x="273621" y="2003681"/>
                  <a:pt x="271490" y="2006739"/>
                  <a:pt x="268962" y="2009402"/>
                </a:cubicBezTo>
                <a:cubicBezTo>
                  <a:pt x="266298" y="2012064"/>
                  <a:pt x="263237" y="2014194"/>
                  <a:pt x="259643" y="2015653"/>
                </a:cubicBezTo>
                <a:cubicBezTo>
                  <a:pt x="256048" y="2017117"/>
                  <a:pt x="252188" y="2017922"/>
                  <a:pt x="247928" y="2017922"/>
                </a:cubicBezTo>
                <a:cubicBezTo>
                  <a:pt x="239011" y="2017922"/>
                  <a:pt x="231689" y="2014994"/>
                  <a:pt x="226098" y="2009402"/>
                </a:cubicBezTo>
                <a:cubicBezTo>
                  <a:pt x="220507" y="2003806"/>
                  <a:pt x="217712" y="1996753"/>
                  <a:pt x="217712" y="1988237"/>
                </a:cubicBezTo>
                <a:cubicBezTo>
                  <a:pt x="217712" y="1979983"/>
                  <a:pt x="220507" y="1972925"/>
                  <a:pt x="226098" y="1967203"/>
                </a:cubicBezTo>
                <a:cubicBezTo>
                  <a:pt x="231689" y="1961479"/>
                  <a:pt x="238876" y="1958553"/>
                  <a:pt x="247928" y="1958553"/>
                </a:cubicBezTo>
                <a:close/>
                <a:moveTo>
                  <a:pt x="30285" y="1958553"/>
                </a:moveTo>
                <a:cubicBezTo>
                  <a:pt x="34545" y="1958553"/>
                  <a:pt x="38539" y="1959348"/>
                  <a:pt x="42000" y="1961216"/>
                </a:cubicBezTo>
                <a:cubicBezTo>
                  <a:pt x="45727" y="1962805"/>
                  <a:pt x="48789" y="1964941"/>
                  <a:pt x="51318" y="1967605"/>
                </a:cubicBezTo>
                <a:cubicBezTo>
                  <a:pt x="53980" y="1970132"/>
                  <a:pt x="55977" y="1973322"/>
                  <a:pt x="57441" y="1976921"/>
                </a:cubicBezTo>
                <a:cubicBezTo>
                  <a:pt x="58905" y="1980510"/>
                  <a:pt x="59704" y="1984237"/>
                  <a:pt x="59704" y="1988367"/>
                </a:cubicBezTo>
                <a:cubicBezTo>
                  <a:pt x="59704" y="1992494"/>
                  <a:pt x="58905" y="1996490"/>
                  <a:pt x="57441" y="2000077"/>
                </a:cubicBezTo>
                <a:cubicBezTo>
                  <a:pt x="55977" y="2003681"/>
                  <a:pt x="53847" y="2006739"/>
                  <a:pt x="51318" y="2009402"/>
                </a:cubicBezTo>
                <a:cubicBezTo>
                  <a:pt x="48655" y="2012064"/>
                  <a:pt x="45594" y="2014194"/>
                  <a:pt x="42000" y="2015653"/>
                </a:cubicBezTo>
                <a:cubicBezTo>
                  <a:pt x="38406" y="2017117"/>
                  <a:pt x="34545" y="2017922"/>
                  <a:pt x="30285" y="2017922"/>
                </a:cubicBezTo>
                <a:cubicBezTo>
                  <a:pt x="21367" y="2017922"/>
                  <a:pt x="14045" y="2014994"/>
                  <a:pt x="8455" y="2009402"/>
                </a:cubicBezTo>
                <a:cubicBezTo>
                  <a:pt x="2864" y="2003806"/>
                  <a:pt x="69" y="1996753"/>
                  <a:pt x="69" y="1988237"/>
                </a:cubicBezTo>
                <a:cubicBezTo>
                  <a:pt x="69" y="1979983"/>
                  <a:pt x="2864" y="1972925"/>
                  <a:pt x="8455" y="1967203"/>
                </a:cubicBezTo>
                <a:cubicBezTo>
                  <a:pt x="14045" y="1961479"/>
                  <a:pt x="21233" y="1958553"/>
                  <a:pt x="30285" y="1958553"/>
                </a:cubicBezTo>
                <a:close/>
                <a:moveTo>
                  <a:pt x="10475977" y="1958550"/>
                </a:moveTo>
                <a:cubicBezTo>
                  <a:pt x="10480237" y="1958550"/>
                  <a:pt x="10484230" y="1959348"/>
                  <a:pt x="10487824" y="1961216"/>
                </a:cubicBezTo>
                <a:cubicBezTo>
                  <a:pt x="10491419" y="1962805"/>
                  <a:pt x="10494613" y="1964941"/>
                  <a:pt x="10497143" y="1967605"/>
                </a:cubicBezTo>
                <a:cubicBezTo>
                  <a:pt x="10499672" y="1970132"/>
                  <a:pt x="10501801" y="1973322"/>
                  <a:pt x="10503266" y="1976921"/>
                </a:cubicBezTo>
                <a:cubicBezTo>
                  <a:pt x="10504730" y="1980510"/>
                  <a:pt x="10505529" y="1984237"/>
                  <a:pt x="10505529" y="1988365"/>
                </a:cubicBezTo>
                <a:cubicBezTo>
                  <a:pt x="10505529" y="1992494"/>
                  <a:pt x="10504730" y="1996490"/>
                  <a:pt x="10503266" y="2000077"/>
                </a:cubicBezTo>
                <a:cubicBezTo>
                  <a:pt x="10501669" y="2003681"/>
                  <a:pt x="10499672" y="2006739"/>
                  <a:pt x="10497143" y="2009402"/>
                </a:cubicBezTo>
                <a:cubicBezTo>
                  <a:pt x="10494480" y="2012064"/>
                  <a:pt x="10491419" y="2014194"/>
                  <a:pt x="10487824" y="2015653"/>
                </a:cubicBezTo>
                <a:cubicBezTo>
                  <a:pt x="10484098" y="2017117"/>
                  <a:pt x="10480237" y="2017922"/>
                  <a:pt x="10475977" y="2017922"/>
                </a:cubicBezTo>
                <a:cubicBezTo>
                  <a:pt x="10466924" y="2017922"/>
                  <a:pt x="10459736" y="2014994"/>
                  <a:pt x="10454145" y="2009402"/>
                </a:cubicBezTo>
                <a:cubicBezTo>
                  <a:pt x="10448554" y="2003806"/>
                  <a:pt x="10445759" y="1996753"/>
                  <a:pt x="10445759" y="1988232"/>
                </a:cubicBezTo>
                <a:cubicBezTo>
                  <a:pt x="10445759" y="1979983"/>
                  <a:pt x="10448554" y="1972925"/>
                  <a:pt x="10454145" y="1967203"/>
                </a:cubicBezTo>
                <a:cubicBezTo>
                  <a:pt x="10459603" y="1961479"/>
                  <a:pt x="10466924" y="1958550"/>
                  <a:pt x="10475977" y="1958550"/>
                </a:cubicBezTo>
                <a:close/>
                <a:moveTo>
                  <a:pt x="10258466" y="1958550"/>
                </a:moveTo>
                <a:cubicBezTo>
                  <a:pt x="10262592" y="1958550"/>
                  <a:pt x="10266586" y="1959348"/>
                  <a:pt x="10270313" y="1961216"/>
                </a:cubicBezTo>
                <a:cubicBezTo>
                  <a:pt x="10273907" y="1962805"/>
                  <a:pt x="10277101" y="1964941"/>
                  <a:pt x="10279631" y="1967605"/>
                </a:cubicBezTo>
                <a:cubicBezTo>
                  <a:pt x="10282160" y="1970132"/>
                  <a:pt x="10284290" y="1973322"/>
                  <a:pt x="10285754" y="1976921"/>
                </a:cubicBezTo>
                <a:cubicBezTo>
                  <a:pt x="10287218" y="1980510"/>
                  <a:pt x="10288017" y="1984237"/>
                  <a:pt x="10288017" y="1988365"/>
                </a:cubicBezTo>
                <a:cubicBezTo>
                  <a:pt x="10288017" y="1992494"/>
                  <a:pt x="10287218" y="1996490"/>
                  <a:pt x="10285754" y="2000077"/>
                </a:cubicBezTo>
                <a:cubicBezTo>
                  <a:pt x="10284157" y="2003681"/>
                  <a:pt x="10282160" y="2006739"/>
                  <a:pt x="10279631" y="2009402"/>
                </a:cubicBezTo>
                <a:cubicBezTo>
                  <a:pt x="10276969" y="2012064"/>
                  <a:pt x="10273907" y="2014194"/>
                  <a:pt x="10270313" y="2015653"/>
                </a:cubicBezTo>
                <a:cubicBezTo>
                  <a:pt x="10266586" y="2017117"/>
                  <a:pt x="10262725" y="2017922"/>
                  <a:pt x="10258466" y="2017922"/>
                </a:cubicBezTo>
                <a:cubicBezTo>
                  <a:pt x="10249546" y="2017922"/>
                  <a:pt x="10242224" y="2014994"/>
                  <a:pt x="10236633" y="2009402"/>
                </a:cubicBezTo>
                <a:cubicBezTo>
                  <a:pt x="10231043" y="2003806"/>
                  <a:pt x="10228247" y="1996753"/>
                  <a:pt x="10228247" y="1988237"/>
                </a:cubicBezTo>
                <a:cubicBezTo>
                  <a:pt x="10228247" y="1979983"/>
                  <a:pt x="10231043" y="1972925"/>
                  <a:pt x="10236633" y="1967203"/>
                </a:cubicBezTo>
                <a:cubicBezTo>
                  <a:pt x="10242092" y="1961479"/>
                  <a:pt x="10249413" y="1958550"/>
                  <a:pt x="10258466" y="1958550"/>
                </a:cubicBezTo>
                <a:close/>
                <a:moveTo>
                  <a:pt x="10475977" y="1757670"/>
                </a:moveTo>
                <a:cubicBezTo>
                  <a:pt x="10470119" y="1757670"/>
                  <a:pt x="10467589" y="1759665"/>
                  <a:pt x="10465992" y="1761271"/>
                </a:cubicBezTo>
                <a:cubicBezTo>
                  <a:pt x="10463463" y="1763934"/>
                  <a:pt x="10462399" y="1766725"/>
                  <a:pt x="10462399" y="1770725"/>
                </a:cubicBezTo>
                <a:cubicBezTo>
                  <a:pt x="10462399" y="1774853"/>
                  <a:pt x="10463463" y="1777642"/>
                  <a:pt x="10465992" y="1780175"/>
                </a:cubicBezTo>
                <a:cubicBezTo>
                  <a:pt x="10467589" y="1781764"/>
                  <a:pt x="10470119" y="1783629"/>
                  <a:pt x="10475977" y="1783629"/>
                </a:cubicBezTo>
                <a:cubicBezTo>
                  <a:pt x="10478107" y="1783629"/>
                  <a:pt x="10479838" y="1783231"/>
                  <a:pt x="10481302" y="1782705"/>
                </a:cubicBezTo>
                <a:cubicBezTo>
                  <a:pt x="10482899" y="1782170"/>
                  <a:pt x="10484098" y="1781365"/>
                  <a:pt x="10485029" y="1780304"/>
                </a:cubicBezTo>
                <a:cubicBezTo>
                  <a:pt x="10486094" y="1779105"/>
                  <a:pt x="10487026" y="1777772"/>
                  <a:pt x="10487691" y="1776047"/>
                </a:cubicBezTo>
                <a:cubicBezTo>
                  <a:pt x="10488357" y="1774449"/>
                  <a:pt x="10488623" y="1772585"/>
                  <a:pt x="10488623" y="1770584"/>
                </a:cubicBezTo>
                <a:cubicBezTo>
                  <a:pt x="10488623" y="1768720"/>
                  <a:pt x="10488357" y="1766997"/>
                  <a:pt x="10487691" y="1765399"/>
                </a:cubicBezTo>
                <a:cubicBezTo>
                  <a:pt x="10487026" y="1763793"/>
                  <a:pt x="10486094" y="1762469"/>
                  <a:pt x="10485029" y="1761271"/>
                </a:cubicBezTo>
                <a:cubicBezTo>
                  <a:pt x="10483964" y="1760205"/>
                  <a:pt x="10482633" y="1759407"/>
                  <a:pt x="10481035" y="1758610"/>
                </a:cubicBezTo>
                <a:cubicBezTo>
                  <a:pt x="10479571" y="1757942"/>
                  <a:pt x="10477974" y="1757670"/>
                  <a:pt x="10475977" y="1757670"/>
                </a:cubicBezTo>
                <a:close/>
                <a:moveTo>
                  <a:pt x="10258466" y="1757670"/>
                </a:moveTo>
                <a:cubicBezTo>
                  <a:pt x="10252608" y="1757670"/>
                  <a:pt x="10250078" y="1759665"/>
                  <a:pt x="10248481" y="1761271"/>
                </a:cubicBezTo>
                <a:cubicBezTo>
                  <a:pt x="10245952" y="1763934"/>
                  <a:pt x="10244887" y="1766725"/>
                  <a:pt x="10244887" y="1770725"/>
                </a:cubicBezTo>
                <a:cubicBezTo>
                  <a:pt x="10244887" y="1774853"/>
                  <a:pt x="10245952" y="1777642"/>
                  <a:pt x="10248481" y="1780175"/>
                </a:cubicBezTo>
                <a:cubicBezTo>
                  <a:pt x="10250078" y="1781764"/>
                  <a:pt x="10252608" y="1783629"/>
                  <a:pt x="10258466" y="1783629"/>
                </a:cubicBezTo>
                <a:cubicBezTo>
                  <a:pt x="10260462" y="1783629"/>
                  <a:pt x="10262192" y="1783231"/>
                  <a:pt x="10263790" y="1782705"/>
                </a:cubicBezTo>
                <a:cubicBezTo>
                  <a:pt x="10265388" y="1782170"/>
                  <a:pt x="10266586" y="1781365"/>
                  <a:pt x="10267517" y="1780304"/>
                </a:cubicBezTo>
                <a:cubicBezTo>
                  <a:pt x="10268583" y="1779105"/>
                  <a:pt x="10269515" y="1777772"/>
                  <a:pt x="10270180" y="1776047"/>
                </a:cubicBezTo>
                <a:cubicBezTo>
                  <a:pt x="10270845" y="1774449"/>
                  <a:pt x="10271112" y="1772588"/>
                  <a:pt x="10271112" y="1770584"/>
                </a:cubicBezTo>
                <a:cubicBezTo>
                  <a:pt x="10271112" y="1768720"/>
                  <a:pt x="10270845" y="1766997"/>
                  <a:pt x="10270180" y="1765399"/>
                </a:cubicBezTo>
                <a:cubicBezTo>
                  <a:pt x="10269515" y="1763793"/>
                  <a:pt x="10268583" y="1762469"/>
                  <a:pt x="10267517" y="1761271"/>
                </a:cubicBezTo>
                <a:cubicBezTo>
                  <a:pt x="10266452" y="1760205"/>
                  <a:pt x="10265121" y="1759407"/>
                  <a:pt x="10263524" y="1758610"/>
                </a:cubicBezTo>
                <a:cubicBezTo>
                  <a:pt x="10262060" y="1757942"/>
                  <a:pt x="10260462" y="1757670"/>
                  <a:pt x="10258466" y="1757670"/>
                </a:cubicBezTo>
                <a:close/>
                <a:moveTo>
                  <a:pt x="10040820" y="1757670"/>
                </a:moveTo>
                <a:cubicBezTo>
                  <a:pt x="10034962" y="1757670"/>
                  <a:pt x="10032433" y="1759665"/>
                  <a:pt x="10030835" y="1761271"/>
                </a:cubicBezTo>
                <a:cubicBezTo>
                  <a:pt x="10028306" y="1763934"/>
                  <a:pt x="10027242" y="1766725"/>
                  <a:pt x="10027242" y="1770725"/>
                </a:cubicBezTo>
                <a:cubicBezTo>
                  <a:pt x="10027242" y="1774853"/>
                  <a:pt x="10028306" y="1777642"/>
                  <a:pt x="10030835" y="1780175"/>
                </a:cubicBezTo>
                <a:cubicBezTo>
                  <a:pt x="10032433" y="1781764"/>
                  <a:pt x="10034962" y="1783629"/>
                  <a:pt x="10040820" y="1783629"/>
                </a:cubicBezTo>
                <a:cubicBezTo>
                  <a:pt x="10042817" y="1783629"/>
                  <a:pt x="10044681" y="1783231"/>
                  <a:pt x="10046145" y="1782705"/>
                </a:cubicBezTo>
                <a:cubicBezTo>
                  <a:pt x="10047742" y="1782170"/>
                  <a:pt x="10048941" y="1781365"/>
                  <a:pt x="10049872" y="1780304"/>
                </a:cubicBezTo>
                <a:cubicBezTo>
                  <a:pt x="10050937" y="1779105"/>
                  <a:pt x="10051869" y="1777772"/>
                  <a:pt x="10052534" y="1776047"/>
                </a:cubicBezTo>
                <a:cubicBezTo>
                  <a:pt x="10053333" y="1774449"/>
                  <a:pt x="10053599" y="1772588"/>
                  <a:pt x="10053599" y="1770584"/>
                </a:cubicBezTo>
                <a:cubicBezTo>
                  <a:pt x="10053599" y="1768720"/>
                  <a:pt x="10053200" y="1766997"/>
                  <a:pt x="10052534" y="1765399"/>
                </a:cubicBezTo>
                <a:cubicBezTo>
                  <a:pt x="10051869" y="1763793"/>
                  <a:pt x="10050937" y="1762469"/>
                  <a:pt x="10049872" y="1761271"/>
                </a:cubicBezTo>
                <a:cubicBezTo>
                  <a:pt x="10048807" y="1760205"/>
                  <a:pt x="10047476" y="1759407"/>
                  <a:pt x="10045878" y="1758610"/>
                </a:cubicBezTo>
                <a:cubicBezTo>
                  <a:pt x="10044414" y="1757942"/>
                  <a:pt x="10042817" y="1757670"/>
                  <a:pt x="10040820" y="1757670"/>
                </a:cubicBezTo>
                <a:close/>
                <a:moveTo>
                  <a:pt x="9823176" y="1757670"/>
                </a:moveTo>
                <a:cubicBezTo>
                  <a:pt x="9817318" y="1757670"/>
                  <a:pt x="9814788" y="1759665"/>
                  <a:pt x="9813191" y="1761271"/>
                </a:cubicBezTo>
                <a:cubicBezTo>
                  <a:pt x="9810662" y="1763934"/>
                  <a:pt x="9809597" y="1766725"/>
                  <a:pt x="9809597" y="1770725"/>
                </a:cubicBezTo>
                <a:cubicBezTo>
                  <a:pt x="9809597" y="1774853"/>
                  <a:pt x="9810662" y="1777642"/>
                  <a:pt x="9813191" y="1780175"/>
                </a:cubicBezTo>
                <a:cubicBezTo>
                  <a:pt x="9814788" y="1781764"/>
                  <a:pt x="9817318" y="1783629"/>
                  <a:pt x="9823176" y="1783629"/>
                </a:cubicBezTo>
                <a:cubicBezTo>
                  <a:pt x="9825173" y="1783629"/>
                  <a:pt x="9827036" y="1783231"/>
                  <a:pt x="9828501" y="1782705"/>
                </a:cubicBezTo>
                <a:cubicBezTo>
                  <a:pt x="9830098" y="1782170"/>
                  <a:pt x="9831296" y="1781365"/>
                  <a:pt x="9832227" y="1780304"/>
                </a:cubicBezTo>
                <a:cubicBezTo>
                  <a:pt x="9833293" y="1779105"/>
                  <a:pt x="9834225" y="1777772"/>
                  <a:pt x="9834890" y="1776047"/>
                </a:cubicBezTo>
                <a:cubicBezTo>
                  <a:pt x="9835689" y="1774449"/>
                  <a:pt x="9835955" y="1772588"/>
                  <a:pt x="9835955" y="1770584"/>
                </a:cubicBezTo>
                <a:cubicBezTo>
                  <a:pt x="9835955" y="1768720"/>
                  <a:pt x="9835555" y="1766997"/>
                  <a:pt x="9834890" y="1765399"/>
                </a:cubicBezTo>
                <a:cubicBezTo>
                  <a:pt x="9834225" y="1763793"/>
                  <a:pt x="9833293" y="1762469"/>
                  <a:pt x="9832227" y="1761271"/>
                </a:cubicBezTo>
                <a:cubicBezTo>
                  <a:pt x="9831162" y="1760205"/>
                  <a:pt x="9829831" y="1759407"/>
                  <a:pt x="9828234" y="1758610"/>
                </a:cubicBezTo>
                <a:cubicBezTo>
                  <a:pt x="9826770" y="1757942"/>
                  <a:pt x="9825173" y="1757670"/>
                  <a:pt x="9823176" y="1757670"/>
                </a:cubicBezTo>
                <a:close/>
                <a:moveTo>
                  <a:pt x="9605531" y="1757670"/>
                </a:moveTo>
                <a:cubicBezTo>
                  <a:pt x="9599673" y="1757670"/>
                  <a:pt x="9597143" y="1759665"/>
                  <a:pt x="9595546" y="1761271"/>
                </a:cubicBezTo>
                <a:cubicBezTo>
                  <a:pt x="9593017" y="1763934"/>
                  <a:pt x="9591952" y="1766725"/>
                  <a:pt x="9591952" y="1770725"/>
                </a:cubicBezTo>
                <a:cubicBezTo>
                  <a:pt x="9591952" y="1774853"/>
                  <a:pt x="9593017" y="1777642"/>
                  <a:pt x="9595546" y="1780175"/>
                </a:cubicBezTo>
                <a:cubicBezTo>
                  <a:pt x="9597143" y="1781764"/>
                  <a:pt x="9599673" y="1783629"/>
                  <a:pt x="9605531" y="1783629"/>
                </a:cubicBezTo>
                <a:cubicBezTo>
                  <a:pt x="9607660" y="1783629"/>
                  <a:pt x="9609391" y="1783231"/>
                  <a:pt x="9610855" y="1782708"/>
                </a:cubicBezTo>
                <a:cubicBezTo>
                  <a:pt x="9612319" y="1782170"/>
                  <a:pt x="9613651" y="1781365"/>
                  <a:pt x="9614582" y="1780304"/>
                </a:cubicBezTo>
                <a:cubicBezTo>
                  <a:pt x="9615647" y="1779105"/>
                  <a:pt x="9616579" y="1777772"/>
                  <a:pt x="9617245" y="1776047"/>
                </a:cubicBezTo>
                <a:cubicBezTo>
                  <a:pt x="9618044" y="1774449"/>
                  <a:pt x="9618309" y="1772588"/>
                  <a:pt x="9618309" y="1770584"/>
                </a:cubicBezTo>
                <a:cubicBezTo>
                  <a:pt x="9618309" y="1768720"/>
                  <a:pt x="9617910" y="1766997"/>
                  <a:pt x="9617245" y="1765399"/>
                </a:cubicBezTo>
                <a:cubicBezTo>
                  <a:pt x="9616579" y="1763793"/>
                  <a:pt x="9615647" y="1762469"/>
                  <a:pt x="9614582" y="1761271"/>
                </a:cubicBezTo>
                <a:cubicBezTo>
                  <a:pt x="9613517" y="1760205"/>
                  <a:pt x="9612186" y="1759407"/>
                  <a:pt x="9610589" y="1758610"/>
                </a:cubicBezTo>
                <a:cubicBezTo>
                  <a:pt x="9609124" y="1757942"/>
                  <a:pt x="9607394" y="1757670"/>
                  <a:pt x="9605531" y="1757670"/>
                </a:cubicBezTo>
                <a:close/>
                <a:moveTo>
                  <a:pt x="9387885" y="1757670"/>
                </a:moveTo>
                <a:cubicBezTo>
                  <a:pt x="9382027" y="1757670"/>
                  <a:pt x="9379497" y="1759665"/>
                  <a:pt x="9377900" y="1761271"/>
                </a:cubicBezTo>
                <a:cubicBezTo>
                  <a:pt x="9375371" y="1763934"/>
                  <a:pt x="9374307" y="1766725"/>
                  <a:pt x="9374307" y="1770725"/>
                </a:cubicBezTo>
                <a:cubicBezTo>
                  <a:pt x="9374307" y="1774853"/>
                  <a:pt x="9375371" y="1777642"/>
                  <a:pt x="9377900" y="1780175"/>
                </a:cubicBezTo>
                <a:cubicBezTo>
                  <a:pt x="9379497" y="1781764"/>
                  <a:pt x="9382027" y="1783629"/>
                  <a:pt x="9387885" y="1783629"/>
                </a:cubicBezTo>
                <a:cubicBezTo>
                  <a:pt x="9390015" y="1783629"/>
                  <a:pt x="9391746" y="1783231"/>
                  <a:pt x="9393210" y="1782708"/>
                </a:cubicBezTo>
                <a:cubicBezTo>
                  <a:pt x="9394674" y="1782170"/>
                  <a:pt x="9396005" y="1781365"/>
                  <a:pt x="9396937" y="1780304"/>
                </a:cubicBezTo>
                <a:cubicBezTo>
                  <a:pt x="9398002" y="1779105"/>
                  <a:pt x="9398934" y="1777772"/>
                  <a:pt x="9399599" y="1776047"/>
                </a:cubicBezTo>
                <a:cubicBezTo>
                  <a:pt x="9400398" y="1774449"/>
                  <a:pt x="9400664" y="1772588"/>
                  <a:pt x="9400664" y="1770584"/>
                </a:cubicBezTo>
                <a:cubicBezTo>
                  <a:pt x="9400664" y="1768720"/>
                  <a:pt x="9400265" y="1766997"/>
                  <a:pt x="9399599" y="1765399"/>
                </a:cubicBezTo>
                <a:cubicBezTo>
                  <a:pt x="9398934" y="1763793"/>
                  <a:pt x="9398002" y="1762469"/>
                  <a:pt x="9396937" y="1761271"/>
                </a:cubicBezTo>
                <a:cubicBezTo>
                  <a:pt x="9395872" y="1760205"/>
                  <a:pt x="9394541" y="1759407"/>
                  <a:pt x="9392943" y="1758610"/>
                </a:cubicBezTo>
                <a:cubicBezTo>
                  <a:pt x="9391479" y="1757942"/>
                  <a:pt x="9389749" y="1757670"/>
                  <a:pt x="9387885" y="1757670"/>
                </a:cubicBezTo>
                <a:close/>
                <a:moveTo>
                  <a:pt x="9170374" y="1757670"/>
                </a:moveTo>
                <a:cubicBezTo>
                  <a:pt x="9164649" y="1757670"/>
                  <a:pt x="9161986" y="1759665"/>
                  <a:pt x="9160389" y="1761271"/>
                </a:cubicBezTo>
                <a:cubicBezTo>
                  <a:pt x="9157860" y="1763934"/>
                  <a:pt x="9156795" y="1766725"/>
                  <a:pt x="9156795" y="1770725"/>
                </a:cubicBezTo>
                <a:cubicBezTo>
                  <a:pt x="9156795" y="1774853"/>
                  <a:pt x="9157860" y="1777642"/>
                  <a:pt x="9160389" y="1780175"/>
                </a:cubicBezTo>
                <a:cubicBezTo>
                  <a:pt x="9161986" y="1781764"/>
                  <a:pt x="9164516" y="1783629"/>
                  <a:pt x="9170374" y="1783629"/>
                </a:cubicBezTo>
                <a:cubicBezTo>
                  <a:pt x="9172370" y="1783629"/>
                  <a:pt x="9174100" y="1783231"/>
                  <a:pt x="9175698" y="1782708"/>
                </a:cubicBezTo>
                <a:cubicBezTo>
                  <a:pt x="9177163" y="1782170"/>
                  <a:pt x="9178494" y="1781365"/>
                  <a:pt x="9179425" y="1780304"/>
                </a:cubicBezTo>
                <a:cubicBezTo>
                  <a:pt x="9180491" y="1779105"/>
                  <a:pt x="9181422" y="1777772"/>
                  <a:pt x="9182088" y="1776047"/>
                </a:cubicBezTo>
                <a:cubicBezTo>
                  <a:pt x="9182887" y="1774449"/>
                  <a:pt x="9183152" y="1772588"/>
                  <a:pt x="9183152" y="1770584"/>
                </a:cubicBezTo>
                <a:cubicBezTo>
                  <a:pt x="9183152" y="1768720"/>
                  <a:pt x="9182753" y="1766997"/>
                  <a:pt x="9182088" y="1765399"/>
                </a:cubicBezTo>
                <a:cubicBezTo>
                  <a:pt x="9181422" y="1763793"/>
                  <a:pt x="9180491" y="1762469"/>
                  <a:pt x="9179425" y="1761271"/>
                </a:cubicBezTo>
                <a:cubicBezTo>
                  <a:pt x="9178360" y="1760205"/>
                  <a:pt x="9177029" y="1759407"/>
                  <a:pt x="9175432" y="1758610"/>
                </a:cubicBezTo>
                <a:cubicBezTo>
                  <a:pt x="9173967" y="1757942"/>
                  <a:pt x="9172237" y="1757670"/>
                  <a:pt x="9170374" y="1757670"/>
                </a:cubicBezTo>
                <a:close/>
                <a:moveTo>
                  <a:pt x="8952728" y="1757670"/>
                </a:moveTo>
                <a:cubicBezTo>
                  <a:pt x="8947003" y="1757670"/>
                  <a:pt x="8944340" y="1759665"/>
                  <a:pt x="8942743" y="1761271"/>
                </a:cubicBezTo>
                <a:cubicBezTo>
                  <a:pt x="8940214" y="1763934"/>
                  <a:pt x="8939150" y="1766725"/>
                  <a:pt x="8939150" y="1770725"/>
                </a:cubicBezTo>
                <a:cubicBezTo>
                  <a:pt x="8939150" y="1774853"/>
                  <a:pt x="8940214" y="1777642"/>
                  <a:pt x="8942743" y="1780175"/>
                </a:cubicBezTo>
                <a:cubicBezTo>
                  <a:pt x="8944340" y="1781764"/>
                  <a:pt x="8946870" y="1783629"/>
                  <a:pt x="8952728" y="1783629"/>
                </a:cubicBezTo>
                <a:cubicBezTo>
                  <a:pt x="8954725" y="1783629"/>
                  <a:pt x="8956589" y="1783231"/>
                  <a:pt x="8958053" y="1782708"/>
                </a:cubicBezTo>
                <a:cubicBezTo>
                  <a:pt x="8959517" y="1782170"/>
                  <a:pt x="8960849" y="1781365"/>
                  <a:pt x="8961780" y="1780304"/>
                </a:cubicBezTo>
                <a:cubicBezTo>
                  <a:pt x="8962845" y="1779105"/>
                  <a:pt x="8963777" y="1777772"/>
                  <a:pt x="8964442" y="1776047"/>
                </a:cubicBezTo>
                <a:cubicBezTo>
                  <a:pt x="8965241" y="1774449"/>
                  <a:pt x="8965507" y="1772588"/>
                  <a:pt x="8965507" y="1770584"/>
                </a:cubicBezTo>
                <a:cubicBezTo>
                  <a:pt x="8965507" y="1768720"/>
                  <a:pt x="8965108" y="1766997"/>
                  <a:pt x="8964442" y="1765399"/>
                </a:cubicBezTo>
                <a:cubicBezTo>
                  <a:pt x="8963777" y="1763793"/>
                  <a:pt x="8962845" y="1762469"/>
                  <a:pt x="8961780" y="1761271"/>
                </a:cubicBezTo>
                <a:cubicBezTo>
                  <a:pt x="8960715" y="1760205"/>
                  <a:pt x="8959384" y="1759407"/>
                  <a:pt x="8957786" y="1758610"/>
                </a:cubicBezTo>
                <a:cubicBezTo>
                  <a:pt x="8956322" y="1757942"/>
                  <a:pt x="8954592" y="1757670"/>
                  <a:pt x="8952728" y="1757670"/>
                </a:cubicBezTo>
                <a:close/>
                <a:moveTo>
                  <a:pt x="8735083" y="1757670"/>
                </a:moveTo>
                <a:cubicBezTo>
                  <a:pt x="8729358" y="1757670"/>
                  <a:pt x="8726695" y="1759665"/>
                  <a:pt x="8725098" y="1761271"/>
                </a:cubicBezTo>
                <a:cubicBezTo>
                  <a:pt x="8722569" y="1763934"/>
                  <a:pt x="8721504" y="1766725"/>
                  <a:pt x="8721504" y="1770725"/>
                </a:cubicBezTo>
                <a:cubicBezTo>
                  <a:pt x="8721504" y="1774853"/>
                  <a:pt x="8722569" y="1777642"/>
                  <a:pt x="8725098" y="1780175"/>
                </a:cubicBezTo>
                <a:cubicBezTo>
                  <a:pt x="8726695" y="1781764"/>
                  <a:pt x="8729225" y="1783629"/>
                  <a:pt x="8735083" y="1783629"/>
                </a:cubicBezTo>
                <a:cubicBezTo>
                  <a:pt x="8737079" y="1783629"/>
                  <a:pt x="8738943" y="1783231"/>
                  <a:pt x="8740407" y="1782708"/>
                </a:cubicBezTo>
                <a:cubicBezTo>
                  <a:pt x="8741872" y="1782170"/>
                  <a:pt x="8743203" y="1781365"/>
                  <a:pt x="8744134" y="1780304"/>
                </a:cubicBezTo>
                <a:cubicBezTo>
                  <a:pt x="8745200" y="1779105"/>
                  <a:pt x="8746132" y="1777772"/>
                  <a:pt x="8746797" y="1776047"/>
                </a:cubicBezTo>
                <a:cubicBezTo>
                  <a:pt x="8747596" y="1774449"/>
                  <a:pt x="8747862" y="1772588"/>
                  <a:pt x="8747862" y="1770584"/>
                </a:cubicBezTo>
                <a:cubicBezTo>
                  <a:pt x="8747862" y="1768720"/>
                  <a:pt x="8747462" y="1766997"/>
                  <a:pt x="8746797" y="1765399"/>
                </a:cubicBezTo>
                <a:cubicBezTo>
                  <a:pt x="8746132" y="1763793"/>
                  <a:pt x="8745200" y="1762469"/>
                  <a:pt x="8744134" y="1761271"/>
                </a:cubicBezTo>
                <a:cubicBezTo>
                  <a:pt x="8743069" y="1760205"/>
                  <a:pt x="8741738" y="1759407"/>
                  <a:pt x="8740141" y="1758610"/>
                </a:cubicBezTo>
                <a:cubicBezTo>
                  <a:pt x="8738677" y="1757942"/>
                  <a:pt x="8736946" y="1757670"/>
                  <a:pt x="8735083" y="1757670"/>
                </a:cubicBezTo>
                <a:close/>
                <a:moveTo>
                  <a:pt x="8517438" y="1757670"/>
                </a:moveTo>
                <a:cubicBezTo>
                  <a:pt x="8511713" y="1757670"/>
                  <a:pt x="8509051" y="1759665"/>
                  <a:pt x="8507453" y="1761271"/>
                </a:cubicBezTo>
                <a:cubicBezTo>
                  <a:pt x="8504925" y="1763934"/>
                  <a:pt x="8503860" y="1766725"/>
                  <a:pt x="8503860" y="1770725"/>
                </a:cubicBezTo>
                <a:cubicBezTo>
                  <a:pt x="8503860" y="1774853"/>
                  <a:pt x="8504925" y="1777642"/>
                  <a:pt x="8507453" y="1780175"/>
                </a:cubicBezTo>
                <a:cubicBezTo>
                  <a:pt x="8509051" y="1781764"/>
                  <a:pt x="8511581" y="1783629"/>
                  <a:pt x="8517438" y="1783629"/>
                </a:cubicBezTo>
                <a:cubicBezTo>
                  <a:pt x="8519568" y="1783629"/>
                  <a:pt x="8521299" y="1783231"/>
                  <a:pt x="8522763" y="1782708"/>
                </a:cubicBezTo>
                <a:cubicBezTo>
                  <a:pt x="8524227" y="1782170"/>
                  <a:pt x="8525559" y="1781365"/>
                  <a:pt x="8526490" y="1780304"/>
                </a:cubicBezTo>
                <a:cubicBezTo>
                  <a:pt x="8527555" y="1779105"/>
                  <a:pt x="8528487" y="1777772"/>
                  <a:pt x="8529152" y="1776047"/>
                </a:cubicBezTo>
                <a:cubicBezTo>
                  <a:pt x="8529818" y="1774449"/>
                  <a:pt x="8530084" y="1772588"/>
                  <a:pt x="8530084" y="1770584"/>
                </a:cubicBezTo>
                <a:cubicBezTo>
                  <a:pt x="8530084" y="1768720"/>
                  <a:pt x="8529818" y="1766997"/>
                  <a:pt x="8529152" y="1765399"/>
                </a:cubicBezTo>
                <a:cubicBezTo>
                  <a:pt x="8528487" y="1763793"/>
                  <a:pt x="8527555" y="1762469"/>
                  <a:pt x="8526490" y="1761271"/>
                </a:cubicBezTo>
                <a:cubicBezTo>
                  <a:pt x="8525425" y="1760205"/>
                  <a:pt x="8524094" y="1759407"/>
                  <a:pt x="8522496" y="1758610"/>
                </a:cubicBezTo>
                <a:cubicBezTo>
                  <a:pt x="8521032" y="1757942"/>
                  <a:pt x="8519302" y="1757670"/>
                  <a:pt x="8517438" y="1757670"/>
                </a:cubicBezTo>
                <a:close/>
                <a:moveTo>
                  <a:pt x="8299793" y="1757670"/>
                </a:moveTo>
                <a:cubicBezTo>
                  <a:pt x="8294068" y="1757670"/>
                  <a:pt x="8291406" y="1759665"/>
                  <a:pt x="8289809" y="1761271"/>
                </a:cubicBezTo>
                <a:cubicBezTo>
                  <a:pt x="8287280" y="1763934"/>
                  <a:pt x="8286215" y="1766725"/>
                  <a:pt x="8286215" y="1770725"/>
                </a:cubicBezTo>
                <a:cubicBezTo>
                  <a:pt x="8286215" y="1774853"/>
                  <a:pt x="8287280" y="1777642"/>
                  <a:pt x="8289809" y="1780175"/>
                </a:cubicBezTo>
                <a:cubicBezTo>
                  <a:pt x="8291406" y="1781764"/>
                  <a:pt x="8293935" y="1783629"/>
                  <a:pt x="8299793" y="1783629"/>
                </a:cubicBezTo>
                <a:cubicBezTo>
                  <a:pt x="8301923" y="1783629"/>
                  <a:pt x="8303653" y="1783231"/>
                  <a:pt x="8305118" y="1782708"/>
                </a:cubicBezTo>
                <a:cubicBezTo>
                  <a:pt x="8306582" y="1782170"/>
                  <a:pt x="8307913" y="1781365"/>
                  <a:pt x="8308844" y="1780304"/>
                </a:cubicBezTo>
                <a:cubicBezTo>
                  <a:pt x="8309910" y="1779105"/>
                  <a:pt x="8310842" y="1777772"/>
                  <a:pt x="8311507" y="1776047"/>
                </a:cubicBezTo>
                <a:cubicBezTo>
                  <a:pt x="8312172" y="1774449"/>
                  <a:pt x="8312439" y="1772588"/>
                  <a:pt x="8312439" y="1770584"/>
                </a:cubicBezTo>
                <a:cubicBezTo>
                  <a:pt x="8312439" y="1768720"/>
                  <a:pt x="8312172" y="1766997"/>
                  <a:pt x="8311507" y="1765399"/>
                </a:cubicBezTo>
                <a:cubicBezTo>
                  <a:pt x="8310842" y="1763793"/>
                  <a:pt x="8309910" y="1762469"/>
                  <a:pt x="8308844" y="1761271"/>
                </a:cubicBezTo>
                <a:cubicBezTo>
                  <a:pt x="8307779" y="1760205"/>
                  <a:pt x="8306448" y="1759407"/>
                  <a:pt x="8304851" y="1758610"/>
                </a:cubicBezTo>
                <a:cubicBezTo>
                  <a:pt x="8303387" y="1757942"/>
                  <a:pt x="8301790" y="1757670"/>
                  <a:pt x="8299793" y="1757670"/>
                </a:cubicBezTo>
                <a:close/>
                <a:moveTo>
                  <a:pt x="8082281" y="1757670"/>
                </a:moveTo>
                <a:cubicBezTo>
                  <a:pt x="8076424" y="1757670"/>
                  <a:pt x="8073894" y="1759665"/>
                  <a:pt x="8072297" y="1761271"/>
                </a:cubicBezTo>
                <a:cubicBezTo>
                  <a:pt x="8069768" y="1763934"/>
                  <a:pt x="8068703" y="1766725"/>
                  <a:pt x="8068703" y="1770725"/>
                </a:cubicBezTo>
                <a:cubicBezTo>
                  <a:pt x="8068703" y="1774853"/>
                  <a:pt x="8069768" y="1777642"/>
                  <a:pt x="8072297" y="1780175"/>
                </a:cubicBezTo>
                <a:cubicBezTo>
                  <a:pt x="8073894" y="1781764"/>
                  <a:pt x="8076424" y="1783629"/>
                  <a:pt x="8082281" y="1783629"/>
                </a:cubicBezTo>
                <a:cubicBezTo>
                  <a:pt x="8084277" y="1783629"/>
                  <a:pt x="8086007" y="1783231"/>
                  <a:pt x="8087605" y="1782708"/>
                </a:cubicBezTo>
                <a:cubicBezTo>
                  <a:pt x="8089069" y="1782170"/>
                  <a:pt x="8090401" y="1781365"/>
                  <a:pt x="8091332" y="1780304"/>
                </a:cubicBezTo>
                <a:cubicBezTo>
                  <a:pt x="8092397" y="1779105"/>
                  <a:pt x="8093329" y="1777772"/>
                  <a:pt x="8093994" y="1776047"/>
                </a:cubicBezTo>
                <a:cubicBezTo>
                  <a:pt x="8094660" y="1774449"/>
                  <a:pt x="8094926" y="1772588"/>
                  <a:pt x="8094926" y="1770584"/>
                </a:cubicBezTo>
                <a:cubicBezTo>
                  <a:pt x="8094926" y="1768720"/>
                  <a:pt x="8094660" y="1766997"/>
                  <a:pt x="8093994" y="1765399"/>
                </a:cubicBezTo>
                <a:cubicBezTo>
                  <a:pt x="8093329" y="1763793"/>
                  <a:pt x="8092397" y="1762469"/>
                  <a:pt x="8091332" y="1761271"/>
                </a:cubicBezTo>
                <a:cubicBezTo>
                  <a:pt x="8090267" y="1760205"/>
                  <a:pt x="8088936" y="1759407"/>
                  <a:pt x="8087338" y="1758610"/>
                </a:cubicBezTo>
                <a:cubicBezTo>
                  <a:pt x="8085874" y="1757942"/>
                  <a:pt x="8084277" y="1757670"/>
                  <a:pt x="8082281" y="1757670"/>
                </a:cubicBezTo>
                <a:close/>
                <a:moveTo>
                  <a:pt x="7864636" y="1757670"/>
                </a:moveTo>
                <a:cubicBezTo>
                  <a:pt x="7858779" y="1757670"/>
                  <a:pt x="7856249" y="1759665"/>
                  <a:pt x="7854652" y="1761271"/>
                </a:cubicBezTo>
                <a:cubicBezTo>
                  <a:pt x="7852123" y="1763934"/>
                  <a:pt x="7851058" y="1766725"/>
                  <a:pt x="7851058" y="1770725"/>
                </a:cubicBezTo>
                <a:cubicBezTo>
                  <a:pt x="7851058" y="1774853"/>
                  <a:pt x="7852123" y="1777642"/>
                  <a:pt x="7854652" y="1780175"/>
                </a:cubicBezTo>
                <a:cubicBezTo>
                  <a:pt x="7856249" y="1781764"/>
                  <a:pt x="7858779" y="1783629"/>
                  <a:pt x="7864636" y="1783629"/>
                </a:cubicBezTo>
                <a:cubicBezTo>
                  <a:pt x="7866633" y="1783629"/>
                  <a:pt x="7868363" y="1783231"/>
                  <a:pt x="7869961" y="1782708"/>
                </a:cubicBezTo>
                <a:cubicBezTo>
                  <a:pt x="7871425" y="1782170"/>
                  <a:pt x="7872756" y="1781365"/>
                  <a:pt x="7873687" y="1780304"/>
                </a:cubicBezTo>
                <a:cubicBezTo>
                  <a:pt x="7874753" y="1779105"/>
                  <a:pt x="7875685" y="1777772"/>
                  <a:pt x="7876350" y="1776047"/>
                </a:cubicBezTo>
                <a:cubicBezTo>
                  <a:pt x="7877015" y="1774449"/>
                  <a:pt x="7877282" y="1772588"/>
                  <a:pt x="7877282" y="1770584"/>
                </a:cubicBezTo>
                <a:cubicBezTo>
                  <a:pt x="7877282" y="1768720"/>
                  <a:pt x="7877015" y="1766997"/>
                  <a:pt x="7876350" y="1765399"/>
                </a:cubicBezTo>
                <a:cubicBezTo>
                  <a:pt x="7875685" y="1763793"/>
                  <a:pt x="7874753" y="1762469"/>
                  <a:pt x="7873687" y="1761271"/>
                </a:cubicBezTo>
                <a:cubicBezTo>
                  <a:pt x="7872623" y="1760205"/>
                  <a:pt x="7871291" y="1759407"/>
                  <a:pt x="7869694" y="1758610"/>
                </a:cubicBezTo>
                <a:cubicBezTo>
                  <a:pt x="7868230" y="1757942"/>
                  <a:pt x="7866633" y="1757670"/>
                  <a:pt x="7864636" y="1757670"/>
                </a:cubicBezTo>
                <a:close/>
                <a:moveTo>
                  <a:pt x="7646991" y="1757670"/>
                </a:moveTo>
                <a:cubicBezTo>
                  <a:pt x="7641134" y="1757670"/>
                  <a:pt x="7638604" y="1759665"/>
                  <a:pt x="7637007" y="1761271"/>
                </a:cubicBezTo>
                <a:cubicBezTo>
                  <a:pt x="7634478" y="1763934"/>
                  <a:pt x="7633413" y="1766725"/>
                  <a:pt x="7633413" y="1770725"/>
                </a:cubicBezTo>
                <a:cubicBezTo>
                  <a:pt x="7633413" y="1774853"/>
                  <a:pt x="7634478" y="1777642"/>
                  <a:pt x="7637007" y="1780175"/>
                </a:cubicBezTo>
                <a:cubicBezTo>
                  <a:pt x="7638604" y="1781764"/>
                  <a:pt x="7641134" y="1783629"/>
                  <a:pt x="7646991" y="1783629"/>
                </a:cubicBezTo>
                <a:cubicBezTo>
                  <a:pt x="7648987" y="1783629"/>
                  <a:pt x="7650851" y="1783231"/>
                  <a:pt x="7652315" y="1782708"/>
                </a:cubicBezTo>
                <a:cubicBezTo>
                  <a:pt x="7653780" y="1782170"/>
                  <a:pt x="7655111" y="1781365"/>
                  <a:pt x="7656042" y="1780304"/>
                </a:cubicBezTo>
                <a:cubicBezTo>
                  <a:pt x="7657108" y="1779105"/>
                  <a:pt x="7658039" y="1777772"/>
                  <a:pt x="7658705" y="1776047"/>
                </a:cubicBezTo>
                <a:cubicBezTo>
                  <a:pt x="7659504" y="1774449"/>
                  <a:pt x="7659769" y="1772588"/>
                  <a:pt x="7659769" y="1770584"/>
                </a:cubicBezTo>
                <a:cubicBezTo>
                  <a:pt x="7659769" y="1768720"/>
                  <a:pt x="7659370" y="1766997"/>
                  <a:pt x="7658705" y="1765399"/>
                </a:cubicBezTo>
                <a:cubicBezTo>
                  <a:pt x="7658039" y="1763793"/>
                  <a:pt x="7657108" y="1762469"/>
                  <a:pt x="7656042" y="1761271"/>
                </a:cubicBezTo>
                <a:cubicBezTo>
                  <a:pt x="7654977" y="1760205"/>
                  <a:pt x="7653646" y="1759407"/>
                  <a:pt x="7652049" y="1758610"/>
                </a:cubicBezTo>
                <a:cubicBezTo>
                  <a:pt x="7650584" y="1757942"/>
                  <a:pt x="7648987" y="1757670"/>
                  <a:pt x="7646991" y="1757670"/>
                </a:cubicBezTo>
                <a:close/>
                <a:moveTo>
                  <a:pt x="7429345" y="1757670"/>
                </a:moveTo>
                <a:cubicBezTo>
                  <a:pt x="7423488" y="1757670"/>
                  <a:pt x="7420958" y="1759665"/>
                  <a:pt x="7419361" y="1761271"/>
                </a:cubicBezTo>
                <a:cubicBezTo>
                  <a:pt x="7416832" y="1763934"/>
                  <a:pt x="7415768" y="1766725"/>
                  <a:pt x="7415768" y="1770725"/>
                </a:cubicBezTo>
                <a:cubicBezTo>
                  <a:pt x="7415768" y="1774853"/>
                  <a:pt x="7416832" y="1777642"/>
                  <a:pt x="7419361" y="1780175"/>
                </a:cubicBezTo>
                <a:cubicBezTo>
                  <a:pt x="7420958" y="1781764"/>
                  <a:pt x="7423488" y="1783629"/>
                  <a:pt x="7429345" y="1783629"/>
                </a:cubicBezTo>
                <a:cubicBezTo>
                  <a:pt x="7431342" y="1783629"/>
                  <a:pt x="7433206" y="1783231"/>
                  <a:pt x="7434670" y="1782708"/>
                </a:cubicBezTo>
                <a:cubicBezTo>
                  <a:pt x="7436134" y="1782170"/>
                  <a:pt x="7437466" y="1781365"/>
                  <a:pt x="7438397" y="1780304"/>
                </a:cubicBezTo>
                <a:cubicBezTo>
                  <a:pt x="7439462" y="1779105"/>
                  <a:pt x="7440394" y="1777772"/>
                  <a:pt x="7441059" y="1776047"/>
                </a:cubicBezTo>
                <a:cubicBezTo>
                  <a:pt x="7441858" y="1774449"/>
                  <a:pt x="7442124" y="1772588"/>
                  <a:pt x="7442124" y="1770584"/>
                </a:cubicBezTo>
                <a:cubicBezTo>
                  <a:pt x="7442124" y="1768720"/>
                  <a:pt x="7441725" y="1766997"/>
                  <a:pt x="7441059" y="1765399"/>
                </a:cubicBezTo>
                <a:cubicBezTo>
                  <a:pt x="7440394" y="1763793"/>
                  <a:pt x="7439462" y="1762469"/>
                  <a:pt x="7438397" y="1761271"/>
                </a:cubicBezTo>
                <a:cubicBezTo>
                  <a:pt x="7437332" y="1760205"/>
                  <a:pt x="7436001" y="1759407"/>
                  <a:pt x="7434403" y="1758610"/>
                </a:cubicBezTo>
                <a:cubicBezTo>
                  <a:pt x="7432939" y="1757942"/>
                  <a:pt x="7431342" y="1757670"/>
                  <a:pt x="7429345" y="1757670"/>
                </a:cubicBezTo>
                <a:close/>
                <a:moveTo>
                  <a:pt x="7211701" y="1757670"/>
                </a:moveTo>
                <a:cubicBezTo>
                  <a:pt x="7205844" y="1757670"/>
                  <a:pt x="7203314" y="1759665"/>
                  <a:pt x="7201717" y="1761271"/>
                </a:cubicBezTo>
                <a:cubicBezTo>
                  <a:pt x="7199188" y="1763934"/>
                  <a:pt x="7198123" y="1766725"/>
                  <a:pt x="7198123" y="1770725"/>
                </a:cubicBezTo>
                <a:cubicBezTo>
                  <a:pt x="7198123" y="1774853"/>
                  <a:pt x="7199188" y="1777642"/>
                  <a:pt x="7201717" y="1780175"/>
                </a:cubicBezTo>
                <a:cubicBezTo>
                  <a:pt x="7203314" y="1781764"/>
                  <a:pt x="7205844" y="1783629"/>
                  <a:pt x="7211701" y="1783629"/>
                </a:cubicBezTo>
                <a:cubicBezTo>
                  <a:pt x="7213830" y="1783629"/>
                  <a:pt x="7215561" y="1783231"/>
                  <a:pt x="7217026" y="1782708"/>
                </a:cubicBezTo>
                <a:cubicBezTo>
                  <a:pt x="7218490" y="1782170"/>
                  <a:pt x="7219821" y="1781365"/>
                  <a:pt x="7220752" y="1780304"/>
                </a:cubicBezTo>
                <a:cubicBezTo>
                  <a:pt x="7221818" y="1779105"/>
                  <a:pt x="7222750" y="1777772"/>
                  <a:pt x="7223415" y="1776047"/>
                </a:cubicBezTo>
                <a:cubicBezTo>
                  <a:pt x="7224214" y="1774449"/>
                  <a:pt x="7224480" y="1772588"/>
                  <a:pt x="7224480" y="1770584"/>
                </a:cubicBezTo>
                <a:cubicBezTo>
                  <a:pt x="7224480" y="1768720"/>
                  <a:pt x="7224080" y="1766997"/>
                  <a:pt x="7223415" y="1765399"/>
                </a:cubicBezTo>
                <a:cubicBezTo>
                  <a:pt x="7222750" y="1763793"/>
                  <a:pt x="7221818" y="1762469"/>
                  <a:pt x="7220752" y="1761271"/>
                </a:cubicBezTo>
                <a:cubicBezTo>
                  <a:pt x="7219687" y="1760205"/>
                  <a:pt x="7218356" y="1759407"/>
                  <a:pt x="7216759" y="1758610"/>
                </a:cubicBezTo>
                <a:cubicBezTo>
                  <a:pt x="7215295" y="1757942"/>
                  <a:pt x="7213698" y="1757670"/>
                  <a:pt x="7211701" y="1757670"/>
                </a:cubicBezTo>
                <a:close/>
                <a:moveTo>
                  <a:pt x="6994056" y="1757670"/>
                </a:moveTo>
                <a:cubicBezTo>
                  <a:pt x="6988199" y="1757670"/>
                  <a:pt x="6985669" y="1759665"/>
                  <a:pt x="6984072" y="1761271"/>
                </a:cubicBezTo>
                <a:cubicBezTo>
                  <a:pt x="6981543" y="1763934"/>
                  <a:pt x="6980478" y="1766725"/>
                  <a:pt x="6980478" y="1770725"/>
                </a:cubicBezTo>
                <a:cubicBezTo>
                  <a:pt x="6980478" y="1774853"/>
                  <a:pt x="6981543" y="1777642"/>
                  <a:pt x="6984072" y="1780175"/>
                </a:cubicBezTo>
                <a:cubicBezTo>
                  <a:pt x="6985669" y="1781764"/>
                  <a:pt x="6988199" y="1783629"/>
                  <a:pt x="6994056" y="1783629"/>
                </a:cubicBezTo>
                <a:cubicBezTo>
                  <a:pt x="6996185" y="1783629"/>
                  <a:pt x="6997916" y="1783231"/>
                  <a:pt x="6999380" y="1782708"/>
                </a:cubicBezTo>
                <a:cubicBezTo>
                  <a:pt x="7000844" y="1782170"/>
                  <a:pt x="7002176" y="1781365"/>
                  <a:pt x="7003107" y="1780304"/>
                </a:cubicBezTo>
                <a:cubicBezTo>
                  <a:pt x="7004172" y="1779105"/>
                  <a:pt x="7005104" y="1777772"/>
                  <a:pt x="7005769" y="1776047"/>
                </a:cubicBezTo>
                <a:cubicBezTo>
                  <a:pt x="7006568" y="1774449"/>
                  <a:pt x="7006834" y="1772588"/>
                  <a:pt x="7006834" y="1770584"/>
                </a:cubicBezTo>
                <a:cubicBezTo>
                  <a:pt x="7006834" y="1768720"/>
                  <a:pt x="7006435" y="1766997"/>
                  <a:pt x="7005769" y="1765399"/>
                </a:cubicBezTo>
                <a:cubicBezTo>
                  <a:pt x="7005104" y="1763793"/>
                  <a:pt x="7004172" y="1762469"/>
                  <a:pt x="7003107" y="1761271"/>
                </a:cubicBezTo>
                <a:cubicBezTo>
                  <a:pt x="7002042" y="1760205"/>
                  <a:pt x="7000711" y="1759407"/>
                  <a:pt x="6999113" y="1758610"/>
                </a:cubicBezTo>
                <a:cubicBezTo>
                  <a:pt x="6997649" y="1757942"/>
                  <a:pt x="6996052" y="1757670"/>
                  <a:pt x="6994056" y="1757670"/>
                </a:cubicBezTo>
                <a:close/>
                <a:moveTo>
                  <a:pt x="6776544" y="1757670"/>
                </a:moveTo>
                <a:cubicBezTo>
                  <a:pt x="6770687" y="1757670"/>
                  <a:pt x="6768157" y="1759665"/>
                  <a:pt x="6766560" y="1761271"/>
                </a:cubicBezTo>
                <a:cubicBezTo>
                  <a:pt x="6764031" y="1763934"/>
                  <a:pt x="6762966" y="1766725"/>
                  <a:pt x="6762966" y="1770725"/>
                </a:cubicBezTo>
                <a:cubicBezTo>
                  <a:pt x="6762966" y="1774853"/>
                  <a:pt x="6764031" y="1777642"/>
                  <a:pt x="6766560" y="1780175"/>
                </a:cubicBezTo>
                <a:cubicBezTo>
                  <a:pt x="6768157" y="1781764"/>
                  <a:pt x="6770687" y="1783629"/>
                  <a:pt x="6776544" y="1783629"/>
                </a:cubicBezTo>
                <a:cubicBezTo>
                  <a:pt x="6778541" y="1783629"/>
                  <a:pt x="6780270" y="1783231"/>
                  <a:pt x="6781869" y="1782708"/>
                </a:cubicBezTo>
                <a:cubicBezTo>
                  <a:pt x="6783333" y="1782170"/>
                  <a:pt x="6784664" y="1781365"/>
                  <a:pt x="6785595" y="1780304"/>
                </a:cubicBezTo>
                <a:cubicBezTo>
                  <a:pt x="6786661" y="1779105"/>
                  <a:pt x="6787593" y="1777772"/>
                  <a:pt x="6788258" y="1776047"/>
                </a:cubicBezTo>
                <a:cubicBezTo>
                  <a:pt x="6789057" y="1774449"/>
                  <a:pt x="6789323" y="1772588"/>
                  <a:pt x="6789323" y="1770584"/>
                </a:cubicBezTo>
                <a:cubicBezTo>
                  <a:pt x="6789323" y="1768720"/>
                  <a:pt x="6788923" y="1766997"/>
                  <a:pt x="6788258" y="1765399"/>
                </a:cubicBezTo>
                <a:cubicBezTo>
                  <a:pt x="6787593" y="1763793"/>
                  <a:pt x="6786661" y="1762469"/>
                  <a:pt x="6785595" y="1761271"/>
                </a:cubicBezTo>
                <a:cubicBezTo>
                  <a:pt x="6784530" y="1760205"/>
                  <a:pt x="6783199" y="1759407"/>
                  <a:pt x="6781602" y="1758610"/>
                </a:cubicBezTo>
                <a:cubicBezTo>
                  <a:pt x="6780138" y="1757942"/>
                  <a:pt x="6778541" y="1757670"/>
                  <a:pt x="6776544" y="1757670"/>
                </a:cubicBezTo>
                <a:close/>
                <a:moveTo>
                  <a:pt x="6558899" y="1757670"/>
                </a:moveTo>
                <a:cubicBezTo>
                  <a:pt x="6553042" y="1757670"/>
                  <a:pt x="6550512" y="1759665"/>
                  <a:pt x="6548915" y="1761271"/>
                </a:cubicBezTo>
                <a:cubicBezTo>
                  <a:pt x="6546386" y="1763934"/>
                  <a:pt x="6545321" y="1766725"/>
                  <a:pt x="6545321" y="1770725"/>
                </a:cubicBezTo>
                <a:cubicBezTo>
                  <a:pt x="6545321" y="1774853"/>
                  <a:pt x="6546386" y="1777642"/>
                  <a:pt x="6548915" y="1780175"/>
                </a:cubicBezTo>
                <a:cubicBezTo>
                  <a:pt x="6550512" y="1781764"/>
                  <a:pt x="6553042" y="1783629"/>
                  <a:pt x="6558899" y="1783629"/>
                </a:cubicBezTo>
                <a:cubicBezTo>
                  <a:pt x="6560895" y="1783629"/>
                  <a:pt x="6562759" y="1783231"/>
                  <a:pt x="6564223" y="1782708"/>
                </a:cubicBezTo>
                <a:cubicBezTo>
                  <a:pt x="6565687" y="1782170"/>
                  <a:pt x="6567019" y="1781365"/>
                  <a:pt x="6567950" y="1780304"/>
                </a:cubicBezTo>
                <a:cubicBezTo>
                  <a:pt x="6569015" y="1779105"/>
                  <a:pt x="6569947" y="1777772"/>
                  <a:pt x="6570612" y="1776047"/>
                </a:cubicBezTo>
                <a:cubicBezTo>
                  <a:pt x="6571412" y="1774449"/>
                  <a:pt x="6571677" y="1772588"/>
                  <a:pt x="6571677" y="1770584"/>
                </a:cubicBezTo>
                <a:cubicBezTo>
                  <a:pt x="6571677" y="1768720"/>
                  <a:pt x="6571278" y="1766997"/>
                  <a:pt x="6570612" y="1765399"/>
                </a:cubicBezTo>
                <a:cubicBezTo>
                  <a:pt x="6569947" y="1763793"/>
                  <a:pt x="6569015" y="1762469"/>
                  <a:pt x="6567950" y="1761271"/>
                </a:cubicBezTo>
                <a:cubicBezTo>
                  <a:pt x="6566885" y="1760205"/>
                  <a:pt x="6565554" y="1759407"/>
                  <a:pt x="6563956" y="1758610"/>
                </a:cubicBezTo>
                <a:cubicBezTo>
                  <a:pt x="6562492" y="1757942"/>
                  <a:pt x="6560895" y="1757670"/>
                  <a:pt x="6558899" y="1757670"/>
                </a:cubicBezTo>
                <a:close/>
                <a:moveTo>
                  <a:pt x="6341253" y="1757670"/>
                </a:moveTo>
                <a:cubicBezTo>
                  <a:pt x="6335396" y="1757670"/>
                  <a:pt x="6332867" y="1759665"/>
                  <a:pt x="6331270" y="1761271"/>
                </a:cubicBezTo>
                <a:cubicBezTo>
                  <a:pt x="6328740" y="1763934"/>
                  <a:pt x="6327675" y="1766725"/>
                  <a:pt x="6327675" y="1770725"/>
                </a:cubicBezTo>
                <a:cubicBezTo>
                  <a:pt x="6327675" y="1774853"/>
                  <a:pt x="6328740" y="1777642"/>
                  <a:pt x="6331270" y="1780175"/>
                </a:cubicBezTo>
                <a:cubicBezTo>
                  <a:pt x="6332867" y="1781764"/>
                  <a:pt x="6335396" y="1783629"/>
                  <a:pt x="6341253" y="1783629"/>
                </a:cubicBezTo>
                <a:cubicBezTo>
                  <a:pt x="6343250" y="1783629"/>
                  <a:pt x="6345114" y="1783231"/>
                  <a:pt x="6346578" y="1782708"/>
                </a:cubicBezTo>
                <a:cubicBezTo>
                  <a:pt x="6348042" y="1782170"/>
                  <a:pt x="6349373" y="1781365"/>
                  <a:pt x="6350305" y="1780304"/>
                </a:cubicBezTo>
                <a:cubicBezTo>
                  <a:pt x="6351370" y="1779105"/>
                  <a:pt x="6352302" y="1777772"/>
                  <a:pt x="6352968" y="1776047"/>
                </a:cubicBezTo>
                <a:cubicBezTo>
                  <a:pt x="6353766" y="1774449"/>
                  <a:pt x="6354033" y="1772588"/>
                  <a:pt x="6354033" y="1770584"/>
                </a:cubicBezTo>
                <a:cubicBezTo>
                  <a:pt x="6354033" y="1768720"/>
                  <a:pt x="6353633" y="1766997"/>
                  <a:pt x="6352968" y="1765399"/>
                </a:cubicBezTo>
                <a:cubicBezTo>
                  <a:pt x="6352302" y="1763793"/>
                  <a:pt x="6351370" y="1762469"/>
                  <a:pt x="6350305" y="1761271"/>
                </a:cubicBezTo>
                <a:cubicBezTo>
                  <a:pt x="6349241" y="1760205"/>
                  <a:pt x="6347909" y="1759407"/>
                  <a:pt x="6346312" y="1758610"/>
                </a:cubicBezTo>
                <a:cubicBezTo>
                  <a:pt x="6344848" y="1757942"/>
                  <a:pt x="6343250" y="1757670"/>
                  <a:pt x="6341253" y="1757670"/>
                </a:cubicBezTo>
                <a:close/>
                <a:moveTo>
                  <a:pt x="6123608" y="1757670"/>
                </a:moveTo>
                <a:cubicBezTo>
                  <a:pt x="6117751" y="1757670"/>
                  <a:pt x="6115221" y="1759665"/>
                  <a:pt x="6113624" y="1761271"/>
                </a:cubicBezTo>
                <a:cubicBezTo>
                  <a:pt x="6111095" y="1763934"/>
                  <a:pt x="6110030" y="1766725"/>
                  <a:pt x="6110030" y="1770725"/>
                </a:cubicBezTo>
                <a:cubicBezTo>
                  <a:pt x="6110030" y="1774853"/>
                  <a:pt x="6111095" y="1777642"/>
                  <a:pt x="6113624" y="1780175"/>
                </a:cubicBezTo>
                <a:cubicBezTo>
                  <a:pt x="6115221" y="1781764"/>
                  <a:pt x="6117751" y="1783629"/>
                  <a:pt x="6123608" y="1783629"/>
                </a:cubicBezTo>
                <a:cubicBezTo>
                  <a:pt x="6125737" y="1783629"/>
                  <a:pt x="6127468" y="1783231"/>
                  <a:pt x="6128932" y="1782708"/>
                </a:cubicBezTo>
                <a:cubicBezTo>
                  <a:pt x="6130530" y="1782170"/>
                  <a:pt x="6131728" y="1781365"/>
                  <a:pt x="6132659" y="1780304"/>
                </a:cubicBezTo>
                <a:cubicBezTo>
                  <a:pt x="6133724" y="1779105"/>
                  <a:pt x="6134656" y="1777772"/>
                  <a:pt x="6135322" y="1776047"/>
                </a:cubicBezTo>
                <a:cubicBezTo>
                  <a:pt x="6135987" y="1774449"/>
                  <a:pt x="6136387" y="1772588"/>
                  <a:pt x="6136387" y="1770584"/>
                </a:cubicBezTo>
                <a:cubicBezTo>
                  <a:pt x="6136387" y="1768720"/>
                  <a:pt x="6135987" y="1766997"/>
                  <a:pt x="6135322" y="1765399"/>
                </a:cubicBezTo>
                <a:cubicBezTo>
                  <a:pt x="6134656" y="1763793"/>
                  <a:pt x="6133724" y="1762469"/>
                  <a:pt x="6132659" y="1761271"/>
                </a:cubicBezTo>
                <a:cubicBezTo>
                  <a:pt x="6131594" y="1760205"/>
                  <a:pt x="6130263" y="1759407"/>
                  <a:pt x="6128666" y="1758610"/>
                </a:cubicBezTo>
                <a:cubicBezTo>
                  <a:pt x="6127202" y="1757942"/>
                  <a:pt x="6125604" y="1757670"/>
                  <a:pt x="6123608" y="1757670"/>
                </a:cubicBezTo>
                <a:close/>
                <a:moveTo>
                  <a:pt x="5905963" y="1757670"/>
                </a:moveTo>
                <a:cubicBezTo>
                  <a:pt x="5900106" y="1757670"/>
                  <a:pt x="5897576" y="1759665"/>
                  <a:pt x="5895979" y="1761271"/>
                </a:cubicBezTo>
                <a:cubicBezTo>
                  <a:pt x="5893450" y="1763934"/>
                  <a:pt x="5892385" y="1766725"/>
                  <a:pt x="5892385" y="1770725"/>
                </a:cubicBezTo>
                <a:cubicBezTo>
                  <a:pt x="5892385" y="1774853"/>
                  <a:pt x="5893450" y="1777642"/>
                  <a:pt x="5895979" y="1780175"/>
                </a:cubicBezTo>
                <a:cubicBezTo>
                  <a:pt x="5897576" y="1781764"/>
                  <a:pt x="5900106" y="1783629"/>
                  <a:pt x="5905963" y="1783629"/>
                </a:cubicBezTo>
                <a:cubicBezTo>
                  <a:pt x="5908093" y="1783629"/>
                  <a:pt x="5909823" y="1783231"/>
                  <a:pt x="5911287" y="1782708"/>
                </a:cubicBezTo>
                <a:cubicBezTo>
                  <a:pt x="5912751" y="1782170"/>
                  <a:pt x="5914083" y="1781365"/>
                  <a:pt x="5915014" y="1780304"/>
                </a:cubicBezTo>
                <a:cubicBezTo>
                  <a:pt x="5916079" y="1779105"/>
                  <a:pt x="5917011" y="1777772"/>
                  <a:pt x="5917677" y="1776047"/>
                </a:cubicBezTo>
                <a:cubicBezTo>
                  <a:pt x="5918342" y="1774449"/>
                  <a:pt x="5918742" y="1772588"/>
                  <a:pt x="5918742" y="1770584"/>
                </a:cubicBezTo>
                <a:cubicBezTo>
                  <a:pt x="5918742" y="1768720"/>
                  <a:pt x="5918342" y="1766997"/>
                  <a:pt x="5917677" y="1765399"/>
                </a:cubicBezTo>
                <a:cubicBezTo>
                  <a:pt x="5917011" y="1763793"/>
                  <a:pt x="5916079" y="1762469"/>
                  <a:pt x="5915014" y="1761271"/>
                </a:cubicBezTo>
                <a:cubicBezTo>
                  <a:pt x="5913950" y="1760205"/>
                  <a:pt x="5912618" y="1759407"/>
                  <a:pt x="5911021" y="1758610"/>
                </a:cubicBezTo>
                <a:cubicBezTo>
                  <a:pt x="5909557" y="1757942"/>
                  <a:pt x="5907826" y="1757670"/>
                  <a:pt x="5905963" y="1757670"/>
                </a:cubicBezTo>
                <a:close/>
                <a:moveTo>
                  <a:pt x="5688451" y="1757670"/>
                </a:moveTo>
                <a:cubicBezTo>
                  <a:pt x="5682594" y="1757670"/>
                  <a:pt x="5680064" y="1759665"/>
                  <a:pt x="5678467" y="1761271"/>
                </a:cubicBezTo>
                <a:cubicBezTo>
                  <a:pt x="5675938" y="1763934"/>
                  <a:pt x="5674873" y="1766725"/>
                  <a:pt x="5674873" y="1770725"/>
                </a:cubicBezTo>
                <a:cubicBezTo>
                  <a:pt x="5674873" y="1774853"/>
                  <a:pt x="5675938" y="1777642"/>
                  <a:pt x="5678467" y="1780175"/>
                </a:cubicBezTo>
                <a:cubicBezTo>
                  <a:pt x="5680064" y="1781764"/>
                  <a:pt x="5682594" y="1783629"/>
                  <a:pt x="5688451" y="1783629"/>
                </a:cubicBezTo>
                <a:cubicBezTo>
                  <a:pt x="5690447" y="1783629"/>
                  <a:pt x="5692178" y="1783231"/>
                  <a:pt x="5693775" y="1782708"/>
                </a:cubicBezTo>
                <a:cubicBezTo>
                  <a:pt x="5695239" y="1782170"/>
                  <a:pt x="5696571" y="1781365"/>
                  <a:pt x="5697502" y="1780304"/>
                </a:cubicBezTo>
                <a:cubicBezTo>
                  <a:pt x="5698567" y="1779105"/>
                  <a:pt x="5699499" y="1777772"/>
                  <a:pt x="5700165" y="1776047"/>
                </a:cubicBezTo>
                <a:cubicBezTo>
                  <a:pt x="5700830" y="1774449"/>
                  <a:pt x="5701230" y="1772588"/>
                  <a:pt x="5701230" y="1770584"/>
                </a:cubicBezTo>
                <a:cubicBezTo>
                  <a:pt x="5701230" y="1768720"/>
                  <a:pt x="5700830" y="1766997"/>
                  <a:pt x="5700165" y="1765399"/>
                </a:cubicBezTo>
                <a:cubicBezTo>
                  <a:pt x="5699499" y="1763793"/>
                  <a:pt x="5698567" y="1762469"/>
                  <a:pt x="5697502" y="1761271"/>
                </a:cubicBezTo>
                <a:cubicBezTo>
                  <a:pt x="5696437" y="1760205"/>
                  <a:pt x="5695106" y="1759407"/>
                  <a:pt x="5693509" y="1758610"/>
                </a:cubicBezTo>
                <a:cubicBezTo>
                  <a:pt x="5692045" y="1757942"/>
                  <a:pt x="5690314" y="1757670"/>
                  <a:pt x="5688451" y="1757670"/>
                </a:cubicBezTo>
                <a:close/>
                <a:moveTo>
                  <a:pt x="5470806" y="1757670"/>
                </a:moveTo>
                <a:cubicBezTo>
                  <a:pt x="5464949" y="1757670"/>
                  <a:pt x="5462419" y="1759665"/>
                  <a:pt x="5460822" y="1761271"/>
                </a:cubicBezTo>
                <a:cubicBezTo>
                  <a:pt x="5458293" y="1763934"/>
                  <a:pt x="5457228" y="1766725"/>
                  <a:pt x="5457228" y="1770725"/>
                </a:cubicBezTo>
                <a:cubicBezTo>
                  <a:pt x="5457228" y="1774853"/>
                  <a:pt x="5458293" y="1777642"/>
                  <a:pt x="5460822" y="1780175"/>
                </a:cubicBezTo>
                <a:cubicBezTo>
                  <a:pt x="5462419" y="1781764"/>
                  <a:pt x="5464949" y="1783629"/>
                  <a:pt x="5470806" y="1783629"/>
                </a:cubicBezTo>
                <a:cubicBezTo>
                  <a:pt x="5472802" y="1783629"/>
                  <a:pt x="5474666" y="1783231"/>
                  <a:pt x="5476130" y="1782708"/>
                </a:cubicBezTo>
                <a:cubicBezTo>
                  <a:pt x="5477594" y="1782170"/>
                  <a:pt x="5478926" y="1781365"/>
                  <a:pt x="5479857" y="1780304"/>
                </a:cubicBezTo>
                <a:cubicBezTo>
                  <a:pt x="5480922" y="1779105"/>
                  <a:pt x="5481854" y="1777772"/>
                  <a:pt x="5482520" y="1776047"/>
                </a:cubicBezTo>
                <a:cubicBezTo>
                  <a:pt x="5483319" y="1774449"/>
                  <a:pt x="5483585" y="1772588"/>
                  <a:pt x="5483585" y="1770584"/>
                </a:cubicBezTo>
                <a:cubicBezTo>
                  <a:pt x="5483585" y="1768720"/>
                  <a:pt x="5483185" y="1766997"/>
                  <a:pt x="5482520" y="1765399"/>
                </a:cubicBezTo>
                <a:cubicBezTo>
                  <a:pt x="5481854" y="1763793"/>
                  <a:pt x="5480922" y="1762469"/>
                  <a:pt x="5479857" y="1761271"/>
                </a:cubicBezTo>
                <a:cubicBezTo>
                  <a:pt x="5478793" y="1760205"/>
                  <a:pt x="5477461" y="1759407"/>
                  <a:pt x="5475864" y="1758610"/>
                </a:cubicBezTo>
                <a:cubicBezTo>
                  <a:pt x="5474400" y="1757942"/>
                  <a:pt x="5472669" y="1757670"/>
                  <a:pt x="5470806" y="1757670"/>
                </a:cubicBezTo>
                <a:close/>
                <a:moveTo>
                  <a:pt x="5253160" y="1757670"/>
                </a:moveTo>
                <a:cubicBezTo>
                  <a:pt x="5247303" y="1757670"/>
                  <a:pt x="5244774" y="1759665"/>
                  <a:pt x="5243177" y="1761271"/>
                </a:cubicBezTo>
                <a:cubicBezTo>
                  <a:pt x="5240647" y="1763934"/>
                  <a:pt x="5239583" y="1766725"/>
                  <a:pt x="5239583" y="1770725"/>
                </a:cubicBezTo>
                <a:cubicBezTo>
                  <a:pt x="5239583" y="1774853"/>
                  <a:pt x="5240647" y="1777642"/>
                  <a:pt x="5243177" y="1780175"/>
                </a:cubicBezTo>
                <a:cubicBezTo>
                  <a:pt x="5244774" y="1781764"/>
                  <a:pt x="5247303" y="1783629"/>
                  <a:pt x="5253160" y="1783629"/>
                </a:cubicBezTo>
                <a:cubicBezTo>
                  <a:pt x="5255157" y="1783629"/>
                  <a:pt x="5257021" y="1783231"/>
                  <a:pt x="5258485" y="1782708"/>
                </a:cubicBezTo>
                <a:cubicBezTo>
                  <a:pt x="5259949" y="1782170"/>
                  <a:pt x="5261280" y="1781365"/>
                  <a:pt x="5262212" y="1780304"/>
                </a:cubicBezTo>
                <a:cubicBezTo>
                  <a:pt x="5263277" y="1779105"/>
                  <a:pt x="5264209" y="1777772"/>
                  <a:pt x="5264875" y="1776047"/>
                </a:cubicBezTo>
                <a:cubicBezTo>
                  <a:pt x="5265673" y="1774449"/>
                  <a:pt x="5265939" y="1772588"/>
                  <a:pt x="5265939" y="1770584"/>
                </a:cubicBezTo>
                <a:cubicBezTo>
                  <a:pt x="5265939" y="1768720"/>
                  <a:pt x="5265540" y="1766997"/>
                  <a:pt x="5264875" y="1765399"/>
                </a:cubicBezTo>
                <a:cubicBezTo>
                  <a:pt x="5264209" y="1763793"/>
                  <a:pt x="5263277" y="1762469"/>
                  <a:pt x="5262212" y="1761271"/>
                </a:cubicBezTo>
                <a:cubicBezTo>
                  <a:pt x="5261147" y="1760205"/>
                  <a:pt x="5259816" y="1759407"/>
                  <a:pt x="5258219" y="1758610"/>
                </a:cubicBezTo>
                <a:cubicBezTo>
                  <a:pt x="5256754" y="1757942"/>
                  <a:pt x="5255024" y="1757670"/>
                  <a:pt x="5253160" y="1757670"/>
                </a:cubicBezTo>
                <a:close/>
                <a:moveTo>
                  <a:pt x="5035515" y="1757670"/>
                </a:moveTo>
                <a:cubicBezTo>
                  <a:pt x="5029658" y="1757670"/>
                  <a:pt x="5027129" y="1759665"/>
                  <a:pt x="5025532" y="1761271"/>
                </a:cubicBezTo>
                <a:cubicBezTo>
                  <a:pt x="5023002" y="1763934"/>
                  <a:pt x="5021938" y="1766725"/>
                  <a:pt x="5021938" y="1770725"/>
                </a:cubicBezTo>
                <a:cubicBezTo>
                  <a:pt x="5021938" y="1774853"/>
                  <a:pt x="5023002" y="1777642"/>
                  <a:pt x="5025532" y="1780175"/>
                </a:cubicBezTo>
                <a:cubicBezTo>
                  <a:pt x="5027129" y="1781764"/>
                  <a:pt x="5029658" y="1783629"/>
                  <a:pt x="5035515" y="1783629"/>
                </a:cubicBezTo>
                <a:cubicBezTo>
                  <a:pt x="5037645" y="1783629"/>
                  <a:pt x="5039376" y="1783231"/>
                  <a:pt x="5040840" y="1782708"/>
                </a:cubicBezTo>
                <a:cubicBezTo>
                  <a:pt x="5042304" y="1782170"/>
                  <a:pt x="5043636" y="1781365"/>
                  <a:pt x="5044567" y="1780304"/>
                </a:cubicBezTo>
                <a:cubicBezTo>
                  <a:pt x="5045632" y="1779105"/>
                  <a:pt x="5046564" y="1777772"/>
                  <a:pt x="5047230" y="1776047"/>
                </a:cubicBezTo>
                <a:cubicBezTo>
                  <a:pt x="5048028" y="1774449"/>
                  <a:pt x="5048294" y="1772588"/>
                  <a:pt x="5048294" y="1770584"/>
                </a:cubicBezTo>
                <a:cubicBezTo>
                  <a:pt x="5048294" y="1768720"/>
                  <a:pt x="5047895" y="1766997"/>
                  <a:pt x="5047230" y="1765399"/>
                </a:cubicBezTo>
                <a:cubicBezTo>
                  <a:pt x="5046564" y="1763793"/>
                  <a:pt x="5045632" y="1762469"/>
                  <a:pt x="5044567" y="1761271"/>
                </a:cubicBezTo>
                <a:cubicBezTo>
                  <a:pt x="5043502" y="1760205"/>
                  <a:pt x="5042171" y="1759407"/>
                  <a:pt x="5040574" y="1758610"/>
                </a:cubicBezTo>
                <a:cubicBezTo>
                  <a:pt x="5039110" y="1757942"/>
                  <a:pt x="5037379" y="1757670"/>
                  <a:pt x="5035515" y="1757670"/>
                </a:cubicBezTo>
                <a:close/>
                <a:moveTo>
                  <a:pt x="4817870" y="1757670"/>
                </a:moveTo>
                <a:cubicBezTo>
                  <a:pt x="4812013" y="1757670"/>
                  <a:pt x="4809484" y="1759665"/>
                  <a:pt x="4807887" y="1761271"/>
                </a:cubicBezTo>
                <a:cubicBezTo>
                  <a:pt x="4805357" y="1763934"/>
                  <a:pt x="4804293" y="1766725"/>
                  <a:pt x="4804293" y="1770725"/>
                </a:cubicBezTo>
                <a:cubicBezTo>
                  <a:pt x="4804293" y="1774853"/>
                  <a:pt x="4805357" y="1777642"/>
                  <a:pt x="4807887" y="1780175"/>
                </a:cubicBezTo>
                <a:cubicBezTo>
                  <a:pt x="4809484" y="1781764"/>
                  <a:pt x="4812013" y="1783629"/>
                  <a:pt x="4817870" y="1783629"/>
                </a:cubicBezTo>
                <a:cubicBezTo>
                  <a:pt x="4820000" y="1783629"/>
                  <a:pt x="4821731" y="1783231"/>
                  <a:pt x="4823195" y="1782708"/>
                </a:cubicBezTo>
                <a:cubicBezTo>
                  <a:pt x="4824659" y="1782170"/>
                  <a:pt x="4825857" y="1781365"/>
                  <a:pt x="4826922" y="1780304"/>
                </a:cubicBezTo>
                <a:cubicBezTo>
                  <a:pt x="4827987" y="1779105"/>
                  <a:pt x="4828919" y="1777772"/>
                  <a:pt x="4829585" y="1776047"/>
                </a:cubicBezTo>
                <a:cubicBezTo>
                  <a:pt x="4830383" y="1774449"/>
                  <a:pt x="4830650" y="1772588"/>
                  <a:pt x="4830650" y="1770584"/>
                </a:cubicBezTo>
                <a:cubicBezTo>
                  <a:pt x="4830650" y="1768720"/>
                  <a:pt x="4830250" y="1766997"/>
                  <a:pt x="4829585" y="1765399"/>
                </a:cubicBezTo>
                <a:cubicBezTo>
                  <a:pt x="4828919" y="1763793"/>
                  <a:pt x="4827987" y="1762469"/>
                  <a:pt x="4826922" y="1761271"/>
                </a:cubicBezTo>
                <a:cubicBezTo>
                  <a:pt x="4825857" y="1760205"/>
                  <a:pt x="4824526" y="1759407"/>
                  <a:pt x="4822929" y="1758610"/>
                </a:cubicBezTo>
                <a:cubicBezTo>
                  <a:pt x="4821465" y="1757942"/>
                  <a:pt x="4819734" y="1757670"/>
                  <a:pt x="4817870" y="1757670"/>
                </a:cubicBezTo>
                <a:close/>
                <a:moveTo>
                  <a:pt x="4600226" y="1757670"/>
                </a:moveTo>
                <a:cubicBezTo>
                  <a:pt x="4594369" y="1757670"/>
                  <a:pt x="4591839" y="1759665"/>
                  <a:pt x="4590242" y="1761271"/>
                </a:cubicBezTo>
                <a:cubicBezTo>
                  <a:pt x="4587713" y="1763934"/>
                  <a:pt x="4586648" y="1766725"/>
                  <a:pt x="4586648" y="1770725"/>
                </a:cubicBezTo>
                <a:cubicBezTo>
                  <a:pt x="4586648" y="1774853"/>
                  <a:pt x="4587713" y="1777642"/>
                  <a:pt x="4590242" y="1780175"/>
                </a:cubicBezTo>
                <a:cubicBezTo>
                  <a:pt x="4591839" y="1781764"/>
                  <a:pt x="4594369" y="1783629"/>
                  <a:pt x="4600226" y="1783629"/>
                </a:cubicBezTo>
                <a:cubicBezTo>
                  <a:pt x="4602355" y="1783629"/>
                  <a:pt x="4604086" y="1783231"/>
                  <a:pt x="4605550" y="1782708"/>
                </a:cubicBezTo>
                <a:cubicBezTo>
                  <a:pt x="4607148" y="1782170"/>
                  <a:pt x="4608346" y="1781365"/>
                  <a:pt x="4609277" y="1780304"/>
                </a:cubicBezTo>
                <a:cubicBezTo>
                  <a:pt x="4610342" y="1779105"/>
                  <a:pt x="4611274" y="1777772"/>
                  <a:pt x="4611940" y="1776047"/>
                </a:cubicBezTo>
                <a:cubicBezTo>
                  <a:pt x="4612605" y="1774449"/>
                  <a:pt x="4613005" y="1772588"/>
                  <a:pt x="4613005" y="1770584"/>
                </a:cubicBezTo>
                <a:cubicBezTo>
                  <a:pt x="4613005" y="1768720"/>
                  <a:pt x="4612605" y="1766997"/>
                  <a:pt x="4611940" y="1765399"/>
                </a:cubicBezTo>
                <a:cubicBezTo>
                  <a:pt x="4611274" y="1763793"/>
                  <a:pt x="4610342" y="1762469"/>
                  <a:pt x="4609277" y="1761271"/>
                </a:cubicBezTo>
                <a:cubicBezTo>
                  <a:pt x="4608212" y="1760205"/>
                  <a:pt x="4606881" y="1759407"/>
                  <a:pt x="4605284" y="1758610"/>
                </a:cubicBezTo>
                <a:cubicBezTo>
                  <a:pt x="4603820" y="1757942"/>
                  <a:pt x="4602222" y="1757670"/>
                  <a:pt x="4600226" y="1757670"/>
                </a:cubicBezTo>
                <a:close/>
                <a:moveTo>
                  <a:pt x="4382713" y="1757670"/>
                </a:moveTo>
                <a:cubicBezTo>
                  <a:pt x="4376857" y="1757670"/>
                  <a:pt x="4374327" y="1759665"/>
                  <a:pt x="4372730" y="1761271"/>
                </a:cubicBezTo>
                <a:cubicBezTo>
                  <a:pt x="4370201" y="1763934"/>
                  <a:pt x="4369136" y="1766725"/>
                  <a:pt x="4369136" y="1770725"/>
                </a:cubicBezTo>
                <a:cubicBezTo>
                  <a:pt x="4369136" y="1774853"/>
                  <a:pt x="4370201" y="1777642"/>
                  <a:pt x="4372730" y="1780175"/>
                </a:cubicBezTo>
                <a:cubicBezTo>
                  <a:pt x="4374327" y="1781764"/>
                  <a:pt x="4376857" y="1783629"/>
                  <a:pt x="4382713" y="1783629"/>
                </a:cubicBezTo>
                <a:cubicBezTo>
                  <a:pt x="4384710" y="1783629"/>
                  <a:pt x="4386441" y="1783231"/>
                  <a:pt x="4388038" y="1782708"/>
                </a:cubicBezTo>
                <a:cubicBezTo>
                  <a:pt x="4389502" y="1782170"/>
                  <a:pt x="4390834" y="1781365"/>
                  <a:pt x="4391765" y="1780304"/>
                </a:cubicBezTo>
                <a:cubicBezTo>
                  <a:pt x="4392830" y="1779105"/>
                  <a:pt x="4393762" y="1777772"/>
                  <a:pt x="4394428" y="1776047"/>
                </a:cubicBezTo>
                <a:cubicBezTo>
                  <a:pt x="4395093" y="1774449"/>
                  <a:pt x="4395493" y="1772588"/>
                  <a:pt x="4395493" y="1770584"/>
                </a:cubicBezTo>
                <a:cubicBezTo>
                  <a:pt x="4395493" y="1768720"/>
                  <a:pt x="4395093" y="1766997"/>
                  <a:pt x="4394428" y="1765399"/>
                </a:cubicBezTo>
                <a:cubicBezTo>
                  <a:pt x="4393762" y="1763793"/>
                  <a:pt x="4392830" y="1762469"/>
                  <a:pt x="4391765" y="1761271"/>
                </a:cubicBezTo>
                <a:cubicBezTo>
                  <a:pt x="4390700" y="1760205"/>
                  <a:pt x="4389369" y="1759407"/>
                  <a:pt x="4387772" y="1758610"/>
                </a:cubicBezTo>
                <a:cubicBezTo>
                  <a:pt x="4386308" y="1757942"/>
                  <a:pt x="4384710" y="1757670"/>
                  <a:pt x="4382713" y="1757670"/>
                </a:cubicBezTo>
                <a:close/>
                <a:moveTo>
                  <a:pt x="4165068" y="1757670"/>
                </a:moveTo>
                <a:cubicBezTo>
                  <a:pt x="4159211" y="1757670"/>
                  <a:pt x="4156681" y="1759665"/>
                  <a:pt x="4155084" y="1761271"/>
                </a:cubicBezTo>
                <a:cubicBezTo>
                  <a:pt x="4152555" y="1763934"/>
                  <a:pt x="4151490" y="1766725"/>
                  <a:pt x="4151490" y="1770725"/>
                </a:cubicBezTo>
                <a:cubicBezTo>
                  <a:pt x="4151490" y="1774853"/>
                  <a:pt x="4152555" y="1777642"/>
                  <a:pt x="4155084" y="1780175"/>
                </a:cubicBezTo>
                <a:cubicBezTo>
                  <a:pt x="4156681" y="1781764"/>
                  <a:pt x="4159211" y="1783629"/>
                  <a:pt x="4165068" y="1783629"/>
                </a:cubicBezTo>
                <a:cubicBezTo>
                  <a:pt x="4167064" y="1783629"/>
                  <a:pt x="4168928" y="1783231"/>
                  <a:pt x="4170392" y="1782708"/>
                </a:cubicBezTo>
                <a:cubicBezTo>
                  <a:pt x="4171856" y="1782170"/>
                  <a:pt x="4173188" y="1781365"/>
                  <a:pt x="4174119" y="1780304"/>
                </a:cubicBezTo>
                <a:cubicBezTo>
                  <a:pt x="4175184" y="1779105"/>
                  <a:pt x="4176116" y="1777772"/>
                  <a:pt x="4176782" y="1776047"/>
                </a:cubicBezTo>
                <a:cubicBezTo>
                  <a:pt x="4177447" y="1774449"/>
                  <a:pt x="4177847" y="1772588"/>
                  <a:pt x="4177847" y="1770584"/>
                </a:cubicBezTo>
                <a:cubicBezTo>
                  <a:pt x="4177847" y="1768720"/>
                  <a:pt x="4177447" y="1766997"/>
                  <a:pt x="4176782" y="1765399"/>
                </a:cubicBezTo>
                <a:cubicBezTo>
                  <a:pt x="4176116" y="1763793"/>
                  <a:pt x="4175184" y="1762469"/>
                  <a:pt x="4174119" y="1761271"/>
                </a:cubicBezTo>
                <a:cubicBezTo>
                  <a:pt x="4173054" y="1760205"/>
                  <a:pt x="4171723" y="1759407"/>
                  <a:pt x="4170126" y="1758610"/>
                </a:cubicBezTo>
                <a:cubicBezTo>
                  <a:pt x="4168662" y="1757942"/>
                  <a:pt x="4167064" y="1757670"/>
                  <a:pt x="4165068" y="1757670"/>
                </a:cubicBezTo>
                <a:close/>
                <a:moveTo>
                  <a:pt x="3947524" y="1757670"/>
                </a:moveTo>
                <a:cubicBezTo>
                  <a:pt x="3941666" y="1757670"/>
                  <a:pt x="3939137" y="1759665"/>
                  <a:pt x="3937541" y="1761271"/>
                </a:cubicBezTo>
                <a:cubicBezTo>
                  <a:pt x="3935009" y="1763934"/>
                  <a:pt x="3933946" y="1766725"/>
                  <a:pt x="3933946" y="1770725"/>
                </a:cubicBezTo>
                <a:cubicBezTo>
                  <a:pt x="3933946" y="1774853"/>
                  <a:pt x="3935009" y="1777642"/>
                  <a:pt x="3937541" y="1780175"/>
                </a:cubicBezTo>
                <a:cubicBezTo>
                  <a:pt x="3939137" y="1781764"/>
                  <a:pt x="3941666" y="1783629"/>
                  <a:pt x="3947524" y="1783629"/>
                </a:cubicBezTo>
                <a:cubicBezTo>
                  <a:pt x="3949521" y="1783629"/>
                  <a:pt x="3951384" y="1783231"/>
                  <a:pt x="3952849" y="1782708"/>
                </a:cubicBezTo>
                <a:cubicBezTo>
                  <a:pt x="3954313" y="1782170"/>
                  <a:pt x="3955643" y="1781365"/>
                  <a:pt x="3956576" y="1780304"/>
                </a:cubicBezTo>
                <a:cubicBezTo>
                  <a:pt x="3957641" y="1779105"/>
                  <a:pt x="3958574" y="1777772"/>
                  <a:pt x="3959239" y="1776047"/>
                </a:cubicBezTo>
                <a:cubicBezTo>
                  <a:pt x="3959904" y="1774449"/>
                  <a:pt x="3960304" y="1772588"/>
                  <a:pt x="3960304" y="1770584"/>
                </a:cubicBezTo>
                <a:cubicBezTo>
                  <a:pt x="3960304" y="1768720"/>
                  <a:pt x="3959904" y="1766997"/>
                  <a:pt x="3959239" y="1765399"/>
                </a:cubicBezTo>
                <a:cubicBezTo>
                  <a:pt x="3958574" y="1763793"/>
                  <a:pt x="3957641" y="1762469"/>
                  <a:pt x="3956576" y="1761271"/>
                </a:cubicBezTo>
                <a:cubicBezTo>
                  <a:pt x="3955510" y="1760205"/>
                  <a:pt x="3954180" y="1759407"/>
                  <a:pt x="3952582" y="1758610"/>
                </a:cubicBezTo>
                <a:cubicBezTo>
                  <a:pt x="3951117" y="1757942"/>
                  <a:pt x="3949521" y="1757670"/>
                  <a:pt x="3947524" y="1757670"/>
                </a:cubicBezTo>
                <a:close/>
                <a:moveTo>
                  <a:pt x="3729873" y="1757670"/>
                </a:moveTo>
                <a:cubicBezTo>
                  <a:pt x="3724016" y="1757670"/>
                  <a:pt x="3721487" y="1759665"/>
                  <a:pt x="3719887" y="1761271"/>
                </a:cubicBezTo>
                <a:cubicBezTo>
                  <a:pt x="3717358" y="1763934"/>
                  <a:pt x="3716295" y="1766725"/>
                  <a:pt x="3716295" y="1770725"/>
                </a:cubicBezTo>
                <a:cubicBezTo>
                  <a:pt x="3716295" y="1774853"/>
                  <a:pt x="3717358" y="1777642"/>
                  <a:pt x="3719887" y="1780175"/>
                </a:cubicBezTo>
                <a:cubicBezTo>
                  <a:pt x="3721487" y="1781764"/>
                  <a:pt x="3724016" y="1783629"/>
                  <a:pt x="3729873" y="1783629"/>
                </a:cubicBezTo>
                <a:cubicBezTo>
                  <a:pt x="3732003" y="1783629"/>
                  <a:pt x="3733734" y="1783231"/>
                  <a:pt x="3735198" y="1782708"/>
                </a:cubicBezTo>
                <a:cubicBezTo>
                  <a:pt x="3736662" y="1782170"/>
                  <a:pt x="3737995" y="1781365"/>
                  <a:pt x="3738925" y="1780304"/>
                </a:cubicBezTo>
                <a:cubicBezTo>
                  <a:pt x="3739990" y="1779105"/>
                  <a:pt x="3740923" y="1777772"/>
                  <a:pt x="3741588" y="1776047"/>
                </a:cubicBezTo>
                <a:cubicBezTo>
                  <a:pt x="3742253" y="1774449"/>
                  <a:pt x="3742653" y="1772588"/>
                  <a:pt x="3742653" y="1770584"/>
                </a:cubicBezTo>
                <a:cubicBezTo>
                  <a:pt x="3742653" y="1768720"/>
                  <a:pt x="3742253" y="1766997"/>
                  <a:pt x="3741588" y="1765399"/>
                </a:cubicBezTo>
                <a:cubicBezTo>
                  <a:pt x="3740923" y="1763793"/>
                  <a:pt x="3739990" y="1762469"/>
                  <a:pt x="3738925" y="1761271"/>
                </a:cubicBezTo>
                <a:cubicBezTo>
                  <a:pt x="3737861" y="1760205"/>
                  <a:pt x="3736529" y="1759407"/>
                  <a:pt x="3734933" y="1758610"/>
                </a:cubicBezTo>
                <a:cubicBezTo>
                  <a:pt x="3733467" y="1757942"/>
                  <a:pt x="3731870" y="1757670"/>
                  <a:pt x="3729873" y="1757670"/>
                </a:cubicBezTo>
                <a:close/>
                <a:moveTo>
                  <a:pt x="3512223" y="1757670"/>
                </a:moveTo>
                <a:cubicBezTo>
                  <a:pt x="3506366" y="1757670"/>
                  <a:pt x="3503836" y="1759665"/>
                  <a:pt x="3502238" y="1761271"/>
                </a:cubicBezTo>
                <a:cubicBezTo>
                  <a:pt x="3499708" y="1763934"/>
                  <a:pt x="3498644" y="1766725"/>
                  <a:pt x="3498644" y="1770725"/>
                </a:cubicBezTo>
                <a:cubicBezTo>
                  <a:pt x="3498644" y="1774853"/>
                  <a:pt x="3499708" y="1777642"/>
                  <a:pt x="3502238" y="1780175"/>
                </a:cubicBezTo>
                <a:cubicBezTo>
                  <a:pt x="3503836" y="1781764"/>
                  <a:pt x="3506366" y="1783629"/>
                  <a:pt x="3512223" y="1783629"/>
                </a:cubicBezTo>
                <a:cubicBezTo>
                  <a:pt x="3514352" y="1783629"/>
                  <a:pt x="3516084" y="1783231"/>
                  <a:pt x="3517548" y="1782708"/>
                </a:cubicBezTo>
                <a:cubicBezTo>
                  <a:pt x="3519012" y="1782170"/>
                  <a:pt x="3520344" y="1781365"/>
                  <a:pt x="3521275" y="1780304"/>
                </a:cubicBezTo>
                <a:cubicBezTo>
                  <a:pt x="3522340" y="1779105"/>
                  <a:pt x="3523272" y="1777772"/>
                  <a:pt x="3523938" y="1776047"/>
                </a:cubicBezTo>
                <a:cubicBezTo>
                  <a:pt x="3524603" y="1774449"/>
                  <a:pt x="3525003" y="1772588"/>
                  <a:pt x="3525003" y="1770584"/>
                </a:cubicBezTo>
                <a:cubicBezTo>
                  <a:pt x="3525003" y="1768720"/>
                  <a:pt x="3524603" y="1766997"/>
                  <a:pt x="3523938" y="1765399"/>
                </a:cubicBezTo>
                <a:cubicBezTo>
                  <a:pt x="3523272" y="1763793"/>
                  <a:pt x="3522340" y="1762469"/>
                  <a:pt x="3521275" y="1761271"/>
                </a:cubicBezTo>
                <a:cubicBezTo>
                  <a:pt x="3520210" y="1760205"/>
                  <a:pt x="3518879" y="1759407"/>
                  <a:pt x="3517282" y="1758610"/>
                </a:cubicBezTo>
                <a:cubicBezTo>
                  <a:pt x="3515818" y="1757942"/>
                  <a:pt x="3514220" y="1757670"/>
                  <a:pt x="3512223" y="1757670"/>
                </a:cubicBezTo>
                <a:close/>
                <a:moveTo>
                  <a:pt x="3294706" y="1757670"/>
                </a:moveTo>
                <a:cubicBezTo>
                  <a:pt x="3288849" y="1757670"/>
                  <a:pt x="3286319" y="1759665"/>
                  <a:pt x="3284722" y="1761271"/>
                </a:cubicBezTo>
                <a:cubicBezTo>
                  <a:pt x="3282191" y="1763934"/>
                  <a:pt x="3281128" y="1766725"/>
                  <a:pt x="3281128" y="1770725"/>
                </a:cubicBezTo>
                <a:cubicBezTo>
                  <a:pt x="3281128" y="1774853"/>
                  <a:pt x="3282191" y="1777642"/>
                  <a:pt x="3284722" y="1780175"/>
                </a:cubicBezTo>
                <a:cubicBezTo>
                  <a:pt x="3286319" y="1781764"/>
                  <a:pt x="3288849" y="1783629"/>
                  <a:pt x="3294706" y="1783629"/>
                </a:cubicBezTo>
                <a:cubicBezTo>
                  <a:pt x="3296703" y="1783629"/>
                  <a:pt x="3298433" y="1783231"/>
                  <a:pt x="3300031" y="1782708"/>
                </a:cubicBezTo>
                <a:cubicBezTo>
                  <a:pt x="3301495" y="1782170"/>
                  <a:pt x="3302827" y="1781365"/>
                  <a:pt x="3303758" y="1780304"/>
                </a:cubicBezTo>
                <a:cubicBezTo>
                  <a:pt x="3304823" y="1779105"/>
                  <a:pt x="3305755" y="1777772"/>
                  <a:pt x="3306421" y="1776047"/>
                </a:cubicBezTo>
                <a:cubicBezTo>
                  <a:pt x="3307086" y="1774449"/>
                  <a:pt x="3307485" y="1772588"/>
                  <a:pt x="3307485" y="1770584"/>
                </a:cubicBezTo>
                <a:cubicBezTo>
                  <a:pt x="3307485" y="1768720"/>
                  <a:pt x="3307086" y="1766997"/>
                  <a:pt x="3306421" y="1765399"/>
                </a:cubicBezTo>
                <a:cubicBezTo>
                  <a:pt x="3305755" y="1763793"/>
                  <a:pt x="3304823" y="1762469"/>
                  <a:pt x="3303758" y="1761271"/>
                </a:cubicBezTo>
                <a:cubicBezTo>
                  <a:pt x="3302693" y="1760205"/>
                  <a:pt x="3301362" y="1759407"/>
                  <a:pt x="3299765" y="1758610"/>
                </a:cubicBezTo>
                <a:cubicBezTo>
                  <a:pt x="3298301" y="1757942"/>
                  <a:pt x="3296703" y="1757670"/>
                  <a:pt x="3294706" y="1757670"/>
                </a:cubicBezTo>
                <a:close/>
                <a:moveTo>
                  <a:pt x="3077189" y="1757670"/>
                </a:moveTo>
                <a:cubicBezTo>
                  <a:pt x="3071331" y="1757670"/>
                  <a:pt x="3068802" y="1759665"/>
                  <a:pt x="3067206" y="1761271"/>
                </a:cubicBezTo>
                <a:cubicBezTo>
                  <a:pt x="3064541" y="1763934"/>
                  <a:pt x="3063477" y="1766725"/>
                  <a:pt x="3063477" y="1770725"/>
                </a:cubicBezTo>
                <a:cubicBezTo>
                  <a:pt x="3063477" y="1774853"/>
                  <a:pt x="3064541" y="1777642"/>
                  <a:pt x="3067072" y="1780175"/>
                </a:cubicBezTo>
                <a:cubicBezTo>
                  <a:pt x="3068669" y="1781764"/>
                  <a:pt x="3071198" y="1783629"/>
                  <a:pt x="3077055" y="1783629"/>
                </a:cubicBezTo>
                <a:cubicBezTo>
                  <a:pt x="3079053" y="1783629"/>
                  <a:pt x="3080783" y="1783231"/>
                  <a:pt x="3082514" y="1782708"/>
                </a:cubicBezTo>
                <a:cubicBezTo>
                  <a:pt x="3083979" y="1782170"/>
                  <a:pt x="3085310" y="1781365"/>
                  <a:pt x="3086241" y="1780304"/>
                </a:cubicBezTo>
                <a:cubicBezTo>
                  <a:pt x="3087306" y="1779105"/>
                  <a:pt x="3088238" y="1777772"/>
                  <a:pt x="3088904" y="1776047"/>
                </a:cubicBezTo>
                <a:cubicBezTo>
                  <a:pt x="3089569" y="1774449"/>
                  <a:pt x="3089836" y="1772588"/>
                  <a:pt x="3089836" y="1770584"/>
                </a:cubicBezTo>
                <a:cubicBezTo>
                  <a:pt x="3089836" y="1768720"/>
                  <a:pt x="3089569" y="1766997"/>
                  <a:pt x="3088904" y="1765399"/>
                </a:cubicBezTo>
                <a:cubicBezTo>
                  <a:pt x="3088238" y="1763793"/>
                  <a:pt x="3087306" y="1762469"/>
                  <a:pt x="3086241" y="1761271"/>
                </a:cubicBezTo>
                <a:cubicBezTo>
                  <a:pt x="3085177" y="1760205"/>
                  <a:pt x="3083845" y="1759407"/>
                  <a:pt x="3082248" y="1758610"/>
                </a:cubicBezTo>
                <a:cubicBezTo>
                  <a:pt x="3080783" y="1757942"/>
                  <a:pt x="3079186" y="1757670"/>
                  <a:pt x="3077189" y="1757670"/>
                </a:cubicBezTo>
                <a:close/>
                <a:moveTo>
                  <a:pt x="2859406" y="1757670"/>
                </a:moveTo>
                <a:cubicBezTo>
                  <a:pt x="2853548" y="1757670"/>
                  <a:pt x="2851019" y="1759665"/>
                  <a:pt x="2849421" y="1761271"/>
                </a:cubicBezTo>
                <a:cubicBezTo>
                  <a:pt x="2846890" y="1763934"/>
                  <a:pt x="2845826" y="1766725"/>
                  <a:pt x="2845826" y="1770725"/>
                </a:cubicBezTo>
                <a:cubicBezTo>
                  <a:pt x="2845826" y="1774853"/>
                  <a:pt x="2846890" y="1777642"/>
                  <a:pt x="2849421" y="1780175"/>
                </a:cubicBezTo>
                <a:cubicBezTo>
                  <a:pt x="2851019" y="1781764"/>
                  <a:pt x="2853548" y="1783629"/>
                  <a:pt x="2859406" y="1783629"/>
                </a:cubicBezTo>
                <a:cubicBezTo>
                  <a:pt x="2861402" y="1783629"/>
                  <a:pt x="2863266" y="1783231"/>
                  <a:pt x="2864730" y="1782708"/>
                </a:cubicBezTo>
                <a:cubicBezTo>
                  <a:pt x="2866328" y="1782170"/>
                  <a:pt x="2867527" y="1781365"/>
                  <a:pt x="2868457" y="1780304"/>
                </a:cubicBezTo>
                <a:cubicBezTo>
                  <a:pt x="2869523" y="1779105"/>
                  <a:pt x="2870455" y="1777772"/>
                  <a:pt x="2871120" y="1776047"/>
                </a:cubicBezTo>
                <a:cubicBezTo>
                  <a:pt x="2871653" y="1774449"/>
                  <a:pt x="2872052" y="1772588"/>
                  <a:pt x="2872052" y="1770584"/>
                </a:cubicBezTo>
                <a:cubicBezTo>
                  <a:pt x="2872052" y="1768720"/>
                  <a:pt x="2871785" y="1766997"/>
                  <a:pt x="2871120" y="1765399"/>
                </a:cubicBezTo>
                <a:cubicBezTo>
                  <a:pt x="2870455" y="1763793"/>
                  <a:pt x="2869523" y="1762469"/>
                  <a:pt x="2868457" y="1761271"/>
                </a:cubicBezTo>
                <a:cubicBezTo>
                  <a:pt x="2867394" y="1760205"/>
                  <a:pt x="2866062" y="1759407"/>
                  <a:pt x="2864465" y="1758610"/>
                </a:cubicBezTo>
                <a:cubicBezTo>
                  <a:pt x="2863001" y="1757942"/>
                  <a:pt x="2861402" y="1757670"/>
                  <a:pt x="2859406" y="1757670"/>
                </a:cubicBezTo>
                <a:close/>
                <a:moveTo>
                  <a:pt x="2641755" y="1757670"/>
                </a:moveTo>
                <a:cubicBezTo>
                  <a:pt x="2635898" y="1757670"/>
                  <a:pt x="2633369" y="1759665"/>
                  <a:pt x="2631772" y="1761271"/>
                </a:cubicBezTo>
                <a:cubicBezTo>
                  <a:pt x="2629242" y="1763934"/>
                  <a:pt x="2628178" y="1766725"/>
                  <a:pt x="2628178" y="1770725"/>
                </a:cubicBezTo>
                <a:cubicBezTo>
                  <a:pt x="2628178" y="1774853"/>
                  <a:pt x="2629242" y="1777642"/>
                  <a:pt x="2631772" y="1780175"/>
                </a:cubicBezTo>
                <a:cubicBezTo>
                  <a:pt x="2633369" y="1781764"/>
                  <a:pt x="2635898" y="1783629"/>
                  <a:pt x="2641755" y="1783629"/>
                </a:cubicBezTo>
                <a:cubicBezTo>
                  <a:pt x="2643752" y="1783629"/>
                  <a:pt x="2645617" y="1783231"/>
                  <a:pt x="2647081" y="1782708"/>
                </a:cubicBezTo>
                <a:cubicBezTo>
                  <a:pt x="2648677" y="1782170"/>
                  <a:pt x="2649875" y="1781365"/>
                  <a:pt x="2650808" y="1780304"/>
                </a:cubicBezTo>
                <a:cubicBezTo>
                  <a:pt x="2651873" y="1779105"/>
                  <a:pt x="2652804" y="1777772"/>
                  <a:pt x="2653471" y="1776047"/>
                </a:cubicBezTo>
                <a:cubicBezTo>
                  <a:pt x="2654002" y="1774449"/>
                  <a:pt x="2654401" y="1772588"/>
                  <a:pt x="2654401" y="1770584"/>
                </a:cubicBezTo>
                <a:cubicBezTo>
                  <a:pt x="2654401" y="1768720"/>
                  <a:pt x="2654136" y="1766997"/>
                  <a:pt x="2653471" y="1765399"/>
                </a:cubicBezTo>
                <a:cubicBezTo>
                  <a:pt x="2652804" y="1763793"/>
                  <a:pt x="2651873" y="1762469"/>
                  <a:pt x="2650808" y="1761271"/>
                </a:cubicBezTo>
                <a:cubicBezTo>
                  <a:pt x="2649742" y="1760205"/>
                  <a:pt x="2648411" y="1759407"/>
                  <a:pt x="2646815" y="1758610"/>
                </a:cubicBezTo>
                <a:cubicBezTo>
                  <a:pt x="2645349" y="1757942"/>
                  <a:pt x="2643752" y="1757670"/>
                  <a:pt x="2641755" y="1757670"/>
                </a:cubicBezTo>
                <a:close/>
                <a:moveTo>
                  <a:pt x="2424105" y="1757670"/>
                </a:moveTo>
                <a:cubicBezTo>
                  <a:pt x="2418248" y="1757670"/>
                  <a:pt x="2415719" y="1759665"/>
                  <a:pt x="2414122" y="1761271"/>
                </a:cubicBezTo>
                <a:cubicBezTo>
                  <a:pt x="2411591" y="1763934"/>
                  <a:pt x="2410527" y="1766725"/>
                  <a:pt x="2410527" y="1770725"/>
                </a:cubicBezTo>
                <a:cubicBezTo>
                  <a:pt x="2410527" y="1774853"/>
                  <a:pt x="2411591" y="1777642"/>
                  <a:pt x="2414122" y="1780175"/>
                </a:cubicBezTo>
                <a:cubicBezTo>
                  <a:pt x="2415719" y="1781764"/>
                  <a:pt x="2418248" y="1783629"/>
                  <a:pt x="2424105" y="1783629"/>
                </a:cubicBezTo>
                <a:cubicBezTo>
                  <a:pt x="2426235" y="1783629"/>
                  <a:pt x="2427966" y="1783231"/>
                  <a:pt x="2429430" y="1782708"/>
                </a:cubicBezTo>
                <a:cubicBezTo>
                  <a:pt x="2431028" y="1782170"/>
                  <a:pt x="2432226" y="1781365"/>
                  <a:pt x="2433157" y="1780304"/>
                </a:cubicBezTo>
                <a:cubicBezTo>
                  <a:pt x="2434222" y="1779105"/>
                  <a:pt x="2435154" y="1777772"/>
                  <a:pt x="2435820" y="1776047"/>
                </a:cubicBezTo>
                <a:cubicBezTo>
                  <a:pt x="2436352" y="1774449"/>
                  <a:pt x="2436751" y="1772588"/>
                  <a:pt x="2436751" y="1770584"/>
                </a:cubicBezTo>
                <a:cubicBezTo>
                  <a:pt x="2436751" y="1768720"/>
                  <a:pt x="2436485" y="1766997"/>
                  <a:pt x="2435820" y="1765399"/>
                </a:cubicBezTo>
                <a:cubicBezTo>
                  <a:pt x="2435154" y="1763793"/>
                  <a:pt x="2434222" y="1762469"/>
                  <a:pt x="2433157" y="1761271"/>
                </a:cubicBezTo>
                <a:cubicBezTo>
                  <a:pt x="2432093" y="1760205"/>
                  <a:pt x="2430761" y="1759407"/>
                  <a:pt x="2429164" y="1758610"/>
                </a:cubicBezTo>
                <a:cubicBezTo>
                  <a:pt x="2427700" y="1757942"/>
                  <a:pt x="2426102" y="1757670"/>
                  <a:pt x="2424105" y="1757670"/>
                </a:cubicBezTo>
                <a:close/>
                <a:moveTo>
                  <a:pt x="2206455" y="1757670"/>
                </a:moveTo>
                <a:cubicBezTo>
                  <a:pt x="2200598" y="1757670"/>
                  <a:pt x="2198069" y="1759665"/>
                  <a:pt x="2196471" y="1761271"/>
                </a:cubicBezTo>
                <a:cubicBezTo>
                  <a:pt x="2193942" y="1763934"/>
                  <a:pt x="2192877" y="1766725"/>
                  <a:pt x="2192877" y="1770725"/>
                </a:cubicBezTo>
                <a:cubicBezTo>
                  <a:pt x="2192877" y="1774853"/>
                  <a:pt x="2193942" y="1777642"/>
                  <a:pt x="2196471" y="1780175"/>
                </a:cubicBezTo>
                <a:cubicBezTo>
                  <a:pt x="2198069" y="1781764"/>
                  <a:pt x="2200598" y="1783629"/>
                  <a:pt x="2206455" y="1783629"/>
                </a:cubicBezTo>
                <a:cubicBezTo>
                  <a:pt x="2208584" y="1783629"/>
                  <a:pt x="2210316" y="1783231"/>
                  <a:pt x="2211780" y="1782708"/>
                </a:cubicBezTo>
                <a:cubicBezTo>
                  <a:pt x="2213377" y="1782170"/>
                  <a:pt x="2214575" y="1781365"/>
                  <a:pt x="2215507" y="1780304"/>
                </a:cubicBezTo>
                <a:cubicBezTo>
                  <a:pt x="2216572" y="1779105"/>
                  <a:pt x="2217504" y="1777772"/>
                  <a:pt x="2218170" y="1776047"/>
                </a:cubicBezTo>
                <a:cubicBezTo>
                  <a:pt x="2218702" y="1774449"/>
                  <a:pt x="2219101" y="1772588"/>
                  <a:pt x="2219101" y="1770584"/>
                </a:cubicBezTo>
                <a:cubicBezTo>
                  <a:pt x="2219101" y="1768720"/>
                  <a:pt x="2218835" y="1766997"/>
                  <a:pt x="2218170" y="1765399"/>
                </a:cubicBezTo>
                <a:cubicBezTo>
                  <a:pt x="2217504" y="1763793"/>
                  <a:pt x="2216572" y="1762469"/>
                  <a:pt x="2215507" y="1761271"/>
                </a:cubicBezTo>
                <a:cubicBezTo>
                  <a:pt x="2214442" y="1760205"/>
                  <a:pt x="2213111" y="1759407"/>
                  <a:pt x="2211514" y="1758610"/>
                </a:cubicBezTo>
                <a:cubicBezTo>
                  <a:pt x="2210049" y="1757942"/>
                  <a:pt x="2208452" y="1757670"/>
                  <a:pt x="2206455" y="1757670"/>
                </a:cubicBezTo>
                <a:close/>
                <a:moveTo>
                  <a:pt x="1988937" y="1757670"/>
                </a:moveTo>
                <a:cubicBezTo>
                  <a:pt x="1983080" y="1757670"/>
                  <a:pt x="1980551" y="1759665"/>
                  <a:pt x="1978954" y="1761271"/>
                </a:cubicBezTo>
                <a:cubicBezTo>
                  <a:pt x="1976424" y="1763934"/>
                  <a:pt x="1975360" y="1766725"/>
                  <a:pt x="1975360" y="1770725"/>
                </a:cubicBezTo>
                <a:cubicBezTo>
                  <a:pt x="1975360" y="1774853"/>
                  <a:pt x="1976424" y="1777642"/>
                  <a:pt x="1978954" y="1780175"/>
                </a:cubicBezTo>
                <a:cubicBezTo>
                  <a:pt x="1980551" y="1781764"/>
                  <a:pt x="1983080" y="1783629"/>
                  <a:pt x="1988937" y="1783629"/>
                </a:cubicBezTo>
                <a:cubicBezTo>
                  <a:pt x="1990934" y="1783629"/>
                  <a:pt x="1992666" y="1783231"/>
                  <a:pt x="1994262" y="1782708"/>
                </a:cubicBezTo>
                <a:cubicBezTo>
                  <a:pt x="1995860" y="1782170"/>
                  <a:pt x="1997059" y="1781365"/>
                  <a:pt x="1997990" y="1780304"/>
                </a:cubicBezTo>
                <a:cubicBezTo>
                  <a:pt x="1999054" y="1779105"/>
                  <a:pt x="1999987" y="1777772"/>
                  <a:pt x="2000653" y="1776047"/>
                </a:cubicBezTo>
                <a:cubicBezTo>
                  <a:pt x="2001184" y="1774449"/>
                  <a:pt x="2001583" y="1772588"/>
                  <a:pt x="2001583" y="1770584"/>
                </a:cubicBezTo>
                <a:cubicBezTo>
                  <a:pt x="2001583" y="1768720"/>
                  <a:pt x="2001318" y="1766997"/>
                  <a:pt x="2000653" y="1765399"/>
                </a:cubicBezTo>
                <a:cubicBezTo>
                  <a:pt x="1999987" y="1763793"/>
                  <a:pt x="1999054" y="1762469"/>
                  <a:pt x="1997990" y="1761271"/>
                </a:cubicBezTo>
                <a:cubicBezTo>
                  <a:pt x="1996925" y="1760205"/>
                  <a:pt x="1995593" y="1759407"/>
                  <a:pt x="1993996" y="1758610"/>
                </a:cubicBezTo>
                <a:cubicBezTo>
                  <a:pt x="1992532" y="1757942"/>
                  <a:pt x="1990934" y="1757670"/>
                  <a:pt x="1988937" y="1757670"/>
                </a:cubicBezTo>
                <a:close/>
                <a:moveTo>
                  <a:pt x="1771296" y="1757670"/>
                </a:moveTo>
                <a:cubicBezTo>
                  <a:pt x="1765439" y="1757670"/>
                  <a:pt x="1762910" y="1759665"/>
                  <a:pt x="1761313" y="1761271"/>
                </a:cubicBezTo>
                <a:cubicBezTo>
                  <a:pt x="1758784" y="1763934"/>
                  <a:pt x="1757719" y="1766725"/>
                  <a:pt x="1757719" y="1770725"/>
                </a:cubicBezTo>
                <a:cubicBezTo>
                  <a:pt x="1757719" y="1774853"/>
                  <a:pt x="1758784" y="1777642"/>
                  <a:pt x="1761313" y="1780175"/>
                </a:cubicBezTo>
                <a:cubicBezTo>
                  <a:pt x="1762910" y="1781764"/>
                  <a:pt x="1765439" y="1783629"/>
                  <a:pt x="1771296" y="1783629"/>
                </a:cubicBezTo>
                <a:cubicBezTo>
                  <a:pt x="1773294" y="1783629"/>
                  <a:pt x="1775157" y="1783231"/>
                  <a:pt x="1776621" y="1782708"/>
                </a:cubicBezTo>
                <a:cubicBezTo>
                  <a:pt x="1778085" y="1782170"/>
                  <a:pt x="1779416" y="1781365"/>
                  <a:pt x="1780348" y="1780304"/>
                </a:cubicBezTo>
                <a:cubicBezTo>
                  <a:pt x="1781413" y="1779105"/>
                  <a:pt x="1782345" y="1777772"/>
                  <a:pt x="1783011" y="1776047"/>
                </a:cubicBezTo>
                <a:cubicBezTo>
                  <a:pt x="1783676" y="1774449"/>
                  <a:pt x="1784076" y="1772588"/>
                  <a:pt x="1784076" y="1770584"/>
                </a:cubicBezTo>
                <a:cubicBezTo>
                  <a:pt x="1784076" y="1768720"/>
                  <a:pt x="1783676" y="1766997"/>
                  <a:pt x="1783011" y="1765399"/>
                </a:cubicBezTo>
                <a:cubicBezTo>
                  <a:pt x="1782345" y="1763793"/>
                  <a:pt x="1781413" y="1762469"/>
                  <a:pt x="1780348" y="1761271"/>
                </a:cubicBezTo>
                <a:cubicBezTo>
                  <a:pt x="1779283" y="1760205"/>
                  <a:pt x="1777952" y="1759407"/>
                  <a:pt x="1776355" y="1758610"/>
                </a:cubicBezTo>
                <a:cubicBezTo>
                  <a:pt x="1774890" y="1757942"/>
                  <a:pt x="1773294" y="1757670"/>
                  <a:pt x="1771296" y="1757670"/>
                </a:cubicBezTo>
                <a:close/>
                <a:moveTo>
                  <a:pt x="1553653" y="1757670"/>
                </a:moveTo>
                <a:cubicBezTo>
                  <a:pt x="1547796" y="1757670"/>
                  <a:pt x="1545267" y="1759665"/>
                  <a:pt x="1543670" y="1761271"/>
                </a:cubicBezTo>
                <a:cubicBezTo>
                  <a:pt x="1541140" y="1763934"/>
                  <a:pt x="1540076" y="1766725"/>
                  <a:pt x="1540076" y="1770725"/>
                </a:cubicBezTo>
                <a:cubicBezTo>
                  <a:pt x="1540076" y="1774853"/>
                  <a:pt x="1541140" y="1777642"/>
                  <a:pt x="1543670" y="1780175"/>
                </a:cubicBezTo>
                <a:cubicBezTo>
                  <a:pt x="1545267" y="1781764"/>
                  <a:pt x="1547796" y="1783629"/>
                  <a:pt x="1553653" y="1783629"/>
                </a:cubicBezTo>
                <a:cubicBezTo>
                  <a:pt x="1555650" y="1783629"/>
                  <a:pt x="1557514" y="1783231"/>
                  <a:pt x="1558978" y="1782708"/>
                </a:cubicBezTo>
                <a:cubicBezTo>
                  <a:pt x="1560442" y="1782170"/>
                  <a:pt x="1561774" y="1781365"/>
                  <a:pt x="1562705" y="1780304"/>
                </a:cubicBezTo>
                <a:cubicBezTo>
                  <a:pt x="1563770" y="1779105"/>
                  <a:pt x="1564702" y="1777772"/>
                  <a:pt x="1565368" y="1776047"/>
                </a:cubicBezTo>
                <a:cubicBezTo>
                  <a:pt x="1566033" y="1774449"/>
                  <a:pt x="1566433" y="1772588"/>
                  <a:pt x="1566433" y="1770584"/>
                </a:cubicBezTo>
                <a:cubicBezTo>
                  <a:pt x="1566433" y="1768720"/>
                  <a:pt x="1566033" y="1766997"/>
                  <a:pt x="1565368" y="1765399"/>
                </a:cubicBezTo>
                <a:cubicBezTo>
                  <a:pt x="1564702" y="1763793"/>
                  <a:pt x="1563770" y="1762469"/>
                  <a:pt x="1562705" y="1761271"/>
                </a:cubicBezTo>
                <a:cubicBezTo>
                  <a:pt x="1561640" y="1760205"/>
                  <a:pt x="1560310" y="1759407"/>
                  <a:pt x="1558712" y="1758610"/>
                </a:cubicBezTo>
                <a:cubicBezTo>
                  <a:pt x="1557248" y="1757942"/>
                  <a:pt x="1555650" y="1757670"/>
                  <a:pt x="1553653" y="1757670"/>
                </a:cubicBezTo>
                <a:close/>
                <a:moveTo>
                  <a:pt x="1336008" y="1757670"/>
                </a:moveTo>
                <a:cubicBezTo>
                  <a:pt x="1330151" y="1757670"/>
                  <a:pt x="1327622" y="1759665"/>
                  <a:pt x="1326026" y="1761271"/>
                </a:cubicBezTo>
                <a:cubicBezTo>
                  <a:pt x="1323495" y="1763934"/>
                  <a:pt x="1322431" y="1766725"/>
                  <a:pt x="1322431" y="1770725"/>
                </a:cubicBezTo>
                <a:cubicBezTo>
                  <a:pt x="1322431" y="1774853"/>
                  <a:pt x="1323495" y="1777642"/>
                  <a:pt x="1326026" y="1780175"/>
                </a:cubicBezTo>
                <a:cubicBezTo>
                  <a:pt x="1327622" y="1781764"/>
                  <a:pt x="1330151" y="1783629"/>
                  <a:pt x="1336008" y="1783629"/>
                </a:cubicBezTo>
                <a:cubicBezTo>
                  <a:pt x="1338139" y="1783629"/>
                  <a:pt x="1339869" y="1783231"/>
                  <a:pt x="1341335" y="1782708"/>
                </a:cubicBezTo>
                <a:cubicBezTo>
                  <a:pt x="1342798" y="1782170"/>
                  <a:pt x="1344129" y="1781365"/>
                  <a:pt x="1345061" y="1780304"/>
                </a:cubicBezTo>
                <a:cubicBezTo>
                  <a:pt x="1346126" y="1779105"/>
                  <a:pt x="1347059" y="1777772"/>
                  <a:pt x="1347724" y="1776047"/>
                </a:cubicBezTo>
                <a:cubicBezTo>
                  <a:pt x="1348389" y="1774449"/>
                  <a:pt x="1348790" y="1772588"/>
                  <a:pt x="1348790" y="1770584"/>
                </a:cubicBezTo>
                <a:cubicBezTo>
                  <a:pt x="1348790" y="1768720"/>
                  <a:pt x="1348389" y="1766997"/>
                  <a:pt x="1347724" y="1765399"/>
                </a:cubicBezTo>
                <a:cubicBezTo>
                  <a:pt x="1347059" y="1763793"/>
                  <a:pt x="1346126" y="1762469"/>
                  <a:pt x="1345061" y="1761271"/>
                </a:cubicBezTo>
                <a:cubicBezTo>
                  <a:pt x="1343997" y="1760205"/>
                  <a:pt x="1342666" y="1759407"/>
                  <a:pt x="1341068" y="1758610"/>
                </a:cubicBezTo>
                <a:cubicBezTo>
                  <a:pt x="1339604" y="1757942"/>
                  <a:pt x="1338005" y="1757670"/>
                  <a:pt x="1336008" y="1757670"/>
                </a:cubicBezTo>
                <a:close/>
                <a:moveTo>
                  <a:pt x="1118497" y="1757670"/>
                </a:moveTo>
                <a:cubicBezTo>
                  <a:pt x="1112639" y="1757670"/>
                  <a:pt x="1110110" y="1759665"/>
                  <a:pt x="1108513" y="1761271"/>
                </a:cubicBezTo>
                <a:cubicBezTo>
                  <a:pt x="1105850" y="1763934"/>
                  <a:pt x="1104786" y="1766725"/>
                  <a:pt x="1104786" y="1770725"/>
                </a:cubicBezTo>
                <a:cubicBezTo>
                  <a:pt x="1104786" y="1774853"/>
                  <a:pt x="1105850" y="1777642"/>
                  <a:pt x="1108380" y="1780175"/>
                </a:cubicBezTo>
                <a:cubicBezTo>
                  <a:pt x="1109977" y="1781764"/>
                  <a:pt x="1112506" y="1783629"/>
                  <a:pt x="1118364" y="1783629"/>
                </a:cubicBezTo>
                <a:cubicBezTo>
                  <a:pt x="1120494" y="1783629"/>
                  <a:pt x="1122225" y="1783231"/>
                  <a:pt x="1123822" y="1782708"/>
                </a:cubicBezTo>
                <a:cubicBezTo>
                  <a:pt x="1125286" y="1782170"/>
                  <a:pt x="1126619" y="1781365"/>
                  <a:pt x="1127549" y="1780304"/>
                </a:cubicBezTo>
                <a:cubicBezTo>
                  <a:pt x="1128614" y="1779105"/>
                  <a:pt x="1129546" y="1777772"/>
                  <a:pt x="1130213" y="1776047"/>
                </a:cubicBezTo>
                <a:cubicBezTo>
                  <a:pt x="1130877" y="1774449"/>
                  <a:pt x="1131278" y="1772588"/>
                  <a:pt x="1131278" y="1770584"/>
                </a:cubicBezTo>
                <a:cubicBezTo>
                  <a:pt x="1131278" y="1768720"/>
                  <a:pt x="1130877" y="1766997"/>
                  <a:pt x="1130213" y="1765399"/>
                </a:cubicBezTo>
                <a:cubicBezTo>
                  <a:pt x="1129546" y="1763793"/>
                  <a:pt x="1128614" y="1762469"/>
                  <a:pt x="1127549" y="1761271"/>
                </a:cubicBezTo>
                <a:cubicBezTo>
                  <a:pt x="1126484" y="1760205"/>
                  <a:pt x="1125154" y="1759407"/>
                  <a:pt x="1123555" y="1758610"/>
                </a:cubicBezTo>
                <a:cubicBezTo>
                  <a:pt x="1122093" y="1757942"/>
                  <a:pt x="1120494" y="1757670"/>
                  <a:pt x="1118497" y="1757670"/>
                </a:cubicBezTo>
                <a:close/>
                <a:moveTo>
                  <a:pt x="900986" y="1757670"/>
                </a:moveTo>
                <a:cubicBezTo>
                  <a:pt x="895128" y="1757670"/>
                  <a:pt x="892598" y="1759665"/>
                  <a:pt x="891001" y="1761271"/>
                </a:cubicBezTo>
                <a:cubicBezTo>
                  <a:pt x="888338" y="1763934"/>
                  <a:pt x="887275" y="1766725"/>
                  <a:pt x="887275" y="1770725"/>
                </a:cubicBezTo>
                <a:cubicBezTo>
                  <a:pt x="887275" y="1774853"/>
                  <a:pt x="888338" y="1777642"/>
                  <a:pt x="890869" y="1780175"/>
                </a:cubicBezTo>
                <a:cubicBezTo>
                  <a:pt x="892466" y="1781764"/>
                  <a:pt x="894995" y="1783629"/>
                  <a:pt x="900852" y="1783629"/>
                </a:cubicBezTo>
                <a:cubicBezTo>
                  <a:pt x="902849" y="1783629"/>
                  <a:pt x="904580" y="1783231"/>
                  <a:pt x="906310" y="1782708"/>
                </a:cubicBezTo>
                <a:cubicBezTo>
                  <a:pt x="907774" y="1782170"/>
                  <a:pt x="909106" y="1781365"/>
                  <a:pt x="910038" y="1780304"/>
                </a:cubicBezTo>
                <a:cubicBezTo>
                  <a:pt x="911102" y="1779105"/>
                  <a:pt x="912034" y="1777772"/>
                  <a:pt x="912700" y="1776047"/>
                </a:cubicBezTo>
                <a:cubicBezTo>
                  <a:pt x="913365" y="1774449"/>
                  <a:pt x="913765" y="1772588"/>
                  <a:pt x="913765" y="1770584"/>
                </a:cubicBezTo>
                <a:cubicBezTo>
                  <a:pt x="913765" y="1768720"/>
                  <a:pt x="913365" y="1766997"/>
                  <a:pt x="912700" y="1765399"/>
                </a:cubicBezTo>
                <a:cubicBezTo>
                  <a:pt x="912034" y="1763793"/>
                  <a:pt x="911102" y="1762469"/>
                  <a:pt x="910038" y="1761271"/>
                </a:cubicBezTo>
                <a:cubicBezTo>
                  <a:pt x="908973" y="1760205"/>
                  <a:pt x="907641" y="1759407"/>
                  <a:pt x="906044" y="1758610"/>
                </a:cubicBezTo>
                <a:cubicBezTo>
                  <a:pt x="904580" y="1757942"/>
                  <a:pt x="902982" y="1757670"/>
                  <a:pt x="900986" y="1757670"/>
                </a:cubicBezTo>
                <a:close/>
                <a:moveTo>
                  <a:pt x="683208" y="1757670"/>
                </a:moveTo>
                <a:cubicBezTo>
                  <a:pt x="677351" y="1757670"/>
                  <a:pt x="674822" y="1759665"/>
                  <a:pt x="673225" y="1761271"/>
                </a:cubicBezTo>
                <a:cubicBezTo>
                  <a:pt x="670695" y="1763934"/>
                  <a:pt x="669631" y="1766725"/>
                  <a:pt x="669631" y="1770725"/>
                </a:cubicBezTo>
                <a:cubicBezTo>
                  <a:pt x="669631" y="1774853"/>
                  <a:pt x="670695" y="1777642"/>
                  <a:pt x="673225" y="1780175"/>
                </a:cubicBezTo>
                <a:cubicBezTo>
                  <a:pt x="674822" y="1781764"/>
                  <a:pt x="677351" y="1783629"/>
                  <a:pt x="683208" y="1783629"/>
                </a:cubicBezTo>
                <a:cubicBezTo>
                  <a:pt x="685205" y="1783629"/>
                  <a:pt x="687069" y="1783231"/>
                  <a:pt x="688534" y="1782708"/>
                </a:cubicBezTo>
                <a:cubicBezTo>
                  <a:pt x="689998" y="1782170"/>
                  <a:pt x="691329" y="1781365"/>
                  <a:pt x="692260" y="1780304"/>
                </a:cubicBezTo>
                <a:cubicBezTo>
                  <a:pt x="693325" y="1779105"/>
                  <a:pt x="694257" y="1777772"/>
                  <a:pt x="694924" y="1776047"/>
                </a:cubicBezTo>
                <a:cubicBezTo>
                  <a:pt x="695589" y="1774449"/>
                  <a:pt x="695989" y="1772588"/>
                  <a:pt x="695989" y="1770584"/>
                </a:cubicBezTo>
                <a:cubicBezTo>
                  <a:pt x="695989" y="1768720"/>
                  <a:pt x="695589" y="1766997"/>
                  <a:pt x="694924" y="1765399"/>
                </a:cubicBezTo>
                <a:cubicBezTo>
                  <a:pt x="694257" y="1763793"/>
                  <a:pt x="693325" y="1762469"/>
                  <a:pt x="692260" y="1761271"/>
                </a:cubicBezTo>
                <a:cubicBezTo>
                  <a:pt x="691195" y="1760205"/>
                  <a:pt x="689865" y="1759407"/>
                  <a:pt x="688267" y="1758610"/>
                </a:cubicBezTo>
                <a:cubicBezTo>
                  <a:pt x="686803" y="1757942"/>
                  <a:pt x="685205" y="1757670"/>
                  <a:pt x="683208" y="1757670"/>
                </a:cubicBezTo>
                <a:close/>
                <a:moveTo>
                  <a:pt x="465565" y="1757670"/>
                </a:moveTo>
                <a:cubicBezTo>
                  <a:pt x="459708" y="1757670"/>
                  <a:pt x="457179" y="1759665"/>
                  <a:pt x="455582" y="1761271"/>
                </a:cubicBezTo>
                <a:cubicBezTo>
                  <a:pt x="453051" y="1763934"/>
                  <a:pt x="451988" y="1766725"/>
                  <a:pt x="451988" y="1770725"/>
                </a:cubicBezTo>
                <a:cubicBezTo>
                  <a:pt x="451988" y="1774853"/>
                  <a:pt x="453051" y="1777642"/>
                  <a:pt x="455582" y="1780175"/>
                </a:cubicBezTo>
                <a:cubicBezTo>
                  <a:pt x="457179" y="1781764"/>
                  <a:pt x="459708" y="1783629"/>
                  <a:pt x="465565" y="1783629"/>
                </a:cubicBezTo>
                <a:cubicBezTo>
                  <a:pt x="467562" y="1783629"/>
                  <a:pt x="469426" y="1783231"/>
                  <a:pt x="470890" y="1782708"/>
                </a:cubicBezTo>
                <a:cubicBezTo>
                  <a:pt x="472354" y="1782170"/>
                  <a:pt x="473685" y="1781365"/>
                  <a:pt x="474617" y="1780304"/>
                </a:cubicBezTo>
                <a:cubicBezTo>
                  <a:pt x="475682" y="1779105"/>
                  <a:pt x="476614" y="1777772"/>
                  <a:pt x="477280" y="1776047"/>
                </a:cubicBezTo>
                <a:cubicBezTo>
                  <a:pt x="477945" y="1774449"/>
                  <a:pt x="478345" y="1772588"/>
                  <a:pt x="478345" y="1770584"/>
                </a:cubicBezTo>
                <a:cubicBezTo>
                  <a:pt x="478345" y="1768720"/>
                  <a:pt x="477945" y="1766997"/>
                  <a:pt x="477280" y="1765399"/>
                </a:cubicBezTo>
                <a:cubicBezTo>
                  <a:pt x="476614" y="1763793"/>
                  <a:pt x="475682" y="1762469"/>
                  <a:pt x="474617" y="1761271"/>
                </a:cubicBezTo>
                <a:cubicBezTo>
                  <a:pt x="473552" y="1760205"/>
                  <a:pt x="472221" y="1759407"/>
                  <a:pt x="470624" y="1758610"/>
                </a:cubicBezTo>
                <a:cubicBezTo>
                  <a:pt x="469160" y="1757942"/>
                  <a:pt x="467562" y="1757670"/>
                  <a:pt x="465565" y="1757670"/>
                </a:cubicBezTo>
                <a:close/>
                <a:moveTo>
                  <a:pt x="247921" y="1757670"/>
                </a:moveTo>
                <a:cubicBezTo>
                  <a:pt x="242064" y="1757670"/>
                  <a:pt x="239535" y="1759665"/>
                  <a:pt x="237938" y="1761271"/>
                </a:cubicBezTo>
                <a:cubicBezTo>
                  <a:pt x="235408" y="1763934"/>
                  <a:pt x="234344" y="1766725"/>
                  <a:pt x="234344" y="1770725"/>
                </a:cubicBezTo>
                <a:cubicBezTo>
                  <a:pt x="234344" y="1774853"/>
                  <a:pt x="235408" y="1777642"/>
                  <a:pt x="237938" y="1780175"/>
                </a:cubicBezTo>
                <a:cubicBezTo>
                  <a:pt x="239535" y="1781764"/>
                  <a:pt x="242064" y="1783629"/>
                  <a:pt x="247921" y="1783629"/>
                </a:cubicBezTo>
                <a:cubicBezTo>
                  <a:pt x="250051" y="1783629"/>
                  <a:pt x="251782" y="1783231"/>
                  <a:pt x="253246" y="1782708"/>
                </a:cubicBezTo>
                <a:cubicBezTo>
                  <a:pt x="254710" y="1782170"/>
                  <a:pt x="256041" y="1781365"/>
                  <a:pt x="256973" y="1780304"/>
                </a:cubicBezTo>
                <a:cubicBezTo>
                  <a:pt x="258038" y="1779105"/>
                  <a:pt x="258970" y="1777772"/>
                  <a:pt x="259636" y="1776047"/>
                </a:cubicBezTo>
                <a:cubicBezTo>
                  <a:pt x="260301" y="1774449"/>
                  <a:pt x="260701" y="1772588"/>
                  <a:pt x="260701" y="1770584"/>
                </a:cubicBezTo>
                <a:cubicBezTo>
                  <a:pt x="260701" y="1768720"/>
                  <a:pt x="260301" y="1766997"/>
                  <a:pt x="259636" y="1765399"/>
                </a:cubicBezTo>
                <a:cubicBezTo>
                  <a:pt x="258970" y="1763793"/>
                  <a:pt x="258038" y="1762469"/>
                  <a:pt x="256973" y="1761271"/>
                </a:cubicBezTo>
                <a:cubicBezTo>
                  <a:pt x="255908" y="1760205"/>
                  <a:pt x="254577" y="1759407"/>
                  <a:pt x="252980" y="1758610"/>
                </a:cubicBezTo>
                <a:cubicBezTo>
                  <a:pt x="251515" y="1757942"/>
                  <a:pt x="249918" y="1757670"/>
                  <a:pt x="247921" y="1757670"/>
                </a:cubicBezTo>
                <a:close/>
                <a:moveTo>
                  <a:pt x="30277" y="1757670"/>
                </a:moveTo>
                <a:cubicBezTo>
                  <a:pt x="24420" y="1757670"/>
                  <a:pt x="21891" y="1759665"/>
                  <a:pt x="20294" y="1761271"/>
                </a:cubicBezTo>
                <a:cubicBezTo>
                  <a:pt x="17764" y="1763934"/>
                  <a:pt x="16700" y="1766725"/>
                  <a:pt x="16700" y="1770725"/>
                </a:cubicBezTo>
                <a:cubicBezTo>
                  <a:pt x="16700" y="1774853"/>
                  <a:pt x="17764" y="1777642"/>
                  <a:pt x="20294" y="1780175"/>
                </a:cubicBezTo>
                <a:cubicBezTo>
                  <a:pt x="21891" y="1781764"/>
                  <a:pt x="24420" y="1783629"/>
                  <a:pt x="30277" y="1783629"/>
                </a:cubicBezTo>
                <a:cubicBezTo>
                  <a:pt x="32407" y="1783629"/>
                  <a:pt x="34138" y="1783231"/>
                  <a:pt x="35602" y="1782708"/>
                </a:cubicBezTo>
                <a:cubicBezTo>
                  <a:pt x="37066" y="1782170"/>
                  <a:pt x="38398" y="1781365"/>
                  <a:pt x="39329" y="1780304"/>
                </a:cubicBezTo>
                <a:cubicBezTo>
                  <a:pt x="40395" y="1779105"/>
                  <a:pt x="41326" y="1777772"/>
                  <a:pt x="41993" y="1776047"/>
                </a:cubicBezTo>
                <a:cubicBezTo>
                  <a:pt x="42658" y="1774449"/>
                  <a:pt x="42923" y="1772588"/>
                  <a:pt x="42923" y="1770584"/>
                </a:cubicBezTo>
                <a:cubicBezTo>
                  <a:pt x="42923" y="1768720"/>
                  <a:pt x="42658" y="1766997"/>
                  <a:pt x="41993" y="1765399"/>
                </a:cubicBezTo>
                <a:cubicBezTo>
                  <a:pt x="41326" y="1763793"/>
                  <a:pt x="40395" y="1762469"/>
                  <a:pt x="39329" y="1761271"/>
                </a:cubicBezTo>
                <a:cubicBezTo>
                  <a:pt x="38264" y="1760205"/>
                  <a:pt x="36933" y="1759407"/>
                  <a:pt x="35336" y="1758610"/>
                </a:cubicBezTo>
                <a:cubicBezTo>
                  <a:pt x="33872" y="1757942"/>
                  <a:pt x="32274" y="1757670"/>
                  <a:pt x="30277" y="1757670"/>
                </a:cubicBezTo>
                <a:close/>
                <a:moveTo>
                  <a:pt x="10475977" y="1740905"/>
                </a:moveTo>
                <a:cubicBezTo>
                  <a:pt x="10480237" y="1740905"/>
                  <a:pt x="10484230" y="1741701"/>
                  <a:pt x="10487824" y="1743568"/>
                </a:cubicBezTo>
                <a:cubicBezTo>
                  <a:pt x="10491419" y="1745163"/>
                  <a:pt x="10494613" y="1747294"/>
                  <a:pt x="10497143" y="1749955"/>
                </a:cubicBezTo>
                <a:cubicBezTo>
                  <a:pt x="10499672" y="1752479"/>
                  <a:pt x="10501801" y="1755679"/>
                  <a:pt x="10503266" y="1759266"/>
                </a:cubicBezTo>
                <a:cubicBezTo>
                  <a:pt x="10504730" y="1762869"/>
                  <a:pt x="10505529" y="1766725"/>
                  <a:pt x="10505529" y="1770725"/>
                </a:cubicBezTo>
                <a:cubicBezTo>
                  <a:pt x="10505529" y="1774853"/>
                  <a:pt x="10504730" y="1778840"/>
                  <a:pt x="10503266" y="1782434"/>
                </a:cubicBezTo>
                <a:cubicBezTo>
                  <a:pt x="10501669" y="1786026"/>
                  <a:pt x="10499672" y="1789092"/>
                  <a:pt x="10497143" y="1791754"/>
                </a:cubicBezTo>
                <a:cubicBezTo>
                  <a:pt x="10494480" y="1794418"/>
                  <a:pt x="10491419" y="1796542"/>
                  <a:pt x="10487824" y="1798008"/>
                </a:cubicBezTo>
                <a:cubicBezTo>
                  <a:pt x="10484098" y="1799470"/>
                  <a:pt x="10480237" y="1800269"/>
                  <a:pt x="10475977" y="1800269"/>
                </a:cubicBezTo>
                <a:cubicBezTo>
                  <a:pt x="10466924" y="1800269"/>
                  <a:pt x="10459736" y="1797340"/>
                  <a:pt x="10454145" y="1791754"/>
                </a:cubicBezTo>
                <a:cubicBezTo>
                  <a:pt x="10448554" y="1786162"/>
                  <a:pt x="10445759" y="1779105"/>
                  <a:pt x="10445759" y="1770584"/>
                </a:cubicBezTo>
                <a:cubicBezTo>
                  <a:pt x="10445759" y="1762330"/>
                  <a:pt x="10448554" y="1755281"/>
                  <a:pt x="10454145" y="1749560"/>
                </a:cubicBezTo>
                <a:cubicBezTo>
                  <a:pt x="10459603" y="1743829"/>
                  <a:pt x="10466924" y="1740905"/>
                  <a:pt x="10475977" y="1740905"/>
                </a:cubicBezTo>
                <a:close/>
                <a:moveTo>
                  <a:pt x="10258466" y="1740905"/>
                </a:moveTo>
                <a:cubicBezTo>
                  <a:pt x="10262592" y="1740905"/>
                  <a:pt x="10266586" y="1741701"/>
                  <a:pt x="10270313" y="1743568"/>
                </a:cubicBezTo>
                <a:cubicBezTo>
                  <a:pt x="10273907" y="1745164"/>
                  <a:pt x="10277101" y="1747294"/>
                  <a:pt x="10279631" y="1749955"/>
                </a:cubicBezTo>
                <a:cubicBezTo>
                  <a:pt x="10282160" y="1752479"/>
                  <a:pt x="10284290" y="1755679"/>
                  <a:pt x="10285754" y="1759266"/>
                </a:cubicBezTo>
                <a:cubicBezTo>
                  <a:pt x="10287218" y="1762869"/>
                  <a:pt x="10288017" y="1766725"/>
                  <a:pt x="10288017" y="1770725"/>
                </a:cubicBezTo>
                <a:cubicBezTo>
                  <a:pt x="10288017" y="1774853"/>
                  <a:pt x="10287218" y="1778840"/>
                  <a:pt x="10285754" y="1782434"/>
                </a:cubicBezTo>
                <a:cubicBezTo>
                  <a:pt x="10284157" y="1786026"/>
                  <a:pt x="10282160" y="1789092"/>
                  <a:pt x="10279631" y="1791754"/>
                </a:cubicBezTo>
                <a:cubicBezTo>
                  <a:pt x="10276969" y="1794418"/>
                  <a:pt x="10273907" y="1796542"/>
                  <a:pt x="10270313" y="1798008"/>
                </a:cubicBezTo>
                <a:cubicBezTo>
                  <a:pt x="10266586" y="1799470"/>
                  <a:pt x="10262725" y="1800269"/>
                  <a:pt x="10258466" y="1800269"/>
                </a:cubicBezTo>
                <a:cubicBezTo>
                  <a:pt x="10249546" y="1800269"/>
                  <a:pt x="10242224" y="1797340"/>
                  <a:pt x="10236633" y="1791754"/>
                </a:cubicBezTo>
                <a:cubicBezTo>
                  <a:pt x="10231043" y="1786162"/>
                  <a:pt x="10228247" y="1779105"/>
                  <a:pt x="10228247" y="1770584"/>
                </a:cubicBezTo>
                <a:cubicBezTo>
                  <a:pt x="10228247" y="1762330"/>
                  <a:pt x="10231043" y="1755281"/>
                  <a:pt x="10236633" y="1749560"/>
                </a:cubicBezTo>
                <a:cubicBezTo>
                  <a:pt x="10242092" y="1743829"/>
                  <a:pt x="10249413" y="1740905"/>
                  <a:pt x="10258466" y="1740905"/>
                </a:cubicBezTo>
                <a:close/>
                <a:moveTo>
                  <a:pt x="10040820" y="1740905"/>
                </a:moveTo>
                <a:cubicBezTo>
                  <a:pt x="10045080" y="1740905"/>
                  <a:pt x="10048941" y="1741701"/>
                  <a:pt x="10052534" y="1743568"/>
                </a:cubicBezTo>
                <a:cubicBezTo>
                  <a:pt x="10056129" y="1745164"/>
                  <a:pt x="10059323" y="1747294"/>
                  <a:pt x="10061852" y="1749957"/>
                </a:cubicBezTo>
                <a:cubicBezTo>
                  <a:pt x="10064382" y="1752479"/>
                  <a:pt x="10066512" y="1755679"/>
                  <a:pt x="10067976" y="1759266"/>
                </a:cubicBezTo>
                <a:cubicBezTo>
                  <a:pt x="10069440" y="1762870"/>
                  <a:pt x="10070239" y="1766725"/>
                  <a:pt x="10070239" y="1770725"/>
                </a:cubicBezTo>
                <a:cubicBezTo>
                  <a:pt x="10070239" y="1774853"/>
                  <a:pt x="10069440" y="1778840"/>
                  <a:pt x="10067976" y="1782434"/>
                </a:cubicBezTo>
                <a:cubicBezTo>
                  <a:pt x="10066379" y="1786026"/>
                  <a:pt x="10064382" y="1789092"/>
                  <a:pt x="10061852" y="1791754"/>
                </a:cubicBezTo>
                <a:cubicBezTo>
                  <a:pt x="10059190" y="1794418"/>
                  <a:pt x="10056129" y="1796542"/>
                  <a:pt x="10052534" y="1798008"/>
                </a:cubicBezTo>
                <a:cubicBezTo>
                  <a:pt x="10048941" y="1799470"/>
                  <a:pt x="10045080" y="1800269"/>
                  <a:pt x="10040820" y="1800269"/>
                </a:cubicBezTo>
                <a:cubicBezTo>
                  <a:pt x="10031767" y="1800269"/>
                  <a:pt x="10024579" y="1797340"/>
                  <a:pt x="10018988" y="1791754"/>
                </a:cubicBezTo>
                <a:cubicBezTo>
                  <a:pt x="10013397" y="1786162"/>
                  <a:pt x="10010602" y="1779105"/>
                  <a:pt x="10010602" y="1770584"/>
                </a:cubicBezTo>
                <a:cubicBezTo>
                  <a:pt x="10010602" y="1762330"/>
                  <a:pt x="10013397" y="1755282"/>
                  <a:pt x="10018988" y="1749560"/>
                </a:cubicBezTo>
                <a:cubicBezTo>
                  <a:pt x="10024579" y="1743829"/>
                  <a:pt x="10031767" y="1740905"/>
                  <a:pt x="10040820" y="1740905"/>
                </a:cubicBezTo>
                <a:close/>
                <a:moveTo>
                  <a:pt x="9823176" y="1740905"/>
                </a:moveTo>
                <a:cubicBezTo>
                  <a:pt x="9827435" y="1740905"/>
                  <a:pt x="9831296" y="1741701"/>
                  <a:pt x="9834890" y="1743568"/>
                </a:cubicBezTo>
                <a:cubicBezTo>
                  <a:pt x="9838617" y="1745164"/>
                  <a:pt x="9841679" y="1747294"/>
                  <a:pt x="9844208" y="1749957"/>
                </a:cubicBezTo>
                <a:cubicBezTo>
                  <a:pt x="9846737" y="1752479"/>
                  <a:pt x="9848867" y="1755679"/>
                  <a:pt x="9850331" y="1759266"/>
                </a:cubicBezTo>
                <a:cubicBezTo>
                  <a:pt x="9851796" y="1762870"/>
                  <a:pt x="9852595" y="1766725"/>
                  <a:pt x="9852595" y="1770725"/>
                </a:cubicBezTo>
                <a:cubicBezTo>
                  <a:pt x="9852595" y="1774853"/>
                  <a:pt x="9851796" y="1778840"/>
                  <a:pt x="9850331" y="1782434"/>
                </a:cubicBezTo>
                <a:cubicBezTo>
                  <a:pt x="9848734" y="1786026"/>
                  <a:pt x="9846737" y="1789092"/>
                  <a:pt x="9844208" y="1791754"/>
                </a:cubicBezTo>
                <a:cubicBezTo>
                  <a:pt x="9841546" y="1794418"/>
                  <a:pt x="9838484" y="1796542"/>
                  <a:pt x="9834890" y="1798008"/>
                </a:cubicBezTo>
                <a:cubicBezTo>
                  <a:pt x="9831296" y="1799470"/>
                  <a:pt x="9827435" y="1800269"/>
                  <a:pt x="9823176" y="1800269"/>
                </a:cubicBezTo>
                <a:cubicBezTo>
                  <a:pt x="9814123" y="1800269"/>
                  <a:pt x="9806935" y="1797340"/>
                  <a:pt x="9801343" y="1791754"/>
                </a:cubicBezTo>
                <a:cubicBezTo>
                  <a:pt x="9795753" y="1786162"/>
                  <a:pt x="9792957" y="1779105"/>
                  <a:pt x="9792957" y="1770584"/>
                </a:cubicBezTo>
                <a:cubicBezTo>
                  <a:pt x="9792957" y="1762330"/>
                  <a:pt x="9795753" y="1755282"/>
                  <a:pt x="9801343" y="1749560"/>
                </a:cubicBezTo>
                <a:cubicBezTo>
                  <a:pt x="9806935" y="1743829"/>
                  <a:pt x="9814123" y="1740905"/>
                  <a:pt x="9823176" y="1740905"/>
                </a:cubicBezTo>
                <a:close/>
                <a:moveTo>
                  <a:pt x="9605531" y="1740905"/>
                </a:moveTo>
                <a:cubicBezTo>
                  <a:pt x="9609790" y="1740905"/>
                  <a:pt x="9613784" y="1741701"/>
                  <a:pt x="9617245" y="1743568"/>
                </a:cubicBezTo>
                <a:cubicBezTo>
                  <a:pt x="9620839" y="1745164"/>
                  <a:pt x="9624033" y="1747294"/>
                  <a:pt x="9626562" y="1749957"/>
                </a:cubicBezTo>
                <a:cubicBezTo>
                  <a:pt x="9629092" y="1752479"/>
                  <a:pt x="9631222" y="1755679"/>
                  <a:pt x="9632686" y="1759266"/>
                </a:cubicBezTo>
                <a:cubicBezTo>
                  <a:pt x="9634150" y="1762870"/>
                  <a:pt x="9634949" y="1766725"/>
                  <a:pt x="9634949" y="1770725"/>
                </a:cubicBezTo>
                <a:cubicBezTo>
                  <a:pt x="9634949" y="1774853"/>
                  <a:pt x="9634150" y="1778840"/>
                  <a:pt x="9632686" y="1782434"/>
                </a:cubicBezTo>
                <a:cubicBezTo>
                  <a:pt x="9631089" y="1786026"/>
                  <a:pt x="9629092" y="1789092"/>
                  <a:pt x="9626562" y="1791754"/>
                </a:cubicBezTo>
                <a:cubicBezTo>
                  <a:pt x="9623901" y="1794418"/>
                  <a:pt x="9620839" y="1796542"/>
                  <a:pt x="9617245" y="1798008"/>
                </a:cubicBezTo>
                <a:cubicBezTo>
                  <a:pt x="9613651" y="1799470"/>
                  <a:pt x="9609790" y="1800269"/>
                  <a:pt x="9605531" y="1800269"/>
                </a:cubicBezTo>
                <a:cubicBezTo>
                  <a:pt x="9596610" y="1800269"/>
                  <a:pt x="9589289" y="1797340"/>
                  <a:pt x="9583698" y="1791754"/>
                </a:cubicBezTo>
                <a:cubicBezTo>
                  <a:pt x="9578108" y="1786162"/>
                  <a:pt x="9575312" y="1779105"/>
                  <a:pt x="9575312" y="1770584"/>
                </a:cubicBezTo>
                <a:cubicBezTo>
                  <a:pt x="9575312" y="1762330"/>
                  <a:pt x="9578108" y="1755282"/>
                  <a:pt x="9583698" y="1749560"/>
                </a:cubicBezTo>
                <a:cubicBezTo>
                  <a:pt x="9589289" y="1743829"/>
                  <a:pt x="9596478" y="1740905"/>
                  <a:pt x="9605531" y="1740905"/>
                </a:cubicBezTo>
                <a:close/>
                <a:moveTo>
                  <a:pt x="9387885" y="1740905"/>
                </a:moveTo>
                <a:cubicBezTo>
                  <a:pt x="9392145" y="1740905"/>
                  <a:pt x="9396138" y="1741701"/>
                  <a:pt x="9399599" y="1743568"/>
                </a:cubicBezTo>
                <a:cubicBezTo>
                  <a:pt x="9403194" y="1745164"/>
                  <a:pt x="9406388" y="1747294"/>
                  <a:pt x="9408917" y="1749957"/>
                </a:cubicBezTo>
                <a:cubicBezTo>
                  <a:pt x="9411447" y="1752479"/>
                  <a:pt x="9413576" y="1755679"/>
                  <a:pt x="9415041" y="1759266"/>
                </a:cubicBezTo>
                <a:cubicBezTo>
                  <a:pt x="9416505" y="1762870"/>
                  <a:pt x="9417304" y="1766725"/>
                  <a:pt x="9417304" y="1770725"/>
                </a:cubicBezTo>
                <a:cubicBezTo>
                  <a:pt x="9417304" y="1774853"/>
                  <a:pt x="9416505" y="1778840"/>
                  <a:pt x="9415041" y="1782434"/>
                </a:cubicBezTo>
                <a:cubicBezTo>
                  <a:pt x="9413444" y="1786026"/>
                  <a:pt x="9411447" y="1789092"/>
                  <a:pt x="9408917" y="1791754"/>
                </a:cubicBezTo>
                <a:cubicBezTo>
                  <a:pt x="9406255" y="1794418"/>
                  <a:pt x="9403194" y="1796542"/>
                  <a:pt x="9399599" y="1798008"/>
                </a:cubicBezTo>
                <a:cubicBezTo>
                  <a:pt x="9396005" y="1799470"/>
                  <a:pt x="9392145" y="1800269"/>
                  <a:pt x="9387885" y="1800269"/>
                </a:cubicBezTo>
                <a:cubicBezTo>
                  <a:pt x="9378965" y="1800269"/>
                  <a:pt x="9371644" y="1797340"/>
                  <a:pt x="9366053" y="1791754"/>
                </a:cubicBezTo>
                <a:cubicBezTo>
                  <a:pt x="9360462" y="1786162"/>
                  <a:pt x="9357667" y="1779105"/>
                  <a:pt x="9357667" y="1770584"/>
                </a:cubicBezTo>
                <a:cubicBezTo>
                  <a:pt x="9357667" y="1762330"/>
                  <a:pt x="9360462" y="1755282"/>
                  <a:pt x="9366053" y="1749560"/>
                </a:cubicBezTo>
                <a:cubicBezTo>
                  <a:pt x="9371644" y="1743829"/>
                  <a:pt x="9378832" y="1740905"/>
                  <a:pt x="9387885" y="1740905"/>
                </a:cubicBezTo>
                <a:close/>
                <a:moveTo>
                  <a:pt x="9170374" y="1740905"/>
                </a:moveTo>
                <a:cubicBezTo>
                  <a:pt x="9174500" y="1740905"/>
                  <a:pt x="9178494" y="1741701"/>
                  <a:pt x="9182088" y="1743568"/>
                </a:cubicBezTo>
                <a:cubicBezTo>
                  <a:pt x="9185682" y="1745164"/>
                  <a:pt x="9188876" y="1747294"/>
                  <a:pt x="9191405" y="1749957"/>
                </a:cubicBezTo>
                <a:cubicBezTo>
                  <a:pt x="9193935" y="1752479"/>
                  <a:pt x="9196065" y="1755679"/>
                  <a:pt x="9197529" y="1759266"/>
                </a:cubicBezTo>
                <a:cubicBezTo>
                  <a:pt x="9198993" y="1762870"/>
                  <a:pt x="9199792" y="1766725"/>
                  <a:pt x="9199792" y="1770725"/>
                </a:cubicBezTo>
                <a:cubicBezTo>
                  <a:pt x="9199792" y="1774853"/>
                  <a:pt x="9198993" y="1778840"/>
                  <a:pt x="9197529" y="1782434"/>
                </a:cubicBezTo>
                <a:cubicBezTo>
                  <a:pt x="9195932" y="1786026"/>
                  <a:pt x="9193935" y="1789092"/>
                  <a:pt x="9191405" y="1791754"/>
                </a:cubicBezTo>
                <a:cubicBezTo>
                  <a:pt x="9188744" y="1794418"/>
                  <a:pt x="9185682" y="1796542"/>
                  <a:pt x="9182088" y="1798008"/>
                </a:cubicBezTo>
                <a:cubicBezTo>
                  <a:pt x="9178494" y="1799470"/>
                  <a:pt x="9174633" y="1800269"/>
                  <a:pt x="9170374" y="1800269"/>
                </a:cubicBezTo>
                <a:cubicBezTo>
                  <a:pt x="9161453" y="1800269"/>
                  <a:pt x="9154132" y="1797340"/>
                  <a:pt x="9148541" y="1791754"/>
                </a:cubicBezTo>
                <a:cubicBezTo>
                  <a:pt x="9142951" y="1786162"/>
                  <a:pt x="9140155" y="1779105"/>
                  <a:pt x="9140155" y="1770584"/>
                </a:cubicBezTo>
                <a:cubicBezTo>
                  <a:pt x="9140155" y="1762330"/>
                  <a:pt x="9142951" y="1755282"/>
                  <a:pt x="9148541" y="1749560"/>
                </a:cubicBezTo>
                <a:cubicBezTo>
                  <a:pt x="9154132" y="1743829"/>
                  <a:pt x="9161321" y="1740905"/>
                  <a:pt x="9170374" y="1740905"/>
                </a:cubicBezTo>
                <a:close/>
                <a:moveTo>
                  <a:pt x="8952728" y="1740905"/>
                </a:moveTo>
                <a:cubicBezTo>
                  <a:pt x="8956988" y="1740905"/>
                  <a:pt x="8960849" y="1741701"/>
                  <a:pt x="8964442" y="1743568"/>
                </a:cubicBezTo>
                <a:cubicBezTo>
                  <a:pt x="8968037" y="1745164"/>
                  <a:pt x="8971231" y="1747294"/>
                  <a:pt x="8973760" y="1749957"/>
                </a:cubicBezTo>
                <a:cubicBezTo>
                  <a:pt x="8976290" y="1752479"/>
                  <a:pt x="8978419" y="1755679"/>
                  <a:pt x="8979884" y="1759266"/>
                </a:cubicBezTo>
                <a:cubicBezTo>
                  <a:pt x="8981348" y="1762870"/>
                  <a:pt x="8982147" y="1766725"/>
                  <a:pt x="8982147" y="1770725"/>
                </a:cubicBezTo>
                <a:cubicBezTo>
                  <a:pt x="8982147" y="1774853"/>
                  <a:pt x="8981348" y="1778840"/>
                  <a:pt x="8979884" y="1782434"/>
                </a:cubicBezTo>
                <a:cubicBezTo>
                  <a:pt x="8978287" y="1786026"/>
                  <a:pt x="8976290" y="1789092"/>
                  <a:pt x="8973760" y="1791754"/>
                </a:cubicBezTo>
                <a:cubicBezTo>
                  <a:pt x="8971098" y="1794418"/>
                  <a:pt x="8968037" y="1796542"/>
                  <a:pt x="8964442" y="1798008"/>
                </a:cubicBezTo>
                <a:cubicBezTo>
                  <a:pt x="8960849" y="1799470"/>
                  <a:pt x="8956988" y="1800269"/>
                  <a:pt x="8952728" y="1800269"/>
                </a:cubicBezTo>
                <a:cubicBezTo>
                  <a:pt x="8943808" y="1800269"/>
                  <a:pt x="8936487" y="1797340"/>
                  <a:pt x="8930896" y="1791754"/>
                </a:cubicBezTo>
                <a:cubicBezTo>
                  <a:pt x="8925305" y="1786162"/>
                  <a:pt x="8922510" y="1779105"/>
                  <a:pt x="8922510" y="1770584"/>
                </a:cubicBezTo>
                <a:cubicBezTo>
                  <a:pt x="8922510" y="1762330"/>
                  <a:pt x="8925305" y="1755282"/>
                  <a:pt x="8930896" y="1749560"/>
                </a:cubicBezTo>
                <a:cubicBezTo>
                  <a:pt x="8936487" y="1743829"/>
                  <a:pt x="8943675" y="1740905"/>
                  <a:pt x="8952728" y="1740905"/>
                </a:cubicBezTo>
                <a:close/>
                <a:moveTo>
                  <a:pt x="8735083" y="1740905"/>
                </a:moveTo>
                <a:cubicBezTo>
                  <a:pt x="8739342" y="1740905"/>
                  <a:pt x="8743203" y="1741701"/>
                  <a:pt x="8746797" y="1743568"/>
                </a:cubicBezTo>
                <a:cubicBezTo>
                  <a:pt x="8750391" y="1745164"/>
                  <a:pt x="8753586" y="1747294"/>
                  <a:pt x="8756115" y="1749957"/>
                </a:cubicBezTo>
                <a:cubicBezTo>
                  <a:pt x="8758644" y="1752479"/>
                  <a:pt x="8760774" y="1755679"/>
                  <a:pt x="8762238" y="1759266"/>
                </a:cubicBezTo>
                <a:cubicBezTo>
                  <a:pt x="8763702" y="1762870"/>
                  <a:pt x="8764502" y="1766725"/>
                  <a:pt x="8764502" y="1770725"/>
                </a:cubicBezTo>
                <a:cubicBezTo>
                  <a:pt x="8764502" y="1774853"/>
                  <a:pt x="8763702" y="1778840"/>
                  <a:pt x="8762238" y="1782434"/>
                </a:cubicBezTo>
                <a:cubicBezTo>
                  <a:pt x="8760641" y="1786026"/>
                  <a:pt x="8758644" y="1789092"/>
                  <a:pt x="8756115" y="1791754"/>
                </a:cubicBezTo>
                <a:cubicBezTo>
                  <a:pt x="8753453" y="1794418"/>
                  <a:pt x="8750391" y="1796542"/>
                  <a:pt x="8746797" y="1798008"/>
                </a:cubicBezTo>
                <a:cubicBezTo>
                  <a:pt x="8743203" y="1799470"/>
                  <a:pt x="8739342" y="1800269"/>
                  <a:pt x="8735083" y="1800269"/>
                </a:cubicBezTo>
                <a:cubicBezTo>
                  <a:pt x="8726030" y="1800269"/>
                  <a:pt x="8718841" y="1797340"/>
                  <a:pt x="8713250" y="1791754"/>
                </a:cubicBezTo>
                <a:cubicBezTo>
                  <a:pt x="8707660" y="1786162"/>
                  <a:pt x="8704864" y="1779105"/>
                  <a:pt x="8704864" y="1770584"/>
                </a:cubicBezTo>
                <a:cubicBezTo>
                  <a:pt x="8704864" y="1762330"/>
                  <a:pt x="8707660" y="1755282"/>
                  <a:pt x="8713250" y="1749560"/>
                </a:cubicBezTo>
                <a:cubicBezTo>
                  <a:pt x="8718841" y="1743829"/>
                  <a:pt x="8726030" y="1740905"/>
                  <a:pt x="8735083" y="1740905"/>
                </a:cubicBezTo>
                <a:close/>
                <a:moveTo>
                  <a:pt x="8517438" y="1740905"/>
                </a:moveTo>
                <a:cubicBezTo>
                  <a:pt x="8521698" y="1740905"/>
                  <a:pt x="8525559" y="1741701"/>
                  <a:pt x="8529152" y="1743568"/>
                </a:cubicBezTo>
                <a:cubicBezTo>
                  <a:pt x="8532880" y="1745164"/>
                  <a:pt x="8535941" y="1747294"/>
                  <a:pt x="8538470" y="1749957"/>
                </a:cubicBezTo>
                <a:cubicBezTo>
                  <a:pt x="8541000" y="1752479"/>
                  <a:pt x="8543130" y="1755679"/>
                  <a:pt x="8544594" y="1759266"/>
                </a:cubicBezTo>
                <a:cubicBezTo>
                  <a:pt x="8546058" y="1762870"/>
                  <a:pt x="8546857" y="1766725"/>
                  <a:pt x="8546857" y="1770725"/>
                </a:cubicBezTo>
                <a:cubicBezTo>
                  <a:pt x="8546857" y="1774853"/>
                  <a:pt x="8546058" y="1778840"/>
                  <a:pt x="8544594" y="1782434"/>
                </a:cubicBezTo>
                <a:cubicBezTo>
                  <a:pt x="8542997" y="1786026"/>
                  <a:pt x="8541000" y="1789092"/>
                  <a:pt x="8538470" y="1791754"/>
                </a:cubicBezTo>
                <a:cubicBezTo>
                  <a:pt x="8535808" y="1794418"/>
                  <a:pt x="8532747" y="1796542"/>
                  <a:pt x="8529152" y="1798008"/>
                </a:cubicBezTo>
                <a:cubicBezTo>
                  <a:pt x="8525559" y="1799470"/>
                  <a:pt x="8521698" y="1800269"/>
                  <a:pt x="8517438" y="1800269"/>
                </a:cubicBezTo>
                <a:cubicBezTo>
                  <a:pt x="8508385" y="1800269"/>
                  <a:pt x="8501197" y="1797340"/>
                  <a:pt x="8495606" y="1791754"/>
                </a:cubicBezTo>
                <a:cubicBezTo>
                  <a:pt x="8490015" y="1786162"/>
                  <a:pt x="8487220" y="1779105"/>
                  <a:pt x="8487220" y="1770584"/>
                </a:cubicBezTo>
                <a:cubicBezTo>
                  <a:pt x="8487220" y="1762330"/>
                  <a:pt x="8490015" y="1755282"/>
                  <a:pt x="8495606" y="1749560"/>
                </a:cubicBezTo>
                <a:cubicBezTo>
                  <a:pt x="8501197" y="1743829"/>
                  <a:pt x="8508385" y="1740905"/>
                  <a:pt x="8517438" y="1740905"/>
                </a:cubicBezTo>
                <a:close/>
                <a:moveTo>
                  <a:pt x="8299793" y="1740905"/>
                </a:moveTo>
                <a:cubicBezTo>
                  <a:pt x="8304052" y="1740905"/>
                  <a:pt x="8308046" y="1741701"/>
                  <a:pt x="8311507" y="1743568"/>
                </a:cubicBezTo>
                <a:cubicBezTo>
                  <a:pt x="8315235" y="1745164"/>
                  <a:pt x="8318296" y="1747294"/>
                  <a:pt x="8320825" y="1749957"/>
                </a:cubicBezTo>
                <a:cubicBezTo>
                  <a:pt x="8323354" y="1752479"/>
                  <a:pt x="8325484" y="1755679"/>
                  <a:pt x="8326948" y="1759266"/>
                </a:cubicBezTo>
                <a:cubicBezTo>
                  <a:pt x="8328413" y="1762870"/>
                  <a:pt x="8329212" y="1766725"/>
                  <a:pt x="8329212" y="1770725"/>
                </a:cubicBezTo>
                <a:cubicBezTo>
                  <a:pt x="8329212" y="1774853"/>
                  <a:pt x="8328413" y="1778840"/>
                  <a:pt x="8326948" y="1782434"/>
                </a:cubicBezTo>
                <a:cubicBezTo>
                  <a:pt x="8325351" y="1786026"/>
                  <a:pt x="8323354" y="1789092"/>
                  <a:pt x="8320825" y="1791754"/>
                </a:cubicBezTo>
                <a:cubicBezTo>
                  <a:pt x="8318163" y="1794418"/>
                  <a:pt x="8315101" y="1796542"/>
                  <a:pt x="8311507" y="1798008"/>
                </a:cubicBezTo>
                <a:cubicBezTo>
                  <a:pt x="8307913" y="1799470"/>
                  <a:pt x="8304052" y="1800269"/>
                  <a:pt x="8299793" y="1800269"/>
                </a:cubicBezTo>
                <a:cubicBezTo>
                  <a:pt x="8290874" y="1800269"/>
                  <a:pt x="8283553" y="1797340"/>
                  <a:pt x="8277960" y="1791754"/>
                </a:cubicBezTo>
                <a:cubicBezTo>
                  <a:pt x="8272370" y="1786162"/>
                  <a:pt x="8269574" y="1779105"/>
                  <a:pt x="8269574" y="1770584"/>
                </a:cubicBezTo>
                <a:cubicBezTo>
                  <a:pt x="8269574" y="1762330"/>
                  <a:pt x="8272370" y="1755282"/>
                  <a:pt x="8277960" y="1749560"/>
                </a:cubicBezTo>
                <a:cubicBezTo>
                  <a:pt x="8283553" y="1743829"/>
                  <a:pt x="8290741" y="1740905"/>
                  <a:pt x="8299793" y="1740905"/>
                </a:cubicBezTo>
                <a:close/>
                <a:moveTo>
                  <a:pt x="8082281" y="1740905"/>
                </a:moveTo>
                <a:cubicBezTo>
                  <a:pt x="8086407" y="1740905"/>
                  <a:pt x="8090401" y="1741701"/>
                  <a:pt x="8094127" y="1743568"/>
                </a:cubicBezTo>
                <a:cubicBezTo>
                  <a:pt x="8097855" y="1745164"/>
                  <a:pt x="8100916" y="1747294"/>
                  <a:pt x="8103446" y="1749957"/>
                </a:cubicBezTo>
                <a:cubicBezTo>
                  <a:pt x="8105975" y="1752479"/>
                  <a:pt x="8108104" y="1755679"/>
                  <a:pt x="8109569" y="1759266"/>
                </a:cubicBezTo>
                <a:cubicBezTo>
                  <a:pt x="8111033" y="1762870"/>
                  <a:pt x="8111832" y="1766725"/>
                  <a:pt x="8111832" y="1770725"/>
                </a:cubicBezTo>
                <a:cubicBezTo>
                  <a:pt x="8111832" y="1774853"/>
                  <a:pt x="8111033" y="1778840"/>
                  <a:pt x="8109569" y="1782434"/>
                </a:cubicBezTo>
                <a:cubicBezTo>
                  <a:pt x="8107972" y="1786026"/>
                  <a:pt x="8105975" y="1789092"/>
                  <a:pt x="8103446" y="1791754"/>
                </a:cubicBezTo>
                <a:cubicBezTo>
                  <a:pt x="8100783" y="1794418"/>
                  <a:pt x="8097722" y="1796542"/>
                  <a:pt x="8094127" y="1798008"/>
                </a:cubicBezTo>
                <a:cubicBezTo>
                  <a:pt x="8090401" y="1799470"/>
                  <a:pt x="8086540" y="1800269"/>
                  <a:pt x="8082281" y="1800269"/>
                </a:cubicBezTo>
                <a:cubicBezTo>
                  <a:pt x="8073361" y="1800269"/>
                  <a:pt x="8066040" y="1797340"/>
                  <a:pt x="8060448" y="1791754"/>
                </a:cubicBezTo>
                <a:cubicBezTo>
                  <a:pt x="8054857" y="1786162"/>
                  <a:pt x="8052062" y="1779105"/>
                  <a:pt x="8052062" y="1770584"/>
                </a:cubicBezTo>
                <a:cubicBezTo>
                  <a:pt x="8052062" y="1762330"/>
                  <a:pt x="8054857" y="1755282"/>
                  <a:pt x="8060448" y="1749560"/>
                </a:cubicBezTo>
                <a:cubicBezTo>
                  <a:pt x="8066040" y="1743829"/>
                  <a:pt x="8073228" y="1740905"/>
                  <a:pt x="8082281" y="1740905"/>
                </a:cubicBezTo>
                <a:close/>
                <a:moveTo>
                  <a:pt x="7864636" y="1740905"/>
                </a:moveTo>
                <a:cubicBezTo>
                  <a:pt x="7868762" y="1740905"/>
                  <a:pt x="7872756" y="1741701"/>
                  <a:pt x="7876483" y="1743568"/>
                </a:cubicBezTo>
                <a:cubicBezTo>
                  <a:pt x="7880210" y="1745164"/>
                  <a:pt x="7883272" y="1747294"/>
                  <a:pt x="7885802" y="1749957"/>
                </a:cubicBezTo>
                <a:cubicBezTo>
                  <a:pt x="7888331" y="1752479"/>
                  <a:pt x="7890460" y="1755679"/>
                  <a:pt x="7891924" y="1759266"/>
                </a:cubicBezTo>
                <a:cubicBezTo>
                  <a:pt x="7893389" y="1762870"/>
                  <a:pt x="7894188" y="1766725"/>
                  <a:pt x="7894188" y="1770725"/>
                </a:cubicBezTo>
                <a:cubicBezTo>
                  <a:pt x="7894188" y="1774853"/>
                  <a:pt x="7893389" y="1778840"/>
                  <a:pt x="7891924" y="1782434"/>
                </a:cubicBezTo>
                <a:cubicBezTo>
                  <a:pt x="7890327" y="1786026"/>
                  <a:pt x="7888331" y="1789092"/>
                  <a:pt x="7885802" y="1791754"/>
                </a:cubicBezTo>
                <a:cubicBezTo>
                  <a:pt x="7883139" y="1794418"/>
                  <a:pt x="7880078" y="1796542"/>
                  <a:pt x="7876483" y="1798008"/>
                </a:cubicBezTo>
                <a:cubicBezTo>
                  <a:pt x="7872756" y="1799470"/>
                  <a:pt x="7868895" y="1800269"/>
                  <a:pt x="7864636" y="1800269"/>
                </a:cubicBezTo>
                <a:cubicBezTo>
                  <a:pt x="7855717" y="1800269"/>
                  <a:pt x="7848396" y="1797340"/>
                  <a:pt x="7842803" y="1791754"/>
                </a:cubicBezTo>
                <a:cubicBezTo>
                  <a:pt x="7837213" y="1786162"/>
                  <a:pt x="7834417" y="1779105"/>
                  <a:pt x="7834417" y="1770584"/>
                </a:cubicBezTo>
                <a:cubicBezTo>
                  <a:pt x="7834417" y="1762330"/>
                  <a:pt x="7837213" y="1755282"/>
                  <a:pt x="7842803" y="1749560"/>
                </a:cubicBezTo>
                <a:cubicBezTo>
                  <a:pt x="7848396" y="1743829"/>
                  <a:pt x="7855584" y="1740905"/>
                  <a:pt x="7864636" y="1740905"/>
                </a:cubicBezTo>
                <a:close/>
                <a:moveTo>
                  <a:pt x="7646991" y="1740905"/>
                </a:moveTo>
                <a:cubicBezTo>
                  <a:pt x="7651250" y="1740905"/>
                  <a:pt x="7655111" y="1741701"/>
                  <a:pt x="7658705" y="1743568"/>
                </a:cubicBezTo>
                <a:cubicBezTo>
                  <a:pt x="7662432" y="1745164"/>
                  <a:pt x="7665493" y="1747294"/>
                  <a:pt x="7668022" y="1749957"/>
                </a:cubicBezTo>
                <a:cubicBezTo>
                  <a:pt x="7670552" y="1752479"/>
                  <a:pt x="7672682" y="1755679"/>
                  <a:pt x="7674146" y="1759266"/>
                </a:cubicBezTo>
                <a:cubicBezTo>
                  <a:pt x="7675610" y="1762870"/>
                  <a:pt x="7676409" y="1766725"/>
                  <a:pt x="7676409" y="1770725"/>
                </a:cubicBezTo>
                <a:cubicBezTo>
                  <a:pt x="7676409" y="1774853"/>
                  <a:pt x="7675610" y="1778840"/>
                  <a:pt x="7674146" y="1782434"/>
                </a:cubicBezTo>
                <a:cubicBezTo>
                  <a:pt x="7672549" y="1786026"/>
                  <a:pt x="7670552" y="1789092"/>
                  <a:pt x="7668022" y="1791754"/>
                </a:cubicBezTo>
                <a:cubicBezTo>
                  <a:pt x="7665361" y="1794418"/>
                  <a:pt x="7662299" y="1796542"/>
                  <a:pt x="7658705" y="1798008"/>
                </a:cubicBezTo>
                <a:cubicBezTo>
                  <a:pt x="7655111" y="1799470"/>
                  <a:pt x="7651250" y="1800269"/>
                  <a:pt x="7646991" y="1800269"/>
                </a:cubicBezTo>
                <a:cubicBezTo>
                  <a:pt x="7638071" y="1800269"/>
                  <a:pt x="7630750" y="1797340"/>
                  <a:pt x="7625158" y="1791754"/>
                </a:cubicBezTo>
                <a:cubicBezTo>
                  <a:pt x="7619568" y="1786162"/>
                  <a:pt x="7616772" y="1779105"/>
                  <a:pt x="7616772" y="1770584"/>
                </a:cubicBezTo>
                <a:cubicBezTo>
                  <a:pt x="7616772" y="1762330"/>
                  <a:pt x="7619568" y="1755282"/>
                  <a:pt x="7625158" y="1749560"/>
                </a:cubicBezTo>
                <a:cubicBezTo>
                  <a:pt x="7630750" y="1743829"/>
                  <a:pt x="7637939" y="1740905"/>
                  <a:pt x="7646991" y="1740905"/>
                </a:cubicBezTo>
                <a:close/>
                <a:moveTo>
                  <a:pt x="7429345" y="1740905"/>
                </a:moveTo>
                <a:cubicBezTo>
                  <a:pt x="7433605" y="1740905"/>
                  <a:pt x="7437466" y="1741701"/>
                  <a:pt x="7441059" y="1743568"/>
                </a:cubicBezTo>
                <a:cubicBezTo>
                  <a:pt x="7444787" y="1745164"/>
                  <a:pt x="7447848" y="1747294"/>
                  <a:pt x="7450377" y="1749957"/>
                </a:cubicBezTo>
                <a:cubicBezTo>
                  <a:pt x="7452907" y="1752479"/>
                  <a:pt x="7455036" y="1755679"/>
                  <a:pt x="7456501" y="1759266"/>
                </a:cubicBezTo>
                <a:cubicBezTo>
                  <a:pt x="7457965" y="1762870"/>
                  <a:pt x="7458764" y="1766725"/>
                  <a:pt x="7458764" y="1770725"/>
                </a:cubicBezTo>
                <a:cubicBezTo>
                  <a:pt x="7458764" y="1774853"/>
                  <a:pt x="7457965" y="1778840"/>
                  <a:pt x="7456501" y="1782434"/>
                </a:cubicBezTo>
                <a:cubicBezTo>
                  <a:pt x="7454904" y="1786026"/>
                  <a:pt x="7452907" y="1789092"/>
                  <a:pt x="7450377" y="1791754"/>
                </a:cubicBezTo>
                <a:cubicBezTo>
                  <a:pt x="7447715" y="1794418"/>
                  <a:pt x="7444654" y="1796542"/>
                  <a:pt x="7441059" y="1798008"/>
                </a:cubicBezTo>
                <a:cubicBezTo>
                  <a:pt x="7437466" y="1799470"/>
                  <a:pt x="7433605" y="1800269"/>
                  <a:pt x="7429345" y="1800269"/>
                </a:cubicBezTo>
                <a:cubicBezTo>
                  <a:pt x="7420426" y="1800269"/>
                  <a:pt x="7413105" y="1797340"/>
                  <a:pt x="7407513" y="1791754"/>
                </a:cubicBezTo>
                <a:cubicBezTo>
                  <a:pt x="7401922" y="1786162"/>
                  <a:pt x="7399127" y="1779105"/>
                  <a:pt x="7399127" y="1770584"/>
                </a:cubicBezTo>
                <a:cubicBezTo>
                  <a:pt x="7399127" y="1762330"/>
                  <a:pt x="7401922" y="1755282"/>
                  <a:pt x="7407513" y="1749560"/>
                </a:cubicBezTo>
                <a:cubicBezTo>
                  <a:pt x="7413105" y="1743829"/>
                  <a:pt x="7420293" y="1740905"/>
                  <a:pt x="7429345" y="1740905"/>
                </a:cubicBezTo>
                <a:close/>
                <a:moveTo>
                  <a:pt x="7211701" y="1740905"/>
                </a:moveTo>
                <a:cubicBezTo>
                  <a:pt x="7215960" y="1740905"/>
                  <a:pt x="7219954" y="1741701"/>
                  <a:pt x="7223415" y="1743568"/>
                </a:cubicBezTo>
                <a:cubicBezTo>
                  <a:pt x="7227142" y="1745164"/>
                  <a:pt x="7230204" y="1747294"/>
                  <a:pt x="7232733" y="1749957"/>
                </a:cubicBezTo>
                <a:cubicBezTo>
                  <a:pt x="7235262" y="1752479"/>
                  <a:pt x="7237392" y="1755679"/>
                  <a:pt x="7238856" y="1759266"/>
                </a:cubicBezTo>
                <a:cubicBezTo>
                  <a:pt x="7240321" y="1762870"/>
                  <a:pt x="7241120" y="1766725"/>
                  <a:pt x="7241120" y="1770725"/>
                </a:cubicBezTo>
                <a:cubicBezTo>
                  <a:pt x="7241120" y="1774853"/>
                  <a:pt x="7240321" y="1778840"/>
                  <a:pt x="7238856" y="1782434"/>
                </a:cubicBezTo>
                <a:cubicBezTo>
                  <a:pt x="7237259" y="1786026"/>
                  <a:pt x="7235262" y="1789092"/>
                  <a:pt x="7232733" y="1791754"/>
                </a:cubicBezTo>
                <a:cubicBezTo>
                  <a:pt x="7230071" y="1794418"/>
                  <a:pt x="7227009" y="1796542"/>
                  <a:pt x="7223415" y="1798008"/>
                </a:cubicBezTo>
                <a:cubicBezTo>
                  <a:pt x="7219821" y="1799470"/>
                  <a:pt x="7215960" y="1800269"/>
                  <a:pt x="7211701" y="1800269"/>
                </a:cubicBezTo>
                <a:cubicBezTo>
                  <a:pt x="7202782" y="1800269"/>
                  <a:pt x="7195460" y="1797340"/>
                  <a:pt x="7189868" y="1791754"/>
                </a:cubicBezTo>
                <a:cubicBezTo>
                  <a:pt x="7184278" y="1786162"/>
                  <a:pt x="7181482" y="1779105"/>
                  <a:pt x="7181482" y="1770584"/>
                </a:cubicBezTo>
                <a:cubicBezTo>
                  <a:pt x="7181482" y="1762330"/>
                  <a:pt x="7184278" y="1755282"/>
                  <a:pt x="7189868" y="1749560"/>
                </a:cubicBezTo>
                <a:cubicBezTo>
                  <a:pt x="7195460" y="1743829"/>
                  <a:pt x="7202649" y="1740905"/>
                  <a:pt x="7211701" y="1740905"/>
                </a:cubicBezTo>
                <a:close/>
                <a:moveTo>
                  <a:pt x="6994056" y="1740905"/>
                </a:moveTo>
                <a:cubicBezTo>
                  <a:pt x="6998315" y="1740905"/>
                  <a:pt x="7002309" y="1741701"/>
                  <a:pt x="7005769" y="1743568"/>
                </a:cubicBezTo>
                <a:cubicBezTo>
                  <a:pt x="7009497" y="1745164"/>
                  <a:pt x="7012558" y="1747294"/>
                  <a:pt x="7015087" y="1749957"/>
                </a:cubicBezTo>
                <a:cubicBezTo>
                  <a:pt x="7017617" y="1752479"/>
                  <a:pt x="7019747" y="1755679"/>
                  <a:pt x="7021211" y="1759266"/>
                </a:cubicBezTo>
                <a:cubicBezTo>
                  <a:pt x="7022675" y="1762870"/>
                  <a:pt x="7023474" y="1766725"/>
                  <a:pt x="7023474" y="1770725"/>
                </a:cubicBezTo>
                <a:cubicBezTo>
                  <a:pt x="7023474" y="1774853"/>
                  <a:pt x="7022675" y="1778840"/>
                  <a:pt x="7021211" y="1782434"/>
                </a:cubicBezTo>
                <a:cubicBezTo>
                  <a:pt x="7019614" y="1786026"/>
                  <a:pt x="7017617" y="1789092"/>
                  <a:pt x="7015087" y="1791754"/>
                </a:cubicBezTo>
                <a:cubicBezTo>
                  <a:pt x="7012425" y="1794418"/>
                  <a:pt x="7009364" y="1796542"/>
                  <a:pt x="7005769" y="1798008"/>
                </a:cubicBezTo>
                <a:cubicBezTo>
                  <a:pt x="7002176" y="1799470"/>
                  <a:pt x="6998315" y="1800269"/>
                  <a:pt x="6994056" y="1800269"/>
                </a:cubicBezTo>
                <a:cubicBezTo>
                  <a:pt x="6985136" y="1800269"/>
                  <a:pt x="6977815" y="1797340"/>
                  <a:pt x="6972223" y="1791754"/>
                </a:cubicBezTo>
                <a:cubicBezTo>
                  <a:pt x="6966632" y="1786162"/>
                  <a:pt x="6963837" y="1779105"/>
                  <a:pt x="6963837" y="1770584"/>
                </a:cubicBezTo>
                <a:cubicBezTo>
                  <a:pt x="6963837" y="1762330"/>
                  <a:pt x="6966632" y="1755282"/>
                  <a:pt x="6972223" y="1749560"/>
                </a:cubicBezTo>
                <a:cubicBezTo>
                  <a:pt x="6977815" y="1743829"/>
                  <a:pt x="6985003" y="1740905"/>
                  <a:pt x="6994056" y="1740905"/>
                </a:cubicBezTo>
                <a:close/>
                <a:moveTo>
                  <a:pt x="6776544" y="1740905"/>
                </a:moveTo>
                <a:cubicBezTo>
                  <a:pt x="6780670" y="1740905"/>
                  <a:pt x="6784664" y="1741701"/>
                  <a:pt x="6788258" y="1743568"/>
                </a:cubicBezTo>
                <a:cubicBezTo>
                  <a:pt x="6791985" y="1745164"/>
                  <a:pt x="6795047" y="1747294"/>
                  <a:pt x="6797576" y="1749957"/>
                </a:cubicBezTo>
                <a:cubicBezTo>
                  <a:pt x="6800105" y="1752479"/>
                  <a:pt x="6802235" y="1755679"/>
                  <a:pt x="6803699" y="1759266"/>
                </a:cubicBezTo>
                <a:cubicBezTo>
                  <a:pt x="6805164" y="1762870"/>
                  <a:pt x="6805963" y="1766725"/>
                  <a:pt x="6805963" y="1770725"/>
                </a:cubicBezTo>
                <a:cubicBezTo>
                  <a:pt x="6805963" y="1774853"/>
                  <a:pt x="6805164" y="1778840"/>
                  <a:pt x="6803699" y="1782434"/>
                </a:cubicBezTo>
                <a:cubicBezTo>
                  <a:pt x="6802102" y="1786026"/>
                  <a:pt x="6800105" y="1789092"/>
                  <a:pt x="6797576" y="1791754"/>
                </a:cubicBezTo>
                <a:cubicBezTo>
                  <a:pt x="6794914" y="1794418"/>
                  <a:pt x="6791852" y="1796542"/>
                  <a:pt x="6788258" y="1798008"/>
                </a:cubicBezTo>
                <a:cubicBezTo>
                  <a:pt x="6784664" y="1799470"/>
                  <a:pt x="6780803" y="1800269"/>
                  <a:pt x="6776544" y="1800269"/>
                </a:cubicBezTo>
                <a:cubicBezTo>
                  <a:pt x="6767625" y="1800269"/>
                  <a:pt x="6760303" y="1797340"/>
                  <a:pt x="6754711" y="1791754"/>
                </a:cubicBezTo>
                <a:cubicBezTo>
                  <a:pt x="6749121" y="1786162"/>
                  <a:pt x="6746325" y="1779105"/>
                  <a:pt x="6746325" y="1770584"/>
                </a:cubicBezTo>
                <a:cubicBezTo>
                  <a:pt x="6746325" y="1762330"/>
                  <a:pt x="6749121" y="1755282"/>
                  <a:pt x="6754711" y="1749560"/>
                </a:cubicBezTo>
                <a:cubicBezTo>
                  <a:pt x="6760303" y="1743829"/>
                  <a:pt x="6767492" y="1740905"/>
                  <a:pt x="6776544" y="1740905"/>
                </a:cubicBezTo>
                <a:close/>
                <a:moveTo>
                  <a:pt x="6558899" y="1740905"/>
                </a:moveTo>
                <a:cubicBezTo>
                  <a:pt x="6563158" y="1740905"/>
                  <a:pt x="6567019" y="1741701"/>
                  <a:pt x="6570612" y="1743568"/>
                </a:cubicBezTo>
                <a:cubicBezTo>
                  <a:pt x="6574340" y="1745164"/>
                  <a:pt x="6577401" y="1747294"/>
                  <a:pt x="6579930" y="1749957"/>
                </a:cubicBezTo>
                <a:cubicBezTo>
                  <a:pt x="6582460" y="1752479"/>
                  <a:pt x="6584590" y="1755679"/>
                  <a:pt x="6586054" y="1759266"/>
                </a:cubicBezTo>
                <a:cubicBezTo>
                  <a:pt x="6587518" y="1762870"/>
                  <a:pt x="6588317" y="1766725"/>
                  <a:pt x="6588317" y="1770725"/>
                </a:cubicBezTo>
                <a:cubicBezTo>
                  <a:pt x="6588317" y="1774853"/>
                  <a:pt x="6587518" y="1778840"/>
                  <a:pt x="6586054" y="1782434"/>
                </a:cubicBezTo>
                <a:cubicBezTo>
                  <a:pt x="6584457" y="1786026"/>
                  <a:pt x="6582460" y="1789092"/>
                  <a:pt x="6579930" y="1791754"/>
                </a:cubicBezTo>
                <a:cubicBezTo>
                  <a:pt x="6577268" y="1794418"/>
                  <a:pt x="6574207" y="1796542"/>
                  <a:pt x="6570612" y="1798008"/>
                </a:cubicBezTo>
                <a:cubicBezTo>
                  <a:pt x="6567019" y="1799470"/>
                  <a:pt x="6563158" y="1800269"/>
                  <a:pt x="6558899" y="1800269"/>
                </a:cubicBezTo>
                <a:cubicBezTo>
                  <a:pt x="6549979" y="1800269"/>
                  <a:pt x="6542658" y="1797340"/>
                  <a:pt x="6537066" y="1791754"/>
                </a:cubicBezTo>
                <a:cubicBezTo>
                  <a:pt x="6531476" y="1786162"/>
                  <a:pt x="6528680" y="1779105"/>
                  <a:pt x="6528680" y="1770584"/>
                </a:cubicBezTo>
                <a:cubicBezTo>
                  <a:pt x="6528680" y="1762330"/>
                  <a:pt x="6531476" y="1755282"/>
                  <a:pt x="6537066" y="1749560"/>
                </a:cubicBezTo>
                <a:cubicBezTo>
                  <a:pt x="6542658" y="1743829"/>
                  <a:pt x="6549846" y="1740905"/>
                  <a:pt x="6558899" y="1740905"/>
                </a:cubicBezTo>
                <a:close/>
                <a:moveTo>
                  <a:pt x="6341253" y="1740905"/>
                </a:moveTo>
                <a:cubicBezTo>
                  <a:pt x="6345513" y="1740905"/>
                  <a:pt x="6349373" y="1741701"/>
                  <a:pt x="6352968" y="1743568"/>
                </a:cubicBezTo>
                <a:cubicBezTo>
                  <a:pt x="6356695" y="1745164"/>
                  <a:pt x="6359757" y="1747294"/>
                  <a:pt x="6362286" y="1749957"/>
                </a:cubicBezTo>
                <a:cubicBezTo>
                  <a:pt x="6364815" y="1752479"/>
                  <a:pt x="6366945" y="1755679"/>
                  <a:pt x="6368409" y="1759266"/>
                </a:cubicBezTo>
                <a:cubicBezTo>
                  <a:pt x="6369874" y="1762870"/>
                  <a:pt x="6370672" y="1766725"/>
                  <a:pt x="6370672" y="1770725"/>
                </a:cubicBezTo>
                <a:cubicBezTo>
                  <a:pt x="6370672" y="1774853"/>
                  <a:pt x="6369874" y="1778840"/>
                  <a:pt x="6368409" y="1782434"/>
                </a:cubicBezTo>
                <a:cubicBezTo>
                  <a:pt x="6366811" y="1786026"/>
                  <a:pt x="6364815" y="1789092"/>
                  <a:pt x="6362286" y="1791754"/>
                </a:cubicBezTo>
                <a:cubicBezTo>
                  <a:pt x="6359623" y="1794418"/>
                  <a:pt x="6356562" y="1796542"/>
                  <a:pt x="6352968" y="1798008"/>
                </a:cubicBezTo>
                <a:cubicBezTo>
                  <a:pt x="6349373" y="1799470"/>
                  <a:pt x="6345513" y="1800269"/>
                  <a:pt x="6341253" y="1800269"/>
                </a:cubicBezTo>
                <a:cubicBezTo>
                  <a:pt x="6332335" y="1800269"/>
                  <a:pt x="6325013" y="1797340"/>
                  <a:pt x="6319421" y="1791754"/>
                </a:cubicBezTo>
                <a:cubicBezTo>
                  <a:pt x="6313830" y="1786162"/>
                  <a:pt x="6311035" y="1779105"/>
                  <a:pt x="6311035" y="1770584"/>
                </a:cubicBezTo>
                <a:cubicBezTo>
                  <a:pt x="6311035" y="1762330"/>
                  <a:pt x="6313830" y="1755282"/>
                  <a:pt x="6319421" y="1749560"/>
                </a:cubicBezTo>
                <a:cubicBezTo>
                  <a:pt x="6325013" y="1743829"/>
                  <a:pt x="6332201" y="1740905"/>
                  <a:pt x="6341253" y="1740905"/>
                </a:cubicBezTo>
                <a:close/>
                <a:moveTo>
                  <a:pt x="6123608" y="1740905"/>
                </a:moveTo>
                <a:cubicBezTo>
                  <a:pt x="6127867" y="1740905"/>
                  <a:pt x="6131728" y="1741701"/>
                  <a:pt x="6135322" y="1743568"/>
                </a:cubicBezTo>
                <a:cubicBezTo>
                  <a:pt x="6139049" y="1745164"/>
                  <a:pt x="6142111" y="1747294"/>
                  <a:pt x="6144640" y="1749957"/>
                </a:cubicBezTo>
                <a:cubicBezTo>
                  <a:pt x="6147169" y="1752479"/>
                  <a:pt x="6149299" y="1755679"/>
                  <a:pt x="6150763" y="1759266"/>
                </a:cubicBezTo>
                <a:cubicBezTo>
                  <a:pt x="6152228" y="1762870"/>
                  <a:pt x="6153026" y="1766725"/>
                  <a:pt x="6153026" y="1770725"/>
                </a:cubicBezTo>
                <a:cubicBezTo>
                  <a:pt x="6153026" y="1774853"/>
                  <a:pt x="6152228" y="1778840"/>
                  <a:pt x="6150763" y="1782434"/>
                </a:cubicBezTo>
                <a:cubicBezTo>
                  <a:pt x="6149299" y="1786026"/>
                  <a:pt x="6147169" y="1789092"/>
                  <a:pt x="6144640" y="1791754"/>
                </a:cubicBezTo>
                <a:cubicBezTo>
                  <a:pt x="6141977" y="1794418"/>
                  <a:pt x="6138916" y="1796542"/>
                  <a:pt x="6135322" y="1798008"/>
                </a:cubicBezTo>
                <a:cubicBezTo>
                  <a:pt x="6131728" y="1799470"/>
                  <a:pt x="6127867" y="1800269"/>
                  <a:pt x="6123608" y="1800269"/>
                </a:cubicBezTo>
                <a:cubicBezTo>
                  <a:pt x="6114689" y="1800269"/>
                  <a:pt x="6107367" y="1797340"/>
                  <a:pt x="6101775" y="1791754"/>
                </a:cubicBezTo>
                <a:cubicBezTo>
                  <a:pt x="6096184" y="1786162"/>
                  <a:pt x="6093389" y="1779105"/>
                  <a:pt x="6093389" y="1770584"/>
                </a:cubicBezTo>
                <a:cubicBezTo>
                  <a:pt x="6093389" y="1762330"/>
                  <a:pt x="6096184" y="1755282"/>
                  <a:pt x="6101775" y="1749560"/>
                </a:cubicBezTo>
                <a:cubicBezTo>
                  <a:pt x="6107367" y="1743829"/>
                  <a:pt x="6114555" y="1740905"/>
                  <a:pt x="6123608" y="1740905"/>
                </a:cubicBezTo>
                <a:close/>
                <a:moveTo>
                  <a:pt x="5905963" y="1740905"/>
                </a:moveTo>
                <a:cubicBezTo>
                  <a:pt x="5910222" y="1740905"/>
                  <a:pt x="5914216" y="1741701"/>
                  <a:pt x="5917677" y="1743568"/>
                </a:cubicBezTo>
                <a:cubicBezTo>
                  <a:pt x="5921404" y="1745164"/>
                  <a:pt x="5924466" y="1747294"/>
                  <a:pt x="5926995" y="1749957"/>
                </a:cubicBezTo>
                <a:cubicBezTo>
                  <a:pt x="5929524" y="1752479"/>
                  <a:pt x="5931654" y="1755679"/>
                  <a:pt x="5933118" y="1759266"/>
                </a:cubicBezTo>
                <a:cubicBezTo>
                  <a:pt x="5934583" y="1762870"/>
                  <a:pt x="5935381" y="1766725"/>
                  <a:pt x="5935381" y="1770725"/>
                </a:cubicBezTo>
                <a:cubicBezTo>
                  <a:pt x="5935381" y="1774853"/>
                  <a:pt x="5934583" y="1778840"/>
                  <a:pt x="5933118" y="1782434"/>
                </a:cubicBezTo>
                <a:cubicBezTo>
                  <a:pt x="5931654" y="1786026"/>
                  <a:pt x="5929524" y="1789092"/>
                  <a:pt x="5926995" y="1791754"/>
                </a:cubicBezTo>
                <a:cubicBezTo>
                  <a:pt x="5924333" y="1794418"/>
                  <a:pt x="5921271" y="1796542"/>
                  <a:pt x="5917677" y="1798008"/>
                </a:cubicBezTo>
                <a:cubicBezTo>
                  <a:pt x="5914083" y="1799470"/>
                  <a:pt x="5910222" y="1800269"/>
                  <a:pt x="5905963" y="1800269"/>
                </a:cubicBezTo>
                <a:cubicBezTo>
                  <a:pt x="5897044" y="1800269"/>
                  <a:pt x="5889722" y="1797340"/>
                  <a:pt x="5884130" y="1791754"/>
                </a:cubicBezTo>
                <a:cubicBezTo>
                  <a:pt x="5878540" y="1786162"/>
                  <a:pt x="5875744" y="1779105"/>
                  <a:pt x="5875744" y="1770584"/>
                </a:cubicBezTo>
                <a:cubicBezTo>
                  <a:pt x="5875744" y="1762330"/>
                  <a:pt x="5878540" y="1755282"/>
                  <a:pt x="5884130" y="1749560"/>
                </a:cubicBezTo>
                <a:cubicBezTo>
                  <a:pt x="5889722" y="1743829"/>
                  <a:pt x="5896910" y="1740905"/>
                  <a:pt x="5905963" y="1740905"/>
                </a:cubicBezTo>
                <a:close/>
                <a:moveTo>
                  <a:pt x="5688451" y="1740905"/>
                </a:moveTo>
                <a:cubicBezTo>
                  <a:pt x="5692577" y="1740905"/>
                  <a:pt x="5696571" y="1741701"/>
                  <a:pt x="5700165" y="1743568"/>
                </a:cubicBezTo>
                <a:cubicBezTo>
                  <a:pt x="5703892" y="1745164"/>
                  <a:pt x="5706954" y="1747294"/>
                  <a:pt x="5709483" y="1749957"/>
                </a:cubicBezTo>
                <a:cubicBezTo>
                  <a:pt x="5712012" y="1752479"/>
                  <a:pt x="5714142" y="1755679"/>
                  <a:pt x="5715606" y="1759266"/>
                </a:cubicBezTo>
                <a:cubicBezTo>
                  <a:pt x="5717071" y="1762870"/>
                  <a:pt x="5717869" y="1766725"/>
                  <a:pt x="5717869" y="1770725"/>
                </a:cubicBezTo>
                <a:cubicBezTo>
                  <a:pt x="5717869" y="1774853"/>
                  <a:pt x="5717071" y="1778840"/>
                  <a:pt x="5715606" y="1782434"/>
                </a:cubicBezTo>
                <a:cubicBezTo>
                  <a:pt x="5714142" y="1786026"/>
                  <a:pt x="5712012" y="1789092"/>
                  <a:pt x="5709483" y="1791754"/>
                </a:cubicBezTo>
                <a:cubicBezTo>
                  <a:pt x="5706820" y="1794418"/>
                  <a:pt x="5703759" y="1796542"/>
                  <a:pt x="5700165" y="1798008"/>
                </a:cubicBezTo>
                <a:cubicBezTo>
                  <a:pt x="5696571" y="1799470"/>
                  <a:pt x="5692710" y="1800269"/>
                  <a:pt x="5688451" y="1800269"/>
                </a:cubicBezTo>
                <a:cubicBezTo>
                  <a:pt x="5679532" y="1800269"/>
                  <a:pt x="5672210" y="1797340"/>
                  <a:pt x="5666618" y="1791754"/>
                </a:cubicBezTo>
                <a:cubicBezTo>
                  <a:pt x="5661028" y="1786162"/>
                  <a:pt x="5658232" y="1779105"/>
                  <a:pt x="5658232" y="1770584"/>
                </a:cubicBezTo>
                <a:cubicBezTo>
                  <a:pt x="5658232" y="1762330"/>
                  <a:pt x="5661028" y="1755282"/>
                  <a:pt x="5666618" y="1749560"/>
                </a:cubicBezTo>
                <a:cubicBezTo>
                  <a:pt x="5672210" y="1743829"/>
                  <a:pt x="5679398" y="1740905"/>
                  <a:pt x="5688451" y="1740905"/>
                </a:cubicBezTo>
                <a:close/>
                <a:moveTo>
                  <a:pt x="5470806" y="1740905"/>
                </a:moveTo>
                <a:cubicBezTo>
                  <a:pt x="5475065" y="1740905"/>
                  <a:pt x="5478926" y="1741701"/>
                  <a:pt x="5482520" y="1743568"/>
                </a:cubicBezTo>
                <a:cubicBezTo>
                  <a:pt x="5486247" y="1745164"/>
                  <a:pt x="5489309" y="1747294"/>
                  <a:pt x="5491838" y="1749957"/>
                </a:cubicBezTo>
                <a:cubicBezTo>
                  <a:pt x="5494367" y="1752479"/>
                  <a:pt x="5496497" y="1755679"/>
                  <a:pt x="5497961" y="1759266"/>
                </a:cubicBezTo>
                <a:cubicBezTo>
                  <a:pt x="5499426" y="1762870"/>
                  <a:pt x="5500224" y="1766725"/>
                  <a:pt x="5500224" y="1770725"/>
                </a:cubicBezTo>
                <a:cubicBezTo>
                  <a:pt x="5500224" y="1774853"/>
                  <a:pt x="5499426" y="1778840"/>
                  <a:pt x="5497961" y="1782434"/>
                </a:cubicBezTo>
                <a:cubicBezTo>
                  <a:pt x="5496497" y="1786026"/>
                  <a:pt x="5494367" y="1789092"/>
                  <a:pt x="5491838" y="1791754"/>
                </a:cubicBezTo>
                <a:cubicBezTo>
                  <a:pt x="5489176" y="1794418"/>
                  <a:pt x="5486114" y="1796542"/>
                  <a:pt x="5482520" y="1798008"/>
                </a:cubicBezTo>
                <a:cubicBezTo>
                  <a:pt x="5478926" y="1799470"/>
                  <a:pt x="5475065" y="1800269"/>
                  <a:pt x="5470806" y="1800269"/>
                </a:cubicBezTo>
                <a:cubicBezTo>
                  <a:pt x="5461887" y="1800269"/>
                  <a:pt x="5454565" y="1797340"/>
                  <a:pt x="5448973" y="1791754"/>
                </a:cubicBezTo>
                <a:cubicBezTo>
                  <a:pt x="5443383" y="1786162"/>
                  <a:pt x="5440587" y="1779105"/>
                  <a:pt x="5440587" y="1770584"/>
                </a:cubicBezTo>
                <a:cubicBezTo>
                  <a:pt x="5440587" y="1762330"/>
                  <a:pt x="5443383" y="1755282"/>
                  <a:pt x="5448973" y="1749560"/>
                </a:cubicBezTo>
                <a:cubicBezTo>
                  <a:pt x="5454565" y="1743829"/>
                  <a:pt x="5461754" y="1740905"/>
                  <a:pt x="5470806" y="1740905"/>
                </a:cubicBezTo>
                <a:close/>
                <a:moveTo>
                  <a:pt x="5253160" y="1740905"/>
                </a:moveTo>
                <a:cubicBezTo>
                  <a:pt x="5257420" y="1740905"/>
                  <a:pt x="5261280" y="1741701"/>
                  <a:pt x="5264875" y="1743568"/>
                </a:cubicBezTo>
                <a:cubicBezTo>
                  <a:pt x="5268602" y="1745164"/>
                  <a:pt x="5271664" y="1747294"/>
                  <a:pt x="5274192" y="1749957"/>
                </a:cubicBezTo>
                <a:cubicBezTo>
                  <a:pt x="5276722" y="1752479"/>
                  <a:pt x="5278852" y="1755679"/>
                  <a:pt x="5280316" y="1759266"/>
                </a:cubicBezTo>
                <a:cubicBezTo>
                  <a:pt x="5281780" y="1762870"/>
                  <a:pt x="5282579" y="1766725"/>
                  <a:pt x="5282579" y="1770725"/>
                </a:cubicBezTo>
                <a:cubicBezTo>
                  <a:pt x="5282579" y="1774853"/>
                  <a:pt x="5281780" y="1778840"/>
                  <a:pt x="5280316" y="1782434"/>
                </a:cubicBezTo>
                <a:cubicBezTo>
                  <a:pt x="5278852" y="1786026"/>
                  <a:pt x="5276722" y="1789092"/>
                  <a:pt x="5274192" y="1791754"/>
                </a:cubicBezTo>
                <a:cubicBezTo>
                  <a:pt x="5271664" y="1794418"/>
                  <a:pt x="5268469" y="1796542"/>
                  <a:pt x="5264875" y="1798008"/>
                </a:cubicBezTo>
                <a:cubicBezTo>
                  <a:pt x="5261280" y="1799470"/>
                  <a:pt x="5257420" y="1800269"/>
                  <a:pt x="5253160" y="1800269"/>
                </a:cubicBezTo>
                <a:cubicBezTo>
                  <a:pt x="5244241" y="1800269"/>
                  <a:pt x="5236920" y="1797340"/>
                  <a:pt x="5231328" y="1791754"/>
                </a:cubicBezTo>
                <a:cubicBezTo>
                  <a:pt x="5225737" y="1786162"/>
                  <a:pt x="5222942" y="1779105"/>
                  <a:pt x="5222942" y="1770584"/>
                </a:cubicBezTo>
                <a:cubicBezTo>
                  <a:pt x="5222942" y="1762330"/>
                  <a:pt x="5225737" y="1755282"/>
                  <a:pt x="5231328" y="1749560"/>
                </a:cubicBezTo>
                <a:cubicBezTo>
                  <a:pt x="5236920" y="1743829"/>
                  <a:pt x="5244108" y="1740905"/>
                  <a:pt x="5253160" y="1740905"/>
                </a:cubicBezTo>
                <a:close/>
                <a:moveTo>
                  <a:pt x="5035515" y="1740905"/>
                </a:moveTo>
                <a:cubicBezTo>
                  <a:pt x="5039775" y="1740905"/>
                  <a:pt x="5043636" y="1741701"/>
                  <a:pt x="5047230" y="1743568"/>
                </a:cubicBezTo>
                <a:cubicBezTo>
                  <a:pt x="5050957" y="1745164"/>
                  <a:pt x="5054019" y="1747294"/>
                  <a:pt x="5056548" y="1749957"/>
                </a:cubicBezTo>
                <a:cubicBezTo>
                  <a:pt x="5059077" y="1752479"/>
                  <a:pt x="5061207" y="1755679"/>
                  <a:pt x="5062671" y="1759266"/>
                </a:cubicBezTo>
                <a:cubicBezTo>
                  <a:pt x="5064135" y="1762870"/>
                  <a:pt x="5064934" y="1766725"/>
                  <a:pt x="5064934" y="1770725"/>
                </a:cubicBezTo>
                <a:cubicBezTo>
                  <a:pt x="5064934" y="1774853"/>
                  <a:pt x="5064135" y="1778840"/>
                  <a:pt x="5062671" y="1782434"/>
                </a:cubicBezTo>
                <a:cubicBezTo>
                  <a:pt x="5061207" y="1786026"/>
                  <a:pt x="5059077" y="1789092"/>
                  <a:pt x="5056548" y="1791754"/>
                </a:cubicBezTo>
                <a:cubicBezTo>
                  <a:pt x="5053885" y="1794418"/>
                  <a:pt x="5050824" y="1796542"/>
                  <a:pt x="5047230" y="1798008"/>
                </a:cubicBezTo>
                <a:cubicBezTo>
                  <a:pt x="5043636" y="1799470"/>
                  <a:pt x="5039775" y="1800269"/>
                  <a:pt x="5035515" y="1800269"/>
                </a:cubicBezTo>
                <a:cubicBezTo>
                  <a:pt x="5026597" y="1800269"/>
                  <a:pt x="5019275" y="1797340"/>
                  <a:pt x="5013683" y="1791754"/>
                </a:cubicBezTo>
                <a:cubicBezTo>
                  <a:pt x="5008092" y="1786162"/>
                  <a:pt x="5005297" y="1779105"/>
                  <a:pt x="5005297" y="1770584"/>
                </a:cubicBezTo>
                <a:cubicBezTo>
                  <a:pt x="5005297" y="1762330"/>
                  <a:pt x="5008092" y="1755282"/>
                  <a:pt x="5013683" y="1749560"/>
                </a:cubicBezTo>
                <a:cubicBezTo>
                  <a:pt x="5019275" y="1743829"/>
                  <a:pt x="5026463" y="1740905"/>
                  <a:pt x="5035515" y="1740905"/>
                </a:cubicBezTo>
                <a:close/>
                <a:moveTo>
                  <a:pt x="4817870" y="1740905"/>
                </a:moveTo>
                <a:cubicBezTo>
                  <a:pt x="4822130" y="1740905"/>
                  <a:pt x="4826124" y="1741701"/>
                  <a:pt x="4829585" y="1743568"/>
                </a:cubicBezTo>
                <a:cubicBezTo>
                  <a:pt x="4833312" y="1745164"/>
                  <a:pt x="4836374" y="1747294"/>
                  <a:pt x="4838903" y="1749957"/>
                </a:cubicBezTo>
                <a:cubicBezTo>
                  <a:pt x="4841432" y="1752479"/>
                  <a:pt x="4843562" y="1755679"/>
                  <a:pt x="4845026" y="1759266"/>
                </a:cubicBezTo>
                <a:cubicBezTo>
                  <a:pt x="4846491" y="1762870"/>
                  <a:pt x="4847289" y="1766725"/>
                  <a:pt x="4847289" y="1770725"/>
                </a:cubicBezTo>
                <a:cubicBezTo>
                  <a:pt x="4847289" y="1774853"/>
                  <a:pt x="4846491" y="1778840"/>
                  <a:pt x="4845026" y="1782434"/>
                </a:cubicBezTo>
                <a:cubicBezTo>
                  <a:pt x="4843562" y="1786026"/>
                  <a:pt x="4841432" y="1789092"/>
                  <a:pt x="4838903" y="1791754"/>
                </a:cubicBezTo>
                <a:cubicBezTo>
                  <a:pt x="4836240" y="1794418"/>
                  <a:pt x="4833179" y="1796542"/>
                  <a:pt x="4829585" y="1798008"/>
                </a:cubicBezTo>
                <a:cubicBezTo>
                  <a:pt x="4825991" y="1799470"/>
                  <a:pt x="4822130" y="1800269"/>
                  <a:pt x="4817870" y="1800269"/>
                </a:cubicBezTo>
                <a:cubicBezTo>
                  <a:pt x="4808952" y="1800269"/>
                  <a:pt x="4801630" y="1797340"/>
                  <a:pt x="4796038" y="1791754"/>
                </a:cubicBezTo>
                <a:cubicBezTo>
                  <a:pt x="4790447" y="1786162"/>
                  <a:pt x="4787652" y="1779105"/>
                  <a:pt x="4787652" y="1770584"/>
                </a:cubicBezTo>
                <a:cubicBezTo>
                  <a:pt x="4787652" y="1762330"/>
                  <a:pt x="4790447" y="1755282"/>
                  <a:pt x="4796038" y="1749560"/>
                </a:cubicBezTo>
                <a:cubicBezTo>
                  <a:pt x="4801630" y="1743829"/>
                  <a:pt x="4808818" y="1740905"/>
                  <a:pt x="4817870" y="1740905"/>
                </a:cubicBezTo>
                <a:close/>
                <a:moveTo>
                  <a:pt x="4600226" y="1740905"/>
                </a:moveTo>
                <a:cubicBezTo>
                  <a:pt x="4604485" y="1740905"/>
                  <a:pt x="4608479" y="1741701"/>
                  <a:pt x="4612073" y="1743568"/>
                </a:cubicBezTo>
                <a:cubicBezTo>
                  <a:pt x="4615800" y="1745164"/>
                  <a:pt x="4618862" y="1747294"/>
                  <a:pt x="4621391" y="1749957"/>
                </a:cubicBezTo>
                <a:cubicBezTo>
                  <a:pt x="4623920" y="1752479"/>
                  <a:pt x="4626050" y="1755679"/>
                  <a:pt x="4627514" y="1759266"/>
                </a:cubicBezTo>
                <a:cubicBezTo>
                  <a:pt x="4628978" y="1762870"/>
                  <a:pt x="4629777" y="1766725"/>
                  <a:pt x="4629777" y="1770725"/>
                </a:cubicBezTo>
                <a:cubicBezTo>
                  <a:pt x="4629777" y="1774853"/>
                  <a:pt x="4628978" y="1778840"/>
                  <a:pt x="4627514" y="1782434"/>
                </a:cubicBezTo>
                <a:cubicBezTo>
                  <a:pt x="4626050" y="1786026"/>
                  <a:pt x="4623920" y="1789092"/>
                  <a:pt x="4621391" y="1791754"/>
                </a:cubicBezTo>
                <a:cubicBezTo>
                  <a:pt x="4618729" y="1794418"/>
                  <a:pt x="4615667" y="1796542"/>
                  <a:pt x="4612073" y="1798008"/>
                </a:cubicBezTo>
                <a:cubicBezTo>
                  <a:pt x="4608346" y="1799470"/>
                  <a:pt x="4604485" y="1800269"/>
                  <a:pt x="4600226" y="1800269"/>
                </a:cubicBezTo>
                <a:cubicBezTo>
                  <a:pt x="4591173" y="1800269"/>
                  <a:pt x="4583985" y="1797340"/>
                  <a:pt x="4578393" y="1791754"/>
                </a:cubicBezTo>
                <a:cubicBezTo>
                  <a:pt x="4572803" y="1786162"/>
                  <a:pt x="4570007" y="1779105"/>
                  <a:pt x="4570007" y="1770584"/>
                </a:cubicBezTo>
                <a:cubicBezTo>
                  <a:pt x="4570007" y="1762330"/>
                  <a:pt x="4572803" y="1755282"/>
                  <a:pt x="4578393" y="1749560"/>
                </a:cubicBezTo>
                <a:cubicBezTo>
                  <a:pt x="4583985" y="1743829"/>
                  <a:pt x="4591173" y="1740905"/>
                  <a:pt x="4600226" y="1740905"/>
                </a:cubicBezTo>
                <a:close/>
                <a:moveTo>
                  <a:pt x="4382713" y="1740905"/>
                </a:moveTo>
                <a:cubicBezTo>
                  <a:pt x="4386840" y="1740905"/>
                  <a:pt x="4390834" y="1741701"/>
                  <a:pt x="4394428" y="1743568"/>
                </a:cubicBezTo>
                <a:cubicBezTo>
                  <a:pt x="4398155" y="1745164"/>
                  <a:pt x="4401217" y="1747294"/>
                  <a:pt x="4403746" y="1749957"/>
                </a:cubicBezTo>
                <a:cubicBezTo>
                  <a:pt x="4406275" y="1752479"/>
                  <a:pt x="4408405" y="1755679"/>
                  <a:pt x="4409869" y="1759266"/>
                </a:cubicBezTo>
                <a:cubicBezTo>
                  <a:pt x="4411334" y="1762870"/>
                  <a:pt x="4412132" y="1766725"/>
                  <a:pt x="4412132" y="1770725"/>
                </a:cubicBezTo>
                <a:cubicBezTo>
                  <a:pt x="4412132" y="1774853"/>
                  <a:pt x="4411334" y="1778840"/>
                  <a:pt x="4409869" y="1782434"/>
                </a:cubicBezTo>
                <a:cubicBezTo>
                  <a:pt x="4408405" y="1786026"/>
                  <a:pt x="4406275" y="1789092"/>
                  <a:pt x="4403746" y="1791754"/>
                </a:cubicBezTo>
                <a:cubicBezTo>
                  <a:pt x="4401083" y="1794418"/>
                  <a:pt x="4398022" y="1796542"/>
                  <a:pt x="4394428" y="1798008"/>
                </a:cubicBezTo>
                <a:cubicBezTo>
                  <a:pt x="4390834" y="1799470"/>
                  <a:pt x="4386973" y="1800269"/>
                  <a:pt x="4382713" y="1800269"/>
                </a:cubicBezTo>
                <a:cubicBezTo>
                  <a:pt x="4373661" y="1800269"/>
                  <a:pt x="4366473" y="1797340"/>
                  <a:pt x="4360881" y="1791754"/>
                </a:cubicBezTo>
                <a:cubicBezTo>
                  <a:pt x="4355290" y="1786162"/>
                  <a:pt x="4352495" y="1779105"/>
                  <a:pt x="4352495" y="1770584"/>
                </a:cubicBezTo>
                <a:cubicBezTo>
                  <a:pt x="4352495" y="1762330"/>
                  <a:pt x="4355290" y="1755282"/>
                  <a:pt x="4360881" y="1749560"/>
                </a:cubicBezTo>
                <a:cubicBezTo>
                  <a:pt x="4366473" y="1743829"/>
                  <a:pt x="4373661" y="1740905"/>
                  <a:pt x="4382713" y="1740905"/>
                </a:cubicBezTo>
                <a:close/>
                <a:moveTo>
                  <a:pt x="4165068" y="1740905"/>
                </a:moveTo>
                <a:cubicBezTo>
                  <a:pt x="4169327" y="1740905"/>
                  <a:pt x="4173188" y="1741701"/>
                  <a:pt x="4176782" y="1743568"/>
                </a:cubicBezTo>
                <a:cubicBezTo>
                  <a:pt x="4180509" y="1745164"/>
                  <a:pt x="4183571" y="1747294"/>
                  <a:pt x="4186100" y="1749957"/>
                </a:cubicBezTo>
                <a:cubicBezTo>
                  <a:pt x="4188629" y="1752479"/>
                  <a:pt x="4190759" y="1755679"/>
                  <a:pt x="4192223" y="1759266"/>
                </a:cubicBezTo>
                <a:cubicBezTo>
                  <a:pt x="4193688" y="1762870"/>
                  <a:pt x="4194486" y="1766725"/>
                  <a:pt x="4194486" y="1770725"/>
                </a:cubicBezTo>
                <a:cubicBezTo>
                  <a:pt x="4194486" y="1774853"/>
                  <a:pt x="4193688" y="1778840"/>
                  <a:pt x="4192223" y="1782434"/>
                </a:cubicBezTo>
                <a:cubicBezTo>
                  <a:pt x="4190759" y="1786026"/>
                  <a:pt x="4188629" y="1789092"/>
                  <a:pt x="4186100" y="1791754"/>
                </a:cubicBezTo>
                <a:cubicBezTo>
                  <a:pt x="4183438" y="1794418"/>
                  <a:pt x="4180376" y="1796542"/>
                  <a:pt x="4176782" y="1798008"/>
                </a:cubicBezTo>
                <a:cubicBezTo>
                  <a:pt x="4173188" y="1799470"/>
                  <a:pt x="4169327" y="1800269"/>
                  <a:pt x="4165068" y="1800269"/>
                </a:cubicBezTo>
                <a:cubicBezTo>
                  <a:pt x="4156015" y="1800269"/>
                  <a:pt x="4148827" y="1797340"/>
                  <a:pt x="4143235" y="1791754"/>
                </a:cubicBezTo>
                <a:cubicBezTo>
                  <a:pt x="4137645" y="1786162"/>
                  <a:pt x="4134849" y="1779105"/>
                  <a:pt x="4134849" y="1770584"/>
                </a:cubicBezTo>
                <a:cubicBezTo>
                  <a:pt x="4134849" y="1762330"/>
                  <a:pt x="4137645" y="1755282"/>
                  <a:pt x="4143235" y="1749560"/>
                </a:cubicBezTo>
                <a:cubicBezTo>
                  <a:pt x="4148827" y="1743829"/>
                  <a:pt x="4156015" y="1740905"/>
                  <a:pt x="4165068" y="1740905"/>
                </a:cubicBezTo>
                <a:close/>
                <a:moveTo>
                  <a:pt x="3947524" y="1740905"/>
                </a:moveTo>
                <a:cubicBezTo>
                  <a:pt x="3951784" y="1740905"/>
                  <a:pt x="3955643" y="1741701"/>
                  <a:pt x="3959239" y="1743568"/>
                </a:cubicBezTo>
                <a:cubicBezTo>
                  <a:pt x="3962967" y="1745164"/>
                  <a:pt x="3966028" y="1747294"/>
                  <a:pt x="3968557" y="1749957"/>
                </a:cubicBezTo>
                <a:cubicBezTo>
                  <a:pt x="3971087" y="1752479"/>
                  <a:pt x="3973217" y="1755679"/>
                  <a:pt x="3974681" y="1759266"/>
                </a:cubicBezTo>
                <a:cubicBezTo>
                  <a:pt x="3976145" y="1762870"/>
                  <a:pt x="3976944" y="1766725"/>
                  <a:pt x="3976944" y="1770725"/>
                </a:cubicBezTo>
                <a:cubicBezTo>
                  <a:pt x="3976944" y="1774853"/>
                  <a:pt x="3976145" y="1778840"/>
                  <a:pt x="3974681" y="1782434"/>
                </a:cubicBezTo>
                <a:cubicBezTo>
                  <a:pt x="3973217" y="1786026"/>
                  <a:pt x="3971087" y="1789092"/>
                  <a:pt x="3968557" y="1791754"/>
                </a:cubicBezTo>
                <a:cubicBezTo>
                  <a:pt x="3965895" y="1794418"/>
                  <a:pt x="3962833" y="1796542"/>
                  <a:pt x="3959239" y="1798008"/>
                </a:cubicBezTo>
                <a:cubicBezTo>
                  <a:pt x="3955643" y="1799470"/>
                  <a:pt x="3951784" y="1800269"/>
                  <a:pt x="3947524" y="1800269"/>
                </a:cubicBezTo>
                <a:cubicBezTo>
                  <a:pt x="3938471" y="1800269"/>
                  <a:pt x="3931283" y="1797340"/>
                  <a:pt x="3925691" y="1791754"/>
                </a:cubicBezTo>
                <a:cubicBezTo>
                  <a:pt x="3920100" y="1786162"/>
                  <a:pt x="3917305" y="1779105"/>
                  <a:pt x="3917305" y="1770584"/>
                </a:cubicBezTo>
                <a:cubicBezTo>
                  <a:pt x="3917305" y="1762330"/>
                  <a:pt x="3920100" y="1755282"/>
                  <a:pt x="3925691" y="1749560"/>
                </a:cubicBezTo>
                <a:cubicBezTo>
                  <a:pt x="3931283" y="1743829"/>
                  <a:pt x="3938471" y="1740905"/>
                  <a:pt x="3947524" y="1740905"/>
                </a:cubicBezTo>
                <a:close/>
                <a:moveTo>
                  <a:pt x="3729873" y="1740905"/>
                </a:moveTo>
                <a:cubicBezTo>
                  <a:pt x="3734134" y="1740905"/>
                  <a:pt x="3738126" y="1741701"/>
                  <a:pt x="3741588" y="1743568"/>
                </a:cubicBezTo>
                <a:cubicBezTo>
                  <a:pt x="3745182" y="1745164"/>
                  <a:pt x="3748378" y="1747294"/>
                  <a:pt x="3750907" y="1749957"/>
                </a:cubicBezTo>
                <a:cubicBezTo>
                  <a:pt x="3753436" y="1752479"/>
                  <a:pt x="3755565" y="1755679"/>
                  <a:pt x="3757029" y="1759266"/>
                </a:cubicBezTo>
                <a:cubicBezTo>
                  <a:pt x="3758493" y="1762870"/>
                  <a:pt x="3759292" y="1766725"/>
                  <a:pt x="3759292" y="1770725"/>
                </a:cubicBezTo>
                <a:cubicBezTo>
                  <a:pt x="3759292" y="1774853"/>
                  <a:pt x="3758493" y="1778840"/>
                  <a:pt x="3757029" y="1782434"/>
                </a:cubicBezTo>
                <a:cubicBezTo>
                  <a:pt x="3755565" y="1786026"/>
                  <a:pt x="3753436" y="1789092"/>
                  <a:pt x="3750907" y="1791754"/>
                </a:cubicBezTo>
                <a:cubicBezTo>
                  <a:pt x="3748244" y="1794418"/>
                  <a:pt x="3745182" y="1796542"/>
                  <a:pt x="3741588" y="1798008"/>
                </a:cubicBezTo>
                <a:cubicBezTo>
                  <a:pt x="3737995" y="1799470"/>
                  <a:pt x="3734134" y="1800269"/>
                  <a:pt x="3729873" y="1800269"/>
                </a:cubicBezTo>
                <a:cubicBezTo>
                  <a:pt x="3720821" y="1800269"/>
                  <a:pt x="3713633" y="1797340"/>
                  <a:pt x="3708039" y="1791754"/>
                </a:cubicBezTo>
                <a:cubicBezTo>
                  <a:pt x="3702447" y="1786162"/>
                  <a:pt x="3699653" y="1779105"/>
                  <a:pt x="3699653" y="1770584"/>
                </a:cubicBezTo>
                <a:cubicBezTo>
                  <a:pt x="3699653" y="1762330"/>
                  <a:pt x="3702447" y="1755282"/>
                  <a:pt x="3708039" y="1749560"/>
                </a:cubicBezTo>
                <a:cubicBezTo>
                  <a:pt x="3713633" y="1743829"/>
                  <a:pt x="3720821" y="1740905"/>
                  <a:pt x="3729873" y="1740905"/>
                </a:cubicBezTo>
                <a:close/>
                <a:moveTo>
                  <a:pt x="3512223" y="1740905"/>
                </a:moveTo>
                <a:cubicBezTo>
                  <a:pt x="3516483" y="1740905"/>
                  <a:pt x="3520476" y="1741701"/>
                  <a:pt x="3523938" y="1743568"/>
                </a:cubicBezTo>
                <a:cubicBezTo>
                  <a:pt x="3527532" y="1745164"/>
                  <a:pt x="3530727" y="1747294"/>
                  <a:pt x="3533256" y="1749957"/>
                </a:cubicBezTo>
                <a:cubicBezTo>
                  <a:pt x="3535785" y="1752479"/>
                  <a:pt x="3537916" y="1755679"/>
                  <a:pt x="3539380" y="1759266"/>
                </a:cubicBezTo>
                <a:cubicBezTo>
                  <a:pt x="3540844" y="1762870"/>
                  <a:pt x="3541643" y="1766725"/>
                  <a:pt x="3541643" y="1770725"/>
                </a:cubicBezTo>
                <a:cubicBezTo>
                  <a:pt x="3541643" y="1774853"/>
                  <a:pt x="3540844" y="1778840"/>
                  <a:pt x="3539380" y="1782434"/>
                </a:cubicBezTo>
                <a:cubicBezTo>
                  <a:pt x="3537916" y="1786026"/>
                  <a:pt x="3535785" y="1789092"/>
                  <a:pt x="3533256" y="1791754"/>
                </a:cubicBezTo>
                <a:cubicBezTo>
                  <a:pt x="3530593" y="1794418"/>
                  <a:pt x="3527532" y="1796542"/>
                  <a:pt x="3523938" y="1798008"/>
                </a:cubicBezTo>
                <a:cubicBezTo>
                  <a:pt x="3520344" y="1799470"/>
                  <a:pt x="3516483" y="1800269"/>
                  <a:pt x="3512223" y="1800269"/>
                </a:cubicBezTo>
                <a:cubicBezTo>
                  <a:pt x="3503170" y="1800269"/>
                  <a:pt x="3495981" y="1797340"/>
                  <a:pt x="3490390" y="1791754"/>
                </a:cubicBezTo>
                <a:cubicBezTo>
                  <a:pt x="3484799" y="1786162"/>
                  <a:pt x="3482003" y="1779105"/>
                  <a:pt x="3482003" y="1770584"/>
                </a:cubicBezTo>
                <a:cubicBezTo>
                  <a:pt x="3482003" y="1762330"/>
                  <a:pt x="3484799" y="1755282"/>
                  <a:pt x="3490390" y="1749560"/>
                </a:cubicBezTo>
                <a:cubicBezTo>
                  <a:pt x="3495981" y="1743829"/>
                  <a:pt x="3503170" y="1740905"/>
                  <a:pt x="3512223" y="1740905"/>
                </a:cubicBezTo>
                <a:close/>
                <a:moveTo>
                  <a:pt x="3294706" y="1740905"/>
                </a:moveTo>
                <a:cubicBezTo>
                  <a:pt x="3298833" y="1740905"/>
                  <a:pt x="3302827" y="1741701"/>
                  <a:pt x="3306421" y="1743568"/>
                </a:cubicBezTo>
                <a:cubicBezTo>
                  <a:pt x="3310148" y="1745164"/>
                  <a:pt x="3313210" y="1747294"/>
                  <a:pt x="3315739" y="1749957"/>
                </a:cubicBezTo>
                <a:cubicBezTo>
                  <a:pt x="3318268" y="1752479"/>
                  <a:pt x="3320399" y="1755679"/>
                  <a:pt x="3321863" y="1759266"/>
                </a:cubicBezTo>
                <a:cubicBezTo>
                  <a:pt x="3323327" y="1762870"/>
                  <a:pt x="3324126" y="1766725"/>
                  <a:pt x="3324126" y="1770725"/>
                </a:cubicBezTo>
                <a:cubicBezTo>
                  <a:pt x="3324126" y="1774853"/>
                  <a:pt x="3323327" y="1778840"/>
                  <a:pt x="3321863" y="1782434"/>
                </a:cubicBezTo>
                <a:cubicBezTo>
                  <a:pt x="3320399" y="1786026"/>
                  <a:pt x="3318268" y="1789092"/>
                  <a:pt x="3315739" y="1791754"/>
                </a:cubicBezTo>
                <a:cubicBezTo>
                  <a:pt x="3313076" y="1794418"/>
                  <a:pt x="3310015" y="1796542"/>
                  <a:pt x="3306421" y="1798008"/>
                </a:cubicBezTo>
                <a:cubicBezTo>
                  <a:pt x="3302827" y="1799470"/>
                  <a:pt x="3298966" y="1800269"/>
                  <a:pt x="3294706" y="1800269"/>
                </a:cubicBezTo>
                <a:cubicBezTo>
                  <a:pt x="3285653" y="1800269"/>
                  <a:pt x="3278464" y="1797340"/>
                  <a:pt x="3272872" y="1791754"/>
                </a:cubicBezTo>
                <a:cubicBezTo>
                  <a:pt x="3267281" y="1786162"/>
                  <a:pt x="3264486" y="1779105"/>
                  <a:pt x="3264486" y="1770584"/>
                </a:cubicBezTo>
                <a:cubicBezTo>
                  <a:pt x="3264486" y="1762330"/>
                  <a:pt x="3267281" y="1755282"/>
                  <a:pt x="3272872" y="1749560"/>
                </a:cubicBezTo>
                <a:cubicBezTo>
                  <a:pt x="3278464" y="1743829"/>
                  <a:pt x="3285653" y="1740905"/>
                  <a:pt x="3294706" y="1740905"/>
                </a:cubicBezTo>
                <a:close/>
                <a:moveTo>
                  <a:pt x="3077055" y="1740905"/>
                </a:moveTo>
                <a:cubicBezTo>
                  <a:pt x="3081183" y="1740905"/>
                  <a:pt x="3085177" y="1741701"/>
                  <a:pt x="3088771" y="1743568"/>
                </a:cubicBezTo>
                <a:cubicBezTo>
                  <a:pt x="3092365" y="1745164"/>
                  <a:pt x="3095560" y="1747294"/>
                  <a:pt x="3098089" y="1749957"/>
                </a:cubicBezTo>
                <a:cubicBezTo>
                  <a:pt x="3100618" y="1752479"/>
                  <a:pt x="3102748" y="1755679"/>
                  <a:pt x="3104212" y="1759266"/>
                </a:cubicBezTo>
                <a:cubicBezTo>
                  <a:pt x="3105677" y="1762870"/>
                  <a:pt x="3106475" y="1766725"/>
                  <a:pt x="3106475" y="1770725"/>
                </a:cubicBezTo>
                <a:cubicBezTo>
                  <a:pt x="3106475" y="1774853"/>
                  <a:pt x="3105677" y="1778840"/>
                  <a:pt x="3104212" y="1782434"/>
                </a:cubicBezTo>
                <a:cubicBezTo>
                  <a:pt x="3102748" y="1786026"/>
                  <a:pt x="3100618" y="1789092"/>
                  <a:pt x="3098089" y="1791754"/>
                </a:cubicBezTo>
                <a:cubicBezTo>
                  <a:pt x="3095426" y="1794418"/>
                  <a:pt x="3092365" y="1796542"/>
                  <a:pt x="3088771" y="1798008"/>
                </a:cubicBezTo>
                <a:cubicBezTo>
                  <a:pt x="3085177" y="1799470"/>
                  <a:pt x="3081316" y="1800269"/>
                  <a:pt x="3077055" y="1800269"/>
                </a:cubicBezTo>
                <a:cubicBezTo>
                  <a:pt x="3068136" y="1800269"/>
                  <a:pt x="3060814" y="1797340"/>
                  <a:pt x="3055222" y="1791754"/>
                </a:cubicBezTo>
                <a:cubicBezTo>
                  <a:pt x="3049631" y="1786162"/>
                  <a:pt x="3046836" y="1779105"/>
                  <a:pt x="3046836" y="1770584"/>
                </a:cubicBezTo>
                <a:cubicBezTo>
                  <a:pt x="3046836" y="1762330"/>
                  <a:pt x="3049631" y="1755282"/>
                  <a:pt x="3055222" y="1749560"/>
                </a:cubicBezTo>
                <a:cubicBezTo>
                  <a:pt x="3060814" y="1743829"/>
                  <a:pt x="3068003" y="1740905"/>
                  <a:pt x="3077055" y="1740905"/>
                </a:cubicBezTo>
                <a:close/>
                <a:moveTo>
                  <a:pt x="2859406" y="1740905"/>
                </a:moveTo>
                <a:cubicBezTo>
                  <a:pt x="2863666" y="1740905"/>
                  <a:pt x="2867527" y="1741701"/>
                  <a:pt x="2871254" y="1743568"/>
                </a:cubicBezTo>
                <a:cubicBezTo>
                  <a:pt x="2874981" y="1745164"/>
                  <a:pt x="2878043" y="1747294"/>
                  <a:pt x="2880572" y="1749957"/>
                </a:cubicBezTo>
                <a:cubicBezTo>
                  <a:pt x="2883234" y="1752479"/>
                  <a:pt x="2885231" y="1755679"/>
                  <a:pt x="2886695" y="1759266"/>
                </a:cubicBezTo>
                <a:cubicBezTo>
                  <a:pt x="2888160" y="1762870"/>
                  <a:pt x="2888958" y="1766725"/>
                  <a:pt x="2888958" y="1770725"/>
                </a:cubicBezTo>
                <a:cubicBezTo>
                  <a:pt x="2888958" y="1774853"/>
                  <a:pt x="2888160" y="1778840"/>
                  <a:pt x="2886695" y="1782434"/>
                </a:cubicBezTo>
                <a:cubicBezTo>
                  <a:pt x="2885231" y="1786026"/>
                  <a:pt x="2883101" y="1789092"/>
                  <a:pt x="2880572" y="1791754"/>
                </a:cubicBezTo>
                <a:cubicBezTo>
                  <a:pt x="2877910" y="1794418"/>
                  <a:pt x="2874847" y="1796542"/>
                  <a:pt x="2871254" y="1798008"/>
                </a:cubicBezTo>
                <a:cubicBezTo>
                  <a:pt x="2867527" y="1799470"/>
                  <a:pt x="2863666" y="1800269"/>
                  <a:pt x="2859406" y="1800269"/>
                </a:cubicBezTo>
                <a:cubicBezTo>
                  <a:pt x="2850488" y="1800269"/>
                  <a:pt x="2843163" y="1797340"/>
                  <a:pt x="2837573" y="1791754"/>
                </a:cubicBezTo>
                <a:cubicBezTo>
                  <a:pt x="2831982" y="1786162"/>
                  <a:pt x="2829186" y="1779105"/>
                  <a:pt x="2829186" y="1770584"/>
                </a:cubicBezTo>
                <a:cubicBezTo>
                  <a:pt x="2829186" y="1762330"/>
                  <a:pt x="2831982" y="1755282"/>
                  <a:pt x="2837573" y="1749560"/>
                </a:cubicBezTo>
                <a:cubicBezTo>
                  <a:pt x="2843163" y="1743829"/>
                  <a:pt x="2850354" y="1740905"/>
                  <a:pt x="2859406" y="1740905"/>
                </a:cubicBezTo>
                <a:close/>
                <a:moveTo>
                  <a:pt x="2641755" y="1740905"/>
                </a:moveTo>
                <a:cubicBezTo>
                  <a:pt x="2646016" y="1740905"/>
                  <a:pt x="2649875" y="1741701"/>
                  <a:pt x="2653471" y="1743568"/>
                </a:cubicBezTo>
                <a:cubicBezTo>
                  <a:pt x="2657198" y="1745164"/>
                  <a:pt x="2660260" y="1747294"/>
                  <a:pt x="2662789" y="1749957"/>
                </a:cubicBezTo>
                <a:cubicBezTo>
                  <a:pt x="2665450" y="1752479"/>
                  <a:pt x="2667448" y="1755679"/>
                  <a:pt x="2668912" y="1759266"/>
                </a:cubicBezTo>
                <a:cubicBezTo>
                  <a:pt x="2670376" y="1762870"/>
                  <a:pt x="2671175" y="1766725"/>
                  <a:pt x="2671175" y="1770725"/>
                </a:cubicBezTo>
                <a:cubicBezTo>
                  <a:pt x="2671175" y="1774853"/>
                  <a:pt x="2670376" y="1778840"/>
                  <a:pt x="2668912" y="1782434"/>
                </a:cubicBezTo>
                <a:cubicBezTo>
                  <a:pt x="2667448" y="1786026"/>
                  <a:pt x="2665318" y="1789092"/>
                  <a:pt x="2662789" y="1791754"/>
                </a:cubicBezTo>
                <a:cubicBezTo>
                  <a:pt x="2660260" y="1794418"/>
                  <a:pt x="2657064" y="1796542"/>
                  <a:pt x="2653471" y="1798008"/>
                </a:cubicBezTo>
                <a:cubicBezTo>
                  <a:pt x="2649875" y="1799470"/>
                  <a:pt x="2646016" y="1800269"/>
                  <a:pt x="2641755" y="1800269"/>
                </a:cubicBezTo>
                <a:cubicBezTo>
                  <a:pt x="2632836" y="1800269"/>
                  <a:pt x="2625515" y="1797340"/>
                  <a:pt x="2619923" y="1791754"/>
                </a:cubicBezTo>
                <a:cubicBezTo>
                  <a:pt x="2614333" y="1786162"/>
                  <a:pt x="2611536" y="1779105"/>
                  <a:pt x="2611536" y="1770584"/>
                </a:cubicBezTo>
                <a:cubicBezTo>
                  <a:pt x="2611536" y="1762330"/>
                  <a:pt x="2614333" y="1755282"/>
                  <a:pt x="2619923" y="1749560"/>
                </a:cubicBezTo>
                <a:cubicBezTo>
                  <a:pt x="2625515" y="1743829"/>
                  <a:pt x="2632703" y="1740905"/>
                  <a:pt x="2641755" y="1740905"/>
                </a:cubicBezTo>
                <a:close/>
                <a:moveTo>
                  <a:pt x="2424105" y="1740905"/>
                </a:moveTo>
                <a:cubicBezTo>
                  <a:pt x="2428365" y="1740905"/>
                  <a:pt x="2432359" y="1741701"/>
                  <a:pt x="2435820" y="1743568"/>
                </a:cubicBezTo>
                <a:cubicBezTo>
                  <a:pt x="2439547" y="1745164"/>
                  <a:pt x="2442609" y="1747294"/>
                  <a:pt x="2445138" y="1749957"/>
                </a:cubicBezTo>
                <a:cubicBezTo>
                  <a:pt x="2447801" y="1752479"/>
                  <a:pt x="2449798" y="1755679"/>
                  <a:pt x="2451262" y="1759266"/>
                </a:cubicBezTo>
                <a:cubicBezTo>
                  <a:pt x="2452725" y="1762870"/>
                  <a:pt x="2453524" y="1766725"/>
                  <a:pt x="2453524" y="1770725"/>
                </a:cubicBezTo>
                <a:cubicBezTo>
                  <a:pt x="2453524" y="1774853"/>
                  <a:pt x="2452725" y="1778840"/>
                  <a:pt x="2451262" y="1782434"/>
                </a:cubicBezTo>
                <a:cubicBezTo>
                  <a:pt x="2449798" y="1786026"/>
                  <a:pt x="2447667" y="1789092"/>
                  <a:pt x="2445138" y="1791754"/>
                </a:cubicBezTo>
                <a:cubicBezTo>
                  <a:pt x="2442609" y="1794418"/>
                  <a:pt x="2439414" y="1796542"/>
                  <a:pt x="2435820" y="1798008"/>
                </a:cubicBezTo>
                <a:cubicBezTo>
                  <a:pt x="2432226" y="1799470"/>
                  <a:pt x="2428365" y="1800269"/>
                  <a:pt x="2424105" y="1800269"/>
                </a:cubicBezTo>
                <a:cubicBezTo>
                  <a:pt x="2415187" y="1800269"/>
                  <a:pt x="2407864" y="1797340"/>
                  <a:pt x="2402273" y="1791754"/>
                </a:cubicBezTo>
                <a:cubicBezTo>
                  <a:pt x="2396682" y="1786162"/>
                  <a:pt x="2393886" y="1779105"/>
                  <a:pt x="2393886" y="1770584"/>
                </a:cubicBezTo>
                <a:cubicBezTo>
                  <a:pt x="2393886" y="1762330"/>
                  <a:pt x="2396682" y="1755282"/>
                  <a:pt x="2402273" y="1749560"/>
                </a:cubicBezTo>
                <a:cubicBezTo>
                  <a:pt x="2407864" y="1743829"/>
                  <a:pt x="2415053" y="1740905"/>
                  <a:pt x="2424105" y="1740905"/>
                </a:cubicBezTo>
                <a:close/>
                <a:moveTo>
                  <a:pt x="2206455" y="1740905"/>
                </a:moveTo>
                <a:cubicBezTo>
                  <a:pt x="2210715" y="1740905"/>
                  <a:pt x="2214709" y="1741701"/>
                  <a:pt x="2218170" y="1743568"/>
                </a:cubicBezTo>
                <a:cubicBezTo>
                  <a:pt x="2221897" y="1745164"/>
                  <a:pt x="2224958" y="1747294"/>
                  <a:pt x="2227488" y="1749957"/>
                </a:cubicBezTo>
                <a:cubicBezTo>
                  <a:pt x="2230150" y="1752479"/>
                  <a:pt x="2232147" y="1755679"/>
                  <a:pt x="2233611" y="1759266"/>
                </a:cubicBezTo>
                <a:cubicBezTo>
                  <a:pt x="2235075" y="1762870"/>
                  <a:pt x="2235874" y="1766725"/>
                  <a:pt x="2235874" y="1770725"/>
                </a:cubicBezTo>
                <a:cubicBezTo>
                  <a:pt x="2235874" y="1774853"/>
                  <a:pt x="2235075" y="1778840"/>
                  <a:pt x="2233611" y="1782434"/>
                </a:cubicBezTo>
                <a:cubicBezTo>
                  <a:pt x="2232147" y="1786026"/>
                  <a:pt x="2230017" y="1789092"/>
                  <a:pt x="2227488" y="1791754"/>
                </a:cubicBezTo>
                <a:cubicBezTo>
                  <a:pt x="2224958" y="1794418"/>
                  <a:pt x="2221764" y="1796542"/>
                  <a:pt x="2218170" y="1798008"/>
                </a:cubicBezTo>
                <a:cubicBezTo>
                  <a:pt x="2214575" y="1799470"/>
                  <a:pt x="2210715" y="1800269"/>
                  <a:pt x="2206455" y="1800269"/>
                </a:cubicBezTo>
                <a:cubicBezTo>
                  <a:pt x="2197402" y="1800269"/>
                  <a:pt x="2190214" y="1797340"/>
                  <a:pt x="2184623" y="1791754"/>
                </a:cubicBezTo>
                <a:cubicBezTo>
                  <a:pt x="2179032" y="1786162"/>
                  <a:pt x="2176236" y="1779105"/>
                  <a:pt x="2176236" y="1770584"/>
                </a:cubicBezTo>
                <a:cubicBezTo>
                  <a:pt x="2176236" y="1762330"/>
                  <a:pt x="2179032" y="1755282"/>
                  <a:pt x="2184623" y="1749560"/>
                </a:cubicBezTo>
                <a:cubicBezTo>
                  <a:pt x="2190214" y="1743829"/>
                  <a:pt x="2197402" y="1740905"/>
                  <a:pt x="2206455" y="1740905"/>
                </a:cubicBezTo>
                <a:close/>
                <a:moveTo>
                  <a:pt x="1988937" y="1740905"/>
                </a:moveTo>
                <a:cubicBezTo>
                  <a:pt x="1993064" y="1740905"/>
                  <a:pt x="1997059" y="1741701"/>
                  <a:pt x="2000653" y="1743568"/>
                </a:cubicBezTo>
                <a:cubicBezTo>
                  <a:pt x="2004380" y="1745164"/>
                  <a:pt x="2007442" y="1747294"/>
                  <a:pt x="2009971" y="1749957"/>
                </a:cubicBezTo>
                <a:cubicBezTo>
                  <a:pt x="2012633" y="1752479"/>
                  <a:pt x="2014630" y="1755679"/>
                  <a:pt x="2016094" y="1759266"/>
                </a:cubicBezTo>
                <a:cubicBezTo>
                  <a:pt x="2017558" y="1762870"/>
                  <a:pt x="2018357" y="1766725"/>
                  <a:pt x="2018357" y="1770725"/>
                </a:cubicBezTo>
                <a:cubicBezTo>
                  <a:pt x="2018357" y="1774853"/>
                  <a:pt x="2017558" y="1778840"/>
                  <a:pt x="2016094" y="1782434"/>
                </a:cubicBezTo>
                <a:cubicBezTo>
                  <a:pt x="2014630" y="1786026"/>
                  <a:pt x="2012500" y="1789092"/>
                  <a:pt x="2009971" y="1791754"/>
                </a:cubicBezTo>
                <a:cubicBezTo>
                  <a:pt x="2007442" y="1794418"/>
                  <a:pt x="2004246" y="1796542"/>
                  <a:pt x="2000653" y="1798008"/>
                </a:cubicBezTo>
                <a:cubicBezTo>
                  <a:pt x="1997059" y="1799470"/>
                  <a:pt x="1993197" y="1800269"/>
                  <a:pt x="1988937" y="1800269"/>
                </a:cubicBezTo>
                <a:cubicBezTo>
                  <a:pt x="1979886" y="1800269"/>
                  <a:pt x="1972697" y="1797340"/>
                  <a:pt x="1967106" y="1791754"/>
                </a:cubicBezTo>
                <a:cubicBezTo>
                  <a:pt x="1961516" y="1786162"/>
                  <a:pt x="1958720" y="1779105"/>
                  <a:pt x="1958720" y="1770584"/>
                </a:cubicBezTo>
                <a:cubicBezTo>
                  <a:pt x="1958720" y="1762330"/>
                  <a:pt x="1961516" y="1755282"/>
                  <a:pt x="1967106" y="1749560"/>
                </a:cubicBezTo>
                <a:cubicBezTo>
                  <a:pt x="1972697" y="1743829"/>
                  <a:pt x="1979886" y="1740905"/>
                  <a:pt x="1988937" y="1740905"/>
                </a:cubicBezTo>
                <a:close/>
                <a:moveTo>
                  <a:pt x="1771296" y="1740905"/>
                </a:moveTo>
                <a:cubicBezTo>
                  <a:pt x="1775556" y="1740905"/>
                  <a:pt x="1779416" y="1741701"/>
                  <a:pt x="1783011" y="1743568"/>
                </a:cubicBezTo>
                <a:cubicBezTo>
                  <a:pt x="1786738" y="1745164"/>
                  <a:pt x="1789800" y="1747294"/>
                  <a:pt x="1792329" y="1749957"/>
                </a:cubicBezTo>
                <a:cubicBezTo>
                  <a:pt x="1794991" y="1752479"/>
                  <a:pt x="1796988" y="1755679"/>
                  <a:pt x="1798452" y="1759266"/>
                </a:cubicBezTo>
                <a:cubicBezTo>
                  <a:pt x="1799916" y="1762870"/>
                  <a:pt x="1800715" y="1766725"/>
                  <a:pt x="1800715" y="1770725"/>
                </a:cubicBezTo>
                <a:cubicBezTo>
                  <a:pt x="1800715" y="1774853"/>
                  <a:pt x="1799916" y="1778840"/>
                  <a:pt x="1798452" y="1782434"/>
                </a:cubicBezTo>
                <a:cubicBezTo>
                  <a:pt x="1796988" y="1786026"/>
                  <a:pt x="1794858" y="1789092"/>
                  <a:pt x="1792329" y="1791754"/>
                </a:cubicBezTo>
                <a:cubicBezTo>
                  <a:pt x="1789666" y="1794418"/>
                  <a:pt x="1786605" y="1796542"/>
                  <a:pt x="1783011" y="1798008"/>
                </a:cubicBezTo>
                <a:cubicBezTo>
                  <a:pt x="1779416" y="1799470"/>
                  <a:pt x="1775556" y="1800269"/>
                  <a:pt x="1771296" y="1800269"/>
                </a:cubicBezTo>
                <a:cubicBezTo>
                  <a:pt x="1762377" y="1800269"/>
                  <a:pt x="1755056" y="1797340"/>
                  <a:pt x="1749466" y="1791754"/>
                </a:cubicBezTo>
                <a:cubicBezTo>
                  <a:pt x="1743874" y="1786162"/>
                  <a:pt x="1741080" y="1779105"/>
                  <a:pt x="1741080" y="1770584"/>
                </a:cubicBezTo>
                <a:cubicBezTo>
                  <a:pt x="1741080" y="1762330"/>
                  <a:pt x="1743874" y="1755282"/>
                  <a:pt x="1749466" y="1749560"/>
                </a:cubicBezTo>
                <a:cubicBezTo>
                  <a:pt x="1755056" y="1743829"/>
                  <a:pt x="1762244" y="1740905"/>
                  <a:pt x="1771296" y="1740905"/>
                </a:cubicBezTo>
                <a:close/>
                <a:moveTo>
                  <a:pt x="1553653" y="1740905"/>
                </a:moveTo>
                <a:cubicBezTo>
                  <a:pt x="1557913" y="1740905"/>
                  <a:pt x="1561774" y="1741701"/>
                  <a:pt x="1565368" y="1743568"/>
                </a:cubicBezTo>
                <a:cubicBezTo>
                  <a:pt x="1568963" y="1745164"/>
                  <a:pt x="1572157" y="1747294"/>
                  <a:pt x="1574687" y="1749957"/>
                </a:cubicBezTo>
                <a:cubicBezTo>
                  <a:pt x="1577349" y="1752479"/>
                  <a:pt x="1579346" y="1755679"/>
                  <a:pt x="1580810" y="1759266"/>
                </a:cubicBezTo>
                <a:cubicBezTo>
                  <a:pt x="1582274" y="1762870"/>
                  <a:pt x="1583073" y="1766725"/>
                  <a:pt x="1583073" y="1770725"/>
                </a:cubicBezTo>
                <a:cubicBezTo>
                  <a:pt x="1583073" y="1774853"/>
                  <a:pt x="1582274" y="1778840"/>
                  <a:pt x="1580810" y="1782434"/>
                </a:cubicBezTo>
                <a:cubicBezTo>
                  <a:pt x="1579346" y="1786026"/>
                  <a:pt x="1577215" y="1789092"/>
                  <a:pt x="1574687" y="1791754"/>
                </a:cubicBezTo>
                <a:cubicBezTo>
                  <a:pt x="1572024" y="1794418"/>
                  <a:pt x="1568963" y="1796542"/>
                  <a:pt x="1565368" y="1798008"/>
                </a:cubicBezTo>
                <a:cubicBezTo>
                  <a:pt x="1561774" y="1799470"/>
                  <a:pt x="1557913" y="1800269"/>
                  <a:pt x="1553653" y="1800269"/>
                </a:cubicBezTo>
                <a:cubicBezTo>
                  <a:pt x="1544735" y="1800269"/>
                  <a:pt x="1537413" y="1797340"/>
                  <a:pt x="1531822" y="1791754"/>
                </a:cubicBezTo>
                <a:cubicBezTo>
                  <a:pt x="1526233" y="1786162"/>
                  <a:pt x="1523436" y="1779105"/>
                  <a:pt x="1523436" y="1770584"/>
                </a:cubicBezTo>
                <a:cubicBezTo>
                  <a:pt x="1523436" y="1762330"/>
                  <a:pt x="1526233" y="1755282"/>
                  <a:pt x="1531822" y="1749560"/>
                </a:cubicBezTo>
                <a:cubicBezTo>
                  <a:pt x="1537413" y="1743829"/>
                  <a:pt x="1544601" y="1740905"/>
                  <a:pt x="1553653" y="1740905"/>
                </a:cubicBezTo>
                <a:close/>
                <a:moveTo>
                  <a:pt x="1336008" y="1740905"/>
                </a:moveTo>
                <a:cubicBezTo>
                  <a:pt x="1340269" y="1740905"/>
                  <a:pt x="1344264" y="1741701"/>
                  <a:pt x="1347724" y="1743568"/>
                </a:cubicBezTo>
                <a:cubicBezTo>
                  <a:pt x="1351318" y="1745164"/>
                  <a:pt x="1354512" y="1747294"/>
                  <a:pt x="1357042" y="1749957"/>
                </a:cubicBezTo>
                <a:cubicBezTo>
                  <a:pt x="1359705" y="1752479"/>
                  <a:pt x="1361701" y="1755679"/>
                  <a:pt x="1363165" y="1759266"/>
                </a:cubicBezTo>
                <a:cubicBezTo>
                  <a:pt x="1364630" y="1762870"/>
                  <a:pt x="1365428" y="1766725"/>
                  <a:pt x="1365428" y="1770725"/>
                </a:cubicBezTo>
                <a:cubicBezTo>
                  <a:pt x="1365428" y="1774853"/>
                  <a:pt x="1364630" y="1778840"/>
                  <a:pt x="1363165" y="1782434"/>
                </a:cubicBezTo>
                <a:cubicBezTo>
                  <a:pt x="1361701" y="1786026"/>
                  <a:pt x="1359571" y="1789092"/>
                  <a:pt x="1357042" y="1791754"/>
                </a:cubicBezTo>
                <a:cubicBezTo>
                  <a:pt x="1354378" y="1794418"/>
                  <a:pt x="1351318" y="1796542"/>
                  <a:pt x="1347724" y="1798008"/>
                </a:cubicBezTo>
                <a:cubicBezTo>
                  <a:pt x="1344129" y="1799470"/>
                  <a:pt x="1340269" y="1800269"/>
                  <a:pt x="1336008" y="1800269"/>
                </a:cubicBezTo>
                <a:cubicBezTo>
                  <a:pt x="1327089" y="1800269"/>
                  <a:pt x="1319768" y="1797340"/>
                  <a:pt x="1314177" y="1791754"/>
                </a:cubicBezTo>
                <a:cubicBezTo>
                  <a:pt x="1308586" y="1786162"/>
                  <a:pt x="1305792" y="1779105"/>
                  <a:pt x="1305792" y="1770584"/>
                </a:cubicBezTo>
                <a:cubicBezTo>
                  <a:pt x="1305792" y="1762330"/>
                  <a:pt x="1308586" y="1755282"/>
                  <a:pt x="1314177" y="1749560"/>
                </a:cubicBezTo>
                <a:cubicBezTo>
                  <a:pt x="1319768" y="1743829"/>
                  <a:pt x="1326957" y="1740905"/>
                  <a:pt x="1336008" y="1740905"/>
                </a:cubicBezTo>
                <a:close/>
                <a:moveTo>
                  <a:pt x="1118364" y="1740905"/>
                </a:moveTo>
                <a:cubicBezTo>
                  <a:pt x="1122624" y="1740905"/>
                  <a:pt x="1126619" y="1741701"/>
                  <a:pt x="1130080" y="1743568"/>
                </a:cubicBezTo>
                <a:cubicBezTo>
                  <a:pt x="1133807" y="1745164"/>
                  <a:pt x="1136869" y="1747294"/>
                  <a:pt x="1139397" y="1749957"/>
                </a:cubicBezTo>
                <a:cubicBezTo>
                  <a:pt x="1142059" y="1752479"/>
                  <a:pt x="1144055" y="1755679"/>
                  <a:pt x="1145519" y="1759266"/>
                </a:cubicBezTo>
                <a:cubicBezTo>
                  <a:pt x="1146984" y="1762870"/>
                  <a:pt x="1147782" y="1766725"/>
                  <a:pt x="1147782" y="1770725"/>
                </a:cubicBezTo>
                <a:cubicBezTo>
                  <a:pt x="1147782" y="1774853"/>
                  <a:pt x="1146984" y="1778840"/>
                  <a:pt x="1145519" y="1782434"/>
                </a:cubicBezTo>
                <a:cubicBezTo>
                  <a:pt x="1144055" y="1786026"/>
                  <a:pt x="1141926" y="1789092"/>
                  <a:pt x="1139397" y="1791754"/>
                </a:cubicBezTo>
                <a:cubicBezTo>
                  <a:pt x="1136869" y="1794418"/>
                  <a:pt x="1133674" y="1796542"/>
                  <a:pt x="1130080" y="1798008"/>
                </a:cubicBezTo>
                <a:cubicBezTo>
                  <a:pt x="1126484" y="1799470"/>
                  <a:pt x="1122624" y="1800269"/>
                  <a:pt x="1118364" y="1800269"/>
                </a:cubicBezTo>
                <a:cubicBezTo>
                  <a:pt x="1109445" y="1800269"/>
                  <a:pt x="1102122" y="1797340"/>
                  <a:pt x="1096531" y="1791754"/>
                </a:cubicBezTo>
                <a:cubicBezTo>
                  <a:pt x="1090941" y="1786162"/>
                  <a:pt x="1088146" y="1779105"/>
                  <a:pt x="1088146" y="1770584"/>
                </a:cubicBezTo>
                <a:cubicBezTo>
                  <a:pt x="1088146" y="1762330"/>
                  <a:pt x="1090941" y="1755282"/>
                  <a:pt x="1096531" y="1749560"/>
                </a:cubicBezTo>
                <a:cubicBezTo>
                  <a:pt x="1102122" y="1743829"/>
                  <a:pt x="1109311" y="1740905"/>
                  <a:pt x="1118364" y="1740905"/>
                </a:cubicBezTo>
                <a:close/>
                <a:moveTo>
                  <a:pt x="900852" y="1740905"/>
                </a:moveTo>
                <a:cubicBezTo>
                  <a:pt x="904979" y="1740905"/>
                  <a:pt x="908973" y="1741701"/>
                  <a:pt x="912567" y="1743568"/>
                </a:cubicBezTo>
                <a:cubicBezTo>
                  <a:pt x="916294" y="1745164"/>
                  <a:pt x="919356" y="1747294"/>
                  <a:pt x="921885" y="1749957"/>
                </a:cubicBezTo>
                <a:cubicBezTo>
                  <a:pt x="924547" y="1752479"/>
                  <a:pt x="926544" y="1755679"/>
                  <a:pt x="928008" y="1759266"/>
                </a:cubicBezTo>
                <a:cubicBezTo>
                  <a:pt x="929472" y="1762870"/>
                  <a:pt x="930271" y="1766725"/>
                  <a:pt x="930271" y="1770725"/>
                </a:cubicBezTo>
                <a:cubicBezTo>
                  <a:pt x="930271" y="1774853"/>
                  <a:pt x="929472" y="1778840"/>
                  <a:pt x="928008" y="1782434"/>
                </a:cubicBezTo>
                <a:cubicBezTo>
                  <a:pt x="926544" y="1786026"/>
                  <a:pt x="924414" y="1789092"/>
                  <a:pt x="921885" y="1791754"/>
                </a:cubicBezTo>
                <a:cubicBezTo>
                  <a:pt x="919356" y="1794418"/>
                  <a:pt x="916161" y="1796542"/>
                  <a:pt x="912567" y="1798008"/>
                </a:cubicBezTo>
                <a:cubicBezTo>
                  <a:pt x="908973" y="1799470"/>
                  <a:pt x="905112" y="1800269"/>
                  <a:pt x="900852" y="1800269"/>
                </a:cubicBezTo>
                <a:cubicBezTo>
                  <a:pt x="891933" y="1800269"/>
                  <a:pt x="884611" y="1797340"/>
                  <a:pt x="879021" y="1791754"/>
                </a:cubicBezTo>
                <a:cubicBezTo>
                  <a:pt x="873431" y="1786162"/>
                  <a:pt x="870635" y="1779105"/>
                  <a:pt x="870635" y="1770584"/>
                </a:cubicBezTo>
                <a:cubicBezTo>
                  <a:pt x="870635" y="1762330"/>
                  <a:pt x="873431" y="1755282"/>
                  <a:pt x="879021" y="1749560"/>
                </a:cubicBezTo>
                <a:cubicBezTo>
                  <a:pt x="884611" y="1743829"/>
                  <a:pt x="891800" y="1740905"/>
                  <a:pt x="900852" y="1740905"/>
                </a:cubicBezTo>
                <a:close/>
                <a:moveTo>
                  <a:pt x="683208" y="1740905"/>
                </a:moveTo>
                <a:cubicBezTo>
                  <a:pt x="687468" y="1740905"/>
                  <a:pt x="691329" y="1741701"/>
                  <a:pt x="694924" y="1743568"/>
                </a:cubicBezTo>
                <a:cubicBezTo>
                  <a:pt x="698651" y="1745164"/>
                  <a:pt x="701712" y="1747294"/>
                  <a:pt x="704241" y="1749957"/>
                </a:cubicBezTo>
                <a:cubicBezTo>
                  <a:pt x="706903" y="1752479"/>
                  <a:pt x="708901" y="1755679"/>
                  <a:pt x="710364" y="1759266"/>
                </a:cubicBezTo>
                <a:cubicBezTo>
                  <a:pt x="711829" y="1762870"/>
                  <a:pt x="712628" y="1766725"/>
                  <a:pt x="712628" y="1770725"/>
                </a:cubicBezTo>
                <a:cubicBezTo>
                  <a:pt x="712628" y="1774853"/>
                  <a:pt x="711829" y="1778840"/>
                  <a:pt x="710364" y="1782434"/>
                </a:cubicBezTo>
                <a:cubicBezTo>
                  <a:pt x="708901" y="1786026"/>
                  <a:pt x="706771" y="1789092"/>
                  <a:pt x="704241" y="1791754"/>
                </a:cubicBezTo>
                <a:cubicBezTo>
                  <a:pt x="701712" y="1794418"/>
                  <a:pt x="698518" y="1796542"/>
                  <a:pt x="694924" y="1798008"/>
                </a:cubicBezTo>
                <a:cubicBezTo>
                  <a:pt x="691329" y="1799470"/>
                  <a:pt x="687468" y="1800269"/>
                  <a:pt x="683208" y="1800269"/>
                </a:cubicBezTo>
                <a:cubicBezTo>
                  <a:pt x="674290" y="1800269"/>
                  <a:pt x="666968" y="1797340"/>
                  <a:pt x="661377" y="1791754"/>
                </a:cubicBezTo>
                <a:cubicBezTo>
                  <a:pt x="655786" y="1786162"/>
                  <a:pt x="652991" y="1779105"/>
                  <a:pt x="652991" y="1770584"/>
                </a:cubicBezTo>
                <a:cubicBezTo>
                  <a:pt x="652991" y="1762330"/>
                  <a:pt x="655786" y="1755282"/>
                  <a:pt x="661377" y="1749560"/>
                </a:cubicBezTo>
                <a:cubicBezTo>
                  <a:pt x="666968" y="1743829"/>
                  <a:pt x="674157" y="1740905"/>
                  <a:pt x="683208" y="1740905"/>
                </a:cubicBezTo>
                <a:close/>
                <a:moveTo>
                  <a:pt x="465565" y="1740905"/>
                </a:moveTo>
                <a:cubicBezTo>
                  <a:pt x="469825" y="1740905"/>
                  <a:pt x="473685" y="1741701"/>
                  <a:pt x="477280" y="1743568"/>
                </a:cubicBezTo>
                <a:cubicBezTo>
                  <a:pt x="481007" y="1745164"/>
                  <a:pt x="484069" y="1747294"/>
                  <a:pt x="486598" y="1749957"/>
                </a:cubicBezTo>
                <a:cubicBezTo>
                  <a:pt x="489260" y="1752479"/>
                  <a:pt x="491257" y="1755679"/>
                  <a:pt x="492721" y="1759266"/>
                </a:cubicBezTo>
                <a:cubicBezTo>
                  <a:pt x="494185" y="1762870"/>
                  <a:pt x="494984" y="1766725"/>
                  <a:pt x="494984" y="1770725"/>
                </a:cubicBezTo>
                <a:cubicBezTo>
                  <a:pt x="494984" y="1774853"/>
                  <a:pt x="494185" y="1778840"/>
                  <a:pt x="492721" y="1782434"/>
                </a:cubicBezTo>
                <a:cubicBezTo>
                  <a:pt x="491257" y="1786026"/>
                  <a:pt x="489127" y="1789092"/>
                  <a:pt x="486598" y="1791754"/>
                </a:cubicBezTo>
                <a:cubicBezTo>
                  <a:pt x="483935" y="1794418"/>
                  <a:pt x="480874" y="1796542"/>
                  <a:pt x="477280" y="1798008"/>
                </a:cubicBezTo>
                <a:cubicBezTo>
                  <a:pt x="473685" y="1799470"/>
                  <a:pt x="469825" y="1800269"/>
                  <a:pt x="465565" y="1800269"/>
                </a:cubicBezTo>
                <a:cubicBezTo>
                  <a:pt x="456646" y="1800269"/>
                  <a:pt x="449324" y="1797340"/>
                  <a:pt x="443733" y="1791754"/>
                </a:cubicBezTo>
                <a:cubicBezTo>
                  <a:pt x="438143" y="1786162"/>
                  <a:pt x="435347" y="1779105"/>
                  <a:pt x="435347" y="1770584"/>
                </a:cubicBezTo>
                <a:cubicBezTo>
                  <a:pt x="435347" y="1762330"/>
                  <a:pt x="438143" y="1755282"/>
                  <a:pt x="443733" y="1749560"/>
                </a:cubicBezTo>
                <a:cubicBezTo>
                  <a:pt x="449324" y="1743829"/>
                  <a:pt x="456514" y="1740905"/>
                  <a:pt x="465565" y="1740905"/>
                </a:cubicBezTo>
                <a:close/>
                <a:moveTo>
                  <a:pt x="247921" y="1740905"/>
                </a:moveTo>
                <a:cubicBezTo>
                  <a:pt x="252181" y="1740905"/>
                  <a:pt x="256175" y="1741701"/>
                  <a:pt x="259636" y="1743568"/>
                </a:cubicBezTo>
                <a:cubicBezTo>
                  <a:pt x="263363" y="1745164"/>
                  <a:pt x="266425" y="1747294"/>
                  <a:pt x="268954" y="1749957"/>
                </a:cubicBezTo>
                <a:cubicBezTo>
                  <a:pt x="271616" y="1752479"/>
                  <a:pt x="273613" y="1755679"/>
                  <a:pt x="275077" y="1759266"/>
                </a:cubicBezTo>
                <a:cubicBezTo>
                  <a:pt x="276541" y="1762870"/>
                  <a:pt x="277340" y="1766725"/>
                  <a:pt x="277340" y="1770725"/>
                </a:cubicBezTo>
                <a:cubicBezTo>
                  <a:pt x="277340" y="1774853"/>
                  <a:pt x="276541" y="1778840"/>
                  <a:pt x="275077" y="1782434"/>
                </a:cubicBezTo>
                <a:cubicBezTo>
                  <a:pt x="273613" y="1786026"/>
                  <a:pt x="271483" y="1789092"/>
                  <a:pt x="268954" y="1791754"/>
                </a:cubicBezTo>
                <a:cubicBezTo>
                  <a:pt x="266291" y="1794418"/>
                  <a:pt x="263230" y="1796542"/>
                  <a:pt x="259636" y="1798008"/>
                </a:cubicBezTo>
                <a:cubicBezTo>
                  <a:pt x="256041" y="1799470"/>
                  <a:pt x="252181" y="1800269"/>
                  <a:pt x="247921" y="1800269"/>
                </a:cubicBezTo>
                <a:cubicBezTo>
                  <a:pt x="239003" y="1800269"/>
                  <a:pt x="231681" y="1797340"/>
                  <a:pt x="226090" y="1791754"/>
                </a:cubicBezTo>
                <a:cubicBezTo>
                  <a:pt x="220500" y="1786162"/>
                  <a:pt x="217704" y="1779105"/>
                  <a:pt x="217704" y="1770584"/>
                </a:cubicBezTo>
                <a:cubicBezTo>
                  <a:pt x="217704" y="1762330"/>
                  <a:pt x="220500" y="1755282"/>
                  <a:pt x="226090" y="1749560"/>
                </a:cubicBezTo>
                <a:cubicBezTo>
                  <a:pt x="231681" y="1743829"/>
                  <a:pt x="238869" y="1740905"/>
                  <a:pt x="247921" y="1740905"/>
                </a:cubicBezTo>
                <a:close/>
                <a:moveTo>
                  <a:pt x="30277" y="1740905"/>
                </a:moveTo>
                <a:cubicBezTo>
                  <a:pt x="34537" y="1740905"/>
                  <a:pt x="38531" y="1741701"/>
                  <a:pt x="41993" y="1743568"/>
                </a:cubicBezTo>
                <a:cubicBezTo>
                  <a:pt x="45720" y="1745164"/>
                  <a:pt x="48782" y="1747294"/>
                  <a:pt x="51311" y="1749957"/>
                </a:cubicBezTo>
                <a:cubicBezTo>
                  <a:pt x="53973" y="1752479"/>
                  <a:pt x="55970" y="1755679"/>
                  <a:pt x="57434" y="1759266"/>
                </a:cubicBezTo>
                <a:cubicBezTo>
                  <a:pt x="58898" y="1762870"/>
                  <a:pt x="59697" y="1766725"/>
                  <a:pt x="59697" y="1770725"/>
                </a:cubicBezTo>
                <a:cubicBezTo>
                  <a:pt x="59697" y="1774853"/>
                  <a:pt x="58898" y="1778840"/>
                  <a:pt x="57434" y="1782434"/>
                </a:cubicBezTo>
                <a:cubicBezTo>
                  <a:pt x="55970" y="1786026"/>
                  <a:pt x="53840" y="1789092"/>
                  <a:pt x="51311" y="1791754"/>
                </a:cubicBezTo>
                <a:cubicBezTo>
                  <a:pt x="48648" y="1794418"/>
                  <a:pt x="45587" y="1796542"/>
                  <a:pt x="41993" y="1798008"/>
                </a:cubicBezTo>
                <a:cubicBezTo>
                  <a:pt x="38398" y="1799470"/>
                  <a:pt x="34537" y="1800269"/>
                  <a:pt x="30277" y="1800269"/>
                </a:cubicBezTo>
                <a:cubicBezTo>
                  <a:pt x="21359" y="1800269"/>
                  <a:pt x="14038" y="1797340"/>
                  <a:pt x="8447" y="1791754"/>
                </a:cubicBezTo>
                <a:cubicBezTo>
                  <a:pt x="2856" y="1786162"/>
                  <a:pt x="61" y="1779105"/>
                  <a:pt x="61" y="1770584"/>
                </a:cubicBezTo>
                <a:cubicBezTo>
                  <a:pt x="61" y="1762330"/>
                  <a:pt x="2856" y="1755282"/>
                  <a:pt x="8447" y="1749560"/>
                </a:cubicBezTo>
                <a:cubicBezTo>
                  <a:pt x="14038" y="1743829"/>
                  <a:pt x="21225" y="1740905"/>
                  <a:pt x="30277" y="1740905"/>
                </a:cubicBezTo>
                <a:close/>
                <a:moveTo>
                  <a:pt x="10475977" y="1540033"/>
                </a:moveTo>
                <a:cubicBezTo>
                  <a:pt x="10470119" y="1540033"/>
                  <a:pt x="10467589" y="1542023"/>
                  <a:pt x="10465992" y="1543620"/>
                </a:cubicBezTo>
                <a:cubicBezTo>
                  <a:pt x="10463463" y="1546289"/>
                  <a:pt x="10462399" y="1549082"/>
                  <a:pt x="10462399" y="1553078"/>
                </a:cubicBezTo>
                <a:cubicBezTo>
                  <a:pt x="10462399" y="1557204"/>
                  <a:pt x="10463463" y="1559998"/>
                  <a:pt x="10465992" y="1562528"/>
                </a:cubicBezTo>
                <a:cubicBezTo>
                  <a:pt x="10467589" y="1564126"/>
                  <a:pt x="10470119" y="1565990"/>
                  <a:pt x="10475977" y="1565990"/>
                </a:cubicBezTo>
                <a:cubicBezTo>
                  <a:pt x="10478107" y="1565990"/>
                  <a:pt x="10479838" y="1565717"/>
                  <a:pt x="10481302" y="1564919"/>
                </a:cubicBezTo>
                <a:cubicBezTo>
                  <a:pt x="10482899" y="1564392"/>
                  <a:pt x="10484098" y="1563596"/>
                  <a:pt x="10485029" y="1562528"/>
                </a:cubicBezTo>
                <a:cubicBezTo>
                  <a:pt x="10486094" y="1561462"/>
                  <a:pt x="10487026" y="1560127"/>
                  <a:pt x="10487691" y="1558402"/>
                </a:cubicBezTo>
                <a:cubicBezTo>
                  <a:pt x="10488357" y="1556798"/>
                  <a:pt x="10488623" y="1554942"/>
                  <a:pt x="10488623" y="1552940"/>
                </a:cubicBezTo>
                <a:cubicBezTo>
                  <a:pt x="10488623" y="1551073"/>
                  <a:pt x="10488357" y="1549349"/>
                  <a:pt x="10487691" y="1547746"/>
                </a:cubicBezTo>
                <a:cubicBezTo>
                  <a:pt x="10487026" y="1546150"/>
                  <a:pt x="10486094" y="1544827"/>
                  <a:pt x="10485029" y="1543620"/>
                </a:cubicBezTo>
                <a:cubicBezTo>
                  <a:pt x="10483964" y="1542564"/>
                  <a:pt x="10482633" y="1541623"/>
                  <a:pt x="10481035" y="1540957"/>
                </a:cubicBezTo>
                <a:cubicBezTo>
                  <a:pt x="10479571" y="1540297"/>
                  <a:pt x="10477974" y="1540033"/>
                  <a:pt x="10475977" y="1540033"/>
                </a:cubicBezTo>
                <a:close/>
                <a:moveTo>
                  <a:pt x="10258466" y="1540033"/>
                </a:moveTo>
                <a:cubicBezTo>
                  <a:pt x="10252608" y="1540033"/>
                  <a:pt x="10250078" y="1542023"/>
                  <a:pt x="10248481" y="1543620"/>
                </a:cubicBezTo>
                <a:cubicBezTo>
                  <a:pt x="10245952" y="1546289"/>
                  <a:pt x="10244887" y="1549082"/>
                  <a:pt x="10244887" y="1553078"/>
                </a:cubicBezTo>
                <a:cubicBezTo>
                  <a:pt x="10244887" y="1557204"/>
                  <a:pt x="10245952" y="1559998"/>
                  <a:pt x="10248481" y="1562528"/>
                </a:cubicBezTo>
                <a:cubicBezTo>
                  <a:pt x="10250078" y="1564126"/>
                  <a:pt x="10252608" y="1565990"/>
                  <a:pt x="10258466" y="1565990"/>
                </a:cubicBezTo>
                <a:cubicBezTo>
                  <a:pt x="10260462" y="1565990"/>
                  <a:pt x="10262192" y="1565717"/>
                  <a:pt x="10263790" y="1564919"/>
                </a:cubicBezTo>
                <a:cubicBezTo>
                  <a:pt x="10265388" y="1564392"/>
                  <a:pt x="10266586" y="1563596"/>
                  <a:pt x="10267517" y="1562528"/>
                </a:cubicBezTo>
                <a:cubicBezTo>
                  <a:pt x="10268583" y="1561462"/>
                  <a:pt x="10269515" y="1560127"/>
                  <a:pt x="10270180" y="1558402"/>
                </a:cubicBezTo>
                <a:cubicBezTo>
                  <a:pt x="10270845" y="1556801"/>
                  <a:pt x="10271112" y="1554942"/>
                  <a:pt x="10271112" y="1552940"/>
                </a:cubicBezTo>
                <a:cubicBezTo>
                  <a:pt x="10271112" y="1551073"/>
                  <a:pt x="10270845" y="1549349"/>
                  <a:pt x="10270180" y="1547746"/>
                </a:cubicBezTo>
                <a:cubicBezTo>
                  <a:pt x="10269515" y="1546150"/>
                  <a:pt x="10268583" y="1544827"/>
                  <a:pt x="10267517" y="1543620"/>
                </a:cubicBezTo>
                <a:cubicBezTo>
                  <a:pt x="10266452" y="1542564"/>
                  <a:pt x="10265121" y="1541623"/>
                  <a:pt x="10263524" y="1540957"/>
                </a:cubicBezTo>
                <a:cubicBezTo>
                  <a:pt x="10262060" y="1540297"/>
                  <a:pt x="10260462" y="1540033"/>
                  <a:pt x="10258466" y="1540033"/>
                </a:cubicBezTo>
                <a:close/>
                <a:moveTo>
                  <a:pt x="10040820" y="1540033"/>
                </a:moveTo>
                <a:cubicBezTo>
                  <a:pt x="10034962" y="1540033"/>
                  <a:pt x="10032433" y="1542023"/>
                  <a:pt x="10030835" y="1543620"/>
                </a:cubicBezTo>
                <a:cubicBezTo>
                  <a:pt x="10028306" y="1546289"/>
                  <a:pt x="10027242" y="1549082"/>
                  <a:pt x="10027242" y="1553078"/>
                </a:cubicBezTo>
                <a:cubicBezTo>
                  <a:pt x="10027242" y="1557204"/>
                  <a:pt x="10028306" y="1559998"/>
                  <a:pt x="10030835" y="1562528"/>
                </a:cubicBezTo>
                <a:cubicBezTo>
                  <a:pt x="10032433" y="1564126"/>
                  <a:pt x="10034962" y="1565990"/>
                  <a:pt x="10040820" y="1565990"/>
                </a:cubicBezTo>
                <a:cubicBezTo>
                  <a:pt x="10042817" y="1565990"/>
                  <a:pt x="10044681" y="1565717"/>
                  <a:pt x="10046145" y="1564919"/>
                </a:cubicBezTo>
                <a:cubicBezTo>
                  <a:pt x="10047742" y="1564392"/>
                  <a:pt x="10048941" y="1563596"/>
                  <a:pt x="10049872" y="1562528"/>
                </a:cubicBezTo>
                <a:cubicBezTo>
                  <a:pt x="10050937" y="1561462"/>
                  <a:pt x="10051869" y="1560127"/>
                  <a:pt x="10052534" y="1558402"/>
                </a:cubicBezTo>
                <a:cubicBezTo>
                  <a:pt x="10053333" y="1556801"/>
                  <a:pt x="10053599" y="1554942"/>
                  <a:pt x="10053599" y="1552940"/>
                </a:cubicBezTo>
                <a:cubicBezTo>
                  <a:pt x="10053599" y="1551073"/>
                  <a:pt x="10053200" y="1549349"/>
                  <a:pt x="10052534" y="1547746"/>
                </a:cubicBezTo>
                <a:cubicBezTo>
                  <a:pt x="10051869" y="1546150"/>
                  <a:pt x="10050937" y="1544827"/>
                  <a:pt x="10049872" y="1543620"/>
                </a:cubicBezTo>
                <a:cubicBezTo>
                  <a:pt x="10048807" y="1542564"/>
                  <a:pt x="10047476" y="1541623"/>
                  <a:pt x="10045878" y="1540957"/>
                </a:cubicBezTo>
                <a:cubicBezTo>
                  <a:pt x="10044414" y="1540297"/>
                  <a:pt x="10042817" y="1540033"/>
                  <a:pt x="10040820" y="1540033"/>
                </a:cubicBezTo>
                <a:close/>
                <a:moveTo>
                  <a:pt x="9823176" y="1540033"/>
                </a:moveTo>
                <a:cubicBezTo>
                  <a:pt x="9817318" y="1540033"/>
                  <a:pt x="9814788" y="1542023"/>
                  <a:pt x="9813191" y="1543620"/>
                </a:cubicBezTo>
                <a:cubicBezTo>
                  <a:pt x="9810662" y="1546289"/>
                  <a:pt x="9809597" y="1549082"/>
                  <a:pt x="9809597" y="1553078"/>
                </a:cubicBezTo>
                <a:cubicBezTo>
                  <a:pt x="9809597" y="1557204"/>
                  <a:pt x="9810662" y="1559998"/>
                  <a:pt x="9813191" y="1562528"/>
                </a:cubicBezTo>
                <a:cubicBezTo>
                  <a:pt x="9814788" y="1564126"/>
                  <a:pt x="9817318" y="1565990"/>
                  <a:pt x="9823176" y="1565990"/>
                </a:cubicBezTo>
                <a:cubicBezTo>
                  <a:pt x="9825173" y="1565990"/>
                  <a:pt x="9827036" y="1565717"/>
                  <a:pt x="9828501" y="1564919"/>
                </a:cubicBezTo>
                <a:cubicBezTo>
                  <a:pt x="9830098" y="1564392"/>
                  <a:pt x="9831296" y="1563596"/>
                  <a:pt x="9832227" y="1562528"/>
                </a:cubicBezTo>
                <a:cubicBezTo>
                  <a:pt x="9833293" y="1561462"/>
                  <a:pt x="9834225" y="1560127"/>
                  <a:pt x="9834890" y="1558402"/>
                </a:cubicBezTo>
                <a:cubicBezTo>
                  <a:pt x="9835689" y="1556801"/>
                  <a:pt x="9835955" y="1554942"/>
                  <a:pt x="9835955" y="1552940"/>
                </a:cubicBezTo>
                <a:cubicBezTo>
                  <a:pt x="9835955" y="1551073"/>
                  <a:pt x="9835555" y="1549349"/>
                  <a:pt x="9834890" y="1547746"/>
                </a:cubicBezTo>
                <a:cubicBezTo>
                  <a:pt x="9834225" y="1546150"/>
                  <a:pt x="9833293" y="1544827"/>
                  <a:pt x="9832227" y="1543620"/>
                </a:cubicBezTo>
                <a:cubicBezTo>
                  <a:pt x="9831162" y="1542564"/>
                  <a:pt x="9829831" y="1541623"/>
                  <a:pt x="9828234" y="1540957"/>
                </a:cubicBezTo>
                <a:cubicBezTo>
                  <a:pt x="9826770" y="1540297"/>
                  <a:pt x="9825173" y="1540033"/>
                  <a:pt x="9823176" y="1540033"/>
                </a:cubicBezTo>
                <a:close/>
                <a:moveTo>
                  <a:pt x="9605531" y="1540033"/>
                </a:moveTo>
                <a:cubicBezTo>
                  <a:pt x="9599673" y="1540033"/>
                  <a:pt x="9597143" y="1542023"/>
                  <a:pt x="9595546" y="1543620"/>
                </a:cubicBezTo>
                <a:cubicBezTo>
                  <a:pt x="9593017" y="1546289"/>
                  <a:pt x="9591952" y="1549082"/>
                  <a:pt x="9591952" y="1553078"/>
                </a:cubicBezTo>
                <a:cubicBezTo>
                  <a:pt x="9591952" y="1557204"/>
                  <a:pt x="9593017" y="1559998"/>
                  <a:pt x="9595546" y="1562528"/>
                </a:cubicBezTo>
                <a:cubicBezTo>
                  <a:pt x="9597143" y="1564126"/>
                  <a:pt x="9599673" y="1565990"/>
                  <a:pt x="9605531" y="1565990"/>
                </a:cubicBezTo>
                <a:cubicBezTo>
                  <a:pt x="9607660" y="1565990"/>
                  <a:pt x="9609391" y="1565717"/>
                  <a:pt x="9610855" y="1564919"/>
                </a:cubicBezTo>
                <a:cubicBezTo>
                  <a:pt x="9612319" y="1564392"/>
                  <a:pt x="9613651" y="1563596"/>
                  <a:pt x="9614582" y="1562528"/>
                </a:cubicBezTo>
                <a:cubicBezTo>
                  <a:pt x="9615647" y="1561462"/>
                  <a:pt x="9616579" y="1560127"/>
                  <a:pt x="9617245" y="1558402"/>
                </a:cubicBezTo>
                <a:cubicBezTo>
                  <a:pt x="9618044" y="1556801"/>
                  <a:pt x="9618309" y="1554942"/>
                  <a:pt x="9618309" y="1552940"/>
                </a:cubicBezTo>
                <a:cubicBezTo>
                  <a:pt x="9618309" y="1551073"/>
                  <a:pt x="9617910" y="1549349"/>
                  <a:pt x="9617245" y="1547746"/>
                </a:cubicBezTo>
                <a:cubicBezTo>
                  <a:pt x="9616579" y="1546150"/>
                  <a:pt x="9615647" y="1544827"/>
                  <a:pt x="9614582" y="1543620"/>
                </a:cubicBezTo>
                <a:cubicBezTo>
                  <a:pt x="9613517" y="1542564"/>
                  <a:pt x="9612186" y="1541623"/>
                  <a:pt x="9610589" y="1540957"/>
                </a:cubicBezTo>
                <a:cubicBezTo>
                  <a:pt x="9609124" y="1540297"/>
                  <a:pt x="9607394" y="1540033"/>
                  <a:pt x="9605531" y="1540033"/>
                </a:cubicBezTo>
                <a:close/>
                <a:moveTo>
                  <a:pt x="9387885" y="1540033"/>
                </a:moveTo>
                <a:cubicBezTo>
                  <a:pt x="9382027" y="1540033"/>
                  <a:pt x="9379497" y="1542023"/>
                  <a:pt x="9377900" y="1543620"/>
                </a:cubicBezTo>
                <a:cubicBezTo>
                  <a:pt x="9375371" y="1546289"/>
                  <a:pt x="9374307" y="1549082"/>
                  <a:pt x="9374307" y="1553078"/>
                </a:cubicBezTo>
                <a:cubicBezTo>
                  <a:pt x="9374307" y="1557204"/>
                  <a:pt x="9375371" y="1559998"/>
                  <a:pt x="9377900" y="1562528"/>
                </a:cubicBezTo>
                <a:cubicBezTo>
                  <a:pt x="9379497" y="1564126"/>
                  <a:pt x="9382027" y="1565990"/>
                  <a:pt x="9387885" y="1565990"/>
                </a:cubicBezTo>
                <a:cubicBezTo>
                  <a:pt x="9390015" y="1565990"/>
                  <a:pt x="9391746" y="1565717"/>
                  <a:pt x="9393210" y="1564919"/>
                </a:cubicBezTo>
                <a:cubicBezTo>
                  <a:pt x="9394674" y="1564392"/>
                  <a:pt x="9396005" y="1563596"/>
                  <a:pt x="9396937" y="1562528"/>
                </a:cubicBezTo>
                <a:cubicBezTo>
                  <a:pt x="9398002" y="1561462"/>
                  <a:pt x="9398934" y="1560127"/>
                  <a:pt x="9399599" y="1558402"/>
                </a:cubicBezTo>
                <a:cubicBezTo>
                  <a:pt x="9400398" y="1556801"/>
                  <a:pt x="9400664" y="1554942"/>
                  <a:pt x="9400664" y="1552940"/>
                </a:cubicBezTo>
                <a:cubicBezTo>
                  <a:pt x="9400664" y="1551073"/>
                  <a:pt x="9400265" y="1549349"/>
                  <a:pt x="9399599" y="1547746"/>
                </a:cubicBezTo>
                <a:cubicBezTo>
                  <a:pt x="9398934" y="1546150"/>
                  <a:pt x="9398002" y="1544827"/>
                  <a:pt x="9396937" y="1543620"/>
                </a:cubicBezTo>
                <a:cubicBezTo>
                  <a:pt x="9395872" y="1542564"/>
                  <a:pt x="9394541" y="1541623"/>
                  <a:pt x="9392943" y="1540957"/>
                </a:cubicBezTo>
                <a:cubicBezTo>
                  <a:pt x="9391479" y="1540297"/>
                  <a:pt x="9389749" y="1540033"/>
                  <a:pt x="9387885" y="1540033"/>
                </a:cubicBezTo>
                <a:close/>
                <a:moveTo>
                  <a:pt x="9170374" y="1540033"/>
                </a:moveTo>
                <a:cubicBezTo>
                  <a:pt x="9164649" y="1540033"/>
                  <a:pt x="9161986" y="1542023"/>
                  <a:pt x="9160389" y="1543620"/>
                </a:cubicBezTo>
                <a:cubicBezTo>
                  <a:pt x="9157860" y="1546289"/>
                  <a:pt x="9156795" y="1549082"/>
                  <a:pt x="9156795" y="1553078"/>
                </a:cubicBezTo>
                <a:cubicBezTo>
                  <a:pt x="9156795" y="1557204"/>
                  <a:pt x="9157860" y="1559998"/>
                  <a:pt x="9160389" y="1562528"/>
                </a:cubicBezTo>
                <a:cubicBezTo>
                  <a:pt x="9161986" y="1564126"/>
                  <a:pt x="9164516" y="1565990"/>
                  <a:pt x="9170374" y="1565990"/>
                </a:cubicBezTo>
                <a:cubicBezTo>
                  <a:pt x="9172370" y="1565990"/>
                  <a:pt x="9174100" y="1565717"/>
                  <a:pt x="9175698" y="1564919"/>
                </a:cubicBezTo>
                <a:cubicBezTo>
                  <a:pt x="9177163" y="1564392"/>
                  <a:pt x="9178494" y="1563596"/>
                  <a:pt x="9179425" y="1562528"/>
                </a:cubicBezTo>
                <a:cubicBezTo>
                  <a:pt x="9180491" y="1561462"/>
                  <a:pt x="9181422" y="1560127"/>
                  <a:pt x="9182088" y="1558402"/>
                </a:cubicBezTo>
                <a:cubicBezTo>
                  <a:pt x="9182887" y="1556801"/>
                  <a:pt x="9183152" y="1554942"/>
                  <a:pt x="9183152" y="1552940"/>
                </a:cubicBezTo>
                <a:cubicBezTo>
                  <a:pt x="9183152" y="1551073"/>
                  <a:pt x="9182753" y="1549349"/>
                  <a:pt x="9182088" y="1547746"/>
                </a:cubicBezTo>
                <a:cubicBezTo>
                  <a:pt x="9181422" y="1546150"/>
                  <a:pt x="9180491" y="1544827"/>
                  <a:pt x="9179425" y="1543620"/>
                </a:cubicBezTo>
                <a:cubicBezTo>
                  <a:pt x="9178360" y="1542564"/>
                  <a:pt x="9177029" y="1541623"/>
                  <a:pt x="9175432" y="1540957"/>
                </a:cubicBezTo>
                <a:cubicBezTo>
                  <a:pt x="9173967" y="1540297"/>
                  <a:pt x="9172237" y="1540033"/>
                  <a:pt x="9170374" y="1540033"/>
                </a:cubicBezTo>
                <a:close/>
                <a:moveTo>
                  <a:pt x="8952728" y="1540033"/>
                </a:moveTo>
                <a:cubicBezTo>
                  <a:pt x="8947003" y="1540033"/>
                  <a:pt x="8944340" y="1542023"/>
                  <a:pt x="8942743" y="1543620"/>
                </a:cubicBezTo>
                <a:cubicBezTo>
                  <a:pt x="8940214" y="1546289"/>
                  <a:pt x="8939150" y="1549082"/>
                  <a:pt x="8939150" y="1553078"/>
                </a:cubicBezTo>
                <a:cubicBezTo>
                  <a:pt x="8939150" y="1557204"/>
                  <a:pt x="8940214" y="1559998"/>
                  <a:pt x="8942743" y="1562528"/>
                </a:cubicBezTo>
                <a:cubicBezTo>
                  <a:pt x="8944340" y="1564126"/>
                  <a:pt x="8946870" y="1565990"/>
                  <a:pt x="8952728" y="1565990"/>
                </a:cubicBezTo>
                <a:cubicBezTo>
                  <a:pt x="8954725" y="1565990"/>
                  <a:pt x="8956589" y="1565717"/>
                  <a:pt x="8958053" y="1564919"/>
                </a:cubicBezTo>
                <a:cubicBezTo>
                  <a:pt x="8959517" y="1564392"/>
                  <a:pt x="8960849" y="1563596"/>
                  <a:pt x="8961780" y="1562528"/>
                </a:cubicBezTo>
                <a:cubicBezTo>
                  <a:pt x="8962845" y="1561462"/>
                  <a:pt x="8963777" y="1560127"/>
                  <a:pt x="8964442" y="1558402"/>
                </a:cubicBezTo>
                <a:cubicBezTo>
                  <a:pt x="8965241" y="1556801"/>
                  <a:pt x="8965507" y="1554942"/>
                  <a:pt x="8965507" y="1552940"/>
                </a:cubicBezTo>
                <a:cubicBezTo>
                  <a:pt x="8965507" y="1551073"/>
                  <a:pt x="8965108" y="1549349"/>
                  <a:pt x="8964442" y="1547746"/>
                </a:cubicBezTo>
                <a:cubicBezTo>
                  <a:pt x="8963777" y="1546150"/>
                  <a:pt x="8962845" y="1544827"/>
                  <a:pt x="8961780" y="1543620"/>
                </a:cubicBezTo>
                <a:cubicBezTo>
                  <a:pt x="8960715" y="1542564"/>
                  <a:pt x="8959384" y="1541623"/>
                  <a:pt x="8957786" y="1540957"/>
                </a:cubicBezTo>
                <a:cubicBezTo>
                  <a:pt x="8956322" y="1540297"/>
                  <a:pt x="8954592" y="1540033"/>
                  <a:pt x="8952728" y="1540033"/>
                </a:cubicBezTo>
                <a:close/>
                <a:moveTo>
                  <a:pt x="8735083" y="1540033"/>
                </a:moveTo>
                <a:cubicBezTo>
                  <a:pt x="8729358" y="1540033"/>
                  <a:pt x="8726695" y="1542023"/>
                  <a:pt x="8725098" y="1543620"/>
                </a:cubicBezTo>
                <a:cubicBezTo>
                  <a:pt x="8722569" y="1546289"/>
                  <a:pt x="8721504" y="1549082"/>
                  <a:pt x="8721504" y="1553078"/>
                </a:cubicBezTo>
                <a:cubicBezTo>
                  <a:pt x="8721504" y="1557204"/>
                  <a:pt x="8722569" y="1559998"/>
                  <a:pt x="8725098" y="1562528"/>
                </a:cubicBezTo>
                <a:cubicBezTo>
                  <a:pt x="8726695" y="1564126"/>
                  <a:pt x="8729225" y="1565990"/>
                  <a:pt x="8735083" y="1565990"/>
                </a:cubicBezTo>
                <a:cubicBezTo>
                  <a:pt x="8737079" y="1565990"/>
                  <a:pt x="8738943" y="1565717"/>
                  <a:pt x="8740407" y="1564919"/>
                </a:cubicBezTo>
                <a:cubicBezTo>
                  <a:pt x="8741872" y="1564392"/>
                  <a:pt x="8743203" y="1563596"/>
                  <a:pt x="8744134" y="1562528"/>
                </a:cubicBezTo>
                <a:cubicBezTo>
                  <a:pt x="8745200" y="1561462"/>
                  <a:pt x="8746132" y="1560127"/>
                  <a:pt x="8746797" y="1558402"/>
                </a:cubicBezTo>
                <a:cubicBezTo>
                  <a:pt x="8747596" y="1556801"/>
                  <a:pt x="8747862" y="1554942"/>
                  <a:pt x="8747862" y="1552940"/>
                </a:cubicBezTo>
                <a:cubicBezTo>
                  <a:pt x="8747862" y="1551073"/>
                  <a:pt x="8747462" y="1549349"/>
                  <a:pt x="8746797" y="1547746"/>
                </a:cubicBezTo>
                <a:cubicBezTo>
                  <a:pt x="8746132" y="1546150"/>
                  <a:pt x="8745200" y="1544827"/>
                  <a:pt x="8744134" y="1543620"/>
                </a:cubicBezTo>
                <a:cubicBezTo>
                  <a:pt x="8743069" y="1542564"/>
                  <a:pt x="8741738" y="1541623"/>
                  <a:pt x="8740141" y="1540957"/>
                </a:cubicBezTo>
                <a:cubicBezTo>
                  <a:pt x="8738677" y="1540297"/>
                  <a:pt x="8736946" y="1540033"/>
                  <a:pt x="8735083" y="1540033"/>
                </a:cubicBezTo>
                <a:close/>
                <a:moveTo>
                  <a:pt x="8517438" y="1540033"/>
                </a:moveTo>
                <a:cubicBezTo>
                  <a:pt x="8511713" y="1540033"/>
                  <a:pt x="8509051" y="1542023"/>
                  <a:pt x="8507453" y="1543620"/>
                </a:cubicBezTo>
                <a:cubicBezTo>
                  <a:pt x="8504925" y="1546289"/>
                  <a:pt x="8503860" y="1549082"/>
                  <a:pt x="8503860" y="1553078"/>
                </a:cubicBezTo>
                <a:cubicBezTo>
                  <a:pt x="8503860" y="1557204"/>
                  <a:pt x="8504925" y="1559998"/>
                  <a:pt x="8507453" y="1562528"/>
                </a:cubicBezTo>
                <a:cubicBezTo>
                  <a:pt x="8509051" y="1564126"/>
                  <a:pt x="8511581" y="1565990"/>
                  <a:pt x="8517438" y="1565990"/>
                </a:cubicBezTo>
                <a:cubicBezTo>
                  <a:pt x="8519568" y="1565990"/>
                  <a:pt x="8521299" y="1565717"/>
                  <a:pt x="8522763" y="1564919"/>
                </a:cubicBezTo>
                <a:cubicBezTo>
                  <a:pt x="8524227" y="1564392"/>
                  <a:pt x="8525559" y="1563596"/>
                  <a:pt x="8526490" y="1562528"/>
                </a:cubicBezTo>
                <a:cubicBezTo>
                  <a:pt x="8527555" y="1561462"/>
                  <a:pt x="8528487" y="1560127"/>
                  <a:pt x="8529152" y="1558402"/>
                </a:cubicBezTo>
                <a:cubicBezTo>
                  <a:pt x="8529818" y="1556801"/>
                  <a:pt x="8530084" y="1554942"/>
                  <a:pt x="8530084" y="1552940"/>
                </a:cubicBezTo>
                <a:cubicBezTo>
                  <a:pt x="8530084" y="1551073"/>
                  <a:pt x="8529818" y="1549349"/>
                  <a:pt x="8529152" y="1547746"/>
                </a:cubicBezTo>
                <a:cubicBezTo>
                  <a:pt x="8528487" y="1546150"/>
                  <a:pt x="8527555" y="1544827"/>
                  <a:pt x="8526490" y="1543620"/>
                </a:cubicBezTo>
                <a:cubicBezTo>
                  <a:pt x="8525425" y="1542564"/>
                  <a:pt x="8524094" y="1541623"/>
                  <a:pt x="8522496" y="1540957"/>
                </a:cubicBezTo>
                <a:cubicBezTo>
                  <a:pt x="8521032" y="1540297"/>
                  <a:pt x="8519302" y="1540033"/>
                  <a:pt x="8517438" y="1540033"/>
                </a:cubicBezTo>
                <a:close/>
                <a:moveTo>
                  <a:pt x="8299793" y="1540033"/>
                </a:moveTo>
                <a:cubicBezTo>
                  <a:pt x="8294068" y="1540033"/>
                  <a:pt x="8291406" y="1542023"/>
                  <a:pt x="8289809" y="1543620"/>
                </a:cubicBezTo>
                <a:cubicBezTo>
                  <a:pt x="8287280" y="1546289"/>
                  <a:pt x="8286215" y="1549082"/>
                  <a:pt x="8286215" y="1553078"/>
                </a:cubicBezTo>
                <a:cubicBezTo>
                  <a:pt x="8286215" y="1557204"/>
                  <a:pt x="8287280" y="1559998"/>
                  <a:pt x="8289809" y="1562528"/>
                </a:cubicBezTo>
                <a:cubicBezTo>
                  <a:pt x="8291406" y="1564126"/>
                  <a:pt x="8293935" y="1565990"/>
                  <a:pt x="8299793" y="1565990"/>
                </a:cubicBezTo>
                <a:cubicBezTo>
                  <a:pt x="8301923" y="1565990"/>
                  <a:pt x="8303653" y="1565717"/>
                  <a:pt x="8305118" y="1564919"/>
                </a:cubicBezTo>
                <a:cubicBezTo>
                  <a:pt x="8306582" y="1564392"/>
                  <a:pt x="8307913" y="1563596"/>
                  <a:pt x="8308844" y="1562528"/>
                </a:cubicBezTo>
                <a:cubicBezTo>
                  <a:pt x="8309910" y="1561462"/>
                  <a:pt x="8310842" y="1560127"/>
                  <a:pt x="8311507" y="1558402"/>
                </a:cubicBezTo>
                <a:cubicBezTo>
                  <a:pt x="8312172" y="1556801"/>
                  <a:pt x="8312439" y="1554942"/>
                  <a:pt x="8312439" y="1552940"/>
                </a:cubicBezTo>
                <a:cubicBezTo>
                  <a:pt x="8312439" y="1551073"/>
                  <a:pt x="8312172" y="1549349"/>
                  <a:pt x="8311507" y="1547746"/>
                </a:cubicBezTo>
                <a:cubicBezTo>
                  <a:pt x="8310842" y="1546150"/>
                  <a:pt x="8309910" y="1544827"/>
                  <a:pt x="8308844" y="1543620"/>
                </a:cubicBezTo>
                <a:cubicBezTo>
                  <a:pt x="8307779" y="1542564"/>
                  <a:pt x="8306448" y="1541623"/>
                  <a:pt x="8304851" y="1540957"/>
                </a:cubicBezTo>
                <a:cubicBezTo>
                  <a:pt x="8303387" y="1540297"/>
                  <a:pt x="8301790" y="1540033"/>
                  <a:pt x="8299793" y="1540033"/>
                </a:cubicBezTo>
                <a:close/>
                <a:moveTo>
                  <a:pt x="8082281" y="1540033"/>
                </a:moveTo>
                <a:cubicBezTo>
                  <a:pt x="8076424" y="1540033"/>
                  <a:pt x="8073894" y="1542023"/>
                  <a:pt x="8072297" y="1543620"/>
                </a:cubicBezTo>
                <a:cubicBezTo>
                  <a:pt x="8069768" y="1546289"/>
                  <a:pt x="8068703" y="1549082"/>
                  <a:pt x="8068703" y="1553078"/>
                </a:cubicBezTo>
                <a:cubicBezTo>
                  <a:pt x="8068703" y="1557204"/>
                  <a:pt x="8069768" y="1559998"/>
                  <a:pt x="8072297" y="1562528"/>
                </a:cubicBezTo>
                <a:cubicBezTo>
                  <a:pt x="8073894" y="1564126"/>
                  <a:pt x="8076424" y="1565990"/>
                  <a:pt x="8082281" y="1565990"/>
                </a:cubicBezTo>
                <a:cubicBezTo>
                  <a:pt x="8084277" y="1565990"/>
                  <a:pt x="8086007" y="1565717"/>
                  <a:pt x="8087605" y="1564919"/>
                </a:cubicBezTo>
                <a:cubicBezTo>
                  <a:pt x="8089069" y="1564392"/>
                  <a:pt x="8090401" y="1563596"/>
                  <a:pt x="8091332" y="1562528"/>
                </a:cubicBezTo>
                <a:cubicBezTo>
                  <a:pt x="8092397" y="1561462"/>
                  <a:pt x="8093329" y="1560127"/>
                  <a:pt x="8093994" y="1558402"/>
                </a:cubicBezTo>
                <a:cubicBezTo>
                  <a:pt x="8094660" y="1556801"/>
                  <a:pt x="8094926" y="1554942"/>
                  <a:pt x="8094926" y="1552940"/>
                </a:cubicBezTo>
                <a:cubicBezTo>
                  <a:pt x="8094926" y="1551073"/>
                  <a:pt x="8094660" y="1549349"/>
                  <a:pt x="8093994" y="1547746"/>
                </a:cubicBezTo>
                <a:cubicBezTo>
                  <a:pt x="8093329" y="1546150"/>
                  <a:pt x="8092397" y="1544827"/>
                  <a:pt x="8091332" y="1543620"/>
                </a:cubicBezTo>
                <a:cubicBezTo>
                  <a:pt x="8090267" y="1542564"/>
                  <a:pt x="8088936" y="1541623"/>
                  <a:pt x="8087338" y="1540957"/>
                </a:cubicBezTo>
                <a:cubicBezTo>
                  <a:pt x="8085874" y="1540297"/>
                  <a:pt x="8084277" y="1540033"/>
                  <a:pt x="8082281" y="1540033"/>
                </a:cubicBezTo>
                <a:close/>
                <a:moveTo>
                  <a:pt x="7864636" y="1540033"/>
                </a:moveTo>
                <a:cubicBezTo>
                  <a:pt x="7858779" y="1540033"/>
                  <a:pt x="7856249" y="1542023"/>
                  <a:pt x="7854652" y="1543620"/>
                </a:cubicBezTo>
                <a:cubicBezTo>
                  <a:pt x="7852123" y="1546289"/>
                  <a:pt x="7851058" y="1549082"/>
                  <a:pt x="7851058" y="1553078"/>
                </a:cubicBezTo>
                <a:cubicBezTo>
                  <a:pt x="7851058" y="1557204"/>
                  <a:pt x="7852123" y="1559998"/>
                  <a:pt x="7854652" y="1562528"/>
                </a:cubicBezTo>
                <a:cubicBezTo>
                  <a:pt x="7856249" y="1564126"/>
                  <a:pt x="7858779" y="1565990"/>
                  <a:pt x="7864636" y="1565990"/>
                </a:cubicBezTo>
                <a:cubicBezTo>
                  <a:pt x="7866633" y="1565990"/>
                  <a:pt x="7868363" y="1565717"/>
                  <a:pt x="7869961" y="1564919"/>
                </a:cubicBezTo>
                <a:cubicBezTo>
                  <a:pt x="7871425" y="1564392"/>
                  <a:pt x="7872756" y="1563596"/>
                  <a:pt x="7873687" y="1562528"/>
                </a:cubicBezTo>
                <a:cubicBezTo>
                  <a:pt x="7874753" y="1561462"/>
                  <a:pt x="7875685" y="1560127"/>
                  <a:pt x="7876350" y="1558402"/>
                </a:cubicBezTo>
                <a:cubicBezTo>
                  <a:pt x="7877015" y="1556801"/>
                  <a:pt x="7877282" y="1554942"/>
                  <a:pt x="7877282" y="1552940"/>
                </a:cubicBezTo>
                <a:cubicBezTo>
                  <a:pt x="7877282" y="1551073"/>
                  <a:pt x="7877015" y="1549349"/>
                  <a:pt x="7876350" y="1547746"/>
                </a:cubicBezTo>
                <a:cubicBezTo>
                  <a:pt x="7875685" y="1546150"/>
                  <a:pt x="7874753" y="1544827"/>
                  <a:pt x="7873687" y="1543620"/>
                </a:cubicBezTo>
                <a:cubicBezTo>
                  <a:pt x="7872623" y="1542564"/>
                  <a:pt x="7871291" y="1541623"/>
                  <a:pt x="7869694" y="1540957"/>
                </a:cubicBezTo>
                <a:cubicBezTo>
                  <a:pt x="7868230" y="1540297"/>
                  <a:pt x="7866633" y="1540033"/>
                  <a:pt x="7864636" y="1540033"/>
                </a:cubicBezTo>
                <a:close/>
                <a:moveTo>
                  <a:pt x="7646991" y="1540033"/>
                </a:moveTo>
                <a:cubicBezTo>
                  <a:pt x="7641134" y="1540033"/>
                  <a:pt x="7638604" y="1542023"/>
                  <a:pt x="7637007" y="1543620"/>
                </a:cubicBezTo>
                <a:cubicBezTo>
                  <a:pt x="7634478" y="1546289"/>
                  <a:pt x="7633413" y="1549082"/>
                  <a:pt x="7633413" y="1553078"/>
                </a:cubicBezTo>
                <a:cubicBezTo>
                  <a:pt x="7633413" y="1557204"/>
                  <a:pt x="7634478" y="1559998"/>
                  <a:pt x="7637007" y="1562528"/>
                </a:cubicBezTo>
                <a:cubicBezTo>
                  <a:pt x="7638604" y="1564126"/>
                  <a:pt x="7641134" y="1565990"/>
                  <a:pt x="7646991" y="1565990"/>
                </a:cubicBezTo>
                <a:cubicBezTo>
                  <a:pt x="7648987" y="1565990"/>
                  <a:pt x="7650851" y="1565717"/>
                  <a:pt x="7652315" y="1564919"/>
                </a:cubicBezTo>
                <a:cubicBezTo>
                  <a:pt x="7653780" y="1564392"/>
                  <a:pt x="7655111" y="1563596"/>
                  <a:pt x="7656042" y="1562528"/>
                </a:cubicBezTo>
                <a:cubicBezTo>
                  <a:pt x="7657108" y="1561462"/>
                  <a:pt x="7658039" y="1560127"/>
                  <a:pt x="7658705" y="1558402"/>
                </a:cubicBezTo>
                <a:cubicBezTo>
                  <a:pt x="7659504" y="1556801"/>
                  <a:pt x="7659769" y="1554942"/>
                  <a:pt x="7659769" y="1552940"/>
                </a:cubicBezTo>
                <a:cubicBezTo>
                  <a:pt x="7659769" y="1551073"/>
                  <a:pt x="7659370" y="1549349"/>
                  <a:pt x="7658705" y="1547746"/>
                </a:cubicBezTo>
                <a:cubicBezTo>
                  <a:pt x="7658039" y="1546150"/>
                  <a:pt x="7657108" y="1544827"/>
                  <a:pt x="7656042" y="1543620"/>
                </a:cubicBezTo>
                <a:cubicBezTo>
                  <a:pt x="7654977" y="1542564"/>
                  <a:pt x="7653646" y="1541623"/>
                  <a:pt x="7652049" y="1540957"/>
                </a:cubicBezTo>
                <a:cubicBezTo>
                  <a:pt x="7650584" y="1540297"/>
                  <a:pt x="7648987" y="1540033"/>
                  <a:pt x="7646991" y="1540033"/>
                </a:cubicBezTo>
                <a:close/>
                <a:moveTo>
                  <a:pt x="7429345" y="1540033"/>
                </a:moveTo>
                <a:cubicBezTo>
                  <a:pt x="7423488" y="1540033"/>
                  <a:pt x="7420958" y="1542023"/>
                  <a:pt x="7419361" y="1543620"/>
                </a:cubicBezTo>
                <a:cubicBezTo>
                  <a:pt x="7416832" y="1546289"/>
                  <a:pt x="7415768" y="1549082"/>
                  <a:pt x="7415768" y="1553078"/>
                </a:cubicBezTo>
                <a:cubicBezTo>
                  <a:pt x="7415768" y="1557204"/>
                  <a:pt x="7416832" y="1559998"/>
                  <a:pt x="7419361" y="1562528"/>
                </a:cubicBezTo>
                <a:cubicBezTo>
                  <a:pt x="7420958" y="1564126"/>
                  <a:pt x="7423488" y="1565990"/>
                  <a:pt x="7429345" y="1565990"/>
                </a:cubicBezTo>
                <a:cubicBezTo>
                  <a:pt x="7431342" y="1565990"/>
                  <a:pt x="7433206" y="1565717"/>
                  <a:pt x="7434670" y="1564919"/>
                </a:cubicBezTo>
                <a:cubicBezTo>
                  <a:pt x="7436134" y="1564392"/>
                  <a:pt x="7437466" y="1563596"/>
                  <a:pt x="7438397" y="1562528"/>
                </a:cubicBezTo>
                <a:cubicBezTo>
                  <a:pt x="7439462" y="1561462"/>
                  <a:pt x="7440394" y="1560127"/>
                  <a:pt x="7441059" y="1558402"/>
                </a:cubicBezTo>
                <a:cubicBezTo>
                  <a:pt x="7441858" y="1556801"/>
                  <a:pt x="7442124" y="1554942"/>
                  <a:pt x="7442124" y="1552940"/>
                </a:cubicBezTo>
                <a:cubicBezTo>
                  <a:pt x="7442124" y="1551073"/>
                  <a:pt x="7441725" y="1549349"/>
                  <a:pt x="7441059" y="1547746"/>
                </a:cubicBezTo>
                <a:cubicBezTo>
                  <a:pt x="7440394" y="1546150"/>
                  <a:pt x="7439462" y="1544827"/>
                  <a:pt x="7438397" y="1543620"/>
                </a:cubicBezTo>
                <a:cubicBezTo>
                  <a:pt x="7437332" y="1542564"/>
                  <a:pt x="7436001" y="1541623"/>
                  <a:pt x="7434403" y="1540957"/>
                </a:cubicBezTo>
                <a:cubicBezTo>
                  <a:pt x="7432939" y="1540297"/>
                  <a:pt x="7431342" y="1540033"/>
                  <a:pt x="7429345" y="1540033"/>
                </a:cubicBezTo>
                <a:close/>
                <a:moveTo>
                  <a:pt x="7211701" y="1540033"/>
                </a:moveTo>
                <a:cubicBezTo>
                  <a:pt x="7205844" y="1540033"/>
                  <a:pt x="7203314" y="1542023"/>
                  <a:pt x="7201717" y="1543620"/>
                </a:cubicBezTo>
                <a:cubicBezTo>
                  <a:pt x="7199188" y="1546289"/>
                  <a:pt x="7198123" y="1549082"/>
                  <a:pt x="7198123" y="1553078"/>
                </a:cubicBezTo>
                <a:cubicBezTo>
                  <a:pt x="7198123" y="1557204"/>
                  <a:pt x="7199188" y="1559998"/>
                  <a:pt x="7201717" y="1562528"/>
                </a:cubicBezTo>
                <a:cubicBezTo>
                  <a:pt x="7203314" y="1564126"/>
                  <a:pt x="7205844" y="1565990"/>
                  <a:pt x="7211701" y="1565990"/>
                </a:cubicBezTo>
                <a:cubicBezTo>
                  <a:pt x="7213830" y="1565990"/>
                  <a:pt x="7215561" y="1565717"/>
                  <a:pt x="7217026" y="1564919"/>
                </a:cubicBezTo>
                <a:cubicBezTo>
                  <a:pt x="7218490" y="1564392"/>
                  <a:pt x="7219821" y="1563596"/>
                  <a:pt x="7220752" y="1562528"/>
                </a:cubicBezTo>
                <a:cubicBezTo>
                  <a:pt x="7221818" y="1561462"/>
                  <a:pt x="7222750" y="1560127"/>
                  <a:pt x="7223415" y="1558402"/>
                </a:cubicBezTo>
                <a:cubicBezTo>
                  <a:pt x="7224214" y="1556801"/>
                  <a:pt x="7224480" y="1554942"/>
                  <a:pt x="7224480" y="1552940"/>
                </a:cubicBezTo>
                <a:cubicBezTo>
                  <a:pt x="7224480" y="1551073"/>
                  <a:pt x="7224080" y="1549349"/>
                  <a:pt x="7223415" y="1547746"/>
                </a:cubicBezTo>
                <a:cubicBezTo>
                  <a:pt x="7222750" y="1546150"/>
                  <a:pt x="7221818" y="1544827"/>
                  <a:pt x="7220752" y="1543620"/>
                </a:cubicBezTo>
                <a:cubicBezTo>
                  <a:pt x="7219687" y="1542564"/>
                  <a:pt x="7218356" y="1541623"/>
                  <a:pt x="7216759" y="1540957"/>
                </a:cubicBezTo>
                <a:cubicBezTo>
                  <a:pt x="7215295" y="1540297"/>
                  <a:pt x="7213698" y="1540033"/>
                  <a:pt x="7211701" y="1540033"/>
                </a:cubicBezTo>
                <a:close/>
                <a:moveTo>
                  <a:pt x="6994056" y="1540033"/>
                </a:moveTo>
                <a:cubicBezTo>
                  <a:pt x="6988199" y="1540033"/>
                  <a:pt x="6985669" y="1542023"/>
                  <a:pt x="6984072" y="1543620"/>
                </a:cubicBezTo>
                <a:cubicBezTo>
                  <a:pt x="6981543" y="1546289"/>
                  <a:pt x="6980478" y="1549082"/>
                  <a:pt x="6980478" y="1553078"/>
                </a:cubicBezTo>
                <a:cubicBezTo>
                  <a:pt x="6980478" y="1557204"/>
                  <a:pt x="6981543" y="1559998"/>
                  <a:pt x="6984072" y="1562528"/>
                </a:cubicBezTo>
                <a:cubicBezTo>
                  <a:pt x="6985669" y="1564126"/>
                  <a:pt x="6988199" y="1565990"/>
                  <a:pt x="6994056" y="1565990"/>
                </a:cubicBezTo>
                <a:cubicBezTo>
                  <a:pt x="6996185" y="1565990"/>
                  <a:pt x="6997916" y="1565717"/>
                  <a:pt x="6999380" y="1564919"/>
                </a:cubicBezTo>
                <a:cubicBezTo>
                  <a:pt x="7000844" y="1564392"/>
                  <a:pt x="7002176" y="1563596"/>
                  <a:pt x="7003107" y="1562528"/>
                </a:cubicBezTo>
                <a:cubicBezTo>
                  <a:pt x="7004172" y="1561462"/>
                  <a:pt x="7005104" y="1560127"/>
                  <a:pt x="7005769" y="1558402"/>
                </a:cubicBezTo>
                <a:cubicBezTo>
                  <a:pt x="7006568" y="1556801"/>
                  <a:pt x="7006834" y="1554942"/>
                  <a:pt x="7006834" y="1552940"/>
                </a:cubicBezTo>
                <a:cubicBezTo>
                  <a:pt x="7006834" y="1551073"/>
                  <a:pt x="7006435" y="1549349"/>
                  <a:pt x="7005769" y="1547746"/>
                </a:cubicBezTo>
                <a:cubicBezTo>
                  <a:pt x="7005104" y="1546150"/>
                  <a:pt x="7004172" y="1544827"/>
                  <a:pt x="7003107" y="1543620"/>
                </a:cubicBezTo>
                <a:cubicBezTo>
                  <a:pt x="7002042" y="1542564"/>
                  <a:pt x="7000711" y="1541623"/>
                  <a:pt x="6999113" y="1540957"/>
                </a:cubicBezTo>
                <a:cubicBezTo>
                  <a:pt x="6997649" y="1540297"/>
                  <a:pt x="6996052" y="1540033"/>
                  <a:pt x="6994056" y="1540033"/>
                </a:cubicBezTo>
                <a:close/>
                <a:moveTo>
                  <a:pt x="6776544" y="1540033"/>
                </a:moveTo>
                <a:cubicBezTo>
                  <a:pt x="6770687" y="1540033"/>
                  <a:pt x="6768157" y="1542023"/>
                  <a:pt x="6766560" y="1543620"/>
                </a:cubicBezTo>
                <a:cubicBezTo>
                  <a:pt x="6764031" y="1546289"/>
                  <a:pt x="6762966" y="1549082"/>
                  <a:pt x="6762966" y="1553078"/>
                </a:cubicBezTo>
                <a:cubicBezTo>
                  <a:pt x="6762966" y="1557204"/>
                  <a:pt x="6764031" y="1559998"/>
                  <a:pt x="6766560" y="1562528"/>
                </a:cubicBezTo>
                <a:cubicBezTo>
                  <a:pt x="6768157" y="1564126"/>
                  <a:pt x="6770687" y="1565990"/>
                  <a:pt x="6776544" y="1565990"/>
                </a:cubicBezTo>
                <a:cubicBezTo>
                  <a:pt x="6778541" y="1565990"/>
                  <a:pt x="6780270" y="1565717"/>
                  <a:pt x="6781869" y="1564919"/>
                </a:cubicBezTo>
                <a:cubicBezTo>
                  <a:pt x="6783333" y="1564392"/>
                  <a:pt x="6784664" y="1563596"/>
                  <a:pt x="6785595" y="1562528"/>
                </a:cubicBezTo>
                <a:cubicBezTo>
                  <a:pt x="6786661" y="1561462"/>
                  <a:pt x="6787593" y="1560127"/>
                  <a:pt x="6788258" y="1558402"/>
                </a:cubicBezTo>
                <a:cubicBezTo>
                  <a:pt x="6789057" y="1556801"/>
                  <a:pt x="6789323" y="1554942"/>
                  <a:pt x="6789323" y="1552940"/>
                </a:cubicBezTo>
                <a:cubicBezTo>
                  <a:pt x="6789323" y="1551073"/>
                  <a:pt x="6788923" y="1549349"/>
                  <a:pt x="6788258" y="1547746"/>
                </a:cubicBezTo>
                <a:cubicBezTo>
                  <a:pt x="6787593" y="1546150"/>
                  <a:pt x="6786661" y="1544827"/>
                  <a:pt x="6785595" y="1543620"/>
                </a:cubicBezTo>
                <a:cubicBezTo>
                  <a:pt x="6784530" y="1542564"/>
                  <a:pt x="6783199" y="1541623"/>
                  <a:pt x="6781602" y="1540957"/>
                </a:cubicBezTo>
                <a:cubicBezTo>
                  <a:pt x="6780138" y="1540297"/>
                  <a:pt x="6778541" y="1540033"/>
                  <a:pt x="6776544" y="1540033"/>
                </a:cubicBezTo>
                <a:close/>
                <a:moveTo>
                  <a:pt x="6558899" y="1540033"/>
                </a:moveTo>
                <a:cubicBezTo>
                  <a:pt x="6553042" y="1540033"/>
                  <a:pt x="6550512" y="1542023"/>
                  <a:pt x="6548915" y="1543620"/>
                </a:cubicBezTo>
                <a:cubicBezTo>
                  <a:pt x="6546386" y="1546289"/>
                  <a:pt x="6545321" y="1549082"/>
                  <a:pt x="6545321" y="1553078"/>
                </a:cubicBezTo>
                <a:cubicBezTo>
                  <a:pt x="6545321" y="1557204"/>
                  <a:pt x="6546386" y="1559998"/>
                  <a:pt x="6548915" y="1562528"/>
                </a:cubicBezTo>
                <a:cubicBezTo>
                  <a:pt x="6550512" y="1564126"/>
                  <a:pt x="6553042" y="1565990"/>
                  <a:pt x="6558899" y="1565990"/>
                </a:cubicBezTo>
                <a:cubicBezTo>
                  <a:pt x="6560895" y="1565990"/>
                  <a:pt x="6562759" y="1565717"/>
                  <a:pt x="6564223" y="1564919"/>
                </a:cubicBezTo>
                <a:cubicBezTo>
                  <a:pt x="6565687" y="1564392"/>
                  <a:pt x="6567019" y="1563596"/>
                  <a:pt x="6567950" y="1562528"/>
                </a:cubicBezTo>
                <a:cubicBezTo>
                  <a:pt x="6569015" y="1561462"/>
                  <a:pt x="6569947" y="1560127"/>
                  <a:pt x="6570612" y="1558402"/>
                </a:cubicBezTo>
                <a:cubicBezTo>
                  <a:pt x="6571412" y="1556801"/>
                  <a:pt x="6571677" y="1554942"/>
                  <a:pt x="6571677" y="1552940"/>
                </a:cubicBezTo>
                <a:cubicBezTo>
                  <a:pt x="6571677" y="1551073"/>
                  <a:pt x="6571278" y="1549349"/>
                  <a:pt x="6570612" y="1547746"/>
                </a:cubicBezTo>
                <a:cubicBezTo>
                  <a:pt x="6569947" y="1546150"/>
                  <a:pt x="6569015" y="1544827"/>
                  <a:pt x="6567950" y="1543620"/>
                </a:cubicBezTo>
                <a:cubicBezTo>
                  <a:pt x="6566885" y="1542564"/>
                  <a:pt x="6565554" y="1541623"/>
                  <a:pt x="6563956" y="1540957"/>
                </a:cubicBezTo>
                <a:cubicBezTo>
                  <a:pt x="6562492" y="1540297"/>
                  <a:pt x="6560895" y="1540033"/>
                  <a:pt x="6558899" y="1540033"/>
                </a:cubicBezTo>
                <a:close/>
                <a:moveTo>
                  <a:pt x="6341253" y="1540033"/>
                </a:moveTo>
                <a:cubicBezTo>
                  <a:pt x="6335396" y="1540033"/>
                  <a:pt x="6332867" y="1542023"/>
                  <a:pt x="6331270" y="1543620"/>
                </a:cubicBezTo>
                <a:cubicBezTo>
                  <a:pt x="6328740" y="1546289"/>
                  <a:pt x="6327675" y="1549082"/>
                  <a:pt x="6327675" y="1553078"/>
                </a:cubicBezTo>
                <a:cubicBezTo>
                  <a:pt x="6327675" y="1557204"/>
                  <a:pt x="6328740" y="1559998"/>
                  <a:pt x="6331270" y="1562528"/>
                </a:cubicBezTo>
                <a:cubicBezTo>
                  <a:pt x="6332867" y="1564126"/>
                  <a:pt x="6335396" y="1565990"/>
                  <a:pt x="6341253" y="1565990"/>
                </a:cubicBezTo>
                <a:cubicBezTo>
                  <a:pt x="6343250" y="1565990"/>
                  <a:pt x="6345114" y="1565717"/>
                  <a:pt x="6346578" y="1564919"/>
                </a:cubicBezTo>
                <a:cubicBezTo>
                  <a:pt x="6348042" y="1564392"/>
                  <a:pt x="6349373" y="1563596"/>
                  <a:pt x="6350305" y="1562528"/>
                </a:cubicBezTo>
                <a:cubicBezTo>
                  <a:pt x="6351370" y="1561462"/>
                  <a:pt x="6352302" y="1560127"/>
                  <a:pt x="6352968" y="1558402"/>
                </a:cubicBezTo>
                <a:cubicBezTo>
                  <a:pt x="6353766" y="1556801"/>
                  <a:pt x="6354033" y="1554942"/>
                  <a:pt x="6354033" y="1552940"/>
                </a:cubicBezTo>
                <a:cubicBezTo>
                  <a:pt x="6354033" y="1551073"/>
                  <a:pt x="6353633" y="1549349"/>
                  <a:pt x="6352968" y="1547746"/>
                </a:cubicBezTo>
                <a:cubicBezTo>
                  <a:pt x="6352302" y="1546150"/>
                  <a:pt x="6351370" y="1544827"/>
                  <a:pt x="6350305" y="1543620"/>
                </a:cubicBezTo>
                <a:cubicBezTo>
                  <a:pt x="6349241" y="1542564"/>
                  <a:pt x="6347909" y="1541623"/>
                  <a:pt x="6346312" y="1540957"/>
                </a:cubicBezTo>
                <a:cubicBezTo>
                  <a:pt x="6344848" y="1540297"/>
                  <a:pt x="6343250" y="1540033"/>
                  <a:pt x="6341253" y="1540033"/>
                </a:cubicBezTo>
                <a:close/>
                <a:moveTo>
                  <a:pt x="6123608" y="1540033"/>
                </a:moveTo>
                <a:cubicBezTo>
                  <a:pt x="6117751" y="1540033"/>
                  <a:pt x="6115221" y="1542023"/>
                  <a:pt x="6113624" y="1543620"/>
                </a:cubicBezTo>
                <a:cubicBezTo>
                  <a:pt x="6111095" y="1546289"/>
                  <a:pt x="6110030" y="1549082"/>
                  <a:pt x="6110030" y="1553078"/>
                </a:cubicBezTo>
                <a:cubicBezTo>
                  <a:pt x="6110030" y="1557204"/>
                  <a:pt x="6111095" y="1559998"/>
                  <a:pt x="6113624" y="1562528"/>
                </a:cubicBezTo>
                <a:cubicBezTo>
                  <a:pt x="6115221" y="1564126"/>
                  <a:pt x="6117751" y="1565990"/>
                  <a:pt x="6123608" y="1565990"/>
                </a:cubicBezTo>
                <a:cubicBezTo>
                  <a:pt x="6125737" y="1565990"/>
                  <a:pt x="6127468" y="1565717"/>
                  <a:pt x="6128932" y="1564919"/>
                </a:cubicBezTo>
                <a:cubicBezTo>
                  <a:pt x="6130530" y="1564392"/>
                  <a:pt x="6131728" y="1563596"/>
                  <a:pt x="6132659" y="1562528"/>
                </a:cubicBezTo>
                <a:cubicBezTo>
                  <a:pt x="6133724" y="1561462"/>
                  <a:pt x="6134656" y="1560127"/>
                  <a:pt x="6135322" y="1558402"/>
                </a:cubicBezTo>
                <a:cubicBezTo>
                  <a:pt x="6135987" y="1556801"/>
                  <a:pt x="6136387" y="1554942"/>
                  <a:pt x="6136387" y="1552940"/>
                </a:cubicBezTo>
                <a:cubicBezTo>
                  <a:pt x="6136387" y="1551073"/>
                  <a:pt x="6135987" y="1549349"/>
                  <a:pt x="6135322" y="1547746"/>
                </a:cubicBezTo>
                <a:cubicBezTo>
                  <a:pt x="6134656" y="1546150"/>
                  <a:pt x="6133724" y="1544827"/>
                  <a:pt x="6132659" y="1543620"/>
                </a:cubicBezTo>
                <a:cubicBezTo>
                  <a:pt x="6131594" y="1542564"/>
                  <a:pt x="6130263" y="1541623"/>
                  <a:pt x="6128666" y="1540957"/>
                </a:cubicBezTo>
                <a:cubicBezTo>
                  <a:pt x="6127202" y="1540297"/>
                  <a:pt x="6125604" y="1540033"/>
                  <a:pt x="6123608" y="1540033"/>
                </a:cubicBezTo>
                <a:close/>
                <a:moveTo>
                  <a:pt x="5905963" y="1540033"/>
                </a:moveTo>
                <a:cubicBezTo>
                  <a:pt x="5900106" y="1540033"/>
                  <a:pt x="5897576" y="1542023"/>
                  <a:pt x="5895979" y="1543620"/>
                </a:cubicBezTo>
                <a:cubicBezTo>
                  <a:pt x="5893450" y="1546289"/>
                  <a:pt x="5892385" y="1549082"/>
                  <a:pt x="5892385" y="1553078"/>
                </a:cubicBezTo>
                <a:cubicBezTo>
                  <a:pt x="5892385" y="1557204"/>
                  <a:pt x="5893450" y="1559998"/>
                  <a:pt x="5895979" y="1562528"/>
                </a:cubicBezTo>
                <a:cubicBezTo>
                  <a:pt x="5897576" y="1564126"/>
                  <a:pt x="5900106" y="1565990"/>
                  <a:pt x="5905963" y="1565990"/>
                </a:cubicBezTo>
                <a:cubicBezTo>
                  <a:pt x="5908093" y="1565990"/>
                  <a:pt x="5909823" y="1565717"/>
                  <a:pt x="5911287" y="1564919"/>
                </a:cubicBezTo>
                <a:cubicBezTo>
                  <a:pt x="5912751" y="1564392"/>
                  <a:pt x="5914083" y="1563596"/>
                  <a:pt x="5915014" y="1562528"/>
                </a:cubicBezTo>
                <a:cubicBezTo>
                  <a:pt x="5916079" y="1561462"/>
                  <a:pt x="5917011" y="1560127"/>
                  <a:pt x="5917677" y="1558402"/>
                </a:cubicBezTo>
                <a:cubicBezTo>
                  <a:pt x="5918342" y="1556801"/>
                  <a:pt x="5918742" y="1554942"/>
                  <a:pt x="5918742" y="1552940"/>
                </a:cubicBezTo>
                <a:cubicBezTo>
                  <a:pt x="5918742" y="1551073"/>
                  <a:pt x="5918342" y="1549349"/>
                  <a:pt x="5917677" y="1547746"/>
                </a:cubicBezTo>
                <a:cubicBezTo>
                  <a:pt x="5917011" y="1546150"/>
                  <a:pt x="5916079" y="1544827"/>
                  <a:pt x="5915014" y="1543620"/>
                </a:cubicBezTo>
                <a:cubicBezTo>
                  <a:pt x="5913950" y="1542564"/>
                  <a:pt x="5912618" y="1541623"/>
                  <a:pt x="5911021" y="1540957"/>
                </a:cubicBezTo>
                <a:cubicBezTo>
                  <a:pt x="5909557" y="1540297"/>
                  <a:pt x="5907826" y="1540033"/>
                  <a:pt x="5905963" y="1540033"/>
                </a:cubicBezTo>
                <a:close/>
                <a:moveTo>
                  <a:pt x="5688451" y="1540033"/>
                </a:moveTo>
                <a:cubicBezTo>
                  <a:pt x="5682594" y="1540033"/>
                  <a:pt x="5680064" y="1542023"/>
                  <a:pt x="5678467" y="1543620"/>
                </a:cubicBezTo>
                <a:cubicBezTo>
                  <a:pt x="5675938" y="1546289"/>
                  <a:pt x="5674873" y="1549082"/>
                  <a:pt x="5674873" y="1553078"/>
                </a:cubicBezTo>
                <a:cubicBezTo>
                  <a:pt x="5674873" y="1557204"/>
                  <a:pt x="5675938" y="1559998"/>
                  <a:pt x="5678467" y="1562528"/>
                </a:cubicBezTo>
                <a:cubicBezTo>
                  <a:pt x="5680064" y="1564126"/>
                  <a:pt x="5682594" y="1565990"/>
                  <a:pt x="5688451" y="1565990"/>
                </a:cubicBezTo>
                <a:cubicBezTo>
                  <a:pt x="5690447" y="1565990"/>
                  <a:pt x="5692178" y="1565717"/>
                  <a:pt x="5693775" y="1564919"/>
                </a:cubicBezTo>
                <a:cubicBezTo>
                  <a:pt x="5695239" y="1564392"/>
                  <a:pt x="5696571" y="1563596"/>
                  <a:pt x="5697502" y="1562528"/>
                </a:cubicBezTo>
                <a:cubicBezTo>
                  <a:pt x="5698567" y="1561462"/>
                  <a:pt x="5699499" y="1560127"/>
                  <a:pt x="5700165" y="1558402"/>
                </a:cubicBezTo>
                <a:cubicBezTo>
                  <a:pt x="5700830" y="1556801"/>
                  <a:pt x="5701230" y="1554942"/>
                  <a:pt x="5701230" y="1552940"/>
                </a:cubicBezTo>
                <a:cubicBezTo>
                  <a:pt x="5701230" y="1551073"/>
                  <a:pt x="5700830" y="1549349"/>
                  <a:pt x="5700165" y="1547746"/>
                </a:cubicBezTo>
                <a:cubicBezTo>
                  <a:pt x="5699499" y="1546150"/>
                  <a:pt x="5698567" y="1544827"/>
                  <a:pt x="5697502" y="1543620"/>
                </a:cubicBezTo>
                <a:cubicBezTo>
                  <a:pt x="5696437" y="1542564"/>
                  <a:pt x="5695106" y="1541623"/>
                  <a:pt x="5693509" y="1540957"/>
                </a:cubicBezTo>
                <a:cubicBezTo>
                  <a:pt x="5692045" y="1540297"/>
                  <a:pt x="5690314" y="1540033"/>
                  <a:pt x="5688451" y="1540033"/>
                </a:cubicBezTo>
                <a:close/>
                <a:moveTo>
                  <a:pt x="5470806" y="1540033"/>
                </a:moveTo>
                <a:cubicBezTo>
                  <a:pt x="5464949" y="1540033"/>
                  <a:pt x="5462419" y="1542023"/>
                  <a:pt x="5460822" y="1543620"/>
                </a:cubicBezTo>
                <a:cubicBezTo>
                  <a:pt x="5458293" y="1546289"/>
                  <a:pt x="5457228" y="1549082"/>
                  <a:pt x="5457228" y="1553078"/>
                </a:cubicBezTo>
                <a:cubicBezTo>
                  <a:pt x="5457228" y="1557204"/>
                  <a:pt x="5458293" y="1559998"/>
                  <a:pt x="5460822" y="1562528"/>
                </a:cubicBezTo>
                <a:cubicBezTo>
                  <a:pt x="5462419" y="1564126"/>
                  <a:pt x="5464949" y="1565990"/>
                  <a:pt x="5470806" y="1565990"/>
                </a:cubicBezTo>
                <a:cubicBezTo>
                  <a:pt x="5472802" y="1565990"/>
                  <a:pt x="5474666" y="1565717"/>
                  <a:pt x="5476130" y="1564919"/>
                </a:cubicBezTo>
                <a:cubicBezTo>
                  <a:pt x="5477594" y="1564392"/>
                  <a:pt x="5478926" y="1563596"/>
                  <a:pt x="5479857" y="1562528"/>
                </a:cubicBezTo>
                <a:cubicBezTo>
                  <a:pt x="5480922" y="1561462"/>
                  <a:pt x="5481854" y="1560127"/>
                  <a:pt x="5482520" y="1558402"/>
                </a:cubicBezTo>
                <a:cubicBezTo>
                  <a:pt x="5483319" y="1556801"/>
                  <a:pt x="5483585" y="1554942"/>
                  <a:pt x="5483585" y="1552940"/>
                </a:cubicBezTo>
                <a:cubicBezTo>
                  <a:pt x="5483585" y="1551073"/>
                  <a:pt x="5483185" y="1549349"/>
                  <a:pt x="5482520" y="1547746"/>
                </a:cubicBezTo>
                <a:cubicBezTo>
                  <a:pt x="5481854" y="1546150"/>
                  <a:pt x="5480922" y="1544827"/>
                  <a:pt x="5479857" y="1543620"/>
                </a:cubicBezTo>
                <a:cubicBezTo>
                  <a:pt x="5478793" y="1542564"/>
                  <a:pt x="5477461" y="1541623"/>
                  <a:pt x="5475864" y="1540957"/>
                </a:cubicBezTo>
                <a:cubicBezTo>
                  <a:pt x="5474400" y="1540297"/>
                  <a:pt x="5472669" y="1540033"/>
                  <a:pt x="5470806" y="1540033"/>
                </a:cubicBezTo>
                <a:close/>
                <a:moveTo>
                  <a:pt x="5253160" y="1540033"/>
                </a:moveTo>
                <a:cubicBezTo>
                  <a:pt x="5247303" y="1540033"/>
                  <a:pt x="5244774" y="1542023"/>
                  <a:pt x="5243177" y="1543620"/>
                </a:cubicBezTo>
                <a:cubicBezTo>
                  <a:pt x="5240647" y="1546289"/>
                  <a:pt x="5239583" y="1549082"/>
                  <a:pt x="5239583" y="1553078"/>
                </a:cubicBezTo>
                <a:cubicBezTo>
                  <a:pt x="5239583" y="1557204"/>
                  <a:pt x="5240647" y="1559998"/>
                  <a:pt x="5243177" y="1562528"/>
                </a:cubicBezTo>
                <a:cubicBezTo>
                  <a:pt x="5244774" y="1564126"/>
                  <a:pt x="5247303" y="1565990"/>
                  <a:pt x="5253160" y="1565990"/>
                </a:cubicBezTo>
                <a:cubicBezTo>
                  <a:pt x="5255157" y="1565990"/>
                  <a:pt x="5257021" y="1565717"/>
                  <a:pt x="5258485" y="1564919"/>
                </a:cubicBezTo>
                <a:cubicBezTo>
                  <a:pt x="5259949" y="1564392"/>
                  <a:pt x="5261280" y="1563596"/>
                  <a:pt x="5262212" y="1562528"/>
                </a:cubicBezTo>
                <a:cubicBezTo>
                  <a:pt x="5263277" y="1561462"/>
                  <a:pt x="5264209" y="1560127"/>
                  <a:pt x="5264875" y="1558402"/>
                </a:cubicBezTo>
                <a:cubicBezTo>
                  <a:pt x="5265673" y="1556801"/>
                  <a:pt x="5265939" y="1554942"/>
                  <a:pt x="5265939" y="1552940"/>
                </a:cubicBezTo>
                <a:cubicBezTo>
                  <a:pt x="5265939" y="1551073"/>
                  <a:pt x="5265540" y="1549349"/>
                  <a:pt x="5264875" y="1547746"/>
                </a:cubicBezTo>
                <a:cubicBezTo>
                  <a:pt x="5264209" y="1546150"/>
                  <a:pt x="5263277" y="1544827"/>
                  <a:pt x="5262212" y="1543620"/>
                </a:cubicBezTo>
                <a:cubicBezTo>
                  <a:pt x="5261147" y="1542564"/>
                  <a:pt x="5259816" y="1541623"/>
                  <a:pt x="5258219" y="1540957"/>
                </a:cubicBezTo>
                <a:cubicBezTo>
                  <a:pt x="5256754" y="1540297"/>
                  <a:pt x="5255024" y="1540033"/>
                  <a:pt x="5253160" y="1540033"/>
                </a:cubicBezTo>
                <a:close/>
                <a:moveTo>
                  <a:pt x="5035515" y="1540033"/>
                </a:moveTo>
                <a:cubicBezTo>
                  <a:pt x="5029658" y="1540033"/>
                  <a:pt x="5027129" y="1542023"/>
                  <a:pt x="5025532" y="1543620"/>
                </a:cubicBezTo>
                <a:cubicBezTo>
                  <a:pt x="5023002" y="1546289"/>
                  <a:pt x="5021938" y="1549082"/>
                  <a:pt x="5021938" y="1553078"/>
                </a:cubicBezTo>
                <a:cubicBezTo>
                  <a:pt x="5021938" y="1557204"/>
                  <a:pt x="5023002" y="1559998"/>
                  <a:pt x="5025532" y="1562528"/>
                </a:cubicBezTo>
                <a:cubicBezTo>
                  <a:pt x="5027129" y="1564126"/>
                  <a:pt x="5029658" y="1565990"/>
                  <a:pt x="5035515" y="1565990"/>
                </a:cubicBezTo>
                <a:cubicBezTo>
                  <a:pt x="5037645" y="1565990"/>
                  <a:pt x="5039376" y="1565717"/>
                  <a:pt x="5040840" y="1564919"/>
                </a:cubicBezTo>
                <a:cubicBezTo>
                  <a:pt x="5042304" y="1564392"/>
                  <a:pt x="5043636" y="1563596"/>
                  <a:pt x="5044567" y="1562528"/>
                </a:cubicBezTo>
                <a:cubicBezTo>
                  <a:pt x="5045632" y="1561462"/>
                  <a:pt x="5046564" y="1560127"/>
                  <a:pt x="5047230" y="1558402"/>
                </a:cubicBezTo>
                <a:cubicBezTo>
                  <a:pt x="5048028" y="1556801"/>
                  <a:pt x="5048294" y="1554942"/>
                  <a:pt x="5048294" y="1552940"/>
                </a:cubicBezTo>
                <a:cubicBezTo>
                  <a:pt x="5048294" y="1551073"/>
                  <a:pt x="5047895" y="1549349"/>
                  <a:pt x="5047230" y="1547746"/>
                </a:cubicBezTo>
                <a:cubicBezTo>
                  <a:pt x="5046564" y="1546150"/>
                  <a:pt x="5045632" y="1544827"/>
                  <a:pt x="5044567" y="1543620"/>
                </a:cubicBezTo>
                <a:cubicBezTo>
                  <a:pt x="5043502" y="1542564"/>
                  <a:pt x="5042171" y="1541623"/>
                  <a:pt x="5040574" y="1540957"/>
                </a:cubicBezTo>
                <a:cubicBezTo>
                  <a:pt x="5039110" y="1540297"/>
                  <a:pt x="5037379" y="1540033"/>
                  <a:pt x="5035515" y="1540033"/>
                </a:cubicBezTo>
                <a:close/>
                <a:moveTo>
                  <a:pt x="4817870" y="1540033"/>
                </a:moveTo>
                <a:cubicBezTo>
                  <a:pt x="4812013" y="1540033"/>
                  <a:pt x="4809484" y="1542023"/>
                  <a:pt x="4807887" y="1543620"/>
                </a:cubicBezTo>
                <a:cubicBezTo>
                  <a:pt x="4805357" y="1546289"/>
                  <a:pt x="4804293" y="1549082"/>
                  <a:pt x="4804293" y="1553078"/>
                </a:cubicBezTo>
                <a:cubicBezTo>
                  <a:pt x="4804293" y="1557204"/>
                  <a:pt x="4805357" y="1559998"/>
                  <a:pt x="4807887" y="1562528"/>
                </a:cubicBezTo>
                <a:cubicBezTo>
                  <a:pt x="4809484" y="1564126"/>
                  <a:pt x="4812013" y="1565990"/>
                  <a:pt x="4817870" y="1565990"/>
                </a:cubicBezTo>
                <a:cubicBezTo>
                  <a:pt x="4820000" y="1565990"/>
                  <a:pt x="4821731" y="1565717"/>
                  <a:pt x="4823195" y="1564919"/>
                </a:cubicBezTo>
                <a:cubicBezTo>
                  <a:pt x="4824659" y="1564392"/>
                  <a:pt x="4825857" y="1563596"/>
                  <a:pt x="4826922" y="1562528"/>
                </a:cubicBezTo>
                <a:cubicBezTo>
                  <a:pt x="4827987" y="1561462"/>
                  <a:pt x="4828919" y="1560127"/>
                  <a:pt x="4829585" y="1558402"/>
                </a:cubicBezTo>
                <a:cubicBezTo>
                  <a:pt x="4830383" y="1556801"/>
                  <a:pt x="4830650" y="1554942"/>
                  <a:pt x="4830650" y="1552940"/>
                </a:cubicBezTo>
                <a:cubicBezTo>
                  <a:pt x="4830650" y="1551073"/>
                  <a:pt x="4830250" y="1549349"/>
                  <a:pt x="4829585" y="1547746"/>
                </a:cubicBezTo>
                <a:cubicBezTo>
                  <a:pt x="4828919" y="1546150"/>
                  <a:pt x="4827987" y="1544827"/>
                  <a:pt x="4826922" y="1543620"/>
                </a:cubicBezTo>
                <a:cubicBezTo>
                  <a:pt x="4825857" y="1542564"/>
                  <a:pt x="4824526" y="1541623"/>
                  <a:pt x="4822929" y="1540957"/>
                </a:cubicBezTo>
                <a:cubicBezTo>
                  <a:pt x="4821465" y="1540297"/>
                  <a:pt x="4819734" y="1540033"/>
                  <a:pt x="4817870" y="1540033"/>
                </a:cubicBezTo>
                <a:close/>
                <a:moveTo>
                  <a:pt x="4600226" y="1540033"/>
                </a:moveTo>
                <a:cubicBezTo>
                  <a:pt x="4594369" y="1540033"/>
                  <a:pt x="4591839" y="1542023"/>
                  <a:pt x="4590242" y="1543620"/>
                </a:cubicBezTo>
                <a:cubicBezTo>
                  <a:pt x="4587713" y="1546289"/>
                  <a:pt x="4586648" y="1549082"/>
                  <a:pt x="4586648" y="1553078"/>
                </a:cubicBezTo>
                <a:cubicBezTo>
                  <a:pt x="4586648" y="1557204"/>
                  <a:pt x="4587713" y="1559998"/>
                  <a:pt x="4590242" y="1562528"/>
                </a:cubicBezTo>
                <a:cubicBezTo>
                  <a:pt x="4591839" y="1564126"/>
                  <a:pt x="4594369" y="1565990"/>
                  <a:pt x="4600226" y="1565990"/>
                </a:cubicBezTo>
                <a:cubicBezTo>
                  <a:pt x="4602355" y="1565990"/>
                  <a:pt x="4604086" y="1565717"/>
                  <a:pt x="4605550" y="1564919"/>
                </a:cubicBezTo>
                <a:cubicBezTo>
                  <a:pt x="4607148" y="1564392"/>
                  <a:pt x="4608346" y="1563596"/>
                  <a:pt x="4609277" y="1562528"/>
                </a:cubicBezTo>
                <a:cubicBezTo>
                  <a:pt x="4610342" y="1561462"/>
                  <a:pt x="4611274" y="1560127"/>
                  <a:pt x="4611940" y="1558402"/>
                </a:cubicBezTo>
                <a:cubicBezTo>
                  <a:pt x="4612605" y="1556801"/>
                  <a:pt x="4613005" y="1554942"/>
                  <a:pt x="4613005" y="1552940"/>
                </a:cubicBezTo>
                <a:cubicBezTo>
                  <a:pt x="4613005" y="1551073"/>
                  <a:pt x="4612605" y="1549349"/>
                  <a:pt x="4611940" y="1547746"/>
                </a:cubicBezTo>
                <a:cubicBezTo>
                  <a:pt x="4611274" y="1546150"/>
                  <a:pt x="4610342" y="1544827"/>
                  <a:pt x="4609277" y="1543620"/>
                </a:cubicBezTo>
                <a:cubicBezTo>
                  <a:pt x="4608212" y="1542564"/>
                  <a:pt x="4606881" y="1541623"/>
                  <a:pt x="4605284" y="1540957"/>
                </a:cubicBezTo>
                <a:cubicBezTo>
                  <a:pt x="4603820" y="1540297"/>
                  <a:pt x="4602222" y="1540033"/>
                  <a:pt x="4600226" y="1540033"/>
                </a:cubicBezTo>
                <a:close/>
                <a:moveTo>
                  <a:pt x="4382713" y="1540033"/>
                </a:moveTo>
                <a:cubicBezTo>
                  <a:pt x="4376857" y="1540033"/>
                  <a:pt x="4374327" y="1542023"/>
                  <a:pt x="4372730" y="1543620"/>
                </a:cubicBezTo>
                <a:cubicBezTo>
                  <a:pt x="4370201" y="1546289"/>
                  <a:pt x="4369136" y="1549082"/>
                  <a:pt x="4369136" y="1553078"/>
                </a:cubicBezTo>
                <a:cubicBezTo>
                  <a:pt x="4369136" y="1557204"/>
                  <a:pt x="4370201" y="1559998"/>
                  <a:pt x="4372730" y="1562528"/>
                </a:cubicBezTo>
                <a:cubicBezTo>
                  <a:pt x="4374327" y="1564126"/>
                  <a:pt x="4376857" y="1565990"/>
                  <a:pt x="4382713" y="1565990"/>
                </a:cubicBezTo>
                <a:cubicBezTo>
                  <a:pt x="4384710" y="1565990"/>
                  <a:pt x="4386441" y="1565717"/>
                  <a:pt x="4388038" y="1564919"/>
                </a:cubicBezTo>
                <a:cubicBezTo>
                  <a:pt x="4389502" y="1564392"/>
                  <a:pt x="4390834" y="1563596"/>
                  <a:pt x="4391765" y="1562528"/>
                </a:cubicBezTo>
                <a:cubicBezTo>
                  <a:pt x="4392830" y="1561462"/>
                  <a:pt x="4393762" y="1560127"/>
                  <a:pt x="4394428" y="1558402"/>
                </a:cubicBezTo>
                <a:cubicBezTo>
                  <a:pt x="4395093" y="1556801"/>
                  <a:pt x="4395493" y="1554942"/>
                  <a:pt x="4395493" y="1552940"/>
                </a:cubicBezTo>
                <a:cubicBezTo>
                  <a:pt x="4395493" y="1551073"/>
                  <a:pt x="4395093" y="1549349"/>
                  <a:pt x="4394428" y="1547746"/>
                </a:cubicBezTo>
                <a:cubicBezTo>
                  <a:pt x="4393762" y="1546150"/>
                  <a:pt x="4392830" y="1544827"/>
                  <a:pt x="4391765" y="1543620"/>
                </a:cubicBezTo>
                <a:cubicBezTo>
                  <a:pt x="4390700" y="1542564"/>
                  <a:pt x="4389369" y="1541623"/>
                  <a:pt x="4387772" y="1540957"/>
                </a:cubicBezTo>
                <a:cubicBezTo>
                  <a:pt x="4386308" y="1540297"/>
                  <a:pt x="4384710" y="1540033"/>
                  <a:pt x="4382713" y="1540033"/>
                </a:cubicBezTo>
                <a:close/>
                <a:moveTo>
                  <a:pt x="4165068" y="1540033"/>
                </a:moveTo>
                <a:cubicBezTo>
                  <a:pt x="4159211" y="1540033"/>
                  <a:pt x="4156681" y="1542023"/>
                  <a:pt x="4155084" y="1543620"/>
                </a:cubicBezTo>
                <a:cubicBezTo>
                  <a:pt x="4152555" y="1546289"/>
                  <a:pt x="4151490" y="1549082"/>
                  <a:pt x="4151490" y="1553078"/>
                </a:cubicBezTo>
                <a:cubicBezTo>
                  <a:pt x="4151490" y="1557204"/>
                  <a:pt x="4152555" y="1559998"/>
                  <a:pt x="4155084" y="1562528"/>
                </a:cubicBezTo>
                <a:cubicBezTo>
                  <a:pt x="4156681" y="1564126"/>
                  <a:pt x="4159211" y="1565990"/>
                  <a:pt x="4165068" y="1565990"/>
                </a:cubicBezTo>
                <a:cubicBezTo>
                  <a:pt x="4167064" y="1565990"/>
                  <a:pt x="4168928" y="1565717"/>
                  <a:pt x="4170392" y="1564919"/>
                </a:cubicBezTo>
                <a:cubicBezTo>
                  <a:pt x="4171856" y="1564392"/>
                  <a:pt x="4173188" y="1563596"/>
                  <a:pt x="4174119" y="1562528"/>
                </a:cubicBezTo>
                <a:cubicBezTo>
                  <a:pt x="4175184" y="1561462"/>
                  <a:pt x="4176116" y="1560127"/>
                  <a:pt x="4176782" y="1558402"/>
                </a:cubicBezTo>
                <a:cubicBezTo>
                  <a:pt x="4177447" y="1556801"/>
                  <a:pt x="4177847" y="1554942"/>
                  <a:pt x="4177847" y="1552940"/>
                </a:cubicBezTo>
                <a:cubicBezTo>
                  <a:pt x="4177847" y="1551073"/>
                  <a:pt x="4177447" y="1549349"/>
                  <a:pt x="4176782" y="1547746"/>
                </a:cubicBezTo>
                <a:cubicBezTo>
                  <a:pt x="4176116" y="1546150"/>
                  <a:pt x="4175184" y="1544827"/>
                  <a:pt x="4174119" y="1543620"/>
                </a:cubicBezTo>
                <a:cubicBezTo>
                  <a:pt x="4173054" y="1542564"/>
                  <a:pt x="4171723" y="1541623"/>
                  <a:pt x="4170126" y="1540957"/>
                </a:cubicBezTo>
                <a:cubicBezTo>
                  <a:pt x="4168662" y="1540297"/>
                  <a:pt x="4167064" y="1540033"/>
                  <a:pt x="4165068" y="1540033"/>
                </a:cubicBezTo>
                <a:close/>
                <a:moveTo>
                  <a:pt x="3947512" y="1540033"/>
                </a:moveTo>
                <a:cubicBezTo>
                  <a:pt x="3941654" y="1540033"/>
                  <a:pt x="3939126" y="1542023"/>
                  <a:pt x="3937529" y="1543620"/>
                </a:cubicBezTo>
                <a:cubicBezTo>
                  <a:pt x="3934997" y="1546289"/>
                  <a:pt x="3933934" y="1549082"/>
                  <a:pt x="3933934" y="1553078"/>
                </a:cubicBezTo>
                <a:cubicBezTo>
                  <a:pt x="3933934" y="1557204"/>
                  <a:pt x="3934997" y="1559998"/>
                  <a:pt x="3937529" y="1562528"/>
                </a:cubicBezTo>
                <a:cubicBezTo>
                  <a:pt x="3939126" y="1564126"/>
                  <a:pt x="3941654" y="1565990"/>
                  <a:pt x="3947512" y="1565990"/>
                </a:cubicBezTo>
                <a:cubicBezTo>
                  <a:pt x="3949509" y="1565990"/>
                  <a:pt x="3951372" y="1565717"/>
                  <a:pt x="3952837" y="1564919"/>
                </a:cubicBezTo>
                <a:cubicBezTo>
                  <a:pt x="3954301" y="1564392"/>
                  <a:pt x="3955631" y="1563596"/>
                  <a:pt x="3956564" y="1562528"/>
                </a:cubicBezTo>
                <a:cubicBezTo>
                  <a:pt x="3957629" y="1561462"/>
                  <a:pt x="3958562" y="1560127"/>
                  <a:pt x="3959227" y="1558402"/>
                </a:cubicBezTo>
                <a:cubicBezTo>
                  <a:pt x="3959892" y="1556801"/>
                  <a:pt x="3960292" y="1554942"/>
                  <a:pt x="3960292" y="1552940"/>
                </a:cubicBezTo>
                <a:cubicBezTo>
                  <a:pt x="3960292" y="1551073"/>
                  <a:pt x="3959892" y="1549349"/>
                  <a:pt x="3959227" y="1547746"/>
                </a:cubicBezTo>
                <a:cubicBezTo>
                  <a:pt x="3958562" y="1546150"/>
                  <a:pt x="3957629" y="1544827"/>
                  <a:pt x="3956564" y="1543620"/>
                </a:cubicBezTo>
                <a:cubicBezTo>
                  <a:pt x="3955499" y="1542564"/>
                  <a:pt x="3954168" y="1541623"/>
                  <a:pt x="3952571" y="1540957"/>
                </a:cubicBezTo>
                <a:cubicBezTo>
                  <a:pt x="3951105" y="1540297"/>
                  <a:pt x="3949509" y="1540033"/>
                  <a:pt x="3947512" y="1540033"/>
                </a:cubicBezTo>
                <a:close/>
                <a:moveTo>
                  <a:pt x="3729862" y="1540033"/>
                </a:moveTo>
                <a:cubicBezTo>
                  <a:pt x="3724005" y="1540033"/>
                  <a:pt x="3721476" y="1542023"/>
                  <a:pt x="3719876" y="1543620"/>
                </a:cubicBezTo>
                <a:cubicBezTo>
                  <a:pt x="3717347" y="1546289"/>
                  <a:pt x="3716284" y="1549082"/>
                  <a:pt x="3716284" y="1553078"/>
                </a:cubicBezTo>
                <a:cubicBezTo>
                  <a:pt x="3716284" y="1557204"/>
                  <a:pt x="3717347" y="1559998"/>
                  <a:pt x="3719876" y="1562528"/>
                </a:cubicBezTo>
                <a:cubicBezTo>
                  <a:pt x="3721476" y="1564126"/>
                  <a:pt x="3724005" y="1565990"/>
                  <a:pt x="3729862" y="1565990"/>
                </a:cubicBezTo>
                <a:cubicBezTo>
                  <a:pt x="3731992" y="1565990"/>
                  <a:pt x="3733723" y="1565717"/>
                  <a:pt x="3735187" y="1564919"/>
                </a:cubicBezTo>
                <a:cubicBezTo>
                  <a:pt x="3736651" y="1564392"/>
                  <a:pt x="3737983" y="1563596"/>
                  <a:pt x="3738914" y="1562528"/>
                </a:cubicBezTo>
                <a:cubicBezTo>
                  <a:pt x="3739979" y="1561462"/>
                  <a:pt x="3740911" y="1560127"/>
                  <a:pt x="3741577" y="1558402"/>
                </a:cubicBezTo>
                <a:cubicBezTo>
                  <a:pt x="3742242" y="1556801"/>
                  <a:pt x="3742642" y="1554942"/>
                  <a:pt x="3742642" y="1552940"/>
                </a:cubicBezTo>
                <a:cubicBezTo>
                  <a:pt x="3742642" y="1551073"/>
                  <a:pt x="3742242" y="1549349"/>
                  <a:pt x="3741577" y="1547746"/>
                </a:cubicBezTo>
                <a:cubicBezTo>
                  <a:pt x="3740911" y="1546150"/>
                  <a:pt x="3739979" y="1544827"/>
                  <a:pt x="3738914" y="1543620"/>
                </a:cubicBezTo>
                <a:cubicBezTo>
                  <a:pt x="3737849" y="1542564"/>
                  <a:pt x="3736518" y="1541623"/>
                  <a:pt x="3734922" y="1540957"/>
                </a:cubicBezTo>
                <a:cubicBezTo>
                  <a:pt x="3733456" y="1540297"/>
                  <a:pt x="3731859" y="1540033"/>
                  <a:pt x="3729862" y="1540033"/>
                </a:cubicBezTo>
                <a:close/>
                <a:moveTo>
                  <a:pt x="3512212" y="1540033"/>
                </a:moveTo>
                <a:cubicBezTo>
                  <a:pt x="3506356" y="1540033"/>
                  <a:pt x="3503825" y="1542023"/>
                  <a:pt x="3502227" y="1543620"/>
                </a:cubicBezTo>
                <a:cubicBezTo>
                  <a:pt x="3499698" y="1546289"/>
                  <a:pt x="3498634" y="1549082"/>
                  <a:pt x="3498634" y="1553078"/>
                </a:cubicBezTo>
                <a:cubicBezTo>
                  <a:pt x="3498634" y="1557204"/>
                  <a:pt x="3499698" y="1559998"/>
                  <a:pt x="3502227" y="1562528"/>
                </a:cubicBezTo>
                <a:cubicBezTo>
                  <a:pt x="3503825" y="1564126"/>
                  <a:pt x="3506356" y="1565990"/>
                  <a:pt x="3512212" y="1565990"/>
                </a:cubicBezTo>
                <a:cubicBezTo>
                  <a:pt x="3514342" y="1565990"/>
                  <a:pt x="3516073" y="1565717"/>
                  <a:pt x="3517538" y="1564919"/>
                </a:cubicBezTo>
                <a:cubicBezTo>
                  <a:pt x="3519002" y="1564392"/>
                  <a:pt x="3520334" y="1563596"/>
                  <a:pt x="3521265" y="1562528"/>
                </a:cubicBezTo>
                <a:cubicBezTo>
                  <a:pt x="3522330" y="1561462"/>
                  <a:pt x="3523262" y="1560127"/>
                  <a:pt x="3523928" y="1558402"/>
                </a:cubicBezTo>
                <a:cubicBezTo>
                  <a:pt x="3524593" y="1556801"/>
                  <a:pt x="3524993" y="1554942"/>
                  <a:pt x="3524993" y="1552940"/>
                </a:cubicBezTo>
                <a:cubicBezTo>
                  <a:pt x="3524993" y="1551073"/>
                  <a:pt x="3524593" y="1549349"/>
                  <a:pt x="3523928" y="1547746"/>
                </a:cubicBezTo>
                <a:cubicBezTo>
                  <a:pt x="3523262" y="1546150"/>
                  <a:pt x="3522330" y="1544827"/>
                  <a:pt x="3521265" y="1543620"/>
                </a:cubicBezTo>
                <a:cubicBezTo>
                  <a:pt x="3520200" y="1542564"/>
                  <a:pt x="3518868" y="1541623"/>
                  <a:pt x="3517272" y="1540957"/>
                </a:cubicBezTo>
                <a:cubicBezTo>
                  <a:pt x="3515808" y="1540297"/>
                  <a:pt x="3514210" y="1540033"/>
                  <a:pt x="3512212" y="1540033"/>
                </a:cubicBezTo>
                <a:close/>
                <a:moveTo>
                  <a:pt x="3294696" y="1540033"/>
                </a:moveTo>
                <a:cubicBezTo>
                  <a:pt x="3288839" y="1540033"/>
                  <a:pt x="3286309" y="1542023"/>
                  <a:pt x="3284712" y="1543620"/>
                </a:cubicBezTo>
                <a:cubicBezTo>
                  <a:pt x="3282181" y="1546289"/>
                  <a:pt x="3281118" y="1549082"/>
                  <a:pt x="3281118" y="1553078"/>
                </a:cubicBezTo>
                <a:cubicBezTo>
                  <a:pt x="3281118" y="1557204"/>
                  <a:pt x="3282181" y="1559998"/>
                  <a:pt x="3284712" y="1562528"/>
                </a:cubicBezTo>
                <a:cubicBezTo>
                  <a:pt x="3286309" y="1564126"/>
                  <a:pt x="3288839" y="1565990"/>
                  <a:pt x="3294696" y="1565990"/>
                </a:cubicBezTo>
                <a:cubicBezTo>
                  <a:pt x="3296693" y="1565990"/>
                  <a:pt x="3298423" y="1565717"/>
                  <a:pt x="3300021" y="1564919"/>
                </a:cubicBezTo>
                <a:cubicBezTo>
                  <a:pt x="3301485" y="1564392"/>
                  <a:pt x="3302817" y="1563596"/>
                  <a:pt x="3303748" y="1562528"/>
                </a:cubicBezTo>
                <a:cubicBezTo>
                  <a:pt x="3304813" y="1561462"/>
                  <a:pt x="3305745" y="1560127"/>
                  <a:pt x="3306411" y="1558402"/>
                </a:cubicBezTo>
                <a:cubicBezTo>
                  <a:pt x="3307076" y="1556801"/>
                  <a:pt x="3307475" y="1554942"/>
                  <a:pt x="3307475" y="1552940"/>
                </a:cubicBezTo>
                <a:cubicBezTo>
                  <a:pt x="3307475" y="1551073"/>
                  <a:pt x="3307076" y="1549349"/>
                  <a:pt x="3306411" y="1547746"/>
                </a:cubicBezTo>
                <a:cubicBezTo>
                  <a:pt x="3305745" y="1546150"/>
                  <a:pt x="3304813" y="1544827"/>
                  <a:pt x="3303748" y="1543620"/>
                </a:cubicBezTo>
                <a:cubicBezTo>
                  <a:pt x="3302683" y="1542564"/>
                  <a:pt x="3301352" y="1541623"/>
                  <a:pt x="3299755" y="1540957"/>
                </a:cubicBezTo>
                <a:cubicBezTo>
                  <a:pt x="3298291" y="1540297"/>
                  <a:pt x="3296693" y="1540033"/>
                  <a:pt x="3294696" y="1540033"/>
                </a:cubicBezTo>
                <a:close/>
                <a:moveTo>
                  <a:pt x="3077179" y="1540033"/>
                </a:moveTo>
                <a:cubicBezTo>
                  <a:pt x="3071322" y="1540033"/>
                  <a:pt x="3068793" y="1542023"/>
                  <a:pt x="3067196" y="1543620"/>
                </a:cubicBezTo>
                <a:cubicBezTo>
                  <a:pt x="3064533" y="1546289"/>
                  <a:pt x="3063468" y="1549082"/>
                  <a:pt x="3063468" y="1553078"/>
                </a:cubicBezTo>
                <a:cubicBezTo>
                  <a:pt x="3063468" y="1557204"/>
                  <a:pt x="3064533" y="1559998"/>
                  <a:pt x="3067062" y="1562528"/>
                </a:cubicBezTo>
                <a:cubicBezTo>
                  <a:pt x="3068660" y="1564126"/>
                  <a:pt x="3071189" y="1565990"/>
                  <a:pt x="3077046" y="1565990"/>
                </a:cubicBezTo>
                <a:cubicBezTo>
                  <a:pt x="3079043" y="1565990"/>
                  <a:pt x="3080774" y="1565717"/>
                  <a:pt x="3082504" y="1564919"/>
                </a:cubicBezTo>
                <a:cubicBezTo>
                  <a:pt x="3083970" y="1564392"/>
                  <a:pt x="3085301" y="1563596"/>
                  <a:pt x="3086232" y="1562528"/>
                </a:cubicBezTo>
                <a:cubicBezTo>
                  <a:pt x="3087296" y="1561462"/>
                  <a:pt x="3088229" y="1560127"/>
                  <a:pt x="3088894" y="1558402"/>
                </a:cubicBezTo>
                <a:cubicBezTo>
                  <a:pt x="3089559" y="1556801"/>
                  <a:pt x="3089827" y="1554942"/>
                  <a:pt x="3089827" y="1552940"/>
                </a:cubicBezTo>
                <a:cubicBezTo>
                  <a:pt x="3089827" y="1551073"/>
                  <a:pt x="3089559" y="1549349"/>
                  <a:pt x="3088894" y="1547746"/>
                </a:cubicBezTo>
                <a:cubicBezTo>
                  <a:pt x="3088229" y="1546150"/>
                  <a:pt x="3087296" y="1544827"/>
                  <a:pt x="3086232" y="1543620"/>
                </a:cubicBezTo>
                <a:cubicBezTo>
                  <a:pt x="3085167" y="1542564"/>
                  <a:pt x="3083836" y="1541623"/>
                  <a:pt x="3082239" y="1540957"/>
                </a:cubicBezTo>
                <a:cubicBezTo>
                  <a:pt x="3080774" y="1540297"/>
                  <a:pt x="3079176" y="1540033"/>
                  <a:pt x="3077179" y="1540033"/>
                </a:cubicBezTo>
                <a:close/>
                <a:moveTo>
                  <a:pt x="2859397" y="1540033"/>
                </a:moveTo>
                <a:cubicBezTo>
                  <a:pt x="2853540" y="1540033"/>
                  <a:pt x="2851011" y="1542023"/>
                  <a:pt x="2849413" y="1543620"/>
                </a:cubicBezTo>
                <a:cubicBezTo>
                  <a:pt x="2846881" y="1546289"/>
                  <a:pt x="2845818" y="1549082"/>
                  <a:pt x="2845818" y="1553078"/>
                </a:cubicBezTo>
                <a:cubicBezTo>
                  <a:pt x="2845818" y="1557204"/>
                  <a:pt x="2846881" y="1559998"/>
                  <a:pt x="2849413" y="1562528"/>
                </a:cubicBezTo>
                <a:cubicBezTo>
                  <a:pt x="2851011" y="1564126"/>
                  <a:pt x="2853540" y="1565990"/>
                  <a:pt x="2859397" y="1565990"/>
                </a:cubicBezTo>
                <a:cubicBezTo>
                  <a:pt x="2861394" y="1565990"/>
                  <a:pt x="2863258" y="1565717"/>
                  <a:pt x="2864722" y="1564919"/>
                </a:cubicBezTo>
                <a:cubicBezTo>
                  <a:pt x="2866320" y="1564392"/>
                  <a:pt x="2867518" y="1563596"/>
                  <a:pt x="2868449" y="1562528"/>
                </a:cubicBezTo>
                <a:cubicBezTo>
                  <a:pt x="2869514" y="1561462"/>
                  <a:pt x="2870446" y="1560127"/>
                  <a:pt x="2871112" y="1558402"/>
                </a:cubicBezTo>
                <a:cubicBezTo>
                  <a:pt x="2871644" y="1556801"/>
                  <a:pt x="2872043" y="1554942"/>
                  <a:pt x="2872043" y="1552940"/>
                </a:cubicBezTo>
                <a:cubicBezTo>
                  <a:pt x="2872043" y="1551073"/>
                  <a:pt x="2871777" y="1549349"/>
                  <a:pt x="2871112" y="1547746"/>
                </a:cubicBezTo>
                <a:cubicBezTo>
                  <a:pt x="2870446" y="1546150"/>
                  <a:pt x="2869514" y="1544827"/>
                  <a:pt x="2868449" y="1543620"/>
                </a:cubicBezTo>
                <a:cubicBezTo>
                  <a:pt x="2867385" y="1542564"/>
                  <a:pt x="2866053" y="1541623"/>
                  <a:pt x="2864456" y="1540957"/>
                </a:cubicBezTo>
                <a:cubicBezTo>
                  <a:pt x="2862992" y="1540297"/>
                  <a:pt x="2861394" y="1540033"/>
                  <a:pt x="2859397" y="1540033"/>
                </a:cubicBezTo>
                <a:close/>
                <a:moveTo>
                  <a:pt x="2641747" y="1540033"/>
                </a:moveTo>
                <a:cubicBezTo>
                  <a:pt x="2635890" y="1540033"/>
                  <a:pt x="2633361" y="1542023"/>
                  <a:pt x="2631764" y="1543620"/>
                </a:cubicBezTo>
                <a:cubicBezTo>
                  <a:pt x="2629234" y="1546289"/>
                  <a:pt x="2628170" y="1549082"/>
                  <a:pt x="2628170" y="1553078"/>
                </a:cubicBezTo>
                <a:cubicBezTo>
                  <a:pt x="2628170" y="1557204"/>
                  <a:pt x="2629234" y="1559998"/>
                  <a:pt x="2631764" y="1562528"/>
                </a:cubicBezTo>
                <a:cubicBezTo>
                  <a:pt x="2633361" y="1564126"/>
                  <a:pt x="2635890" y="1565990"/>
                  <a:pt x="2641747" y="1565990"/>
                </a:cubicBezTo>
                <a:cubicBezTo>
                  <a:pt x="2643744" y="1565990"/>
                  <a:pt x="2645609" y="1565717"/>
                  <a:pt x="2647073" y="1564919"/>
                </a:cubicBezTo>
                <a:cubicBezTo>
                  <a:pt x="2648669" y="1564392"/>
                  <a:pt x="2649867" y="1563596"/>
                  <a:pt x="2650800" y="1562528"/>
                </a:cubicBezTo>
                <a:cubicBezTo>
                  <a:pt x="2651865" y="1561462"/>
                  <a:pt x="2652796" y="1560127"/>
                  <a:pt x="2653463" y="1558402"/>
                </a:cubicBezTo>
                <a:cubicBezTo>
                  <a:pt x="2653994" y="1556801"/>
                  <a:pt x="2654393" y="1554942"/>
                  <a:pt x="2654393" y="1552940"/>
                </a:cubicBezTo>
                <a:cubicBezTo>
                  <a:pt x="2654393" y="1551073"/>
                  <a:pt x="2654128" y="1549349"/>
                  <a:pt x="2653463" y="1547746"/>
                </a:cubicBezTo>
                <a:cubicBezTo>
                  <a:pt x="2652796" y="1546150"/>
                  <a:pt x="2651865" y="1544827"/>
                  <a:pt x="2650800" y="1543620"/>
                </a:cubicBezTo>
                <a:cubicBezTo>
                  <a:pt x="2649734" y="1542564"/>
                  <a:pt x="2648403" y="1541623"/>
                  <a:pt x="2646806" y="1540957"/>
                </a:cubicBezTo>
                <a:cubicBezTo>
                  <a:pt x="2645341" y="1540297"/>
                  <a:pt x="2643744" y="1540033"/>
                  <a:pt x="2641747" y="1540033"/>
                </a:cubicBezTo>
                <a:close/>
                <a:moveTo>
                  <a:pt x="2424097" y="1540033"/>
                </a:moveTo>
                <a:cubicBezTo>
                  <a:pt x="2418241" y="1540033"/>
                  <a:pt x="2415712" y="1542023"/>
                  <a:pt x="2414114" y="1543620"/>
                </a:cubicBezTo>
                <a:cubicBezTo>
                  <a:pt x="2411584" y="1546289"/>
                  <a:pt x="2410520" y="1549082"/>
                  <a:pt x="2410520" y="1553078"/>
                </a:cubicBezTo>
                <a:cubicBezTo>
                  <a:pt x="2410520" y="1557204"/>
                  <a:pt x="2411584" y="1559998"/>
                  <a:pt x="2414114" y="1562528"/>
                </a:cubicBezTo>
                <a:cubicBezTo>
                  <a:pt x="2415712" y="1564126"/>
                  <a:pt x="2418241" y="1565990"/>
                  <a:pt x="2424097" y="1565990"/>
                </a:cubicBezTo>
                <a:cubicBezTo>
                  <a:pt x="2426227" y="1565990"/>
                  <a:pt x="2427959" y="1565717"/>
                  <a:pt x="2429423" y="1564919"/>
                </a:cubicBezTo>
                <a:cubicBezTo>
                  <a:pt x="2431021" y="1564392"/>
                  <a:pt x="2432219" y="1563596"/>
                  <a:pt x="2433150" y="1562528"/>
                </a:cubicBezTo>
                <a:cubicBezTo>
                  <a:pt x="2434215" y="1561462"/>
                  <a:pt x="2435147" y="1560127"/>
                  <a:pt x="2435813" y="1558402"/>
                </a:cubicBezTo>
                <a:cubicBezTo>
                  <a:pt x="2436344" y="1556801"/>
                  <a:pt x="2436744" y="1554942"/>
                  <a:pt x="2436744" y="1552940"/>
                </a:cubicBezTo>
                <a:cubicBezTo>
                  <a:pt x="2436744" y="1551073"/>
                  <a:pt x="2436478" y="1549349"/>
                  <a:pt x="2435813" y="1547746"/>
                </a:cubicBezTo>
                <a:cubicBezTo>
                  <a:pt x="2435147" y="1546150"/>
                  <a:pt x="2434215" y="1544827"/>
                  <a:pt x="2433150" y="1543620"/>
                </a:cubicBezTo>
                <a:cubicBezTo>
                  <a:pt x="2432086" y="1542564"/>
                  <a:pt x="2430754" y="1541623"/>
                  <a:pt x="2429157" y="1540957"/>
                </a:cubicBezTo>
                <a:cubicBezTo>
                  <a:pt x="2427693" y="1540297"/>
                  <a:pt x="2426095" y="1540033"/>
                  <a:pt x="2424097" y="1540033"/>
                </a:cubicBezTo>
                <a:close/>
                <a:moveTo>
                  <a:pt x="2206448" y="1540033"/>
                </a:moveTo>
                <a:cubicBezTo>
                  <a:pt x="2200591" y="1540033"/>
                  <a:pt x="2198062" y="1542023"/>
                  <a:pt x="2196464" y="1543620"/>
                </a:cubicBezTo>
                <a:cubicBezTo>
                  <a:pt x="2193935" y="1546289"/>
                  <a:pt x="2192870" y="1549082"/>
                  <a:pt x="2192870" y="1553078"/>
                </a:cubicBezTo>
                <a:cubicBezTo>
                  <a:pt x="2192870" y="1557204"/>
                  <a:pt x="2193935" y="1559998"/>
                  <a:pt x="2196464" y="1562528"/>
                </a:cubicBezTo>
                <a:cubicBezTo>
                  <a:pt x="2198062" y="1564126"/>
                  <a:pt x="2200591" y="1565990"/>
                  <a:pt x="2206448" y="1565990"/>
                </a:cubicBezTo>
                <a:cubicBezTo>
                  <a:pt x="2208578" y="1565990"/>
                  <a:pt x="2210309" y="1565717"/>
                  <a:pt x="2211773" y="1564919"/>
                </a:cubicBezTo>
                <a:cubicBezTo>
                  <a:pt x="2213370" y="1564392"/>
                  <a:pt x="2214568" y="1563596"/>
                  <a:pt x="2215500" y="1562528"/>
                </a:cubicBezTo>
                <a:cubicBezTo>
                  <a:pt x="2216565" y="1561462"/>
                  <a:pt x="2217497" y="1560127"/>
                  <a:pt x="2218163" y="1558402"/>
                </a:cubicBezTo>
                <a:cubicBezTo>
                  <a:pt x="2218695" y="1556801"/>
                  <a:pt x="2219094" y="1554942"/>
                  <a:pt x="2219094" y="1552940"/>
                </a:cubicBezTo>
                <a:cubicBezTo>
                  <a:pt x="2219094" y="1551073"/>
                  <a:pt x="2218828" y="1549349"/>
                  <a:pt x="2218163" y="1547746"/>
                </a:cubicBezTo>
                <a:cubicBezTo>
                  <a:pt x="2217497" y="1546150"/>
                  <a:pt x="2216565" y="1544827"/>
                  <a:pt x="2215500" y="1543620"/>
                </a:cubicBezTo>
                <a:cubicBezTo>
                  <a:pt x="2214435" y="1542564"/>
                  <a:pt x="2213104" y="1541623"/>
                  <a:pt x="2211507" y="1540957"/>
                </a:cubicBezTo>
                <a:cubicBezTo>
                  <a:pt x="2210042" y="1540297"/>
                  <a:pt x="2208445" y="1540033"/>
                  <a:pt x="2206448" y="1540033"/>
                </a:cubicBezTo>
                <a:close/>
                <a:moveTo>
                  <a:pt x="1988931" y="1540033"/>
                </a:moveTo>
                <a:cubicBezTo>
                  <a:pt x="1983074" y="1540033"/>
                  <a:pt x="1980545" y="1542023"/>
                  <a:pt x="1978948" y="1543620"/>
                </a:cubicBezTo>
                <a:cubicBezTo>
                  <a:pt x="1976418" y="1546289"/>
                  <a:pt x="1975354" y="1549082"/>
                  <a:pt x="1975354" y="1553078"/>
                </a:cubicBezTo>
                <a:cubicBezTo>
                  <a:pt x="1975354" y="1557204"/>
                  <a:pt x="1976418" y="1559998"/>
                  <a:pt x="1978948" y="1562528"/>
                </a:cubicBezTo>
                <a:cubicBezTo>
                  <a:pt x="1980545" y="1564126"/>
                  <a:pt x="1983074" y="1565990"/>
                  <a:pt x="1988931" y="1565990"/>
                </a:cubicBezTo>
                <a:cubicBezTo>
                  <a:pt x="1990928" y="1565990"/>
                  <a:pt x="1992659" y="1565717"/>
                  <a:pt x="1994256" y="1564919"/>
                </a:cubicBezTo>
                <a:cubicBezTo>
                  <a:pt x="1995854" y="1564392"/>
                  <a:pt x="1997052" y="1563596"/>
                  <a:pt x="1997984" y="1562528"/>
                </a:cubicBezTo>
                <a:cubicBezTo>
                  <a:pt x="1999048" y="1561462"/>
                  <a:pt x="1999980" y="1560127"/>
                  <a:pt x="2000647" y="1558402"/>
                </a:cubicBezTo>
                <a:cubicBezTo>
                  <a:pt x="2001178" y="1556801"/>
                  <a:pt x="2001577" y="1554942"/>
                  <a:pt x="2001577" y="1552940"/>
                </a:cubicBezTo>
                <a:cubicBezTo>
                  <a:pt x="2001577" y="1551073"/>
                  <a:pt x="2001312" y="1549349"/>
                  <a:pt x="2000647" y="1547746"/>
                </a:cubicBezTo>
                <a:cubicBezTo>
                  <a:pt x="1999980" y="1546150"/>
                  <a:pt x="1999048" y="1544827"/>
                  <a:pt x="1997984" y="1543620"/>
                </a:cubicBezTo>
                <a:cubicBezTo>
                  <a:pt x="1996919" y="1542564"/>
                  <a:pt x="1995587" y="1541623"/>
                  <a:pt x="1993990" y="1540957"/>
                </a:cubicBezTo>
                <a:cubicBezTo>
                  <a:pt x="1992526" y="1540297"/>
                  <a:pt x="1990928" y="1540033"/>
                  <a:pt x="1988931" y="1540033"/>
                </a:cubicBezTo>
                <a:close/>
                <a:moveTo>
                  <a:pt x="1771290" y="1540033"/>
                </a:moveTo>
                <a:cubicBezTo>
                  <a:pt x="1765432" y="1540033"/>
                  <a:pt x="1762904" y="1542023"/>
                  <a:pt x="1761307" y="1543620"/>
                </a:cubicBezTo>
                <a:cubicBezTo>
                  <a:pt x="1758777" y="1546289"/>
                  <a:pt x="1757713" y="1549082"/>
                  <a:pt x="1757713" y="1553078"/>
                </a:cubicBezTo>
                <a:cubicBezTo>
                  <a:pt x="1757713" y="1557204"/>
                  <a:pt x="1758777" y="1559998"/>
                  <a:pt x="1761307" y="1562528"/>
                </a:cubicBezTo>
                <a:cubicBezTo>
                  <a:pt x="1762904" y="1564126"/>
                  <a:pt x="1765432" y="1565990"/>
                  <a:pt x="1771290" y="1565990"/>
                </a:cubicBezTo>
                <a:cubicBezTo>
                  <a:pt x="1773287" y="1565990"/>
                  <a:pt x="1775150" y="1565717"/>
                  <a:pt x="1776614" y="1564919"/>
                </a:cubicBezTo>
                <a:cubicBezTo>
                  <a:pt x="1778079" y="1564392"/>
                  <a:pt x="1779409" y="1563596"/>
                  <a:pt x="1780341" y="1562528"/>
                </a:cubicBezTo>
                <a:cubicBezTo>
                  <a:pt x="1781407" y="1561462"/>
                  <a:pt x="1782338" y="1560127"/>
                  <a:pt x="1783004" y="1558402"/>
                </a:cubicBezTo>
                <a:cubicBezTo>
                  <a:pt x="1783669" y="1556801"/>
                  <a:pt x="1784069" y="1554942"/>
                  <a:pt x="1784069" y="1552940"/>
                </a:cubicBezTo>
                <a:cubicBezTo>
                  <a:pt x="1784069" y="1551073"/>
                  <a:pt x="1783669" y="1549349"/>
                  <a:pt x="1783004" y="1547746"/>
                </a:cubicBezTo>
                <a:cubicBezTo>
                  <a:pt x="1782338" y="1546150"/>
                  <a:pt x="1781407" y="1544827"/>
                  <a:pt x="1780341" y="1543620"/>
                </a:cubicBezTo>
                <a:cubicBezTo>
                  <a:pt x="1779277" y="1542564"/>
                  <a:pt x="1777946" y="1541623"/>
                  <a:pt x="1776349" y="1540957"/>
                </a:cubicBezTo>
                <a:cubicBezTo>
                  <a:pt x="1774884" y="1540297"/>
                  <a:pt x="1773287" y="1540033"/>
                  <a:pt x="1771290" y="1540033"/>
                </a:cubicBezTo>
                <a:close/>
                <a:moveTo>
                  <a:pt x="1553647" y="1540033"/>
                </a:moveTo>
                <a:cubicBezTo>
                  <a:pt x="1547789" y="1540033"/>
                  <a:pt x="1545260" y="1542023"/>
                  <a:pt x="1543663" y="1543620"/>
                </a:cubicBezTo>
                <a:cubicBezTo>
                  <a:pt x="1541133" y="1546289"/>
                  <a:pt x="1540069" y="1549082"/>
                  <a:pt x="1540069" y="1553078"/>
                </a:cubicBezTo>
                <a:cubicBezTo>
                  <a:pt x="1540069" y="1557204"/>
                  <a:pt x="1541133" y="1559998"/>
                  <a:pt x="1543663" y="1562528"/>
                </a:cubicBezTo>
                <a:cubicBezTo>
                  <a:pt x="1545260" y="1564126"/>
                  <a:pt x="1547789" y="1565990"/>
                  <a:pt x="1553647" y="1565990"/>
                </a:cubicBezTo>
                <a:cubicBezTo>
                  <a:pt x="1555643" y="1565990"/>
                  <a:pt x="1557507" y="1565717"/>
                  <a:pt x="1558971" y="1564919"/>
                </a:cubicBezTo>
                <a:cubicBezTo>
                  <a:pt x="1560435" y="1564392"/>
                  <a:pt x="1561767" y="1563596"/>
                  <a:pt x="1562698" y="1562528"/>
                </a:cubicBezTo>
                <a:cubicBezTo>
                  <a:pt x="1563763" y="1561462"/>
                  <a:pt x="1564695" y="1560127"/>
                  <a:pt x="1565361" y="1558402"/>
                </a:cubicBezTo>
                <a:cubicBezTo>
                  <a:pt x="1566026" y="1556801"/>
                  <a:pt x="1566427" y="1554942"/>
                  <a:pt x="1566427" y="1552940"/>
                </a:cubicBezTo>
                <a:cubicBezTo>
                  <a:pt x="1566427" y="1551073"/>
                  <a:pt x="1566026" y="1549349"/>
                  <a:pt x="1565361" y="1547746"/>
                </a:cubicBezTo>
                <a:cubicBezTo>
                  <a:pt x="1564695" y="1546150"/>
                  <a:pt x="1563763" y="1544827"/>
                  <a:pt x="1562698" y="1543620"/>
                </a:cubicBezTo>
                <a:cubicBezTo>
                  <a:pt x="1561633" y="1542564"/>
                  <a:pt x="1560303" y="1541623"/>
                  <a:pt x="1558705" y="1540957"/>
                </a:cubicBezTo>
                <a:cubicBezTo>
                  <a:pt x="1557241" y="1540297"/>
                  <a:pt x="1555643" y="1540033"/>
                  <a:pt x="1553647" y="1540033"/>
                </a:cubicBezTo>
                <a:close/>
                <a:moveTo>
                  <a:pt x="1336001" y="1540033"/>
                </a:moveTo>
                <a:cubicBezTo>
                  <a:pt x="1330145" y="1540033"/>
                  <a:pt x="1327615" y="1542023"/>
                  <a:pt x="1326019" y="1543620"/>
                </a:cubicBezTo>
                <a:cubicBezTo>
                  <a:pt x="1323488" y="1546289"/>
                  <a:pt x="1322424" y="1549082"/>
                  <a:pt x="1322424" y="1553078"/>
                </a:cubicBezTo>
                <a:cubicBezTo>
                  <a:pt x="1322424" y="1557204"/>
                  <a:pt x="1323488" y="1559998"/>
                  <a:pt x="1326019" y="1562528"/>
                </a:cubicBezTo>
                <a:cubicBezTo>
                  <a:pt x="1327615" y="1564126"/>
                  <a:pt x="1330145" y="1565990"/>
                  <a:pt x="1336001" y="1565990"/>
                </a:cubicBezTo>
                <a:cubicBezTo>
                  <a:pt x="1338132" y="1565990"/>
                  <a:pt x="1339863" y="1565717"/>
                  <a:pt x="1341327" y="1564919"/>
                </a:cubicBezTo>
                <a:cubicBezTo>
                  <a:pt x="1342791" y="1564392"/>
                  <a:pt x="1344122" y="1563596"/>
                  <a:pt x="1345055" y="1562528"/>
                </a:cubicBezTo>
                <a:cubicBezTo>
                  <a:pt x="1346119" y="1561462"/>
                  <a:pt x="1347052" y="1560127"/>
                  <a:pt x="1347717" y="1558402"/>
                </a:cubicBezTo>
                <a:cubicBezTo>
                  <a:pt x="1348382" y="1556801"/>
                  <a:pt x="1348783" y="1554942"/>
                  <a:pt x="1348783" y="1552940"/>
                </a:cubicBezTo>
                <a:cubicBezTo>
                  <a:pt x="1348783" y="1551073"/>
                  <a:pt x="1348382" y="1549349"/>
                  <a:pt x="1347717" y="1547746"/>
                </a:cubicBezTo>
                <a:cubicBezTo>
                  <a:pt x="1347052" y="1546150"/>
                  <a:pt x="1346119" y="1544827"/>
                  <a:pt x="1345055" y="1543620"/>
                </a:cubicBezTo>
                <a:cubicBezTo>
                  <a:pt x="1343989" y="1542564"/>
                  <a:pt x="1342659" y="1541623"/>
                  <a:pt x="1341061" y="1540957"/>
                </a:cubicBezTo>
                <a:cubicBezTo>
                  <a:pt x="1339597" y="1540297"/>
                  <a:pt x="1337998" y="1540033"/>
                  <a:pt x="1336001" y="1540033"/>
                </a:cubicBezTo>
                <a:close/>
                <a:moveTo>
                  <a:pt x="1118490" y="1540033"/>
                </a:moveTo>
                <a:cubicBezTo>
                  <a:pt x="1112632" y="1540033"/>
                  <a:pt x="1110103" y="1542023"/>
                  <a:pt x="1108506" y="1543620"/>
                </a:cubicBezTo>
                <a:cubicBezTo>
                  <a:pt x="1105843" y="1546289"/>
                  <a:pt x="1104779" y="1549082"/>
                  <a:pt x="1104779" y="1553078"/>
                </a:cubicBezTo>
                <a:cubicBezTo>
                  <a:pt x="1104779" y="1557204"/>
                  <a:pt x="1105843" y="1559998"/>
                  <a:pt x="1108373" y="1562528"/>
                </a:cubicBezTo>
                <a:cubicBezTo>
                  <a:pt x="1109970" y="1564126"/>
                  <a:pt x="1112500" y="1565990"/>
                  <a:pt x="1118357" y="1565990"/>
                </a:cubicBezTo>
                <a:cubicBezTo>
                  <a:pt x="1120487" y="1565990"/>
                  <a:pt x="1122218" y="1565717"/>
                  <a:pt x="1123815" y="1564919"/>
                </a:cubicBezTo>
                <a:cubicBezTo>
                  <a:pt x="1125279" y="1564392"/>
                  <a:pt x="1126613" y="1563596"/>
                  <a:pt x="1127542" y="1562528"/>
                </a:cubicBezTo>
                <a:cubicBezTo>
                  <a:pt x="1128607" y="1561462"/>
                  <a:pt x="1129539" y="1560127"/>
                  <a:pt x="1130206" y="1558402"/>
                </a:cubicBezTo>
                <a:cubicBezTo>
                  <a:pt x="1130870" y="1556801"/>
                  <a:pt x="1131271" y="1554942"/>
                  <a:pt x="1131271" y="1552940"/>
                </a:cubicBezTo>
                <a:cubicBezTo>
                  <a:pt x="1131271" y="1551073"/>
                  <a:pt x="1130870" y="1549349"/>
                  <a:pt x="1130206" y="1547746"/>
                </a:cubicBezTo>
                <a:cubicBezTo>
                  <a:pt x="1129539" y="1546150"/>
                  <a:pt x="1128607" y="1544827"/>
                  <a:pt x="1127542" y="1543620"/>
                </a:cubicBezTo>
                <a:cubicBezTo>
                  <a:pt x="1126477" y="1542564"/>
                  <a:pt x="1125146" y="1541623"/>
                  <a:pt x="1123548" y="1540957"/>
                </a:cubicBezTo>
                <a:cubicBezTo>
                  <a:pt x="1122086" y="1540297"/>
                  <a:pt x="1120487" y="1540033"/>
                  <a:pt x="1118490" y="1540033"/>
                </a:cubicBezTo>
                <a:close/>
                <a:moveTo>
                  <a:pt x="900979" y="1540033"/>
                </a:moveTo>
                <a:cubicBezTo>
                  <a:pt x="895121" y="1540033"/>
                  <a:pt x="892591" y="1542023"/>
                  <a:pt x="890994" y="1543620"/>
                </a:cubicBezTo>
                <a:cubicBezTo>
                  <a:pt x="888331" y="1546289"/>
                  <a:pt x="887268" y="1549082"/>
                  <a:pt x="887268" y="1553078"/>
                </a:cubicBezTo>
                <a:cubicBezTo>
                  <a:pt x="887268" y="1557204"/>
                  <a:pt x="888331" y="1559998"/>
                  <a:pt x="890862" y="1562528"/>
                </a:cubicBezTo>
                <a:cubicBezTo>
                  <a:pt x="892459" y="1564126"/>
                  <a:pt x="894988" y="1565990"/>
                  <a:pt x="900845" y="1565990"/>
                </a:cubicBezTo>
                <a:cubicBezTo>
                  <a:pt x="902842" y="1565990"/>
                  <a:pt x="904573" y="1565717"/>
                  <a:pt x="906303" y="1564919"/>
                </a:cubicBezTo>
                <a:cubicBezTo>
                  <a:pt x="907767" y="1564392"/>
                  <a:pt x="909099" y="1563596"/>
                  <a:pt x="910031" y="1562528"/>
                </a:cubicBezTo>
                <a:cubicBezTo>
                  <a:pt x="911095" y="1561462"/>
                  <a:pt x="912027" y="1560127"/>
                  <a:pt x="912693" y="1558402"/>
                </a:cubicBezTo>
                <a:cubicBezTo>
                  <a:pt x="913358" y="1556801"/>
                  <a:pt x="913758" y="1554942"/>
                  <a:pt x="913758" y="1552940"/>
                </a:cubicBezTo>
                <a:cubicBezTo>
                  <a:pt x="913758" y="1551073"/>
                  <a:pt x="913358" y="1549349"/>
                  <a:pt x="912693" y="1547746"/>
                </a:cubicBezTo>
                <a:cubicBezTo>
                  <a:pt x="912027" y="1546150"/>
                  <a:pt x="911095" y="1544827"/>
                  <a:pt x="910031" y="1543620"/>
                </a:cubicBezTo>
                <a:cubicBezTo>
                  <a:pt x="908966" y="1542564"/>
                  <a:pt x="907634" y="1541623"/>
                  <a:pt x="906037" y="1540957"/>
                </a:cubicBezTo>
                <a:cubicBezTo>
                  <a:pt x="904573" y="1540297"/>
                  <a:pt x="902975" y="1540033"/>
                  <a:pt x="900979" y="1540033"/>
                </a:cubicBezTo>
                <a:close/>
                <a:moveTo>
                  <a:pt x="683201" y="1540033"/>
                </a:moveTo>
                <a:cubicBezTo>
                  <a:pt x="677344" y="1540033"/>
                  <a:pt x="674815" y="1542023"/>
                  <a:pt x="673218" y="1543620"/>
                </a:cubicBezTo>
                <a:cubicBezTo>
                  <a:pt x="670688" y="1546289"/>
                  <a:pt x="669624" y="1549082"/>
                  <a:pt x="669624" y="1553078"/>
                </a:cubicBezTo>
                <a:cubicBezTo>
                  <a:pt x="669624" y="1557204"/>
                  <a:pt x="670688" y="1559998"/>
                  <a:pt x="673218" y="1562528"/>
                </a:cubicBezTo>
                <a:cubicBezTo>
                  <a:pt x="674815" y="1564126"/>
                  <a:pt x="677344" y="1565990"/>
                  <a:pt x="683201" y="1565990"/>
                </a:cubicBezTo>
                <a:cubicBezTo>
                  <a:pt x="685198" y="1565990"/>
                  <a:pt x="687062" y="1565717"/>
                  <a:pt x="688526" y="1564919"/>
                </a:cubicBezTo>
                <a:cubicBezTo>
                  <a:pt x="689990" y="1564392"/>
                  <a:pt x="691322" y="1563596"/>
                  <a:pt x="692253" y="1562528"/>
                </a:cubicBezTo>
                <a:cubicBezTo>
                  <a:pt x="693318" y="1561462"/>
                  <a:pt x="694250" y="1560127"/>
                  <a:pt x="694916" y="1558402"/>
                </a:cubicBezTo>
                <a:cubicBezTo>
                  <a:pt x="695581" y="1556801"/>
                  <a:pt x="695982" y="1554942"/>
                  <a:pt x="695982" y="1552940"/>
                </a:cubicBezTo>
                <a:cubicBezTo>
                  <a:pt x="695982" y="1551073"/>
                  <a:pt x="695581" y="1549349"/>
                  <a:pt x="694916" y="1547746"/>
                </a:cubicBezTo>
                <a:cubicBezTo>
                  <a:pt x="694250" y="1546150"/>
                  <a:pt x="693318" y="1544827"/>
                  <a:pt x="692253" y="1543620"/>
                </a:cubicBezTo>
                <a:cubicBezTo>
                  <a:pt x="691188" y="1542564"/>
                  <a:pt x="689857" y="1541623"/>
                  <a:pt x="688260" y="1540957"/>
                </a:cubicBezTo>
                <a:cubicBezTo>
                  <a:pt x="686796" y="1540297"/>
                  <a:pt x="685198" y="1540033"/>
                  <a:pt x="683201" y="1540033"/>
                </a:cubicBezTo>
                <a:close/>
                <a:moveTo>
                  <a:pt x="465557" y="1540033"/>
                </a:moveTo>
                <a:cubicBezTo>
                  <a:pt x="459700" y="1540033"/>
                  <a:pt x="457171" y="1542023"/>
                  <a:pt x="455574" y="1543620"/>
                </a:cubicBezTo>
                <a:cubicBezTo>
                  <a:pt x="453044" y="1546289"/>
                  <a:pt x="451980" y="1549082"/>
                  <a:pt x="451980" y="1553078"/>
                </a:cubicBezTo>
                <a:cubicBezTo>
                  <a:pt x="451980" y="1557204"/>
                  <a:pt x="453044" y="1559998"/>
                  <a:pt x="455574" y="1562528"/>
                </a:cubicBezTo>
                <a:cubicBezTo>
                  <a:pt x="457171" y="1564126"/>
                  <a:pt x="459700" y="1565990"/>
                  <a:pt x="465557" y="1565990"/>
                </a:cubicBezTo>
                <a:cubicBezTo>
                  <a:pt x="467555" y="1565990"/>
                  <a:pt x="469418" y="1565717"/>
                  <a:pt x="470882" y="1564919"/>
                </a:cubicBezTo>
                <a:cubicBezTo>
                  <a:pt x="472346" y="1564392"/>
                  <a:pt x="473678" y="1563596"/>
                  <a:pt x="474610" y="1562528"/>
                </a:cubicBezTo>
                <a:cubicBezTo>
                  <a:pt x="475674" y="1561462"/>
                  <a:pt x="476606" y="1560127"/>
                  <a:pt x="477273" y="1558402"/>
                </a:cubicBezTo>
                <a:cubicBezTo>
                  <a:pt x="477938" y="1556801"/>
                  <a:pt x="478338" y="1554942"/>
                  <a:pt x="478338" y="1552940"/>
                </a:cubicBezTo>
                <a:cubicBezTo>
                  <a:pt x="478338" y="1551073"/>
                  <a:pt x="477938" y="1549349"/>
                  <a:pt x="477273" y="1547746"/>
                </a:cubicBezTo>
                <a:cubicBezTo>
                  <a:pt x="476606" y="1546150"/>
                  <a:pt x="475674" y="1544827"/>
                  <a:pt x="474610" y="1543620"/>
                </a:cubicBezTo>
                <a:cubicBezTo>
                  <a:pt x="473545" y="1542564"/>
                  <a:pt x="472213" y="1541623"/>
                  <a:pt x="470617" y="1540957"/>
                </a:cubicBezTo>
                <a:cubicBezTo>
                  <a:pt x="469152" y="1540297"/>
                  <a:pt x="467555" y="1540033"/>
                  <a:pt x="465557" y="1540033"/>
                </a:cubicBezTo>
                <a:close/>
                <a:moveTo>
                  <a:pt x="247913" y="1540033"/>
                </a:moveTo>
                <a:cubicBezTo>
                  <a:pt x="242057" y="1540033"/>
                  <a:pt x="239528" y="1542023"/>
                  <a:pt x="237931" y="1543620"/>
                </a:cubicBezTo>
                <a:cubicBezTo>
                  <a:pt x="235401" y="1546289"/>
                  <a:pt x="234337" y="1549082"/>
                  <a:pt x="234337" y="1553078"/>
                </a:cubicBezTo>
                <a:cubicBezTo>
                  <a:pt x="234337" y="1557204"/>
                  <a:pt x="235401" y="1559998"/>
                  <a:pt x="237931" y="1562528"/>
                </a:cubicBezTo>
                <a:cubicBezTo>
                  <a:pt x="239528" y="1564126"/>
                  <a:pt x="242057" y="1565990"/>
                  <a:pt x="247913" y="1565990"/>
                </a:cubicBezTo>
                <a:cubicBezTo>
                  <a:pt x="250044" y="1565990"/>
                  <a:pt x="251775" y="1565717"/>
                  <a:pt x="253239" y="1564919"/>
                </a:cubicBezTo>
                <a:cubicBezTo>
                  <a:pt x="254702" y="1564392"/>
                  <a:pt x="256033" y="1563596"/>
                  <a:pt x="256965" y="1562528"/>
                </a:cubicBezTo>
                <a:cubicBezTo>
                  <a:pt x="258030" y="1561462"/>
                  <a:pt x="258963" y="1560127"/>
                  <a:pt x="259629" y="1558402"/>
                </a:cubicBezTo>
                <a:cubicBezTo>
                  <a:pt x="260294" y="1556801"/>
                  <a:pt x="260694" y="1554942"/>
                  <a:pt x="260694" y="1552940"/>
                </a:cubicBezTo>
                <a:cubicBezTo>
                  <a:pt x="260694" y="1551073"/>
                  <a:pt x="260294" y="1549349"/>
                  <a:pt x="259629" y="1547746"/>
                </a:cubicBezTo>
                <a:cubicBezTo>
                  <a:pt x="258963" y="1546150"/>
                  <a:pt x="258030" y="1544827"/>
                  <a:pt x="256965" y="1543620"/>
                </a:cubicBezTo>
                <a:cubicBezTo>
                  <a:pt x="255901" y="1542564"/>
                  <a:pt x="254569" y="1541623"/>
                  <a:pt x="252973" y="1540957"/>
                </a:cubicBezTo>
                <a:cubicBezTo>
                  <a:pt x="251508" y="1540297"/>
                  <a:pt x="249911" y="1540033"/>
                  <a:pt x="247913" y="1540033"/>
                </a:cubicBezTo>
                <a:close/>
                <a:moveTo>
                  <a:pt x="30270" y="1540033"/>
                </a:moveTo>
                <a:cubicBezTo>
                  <a:pt x="24413" y="1540033"/>
                  <a:pt x="21884" y="1542023"/>
                  <a:pt x="20287" y="1543620"/>
                </a:cubicBezTo>
                <a:cubicBezTo>
                  <a:pt x="17757" y="1546289"/>
                  <a:pt x="16693" y="1549082"/>
                  <a:pt x="16693" y="1553078"/>
                </a:cubicBezTo>
                <a:cubicBezTo>
                  <a:pt x="16693" y="1557204"/>
                  <a:pt x="17757" y="1559998"/>
                  <a:pt x="20287" y="1562528"/>
                </a:cubicBezTo>
                <a:cubicBezTo>
                  <a:pt x="21884" y="1564126"/>
                  <a:pt x="24413" y="1565990"/>
                  <a:pt x="30270" y="1565990"/>
                </a:cubicBezTo>
                <a:cubicBezTo>
                  <a:pt x="32400" y="1565990"/>
                  <a:pt x="34131" y="1565717"/>
                  <a:pt x="35595" y="1564919"/>
                </a:cubicBezTo>
                <a:cubicBezTo>
                  <a:pt x="37059" y="1564392"/>
                  <a:pt x="38391" y="1563596"/>
                  <a:pt x="39322" y="1562528"/>
                </a:cubicBezTo>
                <a:cubicBezTo>
                  <a:pt x="40387" y="1561462"/>
                  <a:pt x="41319" y="1560127"/>
                  <a:pt x="41985" y="1558402"/>
                </a:cubicBezTo>
                <a:cubicBezTo>
                  <a:pt x="42650" y="1556801"/>
                  <a:pt x="42916" y="1554942"/>
                  <a:pt x="42916" y="1552940"/>
                </a:cubicBezTo>
                <a:cubicBezTo>
                  <a:pt x="42916" y="1551073"/>
                  <a:pt x="42650" y="1549349"/>
                  <a:pt x="41985" y="1547746"/>
                </a:cubicBezTo>
                <a:cubicBezTo>
                  <a:pt x="41319" y="1546150"/>
                  <a:pt x="40387" y="1544827"/>
                  <a:pt x="39322" y="1543620"/>
                </a:cubicBezTo>
                <a:cubicBezTo>
                  <a:pt x="38257" y="1542564"/>
                  <a:pt x="36926" y="1541623"/>
                  <a:pt x="35329" y="1540957"/>
                </a:cubicBezTo>
                <a:cubicBezTo>
                  <a:pt x="33865" y="1540297"/>
                  <a:pt x="32267" y="1540033"/>
                  <a:pt x="30270" y="1540033"/>
                </a:cubicBezTo>
                <a:close/>
                <a:moveTo>
                  <a:pt x="10475977" y="1523391"/>
                </a:moveTo>
                <a:cubicBezTo>
                  <a:pt x="10480237" y="1523391"/>
                  <a:pt x="10484230" y="1524050"/>
                  <a:pt x="10487824" y="1525915"/>
                </a:cubicBezTo>
                <a:cubicBezTo>
                  <a:pt x="10491419" y="1527519"/>
                  <a:pt x="10494613" y="1529643"/>
                  <a:pt x="10497143" y="1532304"/>
                </a:cubicBezTo>
                <a:cubicBezTo>
                  <a:pt x="10499672" y="1534837"/>
                  <a:pt x="10501801" y="1538036"/>
                  <a:pt x="10503266" y="1541623"/>
                </a:cubicBezTo>
                <a:cubicBezTo>
                  <a:pt x="10504730" y="1545222"/>
                  <a:pt x="10505529" y="1549082"/>
                  <a:pt x="10505529" y="1553078"/>
                </a:cubicBezTo>
                <a:cubicBezTo>
                  <a:pt x="10505529" y="1557204"/>
                  <a:pt x="10504730" y="1561192"/>
                  <a:pt x="10503266" y="1564791"/>
                </a:cubicBezTo>
                <a:cubicBezTo>
                  <a:pt x="10501669" y="1568378"/>
                  <a:pt x="10499672" y="1571441"/>
                  <a:pt x="10497143" y="1574105"/>
                </a:cubicBezTo>
                <a:cubicBezTo>
                  <a:pt x="10494480" y="1576765"/>
                  <a:pt x="10491419" y="1578895"/>
                  <a:pt x="10487824" y="1580363"/>
                </a:cubicBezTo>
                <a:cubicBezTo>
                  <a:pt x="10484098" y="1581829"/>
                  <a:pt x="10480237" y="1582625"/>
                  <a:pt x="10475977" y="1582625"/>
                </a:cubicBezTo>
                <a:cubicBezTo>
                  <a:pt x="10466924" y="1582625"/>
                  <a:pt x="10459736" y="1579697"/>
                  <a:pt x="10454145" y="1574105"/>
                </a:cubicBezTo>
                <a:cubicBezTo>
                  <a:pt x="10448554" y="1568520"/>
                  <a:pt x="10445759" y="1561462"/>
                  <a:pt x="10445759" y="1552940"/>
                </a:cubicBezTo>
                <a:cubicBezTo>
                  <a:pt x="10445759" y="1544686"/>
                  <a:pt x="10448554" y="1537628"/>
                  <a:pt x="10454145" y="1531907"/>
                </a:cubicBezTo>
                <a:cubicBezTo>
                  <a:pt x="10459603" y="1526314"/>
                  <a:pt x="10466924" y="1523391"/>
                  <a:pt x="10475977" y="1523391"/>
                </a:cubicBezTo>
                <a:close/>
                <a:moveTo>
                  <a:pt x="10258466" y="1523391"/>
                </a:moveTo>
                <a:cubicBezTo>
                  <a:pt x="10262592" y="1523391"/>
                  <a:pt x="10266586" y="1524050"/>
                  <a:pt x="10270313" y="1525915"/>
                </a:cubicBezTo>
                <a:cubicBezTo>
                  <a:pt x="10273907" y="1527519"/>
                  <a:pt x="10277101" y="1529643"/>
                  <a:pt x="10279631" y="1532304"/>
                </a:cubicBezTo>
                <a:cubicBezTo>
                  <a:pt x="10282160" y="1534837"/>
                  <a:pt x="10284290" y="1538036"/>
                  <a:pt x="10285754" y="1541623"/>
                </a:cubicBezTo>
                <a:cubicBezTo>
                  <a:pt x="10287218" y="1545222"/>
                  <a:pt x="10288017" y="1549082"/>
                  <a:pt x="10288017" y="1553078"/>
                </a:cubicBezTo>
                <a:cubicBezTo>
                  <a:pt x="10288017" y="1557204"/>
                  <a:pt x="10287218" y="1561192"/>
                  <a:pt x="10285754" y="1564791"/>
                </a:cubicBezTo>
                <a:cubicBezTo>
                  <a:pt x="10284157" y="1568378"/>
                  <a:pt x="10282160" y="1571441"/>
                  <a:pt x="10279631" y="1574105"/>
                </a:cubicBezTo>
                <a:cubicBezTo>
                  <a:pt x="10276969" y="1576765"/>
                  <a:pt x="10273907" y="1578895"/>
                  <a:pt x="10270313" y="1580363"/>
                </a:cubicBezTo>
                <a:cubicBezTo>
                  <a:pt x="10266586" y="1581829"/>
                  <a:pt x="10262725" y="1582625"/>
                  <a:pt x="10258466" y="1582625"/>
                </a:cubicBezTo>
                <a:cubicBezTo>
                  <a:pt x="10249546" y="1582625"/>
                  <a:pt x="10242224" y="1579697"/>
                  <a:pt x="10236633" y="1574105"/>
                </a:cubicBezTo>
                <a:cubicBezTo>
                  <a:pt x="10231043" y="1568520"/>
                  <a:pt x="10228247" y="1561462"/>
                  <a:pt x="10228247" y="1552940"/>
                </a:cubicBezTo>
                <a:cubicBezTo>
                  <a:pt x="10228247" y="1544686"/>
                  <a:pt x="10231043" y="1537628"/>
                  <a:pt x="10236633" y="1531907"/>
                </a:cubicBezTo>
                <a:cubicBezTo>
                  <a:pt x="10242092" y="1526314"/>
                  <a:pt x="10249413" y="1523391"/>
                  <a:pt x="10258466" y="1523391"/>
                </a:cubicBezTo>
                <a:close/>
                <a:moveTo>
                  <a:pt x="10040820" y="1523391"/>
                </a:moveTo>
                <a:cubicBezTo>
                  <a:pt x="10045080" y="1523391"/>
                  <a:pt x="10048941" y="1524050"/>
                  <a:pt x="10052534" y="1525915"/>
                </a:cubicBezTo>
                <a:cubicBezTo>
                  <a:pt x="10056129" y="1527519"/>
                  <a:pt x="10059323" y="1529643"/>
                  <a:pt x="10061852" y="1532304"/>
                </a:cubicBezTo>
                <a:cubicBezTo>
                  <a:pt x="10064382" y="1534837"/>
                  <a:pt x="10066512" y="1538036"/>
                  <a:pt x="10067976" y="1541623"/>
                </a:cubicBezTo>
                <a:cubicBezTo>
                  <a:pt x="10069440" y="1545222"/>
                  <a:pt x="10070239" y="1549082"/>
                  <a:pt x="10070239" y="1553078"/>
                </a:cubicBezTo>
                <a:cubicBezTo>
                  <a:pt x="10070239" y="1557204"/>
                  <a:pt x="10069440" y="1561192"/>
                  <a:pt x="10067976" y="1564791"/>
                </a:cubicBezTo>
                <a:cubicBezTo>
                  <a:pt x="10066379" y="1568383"/>
                  <a:pt x="10064382" y="1571441"/>
                  <a:pt x="10061852" y="1574105"/>
                </a:cubicBezTo>
                <a:cubicBezTo>
                  <a:pt x="10059190" y="1576765"/>
                  <a:pt x="10056129" y="1578895"/>
                  <a:pt x="10052534" y="1580363"/>
                </a:cubicBezTo>
                <a:cubicBezTo>
                  <a:pt x="10048941" y="1581829"/>
                  <a:pt x="10045080" y="1582625"/>
                  <a:pt x="10040820" y="1582625"/>
                </a:cubicBezTo>
                <a:cubicBezTo>
                  <a:pt x="10031767" y="1582625"/>
                  <a:pt x="10024579" y="1579697"/>
                  <a:pt x="10018988" y="1574105"/>
                </a:cubicBezTo>
                <a:cubicBezTo>
                  <a:pt x="10013397" y="1568520"/>
                  <a:pt x="10010602" y="1561462"/>
                  <a:pt x="10010602" y="1552940"/>
                </a:cubicBezTo>
                <a:cubicBezTo>
                  <a:pt x="10010602" y="1544686"/>
                  <a:pt x="10013397" y="1537628"/>
                  <a:pt x="10018988" y="1531907"/>
                </a:cubicBezTo>
                <a:cubicBezTo>
                  <a:pt x="10024579" y="1526314"/>
                  <a:pt x="10031767" y="1523391"/>
                  <a:pt x="10040820" y="1523391"/>
                </a:cubicBezTo>
                <a:close/>
                <a:moveTo>
                  <a:pt x="9823176" y="1523391"/>
                </a:moveTo>
                <a:cubicBezTo>
                  <a:pt x="9827435" y="1523391"/>
                  <a:pt x="9831296" y="1524050"/>
                  <a:pt x="9834890" y="1525915"/>
                </a:cubicBezTo>
                <a:cubicBezTo>
                  <a:pt x="9838617" y="1527519"/>
                  <a:pt x="9841679" y="1529643"/>
                  <a:pt x="9844208" y="1532306"/>
                </a:cubicBezTo>
                <a:cubicBezTo>
                  <a:pt x="9846737" y="1534837"/>
                  <a:pt x="9848867" y="1538036"/>
                  <a:pt x="9850331" y="1541623"/>
                </a:cubicBezTo>
                <a:cubicBezTo>
                  <a:pt x="9851796" y="1545222"/>
                  <a:pt x="9852595" y="1549082"/>
                  <a:pt x="9852595" y="1553078"/>
                </a:cubicBezTo>
                <a:cubicBezTo>
                  <a:pt x="9852595" y="1557204"/>
                  <a:pt x="9851796" y="1561192"/>
                  <a:pt x="9850331" y="1564797"/>
                </a:cubicBezTo>
                <a:cubicBezTo>
                  <a:pt x="9848734" y="1568383"/>
                  <a:pt x="9846737" y="1571441"/>
                  <a:pt x="9844208" y="1574105"/>
                </a:cubicBezTo>
                <a:cubicBezTo>
                  <a:pt x="9841546" y="1576765"/>
                  <a:pt x="9838484" y="1578895"/>
                  <a:pt x="9834890" y="1580363"/>
                </a:cubicBezTo>
                <a:cubicBezTo>
                  <a:pt x="9831296" y="1581829"/>
                  <a:pt x="9827435" y="1582625"/>
                  <a:pt x="9823176" y="1582625"/>
                </a:cubicBezTo>
                <a:cubicBezTo>
                  <a:pt x="9814123" y="1582625"/>
                  <a:pt x="9806935" y="1579697"/>
                  <a:pt x="9801343" y="1574105"/>
                </a:cubicBezTo>
                <a:cubicBezTo>
                  <a:pt x="9795753" y="1568520"/>
                  <a:pt x="9792957" y="1561462"/>
                  <a:pt x="9792957" y="1552940"/>
                </a:cubicBezTo>
                <a:cubicBezTo>
                  <a:pt x="9792957" y="1544686"/>
                  <a:pt x="9795753" y="1537628"/>
                  <a:pt x="9801343" y="1531907"/>
                </a:cubicBezTo>
                <a:cubicBezTo>
                  <a:pt x="9806935" y="1526314"/>
                  <a:pt x="9814123" y="1523391"/>
                  <a:pt x="9823176" y="1523391"/>
                </a:cubicBezTo>
                <a:close/>
                <a:moveTo>
                  <a:pt x="9605531" y="1523391"/>
                </a:moveTo>
                <a:cubicBezTo>
                  <a:pt x="9609790" y="1523391"/>
                  <a:pt x="9613784" y="1524050"/>
                  <a:pt x="9617245" y="1525915"/>
                </a:cubicBezTo>
                <a:cubicBezTo>
                  <a:pt x="9620839" y="1527519"/>
                  <a:pt x="9624033" y="1529643"/>
                  <a:pt x="9626562" y="1532306"/>
                </a:cubicBezTo>
                <a:cubicBezTo>
                  <a:pt x="9629092" y="1534837"/>
                  <a:pt x="9631222" y="1538036"/>
                  <a:pt x="9632686" y="1541623"/>
                </a:cubicBezTo>
                <a:cubicBezTo>
                  <a:pt x="9634150" y="1545222"/>
                  <a:pt x="9634949" y="1549082"/>
                  <a:pt x="9634949" y="1553078"/>
                </a:cubicBezTo>
                <a:cubicBezTo>
                  <a:pt x="9634949" y="1557204"/>
                  <a:pt x="9634150" y="1561192"/>
                  <a:pt x="9632686" y="1564797"/>
                </a:cubicBezTo>
                <a:cubicBezTo>
                  <a:pt x="9631089" y="1568383"/>
                  <a:pt x="9629092" y="1571441"/>
                  <a:pt x="9626562" y="1574105"/>
                </a:cubicBezTo>
                <a:cubicBezTo>
                  <a:pt x="9623901" y="1576765"/>
                  <a:pt x="9620839" y="1578895"/>
                  <a:pt x="9617245" y="1580363"/>
                </a:cubicBezTo>
                <a:cubicBezTo>
                  <a:pt x="9613651" y="1581829"/>
                  <a:pt x="9609790" y="1582625"/>
                  <a:pt x="9605531" y="1582625"/>
                </a:cubicBezTo>
                <a:cubicBezTo>
                  <a:pt x="9596610" y="1582625"/>
                  <a:pt x="9589289" y="1579697"/>
                  <a:pt x="9583698" y="1574105"/>
                </a:cubicBezTo>
                <a:cubicBezTo>
                  <a:pt x="9578108" y="1568520"/>
                  <a:pt x="9575312" y="1561462"/>
                  <a:pt x="9575312" y="1552940"/>
                </a:cubicBezTo>
                <a:cubicBezTo>
                  <a:pt x="9575312" y="1544686"/>
                  <a:pt x="9578108" y="1537628"/>
                  <a:pt x="9583698" y="1531907"/>
                </a:cubicBezTo>
                <a:cubicBezTo>
                  <a:pt x="9589289" y="1526314"/>
                  <a:pt x="9596478" y="1523391"/>
                  <a:pt x="9605531" y="1523391"/>
                </a:cubicBezTo>
                <a:close/>
                <a:moveTo>
                  <a:pt x="9387885" y="1523391"/>
                </a:moveTo>
                <a:cubicBezTo>
                  <a:pt x="9392145" y="1523391"/>
                  <a:pt x="9396138" y="1524050"/>
                  <a:pt x="9399599" y="1525915"/>
                </a:cubicBezTo>
                <a:cubicBezTo>
                  <a:pt x="9403194" y="1527519"/>
                  <a:pt x="9406388" y="1529643"/>
                  <a:pt x="9408917" y="1532306"/>
                </a:cubicBezTo>
                <a:cubicBezTo>
                  <a:pt x="9411447" y="1534837"/>
                  <a:pt x="9413576" y="1538036"/>
                  <a:pt x="9415041" y="1541623"/>
                </a:cubicBezTo>
                <a:cubicBezTo>
                  <a:pt x="9416505" y="1545222"/>
                  <a:pt x="9417304" y="1549082"/>
                  <a:pt x="9417304" y="1553078"/>
                </a:cubicBezTo>
                <a:cubicBezTo>
                  <a:pt x="9417304" y="1557204"/>
                  <a:pt x="9416505" y="1561192"/>
                  <a:pt x="9415041" y="1564797"/>
                </a:cubicBezTo>
                <a:cubicBezTo>
                  <a:pt x="9413444" y="1568383"/>
                  <a:pt x="9411447" y="1571441"/>
                  <a:pt x="9408917" y="1574105"/>
                </a:cubicBezTo>
                <a:cubicBezTo>
                  <a:pt x="9406255" y="1576765"/>
                  <a:pt x="9403194" y="1578895"/>
                  <a:pt x="9399599" y="1580363"/>
                </a:cubicBezTo>
                <a:cubicBezTo>
                  <a:pt x="9396005" y="1581829"/>
                  <a:pt x="9392145" y="1582625"/>
                  <a:pt x="9387885" y="1582625"/>
                </a:cubicBezTo>
                <a:cubicBezTo>
                  <a:pt x="9378965" y="1582625"/>
                  <a:pt x="9371644" y="1579697"/>
                  <a:pt x="9366053" y="1574105"/>
                </a:cubicBezTo>
                <a:cubicBezTo>
                  <a:pt x="9360462" y="1568520"/>
                  <a:pt x="9357667" y="1561462"/>
                  <a:pt x="9357667" y="1552940"/>
                </a:cubicBezTo>
                <a:cubicBezTo>
                  <a:pt x="9357667" y="1544686"/>
                  <a:pt x="9360462" y="1537628"/>
                  <a:pt x="9366053" y="1531907"/>
                </a:cubicBezTo>
                <a:cubicBezTo>
                  <a:pt x="9371644" y="1526314"/>
                  <a:pt x="9378832" y="1523391"/>
                  <a:pt x="9387885" y="1523391"/>
                </a:cubicBezTo>
                <a:close/>
                <a:moveTo>
                  <a:pt x="9170374" y="1523391"/>
                </a:moveTo>
                <a:cubicBezTo>
                  <a:pt x="9174500" y="1523391"/>
                  <a:pt x="9178494" y="1524050"/>
                  <a:pt x="9182088" y="1525915"/>
                </a:cubicBezTo>
                <a:cubicBezTo>
                  <a:pt x="9185682" y="1527519"/>
                  <a:pt x="9188876" y="1529643"/>
                  <a:pt x="9191405" y="1532306"/>
                </a:cubicBezTo>
                <a:cubicBezTo>
                  <a:pt x="9193935" y="1534837"/>
                  <a:pt x="9196065" y="1538036"/>
                  <a:pt x="9197529" y="1541623"/>
                </a:cubicBezTo>
                <a:cubicBezTo>
                  <a:pt x="9198993" y="1545222"/>
                  <a:pt x="9199792" y="1549082"/>
                  <a:pt x="9199792" y="1553078"/>
                </a:cubicBezTo>
                <a:cubicBezTo>
                  <a:pt x="9199792" y="1557204"/>
                  <a:pt x="9198993" y="1561192"/>
                  <a:pt x="9197529" y="1564797"/>
                </a:cubicBezTo>
                <a:cubicBezTo>
                  <a:pt x="9195932" y="1568383"/>
                  <a:pt x="9193935" y="1571441"/>
                  <a:pt x="9191405" y="1574105"/>
                </a:cubicBezTo>
                <a:cubicBezTo>
                  <a:pt x="9188744" y="1576765"/>
                  <a:pt x="9185682" y="1578895"/>
                  <a:pt x="9182088" y="1580363"/>
                </a:cubicBezTo>
                <a:cubicBezTo>
                  <a:pt x="9178494" y="1581829"/>
                  <a:pt x="9174633" y="1582625"/>
                  <a:pt x="9170374" y="1582625"/>
                </a:cubicBezTo>
                <a:cubicBezTo>
                  <a:pt x="9161453" y="1582625"/>
                  <a:pt x="9154132" y="1579697"/>
                  <a:pt x="9148541" y="1574105"/>
                </a:cubicBezTo>
                <a:cubicBezTo>
                  <a:pt x="9142951" y="1568520"/>
                  <a:pt x="9140155" y="1561462"/>
                  <a:pt x="9140155" y="1552940"/>
                </a:cubicBezTo>
                <a:cubicBezTo>
                  <a:pt x="9140155" y="1544686"/>
                  <a:pt x="9142951" y="1537628"/>
                  <a:pt x="9148541" y="1531907"/>
                </a:cubicBezTo>
                <a:cubicBezTo>
                  <a:pt x="9154132" y="1526314"/>
                  <a:pt x="9161321" y="1523391"/>
                  <a:pt x="9170374" y="1523391"/>
                </a:cubicBezTo>
                <a:close/>
                <a:moveTo>
                  <a:pt x="8952728" y="1523391"/>
                </a:moveTo>
                <a:cubicBezTo>
                  <a:pt x="8956988" y="1523391"/>
                  <a:pt x="8960849" y="1524050"/>
                  <a:pt x="8964442" y="1525915"/>
                </a:cubicBezTo>
                <a:cubicBezTo>
                  <a:pt x="8968037" y="1527519"/>
                  <a:pt x="8971231" y="1529643"/>
                  <a:pt x="8973760" y="1532306"/>
                </a:cubicBezTo>
                <a:cubicBezTo>
                  <a:pt x="8976290" y="1534837"/>
                  <a:pt x="8978419" y="1538036"/>
                  <a:pt x="8979884" y="1541623"/>
                </a:cubicBezTo>
                <a:cubicBezTo>
                  <a:pt x="8981348" y="1545222"/>
                  <a:pt x="8982147" y="1549082"/>
                  <a:pt x="8982147" y="1553078"/>
                </a:cubicBezTo>
                <a:cubicBezTo>
                  <a:pt x="8982147" y="1557204"/>
                  <a:pt x="8981348" y="1561192"/>
                  <a:pt x="8979884" y="1564797"/>
                </a:cubicBezTo>
                <a:cubicBezTo>
                  <a:pt x="8978287" y="1568383"/>
                  <a:pt x="8976290" y="1571441"/>
                  <a:pt x="8973760" y="1574105"/>
                </a:cubicBezTo>
                <a:cubicBezTo>
                  <a:pt x="8971098" y="1576765"/>
                  <a:pt x="8968037" y="1578895"/>
                  <a:pt x="8964442" y="1580363"/>
                </a:cubicBezTo>
                <a:cubicBezTo>
                  <a:pt x="8960849" y="1581829"/>
                  <a:pt x="8956988" y="1582625"/>
                  <a:pt x="8952728" y="1582625"/>
                </a:cubicBezTo>
                <a:cubicBezTo>
                  <a:pt x="8943808" y="1582625"/>
                  <a:pt x="8936487" y="1579697"/>
                  <a:pt x="8930896" y="1574105"/>
                </a:cubicBezTo>
                <a:cubicBezTo>
                  <a:pt x="8925305" y="1568520"/>
                  <a:pt x="8922510" y="1561462"/>
                  <a:pt x="8922510" y="1552940"/>
                </a:cubicBezTo>
                <a:cubicBezTo>
                  <a:pt x="8922510" y="1544686"/>
                  <a:pt x="8925305" y="1537628"/>
                  <a:pt x="8930896" y="1531907"/>
                </a:cubicBezTo>
                <a:cubicBezTo>
                  <a:pt x="8936487" y="1526314"/>
                  <a:pt x="8943675" y="1523391"/>
                  <a:pt x="8952728" y="1523391"/>
                </a:cubicBezTo>
                <a:close/>
                <a:moveTo>
                  <a:pt x="8735083" y="1523391"/>
                </a:moveTo>
                <a:cubicBezTo>
                  <a:pt x="8739342" y="1523391"/>
                  <a:pt x="8743203" y="1524050"/>
                  <a:pt x="8746797" y="1525915"/>
                </a:cubicBezTo>
                <a:cubicBezTo>
                  <a:pt x="8750391" y="1527519"/>
                  <a:pt x="8753586" y="1529643"/>
                  <a:pt x="8756115" y="1532306"/>
                </a:cubicBezTo>
                <a:cubicBezTo>
                  <a:pt x="8758644" y="1534837"/>
                  <a:pt x="8760774" y="1538036"/>
                  <a:pt x="8762238" y="1541623"/>
                </a:cubicBezTo>
                <a:cubicBezTo>
                  <a:pt x="8763702" y="1545222"/>
                  <a:pt x="8764502" y="1549082"/>
                  <a:pt x="8764502" y="1553078"/>
                </a:cubicBezTo>
                <a:cubicBezTo>
                  <a:pt x="8764502" y="1557204"/>
                  <a:pt x="8763702" y="1561192"/>
                  <a:pt x="8762238" y="1564797"/>
                </a:cubicBezTo>
                <a:cubicBezTo>
                  <a:pt x="8760641" y="1568383"/>
                  <a:pt x="8758644" y="1571441"/>
                  <a:pt x="8756115" y="1574105"/>
                </a:cubicBezTo>
                <a:cubicBezTo>
                  <a:pt x="8753453" y="1576765"/>
                  <a:pt x="8750391" y="1578895"/>
                  <a:pt x="8746797" y="1580363"/>
                </a:cubicBezTo>
                <a:cubicBezTo>
                  <a:pt x="8743203" y="1581829"/>
                  <a:pt x="8739342" y="1582625"/>
                  <a:pt x="8735083" y="1582625"/>
                </a:cubicBezTo>
                <a:cubicBezTo>
                  <a:pt x="8726030" y="1582625"/>
                  <a:pt x="8718841" y="1579697"/>
                  <a:pt x="8713250" y="1574105"/>
                </a:cubicBezTo>
                <a:cubicBezTo>
                  <a:pt x="8707660" y="1568520"/>
                  <a:pt x="8704864" y="1561462"/>
                  <a:pt x="8704864" y="1552940"/>
                </a:cubicBezTo>
                <a:cubicBezTo>
                  <a:pt x="8704864" y="1544686"/>
                  <a:pt x="8707660" y="1537628"/>
                  <a:pt x="8713250" y="1531907"/>
                </a:cubicBezTo>
                <a:cubicBezTo>
                  <a:pt x="8718841" y="1526314"/>
                  <a:pt x="8726030" y="1523391"/>
                  <a:pt x="8735083" y="1523391"/>
                </a:cubicBezTo>
                <a:close/>
                <a:moveTo>
                  <a:pt x="8517438" y="1523391"/>
                </a:moveTo>
                <a:cubicBezTo>
                  <a:pt x="8521698" y="1523391"/>
                  <a:pt x="8525559" y="1524050"/>
                  <a:pt x="8529152" y="1525915"/>
                </a:cubicBezTo>
                <a:cubicBezTo>
                  <a:pt x="8532880" y="1527519"/>
                  <a:pt x="8535941" y="1529643"/>
                  <a:pt x="8538470" y="1532306"/>
                </a:cubicBezTo>
                <a:cubicBezTo>
                  <a:pt x="8541000" y="1534837"/>
                  <a:pt x="8543130" y="1538036"/>
                  <a:pt x="8544594" y="1541623"/>
                </a:cubicBezTo>
                <a:cubicBezTo>
                  <a:pt x="8546058" y="1545222"/>
                  <a:pt x="8546857" y="1549082"/>
                  <a:pt x="8546857" y="1553078"/>
                </a:cubicBezTo>
                <a:cubicBezTo>
                  <a:pt x="8546857" y="1557204"/>
                  <a:pt x="8546058" y="1561192"/>
                  <a:pt x="8544594" y="1564797"/>
                </a:cubicBezTo>
                <a:cubicBezTo>
                  <a:pt x="8542997" y="1568383"/>
                  <a:pt x="8541000" y="1571441"/>
                  <a:pt x="8538470" y="1574105"/>
                </a:cubicBezTo>
                <a:cubicBezTo>
                  <a:pt x="8535808" y="1576765"/>
                  <a:pt x="8532747" y="1578895"/>
                  <a:pt x="8529152" y="1580363"/>
                </a:cubicBezTo>
                <a:cubicBezTo>
                  <a:pt x="8525559" y="1581829"/>
                  <a:pt x="8521698" y="1582625"/>
                  <a:pt x="8517438" y="1582625"/>
                </a:cubicBezTo>
                <a:cubicBezTo>
                  <a:pt x="8508385" y="1582625"/>
                  <a:pt x="8501197" y="1579697"/>
                  <a:pt x="8495606" y="1574105"/>
                </a:cubicBezTo>
                <a:cubicBezTo>
                  <a:pt x="8490015" y="1568520"/>
                  <a:pt x="8487220" y="1561462"/>
                  <a:pt x="8487220" y="1552940"/>
                </a:cubicBezTo>
                <a:cubicBezTo>
                  <a:pt x="8487220" y="1544686"/>
                  <a:pt x="8490015" y="1537628"/>
                  <a:pt x="8495606" y="1531907"/>
                </a:cubicBezTo>
                <a:cubicBezTo>
                  <a:pt x="8501197" y="1526314"/>
                  <a:pt x="8508385" y="1523391"/>
                  <a:pt x="8517438" y="1523391"/>
                </a:cubicBezTo>
                <a:close/>
                <a:moveTo>
                  <a:pt x="8299793" y="1523391"/>
                </a:moveTo>
                <a:cubicBezTo>
                  <a:pt x="8304052" y="1523391"/>
                  <a:pt x="8308046" y="1524050"/>
                  <a:pt x="8311507" y="1525915"/>
                </a:cubicBezTo>
                <a:cubicBezTo>
                  <a:pt x="8315235" y="1527519"/>
                  <a:pt x="8318296" y="1529643"/>
                  <a:pt x="8320825" y="1532306"/>
                </a:cubicBezTo>
                <a:cubicBezTo>
                  <a:pt x="8323354" y="1534837"/>
                  <a:pt x="8325484" y="1538036"/>
                  <a:pt x="8326948" y="1541623"/>
                </a:cubicBezTo>
                <a:cubicBezTo>
                  <a:pt x="8328413" y="1545222"/>
                  <a:pt x="8329212" y="1549082"/>
                  <a:pt x="8329212" y="1553078"/>
                </a:cubicBezTo>
                <a:cubicBezTo>
                  <a:pt x="8329212" y="1557204"/>
                  <a:pt x="8328413" y="1561192"/>
                  <a:pt x="8326948" y="1564797"/>
                </a:cubicBezTo>
                <a:cubicBezTo>
                  <a:pt x="8325351" y="1568383"/>
                  <a:pt x="8323354" y="1571441"/>
                  <a:pt x="8320825" y="1574105"/>
                </a:cubicBezTo>
                <a:cubicBezTo>
                  <a:pt x="8318163" y="1576765"/>
                  <a:pt x="8315101" y="1578895"/>
                  <a:pt x="8311507" y="1580363"/>
                </a:cubicBezTo>
                <a:cubicBezTo>
                  <a:pt x="8307913" y="1581829"/>
                  <a:pt x="8304052" y="1582625"/>
                  <a:pt x="8299793" y="1582625"/>
                </a:cubicBezTo>
                <a:cubicBezTo>
                  <a:pt x="8290874" y="1582625"/>
                  <a:pt x="8283553" y="1579697"/>
                  <a:pt x="8277960" y="1574105"/>
                </a:cubicBezTo>
                <a:cubicBezTo>
                  <a:pt x="8272370" y="1568520"/>
                  <a:pt x="8269574" y="1561462"/>
                  <a:pt x="8269574" y="1552940"/>
                </a:cubicBezTo>
                <a:cubicBezTo>
                  <a:pt x="8269574" y="1544686"/>
                  <a:pt x="8272370" y="1537628"/>
                  <a:pt x="8277960" y="1531907"/>
                </a:cubicBezTo>
                <a:cubicBezTo>
                  <a:pt x="8283553" y="1526314"/>
                  <a:pt x="8290741" y="1523391"/>
                  <a:pt x="8299793" y="1523391"/>
                </a:cubicBezTo>
                <a:close/>
                <a:moveTo>
                  <a:pt x="8082281" y="1523391"/>
                </a:moveTo>
                <a:cubicBezTo>
                  <a:pt x="8086407" y="1523391"/>
                  <a:pt x="8090401" y="1524050"/>
                  <a:pt x="8094127" y="1525915"/>
                </a:cubicBezTo>
                <a:cubicBezTo>
                  <a:pt x="8097855" y="1527519"/>
                  <a:pt x="8100916" y="1529643"/>
                  <a:pt x="8103446" y="1532306"/>
                </a:cubicBezTo>
                <a:cubicBezTo>
                  <a:pt x="8105975" y="1534837"/>
                  <a:pt x="8108104" y="1538036"/>
                  <a:pt x="8109569" y="1541623"/>
                </a:cubicBezTo>
                <a:cubicBezTo>
                  <a:pt x="8111033" y="1545222"/>
                  <a:pt x="8111832" y="1549082"/>
                  <a:pt x="8111832" y="1553078"/>
                </a:cubicBezTo>
                <a:cubicBezTo>
                  <a:pt x="8111832" y="1557204"/>
                  <a:pt x="8111033" y="1561192"/>
                  <a:pt x="8109569" y="1564797"/>
                </a:cubicBezTo>
                <a:cubicBezTo>
                  <a:pt x="8107972" y="1568383"/>
                  <a:pt x="8105975" y="1571441"/>
                  <a:pt x="8103446" y="1574105"/>
                </a:cubicBezTo>
                <a:cubicBezTo>
                  <a:pt x="8100783" y="1576765"/>
                  <a:pt x="8097722" y="1578895"/>
                  <a:pt x="8094127" y="1580363"/>
                </a:cubicBezTo>
                <a:cubicBezTo>
                  <a:pt x="8090401" y="1581829"/>
                  <a:pt x="8086540" y="1582625"/>
                  <a:pt x="8082281" y="1582625"/>
                </a:cubicBezTo>
                <a:cubicBezTo>
                  <a:pt x="8073361" y="1582625"/>
                  <a:pt x="8066040" y="1579697"/>
                  <a:pt x="8060448" y="1574105"/>
                </a:cubicBezTo>
                <a:cubicBezTo>
                  <a:pt x="8054857" y="1568520"/>
                  <a:pt x="8052062" y="1561462"/>
                  <a:pt x="8052062" y="1552940"/>
                </a:cubicBezTo>
                <a:cubicBezTo>
                  <a:pt x="8052062" y="1544686"/>
                  <a:pt x="8054857" y="1537628"/>
                  <a:pt x="8060448" y="1531907"/>
                </a:cubicBezTo>
                <a:cubicBezTo>
                  <a:pt x="8066040" y="1526314"/>
                  <a:pt x="8073228" y="1523391"/>
                  <a:pt x="8082281" y="1523391"/>
                </a:cubicBezTo>
                <a:close/>
                <a:moveTo>
                  <a:pt x="7864636" y="1523391"/>
                </a:moveTo>
                <a:cubicBezTo>
                  <a:pt x="7868762" y="1523391"/>
                  <a:pt x="7872756" y="1524050"/>
                  <a:pt x="7876483" y="1525915"/>
                </a:cubicBezTo>
                <a:cubicBezTo>
                  <a:pt x="7880210" y="1527519"/>
                  <a:pt x="7883272" y="1529643"/>
                  <a:pt x="7885802" y="1532306"/>
                </a:cubicBezTo>
                <a:cubicBezTo>
                  <a:pt x="7888331" y="1534837"/>
                  <a:pt x="7890460" y="1538036"/>
                  <a:pt x="7891924" y="1541623"/>
                </a:cubicBezTo>
                <a:cubicBezTo>
                  <a:pt x="7893389" y="1545222"/>
                  <a:pt x="7894188" y="1549082"/>
                  <a:pt x="7894188" y="1553078"/>
                </a:cubicBezTo>
                <a:cubicBezTo>
                  <a:pt x="7894188" y="1557204"/>
                  <a:pt x="7893389" y="1561192"/>
                  <a:pt x="7891924" y="1564797"/>
                </a:cubicBezTo>
                <a:cubicBezTo>
                  <a:pt x="7890327" y="1568383"/>
                  <a:pt x="7888331" y="1571441"/>
                  <a:pt x="7885802" y="1574105"/>
                </a:cubicBezTo>
                <a:cubicBezTo>
                  <a:pt x="7883139" y="1576765"/>
                  <a:pt x="7880078" y="1578895"/>
                  <a:pt x="7876483" y="1580363"/>
                </a:cubicBezTo>
                <a:cubicBezTo>
                  <a:pt x="7872756" y="1581829"/>
                  <a:pt x="7868895" y="1582625"/>
                  <a:pt x="7864636" y="1582625"/>
                </a:cubicBezTo>
                <a:cubicBezTo>
                  <a:pt x="7855717" y="1582625"/>
                  <a:pt x="7848396" y="1579697"/>
                  <a:pt x="7842803" y="1574105"/>
                </a:cubicBezTo>
                <a:cubicBezTo>
                  <a:pt x="7837213" y="1568520"/>
                  <a:pt x="7834417" y="1561462"/>
                  <a:pt x="7834417" y="1552940"/>
                </a:cubicBezTo>
                <a:cubicBezTo>
                  <a:pt x="7834417" y="1544686"/>
                  <a:pt x="7837213" y="1537628"/>
                  <a:pt x="7842803" y="1531907"/>
                </a:cubicBezTo>
                <a:cubicBezTo>
                  <a:pt x="7848396" y="1526314"/>
                  <a:pt x="7855584" y="1523391"/>
                  <a:pt x="7864636" y="1523391"/>
                </a:cubicBezTo>
                <a:close/>
                <a:moveTo>
                  <a:pt x="7646991" y="1523391"/>
                </a:moveTo>
                <a:cubicBezTo>
                  <a:pt x="7651250" y="1523391"/>
                  <a:pt x="7655111" y="1524050"/>
                  <a:pt x="7658705" y="1525915"/>
                </a:cubicBezTo>
                <a:cubicBezTo>
                  <a:pt x="7662432" y="1527519"/>
                  <a:pt x="7665493" y="1529643"/>
                  <a:pt x="7668022" y="1532306"/>
                </a:cubicBezTo>
                <a:cubicBezTo>
                  <a:pt x="7670552" y="1534837"/>
                  <a:pt x="7672682" y="1538036"/>
                  <a:pt x="7674146" y="1541623"/>
                </a:cubicBezTo>
                <a:cubicBezTo>
                  <a:pt x="7675610" y="1545222"/>
                  <a:pt x="7676409" y="1549082"/>
                  <a:pt x="7676409" y="1553078"/>
                </a:cubicBezTo>
                <a:cubicBezTo>
                  <a:pt x="7676409" y="1557204"/>
                  <a:pt x="7675610" y="1561192"/>
                  <a:pt x="7674146" y="1564797"/>
                </a:cubicBezTo>
                <a:cubicBezTo>
                  <a:pt x="7672549" y="1568383"/>
                  <a:pt x="7670552" y="1571441"/>
                  <a:pt x="7668022" y="1574105"/>
                </a:cubicBezTo>
                <a:cubicBezTo>
                  <a:pt x="7665361" y="1576765"/>
                  <a:pt x="7662299" y="1578895"/>
                  <a:pt x="7658705" y="1580363"/>
                </a:cubicBezTo>
                <a:cubicBezTo>
                  <a:pt x="7655111" y="1581829"/>
                  <a:pt x="7651250" y="1582625"/>
                  <a:pt x="7646991" y="1582625"/>
                </a:cubicBezTo>
                <a:cubicBezTo>
                  <a:pt x="7638071" y="1582625"/>
                  <a:pt x="7630750" y="1579697"/>
                  <a:pt x="7625158" y="1574105"/>
                </a:cubicBezTo>
                <a:cubicBezTo>
                  <a:pt x="7619568" y="1568520"/>
                  <a:pt x="7616772" y="1561462"/>
                  <a:pt x="7616772" y="1552940"/>
                </a:cubicBezTo>
                <a:cubicBezTo>
                  <a:pt x="7616772" y="1544686"/>
                  <a:pt x="7619568" y="1537628"/>
                  <a:pt x="7625158" y="1531907"/>
                </a:cubicBezTo>
                <a:cubicBezTo>
                  <a:pt x="7630750" y="1526314"/>
                  <a:pt x="7637939" y="1523391"/>
                  <a:pt x="7646991" y="1523391"/>
                </a:cubicBezTo>
                <a:close/>
                <a:moveTo>
                  <a:pt x="7429345" y="1523391"/>
                </a:moveTo>
                <a:cubicBezTo>
                  <a:pt x="7433605" y="1523391"/>
                  <a:pt x="7437466" y="1524050"/>
                  <a:pt x="7441059" y="1525915"/>
                </a:cubicBezTo>
                <a:cubicBezTo>
                  <a:pt x="7444787" y="1527519"/>
                  <a:pt x="7447848" y="1529643"/>
                  <a:pt x="7450377" y="1532306"/>
                </a:cubicBezTo>
                <a:cubicBezTo>
                  <a:pt x="7452907" y="1534837"/>
                  <a:pt x="7455036" y="1538036"/>
                  <a:pt x="7456501" y="1541623"/>
                </a:cubicBezTo>
                <a:cubicBezTo>
                  <a:pt x="7457965" y="1545222"/>
                  <a:pt x="7458764" y="1549082"/>
                  <a:pt x="7458764" y="1553078"/>
                </a:cubicBezTo>
                <a:cubicBezTo>
                  <a:pt x="7458764" y="1557204"/>
                  <a:pt x="7457965" y="1561192"/>
                  <a:pt x="7456501" y="1564797"/>
                </a:cubicBezTo>
                <a:cubicBezTo>
                  <a:pt x="7454904" y="1568383"/>
                  <a:pt x="7452907" y="1571441"/>
                  <a:pt x="7450377" y="1574105"/>
                </a:cubicBezTo>
                <a:cubicBezTo>
                  <a:pt x="7447715" y="1576765"/>
                  <a:pt x="7444654" y="1578895"/>
                  <a:pt x="7441059" y="1580363"/>
                </a:cubicBezTo>
                <a:cubicBezTo>
                  <a:pt x="7437466" y="1581829"/>
                  <a:pt x="7433605" y="1582625"/>
                  <a:pt x="7429345" y="1582625"/>
                </a:cubicBezTo>
                <a:cubicBezTo>
                  <a:pt x="7420426" y="1582625"/>
                  <a:pt x="7413105" y="1579697"/>
                  <a:pt x="7407513" y="1574105"/>
                </a:cubicBezTo>
                <a:cubicBezTo>
                  <a:pt x="7401922" y="1568520"/>
                  <a:pt x="7399127" y="1561462"/>
                  <a:pt x="7399127" y="1552940"/>
                </a:cubicBezTo>
                <a:cubicBezTo>
                  <a:pt x="7399127" y="1544686"/>
                  <a:pt x="7401922" y="1537628"/>
                  <a:pt x="7407513" y="1531907"/>
                </a:cubicBezTo>
                <a:cubicBezTo>
                  <a:pt x="7413105" y="1526314"/>
                  <a:pt x="7420293" y="1523391"/>
                  <a:pt x="7429345" y="1523391"/>
                </a:cubicBezTo>
                <a:close/>
                <a:moveTo>
                  <a:pt x="7211701" y="1523391"/>
                </a:moveTo>
                <a:cubicBezTo>
                  <a:pt x="7215960" y="1523391"/>
                  <a:pt x="7219954" y="1524050"/>
                  <a:pt x="7223415" y="1525915"/>
                </a:cubicBezTo>
                <a:cubicBezTo>
                  <a:pt x="7227142" y="1527519"/>
                  <a:pt x="7230204" y="1529643"/>
                  <a:pt x="7232733" y="1532306"/>
                </a:cubicBezTo>
                <a:cubicBezTo>
                  <a:pt x="7235262" y="1534837"/>
                  <a:pt x="7237392" y="1538036"/>
                  <a:pt x="7238856" y="1541623"/>
                </a:cubicBezTo>
                <a:cubicBezTo>
                  <a:pt x="7240321" y="1545222"/>
                  <a:pt x="7241120" y="1549082"/>
                  <a:pt x="7241120" y="1553078"/>
                </a:cubicBezTo>
                <a:cubicBezTo>
                  <a:pt x="7241120" y="1557204"/>
                  <a:pt x="7240321" y="1561192"/>
                  <a:pt x="7238856" y="1564797"/>
                </a:cubicBezTo>
                <a:cubicBezTo>
                  <a:pt x="7237259" y="1568383"/>
                  <a:pt x="7235262" y="1571441"/>
                  <a:pt x="7232733" y="1574105"/>
                </a:cubicBezTo>
                <a:cubicBezTo>
                  <a:pt x="7230071" y="1576765"/>
                  <a:pt x="7227009" y="1578895"/>
                  <a:pt x="7223415" y="1580363"/>
                </a:cubicBezTo>
                <a:cubicBezTo>
                  <a:pt x="7219821" y="1581829"/>
                  <a:pt x="7215960" y="1582625"/>
                  <a:pt x="7211701" y="1582625"/>
                </a:cubicBezTo>
                <a:cubicBezTo>
                  <a:pt x="7202782" y="1582625"/>
                  <a:pt x="7195460" y="1579697"/>
                  <a:pt x="7189868" y="1574105"/>
                </a:cubicBezTo>
                <a:cubicBezTo>
                  <a:pt x="7184278" y="1568520"/>
                  <a:pt x="7181482" y="1561462"/>
                  <a:pt x="7181482" y="1552940"/>
                </a:cubicBezTo>
                <a:cubicBezTo>
                  <a:pt x="7181482" y="1544686"/>
                  <a:pt x="7184278" y="1537628"/>
                  <a:pt x="7189868" y="1531907"/>
                </a:cubicBezTo>
                <a:cubicBezTo>
                  <a:pt x="7195460" y="1526314"/>
                  <a:pt x="7202649" y="1523391"/>
                  <a:pt x="7211701" y="1523391"/>
                </a:cubicBezTo>
                <a:close/>
                <a:moveTo>
                  <a:pt x="6994056" y="1523391"/>
                </a:moveTo>
                <a:cubicBezTo>
                  <a:pt x="6998315" y="1523391"/>
                  <a:pt x="7002309" y="1524050"/>
                  <a:pt x="7005769" y="1525915"/>
                </a:cubicBezTo>
                <a:cubicBezTo>
                  <a:pt x="7009497" y="1527519"/>
                  <a:pt x="7012558" y="1529643"/>
                  <a:pt x="7015087" y="1532306"/>
                </a:cubicBezTo>
                <a:cubicBezTo>
                  <a:pt x="7017617" y="1534837"/>
                  <a:pt x="7019747" y="1538036"/>
                  <a:pt x="7021211" y="1541623"/>
                </a:cubicBezTo>
                <a:cubicBezTo>
                  <a:pt x="7022675" y="1545222"/>
                  <a:pt x="7023474" y="1549082"/>
                  <a:pt x="7023474" y="1553078"/>
                </a:cubicBezTo>
                <a:cubicBezTo>
                  <a:pt x="7023474" y="1557204"/>
                  <a:pt x="7022675" y="1561192"/>
                  <a:pt x="7021211" y="1564797"/>
                </a:cubicBezTo>
                <a:cubicBezTo>
                  <a:pt x="7019614" y="1568383"/>
                  <a:pt x="7017617" y="1571441"/>
                  <a:pt x="7015087" y="1574105"/>
                </a:cubicBezTo>
                <a:cubicBezTo>
                  <a:pt x="7012425" y="1576765"/>
                  <a:pt x="7009364" y="1578895"/>
                  <a:pt x="7005769" y="1580363"/>
                </a:cubicBezTo>
                <a:cubicBezTo>
                  <a:pt x="7002176" y="1581829"/>
                  <a:pt x="6998315" y="1582625"/>
                  <a:pt x="6994056" y="1582625"/>
                </a:cubicBezTo>
                <a:cubicBezTo>
                  <a:pt x="6985136" y="1582625"/>
                  <a:pt x="6977815" y="1579697"/>
                  <a:pt x="6972223" y="1574105"/>
                </a:cubicBezTo>
                <a:cubicBezTo>
                  <a:pt x="6966632" y="1568520"/>
                  <a:pt x="6963837" y="1561462"/>
                  <a:pt x="6963837" y="1552940"/>
                </a:cubicBezTo>
                <a:cubicBezTo>
                  <a:pt x="6963837" y="1544686"/>
                  <a:pt x="6966632" y="1537628"/>
                  <a:pt x="6972223" y="1531907"/>
                </a:cubicBezTo>
                <a:cubicBezTo>
                  <a:pt x="6977815" y="1526314"/>
                  <a:pt x="6985003" y="1523391"/>
                  <a:pt x="6994056" y="1523391"/>
                </a:cubicBezTo>
                <a:close/>
                <a:moveTo>
                  <a:pt x="6776544" y="1523391"/>
                </a:moveTo>
                <a:cubicBezTo>
                  <a:pt x="6780670" y="1523391"/>
                  <a:pt x="6784664" y="1524050"/>
                  <a:pt x="6788258" y="1525915"/>
                </a:cubicBezTo>
                <a:cubicBezTo>
                  <a:pt x="6791985" y="1527519"/>
                  <a:pt x="6795047" y="1529643"/>
                  <a:pt x="6797576" y="1532306"/>
                </a:cubicBezTo>
                <a:cubicBezTo>
                  <a:pt x="6800105" y="1534837"/>
                  <a:pt x="6802235" y="1538036"/>
                  <a:pt x="6803699" y="1541623"/>
                </a:cubicBezTo>
                <a:cubicBezTo>
                  <a:pt x="6805164" y="1545222"/>
                  <a:pt x="6805963" y="1549082"/>
                  <a:pt x="6805963" y="1553078"/>
                </a:cubicBezTo>
                <a:cubicBezTo>
                  <a:pt x="6805963" y="1557204"/>
                  <a:pt x="6805164" y="1561192"/>
                  <a:pt x="6803699" y="1564797"/>
                </a:cubicBezTo>
                <a:cubicBezTo>
                  <a:pt x="6802102" y="1568383"/>
                  <a:pt x="6800105" y="1571441"/>
                  <a:pt x="6797576" y="1574105"/>
                </a:cubicBezTo>
                <a:cubicBezTo>
                  <a:pt x="6794914" y="1576765"/>
                  <a:pt x="6791852" y="1578895"/>
                  <a:pt x="6788258" y="1580363"/>
                </a:cubicBezTo>
                <a:cubicBezTo>
                  <a:pt x="6784664" y="1581829"/>
                  <a:pt x="6780803" y="1582625"/>
                  <a:pt x="6776544" y="1582625"/>
                </a:cubicBezTo>
                <a:cubicBezTo>
                  <a:pt x="6767625" y="1582625"/>
                  <a:pt x="6760303" y="1579697"/>
                  <a:pt x="6754711" y="1574105"/>
                </a:cubicBezTo>
                <a:cubicBezTo>
                  <a:pt x="6749121" y="1568520"/>
                  <a:pt x="6746325" y="1561462"/>
                  <a:pt x="6746325" y="1552940"/>
                </a:cubicBezTo>
                <a:cubicBezTo>
                  <a:pt x="6746325" y="1544686"/>
                  <a:pt x="6749121" y="1537628"/>
                  <a:pt x="6754711" y="1531907"/>
                </a:cubicBezTo>
                <a:cubicBezTo>
                  <a:pt x="6760303" y="1526314"/>
                  <a:pt x="6767492" y="1523391"/>
                  <a:pt x="6776544" y="1523391"/>
                </a:cubicBezTo>
                <a:close/>
                <a:moveTo>
                  <a:pt x="6558899" y="1523391"/>
                </a:moveTo>
                <a:cubicBezTo>
                  <a:pt x="6563158" y="1523391"/>
                  <a:pt x="6567019" y="1524050"/>
                  <a:pt x="6570612" y="1525915"/>
                </a:cubicBezTo>
                <a:cubicBezTo>
                  <a:pt x="6574340" y="1527519"/>
                  <a:pt x="6577401" y="1529643"/>
                  <a:pt x="6579930" y="1532306"/>
                </a:cubicBezTo>
                <a:cubicBezTo>
                  <a:pt x="6582460" y="1534837"/>
                  <a:pt x="6584590" y="1538036"/>
                  <a:pt x="6586054" y="1541623"/>
                </a:cubicBezTo>
                <a:cubicBezTo>
                  <a:pt x="6587518" y="1545222"/>
                  <a:pt x="6588317" y="1549082"/>
                  <a:pt x="6588317" y="1553078"/>
                </a:cubicBezTo>
                <a:cubicBezTo>
                  <a:pt x="6588317" y="1557204"/>
                  <a:pt x="6587518" y="1561192"/>
                  <a:pt x="6586054" y="1564797"/>
                </a:cubicBezTo>
                <a:cubicBezTo>
                  <a:pt x="6584457" y="1568383"/>
                  <a:pt x="6582460" y="1571441"/>
                  <a:pt x="6579930" y="1574105"/>
                </a:cubicBezTo>
                <a:cubicBezTo>
                  <a:pt x="6577268" y="1576765"/>
                  <a:pt x="6574207" y="1578895"/>
                  <a:pt x="6570612" y="1580363"/>
                </a:cubicBezTo>
                <a:cubicBezTo>
                  <a:pt x="6567019" y="1581829"/>
                  <a:pt x="6563158" y="1582625"/>
                  <a:pt x="6558899" y="1582625"/>
                </a:cubicBezTo>
                <a:cubicBezTo>
                  <a:pt x="6549979" y="1582625"/>
                  <a:pt x="6542658" y="1579697"/>
                  <a:pt x="6537066" y="1574105"/>
                </a:cubicBezTo>
                <a:cubicBezTo>
                  <a:pt x="6531476" y="1568520"/>
                  <a:pt x="6528680" y="1561462"/>
                  <a:pt x="6528680" y="1552940"/>
                </a:cubicBezTo>
                <a:cubicBezTo>
                  <a:pt x="6528680" y="1544686"/>
                  <a:pt x="6531476" y="1537628"/>
                  <a:pt x="6537066" y="1531907"/>
                </a:cubicBezTo>
                <a:cubicBezTo>
                  <a:pt x="6542658" y="1526314"/>
                  <a:pt x="6549846" y="1523391"/>
                  <a:pt x="6558899" y="1523391"/>
                </a:cubicBezTo>
                <a:close/>
                <a:moveTo>
                  <a:pt x="6341253" y="1523391"/>
                </a:moveTo>
                <a:cubicBezTo>
                  <a:pt x="6345513" y="1523391"/>
                  <a:pt x="6349373" y="1524050"/>
                  <a:pt x="6352968" y="1525915"/>
                </a:cubicBezTo>
                <a:cubicBezTo>
                  <a:pt x="6356695" y="1527519"/>
                  <a:pt x="6359757" y="1529643"/>
                  <a:pt x="6362286" y="1532306"/>
                </a:cubicBezTo>
                <a:cubicBezTo>
                  <a:pt x="6364815" y="1534837"/>
                  <a:pt x="6366945" y="1538036"/>
                  <a:pt x="6368409" y="1541623"/>
                </a:cubicBezTo>
                <a:cubicBezTo>
                  <a:pt x="6369874" y="1545222"/>
                  <a:pt x="6370672" y="1549082"/>
                  <a:pt x="6370672" y="1553078"/>
                </a:cubicBezTo>
                <a:cubicBezTo>
                  <a:pt x="6370672" y="1557204"/>
                  <a:pt x="6369874" y="1561192"/>
                  <a:pt x="6368409" y="1564797"/>
                </a:cubicBezTo>
                <a:cubicBezTo>
                  <a:pt x="6366811" y="1568383"/>
                  <a:pt x="6364815" y="1571441"/>
                  <a:pt x="6362286" y="1574105"/>
                </a:cubicBezTo>
                <a:cubicBezTo>
                  <a:pt x="6359623" y="1576765"/>
                  <a:pt x="6356562" y="1578895"/>
                  <a:pt x="6352968" y="1580363"/>
                </a:cubicBezTo>
                <a:cubicBezTo>
                  <a:pt x="6349373" y="1581829"/>
                  <a:pt x="6345513" y="1582625"/>
                  <a:pt x="6341253" y="1582625"/>
                </a:cubicBezTo>
                <a:cubicBezTo>
                  <a:pt x="6332335" y="1582625"/>
                  <a:pt x="6325013" y="1579697"/>
                  <a:pt x="6319421" y="1574105"/>
                </a:cubicBezTo>
                <a:cubicBezTo>
                  <a:pt x="6313830" y="1568520"/>
                  <a:pt x="6311035" y="1561462"/>
                  <a:pt x="6311035" y="1552940"/>
                </a:cubicBezTo>
                <a:cubicBezTo>
                  <a:pt x="6311035" y="1544686"/>
                  <a:pt x="6313830" y="1537628"/>
                  <a:pt x="6319421" y="1531907"/>
                </a:cubicBezTo>
                <a:cubicBezTo>
                  <a:pt x="6325013" y="1526314"/>
                  <a:pt x="6332201" y="1523391"/>
                  <a:pt x="6341253" y="1523391"/>
                </a:cubicBezTo>
                <a:close/>
                <a:moveTo>
                  <a:pt x="6123608" y="1523391"/>
                </a:moveTo>
                <a:cubicBezTo>
                  <a:pt x="6127867" y="1523391"/>
                  <a:pt x="6131728" y="1524050"/>
                  <a:pt x="6135322" y="1525915"/>
                </a:cubicBezTo>
                <a:cubicBezTo>
                  <a:pt x="6139049" y="1527519"/>
                  <a:pt x="6142111" y="1529643"/>
                  <a:pt x="6144640" y="1532306"/>
                </a:cubicBezTo>
                <a:cubicBezTo>
                  <a:pt x="6147169" y="1534837"/>
                  <a:pt x="6149299" y="1538036"/>
                  <a:pt x="6150763" y="1541623"/>
                </a:cubicBezTo>
                <a:cubicBezTo>
                  <a:pt x="6152228" y="1545222"/>
                  <a:pt x="6153026" y="1549082"/>
                  <a:pt x="6153026" y="1553078"/>
                </a:cubicBezTo>
                <a:cubicBezTo>
                  <a:pt x="6153026" y="1557204"/>
                  <a:pt x="6152228" y="1561192"/>
                  <a:pt x="6150763" y="1564797"/>
                </a:cubicBezTo>
                <a:cubicBezTo>
                  <a:pt x="6149299" y="1568383"/>
                  <a:pt x="6147169" y="1571441"/>
                  <a:pt x="6144640" y="1574105"/>
                </a:cubicBezTo>
                <a:cubicBezTo>
                  <a:pt x="6141977" y="1576765"/>
                  <a:pt x="6138916" y="1578895"/>
                  <a:pt x="6135322" y="1580363"/>
                </a:cubicBezTo>
                <a:cubicBezTo>
                  <a:pt x="6131728" y="1581829"/>
                  <a:pt x="6127867" y="1582625"/>
                  <a:pt x="6123608" y="1582625"/>
                </a:cubicBezTo>
                <a:cubicBezTo>
                  <a:pt x="6114689" y="1582625"/>
                  <a:pt x="6107367" y="1579697"/>
                  <a:pt x="6101775" y="1574105"/>
                </a:cubicBezTo>
                <a:cubicBezTo>
                  <a:pt x="6096184" y="1568520"/>
                  <a:pt x="6093389" y="1561462"/>
                  <a:pt x="6093389" y="1552940"/>
                </a:cubicBezTo>
                <a:cubicBezTo>
                  <a:pt x="6093389" y="1544686"/>
                  <a:pt x="6096184" y="1537628"/>
                  <a:pt x="6101775" y="1531907"/>
                </a:cubicBezTo>
                <a:cubicBezTo>
                  <a:pt x="6107367" y="1526314"/>
                  <a:pt x="6114555" y="1523391"/>
                  <a:pt x="6123608" y="1523391"/>
                </a:cubicBezTo>
                <a:close/>
                <a:moveTo>
                  <a:pt x="5905963" y="1523391"/>
                </a:moveTo>
                <a:cubicBezTo>
                  <a:pt x="5910222" y="1523391"/>
                  <a:pt x="5914216" y="1524050"/>
                  <a:pt x="5917677" y="1525915"/>
                </a:cubicBezTo>
                <a:cubicBezTo>
                  <a:pt x="5921404" y="1527519"/>
                  <a:pt x="5924466" y="1529643"/>
                  <a:pt x="5926995" y="1532306"/>
                </a:cubicBezTo>
                <a:cubicBezTo>
                  <a:pt x="5929524" y="1534837"/>
                  <a:pt x="5931654" y="1538036"/>
                  <a:pt x="5933118" y="1541623"/>
                </a:cubicBezTo>
                <a:cubicBezTo>
                  <a:pt x="5934583" y="1545222"/>
                  <a:pt x="5935381" y="1549082"/>
                  <a:pt x="5935381" y="1553078"/>
                </a:cubicBezTo>
                <a:cubicBezTo>
                  <a:pt x="5935381" y="1557204"/>
                  <a:pt x="5934583" y="1561192"/>
                  <a:pt x="5933118" y="1564797"/>
                </a:cubicBezTo>
                <a:cubicBezTo>
                  <a:pt x="5931654" y="1568383"/>
                  <a:pt x="5929524" y="1571441"/>
                  <a:pt x="5926995" y="1574105"/>
                </a:cubicBezTo>
                <a:cubicBezTo>
                  <a:pt x="5924333" y="1576765"/>
                  <a:pt x="5921271" y="1578895"/>
                  <a:pt x="5917677" y="1580363"/>
                </a:cubicBezTo>
                <a:cubicBezTo>
                  <a:pt x="5914083" y="1581829"/>
                  <a:pt x="5910222" y="1582625"/>
                  <a:pt x="5905963" y="1582625"/>
                </a:cubicBezTo>
                <a:cubicBezTo>
                  <a:pt x="5897044" y="1582625"/>
                  <a:pt x="5889722" y="1579697"/>
                  <a:pt x="5884130" y="1574105"/>
                </a:cubicBezTo>
                <a:cubicBezTo>
                  <a:pt x="5878540" y="1568520"/>
                  <a:pt x="5875744" y="1561462"/>
                  <a:pt x="5875744" y="1552940"/>
                </a:cubicBezTo>
                <a:cubicBezTo>
                  <a:pt x="5875744" y="1544686"/>
                  <a:pt x="5878540" y="1537628"/>
                  <a:pt x="5884130" y="1531907"/>
                </a:cubicBezTo>
                <a:cubicBezTo>
                  <a:pt x="5889722" y="1526314"/>
                  <a:pt x="5896910" y="1523391"/>
                  <a:pt x="5905963" y="1523391"/>
                </a:cubicBezTo>
                <a:close/>
                <a:moveTo>
                  <a:pt x="5688451" y="1523391"/>
                </a:moveTo>
                <a:cubicBezTo>
                  <a:pt x="5692577" y="1523391"/>
                  <a:pt x="5696571" y="1524050"/>
                  <a:pt x="5700165" y="1525915"/>
                </a:cubicBezTo>
                <a:cubicBezTo>
                  <a:pt x="5703892" y="1527519"/>
                  <a:pt x="5706954" y="1529643"/>
                  <a:pt x="5709483" y="1532306"/>
                </a:cubicBezTo>
                <a:cubicBezTo>
                  <a:pt x="5712012" y="1534837"/>
                  <a:pt x="5714142" y="1538036"/>
                  <a:pt x="5715606" y="1541623"/>
                </a:cubicBezTo>
                <a:cubicBezTo>
                  <a:pt x="5717071" y="1545222"/>
                  <a:pt x="5717869" y="1549082"/>
                  <a:pt x="5717869" y="1553078"/>
                </a:cubicBezTo>
                <a:cubicBezTo>
                  <a:pt x="5717869" y="1557204"/>
                  <a:pt x="5717071" y="1561192"/>
                  <a:pt x="5715606" y="1564797"/>
                </a:cubicBezTo>
                <a:cubicBezTo>
                  <a:pt x="5714142" y="1568383"/>
                  <a:pt x="5712012" y="1571441"/>
                  <a:pt x="5709483" y="1574105"/>
                </a:cubicBezTo>
                <a:cubicBezTo>
                  <a:pt x="5706820" y="1576765"/>
                  <a:pt x="5703759" y="1578895"/>
                  <a:pt x="5700165" y="1580363"/>
                </a:cubicBezTo>
                <a:cubicBezTo>
                  <a:pt x="5696571" y="1581829"/>
                  <a:pt x="5692710" y="1582625"/>
                  <a:pt x="5688451" y="1582625"/>
                </a:cubicBezTo>
                <a:cubicBezTo>
                  <a:pt x="5679532" y="1582625"/>
                  <a:pt x="5672210" y="1579697"/>
                  <a:pt x="5666618" y="1574105"/>
                </a:cubicBezTo>
                <a:cubicBezTo>
                  <a:pt x="5661028" y="1568520"/>
                  <a:pt x="5658232" y="1561462"/>
                  <a:pt x="5658232" y="1552940"/>
                </a:cubicBezTo>
                <a:cubicBezTo>
                  <a:pt x="5658232" y="1544686"/>
                  <a:pt x="5661028" y="1537628"/>
                  <a:pt x="5666618" y="1531907"/>
                </a:cubicBezTo>
                <a:cubicBezTo>
                  <a:pt x="5672210" y="1526314"/>
                  <a:pt x="5679398" y="1523391"/>
                  <a:pt x="5688451" y="1523391"/>
                </a:cubicBezTo>
                <a:close/>
                <a:moveTo>
                  <a:pt x="5470806" y="1523391"/>
                </a:moveTo>
                <a:cubicBezTo>
                  <a:pt x="5475065" y="1523391"/>
                  <a:pt x="5478926" y="1524050"/>
                  <a:pt x="5482520" y="1525915"/>
                </a:cubicBezTo>
                <a:cubicBezTo>
                  <a:pt x="5486247" y="1527519"/>
                  <a:pt x="5489309" y="1529643"/>
                  <a:pt x="5491838" y="1532306"/>
                </a:cubicBezTo>
                <a:cubicBezTo>
                  <a:pt x="5494367" y="1534837"/>
                  <a:pt x="5496497" y="1538036"/>
                  <a:pt x="5497961" y="1541623"/>
                </a:cubicBezTo>
                <a:cubicBezTo>
                  <a:pt x="5499426" y="1545222"/>
                  <a:pt x="5500224" y="1549082"/>
                  <a:pt x="5500224" y="1553078"/>
                </a:cubicBezTo>
                <a:cubicBezTo>
                  <a:pt x="5500224" y="1557204"/>
                  <a:pt x="5499426" y="1561192"/>
                  <a:pt x="5497961" y="1564797"/>
                </a:cubicBezTo>
                <a:cubicBezTo>
                  <a:pt x="5496497" y="1568383"/>
                  <a:pt x="5494367" y="1571441"/>
                  <a:pt x="5491838" y="1574105"/>
                </a:cubicBezTo>
                <a:cubicBezTo>
                  <a:pt x="5489176" y="1576765"/>
                  <a:pt x="5486114" y="1578895"/>
                  <a:pt x="5482520" y="1580363"/>
                </a:cubicBezTo>
                <a:cubicBezTo>
                  <a:pt x="5478926" y="1581829"/>
                  <a:pt x="5475065" y="1582625"/>
                  <a:pt x="5470806" y="1582625"/>
                </a:cubicBezTo>
                <a:cubicBezTo>
                  <a:pt x="5461887" y="1582625"/>
                  <a:pt x="5454565" y="1579697"/>
                  <a:pt x="5448973" y="1574105"/>
                </a:cubicBezTo>
                <a:cubicBezTo>
                  <a:pt x="5443383" y="1568520"/>
                  <a:pt x="5440587" y="1561462"/>
                  <a:pt x="5440587" y="1552940"/>
                </a:cubicBezTo>
                <a:cubicBezTo>
                  <a:pt x="5440587" y="1544686"/>
                  <a:pt x="5443383" y="1537628"/>
                  <a:pt x="5448973" y="1531907"/>
                </a:cubicBezTo>
                <a:cubicBezTo>
                  <a:pt x="5454565" y="1526314"/>
                  <a:pt x="5461754" y="1523391"/>
                  <a:pt x="5470806" y="1523391"/>
                </a:cubicBezTo>
                <a:close/>
                <a:moveTo>
                  <a:pt x="5253160" y="1523391"/>
                </a:moveTo>
                <a:cubicBezTo>
                  <a:pt x="5257420" y="1523391"/>
                  <a:pt x="5261280" y="1524050"/>
                  <a:pt x="5264875" y="1525915"/>
                </a:cubicBezTo>
                <a:cubicBezTo>
                  <a:pt x="5268602" y="1527519"/>
                  <a:pt x="5271664" y="1529643"/>
                  <a:pt x="5274192" y="1532306"/>
                </a:cubicBezTo>
                <a:cubicBezTo>
                  <a:pt x="5276722" y="1534837"/>
                  <a:pt x="5278852" y="1538036"/>
                  <a:pt x="5280316" y="1541623"/>
                </a:cubicBezTo>
                <a:cubicBezTo>
                  <a:pt x="5281780" y="1545222"/>
                  <a:pt x="5282579" y="1549082"/>
                  <a:pt x="5282579" y="1553078"/>
                </a:cubicBezTo>
                <a:cubicBezTo>
                  <a:pt x="5282579" y="1557204"/>
                  <a:pt x="5281780" y="1561192"/>
                  <a:pt x="5280316" y="1564797"/>
                </a:cubicBezTo>
                <a:cubicBezTo>
                  <a:pt x="5278852" y="1568383"/>
                  <a:pt x="5276722" y="1571441"/>
                  <a:pt x="5274192" y="1574105"/>
                </a:cubicBezTo>
                <a:cubicBezTo>
                  <a:pt x="5271664" y="1576765"/>
                  <a:pt x="5268469" y="1578895"/>
                  <a:pt x="5264875" y="1580363"/>
                </a:cubicBezTo>
                <a:cubicBezTo>
                  <a:pt x="5261280" y="1581829"/>
                  <a:pt x="5257420" y="1582625"/>
                  <a:pt x="5253160" y="1582625"/>
                </a:cubicBezTo>
                <a:cubicBezTo>
                  <a:pt x="5244241" y="1582625"/>
                  <a:pt x="5236920" y="1579697"/>
                  <a:pt x="5231328" y="1574105"/>
                </a:cubicBezTo>
                <a:cubicBezTo>
                  <a:pt x="5225737" y="1568520"/>
                  <a:pt x="5222942" y="1561462"/>
                  <a:pt x="5222942" y="1552940"/>
                </a:cubicBezTo>
                <a:cubicBezTo>
                  <a:pt x="5222942" y="1544686"/>
                  <a:pt x="5225737" y="1537628"/>
                  <a:pt x="5231328" y="1531907"/>
                </a:cubicBezTo>
                <a:cubicBezTo>
                  <a:pt x="5236920" y="1526314"/>
                  <a:pt x="5244108" y="1523391"/>
                  <a:pt x="5253160" y="1523391"/>
                </a:cubicBezTo>
                <a:close/>
                <a:moveTo>
                  <a:pt x="5035515" y="1523391"/>
                </a:moveTo>
                <a:cubicBezTo>
                  <a:pt x="5039775" y="1523391"/>
                  <a:pt x="5043636" y="1524050"/>
                  <a:pt x="5047230" y="1525915"/>
                </a:cubicBezTo>
                <a:cubicBezTo>
                  <a:pt x="5050957" y="1527519"/>
                  <a:pt x="5054019" y="1529643"/>
                  <a:pt x="5056548" y="1532306"/>
                </a:cubicBezTo>
                <a:cubicBezTo>
                  <a:pt x="5059077" y="1534837"/>
                  <a:pt x="5061207" y="1538036"/>
                  <a:pt x="5062671" y="1541623"/>
                </a:cubicBezTo>
                <a:cubicBezTo>
                  <a:pt x="5064135" y="1545222"/>
                  <a:pt x="5064934" y="1549082"/>
                  <a:pt x="5064934" y="1553078"/>
                </a:cubicBezTo>
                <a:cubicBezTo>
                  <a:pt x="5064934" y="1557204"/>
                  <a:pt x="5064135" y="1561192"/>
                  <a:pt x="5062671" y="1564797"/>
                </a:cubicBezTo>
                <a:cubicBezTo>
                  <a:pt x="5061207" y="1568383"/>
                  <a:pt x="5059077" y="1571441"/>
                  <a:pt x="5056548" y="1574105"/>
                </a:cubicBezTo>
                <a:cubicBezTo>
                  <a:pt x="5053885" y="1576765"/>
                  <a:pt x="5050824" y="1578895"/>
                  <a:pt x="5047230" y="1580363"/>
                </a:cubicBezTo>
                <a:cubicBezTo>
                  <a:pt x="5043636" y="1581829"/>
                  <a:pt x="5039775" y="1582625"/>
                  <a:pt x="5035515" y="1582625"/>
                </a:cubicBezTo>
                <a:cubicBezTo>
                  <a:pt x="5026597" y="1582625"/>
                  <a:pt x="5019275" y="1579697"/>
                  <a:pt x="5013683" y="1574105"/>
                </a:cubicBezTo>
                <a:cubicBezTo>
                  <a:pt x="5008092" y="1568520"/>
                  <a:pt x="5005297" y="1561462"/>
                  <a:pt x="5005297" y="1552940"/>
                </a:cubicBezTo>
                <a:cubicBezTo>
                  <a:pt x="5005297" y="1544686"/>
                  <a:pt x="5008092" y="1537628"/>
                  <a:pt x="5013683" y="1531907"/>
                </a:cubicBezTo>
                <a:cubicBezTo>
                  <a:pt x="5019275" y="1526314"/>
                  <a:pt x="5026463" y="1523391"/>
                  <a:pt x="5035515" y="1523391"/>
                </a:cubicBezTo>
                <a:close/>
                <a:moveTo>
                  <a:pt x="4817870" y="1523391"/>
                </a:moveTo>
                <a:cubicBezTo>
                  <a:pt x="4822130" y="1523391"/>
                  <a:pt x="4826124" y="1524050"/>
                  <a:pt x="4829585" y="1525915"/>
                </a:cubicBezTo>
                <a:cubicBezTo>
                  <a:pt x="4833312" y="1527519"/>
                  <a:pt x="4836374" y="1529643"/>
                  <a:pt x="4838903" y="1532306"/>
                </a:cubicBezTo>
                <a:cubicBezTo>
                  <a:pt x="4841432" y="1534837"/>
                  <a:pt x="4843562" y="1538036"/>
                  <a:pt x="4845026" y="1541623"/>
                </a:cubicBezTo>
                <a:cubicBezTo>
                  <a:pt x="4846491" y="1545222"/>
                  <a:pt x="4847289" y="1549082"/>
                  <a:pt x="4847289" y="1553078"/>
                </a:cubicBezTo>
                <a:cubicBezTo>
                  <a:pt x="4847289" y="1557204"/>
                  <a:pt x="4846491" y="1561192"/>
                  <a:pt x="4845026" y="1564797"/>
                </a:cubicBezTo>
                <a:cubicBezTo>
                  <a:pt x="4843562" y="1568383"/>
                  <a:pt x="4841432" y="1571441"/>
                  <a:pt x="4838903" y="1574105"/>
                </a:cubicBezTo>
                <a:cubicBezTo>
                  <a:pt x="4836240" y="1576765"/>
                  <a:pt x="4833179" y="1578895"/>
                  <a:pt x="4829585" y="1580363"/>
                </a:cubicBezTo>
                <a:cubicBezTo>
                  <a:pt x="4825991" y="1581829"/>
                  <a:pt x="4822130" y="1582625"/>
                  <a:pt x="4817870" y="1582625"/>
                </a:cubicBezTo>
                <a:cubicBezTo>
                  <a:pt x="4808952" y="1582625"/>
                  <a:pt x="4801630" y="1579697"/>
                  <a:pt x="4796038" y="1574105"/>
                </a:cubicBezTo>
                <a:cubicBezTo>
                  <a:pt x="4790447" y="1568520"/>
                  <a:pt x="4787652" y="1561462"/>
                  <a:pt x="4787652" y="1552940"/>
                </a:cubicBezTo>
                <a:cubicBezTo>
                  <a:pt x="4787652" y="1544686"/>
                  <a:pt x="4790447" y="1537628"/>
                  <a:pt x="4796038" y="1531907"/>
                </a:cubicBezTo>
                <a:cubicBezTo>
                  <a:pt x="4801630" y="1526314"/>
                  <a:pt x="4808818" y="1523391"/>
                  <a:pt x="4817870" y="1523391"/>
                </a:cubicBezTo>
                <a:close/>
                <a:moveTo>
                  <a:pt x="4600226" y="1523391"/>
                </a:moveTo>
                <a:cubicBezTo>
                  <a:pt x="4604485" y="1523391"/>
                  <a:pt x="4608479" y="1524050"/>
                  <a:pt x="4612073" y="1525915"/>
                </a:cubicBezTo>
                <a:cubicBezTo>
                  <a:pt x="4615800" y="1527519"/>
                  <a:pt x="4618862" y="1529643"/>
                  <a:pt x="4621391" y="1532306"/>
                </a:cubicBezTo>
                <a:cubicBezTo>
                  <a:pt x="4623920" y="1534837"/>
                  <a:pt x="4626050" y="1538036"/>
                  <a:pt x="4627514" y="1541623"/>
                </a:cubicBezTo>
                <a:cubicBezTo>
                  <a:pt x="4628978" y="1545222"/>
                  <a:pt x="4629777" y="1549082"/>
                  <a:pt x="4629777" y="1553078"/>
                </a:cubicBezTo>
                <a:cubicBezTo>
                  <a:pt x="4629777" y="1557204"/>
                  <a:pt x="4628978" y="1561192"/>
                  <a:pt x="4627514" y="1564797"/>
                </a:cubicBezTo>
                <a:cubicBezTo>
                  <a:pt x="4626050" y="1568383"/>
                  <a:pt x="4623920" y="1571441"/>
                  <a:pt x="4621391" y="1574105"/>
                </a:cubicBezTo>
                <a:cubicBezTo>
                  <a:pt x="4618729" y="1576765"/>
                  <a:pt x="4615667" y="1578895"/>
                  <a:pt x="4612073" y="1580363"/>
                </a:cubicBezTo>
                <a:cubicBezTo>
                  <a:pt x="4608346" y="1581829"/>
                  <a:pt x="4604485" y="1582625"/>
                  <a:pt x="4600226" y="1582625"/>
                </a:cubicBezTo>
                <a:cubicBezTo>
                  <a:pt x="4591173" y="1582625"/>
                  <a:pt x="4583985" y="1579697"/>
                  <a:pt x="4578393" y="1574105"/>
                </a:cubicBezTo>
                <a:cubicBezTo>
                  <a:pt x="4572803" y="1568520"/>
                  <a:pt x="4570007" y="1561462"/>
                  <a:pt x="4570007" y="1552940"/>
                </a:cubicBezTo>
                <a:cubicBezTo>
                  <a:pt x="4570007" y="1544686"/>
                  <a:pt x="4572803" y="1537628"/>
                  <a:pt x="4578393" y="1531907"/>
                </a:cubicBezTo>
                <a:cubicBezTo>
                  <a:pt x="4583985" y="1526314"/>
                  <a:pt x="4591173" y="1523391"/>
                  <a:pt x="4600226" y="1523391"/>
                </a:cubicBezTo>
                <a:close/>
                <a:moveTo>
                  <a:pt x="4382713" y="1523391"/>
                </a:moveTo>
                <a:cubicBezTo>
                  <a:pt x="4386840" y="1523391"/>
                  <a:pt x="4390834" y="1524050"/>
                  <a:pt x="4394428" y="1525915"/>
                </a:cubicBezTo>
                <a:cubicBezTo>
                  <a:pt x="4398155" y="1527519"/>
                  <a:pt x="4401217" y="1529643"/>
                  <a:pt x="4403746" y="1532306"/>
                </a:cubicBezTo>
                <a:cubicBezTo>
                  <a:pt x="4406275" y="1534837"/>
                  <a:pt x="4408405" y="1538036"/>
                  <a:pt x="4409869" y="1541623"/>
                </a:cubicBezTo>
                <a:cubicBezTo>
                  <a:pt x="4411334" y="1545222"/>
                  <a:pt x="4412132" y="1549082"/>
                  <a:pt x="4412132" y="1553078"/>
                </a:cubicBezTo>
                <a:cubicBezTo>
                  <a:pt x="4412132" y="1557204"/>
                  <a:pt x="4411334" y="1561192"/>
                  <a:pt x="4409869" y="1564797"/>
                </a:cubicBezTo>
                <a:cubicBezTo>
                  <a:pt x="4408405" y="1568383"/>
                  <a:pt x="4406275" y="1571441"/>
                  <a:pt x="4403746" y="1574105"/>
                </a:cubicBezTo>
                <a:cubicBezTo>
                  <a:pt x="4401083" y="1576765"/>
                  <a:pt x="4398022" y="1578895"/>
                  <a:pt x="4394428" y="1580363"/>
                </a:cubicBezTo>
                <a:cubicBezTo>
                  <a:pt x="4390834" y="1581829"/>
                  <a:pt x="4386973" y="1582625"/>
                  <a:pt x="4382713" y="1582625"/>
                </a:cubicBezTo>
                <a:cubicBezTo>
                  <a:pt x="4373661" y="1582625"/>
                  <a:pt x="4366473" y="1579697"/>
                  <a:pt x="4360881" y="1574105"/>
                </a:cubicBezTo>
                <a:cubicBezTo>
                  <a:pt x="4355290" y="1568520"/>
                  <a:pt x="4352495" y="1561462"/>
                  <a:pt x="4352495" y="1552940"/>
                </a:cubicBezTo>
                <a:cubicBezTo>
                  <a:pt x="4352495" y="1544686"/>
                  <a:pt x="4355290" y="1537628"/>
                  <a:pt x="4360881" y="1531907"/>
                </a:cubicBezTo>
                <a:cubicBezTo>
                  <a:pt x="4366473" y="1526314"/>
                  <a:pt x="4373661" y="1523391"/>
                  <a:pt x="4382713" y="1523391"/>
                </a:cubicBezTo>
                <a:close/>
                <a:moveTo>
                  <a:pt x="4165068" y="1523391"/>
                </a:moveTo>
                <a:cubicBezTo>
                  <a:pt x="4169327" y="1523391"/>
                  <a:pt x="4173188" y="1524050"/>
                  <a:pt x="4176782" y="1525915"/>
                </a:cubicBezTo>
                <a:cubicBezTo>
                  <a:pt x="4180509" y="1527519"/>
                  <a:pt x="4183571" y="1529643"/>
                  <a:pt x="4186100" y="1532306"/>
                </a:cubicBezTo>
                <a:cubicBezTo>
                  <a:pt x="4188629" y="1534837"/>
                  <a:pt x="4190759" y="1538036"/>
                  <a:pt x="4192223" y="1541623"/>
                </a:cubicBezTo>
                <a:cubicBezTo>
                  <a:pt x="4193688" y="1545222"/>
                  <a:pt x="4194486" y="1549082"/>
                  <a:pt x="4194486" y="1553078"/>
                </a:cubicBezTo>
                <a:cubicBezTo>
                  <a:pt x="4194486" y="1557204"/>
                  <a:pt x="4193688" y="1561192"/>
                  <a:pt x="4192223" y="1564797"/>
                </a:cubicBezTo>
                <a:cubicBezTo>
                  <a:pt x="4190759" y="1568383"/>
                  <a:pt x="4188629" y="1571441"/>
                  <a:pt x="4186100" y="1574105"/>
                </a:cubicBezTo>
                <a:cubicBezTo>
                  <a:pt x="4183438" y="1576765"/>
                  <a:pt x="4180376" y="1578895"/>
                  <a:pt x="4176782" y="1580363"/>
                </a:cubicBezTo>
                <a:cubicBezTo>
                  <a:pt x="4173188" y="1581829"/>
                  <a:pt x="4169327" y="1582625"/>
                  <a:pt x="4165068" y="1582625"/>
                </a:cubicBezTo>
                <a:cubicBezTo>
                  <a:pt x="4156015" y="1582625"/>
                  <a:pt x="4148827" y="1579697"/>
                  <a:pt x="4143235" y="1574105"/>
                </a:cubicBezTo>
                <a:cubicBezTo>
                  <a:pt x="4137645" y="1568520"/>
                  <a:pt x="4134849" y="1561462"/>
                  <a:pt x="4134849" y="1552940"/>
                </a:cubicBezTo>
                <a:cubicBezTo>
                  <a:pt x="4134849" y="1544686"/>
                  <a:pt x="4137645" y="1537628"/>
                  <a:pt x="4143235" y="1531907"/>
                </a:cubicBezTo>
                <a:cubicBezTo>
                  <a:pt x="4148827" y="1526314"/>
                  <a:pt x="4156015" y="1523391"/>
                  <a:pt x="4165068" y="1523391"/>
                </a:cubicBezTo>
                <a:close/>
                <a:moveTo>
                  <a:pt x="3947512" y="1523391"/>
                </a:moveTo>
                <a:cubicBezTo>
                  <a:pt x="3951772" y="1523391"/>
                  <a:pt x="3955631" y="1524050"/>
                  <a:pt x="3959227" y="1525915"/>
                </a:cubicBezTo>
                <a:cubicBezTo>
                  <a:pt x="3962955" y="1527519"/>
                  <a:pt x="3966016" y="1529643"/>
                  <a:pt x="3968545" y="1532306"/>
                </a:cubicBezTo>
                <a:cubicBezTo>
                  <a:pt x="3971075" y="1534837"/>
                  <a:pt x="3973205" y="1538036"/>
                  <a:pt x="3974669" y="1541623"/>
                </a:cubicBezTo>
                <a:cubicBezTo>
                  <a:pt x="3976133" y="1545222"/>
                  <a:pt x="3976932" y="1549082"/>
                  <a:pt x="3976932" y="1553078"/>
                </a:cubicBezTo>
                <a:cubicBezTo>
                  <a:pt x="3976932" y="1557204"/>
                  <a:pt x="3976133" y="1561192"/>
                  <a:pt x="3974669" y="1564797"/>
                </a:cubicBezTo>
                <a:cubicBezTo>
                  <a:pt x="3973205" y="1568383"/>
                  <a:pt x="3971075" y="1571441"/>
                  <a:pt x="3968545" y="1574105"/>
                </a:cubicBezTo>
                <a:cubicBezTo>
                  <a:pt x="3965883" y="1576765"/>
                  <a:pt x="3962822" y="1578895"/>
                  <a:pt x="3959227" y="1580363"/>
                </a:cubicBezTo>
                <a:cubicBezTo>
                  <a:pt x="3955631" y="1581829"/>
                  <a:pt x="3951772" y="1582625"/>
                  <a:pt x="3947512" y="1582625"/>
                </a:cubicBezTo>
                <a:cubicBezTo>
                  <a:pt x="3938459" y="1582625"/>
                  <a:pt x="3931272" y="1579697"/>
                  <a:pt x="3925679" y="1574105"/>
                </a:cubicBezTo>
                <a:cubicBezTo>
                  <a:pt x="3920088" y="1568520"/>
                  <a:pt x="3917293" y="1561462"/>
                  <a:pt x="3917293" y="1552940"/>
                </a:cubicBezTo>
                <a:cubicBezTo>
                  <a:pt x="3917293" y="1544686"/>
                  <a:pt x="3920088" y="1537628"/>
                  <a:pt x="3925679" y="1531907"/>
                </a:cubicBezTo>
                <a:cubicBezTo>
                  <a:pt x="3931272" y="1526314"/>
                  <a:pt x="3938459" y="1523391"/>
                  <a:pt x="3947512" y="1523391"/>
                </a:cubicBezTo>
                <a:close/>
                <a:moveTo>
                  <a:pt x="3729862" y="1523391"/>
                </a:moveTo>
                <a:cubicBezTo>
                  <a:pt x="3734123" y="1523391"/>
                  <a:pt x="3738115" y="1524050"/>
                  <a:pt x="3741577" y="1525915"/>
                </a:cubicBezTo>
                <a:cubicBezTo>
                  <a:pt x="3745171" y="1527519"/>
                  <a:pt x="3748367" y="1529643"/>
                  <a:pt x="3750896" y="1532306"/>
                </a:cubicBezTo>
                <a:cubicBezTo>
                  <a:pt x="3753425" y="1534837"/>
                  <a:pt x="3755554" y="1538036"/>
                  <a:pt x="3757018" y="1541623"/>
                </a:cubicBezTo>
                <a:cubicBezTo>
                  <a:pt x="3758482" y="1545222"/>
                  <a:pt x="3759281" y="1549082"/>
                  <a:pt x="3759281" y="1553078"/>
                </a:cubicBezTo>
                <a:cubicBezTo>
                  <a:pt x="3759281" y="1557204"/>
                  <a:pt x="3758482" y="1561192"/>
                  <a:pt x="3757018" y="1564797"/>
                </a:cubicBezTo>
                <a:cubicBezTo>
                  <a:pt x="3755554" y="1568383"/>
                  <a:pt x="3753425" y="1571441"/>
                  <a:pt x="3750896" y="1574105"/>
                </a:cubicBezTo>
                <a:cubicBezTo>
                  <a:pt x="3748233" y="1576765"/>
                  <a:pt x="3745171" y="1578895"/>
                  <a:pt x="3741577" y="1580363"/>
                </a:cubicBezTo>
                <a:cubicBezTo>
                  <a:pt x="3737983" y="1581829"/>
                  <a:pt x="3734123" y="1582625"/>
                  <a:pt x="3729862" y="1582625"/>
                </a:cubicBezTo>
                <a:cubicBezTo>
                  <a:pt x="3720810" y="1582625"/>
                  <a:pt x="3713622" y="1579697"/>
                  <a:pt x="3708029" y="1574105"/>
                </a:cubicBezTo>
                <a:cubicBezTo>
                  <a:pt x="3702436" y="1568520"/>
                  <a:pt x="3699643" y="1561462"/>
                  <a:pt x="3699643" y="1552940"/>
                </a:cubicBezTo>
                <a:cubicBezTo>
                  <a:pt x="3699643" y="1544686"/>
                  <a:pt x="3702436" y="1537628"/>
                  <a:pt x="3708029" y="1531907"/>
                </a:cubicBezTo>
                <a:cubicBezTo>
                  <a:pt x="3713622" y="1526314"/>
                  <a:pt x="3720810" y="1523391"/>
                  <a:pt x="3729862" y="1523391"/>
                </a:cubicBezTo>
                <a:close/>
                <a:moveTo>
                  <a:pt x="3512212" y="1523391"/>
                </a:moveTo>
                <a:cubicBezTo>
                  <a:pt x="3516473" y="1523391"/>
                  <a:pt x="3520466" y="1524050"/>
                  <a:pt x="3523928" y="1525915"/>
                </a:cubicBezTo>
                <a:cubicBezTo>
                  <a:pt x="3527521" y="1527519"/>
                  <a:pt x="3530717" y="1529643"/>
                  <a:pt x="3533246" y="1532306"/>
                </a:cubicBezTo>
                <a:cubicBezTo>
                  <a:pt x="3535775" y="1534837"/>
                  <a:pt x="3537905" y="1538036"/>
                  <a:pt x="3539369" y="1541623"/>
                </a:cubicBezTo>
                <a:cubicBezTo>
                  <a:pt x="3540833" y="1545222"/>
                  <a:pt x="3541632" y="1549082"/>
                  <a:pt x="3541632" y="1553078"/>
                </a:cubicBezTo>
                <a:cubicBezTo>
                  <a:pt x="3541632" y="1557204"/>
                  <a:pt x="3540833" y="1561192"/>
                  <a:pt x="3539369" y="1564797"/>
                </a:cubicBezTo>
                <a:cubicBezTo>
                  <a:pt x="3537905" y="1568383"/>
                  <a:pt x="3535775" y="1571441"/>
                  <a:pt x="3533246" y="1574105"/>
                </a:cubicBezTo>
                <a:cubicBezTo>
                  <a:pt x="3530583" y="1576765"/>
                  <a:pt x="3527521" y="1578895"/>
                  <a:pt x="3523928" y="1580363"/>
                </a:cubicBezTo>
                <a:cubicBezTo>
                  <a:pt x="3520334" y="1581829"/>
                  <a:pt x="3516473" y="1582625"/>
                  <a:pt x="3512212" y="1582625"/>
                </a:cubicBezTo>
                <a:cubicBezTo>
                  <a:pt x="3503159" y="1582625"/>
                  <a:pt x="3495970" y="1579697"/>
                  <a:pt x="3490379" y="1574105"/>
                </a:cubicBezTo>
                <a:cubicBezTo>
                  <a:pt x="3484788" y="1568520"/>
                  <a:pt x="3481993" y="1561462"/>
                  <a:pt x="3481993" y="1552940"/>
                </a:cubicBezTo>
                <a:cubicBezTo>
                  <a:pt x="3481993" y="1544686"/>
                  <a:pt x="3484788" y="1537628"/>
                  <a:pt x="3490379" y="1531907"/>
                </a:cubicBezTo>
                <a:cubicBezTo>
                  <a:pt x="3495970" y="1526314"/>
                  <a:pt x="3503159" y="1523391"/>
                  <a:pt x="3512212" y="1523391"/>
                </a:cubicBezTo>
                <a:close/>
                <a:moveTo>
                  <a:pt x="3294696" y="1523391"/>
                </a:moveTo>
                <a:cubicBezTo>
                  <a:pt x="3298823" y="1523391"/>
                  <a:pt x="3302817" y="1524050"/>
                  <a:pt x="3306411" y="1525915"/>
                </a:cubicBezTo>
                <a:cubicBezTo>
                  <a:pt x="3310138" y="1527519"/>
                  <a:pt x="3313200" y="1529643"/>
                  <a:pt x="3315729" y="1532306"/>
                </a:cubicBezTo>
                <a:cubicBezTo>
                  <a:pt x="3318258" y="1534837"/>
                  <a:pt x="3320389" y="1538036"/>
                  <a:pt x="3321853" y="1541623"/>
                </a:cubicBezTo>
                <a:cubicBezTo>
                  <a:pt x="3323317" y="1545222"/>
                  <a:pt x="3324116" y="1549082"/>
                  <a:pt x="3324116" y="1553078"/>
                </a:cubicBezTo>
                <a:cubicBezTo>
                  <a:pt x="3324116" y="1557204"/>
                  <a:pt x="3323317" y="1561192"/>
                  <a:pt x="3321853" y="1564797"/>
                </a:cubicBezTo>
                <a:cubicBezTo>
                  <a:pt x="3320389" y="1568383"/>
                  <a:pt x="3318258" y="1571441"/>
                  <a:pt x="3315729" y="1574105"/>
                </a:cubicBezTo>
                <a:cubicBezTo>
                  <a:pt x="3313066" y="1576765"/>
                  <a:pt x="3310005" y="1578895"/>
                  <a:pt x="3306411" y="1580363"/>
                </a:cubicBezTo>
                <a:cubicBezTo>
                  <a:pt x="3302817" y="1581829"/>
                  <a:pt x="3298956" y="1582625"/>
                  <a:pt x="3294696" y="1582625"/>
                </a:cubicBezTo>
                <a:cubicBezTo>
                  <a:pt x="3285644" y="1582625"/>
                  <a:pt x="3278455" y="1579697"/>
                  <a:pt x="3272863" y="1574105"/>
                </a:cubicBezTo>
                <a:cubicBezTo>
                  <a:pt x="3267271" y="1568520"/>
                  <a:pt x="3264476" y="1561462"/>
                  <a:pt x="3264476" y="1552940"/>
                </a:cubicBezTo>
                <a:cubicBezTo>
                  <a:pt x="3264476" y="1544686"/>
                  <a:pt x="3267271" y="1537628"/>
                  <a:pt x="3272863" y="1531907"/>
                </a:cubicBezTo>
                <a:cubicBezTo>
                  <a:pt x="3278455" y="1526314"/>
                  <a:pt x="3285644" y="1523391"/>
                  <a:pt x="3294696" y="1523391"/>
                </a:cubicBezTo>
                <a:close/>
                <a:moveTo>
                  <a:pt x="3077046" y="1523391"/>
                </a:moveTo>
                <a:cubicBezTo>
                  <a:pt x="3081174" y="1523391"/>
                  <a:pt x="3085167" y="1524050"/>
                  <a:pt x="3088762" y="1525915"/>
                </a:cubicBezTo>
                <a:cubicBezTo>
                  <a:pt x="3092356" y="1527519"/>
                  <a:pt x="3095551" y="1529643"/>
                  <a:pt x="3098080" y="1532306"/>
                </a:cubicBezTo>
                <a:cubicBezTo>
                  <a:pt x="3100609" y="1534837"/>
                  <a:pt x="3102739" y="1538036"/>
                  <a:pt x="3104203" y="1541623"/>
                </a:cubicBezTo>
                <a:cubicBezTo>
                  <a:pt x="3105668" y="1545222"/>
                  <a:pt x="3106466" y="1549082"/>
                  <a:pt x="3106466" y="1553078"/>
                </a:cubicBezTo>
                <a:cubicBezTo>
                  <a:pt x="3106466" y="1557204"/>
                  <a:pt x="3105668" y="1561192"/>
                  <a:pt x="3104203" y="1564797"/>
                </a:cubicBezTo>
                <a:cubicBezTo>
                  <a:pt x="3102739" y="1568383"/>
                  <a:pt x="3100609" y="1571441"/>
                  <a:pt x="3098080" y="1574105"/>
                </a:cubicBezTo>
                <a:cubicBezTo>
                  <a:pt x="3095417" y="1576765"/>
                  <a:pt x="3092356" y="1578895"/>
                  <a:pt x="3088762" y="1580363"/>
                </a:cubicBezTo>
                <a:cubicBezTo>
                  <a:pt x="3085167" y="1581829"/>
                  <a:pt x="3081306" y="1582625"/>
                  <a:pt x="3077046" y="1582625"/>
                </a:cubicBezTo>
                <a:cubicBezTo>
                  <a:pt x="3068127" y="1582625"/>
                  <a:pt x="3060805" y="1579697"/>
                  <a:pt x="3055213" y="1574105"/>
                </a:cubicBezTo>
                <a:cubicBezTo>
                  <a:pt x="3049622" y="1568520"/>
                  <a:pt x="3046827" y="1561462"/>
                  <a:pt x="3046827" y="1552940"/>
                </a:cubicBezTo>
                <a:cubicBezTo>
                  <a:pt x="3046827" y="1544686"/>
                  <a:pt x="3049622" y="1537628"/>
                  <a:pt x="3055213" y="1531907"/>
                </a:cubicBezTo>
                <a:cubicBezTo>
                  <a:pt x="3060805" y="1526314"/>
                  <a:pt x="3067994" y="1523391"/>
                  <a:pt x="3077046" y="1523391"/>
                </a:cubicBezTo>
                <a:close/>
                <a:moveTo>
                  <a:pt x="2859397" y="1523391"/>
                </a:moveTo>
                <a:cubicBezTo>
                  <a:pt x="2863657" y="1523391"/>
                  <a:pt x="2867518" y="1524050"/>
                  <a:pt x="2871245" y="1525915"/>
                </a:cubicBezTo>
                <a:cubicBezTo>
                  <a:pt x="2874972" y="1527519"/>
                  <a:pt x="2878034" y="1529643"/>
                  <a:pt x="2880563" y="1532306"/>
                </a:cubicBezTo>
                <a:cubicBezTo>
                  <a:pt x="2883225" y="1534837"/>
                  <a:pt x="2885222" y="1538036"/>
                  <a:pt x="2886686" y="1541623"/>
                </a:cubicBezTo>
                <a:cubicBezTo>
                  <a:pt x="2888151" y="1545222"/>
                  <a:pt x="2888949" y="1549082"/>
                  <a:pt x="2888949" y="1553078"/>
                </a:cubicBezTo>
                <a:cubicBezTo>
                  <a:pt x="2888949" y="1557204"/>
                  <a:pt x="2888151" y="1561192"/>
                  <a:pt x="2886686" y="1564797"/>
                </a:cubicBezTo>
                <a:cubicBezTo>
                  <a:pt x="2885222" y="1568383"/>
                  <a:pt x="2883092" y="1571441"/>
                  <a:pt x="2880563" y="1574105"/>
                </a:cubicBezTo>
                <a:cubicBezTo>
                  <a:pt x="2877901" y="1576765"/>
                  <a:pt x="2874839" y="1578895"/>
                  <a:pt x="2871245" y="1580363"/>
                </a:cubicBezTo>
                <a:cubicBezTo>
                  <a:pt x="2867518" y="1581829"/>
                  <a:pt x="2863657" y="1582625"/>
                  <a:pt x="2859397" y="1582625"/>
                </a:cubicBezTo>
                <a:cubicBezTo>
                  <a:pt x="2850479" y="1582625"/>
                  <a:pt x="2843155" y="1579697"/>
                  <a:pt x="2837564" y="1574105"/>
                </a:cubicBezTo>
                <a:cubicBezTo>
                  <a:pt x="2831973" y="1568520"/>
                  <a:pt x="2829177" y="1561462"/>
                  <a:pt x="2829177" y="1552940"/>
                </a:cubicBezTo>
                <a:cubicBezTo>
                  <a:pt x="2829177" y="1544686"/>
                  <a:pt x="2831973" y="1537628"/>
                  <a:pt x="2837564" y="1531907"/>
                </a:cubicBezTo>
                <a:cubicBezTo>
                  <a:pt x="2843155" y="1526314"/>
                  <a:pt x="2850345" y="1523391"/>
                  <a:pt x="2859397" y="1523391"/>
                </a:cubicBezTo>
                <a:close/>
                <a:moveTo>
                  <a:pt x="2641747" y="1523391"/>
                </a:moveTo>
                <a:cubicBezTo>
                  <a:pt x="2646007" y="1523391"/>
                  <a:pt x="2649867" y="1524050"/>
                  <a:pt x="2653463" y="1525915"/>
                </a:cubicBezTo>
                <a:cubicBezTo>
                  <a:pt x="2657190" y="1527519"/>
                  <a:pt x="2660251" y="1529643"/>
                  <a:pt x="2662781" y="1532306"/>
                </a:cubicBezTo>
                <a:cubicBezTo>
                  <a:pt x="2665442" y="1534837"/>
                  <a:pt x="2667440" y="1538036"/>
                  <a:pt x="2668904" y="1541623"/>
                </a:cubicBezTo>
                <a:cubicBezTo>
                  <a:pt x="2670368" y="1545222"/>
                  <a:pt x="2671167" y="1549082"/>
                  <a:pt x="2671167" y="1553078"/>
                </a:cubicBezTo>
                <a:cubicBezTo>
                  <a:pt x="2671167" y="1557204"/>
                  <a:pt x="2670368" y="1561192"/>
                  <a:pt x="2668904" y="1564797"/>
                </a:cubicBezTo>
                <a:cubicBezTo>
                  <a:pt x="2667440" y="1568383"/>
                  <a:pt x="2665310" y="1571441"/>
                  <a:pt x="2662781" y="1574105"/>
                </a:cubicBezTo>
                <a:cubicBezTo>
                  <a:pt x="2660251" y="1576765"/>
                  <a:pt x="2657056" y="1578895"/>
                  <a:pt x="2653463" y="1580363"/>
                </a:cubicBezTo>
                <a:cubicBezTo>
                  <a:pt x="2649867" y="1581829"/>
                  <a:pt x="2646007" y="1582625"/>
                  <a:pt x="2641747" y="1582625"/>
                </a:cubicBezTo>
                <a:cubicBezTo>
                  <a:pt x="2632828" y="1582625"/>
                  <a:pt x="2625507" y="1579697"/>
                  <a:pt x="2619915" y="1574105"/>
                </a:cubicBezTo>
                <a:cubicBezTo>
                  <a:pt x="2614325" y="1568520"/>
                  <a:pt x="2611528" y="1561462"/>
                  <a:pt x="2611528" y="1552940"/>
                </a:cubicBezTo>
                <a:cubicBezTo>
                  <a:pt x="2611528" y="1544686"/>
                  <a:pt x="2614325" y="1537628"/>
                  <a:pt x="2619915" y="1531907"/>
                </a:cubicBezTo>
                <a:cubicBezTo>
                  <a:pt x="2625507" y="1526314"/>
                  <a:pt x="2632695" y="1523391"/>
                  <a:pt x="2641747" y="1523391"/>
                </a:cubicBezTo>
                <a:close/>
                <a:moveTo>
                  <a:pt x="2424097" y="1523391"/>
                </a:moveTo>
                <a:cubicBezTo>
                  <a:pt x="2428358" y="1523391"/>
                  <a:pt x="2432352" y="1524050"/>
                  <a:pt x="2435813" y="1525915"/>
                </a:cubicBezTo>
                <a:cubicBezTo>
                  <a:pt x="2439540" y="1527519"/>
                  <a:pt x="2442602" y="1529643"/>
                  <a:pt x="2445131" y="1532306"/>
                </a:cubicBezTo>
                <a:cubicBezTo>
                  <a:pt x="2447793" y="1534837"/>
                  <a:pt x="2449790" y="1538036"/>
                  <a:pt x="2451254" y="1541623"/>
                </a:cubicBezTo>
                <a:cubicBezTo>
                  <a:pt x="2452718" y="1545222"/>
                  <a:pt x="2453517" y="1549082"/>
                  <a:pt x="2453517" y="1553078"/>
                </a:cubicBezTo>
                <a:cubicBezTo>
                  <a:pt x="2453517" y="1557204"/>
                  <a:pt x="2452718" y="1561192"/>
                  <a:pt x="2451254" y="1564797"/>
                </a:cubicBezTo>
                <a:cubicBezTo>
                  <a:pt x="2449790" y="1568383"/>
                  <a:pt x="2447660" y="1571441"/>
                  <a:pt x="2445131" y="1574105"/>
                </a:cubicBezTo>
                <a:cubicBezTo>
                  <a:pt x="2442602" y="1576765"/>
                  <a:pt x="2439407" y="1578895"/>
                  <a:pt x="2435813" y="1580363"/>
                </a:cubicBezTo>
                <a:cubicBezTo>
                  <a:pt x="2432219" y="1581829"/>
                  <a:pt x="2428358" y="1582625"/>
                  <a:pt x="2424097" y="1582625"/>
                </a:cubicBezTo>
                <a:cubicBezTo>
                  <a:pt x="2415179" y="1582625"/>
                  <a:pt x="2407857" y="1579697"/>
                  <a:pt x="2402265" y="1574105"/>
                </a:cubicBezTo>
                <a:cubicBezTo>
                  <a:pt x="2396675" y="1568520"/>
                  <a:pt x="2393878" y="1561462"/>
                  <a:pt x="2393878" y="1552940"/>
                </a:cubicBezTo>
                <a:cubicBezTo>
                  <a:pt x="2393878" y="1544686"/>
                  <a:pt x="2396675" y="1537628"/>
                  <a:pt x="2402265" y="1531907"/>
                </a:cubicBezTo>
                <a:cubicBezTo>
                  <a:pt x="2407857" y="1526314"/>
                  <a:pt x="2415045" y="1523391"/>
                  <a:pt x="2424097" y="1523391"/>
                </a:cubicBezTo>
                <a:close/>
                <a:moveTo>
                  <a:pt x="2206448" y="1523391"/>
                </a:moveTo>
                <a:cubicBezTo>
                  <a:pt x="2210708" y="1523391"/>
                  <a:pt x="2214702" y="1524050"/>
                  <a:pt x="2218163" y="1525915"/>
                </a:cubicBezTo>
                <a:cubicBezTo>
                  <a:pt x="2221890" y="1527519"/>
                  <a:pt x="2224951" y="1529643"/>
                  <a:pt x="2227482" y="1532306"/>
                </a:cubicBezTo>
                <a:cubicBezTo>
                  <a:pt x="2230143" y="1534837"/>
                  <a:pt x="2232140" y="1538036"/>
                  <a:pt x="2233604" y="1541623"/>
                </a:cubicBezTo>
                <a:cubicBezTo>
                  <a:pt x="2235068" y="1545222"/>
                  <a:pt x="2235867" y="1549082"/>
                  <a:pt x="2235867" y="1553078"/>
                </a:cubicBezTo>
                <a:cubicBezTo>
                  <a:pt x="2235867" y="1557204"/>
                  <a:pt x="2235068" y="1561192"/>
                  <a:pt x="2233604" y="1564797"/>
                </a:cubicBezTo>
                <a:cubicBezTo>
                  <a:pt x="2232140" y="1568383"/>
                  <a:pt x="2230010" y="1571441"/>
                  <a:pt x="2227482" y="1574105"/>
                </a:cubicBezTo>
                <a:cubicBezTo>
                  <a:pt x="2224951" y="1576765"/>
                  <a:pt x="2221757" y="1578895"/>
                  <a:pt x="2218163" y="1580363"/>
                </a:cubicBezTo>
                <a:cubicBezTo>
                  <a:pt x="2214568" y="1581829"/>
                  <a:pt x="2210708" y="1582625"/>
                  <a:pt x="2206448" y="1582625"/>
                </a:cubicBezTo>
                <a:cubicBezTo>
                  <a:pt x="2197396" y="1582625"/>
                  <a:pt x="2190207" y="1579697"/>
                  <a:pt x="2184617" y="1574105"/>
                </a:cubicBezTo>
                <a:cubicBezTo>
                  <a:pt x="2179025" y="1568520"/>
                  <a:pt x="2176229" y="1561462"/>
                  <a:pt x="2176229" y="1552940"/>
                </a:cubicBezTo>
                <a:cubicBezTo>
                  <a:pt x="2176229" y="1544686"/>
                  <a:pt x="2179025" y="1537628"/>
                  <a:pt x="2184617" y="1531907"/>
                </a:cubicBezTo>
                <a:cubicBezTo>
                  <a:pt x="2190207" y="1526314"/>
                  <a:pt x="2197396" y="1523391"/>
                  <a:pt x="2206448" y="1523391"/>
                </a:cubicBezTo>
                <a:close/>
                <a:moveTo>
                  <a:pt x="1988931" y="1523391"/>
                </a:moveTo>
                <a:cubicBezTo>
                  <a:pt x="1993058" y="1523391"/>
                  <a:pt x="1997052" y="1524050"/>
                  <a:pt x="2000647" y="1525915"/>
                </a:cubicBezTo>
                <a:cubicBezTo>
                  <a:pt x="2004373" y="1527519"/>
                  <a:pt x="2007435" y="1529643"/>
                  <a:pt x="2009965" y="1532306"/>
                </a:cubicBezTo>
                <a:cubicBezTo>
                  <a:pt x="2012626" y="1534837"/>
                  <a:pt x="2014624" y="1538036"/>
                  <a:pt x="2016088" y="1541623"/>
                </a:cubicBezTo>
                <a:cubicBezTo>
                  <a:pt x="2017552" y="1545222"/>
                  <a:pt x="2018351" y="1549082"/>
                  <a:pt x="2018351" y="1553078"/>
                </a:cubicBezTo>
                <a:cubicBezTo>
                  <a:pt x="2018351" y="1557204"/>
                  <a:pt x="2017552" y="1561192"/>
                  <a:pt x="2016088" y="1564797"/>
                </a:cubicBezTo>
                <a:cubicBezTo>
                  <a:pt x="2014624" y="1568383"/>
                  <a:pt x="2012494" y="1571441"/>
                  <a:pt x="2009965" y="1574105"/>
                </a:cubicBezTo>
                <a:cubicBezTo>
                  <a:pt x="2007435" y="1576765"/>
                  <a:pt x="2004240" y="1578895"/>
                  <a:pt x="2000647" y="1580363"/>
                </a:cubicBezTo>
                <a:cubicBezTo>
                  <a:pt x="1997052" y="1581829"/>
                  <a:pt x="1993191" y="1582625"/>
                  <a:pt x="1988931" y="1582625"/>
                </a:cubicBezTo>
                <a:cubicBezTo>
                  <a:pt x="1979880" y="1582625"/>
                  <a:pt x="1972691" y="1579697"/>
                  <a:pt x="1967100" y="1574105"/>
                </a:cubicBezTo>
                <a:cubicBezTo>
                  <a:pt x="1961510" y="1568520"/>
                  <a:pt x="1958714" y="1561462"/>
                  <a:pt x="1958714" y="1552940"/>
                </a:cubicBezTo>
                <a:cubicBezTo>
                  <a:pt x="1958714" y="1544686"/>
                  <a:pt x="1961510" y="1537628"/>
                  <a:pt x="1967100" y="1531907"/>
                </a:cubicBezTo>
                <a:cubicBezTo>
                  <a:pt x="1972691" y="1526314"/>
                  <a:pt x="1979880" y="1523391"/>
                  <a:pt x="1988931" y="1523391"/>
                </a:cubicBezTo>
                <a:close/>
                <a:moveTo>
                  <a:pt x="1771290" y="1523391"/>
                </a:moveTo>
                <a:cubicBezTo>
                  <a:pt x="1775549" y="1523391"/>
                  <a:pt x="1779409" y="1524050"/>
                  <a:pt x="1783004" y="1525915"/>
                </a:cubicBezTo>
                <a:cubicBezTo>
                  <a:pt x="1786731" y="1527519"/>
                  <a:pt x="1789793" y="1529643"/>
                  <a:pt x="1792322" y="1532306"/>
                </a:cubicBezTo>
                <a:cubicBezTo>
                  <a:pt x="1794984" y="1534837"/>
                  <a:pt x="1796982" y="1538036"/>
                  <a:pt x="1798446" y="1541623"/>
                </a:cubicBezTo>
                <a:cubicBezTo>
                  <a:pt x="1799909" y="1545222"/>
                  <a:pt x="1800708" y="1549082"/>
                  <a:pt x="1800708" y="1553078"/>
                </a:cubicBezTo>
                <a:cubicBezTo>
                  <a:pt x="1800708" y="1557204"/>
                  <a:pt x="1799909" y="1561192"/>
                  <a:pt x="1798446" y="1564797"/>
                </a:cubicBezTo>
                <a:cubicBezTo>
                  <a:pt x="1796982" y="1568383"/>
                  <a:pt x="1794852" y="1571441"/>
                  <a:pt x="1792322" y="1574105"/>
                </a:cubicBezTo>
                <a:cubicBezTo>
                  <a:pt x="1789659" y="1576765"/>
                  <a:pt x="1786599" y="1578895"/>
                  <a:pt x="1783004" y="1580363"/>
                </a:cubicBezTo>
                <a:cubicBezTo>
                  <a:pt x="1779409" y="1581829"/>
                  <a:pt x="1775549" y="1582625"/>
                  <a:pt x="1771290" y="1582625"/>
                </a:cubicBezTo>
                <a:cubicBezTo>
                  <a:pt x="1762370" y="1582625"/>
                  <a:pt x="1755050" y="1579697"/>
                  <a:pt x="1749459" y="1574105"/>
                </a:cubicBezTo>
                <a:cubicBezTo>
                  <a:pt x="1743868" y="1568520"/>
                  <a:pt x="1741074" y="1561462"/>
                  <a:pt x="1741074" y="1552940"/>
                </a:cubicBezTo>
                <a:cubicBezTo>
                  <a:pt x="1741074" y="1544686"/>
                  <a:pt x="1743868" y="1537628"/>
                  <a:pt x="1749459" y="1531907"/>
                </a:cubicBezTo>
                <a:cubicBezTo>
                  <a:pt x="1755050" y="1526314"/>
                  <a:pt x="1762237" y="1523391"/>
                  <a:pt x="1771290" y="1523391"/>
                </a:cubicBezTo>
                <a:close/>
                <a:moveTo>
                  <a:pt x="1553647" y="1523391"/>
                </a:moveTo>
                <a:cubicBezTo>
                  <a:pt x="1557906" y="1523391"/>
                  <a:pt x="1561767" y="1524050"/>
                  <a:pt x="1565361" y="1525915"/>
                </a:cubicBezTo>
                <a:cubicBezTo>
                  <a:pt x="1568956" y="1527519"/>
                  <a:pt x="1572150" y="1529643"/>
                  <a:pt x="1574680" y="1532306"/>
                </a:cubicBezTo>
                <a:cubicBezTo>
                  <a:pt x="1577342" y="1534837"/>
                  <a:pt x="1579339" y="1538036"/>
                  <a:pt x="1580803" y="1541623"/>
                </a:cubicBezTo>
                <a:cubicBezTo>
                  <a:pt x="1582267" y="1545222"/>
                  <a:pt x="1583066" y="1549082"/>
                  <a:pt x="1583066" y="1553078"/>
                </a:cubicBezTo>
                <a:cubicBezTo>
                  <a:pt x="1583066" y="1557204"/>
                  <a:pt x="1582267" y="1561192"/>
                  <a:pt x="1580803" y="1564797"/>
                </a:cubicBezTo>
                <a:cubicBezTo>
                  <a:pt x="1579339" y="1568383"/>
                  <a:pt x="1577209" y="1571441"/>
                  <a:pt x="1574680" y="1574105"/>
                </a:cubicBezTo>
                <a:cubicBezTo>
                  <a:pt x="1572018" y="1576765"/>
                  <a:pt x="1568956" y="1578895"/>
                  <a:pt x="1565361" y="1580363"/>
                </a:cubicBezTo>
                <a:cubicBezTo>
                  <a:pt x="1561767" y="1581829"/>
                  <a:pt x="1557906" y="1582625"/>
                  <a:pt x="1553647" y="1582625"/>
                </a:cubicBezTo>
                <a:cubicBezTo>
                  <a:pt x="1544728" y="1582625"/>
                  <a:pt x="1537406" y="1579697"/>
                  <a:pt x="1531815" y="1574105"/>
                </a:cubicBezTo>
                <a:cubicBezTo>
                  <a:pt x="1526226" y="1568520"/>
                  <a:pt x="1523429" y="1561462"/>
                  <a:pt x="1523429" y="1552940"/>
                </a:cubicBezTo>
                <a:cubicBezTo>
                  <a:pt x="1523429" y="1544686"/>
                  <a:pt x="1526226" y="1537628"/>
                  <a:pt x="1531815" y="1531907"/>
                </a:cubicBezTo>
                <a:cubicBezTo>
                  <a:pt x="1537406" y="1526314"/>
                  <a:pt x="1544594" y="1523391"/>
                  <a:pt x="1553647" y="1523391"/>
                </a:cubicBezTo>
                <a:close/>
                <a:moveTo>
                  <a:pt x="1336001" y="1523391"/>
                </a:moveTo>
                <a:cubicBezTo>
                  <a:pt x="1340262" y="1523391"/>
                  <a:pt x="1344257" y="1524050"/>
                  <a:pt x="1347717" y="1525915"/>
                </a:cubicBezTo>
                <a:cubicBezTo>
                  <a:pt x="1351311" y="1527519"/>
                  <a:pt x="1354505" y="1529643"/>
                  <a:pt x="1357035" y="1532306"/>
                </a:cubicBezTo>
                <a:cubicBezTo>
                  <a:pt x="1359697" y="1534837"/>
                  <a:pt x="1361694" y="1538036"/>
                  <a:pt x="1363158" y="1541623"/>
                </a:cubicBezTo>
                <a:cubicBezTo>
                  <a:pt x="1364623" y="1545222"/>
                  <a:pt x="1365421" y="1549082"/>
                  <a:pt x="1365421" y="1553078"/>
                </a:cubicBezTo>
                <a:cubicBezTo>
                  <a:pt x="1365421" y="1557204"/>
                  <a:pt x="1364623" y="1561192"/>
                  <a:pt x="1363158" y="1564797"/>
                </a:cubicBezTo>
                <a:cubicBezTo>
                  <a:pt x="1361694" y="1568383"/>
                  <a:pt x="1359564" y="1571441"/>
                  <a:pt x="1357035" y="1574105"/>
                </a:cubicBezTo>
                <a:cubicBezTo>
                  <a:pt x="1354372" y="1576765"/>
                  <a:pt x="1351311" y="1578895"/>
                  <a:pt x="1347717" y="1580363"/>
                </a:cubicBezTo>
                <a:cubicBezTo>
                  <a:pt x="1344122" y="1581829"/>
                  <a:pt x="1340262" y="1582625"/>
                  <a:pt x="1336001" y="1582625"/>
                </a:cubicBezTo>
                <a:cubicBezTo>
                  <a:pt x="1327082" y="1582625"/>
                  <a:pt x="1319761" y="1579697"/>
                  <a:pt x="1314170" y="1574105"/>
                </a:cubicBezTo>
                <a:cubicBezTo>
                  <a:pt x="1308579" y="1568520"/>
                  <a:pt x="1305785" y="1561462"/>
                  <a:pt x="1305785" y="1552940"/>
                </a:cubicBezTo>
                <a:cubicBezTo>
                  <a:pt x="1305785" y="1544686"/>
                  <a:pt x="1308579" y="1537628"/>
                  <a:pt x="1314170" y="1531907"/>
                </a:cubicBezTo>
                <a:cubicBezTo>
                  <a:pt x="1319761" y="1526314"/>
                  <a:pt x="1326949" y="1523391"/>
                  <a:pt x="1336001" y="1523391"/>
                </a:cubicBezTo>
                <a:close/>
                <a:moveTo>
                  <a:pt x="1118357" y="1523391"/>
                </a:moveTo>
                <a:cubicBezTo>
                  <a:pt x="1122617" y="1523391"/>
                  <a:pt x="1126613" y="1524050"/>
                  <a:pt x="1130073" y="1525915"/>
                </a:cubicBezTo>
                <a:cubicBezTo>
                  <a:pt x="1133799" y="1527519"/>
                  <a:pt x="1136862" y="1529643"/>
                  <a:pt x="1139390" y="1532306"/>
                </a:cubicBezTo>
                <a:cubicBezTo>
                  <a:pt x="1142052" y="1534837"/>
                  <a:pt x="1144048" y="1538036"/>
                  <a:pt x="1145512" y="1541623"/>
                </a:cubicBezTo>
                <a:cubicBezTo>
                  <a:pt x="1146977" y="1545222"/>
                  <a:pt x="1147775" y="1549082"/>
                  <a:pt x="1147775" y="1553078"/>
                </a:cubicBezTo>
                <a:cubicBezTo>
                  <a:pt x="1147775" y="1557204"/>
                  <a:pt x="1146977" y="1561192"/>
                  <a:pt x="1145512" y="1564797"/>
                </a:cubicBezTo>
                <a:cubicBezTo>
                  <a:pt x="1144048" y="1568383"/>
                  <a:pt x="1141919" y="1571441"/>
                  <a:pt x="1139390" y="1574105"/>
                </a:cubicBezTo>
                <a:cubicBezTo>
                  <a:pt x="1136862" y="1576765"/>
                  <a:pt x="1133666" y="1578895"/>
                  <a:pt x="1130073" y="1580363"/>
                </a:cubicBezTo>
                <a:cubicBezTo>
                  <a:pt x="1126477" y="1581829"/>
                  <a:pt x="1122617" y="1582625"/>
                  <a:pt x="1118357" y="1582625"/>
                </a:cubicBezTo>
                <a:cubicBezTo>
                  <a:pt x="1109438" y="1582625"/>
                  <a:pt x="1102115" y="1579697"/>
                  <a:pt x="1096524" y="1574105"/>
                </a:cubicBezTo>
                <a:cubicBezTo>
                  <a:pt x="1090934" y="1568520"/>
                  <a:pt x="1088139" y="1561462"/>
                  <a:pt x="1088139" y="1552940"/>
                </a:cubicBezTo>
                <a:cubicBezTo>
                  <a:pt x="1088139" y="1544686"/>
                  <a:pt x="1090934" y="1537628"/>
                  <a:pt x="1096524" y="1531907"/>
                </a:cubicBezTo>
                <a:cubicBezTo>
                  <a:pt x="1102115" y="1526314"/>
                  <a:pt x="1109304" y="1523391"/>
                  <a:pt x="1118357" y="1523391"/>
                </a:cubicBezTo>
                <a:close/>
                <a:moveTo>
                  <a:pt x="900845" y="1523391"/>
                </a:moveTo>
                <a:cubicBezTo>
                  <a:pt x="904972" y="1523391"/>
                  <a:pt x="908966" y="1524050"/>
                  <a:pt x="912560" y="1525915"/>
                </a:cubicBezTo>
                <a:cubicBezTo>
                  <a:pt x="916287" y="1527519"/>
                  <a:pt x="919349" y="1529643"/>
                  <a:pt x="921878" y="1532306"/>
                </a:cubicBezTo>
                <a:cubicBezTo>
                  <a:pt x="924540" y="1534837"/>
                  <a:pt x="926537" y="1538036"/>
                  <a:pt x="928001" y="1541623"/>
                </a:cubicBezTo>
                <a:cubicBezTo>
                  <a:pt x="929465" y="1545222"/>
                  <a:pt x="930264" y="1549082"/>
                  <a:pt x="930264" y="1553078"/>
                </a:cubicBezTo>
                <a:cubicBezTo>
                  <a:pt x="930264" y="1557204"/>
                  <a:pt x="929465" y="1561192"/>
                  <a:pt x="928001" y="1564797"/>
                </a:cubicBezTo>
                <a:cubicBezTo>
                  <a:pt x="926537" y="1568383"/>
                  <a:pt x="924407" y="1571441"/>
                  <a:pt x="921878" y="1574105"/>
                </a:cubicBezTo>
                <a:cubicBezTo>
                  <a:pt x="919349" y="1576765"/>
                  <a:pt x="916154" y="1578895"/>
                  <a:pt x="912560" y="1580363"/>
                </a:cubicBezTo>
                <a:cubicBezTo>
                  <a:pt x="908966" y="1581829"/>
                  <a:pt x="905105" y="1582625"/>
                  <a:pt x="900845" y="1582625"/>
                </a:cubicBezTo>
                <a:cubicBezTo>
                  <a:pt x="891926" y="1582625"/>
                  <a:pt x="884604" y="1579697"/>
                  <a:pt x="879014" y="1574105"/>
                </a:cubicBezTo>
                <a:cubicBezTo>
                  <a:pt x="873424" y="1568520"/>
                  <a:pt x="870628" y="1561462"/>
                  <a:pt x="870628" y="1552940"/>
                </a:cubicBezTo>
                <a:cubicBezTo>
                  <a:pt x="870628" y="1544686"/>
                  <a:pt x="873424" y="1537628"/>
                  <a:pt x="879014" y="1531907"/>
                </a:cubicBezTo>
                <a:cubicBezTo>
                  <a:pt x="884604" y="1526314"/>
                  <a:pt x="891793" y="1523391"/>
                  <a:pt x="900845" y="1523391"/>
                </a:cubicBezTo>
                <a:close/>
                <a:moveTo>
                  <a:pt x="683201" y="1523391"/>
                </a:moveTo>
                <a:cubicBezTo>
                  <a:pt x="687461" y="1523391"/>
                  <a:pt x="691322" y="1524050"/>
                  <a:pt x="694916" y="1525915"/>
                </a:cubicBezTo>
                <a:cubicBezTo>
                  <a:pt x="698643" y="1527519"/>
                  <a:pt x="701705" y="1529643"/>
                  <a:pt x="704234" y="1532306"/>
                </a:cubicBezTo>
                <a:cubicBezTo>
                  <a:pt x="706896" y="1534837"/>
                  <a:pt x="708893" y="1538036"/>
                  <a:pt x="710357" y="1541623"/>
                </a:cubicBezTo>
                <a:cubicBezTo>
                  <a:pt x="711821" y="1545222"/>
                  <a:pt x="712620" y="1549082"/>
                  <a:pt x="712620" y="1553078"/>
                </a:cubicBezTo>
                <a:cubicBezTo>
                  <a:pt x="712620" y="1557204"/>
                  <a:pt x="711821" y="1561192"/>
                  <a:pt x="710357" y="1564797"/>
                </a:cubicBezTo>
                <a:cubicBezTo>
                  <a:pt x="708893" y="1568383"/>
                  <a:pt x="706764" y="1571441"/>
                  <a:pt x="704234" y="1574105"/>
                </a:cubicBezTo>
                <a:cubicBezTo>
                  <a:pt x="701705" y="1576765"/>
                  <a:pt x="698510" y="1578895"/>
                  <a:pt x="694916" y="1580363"/>
                </a:cubicBezTo>
                <a:cubicBezTo>
                  <a:pt x="691322" y="1581829"/>
                  <a:pt x="687461" y="1582625"/>
                  <a:pt x="683201" y="1582625"/>
                </a:cubicBezTo>
                <a:cubicBezTo>
                  <a:pt x="674283" y="1582625"/>
                  <a:pt x="666961" y="1579697"/>
                  <a:pt x="661370" y="1574105"/>
                </a:cubicBezTo>
                <a:cubicBezTo>
                  <a:pt x="655779" y="1568520"/>
                  <a:pt x="652984" y="1561462"/>
                  <a:pt x="652984" y="1552940"/>
                </a:cubicBezTo>
                <a:cubicBezTo>
                  <a:pt x="652984" y="1544686"/>
                  <a:pt x="655779" y="1537628"/>
                  <a:pt x="661370" y="1531907"/>
                </a:cubicBezTo>
                <a:cubicBezTo>
                  <a:pt x="666961" y="1526314"/>
                  <a:pt x="674150" y="1523391"/>
                  <a:pt x="683201" y="1523391"/>
                </a:cubicBezTo>
                <a:close/>
                <a:moveTo>
                  <a:pt x="465557" y="1523391"/>
                </a:moveTo>
                <a:cubicBezTo>
                  <a:pt x="469817" y="1523391"/>
                  <a:pt x="473678" y="1524050"/>
                  <a:pt x="477273" y="1525915"/>
                </a:cubicBezTo>
                <a:cubicBezTo>
                  <a:pt x="481000" y="1527519"/>
                  <a:pt x="484061" y="1529643"/>
                  <a:pt x="486590" y="1532306"/>
                </a:cubicBezTo>
                <a:cubicBezTo>
                  <a:pt x="489253" y="1534837"/>
                  <a:pt x="491250" y="1538036"/>
                  <a:pt x="492714" y="1541623"/>
                </a:cubicBezTo>
                <a:cubicBezTo>
                  <a:pt x="494178" y="1545222"/>
                  <a:pt x="494977" y="1549082"/>
                  <a:pt x="494977" y="1553078"/>
                </a:cubicBezTo>
                <a:cubicBezTo>
                  <a:pt x="494977" y="1557204"/>
                  <a:pt x="494178" y="1561192"/>
                  <a:pt x="492714" y="1564797"/>
                </a:cubicBezTo>
                <a:cubicBezTo>
                  <a:pt x="491250" y="1568383"/>
                  <a:pt x="489120" y="1571441"/>
                  <a:pt x="486590" y="1574105"/>
                </a:cubicBezTo>
                <a:cubicBezTo>
                  <a:pt x="483928" y="1576765"/>
                  <a:pt x="480867" y="1578895"/>
                  <a:pt x="477273" y="1580363"/>
                </a:cubicBezTo>
                <a:cubicBezTo>
                  <a:pt x="473678" y="1581829"/>
                  <a:pt x="469817" y="1582625"/>
                  <a:pt x="465557" y="1582625"/>
                </a:cubicBezTo>
                <a:cubicBezTo>
                  <a:pt x="456639" y="1582625"/>
                  <a:pt x="449317" y="1579697"/>
                  <a:pt x="443726" y="1574105"/>
                </a:cubicBezTo>
                <a:cubicBezTo>
                  <a:pt x="438135" y="1568520"/>
                  <a:pt x="435340" y="1561462"/>
                  <a:pt x="435340" y="1552940"/>
                </a:cubicBezTo>
                <a:cubicBezTo>
                  <a:pt x="435340" y="1544686"/>
                  <a:pt x="438135" y="1537628"/>
                  <a:pt x="443726" y="1531907"/>
                </a:cubicBezTo>
                <a:cubicBezTo>
                  <a:pt x="449317" y="1526314"/>
                  <a:pt x="456506" y="1523391"/>
                  <a:pt x="465557" y="1523391"/>
                </a:cubicBezTo>
                <a:close/>
                <a:moveTo>
                  <a:pt x="247913" y="1523391"/>
                </a:moveTo>
                <a:cubicBezTo>
                  <a:pt x="252174" y="1523391"/>
                  <a:pt x="256168" y="1524050"/>
                  <a:pt x="259629" y="1525915"/>
                </a:cubicBezTo>
                <a:cubicBezTo>
                  <a:pt x="263356" y="1527519"/>
                  <a:pt x="266418" y="1529643"/>
                  <a:pt x="268947" y="1532306"/>
                </a:cubicBezTo>
                <a:cubicBezTo>
                  <a:pt x="271609" y="1534837"/>
                  <a:pt x="273606" y="1538036"/>
                  <a:pt x="275070" y="1541623"/>
                </a:cubicBezTo>
                <a:cubicBezTo>
                  <a:pt x="276534" y="1545222"/>
                  <a:pt x="277333" y="1549082"/>
                  <a:pt x="277333" y="1553078"/>
                </a:cubicBezTo>
                <a:cubicBezTo>
                  <a:pt x="277333" y="1557204"/>
                  <a:pt x="276534" y="1561192"/>
                  <a:pt x="275070" y="1564797"/>
                </a:cubicBezTo>
                <a:cubicBezTo>
                  <a:pt x="273606" y="1568383"/>
                  <a:pt x="271476" y="1571441"/>
                  <a:pt x="268947" y="1574105"/>
                </a:cubicBezTo>
                <a:cubicBezTo>
                  <a:pt x="266284" y="1576765"/>
                  <a:pt x="263223" y="1578895"/>
                  <a:pt x="259629" y="1580363"/>
                </a:cubicBezTo>
                <a:cubicBezTo>
                  <a:pt x="256033" y="1581829"/>
                  <a:pt x="252174" y="1582625"/>
                  <a:pt x="247913" y="1582625"/>
                </a:cubicBezTo>
                <a:cubicBezTo>
                  <a:pt x="238996" y="1582625"/>
                  <a:pt x="231674" y="1579697"/>
                  <a:pt x="226083" y="1574105"/>
                </a:cubicBezTo>
                <a:cubicBezTo>
                  <a:pt x="220492" y="1568520"/>
                  <a:pt x="217697" y="1561462"/>
                  <a:pt x="217697" y="1552940"/>
                </a:cubicBezTo>
                <a:cubicBezTo>
                  <a:pt x="217697" y="1544686"/>
                  <a:pt x="220492" y="1537628"/>
                  <a:pt x="226083" y="1531907"/>
                </a:cubicBezTo>
                <a:cubicBezTo>
                  <a:pt x="231674" y="1526314"/>
                  <a:pt x="238862" y="1523391"/>
                  <a:pt x="247913" y="1523391"/>
                </a:cubicBezTo>
                <a:close/>
                <a:moveTo>
                  <a:pt x="30270" y="1523391"/>
                </a:moveTo>
                <a:cubicBezTo>
                  <a:pt x="34530" y="1523391"/>
                  <a:pt x="38524" y="1524050"/>
                  <a:pt x="41985" y="1525915"/>
                </a:cubicBezTo>
                <a:cubicBezTo>
                  <a:pt x="45712" y="1527519"/>
                  <a:pt x="48774" y="1529643"/>
                  <a:pt x="51303" y="1532306"/>
                </a:cubicBezTo>
                <a:cubicBezTo>
                  <a:pt x="53965" y="1534837"/>
                  <a:pt x="55962" y="1538036"/>
                  <a:pt x="57426" y="1541623"/>
                </a:cubicBezTo>
                <a:cubicBezTo>
                  <a:pt x="58890" y="1545222"/>
                  <a:pt x="59689" y="1549082"/>
                  <a:pt x="59689" y="1553078"/>
                </a:cubicBezTo>
                <a:cubicBezTo>
                  <a:pt x="59689" y="1557204"/>
                  <a:pt x="58890" y="1561192"/>
                  <a:pt x="57426" y="1564797"/>
                </a:cubicBezTo>
                <a:cubicBezTo>
                  <a:pt x="55962" y="1568383"/>
                  <a:pt x="53832" y="1571441"/>
                  <a:pt x="51303" y="1574105"/>
                </a:cubicBezTo>
                <a:cubicBezTo>
                  <a:pt x="48640" y="1576765"/>
                  <a:pt x="45579" y="1578895"/>
                  <a:pt x="41985" y="1580363"/>
                </a:cubicBezTo>
                <a:cubicBezTo>
                  <a:pt x="38391" y="1581829"/>
                  <a:pt x="34530" y="1582625"/>
                  <a:pt x="30270" y="1582625"/>
                </a:cubicBezTo>
                <a:cubicBezTo>
                  <a:pt x="21352" y="1582625"/>
                  <a:pt x="14030" y="1579697"/>
                  <a:pt x="8439" y="1574105"/>
                </a:cubicBezTo>
                <a:cubicBezTo>
                  <a:pt x="2848" y="1568520"/>
                  <a:pt x="53" y="1561462"/>
                  <a:pt x="53" y="1552940"/>
                </a:cubicBezTo>
                <a:cubicBezTo>
                  <a:pt x="53" y="1544686"/>
                  <a:pt x="2848" y="1537628"/>
                  <a:pt x="8439" y="1531907"/>
                </a:cubicBezTo>
                <a:cubicBezTo>
                  <a:pt x="14030" y="1526314"/>
                  <a:pt x="21218" y="1523391"/>
                  <a:pt x="30270" y="1523391"/>
                </a:cubicBezTo>
                <a:close/>
                <a:moveTo>
                  <a:pt x="10475977" y="1322386"/>
                </a:moveTo>
                <a:cubicBezTo>
                  <a:pt x="10470119" y="1322386"/>
                  <a:pt x="10467589" y="1324379"/>
                  <a:pt x="10465992" y="1325972"/>
                </a:cubicBezTo>
                <a:cubicBezTo>
                  <a:pt x="10463463" y="1328636"/>
                  <a:pt x="10462399" y="1331441"/>
                  <a:pt x="10462399" y="1335427"/>
                </a:cubicBezTo>
                <a:cubicBezTo>
                  <a:pt x="10462399" y="1339551"/>
                  <a:pt x="10463463" y="1342355"/>
                  <a:pt x="10465992" y="1344879"/>
                </a:cubicBezTo>
                <a:cubicBezTo>
                  <a:pt x="10467589" y="1346478"/>
                  <a:pt x="10470119" y="1348345"/>
                  <a:pt x="10475977" y="1348345"/>
                </a:cubicBezTo>
                <a:cubicBezTo>
                  <a:pt x="10478107" y="1348345"/>
                  <a:pt x="10479838" y="1348076"/>
                  <a:pt x="10481302" y="1347407"/>
                </a:cubicBezTo>
                <a:cubicBezTo>
                  <a:pt x="10482899" y="1346878"/>
                  <a:pt x="10484098" y="1346081"/>
                  <a:pt x="10485029" y="1345018"/>
                </a:cubicBezTo>
                <a:cubicBezTo>
                  <a:pt x="10486094" y="1343820"/>
                  <a:pt x="10487026" y="1342480"/>
                  <a:pt x="10487691" y="1340751"/>
                </a:cubicBezTo>
                <a:cubicBezTo>
                  <a:pt x="10488357" y="1339153"/>
                  <a:pt x="10488623" y="1337291"/>
                  <a:pt x="10488623" y="1335294"/>
                </a:cubicBezTo>
                <a:cubicBezTo>
                  <a:pt x="10488623" y="1333430"/>
                  <a:pt x="10488357" y="1331700"/>
                  <a:pt x="10487691" y="1330101"/>
                </a:cubicBezTo>
                <a:cubicBezTo>
                  <a:pt x="10487026" y="1328507"/>
                  <a:pt x="10486094" y="1327172"/>
                  <a:pt x="10485029" y="1325972"/>
                </a:cubicBezTo>
                <a:cubicBezTo>
                  <a:pt x="10483964" y="1324908"/>
                  <a:pt x="10482633" y="1324111"/>
                  <a:pt x="10481035" y="1323313"/>
                </a:cubicBezTo>
                <a:cubicBezTo>
                  <a:pt x="10479571" y="1322647"/>
                  <a:pt x="10477974" y="1322386"/>
                  <a:pt x="10475977" y="1322386"/>
                </a:cubicBezTo>
                <a:close/>
                <a:moveTo>
                  <a:pt x="10258466" y="1322386"/>
                </a:moveTo>
                <a:cubicBezTo>
                  <a:pt x="10252608" y="1322386"/>
                  <a:pt x="10250078" y="1324379"/>
                  <a:pt x="10248481" y="1325972"/>
                </a:cubicBezTo>
                <a:cubicBezTo>
                  <a:pt x="10245952" y="1328636"/>
                  <a:pt x="10244887" y="1331441"/>
                  <a:pt x="10244887" y="1335427"/>
                </a:cubicBezTo>
                <a:cubicBezTo>
                  <a:pt x="10244887" y="1339551"/>
                  <a:pt x="10245952" y="1342355"/>
                  <a:pt x="10248481" y="1344879"/>
                </a:cubicBezTo>
                <a:cubicBezTo>
                  <a:pt x="10250078" y="1346483"/>
                  <a:pt x="10252608" y="1348345"/>
                  <a:pt x="10258466" y="1348345"/>
                </a:cubicBezTo>
                <a:cubicBezTo>
                  <a:pt x="10260462" y="1348345"/>
                  <a:pt x="10262192" y="1348076"/>
                  <a:pt x="10263790" y="1347407"/>
                </a:cubicBezTo>
                <a:cubicBezTo>
                  <a:pt x="10265388" y="1346878"/>
                  <a:pt x="10266586" y="1346081"/>
                  <a:pt x="10267517" y="1345018"/>
                </a:cubicBezTo>
                <a:cubicBezTo>
                  <a:pt x="10268583" y="1343820"/>
                  <a:pt x="10269515" y="1342480"/>
                  <a:pt x="10270180" y="1340751"/>
                </a:cubicBezTo>
                <a:cubicBezTo>
                  <a:pt x="10270845" y="1339153"/>
                  <a:pt x="10271112" y="1337291"/>
                  <a:pt x="10271112" y="1335294"/>
                </a:cubicBezTo>
                <a:cubicBezTo>
                  <a:pt x="10271112" y="1333430"/>
                  <a:pt x="10270845" y="1331700"/>
                  <a:pt x="10270180" y="1330101"/>
                </a:cubicBezTo>
                <a:cubicBezTo>
                  <a:pt x="10269515" y="1328507"/>
                  <a:pt x="10268583" y="1327172"/>
                  <a:pt x="10267517" y="1325972"/>
                </a:cubicBezTo>
                <a:cubicBezTo>
                  <a:pt x="10266452" y="1324908"/>
                  <a:pt x="10265121" y="1324111"/>
                  <a:pt x="10263524" y="1323313"/>
                </a:cubicBezTo>
                <a:cubicBezTo>
                  <a:pt x="10262060" y="1322647"/>
                  <a:pt x="10260462" y="1322386"/>
                  <a:pt x="10258466" y="1322386"/>
                </a:cubicBezTo>
                <a:close/>
                <a:moveTo>
                  <a:pt x="10040820" y="1322386"/>
                </a:moveTo>
                <a:cubicBezTo>
                  <a:pt x="10034962" y="1322386"/>
                  <a:pt x="10032433" y="1324379"/>
                  <a:pt x="10030835" y="1325972"/>
                </a:cubicBezTo>
                <a:cubicBezTo>
                  <a:pt x="10028306" y="1328636"/>
                  <a:pt x="10027242" y="1331441"/>
                  <a:pt x="10027242" y="1335427"/>
                </a:cubicBezTo>
                <a:cubicBezTo>
                  <a:pt x="10027242" y="1339551"/>
                  <a:pt x="10028306" y="1342355"/>
                  <a:pt x="10030835" y="1344879"/>
                </a:cubicBezTo>
                <a:cubicBezTo>
                  <a:pt x="10032433" y="1346483"/>
                  <a:pt x="10034962" y="1348345"/>
                  <a:pt x="10040820" y="1348345"/>
                </a:cubicBezTo>
                <a:cubicBezTo>
                  <a:pt x="10042817" y="1348345"/>
                  <a:pt x="10044681" y="1348076"/>
                  <a:pt x="10046145" y="1347407"/>
                </a:cubicBezTo>
                <a:cubicBezTo>
                  <a:pt x="10047742" y="1346878"/>
                  <a:pt x="10048941" y="1346081"/>
                  <a:pt x="10049872" y="1345018"/>
                </a:cubicBezTo>
                <a:cubicBezTo>
                  <a:pt x="10050937" y="1343820"/>
                  <a:pt x="10051869" y="1342480"/>
                  <a:pt x="10052534" y="1340751"/>
                </a:cubicBezTo>
                <a:cubicBezTo>
                  <a:pt x="10053333" y="1339153"/>
                  <a:pt x="10053599" y="1337291"/>
                  <a:pt x="10053599" y="1335294"/>
                </a:cubicBezTo>
                <a:cubicBezTo>
                  <a:pt x="10053599" y="1333430"/>
                  <a:pt x="10053200" y="1331700"/>
                  <a:pt x="10052534" y="1330101"/>
                </a:cubicBezTo>
                <a:cubicBezTo>
                  <a:pt x="10051869" y="1328507"/>
                  <a:pt x="10050937" y="1327172"/>
                  <a:pt x="10049872" y="1325972"/>
                </a:cubicBezTo>
                <a:cubicBezTo>
                  <a:pt x="10048807" y="1324911"/>
                  <a:pt x="10047476" y="1324111"/>
                  <a:pt x="10045878" y="1323313"/>
                </a:cubicBezTo>
                <a:cubicBezTo>
                  <a:pt x="10044414" y="1322647"/>
                  <a:pt x="10042817" y="1322386"/>
                  <a:pt x="10040820" y="1322386"/>
                </a:cubicBezTo>
                <a:close/>
                <a:moveTo>
                  <a:pt x="9823176" y="1322386"/>
                </a:moveTo>
                <a:cubicBezTo>
                  <a:pt x="9817318" y="1322386"/>
                  <a:pt x="9814788" y="1324379"/>
                  <a:pt x="9813191" y="1325972"/>
                </a:cubicBezTo>
                <a:cubicBezTo>
                  <a:pt x="9810662" y="1328636"/>
                  <a:pt x="9809597" y="1331441"/>
                  <a:pt x="9809597" y="1335427"/>
                </a:cubicBezTo>
                <a:cubicBezTo>
                  <a:pt x="9809597" y="1339551"/>
                  <a:pt x="9810662" y="1342355"/>
                  <a:pt x="9813191" y="1344879"/>
                </a:cubicBezTo>
                <a:cubicBezTo>
                  <a:pt x="9814788" y="1346483"/>
                  <a:pt x="9817318" y="1348345"/>
                  <a:pt x="9823176" y="1348345"/>
                </a:cubicBezTo>
                <a:cubicBezTo>
                  <a:pt x="9825173" y="1348345"/>
                  <a:pt x="9827036" y="1348076"/>
                  <a:pt x="9828501" y="1347407"/>
                </a:cubicBezTo>
                <a:cubicBezTo>
                  <a:pt x="9830098" y="1346878"/>
                  <a:pt x="9831296" y="1346081"/>
                  <a:pt x="9832227" y="1345018"/>
                </a:cubicBezTo>
                <a:cubicBezTo>
                  <a:pt x="9833293" y="1343820"/>
                  <a:pt x="9834225" y="1342480"/>
                  <a:pt x="9834890" y="1340751"/>
                </a:cubicBezTo>
                <a:cubicBezTo>
                  <a:pt x="9835689" y="1339153"/>
                  <a:pt x="9835955" y="1337291"/>
                  <a:pt x="9835955" y="1335294"/>
                </a:cubicBezTo>
                <a:cubicBezTo>
                  <a:pt x="9835955" y="1333430"/>
                  <a:pt x="9835555" y="1331700"/>
                  <a:pt x="9834890" y="1330101"/>
                </a:cubicBezTo>
                <a:cubicBezTo>
                  <a:pt x="9834225" y="1328507"/>
                  <a:pt x="9833293" y="1327172"/>
                  <a:pt x="9832227" y="1325972"/>
                </a:cubicBezTo>
                <a:cubicBezTo>
                  <a:pt x="9831162" y="1324911"/>
                  <a:pt x="9829831" y="1324111"/>
                  <a:pt x="9828234" y="1323313"/>
                </a:cubicBezTo>
                <a:cubicBezTo>
                  <a:pt x="9826770" y="1322647"/>
                  <a:pt x="9825173" y="1322386"/>
                  <a:pt x="9823176" y="1322386"/>
                </a:cubicBezTo>
                <a:close/>
                <a:moveTo>
                  <a:pt x="9605531" y="1322386"/>
                </a:moveTo>
                <a:cubicBezTo>
                  <a:pt x="9599673" y="1322386"/>
                  <a:pt x="9597143" y="1324379"/>
                  <a:pt x="9595546" y="1325972"/>
                </a:cubicBezTo>
                <a:cubicBezTo>
                  <a:pt x="9593017" y="1328636"/>
                  <a:pt x="9591952" y="1331441"/>
                  <a:pt x="9591952" y="1335427"/>
                </a:cubicBezTo>
                <a:cubicBezTo>
                  <a:pt x="9591952" y="1339551"/>
                  <a:pt x="9593017" y="1342355"/>
                  <a:pt x="9595546" y="1344879"/>
                </a:cubicBezTo>
                <a:cubicBezTo>
                  <a:pt x="9597143" y="1346483"/>
                  <a:pt x="9599673" y="1348345"/>
                  <a:pt x="9605531" y="1348345"/>
                </a:cubicBezTo>
                <a:cubicBezTo>
                  <a:pt x="9607660" y="1348345"/>
                  <a:pt x="9609391" y="1348076"/>
                  <a:pt x="9610855" y="1347407"/>
                </a:cubicBezTo>
                <a:cubicBezTo>
                  <a:pt x="9612319" y="1346878"/>
                  <a:pt x="9613651" y="1346081"/>
                  <a:pt x="9614582" y="1345018"/>
                </a:cubicBezTo>
                <a:cubicBezTo>
                  <a:pt x="9615647" y="1343820"/>
                  <a:pt x="9616579" y="1342480"/>
                  <a:pt x="9617245" y="1340751"/>
                </a:cubicBezTo>
                <a:cubicBezTo>
                  <a:pt x="9618044" y="1339153"/>
                  <a:pt x="9618309" y="1337291"/>
                  <a:pt x="9618309" y="1335294"/>
                </a:cubicBezTo>
                <a:cubicBezTo>
                  <a:pt x="9618309" y="1333430"/>
                  <a:pt x="9617910" y="1331700"/>
                  <a:pt x="9617245" y="1330101"/>
                </a:cubicBezTo>
                <a:cubicBezTo>
                  <a:pt x="9616579" y="1328507"/>
                  <a:pt x="9615647" y="1327172"/>
                  <a:pt x="9614582" y="1325972"/>
                </a:cubicBezTo>
                <a:cubicBezTo>
                  <a:pt x="9613517" y="1324911"/>
                  <a:pt x="9612186" y="1324111"/>
                  <a:pt x="9610589" y="1323313"/>
                </a:cubicBezTo>
                <a:cubicBezTo>
                  <a:pt x="9609124" y="1322647"/>
                  <a:pt x="9607394" y="1322386"/>
                  <a:pt x="9605531" y="1322386"/>
                </a:cubicBezTo>
                <a:close/>
                <a:moveTo>
                  <a:pt x="9387885" y="1322386"/>
                </a:moveTo>
                <a:cubicBezTo>
                  <a:pt x="9382027" y="1322386"/>
                  <a:pt x="9379497" y="1324379"/>
                  <a:pt x="9377900" y="1325972"/>
                </a:cubicBezTo>
                <a:cubicBezTo>
                  <a:pt x="9375371" y="1328636"/>
                  <a:pt x="9374307" y="1331441"/>
                  <a:pt x="9374307" y="1335427"/>
                </a:cubicBezTo>
                <a:cubicBezTo>
                  <a:pt x="9374307" y="1339551"/>
                  <a:pt x="9375371" y="1342355"/>
                  <a:pt x="9377900" y="1344879"/>
                </a:cubicBezTo>
                <a:cubicBezTo>
                  <a:pt x="9379497" y="1346483"/>
                  <a:pt x="9382027" y="1348345"/>
                  <a:pt x="9387885" y="1348345"/>
                </a:cubicBezTo>
                <a:cubicBezTo>
                  <a:pt x="9390015" y="1348345"/>
                  <a:pt x="9391746" y="1348076"/>
                  <a:pt x="9393210" y="1347407"/>
                </a:cubicBezTo>
                <a:cubicBezTo>
                  <a:pt x="9394674" y="1346878"/>
                  <a:pt x="9396005" y="1346081"/>
                  <a:pt x="9396937" y="1345018"/>
                </a:cubicBezTo>
                <a:cubicBezTo>
                  <a:pt x="9398002" y="1343820"/>
                  <a:pt x="9398934" y="1342480"/>
                  <a:pt x="9399599" y="1340751"/>
                </a:cubicBezTo>
                <a:cubicBezTo>
                  <a:pt x="9400398" y="1339153"/>
                  <a:pt x="9400664" y="1337291"/>
                  <a:pt x="9400664" y="1335294"/>
                </a:cubicBezTo>
                <a:cubicBezTo>
                  <a:pt x="9400664" y="1333430"/>
                  <a:pt x="9400265" y="1331700"/>
                  <a:pt x="9399599" y="1330101"/>
                </a:cubicBezTo>
                <a:cubicBezTo>
                  <a:pt x="9398934" y="1328507"/>
                  <a:pt x="9398002" y="1327172"/>
                  <a:pt x="9396937" y="1325972"/>
                </a:cubicBezTo>
                <a:cubicBezTo>
                  <a:pt x="9395872" y="1324911"/>
                  <a:pt x="9394541" y="1324111"/>
                  <a:pt x="9392943" y="1323313"/>
                </a:cubicBezTo>
                <a:cubicBezTo>
                  <a:pt x="9391479" y="1322647"/>
                  <a:pt x="9389749" y="1322386"/>
                  <a:pt x="9387885" y="1322386"/>
                </a:cubicBezTo>
                <a:close/>
                <a:moveTo>
                  <a:pt x="9170374" y="1322386"/>
                </a:moveTo>
                <a:cubicBezTo>
                  <a:pt x="9164649" y="1322386"/>
                  <a:pt x="9161986" y="1324379"/>
                  <a:pt x="9160389" y="1325972"/>
                </a:cubicBezTo>
                <a:cubicBezTo>
                  <a:pt x="9157860" y="1328636"/>
                  <a:pt x="9156795" y="1331441"/>
                  <a:pt x="9156795" y="1335427"/>
                </a:cubicBezTo>
                <a:cubicBezTo>
                  <a:pt x="9156795" y="1339551"/>
                  <a:pt x="9157860" y="1342355"/>
                  <a:pt x="9160389" y="1344879"/>
                </a:cubicBezTo>
                <a:cubicBezTo>
                  <a:pt x="9161986" y="1346483"/>
                  <a:pt x="9164516" y="1348345"/>
                  <a:pt x="9170374" y="1348345"/>
                </a:cubicBezTo>
                <a:cubicBezTo>
                  <a:pt x="9172370" y="1348345"/>
                  <a:pt x="9174100" y="1348076"/>
                  <a:pt x="9175698" y="1347407"/>
                </a:cubicBezTo>
                <a:cubicBezTo>
                  <a:pt x="9177163" y="1346878"/>
                  <a:pt x="9178494" y="1346081"/>
                  <a:pt x="9179425" y="1345018"/>
                </a:cubicBezTo>
                <a:cubicBezTo>
                  <a:pt x="9180491" y="1343820"/>
                  <a:pt x="9181422" y="1342480"/>
                  <a:pt x="9182088" y="1340751"/>
                </a:cubicBezTo>
                <a:cubicBezTo>
                  <a:pt x="9182887" y="1339153"/>
                  <a:pt x="9183152" y="1337291"/>
                  <a:pt x="9183152" y="1335294"/>
                </a:cubicBezTo>
                <a:cubicBezTo>
                  <a:pt x="9183152" y="1333430"/>
                  <a:pt x="9182753" y="1331700"/>
                  <a:pt x="9182088" y="1330101"/>
                </a:cubicBezTo>
                <a:cubicBezTo>
                  <a:pt x="9181422" y="1328507"/>
                  <a:pt x="9180491" y="1327172"/>
                  <a:pt x="9179425" y="1325972"/>
                </a:cubicBezTo>
                <a:cubicBezTo>
                  <a:pt x="9178360" y="1324911"/>
                  <a:pt x="9177029" y="1324111"/>
                  <a:pt x="9175432" y="1323313"/>
                </a:cubicBezTo>
                <a:cubicBezTo>
                  <a:pt x="9173967" y="1322647"/>
                  <a:pt x="9172237" y="1322386"/>
                  <a:pt x="9170374" y="1322386"/>
                </a:cubicBezTo>
                <a:close/>
                <a:moveTo>
                  <a:pt x="8952728" y="1322386"/>
                </a:moveTo>
                <a:cubicBezTo>
                  <a:pt x="8947003" y="1322386"/>
                  <a:pt x="8944340" y="1324379"/>
                  <a:pt x="8942743" y="1325972"/>
                </a:cubicBezTo>
                <a:cubicBezTo>
                  <a:pt x="8940214" y="1328636"/>
                  <a:pt x="8939150" y="1331441"/>
                  <a:pt x="8939150" y="1335427"/>
                </a:cubicBezTo>
                <a:cubicBezTo>
                  <a:pt x="8939150" y="1339551"/>
                  <a:pt x="8940214" y="1342355"/>
                  <a:pt x="8942743" y="1344879"/>
                </a:cubicBezTo>
                <a:cubicBezTo>
                  <a:pt x="8944340" y="1346483"/>
                  <a:pt x="8946870" y="1348345"/>
                  <a:pt x="8952728" y="1348345"/>
                </a:cubicBezTo>
                <a:cubicBezTo>
                  <a:pt x="8954725" y="1348345"/>
                  <a:pt x="8956589" y="1348076"/>
                  <a:pt x="8958053" y="1347407"/>
                </a:cubicBezTo>
                <a:cubicBezTo>
                  <a:pt x="8959517" y="1346878"/>
                  <a:pt x="8960849" y="1346081"/>
                  <a:pt x="8961780" y="1345018"/>
                </a:cubicBezTo>
                <a:cubicBezTo>
                  <a:pt x="8962845" y="1343820"/>
                  <a:pt x="8963777" y="1342480"/>
                  <a:pt x="8964442" y="1340751"/>
                </a:cubicBezTo>
                <a:cubicBezTo>
                  <a:pt x="8965241" y="1339153"/>
                  <a:pt x="8965507" y="1337291"/>
                  <a:pt x="8965507" y="1335294"/>
                </a:cubicBezTo>
                <a:cubicBezTo>
                  <a:pt x="8965507" y="1333430"/>
                  <a:pt x="8965108" y="1331700"/>
                  <a:pt x="8964442" y="1330101"/>
                </a:cubicBezTo>
                <a:cubicBezTo>
                  <a:pt x="8963777" y="1328507"/>
                  <a:pt x="8962845" y="1327172"/>
                  <a:pt x="8961780" y="1325972"/>
                </a:cubicBezTo>
                <a:cubicBezTo>
                  <a:pt x="8960715" y="1324911"/>
                  <a:pt x="8959384" y="1324111"/>
                  <a:pt x="8957786" y="1323313"/>
                </a:cubicBezTo>
                <a:cubicBezTo>
                  <a:pt x="8956322" y="1322647"/>
                  <a:pt x="8954592" y="1322386"/>
                  <a:pt x="8952728" y="1322386"/>
                </a:cubicBezTo>
                <a:close/>
                <a:moveTo>
                  <a:pt x="8735083" y="1322386"/>
                </a:moveTo>
                <a:cubicBezTo>
                  <a:pt x="8729358" y="1322386"/>
                  <a:pt x="8726695" y="1324379"/>
                  <a:pt x="8725098" y="1325972"/>
                </a:cubicBezTo>
                <a:cubicBezTo>
                  <a:pt x="8722569" y="1328636"/>
                  <a:pt x="8721504" y="1331441"/>
                  <a:pt x="8721504" y="1335427"/>
                </a:cubicBezTo>
                <a:cubicBezTo>
                  <a:pt x="8721504" y="1339551"/>
                  <a:pt x="8722569" y="1342355"/>
                  <a:pt x="8725098" y="1344879"/>
                </a:cubicBezTo>
                <a:cubicBezTo>
                  <a:pt x="8726695" y="1346483"/>
                  <a:pt x="8729225" y="1348345"/>
                  <a:pt x="8735083" y="1348345"/>
                </a:cubicBezTo>
                <a:cubicBezTo>
                  <a:pt x="8737079" y="1348345"/>
                  <a:pt x="8738943" y="1348076"/>
                  <a:pt x="8740407" y="1347407"/>
                </a:cubicBezTo>
                <a:cubicBezTo>
                  <a:pt x="8741872" y="1346878"/>
                  <a:pt x="8743203" y="1346081"/>
                  <a:pt x="8744134" y="1345018"/>
                </a:cubicBezTo>
                <a:cubicBezTo>
                  <a:pt x="8745200" y="1343820"/>
                  <a:pt x="8746132" y="1342480"/>
                  <a:pt x="8746797" y="1340751"/>
                </a:cubicBezTo>
                <a:cubicBezTo>
                  <a:pt x="8747596" y="1339153"/>
                  <a:pt x="8747862" y="1337291"/>
                  <a:pt x="8747862" y="1335294"/>
                </a:cubicBezTo>
                <a:cubicBezTo>
                  <a:pt x="8747862" y="1333430"/>
                  <a:pt x="8747462" y="1331700"/>
                  <a:pt x="8746797" y="1330101"/>
                </a:cubicBezTo>
                <a:cubicBezTo>
                  <a:pt x="8746132" y="1328507"/>
                  <a:pt x="8745200" y="1327172"/>
                  <a:pt x="8744134" y="1325972"/>
                </a:cubicBezTo>
                <a:cubicBezTo>
                  <a:pt x="8743069" y="1324911"/>
                  <a:pt x="8741738" y="1324111"/>
                  <a:pt x="8740141" y="1323313"/>
                </a:cubicBezTo>
                <a:cubicBezTo>
                  <a:pt x="8738677" y="1322647"/>
                  <a:pt x="8736946" y="1322386"/>
                  <a:pt x="8735083" y="1322386"/>
                </a:cubicBezTo>
                <a:close/>
                <a:moveTo>
                  <a:pt x="8517438" y="1322386"/>
                </a:moveTo>
                <a:cubicBezTo>
                  <a:pt x="8511713" y="1322386"/>
                  <a:pt x="8509051" y="1324379"/>
                  <a:pt x="8507453" y="1325972"/>
                </a:cubicBezTo>
                <a:cubicBezTo>
                  <a:pt x="8504925" y="1328636"/>
                  <a:pt x="8503860" y="1331441"/>
                  <a:pt x="8503860" y="1335427"/>
                </a:cubicBezTo>
                <a:cubicBezTo>
                  <a:pt x="8503860" y="1339551"/>
                  <a:pt x="8504925" y="1342355"/>
                  <a:pt x="8507453" y="1344879"/>
                </a:cubicBezTo>
                <a:cubicBezTo>
                  <a:pt x="8509051" y="1346483"/>
                  <a:pt x="8511581" y="1348345"/>
                  <a:pt x="8517438" y="1348345"/>
                </a:cubicBezTo>
                <a:cubicBezTo>
                  <a:pt x="8519568" y="1348345"/>
                  <a:pt x="8521299" y="1348076"/>
                  <a:pt x="8522763" y="1347407"/>
                </a:cubicBezTo>
                <a:cubicBezTo>
                  <a:pt x="8524227" y="1346878"/>
                  <a:pt x="8525559" y="1346081"/>
                  <a:pt x="8526490" y="1345018"/>
                </a:cubicBezTo>
                <a:cubicBezTo>
                  <a:pt x="8527555" y="1343820"/>
                  <a:pt x="8528487" y="1342480"/>
                  <a:pt x="8529152" y="1340751"/>
                </a:cubicBezTo>
                <a:cubicBezTo>
                  <a:pt x="8529818" y="1339153"/>
                  <a:pt x="8530084" y="1337291"/>
                  <a:pt x="8530084" y="1335294"/>
                </a:cubicBezTo>
                <a:cubicBezTo>
                  <a:pt x="8530084" y="1333430"/>
                  <a:pt x="8529818" y="1331700"/>
                  <a:pt x="8529152" y="1330101"/>
                </a:cubicBezTo>
                <a:cubicBezTo>
                  <a:pt x="8528487" y="1328507"/>
                  <a:pt x="8527555" y="1327172"/>
                  <a:pt x="8526490" y="1325972"/>
                </a:cubicBezTo>
                <a:cubicBezTo>
                  <a:pt x="8525425" y="1324911"/>
                  <a:pt x="8524094" y="1324111"/>
                  <a:pt x="8522496" y="1323313"/>
                </a:cubicBezTo>
                <a:cubicBezTo>
                  <a:pt x="8521032" y="1322647"/>
                  <a:pt x="8519302" y="1322386"/>
                  <a:pt x="8517438" y="1322386"/>
                </a:cubicBezTo>
                <a:close/>
                <a:moveTo>
                  <a:pt x="8299793" y="1322386"/>
                </a:moveTo>
                <a:cubicBezTo>
                  <a:pt x="8294068" y="1322386"/>
                  <a:pt x="8291406" y="1324379"/>
                  <a:pt x="8289809" y="1325972"/>
                </a:cubicBezTo>
                <a:cubicBezTo>
                  <a:pt x="8287280" y="1328636"/>
                  <a:pt x="8286215" y="1331441"/>
                  <a:pt x="8286215" y="1335427"/>
                </a:cubicBezTo>
                <a:cubicBezTo>
                  <a:pt x="8286215" y="1339551"/>
                  <a:pt x="8287280" y="1342355"/>
                  <a:pt x="8289809" y="1344879"/>
                </a:cubicBezTo>
                <a:cubicBezTo>
                  <a:pt x="8291406" y="1346483"/>
                  <a:pt x="8293935" y="1348345"/>
                  <a:pt x="8299793" y="1348345"/>
                </a:cubicBezTo>
                <a:cubicBezTo>
                  <a:pt x="8301923" y="1348345"/>
                  <a:pt x="8303653" y="1348076"/>
                  <a:pt x="8305118" y="1347407"/>
                </a:cubicBezTo>
                <a:cubicBezTo>
                  <a:pt x="8306582" y="1346878"/>
                  <a:pt x="8307913" y="1346081"/>
                  <a:pt x="8308844" y="1345018"/>
                </a:cubicBezTo>
                <a:cubicBezTo>
                  <a:pt x="8309910" y="1343820"/>
                  <a:pt x="8310842" y="1342480"/>
                  <a:pt x="8311507" y="1340751"/>
                </a:cubicBezTo>
                <a:cubicBezTo>
                  <a:pt x="8312172" y="1339153"/>
                  <a:pt x="8312439" y="1337291"/>
                  <a:pt x="8312439" y="1335294"/>
                </a:cubicBezTo>
                <a:cubicBezTo>
                  <a:pt x="8312439" y="1333430"/>
                  <a:pt x="8312172" y="1331700"/>
                  <a:pt x="8311507" y="1330101"/>
                </a:cubicBezTo>
                <a:cubicBezTo>
                  <a:pt x="8310842" y="1328507"/>
                  <a:pt x="8309910" y="1327172"/>
                  <a:pt x="8308844" y="1325972"/>
                </a:cubicBezTo>
                <a:cubicBezTo>
                  <a:pt x="8307779" y="1324911"/>
                  <a:pt x="8306448" y="1324111"/>
                  <a:pt x="8304851" y="1323313"/>
                </a:cubicBezTo>
                <a:cubicBezTo>
                  <a:pt x="8303387" y="1322647"/>
                  <a:pt x="8301790" y="1322386"/>
                  <a:pt x="8299793" y="1322386"/>
                </a:cubicBezTo>
                <a:close/>
                <a:moveTo>
                  <a:pt x="8082281" y="1322386"/>
                </a:moveTo>
                <a:cubicBezTo>
                  <a:pt x="8076424" y="1322386"/>
                  <a:pt x="8073894" y="1324379"/>
                  <a:pt x="8072297" y="1325972"/>
                </a:cubicBezTo>
                <a:cubicBezTo>
                  <a:pt x="8069768" y="1328636"/>
                  <a:pt x="8068703" y="1331441"/>
                  <a:pt x="8068703" y="1335427"/>
                </a:cubicBezTo>
                <a:cubicBezTo>
                  <a:pt x="8068703" y="1339551"/>
                  <a:pt x="8069768" y="1342355"/>
                  <a:pt x="8072297" y="1344879"/>
                </a:cubicBezTo>
                <a:cubicBezTo>
                  <a:pt x="8073894" y="1346483"/>
                  <a:pt x="8076424" y="1348345"/>
                  <a:pt x="8082281" y="1348345"/>
                </a:cubicBezTo>
                <a:cubicBezTo>
                  <a:pt x="8084277" y="1348345"/>
                  <a:pt x="8086007" y="1348076"/>
                  <a:pt x="8087605" y="1347407"/>
                </a:cubicBezTo>
                <a:cubicBezTo>
                  <a:pt x="8089069" y="1346878"/>
                  <a:pt x="8090401" y="1346081"/>
                  <a:pt x="8091332" y="1345018"/>
                </a:cubicBezTo>
                <a:cubicBezTo>
                  <a:pt x="8092397" y="1343820"/>
                  <a:pt x="8093329" y="1342480"/>
                  <a:pt x="8093994" y="1340751"/>
                </a:cubicBezTo>
                <a:cubicBezTo>
                  <a:pt x="8094660" y="1339153"/>
                  <a:pt x="8094926" y="1337291"/>
                  <a:pt x="8094926" y="1335294"/>
                </a:cubicBezTo>
                <a:cubicBezTo>
                  <a:pt x="8094926" y="1333430"/>
                  <a:pt x="8094660" y="1331700"/>
                  <a:pt x="8093994" y="1330101"/>
                </a:cubicBezTo>
                <a:cubicBezTo>
                  <a:pt x="8093329" y="1328507"/>
                  <a:pt x="8092397" y="1327172"/>
                  <a:pt x="8091332" y="1325972"/>
                </a:cubicBezTo>
                <a:cubicBezTo>
                  <a:pt x="8090267" y="1324911"/>
                  <a:pt x="8088936" y="1324111"/>
                  <a:pt x="8087338" y="1323313"/>
                </a:cubicBezTo>
                <a:cubicBezTo>
                  <a:pt x="8085874" y="1322647"/>
                  <a:pt x="8084277" y="1322386"/>
                  <a:pt x="8082281" y="1322386"/>
                </a:cubicBezTo>
                <a:close/>
                <a:moveTo>
                  <a:pt x="7864636" y="1322386"/>
                </a:moveTo>
                <a:cubicBezTo>
                  <a:pt x="7858779" y="1322386"/>
                  <a:pt x="7856249" y="1324379"/>
                  <a:pt x="7854652" y="1325972"/>
                </a:cubicBezTo>
                <a:cubicBezTo>
                  <a:pt x="7852123" y="1328636"/>
                  <a:pt x="7851058" y="1331441"/>
                  <a:pt x="7851058" y="1335427"/>
                </a:cubicBezTo>
                <a:cubicBezTo>
                  <a:pt x="7851058" y="1339551"/>
                  <a:pt x="7852123" y="1342355"/>
                  <a:pt x="7854652" y="1344879"/>
                </a:cubicBezTo>
                <a:cubicBezTo>
                  <a:pt x="7856249" y="1346483"/>
                  <a:pt x="7858779" y="1348345"/>
                  <a:pt x="7864636" y="1348345"/>
                </a:cubicBezTo>
                <a:cubicBezTo>
                  <a:pt x="7866633" y="1348345"/>
                  <a:pt x="7868363" y="1348076"/>
                  <a:pt x="7869961" y="1347407"/>
                </a:cubicBezTo>
                <a:cubicBezTo>
                  <a:pt x="7871425" y="1346878"/>
                  <a:pt x="7872756" y="1346081"/>
                  <a:pt x="7873687" y="1345018"/>
                </a:cubicBezTo>
                <a:cubicBezTo>
                  <a:pt x="7874753" y="1343820"/>
                  <a:pt x="7875685" y="1342480"/>
                  <a:pt x="7876350" y="1340751"/>
                </a:cubicBezTo>
                <a:cubicBezTo>
                  <a:pt x="7877015" y="1339153"/>
                  <a:pt x="7877282" y="1337291"/>
                  <a:pt x="7877282" y="1335294"/>
                </a:cubicBezTo>
                <a:cubicBezTo>
                  <a:pt x="7877282" y="1333430"/>
                  <a:pt x="7877015" y="1331700"/>
                  <a:pt x="7876350" y="1330101"/>
                </a:cubicBezTo>
                <a:cubicBezTo>
                  <a:pt x="7875685" y="1328507"/>
                  <a:pt x="7874753" y="1327172"/>
                  <a:pt x="7873687" y="1325972"/>
                </a:cubicBezTo>
                <a:cubicBezTo>
                  <a:pt x="7872623" y="1324911"/>
                  <a:pt x="7871291" y="1324111"/>
                  <a:pt x="7869694" y="1323313"/>
                </a:cubicBezTo>
                <a:cubicBezTo>
                  <a:pt x="7868230" y="1322647"/>
                  <a:pt x="7866633" y="1322386"/>
                  <a:pt x="7864636" y="1322386"/>
                </a:cubicBezTo>
                <a:close/>
                <a:moveTo>
                  <a:pt x="7646991" y="1322386"/>
                </a:moveTo>
                <a:cubicBezTo>
                  <a:pt x="7641134" y="1322386"/>
                  <a:pt x="7638604" y="1324379"/>
                  <a:pt x="7637007" y="1325972"/>
                </a:cubicBezTo>
                <a:cubicBezTo>
                  <a:pt x="7634478" y="1328636"/>
                  <a:pt x="7633413" y="1331441"/>
                  <a:pt x="7633413" y="1335427"/>
                </a:cubicBezTo>
                <a:cubicBezTo>
                  <a:pt x="7633413" y="1339551"/>
                  <a:pt x="7634478" y="1342355"/>
                  <a:pt x="7637007" y="1344879"/>
                </a:cubicBezTo>
                <a:cubicBezTo>
                  <a:pt x="7638604" y="1346483"/>
                  <a:pt x="7641134" y="1348345"/>
                  <a:pt x="7646991" y="1348345"/>
                </a:cubicBezTo>
                <a:cubicBezTo>
                  <a:pt x="7648987" y="1348345"/>
                  <a:pt x="7650851" y="1348076"/>
                  <a:pt x="7652315" y="1347407"/>
                </a:cubicBezTo>
                <a:cubicBezTo>
                  <a:pt x="7653780" y="1346878"/>
                  <a:pt x="7655111" y="1346081"/>
                  <a:pt x="7656042" y="1345018"/>
                </a:cubicBezTo>
                <a:cubicBezTo>
                  <a:pt x="7657108" y="1343820"/>
                  <a:pt x="7658039" y="1342480"/>
                  <a:pt x="7658705" y="1340751"/>
                </a:cubicBezTo>
                <a:cubicBezTo>
                  <a:pt x="7659504" y="1339153"/>
                  <a:pt x="7659769" y="1337291"/>
                  <a:pt x="7659769" y="1335294"/>
                </a:cubicBezTo>
                <a:cubicBezTo>
                  <a:pt x="7659769" y="1333430"/>
                  <a:pt x="7659370" y="1331700"/>
                  <a:pt x="7658705" y="1330101"/>
                </a:cubicBezTo>
                <a:cubicBezTo>
                  <a:pt x="7658039" y="1328507"/>
                  <a:pt x="7657108" y="1327172"/>
                  <a:pt x="7656042" y="1325972"/>
                </a:cubicBezTo>
                <a:cubicBezTo>
                  <a:pt x="7654977" y="1324911"/>
                  <a:pt x="7653646" y="1324111"/>
                  <a:pt x="7652049" y="1323313"/>
                </a:cubicBezTo>
                <a:cubicBezTo>
                  <a:pt x="7650584" y="1322647"/>
                  <a:pt x="7648987" y="1322386"/>
                  <a:pt x="7646991" y="1322386"/>
                </a:cubicBezTo>
                <a:close/>
                <a:moveTo>
                  <a:pt x="7429345" y="1322386"/>
                </a:moveTo>
                <a:cubicBezTo>
                  <a:pt x="7423488" y="1322386"/>
                  <a:pt x="7420958" y="1324379"/>
                  <a:pt x="7419361" y="1325972"/>
                </a:cubicBezTo>
                <a:cubicBezTo>
                  <a:pt x="7416832" y="1328636"/>
                  <a:pt x="7415768" y="1331441"/>
                  <a:pt x="7415768" y="1335427"/>
                </a:cubicBezTo>
                <a:cubicBezTo>
                  <a:pt x="7415768" y="1339551"/>
                  <a:pt x="7416832" y="1342355"/>
                  <a:pt x="7419361" y="1344879"/>
                </a:cubicBezTo>
                <a:cubicBezTo>
                  <a:pt x="7420958" y="1346483"/>
                  <a:pt x="7423488" y="1348345"/>
                  <a:pt x="7429345" y="1348345"/>
                </a:cubicBezTo>
                <a:cubicBezTo>
                  <a:pt x="7431342" y="1348345"/>
                  <a:pt x="7433206" y="1348076"/>
                  <a:pt x="7434670" y="1347407"/>
                </a:cubicBezTo>
                <a:cubicBezTo>
                  <a:pt x="7436134" y="1346878"/>
                  <a:pt x="7437466" y="1346081"/>
                  <a:pt x="7438397" y="1345018"/>
                </a:cubicBezTo>
                <a:cubicBezTo>
                  <a:pt x="7439462" y="1343820"/>
                  <a:pt x="7440394" y="1342480"/>
                  <a:pt x="7441059" y="1340751"/>
                </a:cubicBezTo>
                <a:cubicBezTo>
                  <a:pt x="7441858" y="1339153"/>
                  <a:pt x="7442124" y="1337291"/>
                  <a:pt x="7442124" y="1335294"/>
                </a:cubicBezTo>
                <a:cubicBezTo>
                  <a:pt x="7442124" y="1333430"/>
                  <a:pt x="7441725" y="1331700"/>
                  <a:pt x="7441059" y="1330101"/>
                </a:cubicBezTo>
                <a:cubicBezTo>
                  <a:pt x="7440394" y="1328507"/>
                  <a:pt x="7439462" y="1327172"/>
                  <a:pt x="7438397" y="1325972"/>
                </a:cubicBezTo>
                <a:cubicBezTo>
                  <a:pt x="7437332" y="1324911"/>
                  <a:pt x="7436001" y="1324111"/>
                  <a:pt x="7434403" y="1323313"/>
                </a:cubicBezTo>
                <a:cubicBezTo>
                  <a:pt x="7432939" y="1322647"/>
                  <a:pt x="7431342" y="1322386"/>
                  <a:pt x="7429345" y="1322386"/>
                </a:cubicBezTo>
                <a:close/>
                <a:moveTo>
                  <a:pt x="7211701" y="1322386"/>
                </a:moveTo>
                <a:cubicBezTo>
                  <a:pt x="7205844" y="1322386"/>
                  <a:pt x="7203314" y="1324379"/>
                  <a:pt x="7201717" y="1325972"/>
                </a:cubicBezTo>
                <a:cubicBezTo>
                  <a:pt x="7199188" y="1328636"/>
                  <a:pt x="7198123" y="1331441"/>
                  <a:pt x="7198123" y="1335427"/>
                </a:cubicBezTo>
                <a:cubicBezTo>
                  <a:pt x="7198123" y="1339551"/>
                  <a:pt x="7199188" y="1342355"/>
                  <a:pt x="7201717" y="1344879"/>
                </a:cubicBezTo>
                <a:cubicBezTo>
                  <a:pt x="7203314" y="1346483"/>
                  <a:pt x="7205844" y="1348345"/>
                  <a:pt x="7211701" y="1348345"/>
                </a:cubicBezTo>
                <a:cubicBezTo>
                  <a:pt x="7213830" y="1348345"/>
                  <a:pt x="7215561" y="1348076"/>
                  <a:pt x="7217026" y="1347407"/>
                </a:cubicBezTo>
                <a:cubicBezTo>
                  <a:pt x="7218490" y="1346878"/>
                  <a:pt x="7219821" y="1346081"/>
                  <a:pt x="7220752" y="1345018"/>
                </a:cubicBezTo>
                <a:cubicBezTo>
                  <a:pt x="7221818" y="1343820"/>
                  <a:pt x="7222750" y="1342480"/>
                  <a:pt x="7223415" y="1340751"/>
                </a:cubicBezTo>
                <a:cubicBezTo>
                  <a:pt x="7224214" y="1339153"/>
                  <a:pt x="7224480" y="1337291"/>
                  <a:pt x="7224480" y="1335294"/>
                </a:cubicBezTo>
                <a:cubicBezTo>
                  <a:pt x="7224480" y="1333430"/>
                  <a:pt x="7224080" y="1331700"/>
                  <a:pt x="7223415" y="1330101"/>
                </a:cubicBezTo>
                <a:cubicBezTo>
                  <a:pt x="7222750" y="1328507"/>
                  <a:pt x="7221818" y="1327172"/>
                  <a:pt x="7220752" y="1325972"/>
                </a:cubicBezTo>
                <a:cubicBezTo>
                  <a:pt x="7219687" y="1324911"/>
                  <a:pt x="7218356" y="1324111"/>
                  <a:pt x="7216759" y="1323313"/>
                </a:cubicBezTo>
                <a:cubicBezTo>
                  <a:pt x="7215295" y="1322647"/>
                  <a:pt x="7213698" y="1322386"/>
                  <a:pt x="7211701" y="1322386"/>
                </a:cubicBezTo>
                <a:close/>
                <a:moveTo>
                  <a:pt x="6994056" y="1322386"/>
                </a:moveTo>
                <a:cubicBezTo>
                  <a:pt x="6988199" y="1322386"/>
                  <a:pt x="6985669" y="1324379"/>
                  <a:pt x="6984072" y="1325972"/>
                </a:cubicBezTo>
                <a:cubicBezTo>
                  <a:pt x="6981543" y="1328636"/>
                  <a:pt x="6980478" y="1331441"/>
                  <a:pt x="6980478" y="1335427"/>
                </a:cubicBezTo>
                <a:cubicBezTo>
                  <a:pt x="6980478" y="1339551"/>
                  <a:pt x="6981543" y="1342355"/>
                  <a:pt x="6984072" y="1344879"/>
                </a:cubicBezTo>
                <a:cubicBezTo>
                  <a:pt x="6985669" y="1346483"/>
                  <a:pt x="6988199" y="1348345"/>
                  <a:pt x="6994056" y="1348345"/>
                </a:cubicBezTo>
                <a:cubicBezTo>
                  <a:pt x="6996185" y="1348345"/>
                  <a:pt x="6997916" y="1348076"/>
                  <a:pt x="6999380" y="1347407"/>
                </a:cubicBezTo>
                <a:cubicBezTo>
                  <a:pt x="7000844" y="1346878"/>
                  <a:pt x="7002176" y="1346081"/>
                  <a:pt x="7003107" y="1345018"/>
                </a:cubicBezTo>
                <a:cubicBezTo>
                  <a:pt x="7004172" y="1343820"/>
                  <a:pt x="7005104" y="1342480"/>
                  <a:pt x="7005769" y="1340751"/>
                </a:cubicBezTo>
                <a:cubicBezTo>
                  <a:pt x="7006568" y="1339153"/>
                  <a:pt x="7006834" y="1337291"/>
                  <a:pt x="7006834" y="1335294"/>
                </a:cubicBezTo>
                <a:cubicBezTo>
                  <a:pt x="7006834" y="1333430"/>
                  <a:pt x="7006435" y="1331700"/>
                  <a:pt x="7005769" y="1330101"/>
                </a:cubicBezTo>
                <a:cubicBezTo>
                  <a:pt x="7005104" y="1328507"/>
                  <a:pt x="7004172" y="1327172"/>
                  <a:pt x="7003107" y="1325972"/>
                </a:cubicBezTo>
                <a:cubicBezTo>
                  <a:pt x="7002042" y="1324911"/>
                  <a:pt x="7000711" y="1324111"/>
                  <a:pt x="6999113" y="1323313"/>
                </a:cubicBezTo>
                <a:cubicBezTo>
                  <a:pt x="6997649" y="1322647"/>
                  <a:pt x="6996052" y="1322386"/>
                  <a:pt x="6994056" y="1322386"/>
                </a:cubicBezTo>
                <a:close/>
                <a:moveTo>
                  <a:pt x="6776544" y="1322386"/>
                </a:moveTo>
                <a:cubicBezTo>
                  <a:pt x="6770687" y="1322386"/>
                  <a:pt x="6768157" y="1324379"/>
                  <a:pt x="6766560" y="1325972"/>
                </a:cubicBezTo>
                <a:cubicBezTo>
                  <a:pt x="6764031" y="1328636"/>
                  <a:pt x="6762966" y="1331441"/>
                  <a:pt x="6762966" y="1335427"/>
                </a:cubicBezTo>
                <a:cubicBezTo>
                  <a:pt x="6762966" y="1339551"/>
                  <a:pt x="6764031" y="1342355"/>
                  <a:pt x="6766560" y="1344879"/>
                </a:cubicBezTo>
                <a:cubicBezTo>
                  <a:pt x="6768157" y="1346483"/>
                  <a:pt x="6770687" y="1348345"/>
                  <a:pt x="6776544" y="1348345"/>
                </a:cubicBezTo>
                <a:cubicBezTo>
                  <a:pt x="6778541" y="1348345"/>
                  <a:pt x="6780270" y="1348076"/>
                  <a:pt x="6781869" y="1347407"/>
                </a:cubicBezTo>
                <a:cubicBezTo>
                  <a:pt x="6783333" y="1346878"/>
                  <a:pt x="6784664" y="1346081"/>
                  <a:pt x="6785595" y="1345018"/>
                </a:cubicBezTo>
                <a:cubicBezTo>
                  <a:pt x="6786661" y="1343820"/>
                  <a:pt x="6787593" y="1342480"/>
                  <a:pt x="6788258" y="1340751"/>
                </a:cubicBezTo>
                <a:cubicBezTo>
                  <a:pt x="6789057" y="1339153"/>
                  <a:pt x="6789323" y="1337291"/>
                  <a:pt x="6789323" y="1335294"/>
                </a:cubicBezTo>
                <a:cubicBezTo>
                  <a:pt x="6789323" y="1333430"/>
                  <a:pt x="6788923" y="1331700"/>
                  <a:pt x="6788258" y="1330101"/>
                </a:cubicBezTo>
                <a:cubicBezTo>
                  <a:pt x="6787593" y="1328507"/>
                  <a:pt x="6786661" y="1327172"/>
                  <a:pt x="6785595" y="1325972"/>
                </a:cubicBezTo>
                <a:cubicBezTo>
                  <a:pt x="6784530" y="1324911"/>
                  <a:pt x="6783199" y="1324111"/>
                  <a:pt x="6781602" y="1323313"/>
                </a:cubicBezTo>
                <a:cubicBezTo>
                  <a:pt x="6780138" y="1322647"/>
                  <a:pt x="6778541" y="1322386"/>
                  <a:pt x="6776544" y="1322386"/>
                </a:cubicBezTo>
                <a:close/>
                <a:moveTo>
                  <a:pt x="6558899" y="1322386"/>
                </a:moveTo>
                <a:cubicBezTo>
                  <a:pt x="6553042" y="1322386"/>
                  <a:pt x="6550512" y="1324379"/>
                  <a:pt x="6548915" y="1325972"/>
                </a:cubicBezTo>
                <a:cubicBezTo>
                  <a:pt x="6546386" y="1328636"/>
                  <a:pt x="6545321" y="1331441"/>
                  <a:pt x="6545321" y="1335427"/>
                </a:cubicBezTo>
                <a:cubicBezTo>
                  <a:pt x="6545321" y="1339551"/>
                  <a:pt x="6546386" y="1342355"/>
                  <a:pt x="6548915" y="1344879"/>
                </a:cubicBezTo>
                <a:cubicBezTo>
                  <a:pt x="6550512" y="1346483"/>
                  <a:pt x="6553042" y="1348345"/>
                  <a:pt x="6558899" y="1348345"/>
                </a:cubicBezTo>
                <a:cubicBezTo>
                  <a:pt x="6560895" y="1348345"/>
                  <a:pt x="6562759" y="1348076"/>
                  <a:pt x="6564223" y="1347407"/>
                </a:cubicBezTo>
                <a:cubicBezTo>
                  <a:pt x="6565687" y="1346878"/>
                  <a:pt x="6567019" y="1346081"/>
                  <a:pt x="6567950" y="1345018"/>
                </a:cubicBezTo>
                <a:cubicBezTo>
                  <a:pt x="6569015" y="1343820"/>
                  <a:pt x="6569947" y="1342480"/>
                  <a:pt x="6570612" y="1340751"/>
                </a:cubicBezTo>
                <a:cubicBezTo>
                  <a:pt x="6571412" y="1339153"/>
                  <a:pt x="6571677" y="1337291"/>
                  <a:pt x="6571677" y="1335294"/>
                </a:cubicBezTo>
                <a:cubicBezTo>
                  <a:pt x="6571677" y="1333430"/>
                  <a:pt x="6571278" y="1331700"/>
                  <a:pt x="6570612" y="1330101"/>
                </a:cubicBezTo>
                <a:cubicBezTo>
                  <a:pt x="6569947" y="1328507"/>
                  <a:pt x="6569015" y="1327172"/>
                  <a:pt x="6567950" y="1325972"/>
                </a:cubicBezTo>
                <a:cubicBezTo>
                  <a:pt x="6566885" y="1324911"/>
                  <a:pt x="6565554" y="1324111"/>
                  <a:pt x="6563956" y="1323313"/>
                </a:cubicBezTo>
                <a:cubicBezTo>
                  <a:pt x="6562492" y="1322647"/>
                  <a:pt x="6560895" y="1322386"/>
                  <a:pt x="6558899" y="1322386"/>
                </a:cubicBezTo>
                <a:close/>
                <a:moveTo>
                  <a:pt x="6341253" y="1322386"/>
                </a:moveTo>
                <a:cubicBezTo>
                  <a:pt x="6335396" y="1322386"/>
                  <a:pt x="6332867" y="1324379"/>
                  <a:pt x="6331270" y="1325972"/>
                </a:cubicBezTo>
                <a:cubicBezTo>
                  <a:pt x="6328740" y="1328636"/>
                  <a:pt x="6327675" y="1331441"/>
                  <a:pt x="6327675" y="1335427"/>
                </a:cubicBezTo>
                <a:cubicBezTo>
                  <a:pt x="6327675" y="1339551"/>
                  <a:pt x="6328740" y="1342355"/>
                  <a:pt x="6331270" y="1344879"/>
                </a:cubicBezTo>
                <a:cubicBezTo>
                  <a:pt x="6332867" y="1346483"/>
                  <a:pt x="6335396" y="1348345"/>
                  <a:pt x="6341253" y="1348345"/>
                </a:cubicBezTo>
                <a:cubicBezTo>
                  <a:pt x="6343250" y="1348345"/>
                  <a:pt x="6345114" y="1348076"/>
                  <a:pt x="6346578" y="1347407"/>
                </a:cubicBezTo>
                <a:cubicBezTo>
                  <a:pt x="6348042" y="1346878"/>
                  <a:pt x="6349373" y="1346081"/>
                  <a:pt x="6350305" y="1345018"/>
                </a:cubicBezTo>
                <a:cubicBezTo>
                  <a:pt x="6351370" y="1343820"/>
                  <a:pt x="6352302" y="1342480"/>
                  <a:pt x="6352968" y="1340751"/>
                </a:cubicBezTo>
                <a:cubicBezTo>
                  <a:pt x="6353766" y="1339153"/>
                  <a:pt x="6354033" y="1337291"/>
                  <a:pt x="6354033" y="1335294"/>
                </a:cubicBezTo>
                <a:cubicBezTo>
                  <a:pt x="6354033" y="1333430"/>
                  <a:pt x="6353633" y="1331700"/>
                  <a:pt x="6352968" y="1330101"/>
                </a:cubicBezTo>
                <a:cubicBezTo>
                  <a:pt x="6352302" y="1328507"/>
                  <a:pt x="6351370" y="1327172"/>
                  <a:pt x="6350305" y="1325972"/>
                </a:cubicBezTo>
                <a:cubicBezTo>
                  <a:pt x="6349241" y="1324911"/>
                  <a:pt x="6347909" y="1324111"/>
                  <a:pt x="6346312" y="1323313"/>
                </a:cubicBezTo>
                <a:cubicBezTo>
                  <a:pt x="6344848" y="1322647"/>
                  <a:pt x="6343250" y="1322386"/>
                  <a:pt x="6341253" y="1322386"/>
                </a:cubicBezTo>
                <a:close/>
                <a:moveTo>
                  <a:pt x="6123608" y="1322386"/>
                </a:moveTo>
                <a:cubicBezTo>
                  <a:pt x="6117751" y="1322386"/>
                  <a:pt x="6115221" y="1324379"/>
                  <a:pt x="6113624" y="1325972"/>
                </a:cubicBezTo>
                <a:cubicBezTo>
                  <a:pt x="6111095" y="1328636"/>
                  <a:pt x="6110030" y="1331441"/>
                  <a:pt x="6110030" y="1335427"/>
                </a:cubicBezTo>
                <a:cubicBezTo>
                  <a:pt x="6110030" y="1339551"/>
                  <a:pt x="6111095" y="1342355"/>
                  <a:pt x="6113624" y="1344879"/>
                </a:cubicBezTo>
                <a:cubicBezTo>
                  <a:pt x="6115221" y="1346483"/>
                  <a:pt x="6117751" y="1348345"/>
                  <a:pt x="6123608" y="1348345"/>
                </a:cubicBezTo>
                <a:cubicBezTo>
                  <a:pt x="6125737" y="1348345"/>
                  <a:pt x="6127468" y="1348076"/>
                  <a:pt x="6128932" y="1347407"/>
                </a:cubicBezTo>
                <a:cubicBezTo>
                  <a:pt x="6130530" y="1346878"/>
                  <a:pt x="6131728" y="1346081"/>
                  <a:pt x="6132659" y="1345018"/>
                </a:cubicBezTo>
                <a:cubicBezTo>
                  <a:pt x="6133724" y="1343820"/>
                  <a:pt x="6134656" y="1342480"/>
                  <a:pt x="6135322" y="1340751"/>
                </a:cubicBezTo>
                <a:cubicBezTo>
                  <a:pt x="6135987" y="1339153"/>
                  <a:pt x="6136387" y="1337291"/>
                  <a:pt x="6136387" y="1335294"/>
                </a:cubicBezTo>
                <a:cubicBezTo>
                  <a:pt x="6136387" y="1333430"/>
                  <a:pt x="6135987" y="1331700"/>
                  <a:pt x="6135322" y="1330101"/>
                </a:cubicBezTo>
                <a:cubicBezTo>
                  <a:pt x="6134656" y="1328507"/>
                  <a:pt x="6133724" y="1327172"/>
                  <a:pt x="6132659" y="1325972"/>
                </a:cubicBezTo>
                <a:cubicBezTo>
                  <a:pt x="6131594" y="1324911"/>
                  <a:pt x="6130263" y="1324111"/>
                  <a:pt x="6128666" y="1323313"/>
                </a:cubicBezTo>
                <a:cubicBezTo>
                  <a:pt x="6127202" y="1322647"/>
                  <a:pt x="6125604" y="1322386"/>
                  <a:pt x="6123608" y="1322386"/>
                </a:cubicBezTo>
                <a:close/>
                <a:moveTo>
                  <a:pt x="5905963" y="1322386"/>
                </a:moveTo>
                <a:cubicBezTo>
                  <a:pt x="5900106" y="1322386"/>
                  <a:pt x="5897576" y="1324379"/>
                  <a:pt x="5895979" y="1325972"/>
                </a:cubicBezTo>
                <a:cubicBezTo>
                  <a:pt x="5893450" y="1328636"/>
                  <a:pt x="5892385" y="1331441"/>
                  <a:pt x="5892385" y="1335427"/>
                </a:cubicBezTo>
                <a:cubicBezTo>
                  <a:pt x="5892385" y="1339551"/>
                  <a:pt x="5893450" y="1342355"/>
                  <a:pt x="5895979" y="1344879"/>
                </a:cubicBezTo>
                <a:cubicBezTo>
                  <a:pt x="5897576" y="1346483"/>
                  <a:pt x="5900106" y="1348345"/>
                  <a:pt x="5905963" y="1348345"/>
                </a:cubicBezTo>
                <a:cubicBezTo>
                  <a:pt x="5908093" y="1348345"/>
                  <a:pt x="5909823" y="1348076"/>
                  <a:pt x="5911287" y="1347407"/>
                </a:cubicBezTo>
                <a:cubicBezTo>
                  <a:pt x="5912751" y="1346878"/>
                  <a:pt x="5914083" y="1346081"/>
                  <a:pt x="5915014" y="1345018"/>
                </a:cubicBezTo>
                <a:cubicBezTo>
                  <a:pt x="5916079" y="1343820"/>
                  <a:pt x="5917011" y="1342480"/>
                  <a:pt x="5917677" y="1340751"/>
                </a:cubicBezTo>
                <a:cubicBezTo>
                  <a:pt x="5918342" y="1339153"/>
                  <a:pt x="5918742" y="1337291"/>
                  <a:pt x="5918742" y="1335294"/>
                </a:cubicBezTo>
                <a:cubicBezTo>
                  <a:pt x="5918742" y="1333430"/>
                  <a:pt x="5918342" y="1331700"/>
                  <a:pt x="5917677" y="1330101"/>
                </a:cubicBezTo>
                <a:cubicBezTo>
                  <a:pt x="5917011" y="1328507"/>
                  <a:pt x="5916079" y="1327172"/>
                  <a:pt x="5915014" y="1325972"/>
                </a:cubicBezTo>
                <a:cubicBezTo>
                  <a:pt x="5913950" y="1324911"/>
                  <a:pt x="5912618" y="1324111"/>
                  <a:pt x="5911021" y="1323313"/>
                </a:cubicBezTo>
                <a:cubicBezTo>
                  <a:pt x="5909557" y="1322647"/>
                  <a:pt x="5907826" y="1322386"/>
                  <a:pt x="5905963" y="1322386"/>
                </a:cubicBezTo>
                <a:close/>
                <a:moveTo>
                  <a:pt x="5688451" y="1322386"/>
                </a:moveTo>
                <a:cubicBezTo>
                  <a:pt x="5682594" y="1322386"/>
                  <a:pt x="5680064" y="1324379"/>
                  <a:pt x="5678467" y="1325972"/>
                </a:cubicBezTo>
                <a:cubicBezTo>
                  <a:pt x="5675938" y="1328636"/>
                  <a:pt x="5674873" y="1331441"/>
                  <a:pt x="5674873" y="1335427"/>
                </a:cubicBezTo>
                <a:cubicBezTo>
                  <a:pt x="5674873" y="1339551"/>
                  <a:pt x="5675938" y="1342355"/>
                  <a:pt x="5678467" y="1344879"/>
                </a:cubicBezTo>
                <a:cubicBezTo>
                  <a:pt x="5680064" y="1346483"/>
                  <a:pt x="5682594" y="1348345"/>
                  <a:pt x="5688451" y="1348345"/>
                </a:cubicBezTo>
                <a:cubicBezTo>
                  <a:pt x="5690447" y="1348345"/>
                  <a:pt x="5692178" y="1348076"/>
                  <a:pt x="5693775" y="1347407"/>
                </a:cubicBezTo>
                <a:cubicBezTo>
                  <a:pt x="5695239" y="1346878"/>
                  <a:pt x="5696571" y="1346081"/>
                  <a:pt x="5697502" y="1345018"/>
                </a:cubicBezTo>
                <a:cubicBezTo>
                  <a:pt x="5698567" y="1343820"/>
                  <a:pt x="5699499" y="1342480"/>
                  <a:pt x="5700165" y="1340751"/>
                </a:cubicBezTo>
                <a:cubicBezTo>
                  <a:pt x="5700830" y="1339153"/>
                  <a:pt x="5701230" y="1337291"/>
                  <a:pt x="5701230" y="1335294"/>
                </a:cubicBezTo>
                <a:cubicBezTo>
                  <a:pt x="5701230" y="1333430"/>
                  <a:pt x="5700830" y="1331700"/>
                  <a:pt x="5700165" y="1330101"/>
                </a:cubicBezTo>
                <a:cubicBezTo>
                  <a:pt x="5699499" y="1328507"/>
                  <a:pt x="5698567" y="1327172"/>
                  <a:pt x="5697502" y="1325972"/>
                </a:cubicBezTo>
                <a:cubicBezTo>
                  <a:pt x="5696437" y="1324911"/>
                  <a:pt x="5695106" y="1324111"/>
                  <a:pt x="5693509" y="1323313"/>
                </a:cubicBezTo>
                <a:cubicBezTo>
                  <a:pt x="5692045" y="1322647"/>
                  <a:pt x="5690314" y="1322386"/>
                  <a:pt x="5688451" y="1322386"/>
                </a:cubicBezTo>
                <a:close/>
                <a:moveTo>
                  <a:pt x="5470806" y="1322386"/>
                </a:moveTo>
                <a:cubicBezTo>
                  <a:pt x="5464949" y="1322386"/>
                  <a:pt x="5462419" y="1324379"/>
                  <a:pt x="5460822" y="1325972"/>
                </a:cubicBezTo>
                <a:cubicBezTo>
                  <a:pt x="5458293" y="1328636"/>
                  <a:pt x="5457228" y="1331441"/>
                  <a:pt x="5457228" y="1335427"/>
                </a:cubicBezTo>
                <a:cubicBezTo>
                  <a:pt x="5457228" y="1339551"/>
                  <a:pt x="5458293" y="1342355"/>
                  <a:pt x="5460822" y="1344879"/>
                </a:cubicBezTo>
                <a:cubicBezTo>
                  <a:pt x="5462419" y="1346483"/>
                  <a:pt x="5464949" y="1348345"/>
                  <a:pt x="5470806" y="1348345"/>
                </a:cubicBezTo>
                <a:cubicBezTo>
                  <a:pt x="5472802" y="1348345"/>
                  <a:pt x="5474666" y="1348076"/>
                  <a:pt x="5476130" y="1347407"/>
                </a:cubicBezTo>
                <a:cubicBezTo>
                  <a:pt x="5477594" y="1346878"/>
                  <a:pt x="5478926" y="1346081"/>
                  <a:pt x="5479857" y="1345018"/>
                </a:cubicBezTo>
                <a:cubicBezTo>
                  <a:pt x="5480922" y="1343820"/>
                  <a:pt x="5481854" y="1342480"/>
                  <a:pt x="5482520" y="1340751"/>
                </a:cubicBezTo>
                <a:cubicBezTo>
                  <a:pt x="5483319" y="1339153"/>
                  <a:pt x="5483585" y="1337291"/>
                  <a:pt x="5483585" y="1335294"/>
                </a:cubicBezTo>
                <a:cubicBezTo>
                  <a:pt x="5483585" y="1333430"/>
                  <a:pt x="5483185" y="1331700"/>
                  <a:pt x="5482520" y="1330101"/>
                </a:cubicBezTo>
                <a:cubicBezTo>
                  <a:pt x="5481854" y="1328507"/>
                  <a:pt x="5480922" y="1327172"/>
                  <a:pt x="5479857" y="1325972"/>
                </a:cubicBezTo>
                <a:cubicBezTo>
                  <a:pt x="5478793" y="1324911"/>
                  <a:pt x="5477461" y="1324111"/>
                  <a:pt x="5475864" y="1323313"/>
                </a:cubicBezTo>
                <a:cubicBezTo>
                  <a:pt x="5474400" y="1322647"/>
                  <a:pt x="5472669" y="1322386"/>
                  <a:pt x="5470806" y="1322386"/>
                </a:cubicBezTo>
                <a:close/>
                <a:moveTo>
                  <a:pt x="5253160" y="1322386"/>
                </a:moveTo>
                <a:cubicBezTo>
                  <a:pt x="5247303" y="1322386"/>
                  <a:pt x="5244774" y="1324379"/>
                  <a:pt x="5243177" y="1325972"/>
                </a:cubicBezTo>
                <a:cubicBezTo>
                  <a:pt x="5240647" y="1328636"/>
                  <a:pt x="5239583" y="1331441"/>
                  <a:pt x="5239583" y="1335427"/>
                </a:cubicBezTo>
                <a:cubicBezTo>
                  <a:pt x="5239583" y="1339551"/>
                  <a:pt x="5240647" y="1342355"/>
                  <a:pt x="5243177" y="1344879"/>
                </a:cubicBezTo>
                <a:cubicBezTo>
                  <a:pt x="5244774" y="1346483"/>
                  <a:pt x="5247303" y="1348345"/>
                  <a:pt x="5253160" y="1348345"/>
                </a:cubicBezTo>
                <a:cubicBezTo>
                  <a:pt x="5255157" y="1348345"/>
                  <a:pt x="5257021" y="1348076"/>
                  <a:pt x="5258485" y="1347407"/>
                </a:cubicBezTo>
                <a:cubicBezTo>
                  <a:pt x="5259949" y="1346878"/>
                  <a:pt x="5261280" y="1346081"/>
                  <a:pt x="5262212" y="1345018"/>
                </a:cubicBezTo>
                <a:cubicBezTo>
                  <a:pt x="5263277" y="1343820"/>
                  <a:pt x="5264209" y="1342480"/>
                  <a:pt x="5264875" y="1340751"/>
                </a:cubicBezTo>
                <a:cubicBezTo>
                  <a:pt x="5265673" y="1339153"/>
                  <a:pt x="5265939" y="1337291"/>
                  <a:pt x="5265939" y="1335294"/>
                </a:cubicBezTo>
                <a:cubicBezTo>
                  <a:pt x="5265939" y="1333430"/>
                  <a:pt x="5265540" y="1331700"/>
                  <a:pt x="5264875" y="1330101"/>
                </a:cubicBezTo>
                <a:cubicBezTo>
                  <a:pt x="5264209" y="1328507"/>
                  <a:pt x="5263277" y="1327172"/>
                  <a:pt x="5262212" y="1325972"/>
                </a:cubicBezTo>
                <a:cubicBezTo>
                  <a:pt x="5261147" y="1324911"/>
                  <a:pt x="5259816" y="1324111"/>
                  <a:pt x="5258219" y="1323313"/>
                </a:cubicBezTo>
                <a:cubicBezTo>
                  <a:pt x="5256754" y="1322647"/>
                  <a:pt x="5255024" y="1322386"/>
                  <a:pt x="5253160" y="1322386"/>
                </a:cubicBezTo>
                <a:close/>
                <a:moveTo>
                  <a:pt x="5035515" y="1322386"/>
                </a:moveTo>
                <a:cubicBezTo>
                  <a:pt x="5029658" y="1322386"/>
                  <a:pt x="5027129" y="1324379"/>
                  <a:pt x="5025532" y="1325972"/>
                </a:cubicBezTo>
                <a:cubicBezTo>
                  <a:pt x="5023002" y="1328636"/>
                  <a:pt x="5021938" y="1331441"/>
                  <a:pt x="5021938" y="1335427"/>
                </a:cubicBezTo>
                <a:cubicBezTo>
                  <a:pt x="5021938" y="1339551"/>
                  <a:pt x="5023002" y="1342355"/>
                  <a:pt x="5025532" y="1344879"/>
                </a:cubicBezTo>
                <a:cubicBezTo>
                  <a:pt x="5027129" y="1346483"/>
                  <a:pt x="5029658" y="1348345"/>
                  <a:pt x="5035515" y="1348345"/>
                </a:cubicBezTo>
                <a:cubicBezTo>
                  <a:pt x="5037645" y="1348345"/>
                  <a:pt x="5039376" y="1348076"/>
                  <a:pt x="5040840" y="1347407"/>
                </a:cubicBezTo>
                <a:cubicBezTo>
                  <a:pt x="5042304" y="1346878"/>
                  <a:pt x="5043636" y="1346081"/>
                  <a:pt x="5044567" y="1345018"/>
                </a:cubicBezTo>
                <a:cubicBezTo>
                  <a:pt x="5045632" y="1343820"/>
                  <a:pt x="5046564" y="1342480"/>
                  <a:pt x="5047230" y="1340751"/>
                </a:cubicBezTo>
                <a:cubicBezTo>
                  <a:pt x="5048028" y="1339153"/>
                  <a:pt x="5048294" y="1337291"/>
                  <a:pt x="5048294" y="1335294"/>
                </a:cubicBezTo>
                <a:cubicBezTo>
                  <a:pt x="5048294" y="1333430"/>
                  <a:pt x="5047895" y="1331700"/>
                  <a:pt x="5047230" y="1330101"/>
                </a:cubicBezTo>
                <a:cubicBezTo>
                  <a:pt x="5046564" y="1328507"/>
                  <a:pt x="5045632" y="1327172"/>
                  <a:pt x="5044567" y="1325972"/>
                </a:cubicBezTo>
                <a:cubicBezTo>
                  <a:pt x="5043502" y="1324911"/>
                  <a:pt x="5042171" y="1324111"/>
                  <a:pt x="5040574" y="1323313"/>
                </a:cubicBezTo>
                <a:cubicBezTo>
                  <a:pt x="5039110" y="1322647"/>
                  <a:pt x="5037379" y="1322386"/>
                  <a:pt x="5035515" y="1322386"/>
                </a:cubicBezTo>
                <a:close/>
                <a:moveTo>
                  <a:pt x="4817870" y="1322386"/>
                </a:moveTo>
                <a:cubicBezTo>
                  <a:pt x="4812013" y="1322386"/>
                  <a:pt x="4809484" y="1324379"/>
                  <a:pt x="4807887" y="1325972"/>
                </a:cubicBezTo>
                <a:cubicBezTo>
                  <a:pt x="4805357" y="1328636"/>
                  <a:pt x="4804293" y="1331441"/>
                  <a:pt x="4804293" y="1335427"/>
                </a:cubicBezTo>
                <a:cubicBezTo>
                  <a:pt x="4804293" y="1339551"/>
                  <a:pt x="4805357" y="1342355"/>
                  <a:pt x="4807887" y="1344879"/>
                </a:cubicBezTo>
                <a:cubicBezTo>
                  <a:pt x="4809484" y="1346483"/>
                  <a:pt x="4812013" y="1348345"/>
                  <a:pt x="4817870" y="1348345"/>
                </a:cubicBezTo>
                <a:cubicBezTo>
                  <a:pt x="4820000" y="1348345"/>
                  <a:pt x="4821731" y="1348076"/>
                  <a:pt x="4823195" y="1347407"/>
                </a:cubicBezTo>
                <a:cubicBezTo>
                  <a:pt x="4824659" y="1346878"/>
                  <a:pt x="4825857" y="1346081"/>
                  <a:pt x="4826922" y="1345018"/>
                </a:cubicBezTo>
                <a:cubicBezTo>
                  <a:pt x="4827987" y="1343820"/>
                  <a:pt x="4828919" y="1342480"/>
                  <a:pt x="4829585" y="1340751"/>
                </a:cubicBezTo>
                <a:cubicBezTo>
                  <a:pt x="4830383" y="1339153"/>
                  <a:pt x="4830650" y="1337291"/>
                  <a:pt x="4830650" y="1335294"/>
                </a:cubicBezTo>
                <a:cubicBezTo>
                  <a:pt x="4830650" y="1333430"/>
                  <a:pt x="4830250" y="1331700"/>
                  <a:pt x="4829585" y="1330101"/>
                </a:cubicBezTo>
                <a:cubicBezTo>
                  <a:pt x="4828919" y="1328507"/>
                  <a:pt x="4827987" y="1327172"/>
                  <a:pt x="4826922" y="1325972"/>
                </a:cubicBezTo>
                <a:cubicBezTo>
                  <a:pt x="4825857" y="1324911"/>
                  <a:pt x="4824526" y="1324111"/>
                  <a:pt x="4822929" y="1323313"/>
                </a:cubicBezTo>
                <a:cubicBezTo>
                  <a:pt x="4821465" y="1322647"/>
                  <a:pt x="4819734" y="1322386"/>
                  <a:pt x="4817870" y="1322386"/>
                </a:cubicBezTo>
                <a:close/>
                <a:moveTo>
                  <a:pt x="4600226" y="1322386"/>
                </a:moveTo>
                <a:cubicBezTo>
                  <a:pt x="4594369" y="1322386"/>
                  <a:pt x="4591839" y="1324379"/>
                  <a:pt x="4590242" y="1325972"/>
                </a:cubicBezTo>
                <a:cubicBezTo>
                  <a:pt x="4587713" y="1328636"/>
                  <a:pt x="4586648" y="1331441"/>
                  <a:pt x="4586648" y="1335427"/>
                </a:cubicBezTo>
                <a:cubicBezTo>
                  <a:pt x="4586648" y="1339551"/>
                  <a:pt x="4587713" y="1342355"/>
                  <a:pt x="4590242" y="1344879"/>
                </a:cubicBezTo>
                <a:cubicBezTo>
                  <a:pt x="4591839" y="1346483"/>
                  <a:pt x="4594369" y="1348345"/>
                  <a:pt x="4600226" y="1348345"/>
                </a:cubicBezTo>
                <a:cubicBezTo>
                  <a:pt x="4602355" y="1348345"/>
                  <a:pt x="4604086" y="1348076"/>
                  <a:pt x="4605550" y="1347407"/>
                </a:cubicBezTo>
                <a:cubicBezTo>
                  <a:pt x="4607148" y="1346878"/>
                  <a:pt x="4608346" y="1346081"/>
                  <a:pt x="4609277" y="1345018"/>
                </a:cubicBezTo>
                <a:cubicBezTo>
                  <a:pt x="4610342" y="1343820"/>
                  <a:pt x="4611274" y="1342480"/>
                  <a:pt x="4611940" y="1340751"/>
                </a:cubicBezTo>
                <a:cubicBezTo>
                  <a:pt x="4612605" y="1339153"/>
                  <a:pt x="4613005" y="1337291"/>
                  <a:pt x="4613005" y="1335294"/>
                </a:cubicBezTo>
                <a:cubicBezTo>
                  <a:pt x="4613005" y="1333430"/>
                  <a:pt x="4612605" y="1331700"/>
                  <a:pt x="4611940" y="1330101"/>
                </a:cubicBezTo>
                <a:cubicBezTo>
                  <a:pt x="4611274" y="1328507"/>
                  <a:pt x="4610342" y="1327172"/>
                  <a:pt x="4609277" y="1325972"/>
                </a:cubicBezTo>
                <a:cubicBezTo>
                  <a:pt x="4608212" y="1324911"/>
                  <a:pt x="4606881" y="1324111"/>
                  <a:pt x="4605284" y="1323313"/>
                </a:cubicBezTo>
                <a:cubicBezTo>
                  <a:pt x="4603820" y="1322647"/>
                  <a:pt x="4602222" y="1322386"/>
                  <a:pt x="4600226" y="1322386"/>
                </a:cubicBezTo>
                <a:close/>
                <a:moveTo>
                  <a:pt x="4382713" y="1322386"/>
                </a:moveTo>
                <a:cubicBezTo>
                  <a:pt x="4376857" y="1322386"/>
                  <a:pt x="4374327" y="1324379"/>
                  <a:pt x="4372730" y="1325972"/>
                </a:cubicBezTo>
                <a:cubicBezTo>
                  <a:pt x="4370201" y="1328636"/>
                  <a:pt x="4369136" y="1331441"/>
                  <a:pt x="4369136" y="1335427"/>
                </a:cubicBezTo>
                <a:cubicBezTo>
                  <a:pt x="4369136" y="1339551"/>
                  <a:pt x="4370201" y="1342355"/>
                  <a:pt x="4372730" y="1344879"/>
                </a:cubicBezTo>
                <a:cubicBezTo>
                  <a:pt x="4374327" y="1346483"/>
                  <a:pt x="4376857" y="1348345"/>
                  <a:pt x="4382713" y="1348345"/>
                </a:cubicBezTo>
                <a:cubicBezTo>
                  <a:pt x="4384710" y="1348345"/>
                  <a:pt x="4386441" y="1348076"/>
                  <a:pt x="4388038" y="1347407"/>
                </a:cubicBezTo>
                <a:cubicBezTo>
                  <a:pt x="4389502" y="1346878"/>
                  <a:pt x="4390834" y="1346081"/>
                  <a:pt x="4391765" y="1345018"/>
                </a:cubicBezTo>
                <a:cubicBezTo>
                  <a:pt x="4392830" y="1343820"/>
                  <a:pt x="4393762" y="1342480"/>
                  <a:pt x="4394428" y="1340751"/>
                </a:cubicBezTo>
                <a:cubicBezTo>
                  <a:pt x="4395093" y="1339153"/>
                  <a:pt x="4395493" y="1337291"/>
                  <a:pt x="4395493" y="1335294"/>
                </a:cubicBezTo>
                <a:cubicBezTo>
                  <a:pt x="4395493" y="1333430"/>
                  <a:pt x="4395093" y="1331700"/>
                  <a:pt x="4394428" y="1330101"/>
                </a:cubicBezTo>
                <a:cubicBezTo>
                  <a:pt x="4393762" y="1328507"/>
                  <a:pt x="4392830" y="1327172"/>
                  <a:pt x="4391765" y="1325972"/>
                </a:cubicBezTo>
                <a:cubicBezTo>
                  <a:pt x="4390700" y="1324911"/>
                  <a:pt x="4389369" y="1324111"/>
                  <a:pt x="4387772" y="1323313"/>
                </a:cubicBezTo>
                <a:cubicBezTo>
                  <a:pt x="4386308" y="1322647"/>
                  <a:pt x="4384710" y="1322386"/>
                  <a:pt x="4382713" y="1322386"/>
                </a:cubicBezTo>
                <a:close/>
                <a:moveTo>
                  <a:pt x="4165068" y="1322386"/>
                </a:moveTo>
                <a:cubicBezTo>
                  <a:pt x="4159211" y="1322386"/>
                  <a:pt x="4156681" y="1324379"/>
                  <a:pt x="4155084" y="1325972"/>
                </a:cubicBezTo>
                <a:cubicBezTo>
                  <a:pt x="4152555" y="1328636"/>
                  <a:pt x="4151490" y="1331441"/>
                  <a:pt x="4151490" y="1335427"/>
                </a:cubicBezTo>
                <a:cubicBezTo>
                  <a:pt x="4151490" y="1339551"/>
                  <a:pt x="4152555" y="1342355"/>
                  <a:pt x="4155084" y="1344879"/>
                </a:cubicBezTo>
                <a:cubicBezTo>
                  <a:pt x="4156681" y="1346483"/>
                  <a:pt x="4159211" y="1348345"/>
                  <a:pt x="4165068" y="1348345"/>
                </a:cubicBezTo>
                <a:cubicBezTo>
                  <a:pt x="4167064" y="1348345"/>
                  <a:pt x="4168928" y="1348076"/>
                  <a:pt x="4170392" y="1347407"/>
                </a:cubicBezTo>
                <a:cubicBezTo>
                  <a:pt x="4171856" y="1346878"/>
                  <a:pt x="4173188" y="1346081"/>
                  <a:pt x="4174119" y="1345018"/>
                </a:cubicBezTo>
                <a:cubicBezTo>
                  <a:pt x="4175184" y="1343820"/>
                  <a:pt x="4176116" y="1342480"/>
                  <a:pt x="4176782" y="1340751"/>
                </a:cubicBezTo>
                <a:cubicBezTo>
                  <a:pt x="4177447" y="1339153"/>
                  <a:pt x="4177847" y="1337291"/>
                  <a:pt x="4177847" y="1335294"/>
                </a:cubicBezTo>
                <a:cubicBezTo>
                  <a:pt x="4177847" y="1333430"/>
                  <a:pt x="4177447" y="1331700"/>
                  <a:pt x="4176782" y="1330101"/>
                </a:cubicBezTo>
                <a:cubicBezTo>
                  <a:pt x="4176116" y="1328507"/>
                  <a:pt x="4175184" y="1327172"/>
                  <a:pt x="4174119" y="1325972"/>
                </a:cubicBezTo>
                <a:cubicBezTo>
                  <a:pt x="4173054" y="1324911"/>
                  <a:pt x="4171723" y="1324111"/>
                  <a:pt x="4170126" y="1323313"/>
                </a:cubicBezTo>
                <a:cubicBezTo>
                  <a:pt x="4168662" y="1322647"/>
                  <a:pt x="4167064" y="1322386"/>
                  <a:pt x="4165068" y="1322386"/>
                </a:cubicBezTo>
                <a:close/>
                <a:moveTo>
                  <a:pt x="3947501" y="1322386"/>
                </a:moveTo>
                <a:cubicBezTo>
                  <a:pt x="3941643" y="1322386"/>
                  <a:pt x="3939114" y="1324379"/>
                  <a:pt x="3937517" y="1325972"/>
                </a:cubicBezTo>
                <a:cubicBezTo>
                  <a:pt x="3934986" y="1328636"/>
                  <a:pt x="3933923" y="1331441"/>
                  <a:pt x="3933923" y="1335427"/>
                </a:cubicBezTo>
                <a:cubicBezTo>
                  <a:pt x="3933923" y="1339551"/>
                  <a:pt x="3934986" y="1342355"/>
                  <a:pt x="3937517" y="1344879"/>
                </a:cubicBezTo>
                <a:cubicBezTo>
                  <a:pt x="3939114" y="1346483"/>
                  <a:pt x="3941643" y="1348345"/>
                  <a:pt x="3947501" y="1348345"/>
                </a:cubicBezTo>
                <a:cubicBezTo>
                  <a:pt x="3949498" y="1348345"/>
                  <a:pt x="3951360" y="1348076"/>
                  <a:pt x="3952826" y="1347407"/>
                </a:cubicBezTo>
                <a:cubicBezTo>
                  <a:pt x="3954290" y="1346878"/>
                  <a:pt x="3955620" y="1346081"/>
                  <a:pt x="3956553" y="1345018"/>
                </a:cubicBezTo>
                <a:cubicBezTo>
                  <a:pt x="3957618" y="1343820"/>
                  <a:pt x="3958550" y="1342480"/>
                  <a:pt x="3959216" y="1340751"/>
                </a:cubicBezTo>
                <a:cubicBezTo>
                  <a:pt x="3959881" y="1339153"/>
                  <a:pt x="3960280" y="1337291"/>
                  <a:pt x="3960280" y="1335294"/>
                </a:cubicBezTo>
                <a:cubicBezTo>
                  <a:pt x="3960280" y="1333430"/>
                  <a:pt x="3959881" y="1331700"/>
                  <a:pt x="3959216" y="1330101"/>
                </a:cubicBezTo>
                <a:cubicBezTo>
                  <a:pt x="3958550" y="1328507"/>
                  <a:pt x="3957618" y="1327172"/>
                  <a:pt x="3956553" y="1325972"/>
                </a:cubicBezTo>
                <a:cubicBezTo>
                  <a:pt x="3955487" y="1324911"/>
                  <a:pt x="3954156" y="1324111"/>
                  <a:pt x="3952559" y="1323313"/>
                </a:cubicBezTo>
                <a:cubicBezTo>
                  <a:pt x="3951094" y="1322647"/>
                  <a:pt x="3949498" y="1322386"/>
                  <a:pt x="3947501" y="1322386"/>
                </a:cubicBezTo>
                <a:close/>
                <a:moveTo>
                  <a:pt x="3729851" y="1322386"/>
                </a:moveTo>
                <a:cubicBezTo>
                  <a:pt x="3723994" y="1322386"/>
                  <a:pt x="3721465" y="1324379"/>
                  <a:pt x="3719865" y="1325972"/>
                </a:cubicBezTo>
                <a:cubicBezTo>
                  <a:pt x="3717336" y="1328636"/>
                  <a:pt x="3716273" y="1331441"/>
                  <a:pt x="3716273" y="1335427"/>
                </a:cubicBezTo>
                <a:cubicBezTo>
                  <a:pt x="3716273" y="1339551"/>
                  <a:pt x="3717336" y="1342355"/>
                  <a:pt x="3719865" y="1344879"/>
                </a:cubicBezTo>
                <a:cubicBezTo>
                  <a:pt x="3721465" y="1346483"/>
                  <a:pt x="3723994" y="1348345"/>
                  <a:pt x="3729851" y="1348345"/>
                </a:cubicBezTo>
                <a:cubicBezTo>
                  <a:pt x="3731981" y="1348345"/>
                  <a:pt x="3733712" y="1348076"/>
                  <a:pt x="3735176" y="1347407"/>
                </a:cubicBezTo>
                <a:cubicBezTo>
                  <a:pt x="3736640" y="1346878"/>
                  <a:pt x="3737972" y="1346081"/>
                  <a:pt x="3738903" y="1345018"/>
                </a:cubicBezTo>
                <a:cubicBezTo>
                  <a:pt x="3739968" y="1343820"/>
                  <a:pt x="3740900" y="1342480"/>
                  <a:pt x="3741566" y="1340751"/>
                </a:cubicBezTo>
                <a:cubicBezTo>
                  <a:pt x="3742231" y="1339153"/>
                  <a:pt x="3742630" y="1337291"/>
                  <a:pt x="3742630" y="1335294"/>
                </a:cubicBezTo>
                <a:cubicBezTo>
                  <a:pt x="3742630" y="1333430"/>
                  <a:pt x="3742231" y="1331700"/>
                  <a:pt x="3741566" y="1330101"/>
                </a:cubicBezTo>
                <a:cubicBezTo>
                  <a:pt x="3740900" y="1328507"/>
                  <a:pt x="3739968" y="1327172"/>
                  <a:pt x="3738903" y="1325972"/>
                </a:cubicBezTo>
                <a:cubicBezTo>
                  <a:pt x="3737838" y="1324911"/>
                  <a:pt x="3736507" y="1324111"/>
                  <a:pt x="3734910" y="1323313"/>
                </a:cubicBezTo>
                <a:cubicBezTo>
                  <a:pt x="3733445" y="1322647"/>
                  <a:pt x="3731848" y="1322386"/>
                  <a:pt x="3729851" y="1322386"/>
                </a:cubicBezTo>
                <a:close/>
                <a:moveTo>
                  <a:pt x="3512202" y="1322386"/>
                </a:moveTo>
                <a:cubicBezTo>
                  <a:pt x="3506345" y="1322386"/>
                  <a:pt x="3503815" y="1324379"/>
                  <a:pt x="3502217" y="1325972"/>
                </a:cubicBezTo>
                <a:cubicBezTo>
                  <a:pt x="3499687" y="1328636"/>
                  <a:pt x="3498624" y="1331441"/>
                  <a:pt x="3498624" y="1335427"/>
                </a:cubicBezTo>
                <a:cubicBezTo>
                  <a:pt x="3498624" y="1339551"/>
                  <a:pt x="3499687" y="1342355"/>
                  <a:pt x="3502217" y="1344879"/>
                </a:cubicBezTo>
                <a:cubicBezTo>
                  <a:pt x="3503815" y="1346483"/>
                  <a:pt x="3506345" y="1348345"/>
                  <a:pt x="3512202" y="1348345"/>
                </a:cubicBezTo>
                <a:cubicBezTo>
                  <a:pt x="3514332" y="1348345"/>
                  <a:pt x="3516063" y="1348076"/>
                  <a:pt x="3517527" y="1347407"/>
                </a:cubicBezTo>
                <a:cubicBezTo>
                  <a:pt x="3518991" y="1346878"/>
                  <a:pt x="3520323" y="1346081"/>
                  <a:pt x="3521254" y="1345018"/>
                </a:cubicBezTo>
                <a:cubicBezTo>
                  <a:pt x="3522319" y="1343820"/>
                  <a:pt x="3523251" y="1342480"/>
                  <a:pt x="3523917" y="1340751"/>
                </a:cubicBezTo>
                <a:cubicBezTo>
                  <a:pt x="3524582" y="1339153"/>
                  <a:pt x="3524982" y="1337291"/>
                  <a:pt x="3524982" y="1335294"/>
                </a:cubicBezTo>
                <a:cubicBezTo>
                  <a:pt x="3524982" y="1333430"/>
                  <a:pt x="3524582" y="1331700"/>
                  <a:pt x="3523917" y="1330101"/>
                </a:cubicBezTo>
                <a:cubicBezTo>
                  <a:pt x="3523251" y="1328507"/>
                  <a:pt x="3522319" y="1327172"/>
                  <a:pt x="3521254" y="1325972"/>
                </a:cubicBezTo>
                <a:cubicBezTo>
                  <a:pt x="3520189" y="1324911"/>
                  <a:pt x="3518858" y="1324111"/>
                  <a:pt x="3517261" y="1323313"/>
                </a:cubicBezTo>
                <a:cubicBezTo>
                  <a:pt x="3515797" y="1322647"/>
                  <a:pt x="3514199" y="1322386"/>
                  <a:pt x="3512202" y="1322386"/>
                </a:cubicBezTo>
                <a:close/>
                <a:moveTo>
                  <a:pt x="3294686" y="1322386"/>
                </a:moveTo>
                <a:cubicBezTo>
                  <a:pt x="3288829" y="1322386"/>
                  <a:pt x="3286299" y="1324379"/>
                  <a:pt x="3284702" y="1325972"/>
                </a:cubicBezTo>
                <a:cubicBezTo>
                  <a:pt x="3282171" y="1328636"/>
                  <a:pt x="3281108" y="1331441"/>
                  <a:pt x="3281108" y="1335427"/>
                </a:cubicBezTo>
                <a:cubicBezTo>
                  <a:pt x="3281108" y="1339551"/>
                  <a:pt x="3282171" y="1342355"/>
                  <a:pt x="3284702" y="1344879"/>
                </a:cubicBezTo>
                <a:cubicBezTo>
                  <a:pt x="3286299" y="1346483"/>
                  <a:pt x="3288829" y="1348345"/>
                  <a:pt x="3294686" y="1348345"/>
                </a:cubicBezTo>
                <a:cubicBezTo>
                  <a:pt x="3296683" y="1348345"/>
                  <a:pt x="3298413" y="1348076"/>
                  <a:pt x="3300011" y="1347407"/>
                </a:cubicBezTo>
                <a:cubicBezTo>
                  <a:pt x="3301475" y="1346878"/>
                  <a:pt x="3302807" y="1346081"/>
                  <a:pt x="3303738" y="1345018"/>
                </a:cubicBezTo>
                <a:cubicBezTo>
                  <a:pt x="3304804" y="1343820"/>
                  <a:pt x="3305735" y="1342480"/>
                  <a:pt x="3306401" y="1340751"/>
                </a:cubicBezTo>
                <a:cubicBezTo>
                  <a:pt x="3307066" y="1339153"/>
                  <a:pt x="3307465" y="1337291"/>
                  <a:pt x="3307465" y="1335294"/>
                </a:cubicBezTo>
                <a:cubicBezTo>
                  <a:pt x="3307465" y="1333430"/>
                  <a:pt x="3307066" y="1331700"/>
                  <a:pt x="3306401" y="1330101"/>
                </a:cubicBezTo>
                <a:cubicBezTo>
                  <a:pt x="3305735" y="1328507"/>
                  <a:pt x="3304804" y="1327172"/>
                  <a:pt x="3303738" y="1325972"/>
                </a:cubicBezTo>
                <a:cubicBezTo>
                  <a:pt x="3302673" y="1324911"/>
                  <a:pt x="3301342" y="1324111"/>
                  <a:pt x="3299745" y="1323313"/>
                </a:cubicBezTo>
                <a:cubicBezTo>
                  <a:pt x="3298281" y="1322647"/>
                  <a:pt x="3296683" y="1322386"/>
                  <a:pt x="3294686" y="1322386"/>
                </a:cubicBezTo>
                <a:close/>
                <a:moveTo>
                  <a:pt x="3077170" y="1322386"/>
                </a:moveTo>
                <a:cubicBezTo>
                  <a:pt x="3071313" y="1322386"/>
                  <a:pt x="3068783" y="1324379"/>
                  <a:pt x="3067187" y="1325972"/>
                </a:cubicBezTo>
                <a:cubicBezTo>
                  <a:pt x="3064523" y="1328636"/>
                  <a:pt x="3063459" y="1331441"/>
                  <a:pt x="3063459" y="1335427"/>
                </a:cubicBezTo>
                <a:cubicBezTo>
                  <a:pt x="3063459" y="1339551"/>
                  <a:pt x="3064523" y="1342355"/>
                  <a:pt x="3067054" y="1344879"/>
                </a:cubicBezTo>
                <a:cubicBezTo>
                  <a:pt x="3068650" y="1346483"/>
                  <a:pt x="3071180" y="1348345"/>
                  <a:pt x="3077037" y="1348345"/>
                </a:cubicBezTo>
                <a:cubicBezTo>
                  <a:pt x="3079034" y="1348345"/>
                  <a:pt x="3080764" y="1348076"/>
                  <a:pt x="3082495" y="1347407"/>
                </a:cubicBezTo>
                <a:cubicBezTo>
                  <a:pt x="3083960" y="1346878"/>
                  <a:pt x="3085291" y="1346081"/>
                  <a:pt x="3086223" y="1345018"/>
                </a:cubicBezTo>
                <a:cubicBezTo>
                  <a:pt x="3087287" y="1343820"/>
                  <a:pt x="3088219" y="1342480"/>
                  <a:pt x="3088885" y="1340751"/>
                </a:cubicBezTo>
                <a:cubicBezTo>
                  <a:pt x="3089550" y="1339153"/>
                  <a:pt x="3089817" y="1337291"/>
                  <a:pt x="3089817" y="1335294"/>
                </a:cubicBezTo>
                <a:cubicBezTo>
                  <a:pt x="3089817" y="1333430"/>
                  <a:pt x="3089550" y="1331700"/>
                  <a:pt x="3088885" y="1330101"/>
                </a:cubicBezTo>
                <a:cubicBezTo>
                  <a:pt x="3088219" y="1328507"/>
                  <a:pt x="3087287" y="1327172"/>
                  <a:pt x="3086223" y="1325972"/>
                </a:cubicBezTo>
                <a:cubicBezTo>
                  <a:pt x="3085158" y="1324911"/>
                  <a:pt x="3083826" y="1324111"/>
                  <a:pt x="3082230" y="1323313"/>
                </a:cubicBezTo>
                <a:cubicBezTo>
                  <a:pt x="3080764" y="1322647"/>
                  <a:pt x="3079167" y="1322386"/>
                  <a:pt x="3077170" y="1322386"/>
                </a:cubicBezTo>
                <a:close/>
                <a:moveTo>
                  <a:pt x="2859388" y="1322386"/>
                </a:moveTo>
                <a:cubicBezTo>
                  <a:pt x="2853531" y="1322386"/>
                  <a:pt x="2851002" y="1324379"/>
                  <a:pt x="2849405" y="1325972"/>
                </a:cubicBezTo>
                <a:cubicBezTo>
                  <a:pt x="2846873" y="1328636"/>
                  <a:pt x="2845810" y="1331441"/>
                  <a:pt x="2845810" y="1335427"/>
                </a:cubicBezTo>
                <a:cubicBezTo>
                  <a:pt x="2845810" y="1339551"/>
                  <a:pt x="2846873" y="1342355"/>
                  <a:pt x="2849405" y="1344879"/>
                </a:cubicBezTo>
                <a:cubicBezTo>
                  <a:pt x="2851002" y="1346483"/>
                  <a:pt x="2853531" y="1348345"/>
                  <a:pt x="2859388" y="1348345"/>
                </a:cubicBezTo>
                <a:cubicBezTo>
                  <a:pt x="2861385" y="1348345"/>
                  <a:pt x="2863249" y="1348076"/>
                  <a:pt x="2864713" y="1347407"/>
                </a:cubicBezTo>
                <a:cubicBezTo>
                  <a:pt x="2866311" y="1346878"/>
                  <a:pt x="2867510" y="1346081"/>
                  <a:pt x="2868440" y="1345018"/>
                </a:cubicBezTo>
                <a:cubicBezTo>
                  <a:pt x="2869505" y="1343820"/>
                  <a:pt x="2870437" y="1342480"/>
                  <a:pt x="2871103" y="1340751"/>
                </a:cubicBezTo>
                <a:cubicBezTo>
                  <a:pt x="2871635" y="1339153"/>
                  <a:pt x="2872034" y="1337291"/>
                  <a:pt x="2872034" y="1335294"/>
                </a:cubicBezTo>
                <a:cubicBezTo>
                  <a:pt x="2872034" y="1333430"/>
                  <a:pt x="2871768" y="1331700"/>
                  <a:pt x="2871103" y="1330101"/>
                </a:cubicBezTo>
                <a:cubicBezTo>
                  <a:pt x="2870437" y="1328507"/>
                  <a:pt x="2869505" y="1327172"/>
                  <a:pt x="2868440" y="1325972"/>
                </a:cubicBezTo>
                <a:cubicBezTo>
                  <a:pt x="2867376" y="1324911"/>
                  <a:pt x="2866044" y="1324111"/>
                  <a:pt x="2864448" y="1323313"/>
                </a:cubicBezTo>
                <a:cubicBezTo>
                  <a:pt x="2862984" y="1322647"/>
                  <a:pt x="2861385" y="1322386"/>
                  <a:pt x="2859388" y="1322386"/>
                </a:cubicBezTo>
                <a:close/>
                <a:moveTo>
                  <a:pt x="2641739" y="1322386"/>
                </a:moveTo>
                <a:cubicBezTo>
                  <a:pt x="2635882" y="1322386"/>
                  <a:pt x="2633353" y="1324379"/>
                  <a:pt x="2631756" y="1325972"/>
                </a:cubicBezTo>
                <a:cubicBezTo>
                  <a:pt x="2629226" y="1328636"/>
                  <a:pt x="2628162" y="1331441"/>
                  <a:pt x="2628162" y="1335427"/>
                </a:cubicBezTo>
                <a:cubicBezTo>
                  <a:pt x="2628162" y="1339551"/>
                  <a:pt x="2629226" y="1342355"/>
                  <a:pt x="2631756" y="1344879"/>
                </a:cubicBezTo>
                <a:cubicBezTo>
                  <a:pt x="2633353" y="1346483"/>
                  <a:pt x="2635882" y="1348345"/>
                  <a:pt x="2641739" y="1348345"/>
                </a:cubicBezTo>
                <a:cubicBezTo>
                  <a:pt x="2643736" y="1348345"/>
                  <a:pt x="2645601" y="1348076"/>
                  <a:pt x="2647065" y="1347407"/>
                </a:cubicBezTo>
                <a:cubicBezTo>
                  <a:pt x="2648661" y="1346878"/>
                  <a:pt x="2649859" y="1346081"/>
                  <a:pt x="2650791" y="1345018"/>
                </a:cubicBezTo>
                <a:cubicBezTo>
                  <a:pt x="2651857" y="1343820"/>
                  <a:pt x="2652788" y="1342480"/>
                  <a:pt x="2653455" y="1340751"/>
                </a:cubicBezTo>
                <a:cubicBezTo>
                  <a:pt x="2653986" y="1339153"/>
                  <a:pt x="2654385" y="1337291"/>
                  <a:pt x="2654385" y="1335294"/>
                </a:cubicBezTo>
                <a:cubicBezTo>
                  <a:pt x="2654385" y="1333430"/>
                  <a:pt x="2654120" y="1331700"/>
                  <a:pt x="2653455" y="1330101"/>
                </a:cubicBezTo>
                <a:cubicBezTo>
                  <a:pt x="2652788" y="1328507"/>
                  <a:pt x="2651857" y="1327172"/>
                  <a:pt x="2650791" y="1325972"/>
                </a:cubicBezTo>
                <a:cubicBezTo>
                  <a:pt x="2649726" y="1324911"/>
                  <a:pt x="2648395" y="1324111"/>
                  <a:pt x="2646798" y="1323313"/>
                </a:cubicBezTo>
                <a:cubicBezTo>
                  <a:pt x="2645333" y="1322647"/>
                  <a:pt x="2643736" y="1322386"/>
                  <a:pt x="2641739" y="1322386"/>
                </a:cubicBezTo>
                <a:close/>
                <a:moveTo>
                  <a:pt x="2424090" y="1322386"/>
                </a:moveTo>
                <a:cubicBezTo>
                  <a:pt x="2418233" y="1322386"/>
                  <a:pt x="2415704" y="1324379"/>
                  <a:pt x="2414107" y="1325972"/>
                </a:cubicBezTo>
                <a:cubicBezTo>
                  <a:pt x="2411576" y="1328636"/>
                  <a:pt x="2410513" y="1331441"/>
                  <a:pt x="2410513" y="1335427"/>
                </a:cubicBezTo>
                <a:cubicBezTo>
                  <a:pt x="2410513" y="1339551"/>
                  <a:pt x="2411576" y="1342355"/>
                  <a:pt x="2414107" y="1344879"/>
                </a:cubicBezTo>
                <a:cubicBezTo>
                  <a:pt x="2415704" y="1346483"/>
                  <a:pt x="2418233" y="1348345"/>
                  <a:pt x="2424090" y="1348345"/>
                </a:cubicBezTo>
                <a:cubicBezTo>
                  <a:pt x="2426220" y="1348345"/>
                  <a:pt x="2427951" y="1348076"/>
                  <a:pt x="2429415" y="1347407"/>
                </a:cubicBezTo>
                <a:cubicBezTo>
                  <a:pt x="2431013" y="1346878"/>
                  <a:pt x="2432211" y="1346081"/>
                  <a:pt x="2433142" y="1345018"/>
                </a:cubicBezTo>
                <a:cubicBezTo>
                  <a:pt x="2434207" y="1343820"/>
                  <a:pt x="2435139" y="1342480"/>
                  <a:pt x="2435805" y="1340751"/>
                </a:cubicBezTo>
                <a:cubicBezTo>
                  <a:pt x="2436337" y="1339153"/>
                  <a:pt x="2436736" y="1337291"/>
                  <a:pt x="2436736" y="1335294"/>
                </a:cubicBezTo>
                <a:cubicBezTo>
                  <a:pt x="2436736" y="1333430"/>
                  <a:pt x="2436470" y="1331700"/>
                  <a:pt x="2435805" y="1330101"/>
                </a:cubicBezTo>
                <a:cubicBezTo>
                  <a:pt x="2435139" y="1328507"/>
                  <a:pt x="2434207" y="1327172"/>
                  <a:pt x="2433142" y="1325972"/>
                </a:cubicBezTo>
                <a:cubicBezTo>
                  <a:pt x="2432078" y="1324911"/>
                  <a:pt x="2430747" y="1324111"/>
                  <a:pt x="2429149" y="1323313"/>
                </a:cubicBezTo>
                <a:cubicBezTo>
                  <a:pt x="2427685" y="1322647"/>
                  <a:pt x="2426087" y="1322386"/>
                  <a:pt x="2424090" y="1322386"/>
                </a:cubicBezTo>
                <a:close/>
                <a:moveTo>
                  <a:pt x="2206441" y="1322386"/>
                </a:moveTo>
                <a:cubicBezTo>
                  <a:pt x="2200584" y="1322386"/>
                  <a:pt x="2198055" y="1324379"/>
                  <a:pt x="2196458" y="1325972"/>
                </a:cubicBezTo>
                <a:cubicBezTo>
                  <a:pt x="2193928" y="1328636"/>
                  <a:pt x="2192863" y="1331441"/>
                  <a:pt x="2192863" y="1335427"/>
                </a:cubicBezTo>
                <a:cubicBezTo>
                  <a:pt x="2192863" y="1339551"/>
                  <a:pt x="2193928" y="1342355"/>
                  <a:pt x="2196458" y="1344879"/>
                </a:cubicBezTo>
                <a:cubicBezTo>
                  <a:pt x="2198055" y="1346483"/>
                  <a:pt x="2200584" y="1348345"/>
                  <a:pt x="2206441" y="1348345"/>
                </a:cubicBezTo>
                <a:cubicBezTo>
                  <a:pt x="2208571" y="1348345"/>
                  <a:pt x="2210302" y="1348076"/>
                  <a:pt x="2211766" y="1347407"/>
                </a:cubicBezTo>
                <a:cubicBezTo>
                  <a:pt x="2213363" y="1346878"/>
                  <a:pt x="2214561" y="1346081"/>
                  <a:pt x="2215493" y="1345018"/>
                </a:cubicBezTo>
                <a:cubicBezTo>
                  <a:pt x="2216558" y="1343820"/>
                  <a:pt x="2217490" y="1342480"/>
                  <a:pt x="2218156" y="1340751"/>
                </a:cubicBezTo>
                <a:cubicBezTo>
                  <a:pt x="2218688" y="1339153"/>
                  <a:pt x="2219087" y="1337291"/>
                  <a:pt x="2219087" y="1335294"/>
                </a:cubicBezTo>
                <a:cubicBezTo>
                  <a:pt x="2219087" y="1333430"/>
                  <a:pt x="2218821" y="1331700"/>
                  <a:pt x="2218156" y="1330101"/>
                </a:cubicBezTo>
                <a:cubicBezTo>
                  <a:pt x="2217490" y="1328507"/>
                  <a:pt x="2216558" y="1327172"/>
                  <a:pt x="2215493" y="1325972"/>
                </a:cubicBezTo>
                <a:cubicBezTo>
                  <a:pt x="2214428" y="1324911"/>
                  <a:pt x="2213097" y="1324111"/>
                  <a:pt x="2211500" y="1323313"/>
                </a:cubicBezTo>
                <a:cubicBezTo>
                  <a:pt x="2210035" y="1322647"/>
                  <a:pt x="2208438" y="1322386"/>
                  <a:pt x="2206441" y="1322386"/>
                </a:cubicBezTo>
                <a:close/>
                <a:moveTo>
                  <a:pt x="1988925" y="1322386"/>
                </a:moveTo>
                <a:cubicBezTo>
                  <a:pt x="1983068" y="1322386"/>
                  <a:pt x="1980539" y="1324379"/>
                  <a:pt x="1978942" y="1325972"/>
                </a:cubicBezTo>
                <a:cubicBezTo>
                  <a:pt x="1976412" y="1328636"/>
                  <a:pt x="1975348" y="1331441"/>
                  <a:pt x="1975348" y="1335427"/>
                </a:cubicBezTo>
                <a:cubicBezTo>
                  <a:pt x="1975348" y="1339551"/>
                  <a:pt x="1976412" y="1342355"/>
                  <a:pt x="1978942" y="1344879"/>
                </a:cubicBezTo>
                <a:cubicBezTo>
                  <a:pt x="1980539" y="1346483"/>
                  <a:pt x="1983068" y="1348345"/>
                  <a:pt x="1988925" y="1348345"/>
                </a:cubicBezTo>
                <a:cubicBezTo>
                  <a:pt x="1990922" y="1348345"/>
                  <a:pt x="1992653" y="1348076"/>
                  <a:pt x="1994250" y="1347407"/>
                </a:cubicBezTo>
                <a:cubicBezTo>
                  <a:pt x="1995848" y="1346878"/>
                  <a:pt x="1997046" y="1346081"/>
                  <a:pt x="1997977" y="1345018"/>
                </a:cubicBezTo>
                <a:cubicBezTo>
                  <a:pt x="1999042" y="1343820"/>
                  <a:pt x="1999974" y="1342480"/>
                  <a:pt x="2000640" y="1340751"/>
                </a:cubicBezTo>
                <a:cubicBezTo>
                  <a:pt x="2001172" y="1339153"/>
                  <a:pt x="2001571" y="1337291"/>
                  <a:pt x="2001571" y="1335294"/>
                </a:cubicBezTo>
                <a:cubicBezTo>
                  <a:pt x="2001571" y="1333430"/>
                  <a:pt x="2001305" y="1331700"/>
                  <a:pt x="2000640" y="1330101"/>
                </a:cubicBezTo>
                <a:cubicBezTo>
                  <a:pt x="1999974" y="1328507"/>
                  <a:pt x="1999042" y="1327172"/>
                  <a:pt x="1997977" y="1325972"/>
                </a:cubicBezTo>
                <a:cubicBezTo>
                  <a:pt x="1996913" y="1324911"/>
                  <a:pt x="1995581" y="1324111"/>
                  <a:pt x="1993984" y="1323313"/>
                </a:cubicBezTo>
                <a:cubicBezTo>
                  <a:pt x="1992520" y="1322647"/>
                  <a:pt x="1990922" y="1322386"/>
                  <a:pt x="1988925" y="1322386"/>
                </a:cubicBezTo>
                <a:close/>
                <a:moveTo>
                  <a:pt x="1771283" y="1322386"/>
                </a:moveTo>
                <a:cubicBezTo>
                  <a:pt x="1765426" y="1322386"/>
                  <a:pt x="1762897" y="1324379"/>
                  <a:pt x="1761300" y="1325972"/>
                </a:cubicBezTo>
                <a:cubicBezTo>
                  <a:pt x="1758770" y="1328636"/>
                  <a:pt x="1757706" y="1331441"/>
                  <a:pt x="1757706" y="1335427"/>
                </a:cubicBezTo>
                <a:cubicBezTo>
                  <a:pt x="1757706" y="1339551"/>
                  <a:pt x="1758770" y="1342355"/>
                  <a:pt x="1761300" y="1344879"/>
                </a:cubicBezTo>
                <a:cubicBezTo>
                  <a:pt x="1762897" y="1346483"/>
                  <a:pt x="1765426" y="1348345"/>
                  <a:pt x="1771283" y="1348345"/>
                </a:cubicBezTo>
                <a:cubicBezTo>
                  <a:pt x="1773280" y="1348345"/>
                  <a:pt x="1775144" y="1348076"/>
                  <a:pt x="1776608" y="1347407"/>
                </a:cubicBezTo>
                <a:cubicBezTo>
                  <a:pt x="1778072" y="1346878"/>
                  <a:pt x="1779403" y="1346081"/>
                  <a:pt x="1780335" y="1345018"/>
                </a:cubicBezTo>
                <a:cubicBezTo>
                  <a:pt x="1781400" y="1343820"/>
                  <a:pt x="1782331" y="1342480"/>
                  <a:pt x="1782998" y="1340751"/>
                </a:cubicBezTo>
                <a:cubicBezTo>
                  <a:pt x="1783663" y="1339153"/>
                  <a:pt x="1784063" y="1337291"/>
                  <a:pt x="1784063" y="1335294"/>
                </a:cubicBezTo>
                <a:cubicBezTo>
                  <a:pt x="1784063" y="1333430"/>
                  <a:pt x="1783663" y="1331700"/>
                  <a:pt x="1782998" y="1330101"/>
                </a:cubicBezTo>
                <a:cubicBezTo>
                  <a:pt x="1782331" y="1328507"/>
                  <a:pt x="1781400" y="1327172"/>
                  <a:pt x="1780335" y="1325972"/>
                </a:cubicBezTo>
                <a:cubicBezTo>
                  <a:pt x="1779270" y="1324911"/>
                  <a:pt x="1777939" y="1324111"/>
                  <a:pt x="1776342" y="1323313"/>
                </a:cubicBezTo>
                <a:cubicBezTo>
                  <a:pt x="1774877" y="1322647"/>
                  <a:pt x="1773280" y="1322386"/>
                  <a:pt x="1771283" y="1322386"/>
                </a:cubicBezTo>
                <a:close/>
                <a:moveTo>
                  <a:pt x="1553640" y="1322386"/>
                </a:moveTo>
                <a:cubicBezTo>
                  <a:pt x="1547782" y="1322386"/>
                  <a:pt x="1545253" y="1324379"/>
                  <a:pt x="1543656" y="1325972"/>
                </a:cubicBezTo>
                <a:cubicBezTo>
                  <a:pt x="1541126" y="1328636"/>
                  <a:pt x="1540062" y="1331441"/>
                  <a:pt x="1540062" y="1335427"/>
                </a:cubicBezTo>
                <a:cubicBezTo>
                  <a:pt x="1540062" y="1339551"/>
                  <a:pt x="1541126" y="1342355"/>
                  <a:pt x="1543656" y="1344879"/>
                </a:cubicBezTo>
                <a:cubicBezTo>
                  <a:pt x="1545253" y="1346483"/>
                  <a:pt x="1547782" y="1348345"/>
                  <a:pt x="1553640" y="1348345"/>
                </a:cubicBezTo>
                <a:cubicBezTo>
                  <a:pt x="1555637" y="1348345"/>
                  <a:pt x="1557501" y="1348076"/>
                  <a:pt x="1558965" y="1347407"/>
                </a:cubicBezTo>
                <a:cubicBezTo>
                  <a:pt x="1560429" y="1346878"/>
                  <a:pt x="1561760" y="1346081"/>
                  <a:pt x="1562692" y="1345018"/>
                </a:cubicBezTo>
                <a:cubicBezTo>
                  <a:pt x="1563756" y="1343820"/>
                  <a:pt x="1564688" y="1342480"/>
                  <a:pt x="1565355" y="1340751"/>
                </a:cubicBezTo>
                <a:cubicBezTo>
                  <a:pt x="1566020" y="1339153"/>
                  <a:pt x="1566420" y="1337291"/>
                  <a:pt x="1566420" y="1335294"/>
                </a:cubicBezTo>
                <a:cubicBezTo>
                  <a:pt x="1566420" y="1333430"/>
                  <a:pt x="1566020" y="1331700"/>
                  <a:pt x="1565355" y="1330101"/>
                </a:cubicBezTo>
                <a:cubicBezTo>
                  <a:pt x="1564688" y="1328507"/>
                  <a:pt x="1563756" y="1327172"/>
                  <a:pt x="1562692" y="1325972"/>
                </a:cubicBezTo>
                <a:cubicBezTo>
                  <a:pt x="1561626" y="1324911"/>
                  <a:pt x="1560296" y="1324111"/>
                  <a:pt x="1558698" y="1323313"/>
                </a:cubicBezTo>
                <a:cubicBezTo>
                  <a:pt x="1557234" y="1322647"/>
                  <a:pt x="1555637" y="1322386"/>
                  <a:pt x="1553640" y="1322386"/>
                </a:cubicBezTo>
                <a:close/>
                <a:moveTo>
                  <a:pt x="1335995" y="1322386"/>
                </a:moveTo>
                <a:cubicBezTo>
                  <a:pt x="1330137" y="1322386"/>
                  <a:pt x="1327608" y="1324379"/>
                  <a:pt x="1326012" y="1325972"/>
                </a:cubicBezTo>
                <a:cubicBezTo>
                  <a:pt x="1323481" y="1328636"/>
                  <a:pt x="1322417" y="1331441"/>
                  <a:pt x="1322417" y="1335427"/>
                </a:cubicBezTo>
                <a:cubicBezTo>
                  <a:pt x="1322417" y="1339551"/>
                  <a:pt x="1323481" y="1342355"/>
                  <a:pt x="1326012" y="1344879"/>
                </a:cubicBezTo>
                <a:cubicBezTo>
                  <a:pt x="1327608" y="1346483"/>
                  <a:pt x="1330137" y="1348345"/>
                  <a:pt x="1335995" y="1348345"/>
                </a:cubicBezTo>
                <a:cubicBezTo>
                  <a:pt x="1338125" y="1348345"/>
                  <a:pt x="1339855" y="1348076"/>
                  <a:pt x="1341320" y="1347407"/>
                </a:cubicBezTo>
                <a:cubicBezTo>
                  <a:pt x="1342784" y="1346878"/>
                  <a:pt x="1344115" y="1346081"/>
                  <a:pt x="1345047" y="1345018"/>
                </a:cubicBezTo>
                <a:cubicBezTo>
                  <a:pt x="1346112" y="1343820"/>
                  <a:pt x="1347044" y="1342480"/>
                  <a:pt x="1347710" y="1340751"/>
                </a:cubicBezTo>
                <a:cubicBezTo>
                  <a:pt x="1348375" y="1339153"/>
                  <a:pt x="1348776" y="1337291"/>
                  <a:pt x="1348776" y="1335294"/>
                </a:cubicBezTo>
                <a:cubicBezTo>
                  <a:pt x="1348776" y="1333430"/>
                  <a:pt x="1348375" y="1331700"/>
                  <a:pt x="1347710" y="1330101"/>
                </a:cubicBezTo>
                <a:cubicBezTo>
                  <a:pt x="1347044" y="1328507"/>
                  <a:pt x="1346112" y="1327172"/>
                  <a:pt x="1345047" y="1325972"/>
                </a:cubicBezTo>
                <a:cubicBezTo>
                  <a:pt x="1343982" y="1324911"/>
                  <a:pt x="1342652" y="1324111"/>
                  <a:pt x="1341054" y="1323313"/>
                </a:cubicBezTo>
                <a:cubicBezTo>
                  <a:pt x="1339589" y="1322647"/>
                  <a:pt x="1337992" y="1322386"/>
                  <a:pt x="1335995" y="1322386"/>
                </a:cubicBezTo>
                <a:close/>
                <a:moveTo>
                  <a:pt x="1118483" y="1322386"/>
                </a:moveTo>
                <a:cubicBezTo>
                  <a:pt x="1112625" y="1322386"/>
                  <a:pt x="1110096" y="1324379"/>
                  <a:pt x="1108499" y="1325972"/>
                </a:cubicBezTo>
                <a:cubicBezTo>
                  <a:pt x="1105836" y="1328636"/>
                  <a:pt x="1104772" y="1331441"/>
                  <a:pt x="1104772" y="1335427"/>
                </a:cubicBezTo>
                <a:cubicBezTo>
                  <a:pt x="1104772" y="1339551"/>
                  <a:pt x="1105836" y="1342355"/>
                  <a:pt x="1108366" y="1344879"/>
                </a:cubicBezTo>
                <a:cubicBezTo>
                  <a:pt x="1109963" y="1346483"/>
                  <a:pt x="1112493" y="1348345"/>
                  <a:pt x="1118350" y="1348345"/>
                </a:cubicBezTo>
                <a:cubicBezTo>
                  <a:pt x="1120480" y="1348345"/>
                  <a:pt x="1122211" y="1348076"/>
                  <a:pt x="1123808" y="1347407"/>
                </a:cubicBezTo>
                <a:cubicBezTo>
                  <a:pt x="1125272" y="1346878"/>
                  <a:pt x="1126605" y="1346081"/>
                  <a:pt x="1127535" y="1345018"/>
                </a:cubicBezTo>
                <a:cubicBezTo>
                  <a:pt x="1128600" y="1343820"/>
                  <a:pt x="1129532" y="1342480"/>
                  <a:pt x="1130199" y="1340751"/>
                </a:cubicBezTo>
                <a:cubicBezTo>
                  <a:pt x="1130863" y="1339153"/>
                  <a:pt x="1131264" y="1337291"/>
                  <a:pt x="1131264" y="1335294"/>
                </a:cubicBezTo>
                <a:cubicBezTo>
                  <a:pt x="1131264" y="1333430"/>
                  <a:pt x="1130863" y="1331700"/>
                  <a:pt x="1130199" y="1330101"/>
                </a:cubicBezTo>
                <a:cubicBezTo>
                  <a:pt x="1129532" y="1328507"/>
                  <a:pt x="1128600" y="1327172"/>
                  <a:pt x="1127535" y="1325972"/>
                </a:cubicBezTo>
                <a:cubicBezTo>
                  <a:pt x="1126470" y="1324911"/>
                  <a:pt x="1125139" y="1324111"/>
                  <a:pt x="1123541" y="1323313"/>
                </a:cubicBezTo>
                <a:cubicBezTo>
                  <a:pt x="1122078" y="1322647"/>
                  <a:pt x="1120480" y="1322386"/>
                  <a:pt x="1118483" y="1322386"/>
                </a:cubicBezTo>
                <a:close/>
                <a:moveTo>
                  <a:pt x="900972" y="1322386"/>
                </a:moveTo>
                <a:cubicBezTo>
                  <a:pt x="895114" y="1322386"/>
                  <a:pt x="892584" y="1324379"/>
                  <a:pt x="890987" y="1325972"/>
                </a:cubicBezTo>
                <a:cubicBezTo>
                  <a:pt x="888325" y="1328636"/>
                  <a:pt x="887261" y="1331441"/>
                  <a:pt x="887261" y="1335427"/>
                </a:cubicBezTo>
                <a:cubicBezTo>
                  <a:pt x="887261" y="1339551"/>
                  <a:pt x="888325" y="1342355"/>
                  <a:pt x="890855" y="1344879"/>
                </a:cubicBezTo>
                <a:cubicBezTo>
                  <a:pt x="892452" y="1346483"/>
                  <a:pt x="894981" y="1348345"/>
                  <a:pt x="900838" y="1348345"/>
                </a:cubicBezTo>
                <a:cubicBezTo>
                  <a:pt x="902835" y="1348345"/>
                  <a:pt x="904566" y="1348076"/>
                  <a:pt x="906296" y="1347407"/>
                </a:cubicBezTo>
                <a:cubicBezTo>
                  <a:pt x="907760" y="1346878"/>
                  <a:pt x="909092" y="1346081"/>
                  <a:pt x="910024" y="1345018"/>
                </a:cubicBezTo>
                <a:cubicBezTo>
                  <a:pt x="911088" y="1343820"/>
                  <a:pt x="912020" y="1342480"/>
                  <a:pt x="912686" y="1340751"/>
                </a:cubicBezTo>
                <a:cubicBezTo>
                  <a:pt x="913351" y="1339153"/>
                  <a:pt x="913751" y="1337291"/>
                  <a:pt x="913751" y="1335294"/>
                </a:cubicBezTo>
                <a:cubicBezTo>
                  <a:pt x="913751" y="1333430"/>
                  <a:pt x="913351" y="1331700"/>
                  <a:pt x="912686" y="1330101"/>
                </a:cubicBezTo>
                <a:cubicBezTo>
                  <a:pt x="912020" y="1328507"/>
                  <a:pt x="911088" y="1327172"/>
                  <a:pt x="910024" y="1325972"/>
                </a:cubicBezTo>
                <a:cubicBezTo>
                  <a:pt x="908959" y="1324911"/>
                  <a:pt x="907627" y="1324111"/>
                  <a:pt x="906030" y="1323313"/>
                </a:cubicBezTo>
                <a:cubicBezTo>
                  <a:pt x="904566" y="1322647"/>
                  <a:pt x="902968" y="1322386"/>
                  <a:pt x="900972" y="1322386"/>
                </a:cubicBezTo>
                <a:close/>
                <a:moveTo>
                  <a:pt x="683194" y="1322386"/>
                </a:moveTo>
                <a:cubicBezTo>
                  <a:pt x="677337" y="1322386"/>
                  <a:pt x="674808" y="1324379"/>
                  <a:pt x="673211" y="1325972"/>
                </a:cubicBezTo>
                <a:cubicBezTo>
                  <a:pt x="670681" y="1328636"/>
                  <a:pt x="669617" y="1331441"/>
                  <a:pt x="669617" y="1335427"/>
                </a:cubicBezTo>
                <a:cubicBezTo>
                  <a:pt x="669617" y="1339551"/>
                  <a:pt x="670681" y="1342355"/>
                  <a:pt x="673211" y="1344879"/>
                </a:cubicBezTo>
                <a:cubicBezTo>
                  <a:pt x="674808" y="1346483"/>
                  <a:pt x="677337" y="1348345"/>
                  <a:pt x="683194" y="1348345"/>
                </a:cubicBezTo>
                <a:cubicBezTo>
                  <a:pt x="685191" y="1348345"/>
                  <a:pt x="687055" y="1348076"/>
                  <a:pt x="688519" y="1347407"/>
                </a:cubicBezTo>
                <a:cubicBezTo>
                  <a:pt x="689983" y="1346878"/>
                  <a:pt x="691315" y="1346081"/>
                  <a:pt x="692246" y="1345018"/>
                </a:cubicBezTo>
                <a:cubicBezTo>
                  <a:pt x="693311" y="1343820"/>
                  <a:pt x="694243" y="1342480"/>
                  <a:pt x="694909" y="1340751"/>
                </a:cubicBezTo>
                <a:cubicBezTo>
                  <a:pt x="695574" y="1339153"/>
                  <a:pt x="695974" y="1337291"/>
                  <a:pt x="695974" y="1335294"/>
                </a:cubicBezTo>
                <a:cubicBezTo>
                  <a:pt x="695974" y="1333430"/>
                  <a:pt x="695574" y="1331700"/>
                  <a:pt x="694909" y="1330101"/>
                </a:cubicBezTo>
                <a:cubicBezTo>
                  <a:pt x="694243" y="1328507"/>
                  <a:pt x="693311" y="1327172"/>
                  <a:pt x="692246" y="1325972"/>
                </a:cubicBezTo>
                <a:cubicBezTo>
                  <a:pt x="691181" y="1324911"/>
                  <a:pt x="689850" y="1324111"/>
                  <a:pt x="688253" y="1323313"/>
                </a:cubicBezTo>
                <a:cubicBezTo>
                  <a:pt x="686789" y="1322647"/>
                  <a:pt x="685191" y="1322386"/>
                  <a:pt x="683194" y="1322386"/>
                </a:cubicBezTo>
                <a:close/>
                <a:moveTo>
                  <a:pt x="465550" y="1322386"/>
                </a:moveTo>
                <a:cubicBezTo>
                  <a:pt x="459693" y="1322386"/>
                  <a:pt x="457164" y="1324379"/>
                  <a:pt x="455567" y="1325972"/>
                </a:cubicBezTo>
                <a:cubicBezTo>
                  <a:pt x="453037" y="1328636"/>
                  <a:pt x="451973" y="1331441"/>
                  <a:pt x="451973" y="1335427"/>
                </a:cubicBezTo>
                <a:cubicBezTo>
                  <a:pt x="451973" y="1339551"/>
                  <a:pt x="453037" y="1342355"/>
                  <a:pt x="455567" y="1344879"/>
                </a:cubicBezTo>
                <a:cubicBezTo>
                  <a:pt x="457164" y="1346483"/>
                  <a:pt x="459693" y="1348345"/>
                  <a:pt x="465550" y="1348345"/>
                </a:cubicBezTo>
                <a:cubicBezTo>
                  <a:pt x="467547" y="1348345"/>
                  <a:pt x="469411" y="1348076"/>
                  <a:pt x="470875" y="1347407"/>
                </a:cubicBezTo>
                <a:cubicBezTo>
                  <a:pt x="472339" y="1346878"/>
                  <a:pt x="473670" y="1346081"/>
                  <a:pt x="474602" y="1345018"/>
                </a:cubicBezTo>
                <a:cubicBezTo>
                  <a:pt x="475667" y="1343820"/>
                  <a:pt x="476599" y="1342480"/>
                  <a:pt x="477266" y="1340751"/>
                </a:cubicBezTo>
                <a:cubicBezTo>
                  <a:pt x="477931" y="1339153"/>
                  <a:pt x="478330" y="1337291"/>
                  <a:pt x="478330" y="1335294"/>
                </a:cubicBezTo>
                <a:cubicBezTo>
                  <a:pt x="478330" y="1333430"/>
                  <a:pt x="477931" y="1331700"/>
                  <a:pt x="477266" y="1330101"/>
                </a:cubicBezTo>
                <a:cubicBezTo>
                  <a:pt x="476599" y="1328507"/>
                  <a:pt x="475667" y="1327172"/>
                  <a:pt x="474602" y="1325972"/>
                </a:cubicBezTo>
                <a:cubicBezTo>
                  <a:pt x="473537" y="1324911"/>
                  <a:pt x="472206" y="1324111"/>
                  <a:pt x="470609" y="1323313"/>
                </a:cubicBezTo>
                <a:cubicBezTo>
                  <a:pt x="469145" y="1322647"/>
                  <a:pt x="467547" y="1322386"/>
                  <a:pt x="465550" y="1322386"/>
                </a:cubicBezTo>
                <a:close/>
                <a:moveTo>
                  <a:pt x="247906" y="1322386"/>
                </a:moveTo>
                <a:cubicBezTo>
                  <a:pt x="242049" y="1322386"/>
                  <a:pt x="239520" y="1324379"/>
                  <a:pt x="237923" y="1325972"/>
                </a:cubicBezTo>
                <a:cubicBezTo>
                  <a:pt x="235393" y="1328636"/>
                  <a:pt x="234329" y="1331441"/>
                  <a:pt x="234329" y="1335427"/>
                </a:cubicBezTo>
                <a:cubicBezTo>
                  <a:pt x="234329" y="1339551"/>
                  <a:pt x="235393" y="1342355"/>
                  <a:pt x="237923" y="1344879"/>
                </a:cubicBezTo>
                <a:cubicBezTo>
                  <a:pt x="239520" y="1346483"/>
                  <a:pt x="242049" y="1348345"/>
                  <a:pt x="247906" y="1348345"/>
                </a:cubicBezTo>
                <a:cubicBezTo>
                  <a:pt x="250036" y="1348345"/>
                  <a:pt x="251767" y="1348076"/>
                  <a:pt x="253231" y="1347407"/>
                </a:cubicBezTo>
                <a:cubicBezTo>
                  <a:pt x="254695" y="1346878"/>
                  <a:pt x="256026" y="1346081"/>
                  <a:pt x="256958" y="1345018"/>
                </a:cubicBezTo>
                <a:cubicBezTo>
                  <a:pt x="258023" y="1343820"/>
                  <a:pt x="258955" y="1342480"/>
                  <a:pt x="259621" y="1340751"/>
                </a:cubicBezTo>
                <a:cubicBezTo>
                  <a:pt x="260286" y="1339153"/>
                  <a:pt x="260686" y="1337291"/>
                  <a:pt x="260686" y="1335294"/>
                </a:cubicBezTo>
                <a:cubicBezTo>
                  <a:pt x="260686" y="1333430"/>
                  <a:pt x="260286" y="1331700"/>
                  <a:pt x="259621" y="1330101"/>
                </a:cubicBezTo>
                <a:cubicBezTo>
                  <a:pt x="258955" y="1328507"/>
                  <a:pt x="258023" y="1327172"/>
                  <a:pt x="256958" y="1325972"/>
                </a:cubicBezTo>
                <a:cubicBezTo>
                  <a:pt x="255893" y="1324911"/>
                  <a:pt x="254562" y="1324111"/>
                  <a:pt x="252965" y="1323313"/>
                </a:cubicBezTo>
                <a:cubicBezTo>
                  <a:pt x="251500" y="1322647"/>
                  <a:pt x="249903" y="1322386"/>
                  <a:pt x="247906" y="1322386"/>
                </a:cubicBezTo>
                <a:close/>
                <a:moveTo>
                  <a:pt x="30262" y="1322386"/>
                </a:moveTo>
                <a:cubicBezTo>
                  <a:pt x="24405" y="1322386"/>
                  <a:pt x="21876" y="1324379"/>
                  <a:pt x="20279" y="1325972"/>
                </a:cubicBezTo>
                <a:cubicBezTo>
                  <a:pt x="17749" y="1328636"/>
                  <a:pt x="16685" y="1331441"/>
                  <a:pt x="16685" y="1335427"/>
                </a:cubicBezTo>
                <a:cubicBezTo>
                  <a:pt x="16685" y="1339551"/>
                  <a:pt x="17749" y="1342355"/>
                  <a:pt x="20279" y="1344879"/>
                </a:cubicBezTo>
                <a:cubicBezTo>
                  <a:pt x="21876" y="1346483"/>
                  <a:pt x="24405" y="1348345"/>
                  <a:pt x="30262" y="1348345"/>
                </a:cubicBezTo>
                <a:cubicBezTo>
                  <a:pt x="32392" y="1348345"/>
                  <a:pt x="34123" y="1348076"/>
                  <a:pt x="35587" y="1347407"/>
                </a:cubicBezTo>
                <a:cubicBezTo>
                  <a:pt x="37051" y="1346878"/>
                  <a:pt x="38383" y="1346081"/>
                  <a:pt x="39314" y="1345018"/>
                </a:cubicBezTo>
                <a:cubicBezTo>
                  <a:pt x="40379" y="1343820"/>
                  <a:pt x="41311" y="1342480"/>
                  <a:pt x="41977" y="1340751"/>
                </a:cubicBezTo>
                <a:cubicBezTo>
                  <a:pt x="42642" y="1339153"/>
                  <a:pt x="42908" y="1337291"/>
                  <a:pt x="42908" y="1335294"/>
                </a:cubicBezTo>
                <a:cubicBezTo>
                  <a:pt x="42908" y="1333430"/>
                  <a:pt x="42642" y="1331700"/>
                  <a:pt x="41977" y="1330101"/>
                </a:cubicBezTo>
                <a:cubicBezTo>
                  <a:pt x="41311" y="1328507"/>
                  <a:pt x="40379" y="1327172"/>
                  <a:pt x="39314" y="1325972"/>
                </a:cubicBezTo>
                <a:cubicBezTo>
                  <a:pt x="38249" y="1324911"/>
                  <a:pt x="36918" y="1324111"/>
                  <a:pt x="35321" y="1323313"/>
                </a:cubicBezTo>
                <a:cubicBezTo>
                  <a:pt x="33857" y="1322647"/>
                  <a:pt x="32259" y="1322386"/>
                  <a:pt x="30262" y="1322386"/>
                </a:cubicBezTo>
                <a:close/>
                <a:moveTo>
                  <a:pt x="10475977" y="1305741"/>
                </a:moveTo>
                <a:cubicBezTo>
                  <a:pt x="10480237" y="1305741"/>
                  <a:pt x="10484230" y="1306545"/>
                  <a:pt x="10487824" y="1308407"/>
                </a:cubicBezTo>
                <a:cubicBezTo>
                  <a:pt x="10491419" y="1310007"/>
                  <a:pt x="10494613" y="1312130"/>
                  <a:pt x="10497143" y="1314801"/>
                </a:cubicBezTo>
                <a:cubicBezTo>
                  <a:pt x="10499672" y="1317323"/>
                  <a:pt x="10501801" y="1320522"/>
                  <a:pt x="10503266" y="1324111"/>
                </a:cubicBezTo>
                <a:cubicBezTo>
                  <a:pt x="10504730" y="1327712"/>
                  <a:pt x="10505529" y="1331566"/>
                  <a:pt x="10505529" y="1335564"/>
                </a:cubicBezTo>
                <a:cubicBezTo>
                  <a:pt x="10505529" y="1339692"/>
                  <a:pt x="10504730" y="1343678"/>
                  <a:pt x="10503266" y="1347279"/>
                </a:cubicBezTo>
                <a:cubicBezTo>
                  <a:pt x="10501669" y="1350867"/>
                  <a:pt x="10499672" y="1353929"/>
                  <a:pt x="10497143" y="1356599"/>
                </a:cubicBezTo>
                <a:cubicBezTo>
                  <a:pt x="10494480" y="1359261"/>
                  <a:pt x="10491419" y="1361385"/>
                  <a:pt x="10487824" y="1362849"/>
                </a:cubicBezTo>
                <a:cubicBezTo>
                  <a:pt x="10484098" y="1364313"/>
                  <a:pt x="10480237" y="1365113"/>
                  <a:pt x="10475977" y="1365113"/>
                </a:cubicBezTo>
                <a:cubicBezTo>
                  <a:pt x="10466924" y="1365113"/>
                  <a:pt x="10459736" y="1362185"/>
                  <a:pt x="10454145" y="1356599"/>
                </a:cubicBezTo>
                <a:cubicBezTo>
                  <a:pt x="10448554" y="1351008"/>
                  <a:pt x="10445759" y="1343948"/>
                  <a:pt x="10445759" y="1335427"/>
                </a:cubicBezTo>
                <a:cubicBezTo>
                  <a:pt x="10445759" y="1327172"/>
                  <a:pt x="10448554" y="1320123"/>
                  <a:pt x="10454145" y="1314393"/>
                </a:cubicBezTo>
                <a:cubicBezTo>
                  <a:pt x="10459603" y="1308672"/>
                  <a:pt x="10466924" y="1305741"/>
                  <a:pt x="10475977" y="1305741"/>
                </a:cubicBezTo>
                <a:close/>
                <a:moveTo>
                  <a:pt x="10258466" y="1305741"/>
                </a:moveTo>
                <a:cubicBezTo>
                  <a:pt x="10262592" y="1305741"/>
                  <a:pt x="10266586" y="1306545"/>
                  <a:pt x="10270313" y="1308407"/>
                </a:cubicBezTo>
                <a:cubicBezTo>
                  <a:pt x="10273907" y="1310007"/>
                  <a:pt x="10277101" y="1312130"/>
                  <a:pt x="10279631" y="1314801"/>
                </a:cubicBezTo>
                <a:cubicBezTo>
                  <a:pt x="10282160" y="1317323"/>
                  <a:pt x="10284290" y="1320522"/>
                  <a:pt x="10285754" y="1324111"/>
                </a:cubicBezTo>
                <a:cubicBezTo>
                  <a:pt x="10287218" y="1327712"/>
                  <a:pt x="10288017" y="1331566"/>
                  <a:pt x="10288017" y="1335564"/>
                </a:cubicBezTo>
                <a:cubicBezTo>
                  <a:pt x="10288017" y="1339692"/>
                  <a:pt x="10287218" y="1343678"/>
                  <a:pt x="10285754" y="1347279"/>
                </a:cubicBezTo>
                <a:cubicBezTo>
                  <a:pt x="10284157" y="1350867"/>
                  <a:pt x="10282160" y="1353929"/>
                  <a:pt x="10279631" y="1356599"/>
                </a:cubicBezTo>
                <a:cubicBezTo>
                  <a:pt x="10276969" y="1359261"/>
                  <a:pt x="10273907" y="1361385"/>
                  <a:pt x="10270313" y="1362849"/>
                </a:cubicBezTo>
                <a:cubicBezTo>
                  <a:pt x="10266586" y="1364313"/>
                  <a:pt x="10262725" y="1365113"/>
                  <a:pt x="10258466" y="1365113"/>
                </a:cubicBezTo>
                <a:cubicBezTo>
                  <a:pt x="10249546" y="1365113"/>
                  <a:pt x="10242224" y="1362185"/>
                  <a:pt x="10236633" y="1356599"/>
                </a:cubicBezTo>
                <a:cubicBezTo>
                  <a:pt x="10231043" y="1351008"/>
                  <a:pt x="10228247" y="1343948"/>
                  <a:pt x="10228247" y="1335427"/>
                </a:cubicBezTo>
                <a:cubicBezTo>
                  <a:pt x="10228247" y="1327172"/>
                  <a:pt x="10231043" y="1320123"/>
                  <a:pt x="10236633" y="1314393"/>
                </a:cubicBezTo>
                <a:cubicBezTo>
                  <a:pt x="10242092" y="1308672"/>
                  <a:pt x="10249413" y="1305741"/>
                  <a:pt x="10258466" y="1305741"/>
                </a:cubicBezTo>
                <a:close/>
                <a:moveTo>
                  <a:pt x="10040820" y="1305741"/>
                </a:moveTo>
                <a:cubicBezTo>
                  <a:pt x="10045080" y="1305741"/>
                  <a:pt x="10048941" y="1306548"/>
                  <a:pt x="10052534" y="1308407"/>
                </a:cubicBezTo>
                <a:cubicBezTo>
                  <a:pt x="10056129" y="1310007"/>
                  <a:pt x="10059323" y="1312130"/>
                  <a:pt x="10061852" y="1314801"/>
                </a:cubicBezTo>
                <a:cubicBezTo>
                  <a:pt x="10064382" y="1317323"/>
                  <a:pt x="10066512" y="1320522"/>
                  <a:pt x="10067976" y="1324111"/>
                </a:cubicBezTo>
                <a:cubicBezTo>
                  <a:pt x="10069440" y="1327712"/>
                  <a:pt x="10070239" y="1331566"/>
                  <a:pt x="10070239" y="1335564"/>
                </a:cubicBezTo>
                <a:cubicBezTo>
                  <a:pt x="10070239" y="1339692"/>
                  <a:pt x="10069440" y="1343678"/>
                  <a:pt x="10067976" y="1347279"/>
                </a:cubicBezTo>
                <a:cubicBezTo>
                  <a:pt x="10066379" y="1350867"/>
                  <a:pt x="10064382" y="1353929"/>
                  <a:pt x="10061852" y="1356599"/>
                </a:cubicBezTo>
                <a:cubicBezTo>
                  <a:pt x="10059190" y="1359261"/>
                  <a:pt x="10056129" y="1361385"/>
                  <a:pt x="10052534" y="1362849"/>
                </a:cubicBezTo>
                <a:cubicBezTo>
                  <a:pt x="10048941" y="1364313"/>
                  <a:pt x="10045080" y="1365113"/>
                  <a:pt x="10040820" y="1365113"/>
                </a:cubicBezTo>
                <a:cubicBezTo>
                  <a:pt x="10031767" y="1365113"/>
                  <a:pt x="10024579" y="1362185"/>
                  <a:pt x="10018988" y="1356599"/>
                </a:cubicBezTo>
                <a:cubicBezTo>
                  <a:pt x="10013397" y="1351008"/>
                  <a:pt x="10010602" y="1343948"/>
                  <a:pt x="10010602" y="1335427"/>
                </a:cubicBezTo>
                <a:cubicBezTo>
                  <a:pt x="10010602" y="1327172"/>
                  <a:pt x="10013397" y="1320123"/>
                  <a:pt x="10018988" y="1314393"/>
                </a:cubicBezTo>
                <a:cubicBezTo>
                  <a:pt x="10024579" y="1308672"/>
                  <a:pt x="10031767" y="1305741"/>
                  <a:pt x="10040820" y="1305741"/>
                </a:cubicBezTo>
                <a:close/>
                <a:moveTo>
                  <a:pt x="9823176" y="1305741"/>
                </a:moveTo>
                <a:cubicBezTo>
                  <a:pt x="9827435" y="1305741"/>
                  <a:pt x="9831296" y="1306548"/>
                  <a:pt x="9834890" y="1308407"/>
                </a:cubicBezTo>
                <a:cubicBezTo>
                  <a:pt x="9838617" y="1310007"/>
                  <a:pt x="9841679" y="1312130"/>
                  <a:pt x="9844208" y="1314801"/>
                </a:cubicBezTo>
                <a:cubicBezTo>
                  <a:pt x="9846737" y="1317323"/>
                  <a:pt x="9848867" y="1320522"/>
                  <a:pt x="9850331" y="1324111"/>
                </a:cubicBezTo>
                <a:cubicBezTo>
                  <a:pt x="9851796" y="1327712"/>
                  <a:pt x="9852595" y="1331566"/>
                  <a:pt x="9852595" y="1335564"/>
                </a:cubicBezTo>
                <a:cubicBezTo>
                  <a:pt x="9852595" y="1339692"/>
                  <a:pt x="9851796" y="1343678"/>
                  <a:pt x="9850331" y="1347279"/>
                </a:cubicBezTo>
                <a:cubicBezTo>
                  <a:pt x="9848734" y="1350867"/>
                  <a:pt x="9846737" y="1353929"/>
                  <a:pt x="9844208" y="1356599"/>
                </a:cubicBezTo>
                <a:cubicBezTo>
                  <a:pt x="9841546" y="1359262"/>
                  <a:pt x="9838484" y="1361385"/>
                  <a:pt x="9834890" y="1362851"/>
                </a:cubicBezTo>
                <a:cubicBezTo>
                  <a:pt x="9831296" y="1364313"/>
                  <a:pt x="9827435" y="1365113"/>
                  <a:pt x="9823176" y="1365113"/>
                </a:cubicBezTo>
                <a:cubicBezTo>
                  <a:pt x="9814123" y="1365113"/>
                  <a:pt x="9806935" y="1362185"/>
                  <a:pt x="9801343" y="1356599"/>
                </a:cubicBezTo>
                <a:cubicBezTo>
                  <a:pt x="9795753" y="1351008"/>
                  <a:pt x="9792957" y="1343948"/>
                  <a:pt x="9792957" y="1335427"/>
                </a:cubicBezTo>
                <a:cubicBezTo>
                  <a:pt x="9792957" y="1327172"/>
                  <a:pt x="9795753" y="1320123"/>
                  <a:pt x="9801343" y="1314393"/>
                </a:cubicBezTo>
                <a:cubicBezTo>
                  <a:pt x="9806935" y="1308672"/>
                  <a:pt x="9814123" y="1305741"/>
                  <a:pt x="9823176" y="1305741"/>
                </a:cubicBezTo>
                <a:close/>
                <a:moveTo>
                  <a:pt x="9605531" y="1305741"/>
                </a:moveTo>
                <a:cubicBezTo>
                  <a:pt x="9609790" y="1305741"/>
                  <a:pt x="9613784" y="1306548"/>
                  <a:pt x="9617245" y="1308407"/>
                </a:cubicBezTo>
                <a:cubicBezTo>
                  <a:pt x="9620839" y="1310007"/>
                  <a:pt x="9624033" y="1312130"/>
                  <a:pt x="9626562" y="1314801"/>
                </a:cubicBezTo>
                <a:cubicBezTo>
                  <a:pt x="9629092" y="1317323"/>
                  <a:pt x="9631222" y="1320522"/>
                  <a:pt x="9632686" y="1324111"/>
                </a:cubicBezTo>
                <a:cubicBezTo>
                  <a:pt x="9634150" y="1327712"/>
                  <a:pt x="9634949" y="1331566"/>
                  <a:pt x="9634949" y="1335564"/>
                </a:cubicBezTo>
                <a:cubicBezTo>
                  <a:pt x="9634949" y="1339692"/>
                  <a:pt x="9634150" y="1343678"/>
                  <a:pt x="9632686" y="1347279"/>
                </a:cubicBezTo>
                <a:cubicBezTo>
                  <a:pt x="9631089" y="1350867"/>
                  <a:pt x="9629092" y="1353929"/>
                  <a:pt x="9626562" y="1356599"/>
                </a:cubicBezTo>
                <a:cubicBezTo>
                  <a:pt x="9623901" y="1359262"/>
                  <a:pt x="9620839" y="1361385"/>
                  <a:pt x="9617245" y="1362851"/>
                </a:cubicBezTo>
                <a:cubicBezTo>
                  <a:pt x="9613651" y="1364313"/>
                  <a:pt x="9609790" y="1365113"/>
                  <a:pt x="9605531" y="1365113"/>
                </a:cubicBezTo>
                <a:cubicBezTo>
                  <a:pt x="9596610" y="1365113"/>
                  <a:pt x="9589289" y="1362185"/>
                  <a:pt x="9583698" y="1356599"/>
                </a:cubicBezTo>
                <a:cubicBezTo>
                  <a:pt x="9578108" y="1351008"/>
                  <a:pt x="9575312" y="1343948"/>
                  <a:pt x="9575312" y="1335427"/>
                </a:cubicBezTo>
                <a:cubicBezTo>
                  <a:pt x="9575312" y="1327172"/>
                  <a:pt x="9578108" y="1320123"/>
                  <a:pt x="9583698" y="1314393"/>
                </a:cubicBezTo>
                <a:cubicBezTo>
                  <a:pt x="9589289" y="1308672"/>
                  <a:pt x="9596478" y="1305741"/>
                  <a:pt x="9605531" y="1305741"/>
                </a:cubicBezTo>
                <a:close/>
                <a:moveTo>
                  <a:pt x="9387885" y="1305741"/>
                </a:moveTo>
                <a:cubicBezTo>
                  <a:pt x="9392145" y="1305741"/>
                  <a:pt x="9396138" y="1306548"/>
                  <a:pt x="9399599" y="1308407"/>
                </a:cubicBezTo>
                <a:cubicBezTo>
                  <a:pt x="9403194" y="1310007"/>
                  <a:pt x="9406388" y="1312130"/>
                  <a:pt x="9408917" y="1314801"/>
                </a:cubicBezTo>
                <a:cubicBezTo>
                  <a:pt x="9411447" y="1317323"/>
                  <a:pt x="9413576" y="1320522"/>
                  <a:pt x="9415041" y="1324111"/>
                </a:cubicBezTo>
                <a:cubicBezTo>
                  <a:pt x="9416505" y="1327712"/>
                  <a:pt x="9417304" y="1331566"/>
                  <a:pt x="9417304" y="1335564"/>
                </a:cubicBezTo>
                <a:cubicBezTo>
                  <a:pt x="9417304" y="1339692"/>
                  <a:pt x="9416505" y="1343678"/>
                  <a:pt x="9415041" y="1347279"/>
                </a:cubicBezTo>
                <a:cubicBezTo>
                  <a:pt x="9413444" y="1350867"/>
                  <a:pt x="9411447" y="1353929"/>
                  <a:pt x="9408917" y="1356599"/>
                </a:cubicBezTo>
                <a:cubicBezTo>
                  <a:pt x="9406255" y="1359262"/>
                  <a:pt x="9403194" y="1361385"/>
                  <a:pt x="9399599" y="1362851"/>
                </a:cubicBezTo>
                <a:cubicBezTo>
                  <a:pt x="9396005" y="1364313"/>
                  <a:pt x="9392145" y="1365113"/>
                  <a:pt x="9387885" y="1365113"/>
                </a:cubicBezTo>
                <a:cubicBezTo>
                  <a:pt x="9378965" y="1365113"/>
                  <a:pt x="9371644" y="1362185"/>
                  <a:pt x="9366053" y="1356599"/>
                </a:cubicBezTo>
                <a:cubicBezTo>
                  <a:pt x="9360462" y="1351008"/>
                  <a:pt x="9357667" y="1343948"/>
                  <a:pt x="9357667" y="1335427"/>
                </a:cubicBezTo>
                <a:cubicBezTo>
                  <a:pt x="9357667" y="1327172"/>
                  <a:pt x="9360462" y="1320123"/>
                  <a:pt x="9366053" y="1314393"/>
                </a:cubicBezTo>
                <a:cubicBezTo>
                  <a:pt x="9371644" y="1308672"/>
                  <a:pt x="9378832" y="1305741"/>
                  <a:pt x="9387885" y="1305741"/>
                </a:cubicBezTo>
                <a:close/>
                <a:moveTo>
                  <a:pt x="9170374" y="1305741"/>
                </a:moveTo>
                <a:cubicBezTo>
                  <a:pt x="9174500" y="1305741"/>
                  <a:pt x="9178494" y="1306548"/>
                  <a:pt x="9182088" y="1308407"/>
                </a:cubicBezTo>
                <a:cubicBezTo>
                  <a:pt x="9185682" y="1310007"/>
                  <a:pt x="9188876" y="1312130"/>
                  <a:pt x="9191405" y="1314801"/>
                </a:cubicBezTo>
                <a:cubicBezTo>
                  <a:pt x="9193935" y="1317323"/>
                  <a:pt x="9196065" y="1320522"/>
                  <a:pt x="9197529" y="1324111"/>
                </a:cubicBezTo>
                <a:cubicBezTo>
                  <a:pt x="9198993" y="1327712"/>
                  <a:pt x="9199792" y="1331566"/>
                  <a:pt x="9199792" y="1335564"/>
                </a:cubicBezTo>
                <a:cubicBezTo>
                  <a:pt x="9199792" y="1339692"/>
                  <a:pt x="9198993" y="1343678"/>
                  <a:pt x="9197529" y="1347279"/>
                </a:cubicBezTo>
                <a:cubicBezTo>
                  <a:pt x="9195932" y="1350867"/>
                  <a:pt x="9193935" y="1353929"/>
                  <a:pt x="9191405" y="1356599"/>
                </a:cubicBezTo>
                <a:cubicBezTo>
                  <a:pt x="9188744" y="1359262"/>
                  <a:pt x="9185682" y="1361385"/>
                  <a:pt x="9182088" y="1362851"/>
                </a:cubicBezTo>
                <a:cubicBezTo>
                  <a:pt x="9178494" y="1364313"/>
                  <a:pt x="9174633" y="1365113"/>
                  <a:pt x="9170374" y="1365113"/>
                </a:cubicBezTo>
                <a:cubicBezTo>
                  <a:pt x="9161453" y="1365113"/>
                  <a:pt x="9154132" y="1362185"/>
                  <a:pt x="9148541" y="1356599"/>
                </a:cubicBezTo>
                <a:cubicBezTo>
                  <a:pt x="9142951" y="1351008"/>
                  <a:pt x="9140155" y="1343948"/>
                  <a:pt x="9140155" y="1335427"/>
                </a:cubicBezTo>
                <a:cubicBezTo>
                  <a:pt x="9140155" y="1327172"/>
                  <a:pt x="9142951" y="1320123"/>
                  <a:pt x="9148541" y="1314393"/>
                </a:cubicBezTo>
                <a:cubicBezTo>
                  <a:pt x="9154132" y="1308672"/>
                  <a:pt x="9161321" y="1305741"/>
                  <a:pt x="9170374" y="1305741"/>
                </a:cubicBezTo>
                <a:close/>
                <a:moveTo>
                  <a:pt x="8952728" y="1305741"/>
                </a:moveTo>
                <a:cubicBezTo>
                  <a:pt x="8956988" y="1305741"/>
                  <a:pt x="8960849" y="1306548"/>
                  <a:pt x="8964442" y="1308407"/>
                </a:cubicBezTo>
                <a:cubicBezTo>
                  <a:pt x="8968037" y="1310007"/>
                  <a:pt x="8971231" y="1312130"/>
                  <a:pt x="8973760" y="1314801"/>
                </a:cubicBezTo>
                <a:cubicBezTo>
                  <a:pt x="8976290" y="1317323"/>
                  <a:pt x="8978419" y="1320522"/>
                  <a:pt x="8979884" y="1324111"/>
                </a:cubicBezTo>
                <a:cubicBezTo>
                  <a:pt x="8981348" y="1327712"/>
                  <a:pt x="8982147" y="1331566"/>
                  <a:pt x="8982147" y="1335564"/>
                </a:cubicBezTo>
                <a:cubicBezTo>
                  <a:pt x="8982147" y="1339692"/>
                  <a:pt x="8981348" y="1343678"/>
                  <a:pt x="8979884" y="1347279"/>
                </a:cubicBezTo>
                <a:cubicBezTo>
                  <a:pt x="8978287" y="1350867"/>
                  <a:pt x="8976290" y="1353929"/>
                  <a:pt x="8973760" y="1356599"/>
                </a:cubicBezTo>
                <a:cubicBezTo>
                  <a:pt x="8971098" y="1359262"/>
                  <a:pt x="8968037" y="1361385"/>
                  <a:pt x="8964442" y="1362851"/>
                </a:cubicBezTo>
                <a:cubicBezTo>
                  <a:pt x="8960849" y="1364313"/>
                  <a:pt x="8956988" y="1365113"/>
                  <a:pt x="8952728" y="1365113"/>
                </a:cubicBezTo>
                <a:cubicBezTo>
                  <a:pt x="8943808" y="1365113"/>
                  <a:pt x="8936487" y="1362185"/>
                  <a:pt x="8930896" y="1356599"/>
                </a:cubicBezTo>
                <a:cubicBezTo>
                  <a:pt x="8925305" y="1351008"/>
                  <a:pt x="8922510" y="1343948"/>
                  <a:pt x="8922510" y="1335427"/>
                </a:cubicBezTo>
                <a:cubicBezTo>
                  <a:pt x="8922510" y="1327172"/>
                  <a:pt x="8925305" y="1320123"/>
                  <a:pt x="8930896" y="1314393"/>
                </a:cubicBezTo>
                <a:cubicBezTo>
                  <a:pt x="8936487" y="1308672"/>
                  <a:pt x="8943675" y="1305741"/>
                  <a:pt x="8952728" y="1305741"/>
                </a:cubicBezTo>
                <a:close/>
                <a:moveTo>
                  <a:pt x="8735083" y="1305741"/>
                </a:moveTo>
                <a:cubicBezTo>
                  <a:pt x="8739342" y="1305741"/>
                  <a:pt x="8743203" y="1306548"/>
                  <a:pt x="8746797" y="1308407"/>
                </a:cubicBezTo>
                <a:cubicBezTo>
                  <a:pt x="8750391" y="1310007"/>
                  <a:pt x="8753586" y="1312130"/>
                  <a:pt x="8756115" y="1314801"/>
                </a:cubicBezTo>
                <a:cubicBezTo>
                  <a:pt x="8758644" y="1317323"/>
                  <a:pt x="8760774" y="1320522"/>
                  <a:pt x="8762238" y="1324111"/>
                </a:cubicBezTo>
                <a:cubicBezTo>
                  <a:pt x="8763702" y="1327712"/>
                  <a:pt x="8764502" y="1331566"/>
                  <a:pt x="8764502" y="1335564"/>
                </a:cubicBezTo>
                <a:cubicBezTo>
                  <a:pt x="8764502" y="1339692"/>
                  <a:pt x="8763702" y="1343678"/>
                  <a:pt x="8762238" y="1347279"/>
                </a:cubicBezTo>
                <a:cubicBezTo>
                  <a:pt x="8760641" y="1350867"/>
                  <a:pt x="8758644" y="1353929"/>
                  <a:pt x="8756115" y="1356599"/>
                </a:cubicBezTo>
                <a:cubicBezTo>
                  <a:pt x="8753453" y="1359262"/>
                  <a:pt x="8750391" y="1361385"/>
                  <a:pt x="8746797" y="1362851"/>
                </a:cubicBezTo>
                <a:cubicBezTo>
                  <a:pt x="8743203" y="1364313"/>
                  <a:pt x="8739342" y="1365113"/>
                  <a:pt x="8735083" y="1365113"/>
                </a:cubicBezTo>
                <a:cubicBezTo>
                  <a:pt x="8726030" y="1365113"/>
                  <a:pt x="8718841" y="1362185"/>
                  <a:pt x="8713250" y="1356599"/>
                </a:cubicBezTo>
                <a:cubicBezTo>
                  <a:pt x="8707660" y="1351008"/>
                  <a:pt x="8704864" y="1343948"/>
                  <a:pt x="8704864" y="1335427"/>
                </a:cubicBezTo>
                <a:cubicBezTo>
                  <a:pt x="8704864" y="1327172"/>
                  <a:pt x="8707660" y="1320123"/>
                  <a:pt x="8713250" y="1314393"/>
                </a:cubicBezTo>
                <a:cubicBezTo>
                  <a:pt x="8718841" y="1308672"/>
                  <a:pt x="8726030" y="1305741"/>
                  <a:pt x="8735083" y="1305741"/>
                </a:cubicBezTo>
                <a:close/>
                <a:moveTo>
                  <a:pt x="8517438" y="1305741"/>
                </a:moveTo>
                <a:cubicBezTo>
                  <a:pt x="8521698" y="1305741"/>
                  <a:pt x="8525559" y="1306548"/>
                  <a:pt x="8529152" y="1308407"/>
                </a:cubicBezTo>
                <a:cubicBezTo>
                  <a:pt x="8532880" y="1310007"/>
                  <a:pt x="8535941" y="1312130"/>
                  <a:pt x="8538470" y="1314801"/>
                </a:cubicBezTo>
                <a:cubicBezTo>
                  <a:pt x="8541000" y="1317323"/>
                  <a:pt x="8543130" y="1320522"/>
                  <a:pt x="8544594" y="1324111"/>
                </a:cubicBezTo>
                <a:cubicBezTo>
                  <a:pt x="8546058" y="1327712"/>
                  <a:pt x="8546857" y="1331566"/>
                  <a:pt x="8546857" y="1335564"/>
                </a:cubicBezTo>
                <a:cubicBezTo>
                  <a:pt x="8546857" y="1339692"/>
                  <a:pt x="8546058" y="1343678"/>
                  <a:pt x="8544594" y="1347279"/>
                </a:cubicBezTo>
                <a:cubicBezTo>
                  <a:pt x="8542997" y="1350867"/>
                  <a:pt x="8541000" y="1353929"/>
                  <a:pt x="8538470" y="1356599"/>
                </a:cubicBezTo>
                <a:cubicBezTo>
                  <a:pt x="8535808" y="1359262"/>
                  <a:pt x="8532747" y="1361385"/>
                  <a:pt x="8529152" y="1362851"/>
                </a:cubicBezTo>
                <a:cubicBezTo>
                  <a:pt x="8525559" y="1364313"/>
                  <a:pt x="8521698" y="1365113"/>
                  <a:pt x="8517438" y="1365113"/>
                </a:cubicBezTo>
                <a:cubicBezTo>
                  <a:pt x="8508385" y="1365113"/>
                  <a:pt x="8501197" y="1362185"/>
                  <a:pt x="8495606" y="1356599"/>
                </a:cubicBezTo>
                <a:cubicBezTo>
                  <a:pt x="8490015" y="1351008"/>
                  <a:pt x="8487220" y="1343948"/>
                  <a:pt x="8487220" y="1335427"/>
                </a:cubicBezTo>
                <a:cubicBezTo>
                  <a:pt x="8487220" y="1327172"/>
                  <a:pt x="8490015" y="1320123"/>
                  <a:pt x="8495606" y="1314393"/>
                </a:cubicBezTo>
                <a:cubicBezTo>
                  <a:pt x="8501197" y="1308672"/>
                  <a:pt x="8508385" y="1305741"/>
                  <a:pt x="8517438" y="1305741"/>
                </a:cubicBezTo>
                <a:close/>
                <a:moveTo>
                  <a:pt x="8299793" y="1305741"/>
                </a:moveTo>
                <a:cubicBezTo>
                  <a:pt x="8304052" y="1305741"/>
                  <a:pt x="8308046" y="1306548"/>
                  <a:pt x="8311507" y="1308407"/>
                </a:cubicBezTo>
                <a:cubicBezTo>
                  <a:pt x="8315235" y="1310007"/>
                  <a:pt x="8318296" y="1312130"/>
                  <a:pt x="8320825" y="1314801"/>
                </a:cubicBezTo>
                <a:cubicBezTo>
                  <a:pt x="8323354" y="1317323"/>
                  <a:pt x="8325484" y="1320522"/>
                  <a:pt x="8326948" y="1324111"/>
                </a:cubicBezTo>
                <a:cubicBezTo>
                  <a:pt x="8328413" y="1327712"/>
                  <a:pt x="8329212" y="1331566"/>
                  <a:pt x="8329212" y="1335564"/>
                </a:cubicBezTo>
                <a:cubicBezTo>
                  <a:pt x="8329212" y="1339692"/>
                  <a:pt x="8328413" y="1343678"/>
                  <a:pt x="8326948" y="1347279"/>
                </a:cubicBezTo>
                <a:cubicBezTo>
                  <a:pt x="8325351" y="1350867"/>
                  <a:pt x="8323354" y="1353929"/>
                  <a:pt x="8320825" y="1356599"/>
                </a:cubicBezTo>
                <a:cubicBezTo>
                  <a:pt x="8318163" y="1359262"/>
                  <a:pt x="8315101" y="1361385"/>
                  <a:pt x="8311507" y="1362851"/>
                </a:cubicBezTo>
                <a:cubicBezTo>
                  <a:pt x="8307913" y="1364313"/>
                  <a:pt x="8304052" y="1365113"/>
                  <a:pt x="8299793" y="1365113"/>
                </a:cubicBezTo>
                <a:cubicBezTo>
                  <a:pt x="8290874" y="1365113"/>
                  <a:pt x="8283553" y="1362185"/>
                  <a:pt x="8277960" y="1356599"/>
                </a:cubicBezTo>
                <a:cubicBezTo>
                  <a:pt x="8272370" y="1351008"/>
                  <a:pt x="8269574" y="1343948"/>
                  <a:pt x="8269574" y="1335427"/>
                </a:cubicBezTo>
                <a:cubicBezTo>
                  <a:pt x="8269574" y="1327172"/>
                  <a:pt x="8272370" y="1320123"/>
                  <a:pt x="8277960" y="1314393"/>
                </a:cubicBezTo>
                <a:cubicBezTo>
                  <a:pt x="8283553" y="1308672"/>
                  <a:pt x="8290741" y="1305741"/>
                  <a:pt x="8299793" y="1305741"/>
                </a:cubicBezTo>
                <a:close/>
                <a:moveTo>
                  <a:pt x="8082281" y="1305741"/>
                </a:moveTo>
                <a:cubicBezTo>
                  <a:pt x="8086407" y="1305741"/>
                  <a:pt x="8090401" y="1306548"/>
                  <a:pt x="8094127" y="1308407"/>
                </a:cubicBezTo>
                <a:cubicBezTo>
                  <a:pt x="8097855" y="1310007"/>
                  <a:pt x="8100916" y="1312130"/>
                  <a:pt x="8103446" y="1314801"/>
                </a:cubicBezTo>
                <a:cubicBezTo>
                  <a:pt x="8105975" y="1317323"/>
                  <a:pt x="8108104" y="1320522"/>
                  <a:pt x="8109569" y="1324111"/>
                </a:cubicBezTo>
                <a:cubicBezTo>
                  <a:pt x="8111033" y="1327712"/>
                  <a:pt x="8111832" y="1331566"/>
                  <a:pt x="8111832" y="1335564"/>
                </a:cubicBezTo>
                <a:cubicBezTo>
                  <a:pt x="8111832" y="1339692"/>
                  <a:pt x="8111033" y="1343678"/>
                  <a:pt x="8109569" y="1347279"/>
                </a:cubicBezTo>
                <a:cubicBezTo>
                  <a:pt x="8107972" y="1350867"/>
                  <a:pt x="8105975" y="1353929"/>
                  <a:pt x="8103446" y="1356599"/>
                </a:cubicBezTo>
                <a:cubicBezTo>
                  <a:pt x="8100783" y="1359262"/>
                  <a:pt x="8097722" y="1361385"/>
                  <a:pt x="8094127" y="1362851"/>
                </a:cubicBezTo>
                <a:cubicBezTo>
                  <a:pt x="8090401" y="1364313"/>
                  <a:pt x="8086540" y="1365113"/>
                  <a:pt x="8082281" y="1365113"/>
                </a:cubicBezTo>
                <a:cubicBezTo>
                  <a:pt x="8073361" y="1365113"/>
                  <a:pt x="8066040" y="1362185"/>
                  <a:pt x="8060448" y="1356599"/>
                </a:cubicBezTo>
                <a:cubicBezTo>
                  <a:pt x="8054857" y="1351008"/>
                  <a:pt x="8052062" y="1343948"/>
                  <a:pt x="8052062" y="1335427"/>
                </a:cubicBezTo>
                <a:cubicBezTo>
                  <a:pt x="8052062" y="1327172"/>
                  <a:pt x="8054857" y="1320123"/>
                  <a:pt x="8060448" y="1314393"/>
                </a:cubicBezTo>
                <a:cubicBezTo>
                  <a:pt x="8066040" y="1308672"/>
                  <a:pt x="8073228" y="1305741"/>
                  <a:pt x="8082281" y="1305741"/>
                </a:cubicBezTo>
                <a:close/>
                <a:moveTo>
                  <a:pt x="7864636" y="1305741"/>
                </a:moveTo>
                <a:cubicBezTo>
                  <a:pt x="7868762" y="1305741"/>
                  <a:pt x="7872756" y="1306548"/>
                  <a:pt x="7876483" y="1308407"/>
                </a:cubicBezTo>
                <a:cubicBezTo>
                  <a:pt x="7880210" y="1310007"/>
                  <a:pt x="7883272" y="1312130"/>
                  <a:pt x="7885802" y="1314801"/>
                </a:cubicBezTo>
                <a:cubicBezTo>
                  <a:pt x="7888331" y="1317323"/>
                  <a:pt x="7890460" y="1320522"/>
                  <a:pt x="7891924" y="1324111"/>
                </a:cubicBezTo>
                <a:cubicBezTo>
                  <a:pt x="7893389" y="1327712"/>
                  <a:pt x="7894188" y="1331566"/>
                  <a:pt x="7894188" y="1335564"/>
                </a:cubicBezTo>
                <a:cubicBezTo>
                  <a:pt x="7894188" y="1339692"/>
                  <a:pt x="7893389" y="1343678"/>
                  <a:pt x="7891924" y="1347279"/>
                </a:cubicBezTo>
                <a:cubicBezTo>
                  <a:pt x="7890327" y="1350867"/>
                  <a:pt x="7888331" y="1353929"/>
                  <a:pt x="7885802" y="1356599"/>
                </a:cubicBezTo>
                <a:cubicBezTo>
                  <a:pt x="7883139" y="1359262"/>
                  <a:pt x="7880078" y="1361385"/>
                  <a:pt x="7876483" y="1362851"/>
                </a:cubicBezTo>
                <a:cubicBezTo>
                  <a:pt x="7872756" y="1364313"/>
                  <a:pt x="7868895" y="1365113"/>
                  <a:pt x="7864636" y="1365113"/>
                </a:cubicBezTo>
                <a:cubicBezTo>
                  <a:pt x="7855717" y="1365113"/>
                  <a:pt x="7848396" y="1362185"/>
                  <a:pt x="7842803" y="1356599"/>
                </a:cubicBezTo>
                <a:cubicBezTo>
                  <a:pt x="7837213" y="1351008"/>
                  <a:pt x="7834417" y="1343948"/>
                  <a:pt x="7834417" y="1335427"/>
                </a:cubicBezTo>
                <a:cubicBezTo>
                  <a:pt x="7834417" y="1327172"/>
                  <a:pt x="7837213" y="1320123"/>
                  <a:pt x="7842803" y="1314393"/>
                </a:cubicBezTo>
                <a:cubicBezTo>
                  <a:pt x="7848396" y="1308672"/>
                  <a:pt x="7855584" y="1305741"/>
                  <a:pt x="7864636" y="1305741"/>
                </a:cubicBezTo>
                <a:close/>
                <a:moveTo>
                  <a:pt x="7646991" y="1305741"/>
                </a:moveTo>
                <a:cubicBezTo>
                  <a:pt x="7651250" y="1305741"/>
                  <a:pt x="7655111" y="1306548"/>
                  <a:pt x="7658705" y="1308407"/>
                </a:cubicBezTo>
                <a:cubicBezTo>
                  <a:pt x="7662432" y="1310007"/>
                  <a:pt x="7665493" y="1312130"/>
                  <a:pt x="7668022" y="1314801"/>
                </a:cubicBezTo>
                <a:cubicBezTo>
                  <a:pt x="7670552" y="1317323"/>
                  <a:pt x="7672682" y="1320522"/>
                  <a:pt x="7674146" y="1324111"/>
                </a:cubicBezTo>
                <a:cubicBezTo>
                  <a:pt x="7675610" y="1327712"/>
                  <a:pt x="7676409" y="1331566"/>
                  <a:pt x="7676409" y="1335564"/>
                </a:cubicBezTo>
                <a:cubicBezTo>
                  <a:pt x="7676409" y="1339692"/>
                  <a:pt x="7675610" y="1343678"/>
                  <a:pt x="7674146" y="1347279"/>
                </a:cubicBezTo>
                <a:cubicBezTo>
                  <a:pt x="7672549" y="1350867"/>
                  <a:pt x="7670552" y="1353929"/>
                  <a:pt x="7668022" y="1356599"/>
                </a:cubicBezTo>
                <a:cubicBezTo>
                  <a:pt x="7665361" y="1359262"/>
                  <a:pt x="7662299" y="1361385"/>
                  <a:pt x="7658705" y="1362851"/>
                </a:cubicBezTo>
                <a:cubicBezTo>
                  <a:pt x="7655111" y="1364313"/>
                  <a:pt x="7651250" y="1365113"/>
                  <a:pt x="7646991" y="1365113"/>
                </a:cubicBezTo>
                <a:cubicBezTo>
                  <a:pt x="7638071" y="1365113"/>
                  <a:pt x="7630750" y="1362185"/>
                  <a:pt x="7625158" y="1356599"/>
                </a:cubicBezTo>
                <a:cubicBezTo>
                  <a:pt x="7619568" y="1351008"/>
                  <a:pt x="7616772" y="1343948"/>
                  <a:pt x="7616772" y="1335427"/>
                </a:cubicBezTo>
                <a:cubicBezTo>
                  <a:pt x="7616772" y="1327172"/>
                  <a:pt x="7619568" y="1320123"/>
                  <a:pt x="7625158" y="1314393"/>
                </a:cubicBezTo>
                <a:cubicBezTo>
                  <a:pt x="7630750" y="1308672"/>
                  <a:pt x="7637939" y="1305741"/>
                  <a:pt x="7646991" y="1305741"/>
                </a:cubicBezTo>
                <a:close/>
                <a:moveTo>
                  <a:pt x="7429345" y="1305741"/>
                </a:moveTo>
                <a:cubicBezTo>
                  <a:pt x="7433605" y="1305741"/>
                  <a:pt x="7437466" y="1306548"/>
                  <a:pt x="7441059" y="1308407"/>
                </a:cubicBezTo>
                <a:cubicBezTo>
                  <a:pt x="7444787" y="1310007"/>
                  <a:pt x="7447848" y="1312130"/>
                  <a:pt x="7450377" y="1314801"/>
                </a:cubicBezTo>
                <a:cubicBezTo>
                  <a:pt x="7452907" y="1317323"/>
                  <a:pt x="7455036" y="1320522"/>
                  <a:pt x="7456501" y="1324111"/>
                </a:cubicBezTo>
                <a:cubicBezTo>
                  <a:pt x="7457965" y="1327712"/>
                  <a:pt x="7458764" y="1331566"/>
                  <a:pt x="7458764" y="1335564"/>
                </a:cubicBezTo>
                <a:cubicBezTo>
                  <a:pt x="7458764" y="1339692"/>
                  <a:pt x="7457965" y="1343678"/>
                  <a:pt x="7456501" y="1347279"/>
                </a:cubicBezTo>
                <a:cubicBezTo>
                  <a:pt x="7454904" y="1350867"/>
                  <a:pt x="7452907" y="1353929"/>
                  <a:pt x="7450377" y="1356599"/>
                </a:cubicBezTo>
                <a:cubicBezTo>
                  <a:pt x="7447715" y="1359262"/>
                  <a:pt x="7444654" y="1361385"/>
                  <a:pt x="7441059" y="1362851"/>
                </a:cubicBezTo>
                <a:cubicBezTo>
                  <a:pt x="7437466" y="1364313"/>
                  <a:pt x="7433605" y="1365113"/>
                  <a:pt x="7429345" y="1365113"/>
                </a:cubicBezTo>
                <a:cubicBezTo>
                  <a:pt x="7420426" y="1365113"/>
                  <a:pt x="7413105" y="1362185"/>
                  <a:pt x="7407513" y="1356599"/>
                </a:cubicBezTo>
                <a:cubicBezTo>
                  <a:pt x="7401922" y="1351008"/>
                  <a:pt x="7399127" y="1343948"/>
                  <a:pt x="7399127" y="1335427"/>
                </a:cubicBezTo>
                <a:cubicBezTo>
                  <a:pt x="7399127" y="1327172"/>
                  <a:pt x="7401922" y="1320123"/>
                  <a:pt x="7407513" y="1314393"/>
                </a:cubicBezTo>
                <a:cubicBezTo>
                  <a:pt x="7413105" y="1308672"/>
                  <a:pt x="7420293" y="1305741"/>
                  <a:pt x="7429345" y="1305741"/>
                </a:cubicBezTo>
                <a:close/>
                <a:moveTo>
                  <a:pt x="7211701" y="1305741"/>
                </a:moveTo>
                <a:cubicBezTo>
                  <a:pt x="7215960" y="1305741"/>
                  <a:pt x="7219954" y="1306548"/>
                  <a:pt x="7223415" y="1308407"/>
                </a:cubicBezTo>
                <a:cubicBezTo>
                  <a:pt x="7227142" y="1310007"/>
                  <a:pt x="7230204" y="1312130"/>
                  <a:pt x="7232733" y="1314801"/>
                </a:cubicBezTo>
                <a:cubicBezTo>
                  <a:pt x="7235262" y="1317323"/>
                  <a:pt x="7237392" y="1320522"/>
                  <a:pt x="7238856" y="1324111"/>
                </a:cubicBezTo>
                <a:cubicBezTo>
                  <a:pt x="7240321" y="1327712"/>
                  <a:pt x="7241120" y="1331566"/>
                  <a:pt x="7241120" y="1335564"/>
                </a:cubicBezTo>
                <a:cubicBezTo>
                  <a:pt x="7241120" y="1339692"/>
                  <a:pt x="7240321" y="1343678"/>
                  <a:pt x="7238856" y="1347279"/>
                </a:cubicBezTo>
                <a:cubicBezTo>
                  <a:pt x="7237259" y="1350867"/>
                  <a:pt x="7235262" y="1353929"/>
                  <a:pt x="7232733" y="1356599"/>
                </a:cubicBezTo>
                <a:cubicBezTo>
                  <a:pt x="7230071" y="1359262"/>
                  <a:pt x="7227009" y="1361385"/>
                  <a:pt x="7223415" y="1362851"/>
                </a:cubicBezTo>
                <a:cubicBezTo>
                  <a:pt x="7219821" y="1364313"/>
                  <a:pt x="7215960" y="1365113"/>
                  <a:pt x="7211701" y="1365113"/>
                </a:cubicBezTo>
                <a:cubicBezTo>
                  <a:pt x="7202782" y="1365113"/>
                  <a:pt x="7195460" y="1362185"/>
                  <a:pt x="7189868" y="1356599"/>
                </a:cubicBezTo>
                <a:cubicBezTo>
                  <a:pt x="7184278" y="1351008"/>
                  <a:pt x="7181482" y="1343948"/>
                  <a:pt x="7181482" y="1335427"/>
                </a:cubicBezTo>
                <a:cubicBezTo>
                  <a:pt x="7181482" y="1327172"/>
                  <a:pt x="7184278" y="1320123"/>
                  <a:pt x="7189868" y="1314393"/>
                </a:cubicBezTo>
                <a:cubicBezTo>
                  <a:pt x="7195460" y="1308672"/>
                  <a:pt x="7202649" y="1305741"/>
                  <a:pt x="7211701" y="1305741"/>
                </a:cubicBezTo>
                <a:close/>
                <a:moveTo>
                  <a:pt x="6994056" y="1305741"/>
                </a:moveTo>
                <a:cubicBezTo>
                  <a:pt x="6998315" y="1305741"/>
                  <a:pt x="7002309" y="1306548"/>
                  <a:pt x="7005769" y="1308407"/>
                </a:cubicBezTo>
                <a:cubicBezTo>
                  <a:pt x="7009497" y="1310007"/>
                  <a:pt x="7012558" y="1312130"/>
                  <a:pt x="7015087" y="1314801"/>
                </a:cubicBezTo>
                <a:cubicBezTo>
                  <a:pt x="7017617" y="1317323"/>
                  <a:pt x="7019747" y="1320522"/>
                  <a:pt x="7021211" y="1324111"/>
                </a:cubicBezTo>
                <a:cubicBezTo>
                  <a:pt x="7022675" y="1327712"/>
                  <a:pt x="7023474" y="1331566"/>
                  <a:pt x="7023474" y="1335564"/>
                </a:cubicBezTo>
                <a:cubicBezTo>
                  <a:pt x="7023474" y="1339692"/>
                  <a:pt x="7022675" y="1343678"/>
                  <a:pt x="7021211" y="1347279"/>
                </a:cubicBezTo>
                <a:cubicBezTo>
                  <a:pt x="7019614" y="1350867"/>
                  <a:pt x="7017617" y="1353929"/>
                  <a:pt x="7015087" y="1356599"/>
                </a:cubicBezTo>
                <a:cubicBezTo>
                  <a:pt x="7012425" y="1359262"/>
                  <a:pt x="7009364" y="1361385"/>
                  <a:pt x="7005769" y="1362851"/>
                </a:cubicBezTo>
                <a:cubicBezTo>
                  <a:pt x="7002176" y="1364313"/>
                  <a:pt x="6998315" y="1365113"/>
                  <a:pt x="6994056" y="1365113"/>
                </a:cubicBezTo>
                <a:cubicBezTo>
                  <a:pt x="6985136" y="1365113"/>
                  <a:pt x="6977815" y="1362185"/>
                  <a:pt x="6972223" y="1356599"/>
                </a:cubicBezTo>
                <a:cubicBezTo>
                  <a:pt x="6966632" y="1351008"/>
                  <a:pt x="6963837" y="1343948"/>
                  <a:pt x="6963837" y="1335427"/>
                </a:cubicBezTo>
                <a:cubicBezTo>
                  <a:pt x="6963837" y="1327172"/>
                  <a:pt x="6966632" y="1320123"/>
                  <a:pt x="6972223" y="1314393"/>
                </a:cubicBezTo>
                <a:cubicBezTo>
                  <a:pt x="6977815" y="1308672"/>
                  <a:pt x="6985003" y="1305741"/>
                  <a:pt x="6994056" y="1305741"/>
                </a:cubicBezTo>
                <a:close/>
                <a:moveTo>
                  <a:pt x="6776544" y="1305741"/>
                </a:moveTo>
                <a:cubicBezTo>
                  <a:pt x="6780670" y="1305741"/>
                  <a:pt x="6784664" y="1306548"/>
                  <a:pt x="6788258" y="1308407"/>
                </a:cubicBezTo>
                <a:cubicBezTo>
                  <a:pt x="6791985" y="1310007"/>
                  <a:pt x="6795047" y="1312130"/>
                  <a:pt x="6797576" y="1314801"/>
                </a:cubicBezTo>
                <a:cubicBezTo>
                  <a:pt x="6800105" y="1317323"/>
                  <a:pt x="6802235" y="1320522"/>
                  <a:pt x="6803699" y="1324111"/>
                </a:cubicBezTo>
                <a:cubicBezTo>
                  <a:pt x="6805164" y="1327712"/>
                  <a:pt x="6805963" y="1331566"/>
                  <a:pt x="6805963" y="1335564"/>
                </a:cubicBezTo>
                <a:cubicBezTo>
                  <a:pt x="6805963" y="1339692"/>
                  <a:pt x="6805164" y="1343678"/>
                  <a:pt x="6803699" y="1347279"/>
                </a:cubicBezTo>
                <a:cubicBezTo>
                  <a:pt x="6802102" y="1350867"/>
                  <a:pt x="6800105" y="1353929"/>
                  <a:pt x="6797576" y="1356599"/>
                </a:cubicBezTo>
                <a:cubicBezTo>
                  <a:pt x="6794914" y="1359262"/>
                  <a:pt x="6791852" y="1361385"/>
                  <a:pt x="6788258" y="1362851"/>
                </a:cubicBezTo>
                <a:cubicBezTo>
                  <a:pt x="6784664" y="1364313"/>
                  <a:pt x="6780803" y="1365113"/>
                  <a:pt x="6776544" y="1365113"/>
                </a:cubicBezTo>
                <a:cubicBezTo>
                  <a:pt x="6767625" y="1365113"/>
                  <a:pt x="6760303" y="1362185"/>
                  <a:pt x="6754711" y="1356599"/>
                </a:cubicBezTo>
                <a:cubicBezTo>
                  <a:pt x="6749121" y="1351008"/>
                  <a:pt x="6746325" y="1343948"/>
                  <a:pt x="6746325" y="1335427"/>
                </a:cubicBezTo>
                <a:cubicBezTo>
                  <a:pt x="6746325" y="1327172"/>
                  <a:pt x="6749121" y="1320123"/>
                  <a:pt x="6754711" y="1314393"/>
                </a:cubicBezTo>
                <a:cubicBezTo>
                  <a:pt x="6760303" y="1308672"/>
                  <a:pt x="6767492" y="1305741"/>
                  <a:pt x="6776544" y="1305741"/>
                </a:cubicBezTo>
                <a:close/>
                <a:moveTo>
                  <a:pt x="6558899" y="1305741"/>
                </a:moveTo>
                <a:cubicBezTo>
                  <a:pt x="6563158" y="1305741"/>
                  <a:pt x="6567019" y="1306548"/>
                  <a:pt x="6570612" y="1308407"/>
                </a:cubicBezTo>
                <a:cubicBezTo>
                  <a:pt x="6574340" y="1310007"/>
                  <a:pt x="6577401" y="1312130"/>
                  <a:pt x="6579930" y="1314801"/>
                </a:cubicBezTo>
                <a:cubicBezTo>
                  <a:pt x="6582460" y="1317323"/>
                  <a:pt x="6584590" y="1320522"/>
                  <a:pt x="6586054" y="1324111"/>
                </a:cubicBezTo>
                <a:cubicBezTo>
                  <a:pt x="6587518" y="1327712"/>
                  <a:pt x="6588317" y="1331566"/>
                  <a:pt x="6588317" y="1335564"/>
                </a:cubicBezTo>
                <a:cubicBezTo>
                  <a:pt x="6588317" y="1339692"/>
                  <a:pt x="6587518" y="1343678"/>
                  <a:pt x="6586054" y="1347279"/>
                </a:cubicBezTo>
                <a:cubicBezTo>
                  <a:pt x="6584457" y="1350867"/>
                  <a:pt x="6582460" y="1353929"/>
                  <a:pt x="6579930" y="1356599"/>
                </a:cubicBezTo>
                <a:cubicBezTo>
                  <a:pt x="6577268" y="1359262"/>
                  <a:pt x="6574207" y="1361385"/>
                  <a:pt x="6570612" y="1362851"/>
                </a:cubicBezTo>
                <a:cubicBezTo>
                  <a:pt x="6567019" y="1364313"/>
                  <a:pt x="6563158" y="1365113"/>
                  <a:pt x="6558899" y="1365113"/>
                </a:cubicBezTo>
                <a:cubicBezTo>
                  <a:pt x="6549979" y="1365113"/>
                  <a:pt x="6542658" y="1362185"/>
                  <a:pt x="6537066" y="1356599"/>
                </a:cubicBezTo>
                <a:cubicBezTo>
                  <a:pt x="6531476" y="1351008"/>
                  <a:pt x="6528680" y="1343948"/>
                  <a:pt x="6528680" y="1335427"/>
                </a:cubicBezTo>
                <a:cubicBezTo>
                  <a:pt x="6528680" y="1327172"/>
                  <a:pt x="6531476" y="1320123"/>
                  <a:pt x="6537066" y="1314393"/>
                </a:cubicBezTo>
                <a:cubicBezTo>
                  <a:pt x="6542658" y="1308672"/>
                  <a:pt x="6549846" y="1305741"/>
                  <a:pt x="6558899" y="1305741"/>
                </a:cubicBezTo>
                <a:close/>
                <a:moveTo>
                  <a:pt x="6341253" y="1305741"/>
                </a:moveTo>
                <a:cubicBezTo>
                  <a:pt x="6345513" y="1305741"/>
                  <a:pt x="6349373" y="1306548"/>
                  <a:pt x="6352968" y="1308407"/>
                </a:cubicBezTo>
                <a:cubicBezTo>
                  <a:pt x="6356695" y="1310007"/>
                  <a:pt x="6359757" y="1312130"/>
                  <a:pt x="6362286" y="1314801"/>
                </a:cubicBezTo>
                <a:cubicBezTo>
                  <a:pt x="6364815" y="1317323"/>
                  <a:pt x="6366945" y="1320522"/>
                  <a:pt x="6368409" y="1324111"/>
                </a:cubicBezTo>
                <a:cubicBezTo>
                  <a:pt x="6369874" y="1327712"/>
                  <a:pt x="6370672" y="1331566"/>
                  <a:pt x="6370672" y="1335564"/>
                </a:cubicBezTo>
                <a:cubicBezTo>
                  <a:pt x="6370672" y="1339692"/>
                  <a:pt x="6369874" y="1343678"/>
                  <a:pt x="6368409" y="1347279"/>
                </a:cubicBezTo>
                <a:cubicBezTo>
                  <a:pt x="6366811" y="1350867"/>
                  <a:pt x="6364815" y="1353929"/>
                  <a:pt x="6362286" y="1356599"/>
                </a:cubicBezTo>
                <a:cubicBezTo>
                  <a:pt x="6359623" y="1359262"/>
                  <a:pt x="6356562" y="1361385"/>
                  <a:pt x="6352968" y="1362851"/>
                </a:cubicBezTo>
                <a:cubicBezTo>
                  <a:pt x="6349373" y="1364313"/>
                  <a:pt x="6345513" y="1365113"/>
                  <a:pt x="6341253" y="1365113"/>
                </a:cubicBezTo>
                <a:cubicBezTo>
                  <a:pt x="6332335" y="1365113"/>
                  <a:pt x="6325013" y="1362185"/>
                  <a:pt x="6319421" y="1356599"/>
                </a:cubicBezTo>
                <a:cubicBezTo>
                  <a:pt x="6313830" y="1351008"/>
                  <a:pt x="6311035" y="1343948"/>
                  <a:pt x="6311035" y="1335427"/>
                </a:cubicBezTo>
                <a:cubicBezTo>
                  <a:pt x="6311035" y="1327172"/>
                  <a:pt x="6313830" y="1320123"/>
                  <a:pt x="6319421" y="1314393"/>
                </a:cubicBezTo>
                <a:cubicBezTo>
                  <a:pt x="6325013" y="1308672"/>
                  <a:pt x="6332201" y="1305741"/>
                  <a:pt x="6341253" y="1305741"/>
                </a:cubicBezTo>
                <a:close/>
                <a:moveTo>
                  <a:pt x="6123608" y="1305741"/>
                </a:moveTo>
                <a:cubicBezTo>
                  <a:pt x="6127867" y="1305741"/>
                  <a:pt x="6131728" y="1306548"/>
                  <a:pt x="6135322" y="1308407"/>
                </a:cubicBezTo>
                <a:cubicBezTo>
                  <a:pt x="6139049" y="1310007"/>
                  <a:pt x="6142111" y="1312130"/>
                  <a:pt x="6144640" y="1314801"/>
                </a:cubicBezTo>
                <a:cubicBezTo>
                  <a:pt x="6147169" y="1317323"/>
                  <a:pt x="6149299" y="1320522"/>
                  <a:pt x="6150763" y="1324111"/>
                </a:cubicBezTo>
                <a:cubicBezTo>
                  <a:pt x="6152228" y="1327712"/>
                  <a:pt x="6153026" y="1331566"/>
                  <a:pt x="6153026" y="1335564"/>
                </a:cubicBezTo>
                <a:cubicBezTo>
                  <a:pt x="6153026" y="1339692"/>
                  <a:pt x="6152228" y="1343678"/>
                  <a:pt x="6150763" y="1347279"/>
                </a:cubicBezTo>
                <a:cubicBezTo>
                  <a:pt x="6149299" y="1350867"/>
                  <a:pt x="6147169" y="1353929"/>
                  <a:pt x="6144640" y="1356599"/>
                </a:cubicBezTo>
                <a:cubicBezTo>
                  <a:pt x="6141977" y="1359262"/>
                  <a:pt x="6138916" y="1361385"/>
                  <a:pt x="6135322" y="1362851"/>
                </a:cubicBezTo>
                <a:cubicBezTo>
                  <a:pt x="6131728" y="1364313"/>
                  <a:pt x="6127867" y="1365113"/>
                  <a:pt x="6123608" y="1365113"/>
                </a:cubicBezTo>
                <a:cubicBezTo>
                  <a:pt x="6114689" y="1365113"/>
                  <a:pt x="6107367" y="1362185"/>
                  <a:pt x="6101775" y="1356599"/>
                </a:cubicBezTo>
                <a:cubicBezTo>
                  <a:pt x="6096184" y="1351008"/>
                  <a:pt x="6093389" y="1343948"/>
                  <a:pt x="6093389" y="1335427"/>
                </a:cubicBezTo>
                <a:cubicBezTo>
                  <a:pt x="6093389" y="1327172"/>
                  <a:pt x="6096184" y="1320123"/>
                  <a:pt x="6101775" y="1314393"/>
                </a:cubicBezTo>
                <a:cubicBezTo>
                  <a:pt x="6107367" y="1308672"/>
                  <a:pt x="6114555" y="1305741"/>
                  <a:pt x="6123608" y="1305741"/>
                </a:cubicBezTo>
                <a:close/>
                <a:moveTo>
                  <a:pt x="5905963" y="1305741"/>
                </a:moveTo>
                <a:cubicBezTo>
                  <a:pt x="5910222" y="1305741"/>
                  <a:pt x="5914216" y="1306548"/>
                  <a:pt x="5917677" y="1308407"/>
                </a:cubicBezTo>
                <a:cubicBezTo>
                  <a:pt x="5921404" y="1310007"/>
                  <a:pt x="5924466" y="1312130"/>
                  <a:pt x="5926995" y="1314801"/>
                </a:cubicBezTo>
                <a:cubicBezTo>
                  <a:pt x="5929524" y="1317323"/>
                  <a:pt x="5931654" y="1320522"/>
                  <a:pt x="5933118" y="1324111"/>
                </a:cubicBezTo>
                <a:cubicBezTo>
                  <a:pt x="5934583" y="1327712"/>
                  <a:pt x="5935381" y="1331566"/>
                  <a:pt x="5935381" y="1335564"/>
                </a:cubicBezTo>
                <a:cubicBezTo>
                  <a:pt x="5935381" y="1339692"/>
                  <a:pt x="5934583" y="1343678"/>
                  <a:pt x="5933118" y="1347279"/>
                </a:cubicBezTo>
                <a:cubicBezTo>
                  <a:pt x="5931654" y="1350867"/>
                  <a:pt x="5929524" y="1353929"/>
                  <a:pt x="5926995" y="1356599"/>
                </a:cubicBezTo>
                <a:cubicBezTo>
                  <a:pt x="5924333" y="1359262"/>
                  <a:pt x="5921271" y="1361385"/>
                  <a:pt x="5917677" y="1362851"/>
                </a:cubicBezTo>
                <a:cubicBezTo>
                  <a:pt x="5914083" y="1364313"/>
                  <a:pt x="5910222" y="1365113"/>
                  <a:pt x="5905963" y="1365113"/>
                </a:cubicBezTo>
                <a:cubicBezTo>
                  <a:pt x="5897044" y="1365113"/>
                  <a:pt x="5889722" y="1362185"/>
                  <a:pt x="5884130" y="1356599"/>
                </a:cubicBezTo>
                <a:cubicBezTo>
                  <a:pt x="5878540" y="1351008"/>
                  <a:pt x="5875744" y="1343948"/>
                  <a:pt x="5875744" y="1335427"/>
                </a:cubicBezTo>
                <a:cubicBezTo>
                  <a:pt x="5875744" y="1327172"/>
                  <a:pt x="5878540" y="1320123"/>
                  <a:pt x="5884130" y="1314393"/>
                </a:cubicBezTo>
                <a:cubicBezTo>
                  <a:pt x="5889722" y="1308672"/>
                  <a:pt x="5896910" y="1305741"/>
                  <a:pt x="5905963" y="1305741"/>
                </a:cubicBezTo>
                <a:close/>
                <a:moveTo>
                  <a:pt x="5688451" y="1305741"/>
                </a:moveTo>
                <a:cubicBezTo>
                  <a:pt x="5692577" y="1305741"/>
                  <a:pt x="5696571" y="1306548"/>
                  <a:pt x="5700165" y="1308407"/>
                </a:cubicBezTo>
                <a:cubicBezTo>
                  <a:pt x="5703892" y="1310007"/>
                  <a:pt x="5706954" y="1312130"/>
                  <a:pt x="5709483" y="1314801"/>
                </a:cubicBezTo>
                <a:cubicBezTo>
                  <a:pt x="5712012" y="1317323"/>
                  <a:pt x="5714142" y="1320522"/>
                  <a:pt x="5715606" y="1324111"/>
                </a:cubicBezTo>
                <a:cubicBezTo>
                  <a:pt x="5717071" y="1327712"/>
                  <a:pt x="5717869" y="1331566"/>
                  <a:pt x="5717869" y="1335564"/>
                </a:cubicBezTo>
                <a:cubicBezTo>
                  <a:pt x="5717869" y="1339692"/>
                  <a:pt x="5717071" y="1343678"/>
                  <a:pt x="5715606" y="1347279"/>
                </a:cubicBezTo>
                <a:cubicBezTo>
                  <a:pt x="5714142" y="1350867"/>
                  <a:pt x="5712012" y="1353929"/>
                  <a:pt x="5709483" y="1356599"/>
                </a:cubicBezTo>
                <a:cubicBezTo>
                  <a:pt x="5706820" y="1359262"/>
                  <a:pt x="5703759" y="1361385"/>
                  <a:pt x="5700165" y="1362851"/>
                </a:cubicBezTo>
                <a:cubicBezTo>
                  <a:pt x="5696571" y="1364313"/>
                  <a:pt x="5692710" y="1365113"/>
                  <a:pt x="5688451" y="1365113"/>
                </a:cubicBezTo>
                <a:cubicBezTo>
                  <a:pt x="5679532" y="1365113"/>
                  <a:pt x="5672210" y="1362185"/>
                  <a:pt x="5666618" y="1356599"/>
                </a:cubicBezTo>
                <a:cubicBezTo>
                  <a:pt x="5661028" y="1351008"/>
                  <a:pt x="5658232" y="1343948"/>
                  <a:pt x="5658232" y="1335427"/>
                </a:cubicBezTo>
                <a:cubicBezTo>
                  <a:pt x="5658232" y="1327172"/>
                  <a:pt x="5661028" y="1320123"/>
                  <a:pt x="5666618" y="1314393"/>
                </a:cubicBezTo>
                <a:cubicBezTo>
                  <a:pt x="5672210" y="1308672"/>
                  <a:pt x="5679398" y="1305741"/>
                  <a:pt x="5688451" y="1305741"/>
                </a:cubicBezTo>
                <a:close/>
                <a:moveTo>
                  <a:pt x="5470806" y="1305741"/>
                </a:moveTo>
                <a:cubicBezTo>
                  <a:pt x="5475065" y="1305741"/>
                  <a:pt x="5478926" y="1306548"/>
                  <a:pt x="5482520" y="1308407"/>
                </a:cubicBezTo>
                <a:cubicBezTo>
                  <a:pt x="5486247" y="1310007"/>
                  <a:pt x="5489309" y="1312130"/>
                  <a:pt x="5491838" y="1314801"/>
                </a:cubicBezTo>
                <a:cubicBezTo>
                  <a:pt x="5494367" y="1317323"/>
                  <a:pt x="5496497" y="1320522"/>
                  <a:pt x="5497961" y="1324111"/>
                </a:cubicBezTo>
                <a:cubicBezTo>
                  <a:pt x="5499426" y="1327712"/>
                  <a:pt x="5500224" y="1331566"/>
                  <a:pt x="5500224" y="1335564"/>
                </a:cubicBezTo>
                <a:cubicBezTo>
                  <a:pt x="5500224" y="1339692"/>
                  <a:pt x="5499426" y="1343678"/>
                  <a:pt x="5497961" y="1347279"/>
                </a:cubicBezTo>
                <a:cubicBezTo>
                  <a:pt x="5496497" y="1350867"/>
                  <a:pt x="5494367" y="1353929"/>
                  <a:pt x="5491838" y="1356599"/>
                </a:cubicBezTo>
                <a:cubicBezTo>
                  <a:pt x="5489176" y="1359262"/>
                  <a:pt x="5486114" y="1361385"/>
                  <a:pt x="5482520" y="1362851"/>
                </a:cubicBezTo>
                <a:cubicBezTo>
                  <a:pt x="5478926" y="1364313"/>
                  <a:pt x="5475065" y="1365113"/>
                  <a:pt x="5470806" y="1365113"/>
                </a:cubicBezTo>
                <a:cubicBezTo>
                  <a:pt x="5461887" y="1365113"/>
                  <a:pt x="5454565" y="1362185"/>
                  <a:pt x="5448973" y="1356599"/>
                </a:cubicBezTo>
                <a:cubicBezTo>
                  <a:pt x="5443383" y="1351008"/>
                  <a:pt x="5440587" y="1343948"/>
                  <a:pt x="5440587" y="1335427"/>
                </a:cubicBezTo>
                <a:cubicBezTo>
                  <a:pt x="5440587" y="1327172"/>
                  <a:pt x="5443383" y="1320123"/>
                  <a:pt x="5448973" y="1314393"/>
                </a:cubicBezTo>
                <a:cubicBezTo>
                  <a:pt x="5454565" y="1308672"/>
                  <a:pt x="5461754" y="1305741"/>
                  <a:pt x="5470806" y="1305741"/>
                </a:cubicBezTo>
                <a:close/>
                <a:moveTo>
                  <a:pt x="5253160" y="1305741"/>
                </a:moveTo>
                <a:cubicBezTo>
                  <a:pt x="5257420" y="1305741"/>
                  <a:pt x="5261280" y="1306548"/>
                  <a:pt x="5264875" y="1308407"/>
                </a:cubicBezTo>
                <a:cubicBezTo>
                  <a:pt x="5268602" y="1310007"/>
                  <a:pt x="5271664" y="1312130"/>
                  <a:pt x="5274192" y="1314801"/>
                </a:cubicBezTo>
                <a:cubicBezTo>
                  <a:pt x="5276722" y="1317323"/>
                  <a:pt x="5278852" y="1320522"/>
                  <a:pt x="5280316" y="1324111"/>
                </a:cubicBezTo>
                <a:cubicBezTo>
                  <a:pt x="5281780" y="1327712"/>
                  <a:pt x="5282579" y="1331566"/>
                  <a:pt x="5282579" y="1335564"/>
                </a:cubicBezTo>
                <a:cubicBezTo>
                  <a:pt x="5282579" y="1339692"/>
                  <a:pt x="5281780" y="1343678"/>
                  <a:pt x="5280316" y="1347279"/>
                </a:cubicBezTo>
                <a:cubicBezTo>
                  <a:pt x="5278852" y="1350867"/>
                  <a:pt x="5276722" y="1353929"/>
                  <a:pt x="5274192" y="1356599"/>
                </a:cubicBezTo>
                <a:cubicBezTo>
                  <a:pt x="5271664" y="1359262"/>
                  <a:pt x="5268469" y="1361385"/>
                  <a:pt x="5264875" y="1362851"/>
                </a:cubicBezTo>
                <a:cubicBezTo>
                  <a:pt x="5261280" y="1364313"/>
                  <a:pt x="5257420" y="1365113"/>
                  <a:pt x="5253160" y="1365113"/>
                </a:cubicBezTo>
                <a:cubicBezTo>
                  <a:pt x="5244241" y="1365113"/>
                  <a:pt x="5236920" y="1362185"/>
                  <a:pt x="5231328" y="1356599"/>
                </a:cubicBezTo>
                <a:cubicBezTo>
                  <a:pt x="5225737" y="1351008"/>
                  <a:pt x="5222942" y="1343948"/>
                  <a:pt x="5222942" y="1335427"/>
                </a:cubicBezTo>
                <a:cubicBezTo>
                  <a:pt x="5222942" y="1327172"/>
                  <a:pt x="5225737" y="1320123"/>
                  <a:pt x="5231328" y="1314393"/>
                </a:cubicBezTo>
                <a:cubicBezTo>
                  <a:pt x="5236920" y="1308672"/>
                  <a:pt x="5244108" y="1305741"/>
                  <a:pt x="5253160" y="1305741"/>
                </a:cubicBezTo>
                <a:close/>
                <a:moveTo>
                  <a:pt x="5035515" y="1305741"/>
                </a:moveTo>
                <a:cubicBezTo>
                  <a:pt x="5039775" y="1305741"/>
                  <a:pt x="5043636" y="1306548"/>
                  <a:pt x="5047230" y="1308407"/>
                </a:cubicBezTo>
                <a:cubicBezTo>
                  <a:pt x="5050957" y="1310007"/>
                  <a:pt x="5054019" y="1312130"/>
                  <a:pt x="5056548" y="1314801"/>
                </a:cubicBezTo>
                <a:cubicBezTo>
                  <a:pt x="5059077" y="1317323"/>
                  <a:pt x="5061207" y="1320522"/>
                  <a:pt x="5062671" y="1324111"/>
                </a:cubicBezTo>
                <a:cubicBezTo>
                  <a:pt x="5064135" y="1327712"/>
                  <a:pt x="5064934" y="1331566"/>
                  <a:pt x="5064934" y="1335564"/>
                </a:cubicBezTo>
                <a:cubicBezTo>
                  <a:pt x="5064934" y="1339692"/>
                  <a:pt x="5064135" y="1343678"/>
                  <a:pt x="5062671" y="1347279"/>
                </a:cubicBezTo>
                <a:cubicBezTo>
                  <a:pt x="5061207" y="1350867"/>
                  <a:pt x="5059077" y="1353929"/>
                  <a:pt x="5056548" y="1356599"/>
                </a:cubicBezTo>
                <a:cubicBezTo>
                  <a:pt x="5053885" y="1359262"/>
                  <a:pt x="5050824" y="1361385"/>
                  <a:pt x="5047230" y="1362851"/>
                </a:cubicBezTo>
                <a:cubicBezTo>
                  <a:pt x="5043636" y="1364313"/>
                  <a:pt x="5039775" y="1365113"/>
                  <a:pt x="5035515" y="1365113"/>
                </a:cubicBezTo>
                <a:cubicBezTo>
                  <a:pt x="5026597" y="1365113"/>
                  <a:pt x="5019275" y="1362185"/>
                  <a:pt x="5013683" y="1356599"/>
                </a:cubicBezTo>
                <a:cubicBezTo>
                  <a:pt x="5008092" y="1351008"/>
                  <a:pt x="5005297" y="1343948"/>
                  <a:pt x="5005297" y="1335427"/>
                </a:cubicBezTo>
                <a:cubicBezTo>
                  <a:pt x="5005297" y="1327172"/>
                  <a:pt x="5008092" y="1320123"/>
                  <a:pt x="5013683" y="1314393"/>
                </a:cubicBezTo>
                <a:cubicBezTo>
                  <a:pt x="5019275" y="1308672"/>
                  <a:pt x="5026463" y="1305741"/>
                  <a:pt x="5035515" y="1305741"/>
                </a:cubicBezTo>
                <a:close/>
                <a:moveTo>
                  <a:pt x="4817870" y="1305741"/>
                </a:moveTo>
                <a:cubicBezTo>
                  <a:pt x="4822130" y="1305741"/>
                  <a:pt x="4826124" y="1306548"/>
                  <a:pt x="4829585" y="1308407"/>
                </a:cubicBezTo>
                <a:cubicBezTo>
                  <a:pt x="4833312" y="1310007"/>
                  <a:pt x="4836374" y="1312130"/>
                  <a:pt x="4838903" y="1314801"/>
                </a:cubicBezTo>
                <a:cubicBezTo>
                  <a:pt x="4841432" y="1317323"/>
                  <a:pt x="4843562" y="1320522"/>
                  <a:pt x="4845026" y="1324111"/>
                </a:cubicBezTo>
                <a:cubicBezTo>
                  <a:pt x="4846491" y="1327712"/>
                  <a:pt x="4847289" y="1331566"/>
                  <a:pt x="4847289" y="1335564"/>
                </a:cubicBezTo>
                <a:cubicBezTo>
                  <a:pt x="4847289" y="1339692"/>
                  <a:pt x="4846491" y="1343678"/>
                  <a:pt x="4845026" y="1347279"/>
                </a:cubicBezTo>
                <a:cubicBezTo>
                  <a:pt x="4843562" y="1350867"/>
                  <a:pt x="4841432" y="1353929"/>
                  <a:pt x="4838903" y="1356599"/>
                </a:cubicBezTo>
                <a:cubicBezTo>
                  <a:pt x="4836240" y="1359262"/>
                  <a:pt x="4833179" y="1361385"/>
                  <a:pt x="4829585" y="1362851"/>
                </a:cubicBezTo>
                <a:cubicBezTo>
                  <a:pt x="4825991" y="1364313"/>
                  <a:pt x="4822130" y="1365113"/>
                  <a:pt x="4817870" y="1365113"/>
                </a:cubicBezTo>
                <a:cubicBezTo>
                  <a:pt x="4808952" y="1365113"/>
                  <a:pt x="4801630" y="1362185"/>
                  <a:pt x="4796038" y="1356599"/>
                </a:cubicBezTo>
                <a:cubicBezTo>
                  <a:pt x="4790447" y="1351008"/>
                  <a:pt x="4787652" y="1343948"/>
                  <a:pt x="4787652" y="1335427"/>
                </a:cubicBezTo>
                <a:cubicBezTo>
                  <a:pt x="4787652" y="1327172"/>
                  <a:pt x="4790447" y="1320123"/>
                  <a:pt x="4796038" y="1314393"/>
                </a:cubicBezTo>
                <a:cubicBezTo>
                  <a:pt x="4801630" y="1308672"/>
                  <a:pt x="4808818" y="1305741"/>
                  <a:pt x="4817870" y="1305741"/>
                </a:cubicBezTo>
                <a:close/>
                <a:moveTo>
                  <a:pt x="4600226" y="1305741"/>
                </a:moveTo>
                <a:cubicBezTo>
                  <a:pt x="4604485" y="1305741"/>
                  <a:pt x="4608479" y="1306548"/>
                  <a:pt x="4612073" y="1308407"/>
                </a:cubicBezTo>
                <a:cubicBezTo>
                  <a:pt x="4615800" y="1310007"/>
                  <a:pt x="4618862" y="1312130"/>
                  <a:pt x="4621391" y="1314801"/>
                </a:cubicBezTo>
                <a:cubicBezTo>
                  <a:pt x="4623920" y="1317323"/>
                  <a:pt x="4626050" y="1320522"/>
                  <a:pt x="4627514" y="1324111"/>
                </a:cubicBezTo>
                <a:cubicBezTo>
                  <a:pt x="4628978" y="1327712"/>
                  <a:pt x="4629777" y="1331566"/>
                  <a:pt x="4629777" y="1335564"/>
                </a:cubicBezTo>
                <a:cubicBezTo>
                  <a:pt x="4629777" y="1339692"/>
                  <a:pt x="4628978" y="1343678"/>
                  <a:pt x="4627514" y="1347279"/>
                </a:cubicBezTo>
                <a:cubicBezTo>
                  <a:pt x="4626050" y="1350867"/>
                  <a:pt x="4623920" y="1353929"/>
                  <a:pt x="4621391" y="1356599"/>
                </a:cubicBezTo>
                <a:cubicBezTo>
                  <a:pt x="4618729" y="1359262"/>
                  <a:pt x="4615667" y="1361385"/>
                  <a:pt x="4612073" y="1362851"/>
                </a:cubicBezTo>
                <a:cubicBezTo>
                  <a:pt x="4608346" y="1364313"/>
                  <a:pt x="4604485" y="1365113"/>
                  <a:pt x="4600226" y="1365113"/>
                </a:cubicBezTo>
                <a:cubicBezTo>
                  <a:pt x="4591173" y="1365113"/>
                  <a:pt x="4583985" y="1362185"/>
                  <a:pt x="4578393" y="1356599"/>
                </a:cubicBezTo>
                <a:cubicBezTo>
                  <a:pt x="4572803" y="1351008"/>
                  <a:pt x="4570007" y="1343948"/>
                  <a:pt x="4570007" y="1335427"/>
                </a:cubicBezTo>
                <a:cubicBezTo>
                  <a:pt x="4570007" y="1327172"/>
                  <a:pt x="4572803" y="1320123"/>
                  <a:pt x="4578393" y="1314393"/>
                </a:cubicBezTo>
                <a:cubicBezTo>
                  <a:pt x="4583985" y="1308672"/>
                  <a:pt x="4591173" y="1305741"/>
                  <a:pt x="4600226" y="1305741"/>
                </a:cubicBezTo>
                <a:close/>
                <a:moveTo>
                  <a:pt x="4382713" y="1305741"/>
                </a:moveTo>
                <a:cubicBezTo>
                  <a:pt x="4386840" y="1305741"/>
                  <a:pt x="4390834" y="1306548"/>
                  <a:pt x="4394428" y="1308407"/>
                </a:cubicBezTo>
                <a:cubicBezTo>
                  <a:pt x="4398155" y="1310007"/>
                  <a:pt x="4401217" y="1312130"/>
                  <a:pt x="4403746" y="1314801"/>
                </a:cubicBezTo>
                <a:cubicBezTo>
                  <a:pt x="4406275" y="1317323"/>
                  <a:pt x="4408405" y="1320522"/>
                  <a:pt x="4409869" y="1324111"/>
                </a:cubicBezTo>
                <a:cubicBezTo>
                  <a:pt x="4411334" y="1327712"/>
                  <a:pt x="4412132" y="1331566"/>
                  <a:pt x="4412132" y="1335564"/>
                </a:cubicBezTo>
                <a:cubicBezTo>
                  <a:pt x="4412132" y="1339692"/>
                  <a:pt x="4411334" y="1343678"/>
                  <a:pt x="4409869" y="1347279"/>
                </a:cubicBezTo>
                <a:cubicBezTo>
                  <a:pt x="4408405" y="1350867"/>
                  <a:pt x="4406275" y="1353929"/>
                  <a:pt x="4403746" y="1356599"/>
                </a:cubicBezTo>
                <a:cubicBezTo>
                  <a:pt x="4401083" y="1359262"/>
                  <a:pt x="4398022" y="1361385"/>
                  <a:pt x="4394428" y="1362851"/>
                </a:cubicBezTo>
                <a:cubicBezTo>
                  <a:pt x="4390834" y="1364313"/>
                  <a:pt x="4386973" y="1365113"/>
                  <a:pt x="4382713" y="1365113"/>
                </a:cubicBezTo>
                <a:cubicBezTo>
                  <a:pt x="4373661" y="1365113"/>
                  <a:pt x="4366473" y="1362185"/>
                  <a:pt x="4360881" y="1356599"/>
                </a:cubicBezTo>
                <a:cubicBezTo>
                  <a:pt x="4355290" y="1351008"/>
                  <a:pt x="4352495" y="1343948"/>
                  <a:pt x="4352495" y="1335427"/>
                </a:cubicBezTo>
                <a:cubicBezTo>
                  <a:pt x="4352495" y="1327172"/>
                  <a:pt x="4355290" y="1320123"/>
                  <a:pt x="4360881" y="1314393"/>
                </a:cubicBezTo>
                <a:cubicBezTo>
                  <a:pt x="4366473" y="1308672"/>
                  <a:pt x="4373661" y="1305741"/>
                  <a:pt x="4382713" y="1305741"/>
                </a:cubicBezTo>
                <a:close/>
                <a:moveTo>
                  <a:pt x="4165068" y="1305741"/>
                </a:moveTo>
                <a:cubicBezTo>
                  <a:pt x="4169327" y="1305741"/>
                  <a:pt x="4173188" y="1306548"/>
                  <a:pt x="4176782" y="1308407"/>
                </a:cubicBezTo>
                <a:cubicBezTo>
                  <a:pt x="4180509" y="1310007"/>
                  <a:pt x="4183571" y="1312130"/>
                  <a:pt x="4186100" y="1314801"/>
                </a:cubicBezTo>
                <a:cubicBezTo>
                  <a:pt x="4188629" y="1317323"/>
                  <a:pt x="4190759" y="1320522"/>
                  <a:pt x="4192223" y="1324111"/>
                </a:cubicBezTo>
                <a:cubicBezTo>
                  <a:pt x="4193688" y="1327712"/>
                  <a:pt x="4194486" y="1331566"/>
                  <a:pt x="4194486" y="1335564"/>
                </a:cubicBezTo>
                <a:cubicBezTo>
                  <a:pt x="4194486" y="1339692"/>
                  <a:pt x="4193688" y="1343678"/>
                  <a:pt x="4192223" y="1347279"/>
                </a:cubicBezTo>
                <a:cubicBezTo>
                  <a:pt x="4190759" y="1350867"/>
                  <a:pt x="4188629" y="1353929"/>
                  <a:pt x="4186100" y="1356599"/>
                </a:cubicBezTo>
                <a:cubicBezTo>
                  <a:pt x="4183438" y="1359262"/>
                  <a:pt x="4180376" y="1361385"/>
                  <a:pt x="4176782" y="1362851"/>
                </a:cubicBezTo>
                <a:cubicBezTo>
                  <a:pt x="4173188" y="1364313"/>
                  <a:pt x="4169327" y="1365113"/>
                  <a:pt x="4165068" y="1365113"/>
                </a:cubicBezTo>
                <a:cubicBezTo>
                  <a:pt x="4156015" y="1365113"/>
                  <a:pt x="4148827" y="1362185"/>
                  <a:pt x="4143235" y="1356599"/>
                </a:cubicBezTo>
                <a:cubicBezTo>
                  <a:pt x="4137645" y="1351008"/>
                  <a:pt x="4134849" y="1343948"/>
                  <a:pt x="4134849" y="1335427"/>
                </a:cubicBezTo>
                <a:cubicBezTo>
                  <a:pt x="4134849" y="1327172"/>
                  <a:pt x="4137645" y="1320123"/>
                  <a:pt x="4143235" y="1314393"/>
                </a:cubicBezTo>
                <a:cubicBezTo>
                  <a:pt x="4148827" y="1308672"/>
                  <a:pt x="4156015" y="1305741"/>
                  <a:pt x="4165068" y="1305741"/>
                </a:cubicBezTo>
                <a:close/>
                <a:moveTo>
                  <a:pt x="3947501" y="1305741"/>
                </a:moveTo>
                <a:cubicBezTo>
                  <a:pt x="3951761" y="1305741"/>
                  <a:pt x="3955620" y="1306548"/>
                  <a:pt x="3959216" y="1308407"/>
                </a:cubicBezTo>
                <a:cubicBezTo>
                  <a:pt x="3962943" y="1310007"/>
                  <a:pt x="3966004" y="1312130"/>
                  <a:pt x="3968533" y="1314801"/>
                </a:cubicBezTo>
                <a:cubicBezTo>
                  <a:pt x="3971063" y="1317323"/>
                  <a:pt x="3973193" y="1320522"/>
                  <a:pt x="3974657" y="1324111"/>
                </a:cubicBezTo>
                <a:cubicBezTo>
                  <a:pt x="3976122" y="1327712"/>
                  <a:pt x="3976921" y="1331566"/>
                  <a:pt x="3976921" y="1335564"/>
                </a:cubicBezTo>
                <a:cubicBezTo>
                  <a:pt x="3976921" y="1339692"/>
                  <a:pt x="3976122" y="1343678"/>
                  <a:pt x="3974657" y="1347279"/>
                </a:cubicBezTo>
                <a:cubicBezTo>
                  <a:pt x="3973193" y="1350867"/>
                  <a:pt x="3971063" y="1353929"/>
                  <a:pt x="3968533" y="1356599"/>
                </a:cubicBezTo>
                <a:cubicBezTo>
                  <a:pt x="3965871" y="1359262"/>
                  <a:pt x="3962810" y="1361385"/>
                  <a:pt x="3959216" y="1362851"/>
                </a:cubicBezTo>
                <a:cubicBezTo>
                  <a:pt x="3955620" y="1364313"/>
                  <a:pt x="3951761" y="1365113"/>
                  <a:pt x="3947501" y="1365113"/>
                </a:cubicBezTo>
                <a:cubicBezTo>
                  <a:pt x="3938448" y="1365113"/>
                  <a:pt x="3931260" y="1362185"/>
                  <a:pt x="3925668" y="1356599"/>
                </a:cubicBezTo>
                <a:cubicBezTo>
                  <a:pt x="3920077" y="1351008"/>
                  <a:pt x="3917281" y="1343948"/>
                  <a:pt x="3917281" y="1335427"/>
                </a:cubicBezTo>
                <a:cubicBezTo>
                  <a:pt x="3917281" y="1327172"/>
                  <a:pt x="3920077" y="1320123"/>
                  <a:pt x="3925668" y="1314393"/>
                </a:cubicBezTo>
                <a:cubicBezTo>
                  <a:pt x="3931260" y="1308672"/>
                  <a:pt x="3938448" y="1305741"/>
                  <a:pt x="3947501" y="1305741"/>
                </a:cubicBezTo>
                <a:close/>
                <a:moveTo>
                  <a:pt x="3729851" y="1305741"/>
                </a:moveTo>
                <a:cubicBezTo>
                  <a:pt x="3734111" y="1305741"/>
                  <a:pt x="3738104" y="1306548"/>
                  <a:pt x="3741566" y="1308407"/>
                </a:cubicBezTo>
                <a:cubicBezTo>
                  <a:pt x="3745160" y="1310007"/>
                  <a:pt x="3748355" y="1312130"/>
                  <a:pt x="3750884" y="1314801"/>
                </a:cubicBezTo>
                <a:cubicBezTo>
                  <a:pt x="3753414" y="1317323"/>
                  <a:pt x="3755543" y="1320522"/>
                  <a:pt x="3757007" y="1324111"/>
                </a:cubicBezTo>
                <a:cubicBezTo>
                  <a:pt x="3758471" y="1327712"/>
                  <a:pt x="3759270" y="1331566"/>
                  <a:pt x="3759270" y="1335564"/>
                </a:cubicBezTo>
                <a:cubicBezTo>
                  <a:pt x="3759270" y="1339692"/>
                  <a:pt x="3758471" y="1343678"/>
                  <a:pt x="3757007" y="1347279"/>
                </a:cubicBezTo>
                <a:cubicBezTo>
                  <a:pt x="3755543" y="1350867"/>
                  <a:pt x="3753414" y="1353929"/>
                  <a:pt x="3750884" y="1356599"/>
                </a:cubicBezTo>
                <a:cubicBezTo>
                  <a:pt x="3748221" y="1359262"/>
                  <a:pt x="3745160" y="1361385"/>
                  <a:pt x="3741566" y="1362851"/>
                </a:cubicBezTo>
                <a:cubicBezTo>
                  <a:pt x="3737972" y="1364313"/>
                  <a:pt x="3734111" y="1365113"/>
                  <a:pt x="3729851" y="1365113"/>
                </a:cubicBezTo>
                <a:cubicBezTo>
                  <a:pt x="3720798" y="1365113"/>
                  <a:pt x="3713611" y="1362185"/>
                  <a:pt x="3708018" y="1356599"/>
                </a:cubicBezTo>
                <a:cubicBezTo>
                  <a:pt x="3702425" y="1351008"/>
                  <a:pt x="3699632" y="1343948"/>
                  <a:pt x="3699632" y="1335427"/>
                </a:cubicBezTo>
                <a:cubicBezTo>
                  <a:pt x="3699632" y="1327172"/>
                  <a:pt x="3702425" y="1320123"/>
                  <a:pt x="3708018" y="1314393"/>
                </a:cubicBezTo>
                <a:cubicBezTo>
                  <a:pt x="3713611" y="1308672"/>
                  <a:pt x="3720798" y="1305741"/>
                  <a:pt x="3729851" y="1305741"/>
                </a:cubicBezTo>
                <a:close/>
                <a:moveTo>
                  <a:pt x="3512202" y="1305741"/>
                </a:moveTo>
                <a:cubicBezTo>
                  <a:pt x="3516462" y="1305741"/>
                  <a:pt x="3520455" y="1306548"/>
                  <a:pt x="3523917" y="1308407"/>
                </a:cubicBezTo>
                <a:cubicBezTo>
                  <a:pt x="3527511" y="1310007"/>
                  <a:pt x="3530706" y="1312130"/>
                  <a:pt x="3533235" y="1314801"/>
                </a:cubicBezTo>
                <a:cubicBezTo>
                  <a:pt x="3535764" y="1317323"/>
                  <a:pt x="3537895" y="1320522"/>
                  <a:pt x="3539359" y="1324111"/>
                </a:cubicBezTo>
                <a:cubicBezTo>
                  <a:pt x="3540823" y="1327712"/>
                  <a:pt x="3541622" y="1331566"/>
                  <a:pt x="3541622" y="1335564"/>
                </a:cubicBezTo>
                <a:cubicBezTo>
                  <a:pt x="3541622" y="1339692"/>
                  <a:pt x="3540823" y="1343678"/>
                  <a:pt x="3539359" y="1347279"/>
                </a:cubicBezTo>
                <a:cubicBezTo>
                  <a:pt x="3537895" y="1350867"/>
                  <a:pt x="3535764" y="1353929"/>
                  <a:pt x="3533235" y="1356599"/>
                </a:cubicBezTo>
                <a:cubicBezTo>
                  <a:pt x="3530572" y="1359262"/>
                  <a:pt x="3527511" y="1361385"/>
                  <a:pt x="3523917" y="1362851"/>
                </a:cubicBezTo>
                <a:cubicBezTo>
                  <a:pt x="3520323" y="1364313"/>
                  <a:pt x="3516462" y="1365113"/>
                  <a:pt x="3512202" y="1365113"/>
                </a:cubicBezTo>
                <a:cubicBezTo>
                  <a:pt x="3503149" y="1365113"/>
                  <a:pt x="3495960" y="1362185"/>
                  <a:pt x="3490369" y="1356599"/>
                </a:cubicBezTo>
                <a:cubicBezTo>
                  <a:pt x="3484778" y="1351008"/>
                  <a:pt x="3481982" y="1343948"/>
                  <a:pt x="3481982" y="1335427"/>
                </a:cubicBezTo>
                <a:cubicBezTo>
                  <a:pt x="3481982" y="1327172"/>
                  <a:pt x="3484778" y="1320123"/>
                  <a:pt x="3490369" y="1314393"/>
                </a:cubicBezTo>
                <a:cubicBezTo>
                  <a:pt x="3495960" y="1308672"/>
                  <a:pt x="3503149" y="1305741"/>
                  <a:pt x="3512202" y="1305741"/>
                </a:cubicBezTo>
                <a:close/>
                <a:moveTo>
                  <a:pt x="3294686" y="1305741"/>
                </a:moveTo>
                <a:cubicBezTo>
                  <a:pt x="3298813" y="1305741"/>
                  <a:pt x="3302807" y="1306548"/>
                  <a:pt x="3306401" y="1308407"/>
                </a:cubicBezTo>
                <a:cubicBezTo>
                  <a:pt x="3310128" y="1310007"/>
                  <a:pt x="3313190" y="1312130"/>
                  <a:pt x="3315719" y="1314801"/>
                </a:cubicBezTo>
                <a:cubicBezTo>
                  <a:pt x="3318249" y="1317323"/>
                  <a:pt x="3320379" y="1320522"/>
                  <a:pt x="3321843" y="1324111"/>
                </a:cubicBezTo>
                <a:cubicBezTo>
                  <a:pt x="3323307" y="1327712"/>
                  <a:pt x="3324106" y="1331566"/>
                  <a:pt x="3324106" y="1335564"/>
                </a:cubicBezTo>
                <a:cubicBezTo>
                  <a:pt x="3324106" y="1339692"/>
                  <a:pt x="3323307" y="1343678"/>
                  <a:pt x="3321843" y="1347279"/>
                </a:cubicBezTo>
                <a:cubicBezTo>
                  <a:pt x="3320379" y="1350867"/>
                  <a:pt x="3318249" y="1353929"/>
                  <a:pt x="3315719" y="1356599"/>
                </a:cubicBezTo>
                <a:cubicBezTo>
                  <a:pt x="3313056" y="1359262"/>
                  <a:pt x="3309995" y="1361385"/>
                  <a:pt x="3306401" y="1362851"/>
                </a:cubicBezTo>
                <a:cubicBezTo>
                  <a:pt x="3302807" y="1364313"/>
                  <a:pt x="3298946" y="1365113"/>
                  <a:pt x="3294686" y="1365113"/>
                </a:cubicBezTo>
                <a:cubicBezTo>
                  <a:pt x="3285634" y="1365113"/>
                  <a:pt x="3278445" y="1362185"/>
                  <a:pt x="3272853" y="1356599"/>
                </a:cubicBezTo>
                <a:cubicBezTo>
                  <a:pt x="3267262" y="1351008"/>
                  <a:pt x="3264467" y="1343948"/>
                  <a:pt x="3264467" y="1335427"/>
                </a:cubicBezTo>
                <a:cubicBezTo>
                  <a:pt x="3264467" y="1327172"/>
                  <a:pt x="3267262" y="1320123"/>
                  <a:pt x="3272853" y="1314393"/>
                </a:cubicBezTo>
                <a:cubicBezTo>
                  <a:pt x="3278445" y="1308672"/>
                  <a:pt x="3285634" y="1305741"/>
                  <a:pt x="3294686" y="1305741"/>
                </a:cubicBezTo>
                <a:close/>
                <a:moveTo>
                  <a:pt x="3077037" y="1305741"/>
                </a:moveTo>
                <a:cubicBezTo>
                  <a:pt x="3081164" y="1305741"/>
                  <a:pt x="3085158" y="1306548"/>
                  <a:pt x="3088752" y="1308407"/>
                </a:cubicBezTo>
                <a:cubicBezTo>
                  <a:pt x="3092346" y="1310007"/>
                  <a:pt x="3095542" y="1312130"/>
                  <a:pt x="3098070" y="1314801"/>
                </a:cubicBezTo>
                <a:cubicBezTo>
                  <a:pt x="3100599" y="1317323"/>
                  <a:pt x="3102730" y="1320522"/>
                  <a:pt x="3104194" y="1324111"/>
                </a:cubicBezTo>
                <a:cubicBezTo>
                  <a:pt x="3105659" y="1327712"/>
                  <a:pt x="3106457" y="1331566"/>
                  <a:pt x="3106457" y="1335564"/>
                </a:cubicBezTo>
                <a:cubicBezTo>
                  <a:pt x="3106457" y="1339692"/>
                  <a:pt x="3105659" y="1343678"/>
                  <a:pt x="3104194" y="1347279"/>
                </a:cubicBezTo>
                <a:cubicBezTo>
                  <a:pt x="3102730" y="1350867"/>
                  <a:pt x="3100599" y="1353929"/>
                  <a:pt x="3098070" y="1356599"/>
                </a:cubicBezTo>
                <a:cubicBezTo>
                  <a:pt x="3095408" y="1359262"/>
                  <a:pt x="3092346" y="1361385"/>
                  <a:pt x="3088752" y="1362851"/>
                </a:cubicBezTo>
                <a:cubicBezTo>
                  <a:pt x="3085158" y="1364313"/>
                  <a:pt x="3081297" y="1365113"/>
                  <a:pt x="3077037" y="1365113"/>
                </a:cubicBezTo>
                <a:cubicBezTo>
                  <a:pt x="3068118" y="1365113"/>
                  <a:pt x="3060796" y="1362185"/>
                  <a:pt x="3055204" y="1356599"/>
                </a:cubicBezTo>
                <a:cubicBezTo>
                  <a:pt x="3049613" y="1351008"/>
                  <a:pt x="3046818" y="1343948"/>
                  <a:pt x="3046818" y="1335427"/>
                </a:cubicBezTo>
                <a:cubicBezTo>
                  <a:pt x="3046818" y="1327172"/>
                  <a:pt x="3049613" y="1320123"/>
                  <a:pt x="3055204" y="1314393"/>
                </a:cubicBezTo>
                <a:cubicBezTo>
                  <a:pt x="3060796" y="1308672"/>
                  <a:pt x="3067985" y="1305741"/>
                  <a:pt x="3077037" y="1305741"/>
                </a:cubicBezTo>
                <a:close/>
                <a:moveTo>
                  <a:pt x="2859388" y="1305741"/>
                </a:moveTo>
                <a:cubicBezTo>
                  <a:pt x="2863649" y="1305741"/>
                  <a:pt x="2867510" y="1306548"/>
                  <a:pt x="2871236" y="1308407"/>
                </a:cubicBezTo>
                <a:cubicBezTo>
                  <a:pt x="2874963" y="1310007"/>
                  <a:pt x="2878025" y="1312130"/>
                  <a:pt x="2880554" y="1314801"/>
                </a:cubicBezTo>
                <a:cubicBezTo>
                  <a:pt x="2883216" y="1317323"/>
                  <a:pt x="2885214" y="1320522"/>
                  <a:pt x="2886678" y="1324111"/>
                </a:cubicBezTo>
                <a:cubicBezTo>
                  <a:pt x="2888142" y="1327712"/>
                  <a:pt x="2888941" y="1331566"/>
                  <a:pt x="2888941" y="1335564"/>
                </a:cubicBezTo>
                <a:cubicBezTo>
                  <a:pt x="2888941" y="1339692"/>
                  <a:pt x="2888142" y="1343678"/>
                  <a:pt x="2886678" y="1347279"/>
                </a:cubicBezTo>
                <a:cubicBezTo>
                  <a:pt x="2885214" y="1350867"/>
                  <a:pt x="2883084" y="1353929"/>
                  <a:pt x="2880554" y="1356599"/>
                </a:cubicBezTo>
                <a:cubicBezTo>
                  <a:pt x="2877893" y="1359262"/>
                  <a:pt x="2874830" y="1361385"/>
                  <a:pt x="2871236" y="1362851"/>
                </a:cubicBezTo>
                <a:cubicBezTo>
                  <a:pt x="2867510" y="1364313"/>
                  <a:pt x="2863649" y="1365113"/>
                  <a:pt x="2859388" y="1365113"/>
                </a:cubicBezTo>
                <a:cubicBezTo>
                  <a:pt x="2850470" y="1365113"/>
                  <a:pt x="2843146" y="1362185"/>
                  <a:pt x="2837556" y="1356599"/>
                </a:cubicBezTo>
                <a:cubicBezTo>
                  <a:pt x="2831965" y="1351008"/>
                  <a:pt x="2829169" y="1343948"/>
                  <a:pt x="2829169" y="1335427"/>
                </a:cubicBezTo>
                <a:cubicBezTo>
                  <a:pt x="2829169" y="1327172"/>
                  <a:pt x="2831965" y="1320123"/>
                  <a:pt x="2837556" y="1314393"/>
                </a:cubicBezTo>
                <a:cubicBezTo>
                  <a:pt x="2843146" y="1308672"/>
                  <a:pt x="2850336" y="1305741"/>
                  <a:pt x="2859388" y="1305741"/>
                </a:cubicBezTo>
                <a:close/>
                <a:moveTo>
                  <a:pt x="2641739" y="1305741"/>
                </a:moveTo>
                <a:cubicBezTo>
                  <a:pt x="2645999" y="1305741"/>
                  <a:pt x="2649859" y="1306548"/>
                  <a:pt x="2653455" y="1308407"/>
                </a:cubicBezTo>
                <a:cubicBezTo>
                  <a:pt x="2657181" y="1310007"/>
                  <a:pt x="2660243" y="1312130"/>
                  <a:pt x="2662773" y="1314801"/>
                </a:cubicBezTo>
                <a:cubicBezTo>
                  <a:pt x="2665434" y="1317323"/>
                  <a:pt x="2667432" y="1320522"/>
                  <a:pt x="2668896" y="1324111"/>
                </a:cubicBezTo>
                <a:cubicBezTo>
                  <a:pt x="2670360" y="1327712"/>
                  <a:pt x="2671159" y="1331566"/>
                  <a:pt x="2671159" y="1335564"/>
                </a:cubicBezTo>
                <a:cubicBezTo>
                  <a:pt x="2671159" y="1339692"/>
                  <a:pt x="2670360" y="1343678"/>
                  <a:pt x="2668896" y="1347279"/>
                </a:cubicBezTo>
                <a:cubicBezTo>
                  <a:pt x="2667432" y="1350867"/>
                  <a:pt x="2665302" y="1353929"/>
                  <a:pt x="2662773" y="1356599"/>
                </a:cubicBezTo>
                <a:cubicBezTo>
                  <a:pt x="2660243" y="1359262"/>
                  <a:pt x="2657048" y="1361385"/>
                  <a:pt x="2653455" y="1362851"/>
                </a:cubicBezTo>
                <a:cubicBezTo>
                  <a:pt x="2649859" y="1364313"/>
                  <a:pt x="2645999" y="1365113"/>
                  <a:pt x="2641739" y="1365113"/>
                </a:cubicBezTo>
                <a:cubicBezTo>
                  <a:pt x="2632820" y="1365113"/>
                  <a:pt x="2625499" y="1362185"/>
                  <a:pt x="2619906" y="1356599"/>
                </a:cubicBezTo>
                <a:cubicBezTo>
                  <a:pt x="2614317" y="1351008"/>
                  <a:pt x="2611520" y="1343948"/>
                  <a:pt x="2611520" y="1335427"/>
                </a:cubicBezTo>
                <a:cubicBezTo>
                  <a:pt x="2611520" y="1327172"/>
                  <a:pt x="2614317" y="1320123"/>
                  <a:pt x="2619906" y="1314393"/>
                </a:cubicBezTo>
                <a:cubicBezTo>
                  <a:pt x="2625499" y="1308672"/>
                  <a:pt x="2632687" y="1305741"/>
                  <a:pt x="2641739" y="1305741"/>
                </a:cubicBezTo>
                <a:close/>
                <a:moveTo>
                  <a:pt x="2424090" y="1305741"/>
                </a:moveTo>
                <a:cubicBezTo>
                  <a:pt x="2428350" y="1305741"/>
                  <a:pt x="2432345" y="1306548"/>
                  <a:pt x="2435805" y="1308407"/>
                </a:cubicBezTo>
                <a:cubicBezTo>
                  <a:pt x="2439532" y="1310007"/>
                  <a:pt x="2442594" y="1312130"/>
                  <a:pt x="2445123" y="1314801"/>
                </a:cubicBezTo>
                <a:cubicBezTo>
                  <a:pt x="2447786" y="1317323"/>
                  <a:pt x="2449783" y="1320522"/>
                  <a:pt x="2451247" y="1324111"/>
                </a:cubicBezTo>
                <a:cubicBezTo>
                  <a:pt x="2452711" y="1327712"/>
                  <a:pt x="2453510" y="1331566"/>
                  <a:pt x="2453510" y="1335564"/>
                </a:cubicBezTo>
                <a:cubicBezTo>
                  <a:pt x="2453510" y="1339692"/>
                  <a:pt x="2452711" y="1343678"/>
                  <a:pt x="2451247" y="1347279"/>
                </a:cubicBezTo>
                <a:cubicBezTo>
                  <a:pt x="2449783" y="1350867"/>
                  <a:pt x="2447652" y="1353929"/>
                  <a:pt x="2445123" y="1356599"/>
                </a:cubicBezTo>
                <a:cubicBezTo>
                  <a:pt x="2442594" y="1359262"/>
                  <a:pt x="2439400" y="1361385"/>
                  <a:pt x="2435805" y="1362851"/>
                </a:cubicBezTo>
                <a:cubicBezTo>
                  <a:pt x="2432211" y="1364313"/>
                  <a:pt x="2428350" y="1365113"/>
                  <a:pt x="2424090" y="1365113"/>
                </a:cubicBezTo>
                <a:cubicBezTo>
                  <a:pt x="2415172" y="1365113"/>
                  <a:pt x="2407850" y="1362185"/>
                  <a:pt x="2402258" y="1356599"/>
                </a:cubicBezTo>
                <a:cubicBezTo>
                  <a:pt x="2396667" y="1351008"/>
                  <a:pt x="2393871" y="1343948"/>
                  <a:pt x="2393871" y="1335427"/>
                </a:cubicBezTo>
                <a:cubicBezTo>
                  <a:pt x="2393871" y="1327172"/>
                  <a:pt x="2396667" y="1320123"/>
                  <a:pt x="2402258" y="1314393"/>
                </a:cubicBezTo>
                <a:cubicBezTo>
                  <a:pt x="2407850" y="1308672"/>
                  <a:pt x="2415038" y="1305741"/>
                  <a:pt x="2424090" y="1305741"/>
                </a:cubicBezTo>
                <a:close/>
                <a:moveTo>
                  <a:pt x="2206441" y="1305741"/>
                </a:moveTo>
                <a:cubicBezTo>
                  <a:pt x="2210701" y="1305741"/>
                  <a:pt x="2214695" y="1306548"/>
                  <a:pt x="2218156" y="1308407"/>
                </a:cubicBezTo>
                <a:cubicBezTo>
                  <a:pt x="2221883" y="1310007"/>
                  <a:pt x="2224944" y="1312130"/>
                  <a:pt x="2227475" y="1314801"/>
                </a:cubicBezTo>
                <a:cubicBezTo>
                  <a:pt x="2230137" y="1317323"/>
                  <a:pt x="2232133" y="1320522"/>
                  <a:pt x="2233597" y="1324111"/>
                </a:cubicBezTo>
                <a:cubicBezTo>
                  <a:pt x="2235061" y="1327712"/>
                  <a:pt x="2235860" y="1331566"/>
                  <a:pt x="2235860" y="1335564"/>
                </a:cubicBezTo>
                <a:cubicBezTo>
                  <a:pt x="2235860" y="1339692"/>
                  <a:pt x="2235061" y="1343678"/>
                  <a:pt x="2233597" y="1347279"/>
                </a:cubicBezTo>
                <a:cubicBezTo>
                  <a:pt x="2232133" y="1350867"/>
                  <a:pt x="2230003" y="1353929"/>
                  <a:pt x="2227475" y="1356599"/>
                </a:cubicBezTo>
                <a:cubicBezTo>
                  <a:pt x="2224944" y="1359262"/>
                  <a:pt x="2221750" y="1361385"/>
                  <a:pt x="2218156" y="1362851"/>
                </a:cubicBezTo>
                <a:cubicBezTo>
                  <a:pt x="2214561" y="1364313"/>
                  <a:pt x="2210701" y="1365113"/>
                  <a:pt x="2206441" y="1365113"/>
                </a:cubicBezTo>
                <a:cubicBezTo>
                  <a:pt x="2197389" y="1365113"/>
                  <a:pt x="2190200" y="1362185"/>
                  <a:pt x="2184610" y="1356599"/>
                </a:cubicBezTo>
                <a:cubicBezTo>
                  <a:pt x="2179018" y="1351008"/>
                  <a:pt x="2176222" y="1343948"/>
                  <a:pt x="2176222" y="1335427"/>
                </a:cubicBezTo>
                <a:cubicBezTo>
                  <a:pt x="2176222" y="1327172"/>
                  <a:pt x="2179018" y="1320123"/>
                  <a:pt x="2184610" y="1314393"/>
                </a:cubicBezTo>
                <a:cubicBezTo>
                  <a:pt x="2190200" y="1308672"/>
                  <a:pt x="2197389" y="1305741"/>
                  <a:pt x="2206441" y="1305741"/>
                </a:cubicBezTo>
                <a:close/>
                <a:moveTo>
                  <a:pt x="1988925" y="1305741"/>
                </a:moveTo>
                <a:cubicBezTo>
                  <a:pt x="1993052" y="1305741"/>
                  <a:pt x="1997046" y="1306548"/>
                  <a:pt x="2000640" y="1308407"/>
                </a:cubicBezTo>
                <a:cubicBezTo>
                  <a:pt x="2004367" y="1310007"/>
                  <a:pt x="2007429" y="1312130"/>
                  <a:pt x="2009958" y="1314801"/>
                </a:cubicBezTo>
                <a:cubicBezTo>
                  <a:pt x="2012620" y="1317323"/>
                  <a:pt x="2014618" y="1320522"/>
                  <a:pt x="2016082" y="1324111"/>
                </a:cubicBezTo>
                <a:cubicBezTo>
                  <a:pt x="2017546" y="1327712"/>
                  <a:pt x="2018345" y="1331566"/>
                  <a:pt x="2018345" y="1335564"/>
                </a:cubicBezTo>
                <a:cubicBezTo>
                  <a:pt x="2018345" y="1339692"/>
                  <a:pt x="2017546" y="1343678"/>
                  <a:pt x="2016082" y="1347279"/>
                </a:cubicBezTo>
                <a:cubicBezTo>
                  <a:pt x="2014618" y="1350867"/>
                  <a:pt x="2012487" y="1353929"/>
                  <a:pt x="2009958" y="1356599"/>
                </a:cubicBezTo>
                <a:cubicBezTo>
                  <a:pt x="2007429" y="1359262"/>
                  <a:pt x="2004234" y="1361385"/>
                  <a:pt x="2000640" y="1362851"/>
                </a:cubicBezTo>
                <a:cubicBezTo>
                  <a:pt x="1997046" y="1364313"/>
                  <a:pt x="1993185" y="1365113"/>
                  <a:pt x="1988925" y="1365113"/>
                </a:cubicBezTo>
                <a:cubicBezTo>
                  <a:pt x="1979874" y="1365113"/>
                  <a:pt x="1972685" y="1362185"/>
                  <a:pt x="1967094" y="1356599"/>
                </a:cubicBezTo>
                <a:cubicBezTo>
                  <a:pt x="1961503" y="1351008"/>
                  <a:pt x="1958707" y="1343948"/>
                  <a:pt x="1958707" y="1335427"/>
                </a:cubicBezTo>
                <a:cubicBezTo>
                  <a:pt x="1958707" y="1327172"/>
                  <a:pt x="1961503" y="1320123"/>
                  <a:pt x="1967094" y="1314393"/>
                </a:cubicBezTo>
                <a:cubicBezTo>
                  <a:pt x="1972685" y="1308672"/>
                  <a:pt x="1979874" y="1305741"/>
                  <a:pt x="1988925" y="1305741"/>
                </a:cubicBezTo>
                <a:close/>
                <a:moveTo>
                  <a:pt x="1771283" y="1305741"/>
                </a:moveTo>
                <a:cubicBezTo>
                  <a:pt x="1775543" y="1305741"/>
                  <a:pt x="1779403" y="1306548"/>
                  <a:pt x="1782998" y="1308407"/>
                </a:cubicBezTo>
                <a:cubicBezTo>
                  <a:pt x="1786725" y="1310007"/>
                  <a:pt x="1789787" y="1312130"/>
                  <a:pt x="1792315" y="1314801"/>
                </a:cubicBezTo>
                <a:cubicBezTo>
                  <a:pt x="1794978" y="1317323"/>
                  <a:pt x="1796975" y="1320522"/>
                  <a:pt x="1798439" y="1324111"/>
                </a:cubicBezTo>
                <a:cubicBezTo>
                  <a:pt x="1799903" y="1327712"/>
                  <a:pt x="1800702" y="1331566"/>
                  <a:pt x="1800702" y="1335564"/>
                </a:cubicBezTo>
                <a:cubicBezTo>
                  <a:pt x="1800702" y="1339692"/>
                  <a:pt x="1799903" y="1343678"/>
                  <a:pt x="1798439" y="1347279"/>
                </a:cubicBezTo>
                <a:cubicBezTo>
                  <a:pt x="1796975" y="1350867"/>
                  <a:pt x="1794845" y="1353929"/>
                  <a:pt x="1792315" y="1356599"/>
                </a:cubicBezTo>
                <a:cubicBezTo>
                  <a:pt x="1789653" y="1359262"/>
                  <a:pt x="1786592" y="1361385"/>
                  <a:pt x="1782998" y="1362851"/>
                </a:cubicBezTo>
                <a:cubicBezTo>
                  <a:pt x="1779403" y="1364313"/>
                  <a:pt x="1775543" y="1365113"/>
                  <a:pt x="1771283" y="1365113"/>
                </a:cubicBezTo>
                <a:cubicBezTo>
                  <a:pt x="1762364" y="1365113"/>
                  <a:pt x="1755043" y="1362185"/>
                  <a:pt x="1749452" y="1356599"/>
                </a:cubicBezTo>
                <a:cubicBezTo>
                  <a:pt x="1743861" y="1351008"/>
                  <a:pt x="1741067" y="1343948"/>
                  <a:pt x="1741067" y="1335427"/>
                </a:cubicBezTo>
                <a:cubicBezTo>
                  <a:pt x="1741067" y="1327172"/>
                  <a:pt x="1743861" y="1320123"/>
                  <a:pt x="1749452" y="1314393"/>
                </a:cubicBezTo>
                <a:cubicBezTo>
                  <a:pt x="1755043" y="1308672"/>
                  <a:pt x="1762231" y="1305741"/>
                  <a:pt x="1771283" y="1305741"/>
                </a:cubicBezTo>
                <a:close/>
                <a:moveTo>
                  <a:pt x="1553640" y="1305741"/>
                </a:moveTo>
                <a:cubicBezTo>
                  <a:pt x="1557899" y="1305741"/>
                  <a:pt x="1561760" y="1306548"/>
                  <a:pt x="1565355" y="1308407"/>
                </a:cubicBezTo>
                <a:cubicBezTo>
                  <a:pt x="1568949" y="1310007"/>
                  <a:pt x="1572144" y="1312130"/>
                  <a:pt x="1574673" y="1314801"/>
                </a:cubicBezTo>
                <a:cubicBezTo>
                  <a:pt x="1577335" y="1317323"/>
                  <a:pt x="1579332" y="1320522"/>
                  <a:pt x="1580796" y="1324111"/>
                </a:cubicBezTo>
                <a:cubicBezTo>
                  <a:pt x="1582260" y="1327712"/>
                  <a:pt x="1583059" y="1331566"/>
                  <a:pt x="1583059" y="1335564"/>
                </a:cubicBezTo>
                <a:cubicBezTo>
                  <a:pt x="1583059" y="1339692"/>
                  <a:pt x="1582260" y="1343678"/>
                  <a:pt x="1580796" y="1347279"/>
                </a:cubicBezTo>
                <a:cubicBezTo>
                  <a:pt x="1579332" y="1350867"/>
                  <a:pt x="1577202" y="1353929"/>
                  <a:pt x="1574673" y="1356599"/>
                </a:cubicBezTo>
                <a:cubicBezTo>
                  <a:pt x="1572011" y="1359262"/>
                  <a:pt x="1568949" y="1361385"/>
                  <a:pt x="1565355" y="1362851"/>
                </a:cubicBezTo>
                <a:cubicBezTo>
                  <a:pt x="1561760" y="1364313"/>
                  <a:pt x="1557899" y="1365113"/>
                  <a:pt x="1553640" y="1365113"/>
                </a:cubicBezTo>
                <a:cubicBezTo>
                  <a:pt x="1544721" y="1365113"/>
                  <a:pt x="1537399" y="1362185"/>
                  <a:pt x="1531808" y="1356599"/>
                </a:cubicBezTo>
                <a:cubicBezTo>
                  <a:pt x="1526219" y="1351008"/>
                  <a:pt x="1523422" y="1343948"/>
                  <a:pt x="1523422" y="1335427"/>
                </a:cubicBezTo>
                <a:cubicBezTo>
                  <a:pt x="1523422" y="1327172"/>
                  <a:pt x="1526219" y="1320123"/>
                  <a:pt x="1531808" y="1314393"/>
                </a:cubicBezTo>
                <a:cubicBezTo>
                  <a:pt x="1537399" y="1308672"/>
                  <a:pt x="1544587" y="1305741"/>
                  <a:pt x="1553640" y="1305741"/>
                </a:cubicBezTo>
                <a:close/>
                <a:moveTo>
                  <a:pt x="1335995" y="1305741"/>
                </a:moveTo>
                <a:cubicBezTo>
                  <a:pt x="1340255" y="1305741"/>
                  <a:pt x="1344250" y="1306548"/>
                  <a:pt x="1347710" y="1308407"/>
                </a:cubicBezTo>
                <a:cubicBezTo>
                  <a:pt x="1351304" y="1310007"/>
                  <a:pt x="1354498" y="1312130"/>
                  <a:pt x="1357028" y="1314801"/>
                </a:cubicBezTo>
                <a:cubicBezTo>
                  <a:pt x="1359690" y="1317323"/>
                  <a:pt x="1361687" y="1320522"/>
                  <a:pt x="1363151" y="1324111"/>
                </a:cubicBezTo>
                <a:cubicBezTo>
                  <a:pt x="1364616" y="1327712"/>
                  <a:pt x="1365415" y="1331566"/>
                  <a:pt x="1365415" y="1335564"/>
                </a:cubicBezTo>
                <a:cubicBezTo>
                  <a:pt x="1365415" y="1339692"/>
                  <a:pt x="1364616" y="1343678"/>
                  <a:pt x="1363151" y="1347279"/>
                </a:cubicBezTo>
                <a:cubicBezTo>
                  <a:pt x="1361687" y="1350867"/>
                  <a:pt x="1359557" y="1353929"/>
                  <a:pt x="1357028" y="1356599"/>
                </a:cubicBezTo>
                <a:cubicBezTo>
                  <a:pt x="1354365" y="1359262"/>
                  <a:pt x="1351304" y="1361385"/>
                  <a:pt x="1347710" y="1362851"/>
                </a:cubicBezTo>
                <a:cubicBezTo>
                  <a:pt x="1344115" y="1364313"/>
                  <a:pt x="1340255" y="1365113"/>
                  <a:pt x="1335995" y="1365113"/>
                </a:cubicBezTo>
                <a:cubicBezTo>
                  <a:pt x="1327075" y="1365113"/>
                  <a:pt x="1319754" y="1362185"/>
                  <a:pt x="1314163" y="1356599"/>
                </a:cubicBezTo>
                <a:cubicBezTo>
                  <a:pt x="1308572" y="1351008"/>
                  <a:pt x="1305778" y="1343948"/>
                  <a:pt x="1305778" y="1335427"/>
                </a:cubicBezTo>
                <a:cubicBezTo>
                  <a:pt x="1305778" y="1327172"/>
                  <a:pt x="1308572" y="1320123"/>
                  <a:pt x="1314163" y="1314393"/>
                </a:cubicBezTo>
                <a:cubicBezTo>
                  <a:pt x="1319754" y="1308672"/>
                  <a:pt x="1326942" y="1305741"/>
                  <a:pt x="1335995" y="1305741"/>
                </a:cubicBezTo>
                <a:close/>
                <a:moveTo>
                  <a:pt x="1118350" y="1305741"/>
                </a:moveTo>
                <a:cubicBezTo>
                  <a:pt x="1122609" y="1305741"/>
                  <a:pt x="1126605" y="1306548"/>
                  <a:pt x="1130066" y="1308407"/>
                </a:cubicBezTo>
                <a:cubicBezTo>
                  <a:pt x="1133792" y="1310007"/>
                  <a:pt x="1136854" y="1312130"/>
                  <a:pt x="1139384" y="1314801"/>
                </a:cubicBezTo>
                <a:cubicBezTo>
                  <a:pt x="1142045" y="1317323"/>
                  <a:pt x="1144041" y="1320522"/>
                  <a:pt x="1145505" y="1324111"/>
                </a:cubicBezTo>
                <a:cubicBezTo>
                  <a:pt x="1146970" y="1327712"/>
                  <a:pt x="1147769" y="1331566"/>
                  <a:pt x="1147769" y="1335564"/>
                </a:cubicBezTo>
                <a:cubicBezTo>
                  <a:pt x="1147769" y="1339692"/>
                  <a:pt x="1146970" y="1343678"/>
                  <a:pt x="1145505" y="1347279"/>
                </a:cubicBezTo>
                <a:cubicBezTo>
                  <a:pt x="1144041" y="1350867"/>
                  <a:pt x="1141912" y="1353929"/>
                  <a:pt x="1139384" y="1356599"/>
                </a:cubicBezTo>
                <a:cubicBezTo>
                  <a:pt x="1136854" y="1359262"/>
                  <a:pt x="1133659" y="1361385"/>
                  <a:pt x="1130066" y="1362851"/>
                </a:cubicBezTo>
                <a:cubicBezTo>
                  <a:pt x="1126470" y="1364313"/>
                  <a:pt x="1122609" y="1365113"/>
                  <a:pt x="1118350" y="1365113"/>
                </a:cubicBezTo>
                <a:cubicBezTo>
                  <a:pt x="1109431" y="1365113"/>
                  <a:pt x="1102108" y="1362185"/>
                  <a:pt x="1096517" y="1356599"/>
                </a:cubicBezTo>
                <a:cubicBezTo>
                  <a:pt x="1090927" y="1351008"/>
                  <a:pt x="1088132" y="1343948"/>
                  <a:pt x="1088132" y="1335427"/>
                </a:cubicBezTo>
                <a:cubicBezTo>
                  <a:pt x="1088132" y="1327172"/>
                  <a:pt x="1090927" y="1320123"/>
                  <a:pt x="1096517" y="1314393"/>
                </a:cubicBezTo>
                <a:cubicBezTo>
                  <a:pt x="1102108" y="1308672"/>
                  <a:pt x="1109297" y="1305741"/>
                  <a:pt x="1118350" y="1305741"/>
                </a:cubicBezTo>
                <a:close/>
                <a:moveTo>
                  <a:pt x="900838" y="1305741"/>
                </a:moveTo>
                <a:cubicBezTo>
                  <a:pt x="904965" y="1305741"/>
                  <a:pt x="908959" y="1306548"/>
                  <a:pt x="912553" y="1308407"/>
                </a:cubicBezTo>
                <a:cubicBezTo>
                  <a:pt x="916280" y="1310007"/>
                  <a:pt x="919342" y="1312130"/>
                  <a:pt x="921871" y="1314801"/>
                </a:cubicBezTo>
                <a:cubicBezTo>
                  <a:pt x="924533" y="1317323"/>
                  <a:pt x="926530" y="1320522"/>
                  <a:pt x="927994" y="1324111"/>
                </a:cubicBezTo>
                <a:cubicBezTo>
                  <a:pt x="929458" y="1327712"/>
                  <a:pt x="930257" y="1331566"/>
                  <a:pt x="930257" y="1335564"/>
                </a:cubicBezTo>
                <a:cubicBezTo>
                  <a:pt x="930257" y="1339692"/>
                  <a:pt x="929458" y="1343678"/>
                  <a:pt x="927994" y="1347279"/>
                </a:cubicBezTo>
                <a:cubicBezTo>
                  <a:pt x="926530" y="1350867"/>
                  <a:pt x="924400" y="1353929"/>
                  <a:pt x="921871" y="1356599"/>
                </a:cubicBezTo>
                <a:cubicBezTo>
                  <a:pt x="919342" y="1359262"/>
                  <a:pt x="916147" y="1361385"/>
                  <a:pt x="912553" y="1362851"/>
                </a:cubicBezTo>
                <a:cubicBezTo>
                  <a:pt x="908959" y="1364313"/>
                  <a:pt x="905098" y="1365113"/>
                  <a:pt x="900838" y="1365113"/>
                </a:cubicBezTo>
                <a:cubicBezTo>
                  <a:pt x="891919" y="1365113"/>
                  <a:pt x="884597" y="1362185"/>
                  <a:pt x="879007" y="1356599"/>
                </a:cubicBezTo>
                <a:cubicBezTo>
                  <a:pt x="873417" y="1351008"/>
                  <a:pt x="870621" y="1343948"/>
                  <a:pt x="870621" y="1335427"/>
                </a:cubicBezTo>
                <a:cubicBezTo>
                  <a:pt x="870621" y="1327172"/>
                  <a:pt x="873417" y="1320123"/>
                  <a:pt x="879007" y="1314393"/>
                </a:cubicBezTo>
                <a:cubicBezTo>
                  <a:pt x="884597" y="1308672"/>
                  <a:pt x="891786" y="1305741"/>
                  <a:pt x="900838" y="1305741"/>
                </a:cubicBezTo>
                <a:close/>
                <a:moveTo>
                  <a:pt x="683194" y="1305741"/>
                </a:moveTo>
                <a:cubicBezTo>
                  <a:pt x="687454" y="1305741"/>
                  <a:pt x="691315" y="1306548"/>
                  <a:pt x="694909" y="1308407"/>
                </a:cubicBezTo>
                <a:cubicBezTo>
                  <a:pt x="698636" y="1310007"/>
                  <a:pt x="701698" y="1312130"/>
                  <a:pt x="704227" y="1314801"/>
                </a:cubicBezTo>
                <a:cubicBezTo>
                  <a:pt x="706889" y="1317323"/>
                  <a:pt x="708886" y="1320522"/>
                  <a:pt x="710350" y="1324111"/>
                </a:cubicBezTo>
                <a:cubicBezTo>
                  <a:pt x="711814" y="1327712"/>
                  <a:pt x="712613" y="1331566"/>
                  <a:pt x="712613" y="1335564"/>
                </a:cubicBezTo>
                <a:cubicBezTo>
                  <a:pt x="712613" y="1339692"/>
                  <a:pt x="711814" y="1343678"/>
                  <a:pt x="710350" y="1347279"/>
                </a:cubicBezTo>
                <a:cubicBezTo>
                  <a:pt x="708886" y="1350867"/>
                  <a:pt x="706756" y="1353929"/>
                  <a:pt x="704227" y="1356599"/>
                </a:cubicBezTo>
                <a:cubicBezTo>
                  <a:pt x="701698" y="1359262"/>
                  <a:pt x="698503" y="1361385"/>
                  <a:pt x="694909" y="1362851"/>
                </a:cubicBezTo>
                <a:cubicBezTo>
                  <a:pt x="691315" y="1364313"/>
                  <a:pt x="687454" y="1365113"/>
                  <a:pt x="683194" y="1365113"/>
                </a:cubicBezTo>
                <a:cubicBezTo>
                  <a:pt x="674276" y="1365113"/>
                  <a:pt x="666954" y="1362185"/>
                  <a:pt x="661363" y="1356599"/>
                </a:cubicBezTo>
                <a:cubicBezTo>
                  <a:pt x="655772" y="1351008"/>
                  <a:pt x="652977" y="1343948"/>
                  <a:pt x="652977" y="1335427"/>
                </a:cubicBezTo>
                <a:cubicBezTo>
                  <a:pt x="652977" y="1327172"/>
                  <a:pt x="655772" y="1320123"/>
                  <a:pt x="661363" y="1314393"/>
                </a:cubicBezTo>
                <a:cubicBezTo>
                  <a:pt x="666954" y="1308672"/>
                  <a:pt x="674143" y="1305741"/>
                  <a:pt x="683194" y="1305741"/>
                </a:cubicBezTo>
                <a:close/>
                <a:moveTo>
                  <a:pt x="465550" y="1305741"/>
                </a:moveTo>
                <a:cubicBezTo>
                  <a:pt x="469810" y="1305741"/>
                  <a:pt x="473670" y="1306548"/>
                  <a:pt x="477266" y="1308407"/>
                </a:cubicBezTo>
                <a:cubicBezTo>
                  <a:pt x="480993" y="1310007"/>
                  <a:pt x="484054" y="1312130"/>
                  <a:pt x="486583" y="1314801"/>
                </a:cubicBezTo>
                <a:cubicBezTo>
                  <a:pt x="489245" y="1317323"/>
                  <a:pt x="491242" y="1320522"/>
                  <a:pt x="492707" y="1324111"/>
                </a:cubicBezTo>
                <a:cubicBezTo>
                  <a:pt x="494170" y="1327712"/>
                  <a:pt x="494969" y="1331566"/>
                  <a:pt x="494969" y="1335564"/>
                </a:cubicBezTo>
                <a:cubicBezTo>
                  <a:pt x="494969" y="1339692"/>
                  <a:pt x="494170" y="1343678"/>
                  <a:pt x="492707" y="1347279"/>
                </a:cubicBezTo>
                <a:cubicBezTo>
                  <a:pt x="491242" y="1350867"/>
                  <a:pt x="489113" y="1353929"/>
                  <a:pt x="486583" y="1356599"/>
                </a:cubicBezTo>
                <a:cubicBezTo>
                  <a:pt x="483920" y="1359262"/>
                  <a:pt x="480859" y="1361385"/>
                  <a:pt x="477266" y="1362851"/>
                </a:cubicBezTo>
                <a:cubicBezTo>
                  <a:pt x="473670" y="1364313"/>
                  <a:pt x="469810" y="1365113"/>
                  <a:pt x="465550" y="1365113"/>
                </a:cubicBezTo>
                <a:cubicBezTo>
                  <a:pt x="456632" y="1365113"/>
                  <a:pt x="449310" y="1362185"/>
                  <a:pt x="443719" y="1356599"/>
                </a:cubicBezTo>
                <a:cubicBezTo>
                  <a:pt x="438128" y="1351008"/>
                  <a:pt x="435333" y="1343948"/>
                  <a:pt x="435333" y="1335427"/>
                </a:cubicBezTo>
                <a:cubicBezTo>
                  <a:pt x="435333" y="1327172"/>
                  <a:pt x="438128" y="1320123"/>
                  <a:pt x="443719" y="1314393"/>
                </a:cubicBezTo>
                <a:cubicBezTo>
                  <a:pt x="449310" y="1308672"/>
                  <a:pt x="456499" y="1305741"/>
                  <a:pt x="465550" y="1305741"/>
                </a:cubicBezTo>
                <a:close/>
                <a:moveTo>
                  <a:pt x="247906" y="1305741"/>
                </a:moveTo>
                <a:cubicBezTo>
                  <a:pt x="252166" y="1305741"/>
                  <a:pt x="256160" y="1306548"/>
                  <a:pt x="259621" y="1308407"/>
                </a:cubicBezTo>
                <a:cubicBezTo>
                  <a:pt x="263348" y="1310007"/>
                  <a:pt x="266410" y="1312130"/>
                  <a:pt x="268939" y="1314801"/>
                </a:cubicBezTo>
                <a:cubicBezTo>
                  <a:pt x="271601" y="1317323"/>
                  <a:pt x="273599" y="1320522"/>
                  <a:pt x="275063" y="1324111"/>
                </a:cubicBezTo>
                <a:cubicBezTo>
                  <a:pt x="276527" y="1327712"/>
                  <a:pt x="277326" y="1331566"/>
                  <a:pt x="277326" y="1335564"/>
                </a:cubicBezTo>
                <a:cubicBezTo>
                  <a:pt x="277326" y="1339692"/>
                  <a:pt x="276527" y="1343678"/>
                  <a:pt x="275063" y="1347279"/>
                </a:cubicBezTo>
                <a:cubicBezTo>
                  <a:pt x="273599" y="1350867"/>
                  <a:pt x="271468" y="1353929"/>
                  <a:pt x="268939" y="1356599"/>
                </a:cubicBezTo>
                <a:cubicBezTo>
                  <a:pt x="266276" y="1359262"/>
                  <a:pt x="263215" y="1361385"/>
                  <a:pt x="259621" y="1362851"/>
                </a:cubicBezTo>
                <a:cubicBezTo>
                  <a:pt x="256026" y="1364313"/>
                  <a:pt x="252166" y="1365113"/>
                  <a:pt x="247906" y="1365113"/>
                </a:cubicBezTo>
                <a:cubicBezTo>
                  <a:pt x="238988" y="1365113"/>
                  <a:pt x="231666" y="1362185"/>
                  <a:pt x="226075" y="1356599"/>
                </a:cubicBezTo>
                <a:cubicBezTo>
                  <a:pt x="220485" y="1351008"/>
                  <a:pt x="217689" y="1343948"/>
                  <a:pt x="217689" y="1335427"/>
                </a:cubicBezTo>
                <a:cubicBezTo>
                  <a:pt x="217689" y="1327172"/>
                  <a:pt x="220485" y="1320123"/>
                  <a:pt x="226075" y="1314393"/>
                </a:cubicBezTo>
                <a:cubicBezTo>
                  <a:pt x="231666" y="1308672"/>
                  <a:pt x="238854" y="1305741"/>
                  <a:pt x="247906" y="1305741"/>
                </a:cubicBezTo>
                <a:close/>
                <a:moveTo>
                  <a:pt x="30262" y="1305741"/>
                </a:moveTo>
                <a:cubicBezTo>
                  <a:pt x="34522" y="1305741"/>
                  <a:pt x="38516" y="1306548"/>
                  <a:pt x="41977" y="1308407"/>
                </a:cubicBezTo>
                <a:cubicBezTo>
                  <a:pt x="45704" y="1310007"/>
                  <a:pt x="48767" y="1312130"/>
                  <a:pt x="51296" y="1314801"/>
                </a:cubicBezTo>
                <a:cubicBezTo>
                  <a:pt x="53958" y="1317323"/>
                  <a:pt x="55955" y="1320522"/>
                  <a:pt x="57419" y="1324111"/>
                </a:cubicBezTo>
                <a:cubicBezTo>
                  <a:pt x="58883" y="1327712"/>
                  <a:pt x="59682" y="1331566"/>
                  <a:pt x="59682" y="1335564"/>
                </a:cubicBezTo>
                <a:cubicBezTo>
                  <a:pt x="59682" y="1339692"/>
                  <a:pt x="58883" y="1343678"/>
                  <a:pt x="57419" y="1347279"/>
                </a:cubicBezTo>
                <a:cubicBezTo>
                  <a:pt x="55955" y="1350867"/>
                  <a:pt x="53825" y="1353929"/>
                  <a:pt x="51296" y="1356599"/>
                </a:cubicBezTo>
                <a:cubicBezTo>
                  <a:pt x="48633" y="1359262"/>
                  <a:pt x="45572" y="1361385"/>
                  <a:pt x="41977" y="1362851"/>
                </a:cubicBezTo>
                <a:cubicBezTo>
                  <a:pt x="38383" y="1364313"/>
                  <a:pt x="34522" y="1365113"/>
                  <a:pt x="30262" y="1365113"/>
                </a:cubicBezTo>
                <a:cubicBezTo>
                  <a:pt x="21344" y="1365113"/>
                  <a:pt x="14022" y="1362185"/>
                  <a:pt x="8432" y="1356599"/>
                </a:cubicBezTo>
                <a:cubicBezTo>
                  <a:pt x="2841" y="1351008"/>
                  <a:pt x="46" y="1343948"/>
                  <a:pt x="46" y="1335427"/>
                </a:cubicBezTo>
                <a:cubicBezTo>
                  <a:pt x="46" y="1327172"/>
                  <a:pt x="2841" y="1320123"/>
                  <a:pt x="8432" y="1314393"/>
                </a:cubicBezTo>
                <a:cubicBezTo>
                  <a:pt x="14022" y="1308672"/>
                  <a:pt x="21210" y="1305741"/>
                  <a:pt x="30262" y="1305741"/>
                </a:cubicBezTo>
                <a:close/>
                <a:moveTo>
                  <a:pt x="10475977" y="1104736"/>
                </a:moveTo>
                <a:cubicBezTo>
                  <a:pt x="10470119" y="1104736"/>
                  <a:pt x="10467589" y="1106736"/>
                  <a:pt x="10465992" y="1108331"/>
                </a:cubicBezTo>
                <a:cubicBezTo>
                  <a:pt x="10463463" y="1110990"/>
                  <a:pt x="10462399" y="1113794"/>
                  <a:pt x="10462399" y="1117780"/>
                </a:cubicBezTo>
                <a:cubicBezTo>
                  <a:pt x="10462399" y="1121908"/>
                  <a:pt x="10463463" y="1124708"/>
                  <a:pt x="10465992" y="1127230"/>
                </a:cubicBezTo>
                <a:cubicBezTo>
                  <a:pt x="10467589" y="1128836"/>
                  <a:pt x="10470119" y="1130693"/>
                  <a:pt x="10475977" y="1130693"/>
                </a:cubicBezTo>
                <a:cubicBezTo>
                  <a:pt x="10478107" y="1130693"/>
                  <a:pt x="10479838" y="1130434"/>
                  <a:pt x="10481302" y="1129635"/>
                </a:cubicBezTo>
                <a:cubicBezTo>
                  <a:pt x="10482899" y="1129096"/>
                  <a:pt x="10484098" y="1128297"/>
                  <a:pt x="10485029" y="1127230"/>
                </a:cubicBezTo>
                <a:cubicBezTo>
                  <a:pt x="10486094" y="1126167"/>
                  <a:pt x="10487026" y="1124843"/>
                  <a:pt x="10487691" y="1123107"/>
                </a:cubicBezTo>
                <a:cubicBezTo>
                  <a:pt x="10488357" y="1121509"/>
                  <a:pt x="10488623" y="1119644"/>
                  <a:pt x="10488623" y="1117655"/>
                </a:cubicBezTo>
                <a:cubicBezTo>
                  <a:pt x="10488623" y="1115789"/>
                  <a:pt x="10488357" y="1114055"/>
                  <a:pt x="10487691" y="1112457"/>
                </a:cubicBezTo>
                <a:cubicBezTo>
                  <a:pt x="10487026" y="1110864"/>
                  <a:pt x="10486094" y="1109530"/>
                  <a:pt x="10485029" y="1108331"/>
                </a:cubicBezTo>
                <a:cubicBezTo>
                  <a:pt x="10483964" y="1107266"/>
                  <a:pt x="10482633" y="1106337"/>
                  <a:pt x="10481035" y="1105670"/>
                </a:cubicBezTo>
                <a:cubicBezTo>
                  <a:pt x="10479571" y="1105002"/>
                  <a:pt x="10477974" y="1104736"/>
                  <a:pt x="10475977" y="1104736"/>
                </a:cubicBezTo>
                <a:close/>
                <a:moveTo>
                  <a:pt x="10258466" y="1104736"/>
                </a:moveTo>
                <a:cubicBezTo>
                  <a:pt x="10252608" y="1104736"/>
                  <a:pt x="10250078" y="1106736"/>
                  <a:pt x="10248481" y="1108331"/>
                </a:cubicBezTo>
                <a:cubicBezTo>
                  <a:pt x="10245952" y="1110994"/>
                  <a:pt x="10244887" y="1113794"/>
                  <a:pt x="10244887" y="1117780"/>
                </a:cubicBezTo>
                <a:cubicBezTo>
                  <a:pt x="10244887" y="1121908"/>
                  <a:pt x="10245952" y="1124708"/>
                  <a:pt x="10248481" y="1127230"/>
                </a:cubicBezTo>
                <a:cubicBezTo>
                  <a:pt x="10250078" y="1128836"/>
                  <a:pt x="10252608" y="1130693"/>
                  <a:pt x="10258466" y="1130693"/>
                </a:cubicBezTo>
                <a:cubicBezTo>
                  <a:pt x="10260462" y="1130693"/>
                  <a:pt x="10262192" y="1130434"/>
                  <a:pt x="10263790" y="1129635"/>
                </a:cubicBezTo>
                <a:cubicBezTo>
                  <a:pt x="10265388" y="1129096"/>
                  <a:pt x="10266586" y="1128297"/>
                  <a:pt x="10267517" y="1127230"/>
                </a:cubicBezTo>
                <a:cubicBezTo>
                  <a:pt x="10268583" y="1126167"/>
                  <a:pt x="10269515" y="1124843"/>
                  <a:pt x="10270180" y="1123107"/>
                </a:cubicBezTo>
                <a:cubicBezTo>
                  <a:pt x="10270845" y="1121509"/>
                  <a:pt x="10271112" y="1119644"/>
                  <a:pt x="10271112" y="1117655"/>
                </a:cubicBezTo>
                <a:cubicBezTo>
                  <a:pt x="10271112" y="1115789"/>
                  <a:pt x="10270845" y="1114055"/>
                  <a:pt x="10270180" y="1112457"/>
                </a:cubicBezTo>
                <a:cubicBezTo>
                  <a:pt x="10269515" y="1110864"/>
                  <a:pt x="10268583" y="1109530"/>
                  <a:pt x="10267517" y="1108331"/>
                </a:cubicBezTo>
                <a:cubicBezTo>
                  <a:pt x="10266452" y="1107266"/>
                  <a:pt x="10265121" y="1106337"/>
                  <a:pt x="10263524" y="1105670"/>
                </a:cubicBezTo>
                <a:cubicBezTo>
                  <a:pt x="10262060" y="1105002"/>
                  <a:pt x="10260462" y="1104736"/>
                  <a:pt x="10258466" y="1104736"/>
                </a:cubicBezTo>
                <a:close/>
                <a:moveTo>
                  <a:pt x="10040820" y="1104736"/>
                </a:moveTo>
                <a:cubicBezTo>
                  <a:pt x="10034962" y="1104736"/>
                  <a:pt x="10032433" y="1106736"/>
                  <a:pt x="10030835" y="1108331"/>
                </a:cubicBezTo>
                <a:cubicBezTo>
                  <a:pt x="10028306" y="1110994"/>
                  <a:pt x="10027242" y="1113794"/>
                  <a:pt x="10027242" y="1117780"/>
                </a:cubicBezTo>
                <a:cubicBezTo>
                  <a:pt x="10027242" y="1121908"/>
                  <a:pt x="10028306" y="1124708"/>
                  <a:pt x="10030835" y="1127230"/>
                </a:cubicBezTo>
                <a:cubicBezTo>
                  <a:pt x="10032433" y="1128836"/>
                  <a:pt x="10034962" y="1130693"/>
                  <a:pt x="10040820" y="1130693"/>
                </a:cubicBezTo>
                <a:cubicBezTo>
                  <a:pt x="10042817" y="1130693"/>
                  <a:pt x="10044681" y="1130434"/>
                  <a:pt x="10046145" y="1129635"/>
                </a:cubicBezTo>
                <a:cubicBezTo>
                  <a:pt x="10047742" y="1129096"/>
                  <a:pt x="10048941" y="1128297"/>
                  <a:pt x="10049872" y="1127230"/>
                </a:cubicBezTo>
                <a:cubicBezTo>
                  <a:pt x="10050937" y="1126167"/>
                  <a:pt x="10051869" y="1124843"/>
                  <a:pt x="10052534" y="1123107"/>
                </a:cubicBezTo>
                <a:cubicBezTo>
                  <a:pt x="10053333" y="1121509"/>
                  <a:pt x="10053599" y="1119644"/>
                  <a:pt x="10053599" y="1117655"/>
                </a:cubicBezTo>
                <a:cubicBezTo>
                  <a:pt x="10053599" y="1115791"/>
                  <a:pt x="10053200" y="1114055"/>
                  <a:pt x="10052534" y="1112457"/>
                </a:cubicBezTo>
                <a:cubicBezTo>
                  <a:pt x="10051869" y="1110864"/>
                  <a:pt x="10050937" y="1109530"/>
                  <a:pt x="10049872" y="1108331"/>
                </a:cubicBezTo>
                <a:cubicBezTo>
                  <a:pt x="10048807" y="1107266"/>
                  <a:pt x="10047476" y="1106337"/>
                  <a:pt x="10045878" y="1105670"/>
                </a:cubicBezTo>
                <a:cubicBezTo>
                  <a:pt x="10044414" y="1105002"/>
                  <a:pt x="10042817" y="1104736"/>
                  <a:pt x="10040820" y="1104736"/>
                </a:cubicBezTo>
                <a:close/>
                <a:moveTo>
                  <a:pt x="9823176" y="1104736"/>
                </a:moveTo>
                <a:cubicBezTo>
                  <a:pt x="9817318" y="1104736"/>
                  <a:pt x="9814788" y="1106736"/>
                  <a:pt x="9813191" y="1108331"/>
                </a:cubicBezTo>
                <a:cubicBezTo>
                  <a:pt x="9810662" y="1110994"/>
                  <a:pt x="9809597" y="1113794"/>
                  <a:pt x="9809597" y="1117780"/>
                </a:cubicBezTo>
                <a:cubicBezTo>
                  <a:pt x="9809597" y="1121908"/>
                  <a:pt x="9810662" y="1124708"/>
                  <a:pt x="9813191" y="1127230"/>
                </a:cubicBezTo>
                <a:cubicBezTo>
                  <a:pt x="9814788" y="1128836"/>
                  <a:pt x="9817318" y="1130693"/>
                  <a:pt x="9823176" y="1130693"/>
                </a:cubicBezTo>
                <a:cubicBezTo>
                  <a:pt x="9825173" y="1130693"/>
                  <a:pt x="9827036" y="1130434"/>
                  <a:pt x="9828501" y="1129635"/>
                </a:cubicBezTo>
                <a:cubicBezTo>
                  <a:pt x="9830098" y="1129096"/>
                  <a:pt x="9831296" y="1128297"/>
                  <a:pt x="9832227" y="1127230"/>
                </a:cubicBezTo>
                <a:cubicBezTo>
                  <a:pt x="9833293" y="1126167"/>
                  <a:pt x="9834225" y="1124843"/>
                  <a:pt x="9834890" y="1123107"/>
                </a:cubicBezTo>
                <a:cubicBezTo>
                  <a:pt x="9835689" y="1121509"/>
                  <a:pt x="9835955" y="1119644"/>
                  <a:pt x="9835955" y="1117655"/>
                </a:cubicBezTo>
                <a:cubicBezTo>
                  <a:pt x="9835955" y="1115791"/>
                  <a:pt x="9835555" y="1114055"/>
                  <a:pt x="9834890" y="1112457"/>
                </a:cubicBezTo>
                <a:cubicBezTo>
                  <a:pt x="9834225" y="1110864"/>
                  <a:pt x="9833293" y="1109530"/>
                  <a:pt x="9832227" y="1108331"/>
                </a:cubicBezTo>
                <a:cubicBezTo>
                  <a:pt x="9831162" y="1107266"/>
                  <a:pt x="9829831" y="1106339"/>
                  <a:pt x="9828234" y="1105670"/>
                </a:cubicBezTo>
                <a:cubicBezTo>
                  <a:pt x="9826770" y="1105002"/>
                  <a:pt x="9825173" y="1104736"/>
                  <a:pt x="9823176" y="1104736"/>
                </a:cubicBezTo>
                <a:close/>
                <a:moveTo>
                  <a:pt x="9605531" y="1104736"/>
                </a:moveTo>
                <a:cubicBezTo>
                  <a:pt x="9599673" y="1104736"/>
                  <a:pt x="9597143" y="1106736"/>
                  <a:pt x="9595546" y="1108331"/>
                </a:cubicBezTo>
                <a:cubicBezTo>
                  <a:pt x="9593017" y="1110994"/>
                  <a:pt x="9591952" y="1113794"/>
                  <a:pt x="9591952" y="1117780"/>
                </a:cubicBezTo>
                <a:cubicBezTo>
                  <a:pt x="9591952" y="1121908"/>
                  <a:pt x="9593017" y="1124708"/>
                  <a:pt x="9595546" y="1127230"/>
                </a:cubicBezTo>
                <a:cubicBezTo>
                  <a:pt x="9597143" y="1128836"/>
                  <a:pt x="9599673" y="1130693"/>
                  <a:pt x="9605531" y="1130693"/>
                </a:cubicBezTo>
                <a:cubicBezTo>
                  <a:pt x="9607660" y="1130693"/>
                  <a:pt x="9609391" y="1130434"/>
                  <a:pt x="9610855" y="1129635"/>
                </a:cubicBezTo>
                <a:cubicBezTo>
                  <a:pt x="9612319" y="1129096"/>
                  <a:pt x="9613651" y="1128297"/>
                  <a:pt x="9614582" y="1127230"/>
                </a:cubicBezTo>
                <a:cubicBezTo>
                  <a:pt x="9615647" y="1126167"/>
                  <a:pt x="9616579" y="1124843"/>
                  <a:pt x="9617245" y="1123107"/>
                </a:cubicBezTo>
                <a:cubicBezTo>
                  <a:pt x="9618044" y="1121509"/>
                  <a:pt x="9618309" y="1119644"/>
                  <a:pt x="9618309" y="1117655"/>
                </a:cubicBezTo>
                <a:cubicBezTo>
                  <a:pt x="9618309" y="1115791"/>
                  <a:pt x="9617910" y="1114055"/>
                  <a:pt x="9617245" y="1112457"/>
                </a:cubicBezTo>
                <a:cubicBezTo>
                  <a:pt x="9616579" y="1110864"/>
                  <a:pt x="9615647" y="1109530"/>
                  <a:pt x="9614582" y="1108331"/>
                </a:cubicBezTo>
                <a:cubicBezTo>
                  <a:pt x="9613517" y="1107266"/>
                  <a:pt x="9612186" y="1106339"/>
                  <a:pt x="9610589" y="1105670"/>
                </a:cubicBezTo>
                <a:cubicBezTo>
                  <a:pt x="9609124" y="1105002"/>
                  <a:pt x="9607394" y="1104736"/>
                  <a:pt x="9605531" y="1104736"/>
                </a:cubicBezTo>
                <a:close/>
                <a:moveTo>
                  <a:pt x="9387885" y="1104736"/>
                </a:moveTo>
                <a:cubicBezTo>
                  <a:pt x="9382027" y="1104736"/>
                  <a:pt x="9379497" y="1106737"/>
                  <a:pt x="9377900" y="1108331"/>
                </a:cubicBezTo>
                <a:cubicBezTo>
                  <a:pt x="9375371" y="1110994"/>
                  <a:pt x="9374307" y="1113794"/>
                  <a:pt x="9374307" y="1117780"/>
                </a:cubicBezTo>
                <a:cubicBezTo>
                  <a:pt x="9374307" y="1121908"/>
                  <a:pt x="9375371" y="1124708"/>
                  <a:pt x="9377900" y="1127230"/>
                </a:cubicBezTo>
                <a:cubicBezTo>
                  <a:pt x="9379497" y="1128836"/>
                  <a:pt x="9382027" y="1130693"/>
                  <a:pt x="9387885" y="1130693"/>
                </a:cubicBezTo>
                <a:cubicBezTo>
                  <a:pt x="9390015" y="1130693"/>
                  <a:pt x="9391746" y="1130434"/>
                  <a:pt x="9393210" y="1129635"/>
                </a:cubicBezTo>
                <a:cubicBezTo>
                  <a:pt x="9394674" y="1129096"/>
                  <a:pt x="9396005" y="1128297"/>
                  <a:pt x="9396937" y="1127230"/>
                </a:cubicBezTo>
                <a:cubicBezTo>
                  <a:pt x="9398002" y="1126167"/>
                  <a:pt x="9398934" y="1124843"/>
                  <a:pt x="9399599" y="1123107"/>
                </a:cubicBezTo>
                <a:cubicBezTo>
                  <a:pt x="9400398" y="1121509"/>
                  <a:pt x="9400664" y="1119644"/>
                  <a:pt x="9400664" y="1117655"/>
                </a:cubicBezTo>
                <a:cubicBezTo>
                  <a:pt x="9400664" y="1115791"/>
                  <a:pt x="9400265" y="1114055"/>
                  <a:pt x="9399599" y="1112457"/>
                </a:cubicBezTo>
                <a:cubicBezTo>
                  <a:pt x="9398934" y="1110864"/>
                  <a:pt x="9398002" y="1109530"/>
                  <a:pt x="9396937" y="1108331"/>
                </a:cubicBezTo>
                <a:cubicBezTo>
                  <a:pt x="9395872" y="1107266"/>
                  <a:pt x="9394541" y="1106339"/>
                  <a:pt x="9392943" y="1105670"/>
                </a:cubicBezTo>
                <a:cubicBezTo>
                  <a:pt x="9391479" y="1105002"/>
                  <a:pt x="9389749" y="1104736"/>
                  <a:pt x="9387885" y="1104736"/>
                </a:cubicBezTo>
                <a:close/>
                <a:moveTo>
                  <a:pt x="9170374" y="1104736"/>
                </a:moveTo>
                <a:cubicBezTo>
                  <a:pt x="9164649" y="1104736"/>
                  <a:pt x="9161986" y="1106737"/>
                  <a:pt x="9160389" y="1108331"/>
                </a:cubicBezTo>
                <a:cubicBezTo>
                  <a:pt x="9157860" y="1110994"/>
                  <a:pt x="9156795" y="1113794"/>
                  <a:pt x="9156795" y="1117780"/>
                </a:cubicBezTo>
                <a:cubicBezTo>
                  <a:pt x="9156795" y="1121908"/>
                  <a:pt x="9157860" y="1124708"/>
                  <a:pt x="9160389" y="1127230"/>
                </a:cubicBezTo>
                <a:cubicBezTo>
                  <a:pt x="9161986" y="1128836"/>
                  <a:pt x="9164516" y="1130693"/>
                  <a:pt x="9170374" y="1130693"/>
                </a:cubicBezTo>
                <a:cubicBezTo>
                  <a:pt x="9172370" y="1130693"/>
                  <a:pt x="9174100" y="1130434"/>
                  <a:pt x="9175698" y="1129635"/>
                </a:cubicBezTo>
                <a:cubicBezTo>
                  <a:pt x="9177163" y="1129096"/>
                  <a:pt x="9178494" y="1128297"/>
                  <a:pt x="9179425" y="1127230"/>
                </a:cubicBezTo>
                <a:cubicBezTo>
                  <a:pt x="9180491" y="1126167"/>
                  <a:pt x="9181422" y="1124843"/>
                  <a:pt x="9182088" y="1123107"/>
                </a:cubicBezTo>
                <a:cubicBezTo>
                  <a:pt x="9182887" y="1121509"/>
                  <a:pt x="9183152" y="1119645"/>
                  <a:pt x="9183152" y="1117655"/>
                </a:cubicBezTo>
                <a:cubicBezTo>
                  <a:pt x="9183152" y="1115791"/>
                  <a:pt x="9182753" y="1114055"/>
                  <a:pt x="9182088" y="1112457"/>
                </a:cubicBezTo>
                <a:cubicBezTo>
                  <a:pt x="9181422" y="1110864"/>
                  <a:pt x="9180491" y="1109530"/>
                  <a:pt x="9179425" y="1108331"/>
                </a:cubicBezTo>
                <a:cubicBezTo>
                  <a:pt x="9178360" y="1107266"/>
                  <a:pt x="9177029" y="1106339"/>
                  <a:pt x="9175432" y="1105670"/>
                </a:cubicBezTo>
                <a:cubicBezTo>
                  <a:pt x="9173967" y="1105002"/>
                  <a:pt x="9172237" y="1104736"/>
                  <a:pt x="9170374" y="1104736"/>
                </a:cubicBezTo>
                <a:close/>
                <a:moveTo>
                  <a:pt x="8952728" y="1104736"/>
                </a:moveTo>
                <a:cubicBezTo>
                  <a:pt x="8947003" y="1104736"/>
                  <a:pt x="8944340" y="1106737"/>
                  <a:pt x="8942743" y="1108331"/>
                </a:cubicBezTo>
                <a:cubicBezTo>
                  <a:pt x="8940214" y="1110994"/>
                  <a:pt x="8939150" y="1113794"/>
                  <a:pt x="8939150" y="1117780"/>
                </a:cubicBezTo>
                <a:cubicBezTo>
                  <a:pt x="8939150" y="1121908"/>
                  <a:pt x="8940214" y="1124708"/>
                  <a:pt x="8942743" y="1127230"/>
                </a:cubicBezTo>
                <a:cubicBezTo>
                  <a:pt x="8944340" y="1128836"/>
                  <a:pt x="8946870" y="1130693"/>
                  <a:pt x="8952728" y="1130693"/>
                </a:cubicBezTo>
                <a:cubicBezTo>
                  <a:pt x="8954725" y="1130693"/>
                  <a:pt x="8956589" y="1130434"/>
                  <a:pt x="8958053" y="1129635"/>
                </a:cubicBezTo>
                <a:cubicBezTo>
                  <a:pt x="8959517" y="1129096"/>
                  <a:pt x="8960849" y="1128297"/>
                  <a:pt x="8961780" y="1127230"/>
                </a:cubicBezTo>
                <a:cubicBezTo>
                  <a:pt x="8962845" y="1126167"/>
                  <a:pt x="8963777" y="1124843"/>
                  <a:pt x="8964442" y="1123107"/>
                </a:cubicBezTo>
                <a:cubicBezTo>
                  <a:pt x="8965241" y="1121509"/>
                  <a:pt x="8965507" y="1119645"/>
                  <a:pt x="8965507" y="1117655"/>
                </a:cubicBezTo>
                <a:cubicBezTo>
                  <a:pt x="8965507" y="1115791"/>
                  <a:pt x="8965108" y="1114055"/>
                  <a:pt x="8964442" y="1112457"/>
                </a:cubicBezTo>
                <a:cubicBezTo>
                  <a:pt x="8963777" y="1110864"/>
                  <a:pt x="8962845" y="1109530"/>
                  <a:pt x="8961780" y="1108331"/>
                </a:cubicBezTo>
                <a:cubicBezTo>
                  <a:pt x="8960715" y="1107266"/>
                  <a:pt x="8959384" y="1106339"/>
                  <a:pt x="8957786" y="1105670"/>
                </a:cubicBezTo>
                <a:cubicBezTo>
                  <a:pt x="8956322" y="1105002"/>
                  <a:pt x="8954592" y="1104736"/>
                  <a:pt x="8952728" y="1104736"/>
                </a:cubicBezTo>
                <a:close/>
                <a:moveTo>
                  <a:pt x="8735083" y="1104736"/>
                </a:moveTo>
                <a:cubicBezTo>
                  <a:pt x="8729358" y="1104736"/>
                  <a:pt x="8726695" y="1106737"/>
                  <a:pt x="8725098" y="1108331"/>
                </a:cubicBezTo>
                <a:cubicBezTo>
                  <a:pt x="8722569" y="1110994"/>
                  <a:pt x="8721504" y="1113794"/>
                  <a:pt x="8721504" y="1117780"/>
                </a:cubicBezTo>
                <a:cubicBezTo>
                  <a:pt x="8721504" y="1121908"/>
                  <a:pt x="8722569" y="1124708"/>
                  <a:pt x="8725098" y="1127230"/>
                </a:cubicBezTo>
                <a:cubicBezTo>
                  <a:pt x="8726695" y="1128836"/>
                  <a:pt x="8729225" y="1130693"/>
                  <a:pt x="8735083" y="1130693"/>
                </a:cubicBezTo>
                <a:cubicBezTo>
                  <a:pt x="8737079" y="1130693"/>
                  <a:pt x="8738943" y="1130434"/>
                  <a:pt x="8740407" y="1129635"/>
                </a:cubicBezTo>
                <a:cubicBezTo>
                  <a:pt x="8741872" y="1129096"/>
                  <a:pt x="8743203" y="1128297"/>
                  <a:pt x="8744134" y="1127230"/>
                </a:cubicBezTo>
                <a:cubicBezTo>
                  <a:pt x="8745200" y="1126167"/>
                  <a:pt x="8746132" y="1124843"/>
                  <a:pt x="8746797" y="1123107"/>
                </a:cubicBezTo>
                <a:cubicBezTo>
                  <a:pt x="8747596" y="1121509"/>
                  <a:pt x="8747862" y="1119645"/>
                  <a:pt x="8747862" y="1117655"/>
                </a:cubicBezTo>
                <a:cubicBezTo>
                  <a:pt x="8747862" y="1115791"/>
                  <a:pt x="8747462" y="1114055"/>
                  <a:pt x="8746797" y="1112457"/>
                </a:cubicBezTo>
                <a:cubicBezTo>
                  <a:pt x="8746132" y="1110864"/>
                  <a:pt x="8745200" y="1109530"/>
                  <a:pt x="8744134" y="1108331"/>
                </a:cubicBezTo>
                <a:cubicBezTo>
                  <a:pt x="8743069" y="1107266"/>
                  <a:pt x="8741738" y="1106339"/>
                  <a:pt x="8740141" y="1105670"/>
                </a:cubicBezTo>
                <a:cubicBezTo>
                  <a:pt x="8738677" y="1105002"/>
                  <a:pt x="8736946" y="1104736"/>
                  <a:pt x="8735083" y="1104736"/>
                </a:cubicBezTo>
                <a:close/>
                <a:moveTo>
                  <a:pt x="8517438" y="1104736"/>
                </a:moveTo>
                <a:cubicBezTo>
                  <a:pt x="8511713" y="1104736"/>
                  <a:pt x="8509051" y="1106737"/>
                  <a:pt x="8507453" y="1108331"/>
                </a:cubicBezTo>
                <a:cubicBezTo>
                  <a:pt x="8504925" y="1110994"/>
                  <a:pt x="8503860" y="1113794"/>
                  <a:pt x="8503860" y="1117780"/>
                </a:cubicBezTo>
                <a:cubicBezTo>
                  <a:pt x="8503860" y="1121908"/>
                  <a:pt x="8504925" y="1124708"/>
                  <a:pt x="8507453" y="1127230"/>
                </a:cubicBezTo>
                <a:cubicBezTo>
                  <a:pt x="8509051" y="1128836"/>
                  <a:pt x="8511581" y="1130693"/>
                  <a:pt x="8517438" y="1130693"/>
                </a:cubicBezTo>
                <a:cubicBezTo>
                  <a:pt x="8519568" y="1130693"/>
                  <a:pt x="8521299" y="1130434"/>
                  <a:pt x="8522763" y="1129635"/>
                </a:cubicBezTo>
                <a:cubicBezTo>
                  <a:pt x="8524227" y="1129096"/>
                  <a:pt x="8525559" y="1128297"/>
                  <a:pt x="8526490" y="1127230"/>
                </a:cubicBezTo>
                <a:cubicBezTo>
                  <a:pt x="8527555" y="1126167"/>
                  <a:pt x="8528487" y="1124843"/>
                  <a:pt x="8529152" y="1123107"/>
                </a:cubicBezTo>
                <a:cubicBezTo>
                  <a:pt x="8529818" y="1121509"/>
                  <a:pt x="8530084" y="1119645"/>
                  <a:pt x="8530084" y="1117655"/>
                </a:cubicBezTo>
                <a:cubicBezTo>
                  <a:pt x="8530084" y="1115791"/>
                  <a:pt x="8529818" y="1114055"/>
                  <a:pt x="8529152" y="1112457"/>
                </a:cubicBezTo>
                <a:cubicBezTo>
                  <a:pt x="8528487" y="1110864"/>
                  <a:pt x="8527555" y="1109530"/>
                  <a:pt x="8526490" y="1108331"/>
                </a:cubicBezTo>
                <a:cubicBezTo>
                  <a:pt x="8525425" y="1107266"/>
                  <a:pt x="8524094" y="1106339"/>
                  <a:pt x="8522496" y="1105670"/>
                </a:cubicBezTo>
                <a:cubicBezTo>
                  <a:pt x="8521032" y="1105002"/>
                  <a:pt x="8519302" y="1104736"/>
                  <a:pt x="8517438" y="1104736"/>
                </a:cubicBezTo>
                <a:close/>
                <a:moveTo>
                  <a:pt x="8299793" y="1104736"/>
                </a:moveTo>
                <a:cubicBezTo>
                  <a:pt x="8294068" y="1104736"/>
                  <a:pt x="8291406" y="1106737"/>
                  <a:pt x="8289809" y="1108331"/>
                </a:cubicBezTo>
                <a:cubicBezTo>
                  <a:pt x="8287280" y="1110994"/>
                  <a:pt x="8286215" y="1113794"/>
                  <a:pt x="8286215" y="1117780"/>
                </a:cubicBezTo>
                <a:cubicBezTo>
                  <a:pt x="8286215" y="1121908"/>
                  <a:pt x="8287280" y="1124708"/>
                  <a:pt x="8289809" y="1127230"/>
                </a:cubicBezTo>
                <a:cubicBezTo>
                  <a:pt x="8291406" y="1128836"/>
                  <a:pt x="8293935" y="1130693"/>
                  <a:pt x="8299793" y="1130693"/>
                </a:cubicBezTo>
                <a:cubicBezTo>
                  <a:pt x="8301923" y="1130693"/>
                  <a:pt x="8303653" y="1130434"/>
                  <a:pt x="8305118" y="1129635"/>
                </a:cubicBezTo>
                <a:cubicBezTo>
                  <a:pt x="8306582" y="1129096"/>
                  <a:pt x="8307913" y="1128297"/>
                  <a:pt x="8308844" y="1127230"/>
                </a:cubicBezTo>
                <a:cubicBezTo>
                  <a:pt x="8309910" y="1126167"/>
                  <a:pt x="8310842" y="1124843"/>
                  <a:pt x="8311507" y="1123107"/>
                </a:cubicBezTo>
                <a:cubicBezTo>
                  <a:pt x="8312172" y="1121509"/>
                  <a:pt x="8312439" y="1119645"/>
                  <a:pt x="8312439" y="1117655"/>
                </a:cubicBezTo>
                <a:cubicBezTo>
                  <a:pt x="8312439" y="1115791"/>
                  <a:pt x="8312172" y="1114055"/>
                  <a:pt x="8311507" y="1112457"/>
                </a:cubicBezTo>
                <a:cubicBezTo>
                  <a:pt x="8310842" y="1110864"/>
                  <a:pt x="8309910" y="1109530"/>
                  <a:pt x="8308844" y="1108331"/>
                </a:cubicBezTo>
                <a:cubicBezTo>
                  <a:pt x="8307779" y="1107266"/>
                  <a:pt x="8306448" y="1106339"/>
                  <a:pt x="8304851" y="1105670"/>
                </a:cubicBezTo>
                <a:cubicBezTo>
                  <a:pt x="8303387" y="1105002"/>
                  <a:pt x="8301790" y="1104736"/>
                  <a:pt x="8299793" y="1104736"/>
                </a:cubicBezTo>
                <a:close/>
                <a:moveTo>
                  <a:pt x="8082281" y="1104736"/>
                </a:moveTo>
                <a:cubicBezTo>
                  <a:pt x="8076424" y="1104736"/>
                  <a:pt x="8073894" y="1106737"/>
                  <a:pt x="8072297" y="1108331"/>
                </a:cubicBezTo>
                <a:cubicBezTo>
                  <a:pt x="8069768" y="1110994"/>
                  <a:pt x="8068703" y="1113794"/>
                  <a:pt x="8068703" y="1117780"/>
                </a:cubicBezTo>
                <a:cubicBezTo>
                  <a:pt x="8068703" y="1121908"/>
                  <a:pt x="8069768" y="1124708"/>
                  <a:pt x="8072297" y="1127230"/>
                </a:cubicBezTo>
                <a:cubicBezTo>
                  <a:pt x="8073894" y="1128836"/>
                  <a:pt x="8076424" y="1130693"/>
                  <a:pt x="8082281" y="1130693"/>
                </a:cubicBezTo>
                <a:cubicBezTo>
                  <a:pt x="8084277" y="1130693"/>
                  <a:pt x="8086007" y="1130434"/>
                  <a:pt x="8087605" y="1129635"/>
                </a:cubicBezTo>
                <a:cubicBezTo>
                  <a:pt x="8089069" y="1129096"/>
                  <a:pt x="8090401" y="1128297"/>
                  <a:pt x="8091332" y="1127230"/>
                </a:cubicBezTo>
                <a:cubicBezTo>
                  <a:pt x="8092397" y="1126167"/>
                  <a:pt x="8093329" y="1124843"/>
                  <a:pt x="8093994" y="1123107"/>
                </a:cubicBezTo>
                <a:cubicBezTo>
                  <a:pt x="8094660" y="1121509"/>
                  <a:pt x="8094926" y="1119645"/>
                  <a:pt x="8094926" y="1117655"/>
                </a:cubicBezTo>
                <a:cubicBezTo>
                  <a:pt x="8094926" y="1115791"/>
                  <a:pt x="8094660" y="1114055"/>
                  <a:pt x="8093994" y="1112457"/>
                </a:cubicBezTo>
                <a:cubicBezTo>
                  <a:pt x="8093329" y="1110864"/>
                  <a:pt x="8092397" y="1109530"/>
                  <a:pt x="8091332" y="1108331"/>
                </a:cubicBezTo>
                <a:cubicBezTo>
                  <a:pt x="8090267" y="1107266"/>
                  <a:pt x="8088936" y="1106339"/>
                  <a:pt x="8087338" y="1105670"/>
                </a:cubicBezTo>
                <a:cubicBezTo>
                  <a:pt x="8085874" y="1105002"/>
                  <a:pt x="8084277" y="1104736"/>
                  <a:pt x="8082281" y="1104736"/>
                </a:cubicBezTo>
                <a:close/>
                <a:moveTo>
                  <a:pt x="7864636" y="1104736"/>
                </a:moveTo>
                <a:cubicBezTo>
                  <a:pt x="7858779" y="1104736"/>
                  <a:pt x="7856249" y="1106737"/>
                  <a:pt x="7854652" y="1108331"/>
                </a:cubicBezTo>
                <a:cubicBezTo>
                  <a:pt x="7852123" y="1110994"/>
                  <a:pt x="7851058" y="1113794"/>
                  <a:pt x="7851058" y="1117780"/>
                </a:cubicBezTo>
                <a:cubicBezTo>
                  <a:pt x="7851058" y="1121908"/>
                  <a:pt x="7852123" y="1124708"/>
                  <a:pt x="7854652" y="1127230"/>
                </a:cubicBezTo>
                <a:cubicBezTo>
                  <a:pt x="7856249" y="1128836"/>
                  <a:pt x="7858779" y="1130693"/>
                  <a:pt x="7864636" y="1130693"/>
                </a:cubicBezTo>
                <a:cubicBezTo>
                  <a:pt x="7866633" y="1130693"/>
                  <a:pt x="7868363" y="1130434"/>
                  <a:pt x="7869961" y="1129635"/>
                </a:cubicBezTo>
                <a:cubicBezTo>
                  <a:pt x="7871425" y="1129096"/>
                  <a:pt x="7872756" y="1128297"/>
                  <a:pt x="7873687" y="1127230"/>
                </a:cubicBezTo>
                <a:cubicBezTo>
                  <a:pt x="7874753" y="1126167"/>
                  <a:pt x="7875685" y="1124843"/>
                  <a:pt x="7876350" y="1123107"/>
                </a:cubicBezTo>
                <a:cubicBezTo>
                  <a:pt x="7877015" y="1121509"/>
                  <a:pt x="7877282" y="1119645"/>
                  <a:pt x="7877282" y="1117655"/>
                </a:cubicBezTo>
                <a:cubicBezTo>
                  <a:pt x="7877282" y="1115791"/>
                  <a:pt x="7877015" y="1114055"/>
                  <a:pt x="7876350" y="1112457"/>
                </a:cubicBezTo>
                <a:cubicBezTo>
                  <a:pt x="7875685" y="1110864"/>
                  <a:pt x="7874753" y="1109530"/>
                  <a:pt x="7873687" y="1108331"/>
                </a:cubicBezTo>
                <a:cubicBezTo>
                  <a:pt x="7872623" y="1107266"/>
                  <a:pt x="7871291" y="1106339"/>
                  <a:pt x="7869694" y="1105670"/>
                </a:cubicBezTo>
                <a:cubicBezTo>
                  <a:pt x="7868230" y="1105002"/>
                  <a:pt x="7866633" y="1104736"/>
                  <a:pt x="7864636" y="1104736"/>
                </a:cubicBezTo>
                <a:close/>
                <a:moveTo>
                  <a:pt x="7646991" y="1104736"/>
                </a:moveTo>
                <a:cubicBezTo>
                  <a:pt x="7641134" y="1104736"/>
                  <a:pt x="7638604" y="1106737"/>
                  <a:pt x="7637007" y="1108331"/>
                </a:cubicBezTo>
                <a:cubicBezTo>
                  <a:pt x="7634478" y="1110994"/>
                  <a:pt x="7633413" y="1113794"/>
                  <a:pt x="7633413" y="1117780"/>
                </a:cubicBezTo>
                <a:cubicBezTo>
                  <a:pt x="7633413" y="1121908"/>
                  <a:pt x="7634478" y="1124708"/>
                  <a:pt x="7637007" y="1127230"/>
                </a:cubicBezTo>
                <a:cubicBezTo>
                  <a:pt x="7638604" y="1128836"/>
                  <a:pt x="7641134" y="1130693"/>
                  <a:pt x="7646991" y="1130693"/>
                </a:cubicBezTo>
                <a:cubicBezTo>
                  <a:pt x="7648987" y="1130693"/>
                  <a:pt x="7650851" y="1130434"/>
                  <a:pt x="7652315" y="1129635"/>
                </a:cubicBezTo>
                <a:cubicBezTo>
                  <a:pt x="7653780" y="1129096"/>
                  <a:pt x="7655111" y="1128297"/>
                  <a:pt x="7656042" y="1127230"/>
                </a:cubicBezTo>
                <a:cubicBezTo>
                  <a:pt x="7657108" y="1126167"/>
                  <a:pt x="7658039" y="1124843"/>
                  <a:pt x="7658705" y="1123107"/>
                </a:cubicBezTo>
                <a:cubicBezTo>
                  <a:pt x="7659504" y="1121509"/>
                  <a:pt x="7659769" y="1119645"/>
                  <a:pt x="7659769" y="1117655"/>
                </a:cubicBezTo>
                <a:cubicBezTo>
                  <a:pt x="7659769" y="1115791"/>
                  <a:pt x="7659370" y="1114055"/>
                  <a:pt x="7658705" y="1112457"/>
                </a:cubicBezTo>
                <a:cubicBezTo>
                  <a:pt x="7658039" y="1110864"/>
                  <a:pt x="7657108" y="1109530"/>
                  <a:pt x="7656042" y="1108331"/>
                </a:cubicBezTo>
                <a:cubicBezTo>
                  <a:pt x="7654977" y="1107266"/>
                  <a:pt x="7653646" y="1106339"/>
                  <a:pt x="7652049" y="1105670"/>
                </a:cubicBezTo>
                <a:cubicBezTo>
                  <a:pt x="7650584" y="1105002"/>
                  <a:pt x="7648987" y="1104736"/>
                  <a:pt x="7646991" y="1104736"/>
                </a:cubicBezTo>
                <a:close/>
                <a:moveTo>
                  <a:pt x="7429345" y="1104736"/>
                </a:moveTo>
                <a:cubicBezTo>
                  <a:pt x="7423488" y="1104736"/>
                  <a:pt x="7420958" y="1106737"/>
                  <a:pt x="7419361" y="1108331"/>
                </a:cubicBezTo>
                <a:cubicBezTo>
                  <a:pt x="7416832" y="1110994"/>
                  <a:pt x="7415768" y="1113794"/>
                  <a:pt x="7415768" y="1117780"/>
                </a:cubicBezTo>
                <a:cubicBezTo>
                  <a:pt x="7415768" y="1121908"/>
                  <a:pt x="7416832" y="1124708"/>
                  <a:pt x="7419361" y="1127230"/>
                </a:cubicBezTo>
                <a:cubicBezTo>
                  <a:pt x="7420958" y="1128836"/>
                  <a:pt x="7423488" y="1130693"/>
                  <a:pt x="7429345" y="1130693"/>
                </a:cubicBezTo>
                <a:cubicBezTo>
                  <a:pt x="7431342" y="1130693"/>
                  <a:pt x="7433206" y="1130434"/>
                  <a:pt x="7434670" y="1129635"/>
                </a:cubicBezTo>
                <a:cubicBezTo>
                  <a:pt x="7436134" y="1129096"/>
                  <a:pt x="7437466" y="1128297"/>
                  <a:pt x="7438397" y="1127230"/>
                </a:cubicBezTo>
                <a:cubicBezTo>
                  <a:pt x="7439462" y="1126167"/>
                  <a:pt x="7440394" y="1124843"/>
                  <a:pt x="7441059" y="1123107"/>
                </a:cubicBezTo>
                <a:cubicBezTo>
                  <a:pt x="7441858" y="1121509"/>
                  <a:pt x="7442124" y="1119645"/>
                  <a:pt x="7442124" y="1117655"/>
                </a:cubicBezTo>
                <a:cubicBezTo>
                  <a:pt x="7442124" y="1115791"/>
                  <a:pt x="7441725" y="1114055"/>
                  <a:pt x="7441059" y="1112457"/>
                </a:cubicBezTo>
                <a:cubicBezTo>
                  <a:pt x="7440394" y="1110864"/>
                  <a:pt x="7439462" y="1109530"/>
                  <a:pt x="7438397" y="1108331"/>
                </a:cubicBezTo>
                <a:cubicBezTo>
                  <a:pt x="7437332" y="1107266"/>
                  <a:pt x="7436001" y="1106339"/>
                  <a:pt x="7434403" y="1105670"/>
                </a:cubicBezTo>
                <a:cubicBezTo>
                  <a:pt x="7432939" y="1105002"/>
                  <a:pt x="7431342" y="1104736"/>
                  <a:pt x="7429345" y="1104736"/>
                </a:cubicBezTo>
                <a:close/>
                <a:moveTo>
                  <a:pt x="7211701" y="1104736"/>
                </a:moveTo>
                <a:cubicBezTo>
                  <a:pt x="7205844" y="1104736"/>
                  <a:pt x="7203314" y="1106737"/>
                  <a:pt x="7201717" y="1108331"/>
                </a:cubicBezTo>
                <a:cubicBezTo>
                  <a:pt x="7199188" y="1110994"/>
                  <a:pt x="7198123" y="1113794"/>
                  <a:pt x="7198123" y="1117780"/>
                </a:cubicBezTo>
                <a:cubicBezTo>
                  <a:pt x="7198123" y="1121908"/>
                  <a:pt x="7199188" y="1124708"/>
                  <a:pt x="7201717" y="1127230"/>
                </a:cubicBezTo>
                <a:cubicBezTo>
                  <a:pt x="7203314" y="1128836"/>
                  <a:pt x="7205844" y="1130693"/>
                  <a:pt x="7211701" y="1130693"/>
                </a:cubicBezTo>
                <a:cubicBezTo>
                  <a:pt x="7213830" y="1130693"/>
                  <a:pt x="7215561" y="1130434"/>
                  <a:pt x="7217026" y="1129635"/>
                </a:cubicBezTo>
                <a:cubicBezTo>
                  <a:pt x="7218490" y="1129096"/>
                  <a:pt x="7219821" y="1128297"/>
                  <a:pt x="7220752" y="1127230"/>
                </a:cubicBezTo>
                <a:cubicBezTo>
                  <a:pt x="7221818" y="1126167"/>
                  <a:pt x="7222750" y="1124843"/>
                  <a:pt x="7223415" y="1123107"/>
                </a:cubicBezTo>
                <a:cubicBezTo>
                  <a:pt x="7224214" y="1121509"/>
                  <a:pt x="7224480" y="1119645"/>
                  <a:pt x="7224480" y="1117655"/>
                </a:cubicBezTo>
                <a:cubicBezTo>
                  <a:pt x="7224480" y="1115791"/>
                  <a:pt x="7224080" y="1114055"/>
                  <a:pt x="7223415" y="1112457"/>
                </a:cubicBezTo>
                <a:cubicBezTo>
                  <a:pt x="7222750" y="1110864"/>
                  <a:pt x="7221818" y="1109530"/>
                  <a:pt x="7220752" y="1108331"/>
                </a:cubicBezTo>
                <a:cubicBezTo>
                  <a:pt x="7219687" y="1107266"/>
                  <a:pt x="7218356" y="1106339"/>
                  <a:pt x="7216759" y="1105670"/>
                </a:cubicBezTo>
                <a:cubicBezTo>
                  <a:pt x="7215295" y="1105002"/>
                  <a:pt x="7213698" y="1104736"/>
                  <a:pt x="7211701" y="1104736"/>
                </a:cubicBezTo>
                <a:close/>
                <a:moveTo>
                  <a:pt x="6994056" y="1104736"/>
                </a:moveTo>
                <a:cubicBezTo>
                  <a:pt x="6988199" y="1104736"/>
                  <a:pt x="6985669" y="1106737"/>
                  <a:pt x="6984072" y="1108331"/>
                </a:cubicBezTo>
                <a:cubicBezTo>
                  <a:pt x="6981543" y="1110994"/>
                  <a:pt x="6980478" y="1113794"/>
                  <a:pt x="6980478" y="1117780"/>
                </a:cubicBezTo>
                <a:cubicBezTo>
                  <a:pt x="6980478" y="1121908"/>
                  <a:pt x="6981543" y="1124708"/>
                  <a:pt x="6984072" y="1127230"/>
                </a:cubicBezTo>
                <a:cubicBezTo>
                  <a:pt x="6985669" y="1128836"/>
                  <a:pt x="6988199" y="1130693"/>
                  <a:pt x="6994056" y="1130693"/>
                </a:cubicBezTo>
                <a:cubicBezTo>
                  <a:pt x="6996185" y="1130693"/>
                  <a:pt x="6997916" y="1130434"/>
                  <a:pt x="6999380" y="1129635"/>
                </a:cubicBezTo>
                <a:cubicBezTo>
                  <a:pt x="7000844" y="1129096"/>
                  <a:pt x="7002176" y="1128297"/>
                  <a:pt x="7003107" y="1127230"/>
                </a:cubicBezTo>
                <a:cubicBezTo>
                  <a:pt x="7004172" y="1126167"/>
                  <a:pt x="7005104" y="1124843"/>
                  <a:pt x="7005769" y="1123107"/>
                </a:cubicBezTo>
                <a:cubicBezTo>
                  <a:pt x="7006568" y="1121509"/>
                  <a:pt x="7006834" y="1119645"/>
                  <a:pt x="7006834" y="1117655"/>
                </a:cubicBezTo>
                <a:cubicBezTo>
                  <a:pt x="7006834" y="1115791"/>
                  <a:pt x="7006435" y="1114055"/>
                  <a:pt x="7005769" y="1112457"/>
                </a:cubicBezTo>
                <a:cubicBezTo>
                  <a:pt x="7005104" y="1110864"/>
                  <a:pt x="7004172" y="1109530"/>
                  <a:pt x="7003107" y="1108331"/>
                </a:cubicBezTo>
                <a:cubicBezTo>
                  <a:pt x="7002042" y="1107266"/>
                  <a:pt x="7000711" y="1106339"/>
                  <a:pt x="6999113" y="1105670"/>
                </a:cubicBezTo>
                <a:cubicBezTo>
                  <a:pt x="6997649" y="1105002"/>
                  <a:pt x="6996052" y="1104736"/>
                  <a:pt x="6994056" y="1104736"/>
                </a:cubicBezTo>
                <a:close/>
                <a:moveTo>
                  <a:pt x="6776544" y="1104736"/>
                </a:moveTo>
                <a:cubicBezTo>
                  <a:pt x="6770687" y="1104736"/>
                  <a:pt x="6768157" y="1106737"/>
                  <a:pt x="6766560" y="1108331"/>
                </a:cubicBezTo>
                <a:cubicBezTo>
                  <a:pt x="6764031" y="1110994"/>
                  <a:pt x="6762966" y="1113794"/>
                  <a:pt x="6762966" y="1117780"/>
                </a:cubicBezTo>
                <a:cubicBezTo>
                  <a:pt x="6762966" y="1121908"/>
                  <a:pt x="6764031" y="1124708"/>
                  <a:pt x="6766560" y="1127230"/>
                </a:cubicBezTo>
                <a:cubicBezTo>
                  <a:pt x="6768157" y="1128836"/>
                  <a:pt x="6770687" y="1130693"/>
                  <a:pt x="6776544" y="1130693"/>
                </a:cubicBezTo>
                <a:cubicBezTo>
                  <a:pt x="6778541" y="1130693"/>
                  <a:pt x="6780270" y="1130434"/>
                  <a:pt x="6781869" y="1129635"/>
                </a:cubicBezTo>
                <a:cubicBezTo>
                  <a:pt x="6783333" y="1129096"/>
                  <a:pt x="6784664" y="1128297"/>
                  <a:pt x="6785595" y="1127230"/>
                </a:cubicBezTo>
                <a:cubicBezTo>
                  <a:pt x="6786661" y="1126167"/>
                  <a:pt x="6787593" y="1124843"/>
                  <a:pt x="6788258" y="1123107"/>
                </a:cubicBezTo>
                <a:cubicBezTo>
                  <a:pt x="6789057" y="1121509"/>
                  <a:pt x="6789323" y="1119645"/>
                  <a:pt x="6789323" y="1117655"/>
                </a:cubicBezTo>
                <a:cubicBezTo>
                  <a:pt x="6789323" y="1115791"/>
                  <a:pt x="6788923" y="1114055"/>
                  <a:pt x="6788258" y="1112457"/>
                </a:cubicBezTo>
                <a:cubicBezTo>
                  <a:pt x="6787593" y="1110864"/>
                  <a:pt x="6786661" y="1109530"/>
                  <a:pt x="6785595" y="1108331"/>
                </a:cubicBezTo>
                <a:cubicBezTo>
                  <a:pt x="6784530" y="1107266"/>
                  <a:pt x="6783199" y="1106339"/>
                  <a:pt x="6781602" y="1105670"/>
                </a:cubicBezTo>
                <a:cubicBezTo>
                  <a:pt x="6780138" y="1105002"/>
                  <a:pt x="6778541" y="1104736"/>
                  <a:pt x="6776544" y="1104736"/>
                </a:cubicBezTo>
                <a:close/>
                <a:moveTo>
                  <a:pt x="6558899" y="1104736"/>
                </a:moveTo>
                <a:cubicBezTo>
                  <a:pt x="6553042" y="1104736"/>
                  <a:pt x="6550512" y="1106737"/>
                  <a:pt x="6548915" y="1108331"/>
                </a:cubicBezTo>
                <a:cubicBezTo>
                  <a:pt x="6546386" y="1110994"/>
                  <a:pt x="6545321" y="1113794"/>
                  <a:pt x="6545321" y="1117780"/>
                </a:cubicBezTo>
                <a:cubicBezTo>
                  <a:pt x="6545321" y="1121908"/>
                  <a:pt x="6546386" y="1124708"/>
                  <a:pt x="6548915" y="1127230"/>
                </a:cubicBezTo>
                <a:cubicBezTo>
                  <a:pt x="6550512" y="1128836"/>
                  <a:pt x="6553042" y="1130693"/>
                  <a:pt x="6558899" y="1130693"/>
                </a:cubicBezTo>
                <a:cubicBezTo>
                  <a:pt x="6560895" y="1130693"/>
                  <a:pt x="6562759" y="1130434"/>
                  <a:pt x="6564223" y="1129635"/>
                </a:cubicBezTo>
                <a:cubicBezTo>
                  <a:pt x="6565687" y="1129096"/>
                  <a:pt x="6567019" y="1128297"/>
                  <a:pt x="6567950" y="1127230"/>
                </a:cubicBezTo>
                <a:cubicBezTo>
                  <a:pt x="6569015" y="1126167"/>
                  <a:pt x="6569947" y="1124843"/>
                  <a:pt x="6570612" y="1123107"/>
                </a:cubicBezTo>
                <a:cubicBezTo>
                  <a:pt x="6571412" y="1121509"/>
                  <a:pt x="6571677" y="1119645"/>
                  <a:pt x="6571677" y="1117655"/>
                </a:cubicBezTo>
                <a:cubicBezTo>
                  <a:pt x="6571677" y="1115791"/>
                  <a:pt x="6571278" y="1114055"/>
                  <a:pt x="6570612" y="1112457"/>
                </a:cubicBezTo>
                <a:cubicBezTo>
                  <a:pt x="6569947" y="1110864"/>
                  <a:pt x="6569015" y="1109530"/>
                  <a:pt x="6567950" y="1108331"/>
                </a:cubicBezTo>
                <a:cubicBezTo>
                  <a:pt x="6566885" y="1107266"/>
                  <a:pt x="6565554" y="1106339"/>
                  <a:pt x="6563956" y="1105670"/>
                </a:cubicBezTo>
                <a:cubicBezTo>
                  <a:pt x="6562492" y="1105002"/>
                  <a:pt x="6560895" y="1104736"/>
                  <a:pt x="6558899" y="1104736"/>
                </a:cubicBezTo>
                <a:close/>
                <a:moveTo>
                  <a:pt x="6341253" y="1104736"/>
                </a:moveTo>
                <a:cubicBezTo>
                  <a:pt x="6335396" y="1104736"/>
                  <a:pt x="6332867" y="1106737"/>
                  <a:pt x="6331270" y="1108331"/>
                </a:cubicBezTo>
                <a:cubicBezTo>
                  <a:pt x="6328740" y="1110994"/>
                  <a:pt x="6327675" y="1113794"/>
                  <a:pt x="6327675" y="1117780"/>
                </a:cubicBezTo>
                <a:cubicBezTo>
                  <a:pt x="6327675" y="1121908"/>
                  <a:pt x="6328740" y="1124708"/>
                  <a:pt x="6331270" y="1127230"/>
                </a:cubicBezTo>
                <a:cubicBezTo>
                  <a:pt x="6332867" y="1128836"/>
                  <a:pt x="6335396" y="1130693"/>
                  <a:pt x="6341253" y="1130693"/>
                </a:cubicBezTo>
                <a:cubicBezTo>
                  <a:pt x="6343250" y="1130693"/>
                  <a:pt x="6345114" y="1130434"/>
                  <a:pt x="6346578" y="1129635"/>
                </a:cubicBezTo>
                <a:cubicBezTo>
                  <a:pt x="6348042" y="1129096"/>
                  <a:pt x="6349373" y="1128297"/>
                  <a:pt x="6350305" y="1127230"/>
                </a:cubicBezTo>
                <a:cubicBezTo>
                  <a:pt x="6351370" y="1126167"/>
                  <a:pt x="6352302" y="1124843"/>
                  <a:pt x="6352968" y="1123107"/>
                </a:cubicBezTo>
                <a:cubicBezTo>
                  <a:pt x="6353766" y="1121509"/>
                  <a:pt x="6354033" y="1119645"/>
                  <a:pt x="6354033" y="1117655"/>
                </a:cubicBezTo>
                <a:cubicBezTo>
                  <a:pt x="6354033" y="1115791"/>
                  <a:pt x="6353633" y="1114055"/>
                  <a:pt x="6352968" y="1112457"/>
                </a:cubicBezTo>
                <a:cubicBezTo>
                  <a:pt x="6352302" y="1110864"/>
                  <a:pt x="6351370" y="1109530"/>
                  <a:pt x="6350305" y="1108331"/>
                </a:cubicBezTo>
                <a:cubicBezTo>
                  <a:pt x="6349241" y="1107266"/>
                  <a:pt x="6347909" y="1106339"/>
                  <a:pt x="6346312" y="1105670"/>
                </a:cubicBezTo>
                <a:cubicBezTo>
                  <a:pt x="6344848" y="1105002"/>
                  <a:pt x="6343250" y="1104736"/>
                  <a:pt x="6341253" y="1104736"/>
                </a:cubicBezTo>
                <a:close/>
                <a:moveTo>
                  <a:pt x="6123608" y="1104736"/>
                </a:moveTo>
                <a:cubicBezTo>
                  <a:pt x="6117751" y="1104736"/>
                  <a:pt x="6115221" y="1106737"/>
                  <a:pt x="6113624" y="1108331"/>
                </a:cubicBezTo>
                <a:cubicBezTo>
                  <a:pt x="6111095" y="1110994"/>
                  <a:pt x="6110030" y="1113794"/>
                  <a:pt x="6110030" y="1117780"/>
                </a:cubicBezTo>
                <a:cubicBezTo>
                  <a:pt x="6110030" y="1121908"/>
                  <a:pt x="6111095" y="1124708"/>
                  <a:pt x="6113624" y="1127230"/>
                </a:cubicBezTo>
                <a:cubicBezTo>
                  <a:pt x="6115221" y="1128836"/>
                  <a:pt x="6117751" y="1130693"/>
                  <a:pt x="6123608" y="1130693"/>
                </a:cubicBezTo>
                <a:cubicBezTo>
                  <a:pt x="6125737" y="1130693"/>
                  <a:pt x="6127468" y="1130434"/>
                  <a:pt x="6128932" y="1129635"/>
                </a:cubicBezTo>
                <a:cubicBezTo>
                  <a:pt x="6130530" y="1129096"/>
                  <a:pt x="6131728" y="1128297"/>
                  <a:pt x="6132659" y="1127230"/>
                </a:cubicBezTo>
                <a:cubicBezTo>
                  <a:pt x="6133724" y="1126167"/>
                  <a:pt x="6134656" y="1124843"/>
                  <a:pt x="6135322" y="1123107"/>
                </a:cubicBezTo>
                <a:cubicBezTo>
                  <a:pt x="6135987" y="1121509"/>
                  <a:pt x="6136387" y="1119645"/>
                  <a:pt x="6136387" y="1117655"/>
                </a:cubicBezTo>
                <a:cubicBezTo>
                  <a:pt x="6136387" y="1115791"/>
                  <a:pt x="6135987" y="1114055"/>
                  <a:pt x="6135322" y="1112457"/>
                </a:cubicBezTo>
                <a:cubicBezTo>
                  <a:pt x="6134656" y="1110864"/>
                  <a:pt x="6133724" y="1109530"/>
                  <a:pt x="6132659" y="1108331"/>
                </a:cubicBezTo>
                <a:cubicBezTo>
                  <a:pt x="6131594" y="1107266"/>
                  <a:pt x="6130263" y="1106339"/>
                  <a:pt x="6128666" y="1105670"/>
                </a:cubicBezTo>
                <a:cubicBezTo>
                  <a:pt x="6127202" y="1105002"/>
                  <a:pt x="6125604" y="1104736"/>
                  <a:pt x="6123608" y="1104736"/>
                </a:cubicBezTo>
                <a:close/>
                <a:moveTo>
                  <a:pt x="5905963" y="1104736"/>
                </a:moveTo>
                <a:cubicBezTo>
                  <a:pt x="5900106" y="1104736"/>
                  <a:pt x="5897576" y="1106737"/>
                  <a:pt x="5895979" y="1108331"/>
                </a:cubicBezTo>
                <a:cubicBezTo>
                  <a:pt x="5893450" y="1110994"/>
                  <a:pt x="5892385" y="1113794"/>
                  <a:pt x="5892385" y="1117780"/>
                </a:cubicBezTo>
                <a:cubicBezTo>
                  <a:pt x="5892385" y="1121908"/>
                  <a:pt x="5893450" y="1124708"/>
                  <a:pt x="5895979" y="1127230"/>
                </a:cubicBezTo>
                <a:cubicBezTo>
                  <a:pt x="5897576" y="1128836"/>
                  <a:pt x="5900106" y="1130693"/>
                  <a:pt x="5905963" y="1130693"/>
                </a:cubicBezTo>
                <a:cubicBezTo>
                  <a:pt x="5908093" y="1130693"/>
                  <a:pt x="5909823" y="1130434"/>
                  <a:pt x="5911287" y="1129635"/>
                </a:cubicBezTo>
                <a:cubicBezTo>
                  <a:pt x="5912751" y="1129096"/>
                  <a:pt x="5914083" y="1128297"/>
                  <a:pt x="5915014" y="1127230"/>
                </a:cubicBezTo>
                <a:cubicBezTo>
                  <a:pt x="5916079" y="1126167"/>
                  <a:pt x="5917011" y="1124843"/>
                  <a:pt x="5917677" y="1123107"/>
                </a:cubicBezTo>
                <a:cubicBezTo>
                  <a:pt x="5918342" y="1121509"/>
                  <a:pt x="5918742" y="1119645"/>
                  <a:pt x="5918742" y="1117655"/>
                </a:cubicBezTo>
                <a:cubicBezTo>
                  <a:pt x="5918742" y="1115791"/>
                  <a:pt x="5918342" y="1114055"/>
                  <a:pt x="5917677" y="1112457"/>
                </a:cubicBezTo>
                <a:cubicBezTo>
                  <a:pt x="5917011" y="1110864"/>
                  <a:pt x="5916079" y="1109530"/>
                  <a:pt x="5915014" y="1108331"/>
                </a:cubicBezTo>
                <a:cubicBezTo>
                  <a:pt x="5913950" y="1107266"/>
                  <a:pt x="5912618" y="1106339"/>
                  <a:pt x="5911021" y="1105670"/>
                </a:cubicBezTo>
                <a:cubicBezTo>
                  <a:pt x="5909557" y="1105002"/>
                  <a:pt x="5907826" y="1104736"/>
                  <a:pt x="5905963" y="1104736"/>
                </a:cubicBezTo>
                <a:close/>
                <a:moveTo>
                  <a:pt x="5688451" y="1104736"/>
                </a:moveTo>
                <a:cubicBezTo>
                  <a:pt x="5682594" y="1104736"/>
                  <a:pt x="5680064" y="1106737"/>
                  <a:pt x="5678467" y="1108331"/>
                </a:cubicBezTo>
                <a:cubicBezTo>
                  <a:pt x="5675938" y="1110994"/>
                  <a:pt x="5674873" y="1113794"/>
                  <a:pt x="5674873" y="1117780"/>
                </a:cubicBezTo>
                <a:cubicBezTo>
                  <a:pt x="5674873" y="1121908"/>
                  <a:pt x="5675938" y="1124708"/>
                  <a:pt x="5678467" y="1127230"/>
                </a:cubicBezTo>
                <a:cubicBezTo>
                  <a:pt x="5680064" y="1128836"/>
                  <a:pt x="5682594" y="1130693"/>
                  <a:pt x="5688451" y="1130693"/>
                </a:cubicBezTo>
                <a:cubicBezTo>
                  <a:pt x="5690447" y="1130693"/>
                  <a:pt x="5692178" y="1130434"/>
                  <a:pt x="5693775" y="1129635"/>
                </a:cubicBezTo>
                <a:cubicBezTo>
                  <a:pt x="5695239" y="1129096"/>
                  <a:pt x="5696571" y="1128297"/>
                  <a:pt x="5697502" y="1127230"/>
                </a:cubicBezTo>
                <a:cubicBezTo>
                  <a:pt x="5698567" y="1126167"/>
                  <a:pt x="5699499" y="1124843"/>
                  <a:pt x="5700165" y="1123107"/>
                </a:cubicBezTo>
                <a:cubicBezTo>
                  <a:pt x="5700830" y="1121509"/>
                  <a:pt x="5701230" y="1119645"/>
                  <a:pt x="5701230" y="1117655"/>
                </a:cubicBezTo>
                <a:cubicBezTo>
                  <a:pt x="5701230" y="1115791"/>
                  <a:pt x="5700830" y="1114055"/>
                  <a:pt x="5700165" y="1112457"/>
                </a:cubicBezTo>
                <a:cubicBezTo>
                  <a:pt x="5699499" y="1110864"/>
                  <a:pt x="5698567" y="1109530"/>
                  <a:pt x="5697502" y="1108331"/>
                </a:cubicBezTo>
                <a:cubicBezTo>
                  <a:pt x="5696437" y="1107266"/>
                  <a:pt x="5695106" y="1106339"/>
                  <a:pt x="5693509" y="1105670"/>
                </a:cubicBezTo>
                <a:cubicBezTo>
                  <a:pt x="5692045" y="1105002"/>
                  <a:pt x="5690314" y="1104736"/>
                  <a:pt x="5688451" y="1104736"/>
                </a:cubicBezTo>
                <a:close/>
                <a:moveTo>
                  <a:pt x="5470806" y="1104736"/>
                </a:moveTo>
                <a:cubicBezTo>
                  <a:pt x="5464949" y="1104736"/>
                  <a:pt x="5462419" y="1106737"/>
                  <a:pt x="5460822" y="1108331"/>
                </a:cubicBezTo>
                <a:cubicBezTo>
                  <a:pt x="5458293" y="1110994"/>
                  <a:pt x="5457228" y="1113794"/>
                  <a:pt x="5457228" y="1117780"/>
                </a:cubicBezTo>
                <a:cubicBezTo>
                  <a:pt x="5457228" y="1121908"/>
                  <a:pt x="5458293" y="1124708"/>
                  <a:pt x="5460822" y="1127230"/>
                </a:cubicBezTo>
                <a:cubicBezTo>
                  <a:pt x="5462419" y="1128836"/>
                  <a:pt x="5464949" y="1130693"/>
                  <a:pt x="5470806" y="1130693"/>
                </a:cubicBezTo>
                <a:cubicBezTo>
                  <a:pt x="5472802" y="1130693"/>
                  <a:pt x="5474666" y="1130434"/>
                  <a:pt x="5476130" y="1129635"/>
                </a:cubicBezTo>
                <a:cubicBezTo>
                  <a:pt x="5477594" y="1129096"/>
                  <a:pt x="5478926" y="1128297"/>
                  <a:pt x="5479857" y="1127230"/>
                </a:cubicBezTo>
                <a:cubicBezTo>
                  <a:pt x="5480922" y="1126167"/>
                  <a:pt x="5481854" y="1124843"/>
                  <a:pt x="5482520" y="1123107"/>
                </a:cubicBezTo>
                <a:cubicBezTo>
                  <a:pt x="5483319" y="1121509"/>
                  <a:pt x="5483585" y="1119645"/>
                  <a:pt x="5483585" y="1117655"/>
                </a:cubicBezTo>
                <a:cubicBezTo>
                  <a:pt x="5483585" y="1115791"/>
                  <a:pt x="5483185" y="1114055"/>
                  <a:pt x="5482520" y="1112457"/>
                </a:cubicBezTo>
                <a:cubicBezTo>
                  <a:pt x="5481854" y="1110864"/>
                  <a:pt x="5480922" y="1109530"/>
                  <a:pt x="5479857" y="1108331"/>
                </a:cubicBezTo>
                <a:cubicBezTo>
                  <a:pt x="5478793" y="1107266"/>
                  <a:pt x="5477461" y="1106339"/>
                  <a:pt x="5475864" y="1105670"/>
                </a:cubicBezTo>
                <a:cubicBezTo>
                  <a:pt x="5474400" y="1105002"/>
                  <a:pt x="5472669" y="1104736"/>
                  <a:pt x="5470806" y="1104736"/>
                </a:cubicBezTo>
                <a:close/>
                <a:moveTo>
                  <a:pt x="5253160" y="1104736"/>
                </a:moveTo>
                <a:cubicBezTo>
                  <a:pt x="5247303" y="1104736"/>
                  <a:pt x="5244774" y="1106737"/>
                  <a:pt x="5243177" y="1108331"/>
                </a:cubicBezTo>
                <a:cubicBezTo>
                  <a:pt x="5240647" y="1110994"/>
                  <a:pt x="5239583" y="1113794"/>
                  <a:pt x="5239583" y="1117780"/>
                </a:cubicBezTo>
                <a:cubicBezTo>
                  <a:pt x="5239583" y="1121908"/>
                  <a:pt x="5240647" y="1124708"/>
                  <a:pt x="5243177" y="1127230"/>
                </a:cubicBezTo>
                <a:cubicBezTo>
                  <a:pt x="5244774" y="1128836"/>
                  <a:pt x="5247303" y="1130693"/>
                  <a:pt x="5253160" y="1130693"/>
                </a:cubicBezTo>
                <a:cubicBezTo>
                  <a:pt x="5255157" y="1130693"/>
                  <a:pt x="5257021" y="1130434"/>
                  <a:pt x="5258485" y="1129635"/>
                </a:cubicBezTo>
                <a:cubicBezTo>
                  <a:pt x="5259949" y="1129096"/>
                  <a:pt x="5261280" y="1128297"/>
                  <a:pt x="5262212" y="1127230"/>
                </a:cubicBezTo>
                <a:cubicBezTo>
                  <a:pt x="5263277" y="1126167"/>
                  <a:pt x="5264209" y="1124843"/>
                  <a:pt x="5264875" y="1123107"/>
                </a:cubicBezTo>
                <a:cubicBezTo>
                  <a:pt x="5265673" y="1121509"/>
                  <a:pt x="5265939" y="1119645"/>
                  <a:pt x="5265939" y="1117655"/>
                </a:cubicBezTo>
                <a:cubicBezTo>
                  <a:pt x="5265939" y="1115791"/>
                  <a:pt x="5265540" y="1114055"/>
                  <a:pt x="5264875" y="1112457"/>
                </a:cubicBezTo>
                <a:cubicBezTo>
                  <a:pt x="5264209" y="1110864"/>
                  <a:pt x="5263277" y="1109530"/>
                  <a:pt x="5262212" y="1108331"/>
                </a:cubicBezTo>
                <a:cubicBezTo>
                  <a:pt x="5261147" y="1107266"/>
                  <a:pt x="5259816" y="1106339"/>
                  <a:pt x="5258219" y="1105670"/>
                </a:cubicBezTo>
                <a:cubicBezTo>
                  <a:pt x="5256754" y="1105002"/>
                  <a:pt x="5255024" y="1104736"/>
                  <a:pt x="5253160" y="1104736"/>
                </a:cubicBezTo>
                <a:close/>
                <a:moveTo>
                  <a:pt x="5035515" y="1104736"/>
                </a:moveTo>
                <a:cubicBezTo>
                  <a:pt x="5029658" y="1104736"/>
                  <a:pt x="5027129" y="1106737"/>
                  <a:pt x="5025532" y="1108331"/>
                </a:cubicBezTo>
                <a:cubicBezTo>
                  <a:pt x="5023002" y="1110994"/>
                  <a:pt x="5021938" y="1113794"/>
                  <a:pt x="5021938" y="1117780"/>
                </a:cubicBezTo>
                <a:cubicBezTo>
                  <a:pt x="5021938" y="1121908"/>
                  <a:pt x="5023002" y="1124708"/>
                  <a:pt x="5025532" y="1127230"/>
                </a:cubicBezTo>
                <a:cubicBezTo>
                  <a:pt x="5027129" y="1128836"/>
                  <a:pt x="5029658" y="1130693"/>
                  <a:pt x="5035515" y="1130693"/>
                </a:cubicBezTo>
                <a:cubicBezTo>
                  <a:pt x="5037645" y="1130693"/>
                  <a:pt x="5039376" y="1130434"/>
                  <a:pt x="5040840" y="1129635"/>
                </a:cubicBezTo>
                <a:cubicBezTo>
                  <a:pt x="5042304" y="1129096"/>
                  <a:pt x="5043636" y="1128297"/>
                  <a:pt x="5044567" y="1127230"/>
                </a:cubicBezTo>
                <a:cubicBezTo>
                  <a:pt x="5045632" y="1126167"/>
                  <a:pt x="5046564" y="1124843"/>
                  <a:pt x="5047230" y="1123107"/>
                </a:cubicBezTo>
                <a:cubicBezTo>
                  <a:pt x="5048028" y="1121509"/>
                  <a:pt x="5048294" y="1119645"/>
                  <a:pt x="5048294" y="1117655"/>
                </a:cubicBezTo>
                <a:cubicBezTo>
                  <a:pt x="5048294" y="1115791"/>
                  <a:pt x="5047895" y="1114055"/>
                  <a:pt x="5047230" y="1112457"/>
                </a:cubicBezTo>
                <a:cubicBezTo>
                  <a:pt x="5046564" y="1110864"/>
                  <a:pt x="5045632" y="1109530"/>
                  <a:pt x="5044567" y="1108331"/>
                </a:cubicBezTo>
                <a:cubicBezTo>
                  <a:pt x="5043502" y="1107266"/>
                  <a:pt x="5042171" y="1106339"/>
                  <a:pt x="5040574" y="1105670"/>
                </a:cubicBezTo>
                <a:cubicBezTo>
                  <a:pt x="5039110" y="1105002"/>
                  <a:pt x="5037379" y="1104736"/>
                  <a:pt x="5035515" y="1104736"/>
                </a:cubicBezTo>
                <a:close/>
                <a:moveTo>
                  <a:pt x="4817870" y="1104736"/>
                </a:moveTo>
                <a:cubicBezTo>
                  <a:pt x="4812013" y="1104736"/>
                  <a:pt x="4809484" y="1106737"/>
                  <a:pt x="4807887" y="1108331"/>
                </a:cubicBezTo>
                <a:cubicBezTo>
                  <a:pt x="4805357" y="1110994"/>
                  <a:pt x="4804293" y="1113794"/>
                  <a:pt x="4804293" y="1117780"/>
                </a:cubicBezTo>
                <a:cubicBezTo>
                  <a:pt x="4804293" y="1121908"/>
                  <a:pt x="4805357" y="1124708"/>
                  <a:pt x="4807887" y="1127230"/>
                </a:cubicBezTo>
                <a:cubicBezTo>
                  <a:pt x="4809484" y="1128836"/>
                  <a:pt x="4812013" y="1130693"/>
                  <a:pt x="4817870" y="1130693"/>
                </a:cubicBezTo>
                <a:cubicBezTo>
                  <a:pt x="4820000" y="1130693"/>
                  <a:pt x="4821731" y="1130434"/>
                  <a:pt x="4823195" y="1129635"/>
                </a:cubicBezTo>
                <a:cubicBezTo>
                  <a:pt x="4824659" y="1129096"/>
                  <a:pt x="4825857" y="1128297"/>
                  <a:pt x="4826922" y="1127230"/>
                </a:cubicBezTo>
                <a:cubicBezTo>
                  <a:pt x="4827987" y="1126167"/>
                  <a:pt x="4828919" y="1124843"/>
                  <a:pt x="4829585" y="1123107"/>
                </a:cubicBezTo>
                <a:cubicBezTo>
                  <a:pt x="4830383" y="1121509"/>
                  <a:pt x="4830650" y="1119645"/>
                  <a:pt x="4830650" y="1117655"/>
                </a:cubicBezTo>
                <a:cubicBezTo>
                  <a:pt x="4830650" y="1115791"/>
                  <a:pt x="4830250" y="1114055"/>
                  <a:pt x="4829585" y="1112457"/>
                </a:cubicBezTo>
                <a:cubicBezTo>
                  <a:pt x="4828919" y="1110864"/>
                  <a:pt x="4827987" y="1109530"/>
                  <a:pt x="4826922" y="1108331"/>
                </a:cubicBezTo>
                <a:cubicBezTo>
                  <a:pt x="4825857" y="1107266"/>
                  <a:pt x="4824526" y="1106339"/>
                  <a:pt x="4822929" y="1105670"/>
                </a:cubicBezTo>
                <a:cubicBezTo>
                  <a:pt x="4821465" y="1105002"/>
                  <a:pt x="4819734" y="1104736"/>
                  <a:pt x="4817870" y="1104736"/>
                </a:cubicBezTo>
                <a:close/>
                <a:moveTo>
                  <a:pt x="4600226" y="1104736"/>
                </a:moveTo>
                <a:cubicBezTo>
                  <a:pt x="4594369" y="1104736"/>
                  <a:pt x="4591839" y="1106737"/>
                  <a:pt x="4590242" y="1108331"/>
                </a:cubicBezTo>
                <a:cubicBezTo>
                  <a:pt x="4587713" y="1110994"/>
                  <a:pt x="4586648" y="1113794"/>
                  <a:pt x="4586648" y="1117780"/>
                </a:cubicBezTo>
                <a:cubicBezTo>
                  <a:pt x="4586648" y="1121908"/>
                  <a:pt x="4587713" y="1124708"/>
                  <a:pt x="4590242" y="1127230"/>
                </a:cubicBezTo>
                <a:cubicBezTo>
                  <a:pt x="4591839" y="1128836"/>
                  <a:pt x="4594369" y="1130693"/>
                  <a:pt x="4600226" y="1130693"/>
                </a:cubicBezTo>
                <a:cubicBezTo>
                  <a:pt x="4602355" y="1130693"/>
                  <a:pt x="4604086" y="1130434"/>
                  <a:pt x="4605550" y="1129635"/>
                </a:cubicBezTo>
                <a:cubicBezTo>
                  <a:pt x="4607148" y="1129096"/>
                  <a:pt x="4608346" y="1128297"/>
                  <a:pt x="4609277" y="1127230"/>
                </a:cubicBezTo>
                <a:cubicBezTo>
                  <a:pt x="4610342" y="1126167"/>
                  <a:pt x="4611274" y="1124843"/>
                  <a:pt x="4611940" y="1123107"/>
                </a:cubicBezTo>
                <a:cubicBezTo>
                  <a:pt x="4612605" y="1121509"/>
                  <a:pt x="4613005" y="1119645"/>
                  <a:pt x="4613005" y="1117655"/>
                </a:cubicBezTo>
                <a:cubicBezTo>
                  <a:pt x="4613005" y="1115791"/>
                  <a:pt x="4612605" y="1114055"/>
                  <a:pt x="4611940" y="1112457"/>
                </a:cubicBezTo>
                <a:cubicBezTo>
                  <a:pt x="4611274" y="1110864"/>
                  <a:pt x="4610342" y="1109530"/>
                  <a:pt x="4609277" y="1108331"/>
                </a:cubicBezTo>
                <a:cubicBezTo>
                  <a:pt x="4608212" y="1107266"/>
                  <a:pt x="4606881" y="1106339"/>
                  <a:pt x="4605284" y="1105670"/>
                </a:cubicBezTo>
                <a:cubicBezTo>
                  <a:pt x="4603820" y="1105002"/>
                  <a:pt x="4602222" y="1104736"/>
                  <a:pt x="4600226" y="1104736"/>
                </a:cubicBezTo>
                <a:close/>
                <a:moveTo>
                  <a:pt x="4382713" y="1104736"/>
                </a:moveTo>
                <a:cubicBezTo>
                  <a:pt x="4376857" y="1104736"/>
                  <a:pt x="4374327" y="1106737"/>
                  <a:pt x="4372730" y="1108331"/>
                </a:cubicBezTo>
                <a:cubicBezTo>
                  <a:pt x="4370201" y="1110994"/>
                  <a:pt x="4369136" y="1113794"/>
                  <a:pt x="4369136" y="1117780"/>
                </a:cubicBezTo>
                <a:cubicBezTo>
                  <a:pt x="4369136" y="1121908"/>
                  <a:pt x="4370201" y="1124708"/>
                  <a:pt x="4372730" y="1127230"/>
                </a:cubicBezTo>
                <a:cubicBezTo>
                  <a:pt x="4374327" y="1128836"/>
                  <a:pt x="4376857" y="1130693"/>
                  <a:pt x="4382713" y="1130693"/>
                </a:cubicBezTo>
                <a:cubicBezTo>
                  <a:pt x="4384710" y="1130693"/>
                  <a:pt x="4386441" y="1130434"/>
                  <a:pt x="4388038" y="1129635"/>
                </a:cubicBezTo>
                <a:cubicBezTo>
                  <a:pt x="4389502" y="1129096"/>
                  <a:pt x="4390834" y="1128297"/>
                  <a:pt x="4391765" y="1127230"/>
                </a:cubicBezTo>
                <a:cubicBezTo>
                  <a:pt x="4392830" y="1126167"/>
                  <a:pt x="4393762" y="1124843"/>
                  <a:pt x="4394428" y="1123107"/>
                </a:cubicBezTo>
                <a:cubicBezTo>
                  <a:pt x="4395093" y="1121509"/>
                  <a:pt x="4395493" y="1119645"/>
                  <a:pt x="4395493" y="1117655"/>
                </a:cubicBezTo>
                <a:cubicBezTo>
                  <a:pt x="4395493" y="1115791"/>
                  <a:pt x="4395093" y="1114055"/>
                  <a:pt x="4394428" y="1112457"/>
                </a:cubicBezTo>
                <a:cubicBezTo>
                  <a:pt x="4393762" y="1110864"/>
                  <a:pt x="4392830" y="1109530"/>
                  <a:pt x="4391765" y="1108331"/>
                </a:cubicBezTo>
                <a:cubicBezTo>
                  <a:pt x="4390700" y="1107266"/>
                  <a:pt x="4389369" y="1106339"/>
                  <a:pt x="4387772" y="1105670"/>
                </a:cubicBezTo>
                <a:cubicBezTo>
                  <a:pt x="4386308" y="1105002"/>
                  <a:pt x="4384710" y="1104736"/>
                  <a:pt x="4382713" y="1104736"/>
                </a:cubicBezTo>
                <a:close/>
                <a:moveTo>
                  <a:pt x="4165068" y="1104736"/>
                </a:moveTo>
                <a:cubicBezTo>
                  <a:pt x="4159211" y="1104736"/>
                  <a:pt x="4156681" y="1106737"/>
                  <a:pt x="4155084" y="1108331"/>
                </a:cubicBezTo>
                <a:cubicBezTo>
                  <a:pt x="4152555" y="1110994"/>
                  <a:pt x="4151490" y="1113794"/>
                  <a:pt x="4151490" y="1117780"/>
                </a:cubicBezTo>
                <a:cubicBezTo>
                  <a:pt x="4151490" y="1121908"/>
                  <a:pt x="4152555" y="1124708"/>
                  <a:pt x="4155084" y="1127230"/>
                </a:cubicBezTo>
                <a:cubicBezTo>
                  <a:pt x="4156681" y="1128836"/>
                  <a:pt x="4159211" y="1130693"/>
                  <a:pt x="4165068" y="1130693"/>
                </a:cubicBezTo>
                <a:cubicBezTo>
                  <a:pt x="4167064" y="1130693"/>
                  <a:pt x="4168928" y="1130434"/>
                  <a:pt x="4170392" y="1129635"/>
                </a:cubicBezTo>
                <a:cubicBezTo>
                  <a:pt x="4171856" y="1129096"/>
                  <a:pt x="4173188" y="1128297"/>
                  <a:pt x="4174119" y="1127230"/>
                </a:cubicBezTo>
                <a:cubicBezTo>
                  <a:pt x="4175184" y="1126167"/>
                  <a:pt x="4176116" y="1124843"/>
                  <a:pt x="4176782" y="1123107"/>
                </a:cubicBezTo>
                <a:cubicBezTo>
                  <a:pt x="4177447" y="1121509"/>
                  <a:pt x="4177847" y="1119645"/>
                  <a:pt x="4177847" y="1117655"/>
                </a:cubicBezTo>
                <a:cubicBezTo>
                  <a:pt x="4177847" y="1115791"/>
                  <a:pt x="4177447" y="1114055"/>
                  <a:pt x="4176782" y="1112457"/>
                </a:cubicBezTo>
                <a:cubicBezTo>
                  <a:pt x="4176116" y="1110864"/>
                  <a:pt x="4175184" y="1109530"/>
                  <a:pt x="4174119" y="1108331"/>
                </a:cubicBezTo>
                <a:cubicBezTo>
                  <a:pt x="4173054" y="1107266"/>
                  <a:pt x="4171723" y="1106339"/>
                  <a:pt x="4170126" y="1105670"/>
                </a:cubicBezTo>
                <a:cubicBezTo>
                  <a:pt x="4168662" y="1105002"/>
                  <a:pt x="4167064" y="1104736"/>
                  <a:pt x="4165068" y="1104736"/>
                </a:cubicBezTo>
                <a:close/>
                <a:moveTo>
                  <a:pt x="3947489" y="1104736"/>
                </a:moveTo>
                <a:cubicBezTo>
                  <a:pt x="3941631" y="1104736"/>
                  <a:pt x="3939103" y="1106737"/>
                  <a:pt x="3937506" y="1108331"/>
                </a:cubicBezTo>
                <a:cubicBezTo>
                  <a:pt x="3934974" y="1110994"/>
                  <a:pt x="3933911" y="1113794"/>
                  <a:pt x="3933911" y="1117780"/>
                </a:cubicBezTo>
                <a:cubicBezTo>
                  <a:pt x="3933911" y="1121908"/>
                  <a:pt x="3934974" y="1124708"/>
                  <a:pt x="3937506" y="1127230"/>
                </a:cubicBezTo>
                <a:cubicBezTo>
                  <a:pt x="3939103" y="1128836"/>
                  <a:pt x="3941631" y="1130693"/>
                  <a:pt x="3947489" y="1130693"/>
                </a:cubicBezTo>
                <a:cubicBezTo>
                  <a:pt x="3949486" y="1130693"/>
                  <a:pt x="3951349" y="1130434"/>
                  <a:pt x="3952814" y="1129635"/>
                </a:cubicBezTo>
                <a:cubicBezTo>
                  <a:pt x="3954278" y="1129096"/>
                  <a:pt x="3955608" y="1128297"/>
                  <a:pt x="3956541" y="1127230"/>
                </a:cubicBezTo>
                <a:cubicBezTo>
                  <a:pt x="3957606" y="1126167"/>
                  <a:pt x="3958538" y="1124843"/>
                  <a:pt x="3959204" y="1123107"/>
                </a:cubicBezTo>
                <a:cubicBezTo>
                  <a:pt x="3959869" y="1121509"/>
                  <a:pt x="3960268" y="1119645"/>
                  <a:pt x="3960268" y="1117655"/>
                </a:cubicBezTo>
                <a:cubicBezTo>
                  <a:pt x="3960268" y="1115791"/>
                  <a:pt x="3959869" y="1114055"/>
                  <a:pt x="3959204" y="1112457"/>
                </a:cubicBezTo>
                <a:cubicBezTo>
                  <a:pt x="3958538" y="1110864"/>
                  <a:pt x="3957606" y="1109530"/>
                  <a:pt x="3956541" y="1108331"/>
                </a:cubicBezTo>
                <a:cubicBezTo>
                  <a:pt x="3955476" y="1107266"/>
                  <a:pt x="3954144" y="1106339"/>
                  <a:pt x="3952548" y="1105670"/>
                </a:cubicBezTo>
                <a:cubicBezTo>
                  <a:pt x="3951082" y="1105002"/>
                  <a:pt x="3949486" y="1104736"/>
                  <a:pt x="3947489" y="1104736"/>
                </a:cubicBezTo>
                <a:close/>
                <a:moveTo>
                  <a:pt x="3729840" y="1104736"/>
                </a:moveTo>
                <a:cubicBezTo>
                  <a:pt x="3723983" y="1104736"/>
                  <a:pt x="3721454" y="1106737"/>
                  <a:pt x="3719854" y="1108331"/>
                </a:cubicBezTo>
                <a:cubicBezTo>
                  <a:pt x="3717325" y="1110994"/>
                  <a:pt x="3716261" y="1113794"/>
                  <a:pt x="3716261" y="1117780"/>
                </a:cubicBezTo>
                <a:cubicBezTo>
                  <a:pt x="3716261" y="1121908"/>
                  <a:pt x="3717325" y="1124708"/>
                  <a:pt x="3719854" y="1127230"/>
                </a:cubicBezTo>
                <a:cubicBezTo>
                  <a:pt x="3721454" y="1128836"/>
                  <a:pt x="3723983" y="1130693"/>
                  <a:pt x="3729840" y="1130693"/>
                </a:cubicBezTo>
                <a:cubicBezTo>
                  <a:pt x="3731969" y="1130693"/>
                  <a:pt x="3733701" y="1130434"/>
                  <a:pt x="3735165" y="1129635"/>
                </a:cubicBezTo>
                <a:cubicBezTo>
                  <a:pt x="3736629" y="1129096"/>
                  <a:pt x="3737961" y="1128297"/>
                  <a:pt x="3738892" y="1127230"/>
                </a:cubicBezTo>
                <a:cubicBezTo>
                  <a:pt x="3739957" y="1126167"/>
                  <a:pt x="3740889" y="1124843"/>
                  <a:pt x="3741555" y="1123107"/>
                </a:cubicBezTo>
                <a:cubicBezTo>
                  <a:pt x="3742220" y="1121509"/>
                  <a:pt x="3742619" y="1119645"/>
                  <a:pt x="3742619" y="1117655"/>
                </a:cubicBezTo>
                <a:cubicBezTo>
                  <a:pt x="3742619" y="1115791"/>
                  <a:pt x="3742220" y="1114055"/>
                  <a:pt x="3741555" y="1112457"/>
                </a:cubicBezTo>
                <a:cubicBezTo>
                  <a:pt x="3740889" y="1110864"/>
                  <a:pt x="3739957" y="1109530"/>
                  <a:pt x="3738892" y="1108331"/>
                </a:cubicBezTo>
                <a:cubicBezTo>
                  <a:pt x="3737827" y="1107266"/>
                  <a:pt x="3736496" y="1106339"/>
                  <a:pt x="3734899" y="1105670"/>
                </a:cubicBezTo>
                <a:cubicBezTo>
                  <a:pt x="3733434" y="1105002"/>
                  <a:pt x="3731837" y="1104736"/>
                  <a:pt x="3729840" y="1104736"/>
                </a:cubicBezTo>
                <a:close/>
                <a:moveTo>
                  <a:pt x="3512191" y="1104736"/>
                </a:moveTo>
                <a:cubicBezTo>
                  <a:pt x="3506335" y="1104736"/>
                  <a:pt x="3503805" y="1106737"/>
                  <a:pt x="3502207" y="1108331"/>
                </a:cubicBezTo>
                <a:cubicBezTo>
                  <a:pt x="3499677" y="1110994"/>
                  <a:pt x="3498613" y="1113794"/>
                  <a:pt x="3498613" y="1117780"/>
                </a:cubicBezTo>
                <a:cubicBezTo>
                  <a:pt x="3498613" y="1121908"/>
                  <a:pt x="3499677" y="1124708"/>
                  <a:pt x="3502207" y="1127230"/>
                </a:cubicBezTo>
                <a:cubicBezTo>
                  <a:pt x="3503805" y="1128836"/>
                  <a:pt x="3506335" y="1130693"/>
                  <a:pt x="3512191" y="1130693"/>
                </a:cubicBezTo>
                <a:cubicBezTo>
                  <a:pt x="3514321" y="1130693"/>
                  <a:pt x="3516053" y="1130434"/>
                  <a:pt x="3517517" y="1129635"/>
                </a:cubicBezTo>
                <a:cubicBezTo>
                  <a:pt x="3518981" y="1129096"/>
                  <a:pt x="3520313" y="1128297"/>
                  <a:pt x="3521244" y="1127230"/>
                </a:cubicBezTo>
                <a:cubicBezTo>
                  <a:pt x="3522309" y="1126167"/>
                  <a:pt x="3523241" y="1124843"/>
                  <a:pt x="3523907" y="1123107"/>
                </a:cubicBezTo>
                <a:cubicBezTo>
                  <a:pt x="3524572" y="1121509"/>
                  <a:pt x="3524972" y="1119645"/>
                  <a:pt x="3524972" y="1117655"/>
                </a:cubicBezTo>
                <a:cubicBezTo>
                  <a:pt x="3524972" y="1115791"/>
                  <a:pt x="3524572" y="1114055"/>
                  <a:pt x="3523907" y="1112457"/>
                </a:cubicBezTo>
                <a:cubicBezTo>
                  <a:pt x="3523241" y="1110864"/>
                  <a:pt x="3522309" y="1109530"/>
                  <a:pt x="3521244" y="1108331"/>
                </a:cubicBezTo>
                <a:cubicBezTo>
                  <a:pt x="3520179" y="1107266"/>
                  <a:pt x="3518847" y="1106339"/>
                  <a:pt x="3517251" y="1105670"/>
                </a:cubicBezTo>
                <a:cubicBezTo>
                  <a:pt x="3515787" y="1105002"/>
                  <a:pt x="3514189" y="1104736"/>
                  <a:pt x="3512191" y="1104736"/>
                </a:cubicBezTo>
                <a:close/>
                <a:moveTo>
                  <a:pt x="3294676" y="1104736"/>
                </a:moveTo>
                <a:cubicBezTo>
                  <a:pt x="3288819" y="1104736"/>
                  <a:pt x="3286290" y="1106737"/>
                  <a:pt x="3284692" y="1108331"/>
                </a:cubicBezTo>
                <a:cubicBezTo>
                  <a:pt x="3282161" y="1110994"/>
                  <a:pt x="3281098" y="1113794"/>
                  <a:pt x="3281098" y="1117780"/>
                </a:cubicBezTo>
                <a:cubicBezTo>
                  <a:pt x="3281098" y="1121908"/>
                  <a:pt x="3282161" y="1124708"/>
                  <a:pt x="3284692" y="1127230"/>
                </a:cubicBezTo>
                <a:cubicBezTo>
                  <a:pt x="3286290" y="1128836"/>
                  <a:pt x="3288819" y="1130693"/>
                  <a:pt x="3294676" y="1130693"/>
                </a:cubicBezTo>
                <a:cubicBezTo>
                  <a:pt x="3296673" y="1130693"/>
                  <a:pt x="3298404" y="1130434"/>
                  <a:pt x="3300002" y="1129635"/>
                </a:cubicBezTo>
                <a:cubicBezTo>
                  <a:pt x="3301466" y="1129096"/>
                  <a:pt x="3302797" y="1128297"/>
                  <a:pt x="3303728" y="1127230"/>
                </a:cubicBezTo>
                <a:cubicBezTo>
                  <a:pt x="3304794" y="1126167"/>
                  <a:pt x="3305725" y="1124843"/>
                  <a:pt x="3306392" y="1123107"/>
                </a:cubicBezTo>
                <a:cubicBezTo>
                  <a:pt x="3307057" y="1121509"/>
                  <a:pt x="3307455" y="1119645"/>
                  <a:pt x="3307455" y="1117655"/>
                </a:cubicBezTo>
                <a:cubicBezTo>
                  <a:pt x="3307455" y="1115791"/>
                  <a:pt x="3307057" y="1114055"/>
                  <a:pt x="3306392" y="1112457"/>
                </a:cubicBezTo>
                <a:cubicBezTo>
                  <a:pt x="3305725" y="1110864"/>
                  <a:pt x="3304794" y="1109530"/>
                  <a:pt x="3303728" y="1108331"/>
                </a:cubicBezTo>
                <a:cubicBezTo>
                  <a:pt x="3302663" y="1107266"/>
                  <a:pt x="3301332" y="1106339"/>
                  <a:pt x="3299735" y="1105670"/>
                </a:cubicBezTo>
                <a:cubicBezTo>
                  <a:pt x="3298271" y="1105002"/>
                  <a:pt x="3296673" y="1104736"/>
                  <a:pt x="3294676" y="1104736"/>
                </a:cubicBezTo>
                <a:close/>
                <a:moveTo>
                  <a:pt x="3077161" y="1104736"/>
                </a:moveTo>
                <a:cubicBezTo>
                  <a:pt x="3071304" y="1104736"/>
                  <a:pt x="3068774" y="1106737"/>
                  <a:pt x="3067178" y="1108331"/>
                </a:cubicBezTo>
                <a:cubicBezTo>
                  <a:pt x="3064515" y="1110994"/>
                  <a:pt x="3063450" y="1113794"/>
                  <a:pt x="3063450" y="1117780"/>
                </a:cubicBezTo>
                <a:cubicBezTo>
                  <a:pt x="3063450" y="1121908"/>
                  <a:pt x="3064515" y="1124708"/>
                  <a:pt x="3067044" y="1127230"/>
                </a:cubicBezTo>
                <a:cubicBezTo>
                  <a:pt x="3068641" y="1128836"/>
                  <a:pt x="3071171" y="1130693"/>
                  <a:pt x="3077027" y="1130693"/>
                </a:cubicBezTo>
                <a:cubicBezTo>
                  <a:pt x="3079025" y="1130693"/>
                  <a:pt x="3080755" y="1130434"/>
                  <a:pt x="3082486" y="1129635"/>
                </a:cubicBezTo>
                <a:cubicBezTo>
                  <a:pt x="3083951" y="1129096"/>
                  <a:pt x="3085282" y="1128297"/>
                  <a:pt x="3086213" y="1127230"/>
                </a:cubicBezTo>
                <a:cubicBezTo>
                  <a:pt x="3087278" y="1126167"/>
                  <a:pt x="3088210" y="1124843"/>
                  <a:pt x="3088876" y="1123107"/>
                </a:cubicBezTo>
                <a:cubicBezTo>
                  <a:pt x="3089541" y="1121509"/>
                  <a:pt x="3089808" y="1119645"/>
                  <a:pt x="3089808" y="1117655"/>
                </a:cubicBezTo>
                <a:cubicBezTo>
                  <a:pt x="3089808" y="1115791"/>
                  <a:pt x="3089541" y="1114055"/>
                  <a:pt x="3088876" y="1112457"/>
                </a:cubicBezTo>
                <a:cubicBezTo>
                  <a:pt x="3088210" y="1110864"/>
                  <a:pt x="3087278" y="1109530"/>
                  <a:pt x="3086213" y="1108331"/>
                </a:cubicBezTo>
                <a:cubicBezTo>
                  <a:pt x="3085149" y="1107266"/>
                  <a:pt x="3083817" y="1106339"/>
                  <a:pt x="3082220" y="1105670"/>
                </a:cubicBezTo>
                <a:cubicBezTo>
                  <a:pt x="3080755" y="1105002"/>
                  <a:pt x="3079158" y="1104736"/>
                  <a:pt x="3077161" y="1104736"/>
                </a:cubicBezTo>
                <a:close/>
                <a:moveTo>
                  <a:pt x="2859379" y="1104736"/>
                </a:moveTo>
                <a:cubicBezTo>
                  <a:pt x="2853522" y="1104736"/>
                  <a:pt x="2850993" y="1106737"/>
                  <a:pt x="2849396" y="1108331"/>
                </a:cubicBezTo>
                <a:cubicBezTo>
                  <a:pt x="2846864" y="1110994"/>
                  <a:pt x="2845801" y="1113794"/>
                  <a:pt x="2845801" y="1117780"/>
                </a:cubicBezTo>
                <a:cubicBezTo>
                  <a:pt x="2845801" y="1121908"/>
                  <a:pt x="2846864" y="1124708"/>
                  <a:pt x="2849396" y="1127230"/>
                </a:cubicBezTo>
                <a:cubicBezTo>
                  <a:pt x="2850993" y="1128836"/>
                  <a:pt x="2853522" y="1130693"/>
                  <a:pt x="2859379" y="1130693"/>
                </a:cubicBezTo>
                <a:cubicBezTo>
                  <a:pt x="2861376" y="1130693"/>
                  <a:pt x="2863240" y="1130434"/>
                  <a:pt x="2864704" y="1129635"/>
                </a:cubicBezTo>
                <a:cubicBezTo>
                  <a:pt x="2866302" y="1129096"/>
                  <a:pt x="2867501" y="1128297"/>
                  <a:pt x="2868431" y="1127230"/>
                </a:cubicBezTo>
                <a:cubicBezTo>
                  <a:pt x="2869496" y="1126167"/>
                  <a:pt x="2870429" y="1124843"/>
                  <a:pt x="2871094" y="1123107"/>
                </a:cubicBezTo>
                <a:cubicBezTo>
                  <a:pt x="2871627" y="1121509"/>
                  <a:pt x="2872026" y="1119645"/>
                  <a:pt x="2872026" y="1117655"/>
                </a:cubicBezTo>
                <a:cubicBezTo>
                  <a:pt x="2872026" y="1115791"/>
                  <a:pt x="2871759" y="1114055"/>
                  <a:pt x="2871094" y="1112457"/>
                </a:cubicBezTo>
                <a:cubicBezTo>
                  <a:pt x="2870429" y="1110864"/>
                  <a:pt x="2869496" y="1109530"/>
                  <a:pt x="2868431" y="1108331"/>
                </a:cubicBezTo>
                <a:cubicBezTo>
                  <a:pt x="2867367" y="1107266"/>
                  <a:pt x="2866036" y="1106339"/>
                  <a:pt x="2864439" y="1105670"/>
                </a:cubicBezTo>
                <a:cubicBezTo>
                  <a:pt x="2862975" y="1105002"/>
                  <a:pt x="2861376" y="1104736"/>
                  <a:pt x="2859379" y="1104736"/>
                </a:cubicBezTo>
                <a:close/>
                <a:moveTo>
                  <a:pt x="2641731" y="1104736"/>
                </a:moveTo>
                <a:cubicBezTo>
                  <a:pt x="2635874" y="1104736"/>
                  <a:pt x="2633345" y="1106737"/>
                  <a:pt x="2631748" y="1108331"/>
                </a:cubicBezTo>
                <a:cubicBezTo>
                  <a:pt x="2629218" y="1110994"/>
                  <a:pt x="2628154" y="1113794"/>
                  <a:pt x="2628154" y="1117780"/>
                </a:cubicBezTo>
                <a:cubicBezTo>
                  <a:pt x="2628154" y="1121908"/>
                  <a:pt x="2629218" y="1124708"/>
                  <a:pt x="2631748" y="1127230"/>
                </a:cubicBezTo>
                <a:cubicBezTo>
                  <a:pt x="2633345" y="1128836"/>
                  <a:pt x="2635874" y="1130693"/>
                  <a:pt x="2641731" y="1130693"/>
                </a:cubicBezTo>
                <a:cubicBezTo>
                  <a:pt x="2643728" y="1130693"/>
                  <a:pt x="2645592" y="1130434"/>
                  <a:pt x="2647056" y="1129635"/>
                </a:cubicBezTo>
                <a:cubicBezTo>
                  <a:pt x="2648653" y="1129096"/>
                  <a:pt x="2649851" y="1128297"/>
                  <a:pt x="2650783" y="1127230"/>
                </a:cubicBezTo>
                <a:cubicBezTo>
                  <a:pt x="2651849" y="1126167"/>
                  <a:pt x="2652780" y="1124843"/>
                  <a:pt x="2653446" y="1123107"/>
                </a:cubicBezTo>
                <a:cubicBezTo>
                  <a:pt x="2653978" y="1121509"/>
                  <a:pt x="2654377" y="1119645"/>
                  <a:pt x="2654377" y="1117655"/>
                </a:cubicBezTo>
                <a:cubicBezTo>
                  <a:pt x="2654377" y="1115791"/>
                  <a:pt x="2654111" y="1114055"/>
                  <a:pt x="2653446" y="1112457"/>
                </a:cubicBezTo>
                <a:cubicBezTo>
                  <a:pt x="2652780" y="1110864"/>
                  <a:pt x="2651849" y="1109530"/>
                  <a:pt x="2650783" y="1108331"/>
                </a:cubicBezTo>
                <a:cubicBezTo>
                  <a:pt x="2649718" y="1107266"/>
                  <a:pt x="2648387" y="1106339"/>
                  <a:pt x="2646790" y="1105670"/>
                </a:cubicBezTo>
                <a:cubicBezTo>
                  <a:pt x="2645325" y="1105002"/>
                  <a:pt x="2643728" y="1104736"/>
                  <a:pt x="2641731" y="1104736"/>
                </a:cubicBezTo>
                <a:close/>
                <a:moveTo>
                  <a:pt x="2424082" y="1104736"/>
                </a:moveTo>
                <a:cubicBezTo>
                  <a:pt x="2418226" y="1104736"/>
                  <a:pt x="2415697" y="1106737"/>
                  <a:pt x="2414099" y="1108331"/>
                </a:cubicBezTo>
                <a:cubicBezTo>
                  <a:pt x="2411569" y="1110994"/>
                  <a:pt x="2410505" y="1113794"/>
                  <a:pt x="2410505" y="1117780"/>
                </a:cubicBezTo>
                <a:cubicBezTo>
                  <a:pt x="2410505" y="1121908"/>
                  <a:pt x="2411569" y="1124708"/>
                  <a:pt x="2414099" y="1127230"/>
                </a:cubicBezTo>
                <a:cubicBezTo>
                  <a:pt x="2415697" y="1128836"/>
                  <a:pt x="2418226" y="1130693"/>
                  <a:pt x="2424082" y="1130693"/>
                </a:cubicBezTo>
                <a:cubicBezTo>
                  <a:pt x="2426213" y="1130693"/>
                  <a:pt x="2427944" y="1130434"/>
                  <a:pt x="2429408" y="1129635"/>
                </a:cubicBezTo>
                <a:cubicBezTo>
                  <a:pt x="2431006" y="1129096"/>
                  <a:pt x="2432204" y="1128297"/>
                  <a:pt x="2433135" y="1127230"/>
                </a:cubicBezTo>
                <a:cubicBezTo>
                  <a:pt x="2434200" y="1126167"/>
                  <a:pt x="2435132" y="1124843"/>
                  <a:pt x="2435798" y="1123107"/>
                </a:cubicBezTo>
                <a:cubicBezTo>
                  <a:pt x="2436330" y="1121509"/>
                  <a:pt x="2436729" y="1119645"/>
                  <a:pt x="2436729" y="1117655"/>
                </a:cubicBezTo>
                <a:cubicBezTo>
                  <a:pt x="2436729" y="1115791"/>
                  <a:pt x="2436463" y="1114055"/>
                  <a:pt x="2435798" y="1112457"/>
                </a:cubicBezTo>
                <a:cubicBezTo>
                  <a:pt x="2435132" y="1110864"/>
                  <a:pt x="2434200" y="1109530"/>
                  <a:pt x="2433135" y="1108331"/>
                </a:cubicBezTo>
                <a:cubicBezTo>
                  <a:pt x="2432071" y="1107266"/>
                  <a:pt x="2430739" y="1106339"/>
                  <a:pt x="2429142" y="1105670"/>
                </a:cubicBezTo>
                <a:cubicBezTo>
                  <a:pt x="2427678" y="1105002"/>
                  <a:pt x="2426080" y="1104736"/>
                  <a:pt x="2424082" y="1104736"/>
                </a:cubicBezTo>
                <a:close/>
                <a:moveTo>
                  <a:pt x="2206434" y="1104736"/>
                </a:moveTo>
                <a:cubicBezTo>
                  <a:pt x="2200577" y="1104736"/>
                  <a:pt x="2198048" y="1106737"/>
                  <a:pt x="2196451" y="1108331"/>
                </a:cubicBezTo>
                <a:cubicBezTo>
                  <a:pt x="2193921" y="1110994"/>
                  <a:pt x="2192857" y="1113794"/>
                  <a:pt x="2192857" y="1117780"/>
                </a:cubicBezTo>
                <a:cubicBezTo>
                  <a:pt x="2192857" y="1121908"/>
                  <a:pt x="2193921" y="1124708"/>
                  <a:pt x="2196451" y="1127230"/>
                </a:cubicBezTo>
                <a:cubicBezTo>
                  <a:pt x="2198048" y="1128836"/>
                  <a:pt x="2200577" y="1130693"/>
                  <a:pt x="2206434" y="1130693"/>
                </a:cubicBezTo>
                <a:cubicBezTo>
                  <a:pt x="2208564" y="1130693"/>
                  <a:pt x="2210295" y="1130434"/>
                  <a:pt x="2211759" y="1129635"/>
                </a:cubicBezTo>
                <a:cubicBezTo>
                  <a:pt x="2213357" y="1129096"/>
                  <a:pt x="2214555" y="1128297"/>
                  <a:pt x="2215486" y="1127230"/>
                </a:cubicBezTo>
                <a:cubicBezTo>
                  <a:pt x="2216551" y="1126167"/>
                  <a:pt x="2217483" y="1124843"/>
                  <a:pt x="2218149" y="1123107"/>
                </a:cubicBezTo>
                <a:cubicBezTo>
                  <a:pt x="2218682" y="1121509"/>
                  <a:pt x="2219080" y="1119645"/>
                  <a:pt x="2219080" y="1117655"/>
                </a:cubicBezTo>
                <a:cubicBezTo>
                  <a:pt x="2219080" y="1115791"/>
                  <a:pt x="2218814" y="1114055"/>
                  <a:pt x="2218149" y="1112457"/>
                </a:cubicBezTo>
                <a:cubicBezTo>
                  <a:pt x="2217483" y="1110864"/>
                  <a:pt x="2216551" y="1109530"/>
                  <a:pt x="2215486" y="1108331"/>
                </a:cubicBezTo>
                <a:cubicBezTo>
                  <a:pt x="2214421" y="1107266"/>
                  <a:pt x="2213091" y="1106339"/>
                  <a:pt x="2211493" y="1105670"/>
                </a:cubicBezTo>
                <a:cubicBezTo>
                  <a:pt x="2210029" y="1105002"/>
                  <a:pt x="2208431" y="1104736"/>
                  <a:pt x="2206434" y="1104736"/>
                </a:cubicBezTo>
                <a:close/>
                <a:moveTo>
                  <a:pt x="1988919" y="1104736"/>
                </a:moveTo>
                <a:cubicBezTo>
                  <a:pt x="1983062" y="1104736"/>
                  <a:pt x="1980533" y="1106737"/>
                  <a:pt x="1978936" y="1108331"/>
                </a:cubicBezTo>
                <a:cubicBezTo>
                  <a:pt x="1976405" y="1110994"/>
                  <a:pt x="1975342" y="1113794"/>
                  <a:pt x="1975342" y="1117780"/>
                </a:cubicBezTo>
                <a:cubicBezTo>
                  <a:pt x="1975342" y="1121908"/>
                  <a:pt x="1976405" y="1124708"/>
                  <a:pt x="1978936" y="1127230"/>
                </a:cubicBezTo>
                <a:cubicBezTo>
                  <a:pt x="1980533" y="1128836"/>
                  <a:pt x="1983062" y="1130693"/>
                  <a:pt x="1988919" y="1130693"/>
                </a:cubicBezTo>
                <a:cubicBezTo>
                  <a:pt x="1990916" y="1130693"/>
                  <a:pt x="1992647" y="1130434"/>
                  <a:pt x="1994244" y="1129635"/>
                </a:cubicBezTo>
                <a:cubicBezTo>
                  <a:pt x="1995842" y="1129096"/>
                  <a:pt x="1997040" y="1128297"/>
                  <a:pt x="1997971" y="1127230"/>
                </a:cubicBezTo>
                <a:cubicBezTo>
                  <a:pt x="1999036" y="1126167"/>
                  <a:pt x="1999968" y="1124843"/>
                  <a:pt x="2000634" y="1123107"/>
                </a:cubicBezTo>
                <a:cubicBezTo>
                  <a:pt x="2001166" y="1121509"/>
                  <a:pt x="2001565" y="1119645"/>
                  <a:pt x="2001565" y="1117655"/>
                </a:cubicBezTo>
                <a:cubicBezTo>
                  <a:pt x="2001565" y="1115791"/>
                  <a:pt x="2001299" y="1114055"/>
                  <a:pt x="2000634" y="1112457"/>
                </a:cubicBezTo>
                <a:cubicBezTo>
                  <a:pt x="1999968" y="1110864"/>
                  <a:pt x="1999036" y="1109530"/>
                  <a:pt x="1997971" y="1108331"/>
                </a:cubicBezTo>
                <a:cubicBezTo>
                  <a:pt x="1996907" y="1107266"/>
                  <a:pt x="1995575" y="1106339"/>
                  <a:pt x="1993978" y="1105670"/>
                </a:cubicBezTo>
                <a:cubicBezTo>
                  <a:pt x="1992514" y="1105002"/>
                  <a:pt x="1990916" y="1104736"/>
                  <a:pt x="1988919" y="1104736"/>
                </a:cubicBezTo>
                <a:close/>
                <a:moveTo>
                  <a:pt x="1771276" y="1104736"/>
                </a:moveTo>
                <a:cubicBezTo>
                  <a:pt x="1765419" y="1104736"/>
                  <a:pt x="1762890" y="1106737"/>
                  <a:pt x="1761293" y="1108331"/>
                </a:cubicBezTo>
                <a:cubicBezTo>
                  <a:pt x="1758764" y="1110994"/>
                  <a:pt x="1757699" y="1113794"/>
                  <a:pt x="1757699" y="1117780"/>
                </a:cubicBezTo>
                <a:cubicBezTo>
                  <a:pt x="1757699" y="1121908"/>
                  <a:pt x="1758764" y="1124708"/>
                  <a:pt x="1761293" y="1127230"/>
                </a:cubicBezTo>
                <a:cubicBezTo>
                  <a:pt x="1762890" y="1128836"/>
                  <a:pt x="1765419" y="1130693"/>
                  <a:pt x="1771276" y="1130693"/>
                </a:cubicBezTo>
                <a:cubicBezTo>
                  <a:pt x="1773274" y="1130693"/>
                  <a:pt x="1775137" y="1130434"/>
                  <a:pt x="1776601" y="1129635"/>
                </a:cubicBezTo>
                <a:cubicBezTo>
                  <a:pt x="1778065" y="1129096"/>
                  <a:pt x="1779396" y="1128297"/>
                  <a:pt x="1780328" y="1127230"/>
                </a:cubicBezTo>
                <a:cubicBezTo>
                  <a:pt x="1781393" y="1126167"/>
                  <a:pt x="1782325" y="1124843"/>
                  <a:pt x="1782991" y="1123107"/>
                </a:cubicBezTo>
                <a:cubicBezTo>
                  <a:pt x="1783656" y="1121509"/>
                  <a:pt x="1784056" y="1119645"/>
                  <a:pt x="1784056" y="1117655"/>
                </a:cubicBezTo>
                <a:cubicBezTo>
                  <a:pt x="1784056" y="1115791"/>
                  <a:pt x="1783656" y="1114055"/>
                  <a:pt x="1782991" y="1112457"/>
                </a:cubicBezTo>
                <a:cubicBezTo>
                  <a:pt x="1782325" y="1110864"/>
                  <a:pt x="1781393" y="1109530"/>
                  <a:pt x="1780328" y="1108331"/>
                </a:cubicBezTo>
                <a:cubicBezTo>
                  <a:pt x="1779263" y="1107266"/>
                  <a:pt x="1777932" y="1106339"/>
                  <a:pt x="1776335" y="1105670"/>
                </a:cubicBezTo>
                <a:cubicBezTo>
                  <a:pt x="1774870" y="1105002"/>
                  <a:pt x="1773274" y="1104736"/>
                  <a:pt x="1771276" y="1104736"/>
                </a:cubicBezTo>
                <a:close/>
                <a:moveTo>
                  <a:pt x="1553633" y="1104736"/>
                </a:moveTo>
                <a:cubicBezTo>
                  <a:pt x="1547775" y="1104736"/>
                  <a:pt x="1545247" y="1106737"/>
                  <a:pt x="1543649" y="1108331"/>
                </a:cubicBezTo>
                <a:cubicBezTo>
                  <a:pt x="1541120" y="1110994"/>
                  <a:pt x="1540055" y="1113794"/>
                  <a:pt x="1540055" y="1117780"/>
                </a:cubicBezTo>
                <a:cubicBezTo>
                  <a:pt x="1540055" y="1121908"/>
                  <a:pt x="1541120" y="1124708"/>
                  <a:pt x="1543649" y="1127230"/>
                </a:cubicBezTo>
                <a:cubicBezTo>
                  <a:pt x="1545247" y="1128836"/>
                  <a:pt x="1547775" y="1130693"/>
                  <a:pt x="1553633" y="1130693"/>
                </a:cubicBezTo>
                <a:cubicBezTo>
                  <a:pt x="1555630" y="1130693"/>
                  <a:pt x="1557493" y="1130434"/>
                  <a:pt x="1558958" y="1129635"/>
                </a:cubicBezTo>
                <a:cubicBezTo>
                  <a:pt x="1560422" y="1129096"/>
                  <a:pt x="1561754" y="1128297"/>
                  <a:pt x="1562685" y="1127230"/>
                </a:cubicBezTo>
                <a:cubicBezTo>
                  <a:pt x="1563749" y="1126167"/>
                  <a:pt x="1564682" y="1124843"/>
                  <a:pt x="1565347" y="1123107"/>
                </a:cubicBezTo>
                <a:cubicBezTo>
                  <a:pt x="1566012" y="1121509"/>
                  <a:pt x="1566413" y="1119645"/>
                  <a:pt x="1566413" y="1117655"/>
                </a:cubicBezTo>
                <a:cubicBezTo>
                  <a:pt x="1566413" y="1115791"/>
                  <a:pt x="1566012" y="1114055"/>
                  <a:pt x="1565347" y="1112457"/>
                </a:cubicBezTo>
                <a:cubicBezTo>
                  <a:pt x="1564682" y="1110864"/>
                  <a:pt x="1563749" y="1109530"/>
                  <a:pt x="1562685" y="1108331"/>
                </a:cubicBezTo>
                <a:cubicBezTo>
                  <a:pt x="1561620" y="1107266"/>
                  <a:pt x="1560289" y="1106339"/>
                  <a:pt x="1558691" y="1105670"/>
                </a:cubicBezTo>
                <a:cubicBezTo>
                  <a:pt x="1557227" y="1105002"/>
                  <a:pt x="1555630" y="1104736"/>
                  <a:pt x="1553633" y="1104736"/>
                </a:cubicBezTo>
                <a:close/>
                <a:moveTo>
                  <a:pt x="1335988" y="1104736"/>
                </a:moveTo>
                <a:cubicBezTo>
                  <a:pt x="1330130" y="1104736"/>
                  <a:pt x="1327601" y="1106737"/>
                  <a:pt x="1326005" y="1108331"/>
                </a:cubicBezTo>
                <a:cubicBezTo>
                  <a:pt x="1323474" y="1110994"/>
                  <a:pt x="1322410" y="1113794"/>
                  <a:pt x="1322410" y="1117780"/>
                </a:cubicBezTo>
                <a:cubicBezTo>
                  <a:pt x="1322410" y="1121908"/>
                  <a:pt x="1323474" y="1124708"/>
                  <a:pt x="1326005" y="1127230"/>
                </a:cubicBezTo>
                <a:cubicBezTo>
                  <a:pt x="1327601" y="1128836"/>
                  <a:pt x="1330130" y="1130693"/>
                  <a:pt x="1335988" y="1130693"/>
                </a:cubicBezTo>
                <a:cubicBezTo>
                  <a:pt x="1338118" y="1130693"/>
                  <a:pt x="1339848" y="1130434"/>
                  <a:pt x="1341314" y="1129635"/>
                </a:cubicBezTo>
                <a:cubicBezTo>
                  <a:pt x="1342777" y="1129096"/>
                  <a:pt x="1344108" y="1128297"/>
                  <a:pt x="1345040" y="1127230"/>
                </a:cubicBezTo>
                <a:cubicBezTo>
                  <a:pt x="1346105" y="1126167"/>
                  <a:pt x="1347037" y="1124843"/>
                  <a:pt x="1347703" y="1123107"/>
                </a:cubicBezTo>
                <a:cubicBezTo>
                  <a:pt x="1348368" y="1121509"/>
                  <a:pt x="1348769" y="1119645"/>
                  <a:pt x="1348769" y="1117655"/>
                </a:cubicBezTo>
                <a:cubicBezTo>
                  <a:pt x="1348769" y="1115791"/>
                  <a:pt x="1348368" y="1114055"/>
                  <a:pt x="1347703" y="1112457"/>
                </a:cubicBezTo>
                <a:cubicBezTo>
                  <a:pt x="1347037" y="1110864"/>
                  <a:pt x="1346105" y="1109530"/>
                  <a:pt x="1345040" y="1108331"/>
                </a:cubicBezTo>
                <a:cubicBezTo>
                  <a:pt x="1343975" y="1107266"/>
                  <a:pt x="1342644" y="1106339"/>
                  <a:pt x="1341047" y="1105670"/>
                </a:cubicBezTo>
                <a:cubicBezTo>
                  <a:pt x="1339582" y="1105002"/>
                  <a:pt x="1337984" y="1104736"/>
                  <a:pt x="1335988" y="1104736"/>
                </a:cubicBezTo>
                <a:close/>
                <a:moveTo>
                  <a:pt x="1118476" y="1104736"/>
                </a:moveTo>
                <a:cubicBezTo>
                  <a:pt x="1112619" y="1104736"/>
                  <a:pt x="1110089" y="1106737"/>
                  <a:pt x="1108492" y="1108331"/>
                </a:cubicBezTo>
                <a:cubicBezTo>
                  <a:pt x="1105829" y="1110994"/>
                  <a:pt x="1104765" y="1113794"/>
                  <a:pt x="1104765" y="1117780"/>
                </a:cubicBezTo>
                <a:cubicBezTo>
                  <a:pt x="1104765" y="1121908"/>
                  <a:pt x="1105829" y="1124708"/>
                  <a:pt x="1108359" y="1127230"/>
                </a:cubicBezTo>
                <a:cubicBezTo>
                  <a:pt x="1109956" y="1128836"/>
                  <a:pt x="1112486" y="1130693"/>
                  <a:pt x="1118343" y="1130693"/>
                </a:cubicBezTo>
                <a:cubicBezTo>
                  <a:pt x="1120473" y="1130693"/>
                  <a:pt x="1122204" y="1130434"/>
                  <a:pt x="1123801" y="1129635"/>
                </a:cubicBezTo>
                <a:cubicBezTo>
                  <a:pt x="1125265" y="1129096"/>
                  <a:pt x="1126598" y="1128297"/>
                  <a:pt x="1127528" y="1127230"/>
                </a:cubicBezTo>
                <a:cubicBezTo>
                  <a:pt x="1128593" y="1126167"/>
                  <a:pt x="1129525" y="1124843"/>
                  <a:pt x="1130192" y="1123107"/>
                </a:cubicBezTo>
                <a:cubicBezTo>
                  <a:pt x="1130856" y="1121509"/>
                  <a:pt x="1131257" y="1119645"/>
                  <a:pt x="1131257" y="1117655"/>
                </a:cubicBezTo>
                <a:cubicBezTo>
                  <a:pt x="1131257" y="1115791"/>
                  <a:pt x="1130856" y="1114055"/>
                  <a:pt x="1130192" y="1112457"/>
                </a:cubicBezTo>
                <a:cubicBezTo>
                  <a:pt x="1129525" y="1110864"/>
                  <a:pt x="1128593" y="1109530"/>
                  <a:pt x="1127528" y="1108331"/>
                </a:cubicBezTo>
                <a:cubicBezTo>
                  <a:pt x="1126463" y="1107266"/>
                  <a:pt x="1125132" y="1106339"/>
                  <a:pt x="1123534" y="1105670"/>
                </a:cubicBezTo>
                <a:cubicBezTo>
                  <a:pt x="1122071" y="1105002"/>
                  <a:pt x="1120473" y="1104736"/>
                  <a:pt x="1118476" y="1104736"/>
                </a:cubicBezTo>
                <a:close/>
                <a:moveTo>
                  <a:pt x="900965" y="1104736"/>
                </a:moveTo>
                <a:cubicBezTo>
                  <a:pt x="895107" y="1104736"/>
                  <a:pt x="892578" y="1106737"/>
                  <a:pt x="890980" y="1108331"/>
                </a:cubicBezTo>
                <a:cubicBezTo>
                  <a:pt x="888318" y="1110994"/>
                  <a:pt x="887254" y="1113794"/>
                  <a:pt x="887254" y="1117780"/>
                </a:cubicBezTo>
                <a:cubicBezTo>
                  <a:pt x="887254" y="1121908"/>
                  <a:pt x="888318" y="1124708"/>
                  <a:pt x="890848" y="1127230"/>
                </a:cubicBezTo>
                <a:cubicBezTo>
                  <a:pt x="892445" y="1128836"/>
                  <a:pt x="894974" y="1130693"/>
                  <a:pt x="900831" y="1130693"/>
                </a:cubicBezTo>
                <a:cubicBezTo>
                  <a:pt x="902828" y="1130693"/>
                  <a:pt x="904559" y="1130434"/>
                  <a:pt x="906289" y="1129635"/>
                </a:cubicBezTo>
                <a:cubicBezTo>
                  <a:pt x="907753" y="1129096"/>
                  <a:pt x="909085" y="1128297"/>
                  <a:pt x="910017" y="1127230"/>
                </a:cubicBezTo>
                <a:cubicBezTo>
                  <a:pt x="911081" y="1126167"/>
                  <a:pt x="912013" y="1124843"/>
                  <a:pt x="912679" y="1123107"/>
                </a:cubicBezTo>
                <a:cubicBezTo>
                  <a:pt x="913344" y="1121509"/>
                  <a:pt x="913744" y="1119645"/>
                  <a:pt x="913744" y="1117655"/>
                </a:cubicBezTo>
                <a:cubicBezTo>
                  <a:pt x="913744" y="1115791"/>
                  <a:pt x="913344" y="1114055"/>
                  <a:pt x="912679" y="1112457"/>
                </a:cubicBezTo>
                <a:cubicBezTo>
                  <a:pt x="912013" y="1110864"/>
                  <a:pt x="911081" y="1109530"/>
                  <a:pt x="910017" y="1108331"/>
                </a:cubicBezTo>
                <a:cubicBezTo>
                  <a:pt x="908952" y="1107266"/>
                  <a:pt x="907620" y="1106339"/>
                  <a:pt x="906023" y="1105670"/>
                </a:cubicBezTo>
                <a:cubicBezTo>
                  <a:pt x="904559" y="1105002"/>
                  <a:pt x="902961" y="1104736"/>
                  <a:pt x="900965" y="1104736"/>
                </a:cubicBezTo>
                <a:close/>
                <a:moveTo>
                  <a:pt x="683187" y="1104736"/>
                </a:moveTo>
                <a:cubicBezTo>
                  <a:pt x="677330" y="1104736"/>
                  <a:pt x="674801" y="1106737"/>
                  <a:pt x="673204" y="1108331"/>
                </a:cubicBezTo>
                <a:cubicBezTo>
                  <a:pt x="670674" y="1110994"/>
                  <a:pt x="669610" y="1113794"/>
                  <a:pt x="669610" y="1117780"/>
                </a:cubicBezTo>
                <a:cubicBezTo>
                  <a:pt x="669610" y="1121908"/>
                  <a:pt x="670674" y="1124708"/>
                  <a:pt x="673204" y="1127230"/>
                </a:cubicBezTo>
                <a:cubicBezTo>
                  <a:pt x="674801" y="1128836"/>
                  <a:pt x="677330" y="1130693"/>
                  <a:pt x="683187" y="1130693"/>
                </a:cubicBezTo>
                <a:cubicBezTo>
                  <a:pt x="685184" y="1130693"/>
                  <a:pt x="687048" y="1130434"/>
                  <a:pt x="688512" y="1129635"/>
                </a:cubicBezTo>
                <a:cubicBezTo>
                  <a:pt x="689976" y="1129096"/>
                  <a:pt x="691308" y="1128297"/>
                  <a:pt x="692239" y="1127230"/>
                </a:cubicBezTo>
                <a:cubicBezTo>
                  <a:pt x="693304" y="1126167"/>
                  <a:pt x="694236" y="1124843"/>
                  <a:pt x="694902" y="1123107"/>
                </a:cubicBezTo>
                <a:cubicBezTo>
                  <a:pt x="695567" y="1121509"/>
                  <a:pt x="695967" y="1119645"/>
                  <a:pt x="695967" y="1117655"/>
                </a:cubicBezTo>
                <a:cubicBezTo>
                  <a:pt x="695967" y="1115791"/>
                  <a:pt x="695567" y="1114055"/>
                  <a:pt x="694902" y="1112457"/>
                </a:cubicBezTo>
                <a:cubicBezTo>
                  <a:pt x="694236" y="1110864"/>
                  <a:pt x="693304" y="1109530"/>
                  <a:pt x="692239" y="1108331"/>
                </a:cubicBezTo>
                <a:cubicBezTo>
                  <a:pt x="691174" y="1107266"/>
                  <a:pt x="689843" y="1106339"/>
                  <a:pt x="688246" y="1105670"/>
                </a:cubicBezTo>
                <a:cubicBezTo>
                  <a:pt x="686782" y="1105002"/>
                  <a:pt x="685184" y="1104736"/>
                  <a:pt x="683187" y="1104736"/>
                </a:cubicBezTo>
                <a:close/>
                <a:moveTo>
                  <a:pt x="465543" y="1104736"/>
                </a:moveTo>
                <a:cubicBezTo>
                  <a:pt x="459686" y="1104736"/>
                  <a:pt x="457157" y="1106737"/>
                  <a:pt x="455560" y="1108331"/>
                </a:cubicBezTo>
                <a:cubicBezTo>
                  <a:pt x="453030" y="1110994"/>
                  <a:pt x="451966" y="1113794"/>
                  <a:pt x="451966" y="1117780"/>
                </a:cubicBezTo>
                <a:cubicBezTo>
                  <a:pt x="451966" y="1121908"/>
                  <a:pt x="453030" y="1124708"/>
                  <a:pt x="455560" y="1127230"/>
                </a:cubicBezTo>
                <a:cubicBezTo>
                  <a:pt x="457157" y="1128836"/>
                  <a:pt x="459686" y="1130693"/>
                  <a:pt x="465543" y="1130693"/>
                </a:cubicBezTo>
                <a:cubicBezTo>
                  <a:pt x="467540" y="1130693"/>
                  <a:pt x="469404" y="1130434"/>
                  <a:pt x="470868" y="1129635"/>
                </a:cubicBezTo>
                <a:cubicBezTo>
                  <a:pt x="472332" y="1129096"/>
                  <a:pt x="473663" y="1128297"/>
                  <a:pt x="474595" y="1127230"/>
                </a:cubicBezTo>
                <a:cubicBezTo>
                  <a:pt x="475660" y="1126167"/>
                  <a:pt x="476592" y="1124843"/>
                  <a:pt x="477258" y="1123107"/>
                </a:cubicBezTo>
                <a:cubicBezTo>
                  <a:pt x="477923" y="1121509"/>
                  <a:pt x="478323" y="1119645"/>
                  <a:pt x="478323" y="1117655"/>
                </a:cubicBezTo>
                <a:cubicBezTo>
                  <a:pt x="478323" y="1115791"/>
                  <a:pt x="477923" y="1114055"/>
                  <a:pt x="477258" y="1112457"/>
                </a:cubicBezTo>
                <a:cubicBezTo>
                  <a:pt x="476592" y="1110864"/>
                  <a:pt x="475660" y="1109530"/>
                  <a:pt x="474595" y="1108331"/>
                </a:cubicBezTo>
                <a:cubicBezTo>
                  <a:pt x="473530" y="1107266"/>
                  <a:pt x="472199" y="1106339"/>
                  <a:pt x="470602" y="1105670"/>
                </a:cubicBezTo>
                <a:cubicBezTo>
                  <a:pt x="469138" y="1105002"/>
                  <a:pt x="467540" y="1104736"/>
                  <a:pt x="465543" y="1104736"/>
                </a:cubicBezTo>
                <a:close/>
                <a:moveTo>
                  <a:pt x="247899" y="1104736"/>
                </a:moveTo>
                <a:cubicBezTo>
                  <a:pt x="242042" y="1104736"/>
                  <a:pt x="239513" y="1106737"/>
                  <a:pt x="237916" y="1108331"/>
                </a:cubicBezTo>
                <a:cubicBezTo>
                  <a:pt x="235386" y="1110994"/>
                  <a:pt x="234322" y="1113794"/>
                  <a:pt x="234322" y="1117780"/>
                </a:cubicBezTo>
                <a:cubicBezTo>
                  <a:pt x="234322" y="1121908"/>
                  <a:pt x="235386" y="1124708"/>
                  <a:pt x="237916" y="1127230"/>
                </a:cubicBezTo>
                <a:cubicBezTo>
                  <a:pt x="239513" y="1128836"/>
                  <a:pt x="242042" y="1130693"/>
                  <a:pt x="247899" y="1130693"/>
                </a:cubicBezTo>
                <a:cubicBezTo>
                  <a:pt x="250029" y="1130693"/>
                  <a:pt x="251760" y="1130434"/>
                  <a:pt x="253224" y="1129635"/>
                </a:cubicBezTo>
                <a:cubicBezTo>
                  <a:pt x="254688" y="1129096"/>
                  <a:pt x="256019" y="1128297"/>
                  <a:pt x="256951" y="1127230"/>
                </a:cubicBezTo>
                <a:cubicBezTo>
                  <a:pt x="258016" y="1126167"/>
                  <a:pt x="258948" y="1124843"/>
                  <a:pt x="259614" y="1123107"/>
                </a:cubicBezTo>
                <a:cubicBezTo>
                  <a:pt x="260279" y="1121509"/>
                  <a:pt x="260679" y="1119645"/>
                  <a:pt x="260679" y="1117655"/>
                </a:cubicBezTo>
                <a:cubicBezTo>
                  <a:pt x="260679" y="1115791"/>
                  <a:pt x="260279" y="1114055"/>
                  <a:pt x="259614" y="1112457"/>
                </a:cubicBezTo>
                <a:cubicBezTo>
                  <a:pt x="258948" y="1110864"/>
                  <a:pt x="258016" y="1109530"/>
                  <a:pt x="256951" y="1108331"/>
                </a:cubicBezTo>
                <a:cubicBezTo>
                  <a:pt x="255886" y="1107266"/>
                  <a:pt x="254555" y="1106339"/>
                  <a:pt x="252958" y="1105670"/>
                </a:cubicBezTo>
                <a:cubicBezTo>
                  <a:pt x="251493" y="1105002"/>
                  <a:pt x="249896" y="1104736"/>
                  <a:pt x="247899" y="1104736"/>
                </a:cubicBezTo>
                <a:close/>
                <a:moveTo>
                  <a:pt x="30255" y="1104736"/>
                </a:moveTo>
                <a:cubicBezTo>
                  <a:pt x="24398" y="1104736"/>
                  <a:pt x="21869" y="1106737"/>
                  <a:pt x="20271" y="1108331"/>
                </a:cubicBezTo>
                <a:cubicBezTo>
                  <a:pt x="17742" y="1110994"/>
                  <a:pt x="16678" y="1113794"/>
                  <a:pt x="16678" y="1117780"/>
                </a:cubicBezTo>
                <a:cubicBezTo>
                  <a:pt x="16678" y="1121908"/>
                  <a:pt x="17742" y="1124708"/>
                  <a:pt x="20271" y="1127230"/>
                </a:cubicBezTo>
                <a:cubicBezTo>
                  <a:pt x="21869" y="1128836"/>
                  <a:pt x="24398" y="1130693"/>
                  <a:pt x="30255" y="1130693"/>
                </a:cubicBezTo>
                <a:cubicBezTo>
                  <a:pt x="32385" y="1130693"/>
                  <a:pt x="34116" y="1130434"/>
                  <a:pt x="35580" y="1129635"/>
                </a:cubicBezTo>
                <a:cubicBezTo>
                  <a:pt x="37044" y="1129096"/>
                  <a:pt x="38376" y="1128297"/>
                  <a:pt x="39307" y="1127230"/>
                </a:cubicBezTo>
                <a:cubicBezTo>
                  <a:pt x="40372" y="1126167"/>
                  <a:pt x="41304" y="1124843"/>
                  <a:pt x="41970" y="1123107"/>
                </a:cubicBezTo>
                <a:cubicBezTo>
                  <a:pt x="42635" y="1121509"/>
                  <a:pt x="42901" y="1119645"/>
                  <a:pt x="42901" y="1117655"/>
                </a:cubicBezTo>
                <a:cubicBezTo>
                  <a:pt x="42901" y="1115791"/>
                  <a:pt x="42635" y="1114055"/>
                  <a:pt x="41970" y="1112457"/>
                </a:cubicBezTo>
                <a:cubicBezTo>
                  <a:pt x="41304" y="1110864"/>
                  <a:pt x="40372" y="1109530"/>
                  <a:pt x="39307" y="1108331"/>
                </a:cubicBezTo>
                <a:cubicBezTo>
                  <a:pt x="38242" y="1107266"/>
                  <a:pt x="36911" y="1106339"/>
                  <a:pt x="35314" y="1105670"/>
                </a:cubicBezTo>
                <a:cubicBezTo>
                  <a:pt x="33850" y="1105002"/>
                  <a:pt x="32252" y="1104736"/>
                  <a:pt x="30255" y="1104736"/>
                </a:cubicBezTo>
                <a:close/>
                <a:moveTo>
                  <a:pt x="10475977" y="1088096"/>
                </a:moveTo>
                <a:cubicBezTo>
                  <a:pt x="10480237" y="1088096"/>
                  <a:pt x="10484230" y="1088894"/>
                  <a:pt x="10487824" y="1090626"/>
                </a:cubicBezTo>
                <a:cubicBezTo>
                  <a:pt x="10491419" y="1092224"/>
                  <a:pt x="10494613" y="1094357"/>
                  <a:pt x="10497143" y="1097017"/>
                </a:cubicBezTo>
                <a:cubicBezTo>
                  <a:pt x="10499672" y="1099551"/>
                  <a:pt x="10501801" y="1102738"/>
                  <a:pt x="10503266" y="1106337"/>
                </a:cubicBezTo>
                <a:cubicBezTo>
                  <a:pt x="10504730" y="1109929"/>
                  <a:pt x="10505529" y="1113794"/>
                  <a:pt x="10505529" y="1117780"/>
                </a:cubicBezTo>
                <a:cubicBezTo>
                  <a:pt x="10505529" y="1121908"/>
                  <a:pt x="10504730" y="1125907"/>
                  <a:pt x="10503266" y="1129494"/>
                </a:cubicBezTo>
                <a:cubicBezTo>
                  <a:pt x="10501669" y="1133094"/>
                  <a:pt x="10499672" y="1136155"/>
                  <a:pt x="10497143" y="1138815"/>
                </a:cubicBezTo>
                <a:cubicBezTo>
                  <a:pt x="10494480" y="1141478"/>
                  <a:pt x="10491419" y="1143611"/>
                  <a:pt x="10487824" y="1145076"/>
                </a:cubicBezTo>
                <a:cubicBezTo>
                  <a:pt x="10484098" y="1146541"/>
                  <a:pt x="10480237" y="1147340"/>
                  <a:pt x="10475977" y="1147340"/>
                </a:cubicBezTo>
                <a:cubicBezTo>
                  <a:pt x="10466924" y="1147340"/>
                  <a:pt x="10459736" y="1144408"/>
                  <a:pt x="10454145" y="1138815"/>
                </a:cubicBezTo>
                <a:cubicBezTo>
                  <a:pt x="10448554" y="1133094"/>
                  <a:pt x="10445759" y="1126167"/>
                  <a:pt x="10445759" y="1117655"/>
                </a:cubicBezTo>
                <a:cubicBezTo>
                  <a:pt x="10445759" y="1109400"/>
                  <a:pt x="10448554" y="1102338"/>
                  <a:pt x="10454145" y="1096621"/>
                </a:cubicBezTo>
                <a:cubicBezTo>
                  <a:pt x="10459603" y="1091023"/>
                  <a:pt x="10466924" y="1088096"/>
                  <a:pt x="10475977" y="1088096"/>
                </a:cubicBezTo>
                <a:close/>
                <a:moveTo>
                  <a:pt x="10258466" y="1088096"/>
                </a:moveTo>
                <a:cubicBezTo>
                  <a:pt x="10262592" y="1088096"/>
                  <a:pt x="10266586" y="1088894"/>
                  <a:pt x="10270313" y="1090626"/>
                </a:cubicBezTo>
                <a:cubicBezTo>
                  <a:pt x="10273907" y="1092224"/>
                  <a:pt x="10277101" y="1094357"/>
                  <a:pt x="10279631" y="1097017"/>
                </a:cubicBezTo>
                <a:cubicBezTo>
                  <a:pt x="10282160" y="1099551"/>
                  <a:pt x="10284290" y="1102738"/>
                  <a:pt x="10285754" y="1106337"/>
                </a:cubicBezTo>
                <a:cubicBezTo>
                  <a:pt x="10287218" y="1109929"/>
                  <a:pt x="10288017" y="1113794"/>
                  <a:pt x="10288017" y="1117780"/>
                </a:cubicBezTo>
                <a:cubicBezTo>
                  <a:pt x="10288017" y="1121908"/>
                  <a:pt x="10287218" y="1125907"/>
                  <a:pt x="10285754" y="1129494"/>
                </a:cubicBezTo>
                <a:cubicBezTo>
                  <a:pt x="10284157" y="1133094"/>
                  <a:pt x="10282160" y="1136155"/>
                  <a:pt x="10279631" y="1138815"/>
                </a:cubicBezTo>
                <a:cubicBezTo>
                  <a:pt x="10276969" y="1141478"/>
                  <a:pt x="10273907" y="1143611"/>
                  <a:pt x="10270313" y="1145076"/>
                </a:cubicBezTo>
                <a:cubicBezTo>
                  <a:pt x="10266586" y="1146541"/>
                  <a:pt x="10262725" y="1147340"/>
                  <a:pt x="10258466" y="1147340"/>
                </a:cubicBezTo>
                <a:cubicBezTo>
                  <a:pt x="10249546" y="1147340"/>
                  <a:pt x="10242224" y="1144408"/>
                  <a:pt x="10236633" y="1138815"/>
                </a:cubicBezTo>
                <a:cubicBezTo>
                  <a:pt x="10231043" y="1133094"/>
                  <a:pt x="10228247" y="1126167"/>
                  <a:pt x="10228247" y="1117655"/>
                </a:cubicBezTo>
                <a:cubicBezTo>
                  <a:pt x="10228247" y="1109400"/>
                  <a:pt x="10231043" y="1102338"/>
                  <a:pt x="10236633" y="1096621"/>
                </a:cubicBezTo>
                <a:cubicBezTo>
                  <a:pt x="10242092" y="1091023"/>
                  <a:pt x="10249413" y="1088096"/>
                  <a:pt x="10258466" y="1088096"/>
                </a:cubicBezTo>
                <a:close/>
                <a:moveTo>
                  <a:pt x="10040820" y="1088096"/>
                </a:moveTo>
                <a:cubicBezTo>
                  <a:pt x="10045080" y="1088096"/>
                  <a:pt x="10048941" y="1088894"/>
                  <a:pt x="10052534" y="1090626"/>
                </a:cubicBezTo>
                <a:cubicBezTo>
                  <a:pt x="10056129" y="1092224"/>
                  <a:pt x="10059323" y="1094358"/>
                  <a:pt x="10061852" y="1097017"/>
                </a:cubicBezTo>
                <a:cubicBezTo>
                  <a:pt x="10064382" y="1099551"/>
                  <a:pt x="10066512" y="1102738"/>
                  <a:pt x="10067976" y="1106337"/>
                </a:cubicBezTo>
                <a:cubicBezTo>
                  <a:pt x="10069440" y="1109929"/>
                  <a:pt x="10070239" y="1113794"/>
                  <a:pt x="10070239" y="1117780"/>
                </a:cubicBezTo>
                <a:cubicBezTo>
                  <a:pt x="10070239" y="1121908"/>
                  <a:pt x="10069440" y="1125907"/>
                  <a:pt x="10067976" y="1129494"/>
                </a:cubicBezTo>
                <a:cubicBezTo>
                  <a:pt x="10066379" y="1133094"/>
                  <a:pt x="10064382" y="1136155"/>
                  <a:pt x="10061852" y="1138815"/>
                </a:cubicBezTo>
                <a:cubicBezTo>
                  <a:pt x="10059190" y="1141478"/>
                  <a:pt x="10056129" y="1143611"/>
                  <a:pt x="10052534" y="1145076"/>
                </a:cubicBezTo>
                <a:cubicBezTo>
                  <a:pt x="10048941" y="1146541"/>
                  <a:pt x="10045080" y="1147340"/>
                  <a:pt x="10040820" y="1147340"/>
                </a:cubicBezTo>
                <a:cubicBezTo>
                  <a:pt x="10031767" y="1147340"/>
                  <a:pt x="10024579" y="1144408"/>
                  <a:pt x="10018988" y="1138815"/>
                </a:cubicBezTo>
                <a:cubicBezTo>
                  <a:pt x="10013397" y="1133094"/>
                  <a:pt x="10010602" y="1126167"/>
                  <a:pt x="10010602" y="1117655"/>
                </a:cubicBezTo>
                <a:cubicBezTo>
                  <a:pt x="10010602" y="1109400"/>
                  <a:pt x="10013397" y="1102338"/>
                  <a:pt x="10018988" y="1096621"/>
                </a:cubicBezTo>
                <a:cubicBezTo>
                  <a:pt x="10024579" y="1091023"/>
                  <a:pt x="10031767" y="1088096"/>
                  <a:pt x="10040820" y="1088096"/>
                </a:cubicBezTo>
                <a:close/>
                <a:moveTo>
                  <a:pt x="9823176" y="1088096"/>
                </a:moveTo>
                <a:cubicBezTo>
                  <a:pt x="9827435" y="1088096"/>
                  <a:pt x="9831296" y="1088894"/>
                  <a:pt x="9834890" y="1090626"/>
                </a:cubicBezTo>
                <a:cubicBezTo>
                  <a:pt x="9838617" y="1092224"/>
                  <a:pt x="9841679" y="1094358"/>
                  <a:pt x="9844208" y="1097017"/>
                </a:cubicBezTo>
                <a:cubicBezTo>
                  <a:pt x="9846737" y="1099551"/>
                  <a:pt x="9848867" y="1102738"/>
                  <a:pt x="9850331" y="1106339"/>
                </a:cubicBezTo>
                <a:cubicBezTo>
                  <a:pt x="9851796" y="1109929"/>
                  <a:pt x="9852595" y="1113794"/>
                  <a:pt x="9852595" y="1117780"/>
                </a:cubicBezTo>
                <a:cubicBezTo>
                  <a:pt x="9852595" y="1121908"/>
                  <a:pt x="9851796" y="1125907"/>
                  <a:pt x="9850331" y="1129494"/>
                </a:cubicBezTo>
                <a:cubicBezTo>
                  <a:pt x="9848734" y="1133094"/>
                  <a:pt x="9846737" y="1136155"/>
                  <a:pt x="9844208" y="1138815"/>
                </a:cubicBezTo>
                <a:cubicBezTo>
                  <a:pt x="9841546" y="1141478"/>
                  <a:pt x="9838484" y="1143611"/>
                  <a:pt x="9834890" y="1145076"/>
                </a:cubicBezTo>
                <a:cubicBezTo>
                  <a:pt x="9831296" y="1146541"/>
                  <a:pt x="9827435" y="1147340"/>
                  <a:pt x="9823176" y="1147340"/>
                </a:cubicBezTo>
                <a:cubicBezTo>
                  <a:pt x="9814123" y="1147340"/>
                  <a:pt x="9806935" y="1144408"/>
                  <a:pt x="9801343" y="1138815"/>
                </a:cubicBezTo>
                <a:cubicBezTo>
                  <a:pt x="9795753" y="1133094"/>
                  <a:pt x="9792957" y="1126167"/>
                  <a:pt x="9792957" y="1117655"/>
                </a:cubicBezTo>
                <a:cubicBezTo>
                  <a:pt x="9792957" y="1109400"/>
                  <a:pt x="9795753" y="1102338"/>
                  <a:pt x="9801343" y="1096621"/>
                </a:cubicBezTo>
                <a:cubicBezTo>
                  <a:pt x="9806935" y="1091023"/>
                  <a:pt x="9814123" y="1088096"/>
                  <a:pt x="9823176" y="1088096"/>
                </a:cubicBezTo>
                <a:close/>
                <a:moveTo>
                  <a:pt x="9605531" y="1088096"/>
                </a:moveTo>
                <a:cubicBezTo>
                  <a:pt x="9609790" y="1088096"/>
                  <a:pt x="9613784" y="1088894"/>
                  <a:pt x="9617245" y="1090626"/>
                </a:cubicBezTo>
                <a:cubicBezTo>
                  <a:pt x="9620839" y="1092224"/>
                  <a:pt x="9624033" y="1094358"/>
                  <a:pt x="9626562" y="1097017"/>
                </a:cubicBezTo>
                <a:cubicBezTo>
                  <a:pt x="9629092" y="1099551"/>
                  <a:pt x="9631222" y="1102738"/>
                  <a:pt x="9632686" y="1106339"/>
                </a:cubicBezTo>
                <a:cubicBezTo>
                  <a:pt x="9634150" y="1109929"/>
                  <a:pt x="9634949" y="1113794"/>
                  <a:pt x="9634949" y="1117780"/>
                </a:cubicBezTo>
                <a:cubicBezTo>
                  <a:pt x="9634949" y="1121908"/>
                  <a:pt x="9634150" y="1125907"/>
                  <a:pt x="9632686" y="1129494"/>
                </a:cubicBezTo>
                <a:cubicBezTo>
                  <a:pt x="9631089" y="1133094"/>
                  <a:pt x="9629092" y="1136155"/>
                  <a:pt x="9626562" y="1138815"/>
                </a:cubicBezTo>
                <a:cubicBezTo>
                  <a:pt x="9623901" y="1141478"/>
                  <a:pt x="9620839" y="1143611"/>
                  <a:pt x="9617245" y="1145076"/>
                </a:cubicBezTo>
                <a:cubicBezTo>
                  <a:pt x="9613651" y="1146541"/>
                  <a:pt x="9609790" y="1147340"/>
                  <a:pt x="9605531" y="1147340"/>
                </a:cubicBezTo>
                <a:cubicBezTo>
                  <a:pt x="9596610" y="1147340"/>
                  <a:pt x="9589289" y="1144408"/>
                  <a:pt x="9583698" y="1138815"/>
                </a:cubicBezTo>
                <a:cubicBezTo>
                  <a:pt x="9578108" y="1133094"/>
                  <a:pt x="9575312" y="1126167"/>
                  <a:pt x="9575312" y="1117655"/>
                </a:cubicBezTo>
                <a:cubicBezTo>
                  <a:pt x="9575312" y="1109400"/>
                  <a:pt x="9578108" y="1102338"/>
                  <a:pt x="9583698" y="1096621"/>
                </a:cubicBezTo>
                <a:cubicBezTo>
                  <a:pt x="9589289" y="1091023"/>
                  <a:pt x="9596478" y="1088096"/>
                  <a:pt x="9605531" y="1088096"/>
                </a:cubicBezTo>
                <a:close/>
                <a:moveTo>
                  <a:pt x="9387885" y="1088096"/>
                </a:moveTo>
                <a:cubicBezTo>
                  <a:pt x="9392145" y="1088096"/>
                  <a:pt x="9396138" y="1088894"/>
                  <a:pt x="9399599" y="1090626"/>
                </a:cubicBezTo>
                <a:cubicBezTo>
                  <a:pt x="9403194" y="1092224"/>
                  <a:pt x="9406388" y="1094358"/>
                  <a:pt x="9408917" y="1097017"/>
                </a:cubicBezTo>
                <a:cubicBezTo>
                  <a:pt x="9411447" y="1099551"/>
                  <a:pt x="9413576" y="1102738"/>
                  <a:pt x="9415041" y="1106339"/>
                </a:cubicBezTo>
                <a:cubicBezTo>
                  <a:pt x="9416505" y="1109929"/>
                  <a:pt x="9417304" y="1113794"/>
                  <a:pt x="9417304" y="1117780"/>
                </a:cubicBezTo>
                <a:cubicBezTo>
                  <a:pt x="9417304" y="1121908"/>
                  <a:pt x="9416505" y="1125907"/>
                  <a:pt x="9415041" y="1129494"/>
                </a:cubicBezTo>
                <a:cubicBezTo>
                  <a:pt x="9413444" y="1133094"/>
                  <a:pt x="9411447" y="1136155"/>
                  <a:pt x="9408917" y="1138815"/>
                </a:cubicBezTo>
                <a:cubicBezTo>
                  <a:pt x="9406255" y="1141478"/>
                  <a:pt x="9403194" y="1143611"/>
                  <a:pt x="9399599" y="1145076"/>
                </a:cubicBezTo>
                <a:cubicBezTo>
                  <a:pt x="9396005" y="1146541"/>
                  <a:pt x="9392145" y="1147340"/>
                  <a:pt x="9387885" y="1147340"/>
                </a:cubicBezTo>
                <a:cubicBezTo>
                  <a:pt x="9378965" y="1147340"/>
                  <a:pt x="9371644" y="1144408"/>
                  <a:pt x="9366053" y="1138815"/>
                </a:cubicBezTo>
                <a:cubicBezTo>
                  <a:pt x="9360462" y="1133094"/>
                  <a:pt x="9357667" y="1126167"/>
                  <a:pt x="9357667" y="1117655"/>
                </a:cubicBezTo>
                <a:cubicBezTo>
                  <a:pt x="9357667" y="1109400"/>
                  <a:pt x="9360462" y="1102338"/>
                  <a:pt x="9366053" y="1096621"/>
                </a:cubicBezTo>
                <a:cubicBezTo>
                  <a:pt x="9371644" y="1091023"/>
                  <a:pt x="9378832" y="1088096"/>
                  <a:pt x="9387885" y="1088096"/>
                </a:cubicBezTo>
                <a:close/>
                <a:moveTo>
                  <a:pt x="9170374" y="1088096"/>
                </a:moveTo>
                <a:cubicBezTo>
                  <a:pt x="9174500" y="1088096"/>
                  <a:pt x="9178494" y="1088894"/>
                  <a:pt x="9182088" y="1090626"/>
                </a:cubicBezTo>
                <a:cubicBezTo>
                  <a:pt x="9185682" y="1092224"/>
                  <a:pt x="9188876" y="1094358"/>
                  <a:pt x="9191405" y="1097017"/>
                </a:cubicBezTo>
                <a:cubicBezTo>
                  <a:pt x="9193935" y="1099551"/>
                  <a:pt x="9196065" y="1102738"/>
                  <a:pt x="9197529" y="1106339"/>
                </a:cubicBezTo>
                <a:cubicBezTo>
                  <a:pt x="9198993" y="1109929"/>
                  <a:pt x="9199792" y="1113794"/>
                  <a:pt x="9199792" y="1117780"/>
                </a:cubicBezTo>
                <a:cubicBezTo>
                  <a:pt x="9199792" y="1121908"/>
                  <a:pt x="9198993" y="1125907"/>
                  <a:pt x="9197529" y="1129494"/>
                </a:cubicBezTo>
                <a:cubicBezTo>
                  <a:pt x="9195932" y="1133094"/>
                  <a:pt x="9193935" y="1136155"/>
                  <a:pt x="9191405" y="1138815"/>
                </a:cubicBezTo>
                <a:cubicBezTo>
                  <a:pt x="9188744" y="1141478"/>
                  <a:pt x="9185682" y="1143611"/>
                  <a:pt x="9182088" y="1145076"/>
                </a:cubicBezTo>
                <a:cubicBezTo>
                  <a:pt x="9178494" y="1146541"/>
                  <a:pt x="9174633" y="1147340"/>
                  <a:pt x="9170374" y="1147340"/>
                </a:cubicBezTo>
                <a:cubicBezTo>
                  <a:pt x="9161453" y="1147340"/>
                  <a:pt x="9154132" y="1144408"/>
                  <a:pt x="9148541" y="1138815"/>
                </a:cubicBezTo>
                <a:cubicBezTo>
                  <a:pt x="9142951" y="1133094"/>
                  <a:pt x="9140155" y="1126167"/>
                  <a:pt x="9140155" y="1117655"/>
                </a:cubicBezTo>
                <a:cubicBezTo>
                  <a:pt x="9140155" y="1109400"/>
                  <a:pt x="9142951" y="1102338"/>
                  <a:pt x="9148541" y="1096621"/>
                </a:cubicBezTo>
                <a:cubicBezTo>
                  <a:pt x="9154132" y="1091023"/>
                  <a:pt x="9161321" y="1088096"/>
                  <a:pt x="9170374" y="1088096"/>
                </a:cubicBezTo>
                <a:close/>
                <a:moveTo>
                  <a:pt x="8952728" y="1088096"/>
                </a:moveTo>
                <a:cubicBezTo>
                  <a:pt x="8956988" y="1088096"/>
                  <a:pt x="8960849" y="1088894"/>
                  <a:pt x="8964442" y="1090626"/>
                </a:cubicBezTo>
                <a:cubicBezTo>
                  <a:pt x="8968037" y="1092224"/>
                  <a:pt x="8971231" y="1094358"/>
                  <a:pt x="8973760" y="1097017"/>
                </a:cubicBezTo>
                <a:cubicBezTo>
                  <a:pt x="8976290" y="1099551"/>
                  <a:pt x="8978419" y="1102738"/>
                  <a:pt x="8979884" y="1106339"/>
                </a:cubicBezTo>
                <a:cubicBezTo>
                  <a:pt x="8981348" y="1109929"/>
                  <a:pt x="8982147" y="1113794"/>
                  <a:pt x="8982147" y="1117780"/>
                </a:cubicBezTo>
                <a:cubicBezTo>
                  <a:pt x="8982147" y="1121908"/>
                  <a:pt x="8981348" y="1125907"/>
                  <a:pt x="8979884" y="1129494"/>
                </a:cubicBezTo>
                <a:cubicBezTo>
                  <a:pt x="8978287" y="1133094"/>
                  <a:pt x="8976290" y="1136155"/>
                  <a:pt x="8973760" y="1138815"/>
                </a:cubicBezTo>
                <a:cubicBezTo>
                  <a:pt x="8971098" y="1141478"/>
                  <a:pt x="8968037" y="1143611"/>
                  <a:pt x="8964442" y="1145076"/>
                </a:cubicBezTo>
                <a:cubicBezTo>
                  <a:pt x="8960849" y="1146541"/>
                  <a:pt x="8956988" y="1147340"/>
                  <a:pt x="8952728" y="1147340"/>
                </a:cubicBezTo>
                <a:cubicBezTo>
                  <a:pt x="8943808" y="1147340"/>
                  <a:pt x="8936487" y="1144408"/>
                  <a:pt x="8930896" y="1138815"/>
                </a:cubicBezTo>
                <a:cubicBezTo>
                  <a:pt x="8925305" y="1133094"/>
                  <a:pt x="8922510" y="1126167"/>
                  <a:pt x="8922510" y="1117655"/>
                </a:cubicBezTo>
                <a:cubicBezTo>
                  <a:pt x="8922510" y="1109400"/>
                  <a:pt x="8925305" y="1102338"/>
                  <a:pt x="8930896" y="1096621"/>
                </a:cubicBezTo>
                <a:cubicBezTo>
                  <a:pt x="8936487" y="1091023"/>
                  <a:pt x="8943675" y="1088096"/>
                  <a:pt x="8952728" y="1088096"/>
                </a:cubicBezTo>
                <a:close/>
                <a:moveTo>
                  <a:pt x="8735083" y="1088096"/>
                </a:moveTo>
                <a:cubicBezTo>
                  <a:pt x="8739342" y="1088096"/>
                  <a:pt x="8743203" y="1088894"/>
                  <a:pt x="8746797" y="1090626"/>
                </a:cubicBezTo>
                <a:cubicBezTo>
                  <a:pt x="8750391" y="1092224"/>
                  <a:pt x="8753586" y="1094358"/>
                  <a:pt x="8756115" y="1097017"/>
                </a:cubicBezTo>
                <a:cubicBezTo>
                  <a:pt x="8758644" y="1099551"/>
                  <a:pt x="8760774" y="1102738"/>
                  <a:pt x="8762238" y="1106339"/>
                </a:cubicBezTo>
                <a:cubicBezTo>
                  <a:pt x="8763702" y="1109929"/>
                  <a:pt x="8764502" y="1113794"/>
                  <a:pt x="8764502" y="1117780"/>
                </a:cubicBezTo>
                <a:cubicBezTo>
                  <a:pt x="8764502" y="1121908"/>
                  <a:pt x="8763702" y="1125907"/>
                  <a:pt x="8762238" y="1129494"/>
                </a:cubicBezTo>
                <a:cubicBezTo>
                  <a:pt x="8760641" y="1133094"/>
                  <a:pt x="8758644" y="1136155"/>
                  <a:pt x="8756115" y="1138815"/>
                </a:cubicBezTo>
                <a:cubicBezTo>
                  <a:pt x="8753453" y="1141478"/>
                  <a:pt x="8750391" y="1143611"/>
                  <a:pt x="8746797" y="1145076"/>
                </a:cubicBezTo>
                <a:cubicBezTo>
                  <a:pt x="8743203" y="1146541"/>
                  <a:pt x="8739342" y="1147340"/>
                  <a:pt x="8735083" y="1147340"/>
                </a:cubicBezTo>
                <a:cubicBezTo>
                  <a:pt x="8726030" y="1147340"/>
                  <a:pt x="8718841" y="1144408"/>
                  <a:pt x="8713250" y="1138815"/>
                </a:cubicBezTo>
                <a:cubicBezTo>
                  <a:pt x="8707660" y="1133094"/>
                  <a:pt x="8704864" y="1126167"/>
                  <a:pt x="8704864" y="1117655"/>
                </a:cubicBezTo>
                <a:cubicBezTo>
                  <a:pt x="8704864" y="1109400"/>
                  <a:pt x="8707660" y="1102338"/>
                  <a:pt x="8713250" y="1096621"/>
                </a:cubicBezTo>
                <a:cubicBezTo>
                  <a:pt x="8718841" y="1091023"/>
                  <a:pt x="8726030" y="1088096"/>
                  <a:pt x="8735083" y="1088096"/>
                </a:cubicBezTo>
                <a:close/>
                <a:moveTo>
                  <a:pt x="8517438" y="1088096"/>
                </a:moveTo>
                <a:cubicBezTo>
                  <a:pt x="8521698" y="1088096"/>
                  <a:pt x="8525559" y="1088894"/>
                  <a:pt x="8529152" y="1090626"/>
                </a:cubicBezTo>
                <a:cubicBezTo>
                  <a:pt x="8532880" y="1092224"/>
                  <a:pt x="8535941" y="1094358"/>
                  <a:pt x="8538470" y="1097017"/>
                </a:cubicBezTo>
                <a:cubicBezTo>
                  <a:pt x="8541000" y="1099551"/>
                  <a:pt x="8543130" y="1102738"/>
                  <a:pt x="8544594" y="1106339"/>
                </a:cubicBezTo>
                <a:cubicBezTo>
                  <a:pt x="8546058" y="1109929"/>
                  <a:pt x="8546857" y="1113794"/>
                  <a:pt x="8546857" y="1117780"/>
                </a:cubicBezTo>
                <a:cubicBezTo>
                  <a:pt x="8546857" y="1121908"/>
                  <a:pt x="8546058" y="1125907"/>
                  <a:pt x="8544594" y="1129494"/>
                </a:cubicBezTo>
                <a:cubicBezTo>
                  <a:pt x="8542997" y="1133094"/>
                  <a:pt x="8541000" y="1136155"/>
                  <a:pt x="8538470" y="1138815"/>
                </a:cubicBezTo>
                <a:cubicBezTo>
                  <a:pt x="8535808" y="1141478"/>
                  <a:pt x="8532747" y="1143611"/>
                  <a:pt x="8529152" y="1145076"/>
                </a:cubicBezTo>
                <a:cubicBezTo>
                  <a:pt x="8525559" y="1146541"/>
                  <a:pt x="8521698" y="1147340"/>
                  <a:pt x="8517438" y="1147340"/>
                </a:cubicBezTo>
                <a:cubicBezTo>
                  <a:pt x="8508385" y="1147340"/>
                  <a:pt x="8501197" y="1144408"/>
                  <a:pt x="8495606" y="1138815"/>
                </a:cubicBezTo>
                <a:cubicBezTo>
                  <a:pt x="8490015" y="1133094"/>
                  <a:pt x="8487220" y="1126167"/>
                  <a:pt x="8487220" y="1117655"/>
                </a:cubicBezTo>
                <a:cubicBezTo>
                  <a:pt x="8487220" y="1109400"/>
                  <a:pt x="8490015" y="1102338"/>
                  <a:pt x="8495606" y="1096621"/>
                </a:cubicBezTo>
                <a:cubicBezTo>
                  <a:pt x="8501197" y="1091023"/>
                  <a:pt x="8508385" y="1088096"/>
                  <a:pt x="8517438" y="1088096"/>
                </a:cubicBezTo>
                <a:close/>
                <a:moveTo>
                  <a:pt x="8299793" y="1088096"/>
                </a:moveTo>
                <a:cubicBezTo>
                  <a:pt x="8304052" y="1088096"/>
                  <a:pt x="8308046" y="1088894"/>
                  <a:pt x="8311507" y="1090626"/>
                </a:cubicBezTo>
                <a:cubicBezTo>
                  <a:pt x="8315235" y="1092224"/>
                  <a:pt x="8318296" y="1094358"/>
                  <a:pt x="8320825" y="1097017"/>
                </a:cubicBezTo>
                <a:cubicBezTo>
                  <a:pt x="8323354" y="1099551"/>
                  <a:pt x="8325484" y="1102738"/>
                  <a:pt x="8326948" y="1106339"/>
                </a:cubicBezTo>
                <a:cubicBezTo>
                  <a:pt x="8328413" y="1109929"/>
                  <a:pt x="8329212" y="1113794"/>
                  <a:pt x="8329212" y="1117780"/>
                </a:cubicBezTo>
                <a:cubicBezTo>
                  <a:pt x="8329212" y="1121908"/>
                  <a:pt x="8328413" y="1125907"/>
                  <a:pt x="8326948" y="1129494"/>
                </a:cubicBezTo>
                <a:cubicBezTo>
                  <a:pt x="8325351" y="1133094"/>
                  <a:pt x="8323354" y="1136155"/>
                  <a:pt x="8320825" y="1138815"/>
                </a:cubicBezTo>
                <a:cubicBezTo>
                  <a:pt x="8318163" y="1141478"/>
                  <a:pt x="8315101" y="1143611"/>
                  <a:pt x="8311507" y="1145076"/>
                </a:cubicBezTo>
                <a:cubicBezTo>
                  <a:pt x="8307913" y="1146541"/>
                  <a:pt x="8304052" y="1147340"/>
                  <a:pt x="8299793" y="1147340"/>
                </a:cubicBezTo>
                <a:cubicBezTo>
                  <a:pt x="8290874" y="1147340"/>
                  <a:pt x="8283553" y="1144408"/>
                  <a:pt x="8277960" y="1138815"/>
                </a:cubicBezTo>
                <a:cubicBezTo>
                  <a:pt x="8272370" y="1133094"/>
                  <a:pt x="8269574" y="1126167"/>
                  <a:pt x="8269574" y="1117655"/>
                </a:cubicBezTo>
                <a:cubicBezTo>
                  <a:pt x="8269574" y="1109400"/>
                  <a:pt x="8272370" y="1102338"/>
                  <a:pt x="8277960" y="1096621"/>
                </a:cubicBezTo>
                <a:cubicBezTo>
                  <a:pt x="8283553" y="1091023"/>
                  <a:pt x="8290741" y="1088096"/>
                  <a:pt x="8299793" y="1088096"/>
                </a:cubicBezTo>
                <a:close/>
                <a:moveTo>
                  <a:pt x="8082281" y="1088096"/>
                </a:moveTo>
                <a:cubicBezTo>
                  <a:pt x="8086407" y="1088096"/>
                  <a:pt x="8090401" y="1088894"/>
                  <a:pt x="8094127" y="1090626"/>
                </a:cubicBezTo>
                <a:cubicBezTo>
                  <a:pt x="8097855" y="1092224"/>
                  <a:pt x="8100916" y="1094358"/>
                  <a:pt x="8103446" y="1097017"/>
                </a:cubicBezTo>
                <a:cubicBezTo>
                  <a:pt x="8105975" y="1099551"/>
                  <a:pt x="8108104" y="1102738"/>
                  <a:pt x="8109569" y="1106339"/>
                </a:cubicBezTo>
                <a:cubicBezTo>
                  <a:pt x="8111033" y="1109929"/>
                  <a:pt x="8111832" y="1113794"/>
                  <a:pt x="8111832" y="1117780"/>
                </a:cubicBezTo>
                <a:cubicBezTo>
                  <a:pt x="8111832" y="1121908"/>
                  <a:pt x="8111033" y="1125907"/>
                  <a:pt x="8109569" y="1129494"/>
                </a:cubicBezTo>
                <a:cubicBezTo>
                  <a:pt x="8107972" y="1133094"/>
                  <a:pt x="8105975" y="1136155"/>
                  <a:pt x="8103446" y="1138815"/>
                </a:cubicBezTo>
                <a:cubicBezTo>
                  <a:pt x="8100783" y="1141478"/>
                  <a:pt x="8097722" y="1143611"/>
                  <a:pt x="8094127" y="1145076"/>
                </a:cubicBezTo>
                <a:cubicBezTo>
                  <a:pt x="8090401" y="1146541"/>
                  <a:pt x="8086540" y="1147340"/>
                  <a:pt x="8082281" y="1147340"/>
                </a:cubicBezTo>
                <a:cubicBezTo>
                  <a:pt x="8073361" y="1147340"/>
                  <a:pt x="8066040" y="1144408"/>
                  <a:pt x="8060448" y="1138815"/>
                </a:cubicBezTo>
                <a:cubicBezTo>
                  <a:pt x="8054857" y="1133094"/>
                  <a:pt x="8052062" y="1126167"/>
                  <a:pt x="8052062" y="1117655"/>
                </a:cubicBezTo>
                <a:cubicBezTo>
                  <a:pt x="8052062" y="1109400"/>
                  <a:pt x="8054857" y="1102338"/>
                  <a:pt x="8060448" y="1096621"/>
                </a:cubicBezTo>
                <a:cubicBezTo>
                  <a:pt x="8066040" y="1091023"/>
                  <a:pt x="8073228" y="1088096"/>
                  <a:pt x="8082281" y="1088096"/>
                </a:cubicBezTo>
                <a:close/>
                <a:moveTo>
                  <a:pt x="7864636" y="1088096"/>
                </a:moveTo>
                <a:cubicBezTo>
                  <a:pt x="7868762" y="1088096"/>
                  <a:pt x="7872756" y="1088894"/>
                  <a:pt x="7876483" y="1090626"/>
                </a:cubicBezTo>
                <a:cubicBezTo>
                  <a:pt x="7880210" y="1092224"/>
                  <a:pt x="7883272" y="1094358"/>
                  <a:pt x="7885802" y="1097017"/>
                </a:cubicBezTo>
                <a:cubicBezTo>
                  <a:pt x="7888331" y="1099551"/>
                  <a:pt x="7890460" y="1102738"/>
                  <a:pt x="7891924" y="1106339"/>
                </a:cubicBezTo>
                <a:cubicBezTo>
                  <a:pt x="7893389" y="1109929"/>
                  <a:pt x="7894188" y="1113794"/>
                  <a:pt x="7894188" y="1117780"/>
                </a:cubicBezTo>
                <a:cubicBezTo>
                  <a:pt x="7894188" y="1121908"/>
                  <a:pt x="7893389" y="1125907"/>
                  <a:pt x="7891924" y="1129494"/>
                </a:cubicBezTo>
                <a:cubicBezTo>
                  <a:pt x="7890327" y="1133094"/>
                  <a:pt x="7888331" y="1136155"/>
                  <a:pt x="7885802" y="1138815"/>
                </a:cubicBezTo>
                <a:cubicBezTo>
                  <a:pt x="7883139" y="1141478"/>
                  <a:pt x="7880078" y="1143611"/>
                  <a:pt x="7876483" y="1145076"/>
                </a:cubicBezTo>
                <a:cubicBezTo>
                  <a:pt x="7872756" y="1146541"/>
                  <a:pt x="7868895" y="1147340"/>
                  <a:pt x="7864636" y="1147340"/>
                </a:cubicBezTo>
                <a:cubicBezTo>
                  <a:pt x="7855717" y="1147340"/>
                  <a:pt x="7848396" y="1144408"/>
                  <a:pt x="7842803" y="1138815"/>
                </a:cubicBezTo>
                <a:cubicBezTo>
                  <a:pt x="7837213" y="1133094"/>
                  <a:pt x="7834417" y="1126167"/>
                  <a:pt x="7834417" y="1117655"/>
                </a:cubicBezTo>
                <a:cubicBezTo>
                  <a:pt x="7834417" y="1109400"/>
                  <a:pt x="7837213" y="1102338"/>
                  <a:pt x="7842803" y="1096621"/>
                </a:cubicBezTo>
                <a:cubicBezTo>
                  <a:pt x="7848396" y="1091023"/>
                  <a:pt x="7855584" y="1088096"/>
                  <a:pt x="7864636" y="1088096"/>
                </a:cubicBezTo>
                <a:close/>
                <a:moveTo>
                  <a:pt x="7646991" y="1088096"/>
                </a:moveTo>
                <a:cubicBezTo>
                  <a:pt x="7651250" y="1088096"/>
                  <a:pt x="7655111" y="1088894"/>
                  <a:pt x="7658705" y="1090626"/>
                </a:cubicBezTo>
                <a:cubicBezTo>
                  <a:pt x="7662432" y="1092224"/>
                  <a:pt x="7665493" y="1094358"/>
                  <a:pt x="7668022" y="1097017"/>
                </a:cubicBezTo>
                <a:cubicBezTo>
                  <a:pt x="7670552" y="1099551"/>
                  <a:pt x="7672682" y="1102738"/>
                  <a:pt x="7674146" y="1106339"/>
                </a:cubicBezTo>
                <a:cubicBezTo>
                  <a:pt x="7675610" y="1109929"/>
                  <a:pt x="7676409" y="1113794"/>
                  <a:pt x="7676409" y="1117780"/>
                </a:cubicBezTo>
                <a:cubicBezTo>
                  <a:pt x="7676409" y="1121908"/>
                  <a:pt x="7675610" y="1125907"/>
                  <a:pt x="7674146" y="1129494"/>
                </a:cubicBezTo>
                <a:cubicBezTo>
                  <a:pt x="7672549" y="1133094"/>
                  <a:pt x="7670552" y="1136155"/>
                  <a:pt x="7668022" y="1138815"/>
                </a:cubicBezTo>
                <a:cubicBezTo>
                  <a:pt x="7665361" y="1141478"/>
                  <a:pt x="7662299" y="1143611"/>
                  <a:pt x="7658705" y="1145076"/>
                </a:cubicBezTo>
                <a:cubicBezTo>
                  <a:pt x="7655111" y="1146541"/>
                  <a:pt x="7651250" y="1147340"/>
                  <a:pt x="7646991" y="1147340"/>
                </a:cubicBezTo>
                <a:cubicBezTo>
                  <a:pt x="7638071" y="1147340"/>
                  <a:pt x="7630750" y="1144408"/>
                  <a:pt x="7625158" y="1138815"/>
                </a:cubicBezTo>
                <a:cubicBezTo>
                  <a:pt x="7619568" y="1133094"/>
                  <a:pt x="7616772" y="1126167"/>
                  <a:pt x="7616772" y="1117655"/>
                </a:cubicBezTo>
                <a:cubicBezTo>
                  <a:pt x="7616772" y="1109400"/>
                  <a:pt x="7619568" y="1102338"/>
                  <a:pt x="7625158" y="1096621"/>
                </a:cubicBezTo>
                <a:cubicBezTo>
                  <a:pt x="7630750" y="1091023"/>
                  <a:pt x="7637939" y="1088096"/>
                  <a:pt x="7646991" y="1088096"/>
                </a:cubicBezTo>
                <a:close/>
                <a:moveTo>
                  <a:pt x="7429345" y="1088096"/>
                </a:moveTo>
                <a:cubicBezTo>
                  <a:pt x="7433605" y="1088096"/>
                  <a:pt x="7437466" y="1088894"/>
                  <a:pt x="7441059" y="1090626"/>
                </a:cubicBezTo>
                <a:cubicBezTo>
                  <a:pt x="7444787" y="1092224"/>
                  <a:pt x="7447848" y="1094358"/>
                  <a:pt x="7450377" y="1097017"/>
                </a:cubicBezTo>
                <a:cubicBezTo>
                  <a:pt x="7452907" y="1099551"/>
                  <a:pt x="7455036" y="1102738"/>
                  <a:pt x="7456501" y="1106339"/>
                </a:cubicBezTo>
                <a:cubicBezTo>
                  <a:pt x="7457965" y="1109929"/>
                  <a:pt x="7458764" y="1113794"/>
                  <a:pt x="7458764" y="1117780"/>
                </a:cubicBezTo>
                <a:cubicBezTo>
                  <a:pt x="7458764" y="1121908"/>
                  <a:pt x="7457965" y="1125907"/>
                  <a:pt x="7456501" y="1129494"/>
                </a:cubicBezTo>
                <a:cubicBezTo>
                  <a:pt x="7454904" y="1133094"/>
                  <a:pt x="7452907" y="1136155"/>
                  <a:pt x="7450377" y="1138815"/>
                </a:cubicBezTo>
                <a:cubicBezTo>
                  <a:pt x="7447715" y="1141478"/>
                  <a:pt x="7444654" y="1143611"/>
                  <a:pt x="7441059" y="1145076"/>
                </a:cubicBezTo>
                <a:cubicBezTo>
                  <a:pt x="7437466" y="1146541"/>
                  <a:pt x="7433605" y="1147340"/>
                  <a:pt x="7429345" y="1147340"/>
                </a:cubicBezTo>
                <a:cubicBezTo>
                  <a:pt x="7420426" y="1147340"/>
                  <a:pt x="7413105" y="1144408"/>
                  <a:pt x="7407513" y="1138815"/>
                </a:cubicBezTo>
                <a:cubicBezTo>
                  <a:pt x="7401922" y="1133094"/>
                  <a:pt x="7399127" y="1126167"/>
                  <a:pt x="7399127" y="1117655"/>
                </a:cubicBezTo>
                <a:cubicBezTo>
                  <a:pt x="7399127" y="1109400"/>
                  <a:pt x="7401922" y="1102338"/>
                  <a:pt x="7407513" y="1096621"/>
                </a:cubicBezTo>
                <a:cubicBezTo>
                  <a:pt x="7413105" y="1091023"/>
                  <a:pt x="7420293" y="1088096"/>
                  <a:pt x="7429345" y="1088096"/>
                </a:cubicBezTo>
                <a:close/>
                <a:moveTo>
                  <a:pt x="7211701" y="1088096"/>
                </a:moveTo>
                <a:cubicBezTo>
                  <a:pt x="7215960" y="1088096"/>
                  <a:pt x="7219954" y="1088894"/>
                  <a:pt x="7223415" y="1090626"/>
                </a:cubicBezTo>
                <a:cubicBezTo>
                  <a:pt x="7227142" y="1092224"/>
                  <a:pt x="7230204" y="1094358"/>
                  <a:pt x="7232733" y="1097017"/>
                </a:cubicBezTo>
                <a:cubicBezTo>
                  <a:pt x="7235262" y="1099551"/>
                  <a:pt x="7237392" y="1102738"/>
                  <a:pt x="7238856" y="1106339"/>
                </a:cubicBezTo>
                <a:cubicBezTo>
                  <a:pt x="7240321" y="1109929"/>
                  <a:pt x="7241120" y="1113794"/>
                  <a:pt x="7241120" y="1117780"/>
                </a:cubicBezTo>
                <a:cubicBezTo>
                  <a:pt x="7241120" y="1121908"/>
                  <a:pt x="7240321" y="1125907"/>
                  <a:pt x="7238856" y="1129494"/>
                </a:cubicBezTo>
                <a:cubicBezTo>
                  <a:pt x="7237259" y="1133094"/>
                  <a:pt x="7235262" y="1136155"/>
                  <a:pt x="7232733" y="1138815"/>
                </a:cubicBezTo>
                <a:cubicBezTo>
                  <a:pt x="7230071" y="1141478"/>
                  <a:pt x="7227009" y="1143611"/>
                  <a:pt x="7223415" y="1145076"/>
                </a:cubicBezTo>
                <a:cubicBezTo>
                  <a:pt x="7219821" y="1146541"/>
                  <a:pt x="7215960" y="1147340"/>
                  <a:pt x="7211701" y="1147340"/>
                </a:cubicBezTo>
                <a:cubicBezTo>
                  <a:pt x="7202782" y="1147340"/>
                  <a:pt x="7195460" y="1144408"/>
                  <a:pt x="7189868" y="1138815"/>
                </a:cubicBezTo>
                <a:cubicBezTo>
                  <a:pt x="7184278" y="1133094"/>
                  <a:pt x="7181482" y="1126167"/>
                  <a:pt x="7181482" y="1117655"/>
                </a:cubicBezTo>
                <a:cubicBezTo>
                  <a:pt x="7181482" y="1109400"/>
                  <a:pt x="7184278" y="1102338"/>
                  <a:pt x="7189868" y="1096621"/>
                </a:cubicBezTo>
                <a:cubicBezTo>
                  <a:pt x="7195460" y="1091023"/>
                  <a:pt x="7202649" y="1088096"/>
                  <a:pt x="7211701" y="1088096"/>
                </a:cubicBezTo>
                <a:close/>
                <a:moveTo>
                  <a:pt x="6994056" y="1088096"/>
                </a:moveTo>
                <a:cubicBezTo>
                  <a:pt x="6998315" y="1088096"/>
                  <a:pt x="7002309" y="1088894"/>
                  <a:pt x="7005769" y="1090626"/>
                </a:cubicBezTo>
                <a:cubicBezTo>
                  <a:pt x="7009497" y="1092224"/>
                  <a:pt x="7012558" y="1094358"/>
                  <a:pt x="7015087" y="1097017"/>
                </a:cubicBezTo>
                <a:cubicBezTo>
                  <a:pt x="7017617" y="1099551"/>
                  <a:pt x="7019747" y="1102738"/>
                  <a:pt x="7021211" y="1106339"/>
                </a:cubicBezTo>
                <a:cubicBezTo>
                  <a:pt x="7022675" y="1109929"/>
                  <a:pt x="7023474" y="1113794"/>
                  <a:pt x="7023474" y="1117780"/>
                </a:cubicBezTo>
                <a:cubicBezTo>
                  <a:pt x="7023474" y="1121908"/>
                  <a:pt x="7022675" y="1125907"/>
                  <a:pt x="7021211" y="1129494"/>
                </a:cubicBezTo>
                <a:cubicBezTo>
                  <a:pt x="7019614" y="1133094"/>
                  <a:pt x="7017617" y="1136155"/>
                  <a:pt x="7015087" y="1138815"/>
                </a:cubicBezTo>
                <a:cubicBezTo>
                  <a:pt x="7012425" y="1141478"/>
                  <a:pt x="7009364" y="1143611"/>
                  <a:pt x="7005769" y="1145076"/>
                </a:cubicBezTo>
                <a:cubicBezTo>
                  <a:pt x="7002176" y="1146541"/>
                  <a:pt x="6998315" y="1147340"/>
                  <a:pt x="6994056" y="1147340"/>
                </a:cubicBezTo>
                <a:cubicBezTo>
                  <a:pt x="6985136" y="1147340"/>
                  <a:pt x="6977815" y="1144408"/>
                  <a:pt x="6972223" y="1138815"/>
                </a:cubicBezTo>
                <a:cubicBezTo>
                  <a:pt x="6966632" y="1133094"/>
                  <a:pt x="6963837" y="1126167"/>
                  <a:pt x="6963837" y="1117655"/>
                </a:cubicBezTo>
                <a:cubicBezTo>
                  <a:pt x="6963837" y="1109400"/>
                  <a:pt x="6966632" y="1102338"/>
                  <a:pt x="6972223" y="1096621"/>
                </a:cubicBezTo>
                <a:cubicBezTo>
                  <a:pt x="6977815" y="1091023"/>
                  <a:pt x="6985003" y="1088096"/>
                  <a:pt x="6994056" y="1088096"/>
                </a:cubicBezTo>
                <a:close/>
                <a:moveTo>
                  <a:pt x="6776544" y="1088096"/>
                </a:moveTo>
                <a:cubicBezTo>
                  <a:pt x="6780670" y="1088096"/>
                  <a:pt x="6784664" y="1088894"/>
                  <a:pt x="6788258" y="1090626"/>
                </a:cubicBezTo>
                <a:cubicBezTo>
                  <a:pt x="6791985" y="1092224"/>
                  <a:pt x="6795047" y="1094358"/>
                  <a:pt x="6797576" y="1097017"/>
                </a:cubicBezTo>
                <a:cubicBezTo>
                  <a:pt x="6800105" y="1099551"/>
                  <a:pt x="6802235" y="1102738"/>
                  <a:pt x="6803699" y="1106339"/>
                </a:cubicBezTo>
                <a:cubicBezTo>
                  <a:pt x="6805164" y="1109929"/>
                  <a:pt x="6805963" y="1113794"/>
                  <a:pt x="6805963" y="1117780"/>
                </a:cubicBezTo>
                <a:cubicBezTo>
                  <a:pt x="6805963" y="1121908"/>
                  <a:pt x="6805164" y="1125907"/>
                  <a:pt x="6803699" y="1129494"/>
                </a:cubicBezTo>
                <a:cubicBezTo>
                  <a:pt x="6802102" y="1133094"/>
                  <a:pt x="6800105" y="1136155"/>
                  <a:pt x="6797576" y="1138815"/>
                </a:cubicBezTo>
                <a:cubicBezTo>
                  <a:pt x="6794914" y="1141478"/>
                  <a:pt x="6791852" y="1143611"/>
                  <a:pt x="6788258" y="1145076"/>
                </a:cubicBezTo>
                <a:cubicBezTo>
                  <a:pt x="6784664" y="1146541"/>
                  <a:pt x="6780803" y="1147340"/>
                  <a:pt x="6776544" y="1147340"/>
                </a:cubicBezTo>
                <a:cubicBezTo>
                  <a:pt x="6767625" y="1147340"/>
                  <a:pt x="6760303" y="1144408"/>
                  <a:pt x="6754711" y="1138815"/>
                </a:cubicBezTo>
                <a:cubicBezTo>
                  <a:pt x="6749121" y="1133094"/>
                  <a:pt x="6746325" y="1126167"/>
                  <a:pt x="6746325" y="1117655"/>
                </a:cubicBezTo>
                <a:cubicBezTo>
                  <a:pt x="6746325" y="1109400"/>
                  <a:pt x="6749121" y="1102338"/>
                  <a:pt x="6754711" y="1096621"/>
                </a:cubicBezTo>
                <a:cubicBezTo>
                  <a:pt x="6760303" y="1091023"/>
                  <a:pt x="6767492" y="1088096"/>
                  <a:pt x="6776544" y="1088096"/>
                </a:cubicBezTo>
                <a:close/>
                <a:moveTo>
                  <a:pt x="6558899" y="1088096"/>
                </a:moveTo>
                <a:cubicBezTo>
                  <a:pt x="6563158" y="1088096"/>
                  <a:pt x="6567019" y="1088894"/>
                  <a:pt x="6570612" y="1090626"/>
                </a:cubicBezTo>
                <a:cubicBezTo>
                  <a:pt x="6574340" y="1092224"/>
                  <a:pt x="6577401" y="1094358"/>
                  <a:pt x="6579930" y="1097017"/>
                </a:cubicBezTo>
                <a:cubicBezTo>
                  <a:pt x="6582460" y="1099551"/>
                  <a:pt x="6584590" y="1102738"/>
                  <a:pt x="6586054" y="1106339"/>
                </a:cubicBezTo>
                <a:cubicBezTo>
                  <a:pt x="6587518" y="1109929"/>
                  <a:pt x="6588317" y="1113794"/>
                  <a:pt x="6588317" y="1117780"/>
                </a:cubicBezTo>
                <a:cubicBezTo>
                  <a:pt x="6588317" y="1121908"/>
                  <a:pt x="6587518" y="1125907"/>
                  <a:pt x="6586054" y="1129494"/>
                </a:cubicBezTo>
                <a:cubicBezTo>
                  <a:pt x="6584457" y="1133094"/>
                  <a:pt x="6582460" y="1136155"/>
                  <a:pt x="6579930" y="1138815"/>
                </a:cubicBezTo>
                <a:cubicBezTo>
                  <a:pt x="6577268" y="1141478"/>
                  <a:pt x="6574207" y="1143611"/>
                  <a:pt x="6570612" y="1145076"/>
                </a:cubicBezTo>
                <a:cubicBezTo>
                  <a:pt x="6567019" y="1146541"/>
                  <a:pt x="6563158" y="1147340"/>
                  <a:pt x="6558899" y="1147340"/>
                </a:cubicBezTo>
                <a:cubicBezTo>
                  <a:pt x="6549979" y="1147340"/>
                  <a:pt x="6542658" y="1144408"/>
                  <a:pt x="6537066" y="1138815"/>
                </a:cubicBezTo>
                <a:cubicBezTo>
                  <a:pt x="6531476" y="1133094"/>
                  <a:pt x="6528680" y="1126167"/>
                  <a:pt x="6528680" y="1117655"/>
                </a:cubicBezTo>
                <a:cubicBezTo>
                  <a:pt x="6528680" y="1109400"/>
                  <a:pt x="6531476" y="1102338"/>
                  <a:pt x="6537066" y="1096621"/>
                </a:cubicBezTo>
                <a:cubicBezTo>
                  <a:pt x="6542658" y="1091023"/>
                  <a:pt x="6549846" y="1088096"/>
                  <a:pt x="6558899" y="1088096"/>
                </a:cubicBezTo>
                <a:close/>
                <a:moveTo>
                  <a:pt x="6341253" y="1088096"/>
                </a:moveTo>
                <a:cubicBezTo>
                  <a:pt x="6345513" y="1088096"/>
                  <a:pt x="6349373" y="1088894"/>
                  <a:pt x="6352968" y="1090626"/>
                </a:cubicBezTo>
                <a:cubicBezTo>
                  <a:pt x="6356695" y="1092224"/>
                  <a:pt x="6359757" y="1094358"/>
                  <a:pt x="6362286" y="1097017"/>
                </a:cubicBezTo>
                <a:cubicBezTo>
                  <a:pt x="6364815" y="1099551"/>
                  <a:pt x="6366945" y="1102738"/>
                  <a:pt x="6368409" y="1106339"/>
                </a:cubicBezTo>
                <a:cubicBezTo>
                  <a:pt x="6369874" y="1109929"/>
                  <a:pt x="6370672" y="1113794"/>
                  <a:pt x="6370672" y="1117780"/>
                </a:cubicBezTo>
                <a:cubicBezTo>
                  <a:pt x="6370672" y="1121908"/>
                  <a:pt x="6369874" y="1125907"/>
                  <a:pt x="6368409" y="1129494"/>
                </a:cubicBezTo>
                <a:cubicBezTo>
                  <a:pt x="6366811" y="1133094"/>
                  <a:pt x="6364815" y="1136155"/>
                  <a:pt x="6362286" y="1138815"/>
                </a:cubicBezTo>
                <a:cubicBezTo>
                  <a:pt x="6359623" y="1141478"/>
                  <a:pt x="6356562" y="1143611"/>
                  <a:pt x="6352968" y="1145076"/>
                </a:cubicBezTo>
                <a:cubicBezTo>
                  <a:pt x="6349373" y="1146541"/>
                  <a:pt x="6345513" y="1147340"/>
                  <a:pt x="6341253" y="1147340"/>
                </a:cubicBezTo>
                <a:cubicBezTo>
                  <a:pt x="6332335" y="1147340"/>
                  <a:pt x="6325013" y="1144408"/>
                  <a:pt x="6319421" y="1138815"/>
                </a:cubicBezTo>
                <a:cubicBezTo>
                  <a:pt x="6313830" y="1133094"/>
                  <a:pt x="6311035" y="1126167"/>
                  <a:pt x="6311035" y="1117655"/>
                </a:cubicBezTo>
                <a:cubicBezTo>
                  <a:pt x="6311035" y="1109400"/>
                  <a:pt x="6313830" y="1102338"/>
                  <a:pt x="6319421" y="1096621"/>
                </a:cubicBezTo>
                <a:cubicBezTo>
                  <a:pt x="6325013" y="1091023"/>
                  <a:pt x="6332201" y="1088096"/>
                  <a:pt x="6341253" y="1088096"/>
                </a:cubicBezTo>
                <a:close/>
                <a:moveTo>
                  <a:pt x="6123608" y="1088096"/>
                </a:moveTo>
                <a:cubicBezTo>
                  <a:pt x="6127867" y="1088096"/>
                  <a:pt x="6131728" y="1088894"/>
                  <a:pt x="6135322" y="1090626"/>
                </a:cubicBezTo>
                <a:cubicBezTo>
                  <a:pt x="6139049" y="1092224"/>
                  <a:pt x="6142111" y="1094358"/>
                  <a:pt x="6144640" y="1097017"/>
                </a:cubicBezTo>
                <a:cubicBezTo>
                  <a:pt x="6147169" y="1099551"/>
                  <a:pt x="6149299" y="1102738"/>
                  <a:pt x="6150763" y="1106339"/>
                </a:cubicBezTo>
                <a:cubicBezTo>
                  <a:pt x="6152228" y="1109929"/>
                  <a:pt x="6153026" y="1113794"/>
                  <a:pt x="6153026" y="1117780"/>
                </a:cubicBezTo>
                <a:cubicBezTo>
                  <a:pt x="6153026" y="1121908"/>
                  <a:pt x="6152228" y="1125907"/>
                  <a:pt x="6150763" y="1129494"/>
                </a:cubicBezTo>
                <a:cubicBezTo>
                  <a:pt x="6149299" y="1133094"/>
                  <a:pt x="6147169" y="1136155"/>
                  <a:pt x="6144640" y="1138815"/>
                </a:cubicBezTo>
                <a:cubicBezTo>
                  <a:pt x="6141977" y="1141478"/>
                  <a:pt x="6138916" y="1143611"/>
                  <a:pt x="6135322" y="1145076"/>
                </a:cubicBezTo>
                <a:cubicBezTo>
                  <a:pt x="6131728" y="1146541"/>
                  <a:pt x="6127867" y="1147340"/>
                  <a:pt x="6123608" y="1147340"/>
                </a:cubicBezTo>
                <a:cubicBezTo>
                  <a:pt x="6114689" y="1147340"/>
                  <a:pt x="6107367" y="1144408"/>
                  <a:pt x="6101775" y="1138815"/>
                </a:cubicBezTo>
                <a:cubicBezTo>
                  <a:pt x="6096184" y="1133094"/>
                  <a:pt x="6093389" y="1126167"/>
                  <a:pt x="6093389" y="1117655"/>
                </a:cubicBezTo>
                <a:cubicBezTo>
                  <a:pt x="6093389" y="1109400"/>
                  <a:pt x="6096184" y="1102338"/>
                  <a:pt x="6101775" y="1096621"/>
                </a:cubicBezTo>
                <a:cubicBezTo>
                  <a:pt x="6107367" y="1091023"/>
                  <a:pt x="6114555" y="1088096"/>
                  <a:pt x="6123608" y="1088096"/>
                </a:cubicBezTo>
                <a:close/>
                <a:moveTo>
                  <a:pt x="5905963" y="1088096"/>
                </a:moveTo>
                <a:cubicBezTo>
                  <a:pt x="5910222" y="1088096"/>
                  <a:pt x="5914216" y="1088894"/>
                  <a:pt x="5917677" y="1090626"/>
                </a:cubicBezTo>
                <a:cubicBezTo>
                  <a:pt x="5921404" y="1092224"/>
                  <a:pt x="5924466" y="1094358"/>
                  <a:pt x="5926995" y="1097017"/>
                </a:cubicBezTo>
                <a:cubicBezTo>
                  <a:pt x="5929524" y="1099551"/>
                  <a:pt x="5931654" y="1102738"/>
                  <a:pt x="5933118" y="1106339"/>
                </a:cubicBezTo>
                <a:cubicBezTo>
                  <a:pt x="5934583" y="1109929"/>
                  <a:pt x="5935381" y="1113794"/>
                  <a:pt x="5935381" y="1117780"/>
                </a:cubicBezTo>
                <a:cubicBezTo>
                  <a:pt x="5935381" y="1121908"/>
                  <a:pt x="5934583" y="1125907"/>
                  <a:pt x="5933118" y="1129494"/>
                </a:cubicBezTo>
                <a:cubicBezTo>
                  <a:pt x="5931654" y="1133094"/>
                  <a:pt x="5929524" y="1136155"/>
                  <a:pt x="5926995" y="1138815"/>
                </a:cubicBezTo>
                <a:cubicBezTo>
                  <a:pt x="5924333" y="1141478"/>
                  <a:pt x="5921271" y="1143611"/>
                  <a:pt x="5917677" y="1145076"/>
                </a:cubicBezTo>
                <a:cubicBezTo>
                  <a:pt x="5914083" y="1146541"/>
                  <a:pt x="5910222" y="1147340"/>
                  <a:pt x="5905963" y="1147340"/>
                </a:cubicBezTo>
                <a:cubicBezTo>
                  <a:pt x="5897044" y="1147340"/>
                  <a:pt x="5889722" y="1144408"/>
                  <a:pt x="5884130" y="1138815"/>
                </a:cubicBezTo>
                <a:cubicBezTo>
                  <a:pt x="5878540" y="1133094"/>
                  <a:pt x="5875744" y="1126167"/>
                  <a:pt x="5875744" y="1117655"/>
                </a:cubicBezTo>
                <a:cubicBezTo>
                  <a:pt x="5875744" y="1109400"/>
                  <a:pt x="5878540" y="1102338"/>
                  <a:pt x="5884130" y="1096621"/>
                </a:cubicBezTo>
                <a:cubicBezTo>
                  <a:pt x="5889722" y="1091023"/>
                  <a:pt x="5896910" y="1088096"/>
                  <a:pt x="5905963" y="1088096"/>
                </a:cubicBezTo>
                <a:close/>
                <a:moveTo>
                  <a:pt x="5688451" y="1088096"/>
                </a:moveTo>
                <a:cubicBezTo>
                  <a:pt x="5692577" y="1088096"/>
                  <a:pt x="5696571" y="1088894"/>
                  <a:pt x="5700165" y="1090626"/>
                </a:cubicBezTo>
                <a:cubicBezTo>
                  <a:pt x="5703892" y="1092224"/>
                  <a:pt x="5706954" y="1094358"/>
                  <a:pt x="5709483" y="1097017"/>
                </a:cubicBezTo>
                <a:cubicBezTo>
                  <a:pt x="5712012" y="1099551"/>
                  <a:pt x="5714142" y="1102738"/>
                  <a:pt x="5715606" y="1106339"/>
                </a:cubicBezTo>
                <a:cubicBezTo>
                  <a:pt x="5717071" y="1109929"/>
                  <a:pt x="5717869" y="1113794"/>
                  <a:pt x="5717869" y="1117780"/>
                </a:cubicBezTo>
                <a:cubicBezTo>
                  <a:pt x="5717869" y="1121908"/>
                  <a:pt x="5717071" y="1125907"/>
                  <a:pt x="5715606" y="1129494"/>
                </a:cubicBezTo>
                <a:cubicBezTo>
                  <a:pt x="5714142" y="1133094"/>
                  <a:pt x="5712012" y="1136155"/>
                  <a:pt x="5709483" y="1138815"/>
                </a:cubicBezTo>
                <a:cubicBezTo>
                  <a:pt x="5706820" y="1141478"/>
                  <a:pt x="5703759" y="1143611"/>
                  <a:pt x="5700165" y="1145076"/>
                </a:cubicBezTo>
                <a:cubicBezTo>
                  <a:pt x="5696571" y="1146541"/>
                  <a:pt x="5692710" y="1147340"/>
                  <a:pt x="5688451" y="1147340"/>
                </a:cubicBezTo>
                <a:cubicBezTo>
                  <a:pt x="5679532" y="1147340"/>
                  <a:pt x="5672210" y="1144408"/>
                  <a:pt x="5666618" y="1138815"/>
                </a:cubicBezTo>
                <a:cubicBezTo>
                  <a:pt x="5661028" y="1133094"/>
                  <a:pt x="5658232" y="1126167"/>
                  <a:pt x="5658232" y="1117655"/>
                </a:cubicBezTo>
                <a:cubicBezTo>
                  <a:pt x="5658232" y="1109400"/>
                  <a:pt x="5661028" y="1102338"/>
                  <a:pt x="5666618" y="1096621"/>
                </a:cubicBezTo>
                <a:cubicBezTo>
                  <a:pt x="5672210" y="1091023"/>
                  <a:pt x="5679398" y="1088096"/>
                  <a:pt x="5688451" y="1088096"/>
                </a:cubicBezTo>
                <a:close/>
                <a:moveTo>
                  <a:pt x="5470806" y="1088096"/>
                </a:moveTo>
                <a:cubicBezTo>
                  <a:pt x="5475065" y="1088096"/>
                  <a:pt x="5478926" y="1088894"/>
                  <a:pt x="5482520" y="1090626"/>
                </a:cubicBezTo>
                <a:cubicBezTo>
                  <a:pt x="5486247" y="1092224"/>
                  <a:pt x="5489309" y="1094358"/>
                  <a:pt x="5491838" y="1097017"/>
                </a:cubicBezTo>
                <a:cubicBezTo>
                  <a:pt x="5494367" y="1099551"/>
                  <a:pt x="5496497" y="1102738"/>
                  <a:pt x="5497961" y="1106339"/>
                </a:cubicBezTo>
                <a:cubicBezTo>
                  <a:pt x="5499426" y="1109929"/>
                  <a:pt x="5500224" y="1113794"/>
                  <a:pt x="5500224" y="1117780"/>
                </a:cubicBezTo>
                <a:cubicBezTo>
                  <a:pt x="5500224" y="1121908"/>
                  <a:pt x="5499426" y="1125907"/>
                  <a:pt x="5497961" y="1129494"/>
                </a:cubicBezTo>
                <a:cubicBezTo>
                  <a:pt x="5496497" y="1133094"/>
                  <a:pt x="5494367" y="1136155"/>
                  <a:pt x="5491838" y="1138815"/>
                </a:cubicBezTo>
                <a:cubicBezTo>
                  <a:pt x="5489176" y="1141478"/>
                  <a:pt x="5486114" y="1143611"/>
                  <a:pt x="5482520" y="1145076"/>
                </a:cubicBezTo>
                <a:cubicBezTo>
                  <a:pt x="5478926" y="1146541"/>
                  <a:pt x="5475065" y="1147340"/>
                  <a:pt x="5470806" y="1147340"/>
                </a:cubicBezTo>
                <a:cubicBezTo>
                  <a:pt x="5461887" y="1147340"/>
                  <a:pt x="5454565" y="1144408"/>
                  <a:pt x="5448973" y="1138815"/>
                </a:cubicBezTo>
                <a:cubicBezTo>
                  <a:pt x="5443383" y="1133094"/>
                  <a:pt x="5440587" y="1126167"/>
                  <a:pt x="5440587" y="1117655"/>
                </a:cubicBezTo>
                <a:cubicBezTo>
                  <a:pt x="5440587" y="1109400"/>
                  <a:pt x="5443383" y="1102338"/>
                  <a:pt x="5448973" y="1096621"/>
                </a:cubicBezTo>
                <a:cubicBezTo>
                  <a:pt x="5454565" y="1091023"/>
                  <a:pt x="5461754" y="1088096"/>
                  <a:pt x="5470806" y="1088096"/>
                </a:cubicBezTo>
                <a:close/>
                <a:moveTo>
                  <a:pt x="5253160" y="1088096"/>
                </a:moveTo>
                <a:cubicBezTo>
                  <a:pt x="5257420" y="1088096"/>
                  <a:pt x="5261280" y="1088894"/>
                  <a:pt x="5264875" y="1090626"/>
                </a:cubicBezTo>
                <a:cubicBezTo>
                  <a:pt x="5268602" y="1092224"/>
                  <a:pt x="5271664" y="1094358"/>
                  <a:pt x="5274192" y="1097017"/>
                </a:cubicBezTo>
                <a:cubicBezTo>
                  <a:pt x="5276722" y="1099551"/>
                  <a:pt x="5278852" y="1102738"/>
                  <a:pt x="5280316" y="1106339"/>
                </a:cubicBezTo>
                <a:cubicBezTo>
                  <a:pt x="5281780" y="1109929"/>
                  <a:pt x="5282579" y="1113794"/>
                  <a:pt x="5282579" y="1117780"/>
                </a:cubicBezTo>
                <a:cubicBezTo>
                  <a:pt x="5282579" y="1121908"/>
                  <a:pt x="5281780" y="1125907"/>
                  <a:pt x="5280316" y="1129494"/>
                </a:cubicBezTo>
                <a:cubicBezTo>
                  <a:pt x="5278852" y="1133094"/>
                  <a:pt x="5276722" y="1136155"/>
                  <a:pt x="5274192" y="1138815"/>
                </a:cubicBezTo>
                <a:cubicBezTo>
                  <a:pt x="5271664" y="1141478"/>
                  <a:pt x="5268469" y="1143611"/>
                  <a:pt x="5264875" y="1145076"/>
                </a:cubicBezTo>
                <a:cubicBezTo>
                  <a:pt x="5261280" y="1146541"/>
                  <a:pt x="5257420" y="1147340"/>
                  <a:pt x="5253160" y="1147340"/>
                </a:cubicBezTo>
                <a:cubicBezTo>
                  <a:pt x="5244241" y="1147340"/>
                  <a:pt x="5236920" y="1144408"/>
                  <a:pt x="5231328" y="1138815"/>
                </a:cubicBezTo>
                <a:cubicBezTo>
                  <a:pt x="5225737" y="1133094"/>
                  <a:pt x="5222942" y="1126167"/>
                  <a:pt x="5222942" y="1117655"/>
                </a:cubicBezTo>
                <a:cubicBezTo>
                  <a:pt x="5222942" y="1109400"/>
                  <a:pt x="5225737" y="1102338"/>
                  <a:pt x="5231328" y="1096621"/>
                </a:cubicBezTo>
                <a:cubicBezTo>
                  <a:pt x="5236920" y="1091023"/>
                  <a:pt x="5244108" y="1088096"/>
                  <a:pt x="5253160" y="1088096"/>
                </a:cubicBezTo>
                <a:close/>
                <a:moveTo>
                  <a:pt x="5035515" y="1088096"/>
                </a:moveTo>
                <a:cubicBezTo>
                  <a:pt x="5039775" y="1088096"/>
                  <a:pt x="5043636" y="1088894"/>
                  <a:pt x="5047230" y="1090626"/>
                </a:cubicBezTo>
                <a:cubicBezTo>
                  <a:pt x="5050957" y="1092224"/>
                  <a:pt x="5054019" y="1094358"/>
                  <a:pt x="5056548" y="1097017"/>
                </a:cubicBezTo>
                <a:cubicBezTo>
                  <a:pt x="5059077" y="1099551"/>
                  <a:pt x="5061207" y="1102738"/>
                  <a:pt x="5062671" y="1106339"/>
                </a:cubicBezTo>
                <a:cubicBezTo>
                  <a:pt x="5064135" y="1109929"/>
                  <a:pt x="5064934" y="1113794"/>
                  <a:pt x="5064934" y="1117780"/>
                </a:cubicBezTo>
                <a:cubicBezTo>
                  <a:pt x="5064934" y="1121908"/>
                  <a:pt x="5064135" y="1125907"/>
                  <a:pt x="5062671" y="1129494"/>
                </a:cubicBezTo>
                <a:cubicBezTo>
                  <a:pt x="5061207" y="1133094"/>
                  <a:pt x="5059077" y="1136155"/>
                  <a:pt x="5056548" y="1138815"/>
                </a:cubicBezTo>
                <a:cubicBezTo>
                  <a:pt x="5053885" y="1141478"/>
                  <a:pt x="5050824" y="1143611"/>
                  <a:pt x="5047230" y="1145076"/>
                </a:cubicBezTo>
                <a:cubicBezTo>
                  <a:pt x="5043636" y="1146541"/>
                  <a:pt x="5039775" y="1147340"/>
                  <a:pt x="5035515" y="1147340"/>
                </a:cubicBezTo>
                <a:cubicBezTo>
                  <a:pt x="5026597" y="1147340"/>
                  <a:pt x="5019275" y="1144408"/>
                  <a:pt x="5013683" y="1138815"/>
                </a:cubicBezTo>
                <a:cubicBezTo>
                  <a:pt x="5008092" y="1133094"/>
                  <a:pt x="5005297" y="1126167"/>
                  <a:pt x="5005297" y="1117655"/>
                </a:cubicBezTo>
                <a:cubicBezTo>
                  <a:pt x="5005297" y="1109400"/>
                  <a:pt x="5008092" y="1102338"/>
                  <a:pt x="5013683" y="1096621"/>
                </a:cubicBezTo>
                <a:cubicBezTo>
                  <a:pt x="5019275" y="1091023"/>
                  <a:pt x="5026463" y="1088096"/>
                  <a:pt x="5035515" y="1088096"/>
                </a:cubicBezTo>
                <a:close/>
                <a:moveTo>
                  <a:pt x="4817870" y="1088096"/>
                </a:moveTo>
                <a:cubicBezTo>
                  <a:pt x="4822130" y="1088096"/>
                  <a:pt x="4826124" y="1088894"/>
                  <a:pt x="4829585" y="1090626"/>
                </a:cubicBezTo>
                <a:cubicBezTo>
                  <a:pt x="4833312" y="1092224"/>
                  <a:pt x="4836374" y="1094358"/>
                  <a:pt x="4838903" y="1097017"/>
                </a:cubicBezTo>
                <a:cubicBezTo>
                  <a:pt x="4841432" y="1099551"/>
                  <a:pt x="4843562" y="1102738"/>
                  <a:pt x="4845026" y="1106339"/>
                </a:cubicBezTo>
                <a:cubicBezTo>
                  <a:pt x="4846491" y="1109929"/>
                  <a:pt x="4847289" y="1113794"/>
                  <a:pt x="4847289" y="1117780"/>
                </a:cubicBezTo>
                <a:cubicBezTo>
                  <a:pt x="4847289" y="1121908"/>
                  <a:pt x="4846491" y="1125907"/>
                  <a:pt x="4845026" y="1129494"/>
                </a:cubicBezTo>
                <a:cubicBezTo>
                  <a:pt x="4843562" y="1133094"/>
                  <a:pt x="4841432" y="1136155"/>
                  <a:pt x="4838903" y="1138815"/>
                </a:cubicBezTo>
                <a:cubicBezTo>
                  <a:pt x="4836240" y="1141478"/>
                  <a:pt x="4833179" y="1143611"/>
                  <a:pt x="4829585" y="1145076"/>
                </a:cubicBezTo>
                <a:cubicBezTo>
                  <a:pt x="4825991" y="1146541"/>
                  <a:pt x="4822130" y="1147340"/>
                  <a:pt x="4817870" y="1147340"/>
                </a:cubicBezTo>
                <a:cubicBezTo>
                  <a:pt x="4808952" y="1147340"/>
                  <a:pt x="4801630" y="1144408"/>
                  <a:pt x="4796038" y="1138815"/>
                </a:cubicBezTo>
                <a:cubicBezTo>
                  <a:pt x="4790447" y="1133094"/>
                  <a:pt x="4787652" y="1126167"/>
                  <a:pt x="4787652" y="1117655"/>
                </a:cubicBezTo>
                <a:cubicBezTo>
                  <a:pt x="4787652" y="1109400"/>
                  <a:pt x="4790447" y="1102338"/>
                  <a:pt x="4796038" y="1096621"/>
                </a:cubicBezTo>
                <a:cubicBezTo>
                  <a:pt x="4801630" y="1091023"/>
                  <a:pt x="4808818" y="1088096"/>
                  <a:pt x="4817870" y="1088096"/>
                </a:cubicBezTo>
                <a:close/>
                <a:moveTo>
                  <a:pt x="4600226" y="1088096"/>
                </a:moveTo>
                <a:cubicBezTo>
                  <a:pt x="4604485" y="1088096"/>
                  <a:pt x="4608479" y="1088894"/>
                  <a:pt x="4612073" y="1090626"/>
                </a:cubicBezTo>
                <a:cubicBezTo>
                  <a:pt x="4615800" y="1092224"/>
                  <a:pt x="4618862" y="1094358"/>
                  <a:pt x="4621391" y="1097017"/>
                </a:cubicBezTo>
                <a:cubicBezTo>
                  <a:pt x="4623920" y="1099551"/>
                  <a:pt x="4626050" y="1102738"/>
                  <a:pt x="4627514" y="1106339"/>
                </a:cubicBezTo>
                <a:cubicBezTo>
                  <a:pt x="4628978" y="1109929"/>
                  <a:pt x="4629777" y="1113794"/>
                  <a:pt x="4629777" y="1117780"/>
                </a:cubicBezTo>
                <a:cubicBezTo>
                  <a:pt x="4629777" y="1121908"/>
                  <a:pt x="4628978" y="1125907"/>
                  <a:pt x="4627514" y="1129494"/>
                </a:cubicBezTo>
                <a:cubicBezTo>
                  <a:pt x="4626050" y="1133094"/>
                  <a:pt x="4623920" y="1136155"/>
                  <a:pt x="4621391" y="1138815"/>
                </a:cubicBezTo>
                <a:cubicBezTo>
                  <a:pt x="4618729" y="1141478"/>
                  <a:pt x="4615667" y="1143611"/>
                  <a:pt x="4612073" y="1145076"/>
                </a:cubicBezTo>
                <a:cubicBezTo>
                  <a:pt x="4608346" y="1146541"/>
                  <a:pt x="4604485" y="1147340"/>
                  <a:pt x="4600226" y="1147340"/>
                </a:cubicBezTo>
                <a:cubicBezTo>
                  <a:pt x="4591173" y="1147340"/>
                  <a:pt x="4583985" y="1144408"/>
                  <a:pt x="4578393" y="1138815"/>
                </a:cubicBezTo>
                <a:cubicBezTo>
                  <a:pt x="4572803" y="1133094"/>
                  <a:pt x="4570007" y="1126167"/>
                  <a:pt x="4570007" y="1117655"/>
                </a:cubicBezTo>
                <a:cubicBezTo>
                  <a:pt x="4570007" y="1109400"/>
                  <a:pt x="4572803" y="1102338"/>
                  <a:pt x="4578393" y="1096621"/>
                </a:cubicBezTo>
                <a:cubicBezTo>
                  <a:pt x="4583985" y="1091023"/>
                  <a:pt x="4591173" y="1088096"/>
                  <a:pt x="4600226" y="1088096"/>
                </a:cubicBezTo>
                <a:close/>
                <a:moveTo>
                  <a:pt x="4382713" y="1088096"/>
                </a:moveTo>
                <a:cubicBezTo>
                  <a:pt x="4386840" y="1088096"/>
                  <a:pt x="4390834" y="1088894"/>
                  <a:pt x="4394428" y="1090626"/>
                </a:cubicBezTo>
                <a:cubicBezTo>
                  <a:pt x="4398155" y="1092224"/>
                  <a:pt x="4401217" y="1094358"/>
                  <a:pt x="4403746" y="1097017"/>
                </a:cubicBezTo>
                <a:cubicBezTo>
                  <a:pt x="4406275" y="1099551"/>
                  <a:pt x="4408405" y="1102738"/>
                  <a:pt x="4409869" y="1106339"/>
                </a:cubicBezTo>
                <a:cubicBezTo>
                  <a:pt x="4411334" y="1109929"/>
                  <a:pt x="4412132" y="1113794"/>
                  <a:pt x="4412132" y="1117780"/>
                </a:cubicBezTo>
                <a:cubicBezTo>
                  <a:pt x="4412132" y="1121908"/>
                  <a:pt x="4411334" y="1125907"/>
                  <a:pt x="4409869" y="1129494"/>
                </a:cubicBezTo>
                <a:cubicBezTo>
                  <a:pt x="4408405" y="1133094"/>
                  <a:pt x="4406275" y="1136155"/>
                  <a:pt x="4403746" y="1138815"/>
                </a:cubicBezTo>
                <a:cubicBezTo>
                  <a:pt x="4401083" y="1141478"/>
                  <a:pt x="4398022" y="1143611"/>
                  <a:pt x="4394428" y="1145076"/>
                </a:cubicBezTo>
                <a:cubicBezTo>
                  <a:pt x="4390834" y="1146541"/>
                  <a:pt x="4386973" y="1147340"/>
                  <a:pt x="4382713" y="1147340"/>
                </a:cubicBezTo>
                <a:cubicBezTo>
                  <a:pt x="4373661" y="1147340"/>
                  <a:pt x="4366473" y="1144408"/>
                  <a:pt x="4360881" y="1138815"/>
                </a:cubicBezTo>
                <a:cubicBezTo>
                  <a:pt x="4355290" y="1133094"/>
                  <a:pt x="4352495" y="1126167"/>
                  <a:pt x="4352495" y="1117655"/>
                </a:cubicBezTo>
                <a:cubicBezTo>
                  <a:pt x="4352495" y="1109400"/>
                  <a:pt x="4355290" y="1102338"/>
                  <a:pt x="4360881" y="1096621"/>
                </a:cubicBezTo>
                <a:cubicBezTo>
                  <a:pt x="4366473" y="1091023"/>
                  <a:pt x="4373661" y="1088096"/>
                  <a:pt x="4382713" y="1088096"/>
                </a:cubicBezTo>
                <a:close/>
                <a:moveTo>
                  <a:pt x="4165068" y="1088096"/>
                </a:moveTo>
                <a:cubicBezTo>
                  <a:pt x="4169327" y="1088096"/>
                  <a:pt x="4173188" y="1088894"/>
                  <a:pt x="4176782" y="1090626"/>
                </a:cubicBezTo>
                <a:cubicBezTo>
                  <a:pt x="4180509" y="1092224"/>
                  <a:pt x="4183571" y="1094358"/>
                  <a:pt x="4186100" y="1097017"/>
                </a:cubicBezTo>
                <a:cubicBezTo>
                  <a:pt x="4188629" y="1099551"/>
                  <a:pt x="4190759" y="1102738"/>
                  <a:pt x="4192223" y="1106339"/>
                </a:cubicBezTo>
                <a:cubicBezTo>
                  <a:pt x="4193688" y="1109929"/>
                  <a:pt x="4194486" y="1113794"/>
                  <a:pt x="4194486" y="1117780"/>
                </a:cubicBezTo>
                <a:cubicBezTo>
                  <a:pt x="4194486" y="1121908"/>
                  <a:pt x="4193688" y="1125907"/>
                  <a:pt x="4192223" y="1129494"/>
                </a:cubicBezTo>
                <a:cubicBezTo>
                  <a:pt x="4190759" y="1133094"/>
                  <a:pt x="4188629" y="1136155"/>
                  <a:pt x="4186100" y="1138815"/>
                </a:cubicBezTo>
                <a:cubicBezTo>
                  <a:pt x="4183438" y="1141478"/>
                  <a:pt x="4180376" y="1143611"/>
                  <a:pt x="4176782" y="1145076"/>
                </a:cubicBezTo>
                <a:cubicBezTo>
                  <a:pt x="4173188" y="1146541"/>
                  <a:pt x="4169327" y="1147340"/>
                  <a:pt x="4165068" y="1147340"/>
                </a:cubicBezTo>
                <a:cubicBezTo>
                  <a:pt x="4156015" y="1147340"/>
                  <a:pt x="4148827" y="1144408"/>
                  <a:pt x="4143235" y="1138815"/>
                </a:cubicBezTo>
                <a:cubicBezTo>
                  <a:pt x="4137645" y="1133094"/>
                  <a:pt x="4134849" y="1126167"/>
                  <a:pt x="4134849" y="1117655"/>
                </a:cubicBezTo>
                <a:cubicBezTo>
                  <a:pt x="4134849" y="1109400"/>
                  <a:pt x="4137645" y="1102338"/>
                  <a:pt x="4143235" y="1096621"/>
                </a:cubicBezTo>
                <a:cubicBezTo>
                  <a:pt x="4148827" y="1091023"/>
                  <a:pt x="4156015" y="1088096"/>
                  <a:pt x="4165068" y="1088096"/>
                </a:cubicBezTo>
                <a:close/>
                <a:moveTo>
                  <a:pt x="3947489" y="1088096"/>
                </a:moveTo>
                <a:cubicBezTo>
                  <a:pt x="3951749" y="1088096"/>
                  <a:pt x="3955608" y="1088894"/>
                  <a:pt x="3959204" y="1090626"/>
                </a:cubicBezTo>
                <a:cubicBezTo>
                  <a:pt x="3962931" y="1092224"/>
                  <a:pt x="3965992" y="1094358"/>
                  <a:pt x="3968521" y="1097017"/>
                </a:cubicBezTo>
                <a:cubicBezTo>
                  <a:pt x="3971052" y="1099551"/>
                  <a:pt x="3973181" y="1102738"/>
                  <a:pt x="3974645" y="1106339"/>
                </a:cubicBezTo>
                <a:cubicBezTo>
                  <a:pt x="3976110" y="1109929"/>
                  <a:pt x="3976909" y="1113794"/>
                  <a:pt x="3976909" y="1117780"/>
                </a:cubicBezTo>
                <a:cubicBezTo>
                  <a:pt x="3976909" y="1121908"/>
                  <a:pt x="3976110" y="1125907"/>
                  <a:pt x="3974645" y="1129494"/>
                </a:cubicBezTo>
                <a:cubicBezTo>
                  <a:pt x="3973181" y="1133094"/>
                  <a:pt x="3971052" y="1136155"/>
                  <a:pt x="3968521" y="1138815"/>
                </a:cubicBezTo>
                <a:cubicBezTo>
                  <a:pt x="3965859" y="1141478"/>
                  <a:pt x="3962798" y="1143611"/>
                  <a:pt x="3959204" y="1145076"/>
                </a:cubicBezTo>
                <a:cubicBezTo>
                  <a:pt x="3955608" y="1146541"/>
                  <a:pt x="3951749" y="1147340"/>
                  <a:pt x="3947489" y="1147340"/>
                </a:cubicBezTo>
                <a:cubicBezTo>
                  <a:pt x="3938436" y="1147340"/>
                  <a:pt x="3931249" y="1144408"/>
                  <a:pt x="3925656" y="1138815"/>
                </a:cubicBezTo>
                <a:cubicBezTo>
                  <a:pt x="3920065" y="1133094"/>
                  <a:pt x="3917270" y="1126167"/>
                  <a:pt x="3917270" y="1117655"/>
                </a:cubicBezTo>
                <a:cubicBezTo>
                  <a:pt x="3917270" y="1109400"/>
                  <a:pt x="3920065" y="1102338"/>
                  <a:pt x="3925656" y="1096621"/>
                </a:cubicBezTo>
                <a:cubicBezTo>
                  <a:pt x="3931249" y="1091023"/>
                  <a:pt x="3938436" y="1088096"/>
                  <a:pt x="3947489" y="1088096"/>
                </a:cubicBezTo>
                <a:close/>
                <a:moveTo>
                  <a:pt x="3729840" y="1088096"/>
                </a:moveTo>
                <a:cubicBezTo>
                  <a:pt x="3734100" y="1088096"/>
                  <a:pt x="3738093" y="1088894"/>
                  <a:pt x="3741555" y="1090626"/>
                </a:cubicBezTo>
                <a:cubicBezTo>
                  <a:pt x="3745149" y="1092224"/>
                  <a:pt x="3748344" y="1094358"/>
                  <a:pt x="3750873" y="1097017"/>
                </a:cubicBezTo>
                <a:cubicBezTo>
                  <a:pt x="3753402" y="1099551"/>
                  <a:pt x="3755532" y="1102738"/>
                  <a:pt x="3756996" y="1106339"/>
                </a:cubicBezTo>
                <a:cubicBezTo>
                  <a:pt x="3758460" y="1109929"/>
                  <a:pt x="3759259" y="1113794"/>
                  <a:pt x="3759259" y="1117780"/>
                </a:cubicBezTo>
                <a:cubicBezTo>
                  <a:pt x="3759259" y="1121908"/>
                  <a:pt x="3758460" y="1125907"/>
                  <a:pt x="3756996" y="1129494"/>
                </a:cubicBezTo>
                <a:cubicBezTo>
                  <a:pt x="3755532" y="1133094"/>
                  <a:pt x="3753402" y="1136155"/>
                  <a:pt x="3750873" y="1138815"/>
                </a:cubicBezTo>
                <a:cubicBezTo>
                  <a:pt x="3748210" y="1141478"/>
                  <a:pt x="3745149" y="1143611"/>
                  <a:pt x="3741555" y="1145076"/>
                </a:cubicBezTo>
                <a:cubicBezTo>
                  <a:pt x="3737961" y="1146541"/>
                  <a:pt x="3734100" y="1147340"/>
                  <a:pt x="3729840" y="1147340"/>
                </a:cubicBezTo>
                <a:cubicBezTo>
                  <a:pt x="3720787" y="1147340"/>
                  <a:pt x="3713600" y="1144408"/>
                  <a:pt x="3708007" y="1138815"/>
                </a:cubicBezTo>
                <a:cubicBezTo>
                  <a:pt x="3702415" y="1133094"/>
                  <a:pt x="3699621" y="1126167"/>
                  <a:pt x="3699621" y="1117655"/>
                </a:cubicBezTo>
                <a:cubicBezTo>
                  <a:pt x="3699621" y="1109400"/>
                  <a:pt x="3702415" y="1102338"/>
                  <a:pt x="3708007" y="1096621"/>
                </a:cubicBezTo>
                <a:cubicBezTo>
                  <a:pt x="3713600" y="1091023"/>
                  <a:pt x="3720787" y="1088096"/>
                  <a:pt x="3729840" y="1088096"/>
                </a:cubicBezTo>
                <a:close/>
                <a:moveTo>
                  <a:pt x="3512191" y="1088096"/>
                </a:moveTo>
                <a:cubicBezTo>
                  <a:pt x="3516452" y="1088096"/>
                  <a:pt x="3520445" y="1088894"/>
                  <a:pt x="3523907" y="1090626"/>
                </a:cubicBezTo>
                <a:cubicBezTo>
                  <a:pt x="3527500" y="1092224"/>
                  <a:pt x="3530696" y="1094358"/>
                  <a:pt x="3533225" y="1097017"/>
                </a:cubicBezTo>
                <a:cubicBezTo>
                  <a:pt x="3535754" y="1099551"/>
                  <a:pt x="3537884" y="1102738"/>
                  <a:pt x="3539348" y="1106339"/>
                </a:cubicBezTo>
                <a:cubicBezTo>
                  <a:pt x="3540812" y="1109929"/>
                  <a:pt x="3541611" y="1113794"/>
                  <a:pt x="3541611" y="1117780"/>
                </a:cubicBezTo>
                <a:cubicBezTo>
                  <a:pt x="3541611" y="1121908"/>
                  <a:pt x="3540812" y="1125907"/>
                  <a:pt x="3539348" y="1129494"/>
                </a:cubicBezTo>
                <a:cubicBezTo>
                  <a:pt x="3537884" y="1133094"/>
                  <a:pt x="3535754" y="1136155"/>
                  <a:pt x="3533225" y="1138815"/>
                </a:cubicBezTo>
                <a:cubicBezTo>
                  <a:pt x="3530562" y="1141478"/>
                  <a:pt x="3527500" y="1143611"/>
                  <a:pt x="3523907" y="1145076"/>
                </a:cubicBezTo>
                <a:cubicBezTo>
                  <a:pt x="3520313" y="1146541"/>
                  <a:pt x="3516452" y="1147340"/>
                  <a:pt x="3512191" y="1147340"/>
                </a:cubicBezTo>
                <a:cubicBezTo>
                  <a:pt x="3503139" y="1147340"/>
                  <a:pt x="3495950" y="1144408"/>
                  <a:pt x="3490359" y="1138815"/>
                </a:cubicBezTo>
                <a:cubicBezTo>
                  <a:pt x="3484768" y="1133094"/>
                  <a:pt x="3481972" y="1126167"/>
                  <a:pt x="3481972" y="1117655"/>
                </a:cubicBezTo>
                <a:cubicBezTo>
                  <a:pt x="3481972" y="1109400"/>
                  <a:pt x="3484768" y="1102338"/>
                  <a:pt x="3490359" y="1096621"/>
                </a:cubicBezTo>
                <a:cubicBezTo>
                  <a:pt x="3495950" y="1091023"/>
                  <a:pt x="3503139" y="1088096"/>
                  <a:pt x="3512191" y="1088096"/>
                </a:cubicBezTo>
                <a:close/>
                <a:moveTo>
                  <a:pt x="3294676" y="1088096"/>
                </a:moveTo>
                <a:cubicBezTo>
                  <a:pt x="3298803" y="1088096"/>
                  <a:pt x="3302797" y="1088894"/>
                  <a:pt x="3306392" y="1090626"/>
                </a:cubicBezTo>
                <a:cubicBezTo>
                  <a:pt x="3310119" y="1092224"/>
                  <a:pt x="3313180" y="1094358"/>
                  <a:pt x="3315710" y="1097017"/>
                </a:cubicBezTo>
                <a:cubicBezTo>
                  <a:pt x="3318239" y="1099551"/>
                  <a:pt x="3320369" y="1102738"/>
                  <a:pt x="3321833" y="1106339"/>
                </a:cubicBezTo>
                <a:cubicBezTo>
                  <a:pt x="3323297" y="1109929"/>
                  <a:pt x="3324096" y="1113794"/>
                  <a:pt x="3324096" y="1117780"/>
                </a:cubicBezTo>
                <a:cubicBezTo>
                  <a:pt x="3324096" y="1121908"/>
                  <a:pt x="3323297" y="1125907"/>
                  <a:pt x="3321833" y="1129494"/>
                </a:cubicBezTo>
                <a:cubicBezTo>
                  <a:pt x="3320369" y="1133094"/>
                  <a:pt x="3318239" y="1136155"/>
                  <a:pt x="3315710" y="1138815"/>
                </a:cubicBezTo>
                <a:cubicBezTo>
                  <a:pt x="3313046" y="1141478"/>
                  <a:pt x="3309985" y="1143611"/>
                  <a:pt x="3306392" y="1145076"/>
                </a:cubicBezTo>
                <a:cubicBezTo>
                  <a:pt x="3302797" y="1146541"/>
                  <a:pt x="3298936" y="1147340"/>
                  <a:pt x="3294676" y="1147340"/>
                </a:cubicBezTo>
                <a:cubicBezTo>
                  <a:pt x="3285624" y="1147340"/>
                  <a:pt x="3278435" y="1144408"/>
                  <a:pt x="3272843" y="1138815"/>
                </a:cubicBezTo>
                <a:cubicBezTo>
                  <a:pt x="3267252" y="1133094"/>
                  <a:pt x="3264457" y="1126167"/>
                  <a:pt x="3264457" y="1117655"/>
                </a:cubicBezTo>
                <a:cubicBezTo>
                  <a:pt x="3264457" y="1109400"/>
                  <a:pt x="3267252" y="1102338"/>
                  <a:pt x="3272843" y="1096621"/>
                </a:cubicBezTo>
                <a:cubicBezTo>
                  <a:pt x="3278435" y="1091023"/>
                  <a:pt x="3285624" y="1088096"/>
                  <a:pt x="3294676" y="1088096"/>
                </a:cubicBezTo>
                <a:close/>
                <a:moveTo>
                  <a:pt x="3077027" y="1088096"/>
                </a:moveTo>
                <a:cubicBezTo>
                  <a:pt x="3081155" y="1088096"/>
                  <a:pt x="3085149" y="1088894"/>
                  <a:pt x="3088743" y="1090626"/>
                </a:cubicBezTo>
                <a:cubicBezTo>
                  <a:pt x="3092337" y="1092224"/>
                  <a:pt x="3095533" y="1094358"/>
                  <a:pt x="3098061" y="1097017"/>
                </a:cubicBezTo>
                <a:cubicBezTo>
                  <a:pt x="3100590" y="1099551"/>
                  <a:pt x="3102720" y="1102738"/>
                  <a:pt x="3104184" y="1106339"/>
                </a:cubicBezTo>
                <a:cubicBezTo>
                  <a:pt x="3105649" y="1109929"/>
                  <a:pt x="3106447" y="1113794"/>
                  <a:pt x="3106447" y="1117780"/>
                </a:cubicBezTo>
                <a:cubicBezTo>
                  <a:pt x="3106447" y="1121908"/>
                  <a:pt x="3105649" y="1125907"/>
                  <a:pt x="3104184" y="1129494"/>
                </a:cubicBezTo>
                <a:cubicBezTo>
                  <a:pt x="3102720" y="1133094"/>
                  <a:pt x="3100590" y="1136155"/>
                  <a:pt x="3098061" y="1138815"/>
                </a:cubicBezTo>
                <a:cubicBezTo>
                  <a:pt x="3095399" y="1141478"/>
                  <a:pt x="3092337" y="1143611"/>
                  <a:pt x="3088743" y="1145076"/>
                </a:cubicBezTo>
                <a:cubicBezTo>
                  <a:pt x="3085149" y="1146541"/>
                  <a:pt x="3081288" y="1147340"/>
                  <a:pt x="3077027" y="1147340"/>
                </a:cubicBezTo>
                <a:cubicBezTo>
                  <a:pt x="3068109" y="1147340"/>
                  <a:pt x="3060787" y="1144408"/>
                  <a:pt x="3055195" y="1138815"/>
                </a:cubicBezTo>
                <a:cubicBezTo>
                  <a:pt x="3049604" y="1133094"/>
                  <a:pt x="3046809" y="1126167"/>
                  <a:pt x="3046809" y="1117655"/>
                </a:cubicBezTo>
                <a:cubicBezTo>
                  <a:pt x="3046809" y="1109400"/>
                  <a:pt x="3049604" y="1102338"/>
                  <a:pt x="3055195" y="1096621"/>
                </a:cubicBezTo>
                <a:cubicBezTo>
                  <a:pt x="3060787" y="1091023"/>
                  <a:pt x="3067976" y="1088096"/>
                  <a:pt x="3077027" y="1088096"/>
                </a:cubicBezTo>
                <a:close/>
                <a:moveTo>
                  <a:pt x="2859379" y="1088096"/>
                </a:moveTo>
                <a:cubicBezTo>
                  <a:pt x="2863640" y="1088096"/>
                  <a:pt x="2867501" y="1088894"/>
                  <a:pt x="2871228" y="1090626"/>
                </a:cubicBezTo>
                <a:cubicBezTo>
                  <a:pt x="2874955" y="1092224"/>
                  <a:pt x="2878017" y="1094358"/>
                  <a:pt x="2880546" y="1097017"/>
                </a:cubicBezTo>
                <a:cubicBezTo>
                  <a:pt x="2883208" y="1099551"/>
                  <a:pt x="2885205" y="1102738"/>
                  <a:pt x="2886669" y="1106339"/>
                </a:cubicBezTo>
                <a:cubicBezTo>
                  <a:pt x="2888134" y="1109929"/>
                  <a:pt x="2888932" y="1113794"/>
                  <a:pt x="2888932" y="1117780"/>
                </a:cubicBezTo>
                <a:cubicBezTo>
                  <a:pt x="2888932" y="1121908"/>
                  <a:pt x="2888134" y="1125907"/>
                  <a:pt x="2886669" y="1129494"/>
                </a:cubicBezTo>
                <a:cubicBezTo>
                  <a:pt x="2885205" y="1133094"/>
                  <a:pt x="2883075" y="1136155"/>
                  <a:pt x="2880546" y="1138815"/>
                </a:cubicBezTo>
                <a:cubicBezTo>
                  <a:pt x="2877884" y="1141478"/>
                  <a:pt x="2874821" y="1143611"/>
                  <a:pt x="2871228" y="1145076"/>
                </a:cubicBezTo>
                <a:cubicBezTo>
                  <a:pt x="2867501" y="1146541"/>
                  <a:pt x="2863640" y="1147340"/>
                  <a:pt x="2859379" y="1147340"/>
                </a:cubicBezTo>
                <a:cubicBezTo>
                  <a:pt x="2850462" y="1147340"/>
                  <a:pt x="2843138" y="1144408"/>
                  <a:pt x="2837548" y="1138815"/>
                </a:cubicBezTo>
                <a:cubicBezTo>
                  <a:pt x="2831957" y="1133094"/>
                  <a:pt x="2829161" y="1126167"/>
                  <a:pt x="2829161" y="1117655"/>
                </a:cubicBezTo>
                <a:cubicBezTo>
                  <a:pt x="2829161" y="1109400"/>
                  <a:pt x="2831957" y="1102338"/>
                  <a:pt x="2837548" y="1096621"/>
                </a:cubicBezTo>
                <a:cubicBezTo>
                  <a:pt x="2843138" y="1091023"/>
                  <a:pt x="2850328" y="1088096"/>
                  <a:pt x="2859379" y="1088096"/>
                </a:cubicBezTo>
                <a:close/>
                <a:moveTo>
                  <a:pt x="2641731" y="1088096"/>
                </a:moveTo>
                <a:cubicBezTo>
                  <a:pt x="2645991" y="1088096"/>
                  <a:pt x="2649851" y="1088894"/>
                  <a:pt x="2653446" y="1090626"/>
                </a:cubicBezTo>
                <a:cubicBezTo>
                  <a:pt x="2657173" y="1092224"/>
                  <a:pt x="2660235" y="1094358"/>
                  <a:pt x="2662764" y="1097017"/>
                </a:cubicBezTo>
                <a:cubicBezTo>
                  <a:pt x="2665426" y="1099551"/>
                  <a:pt x="2667424" y="1102738"/>
                  <a:pt x="2668888" y="1106339"/>
                </a:cubicBezTo>
                <a:cubicBezTo>
                  <a:pt x="2670352" y="1109929"/>
                  <a:pt x="2671151" y="1113794"/>
                  <a:pt x="2671151" y="1117780"/>
                </a:cubicBezTo>
                <a:cubicBezTo>
                  <a:pt x="2671151" y="1121908"/>
                  <a:pt x="2670352" y="1125907"/>
                  <a:pt x="2668888" y="1129494"/>
                </a:cubicBezTo>
                <a:cubicBezTo>
                  <a:pt x="2667424" y="1133094"/>
                  <a:pt x="2665294" y="1136155"/>
                  <a:pt x="2662764" y="1138815"/>
                </a:cubicBezTo>
                <a:cubicBezTo>
                  <a:pt x="2660235" y="1141478"/>
                  <a:pt x="2657040" y="1143611"/>
                  <a:pt x="2653446" y="1145076"/>
                </a:cubicBezTo>
                <a:cubicBezTo>
                  <a:pt x="2649851" y="1146541"/>
                  <a:pt x="2645991" y="1147340"/>
                  <a:pt x="2641731" y="1147340"/>
                </a:cubicBezTo>
                <a:cubicBezTo>
                  <a:pt x="2632812" y="1147340"/>
                  <a:pt x="2625491" y="1144408"/>
                  <a:pt x="2619899" y="1138815"/>
                </a:cubicBezTo>
                <a:cubicBezTo>
                  <a:pt x="2614309" y="1133094"/>
                  <a:pt x="2611513" y="1126167"/>
                  <a:pt x="2611513" y="1117655"/>
                </a:cubicBezTo>
                <a:cubicBezTo>
                  <a:pt x="2611513" y="1109400"/>
                  <a:pt x="2614309" y="1102338"/>
                  <a:pt x="2619899" y="1096621"/>
                </a:cubicBezTo>
                <a:cubicBezTo>
                  <a:pt x="2625491" y="1091023"/>
                  <a:pt x="2632679" y="1088096"/>
                  <a:pt x="2641731" y="1088096"/>
                </a:cubicBezTo>
                <a:close/>
                <a:moveTo>
                  <a:pt x="2424082" y="1088096"/>
                </a:moveTo>
                <a:cubicBezTo>
                  <a:pt x="2428343" y="1088096"/>
                  <a:pt x="2432337" y="1088894"/>
                  <a:pt x="2435798" y="1090626"/>
                </a:cubicBezTo>
                <a:cubicBezTo>
                  <a:pt x="2439525" y="1092224"/>
                  <a:pt x="2442587" y="1094358"/>
                  <a:pt x="2445116" y="1097017"/>
                </a:cubicBezTo>
                <a:cubicBezTo>
                  <a:pt x="2447778" y="1099551"/>
                  <a:pt x="2449775" y="1102738"/>
                  <a:pt x="2451239" y="1106339"/>
                </a:cubicBezTo>
                <a:cubicBezTo>
                  <a:pt x="2452703" y="1109929"/>
                  <a:pt x="2453502" y="1113794"/>
                  <a:pt x="2453502" y="1117780"/>
                </a:cubicBezTo>
                <a:cubicBezTo>
                  <a:pt x="2453502" y="1121908"/>
                  <a:pt x="2452703" y="1125907"/>
                  <a:pt x="2451239" y="1129494"/>
                </a:cubicBezTo>
                <a:cubicBezTo>
                  <a:pt x="2449775" y="1133094"/>
                  <a:pt x="2447645" y="1136155"/>
                  <a:pt x="2445116" y="1138815"/>
                </a:cubicBezTo>
                <a:cubicBezTo>
                  <a:pt x="2442587" y="1141478"/>
                  <a:pt x="2439392" y="1143611"/>
                  <a:pt x="2435798" y="1145076"/>
                </a:cubicBezTo>
                <a:cubicBezTo>
                  <a:pt x="2432204" y="1146541"/>
                  <a:pt x="2428343" y="1147340"/>
                  <a:pt x="2424082" y="1147340"/>
                </a:cubicBezTo>
                <a:cubicBezTo>
                  <a:pt x="2415164" y="1147340"/>
                  <a:pt x="2407842" y="1144408"/>
                  <a:pt x="2402251" y="1138815"/>
                </a:cubicBezTo>
                <a:cubicBezTo>
                  <a:pt x="2396660" y="1133094"/>
                  <a:pt x="2393864" y="1126167"/>
                  <a:pt x="2393864" y="1117655"/>
                </a:cubicBezTo>
                <a:cubicBezTo>
                  <a:pt x="2393864" y="1109400"/>
                  <a:pt x="2396660" y="1102338"/>
                  <a:pt x="2402251" y="1096621"/>
                </a:cubicBezTo>
                <a:cubicBezTo>
                  <a:pt x="2407842" y="1091023"/>
                  <a:pt x="2415030" y="1088096"/>
                  <a:pt x="2424082" y="1088096"/>
                </a:cubicBezTo>
                <a:close/>
                <a:moveTo>
                  <a:pt x="2206434" y="1088096"/>
                </a:moveTo>
                <a:cubicBezTo>
                  <a:pt x="2210694" y="1088096"/>
                  <a:pt x="2214689" y="1088894"/>
                  <a:pt x="2218149" y="1090626"/>
                </a:cubicBezTo>
                <a:cubicBezTo>
                  <a:pt x="2221876" y="1092224"/>
                  <a:pt x="2224938" y="1094358"/>
                  <a:pt x="2227468" y="1097017"/>
                </a:cubicBezTo>
                <a:cubicBezTo>
                  <a:pt x="2230130" y="1099551"/>
                  <a:pt x="2232127" y="1102738"/>
                  <a:pt x="2233591" y="1106339"/>
                </a:cubicBezTo>
                <a:cubicBezTo>
                  <a:pt x="2235055" y="1109929"/>
                  <a:pt x="2235854" y="1113794"/>
                  <a:pt x="2235854" y="1117780"/>
                </a:cubicBezTo>
                <a:cubicBezTo>
                  <a:pt x="2235854" y="1121908"/>
                  <a:pt x="2235055" y="1125907"/>
                  <a:pt x="2233591" y="1129494"/>
                </a:cubicBezTo>
                <a:cubicBezTo>
                  <a:pt x="2232127" y="1133094"/>
                  <a:pt x="2229996" y="1136155"/>
                  <a:pt x="2227468" y="1138815"/>
                </a:cubicBezTo>
                <a:cubicBezTo>
                  <a:pt x="2224938" y="1141478"/>
                  <a:pt x="2221744" y="1143611"/>
                  <a:pt x="2218149" y="1145076"/>
                </a:cubicBezTo>
                <a:cubicBezTo>
                  <a:pt x="2214555" y="1146541"/>
                  <a:pt x="2210694" y="1147340"/>
                  <a:pt x="2206434" y="1147340"/>
                </a:cubicBezTo>
                <a:cubicBezTo>
                  <a:pt x="2197382" y="1147340"/>
                  <a:pt x="2190194" y="1144408"/>
                  <a:pt x="2184603" y="1138815"/>
                </a:cubicBezTo>
                <a:cubicBezTo>
                  <a:pt x="2179011" y="1133094"/>
                  <a:pt x="2176216" y="1126167"/>
                  <a:pt x="2176216" y="1117655"/>
                </a:cubicBezTo>
                <a:cubicBezTo>
                  <a:pt x="2176216" y="1109400"/>
                  <a:pt x="2179011" y="1102338"/>
                  <a:pt x="2184603" y="1096621"/>
                </a:cubicBezTo>
                <a:cubicBezTo>
                  <a:pt x="2190194" y="1091023"/>
                  <a:pt x="2197382" y="1088096"/>
                  <a:pt x="2206434" y="1088096"/>
                </a:cubicBezTo>
                <a:close/>
                <a:moveTo>
                  <a:pt x="1988919" y="1088096"/>
                </a:moveTo>
                <a:cubicBezTo>
                  <a:pt x="1993046" y="1088096"/>
                  <a:pt x="1997040" y="1088894"/>
                  <a:pt x="2000634" y="1090626"/>
                </a:cubicBezTo>
                <a:cubicBezTo>
                  <a:pt x="2004361" y="1092224"/>
                  <a:pt x="2007423" y="1094358"/>
                  <a:pt x="2009952" y="1097017"/>
                </a:cubicBezTo>
                <a:cubicBezTo>
                  <a:pt x="2012614" y="1099551"/>
                  <a:pt x="2014611" y="1102738"/>
                  <a:pt x="2016075" y="1106339"/>
                </a:cubicBezTo>
                <a:cubicBezTo>
                  <a:pt x="2017539" y="1109929"/>
                  <a:pt x="2018338" y="1113794"/>
                  <a:pt x="2018338" y="1117780"/>
                </a:cubicBezTo>
                <a:cubicBezTo>
                  <a:pt x="2018338" y="1121908"/>
                  <a:pt x="2017539" y="1125907"/>
                  <a:pt x="2016075" y="1129494"/>
                </a:cubicBezTo>
                <a:cubicBezTo>
                  <a:pt x="2014611" y="1133094"/>
                  <a:pt x="2012481" y="1136155"/>
                  <a:pt x="2009952" y="1138815"/>
                </a:cubicBezTo>
                <a:cubicBezTo>
                  <a:pt x="2007423" y="1141478"/>
                  <a:pt x="2004228" y="1143611"/>
                  <a:pt x="2000634" y="1145076"/>
                </a:cubicBezTo>
                <a:cubicBezTo>
                  <a:pt x="1997040" y="1146541"/>
                  <a:pt x="1993179" y="1147340"/>
                  <a:pt x="1988919" y="1147340"/>
                </a:cubicBezTo>
                <a:cubicBezTo>
                  <a:pt x="1979868" y="1147340"/>
                  <a:pt x="1972679" y="1144408"/>
                  <a:pt x="1967088" y="1138815"/>
                </a:cubicBezTo>
                <a:cubicBezTo>
                  <a:pt x="1961497" y="1133094"/>
                  <a:pt x="1958701" y="1126167"/>
                  <a:pt x="1958701" y="1117655"/>
                </a:cubicBezTo>
                <a:cubicBezTo>
                  <a:pt x="1958701" y="1109400"/>
                  <a:pt x="1961497" y="1102338"/>
                  <a:pt x="1967088" y="1096621"/>
                </a:cubicBezTo>
                <a:cubicBezTo>
                  <a:pt x="1972679" y="1091023"/>
                  <a:pt x="1979868" y="1088096"/>
                  <a:pt x="1988919" y="1088096"/>
                </a:cubicBezTo>
                <a:close/>
                <a:moveTo>
                  <a:pt x="1771276" y="1088096"/>
                </a:moveTo>
                <a:cubicBezTo>
                  <a:pt x="1775536" y="1088096"/>
                  <a:pt x="1779396" y="1088894"/>
                  <a:pt x="1782991" y="1090626"/>
                </a:cubicBezTo>
                <a:cubicBezTo>
                  <a:pt x="1786718" y="1092224"/>
                  <a:pt x="1789780" y="1094358"/>
                  <a:pt x="1792309" y="1097017"/>
                </a:cubicBezTo>
                <a:cubicBezTo>
                  <a:pt x="1794971" y="1099551"/>
                  <a:pt x="1796969" y="1102738"/>
                  <a:pt x="1798432" y="1106339"/>
                </a:cubicBezTo>
                <a:cubicBezTo>
                  <a:pt x="1799896" y="1109929"/>
                  <a:pt x="1800695" y="1113794"/>
                  <a:pt x="1800695" y="1117780"/>
                </a:cubicBezTo>
                <a:cubicBezTo>
                  <a:pt x="1800695" y="1121908"/>
                  <a:pt x="1799896" y="1125907"/>
                  <a:pt x="1798432" y="1129494"/>
                </a:cubicBezTo>
                <a:cubicBezTo>
                  <a:pt x="1796969" y="1133094"/>
                  <a:pt x="1794838" y="1136155"/>
                  <a:pt x="1792309" y="1138815"/>
                </a:cubicBezTo>
                <a:cubicBezTo>
                  <a:pt x="1789646" y="1141478"/>
                  <a:pt x="1786586" y="1143611"/>
                  <a:pt x="1782991" y="1145076"/>
                </a:cubicBezTo>
                <a:cubicBezTo>
                  <a:pt x="1779396" y="1146541"/>
                  <a:pt x="1775536" y="1147340"/>
                  <a:pt x="1771276" y="1147340"/>
                </a:cubicBezTo>
                <a:cubicBezTo>
                  <a:pt x="1762357" y="1147340"/>
                  <a:pt x="1755036" y="1144408"/>
                  <a:pt x="1749446" y="1138815"/>
                </a:cubicBezTo>
                <a:cubicBezTo>
                  <a:pt x="1743854" y="1133094"/>
                  <a:pt x="1741060" y="1126167"/>
                  <a:pt x="1741060" y="1117655"/>
                </a:cubicBezTo>
                <a:cubicBezTo>
                  <a:pt x="1741060" y="1109400"/>
                  <a:pt x="1743854" y="1102338"/>
                  <a:pt x="1749446" y="1096621"/>
                </a:cubicBezTo>
                <a:cubicBezTo>
                  <a:pt x="1755036" y="1091023"/>
                  <a:pt x="1762224" y="1088096"/>
                  <a:pt x="1771276" y="1088096"/>
                </a:cubicBezTo>
                <a:close/>
                <a:moveTo>
                  <a:pt x="1553633" y="1088096"/>
                </a:moveTo>
                <a:cubicBezTo>
                  <a:pt x="1557892" y="1088096"/>
                  <a:pt x="1561754" y="1088894"/>
                  <a:pt x="1565347" y="1090626"/>
                </a:cubicBezTo>
                <a:cubicBezTo>
                  <a:pt x="1568942" y="1092224"/>
                  <a:pt x="1572137" y="1094358"/>
                  <a:pt x="1574666" y="1097017"/>
                </a:cubicBezTo>
                <a:cubicBezTo>
                  <a:pt x="1577328" y="1099551"/>
                  <a:pt x="1579325" y="1102738"/>
                  <a:pt x="1580789" y="1106339"/>
                </a:cubicBezTo>
                <a:cubicBezTo>
                  <a:pt x="1582253" y="1109929"/>
                  <a:pt x="1583052" y="1113794"/>
                  <a:pt x="1583052" y="1117780"/>
                </a:cubicBezTo>
                <a:cubicBezTo>
                  <a:pt x="1583052" y="1121908"/>
                  <a:pt x="1582253" y="1125907"/>
                  <a:pt x="1580789" y="1129494"/>
                </a:cubicBezTo>
                <a:cubicBezTo>
                  <a:pt x="1579325" y="1133094"/>
                  <a:pt x="1577195" y="1136155"/>
                  <a:pt x="1574666" y="1138815"/>
                </a:cubicBezTo>
                <a:cubicBezTo>
                  <a:pt x="1572003" y="1141478"/>
                  <a:pt x="1568942" y="1143611"/>
                  <a:pt x="1565347" y="1145076"/>
                </a:cubicBezTo>
                <a:cubicBezTo>
                  <a:pt x="1561754" y="1146541"/>
                  <a:pt x="1557892" y="1147340"/>
                  <a:pt x="1553633" y="1147340"/>
                </a:cubicBezTo>
                <a:cubicBezTo>
                  <a:pt x="1544714" y="1147340"/>
                  <a:pt x="1537392" y="1144408"/>
                  <a:pt x="1531801" y="1138815"/>
                </a:cubicBezTo>
                <a:cubicBezTo>
                  <a:pt x="1526212" y="1133094"/>
                  <a:pt x="1523415" y="1126167"/>
                  <a:pt x="1523415" y="1117655"/>
                </a:cubicBezTo>
                <a:cubicBezTo>
                  <a:pt x="1523415" y="1109400"/>
                  <a:pt x="1526212" y="1102338"/>
                  <a:pt x="1531801" y="1096621"/>
                </a:cubicBezTo>
                <a:cubicBezTo>
                  <a:pt x="1537392" y="1091023"/>
                  <a:pt x="1544580" y="1088096"/>
                  <a:pt x="1553633" y="1088096"/>
                </a:cubicBezTo>
                <a:close/>
                <a:moveTo>
                  <a:pt x="1335988" y="1088096"/>
                </a:moveTo>
                <a:cubicBezTo>
                  <a:pt x="1340248" y="1088096"/>
                  <a:pt x="1344243" y="1088894"/>
                  <a:pt x="1347703" y="1090626"/>
                </a:cubicBezTo>
                <a:cubicBezTo>
                  <a:pt x="1351297" y="1092224"/>
                  <a:pt x="1354491" y="1094358"/>
                  <a:pt x="1357022" y="1097017"/>
                </a:cubicBezTo>
                <a:cubicBezTo>
                  <a:pt x="1359683" y="1099551"/>
                  <a:pt x="1361680" y="1102738"/>
                  <a:pt x="1363144" y="1106339"/>
                </a:cubicBezTo>
                <a:cubicBezTo>
                  <a:pt x="1364609" y="1109929"/>
                  <a:pt x="1365408" y="1113794"/>
                  <a:pt x="1365408" y="1117780"/>
                </a:cubicBezTo>
                <a:cubicBezTo>
                  <a:pt x="1365408" y="1121908"/>
                  <a:pt x="1364609" y="1125907"/>
                  <a:pt x="1363144" y="1129494"/>
                </a:cubicBezTo>
                <a:cubicBezTo>
                  <a:pt x="1361680" y="1133094"/>
                  <a:pt x="1359550" y="1136155"/>
                  <a:pt x="1357022" y="1138815"/>
                </a:cubicBezTo>
                <a:cubicBezTo>
                  <a:pt x="1354358" y="1141478"/>
                  <a:pt x="1351297" y="1143611"/>
                  <a:pt x="1347703" y="1145076"/>
                </a:cubicBezTo>
                <a:cubicBezTo>
                  <a:pt x="1344108" y="1146541"/>
                  <a:pt x="1340248" y="1147340"/>
                  <a:pt x="1335988" y="1147340"/>
                </a:cubicBezTo>
                <a:cubicBezTo>
                  <a:pt x="1327068" y="1147340"/>
                  <a:pt x="1319747" y="1144408"/>
                  <a:pt x="1314156" y="1138815"/>
                </a:cubicBezTo>
                <a:cubicBezTo>
                  <a:pt x="1308565" y="1133094"/>
                  <a:pt x="1305771" y="1126167"/>
                  <a:pt x="1305771" y="1117655"/>
                </a:cubicBezTo>
                <a:cubicBezTo>
                  <a:pt x="1305771" y="1109400"/>
                  <a:pt x="1308565" y="1102338"/>
                  <a:pt x="1314156" y="1096621"/>
                </a:cubicBezTo>
                <a:cubicBezTo>
                  <a:pt x="1319747" y="1091023"/>
                  <a:pt x="1326936" y="1088096"/>
                  <a:pt x="1335988" y="1088096"/>
                </a:cubicBezTo>
                <a:close/>
                <a:moveTo>
                  <a:pt x="1118343" y="1088096"/>
                </a:moveTo>
                <a:cubicBezTo>
                  <a:pt x="1122602" y="1088096"/>
                  <a:pt x="1126598" y="1088894"/>
                  <a:pt x="1130059" y="1090626"/>
                </a:cubicBezTo>
                <a:cubicBezTo>
                  <a:pt x="1133785" y="1092224"/>
                  <a:pt x="1136847" y="1094358"/>
                  <a:pt x="1139377" y="1097017"/>
                </a:cubicBezTo>
                <a:cubicBezTo>
                  <a:pt x="1142038" y="1099551"/>
                  <a:pt x="1144035" y="1102738"/>
                  <a:pt x="1145499" y="1106339"/>
                </a:cubicBezTo>
                <a:cubicBezTo>
                  <a:pt x="1146963" y="1109929"/>
                  <a:pt x="1147762" y="1113794"/>
                  <a:pt x="1147762" y="1117780"/>
                </a:cubicBezTo>
                <a:cubicBezTo>
                  <a:pt x="1147762" y="1121908"/>
                  <a:pt x="1146963" y="1125907"/>
                  <a:pt x="1145499" y="1129494"/>
                </a:cubicBezTo>
                <a:cubicBezTo>
                  <a:pt x="1144035" y="1133094"/>
                  <a:pt x="1141905" y="1136155"/>
                  <a:pt x="1139377" y="1138815"/>
                </a:cubicBezTo>
                <a:cubicBezTo>
                  <a:pt x="1136847" y="1141478"/>
                  <a:pt x="1133652" y="1143611"/>
                  <a:pt x="1130059" y="1145076"/>
                </a:cubicBezTo>
                <a:cubicBezTo>
                  <a:pt x="1126463" y="1146541"/>
                  <a:pt x="1122602" y="1147340"/>
                  <a:pt x="1118343" y="1147340"/>
                </a:cubicBezTo>
                <a:cubicBezTo>
                  <a:pt x="1109424" y="1147340"/>
                  <a:pt x="1102102" y="1144408"/>
                  <a:pt x="1096511" y="1138815"/>
                </a:cubicBezTo>
                <a:cubicBezTo>
                  <a:pt x="1090920" y="1133094"/>
                  <a:pt x="1088125" y="1126167"/>
                  <a:pt x="1088125" y="1117655"/>
                </a:cubicBezTo>
                <a:cubicBezTo>
                  <a:pt x="1088125" y="1109400"/>
                  <a:pt x="1090920" y="1102338"/>
                  <a:pt x="1096511" y="1096621"/>
                </a:cubicBezTo>
                <a:cubicBezTo>
                  <a:pt x="1102102" y="1091023"/>
                  <a:pt x="1109290" y="1088096"/>
                  <a:pt x="1118343" y="1088096"/>
                </a:cubicBezTo>
                <a:close/>
                <a:moveTo>
                  <a:pt x="900831" y="1088096"/>
                </a:moveTo>
                <a:cubicBezTo>
                  <a:pt x="904958" y="1088096"/>
                  <a:pt x="908952" y="1088894"/>
                  <a:pt x="912546" y="1090626"/>
                </a:cubicBezTo>
                <a:cubicBezTo>
                  <a:pt x="916273" y="1092224"/>
                  <a:pt x="919335" y="1094358"/>
                  <a:pt x="921864" y="1097017"/>
                </a:cubicBezTo>
                <a:cubicBezTo>
                  <a:pt x="924526" y="1099551"/>
                  <a:pt x="926523" y="1102738"/>
                  <a:pt x="927987" y="1106339"/>
                </a:cubicBezTo>
                <a:cubicBezTo>
                  <a:pt x="929451" y="1109929"/>
                  <a:pt x="930250" y="1113794"/>
                  <a:pt x="930250" y="1117780"/>
                </a:cubicBezTo>
                <a:cubicBezTo>
                  <a:pt x="930250" y="1121908"/>
                  <a:pt x="929451" y="1125907"/>
                  <a:pt x="927987" y="1129494"/>
                </a:cubicBezTo>
                <a:cubicBezTo>
                  <a:pt x="926523" y="1133094"/>
                  <a:pt x="924393" y="1136155"/>
                  <a:pt x="921864" y="1138815"/>
                </a:cubicBezTo>
                <a:cubicBezTo>
                  <a:pt x="919335" y="1141478"/>
                  <a:pt x="916140" y="1143611"/>
                  <a:pt x="912546" y="1145076"/>
                </a:cubicBezTo>
                <a:cubicBezTo>
                  <a:pt x="908952" y="1146541"/>
                  <a:pt x="905091" y="1147340"/>
                  <a:pt x="900831" y="1147340"/>
                </a:cubicBezTo>
                <a:cubicBezTo>
                  <a:pt x="891913" y="1147340"/>
                  <a:pt x="884590" y="1144408"/>
                  <a:pt x="879000" y="1138815"/>
                </a:cubicBezTo>
                <a:cubicBezTo>
                  <a:pt x="873410" y="1133094"/>
                  <a:pt x="870614" y="1126167"/>
                  <a:pt x="870614" y="1117655"/>
                </a:cubicBezTo>
                <a:cubicBezTo>
                  <a:pt x="870614" y="1109400"/>
                  <a:pt x="873410" y="1102338"/>
                  <a:pt x="879000" y="1096621"/>
                </a:cubicBezTo>
                <a:cubicBezTo>
                  <a:pt x="884590" y="1091023"/>
                  <a:pt x="891779" y="1088096"/>
                  <a:pt x="900831" y="1088096"/>
                </a:cubicBezTo>
                <a:close/>
                <a:moveTo>
                  <a:pt x="683187" y="1088096"/>
                </a:moveTo>
                <a:cubicBezTo>
                  <a:pt x="687447" y="1088096"/>
                  <a:pt x="691308" y="1088894"/>
                  <a:pt x="694902" y="1090626"/>
                </a:cubicBezTo>
                <a:cubicBezTo>
                  <a:pt x="698629" y="1092224"/>
                  <a:pt x="701691" y="1094358"/>
                  <a:pt x="704220" y="1097017"/>
                </a:cubicBezTo>
                <a:cubicBezTo>
                  <a:pt x="706882" y="1099551"/>
                  <a:pt x="708879" y="1102738"/>
                  <a:pt x="710343" y="1106339"/>
                </a:cubicBezTo>
                <a:cubicBezTo>
                  <a:pt x="711807" y="1109929"/>
                  <a:pt x="712606" y="1113794"/>
                  <a:pt x="712606" y="1117780"/>
                </a:cubicBezTo>
                <a:cubicBezTo>
                  <a:pt x="712606" y="1121908"/>
                  <a:pt x="711807" y="1125907"/>
                  <a:pt x="710343" y="1129494"/>
                </a:cubicBezTo>
                <a:cubicBezTo>
                  <a:pt x="708879" y="1133094"/>
                  <a:pt x="706749" y="1136155"/>
                  <a:pt x="704220" y="1138815"/>
                </a:cubicBezTo>
                <a:cubicBezTo>
                  <a:pt x="701691" y="1141478"/>
                  <a:pt x="698496" y="1143611"/>
                  <a:pt x="694902" y="1145076"/>
                </a:cubicBezTo>
                <a:cubicBezTo>
                  <a:pt x="691308" y="1146541"/>
                  <a:pt x="687447" y="1147340"/>
                  <a:pt x="683187" y="1147340"/>
                </a:cubicBezTo>
                <a:cubicBezTo>
                  <a:pt x="674269" y="1147340"/>
                  <a:pt x="666947" y="1144408"/>
                  <a:pt x="661355" y="1138815"/>
                </a:cubicBezTo>
                <a:cubicBezTo>
                  <a:pt x="655764" y="1133094"/>
                  <a:pt x="652969" y="1126167"/>
                  <a:pt x="652969" y="1117655"/>
                </a:cubicBezTo>
                <a:cubicBezTo>
                  <a:pt x="652969" y="1109400"/>
                  <a:pt x="655764" y="1102338"/>
                  <a:pt x="661355" y="1096621"/>
                </a:cubicBezTo>
                <a:cubicBezTo>
                  <a:pt x="666947" y="1091023"/>
                  <a:pt x="674136" y="1088096"/>
                  <a:pt x="683187" y="1088096"/>
                </a:cubicBezTo>
                <a:close/>
                <a:moveTo>
                  <a:pt x="465543" y="1088096"/>
                </a:moveTo>
                <a:cubicBezTo>
                  <a:pt x="469803" y="1088096"/>
                  <a:pt x="473663" y="1088894"/>
                  <a:pt x="477258" y="1090626"/>
                </a:cubicBezTo>
                <a:cubicBezTo>
                  <a:pt x="480985" y="1092224"/>
                  <a:pt x="484047" y="1094358"/>
                  <a:pt x="486576" y="1097017"/>
                </a:cubicBezTo>
                <a:cubicBezTo>
                  <a:pt x="489238" y="1099551"/>
                  <a:pt x="491235" y="1102738"/>
                  <a:pt x="492699" y="1106339"/>
                </a:cubicBezTo>
                <a:cubicBezTo>
                  <a:pt x="494163" y="1109929"/>
                  <a:pt x="494962" y="1113794"/>
                  <a:pt x="494962" y="1117780"/>
                </a:cubicBezTo>
                <a:cubicBezTo>
                  <a:pt x="494962" y="1121908"/>
                  <a:pt x="494163" y="1125907"/>
                  <a:pt x="492699" y="1129494"/>
                </a:cubicBezTo>
                <a:cubicBezTo>
                  <a:pt x="491235" y="1133094"/>
                  <a:pt x="489105" y="1136155"/>
                  <a:pt x="486576" y="1138815"/>
                </a:cubicBezTo>
                <a:cubicBezTo>
                  <a:pt x="483913" y="1141478"/>
                  <a:pt x="480852" y="1143611"/>
                  <a:pt x="477258" y="1145076"/>
                </a:cubicBezTo>
                <a:cubicBezTo>
                  <a:pt x="473663" y="1146541"/>
                  <a:pt x="469803" y="1147340"/>
                  <a:pt x="465543" y="1147340"/>
                </a:cubicBezTo>
                <a:cubicBezTo>
                  <a:pt x="456625" y="1147340"/>
                  <a:pt x="449303" y="1144408"/>
                  <a:pt x="443712" y="1138815"/>
                </a:cubicBezTo>
                <a:cubicBezTo>
                  <a:pt x="438121" y="1133094"/>
                  <a:pt x="435326" y="1126167"/>
                  <a:pt x="435326" y="1117655"/>
                </a:cubicBezTo>
                <a:cubicBezTo>
                  <a:pt x="435326" y="1109400"/>
                  <a:pt x="438121" y="1102338"/>
                  <a:pt x="443712" y="1096621"/>
                </a:cubicBezTo>
                <a:cubicBezTo>
                  <a:pt x="449303" y="1091023"/>
                  <a:pt x="456492" y="1088096"/>
                  <a:pt x="465543" y="1088096"/>
                </a:cubicBezTo>
                <a:close/>
                <a:moveTo>
                  <a:pt x="247899" y="1088096"/>
                </a:moveTo>
                <a:cubicBezTo>
                  <a:pt x="252159" y="1088096"/>
                  <a:pt x="256153" y="1088894"/>
                  <a:pt x="259614" y="1090626"/>
                </a:cubicBezTo>
                <a:cubicBezTo>
                  <a:pt x="263341" y="1092224"/>
                  <a:pt x="266403" y="1094358"/>
                  <a:pt x="268932" y="1097017"/>
                </a:cubicBezTo>
                <a:cubicBezTo>
                  <a:pt x="271594" y="1099551"/>
                  <a:pt x="273591" y="1102738"/>
                  <a:pt x="275055" y="1106339"/>
                </a:cubicBezTo>
                <a:cubicBezTo>
                  <a:pt x="276519" y="1109929"/>
                  <a:pt x="277318" y="1113794"/>
                  <a:pt x="277318" y="1117780"/>
                </a:cubicBezTo>
                <a:cubicBezTo>
                  <a:pt x="277318" y="1121908"/>
                  <a:pt x="276519" y="1125907"/>
                  <a:pt x="275055" y="1129494"/>
                </a:cubicBezTo>
                <a:cubicBezTo>
                  <a:pt x="273591" y="1133094"/>
                  <a:pt x="271461" y="1136155"/>
                  <a:pt x="268932" y="1138815"/>
                </a:cubicBezTo>
                <a:cubicBezTo>
                  <a:pt x="266269" y="1141478"/>
                  <a:pt x="263208" y="1143611"/>
                  <a:pt x="259614" y="1145076"/>
                </a:cubicBezTo>
                <a:cubicBezTo>
                  <a:pt x="256019" y="1146541"/>
                  <a:pt x="252159" y="1147340"/>
                  <a:pt x="247899" y="1147340"/>
                </a:cubicBezTo>
                <a:cubicBezTo>
                  <a:pt x="238981" y="1147340"/>
                  <a:pt x="231659" y="1144408"/>
                  <a:pt x="226068" y="1138815"/>
                </a:cubicBezTo>
                <a:cubicBezTo>
                  <a:pt x="220477" y="1133094"/>
                  <a:pt x="217682" y="1126167"/>
                  <a:pt x="217682" y="1117655"/>
                </a:cubicBezTo>
                <a:cubicBezTo>
                  <a:pt x="217682" y="1109400"/>
                  <a:pt x="220477" y="1102338"/>
                  <a:pt x="226068" y="1096621"/>
                </a:cubicBezTo>
                <a:cubicBezTo>
                  <a:pt x="231659" y="1091023"/>
                  <a:pt x="238847" y="1088096"/>
                  <a:pt x="247899" y="1088096"/>
                </a:cubicBezTo>
                <a:close/>
                <a:moveTo>
                  <a:pt x="30255" y="1088096"/>
                </a:moveTo>
                <a:cubicBezTo>
                  <a:pt x="34515" y="1088096"/>
                  <a:pt x="38509" y="1088894"/>
                  <a:pt x="41970" y="1090626"/>
                </a:cubicBezTo>
                <a:cubicBezTo>
                  <a:pt x="45697" y="1092224"/>
                  <a:pt x="48759" y="1094358"/>
                  <a:pt x="51288" y="1097017"/>
                </a:cubicBezTo>
                <a:cubicBezTo>
                  <a:pt x="53950" y="1099551"/>
                  <a:pt x="55947" y="1102738"/>
                  <a:pt x="57411" y="1106339"/>
                </a:cubicBezTo>
                <a:cubicBezTo>
                  <a:pt x="58875" y="1109929"/>
                  <a:pt x="59674" y="1113794"/>
                  <a:pt x="59674" y="1117780"/>
                </a:cubicBezTo>
                <a:cubicBezTo>
                  <a:pt x="59674" y="1121908"/>
                  <a:pt x="58875" y="1125907"/>
                  <a:pt x="57411" y="1129494"/>
                </a:cubicBezTo>
                <a:cubicBezTo>
                  <a:pt x="55947" y="1133094"/>
                  <a:pt x="53817" y="1136155"/>
                  <a:pt x="51288" y="1138815"/>
                </a:cubicBezTo>
                <a:cubicBezTo>
                  <a:pt x="48625" y="1141478"/>
                  <a:pt x="45564" y="1143611"/>
                  <a:pt x="41970" y="1145076"/>
                </a:cubicBezTo>
                <a:cubicBezTo>
                  <a:pt x="38376" y="1146541"/>
                  <a:pt x="34515" y="1147340"/>
                  <a:pt x="30255" y="1147340"/>
                </a:cubicBezTo>
                <a:cubicBezTo>
                  <a:pt x="21337" y="1147340"/>
                  <a:pt x="14015" y="1144408"/>
                  <a:pt x="8424" y="1138815"/>
                </a:cubicBezTo>
                <a:cubicBezTo>
                  <a:pt x="2833" y="1133094"/>
                  <a:pt x="38" y="1126167"/>
                  <a:pt x="38" y="1117655"/>
                </a:cubicBezTo>
                <a:cubicBezTo>
                  <a:pt x="38" y="1109400"/>
                  <a:pt x="2833" y="1102338"/>
                  <a:pt x="8424" y="1096621"/>
                </a:cubicBezTo>
                <a:cubicBezTo>
                  <a:pt x="14015" y="1091023"/>
                  <a:pt x="21203" y="1088096"/>
                  <a:pt x="30255" y="1088096"/>
                </a:cubicBezTo>
                <a:close/>
                <a:moveTo>
                  <a:pt x="30247" y="887113"/>
                </a:moveTo>
                <a:cubicBezTo>
                  <a:pt x="24390" y="887113"/>
                  <a:pt x="21861" y="889109"/>
                  <a:pt x="20264" y="890707"/>
                </a:cubicBezTo>
                <a:cubicBezTo>
                  <a:pt x="17734" y="893369"/>
                  <a:pt x="16670" y="896164"/>
                  <a:pt x="16670" y="900158"/>
                </a:cubicBezTo>
                <a:cubicBezTo>
                  <a:pt x="16670" y="904285"/>
                  <a:pt x="17734" y="907080"/>
                  <a:pt x="20264" y="909609"/>
                </a:cubicBezTo>
                <a:cubicBezTo>
                  <a:pt x="21861" y="911207"/>
                  <a:pt x="24390" y="913070"/>
                  <a:pt x="30247" y="913070"/>
                </a:cubicBezTo>
                <a:cubicBezTo>
                  <a:pt x="32377" y="913070"/>
                  <a:pt x="34108" y="912804"/>
                  <a:pt x="35572" y="912005"/>
                </a:cubicBezTo>
                <a:cubicBezTo>
                  <a:pt x="37036" y="911473"/>
                  <a:pt x="38368" y="910674"/>
                  <a:pt x="39299" y="909609"/>
                </a:cubicBezTo>
                <a:cubicBezTo>
                  <a:pt x="40364" y="908544"/>
                  <a:pt x="41296" y="907080"/>
                  <a:pt x="41962" y="905483"/>
                </a:cubicBezTo>
                <a:cubicBezTo>
                  <a:pt x="42627" y="903885"/>
                  <a:pt x="42893" y="902021"/>
                  <a:pt x="42893" y="900025"/>
                </a:cubicBezTo>
                <a:cubicBezTo>
                  <a:pt x="42893" y="898161"/>
                  <a:pt x="42627" y="896431"/>
                  <a:pt x="41962" y="894833"/>
                </a:cubicBezTo>
                <a:cubicBezTo>
                  <a:pt x="41296" y="893236"/>
                  <a:pt x="40364" y="891905"/>
                  <a:pt x="39299" y="890707"/>
                </a:cubicBezTo>
                <a:cubicBezTo>
                  <a:pt x="38234" y="889642"/>
                  <a:pt x="36903" y="888710"/>
                  <a:pt x="35306" y="888044"/>
                </a:cubicBezTo>
                <a:cubicBezTo>
                  <a:pt x="33842" y="887512"/>
                  <a:pt x="32244" y="887113"/>
                  <a:pt x="30247" y="887113"/>
                </a:cubicBezTo>
                <a:close/>
                <a:moveTo>
                  <a:pt x="247891" y="887113"/>
                </a:moveTo>
                <a:cubicBezTo>
                  <a:pt x="242034" y="887113"/>
                  <a:pt x="239505" y="889109"/>
                  <a:pt x="237908" y="890707"/>
                </a:cubicBezTo>
                <a:cubicBezTo>
                  <a:pt x="235378" y="893369"/>
                  <a:pt x="234315" y="896164"/>
                  <a:pt x="234315" y="900158"/>
                </a:cubicBezTo>
                <a:cubicBezTo>
                  <a:pt x="234315" y="904285"/>
                  <a:pt x="235378" y="907080"/>
                  <a:pt x="237908" y="909609"/>
                </a:cubicBezTo>
                <a:cubicBezTo>
                  <a:pt x="239505" y="911207"/>
                  <a:pt x="242034" y="913070"/>
                  <a:pt x="247891" y="913070"/>
                </a:cubicBezTo>
                <a:cubicBezTo>
                  <a:pt x="250021" y="913070"/>
                  <a:pt x="251753" y="912804"/>
                  <a:pt x="253216" y="912005"/>
                </a:cubicBezTo>
                <a:cubicBezTo>
                  <a:pt x="254680" y="911473"/>
                  <a:pt x="256011" y="910674"/>
                  <a:pt x="256943" y="909609"/>
                </a:cubicBezTo>
                <a:cubicBezTo>
                  <a:pt x="258008" y="908544"/>
                  <a:pt x="258940" y="907080"/>
                  <a:pt x="259607" y="905483"/>
                </a:cubicBezTo>
                <a:cubicBezTo>
                  <a:pt x="260272" y="903885"/>
                  <a:pt x="260672" y="902021"/>
                  <a:pt x="260672" y="900025"/>
                </a:cubicBezTo>
                <a:cubicBezTo>
                  <a:pt x="260672" y="898161"/>
                  <a:pt x="260272" y="896431"/>
                  <a:pt x="259607" y="894833"/>
                </a:cubicBezTo>
                <a:cubicBezTo>
                  <a:pt x="258940" y="893236"/>
                  <a:pt x="258008" y="891905"/>
                  <a:pt x="256943" y="890707"/>
                </a:cubicBezTo>
                <a:cubicBezTo>
                  <a:pt x="255878" y="889642"/>
                  <a:pt x="254547" y="888710"/>
                  <a:pt x="252950" y="888044"/>
                </a:cubicBezTo>
                <a:cubicBezTo>
                  <a:pt x="251485" y="887512"/>
                  <a:pt x="249888" y="887113"/>
                  <a:pt x="247891" y="887113"/>
                </a:cubicBezTo>
                <a:close/>
                <a:moveTo>
                  <a:pt x="683180" y="887113"/>
                </a:moveTo>
                <a:cubicBezTo>
                  <a:pt x="677323" y="887113"/>
                  <a:pt x="674794" y="889109"/>
                  <a:pt x="673197" y="890707"/>
                </a:cubicBezTo>
                <a:cubicBezTo>
                  <a:pt x="670667" y="893369"/>
                  <a:pt x="669603" y="896164"/>
                  <a:pt x="669603" y="900158"/>
                </a:cubicBezTo>
                <a:cubicBezTo>
                  <a:pt x="669603" y="904285"/>
                  <a:pt x="670667" y="907080"/>
                  <a:pt x="673197" y="909609"/>
                </a:cubicBezTo>
                <a:cubicBezTo>
                  <a:pt x="674794" y="911207"/>
                  <a:pt x="677323" y="913070"/>
                  <a:pt x="683180" y="913070"/>
                </a:cubicBezTo>
                <a:cubicBezTo>
                  <a:pt x="685177" y="913070"/>
                  <a:pt x="687041" y="912804"/>
                  <a:pt x="688505" y="912005"/>
                </a:cubicBezTo>
                <a:cubicBezTo>
                  <a:pt x="689969" y="911473"/>
                  <a:pt x="691301" y="910674"/>
                  <a:pt x="692232" y="909609"/>
                </a:cubicBezTo>
                <a:cubicBezTo>
                  <a:pt x="693297" y="908544"/>
                  <a:pt x="694229" y="907080"/>
                  <a:pt x="694895" y="905483"/>
                </a:cubicBezTo>
                <a:cubicBezTo>
                  <a:pt x="695560" y="903885"/>
                  <a:pt x="695960" y="902021"/>
                  <a:pt x="695960" y="900025"/>
                </a:cubicBezTo>
                <a:cubicBezTo>
                  <a:pt x="695960" y="898161"/>
                  <a:pt x="695560" y="896431"/>
                  <a:pt x="694895" y="894833"/>
                </a:cubicBezTo>
                <a:cubicBezTo>
                  <a:pt x="694229" y="893236"/>
                  <a:pt x="693297" y="891905"/>
                  <a:pt x="692232" y="890707"/>
                </a:cubicBezTo>
                <a:cubicBezTo>
                  <a:pt x="691167" y="889642"/>
                  <a:pt x="689836" y="888710"/>
                  <a:pt x="688239" y="888044"/>
                </a:cubicBezTo>
                <a:cubicBezTo>
                  <a:pt x="686775" y="887512"/>
                  <a:pt x="685177" y="887113"/>
                  <a:pt x="683180" y="887113"/>
                </a:cubicBezTo>
                <a:close/>
                <a:moveTo>
                  <a:pt x="465536" y="887113"/>
                </a:moveTo>
                <a:cubicBezTo>
                  <a:pt x="459678" y="887113"/>
                  <a:pt x="457150" y="889109"/>
                  <a:pt x="455552" y="890707"/>
                </a:cubicBezTo>
                <a:cubicBezTo>
                  <a:pt x="453022" y="893369"/>
                  <a:pt x="451959" y="896164"/>
                  <a:pt x="451959" y="900158"/>
                </a:cubicBezTo>
                <a:cubicBezTo>
                  <a:pt x="451959" y="904285"/>
                  <a:pt x="453022" y="907080"/>
                  <a:pt x="455552" y="909609"/>
                </a:cubicBezTo>
                <a:cubicBezTo>
                  <a:pt x="457150" y="911207"/>
                  <a:pt x="459678" y="913070"/>
                  <a:pt x="465536" y="913070"/>
                </a:cubicBezTo>
                <a:cubicBezTo>
                  <a:pt x="467533" y="913070"/>
                  <a:pt x="469397" y="912804"/>
                  <a:pt x="470861" y="912005"/>
                </a:cubicBezTo>
                <a:cubicBezTo>
                  <a:pt x="472325" y="911473"/>
                  <a:pt x="473656" y="910674"/>
                  <a:pt x="474588" y="909609"/>
                </a:cubicBezTo>
                <a:cubicBezTo>
                  <a:pt x="475653" y="908544"/>
                  <a:pt x="476585" y="907080"/>
                  <a:pt x="477251" y="905483"/>
                </a:cubicBezTo>
                <a:cubicBezTo>
                  <a:pt x="477916" y="903885"/>
                  <a:pt x="478316" y="902021"/>
                  <a:pt x="478316" y="900025"/>
                </a:cubicBezTo>
                <a:cubicBezTo>
                  <a:pt x="478316" y="898161"/>
                  <a:pt x="477916" y="896431"/>
                  <a:pt x="477251" y="894833"/>
                </a:cubicBezTo>
                <a:cubicBezTo>
                  <a:pt x="476585" y="893236"/>
                  <a:pt x="475653" y="891905"/>
                  <a:pt x="474588" y="890707"/>
                </a:cubicBezTo>
                <a:cubicBezTo>
                  <a:pt x="473523" y="889642"/>
                  <a:pt x="472192" y="888710"/>
                  <a:pt x="470595" y="888044"/>
                </a:cubicBezTo>
                <a:cubicBezTo>
                  <a:pt x="469131" y="887512"/>
                  <a:pt x="467533" y="887113"/>
                  <a:pt x="465536" y="887113"/>
                </a:cubicBezTo>
                <a:close/>
                <a:moveTo>
                  <a:pt x="900958" y="887113"/>
                </a:moveTo>
                <a:cubicBezTo>
                  <a:pt x="895100" y="887113"/>
                  <a:pt x="892571" y="889108"/>
                  <a:pt x="890973" y="890707"/>
                </a:cubicBezTo>
                <a:cubicBezTo>
                  <a:pt x="888311" y="893369"/>
                  <a:pt x="887247" y="896164"/>
                  <a:pt x="887247" y="900158"/>
                </a:cubicBezTo>
                <a:cubicBezTo>
                  <a:pt x="887247" y="904285"/>
                  <a:pt x="888311" y="907080"/>
                  <a:pt x="890841" y="909609"/>
                </a:cubicBezTo>
                <a:cubicBezTo>
                  <a:pt x="892438" y="911207"/>
                  <a:pt x="894967" y="913070"/>
                  <a:pt x="900824" y="913070"/>
                </a:cubicBezTo>
                <a:cubicBezTo>
                  <a:pt x="902821" y="913070"/>
                  <a:pt x="904552" y="912804"/>
                  <a:pt x="906282" y="912005"/>
                </a:cubicBezTo>
                <a:cubicBezTo>
                  <a:pt x="907746" y="911473"/>
                  <a:pt x="909078" y="910674"/>
                  <a:pt x="910010" y="909609"/>
                </a:cubicBezTo>
                <a:cubicBezTo>
                  <a:pt x="911074" y="908544"/>
                  <a:pt x="912006" y="907080"/>
                  <a:pt x="912672" y="905483"/>
                </a:cubicBezTo>
                <a:cubicBezTo>
                  <a:pt x="913337" y="903885"/>
                  <a:pt x="913737" y="902021"/>
                  <a:pt x="913737" y="900025"/>
                </a:cubicBezTo>
                <a:cubicBezTo>
                  <a:pt x="913737" y="898161"/>
                  <a:pt x="913337" y="896431"/>
                  <a:pt x="912672" y="894833"/>
                </a:cubicBezTo>
                <a:cubicBezTo>
                  <a:pt x="912006" y="893236"/>
                  <a:pt x="911074" y="891905"/>
                  <a:pt x="910010" y="890707"/>
                </a:cubicBezTo>
                <a:cubicBezTo>
                  <a:pt x="908945" y="889642"/>
                  <a:pt x="907613" y="888710"/>
                  <a:pt x="906016" y="888044"/>
                </a:cubicBezTo>
                <a:cubicBezTo>
                  <a:pt x="904552" y="887512"/>
                  <a:pt x="902954" y="887113"/>
                  <a:pt x="900958" y="887113"/>
                </a:cubicBezTo>
                <a:close/>
                <a:moveTo>
                  <a:pt x="1335981" y="887112"/>
                </a:moveTo>
                <a:cubicBezTo>
                  <a:pt x="1330123" y="887112"/>
                  <a:pt x="1327594" y="889108"/>
                  <a:pt x="1325998" y="890706"/>
                </a:cubicBezTo>
                <a:cubicBezTo>
                  <a:pt x="1323467" y="893369"/>
                  <a:pt x="1322403" y="896164"/>
                  <a:pt x="1322403" y="900158"/>
                </a:cubicBezTo>
                <a:cubicBezTo>
                  <a:pt x="1322403" y="904285"/>
                  <a:pt x="1323467" y="907080"/>
                  <a:pt x="1325998" y="909609"/>
                </a:cubicBezTo>
                <a:cubicBezTo>
                  <a:pt x="1327594" y="911207"/>
                  <a:pt x="1330123" y="913070"/>
                  <a:pt x="1335981" y="913070"/>
                </a:cubicBezTo>
                <a:cubicBezTo>
                  <a:pt x="1338111" y="913070"/>
                  <a:pt x="1339841" y="912804"/>
                  <a:pt x="1341307" y="912005"/>
                </a:cubicBezTo>
                <a:cubicBezTo>
                  <a:pt x="1342770" y="911473"/>
                  <a:pt x="1344101" y="910674"/>
                  <a:pt x="1345033" y="909609"/>
                </a:cubicBezTo>
                <a:cubicBezTo>
                  <a:pt x="1346098" y="908544"/>
                  <a:pt x="1347031" y="907080"/>
                  <a:pt x="1347696" y="905483"/>
                </a:cubicBezTo>
                <a:cubicBezTo>
                  <a:pt x="1348361" y="903885"/>
                  <a:pt x="1348762" y="902021"/>
                  <a:pt x="1348762" y="900025"/>
                </a:cubicBezTo>
                <a:cubicBezTo>
                  <a:pt x="1348762" y="898160"/>
                  <a:pt x="1348361" y="896430"/>
                  <a:pt x="1347696" y="894833"/>
                </a:cubicBezTo>
                <a:cubicBezTo>
                  <a:pt x="1347031" y="893235"/>
                  <a:pt x="1346098" y="891904"/>
                  <a:pt x="1345033" y="890706"/>
                </a:cubicBezTo>
                <a:cubicBezTo>
                  <a:pt x="1343968" y="889641"/>
                  <a:pt x="1342637" y="888709"/>
                  <a:pt x="1341040" y="888043"/>
                </a:cubicBezTo>
                <a:cubicBezTo>
                  <a:pt x="1339575" y="887511"/>
                  <a:pt x="1337977" y="887112"/>
                  <a:pt x="1335981" y="887112"/>
                </a:cubicBezTo>
                <a:close/>
                <a:moveTo>
                  <a:pt x="1118469" y="887112"/>
                </a:moveTo>
                <a:cubicBezTo>
                  <a:pt x="1112612" y="887112"/>
                  <a:pt x="1110082" y="889108"/>
                  <a:pt x="1108485" y="890706"/>
                </a:cubicBezTo>
                <a:cubicBezTo>
                  <a:pt x="1105822" y="893369"/>
                  <a:pt x="1104758" y="896164"/>
                  <a:pt x="1104758" y="900158"/>
                </a:cubicBezTo>
                <a:cubicBezTo>
                  <a:pt x="1104758" y="904285"/>
                  <a:pt x="1105822" y="907080"/>
                  <a:pt x="1108352" y="909609"/>
                </a:cubicBezTo>
                <a:cubicBezTo>
                  <a:pt x="1109949" y="911207"/>
                  <a:pt x="1112479" y="913070"/>
                  <a:pt x="1118336" y="913070"/>
                </a:cubicBezTo>
                <a:cubicBezTo>
                  <a:pt x="1120465" y="913070"/>
                  <a:pt x="1122197" y="912804"/>
                  <a:pt x="1123794" y="912005"/>
                </a:cubicBezTo>
                <a:cubicBezTo>
                  <a:pt x="1125258" y="911473"/>
                  <a:pt x="1126591" y="910674"/>
                  <a:pt x="1127521" y="909609"/>
                </a:cubicBezTo>
                <a:cubicBezTo>
                  <a:pt x="1128586" y="908544"/>
                  <a:pt x="1129518" y="907080"/>
                  <a:pt x="1130184" y="905483"/>
                </a:cubicBezTo>
                <a:cubicBezTo>
                  <a:pt x="1130849" y="903885"/>
                  <a:pt x="1131250" y="902021"/>
                  <a:pt x="1131250" y="900025"/>
                </a:cubicBezTo>
                <a:cubicBezTo>
                  <a:pt x="1131250" y="898161"/>
                  <a:pt x="1130849" y="896431"/>
                  <a:pt x="1130184" y="894833"/>
                </a:cubicBezTo>
                <a:cubicBezTo>
                  <a:pt x="1129518" y="893235"/>
                  <a:pt x="1128586" y="891904"/>
                  <a:pt x="1127521" y="890706"/>
                </a:cubicBezTo>
                <a:cubicBezTo>
                  <a:pt x="1126456" y="889641"/>
                  <a:pt x="1125125" y="888710"/>
                  <a:pt x="1123527" y="888043"/>
                </a:cubicBezTo>
                <a:cubicBezTo>
                  <a:pt x="1122064" y="887511"/>
                  <a:pt x="1120465" y="887112"/>
                  <a:pt x="1118469" y="887112"/>
                </a:cubicBezTo>
                <a:close/>
                <a:moveTo>
                  <a:pt x="1771270" y="887112"/>
                </a:moveTo>
                <a:cubicBezTo>
                  <a:pt x="1765413" y="887112"/>
                  <a:pt x="1762883" y="889108"/>
                  <a:pt x="1761287" y="890706"/>
                </a:cubicBezTo>
                <a:cubicBezTo>
                  <a:pt x="1758757" y="893368"/>
                  <a:pt x="1757692" y="896163"/>
                  <a:pt x="1757692" y="900157"/>
                </a:cubicBezTo>
                <a:cubicBezTo>
                  <a:pt x="1757692" y="904284"/>
                  <a:pt x="1758757" y="907080"/>
                  <a:pt x="1761287" y="909608"/>
                </a:cubicBezTo>
                <a:cubicBezTo>
                  <a:pt x="1762883" y="911207"/>
                  <a:pt x="1765413" y="913070"/>
                  <a:pt x="1771270" y="913070"/>
                </a:cubicBezTo>
                <a:cubicBezTo>
                  <a:pt x="1773267" y="913070"/>
                  <a:pt x="1775131" y="912804"/>
                  <a:pt x="1776594" y="912005"/>
                </a:cubicBezTo>
                <a:cubicBezTo>
                  <a:pt x="1778059" y="911473"/>
                  <a:pt x="1779390" y="910674"/>
                  <a:pt x="1780322" y="909608"/>
                </a:cubicBezTo>
                <a:cubicBezTo>
                  <a:pt x="1781387" y="908543"/>
                  <a:pt x="1782318" y="907080"/>
                  <a:pt x="1782985" y="905482"/>
                </a:cubicBezTo>
                <a:cubicBezTo>
                  <a:pt x="1783649" y="903884"/>
                  <a:pt x="1784050" y="902020"/>
                  <a:pt x="1784050" y="900024"/>
                </a:cubicBezTo>
                <a:cubicBezTo>
                  <a:pt x="1784050" y="898160"/>
                  <a:pt x="1783649" y="896430"/>
                  <a:pt x="1782985" y="894832"/>
                </a:cubicBezTo>
                <a:cubicBezTo>
                  <a:pt x="1782318" y="893235"/>
                  <a:pt x="1781387" y="891904"/>
                  <a:pt x="1780322" y="890706"/>
                </a:cubicBezTo>
                <a:cubicBezTo>
                  <a:pt x="1779257" y="889641"/>
                  <a:pt x="1777926" y="888709"/>
                  <a:pt x="1776329" y="888043"/>
                </a:cubicBezTo>
                <a:cubicBezTo>
                  <a:pt x="1774864" y="887511"/>
                  <a:pt x="1773267" y="887112"/>
                  <a:pt x="1771270" y="887112"/>
                </a:cubicBezTo>
                <a:close/>
                <a:moveTo>
                  <a:pt x="1553626" y="887112"/>
                </a:moveTo>
                <a:cubicBezTo>
                  <a:pt x="1547768" y="887112"/>
                  <a:pt x="1545239" y="889108"/>
                  <a:pt x="1543642" y="890706"/>
                </a:cubicBezTo>
                <a:cubicBezTo>
                  <a:pt x="1541113" y="893368"/>
                  <a:pt x="1540048" y="896163"/>
                  <a:pt x="1540048" y="900158"/>
                </a:cubicBezTo>
                <a:cubicBezTo>
                  <a:pt x="1540048" y="904285"/>
                  <a:pt x="1541113" y="907080"/>
                  <a:pt x="1543642" y="909609"/>
                </a:cubicBezTo>
                <a:cubicBezTo>
                  <a:pt x="1545239" y="911207"/>
                  <a:pt x="1547768" y="913070"/>
                  <a:pt x="1553626" y="913070"/>
                </a:cubicBezTo>
                <a:cubicBezTo>
                  <a:pt x="1555623" y="913070"/>
                  <a:pt x="1557486" y="912804"/>
                  <a:pt x="1558950" y="912005"/>
                </a:cubicBezTo>
                <a:cubicBezTo>
                  <a:pt x="1560415" y="911473"/>
                  <a:pt x="1561747" y="910674"/>
                  <a:pt x="1562678" y="909609"/>
                </a:cubicBezTo>
                <a:cubicBezTo>
                  <a:pt x="1563742" y="908544"/>
                  <a:pt x="1564675" y="907080"/>
                  <a:pt x="1565340" y="905482"/>
                </a:cubicBezTo>
                <a:cubicBezTo>
                  <a:pt x="1566005" y="903885"/>
                  <a:pt x="1566406" y="902021"/>
                  <a:pt x="1566406" y="900024"/>
                </a:cubicBezTo>
                <a:cubicBezTo>
                  <a:pt x="1566406" y="898160"/>
                  <a:pt x="1566005" y="896430"/>
                  <a:pt x="1565340" y="894832"/>
                </a:cubicBezTo>
                <a:cubicBezTo>
                  <a:pt x="1564675" y="893235"/>
                  <a:pt x="1563742" y="891904"/>
                  <a:pt x="1562678" y="890706"/>
                </a:cubicBezTo>
                <a:cubicBezTo>
                  <a:pt x="1561612" y="889641"/>
                  <a:pt x="1560282" y="888709"/>
                  <a:pt x="1558684" y="888043"/>
                </a:cubicBezTo>
                <a:cubicBezTo>
                  <a:pt x="1557220" y="887511"/>
                  <a:pt x="1555623" y="887112"/>
                  <a:pt x="1553626" y="887112"/>
                </a:cubicBezTo>
                <a:close/>
                <a:moveTo>
                  <a:pt x="1988913" y="887112"/>
                </a:moveTo>
                <a:cubicBezTo>
                  <a:pt x="1983055" y="887112"/>
                  <a:pt x="1980526" y="889108"/>
                  <a:pt x="1978930" y="890706"/>
                </a:cubicBezTo>
                <a:cubicBezTo>
                  <a:pt x="1976399" y="893368"/>
                  <a:pt x="1975335" y="896163"/>
                  <a:pt x="1975335" y="900157"/>
                </a:cubicBezTo>
                <a:cubicBezTo>
                  <a:pt x="1975335" y="904284"/>
                  <a:pt x="1976399" y="907079"/>
                  <a:pt x="1978930" y="909608"/>
                </a:cubicBezTo>
                <a:cubicBezTo>
                  <a:pt x="1980526" y="911206"/>
                  <a:pt x="1983055" y="913070"/>
                  <a:pt x="1988913" y="913070"/>
                </a:cubicBezTo>
                <a:cubicBezTo>
                  <a:pt x="1990909" y="913070"/>
                  <a:pt x="1992641" y="912803"/>
                  <a:pt x="1994237" y="912004"/>
                </a:cubicBezTo>
                <a:cubicBezTo>
                  <a:pt x="1995835" y="911473"/>
                  <a:pt x="1997034" y="910673"/>
                  <a:pt x="1997965" y="909608"/>
                </a:cubicBezTo>
                <a:cubicBezTo>
                  <a:pt x="1999029" y="908543"/>
                  <a:pt x="1999962" y="907079"/>
                  <a:pt x="2000628" y="905482"/>
                </a:cubicBezTo>
                <a:cubicBezTo>
                  <a:pt x="2001160" y="903884"/>
                  <a:pt x="2001558" y="902020"/>
                  <a:pt x="2001558" y="900024"/>
                </a:cubicBezTo>
                <a:cubicBezTo>
                  <a:pt x="2001558" y="898160"/>
                  <a:pt x="2001293" y="896430"/>
                  <a:pt x="2000628" y="894832"/>
                </a:cubicBezTo>
                <a:cubicBezTo>
                  <a:pt x="1999962" y="893235"/>
                  <a:pt x="1999029" y="891904"/>
                  <a:pt x="1997965" y="890706"/>
                </a:cubicBezTo>
                <a:cubicBezTo>
                  <a:pt x="1996901" y="889641"/>
                  <a:pt x="1995569" y="888709"/>
                  <a:pt x="1993971" y="888043"/>
                </a:cubicBezTo>
                <a:cubicBezTo>
                  <a:pt x="1992507" y="887511"/>
                  <a:pt x="1990909" y="887112"/>
                  <a:pt x="1988913" y="887112"/>
                </a:cubicBezTo>
                <a:close/>
                <a:moveTo>
                  <a:pt x="2424075" y="887112"/>
                </a:moveTo>
                <a:cubicBezTo>
                  <a:pt x="2418218" y="887112"/>
                  <a:pt x="2415689" y="889108"/>
                  <a:pt x="2414092" y="890706"/>
                </a:cubicBezTo>
                <a:cubicBezTo>
                  <a:pt x="2411562" y="893368"/>
                  <a:pt x="2410498" y="896163"/>
                  <a:pt x="2410498" y="900157"/>
                </a:cubicBezTo>
                <a:cubicBezTo>
                  <a:pt x="2410498" y="904284"/>
                  <a:pt x="2411562" y="907079"/>
                  <a:pt x="2414092" y="909608"/>
                </a:cubicBezTo>
                <a:cubicBezTo>
                  <a:pt x="2415689" y="911206"/>
                  <a:pt x="2418218" y="913069"/>
                  <a:pt x="2424075" y="913069"/>
                </a:cubicBezTo>
                <a:cubicBezTo>
                  <a:pt x="2426205" y="913069"/>
                  <a:pt x="2427936" y="912803"/>
                  <a:pt x="2429400" y="912004"/>
                </a:cubicBezTo>
                <a:cubicBezTo>
                  <a:pt x="2430998" y="911472"/>
                  <a:pt x="2432196" y="910673"/>
                  <a:pt x="2433127" y="909608"/>
                </a:cubicBezTo>
                <a:cubicBezTo>
                  <a:pt x="2434192" y="908543"/>
                  <a:pt x="2435124" y="907079"/>
                  <a:pt x="2435790" y="905482"/>
                </a:cubicBezTo>
                <a:cubicBezTo>
                  <a:pt x="2436322" y="903884"/>
                  <a:pt x="2436722" y="902020"/>
                  <a:pt x="2436722" y="900024"/>
                </a:cubicBezTo>
                <a:cubicBezTo>
                  <a:pt x="2436722" y="898160"/>
                  <a:pt x="2436455" y="896430"/>
                  <a:pt x="2435790" y="894832"/>
                </a:cubicBezTo>
                <a:cubicBezTo>
                  <a:pt x="2435124" y="893235"/>
                  <a:pt x="2434192" y="891904"/>
                  <a:pt x="2433127" y="890706"/>
                </a:cubicBezTo>
                <a:cubicBezTo>
                  <a:pt x="2432064" y="889641"/>
                  <a:pt x="2430732" y="888709"/>
                  <a:pt x="2429134" y="888043"/>
                </a:cubicBezTo>
                <a:cubicBezTo>
                  <a:pt x="2427670" y="887511"/>
                  <a:pt x="2426072" y="887112"/>
                  <a:pt x="2424075" y="887112"/>
                </a:cubicBezTo>
                <a:close/>
                <a:moveTo>
                  <a:pt x="2206428" y="887112"/>
                </a:moveTo>
                <a:cubicBezTo>
                  <a:pt x="2200570" y="887112"/>
                  <a:pt x="2198041" y="889108"/>
                  <a:pt x="2196444" y="890706"/>
                </a:cubicBezTo>
                <a:cubicBezTo>
                  <a:pt x="2193914" y="893368"/>
                  <a:pt x="2192850" y="896163"/>
                  <a:pt x="2192850" y="900157"/>
                </a:cubicBezTo>
                <a:cubicBezTo>
                  <a:pt x="2192850" y="904284"/>
                  <a:pt x="2193914" y="907079"/>
                  <a:pt x="2196444" y="909608"/>
                </a:cubicBezTo>
                <a:cubicBezTo>
                  <a:pt x="2198041" y="911206"/>
                  <a:pt x="2200570" y="913069"/>
                  <a:pt x="2206428" y="913069"/>
                </a:cubicBezTo>
                <a:cubicBezTo>
                  <a:pt x="2208557" y="913069"/>
                  <a:pt x="2210289" y="912803"/>
                  <a:pt x="2211752" y="912004"/>
                </a:cubicBezTo>
                <a:cubicBezTo>
                  <a:pt x="2213350" y="911472"/>
                  <a:pt x="2214548" y="910673"/>
                  <a:pt x="2215479" y="909608"/>
                </a:cubicBezTo>
                <a:cubicBezTo>
                  <a:pt x="2216545" y="908543"/>
                  <a:pt x="2217476" y="907079"/>
                  <a:pt x="2218143" y="905482"/>
                </a:cubicBezTo>
                <a:cubicBezTo>
                  <a:pt x="2218675" y="903884"/>
                  <a:pt x="2219074" y="902020"/>
                  <a:pt x="2219074" y="900024"/>
                </a:cubicBezTo>
                <a:cubicBezTo>
                  <a:pt x="2219074" y="898160"/>
                  <a:pt x="2218808" y="896430"/>
                  <a:pt x="2218143" y="894832"/>
                </a:cubicBezTo>
                <a:cubicBezTo>
                  <a:pt x="2217476" y="893235"/>
                  <a:pt x="2216545" y="891904"/>
                  <a:pt x="2215479" y="890706"/>
                </a:cubicBezTo>
                <a:cubicBezTo>
                  <a:pt x="2214414" y="889641"/>
                  <a:pt x="2213084" y="888709"/>
                  <a:pt x="2211486" y="888043"/>
                </a:cubicBezTo>
                <a:cubicBezTo>
                  <a:pt x="2210022" y="887511"/>
                  <a:pt x="2208424" y="887112"/>
                  <a:pt x="2206428" y="887112"/>
                </a:cubicBezTo>
                <a:close/>
                <a:moveTo>
                  <a:pt x="3077151" y="887112"/>
                </a:moveTo>
                <a:cubicBezTo>
                  <a:pt x="3071294" y="887112"/>
                  <a:pt x="3068765" y="889108"/>
                  <a:pt x="3067169" y="890706"/>
                </a:cubicBezTo>
                <a:cubicBezTo>
                  <a:pt x="3064505" y="893368"/>
                  <a:pt x="3063440" y="896163"/>
                  <a:pt x="3063440" y="900157"/>
                </a:cubicBezTo>
                <a:cubicBezTo>
                  <a:pt x="3063440" y="904284"/>
                  <a:pt x="3064505" y="907079"/>
                  <a:pt x="3067035" y="909608"/>
                </a:cubicBezTo>
                <a:cubicBezTo>
                  <a:pt x="3068632" y="911206"/>
                  <a:pt x="3071162" y="913069"/>
                  <a:pt x="3077018" y="913069"/>
                </a:cubicBezTo>
                <a:cubicBezTo>
                  <a:pt x="3079016" y="913069"/>
                  <a:pt x="3080746" y="912803"/>
                  <a:pt x="3082476" y="912004"/>
                </a:cubicBezTo>
                <a:cubicBezTo>
                  <a:pt x="3083942" y="911472"/>
                  <a:pt x="3085273" y="910673"/>
                  <a:pt x="3086204" y="909608"/>
                </a:cubicBezTo>
                <a:cubicBezTo>
                  <a:pt x="3087268" y="908543"/>
                  <a:pt x="3088201" y="907079"/>
                  <a:pt x="3088866" y="905482"/>
                </a:cubicBezTo>
                <a:cubicBezTo>
                  <a:pt x="3089531" y="903884"/>
                  <a:pt x="3089799" y="902020"/>
                  <a:pt x="3089799" y="900024"/>
                </a:cubicBezTo>
                <a:cubicBezTo>
                  <a:pt x="3089799" y="898160"/>
                  <a:pt x="3089531" y="896430"/>
                  <a:pt x="3088866" y="894832"/>
                </a:cubicBezTo>
                <a:cubicBezTo>
                  <a:pt x="3088201" y="893235"/>
                  <a:pt x="3087268" y="891904"/>
                  <a:pt x="3086204" y="890706"/>
                </a:cubicBezTo>
                <a:cubicBezTo>
                  <a:pt x="3085139" y="889641"/>
                  <a:pt x="3083808" y="888709"/>
                  <a:pt x="3082211" y="888043"/>
                </a:cubicBezTo>
                <a:cubicBezTo>
                  <a:pt x="3080746" y="887511"/>
                  <a:pt x="3079148" y="887112"/>
                  <a:pt x="3077151" y="887112"/>
                </a:cubicBezTo>
                <a:close/>
                <a:moveTo>
                  <a:pt x="2859371" y="887112"/>
                </a:moveTo>
                <a:cubicBezTo>
                  <a:pt x="2853514" y="887112"/>
                  <a:pt x="2850985" y="889108"/>
                  <a:pt x="2849388" y="890706"/>
                </a:cubicBezTo>
                <a:cubicBezTo>
                  <a:pt x="2846856" y="893368"/>
                  <a:pt x="2845793" y="896163"/>
                  <a:pt x="2845793" y="900157"/>
                </a:cubicBezTo>
                <a:cubicBezTo>
                  <a:pt x="2845793" y="904284"/>
                  <a:pt x="2846856" y="907079"/>
                  <a:pt x="2849388" y="909608"/>
                </a:cubicBezTo>
                <a:cubicBezTo>
                  <a:pt x="2850985" y="911206"/>
                  <a:pt x="2853514" y="913069"/>
                  <a:pt x="2859371" y="913069"/>
                </a:cubicBezTo>
                <a:cubicBezTo>
                  <a:pt x="2861368" y="913069"/>
                  <a:pt x="2863232" y="912803"/>
                  <a:pt x="2864696" y="912004"/>
                </a:cubicBezTo>
                <a:cubicBezTo>
                  <a:pt x="2866294" y="911472"/>
                  <a:pt x="2867492" y="910673"/>
                  <a:pt x="2868423" y="909608"/>
                </a:cubicBezTo>
                <a:cubicBezTo>
                  <a:pt x="2869488" y="908543"/>
                  <a:pt x="2870420" y="907079"/>
                  <a:pt x="2871086" y="905482"/>
                </a:cubicBezTo>
                <a:cubicBezTo>
                  <a:pt x="2871618" y="903884"/>
                  <a:pt x="2872017" y="902020"/>
                  <a:pt x="2872017" y="900024"/>
                </a:cubicBezTo>
                <a:cubicBezTo>
                  <a:pt x="2872017" y="898160"/>
                  <a:pt x="2871751" y="896430"/>
                  <a:pt x="2871086" y="894832"/>
                </a:cubicBezTo>
                <a:cubicBezTo>
                  <a:pt x="2870420" y="893235"/>
                  <a:pt x="2869488" y="891904"/>
                  <a:pt x="2868423" y="890706"/>
                </a:cubicBezTo>
                <a:cubicBezTo>
                  <a:pt x="2867359" y="889641"/>
                  <a:pt x="2866027" y="888709"/>
                  <a:pt x="2864430" y="888043"/>
                </a:cubicBezTo>
                <a:cubicBezTo>
                  <a:pt x="2862966" y="887511"/>
                  <a:pt x="2861368" y="887112"/>
                  <a:pt x="2859371" y="887112"/>
                </a:cubicBezTo>
                <a:close/>
                <a:moveTo>
                  <a:pt x="2641723" y="887112"/>
                </a:moveTo>
                <a:cubicBezTo>
                  <a:pt x="2635866" y="887112"/>
                  <a:pt x="2633337" y="889108"/>
                  <a:pt x="2631740" y="890706"/>
                </a:cubicBezTo>
                <a:cubicBezTo>
                  <a:pt x="2629210" y="893368"/>
                  <a:pt x="2628146" y="896163"/>
                  <a:pt x="2628146" y="900157"/>
                </a:cubicBezTo>
                <a:cubicBezTo>
                  <a:pt x="2628146" y="904284"/>
                  <a:pt x="2629210" y="907079"/>
                  <a:pt x="2631740" y="909608"/>
                </a:cubicBezTo>
                <a:cubicBezTo>
                  <a:pt x="2633337" y="911206"/>
                  <a:pt x="2635866" y="913069"/>
                  <a:pt x="2641723" y="913069"/>
                </a:cubicBezTo>
                <a:cubicBezTo>
                  <a:pt x="2643720" y="913069"/>
                  <a:pt x="2645584" y="912803"/>
                  <a:pt x="2647048" y="912004"/>
                </a:cubicBezTo>
                <a:cubicBezTo>
                  <a:pt x="2648645" y="911472"/>
                  <a:pt x="2649843" y="910673"/>
                  <a:pt x="2650775" y="909608"/>
                </a:cubicBezTo>
                <a:cubicBezTo>
                  <a:pt x="2651840" y="908543"/>
                  <a:pt x="2652772" y="907079"/>
                  <a:pt x="2653438" y="905482"/>
                </a:cubicBezTo>
                <a:cubicBezTo>
                  <a:pt x="2653970" y="903884"/>
                  <a:pt x="2654369" y="902020"/>
                  <a:pt x="2654369" y="900024"/>
                </a:cubicBezTo>
                <a:cubicBezTo>
                  <a:pt x="2654369" y="898160"/>
                  <a:pt x="2654103" y="896430"/>
                  <a:pt x="2653438" y="894832"/>
                </a:cubicBezTo>
                <a:cubicBezTo>
                  <a:pt x="2652772" y="893235"/>
                  <a:pt x="2651840" y="891904"/>
                  <a:pt x="2650775" y="890706"/>
                </a:cubicBezTo>
                <a:cubicBezTo>
                  <a:pt x="2649710" y="889641"/>
                  <a:pt x="2648379" y="888709"/>
                  <a:pt x="2646782" y="888043"/>
                </a:cubicBezTo>
                <a:cubicBezTo>
                  <a:pt x="2645317" y="887511"/>
                  <a:pt x="2643720" y="887112"/>
                  <a:pt x="2641723" y="887112"/>
                </a:cubicBezTo>
                <a:close/>
                <a:moveTo>
                  <a:pt x="3512181" y="887111"/>
                </a:moveTo>
                <a:cubicBezTo>
                  <a:pt x="3506324" y="887111"/>
                  <a:pt x="3503794" y="889107"/>
                  <a:pt x="3502196" y="890706"/>
                </a:cubicBezTo>
                <a:cubicBezTo>
                  <a:pt x="3499667" y="893368"/>
                  <a:pt x="3498603" y="896163"/>
                  <a:pt x="3498603" y="900157"/>
                </a:cubicBezTo>
                <a:cubicBezTo>
                  <a:pt x="3498603" y="904284"/>
                  <a:pt x="3499667" y="907079"/>
                  <a:pt x="3502196" y="909608"/>
                </a:cubicBezTo>
                <a:cubicBezTo>
                  <a:pt x="3503794" y="911206"/>
                  <a:pt x="3506324" y="913069"/>
                  <a:pt x="3512181" y="913069"/>
                </a:cubicBezTo>
                <a:cubicBezTo>
                  <a:pt x="3514311" y="913069"/>
                  <a:pt x="3516042" y="912803"/>
                  <a:pt x="3517506" y="912004"/>
                </a:cubicBezTo>
                <a:cubicBezTo>
                  <a:pt x="3518970" y="911472"/>
                  <a:pt x="3520302" y="910673"/>
                  <a:pt x="3521233" y="909608"/>
                </a:cubicBezTo>
                <a:cubicBezTo>
                  <a:pt x="3522298" y="908543"/>
                  <a:pt x="3523230" y="907079"/>
                  <a:pt x="3523896" y="905482"/>
                </a:cubicBezTo>
                <a:cubicBezTo>
                  <a:pt x="3524561" y="903884"/>
                  <a:pt x="3524961" y="902020"/>
                  <a:pt x="3524961" y="900024"/>
                </a:cubicBezTo>
                <a:cubicBezTo>
                  <a:pt x="3524961" y="898159"/>
                  <a:pt x="3524561" y="896429"/>
                  <a:pt x="3523896" y="894832"/>
                </a:cubicBezTo>
                <a:cubicBezTo>
                  <a:pt x="3523230" y="893234"/>
                  <a:pt x="3522298" y="891903"/>
                  <a:pt x="3521233" y="890706"/>
                </a:cubicBezTo>
                <a:cubicBezTo>
                  <a:pt x="3520168" y="889640"/>
                  <a:pt x="3518837" y="888708"/>
                  <a:pt x="3517240" y="888042"/>
                </a:cubicBezTo>
                <a:cubicBezTo>
                  <a:pt x="3515776" y="887510"/>
                  <a:pt x="3514178" y="887111"/>
                  <a:pt x="3512181" y="887111"/>
                </a:cubicBezTo>
                <a:close/>
                <a:moveTo>
                  <a:pt x="3294666" y="887111"/>
                </a:moveTo>
                <a:cubicBezTo>
                  <a:pt x="3288809" y="887111"/>
                  <a:pt x="3286280" y="889108"/>
                  <a:pt x="3284682" y="890706"/>
                </a:cubicBezTo>
                <a:cubicBezTo>
                  <a:pt x="3282152" y="893368"/>
                  <a:pt x="3281088" y="896163"/>
                  <a:pt x="3281088" y="900157"/>
                </a:cubicBezTo>
                <a:cubicBezTo>
                  <a:pt x="3281088" y="904284"/>
                  <a:pt x="3282152" y="907079"/>
                  <a:pt x="3284682" y="909608"/>
                </a:cubicBezTo>
                <a:cubicBezTo>
                  <a:pt x="3286280" y="911206"/>
                  <a:pt x="3288809" y="913069"/>
                  <a:pt x="3294666" y="913069"/>
                </a:cubicBezTo>
                <a:cubicBezTo>
                  <a:pt x="3296663" y="913069"/>
                  <a:pt x="3298394" y="912803"/>
                  <a:pt x="3299992" y="912004"/>
                </a:cubicBezTo>
                <a:cubicBezTo>
                  <a:pt x="3301456" y="911472"/>
                  <a:pt x="3302787" y="910673"/>
                  <a:pt x="3303719" y="909608"/>
                </a:cubicBezTo>
                <a:cubicBezTo>
                  <a:pt x="3304784" y="908543"/>
                  <a:pt x="3305715" y="907079"/>
                  <a:pt x="3306382" y="905482"/>
                </a:cubicBezTo>
                <a:cubicBezTo>
                  <a:pt x="3307047" y="903884"/>
                  <a:pt x="3307445" y="902020"/>
                  <a:pt x="3307445" y="900024"/>
                </a:cubicBezTo>
                <a:cubicBezTo>
                  <a:pt x="3307445" y="898160"/>
                  <a:pt x="3307047" y="896430"/>
                  <a:pt x="3306382" y="894832"/>
                </a:cubicBezTo>
                <a:cubicBezTo>
                  <a:pt x="3305715" y="893235"/>
                  <a:pt x="3304784" y="891903"/>
                  <a:pt x="3303719" y="890706"/>
                </a:cubicBezTo>
                <a:cubicBezTo>
                  <a:pt x="3302653" y="889641"/>
                  <a:pt x="3301322" y="888708"/>
                  <a:pt x="3299725" y="888043"/>
                </a:cubicBezTo>
                <a:cubicBezTo>
                  <a:pt x="3298262" y="887511"/>
                  <a:pt x="3296663" y="887111"/>
                  <a:pt x="3294666" y="887111"/>
                </a:cubicBezTo>
                <a:close/>
                <a:moveTo>
                  <a:pt x="3729829" y="887111"/>
                </a:moveTo>
                <a:cubicBezTo>
                  <a:pt x="3723971" y="887111"/>
                  <a:pt x="3721442" y="889107"/>
                  <a:pt x="3719844" y="890705"/>
                </a:cubicBezTo>
                <a:cubicBezTo>
                  <a:pt x="3717314" y="893367"/>
                  <a:pt x="3716250" y="896163"/>
                  <a:pt x="3716250" y="900157"/>
                </a:cubicBezTo>
                <a:cubicBezTo>
                  <a:pt x="3716250" y="904284"/>
                  <a:pt x="3717314" y="907079"/>
                  <a:pt x="3719844" y="909608"/>
                </a:cubicBezTo>
                <a:cubicBezTo>
                  <a:pt x="3721442" y="911206"/>
                  <a:pt x="3723971" y="913069"/>
                  <a:pt x="3729829" y="913069"/>
                </a:cubicBezTo>
                <a:cubicBezTo>
                  <a:pt x="3731958" y="913069"/>
                  <a:pt x="3733690" y="912803"/>
                  <a:pt x="3735154" y="912004"/>
                </a:cubicBezTo>
                <a:cubicBezTo>
                  <a:pt x="3736617" y="911472"/>
                  <a:pt x="3737950" y="910673"/>
                  <a:pt x="3738880" y="909608"/>
                </a:cubicBezTo>
                <a:cubicBezTo>
                  <a:pt x="3739946" y="908542"/>
                  <a:pt x="3740878" y="907079"/>
                  <a:pt x="3741544" y="905482"/>
                </a:cubicBezTo>
                <a:cubicBezTo>
                  <a:pt x="3742209" y="903884"/>
                  <a:pt x="3742608" y="902020"/>
                  <a:pt x="3742608" y="900024"/>
                </a:cubicBezTo>
                <a:cubicBezTo>
                  <a:pt x="3742608" y="898159"/>
                  <a:pt x="3742209" y="896429"/>
                  <a:pt x="3741544" y="894831"/>
                </a:cubicBezTo>
                <a:cubicBezTo>
                  <a:pt x="3740878" y="893234"/>
                  <a:pt x="3739946" y="891903"/>
                  <a:pt x="3738880" y="890705"/>
                </a:cubicBezTo>
                <a:cubicBezTo>
                  <a:pt x="3737816" y="889640"/>
                  <a:pt x="3736485" y="888708"/>
                  <a:pt x="3734888" y="888042"/>
                </a:cubicBezTo>
                <a:cubicBezTo>
                  <a:pt x="3733423" y="887510"/>
                  <a:pt x="3731825" y="887111"/>
                  <a:pt x="3729829" y="887111"/>
                </a:cubicBezTo>
                <a:close/>
                <a:moveTo>
                  <a:pt x="4165068" y="887111"/>
                </a:moveTo>
                <a:cubicBezTo>
                  <a:pt x="4159211" y="887111"/>
                  <a:pt x="4156681" y="889107"/>
                  <a:pt x="4155084" y="890705"/>
                </a:cubicBezTo>
                <a:cubicBezTo>
                  <a:pt x="4152555" y="893367"/>
                  <a:pt x="4151490" y="896162"/>
                  <a:pt x="4151490" y="900156"/>
                </a:cubicBezTo>
                <a:cubicBezTo>
                  <a:pt x="4151490" y="904283"/>
                  <a:pt x="4152555" y="907078"/>
                  <a:pt x="4155084" y="909607"/>
                </a:cubicBezTo>
                <a:cubicBezTo>
                  <a:pt x="4156681" y="911206"/>
                  <a:pt x="4159211" y="913068"/>
                  <a:pt x="4165068" y="913068"/>
                </a:cubicBezTo>
                <a:cubicBezTo>
                  <a:pt x="4167064" y="913068"/>
                  <a:pt x="4168928" y="912802"/>
                  <a:pt x="4170392" y="912003"/>
                </a:cubicBezTo>
                <a:cubicBezTo>
                  <a:pt x="4171856" y="911472"/>
                  <a:pt x="4173188" y="910673"/>
                  <a:pt x="4174119" y="909607"/>
                </a:cubicBezTo>
                <a:cubicBezTo>
                  <a:pt x="4175184" y="908542"/>
                  <a:pt x="4176116" y="907078"/>
                  <a:pt x="4176782" y="905481"/>
                </a:cubicBezTo>
                <a:cubicBezTo>
                  <a:pt x="4177447" y="903883"/>
                  <a:pt x="4177847" y="902019"/>
                  <a:pt x="4177847" y="900023"/>
                </a:cubicBezTo>
                <a:cubicBezTo>
                  <a:pt x="4177847" y="898159"/>
                  <a:pt x="4177447" y="896429"/>
                  <a:pt x="4176782" y="894831"/>
                </a:cubicBezTo>
                <a:cubicBezTo>
                  <a:pt x="4176116" y="893234"/>
                  <a:pt x="4175184" y="891903"/>
                  <a:pt x="4174119" y="890705"/>
                </a:cubicBezTo>
                <a:cubicBezTo>
                  <a:pt x="4173054" y="889640"/>
                  <a:pt x="4171723" y="888708"/>
                  <a:pt x="4170126" y="888042"/>
                </a:cubicBezTo>
                <a:cubicBezTo>
                  <a:pt x="4168662" y="887510"/>
                  <a:pt x="4167064" y="887111"/>
                  <a:pt x="4165068" y="887111"/>
                </a:cubicBezTo>
                <a:close/>
                <a:moveTo>
                  <a:pt x="3947477" y="887111"/>
                </a:moveTo>
                <a:cubicBezTo>
                  <a:pt x="3941619" y="887111"/>
                  <a:pt x="3939091" y="889107"/>
                  <a:pt x="3937494" y="890705"/>
                </a:cubicBezTo>
                <a:cubicBezTo>
                  <a:pt x="3934963" y="893367"/>
                  <a:pt x="3933899" y="896162"/>
                  <a:pt x="3933899" y="900156"/>
                </a:cubicBezTo>
                <a:cubicBezTo>
                  <a:pt x="3933899" y="904283"/>
                  <a:pt x="3934963" y="907079"/>
                  <a:pt x="3937494" y="909608"/>
                </a:cubicBezTo>
                <a:cubicBezTo>
                  <a:pt x="3939091" y="911206"/>
                  <a:pt x="3941619" y="913069"/>
                  <a:pt x="3947477" y="913069"/>
                </a:cubicBezTo>
                <a:cubicBezTo>
                  <a:pt x="3949474" y="913069"/>
                  <a:pt x="3951337" y="912803"/>
                  <a:pt x="3952802" y="912004"/>
                </a:cubicBezTo>
                <a:cubicBezTo>
                  <a:pt x="3954267" y="911472"/>
                  <a:pt x="3955597" y="910673"/>
                  <a:pt x="3956529" y="909608"/>
                </a:cubicBezTo>
                <a:cubicBezTo>
                  <a:pt x="3957594" y="908542"/>
                  <a:pt x="3958526" y="907079"/>
                  <a:pt x="3959192" y="905482"/>
                </a:cubicBezTo>
                <a:cubicBezTo>
                  <a:pt x="3959857" y="903884"/>
                  <a:pt x="3960257" y="902019"/>
                  <a:pt x="3960257" y="900023"/>
                </a:cubicBezTo>
                <a:cubicBezTo>
                  <a:pt x="3960257" y="898159"/>
                  <a:pt x="3959857" y="896429"/>
                  <a:pt x="3959192" y="894831"/>
                </a:cubicBezTo>
                <a:cubicBezTo>
                  <a:pt x="3958526" y="893234"/>
                  <a:pt x="3957594" y="891903"/>
                  <a:pt x="3956529" y="890705"/>
                </a:cubicBezTo>
                <a:cubicBezTo>
                  <a:pt x="3955464" y="889640"/>
                  <a:pt x="3954133" y="888708"/>
                  <a:pt x="3952536" y="888042"/>
                </a:cubicBezTo>
                <a:cubicBezTo>
                  <a:pt x="3951071" y="887510"/>
                  <a:pt x="3949474" y="887111"/>
                  <a:pt x="3947477" y="887111"/>
                </a:cubicBezTo>
                <a:close/>
                <a:moveTo>
                  <a:pt x="4600226" y="887111"/>
                </a:moveTo>
                <a:cubicBezTo>
                  <a:pt x="4594369" y="887111"/>
                  <a:pt x="4591839" y="889107"/>
                  <a:pt x="4590242" y="890705"/>
                </a:cubicBezTo>
                <a:cubicBezTo>
                  <a:pt x="4587713" y="893367"/>
                  <a:pt x="4586648" y="896162"/>
                  <a:pt x="4586648" y="900156"/>
                </a:cubicBezTo>
                <a:cubicBezTo>
                  <a:pt x="4586648" y="904283"/>
                  <a:pt x="4587713" y="907078"/>
                  <a:pt x="4590242" y="909607"/>
                </a:cubicBezTo>
                <a:cubicBezTo>
                  <a:pt x="4591839" y="911205"/>
                  <a:pt x="4594369" y="913068"/>
                  <a:pt x="4600226" y="913068"/>
                </a:cubicBezTo>
                <a:cubicBezTo>
                  <a:pt x="4602355" y="913068"/>
                  <a:pt x="4604086" y="912802"/>
                  <a:pt x="4605550" y="912003"/>
                </a:cubicBezTo>
                <a:cubicBezTo>
                  <a:pt x="4607148" y="911471"/>
                  <a:pt x="4608346" y="910672"/>
                  <a:pt x="4609277" y="909607"/>
                </a:cubicBezTo>
                <a:cubicBezTo>
                  <a:pt x="4610342" y="908542"/>
                  <a:pt x="4611274" y="907078"/>
                  <a:pt x="4611940" y="905481"/>
                </a:cubicBezTo>
                <a:cubicBezTo>
                  <a:pt x="4612605" y="903883"/>
                  <a:pt x="4613005" y="902019"/>
                  <a:pt x="4613005" y="900023"/>
                </a:cubicBezTo>
                <a:cubicBezTo>
                  <a:pt x="4613005" y="898159"/>
                  <a:pt x="4612605" y="896429"/>
                  <a:pt x="4611940" y="894831"/>
                </a:cubicBezTo>
                <a:cubicBezTo>
                  <a:pt x="4611274" y="893234"/>
                  <a:pt x="4610342" y="891903"/>
                  <a:pt x="4609277" y="890705"/>
                </a:cubicBezTo>
                <a:cubicBezTo>
                  <a:pt x="4608212" y="889640"/>
                  <a:pt x="4606881" y="888708"/>
                  <a:pt x="4605284" y="888042"/>
                </a:cubicBezTo>
                <a:cubicBezTo>
                  <a:pt x="4603820" y="887510"/>
                  <a:pt x="4602222" y="887111"/>
                  <a:pt x="4600226" y="887111"/>
                </a:cubicBezTo>
                <a:close/>
                <a:moveTo>
                  <a:pt x="4382713" y="887111"/>
                </a:moveTo>
                <a:cubicBezTo>
                  <a:pt x="4376857" y="887111"/>
                  <a:pt x="4374327" y="889107"/>
                  <a:pt x="4372730" y="890705"/>
                </a:cubicBezTo>
                <a:cubicBezTo>
                  <a:pt x="4370201" y="893367"/>
                  <a:pt x="4369136" y="896162"/>
                  <a:pt x="4369136" y="900156"/>
                </a:cubicBezTo>
                <a:cubicBezTo>
                  <a:pt x="4369136" y="904283"/>
                  <a:pt x="4370201" y="907078"/>
                  <a:pt x="4372730" y="909607"/>
                </a:cubicBezTo>
                <a:cubicBezTo>
                  <a:pt x="4374327" y="911205"/>
                  <a:pt x="4376857" y="913068"/>
                  <a:pt x="4382713" y="913068"/>
                </a:cubicBezTo>
                <a:cubicBezTo>
                  <a:pt x="4384710" y="913068"/>
                  <a:pt x="4386441" y="912802"/>
                  <a:pt x="4388038" y="912003"/>
                </a:cubicBezTo>
                <a:cubicBezTo>
                  <a:pt x="4389502" y="911471"/>
                  <a:pt x="4390834" y="910672"/>
                  <a:pt x="4391765" y="909607"/>
                </a:cubicBezTo>
                <a:cubicBezTo>
                  <a:pt x="4392830" y="908542"/>
                  <a:pt x="4393762" y="907078"/>
                  <a:pt x="4394428" y="905481"/>
                </a:cubicBezTo>
                <a:cubicBezTo>
                  <a:pt x="4395093" y="903883"/>
                  <a:pt x="4395493" y="902019"/>
                  <a:pt x="4395493" y="900023"/>
                </a:cubicBezTo>
                <a:cubicBezTo>
                  <a:pt x="4395493" y="898159"/>
                  <a:pt x="4395093" y="896429"/>
                  <a:pt x="4394428" y="894831"/>
                </a:cubicBezTo>
                <a:cubicBezTo>
                  <a:pt x="4393762" y="893234"/>
                  <a:pt x="4392830" y="891903"/>
                  <a:pt x="4391765" y="890705"/>
                </a:cubicBezTo>
                <a:cubicBezTo>
                  <a:pt x="4390700" y="889640"/>
                  <a:pt x="4389369" y="888708"/>
                  <a:pt x="4387772" y="888042"/>
                </a:cubicBezTo>
                <a:cubicBezTo>
                  <a:pt x="4386308" y="887510"/>
                  <a:pt x="4384710" y="887111"/>
                  <a:pt x="4382713" y="887111"/>
                </a:cubicBezTo>
                <a:close/>
                <a:moveTo>
                  <a:pt x="5035515" y="887111"/>
                </a:moveTo>
                <a:cubicBezTo>
                  <a:pt x="5029658" y="887111"/>
                  <a:pt x="5027129" y="889107"/>
                  <a:pt x="5025532" y="890705"/>
                </a:cubicBezTo>
                <a:cubicBezTo>
                  <a:pt x="5023002" y="893367"/>
                  <a:pt x="5021938" y="896162"/>
                  <a:pt x="5021938" y="900156"/>
                </a:cubicBezTo>
                <a:cubicBezTo>
                  <a:pt x="5021938" y="904283"/>
                  <a:pt x="5023002" y="907078"/>
                  <a:pt x="5025532" y="909607"/>
                </a:cubicBezTo>
                <a:cubicBezTo>
                  <a:pt x="5027129" y="911205"/>
                  <a:pt x="5029658" y="913068"/>
                  <a:pt x="5035515" y="913068"/>
                </a:cubicBezTo>
                <a:cubicBezTo>
                  <a:pt x="5037645" y="913068"/>
                  <a:pt x="5039376" y="912802"/>
                  <a:pt x="5040840" y="912003"/>
                </a:cubicBezTo>
                <a:cubicBezTo>
                  <a:pt x="5042304" y="911471"/>
                  <a:pt x="5043636" y="910672"/>
                  <a:pt x="5044567" y="909607"/>
                </a:cubicBezTo>
                <a:cubicBezTo>
                  <a:pt x="5045632" y="908542"/>
                  <a:pt x="5046564" y="907078"/>
                  <a:pt x="5047230" y="905481"/>
                </a:cubicBezTo>
                <a:cubicBezTo>
                  <a:pt x="5048028" y="903883"/>
                  <a:pt x="5048294" y="902019"/>
                  <a:pt x="5048294" y="900023"/>
                </a:cubicBezTo>
                <a:cubicBezTo>
                  <a:pt x="5048294" y="898159"/>
                  <a:pt x="5047895" y="896429"/>
                  <a:pt x="5047230" y="894831"/>
                </a:cubicBezTo>
                <a:cubicBezTo>
                  <a:pt x="5046564" y="893234"/>
                  <a:pt x="5045632" y="891903"/>
                  <a:pt x="5044567" y="890705"/>
                </a:cubicBezTo>
                <a:cubicBezTo>
                  <a:pt x="5043502" y="889640"/>
                  <a:pt x="5042171" y="888708"/>
                  <a:pt x="5040574" y="888042"/>
                </a:cubicBezTo>
                <a:cubicBezTo>
                  <a:pt x="5039110" y="887510"/>
                  <a:pt x="5037379" y="887111"/>
                  <a:pt x="5035515" y="887111"/>
                </a:cubicBezTo>
                <a:close/>
                <a:moveTo>
                  <a:pt x="4817870" y="887111"/>
                </a:moveTo>
                <a:cubicBezTo>
                  <a:pt x="4812013" y="887111"/>
                  <a:pt x="4809484" y="889107"/>
                  <a:pt x="4807887" y="890705"/>
                </a:cubicBezTo>
                <a:cubicBezTo>
                  <a:pt x="4805357" y="893367"/>
                  <a:pt x="4804293" y="896162"/>
                  <a:pt x="4804293" y="900156"/>
                </a:cubicBezTo>
                <a:cubicBezTo>
                  <a:pt x="4804293" y="904283"/>
                  <a:pt x="4805357" y="907078"/>
                  <a:pt x="4807887" y="909607"/>
                </a:cubicBezTo>
                <a:cubicBezTo>
                  <a:pt x="4809484" y="911205"/>
                  <a:pt x="4812013" y="913068"/>
                  <a:pt x="4817870" y="913068"/>
                </a:cubicBezTo>
                <a:cubicBezTo>
                  <a:pt x="4820000" y="913068"/>
                  <a:pt x="4821731" y="912802"/>
                  <a:pt x="4823195" y="912003"/>
                </a:cubicBezTo>
                <a:cubicBezTo>
                  <a:pt x="4824659" y="911471"/>
                  <a:pt x="4825857" y="910672"/>
                  <a:pt x="4826922" y="909607"/>
                </a:cubicBezTo>
                <a:cubicBezTo>
                  <a:pt x="4827987" y="908542"/>
                  <a:pt x="4828919" y="907078"/>
                  <a:pt x="4829585" y="905481"/>
                </a:cubicBezTo>
                <a:cubicBezTo>
                  <a:pt x="4830383" y="903883"/>
                  <a:pt x="4830650" y="902019"/>
                  <a:pt x="4830650" y="900023"/>
                </a:cubicBezTo>
                <a:cubicBezTo>
                  <a:pt x="4830650" y="898159"/>
                  <a:pt x="4830250" y="896429"/>
                  <a:pt x="4829585" y="894831"/>
                </a:cubicBezTo>
                <a:cubicBezTo>
                  <a:pt x="4828919" y="893234"/>
                  <a:pt x="4827987" y="891903"/>
                  <a:pt x="4826922" y="890705"/>
                </a:cubicBezTo>
                <a:cubicBezTo>
                  <a:pt x="4825857" y="889640"/>
                  <a:pt x="4824526" y="888708"/>
                  <a:pt x="4822929" y="888042"/>
                </a:cubicBezTo>
                <a:cubicBezTo>
                  <a:pt x="4821465" y="887510"/>
                  <a:pt x="4819734" y="887111"/>
                  <a:pt x="4817870" y="887111"/>
                </a:cubicBezTo>
                <a:close/>
                <a:moveTo>
                  <a:pt x="5253160" y="887111"/>
                </a:moveTo>
                <a:cubicBezTo>
                  <a:pt x="5247303" y="887111"/>
                  <a:pt x="5244774" y="889107"/>
                  <a:pt x="5243177" y="890705"/>
                </a:cubicBezTo>
                <a:cubicBezTo>
                  <a:pt x="5240647" y="893367"/>
                  <a:pt x="5239583" y="896162"/>
                  <a:pt x="5239583" y="900156"/>
                </a:cubicBezTo>
                <a:cubicBezTo>
                  <a:pt x="5239583" y="904283"/>
                  <a:pt x="5240647" y="907078"/>
                  <a:pt x="5243177" y="909607"/>
                </a:cubicBezTo>
                <a:cubicBezTo>
                  <a:pt x="5244774" y="911205"/>
                  <a:pt x="5247303" y="913068"/>
                  <a:pt x="5253160" y="913068"/>
                </a:cubicBezTo>
                <a:cubicBezTo>
                  <a:pt x="5255157" y="913068"/>
                  <a:pt x="5257021" y="912802"/>
                  <a:pt x="5258485" y="912003"/>
                </a:cubicBezTo>
                <a:cubicBezTo>
                  <a:pt x="5259949" y="911471"/>
                  <a:pt x="5261280" y="910672"/>
                  <a:pt x="5262212" y="909607"/>
                </a:cubicBezTo>
                <a:cubicBezTo>
                  <a:pt x="5263277" y="908542"/>
                  <a:pt x="5264209" y="907078"/>
                  <a:pt x="5264875" y="905481"/>
                </a:cubicBezTo>
                <a:cubicBezTo>
                  <a:pt x="5265673" y="903883"/>
                  <a:pt x="5265939" y="902019"/>
                  <a:pt x="5265939" y="900023"/>
                </a:cubicBezTo>
                <a:cubicBezTo>
                  <a:pt x="5265939" y="898159"/>
                  <a:pt x="5265540" y="896429"/>
                  <a:pt x="5264875" y="894831"/>
                </a:cubicBezTo>
                <a:cubicBezTo>
                  <a:pt x="5264209" y="893234"/>
                  <a:pt x="5263277" y="891903"/>
                  <a:pt x="5262212" y="890705"/>
                </a:cubicBezTo>
                <a:cubicBezTo>
                  <a:pt x="5261147" y="889640"/>
                  <a:pt x="5259816" y="888708"/>
                  <a:pt x="5258219" y="888042"/>
                </a:cubicBezTo>
                <a:cubicBezTo>
                  <a:pt x="5256754" y="887510"/>
                  <a:pt x="5255024" y="887111"/>
                  <a:pt x="5253160" y="887111"/>
                </a:cubicBezTo>
                <a:close/>
                <a:moveTo>
                  <a:pt x="5688451" y="887110"/>
                </a:moveTo>
                <a:cubicBezTo>
                  <a:pt x="5682594" y="887110"/>
                  <a:pt x="5680064" y="889106"/>
                  <a:pt x="5678467" y="890705"/>
                </a:cubicBezTo>
                <a:cubicBezTo>
                  <a:pt x="5675938" y="893367"/>
                  <a:pt x="5674873" y="896162"/>
                  <a:pt x="5674873" y="900156"/>
                </a:cubicBezTo>
                <a:cubicBezTo>
                  <a:pt x="5674873" y="904283"/>
                  <a:pt x="5675938" y="907078"/>
                  <a:pt x="5678467" y="909607"/>
                </a:cubicBezTo>
                <a:cubicBezTo>
                  <a:pt x="5680064" y="911205"/>
                  <a:pt x="5682594" y="913068"/>
                  <a:pt x="5688451" y="913068"/>
                </a:cubicBezTo>
                <a:cubicBezTo>
                  <a:pt x="5690447" y="913068"/>
                  <a:pt x="5692178" y="912802"/>
                  <a:pt x="5693775" y="912003"/>
                </a:cubicBezTo>
                <a:cubicBezTo>
                  <a:pt x="5695239" y="911471"/>
                  <a:pt x="5696571" y="910672"/>
                  <a:pt x="5697502" y="909607"/>
                </a:cubicBezTo>
                <a:cubicBezTo>
                  <a:pt x="5698567" y="908542"/>
                  <a:pt x="5699499" y="907078"/>
                  <a:pt x="5700165" y="905481"/>
                </a:cubicBezTo>
                <a:cubicBezTo>
                  <a:pt x="5700830" y="903883"/>
                  <a:pt x="5701230" y="902019"/>
                  <a:pt x="5701230" y="900023"/>
                </a:cubicBezTo>
                <a:cubicBezTo>
                  <a:pt x="5701230" y="898159"/>
                  <a:pt x="5700830" y="896429"/>
                  <a:pt x="5700165" y="894831"/>
                </a:cubicBezTo>
                <a:cubicBezTo>
                  <a:pt x="5699499" y="893234"/>
                  <a:pt x="5698567" y="891902"/>
                  <a:pt x="5697502" y="890705"/>
                </a:cubicBezTo>
                <a:cubicBezTo>
                  <a:pt x="5696437" y="889639"/>
                  <a:pt x="5695106" y="888707"/>
                  <a:pt x="5693509" y="888041"/>
                </a:cubicBezTo>
                <a:cubicBezTo>
                  <a:pt x="5692045" y="887510"/>
                  <a:pt x="5690314" y="887110"/>
                  <a:pt x="5688451" y="887110"/>
                </a:cubicBezTo>
                <a:close/>
                <a:moveTo>
                  <a:pt x="5470806" y="887110"/>
                </a:moveTo>
                <a:cubicBezTo>
                  <a:pt x="5464949" y="887110"/>
                  <a:pt x="5462419" y="889106"/>
                  <a:pt x="5460822" y="890705"/>
                </a:cubicBezTo>
                <a:cubicBezTo>
                  <a:pt x="5458293" y="893367"/>
                  <a:pt x="5457228" y="896162"/>
                  <a:pt x="5457228" y="900156"/>
                </a:cubicBezTo>
                <a:cubicBezTo>
                  <a:pt x="5457228" y="904283"/>
                  <a:pt x="5458293" y="907078"/>
                  <a:pt x="5460822" y="909607"/>
                </a:cubicBezTo>
                <a:cubicBezTo>
                  <a:pt x="5462419" y="911205"/>
                  <a:pt x="5464949" y="913068"/>
                  <a:pt x="5470806" y="913068"/>
                </a:cubicBezTo>
                <a:cubicBezTo>
                  <a:pt x="5472802" y="913068"/>
                  <a:pt x="5474666" y="912802"/>
                  <a:pt x="5476130" y="912003"/>
                </a:cubicBezTo>
                <a:cubicBezTo>
                  <a:pt x="5477594" y="911471"/>
                  <a:pt x="5478926" y="910672"/>
                  <a:pt x="5479857" y="909607"/>
                </a:cubicBezTo>
                <a:cubicBezTo>
                  <a:pt x="5480922" y="908542"/>
                  <a:pt x="5481854" y="907078"/>
                  <a:pt x="5482520" y="905481"/>
                </a:cubicBezTo>
                <a:cubicBezTo>
                  <a:pt x="5483319" y="903883"/>
                  <a:pt x="5483585" y="902019"/>
                  <a:pt x="5483585" y="900023"/>
                </a:cubicBezTo>
                <a:cubicBezTo>
                  <a:pt x="5483585" y="898159"/>
                  <a:pt x="5483185" y="896429"/>
                  <a:pt x="5482520" y="894831"/>
                </a:cubicBezTo>
                <a:cubicBezTo>
                  <a:pt x="5481854" y="893234"/>
                  <a:pt x="5480922" y="891902"/>
                  <a:pt x="5479857" y="890705"/>
                </a:cubicBezTo>
                <a:cubicBezTo>
                  <a:pt x="5478793" y="889640"/>
                  <a:pt x="5477461" y="888707"/>
                  <a:pt x="5475864" y="888042"/>
                </a:cubicBezTo>
                <a:cubicBezTo>
                  <a:pt x="5474400" y="887510"/>
                  <a:pt x="5472669" y="887110"/>
                  <a:pt x="5470806" y="887110"/>
                </a:cubicBezTo>
                <a:close/>
                <a:moveTo>
                  <a:pt x="6123608" y="887110"/>
                </a:moveTo>
                <a:cubicBezTo>
                  <a:pt x="6117751" y="887110"/>
                  <a:pt x="6115221" y="889106"/>
                  <a:pt x="6113624" y="890704"/>
                </a:cubicBezTo>
                <a:cubicBezTo>
                  <a:pt x="6111095" y="893366"/>
                  <a:pt x="6110030" y="896161"/>
                  <a:pt x="6110030" y="900156"/>
                </a:cubicBezTo>
                <a:cubicBezTo>
                  <a:pt x="6110030" y="904282"/>
                  <a:pt x="6111095" y="907078"/>
                  <a:pt x="6113624" y="909606"/>
                </a:cubicBezTo>
                <a:cubicBezTo>
                  <a:pt x="6115221" y="911205"/>
                  <a:pt x="6117751" y="913068"/>
                  <a:pt x="6123608" y="913068"/>
                </a:cubicBezTo>
                <a:cubicBezTo>
                  <a:pt x="6125737" y="913068"/>
                  <a:pt x="6127468" y="912802"/>
                  <a:pt x="6128932" y="912003"/>
                </a:cubicBezTo>
                <a:cubicBezTo>
                  <a:pt x="6130530" y="911471"/>
                  <a:pt x="6131728" y="910672"/>
                  <a:pt x="6132659" y="909606"/>
                </a:cubicBezTo>
                <a:cubicBezTo>
                  <a:pt x="6133724" y="908542"/>
                  <a:pt x="6134656" y="907078"/>
                  <a:pt x="6135322" y="905480"/>
                </a:cubicBezTo>
                <a:cubicBezTo>
                  <a:pt x="6135987" y="903883"/>
                  <a:pt x="6136387" y="902018"/>
                  <a:pt x="6136387" y="900023"/>
                </a:cubicBezTo>
                <a:cubicBezTo>
                  <a:pt x="6136387" y="898158"/>
                  <a:pt x="6135987" y="896428"/>
                  <a:pt x="6135322" y="894830"/>
                </a:cubicBezTo>
                <a:cubicBezTo>
                  <a:pt x="6134656" y="893233"/>
                  <a:pt x="6133724" y="891902"/>
                  <a:pt x="6132659" y="890704"/>
                </a:cubicBezTo>
                <a:cubicBezTo>
                  <a:pt x="6131594" y="889639"/>
                  <a:pt x="6130263" y="888707"/>
                  <a:pt x="6128666" y="888041"/>
                </a:cubicBezTo>
                <a:cubicBezTo>
                  <a:pt x="6127202" y="887509"/>
                  <a:pt x="6125604" y="887110"/>
                  <a:pt x="6123608" y="887110"/>
                </a:cubicBezTo>
                <a:close/>
                <a:moveTo>
                  <a:pt x="5905963" y="887110"/>
                </a:moveTo>
                <a:cubicBezTo>
                  <a:pt x="5900106" y="887110"/>
                  <a:pt x="5897576" y="889106"/>
                  <a:pt x="5895979" y="890704"/>
                </a:cubicBezTo>
                <a:cubicBezTo>
                  <a:pt x="5893450" y="893366"/>
                  <a:pt x="5892385" y="896161"/>
                  <a:pt x="5892385" y="900156"/>
                </a:cubicBezTo>
                <a:cubicBezTo>
                  <a:pt x="5892385" y="904283"/>
                  <a:pt x="5893450" y="907078"/>
                  <a:pt x="5895979" y="909607"/>
                </a:cubicBezTo>
                <a:cubicBezTo>
                  <a:pt x="5897576" y="911205"/>
                  <a:pt x="5900106" y="913068"/>
                  <a:pt x="5905963" y="913068"/>
                </a:cubicBezTo>
                <a:cubicBezTo>
                  <a:pt x="5908093" y="913068"/>
                  <a:pt x="5909823" y="912802"/>
                  <a:pt x="5911287" y="912003"/>
                </a:cubicBezTo>
                <a:cubicBezTo>
                  <a:pt x="5912751" y="911471"/>
                  <a:pt x="5914083" y="910672"/>
                  <a:pt x="5915014" y="909607"/>
                </a:cubicBezTo>
                <a:cubicBezTo>
                  <a:pt x="5916079" y="908542"/>
                  <a:pt x="5917011" y="907078"/>
                  <a:pt x="5917677" y="905481"/>
                </a:cubicBezTo>
                <a:cubicBezTo>
                  <a:pt x="5918342" y="903883"/>
                  <a:pt x="5918742" y="902019"/>
                  <a:pt x="5918742" y="900023"/>
                </a:cubicBezTo>
                <a:cubicBezTo>
                  <a:pt x="5918742" y="898158"/>
                  <a:pt x="5918342" y="896428"/>
                  <a:pt x="5917677" y="894830"/>
                </a:cubicBezTo>
                <a:cubicBezTo>
                  <a:pt x="5917011" y="893233"/>
                  <a:pt x="5916079" y="891902"/>
                  <a:pt x="5915014" y="890704"/>
                </a:cubicBezTo>
                <a:cubicBezTo>
                  <a:pt x="5913950" y="889639"/>
                  <a:pt x="5912618" y="888707"/>
                  <a:pt x="5911021" y="888041"/>
                </a:cubicBezTo>
                <a:cubicBezTo>
                  <a:pt x="5909557" y="887509"/>
                  <a:pt x="5907826" y="887110"/>
                  <a:pt x="5905963" y="887110"/>
                </a:cubicBezTo>
                <a:close/>
                <a:moveTo>
                  <a:pt x="6341253" y="887110"/>
                </a:moveTo>
                <a:cubicBezTo>
                  <a:pt x="6335396" y="887110"/>
                  <a:pt x="6332867" y="889106"/>
                  <a:pt x="6331270" y="890704"/>
                </a:cubicBezTo>
                <a:cubicBezTo>
                  <a:pt x="6328740" y="893366"/>
                  <a:pt x="6327675" y="896161"/>
                  <a:pt x="6327675" y="900155"/>
                </a:cubicBezTo>
                <a:cubicBezTo>
                  <a:pt x="6327675" y="904282"/>
                  <a:pt x="6328740" y="907077"/>
                  <a:pt x="6331270" y="909606"/>
                </a:cubicBezTo>
                <a:cubicBezTo>
                  <a:pt x="6332867" y="911205"/>
                  <a:pt x="6335396" y="913067"/>
                  <a:pt x="6341253" y="913067"/>
                </a:cubicBezTo>
                <a:cubicBezTo>
                  <a:pt x="6343250" y="913067"/>
                  <a:pt x="6345114" y="912801"/>
                  <a:pt x="6346578" y="912003"/>
                </a:cubicBezTo>
                <a:cubicBezTo>
                  <a:pt x="6348042" y="911471"/>
                  <a:pt x="6349373" y="910672"/>
                  <a:pt x="6350305" y="909606"/>
                </a:cubicBezTo>
                <a:cubicBezTo>
                  <a:pt x="6351370" y="908542"/>
                  <a:pt x="6352302" y="907077"/>
                  <a:pt x="6352968" y="905480"/>
                </a:cubicBezTo>
                <a:cubicBezTo>
                  <a:pt x="6353766" y="903883"/>
                  <a:pt x="6354033" y="902018"/>
                  <a:pt x="6354033" y="900022"/>
                </a:cubicBezTo>
                <a:cubicBezTo>
                  <a:pt x="6354033" y="898158"/>
                  <a:pt x="6353633" y="896428"/>
                  <a:pt x="6352968" y="894830"/>
                </a:cubicBezTo>
                <a:cubicBezTo>
                  <a:pt x="6352302" y="893233"/>
                  <a:pt x="6351370" y="891902"/>
                  <a:pt x="6350305" y="890704"/>
                </a:cubicBezTo>
                <a:cubicBezTo>
                  <a:pt x="6349241" y="889639"/>
                  <a:pt x="6347909" y="888707"/>
                  <a:pt x="6346312" y="888041"/>
                </a:cubicBezTo>
                <a:cubicBezTo>
                  <a:pt x="6344848" y="887509"/>
                  <a:pt x="6343250" y="887110"/>
                  <a:pt x="6341253" y="887110"/>
                </a:cubicBezTo>
                <a:close/>
                <a:moveTo>
                  <a:pt x="6558899" y="887110"/>
                </a:moveTo>
                <a:cubicBezTo>
                  <a:pt x="6553042" y="887110"/>
                  <a:pt x="6550512" y="889106"/>
                  <a:pt x="6548915" y="890704"/>
                </a:cubicBezTo>
                <a:cubicBezTo>
                  <a:pt x="6546386" y="893366"/>
                  <a:pt x="6545321" y="896161"/>
                  <a:pt x="6545321" y="900155"/>
                </a:cubicBezTo>
                <a:cubicBezTo>
                  <a:pt x="6545321" y="904282"/>
                  <a:pt x="6546386" y="907077"/>
                  <a:pt x="6548915" y="909606"/>
                </a:cubicBezTo>
                <a:cubicBezTo>
                  <a:pt x="6550512" y="911204"/>
                  <a:pt x="6553042" y="913067"/>
                  <a:pt x="6558899" y="913067"/>
                </a:cubicBezTo>
                <a:cubicBezTo>
                  <a:pt x="6560895" y="913067"/>
                  <a:pt x="6562759" y="912801"/>
                  <a:pt x="6564223" y="912003"/>
                </a:cubicBezTo>
                <a:cubicBezTo>
                  <a:pt x="6565687" y="911470"/>
                  <a:pt x="6567019" y="910671"/>
                  <a:pt x="6567950" y="909606"/>
                </a:cubicBezTo>
                <a:cubicBezTo>
                  <a:pt x="6569015" y="908541"/>
                  <a:pt x="6569947" y="907077"/>
                  <a:pt x="6570612" y="905480"/>
                </a:cubicBezTo>
                <a:cubicBezTo>
                  <a:pt x="6571412" y="903882"/>
                  <a:pt x="6571677" y="902018"/>
                  <a:pt x="6571677" y="900022"/>
                </a:cubicBezTo>
                <a:cubicBezTo>
                  <a:pt x="6571677" y="898158"/>
                  <a:pt x="6571278" y="896428"/>
                  <a:pt x="6570612" y="894830"/>
                </a:cubicBezTo>
                <a:cubicBezTo>
                  <a:pt x="6569947" y="893233"/>
                  <a:pt x="6569015" y="891902"/>
                  <a:pt x="6567950" y="890704"/>
                </a:cubicBezTo>
                <a:cubicBezTo>
                  <a:pt x="6566885" y="889639"/>
                  <a:pt x="6565554" y="888707"/>
                  <a:pt x="6563956" y="888041"/>
                </a:cubicBezTo>
                <a:cubicBezTo>
                  <a:pt x="6562492" y="887509"/>
                  <a:pt x="6560895" y="887110"/>
                  <a:pt x="6558899" y="887110"/>
                </a:cubicBezTo>
                <a:close/>
                <a:moveTo>
                  <a:pt x="6776544" y="887110"/>
                </a:moveTo>
                <a:cubicBezTo>
                  <a:pt x="6770687" y="887110"/>
                  <a:pt x="6768157" y="889106"/>
                  <a:pt x="6766560" y="890704"/>
                </a:cubicBezTo>
                <a:cubicBezTo>
                  <a:pt x="6764031" y="893366"/>
                  <a:pt x="6762966" y="896161"/>
                  <a:pt x="6762966" y="900155"/>
                </a:cubicBezTo>
                <a:cubicBezTo>
                  <a:pt x="6762966" y="904282"/>
                  <a:pt x="6764031" y="907077"/>
                  <a:pt x="6766560" y="909606"/>
                </a:cubicBezTo>
                <a:cubicBezTo>
                  <a:pt x="6768157" y="911204"/>
                  <a:pt x="6770687" y="913067"/>
                  <a:pt x="6776544" y="913067"/>
                </a:cubicBezTo>
                <a:cubicBezTo>
                  <a:pt x="6778541" y="913067"/>
                  <a:pt x="6780270" y="912801"/>
                  <a:pt x="6781869" y="912003"/>
                </a:cubicBezTo>
                <a:cubicBezTo>
                  <a:pt x="6783333" y="911470"/>
                  <a:pt x="6784664" y="910671"/>
                  <a:pt x="6785595" y="909606"/>
                </a:cubicBezTo>
                <a:cubicBezTo>
                  <a:pt x="6786661" y="908541"/>
                  <a:pt x="6787593" y="907077"/>
                  <a:pt x="6788258" y="905480"/>
                </a:cubicBezTo>
                <a:cubicBezTo>
                  <a:pt x="6789057" y="903882"/>
                  <a:pt x="6789323" y="902018"/>
                  <a:pt x="6789323" y="900022"/>
                </a:cubicBezTo>
                <a:cubicBezTo>
                  <a:pt x="6789323" y="898158"/>
                  <a:pt x="6788923" y="896428"/>
                  <a:pt x="6788258" y="894830"/>
                </a:cubicBezTo>
                <a:cubicBezTo>
                  <a:pt x="6787593" y="893233"/>
                  <a:pt x="6786661" y="891902"/>
                  <a:pt x="6785595" y="890704"/>
                </a:cubicBezTo>
                <a:cubicBezTo>
                  <a:pt x="6784530" y="889639"/>
                  <a:pt x="6783199" y="888707"/>
                  <a:pt x="6781602" y="888041"/>
                </a:cubicBezTo>
                <a:cubicBezTo>
                  <a:pt x="6780138" y="887509"/>
                  <a:pt x="6778541" y="887110"/>
                  <a:pt x="6776544" y="887110"/>
                </a:cubicBezTo>
                <a:close/>
                <a:moveTo>
                  <a:pt x="7211701" y="887110"/>
                </a:moveTo>
                <a:cubicBezTo>
                  <a:pt x="7205844" y="887110"/>
                  <a:pt x="7203314" y="889106"/>
                  <a:pt x="7201717" y="890704"/>
                </a:cubicBezTo>
                <a:cubicBezTo>
                  <a:pt x="7199188" y="893366"/>
                  <a:pt x="7198123" y="896161"/>
                  <a:pt x="7198123" y="900155"/>
                </a:cubicBezTo>
                <a:cubicBezTo>
                  <a:pt x="7198123" y="904282"/>
                  <a:pt x="7199188" y="907077"/>
                  <a:pt x="7201717" y="909606"/>
                </a:cubicBezTo>
                <a:cubicBezTo>
                  <a:pt x="7203314" y="911204"/>
                  <a:pt x="7205844" y="913067"/>
                  <a:pt x="7211701" y="913067"/>
                </a:cubicBezTo>
                <a:cubicBezTo>
                  <a:pt x="7213830" y="913067"/>
                  <a:pt x="7215561" y="912801"/>
                  <a:pt x="7217026" y="912002"/>
                </a:cubicBezTo>
                <a:cubicBezTo>
                  <a:pt x="7218490" y="911470"/>
                  <a:pt x="7219821" y="910671"/>
                  <a:pt x="7220752" y="909606"/>
                </a:cubicBezTo>
                <a:cubicBezTo>
                  <a:pt x="7221818" y="908541"/>
                  <a:pt x="7222750" y="907077"/>
                  <a:pt x="7223415" y="905480"/>
                </a:cubicBezTo>
                <a:cubicBezTo>
                  <a:pt x="7224214" y="903882"/>
                  <a:pt x="7224480" y="902018"/>
                  <a:pt x="7224480" y="900022"/>
                </a:cubicBezTo>
                <a:cubicBezTo>
                  <a:pt x="7224480" y="898158"/>
                  <a:pt x="7224080" y="896428"/>
                  <a:pt x="7223415" y="894830"/>
                </a:cubicBezTo>
                <a:cubicBezTo>
                  <a:pt x="7222750" y="893233"/>
                  <a:pt x="7221818" y="891902"/>
                  <a:pt x="7220752" y="890704"/>
                </a:cubicBezTo>
                <a:cubicBezTo>
                  <a:pt x="7219687" y="889639"/>
                  <a:pt x="7218356" y="888707"/>
                  <a:pt x="7216759" y="888041"/>
                </a:cubicBezTo>
                <a:cubicBezTo>
                  <a:pt x="7215295" y="887509"/>
                  <a:pt x="7213698" y="887110"/>
                  <a:pt x="7211701" y="887110"/>
                </a:cubicBezTo>
                <a:close/>
                <a:moveTo>
                  <a:pt x="6994056" y="887110"/>
                </a:moveTo>
                <a:cubicBezTo>
                  <a:pt x="6988199" y="887110"/>
                  <a:pt x="6985669" y="889106"/>
                  <a:pt x="6984072" y="890704"/>
                </a:cubicBezTo>
                <a:cubicBezTo>
                  <a:pt x="6981543" y="893366"/>
                  <a:pt x="6980478" y="896161"/>
                  <a:pt x="6980478" y="900155"/>
                </a:cubicBezTo>
                <a:cubicBezTo>
                  <a:pt x="6980478" y="904282"/>
                  <a:pt x="6981543" y="907077"/>
                  <a:pt x="6984072" y="909606"/>
                </a:cubicBezTo>
                <a:cubicBezTo>
                  <a:pt x="6985669" y="911204"/>
                  <a:pt x="6988199" y="913067"/>
                  <a:pt x="6994056" y="913067"/>
                </a:cubicBezTo>
                <a:cubicBezTo>
                  <a:pt x="6996185" y="913067"/>
                  <a:pt x="6997916" y="912801"/>
                  <a:pt x="6999380" y="912002"/>
                </a:cubicBezTo>
                <a:cubicBezTo>
                  <a:pt x="7000844" y="911470"/>
                  <a:pt x="7002176" y="910671"/>
                  <a:pt x="7003107" y="909606"/>
                </a:cubicBezTo>
                <a:cubicBezTo>
                  <a:pt x="7004172" y="908541"/>
                  <a:pt x="7005104" y="907077"/>
                  <a:pt x="7005769" y="905480"/>
                </a:cubicBezTo>
                <a:cubicBezTo>
                  <a:pt x="7006568" y="903882"/>
                  <a:pt x="7006834" y="902018"/>
                  <a:pt x="7006834" y="900022"/>
                </a:cubicBezTo>
                <a:cubicBezTo>
                  <a:pt x="7006834" y="898158"/>
                  <a:pt x="7006435" y="896428"/>
                  <a:pt x="7005769" y="894830"/>
                </a:cubicBezTo>
                <a:cubicBezTo>
                  <a:pt x="7005104" y="893233"/>
                  <a:pt x="7004172" y="891902"/>
                  <a:pt x="7003107" y="890704"/>
                </a:cubicBezTo>
                <a:cubicBezTo>
                  <a:pt x="7002042" y="889639"/>
                  <a:pt x="7000711" y="888707"/>
                  <a:pt x="6999113" y="888041"/>
                </a:cubicBezTo>
                <a:cubicBezTo>
                  <a:pt x="6997649" y="887509"/>
                  <a:pt x="6996052" y="887110"/>
                  <a:pt x="6994056" y="887110"/>
                </a:cubicBezTo>
                <a:close/>
                <a:moveTo>
                  <a:pt x="7429345" y="887110"/>
                </a:moveTo>
                <a:cubicBezTo>
                  <a:pt x="7423488" y="887110"/>
                  <a:pt x="7420958" y="889106"/>
                  <a:pt x="7419361" y="890704"/>
                </a:cubicBezTo>
                <a:cubicBezTo>
                  <a:pt x="7416832" y="893366"/>
                  <a:pt x="7415768" y="896161"/>
                  <a:pt x="7415768" y="900155"/>
                </a:cubicBezTo>
                <a:cubicBezTo>
                  <a:pt x="7415768" y="904282"/>
                  <a:pt x="7416832" y="907077"/>
                  <a:pt x="7419361" y="909606"/>
                </a:cubicBezTo>
                <a:cubicBezTo>
                  <a:pt x="7420958" y="911204"/>
                  <a:pt x="7423488" y="913067"/>
                  <a:pt x="7429345" y="913067"/>
                </a:cubicBezTo>
                <a:cubicBezTo>
                  <a:pt x="7431342" y="913067"/>
                  <a:pt x="7433206" y="912801"/>
                  <a:pt x="7434670" y="912002"/>
                </a:cubicBezTo>
                <a:cubicBezTo>
                  <a:pt x="7436134" y="911470"/>
                  <a:pt x="7437466" y="910671"/>
                  <a:pt x="7438397" y="909606"/>
                </a:cubicBezTo>
                <a:cubicBezTo>
                  <a:pt x="7439462" y="908541"/>
                  <a:pt x="7440394" y="907077"/>
                  <a:pt x="7441059" y="905480"/>
                </a:cubicBezTo>
                <a:cubicBezTo>
                  <a:pt x="7441858" y="903882"/>
                  <a:pt x="7442124" y="902018"/>
                  <a:pt x="7442124" y="900022"/>
                </a:cubicBezTo>
                <a:cubicBezTo>
                  <a:pt x="7442124" y="898158"/>
                  <a:pt x="7441725" y="896428"/>
                  <a:pt x="7441059" y="894830"/>
                </a:cubicBezTo>
                <a:cubicBezTo>
                  <a:pt x="7440394" y="893233"/>
                  <a:pt x="7439462" y="891902"/>
                  <a:pt x="7438397" y="890704"/>
                </a:cubicBezTo>
                <a:cubicBezTo>
                  <a:pt x="7437332" y="889639"/>
                  <a:pt x="7436001" y="888707"/>
                  <a:pt x="7434403" y="888041"/>
                </a:cubicBezTo>
                <a:cubicBezTo>
                  <a:pt x="7432939" y="887509"/>
                  <a:pt x="7431342" y="887110"/>
                  <a:pt x="7429345" y="887110"/>
                </a:cubicBezTo>
                <a:close/>
                <a:moveTo>
                  <a:pt x="7864636" y="887109"/>
                </a:moveTo>
                <a:cubicBezTo>
                  <a:pt x="7858779" y="887109"/>
                  <a:pt x="7856249" y="889105"/>
                  <a:pt x="7854652" y="890703"/>
                </a:cubicBezTo>
                <a:cubicBezTo>
                  <a:pt x="7852123" y="893365"/>
                  <a:pt x="7851058" y="896161"/>
                  <a:pt x="7851058" y="900155"/>
                </a:cubicBezTo>
                <a:cubicBezTo>
                  <a:pt x="7851058" y="904282"/>
                  <a:pt x="7852123" y="907077"/>
                  <a:pt x="7854652" y="909606"/>
                </a:cubicBezTo>
                <a:cubicBezTo>
                  <a:pt x="7856249" y="911204"/>
                  <a:pt x="7858779" y="913067"/>
                  <a:pt x="7864636" y="913067"/>
                </a:cubicBezTo>
                <a:cubicBezTo>
                  <a:pt x="7866633" y="913067"/>
                  <a:pt x="7868363" y="912801"/>
                  <a:pt x="7869961" y="912002"/>
                </a:cubicBezTo>
                <a:cubicBezTo>
                  <a:pt x="7871425" y="911470"/>
                  <a:pt x="7872756" y="910671"/>
                  <a:pt x="7873687" y="909606"/>
                </a:cubicBezTo>
                <a:cubicBezTo>
                  <a:pt x="7874753" y="908541"/>
                  <a:pt x="7875685" y="907077"/>
                  <a:pt x="7876350" y="905480"/>
                </a:cubicBezTo>
                <a:cubicBezTo>
                  <a:pt x="7877015" y="903882"/>
                  <a:pt x="7877282" y="902018"/>
                  <a:pt x="7877282" y="900022"/>
                </a:cubicBezTo>
                <a:cubicBezTo>
                  <a:pt x="7877282" y="898158"/>
                  <a:pt x="7877015" y="896427"/>
                  <a:pt x="7876350" y="894830"/>
                </a:cubicBezTo>
                <a:cubicBezTo>
                  <a:pt x="7875685" y="893232"/>
                  <a:pt x="7874753" y="891901"/>
                  <a:pt x="7873687" y="890703"/>
                </a:cubicBezTo>
                <a:cubicBezTo>
                  <a:pt x="7872623" y="889638"/>
                  <a:pt x="7871291" y="888706"/>
                  <a:pt x="7869694" y="888040"/>
                </a:cubicBezTo>
                <a:cubicBezTo>
                  <a:pt x="7868230" y="887508"/>
                  <a:pt x="7866633" y="887109"/>
                  <a:pt x="7864636" y="887109"/>
                </a:cubicBezTo>
                <a:close/>
                <a:moveTo>
                  <a:pt x="7646991" y="887109"/>
                </a:moveTo>
                <a:cubicBezTo>
                  <a:pt x="7641134" y="887109"/>
                  <a:pt x="7638604" y="889105"/>
                  <a:pt x="7637007" y="890704"/>
                </a:cubicBezTo>
                <a:cubicBezTo>
                  <a:pt x="7634478" y="893366"/>
                  <a:pt x="7633413" y="896161"/>
                  <a:pt x="7633413" y="900155"/>
                </a:cubicBezTo>
                <a:cubicBezTo>
                  <a:pt x="7633413" y="904282"/>
                  <a:pt x="7634478" y="907077"/>
                  <a:pt x="7637007" y="909606"/>
                </a:cubicBezTo>
                <a:cubicBezTo>
                  <a:pt x="7638604" y="911204"/>
                  <a:pt x="7641134" y="913067"/>
                  <a:pt x="7646991" y="913067"/>
                </a:cubicBezTo>
                <a:cubicBezTo>
                  <a:pt x="7648987" y="913067"/>
                  <a:pt x="7650851" y="912801"/>
                  <a:pt x="7652315" y="912002"/>
                </a:cubicBezTo>
                <a:cubicBezTo>
                  <a:pt x="7653780" y="911470"/>
                  <a:pt x="7655111" y="910671"/>
                  <a:pt x="7656042" y="909606"/>
                </a:cubicBezTo>
                <a:cubicBezTo>
                  <a:pt x="7657108" y="908541"/>
                  <a:pt x="7658039" y="907077"/>
                  <a:pt x="7658705" y="905480"/>
                </a:cubicBezTo>
                <a:cubicBezTo>
                  <a:pt x="7659504" y="903882"/>
                  <a:pt x="7659769" y="902018"/>
                  <a:pt x="7659769" y="900022"/>
                </a:cubicBezTo>
                <a:cubicBezTo>
                  <a:pt x="7659769" y="898158"/>
                  <a:pt x="7659370" y="896428"/>
                  <a:pt x="7658705" y="894830"/>
                </a:cubicBezTo>
                <a:cubicBezTo>
                  <a:pt x="7658039" y="893233"/>
                  <a:pt x="7657108" y="891902"/>
                  <a:pt x="7656042" y="890704"/>
                </a:cubicBezTo>
                <a:cubicBezTo>
                  <a:pt x="7654977" y="889639"/>
                  <a:pt x="7653646" y="888707"/>
                  <a:pt x="7652049" y="888041"/>
                </a:cubicBezTo>
                <a:cubicBezTo>
                  <a:pt x="7650584" y="887509"/>
                  <a:pt x="7648987" y="887109"/>
                  <a:pt x="7646991" y="887109"/>
                </a:cubicBezTo>
                <a:close/>
                <a:moveTo>
                  <a:pt x="8082281" y="887109"/>
                </a:moveTo>
                <a:cubicBezTo>
                  <a:pt x="8076424" y="887109"/>
                  <a:pt x="8073894" y="889105"/>
                  <a:pt x="8072297" y="890703"/>
                </a:cubicBezTo>
                <a:cubicBezTo>
                  <a:pt x="8069768" y="893365"/>
                  <a:pt x="8068703" y="896160"/>
                  <a:pt x="8068703" y="900155"/>
                </a:cubicBezTo>
                <a:cubicBezTo>
                  <a:pt x="8068703" y="904282"/>
                  <a:pt x="8069768" y="907077"/>
                  <a:pt x="8072297" y="909606"/>
                </a:cubicBezTo>
                <a:cubicBezTo>
                  <a:pt x="8073894" y="911204"/>
                  <a:pt x="8076424" y="913067"/>
                  <a:pt x="8082281" y="913067"/>
                </a:cubicBezTo>
                <a:cubicBezTo>
                  <a:pt x="8084277" y="913067"/>
                  <a:pt x="8086007" y="912801"/>
                  <a:pt x="8087605" y="912002"/>
                </a:cubicBezTo>
                <a:cubicBezTo>
                  <a:pt x="8089069" y="911470"/>
                  <a:pt x="8090401" y="910671"/>
                  <a:pt x="8091332" y="909606"/>
                </a:cubicBezTo>
                <a:cubicBezTo>
                  <a:pt x="8092397" y="908541"/>
                  <a:pt x="8093329" y="907077"/>
                  <a:pt x="8093994" y="905480"/>
                </a:cubicBezTo>
                <a:cubicBezTo>
                  <a:pt x="8094660" y="903882"/>
                  <a:pt x="8094926" y="902017"/>
                  <a:pt x="8094926" y="900022"/>
                </a:cubicBezTo>
                <a:cubicBezTo>
                  <a:pt x="8094926" y="898157"/>
                  <a:pt x="8094660" y="896427"/>
                  <a:pt x="8093994" y="894829"/>
                </a:cubicBezTo>
                <a:cubicBezTo>
                  <a:pt x="8093329" y="893232"/>
                  <a:pt x="8092397" y="891901"/>
                  <a:pt x="8091332" y="890703"/>
                </a:cubicBezTo>
                <a:cubicBezTo>
                  <a:pt x="8090267" y="889638"/>
                  <a:pt x="8088936" y="888706"/>
                  <a:pt x="8087338" y="888040"/>
                </a:cubicBezTo>
                <a:cubicBezTo>
                  <a:pt x="8085874" y="887508"/>
                  <a:pt x="8084277" y="887109"/>
                  <a:pt x="8082281" y="887109"/>
                </a:cubicBezTo>
                <a:close/>
                <a:moveTo>
                  <a:pt x="8517438" y="887109"/>
                </a:moveTo>
                <a:cubicBezTo>
                  <a:pt x="8511713" y="887109"/>
                  <a:pt x="8509051" y="889105"/>
                  <a:pt x="8507453" y="890703"/>
                </a:cubicBezTo>
                <a:cubicBezTo>
                  <a:pt x="8504925" y="893365"/>
                  <a:pt x="8503860" y="896160"/>
                  <a:pt x="8503860" y="900154"/>
                </a:cubicBezTo>
                <a:cubicBezTo>
                  <a:pt x="8503860" y="904281"/>
                  <a:pt x="8504925" y="907076"/>
                  <a:pt x="8507453" y="909605"/>
                </a:cubicBezTo>
                <a:cubicBezTo>
                  <a:pt x="8509051" y="911204"/>
                  <a:pt x="8511581" y="913067"/>
                  <a:pt x="8517438" y="913067"/>
                </a:cubicBezTo>
                <a:cubicBezTo>
                  <a:pt x="8519568" y="913067"/>
                  <a:pt x="8521299" y="912800"/>
                  <a:pt x="8522763" y="912002"/>
                </a:cubicBezTo>
                <a:cubicBezTo>
                  <a:pt x="8524227" y="911470"/>
                  <a:pt x="8525559" y="910670"/>
                  <a:pt x="8526490" y="909605"/>
                </a:cubicBezTo>
                <a:cubicBezTo>
                  <a:pt x="8527555" y="908540"/>
                  <a:pt x="8528487" y="907076"/>
                  <a:pt x="8529152" y="905479"/>
                </a:cubicBezTo>
                <a:cubicBezTo>
                  <a:pt x="8529818" y="903881"/>
                  <a:pt x="8530084" y="902017"/>
                  <a:pt x="8530084" y="900021"/>
                </a:cubicBezTo>
                <a:cubicBezTo>
                  <a:pt x="8530084" y="898157"/>
                  <a:pt x="8529818" y="896427"/>
                  <a:pt x="8529152" y="894829"/>
                </a:cubicBezTo>
                <a:cubicBezTo>
                  <a:pt x="8528487" y="893232"/>
                  <a:pt x="8527555" y="891901"/>
                  <a:pt x="8526490" y="890703"/>
                </a:cubicBezTo>
                <a:cubicBezTo>
                  <a:pt x="8525425" y="889638"/>
                  <a:pt x="8524094" y="888706"/>
                  <a:pt x="8522496" y="888040"/>
                </a:cubicBezTo>
                <a:cubicBezTo>
                  <a:pt x="8521032" y="887508"/>
                  <a:pt x="8519302" y="887109"/>
                  <a:pt x="8517438" y="887109"/>
                </a:cubicBezTo>
                <a:close/>
                <a:moveTo>
                  <a:pt x="8299793" y="887109"/>
                </a:moveTo>
                <a:cubicBezTo>
                  <a:pt x="8294068" y="887109"/>
                  <a:pt x="8291406" y="889105"/>
                  <a:pt x="8289809" y="890703"/>
                </a:cubicBezTo>
                <a:cubicBezTo>
                  <a:pt x="8287280" y="893365"/>
                  <a:pt x="8286215" y="896160"/>
                  <a:pt x="8286215" y="900155"/>
                </a:cubicBezTo>
                <a:cubicBezTo>
                  <a:pt x="8286215" y="904282"/>
                  <a:pt x="8287280" y="907077"/>
                  <a:pt x="8289809" y="909606"/>
                </a:cubicBezTo>
                <a:cubicBezTo>
                  <a:pt x="8291406" y="911204"/>
                  <a:pt x="8293935" y="913067"/>
                  <a:pt x="8299793" y="913067"/>
                </a:cubicBezTo>
                <a:cubicBezTo>
                  <a:pt x="8301923" y="913067"/>
                  <a:pt x="8303653" y="912801"/>
                  <a:pt x="8305118" y="912002"/>
                </a:cubicBezTo>
                <a:cubicBezTo>
                  <a:pt x="8306582" y="911470"/>
                  <a:pt x="8307913" y="910671"/>
                  <a:pt x="8308844" y="909606"/>
                </a:cubicBezTo>
                <a:cubicBezTo>
                  <a:pt x="8309910" y="908541"/>
                  <a:pt x="8310842" y="907077"/>
                  <a:pt x="8311507" y="905479"/>
                </a:cubicBezTo>
                <a:cubicBezTo>
                  <a:pt x="8312172" y="903882"/>
                  <a:pt x="8312439" y="902017"/>
                  <a:pt x="8312439" y="900022"/>
                </a:cubicBezTo>
                <a:cubicBezTo>
                  <a:pt x="8312439" y="898157"/>
                  <a:pt x="8312172" y="896427"/>
                  <a:pt x="8311507" y="894829"/>
                </a:cubicBezTo>
                <a:cubicBezTo>
                  <a:pt x="8310842" y="893232"/>
                  <a:pt x="8309910" y="891901"/>
                  <a:pt x="8308844" y="890703"/>
                </a:cubicBezTo>
                <a:cubicBezTo>
                  <a:pt x="8307779" y="889638"/>
                  <a:pt x="8306448" y="888706"/>
                  <a:pt x="8304851" y="888040"/>
                </a:cubicBezTo>
                <a:cubicBezTo>
                  <a:pt x="8303387" y="887508"/>
                  <a:pt x="8301790" y="887109"/>
                  <a:pt x="8299793" y="887109"/>
                </a:cubicBezTo>
                <a:close/>
                <a:moveTo>
                  <a:pt x="8735083" y="887109"/>
                </a:moveTo>
                <a:cubicBezTo>
                  <a:pt x="8729358" y="887109"/>
                  <a:pt x="8726695" y="889105"/>
                  <a:pt x="8725098" y="890703"/>
                </a:cubicBezTo>
                <a:cubicBezTo>
                  <a:pt x="8722569" y="893365"/>
                  <a:pt x="8721504" y="896160"/>
                  <a:pt x="8721504" y="900154"/>
                </a:cubicBezTo>
                <a:cubicBezTo>
                  <a:pt x="8721504" y="904281"/>
                  <a:pt x="8722569" y="907076"/>
                  <a:pt x="8725098" y="909605"/>
                </a:cubicBezTo>
                <a:cubicBezTo>
                  <a:pt x="8726695" y="911204"/>
                  <a:pt x="8729225" y="913067"/>
                  <a:pt x="8735083" y="913067"/>
                </a:cubicBezTo>
                <a:cubicBezTo>
                  <a:pt x="8737079" y="913067"/>
                  <a:pt x="8738943" y="912800"/>
                  <a:pt x="8740407" y="912002"/>
                </a:cubicBezTo>
                <a:cubicBezTo>
                  <a:pt x="8741872" y="911470"/>
                  <a:pt x="8743203" y="910670"/>
                  <a:pt x="8744134" y="909605"/>
                </a:cubicBezTo>
                <a:cubicBezTo>
                  <a:pt x="8745200" y="908540"/>
                  <a:pt x="8746132" y="907076"/>
                  <a:pt x="8746797" y="905479"/>
                </a:cubicBezTo>
                <a:cubicBezTo>
                  <a:pt x="8747596" y="903881"/>
                  <a:pt x="8747862" y="902017"/>
                  <a:pt x="8747862" y="900021"/>
                </a:cubicBezTo>
                <a:cubicBezTo>
                  <a:pt x="8747862" y="898157"/>
                  <a:pt x="8747462" y="896427"/>
                  <a:pt x="8746797" y="894829"/>
                </a:cubicBezTo>
                <a:cubicBezTo>
                  <a:pt x="8746132" y="893232"/>
                  <a:pt x="8745200" y="891901"/>
                  <a:pt x="8744134" y="890703"/>
                </a:cubicBezTo>
                <a:cubicBezTo>
                  <a:pt x="8743069" y="889638"/>
                  <a:pt x="8741738" y="888706"/>
                  <a:pt x="8740141" y="888040"/>
                </a:cubicBezTo>
                <a:cubicBezTo>
                  <a:pt x="8738677" y="887508"/>
                  <a:pt x="8736946" y="887109"/>
                  <a:pt x="8735083" y="887109"/>
                </a:cubicBezTo>
                <a:close/>
                <a:moveTo>
                  <a:pt x="9170374" y="887109"/>
                </a:moveTo>
                <a:cubicBezTo>
                  <a:pt x="9164649" y="887109"/>
                  <a:pt x="9161986" y="889105"/>
                  <a:pt x="9160389" y="890703"/>
                </a:cubicBezTo>
                <a:cubicBezTo>
                  <a:pt x="9157860" y="893365"/>
                  <a:pt x="9156795" y="896160"/>
                  <a:pt x="9156795" y="900154"/>
                </a:cubicBezTo>
                <a:cubicBezTo>
                  <a:pt x="9156795" y="904281"/>
                  <a:pt x="9157860" y="907076"/>
                  <a:pt x="9160389" y="909605"/>
                </a:cubicBezTo>
                <a:cubicBezTo>
                  <a:pt x="9161986" y="911203"/>
                  <a:pt x="9164516" y="913066"/>
                  <a:pt x="9170374" y="913066"/>
                </a:cubicBezTo>
                <a:cubicBezTo>
                  <a:pt x="9172370" y="913066"/>
                  <a:pt x="9174100" y="912800"/>
                  <a:pt x="9175698" y="912001"/>
                </a:cubicBezTo>
                <a:cubicBezTo>
                  <a:pt x="9177163" y="911469"/>
                  <a:pt x="9178494" y="910670"/>
                  <a:pt x="9179425" y="909605"/>
                </a:cubicBezTo>
                <a:cubicBezTo>
                  <a:pt x="9180491" y="908540"/>
                  <a:pt x="9181422" y="907076"/>
                  <a:pt x="9182088" y="905479"/>
                </a:cubicBezTo>
                <a:cubicBezTo>
                  <a:pt x="9182887" y="903881"/>
                  <a:pt x="9183152" y="902017"/>
                  <a:pt x="9183152" y="900021"/>
                </a:cubicBezTo>
                <a:cubicBezTo>
                  <a:pt x="9183152" y="898157"/>
                  <a:pt x="9182753" y="896427"/>
                  <a:pt x="9182088" y="894829"/>
                </a:cubicBezTo>
                <a:cubicBezTo>
                  <a:pt x="9181422" y="893232"/>
                  <a:pt x="9180491" y="891901"/>
                  <a:pt x="9179425" y="890703"/>
                </a:cubicBezTo>
                <a:cubicBezTo>
                  <a:pt x="9178360" y="889638"/>
                  <a:pt x="9177029" y="888706"/>
                  <a:pt x="9175432" y="888040"/>
                </a:cubicBezTo>
                <a:cubicBezTo>
                  <a:pt x="9173967" y="887508"/>
                  <a:pt x="9172237" y="887109"/>
                  <a:pt x="9170374" y="887109"/>
                </a:cubicBezTo>
                <a:close/>
                <a:moveTo>
                  <a:pt x="8952728" y="887109"/>
                </a:moveTo>
                <a:cubicBezTo>
                  <a:pt x="8947003" y="887109"/>
                  <a:pt x="8944340" y="889105"/>
                  <a:pt x="8942743" y="890703"/>
                </a:cubicBezTo>
                <a:cubicBezTo>
                  <a:pt x="8940214" y="893365"/>
                  <a:pt x="8939150" y="896160"/>
                  <a:pt x="8939150" y="900154"/>
                </a:cubicBezTo>
                <a:cubicBezTo>
                  <a:pt x="8939150" y="904281"/>
                  <a:pt x="8940214" y="907076"/>
                  <a:pt x="8942743" y="909605"/>
                </a:cubicBezTo>
                <a:cubicBezTo>
                  <a:pt x="8944340" y="911203"/>
                  <a:pt x="8946870" y="913066"/>
                  <a:pt x="8952728" y="913066"/>
                </a:cubicBezTo>
                <a:cubicBezTo>
                  <a:pt x="8954725" y="913066"/>
                  <a:pt x="8956589" y="912800"/>
                  <a:pt x="8958053" y="912001"/>
                </a:cubicBezTo>
                <a:cubicBezTo>
                  <a:pt x="8959517" y="911469"/>
                  <a:pt x="8960849" y="910670"/>
                  <a:pt x="8961780" y="909605"/>
                </a:cubicBezTo>
                <a:cubicBezTo>
                  <a:pt x="8962845" y="908540"/>
                  <a:pt x="8963777" y="907076"/>
                  <a:pt x="8964442" y="905479"/>
                </a:cubicBezTo>
                <a:cubicBezTo>
                  <a:pt x="8965241" y="903881"/>
                  <a:pt x="8965507" y="902017"/>
                  <a:pt x="8965507" y="900021"/>
                </a:cubicBezTo>
                <a:cubicBezTo>
                  <a:pt x="8965507" y="898157"/>
                  <a:pt x="8965108" y="896427"/>
                  <a:pt x="8964442" y="894829"/>
                </a:cubicBezTo>
                <a:cubicBezTo>
                  <a:pt x="8963777" y="893232"/>
                  <a:pt x="8962845" y="891901"/>
                  <a:pt x="8961780" y="890703"/>
                </a:cubicBezTo>
                <a:cubicBezTo>
                  <a:pt x="8960715" y="889638"/>
                  <a:pt x="8959384" y="888706"/>
                  <a:pt x="8957786" y="888040"/>
                </a:cubicBezTo>
                <a:cubicBezTo>
                  <a:pt x="8956322" y="887508"/>
                  <a:pt x="8954592" y="887109"/>
                  <a:pt x="8952728" y="887109"/>
                </a:cubicBezTo>
                <a:close/>
                <a:moveTo>
                  <a:pt x="9387885" y="887109"/>
                </a:moveTo>
                <a:cubicBezTo>
                  <a:pt x="9382027" y="887109"/>
                  <a:pt x="9379497" y="889105"/>
                  <a:pt x="9377900" y="890703"/>
                </a:cubicBezTo>
                <a:cubicBezTo>
                  <a:pt x="9375371" y="893365"/>
                  <a:pt x="9374307" y="896160"/>
                  <a:pt x="9374307" y="900154"/>
                </a:cubicBezTo>
                <a:cubicBezTo>
                  <a:pt x="9374307" y="904281"/>
                  <a:pt x="9375371" y="907076"/>
                  <a:pt x="9377900" y="909605"/>
                </a:cubicBezTo>
                <a:cubicBezTo>
                  <a:pt x="9379497" y="911203"/>
                  <a:pt x="9382027" y="913066"/>
                  <a:pt x="9387885" y="913066"/>
                </a:cubicBezTo>
                <a:cubicBezTo>
                  <a:pt x="9390015" y="913066"/>
                  <a:pt x="9391746" y="912800"/>
                  <a:pt x="9393210" y="912001"/>
                </a:cubicBezTo>
                <a:cubicBezTo>
                  <a:pt x="9394674" y="911469"/>
                  <a:pt x="9396005" y="910670"/>
                  <a:pt x="9396937" y="909605"/>
                </a:cubicBezTo>
                <a:cubicBezTo>
                  <a:pt x="9398002" y="908540"/>
                  <a:pt x="9398934" y="907076"/>
                  <a:pt x="9399599" y="905479"/>
                </a:cubicBezTo>
                <a:cubicBezTo>
                  <a:pt x="9400398" y="903881"/>
                  <a:pt x="9400664" y="902017"/>
                  <a:pt x="9400664" y="900021"/>
                </a:cubicBezTo>
                <a:cubicBezTo>
                  <a:pt x="9400664" y="898157"/>
                  <a:pt x="9400265" y="896427"/>
                  <a:pt x="9399599" y="894829"/>
                </a:cubicBezTo>
                <a:cubicBezTo>
                  <a:pt x="9398934" y="893232"/>
                  <a:pt x="9398002" y="891901"/>
                  <a:pt x="9396937" y="890703"/>
                </a:cubicBezTo>
                <a:cubicBezTo>
                  <a:pt x="9395872" y="889638"/>
                  <a:pt x="9394541" y="888706"/>
                  <a:pt x="9392943" y="888040"/>
                </a:cubicBezTo>
                <a:cubicBezTo>
                  <a:pt x="9391479" y="887508"/>
                  <a:pt x="9389749" y="887109"/>
                  <a:pt x="9387885" y="887109"/>
                </a:cubicBezTo>
                <a:close/>
                <a:moveTo>
                  <a:pt x="10040820" y="887109"/>
                </a:moveTo>
                <a:cubicBezTo>
                  <a:pt x="10034962" y="887109"/>
                  <a:pt x="10032433" y="889104"/>
                  <a:pt x="10030835" y="890703"/>
                </a:cubicBezTo>
                <a:cubicBezTo>
                  <a:pt x="10028306" y="893364"/>
                  <a:pt x="10027242" y="896160"/>
                  <a:pt x="10027242" y="900154"/>
                </a:cubicBezTo>
                <a:cubicBezTo>
                  <a:pt x="10027242" y="904281"/>
                  <a:pt x="10028306" y="907076"/>
                  <a:pt x="10030835" y="909605"/>
                </a:cubicBezTo>
                <a:cubicBezTo>
                  <a:pt x="10032433" y="911203"/>
                  <a:pt x="10034962" y="913066"/>
                  <a:pt x="10040820" y="913066"/>
                </a:cubicBezTo>
                <a:cubicBezTo>
                  <a:pt x="10042817" y="913066"/>
                  <a:pt x="10044681" y="912800"/>
                  <a:pt x="10046145" y="912001"/>
                </a:cubicBezTo>
                <a:cubicBezTo>
                  <a:pt x="10047742" y="911469"/>
                  <a:pt x="10048941" y="910670"/>
                  <a:pt x="10049872" y="909605"/>
                </a:cubicBezTo>
                <a:cubicBezTo>
                  <a:pt x="10050937" y="908540"/>
                  <a:pt x="10051869" y="907076"/>
                  <a:pt x="10052534" y="905479"/>
                </a:cubicBezTo>
                <a:cubicBezTo>
                  <a:pt x="10053333" y="903881"/>
                  <a:pt x="10053599" y="902017"/>
                  <a:pt x="10053599" y="900021"/>
                </a:cubicBezTo>
                <a:cubicBezTo>
                  <a:pt x="10053599" y="898157"/>
                  <a:pt x="10053200" y="896426"/>
                  <a:pt x="10052534" y="894829"/>
                </a:cubicBezTo>
                <a:cubicBezTo>
                  <a:pt x="10051869" y="893231"/>
                  <a:pt x="10050937" y="891900"/>
                  <a:pt x="10049872" y="890703"/>
                </a:cubicBezTo>
                <a:cubicBezTo>
                  <a:pt x="10048807" y="889637"/>
                  <a:pt x="10047476" y="888705"/>
                  <a:pt x="10045878" y="888039"/>
                </a:cubicBezTo>
                <a:cubicBezTo>
                  <a:pt x="10044414" y="887507"/>
                  <a:pt x="10042817" y="887109"/>
                  <a:pt x="10040820" y="887109"/>
                </a:cubicBezTo>
                <a:close/>
                <a:moveTo>
                  <a:pt x="9823176" y="887109"/>
                </a:moveTo>
                <a:cubicBezTo>
                  <a:pt x="9817318" y="887109"/>
                  <a:pt x="9814788" y="889105"/>
                  <a:pt x="9813191" y="890703"/>
                </a:cubicBezTo>
                <a:cubicBezTo>
                  <a:pt x="9810662" y="893364"/>
                  <a:pt x="9809597" y="896160"/>
                  <a:pt x="9809597" y="900154"/>
                </a:cubicBezTo>
                <a:cubicBezTo>
                  <a:pt x="9809597" y="904281"/>
                  <a:pt x="9810662" y="907076"/>
                  <a:pt x="9813191" y="909605"/>
                </a:cubicBezTo>
                <a:cubicBezTo>
                  <a:pt x="9814788" y="911203"/>
                  <a:pt x="9817318" y="913066"/>
                  <a:pt x="9823176" y="913066"/>
                </a:cubicBezTo>
                <a:cubicBezTo>
                  <a:pt x="9825173" y="913066"/>
                  <a:pt x="9827036" y="912800"/>
                  <a:pt x="9828501" y="912001"/>
                </a:cubicBezTo>
                <a:cubicBezTo>
                  <a:pt x="9830098" y="911469"/>
                  <a:pt x="9831296" y="910670"/>
                  <a:pt x="9832227" y="909605"/>
                </a:cubicBezTo>
                <a:cubicBezTo>
                  <a:pt x="9833293" y="908540"/>
                  <a:pt x="9834225" y="907076"/>
                  <a:pt x="9834890" y="905479"/>
                </a:cubicBezTo>
                <a:cubicBezTo>
                  <a:pt x="9835689" y="903881"/>
                  <a:pt x="9835955" y="902017"/>
                  <a:pt x="9835955" y="900021"/>
                </a:cubicBezTo>
                <a:cubicBezTo>
                  <a:pt x="9835955" y="898157"/>
                  <a:pt x="9835555" y="896427"/>
                  <a:pt x="9834890" y="894829"/>
                </a:cubicBezTo>
                <a:cubicBezTo>
                  <a:pt x="9834225" y="893232"/>
                  <a:pt x="9833293" y="891901"/>
                  <a:pt x="9832227" y="890703"/>
                </a:cubicBezTo>
                <a:cubicBezTo>
                  <a:pt x="9831162" y="889638"/>
                  <a:pt x="9829831" y="888706"/>
                  <a:pt x="9828234" y="888040"/>
                </a:cubicBezTo>
                <a:cubicBezTo>
                  <a:pt x="9826770" y="887508"/>
                  <a:pt x="9825173" y="887109"/>
                  <a:pt x="9823176" y="887109"/>
                </a:cubicBezTo>
                <a:close/>
                <a:moveTo>
                  <a:pt x="9605531" y="887109"/>
                </a:moveTo>
                <a:cubicBezTo>
                  <a:pt x="9599673" y="887109"/>
                  <a:pt x="9597143" y="889105"/>
                  <a:pt x="9595546" y="890703"/>
                </a:cubicBezTo>
                <a:cubicBezTo>
                  <a:pt x="9593017" y="893365"/>
                  <a:pt x="9591952" y="896160"/>
                  <a:pt x="9591952" y="900154"/>
                </a:cubicBezTo>
                <a:cubicBezTo>
                  <a:pt x="9591952" y="904281"/>
                  <a:pt x="9593017" y="907076"/>
                  <a:pt x="9595546" y="909605"/>
                </a:cubicBezTo>
                <a:cubicBezTo>
                  <a:pt x="9597143" y="911203"/>
                  <a:pt x="9599673" y="913066"/>
                  <a:pt x="9605531" y="913066"/>
                </a:cubicBezTo>
                <a:cubicBezTo>
                  <a:pt x="9607660" y="913066"/>
                  <a:pt x="9609391" y="912800"/>
                  <a:pt x="9610855" y="912001"/>
                </a:cubicBezTo>
                <a:cubicBezTo>
                  <a:pt x="9612319" y="911469"/>
                  <a:pt x="9613651" y="910670"/>
                  <a:pt x="9614582" y="909605"/>
                </a:cubicBezTo>
                <a:cubicBezTo>
                  <a:pt x="9615647" y="908540"/>
                  <a:pt x="9616579" y="907076"/>
                  <a:pt x="9617245" y="905479"/>
                </a:cubicBezTo>
                <a:cubicBezTo>
                  <a:pt x="9618044" y="903881"/>
                  <a:pt x="9618309" y="902017"/>
                  <a:pt x="9618309" y="900021"/>
                </a:cubicBezTo>
                <a:cubicBezTo>
                  <a:pt x="9618309" y="898157"/>
                  <a:pt x="9617910" y="896427"/>
                  <a:pt x="9617245" y="894829"/>
                </a:cubicBezTo>
                <a:cubicBezTo>
                  <a:pt x="9616579" y="893232"/>
                  <a:pt x="9615647" y="891901"/>
                  <a:pt x="9614582" y="890703"/>
                </a:cubicBezTo>
                <a:cubicBezTo>
                  <a:pt x="9613517" y="889638"/>
                  <a:pt x="9612186" y="888706"/>
                  <a:pt x="9610589" y="888040"/>
                </a:cubicBezTo>
                <a:cubicBezTo>
                  <a:pt x="9609124" y="887508"/>
                  <a:pt x="9607394" y="887109"/>
                  <a:pt x="9605531" y="887109"/>
                </a:cubicBezTo>
                <a:close/>
                <a:moveTo>
                  <a:pt x="10258466" y="887108"/>
                </a:moveTo>
                <a:cubicBezTo>
                  <a:pt x="10252608" y="887108"/>
                  <a:pt x="10250078" y="889104"/>
                  <a:pt x="10248481" y="890703"/>
                </a:cubicBezTo>
                <a:cubicBezTo>
                  <a:pt x="10245952" y="893364"/>
                  <a:pt x="10244887" y="896159"/>
                  <a:pt x="10244887" y="900154"/>
                </a:cubicBezTo>
                <a:cubicBezTo>
                  <a:pt x="10244887" y="904281"/>
                  <a:pt x="10245952" y="907076"/>
                  <a:pt x="10248481" y="909605"/>
                </a:cubicBezTo>
                <a:cubicBezTo>
                  <a:pt x="10250078" y="911203"/>
                  <a:pt x="10252608" y="913066"/>
                  <a:pt x="10258466" y="913066"/>
                </a:cubicBezTo>
                <a:cubicBezTo>
                  <a:pt x="10260462" y="913066"/>
                  <a:pt x="10262192" y="912800"/>
                  <a:pt x="10263790" y="912001"/>
                </a:cubicBezTo>
                <a:cubicBezTo>
                  <a:pt x="10265388" y="911469"/>
                  <a:pt x="10266586" y="910670"/>
                  <a:pt x="10267517" y="909605"/>
                </a:cubicBezTo>
                <a:cubicBezTo>
                  <a:pt x="10268583" y="908540"/>
                  <a:pt x="10269515" y="907076"/>
                  <a:pt x="10270180" y="905479"/>
                </a:cubicBezTo>
                <a:cubicBezTo>
                  <a:pt x="10270845" y="903881"/>
                  <a:pt x="10271112" y="902017"/>
                  <a:pt x="10271112" y="900021"/>
                </a:cubicBezTo>
                <a:cubicBezTo>
                  <a:pt x="10271112" y="898156"/>
                  <a:pt x="10270845" y="896426"/>
                  <a:pt x="10270180" y="894828"/>
                </a:cubicBezTo>
                <a:cubicBezTo>
                  <a:pt x="10269515" y="893231"/>
                  <a:pt x="10268583" y="891900"/>
                  <a:pt x="10267517" y="890703"/>
                </a:cubicBezTo>
                <a:cubicBezTo>
                  <a:pt x="10266452" y="889637"/>
                  <a:pt x="10265121" y="888705"/>
                  <a:pt x="10263524" y="888039"/>
                </a:cubicBezTo>
                <a:cubicBezTo>
                  <a:pt x="10262060" y="887507"/>
                  <a:pt x="10260462" y="887108"/>
                  <a:pt x="10258466" y="887108"/>
                </a:cubicBezTo>
                <a:close/>
                <a:moveTo>
                  <a:pt x="10475977" y="887108"/>
                </a:moveTo>
                <a:cubicBezTo>
                  <a:pt x="10470119" y="887108"/>
                  <a:pt x="10467589" y="889104"/>
                  <a:pt x="10465992" y="890702"/>
                </a:cubicBezTo>
                <a:cubicBezTo>
                  <a:pt x="10463463" y="893364"/>
                  <a:pt x="10462399" y="896159"/>
                  <a:pt x="10462399" y="900153"/>
                </a:cubicBezTo>
                <a:cubicBezTo>
                  <a:pt x="10462399" y="904280"/>
                  <a:pt x="10463463" y="907076"/>
                  <a:pt x="10465992" y="909605"/>
                </a:cubicBezTo>
                <a:cubicBezTo>
                  <a:pt x="10467589" y="911203"/>
                  <a:pt x="10470119" y="913066"/>
                  <a:pt x="10475977" y="913066"/>
                </a:cubicBezTo>
                <a:cubicBezTo>
                  <a:pt x="10478107" y="913066"/>
                  <a:pt x="10479838" y="912800"/>
                  <a:pt x="10481302" y="912001"/>
                </a:cubicBezTo>
                <a:cubicBezTo>
                  <a:pt x="10482899" y="911469"/>
                  <a:pt x="10484098" y="910670"/>
                  <a:pt x="10485029" y="909605"/>
                </a:cubicBezTo>
                <a:cubicBezTo>
                  <a:pt x="10486094" y="908539"/>
                  <a:pt x="10487026" y="907076"/>
                  <a:pt x="10487691" y="905478"/>
                </a:cubicBezTo>
                <a:cubicBezTo>
                  <a:pt x="10488357" y="903881"/>
                  <a:pt x="10488623" y="902016"/>
                  <a:pt x="10488623" y="900020"/>
                </a:cubicBezTo>
                <a:cubicBezTo>
                  <a:pt x="10488623" y="898156"/>
                  <a:pt x="10488357" y="896426"/>
                  <a:pt x="10487691" y="894828"/>
                </a:cubicBezTo>
                <a:cubicBezTo>
                  <a:pt x="10487026" y="893231"/>
                  <a:pt x="10486094" y="891900"/>
                  <a:pt x="10485029" y="890702"/>
                </a:cubicBezTo>
                <a:cubicBezTo>
                  <a:pt x="10483964" y="889637"/>
                  <a:pt x="10482633" y="888705"/>
                  <a:pt x="10481035" y="888039"/>
                </a:cubicBezTo>
                <a:cubicBezTo>
                  <a:pt x="10479571" y="887507"/>
                  <a:pt x="10477974" y="887108"/>
                  <a:pt x="10475977" y="887108"/>
                </a:cubicBezTo>
                <a:close/>
                <a:moveTo>
                  <a:pt x="30247" y="870473"/>
                </a:moveTo>
                <a:cubicBezTo>
                  <a:pt x="34507" y="870473"/>
                  <a:pt x="38501" y="871272"/>
                  <a:pt x="41962" y="873002"/>
                </a:cubicBezTo>
                <a:cubicBezTo>
                  <a:pt x="45689" y="874600"/>
                  <a:pt x="48751" y="876729"/>
                  <a:pt x="51281" y="879392"/>
                </a:cubicBezTo>
                <a:cubicBezTo>
                  <a:pt x="53943" y="881921"/>
                  <a:pt x="55940" y="885116"/>
                  <a:pt x="57404" y="888710"/>
                </a:cubicBezTo>
                <a:cubicBezTo>
                  <a:pt x="58868" y="892304"/>
                  <a:pt x="59667" y="896164"/>
                  <a:pt x="59667" y="900158"/>
                </a:cubicBezTo>
                <a:cubicBezTo>
                  <a:pt x="59667" y="904285"/>
                  <a:pt x="58868" y="908278"/>
                  <a:pt x="57404" y="911872"/>
                </a:cubicBezTo>
                <a:cubicBezTo>
                  <a:pt x="55940" y="915600"/>
                  <a:pt x="53810" y="918661"/>
                  <a:pt x="51281" y="921324"/>
                </a:cubicBezTo>
                <a:cubicBezTo>
                  <a:pt x="48617" y="923987"/>
                  <a:pt x="45557" y="926117"/>
                  <a:pt x="41962" y="927581"/>
                </a:cubicBezTo>
                <a:cubicBezTo>
                  <a:pt x="38368" y="929045"/>
                  <a:pt x="34507" y="929844"/>
                  <a:pt x="30247" y="929844"/>
                </a:cubicBezTo>
                <a:cubicBezTo>
                  <a:pt x="21329" y="929844"/>
                  <a:pt x="14007" y="926915"/>
                  <a:pt x="8417" y="921324"/>
                </a:cubicBezTo>
                <a:cubicBezTo>
                  <a:pt x="2825" y="915733"/>
                  <a:pt x="30" y="908677"/>
                  <a:pt x="30" y="900158"/>
                </a:cubicBezTo>
                <a:cubicBezTo>
                  <a:pt x="30" y="891905"/>
                  <a:pt x="2825" y="884850"/>
                  <a:pt x="8417" y="879126"/>
                </a:cubicBezTo>
                <a:cubicBezTo>
                  <a:pt x="14007" y="873402"/>
                  <a:pt x="21195" y="870473"/>
                  <a:pt x="30247" y="870473"/>
                </a:cubicBezTo>
                <a:close/>
                <a:moveTo>
                  <a:pt x="247891" y="870473"/>
                </a:moveTo>
                <a:cubicBezTo>
                  <a:pt x="252152" y="870473"/>
                  <a:pt x="256146" y="871272"/>
                  <a:pt x="259607" y="873001"/>
                </a:cubicBezTo>
                <a:cubicBezTo>
                  <a:pt x="263334" y="874599"/>
                  <a:pt x="266396" y="876729"/>
                  <a:pt x="268925" y="879392"/>
                </a:cubicBezTo>
                <a:cubicBezTo>
                  <a:pt x="271587" y="881921"/>
                  <a:pt x="273584" y="885116"/>
                  <a:pt x="275048" y="888710"/>
                </a:cubicBezTo>
                <a:cubicBezTo>
                  <a:pt x="276512" y="892304"/>
                  <a:pt x="277311" y="896164"/>
                  <a:pt x="277311" y="900158"/>
                </a:cubicBezTo>
                <a:cubicBezTo>
                  <a:pt x="277311" y="904285"/>
                  <a:pt x="276512" y="908278"/>
                  <a:pt x="275048" y="911872"/>
                </a:cubicBezTo>
                <a:cubicBezTo>
                  <a:pt x="273584" y="915600"/>
                  <a:pt x="271454" y="918661"/>
                  <a:pt x="268925" y="921323"/>
                </a:cubicBezTo>
                <a:cubicBezTo>
                  <a:pt x="266262" y="923986"/>
                  <a:pt x="263201" y="926117"/>
                  <a:pt x="259607" y="927581"/>
                </a:cubicBezTo>
                <a:cubicBezTo>
                  <a:pt x="256011" y="929045"/>
                  <a:pt x="252152" y="929844"/>
                  <a:pt x="247891" y="929844"/>
                </a:cubicBezTo>
                <a:cubicBezTo>
                  <a:pt x="238973" y="929844"/>
                  <a:pt x="231651" y="926915"/>
                  <a:pt x="226060" y="921323"/>
                </a:cubicBezTo>
                <a:cubicBezTo>
                  <a:pt x="220469" y="915733"/>
                  <a:pt x="217674" y="908677"/>
                  <a:pt x="217674" y="900158"/>
                </a:cubicBezTo>
                <a:cubicBezTo>
                  <a:pt x="217674" y="891905"/>
                  <a:pt x="220469" y="884850"/>
                  <a:pt x="226060" y="879126"/>
                </a:cubicBezTo>
                <a:cubicBezTo>
                  <a:pt x="231651" y="873402"/>
                  <a:pt x="238839" y="870473"/>
                  <a:pt x="247891" y="870473"/>
                </a:cubicBezTo>
                <a:close/>
                <a:moveTo>
                  <a:pt x="683180" y="870472"/>
                </a:moveTo>
                <a:cubicBezTo>
                  <a:pt x="687440" y="870472"/>
                  <a:pt x="691301" y="871271"/>
                  <a:pt x="694895" y="873001"/>
                </a:cubicBezTo>
                <a:cubicBezTo>
                  <a:pt x="698622" y="874599"/>
                  <a:pt x="701684" y="876728"/>
                  <a:pt x="704213" y="879392"/>
                </a:cubicBezTo>
                <a:cubicBezTo>
                  <a:pt x="706875" y="881921"/>
                  <a:pt x="708872" y="885116"/>
                  <a:pt x="710336" y="888710"/>
                </a:cubicBezTo>
                <a:cubicBezTo>
                  <a:pt x="711800" y="892304"/>
                  <a:pt x="712599" y="896164"/>
                  <a:pt x="712599" y="900158"/>
                </a:cubicBezTo>
                <a:cubicBezTo>
                  <a:pt x="712599" y="904285"/>
                  <a:pt x="711800" y="908278"/>
                  <a:pt x="710336" y="911872"/>
                </a:cubicBezTo>
                <a:cubicBezTo>
                  <a:pt x="708872" y="915599"/>
                  <a:pt x="706742" y="918661"/>
                  <a:pt x="704213" y="921323"/>
                </a:cubicBezTo>
                <a:cubicBezTo>
                  <a:pt x="701684" y="923986"/>
                  <a:pt x="698489" y="926116"/>
                  <a:pt x="694895" y="927580"/>
                </a:cubicBezTo>
                <a:cubicBezTo>
                  <a:pt x="691301" y="929045"/>
                  <a:pt x="687440" y="929843"/>
                  <a:pt x="683180" y="929843"/>
                </a:cubicBezTo>
                <a:cubicBezTo>
                  <a:pt x="674262" y="929843"/>
                  <a:pt x="666940" y="926914"/>
                  <a:pt x="661348" y="921323"/>
                </a:cubicBezTo>
                <a:cubicBezTo>
                  <a:pt x="655757" y="915733"/>
                  <a:pt x="652962" y="908677"/>
                  <a:pt x="652962" y="900158"/>
                </a:cubicBezTo>
                <a:cubicBezTo>
                  <a:pt x="652962" y="891905"/>
                  <a:pt x="655757" y="884850"/>
                  <a:pt x="661348" y="879126"/>
                </a:cubicBezTo>
                <a:cubicBezTo>
                  <a:pt x="666940" y="873401"/>
                  <a:pt x="674129" y="870472"/>
                  <a:pt x="683180" y="870472"/>
                </a:cubicBezTo>
                <a:close/>
                <a:moveTo>
                  <a:pt x="465536" y="870472"/>
                </a:moveTo>
                <a:cubicBezTo>
                  <a:pt x="469796" y="870472"/>
                  <a:pt x="473656" y="871271"/>
                  <a:pt x="477251" y="873001"/>
                </a:cubicBezTo>
                <a:cubicBezTo>
                  <a:pt x="480978" y="874599"/>
                  <a:pt x="484040" y="876729"/>
                  <a:pt x="486569" y="879392"/>
                </a:cubicBezTo>
                <a:cubicBezTo>
                  <a:pt x="489231" y="881921"/>
                  <a:pt x="491228" y="885116"/>
                  <a:pt x="492692" y="888710"/>
                </a:cubicBezTo>
                <a:cubicBezTo>
                  <a:pt x="494156" y="892304"/>
                  <a:pt x="494955" y="896164"/>
                  <a:pt x="494955" y="900158"/>
                </a:cubicBezTo>
                <a:cubicBezTo>
                  <a:pt x="494955" y="904285"/>
                  <a:pt x="494156" y="908278"/>
                  <a:pt x="492692" y="911872"/>
                </a:cubicBezTo>
                <a:cubicBezTo>
                  <a:pt x="491228" y="915599"/>
                  <a:pt x="489098" y="918661"/>
                  <a:pt x="486569" y="921323"/>
                </a:cubicBezTo>
                <a:cubicBezTo>
                  <a:pt x="483906" y="923986"/>
                  <a:pt x="480845" y="926116"/>
                  <a:pt x="477251" y="927580"/>
                </a:cubicBezTo>
                <a:cubicBezTo>
                  <a:pt x="473656" y="929045"/>
                  <a:pt x="469796" y="929843"/>
                  <a:pt x="465536" y="929843"/>
                </a:cubicBezTo>
                <a:cubicBezTo>
                  <a:pt x="456617" y="929843"/>
                  <a:pt x="449295" y="926914"/>
                  <a:pt x="443704" y="921323"/>
                </a:cubicBezTo>
                <a:cubicBezTo>
                  <a:pt x="438113" y="915733"/>
                  <a:pt x="435318" y="908677"/>
                  <a:pt x="435318" y="900158"/>
                </a:cubicBezTo>
                <a:cubicBezTo>
                  <a:pt x="435318" y="891905"/>
                  <a:pt x="438113" y="884850"/>
                  <a:pt x="443704" y="879126"/>
                </a:cubicBezTo>
                <a:cubicBezTo>
                  <a:pt x="449295" y="873402"/>
                  <a:pt x="456485" y="870472"/>
                  <a:pt x="465536" y="870472"/>
                </a:cubicBezTo>
                <a:close/>
                <a:moveTo>
                  <a:pt x="900824" y="870472"/>
                </a:moveTo>
                <a:cubicBezTo>
                  <a:pt x="904951" y="870472"/>
                  <a:pt x="908945" y="871271"/>
                  <a:pt x="912539" y="873001"/>
                </a:cubicBezTo>
                <a:cubicBezTo>
                  <a:pt x="916266" y="874599"/>
                  <a:pt x="919328" y="876728"/>
                  <a:pt x="921857" y="879391"/>
                </a:cubicBezTo>
                <a:cubicBezTo>
                  <a:pt x="924519" y="881920"/>
                  <a:pt x="926516" y="885115"/>
                  <a:pt x="927980" y="888710"/>
                </a:cubicBezTo>
                <a:cubicBezTo>
                  <a:pt x="929444" y="892304"/>
                  <a:pt x="930243" y="896164"/>
                  <a:pt x="930243" y="900158"/>
                </a:cubicBezTo>
                <a:cubicBezTo>
                  <a:pt x="930243" y="904285"/>
                  <a:pt x="929444" y="908278"/>
                  <a:pt x="927980" y="911872"/>
                </a:cubicBezTo>
                <a:cubicBezTo>
                  <a:pt x="926516" y="915599"/>
                  <a:pt x="924386" y="918661"/>
                  <a:pt x="921857" y="921323"/>
                </a:cubicBezTo>
                <a:cubicBezTo>
                  <a:pt x="919328" y="923986"/>
                  <a:pt x="916133" y="926116"/>
                  <a:pt x="912539" y="927580"/>
                </a:cubicBezTo>
                <a:cubicBezTo>
                  <a:pt x="908945" y="929044"/>
                  <a:pt x="905084" y="929843"/>
                  <a:pt x="900824" y="929843"/>
                </a:cubicBezTo>
                <a:cubicBezTo>
                  <a:pt x="891906" y="929843"/>
                  <a:pt x="884584" y="926914"/>
                  <a:pt x="878993" y="921323"/>
                </a:cubicBezTo>
                <a:cubicBezTo>
                  <a:pt x="873403" y="915733"/>
                  <a:pt x="870607" y="908677"/>
                  <a:pt x="870607" y="900158"/>
                </a:cubicBezTo>
                <a:cubicBezTo>
                  <a:pt x="870607" y="891905"/>
                  <a:pt x="873403" y="884849"/>
                  <a:pt x="878993" y="879125"/>
                </a:cubicBezTo>
                <a:cubicBezTo>
                  <a:pt x="884584" y="873401"/>
                  <a:pt x="891773" y="870472"/>
                  <a:pt x="900824" y="870472"/>
                </a:cubicBezTo>
                <a:close/>
                <a:moveTo>
                  <a:pt x="1118336" y="870472"/>
                </a:moveTo>
                <a:cubicBezTo>
                  <a:pt x="1122596" y="870472"/>
                  <a:pt x="1126591" y="871271"/>
                  <a:pt x="1130052" y="873001"/>
                </a:cubicBezTo>
                <a:cubicBezTo>
                  <a:pt x="1133778" y="874599"/>
                  <a:pt x="1136840" y="876728"/>
                  <a:pt x="1139370" y="879391"/>
                </a:cubicBezTo>
                <a:cubicBezTo>
                  <a:pt x="1142031" y="881920"/>
                  <a:pt x="1144028" y="885115"/>
                  <a:pt x="1145492" y="888710"/>
                </a:cubicBezTo>
                <a:cubicBezTo>
                  <a:pt x="1146956" y="892304"/>
                  <a:pt x="1147755" y="896164"/>
                  <a:pt x="1147755" y="900158"/>
                </a:cubicBezTo>
                <a:cubicBezTo>
                  <a:pt x="1147755" y="904285"/>
                  <a:pt x="1146956" y="908278"/>
                  <a:pt x="1145492" y="911872"/>
                </a:cubicBezTo>
                <a:cubicBezTo>
                  <a:pt x="1144028" y="915599"/>
                  <a:pt x="1141898" y="918661"/>
                  <a:pt x="1139370" y="921323"/>
                </a:cubicBezTo>
                <a:cubicBezTo>
                  <a:pt x="1136840" y="923986"/>
                  <a:pt x="1133645" y="926116"/>
                  <a:pt x="1130052" y="927580"/>
                </a:cubicBezTo>
                <a:cubicBezTo>
                  <a:pt x="1126456" y="929044"/>
                  <a:pt x="1122596" y="929843"/>
                  <a:pt x="1118336" y="929843"/>
                </a:cubicBezTo>
                <a:cubicBezTo>
                  <a:pt x="1109417" y="929843"/>
                  <a:pt x="1102095" y="926914"/>
                  <a:pt x="1096504" y="921323"/>
                </a:cubicBezTo>
                <a:cubicBezTo>
                  <a:pt x="1090913" y="915733"/>
                  <a:pt x="1088118" y="908677"/>
                  <a:pt x="1088118" y="900158"/>
                </a:cubicBezTo>
                <a:cubicBezTo>
                  <a:pt x="1088118" y="891904"/>
                  <a:pt x="1090913" y="884849"/>
                  <a:pt x="1096504" y="879125"/>
                </a:cubicBezTo>
                <a:cubicBezTo>
                  <a:pt x="1102095" y="873401"/>
                  <a:pt x="1109283" y="870472"/>
                  <a:pt x="1118336" y="870472"/>
                </a:cubicBezTo>
                <a:close/>
                <a:moveTo>
                  <a:pt x="1335981" y="870472"/>
                </a:moveTo>
                <a:cubicBezTo>
                  <a:pt x="1340241" y="870472"/>
                  <a:pt x="1344236" y="871271"/>
                  <a:pt x="1347696" y="873001"/>
                </a:cubicBezTo>
                <a:cubicBezTo>
                  <a:pt x="1351290" y="874599"/>
                  <a:pt x="1354484" y="876728"/>
                  <a:pt x="1357014" y="879391"/>
                </a:cubicBezTo>
                <a:cubicBezTo>
                  <a:pt x="1359676" y="881920"/>
                  <a:pt x="1361673" y="885115"/>
                  <a:pt x="1363137" y="888709"/>
                </a:cubicBezTo>
                <a:cubicBezTo>
                  <a:pt x="1364601" y="892303"/>
                  <a:pt x="1365400" y="896164"/>
                  <a:pt x="1365400" y="900158"/>
                </a:cubicBezTo>
                <a:cubicBezTo>
                  <a:pt x="1365400" y="904285"/>
                  <a:pt x="1364601" y="908278"/>
                  <a:pt x="1363137" y="911872"/>
                </a:cubicBezTo>
                <a:cubicBezTo>
                  <a:pt x="1361673" y="915599"/>
                  <a:pt x="1359543" y="918661"/>
                  <a:pt x="1357014" y="921323"/>
                </a:cubicBezTo>
                <a:cubicBezTo>
                  <a:pt x="1354351" y="923986"/>
                  <a:pt x="1351290" y="926116"/>
                  <a:pt x="1347696" y="927580"/>
                </a:cubicBezTo>
                <a:cubicBezTo>
                  <a:pt x="1344101" y="929044"/>
                  <a:pt x="1340241" y="929843"/>
                  <a:pt x="1335981" y="929843"/>
                </a:cubicBezTo>
                <a:cubicBezTo>
                  <a:pt x="1327062" y="929843"/>
                  <a:pt x="1319740" y="926914"/>
                  <a:pt x="1314149" y="921323"/>
                </a:cubicBezTo>
                <a:cubicBezTo>
                  <a:pt x="1308558" y="915733"/>
                  <a:pt x="1305764" y="908677"/>
                  <a:pt x="1305764" y="900158"/>
                </a:cubicBezTo>
                <a:cubicBezTo>
                  <a:pt x="1305764" y="891904"/>
                  <a:pt x="1308558" y="884849"/>
                  <a:pt x="1314149" y="879125"/>
                </a:cubicBezTo>
                <a:cubicBezTo>
                  <a:pt x="1319740" y="873401"/>
                  <a:pt x="1326929" y="870472"/>
                  <a:pt x="1335981" y="870472"/>
                </a:cubicBezTo>
                <a:close/>
                <a:moveTo>
                  <a:pt x="1553626" y="870472"/>
                </a:moveTo>
                <a:cubicBezTo>
                  <a:pt x="1557885" y="870472"/>
                  <a:pt x="1561747" y="871271"/>
                  <a:pt x="1565340" y="873001"/>
                </a:cubicBezTo>
                <a:cubicBezTo>
                  <a:pt x="1568935" y="874599"/>
                  <a:pt x="1572130" y="876728"/>
                  <a:pt x="1574659" y="879391"/>
                </a:cubicBezTo>
                <a:cubicBezTo>
                  <a:pt x="1577321" y="881920"/>
                  <a:pt x="1579318" y="885115"/>
                  <a:pt x="1580782" y="888709"/>
                </a:cubicBezTo>
                <a:cubicBezTo>
                  <a:pt x="1582246" y="892303"/>
                  <a:pt x="1583045" y="896163"/>
                  <a:pt x="1583045" y="900158"/>
                </a:cubicBezTo>
                <a:cubicBezTo>
                  <a:pt x="1583045" y="904285"/>
                  <a:pt x="1582246" y="908278"/>
                  <a:pt x="1580782" y="911872"/>
                </a:cubicBezTo>
                <a:cubicBezTo>
                  <a:pt x="1579318" y="915599"/>
                  <a:pt x="1577188" y="918661"/>
                  <a:pt x="1574659" y="921323"/>
                </a:cubicBezTo>
                <a:cubicBezTo>
                  <a:pt x="1571997" y="923986"/>
                  <a:pt x="1568935" y="926116"/>
                  <a:pt x="1565340" y="927580"/>
                </a:cubicBezTo>
                <a:cubicBezTo>
                  <a:pt x="1561747" y="929044"/>
                  <a:pt x="1557885" y="929843"/>
                  <a:pt x="1553626" y="929843"/>
                </a:cubicBezTo>
                <a:cubicBezTo>
                  <a:pt x="1544707" y="929843"/>
                  <a:pt x="1537385" y="926914"/>
                  <a:pt x="1531794" y="921323"/>
                </a:cubicBezTo>
                <a:cubicBezTo>
                  <a:pt x="1526204" y="915733"/>
                  <a:pt x="1523408" y="908677"/>
                  <a:pt x="1523408" y="900158"/>
                </a:cubicBezTo>
                <a:cubicBezTo>
                  <a:pt x="1523408" y="891904"/>
                  <a:pt x="1526204" y="884849"/>
                  <a:pt x="1531794" y="879125"/>
                </a:cubicBezTo>
                <a:cubicBezTo>
                  <a:pt x="1537385" y="873401"/>
                  <a:pt x="1544573" y="870472"/>
                  <a:pt x="1553626" y="870472"/>
                </a:cubicBezTo>
                <a:close/>
                <a:moveTo>
                  <a:pt x="1771270" y="870472"/>
                </a:moveTo>
                <a:cubicBezTo>
                  <a:pt x="1775530" y="870472"/>
                  <a:pt x="1779390" y="871271"/>
                  <a:pt x="1782985" y="873001"/>
                </a:cubicBezTo>
                <a:cubicBezTo>
                  <a:pt x="1786712" y="874599"/>
                  <a:pt x="1789774" y="876728"/>
                  <a:pt x="1792302" y="879391"/>
                </a:cubicBezTo>
                <a:cubicBezTo>
                  <a:pt x="1794964" y="881920"/>
                  <a:pt x="1796962" y="885115"/>
                  <a:pt x="1798426" y="888709"/>
                </a:cubicBezTo>
                <a:cubicBezTo>
                  <a:pt x="1799890" y="892303"/>
                  <a:pt x="1800689" y="896163"/>
                  <a:pt x="1800689" y="900157"/>
                </a:cubicBezTo>
                <a:cubicBezTo>
                  <a:pt x="1800689" y="904284"/>
                  <a:pt x="1799890" y="908278"/>
                  <a:pt x="1798426" y="911872"/>
                </a:cubicBezTo>
                <a:cubicBezTo>
                  <a:pt x="1796962" y="915599"/>
                  <a:pt x="1794832" y="918661"/>
                  <a:pt x="1792302" y="921323"/>
                </a:cubicBezTo>
                <a:cubicBezTo>
                  <a:pt x="1789640" y="923986"/>
                  <a:pt x="1786579" y="926116"/>
                  <a:pt x="1782985" y="927580"/>
                </a:cubicBezTo>
                <a:cubicBezTo>
                  <a:pt x="1779390" y="929044"/>
                  <a:pt x="1775530" y="929843"/>
                  <a:pt x="1771270" y="929843"/>
                </a:cubicBezTo>
                <a:cubicBezTo>
                  <a:pt x="1762350" y="929843"/>
                  <a:pt x="1755029" y="926914"/>
                  <a:pt x="1749439" y="921323"/>
                </a:cubicBezTo>
                <a:cubicBezTo>
                  <a:pt x="1743848" y="915733"/>
                  <a:pt x="1741053" y="908677"/>
                  <a:pt x="1741053" y="900157"/>
                </a:cubicBezTo>
                <a:cubicBezTo>
                  <a:pt x="1741053" y="891904"/>
                  <a:pt x="1743848" y="884849"/>
                  <a:pt x="1749439" y="879125"/>
                </a:cubicBezTo>
                <a:cubicBezTo>
                  <a:pt x="1755029" y="873401"/>
                  <a:pt x="1762218" y="870472"/>
                  <a:pt x="1771270" y="870472"/>
                </a:cubicBezTo>
                <a:close/>
                <a:moveTo>
                  <a:pt x="1988913" y="870472"/>
                </a:moveTo>
                <a:cubicBezTo>
                  <a:pt x="1993040" y="870472"/>
                  <a:pt x="1997034" y="871271"/>
                  <a:pt x="2000628" y="873001"/>
                </a:cubicBezTo>
                <a:cubicBezTo>
                  <a:pt x="2004355" y="874599"/>
                  <a:pt x="2007417" y="876728"/>
                  <a:pt x="2009946" y="879391"/>
                </a:cubicBezTo>
                <a:cubicBezTo>
                  <a:pt x="2012608" y="881920"/>
                  <a:pt x="2014605" y="885115"/>
                  <a:pt x="2016069" y="888709"/>
                </a:cubicBezTo>
                <a:cubicBezTo>
                  <a:pt x="2017533" y="892303"/>
                  <a:pt x="2018332" y="896163"/>
                  <a:pt x="2018332" y="900157"/>
                </a:cubicBezTo>
                <a:cubicBezTo>
                  <a:pt x="2018332" y="904284"/>
                  <a:pt x="2017533" y="908277"/>
                  <a:pt x="2016069" y="911871"/>
                </a:cubicBezTo>
                <a:cubicBezTo>
                  <a:pt x="2014605" y="915599"/>
                  <a:pt x="2012475" y="918660"/>
                  <a:pt x="2009946" y="921323"/>
                </a:cubicBezTo>
                <a:cubicBezTo>
                  <a:pt x="2007417" y="923986"/>
                  <a:pt x="2004222" y="926116"/>
                  <a:pt x="2000628" y="927580"/>
                </a:cubicBezTo>
                <a:cubicBezTo>
                  <a:pt x="1997034" y="929044"/>
                  <a:pt x="1993172" y="929843"/>
                  <a:pt x="1988913" y="929843"/>
                </a:cubicBezTo>
                <a:cubicBezTo>
                  <a:pt x="1979861" y="929843"/>
                  <a:pt x="1972672" y="926914"/>
                  <a:pt x="1967081" y="921323"/>
                </a:cubicBezTo>
                <a:cubicBezTo>
                  <a:pt x="1961491" y="915733"/>
                  <a:pt x="1958695" y="908676"/>
                  <a:pt x="1958695" y="900157"/>
                </a:cubicBezTo>
                <a:cubicBezTo>
                  <a:pt x="1958695" y="891904"/>
                  <a:pt x="1961491" y="884849"/>
                  <a:pt x="1967081" y="879125"/>
                </a:cubicBezTo>
                <a:cubicBezTo>
                  <a:pt x="1972672" y="873401"/>
                  <a:pt x="1979861" y="870472"/>
                  <a:pt x="1988913" y="870472"/>
                </a:cubicBezTo>
                <a:close/>
                <a:moveTo>
                  <a:pt x="2206428" y="870472"/>
                </a:moveTo>
                <a:cubicBezTo>
                  <a:pt x="2210687" y="870472"/>
                  <a:pt x="2214682" y="871271"/>
                  <a:pt x="2218143" y="873001"/>
                </a:cubicBezTo>
                <a:cubicBezTo>
                  <a:pt x="2221869" y="874599"/>
                  <a:pt x="2224931" y="876728"/>
                  <a:pt x="2227461" y="879391"/>
                </a:cubicBezTo>
                <a:cubicBezTo>
                  <a:pt x="2230123" y="881920"/>
                  <a:pt x="2232120" y="885115"/>
                  <a:pt x="2233584" y="888709"/>
                </a:cubicBezTo>
                <a:cubicBezTo>
                  <a:pt x="2235048" y="892303"/>
                  <a:pt x="2235847" y="896163"/>
                  <a:pt x="2235847" y="900157"/>
                </a:cubicBezTo>
                <a:cubicBezTo>
                  <a:pt x="2235847" y="904284"/>
                  <a:pt x="2235048" y="908277"/>
                  <a:pt x="2233584" y="911871"/>
                </a:cubicBezTo>
                <a:cubicBezTo>
                  <a:pt x="2232120" y="915599"/>
                  <a:pt x="2229990" y="918660"/>
                  <a:pt x="2227461" y="921322"/>
                </a:cubicBezTo>
                <a:cubicBezTo>
                  <a:pt x="2224931" y="923986"/>
                  <a:pt x="2221737" y="926116"/>
                  <a:pt x="2218143" y="927580"/>
                </a:cubicBezTo>
                <a:cubicBezTo>
                  <a:pt x="2214548" y="929044"/>
                  <a:pt x="2210687" y="929843"/>
                  <a:pt x="2206428" y="929843"/>
                </a:cubicBezTo>
                <a:cubicBezTo>
                  <a:pt x="2197375" y="929843"/>
                  <a:pt x="2190187" y="926914"/>
                  <a:pt x="2184596" y="921322"/>
                </a:cubicBezTo>
                <a:cubicBezTo>
                  <a:pt x="2179005" y="915733"/>
                  <a:pt x="2176209" y="908676"/>
                  <a:pt x="2176209" y="900157"/>
                </a:cubicBezTo>
                <a:cubicBezTo>
                  <a:pt x="2176209" y="891904"/>
                  <a:pt x="2179005" y="884849"/>
                  <a:pt x="2184596" y="879125"/>
                </a:cubicBezTo>
                <a:cubicBezTo>
                  <a:pt x="2190187" y="873401"/>
                  <a:pt x="2197375" y="870472"/>
                  <a:pt x="2206428" y="870472"/>
                </a:cubicBezTo>
                <a:close/>
                <a:moveTo>
                  <a:pt x="2859371" y="870471"/>
                </a:moveTo>
                <a:cubicBezTo>
                  <a:pt x="2863631" y="870471"/>
                  <a:pt x="2867492" y="871270"/>
                  <a:pt x="2871219" y="873000"/>
                </a:cubicBezTo>
                <a:cubicBezTo>
                  <a:pt x="2874946" y="874598"/>
                  <a:pt x="2878008" y="876727"/>
                  <a:pt x="2880537" y="879391"/>
                </a:cubicBezTo>
                <a:cubicBezTo>
                  <a:pt x="2883199" y="881920"/>
                  <a:pt x="2885196" y="885115"/>
                  <a:pt x="2886660" y="888709"/>
                </a:cubicBezTo>
                <a:cubicBezTo>
                  <a:pt x="2888125" y="892303"/>
                  <a:pt x="2888923" y="896163"/>
                  <a:pt x="2888923" y="900157"/>
                </a:cubicBezTo>
                <a:cubicBezTo>
                  <a:pt x="2888923" y="904284"/>
                  <a:pt x="2888125" y="908277"/>
                  <a:pt x="2886660" y="911871"/>
                </a:cubicBezTo>
                <a:cubicBezTo>
                  <a:pt x="2885196" y="915598"/>
                  <a:pt x="2883066" y="918660"/>
                  <a:pt x="2880537" y="921322"/>
                </a:cubicBezTo>
                <a:cubicBezTo>
                  <a:pt x="2877875" y="923985"/>
                  <a:pt x="2874813" y="926115"/>
                  <a:pt x="2871219" y="927579"/>
                </a:cubicBezTo>
                <a:cubicBezTo>
                  <a:pt x="2867492" y="929044"/>
                  <a:pt x="2863631" y="929842"/>
                  <a:pt x="2859371" y="929842"/>
                </a:cubicBezTo>
                <a:cubicBezTo>
                  <a:pt x="2850453" y="929842"/>
                  <a:pt x="2843129" y="926914"/>
                  <a:pt x="2837539" y="921322"/>
                </a:cubicBezTo>
                <a:cubicBezTo>
                  <a:pt x="2831948" y="915732"/>
                  <a:pt x="2829152" y="908676"/>
                  <a:pt x="2829152" y="900157"/>
                </a:cubicBezTo>
                <a:cubicBezTo>
                  <a:pt x="2829152" y="891904"/>
                  <a:pt x="2831948" y="884849"/>
                  <a:pt x="2837539" y="879125"/>
                </a:cubicBezTo>
                <a:cubicBezTo>
                  <a:pt x="2843129" y="873400"/>
                  <a:pt x="2850319" y="870471"/>
                  <a:pt x="2859371" y="870471"/>
                </a:cubicBezTo>
                <a:close/>
                <a:moveTo>
                  <a:pt x="2641723" y="870471"/>
                </a:moveTo>
                <a:cubicBezTo>
                  <a:pt x="2645983" y="870471"/>
                  <a:pt x="2649843" y="871270"/>
                  <a:pt x="2653438" y="873000"/>
                </a:cubicBezTo>
                <a:cubicBezTo>
                  <a:pt x="2657165" y="874599"/>
                  <a:pt x="2660227" y="876728"/>
                  <a:pt x="2662756" y="879391"/>
                </a:cubicBezTo>
                <a:cubicBezTo>
                  <a:pt x="2665418" y="881920"/>
                  <a:pt x="2667416" y="885115"/>
                  <a:pt x="2668880" y="888709"/>
                </a:cubicBezTo>
                <a:cubicBezTo>
                  <a:pt x="2670344" y="892303"/>
                  <a:pt x="2671143" y="896163"/>
                  <a:pt x="2671143" y="900157"/>
                </a:cubicBezTo>
                <a:cubicBezTo>
                  <a:pt x="2671143" y="904284"/>
                  <a:pt x="2670344" y="908277"/>
                  <a:pt x="2668880" y="911871"/>
                </a:cubicBezTo>
                <a:cubicBezTo>
                  <a:pt x="2667416" y="915598"/>
                  <a:pt x="2665285" y="918660"/>
                  <a:pt x="2662756" y="921322"/>
                </a:cubicBezTo>
                <a:cubicBezTo>
                  <a:pt x="2660227" y="923985"/>
                  <a:pt x="2657032" y="926116"/>
                  <a:pt x="2653438" y="927579"/>
                </a:cubicBezTo>
                <a:cubicBezTo>
                  <a:pt x="2649843" y="929044"/>
                  <a:pt x="2645983" y="929842"/>
                  <a:pt x="2641723" y="929842"/>
                </a:cubicBezTo>
                <a:cubicBezTo>
                  <a:pt x="2632804" y="929842"/>
                  <a:pt x="2625483" y="926914"/>
                  <a:pt x="2619891" y="921322"/>
                </a:cubicBezTo>
                <a:cubicBezTo>
                  <a:pt x="2614301" y="915732"/>
                  <a:pt x="2611505" y="908676"/>
                  <a:pt x="2611505" y="900157"/>
                </a:cubicBezTo>
                <a:cubicBezTo>
                  <a:pt x="2611505" y="891904"/>
                  <a:pt x="2614301" y="884849"/>
                  <a:pt x="2619891" y="879125"/>
                </a:cubicBezTo>
                <a:cubicBezTo>
                  <a:pt x="2625483" y="873401"/>
                  <a:pt x="2632671" y="870471"/>
                  <a:pt x="2641723" y="870471"/>
                </a:cubicBezTo>
                <a:close/>
                <a:moveTo>
                  <a:pt x="2424075" y="870471"/>
                </a:moveTo>
                <a:cubicBezTo>
                  <a:pt x="2428335" y="870471"/>
                  <a:pt x="2432330" y="871271"/>
                  <a:pt x="2435790" y="873001"/>
                </a:cubicBezTo>
                <a:cubicBezTo>
                  <a:pt x="2439517" y="874599"/>
                  <a:pt x="2442579" y="876728"/>
                  <a:pt x="2445108" y="879391"/>
                </a:cubicBezTo>
                <a:cubicBezTo>
                  <a:pt x="2447771" y="881920"/>
                  <a:pt x="2449768" y="885115"/>
                  <a:pt x="2451232" y="888709"/>
                </a:cubicBezTo>
                <a:cubicBezTo>
                  <a:pt x="2452696" y="892303"/>
                  <a:pt x="2453495" y="896163"/>
                  <a:pt x="2453495" y="900157"/>
                </a:cubicBezTo>
                <a:cubicBezTo>
                  <a:pt x="2453495" y="904284"/>
                  <a:pt x="2452696" y="908277"/>
                  <a:pt x="2451232" y="911871"/>
                </a:cubicBezTo>
                <a:cubicBezTo>
                  <a:pt x="2449768" y="915599"/>
                  <a:pt x="2447638" y="918660"/>
                  <a:pt x="2445108" y="921322"/>
                </a:cubicBezTo>
                <a:cubicBezTo>
                  <a:pt x="2442579" y="923986"/>
                  <a:pt x="2439385" y="926116"/>
                  <a:pt x="2435790" y="927580"/>
                </a:cubicBezTo>
                <a:cubicBezTo>
                  <a:pt x="2432196" y="929044"/>
                  <a:pt x="2428335" y="929843"/>
                  <a:pt x="2424075" y="929843"/>
                </a:cubicBezTo>
                <a:cubicBezTo>
                  <a:pt x="2415157" y="929843"/>
                  <a:pt x="2407835" y="926914"/>
                  <a:pt x="2402244" y="921322"/>
                </a:cubicBezTo>
                <a:cubicBezTo>
                  <a:pt x="2396653" y="915732"/>
                  <a:pt x="2393857" y="908676"/>
                  <a:pt x="2393857" y="900157"/>
                </a:cubicBezTo>
                <a:cubicBezTo>
                  <a:pt x="2393857" y="891904"/>
                  <a:pt x="2396653" y="884849"/>
                  <a:pt x="2402244" y="879125"/>
                </a:cubicBezTo>
                <a:cubicBezTo>
                  <a:pt x="2407835" y="873401"/>
                  <a:pt x="2415023" y="870471"/>
                  <a:pt x="2424075" y="870471"/>
                </a:cubicBezTo>
                <a:close/>
                <a:moveTo>
                  <a:pt x="3512181" y="870471"/>
                </a:moveTo>
                <a:cubicBezTo>
                  <a:pt x="3516441" y="870471"/>
                  <a:pt x="3520434" y="871270"/>
                  <a:pt x="3523896" y="873000"/>
                </a:cubicBezTo>
                <a:cubicBezTo>
                  <a:pt x="3527490" y="874598"/>
                  <a:pt x="3530685" y="876727"/>
                  <a:pt x="3533214" y="879390"/>
                </a:cubicBezTo>
                <a:cubicBezTo>
                  <a:pt x="3535743" y="881919"/>
                  <a:pt x="3537873" y="885114"/>
                  <a:pt x="3539337" y="888708"/>
                </a:cubicBezTo>
                <a:cubicBezTo>
                  <a:pt x="3540801" y="892302"/>
                  <a:pt x="3541600" y="896163"/>
                  <a:pt x="3541600" y="900157"/>
                </a:cubicBezTo>
                <a:cubicBezTo>
                  <a:pt x="3541600" y="904284"/>
                  <a:pt x="3540801" y="908277"/>
                  <a:pt x="3539337" y="911871"/>
                </a:cubicBezTo>
                <a:cubicBezTo>
                  <a:pt x="3537873" y="915598"/>
                  <a:pt x="3535743" y="918660"/>
                  <a:pt x="3533214" y="921322"/>
                </a:cubicBezTo>
                <a:cubicBezTo>
                  <a:pt x="3530551" y="923985"/>
                  <a:pt x="3527490" y="926115"/>
                  <a:pt x="3523896" y="927579"/>
                </a:cubicBezTo>
                <a:cubicBezTo>
                  <a:pt x="3520302" y="929043"/>
                  <a:pt x="3516441" y="929842"/>
                  <a:pt x="3512181" y="929842"/>
                </a:cubicBezTo>
                <a:cubicBezTo>
                  <a:pt x="3503128" y="929842"/>
                  <a:pt x="3495939" y="926913"/>
                  <a:pt x="3490348" y="921322"/>
                </a:cubicBezTo>
                <a:cubicBezTo>
                  <a:pt x="3484758" y="915732"/>
                  <a:pt x="3481962" y="908676"/>
                  <a:pt x="3481962" y="900157"/>
                </a:cubicBezTo>
                <a:cubicBezTo>
                  <a:pt x="3481962" y="891903"/>
                  <a:pt x="3484758" y="884848"/>
                  <a:pt x="3490348" y="879124"/>
                </a:cubicBezTo>
                <a:cubicBezTo>
                  <a:pt x="3495939" y="873400"/>
                  <a:pt x="3503128" y="870471"/>
                  <a:pt x="3512181" y="870471"/>
                </a:cubicBezTo>
                <a:close/>
                <a:moveTo>
                  <a:pt x="3294666" y="870471"/>
                </a:moveTo>
                <a:cubicBezTo>
                  <a:pt x="3298793" y="870471"/>
                  <a:pt x="3302787" y="871270"/>
                  <a:pt x="3306382" y="873000"/>
                </a:cubicBezTo>
                <a:cubicBezTo>
                  <a:pt x="3310109" y="874598"/>
                  <a:pt x="3313171" y="876727"/>
                  <a:pt x="3315700" y="879391"/>
                </a:cubicBezTo>
                <a:cubicBezTo>
                  <a:pt x="3318229" y="881919"/>
                  <a:pt x="3320359" y="885115"/>
                  <a:pt x="3321823" y="888708"/>
                </a:cubicBezTo>
                <a:cubicBezTo>
                  <a:pt x="3323287" y="892303"/>
                  <a:pt x="3324086" y="896163"/>
                  <a:pt x="3324086" y="900157"/>
                </a:cubicBezTo>
                <a:cubicBezTo>
                  <a:pt x="3324086" y="904284"/>
                  <a:pt x="3323287" y="908277"/>
                  <a:pt x="3321823" y="911871"/>
                </a:cubicBezTo>
                <a:cubicBezTo>
                  <a:pt x="3320359" y="915598"/>
                  <a:pt x="3318229" y="918660"/>
                  <a:pt x="3315700" y="921322"/>
                </a:cubicBezTo>
                <a:cubicBezTo>
                  <a:pt x="3313037" y="923985"/>
                  <a:pt x="3309975" y="926115"/>
                  <a:pt x="3306382" y="927579"/>
                </a:cubicBezTo>
                <a:cubicBezTo>
                  <a:pt x="3302787" y="929043"/>
                  <a:pt x="3298926" y="929842"/>
                  <a:pt x="3294666" y="929842"/>
                </a:cubicBezTo>
                <a:cubicBezTo>
                  <a:pt x="3285614" y="929842"/>
                  <a:pt x="3278425" y="926913"/>
                  <a:pt x="3272834" y="921322"/>
                </a:cubicBezTo>
                <a:cubicBezTo>
                  <a:pt x="3267242" y="915732"/>
                  <a:pt x="3264447" y="908676"/>
                  <a:pt x="3264447" y="900157"/>
                </a:cubicBezTo>
                <a:cubicBezTo>
                  <a:pt x="3264447" y="891903"/>
                  <a:pt x="3267242" y="884848"/>
                  <a:pt x="3272834" y="879124"/>
                </a:cubicBezTo>
                <a:cubicBezTo>
                  <a:pt x="3278425" y="873400"/>
                  <a:pt x="3285614" y="870471"/>
                  <a:pt x="3294666" y="870471"/>
                </a:cubicBezTo>
                <a:close/>
                <a:moveTo>
                  <a:pt x="3077018" y="870471"/>
                </a:moveTo>
                <a:cubicBezTo>
                  <a:pt x="3081146" y="870471"/>
                  <a:pt x="3085139" y="871270"/>
                  <a:pt x="3088734" y="873000"/>
                </a:cubicBezTo>
                <a:cubicBezTo>
                  <a:pt x="3092328" y="874598"/>
                  <a:pt x="3095523" y="876727"/>
                  <a:pt x="3098052" y="879391"/>
                </a:cubicBezTo>
                <a:cubicBezTo>
                  <a:pt x="3100581" y="881919"/>
                  <a:pt x="3102711" y="885115"/>
                  <a:pt x="3104175" y="888709"/>
                </a:cubicBezTo>
                <a:cubicBezTo>
                  <a:pt x="3105640" y="892303"/>
                  <a:pt x="3106438" y="896163"/>
                  <a:pt x="3106438" y="900157"/>
                </a:cubicBezTo>
                <a:cubicBezTo>
                  <a:pt x="3106438" y="904284"/>
                  <a:pt x="3105640" y="908277"/>
                  <a:pt x="3104175" y="911871"/>
                </a:cubicBezTo>
                <a:cubicBezTo>
                  <a:pt x="3102711" y="915598"/>
                  <a:pt x="3100581" y="918660"/>
                  <a:pt x="3098052" y="921322"/>
                </a:cubicBezTo>
                <a:cubicBezTo>
                  <a:pt x="3095389" y="923985"/>
                  <a:pt x="3092328" y="926115"/>
                  <a:pt x="3088734" y="927579"/>
                </a:cubicBezTo>
                <a:cubicBezTo>
                  <a:pt x="3085139" y="929043"/>
                  <a:pt x="3081279" y="929842"/>
                  <a:pt x="3077018" y="929842"/>
                </a:cubicBezTo>
                <a:cubicBezTo>
                  <a:pt x="3068100" y="929842"/>
                  <a:pt x="3060778" y="926913"/>
                  <a:pt x="3055186" y="921322"/>
                </a:cubicBezTo>
                <a:cubicBezTo>
                  <a:pt x="3049595" y="915732"/>
                  <a:pt x="3046800" y="908676"/>
                  <a:pt x="3046800" y="900157"/>
                </a:cubicBezTo>
                <a:cubicBezTo>
                  <a:pt x="3046800" y="891904"/>
                  <a:pt x="3049595" y="884849"/>
                  <a:pt x="3055186" y="879124"/>
                </a:cubicBezTo>
                <a:cubicBezTo>
                  <a:pt x="3060778" y="873400"/>
                  <a:pt x="3067966" y="870471"/>
                  <a:pt x="3077018" y="870471"/>
                </a:cubicBezTo>
                <a:close/>
                <a:moveTo>
                  <a:pt x="3729829" y="870471"/>
                </a:moveTo>
                <a:cubicBezTo>
                  <a:pt x="3734089" y="870471"/>
                  <a:pt x="3738081" y="871270"/>
                  <a:pt x="3741544" y="873000"/>
                </a:cubicBezTo>
                <a:cubicBezTo>
                  <a:pt x="3745138" y="874598"/>
                  <a:pt x="3748333" y="876727"/>
                  <a:pt x="3750862" y="879390"/>
                </a:cubicBezTo>
                <a:cubicBezTo>
                  <a:pt x="3753391" y="881919"/>
                  <a:pt x="3755521" y="885114"/>
                  <a:pt x="3756985" y="888708"/>
                </a:cubicBezTo>
                <a:cubicBezTo>
                  <a:pt x="3758449" y="892302"/>
                  <a:pt x="3759248" y="896163"/>
                  <a:pt x="3759248" y="900157"/>
                </a:cubicBezTo>
                <a:cubicBezTo>
                  <a:pt x="3759248" y="904284"/>
                  <a:pt x="3758449" y="908277"/>
                  <a:pt x="3756985" y="911871"/>
                </a:cubicBezTo>
                <a:cubicBezTo>
                  <a:pt x="3755521" y="915598"/>
                  <a:pt x="3753391" y="918660"/>
                  <a:pt x="3750862" y="921322"/>
                </a:cubicBezTo>
                <a:cubicBezTo>
                  <a:pt x="3748199" y="923985"/>
                  <a:pt x="3745138" y="926115"/>
                  <a:pt x="3741544" y="927579"/>
                </a:cubicBezTo>
                <a:cubicBezTo>
                  <a:pt x="3737950" y="929043"/>
                  <a:pt x="3734089" y="929842"/>
                  <a:pt x="3729829" y="929842"/>
                </a:cubicBezTo>
                <a:cubicBezTo>
                  <a:pt x="3720776" y="929842"/>
                  <a:pt x="3713588" y="926913"/>
                  <a:pt x="3707997" y="921322"/>
                </a:cubicBezTo>
                <a:cubicBezTo>
                  <a:pt x="3702404" y="915732"/>
                  <a:pt x="3699610" y="908676"/>
                  <a:pt x="3699610" y="900157"/>
                </a:cubicBezTo>
                <a:cubicBezTo>
                  <a:pt x="3699610" y="891903"/>
                  <a:pt x="3702404" y="884848"/>
                  <a:pt x="3707997" y="879124"/>
                </a:cubicBezTo>
                <a:cubicBezTo>
                  <a:pt x="3713588" y="873400"/>
                  <a:pt x="3720776" y="870471"/>
                  <a:pt x="3729829" y="870471"/>
                </a:cubicBezTo>
                <a:close/>
                <a:moveTo>
                  <a:pt x="4165068" y="870471"/>
                </a:moveTo>
                <a:cubicBezTo>
                  <a:pt x="4169327" y="870471"/>
                  <a:pt x="4173188" y="871270"/>
                  <a:pt x="4176782" y="873000"/>
                </a:cubicBezTo>
                <a:cubicBezTo>
                  <a:pt x="4180509" y="874598"/>
                  <a:pt x="4183571" y="876727"/>
                  <a:pt x="4186100" y="879390"/>
                </a:cubicBezTo>
                <a:cubicBezTo>
                  <a:pt x="4188629" y="881919"/>
                  <a:pt x="4190759" y="885114"/>
                  <a:pt x="4192223" y="888708"/>
                </a:cubicBezTo>
                <a:cubicBezTo>
                  <a:pt x="4193688" y="892302"/>
                  <a:pt x="4194486" y="896162"/>
                  <a:pt x="4194486" y="900156"/>
                </a:cubicBezTo>
                <a:cubicBezTo>
                  <a:pt x="4194486" y="904283"/>
                  <a:pt x="4193688" y="908276"/>
                  <a:pt x="4192223" y="911870"/>
                </a:cubicBezTo>
                <a:cubicBezTo>
                  <a:pt x="4190759" y="915598"/>
                  <a:pt x="4188629" y="918660"/>
                  <a:pt x="4186100" y="921322"/>
                </a:cubicBezTo>
                <a:cubicBezTo>
                  <a:pt x="4183438" y="923985"/>
                  <a:pt x="4180376" y="926115"/>
                  <a:pt x="4176782" y="927579"/>
                </a:cubicBezTo>
                <a:cubicBezTo>
                  <a:pt x="4173188" y="929043"/>
                  <a:pt x="4169327" y="929842"/>
                  <a:pt x="4165068" y="929842"/>
                </a:cubicBezTo>
                <a:cubicBezTo>
                  <a:pt x="4156015" y="929842"/>
                  <a:pt x="4148827" y="926913"/>
                  <a:pt x="4143235" y="921322"/>
                </a:cubicBezTo>
                <a:cubicBezTo>
                  <a:pt x="4137645" y="915732"/>
                  <a:pt x="4134849" y="908676"/>
                  <a:pt x="4134849" y="900156"/>
                </a:cubicBezTo>
                <a:cubicBezTo>
                  <a:pt x="4134849" y="891903"/>
                  <a:pt x="4137645" y="884848"/>
                  <a:pt x="4143235" y="879124"/>
                </a:cubicBezTo>
                <a:cubicBezTo>
                  <a:pt x="4148827" y="873400"/>
                  <a:pt x="4156015" y="870471"/>
                  <a:pt x="4165068" y="870471"/>
                </a:cubicBezTo>
                <a:close/>
                <a:moveTo>
                  <a:pt x="3947477" y="870471"/>
                </a:moveTo>
                <a:cubicBezTo>
                  <a:pt x="3951737" y="870471"/>
                  <a:pt x="3955597" y="871270"/>
                  <a:pt x="3959192" y="873000"/>
                </a:cubicBezTo>
                <a:cubicBezTo>
                  <a:pt x="3962920" y="874598"/>
                  <a:pt x="3965980" y="876727"/>
                  <a:pt x="3968509" y="879390"/>
                </a:cubicBezTo>
                <a:cubicBezTo>
                  <a:pt x="3971040" y="881919"/>
                  <a:pt x="3973169" y="885114"/>
                  <a:pt x="3974633" y="888708"/>
                </a:cubicBezTo>
                <a:cubicBezTo>
                  <a:pt x="3976098" y="892302"/>
                  <a:pt x="3976897" y="896162"/>
                  <a:pt x="3976897" y="900156"/>
                </a:cubicBezTo>
                <a:cubicBezTo>
                  <a:pt x="3976897" y="904283"/>
                  <a:pt x="3976098" y="908276"/>
                  <a:pt x="3974633" y="911871"/>
                </a:cubicBezTo>
                <a:cubicBezTo>
                  <a:pt x="3973169" y="915598"/>
                  <a:pt x="3971040" y="918660"/>
                  <a:pt x="3968509" y="921322"/>
                </a:cubicBezTo>
                <a:cubicBezTo>
                  <a:pt x="3965848" y="923985"/>
                  <a:pt x="3962786" y="926115"/>
                  <a:pt x="3959192" y="927579"/>
                </a:cubicBezTo>
                <a:cubicBezTo>
                  <a:pt x="3955597" y="929043"/>
                  <a:pt x="3951737" y="929842"/>
                  <a:pt x="3947477" y="929842"/>
                </a:cubicBezTo>
                <a:cubicBezTo>
                  <a:pt x="3938425" y="929842"/>
                  <a:pt x="3931237" y="926913"/>
                  <a:pt x="3925645" y="921322"/>
                </a:cubicBezTo>
                <a:cubicBezTo>
                  <a:pt x="3920054" y="915732"/>
                  <a:pt x="3917258" y="908676"/>
                  <a:pt x="3917258" y="900156"/>
                </a:cubicBezTo>
                <a:cubicBezTo>
                  <a:pt x="3917258" y="891903"/>
                  <a:pt x="3920054" y="884848"/>
                  <a:pt x="3925645" y="879124"/>
                </a:cubicBezTo>
                <a:cubicBezTo>
                  <a:pt x="3931237" y="873400"/>
                  <a:pt x="3938425" y="870471"/>
                  <a:pt x="3947477" y="870471"/>
                </a:cubicBezTo>
                <a:close/>
                <a:moveTo>
                  <a:pt x="4600226" y="870471"/>
                </a:moveTo>
                <a:cubicBezTo>
                  <a:pt x="4604485" y="870471"/>
                  <a:pt x="4608479" y="871270"/>
                  <a:pt x="4612073" y="872999"/>
                </a:cubicBezTo>
                <a:cubicBezTo>
                  <a:pt x="4615800" y="874598"/>
                  <a:pt x="4618862" y="876727"/>
                  <a:pt x="4621391" y="879390"/>
                </a:cubicBezTo>
                <a:cubicBezTo>
                  <a:pt x="4623920" y="881919"/>
                  <a:pt x="4626050" y="885114"/>
                  <a:pt x="4627514" y="888708"/>
                </a:cubicBezTo>
                <a:cubicBezTo>
                  <a:pt x="4628978" y="892302"/>
                  <a:pt x="4629777" y="896162"/>
                  <a:pt x="4629777" y="900156"/>
                </a:cubicBezTo>
                <a:cubicBezTo>
                  <a:pt x="4629777" y="904283"/>
                  <a:pt x="4628978" y="908276"/>
                  <a:pt x="4627514" y="911870"/>
                </a:cubicBezTo>
                <a:cubicBezTo>
                  <a:pt x="4626050" y="915597"/>
                  <a:pt x="4623920" y="918659"/>
                  <a:pt x="4621391" y="921321"/>
                </a:cubicBezTo>
                <a:cubicBezTo>
                  <a:pt x="4618729" y="923984"/>
                  <a:pt x="4615667" y="926115"/>
                  <a:pt x="4612073" y="927579"/>
                </a:cubicBezTo>
                <a:cubicBezTo>
                  <a:pt x="4608346" y="929043"/>
                  <a:pt x="4604485" y="929842"/>
                  <a:pt x="4600226" y="929842"/>
                </a:cubicBezTo>
                <a:cubicBezTo>
                  <a:pt x="4591173" y="929842"/>
                  <a:pt x="4583985" y="926913"/>
                  <a:pt x="4578393" y="921321"/>
                </a:cubicBezTo>
                <a:cubicBezTo>
                  <a:pt x="4572803" y="915731"/>
                  <a:pt x="4570007" y="908675"/>
                  <a:pt x="4570007" y="900156"/>
                </a:cubicBezTo>
                <a:cubicBezTo>
                  <a:pt x="4570007" y="891903"/>
                  <a:pt x="4572803" y="884848"/>
                  <a:pt x="4578393" y="879124"/>
                </a:cubicBezTo>
                <a:cubicBezTo>
                  <a:pt x="4583985" y="873400"/>
                  <a:pt x="4591173" y="870471"/>
                  <a:pt x="4600226" y="870471"/>
                </a:cubicBezTo>
                <a:close/>
                <a:moveTo>
                  <a:pt x="4382713" y="870471"/>
                </a:moveTo>
                <a:cubicBezTo>
                  <a:pt x="4386840" y="870471"/>
                  <a:pt x="4390834" y="871270"/>
                  <a:pt x="4394428" y="873000"/>
                </a:cubicBezTo>
                <a:cubicBezTo>
                  <a:pt x="4398155" y="874598"/>
                  <a:pt x="4401217" y="876727"/>
                  <a:pt x="4403746" y="879390"/>
                </a:cubicBezTo>
                <a:cubicBezTo>
                  <a:pt x="4406275" y="881919"/>
                  <a:pt x="4408405" y="885114"/>
                  <a:pt x="4409869" y="888708"/>
                </a:cubicBezTo>
                <a:cubicBezTo>
                  <a:pt x="4411334" y="892302"/>
                  <a:pt x="4412132" y="896162"/>
                  <a:pt x="4412132" y="900156"/>
                </a:cubicBezTo>
                <a:cubicBezTo>
                  <a:pt x="4412132" y="904283"/>
                  <a:pt x="4411334" y="908276"/>
                  <a:pt x="4409869" y="911870"/>
                </a:cubicBezTo>
                <a:cubicBezTo>
                  <a:pt x="4408405" y="915598"/>
                  <a:pt x="4406275" y="918660"/>
                  <a:pt x="4403746" y="921322"/>
                </a:cubicBezTo>
                <a:cubicBezTo>
                  <a:pt x="4401083" y="923985"/>
                  <a:pt x="4398022" y="926115"/>
                  <a:pt x="4394428" y="927579"/>
                </a:cubicBezTo>
                <a:cubicBezTo>
                  <a:pt x="4390834" y="929043"/>
                  <a:pt x="4386973" y="929842"/>
                  <a:pt x="4382713" y="929842"/>
                </a:cubicBezTo>
                <a:cubicBezTo>
                  <a:pt x="4373661" y="929842"/>
                  <a:pt x="4366473" y="926913"/>
                  <a:pt x="4360881" y="921322"/>
                </a:cubicBezTo>
                <a:cubicBezTo>
                  <a:pt x="4355290" y="915732"/>
                  <a:pt x="4352495" y="908675"/>
                  <a:pt x="4352495" y="900156"/>
                </a:cubicBezTo>
                <a:cubicBezTo>
                  <a:pt x="4352495" y="891903"/>
                  <a:pt x="4355290" y="884848"/>
                  <a:pt x="4360881" y="879124"/>
                </a:cubicBezTo>
                <a:cubicBezTo>
                  <a:pt x="4366473" y="873400"/>
                  <a:pt x="4373661" y="870471"/>
                  <a:pt x="4382713" y="870471"/>
                </a:cubicBezTo>
                <a:close/>
                <a:moveTo>
                  <a:pt x="4817870" y="870470"/>
                </a:moveTo>
                <a:cubicBezTo>
                  <a:pt x="4822130" y="870470"/>
                  <a:pt x="4826124" y="871269"/>
                  <a:pt x="4829585" y="872999"/>
                </a:cubicBezTo>
                <a:cubicBezTo>
                  <a:pt x="4833312" y="874597"/>
                  <a:pt x="4836374" y="876727"/>
                  <a:pt x="4838903" y="879390"/>
                </a:cubicBezTo>
                <a:cubicBezTo>
                  <a:pt x="4841432" y="881919"/>
                  <a:pt x="4843562" y="885114"/>
                  <a:pt x="4845026" y="888708"/>
                </a:cubicBezTo>
                <a:cubicBezTo>
                  <a:pt x="4846491" y="892302"/>
                  <a:pt x="4847289" y="896162"/>
                  <a:pt x="4847289" y="900156"/>
                </a:cubicBezTo>
                <a:cubicBezTo>
                  <a:pt x="4847289" y="904283"/>
                  <a:pt x="4846491" y="908276"/>
                  <a:pt x="4845026" y="911870"/>
                </a:cubicBezTo>
                <a:cubicBezTo>
                  <a:pt x="4843562" y="915597"/>
                  <a:pt x="4841432" y="918659"/>
                  <a:pt x="4838903" y="921321"/>
                </a:cubicBezTo>
                <a:cubicBezTo>
                  <a:pt x="4836240" y="923984"/>
                  <a:pt x="4833179" y="926115"/>
                  <a:pt x="4829585" y="927579"/>
                </a:cubicBezTo>
                <a:cubicBezTo>
                  <a:pt x="4825991" y="929043"/>
                  <a:pt x="4822130" y="929842"/>
                  <a:pt x="4817870" y="929842"/>
                </a:cubicBezTo>
                <a:cubicBezTo>
                  <a:pt x="4808952" y="929842"/>
                  <a:pt x="4801630" y="926913"/>
                  <a:pt x="4796038" y="921321"/>
                </a:cubicBezTo>
                <a:cubicBezTo>
                  <a:pt x="4790447" y="915731"/>
                  <a:pt x="4787652" y="908675"/>
                  <a:pt x="4787652" y="900156"/>
                </a:cubicBezTo>
                <a:cubicBezTo>
                  <a:pt x="4787652" y="891903"/>
                  <a:pt x="4790447" y="884848"/>
                  <a:pt x="4796038" y="879124"/>
                </a:cubicBezTo>
                <a:cubicBezTo>
                  <a:pt x="4801630" y="873399"/>
                  <a:pt x="4808818" y="870470"/>
                  <a:pt x="4817870" y="870470"/>
                </a:cubicBezTo>
                <a:close/>
                <a:moveTo>
                  <a:pt x="5035515" y="870470"/>
                </a:moveTo>
                <a:cubicBezTo>
                  <a:pt x="5039775" y="870470"/>
                  <a:pt x="5043636" y="871269"/>
                  <a:pt x="5047230" y="872999"/>
                </a:cubicBezTo>
                <a:cubicBezTo>
                  <a:pt x="5050957" y="874597"/>
                  <a:pt x="5054019" y="876727"/>
                  <a:pt x="5056548" y="879390"/>
                </a:cubicBezTo>
                <a:cubicBezTo>
                  <a:pt x="5059077" y="881919"/>
                  <a:pt x="5061207" y="885114"/>
                  <a:pt x="5062671" y="888708"/>
                </a:cubicBezTo>
                <a:cubicBezTo>
                  <a:pt x="5064135" y="892302"/>
                  <a:pt x="5064934" y="896162"/>
                  <a:pt x="5064934" y="900156"/>
                </a:cubicBezTo>
                <a:cubicBezTo>
                  <a:pt x="5064934" y="904283"/>
                  <a:pt x="5064135" y="908276"/>
                  <a:pt x="5062671" y="911870"/>
                </a:cubicBezTo>
                <a:cubicBezTo>
                  <a:pt x="5061207" y="915597"/>
                  <a:pt x="5059077" y="918659"/>
                  <a:pt x="5056548" y="921321"/>
                </a:cubicBezTo>
                <a:cubicBezTo>
                  <a:pt x="5053885" y="923984"/>
                  <a:pt x="5050824" y="926114"/>
                  <a:pt x="5047230" y="927578"/>
                </a:cubicBezTo>
                <a:cubicBezTo>
                  <a:pt x="5043636" y="929042"/>
                  <a:pt x="5039775" y="929842"/>
                  <a:pt x="5035515" y="929842"/>
                </a:cubicBezTo>
                <a:cubicBezTo>
                  <a:pt x="5026597" y="929842"/>
                  <a:pt x="5019275" y="926912"/>
                  <a:pt x="5013683" y="921321"/>
                </a:cubicBezTo>
                <a:cubicBezTo>
                  <a:pt x="5008092" y="915731"/>
                  <a:pt x="5005297" y="908675"/>
                  <a:pt x="5005297" y="900156"/>
                </a:cubicBezTo>
                <a:cubicBezTo>
                  <a:pt x="5005297" y="891903"/>
                  <a:pt x="5008092" y="884848"/>
                  <a:pt x="5013683" y="879124"/>
                </a:cubicBezTo>
                <a:cubicBezTo>
                  <a:pt x="5019275" y="873399"/>
                  <a:pt x="5026463" y="870470"/>
                  <a:pt x="5035515" y="870470"/>
                </a:cubicBezTo>
                <a:close/>
                <a:moveTo>
                  <a:pt x="5253160" y="870470"/>
                </a:moveTo>
                <a:cubicBezTo>
                  <a:pt x="5257420" y="870470"/>
                  <a:pt x="5261280" y="871269"/>
                  <a:pt x="5264875" y="872999"/>
                </a:cubicBezTo>
                <a:cubicBezTo>
                  <a:pt x="5268602" y="874597"/>
                  <a:pt x="5271664" y="876726"/>
                  <a:pt x="5274192" y="879390"/>
                </a:cubicBezTo>
                <a:cubicBezTo>
                  <a:pt x="5276722" y="881918"/>
                  <a:pt x="5278852" y="885114"/>
                  <a:pt x="5280316" y="888708"/>
                </a:cubicBezTo>
                <a:cubicBezTo>
                  <a:pt x="5281780" y="892302"/>
                  <a:pt x="5282579" y="896162"/>
                  <a:pt x="5282579" y="900156"/>
                </a:cubicBezTo>
                <a:cubicBezTo>
                  <a:pt x="5282579" y="904283"/>
                  <a:pt x="5281780" y="908276"/>
                  <a:pt x="5280316" y="911870"/>
                </a:cubicBezTo>
                <a:cubicBezTo>
                  <a:pt x="5278852" y="915597"/>
                  <a:pt x="5276722" y="918659"/>
                  <a:pt x="5274192" y="921321"/>
                </a:cubicBezTo>
                <a:cubicBezTo>
                  <a:pt x="5271664" y="923984"/>
                  <a:pt x="5268469" y="926114"/>
                  <a:pt x="5264875" y="927578"/>
                </a:cubicBezTo>
                <a:cubicBezTo>
                  <a:pt x="5261280" y="929042"/>
                  <a:pt x="5257420" y="929841"/>
                  <a:pt x="5253160" y="929841"/>
                </a:cubicBezTo>
                <a:cubicBezTo>
                  <a:pt x="5244241" y="929841"/>
                  <a:pt x="5236920" y="926912"/>
                  <a:pt x="5231328" y="921321"/>
                </a:cubicBezTo>
                <a:cubicBezTo>
                  <a:pt x="5225737" y="915731"/>
                  <a:pt x="5222942" y="908675"/>
                  <a:pt x="5222942" y="900156"/>
                </a:cubicBezTo>
                <a:cubicBezTo>
                  <a:pt x="5222942" y="891903"/>
                  <a:pt x="5225737" y="884848"/>
                  <a:pt x="5231328" y="879123"/>
                </a:cubicBezTo>
                <a:cubicBezTo>
                  <a:pt x="5236920" y="873399"/>
                  <a:pt x="5244108" y="870470"/>
                  <a:pt x="5253160" y="870470"/>
                </a:cubicBezTo>
                <a:close/>
                <a:moveTo>
                  <a:pt x="5688451" y="870470"/>
                </a:moveTo>
                <a:cubicBezTo>
                  <a:pt x="5692577" y="870470"/>
                  <a:pt x="5696571" y="871269"/>
                  <a:pt x="5700165" y="872999"/>
                </a:cubicBezTo>
                <a:cubicBezTo>
                  <a:pt x="5703892" y="874597"/>
                  <a:pt x="5706954" y="876726"/>
                  <a:pt x="5709483" y="879389"/>
                </a:cubicBezTo>
                <a:cubicBezTo>
                  <a:pt x="5712012" y="881918"/>
                  <a:pt x="5714142" y="885113"/>
                  <a:pt x="5715606" y="888707"/>
                </a:cubicBezTo>
                <a:cubicBezTo>
                  <a:pt x="5717071" y="892301"/>
                  <a:pt x="5717869" y="896162"/>
                  <a:pt x="5717869" y="900156"/>
                </a:cubicBezTo>
                <a:cubicBezTo>
                  <a:pt x="5717869" y="904283"/>
                  <a:pt x="5717071" y="908276"/>
                  <a:pt x="5715606" y="911870"/>
                </a:cubicBezTo>
                <a:cubicBezTo>
                  <a:pt x="5714142" y="915597"/>
                  <a:pt x="5712012" y="918659"/>
                  <a:pt x="5709483" y="921321"/>
                </a:cubicBezTo>
                <a:cubicBezTo>
                  <a:pt x="5706820" y="923984"/>
                  <a:pt x="5703759" y="926114"/>
                  <a:pt x="5700165" y="927578"/>
                </a:cubicBezTo>
                <a:cubicBezTo>
                  <a:pt x="5696571" y="929042"/>
                  <a:pt x="5692710" y="929841"/>
                  <a:pt x="5688451" y="929841"/>
                </a:cubicBezTo>
                <a:cubicBezTo>
                  <a:pt x="5679532" y="929841"/>
                  <a:pt x="5672210" y="926912"/>
                  <a:pt x="5666618" y="921321"/>
                </a:cubicBezTo>
                <a:cubicBezTo>
                  <a:pt x="5661028" y="915731"/>
                  <a:pt x="5658232" y="908675"/>
                  <a:pt x="5658232" y="900156"/>
                </a:cubicBezTo>
                <a:cubicBezTo>
                  <a:pt x="5658232" y="891902"/>
                  <a:pt x="5661028" y="884847"/>
                  <a:pt x="5666618" y="879123"/>
                </a:cubicBezTo>
                <a:cubicBezTo>
                  <a:pt x="5672210" y="873399"/>
                  <a:pt x="5679398" y="870470"/>
                  <a:pt x="5688451" y="870470"/>
                </a:cubicBezTo>
                <a:close/>
                <a:moveTo>
                  <a:pt x="5470806" y="870470"/>
                </a:moveTo>
                <a:cubicBezTo>
                  <a:pt x="5475065" y="870470"/>
                  <a:pt x="5478926" y="871269"/>
                  <a:pt x="5482520" y="872999"/>
                </a:cubicBezTo>
                <a:cubicBezTo>
                  <a:pt x="5486247" y="874597"/>
                  <a:pt x="5489309" y="876726"/>
                  <a:pt x="5491838" y="879389"/>
                </a:cubicBezTo>
                <a:cubicBezTo>
                  <a:pt x="5494367" y="881918"/>
                  <a:pt x="5496497" y="885113"/>
                  <a:pt x="5497961" y="888707"/>
                </a:cubicBezTo>
                <a:cubicBezTo>
                  <a:pt x="5499426" y="892301"/>
                  <a:pt x="5500224" y="896162"/>
                  <a:pt x="5500224" y="900156"/>
                </a:cubicBezTo>
                <a:cubicBezTo>
                  <a:pt x="5500224" y="904283"/>
                  <a:pt x="5499426" y="908276"/>
                  <a:pt x="5497961" y="911870"/>
                </a:cubicBezTo>
                <a:cubicBezTo>
                  <a:pt x="5496497" y="915597"/>
                  <a:pt x="5494367" y="918659"/>
                  <a:pt x="5491838" y="921321"/>
                </a:cubicBezTo>
                <a:cubicBezTo>
                  <a:pt x="5489176" y="923984"/>
                  <a:pt x="5486114" y="926114"/>
                  <a:pt x="5482520" y="927578"/>
                </a:cubicBezTo>
                <a:cubicBezTo>
                  <a:pt x="5478926" y="929042"/>
                  <a:pt x="5475065" y="929841"/>
                  <a:pt x="5470806" y="929841"/>
                </a:cubicBezTo>
                <a:cubicBezTo>
                  <a:pt x="5461887" y="929841"/>
                  <a:pt x="5454565" y="926912"/>
                  <a:pt x="5448973" y="921321"/>
                </a:cubicBezTo>
                <a:cubicBezTo>
                  <a:pt x="5443383" y="915731"/>
                  <a:pt x="5440587" y="908675"/>
                  <a:pt x="5440587" y="900156"/>
                </a:cubicBezTo>
                <a:cubicBezTo>
                  <a:pt x="5440587" y="891902"/>
                  <a:pt x="5443383" y="884847"/>
                  <a:pt x="5448973" y="879123"/>
                </a:cubicBezTo>
                <a:cubicBezTo>
                  <a:pt x="5454565" y="873399"/>
                  <a:pt x="5461754" y="870470"/>
                  <a:pt x="5470806" y="870470"/>
                </a:cubicBezTo>
                <a:close/>
                <a:moveTo>
                  <a:pt x="6123608" y="870470"/>
                </a:moveTo>
                <a:cubicBezTo>
                  <a:pt x="6127867" y="870470"/>
                  <a:pt x="6131728" y="871269"/>
                  <a:pt x="6135322" y="872999"/>
                </a:cubicBezTo>
                <a:cubicBezTo>
                  <a:pt x="6139049" y="874597"/>
                  <a:pt x="6142111" y="876726"/>
                  <a:pt x="6144640" y="879389"/>
                </a:cubicBezTo>
                <a:cubicBezTo>
                  <a:pt x="6147169" y="881918"/>
                  <a:pt x="6149299" y="885113"/>
                  <a:pt x="6150763" y="888707"/>
                </a:cubicBezTo>
                <a:cubicBezTo>
                  <a:pt x="6152228" y="892301"/>
                  <a:pt x="6153026" y="896161"/>
                  <a:pt x="6153026" y="900156"/>
                </a:cubicBezTo>
                <a:cubicBezTo>
                  <a:pt x="6153026" y="904282"/>
                  <a:pt x="6152228" y="908275"/>
                  <a:pt x="6150763" y="911870"/>
                </a:cubicBezTo>
                <a:cubicBezTo>
                  <a:pt x="6149299" y="915597"/>
                  <a:pt x="6147169" y="918659"/>
                  <a:pt x="6144640" y="921321"/>
                </a:cubicBezTo>
                <a:cubicBezTo>
                  <a:pt x="6141977" y="923984"/>
                  <a:pt x="6138916" y="926114"/>
                  <a:pt x="6135322" y="927578"/>
                </a:cubicBezTo>
                <a:cubicBezTo>
                  <a:pt x="6131728" y="929042"/>
                  <a:pt x="6127867" y="929841"/>
                  <a:pt x="6123608" y="929841"/>
                </a:cubicBezTo>
                <a:cubicBezTo>
                  <a:pt x="6114689" y="929841"/>
                  <a:pt x="6107367" y="926912"/>
                  <a:pt x="6101775" y="921321"/>
                </a:cubicBezTo>
                <a:cubicBezTo>
                  <a:pt x="6096184" y="915731"/>
                  <a:pt x="6093389" y="908675"/>
                  <a:pt x="6093389" y="900156"/>
                </a:cubicBezTo>
                <a:cubicBezTo>
                  <a:pt x="6093389" y="891902"/>
                  <a:pt x="6096184" y="884847"/>
                  <a:pt x="6101775" y="879123"/>
                </a:cubicBezTo>
                <a:cubicBezTo>
                  <a:pt x="6107367" y="873399"/>
                  <a:pt x="6114555" y="870470"/>
                  <a:pt x="6123608" y="870470"/>
                </a:cubicBezTo>
                <a:close/>
                <a:moveTo>
                  <a:pt x="5905963" y="870470"/>
                </a:moveTo>
                <a:cubicBezTo>
                  <a:pt x="5910222" y="870470"/>
                  <a:pt x="5914216" y="871269"/>
                  <a:pt x="5917677" y="872999"/>
                </a:cubicBezTo>
                <a:cubicBezTo>
                  <a:pt x="5921404" y="874597"/>
                  <a:pt x="5924466" y="876726"/>
                  <a:pt x="5926995" y="879389"/>
                </a:cubicBezTo>
                <a:cubicBezTo>
                  <a:pt x="5929524" y="881918"/>
                  <a:pt x="5931654" y="885113"/>
                  <a:pt x="5933118" y="888707"/>
                </a:cubicBezTo>
                <a:cubicBezTo>
                  <a:pt x="5934583" y="892301"/>
                  <a:pt x="5935381" y="896161"/>
                  <a:pt x="5935381" y="900156"/>
                </a:cubicBezTo>
                <a:cubicBezTo>
                  <a:pt x="5935381" y="904283"/>
                  <a:pt x="5934583" y="908276"/>
                  <a:pt x="5933118" y="911870"/>
                </a:cubicBezTo>
                <a:cubicBezTo>
                  <a:pt x="5931654" y="915597"/>
                  <a:pt x="5929524" y="918659"/>
                  <a:pt x="5926995" y="921321"/>
                </a:cubicBezTo>
                <a:cubicBezTo>
                  <a:pt x="5924333" y="923984"/>
                  <a:pt x="5921271" y="926114"/>
                  <a:pt x="5917677" y="927578"/>
                </a:cubicBezTo>
                <a:cubicBezTo>
                  <a:pt x="5914083" y="929042"/>
                  <a:pt x="5910222" y="929841"/>
                  <a:pt x="5905963" y="929841"/>
                </a:cubicBezTo>
                <a:cubicBezTo>
                  <a:pt x="5897044" y="929841"/>
                  <a:pt x="5889722" y="926912"/>
                  <a:pt x="5884130" y="921321"/>
                </a:cubicBezTo>
                <a:cubicBezTo>
                  <a:pt x="5878540" y="915731"/>
                  <a:pt x="5875744" y="908675"/>
                  <a:pt x="5875744" y="900156"/>
                </a:cubicBezTo>
                <a:cubicBezTo>
                  <a:pt x="5875744" y="891902"/>
                  <a:pt x="5878540" y="884847"/>
                  <a:pt x="5884130" y="879123"/>
                </a:cubicBezTo>
                <a:cubicBezTo>
                  <a:pt x="5889722" y="873399"/>
                  <a:pt x="5896910" y="870470"/>
                  <a:pt x="5905963" y="870470"/>
                </a:cubicBezTo>
                <a:close/>
                <a:moveTo>
                  <a:pt x="6341253" y="870470"/>
                </a:moveTo>
                <a:cubicBezTo>
                  <a:pt x="6345513" y="870470"/>
                  <a:pt x="6349373" y="871269"/>
                  <a:pt x="6352968" y="872999"/>
                </a:cubicBezTo>
                <a:cubicBezTo>
                  <a:pt x="6356695" y="874597"/>
                  <a:pt x="6359757" y="876726"/>
                  <a:pt x="6362286" y="879389"/>
                </a:cubicBezTo>
                <a:cubicBezTo>
                  <a:pt x="6364815" y="881918"/>
                  <a:pt x="6366945" y="885113"/>
                  <a:pt x="6368409" y="888707"/>
                </a:cubicBezTo>
                <a:cubicBezTo>
                  <a:pt x="6369874" y="892301"/>
                  <a:pt x="6370672" y="896161"/>
                  <a:pt x="6370672" y="900155"/>
                </a:cubicBezTo>
                <a:cubicBezTo>
                  <a:pt x="6370672" y="904282"/>
                  <a:pt x="6369874" y="908275"/>
                  <a:pt x="6368409" y="911870"/>
                </a:cubicBezTo>
                <a:cubicBezTo>
                  <a:pt x="6366811" y="915597"/>
                  <a:pt x="6364815" y="918659"/>
                  <a:pt x="6362286" y="921321"/>
                </a:cubicBezTo>
                <a:cubicBezTo>
                  <a:pt x="6359623" y="923984"/>
                  <a:pt x="6356562" y="926114"/>
                  <a:pt x="6352968" y="927578"/>
                </a:cubicBezTo>
                <a:cubicBezTo>
                  <a:pt x="6349373" y="929042"/>
                  <a:pt x="6345513" y="929841"/>
                  <a:pt x="6341253" y="929841"/>
                </a:cubicBezTo>
                <a:cubicBezTo>
                  <a:pt x="6332335" y="929841"/>
                  <a:pt x="6325013" y="926912"/>
                  <a:pt x="6319421" y="921321"/>
                </a:cubicBezTo>
                <a:cubicBezTo>
                  <a:pt x="6313830" y="915731"/>
                  <a:pt x="6311035" y="908675"/>
                  <a:pt x="6311035" y="900155"/>
                </a:cubicBezTo>
                <a:cubicBezTo>
                  <a:pt x="6311035" y="891902"/>
                  <a:pt x="6313830" y="884847"/>
                  <a:pt x="6319421" y="879123"/>
                </a:cubicBezTo>
                <a:cubicBezTo>
                  <a:pt x="6325013" y="873399"/>
                  <a:pt x="6332201" y="870470"/>
                  <a:pt x="6341253" y="870470"/>
                </a:cubicBezTo>
                <a:close/>
                <a:moveTo>
                  <a:pt x="6776544" y="870470"/>
                </a:moveTo>
                <a:cubicBezTo>
                  <a:pt x="6780670" y="870470"/>
                  <a:pt x="6784664" y="871269"/>
                  <a:pt x="6788258" y="872998"/>
                </a:cubicBezTo>
                <a:cubicBezTo>
                  <a:pt x="6791985" y="874596"/>
                  <a:pt x="6795047" y="876726"/>
                  <a:pt x="6797576" y="879389"/>
                </a:cubicBezTo>
                <a:cubicBezTo>
                  <a:pt x="6800105" y="881918"/>
                  <a:pt x="6802235" y="885113"/>
                  <a:pt x="6803699" y="888707"/>
                </a:cubicBezTo>
                <a:cubicBezTo>
                  <a:pt x="6805164" y="892301"/>
                  <a:pt x="6805963" y="896161"/>
                  <a:pt x="6805963" y="900155"/>
                </a:cubicBezTo>
                <a:cubicBezTo>
                  <a:pt x="6805963" y="904282"/>
                  <a:pt x="6805164" y="908275"/>
                  <a:pt x="6803699" y="911869"/>
                </a:cubicBezTo>
                <a:cubicBezTo>
                  <a:pt x="6802102" y="915597"/>
                  <a:pt x="6800105" y="918658"/>
                  <a:pt x="6797576" y="921321"/>
                </a:cubicBezTo>
                <a:cubicBezTo>
                  <a:pt x="6794914" y="923983"/>
                  <a:pt x="6791852" y="926114"/>
                  <a:pt x="6788258" y="927578"/>
                </a:cubicBezTo>
                <a:cubicBezTo>
                  <a:pt x="6784664" y="929042"/>
                  <a:pt x="6780803" y="929841"/>
                  <a:pt x="6776544" y="929841"/>
                </a:cubicBezTo>
                <a:cubicBezTo>
                  <a:pt x="6767625" y="929841"/>
                  <a:pt x="6760303" y="926912"/>
                  <a:pt x="6754711" y="921321"/>
                </a:cubicBezTo>
                <a:cubicBezTo>
                  <a:pt x="6749121" y="915730"/>
                  <a:pt x="6746325" y="908674"/>
                  <a:pt x="6746325" y="900155"/>
                </a:cubicBezTo>
                <a:cubicBezTo>
                  <a:pt x="6746325" y="891902"/>
                  <a:pt x="6749121" y="884847"/>
                  <a:pt x="6754711" y="879123"/>
                </a:cubicBezTo>
                <a:cubicBezTo>
                  <a:pt x="6760303" y="873399"/>
                  <a:pt x="6767492" y="870470"/>
                  <a:pt x="6776544" y="870470"/>
                </a:cubicBezTo>
                <a:close/>
                <a:moveTo>
                  <a:pt x="6558899" y="870470"/>
                </a:moveTo>
                <a:cubicBezTo>
                  <a:pt x="6563158" y="870470"/>
                  <a:pt x="6567019" y="871269"/>
                  <a:pt x="6570612" y="872999"/>
                </a:cubicBezTo>
                <a:cubicBezTo>
                  <a:pt x="6574340" y="874597"/>
                  <a:pt x="6577401" y="876726"/>
                  <a:pt x="6579930" y="879389"/>
                </a:cubicBezTo>
                <a:cubicBezTo>
                  <a:pt x="6582460" y="881918"/>
                  <a:pt x="6584590" y="885113"/>
                  <a:pt x="6586054" y="888707"/>
                </a:cubicBezTo>
                <a:cubicBezTo>
                  <a:pt x="6587518" y="892301"/>
                  <a:pt x="6588317" y="896161"/>
                  <a:pt x="6588317" y="900155"/>
                </a:cubicBezTo>
                <a:cubicBezTo>
                  <a:pt x="6588317" y="904282"/>
                  <a:pt x="6587518" y="908275"/>
                  <a:pt x="6586054" y="911869"/>
                </a:cubicBezTo>
                <a:cubicBezTo>
                  <a:pt x="6584457" y="915597"/>
                  <a:pt x="6582460" y="918658"/>
                  <a:pt x="6579930" y="921321"/>
                </a:cubicBezTo>
                <a:cubicBezTo>
                  <a:pt x="6577268" y="923983"/>
                  <a:pt x="6574207" y="926114"/>
                  <a:pt x="6570612" y="927578"/>
                </a:cubicBezTo>
                <a:cubicBezTo>
                  <a:pt x="6567019" y="929042"/>
                  <a:pt x="6563158" y="929841"/>
                  <a:pt x="6558899" y="929841"/>
                </a:cubicBezTo>
                <a:cubicBezTo>
                  <a:pt x="6549979" y="929841"/>
                  <a:pt x="6542658" y="926912"/>
                  <a:pt x="6537066" y="921321"/>
                </a:cubicBezTo>
                <a:cubicBezTo>
                  <a:pt x="6531476" y="915731"/>
                  <a:pt x="6528680" y="908675"/>
                  <a:pt x="6528680" y="900155"/>
                </a:cubicBezTo>
                <a:cubicBezTo>
                  <a:pt x="6528680" y="891902"/>
                  <a:pt x="6531476" y="884847"/>
                  <a:pt x="6537066" y="879123"/>
                </a:cubicBezTo>
                <a:cubicBezTo>
                  <a:pt x="6542658" y="873399"/>
                  <a:pt x="6549846" y="870470"/>
                  <a:pt x="6558899" y="870470"/>
                </a:cubicBezTo>
                <a:close/>
                <a:moveTo>
                  <a:pt x="7211701" y="870469"/>
                </a:moveTo>
                <a:cubicBezTo>
                  <a:pt x="7215960" y="870469"/>
                  <a:pt x="7219954" y="871268"/>
                  <a:pt x="7223415" y="872998"/>
                </a:cubicBezTo>
                <a:cubicBezTo>
                  <a:pt x="7227142" y="874596"/>
                  <a:pt x="7230204" y="876726"/>
                  <a:pt x="7232733" y="879389"/>
                </a:cubicBezTo>
                <a:cubicBezTo>
                  <a:pt x="7235262" y="881918"/>
                  <a:pt x="7237392" y="885113"/>
                  <a:pt x="7238856" y="888707"/>
                </a:cubicBezTo>
                <a:cubicBezTo>
                  <a:pt x="7240321" y="892301"/>
                  <a:pt x="7241120" y="896161"/>
                  <a:pt x="7241120" y="900155"/>
                </a:cubicBezTo>
                <a:cubicBezTo>
                  <a:pt x="7241120" y="904282"/>
                  <a:pt x="7240321" y="908275"/>
                  <a:pt x="7238856" y="911869"/>
                </a:cubicBezTo>
                <a:cubicBezTo>
                  <a:pt x="7237259" y="915596"/>
                  <a:pt x="7235262" y="918658"/>
                  <a:pt x="7232733" y="921320"/>
                </a:cubicBezTo>
                <a:cubicBezTo>
                  <a:pt x="7230071" y="923983"/>
                  <a:pt x="7227009" y="926114"/>
                  <a:pt x="7223415" y="927577"/>
                </a:cubicBezTo>
                <a:cubicBezTo>
                  <a:pt x="7219821" y="929041"/>
                  <a:pt x="7215960" y="929840"/>
                  <a:pt x="7211701" y="929840"/>
                </a:cubicBezTo>
                <a:cubicBezTo>
                  <a:pt x="7202782" y="929840"/>
                  <a:pt x="7195460" y="926912"/>
                  <a:pt x="7189868" y="921320"/>
                </a:cubicBezTo>
                <a:cubicBezTo>
                  <a:pt x="7184278" y="915730"/>
                  <a:pt x="7181482" y="908674"/>
                  <a:pt x="7181482" y="900155"/>
                </a:cubicBezTo>
                <a:cubicBezTo>
                  <a:pt x="7181482" y="891902"/>
                  <a:pt x="7184278" y="884847"/>
                  <a:pt x="7189868" y="879122"/>
                </a:cubicBezTo>
                <a:cubicBezTo>
                  <a:pt x="7195460" y="873398"/>
                  <a:pt x="7202649" y="870469"/>
                  <a:pt x="7211701" y="870469"/>
                </a:cubicBezTo>
                <a:close/>
                <a:moveTo>
                  <a:pt x="6994056" y="870469"/>
                </a:moveTo>
                <a:cubicBezTo>
                  <a:pt x="6998315" y="870469"/>
                  <a:pt x="7002309" y="871268"/>
                  <a:pt x="7005769" y="872998"/>
                </a:cubicBezTo>
                <a:cubicBezTo>
                  <a:pt x="7009497" y="874596"/>
                  <a:pt x="7012558" y="876726"/>
                  <a:pt x="7015087" y="879389"/>
                </a:cubicBezTo>
                <a:cubicBezTo>
                  <a:pt x="7017617" y="881918"/>
                  <a:pt x="7019747" y="885113"/>
                  <a:pt x="7021211" y="888707"/>
                </a:cubicBezTo>
                <a:cubicBezTo>
                  <a:pt x="7022675" y="892301"/>
                  <a:pt x="7023474" y="896161"/>
                  <a:pt x="7023474" y="900155"/>
                </a:cubicBezTo>
                <a:cubicBezTo>
                  <a:pt x="7023474" y="904282"/>
                  <a:pt x="7022675" y="908275"/>
                  <a:pt x="7021211" y="911869"/>
                </a:cubicBezTo>
                <a:cubicBezTo>
                  <a:pt x="7019614" y="915596"/>
                  <a:pt x="7017617" y="918658"/>
                  <a:pt x="7015087" y="921320"/>
                </a:cubicBezTo>
                <a:cubicBezTo>
                  <a:pt x="7012425" y="923983"/>
                  <a:pt x="7009364" y="926114"/>
                  <a:pt x="7005769" y="927577"/>
                </a:cubicBezTo>
                <a:cubicBezTo>
                  <a:pt x="7002176" y="929042"/>
                  <a:pt x="6998315" y="929841"/>
                  <a:pt x="6994056" y="929841"/>
                </a:cubicBezTo>
                <a:cubicBezTo>
                  <a:pt x="6985136" y="929841"/>
                  <a:pt x="6977815" y="926912"/>
                  <a:pt x="6972223" y="921320"/>
                </a:cubicBezTo>
                <a:cubicBezTo>
                  <a:pt x="6966632" y="915730"/>
                  <a:pt x="6963837" y="908674"/>
                  <a:pt x="6963837" y="900155"/>
                </a:cubicBezTo>
                <a:cubicBezTo>
                  <a:pt x="6963837" y="891902"/>
                  <a:pt x="6966632" y="884847"/>
                  <a:pt x="6972223" y="879122"/>
                </a:cubicBezTo>
                <a:cubicBezTo>
                  <a:pt x="6977815" y="873398"/>
                  <a:pt x="6985003" y="870469"/>
                  <a:pt x="6994056" y="870469"/>
                </a:cubicBezTo>
                <a:close/>
                <a:moveTo>
                  <a:pt x="7429345" y="870469"/>
                </a:moveTo>
                <a:cubicBezTo>
                  <a:pt x="7433605" y="870469"/>
                  <a:pt x="7437466" y="871268"/>
                  <a:pt x="7441059" y="872998"/>
                </a:cubicBezTo>
                <a:cubicBezTo>
                  <a:pt x="7444787" y="874596"/>
                  <a:pt x="7447848" y="876725"/>
                  <a:pt x="7450377" y="879388"/>
                </a:cubicBezTo>
                <a:cubicBezTo>
                  <a:pt x="7452907" y="881917"/>
                  <a:pt x="7455036" y="885112"/>
                  <a:pt x="7456501" y="888707"/>
                </a:cubicBezTo>
                <a:cubicBezTo>
                  <a:pt x="7457965" y="892301"/>
                  <a:pt x="7458764" y="896161"/>
                  <a:pt x="7458764" y="900155"/>
                </a:cubicBezTo>
                <a:cubicBezTo>
                  <a:pt x="7458764" y="904282"/>
                  <a:pt x="7457965" y="908275"/>
                  <a:pt x="7456501" y="911869"/>
                </a:cubicBezTo>
                <a:cubicBezTo>
                  <a:pt x="7454904" y="915596"/>
                  <a:pt x="7452907" y="918658"/>
                  <a:pt x="7450377" y="921320"/>
                </a:cubicBezTo>
                <a:cubicBezTo>
                  <a:pt x="7447715" y="923983"/>
                  <a:pt x="7444654" y="926113"/>
                  <a:pt x="7441059" y="927577"/>
                </a:cubicBezTo>
                <a:cubicBezTo>
                  <a:pt x="7437466" y="929041"/>
                  <a:pt x="7433605" y="929840"/>
                  <a:pt x="7429345" y="929840"/>
                </a:cubicBezTo>
                <a:cubicBezTo>
                  <a:pt x="7420426" y="929840"/>
                  <a:pt x="7413105" y="926911"/>
                  <a:pt x="7407513" y="921320"/>
                </a:cubicBezTo>
                <a:cubicBezTo>
                  <a:pt x="7401922" y="915730"/>
                  <a:pt x="7399127" y="908674"/>
                  <a:pt x="7399127" y="900155"/>
                </a:cubicBezTo>
                <a:cubicBezTo>
                  <a:pt x="7399127" y="891902"/>
                  <a:pt x="7401922" y="884846"/>
                  <a:pt x="7407513" y="879122"/>
                </a:cubicBezTo>
                <a:cubicBezTo>
                  <a:pt x="7413105" y="873398"/>
                  <a:pt x="7420293" y="870469"/>
                  <a:pt x="7429345" y="870469"/>
                </a:cubicBezTo>
                <a:close/>
                <a:moveTo>
                  <a:pt x="7646991" y="870469"/>
                </a:moveTo>
                <a:cubicBezTo>
                  <a:pt x="7651250" y="870469"/>
                  <a:pt x="7655111" y="871268"/>
                  <a:pt x="7658705" y="872998"/>
                </a:cubicBezTo>
                <a:cubicBezTo>
                  <a:pt x="7662432" y="874596"/>
                  <a:pt x="7665493" y="876725"/>
                  <a:pt x="7668022" y="879388"/>
                </a:cubicBezTo>
                <a:cubicBezTo>
                  <a:pt x="7670552" y="881917"/>
                  <a:pt x="7672682" y="885112"/>
                  <a:pt x="7674146" y="888707"/>
                </a:cubicBezTo>
                <a:cubicBezTo>
                  <a:pt x="7675610" y="892300"/>
                  <a:pt x="7676409" y="896161"/>
                  <a:pt x="7676409" y="900155"/>
                </a:cubicBezTo>
                <a:cubicBezTo>
                  <a:pt x="7676409" y="904282"/>
                  <a:pt x="7675610" y="908275"/>
                  <a:pt x="7674146" y="911869"/>
                </a:cubicBezTo>
                <a:cubicBezTo>
                  <a:pt x="7672549" y="915596"/>
                  <a:pt x="7670552" y="918658"/>
                  <a:pt x="7668022" y="921320"/>
                </a:cubicBezTo>
                <a:cubicBezTo>
                  <a:pt x="7665361" y="923983"/>
                  <a:pt x="7662299" y="926113"/>
                  <a:pt x="7658705" y="927577"/>
                </a:cubicBezTo>
                <a:cubicBezTo>
                  <a:pt x="7655111" y="929041"/>
                  <a:pt x="7651250" y="929840"/>
                  <a:pt x="7646991" y="929840"/>
                </a:cubicBezTo>
                <a:cubicBezTo>
                  <a:pt x="7638071" y="929840"/>
                  <a:pt x="7630750" y="926911"/>
                  <a:pt x="7625158" y="921320"/>
                </a:cubicBezTo>
                <a:cubicBezTo>
                  <a:pt x="7619568" y="915730"/>
                  <a:pt x="7616772" y="908674"/>
                  <a:pt x="7616772" y="900155"/>
                </a:cubicBezTo>
                <a:cubicBezTo>
                  <a:pt x="7616772" y="891902"/>
                  <a:pt x="7619568" y="884846"/>
                  <a:pt x="7625158" y="879122"/>
                </a:cubicBezTo>
                <a:cubicBezTo>
                  <a:pt x="7630750" y="873398"/>
                  <a:pt x="7637939" y="870469"/>
                  <a:pt x="7646991" y="870469"/>
                </a:cubicBezTo>
                <a:close/>
                <a:moveTo>
                  <a:pt x="8082281" y="870469"/>
                </a:moveTo>
                <a:cubicBezTo>
                  <a:pt x="8086407" y="870469"/>
                  <a:pt x="8090401" y="871268"/>
                  <a:pt x="8094127" y="872998"/>
                </a:cubicBezTo>
                <a:cubicBezTo>
                  <a:pt x="8097855" y="874596"/>
                  <a:pt x="8100916" y="876725"/>
                  <a:pt x="8103446" y="879388"/>
                </a:cubicBezTo>
                <a:cubicBezTo>
                  <a:pt x="8105975" y="881917"/>
                  <a:pt x="8108104" y="885112"/>
                  <a:pt x="8109569" y="888706"/>
                </a:cubicBezTo>
                <a:cubicBezTo>
                  <a:pt x="8111033" y="892300"/>
                  <a:pt x="8111832" y="896160"/>
                  <a:pt x="8111832" y="900155"/>
                </a:cubicBezTo>
                <a:cubicBezTo>
                  <a:pt x="8111832" y="904282"/>
                  <a:pt x="8111033" y="908275"/>
                  <a:pt x="8109569" y="911869"/>
                </a:cubicBezTo>
                <a:cubicBezTo>
                  <a:pt x="8107972" y="915596"/>
                  <a:pt x="8105975" y="918658"/>
                  <a:pt x="8103446" y="921320"/>
                </a:cubicBezTo>
                <a:cubicBezTo>
                  <a:pt x="8100783" y="923983"/>
                  <a:pt x="8097722" y="926113"/>
                  <a:pt x="8094127" y="927577"/>
                </a:cubicBezTo>
                <a:cubicBezTo>
                  <a:pt x="8090401" y="929041"/>
                  <a:pt x="8086540" y="929840"/>
                  <a:pt x="8082281" y="929840"/>
                </a:cubicBezTo>
                <a:cubicBezTo>
                  <a:pt x="8073361" y="929840"/>
                  <a:pt x="8066040" y="926911"/>
                  <a:pt x="8060448" y="921320"/>
                </a:cubicBezTo>
                <a:cubicBezTo>
                  <a:pt x="8054857" y="915730"/>
                  <a:pt x="8052062" y="908674"/>
                  <a:pt x="8052062" y="900155"/>
                </a:cubicBezTo>
                <a:cubicBezTo>
                  <a:pt x="8052062" y="891901"/>
                  <a:pt x="8054857" y="884846"/>
                  <a:pt x="8060448" y="879122"/>
                </a:cubicBezTo>
                <a:cubicBezTo>
                  <a:pt x="8066040" y="873398"/>
                  <a:pt x="8073228" y="870469"/>
                  <a:pt x="8082281" y="870469"/>
                </a:cubicBezTo>
                <a:close/>
                <a:moveTo>
                  <a:pt x="7864636" y="870469"/>
                </a:moveTo>
                <a:cubicBezTo>
                  <a:pt x="7868762" y="870469"/>
                  <a:pt x="7872756" y="871268"/>
                  <a:pt x="7876483" y="872998"/>
                </a:cubicBezTo>
                <a:cubicBezTo>
                  <a:pt x="7880210" y="874596"/>
                  <a:pt x="7883272" y="876725"/>
                  <a:pt x="7885802" y="879388"/>
                </a:cubicBezTo>
                <a:cubicBezTo>
                  <a:pt x="7888331" y="881917"/>
                  <a:pt x="7890460" y="885112"/>
                  <a:pt x="7891924" y="888706"/>
                </a:cubicBezTo>
                <a:cubicBezTo>
                  <a:pt x="7893389" y="892300"/>
                  <a:pt x="7894188" y="896161"/>
                  <a:pt x="7894188" y="900155"/>
                </a:cubicBezTo>
                <a:cubicBezTo>
                  <a:pt x="7894188" y="904282"/>
                  <a:pt x="7893389" y="908275"/>
                  <a:pt x="7891924" y="911869"/>
                </a:cubicBezTo>
                <a:cubicBezTo>
                  <a:pt x="7890327" y="915596"/>
                  <a:pt x="7888331" y="918658"/>
                  <a:pt x="7885802" y="921320"/>
                </a:cubicBezTo>
                <a:cubicBezTo>
                  <a:pt x="7883139" y="923983"/>
                  <a:pt x="7880078" y="926113"/>
                  <a:pt x="7876483" y="927577"/>
                </a:cubicBezTo>
                <a:cubicBezTo>
                  <a:pt x="7872756" y="929041"/>
                  <a:pt x="7868895" y="929840"/>
                  <a:pt x="7864636" y="929840"/>
                </a:cubicBezTo>
                <a:cubicBezTo>
                  <a:pt x="7855717" y="929840"/>
                  <a:pt x="7848396" y="926911"/>
                  <a:pt x="7842803" y="921320"/>
                </a:cubicBezTo>
                <a:cubicBezTo>
                  <a:pt x="7837213" y="915730"/>
                  <a:pt x="7834417" y="908674"/>
                  <a:pt x="7834417" y="900155"/>
                </a:cubicBezTo>
                <a:cubicBezTo>
                  <a:pt x="7834417" y="891901"/>
                  <a:pt x="7837213" y="884846"/>
                  <a:pt x="7842803" y="879122"/>
                </a:cubicBezTo>
                <a:cubicBezTo>
                  <a:pt x="7848396" y="873398"/>
                  <a:pt x="7855584" y="870469"/>
                  <a:pt x="7864636" y="870469"/>
                </a:cubicBezTo>
                <a:close/>
                <a:moveTo>
                  <a:pt x="8299793" y="870469"/>
                </a:moveTo>
                <a:cubicBezTo>
                  <a:pt x="8304052" y="870469"/>
                  <a:pt x="8308046" y="871268"/>
                  <a:pt x="8311507" y="872998"/>
                </a:cubicBezTo>
                <a:cubicBezTo>
                  <a:pt x="8315235" y="874596"/>
                  <a:pt x="8318296" y="876725"/>
                  <a:pt x="8320825" y="879388"/>
                </a:cubicBezTo>
                <a:cubicBezTo>
                  <a:pt x="8323354" y="881917"/>
                  <a:pt x="8325484" y="885112"/>
                  <a:pt x="8326948" y="888706"/>
                </a:cubicBezTo>
                <a:cubicBezTo>
                  <a:pt x="8328413" y="892300"/>
                  <a:pt x="8329212" y="896160"/>
                  <a:pt x="8329212" y="900155"/>
                </a:cubicBezTo>
                <a:cubicBezTo>
                  <a:pt x="8329212" y="904282"/>
                  <a:pt x="8328413" y="908274"/>
                  <a:pt x="8326948" y="911869"/>
                </a:cubicBezTo>
                <a:cubicBezTo>
                  <a:pt x="8325351" y="915596"/>
                  <a:pt x="8323354" y="918658"/>
                  <a:pt x="8320825" y="921320"/>
                </a:cubicBezTo>
                <a:cubicBezTo>
                  <a:pt x="8318163" y="923983"/>
                  <a:pt x="8315101" y="926113"/>
                  <a:pt x="8311507" y="927577"/>
                </a:cubicBezTo>
                <a:cubicBezTo>
                  <a:pt x="8307913" y="929041"/>
                  <a:pt x="8304052" y="929840"/>
                  <a:pt x="8299793" y="929840"/>
                </a:cubicBezTo>
                <a:cubicBezTo>
                  <a:pt x="8290874" y="929840"/>
                  <a:pt x="8283553" y="926911"/>
                  <a:pt x="8277960" y="921320"/>
                </a:cubicBezTo>
                <a:cubicBezTo>
                  <a:pt x="8272370" y="915730"/>
                  <a:pt x="8269574" y="908674"/>
                  <a:pt x="8269574" y="900155"/>
                </a:cubicBezTo>
                <a:cubicBezTo>
                  <a:pt x="8269574" y="891901"/>
                  <a:pt x="8272370" y="884846"/>
                  <a:pt x="8277960" y="879122"/>
                </a:cubicBezTo>
                <a:cubicBezTo>
                  <a:pt x="8283553" y="873398"/>
                  <a:pt x="8290741" y="870469"/>
                  <a:pt x="8299793" y="870469"/>
                </a:cubicBezTo>
                <a:close/>
                <a:moveTo>
                  <a:pt x="8517438" y="870469"/>
                </a:moveTo>
                <a:cubicBezTo>
                  <a:pt x="8521698" y="870469"/>
                  <a:pt x="8525559" y="871268"/>
                  <a:pt x="8529152" y="872998"/>
                </a:cubicBezTo>
                <a:cubicBezTo>
                  <a:pt x="8532880" y="874596"/>
                  <a:pt x="8535941" y="876725"/>
                  <a:pt x="8538470" y="879388"/>
                </a:cubicBezTo>
                <a:cubicBezTo>
                  <a:pt x="8541000" y="881917"/>
                  <a:pt x="8543130" y="885112"/>
                  <a:pt x="8544594" y="888706"/>
                </a:cubicBezTo>
                <a:cubicBezTo>
                  <a:pt x="8546058" y="892300"/>
                  <a:pt x="8546857" y="896160"/>
                  <a:pt x="8546857" y="900154"/>
                </a:cubicBezTo>
                <a:cubicBezTo>
                  <a:pt x="8546857" y="904281"/>
                  <a:pt x="8546058" y="908274"/>
                  <a:pt x="8544594" y="911868"/>
                </a:cubicBezTo>
                <a:cubicBezTo>
                  <a:pt x="8542997" y="915596"/>
                  <a:pt x="8541000" y="918657"/>
                  <a:pt x="8538470" y="921320"/>
                </a:cubicBezTo>
                <a:cubicBezTo>
                  <a:pt x="8535808" y="923983"/>
                  <a:pt x="8532747" y="926113"/>
                  <a:pt x="8529152" y="927577"/>
                </a:cubicBezTo>
                <a:cubicBezTo>
                  <a:pt x="8525559" y="929041"/>
                  <a:pt x="8521698" y="929840"/>
                  <a:pt x="8517438" y="929840"/>
                </a:cubicBezTo>
                <a:cubicBezTo>
                  <a:pt x="8508385" y="929840"/>
                  <a:pt x="8501197" y="926911"/>
                  <a:pt x="8495606" y="921320"/>
                </a:cubicBezTo>
                <a:cubicBezTo>
                  <a:pt x="8490015" y="915730"/>
                  <a:pt x="8487220" y="908674"/>
                  <a:pt x="8487220" y="900154"/>
                </a:cubicBezTo>
                <a:cubicBezTo>
                  <a:pt x="8487220" y="891901"/>
                  <a:pt x="8490015" y="884846"/>
                  <a:pt x="8495606" y="879122"/>
                </a:cubicBezTo>
                <a:cubicBezTo>
                  <a:pt x="8501197" y="873398"/>
                  <a:pt x="8508385" y="870469"/>
                  <a:pt x="8517438" y="870469"/>
                </a:cubicBezTo>
                <a:close/>
                <a:moveTo>
                  <a:pt x="8735083" y="870469"/>
                </a:moveTo>
                <a:cubicBezTo>
                  <a:pt x="8739342" y="870469"/>
                  <a:pt x="8743203" y="871268"/>
                  <a:pt x="8746797" y="872998"/>
                </a:cubicBezTo>
                <a:cubicBezTo>
                  <a:pt x="8750391" y="874596"/>
                  <a:pt x="8753586" y="876725"/>
                  <a:pt x="8756115" y="879388"/>
                </a:cubicBezTo>
                <a:cubicBezTo>
                  <a:pt x="8758644" y="881917"/>
                  <a:pt x="8760774" y="885112"/>
                  <a:pt x="8762238" y="888706"/>
                </a:cubicBezTo>
                <a:cubicBezTo>
                  <a:pt x="8763702" y="892300"/>
                  <a:pt x="8764502" y="896160"/>
                  <a:pt x="8764502" y="900154"/>
                </a:cubicBezTo>
                <a:cubicBezTo>
                  <a:pt x="8764502" y="904281"/>
                  <a:pt x="8763702" y="908274"/>
                  <a:pt x="8762238" y="911868"/>
                </a:cubicBezTo>
                <a:cubicBezTo>
                  <a:pt x="8760641" y="915596"/>
                  <a:pt x="8758644" y="918657"/>
                  <a:pt x="8756115" y="921320"/>
                </a:cubicBezTo>
                <a:cubicBezTo>
                  <a:pt x="8753453" y="923983"/>
                  <a:pt x="8750391" y="926113"/>
                  <a:pt x="8746797" y="927577"/>
                </a:cubicBezTo>
                <a:cubicBezTo>
                  <a:pt x="8743203" y="929041"/>
                  <a:pt x="8739342" y="929840"/>
                  <a:pt x="8735083" y="929840"/>
                </a:cubicBezTo>
                <a:cubicBezTo>
                  <a:pt x="8726030" y="929840"/>
                  <a:pt x="8718841" y="926911"/>
                  <a:pt x="8713250" y="921320"/>
                </a:cubicBezTo>
                <a:cubicBezTo>
                  <a:pt x="8707660" y="915730"/>
                  <a:pt x="8704864" y="908674"/>
                  <a:pt x="8704864" y="900154"/>
                </a:cubicBezTo>
                <a:cubicBezTo>
                  <a:pt x="8704864" y="891901"/>
                  <a:pt x="8707660" y="884846"/>
                  <a:pt x="8713250" y="879122"/>
                </a:cubicBezTo>
                <a:cubicBezTo>
                  <a:pt x="8718841" y="873398"/>
                  <a:pt x="8726030" y="870469"/>
                  <a:pt x="8735083" y="870469"/>
                </a:cubicBezTo>
                <a:close/>
                <a:moveTo>
                  <a:pt x="8952728" y="870469"/>
                </a:moveTo>
                <a:cubicBezTo>
                  <a:pt x="8956988" y="870469"/>
                  <a:pt x="8960849" y="871268"/>
                  <a:pt x="8964442" y="872998"/>
                </a:cubicBezTo>
                <a:cubicBezTo>
                  <a:pt x="8968037" y="874596"/>
                  <a:pt x="8971231" y="876725"/>
                  <a:pt x="8973760" y="879388"/>
                </a:cubicBezTo>
                <a:cubicBezTo>
                  <a:pt x="8976290" y="881917"/>
                  <a:pt x="8978419" y="885112"/>
                  <a:pt x="8979884" y="888706"/>
                </a:cubicBezTo>
                <a:cubicBezTo>
                  <a:pt x="8981348" y="892300"/>
                  <a:pt x="8982147" y="896160"/>
                  <a:pt x="8982147" y="900154"/>
                </a:cubicBezTo>
                <a:cubicBezTo>
                  <a:pt x="8982147" y="904281"/>
                  <a:pt x="8981348" y="908274"/>
                  <a:pt x="8979884" y="911868"/>
                </a:cubicBezTo>
                <a:cubicBezTo>
                  <a:pt x="8978287" y="915596"/>
                  <a:pt x="8976290" y="918657"/>
                  <a:pt x="8973760" y="921320"/>
                </a:cubicBezTo>
                <a:cubicBezTo>
                  <a:pt x="8971098" y="923983"/>
                  <a:pt x="8968037" y="926113"/>
                  <a:pt x="8964442" y="927577"/>
                </a:cubicBezTo>
                <a:cubicBezTo>
                  <a:pt x="8960849" y="929041"/>
                  <a:pt x="8956988" y="929840"/>
                  <a:pt x="8952728" y="929840"/>
                </a:cubicBezTo>
                <a:cubicBezTo>
                  <a:pt x="8943808" y="929840"/>
                  <a:pt x="8936487" y="926911"/>
                  <a:pt x="8930896" y="921320"/>
                </a:cubicBezTo>
                <a:cubicBezTo>
                  <a:pt x="8925305" y="915729"/>
                  <a:pt x="8922510" y="908673"/>
                  <a:pt x="8922510" y="900154"/>
                </a:cubicBezTo>
                <a:cubicBezTo>
                  <a:pt x="8922510" y="891901"/>
                  <a:pt x="8925305" y="884846"/>
                  <a:pt x="8930896" y="879122"/>
                </a:cubicBezTo>
                <a:cubicBezTo>
                  <a:pt x="8936487" y="873398"/>
                  <a:pt x="8943675" y="870469"/>
                  <a:pt x="8952728" y="870469"/>
                </a:cubicBezTo>
                <a:close/>
                <a:moveTo>
                  <a:pt x="9387885" y="870468"/>
                </a:moveTo>
                <a:cubicBezTo>
                  <a:pt x="9392145" y="870468"/>
                  <a:pt x="9396138" y="871267"/>
                  <a:pt x="9399599" y="872997"/>
                </a:cubicBezTo>
                <a:cubicBezTo>
                  <a:pt x="9403194" y="874595"/>
                  <a:pt x="9406388" y="876725"/>
                  <a:pt x="9408917" y="879388"/>
                </a:cubicBezTo>
                <a:cubicBezTo>
                  <a:pt x="9411447" y="881917"/>
                  <a:pt x="9413576" y="885112"/>
                  <a:pt x="9415041" y="888706"/>
                </a:cubicBezTo>
                <a:cubicBezTo>
                  <a:pt x="9416505" y="892300"/>
                  <a:pt x="9417304" y="896160"/>
                  <a:pt x="9417304" y="900154"/>
                </a:cubicBezTo>
                <a:cubicBezTo>
                  <a:pt x="9417304" y="904281"/>
                  <a:pt x="9416505" y="908274"/>
                  <a:pt x="9415041" y="911868"/>
                </a:cubicBezTo>
                <a:cubicBezTo>
                  <a:pt x="9413444" y="915595"/>
                  <a:pt x="9411447" y="918657"/>
                  <a:pt x="9408917" y="921319"/>
                </a:cubicBezTo>
                <a:cubicBezTo>
                  <a:pt x="9406255" y="923982"/>
                  <a:pt x="9403194" y="926113"/>
                  <a:pt x="9399599" y="927577"/>
                </a:cubicBezTo>
                <a:cubicBezTo>
                  <a:pt x="9396005" y="929041"/>
                  <a:pt x="9392145" y="929839"/>
                  <a:pt x="9387885" y="929839"/>
                </a:cubicBezTo>
                <a:cubicBezTo>
                  <a:pt x="9378965" y="929839"/>
                  <a:pt x="9371644" y="926911"/>
                  <a:pt x="9366053" y="921319"/>
                </a:cubicBezTo>
                <a:cubicBezTo>
                  <a:pt x="9360462" y="915729"/>
                  <a:pt x="9357667" y="908673"/>
                  <a:pt x="9357667" y="900154"/>
                </a:cubicBezTo>
                <a:cubicBezTo>
                  <a:pt x="9357667" y="891901"/>
                  <a:pt x="9360462" y="884846"/>
                  <a:pt x="9366053" y="879122"/>
                </a:cubicBezTo>
                <a:cubicBezTo>
                  <a:pt x="9371644" y="873397"/>
                  <a:pt x="9378832" y="870468"/>
                  <a:pt x="9387885" y="870468"/>
                </a:cubicBezTo>
                <a:close/>
                <a:moveTo>
                  <a:pt x="9170374" y="870468"/>
                </a:moveTo>
                <a:cubicBezTo>
                  <a:pt x="9174500" y="870468"/>
                  <a:pt x="9178494" y="871267"/>
                  <a:pt x="9182088" y="872998"/>
                </a:cubicBezTo>
                <a:cubicBezTo>
                  <a:pt x="9185682" y="874596"/>
                  <a:pt x="9188876" y="876725"/>
                  <a:pt x="9191405" y="879388"/>
                </a:cubicBezTo>
                <a:cubicBezTo>
                  <a:pt x="9193935" y="881917"/>
                  <a:pt x="9196065" y="885112"/>
                  <a:pt x="9197529" y="888706"/>
                </a:cubicBezTo>
                <a:cubicBezTo>
                  <a:pt x="9198993" y="892300"/>
                  <a:pt x="9199792" y="896160"/>
                  <a:pt x="9199792" y="900154"/>
                </a:cubicBezTo>
                <a:cubicBezTo>
                  <a:pt x="9199792" y="904281"/>
                  <a:pt x="9198993" y="908274"/>
                  <a:pt x="9197529" y="911868"/>
                </a:cubicBezTo>
                <a:cubicBezTo>
                  <a:pt x="9195932" y="915595"/>
                  <a:pt x="9193935" y="918657"/>
                  <a:pt x="9191405" y="921320"/>
                </a:cubicBezTo>
                <a:cubicBezTo>
                  <a:pt x="9188744" y="923982"/>
                  <a:pt x="9185682" y="926113"/>
                  <a:pt x="9182088" y="927577"/>
                </a:cubicBezTo>
                <a:cubicBezTo>
                  <a:pt x="9178494" y="929041"/>
                  <a:pt x="9174633" y="929839"/>
                  <a:pt x="9170374" y="929839"/>
                </a:cubicBezTo>
                <a:cubicBezTo>
                  <a:pt x="9161453" y="929839"/>
                  <a:pt x="9154132" y="926911"/>
                  <a:pt x="9148541" y="921320"/>
                </a:cubicBezTo>
                <a:cubicBezTo>
                  <a:pt x="9142951" y="915729"/>
                  <a:pt x="9140155" y="908673"/>
                  <a:pt x="9140155" y="900154"/>
                </a:cubicBezTo>
                <a:cubicBezTo>
                  <a:pt x="9140155" y="891901"/>
                  <a:pt x="9142951" y="884846"/>
                  <a:pt x="9148541" y="879122"/>
                </a:cubicBezTo>
                <a:cubicBezTo>
                  <a:pt x="9154132" y="873398"/>
                  <a:pt x="9161321" y="870468"/>
                  <a:pt x="9170374" y="870468"/>
                </a:cubicBezTo>
                <a:close/>
                <a:moveTo>
                  <a:pt x="9605531" y="870468"/>
                </a:moveTo>
                <a:cubicBezTo>
                  <a:pt x="9609790" y="870468"/>
                  <a:pt x="9613784" y="871267"/>
                  <a:pt x="9617245" y="872997"/>
                </a:cubicBezTo>
                <a:cubicBezTo>
                  <a:pt x="9620839" y="874595"/>
                  <a:pt x="9624033" y="876724"/>
                  <a:pt x="9626562" y="879387"/>
                </a:cubicBezTo>
                <a:cubicBezTo>
                  <a:pt x="9629092" y="881917"/>
                  <a:pt x="9631222" y="885112"/>
                  <a:pt x="9632686" y="888706"/>
                </a:cubicBezTo>
                <a:cubicBezTo>
                  <a:pt x="9634150" y="892300"/>
                  <a:pt x="9634949" y="896160"/>
                  <a:pt x="9634949" y="900154"/>
                </a:cubicBezTo>
                <a:cubicBezTo>
                  <a:pt x="9634949" y="904281"/>
                  <a:pt x="9634150" y="908274"/>
                  <a:pt x="9632686" y="911868"/>
                </a:cubicBezTo>
                <a:cubicBezTo>
                  <a:pt x="9631089" y="915595"/>
                  <a:pt x="9629092" y="918657"/>
                  <a:pt x="9626562" y="921319"/>
                </a:cubicBezTo>
                <a:cubicBezTo>
                  <a:pt x="9623901" y="923982"/>
                  <a:pt x="9620839" y="926112"/>
                  <a:pt x="9617245" y="927576"/>
                </a:cubicBezTo>
                <a:cubicBezTo>
                  <a:pt x="9613651" y="929040"/>
                  <a:pt x="9609790" y="929839"/>
                  <a:pt x="9605531" y="929839"/>
                </a:cubicBezTo>
                <a:cubicBezTo>
                  <a:pt x="9596610" y="929839"/>
                  <a:pt x="9589289" y="926911"/>
                  <a:pt x="9583698" y="921319"/>
                </a:cubicBezTo>
                <a:cubicBezTo>
                  <a:pt x="9578108" y="915729"/>
                  <a:pt x="9575312" y="908673"/>
                  <a:pt x="9575312" y="900154"/>
                </a:cubicBezTo>
                <a:cubicBezTo>
                  <a:pt x="9575312" y="891901"/>
                  <a:pt x="9578108" y="884846"/>
                  <a:pt x="9583698" y="879121"/>
                </a:cubicBezTo>
                <a:cubicBezTo>
                  <a:pt x="9589289" y="873397"/>
                  <a:pt x="9596478" y="870468"/>
                  <a:pt x="9605531" y="870468"/>
                </a:cubicBezTo>
                <a:close/>
                <a:moveTo>
                  <a:pt x="10040820" y="870468"/>
                </a:moveTo>
                <a:cubicBezTo>
                  <a:pt x="10045080" y="870468"/>
                  <a:pt x="10048941" y="871267"/>
                  <a:pt x="10052534" y="872997"/>
                </a:cubicBezTo>
                <a:cubicBezTo>
                  <a:pt x="10056129" y="874595"/>
                  <a:pt x="10059323" y="876724"/>
                  <a:pt x="10061852" y="879387"/>
                </a:cubicBezTo>
                <a:cubicBezTo>
                  <a:pt x="10064382" y="881916"/>
                  <a:pt x="10066512" y="885111"/>
                  <a:pt x="10067976" y="888705"/>
                </a:cubicBezTo>
                <a:cubicBezTo>
                  <a:pt x="10069440" y="892299"/>
                  <a:pt x="10070239" y="896160"/>
                  <a:pt x="10070239" y="900154"/>
                </a:cubicBezTo>
                <a:cubicBezTo>
                  <a:pt x="10070239" y="904281"/>
                  <a:pt x="10069440" y="908274"/>
                  <a:pt x="10067976" y="911868"/>
                </a:cubicBezTo>
                <a:cubicBezTo>
                  <a:pt x="10066379" y="915595"/>
                  <a:pt x="10064382" y="918657"/>
                  <a:pt x="10061852" y="921319"/>
                </a:cubicBezTo>
                <a:cubicBezTo>
                  <a:pt x="10059190" y="923982"/>
                  <a:pt x="10056129" y="926112"/>
                  <a:pt x="10052534" y="927576"/>
                </a:cubicBezTo>
                <a:cubicBezTo>
                  <a:pt x="10048941" y="929040"/>
                  <a:pt x="10045080" y="929839"/>
                  <a:pt x="10040820" y="929839"/>
                </a:cubicBezTo>
                <a:cubicBezTo>
                  <a:pt x="10031767" y="929839"/>
                  <a:pt x="10024579" y="926910"/>
                  <a:pt x="10018988" y="921319"/>
                </a:cubicBezTo>
                <a:cubicBezTo>
                  <a:pt x="10013397" y="915729"/>
                  <a:pt x="10010602" y="908673"/>
                  <a:pt x="10010602" y="900154"/>
                </a:cubicBezTo>
                <a:cubicBezTo>
                  <a:pt x="10010602" y="891900"/>
                  <a:pt x="10013397" y="884845"/>
                  <a:pt x="10018988" y="879121"/>
                </a:cubicBezTo>
                <a:cubicBezTo>
                  <a:pt x="10024579" y="873397"/>
                  <a:pt x="10031767" y="870468"/>
                  <a:pt x="10040820" y="870468"/>
                </a:cubicBezTo>
                <a:close/>
                <a:moveTo>
                  <a:pt x="9823176" y="870468"/>
                </a:moveTo>
                <a:cubicBezTo>
                  <a:pt x="9827435" y="870468"/>
                  <a:pt x="9831296" y="871267"/>
                  <a:pt x="9834890" y="872997"/>
                </a:cubicBezTo>
                <a:cubicBezTo>
                  <a:pt x="9838617" y="874595"/>
                  <a:pt x="9841679" y="876724"/>
                  <a:pt x="9844208" y="879387"/>
                </a:cubicBezTo>
                <a:cubicBezTo>
                  <a:pt x="9846737" y="881916"/>
                  <a:pt x="9848867" y="885112"/>
                  <a:pt x="9850331" y="888706"/>
                </a:cubicBezTo>
                <a:cubicBezTo>
                  <a:pt x="9851796" y="892300"/>
                  <a:pt x="9852595" y="896160"/>
                  <a:pt x="9852595" y="900154"/>
                </a:cubicBezTo>
                <a:cubicBezTo>
                  <a:pt x="9852595" y="904281"/>
                  <a:pt x="9851796" y="908274"/>
                  <a:pt x="9850331" y="911868"/>
                </a:cubicBezTo>
                <a:cubicBezTo>
                  <a:pt x="9848734" y="915595"/>
                  <a:pt x="9846737" y="918657"/>
                  <a:pt x="9844208" y="921319"/>
                </a:cubicBezTo>
                <a:cubicBezTo>
                  <a:pt x="9841546" y="923982"/>
                  <a:pt x="9838484" y="926112"/>
                  <a:pt x="9834890" y="927576"/>
                </a:cubicBezTo>
                <a:cubicBezTo>
                  <a:pt x="9831296" y="929040"/>
                  <a:pt x="9827435" y="929839"/>
                  <a:pt x="9823176" y="929839"/>
                </a:cubicBezTo>
                <a:cubicBezTo>
                  <a:pt x="9814123" y="929839"/>
                  <a:pt x="9806935" y="926910"/>
                  <a:pt x="9801343" y="921319"/>
                </a:cubicBezTo>
                <a:cubicBezTo>
                  <a:pt x="9795753" y="915729"/>
                  <a:pt x="9792957" y="908673"/>
                  <a:pt x="9792957" y="900154"/>
                </a:cubicBezTo>
                <a:cubicBezTo>
                  <a:pt x="9792957" y="891901"/>
                  <a:pt x="9795753" y="884846"/>
                  <a:pt x="9801343" y="879121"/>
                </a:cubicBezTo>
                <a:cubicBezTo>
                  <a:pt x="9806935" y="873397"/>
                  <a:pt x="9814123" y="870468"/>
                  <a:pt x="9823176" y="870468"/>
                </a:cubicBezTo>
                <a:close/>
                <a:moveTo>
                  <a:pt x="10475977" y="870468"/>
                </a:moveTo>
                <a:cubicBezTo>
                  <a:pt x="10480237" y="870468"/>
                  <a:pt x="10484230" y="871267"/>
                  <a:pt x="10487824" y="872997"/>
                </a:cubicBezTo>
                <a:cubicBezTo>
                  <a:pt x="10491419" y="874595"/>
                  <a:pt x="10494613" y="876724"/>
                  <a:pt x="10497143" y="879387"/>
                </a:cubicBezTo>
                <a:cubicBezTo>
                  <a:pt x="10499672" y="881916"/>
                  <a:pt x="10501801" y="885111"/>
                  <a:pt x="10503266" y="888705"/>
                </a:cubicBezTo>
                <a:cubicBezTo>
                  <a:pt x="10504730" y="892299"/>
                  <a:pt x="10505529" y="896159"/>
                  <a:pt x="10505529" y="900153"/>
                </a:cubicBezTo>
                <a:cubicBezTo>
                  <a:pt x="10505529" y="904280"/>
                  <a:pt x="10504730" y="908273"/>
                  <a:pt x="10503266" y="911868"/>
                </a:cubicBezTo>
                <a:cubicBezTo>
                  <a:pt x="10501669" y="915595"/>
                  <a:pt x="10499672" y="918657"/>
                  <a:pt x="10497143" y="921319"/>
                </a:cubicBezTo>
                <a:cubicBezTo>
                  <a:pt x="10494480" y="923982"/>
                  <a:pt x="10491419" y="926112"/>
                  <a:pt x="10487824" y="927576"/>
                </a:cubicBezTo>
                <a:cubicBezTo>
                  <a:pt x="10484098" y="929040"/>
                  <a:pt x="10480237" y="929839"/>
                  <a:pt x="10475977" y="929839"/>
                </a:cubicBezTo>
                <a:cubicBezTo>
                  <a:pt x="10466924" y="929839"/>
                  <a:pt x="10459736" y="926910"/>
                  <a:pt x="10454145" y="921319"/>
                </a:cubicBezTo>
                <a:cubicBezTo>
                  <a:pt x="10448554" y="915729"/>
                  <a:pt x="10445759" y="908673"/>
                  <a:pt x="10445759" y="900153"/>
                </a:cubicBezTo>
                <a:cubicBezTo>
                  <a:pt x="10445759" y="891900"/>
                  <a:pt x="10448554" y="884845"/>
                  <a:pt x="10454145" y="879121"/>
                </a:cubicBezTo>
                <a:cubicBezTo>
                  <a:pt x="10459603" y="873397"/>
                  <a:pt x="10466924" y="870468"/>
                  <a:pt x="10475977" y="870468"/>
                </a:cubicBezTo>
                <a:close/>
                <a:moveTo>
                  <a:pt x="10258466" y="870468"/>
                </a:moveTo>
                <a:cubicBezTo>
                  <a:pt x="10262592" y="870468"/>
                  <a:pt x="10266586" y="871267"/>
                  <a:pt x="10270313" y="872997"/>
                </a:cubicBezTo>
                <a:cubicBezTo>
                  <a:pt x="10273907" y="874595"/>
                  <a:pt x="10277101" y="876724"/>
                  <a:pt x="10279631" y="879387"/>
                </a:cubicBezTo>
                <a:cubicBezTo>
                  <a:pt x="10282160" y="881916"/>
                  <a:pt x="10284290" y="885111"/>
                  <a:pt x="10285754" y="888705"/>
                </a:cubicBezTo>
                <a:cubicBezTo>
                  <a:pt x="10287218" y="892299"/>
                  <a:pt x="10288017" y="896159"/>
                  <a:pt x="10288017" y="900154"/>
                </a:cubicBezTo>
                <a:cubicBezTo>
                  <a:pt x="10288017" y="904281"/>
                  <a:pt x="10287218" y="908274"/>
                  <a:pt x="10285754" y="911868"/>
                </a:cubicBezTo>
                <a:cubicBezTo>
                  <a:pt x="10284157" y="915595"/>
                  <a:pt x="10282160" y="918657"/>
                  <a:pt x="10279631" y="921319"/>
                </a:cubicBezTo>
                <a:cubicBezTo>
                  <a:pt x="10276969" y="923982"/>
                  <a:pt x="10273907" y="926112"/>
                  <a:pt x="10270313" y="927576"/>
                </a:cubicBezTo>
                <a:cubicBezTo>
                  <a:pt x="10266586" y="929040"/>
                  <a:pt x="10262725" y="929839"/>
                  <a:pt x="10258466" y="929839"/>
                </a:cubicBezTo>
                <a:cubicBezTo>
                  <a:pt x="10249546" y="929839"/>
                  <a:pt x="10242224" y="926910"/>
                  <a:pt x="10236633" y="921319"/>
                </a:cubicBezTo>
                <a:cubicBezTo>
                  <a:pt x="10231043" y="915729"/>
                  <a:pt x="10228247" y="908673"/>
                  <a:pt x="10228247" y="900154"/>
                </a:cubicBezTo>
                <a:cubicBezTo>
                  <a:pt x="10228247" y="891900"/>
                  <a:pt x="10231043" y="884845"/>
                  <a:pt x="10236633" y="879121"/>
                </a:cubicBezTo>
                <a:cubicBezTo>
                  <a:pt x="10242092" y="873397"/>
                  <a:pt x="10249413" y="870468"/>
                  <a:pt x="10258466" y="870468"/>
                </a:cubicBezTo>
                <a:close/>
                <a:moveTo>
                  <a:pt x="30240" y="669329"/>
                </a:moveTo>
                <a:cubicBezTo>
                  <a:pt x="24383" y="669329"/>
                  <a:pt x="21854" y="671326"/>
                  <a:pt x="20256" y="672923"/>
                </a:cubicBezTo>
                <a:cubicBezTo>
                  <a:pt x="17727" y="675586"/>
                  <a:pt x="16662" y="678381"/>
                  <a:pt x="16662" y="682375"/>
                </a:cubicBezTo>
                <a:cubicBezTo>
                  <a:pt x="16662" y="686635"/>
                  <a:pt x="17727" y="689431"/>
                  <a:pt x="20256" y="691959"/>
                </a:cubicBezTo>
                <a:cubicBezTo>
                  <a:pt x="21854" y="693558"/>
                  <a:pt x="24383" y="695421"/>
                  <a:pt x="30240" y="695421"/>
                </a:cubicBezTo>
                <a:cubicBezTo>
                  <a:pt x="32370" y="695421"/>
                  <a:pt x="34101" y="695154"/>
                  <a:pt x="35565" y="694488"/>
                </a:cubicBezTo>
                <a:cubicBezTo>
                  <a:pt x="37029" y="693957"/>
                  <a:pt x="38361" y="693158"/>
                  <a:pt x="39292" y="692093"/>
                </a:cubicBezTo>
                <a:cubicBezTo>
                  <a:pt x="40357" y="691028"/>
                  <a:pt x="41289" y="689696"/>
                  <a:pt x="41955" y="687966"/>
                </a:cubicBezTo>
                <a:cubicBezTo>
                  <a:pt x="42620" y="686368"/>
                  <a:pt x="42886" y="684505"/>
                  <a:pt x="42886" y="682508"/>
                </a:cubicBezTo>
                <a:cubicBezTo>
                  <a:pt x="42886" y="680644"/>
                  <a:pt x="42620" y="678914"/>
                  <a:pt x="41955" y="677316"/>
                </a:cubicBezTo>
                <a:cubicBezTo>
                  <a:pt x="41289" y="675586"/>
                  <a:pt x="40357" y="674255"/>
                  <a:pt x="39292" y="673057"/>
                </a:cubicBezTo>
                <a:cubicBezTo>
                  <a:pt x="38227" y="671992"/>
                  <a:pt x="36896" y="671060"/>
                  <a:pt x="35299" y="670394"/>
                </a:cubicBezTo>
                <a:cubicBezTo>
                  <a:pt x="33835" y="669729"/>
                  <a:pt x="32237" y="669329"/>
                  <a:pt x="30240" y="669329"/>
                </a:cubicBezTo>
                <a:close/>
                <a:moveTo>
                  <a:pt x="465528" y="669329"/>
                </a:moveTo>
                <a:cubicBezTo>
                  <a:pt x="459671" y="669329"/>
                  <a:pt x="457142" y="671326"/>
                  <a:pt x="455545" y="672923"/>
                </a:cubicBezTo>
                <a:cubicBezTo>
                  <a:pt x="453015" y="675586"/>
                  <a:pt x="451951" y="678381"/>
                  <a:pt x="451951" y="682375"/>
                </a:cubicBezTo>
                <a:cubicBezTo>
                  <a:pt x="451951" y="686635"/>
                  <a:pt x="453015" y="689430"/>
                  <a:pt x="455545" y="691959"/>
                </a:cubicBezTo>
                <a:cubicBezTo>
                  <a:pt x="457142" y="693557"/>
                  <a:pt x="459671" y="695420"/>
                  <a:pt x="465528" y="695420"/>
                </a:cubicBezTo>
                <a:cubicBezTo>
                  <a:pt x="467525" y="695420"/>
                  <a:pt x="469389" y="695154"/>
                  <a:pt x="470853" y="694488"/>
                </a:cubicBezTo>
                <a:cubicBezTo>
                  <a:pt x="472317" y="693956"/>
                  <a:pt x="473649" y="693157"/>
                  <a:pt x="474580" y="692092"/>
                </a:cubicBezTo>
                <a:cubicBezTo>
                  <a:pt x="475645" y="691027"/>
                  <a:pt x="476577" y="689696"/>
                  <a:pt x="477244" y="687966"/>
                </a:cubicBezTo>
                <a:cubicBezTo>
                  <a:pt x="477909" y="686368"/>
                  <a:pt x="478308" y="684505"/>
                  <a:pt x="478308" y="682508"/>
                </a:cubicBezTo>
                <a:cubicBezTo>
                  <a:pt x="478308" y="680644"/>
                  <a:pt x="477909" y="678914"/>
                  <a:pt x="477244" y="677316"/>
                </a:cubicBezTo>
                <a:cubicBezTo>
                  <a:pt x="476577" y="675586"/>
                  <a:pt x="475645" y="674255"/>
                  <a:pt x="474580" y="673057"/>
                </a:cubicBezTo>
                <a:cubicBezTo>
                  <a:pt x="473516" y="671992"/>
                  <a:pt x="472184" y="671060"/>
                  <a:pt x="470588" y="670394"/>
                </a:cubicBezTo>
                <a:cubicBezTo>
                  <a:pt x="469123" y="669729"/>
                  <a:pt x="467525" y="669329"/>
                  <a:pt x="465528" y="669329"/>
                </a:cubicBezTo>
                <a:close/>
                <a:moveTo>
                  <a:pt x="247884" y="669329"/>
                </a:moveTo>
                <a:cubicBezTo>
                  <a:pt x="242027" y="669329"/>
                  <a:pt x="239498" y="671326"/>
                  <a:pt x="237901" y="672923"/>
                </a:cubicBezTo>
                <a:cubicBezTo>
                  <a:pt x="235371" y="675586"/>
                  <a:pt x="234307" y="678381"/>
                  <a:pt x="234307" y="682375"/>
                </a:cubicBezTo>
                <a:cubicBezTo>
                  <a:pt x="234307" y="686635"/>
                  <a:pt x="235371" y="689430"/>
                  <a:pt x="237901" y="691959"/>
                </a:cubicBezTo>
                <a:cubicBezTo>
                  <a:pt x="239498" y="693557"/>
                  <a:pt x="242027" y="695420"/>
                  <a:pt x="247884" y="695420"/>
                </a:cubicBezTo>
                <a:cubicBezTo>
                  <a:pt x="250014" y="695420"/>
                  <a:pt x="251745" y="695154"/>
                  <a:pt x="253209" y="694488"/>
                </a:cubicBezTo>
                <a:cubicBezTo>
                  <a:pt x="254673" y="693956"/>
                  <a:pt x="256004" y="693158"/>
                  <a:pt x="256936" y="692092"/>
                </a:cubicBezTo>
                <a:cubicBezTo>
                  <a:pt x="258001" y="691027"/>
                  <a:pt x="258933" y="689696"/>
                  <a:pt x="259599" y="687966"/>
                </a:cubicBezTo>
                <a:cubicBezTo>
                  <a:pt x="260264" y="686368"/>
                  <a:pt x="260664" y="684505"/>
                  <a:pt x="260664" y="682508"/>
                </a:cubicBezTo>
                <a:cubicBezTo>
                  <a:pt x="260664" y="680644"/>
                  <a:pt x="260264" y="678914"/>
                  <a:pt x="259599" y="677316"/>
                </a:cubicBezTo>
                <a:cubicBezTo>
                  <a:pt x="258933" y="675586"/>
                  <a:pt x="258001" y="674255"/>
                  <a:pt x="256936" y="673057"/>
                </a:cubicBezTo>
                <a:cubicBezTo>
                  <a:pt x="255871" y="671992"/>
                  <a:pt x="254540" y="671060"/>
                  <a:pt x="252943" y="670394"/>
                </a:cubicBezTo>
                <a:cubicBezTo>
                  <a:pt x="251478" y="669729"/>
                  <a:pt x="249881" y="669329"/>
                  <a:pt x="247884" y="669329"/>
                </a:cubicBezTo>
                <a:close/>
                <a:moveTo>
                  <a:pt x="683173" y="669329"/>
                </a:moveTo>
                <a:cubicBezTo>
                  <a:pt x="677316" y="669329"/>
                  <a:pt x="674786" y="671326"/>
                  <a:pt x="673189" y="672923"/>
                </a:cubicBezTo>
                <a:cubicBezTo>
                  <a:pt x="670659" y="675586"/>
                  <a:pt x="669596" y="678381"/>
                  <a:pt x="669596" y="682375"/>
                </a:cubicBezTo>
                <a:cubicBezTo>
                  <a:pt x="669596" y="686635"/>
                  <a:pt x="670659" y="689430"/>
                  <a:pt x="673189" y="691959"/>
                </a:cubicBezTo>
                <a:cubicBezTo>
                  <a:pt x="674786" y="693557"/>
                  <a:pt x="677316" y="695420"/>
                  <a:pt x="683173" y="695420"/>
                </a:cubicBezTo>
                <a:cubicBezTo>
                  <a:pt x="685170" y="695420"/>
                  <a:pt x="687034" y="695154"/>
                  <a:pt x="688498" y="694488"/>
                </a:cubicBezTo>
                <a:cubicBezTo>
                  <a:pt x="689962" y="693956"/>
                  <a:pt x="691294" y="693157"/>
                  <a:pt x="692225" y="692092"/>
                </a:cubicBezTo>
                <a:cubicBezTo>
                  <a:pt x="693290" y="691027"/>
                  <a:pt x="694222" y="689696"/>
                  <a:pt x="694888" y="687966"/>
                </a:cubicBezTo>
                <a:cubicBezTo>
                  <a:pt x="695553" y="686368"/>
                  <a:pt x="695953" y="684505"/>
                  <a:pt x="695953" y="682508"/>
                </a:cubicBezTo>
                <a:cubicBezTo>
                  <a:pt x="695953" y="680644"/>
                  <a:pt x="695553" y="678914"/>
                  <a:pt x="694888" y="677316"/>
                </a:cubicBezTo>
                <a:cubicBezTo>
                  <a:pt x="694222" y="675586"/>
                  <a:pt x="693290" y="674255"/>
                  <a:pt x="692225" y="673057"/>
                </a:cubicBezTo>
                <a:cubicBezTo>
                  <a:pt x="691160" y="671992"/>
                  <a:pt x="689829" y="671060"/>
                  <a:pt x="688232" y="670394"/>
                </a:cubicBezTo>
                <a:cubicBezTo>
                  <a:pt x="686768" y="669729"/>
                  <a:pt x="685170" y="669329"/>
                  <a:pt x="683173" y="669329"/>
                </a:cubicBezTo>
                <a:close/>
                <a:moveTo>
                  <a:pt x="1118462" y="669329"/>
                </a:moveTo>
                <a:cubicBezTo>
                  <a:pt x="1112605" y="669329"/>
                  <a:pt x="1110075" y="671326"/>
                  <a:pt x="1108478" y="672923"/>
                </a:cubicBezTo>
                <a:cubicBezTo>
                  <a:pt x="1105816" y="675586"/>
                  <a:pt x="1104751" y="678381"/>
                  <a:pt x="1104751" y="682375"/>
                </a:cubicBezTo>
                <a:cubicBezTo>
                  <a:pt x="1104751" y="686635"/>
                  <a:pt x="1105816" y="689430"/>
                  <a:pt x="1108346" y="691959"/>
                </a:cubicBezTo>
                <a:cubicBezTo>
                  <a:pt x="1109943" y="693557"/>
                  <a:pt x="1112472" y="695420"/>
                  <a:pt x="1118329" y="695420"/>
                </a:cubicBezTo>
                <a:cubicBezTo>
                  <a:pt x="1120459" y="695420"/>
                  <a:pt x="1122190" y="695154"/>
                  <a:pt x="1123787" y="694488"/>
                </a:cubicBezTo>
                <a:cubicBezTo>
                  <a:pt x="1125251" y="693956"/>
                  <a:pt x="1126583" y="693157"/>
                  <a:pt x="1127514" y="692092"/>
                </a:cubicBezTo>
                <a:cubicBezTo>
                  <a:pt x="1128579" y="691027"/>
                  <a:pt x="1129511" y="689696"/>
                  <a:pt x="1130177" y="687966"/>
                </a:cubicBezTo>
                <a:cubicBezTo>
                  <a:pt x="1130842" y="686368"/>
                  <a:pt x="1131242" y="684505"/>
                  <a:pt x="1131242" y="682508"/>
                </a:cubicBezTo>
                <a:cubicBezTo>
                  <a:pt x="1131242" y="680644"/>
                  <a:pt x="1130842" y="678914"/>
                  <a:pt x="1130177" y="677316"/>
                </a:cubicBezTo>
                <a:cubicBezTo>
                  <a:pt x="1129511" y="675586"/>
                  <a:pt x="1128579" y="674255"/>
                  <a:pt x="1127514" y="673057"/>
                </a:cubicBezTo>
                <a:cubicBezTo>
                  <a:pt x="1126449" y="671992"/>
                  <a:pt x="1125118" y="671060"/>
                  <a:pt x="1123521" y="670394"/>
                </a:cubicBezTo>
                <a:cubicBezTo>
                  <a:pt x="1122057" y="669729"/>
                  <a:pt x="1120459" y="669329"/>
                  <a:pt x="1118462" y="669329"/>
                </a:cubicBezTo>
                <a:close/>
                <a:moveTo>
                  <a:pt x="900951" y="669329"/>
                </a:moveTo>
                <a:cubicBezTo>
                  <a:pt x="895093" y="669329"/>
                  <a:pt x="892564" y="671326"/>
                  <a:pt x="890967" y="672923"/>
                </a:cubicBezTo>
                <a:cubicBezTo>
                  <a:pt x="888304" y="675586"/>
                  <a:pt x="887240" y="678381"/>
                  <a:pt x="887240" y="682375"/>
                </a:cubicBezTo>
                <a:cubicBezTo>
                  <a:pt x="887240" y="686635"/>
                  <a:pt x="888304" y="689430"/>
                  <a:pt x="890834" y="691959"/>
                </a:cubicBezTo>
                <a:cubicBezTo>
                  <a:pt x="892431" y="693557"/>
                  <a:pt x="894960" y="695420"/>
                  <a:pt x="900817" y="695420"/>
                </a:cubicBezTo>
                <a:cubicBezTo>
                  <a:pt x="902814" y="695420"/>
                  <a:pt x="904545" y="695154"/>
                  <a:pt x="906275" y="694488"/>
                </a:cubicBezTo>
                <a:cubicBezTo>
                  <a:pt x="907739" y="693956"/>
                  <a:pt x="909071" y="693157"/>
                  <a:pt x="910003" y="692092"/>
                </a:cubicBezTo>
                <a:cubicBezTo>
                  <a:pt x="911067" y="691027"/>
                  <a:pt x="911999" y="689696"/>
                  <a:pt x="912665" y="687966"/>
                </a:cubicBezTo>
                <a:cubicBezTo>
                  <a:pt x="913330" y="686368"/>
                  <a:pt x="913730" y="684505"/>
                  <a:pt x="913730" y="682508"/>
                </a:cubicBezTo>
                <a:cubicBezTo>
                  <a:pt x="913730" y="680644"/>
                  <a:pt x="913330" y="678914"/>
                  <a:pt x="912665" y="677316"/>
                </a:cubicBezTo>
                <a:cubicBezTo>
                  <a:pt x="911999" y="675586"/>
                  <a:pt x="911067" y="674255"/>
                  <a:pt x="910003" y="673057"/>
                </a:cubicBezTo>
                <a:cubicBezTo>
                  <a:pt x="908938" y="671992"/>
                  <a:pt x="907606" y="671060"/>
                  <a:pt x="906009" y="670394"/>
                </a:cubicBezTo>
                <a:cubicBezTo>
                  <a:pt x="904545" y="669729"/>
                  <a:pt x="902947" y="669329"/>
                  <a:pt x="900951" y="669329"/>
                </a:cubicBezTo>
                <a:close/>
                <a:moveTo>
                  <a:pt x="1335974" y="669328"/>
                </a:moveTo>
                <a:cubicBezTo>
                  <a:pt x="1330116" y="669328"/>
                  <a:pt x="1327588" y="671326"/>
                  <a:pt x="1325991" y="672923"/>
                </a:cubicBezTo>
                <a:cubicBezTo>
                  <a:pt x="1323460" y="675586"/>
                  <a:pt x="1322397" y="678381"/>
                  <a:pt x="1322397" y="682375"/>
                </a:cubicBezTo>
                <a:cubicBezTo>
                  <a:pt x="1322397" y="686635"/>
                  <a:pt x="1323460" y="689430"/>
                  <a:pt x="1325991" y="691959"/>
                </a:cubicBezTo>
                <a:cubicBezTo>
                  <a:pt x="1327588" y="693557"/>
                  <a:pt x="1330116" y="695420"/>
                  <a:pt x="1335974" y="695420"/>
                </a:cubicBezTo>
                <a:cubicBezTo>
                  <a:pt x="1338104" y="695420"/>
                  <a:pt x="1339835" y="695154"/>
                  <a:pt x="1341299" y="694488"/>
                </a:cubicBezTo>
                <a:cubicBezTo>
                  <a:pt x="1342763" y="693956"/>
                  <a:pt x="1344094" y="693157"/>
                  <a:pt x="1345026" y="692092"/>
                </a:cubicBezTo>
                <a:cubicBezTo>
                  <a:pt x="1346091" y="691027"/>
                  <a:pt x="1347023" y="689696"/>
                  <a:pt x="1347689" y="687966"/>
                </a:cubicBezTo>
                <a:cubicBezTo>
                  <a:pt x="1348354" y="686368"/>
                  <a:pt x="1348754" y="684505"/>
                  <a:pt x="1348754" y="682508"/>
                </a:cubicBezTo>
                <a:cubicBezTo>
                  <a:pt x="1348754" y="680644"/>
                  <a:pt x="1348354" y="678914"/>
                  <a:pt x="1347689" y="677316"/>
                </a:cubicBezTo>
                <a:cubicBezTo>
                  <a:pt x="1347023" y="675586"/>
                  <a:pt x="1346091" y="674255"/>
                  <a:pt x="1345026" y="673057"/>
                </a:cubicBezTo>
                <a:cubicBezTo>
                  <a:pt x="1343961" y="671991"/>
                  <a:pt x="1342631" y="671059"/>
                  <a:pt x="1341033" y="670394"/>
                </a:cubicBezTo>
                <a:cubicBezTo>
                  <a:pt x="1339568" y="669728"/>
                  <a:pt x="1337971" y="669328"/>
                  <a:pt x="1335974" y="669328"/>
                </a:cubicBezTo>
                <a:close/>
                <a:moveTo>
                  <a:pt x="1553619" y="669328"/>
                </a:moveTo>
                <a:cubicBezTo>
                  <a:pt x="1547761" y="669328"/>
                  <a:pt x="1545232" y="671325"/>
                  <a:pt x="1543636" y="672922"/>
                </a:cubicBezTo>
                <a:cubicBezTo>
                  <a:pt x="1541106" y="675586"/>
                  <a:pt x="1540041" y="678381"/>
                  <a:pt x="1540041" y="682375"/>
                </a:cubicBezTo>
                <a:cubicBezTo>
                  <a:pt x="1540041" y="686635"/>
                  <a:pt x="1541106" y="689430"/>
                  <a:pt x="1543636" y="691959"/>
                </a:cubicBezTo>
                <a:cubicBezTo>
                  <a:pt x="1545232" y="693557"/>
                  <a:pt x="1547761" y="695420"/>
                  <a:pt x="1553619" y="695420"/>
                </a:cubicBezTo>
                <a:cubicBezTo>
                  <a:pt x="1555616" y="695420"/>
                  <a:pt x="1557480" y="695154"/>
                  <a:pt x="1558944" y="694488"/>
                </a:cubicBezTo>
                <a:cubicBezTo>
                  <a:pt x="1560408" y="693956"/>
                  <a:pt x="1561739" y="693157"/>
                  <a:pt x="1562671" y="692092"/>
                </a:cubicBezTo>
                <a:cubicBezTo>
                  <a:pt x="1563736" y="691027"/>
                  <a:pt x="1564668" y="689696"/>
                  <a:pt x="1565334" y="687966"/>
                </a:cubicBezTo>
                <a:cubicBezTo>
                  <a:pt x="1565999" y="686368"/>
                  <a:pt x="1566399" y="684505"/>
                  <a:pt x="1566399" y="682508"/>
                </a:cubicBezTo>
                <a:cubicBezTo>
                  <a:pt x="1566399" y="680644"/>
                  <a:pt x="1565999" y="678914"/>
                  <a:pt x="1565334" y="677316"/>
                </a:cubicBezTo>
                <a:cubicBezTo>
                  <a:pt x="1564668" y="675586"/>
                  <a:pt x="1563736" y="674254"/>
                  <a:pt x="1562671" y="673056"/>
                </a:cubicBezTo>
                <a:cubicBezTo>
                  <a:pt x="1561605" y="671991"/>
                  <a:pt x="1560275" y="671059"/>
                  <a:pt x="1558677" y="670393"/>
                </a:cubicBezTo>
                <a:cubicBezTo>
                  <a:pt x="1557213" y="669728"/>
                  <a:pt x="1555616" y="669328"/>
                  <a:pt x="1553619" y="669328"/>
                </a:cubicBezTo>
                <a:close/>
                <a:moveTo>
                  <a:pt x="1771263" y="669328"/>
                </a:moveTo>
                <a:cubicBezTo>
                  <a:pt x="1765406" y="669328"/>
                  <a:pt x="1762877" y="671325"/>
                  <a:pt x="1761280" y="672922"/>
                </a:cubicBezTo>
                <a:cubicBezTo>
                  <a:pt x="1758750" y="675585"/>
                  <a:pt x="1757686" y="678380"/>
                  <a:pt x="1757686" y="682375"/>
                </a:cubicBezTo>
                <a:cubicBezTo>
                  <a:pt x="1757686" y="686635"/>
                  <a:pt x="1758750" y="689430"/>
                  <a:pt x="1761280" y="691959"/>
                </a:cubicBezTo>
                <a:cubicBezTo>
                  <a:pt x="1762877" y="693557"/>
                  <a:pt x="1765406" y="695420"/>
                  <a:pt x="1771263" y="695420"/>
                </a:cubicBezTo>
                <a:cubicBezTo>
                  <a:pt x="1773260" y="695420"/>
                  <a:pt x="1775124" y="695154"/>
                  <a:pt x="1776588" y="694488"/>
                </a:cubicBezTo>
                <a:cubicBezTo>
                  <a:pt x="1778052" y="693956"/>
                  <a:pt x="1779383" y="693157"/>
                  <a:pt x="1780315" y="692092"/>
                </a:cubicBezTo>
                <a:cubicBezTo>
                  <a:pt x="1781380" y="691027"/>
                  <a:pt x="1782312" y="689696"/>
                  <a:pt x="1782978" y="687966"/>
                </a:cubicBezTo>
                <a:cubicBezTo>
                  <a:pt x="1783643" y="686368"/>
                  <a:pt x="1784043" y="684505"/>
                  <a:pt x="1784043" y="682508"/>
                </a:cubicBezTo>
                <a:cubicBezTo>
                  <a:pt x="1784043" y="680643"/>
                  <a:pt x="1783643" y="678914"/>
                  <a:pt x="1782978" y="677315"/>
                </a:cubicBezTo>
                <a:cubicBezTo>
                  <a:pt x="1782312" y="675585"/>
                  <a:pt x="1781380" y="674254"/>
                  <a:pt x="1780315" y="673056"/>
                </a:cubicBezTo>
                <a:cubicBezTo>
                  <a:pt x="1779250" y="671991"/>
                  <a:pt x="1777919" y="671059"/>
                  <a:pt x="1776322" y="670393"/>
                </a:cubicBezTo>
                <a:cubicBezTo>
                  <a:pt x="1774857" y="669728"/>
                  <a:pt x="1773260" y="669328"/>
                  <a:pt x="1771263" y="669328"/>
                </a:cubicBezTo>
                <a:close/>
                <a:moveTo>
                  <a:pt x="1988906" y="669328"/>
                </a:moveTo>
                <a:cubicBezTo>
                  <a:pt x="1983049" y="669328"/>
                  <a:pt x="1980520" y="671325"/>
                  <a:pt x="1978923" y="672922"/>
                </a:cubicBezTo>
                <a:cubicBezTo>
                  <a:pt x="1976393" y="675585"/>
                  <a:pt x="1975329" y="678380"/>
                  <a:pt x="1975329" y="682374"/>
                </a:cubicBezTo>
                <a:cubicBezTo>
                  <a:pt x="1975329" y="686635"/>
                  <a:pt x="1976393" y="689430"/>
                  <a:pt x="1978923" y="691959"/>
                </a:cubicBezTo>
                <a:cubicBezTo>
                  <a:pt x="1980520" y="693557"/>
                  <a:pt x="1983049" y="695420"/>
                  <a:pt x="1988906" y="695420"/>
                </a:cubicBezTo>
                <a:cubicBezTo>
                  <a:pt x="1990903" y="695420"/>
                  <a:pt x="1992635" y="695153"/>
                  <a:pt x="1994231" y="694488"/>
                </a:cubicBezTo>
                <a:cubicBezTo>
                  <a:pt x="1995829" y="693956"/>
                  <a:pt x="1997028" y="693157"/>
                  <a:pt x="1997959" y="692092"/>
                </a:cubicBezTo>
                <a:cubicBezTo>
                  <a:pt x="1999023" y="691027"/>
                  <a:pt x="1999955" y="689695"/>
                  <a:pt x="2000622" y="687966"/>
                </a:cubicBezTo>
                <a:cubicBezTo>
                  <a:pt x="2001153" y="686368"/>
                  <a:pt x="2001552" y="684504"/>
                  <a:pt x="2001552" y="682507"/>
                </a:cubicBezTo>
                <a:cubicBezTo>
                  <a:pt x="2001552" y="680643"/>
                  <a:pt x="2001287" y="678913"/>
                  <a:pt x="2000622" y="677315"/>
                </a:cubicBezTo>
                <a:cubicBezTo>
                  <a:pt x="1999955" y="675585"/>
                  <a:pt x="1999023" y="674254"/>
                  <a:pt x="1997959" y="673056"/>
                </a:cubicBezTo>
                <a:cubicBezTo>
                  <a:pt x="1996894" y="671991"/>
                  <a:pt x="1995562" y="671059"/>
                  <a:pt x="1993965" y="670393"/>
                </a:cubicBezTo>
                <a:cubicBezTo>
                  <a:pt x="1992501" y="669728"/>
                  <a:pt x="1990903" y="669328"/>
                  <a:pt x="1988906" y="669328"/>
                </a:cubicBezTo>
                <a:close/>
                <a:moveTo>
                  <a:pt x="2206421" y="669328"/>
                </a:moveTo>
                <a:cubicBezTo>
                  <a:pt x="2200564" y="669328"/>
                  <a:pt x="2198034" y="671325"/>
                  <a:pt x="2196437" y="672922"/>
                </a:cubicBezTo>
                <a:cubicBezTo>
                  <a:pt x="2193907" y="675585"/>
                  <a:pt x="2192843" y="678380"/>
                  <a:pt x="2192843" y="682374"/>
                </a:cubicBezTo>
                <a:cubicBezTo>
                  <a:pt x="2192843" y="686635"/>
                  <a:pt x="2193907" y="689430"/>
                  <a:pt x="2196437" y="691958"/>
                </a:cubicBezTo>
                <a:cubicBezTo>
                  <a:pt x="2198034" y="693556"/>
                  <a:pt x="2200564" y="695420"/>
                  <a:pt x="2206421" y="695420"/>
                </a:cubicBezTo>
                <a:cubicBezTo>
                  <a:pt x="2208550" y="695420"/>
                  <a:pt x="2210282" y="695153"/>
                  <a:pt x="2211746" y="694487"/>
                </a:cubicBezTo>
                <a:cubicBezTo>
                  <a:pt x="2213343" y="693956"/>
                  <a:pt x="2214541" y="693157"/>
                  <a:pt x="2215473" y="692092"/>
                </a:cubicBezTo>
                <a:cubicBezTo>
                  <a:pt x="2216538" y="691027"/>
                  <a:pt x="2217469" y="689695"/>
                  <a:pt x="2218136" y="687966"/>
                </a:cubicBezTo>
                <a:cubicBezTo>
                  <a:pt x="2218668" y="686367"/>
                  <a:pt x="2219067" y="684504"/>
                  <a:pt x="2219067" y="682507"/>
                </a:cubicBezTo>
                <a:cubicBezTo>
                  <a:pt x="2219067" y="680643"/>
                  <a:pt x="2218801" y="678913"/>
                  <a:pt x="2218136" y="677315"/>
                </a:cubicBezTo>
                <a:cubicBezTo>
                  <a:pt x="2217469" y="675585"/>
                  <a:pt x="2216538" y="674254"/>
                  <a:pt x="2215473" y="673056"/>
                </a:cubicBezTo>
                <a:cubicBezTo>
                  <a:pt x="2214408" y="671991"/>
                  <a:pt x="2213077" y="671059"/>
                  <a:pt x="2211480" y="670393"/>
                </a:cubicBezTo>
                <a:cubicBezTo>
                  <a:pt x="2210015" y="669728"/>
                  <a:pt x="2208418" y="669328"/>
                  <a:pt x="2206421" y="669328"/>
                </a:cubicBezTo>
                <a:close/>
                <a:moveTo>
                  <a:pt x="2424067" y="669328"/>
                </a:moveTo>
                <a:cubicBezTo>
                  <a:pt x="2418211" y="669328"/>
                  <a:pt x="2415682" y="671325"/>
                  <a:pt x="2414084" y="672922"/>
                </a:cubicBezTo>
                <a:cubicBezTo>
                  <a:pt x="2411554" y="675585"/>
                  <a:pt x="2410490" y="678380"/>
                  <a:pt x="2410490" y="682374"/>
                </a:cubicBezTo>
                <a:cubicBezTo>
                  <a:pt x="2410490" y="686634"/>
                  <a:pt x="2411554" y="689429"/>
                  <a:pt x="2414084" y="691958"/>
                </a:cubicBezTo>
                <a:cubicBezTo>
                  <a:pt x="2415682" y="693556"/>
                  <a:pt x="2418211" y="695419"/>
                  <a:pt x="2424067" y="695419"/>
                </a:cubicBezTo>
                <a:cubicBezTo>
                  <a:pt x="2426198" y="695419"/>
                  <a:pt x="2427929" y="695153"/>
                  <a:pt x="2429393" y="694487"/>
                </a:cubicBezTo>
                <a:cubicBezTo>
                  <a:pt x="2430991" y="693956"/>
                  <a:pt x="2432189" y="693156"/>
                  <a:pt x="2433120" y="692092"/>
                </a:cubicBezTo>
                <a:cubicBezTo>
                  <a:pt x="2434185" y="691026"/>
                  <a:pt x="2435117" y="689695"/>
                  <a:pt x="2435783" y="687965"/>
                </a:cubicBezTo>
                <a:cubicBezTo>
                  <a:pt x="2436315" y="686367"/>
                  <a:pt x="2436714" y="684504"/>
                  <a:pt x="2436714" y="682507"/>
                </a:cubicBezTo>
                <a:cubicBezTo>
                  <a:pt x="2436714" y="680643"/>
                  <a:pt x="2436448" y="678913"/>
                  <a:pt x="2435783" y="677315"/>
                </a:cubicBezTo>
                <a:cubicBezTo>
                  <a:pt x="2435117" y="675585"/>
                  <a:pt x="2434185" y="674254"/>
                  <a:pt x="2433120" y="673056"/>
                </a:cubicBezTo>
                <a:cubicBezTo>
                  <a:pt x="2432056" y="671991"/>
                  <a:pt x="2430724" y="671059"/>
                  <a:pt x="2429127" y="670393"/>
                </a:cubicBezTo>
                <a:cubicBezTo>
                  <a:pt x="2427663" y="669728"/>
                  <a:pt x="2426065" y="669328"/>
                  <a:pt x="2424067" y="669328"/>
                </a:cubicBezTo>
                <a:close/>
                <a:moveTo>
                  <a:pt x="2641715" y="669328"/>
                </a:moveTo>
                <a:cubicBezTo>
                  <a:pt x="2635858" y="669328"/>
                  <a:pt x="2633329" y="671325"/>
                  <a:pt x="2631732" y="672922"/>
                </a:cubicBezTo>
                <a:cubicBezTo>
                  <a:pt x="2629201" y="675585"/>
                  <a:pt x="2628138" y="678380"/>
                  <a:pt x="2628138" y="682374"/>
                </a:cubicBezTo>
                <a:cubicBezTo>
                  <a:pt x="2628138" y="686634"/>
                  <a:pt x="2629201" y="689429"/>
                  <a:pt x="2631732" y="691958"/>
                </a:cubicBezTo>
                <a:cubicBezTo>
                  <a:pt x="2633329" y="693556"/>
                  <a:pt x="2635858" y="695419"/>
                  <a:pt x="2641715" y="695419"/>
                </a:cubicBezTo>
                <a:cubicBezTo>
                  <a:pt x="2643712" y="695419"/>
                  <a:pt x="2645576" y="695153"/>
                  <a:pt x="2647040" y="694487"/>
                </a:cubicBezTo>
                <a:cubicBezTo>
                  <a:pt x="2648637" y="693955"/>
                  <a:pt x="2649835" y="693156"/>
                  <a:pt x="2650767" y="692091"/>
                </a:cubicBezTo>
                <a:cubicBezTo>
                  <a:pt x="2651832" y="691026"/>
                  <a:pt x="2652764" y="689695"/>
                  <a:pt x="2653430" y="687965"/>
                </a:cubicBezTo>
                <a:cubicBezTo>
                  <a:pt x="2653962" y="686367"/>
                  <a:pt x="2654361" y="684504"/>
                  <a:pt x="2654361" y="682507"/>
                </a:cubicBezTo>
                <a:cubicBezTo>
                  <a:pt x="2654361" y="680643"/>
                  <a:pt x="2654095" y="678913"/>
                  <a:pt x="2653430" y="677315"/>
                </a:cubicBezTo>
                <a:cubicBezTo>
                  <a:pt x="2652764" y="675585"/>
                  <a:pt x="2651832" y="674254"/>
                  <a:pt x="2650767" y="673056"/>
                </a:cubicBezTo>
                <a:cubicBezTo>
                  <a:pt x="2649702" y="671991"/>
                  <a:pt x="2648371" y="671059"/>
                  <a:pt x="2646774" y="670393"/>
                </a:cubicBezTo>
                <a:cubicBezTo>
                  <a:pt x="2645309" y="669728"/>
                  <a:pt x="2643712" y="669328"/>
                  <a:pt x="2641715" y="669328"/>
                </a:cubicBezTo>
                <a:close/>
                <a:moveTo>
                  <a:pt x="2859362" y="669328"/>
                </a:moveTo>
                <a:cubicBezTo>
                  <a:pt x="2853505" y="669328"/>
                  <a:pt x="2850976" y="671325"/>
                  <a:pt x="2849379" y="672922"/>
                </a:cubicBezTo>
                <a:cubicBezTo>
                  <a:pt x="2846848" y="675585"/>
                  <a:pt x="2845784" y="678380"/>
                  <a:pt x="2845784" y="682374"/>
                </a:cubicBezTo>
                <a:cubicBezTo>
                  <a:pt x="2845784" y="686634"/>
                  <a:pt x="2846848" y="689429"/>
                  <a:pt x="2849379" y="691958"/>
                </a:cubicBezTo>
                <a:cubicBezTo>
                  <a:pt x="2850976" y="693556"/>
                  <a:pt x="2853505" y="695419"/>
                  <a:pt x="2859362" y="695419"/>
                </a:cubicBezTo>
                <a:cubicBezTo>
                  <a:pt x="2861359" y="695419"/>
                  <a:pt x="2863223" y="695153"/>
                  <a:pt x="2864687" y="694487"/>
                </a:cubicBezTo>
                <a:cubicBezTo>
                  <a:pt x="2866285" y="693955"/>
                  <a:pt x="2867483" y="693156"/>
                  <a:pt x="2868414" y="692091"/>
                </a:cubicBezTo>
                <a:cubicBezTo>
                  <a:pt x="2869479" y="691026"/>
                  <a:pt x="2870411" y="689695"/>
                  <a:pt x="2871077" y="687965"/>
                </a:cubicBezTo>
                <a:cubicBezTo>
                  <a:pt x="2871609" y="686367"/>
                  <a:pt x="2872008" y="684504"/>
                  <a:pt x="2872008" y="682507"/>
                </a:cubicBezTo>
                <a:cubicBezTo>
                  <a:pt x="2872008" y="680643"/>
                  <a:pt x="2871742" y="678913"/>
                  <a:pt x="2871077" y="677315"/>
                </a:cubicBezTo>
                <a:cubicBezTo>
                  <a:pt x="2870411" y="675585"/>
                  <a:pt x="2869479" y="674254"/>
                  <a:pt x="2868414" y="673056"/>
                </a:cubicBezTo>
                <a:cubicBezTo>
                  <a:pt x="2867350" y="671991"/>
                  <a:pt x="2866018" y="671059"/>
                  <a:pt x="2864422" y="670393"/>
                </a:cubicBezTo>
                <a:cubicBezTo>
                  <a:pt x="2862958" y="669728"/>
                  <a:pt x="2861359" y="669328"/>
                  <a:pt x="2859362" y="669328"/>
                </a:cubicBezTo>
                <a:close/>
                <a:moveTo>
                  <a:pt x="3294656" y="669328"/>
                </a:moveTo>
                <a:cubicBezTo>
                  <a:pt x="3288799" y="669328"/>
                  <a:pt x="3286270" y="671325"/>
                  <a:pt x="3284673" y="672922"/>
                </a:cubicBezTo>
                <a:cubicBezTo>
                  <a:pt x="3282142" y="675585"/>
                  <a:pt x="3281079" y="678380"/>
                  <a:pt x="3281079" y="682374"/>
                </a:cubicBezTo>
                <a:cubicBezTo>
                  <a:pt x="3281079" y="686634"/>
                  <a:pt x="3282142" y="689429"/>
                  <a:pt x="3284673" y="691958"/>
                </a:cubicBezTo>
                <a:cubicBezTo>
                  <a:pt x="3286270" y="693556"/>
                  <a:pt x="3288799" y="695419"/>
                  <a:pt x="3294656" y="695419"/>
                </a:cubicBezTo>
                <a:cubicBezTo>
                  <a:pt x="3296653" y="695419"/>
                  <a:pt x="3298384" y="695153"/>
                  <a:pt x="3299982" y="694487"/>
                </a:cubicBezTo>
                <a:cubicBezTo>
                  <a:pt x="3301446" y="693955"/>
                  <a:pt x="3302778" y="693156"/>
                  <a:pt x="3303709" y="692091"/>
                </a:cubicBezTo>
                <a:cubicBezTo>
                  <a:pt x="3304774" y="691026"/>
                  <a:pt x="3305705" y="689695"/>
                  <a:pt x="3306372" y="687965"/>
                </a:cubicBezTo>
                <a:cubicBezTo>
                  <a:pt x="3307037" y="686367"/>
                  <a:pt x="3307436" y="684504"/>
                  <a:pt x="3307436" y="682507"/>
                </a:cubicBezTo>
                <a:cubicBezTo>
                  <a:pt x="3307436" y="680643"/>
                  <a:pt x="3307037" y="678913"/>
                  <a:pt x="3306372" y="677315"/>
                </a:cubicBezTo>
                <a:cubicBezTo>
                  <a:pt x="3305705" y="675585"/>
                  <a:pt x="3304774" y="674254"/>
                  <a:pt x="3303709" y="673056"/>
                </a:cubicBezTo>
                <a:cubicBezTo>
                  <a:pt x="3302644" y="671990"/>
                  <a:pt x="3301312" y="671058"/>
                  <a:pt x="3299716" y="670393"/>
                </a:cubicBezTo>
                <a:cubicBezTo>
                  <a:pt x="3298252" y="669728"/>
                  <a:pt x="3296653" y="669328"/>
                  <a:pt x="3294656" y="669328"/>
                </a:cubicBezTo>
                <a:close/>
                <a:moveTo>
                  <a:pt x="3077142" y="669328"/>
                </a:moveTo>
                <a:cubicBezTo>
                  <a:pt x="3071285" y="669328"/>
                  <a:pt x="3068756" y="671325"/>
                  <a:pt x="3067159" y="672922"/>
                </a:cubicBezTo>
                <a:cubicBezTo>
                  <a:pt x="3064496" y="675585"/>
                  <a:pt x="3063431" y="678380"/>
                  <a:pt x="3063431" y="682374"/>
                </a:cubicBezTo>
                <a:cubicBezTo>
                  <a:pt x="3063431" y="686634"/>
                  <a:pt x="3064496" y="689429"/>
                  <a:pt x="3067026" y="691958"/>
                </a:cubicBezTo>
                <a:cubicBezTo>
                  <a:pt x="3068623" y="693556"/>
                  <a:pt x="3071152" y="695419"/>
                  <a:pt x="3077009" y="695419"/>
                </a:cubicBezTo>
                <a:cubicBezTo>
                  <a:pt x="3079006" y="695419"/>
                  <a:pt x="3080736" y="695153"/>
                  <a:pt x="3082467" y="694487"/>
                </a:cubicBezTo>
                <a:cubicBezTo>
                  <a:pt x="3083932" y="693955"/>
                  <a:pt x="3085264" y="693156"/>
                  <a:pt x="3086195" y="692091"/>
                </a:cubicBezTo>
                <a:cubicBezTo>
                  <a:pt x="3087259" y="691026"/>
                  <a:pt x="3088192" y="689695"/>
                  <a:pt x="3088857" y="687965"/>
                </a:cubicBezTo>
                <a:cubicBezTo>
                  <a:pt x="3089522" y="686367"/>
                  <a:pt x="3089789" y="684504"/>
                  <a:pt x="3089789" y="682507"/>
                </a:cubicBezTo>
                <a:cubicBezTo>
                  <a:pt x="3089789" y="680643"/>
                  <a:pt x="3089522" y="678913"/>
                  <a:pt x="3088857" y="677315"/>
                </a:cubicBezTo>
                <a:cubicBezTo>
                  <a:pt x="3088192" y="675585"/>
                  <a:pt x="3087259" y="674254"/>
                  <a:pt x="3086195" y="673056"/>
                </a:cubicBezTo>
                <a:cubicBezTo>
                  <a:pt x="3085130" y="671991"/>
                  <a:pt x="3083798" y="671059"/>
                  <a:pt x="3082202" y="670393"/>
                </a:cubicBezTo>
                <a:cubicBezTo>
                  <a:pt x="3080736" y="669728"/>
                  <a:pt x="3079139" y="669328"/>
                  <a:pt x="3077142" y="669328"/>
                </a:cubicBezTo>
                <a:close/>
                <a:moveTo>
                  <a:pt x="3512170" y="669327"/>
                </a:moveTo>
                <a:cubicBezTo>
                  <a:pt x="3506314" y="669327"/>
                  <a:pt x="3503784" y="671325"/>
                  <a:pt x="3502186" y="672922"/>
                </a:cubicBezTo>
                <a:cubicBezTo>
                  <a:pt x="3499656" y="675585"/>
                  <a:pt x="3498593" y="678380"/>
                  <a:pt x="3498593" y="682374"/>
                </a:cubicBezTo>
                <a:cubicBezTo>
                  <a:pt x="3498593" y="686634"/>
                  <a:pt x="3499656" y="689429"/>
                  <a:pt x="3502186" y="691958"/>
                </a:cubicBezTo>
                <a:cubicBezTo>
                  <a:pt x="3503784" y="693556"/>
                  <a:pt x="3506314" y="695419"/>
                  <a:pt x="3512170" y="695419"/>
                </a:cubicBezTo>
                <a:cubicBezTo>
                  <a:pt x="3514300" y="695419"/>
                  <a:pt x="3516032" y="695153"/>
                  <a:pt x="3517496" y="694487"/>
                </a:cubicBezTo>
                <a:cubicBezTo>
                  <a:pt x="3518960" y="693955"/>
                  <a:pt x="3520291" y="693156"/>
                  <a:pt x="3521223" y="692091"/>
                </a:cubicBezTo>
                <a:cubicBezTo>
                  <a:pt x="3522288" y="691026"/>
                  <a:pt x="3523219" y="689695"/>
                  <a:pt x="3523886" y="687965"/>
                </a:cubicBezTo>
                <a:cubicBezTo>
                  <a:pt x="3524551" y="686367"/>
                  <a:pt x="3524951" y="684504"/>
                  <a:pt x="3524951" y="682507"/>
                </a:cubicBezTo>
                <a:cubicBezTo>
                  <a:pt x="3524951" y="680643"/>
                  <a:pt x="3524551" y="678913"/>
                  <a:pt x="3523886" y="677315"/>
                </a:cubicBezTo>
                <a:cubicBezTo>
                  <a:pt x="3523219" y="675585"/>
                  <a:pt x="3522288" y="674253"/>
                  <a:pt x="3521223" y="673055"/>
                </a:cubicBezTo>
                <a:cubicBezTo>
                  <a:pt x="3520157" y="671990"/>
                  <a:pt x="3518826" y="671058"/>
                  <a:pt x="3517230" y="670393"/>
                </a:cubicBezTo>
                <a:cubicBezTo>
                  <a:pt x="3515766" y="669727"/>
                  <a:pt x="3514168" y="669327"/>
                  <a:pt x="3512170" y="669327"/>
                </a:cubicBezTo>
                <a:close/>
                <a:moveTo>
                  <a:pt x="3947465" y="669327"/>
                </a:moveTo>
                <a:cubicBezTo>
                  <a:pt x="3941608" y="669327"/>
                  <a:pt x="3939079" y="671324"/>
                  <a:pt x="3937482" y="672921"/>
                </a:cubicBezTo>
                <a:cubicBezTo>
                  <a:pt x="3934951" y="675584"/>
                  <a:pt x="3933888" y="678379"/>
                  <a:pt x="3933888" y="682374"/>
                </a:cubicBezTo>
                <a:cubicBezTo>
                  <a:pt x="3933888" y="686634"/>
                  <a:pt x="3934951" y="689429"/>
                  <a:pt x="3937482" y="691958"/>
                </a:cubicBezTo>
                <a:cubicBezTo>
                  <a:pt x="3939079" y="693556"/>
                  <a:pt x="3941608" y="695419"/>
                  <a:pt x="3947465" y="695419"/>
                </a:cubicBezTo>
                <a:cubicBezTo>
                  <a:pt x="3949462" y="695419"/>
                  <a:pt x="3951326" y="695153"/>
                  <a:pt x="3952790" y="694487"/>
                </a:cubicBezTo>
                <a:cubicBezTo>
                  <a:pt x="3954255" y="693955"/>
                  <a:pt x="3955585" y="693156"/>
                  <a:pt x="3956517" y="692091"/>
                </a:cubicBezTo>
                <a:cubicBezTo>
                  <a:pt x="3957582" y="691026"/>
                  <a:pt x="3958515" y="689695"/>
                  <a:pt x="3959180" y="687965"/>
                </a:cubicBezTo>
                <a:cubicBezTo>
                  <a:pt x="3959845" y="686367"/>
                  <a:pt x="3960245" y="684504"/>
                  <a:pt x="3960245" y="682506"/>
                </a:cubicBezTo>
                <a:cubicBezTo>
                  <a:pt x="3960245" y="680642"/>
                  <a:pt x="3959845" y="678913"/>
                  <a:pt x="3959180" y="677314"/>
                </a:cubicBezTo>
                <a:cubicBezTo>
                  <a:pt x="3958515" y="675584"/>
                  <a:pt x="3957582" y="674253"/>
                  <a:pt x="3956517" y="673055"/>
                </a:cubicBezTo>
                <a:cubicBezTo>
                  <a:pt x="3955453" y="671990"/>
                  <a:pt x="3954121" y="671058"/>
                  <a:pt x="3952524" y="670392"/>
                </a:cubicBezTo>
                <a:cubicBezTo>
                  <a:pt x="3951059" y="669727"/>
                  <a:pt x="3949462" y="669327"/>
                  <a:pt x="3947465" y="669327"/>
                </a:cubicBezTo>
                <a:close/>
                <a:moveTo>
                  <a:pt x="3729817" y="669327"/>
                </a:moveTo>
                <a:cubicBezTo>
                  <a:pt x="3723960" y="669327"/>
                  <a:pt x="3721431" y="671324"/>
                  <a:pt x="3719833" y="672921"/>
                </a:cubicBezTo>
                <a:cubicBezTo>
                  <a:pt x="3717303" y="675584"/>
                  <a:pt x="3716239" y="678379"/>
                  <a:pt x="3716239" y="682374"/>
                </a:cubicBezTo>
                <a:cubicBezTo>
                  <a:pt x="3716239" y="686634"/>
                  <a:pt x="3717303" y="689429"/>
                  <a:pt x="3719833" y="691958"/>
                </a:cubicBezTo>
                <a:cubicBezTo>
                  <a:pt x="3721431" y="693556"/>
                  <a:pt x="3723960" y="695419"/>
                  <a:pt x="3729817" y="695419"/>
                </a:cubicBezTo>
                <a:cubicBezTo>
                  <a:pt x="3731947" y="695419"/>
                  <a:pt x="3733678" y="695153"/>
                  <a:pt x="3735142" y="694487"/>
                </a:cubicBezTo>
                <a:cubicBezTo>
                  <a:pt x="3736606" y="693955"/>
                  <a:pt x="3737939" y="693156"/>
                  <a:pt x="3738869" y="692091"/>
                </a:cubicBezTo>
                <a:cubicBezTo>
                  <a:pt x="3739934" y="691026"/>
                  <a:pt x="3740867" y="689695"/>
                  <a:pt x="3741532" y="687965"/>
                </a:cubicBezTo>
                <a:cubicBezTo>
                  <a:pt x="3742197" y="686367"/>
                  <a:pt x="3742597" y="684504"/>
                  <a:pt x="3742597" y="682507"/>
                </a:cubicBezTo>
                <a:cubicBezTo>
                  <a:pt x="3742597" y="680642"/>
                  <a:pt x="3742197" y="678913"/>
                  <a:pt x="3741532" y="677314"/>
                </a:cubicBezTo>
                <a:cubicBezTo>
                  <a:pt x="3740867" y="675584"/>
                  <a:pt x="3739934" y="674253"/>
                  <a:pt x="3738869" y="673055"/>
                </a:cubicBezTo>
                <a:cubicBezTo>
                  <a:pt x="3737805" y="671990"/>
                  <a:pt x="3736474" y="671058"/>
                  <a:pt x="3734877" y="670392"/>
                </a:cubicBezTo>
                <a:cubicBezTo>
                  <a:pt x="3733412" y="669727"/>
                  <a:pt x="3731814" y="669327"/>
                  <a:pt x="3729817" y="669327"/>
                </a:cubicBezTo>
                <a:close/>
                <a:moveTo>
                  <a:pt x="4165068" y="669327"/>
                </a:moveTo>
                <a:cubicBezTo>
                  <a:pt x="4159211" y="669327"/>
                  <a:pt x="4156681" y="671324"/>
                  <a:pt x="4155084" y="672921"/>
                </a:cubicBezTo>
                <a:cubicBezTo>
                  <a:pt x="4152555" y="675584"/>
                  <a:pt x="4151490" y="678379"/>
                  <a:pt x="4151490" y="682374"/>
                </a:cubicBezTo>
                <a:cubicBezTo>
                  <a:pt x="4151490" y="686634"/>
                  <a:pt x="4152555" y="689429"/>
                  <a:pt x="4155084" y="691958"/>
                </a:cubicBezTo>
                <a:cubicBezTo>
                  <a:pt x="4156681" y="693556"/>
                  <a:pt x="4159211" y="695419"/>
                  <a:pt x="4165068" y="695419"/>
                </a:cubicBezTo>
                <a:cubicBezTo>
                  <a:pt x="4167064" y="695419"/>
                  <a:pt x="4168928" y="695153"/>
                  <a:pt x="4170392" y="694487"/>
                </a:cubicBezTo>
                <a:cubicBezTo>
                  <a:pt x="4171856" y="693955"/>
                  <a:pt x="4173188" y="693156"/>
                  <a:pt x="4174119" y="692091"/>
                </a:cubicBezTo>
                <a:cubicBezTo>
                  <a:pt x="4175184" y="691026"/>
                  <a:pt x="4176116" y="689694"/>
                  <a:pt x="4176782" y="687965"/>
                </a:cubicBezTo>
                <a:cubicBezTo>
                  <a:pt x="4177447" y="686367"/>
                  <a:pt x="4177847" y="684503"/>
                  <a:pt x="4177847" y="682506"/>
                </a:cubicBezTo>
                <a:cubicBezTo>
                  <a:pt x="4177847" y="680642"/>
                  <a:pt x="4177447" y="678913"/>
                  <a:pt x="4176782" y="677314"/>
                </a:cubicBezTo>
                <a:cubicBezTo>
                  <a:pt x="4176116" y="675584"/>
                  <a:pt x="4175184" y="674253"/>
                  <a:pt x="4174119" y="673055"/>
                </a:cubicBezTo>
                <a:cubicBezTo>
                  <a:pt x="4173054" y="671990"/>
                  <a:pt x="4171723" y="671058"/>
                  <a:pt x="4170126" y="670392"/>
                </a:cubicBezTo>
                <a:cubicBezTo>
                  <a:pt x="4168662" y="669727"/>
                  <a:pt x="4167064" y="669327"/>
                  <a:pt x="4165068" y="669327"/>
                </a:cubicBezTo>
                <a:close/>
                <a:moveTo>
                  <a:pt x="4600226" y="669327"/>
                </a:moveTo>
                <a:cubicBezTo>
                  <a:pt x="4594369" y="669327"/>
                  <a:pt x="4591839" y="671324"/>
                  <a:pt x="4590242" y="672921"/>
                </a:cubicBezTo>
                <a:cubicBezTo>
                  <a:pt x="4587713" y="675584"/>
                  <a:pt x="4586648" y="678379"/>
                  <a:pt x="4586648" y="682373"/>
                </a:cubicBezTo>
                <a:cubicBezTo>
                  <a:pt x="4586648" y="686633"/>
                  <a:pt x="4587713" y="689428"/>
                  <a:pt x="4590242" y="691957"/>
                </a:cubicBezTo>
                <a:cubicBezTo>
                  <a:pt x="4591839" y="693555"/>
                  <a:pt x="4594369" y="695418"/>
                  <a:pt x="4600226" y="695418"/>
                </a:cubicBezTo>
                <a:cubicBezTo>
                  <a:pt x="4602355" y="695418"/>
                  <a:pt x="4604086" y="695152"/>
                  <a:pt x="4605550" y="694486"/>
                </a:cubicBezTo>
                <a:cubicBezTo>
                  <a:pt x="4607148" y="693954"/>
                  <a:pt x="4608346" y="693155"/>
                  <a:pt x="4609277" y="692091"/>
                </a:cubicBezTo>
                <a:cubicBezTo>
                  <a:pt x="4610342" y="691025"/>
                  <a:pt x="4611274" y="689694"/>
                  <a:pt x="4611940" y="687964"/>
                </a:cubicBezTo>
                <a:cubicBezTo>
                  <a:pt x="4612605" y="686366"/>
                  <a:pt x="4613005" y="684503"/>
                  <a:pt x="4613005" y="682506"/>
                </a:cubicBezTo>
                <a:cubicBezTo>
                  <a:pt x="4613005" y="680642"/>
                  <a:pt x="4612605" y="678912"/>
                  <a:pt x="4611940" y="677314"/>
                </a:cubicBezTo>
                <a:cubicBezTo>
                  <a:pt x="4611274" y="675584"/>
                  <a:pt x="4610342" y="674253"/>
                  <a:pt x="4609277" y="673055"/>
                </a:cubicBezTo>
                <a:cubicBezTo>
                  <a:pt x="4608212" y="671990"/>
                  <a:pt x="4606881" y="671058"/>
                  <a:pt x="4605284" y="670392"/>
                </a:cubicBezTo>
                <a:cubicBezTo>
                  <a:pt x="4603820" y="669727"/>
                  <a:pt x="4602222" y="669327"/>
                  <a:pt x="4600226" y="669327"/>
                </a:cubicBezTo>
                <a:close/>
                <a:moveTo>
                  <a:pt x="4382713" y="669327"/>
                </a:moveTo>
                <a:cubicBezTo>
                  <a:pt x="4376857" y="669327"/>
                  <a:pt x="4374327" y="671324"/>
                  <a:pt x="4372730" y="672921"/>
                </a:cubicBezTo>
                <a:cubicBezTo>
                  <a:pt x="4370201" y="675584"/>
                  <a:pt x="4369136" y="678379"/>
                  <a:pt x="4369136" y="682373"/>
                </a:cubicBezTo>
                <a:cubicBezTo>
                  <a:pt x="4369136" y="686634"/>
                  <a:pt x="4370201" y="689428"/>
                  <a:pt x="4372730" y="691957"/>
                </a:cubicBezTo>
                <a:cubicBezTo>
                  <a:pt x="4374327" y="693556"/>
                  <a:pt x="4376857" y="695419"/>
                  <a:pt x="4382713" y="695419"/>
                </a:cubicBezTo>
                <a:cubicBezTo>
                  <a:pt x="4384710" y="695419"/>
                  <a:pt x="4386441" y="695152"/>
                  <a:pt x="4388038" y="694486"/>
                </a:cubicBezTo>
                <a:cubicBezTo>
                  <a:pt x="4389502" y="693955"/>
                  <a:pt x="4390834" y="693156"/>
                  <a:pt x="4391765" y="692091"/>
                </a:cubicBezTo>
                <a:cubicBezTo>
                  <a:pt x="4392830" y="691025"/>
                  <a:pt x="4393762" y="689694"/>
                  <a:pt x="4394428" y="687964"/>
                </a:cubicBezTo>
                <a:cubicBezTo>
                  <a:pt x="4395093" y="686366"/>
                  <a:pt x="4395493" y="684503"/>
                  <a:pt x="4395493" y="682506"/>
                </a:cubicBezTo>
                <a:cubicBezTo>
                  <a:pt x="4395493" y="680642"/>
                  <a:pt x="4395093" y="678912"/>
                  <a:pt x="4394428" y="677314"/>
                </a:cubicBezTo>
                <a:cubicBezTo>
                  <a:pt x="4393762" y="675584"/>
                  <a:pt x="4392830" y="674253"/>
                  <a:pt x="4391765" y="673055"/>
                </a:cubicBezTo>
                <a:cubicBezTo>
                  <a:pt x="4390700" y="671990"/>
                  <a:pt x="4389369" y="671058"/>
                  <a:pt x="4387772" y="670392"/>
                </a:cubicBezTo>
                <a:cubicBezTo>
                  <a:pt x="4386308" y="669727"/>
                  <a:pt x="4384710" y="669327"/>
                  <a:pt x="4382713" y="669327"/>
                </a:cubicBezTo>
                <a:close/>
                <a:moveTo>
                  <a:pt x="4817870" y="669327"/>
                </a:moveTo>
                <a:cubicBezTo>
                  <a:pt x="4812013" y="669327"/>
                  <a:pt x="4809484" y="671324"/>
                  <a:pt x="4807887" y="672921"/>
                </a:cubicBezTo>
                <a:cubicBezTo>
                  <a:pt x="4805357" y="675584"/>
                  <a:pt x="4804293" y="678379"/>
                  <a:pt x="4804293" y="682373"/>
                </a:cubicBezTo>
                <a:cubicBezTo>
                  <a:pt x="4804293" y="686633"/>
                  <a:pt x="4805357" y="689428"/>
                  <a:pt x="4807887" y="691957"/>
                </a:cubicBezTo>
                <a:cubicBezTo>
                  <a:pt x="4809484" y="693555"/>
                  <a:pt x="4812013" y="695418"/>
                  <a:pt x="4817870" y="695418"/>
                </a:cubicBezTo>
                <a:cubicBezTo>
                  <a:pt x="4820000" y="695418"/>
                  <a:pt x="4821731" y="695152"/>
                  <a:pt x="4823195" y="694486"/>
                </a:cubicBezTo>
                <a:cubicBezTo>
                  <a:pt x="4824659" y="693954"/>
                  <a:pt x="4825857" y="693155"/>
                  <a:pt x="4826922" y="692090"/>
                </a:cubicBezTo>
                <a:cubicBezTo>
                  <a:pt x="4827987" y="691025"/>
                  <a:pt x="4828919" y="689694"/>
                  <a:pt x="4829585" y="687964"/>
                </a:cubicBezTo>
                <a:cubicBezTo>
                  <a:pt x="4830383" y="686366"/>
                  <a:pt x="4830650" y="684503"/>
                  <a:pt x="4830650" y="682506"/>
                </a:cubicBezTo>
                <a:cubicBezTo>
                  <a:pt x="4830650" y="680642"/>
                  <a:pt x="4830250" y="678912"/>
                  <a:pt x="4829585" y="677314"/>
                </a:cubicBezTo>
                <a:cubicBezTo>
                  <a:pt x="4828919" y="675584"/>
                  <a:pt x="4827987" y="674253"/>
                  <a:pt x="4826922" y="673055"/>
                </a:cubicBezTo>
                <a:cubicBezTo>
                  <a:pt x="4825857" y="671990"/>
                  <a:pt x="4824526" y="671058"/>
                  <a:pt x="4822929" y="670392"/>
                </a:cubicBezTo>
                <a:cubicBezTo>
                  <a:pt x="4821465" y="669727"/>
                  <a:pt x="4819734" y="669327"/>
                  <a:pt x="4817870" y="669327"/>
                </a:cubicBezTo>
                <a:close/>
                <a:moveTo>
                  <a:pt x="5253160" y="669327"/>
                </a:moveTo>
                <a:cubicBezTo>
                  <a:pt x="5247303" y="669327"/>
                  <a:pt x="5244774" y="671324"/>
                  <a:pt x="5243177" y="672921"/>
                </a:cubicBezTo>
                <a:cubicBezTo>
                  <a:pt x="5240647" y="675584"/>
                  <a:pt x="5239583" y="678379"/>
                  <a:pt x="5239583" y="682373"/>
                </a:cubicBezTo>
                <a:cubicBezTo>
                  <a:pt x="5239583" y="686633"/>
                  <a:pt x="5240647" y="689428"/>
                  <a:pt x="5243177" y="691957"/>
                </a:cubicBezTo>
                <a:cubicBezTo>
                  <a:pt x="5244774" y="693555"/>
                  <a:pt x="5247303" y="695418"/>
                  <a:pt x="5253160" y="695418"/>
                </a:cubicBezTo>
                <a:cubicBezTo>
                  <a:pt x="5255157" y="695418"/>
                  <a:pt x="5257021" y="695152"/>
                  <a:pt x="5258485" y="694486"/>
                </a:cubicBezTo>
                <a:cubicBezTo>
                  <a:pt x="5259949" y="693954"/>
                  <a:pt x="5261280" y="693155"/>
                  <a:pt x="5262212" y="692090"/>
                </a:cubicBezTo>
                <a:cubicBezTo>
                  <a:pt x="5263277" y="691025"/>
                  <a:pt x="5264209" y="689694"/>
                  <a:pt x="5264875" y="687964"/>
                </a:cubicBezTo>
                <a:cubicBezTo>
                  <a:pt x="5265673" y="686366"/>
                  <a:pt x="5265939" y="684503"/>
                  <a:pt x="5265939" y="682506"/>
                </a:cubicBezTo>
                <a:cubicBezTo>
                  <a:pt x="5265939" y="680642"/>
                  <a:pt x="5265540" y="678912"/>
                  <a:pt x="5264875" y="677314"/>
                </a:cubicBezTo>
                <a:cubicBezTo>
                  <a:pt x="5264209" y="675584"/>
                  <a:pt x="5263277" y="674253"/>
                  <a:pt x="5262212" y="673055"/>
                </a:cubicBezTo>
                <a:cubicBezTo>
                  <a:pt x="5261147" y="671990"/>
                  <a:pt x="5259816" y="671058"/>
                  <a:pt x="5258219" y="670392"/>
                </a:cubicBezTo>
                <a:cubicBezTo>
                  <a:pt x="5256754" y="669727"/>
                  <a:pt x="5255024" y="669327"/>
                  <a:pt x="5253160" y="669327"/>
                </a:cubicBezTo>
                <a:close/>
                <a:moveTo>
                  <a:pt x="5035515" y="669327"/>
                </a:moveTo>
                <a:cubicBezTo>
                  <a:pt x="5029658" y="669327"/>
                  <a:pt x="5027129" y="671324"/>
                  <a:pt x="5025532" y="672921"/>
                </a:cubicBezTo>
                <a:cubicBezTo>
                  <a:pt x="5023002" y="675584"/>
                  <a:pt x="5021938" y="678379"/>
                  <a:pt x="5021938" y="682373"/>
                </a:cubicBezTo>
                <a:cubicBezTo>
                  <a:pt x="5021938" y="686633"/>
                  <a:pt x="5023002" y="689428"/>
                  <a:pt x="5025532" y="691957"/>
                </a:cubicBezTo>
                <a:cubicBezTo>
                  <a:pt x="5027129" y="693555"/>
                  <a:pt x="5029658" y="695418"/>
                  <a:pt x="5035515" y="695418"/>
                </a:cubicBezTo>
                <a:cubicBezTo>
                  <a:pt x="5037645" y="695418"/>
                  <a:pt x="5039376" y="695152"/>
                  <a:pt x="5040840" y="694486"/>
                </a:cubicBezTo>
                <a:cubicBezTo>
                  <a:pt x="5042304" y="693954"/>
                  <a:pt x="5043636" y="693155"/>
                  <a:pt x="5044567" y="692090"/>
                </a:cubicBezTo>
                <a:cubicBezTo>
                  <a:pt x="5045632" y="691025"/>
                  <a:pt x="5046564" y="689694"/>
                  <a:pt x="5047230" y="687964"/>
                </a:cubicBezTo>
                <a:cubicBezTo>
                  <a:pt x="5048028" y="686366"/>
                  <a:pt x="5048294" y="684503"/>
                  <a:pt x="5048294" y="682506"/>
                </a:cubicBezTo>
                <a:cubicBezTo>
                  <a:pt x="5048294" y="680642"/>
                  <a:pt x="5047895" y="678912"/>
                  <a:pt x="5047230" y="677314"/>
                </a:cubicBezTo>
                <a:cubicBezTo>
                  <a:pt x="5046564" y="675584"/>
                  <a:pt x="5045632" y="674253"/>
                  <a:pt x="5044567" y="673055"/>
                </a:cubicBezTo>
                <a:cubicBezTo>
                  <a:pt x="5043502" y="671990"/>
                  <a:pt x="5042171" y="671058"/>
                  <a:pt x="5040574" y="670392"/>
                </a:cubicBezTo>
                <a:cubicBezTo>
                  <a:pt x="5039110" y="669727"/>
                  <a:pt x="5037379" y="669327"/>
                  <a:pt x="5035515" y="669327"/>
                </a:cubicBezTo>
                <a:close/>
                <a:moveTo>
                  <a:pt x="5470806" y="669327"/>
                </a:moveTo>
                <a:cubicBezTo>
                  <a:pt x="5464949" y="669327"/>
                  <a:pt x="5462419" y="671324"/>
                  <a:pt x="5460822" y="672921"/>
                </a:cubicBezTo>
                <a:cubicBezTo>
                  <a:pt x="5458293" y="675584"/>
                  <a:pt x="5457228" y="678379"/>
                  <a:pt x="5457228" y="682373"/>
                </a:cubicBezTo>
                <a:cubicBezTo>
                  <a:pt x="5457228" y="686633"/>
                  <a:pt x="5458293" y="689428"/>
                  <a:pt x="5460822" y="691957"/>
                </a:cubicBezTo>
                <a:cubicBezTo>
                  <a:pt x="5462419" y="693555"/>
                  <a:pt x="5464949" y="695418"/>
                  <a:pt x="5470806" y="695418"/>
                </a:cubicBezTo>
                <a:cubicBezTo>
                  <a:pt x="5472802" y="695418"/>
                  <a:pt x="5474666" y="695152"/>
                  <a:pt x="5476130" y="694486"/>
                </a:cubicBezTo>
                <a:cubicBezTo>
                  <a:pt x="5477594" y="693954"/>
                  <a:pt x="5478926" y="693155"/>
                  <a:pt x="5479857" y="692090"/>
                </a:cubicBezTo>
                <a:cubicBezTo>
                  <a:pt x="5480922" y="691025"/>
                  <a:pt x="5481854" y="689694"/>
                  <a:pt x="5482520" y="687964"/>
                </a:cubicBezTo>
                <a:cubicBezTo>
                  <a:pt x="5483319" y="686366"/>
                  <a:pt x="5483585" y="684503"/>
                  <a:pt x="5483585" y="682506"/>
                </a:cubicBezTo>
                <a:cubicBezTo>
                  <a:pt x="5483585" y="680642"/>
                  <a:pt x="5483185" y="678912"/>
                  <a:pt x="5482520" y="677314"/>
                </a:cubicBezTo>
                <a:cubicBezTo>
                  <a:pt x="5481854" y="675584"/>
                  <a:pt x="5480922" y="674253"/>
                  <a:pt x="5479857" y="673055"/>
                </a:cubicBezTo>
                <a:cubicBezTo>
                  <a:pt x="5478793" y="671990"/>
                  <a:pt x="5477461" y="671058"/>
                  <a:pt x="5475864" y="670392"/>
                </a:cubicBezTo>
                <a:cubicBezTo>
                  <a:pt x="5474400" y="669727"/>
                  <a:pt x="5472669" y="669327"/>
                  <a:pt x="5470806" y="669327"/>
                </a:cubicBezTo>
                <a:close/>
                <a:moveTo>
                  <a:pt x="6123608" y="669326"/>
                </a:moveTo>
                <a:cubicBezTo>
                  <a:pt x="6117751" y="669326"/>
                  <a:pt x="6115221" y="671323"/>
                  <a:pt x="6113624" y="672920"/>
                </a:cubicBezTo>
                <a:cubicBezTo>
                  <a:pt x="6111095" y="675583"/>
                  <a:pt x="6110030" y="678379"/>
                  <a:pt x="6110030" y="682372"/>
                </a:cubicBezTo>
                <a:cubicBezTo>
                  <a:pt x="6110030" y="686633"/>
                  <a:pt x="6111095" y="689428"/>
                  <a:pt x="6113624" y="691957"/>
                </a:cubicBezTo>
                <a:cubicBezTo>
                  <a:pt x="6115221" y="693555"/>
                  <a:pt x="6117751" y="695418"/>
                  <a:pt x="6123608" y="695418"/>
                </a:cubicBezTo>
                <a:cubicBezTo>
                  <a:pt x="6125737" y="695418"/>
                  <a:pt x="6127468" y="695152"/>
                  <a:pt x="6128932" y="694486"/>
                </a:cubicBezTo>
                <a:cubicBezTo>
                  <a:pt x="6130530" y="693954"/>
                  <a:pt x="6131728" y="693155"/>
                  <a:pt x="6132659" y="692090"/>
                </a:cubicBezTo>
                <a:cubicBezTo>
                  <a:pt x="6133724" y="691025"/>
                  <a:pt x="6134656" y="689694"/>
                  <a:pt x="6135322" y="687964"/>
                </a:cubicBezTo>
                <a:cubicBezTo>
                  <a:pt x="6135987" y="686365"/>
                  <a:pt x="6136387" y="684503"/>
                  <a:pt x="6136387" y="682506"/>
                </a:cubicBezTo>
                <a:cubicBezTo>
                  <a:pt x="6136387" y="680642"/>
                  <a:pt x="6135987" y="678912"/>
                  <a:pt x="6135322" y="677313"/>
                </a:cubicBezTo>
                <a:cubicBezTo>
                  <a:pt x="6134656" y="675583"/>
                  <a:pt x="6133724" y="674252"/>
                  <a:pt x="6132659" y="673054"/>
                </a:cubicBezTo>
                <a:cubicBezTo>
                  <a:pt x="6131594" y="671989"/>
                  <a:pt x="6130263" y="671057"/>
                  <a:pt x="6128666" y="670391"/>
                </a:cubicBezTo>
                <a:cubicBezTo>
                  <a:pt x="6127202" y="669726"/>
                  <a:pt x="6125604" y="669326"/>
                  <a:pt x="6123608" y="669326"/>
                </a:cubicBezTo>
                <a:close/>
                <a:moveTo>
                  <a:pt x="5905963" y="669326"/>
                </a:moveTo>
                <a:cubicBezTo>
                  <a:pt x="5900106" y="669326"/>
                  <a:pt x="5897576" y="671324"/>
                  <a:pt x="5895979" y="672920"/>
                </a:cubicBezTo>
                <a:cubicBezTo>
                  <a:pt x="5893450" y="675584"/>
                  <a:pt x="5892385" y="678379"/>
                  <a:pt x="5892385" y="682373"/>
                </a:cubicBezTo>
                <a:cubicBezTo>
                  <a:pt x="5892385" y="686633"/>
                  <a:pt x="5893450" y="689428"/>
                  <a:pt x="5895979" y="691957"/>
                </a:cubicBezTo>
                <a:cubicBezTo>
                  <a:pt x="5897576" y="693555"/>
                  <a:pt x="5900106" y="695418"/>
                  <a:pt x="5905963" y="695418"/>
                </a:cubicBezTo>
                <a:cubicBezTo>
                  <a:pt x="5908093" y="695418"/>
                  <a:pt x="5909823" y="695152"/>
                  <a:pt x="5911287" y="694486"/>
                </a:cubicBezTo>
                <a:cubicBezTo>
                  <a:pt x="5912751" y="693954"/>
                  <a:pt x="5914083" y="693155"/>
                  <a:pt x="5915014" y="692090"/>
                </a:cubicBezTo>
                <a:cubicBezTo>
                  <a:pt x="5916079" y="691025"/>
                  <a:pt x="5917011" y="689694"/>
                  <a:pt x="5917677" y="687964"/>
                </a:cubicBezTo>
                <a:cubicBezTo>
                  <a:pt x="5918342" y="686366"/>
                  <a:pt x="5918742" y="684503"/>
                  <a:pt x="5918742" y="682506"/>
                </a:cubicBezTo>
                <a:cubicBezTo>
                  <a:pt x="5918742" y="680642"/>
                  <a:pt x="5918342" y="678912"/>
                  <a:pt x="5917677" y="677313"/>
                </a:cubicBezTo>
                <a:cubicBezTo>
                  <a:pt x="5917011" y="675584"/>
                  <a:pt x="5916079" y="674252"/>
                  <a:pt x="5915014" y="673054"/>
                </a:cubicBezTo>
                <a:cubicBezTo>
                  <a:pt x="5913950" y="671989"/>
                  <a:pt x="5912618" y="671057"/>
                  <a:pt x="5911021" y="670391"/>
                </a:cubicBezTo>
                <a:cubicBezTo>
                  <a:pt x="5909557" y="669726"/>
                  <a:pt x="5907826" y="669326"/>
                  <a:pt x="5905963" y="669326"/>
                </a:cubicBezTo>
                <a:close/>
                <a:moveTo>
                  <a:pt x="5688451" y="669326"/>
                </a:moveTo>
                <a:cubicBezTo>
                  <a:pt x="5682594" y="669326"/>
                  <a:pt x="5680064" y="671324"/>
                  <a:pt x="5678467" y="672920"/>
                </a:cubicBezTo>
                <a:cubicBezTo>
                  <a:pt x="5675938" y="675584"/>
                  <a:pt x="5674873" y="678379"/>
                  <a:pt x="5674873" y="682373"/>
                </a:cubicBezTo>
                <a:cubicBezTo>
                  <a:pt x="5674873" y="686633"/>
                  <a:pt x="5675938" y="689428"/>
                  <a:pt x="5678467" y="691957"/>
                </a:cubicBezTo>
                <a:cubicBezTo>
                  <a:pt x="5680064" y="693555"/>
                  <a:pt x="5682594" y="695418"/>
                  <a:pt x="5688451" y="695418"/>
                </a:cubicBezTo>
                <a:cubicBezTo>
                  <a:pt x="5690447" y="695418"/>
                  <a:pt x="5692178" y="695152"/>
                  <a:pt x="5693775" y="694486"/>
                </a:cubicBezTo>
                <a:cubicBezTo>
                  <a:pt x="5695239" y="693954"/>
                  <a:pt x="5696571" y="693155"/>
                  <a:pt x="5697502" y="692090"/>
                </a:cubicBezTo>
                <a:cubicBezTo>
                  <a:pt x="5698567" y="691025"/>
                  <a:pt x="5699499" y="689694"/>
                  <a:pt x="5700165" y="687964"/>
                </a:cubicBezTo>
                <a:cubicBezTo>
                  <a:pt x="5700830" y="686366"/>
                  <a:pt x="5701230" y="684503"/>
                  <a:pt x="5701230" y="682506"/>
                </a:cubicBezTo>
                <a:cubicBezTo>
                  <a:pt x="5701230" y="680642"/>
                  <a:pt x="5700830" y="678912"/>
                  <a:pt x="5700165" y="677314"/>
                </a:cubicBezTo>
                <a:cubicBezTo>
                  <a:pt x="5699499" y="675584"/>
                  <a:pt x="5698567" y="674253"/>
                  <a:pt x="5697502" y="673055"/>
                </a:cubicBezTo>
                <a:cubicBezTo>
                  <a:pt x="5696437" y="671990"/>
                  <a:pt x="5695106" y="671057"/>
                  <a:pt x="5693509" y="670392"/>
                </a:cubicBezTo>
                <a:cubicBezTo>
                  <a:pt x="5692045" y="669727"/>
                  <a:pt x="5690314" y="669326"/>
                  <a:pt x="5688451" y="669326"/>
                </a:cubicBezTo>
                <a:close/>
                <a:moveTo>
                  <a:pt x="6341253" y="669326"/>
                </a:moveTo>
                <a:cubicBezTo>
                  <a:pt x="6335396" y="669326"/>
                  <a:pt x="6332867" y="671323"/>
                  <a:pt x="6331270" y="672920"/>
                </a:cubicBezTo>
                <a:cubicBezTo>
                  <a:pt x="6328740" y="675583"/>
                  <a:pt x="6327675" y="678378"/>
                  <a:pt x="6327675" y="682372"/>
                </a:cubicBezTo>
                <a:cubicBezTo>
                  <a:pt x="6327675" y="686633"/>
                  <a:pt x="6328740" y="689428"/>
                  <a:pt x="6331270" y="691957"/>
                </a:cubicBezTo>
                <a:cubicBezTo>
                  <a:pt x="6332867" y="693555"/>
                  <a:pt x="6335396" y="695418"/>
                  <a:pt x="6341253" y="695418"/>
                </a:cubicBezTo>
                <a:cubicBezTo>
                  <a:pt x="6343250" y="695418"/>
                  <a:pt x="6345114" y="695152"/>
                  <a:pt x="6346578" y="694486"/>
                </a:cubicBezTo>
                <a:cubicBezTo>
                  <a:pt x="6348042" y="693954"/>
                  <a:pt x="6349373" y="693155"/>
                  <a:pt x="6350305" y="692090"/>
                </a:cubicBezTo>
                <a:cubicBezTo>
                  <a:pt x="6351370" y="691025"/>
                  <a:pt x="6352302" y="689693"/>
                  <a:pt x="6352968" y="687963"/>
                </a:cubicBezTo>
                <a:cubicBezTo>
                  <a:pt x="6353766" y="686365"/>
                  <a:pt x="6354033" y="684502"/>
                  <a:pt x="6354033" y="682505"/>
                </a:cubicBezTo>
                <a:cubicBezTo>
                  <a:pt x="6354033" y="680641"/>
                  <a:pt x="6353633" y="678911"/>
                  <a:pt x="6352968" y="677313"/>
                </a:cubicBezTo>
                <a:cubicBezTo>
                  <a:pt x="6352302" y="675583"/>
                  <a:pt x="6351370" y="674252"/>
                  <a:pt x="6350305" y="673054"/>
                </a:cubicBezTo>
                <a:cubicBezTo>
                  <a:pt x="6349241" y="671989"/>
                  <a:pt x="6347909" y="671057"/>
                  <a:pt x="6346312" y="670391"/>
                </a:cubicBezTo>
                <a:cubicBezTo>
                  <a:pt x="6344848" y="669726"/>
                  <a:pt x="6343250" y="669326"/>
                  <a:pt x="6341253" y="669326"/>
                </a:cubicBezTo>
                <a:close/>
                <a:moveTo>
                  <a:pt x="6776544" y="669326"/>
                </a:moveTo>
                <a:cubicBezTo>
                  <a:pt x="6770687" y="669326"/>
                  <a:pt x="6768157" y="671323"/>
                  <a:pt x="6766560" y="672920"/>
                </a:cubicBezTo>
                <a:cubicBezTo>
                  <a:pt x="6764031" y="675583"/>
                  <a:pt x="6762966" y="678378"/>
                  <a:pt x="6762966" y="682372"/>
                </a:cubicBezTo>
                <a:cubicBezTo>
                  <a:pt x="6762966" y="686632"/>
                  <a:pt x="6764031" y="689427"/>
                  <a:pt x="6766560" y="691956"/>
                </a:cubicBezTo>
                <a:cubicBezTo>
                  <a:pt x="6768157" y="693554"/>
                  <a:pt x="6770687" y="695417"/>
                  <a:pt x="6776544" y="695417"/>
                </a:cubicBezTo>
                <a:cubicBezTo>
                  <a:pt x="6778541" y="695417"/>
                  <a:pt x="6780270" y="695151"/>
                  <a:pt x="6781869" y="694485"/>
                </a:cubicBezTo>
                <a:cubicBezTo>
                  <a:pt x="6783333" y="693953"/>
                  <a:pt x="6784664" y="693154"/>
                  <a:pt x="6785595" y="692090"/>
                </a:cubicBezTo>
                <a:cubicBezTo>
                  <a:pt x="6786661" y="691024"/>
                  <a:pt x="6787593" y="689693"/>
                  <a:pt x="6788258" y="687963"/>
                </a:cubicBezTo>
                <a:cubicBezTo>
                  <a:pt x="6789057" y="686365"/>
                  <a:pt x="6789323" y="684502"/>
                  <a:pt x="6789323" y="682505"/>
                </a:cubicBezTo>
                <a:cubicBezTo>
                  <a:pt x="6789323" y="680641"/>
                  <a:pt x="6788923" y="678911"/>
                  <a:pt x="6788258" y="677313"/>
                </a:cubicBezTo>
                <a:cubicBezTo>
                  <a:pt x="6787593" y="675583"/>
                  <a:pt x="6786661" y="674252"/>
                  <a:pt x="6785595" y="673054"/>
                </a:cubicBezTo>
                <a:cubicBezTo>
                  <a:pt x="6784530" y="671989"/>
                  <a:pt x="6783199" y="671057"/>
                  <a:pt x="6781602" y="670391"/>
                </a:cubicBezTo>
                <a:cubicBezTo>
                  <a:pt x="6780138" y="669726"/>
                  <a:pt x="6778541" y="669326"/>
                  <a:pt x="6776544" y="669326"/>
                </a:cubicBezTo>
                <a:close/>
                <a:moveTo>
                  <a:pt x="6558899" y="669326"/>
                </a:moveTo>
                <a:cubicBezTo>
                  <a:pt x="6553042" y="669326"/>
                  <a:pt x="6550512" y="671323"/>
                  <a:pt x="6548915" y="672920"/>
                </a:cubicBezTo>
                <a:cubicBezTo>
                  <a:pt x="6546386" y="675583"/>
                  <a:pt x="6545321" y="678378"/>
                  <a:pt x="6545321" y="682372"/>
                </a:cubicBezTo>
                <a:cubicBezTo>
                  <a:pt x="6545321" y="686632"/>
                  <a:pt x="6546386" y="689427"/>
                  <a:pt x="6548915" y="691956"/>
                </a:cubicBezTo>
                <a:cubicBezTo>
                  <a:pt x="6550512" y="693555"/>
                  <a:pt x="6553042" y="695418"/>
                  <a:pt x="6558899" y="695418"/>
                </a:cubicBezTo>
                <a:cubicBezTo>
                  <a:pt x="6560895" y="695418"/>
                  <a:pt x="6562759" y="695151"/>
                  <a:pt x="6564223" y="694486"/>
                </a:cubicBezTo>
                <a:cubicBezTo>
                  <a:pt x="6565687" y="693953"/>
                  <a:pt x="6567019" y="693155"/>
                  <a:pt x="6567950" y="692090"/>
                </a:cubicBezTo>
                <a:cubicBezTo>
                  <a:pt x="6569015" y="691025"/>
                  <a:pt x="6569947" y="689693"/>
                  <a:pt x="6570612" y="687963"/>
                </a:cubicBezTo>
                <a:cubicBezTo>
                  <a:pt x="6571412" y="686365"/>
                  <a:pt x="6571677" y="684502"/>
                  <a:pt x="6571677" y="682505"/>
                </a:cubicBezTo>
                <a:cubicBezTo>
                  <a:pt x="6571677" y="680641"/>
                  <a:pt x="6571278" y="678911"/>
                  <a:pt x="6570612" y="677313"/>
                </a:cubicBezTo>
                <a:cubicBezTo>
                  <a:pt x="6569947" y="675583"/>
                  <a:pt x="6569015" y="674252"/>
                  <a:pt x="6567950" y="673054"/>
                </a:cubicBezTo>
                <a:cubicBezTo>
                  <a:pt x="6566885" y="671989"/>
                  <a:pt x="6565554" y="671057"/>
                  <a:pt x="6563956" y="670391"/>
                </a:cubicBezTo>
                <a:cubicBezTo>
                  <a:pt x="6562492" y="669726"/>
                  <a:pt x="6560895" y="669326"/>
                  <a:pt x="6558899" y="669326"/>
                </a:cubicBezTo>
                <a:close/>
                <a:moveTo>
                  <a:pt x="6994056" y="669326"/>
                </a:moveTo>
                <a:cubicBezTo>
                  <a:pt x="6988199" y="669326"/>
                  <a:pt x="6985669" y="671323"/>
                  <a:pt x="6984072" y="672920"/>
                </a:cubicBezTo>
                <a:cubicBezTo>
                  <a:pt x="6981543" y="675583"/>
                  <a:pt x="6980478" y="678378"/>
                  <a:pt x="6980478" y="682372"/>
                </a:cubicBezTo>
                <a:cubicBezTo>
                  <a:pt x="6980478" y="686632"/>
                  <a:pt x="6981543" y="689427"/>
                  <a:pt x="6984072" y="691956"/>
                </a:cubicBezTo>
                <a:cubicBezTo>
                  <a:pt x="6985669" y="693554"/>
                  <a:pt x="6988199" y="695417"/>
                  <a:pt x="6994056" y="695417"/>
                </a:cubicBezTo>
                <a:cubicBezTo>
                  <a:pt x="6996185" y="695417"/>
                  <a:pt x="6997916" y="695151"/>
                  <a:pt x="6999380" y="694485"/>
                </a:cubicBezTo>
                <a:cubicBezTo>
                  <a:pt x="7000844" y="693953"/>
                  <a:pt x="7002176" y="693154"/>
                  <a:pt x="7003107" y="692089"/>
                </a:cubicBezTo>
                <a:cubicBezTo>
                  <a:pt x="7004172" y="691024"/>
                  <a:pt x="7005104" y="689693"/>
                  <a:pt x="7005769" y="687963"/>
                </a:cubicBezTo>
                <a:cubicBezTo>
                  <a:pt x="7006568" y="686365"/>
                  <a:pt x="7006834" y="684502"/>
                  <a:pt x="7006834" y="682505"/>
                </a:cubicBezTo>
                <a:cubicBezTo>
                  <a:pt x="7006834" y="680641"/>
                  <a:pt x="7006435" y="678911"/>
                  <a:pt x="7005769" y="677313"/>
                </a:cubicBezTo>
                <a:cubicBezTo>
                  <a:pt x="7005104" y="675583"/>
                  <a:pt x="7004172" y="674252"/>
                  <a:pt x="7003107" y="673054"/>
                </a:cubicBezTo>
                <a:cubicBezTo>
                  <a:pt x="7002042" y="671989"/>
                  <a:pt x="7000711" y="671057"/>
                  <a:pt x="6999113" y="670391"/>
                </a:cubicBezTo>
                <a:cubicBezTo>
                  <a:pt x="6997649" y="669726"/>
                  <a:pt x="6996052" y="669326"/>
                  <a:pt x="6994056" y="669326"/>
                </a:cubicBezTo>
                <a:close/>
                <a:moveTo>
                  <a:pt x="7429345" y="669326"/>
                </a:moveTo>
                <a:cubicBezTo>
                  <a:pt x="7423488" y="669326"/>
                  <a:pt x="7420958" y="671323"/>
                  <a:pt x="7419361" y="672920"/>
                </a:cubicBezTo>
                <a:cubicBezTo>
                  <a:pt x="7416832" y="675583"/>
                  <a:pt x="7415768" y="678378"/>
                  <a:pt x="7415768" y="682372"/>
                </a:cubicBezTo>
                <a:cubicBezTo>
                  <a:pt x="7415768" y="686632"/>
                  <a:pt x="7416832" y="689427"/>
                  <a:pt x="7419361" y="691956"/>
                </a:cubicBezTo>
                <a:cubicBezTo>
                  <a:pt x="7420958" y="693554"/>
                  <a:pt x="7423488" y="695417"/>
                  <a:pt x="7429345" y="695417"/>
                </a:cubicBezTo>
                <a:cubicBezTo>
                  <a:pt x="7431342" y="695417"/>
                  <a:pt x="7433206" y="695151"/>
                  <a:pt x="7434670" y="694485"/>
                </a:cubicBezTo>
                <a:cubicBezTo>
                  <a:pt x="7436134" y="693953"/>
                  <a:pt x="7437466" y="693154"/>
                  <a:pt x="7438397" y="692089"/>
                </a:cubicBezTo>
                <a:cubicBezTo>
                  <a:pt x="7439462" y="691024"/>
                  <a:pt x="7440394" y="689693"/>
                  <a:pt x="7441059" y="687963"/>
                </a:cubicBezTo>
                <a:cubicBezTo>
                  <a:pt x="7441858" y="686365"/>
                  <a:pt x="7442124" y="684502"/>
                  <a:pt x="7442124" y="682505"/>
                </a:cubicBezTo>
                <a:cubicBezTo>
                  <a:pt x="7442124" y="680641"/>
                  <a:pt x="7441725" y="678911"/>
                  <a:pt x="7441059" y="677313"/>
                </a:cubicBezTo>
                <a:cubicBezTo>
                  <a:pt x="7440394" y="675583"/>
                  <a:pt x="7439462" y="674252"/>
                  <a:pt x="7438397" y="673054"/>
                </a:cubicBezTo>
                <a:cubicBezTo>
                  <a:pt x="7437332" y="671989"/>
                  <a:pt x="7436001" y="671057"/>
                  <a:pt x="7434403" y="670391"/>
                </a:cubicBezTo>
                <a:cubicBezTo>
                  <a:pt x="7432939" y="669726"/>
                  <a:pt x="7431342" y="669326"/>
                  <a:pt x="7429345" y="669326"/>
                </a:cubicBezTo>
                <a:close/>
                <a:moveTo>
                  <a:pt x="7211701" y="669326"/>
                </a:moveTo>
                <a:cubicBezTo>
                  <a:pt x="7205844" y="669326"/>
                  <a:pt x="7203314" y="671323"/>
                  <a:pt x="7201717" y="672920"/>
                </a:cubicBezTo>
                <a:cubicBezTo>
                  <a:pt x="7199188" y="675583"/>
                  <a:pt x="7198123" y="678378"/>
                  <a:pt x="7198123" y="682372"/>
                </a:cubicBezTo>
                <a:cubicBezTo>
                  <a:pt x="7198123" y="686632"/>
                  <a:pt x="7199188" y="689427"/>
                  <a:pt x="7201717" y="691956"/>
                </a:cubicBezTo>
                <a:cubicBezTo>
                  <a:pt x="7203314" y="693554"/>
                  <a:pt x="7205844" y="695417"/>
                  <a:pt x="7211701" y="695417"/>
                </a:cubicBezTo>
                <a:cubicBezTo>
                  <a:pt x="7213830" y="695417"/>
                  <a:pt x="7215561" y="695151"/>
                  <a:pt x="7217026" y="694485"/>
                </a:cubicBezTo>
                <a:cubicBezTo>
                  <a:pt x="7218490" y="693953"/>
                  <a:pt x="7219821" y="693154"/>
                  <a:pt x="7220752" y="692089"/>
                </a:cubicBezTo>
                <a:cubicBezTo>
                  <a:pt x="7221818" y="691024"/>
                  <a:pt x="7222750" y="689693"/>
                  <a:pt x="7223415" y="687963"/>
                </a:cubicBezTo>
                <a:cubicBezTo>
                  <a:pt x="7224214" y="686365"/>
                  <a:pt x="7224480" y="684502"/>
                  <a:pt x="7224480" y="682505"/>
                </a:cubicBezTo>
                <a:cubicBezTo>
                  <a:pt x="7224480" y="680641"/>
                  <a:pt x="7224080" y="678911"/>
                  <a:pt x="7223415" y="677313"/>
                </a:cubicBezTo>
                <a:cubicBezTo>
                  <a:pt x="7222750" y="675583"/>
                  <a:pt x="7221818" y="674252"/>
                  <a:pt x="7220752" y="673054"/>
                </a:cubicBezTo>
                <a:cubicBezTo>
                  <a:pt x="7219687" y="671989"/>
                  <a:pt x="7218356" y="671057"/>
                  <a:pt x="7216759" y="670391"/>
                </a:cubicBezTo>
                <a:cubicBezTo>
                  <a:pt x="7215295" y="669726"/>
                  <a:pt x="7213698" y="669326"/>
                  <a:pt x="7211701" y="669326"/>
                </a:cubicBezTo>
                <a:close/>
                <a:moveTo>
                  <a:pt x="7864636" y="669325"/>
                </a:moveTo>
                <a:cubicBezTo>
                  <a:pt x="7858779" y="669325"/>
                  <a:pt x="7856249" y="671323"/>
                  <a:pt x="7854652" y="672919"/>
                </a:cubicBezTo>
                <a:cubicBezTo>
                  <a:pt x="7852123" y="675583"/>
                  <a:pt x="7851058" y="678378"/>
                  <a:pt x="7851058" y="682372"/>
                </a:cubicBezTo>
                <a:cubicBezTo>
                  <a:pt x="7851058" y="686632"/>
                  <a:pt x="7852123" y="689427"/>
                  <a:pt x="7854652" y="691956"/>
                </a:cubicBezTo>
                <a:cubicBezTo>
                  <a:pt x="7856249" y="693554"/>
                  <a:pt x="7858779" y="695417"/>
                  <a:pt x="7864636" y="695417"/>
                </a:cubicBezTo>
                <a:cubicBezTo>
                  <a:pt x="7866633" y="695417"/>
                  <a:pt x="7868363" y="695151"/>
                  <a:pt x="7869961" y="694485"/>
                </a:cubicBezTo>
                <a:cubicBezTo>
                  <a:pt x="7871425" y="693953"/>
                  <a:pt x="7872756" y="693154"/>
                  <a:pt x="7873687" y="692089"/>
                </a:cubicBezTo>
                <a:cubicBezTo>
                  <a:pt x="7874753" y="691024"/>
                  <a:pt x="7875685" y="689693"/>
                  <a:pt x="7876350" y="687963"/>
                </a:cubicBezTo>
                <a:cubicBezTo>
                  <a:pt x="7877015" y="686365"/>
                  <a:pt x="7877282" y="684502"/>
                  <a:pt x="7877282" y="682505"/>
                </a:cubicBezTo>
                <a:cubicBezTo>
                  <a:pt x="7877282" y="680641"/>
                  <a:pt x="7877015" y="678911"/>
                  <a:pt x="7876350" y="677313"/>
                </a:cubicBezTo>
                <a:cubicBezTo>
                  <a:pt x="7875685" y="675583"/>
                  <a:pt x="7874753" y="674252"/>
                  <a:pt x="7873687" y="673054"/>
                </a:cubicBezTo>
                <a:cubicBezTo>
                  <a:pt x="7872623" y="671988"/>
                  <a:pt x="7871291" y="671056"/>
                  <a:pt x="7869694" y="670390"/>
                </a:cubicBezTo>
                <a:cubicBezTo>
                  <a:pt x="7868230" y="669726"/>
                  <a:pt x="7866633" y="669325"/>
                  <a:pt x="7864636" y="669325"/>
                </a:cubicBezTo>
                <a:close/>
                <a:moveTo>
                  <a:pt x="7646991" y="669325"/>
                </a:moveTo>
                <a:cubicBezTo>
                  <a:pt x="7641134" y="669325"/>
                  <a:pt x="7638604" y="671323"/>
                  <a:pt x="7637007" y="672920"/>
                </a:cubicBezTo>
                <a:cubicBezTo>
                  <a:pt x="7634478" y="675583"/>
                  <a:pt x="7633413" y="678378"/>
                  <a:pt x="7633413" y="682372"/>
                </a:cubicBezTo>
                <a:cubicBezTo>
                  <a:pt x="7633413" y="686632"/>
                  <a:pt x="7634478" y="689427"/>
                  <a:pt x="7637007" y="691956"/>
                </a:cubicBezTo>
                <a:cubicBezTo>
                  <a:pt x="7638604" y="693554"/>
                  <a:pt x="7641134" y="695417"/>
                  <a:pt x="7646991" y="695417"/>
                </a:cubicBezTo>
                <a:cubicBezTo>
                  <a:pt x="7648987" y="695417"/>
                  <a:pt x="7650851" y="695151"/>
                  <a:pt x="7652315" y="694485"/>
                </a:cubicBezTo>
                <a:cubicBezTo>
                  <a:pt x="7653780" y="693953"/>
                  <a:pt x="7655111" y="693154"/>
                  <a:pt x="7656042" y="692089"/>
                </a:cubicBezTo>
                <a:cubicBezTo>
                  <a:pt x="7657108" y="691024"/>
                  <a:pt x="7658039" y="689693"/>
                  <a:pt x="7658705" y="687963"/>
                </a:cubicBezTo>
                <a:cubicBezTo>
                  <a:pt x="7659504" y="686365"/>
                  <a:pt x="7659769" y="684502"/>
                  <a:pt x="7659769" y="682505"/>
                </a:cubicBezTo>
                <a:cubicBezTo>
                  <a:pt x="7659769" y="680641"/>
                  <a:pt x="7659370" y="678911"/>
                  <a:pt x="7658705" y="677313"/>
                </a:cubicBezTo>
                <a:cubicBezTo>
                  <a:pt x="7658039" y="675583"/>
                  <a:pt x="7657108" y="674252"/>
                  <a:pt x="7656042" y="673054"/>
                </a:cubicBezTo>
                <a:cubicBezTo>
                  <a:pt x="7654977" y="671989"/>
                  <a:pt x="7653646" y="671057"/>
                  <a:pt x="7652049" y="670391"/>
                </a:cubicBezTo>
                <a:cubicBezTo>
                  <a:pt x="7650584" y="669726"/>
                  <a:pt x="7648987" y="669325"/>
                  <a:pt x="7646991" y="669325"/>
                </a:cubicBezTo>
                <a:close/>
                <a:moveTo>
                  <a:pt x="8082281" y="669325"/>
                </a:moveTo>
                <a:cubicBezTo>
                  <a:pt x="8076424" y="669325"/>
                  <a:pt x="8073894" y="671323"/>
                  <a:pt x="8072297" y="672919"/>
                </a:cubicBezTo>
                <a:cubicBezTo>
                  <a:pt x="8069768" y="675582"/>
                  <a:pt x="8068703" y="678378"/>
                  <a:pt x="8068703" y="682372"/>
                </a:cubicBezTo>
                <a:cubicBezTo>
                  <a:pt x="8068703" y="686632"/>
                  <a:pt x="8069768" y="689427"/>
                  <a:pt x="8072297" y="691956"/>
                </a:cubicBezTo>
                <a:cubicBezTo>
                  <a:pt x="8073894" y="693554"/>
                  <a:pt x="8076424" y="695417"/>
                  <a:pt x="8082281" y="695417"/>
                </a:cubicBezTo>
                <a:cubicBezTo>
                  <a:pt x="8084277" y="695417"/>
                  <a:pt x="8086007" y="695151"/>
                  <a:pt x="8087605" y="694485"/>
                </a:cubicBezTo>
                <a:cubicBezTo>
                  <a:pt x="8089069" y="693953"/>
                  <a:pt x="8090401" y="693154"/>
                  <a:pt x="8091332" y="692089"/>
                </a:cubicBezTo>
                <a:cubicBezTo>
                  <a:pt x="8092397" y="691024"/>
                  <a:pt x="8093329" y="689693"/>
                  <a:pt x="8093994" y="687963"/>
                </a:cubicBezTo>
                <a:cubicBezTo>
                  <a:pt x="8094660" y="686365"/>
                  <a:pt x="8094926" y="684502"/>
                  <a:pt x="8094926" y="682505"/>
                </a:cubicBezTo>
                <a:cubicBezTo>
                  <a:pt x="8094926" y="680641"/>
                  <a:pt x="8094660" y="678911"/>
                  <a:pt x="8093994" y="677312"/>
                </a:cubicBezTo>
                <a:cubicBezTo>
                  <a:pt x="8093329" y="675582"/>
                  <a:pt x="8092397" y="674251"/>
                  <a:pt x="8091332" y="673053"/>
                </a:cubicBezTo>
                <a:cubicBezTo>
                  <a:pt x="8090267" y="671988"/>
                  <a:pt x="8088936" y="671056"/>
                  <a:pt x="8087338" y="670390"/>
                </a:cubicBezTo>
                <a:cubicBezTo>
                  <a:pt x="8085874" y="669725"/>
                  <a:pt x="8084277" y="669325"/>
                  <a:pt x="8082281" y="669325"/>
                </a:cubicBezTo>
                <a:close/>
                <a:moveTo>
                  <a:pt x="8299793" y="669325"/>
                </a:moveTo>
                <a:cubicBezTo>
                  <a:pt x="8294068" y="669325"/>
                  <a:pt x="8291406" y="671322"/>
                  <a:pt x="8289809" y="672919"/>
                </a:cubicBezTo>
                <a:cubicBezTo>
                  <a:pt x="8287280" y="675582"/>
                  <a:pt x="8286215" y="678377"/>
                  <a:pt x="8286215" y="682372"/>
                </a:cubicBezTo>
                <a:cubicBezTo>
                  <a:pt x="8286215" y="686632"/>
                  <a:pt x="8287280" y="689427"/>
                  <a:pt x="8289809" y="691956"/>
                </a:cubicBezTo>
                <a:cubicBezTo>
                  <a:pt x="8291406" y="693554"/>
                  <a:pt x="8293935" y="695417"/>
                  <a:pt x="8299793" y="695417"/>
                </a:cubicBezTo>
                <a:cubicBezTo>
                  <a:pt x="8301923" y="695417"/>
                  <a:pt x="8303653" y="695151"/>
                  <a:pt x="8305118" y="694485"/>
                </a:cubicBezTo>
                <a:cubicBezTo>
                  <a:pt x="8306582" y="693953"/>
                  <a:pt x="8307913" y="693154"/>
                  <a:pt x="8308844" y="692089"/>
                </a:cubicBezTo>
                <a:cubicBezTo>
                  <a:pt x="8309910" y="691024"/>
                  <a:pt x="8310842" y="689693"/>
                  <a:pt x="8311507" y="687963"/>
                </a:cubicBezTo>
                <a:cubicBezTo>
                  <a:pt x="8312172" y="686365"/>
                  <a:pt x="8312439" y="684502"/>
                  <a:pt x="8312439" y="682504"/>
                </a:cubicBezTo>
                <a:cubicBezTo>
                  <a:pt x="8312439" y="680640"/>
                  <a:pt x="8312172" y="678911"/>
                  <a:pt x="8311507" y="677312"/>
                </a:cubicBezTo>
                <a:cubicBezTo>
                  <a:pt x="8310842" y="675582"/>
                  <a:pt x="8309910" y="674251"/>
                  <a:pt x="8308844" y="673053"/>
                </a:cubicBezTo>
                <a:cubicBezTo>
                  <a:pt x="8307779" y="671988"/>
                  <a:pt x="8306448" y="671056"/>
                  <a:pt x="8304851" y="670390"/>
                </a:cubicBezTo>
                <a:cubicBezTo>
                  <a:pt x="8303387" y="669725"/>
                  <a:pt x="8301790" y="669325"/>
                  <a:pt x="8299793" y="669325"/>
                </a:cubicBezTo>
                <a:close/>
                <a:moveTo>
                  <a:pt x="8517438" y="669325"/>
                </a:moveTo>
                <a:cubicBezTo>
                  <a:pt x="8511713" y="669325"/>
                  <a:pt x="8509051" y="671322"/>
                  <a:pt x="8507453" y="672919"/>
                </a:cubicBezTo>
                <a:cubicBezTo>
                  <a:pt x="8504925" y="675582"/>
                  <a:pt x="8503860" y="678377"/>
                  <a:pt x="8503860" y="682372"/>
                </a:cubicBezTo>
                <a:cubicBezTo>
                  <a:pt x="8503860" y="686631"/>
                  <a:pt x="8504925" y="689427"/>
                  <a:pt x="8507453" y="691956"/>
                </a:cubicBezTo>
                <a:cubicBezTo>
                  <a:pt x="8509051" y="693554"/>
                  <a:pt x="8511581" y="695417"/>
                  <a:pt x="8517438" y="695417"/>
                </a:cubicBezTo>
                <a:cubicBezTo>
                  <a:pt x="8519568" y="695417"/>
                  <a:pt x="8521299" y="695151"/>
                  <a:pt x="8522763" y="694485"/>
                </a:cubicBezTo>
                <a:cubicBezTo>
                  <a:pt x="8524227" y="693953"/>
                  <a:pt x="8525559" y="693154"/>
                  <a:pt x="8526490" y="692089"/>
                </a:cubicBezTo>
                <a:cubicBezTo>
                  <a:pt x="8527555" y="691024"/>
                  <a:pt x="8528487" y="689693"/>
                  <a:pt x="8529152" y="687963"/>
                </a:cubicBezTo>
                <a:cubicBezTo>
                  <a:pt x="8529818" y="686364"/>
                  <a:pt x="8530084" y="684501"/>
                  <a:pt x="8530084" y="682504"/>
                </a:cubicBezTo>
                <a:cubicBezTo>
                  <a:pt x="8530084" y="680640"/>
                  <a:pt x="8529818" y="678910"/>
                  <a:pt x="8529152" y="677312"/>
                </a:cubicBezTo>
                <a:cubicBezTo>
                  <a:pt x="8528487" y="675582"/>
                  <a:pt x="8527555" y="674251"/>
                  <a:pt x="8526490" y="673053"/>
                </a:cubicBezTo>
                <a:cubicBezTo>
                  <a:pt x="8525425" y="671988"/>
                  <a:pt x="8524094" y="671056"/>
                  <a:pt x="8522496" y="670390"/>
                </a:cubicBezTo>
                <a:cubicBezTo>
                  <a:pt x="8521032" y="669725"/>
                  <a:pt x="8519302" y="669325"/>
                  <a:pt x="8517438" y="669325"/>
                </a:cubicBezTo>
                <a:close/>
                <a:moveTo>
                  <a:pt x="8735083" y="669325"/>
                </a:moveTo>
                <a:cubicBezTo>
                  <a:pt x="8729358" y="669325"/>
                  <a:pt x="8726695" y="671322"/>
                  <a:pt x="8725098" y="672919"/>
                </a:cubicBezTo>
                <a:cubicBezTo>
                  <a:pt x="8722569" y="675582"/>
                  <a:pt x="8721504" y="678377"/>
                  <a:pt x="8721504" y="682371"/>
                </a:cubicBezTo>
                <a:cubicBezTo>
                  <a:pt x="8721504" y="686631"/>
                  <a:pt x="8722569" y="689426"/>
                  <a:pt x="8725098" y="691955"/>
                </a:cubicBezTo>
                <a:cubicBezTo>
                  <a:pt x="8726695" y="693553"/>
                  <a:pt x="8729225" y="695416"/>
                  <a:pt x="8735083" y="695416"/>
                </a:cubicBezTo>
                <a:cubicBezTo>
                  <a:pt x="8737079" y="695416"/>
                  <a:pt x="8738943" y="695151"/>
                  <a:pt x="8740407" y="694484"/>
                </a:cubicBezTo>
                <a:cubicBezTo>
                  <a:pt x="8741872" y="693953"/>
                  <a:pt x="8743203" y="693153"/>
                  <a:pt x="8744134" y="692089"/>
                </a:cubicBezTo>
                <a:cubicBezTo>
                  <a:pt x="8745200" y="691024"/>
                  <a:pt x="8746132" y="689692"/>
                  <a:pt x="8746797" y="687962"/>
                </a:cubicBezTo>
                <a:cubicBezTo>
                  <a:pt x="8747596" y="686364"/>
                  <a:pt x="8747862" y="684501"/>
                  <a:pt x="8747862" y="682504"/>
                </a:cubicBezTo>
                <a:cubicBezTo>
                  <a:pt x="8747862" y="680640"/>
                  <a:pt x="8747462" y="678910"/>
                  <a:pt x="8746797" y="677312"/>
                </a:cubicBezTo>
                <a:cubicBezTo>
                  <a:pt x="8746132" y="675582"/>
                  <a:pt x="8745200" y="674251"/>
                  <a:pt x="8744134" y="673053"/>
                </a:cubicBezTo>
                <a:cubicBezTo>
                  <a:pt x="8743069" y="671988"/>
                  <a:pt x="8741738" y="671056"/>
                  <a:pt x="8740141" y="670390"/>
                </a:cubicBezTo>
                <a:cubicBezTo>
                  <a:pt x="8738677" y="669725"/>
                  <a:pt x="8736946" y="669325"/>
                  <a:pt x="8735083" y="669325"/>
                </a:cubicBezTo>
                <a:close/>
                <a:moveTo>
                  <a:pt x="8952728" y="669325"/>
                </a:moveTo>
                <a:cubicBezTo>
                  <a:pt x="8947003" y="669325"/>
                  <a:pt x="8944340" y="671322"/>
                  <a:pt x="8942743" y="672919"/>
                </a:cubicBezTo>
                <a:cubicBezTo>
                  <a:pt x="8940214" y="675582"/>
                  <a:pt x="8939150" y="678377"/>
                  <a:pt x="8939150" y="682371"/>
                </a:cubicBezTo>
                <a:cubicBezTo>
                  <a:pt x="8939150" y="686631"/>
                  <a:pt x="8940214" y="689426"/>
                  <a:pt x="8942743" y="691955"/>
                </a:cubicBezTo>
                <a:cubicBezTo>
                  <a:pt x="8944340" y="693553"/>
                  <a:pt x="8946870" y="695416"/>
                  <a:pt x="8952728" y="695416"/>
                </a:cubicBezTo>
                <a:cubicBezTo>
                  <a:pt x="8954725" y="695416"/>
                  <a:pt x="8956589" y="695150"/>
                  <a:pt x="8958053" y="694484"/>
                </a:cubicBezTo>
                <a:cubicBezTo>
                  <a:pt x="8959517" y="693952"/>
                  <a:pt x="8960849" y="693153"/>
                  <a:pt x="8961780" y="692089"/>
                </a:cubicBezTo>
                <a:cubicBezTo>
                  <a:pt x="8962845" y="691023"/>
                  <a:pt x="8963777" y="689692"/>
                  <a:pt x="8964442" y="687962"/>
                </a:cubicBezTo>
                <a:cubicBezTo>
                  <a:pt x="8965241" y="686364"/>
                  <a:pt x="8965507" y="684501"/>
                  <a:pt x="8965507" y="682504"/>
                </a:cubicBezTo>
                <a:cubicBezTo>
                  <a:pt x="8965507" y="680640"/>
                  <a:pt x="8965108" y="678910"/>
                  <a:pt x="8964442" y="677312"/>
                </a:cubicBezTo>
                <a:cubicBezTo>
                  <a:pt x="8963777" y="675582"/>
                  <a:pt x="8962845" y="674251"/>
                  <a:pt x="8961780" y="673053"/>
                </a:cubicBezTo>
                <a:cubicBezTo>
                  <a:pt x="8960715" y="671988"/>
                  <a:pt x="8959384" y="671056"/>
                  <a:pt x="8957786" y="670390"/>
                </a:cubicBezTo>
                <a:cubicBezTo>
                  <a:pt x="8956322" y="669725"/>
                  <a:pt x="8954592" y="669325"/>
                  <a:pt x="8952728" y="669325"/>
                </a:cubicBezTo>
                <a:close/>
                <a:moveTo>
                  <a:pt x="9170374" y="669325"/>
                </a:moveTo>
                <a:cubicBezTo>
                  <a:pt x="9164649" y="669325"/>
                  <a:pt x="9161986" y="671322"/>
                  <a:pt x="9160389" y="672919"/>
                </a:cubicBezTo>
                <a:cubicBezTo>
                  <a:pt x="9157860" y="675582"/>
                  <a:pt x="9156795" y="678377"/>
                  <a:pt x="9156795" y="682371"/>
                </a:cubicBezTo>
                <a:cubicBezTo>
                  <a:pt x="9156795" y="686631"/>
                  <a:pt x="9157860" y="689426"/>
                  <a:pt x="9160389" y="691955"/>
                </a:cubicBezTo>
                <a:cubicBezTo>
                  <a:pt x="9161986" y="693553"/>
                  <a:pt x="9164516" y="695416"/>
                  <a:pt x="9170374" y="695416"/>
                </a:cubicBezTo>
                <a:cubicBezTo>
                  <a:pt x="9172370" y="695416"/>
                  <a:pt x="9174100" y="695150"/>
                  <a:pt x="9175698" y="694484"/>
                </a:cubicBezTo>
                <a:cubicBezTo>
                  <a:pt x="9177163" y="693952"/>
                  <a:pt x="9178494" y="693153"/>
                  <a:pt x="9179425" y="692088"/>
                </a:cubicBezTo>
                <a:cubicBezTo>
                  <a:pt x="9180491" y="691023"/>
                  <a:pt x="9181422" y="689692"/>
                  <a:pt x="9182088" y="687962"/>
                </a:cubicBezTo>
                <a:cubicBezTo>
                  <a:pt x="9182887" y="686364"/>
                  <a:pt x="9183152" y="684501"/>
                  <a:pt x="9183152" y="682504"/>
                </a:cubicBezTo>
                <a:cubicBezTo>
                  <a:pt x="9183152" y="680640"/>
                  <a:pt x="9182753" y="678910"/>
                  <a:pt x="9182088" y="677312"/>
                </a:cubicBezTo>
                <a:cubicBezTo>
                  <a:pt x="9181422" y="675582"/>
                  <a:pt x="9180491" y="674251"/>
                  <a:pt x="9179425" y="673053"/>
                </a:cubicBezTo>
                <a:cubicBezTo>
                  <a:pt x="9178360" y="671988"/>
                  <a:pt x="9177029" y="671056"/>
                  <a:pt x="9175432" y="670390"/>
                </a:cubicBezTo>
                <a:cubicBezTo>
                  <a:pt x="9173967" y="669725"/>
                  <a:pt x="9172237" y="669325"/>
                  <a:pt x="9170374" y="669325"/>
                </a:cubicBezTo>
                <a:close/>
                <a:moveTo>
                  <a:pt x="9387885" y="669325"/>
                </a:moveTo>
                <a:cubicBezTo>
                  <a:pt x="9382027" y="669325"/>
                  <a:pt x="9379497" y="671322"/>
                  <a:pt x="9377900" y="672919"/>
                </a:cubicBezTo>
                <a:cubicBezTo>
                  <a:pt x="9375371" y="675582"/>
                  <a:pt x="9374307" y="678377"/>
                  <a:pt x="9374307" y="682371"/>
                </a:cubicBezTo>
                <a:cubicBezTo>
                  <a:pt x="9374307" y="686631"/>
                  <a:pt x="9375371" y="689426"/>
                  <a:pt x="9377900" y="691955"/>
                </a:cubicBezTo>
                <a:cubicBezTo>
                  <a:pt x="9379497" y="693553"/>
                  <a:pt x="9382027" y="695416"/>
                  <a:pt x="9387885" y="695416"/>
                </a:cubicBezTo>
                <a:cubicBezTo>
                  <a:pt x="9390015" y="695416"/>
                  <a:pt x="9391746" y="695150"/>
                  <a:pt x="9393210" y="694484"/>
                </a:cubicBezTo>
                <a:cubicBezTo>
                  <a:pt x="9394674" y="693952"/>
                  <a:pt x="9396005" y="693153"/>
                  <a:pt x="9396937" y="692088"/>
                </a:cubicBezTo>
                <a:cubicBezTo>
                  <a:pt x="9398002" y="691023"/>
                  <a:pt x="9398934" y="689692"/>
                  <a:pt x="9399599" y="687962"/>
                </a:cubicBezTo>
                <a:cubicBezTo>
                  <a:pt x="9400398" y="686364"/>
                  <a:pt x="9400664" y="684501"/>
                  <a:pt x="9400664" y="682504"/>
                </a:cubicBezTo>
                <a:cubicBezTo>
                  <a:pt x="9400664" y="680640"/>
                  <a:pt x="9400265" y="678910"/>
                  <a:pt x="9399599" y="677312"/>
                </a:cubicBezTo>
                <a:cubicBezTo>
                  <a:pt x="9398934" y="675582"/>
                  <a:pt x="9398002" y="674251"/>
                  <a:pt x="9396937" y="673053"/>
                </a:cubicBezTo>
                <a:cubicBezTo>
                  <a:pt x="9395872" y="671988"/>
                  <a:pt x="9394541" y="671056"/>
                  <a:pt x="9392943" y="670390"/>
                </a:cubicBezTo>
                <a:cubicBezTo>
                  <a:pt x="9391479" y="669725"/>
                  <a:pt x="9389749" y="669325"/>
                  <a:pt x="9387885" y="669325"/>
                </a:cubicBezTo>
                <a:close/>
                <a:moveTo>
                  <a:pt x="9605531" y="669325"/>
                </a:moveTo>
                <a:cubicBezTo>
                  <a:pt x="9599673" y="669325"/>
                  <a:pt x="9597143" y="671322"/>
                  <a:pt x="9595546" y="672919"/>
                </a:cubicBezTo>
                <a:cubicBezTo>
                  <a:pt x="9593017" y="675582"/>
                  <a:pt x="9591952" y="678377"/>
                  <a:pt x="9591952" y="682371"/>
                </a:cubicBezTo>
                <a:cubicBezTo>
                  <a:pt x="9591952" y="686631"/>
                  <a:pt x="9593017" y="689426"/>
                  <a:pt x="9595546" y="691955"/>
                </a:cubicBezTo>
                <a:cubicBezTo>
                  <a:pt x="9597143" y="693553"/>
                  <a:pt x="9599673" y="695416"/>
                  <a:pt x="9605531" y="695416"/>
                </a:cubicBezTo>
                <a:cubicBezTo>
                  <a:pt x="9607660" y="695416"/>
                  <a:pt x="9609391" y="695150"/>
                  <a:pt x="9610855" y="694484"/>
                </a:cubicBezTo>
                <a:cubicBezTo>
                  <a:pt x="9612319" y="693952"/>
                  <a:pt x="9613651" y="693153"/>
                  <a:pt x="9614582" y="692088"/>
                </a:cubicBezTo>
                <a:cubicBezTo>
                  <a:pt x="9615647" y="691023"/>
                  <a:pt x="9616579" y="689692"/>
                  <a:pt x="9617245" y="687962"/>
                </a:cubicBezTo>
                <a:cubicBezTo>
                  <a:pt x="9618044" y="686364"/>
                  <a:pt x="9618309" y="684501"/>
                  <a:pt x="9618309" y="682504"/>
                </a:cubicBezTo>
                <a:cubicBezTo>
                  <a:pt x="9618309" y="680640"/>
                  <a:pt x="9617910" y="678910"/>
                  <a:pt x="9617245" y="677312"/>
                </a:cubicBezTo>
                <a:cubicBezTo>
                  <a:pt x="9616579" y="675582"/>
                  <a:pt x="9615647" y="674251"/>
                  <a:pt x="9614582" y="673053"/>
                </a:cubicBezTo>
                <a:cubicBezTo>
                  <a:pt x="9613517" y="671988"/>
                  <a:pt x="9612186" y="671056"/>
                  <a:pt x="9610589" y="670390"/>
                </a:cubicBezTo>
                <a:cubicBezTo>
                  <a:pt x="9609124" y="669725"/>
                  <a:pt x="9607394" y="669325"/>
                  <a:pt x="9605531" y="669325"/>
                </a:cubicBezTo>
                <a:close/>
                <a:moveTo>
                  <a:pt x="9823176" y="669324"/>
                </a:moveTo>
                <a:cubicBezTo>
                  <a:pt x="9817318" y="669324"/>
                  <a:pt x="9814788" y="671322"/>
                  <a:pt x="9813191" y="672919"/>
                </a:cubicBezTo>
                <a:cubicBezTo>
                  <a:pt x="9810662" y="675582"/>
                  <a:pt x="9809597" y="678377"/>
                  <a:pt x="9809597" y="682371"/>
                </a:cubicBezTo>
                <a:cubicBezTo>
                  <a:pt x="9809597" y="686631"/>
                  <a:pt x="9810662" y="689426"/>
                  <a:pt x="9813191" y="691955"/>
                </a:cubicBezTo>
                <a:cubicBezTo>
                  <a:pt x="9814788" y="693553"/>
                  <a:pt x="9817318" y="695416"/>
                  <a:pt x="9823176" y="695416"/>
                </a:cubicBezTo>
                <a:cubicBezTo>
                  <a:pt x="9825173" y="695416"/>
                  <a:pt x="9827036" y="695150"/>
                  <a:pt x="9828501" y="694484"/>
                </a:cubicBezTo>
                <a:cubicBezTo>
                  <a:pt x="9830098" y="693952"/>
                  <a:pt x="9831296" y="693153"/>
                  <a:pt x="9832227" y="692088"/>
                </a:cubicBezTo>
                <a:cubicBezTo>
                  <a:pt x="9833293" y="691023"/>
                  <a:pt x="9834225" y="689692"/>
                  <a:pt x="9834890" y="687962"/>
                </a:cubicBezTo>
                <a:cubicBezTo>
                  <a:pt x="9835689" y="686364"/>
                  <a:pt x="9835955" y="684501"/>
                  <a:pt x="9835955" y="682504"/>
                </a:cubicBezTo>
                <a:cubicBezTo>
                  <a:pt x="9835955" y="680640"/>
                  <a:pt x="9835555" y="678910"/>
                  <a:pt x="9834890" y="677312"/>
                </a:cubicBezTo>
                <a:cubicBezTo>
                  <a:pt x="9834225" y="675582"/>
                  <a:pt x="9833293" y="674251"/>
                  <a:pt x="9832227" y="673053"/>
                </a:cubicBezTo>
                <a:cubicBezTo>
                  <a:pt x="9831162" y="671988"/>
                  <a:pt x="9829831" y="671055"/>
                  <a:pt x="9828234" y="670390"/>
                </a:cubicBezTo>
                <a:cubicBezTo>
                  <a:pt x="9826770" y="669725"/>
                  <a:pt x="9825173" y="669324"/>
                  <a:pt x="9823176" y="669324"/>
                </a:cubicBezTo>
                <a:close/>
                <a:moveTo>
                  <a:pt x="10040820" y="669324"/>
                </a:moveTo>
                <a:cubicBezTo>
                  <a:pt x="10034962" y="669324"/>
                  <a:pt x="10032433" y="671322"/>
                  <a:pt x="10030835" y="672918"/>
                </a:cubicBezTo>
                <a:cubicBezTo>
                  <a:pt x="10028306" y="675582"/>
                  <a:pt x="10027242" y="678377"/>
                  <a:pt x="10027242" y="682371"/>
                </a:cubicBezTo>
                <a:cubicBezTo>
                  <a:pt x="10027242" y="686631"/>
                  <a:pt x="10028306" y="689426"/>
                  <a:pt x="10030835" y="691955"/>
                </a:cubicBezTo>
                <a:cubicBezTo>
                  <a:pt x="10032433" y="693553"/>
                  <a:pt x="10034962" y="695416"/>
                  <a:pt x="10040820" y="695416"/>
                </a:cubicBezTo>
                <a:cubicBezTo>
                  <a:pt x="10042817" y="695416"/>
                  <a:pt x="10044681" y="695150"/>
                  <a:pt x="10046145" y="694484"/>
                </a:cubicBezTo>
                <a:cubicBezTo>
                  <a:pt x="10047742" y="693952"/>
                  <a:pt x="10048941" y="693153"/>
                  <a:pt x="10049872" y="692088"/>
                </a:cubicBezTo>
                <a:cubicBezTo>
                  <a:pt x="10050937" y="691023"/>
                  <a:pt x="10051869" y="689692"/>
                  <a:pt x="10052534" y="687962"/>
                </a:cubicBezTo>
                <a:cubicBezTo>
                  <a:pt x="10053333" y="686364"/>
                  <a:pt x="10053599" y="684501"/>
                  <a:pt x="10053599" y="682504"/>
                </a:cubicBezTo>
                <a:cubicBezTo>
                  <a:pt x="10053599" y="680640"/>
                  <a:pt x="10053200" y="678910"/>
                  <a:pt x="10052534" y="677311"/>
                </a:cubicBezTo>
                <a:cubicBezTo>
                  <a:pt x="10051869" y="675582"/>
                  <a:pt x="10050937" y="674251"/>
                  <a:pt x="10049872" y="673053"/>
                </a:cubicBezTo>
                <a:cubicBezTo>
                  <a:pt x="10048807" y="671987"/>
                  <a:pt x="10047476" y="671055"/>
                  <a:pt x="10045878" y="670389"/>
                </a:cubicBezTo>
                <a:cubicBezTo>
                  <a:pt x="10044414" y="669724"/>
                  <a:pt x="10042817" y="669324"/>
                  <a:pt x="10040820" y="669324"/>
                </a:cubicBezTo>
                <a:close/>
                <a:moveTo>
                  <a:pt x="10258466" y="669324"/>
                </a:moveTo>
                <a:cubicBezTo>
                  <a:pt x="10252608" y="669324"/>
                  <a:pt x="10250078" y="671321"/>
                  <a:pt x="10248481" y="672918"/>
                </a:cubicBezTo>
                <a:cubicBezTo>
                  <a:pt x="10245952" y="675581"/>
                  <a:pt x="10244887" y="678377"/>
                  <a:pt x="10244887" y="682371"/>
                </a:cubicBezTo>
                <a:cubicBezTo>
                  <a:pt x="10244887" y="686631"/>
                  <a:pt x="10245952" y="689426"/>
                  <a:pt x="10248481" y="691955"/>
                </a:cubicBezTo>
                <a:cubicBezTo>
                  <a:pt x="10250078" y="693553"/>
                  <a:pt x="10252608" y="695416"/>
                  <a:pt x="10258466" y="695416"/>
                </a:cubicBezTo>
                <a:cubicBezTo>
                  <a:pt x="10260462" y="695416"/>
                  <a:pt x="10262192" y="695150"/>
                  <a:pt x="10263790" y="694484"/>
                </a:cubicBezTo>
                <a:cubicBezTo>
                  <a:pt x="10265388" y="693952"/>
                  <a:pt x="10266586" y="693153"/>
                  <a:pt x="10267517" y="692088"/>
                </a:cubicBezTo>
                <a:cubicBezTo>
                  <a:pt x="10268583" y="691023"/>
                  <a:pt x="10269515" y="689692"/>
                  <a:pt x="10270180" y="687962"/>
                </a:cubicBezTo>
                <a:cubicBezTo>
                  <a:pt x="10270845" y="686364"/>
                  <a:pt x="10271112" y="684501"/>
                  <a:pt x="10271112" y="682504"/>
                </a:cubicBezTo>
                <a:cubicBezTo>
                  <a:pt x="10271112" y="680639"/>
                  <a:pt x="10270845" y="678910"/>
                  <a:pt x="10270180" y="677311"/>
                </a:cubicBezTo>
                <a:cubicBezTo>
                  <a:pt x="10269515" y="675581"/>
                  <a:pt x="10268583" y="674251"/>
                  <a:pt x="10267517" y="673053"/>
                </a:cubicBezTo>
                <a:cubicBezTo>
                  <a:pt x="10266452" y="671987"/>
                  <a:pt x="10265121" y="671055"/>
                  <a:pt x="10263524" y="670389"/>
                </a:cubicBezTo>
                <a:cubicBezTo>
                  <a:pt x="10262060" y="669724"/>
                  <a:pt x="10260462" y="669324"/>
                  <a:pt x="10258466" y="669324"/>
                </a:cubicBezTo>
                <a:close/>
                <a:moveTo>
                  <a:pt x="10475977" y="669324"/>
                </a:moveTo>
                <a:cubicBezTo>
                  <a:pt x="10470119" y="669324"/>
                  <a:pt x="10467589" y="671321"/>
                  <a:pt x="10465992" y="672918"/>
                </a:cubicBezTo>
                <a:cubicBezTo>
                  <a:pt x="10463463" y="675581"/>
                  <a:pt x="10462399" y="678376"/>
                  <a:pt x="10462399" y="682371"/>
                </a:cubicBezTo>
                <a:cubicBezTo>
                  <a:pt x="10462399" y="686631"/>
                  <a:pt x="10463463" y="689426"/>
                  <a:pt x="10465992" y="691955"/>
                </a:cubicBezTo>
                <a:cubicBezTo>
                  <a:pt x="10467589" y="693553"/>
                  <a:pt x="10470119" y="695416"/>
                  <a:pt x="10475977" y="695416"/>
                </a:cubicBezTo>
                <a:cubicBezTo>
                  <a:pt x="10478107" y="695416"/>
                  <a:pt x="10479838" y="695150"/>
                  <a:pt x="10481302" y="694484"/>
                </a:cubicBezTo>
                <a:cubicBezTo>
                  <a:pt x="10482899" y="693952"/>
                  <a:pt x="10484098" y="693153"/>
                  <a:pt x="10485029" y="692088"/>
                </a:cubicBezTo>
                <a:cubicBezTo>
                  <a:pt x="10486094" y="691023"/>
                  <a:pt x="10487026" y="689692"/>
                  <a:pt x="10487691" y="687962"/>
                </a:cubicBezTo>
                <a:cubicBezTo>
                  <a:pt x="10488357" y="686364"/>
                  <a:pt x="10488623" y="684500"/>
                  <a:pt x="10488623" y="682503"/>
                </a:cubicBezTo>
                <a:cubicBezTo>
                  <a:pt x="10488623" y="680639"/>
                  <a:pt x="10488357" y="678910"/>
                  <a:pt x="10487691" y="677311"/>
                </a:cubicBezTo>
                <a:cubicBezTo>
                  <a:pt x="10487026" y="675581"/>
                  <a:pt x="10486094" y="674250"/>
                  <a:pt x="10485029" y="673052"/>
                </a:cubicBezTo>
                <a:cubicBezTo>
                  <a:pt x="10483964" y="671987"/>
                  <a:pt x="10482633" y="671055"/>
                  <a:pt x="10481035" y="670389"/>
                </a:cubicBezTo>
                <a:cubicBezTo>
                  <a:pt x="10479571" y="669724"/>
                  <a:pt x="10477974" y="669324"/>
                  <a:pt x="10475977" y="669324"/>
                </a:cubicBezTo>
                <a:close/>
                <a:moveTo>
                  <a:pt x="30240" y="652823"/>
                </a:moveTo>
                <a:cubicBezTo>
                  <a:pt x="34500" y="652823"/>
                  <a:pt x="38494" y="653622"/>
                  <a:pt x="41955" y="655352"/>
                </a:cubicBezTo>
                <a:cubicBezTo>
                  <a:pt x="45682" y="656950"/>
                  <a:pt x="48744" y="659079"/>
                  <a:pt x="51273" y="661742"/>
                </a:cubicBezTo>
                <a:cubicBezTo>
                  <a:pt x="53935" y="664404"/>
                  <a:pt x="55932" y="667599"/>
                  <a:pt x="57396" y="671193"/>
                </a:cubicBezTo>
                <a:cubicBezTo>
                  <a:pt x="58860" y="674787"/>
                  <a:pt x="59659" y="678647"/>
                  <a:pt x="59659" y="682641"/>
                </a:cubicBezTo>
                <a:cubicBezTo>
                  <a:pt x="59659" y="686768"/>
                  <a:pt x="58860" y="690762"/>
                  <a:pt x="57396" y="694356"/>
                </a:cubicBezTo>
                <a:cubicBezTo>
                  <a:pt x="55932" y="697950"/>
                  <a:pt x="53802" y="701012"/>
                  <a:pt x="51273" y="703674"/>
                </a:cubicBezTo>
                <a:cubicBezTo>
                  <a:pt x="48610" y="706337"/>
                  <a:pt x="45549" y="708467"/>
                  <a:pt x="41955" y="709931"/>
                </a:cubicBezTo>
                <a:cubicBezTo>
                  <a:pt x="38361" y="711395"/>
                  <a:pt x="34500" y="712194"/>
                  <a:pt x="30240" y="712194"/>
                </a:cubicBezTo>
                <a:cubicBezTo>
                  <a:pt x="21322" y="712194"/>
                  <a:pt x="14000" y="709265"/>
                  <a:pt x="8409" y="703674"/>
                </a:cubicBezTo>
                <a:cubicBezTo>
                  <a:pt x="2818" y="698083"/>
                  <a:pt x="23" y="691028"/>
                  <a:pt x="23" y="682508"/>
                </a:cubicBezTo>
                <a:cubicBezTo>
                  <a:pt x="23" y="674255"/>
                  <a:pt x="2818" y="667199"/>
                  <a:pt x="8409" y="661475"/>
                </a:cubicBezTo>
                <a:cubicBezTo>
                  <a:pt x="14000" y="655751"/>
                  <a:pt x="21188" y="652823"/>
                  <a:pt x="30240" y="652823"/>
                </a:cubicBezTo>
                <a:close/>
                <a:moveTo>
                  <a:pt x="465528" y="652823"/>
                </a:moveTo>
                <a:cubicBezTo>
                  <a:pt x="469788" y="652823"/>
                  <a:pt x="473649" y="653622"/>
                  <a:pt x="477244" y="655352"/>
                </a:cubicBezTo>
                <a:cubicBezTo>
                  <a:pt x="480971" y="656950"/>
                  <a:pt x="484032" y="659079"/>
                  <a:pt x="486561" y="661742"/>
                </a:cubicBezTo>
                <a:cubicBezTo>
                  <a:pt x="489224" y="664404"/>
                  <a:pt x="491221" y="667599"/>
                  <a:pt x="492685" y="671193"/>
                </a:cubicBezTo>
                <a:cubicBezTo>
                  <a:pt x="494149" y="674787"/>
                  <a:pt x="494948" y="678647"/>
                  <a:pt x="494948" y="682641"/>
                </a:cubicBezTo>
                <a:cubicBezTo>
                  <a:pt x="494948" y="686768"/>
                  <a:pt x="494149" y="690761"/>
                  <a:pt x="492685" y="694355"/>
                </a:cubicBezTo>
                <a:cubicBezTo>
                  <a:pt x="491221" y="697950"/>
                  <a:pt x="489091" y="701011"/>
                  <a:pt x="486561" y="703673"/>
                </a:cubicBezTo>
                <a:cubicBezTo>
                  <a:pt x="483898" y="706337"/>
                  <a:pt x="480838" y="708467"/>
                  <a:pt x="477244" y="709931"/>
                </a:cubicBezTo>
                <a:cubicBezTo>
                  <a:pt x="473649" y="711395"/>
                  <a:pt x="469788" y="712194"/>
                  <a:pt x="465528" y="712194"/>
                </a:cubicBezTo>
                <a:cubicBezTo>
                  <a:pt x="456610" y="712194"/>
                  <a:pt x="449288" y="709265"/>
                  <a:pt x="443697" y="703673"/>
                </a:cubicBezTo>
                <a:cubicBezTo>
                  <a:pt x="438106" y="698082"/>
                  <a:pt x="435311" y="691027"/>
                  <a:pt x="435311" y="682508"/>
                </a:cubicBezTo>
                <a:cubicBezTo>
                  <a:pt x="435311" y="674255"/>
                  <a:pt x="438106" y="667199"/>
                  <a:pt x="443697" y="661475"/>
                </a:cubicBezTo>
                <a:cubicBezTo>
                  <a:pt x="449288" y="655751"/>
                  <a:pt x="456477" y="652823"/>
                  <a:pt x="465528" y="652823"/>
                </a:cubicBezTo>
                <a:close/>
                <a:moveTo>
                  <a:pt x="247884" y="652823"/>
                </a:moveTo>
                <a:cubicBezTo>
                  <a:pt x="252144" y="652823"/>
                  <a:pt x="256138" y="653622"/>
                  <a:pt x="259599" y="655352"/>
                </a:cubicBezTo>
                <a:cubicBezTo>
                  <a:pt x="263326" y="656950"/>
                  <a:pt x="266388" y="659079"/>
                  <a:pt x="268917" y="661742"/>
                </a:cubicBezTo>
                <a:cubicBezTo>
                  <a:pt x="271579" y="664404"/>
                  <a:pt x="273576" y="667599"/>
                  <a:pt x="275040" y="671193"/>
                </a:cubicBezTo>
                <a:cubicBezTo>
                  <a:pt x="276504" y="674787"/>
                  <a:pt x="277303" y="678647"/>
                  <a:pt x="277303" y="682641"/>
                </a:cubicBezTo>
                <a:cubicBezTo>
                  <a:pt x="277303" y="686768"/>
                  <a:pt x="276504" y="690761"/>
                  <a:pt x="275040" y="694355"/>
                </a:cubicBezTo>
                <a:cubicBezTo>
                  <a:pt x="273576" y="697950"/>
                  <a:pt x="271446" y="701012"/>
                  <a:pt x="268917" y="703673"/>
                </a:cubicBezTo>
                <a:cubicBezTo>
                  <a:pt x="266254" y="706337"/>
                  <a:pt x="263193" y="708467"/>
                  <a:pt x="259599" y="709931"/>
                </a:cubicBezTo>
                <a:cubicBezTo>
                  <a:pt x="256004" y="711395"/>
                  <a:pt x="252144" y="712194"/>
                  <a:pt x="247884" y="712194"/>
                </a:cubicBezTo>
                <a:cubicBezTo>
                  <a:pt x="238966" y="712194"/>
                  <a:pt x="231644" y="709265"/>
                  <a:pt x="226053" y="703673"/>
                </a:cubicBezTo>
                <a:cubicBezTo>
                  <a:pt x="220462" y="698083"/>
                  <a:pt x="217667" y="691027"/>
                  <a:pt x="217667" y="682508"/>
                </a:cubicBezTo>
                <a:cubicBezTo>
                  <a:pt x="217667" y="674255"/>
                  <a:pt x="220462" y="667199"/>
                  <a:pt x="226053" y="661475"/>
                </a:cubicBezTo>
                <a:cubicBezTo>
                  <a:pt x="231644" y="655751"/>
                  <a:pt x="238832" y="652823"/>
                  <a:pt x="247884" y="652823"/>
                </a:cubicBezTo>
                <a:close/>
                <a:moveTo>
                  <a:pt x="683173" y="652823"/>
                </a:moveTo>
                <a:cubicBezTo>
                  <a:pt x="687433" y="652823"/>
                  <a:pt x="691294" y="653621"/>
                  <a:pt x="694888" y="655351"/>
                </a:cubicBezTo>
                <a:cubicBezTo>
                  <a:pt x="698615" y="656950"/>
                  <a:pt x="701677" y="659079"/>
                  <a:pt x="704206" y="661742"/>
                </a:cubicBezTo>
                <a:cubicBezTo>
                  <a:pt x="706868" y="664404"/>
                  <a:pt x="708865" y="667599"/>
                  <a:pt x="710329" y="671193"/>
                </a:cubicBezTo>
                <a:cubicBezTo>
                  <a:pt x="711793" y="674787"/>
                  <a:pt x="712592" y="678647"/>
                  <a:pt x="712592" y="682641"/>
                </a:cubicBezTo>
                <a:cubicBezTo>
                  <a:pt x="712592" y="686768"/>
                  <a:pt x="711793" y="690761"/>
                  <a:pt x="710329" y="694355"/>
                </a:cubicBezTo>
                <a:cubicBezTo>
                  <a:pt x="708865" y="697949"/>
                  <a:pt x="706735" y="701011"/>
                  <a:pt x="704206" y="703673"/>
                </a:cubicBezTo>
                <a:cubicBezTo>
                  <a:pt x="701677" y="706336"/>
                  <a:pt x="698482" y="708467"/>
                  <a:pt x="694888" y="709931"/>
                </a:cubicBezTo>
                <a:cubicBezTo>
                  <a:pt x="691294" y="711395"/>
                  <a:pt x="687433" y="712194"/>
                  <a:pt x="683173" y="712194"/>
                </a:cubicBezTo>
                <a:cubicBezTo>
                  <a:pt x="674255" y="712194"/>
                  <a:pt x="666932" y="709265"/>
                  <a:pt x="661341" y="703673"/>
                </a:cubicBezTo>
                <a:cubicBezTo>
                  <a:pt x="655750" y="698082"/>
                  <a:pt x="652955" y="691027"/>
                  <a:pt x="652955" y="682508"/>
                </a:cubicBezTo>
                <a:cubicBezTo>
                  <a:pt x="652955" y="674255"/>
                  <a:pt x="655750" y="667199"/>
                  <a:pt x="661341" y="661475"/>
                </a:cubicBezTo>
                <a:cubicBezTo>
                  <a:pt x="666932" y="655751"/>
                  <a:pt x="674121" y="652823"/>
                  <a:pt x="683173" y="652823"/>
                </a:cubicBezTo>
                <a:close/>
                <a:moveTo>
                  <a:pt x="900817" y="652822"/>
                </a:moveTo>
                <a:cubicBezTo>
                  <a:pt x="904944" y="652822"/>
                  <a:pt x="908938" y="653621"/>
                  <a:pt x="912532" y="655351"/>
                </a:cubicBezTo>
                <a:cubicBezTo>
                  <a:pt x="916259" y="656949"/>
                  <a:pt x="919321" y="659079"/>
                  <a:pt x="921850" y="661742"/>
                </a:cubicBezTo>
                <a:cubicBezTo>
                  <a:pt x="924512" y="664404"/>
                  <a:pt x="926509" y="667599"/>
                  <a:pt x="927973" y="671193"/>
                </a:cubicBezTo>
                <a:cubicBezTo>
                  <a:pt x="929438" y="674787"/>
                  <a:pt x="930236" y="678647"/>
                  <a:pt x="930236" y="682641"/>
                </a:cubicBezTo>
                <a:cubicBezTo>
                  <a:pt x="930236" y="686768"/>
                  <a:pt x="929438" y="690761"/>
                  <a:pt x="927973" y="694355"/>
                </a:cubicBezTo>
                <a:cubicBezTo>
                  <a:pt x="926509" y="697949"/>
                  <a:pt x="924379" y="701011"/>
                  <a:pt x="921850" y="703673"/>
                </a:cubicBezTo>
                <a:cubicBezTo>
                  <a:pt x="919321" y="706336"/>
                  <a:pt x="916126" y="708467"/>
                  <a:pt x="912532" y="709930"/>
                </a:cubicBezTo>
                <a:cubicBezTo>
                  <a:pt x="908938" y="711395"/>
                  <a:pt x="905077" y="712193"/>
                  <a:pt x="900817" y="712193"/>
                </a:cubicBezTo>
                <a:cubicBezTo>
                  <a:pt x="891899" y="712193"/>
                  <a:pt x="884577" y="709264"/>
                  <a:pt x="878986" y="703673"/>
                </a:cubicBezTo>
                <a:cubicBezTo>
                  <a:pt x="873396" y="698082"/>
                  <a:pt x="870600" y="691027"/>
                  <a:pt x="870600" y="682508"/>
                </a:cubicBezTo>
                <a:cubicBezTo>
                  <a:pt x="870600" y="674255"/>
                  <a:pt x="873396" y="667199"/>
                  <a:pt x="878986" y="661475"/>
                </a:cubicBezTo>
                <a:cubicBezTo>
                  <a:pt x="884577" y="655750"/>
                  <a:pt x="891766" y="652822"/>
                  <a:pt x="900817" y="652822"/>
                </a:cubicBezTo>
                <a:close/>
                <a:moveTo>
                  <a:pt x="1118329" y="652822"/>
                </a:moveTo>
                <a:cubicBezTo>
                  <a:pt x="1122589" y="652822"/>
                  <a:pt x="1126583" y="653621"/>
                  <a:pt x="1130045" y="655351"/>
                </a:cubicBezTo>
                <a:cubicBezTo>
                  <a:pt x="1133771" y="656949"/>
                  <a:pt x="1136833" y="659078"/>
                  <a:pt x="1139363" y="661742"/>
                </a:cubicBezTo>
                <a:cubicBezTo>
                  <a:pt x="1142024" y="664403"/>
                  <a:pt x="1144021" y="667599"/>
                  <a:pt x="1145485" y="671193"/>
                </a:cubicBezTo>
                <a:cubicBezTo>
                  <a:pt x="1146949" y="674787"/>
                  <a:pt x="1147748" y="678647"/>
                  <a:pt x="1147748" y="682641"/>
                </a:cubicBezTo>
                <a:cubicBezTo>
                  <a:pt x="1147748" y="686768"/>
                  <a:pt x="1146949" y="690761"/>
                  <a:pt x="1145485" y="694355"/>
                </a:cubicBezTo>
                <a:cubicBezTo>
                  <a:pt x="1144021" y="697949"/>
                  <a:pt x="1141891" y="701011"/>
                  <a:pt x="1139363" y="703673"/>
                </a:cubicBezTo>
                <a:cubicBezTo>
                  <a:pt x="1136833" y="706336"/>
                  <a:pt x="1133638" y="708466"/>
                  <a:pt x="1130045" y="709930"/>
                </a:cubicBezTo>
                <a:cubicBezTo>
                  <a:pt x="1126449" y="711394"/>
                  <a:pt x="1122589" y="712193"/>
                  <a:pt x="1118329" y="712193"/>
                </a:cubicBezTo>
                <a:cubicBezTo>
                  <a:pt x="1109410" y="712193"/>
                  <a:pt x="1102088" y="709264"/>
                  <a:pt x="1096497" y="703673"/>
                </a:cubicBezTo>
                <a:cubicBezTo>
                  <a:pt x="1090906" y="698082"/>
                  <a:pt x="1088111" y="691027"/>
                  <a:pt x="1088111" y="682508"/>
                </a:cubicBezTo>
                <a:cubicBezTo>
                  <a:pt x="1088111" y="674255"/>
                  <a:pt x="1090906" y="667199"/>
                  <a:pt x="1096497" y="661474"/>
                </a:cubicBezTo>
                <a:cubicBezTo>
                  <a:pt x="1102088" y="655750"/>
                  <a:pt x="1109276" y="652822"/>
                  <a:pt x="1118329" y="652822"/>
                </a:cubicBezTo>
                <a:close/>
                <a:moveTo>
                  <a:pt x="1553619" y="652822"/>
                </a:moveTo>
                <a:cubicBezTo>
                  <a:pt x="1557878" y="652822"/>
                  <a:pt x="1561739" y="653754"/>
                  <a:pt x="1565334" y="655351"/>
                </a:cubicBezTo>
                <a:cubicBezTo>
                  <a:pt x="1568928" y="656949"/>
                  <a:pt x="1572123" y="659078"/>
                  <a:pt x="1574652" y="661741"/>
                </a:cubicBezTo>
                <a:cubicBezTo>
                  <a:pt x="1577314" y="664403"/>
                  <a:pt x="1579311" y="667598"/>
                  <a:pt x="1580775" y="671193"/>
                </a:cubicBezTo>
                <a:cubicBezTo>
                  <a:pt x="1582239" y="674786"/>
                  <a:pt x="1583038" y="678647"/>
                  <a:pt x="1583038" y="682641"/>
                </a:cubicBezTo>
                <a:cubicBezTo>
                  <a:pt x="1583038" y="686768"/>
                  <a:pt x="1582239" y="690761"/>
                  <a:pt x="1580775" y="694355"/>
                </a:cubicBezTo>
                <a:cubicBezTo>
                  <a:pt x="1579311" y="697949"/>
                  <a:pt x="1577181" y="701011"/>
                  <a:pt x="1574652" y="703673"/>
                </a:cubicBezTo>
                <a:cubicBezTo>
                  <a:pt x="1571990" y="706336"/>
                  <a:pt x="1568928" y="708466"/>
                  <a:pt x="1565334" y="709930"/>
                </a:cubicBezTo>
                <a:cubicBezTo>
                  <a:pt x="1561739" y="711394"/>
                  <a:pt x="1557878" y="712193"/>
                  <a:pt x="1553619" y="712193"/>
                </a:cubicBezTo>
                <a:cubicBezTo>
                  <a:pt x="1544700" y="712193"/>
                  <a:pt x="1537378" y="709264"/>
                  <a:pt x="1531787" y="703673"/>
                </a:cubicBezTo>
                <a:cubicBezTo>
                  <a:pt x="1526197" y="698082"/>
                  <a:pt x="1523401" y="691027"/>
                  <a:pt x="1523401" y="682508"/>
                </a:cubicBezTo>
                <a:cubicBezTo>
                  <a:pt x="1523401" y="674254"/>
                  <a:pt x="1526197" y="667198"/>
                  <a:pt x="1531787" y="661474"/>
                </a:cubicBezTo>
                <a:cubicBezTo>
                  <a:pt x="1537378" y="655750"/>
                  <a:pt x="1544566" y="652822"/>
                  <a:pt x="1553619" y="652822"/>
                </a:cubicBezTo>
                <a:close/>
                <a:moveTo>
                  <a:pt x="1335974" y="652822"/>
                </a:moveTo>
                <a:cubicBezTo>
                  <a:pt x="1340234" y="652822"/>
                  <a:pt x="1344094" y="653754"/>
                  <a:pt x="1347689" y="655351"/>
                </a:cubicBezTo>
                <a:cubicBezTo>
                  <a:pt x="1351283" y="656949"/>
                  <a:pt x="1354477" y="659078"/>
                  <a:pt x="1357008" y="661741"/>
                </a:cubicBezTo>
                <a:cubicBezTo>
                  <a:pt x="1359669" y="664403"/>
                  <a:pt x="1361666" y="667598"/>
                  <a:pt x="1363130" y="671193"/>
                </a:cubicBezTo>
                <a:cubicBezTo>
                  <a:pt x="1364595" y="674787"/>
                  <a:pt x="1365393" y="678647"/>
                  <a:pt x="1365393" y="682641"/>
                </a:cubicBezTo>
                <a:cubicBezTo>
                  <a:pt x="1365393" y="686768"/>
                  <a:pt x="1364595" y="690761"/>
                  <a:pt x="1363130" y="694355"/>
                </a:cubicBezTo>
                <a:cubicBezTo>
                  <a:pt x="1361666" y="697949"/>
                  <a:pt x="1359536" y="701011"/>
                  <a:pt x="1357008" y="703673"/>
                </a:cubicBezTo>
                <a:cubicBezTo>
                  <a:pt x="1354344" y="706336"/>
                  <a:pt x="1351283" y="708466"/>
                  <a:pt x="1347689" y="709930"/>
                </a:cubicBezTo>
                <a:cubicBezTo>
                  <a:pt x="1344094" y="711394"/>
                  <a:pt x="1340234" y="712193"/>
                  <a:pt x="1335974" y="712193"/>
                </a:cubicBezTo>
                <a:cubicBezTo>
                  <a:pt x="1327055" y="712193"/>
                  <a:pt x="1319733" y="709264"/>
                  <a:pt x="1314142" y="703673"/>
                </a:cubicBezTo>
                <a:cubicBezTo>
                  <a:pt x="1308551" y="698082"/>
                  <a:pt x="1305757" y="691027"/>
                  <a:pt x="1305757" y="682508"/>
                </a:cubicBezTo>
                <a:cubicBezTo>
                  <a:pt x="1305757" y="674255"/>
                  <a:pt x="1308551" y="667198"/>
                  <a:pt x="1314142" y="661474"/>
                </a:cubicBezTo>
                <a:cubicBezTo>
                  <a:pt x="1319733" y="655750"/>
                  <a:pt x="1326922" y="652822"/>
                  <a:pt x="1335974" y="652822"/>
                </a:cubicBezTo>
                <a:close/>
                <a:moveTo>
                  <a:pt x="1771263" y="652822"/>
                </a:moveTo>
                <a:cubicBezTo>
                  <a:pt x="1775523" y="652822"/>
                  <a:pt x="1779383" y="653621"/>
                  <a:pt x="1782978" y="655351"/>
                </a:cubicBezTo>
                <a:cubicBezTo>
                  <a:pt x="1786705" y="656949"/>
                  <a:pt x="1789767" y="659078"/>
                  <a:pt x="1792296" y="661741"/>
                </a:cubicBezTo>
                <a:cubicBezTo>
                  <a:pt x="1794958" y="664403"/>
                  <a:pt x="1796955" y="667598"/>
                  <a:pt x="1798419" y="671192"/>
                </a:cubicBezTo>
                <a:cubicBezTo>
                  <a:pt x="1799883" y="674786"/>
                  <a:pt x="1800682" y="678647"/>
                  <a:pt x="1800682" y="682641"/>
                </a:cubicBezTo>
                <a:cubicBezTo>
                  <a:pt x="1800682" y="686768"/>
                  <a:pt x="1799883" y="690761"/>
                  <a:pt x="1798419" y="694355"/>
                </a:cubicBezTo>
                <a:cubicBezTo>
                  <a:pt x="1796955" y="697949"/>
                  <a:pt x="1794825" y="701011"/>
                  <a:pt x="1792296" y="703673"/>
                </a:cubicBezTo>
                <a:cubicBezTo>
                  <a:pt x="1789633" y="706336"/>
                  <a:pt x="1786572" y="708466"/>
                  <a:pt x="1782978" y="709930"/>
                </a:cubicBezTo>
                <a:cubicBezTo>
                  <a:pt x="1779383" y="711394"/>
                  <a:pt x="1775523" y="712193"/>
                  <a:pt x="1771263" y="712193"/>
                </a:cubicBezTo>
                <a:cubicBezTo>
                  <a:pt x="1762344" y="712193"/>
                  <a:pt x="1755023" y="709264"/>
                  <a:pt x="1749432" y="703673"/>
                </a:cubicBezTo>
                <a:cubicBezTo>
                  <a:pt x="1743841" y="698082"/>
                  <a:pt x="1741046" y="691027"/>
                  <a:pt x="1741046" y="682508"/>
                </a:cubicBezTo>
                <a:cubicBezTo>
                  <a:pt x="1741046" y="674254"/>
                  <a:pt x="1743841" y="667198"/>
                  <a:pt x="1749432" y="661474"/>
                </a:cubicBezTo>
                <a:cubicBezTo>
                  <a:pt x="1755023" y="655750"/>
                  <a:pt x="1762211" y="652822"/>
                  <a:pt x="1771263" y="652822"/>
                </a:cubicBezTo>
                <a:close/>
                <a:moveTo>
                  <a:pt x="1988906" y="652822"/>
                </a:moveTo>
                <a:cubicBezTo>
                  <a:pt x="1993033" y="652822"/>
                  <a:pt x="1997028" y="653621"/>
                  <a:pt x="2000622" y="655351"/>
                </a:cubicBezTo>
                <a:cubicBezTo>
                  <a:pt x="2004349" y="656949"/>
                  <a:pt x="2007411" y="659078"/>
                  <a:pt x="2009940" y="661741"/>
                </a:cubicBezTo>
                <a:cubicBezTo>
                  <a:pt x="2012602" y="664403"/>
                  <a:pt x="2014599" y="667598"/>
                  <a:pt x="2016063" y="671192"/>
                </a:cubicBezTo>
                <a:cubicBezTo>
                  <a:pt x="2017527" y="674786"/>
                  <a:pt x="2018326" y="678646"/>
                  <a:pt x="2018326" y="682641"/>
                </a:cubicBezTo>
                <a:cubicBezTo>
                  <a:pt x="2018326" y="686767"/>
                  <a:pt x="2017527" y="690761"/>
                  <a:pt x="2016063" y="694355"/>
                </a:cubicBezTo>
                <a:cubicBezTo>
                  <a:pt x="2014599" y="697949"/>
                  <a:pt x="2012469" y="701011"/>
                  <a:pt x="2009940" y="703673"/>
                </a:cubicBezTo>
                <a:cubicBezTo>
                  <a:pt x="2007411" y="706336"/>
                  <a:pt x="2004215" y="708466"/>
                  <a:pt x="2000622" y="709930"/>
                </a:cubicBezTo>
                <a:cubicBezTo>
                  <a:pt x="1997028" y="711394"/>
                  <a:pt x="1993166" y="712193"/>
                  <a:pt x="1988906" y="712193"/>
                </a:cubicBezTo>
                <a:cubicBezTo>
                  <a:pt x="1979855" y="712193"/>
                  <a:pt x="1972666" y="709264"/>
                  <a:pt x="1967075" y="703673"/>
                </a:cubicBezTo>
                <a:cubicBezTo>
                  <a:pt x="1961485" y="698082"/>
                  <a:pt x="1958689" y="691027"/>
                  <a:pt x="1958689" y="682507"/>
                </a:cubicBezTo>
                <a:cubicBezTo>
                  <a:pt x="1958689" y="674254"/>
                  <a:pt x="1961485" y="667198"/>
                  <a:pt x="1967075" y="661474"/>
                </a:cubicBezTo>
                <a:cubicBezTo>
                  <a:pt x="1972666" y="655750"/>
                  <a:pt x="1979855" y="652822"/>
                  <a:pt x="1988906" y="652822"/>
                </a:cubicBezTo>
                <a:close/>
                <a:moveTo>
                  <a:pt x="2424067" y="652822"/>
                </a:moveTo>
                <a:cubicBezTo>
                  <a:pt x="2428328" y="652822"/>
                  <a:pt x="2432322" y="653621"/>
                  <a:pt x="2435783" y="655351"/>
                </a:cubicBezTo>
                <a:cubicBezTo>
                  <a:pt x="2439510" y="656949"/>
                  <a:pt x="2442572" y="659078"/>
                  <a:pt x="2445101" y="661741"/>
                </a:cubicBezTo>
                <a:cubicBezTo>
                  <a:pt x="2447763" y="664403"/>
                  <a:pt x="2449760" y="667598"/>
                  <a:pt x="2451224" y="671192"/>
                </a:cubicBezTo>
                <a:cubicBezTo>
                  <a:pt x="2452688" y="674786"/>
                  <a:pt x="2453487" y="678646"/>
                  <a:pt x="2453487" y="682640"/>
                </a:cubicBezTo>
                <a:cubicBezTo>
                  <a:pt x="2453487" y="686767"/>
                  <a:pt x="2452688" y="690760"/>
                  <a:pt x="2451224" y="694355"/>
                </a:cubicBezTo>
                <a:cubicBezTo>
                  <a:pt x="2449760" y="697949"/>
                  <a:pt x="2447630" y="701010"/>
                  <a:pt x="2445101" y="703673"/>
                </a:cubicBezTo>
                <a:cubicBezTo>
                  <a:pt x="2442572" y="706336"/>
                  <a:pt x="2439377" y="708466"/>
                  <a:pt x="2435783" y="709930"/>
                </a:cubicBezTo>
                <a:cubicBezTo>
                  <a:pt x="2432189" y="711394"/>
                  <a:pt x="2428328" y="712193"/>
                  <a:pt x="2424067" y="712193"/>
                </a:cubicBezTo>
                <a:cubicBezTo>
                  <a:pt x="2415150" y="712193"/>
                  <a:pt x="2407827" y="709264"/>
                  <a:pt x="2402236" y="703673"/>
                </a:cubicBezTo>
                <a:cubicBezTo>
                  <a:pt x="2396646" y="698082"/>
                  <a:pt x="2393849" y="691026"/>
                  <a:pt x="2393849" y="682507"/>
                </a:cubicBezTo>
                <a:cubicBezTo>
                  <a:pt x="2393849" y="674254"/>
                  <a:pt x="2396646" y="667198"/>
                  <a:pt x="2402236" y="661474"/>
                </a:cubicBezTo>
                <a:cubicBezTo>
                  <a:pt x="2407827" y="655750"/>
                  <a:pt x="2415016" y="652822"/>
                  <a:pt x="2424067" y="652822"/>
                </a:cubicBezTo>
                <a:close/>
                <a:moveTo>
                  <a:pt x="2206421" y="652822"/>
                </a:moveTo>
                <a:cubicBezTo>
                  <a:pt x="2210681" y="652822"/>
                  <a:pt x="2214675" y="653621"/>
                  <a:pt x="2218136" y="655351"/>
                </a:cubicBezTo>
                <a:cubicBezTo>
                  <a:pt x="2221863" y="656949"/>
                  <a:pt x="2224924" y="659078"/>
                  <a:pt x="2227454" y="661741"/>
                </a:cubicBezTo>
                <a:cubicBezTo>
                  <a:pt x="2230116" y="664403"/>
                  <a:pt x="2232113" y="667598"/>
                  <a:pt x="2233577" y="671192"/>
                </a:cubicBezTo>
                <a:cubicBezTo>
                  <a:pt x="2235041" y="674786"/>
                  <a:pt x="2235840" y="678646"/>
                  <a:pt x="2235840" y="682640"/>
                </a:cubicBezTo>
                <a:cubicBezTo>
                  <a:pt x="2235840" y="686767"/>
                  <a:pt x="2235041" y="690760"/>
                  <a:pt x="2233577" y="694355"/>
                </a:cubicBezTo>
                <a:cubicBezTo>
                  <a:pt x="2232113" y="697949"/>
                  <a:pt x="2229983" y="701011"/>
                  <a:pt x="2227454" y="703673"/>
                </a:cubicBezTo>
                <a:cubicBezTo>
                  <a:pt x="2224924" y="706336"/>
                  <a:pt x="2221730" y="708466"/>
                  <a:pt x="2218136" y="709930"/>
                </a:cubicBezTo>
                <a:cubicBezTo>
                  <a:pt x="2214541" y="711394"/>
                  <a:pt x="2210681" y="712193"/>
                  <a:pt x="2206421" y="712193"/>
                </a:cubicBezTo>
                <a:cubicBezTo>
                  <a:pt x="2197368" y="712193"/>
                  <a:pt x="2190180" y="709264"/>
                  <a:pt x="2184589" y="703673"/>
                </a:cubicBezTo>
                <a:cubicBezTo>
                  <a:pt x="2178998" y="698082"/>
                  <a:pt x="2176203" y="691027"/>
                  <a:pt x="2176203" y="682507"/>
                </a:cubicBezTo>
                <a:cubicBezTo>
                  <a:pt x="2176203" y="674254"/>
                  <a:pt x="2178998" y="667198"/>
                  <a:pt x="2184589" y="661474"/>
                </a:cubicBezTo>
                <a:cubicBezTo>
                  <a:pt x="2190180" y="655750"/>
                  <a:pt x="2197368" y="652822"/>
                  <a:pt x="2206421" y="652822"/>
                </a:cubicBezTo>
                <a:close/>
                <a:moveTo>
                  <a:pt x="2641715" y="652822"/>
                </a:moveTo>
                <a:cubicBezTo>
                  <a:pt x="2645975" y="652822"/>
                  <a:pt x="2649835" y="653621"/>
                  <a:pt x="2653430" y="655350"/>
                </a:cubicBezTo>
                <a:cubicBezTo>
                  <a:pt x="2657157" y="656949"/>
                  <a:pt x="2660219" y="659078"/>
                  <a:pt x="2662748" y="661741"/>
                </a:cubicBezTo>
                <a:cubicBezTo>
                  <a:pt x="2665410" y="664403"/>
                  <a:pt x="2667408" y="667598"/>
                  <a:pt x="2668872" y="671192"/>
                </a:cubicBezTo>
                <a:cubicBezTo>
                  <a:pt x="2670336" y="674786"/>
                  <a:pt x="2671135" y="678646"/>
                  <a:pt x="2671135" y="682640"/>
                </a:cubicBezTo>
                <a:cubicBezTo>
                  <a:pt x="2671135" y="686767"/>
                  <a:pt x="2670336" y="690760"/>
                  <a:pt x="2668872" y="694354"/>
                </a:cubicBezTo>
                <a:cubicBezTo>
                  <a:pt x="2667408" y="697949"/>
                  <a:pt x="2665277" y="701010"/>
                  <a:pt x="2662748" y="703673"/>
                </a:cubicBezTo>
                <a:cubicBezTo>
                  <a:pt x="2660219" y="706336"/>
                  <a:pt x="2657024" y="708466"/>
                  <a:pt x="2653430" y="709930"/>
                </a:cubicBezTo>
                <a:cubicBezTo>
                  <a:pt x="2649835" y="711394"/>
                  <a:pt x="2645975" y="712193"/>
                  <a:pt x="2641715" y="712193"/>
                </a:cubicBezTo>
                <a:cubicBezTo>
                  <a:pt x="2632796" y="712193"/>
                  <a:pt x="2625475" y="709264"/>
                  <a:pt x="2619883" y="703673"/>
                </a:cubicBezTo>
                <a:cubicBezTo>
                  <a:pt x="2614292" y="698082"/>
                  <a:pt x="2611497" y="691026"/>
                  <a:pt x="2611497" y="682507"/>
                </a:cubicBezTo>
                <a:cubicBezTo>
                  <a:pt x="2611497" y="674254"/>
                  <a:pt x="2614292" y="667198"/>
                  <a:pt x="2619883" y="661474"/>
                </a:cubicBezTo>
                <a:cubicBezTo>
                  <a:pt x="2625475" y="655750"/>
                  <a:pt x="2632663" y="652822"/>
                  <a:pt x="2641715" y="652822"/>
                </a:cubicBezTo>
                <a:close/>
                <a:moveTo>
                  <a:pt x="2859362" y="652821"/>
                </a:moveTo>
                <a:cubicBezTo>
                  <a:pt x="2863623" y="652821"/>
                  <a:pt x="2867483" y="653621"/>
                  <a:pt x="2871210" y="655350"/>
                </a:cubicBezTo>
                <a:cubicBezTo>
                  <a:pt x="2874937" y="656948"/>
                  <a:pt x="2877999" y="659078"/>
                  <a:pt x="2880528" y="661741"/>
                </a:cubicBezTo>
                <a:cubicBezTo>
                  <a:pt x="2883190" y="664403"/>
                  <a:pt x="2885188" y="667598"/>
                  <a:pt x="2886652" y="671192"/>
                </a:cubicBezTo>
                <a:cubicBezTo>
                  <a:pt x="2888116" y="674786"/>
                  <a:pt x="2888915" y="678646"/>
                  <a:pt x="2888915" y="682640"/>
                </a:cubicBezTo>
                <a:cubicBezTo>
                  <a:pt x="2888915" y="686767"/>
                  <a:pt x="2888116" y="690760"/>
                  <a:pt x="2886652" y="694354"/>
                </a:cubicBezTo>
                <a:cubicBezTo>
                  <a:pt x="2885188" y="697948"/>
                  <a:pt x="2883057" y="701010"/>
                  <a:pt x="2880528" y="703672"/>
                </a:cubicBezTo>
                <a:cubicBezTo>
                  <a:pt x="2877867" y="706335"/>
                  <a:pt x="2874804" y="708466"/>
                  <a:pt x="2871210" y="709929"/>
                </a:cubicBezTo>
                <a:cubicBezTo>
                  <a:pt x="2867483" y="711394"/>
                  <a:pt x="2863623" y="712193"/>
                  <a:pt x="2859362" y="712193"/>
                </a:cubicBezTo>
                <a:cubicBezTo>
                  <a:pt x="2850444" y="712193"/>
                  <a:pt x="2843121" y="709264"/>
                  <a:pt x="2837531" y="703672"/>
                </a:cubicBezTo>
                <a:cubicBezTo>
                  <a:pt x="2831940" y="698081"/>
                  <a:pt x="2829144" y="691026"/>
                  <a:pt x="2829144" y="682507"/>
                </a:cubicBezTo>
                <a:cubicBezTo>
                  <a:pt x="2829144" y="674254"/>
                  <a:pt x="2831940" y="667198"/>
                  <a:pt x="2837531" y="661474"/>
                </a:cubicBezTo>
                <a:cubicBezTo>
                  <a:pt x="2843121" y="655750"/>
                  <a:pt x="2850310" y="652821"/>
                  <a:pt x="2859362" y="652821"/>
                </a:cubicBezTo>
                <a:close/>
                <a:moveTo>
                  <a:pt x="3294656" y="652821"/>
                </a:moveTo>
                <a:cubicBezTo>
                  <a:pt x="3298783" y="652821"/>
                  <a:pt x="3302778" y="653620"/>
                  <a:pt x="3306372" y="655350"/>
                </a:cubicBezTo>
                <a:cubicBezTo>
                  <a:pt x="3310099" y="656948"/>
                  <a:pt x="3313161" y="659077"/>
                  <a:pt x="3315690" y="661741"/>
                </a:cubicBezTo>
                <a:cubicBezTo>
                  <a:pt x="3318219" y="664402"/>
                  <a:pt x="3320349" y="667598"/>
                  <a:pt x="3321813" y="671192"/>
                </a:cubicBezTo>
                <a:cubicBezTo>
                  <a:pt x="3323277" y="674786"/>
                  <a:pt x="3324076" y="678646"/>
                  <a:pt x="3324076" y="682640"/>
                </a:cubicBezTo>
                <a:cubicBezTo>
                  <a:pt x="3324076" y="686767"/>
                  <a:pt x="3323277" y="690760"/>
                  <a:pt x="3321813" y="694354"/>
                </a:cubicBezTo>
                <a:cubicBezTo>
                  <a:pt x="3320349" y="697948"/>
                  <a:pt x="3318219" y="701010"/>
                  <a:pt x="3315690" y="703672"/>
                </a:cubicBezTo>
                <a:cubicBezTo>
                  <a:pt x="3313027" y="706335"/>
                  <a:pt x="3309965" y="708465"/>
                  <a:pt x="3306372" y="709929"/>
                </a:cubicBezTo>
                <a:cubicBezTo>
                  <a:pt x="3302778" y="711393"/>
                  <a:pt x="3298917" y="712192"/>
                  <a:pt x="3294656" y="712192"/>
                </a:cubicBezTo>
                <a:cubicBezTo>
                  <a:pt x="3285604" y="712192"/>
                  <a:pt x="3278415" y="709263"/>
                  <a:pt x="3272824" y="703672"/>
                </a:cubicBezTo>
                <a:cubicBezTo>
                  <a:pt x="3267233" y="698081"/>
                  <a:pt x="3264438" y="691026"/>
                  <a:pt x="3264438" y="682507"/>
                </a:cubicBezTo>
                <a:cubicBezTo>
                  <a:pt x="3264438" y="674254"/>
                  <a:pt x="3267233" y="667198"/>
                  <a:pt x="3272824" y="661473"/>
                </a:cubicBezTo>
                <a:cubicBezTo>
                  <a:pt x="3278415" y="655749"/>
                  <a:pt x="3285604" y="652821"/>
                  <a:pt x="3294656" y="652821"/>
                </a:cubicBezTo>
                <a:close/>
                <a:moveTo>
                  <a:pt x="3077009" y="652821"/>
                </a:moveTo>
                <a:cubicBezTo>
                  <a:pt x="3081136" y="652821"/>
                  <a:pt x="3085130" y="653753"/>
                  <a:pt x="3088724" y="655350"/>
                </a:cubicBezTo>
                <a:cubicBezTo>
                  <a:pt x="3092319" y="656948"/>
                  <a:pt x="3095514" y="659078"/>
                  <a:pt x="3098042" y="661741"/>
                </a:cubicBezTo>
                <a:cubicBezTo>
                  <a:pt x="3100571" y="664402"/>
                  <a:pt x="3102702" y="667598"/>
                  <a:pt x="3104166" y="671192"/>
                </a:cubicBezTo>
                <a:cubicBezTo>
                  <a:pt x="3105631" y="674786"/>
                  <a:pt x="3106429" y="678646"/>
                  <a:pt x="3106429" y="682640"/>
                </a:cubicBezTo>
                <a:cubicBezTo>
                  <a:pt x="3106429" y="686767"/>
                  <a:pt x="3105631" y="690760"/>
                  <a:pt x="3104166" y="694354"/>
                </a:cubicBezTo>
                <a:cubicBezTo>
                  <a:pt x="3102702" y="697948"/>
                  <a:pt x="3100571" y="701010"/>
                  <a:pt x="3098042" y="703672"/>
                </a:cubicBezTo>
                <a:cubicBezTo>
                  <a:pt x="3095380" y="706335"/>
                  <a:pt x="3092319" y="708465"/>
                  <a:pt x="3088724" y="709929"/>
                </a:cubicBezTo>
                <a:cubicBezTo>
                  <a:pt x="3085130" y="711393"/>
                  <a:pt x="3081269" y="712192"/>
                  <a:pt x="3077009" y="712192"/>
                </a:cubicBezTo>
                <a:cubicBezTo>
                  <a:pt x="3068091" y="712192"/>
                  <a:pt x="3060769" y="709263"/>
                  <a:pt x="3055177" y="703672"/>
                </a:cubicBezTo>
                <a:cubicBezTo>
                  <a:pt x="3049586" y="698081"/>
                  <a:pt x="3046791" y="691026"/>
                  <a:pt x="3046791" y="682507"/>
                </a:cubicBezTo>
                <a:cubicBezTo>
                  <a:pt x="3046791" y="674254"/>
                  <a:pt x="3049586" y="667198"/>
                  <a:pt x="3055177" y="661474"/>
                </a:cubicBezTo>
                <a:cubicBezTo>
                  <a:pt x="3060769" y="655749"/>
                  <a:pt x="3067957" y="652821"/>
                  <a:pt x="3077009" y="652821"/>
                </a:cubicBezTo>
                <a:close/>
                <a:moveTo>
                  <a:pt x="3512170" y="652821"/>
                </a:moveTo>
                <a:cubicBezTo>
                  <a:pt x="3516431" y="652821"/>
                  <a:pt x="3520291" y="653753"/>
                  <a:pt x="3523886" y="655350"/>
                </a:cubicBezTo>
                <a:cubicBezTo>
                  <a:pt x="3527479" y="656948"/>
                  <a:pt x="3530675" y="659077"/>
                  <a:pt x="3533204" y="661740"/>
                </a:cubicBezTo>
                <a:cubicBezTo>
                  <a:pt x="3535733" y="664402"/>
                  <a:pt x="3537863" y="667597"/>
                  <a:pt x="3539327" y="671192"/>
                </a:cubicBezTo>
                <a:cubicBezTo>
                  <a:pt x="3540791" y="674786"/>
                  <a:pt x="3541590" y="678646"/>
                  <a:pt x="3541590" y="682640"/>
                </a:cubicBezTo>
                <a:cubicBezTo>
                  <a:pt x="3541590" y="686767"/>
                  <a:pt x="3540791" y="690760"/>
                  <a:pt x="3539327" y="694354"/>
                </a:cubicBezTo>
                <a:cubicBezTo>
                  <a:pt x="3537863" y="697948"/>
                  <a:pt x="3535733" y="701010"/>
                  <a:pt x="3533204" y="703672"/>
                </a:cubicBezTo>
                <a:cubicBezTo>
                  <a:pt x="3530541" y="706335"/>
                  <a:pt x="3527479" y="708465"/>
                  <a:pt x="3523886" y="709929"/>
                </a:cubicBezTo>
                <a:cubicBezTo>
                  <a:pt x="3520291" y="711393"/>
                  <a:pt x="3516431" y="712192"/>
                  <a:pt x="3512170" y="712192"/>
                </a:cubicBezTo>
                <a:cubicBezTo>
                  <a:pt x="3503118" y="712192"/>
                  <a:pt x="3495929" y="709263"/>
                  <a:pt x="3490338" y="703672"/>
                </a:cubicBezTo>
                <a:cubicBezTo>
                  <a:pt x="3484747" y="698081"/>
                  <a:pt x="3481952" y="691026"/>
                  <a:pt x="3481952" y="682507"/>
                </a:cubicBezTo>
                <a:cubicBezTo>
                  <a:pt x="3481952" y="674253"/>
                  <a:pt x="3484747" y="667197"/>
                  <a:pt x="3490338" y="661473"/>
                </a:cubicBezTo>
                <a:cubicBezTo>
                  <a:pt x="3495929" y="655749"/>
                  <a:pt x="3503118" y="652821"/>
                  <a:pt x="3512170" y="652821"/>
                </a:cubicBezTo>
                <a:close/>
                <a:moveTo>
                  <a:pt x="3947465" y="652821"/>
                </a:moveTo>
                <a:cubicBezTo>
                  <a:pt x="3951725" y="652821"/>
                  <a:pt x="3955585" y="653620"/>
                  <a:pt x="3959180" y="655350"/>
                </a:cubicBezTo>
                <a:cubicBezTo>
                  <a:pt x="3962908" y="656948"/>
                  <a:pt x="3965969" y="659077"/>
                  <a:pt x="3968498" y="661740"/>
                </a:cubicBezTo>
                <a:cubicBezTo>
                  <a:pt x="3971028" y="664402"/>
                  <a:pt x="3973158" y="667597"/>
                  <a:pt x="3974622" y="671191"/>
                </a:cubicBezTo>
                <a:cubicBezTo>
                  <a:pt x="3976086" y="674785"/>
                  <a:pt x="3976885" y="678645"/>
                  <a:pt x="3976885" y="682640"/>
                </a:cubicBezTo>
                <a:cubicBezTo>
                  <a:pt x="3976885" y="686767"/>
                  <a:pt x="3976086" y="690760"/>
                  <a:pt x="3974622" y="694354"/>
                </a:cubicBezTo>
                <a:cubicBezTo>
                  <a:pt x="3973158" y="697948"/>
                  <a:pt x="3971028" y="701010"/>
                  <a:pt x="3968498" y="703672"/>
                </a:cubicBezTo>
                <a:cubicBezTo>
                  <a:pt x="3965836" y="706335"/>
                  <a:pt x="3962775" y="708465"/>
                  <a:pt x="3959180" y="709929"/>
                </a:cubicBezTo>
                <a:cubicBezTo>
                  <a:pt x="3955585" y="711393"/>
                  <a:pt x="3951725" y="712192"/>
                  <a:pt x="3947465" y="712192"/>
                </a:cubicBezTo>
                <a:cubicBezTo>
                  <a:pt x="3938413" y="712192"/>
                  <a:pt x="3931225" y="709263"/>
                  <a:pt x="3925633" y="703672"/>
                </a:cubicBezTo>
                <a:cubicBezTo>
                  <a:pt x="3920042" y="698081"/>
                  <a:pt x="3917247" y="691026"/>
                  <a:pt x="3917247" y="682506"/>
                </a:cubicBezTo>
                <a:cubicBezTo>
                  <a:pt x="3917247" y="674253"/>
                  <a:pt x="3920042" y="667197"/>
                  <a:pt x="3925633" y="661473"/>
                </a:cubicBezTo>
                <a:cubicBezTo>
                  <a:pt x="3931225" y="655749"/>
                  <a:pt x="3938413" y="652821"/>
                  <a:pt x="3947465" y="652821"/>
                </a:cubicBezTo>
                <a:close/>
                <a:moveTo>
                  <a:pt x="3729817" y="652821"/>
                </a:moveTo>
                <a:cubicBezTo>
                  <a:pt x="3734078" y="652821"/>
                  <a:pt x="3737939" y="653753"/>
                  <a:pt x="3741532" y="655350"/>
                </a:cubicBezTo>
                <a:cubicBezTo>
                  <a:pt x="3745127" y="656948"/>
                  <a:pt x="3748322" y="659077"/>
                  <a:pt x="3750851" y="661740"/>
                </a:cubicBezTo>
                <a:cubicBezTo>
                  <a:pt x="3753380" y="664402"/>
                  <a:pt x="3755510" y="667597"/>
                  <a:pt x="3756974" y="671191"/>
                </a:cubicBezTo>
                <a:cubicBezTo>
                  <a:pt x="3758438" y="674785"/>
                  <a:pt x="3759237" y="678646"/>
                  <a:pt x="3759237" y="682640"/>
                </a:cubicBezTo>
                <a:cubicBezTo>
                  <a:pt x="3759237" y="686767"/>
                  <a:pt x="3758438" y="690760"/>
                  <a:pt x="3756974" y="694354"/>
                </a:cubicBezTo>
                <a:cubicBezTo>
                  <a:pt x="3755510" y="697948"/>
                  <a:pt x="3753380" y="701010"/>
                  <a:pt x="3750851" y="703672"/>
                </a:cubicBezTo>
                <a:cubicBezTo>
                  <a:pt x="3748188" y="706335"/>
                  <a:pt x="3745127" y="708465"/>
                  <a:pt x="3741532" y="709929"/>
                </a:cubicBezTo>
                <a:cubicBezTo>
                  <a:pt x="3737939" y="711393"/>
                  <a:pt x="3734078" y="712192"/>
                  <a:pt x="3729817" y="712192"/>
                </a:cubicBezTo>
                <a:cubicBezTo>
                  <a:pt x="3720765" y="712192"/>
                  <a:pt x="3713577" y="709263"/>
                  <a:pt x="3707986" y="703672"/>
                </a:cubicBezTo>
                <a:cubicBezTo>
                  <a:pt x="3702393" y="698081"/>
                  <a:pt x="3699599" y="691026"/>
                  <a:pt x="3699599" y="682507"/>
                </a:cubicBezTo>
                <a:cubicBezTo>
                  <a:pt x="3699599" y="674253"/>
                  <a:pt x="3702393" y="667197"/>
                  <a:pt x="3707986" y="661473"/>
                </a:cubicBezTo>
                <a:cubicBezTo>
                  <a:pt x="3713577" y="655749"/>
                  <a:pt x="3720765" y="652821"/>
                  <a:pt x="3729817" y="652821"/>
                </a:cubicBezTo>
                <a:close/>
                <a:moveTo>
                  <a:pt x="4165068" y="652821"/>
                </a:moveTo>
                <a:cubicBezTo>
                  <a:pt x="4169327" y="652821"/>
                  <a:pt x="4173188" y="653620"/>
                  <a:pt x="4176782" y="655350"/>
                </a:cubicBezTo>
                <a:cubicBezTo>
                  <a:pt x="4180509" y="656948"/>
                  <a:pt x="4183571" y="659077"/>
                  <a:pt x="4186100" y="661740"/>
                </a:cubicBezTo>
                <a:cubicBezTo>
                  <a:pt x="4188629" y="664402"/>
                  <a:pt x="4190759" y="667597"/>
                  <a:pt x="4192223" y="671191"/>
                </a:cubicBezTo>
                <a:cubicBezTo>
                  <a:pt x="4193688" y="674785"/>
                  <a:pt x="4194486" y="678645"/>
                  <a:pt x="4194486" y="682639"/>
                </a:cubicBezTo>
                <a:cubicBezTo>
                  <a:pt x="4194486" y="686766"/>
                  <a:pt x="4193688" y="690759"/>
                  <a:pt x="4192223" y="694354"/>
                </a:cubicBezTo>
                <a:cubicBezTo>
                  <a:pt x="4190759" y="697948"/>
                  <a:pt x="4188629" y="701010"/>
                  <a:pt x="4186100" y="703672"/>
                </a:cubicBezTo>
                <a:cubicBezTo>
                  <a:pt x="4183438" y="706335"/>
                  <a:pt x="4180376" y="708465"/>
                  <a:pt x="4176782" y="709929"/>
                </a:cubicBezTo>
                <a:cubicBezTo>
                  <a:pt x="4173188" y="711393"/>
                  <a:pt x="4169327" y="712192"/>
                  <a:pt x="4165068" y="712192"/>
                </a:cubicBezTo>
                <a:cubicBezTo>
                  <a:pt x="4156015" y="712192"/>
                  <a:pt x="4148827" y="709263"/>
                  <a:pt x="4143235" y="703672"/>
                </a:cubicBezTo>
                <a:cubicBezTo>
                  <a:pt x="4137645" y="698081"/>
                  <a:pt x="4134849" y="691026"/>
                  <a:pt x="4134849" y="682506"/>
                </a:cubicBezTo>
                <a:cubicBezTo>
                  <a:pt x="4134849" y="674253"/>
                  <a:pt x="4137645" y="667197"/>
                  <a:pt x="4143235" y="661473"/>
                </a:cubicBezTo>
                <a:cubicBezTo>
                  <a:pt x="4148827" y="655749"/>
                  <a:pt x="4156015" y="652821"/>
                  <a:pt x="4165068" y="652821"/>
                </a:cubicBezTo>
                <a:close/>
                <a:moveTo>
                  <a:pt x="4600226" y="652821"/>
                </a:moveTo>
                <a:cubicBezTo>
                  <a:pt x="4604485" y="652821"/>
                  <a:pt x="4608479" y="653620"/>
                  <a:pt x="4612073" y="655350"/>
                </a:cubicBezTo>
                <a:cubicBezTo>
                  <a:pt x="4615800" y="656948"/>
                  <a:pt x="4618862" y="659077"/>
                  <a:pt x="4621391" y="661740"/>
                </a:cubicBezTo>
                <a:cubicBezTo>
                  <a:pt x="4623920" y="664402"/>
                  <a:pt x="4626050" y="667597"/>
                  <a:pt x="4627514" y="671191"/>
                </a:cubicBezTo>
                <a:cubicBezTo>
                  <a:pt x="4628978" y="674785"/>
                  <a:pt x="4629777" y="678645"/>
                  <a:pt x="4629777" y="682639"/>
                </a:cubicBezTo>
                <a:cubicBezTo>
                  <a:pt x="4629777" y="686766"/>
                  <a:pt x="4628978" y="690759"/>
                  <a:pt x="4627514" y="694354"/>
                </a:cubicBezTo>
                <a:cubicBezTo>
                  <a:pt x="4626050" y="697948"/>
                  <a:pt x="4623920" y="701009"/>
                  <a:pt x="4621391" y="703672"/>
                </a:cubicBezTo>
                <a:cubicBezTo>
                  <a:pt x="4618729" y="706335"/>
                  <a:pt x="4615667" y="708465"/>
                  <a:pt x="4612073" y="709929"/>
                </a:cubicBezTo>
                <a:cubicBezTo>
                  <a:pt x="4608346" y="711393"/>
                  <a:pt x="4604485" y="712192"/>
                  <a:pt x="4600226" y="712192"/>
                </a:cubicBezTo>
                <a:cubicBezTo>
                  <a:pt x="4591173" y="712192"/>
                  <a:pt x="4583985" y="709263"/>
                  <a:pt x="4578393" y="703672"/>
                </a:cubicBezTo>
                <a:cubicBezTo>
                  <a:pt x="4572803" y="698081"/>
                  <a:pt x="4570007" y="691025"/>
                  <a:pt x="4570007" y="682506"/>
                </a:cubicBezTo>
                <a:cubicBezTo>
                  <a:pt x="4570007" y="674253"/>
                  <a:pt x="4572803" y="667197"/>
                  <a:pt x="4578393" y="661473"/>
                </a:cubicBezTo>
                <a:cubicBezTo>
                  <a:pt x="4583985" y="655749"/>
                  <a:pt x="4591173" y="652821"/>
                  <a:pt x="4600226" y="652821"/>
                </a:cubicBezTo>
                <a:close/>
                <a:moveTo>
                  <a:pt x="4382713" y="652821"/>
                </a:moveTo>
                <a:cubicBezTo>
                  <a:pt x="4386840" y="652821"/>
                  <a:pt x="4390834" y="653620"/>
                  <a:pt x="4394428" y="655350"/>
                </a:cubicBezTo>
                <a:cubicBezTo>
                  <a:pt x="4398155" y="656948"/>
                  <a:pt x="4401217" y="659077"/>
                  <a:pt x="4403746" y="661740"/>
                </a:cubicBezTo>
                <a:cubicBezTo>
                  <a:pt x="4406275" y="664402"/>
                  <a:pt x="4408405" y="667597"/>
                  <a:pt x="4409869" y="671191"/>
                </a:cubicBezTo>
                <a:cubicBezTo>
                  <a:pt x="4411334" y="674785"/>
                  <a:pt x="4412132" y="678645"/>
                  <a:pt x="4412132" y="682639"/>
                </a:cubicBezTo>
                <a:cubicBezTo>
                  <a:pt x="4412132" y="686766"/>
                  <a:pt x="4411334" y="690759"/>
                  <a:pt x="4409869" y="694354"/>
                </a:cubicBezTo>
                <a:cubicBezTo>
                  <a:pt x="4408405" y="697948"/>
                  <a:pt x="4406275" y="701010"/>
                  <a:pt x="4403746" y="703672"/>
                </a:cubicBezTo>
                <a:cubicBezTo>
                  <a:pt x="4401083" y="706335"/>
                  <a:pt x="4398022" y="708465"/>
                  <a:pt x="4394428" y="709929"/>
                </a:cubicBezTo>
                <a:cubicBezTo>
                  <a:pt x="4390834" y="711393"/>
                  <a:pt x="4386973" y="712192"/>
                  <a:pt x="4382713" y="712192"/>
                </a:cubicBezTo>
                <a:cubicBezTo>
                  <a:pt x="4373661" y="712192"/>
                  <a:pt x="4366473" y="709263"/>
                  <a:pt x="4360881" y="703672"/>
                </a:cubicBezTo>
                <a:cubicBezTo>
                  <a:pt x="4355290" y="698081"/>
                  <a:pt x="4352495" y="691025"/>
                  <a:pt x="4352495" y="682506"/>
                </a:cubicBezTo>
                <a:cubicBezTo>
                  <a:pt x="4352495" y="674253"/>
                  <a:pt x="4355290" y="667197"/>
                  <a:pt x="4360881" y="661473"/>
                </a:cubicBezTo>
                <a:cubicBezTo>
                  <a:pt x="4366473" y="655749"/>
                  <a:pt x="4373661" y="652821"/>
                  <a:pt x="4382713" y="652821"/>
                </a:cubicBezTo>
                <a:close/>
                <a:moveTo>
                  <a:pt x="4817870" y="652821"/>
                </a:moveTo>
                <a:cubicBezTo>
                  <a:pt x="4822130" y="652821"/>
                  <a:pt x="4825857" y="653753"/>
                  <a:pt x="4829585" y="655350"/>
                </a:cubicBezTo>
                <a:cubicBezTo>
                  <a:pt x="4833312" y="656948"/>
                  <a:pt x="4836374" y="659077"/>
                  <a:pt x="4838903" y="661740"/>
                </a:cubicBezTo>
                <a:cubicBezTo>
                  <a:pt x="4841432" y="664402"/>
                  <a:pt x="4843562" y="667597"/>
                  <a:pt x="4845026" y="671191"/>
                </a:cubicBezTo>
                <a:cubicBezTo>
                  <a:pt x="4846491" y="674785"/>
                  <a:pt x="4847289" y="678645"/>
                  <a:pt x="4847289" y="682639"/>
                </a:cubicBezTo>
                <a:cubicBezTo>
                  <a:pt x="4847289" y="686766"/>
                  <a:pt x="4846491" y="690759"/>
                  <a:pt x="4845026" y="694353"/>
                </a:cubicBezTo>
                <a:cubicBezTo>
                  <a:pt x="4843562" y="697948"/>
                  <a:pt x="4841432" y="701009"/>
                  <a:pt x="4838903" y="703671"/>
                </a:cubicBezTo>
                <a:cubicBezTo>
                  <a:pt x="4836240" y="706335"/>
                  <a:pt x="4833179" y="708465"/>
                  <a:pt x="4829585" y="709929"/>
                </a:cubicBezTo>
                <a:cubicBezTo>
                  <a:pt x="4825991" y="711393"/>
                  <a:pt x="4822130" y="712192"/>
                  <a:pt x="4817870" y="712192"/>
                </a:cubicBezTo>
                <a:cubicBezTo>
                  <a:pt x="4808952" y="712192"/>
                  <a:pt x="4801630" y="709263"/>
                  <a:pt x="4796038" y="703671"/>
                </a:cubicBezTo>
                <a:cubicBezTo>
                  <a:pt x="4790447" y="698081"/>
                  <a:pt x="4787652" y="691025"/>
                  <a:pt x="4787652" y="682506"/>
                </a:cubicBezTo>
                <a:cubicBezTo>
                  <a:pt x="4787652" y="674253"/>
                  <a:pt x="4790447" y="667197"/>
                  <a:pt x="4796038" y="661473"/>
                </a:cubicBezTo>
                <a:cubicBezTo>
                  <a:pt x="4801630" y="655749"/>
                  <a:pt x="4808818" y="652821"/>
                  <a:pt x="4817870" y="652821"/>
                </a:cubicBezTo>
                <a:close/>
                <a:moveTo>
                  <a:pt x="5253160" y="652820"/>
                </a:moveTo>
                <a:cubicBezTo>
                  <a:pt x="5257420" y="652820"/>
                  <a:pt x="5261147" y="653752"/>
                  <a:pt x="5264875" y="655349"/>
                </a:cubicBezTo>
                <a:cubicBezTo>
                  <a:pt x="5268602" y="656947"/>
                  <a:pt x="5271664" y="659077"/>
                  <a:pt x="5274192" y="661740"/>
                </a:cubicBezTo>
                <a:cubicBezTo>
                  <a:pt x="5276722" y="664401"/>
                  <a:pt x="5278852" y="667597"/>
                  <a:pt x="5280316" y="671191"/>
                </a:cubicBezTo>
                <a:cubicBezTo>
                  <a:pt x="5281780" y="674785"/>
                  <a:pt x="5282579" y="678645"/>
                  <a:pt x="5282579" y="682639"/>
                </a:cubicBezTo>
                <a:cubicBezTo>
                  <a:pt x="5282579" y="686766"/>
                  <a:pt x="5281780" y="690759"/>
                  <a:pt x="5280316" y="694353"/>
                </a:cubicBezTo>
                <a:cubicBezTo>
                  <a:pt x="5278852" y="697947"/>
                  <a:pt x="5276722" y="701009"/>
                  <a:pt x="5274192" y="703671"/>
                </a:cubicBezTo>
                <a:cubicBezTo>
                  <a:pt x="5271664" y="706334"/>
                  <a:pt x="5268469" y="708464"/>
                  <a:pt x="5264875" y="709928"/>
                </a:cubicBezTo>
                <a:cubicBezTo>
                  <a:pt x="5261280" y="711393"/>
                  <a:pt x="5257420" y="712191"/>
                  <a:pt x="5253160" y="712191"/>
                </a:cubicBezTo>
                <a:cubicBezTo>
                  <a:pt x="5244241" y="712191"/>
                  <a:pt x="5236920" y="709263"/>
                  <a:pt x="5231328" y="703671"/>
                </a:cubicBezTo>
                <a:cubicBezTo>
                  <a:pt x="5225737" y="698080"/>
                  <a:pt x="5222942" y="691025"/>
                  <a:pt x="5222942" y="682506"/>
                </a:cubicBezTo>
                <a:cubicBezTo>
                  <a:pt x="5222942" y="674253"/>
                  <a:pt x="5225737" y="667197"/>
                  <a:pt x="5231328" y="661473"/>
                </a:cubicBezTo>
                <a:cubicBezTo>
                  <a:pt x="5236920" y="655748"/>
                  <a:pt x="5244108" y="652820"/>
                  <a:pt x="5253160" y="652820"/>
                </a:cubicBezTo>
                <a:close/>
                <a:moveTo>
                  <a:pt x="5035515" y="652820"/>
                </a:moveTo>
                <a:cubicBezTo>
                  <a:pt x="5039775" y="652820"/>
                  <a:pt x="5043502" y="653753"/>
                  <a:pt x="5047230" y="655349"/>
                </a:cubicBezTo>
                <a:cubicBezTo>
                  <a:pt x="5050957" y="656948"/>
                  <a:pt x="5054019" y="659077"/>
                  <a:pt x="5056548" y="661740"/>
                </a:cubicBezTo>
                <a:cubicBezTo>
                  <a:pt x="5059077" y="664402"/>
                  <a:pt x="5061207" y="667597"/>
                  <a:pt x="5062671" y="671191"/>
                </a:cubicBezTo>
                <a:cubicBezTo>
                  <a:pt x="5064135" y="674785"/>
                  <a:pt x="5064934" y="678645"/>
                  <a:pt x="5064934" y="682639"/>
                </a:cubicBezTo>
                <a:cubicBezTo>
                  <a:pt x="5064934" y="686766"/>
                  <a:pt x="5064135" y="690759"/>
                  <a:pt x="5062671" y="694353"/>
                </a:cubicBezTo>
                <a:cubicBezTo>
                  <a:pt x="5061207" y="697947"/>
                  <a:pt x="5059077" y="701009"/>
                  <a:pt x="5056548" y="703671"/>
                </a:cubicBezTo>
                <a:cubicBezTo>
                  <a:pt x="5053885" y="706334"/>
                  <a:pt x="5050824" y="708465"/>
                  <a:pt x="5047230" y="709928"/>
                </a:cubicBezTo>
                <a:cubicBezTo>
                  <a:pt x="5043636" y="711393"/>
                  <a:pt x="5039775" y="712192"/>
                  <a:pt x="5035515" y="712192"/>
                </a:cubicBezTo>
                <a:cubicBezTo>
                  <a:pt x="5026597" y="712192"/>
                  <a:pt x="5019275" y="709263"/>
                  <a:pt x="5013683" y="703671"/>
                </a:cubicBezTo>
                <a:cubicBezTo>
                  <a:pt x="5008092" y="698080"/>
                  <a:pt x="5005297" y="691025"/>
                  <a:pt x="5005297" y="682506"/>
                </a:cubicBezTo>
                <a:cubicBezTo>
                  <a:pt x="5005297" y="674253"/>
                  <a:pt x="5008092" y="667197"/>
                  <a:pt x="5013683" y="661473"/>
                </a:cubicBezTo>
                <a:cubicBezTo>
                  <a:pt x="5019275" y="655748"/>
                  <a:pt x="5026463" y="652820"/>
                  <a:pt x="5035515" y="652820"/>
                </a:cubicBezTo>
                <a:close/>
                <a:moveTo>
                  <a:pt x="5470806" y="652820"/>
                </a:moveTo>
                <a:cubicBezTo>
                  <a:pt x="5475065" y="652820"/>
                  <a:pt x="5478793" y="653752"/>
                  <a:pt x="5482520" y="655349"/>
                </a:cubicBezTo>
                <a:cubicBezTo>
                  <a:pt x="5486247" y="656947"/>
                  <a:pt x="5489309" y="659077"/>
                  <a:pt x="5491838" y="661740"/>
                </a:cubicBezTo>
                <a:cubicBezTo>
                  <a:pt x="5494367" y="664401"/>
                  <a:pt x="5496497" y="667596"/>
                  <a:pt x="5497961" y="671191"/>
                </a:cubicBezTo>
                <a:cubicBezTo>
                  <a:pt x="5499426" y="674785"/>
                  <a:pt x="5500224" y="678645"/>
                  <a:pt x="5500224" y="682639"/>
                </a:cubicBezTo>
                <a:cubicBezTo>
                  <a:pt x="5500224" y="686766"/>
                  <a:pt x="5499426" y="690759"/>
                  <a:pt x="5497961" y="694353"/>
                </a:cubicBezTo>
                <a:cubicBezTo>
                  <a:pt x="5496497" y="697947"/>
                  <a:pt x="5494367" y="701009"/>
                  <a:pt x="5491838" y="703671"/>
                </a:cubicBezTo>
                <a:cubicBezTo>
                  <a:pt x="5489176" y="706334"/>
                  <a:pt x="5486114" y="708464"/>
                  <a:pt x="5482520" y="709928"/>
                </a:cubicBezTo>
                <a:cubicBezTo>
                  <a:pt x="5478926" y="711392"/>
                  <a:pt x="5475065" y="712191"/>
                  <a:pt x="5470806" y="712191"/>
                </a:cubicBezTo>
                <a:cubicBezTo>
                  <a:pt x="5461887" y="712191"/>
                  <a:pt x="5454565" y="709262"/>
                  <a:pt x="5448973" y="703671"/>
                </a:cubicBezTo>
                <a:cubicBezTo>
                  <a:pt x="5443383" y="698080"/>
                  <a:pt x="5440587" y="691025"/>
                  <a:pt x="5440587" y="682506"/>
                </a:cubicBezTo>
                <a:cubicBezTo>
                  <a:pt x="5440587" y="674253"/>
                  <a:pt x="5443383" y="667197"/>
                  <a:pt x="5448973" y="661472"/>
                </a:cubicBezTo>
                <a:cubicBezTo>
                  <a:pt x="5454565" y="655748"/>
                  <a:pt x="5461754" y="652820"/>
                  <a:pt x="5470806" y="652820"/>
                </a:cubicBezTo>
                <a:close/>
                <a:moveTo>
                  <a:pt x="6123608" y="652820"/>
                </a:moveTo>
                <a:cubicBezTo>
                  <a:pt x="6127867" y="652820"/>
                  <a:pt x="6131594" y="653752"/>
                  <a:pt x="6135322" y="655349"/>
                </a:cubicBezTo>
                <a:cubicBezTo>
                  <a:pt x="6139049" y="656947"/>
                  <a:pt x="6142111" y="659076"/>
                  <a:pt x="6144640" y="661739"/>
                </a:cubicBezTo>
                <a:cubicBezTo>
                  <a:pt x="6147169" y="664401"/>
                  <a:pt x="6149299" y="667596"/>
                  <a:pt x="6150763" y="671190"/>
                </a:cubicBezTo>
                <a:cubicBezTo>
                  <a:pt x="6152228" y="674784"/>
                  <a:pt x="6153026" y="678644"/>
                  <a:pt x="6153026" y="682639"/>
                </a:cubicBezTo>
                <a:cubicBezTo>
                  <a:pt x="6153026" y="686766"/>
                  <a:pt x="6152228" y="690759"/>
                  <a:pt x="6150763" y="694353"/>
                </a:cubicBezTo>
                <a:cubicBezTo>
                  <a:pt x="6149299" y="697947"/>
                  <a:pt x="6147169" y="701009"/>
                  <a:pt x="6144640" y="703671"/>
                </a:cubicBezTo>
                <a:cubicBezTo>
                  <a:pt x="6141977" y="706334"/>
                  <a:pt x="6138916" y="708464"/>
                  <a:pt x="6135322" y="709928"/>
                </a:cubicBezTo>
                <a:cubicBezTo>
                  <a:pt x="6131728" y="711392"/>
                  <a:pt x="6127867" y="712191"/>
                  <a:pt x="6123608" y="712191"/>
                </a:cubicBezTo>
                <a:cubicBezTo>
                  <a:pt x="6114689" y="712191"/>
                  <a:pt x="6107367" y="709262"/>
                  <a:pt x="6101775" y="703671"/>
                </a:cubicBezTo>
                <a:cubicBezTo>
                  <a:pt x="6096184" y="698080"/>
                  <a:pt x="6093389" y="691025"/>
                  <a:pt x="6093389" y="682506"/>
                </a:cubicBezTo>
                <a:cubicBezTo>
                  <a:pt x="6093389" y="674252"/>
                  <a:pt x="6096184" y="667196"/>
                  <a:pt x="6101775" y="661472"/>
                </a:cubicBezTo>
                <a:cubicBezTo>
                  <a:pt x="6107367" y="655748"/>
                  <a:pt x="6114555" y="652820"/>
                  <a:pt x="6123608" y="652820"/>
                </a:cubicBezTo>
                <a:close/>
                <a:moveTo>
                  <a:pt x="5905963" y="652820"/>
                </a:moveTo>
                <a:cubicBezTo>
                  <a:pt x="5910222" y="652820"/>
                  <a:pt x="5913950" y="653752"/>
                  <a:pt x="5917677" y="655349"/>
                </a:cubicBezTo>
                <a:cubicBezTo>
                  <a:pt x="5921404" y="656947"/>
                  <a:pt x="5924466" y="659076"/>
                  <a:pt x="5926995" y="661739"/>
                </a:cubicBezTo>
                <a:cubicBezTo>
                  <a:pt x="5929524" y="664401"/>
                  <a:pt x="5931654" y="667596"/>
                  <a:pt x="5933118" y="671190"/>
                </a:cubicBezTo>
                <a:cubicBezTo>
                  <a:pt x="5934583" y="674784"/>
                  <a:pt x="5935381" y="678645"/>
                  <a:pt x="5935381" y="682639"/>
                </a:cubicBezTo>
                <a:cubicBezTo>
                  <a:pt x="5935381" y="686766"/>
                  <a:pt x="5934583" y="690759"/>
                  <a:pt x="5933118" y="694353"/>
                </a:cubicBezTo>
                <a:cubicBezTo>
                  <a:pt x="5931654" y="697947"/>
                  <a:pt x="5929524" y="701009"/>
                  <a:pt x="5926995" y="703671"/>
                </a:cubicBezTo>
                <a:cubicBezTo>
                  <a:pt x="5924333" y="706334"/>
                  <a:pt x="5921271" y="708464"/>
                  <a:pt x="5917677" y="709928"/>
                </a:cubicBezTo>
                <a:cubicBezTo>
                  <a:pt x="5914083" y="711392"/>
                  <a:pt x="5910222" y="712191"/>
                  <a:pt x="5905963" y="712191"/>
                </a:cubicBezTo>
                <a:cubicBezTo>
                  <a:pt x="5897044" y="712191"/>
                  <a:pt x="5889722" y="709262"/>
                  <a:pt x="5884130" y="703671"/>
                </a:cubicBezTo>
                <a:cubicBezTo>
                  <a:pt x="5878540" y="698080"/>
                  <a:pt x="5875744" y="691025"/>
                  <a:pt x="5875744" y="682506"/>
                </a:cubicBezTo>
                <a:cubicBezTo>
                  <a:pt x="5875744" y="674252"/>
                  <a:pt x="5878540" y="667196"/>
                  <a:pt x="5884130" y="661472"/>
                </a:cubicBezTo>
                <a:cubicBezTo>
                  <a:pt x="5889722" y="655748"/>
                  <a:pt x="5896910" y="652820"/>
                  <a:pt x="5905963" y="652820"/>
                </a:cubicBezTo>
                <a:close/>
                <a:moveTo>
                  <a:pt x="5688451" y="652820"/>
                </a:moveTo>
                <a:cubicBezTo>
                  <a:pt x="5692577" y="652820"/>
                  <a:pt x="5696437" y="653752"/>
                  <a:pt x="5700165" y="655349"/>
                </a:cubicBezTo>
                <a:cubicBezTo>
                  <a:pt x="5703892" y="656947"/>
                  <a:pt x="5706954" y="659076"/>
                  <a:pt x="5709483" y="661739"/>
                </a:cubicBezTo>
                <a:cubicBezTo>
                  <a:pt x="5712012" y="664401"/>
                  <a:pt x="5714142" y="667596"/>
                  <a:pt x="5715606" y="671190"/>
                </a:cubicBezTo>
                <a:cubicBezTo>
                  <a:pt x="5717071" y="674784"/>
                  <a:pt x="5717869" y="678645"/>
                  <a:pt x="5717869" y="682639"/>
                </a:cubicBezTo>
                <a:cubicBezTo>
                  <a:pt x="5717869" y="686766"/>
                  <a:pt x="5717071" y="690759"/>
                  <a:pt x="5715606" y="694353"/>
                </a:cubicBezTo>
                <a:cubicBezTo>
                  <a:pt x="5714142" y="697947"/>
                  <a:pt x="5712012" y="701009"/>
                  <a:pt x="5709483" y="703671"/>
                </a:cubicBezTo>
                <a:cubicBezTo>
                  <a:pt x="5706820" y="706334"/>
                  <a:pt x="5703759" y="708464"/>
                  <a:pt x="5700165" y="709928"/>
                </a:cubicBezTo>
                <a:cubicBezTo>
                  <a:pt x="5696571" y="711392"/>
                  <a:pt x="5692710" y="712191"/>
                  <a:pt x="5688451" y="712191"/>
                </a:cubicBezTo>
                <a:cubicBezTo>
                  <a:pt x="5679532" y="712191"/>
                  <a:pt x="5672210" y="709262"/>
                  <a:pt x="5666618" y="703671"/>
                </a:cubicBezTo>
                <a:cubicBezTo>
                  <a:pt x="5661028" y="698080"/>
                  <a:pt x="5658232" y="691025"/>
                  <a:pt x="5658232" y="682506"/>
                </a:cubicBezTo>
                <a:cubicBezTo>
                  <a:pt x="5658232" y="674253"/>
                  <a:pt x="5661028" y="667197"/>
                  <a:pt x="5666618" y="661472"/>
                </a:cubicBezTo>
                <a:cubicBezTo>
                  <a:pt x="5672210" y="655748"/>
                  <a:pt x="5679398" y="652820"/>
                  <a:pt x="5688451" y="652820"/>
                </a:cubicBezTo>
                <a:close/>
                <a:moveTo>
                  <a:pt x="6341253" y="652820"/>
                </a:moveTo>
                <a:cubicBezTo>
                  <a:pt x="6345513" y="652820"/>
                  <a:pt x="6349373" y="653619"/>
                  <a:pt x="6352968" y="655349"/>
                </a:cubicBezTo>
                <a:cubicBezTo>
                  <a:pt x="6356695" y="656947"/>
                  <a:pt x="6359757" y="659076"/>
                  <a:pt x="6362286" y="661739"/>
                </a:cubicBezTo>
                <a:cubicBezTo>
                  <a:pt x="6364815" y="664401"/>
                  <a:pt x="6366945" y="667596"/>
                  <a:pt x="6368409" y="671190"/>
                </a:cubicBezTo>
                <a:cubicBezTo>
                  <a:pt x="6369874" y="674784"/>
                  <a:pt x="6370672" y="678644"/>
                  <a:pt x="6370672" y="682639"/>
                </a:cubicBezTo>
                <a:cubicBezTo>
                  <a:pt x="6370672" y="686765"/>
                  <a:pt x="6369874" y="690759"/>
                  <a:pt x="6368409" y="694353"/>
                </a:cubicBezTo>
                <a:cubicBezTo>
                  <a:pt x="6366811" y="697947"/>
                  <a:pt x="6364815" y="701009"/>
                  <a:pt x="6362286" y="703671"/>
                </a:cubicBezTo>
                <a:cubicBezTo>
                  <a:pt x="6359623" y="706334"/>
                  <a:pt x="6356562" y="708464"/>
                  <a:pt x="6352968" y="709928"/>
                </a:cubicBezTo>
                <a:cubicBezTo>
                  <a:pt x="6349373" y="711392"/>
                  <a:pt x="6345513" y="712191"/>
                  <a:pt x="6341253" y="712191"/>
                </a:cubicBezTo>
                <a:cubicBezTo>
                  <a:pt x="6332335" y="712191"/>
                  <a:pt x="6325013" y="709262"/>
                  <a:pt x="6319421" y="703671"/>
                </a:cubicBezTo>
                <a:cubicBezTo>
                  <a:pt x="6313830" y="698080"/>
                  <a:pt x="6311035" y="691025"/>
                  <a:pt x="6311035" y="682505"/>
                </a:cubicBezTo>
                <a:cubicBezTo>
                  <a:pt x="6311035" y="674252"/>
                  <a:pt x="6313830" y="667196"/>
                  <a:pt x="6319421" y="661472"/>
                </a:cubicBezTo>
                <a:cubicBezTo>
                  <a:pt x="6325013" y="655748"/>
                  <a:pt x="6332201" y="652820"/>
                  <a:pt x="6341253" y="652820"/>
                </a:cubicBezTo>
                <a:close/>
                <a:moveTo>
                  <a:pt x="6776544" y="652820"/>
                </a:moveTo>
                <a:cubicBezTo>
                  <a:pt x="6780670" y="652820"/>
                  <a:pt x="6784664" y="653619"/>
                  <a:pt x="6788258" y="655349"/>
                </a:cubicBezTo>
                <a:cubicBezTo>
                  <a:pt x="6791985" y="656947"/>
                  <a:pt x="6795047" y="659076"/>
                  <a:pt x="6797576" y="661739"/>
                </a:cubicBezTo>
                <a:cubicBezTo>
                  <a:pt x="6800105" y="664401"/>
                  <a:pt x="6802235" y="667596"/>
                  <a:pt x="6803699" y="671190"/>
                </a:cubicBezTo>
                <a:cubicBezTo>
                  <a:pt x="6805164" y="674784"/>
                  <a:pt x="6805963" y="678644"/>
                  <a:pt x="6805963" y="682638"/>
                </a:cubicBezTo>
                <a:cubicBezTo>
                  <a:pt x="6805963" y="686765"/>
                  <a:pt x="6805164" y="690758"/>
                  <a:pt x="6803699" y="694352"/>
                </a:cubicBezTo>
                <a:cubicBezTo>
                  <a:pt x="6802102" y="697947"/>
                  <a:pt x="6800105" y="701009"/>
                  <a:pt x="6797576" y="703671"/>
                </a:cubicBezTo>
                <a:cubicBezTo>
                  <a:pt x="6794914" y="706334"/>
                  <a:pt x="6791852" y="708464"/>
                  <a:pt x="6788258" y="709928"/>
                </a:cubicBezTo>
                <a:cubicBezTo>
                  <a:pt x="6784664" y="711392"/>
                  <a:pt x="6780803" y="712191"/>
                  <a:pt x="6776544" y="712191"/>
                </a:cubicBezTo>
                <a:cubicBezTo>
                  <a:pt x="6767625" y="712191"/>
                  <a:pt x="6760303" y="709262"/>
                  <a:pt x="6754711" y="703671"/>
                </a:cubicBezTo>
                <a:cubicBezTo>
                  <a:pt x="6749121" y="698080"/>
                  <a:pt x="6746325" y="691024"/>
                  <a:pt x="6746325" y="682505"/>
                </a:cubicBezTo>
                <a:cubicBezTo>
                  <a:pt x="6746325" y="674252"/>
                  <a:pt x="6749121" y="667196"/>
                  <a:pt x="6754711" y="661472"/>
                </a:cubicBezTo>
                <a:cubicBezTo>
                  <a:pt x="6760303" y="655748"/>
                  <a:pt x="6767492" y="652820"/>
                  <a:pt x="6776544" y="652820"/>
                </a:cubicBezTo>
                <a:close/>
                <a:moveTo>
                  <a:pt x="6558899" y="652820"/>
                </a:moveTo>
                <a:cubicBezTo>
                  <a:pt x="6563158" y="652820"/>
                  <a:pt x="6567019" y="653619"/>
                  <a:pt x="6570612" y="655349"/>
                </a:cubicBezTo>
                <a:cubicBezTo>
                  <a:pt x="6574340" y="656947"/>
                  <a:pt x="6577401" y="659076"/>
                  <a:pt x="6579930" y="661739"/>
                </a:cubicBezTo>
                <a:cubicBezTo>
                  <a:pt x="6582460" y="664401"/>
                  <a:pt x="6584590" y="667596"/>
                  <a:pt x="6586054" y="671190"/>
                </a:cubicBezTo>
                <a:cubicBezTo>
                  <a:pt x="6587518" y="674784"/>
                  <a:pt x="6588317" y="678644"/>
                  <a:pt x="6588317" y="682638"/>
                </a:cubicBezTo>
                <a:cubicBezTo>
                  <a:pt x="6588317" y="686765"/>
                  <a:pt x="6587518" y="690758"/>
                  <a:pt x="6586054" y="694353"/>
                </a:cubicBezTo>
                <a:cubicBezTo>
                  <a:pt x="6584457" y="697947"/>
                  <a:pt x="6582460" y="701009"/>
                  <a:pt x="6579930" y="703671"/>
                </a:cubicBezTo>
                <a:cubicBezTo>
                  <a:pt x="6577268" y="706334"/>
                  <a:pt x="6574207" y="708464"/>
                  <a:pt x="6570612" y="709928"/>
                </a:cubicBezTo>
                <a:cubicBezTo>
                  <a:pt x="6567019" y="711392"/>
                  <a:pt x="6563158" y="712191"/>
                  <a:pt x="6558899" y="712191"/>
                </a:cubicBezTo>
                <a:cubicBezTo>
                  <a:pt x="6549979" y="712191"/>
                  <a:pt x="6542658" y="709262"/>
                  <a:pt x="6537066" y="703671"/>
                </a:cubicBezTo>
                <a:cubicBezTo>
                  <a:pt x="6531476" y="698080"/>
                  <a:pt x="6528680" y="691025"/>
                  <a:pt x="6528680" y="682505"/>
                </a:cubicBezTo>
                <a:cubicBezTo>
                  <a:pt x="6528680" y="674252"/>
                  <a:pt x="6531476" y="667196"/>
                  <a:pt x="6537066" y="661472"/>
                </a:cubicBezTo>
                <a:cubicBezTo>
                  <a:pt x="6542658" y="655748"/>
                  <a:pt x="6549846" y="652820"/>
                  <a:pt x="6558899" y="652820"/>
                </a:cubicBezTo>
                <a:close/>
                <a:moveTo>
                  <a:pt x="7211701" y="652820"/>
                </a:moveTo>
                <a:cubicBezTo>
                  <a:pt x="7215960" y="652820"/>
                  <a:pt x="7219954" y="653619"/>
                  <a:pt x="7223415" y="655348"/>
                </a:cubicBezTo>
                <a:cubicBezTo>
                  <a:pt x="7227142" y="656947"/>
                  <a:pt x="7230204" y="659076"/>
                  <a:pt x="7232733" y="661739"/>
                </a:cubicBezTo>
                <a:cubicBezTo>
                  <a:pt x="7235262" y="664400"/>
                  <a:pt x="7237392" y="667596"/>
                  <a:pt x="7238856" y="671190"/>
                </a:cubicBezTo>
                <a:cubicBezTo>
                  <a:pt x="7240321" y="674784"/>
                  <a:pt x="7241120" y="678644"/>
                  <a:pt x="7241120" y="682638"/>
                </a:cubicBezTo>
                <a:cubicBezTo>
                  <a:pt x="7241120" y="686765"/>
                  <a:pt x="7240321" y="690758"/>
                  <a:pt x="7238856" y="694352"/>
                </a:cubicBezTo>
                <a:cubicBezTo>
                  <a:pt x="7237259" y="697946"/>
                  <a:pt x="7235262" y="701008"/>
                  <a:pt x="7232733" y="703670"/>
                </a:cubicBezTo>
                <a:cubicBezTo>
                  <a:pt x="7230071" y="706333"/>
                  <a:pt x="7227009" y="708464"/>
                  <a:pt x="7223415" y="709928"/>
                </a:cubicBezTo>
                <a:cubicBezTo>
                  <a:pt x="7219821" y="711392"/>
                  <a:pt x="7215960" y="712191"/>
                  <a:pt x="7211701" y="712191"/>
                </a:cubicBezTo>
                <a:cubicBezTo>
                  <a:pt x="7202782" y="712191"/>
                  <a:pt x="7195460" y="709262"/>
                  <a:pt x="7189868" y="703670"/>
                </a:cubicBezTo>
                <a:cubicBezTo>
                  <a:pt x="7184278" y="698079"/>
                  <a:pt x="7181482" y="691024"/>
                  <a:pt x="7181482" y="682505"/>
                </a:cubicBezTo>
                <a:cubicBezTo>
                  <a:pt x="7181482" y="674252"/>
                  <a:pt x="7184278" y="667196"/>
                  <a:pt x="7189868" y="661472"/>
                </a:cubicBezTo>
                <a:cubicBezTo>
                  <a:pt x="7195460" y="655747"/>
                  <a:pt x="7202649" y="652820"/>
                  <a:pt x="7211701" y="652820"/>
                </a:cubicBezTo>
                <a:close/>
                <a:moveTo>
                  <a:pt x="6994056" y="652820"/>
                </a:moveTo>
                <a:cubicBezTo>
                  <a:pt x="6998315" y="652820"/>
                  <a:pt x="7002309" y="653619"/>
                  <a:pt x="7005769" y="655349"/>
                </a:cubicBezTo>
                <a:cubicBezTo>
                  <a:pt x="7009497" y="656947"/>
                  <a:pt x="7012558" y="659076"/>
                  <a:pt x="7015087" y="661739"/>
                </a:cubicBezTo>
                <a:cubicBezTo>
                  <a:pt x="7017617" y="664401"/>
                  <a:pt x="7019747" y="667596"/>
                  <a:pt x="7021211" y="671190"/>
                </a:cubicBezTo>
                <a:cubicBezTo>
                  <a:pt x="7022675" y="674784"/>
                  <a:pt x="7023474" y="678644"/>
                  <a:pt x="7023474" y="682638"/>
                </a:cubicBezTo>
                <a:cubicBezTo>
                  <a:pt x="7023474" y="686765"/>
                  <a:pt x="7022675" y="690758"/>
                  <a:pt x="7021211" y="694352"/>
                </a:cubicBezTo>
                <a:cubicBezTo>
                  <a:pt x="7019614" y="697946"/>
                  <a:pt x="7017617" y="701008"/>
                  <a:pt x="7015087" y="703670"/>
                </a:cubicBezTo>
                <a:cubicBezTo>
                  <a:pt x="7012425" y="706333"/>
                  <a:pt x="7009364" y="708464"/>
                  <a:pt x="7005769" y="709928"/>
                </a:cubicBezTo>
                <a:cubicBezTo>
                  <a:pt x="7002176" y="711392"/>
                  <a:pt x="6998315" y="712191"/>
                  <a:pt x="6994056" y="712191"/>
                </a:cubicBezTo>
                <a:cubicBezTo>
                  <a:pt x="6985136" y="712191"/>
                  <a:pt x="6977815" y="709262"/>
                  <a:pt x="6972223" y="703670"/>
                </a:cubicBezTo>
                <a:cubicBezTo>
                  <a:pt x="6966632" y="698079"/>
                  <a:pt x="6963837" y="691024"/>
                  <a:pt x="6963837" y="682505"/>
                </a:cubicBezTo>
                <a:cubicBezTo>
                  <a:pt x="6963837" y="674252"/>
                  <a:pt x="6966632" y="667196"/>
                  <a:pt x="6972223" y="661472"/>
                </a:cubicBezTo>
                <a:cubicBezTo>
                  <a:pt x="6977815" y="655748"/>
                  <a:pt x="6985003" y="652820"/>
                  <a:pt x="6994056" y="652820"/>
                </a:cubicBezTo>
                <a:close/>
                <a:moveTo>
                  <a:pt x="7429345" y="652819"/>
                </a:moveTo>
                <a:cubicBezTo>
                  <a:pt x="7433605" y="652819"/>
                  <a:pt x="7437466" y="653618"/>
                  <a:pt x="7441059" y="655348"/>
                </a:cubicBezTo>
                <a:cubicBezTo>
                  <a:pt x="7444787" y="656946"/>
                  <a:pt x="7447848" y="659076"/>
                  <a:pt x="7450377" y="661739"/>
                </a:cubicBezTo>
                <a:cubicBezTo>
                  <a:pt x="7452907" y="664400"/>
                  <a:pt x="7455036" y="667596"/>
                  <a:pt x="7456501" y="671190"/>
                </a:cubicBezTo>
                <a:cubicBezTo>
                  <a:pt x="7457965" y="674784"/>
                  <a:pt x="7458764" y="678644"/>
                  <a:pt x="7458764" y="682638"/>
                </a:cubicBezTo>
                <a:cubicBezTo>
                  <a:pt x="7458764" y="686765"/>
                  <a:pt x="7457965" y="690758"/>
                  <a:pt x="7456501" y="694352"/>
                </a:cubicBezTo>
                <a:cubicBezTo>
                  <a:pt x="7454904" y="697946"/>
                  <a:pt x="7452907" y="701008"/>
                  <a:pt x="7450377" y="703670"/>
                </a:cubicBezTo>
                <a:cubicBezTo>
                  <a:pt x="7447715" y="706333"/>
                  <a:pt x="7444654" y="708463"/>
                  <a:pt x="7441059" y="709927"/>
                </a:cubicBezTo>
                <a:cubicBezTo>
                  <a:pt x="7437466" y="711391"/>
                  <a:pt x="7433605" y="712191"/>
                  <a:pt x="7429345" y="712191"/>
                </a:cubicBezTo>
                <a:cubicBezTo>
                  <a:pt x="7420426" y="712191"/>
                  <a:pt x="7413105" y="709262"/>
                  <a:pt x="7407513" y="703670"/>
                </a:cubicBezTo>
                <a:cubicBezTo>
                  <a:pt x="7401922" y="698079"/>
                  <a:pt x="7399127" y="691024"/>
                  <a:pt x="7399127" y="682505"/>
                </a:cubicBezTo>
                <a:cubicBezTo>
                  <a:pt x="7399127" y="674252"/>
                  <a:pt x="7401922" y="667196"/>
                  <a:pt x="7407513" y="661472"/>
                </a:cubicBezTo>
                <a:cubicBezTo>
                  <a:pt x="7413105" y="655747"/>
                  <a:pt x="7420293" y="652819"/>
                  <a:pt x="7429345" y="652819"/>
                </a:cubicBezTo>
                <a:close/>
                <a:moveTo>
                  <a:pt x="7864636" y="652819"/>
                </a:moveTo>
                <a:cubicBezTo>
                  <a:pt x="7868762" y="652819"/>
                  <a:pt x="7872756" y="653618"/>
                  <a:pt x="7876483" y="655348"/>
                </a:cubicBezTo>
                <a:cubicBezTo>
                  <a:pt x="7880210" y="656946"/>
                  <a:pt x="7883272" y="659075"/>
                  <a:pt x="7885802" y="661738"/>
                </a:cubicBezTo>
                <a:cubicBezTo>
                  <a:pt x="7888331" y="664400"/>
                  <a:pt x="7890460" y="667595"/>
                  <a:pt x="7891924" y="671189"/>
                </a:cubicBezTo>
                <a:cubicBezTo>
                  <a:pt x="7893389" y="674783"/>
                  <a:pt x="7894188" y="678644"/>
                  <a:pt x="7894188" y="682638"/>
                </a:cubicBezTo>
                <a:cubicBezTo>
                  <a:pt x="7894188" y="686765"/>
                  <a:pt x="7893389" y="690758"/>
                  <a:pt x="7891924" y="694352"/>
                </a:cubicBezTo>
                <a:cubicBezTo>
                  <a:pt x="7890327" y="697946"/>
                  <a:pt x="7888331" y="701008"/>
                  <a:pt x="7885802" y="703670"/>
                </a:cubicBezTo>
                <a:cubicBezTo>
                  <a:pt x="7883139" y="706333"/>
                  <a:pt x="7880078" y="708463"/>
                  <a:pt x="7876483" y="709927"/>
                </a:cubicBezTo>
                <a:cubicBezTo>
                  <a:pt x="7872756" y="711391"/>
                  <a:pt x="7868895" y="712190"/>
                  <a:pt x="7864636" y="712190"/>
                </a:cubicBezTo>
                <a:cubicBezTo>
                  <a:pt x="7855717" y="712190"/>
                  <a:pt x="7848396" y="709261"/>
                  <a:pt x="7842803" y="703670"/>
                </a:cubicBezTo>
                <a:cubicBezTo>
                  <a:pt x="7837213" y="698079"/>
                  <a:pt x="7834417" y="691024"/>
                  <a:pt x="7834417" y="682505"/>
                </a:cubicBezTo>
                <a:cubicBezTo>
                  <a:pt x="7834417" y="674252"/>
                  <a:pt x="7837213" y="667195"/>
                  <a:pt x="7842803" y="661471"/>
                </a:cubicBezTo>
                <a:cubicBezTo>
                  <a:pt x="7848396" y="655747"/>
                  <a:pt x="7855584" y="652819"/>
                  <a:pt x="7864636" y="652819"/>
                </a:cubicBezTo>
                <a:close/>
                <a:moveTo>
                  <a:pt x="7646991" y="652819"/>
                </a:moveTo>
                <a:cubicBezTo>
                  <a:pt x="7651250" y="652819"/>
                  <a:pt x="7655111" y="653618"/>
                  <a:pt x="7658705" y="655348"/>
                </a:cubicBezTo>
                <a:cubicBezTo>
                  <a:pt x="7662432" y="656946"/>
                  <a:pt x="7665493" y="659075"/>
                  <a:pt x="7668022" y="661739"/>
                </a:cubicBezTo>
                <a:cubicBezTo>
                  <a:pt x="7670552" y="664400"/>
                  <a:pt x="7672682" y="667596"/>
                  <a:pt x="7674146" y="671190"/>
                </a:cubicBezTo>
                <a:cubicBezTo>
                  <a:pt x="7675610" y="674783"/>
                  <a:pt x="7676409" y="678644"/>
                  <a:pt x="7676409" y="682638"/>
                </a:cubicBezTo>
                <a:cubicBezTo>
                  <a:pt x="7676409" y="686765"/>
                  <a:pt x="7675610" y="690758"/>
                  <a:pt x="7674146" y="694352"/>
                </a:cubicBezTo>
                <a:cubicBezTo>
                  <a:pt x="7672549" y="697946"/>
                  <a:pt x="7670552" y="701008"/>
                  <a:pt x="7668022" y="703670"/>
                </a:cubicBezTo>
                <a:cubicBezTo>
                  <a:pt x="7665361" y="706333"/>
                  <a:pt x="7662299" y="708463"/>
                  <a:pt x="7658705" y="709927"/>
                </a:cubicBezTo>
                <a:cubicBezTo>
                  <a:pt x="7655111" y="711391"/>
                  <a:pt x="7651250" y="712190"/>
                  <a:pt x="7646991" y="712190"/>
                </a:cubicBezTo>
                <a:cubicBezTo>
                  <a:pt x="7638071" y="712190"/>
                  <a:pt x="7630750" y="709261"/>
                  <a:pt x="7625158" y="703670"/>
                </a:cubicBezTo>
                <a:cubicBezTo>
                  <a:pt x="7619568" y="698079"/>
                  <a:pt x="7616772" y="691024"/>
                  <a:pt x="7616772" y="682505"/>
                </a:cubicBezTo>
                <a:cubicBezTo>
                  <a:pt x="7616772" y="674252"/>
                  <a:pt x="7619568" y="667195"/>
                  <a:pt x="7625158" y="661471"/>
                </a:cubicBezTo>
                <a:cubicBezTo>
                  <a:pt x="7630750" y="655747"/>
                  <a:pt x="7637939" y="652819"/>
                  <a:pt x="7646991" y="652819"/>
                </a:cubicBezTo>
                <a:close/>
                <a:moveTo>
                  <a:pt x="8082281" y="652819"/>
                </a:moveTo>
                <a:cubicBezTo>
                  <a:pt x="8086407" y="652819"/>
                  <a:pt x="8090401" y="653618"/>
                  <a:pt x="8094127" y="655348"/>
                </a:cubicBezTo>
                <a:cubicBezTo>
                  <a:pt x="8097855" y="656946"/>
                  <a:pt x="8100916" y="659075"/>
                  <a:pt x="8103446" y="661738"/>
                </a:cubicBezTo>
                <a:cubicBezTo>
                  <a:pt x="8105975" y="664400"/>
                  <a:pt x="8108104" y="667595"/>
                  <a:pt x="8109569" y="671189"/>
                </a:cubicBezTo>
                <a:cubicBezTo>
                  <a:pt x="8111033" y="674783"/>
                  <a:pt x="8111832" y="678644"/>
                  <a:pt x="8111832" y="682638"/>
                </a:cubicBezTo>
                <a:cubicBezTo>
                  <a:pt x="8111832" y="686765"/>
                  <a:pt x="8111033" y="690758"/>
                  <a:pt x="8109569" y="694352"/>
                </a:cubicBezTo>
                <a:cubicBezTo>
                  <a:pt x="8107972" y="697946"/>
                  <a:pt x="8105975" y="701008"/>
                  <a:pt x="8103446" y="703670"/>
                </a:cubicBezTo>
                <a:cubicBezTo>
                  <a:pt x="8100783" y="706333"/>
                  <a:pt x="8097722" y="708463"/>
                  <a:pt x="8094127" y="709927"/>
                </a:cubicBezTo>
                <a:cubicBezTo>
                  <a:pt x="8090401" y="711391"/>
                  <a:pt x="8086540" y="712190"/>
                  <a:pt x="8082281" y="712190"/>
                </a:cubicBezTo>
                <a:cubicBezTo>
                  <a:pt x="8073361" y="712190"/>
                  <a:pt x="8066040" y="709261"/>
                  <a:pt x="8060448" y="703670"/>
                </a:cubicBezTo>
                <a:cubicBezTo>
                  <a:pt x="8054857" y="698079"/>
                  <a:pt x="8052062" y="691024"/>
                  <a:pt x="8052062" y="682505"/>
                </a:cubicBezTo>
                <a:cubicBezTo>
                  <a:pt x="8052062" y="674251"/>
                  <a:pt x="8054857" y="667195"/>
                  <a:pt x="8060448" y="661471"/>
                </a:cubicBezTo>
                <a:cubicBezTo>
                  <a:pt x="8066040" y="655747"/>
                  <a:pt x="8073228" y="652819"/>
                  <a:pt x="8082281" y="652819"/>
                </a:cubicBezTo>
                <a:close/>
                <a:moveTo>
                  <a:pt x="8517438" y="652819"/>
                </a:moveTo>
                <a:cubicBezTo>
                  <a:pt x="8521698" y="652819"/>
                  <a:pt x="8525559" y="653618"/>
                  <a:pt x="8529152" y="655348"/>
                </a:cubicBezTo>
                <a:cubicBezTo>
                  <a:pt x="8532880" y="656946"/>
                  <a:pt x="8535941" y="659075"/>
                  <a:pt x="8538470" y="661738"/>
                </a:cubicBezTo>
                <a:cubicBezTo>
                  <a:pt x="8541000" y="664400"/>
                  <a:pt x="8543130" y="667595"/>
                  <a:pt x="8544594" y="671189"/>
                </a:cubicBezTo>
                <a:cubicBezTo>
                  <a:pt x="8546058" y="674783"/>
                  <a:pt x="8546857" y="678643"/>
                  <a:pt x="8546857" y="682637"/>
                </a:cubicBezTo>
                <a:cubicBezTo>
                  <a:pt x="8546857" y="686764"/>
                  <a:pt x="8546058" y="690758"/>
                  <a:pt x="8544594" y="694352"/>
                </a:cubicBezTo>
                <a:cubicBezTo>
                  <a:pt x="8542997" y="697946"/>
                  <a:pt x="8541000" y="701008"/>
                  <a:pt x="8538470" y="703670"/>
                </a:cubicBezTo>
                <a:cubicBezTo>
                  <a:pt x="8535808" y="706333"/>
                  <a:pt x="8532747" y="708463"/>
                  <a:pt x="8529152" y="709927"/>
                </a:cubicBezTo>
                <a:cubicBezTo>
                  <a:pt x="8525559" y="711391"/>
                  <a:pt x="8521698" y="712190"/>
                  <a:pt x="8517438" y="712190"/>
                </a:cubicBezTo>
                <a:cubicBezTo>
                  <a:pt x="8508385" y="712190"/>
                  <a:pt x="8501197" y="709261"/>
                  <a:pt x="8495606" y="703670"/>
                </a:cubicBezTo>
                <a:cubicBezTo>
                  <a:pt x="8490015" y="698079"/>
                  <a:pt x="8487220" y="691024"/>
                  <a:pt x="8487220" y="682504"/>
                </a:cubicBezTo>
                <a:cubicBezTo>
                  <a:pt x="8487220" y="674251"/>
                  <a:pt x="8490015" y="667195"/>
                  <a:pt x="8495606" y="661471"/>
                </a:cubicBezTo>
                <a:cubicBezTo>
                  <a:pt x="8501197" y="655747"/>
                  <a:pt x="8508385" y="652819"/>
                  <a:pt x="8517438" y="652819"/>
                </a:cubicBezTo>
                <a:close/>
                <a:moveTo>
                  <a:pt x="8299793" y="652819"/>
                </a:moveTo>
                <a:cubicBezTo>
                  <a:pt x="8304052" y="652819"/>
                  <a:pt x="8308046" y="653618"/>
                  <a:pt x="8311507" y="655348"/>
                </a:cubicBezTo>
                <a:cubicBezTo>
                  <a:pt x="8315235" y="656946"/>
                  <a:pt x="8318296" y="659075"/>
                  <a:pt x="8320825" y="661738"/>
                </a:cubicBezTo>
                <a:cubicBezTo>
                  <a:pt x="8323354" y="664400"/>
                  <a:pt x="8325484" y="667595"/>
                  <a:pt x="8326948" y="671189"/>
                </a:cubicBezTo>
                <a:cubicBezTo>
                  <a:pt x="8328413" y="674783"/>
                  <a:pt x="8329212" y="678643"/>
                  <a:pt x="8329212" y="682638"/>
                </a:cubicBezTo>
                <a:cubicBezTo>
                  <a:pt x="8329212" y="686765"/>
                  <a:pt x="8328413" y="690758"/>
                  <a:pt x="8326948" y="694352"/>
                </a:cubicBezTo>
                <a:cubicBezTo>
                  <a:pt x="8325351" y="697946"/>
                  <a:pt x="8323354" y="701008"/>
                  <a:pt x="8320825" y="703670"/>
                </a:cubicBezTo>
                <a:cubicBezTo>
                  <a:pt x="8318163" y="706333"/>
                  <a:pt x="8315101" y="708463"/>
                  <a:pt x="8311507" y="709927"/>
                </a:cubicBezTo>
                <a:cubicBezTo>
                  <a:pt x="8307913" y="711391"/>
                  <a:pt x="8304052" y="712190"/>
                  <a:pt x="8299793" y="712190"/>
                </a:cubicBezTo>
                <a:cubicBezTo>
                  <a:pt x="8290874" y="712190"/>
                  <a:pt x="8283553" y="709261"/>
                  <a:pt x="8277960" y="703670"/>
                </a:cubicBezTo>
                <a:cubicBezTo>
                  <a:pt x="8272370" y="698079"/>
                  <a:pt x="8269574" y="691024"/>
                  <a:pt x="8269574" y="682504"/>
                </a:cubicBezTo>
                <a:cubicBezTo>
                  <a:pt x="8269574" y="674251"/>
                  <a:pt x="8272370" y="667195"/>
                  <a:pt x="8277960" y="661471"/>
                </a:cubicBezTo>
                <a:cubicBezTo>
                  <a:pt x="8283553" y="655747"/>
                  <a:pt x="8290741" y="652819"/>
                  <a:pt x="8299793" y="652819"/>
                </a:cubicBezTo>
                <a:close/>
                <a:moveTo>
                  <a:pt x="8735083" y="652819"/>
                </a:moveTo>
                <a:cubicBezTo>
                  <a:pt x="8739342" y="652819"/>
                  <a:pt x="8743203" y="653618"/>
                  <a:pt x="8746797" y="655348"/>
                </a:cubicBezTo>
                <a:cubicBezTo>
                  <a:pt x="8750391" y="656946"/>
                  <a:pt x="8753586" y="659075"/>
                  <a:pt x="8756115" y="661738"/>
                </a:cubicBezTo>
                <a:cubicBezTo>
                  <a:pt x="8758644" y="664400"/>
                  <a:pt x="8760774" y="667595"/>
                  <a:pt x="8762238" y="671189"/>
                </a:cubicBezTo>
                <a:cubicBezTo>
                  <a:pt x="8763702" y="674783"/>
                  <a:pt x="8764502" y="678643"/>
                  <a:pt x="8764502" y="682637"/>
                </a:cubicBezTo>
                <a:cubicBezTo>
                  <a:pt x="8764502" y="686764"/>
                  <a:pt x="8763702" y="690757"/>
                  <a:pt x="8762238" y="694352"/>
                </a:cubicBezTo>
                <a:cubicBezTo>
                  <a:pt x="8760641" y="697946"/>
                  <a:pt x="8758644" y="701008"/>
                  <a:pt x="8756115" y="703670"/>
                </a:cubicBezTo>
                <a:cubicBezTo>
                  <a:pt x="8753453" y="706333"/>
                  <a:pt x="8750391" y="708463"/>
                  <a:pt x="8746797" y="709927"/>
                </a:cubicBezTo>
                <a:cubicBezTo>
                  <a:pt x="8743203" y="711391"/>
                  <a:pt x="8739342" y="712190"/>
                  <a:pt x="8735083" y="712190"/>
                </a:cubicBezTo>
                <a:cubicBezTo>
                  <a:pt x="8726030" y="712190"/>
                  <a:pt x="8718841" y="709261"/>
                  <a:pt x="8713250" y="703670"/>
                </a:cubicBezTo>
                <a:cubicBezTo>
                  <a:pt x="8707660" y="698079"/>
                  <a:pt x="8704864" y="691024"/>
                  <a:pt x="8704864" y="682504"/>
                </a:cubicBezTo>
                <a:cubicBezTo>
                  <a:pt x="8704864" y="674251"/>
                  <a:pt x="8707660" y="667195"/>
                  <a:pt x="8713250" y="661471"/>
                </a:cubicBezTo>
                <a:cubicBezTo>
                  <a:pt x="8718841" y="655747"/>
                  <a:pt x="8726030" y="652819"/>
                  <a:pt x="8735083" y="652819"/>
                </a:cubicBezTo>
                <a:close/>
                <a:moveTo>
                  <a:pt x="9170374" y="652819"/>
                </a:moveTo>
                <a:cubicBezTo>
                  <a:pt x="9174500" y="652819"/>
                  <a:pt x="9178494" y="653618"/>
                  <a:pt x="9182088" y="655348"/>
                </a:cubicBezTo>
                <a:cubicBezTo>
                  <a:pt x="9185682" y="656945"/>
                  <a:pt x="9188876" y="659075"/>
                  <a:pt x="9191405" y="661738"/>
                </a:cubicBezTo>
                <a:cubicBezTo>
                  <a:pt x="9193935" y="664400"/>
                  <a:pt x="9196065" y="667595"/>
                  <a:pt x="9197529" y="671189"/>
                </a:cubicBezTo>
                <a:cubicBezTo>
                  <a:pt x="9198993" y="674783"/>
                  <a:pt x="9199792" y="678643"/>
                  <a:pt x="9199792" y="682637"/>
                </a:cubicBezTo>
                <a:cubicBezTo>
                  <a:pt x="9199792" y="686764"/>
                  <a:pt x="9198993" y="690757"/>
                  <a:pt x="9197529" y="694351"/>
                </a:cubicBezTo>
                <a:cubicBezTo>
                  <a:pt x="9195932" y="697945"/>
                  <a:pt x="9193935" y="701007"/>
                  <a:pt x="9191405" y="703669"/>
                </a:cubicBezTo>
                <a:cubicBezTo>
                  <a:pt x="9188744" y="706333"/>
                  <a:pt x="9185682" y="708463"/>
                  <a:pt x="9182088" y="709927"/>
                </a:cubicBezTo>
                <a:cubicBezTo>
                  <a:pt x="9178494" y="711391"/>
                  <a:pt x="9174633" y="712190"/>
                  <a:pt x="9170374" y="712190"/>
                </a:cubicBezTo>
                <a:cubicBezTo>
                  <a:pt x="9161453" y="712190"/>
                  <a:pt x="9154132" y="709261"/>
                  <a:pt x="9148541" y="703669"/>
                </a:cubicBezTo>
                <a:cubicBezTo>
                  <a:pt x="9142951" y="698078"/>
                  <a:pt x="9140155" y="691023"/>
                  <a:pt x="9140155" y="682504"/>
                </a:cubicBezTo>
                <a:cubicBezTo>
                  <a:pt x="9140155" y="674251"/>
                  <a:pt x="9142951" y="667195"/>
                  <a:pt x="9148541" y="661471"/>
                </a:cubicBezTo>
                <a:cubicBezTo>
                  <a:pt x="9154132" y="655747"/>
                  <a:pt x="9161321" y="652819"/>
                  <a:pt x="9170374" y="652819"/>
                </a:cubicBezTo>
                <a:close/>
                <a:moveTo>
                  <a:pt x="8952728" y="652819"/>
                </a:moveTo>
                <a:cubicBezTo>
                  <a:pt x="8956988" y="652819"/>
                  <a:pt x="8960849" y="653618"/>
                  <a:pt x="8964442" y="655348"/>
                </a:cubicBezTo>
                <a:cubicBezTo>
                  <a:pt x="8968037" y="656946"/>
                  <a:pt x="8971231" y="659075"/>
                  <a:pt x="8973760" y="661738"/>
                </a:cubicBezTo>
                <a:cubicBezTo>
                  <a:pt x="8976290" y="664400"/>
                  <a:pt x="8978419" y="667595"/>
                  <a:pt x="8979884" y="671189"/>
                </a:cubicBezTo>
                <a:cubicBezTo>
                  <a:pt x="8981348" y="674783"/>
                  <a:pt x="8982147" y="678643"/>
                  <a:pt x="8982147" y="682637"/>
                </a:cubicBezTo>
                <a:cubicBezTo>
                  <a:pt x="8982147" y="686764"/>
                  <a:pt x="8981348" y="690757"/>
                  <a:pt x="8979884" y="694352"/>
                </a:cubicBezTo>
                <a:cubicBezTo>
                  <a:pt x="8978287" y="697946"/>
                  <a:pt x="8976290" y="701007"/>
                  <a:pt x="8973760" y="703670"/>
                </a:cubicBezTo>
                <a:cubicBezTo>
                  <a:pt x="8971098" y="706333"/>
                  <a:pt x="8968037" y="708463"/>
                  <a:pt x="8964442" y="709927"/>
                </a:cubicBezTo>
                <a:cubicBezTo>
                  <a:pt x="8960849" y="711391"/>
                  <a:pt x="8956988" y="712190"/>
                  <a:pt x="8952728" y="712190"/>
                </a:cubicBezTo>
                <a:cubicBezTo>
                  <a:pt x="8943808" y="712190"/>
                  <a:pt x="8936487" y="709261"/>
                  <a:pt x="8930896" y="703670"/>
                </a:cubicBezTo>
                <a:cubicBezTo>
                  <a:pt x="8925305" y="698079"/>
                  <a:pt x="8922510" y="691023"/>
                  <a:pt x="8922510" y="682504"/>
                </a:cubicBezTo>
                <a:cubicBezTo>
                  <a:pt x="8922510" y="674251"/>
                  <a:pt x="8925305" y="667195"/>
                  <a:pt x="8930896" y="661471"/>
                </a:cubicBezTo>
                <a:cubicBezTo>
                  <a:pt x="8936487" y="655747"/>
                  <a:pt x="8943675" y="652819"/>
                  <a:pt x="8952728" y="652819"/>
                </a:cubicBezTo>
                <a:close/>
                <a:moveTo>
                  <a:pt x="9387885" y="652818"/>
                </a:moveTo>
                <a:cubicBezTo>
                  <a:pt x="9392145" y="652818"/>
                  <a:pt x="9396138" y="653618"/>
                  <a:pt x="9399599" y="655347"/>
                </a:cubicBezTo>
                <a:cubicBezTo>
                  <a:pt x="9403194" y="656945"/>
                  <a:pt x="9406388" y="659075"/>
                  <a:pt x="9408917" y="661738"/>
                </a:cubicBezTo>
                <a:cubicBezTo>
                  <a:pt x="9411447" y="664400"/>
                  <a:pt x="9413576" y="667595"/>
                  <a:pt x="9415041" y="671189"/>
                </a:cubicBezTo>
                <a:cubicBezTo>
                  <a:pt x="9416505" y="674783"/>
                  <a:pt x="9417304" y="678643"/>
                  <a:pt x="9417304" y="682637"/>
                </a:cubicBezTo>
                <a:cubicBezTo>
                  <a:pt x="9417304" y="686764"/>
                  <a:pt x="9416505" y="690757"/>
                  <a:pt x="9415041" y="694351"/>
                </a:cubicBezTo>
                <a:cubicBezTo>
                  <a:pt x="9413444" y="697945"/>
                  <a:pt x="9411447" y="701007"/>
                  <a:pt x="9408917" y="703669"/>
                </a:cubicBezTo>
                <a:cubicBezTo>
                  <a:pt x="9406255" y="706332"/>
                  <a:pt x="9403194" y="708463"/>
                  <a:pt x="9399599" y="709927"/>
                </a:cubicBezTo>
                <a:cubicBezTo>
                  <a:pt x="9396005" y="711391"/>
                  <a:pt x="9392145" y="712190"/>
                  <a:pt x="9387885" y="712190"/>
                </a:cubicBezTo>
                <a:cubicBezTo>
                  <a:pt x="9378965" y="712190"/>
                  <a:pt x="9371644" y="709261"/>
                  <a:pt x="9366053" y="703669"/>
                </a:cubicBezTo>
                <a:cubicBezTo>
                  <a:pt x="9360462" y="698078"/>
                  <a:pt x="9357667" y="691023"/>
                  <a:pt x="9357667" y="682504"/>
                </a:cubicBezTo>
                <a:cubicBezTo>
                  <a:pt x="9357667" y="674251"/>
                  <a:pt x="9360462" y="667195"/>
                  <a:pt x="9366053" y="661471"/>
                </a:cubicBezTo>
                <a:cubicBezTo>
                  <a:pt x="9371644" y="655747"/>
                  <a:pt x="9378832" y="652818"/>
                  <a:pt x="9387885" y="652818"/>
                </a:cubicBezTo>
                <a:close/>
                <a:moveTo>
                  <a:pt x="9605531" y="652818"/>
                </a:moveTo>
                <a:cubicBezTo>
                  <a:pt x="9609790" y="652818"/>
                  <a:pt x="9613784" y="653617"/>
                  <a:pt x="9617245" y="655347"/>
                </a:cubicBezTo>
                <a:cubicBezTo>
                  <a:pt x="9620839" y="656945"/>
                  <a:pt x="9624033" y="659075"/>
                  <a:pt x="9626562" y="661738"/>
                </a:cubicBezTo>
                <a:cubicBezTo>
                  <a:pt x="9629092" y="664399"/>
                  <a:pt x="9631222" y="667595"/>
                  <a:pt x="9632686" y="671189"/>
                </a:cubicBezTo>
                <a:cubicBezTo>
                  <a:pt x="9634150" y="674783"/>
                  <a:pt x="9634949" y="678643"/>
                  <a:pt x="9634949" y="682637"/>
                </a:cubicBezTo>
                <a:cubicBezTo>
                  <a:pt x="9634949" y="686764"/>
                  <a:pt x="9634150" y="690757"/>
                  <a:pt x="9632686" y="694351"/>
                </a:cubicBezTo>
                <a:cubicBezTo>
                  <a:pt x="9631089" y="697945"/>
                  <a:pt x="9629092" y="701007"/>
                  <a:pt x="9626562" y="703669"/>
                </a:cubicBezTo>
                <a:cubicBezTo>
                  <a:pt x="9623901" y="706332"/>
                  <a:pt x="9620839" y="708462"/>
                  <a:pt x="9617245" y="709926"/>
                </a:cubicBezTo>
                <a:cubicBezTo>
                  <a:pt x="9613651" y="711390"/>
                  <a:pt x="9609790" y="712190"/>
                  <a:pt x="9605531" y="712190"/>
                </a:cubicBezTo>
                <a:cubicBezTo>
                  <a:pt x="9596610" y="712190"/>
                  <a:pt x="9589289" y="709261"/>
                  <a:pt x="9583698" y="703669"/>
                </a:cubicBezTo>
                <a:cubicBezTo>
                  <a:pt x="9578108" y="698078"/>
                  <a:pt x="9575312" y="691023"/>
                  <a:pt x="9575312" y="682504"/>
                </a:cubicBezTo>
                <a:cubicBezTo>
                  <a:pt x="9575312" y="674251"/>
                  <a:pt x="9578108" y="667195"/>
                  <a:pt x="9583698" y="661470"/>
                </a:cubicBezTo>
                <a:cubicBezTo>
                  <a:pt x="9589289" y="655746"/>
                  <a:pt x="9596478" y="652818"/>
                  <a:pt x="9605531" y="652818"/>
                </a:cubicBezTo>
                <a:close/>
                <a:moveTo>
                  <a:pt x="10040820" y="652818"/>
                </a:moveTo>
                <a:cubicBezTo>
                  <a:pt x="10045080" y="652818"/>
                  <a:pt x="10048941" y="653617"/>
                  <a:pt x="10052534" y="655347"/>
                </a:cubicBezTo>
                <a:cubicBezTo>
                  <a:pt x="10056129" y="656945"/>
                  <a:pt x="10059323" y="659074"/>
                  <a:pt x="10061852" y="661737"/>
                </a:cubicBezTo>
                <a:cubicBezTo>
                  <a:pt x="10064382" y="664399"/>
                  <a:pt x="10066512" y="667594"/>
                  <a:pt x="10067976" y="671189"/>
                </a:cubicBezTo>
                <a:cubicBezTo>
                  <a:pt x="10069440" y="674783"/>
                  <a:pt x="10070239" y="678643"/>
                  <a:pt x="10070239" y="682637"/>
                </a:cubicBezTo>
                <a:cubicBezTo>
                  <a:pt x="10070239" y="686764"/>
                  <a:pt x="10069440" y="690757"/>
                  <a:pt x="10067976" y="694351"/>
                </a:cubicBezTo>
                <a:cubicBezTo>
                  <a:pt x="10066379" y="697945"/>
                  <a:pt x="10064382" y="701007"/>
                  <a:pt x="10061852" y="703669"/>
                </a:cubicBezTo>
                <a:cubicBezTo>
                  <a:pt x="10059190" y="706332"/>
                  <a:pt x="10056129" y="708462"/>
                  <a:pt x="10052534" y="709926"/>
                </a:cubicBezTo>
                <a:cubicBezTo>
                  <a:pt x="10048941" y="711390"/>
                  <a:pt x="10045080" y="712189"/>
                  <a:pt x="10040820" y="712189"/>
                </a:cubicBezTo>
                <a:cubicBezTo>
                  <a:pt x="10031767" y="712189"/>
                  <a:pt x="10024579" y="709260"/>
                  <a:pt x="10018988" y="703669"/>
                </a:cubicBezTo>
                <a:cubicBezTo>
                  <a:pt x="10013397" y="698078"/>
                  <a:pt x="10010602" y="691023"/>
                  <a:pt x="10010602" y="682504"/>
                </a:cubicBezTo>
                <a:cubicBezTo>
                  <a:pt x="10010602" y="674251"/>
                  <a:pt x="10013397" y="667194"/>
                  <a:pt x="10018988" y="661470"/>
                </a:cubicBezTo>
                <a:cubicBezTo>
                  <a:pt x="10024579" y="655746"/>
                  <a:pt x="10031767" y="652818"/>
                  <a:pt x="10040820" y="652818"/>
                </a:cubicBezTo>
                <a:close/>
                <a:moveTo>
                  <a:pt x="9823176" y="652818"/>
                </a:moveTo>
                <a:cubicBezTo>
                  <a:pt x="9827435" y="652818"/>
                  <a:pt x="9831296" y="653617"/>
                  <a:pt x="9834890" y="655347"/>
                </a:cubicBezTo>
                <a:cubicBezTo>
                  <a:pt x="9838617" y="656945"/>
                  <a:pt x="9841679" y="659074"/>
                  <a:pt x="9844208" y="661737"/>
                </a:cubicBezTo>
                <a:cubicBezTo>
                  <a:pt x="9846737" y="664399"/>
                  <a:pt x="9848867" y="667594"/>
                  <a:pt x="9850331" y="671189"/>
                </a:cubicBezTo>
                <a:cubicBezTo>
                  <a:pt x="9851796" y="674783"/>
                  <a:pt x="9852595" y="678643"/>
                  <a:pt x="9852595" y="682637"/>
                </a:cubicBezTo>
                <a:cubicBezTo>
                  <a:pt x="9852595" y="686764"/>
                  <a:pt x="9851796" y="690757"/>
                  <a:pt x="9850331" y="694351"/>
                </a:cubicBezTo>
                <a:cubicBezTo>
                  <a:pt x="9848734" y="697945"/>
                  <a:pt x="9846737" y="701007"/>
                  <a:pt x="9844208" y="703669"/>
                </a:cubicBezTo>
                <a:cubicBezTo>
                  <a:pt x="9841546" y="706332"/>
                  <a:pt x="9838484" y="708462"/>
                  <a:pt x="9834890" y="709926"/>
                </a:cubicBezTo>
                <a:cubicBezTo>
                  <a:pt x="9831296" y="711390"/>
                  <a:pt x="9827435" y="712189"/>
                  <a:pt x="9823176" y="712189"/>
                </a:cubicBezTo>
                <a:cubicBezTo>
                  <a:pt x="9814123" y="712189"/>
                  <a:pt x="9806935" y="709260"/>
                  <a:pt x="9801343" y="703669"/>
                </a:cubicBezTo>
                <a:cubicBezTo>
                  <a:pt x="9795753" y="698078"/>
                  <a:pt x="9792957" y="691023"/>
                  <a:pt x="9792957" y="682504"/>
                </a:cubicBezTo>
                <a:cubicBezTo>
                  <a:pt x="9792957" y="674251"/>
                  <a:pt x="9795753" y="667194"/>
                  <a:pt x="9801343" y="661470"/>
                </a:cubicBezTo>
                <a:cubicBezTo>
                  <a:pt x="9806935" y="655746"/>
                  <a:pt x="9814123" y="652818"/>
                  <a:pt x="9823176" y="652818"/>
                </a:cubicBezTo>
                <a:close/>
                <a:moveTo>
                  <a:pt x="10258466" y="652818"/>
                </a:moveTo>
                <a:cubicBezTo>
                  <a:pt x="10262592" y="652818"/>
                  <a:pt x="10266586" y="653617"/>
                  <a:pt x="10270313" y="655347"/>
                </a:cubicBezTo>
                <a:cubicBezTo>
                  <a:pt x="10273907" y="656945"/>
                  <a:pt x="10277101" y="659074"/>
                  <a:pt x="10279631" y="661737"/>
                </a:cubicBezTo>
                <a:cubicBezTo>
                  <a:pt x="10282160" y="664399"/>
                  <a:pt x="10284290" y="667594"/>
                  <a:pt x="10285754" y="671188"/>
                </a:cubicBezTo>
                <a:cubicBezTo>
                  <a:pt x="10287218" y="674782"/>
                  <a:pt x="10288017" y="678643"/>
                  <a:pt x="10288017" y="682637"/>
                </a:cubicBezTo>
                <a:cubicBezTo>
                  <a:pt x="10288017" y="686764"/>
                  <a:pt x="10287218" y="690757"/>
                  <a:pt x="10285754" y="694351"/>
                </a:cubicBezTo>
                <a:cubicBezTo>
                  <a:pt x="10284157" y="697945"/>
                  <a:pt x="10282160" y="701007"/>
                  <a:pt x="10279631" y="703669"/>
                </a:cubicBezTo>
                <a:cubicBezTo>
                  <a:pt x="10276969" y="706332"/>
                  <a:pt x="10273907" y="708462"/>
                  <a:pt x="10270313" y="709926"/>
                </a:cubicBezTo>
                <a:cubicBezTo>
                  <a:pt x="10266586" y="711390"/>
                  <a:pt x="10262725" y="712189"/>
                  <a:pt x="10258466" y="712189"/>
                </a:cubicBezTo>
                <a:cubicBezTo>
                  <a:pt x="10249546" y="712189"/>
                  <a:pt x="10242224" y="709260"/>
                  <a:pt x="10236633" y="703669"/>
                </a:cubicBezTo>
                <a:cubicBezTo>
                  <a:pt x="10231043" y="698078"/>
                  <a:pt x="10228247" y="691023"/>
                  <a:pt x="10228247" y="682504"/>
                </a:cubicBezTo>
                <a:cubicBezTo>
                  <a:pt x="10228247" y="674251"/>
                  <a:pt x="10231043" y="667194"/>
                  <a:pt x="10236633" y="661470"/>
                </a:cubicBezTo>
                <a:cubicBezTo>
                  <a:pt x="10242092" y="655746"/>
                  <a:pt x="10249413" y="652818"/>
                  <a:pt x="10258466" y="652818"/>
                </a:cubicBezTo>
                <a:close/>
                <a:moveTo>
                  <a:pt x="10475977" y="652818"/>
                </a:moveTo>
                <a:cubicBezTo>
                  <a:pt x="10480237" y="652818"/>
                  <a:pt x="10484230" y="653617"/>
                  <a:pt x="10487824" y="655347"/>
                </a:cubicBezTo>
                <a:cubicBezTo>
                  <a:pt x="10491419" y="656945"/>
                  <a:pt x="10494613" y="659074"/>
                  <a:pt x="10497143" y="661737"/>
                </a:cubicBezTo>
                <a:cubicBezTo>
                  <a:pt x="10499672" y="664399"/>
                  <a:pt x="10501801" y="667594"/>
                  <a:pt x="10503266" y="671188"/>
                </a:cubicBezTo>
                <a:cubicBezTo>
                  <a:pt x="10504730" y="674782"/>
                  <a:pt x="10505529" y="678642"/>
                  <a:pt x="10505529" y="682636"/>
                </a:cubicBezTo>
                <a:cubicBezTo>
                  <a:pt x="10505529" y="686763"/>
                  <a:pt x="10504730" y="690757"/>
                  <a:pt x="10503266" y="694351"/>
                </a:cubicBezTo>
                <a:cubicBezTo>
                  <a:pt x="10501669" y="697945"/>
                  <a:pt x="10499672" y="701007"/>
                  <a:pt x="10497143" y="703669"/>
                </a:cubicBezTo>
                <a:cubicBezTo>
                  <a:pt x="10494480" y="706332"/>
                  <a:pt x="10491419" y="708462"/>
                  <a:pt x="10487824" y="709926"/>
                </a:cubicBezTo>
                <a:cubicBezTo>
                  <a:pt x="10484098" y="711390"/>
                  <a:pt x="10480237" y="712189"/>
                  <a:pt x="10475977" y="712189"/>
                </a:cubicBezTo>
                <a:cubicBezTo>
                  <a:pt x="10466924" y="712189"/>
                  <a:pt x="10459736" y="709260"/>
                  <a:pt x="10454145" y="703669"/>
                </a:cubicBezTo>
                <a:cubicBezTo>
                  <a:pt x="10448554" y="698078"/>
                  <a:pt x="10445759" y="691023"/>
                  <a:pt x="10445759" y="682503"/>
                </a:cubicBezTo>
                <a:cubicBezTo>
                  <a:pt x="10445759" y="674250"/>
                  <a:pt x="10448554" y="667194"/>
                  <a:pt x="10454145" y="661470"/>
                </a:cubicBezTo>
                <a:cubicBezTo>
                  <a:pt x="10459603" y="655746"/>
                  <a:pt x="10466924" y="652818"/>
                  <a:pt x="10475977" y="652818"/>
                </a:cubicBezTo>
                <a:close/>
                <a:moveTo>
                  <a:pt x="30232" y="451946"/>
                </a:moveTo>
                <a:cubicBezTo>
                  <a:pt x="24375" y="451946"/>
                  <a:pt x="21846" y="453942"/>
                  <a:pt x="20249" y="455540"/>
                </a:cubicBezTo>
                <a:cubicBezTo>
                  <a:pt x="17719" y="458202"/>
                  <a:pt x="16655" y="460997"/>
                  <a:pt x="16655" y="464991"/>
                </a:cubicBezTo>
                <a:cubicBezTo>
                  <a:pt x="16655" y="469118"/>
                  <a:pt x="17719" y="471914"/>
                  <a:pt x="20249" y="474443"/>
                </a:cubicBezTo>
                <a:cubicBezTo>
                  <a:pt x="21846" y="476041"/>
                  <a:pt x="24375" y="477904"/>
                  <a:pt x="30232" y="477904"/>
                </a:cubicBezTo>
                <a:cubicBezTo>
                  <a:pt x="32362" y="477904"/>
                  <a:pt x="34093" y="477504"/>
                  <a:pt x="35557" y="476972"/>
                </a:cubicBezTo>
                <a:cubicBezTo>
                  <a:pt x="37021" y="476440"/>
                  <a:pt x="38353" y="475641"/>
                  <a:pt x="39284" y="474576"/>
                </a:cubicBezTo>
                <a:cubicBezTo>
                  <a:pt x="40349" y="473511"/>
                  <a:pt x="41281" y="472180"/>
                  <a:pt x="41947" y="470449"/>
                </a:cubicBezTo>
                <a:cubicBezTo>
                  <a:pt x="42612" y="468851"/>
                  <a:pt x="42878" y="466988"/>
                  <a:pt x="42878" y="464991"/>
                </a:cubicBezTo>
                <a:cubicBezTo>
                  <a:pt x="42878" y="463127"/>
                  <a:pt x="42612" y="461397"/>
                  <a:pt x="41947" y="459799"/>
                </a:cubicBezTo>
                <a:cubicBezTo>
                  <a:pt x="41281" y="458069"/>
                  <a:pt x="40349" y="456738"/>
                  <a:pt x="39284" y="455540"/>
                </a:cubicBezTo>
                <a:cubicBezTo>
                  <a:pt x="38219" y="454475"/>
                  <a:pt x="36888" y="453543"/>
                  <a:pt x="35291" y="452877"/>
                </a:cubicBezTo>
                <a:cubicBezTo>
                  <a:pt x="33827" y="452345"/>
                  <a:pt x="32229" y="451946"/>
                  <a:pt x="30232" y="451946"/>
                </a:cubicBezTo>
                <a:close/>
                <a:moveTo>
                  <a:pt x="247877" y="451946"/>
                </a:moveTo>
                <a:cubicBezTo>
                  <a:pt x="242019" y="451946"/>
                  <a:pt x="239491" y="453942"/>
                  <a:pt x="237893" y="455540"/>
                </a:cubicBezTo>
                <a:cubicBezTo>
                  <a:pt x="235363" y="458202"/>
                  <a:pt x="234300" y="460997"/>
                  <a:pt x="234300" y="464991"/>
                </a:cubicBezTo>
                <a:cubicBezTo>
                  <a:pt x="234300" y="469118"/>
                  <a:pt x="235363" y="471913"/>
                  <a:pt x="237893" y="474443"/>
                </a:cubicBezTo>
                <a:cubicBezTo>
                  <a:pt x="239491" y="476041"/>
                  <a:pt x="242019" y="477904"/>
                  <a:pt x="247877" y="477904"/>
                </a:cubicBezTo>
                <a:cubicBezTo>
                  <a:pt x="250007" y="477904"/>
                  <a:pt x="251738" y="477504"/>
                  <a:pt x="253202" y="476972"/>
                </a:cubicBezTo>
                <a:cubicBezTo>
                  <a:pt x="254666" y="476439"/>
                  <a:pt x="255997" y="475640"/>
                  <a:pt x="256929" y="474576"/>
                </a:cubicBezTo>
                <a:cubicBezTo>
                  <a:pt x="257994" y="473511"/>
                  <a:pt x="258926" y="472179"/>
                  <a:pt x="259592" y="470449"/>
                </a:cubicBezTo>
                <a:cubicBezTo>
                  <a:pt x="260257" y="468851"/>
                  <a:pt x="260657" y="466988"/>
                  <a:pt x="260657" y="464991"/>
                </a:cubicBezTo>
                <a:cubicBezTo>
                  <a:pt x="260657" y="463127"/>
                  <a:pt x="260257" y="461397"/>
                  <a:pt x="259592" y="459799"/>
                </a:cubicBezTo>
                <a:cubicBezTo>
                  <a:pt x="258926" y="458069"/>
                  <a:pt x="257994" y="456738"/>
                  <a:pt x="256929" y="455540"/>
                </a:cubicBezTo>
                <a:cubicBezTo>
                  <a:pt x="255864" y="454475"/>
                  <a:pt x="254533" y="453543"/>
                  <a:pt x="252936" y="452877"/>
                </a:cubicBezTo>
                <a:cubicBezTo>
                  <a:pt x="251471" y="452345"/>
                  <a:pt x="249874" y="451946"/>
                  <a:pt x="247877" y="451946"/>
                </a:cubicBezTo>
                <a:close/>
                <a:moveTo>
                  <a:pt x="465521" y="451946"/>
                </a:moveTo>
                <a:cubicBezTo>
                  <a:pt x="459664" y="451946"/>
                  <a:pt x="457135" y="453942"/>
                  <a:pt x="455538" y="455540"/>
                </a:cubicBezTo>
                <a:cubicBezTo>
                  <a:pt x="453008" y="458202"/>
                  <a:pt x="451944" y="460997"/>
                  <a:pt x="451944" y="464991"/>
                </a:cubicBezTo>
                <a:cubicBezTo>
                  <a:pt x="451944" y="469118"/>
                  <a:pt x="453008" y="471913"/>
                  <a:pt x="455538" y="474442"/>
                </a:cubicBezTo>
                <a:cubicBezTo>
                  <a:pt x="457135" y="476040"/>
                  <a:pt x="459664" y="477903"/>
                  <a:pt x="465521" y="477903"/>
                </a:cubicBezTo>
                <a:cubicBezTo>
                  <a:pt x="467518" y="477903"/>
                  <a:pt x="469382" y="477504"/>
                  <a:pt x="470846" y="476971"/>
                </a:cubicBezTo>
                <a:cubicBezTo>
                  <a:pt x="472310" y="476439"/>
                  <a:pt x="473641" y="475640"/>
                  <a:pt x="474573" y="474575"/>
                </a:cubicBezTo>
                <a:cubicBezTo>
                  <a:pt x="475638" y="473510"/>
                  <a:pt x="476570" y="472179"/>
                  <a:pt x="477236" y="470449"/>
                </a:cubicBezTo>
                <a:cubicBezTo>
                  <a:pt x="477901" y="468851"/>
                  <a:pt x="478301" y="466988"/>
                  <a:pt x="478301" y="464991"/>
                </a:cubicBezTo>
                <a:cubicBezTo>
                  <a:pt x="478301" y="463127"/>
                  <a:pt x="477901" y="461397"/>
                  <a:pt x="477236" y="459799"/>
                </a:cubicBezTo>
                <a:cubicBezTo>
                  <a:pt x="476570" y="458069"/>
                  <a:pt x="475638" y="456738"/>
                  <a:pt x="474573" y="455540"/>
                </a:cubicBezTo>
                <a:cubicBezTo>
                  <a:pt x="473508" y="454475"/>
                  <a:pt x="472177" y="453543"/>
                  <a:pt x="470580" y="452877"/>
                </a:cubicBezTo>
                <a:cubicBezTo>
                  <a:pt x="469116" y="452345"/>
                  <a:pt x="467518" y="451946"/>
                  <a:pt x="465521" y="451946"/>
                </a:cubicBezTo>
                <a:close/>
                <a:moveTo>
                  <a:pt x="683166" y="451946"/>
                </a:moveTo>
                <a:cubicBezTo>
                  <a:pt x="677308" y="451946"/>
                  <a:pt x="674779" y="453942"/>
                  <a:pt x="673182" y="455540"/>
                </a:cubicBezTo>
                <a:cubicBezTo>
                  <a:pt x="670652" y="458202"/>
                  <a:pt x="669588" y="460997"/>
                  <a:pt x="669588" y="464991"/>
                </a:cubicBezTo>
                <a:cubicBezTo>
                  <a:pt x="669588" y="469118"/>
                  <a:pt x="670652" y="471913"/>
                  <a:pt x="673182" y="474442"/>
                </a:cubicBezTo>
                <a:cubicBezTo>
                  <a:pt x="674779" y="476040"/>
                  <a:pt x="677308" y="477903"/>
                  <a:pt x="683166" y="477903"/>
                </a:cubicBezTo>
                <a:cubicBezTo>
                  <a:pt x="685162" y="477903"/>
                  <a:pt x="687027" y="477504"/>
                  <a:pt x="688491" y="476971"/>
                </a:cubicBezTo>
                <a:cubicBezTo>
                  <a:pt x="689955" y="476439"/>
                  <a:pt x="691287" y="475640"/>
                  <a:pt x="692218" y="474575"/>
                </a:cubicBezTo>
                <a:cubicBezTo>
                  <a:pt x="693283" y="473510"/>
                  <a:pt x="694215" y="472179"/>
                  <a:pt x="694881" y="470449"/>
                </a:cubicBezTo>
                <a:cubicBezTo>
                  <a:pt x="695546" y="468851"/>
                  <a:pt x="695946" y="466988"/>
                  <a:pt x="695946" y="464991"/>
                </a:cubicBezTo>
                <a:cubicBezTo>
                  <a:pt x="695946" y="463127"/>
                  <a:pt x="695546" y="461397"/>
                  <a:pt x="694881" y="459799"/>
                </a:cubicBezTo>
                <a:cubicBezTo>
                  <a:pt x="694215" y="458069"/>
                  <a:pt x="693283" y="456738"/>
                  <a:pt x="692218" y="455540"/>
                </a:cubicBezTo>
                <a:cubicBezTo>
                  <a:pt x="691153" y="454475"/>
                  <a:pt x="689822" y="453543"/>
                  <a:pt x="688225" y="452877"/>
                </a:cubicBezTo>
                <a:cubicBezTo>
                  <a:pt x="686761" y="452345"/>
                  <a:pt x="685162" y="451946"/>
                  <a:pt x="683166" y="451946"/>
                </a:cubicBezTo>
                <a:close/>
                <a:moveTo>
                  <a:pt x="1118455" y="451946"/>
                </a:moveTo>
                <a:cubicBezTo>
                  <a:pt x="1112598" y="451946"/>
                  <a:pt x="1110068" y="453942"/>
                  <a:pt x="1108471" y="455540"/>
                </a:cubicBezTo>
                <a:cubicBezTo>
                  <a:pt x="1105809" y="458202"/>
                  <a:pt x="1104744" y="460997"/>
                  <a:pt x="1104744" y="464991"/>
                </a:cubicBezTo>
                <a:cubicBezTo>
                  <a:pt x="1104744" y="469118"/>
                  <a:pt x="1105809" y="471913"/>
                  <a:pt x="1108338" y="474442"/>
                </a:cubicBezTo>
                <a:cubicBezTo>
                  <a:pt x="1109936" y="476040"/>
                  <a:pt x="1112465" y="477903"/>
                  <a:pt x="1118322" y="477903"/>
                </a:cubicBezTo>
                <a:cubicBezTo>
                  <a:pt x="1120452" y="477903"/>
                  <a:pt x="1122183" y="477504"/>
                  <a:pt x="1123780" y="476971"/>
                </a:cubicBezTo>
                <a:cubicBezTo>
                  <a:pt x="1125244" y="476439"/>
                  <a:pt x="1126576" y="475640"/>
                  <a:pt x="1127507" y="474575"/>
                </a:cubicBezTo>
                <a:cubicBezTo>
                  <a:pt x="1128572" y="473510"/>
                  <a:pt x="1129504" y="472179"/>
                  <a:pt x="1130170" y="470449"/>
                </a:cubicBezTo>
                <a:cubicBezTo>
                  <a:pt x="1130835" y="468851"/>
                  <a:pt x="1131235" y="466988"/>
                  <a:pt x="1131235" y="464991"/>
                </a:cubicBezTo>
                <a:cubicBezTo>
                  <a:pt x="1131235" y="463127"/>
                  <a:pt x="1130835" y="461397"/>
                  <a:pt x="1130170" y="459799"/>
                </a:cubicBezTo>
                <a:cubicBezTo>
                  <a:pt x="1129504" y="458069"/>
                  <a:pt x="1128572" y="456738"/>
                  <a:pt x="1127507" y="455540"/>
                </a:cubicBezTo>
                <a:cubicBezTo>
                  <a:pt x="1126442" y="454475"/>
                  <a:pt x="1125111" y="453543"/>
                  <a:pt x="1123514" y="452877"/>
                </a:cubicBezTo>
                <a:cubicBezTo>
                  <a:pt x="1122050" y="452345"/>
                  <a:pt x="1120452" y="451946"/>
                  <a:pt x="1118455" y="451946"/>
                </a:cubicBezTo>
                <a:close/>
                <a:moveTo>
                  <a:pt x="900944" y="451946"/>
                </a:moveTo>
                <a:cubicBezTo>
                  <a:pt x="895086" y="451946"/>
                  <a:pt x="892557" y="453942"/>
                  <a:pt x="890960" y="455540"/>
                </a:cubicBezTo>
                <a:cubicBezTo>
                  <a:pt x="888297" y="458202"/>
                  <a:pt x="887233" y="460997"/>
                  <a:pt x="887233" y="464991"/>
                </a:cubicBezTo>
                <a:cubicBezTo>
                  <a:pt x="887233" y="469118"/>
                  <a:pt x="888297" y="471913"/>
                  <a:pt x="890827" y="474442"/>
                </a:cubicBezTo>
                <a:cubicBezTo>
                  <a:pt x="892424" y="476040"/>
                  <a:pt x="894953" y="477903"/>
                  <a:pt x="900810" y="477903"/>
                </a:cubicBezTo>
                <a:cubicBezTo>
                  <a:pt x="902807" y="477903"/>
                  <a:pt x="904538" y="477504"/>
                  <a:pt x="906268" y="476971"/>
                </a:cubicBezTo>
                <a:cubicBezTo>
                  <a:pt x="907732" y="476439"/>
                  <a:pt x="909064" y="475640"/>
                  <a:pt x="909996" y="474575"/>
                </a:cubicBezTo>
                <a:cubicBezTo>
                  <a:pt x="911060" y="473510"/>
                  <a:pt x="911992" y="472179"/>
                  <a:pt x="912658" y="470449"/>
                </a:cubicBezTo>
                <a:cubicBezTo>
                  <a:pt x="913323" y="468851"/>
                  <a:pt x="913723" y="466988"/>
                  <a:pt x="913723" y="464991"/>
                </a:cubicBezTo>
                <a:cubicBezTo>
                  <a:pt x="913723" y="463127"/>
                  <a:pt x="913323" y="461397"/>
                  <a:pt x="912658" y="459799"/>
                </a:cubicBezTo>
                <a:cubicBezTo>
                  <a:pt x="911992" y="458069"/>
                  <a:pt x="911060" y="456738"/>
                  <a:pt x="909996" y="455540"/>
                </a:cubicBezTo>
                <a:cubicBezTo>
                  <a:pt x="908931" y="454475"/>
                  <a:pt x="907599" y="453543"/>
                  <a:pt x="906002" y="452877"/>
                </a:cubicBezTo>
                <a:cubicBezTo>
                  <a:pt x="904538" y="452345"/>
                  <a:pt x="902940" y="451946"/>
                  <a:pt x="900944" y="451946"/>
                </a:cubicBezTo>
                <a:close/>
                <a:moveTo>
                  <a:pt x="1771256" y="451945"/>
                </a:moveTo>
                <a:cubicBezTo>
                  <a:pt x="1765399" y="451945"/>
                  <a:pt x="1762870" y="453941"/>
                  <a:pt x="1761273" y="455539"/>
                </a:cubicBezTo>
                <a:cubicBezTo>
                  <a:pt x="1758744" y="458201"/>
                  <a:pt x="1757679" y="460996"/>
                  <a:pt x="1757679" y="464991"/>
                </a:cubicBezTo>
                <a:cubicBezTo>
                  <a:pt x="1757679" y="469118"/>
                  <a:pt x="1758744" y="471913"/>
                  <a:pt x="1761273" y="474442"/>
                </a:cubicBezTo>
                <a:cubicBezTo>
                  <a:pt x="1762870" y="476040"/>
                  <a:pt x="1765399" y="477903"/>
                  <a:pt x="1771256" y="477903"/>
                </a:cubicBezTo>
                <a:cubicBezTo>
                  <a:pt x="1773254" y="477903"/>
                  <a:pt x="1775117" y="477504"/>
                  <a:pt x="1776581" y="476971"/>
                </a:cubicBezTo>
                <a:cubicBezTo>
                  <a:pt x="1778046" y="476439"/>
                  <a:pt x="1779377" y="475640"/>
                  <a:pt x="1780309" y="474575"/>
                </a:cubicBezTo>
                <a:cubicBezTo>
                  <a:pt x="1781374" y="473510"/>
                  <a:pt x="1782305" y="472179"/>
                  <a:pt x="1782971" y="470449"/>
                </a:cubicBezTo>
                <a:cubicBezTo>
                  <a:pt x="1783636" y="468851"/>
                  <a:pt x="1784037" y="466988"/>
                  <a:pt x="1784037" y="464991"/>
                </a:cubicBezTo>
                <a:cubicBezTo>
                  <a:pt x="1784037" y="463127"/>
                  <a:pt x="1783636" y="461396"/>
                  <a:pt x="1782971" y="459799"/>
                </a:cubicBezTo>
                <a:cubicBezTo>
                  <a:pt x="1782305" y="458068"/>
                  <a:pt x="1781374" y="456737"/>
                  <a:pt x="1780309" y="455539"/>
                </a:cubicBezTo>
                <a:cubicBezTo>
                  <a:pt x="1779243" y="454474"/>
                  <a:pt x="1777913" y="453542"/>
                  <a:pt x="1776315" y="452876"/>
                </a:cubicBezTo>
                <a:cubicBezTo>
                  <a:pt x="1774850" y="452344"/>
                  <a:pt x="1773254" y="451945"/>
                  <a:pt x="1771256" y="451945"/>
                </a:cubicBezTo>
                <a:close/>
                <a:moveTo>
                  <a:pt x="1553612" y="451945"/>
                </a:moveTo>
                <a:cubicBezTo>
                  <a:pt x="1547755" y="451945"/>
                  <a:pt x="1545226" y="453941"/>
                  <a:pt x="1543628" y="455539"/>
                </a:cubicBezTo>
                <a:cubicBezTo>
                  <a:pt x="1541099" y="458202"/>
                  <a:pt x="1540034" y="460997"/>
                  <a:pt x="1540034" y="464991"/>
                </a:cubicBezTo>
                <a:cubicBezTo>
                  <a:pt x="1540034" y="469118"/>
                  <a:pt x="1541099" y="471913"/>
                  <a:pt x="1543628" y="474442"/>
                </a:cubicBezTo>
                <a:cubicBezTo>
                  <a:pt x="1545226" y="476040"/>
                  <a:pt x="1547755" y="477903"/>
                  <a:pt x="1553612" y="477903"/>
                </a:cubicBezTo>
                <a:cubicBezTo>
                  <a:pt x="1555609" y="477903"/>
                  <a:pt x="1557473" y="477504"/>
                  <a:pt x="1558937" y="476971"/>
                </a:cubicBezTo>
                <a:cubicBezTo>
                  <a:pt x="1560401" y="476439"/>
                  <a:pt x="1561733" y="475640"/>
                  <a:pt x="1562664" y="474575"/>
                </a:cubicBezTo>
                <a:cubicBezTo>
                  <a:pt x="1563729" y="473510"/>
                  <a:pt x="1564661" y="472179"/>
                  <a:pt x="1565327" y="470449"/>
                </a:cubicBezTo>
                <a:cubicBezTo>
                  <a:pt x="1565992" y="468851"/>
                  <a:pt x="1566392" y="466988"/>
                  <a:pt x="1566392" y="464991"/>
                </a:cubicBezTo>
                <a:cubicBezTo>
                  <a:pt x="1566392" y="463127"/>
                  <a:pt x="1565992" y="461397"/>
                  <a:pt x="1565327" y="459799"/>
                </a:cubicBezTo>
                <a:cubicBezTo>
                  <a:pt x="1564661" y="458069"/>
                  <a:pt x="1563729" y="456738"/>
                  <a:pt x="1562664" y="455539"/>
                </a:cubicBezTo>
                <a:cubicBezTo>
                  <a:pt x="1561599" y="454475"/>
                  <a:pt x="1560268" y="453543"/>
                  <a:pt x="1558671" y="452876"/>
                </a:cubicBezTo>
                <a:cubicBezTo>
                  <a:pt x="1557207" y="452345"/>
                  <a:pt x="1555609" y="451945"/>
                  <a:pt x="1553612" y="451945"/>
                </a:cubicBezTo>
                <a:close/>
                <a:moveTo>
                  <a:pt x="1335967" y="451945"/>
                </a:moveTo>
                <a:cubicBezTo>
                  <a:pt x="1330109" y="451945"/>
                  <a:pt x="1327580" y="453942"/>
                  <a:pt x="1325984" y="455540"/>
                </a:cubicBezTo>
                <a:cubicBezTo>
                  <a:pt x="1323454" y="458202"/>
                  <a:pt x="1322389" y="460997"/>
                  <a:pt x="1322389" y="464991"/>
                </a:cubicBezTo>
                <a:cubicBezTo>
                  <a:pt x="1322389" y="469118"/>
                  <a:pt x="1323454" y="471913"/>
                  <a:pt x="1325984" y="474442"/>
                </a:cubicBezTo>
                <a:cubicBezTo>
                  <a:pt x="1327580" y="476040"/>
                  <a:pt x="1330109" y="477903"/>
                  <a:pt x="1335967" y="477903"/>
                </a:cubicBezTo>
                <a:cubicBezTo>
                  <a:pt x="1338097" y="477903"/>
                  <a:pt x="1339827" y="477504"/>
                  <a:pt x="1341292" y="476971"/>
                </a:cubicBezTo>
                <a:cubicBezTo>
                  <a:pt x="1342756" y="476439"/>
                  <a:pt x="1344087" y="475640"/>
                  <a:pt x="1345019" y="474575"/>
                </a:cubicBezTo>
                <a:cubicBezTo>
                  <a:pt x="1346084" y="473510"/>
                  <a:pt x="1347016" y="472179"/>
                  <a:pt x="1347682" y="470449"/>
                </a:cubicBezTo>
                <a:cubicBezTo>
                  <a:pt x="1348347" y="468851"/>
                  <a:pt x="1348747" y="466988"/>
                  <a:pt x="1348747" y="464991"/>
                </a:cubicBezTo>
                <a:cubicBezTo>
                  <a:pt x="1348747" y="463127"/>
                  <a:pt x="1348347" y="461397"/>
                  <a:pt x="1347682" y="459799"/>
                </a:cubicBezTo>
                <a:cubicBezTo>
                  <a:pt x="1347016" y="458069"/>
                  <a:pt x="1346084" y="456738"/>
                  <a:pt x="1345019" y="455540"/>
                </a:cubicBezTo>
                <a:cubicBezTo>
                  <a:pt x="1343954" y="454475"/>
                  <a:pt x="1342623" y="453543"/>
                  <a:pt x="1341026" y="452877"/>
                </a:cubicBezTo>
                <a:cubicBezTo>
                  <a:pt x="1339561" y="452345"/>
                  <a:pt x="1337964" y="451945"/>
                  <a:pt x="1335967" y="451945"/>
                </a:cubicBezTo>
                <a:close/>
                <a:moveTo>
                  <a:pt x="2206414" y="451945"/>
                </a:moveTo>
                <a:cubicBezTo>
                  <a:pt x="2200557" y="451945"/>
                  <a:pt x="2198028" y="453941"/>
                  <a:pt x="2196430" y="455539"/>
                </a:cubicBezTo>
                <a:cubicBezTo>
                  <a:pt x="2193901" y="458201"/>
                  <a:pt x="2192836" y="460996"/>
                  <a:pt x="2192836" y="464990"/>
                </a:cubicBezTo>
                <a:cubicBezTo>
                  <a:pt x="2192836" y="469117"/>
                  <a:pt x="2193901" y="471912"/>
                  <a:pt x="2196430" y="474442"/>
                </a:cubicBezTo>
                <a:cubicBezTo>
                  <a:pt x="2198028" y="476040"/>
                  <a:pt x="2200557" y="477903"/>
                  <a:pt x="2206414" y="477903"/>
                </a:cubicBezTo>
                <a:cubicBezTo>
                  <a:pt x="2208544" y="477903"/>
                  <a:pt x="2210275" y="477504"/>
                  <a:pt x="2211739" y="476971"/>
                </a:cubicBezTo>
                <a:cubicBezTo>
                  <a:pt x="2213336" y="476439"/>
                  <a:pt x="2214534" y="475639"/>
                  <a:pt x="2215466" y="474575"/>
                </a:cubicBezTo>
                <a:cubicBezTo>
                  <a:pt x="2216531" y="473510"/>
                  <a:pt x="2217463" y="472178"/>
                  <a:pt x="2218129" y="470448"/>
                </a:cubicBezTo>
                <a:cubicBezTo>
                  <a:pt x="2218661" y="468850"/>
                  <a:pt x="2219060" y="466987"/>
                  <a:pt x="2219060" y="464990"/>
                </a:cubicBezTo>
                <a:cubicBezTo>
                  <a:pt x="2219060" y="463126"/>
                  <a:pt x="2218794" y="461396"/>
                  <a:pt x="2218129" y="459798"/>
                </a:cubicBezTo>
                <a:cubicBezTo>
                  <a:pt x="2217463" y="458068"/>
                  <a:pt x="2216531" y="456737"/>
                  <a:pt x="2215466" y="455539"/>
                </a:cubicBezTo>
                <a:cubicBezTo>
                  <a:pt x="2214401" y="454474"/>
                  <a:pt x="2213070" y="453542"/>
                  <a:pt x="2211473" y="452876"/>
                </a:cubicBezTo>
                <a:cubicBezTo>
                  <a:pt x="2210008" y="452344"/>
                  <a:pt x="2208411" y="451945"/>
                  <a:pt x="2206414" y="451945"/>
                </a:cubicBezTo>
                <a:close/>
                <a:moveTo>
                  <a:pt x="1988900" y="451945"/>
                </a:moveTo>
                <a:cubicBezTo>
                  <a:pt x="1983043" y="451945"/>
                  <a:pt x="1980514" y="453941"/>
                  <a:pt x="1978917" y="455539"/>
                </a:cubicBezTo>
                <a:cubicBezTo>
                  <a:pt x="1976387" y="458201"/>
                  <a:pt x="1975323" y="460996"/>
                  <a:pt x="1975323" y="464990"/>
                </a:cubicBezTo>
                <a:cubicBezTo>
                  <a:pt x="1975323" y="469117"/>
                  <a:pt x="1976387" y="471913"/>
                  <a:pt x="1978917" y="474442"/>
                </a:cubicBezTo>
                <a:cubicBezTo>
                  <a:pt x="1980514" y="476040"/>
                  <a:pt x="1983043" y="477903"/>
                  <a:pt x="1988900" y="477903"/>
                </a:cubicBezTo>
                <a:cubicBezTo>
                  <a:pt x="1990897" y="477903"/>
                  <a:pt x="1992628" y="477504"/>
                  <a:pt x="1994225" y="476971"/>
                </a:cubicBezTo>
                <a:cubicBezTo>
                  <a:pt x="1995823" y="476439"/>
                  <a:pt x="1997021" y="475640"/>
                  <a:pt x="1997953" y="474575"/>
                </a:cubicBezTo>
                <a:cubicBezTo>
                  <a:pt x="1999017" y="473510"/>
                  <a:pt x="1999949" y="472179"/>
                  <a:pt x="2000616" y="470449"/>
                </a:cubicBezTo>
                <a:cubicBezTo>
                  <a:pt x="2001147" y="468850"/>
                  <a:pt x="2001546" y="466987"/>
                  <a:pt x="2001546" y="464990"/>
                </a:cubicBezTo>
                <a:cubicBezTo>
                  <a:pt x="2001546" y="463126"/>
                  <a:pt x="2001281" y="461396"/>
                  <a:pt x="2000616" y="459798"/>
                </a:cubicBezTo>
                <a:cubicBezTo>
                  <a:pt x="1999949" y="458068"/>
                  <a:pt x="1999017" y="456737"/>
                  <a:pt x="1997953" y="455539"/>
                </a:cubicBezTo>
                <a:cubicBezTo>
                  <a:pt x="1996888" y="454474"/>
                  <a:pt x="1995556" y="453542"/>
                  <a:pt x="1993959" y="452876"/>
                </a:cubicBezTo>
                <a:cubicBezTo>
                  <a:pt x="1992495" y="452344"/>
                  <a:pt x="1990897" y="451945"/>
                  <a:pt x="1988900" y="451945"/>
                </a:cubicBezTo>
                <a:close/>
                <a:moveTo>
                  <a:pt x="2641707" y="451945"/>
                </a:moveTo>
                <a:cubicBezTo>
                  <a:pt x="2635850" y="451945"/>
                  <a:pt x="2633320" y="453941"/>
                  <a:pt x="2631724" y="455539"/>
                </a:cubicBezTo>
                <a:cubicBezTo>
                  <a:pt x="2629193" y="458201"/>
                  <a:pt x="2628130" y="460996"/>
                  <a:pt x="2628130" y="464990"/>
                </a:cubicBezTo>
                <a:cubicBezTo>
                  <a:pt x="2628130" y="469117"/>
                  <a:pt x="2629193" y="471912"/>
                  <a:pt x="2631724" y="474441"/>
                </a:cubicBezTo>
                <a:cubicBezTo>
                  <a:pt x="2633320" y="476039"/>
                  <a:pt x="2635850" y="477902"/>
                  <a:pt x="2641707" y="477902"/>
                </a:cubicBezTo>
                <a:cubicBezTo>
                  <a:pt x="2643704" y="477902"/>
                  <a:pt x="2645568" y="477503"/>
                  <a:pt x="2647032" y="476970"/>
                </a:cubicBezTo>
                <a:cubicBezTo>
                  <a:pt x="2648629" y="476438"/>
                  <a:pt x="2649827" y="475639"/>
                  <a:pt x="2650759" y="474574"/>
                </a:cubicBezTo>
                <a:cubicBezTo>
                  <a:pt x="2651824" y="473509"/>
                  <a:pt x="2652756" y="472178"/>
                  <a:pt x="2653422" y="470448"/>
                </a:cubicBezTo>
                <a:cubicBezTo>
                  <a:pt x="2653954" y="468850"/>
                  <a:pt x="2654353" y="466987"/>
                  <a:pt x="2654353" y="464990"/>
                </a:cubicBezTo>
                <a:cubicBezTo>
                  <a:pt x="2654353" y="463126"/>
                  <a:pt x="2654087" y="461396"/>
                  <a:pt x="2653422" y="459798"/>
                </a:cubicBezTo>
                <a:cubicBezTo>
                  <a:pt x="2652756" y="458068"/>
                  <a:pt x="2651824" y="456737"/>
                  <a:pt x="2650759" y="455539"/>
                </a:cubicBezTo>
                <a:cubicBezTo>
                  <a:pt x="2649694" y="454474"/>
                  <a:pt x="2648363" y="453542"/>
                  <a:pt x="2646766" y="452876"/>
                </a:cubicBezTo>
                <a:cubicBezTo>
                  <a:pt x="2645301" y="452344"/>
                  <a:pt x="2643704" y="451945"/>
                  <a:pt x="2641707" y="451945"/>
                </a:cubicBezTo>
                <a:close/>
                <a:moveTo>
                  <a:pt x="2424060" y="451945"/>
                </a:moveTo>
                <a:cubicBezTo>
                  <a:pt x="2418203" y="451945"/>
                  <a:pt x="2415674" y="453941"/>
                  <a:pt x="2414077" y="455539"/>
                </a:cubicBezTo>
                <a:cubicBezTo>
                  <a:pt x="2411547" y="458201"/>
                  <a:pt x="2410483" y="460996"/>
                  <a:pt x="2410483" y="464990"/>
                </a:cubicBezTo>
                <a:cubicBezTo>
                  <a:pt x="2410483" y="469117"/>
                  <a:pt x="2411547" y="471912"/>
                  <a:pt x="2414077" y="474441"/>
                </a:cubicBezTo>
                <a:cubicBezTo>
                  <a:pt x="2415674" y="476039"/>
                  <a:pt x="2418203" y="477902"/>
                  <a:pt x="2424060" y="477902"/>
                </a:cubicBezTo>
                <a:cubicBezTo>
                  <a:pt x="2426190" y="477902"/>
                  <a:pt x="2427922" y="477503"/>
                  <a:pt x="2429386" y="476970"/>
                </a:cubicBezTo>
                <a:cubicBezTo>
                  <a:pt x="2430984" y="476438"/>
                  <a:pt x="2432181" y="475639"/>
                  <a:pt x="2433112" y="474574"/>
                </a:cubicBezTo>
                <a:cubicBezTo>
                  <a:pt x="2434178" y="473509"/>
                  <a:pt x="2435109" y="472178"/>
                  <a:pt x="2435776" y="470448"/>
                </a:cubicBezTo>
                <a:cubicBezTo>
                  <a:pt x="2436307" y="468850"/>
                  <a:pt x="2436707" y="466987"/>
                  <a:pt x="2436707" y="464990"/>
                </a:cubicBezTo>
                <a:cubicBezTo>
                  <a:pt x="2436707" y="463126"/>
                  <a:pt x="2436441" y="461396"/>
                  <a:pt x="2435776" y="459798"/>
                </a:cubicBezTo>
                <a:cubicBezTo>
                  <a:pt x="2435109" y="458068"/>
                  <a:pt x="2434178" y="456737"/>
                  <a:pt x="2433112" y="455539"/>
                </a:cubicBezTo>
                <a:cubicBezTo>
                  <a:pt x="2432049" y="454474"/>
                  <a:pt x="2430717" y="453542"/>
                  <a:pt x="2429119" y="452876"/>
                </a:cubicBezTo>
                <a:cubicBezTo>
                  <a:pt x="2427655" y="452344"/>
                  <a:pt x="2426057" y="451945"/>
                  <a:pt x="2424060" y="451945"/>
                </a:cubicBezTo>
                <a:close/>
                <a:moveTo>
                  <a:pt x="3077133" y="451945"/>
                </a:moveTo>
                <a:cubicBezTo>
                  <a:pt x="3071276" y="451945"/>
                  <a:pt x="3068747" y="453941"/>
                  <a:pt x="3067150" y="455539"/>
                </a:cubicBezTo>
                <a:cubicBezTo>
                  <a:pt x="3064487" y="458201"/>
                  <a:pt x="3063422" y="460996"/>
                  <a:pt x="3063422" y="464990"/>
                </a:cubicBezTo>
                <a:cubicBezTo>
                  <a:pt x="3063422" y="469117"/>
                  <a:pt x="3064487" y="471912"/>
                  <a:pt x="3067017" y="474441"/>
                </a:cubicBezTo>
                <a:cubicBezTo>
                  <a:pt x="3068614" y="476039"/>
                  <a:pt x="3071143" y="477902"/>
                  <a:pt x="3077000" y="477902"/>
                </a:cubicBezTo>
                <a:cubicBezTo>
                  <a:pt x="3078997" y="477902"/>
                  <a:pt x="3080727" y="477503"/>
                  <a:pt x="3082458" y="476970"/>
                </a:cubicBezTo>
                <a:cubicBezTo>
                  <a:pt x="3083923" y="476438"/>
                  <a:pt x="3085254" y="475639"/>
                  <a:pt x="3086185" y="474574"/>
                </a:cubicBezTo>
                <a:cubicBezTo>
                  <a:pt x="3087250" y="473509"/>
                  <a:pt x="3088182" y="472178"/>
                  <a:pt x="3088848" y="470448"/>
                </a:cubicBezTo>
                <a:cubicBezTo>
                  <a:pt x="3089513" y="468850"/>
                  <a:pt x="3089780" y="466987"/>
                  <a:pt x="3089780" y="464990"/>
                </a:cubicBezTo>
                <a:cubicBezTo>
                  <a:pt x="3089780" y="463126"/>
                  <a:pt x="3089513" y="461396"/>
                  <a:pt x="3088848" y="459798"/>
                </a:cubicBezTo>
                <a:cubicBezTo>
                  <a:pt x="3088182" y="458068"/>
                  <a:pt x="3087250" y="456737"/>
                  <a:pt x="3086185" y="455539"/>
                </a:cubicBezTo>
                <a:cubicBezTo>
                  <a:pt x="3085121" y="454474"/>
                  <a:pt x="3083789" y="453542"/>
                  <a:pt x="3082192" y="452876"/>
                </a:cubicBezTo>
                <a:cubicBezTo>
                  <a:pt x="3080727" y="452344"/>
                  <a:pt x="3079130" y="451945"/>
                  <a:pt x="3077133" y="451945"/>
                </a:cubicBezTo>
                <a:close/>
                <a:moveTo>
                  <a:pt x="2859353" y="451945"/>
                </a:moveTo>
                <a:cubicBezTo>
                  <a:pt x="2853496" y="451945"/>
                  <a:pt x="2850967" y="453941"/>
                  <a:pt x="2849370" y="455539"/>
                </a:cubicBezTo>
                <a:cubicBezTo>
                  <a:pt x="2846839" y="458201"/>
                  <a:pt x="2845776" y="460996"/>
                  <a:pt x="2845776" y="464990"/>
                </a:cubicBezTo>
                <a:cubicBezTo>
                  <a:pt x="2845776" y="469117"/>
                  <a:pt x="2846839" y="471912"/>
                  <a:pt x="2849370" y="474441"/>
                </a:cubicBezTo>
                <a:cubicBezTo>
                  <a:pt x="2850967" y="476039"/>
                  <a:pt x="2853496" y="477902"/>
                  <a:pt x="2859353" y="477902"/>
                </a:cubicBezTo>
                <a:cubicBezTo>
                  <a:pt x="2861350" y="477902"/>
                  <a:pt x="2863214" y="477503"/>
                  <a:pt x="2864678" y="476970"/>
                </a:cubicBezTo>
                <a:cubicBezTo>
                  <a:pt x="2866276" y="476438"/>
                  <a:pt x="2867475" y="475639"/>
                  <a:pt x="2868405" y="474574"/>
                </a:cubicBezTo>
                <a:cubicBezTo>
                  <a:pt x="2869470" y="473509"/>
                  <a:pt x="2870403" y="472178"/>
                  <a:pt x="2871068" y="470448"/>
                </a:cubicBezTo>
                <a:cubicBezTo>
                  <a:pt x="2871601" y="468850"/>
                  <a:pt x="2871999" y="466987"/>
                  <a:pt x="2871999" y="464990"/>
                </a:cubicBezTo>
                <a:cubicBezTo>
                  <a:pt x="2871999" y="463126"/>
                  <a:pt x="2871733" y="461396"/>
                  <a:pt x="2871068" y="459798"/>
                </a:cubicBezTo>
                <a:cubicBezTo>
                  <a:pt x="2870403" y="458068"/>
                  <a:pt x="2869470" y="456737"/>
                  <a:pt x="2868405" y="455539"/>
                </a:cubicBezTo>
                <a:cubicBezTo>
                  <a:pt x="2867341" y="454474"/>
                  <a:pt x="2866010" y="453542"/>
                  <a:pt x="2864413" y="452876"/>
                </a:cubicBezTo>
                <a:cubicBezTo>
                  <a:pt x="2862949" y="452344"/>
                  <a:pt x="2861350" y="451945"/>
                  <a:pt x="2859353" y="451945"/>
                </a:cubicBezTo>
                <a:close/>
                <a:moveTo>
                  <a:pt x="3294646" y="451945"/>
                </a:moveTo>
                <a:cubicBezTo>
                  <a:pt x="3288789" y="451945"/>
                  <a:pt x="3286260" y="453941"/>
                  <a:pt x="3284663" y="455539"/>
                </a:cubicBezTo>
                <a:cubicBezTo>
                  <a:pt x="3282132" y="458201"/>
                  <a:pt x="3281069" y="460996"/>
                  <a:pt x="3281069" y="464990"/>
                </a:cubicBezTo>
                <a:cubicBezTo>
                  <a:pt x="3281069" y="469117"/>
                  <a:pt x="3282132" y="471912"/>
                  <a:pt x="3284663" y="474441"/>
                </a:cubicBezTo>
                <a:cubicBezTo>
                  <a:pt x="3286260" y="476039"/>
                  <a:pt x="3288789" y="477902"/>
                  <a:pt x="3294646" y="477902"/>
                </a:cubicBezTo>
                <a:cubicBezTo>
                  <a:pt x="3296643" y="477902"/>
                  <a:pt x="3298374" y="477503"/>
                  <a:pt x="3299972" y="476970"/>
                </a:cubicBezTo>
                <a:cubicBezTo>
                  <a:pt x="3301436" y="476438"/>
                  <a:pt x="3302768" y="475639"/>
                  <a:pt x="3303699" y="474574"/>
                </a:cubicBezTo>
                <a:cubicBezTo>
                  <a:pt x="3304764" y="473509"/>
                  <a:pt x="3305696" y="472178"/>
                  <a:pt x="3306362" y="470448"/>
                </a:cubicBezTo>
                <a:cubicBezTo>
                  <a:pt x="3307027" y="468850"/>
                  <a:pt x="3307426" y="466987"/>
                  <a:pt x="3307426" y="464990"/>
                </a:cubicBezTo>
                <a:cubicBezTo>
                  <a:pt x="3307426" y="463126"/>
                  <a:pt x="3307027" y="461396"/>
                  <a:pt x="3306362" y="459798"/>
                </a:cubicBezTo>
                <a:cubicBezTo>
                  <a:pt x="3305696" y="458068"/>
                  <a:pt x="3304764" y="456737"/>
                  <a:pt x="3303699" y="455539"/>
                </a:cubicBezTo>
                <a:cubicBezTo>
                  <a:pt x="3302634" y="454474"/>
                  <a:pt x="3301302" y="453542"/>
                  <a:pt x="3299706" y="452876"/>
                </a:cubicBezTo>
                <a:cubicBezTo>
                  <a:pt x="3298242" y="452344"/>
                  <a:pt x="3296643" y="451945"/>
                  <a:pt x="3294646" y="451945"/>
                </a:cubicBezTo>
                <a:close/>
                <a:moveTo>
                  <a:pt x="3512160" y="451945"/>
                </a:moveTo>
                <a:cubicBezTo>
                  <a:pt x="3506303" y="451945"/>
                  <a:pt x="3503774" y="453941"/>
                  <a:pt x="3502176" y="455539"/>
                </a:cubicBezTo>
                <a:cubicBezTo>
                  <a:pt x="3499646" y="458201"/>
                  <a:pt x="3498582" y="460996"/>
                  <a:pt x="3498582" y="464990"/>
                </a:cubicBezTo>
                <a:cubicBezTo>
                  <a:pt x="3498582" y="469117"/>
                  <a:pt x="3499646" y="471912"/>
                  <a:pt x="3502176" y="474441"/>
                </a:cubicBezTo>
                <a:cubicBezTo>
                  <a:pt x="3503774" y="476039"/>
                  <a:pt x="3506303" y="477902"/>
                  <a:pt x="3512160" y="477902"/>
                </a:cubicBezTo>
                <a:cubicBezTo>
                  <a:pt x="3514290" y="477902"/>
                  <a:pt x="3516021" y="477503"/>
                  <a:pt x="3517485" y="476970"/>
                </a:cubicBezTo>
                <a:cubicBezTo>
                  <a:pt x="3518949" y="476438"/>
                  <a:pt x="3520281" y="475639"/>
                  <a:pt x="3521212" y="474574"/>
                </a:cubicBezTo>
                <a:cubicBezTo>
                  <a:pt x="3522277" y="473509"/>
                  <a:pt x="3523209" y="472178"/>
                  <a:pt x="3523875" y="470448"/>
                </a:cubicBezTo>
                <a:cubicBezTo>
                  <a:pt x="3524540" y="468850"/>
                  <a:pt x="3524940" y="466987"/>
                  <a:pt x="3524940" y="464990"/>
                </a:cubicBezTo>
                <a:cubicBezTo>
                  <a:pt x="3524940" y="463126"/>
                  <a:pt x="3524540" y="461396"/>
                  <a:pt x="3523875" y="459798"/>
                </a:cubicBezTo>
                <a:cubicBezTo>
                  <a:pt x="3523209" y="458068"/>
                  <a:pt x="3522277" y="456737"/>
                  <a:pt x="3521212" y="455539"/>
                </a:cubicBezTo>
                <a:cubicBezTo>
                  <a:pt x="3520147" y="454474"/>
                  <a:pt x="3518816" y="453542"/>
                  <a:pt x="3517219" y="452875"/>
                </a:cubicBezTo>
                <a:cubicBezTo>
                  <a:pt x="3515755" y="452344"/>
                  <a:pt x="3514157" y="451945"/>
                  <a:pt x="3512160" y="451945"/>
                </a:cubicBezTo>
                <a:close/>
                <a:moveTo>
                  <a:pt x="3729806" y="451944"/>
                </a:moveTo>
                <a:cubicBezTo>
                  <a:pt x="3723949" y="451944"/>
                  <a:pt x="3721420" y="453940"/>
                  <a:pt x="3719822" y="455538"/>
                </a:cubicBezTo>
                <a:cubicBezTo>
                  <a:pt x="3717293" y="458201"/>
                  <a:pt x="3716228" y="460996"/>
                  <a:pt x="3716228" y="464990"/>
                </a:cubicBezTo>
                <a:cubicBezTo>
                  <a:pt x="3716228" y="469117"/>
                  <a:pt x="3717293" y="471912"/>
                  <a:pt x="3719822" y="474441"/>
                </a:cubicBezTo>
                <a:cubicBezTo>
                  <a:pt x="3721420" y="476039"/>
                  <a:pt x="3723949" y="477902"/>
                  <a:pt x="3729806" y="477902"/>
                </a:cubicBezTo>
                <a:cubicBezTo>
                  <a:pt x="3731936" y="477902"/>
                  <a:pt x="3733667" y="477503"/>
                  <a:pt x="3735131" y="476970"/>
                </a:cubicBezTo>
                <a:cubicBezTo>
                  <a:pt x="3736595" y="476438"/>
                  <a:pt x="3737928" y="475639"/>
                  <a:pt x="3738858" y="474574"/>
                </a:cubicBezTo>
                <a:cubicBezTo>
                  <a:pt x="3739923" y="473509"/>
                  <a:pt x="3740856" y="472178"/>
                  <a:pt x="3741521" y="470448"/>
                </a:cubicBezTo>
                <a:cubicBezTo>
                  <a:pt x="3742186" y="468850"/>
                  <a:pt x="3742586" y="466987"/>
                  <a:pt x="3742586" y="464990"/>
                </a:cubicBezTo>
                <a:cubicBezTo>
                  <a:pt x="3742586" y="463126"/>
                  <a:pt x="3742186" y="461396"/>
                  <a:pt x="3741521" y="459798"/>
                </a:cubicBezTo>
                <a:cubicBezTo>
                  <a:pt x="3740856" y="458068"/>
                  <a:pt x="3739923" y="456737"/>
                  <a:pt x="3738858" y="455538"/>
                </a:cubicBezTo>
                <a:cubicBezTo>
                  <a:pt x="3737794" y="454473"/>
                  <a:pt x="3736462" y="453541"/>
                  <a:pt x="3734866" y="452875"/>
                </a:cubicBezTo>
                <a:cubicBezTo>
                  <a:pt x="3733400" y="452343"/>
                  <a:pt x="3731803" y="451944"/>
                  <a:pt x="3729806" y="451944"/>
                </a:cubicBezTo>
                <a:close/>
                <a:moveTo>
                  <a:pt x="3947454" y="451944"/>
                </a:moveTo>
                <a:cubicBezTo>
                  <a:pt x="3941596" y="451944"/>
                  <a:pt x="3939067" y="453940"/>
                  <a:pt x="3937471" y="455538"/>
                </a:cubicBezTo>
                <a:cubicBezTo>
                  <a:pt x="3934940" y="458200"/>
                  <a:pt x="3933876" y="460995"/>
                  <a:pt x="3933876" y="464990"/>
                </a:cubicBezTo>
                <a:cubicBezTo>
                  <a:pt x="3933876" y="469116"/>
                  <a:pt x="3934940" y="471912"/>
                  <a:pt x="3937471" y="474441"/>
                </a:cubicBezTo>
                <a:cubicBezTo>
                  <a:pt x="3939067" y="476039"/>
                  <a:pt x="3941596" y="477902"/>
                  <a:pt x="3947454" y="477902"/>
                </a:cubicBezTo>
                <a:cubicBezTo>
                  <a:pt x="3949450" y="477902"/>
                  <a:pt x="3951314" y="477503"/>
                  <a:pt x="3952779" y="476970"/>
                </a:cubicBezTo>
                <a:cubicBezTo>
                  <a:pt x="3954243" y="476438"/>
                  <a:pt x="3955574" y="475639"/>
                  <a:pt x="3956505" y="474574"/>
                </a:cubicBezTo>
                <a:cubicBezTo>
                  <a:pt x="3957571" y="473509"/>
                  <a:pt x="3958503" y="472178"/>
                  <a:pt x="3959169" y="470448"/>
                </a:cubicBezTo>
                <a:cubicBezTo>
                  <a:pt x="3959834" y="468850"/>
                  <a:pt x="3960233" y="466986"/>
                  <a:pt x="3960233" y="464990"/>
                </a:cubicBezTo>
                <a:cubicBezTo>
                  <a:pt x="3960233" y="463126"/>
                  <a:pt x="3959834" y="461395"/>
                  <a:pt x="3959169" y="459797"/>
                </a:cubicBezTo>
                <a:cubicBezTo>
                  <a:pt x="3958503" y="458067"/>
                  <a:pt x="3957571" y="456736"/>
                  <a:pt x="3956505" y="455538"/>
                </a:cubicBezTo>
                <a:cubicBezTo>
                  <a:pt x="3955441" y="454473"/>
                  <a:pt x="3954110" y="453541"/>
                  <a:pt x="3952513" y="452875"/>
                </a:cubicBezTo>
                <a:cubicBezTo>
                  <a:pt x="3951047" y="452343"/>
                  <a:pt x="3949450" y="451944"/>
                  <a:pt x="3947454" y="451944"/>
                </a:cubicBezTo>
                <a:close/>
                <a:moveTo>
                  <a:pt x="4165068" y="451944"/>
                </a:moveTo>
                <a:cubicBezTo>
                  <a:pt x="4159211" y="451944"/>
                  <a:pt x="4156681" y="453940"/>
                  <a:pt x="4155084" y="455538"/>
                </a:cubicBezTo>
                <a:cubicBezTo>
                  <a:pt x="4152555" y="458200"/>
                  <a:pt x="4151490" y="460995"/>
                  <a:pt x="4151490" y="464989"/>
                </a:cubicBezTo>
                <a:cubicBezTo>
                  <a:pt x="4151490" y="469116"/>
                  <a:pt x="4152555" y="471912"/>
                  <a:pt x="4155084" y="474441"/>
                </a:cubicBezTo>
                <a:cubicBezTo>
                  <a:pt x="4156681" y="476039"/>
                  <a:pt x="4159211" y="477902"/>
                  <a:pt x="4165068" y="477902"/>
                </a:cubicBezTo>
                <a:cubicBezTo>
                  <a:pt x="4167064" y="477902"/>
                  <a:pt x="4168928" y="477503"/>
                  <a:pt x="4170392" y="476970"/>
                </a:cubicBezTo>
                <a:cubicBezTo>
                  <a:pt x="4171856" y="476438"/>
                  <a:pt x="4173188" y="475639"/>
                  <a:pt x="4174119" y="474574"/>
                </a:cubicBezTo>
                <a:cubicBezTo>
                  <a:pt x="4175184" y="473509"/>
                  <a:pt x="4176116" y="472178"/>
                  <a:pt x="4176782" y="470448"/>
                </a:cubicBezTo>
                <a:cubicBezTo>
                  <a:pt x="4177447" y="468849"/>
                  <a:pt x="4177847" y="466986"/>
                  <a:pt x="4177847" y="464989"/>
                </a:cubicBezTo>
                <a:cubicBezTo>
                  <a:pt x="4177847" y="463125"/>
                  <a:pt x="4177447" y="461395"/>
                  <a:pt x="4176782" y="459797"/>
                </a:cubicBezTo>
                <a:cubicBezTo>
                  <a:pt x="4176116" y="458067"/>
                  <a:pt x="4175184" y="456736"/>
                  <a:pt x="4174119" y="455538"/>
                </a:cubicBezTo>
                <a:cubicBezTo>
                  <a:pt x="4173054" y="454473"/>
                  <a:pt x="4171723" y="453541"/>
                  <a:pt x="4170126" y="452875"/>
                </a:cubicBezTo>
                <a:cubicBezTo>
                  <a:pt x="4168662" y="452343"/>
                  <a:pt x="4167064" y="451944"/>
                  <a:pt x="4165068" y="451944"/>
                </a:cubicBezTo>
                <a:close/>
                <a:moveTo>
                  <a:pt x="4382713" y="451944"/>
                </a:moveTo>
                <a:cubicBezTo>
                  <a:pt x="4376857" y="451944"/>
                  <a:pt x="4374327" y="453940"/>
                  <a:pt x="4372730" y="455538"/>
                </a:cubicBezTo>
                <a:cubicBezTo>
                  <a:pt x="4370201" y="458200"/>
                  <a:pt x="4369136" y="460995"/>
                  <a:pt x="4369136" y="464989"/>
                </a:cubicBezTo>
                <a:cubicBezTo>
                  <a:pt x="4369136" y="469116"/>
                  <a:pt x="4370201" y="471911"/>
                  <a:pt x="4372730" y="474441"/>
                </a:cubicBezTo>
                <a:cubicBezTo>
                  <a:pt x="4374327" y="476038"/>
                  <a:pt x="4376857" y="477902"/>
                  <a:pt x="4382713" y="477902"/>
                </a:cubicBezTo>
                <a:cubicBezTo>
                  <a:pt x="4384710" y="477902"/>
                  <a:pt x="4386441" y="477502"/>
                  <a:pt x="4388038" y="476970"/>
                </a:cubicBezTo>
                <a:cubicBezTo>
                  <a:pt x="4389502" y="476437"/>
                  <a:pt x="4390834" y="475638"/>
                  <a:pt x="4391765" y="474573"/>
                </a:cubicBezTo>
                <a:cubicBezTo>
                  <a:pt x="4392830" y="473509"/>
                  <a:pt x="4393762" y="472177"/>
                  <a:pt x="4394428" y="470447"/>
                </a:cubicBezTo>
                <a:cubicBezTo>
                  <a:pt x="4395093" y="468849"/>
                  <a:pt x="4395493" y="466986"/>
                  <a:pt x="4395493" y="464989"/>
                </a:cubicBezTo>
                <a:cubicBezTo>
                  <a:pt x="4395493" y="463125"/>
                  <a:pt x="4395093" y="461395"/>
                  <a:pt x="4394428" y="459797"/>
                </a:cubicBezTo>
                <a:cubicBezTo>
                  <a:pt x="4393762" y="458067"/>
                  <a:pt x="4392830" y="456736"/>
                  <a:pt x="4391765" y="455538"/>
                </a:cubicBezTo>
                <a:cubicBezTo>
                  <a:pt x="4390700" y="454473"/>
                  <a:pt x="4389369" y="453541"/>
                  <a:pt x="4387772" y="452875"/>
                </a:cubicBezTo>
                <a:cubicBezTo>
                  <a:pt x="4386308" y="452343"/>
                  <a:pt x="4384710" y="451944"/>
                  <a:pt x="4382713" y="451944"/>
                </a:cubicBezTo>
                <a:close/>
                <a:moveTo>
                  <a:pt x="4600226" y="451944"/>
                </a:moveTo>
                <a:cubicBezTo>
                  <a:pt x="4594369" y="451944"/>
                  <a:pt x="4591839" y="453940"/>
                  <a:pt x="4590242" y="455538"/>
                </a:cubicBezTo>
                <a:cubicBezTo>
                  <a:pt x="4587713" y="458200"/>
                  <a:pt x="4586648" y="460995"/>
                  <a:pt x="4586648" y="464989"/>
                </a:cubicBezTo>
                <a:cubicBezTo>
                  <a:pt x="4586648" y="469116"/>
                  <a:pt x="4587713" y="471911"/>
                  <a:pt x="4590242" y="474440"/>
                </a:cubicBezTo>
                <a:cubicBezTo>
                  <a:pt x="4591839" y="476038"/>
                  <a:pt x="4594369" y="477901"/>
                  <a:pt x="4600226" y="477901"/>
                </a:cubicBezTo>
                <a:cubicBezTo>
                  <a:pt x="4602355" y="477901"/>
                  <a:pt x="4604086" y="477502"/>
                  <a:pt x="4605550" y="476969"/>
                </a:cubicBezTo>
                <a:cubicBezTo>
                  <a:pt x="4607148" y="476437"/>
                  <a:pt x="4608346" y="475638"/>
                  <a:pt x="4609277" y="474573"/>
                </a:cubicBezTo>
                <a:cubicBezTo>
                  <a:pt x="4610342" y="473508"/>
                  <a:pt x="4611274" y="472177"/>
                  <a:pt x="4611940" y="470447"/>
                </a:cubicBezTo>
                <a:cubicBezTo>
                  <a:pt x="4612605" y="468849"/>
                  <a:pt x="4613005" y="466986"/>
                  <a:pt x="4613005" y="464989"/>
                </a:cubicBezTo>
                <a:cubicBezTo>
                  <a:pt x="4613005" y="463125"/>
                  <a:pt x="4612605" y="461395"/>
                  <a:pt x="4611940" y="459797"/>
                </a:cubicBezTo>
                <a:cubicBezTo>
                  <a:pt x="4611274" y="458067"/>
                  <a:pt x="4610342" y="456736"/>
                  <a:pt x="4609277" y="455538"/>
                </a:cubicBezTo>
                <a:cubicBezTo>
                  <a:pt x="4608212" y="454473"/>
                  <a:pt x="4606881" y="453541"/>
                  <a:pt x="4605284" y="452875"/>
                </a:cubicBezTo>
                <a:cubicBezTo>
                  <a:pt x="4603820" y="452343"/>
                  <a:pt x="4602222" y="451944"/>
                  <a:pt x="4600226" y="451944"/>
                </a:cubicBezTo>
                <a:close/>
                <a:moveTo>
                  <a:pt x="4817870" y="451944"/>
                </a:moveTo>
                <a:cubicBezTo>
                  <a:pt x="4812013" y="451944"/>
                  <a:pt x="4809484" y="453940"/>
                  <a:pt x="4807887" y="455538"/>
                </a:cubicBezTo>
                <a:cubicBezTo>
                  <a:pt x="4805357" y="458200"/>
                  <a:pt x="4804293" y="460995"/>
                  <a:pt x="4804293" y="464989"/>
                </a:cubicBezTo>
                <a:cubicBezTo>
                  <a:pt x="4804293" y="469116"/>
                  <a:pt x="4805357" y="471911"/>
                  <a:pt x="4807887" y="474440"/>
                </a:cubicBezTo>
                <a:cubicBezTo>
                  <a:pt x="4809484" y="476038"/>
                  <a:pt x="4812013" y="477901"/>
                  <a:pt x="4817870" y="477901"/>
                </a:cubicBezTo>
                <a:cubicBezTo>
                  <a:pt x="4820000" y="477901"/>
                  <a:pt x="4821731" y="477502"/>
                  <a:pt x="4823195" y="476969"/>
                </a:cubicBezTo>
                <a:cubicBezTo>
                  <a:pt x="4824659" y="476437"/>
                  <a:pt x="4825857" y="475638"/>
                  <a:pt x="4826922" y="474573"/>
                </a:cubicBezTo>
                <a:cubicBezTo>
                  <a:pt x="4827987" y="473508"/>
                  <a:pt x="4828919" y="472177"/>
                  <a:pt x="4829585" y="470447"/>
                </a:cubicBezTo>
                <a:cubicBezTo>
                  <a:pt x="4830383" y="468849"/>
                  <a:pt x="4830650" y="466986"/>
                  <a:pt x="4830650" y="464989"/>
                </a:cubicBezTo>
                <a:cubicBezTo>
                  <a:pt x="4830650" y="463125"/>
                  <a:pt x="4830250" y="461395"/>
                  <a:pt x="4829585" y="459797"/>
                </a:cubicBezTo>
                <a:cubicBezTo>
                  <a:pt x="4828919" y="458067"/>
                  <a:pt x="4827987" y="456736"/>
                  <a:pt x="4826922" y="455538"/>
                </a:cubicBezTo>
                <a:cubicBezTo>
                  <a:pt x="4825857" y="454473"/>
                  <a:pt x="4824526" y="453541"/>
                  <a:pt x="4822929" y="452875"/>
                </a:cubicBezTo>
                <a:cubicBezTo>
                  <a:pt x="4821465" y="452343"/>
                  <a:pt x="4819734" y="451944"/>
                  <a:pt x="4817870" y="451944"/>
                </a:cubicBezTo>
                <a:close/>
                <a:moveTo>
                  <a:pt x="5035515" y="451944"/>
                </a:moveTo>
                <a:cubicBezTo>
                  <a:pt x="5029658" y="451944"/>
                  <a:pt x="5027129" y="453940"/>
                  <a:pt x="5025532" y="455538"/>
                </a:cubicBezTo>
                <a:cubicBezTo>
                  <a:pt x="5023002" y="458200"/>
                  <a:pt x="5021938" y="460995"/>
                  <a:pt x="5021938" y="464989"/>
                </a:cubicBezTo>
                <a:cubicBezTo>
                  <a:pt x="5021938" y="469116"/>
                  <a:pt x="5023002" y="471911"/>
                  <a:pt x="5025532" y="474440"/>
                </a:cubicBezTo>
                <a:cubicBezTo>
                  <a:pt x="5027129" y="476038"/>
                  <a:pt x="5029658" y="477901"/>
                  <a:pt x="5035515" y="477901"/>
                </a:cubicBezTo>
                <a:cubicBezTo>
                  <a:pt x="5037645" y="477901"/>
                  <a:pt x="5039376" y="477502"/>
                  <a:pt x="5040840" y="476969"/>
                </a:cubicBezTo>
                <a:cubicBezTo>
                  <a:pt x="5042304" y="476437"/>
                  <a:pt x="5043636" y="475638"/>
                  <a:pt x="5044567" y="474573"/>
                </a:cubicBezTo>
                <a:cubicBezTo>
                  <a:pt x="5045632" y="473508"/>
                  <a:pt x="5046564" y="472177"/>
                  <a:pt x="5047230" y="470447"/>
                </a:cubicBezTo>
                <a:cubicBezTo>
                  <a:pt x="5048028" y="468849"/>
                  <a:pt x="5048294" y="466986"/>
                  <a:pt x="5048294" y="464989"/>
                </a:cubicBezTo>
                <a:cubicBezTo>
                  <a:pt x="5048294" y="463125"/>
                  <a:pt x="5047895" y="461395"/>
                  <a:pt x="5047230" y="459797"/>
                </a:cubicBezTo>
                <a:cubicBezTo>
                  <a:pt x="5046564" y="458067"/>
                  <a:pt x="5045632" y="456736"/>
                  <a:pt x="5044567" y="455538"/>
                </a:cubicBezTo>
                <a:cubicBezTo>
                  <a:pt x="5043502" y="454473"/>
                  <a:pt x="5042171" y="453541"/>
                  <a:pt x="5040574" y="452875"/>
                </a:cubicBezTo>
                <a:cubicBezTo>
                  <a:pt x="5039110" y="452343"/>
                  <a:pt x="5037379" y="451944"/>
                  <a:pt x="5035515" y="451944"/>
                </a:cubicBezTo>
                <a:close/>
                <a:moveTo>
                  <a:pt x="5253160" y="451944"/>
                </a:moveTo>
                <a:cubicBezTo>
                  <a:pt x="5247303" y="451944"/>
                  <a:pt x="5244774" y="453940"/>
                  <a:pt x="5243177" y="455538"/>
                </a:cubicBezTo>
                <a:cubicBezTo>
                  <a:pt x="5240647" y="458200"/>
                  <a:pt x="5239583" y="460995"/>
                  <a:pt x="5239583" y="464989"/>
                </a:cubicBezTo>
                <a:cubicBezTo>
                  <a:pt x="5239583" y="469116"/>
                  <a:pt x="5240647" y="471911"/>
                  <a:pt x="5243177" y="474440"/>
                </a:cubicBezTo>
                <a:cubicBezTo>
                  <a:pt x="5244774" y="476038"/>
                  <a:pt x="5247303" y="477901"/>
                  <a:pt x="5253160" y="477901"/>
                </a:cubicBezTo>
                <a:cubicBezTo>
                  <a:pt x="5255157" y="477901"/>
                  <a:pt x="5257021" y="477502"/>
                  <a:pt x="5258485" y="476969"/>
                </a:cubicBezTo>
                <a:cubicBezTo>
                  <a:pt x="5259949" y="476437"/>
                  <a:pt x="5261280" y="475638"/>
                  <a:pt x="5262212" y="474573"/>
                </a:cubicBezTo>
                <a:cubicBezTo>
                  <a:pt x="5263277" y="473508"/>
                  <a:pt x="5264209" y="472177"/>
                  <a:pt x="5264875" y="470447"/>
                </a:cubicBezTo>
                <a:cubicBezTo>
                  <a:pt x="5265673" y="468849"/>
                  <a:pt x="5265939" y="466986"/>
                  <a:pt x="5265939" y="464989"/>
                </a:cubicBezTo>
                <a:cubicBezTo>
                  <a:pt x="5265939" y="463125"/>
                  <a:pt x="5265540" y="461395"/>
                  <a:pt x="5264875" y="459797"/>
                </a:cubicBezTo>
                <a:cubicBezTo>
                  <a:pt x="5264209" y="458067"/>
                  <a:pt x="5263277" y="456736"/>
                  <a:pt x="5262212" y="455538"/>
                </a:cubicBezTo>
                <a:cubicBezTo>
                  <a:pt x="5261147" y="454473"/>
                  <a:pt x="5259816" y="453541"/>
                  <a:pt x="5258219" y="452875"/>
                </a:cubicBezTo>
                <a:cubicBezTo>
                  <a:pt x="5256754" y="452343"/>
                  <a:pt x="5255024" y="451944"/>
                  <a:pt x="5253160" y="451944"/>
                </a:cubicBezTo>
                <a:close/>
                <a:moveTo>
                  <a:pt x="5470806" y="451944"/>
                </a:moveTo>
                <a:cubicBezTo>
                  <a:pt x="5464949" y="451944"/>
                  <a:pt x="5462419" y="453940"/>
                  <a:pt x="5460822" y="455538"/>
                </a:cubicBezTo>
                <a:cubicBezTo>
                  <a:pt x="5458293" y="458200"/>
                  <a:pt x="5457228" y="460995"/>
                  <a:pt x="5457228" y="464989"/>
                </a:cubicBezTo>
                <a:cubicBezTo>
                  <a:pt x="5457228" y="469116"/>
                  <a:pt x="5458293" y="471911"/>
                  <a:pt x="5460822" y="474440"/>
                </a:cubicBezTo>
                <a:cubicBezTo>
                  <a:pt x="5462419" y="476038"/>
                  <a:pt x="5464949" y="477901"/>
                  <a:pt x="5470806" y="477901"/>
                </a:cubicBezTo>
                <a:cubicBezTo>
                  <a:pt x="5472802" y="477901"/>
                  <a:pt x="5474666" y="477502"/>
                  <a:pt x="5476130" y="476969"/>
                </a:cubicBezTo>
                <a:cubicBezTo>
                  <a:pt x="5477594" y="476437"/>
                  <a:pt x="5478926" y="475638"/>
                  <a:pt x="5479857" y="474573"/>
                </a:cubicBezTo>
                <a:cubicBezTo>
                  <a:pt x="5480922" y="473508"/>
                  <a:pt x="5481854" y="472177"/>
                  <a:pt x="5482520" y="470447"/>
                </a:cubicBezTo>
                <a:cubicBezTo>
                  <a:pt x="5483319" y="468849"/>
                  <a:pt x="5483585" y="466986"/>
                  <a:pt x="5483585" y="464989"/>
                </a:cubicBezTo>
                <a:cubicBezTo>
                  <a:pt x="5483585" y="463125"/>
                  <a:pt x="5483185" y="461395"/>
                  <a:pt x="5482520" y="459797"/>
                </a:cubicBezTo>
                <a:cubicBezTo>
                  <a:pt x="5481854" y="458067"/>
                  <a:pt x="5480922" y="456736"/>
                  <a:pt x="5479857" y="455538"/>
                </a:cubicBezTo>
                <a:cubicBezTo>
                  <a:pt x="5478793" y="454473"/>
                  <a:pt x="5477461" y="453541"/>
                  <a:pt x="5475864" y="452875"/>
                </a:cubicBezTo>
                <a:cubicBezTo>
                  <a:pt x="5474400" y="452343"/>
                  <a:pt x="5472669" y="451944"/>
                  <a:pt x="5470806" y="451944"/>
                </a:cubicBezTo>
                <a:close/>
                <a:moveTo>
                  <a:pt x="5688451" y="451943"/>
                </a:moveTo>
                <a:cubicBezTo>
                  <a:pt x="5682594" y="451943"/>
                  <a:pt x="5680064" y="453939"/>
                  <a:pt x="5678467" y="455538"/>
                </a:cubicBezTo>
                <a:cubicBezTo>
                  <a:pt x="5675938" y="458200"/>
                  <a:pt x="5674873" y="460995"/>
                  <a:pt x="5674873" y="464989"/>
                </a:cubicBezTo>
                <a:cubicBezTo>
                  <a:pt x="5674873" y="469116"/>
                  <a:pt x="5675938" y="471911"/>
                  <a:pt x="5678467" y="474440"/>
                </a:cubicBezTo>
                <a:cubicBezTo>
                  <a:pt x="5680064" y="476038"/>
                  <a:pt x="5682594" y="477901"/>
                  <a:pt x="5688451" y="477901"/>
                </a:cubicBezTo>
                <a:cubicBezTo>
                  <a:pt x="5690447" y="477901"/>
                  <a:pt x="5692178" y="477502"/>
                  <a:pt x="5693775" y="476969"/>
                </a:cubicBezTo>
                <a:cubicBezTo>
                  <a:pt x="5695239" y="476437"/>
                  <a:pt x="5696571" y="475638"/>
                  <a:pt x="5697502" y="474573"/>
                </a:cubicBezTo>
                <a:cubicBezTo>
                  <a:pt x="5698567" y="473508"/>
                  <a:pt x="5699499" y="472177"/>
                  <a:pt x="5700165" y="470447"/>
                </a:cubicBezTo>
                <a:cubicBezTo>
                  <a:pt x="5700830" y="468849"/>
                  <a:pt x="5701230" y="466986"/>
                  <a:pt x="5701230" y="464989"/>
                </a:cubicBezTo>
                <a:cubicBezTo>
                  <a:pt x="5701230" y="463125"/>
                  <a:pt x="5700830" y="461395"/>
                  <a:pt x="5700165" y="459797"/>
                </a:cubicBezTo>
                <a:cubicBezTo>
                  <a:pt x="5699499" y="458067"/>
                  <a:pt x="5698567" y="456736"/>
                  <a:pt x="5697502" y="455538"/>
                </a:cubicBezTo>
                <a:cubicBezTo>
                  <a:pt x="5696437" y="454473"/>
                  <a:pt x="5695106" y="453540"/>
                  <a:pt x="5693509" y="452874"/>
                </a:cubicBezTo>
                <a:cubicBezTo>
                  <a:pt x="5692045" y="452342"/>
                  <a:pt x="5690314" y="451943"/>
                  <a:pt x="5688451" y="451943"/>
                </a:cubicBezTo>
                <a:close/>
                <a:moveTo>
                  <a:pt x="5905963" y="451943"/>
                </a:moveTo>
                <a:cubicBezTo>
                  <a:pt x="5900106" y="451943"/>
                  <a:pt x="5897576" y="453939"/>
                  <a:pt x="5895979" y="455537"/>
                </a:cubicBezTo>
                <a:cubicBezTo>
                  <a:pt x="5893450" y="458199"/>
                  <a:pt x="5892385" y="460994"/>
                  <a:pt x="5892385" y="464989"/>
                </a:cubicBezTo>
                <a:cubicBezTo>
                  <a:pt x="5892385" y="469116"/>
                  <a:pt x="5893450" y="471911"/>
                  <a:pt x="5895979" y="474440"/>
                </a:cubicBezTo>
                <a:cubicBezTo>
                  <a:pt x="5897576" y="476038"/>
                  <a:pt x="5900106" y="477901"/>
                  <a:pt x="5905963" y="477901"/>
                </a:cubicBezTo>
                <a:cubicBezTo>
                  <a:pt x="5908093" y="477901"/>
                  <a:pt x="5909823" y="477502"/>
                  <a:pt x="5911287" y="476969"/>
                </a:cubicBezTo>
                <a:cubicBezTo>
                  <a:pt x="5912751" y="476437"/>
                  <a:pt x="5914083" y="475638"/>
                  <a:pt x="5915014" y="474573"/>
                </a:cubicBezTo>
                <a:cubicBezTo>
                  <a:pt x="5916079" y="473508"/>
                  <a:pt x="5917011" y="472177"/>
                  <a:pt x="5917677" y="470447"/>
                </a:cubicBezTo>
                <a:cubicBezTo>
                  <a:pt x="5918342" y="468849"/>
                  <a:pt x="5918742" y="466986"/>
                  <a:pt x="5918742" y="464989"/>
                </a:cubicBezTo>
                <a:cubicBezTo>
                  <a:pt x="5918742" y="463125"/>
                  <a:pt x="5918342" y="461394"/>
                  <a:pt x="5917677" y="459796"/>
                </a:cubicBezTo>
                <a:cubicBezTo>
                  <a:pt x="5917011" y="458066"/>
                  <a:pt x="5916079" y="456736"/>
                  <a:pt x="5915014" y="455537"/>
                </a:cubicBezTo>
                <a:cubicBezTo>
                  <a:pt x="5913950" y="454472"/>
                  <a:pt x="5912618" y="453540"/>
                  <a:pt x="5911021" y="452874"/>
                </a:cubicBezTo>
                <a:cubicBezTo>
                  <a:pt x="5909557" y="452342"/>
                  <a:pt x="5907826" y="451943"/>
                  <a:pt x="5905963" y="451943"/>
                </a:cubicBezTo>
                <a:close/>
                <a:moveTo>
                  <a:pt x="6123608" y="451943"/>
                </a:moveTo>
                <a:cubicBezTo>
                  <a:pt x="6117751" y="451943"/>
                  <a:pt x="6115221" y="453939"/>
                  <a:pt x="6113624" y="455537"/>
                </a:cubicBezTo>
                <a:cubicBezTo>
                  <a:pt x="6111095" y="458199"/>
                  <a:pt x="6110030" y="460994"/>
                  <a:pt x="6110030" y="464988"/>
                </a:cubicBezTo>
                <a:cubicBezTo>
                  <a:pt x="6110030" y="469116"/>
                  <a:pt x="6111095" y="471911"/>
                  <a:pt x="6113624" y="474440"/>
                </a:cubicBezTo>
                <a:cubicBezTo>
                  <a:pt x="6115221" y="476038"/>
                  <a:pt x="6117751" y="477901"/>
                  <a:pt x="6123608" y="477901"/>
                </a:cubicBezTo>
                <a:cubicBezTo>
                  <a:pt x="6125737" y="477901"/>
                  <a:pt x="6127468" y="477502"/>
                  <a:pt x="6128932" y="476969"/>
                </a:cubicBezTo>
                <a:cubicBezTo>
                  <a:pt x="6130530" y="476437"/>
                  <a:pt x="6131728" y="475638"/>
                  <a:pt x="6132659" y="474573"/>
                </a:cubicBezTo>
                <a:cubicBezTo>
                  <a:pt x="6133724" y="473508"/>
                  <a:pt x="6134656" y="472177"/>
                  <a:pt x="6135322" y="470447"/>
                </a:cubicBezTo>
                <a:cubicBezTo>
                  <a:pt x="6135987" y="468849"/>
                  <a:pt x="6136387" y="466986"/>
                  <a:pt x="6136387" y="464988"/>
                </a:cubicBezTo>
                <a:cubicBezTo>
                  <a:pt x="6136387" y="463125"/>
                  <a:pt x="6135987" y="461394"/>
                  <a:pt x="6135322" y="459796"/>
                </a:cubicBezTo>
                <a:cubicBezTo>
                  <a:pt x="6134656" y="458066"/>
                  <a:pt x="6133724" y="456735"/>
                  <a:pt x="6132659" y="455537"/>
                </a:cubicBezTo>
                <a:cubicBezTo>
                  <a:pt x="6131594" y="454472"/>
                  <a:pt x="6130263" y="453540"/>
                  <a:pt x="6128666" y="452874"/>
                </a:cubicBezTo>
                <a:cubicBezTo>
                  <a:pt x="6127202" y="452342"/>
                  <a:pt x="6125604" y="451943"/>
                  <a:pt x="6123608" y="451943"/>
                </a:cubicBezTo>
                <a:close/>
                <a:moveTo>
                  <a:pt x="6341253" y="451943"/>
                </a:moveTo>
                <a:cubicBezTo>
                  <a:pt x="6335396" y="451943"/>
                  <a:pt x="6332867" y="453939"/>
                  <a:pt x="6331270" y="455537"/>
                </a:cubicBezTo>
                <a:cubicBezTo>
                  <a:pt x="6328740" y="458199"/>
                  <a:pt x="6327675" y="460994"/>
                  <a:pt x="6327675" y="464988"/>
                </a:cubicBezTo>
                <a:cubicBezTo>
                  <a:pt x="6327675" y="469115"/>
                  <a:pt x="6328740" y="471911"/>
                  <a:pt x="6331270" y="474440"/>
                </a:cubicBezTo>
                <a:cubicBezTo>
                  <a:pt x="6332867" y="476038"/>
                  <a:pt x="6335396" y="477901"/>
                  <a:pt x="6341253" y="477901"/>
                </a:cubicBezTo>
                <a:cubicBezTo>
                  <a:pt x="6343250" y="477901"/>
                  <a:pt x="6345114" y="477501"/>
                  <a:pt x="6346578" y="476969"/>
                </a:cubicBezTo>
                <a:cubicBezTo>
                  <a:pt x="6348042" y="476437"/>
                  <a:pt x="6349373" y="475638"/>
                  <a:pt x="6350305" y="474573"/>
                </a:cubicBezTo>
                <a:cubicBezTo>
                  <a:pt x="6351370" y="473508"/>
                  <a:pt x="6352302" y="472177"/>
                  <a:pt x="6352968" y="470447"/>
                </a:cubicBezTo>
                <a:cubicBezTo>
                  <a:pt x="6353766" y="468848"/>
                  <a:pt x="6354033" y="466985"/>
                  <a:pt x="6354033" y="464988"/>
                </a:cubicBezTo>
                <a:cubicBezTo>
                  <a:pt x="6354033" y="463124"/>
                  <a:pt x="6353633" y="461394"/>
                  <a:pt x="6352968" y="459796"/>
                </a:cubicBezTo>
                <a:cubicBezTo>
                  <a:pt x="6352302" y="458066"/>
                  <a:pt x="6351370" y="456735"/>
                  <a:pt x="6350305" y="455537"/>
                </a:cubicBezTo>
                <a:cubicBezTo>
                  <a:pt x="6349241" y="454472"/>
                  <a:pt x="6347909" y="453540"/>
                  <a:pt x="6346312" y="452874"/>
                </a:cubicBezTo>
                <a:cubicBezTo>
                  <a:pt x="6344848" y="452342"/>
                  <a:pt x="6343250" y="451943"/>
                  <a:pt x="6341253" y="451943"/>
                </a:cubicBezTo>
                <a:close/>
                <a:moveTo>
                  <a:pt x="6558899" y="451943"/>
                </a:moveTo>
                <a:cubicBezTo>
                  <a:pt x="6553042" y="451943"/>
                  <a:pt x="6550512" y="453939"/>
                  <a:pt x="6548915" y="455537"/>
                </a:cubicBezTo>
                <a:cubicBezTo>
                  <a:pt x="6546386" y="458199"/>
                  <a:pt x="6545321" y="460994"/>
                  <a:pt x="6545321" y="464988"/>
                </a:cubicBezTo>
                <a:cubicBezTo>
                  <a:pt x="6545321" y="469115"/>
                  <a:pt x="6546386" y="471910"/>
                  <a:pt x="6548915" y="474440"/>
                </a:cubicBezTo>
                <a:cubicBezTo>
                  <a:pt x="6550512" y="476037"/>
                  <a:pt x="6553042" y="477901"/>
                  <a:pt x="6558899" y="477901"/>
                </a:cubicBezTo>
                <a:cubicBezTo>
                  <a:pt x="6560895" y="477901"/>
                  <a:pt x="6562759" y="477501"/>
                  <a:pt x="6564223" y="476968"/>
                </a:cubicBezTo>
                <a:cubicBezTo>
                  <a:pt x="6565687" y="476436"/>
                  <a:pt x="6567019" y="475637"/>
                  <a:pt x="6567950" y="474572"/>
                </a:cubicBezTo>
                <a:cubicBezTo>
                  <a:pt x="6569015" y="473507"/>
                  <a:pt x="6569947" y="472176"/>
                  <a:pt x="6570612" y="470446"/>
                </a:cubicBezTo>
                <a:cubicBezTo>
                  <a:pt x="6571412" y="468848"/>
                  <a:pt x="6571677" y="466985"/>
                  <a:pt x="6571677" y="464988"/>
                </a:cubicBezTo>
                <a:cubicBezTo>
                  <a:pt x="6571677" y="463124"/>
                  <a:pt x="6571278" y="461394"/>
                  <a:pt x="6570612" y="459796"/>
                </a:cubicBezTo>
                <a:cubicBezTo>
                  <a:pt x="6569947" y="458066"/>
                  <a:pt x="6569015" y="456735"/>
                  <a:pt x="6567950" y="455537"/>
                </a:cubicBezTo>
                <a:cubicBezTo>
                  <a:pt x="6566885" y="454472"/>
                  <a:pt x="6565554" y="453540"/>
                  <a:pt x="6563956" y="452874"/>
                </a:cubicBezTo>
                <a:cubicBezTo>
                  <a:pt x="6562492" y="452342"/>
                  <a:pt x="6560895" y="451943"/>
                  <a:pt x="6558899" y="451943"/>
                </a:cubicBezTo>
                <a:close/>
                <a:moveTo>
                  <a:pt x="6776544" y="451943"/>
                </a:moveTo>
                <a:cubicBezTo>
                  <a:pt x="6770687" y="451943"/>
                  <a:pt x="6768157" y="453939"/>
                  <a:pt x="6766560" y="455537"/>
                </a:cubicBezTo>
                <a:cubicBezTo>
                  <a:pt x="6764031" y="458199"/>
                  <a:pt x="6762966" y="460994"/>
                  <a:pt x="6762966" y="464988"/>
                </a:cubicBezTo>
                <a:cubicBezTo>
                  <a:pt x="6762966" y="469115"/>
                  <a:pt x="6764031" y="471910"/>
                  <a:pt x="6766560" y="474439"/>
                </a:cubicBezTo>
                <a:cubicBezTo>
                  <a:pt x="6768157" y="476037"/>
                  <a:pt x="6770687" y="477900"/>
                  <a:pt x="6776544" y="477900"/>
                </a:cubicBezTo>
                <a:cubicBezTo>
                  <a:pt x="6778541" y="477900"/>
                  <a:pt x="6780270" y="477501"/>
                  <a:pt x="6781869" y="476968"/>
                </a:cubicBezTo>
                <a:cubicBezTo>
                  <a:pt x="6783333" y="476436"/>
                  <a:pt x="6784664" y="475637"/>
                  <a:pt x="6785595" y="474572"/>
                </a:cubicBezTo>
                <a:cubicBezTo>
                  <a:pt x="6786661" y="473507"/>
                  <a:pt x="6787593" y="472176"/>
                  <a:pt x="6788258" y="470446"/>
                </a:cubicBezTo>
                <a:cubicBezTo>
                  <a:pt x="6789057" y="468848"/>
                  <a:pt x="6789323" y="466985"/>
                  <a:pt x="6789323" y="464988"/>
                </a:cubicBezTo>
                <a:cubicBezTo>
                  <a:pt x="6789323" y="463124"/>
                  <a:pt x="6788923" y="461394"/>
                  <a:pt x="6788258" y="459796"/>
                </a:cubicBezTo>
                <a:cubicBezTo>
                  <a:pt x="6787593" y="458066"/>
                  <a:pt x="6786661" y="456735"/>
                  <a:pt x="6785595" y="455537"/>
                </a:cubicBezTo>
                <a:cubicBezTo>
                  <a:pt x="6784530" y="454472"/>
                  <a:pt x="6783199" y="453540"/>
                  <a:pt x="6781602" y="452874"/>
                </a:cubicBezTo>
                <a:cubicBezTo>
                  <a:pt x="6780138" y="452342"/>
                  <a:pt x="6778541" y="451943"/>
                  <a:pt x="6776544" y="451943"/>
                </a:cubicBezTo>
                <a:close/>
                <a:moveTo>
                  <a:pt x="6994056" y="451943"/>
                </a:moveTo>
                <a:cubicBezTo>
                  <a:pt x="6988199" y="451943"/>
                  <a:pt x="6985669" y="453939"/>
                  <a:pt x="6984072" y="455537"/>
                </a:cubicBezTo>
                <a:cubicBezTo>
                  <a:pt x="6981543" y="458199"/>
                  <a:pt x="6980478" y="460994"/>
                  <a:pt x="6980478" y="464988"/>
                </a:cubicBezTo>
                <a:cubicBezTo>
                  <a:pt x="6980478" y="469115"/>
                  <a:pt x="6981543" y="471910"/>
                  <a:pt x="6984072" y="474439"/>
                </a:cubicBezTo>
                <a:cubicBezTo>
                  <a:pt x="6985669" y="476037"/>
                  <a:pt x="6988199" y="477900"/>
                  <a:pt x="6994056" y="477900"/>
                </a:cubicBezTo>
                <a:cubicBezTo>
                  <a:pt x="6996185" y="477900"/>
                  <a:pt x="6997916" y="477501"/>
                  <a:pt x="6999380" y="476968"/>
                </a:cubicBezTo>
                <a:cubicBezTo>
                  <a:pt x="7000844" y="476436"/>
                  <a:pt x="7002176" y="475637"/>
                  <a:pt x="7003107" y="474572"/>
                </a:cubicBezTo>
                <a:cubicBezTo>
                  <a:pt x="7004172" y="473507"/>
                  <a:pt x="7005104" y="472176"/>
                  <a:pt x="7005769" y="470446"/>
                </a:cubicBezTo>
                <a:cubicBezTo>
                  <a:pt x="7006568" y="468848"/>
                  <a:pt x="7006834" y="466985"/>
                  <a:pt x="7006834" y="464988"/>
                </a:cubicBezTo>
                <a:cubicBezTo>
                  <a:pt x="7006834" y="463124"/>
                  <a:pt x="7006435" y="461394"/>
                  <a:pt x="7005769" y="459796"/>
                </a:cubicBezTo>
                <a:cubicBezTo>
                  <a:pt x="7005104" y="458066"/>
                  <a:pt x="7004172" y="456735"/>
                  <a:pt x="7003107" y="455537"/>
                </a:cubicBezTo>
                <a:cubicBezTo>
                  <a:pt x="7002042" y="454472"/>
                  <a:pt x="7000711" y="453540"/>
                  <a:pt x="6999113" y="452874"/>
                </a:cubicBezTo>
                <a:cubicBezTo>
                  <a:pt x="6997649" y="452342"/>
                  <a:pt x="6996052" y="451943"/>
                  <a:pt x="6994056" y="451943"/>
                </a:cubicBezTo>
                <a:close/>
                <a:moveTo>
                  <a:pt x="7211701" y="451943"/>
                </a:moveTo>
                <a:cubicBezTo>
                  <a:pt x="7205844" y="451943"/>
                  <a:pt x="7203314" y="453939"/>
                  <a:pt x="7201717" y="455537"/>
                </a:cubicBezTo>
                <a:cubicBezTo>
                  <a:pt x="7199188" y="458199"/>
                  <a:pt x="7198123" y="460994"/>
                  <a:pt x="7198123" y="464988"/>
                </a:cubicBezTo>
                <a:cubicBezTo>
                  <a:pt x="7198123" y="469115"/>
                  <a:pt x="7199188" y="471910"/>
                  <a:pt x="7201717" y="474439"/>
                </a:cubicBezTo>
                <a:cubicBezTo>
                  <a:pt x="7203314" y="476037"/>
                  <a:pt x="7205844" y="477900"/>
                  <a:pt x="7211701" y="477900"/>
                </a:cubicBezTo>
                <a:cubicBezTo>
                  <a:pt x="7213830" y="477900"/>
                  <a:pt x="7215561" y="477501"/>
                  <a:pt x="7217026" y="476968"/>
                </a:cubicBezTo>
                <a:cubicBezTo>
                  <a:pt x="7218490" y="476436"/>
                  <a:pt x="7219821" y="475637"/>
                  <a:pt x="7220752" y="474572"/>
                </a:cubicBezTo>
                <a:cubicBezTo>
                  <a:pt x="7221818" y="473507"/>
                  <a:pt x="7222750" y="472176"/>
                  <a:pt x="7223415" y="470446"/>
                </a:cubicBezTo>
                <a:cubicBezTo>
                  <a:pt x="7224214" y="468848"/>
                  <a:pt x="7224480" y="466985"/>
                  <a:pt x="7224480" y="464988"/>
                </a:cubicBezTo>
                <a:cubicBezTo>
                  <a:pt x="7224480" y="463124"/>
                  <a:pt x="7224080" y="461394"/>
                  <a:pt x="7223415" y="459796"/>
                </a:cubicBezTo>
                <a:cubicBezTo>
                  <a:pt x="7222750" y="458066"/>
                  <a:pt x="7221818" y="456735"/>
                  <a:pt x="7220752" y="455537"/>
                </a:cubicBezTo>
                <a:cubicBezTo>
                  <a:pt x="7219687" y="454472"/>
                  <a:pt x="7218356" y="453540"/>
                  <a:pt x="7216759" y="452874"/>
                </a:cubicBezTo>
                <a:cubicBezTo>
                  <a:pt x="7215295" y="452342"/>
                  <a:pt x="7213698" y="451943"/>
                  <a:pt x="7211701" y="451943"/>
                </a:cubicBezTo>
                <a:close/>
                <a:moveTo>
                  <a:pt x="7429345" y="451943"/>
                </a:moveTo>
                <a:cubicBezTo>
                  <a:pt x="7423488" y="451943"/>
                  <a:pt x="7420958" y="453939"/>
                  <a:pt x="7419361" y="455537"/>
                </a:cubicBezTo>
                <a:cubicBezTo>
                  <a:pt x="7416832" y="458199"/>
                  <a:pt x="7415768" y="460994"/>
                  <a:pt x="7415768" y="464988"/>
                </a:cubicBezTo>
                <a:cubicBezTo>
                  <a:pt x="7415768" y="469115"/>
                  <a:pt x="7416832" y="471910"/>
                  <a:pt x="7419361" y="474439"/>
                </a:cubicBezTo>
                <a:cubicBezTo>
                  <a:pt x="7420958" y="476037"/>
                  <a:pt x="7423488" y="477900"/>
                  <a:pt x="7429345" y="477900"/>
                </a:cubicBezTo>
                <a:cubicBezTo>
                  <a:pt x="7431342" y="477900"/>
                  <a:pt x="7433206" y="477501"/>
                  <a:pt x="7434670" y="476968"/>
                </a:cubicBezTo>
                <a:cubicBezTo>
                  <a:pt x="7436134" y="476436"/>
                  <a:pt x="7437466" y="475637"/>
                  <a:pt x="7438397" y="474572"/>
                </a:cubicBezTo>
                <a:cubicBezTo>
                  <a:pt x="7439462" y="473507"/>
                  <a:pt x="7440394" y="472176"/>
                  <a:pt x="7441059" y="470446"/>
                </a:cubicBezTo>
                <a:cubicBezTo>
                  <a:pt x="7441858" y="468848"/>
                  <a:pt x="7442124" y="466985"/>
                  <a:pt x="7442124" y="464988"/>
                </a:cubicBezTo>
                <a:cubicBezTo>
                  <a:pt x="7442124" y="463124"/>
                  <a:pt x="7441725" y="461394"/>
                  <a:pt x="7441059" y="459796"/>
                </a:cubicBezTo>
                <a:cubicBezTo>
                  <a:pt x="7440394" y="458066"/>
                  <a:pt x="7439462" y="456735"/>
                  <a:pt x="7438397" y="455537"/>
                </a:cubicBezTo>
                <a:cubicBezTo>
                  <a:pt x="7437332" y="454472"/>
                  <a:pt x="7436001" y="453540"/>
                  <a:pt x="7434403" y="452874"/>
                </a:cubicBezTo>
                <a:cubicBezTo>
                  <a:pt x="7432939" y="452342"/>
                  <a:pt x="7431342" y="451943"/>
                  <a:pt x="7429345" y="451943"/>
                </a:cubicBezTo>
                <a:close/>
                <a:moveTo>
                  <a:pt x="7646991" y="451942"/>
                </a:moveTo>
                <a:cubicBezTo>
                  <a:pt x="7641134" y="451942"/>
                  <a:pt x="7638604" y="453938"/>
                  <a:pt x="7637007" y="455537"/>
                </a:cubicBezTo>
                <a:cubicBezTo>
                  <a:pt x="7634478" y="458199"/>
                  <a:pt x="7633413" y="460994"/>
                  <a:pt x="7633413" y="464988"/>
                </a:cubicBezTo>
                <a:cubicBezTo>
                  <a:pt x="7633413" y="469115"/>
                  <a:pt x="7634478" y="471910"/>
                  <a:pt x="7637007" y="474439"/>
                </a:cubicBezTo>
                <a:cubicBezTo>
                  <a:pt x="7638604" y="476037"/>
                  <a:pt x="7641134" y="477900"/>
                  <a:pt x="7646991" y="477900"/>
                </a:cubicBezTo>
                <a:cubicBezTo>
                  <a:pt x="7648987" y="477900"/>
                  <a:pt x="7650851" y="477501"/>
                  <a:pt x="7652315" y="476968"/>
                </a:cubicBezTo>
                <a:cubicBezTo>
                  <a:pt x="7653780" y="476436"/>
                  <a:pt x="7655111" y="475637"/>
                  <a:pt x="7656042" y="474572"/>
                </a:cubicBezTo>
                <a:cubicBezTo>
                  <a:pt x="7657108" y="473507"/>
                  <a:pt x="7658039" y="472176"/>
                  <a:pt x="7658705" y="470446"/>
                </a:cubicBezTo>
                <a:cubicBezTo>
                  <a:pt x="7659504" y="468848"/>
                  <a:pt x="7659769" y="466985"/>
                  <a:pt x="7659769" y="464988"/>
                </a:cubicBezTo>
                <a:cubicBezTo>
                  <a:pt x="7659769" y="463124"/>
                  <a:pt x="7659370" y="461394"/>
                  <a:pt x="7658705" y="459796"/>
                </a:cubicBezTo>
                <a:cubicBezTo>
                  <a:pt x="7658039" y="458066"/>
                  <a:pt x="7657108" y="456735"/>
                  <a:pt x="7656042" y="455537"/>
                </a:cubicBezTo>
                <a:cubicBezTo>
                  <a:pt x="7654977" y="454472"/>
                  <a:pt x="7653646" y="453540"/>
                  <a:pt x="7652049" y="452873"/>
                </a:cubicBezTo>
                <a:cubicBezTo>
                  <a:pt x="7650584" y="452342"/>
                  <a:pt x="7648987" y="451942"/>
                  <a:pt x="7646991" y="451942"/>
                </a:cubicBezTo>
                <a:close/>
                <a:moveTo>
                  <a:pt x="7864636" y="451942"/>
                </a:moveTo>
                <a:cubicBezTo>
                  <a:pt x="7858779" y="451942"/>
                  <a:pt x="7856249" y="453938"/>
                  <a:pt x="7854652" y="455536"/>
                </a:cubicBezTo>
                <a:cubicBezTo>
                  <a:pt x="7852123" y="458198"/>
                  <a:pt x="7851058" y="460993"/>
                  <a:pt x="7851058" y="464988"/>
                </a:cubicBezTo>
                <a:cubicBezTo>
                  <a:pt x="7851058" y="469115"/>
                  <a:pt x="7852123" y="471910"/>
                  <a:pt x="7854652" y="474439"/>
                </a:cubicBezTo>
                <a:cubicBezTo>
                  <a:pt x="7856249" y="476037"/>
                  <a:pt x="7858779" y="477900"/>
                  <a:pt x="7864636" y="477900"/>
                </a:cubicBezTo>
                <a:cubicBezTo>
                  <a:pt x="7866633" y="477900"/>
                  <a:pt x="7868363" y="477501"/>
                  <a:pt x="7869961" y="476968"/>
                </a:cubicBezTo>
                <a:cubicBezTo>
                  <a:pt x="7871425" y="476436"/>
                  <a:pt x="7872756" y="475637"/>
                  <a:pt x="7873687" y="474572"/>
                </a:cubicBezTo>
                <a:cubicBezTo>
                  <a:pt x="7874753" y="473507"/>
                  <a:pt x="7875685" y="472176"/>
                  <a:pt x="7876350" y="470446"/>
                </a:cubicBezTo>
                <a:cubicBezTo>
                  <a:pt x="7877015" y="468848"/>
                  <a:pt x="7877282" y="466985"/>
                  <a:pt x="7877282" y="464988"/>
                </a:cubicBezTo>
                <a:cubicBezTo>
                  <a:pt x="7877282" y="463124"/>
                  <a:pt x="7877015" y="461394"/>
                  <a:pt x="7876350" y="459796"/>
                </a:cubicBezTo>
                <a:cubicBezTo>
                  <a:pt x="7875685" y="458066"/>
                  <a:pt x="7874753" y="456735"/>
                  <a:pt x="7873687" y="455536"/>
                </a:cubicBezTo>
                <a:cubicBezTo>
                  <a:pt x="7872623" y="454471"/>
                  <a:pt x="7871291" y="453539"/>
                  <a:pt x="7869694" y="452873"/>
                </a:cubicBezTo>
                <a:cubicBezTo>
                  <a:pt x="7868230" y="452341"/>
                  <a:pt x="7866633" y="451942"/>
                  <a:pt x="7864636" y="451942"/>
                </a:cubicBezTo>
                <a:close/>
                <a:moveTo>
                  <a:pt x="8082281" y="451942"/>
                </a:moveTo>
                <a:cubicBezTo>
                  <a:pt x="8076424" y="451942"/>
                  <a:pt x="8073894" y="453938"/>
                  <a:pt x="8072297" y="455536"/>
                </a:cubicBezTo>
                <a:cubicBezTo>
                  <a:pt x="8069768" y="458198"/>
                  <a:pt x="8068703" y="460993"/>
                  <a:pt x="8068703" y="464988"/>
                </a:cubicBezTo>
                <a:cubicBezTo>
                  <a:pt x="8068703" y="469115"/>
                  <a:pt x="8069768" y="471910"/>
                  <a:pt x="8072297" y="474439"/>
                </a:cubicBezTo>
                <a:cubicBezTo>
                  <a:pt x="8073894" y="476037"/>
                  <a:pt x="8076424" y="477900"/>
                  <a:pt x="8082281" y="477900"/>
                </a:cubicBezTo>
                <a:cubicBezTo>
                  <a:pt x="8084277" y="477900"/>
                  <a:pt x="8086007" y="477501"/>
                  <a:pt x="8087605" y="476968"/>
                </a:cubicBezTo>
                <a:cubicBezTo>
                  <a:pt x="8089069" y="476436"/>
                  <a:pt x="8090401" y="475637"/>
                  <a:pt x="8091332" y="474572"/>
                </a:cubicBezTo>
                <a:cubicBezTo>
                  <a:pt x="8092397" y="473507"/>
                  <a:pt x="8093329" y="472176"/>
                  <a:pt x="8093994" y="470446"/>
                </a:cubicBezTo>
                <a:cubicBezTo>
                  <a:pt x="8094660" y="468848"/>
                  <a:pt x="8094926" y="466985"/>
                  <a:pt x="8094926" y="464988"/>
                </a:cubicBezTo>
                <a:cubicBezTo>
                  <a:pt x="8094926" y="463124"/>
                  <a:pt x="8094660" y="461393"/>
                  <a:pt x="8093994" y="459795"/>
                </a:cubicBezTo>
                <a:cubicBezTo>
                  <a:pt x="8093329" y="458065"/>
                  <a:pt x="8092397" y="456734"/>
                  <a:pt x="8091332" y="455536"/>
                </a:cubicBezTo>
                <a:cubicBezTo>
                  <a:pt x="8090267" y="454471"/>
                  <a:pt x="8088936" y="453539"/>
                  <a:pt x="8087338" y="452873"/>
                </a:cubicBezTo>
                <a:cubicBezTo>
                  <a:pt x="8085874" y="452341"/>
                  <a:pt x="8084277" y="451942"/>
                  <a:pt x="8082281" y="451942"/>
                </a:cubicBezTo>
                <a:close/>
                <a:moveTo>
                  <a:pt x="8299793" y="451942"/>
                </a:moveTo>
                <a:cubicBezTo>
                  <a:pt x="8294068" y="451942"/>
                  <a:pt x="8291406" y="453938"/>
                  <a:pt x="8289809" y="455536"/>
                </a:cubicBezTo>
                <a:cubicBezTo>
                  <a:pt x="8287280" y="458198"/>
                  <a:pt x="8286215" y="460993"/>
                  <a:pt x="8286215" y="464987"/>
                </a:cubicBezTo>
                <a:cubicBezTo>
                  <a:pt x="8286215" y="469114"/>
                  <a:pt x="8287280" y="471910"/>
                  <a:pt x="8289809" y="474439"/>
                </a:cubicBezTo>
                <a:cubicBezTo>
                  <a:pt x="8291406" y="476037"/>
                  <a:pt x="8293935" y="477900"/>
                  <a:pt x="8299793" y="477900"/>
                </a:cubicBezTo>
                <a:cubicBezTo>
                  <a:pt x="8301923" y="477900"/>
                  <a:pt x="8303653" y="477501"/>
                  <a:pt x="8305118" y="476968"/>
                </a:cubicBezTo>
                <a:cubicBezTo>
                  <a:pt x="8306582" y="476436"/>
                  <a:pt x="8307913" y="475637"/>
                  <a:pt x="8308844" y="474572"/>
                </a:cubicBezTo>
                <a:cubicBezTo>
                  <a:pt x="8309910" y="473507"/>
                  <a:pt x="8310842" y="472176"/>
                  <a:pt x="8311507" y="470446"/>
                </a:cubicBezTo>
                <a:cubicBezTo>
                  <a:pt x="8312172" y="468847"/>
                  <a:pt x="8312439" y="466984"/>
                  <a:pt x="8312439" y="464987"/>
                </a:cubicBezTo>
                <a:cubicBezTo>
                  <a:pt x="8312439" y="463123"/>
                  <a:pt x="8312172" y="461393"/>
                  <a:pt x="8311507" y="459795"/>
                </a:cubicBezTo>
                <a:cubicBezTo>
                  <a:pt x="8310842" y="458065"/>
                  <a:pt x="8309910" y="456734"/>
                  <a:pt x="8308844" y="455536"/>
                </a:cubicBezTo>
                <a:cubicBezTo>
                  <a:pt x="8307779" y="454471"/>
                  <a:pt x="8306448" y="453539"/>
                  <a:pt x="8304851" y="452873"/>
                </a:cubicBezTo>
                <a:cubicBezTo>
                  <a:pt x="8303387" y="452341"/>
                  <a:pt x="8301790" y="451942"/>
                  <a:pt x="8299793" y="451942"/>
                </a:cubicBezTo>
                <a:close/>
                <a:moveTo>
                  <a:pt x="8517438" y="451942"/>
                </a:moveTo>
                <a:cubicBezTo>
                  <a:pt x="8511713" y="451942"/>
                  <a:pt x="8509051" y="453938"/>
                  <a:pt x="8507453" y="455536"/>
                </a:cubicBezTo>
                <a:cubicBezTo>
                  <a:pt x="8504925" y="458198"/>
                  <a:pt x="8503860" y="460993"/>
                  <a:pt x="8503860" y="464987"/>
                </a:cubicBezTo>
                <a:cubicBezTo>
                  <a:pt x="8503860" y="469114"/>
                  <a:pt x="8504925" y="471909"/>
                  <a:pt x="8507453" y="474439"/>
                </a:cubicBezTo>
                <a:cubicBezTo>
                  <a:pt x="8509051" y="476037"/>
                  <a:pt x="8511581" y="477900"/>
                  <a:pt x="8517438" y="477900"/>
                </a:cubicBezTo>
                <a:cubicBezTo>
                  <a:pt x="8519568" y="477900"/>
                  <a:pt x="8521299" y="477500"/>
                  <a:pt x="8522763" y="476967"/>
                </a:cubicBezTo>
                <a:cubicBezTo>
                  <a:pt x="8524227" y="476435"/>
                  <a:pt x="8525559" y="475636"/>
                  <a:pt x="8526490" y="474572"/>
                </a:cubicBezTo>
                <a:cubicBezTo>
                  <a:pt x="8527555" y="473506"/>
                  <a:pt x="8528487" y="472175"/>
                  <a:pt x="8529152" y="470445"/>
                </a:cubicBezTo>
                <a:cubicBezTo>
                  <a:pt x="8529818" y="468847"/>
                  <a:pt x="8530084" y="466984"/>
                  <a:pt x="8530084" y="464987"/>
                </a:cubicBezTo>
                <a:cubicBezTo>
                  <a:pt x="8530084" y="463123"/>
                  <a:pt x="8529818" y="461393"/>
                  <a:pt x="8529152" y="459795"/>
                </a:cubicBezTo>
                <a:cubicBezTo>
                  <a:pt x="8528487" y="458065"/>
                  <a:pt x="8527555" y="456734"/>
                  <a:pt x="8526490" y="455536"/>
                </a:cubicBezTo>
                <a:cubicBezTo>
                  <a:pt x="8525425" y="454471"/>
                  <a:pt x="8524094" y="453539"/>
                  <a:pt x="8522496" y="452873"/>
                </a:cubicBezTo>
                <a:cubicBezTo>
                  <a:pt x="8521032" y="452341"/>
                  <a:pt x="8519302" y="451942"/>
                  <a:pt x="8517438" y="451942"/>
                </a:cubicBezTo>
                <a:close/>
                <a:moveTo>
                  <a:pt x="8735083" y="451942"/>
                </a:moveTo>
                <a:cubicBezTo>
                  <a:pt x="8729358" y="451942"/>
                  <a:pt x="8726695" y="453938"/>
                  <a:pt x="8725098" y="455536"/>
                </a:cubicBezTo>
                <a:cubicBezTo>
                  <a:pt x="8722569" y="458198"/>
                  <a:pt x="8721504" y="460993"/>
                  <a:pt x="8721504" y="464987"/>
                </a:cubicBezTo>
                <a:cubicBezTo>
                  <a:pt x="8721504" y="469114"/>
                  <a:pt x="8722569" y="471909"/>
                  <a:pt x="8725098" y="474438"/>
                </a:cubicBezTo>
                <a:cubicBezTo>
                  <a:pt x="8726695" y="476036"/>
                  <a:pt x="8729225" y="477899"/>
                  <a:pt x="8735083" y="477899"/>
                </a:cubicBezTo>
                <a:cubicBezTo>
                  <a:pt x="8737079" y="477899"/>
                  <a:pt x="8738943" y="477500"/>
                  <a:pt x="8740407" y="476967"/>
                </a:cubicBezTo>
                <a:cubicBezTo>
                  <a:pt x="8741872" y="476435"/>
                  <a:pt x="8743203" y="475636"/>
                  <a:pt x="8744134" y="474571"/>
                </a:cubicBezTo>
                <a:cubicBezTo>
                  <a:pt x="8745200" y="473506"/>
                  <a:pt x="8746132" y="472175"/>
                  <a:pt x="8746797" y="470445"/>
                </a:cubicBezTo>
                <a:cubicBezTo>
                  <a:pt x="8747596" y="468847"/>
                  <a:pt x="8747862" y="466984"/>
                  <a:pt x="8747862" y="464987"/>
                </a:cubicBezTo>
                <a:cubicBezTo>
                  <a:pt x="8747862" y="463123"/>
                  <a:pt x="8747462" y="461393"/>
                  <a:pt x="8746797" y="459795"/>
                </a:cubicBezTo>
                <a:cubicBezTo>
                  <a:pt x="8746132" y="458065"/>
                  <a:pt x="8745200" y="456734"/>
                  <a:pt x="8744134" y="455536"/>
                </a:cubicBezTo>
                <a:cubicBezTo>
                  <a:pt x="8743069" y="454471"/>
                  <a:pt x="8741738" y="453539"/>
                  <a:pt x="8740141" y="452873"/>
                </a:cubicBezTo>
                <a:cubicBezTo>
                  <a:pt x="8738677" y="452341"/>
                  <a:pt x="8736946" y="451942"/>
                  <a:pt x="8735083" y="451942"/>
                </a:cubicBezTo>
                <a:close/>
                <a:moveTo>
                  <a:pt x="9170374" y="451942"/>
                </a:moveTo>
                <a:cubicBezTo>
                  <a:pt x="9164649" y="451942"/>
                  <a:pt x="9161986" y="453938"/>
                  <a:pt x="9160389" y="455536"/>
                </a:cubicBezTo>
                <a:cubicBezTo>
                  <a:pt x="9157860" y="458198"/>
                  <a:pt x="9156795" y="460993"/>
                  <a:pt x="9156795" y="464987"/>
                </a:cubicBezTo>
                <a:cubicBezTo>
                  <a:pt x="9156795" y="469114"/>
                  <a:pt x="9157860" y="471909"/>
                  <a:pt x="9160389" y="474438"/>
                </a:cubicBezTo>
                <a:cubicBezTo>
                  <a:pt x="9161986" y="476036"/>
                  <a:pt x="9164516" y="477899"/>
                  <a:pt x="9170374" y="477899"/>
                </a:cubicBezTo>
                <a:cubicBezTo>
                  <a:pt x="9172370" y="477899"/>
                  <a:pt x="9174100" y="477500"/>
                  <a:pt x="9175698" y="476967"/>
                </a:cubicBezTo>
                <a:cubicBezTo>
                  <a:pt x="9177163" y="476435"/>
                  <a:pt x="9178494" y="475636"/>
                  <a:pt x="9179425" y="474571"/>
                </a:cubicBezTo>
                <a:cubicBezTo>
                  <a:pt x="9180491" y="473506"/>
                  <a:pt x="9181422" y="472175"/>
                  <a:pt x="9182088" y="470445"/>
                </a:cubicBezTo>
                <a:cubicBezTo>
                  <a:pt x="9182887" y="468847"/>
                  <a:pt x="9183152" y="466984"/>
                  <a:pt x="9183152" y="464987"/>
                </a:cubicBezTo>
                <a:cubicBezTo>
                  <a:pt x="9183152" y="463123"/>
                  <a:pt x="9182753" y="461393"/>
                  <a:pt x="9182088" y="459795"/>
                </a:cubicBezTo>
                <a:cubicBezTo>
                  <a:pt x="9181422" y="458065"/>
                  <a:pt x="9180491" y="456734"/>
                  <a:pt x="9179425" y="455536"/>
                </a:cubicBezTo>
                <a:cubicBezTo>
                  <a:pt x="9178360" y="454471"/>
                  <a:pt x="9177029" y="453539"/>
                  <a:pt x="9175432" y="452873"/>
                </a:cubicBezTo>
                <a:cubicBezTo>
                  <a:pt x="9173967" y="452341"/>
                  <a:pt x="9172237" y="451942"/>
                  <a:pt x="9170374" y="451942"/>
                </a:cubicBezTo>
                <a:close/>
                <a:moveTo>
                  <a:pt x="8952728" y="451942"/>
                </a:moveTo>
                <a:cubicBezTo>
                  <a:pt x="8947003" y="451942"/>
                  <a:pt x="8944340" y="453938"/>
                  <a:pt x="8942743" y="455536"/>
                </a:cubicBezTo>
                <a:cubicBezTo>
                  <a:pt x="8940214" y="458198"/>
                  <a:pt x="8939150" y="460993"/>
                  <a:pt x="8939150" y="464987"/>
                </a:cubicBezTo>
                <a:cubicBezTo>
                  <a:pt x="8939150" y="469114"/>
                  <a:pt x="8940214" y="471909"/>
                  <a:pt x="8942743" y="474438"/>
                </a:cubicBezTo>
                <a:cubicBezTo>
                  <a:pt x="8944340" y="476036"/>
                  <a:pt x="8946870" y="477899"/>
                  <a:pt x="8952728" y="477899"/>
                </a:cubicBezTo>
                <a:cubicBezTo>
                  <a:pt x="8954725" y="477899"/>
                  <a:pt x="8956589" y="477500"/>
                  <a:pt x="8958053" y="476967"/>
                </a:cubicBezTo>
                <a:cubicBezTo>
                  <a:pt x="8959517" y="476435"/>
                  <a:pt x="8960849" y="475636"/>
                  <a:pt x="8961780" y="474571"/>
                </a:cubicBezTo>
                <a:cubicBezTo>
                  <a:pt x="8962845" y="473506"/>
                  <a:pt x="8963777" y="472175"/>
                  <a:pt x="8964442" y="470445"/>
                </a:cubicBezTo>
                <a:cubicBezTo>
                  <a:pt x="8965241" y="468847"/>
                  <a:pt x="8965507" y="466984"/>
                  <a:pt x="8965507" y="464987"/>
                </a:cubicBezTo>
                <a:cubicBezTo>
                  <a:pt x="8965507" y="463123"/>
                  <a:pt x="8965108" y="461393"/>
                  <a:pt x="8964442" y="459795"/>
                </a:cubicBezTo>
                <a:cubicBezTo>
                  <a:pt x="8963777" y="458065"/>
                  <a:pt x="8962845" y="456734"/>
                  <a:pt x="8961780" y="455536"/>
                </a:cubicBezTo>
                <a:cubicBezTo>
                  <a:pt x="8960715" y="454471"/>
                  <a:pt x="8959384" y="453539"/>
                  <a:pt x="8957786" y="452873"/>
                </a:cubicBezTo>
                <a:cubicBezTo>
                  <a:pt x="8956322" y="452341"/>
                  <a:pt x="8954592" y="451942"/>
                  <a:pt x="8952728" y="451942"/>
                </a:cubicBezTo>
                <a:close/>
                <a:moveTo>
                  <a:pt x="9605531" y="451942"/>
                </a:moveTo>
                <a:cubicBezTo>
                  <a:pt x="9599673" y="451942"/>
                  <a:pt x="9597143" y="453938"/>
                  <a:pt x="9595546" y="455536"/>
                </a:cubicBezTo>
                <a:cubicBezTo>
                  <a:pt x="9593017" y="458198"/>
                  <a:pt x="9591952" y="460993"/>
                  <a:pt x="9591952" y="464987"/>
                </a:cubicBezTo>
                <a:cubicBezTo>
                  <a:pt x="9591952" y="469114"/>
                  <a:pt x="9593017" y="471909"/>
                  <a:pt x="9595546" y="474438"/>
                </a:cubicBezTo>
                <a:cubicBezTo>
                  <a:pt x="9597143" y="476036"/>
                  <a:pt x="9599673" y="477899"/>
                  <a:pt x="9605531" y="477899"/>
                </a:cubicBezTo>
                <a:cubicBezTo>
                  <a:pt x="9607660" y="477899"/>
                  <a:pt x="9609391" y="477500"/>
                  <a:pt x="9610855" y="476967"/>
                </a:cubicBezTo>
                <a:cubicBezTo>
                  <a:pt x="9612319" y="476435"/>
                  <a:pt x="9613651" y="475636"/>
                  <a:pt x="9614582" y="474571"/>
                </a:cubicBezTo>
                <a:cubicBezTo>
                  <a:pt x="9615647" y="473506"/>
                  <a:pt x="9616579" y="472175"/>
                  <a:pt x="9617245" y="470445"/>
                </a:cubicBezTo>
                <a:cubicBezTo>
                  <a:pt x="9618044" y="468847"/>
                  <a:pt x="9618309" y="466984"/>
                  <a:pt x="9618309" y="464987"/>
                </a:cubicBezTo>
                <a:cubicBezTo>
                  <a:pt x="9618309" y="463123"/>
                  <a:pt x="9617910" y="461393"/>
                  <a:pt x="9617245" y="459795"/>
                </a:cubicBezTo>
                <a:cubicBezTo>
                  <a:pt x="9616579" y="458065"/>
                  <a:pt x="9615647" y="456734"/>
                  <a:pt x="9614582" y="455536"/>
                </a:cubicBezTo>
                <a:cubicBezTo>
                  <a:pt x="9613517" y="454471"/>
                  <a:pt x="9612186" y="453539"/>
                  <a:pt x="9610589" y="452873"/>
                </a:cubicBezTo>
                <a:cubicBezTo>
                  <a:pt x="9609124" y="452341"/>
                  <a:pt x="9607394" y="451942"/>
                  <a:pt x="9605531" y="451942"/>
                </a:cubicBezTo>
                <a:close/>
                <a:moveTo>
                  <a:pt x="9387885" y="451942"/>
                </a:moveTo>
                <a:cubicBezTo>
                  <a:pt x="9382027" y="451942"/>
                  <a:pt x="9379497" y="453938"/>
                  <a:pt x="9377900" y="455536"/>
                </a:cubicBezTo>
                <a:cubicBezTo>
                  <a:pt x="9375371" y="458198"/>
                  <a:pt x="9374307" y="460993"/>
                  <a:pt x="9374307" y="464987"/>
                </a:cubicBezTo>
                <a:cubicBezTo>
                  <a:pt x="9374307" y="469114"/>
                  <a:pt x="9375371" y="471909"/>
                  <a:pt x="9377900" y="474438"/>
                </a:cubicBezTo>
                <a:cubicBezTo>
                  <a:pt x="9379497" y="476036"/>
                  <a:pt x="9382027" y="477899"/>
                  <a:pt x="9387885" y="477899"/>
                </a:cubicBezTo>
                <a:cubicBezTo>
                  <a:pt x="9390015" y="477899"/>
                  <a:pt x="9391746" y="477500"/>
                  <a:pt x="9393210" y="476967"/>
                </a:cubicBezTo>
                <a:cubicBezTo>
                  <a:pt x="9394674" y="476435"/>
                  <a:pt x="9396005" y="475636"/>
                  <a:pt x="9396937" y="474571"/>
                </a:cubicBezTo>
                <a:cubicBezTo>
                  <a:pt x="9398002" y="473506"/>
                  <a:pt x="9398934" y="472175"/>
                  <a:pt x="9399599" y="470445"/>
                </a:cubicBezTo>
                <a:cubicBezTo>
                  <a:pt x="9400398" y="468847"/>
                  <a:pt x="9400664" y="466984"/>
                  <a:pt x="9400664" y="464987"/>
                </a:cubicBezTo>
                <a:cubicBezTo>
                  <a:pt x="9400664" y="463123"/>
                  <a:pt x="9400265" y="461393"/>
                  <a:pt x="9399599" y="459795"/>
                </a:cubicBezTo>
                <a:cubicBezTo>
                  <a:pt x="9398934" y="458065"/>
                  <a:pt x="9398002" y="456734"/>
                  <a:pt x="9396937" y="455536"/>
                </a:cubicBezTo>
                <a:cubicBezTo>
                  <a:pt x="9395872" y="454471"/>
                  <a:pt x="9394541" y="453539"/>
                  <a:pt x="9392943" y="452873"/>
                </a:cubicBezTo>
                <a:cubicBezTo>
                  <a:pt x="9391479" y="452341"/>
                  <a:pt x="9389749" y="451942"/>
                  <a:pt x="9387885" y="451942"/>
                </a:cubicBezTo>
                <a:close/>
                <a:moveTo>
                  <a:pt x="10040820" y="451941"/>
                </a:moveTo>
                <a:cubicBezTo>
                  <a:pt x="10034962" y="451941"/>
                  <a:pt x="10032433" y="453937"/>
                  <a:pt x="10030835" y="455535"/>
                </a:cubicBezTo>
                <a:cubicBezTo>
                  <a:pt x="10028306" y="458198"/>
                  <a:pt x="10027242" y="460993"/>
                  <a:pt x="10027242" y="464987"/>
                </a:cubicBezTo>
                <a:cubicBezTo>
                  <a:pt x="10027242" y="469114"/>
                  <a:pt x="10028306" y="471909"/>
                  <a:pt x="10030835" y="474438"/>
                </a:cubicBezTo>
                <a:cubicBezTo>
                  <a:pt x="10032433" y="476036"/>
                  <a:pt x="10034962" y="477899"/>
                  <a:pt x="10040820" y="477899"/>
                </a:cubicBezTo>
                <a:cubicBezTo>
                  <a:pt x="10042817" y="477899"/>
                  <a:pt x="10044681" y="477500"/>
                  <a:pt x="10046145" y="476967"/>
                </a:cubicBezTo>
                <a:cubicBezTo>
                  <a:pt x="10047742" y="476435"/>
                  <a:pt x="10048941" y="475636"/>
                  <a:pt x="10049872" y="474571"/>
                </a:cubicBezTo>
                <a:cubicBezTo>
                  <a:pt x="10050937" y="473506"/>
                  <a:pt x="10051869" y="472175"/>
                  <a:pt x="10052534" y="470445"/>
                </a:cubicBezTo>
                <a:cubicBezTo>
                  <a:pt x="10053333" y="468847"/>
                  <a:pt x="10053599" y="466984"/>
                  <a:pt x="10053599" y="464987"/>
                </a:cubicBezTo>
                <a:cubicBezTo>
                  <a:pt x="10053599" y="463123"/>
                  <a:pt x="10053200" y="461392"/>
                  <a:pt x="10052534" y="459795"/>
                </a:cubicBezTo>
                <a:cubicBezTo>
                  <a:pt x="10051869" y="458065"/>
                  <a:pt x="10050937" y="456734"/>
                  <a:pt x="10049872" y="455535"/>
                </a:cubicBezTo>
                <a:cubicBezTo>
                  <a:pt x="10048807" y="454470"/>
                  <a:pt x="10047476" y="453538"/>
                  <a:pt x="10045878" y="452872"/>
                </a:cubicBezTo>
                <a:cubicBezTo>
                  <a:pt x="10044414" y="452340"/>
                  <a:pt x="10042817" y="451941"/>
                  <a:pt x="10040820" y="451941"/>
                </a:cubicBezTo>
                <a:close/>
                <a:moveTo>
                  <a:pt x="9823176" y="451941"/>
                </a:moveTo>
                <a:cubicBezTo>
                  <a:pt x="9817318" y="451941"/>
                  <a:pt x="9814788" y="453937"/>
                  <a:pt x="9813191" y="455535"/>
                </a:cubicBezTo>
                <a:cubicBezTo>
                  <a:pt x="9810662" y="458198"/>
                  <a:pt x="9809597" y="460993"/>
                  <a:pt x="9809597" y="464987"/>
                </a:cubicBezTo>
                <a:cubicBezTo>
                  <a:pt x="9809597" y="469114"/>
                  <a:pt x="9810662" y="471909"/>
                  <a:pt x="9813191" y="474438"/>
                </a:cubicBezTo>
                <a:cubicBezTo>
                  <a:pt x="9814788" y="476036"/>
                  <a:pt x="9817318" y="477899"/>
                  <a:pt x="9823176" y="477899"/>
                </a:cubicBezTo>
                <a:cubicBezTo>
                  <a:pt x="9825173" y="477899"/>
                  <a:pt x="9827036" y="477500"/>
                  <a:pt x="9828501" y="476967"/>
                </a:cubicBezTo>
                <a:cubicBezTo>
                  <a:pt x="9830098" y="476435"/>
                  <a:pt x="9831296" y="475636"/>
                  <a:pt x="9832227" y="474571"/>
                </a:cubicBezTo>
                <a:cubicBezTo>
                  <a:pt x="9833293" y="473506"/>
                  <a:pt x="9834225" y="472175"/>
                  <a:pt x="9834890" y="470445"/>
                </a:cubicBezTo>
                <a:cubicBezTo>
                  <a:pt x="9835689" y="468847"/>
                  <a:pt x="9835955" y="466984"/>
                  <a:pt x="9835955" y="464987"/>
                </a:cubicBezTo>
                <a:cubicBezTo>
                  <a:pt x="9835955" y="463123"/>
                  <a:pt x="9835555" y="461393"/>
                  <a:pt x="9834890" y="459795"/>
                </a:cubicBezTo>
                <a:cubicBezTo>
                  <a:pt x="9834225" y="458065"/>
                  <a:pt x="9833293" y="456734"/>
                  <a:pt x="9832227" y="455535"/>
                </a:cubicBezTo>
                <a:cubicBezTo>
                  <a:pt x="9831162" y="454471"/>
                  <a:pt x="9829831" y="453539"/>
                  <a:pt x="9828234" y="452872"/>
                </a:cubicBezTo>
                <a:cubicBezTo>
                  <a:pt x="9826770" y="452341"/>
                  <a:pt x="9825173" y="451941"/>
                  <a:pt x="9823176" y="451941"/>
                </a:cubicBezTo>
                <a:close/>
                <a:moveTo>
                  <a:pt x="10475977" y="451941"/>
                </a:moveTo>
                <a:cubicBezTo>
                  <a:pt x="10470119" y="451941"/>
                  <a:pt x="10467589" y="453937"/>
                  <a:pt x="10465992" y="455535"/>
                </a:cubicBezTo>
                <a:cubicBezTo>
                  <a:pt x="10463463" y="458197"/>
                  <a:pt x="10462399" y="460992"/>
                  <a:pt x="10462399" y="464986"/>
                </a:cubicBezTo>
                <a:cubicBezTo>
                  <a:pt x="10462399" y="469113"/>
                  <a:pt x="10463463" y="471908"/>
                  <a:pt x="10465992" y="474438"/>
                </a:cubicBezTo>
                <a:cubicBezTo>
                  <a:pt x="10467589" y="476036"/>
                  <a:pt x="10470119" y="477899"/>
                  <a:pt x="10475977" y="477899"/>
                </a:cubicBezTo>
                <a:cubicBezTo>
                  <a:pt x="10478107" y="477899"/>
                  <a:pt x="10479838" y="477500"/>
                  <a:pt x="10481302" y="476967"/>
                </a:cubicBezTo>
                <a:cubicBezTo>
                  <a:pt x="10482899" y="476435"/>
                  <a:pt x="10484098" y="475635"/>
                  <a:pt x="10485029" y="474571"/>
                </a:cubicBezTo>
                <a:cubicBezTo>
                  <a:pt x="10486094" y="473506"/>
                  <a:pt x="10487026" y="472174"/>
                  <a:pt x="10487691" y="470444"/>
                </a:cubicBezTo>
                <a:cubicBezTo>
                  <a:pt x="10488357" y="468846"/>
                  <a:pt x="10488623" y="466983"/>
                  <a:pt x="10488623" y="464986"/>
                </a:cubicBezTo>
                <a:cubicBezTo>
                  <a:pt x="10488623" y="463122"/>
                  <a:pt x="10488357" y="461392"/>
                  <a:pt x="10487691" y="459794"/>
                </a:cubicBezTo>
                <a:cubicBezTo>
                  <a:pt x="10487026" y="458064"/>
                  <a:pt x="10486094" y="456733"/>
                  <a:pt x="10485029" y="455535"/>
                </a:cubicBezTo>
                <a:cubicBezTo>
                  <a:pt x="10483964" y="454470"/>
                  <a:pt x="10482633" y="453538"/>
                  <a:pt x="10481035" y="452872"/>
                </a:cubicBezTo>
                <a:cubicBezTo>
                  <a:pt x="10479571" y="452340"/>
                  <a:pt x="10477974" y="451941"/>
                  <a:pt x="10475977" y="451941"/>
                </a:cubicBezTo>
                <a:close/>
                <a:moveTo>
                  <a:pt x="10258466" y="451941"/>
                </a:moveTo>
                <a:cubicBezTo>
                  <a:pt x="10252608" y="451941"/>
                  <a:pt x="10250078" y="453937"/>
                  <a:pt x="10248481" y="455535"/>
                </a:cubicBezTo>
                <a:cubicBezTo>
                  <a:pt x="10245952" y="458197"/>
                  <a:pt x="10244887" y="460992"/>
                  <a:pt x="10244887" y="464986"/>
                </a:cubicBezTo>
                <a:cubicBezTo>
                  <a:pt x="10244887" y="469113"/>
                  <a:pt x="10245952" y="471909"/>
                  <a:pt x="10248481" y="474438"/>
                </a:cubicBezTo>
                <a:cubicBezTo>
                  <a:pt x="10250078" y="476036"/>
                  <a:pt x="10252608" y="477899"/>
                  <a:pt x="10258466" y="477899"/>
                </a:cubicBezTo>
                <a:cubicBezTo>
                  <a:pt x="10260462" y="477899"/>
                  <a:pt x="10262192" y="477500"/>
                  <a:pt x="10263790" y="476967"/>
                </a:cubicBezTo>
                <a:cubicBezTo>
                  <a:pt x="10265388" y="476435"/>
                  <a:pt x="10266586" y="475636"/>
                  <a:pt x="10267517" y="474571"/>
                </a:cubicBezTo>
                <a:cubicBezTo>
                  <a:pt x="10268583" y="473506"/>
                  <a:pt x="10269515" y="472175"/>
                  <a:pt x="10270180" y="470445"/>
                </a:cubicBezTo>
                <a:cubicBezTo>
                  <a:pt x="10270845" y="468846"/>
                  <a:pt x="10271112" y="466983"/>
                  <a:pt x="10271112" y="464986"/>
                </a:cubicBezTo>
                <a:cubicBezTo>
                  <a:pt x="10271112" y="463122"/>
                  <a:pt x="10270845" y="461392"/>
                  <a:pt x="10270180" y="459794"/>
                </a:cubicBezTo>
                <a:cubicBezTo>
                  <a:pt x="10269515" y="458064"/>
                  <a:pt x="10268583" y="456733"/>
                  <a:pt x="10267517" y="455535"/>
                </a:cubicBezTo>
                <a:cubicBezTo>
                  <a:pt x="10266452" y="454470"/>
                  <a:pt x="10265121" y="453538"/>
                  <a:pt x="10263524" y="452872"/>
                </a:cubicBezTo>
                <a:cubicBezTo>
                  <a:pt x="10262060" y="452340"/>
                  <a:pt x="10260462" y="451941"/>
                  <a:pt x="10258466" y="451941"/>
                </a:cubicBezTo>
                <a:close/>
                <a:moveTo>
                  <a:pt x="30232" y="435306"/>
                </a:moveTo>
                <a:cubicBezTo>
                  <a:pt x="34492" y="435306"/>
                  <a:pt x="38486" y="435972"/>
                  <a:pt x="41947" y="437968"/>
                </a:cubicBezTo>
                <a:cubicBezTo>
                  <a:pt x="45674" y="439566"/>
                  <a:pt x="48736" y="441696"/>
                  <a:pt x="51266" y="444358"/>
                </a:cubicBezTo>
                <a:cubicBezTo>
                  <a:pt x="53928" y="446887"/>
                  <a:pt x="55925" y="450082"/>
                  <a:pt x="57389" y="453676"/>
                </a:cubicBezTo>
                <a:cubicBezTo>
                  <a:pt x="58853" y="457270"/>
                  <a:pt x="59652" y="461131"/>
                  <a:pt x="59652" y="465124"/>
                </a:cubicBezTo>
                <a:cubicBezTo>
                  <a:pt x="59652" y="469251"/>
                  <a:pt x="58853" y="473245"/>
                  <a:pt x="57389" y="476839"/>
                </a:cubicBezTo>
                <a:cubicBezTo>
                  <a:pt x="55925" y="480433"/>
                  <a:pt x="53795" y="483495"/>
                  <a:pt x="51266" y="486157"/>
                </a:cubicBezTo>
                <a:cubicBezTo>
                  <a:pt x="48602" y="488820"/>
                  <a:pt x="45542" y="490950"/>
                  <a:pt x="41947" y="492414"/>
                </a:cubicBezTo>
                <a:cubicBezTo>
                  <a:pt x="38353" y="493878"/>
                  <a:pt x="34492" y="494677"/>
                  <a:pt x="30232" y="494677"/>
                </a:cubicBezTo>
                <a:cubicBezTo>
                  <a:pt x="21314" y="494677"/>
                  <a:pt x="13992" y="491748"/>
                  <a:pt x="8401" y="486157"/>
                </a:cubicBezTo>
                <a:cubicBezTo>
                  <a:pt x="2810" y="480567"/>
                  <a:pt x="15" y="473511"/>
                  <a:pt x="15" y="464991"/>
                </a:cubicBezTo>
                <a:cubicBezTo>
                  <a:pt x="15" y="456738"/>
                  <a:pt x="2810" y="449683"/>
                  <a:pt x="8401" y="443959"/>
                </a:cubicBezTo>
                <a:cubicBezTo>
                  <a:pt x="13992" y="438235"/>
                  <a:pt x="21180" y="435306"/>
                  <a:pt x="30232" y="435306"/>
                </a:cubicBezTo>
                <a:close/>
                <a:moveTo>
                  <a:pt x="247877" y="435306"/>
                </a:moveTo>
                <a:cubicBezTo>
                  <a:pt x="252137" y="435306"/>
                  <a:pt x="256131" y="435972"/>
                  <a:pt x="259592" y="437968"/>
                </a:cubicBezTo>
                <a:cubicBezTo>
                  <a:pt x="263319" y="439566"/>
                  <a:pt x="266381" y="441696"/>
                  <a:pt x="268910" y="444358"/>
                </a:cubicBezTo>
                <a:cubicBezTo>
                  <a:pt x="271572" y="446887"/>
                  <a:pt x="273569" y="450082"/>
                  <a:pt x="275033" y="453676"/>
                </a:cubicBezTo>
                <a:cubicBezTo>
                  <a:pt x="276497" y="457270"/>
                  <a:pt x="277296" y="461131"/>
                  <a:pt x="277296" y="465124"/>
                </a:cubicBezTo>
                <a:cubicBezTo>
                  <a:pt x="277296" y="469251"/>
                  <a:pt x="276497" y="473244"/>
                  <a:pt x="275033" y="476838"/>
                </a:cubicBezTo>
                <a:cubicBezTo>
                  <a:pt x="273569" y="480433"/>
                  <a:pt x="271439" y="483495"/>
                  <a:pt x="268910" y="486157"/>
                </a:cubicBezTo>
                <a:cubicBezTo>
                  <a:pt x="266247" y="488820"/>
                  <a:pt x="263186" y="490950"/>
                  <a:pt x="259592" y="492414"/>
                </a:cubicBezTo>
                <a:cubicBezTo>
                  <a:pt x="255997" y="493878"/>
                  <a:pt x="252137" y="494677"/>
                  <a:pt x="247877" y="494677"/>
                </a:cubicBezTo>
                <a:cubicBezTo>
                  <a:pt x="238959" y="494677"/>
                  <a:pt x="231636" y="491748"/>
                  <a:pt x="226045" y="486157"/>
                </a:cubicBezTo>
                <a:cubicBezTo>
                  <a:pt x="220454" y="480567"/>
                  <a:pt x="217659" y="473511"/>
                  <a:pt x="217659" y="464991"/>
                </a:cubicBezTo>
                <a:cubicBezTo>
                  <a:pt x="217659" y="456738"/>
                  <a:pt x="220454" y="449683"/>
                  <a:pt x="226045" y="443959"/>
                </a:cubicBezTo>
                <a:cubicBezTo>
                  <a:pt x="231636" y="438235"/>
                  <a:pt x="238824" y="435306"/>
                  <a:pt x="247877" y="435306"/>
                </a:cubicBezTo>
                <a:close/>
                <a:moveTo>
                  <a:pt x="465521" y="435306"/>
                </a:moveTo>
                <a:cubicBezTo>
                  <a:pt x="469781" y="435306"/>
                  <a:pt x="473641" y="435972"/>
                  <a:pt x="477236" y="437968"/>
                </a:cubicBezTo>
                <a:cubicBezTo>
                  <a:pt x="480963" y="439566"/>
                  <a:pt x="484025" y="441696"/>
                  <a:pt x="486554" y="444358"/>
                </a:cubicBezTo>
                <a:cubicBezTo>
                  <a:pt x="489216" y="446887"/>
                  <a:pt x="491214" y="450082"/>
                  <a:pt x="492678" y="453676"/>
                </a:cubicBezTo>
                <a:cubicBezTo>
                  <a:pt x="494142" y="457270"/>
                  <a:pt x="494941" y="461131"/>
                  <a:pt x="494941" y="465124"/>
                </a:cubicBezTo>
                <a:cubicBezTo>
                  <a:pt x="494941" y="469251"/>
                  <a:pt x="494142" y="473244"/>
                  <a:pt x="492678" y="476838"/>
                </a:cubicBezTo>
                <a:cubicBezTo>
                  <a:pt x="491214" y="480432"/>
                  <a:pt x="489084" y="483495"/>
                  <a:pt x="486554" y="486157"/>
                </a:cubicBezTo>
                <a:cubicBezTo>
                  <a:pt x="483891" y="488819"/>
                  <a:pt x="480830" y="490950"/>
                  <a:pt x="477236" y="492414"/>
                </a:cubicBezTo>
                <a:cubicBezTo>
                  <a:pt x="473641" y="493878"/>
                  <a:pt x="469781" y="494677"/>
                  <a:pt x="465521" y="494677"/>
                </a:cubicBezTo>
                <a:cubicBezTo>
                  <a:pt x="456603" y="494677"/>
                  <a:pt x="449281" y="491748"/>
                  <a:pt x="443690" y="486157"/>
                </a:cubicBezTo>
                <a:cubicBezTo>
                  <a:pt x="438099" y="480567"/>
                  <a:pt x="435304" y="473510"/>
                  <a:pt x="435304" y="464991"/>
                </a:cubicBezTo>
                <a:cubicBezTo>
                  <a:pt x="435304" y="456738"/>
                  <a:pt x="438099" y="449683"/>
                  <a:pt x="443690" y="443959"/>
                </a:cubicBezTo>
                <a:cubicBezTo>
                  <a:pt x="449281" y="438235"/>
                  <a:pt x="456470" y="435306"/>
                  <a:pt x="465521" y="435306"/>
                </a:cubicBezTo>
                <a:close/>
                <a:moveTo>
                  <a:pt x="683166" y="435306"/>
                </a:moveTo>
                <a:cubicBezTo>
                  <a:pt x="687426" y="435306"/>
                  <a:pt x="691287" y="435972"/>
                  <a:pt x="694881" y="437968"/>
                </a:cubicBezTo>
                <a:cubicBezTo>
                  <a:pt x="698608" y="439566"/>
                  <a:pt x="701670" y="441696"/>
                  <a:pt x="704199" y="444358"/>
                </a:cubicBezTo>
                <a:cubicBezTo>
                  <a:pt x="706861" y="446887"/>
                  <a:pt x="708858" y="450082"/>
                  <a:pt x="710322" y="453676"/>
                </a:cubicBezTo>
                <a:cubicBezTo>
                  <a:pt x="711786" y="457270"/>
                  <a:pt x="712585" y="461131"/>
                  <a:pt x="712585" y="465124"/>
                </a:cubicBezTo>
                <a:cubicBezTo>
                  <a:pt x="712585" y="469251"/>
                  <a:pt x="711786" y="473244"/>
                  <a:pt x="710322" y="476838"/>
                </a:cubicBezTo>
                <a:cubicBezTo>
                  <a:pt x="708858" y="480432"/>
                  <a:pt x="706728" y="483494"/>
                  <a:pt x="704199" y="486157"/>
                </a:cubicBezTo>
                <a:cubicBezTo>
                  <a:pt x="701670" y="488819"/>
                  <a:pt x="698475" y="490950"/>
                  <a:pt x="694881" y="492414"/>
                </a:cubicBezTo>
                <a:cubicBezTo>
                  <a:pt x="691287" y="493878"/>
                  <a:pt x="687426" y="494677"/>
                  <a:pt x="683166" y="494677"/>
                </a:cubicBezTo>
                <a:cubicBezTo>
                  <a:pt x="674247" y="494677"/>
                  <a:pt x="666925" y="491747"/>
                  <a:pt x="661334" y="486157"/>
                </a:cubicBezTo>
                <a:cubicBezTo>
                  <a:pt x="655743" y="480566"/>
                  <a:pt x="652948" y="473510"/>
                  <a:pt x="652948" y="464991"/>
                </a:cubicBezTo>
                <a:cubicBezTo>
                  <a:pt x="652948" y="456738"/>
                  <a:pt x="655743" y="449683"/>
                  <a:pt x="661334" y="443959"/>
                </a:cubicBezTo>
                <a:cubicBezTo>
                  <a:pt x="666925" y="438235"/>
                  <a:pt x="674114" y="435306"/>
                  <a:pt x="683166" y="435306"/>
                </a:cubicBezTo>
                <a:close/>
                <a:moveTo>
                  <a:pt x="900810" y="435305"/>
                </a:moveTo>
                <a:cubicBezTo>
                  <a:pt x="904937" y="435305"/>
                  <a:pt x="908931" y="435971"/>
                  <a:pt x="912525" y="437967"/>
                </a:cubicBezTo>
                <a:cubicBezTo>
                  <a:pt x="916252" y="439566"/>
                  <a:pt x="919314" y="441696"/>
                  <a:pt x="921843" y="444358"/>
                </a:cubicBezTo>
                <a:cubicBezTo>
                  <a:pt x="924505" y="446887"/>
                  <a:pt x="926502" y="450082"/>
                  <a:pt x="927966" y="453676"/>
                </a:cubicBezTo>
                <a:cubicBezTo>
                  <a:pt x="929431" y="457270"/>
                  <a:pt x="930229" y="461131"/>
                  <a:pt x="930229" y="465124"/>
                </a:cubicBezTo>
                <a:cubicBezTo>
                  <a:pt x="930229" y="469251"/>
                  <a:pt x="929431" y="473244"/>
                  <a:pt x="927966" y="476838"/>
                </a:cubicBezTo>
                <a:cubicBezTo>
                  <a:pt x="926502" y="480432"/>
                  <a:pt x="924372" y="483494"/>
                  <a:pt x="921843" y="486156"/>
                </a:cubicBezTo>
                <a:cubicBezTo>
                  <a:pt x="919314" y="488819"/>
                  <a:pt x="916119" y="490949"/>
                  <a:pt x="912525" y="492413"/>
                </a:cubicBezTo>
                <a:cubicBezTo>
                  <a:pt x="908931" y="493878"/>
                  <a:pt x="905070" y="494677"/>
                  <a:pt x="900810" y="494677"/>
                </a:cubicBezTo>
                <a:cubicBezTo>
                  <a:pt x="891892" y="494677"/>
                  <a:pt x="884570" y="491747"/>
                  <a:pt x="878979" y="486156"/>
                </a:cubicBezTo>
                <a:cubicBezTo>
                  <a:pt x="873389" y="480566"/>
                  <a:pt x="870593" y="473510"/>
                  <a:pt x="870593" y="464991"/>
                </a:cubicBezTo>
                <a:cubicBezTo>
                  <a:pt x="870593" y="456738"/>
                  <a:pt x="873389" y="449683"/>
                  <a:pt x="878979" y="443959"/>
                </a:cubicBezTo>
                <a:cubicBezTo>
                  <a:pt x="884570" y="438235"/>
                  <a:pt x="891759" y="435305"/>
                  <a:pt x="900810" y="435305"/>
                </a:cubicBezTo>
                <a:close/>
                <a:moveTo>
                  <a:pt x="1118322" y="435305"/>
                </a:moveTo>
                <a:cubicBezTo>
                  <a:pt x="1122582" y="435305"/>
                  <a:pt x="1126576" y="435971"/>
                  <a:pt x="1130037" y="437967"/>
                </a:cubicBezTo>
                <a:cubicBezTo>
                  <a:pt x="1133764" y="439565"/>
                  <a:pt x="1136826" y="441695"/>
                  <a:pt x="1139356" y="444358"/>
                </a:cubicBezTo>
                <a:cubicBezTo>
                  <a:pt x="1142017" y="446887"/>
                  <a:pt x="1144014" y="450082"/>
                  <a:pt x="1145478" y="453676"/>
                </a:cubicBezTo>
                <a:cubicBezTo>
                  <a:pt x="1146943" y="457270"/>
                  <a:pt x="1147741" y="461131"/>
                  <a:pt x="1147741" y="465124"/>
                </a:cubicBezTo>
                <a:cubicBezTo>
                  <a:pt x="1147741" y="469251"/>
                  <a:pt x="1146943" y="473244"/>
                  <a:pt x="1145478" y="476838"/>
                </a:cubicBezTo>
                <a:cubicBezTo>
                  <a:pt x="1144014" y="480432"/>
                  <a:pt x="1141884" y="483494"/>
                  <a:pt x="1139356" y="486156"/>
                </a:cubicBezTo>
                <a:cubicBezTo>
                  <a:pt x="1136826" y="488819"/>
                  <a:pt x="1133631" y="490949"/>
                  <a:pt x="1130037" y="492413"/>
                </a:cubicBezTo>
                <a:cubicBezTo>
                  <a:pt x="1126442" y="493877"/>
                  <a:pt x="1122582" y="494676"/>
                  <a:pt x="1118322" y="494676"/>
                </a:cubicBezTo>
                <a:cubicBezTo>
                  <a:pt x="1109403" y="494676"/>
                  <a:pt x="1102081" y="491747"/>
                  <a:pt x="1096490" y="486156"/>
                </a:cubicBezTo>
                <a:cubicBezTo>
                  <a:pt x="1090899" y="480566"/>
                  <a:pt x="1088104" y="473510"/>
                  <a:pt x="1088104" y="464991"/>
                </a:cubicBezTo>
                <a:cubicBezTo>
                  <a:pt x="1088104" y="456738"/>
                  <a:pt x="1090899" y="449683"/>
                  <a:pt x="1096490" y="443959"/>
                </a:cubicBezTo>
                <a:cubicBezTo>
                  <a:pt x="1102081" y="438234"/>
                  <a:pt x="1109270" y="435305"/>
                  <a:pt x="1118322" y="435305"/>
                </a:cubicBezTo>
                <a:close/>
                <a:moveTo>
                  <a:pt x="1335967" y="435305"/>
                </a:moveTo>
                <a:cubicBezTo>
                  <a:pt x="1340227" y="435305"/>
                  <a:pt x="1344087" y="436370"/>
                  <a:pt x="1347682" y="437967"/>
                </a:cubicBezTo>
                <a:cubicBezTo>
                  <a:pt x="1351276" y="439565"/>
                  <a:pt x="1354471" y="441695"/>
                  <a:pt x="1357001" y="444357"/>
                </a:cubicBezTo>
                <a:cubicBezTo>
                  <a:pt x="1359662" y="446886"/>
                  <a:pt x="1361659" y="450082"/>
                  <a:pt x="1363123" y="453676"/>
                </a:cubicBezTo>
                <a:cubicBezTo>
                  <a:pt x="1364588" y="457270"/>
                  <a:pt x="1365386" y="461131"/>
                  <a:pt x="1365386" y="465124"/>
                </a:cubicBezTo>
                <a:cubicBezTo>
                  <a:pt x="1365386" y="469251"/>
                  <a:pt x="1364588" y="473244"/>
                  <a:pt x="1363123" y="476838"/>
                </a:cubicBezTo>
                <a:cubicBezTo>
                  <a:pt x="1361659" y="480432"/>
                  <a:pt x="1359529" y="483494"/>
                  <a:pt x="1357001" y="486156"/>
                </a:cubicBezTo>
                <a:cubicBezTo>
                  <a:pt x="1354337" y="488819"/>
                  <a:pt x="1351276" y="490949"/>
                  <a:pt x="1347682" y="492413"/>
                </a:cubicBezTo>
                <a:cubicBezTo>
                  <a:pt x="1344087" y="493877"/>
                  <a:pt x="1340227" y="494676"/>
                  <a:pt x="1335967" y="494676"/>
                </a:cubicBezTo>
                <a:cubicBezTo>
                  <a:pt x="1327047" y="494676"/>
                  <a:pt x="1319726" y="491747"/>
                  <a:pt x="1314136" y="486156"/>
                </a:cubicBezTo>
                <a:cubicBezTo>
                  <a:pt x="1308544" y="480566"/>
                  <a:pt x="1305749" y="473510"/>
                  <a:pt x="1305749" y="464991"/>
                </a:cubicBezTo>
                <a:cubicBezTo>
                  <a:pt x="1305749" y="456738"/>
                  <a:pt x="1308544" y="449682"/>
                  <a:pt x="1314136" y="443958"/>
                </a:cubicBezTo>
                <a:cubicBezTo>
                  <a:pt x="1319726" y="438234"/>
                  <a:pt x="1326914" y="435305"/>
                  <a:pt x="1335967" y="435305"/>
                </a:cubicBezTo>
                <a:close/>
                <a:moveTo>
                  <a:pt x="1553612" y="435305"/>
                </a:moveTo>
                <a:cubicBezTo>
                  <a:pt x="1557872" y="435305"/>
                  <a:pt x="1561733" y="436370"/>
                  <a:pt x="1565327" y="437967"/>
                </a:cubicBezTo>
                <a:cubicBezTo>
                  <a:pt x="1568921" y="439565"/>
                  <a:pt x="1572116" y="441695"/>
                  <a:pt x="1574645" y="444357"/>
                </a:cubicBezTo>
                <a:cubicBezTo>
                  <a:pt x="1577307" y="446886"/>
                  <a:pt x="1579304" y="450081"/>
                  <a:pt x="1580768" y="453676"/>
                </a:cubicBezTo>
                <a:cubicBezTo>
                  <a:pt x="1582232" y="457269"/>
                  <a:pt x="1583031" y="461131"/>
                  <a:pt x="1583031" y="465124"/>
                </a:cubicBezTo>
                <a:cubicBezTo>
                  <a:pt x="1583031" y="469251"/>
                  <a:pt x="1582232" y="473244"/>
                  <a:pt x="1580768" y="476838"/>
                </a:cubicBezTo>
                <a:cubicBezTo>
                  <a:pt x="1579304" y="480432"/>
                  <a:pt x="1577174" y="483494"/>
                  <a:pt x="1574645" y="486156"/>
                </a:cubicBezTo>
                <a:cubicBezTo>
                  <a:pt x="1571983" y="488819"/>
                  <a:pt x="1568921" y="490949"/>
                  <a:pt x="1565327" y="492413"/>
                </a:cubicBezTo>
                <a:cubicBezTo>
                  <a:pt x="1561733" y="493877"/>
                  <a:pt x="1557872" y="494676"/>
                  <a:pt x="1553612" y="494676"/>
                </a:cubicBezTo>
                <a:cubicBezTo>
                  <a:pt x="1544693" y="494676"/>
                  <a:pt x="1537371" y="491747"/>
                  <a:pt x="1531780" y="486156"/>
                </a:cubicBezTo>
                <a:cubicBezTo>
                  <a:pt x="1526190" y="480566"/>
                  <a:pt x="1523394" y="473510"/>
                  <a:pt x="1523394" y="464991"/>
                </a:cubicBezTo>
                <a:cubicBezTo>
                  <a:pt x="1523394" y="456738"/>
                  <a:pt x="1526190" y="449682"/>
                  <a:pt x="1531780" y="443958"/>
                </a:cubicBezTo>
                <a:cubicBezTo>
                  <a:pt x="1537371" y="438234"/>
                  <a:pt x="1544559" y="435305"/>
                  <a:pt x="1553612" y="435305"/>
                </a:cubicBezTo>
                <a:close/>
                <a:moveTo>
                  <a:pt x="1771256" y="435305"/>
                </a:moveTo>
                <a:cubicBezTo>
                  <a:pt x="1775516" y="435305"/>
                  <a:pt x="1779377" y="435971"/>
                  <a:pt x="1782971" y="437967"/>
                </a:cubicBezTo>
                <a:cubicBezTo>
                  <a:pt x="1786699" y="439565"/>
                  <a:pt x="1789761" y="441695"/>
                  <a:pt x="1792289" y="444357"/>
                </a:cubicBezTo>
                <a:cubicBezTo>
                  <a:pt x="1794951" y="446886"/>
                  <a:pt x="1796949" y="450081"/>
                  <a:pt x="1798413" y="453675"/>
                </a:cubicBezTo>
                <a:cubicBezTo>
                  <a:pt x="1799877" y="457269"/>
                  <a:pt x="1800676" y="461130"/>
                  <a:pt x="1800676" y="465123"/>
                </a:cubicBezTo>
                <a:cubicBezTo>
                  <a:pt x="1800676" y="469251"/>
                  <a:pt x="1799877" y="473244"/>
                  <a:pt x="1798413" y="476838"/>
                </a:cubicBezTo>
                <a:cubicBezTo>
                  <a:pt x="1796949" y="480432"/>
                  <a:pt x="1794819" y="483494"/>
                  <a:pt x="1792289" y="486156"/>
                </a:cubicBezTo>
                <a:cubicBezTo>
                  <a:pt x="1789627" y="488819"/>
                  <a:pt x="1786566" y="490949"/>
                  <a:pt x="1782971" y="492413"/>
                </a:cubicBezTo>
                <a:cubicBezTo>
                  <a:pt x="1779377" y="493877"/>
                  <a:pt x="1775516" y="494676"/>
                  <a:pt x="1771256" y="494676"/>
                </a:cubicBezTo>
                <a:cubicBezTo>
                  <a:pt x="1762337" y="494676"/>
                  <a:pt x="1755016" y="491747"/>
                  <a:pt x="1749425" y="486156"/>
                </a:cubicBezTo>
                <a:cubicBezTo>
                  <a:pt x="1743834" y="480566"/>
                  <a:pt x="1741040" y="473510"/>
                  <a:pt x="1741040" y="464991"/>
                </a:cubicBezTo>
                <a:cubicBezTo>
                  <a:pt x="1741040" y="456737"/>
                  <a:pt x="1743834" y="449682"/>
                  <a:pt x="1749425" y="443958"/>
                </a:cubicBezTo>
                <a:cubicBezTo>
                  <a:pt x="1755016" y="438234"/>
                  <a:pt x="1762204" y="435305"/>
                  <a:pt x="1771256" y="435305"/>
                </a:cubicBezTo>
                <a:close/>
                <a:moveTo>
                  <a:pt x="1988900" y="435305"/>
                </a:moveTo>
                <a:cubicBezTo>
                  <a:pt x="1993027" y="435305"/>
                  <a:pt x="1997021" y="435971"/>
                  <a:pt x="2000616" y="437967"/>
                </a:cubicBezTo>
                <a:cubicBezTo>
                  <a:pt x="2004342" y="439565"/>
                  <a:pt x="2007404" y="441695"/>
                  <a:pt x="2009934" y="444357"/>
                </a:cubicBezTo>
                <a:cubicBezTo>
                  <a:pt x="2012595" y="446886"/>
                  <a:pt x="2014593" y="450081"/>
                  <a:pt x="2016057" y="453675"/>
                </a:cubicBezTo>
                <a:cubicBezTo>
                  <a:pt x="2017521" y="457269"/>
                  <a:pt x="2018320" y="461130"/>
                  <a:pt x="2018320" y="465123"/>
                </a:cubicBezTo>
                <a:cubicBezTo>
                  <a:pt x="2018320" y="469250"/>
                  <a:pt x="2017521" y="473244"/>
                  <a:pt x="2016057" y="476838"/>
                </a:cubicBezTo>
                <a:cubicBezTo>
                  <a:pt x="2014593" y="480432"/>
                  <a:pt x="2012463" y="483494"/>
                  <a:pt x="2009934" y="486156"/>
                </a:cubicBezTo>
                <a:cubicBezTo>
                  <a:pt x="2007404" y="488819"/>
                  <a:pt x="2004209" y="490949"/>
                  <a:pt x="2000616" y="492413"/>
                </a:cubicBezTo>
                <a:cubicBezTo>
                  <a:pt x="1997021" y="493877"/>
                  <a:pt x="1993160" y="494676"/>
                  <a:pt x="1988900" y="494676"/>
                </a:cubicBezTo>
                <a:cubicBezTo>
                  <a:pt x="1979849" y="494676"/>
                  <a:pt x="1972660" y="491747"/>
                  <a:pt x="1967069" y="486156"/>
                </a:cubicBezTo>
                <a:cubicBezTo>
                  <a:pt x="1961478" y="480566"/>
                  <a:pt x="1958683" y="473510"/>
                  <a:pt x="1958683" y="464990"/>
                </a:cubicBezTo>
                <a:cubicBezTo>
                  <a:pt x="1958683" y="456737"/>
                  <a:pt x="1961478" y="449682"/>
                  <a:pt x="1967069" y="443958"/>
                </a:cubicBezTo>
                <a:cubicBezTo>
                  <a:pt x="1972660" y="438234"/>
                  <a:pt x="1979849" y="435305"/>
                  <a:pt x="1988900" y="435305"/>
                </a:cubicBezTo>
                <a:close/>
                <a:moveTo>
                  <a:pt x="2206414" y="435305"/>
                </a:moveTo>
                <a:cubicBezTo>
                  <a:pt x="2210674" y="435305"/>
                  <a:pt x="2214668" y="435971"/>
                  <a:pt x="2218129" y="437967"/>
                </a:cubicBezTo>
                <a:cubicBezTo>
                  <a:pt x="2221856" y="439565"/>
                  <a:pt x="2224917" y="441695"/>
                  <a:pt x="2227447" y="444357"/>
                </a:cubicBezTo>
                <a:cubicBezTo>
                  <a:pt x="2230109" y="446886"/>
                  <a:pt x="2232106" y="450081"/>
                  <a:pt x="2233570" y="453675"/>
                </a:cubicBezTo>
                <a:cubicBezTo>
                  <a:pt x="2235034" y="457269"/>
                  <a:pt x="2235833" y="461130"/>
                  <a:pt x="2235833" y="465123"/>
                </a:cubicBezTo>
                <a:cubicBezTo>
                  <a:pt x="2235833" y="469250"/>
                  <a:pt x="2235034" y="473243"/>
                  <a:pt x="2233570" y="476838"/>
                </a:cubicBezTo>
                <a:cubicBezTo>
                  <a:pt x="2232106" y="480432"/>
                  <a:pt x="2229976" y="483494"/>
                  <a:pt x="2227447" y="486156"/>
                </a:cubicBezTo>
                <a:cubicBezTo>
                  <a:pt x="2224917" y="488819"/>
                  <a:pt x="2221723" y="490949"/>
                  <a:pt x="2218129" y="492413"/>
                </a:cubicBezTo>
                <a:cubicBezTo>
                  <a:pt x="2214534" y="493877"/>
                  <a:pt x="2210674" y="494676"/>
                  <a:pt x="2206414" y="494676"/>
                </a:cubicBezTo>
                <a:cubicBezTo>
                  <a:pt x="2197361" y="494676"/>
                  <a:pt x="2190173" y="491747"/>
                  <a:pt x="2184583" y="486156"/>
                </a:cubicBezTo>
                <a:cubicBezTo>
                  <a:pt x="2178991" y="480566"/>
                  <a:pt x="2176196" y="473510"/>
                  <a:pt x="2176196" y="464990"/>
                </a:cubicBezTo>
                <a:cubicBezTo>
                  <a:pt x="2176196" y="456737"/>
                  <a:pt x="2178991" y="449682"/>
                  <a:pt x="2184583" y="443958"/>
                </a:cubicBezTo>
                <a:cubicBezTo>
                  <a:pt x="2190173" y="438234"/>
                  <a:pt x="2197361" y="435305"/>
                  <a:pt x="2206414" y="435305"/>
                </a:cubicBezTo>
                <a:close/>
                <a:moveTo>
                  <a:pt x="2424060" y="435305"/>
                </a:moveTo>
                <a:cubicBezTo>
                  <a:pt x="2428320" y="435305"/>
                  <a:pt x="2432315" y="435971"/>
                  <a:pt x="2435776" y="437967"/>
                </a:cubicBezTo>
                <a:cubicBezTo>
                  <a:pt x="2439503" y="439565"/>
                  <a:pt x="2442564" y="441695"/>
                  <a:pt x="2445094" y="444357"/>
                </a:cubicBezTo>
                <a:cubicBezTo>
                  <a:pt x="2447756" y="446886"/>
                  <a:pt x="2449753" y="450081"/>
                  <a:pt x="2451217" y="453675"/>
                </a:cubicBezTo>
                <a:cubicBezTo>
                  <a:pt x="2452681" y="457269"/>
                  <a:pt x="2453480" y="461130"/>
                  <a:pt x="2453480" y="465123"/>
                </a:cubicBezTo>
                <a:cubicBezTo>
                  <a:pt x="2453480" y="469250"/>
                  <a:pt x="2452681" y="473243"/>
                  <a:pt x="2451217" y="476837"/>
                </a:cubicBezTo>
                <a:cubicBezTo>
                  <a:pt x="2449753" y="480432"/>
                  <a:pt x="2447623" y="483494"/>
                  <a:pt x="2445094" y="486156"/>
                </a:cubicBezTo>
                <a:cubicBezTo>
                  <a:pt x="2442564" y="488819"/>
                  <a:pt x="2439370" y="490949"/>
                  <a:pt x="2435776" y="492413"/>
                </a:cubicBezTo>
                <a:cubicBezTo>
                  <a:pt x="2432181" y="493877"/>
                  <a:pt x="2428320" y="494676"/>
                  <a:pt x="2424060" y="494676"/>
                </a:cubicBezTo>
                <a:cubicBezTo>
                  <a:pt x="2415142" y="494676"/>
                  <a:pt x="2407820" y="491747"/>
                  <a:pt x="2402229" y="486156"/>
                </a:cubicBezTo>
                <a:cubicBezTo>
                  <a:pt x="2396638" y="480566"/>
                  <a:pt x="2393842" y="473509"/>
                  <a:pt x="2393842" y="464990"/>
                </a:cubicBezTo>
                <a:cubicBezTo>
                  <a:pt x="2393842" y="456737"/>
                  <a:pt x="2396638" y="449682"/>
                  <a:pt x="2402229" y="443958"/>
                </a:cubicBezTo>
                <a:cubicBezTo>
                  <a:pt x="2407820" y="438234"/>
                  <a:pt x="2415008" y="435305"/>
                  <a:pt x="2424060" y="435305"/>
                </a:cubicBezTo>
                <a:close/>
                <a:moveTo>
                  <a:pt x="2641707" y="435305"/>
                </a:moveTo>
                <a:cubicBezTo>
                  <a:pt x="2645967" y="435305"/>
                  <a:pt x="2649827" y="435971"/>
                  <a:pt x="2653422" y="437967"/>
                </a:cubicBezTo>
                <a:cubicBezTo>
                  <a:pt x="2657149" y="439565"/>
                  <a:pt x="2660211" y="441695"/>
                  <a:pt x="2662740" y="444357"/>
                </a:cubicBezTo>
                <a:cubicBezTo>
                  <a:pt x="2665402" y="446886"/>
                  <a:pt x="2667400" y="450081"/>
                  <a:pt x="2668864" y="453675"/>
                </a:cubicBezTo>
                <a:cubicBezTo>
                  <a:pt x="2670328" y="457269"/>
                  <a:pt x="2671127" y="461130"/>
                  <a:pt x="2671127" y="465123"/>
                </a:cubicBezTo>
                <a:cubicBezTo>
                  <a:pt x="2671127" y="469250"/>
                  <a:pt x="2670328" y="473243"/>
                  <a:pt x="2668864" y="476837"/>
                </a:cubicBezTo>
                <a:cubicBezTo>
                  <a:pt x="2667400" y="480431"/>
                  <a:pt x="2665269" y="483493"/>
                  <a:pt x="2662740" y="486156"/>
                </a:cubicBezTo>
                <a:cubicBezTo>
                  <a:pt x="2660211" y="488818"/>
                  <a:pt x="2657016" y="490949"/>
                  <a:pt x="2653422" y="492413"/>
                </a:cubicBezTo>
                <a:cubicBezTo>
                  <a:pt x="2649827" y="493877"/>
                  <a:pt x="2645967" y="494676"/>
                  <a:pt x="2641707" y="494676"/>
                </a:cubicBezTo>
                <a:cubicBezTo>
                  <a:pt x="2632788" y="494676"/>
                  <a:pt x="2625466" y="491747"/>
                  <a:pt x="2619875" y="486156"/>
                </a:cubicBezTo>
                <a:cubicBezTo>
                  <a:pt x="2614284" y="480565"/>
                  <a:pt x="2611489" y="473509"/>
                  <a:pt x="2611489" y="464990"/>
                </a:cubicBezTo>
                <a:cubicBezTo>
                  <a:pt x="2611489" y="456737"/>
                  <a:pt x="2614284" y="449682"/>
                  <a:pt x="2619875" y="443958"/>
                </a:cubicBezTo>
                <a:cubicBezTo>
                  <a:pt x="2625466" y="438234"/>
                  <a:pt x="2632655" y="435305"/>
                  <a:pt x="2641707" y="435305"/>
                </a:cubicBezTo>
                <a:close/>
                <a:moveTo>
                  <a:pt x="2859353" y="435304"/>
                </a:moveTo>
                <a:cubicBezTo>
                  <a:pt x="2863614" y="435304"/>
                  <a:pt x="2867475" y="435971"/>
                  <a:pt x="2871202" y="437966"/>
                </a:cubicBezTo>
                <a:cubicBezTo>
                  <a:pt x="2874929" y="439565"/>
                  <a:pt x="2877991" y="441695"/>
                  <a:pt x="2880520" y="444357"/>
                </a:cubicBezTo>
                <a:cubicBezTo>
                  <a:pt x="2883182" y="446886"/>
                  <a:pt x="2885179" y="450081"/>
                  <a:pt x="2886643" y="453675"/>
                </a:cubicBezTo>
                <a:cubicBezTo>
                  <a:pt x="2888108" y="457269"/>
                  <a:pt x="2888906" y="461130"/>
                  <a:pt x="2888906" y="465123"/>
                </a:cubicBezTo>
                <a:cubicBezTo>
                  <a:pt x="2888906" y="469250"/>
                  <a:pt x="2888108" y="473243"/>
                  <a:pt x="2886643" y="476837"/>
                </a:cubicBezTo>
                <a:cubicBezTo>
                  <a:pt x="2885179" y="480431"/>
                  <a:pt x="2883049" y="483493"/>
                  <a:pt x="2880520" y="486156"/>
                </a:cubicBezTo>
                <a:cubicBezTo>
                  <a:pt x="2877858" y="488818"/>
                  <a:pt x="2874795" y="490949"/>
                  <a:pt x="2871202" y="492413"/>
                </a:cubicBezTo>
                <a:cubicBezTo>
                  <a:pt x="2867475" y="493877"/>
                  <a:pt x="2863614" y="494676"/>
                  <a:pt x="2859353" y="494676"/>
                </a:cubicBezTo>
                <a:cubicBezTo>
                  <a:pt x="2850436" y="494676"/>
                  <a:pt x="2843113" y="491747"/>
                  <a:pt x="2837522" y="486156"/>
                </a:cubicBezTo>
                <a:cubicBezTo>
                  <a:pt x="2831932" y="480565"/>
                  <a:pt x="2829135" y="473509"/>
                  <a:pt x="2829135" y="464990"/>
                </a:cubicBezTo>
                <a:cubicBezTo>
                  <a:pt x="2829135" y="456737"/>
                  <a:pt x="2831932" y="449682"/>
                  <a:pt x="2837522" y="443958"/>
                </a:cubicBezTo>
                <a:cubicBezTo>
                  <a:pt x="2843113" y="438234"/>
                  <a:pt x="2850302" y="435304"/>
                  <a:pt x="2859353" y="435304"/>
                </a:cubicBezTo>
                <a:close/>
                <a:moveTo>
                  <a:pt x="3077000" y="435304"/>
                </a:moveTo>
                <a:cubicBezTo>
                  <a:pt x="3081127" y="435304"/>
                  <a:pt x="3085121" y="436369"/>
                  <a:pt x="3088715" y="437966"/>
                </a:cubicBezTo>
                <a:cubicBezTo>
                  <a:pt x="3092309" y="439565"/>
                  <a:pt x="3095505" y="441695"/>
                  <a:pt x="3098033" y="444357"/>
                </a:cubicBezTo>
                <a:cubicBezTo>
                  <a:pt x="3100562" y="446886"/>
                  <a:pt x="3102692" y="450081"/>
                  <a:pt x="3104156" y="453675"/>
                </a:cubicBezTo>
                <a:cubicBezTo>
                  <a:pt x="3105622" y="457269"/>
                  <a:pt x="3106419" y="461130"/>
                  <a:pt x="3106419" y="465123"/>
                </a:cubicBezTo>
                <a:cubicBezTo>
                  <a:pt x="3106419" y="469250"/>
                  <a:pt x="3105622" y="473243"/>
                  <a:pt x="3104156" y="476837"/>
                </a:cubicBezTo>
                <a:cubicBezTo>
                  <a:pt x="3102692" y="480431"/>
                  <a:pt x="3100562" y="483493"/>
                  <a:pt x="3098033" y="486155"/>
                </a:cubicBezTo>
                <a:cubicBezTo>
                  <a:pt x="3095371" y="488818"/>
                  <a:pt x="3092309" y="490948"/>
                  <a:pt x="3088715" y="492412"/>
                </a:cubicBezTo>
                <a:cubicBezTo>
                  <a:pt x="3085121" y="493877"/>
                  <a:pt x="3081260" y="494676"/>
                  <a:pt x="3077000" y="494676"/>
                </a:cubicBezTo>
                <a:cubicBezTo>
                  <a:pt x="3068082" y="494676"/>
                  <a:pt x="3060759" y="491746"/>
                  <a:pt x="3055168" y="486155"/>
                </a:cubicBezTo>
                <a:cubicBezTo>
                  <a:pt x="3049577" y="480565"/>
                  <a:pt x="3046782" y="473509"/>
                  <a:pt x="3046782" y="464990"/>
                </a:cubicBezTo>
                <a:cubicBezTo>
                  <a:pt x="3046782" y="456737"/>
                  <a:pt x="3049577" y="449682"/>
                  <a:pt x="3055168" y="443958"/>
                </a:cubicBezTo>
                <a:cubicBezTo>
                  <a:pt x="3060759" y="438233"/>
                  <a:pt x="3067948" y="435304"/>
                  <a:pt x="3077000" y="435304"/>
                </a:cubicBezTo>
                <a:close/>
                <a:moveTo>
                  <a:pt x="3294646" y="435304"/>
                </a:moveTo>
                <a:cubicBezTo>
                  <a:pt x="3298773" y="435304"/>
                  <a:pt x="3302768" y="435970"/>
                  <a:pt x="3306362" y="437966"/>
                </a:cubicBezTo>
                <a:cubicBezTo>
                  <a:pt x="3310089" y="439564"/>
                  <a:pt x="3313151" y="441694"/>
                  <a:pt x="3315680" y="444356"/>
                </a:cubicBezTo>
                <a:cubicBezTo>
                  <a:pt x="3318209" y="446886"/>
                  <a:pt x="3320339" y="450081"/>
                  <a:pt x="3321803" y="453675"/>
                </a:cubicBezTo>
                <a:cubicBezTo>
                  <a:pt x="3323267" y="457269"/>
                  <a:pt x="3324066" y="461130"/>
                  <a:pt x="3324066" y="465123"/>
                </a:cubicBezTo>
                <a:cubicBezTo>
                  <a:pt x="3324066" y="469250"/>
                  <a:pt x="3323267" y="473243"/>
                  <a:pt x="3321803" y="476837"/>
                </a:cubicBezTo>
                <a:cubicBezTo>
                  <a:pt x="3320339" y="480431"/>
                  <a:pt x="3318209" y="483493"/>
                  <a:pt x="3315680" y="486155"/>
                </a:cubicBezTo>
                <a:cubicBezTo>
                  <a:pt x="3313017" y="488818"/>
                  <a:pt x="3309955" y="490948"/>
                  <a:pt x="3306362" y="492412"/>
                </a:cubicBezTo>
                <a:cubicBezTo>
                  <a:pt x="3302768" y="493876"/>
                  <a:pt x="3298907" y="494675"/>
                  <a:pt x="3294646" y="494675"/>
                </a:cubicBezTo>
                <a:cubicBezTo>
                  <a:pt x="3285594" y="494675"/>
                  <a:pt x="3278406" y="491746"/>
                  <a:pt x="3272814" y="486155"/>
                </a:cubicBezTo>
                <a:cubicBezTo>
                  <a:pt x="3267223" y="480565"/>
                  <a:pt x="3264428" y="473509"/>
                  <a:pt x="3264428" y="464990"/>
                </a:cubicBezTo>
                <a:cubicBezTo>
                  <a:pt x="3264428" y="456737"/>
                  <a:pt x="3267223" y="449682"/>
                  <a:pt x="3272814" y="443957"/>
                </a:cubicBezTo>
                <a:cubicBezTo>
                  <a:pt x="3278406" y="438233"/>
                  <a:pt x="3285594" y="435304"/>
                  <a:pt x="3294646" y="435304"/>
                </a:cubicBezTo>
                <a:close/>
                <a:moveTo>
                  <a:pt x="3512160" y="435304"/>
                </a:moveTo>
                <a:cubicBezTo>
                  <a:pt x="3516420" y="435304"/>
                  <a:pt x="3520281" y="436369"/>
                  <a:pt x="3523875" y="437966"/>
                </a:cubicBezTo>
                <a:cubicBezTo>
                  <a:pt x="3527469" y="439564"/>
                  <a:pt x="3530664" y="441694"/>
                  <a:pt x="3533193" y="444356"/>
                </a:cubicBezTo>
                <a:cubicBezTo>
                  <a:pt x="3535722" y="446885"/>
                  <a:pt x="3537852" y="450080"/>
                  <a:pt x="3539316" y="453675"/>
                </a:cubicBezTo>
                <a:cubicBezTo>
                  <a:pt x="3540780" y="457269"/>
                  <a:pt x="3541579" y="461130"/>
                  <a:pt x="3541579" y="465123"/>
                </a:cubicBezTo>
                <a:cubicBezTo>
                  <a:pt x="3541579" y="469250"/>
                  <a:pt x="3540780" y="473243"/>
                  <a:pt x="3539316" y="476837"/>
                </a:cubicBezTo>
                <a:cubicBezTo>
                  <a:pt x="3537852" y="480431"/>
                  <a:pt x="3535722" y="483493"/>
                  <a:pt x="3533193" y="486155"/>
                </a:cubicBezTo>
                <a:cubicBezTo>
                  <a:pt x="3530530" y="488818"/>
                  <a:pt x="3527469" y="490948"/>
                  <a:pt x="3523875" y="492412"/>
                </a:cubicBezTo>
                <a:cubicBezTo>
                  <a:pt x="3520281" y="493876"/>
                  <a:pt x="3516420" y="494675"/>
                  <a:pt x="3512160" y="494675"/>
                </a:cubicBezTo>
                <a:cubicBezTo>
                  <a:pt x="3503108" y="494675"/>
                  <a:pt x="3495919" y="491746"/>
                  <a:pt x="3490328" y="486155"/>
                </a:cubicBezTo>
                <a:cubicBezTo>
                  <a:pt x="3484737" y="480565"/>
                  <a:pt x="3481941" y="473509"/>
                  <a:pt x="3481941" y="464990"/>
                </a:cubicBezTo>
                <a:cubicBezTo>
                  <a:pt x="3481941" y="456737"/>
                  <a:pt x="3484737" y="449682"/>
                  <a:pt x="3490328" y="443957"/>
                </a:cubicBezTo>
                <a:cubicBezTo>
                  <a:pt x="3495919" y="438233"/>
                  <a:pt x="3503108" y="435304"/>
                  <a:pt x="3512160" y="435304"/>
                </a:cubicBezTo>
                <a:close/>
                <a:moveTo>
                  <a:pt x="3729806" y="435304"/>
                </a:moveTo>
                <a:cubicBezTo>
                  <a:pt x="3734067" y="435304"/>
                  <a:pt x="3737928" y="436369"/>
                  <a:pt x="3741521" y="437966"/>
                </a:cubicBezTo>
                <a:cubicBezTo>
                  <a:pt x="3745115" y="439564"/>
                  <a:pt x="3748311" y="441694"/>
                  <a:pt x="3750840" y="444356"/>
                </a:cubicBezTo>
                <a:cubicBezTo>
                  <a:pt x="3753369" y="446885"/>
                  <a:pt x="3755498" y="450080"/>
                  <a:pt x="3756962" y="453674"/>
                </a:cubicBezTo>
                <a:cubicBezTo>
                  <a:pt x="3758426" y="457269"/>
                  <a:pt x="3759225" y="461130"/>
                  <a:pt x="3759225" y="465123"/>
                </a:cubicBezTo>
                <a:cubicBezTo>
                  <a:pt x="3759225" y="469250"/>
                  <a:pt x="3758426" y="473243"/>
                  <a:pt x="3756962" y="476837"/>
                </a:cubicBezTo>
                <a:cubicBezTo>
                  <a:pt x="3755498" y="480431"/>
                  <a:pt x="3753369" y="483493"/>
                  <a:pt x="3750840" y="486155"/>
                </a:cubicBezTo>
                <a:cubicBezTo>
                  <a:pt x="3748177" y="488818"/>
                  <a:pt x="3745115" y="490948"/>
                  <a:pt x="3741521" y="492412"/>
                </a:cubicBezTo>
                <a:cubicBezTo>
                  <a:pt x="3737928" y="493876"/>
                  <a:pt x="3734067" y="494675"/>
                  <a:pt x="3729806" y="494675"/>
                </a:cubicBezTo>
                <a:cubicBezTo>
                  <a:pt x="3720754" y="494675"/>
                  <a:pt x="3713566" y="491746"/>
                  <a:pt x="3707975" y="486155"/>
                </a:cubicBezTo>
                <a:cubicBezTo>
                  <a:pt x="3702383" y="480565"/>
                  <a:pt x="3699589" y="473509"/>
                  <a:pt x="3699589" y="464990"/>
                </a:cubicBezTo>
                <a:cubicBezTo>
                  <a:pt x="3699589" y="456737"/>
                  <a:pt x="3702383" y="449681"/>
                  <a:pt x="3707975" y="443957"/>
                </a:cubicBezTo>
                <a:cubicBezTo>
                  <a:pt x="3713566" y="438233"/>
                  <a:pt x="3720754" y="435304"/>
                  <a:pt x="3729806" y="435304"/>
                </a:cubicBezTo>
                <a:close/>
                <a:moveTo>
                  <a:pt x="3947454" y="435304"/>
                </a:moveTo>
                <a:cubicBezTo>
                  <a:pt x="3951713" y="435304"/>
                  <a:pt x="3955574" y="435970"/>
                  <a:pt x="3959169" y="437966"/>
                </a:cubicBezTo>
                <a:cubicBezTo>
                  <a:pt x="3962896" y="439564"/>
                  <a:pt x="3965957" y="441694"/>
                  <a:pt x="3968486" y="444356"/>
                </a:cubicBezTo>
                <a:cubicBezTo>
                  <a:pt x="3971016" y="446885"/>
                  <a:pt x="3973146" y="450080"/>
                  <a:pt x="3974610" y="453674"/>
                </a:cubicBezTo>
                <a:cubicBezTo>
                  <a:pt x="3976074" y="457268"/>
                  <a:pt x="3976873" y="461129"/>
                  <a:pt x="3976873" y="465123"/>
                </a:cubicBezTo>
                <a:cubicBezTo>
                  <a:pt x="3976873" y="469249"/>
                  <a:pt x="3976074" y="473243"/>
                  <a:pt x="3974610" y="476837"/>
                </a:cubicBezTo>
                <a:cubicBezTo>
                  <a:pt x="3973146" y="480431"/>
                  <a:pt x="3971016" y="483493"/>
                  <a:pt x="3968486" y="486155"/>
                </a:cubicBezTo>
                <a:cubicBezTo>
                  <a:pt x="3965824" y="488818"/>
                  <a:pt x="3962763" y="490948"/>
                  <a:pt x="3959169" y="492412"/>
                </a:cubicBezTo>
                <a:cubicBezTo>
                  <a:pt x="3955574" y="493876"/>
                  <a:pt x="3951713" y="494675"/>
                  <a:pt x="3947454" y="494675"/>
                </a:cubicBezTo>
                <a:cubicBezTo>
                  <a:pt x="3938402" y="494675"/>
                  <a:pt x="3931213" y="491746"/>
                  <a:pt x="3925622" y="486155"/>
                </a:cubicBezTo>
                <a:cubicBezTo>
                  <a:pt x="3920031" y="480565"/>
                  <a:pt x="3917235" y="473509"/>
                  <a:pt x="3917235" y="464990"/>
                </a:cubicBezTo>
                <a:cubicBezTo>
                  <a:pt x="3917235" y="456736"/>
                  <a:pt x="3920031" y="449681"/>
                  <a:pt x="3925622" y="443957"/>
                </a:cubicBezTo>
                <a:cubicBezTo>
                  <a:pt x="3931213" y="438233"/>
                  <a:pt x="3938402" y="435304"/>
                  <a:pt x="3947454" y="435304"/>
                </a:cubicBezTo>
                <a:close/>
                <a:moveTo>
                  <a:pt x="4165068" y="435304"/>
                </a:moveTo>
                <a:cubicBezTo>
                  <a:pt x="4169327" y="435304"/>
                  <a:pt x="4173188" y="435970"/>
                  <a:pt x="4176782" y="437966"/>
                </a:cubicBezTo>
                <a:cubicBezTo>
                  <a:pt x="4180509" y="439564"/>
                  <a:pt x="4183571" y="441694"/>
                  <a:pt x="4186100" y="444356"/>
                </a:cubicBezTo>
                <a:cubicBezTo>
                  <a:pt x="4188629" y="446885"/>
                  <a:pt x="4190759" y="450080"/>
                  <a:pt x="4192223" y="453674"/>
                </a:cubicBezTo>
                <a:cubicBezTo>
                  <a:pt x="4193688" y="457268"/>
                  <a:pt x="4194486" y="461129"/>
                  <a:pt x="4194486" y="465122"/>
                </a:cubicBezTo>
                <a:cubicBezTo>
                  <a:pt x="4194486" y="469249"/>
                  <a:pt x="4193688" y="473242"/>
                  <a:pt x="4192223" y="476837"/>
                </a:cubicBezTo>
                <a:cubicBezTo>
                  <a:pt x="4190759" y="480431"/>
                  <a:pt x="4188629" y="483493"/>
                  <a:pt x="4186100" y="486155"/>
                </a:cubicBezTo>
                <a:cubicBezTo>
                  <a:pt x="4183438" y="488818"/>
                  <a:pt x="4180376" y="490948"/>
                  <a:pt x="4176782" y="492412"/>
                </a:cubicBezTo>
                <a:cubicBezTo>
                  <a:pt x="4173188" y="493876"/>
                  <a:pt x="4169327" y="494675"/>
                  <a:pt x="4165068" y="494675"/>
                </a:cubicBezTo>
                <a:cubicBezTo>
                  <a:pt x="4156015" y="494675"/>
                  <a:pt x="4148827" y="491746"/>
                  <a:pt x="4143235" y="486155"/>
                </a:cubicBezTo>
                <a:cubicBezTo>
                  <a:pt x="4137645" y="480565"/>
                  <a:pt x="4134849" y="473509"/>
                  <a:pt x="4134849" y="464989"/>
                </a:cubicBezTo>
                <a:cubicBezTo>
                  <a:pt x="4134849" y="456736"/>
                  <a:pt x="4137645" y="449681"/>
                  <a:pt x="4143235" y="443957"/>
                </a:cubicBezTo>
                <a:cubicBezTo>
                  <a:pt x="4148827" y="438233"/>
                  <a:pt x="4156015" y="435304"/>
                  <a:pt x="4165068" y="435304"/>
                </a:cubicBezTo>
                <a:close/>
                <a:moveTo>
                  <a:pt x="4382713" y="435304"/>
                </a:moveTo>
                <a:cubicBezTo>
                  <a:pt x="4386840" y="435304"/>
                  <a:pt x="4390834" y="435970"/>
                  <a:pt x="4394428" y="437966"/>
                </a:cubicBezTo>
                <a:cubicBezTo>
                  <a:pt x="4398155" y="439564"/>
                  <a:pt x="4401217" y="441694"/>
                  <a:pt x="4403746" y="444356"/>
                </a:cubicBezTo>
                <a:cubicBezTo>
                  <a:pt x="4406275" y="446885"/>
                  <a:pt x="4408405" y="450080"/>
                  <a:pt x="4409869" y="453674"/>
                </a:cubicBezTo>
                <a:cubicBezTo>
                  <a:pt x="4411334" y="457268"/>
                  <a:pt x="4412132" y="461129"/>
                  <a:pt x="4412132" y="465122"/>
                </a:cubicBezTo>
                <a:cubicBezTo>
                  <a:pt x="4412132" y="469249"/>
                  <a:pt x="4411334" y="473242"/>
                  <a:pt x="4409869" y="476836"/>
                </a:cubicBezTo>
                <a:cubicBezTo>
                  <a:pt x="4408405" y="480431"/>
                  <a:pt x="4406275" y="483493"/>
                  <a:pt x="4403746" y="486155"/>
                </a:cubicBezTo>
                <a:cubicBezTo>
                  <a:pt x="4401083" y="488818"/>
                  <a:pt x="4398022" y="490948"/>
                  <a:pt x="4394428" y="492412"/>
                </a:cubicBezTo>
                <a:cubicBezTo>
                  <a:pt x="4390834" y="493876"/>
                  <a:pt x="4386973" y="494675"/>
                  <a:pt x="4382713" y="494675"/>
                </a:cubicBezTo>
                <a:cubicBezTo>
                  <a:pt x="4373661" y="494675"/>
                  <a:pt x="4366473" y="491746"/>
                  <a:pt x="4360881" y="486155"/>
                </a:cubicBezTo>
                <a:cubicBezTo>
                  <a:pt x="4355290" y="480565"/>
                  <a:pt x="4352495" y="473509"/>
                  <a:pt x="4352495" y="464989"/>
                </a:cubicBezTo>
                <a:cubicBezTo>
                  <a:pt x="4352495" y="456736"/>
                  <a:pt x="4355290" y="449681"/>
                  <a:pt x="4360881" y="443957"/>
                </a:cubicBezTo>
                <a:cubicBezTo>
                  <a:pt x="4366473" y="438233"/>
                  <a:pt x="4373661" y="435304"/>
                  <a:pt x="4382713" y="435304"/>
                </a:cubicBezTo>
                <a:close/>
                <a:moveTo>
                  <a:pt x="4600226" y="435304"/>
                </a:moveTo>
                <a:cubicBezTo>
                  <a:pt x="4604485" y="435304"/>
                  <a:pt x="4608479" y="435970"/>
                  <a:pt x="4612073" y="437966"/>
                </a:cubicBezTo>
                <a:cubicBezTo>
                  <a:pt x="4615800" y="439564"/>
                  <a:pt x="4618862" y="441694"/>
                  <a:pt x="4621391" y="444356"/>
                </a:cubicBezTo>
                <a:cubicBezTo>
                  <a:pt x="4623920" y="446885"/>
                  <a:pt x="4626050" y="450080"/>
                  <a:pt x="4627514" y="453674"/>
                </a:cubicBezTo>
                <a:cubicBezTo>
                  <a:pt x="4628978" y="457268"/>
                  <a:pt x="4629777" y="461129"/>
                  <a:pt x="4629777" y="465122"/>
                </a:cubicBezTo>
                <a:cubicBezTo>
                  <a:pt x="4629777" y="469249"/>
                  <a:pt x="4628978" y="473242"/>
                  <a:pt x="4627514" y="476836"/>
                </a:cubicBezTo>
                <a:cubicBezTo>
                  <a:pt x="4626050" y="480430"/>
                  <a:pt x="4623920" y="483492"/>
                  <a:pt x="4621391" y="486155"/>
                </a:cubicBezTo>
                <a:cubicBezTo>
                  <a:pt x="4618729" y="488818"/>
                  <a:pt x="4615667" y="490948"/>
                  <a:pt x="4612073" y="492412"/>
                </a:cubicBezTo>
                <a:cubicBezTo>
                  <a:pt x="4608346" y="493876"/>
                  <a:pt x="4604485" y="494675"/>
                  <a:pt x="4600226" y="494675"/>
                </a:cubicBezTo>
                <a:cubicBezTo>
                  <a:pt x="4591173" y="494675"/>
                  <a:pt x="4583985" y="491746"/>
                  <a:pt x="4578393" y="486155"/>
                </a:cubicBezTo>
                <a:cubicBezTo>
                  <a:pt x="4572803" y="480564"/>
                  <a:pt x="4570007" y="473508"/>
                  <a:pt x="4570007" y="464989"/>
                </a:cubicBezTo>
                <a:cubicBezTo>
                  <a:pt x="4570007" y="456736"/>
                  <a:pt x="4572803" y="449681"/>
                  <a:pt x="4578393" y="443957"/>
                </a:cubicBezTo>
                <a:cubicBezTo>
                  <a:pt x="4583985" y="438233"/>
                  <a:pt x="4591173" y="435304"/>
                  <a:pt x="4600226" y="435304"/>
                </a:cubicBezTo>
                <a:close/>
                <a:moveTo>
                  <a:pt x="4817870" y="435303"/>
                </a:moveTo>
                <a:cubicBezTo>
                  <a:pt x="4822130" y="435303"/>
                  <a:pt x="4825857" y="436369"/>
                  <a:pt x="4829585" y="437966"/>
                </a:cubicBezTo>
                <a:cubicBezTo>
                  <a:pt x="4833312" y="439564"/>
                  <a:pt x="4836374" y="441694"/>
                  <a:pt x="4838903" y="444356"/>
                </a:cubicBezTo>
                <a:cubicBezTo>
                  <a:pt x="4841432" y="446885"/>
                  <a:pt x="4843562" y="450080"/>
                  <a:pt x="4845026" y="453674"/>
                </a:cubicBezTo>
                <a:cubicBezTo>
                  <a:pt x="4846491" y="457268"/>
                  <a:pt x="4847289" y="461129"/>
                  <a:pt x="4847289" y="465122"/>
                </a:cubicBezTo>
                <a:cubicBezTo>
                  <a:pt x="4847289" y="469249"/>
                  <a:pt x="4846491" y="473242"/>
                  <a:pt x="4845026" y="476836"/>
                </a:cubicBezTo>
                <a:cubicBezTo>
                  <a:pt x="4843562" y="480430"/>
                  <a:pt x="4841432" y="483492"/>
                  <a:pt x="4838903" y="486155"/>
                </a:cubicBezTo>
                <a:cubicBezTo>
                  <a:pt x="4836240" y="488817"/>
                  <a:pt x="4833179" y="490948"/>
                  <a:pt x="4829585" y="492412"/>
                </a:cubicBezTo>
                <a:cubicBezTo>
                  <a:pt x="4825991" y="493876"/>
                  <a:pt x="4822130" y="494675"/>
                  <a:pt x="4817870" y="494675"/>
                </a:cubicBezTo>
                <a:cubicBezTo>
                  <a:pt x="4808952" y="494675"/>
                  <a:pt x="4801630" y="491746"/>
                  <a:pt x="4796038" y="486155"/>
                </a:cubicBezTo>
                <a:cubicBezTo>
                  <a:pt x="4790447" y="480564"/>
                  <a:pt x="4787652" y="473508"/>
                  <a:pt x="4787652" y="464989"/>
                </a:cubicBezTo>
                <a:cubicBezTo>
                  <a:pt x="4787652" y="456736"/>
                  <a:pt x="4790447" y="449681"/>
                  <a:pt x="4796038" y="443957"/>
                </a:cubicBezTo>
                <a:cubicBezTo>
                  <a:pt x="4801630" y="438233"/>
                  <a:pt x="4808818" y="435303"/>
                  <a:pt x="4817870" y="435303"/>
                </a:cubicBezTo>
                <a:close/>
                <a:moveTo>
                  <a:pt x="5035515" y="435303"/>
                </a:moveTo>
                <a:cubicBezTo>
                  <a:pt x="5039775" y="435303"/>
                  <a:pt x="5043502" y="436369"/>
                  <a:pt x="5047230" y="437965"/>
                </a:cubicBezTo>
                <a:cubicBezTo>
                  <a:pt x="5050957" y="439564"/>
                  <a:pt x="5054019" y="441694"/>
                  <a:pt x="5056548" y="444356"/>
                </a:cubicBezTo>
                <a:cubicBezTo>
                  <a:pt x="5059077" y="446885"/>
                  <a:pt x="5061207" y="450080"/>
                  <a:pt x="5062671" y="453674"/>
                </a:cubicBezTo>
                <a:cubicBezTo>
                  <a:pt x="5064135" y="457268"/>
                  <a:pt x="5064934" y="461129"/>
                  <a:pt x="5064934" y="465122"/>
                </a:cubicBezTo>
                <a:cubicBezTo>
                  <a:pt x="5064934" y="469249"/>
                  <a:pt x="5064135" y="473242"/>
                  <a:pt x="5062671" y="476836"/>
                </a:cubicBezTo>
                <a:cubicBezTo>
                  <a:pt x="5061207" y="480430"/>
                  <a:pt x="5059077" y="483492"/>
                  <a:pt x="5056548" y="486154"/>
                </a:cubicBezTo>
                <a:cubicBezTo>
                  <a:pt x="5053885" y="488817"/>
                  <a:pt x="5050824" y="490947"/>
                  <a:pt x="5047230" y="492411"/>
                </a:cubicBezTo>
                <a:cubicBezTo>
                  <a:pt x="5043636" y="493876"/>
                  <a:pt x="5039775" y="494674"/>
                  <a:pt x="5035515" y="494674"/>
                </a:cubicBezTo>
                <a:cubicBezTo>
                  <a:pt x="5026597" y="494674"/>
                  <a:pt x="5019275" y="491745"/>
                  <a:pt x="5013683" y="486154"/>
                </a:cubicBezTo>
                <a:cubicBezTo>
                  <a:pt x="5008092" y="480564"/>
                  <a:pt x="5005297" y="473508"/>
                  <a:pt x="5005297" y="464989"/>
                </a:cubicBezTo>
                <a:cubicBezTo>
                  <a:pt x="5005297" y="456736"/>
                  <a:pt x="5008092" y="449681"/>
                  <a:pt x="5013683" y="443957"/>
                </a:cubicBezTo>
                <a:cubicBezTo>
                  <a:pt x="5019275" y="438232"/>
                  <a:pt x="5026463" y="435303"/>
                  <a:pt x="5035515" y="435303"/>
                </a:cubicBezTo>
                <a:close/>
                <a:moveTo>
                  <a:pt x="5470806" y="435303"/>
                </a:moveTo>
                <a:cubicBezTo>
                  <a:pt x="5475065" y="435303"/>
                  <a:pt x="5478793" y="436368"/>
                  <a:pt x="5482520" y="437965"/>
                </a:cubicBezTo>
                <a:cubicBezTo>
                  <a:pt x="5486247" y="439563"/>
                  <a:pt x="5489309" y="441693"/>
                  <a:pt x="5491838" y="444355"/>
                </a:cubicBezTo>
                <a:cubicBezTo>
                  <a:pt x="5494367" y="446884"/>
                  <a:pt x="5496497" y="450080"/>
                  <a:pt x="5497961" y="453674"/>
                </a:cubicBezTo>
                <a:cubicBezTo>
                  <a:pt x="5499426" y="457268"/>
                  <a:pt x="5500224" y="461129"/>
                  <a:pt x="5500224" y="465122"/>
                </a:cubicBezTo>
                <a:cubicBezTo>
                  <a:pt x="5500224" y="469249"/>
                  <a:pt x="5499426" y="473242"/>
                  <a:pt x="5497961" y="476836"/>
                </a:cubicBezTo>
                <a:cubicBezTo>
                  <a:pt x="5496497" y="480430"/>
                  <a:pt x="5494367" y="483492"/>
                  <a:pt x="5491838" y="486154"/>
                </a:cubicBezTo>
                <a:cubicBezTo>
                  <a:pt x="5489176" y="488817"/>
                  <a:pt x="5486114" y="490947"/>
                  <a:pt x="5482520" y="492411"/>
                </a:cubicBezTo>
                <a:cubicBezTo>
                  <a:pt x="5478926" y="493875"/>
                  <a:pt x="5475065" y="494674"/>
                  <a:pt x="5470806" y="494674"/>
                </a:cubicBezTo>
                <a:cubicBezTo>
                  <a:pt x="5461887" y="494674"/>
                  <a:pt x="5454565" y="491745"/>
                  <a:pt x="5448973" y="486154"/>
                </a:cubicBezTo>
                <a:cubicBezTo>
                  <a:pt x="5443383" y="480564"/>
                  <a:pt x="5440587" y="473508"/>
                  <a:pt x="5440587" y="464989"/>
                </a:cubicBezTo>
                <a:cubicBezTo>
                  <a:pt x="5440587" y="456736"/>
                  <a:pt x="5443383" y="449681"/>
                  <a:pt x="5448973" y="443956"/>
                </a:cubicBezTo>
                <a:cubicBezTo>
                  <a:pt x="5454565" y="438232"/>
                  <a:pt x="5461754" y="435303"/>
                  <a:pt x="5470806" y="435303"/>
                </a:cubicBezTo>
                <a:close/>
                <a:moveTo>
                  <a:pt x="5253160" y="435303"/>
                </a:moveTo>
                <a:cubicBezTo>
                  <a:pt x="5257420" y="435303"/>
                  <a:pt x="5261147" y="436368"/>
                  <a:pt x="5264875" y="437965"/>
                </a:cubicBezTo>
                <a:cubicBezTo>
                  <a:pt x="5268602" y="439563"/>
                  <a:pt x="5271664" y="441693"/>
                  <a:pt x="5274192" y="444355"/>
                </a:cubicBezTo>
                <a:cubicBezTo>
                  <a:pt x="5276722" y="446885"/>
                  <a:pt x="5278852" y="450080"/>
                  <a:pt x="5280316" y="453674"/>
                </a:cubicBezTo>
                <a:cubicBezTo>
                  <a:pt x="5281780" y="457268"/>
                  <a:pt x="5282579" y="461129"/>
                  <a:pt x="5282579" y="465122"/>
                </a:cubicBezTo>
                <a:cubicBezTo>
                  <a:pt x="5282579" y="469249"/>
                  <a:pt x="5281780" y="473242"/>
                  <a:pt x="5280316" y="476836"/>
                </a:cubicBezTo>
                <a:cubicBezTo>
                  <a:pt x="5278852" y="480430"/>
                  <a:pt x="5276722" y="483492"/>
                  <a:pt x="5274192" y="486154"/>
                </a:cubicBezTo>
                <a:cubicBezTo>
                  <a:pt x="5271664" y="488817"/>
                  <a:pt x="5268469" y="490947"/>
                  <a:pt x="5264875" y="492411"/>
                </a:cubicBezTo>
                <a:cubicBezTo>
                  <a:pt x="5261280" y="493875"/>
                  <a:pt x="5257420" y="494674"/>
                  <a:pt x="5253160" y="494674"/>
                </a:cubicBezTo>
                <a:cubicBezTo>
                  <a:pt x="5244241" y="494674"/>
                  <a:pt x="5236920" y="491745"/>
                  <a:pt x="5231328" y="486154"/>
                </a:cubicBezTo>
                <a:cubicBezTo>
                  <a:pt x="5225737" y="480564"/>
                  <a:pt x="5222942" y="473508"/>
                  <a:pt x="5222942" y="464989"/>
                </a:cubicBezTo>
                <a:cubicBezTo>
                  <a:pt x="5222942" y="456736"/>
                  <a:pt x="5225737" y="449681"/>
                  <a:pt x="5231328" y="443956"/>
                </a:cubicBezTo>
                <a:cubicBezTo>
                  <a:pt x="5236920" y="438232"/>
                  <a:pt x="5244108" y="435303"/>
                  <a:pt x="5253160" y="435303"/>
                </a:cubicBezTo>
                <a:close/>
                <a:moveTo>
                  <a:pt x="5905963" y="435303"/>
                </a:moveTo>
                <a:cubicBezTo>
                  <a:pt x="5910222" y="435303"/>
                  <a:pt x="5913950" y="436368"/>
                  <a:pt x="5917677" y="437965"/>
                </a:cubicBezTo>
                <a:cubicBezTo>
                  <a:pt x="5921404" y="439563"/>
                  <a:pt x="5924466" y="441693"/>
                  <a:pt x="5926995" y="444355"/>
                </a:cubicBezTo>
                <a:cubicBezTo>
                  <a:pt x="5929524" y="446884"/>
                  <a:pt x="5931654" y="450079"/>
                  <a:pt x="5933118" y="453673"/>
                </a:cubicBezTo>
                <a:cubicBezTo>
                  <a:pt x="5934583" y="457267"/>
                  <a:pt x="5935381" y="461129"/>
                  <a:pt x="5935381" y="465122"/>
                </a:cubicBezTo>
                <a:cubicBezTo>
                  <a:pt x="5935381" y="469249"/>
                  <a:pt x="5934583" y="473242"/>
                  <a:pt x="5933118" y="476836"/>
                </a:cubicBezTo>
                <a:cubicBezTo>
                  <a:pt x="5931654" y="480430"/>
                  <a:pt x="5929524" y="483492"/>
                  <a:pt x="5926995" y="486154"/>
                </a:cubicBezTo>
                <a:cubicBezTo>
                  <a:pt x="5924333" y="488817"/>
                  <a:pt x="5921271" y="490947"/>
                  <a:pt x="5917677" y="492411"/>
                </a:cubicBezTo>
                <a:cubicBezTo>
                  <a:pt x="5914083" y="493875"/>
                  <a:pt x="5910222" y="494674"/>
                  <a:pt x="5905963" y="494674"/>
                </a:cubicBezTo>
                <a:cubicBezTo>
                  <a:pt x="5897044" y="494674"/>
                  <a:pt x="5889722" y="491745"/>
                  <a:pt x="5884130" y="486154"/>
                </a:cubicBezTo>
                <a:cubicBezTo>
                  <a:pt x="5878540" y="480564"/>
                  <a:pt x="5875744" y="473508"/>
                  <a:pt x="5875744" y="464989"/>
                </a:cubicBezTo>
                <a:cubicBezTo>
                  <a:pt x="5875744" y="456736"/>
                  <a:pt x="5878540" y="449680"/>
                  <a:pt x="5884130" y="443956"/>
                </a:cubicBezTo>
                <a:cubicBezTo>
                  <a:pt x="5889722" y="438232"/>
                  <a:pt x="5896910" y="435303"/>
                  <a:pt x="5905963" y="435303"/>
                </a:cubicBezTo>
                <a:close/>
                <a:moveTo>
                  <a:pt x="5688451" y="435303"/>
                </a:moveTo>
                <a:cubicBezTo>
                  <a:pt x="5692577" y="435303"/>
                  <a:pt x="5696437" y="436368"/>
                  <a:pt x="5700165" y="437965"/>
                </a:cubicBezTo>
                <a:cubicBezTo>
                  <a:pt x="5703892" y="439563"/>
                  <a:pt x="5706954" y="441693"/>
                  <a:pt x="5709483" y="444355"/>
                </a:cubicBezTo>
                <a:cubicBezTo>
                  <a:pt x="5712012" y="446884"/>
                  <a:pt x="5714142" y="450079"/>
                  <a:pt x="5715606" y="453673"/>
                </a:cubicBezTo>
                <a:cubicBezTo>
                  <a:pt x="5717071" y="457268"/>
                  <a:pt x="5717869" y="461129"/>
                  <a:pt x="5717869" y="465122"/>
                </a:cubicBezTo>
                <a:cubicBezTo>
                  <a:pt x="5717869" y="469249"/>
                  <a:pt x="5717071" y="473242"/>
                  <a:pt x="5715606" y="476836"/>
                </a:cubicBezTo>
                <a:cubicBezTo>
                  <a:pt x="5714142" y="480430"/>
                  <a:pt x="5712012" y="483492"/>
                  <a:pt x="5709483" y="486154"/>
                </a:cubicBezTo>
                <a:cubicBezTo>
                  <a:pt x="5706820" y="488817"/>
                  <a:pt x="5703759" y="490947"/>
                  <a:pt x="5700165" y="492411"/>
                </a:cubicBezTo>
                <a:cubicBezTo>
                  <a:pt x="5696571" y="493875"/>
                  <a:pt x="5692710" y="494674"/>
                  <a:pt x="5688451" y="494674"/>
                </a:cubicBezTo>
                <a:cubicBezTo>
                  <a:pt x="5679532" y="494674"/>
                  <a:pt x="5672210" y="491745"/>
                  <a:pt x="5666618" y="486154"/>
                </a:cubicBezTo>
                <a:cubicBezTo>
                  <a:pt x="5661028" y="480564"/>
                  <a:pt x="5658232" y="473508"/>
                  <a:pt x="5658232" y="464989"/>
                </a:cubicBezTo>
                <a:cubicBezTo>
                  <a:pt x="5658232" y="456736"/>
                  <a:pt x="5661028" y="449680"/>
                  <a:pt x="5666618" y="443956"/>
                </a:cubicBezTo>
                <a:cubicBezTo>
                  <a:pt x="5672210" y="438232"/>
                  <a:pt x="5679398" y="435303"/>
                  <a:pt x="5688451" y="435303"/>
                </a:cubicBezTo>
                <a:close/>
                <a:moveTo>
                  <a:pt x="6123608" y="435303"/>
                </a:moveTo>
                <a:cubicBezTo>
                  <a:pt x="6127867" y="435303"/>
                  <a:pt x="6131594" y="436368"/>
                  <a:pt x="6135322" y="437965"/>
                </a:cubicBezTo>
                <a:cubicBezTo>
                  <a:pt x="6139049" y="439563"/>
                  <a:pt x="6142111" y="441693"/>
                  <a:pt x="6144640" y="444355"/>
                </a:cubicBezTo>
                <a:cubicBezTo>
                  <a:pt x="6147169" y="446884"/>
                  <a:pt x="6149299" y="450079"/>
                  <a:pt x="6150763" y="453673"/>
                </a:cubicBezTo>
                <a:cubicBezTo>
                  <a:pt x="6152228" y="457267"/>
                  <a:pt x="6153026" y="461128"/>
                  <a:pt x="6153026" y="465121"/>
                </a:cubicBezTo>
                <a:cubicBezTo>
                  <a:pt x="6153026" y="469249"/>
                  <a:pt x="6152228" y="473242"/>
                  <a:pt x="6150763" y="476836"/>
                </a:cubicBezTo>
                <a:cubicBezTo>
                  <a:pt x="6149299" y="480430"/>
                  <a:pt x="6147169" y="483492"/>
                  <a:pt x="6144640" y="486154"/>
                </a:cubicBezTo>
                <a:cubicBezTo>
                  <a:pt x="6141977" y="488817"/>
                  <a:pt x="6138916" y="490947"/>
                  <a:pt x="6135322" y="492411"/>
                </a:cubicBezTo>
                <a:cubicBezTo>
                  <a:pt x="6131728" y="493875"/>
                  <a:pt x="6127867" y="494674"/>
                  <a:pt x="6123608" y="494674"/>
                </a:cubicBezTo>
                <a:cubicBezTo>
                  <a:pt x="6114689" y="494674"/>
                  <a:pt x="6107367" y="491745"/>
                  <a:pt x="6101775" y="486154"/>
                </a:cubicBezTo>
                <a:cubicBezTo>
                  <a:pt x="6096184" y="480564"/>
                  <a:pt x="6093389" y="473508"/>
                  <a:pt x="6093389" y="464988"/>
                </a:cubicBezTo>
                <a:cubicBezTo>
                  <a:pt x="6093389" y="456735"/>
                  <a:pt x="6096184" y="449680"/>
                  <a:pt x="6101775" y="443956"/>
                </a:cubicBezTo>
                <a:cubicBezTo>
                  <a:pt x="6107367" y="438232"/>
                  <a:pt x="6114555" y="435303"/>
                  <a:pt x="6123608" y="435303"/>
                </a:cubicBezTo>
                <a:close/>
                <a:moveTo>
                  <a:pt x="6558899" y="435303"/>
                </a:moveTo>
                <a:cubicBezTo>
                  <a:pt x="6563158" y="435303"/>
                  <a:pt x="6567019" y="435969"/>
                  <a:pt x="6570612" y="437965"/>
                </a:cubicBezTo>
                <a:cubicBezTo>
                  <a:pt x="6574340" y="439563"/>
                  <a:pt x="6577401" y="441693"/>
                  <a:pt x="6579930" y="444355"/>
                </a:cubicBezTo>
                <a:cubicBezTo>
                  <a:pt x="6582460" y="446884"/>
                  <a:pt x="6584590" y="450079"/>
                  <a:pt x="6586054" y="453673"/>
                </a:cubicBezTo>
                <a:cubicBezTo>
                  <a:pt x="6587518" y="457267"/>
                  <a:pt x="6588317" y="461128"/>
                  <a:pt x="6588317" y="465121"/>
                </a:cubicBezTo>
                <a:cubicBezTo>
                  <a:pt x="6588317" y="469248"/>
                  <a:pt x="6587518" y="473241"/>
                  <a:pt x="6586054" y="476835"/>
                </a:cubicBezTo>
                <a:cubicBezTo>
                  <a:pt x="6584457" y="480429"/>
                  <a:pt x="6582460" y="483492"/>
                  <a:pt x="6579930" y="486154"/>
                </a:cubicBezTo>
                <a:cubicBezTo>
                  <a:pt x="6577268" y="488817"/>
                  <a:pt x="6574207" y="490947"/>
                  <a:pt x="6570612" y="492411"/>
                </a:cubicBezTo>
                <a:cubicBezTo>
                  <a:pt x="6567019" y="493875"/>
                  <a:pt x="6563158" y="494674"/>
                  <a:pt x="6558899" y="494674"/>
                </a:cubicBezTo>
                <a:cubicBezTo>
                  <a:pt x="6549979" y="494674"/>
                  <a:pt x="6542658" y="491745"/>
                  <a:pt x="6537066" y="486154"/>
                </a:cubicBezTo>
                <a:cubicBezTo>
                  <a:pt x="6531476" y="480564"/>
                  <a:pt x="6528680" y="473507"/>
                  <a:pt x="6528680" y="464988"/>
                </a:cubicBezTo>
                <a:cubicBezTo>
                  <a:pt x="6528680" y="456735"/>
                  <a:pt x="6531476" y="449680"/>
                  <a:pt x="6537066" y="443956"/>
                </a:cubicBezTo>
                <a:cubicBezTo>
                  <a:pt x="6542658" y="438232"/>
                  <a:pt x="6549846" y="435303"/>
                  <a:pt x="6558899" y="435303"/>
                </a:cubicBezTo>
                <a:close/>
                <a:moveTo>
                  <a:pt x="6341253" y="435303"/>
                </a:moveTo>
                <a:cubicBezTo>
                  <a:pt x="6345513" y="435303"/>
                  <a:pt x="6349373" y="435969"/>
                  <a:pt x="6352968" y="437965"/>
                </a:cubicBezTo>
                <a:cubicBezTo>
                  <a:pt x="6356695" y="439563"/>
                  <a:pt x="6359757" y="441693"/>
                  <a:pt x="6362286" y="444355"/>
                </a:cubicBezTo>
                <a:cubicBezTo>
                  <a:pt x="6364815" y="446884"/>
                  <a:pt x="6366945" y="450079"/>
                  <a:pt x="6368409" y="453673"/>
                </a:cubicBezTo>
                <a:cubicBezTo>
                  <a:pt x="6369874" y="457267"/>
                  <a:pt x="6370672" y="461128"/>
                  <a:pt x="6370672" y="465121"/>
                </a:cubicBezTo>
                <a:cubicBezTo>
                  <a:pt x="6370672" y="469248"/>
                  <a:pt x="6369874" y="473242"/>
                  <a:pt x="6368409" y="476836"/>
                </a:cubicBezTo>
                <a:cubicBezTo>
                  <a:pt x="6366811" y="480430"/>
                  <a:pt x="6364815" y="483492"/>
                  <a:pt x="6362286" y="486154"/>
                </a:cubicBezTo>
                <a:cubicBezTo>
                  <a:pt x="6359623" y="488817"/>
                  <a:pt x="6356562" y="490947"/>
                  <a:pt x="6352968" y="492411"/>
                </a:cubicBezTo>
                <a:cubicBezTo>
                  <a:pt x="6349373" y="493875"/>
                  <a:pt x="6345513" y="494674"/>
                  <a:pt x="6341253" y="494674"/>
                </a:cubicBezTo>
                <a:cubicBezTo>
                  <a:pt x="6332335" y="494674"/>
                  <a:pt x="6325013" y="491745"/>
                  <a:pt x="6319421" y="486154"/>
                </a:cubicBezTo>
                <a:cubicBezTo>
                  <a:pt x="6313830" y="480564"/>
                  <a:pt x="6311035" y="473508"/>
                  <a:pt x="6311035" y="464988"/>
                </a:cubicBezTo>
                <a:cubicBezTo>
                  <a:pt x="6311035" y="456735"/>
                  <a:pt x="6313830" y="449680"/>
                  <a:pt x="6319421" y="443956"/>
                </a:cubicBezTo>
                <a:cubicBezTo>
                  <a:pt x="6325013" y="438232"/>
                  <a:pt x="6332201" y="435303"/>
                  <a:pt x="6341253" y="435303"/>
                </a:cubicBezTo>
                <a:close/>
                <a:moveTo>
                  <a:pt x="6776544" y="435303"/>
                </a:moveTo>
                <a:cubicBezTo>
                  <a:pt x="6780670" y="435303"/>
                  <a:pt x="6784664" y="435969"/>
                  <a:pt x="6788258" y="437965"/>
                </a:cubicBezTo>
                <a:cubicBezTo>
                  <a:pt x="6791985" y="439563"/>
                  <a:pt x="6795047" y="441693"/>
                  <a:pt x="6797576" y="444355"/>
                </a:cubicBezTo>
                <a:cubicBezTo>
                  <a:pt x="6800105" y="446884"/>
                  <a:pt x="6802235" y="450079"/>
                  <a:pt x="6803699" y="453673"/>
                </a:cubicBezTo>
                <a:cubicBezTo>
                  <a:pt x="6805164" y="457267"/>
                  <a:pt x="6805963" y="461128"/>
                  <a:pt x="6805963" y="465121"/>
                </a:cubicBezTo>
                <a:cubicBezTo>
                  <a:pt x="6805963" y="469248"/>
                  <a:pt x="6805164" y="473241"/>
                  <a:pt x="6803699" y="476835"/>
                </a:cubicBezTo>
                <a:cubicBezTo>
                  <a:pt x="6802102" y="480429"/>
                  <a:pt x="6800105" y="483492"/>
                  <a:pt x="6797576" y="486154"/>
                </a:cubicBezTo>
                <a:cubicBezTo>
                  <a:pt x="6794914" y="488816"/>
                  <a:pt x="6791852" y="490947"/>
                  <a:pt x="6788258" y="492411"/>
                </a:cubicBezTo>
                <a:cubicBezTo>
                  <a:pt x="6784664" y="493875"/>
                  <a:pt x="6780803" y="494674"/>
                  <a:pt x="6776544" y="494674"/>
                </a:cubicBezTo>
                <a:cubicBezTo>
                  <a:pt x="6767625" y="494674"/>
                  <a:pt x="6760303" y="491745"/>
                  <a:pt x="6754711" y="486154"/>
                </a:cubicBezTo>
                <a:cubicBezTo>
                  <a:pt x="6749121" y="480563"/>
                  <a:pt x="6746325" y="473507"/>
                  <a:pt x="6746325" y="464988"/>
                </a:cubicBezTo>
                <a:cubicBezTo>
                  <a:pt x="6746325" y="456735"/>
                  <a:pt x="6749121" y="449680"/>
                  <a:pt x="6754711" y="443956"/>
                </a:cubicBezTo>
                <a:cubicBezTo>
                  <a:pt x="6760303" y="438232"/>
                  <a:pt x="6767492" y="435303"/>
                  <a:pt x="6776544" y="435303"/>
                </a:cubicBezTo>
                <a:close/>
                <a:moveTo>
                  <a:pt x="6994056" y="435303"/>
                </a:moveTo>
                <a:cubicBezTo>
                  <a:pt x="6998315" y="435303"/>
                  <a:pt x="7002309" y="435968"/>
                  <a:pt x="7005769" y="437965"/>
                </a:cubicBezTo>
                <a:cubicBezTo>
                  <a:pt x="7009497" y="439563"/>
                  <a:pt x="7012558" y="441693"/>
                  <a:pt x="7015087" y="444355"/>
                </a:cubicBezTo>
                <a:cubicBezTo>
                  <a:pt x="7017617" y="446884"/>
                  <a:pt x="7019747" y="450079"/>
                  <a:pt x="7021211" y="453673"/>
                </a:cubicBezTo>
                <a:cubicBezTo>
                  <a:pt x="7022675" y="457267"/>
                  <a:pt x="7023474" y="461128"/>
                  <a:pt x="7023474" y="465121"/>
                </a:cubicBezTo>
                <a:cubicBezTo>
                  <a:pt x="7023474" y="469248"/>
                  <a:pt x="7022675" y="473241"/>
                  <a:pt x="7021211" y="476835"/>
                </a:cubicBezTo>
                <a:cubicBezTo>
                  <a:pt x="7019614" y="480429"/>
                  <a:pt x="7017617" y="483491"/>
                  <a:pt x="7015087" y="486154"/>
                </a:cubicBezTo>
                <a:cubicBezTo>
                  <a:pt x="7012425" y="488816"/>
                  <a:pt x="7009364" y="490946"/>
                  <a:pt x="7005769" y="492410"/>
                </a:cubicBezTo>
                <a:cubicBezTo>
                  <a:pt x="7002176" y="493875"/>
                  <a:pt x="6998315" y="494674"/>
                  <a:pt x="6994056" y="494674"/>
                </a:cubicBezTo>
                <a:cubicBezTo>
                  <a:pt x="6985136" y="494674"/>
                  <a:pt x="6977815" y="491744"/>
                  <a:pt x="6972223" y="486154"/>
                </a:cubicBezTo>
                <a:cubicBezTo>
                  <a:pt x="6966632" y="480563"/>
                  <a:pt x="6963837" y="473507"/>
                  <a:pt x="6963837" y="464988"/>
                </a:cubicBezTo>
                <a:cubicBezTo>
                  <a:pt x="6963837" y="456735"/>
                  <a:pt x="6966632" y="449680"/>
                  <a:pt x="6972223" y="443956"/>
                </a:cubicBezTo>
                <a:cubicBezTo>
                  <a:pt x="6977815" y="438231"/>
                  <a:pt x="6985003" y="435303"/>
                  <a:pt x="6994056" y="435303"/>
                </a:cubicBezTo>
                <a:close/>
                <a:moveTo>
                  <a:pt x="7211701" y="435302"/>
                </a:moveTo>
                <a:cubicBezTo>
                  <a:pt x="7215960" y="435302"/>
                  <a:pt x="7219954" y="435968"/>
                  <a:pt x="7223415" y="437964"/>
                </a:cubicBezTo>
                <a:cubicBezTo>
                  <a:pt x="7227142" y="439562"/>
                  <a:pt x="7230204" y="441692"/>
                  <a:pt x="7232733" y="444355"/>
                </a:cubicBezTo>
                <a:cubicBezTo>
                  <a:pt x="7235262" y="446884"/>
                  <a:pt x="7237392" y="450079"/>
                  <a:pt x="7238856" y="453673"/>
                </a:cubicBezTo>
                <a:cubicBezTo>
                  <a:pt x="7240321" y="457267"/>
                  <a:pt x="7241120" y="461128"/>
                  <a:pt x="7241120" y="465121"/>
                </a:cubicBezTo>
                <a:cubicBezTo>
                  <a:pt x="7241120" y="469248"/>
                  <a:pt x="7240321" y="473241"/>
                  <a:pt x="7238856" y="476835"/>
                </a:cubicBezTo>
                <a:cubicBezTo>
                  <a:pt x="7237259" y="480429"/>
                  <a:pt x="7235262" y="483491"/>
                  <a:pt x="7232733" y="486153"/>
                </a:cubicBezTo>
                <a:cubicBezTo>
                  <a:pt x="7230071" y="488816"/>
                  <a:pt x="7227009" y="490946"/>
                  <a:pt x="7223415" y="492410"/>
                </a:cubicBezTo>
                <a:cubicBezTo>
                  <a:pt x="7219821" y="493874"/>
                  <a:pt x="7215960" y="494673"/>
                  <a:pt x="7211701" y="494673"/>
                </a:cubicBezTo>
                <a:cubicBezTo>
                  <a:pt x="7202782" y="494673"/>
                  <a:pt x="7195460" y="491744"/>
                  <a:pt x="7189868" y="486153"/>
                </a:cubicBezTo>
                <a:cubicBezTo>
                  <a:pt x="7184278" y="480563"/>
                  <a:pt x="7181482" y="473507"/>
                  <a:pt x="7181482" y="464988"/>
                </a:cubicBezTo>
                <a:cubicBezTo>
                  <a:pt x="7181482" y="456735"/>
                  <a:pt x="7184278" y="449680"/>
                  <a:pt x="7189868" y="443955"/>
                </a:cubicBezTo>
                <a:cubicBezTo>
                  <a:pt x="7195460" y="438231"/>
                  <a:pt x="7202649" y="435302"/>
                  <a:pt x="7211701" y="435302"/>
                </a:cubicBezTo>
                <a:close/>
                <a:moveTo>
                  <a:pt x="7429345" y="435302"/>
                </a:moveTo>
                <a:cubicBezTo>
                  <a:pt x="7433605" y="435302"/>
                  <a:pt x="7437466" y="435968"/>
                  <a:pt x="7441059" y="437964"/>
                </a:cubicBezTo>
                <a:cubicBezTo>
                  <a:pt x="7444787" y="439562"/>
                  <a:pt x="7447848" y="441692"/>
                  <a:pt x="7450377" y="444354"/>
                </a:cubicBezTo>
                <a:cubicBezTo>
                  <a:pt x="7452907" y="446884"/>
                  <a:pt x="7455036" y="450079"/>
                  <a:pt x="7456501" y="453673"/>
                </a:cubicBezTo>
                <a:cubicBezTo>
                  <a:pt x="7457965" y="457267"/>
                  <a:pt x="7458764" y="461128"/>
                  <a:pt x="7458764" y="465121"/>
                </a:cubicBezTo>
                <a:cubicBezTo>
                  <a:pt x="7458764" y="469248"/>
                  <a:pt x="7457965" y="473241"/>
                  <a:pt x="7456501" y="476835"/>
                </a:cubicBezTo>
                <a:cubicBezTo>
                  <a:pt x="7454904" y="480429"/>
                  <a:pt x="7452907" y="483491"/>
                  <a:pt x="7450377" y="486153"/>
                </a:cubicBezTo>
                <a:cubicBezTo>
                  <a:pt x="7447715" y="488816"/>
                  <a:pt x="7444654" y="490946"/>
                  <a:pt x="7441059" y="492410"/>
                </a:cubicBezTo>
                <a:cubicBezTo>
                  <a:pt x="7437466" y="493874"/>
                  <a:pt x="7433605" y="494673"/>
                  <a:pt x="7429345" y="494673"/>
                </a:cubicBezTo>
                <a:cubicBezTo>
                  <a:pt x="7420426" y="494673"/>
                  <a:pt x="7413105" y="491744"/>
                  <a:pt x="7407513" y="486153"/>
                </a:cubicBezTo>
                <a:cubicBezTo>
                  <a:pt x="7401922" y="480563"/>
                  <a:pt x="7399127" y="473507"/>
                  <a:pt x="7399127" y="464988"/>
                </a:cubicBezTo>
                <a:cubicBezTo>
                  <a:pt x="7399127" y="456735"/>
                  <a:pt x="7401922" y="449680"/>
                  <a:pt x="7407513" y="443955"/>
                </a:cubicBezTo>
                <a:cubicBezTo>
                  <a:pt x="7413105" y="438231"/>
                  <a:pt x="7420293" y="435302"/>
                  <a:pt x="7429345" y="435302"/>
                </a:cubicBezTo>
                <a:close/>
                <a:moveTo>
                  <a:pt x="7646991" y="435302"/>
                </a:moveTo>
                <a:cubicBezTo>
                  <a:pt x="7651250" y="435302"/>
                  <a:pt x="7655111" y="435968"/>
                  <a:pt x="7658705" y="437964"/>
                </a:cubicBezTo>
                <a:cubicBezTo>
                  <a:pt x="7662432" y="439562"/>
                  <a:pt x="7665493" y="441692"/>
                  <a:pt x="7668022" y="444354"/>
                </a:cubicBezTo>
                <a:cubicBezTo>
                  <a:pt x="7670552" y="446883"/>
                  <a:pt x="7672682" y="450078"/>
                  <a:pt x="7674146" y="453672"/>
                </a:cubicBezTo>
                <a:cubicBezTo>
                  <a:pt x="7675610" y="457267"/>
                  <a:pt x="7676409" y="461128"/>
                  <a:pt x="7676409" y="465121"/>
                </a:cubicBezTo>
                <a:cubicBezTo>
                  <a:pt x="7676409" y="469248"/>
                  <a:pt x="7675610" y="473241"/>
                  <a:pt x="7674146" y="476835"/>
                </a:cubicBezTo>
                <a:cubicBezTo>
                  <a:pt x="7672549" y="480429"/>
                  <a:pt x="7670552" y="483491"/>
                  <a:pt x="7668022" y="486153"/>
                </a:cubicBezTo>
                <a:cubicBezTo>
                  <a:pt x="7665361" y="488816"/>
                  <a:pt x="7662299" y="490946"/>
                  <a:pt x="7658705" y="492410"/>
                </a:cubicBezTo>
                <a:cubicBezTo>
                  <a:pt x="7655111" y="493874"/>
                  <a:pt x="7651250" y="494673"/>
                  <a:pt x="7646991" y="494673"/>
                </a:cubicBezTo>
                <a:cubicBezTo>
                  <a:pt x="7638071" y="494673"/>
                  <a:pt x="7630750" y="491744"/>
                  <a:pt x="7625158" y="486153"/>
                </a:cubicBezTo>
                <a:cubicBezTo>
                  <a:pt x="7619568" y="480563"/>
                  <a:pt x="7616772" y="473507"/>
                  <a:pt x="7616772" y="464988"/>
                </a:cubicBezTo>
                <a:cubicBezTo>
                  <a:pt x="7616772" y="456735"/>
                  <a:pt x="7619568" y="449679"/>
                  <a:pt x="7625158" y="443955"/>
                </a:cubicBezTo>
                <a:cubicBezTo>
                  <a:pt x="7630750" y="438231"/>
                  <a:pt x="7637939" y="435302"/>
                  <a:pt x="7646991" y="435302"/>
                </a:cubicBezTo>
                <a:close/>
                <a:moveTo>
                  <a:pt x="7864636" y="435302"/>
                </a:moveTo>
                <a:cubicBezTo>
                  <a:pt x="7868762" y="435302"/>
                  <a:pt x="7872756" y="435968"/>
                  <a:pt x="7876483" y="437964"/>
                </a:cubicBezTo>
                <a:cubicBezTo>
                  <a:pt x="7880210" y="439562"/>
                  <a:pt x="7883272" y="441692"/>
                  <a:pt x="7885802" y="444354"/>
                </a:cubicBezTo>
                <a:cubicBezTo>
                  <a:pt x="7888331" y="446883"/>
                  <a:pt x="7890460" y="450078"/>
                  <a:pt x="7891924" y="453672"/>
                </a:cubicBezTo>
                <a:cubicBezTo>
                  <a:pt x="7893389" y="457266"/>
                  <a:pt x="7894188" y="461128"/>
                  <a:pt x="7894188" y="465121"/>
                </a:cubicBezTo>
                <a:cubicBezTo>
                  <a:pt x="7894188" y="469248"/>
                  <a:pt x="7893389" y="473241"/>
                  <a:pt x="7891924" y="476835"/>
                </a:cubicBezTo>
                <a:cubicBezTo>
                  <a:pt x="7890327" y="480429"/>
                  <a:pt x="7888331" y="483491"/>
                  <a:pt x="7885802" y="486153"/>
                </a:cubicBezTo>
                <a:cubicBezTo>
                  <a:pt x="7883139" y="488816"/>
                  <a:pt x="7880078" y="490946"/>
                  <a:pt x="7876483" y="492410"/>
                </a:cubicBezTo>
                <a:cubicBezTo>
                  <a:pt x="7872756" y="493874"/>
                  <a:pt x="7868895" y="494673"/>
                  <a:pt x="7864636" y="494673"/>
                </a:cubicBezTo>
                <a:cubicBezTo>
                  <a:pt x="7855717" y="494673"/>
                  <a:pt x="7848396" y="491744"/>
                  <a:pt x="7842803" y="486153"/>
                </a:cubicBezTo>
                <a:cubicBezTo>
                  <a:pt x="7837213" y="480563"/>
                  <a:pt x="7834417" y="473507"/>
                  <a:pt x="7834417" y="464988"/>
                </a:cubicBezTo>
                <a:cubicBezTo>
                  <a:pt x="7834417" y="456735"/>
                  <a:pt x="7837213" y="449679"/>
                  <a:pt x="7842803" y="443955"/>
                </a:cubicBezTo>
                <a:cubicBezTo>
                  <a:pt x="7848396" y="438231"/>
                  <a:pt x="7855584" y="435302"/>
                  <a:pt x="7864636" y="435302"/>
                </a:cubicBezTo>
                <a:close/>
                <a:moveTo>
                  <a:pt x="8082281" y="435302"/>
                </a:moveTo>
                <a:cubicBezTo>
                  <a:pt x="8086407" y="435302"/>
                  <a:pt x="8090401" y="435968"/>
                  <a:pt x="8094127" y="437964"/>
                </a:cubicBezTo>
                <a:cubicBezTo>
                  <a:pt x="8097855" y="439562"/>
                  <a:pt x="8100916" y="441692"/>
                  <a:pt x="8103446" y="444354"/>
                </a:cubicBezTo>
                <a:cubicBezTo>
                  <a:pt x="8105975" y="446883"/>
                  <a:pt x="8108104" y="450078"/>
                  <a:pt x="8109569" y="453672"/>
                </a:cubicBezTo>
                <a:cubicBezTo>
                  <a:pt x="8111033" y="457266"/>
                  <a:pt x="8111832" y="461127"/>
                  <a:pt x="8111832" y="465120"/>
                </a:cubicBezTo>
                <a:cubicBezTo>
                  <a:pt x="8111832" y="469248"/>
                  <a:pt x="8111033" y="473241"/>
                  <a:pt x="8109569" y="476835"/>
                </a:cubicBezTo>
                <a:cubicBezTo>
                  <a:pt x="8107972" y="480429"/>
                  <a:pt x="8105975" y="483491"/>
                  <a:pt x="8103446" y="486153"/>
                </a:cubicBezTo>
                <a:cubicBezTo>
                  <a:pt x="8100783" y="488816"/>
                  <a:pt x="8097722" y="490946"/>
                  <a:pt x="8094127" y="492410"/>
                </a:cubicBezTo>
                <a:cubicBezTo>
                  <a:pt x="8090401" y="493874"/>
                  <a:pt x="8086540" y="494673"/>
                  <a:pt x="8082281" y="494673"/>
                </a:cubicBezTo>
                <a:cubicBezTo>
                  <a:pt x="8073361" y="494673"/>
                  <a:pt x="8066040" y="491744"/>
                  <a:pt x="8060448" y="486153"/>
                </a:cubicBezTo>
                <a:cubicBezTo>
                  <a:pt x="8054857" y="480563"/>
                  <a:pt x="8052062" y="473507"/>
                  <a:pt x="8052062" y="464988"/>
                </a:cubicBezTo>
                <a:cubicBezTo>
                  <a:pt x="8052062" y="456734"/>
                  <a:pt x="8054857" y="449679"/>
                  <a:pt x="8060448" y="443955"/>
                </a:cubicBezTo>
                <a:cubicBezTo>
                  <a:pt x="8066040" y="438231"/>
                  <a:pt x="8073228" y="435302"/>
                  <a:pt x="8082281" y="435302"/>
                </a:cubicBezTo>
                <a:close/>
                <a:moveTo>
                  <a:pt x="8299793" y="435302"/>
                </a:moveTo>
                <a:cubicBezTo>
                  <a:pt x="8304052" y="435302"/>
                  <a:pt x="8308046" y="435968"/>
                  <a:pt x="8311507" y="437964"/>
                </a:cubicBezTo>
                <a:cubicBezTo>
                  <a:pt x="8315235" y="439562"/>
                  <a:pt x="8318296" y="441692"/>
                  <a:pt x="8320825" y="444354"/>
                </a:cubicBezTo>
                <a:cubicBezTo>
                  <a:pt x="8323354" y="446883"/>
                  <a:pt x="8325484" y="450078"/>
                  <a:pt x="8326948" y="453672"/>
                </a:cubicBezTo>
                <a:cubicBezTo>
                  <a:pt x="8328413" y="457266"/>
                  <a:pt x="8329212" y="461127"/>
                  <a:pt x="8329212" y="465120"/>
                </a:cubicBezTo>
                <a:cubicBezTo>
                  <a:pt x="8329212" y="469247"/>
                  <a:pt x="8328413" y="473241"/>
                  <a:pt x="8326948" y="476835"/>
                </a:cubicBezTo>
                <a:cubicBezTo>
                  <a:pt x="8325351" y="480429"/>
                  <a:pt x="8323354" y="483491"/>
                  <a:pt x="8320825" y="486153"/>
                </a:cubicBezTo>
                <a:cubicBezTo>
                  <a:pt x="8318163" y="488816"/>
                  <a:pt x="8315101" y="490946"/>
                  <a:pt x="8311507" y="492410"/>
                </a:cubicBezTo>
                <a:cubicBezTo>
                  <a:pt x="8307913" y="493874"/>
                  <a:pt x="8304052" y="494673"/>
                  <a:pt x="8299793" y="494673"/>
                </a:cubicBezTo>
                <a:cubicBezTo>
                  <a:pt x="8290874" y="494673"/>
                  <a:pt x="8283553" y="491744"/>
                  <a:pt x="8277960" y="486153"/>
                </a:cubicBezTo>
                <a:cubicBezTo>
                  <a:pt x="8272370" y="480563"/>
                  <a:pt x="8269574" y="473507"/>
                  <a:pt x="8269574" y="464987"/>
                </a:cubicBezTo>
                <a:cubicBezTo>
                  <a:pt x="8269574" y="456734"/>
                  <a:pt x="8272370" y="449679"/>
                  <a:pt x="8277960" y="443955"/>
                </a:cubicBezTo>
                <a:cubicBezTo>
                  <a:pt x="8283553" y="438231"/>
                  <a:pt x="8290741" y="435302"/>
                  <a:pt x="8299793" y="435302"/>
                </a:cubicBezTo>
                <a:close/>
                <a:moveTo>
                  <a:pt x="8517438" y="435302"/>
                </a:moveTo>
                <a:cubicBezTo>
                  <a:pt x="8521698" y="435302"/>
                  <a:pt x="8525559" y="435968"/>
                  <a:pt x="8529152" y="437964"/>
                </a:cubicBezTo>
                <a:cubicBezTo>
                  <a:pt x="8532880" y="439562"/>
                  <a:pt x="8535941" y="441692"/>
                  <a:pt x="8538470" y="444354"/>
                </a:cubicBezTo>
                <a:cubicBezTo>
                  <a:pt x="8541000" y="446883"/>
                  <a:pt x="8543130" y="450078"/>
                  <a:pt x="8544594" y="453672"/>
                </a:cubicBezTo>
                <a:cubicBezTo>
                  <a:pt x="8546058" y="457266"/>
                  <a:pt x="8546857" y="461127"/>
                  <a:pt x="8546857" y="465120"/>
                </a:cubicBezTo>
                <a:cubicBezTo>
                  <a:pt x="8546857" y="469247"/>
                  <a:pt x="8546058" y="473240"/>
                  <a:pt x="8544594" y="476835"/>
                </a:cubicBezTo>
                <a:cubicBezTo>
                  <a:pt x="8542997" y="480429"/>
                  <a:pt x="8541000" y="483491"/>
                  <a:pt x="8538470" y="486153"/>
                </a:cubicBezTo>
                <a:cubicBezTo>
                  <a:pt x="8535808" y="488816"/>
                  <a:pt x="8532747" y="490946"/>
                  <a:pt x="8529152" y="492410"/>
                </a:cubicBezTo>
                <a:cubicBezTo>
                  <a:pt x="8525559" y="493874"/>
                  <a:pt x="8521698" y="494673"/>
                  <a:pt x="8517438" y="494673"/>
                </a:cubicBezTo>
                <a:cubicBezTo>
                  <a:pt x="8508385" y="494673"/>
                  <a:pt x="8501197" y="491744"/>
                  <a:pt x="8495606" y="486153"/>
                </a:cubicBezTo>
                <a:cubicBezTo>
                  <a:pt x="8490015" y="480563"/>
                  <a:pt x="8487220" y="473506"/>
                  <a:pt x="8487220" y="464987"/>
                </a:cubicBezTo>
                <a:cubicBezTo>
                  <a:pt x="8487220" y="456734"/>
                  <a:pt x="8490015" y="449679"/>
                  <a:pt x="8495606" y="443955"/>
                </a:cubicBezTo>
                <a:cubicBezTo>
                  <a:pt x="8501197" y="438231"/>
                  <a:pt x="8508385" y="435302"/>
                  <a:pt x="8517438" y="435302"/>
                </a:cubicBezTo>
                <a:close/>
                <a:moveTo>
                  <a:pt x="8735083" y="435302"/>
                </a:moveTo>
                <a:cubicBezTo>
                  <a:pt x="8739342" y="435302"/>
                  <a:pt x="8743203" y="435968"/>
                  <a:pt x="8746797" y="437964"/>
                </a:cubicBezTo>
                <a:cubicBezTo>
                  <a:pt x="8750391" y="439562"/>
                  <a:pt x="8753586" y="441692"/>
                  <a:pt x="8756115" y="444354"/>
                </a:cubicBezTo>
                <a:cubicBezTo>
                  <a:pt x="8758644" y="446883"/>
                  <a:pt x="8760774" y="450078"/>
                  <a:pt x="8762238" y="453672"/>
                </a:cubicBezTo>
                <a:cubicBezTo>
                  <a:pt x="8763702" y="457266"/>
                  <a:pt x="8764502" y="461127"/>
                  <a:pt x="8764502" y="465120"/>
                </a:cubicBezTo>
                <a:cubicBezTo>
                  <a:pt x="8764502" y="469247"/>
                  <a:pt x="8763702" y="473240"/>
                  <a:pt x="8762238" y="476834"/>
                </a:cubicBezTo>
                <a:cubicBezTo>
                  <a:pt x="8760641" y="480428"/>
                  <a:pt x="8758644" y="483491"/>
                  <a:pt x="8756115" y="486153"/>
                </a:cubicBezTo>
                <a:cubicBezTo>
                  <a:pt x="8753453" y="488815"/>
                  <a:pt x="8750391" y="490946"/>
                  <a:pt x="8746797" y="492410"/>
                </a:cubicBezTo>
                <a:cubicBezTo>
                  <a:pt x="8743203" y="493874"/>
                  <a:pt x="8739342" y="494673"/>
                  <a:pt x="8735083" y="494673"/>
                </a:cubicBezTo>
                <a:cubicBezTo>
                  <a:pt x="8726030" y="494673"/>
                  <a:pt x="8718841" y="491744"/>
                  <a:pt x="8713250" y="486153"/>
                </a:cubicBezTo>
                <a:cubicBezTo>
                  <a:pt x="8707660" y="480563"/>
                  <a:pt x="8704864" y="473506"/>
                  <a:pt x="8704864" y="464987"/>
                </a:cubicBezTo>
                <a:cubicBezTo>
                  <a:pt x="8704864" y="456734"/>
                  <a:pt x="8707660" y="449679"/>
                  <a:pt x="8713250" y="443955"/>
                </a:cubicBezTo>
                <a:cubicBezTo>
                  <a:pt x="8718841" y="438231"/>
                  <a:pt x="8726030" y="435302"/>
                  <a:pt x="8735083" y="435302"/>
                </a:cubicBezTo>
                <a:close/>
                <a:moveTo>
                  <a:pt x="8952728" y="435302"/>
                </a:moveTo>
                <a:cubicBezTo>
                  <a:pt x="8956988" y="435302"/>
                  <a:pt x="8960849" y="435968"/>
                  <a:pt x="8964442" y="437964"/>
                </a:cubicBezTo>
                <a:cubicBezTo>
                  <a:pt x="8968037" y="439562"/>
                  <a:pt x="8971231" y="441692"/>
                  <a:pt x="8973760" y="444354"/>
                </a:cubicBezTo>
                <a:cubicBezTo>
                  <a:pt x="8976290" y="446883"/>
                  <a:pt x="8978419" y="450078"/>
                  <a:pt x="8979884" y="453672"/>
                </a:cubicBezTo>
                <a:cubicBezTo>
                  <a:pt x="8981348" y="457266"/>
                  <a:pt x="8982147" y="461127"/>
                  <a:pt x="8982147" y="465120"/>
                </a:cubicBezTo>
                <a:cubicBezTo>
                  <a:pt x="8982147" y="469247"/>
                  <a:pt x="8981348" y="473240"/>
                  <a:pt x="8979884" y="476834"/>
                </a:cubicBezTo>
                <a:cubicBezTo>
                  <a:pt x="8978287" y="480428"/>
                  <a:pt x="8976290" y="483490"/>
                  <a:pt x="8973760" y="486153"/>
                </a:cubicBezTo>
                <a:cubicBezTo>
                  <a:pt x="8971098" y="488815"/>
                  <a:pt x="8968037" y="490946"/>
                  <a:pt x="8964442" y="492410"/>
                </a:cubicBezTo>
                <a:cubicBezTo>
                  <a:pt x="8960849" y="493874"/>
                  <a:pt x="8956988" y="494673"/>
                  <a:pt x="8952728" y="494673"/>
                </a:cubicBezTo>
                <a:cubicBezTo>
                  <a:pt x="8943808" y="494673"/>
                  <a:pt x="8936487" y="491744"/>
                  <a:pt x="8930896" y="486153"/>
                </a:cubicBezTo>
                <a:cubicBezTo>
                  <a:pt x="8925305" y="480562"/>
                  <a:pt x="8922510" y="473506"/>
                  <a:pt x="8922510" y="464987"/>
                </a:cubicBezTo>
                <a:cubicBezTo>
                  <a:pt x="8922510" y="456734"/>
                  <a:pt x="8925305" y="449679"/>
                  <a:pt x="8930896" y="443955"/>
                </a:cubicBezTo>
                <a:cubicBezTo>
                  <a:pt x="8936487" y="438231"/>
                  <a:pt x="8943675" y="435302"/>
                  <a:pt x="8952728" y="435302"/>
                </a:cubicBezTo>
                <a:close/>
                <a:moveTo>
                  <a:pt x="9170374" y="435301"/>
                </a:moveTo>
                <a:cubicBezTo>
                  <a:pt x="9174500" y="435301"/>
                  <a:pt x="9178494" y="435968"/>
                  <a:pt x="9182088" y="437963"/>
                </a:cubicBezTo>
                <a:cubicBezTo>
                  <a:pt x="9185682" y="439562"/>
                  <a:pt x="9188876" y="441692"/>
                  <a:pt x="9191405" y="444354"/>
                </a:cubicBezTo>
                <a:cubicBezTo>
                  <a:pt x="9193935" y="446883"/>
                  <a:pt x="9196065" y="450078"/>
                  <a:pt x="9197529" y="453672"/>
                </a:cubicBezTo>
                <a:cubicBezTo>
                  <a:pt x="9198993" y="457266"/>
                  <a:pt x="9199792" y="461127"/>
                  <a:pt x="9199792" y="465120"/>
                </a:cubicBezTo>
                <a:cubicBezTo>
                  <a:pt x="9199792" y="469247"/>
                  <a:pt x="9198993" y="473240"/>
                  <a:pt x="9197529" y="476834"/>
                </a:cubicBezTo>
                <a:cubicBezTo>
                  <a:pt x="9195932" y="480428"/>
                  <a:pt x="9193935" y="483490"/>
                  <a:pt x="9191405" y="486152"/>
                </a:cubicBezTo>
                <a:cubicBezTo>
                  <a:pt x="9188744" y="488815"/>
                  <a:pt x="9185682" y="490945"/>
                  <a:pt x="9182088" y="492409"/>
                </a:cubicBezTo>
                <a:cubicBezTo>
                  <a:pt x="9178494" y="493874"/>
                  <a:pt x="9174633" y="494673"/>
                  <a:pt x="9170374" y="494673"/>
                </a:cubicBezTo>
                <a:cubicBezTo>
                  <a:pt x="9161453" y="494673"/>
                  <a:pt x="9154132" y="491743"/>
                  <a:pt x="9148541" y="486152"/>
                </a:cubicBezTo>
                <a:cubicBezTo>
                  <a:pt x="9142951" y="480562"/>
                  <a:pt x="9140155" y="473506"/>
                  <a:pt x="9140155" y="464987"/>
                </a:cubicBezTo>
                <a:cubicBezTo>
                  <a:pt x="9140155" y="456734"/>
                  <a:pt x="9142951" y="449679"/>
                  <a:pt x="9148541" y="443955"/>
                </a:cubicBezTo>
                <a:cubicBezTo>
                  <a:pt x="9154132" y="438231"/>
                  <a:pt x="9161321" y="435301"/>
                  <a:pt x="9170374" y="435301"/>
                </a:cubicBezTo>
                <a:close/>
                <a:moveTo>
                  <a:pt x="9387885" y="435301"/>
                </a:moveTo>
                <a:cubicBezTo>
                  <a:pt x="9392145" y="435301"/>
                  <a:pt x="9396138" y="435967"/>
                  <a:pt x="9399599" y="437963"/>
                </a:cubicBezTo>
                <a:cubicBezTo>
                  <a:pt x="9403194" y="439561"/>
                  <a:pt x="9406388" y="441692"/>
                  <a:pt x="9408917" y="444354"/>
                </a:cubicBezTo>
                <a:cubicBezTo>
                  <a:pt x="9411447" y="446883"/>
                  <a:pt x="9413576" y="450078"/>
                  <a:pt x="9415041" y="453672"/>
                </a:cubicBezTo>
                <a:cubicBezTo>
                  <a:pt x="9416505" y="457266"/>
                  <a:pt x="9417304" y="461127"/>
                  <a:pt x="9417304" y="465120"/>
                </a:cubicBezTo>
                <a:cubicBezTo>
                  <a:pt x="9417304" y="469247"/>
                  <a:pt x="9416505" y="473240"/>
                  <a:pt x="9415041" y="476834"/>
                </a:cubicBezTo>
                <a:cubicBezTo>
                  <a:pt x="9413444" y="480428"/>
                  <a:pt x="9411447" y="483490"/>
                  <a:pt x="9408917" y="486152"/>
                </a:cubicBezTo>
                <a:cubicBezTo>
                  <a:pt x="9406255" y="488815"/>
                  <a:pt x="9403194" y="490945"/>
                  <a:pt x="9399599" y="492409"/>
                </a:cubicBezTo>
                <a:cubicBezTo>
                  <a:pt x="9396005" y="493874"/>
                  <a:pt x="9392145" y="494672"/>
                  <a:pt x="9387885" y="494672"/>
                </a:cubicBezTo>
                <a:cubicBezTo>
                  <a:pt x="9378965" y="494672"/>
                  <a:pt x="9371644" y="491743"/>
                  <a:pt x="9366053" y="486152"/>
                </a:cubicBezTo>
                <a:cubicBezTo>
                  <a:pt x="9360462" y="480562"/>
                  <a:pt x="9357667" y="473506"/>
                  <a:pt x="9357667" y="464987"/>
                </a:cubicBezTo>
                <a:cubicBezTo>
                  <a:pt x="9357667" y="456734"/>
                  <a:pt x="9360462" y="449679"/>
                  <a:pt x="9366053" y="443954"/>
                </a:cubicBezTo>
                <a:cubicBezTo>
                  <a:pt x="9371644" y="438230"/>
                  <a:pt x="9378832" y="435301"/>
                  <a:pt x="9387885" y="435301"/>
                </a:cubicBezTo>
                <a:close/>
                <a:moveTo>
                  <a:pt x="9605531" y="435301"/>
                </a:moveTo>
                <a:cubicBezTo>
                  <a:pt x="9609790" y="435301"/>
                  <a:pt x="9613784" y="435967"/>
                  <a:pt x="9617245" y="437963"/>
                </a:cubicBezTo>
                <a:cubicBezTo>
                  <a:pt x="9620839" y="439561"/>
                  <a:pt x="9624033" y="441691"/>
                  <a:pt x="9626562" y="444353"/>
                </a:cubicBezTo>
                <a:cubicBezTo>
                  <a:pt x="9629092" y="446883"/>
                  <a:pt x="9631222" y="450078"/>
                  <a:pt x="9632686" y="453672"/>
                </a:cubicBezTo>
                <a:cubicBezTo>
                  <a:pt x="9634150" y="457266"/>
                  <a:pt x="9634949" y="461127"/>
                  <a:pt x="9634949" y="465120"/>
                </a:cubicBezTo>
                <a:cubicBezTo>
                  <a:pt x="9634949" y="469247"/>
                  <a:pt x="9634150" y="473240"/>
                  <a:pt x="9632686" y="476834"/>
                </a:cubicBezTo>
                <a:cubicBezTo>
                  <a:pt x="9631089" y="480428"/>
                  <a:pt x="9629092" y="483490"/>
                  <a:pt x="9626562" y="486152"/>
                </a:cubicBezTo>
                <a:cubicBezTo>
                  <a:pt x="9623901" y="488815"/>
                  <a:pt x="9620839" y="490945"/>
                  <a:pt x="9617245" y="492409"/>
                </a:cubicBezTo>
                <a:cubicBezTo>
                  <a:pt x="9613651" y="493873"/>
                  <a:pt x="9609790" y="494672"/>
                  <a:pt x="9605531" y="494672"/>
                </a:cubicBezTo>
                <a:cubicBezTo>
                  <a:pt x="9596610" y="494672"/>
                  <a:pt x="9589289" y="491743"/>
                  <a:pt x="9583698" y="486152"/>
                </a:cubicBezTo>
                <a:cubicBezTo>
                  <a:pt x="9578108" y="480562"/>
                  <a:pt x="9575312" y="473506"/>
                  <a:pt x="9575312" y="464987"/>
                </a:cubicBezTo>
                <a:cubicBezTo>
                  <a:pt x="9575312" y="456734"/>
                  <a:pt x="9578108" y="449679"/>
                  <a:pt x="9583698" y="443954"/>
                </a:cubicBezTo>
                <a:cubicBezTo>
                  <a:pt x="9589289" y="438230"/>
                  <a:pt x="9596478" y="435301"/>
                  <a:pt x="9605531" y="435301"/>
                </a:cubicBezTo>
                <a:close/>
                <a:moveTo>
                  <a:pt x="9823176" y="435301"/>
                </a:moveTo>
                <a:cubicBezTo>
                  <a:pt x="9827435" y="435301"/>
                  <a:pt x="9831296" y="435967"/>
                  <a:pt x="9834890" y="437963"/>
                </a:cubicBezTo>
                <a:cubicBezTo>
                  <a:pt x="9838617" y="439561"/>
                  <a:pt x="9841679" y="441691"/>
                  <a:pt x="9844208" y="444353"/>
                </a:cubicBezTo>
                <a:cubicBezTo>
                  <a:pt x="9846737" y="446882"/>
                  <a:pt x="9848867" y="450077"/>
                  <a:pt x="9850331" y="453672"/>
                </a:cubicBezTo>
                <a:cubicBezTo>
                  <a:pt x="9851796" y="457266"/>
                  <a:pt x="9852595" y="461127"/>
                  <a:pt x="9852595" y="465120"/>
                </a:cubicBezTo>
                <a:cubicBezTo>
                  <a:pt x="9852595" y="469247"/>
                  <a:pt x="9851796" y="473240"/>
                  <a:pt x="9850331" y="476834"/>
                </a:cubicBezTo>
                <a:cubicBezTo>
                  <a:pt x="9848734" y="480428"/>
                  <a:pt x="9846737" y="483490"/>
                  <a:pt x="9844208" y="486152"/>
                </a:cubicBezTo>
                <a:cubicBezTo>
                  <a:pt x="9841546" y="488815"/>
                  <a:pt x="9838484" y="490945"/>
                  <a:pt x="9834890" y="492409"/>
                </a:cubicBezTo>
                <a:cubicBezTo>
                  <a:pt x="9831296" y="493873"/>
                  <a:pt x="9827435" y="494672"/>
                  <a:pt x="9823176" y="494672"/>
                </a:cubicBezTo>
                <a:cubicBezTo>
                  <a:pt x="9814123" y="494672"/>
                  <a:pt x="9806935" y="491743"/>
                  <a:pt x="9801343" y="486152"/>
                </a:cubicBezTo>
                <a:cubicBezTo>
                  <a:pt x="9795753" y="480562"/>
                  <a:pt x="9792957" y="473506"/>
                  <a:pt x="9792957" y="464987"/>
                </a:cubicBezTo>
                <a:cubicBezTo>
                  <a:pt x="9792957" y="456734"/>
                  <a:pt x="9795753" y="449678"/>
                  <a:pt x="9801343" y="443954"/>
                </a:cubicBezTo>
                <a:cubicBezTo>
                  <a:pt x="9806935" y="438230"/>
                  <a:pt x="9814123" y="435301"/>
                  <a:pt x="9823176" y="435301"/>
                </a:cubicBezTo>
                <a:close/>
                <a:moveTo>
                  <a:pt x="10040820" y="435301"/>
                </a:moveTo>
                <a:cubicBezTo>
                  <a:pt x="10045080" y="435301"/>
                  <a:pt x="10048941" y="435967"/>
                  <a:pt x="10052534" y="437963"/>
                </a:cubicBezTo>
                <a:cubicBezTo>
                  <a:pt x="10056129" y="439561"/>
                  <a:pt x="10059323" y="441691"/>
                  <a:pt x="10061852" y="444353"/>
                </a:cubicBezTo>
                <a:cubicBezTo>
                  <a:pt x="10064382" y="446882"/>
                  <a:pt x="10066512" y="450077"/>
                  <a:pt x="10067976" y="453671"/>
                </a:cubicBezTo>
                <a:cubicBezTo>
                  <a:pt x="10069440" y="457265"/>
                  <a:pt x="10070239" y="461126"/>
                  <a:pt x="10070239" y="465120"/>
                </a:cubicBezTo>
                <a:cubicBezTo>
                  <a:pt x="10070239" y="469247"/>
                  <a:pt x="10069440" y="473240"/>
                  <a:pt x="10067976" y="476834"/>
                </a:cubicBezTo>
                <a:cubicBezTo>
                  <a:pt x="10066379" y="480428"/>
                  <a:pt x="10064382" y="483490"/>
                  <a:pt x="10061852" y="486152"/>
                </a:cubicBezTo>
                <a:cubicBezTo>
                  <a:pt x="10059190" y="488815"/>
                  <a:pt x="10056129" y="490945"/>
                  <a:pt x="10052534" y="492409"/>
                </a:cubicBezTo>
                <a:cubicBezTo>
                  <a:pt x="10048941" y="493873"/>
                  <a:pt x="10045080" y="494672"/>
                  <a:pt x="10040820" y="494672"/>
                </a:cubicBezTo>
                <a:cubicBezTo>
                  <a:pt x="10031767" y="494672"/>
                  <a:pt x="10024579" y="491743"/>
                  <a:pt x="10018988" y="486152"/>
                </a:cubicBezTo>
                <a:cubicBezTo>
                  <a:pt x="10013397" y="480562"/>
                  <a:pt x="10010602" y="473506"/>
                  <a:pt x="10010602" y="464987"/>
                </a:cubicBezTo>
                <a:cubicBezTo>
                  <a:pt x="10010602" y="456734"/>
                  <a:pt x="10013397" y="449678"/>
                  <a:pt x="10018988" y="443954"/>
                </a:cubicBezTo>
                <a:cubicBezTo>
                  <a:pt x="10024579" y="438230"/>
                  <a:pt x="10031767" y="435301"/>
                  <a:pt x="10040820" y="435301"/>
                </a:cubicBezTo>
                <a:close/>
                <a:moveTo>
                  <a:pt x="10258466" y="435301"/>
                </a:moveTo>
                <a:cubicBezTo>
                  <a:pt x="10262592" y="435301"/>
                  <a:pt x="10266586" y="435967"/>
                  <a:pt x="10270313" y="437963"/>
                </a:cubicBezTo>
                <a:cubicBezTo>
                  <a:pt x="10273907" y="439561"/>
                  <a:pt x="10277101" y="441691"/>
                  <a:pt x="10279631" y="444353"/>
                </a:cubicBezTo>
                <a:cubicBezTo>
                  <a:pt x="10282160" y="446882"/>
                  <a:pt x="10284290" y="450077"/>
                  <a:pt x="10285754" y="453671"/>
                </a:cubicBezTo>
                <a:cubicBezTo>
                  <a:pt x="10287218" y="457265"/>
                  <a:pt x="10288017" y="461126"/>
                  <a:pt x="10288017" y="465119"/>
                </a:cubicBezTo>
                <a:cubicBezTo>
                  <a:pt x="10288017" y="469246"/>
                  <a:pt x="10287218" y="473240"/>
                  <a:pt x="10285754" y="476834"/>
                </a:cubicBezTo>
                <a:cubicBezTo>
                  <a:pt x="10284157" y="480428"/>
                  <a:pt x="10282160" y="483490"/>
                  <a:pt x="10279631" y="486152"/>
                </a:cubicBezTo>
                <a:cubicBezTo>
                  <a:pt x="10276969" y="488815"/>
                  <a:pt x="10273907" y="490945"/>
                  <a:pt x="10270313" y="492409"/>
                </a:cubicBezTo>
                <a:cubicBezTo>
                  <a:pt x="10266586" y="493873"/>
                  <a:pt x="10262725" y="494672"/>
                  <a:pt x="10258466" y="494672"/>
                </a:cubicBezTo>
                <a:cubicBezTo>
                  <a:pt x="10249546" y="494672"/>
                  <a:pt x="10242224" y="491743"/>
                  <a:pt x="10236633" y="486152"/>
                </a:cubicBezTo>
                <a:cubicBezTo>
                  <a:pt x="10231043" y="480562"/>
                  <a:pt x="10228247" y="473506"/>
                  <a:pt x="10228247" y="464986"/>
                </a:cubicBezTo>
                <a:cubicBezTo>
                  <a:pt x="10228247" y="456733"/>
                  <a:pt x="10231043" y="449678"/>
                  <a:pt x="10236633" y="443954"/>
                </a:cubicBezTo>
                <a:cubicBezTo>
                  <a:pt x="10242092" y="438230"/>
                  <a:pt x="10249413" y="435301"/>
                  <a:pt x="10258466" y="435301"/>
                </a:cubicBezTo>
                <a:close/>
                <a:moveTo>
                  <a:pt x="10475977" y="435301"/>
                </a:moveTo>
                <a:cubicBezTo>
                  <a:pt x="10480237" y="435301"/>
                  <a:pt x="10484230" y="435967"/>
                  <a:pt x="10487824" y="437963"/>
                </a:cubicBezTo>
                <a:cubicBezTo>
                  <a:pt x="10491419" y="439561"/>
                  <a:pt x="10494613" y="441691"/>
                  <a:pt x="10497143" y="444353"/>
                </a:cubicBezTo>
                <a:cubicBezTo>
                  <a:pt x="10499672" y="446882"/>
                  <a:pt x="10501801" y="450077"/>
                  <a:pt x="10503266" y="453671"/>
                </a:cubicBezTo>
                <a:cubicBezTo>
                  <a:pt x="10504730" y="457265"/>
                  <a:pt x="10505529" y="461126"/>
                  <a:pt x="10505529" y="465119"/>
                </a:cubicBezTo>
                <a:cubicBezTo>
                  <a:pt x="10505529" y="469246"/>
                  <a:pt x="10504730" y="473239"/>
                  <a:pt x="10503266" y="476834"/>
                </a:cubicBezTo>
                <a:cubicBezTo>
                  <a:pt x="10501669" y="480428"/>
                  <a:pt x="10499672" y="483490"/>
                  <a:pt x="10497143" y="486152"/>
                </a:cubicBezTo>
                <a:cubicBezTo>
                  <a:pt x="10494480" y="488815"/>
                  <a:pt x="10491419" y="490945"/>
                  <a:pt x="10487824" y="492409"/>
                </a:cubicBezTo>
                <a:cubicBezTo>
                  <a:pt x="10484098" y="493873"/>
                  <a:pt x="10480237" y="494672"/>
                  <a:pt x="10475977" y="494672"/>
                </a:cubicBezTo>
                <a:cubicBezTo>
                  <a:pt x="10466924" y="494672"/>
                  <a:pt x="10459736" y="491743"/>
                  <a:pt x="10454145" y="486152"/>
                </a:cubicBezTo>
                <a:cubicBezTo>
                  <a:pt x="10448554" y="480562"/>
                  <a:pt x="10445759" y="473506"/>
                  <a:pt x="10445759" y="464986"/>
                </a:cubicBezTo>
                <a:cubicBezTo>
                  <a:pt x="10445759" y="456733"/>
                  <a:pt x="10448554" y="449678"/>
                  <a:pt x="10454145" y="443954"/>
                </a:cubicBezTo>
                <a:cubicBezTo>
                  <a:pt x="10459603" y="438230"/>
                  <a:pt x="10466924" y="435301"/>
                  <a:pt x="10475977" y="435301"/>
                </a:cubicBezTo>
                <a:close/>
                <a:moveTo>
                  <a:pt x="30225" y="234162"/>
                </a:moveTo>
                <a:cubicBezTo>
                  <a:pt x="24368" y="234162"/>
                  <a:pt x="21838" y="236159"/>
                  <a:pt x="20241" y="237757"/>
                </a:cubicBezTo>
                <a:cubicBezTo>
                  <a:pt x="17712" y="240419"/>
                  <a:pt x="16647" y="243214"/>
                  <a:pt x="16647" y="247208"/>
                </a:cubicBezTo>
                <a:cubicBezTo>
                  <a:pt x="16647" y="251334"/>
                  <a:pt x="17712" y="254263"/>
                  <a:pt x="20241" y="256792"/>
                </a:cubicBezTo>
                <a:cubicBezTo>
                  <a:pt x="21838" y="258390"/>
                  <a:pt x="24368" y="260253"/>
                  <a:pt x="30225" y="260253"/>
                </a:cubicBezTo>
                <a:cubicBezTo>
                  <a:pt x="32355" y="260253"/>
                  <a:pt x="34086" y="259988"/>
                  <a:pt x="35550" y="259321"/>
                </a:cubicBezTo>
                <a:cubicBezTo>
                  <a:pt x="37014" y="258789"/>
                  <a:pt x="38346" y="257990"/>
                  <a:pt x="39277" y="256925"/>
                </a:cubicBezTo>
                <a:cubicBezTo>
                  <a:pt x="40342" y="255727"/>
                  <a:pt x="41274" y="254396"/>
                  <a:pt x="41940" y="252666"/>
                </a:cubicBezTo>
                <a:cubicBezTo>
                  <a:pt x="42605" y="251068"/>
                  <a:pt x="42871" y="249205"/>
                  <a:pt x="42871" y="247208"/>
                </a:cubicBezTo>
                <a:cubicBezTo>
                  <a:pt x="42871" y="245344"/>
                  <a:pt x="42605" y="243614"/>
                  <a:pt x="41940" y="242016"/>
                </a:cubicBezTo>
                <a:cubicBezTo>
                  <a:pt x="41274" y="240419"/>
                  <a:pt x="40342" y="239088"/>
                  <a:pt x="39277" y="237890"/>
                </a:cubicBezTo>
                <a:cubicBezTo>
                  <a:pt x="38212" y="236825"/>
                  <a:pt x="36881" y="235893"/>
                  <a:pt x="35284" y="235227"/>
                </a:cubicBezTo>
                <a:cubicBezTo>
                  <a:pt x="33820" y="234562"/>
                  <a:pt x="32222" y="234162"/>
                  <a:pt x="30225" y="234162"/>
                </a:cubicBezTo>
                <a:close/>
                <a:moveTo>
                  <a:pt x="247869" y="234162"/>
                </a:moveTo>
                <a:cubicBezTo>
                  <a:pt x="242012" y="234162"/>
                  <a:pt x="239483" y="236159"/>
                  <a:pt x="237886" y="237757"/>
                </a:cubicBezTo>
                <a:cubicBezTo>
                  <a:pt x="235356" y="240419"/>
                  <a:pt x="234292" y="243214"/>
                  <a:pt x="234292" y="247208"/>
                </a:cubicBezTo>
                <a:cubicBezTo>
                  <a:pt x="234292" y="251334"/>
                  <a:pt x="235356" y="254263"/>
                  <a:pt x="237886" y="256792"/>
                </a:cubicBezTo>
                <a:cubicBezTo>
                  <a:pt x="239483" y="258390"/>
                  <a:pt x="242012" y="260253"/>
                  <a:pt x="247869" y="260253"/>
                </a:cubicBezTo>
                <a:cubicBezTo>
                  <a:pt x="249999" y="260253"/>
                  <a:pt x="251730" y="259987"/>
                  <a:pt x="253194" y="259321"/>
                </a:cubicBezTo>
                <a:cubicBezTo>
                  <a:pt x="254658" y="258789"/>
                  <a:pt x="255989" y="257990"/>
                  <a:pt x="256921" y="256925"/>
                </a:cubicBezTo>
                <a:cubicBezTo>
                  <a:pt x="257986" y="255727"/>
                  <a:pt x="258918" y="254396"/>
                  <a:pt x="259584" y="252666"/>
                </a:cubicBezTo>
                <a:cubicBezTo>
                  <a:pt x="260249" y="251068"/>
                  <a:pt x="260649" y="249205"/>
                  <a:pt x="260649" y="247208"/>
                </a:cubicBezTo>
                <a:cubicBezTo>
                  <a:pt x="260649" y="245344"/>
                  <a:pt x="260249" y="243614"/>
                  <a:pt x="259584" y="242016"/>
                </a:cubicBezTo>
                <a:cubicBezTo>
                  <a:pt x="258918" y="240419"/>
                  <a:pt x="257986" y="239088"/>
                  <a:pt x="256921" y="237890"/>
                </a:cubicBezTo>
                <a:cubicBezTo>
                  <a:pt x="255856" y="236825"/>
                  <a:pt x="254525" y="235893"/>
                  <a:pt x="252928" y="235227"/>
                </a:cubicBezTo>
                <a:cubicBezTo>
                  <a:pt x="251463" y="234562"/>
                  <a:pt x="249866" y="234162"/>
                  <a:pt x="247869" y="234162"/>
                </a:cubicBezTo>
                <a:close/>
                <a:moveTo>
                  <a:pt x="465514" y="234162"/>
                </a:moveTo>
                <a:cubicBezTo>
                  <a:pt x="459657" y="234162"/>
                  <a:pt x="457128" y="236159"/>
                  <a:pt x="455531" y="237757"/>
                </a:cubicBezTo>
                <a:cubicBezTo>
                  <a:pt x="453001" y="240419"/>
                  <a:pt x="451937" y="243214"/>
                  <a:pt x="451937" y="247208"/>
                </a:cubicBezTo>
                <a:cubicBezTo>
                  <a:pt x="451937" y="251334"/>
                  <a:pt x="453001" y="254263"/>
                  <a:pt x="455531" y="256792"/>
                </a:cubicBezTo>
                <a:cubicBezTo>
                  <a:pt x="457128" y="258390"/>
                  <a:pt x="459657" y="260253"/>
                  <a:pt x="465514" y="260253"/>
                </a:cubicBezTo>
                <a:cubicBezTo>
                  <a:pt x="467511" y="260253"/>
                  <a:pt x="469375" y="259987"/>
                  <a:pt x="470839" y="259321"/>
                </a:cubicBezTo>
                <a:cubicBezTo>
                  <a:pt x="472303" y="258789"/>
                  <a:pt x="473634" y="257990"/>
                  <a:pt x="474566" y="256925"/>
                </a:cubicBezTo>
                <a:cubicBezTo>
                  <a:pt x="475631" y="255727"/>
                  <a:pt x="476563" y="254396"/>
                  <a:pt x="477229" y="252666"/>
                </a:cubicBezTo>
                <a:cubicBezTo>
                  <a:pt x="477894" y="251068"/>
                  <a:pt x="478294" y="249205"/>
                  <a:pt x="478294" y="247208"/>
                </a:cubicBezTo>
                <a:cubicBezTo>
                  <a:pt x="478294" y="245344"/>
                  <a:pt x="477894" y="243614"/>
                  <a:pt x="477229" y="242016"/>
                </a:cubicBezTo>
                <a:cubicBezTo>
                  <a:pt x="476563" y="240419"/>
                  <a:pt x="475631" y="239088"/>
                  <a:pt x="474566" y="237890"/>
                </a:cubicBezTo>
                <a:cubicBezTo>
                  <a:pt x="473501" y="236825"/>
                  <a:pt x="472170" y="235893"/>
                  <a:pt x="470573" y="235227"/>
                </a:cubicBezTo>
                <a:cubicBezTo>
                  <a:pt x="469109" y="234562"/>
                  <a:pt x="467511" y="234162"/>
                  <a:pt x="465514" y="234162"/>
                </a:cubicBezTo>
                <a:close/>
                <a:moveTo>
                  <a:pt x="683158" y="234162"/>
                </a:moveTo>
                <a:cubicBezTo>
                  <a:pt x="677301" y="234162"/>
                  <a:pt x="674772" y="236159"/>
                  <a:pt x="673175" y="237757"/>
                </a:cubicBezTo>
                <a:cubicBezTo>
                  <a:pt x="670645" y="240419"/>
                  <a:pt x="669581" y="243214"/>
                  <a:pt x="669581" y="247208"/>
                </a:cubicBezTo>
                <a:cubicBezTo>
                  <a:pt x="669581" y="251334"/>
                  <a:pt x="670645" y="254263"/>
                  <a:pt x="673175" y="256792"/>
                </a:cubicBezTo>
                <a:cubicBezTo>
                  <a:pt x="674772" y="258390"/>
                  <a:pt x="677301" y="260253"/>
                  <a:pt x="683158" y="260253"/>
                </a:cubicBezTo>
                <a:cubicBezTo>
                  <a:pt x="685155" y="260253"/>
                  <a:pt x="687019" y="259987"/>
                  <a:pt x="688484" y="259321"/>
                </a:cubicBezTo>
                <a:cubicBezTo>
                  <a:pt x="689948" y="258789"/>
                  <a:pt x="691280" y="257990"/>
                  <a:pt x="692211" y="256925"/>
                </a:cubicBezTo>
                <a:cubicBezTo>
                  <a:pt x="693275" y="255727"/>
                  <a:pt x="694208" y="254396"/>
                  <a:pt x="694874" y="252666"/>
                </a:cubicBezTo>
                <a:cubicBezTo>
                  <a:pt x="695539" y="251068"/>
                  <a:pt x="695939" y="249205"/>
                  <a:pt x="695939" y="247208"/>
                </a:cubicBezTo>
                <a:cubicBezTo>
                  <a:pt x="695939" y="245344"/>
                  <a:pt x="695539" y="243614"/>
                  <a:pt x="694874" y="242016"/>
                </a:cubicBezTo>
                <a:cubicBezTo>
                  <a:pt x="694208" y="240419"/>
                  <a:pt x="693275" y="239088"/>
                  <a:pt x="692211" y="237890"/>
                </a:cubicBezTo>
                <a:cubicBezTo>
                  <a:pt x="691146" y="236825"/>
                  <a:pt x="689815" y="235893"/>
                  <a:pt x="688218" y="235227"/>
                </a:cubicBezTo>
                <a:cubicBezTo>
                  <a:pt x="686754" y="234562"/>
                  <a:pt x="685155" y="234162"/>
                  <a:pt x="683158" y="234162"/>
                </a:cubicBezTo>
                <a:close/>
                <a:moveTo>
                  <a:pt x="900937" y="234162"/>
                </a:moveTo>
                <a:cubicBezTo>
                  <a:pt x="895079" y="234162"/>
                  <a:pt x="892550" y="236159"/>
                  <a:pt x="890953" y="237757"/>
                </a:cubicBezTo>
                <a:cubicBezTo>
                  <a:pt x="888290" y="240419"/>
                  <a:pt x="887226" y="243214"/>
                  <a:pt x="887226" y="247208"/>
                </a:cubicBezTo>
                <a:cubicBezTo>
                  <a:pt x="887226" y="251334"/>
                  <a:pt x="888290" y="254263"/>
                  <a:pt x="890820" y="256792"/>
                </a:cubicBezTo>
                <a:cubicBezTo>
                  <a:pt x="892417" y="258390"/>
                  <a:pt x="894946" y="260253"/>
                  <a:pt x="900803" y="260253"/>
                </a:cubicBezTo>
                <a:cubicBezTo>
                  <a:pt x="902800" y="260253"/>
                  <a:pt x="904531" y="259987"/>
                  <a:pt x="906261" y="259321"/>
                </a:cubicBezTo>
                <a:cubicBezTo>
                  <a:pt x="907725" y="258789"/>
                  <a:pt x="909057" y="257990"/>
                  <a:pt x="909989" y="256925"/>
                </a:cubicBezTo>
                <a:cubicBezTo>
                  <a:pt x="911053" y="255727"/>
                  <a:pt x="911985" y="254396"/>
                  <a:pt x="912651" y="252666"/>
                </a:cubicBezTo>
                <a:cubicBezTo>
                  <a:pt x="913316" y="251068"/>
                  <a:pt x="913716" y="249205"/>
                  <a:pt x="913716" y="247208"/>
                </a:cubicBezTo>
                <a:cubicBezTo>
                  <a:pt x="913716" y="245344"/>
                  <a:pt x="913316" y="243614"/>
                  <a:pt x="912651" y="242016"/>
                </a:cubicBezTo>
                <a:cubicBezTo>
                  <a:pt x="911985" y="240419"/>
                  <a:pt x="911053" y="239088"/>
                  <a:pt x="909989" y="237890"/>
                </a:cubicBezTo>
                <a:cubicBezTo>
                  <a:pt x="908924" y="236825"/>
                  <a:pt x="907592" y="235893"/>
                  <a:pt x="905995" y="235227"/>
                </a:cubicBezTo>
                <a:cubicBezTo>
                  <a:pt x="904531" y="234562"/>
                  <a:pt x="902933" y="234162"/>
                  <a:pt x="900937" y="234162"/>
                </a:cubicBezTo>
                <a:close/>
                <a:moveTo>
                  <a:pt x="1118448" y="234162"/>
                </a:moveTo>
                <a:cubicBezTo>
                  <a:pt x="1112591" y="234162"/>
                  <a:pt x="1110062" y="236159"/>
                  <a:pt x="1108464" y="237757"/>
                </a:cubicBezTo>
                <a:cubicBezTo>
                  <a:pt x="1105802" y="240419"/>
                  <a:pt x="1104737" y="243214"/>
                  <a:pt x="1104737" y="247208"/>
                </a:cubicBezTo>
                <a:cubicBezTo>
                  <a:pt x="1104737" y="251334"/>
                  <a:pt x="1105802" y="254263"/>
                  <a:pt x="1108332" y="256792"/>
                </a:cubicBezTo>
                <a:cubicBezTo>
                  <a:pt x="1109929" y="258390"/>
                  <a:pt x="1112458" y="260253"/>
                  <a:pt x="1118315" y="260253"/>
                </a:cubicBezTo>
                <a:cubicBezTo>
                  <a:pt x="1120445" y="260253"/>
                  <a:pt x="1122176" y="259987"/>
                  <a:pt x="1123773" y="259321"/>
                </a:cubicBezTo>
                <a:cubicBezTo>
                  <a:pt x="1125237" y="258789"/>
                  <a:pt x="1126569" y="257990"/>
                  <a:pt x="1127500" y="256925"/>
                </a:cubicBezTo>
                <a:cubicBezTo>
                  <a:pt x="1128565" y="255727"/>
                  <a:pt x="1129497" y="254396"/>
                  <a:pt x="1130163" y="252666"/>
                </a:cubicBezTo>
                <a:cubicBezTo>
                  <a:pt x="1130828" y="251068"/>
                  <a:pt x="1131228" y="249205"/>
                  <a:pt x="1131228" y="247208"/>
                </a:cubicBezTo>
                <a:cubicBezTo>
                  <a:pt x="1131228" y="245344"/>
                  <a:pt x="1130828" y="243614"/>
                  <a:pt x="1130163" y="242016"/>
                </a:cubicBezTo>
                <a:cubicBezTo>
                  <a:pt x="1129497" y="240419"/>
                  <a:pt x="1128565" y="239088"/>
                  <a:pt x="1127500" y="237890"/>
                </a:cubicBezTo>
                <a:cubicBezTo>
                  <a:pt x="1126435" y="236825"/>
                  <a:pt x="1125104" y="235893"/>
                  <a:pt x="1123507" y="235227"/>
                </a:cubicBezTo>
                <a:cubicBezTo>
                  <a:pt x="1122043" y="234562"/>
                  <a:pt x="1120445" y="234162"/>
                  <a:pt x="1118448" y="234162"/>
                </a:cubicBezTo>
                <a:close/>
                <a:moveTo>
                  <a:pt x="1335960" y="234161"/>
                </a:moveTo>
                <a:cubicBezTo>
                  <a:pt x="1330102" y="234161"/>
                  <a:pt x="1327573" y="236158"/>
                  <a:pt x="1325977" y="237756"/>
                </a:cubicBezTo>
                <a:cubicBezTo>
                  <a:pt x="1323446" y="240419"/>
                  <a:pt x="1322382" y="243214"/>
                  <a:pt x="1322382" y="247208"/>
                </a:cubicBezTo>
                <a:cubicBezTo>
                  <a:pt x="1322382" y="251334"/>
                  <a:pt x="1323446" y="254263"/>
                  <a:pt x="1325977" y="256792"/>
                </a:cubicBezTo>
                <a:cubicBezTo>
                  <a:pt x="1327573" y="258390"/>
                  <a:pt x="1330102" y="260253"/>
                  <a:pt x="1335960" y="260253"/>
                </a:cubicBezTo>
                <a:cubicBezTo>
                  <a:pt x="1338090" y="260253"/>
                  <a:pt x="1339820" y="259987"/>
                  <a:pt x="1341285" y="259321"/>
                </a:cubicBezTo>
                <a:cubicBezTo>
                  <a:pt x="1342749" y="258789"/>
                  <a:pt x="1344080" y="257990"/>
                  <a:pt x="1345012" y="256925"/>
                </a:cubicBezTo>
                <a:cubicBezTo>
                  <a:pt x="1346077" y="255727"/>
                  <a:pt x="1347009" y="254396"/>
                  <a:pt x="1347675" y="252666"/>
                </a:cubicBezTo>
                <a:cubicBezTo>
                  <a:pt x="1348340" y="251068"/>
                  <a:pt x="1348740" y="249205"/>
                  <a:pt x="1348740" y="247208"/>
                </a:cubicBezTo>
                <a:cubicBezTo>
                  <a:pt x="1348740" y="245344"/>
                  <a:pt x="1348340" y="243614"/>
                  <a:pt x="1347675" y="242016"/>
                </a:cubicBezTo>
                <a:cubicBezTo>
                  <a:pt x="1347009" y="240419"/>
                  <a:pt x="1346077" y="239088"/>
                  <a:pt x="1345012" y="237889"/>
                </a:cubicBezTo>
                <a:cubicBezTo>
                  <a:pt x="1343947" y="236824"/>
                  <a:pt x="1342616" y="235892"/>
                  <a:pt x="1341019" y="235226"/>
                </a:cubicBezTo>
                <a:cubicBezTo>
                  <a:pt x="1339554" y="234561"/>
                  <a:pt x="1337956" y="234161"/>
                  <a:pt x="1335960" y="234161"/>
                </a:cubicBezTo>
                <a:close/>
                <a:moveTo>
                  <a:pt x="1553605" y="234161"/>
                </a:moveTo>
                <a:cubicBezTo>
                  <a:pt x="1547748" y="234161"/>
                  <a:pt x="1545219" y="236158"/>
                  <a:pt x="1543621" y="237756"/>
                </a:cubicBezTo>
                <a:cubicBezTo>
                  <a:pt x="1541092" y="240418"/>
                  <a:pt x="1540027" y="243213"/>
                  <a:pt x="1540027" y="247208"/>
                </a:cubicBezTo>
                <a:cubicBezTo>
                  <a:pt x="1540027" y="251334"/>
                  <a:pt x="1541092" y="254263"/>
                  <a:pt x="1543621" y="256792"/>
                </a:cubicBezTo>
                <a:cubicBezTo>
                  <a:pt x="1545219" y="258390"/>
                  <a:pt x="1547748" y="260253"/>
                  <a:pt x="1553605" y="260253"/>
                </a:cubicBezTo>
                <a:cubicBezTo>
                  <a:pt x="1555602" y="260253"/>
                  <a:pt x="1557466" y="259987"/>
                  <a:pt x="1558930" y="259321"/>
                </a:cubicBezTo>
                <a:cubicBezTo>
                  <a:pt x="1560394" y="258789"/>
                  <a:pt x="1561726" y="257990"/>
                  <a:pt x="1562657" y="256925"/>
                </a:cubicBezTo>
                <a:cubicBezTo>
                  <a:pt x="1563722" y="255727"/>
                  <a:pt x="1564654" y="254396"/>
                  <a:pt x="1565320" y="252666"/>
                </a:cubicBezTo>
                <a:cubicBezTo>
                  <a:pt x="1565985" y="251068"/>
                  <a:pt x="1566385" y="249205"/>
                  <a:pt x="1566385" y="247208"/>
                </a:cubicBezTo>
                <a:cubicBezTo>
                  <a:pt x="1566385" y="245343"/>
                  <a:pt x="1565985" y="243614"/>
                  <a:pt x="1565320" y="242015"/>
                </a:cubicBezTo>
                <a:cubicBezTo>
                  <a:pt x="1564654" y="240418"/>
                  <a:pt x="1563722" y="239087"/>
                  <a:pt x="1562657" y="237889"/>
                </a:cubicBezTo>
                <a:cubicBezTo>
                  <a:pt x="1561592" y="236824"/>
                  <a:pt x="1560261" y="235892"/>
                  <a:pt x="1558664" y="235226"/>
                </a:cubicBezTo>
                <a:cubicBezTo>
                  <a:pt x="1557200" y="234561"/>
                  <a:pt x="1555602" y="234161"/>
                  <a:pt x="1553605" y="234161"/>
                </a:cubicBezTo>
                <a:close/>
                <a:moveTo>
                  <a:pt x="1771250" y="234161"/>
                </a:moveTo>
                <a:cubicBezTo>
                  <a:pt x="1765393" y="234161"/>
                  <a:pt x="1762863" y="236158"/>
                  <a:pt x="1761267" y="237756"/>
                </a:cubicBezTo>
                <a:cubicBezTo>
                  <a:pt x="1758737" y="240418"/>
                  <a:pt x="1757672" y="243213"/>
                  <a:pt x="1757672" y="247207"/>
                </a:cubicBezTo>
                <a:cubicBezTo>
                  <a:pt x="1757672" y="251334"/>
                  <a:pt x="1758737" y="254263"/>
                  <a:pt x="1761267" y="256792"/>
                </a:cubicBezTo>
                <a:cubicBezTo>
                  <a:pt x="1762863" y="258390"/>
                  <a:pt x="1765393" y="260253"/>
                  <a:pt x="1771250" y="260253"/>
                </a:cubicBezTo>
                <a:cubicBezTo>
                  <a:pt x="1773247" y="260253"/>
                  <a:pt x="1775111" y="259987"/>
                  <a:pt x="1776575" y="259321"/>
                </a:cubicBezTo>
                <a:cubicBezTo>
                  <a:pt x="1778039" y="258789"/>
                  <a:pt x="1779370" y="257990"/>
                  <a:pt x="1780302" y="256925"/>
                </a:cubicBezTo>
                <a:cubicBezTo>
                  <a:pt x="1781367" y="255727"/>
                  <a:pt x="1782299" y="254396"/>
                  <a:pt x="1782965" y="252666"/>
                </a:cubicBezTo>
                <a:cubicBezTo>
                  <a:pt x="1783630" y="251067"/>
                  <a:pt x="1784030" y="249204"/>
                  <a:pt x="1784030" y="247207"/>
                </a:cubicBezTo>
                <a:cubicBezTo>
                  <a:pt x="1784030" y="245343"/>
                  <a:pt x="1783630" y="243613"/>
                  <a:pt x="1782965" y="242015"/>
                </a:cubicBezTo>
                <a:cubicBezTo>
                  <a:pt x="1782299" y="240418"/>
                  <a:pt x="1781367" y="239087"/>
                  <a:pt x="1780302" y="237889"/>
                </a:cubicBezTo>
                <a:cubicBezTo>
                  <a:pt x="1779237" y="236824"/>
                  <a:pt x="1777906" y="235892"/>
                  <a:pt x="1776309" y="235226"/>
                </a:cubicBezTo>
                <a:cubicBezTo>
                  <a:pt x="1774844" y="234561"/>
                  <a:pt x="1773247" y="234161"/>
                  <a:pt x="1771250" y="234161"/>
                </a:cubicBezTo>
                <a:close/>
                <a:moveTo>
                  <a:pt x="1988894" y="234161"/>
                </a:moveTo>
                <a:cubicBezTo>
                  <a:pt x="1983037" y="234161"/>
                  <a:pt x="1980508" y="236158"/>
                  <a:pt x="1978911" y="237756"/>
                </a:cubicBezTo>
                <a:cubicBezTo>
                  <a:pt x="1976381" y="240418"/>
                  <a:pt x="1975317" y="243213"/>
                  <a:pt x="1975317" y="247207"/>
                </a:cubicBezTo>
                <a:cubicBezTo>
                  <a:pt x="1975317" y="251333"/>
                  <a:pt x="1976381" y="254262"/>
                  <a:pt x="1978911" y="256792"/>
                </a:cubicBezTo>
                <a:cubicBezTo>
                  <a:pt x="1980508" y="258389"/>
                  <a:pt x="1983037" y="260253"/>
                  <a:pt x="1988894" y="260253"/>
                </a:cubicBezTo>
                <a:cubicBezTo>
                  <a:pt x="1990891" y="260253"/>
                  <a:pt x="1992622" y="259987"/>
                  <a:pt x="1994219" y="259321"/>
                </a:cubicBezTo>
                <a:cubicBezTo>
                  <a:pt x="1995817" y="258789"/>
                  <a:pt x="1997015" y="257989"/>
                  <a:pt x="1997946" y="256925"/>
                </a:cubicBezTo>
                <a:cubicBezTo>
                  <a:pt x="1999011" y="255726"/>
                  <a:pt x="1999943" y="254395"/>
                  <a:pt x="2000609" y="252665"/>
                </a:cubicBezTo>
                <a:cubicBezTo>
                  <a:pt x="2001141" y="251067"/>
                  <a:pt x="2001540" y="249204"/>
                  <a:pt x="2001540" y="247207"/>
                </a:cubicBezTo>
                <a:cubicBezTo>
                  <a:pt x="2001540" y="245343"/>
                  <a:pt x="2001274" y="243613"/>
                  <a:pt x="2000609" y="242015"/>
                </a:cubicBezTo>
                <a:cubicBezTo>
                  <a:pt x="1999943" y="240418"/>
                  <a:pt x="1999011" y="239087"/>
                  <a:pt x="1997946" y="237889"/>
                </a:cubicBezTo>
                <a:cubicBezTo>
                  <a:pt x="1996882" y="236824"/>
                  <a:pt x="1995550" y="235892"/>
                  <a:pt x="1993953" y="235226"/>
                </a:cubicBezTo>
                <a:cubicBezTo>
                  <a:pt x="1992489" y="234561"/>
                  <a:pt x="1990891" y="234161"/>
                  <a:pt x="1988894" y="234161"/>
                </a:cubicBezTo>
                <a:close/>
                <a:moveTo>
                  <a:pt x="2206407" y="234161"/>
                </a:moveTo>
                <a:cubicBezTo>
                  <a:pt x="2200550" y="234161"/>
                  <a:pt x="2198021" y="236158"/>
                  <a:pt x="2196423" y="237756"/>
                </a:cubicBezTo>
                <a:cubicBezTo>
                  <a:pt x="2193894" y="240418"/>
                  <a:pt x="2192829" y="243213"/>
                  <a:pt x="2192829" y="247207"/>
                </a:cubicBezTo>
                <a:cubicBezTo>
                  <a:pt x="2192829" y="251333"/>
                  <a:pt x="2193894" y="254262"/>
                  <a:pt x="2196423" y="256791"/>
                </a:cubicBezTo>
                <a:cubicBezTo>
                  <a:pt x="2198021" y="258389"/>
                  <a:pt x="2200550" y="260252"/>
                  <a:pt x="2206407" y="260252"/>
                </a:cubicBezTo>
                <a:cubicBezTo>
                  <a:pt x="2208537" y="260252"/>
                  <a:pt x="2210268" y="259987"/>
                  <a:pt x="2211732" y="259320"/>
                </a:cubicBezTo>
                <a:cubicBezTo>
                  <a:pt x="2213329" y="258788"/>
                  <a:pt x="2214527" y="257989"/>
                  <a:pt x="2215459" y="256924"/>
                </a:cubicBezTo>
                <a:cubicBezTo>
                  <a:pt x="2216524" y="255726"/>
                  <a:pt x="2217456" y="254395"/>
                  <a:pt x="2218122" y="252665"/>
                </a:cubicBezTo>
                <a:cubicBezTo>
                  <a:pt x="2218654" y="251067"/>
                  <a:pt x="2219053" y="249204"/>
                  <a:pt x="2219053" y="247207"/>
                </a:cubicBezTo>
                <a:cubicBezTo>
                  <a:pt x="2219053" y="245343"/>
                  <a:pt x="2218787" y="243613"/>
                  <a:pt x="2218122" y="242015"/>
                </a:cubicBezTo>
                <a:cubicBezTo>
                  <a:pt x="2217456" y="240418"/>
                  <a:pt x="2216524" y="239087"/>
                  <a:pt x="2215459" y="237889"/>
                </a:cubicBezTo>
                <a:cubicBezTo>
                  <a:pt x="2214394" y="236824"/>
                  <a:pt x="2213063" y="235892"/>
                  <a:pt x="2211466" y="235226"/>
                </a:cubicBezTo>
                <a:cubicBezTo>
                  <a:pt x="2210001" y="234561"/>
                  <a:pt x="2208404" y="234161"/>
                  <a:pt x="2206407" y="234161"/>
                </a:cubicBezTo>
                <a:close/>
                <a:moveTo>
                  <a:pt x="2424053" y="234161"/>
                </a:moveTo>
                <a:cubicBezTo>
                  <a:pt x="2418196" y="234161"/>
                  <a:pt x="2415667" y="236158"/>
                  <a:pt x="2414070" y="237756"/>
                </a:cubicBezTo>
                <a:cubicBezTo>
                  <a:pt x="2411539" y="240418"/>
                  <a:pt x="2410475" y="243213"/>
                  <a:pt x="2410475" y="247207"/>
                </a:cubicBezTo>
                <a:cubicBezTo>
                  <a:pt x="2410475" y="251333"/>
                  <a:pt x="2411539" y="254262"/>
                  <a:pt x="2414070" y="256791"/>
                </a:cubicBezTo>
                <a:cubicBezTo>
                  <a:pt x="2415667" y="258389"/>
                  <a:pt x="2418196" y="260252"/>
                  <a:pt x="2424053" y="260252"/>
                </a:cubicBezTo>
                <a:cubicBezTo>
                  <a:pt x="2426183" y="260252"/>
                  <a:pt x="2427914" y="259986"/>
                  <a:pt x="2429378" y="259320"/>
                </a:cubicBezTo>
                <a:cubicBezTo>
                  <a:pt x="2430976" y="258788"/>
                  <a:pt x="2432174" y="257989"/>
                  <a:pt x="2433105" y="256924"/>
                </a:cubicBezTo>
                <a:cubicBezTo>
                  <a:pt x="2434170" y="255726"/>
                  <a:pt x="2435102" y="254395"/>
                  <a:pt x="2435768" y="252665"/>
                </a:cubicBezTo>
                <a:cubicBezTo>
                  <a:pt x="2436300" y="251067"/>
                  <a:pt x="2436699" y="249204"/>
                  <a:pt x="2436699" y="247207"/>
                </a:cubicBezTo>
                <a:cubicBezTo>
                  <a:pt x="2436699" y="245343"/>
                  <a:pt x="2436433" y="243613"/>
                  <a:pt x="2435768" y="242015"/>
                </a:cubicBezTo>
                <a:cubicBezTo>
                  <a:pt x="2435102" y="240418"/>
                  <a:pt x="2434170" y="239087"/>
                  <a:pt x="2433105" y="237889"/>
                </a:cubicBezTo>
                <a:cubicBezTo>
                  <a:pt x="2432041" y="236824"/>
                  <a:pt x="2430709" y="235892"/>
                  <a:pt x="2429112" y="235226"/>
                </a:cubicBezTo>
                <a:cubicBezTo>
                  <a:pt x="2427648" y="234561"/>
                  <a:pt x="2426050" y="234161"/>
                  <a:pt x="2424053" y="234161"/>
                </a:cubicBezTo>
                <a:close/>
                <a:moveTo>
                  <a:pt x="2641699" y="234161"/>
                </a:moveTo>
                <a:cubicBezTo>
                  <a:pt x="2635841" y="234161"/>
                  <a:pt x="2633312" y="236158"/>
                  <a:pt x="2631716" y="237756"/>
                </a:cubicBezTo>
                <a:cubicBezTo>
                  <a:pt x="2629185" y="240418"/>
                  <a:pt x="2628121" y="243213"/>
                  <a:pt x="2628121" y="247207"/>
                </a:cubicBezTo>
                <a:cubicBezTo>
                  <a:pt x="2628121" y="251333"/>
                  <a:pt x="2629185" y="254262"/>
                  <a:pt x="2631716" y="256791"/>
                </a:cubicBezTo>
                <a:cubicBezTo>
                  <a:pt x="2633312" y="258389"/>
                  <a:pt x="2635841" y="260252"/>
                  <a:pt x="2641699" y="260252"/>
                </a:cubicBezTo>
                <a:cubicBezTo>
                  <a:pt x="2643695" y="260252"/>
                  <a:pt x="2645560" y="259986"/>
                  <a:pt x="2647024" y="259320"/>
                </a:cubicBezTo>
                <a:cubicBezTo>
                  <a:pt x="2648621" y="258788"/>
                  <a:pt x="2649819" y="257989"/>
                  <a:pt x="2650751" y="256924"/>
                </a:cubicBezTo>
                <a:cubicBezTo>
                  <a:pt x="2651816" y="255726"/>
                  <a:pt x="2652748" y="254395"/>
                  <a:pt x="2653414" y="252665"/>
                </a:cubicBezTo>
                <a:cubicBezTo>
                  <a:pt x="2653946" y="251067"/>
                  <a:pt x="2654345" y="249204"/>
                  <a:pt x="2654345" y="247207"/>
                </a:cubicBezTo>
                <a:cubicBezTo>
                  <a:pt x="2654345" y="245343"/>
                  <a:pt x="2654079" y="243613"/>
                  <a:pt x="2653414" y="242015"/>
                </a:cubicBezTo>
                <a:cubicBezTo>
                  <a:pt x="2652748" y="240418"/>
                  <a:pt x="2651816" y="239087"/>
                  <a:pt x="2650751" y="237889"/>
                </a:cubicBezTo>
                <a:cubicBezTo>
                  <a:pt x="2649686" y="236824"/>
                  <a:pt x="2648355" y="235892"/>
                  <a:pt x="2646758" y="235226"/>
                </a:cubicBezTo>
                <a:cubicBezTo>
                  <a:pt x="2645293" y="234561"/>
                  <a:pt x="2643695" y="234161"/>
                  <a:pt x="2641699" y="234161"/>
                </a:cubicBezTo>
                <a:close/>
                <a:moveTo>
                  <a:pt x="2859345" y="234161"/>
                </a:moveTo>
                <a:cubicBezTo>
                  <a:pt x="2853488" y="234161"/>
                  <a:pt x="2850958" y="236158"/>
                  <a:pt x="2849362" y="237756"/>
                </a:cubicBezTo>
                <a:cubicBezTo>
                  <a:pt x="2846831" y="240418"/>
                  <a:pt x="2845768" y="243213"/>
                  <a:pt x="2845768" y="247207"/>
                </a:cubicBezTo>
                <a:cubicBezTo>
                  <a:pt x="2845768" y="251333"/>
                  <a:pt x="2846831" y="254262"/>
                  <a:pt x="2849362" y="256791"/>
                </a:cubicBezTo>
                <a:cubicBezTo>
                  <a:pt x="2850958" y="258389"/>
                  <a:pt x="2853488" y="260252"/>
                  <a:pt x="2859345" y="260252"/>
                </a:cubicBezTo>
                <a:cubicBezTo>
                  <a:pt x="2861342" y="260252"/>
                  <a:pt x="2863206" y="259986"/>
                  <a:pt x="2864670" y="259320"/>
                </a:cubicBezTo>
                <a:cubicBezTo>
                  <a:pt x="2866268" y="258788"/>
                  <a:pt x="2867466" y="257989"/>
                  <a:pt x="2868397" y="256924"/>
                </a:cubicBezTo>
                <a:cubicBezTo>
                  <a:pt x="2869462" y="255726"/>
                  <a:pt x="2870394" y="254395"/>
                  <a:pt x="2871060" y="252665"/>
                </a:cubicBezTo>
                <a:cubicBezTo>
                  <a:pt x="2871592" y="251067"/>
                  <a:pt x="2871991" y="249204"/>
                  <a:pt x="2871991" y="247207"/>
                </a:cubicBezTo>
                <a:cubicBezTo>
                  <a:pt x="2871991" y="245343"/>
                  <a:pt x="2871725" y="243613"/>
                  <a:pt x="2871060" y="242015"/>
                </a:cubicBezTo>
                <a:cubicBezTo>
                  <a:pt x="2870394" y="240418"/>
                  <a:pt x="2869462" y="239087"/>
                  <a:pt x="2868397" y="237889"/>
                </a:cubicBezTo>
                <a:cubicBezTo>
                  <a:pt x="2867333" y="236824"/>
                  <a:pt x="2866001" y="235892"/>
                  <a:pt x="2864404" y="235226"/>
                </a:cubicBezTo>
                <a:cubicBezTo>
                  <a:pt x="2862940" y="234561"/>
                  <a:pt x="2861342" y="234161"/>
                  <a:pt x="2859345" y="234161"/>
                </a:cubicBezTo>
                <a:close/>
                <a:moveTo>
                  <a:pt x="3077124" y="234161"/>
                </a:moveTo>
                <a:cubicBezTo>
                  <a:pt x="3071266" y="234161"/>
                  <a:pt x="3068737" y="236158"/>
                  <a:pt x="3067141" y="237756"/>
                </a:cubicBezTo>
                <a:cubicBezTo>
                  <a:pt x="3064478" y="240418"/>
                  <a:pt x="3063412" y="243213"/>
                  <a:pt x="3063412" y="247207"/>
                </a:cubicBezTo>
                <a:cubicBezTo>
                  <a:pt x="3063412" y="251333"/>
                  <a:pt x="3064478" y="254262"/>
                  <a:pt x="3067007" y="256791"/>
                </a:cubicBezTo>
                <a:cubicBezTo>
                  <a:pt x="3068605" y="258389"/>
                  <a:pt x="3071134" y="260252"/>
                  <a:pt x="3076990" y="260252"/>
                </a:cubicBezTo>
                <a:cubicBezTo>
                  <a:pt x="3078988" y="260252"/>
                  <a:pt x="3080718" y="259986"/>
                  <a:pt x="3082448" y="259320"/>
                </a:cubicBezTo>
                <a:cubicBezTo>
                  <a:pt x="3083914" y="258788"/>
                  <a:pt x="3085245" y="257989"/>
                  <a:pt x="3086176" y="256924"/>
                </a:cubicBezTo>
                <a:cubicBezTo>
                  <a:pt x="3087241" y="255726"/>
                  <a:pt x="3088173" y="254395"/>
                  <a:pt x="3088839" y="252665"/>
                </a:cubicBezTo>
                <a:cubicBezTo>
                  <a:pt x="3089504" y="251067"/>
                  <a:pt x="3089771" y="249204"/>
                  <a:pt x="3089771" y="247207"/>
                </a:cubicBezTo>
                <a:cubicBezTo>
                  <a:pt x="3089771" y="245343"/>
                  <a:pt x="3089504" y="243613"/>
                  <a:pt x="3088839" y="242015"/>
                </a:cubicBezTo>
                <a:cubicBezTo>
                  <a:pt x="3088173" y="240418"/>
                  <a:pt x="3087241" y="239087"/>
                  <a:pt x="3086176" y="237889"/>
                </a:cubicBezTo>
                <a:cubicBezTo>
                  <a:pt x="3085112" y="236824"/>
                  <a:pt x="3083780" y="235892"/>
                  <a:pt x="3082183" y="235226"/>
                </a:cubicBezTo>
                <a:cubicBezTo>
                  <a:pt x="3080718" y="234561"/>
                  <a:pt x="3079120" y="234161"/>
                  <a:pt x="3077124" y="234161"/>
                </a:cubicBezTo>
                <a:close/>
                <a:moveTo>
                  <a:pt x="3512149" y="234160"/>
                </a:moveTo>
                <a:cubicBezTo>
                  <a:pt x="3506292" y="234160"/>
                  <a:pt x="3503763" y="236157"/>
                  <a:pt x="3502165" y="237755"/>
                </a:cubicBezTo>
                <a:cubicBezTo>
                  <a:pt x="3499636" y="240417"/>
                  <a:pt x="3498572" y="243212"/>
                  <a:pt x="3498572" y="247207"/>
                </a:cubicBezTo>
                <a:cubicBezTo>
                  <a:pt x="3498572" y="251333"/>
                  <a:pt x="3499636" y="254262"/>
                  <a:pt x="3502165" y="256791"/>
                </a:cubicBezTo>
                <a:cubicBezTo>
                  <a:pt x="3503763" y="258389"/>
                  <a:pt x="3506292" y="260252"/>
                  <a:pt x="3512149" y="260252"/>
                </a:cubicBezTo>
                <a:cubicBezTo>
                  <a:pt x="3514279" y="260252"/>
                  <a:pt x="3516011" y="259986"/>
                  <a:pt x="3517475" y="259320"/>
                </a:cubicBezTo>
                <a:cubicBezTo>
                  <a:pt x="3518939" y="258788"/>
                  <a:pt x="3520270" y="257989"/>
                  <a:pt x="3521201" y="256924"/>
                </a:cubicBezTo>
                <a:cubicBezTo>
                  <a:pt x="3522267" y="255726"/>
                  <a:pt x="3523198" y="254395"/>
                  <a:pt x="3523865" y="252665"/>
                </a:cubicBezTo>
                <a:cubicBezTo>
                  <a:pt x="3524530" y="251067"/>
                  <a:pt x="3524930" y="249204"/>
                  <a:pt x="3524930" y="247207"/>
                </a:cubicBezTo>
                <a:cubicBezTo>
                  <a:pt x="3524930" y="245342"/>
                  <a:pt x="3524530" y="243613"/>
                  <a:pt x="3523865" y="242014"/>
                </a:cubicBezTo>
                <a:cubicBezTo>
                  <a:pt x="3523198" y="240417"/>
                  <a:pt x="3522267" y="239086"/>
                  <a:pt x="3521201" y="237888"/>
                </a:cubicBezTo>
                <a:cubicBezTo>
                  <a:pt x="3520136" y="236823"/>
                  <a:pt x="3518805" y="235891"/>
                  <a:pt x="3517208" y="235225"/>
                </a:cubicBezTo>
                <a:cubicBezTo>
                  <a:pt x="3515744" y="234560"/>
                  <a:pt x="3514146" y="234160"/>
                  <a:pt x="3512149" y="234160"/>
                </a:cubicBezTo>
                <a:close/>
                <a:moveTo>
                  <a:pt x="3294636" y="234160"/>
                </a:moveTo>
                <a:cubicBezTo>
                  <a:pt x="3288779" y="234160"/>
                  <a:pt x="3286250" y="236157"/>
                  <a:pt x="3284653" y="237755"/>
                </a:cubicBezTo>
                <a:cubicBezTo>
                  <a:pt x="3282123" y="240418"/>
                  <a:pt x="3281059" y="243213"/>
                  <a:pt x="3281059" y="247207"/>
                </a:cubicBezTo>
                <a:cubicBezTo>
                  <a:pt x="3281059" y="251333"/>
                  <a:pt x="3282123" y="254262"/>
                  <a:pt x="3284653" y="256791"/>
                </a:cubicBezTo>
                <a:cubicBezTo>
                  <a:pt x="3286250" y="258389"/>
                  <a:pt x="3288779" y="260252"/>
                  <a:pt x="3294636" y="260252"/>
                </a:cubicBezTo>
                <a:cubicBezTo>
                  <a:pt x="3296633" y="260252"/>
                  <a:pt x="3298364" y="259986"/>
                  <a:pt x="3299962" y="259320"/>
                </a:cubicBezTo>
                <a:cubicBezTo>
                  <a:pt x="3301426" y="258788"/>
                  <a:pt x="3302758" y="257989"/>
                  <a:pt x="3303689" y="256924"/>
                </a:cubicBezTo>
                <a:cubicBezTo>
                  <a:pt x="3304754" y="255726"/>
                  <a:pt x="3305686" y="254395"/>
                  <a:pt x="3306352" y="252665"/>
                </a:cubicBezTo>
                <a:cubicBezTo>
                  <a:pt x="3307017" y="251067"/>
                  <a:pt x="3307416" y="249204"/>
                  <a:pt x="3307416" y="247207"/>
                </a:cubicBezTo>
                <a:cubicBezTo>
                  <a:pt x="3307416" y="245343"/>
                  <a:pt x="3307017" y="243613"/>
                  <a:pt x="3306352" y="242015"/>
                </a:cubicBezTo>
                <a:cubicBezTo>
                  <a:pt x="3305686" y="240418"/>
                  <a:pt x="3304754" y="239087"/>
                  <a:pt x="3303689" y="237888"/>
                </a:cubicBezTo>
                <a:cubicBezTo>
                  <a:pt x="3302624" y="236823"/>
                  <a:pt x="3301292" y="235891"/>
                  <a:pt x="3299696" y="235225"/>
                </a:cubicBezTo>
                <a:cubicBezTo>
                  <a:pt x="3298232" y="234560"/>
                  <a:pt x="3296633" y="234160"/>
                  <a:pt x="3294636" y="234160"/>
                </a:cubicBezTo>
                <a:close/>
                <a:moveTo>
                  <a:pt x="3947442" y="234160"/>
                </a:moveTo>
                <a:cubicBezTo>
                  <a:pt x="3941585" y="234160"/>
                  <a:pt x="3939056" y="236157"/>
                  <a:pt x="3937459" y="237755"/>
                </a:cubicBezTo>
                <a:cubicBezTo>
                  <a:pt x="3934928" y="240417"/>
                  <a:pt x="3933865" y="243212"/>
                  <a:pt x="3933865" y="247206"/>
                </a:cubicBezTo>
                <a:cubicBezTo>
                  <a:pt x="3933865" y="251332"/>
                  <a:pt x="3934928" y="254261"/>
                  <a:pt x="3937459" y="256791"/>
                </a:cubicBezTo>
                <a:cubicBezTo>
                  <a:pt x="3939056" y="258389"/>
                  <a:pt x="3941585" y="260252"/>
                  <a:pt x="3947442" y="260252"/>
                </a:cubicBezTo>
                <a:cubicBezTo>
                  <a:pt x="3949439" y="260252"/>
                  <a:pt x="3951303" y="259986"/>
                  <a:pt x="3952767" y="259320"/>
                </a:cubicBezTo>
                <a:cubicBezTo>
                  <a:pt x="3954231" y="258788"/>
                  <a:pt x="3955562" y="257988"/>
                  <a:pt x="3956494" y="256924"/>
                </a:cubicBezTo>
                <a:cubicBezTo>
                  <a:pt x="3957559" y="255725"/>
                  <a:pt x="3958491" y="254394"/>
                  <a:pt x="3959157" y="252664"/>
                </a:cubicBezTo>
                <a:cubicBezTo>
                  <a:pt x="3959822" y="251066"/>
                  <a:pt x="3960221" y="249203"/>
                  <a:pt x="3960221" y="247206"/>
                </a:cubicBezTo>
                <a:cubicBezTo>
                  <a:pt x="3960221" y="245342"/>
                  <a:pt x="3959822" y="243612"/>
                  <a:pt x="3959157" y="242014"/>
                </a:cubicBezTo>
                <a:cubicBezTo>
                  <a:pt x="3958491" y="240417"/>
                  <a:pt x="3957559" y="239086"/>
                  <a:pt x="3956494" y="237888"/>
                </a:cubicBezTo>
                <a:cubicBezTo>
                  <a:pt x="3955429" y="236823"/>
                  <a:pt x="3954098" y="235891"/>
                  <a:pt x="3952501" y="235225"/>
                </a:cubicBezTo>
                <a:cubicBezTo>
                  <a:pt x="3951036" y="234560"/>
                  <a:pt x="3949439" y="234160"/>
                  <a:pt x="3947442" y="234160"/>
                </a:cubicBezTo>
                <a:close/>
                <a:moveTo>
                  <a:pt x="3729795" y="234160"/>
                </a:moveTo>
                <a:cubicBezTo>
                  <a:pt x="3723938" y="234160"/>
                  <a:pt x="3721409" y="236157"/>
                  <a:pt x="3719811" y="237755"/>
                </a:cubicBezTo>
                <a:cubicBezTo>
                  <a:pt x="3717282" y="240417"/>
                  <a:pt x="3716217" y="243212"/>
                  <a:pt x="3716217" y="247206"/>
                </a:cubicBezTo>
                <a:cubicBezTo>
                  <a:pt x="3716217" y="251333"/>
                  <a:pt x="3717282" y="254262"/>
                  <a:pt x="3719811" y="256791"/>
                </a:cubicBezTo>
                <a:cubicBezTo>
                  <a:pt x="3721409" y="258389"/>
                  <a:pt x="3723938" y="260252"/>
                  <a:pt x="3729795" y="260252"/>
                </a:cubicBezTo>
                <a:cubicBezTo>
                  <a:pt x="3731925" y="260252"/>
                  <a:pt x="3733656" y="259986"/>
                  <a:pt x="3735120" y="259320"/>
                </a:cubicBezTo>
                <a:cubicBezTo>
                  <a:pt x="3736584" y="258788"/>
                  <a:pt x="3737916" y="257989"/>
                  <a:pt x="3738847" y="256924"/>
                </a:cubicBezTo>
                <a:cubicBezTo>
                  <a:pt x="3739912" y="255726"/>
                  <a:pt x="3740844" y="254395"/>
                  <a:pt x="3741510" y="252665"/>
                </a:cubicBezTo>
                <a:cubicBezTo>
                  <a:pt x="3742175" y="251066"/>
                  <a:pt x="3742575" y="249203"/>
                  <a:pt x="3742575" y="247206"/>
                </a:cubicBezTo>
                <a:cubicBezTo>
                  <a:pt x="3742575" y="245342"/>
                  <a:pt x="3742175" y="243612"/>
                  <a:pt x="3741510" y="242014"/>
                </a:cubicBezTo>
                <a:cubicBezTo>
                  <a:pt x="3740844" y="240417"/>
                  <a:pt x="3739912" y="239086"/>
                  <a:pt x="3738847" y="237888"/>
                </a:cubicBezTo>
                <a:cubicBezTo>
                  <a:pt x="3737782" y="236823"/>
                  <a:pt x="3736451" y="235891"/>
                  <a:pt x="3734855" y="235225"/>
                </a:cubicBezTo>
                <a:cubicBezTo>
                  <a:pt x="3733389" y="234560"/>
                  <a:pt x="3731792" y="234160"/>
                  <a:pt x="3729795" y="234160"/>
                </a:cubicBezTo>
                <a:close/>
                <a:moveTo>
                  <a:pt x="4165068" y="234160"/>
                </a:moveTo>
                <a:cubicBezTo>
                  <a:pt x="4159211" y="234160"/>
                  <a:pt x="4156681" y="236157"/>
                  <a:pt x="4155084" y="237755"/>
                </a:cubicBezTo>
                <a:cubicBezTo>
                  <a:pt x="4152555" y="240417"/>
                  <a:pt x="4151490" y="243212"/>
                  <a:pt x="4151490" y="247206"/>
                </a:cubicBezTo>
                <a:cubicBezTo>
                  <a:pt x="4151490" y="251332"/>
                  <a:pt x="4152555" y="254261"/>
                  <a:pt x="4155084" y="256790"/>
                </a:cubicBezTo>
                <a:cubicBezTo>
                  <a:pt x="4156681" y="258388"/>
                  <a:pt x="4159211" y="260251"/>
                  <a:pt x="4165068" y="260251"/>
                </a:cubicBezTo>
                <a:cubicBezTo>
                  <a:pt x="4167064" y="260251"/>
                  <a:pt x="4168928" y="259986"/>
                  <a:pt x="4170392" y="259319"/>
                </a:cubicBezTo>
                <a:cubicBezTo>
                  <a:pt x="4171856" y="258787"/>
                  <a:pt x="4173188" y="257988"/>
                  <a:pt x="4174119" y="256923"/>
                </a:cubicBezTo>
                <a:cubicBezTo>
                  <a:pt x="4175184" y="255725"/>
                  <a:pt x="4176116" y="254394"/>
                  <a:pt x="4176782" y="252664"/>
                </a:cubicBezTo>
                <a:cubicBezTo>
                  <a:pt x="4177447" y="251066"/>
                  <a:pt x="4177847" y="249203"/>
                  <a:pt x="4177847" y="247206"/>
                </a:cubicBezTo>
                <a:cubicBezTo>
                  <a:pt x="4177847" y="245342"/>
                  <a:pt x="4177447" y="243612"/>
                  <a:pt x="4176782" y="242014"/>
                </a:cubicBezTo>
                <a:cubicBezTo>
                  <a:pt x="4176116" y="240417"/>
                  <a:pt x="4175184" y="239086"/>
                  <a:pt x="4174119" y="237888"/>
                </a:cubicBezTo>
                <a:cubicBezTo>
                  <a:pt x="4173054" y="236823"/>
                  <a:pt x="4171723" y="235891"/>
                  <a:pt x="4170126" y="235225"/>
                </a:cubicBezTo>
                <a:cubicBezTo>
                  <a:pt x="4168662" y="234560"/>
                  <a:pt x="4167064" y="234160"/>
                  <a:pt x="4165068" y="234160"/>
                </a:cubicBezTo>
                <a:close/>
                <a:moveTo>
                  <a:pt x="4382713" y="234160"/>
                </a:moveTo>
                <a:cubicBezTo>
                  <a:pt x="4376857" y="234160"/>
                  <a:pt x="4374327" y="236157"/>
                  <a:pt x="4372730" y="237755"/>
                </a:cubicBezTo>
                <a:cubicBezTo>
                  <a:pt x="4370201" y="240417"/>
                  <a:pt x="4369136" y="243212"/>
                  <a:pt x="4369136" y="247206"/>
                </a:cubicBezTo>
                <a:cubicBezTo>
                  <a:pt x="4369136" y="251332"/>
                  <a:pt x="4370201" y="254261"/>
                  <a:pt x="4372730" y="256790"/>
                </a:cubicBezTo>
                <a:cubicBezTo>
                  <a:pt x="4374327" y="258388"/>
                  <a:pt x="4376857" y="260251"/>
                  <a:pt x="4382713" y="260251"/>
                </a:cubicBezTo>
                <a:cubicBezTo>
                  <a:pt x="4384710" y="260251"/>
                  <a:pt x="4386441" y="259985"/>
                  <a:pt x="4388038" y="259319"/>
                </a:cubicBezTo>
                <a:cubicBezTo>
                  <a:pt x="4389502" y="258787"/>
                  <a:pt x="4390834" y="257988"/>
                  <a:pt x="4391765" y="256923"/>
                </a:cubicBezTo>
                <a:cubicBezTo>
                  <a:pt x="4392830" y="255725"/>
                  <a:pt x="4393762" y="254394"/>
                  <a:pt x="4394428" y="252664"/>
                </a:cubicBezTo>
                <a:cubicBezTo>
                  <a:pt x="4395093" y="251066"/>
                  <a:pt x="4395493" y="249203"/>
                  <a:pt x="4395493" y="247206"/>
                </a:cubicBezTo>
                <a:cubicBezTo>
                  <a:pt x="4395493" y="245342"/>
                  <a:pt x="4395093" y="243612"/>
                  <a:pt x="4394428" y="242014"/>
                </a:cubicBezTo>
                <a:cubicBezTo>
                  <a:pt x="4393762" y="240417"/>
                  <a:pt x="4392830" y="239086"/>
                  <a:pt x="4391765" y="237888"/>
                </a:cubicBezTo>
                <a:cubicBezTo>
                  <a:pt x="4390700" y="236823"/>
                  <a:pt x="4389369" y="235891"/>
                  <a:pt x="4387772" y="235225"/>
                </a:cubicBezTo>
                <a:cubicBezTo>
                  <a:pt x="4386308" y="234560"/>
                  <a:pt x="4384710" y="234160"/>
                  <a:pt x="4382713" y="234160"/>
                </a:cubicBezTo>
                <a:close/>
                <a:moveTo>
                  <a:pt x="4600226" y="234160"/>
                </a:moveTo>
                <a:cubicBezTo>
                  <a:pt x="4594369" y="234160"/>
                  <a:pt x="4591839" y="236157"/>
                  <a:pt x="4590242" y="237755"/>
                </a:cubicBezTo>
                <a:cubicBezTo>
                  <a:pt x="4587713" y="240417"/>
                  <a:pt x="4586648" y="243212"/>
                  <a:pt x="4586648" y="247206"/>
                </a:cubicBezTo>
                <a:cubicBezTo>
                  <a:pt x="4586648" y="251332"/>
                  <a:pt x="4587713" y="254261"/>
                  <a:pt x="4590242" y="256790"/>
                </a:cubicBezTo>
                <a:cubicBezTo>
                  <a:pt x="4591839" y="258388"/>
                  <a:pt x="4594369" y="260251"/>
                  <a:pt x="4600226" y="260251"/>
                </a:cubicBezTo>
                <a:cubicBezTo>
                  <a:pt x="4602355" y="260251"/>
                  <a:pt x="4604086" y="259985"/>
                  <a:pt x="4605550" y="259319"/>
                </a:cubicBezTo>
                <a:cubicBezTo>
                  <a:pt x="4607148" y="258787"/>
                  <a:pt x="4608346" y="257988"/>
                  <a:pt x="4609277" y="256923"/>
                </a:cubicBezTo>
                <a:cubicBezTo>
                  <a:pt x="4610342" y="255725"/>
                  <a:pt x="4611274" y="254394"/>
                  <a:pt x="4611940" y="252664"/>
                </a:cubicBezTo>
                <a:cubicBezTo>
                  <a:pt x="4612605" y="251066"/>
                  <a:pt x="4613005" y="249203"/>
                  <a:pt x="4613005" y="247206"/>
                </a:cubicBezTo>
                <a:cubicBezTo>
                  <a:pt x="4613005" y="245342"/>
                  <a:pt x="4612605" y="243612"/>
                  <a:pt x="4611940" y="242014"/>
                </a:cubicBezTo>
                <a:cubicBezTo>
                  <a:pt x="4611274" y="240417"/>
                  <a:pt x="4610342" y="239086"/>
                  <a:pt x="4609277" y="237888"/>
                </a:cubicBezTo>
                <a:cubicBezTo>
                  <a:pt x="4608212" y="236823"/>
                  <a:pt x="4606881" y="235891"/>
                  <a:pt x="4605284" y="235225"/>
                </a:cubicBezTo>
                <a:cubicBezTo>
                  <a:pt x="4603820" y="234560"/>
                  <a:pt x="4602222" y="234160"/>
                  <a:pt x="4600226" y="234160"/>
                </a:cubicBezTo>
                <a:close/>
                <a:moveTo>
                  <a:pt x="4817870" y="234160"/>
                </a:moveTo>
                <a:cubicBezTo>
                  <a:pt x="4812013" y="234160"/>
                  <a:pt x="4809484" y="236157"/>
                  <a:pt x="4807887" y="237755"/>
                </a:cubicBezTo>
                <a:cubicBezTo>
                  <a:pt x="4805357" y="240417"/>
                  <a:pt x="4804293" y="243212"/>
                  <a:pt x="4804293" y="247206"/>
                </a:cubicBezTo>
                <a:cubicBezTo>
                  <a:pt x="4804293" y="251332"/>
                  <a:pt x="4805357" y="254261"/>
                  <a:pt x="4807887" y="256790"/>
                </a:cubicBezTo>
                <a:cubicBezTo>
                  <a:pt x="4809484" y="258388"/>
                  <a:pt x="4812013" y="260251"/>
                  <a:pt x="4817870" y="260251"/>
                </a:cubicBezTo>
                <a:cubicBezTo>
                  <a:pt x="4820000" y="260251"/>
                  <a:pt x="4821731" y="259985"/>
                  <a:pt x="4823195" y="259319"/>
                </a:cubicBezTo>
                <a:cubicBezTo>
                  <a:pt x="4824659" y="258787"/>
                  <a:pt x="4825857" y="257988"/>
                  <a:pt x="4826922" y="256923"/>
                </a:cubicBezTo>
                <a:cubicBezTo>
                  <a:pt x="4827987" y="255725"/>
                  <a:pt x="4828919" y="254394"/>
                  <a:pt x="4829585" y="252664"/>
                </a:cubicBezTo>
                <a:cubicBezTo>
                  <a:pt x="4830383" y="251066"/>
                  <a:pt x="4830650" y="249203"/>
                  <a:pt x="4830650" y="247206"/>
                </a:cubicBezTo>
                <a:cubicBezTo>
                  <a:pt x="4830650" y="245342"/>
                  <a:pt x="4830250" y="243612"/>
                  <a:pt x="4829585" y="242014"/>
                </a:cubicBezTo>
                <a:cubicBezTo>
                  <a:pt x="4828919" y="240417"/>
                  <a:pt x="4827987" y="239086"/>
                  <a:pt x="4826922" y="237888"/>
                </a:cubicBezTo>
                <a:cubicBezTo>
                  <a:pt x="4825857" y="236823"/>
                  <a:pt x="4824526" y="235891"/>
                  <a:pt x="4822929" y="235225"/>
                </a:cubicBezTo>
                <a:cubicBezTo>
                  <a:pt x="4821465" y="234560"/>
                  <a:pt x="4819734" y="234160"/>
                  <a:pt x="4817870" y="234160"/>
                </a:cubicBezTo>
                <a:close/>
                <a:moveTo>
                  <a:pt x="5035515" y="234160"/>
                </a:moveTo>
                <a:cubicBezTo>
                  <a:pt x="5029658" y="234160"/>
                  <a:pt x="5027129" y="236157"/>
                  <a:pt x="5025532" y="237755"/>
                </a:cubicBezTo>
                <a:cubicBezTo>
                  <a:pt x="5023002" y="240417"/>
                  <a:pt x="5021938" y="243212"/>
                  <a:pt x="5021938" y="247206"/>
                </a:cubicBezTo>
                <a:cubicBezTo>
                  <a:pt x="5021938" y="251332"/>
                  <a:pt x="5023002" y="254261"/>
                  <a:pt x="5025532" y="256790"/>
                </a:cubicBezTo>
                <a:cubicBezTo>
                  <a:pt x="5027129" y="258388"/>
                  <a:pt x="5029658" y="260251"/>
                  <a:pt x="5035515" y="260251"/>
                </a:cubicBezTo>
                <a:cubicBezTo>
                  <a:pt x="5037645" y="260251"/>
                  <a:pt x="5039376" y="259985"/>
                  <a:pt x="5040840" y="259319"/>
                </a:cubicBezTo>
                <a:cubicBezTo>
                  <a:pt x="5042304" y="258787"/>
                  <a:pt x="5043636" y="257988"/>
                  <a:pt x="5044567" y="256923"/>
                </a:cubicBezTo>
                <a:cubicBezTo>
                  <a:pt x="5045632" y="255725"/>
                  <a:pt x="5046564" y="254394"/>
                  <a:pt x="5047230" y="252664"/>
                </a:cubicBezTo>
                <a:cubicBezTo>
                  <a:pt x="5048028" y="251066"/>
                  <a:pt x="5048294" y="249203"/>
                  <a:pt x="5048294" y="247206"/>
                </a:cubicBezTo>
                <a:cubicBezTo>
                  <a:pt x="5048294" y="245342"/>
                  <a:pt x="5047895" y="243612"/>
                  <a:pt x="5047230" y="242014"/>
                </a:cubicBezTo>
                <a:cubicBezTo>
                  <a:pt x="5046564" y="240417"/>
                  <a:pt x="5045632" y="239086"/>
                  <a:pt x="5044567" y="237888"/>
                </a:cubicBezTo>
                <a:cubicBezTo>
                  <a:pt x="5043502" y="236823"/>
                  <a:pt x="5042171" y="235891"/>
                  <a:pt x="5040574" y="235225"/>
                </a:cubicBezTo>
                <a:cubicBezTo>
                  <a:pt x="5039110" y="234560"/>
                  <a:pt x="5037379" y="234160"/>
                  <a:pt x="5035515" y="234160"/>
                </a:cubicBezTo>
                <a:close/>
                <a:moveTo>
                  <a:pt x="5253160" y="234160"/>
                </a:moveTo>
                <a:cubicBezTo>
                  <a:pt x="5247303" y="234160"/>
                  <a:pt x="5244774" y="236157"/>
                  <a:pt x="5243177" y="237755"/>
                </a:cubicBezTo>
                <a:cubicBezTo>
                  <a:pt x="5240647" y="240417"/>
                  <a:pt x="5239583" y="243212"/>
                  <a:pt x="5239583" y="247206"/>
                </a:cubicBezTo>
                <a:cubicBezTo>
                  <a:pt x="5239583" y="251332"/>
                  <a:pt x="5240647" y="254261"/>
                  <a:pt x="5243177" y="256790"/>
                </a:cubicBezTo>
                <a:cubicBezTo>
                  <a:pt x="5244774" y="258388"/>
                  <a:pt x="5247303" y="260251"/>
                  <a:pt x="5253160" y="260251"/>
                </a:cubicBezTo>
                <a:cubicBezTo>
                  <a:pt x="5255157" y="260251"/>
                  <a:pt x="5257021" y="259985"/>
                  <a:pt x="5258485" y="259319"/>
                </a:cubicBezTo>
                <a:cubicBezTo>
                  <a:pt x="5259949" y="258787"/>
                  <a:pt x="5261280" y="257988"/>
                  <a:pt x="5262212" y="256923"/>
                </a:cubicBezTo>
                <a:cubicBezTo>
                  <a:pt x="5263277" y="255725"/>
                  <a:pt x="5264209" y="254394"/>
                  <a:pt x="5264875" y="252664"/>
                </a:cubicBezTo>
                <a:cubicBezTo>
                  <a:pt x="5265673" y="251066"/>
                  <a:pt x="5265939" y="249203"/>
                  <a:pt x="5265939" y="247206"/>
                </a:cubicBezTo>
                <a:cubicBezTo>
                  <a:pt x="5265939" y="245342"/>
                  <a:pt x="5265540" y="243612"/>
                  <a:pt x="5264875" y="242014"/>
                </a:cubicBezTo>
                <a:cubicBezTo>
                  <a:pt x="5264209" y="240417"/>
                  <a:pt x="5263277" y="239086"/>
                  <a:pt x="5262212" y="237887"/>
                </a:cubicBezTo>
                <a:cubicBezTo>
                  <a:pt x="5261147" y="236823"/>
                  <a:pt x="5259816" y="235891"/>
                  <a:pt x="5258219" y="235225"/>
                </a:cubicBezTo>
                <a:cubicBezTo>
                  <a:pt x="5256754" y="234560"/>
                  <a:pt x="5255024" y="234160"/>
                  <a:pt x="5253160" y="234160"/>
                </a:cubicBezTo>
                <a:close/>
                <a:moveTo>
                  <a:pt x="5470806" y="234159"/>
                </a:moveTo>
                <a:cubicBezTo>
                  <a:pt x="5464949" y="234159"/>
                  <a:pt x="5462419" y="236156"/>
                  <a:pt x="5460822" y="237754"/>
                </a:cubicBezTo>
                <a:cubicBezTo>
                  <a:pt x="5458293" y="240416"/>
                  <a:pt x="5457228" y="243211"/>
                  <a:pt x="5457228" y="247206"/>
                </a:cubicBezTo>
                <a:cubicBezTo>
                  <a:pt x="5457228" y="251332"/>
                  <a:pt x="5458293" y="254261"/>
                  <a:pt x="5460822" y="256790"/>
                </a:cubicBezTo>
                <a:cubicBezTo>
                  <a:pt x="5462419" y="258388"/>
                  <a:pt x="5464949" y="260251"/>
                  <a:pt x="5470806" y="260251"/>
                </a:cubicBezTo>
                <a:cubicBezTo>
                  <a:pt x="5472802" y="260251"/>
                  <a:pt x="5474666" y="259985"/>
                  <a:pt x="5476130" y="259319"/>
                </a:cubicBezTo>
                <a:cubicBezTo>
                  <a:pt x="5477594" y="258787"/>
                  <a:pt x="5478926" y="257988"/>
                  <a:pt x="5479857" y="256923"/>
                </a:cubicBezTo>
                <a:cubicBezTo>
                  <a:pt x="5480922" y="255725"/>
                  <a:pt x="5481854" y="254394"/>
                  <a:pt x="5482520" y="252664"/>
                </a:cubicBezTo>
                <a:cubicBezTo>
                  <a:pt x="5483319" y="251066"/>
                  <a:pt x="5483585" y="249203"/>
                  <a:pt x="5483585" y="247206"/>
                </a:cubicBezTo>
                <a:cubicBezTo>
                  <a:pt x="5483585" y="245341"/>
                  <a:pt x="5483185" y="243612"/>
                  <a:pt x="5482520" y="242013"/>
                </a:cubicBezTo>
                <a:cubicBezTo>
                  <a:pt x="5481854" y="240416"/>
                  <a:pt x="5480922" y="239086"/>
                  <a:pt x="5479857" y="237887"/>
                </a:cubicBezTo>
                <a:cubicBezTo>
                  <a:pt x="5478793" y="236822"/>
                  <a:pt x="5477461" y="235890"/>
                  <a:pt x="5475864" y="235224"/>
                </a:cubicBezTo>
                <a:cubicBezTo>
                  <a:pt x="5474400" y="234559"/>
                  <a:pt x="5472669" y="234159"/>
                  <a:pt x="5470806" y="234159"/>
                </a:cubicBezTo>
                <a:close/>
                <a:moveTo>
                  <a:pt x="5688451" y="234159"/>
                </a:moveTo>
                <a:cubicBezTo>
                  <a:pt x="5682594" y="234159"/>
                  <a:pt x="5680064" y="236156"/>
                  <a:pt x="5678467" y="237754"/>
                </a:cubicBezTo>
                <a:cubicBezTo>
                  <a:pt x="5675938" y="240416"/>
                  <a:pt x="5674873" y="243211"/>
                  <a:pt x="5674873" y="247205"/>
                </a:cubicBezTo>
                <a:cubicBezTo>
                  <a:pt x="5674873" y="251332"/>
                  <a:pt x="5675938" y="254261"/>
                  <a:pt x="5678467" y="256790"/>
                </a:cubicBezTo>
                <a:cubicBezTo>
                  <a:pt x="5680064" y="258388"/>
                  <a:pt x="5682594" y="260251"/>
                  <a:pt x="5688451" y="260251"/>
                </a:cubicBezTo>
                <a:cubicBezTo>
                  <a:pt x="5690447" y="260251"/>
                  <a:pt x="5692178" y="259985"/>
                  <a:pt x="5693775" y="259319"/>
                </a:cubicBezTo>
                <a:cubicBezTo>
                  <a:pt x="5695239" y="258787"/>
                  <a:pt x="5696571" y="257988"/>
                  <a:pt x="5697502" y="256923"/>
                </a:cubicBezTo>
                <a:cubicBezTo>
                  <a:pt x="5698567" y="255725"/>
                  <a:pt x="5699499" y="254394"/>
                  <a:pt x="5700165" y="252664"/>
                </a:cubicBezTo>
                <a:cubicBezTo>
                  <a:pt x="5700830" y="251065"/>
                  <a:pt x="5701230" y="249202"/>
                  <a:pt x="5701230" y="247205"/>
                </a:cubicBezTo>
                <a:cubicBezTo>
                  <a:pt x="5701230" y="245341"/>
                  <a:pt x="5700830" y="243611"/>
                  <a:pt x="5700165" y="242013"/>
                </a:cubicBezTo>
                <a:cubicBezTo>
                  <a:pt x="5699499" y="240416"/>
                  <a:pt x="5698567" y="239085"/>
                  <a:pt x="5697502" y="237887"/>
                </a:cubicBezTo>
                <a:cubicBezTo>
                  <a:pt x="5696437" y="236822"/>
                  <a:pt x="5695106" y="235890"/>
                  <a:pt x="5693509" y="235224"/>
                </a:cubicBezTo>
                <a:cubicBezTo>
                  <a:pt x="5692045" y="234559"/>
                  <a:pt x="5690314" y="234159"/>
                  <a:pt x="5688451" y="234159"/>
                </a:cubicBezTo>
                <a:close/>
                <a:moveTo>
                  <a:pt x="5905963" y="234159"/>
                </a:moveTo>
                <a:cubicBezTo>
                  <a:pt x="5900106" y="234159"/>
                  <a:pt x="5897576" y="236156"/>
                  <a:pt x="5895979" y="237754"/>
                </a:cubicBezTo>
                <a:cubicBezTo>
                  <a:pt x="5893450" y="240416"/>
                  <a:pt x="5892385" y="243211"/>
                  <a:pt x="5892385" y="247205"/>
                </a:cubicBezTo>
                <a:cubicBezTo>
                  <a:pt x="5892385" y="251331"/>
                  <a:pt x="5893450" y="254260"/>
                  <a:pt x="5895979" y="256790"/>
                </a:cubicBezTo>
                <a:cubicBezTo>
                  <a:pt x="5897576" y="258388"/>
                  <a:pt x="5900106" y="260251"/>
                  <a:pt x="5905963" y="260251"/>
                </a:cubicBezTo>
                <a:cubicBezTo>
                  <a:pt x="5908093" y="260251"/>
                  <a:pt x="5909823" y="259985"/>
                  <a:pt x="5911287" y="259319"/>
                </a:cubicBezTo>
                <a:cubicBezTo>
                  <a:pt x="5912751" y="258787"/>
                  <a:pt x="5914083" y="257987"/>
                  <a:pt x="5915014" y="256923"/>
                </a:cubicBezTo>
                <a:cubicBezTo>
                  <a:pt x="5916079" y="255724"/>
                  <a:pt x="5917011" y="254393"/>
                  <a:pt x="5917677" y="252663"/>
                </a:cubicBezTo>
                <a:cubicBezTo>
                  <a:pt x="5918342" y="251065"/>
                  <a:pt x="5918742" y="249202"/>
                  <a:pt x="5918742" y="247205"/>
                </a:cubicBezTo>
                <a:cubicBezTo>
                  <a:pt x="5918742" y="245341"/>
                  <a:pt x="5918342" y="243611"/>
                  <a:pt x="5917677" y="242013"/>
                </a:cubicBezTo>
                <a:cubicBezTo>
                  <a:pt x="5917011" y="240416"/>
                  <a:pt x="5916079" y="239085"/>
                  <a:pt x="5915014" y="237887"/>
                </a:cubicBezTo>
                <a:cubicBezTo>
                  <a:pt x="5913950" y="236822"/>
                  <a:pt x="5912618" y="235890"/>
                  <a:pt x="5911021" y="235224"/>
                </a:cubicBezTo>
                <a:cubicBezTo>
                  <a:pt x="5909557" y="234559"/>
                  <a:pt x="5907826" y="234159"/>
                  <a:pt x="5905963" y="234159"/>
                </a:cubicBezTo>
                <a:close/>
                <a:moveTo>
                  <a:pt x="6123608" y="234159"/>
                </a:moveTo>
                <a:cubicBezTo>
                  <a:pt x="6117751" y="234159"/>
                  <a:pt x="6115221" y="236156"/>
                  <a:pt x="6113624" y="237754"/>
                </a:cubicBezTo>
                <a:cubicBezTo>
                  <a:pt x="6111095" y="240416"/>
                  <a:pt x="6110030" y="243211"/>
                  <a:pt x="6110030" y="247205"/>
                </a:cubicBezTo>
                <a:cubicBezTo>
                  <a:pt x="6110030" y="251331"/>
                  <a:pt x="6111095" y="254260"/>
                  <a:pt x="6113624" y="256789"/>
                </a:cubicBezTo>
                <a:cubicBezTo>
                  <a:pt x="6115221" y="258387"/>
                  <a:pt x="6117751" y="260250"/>
                  <a:pt x="6123608" y="260250"/>
                </a:cubicBezTo>
                <a:cubicBezTo>
                  <a:pt x="6125737" y="260250"/>
                  <a:pt x="6127468" y="259985"/>
                  <a:pt x="6128932" y="259318"/>
                </a:cubicBezTo>
                <a:cubicBezTo>
                  <a:pt x="6130530" y="258786"/>
                  <a:pt x="6131728" y="257987"/>
                  <a:pt x="6132659" y="256922"/>
                </a:cubicBezTo>
                <a:cubicBezTo>
                  <a:pt x="6133724" y="255724"/>
                  <a:pt x="6134656" y="254393"/>
                  <a:pt x="6135322" y="252663"/>
                </a:cubicBezTo>
                <a:cubicBezTo>
                  <a:pt x="6135987" y="251065"/>
                  <a:pt x="6136387" y="249202"/>
                  <a:pt x="6136387" y="247205"/>
                </a:cubicBezTo>
                <a:cubicBezTo>
                  <a:pt x="6136387" y="245341"/>
                  <a:pt x="6135987" y="243611"/>
                  <a:pt x="6135322" y="242013"/>
                </a:cubicBezTo>
                <a:cubicBezTo>
                  <a:pt x="6134656" y="240416"/>
                  <a:pt x="6133724" y="239085"/>
                  <a:pt x="6132659" y="237887"/>
                </a:cubicBezTo>
                <a:cubicBezTo>
                  <a:pt x="6131594" y="236822"/>
                  <a:pt x="6130263" y="235890"/>
                  <a:pt x="6128666" y="235224"/>
                </a:cubicBezTo>
                <a:cubicBezTo>
                  <a:pt x="6127202" y="234559"/>
                  <a:pt x="6125604" y="234159"/>
                  <a:pt x="6123608" y="234159"/>
                </a:cubicBezTo>
                <a:close/>
                <a:moveTo>
                  <a:pt x="6341253" y="234159"/>
                </a:moveTo>
                <a:cubicBezTo>
                  <a:pt x="6335396" y="234159"/>
                  <a:pt x="6332867" y="236156"/>
                  <a:pt x="6331270" y="237754"/>
                </a:cubicBezTo>
                <a:cubicBezTo>
                  <a:pt x="6328740" y="240416"/>
                  <a:pt x="6327675" y="243211"/>
                  <a:pt x="6327675" y="247205"/>
                </a:cubicBezTo>
                <a:cubicBezTo>
                  <a:pt x="6327675" y="251331"/>
                  <a:pt x="6328740" y="254260"/>
                  <a:pt x="6331270" y="256789"/>
                </a:cubicBezTo>
                <a:cubicBezTo>
                  <a:pt x="6332867" y="258387"/>
                  <a:pt x="6335396" y="260250"/>
                  <a:pt x="6341253" y="260250"/>
                </a:cubicBezTo>
                <a:cubicBezTo>
                  <a:pt x="6343250" y="260250"/>
                  <a:pt x="6345114" y="259984"/>
                  <a:pt x="6346578" y="259318"/>
                </a:cubicBezTo>
                <a:cubicBezTo>
                  <a:pt x="6348042" y="258786"/>
                  <a:pt x="6349373" y="257987"/>
                  <a:pt x="6350305" y="256922"/>
                </a:cubicBezTo>
                <a:cubicBezTo>
                  <a:pt x="6351370" y="255724"/>
                  <a:pt x="6352302" y="254393"/>
                  <a:pt x="6352968" y="252663"/>
                </a:cubicBezTo>
                <a:cubicBezTo>
                  <a:pt x="6353766" y="251065"/>
                  <a:pt x="6354033" y="249202"/>
                  <a:pt x="6354033" y="247205"/>
                </a:cubicBezTo>
                <a:cubicBezTo>
                  <a:pt x="6354033" y="245341"/>
                  <a:pt x="6353633" y="243611"/>
                  <a:pt x="6352968" y="242013"/>
                </a:cubicBezTo>
                <a:cubicBezTo>
                  <a:pt x="6352302" y="240416"/>
                  <a:pt x="6351370" y="239085"/>
                  <a:pt x="6350305" y="237887"/>
                </a:cubicBezTo>
                <a:cubicBezTo>
                  <a:pt x="6349241" y="236822"/>
                  <a:pt x="6347909" y="235890"/>
                  <a:pt x="6346312" y="235224"/>
                </a:cubicBezTo>
                <a:cubicBezTo>
                  <a:pt x="6344848" y="234559"/>
                  <a:pt x="6343250" y="234159"/>
                  <a:pt x="6341253" y="234159"/>
                </a:cubicBezTo>
                <a:close/>
                <a:moveTo>
                  <a:pt x="6558899" y="234159"/>
                </a:moveTo>
                <a:cubicBezTo>
                  <a:pt x="6553042" y="234159"/>
                  <a:pt x="6550512" y="236156"/>
                  <a:pt x="6548915" y="237754"/>
                </a:cubicBezTo>
                <a:cubicBezTo>
                  <a:pt x="6546386" y="240416"/>
                  <a:pt x="6545321" y="243211"/>
                  <a:pt x="6545321" y="247205"/>
                </a:cubicBezTo>
                <a:cubicBezTo>
                  <a:pt x="6545321" y="251331"/>
                  <a:pt x="6546386" y="254260"/>
                  <a:pt x="6548915" y="256789"/>
                </a:cubicBezTo>
                <a:cubicBezTo>
                  <a:pt x="6550512" y="258387"/>
                  <a:pt x="6553042" y="260250"/>
                  <a:pt x="6558899" y="260250"/>
                </a:cubicBezTo>
                <a:cubicBezTo>
                  <a:pt x="6560895" y="260250"/>
                  <a:pt x="6562759" y="259984"/>
                  <a:pt x="6564223" y="259318"/>
                </a:cubicBezTo>
                <a:cubicBezTo>
                  <a:pt x="6565687" y="258786"/>
                  <a:pt x="6567019" y="257987"/>
                  <a:pt x="6567950" y="256922"/>
                </a:cubicBezTo>
                <a:cubicBezTo>
                  <a:pt x="6569015" y="255724"/>
                  <a:pt x="6569947" y="254393"/>
                  <a:pt x="6570612" y="252663"/>
                </a:cubicBezTo>
                <a:cubicBezTo>
                  <a:pt x="6571412" y="251065"/>
                  <a:pt x="6571677" y="249202"/>
                  <a:pt x="6571677" y="247205"/>
                </a:cubicBezTo>
                <a:cubicBezTo>
                  <a:pt x="6571677" y="245341"/>
                  <a:pt x="6571278" y="243611"/>
                  <a:pt x="6570612" y="242013"/>
                </a:cubicBezTo>
                <a:cubicBezTo>
                  <a:pt x="6569947" y="240416"/>
                  <a:pt x="6569015" y="239085"/>
                  <a:pt x="6567950" y="237887"/>
                </a:cubicBezTo>
                <a:cubicBezTo>
                  <a:pt x="6566885" y="236822"/>
                  <a:pt x="6565554" y="235890"/>
                  <a:pt x="6563956" y="235224"/>
                </a:cubicBezTo>
                <a:cubicBezTo>
                  <a:pt x="6562492" y="234559"/>
                  <a:pt x="6560895" y="234159"/>
                  <a:pt x="6558899" y="234159"/>
                </a:cubicBezTo>
                <a:close/>
                <a:moveTo>
                  <a:pt x="6776544" y="234159"/>
                </a:moveTo>
                <a:cubicBezTo>
                  <a:pt x="6770687" y="234159"/>
                  <a:pt x="6768157" y="236156"/>
                  <a:pt x="6766560" y="237754"/>
                </a:cubicBezTo>
                <a:cubicBezTo>
                  <a:pt x="6764031" y="240416"/>
                  <a:pt x="6762966" y="243211"/>
                  <a:pt x="6762966" y="247205"/>
                </a:cubicBezTo>
                <a:cubicBezTo>
                  <a:pt x="6762966" y="251331"/>
                  <a:pt x="6764031" y="254260"/>
                  <a:pt x="6766560" y="256789"/>
                </a:cubicBezTo>
                <a:cubicBezTo>
                  <a:pt x="6768157" y="258387"/>
                  <a:pt x="6770687" y="260250"/>
                  <a:pt x="6776544" y="260250"/>
                </a:cubicBezTo>
                <a:cubicBezTo>
                  <a:pt x="6778541" y="260250"/>
                  <a:pt x="6780270" y="259984"/>
                  <a:pt x="6781869" y="259318"/>
                </a:cubicBezTo>
                <a:cubicBezTo>
                  <a:pt x="6783333" y="258786"/>
                  <a:pt x="6784664" y="257987"/>
                  <a:pt x="6785595" y="256922"/>
                </a:cubicBezTo>
                <a:cubicBezTo>
                  <a:pt x="6786661" y="255724"/>
                  <a:pt x="6787593" y="254393"/>
                  <a:pt x="6788258" y="252663"/>
                </a:cubicBezTo>
                <a:cubicBezTo>
                  <a:pt x="6789057" y="251065"/>
                  <a:pt x="6789323" y="249202"/>
                  <a:pt x="6789323" y="247205"/>
                </a:cubicBezTo>
                <a:cubicBezTo>
                  <a:pt x="6789323" y="245341"/>
                  <a:pt x="6788923" y="243611"/>
                  <a:pt x="6788258" y="242013"/>
                </a:cubicBezTo>
                <a:cubicBezTo>
                  <a:pt x="6787593" y="240416"/>
                  <a:pt x="6786661" y="239085"/>
                  <a:pt x="6785595" y="237887"/>
                </a:cubicBezTo>
                <a:cubicBezTo>
                  <a:pt x="6784530" y="236822"/>
                  <a:pt x="6783199" y="235890"/>
                  <a:pt x="6781602" y="235224"/>
                </a:cubicBezTo>
                <a:cubicBezTo>
                  <a:pt x="6780138" y="234559"/>
                  <a:pt x="6778541" y="234159"/>
                  <a:pt x="6776544" y="234159"/>
                </a:cubicBezTo>
                <a:close/>
                <a:moveTo>
                  <a:pt x="6994056" y="234159"/>
                </a:moveTo>
                <a:cubicBezTo>
                  <a:pt x="6988199" y="234159"/>
                  <a:pt x="6985669" y="236156"/>
                  <a:pt x="6984072" y="237754"/>
                </a:cubicBezTo>
                <a:cubicBezTo>
                  <a:pt x="6981543" y="240416"/>
                  <a:pt x="6980478" y="243211"/>
                  <a:pt x="6980478" y="247205"/>
                </a:cubicBezTo>
                <a:cubicBezTo>
                  <a:pt x="6980478" y="251331"/>
                  <a:pt x="6981543" y="254260"/>
                  <a:pt x="6984072" y="256789"/>
                </a:cubicBezTo>
                <a:cubicBezTo>
                  <a:pt x="6985669" y="258387"/>
                  <a:pt x="6988199" y="260250"/>
                  <a:pt x="6994056" y="260250"/>
                </a:cubicBezTo>
                <a:cubicBezTo>
                  <a:pt x="6996185" y="260250"/>
                  <a:pt x="6997916" y="259984"/>
                  <a:pt x="6999380" y="259318"/>
                </a:cubicBezTo>
                <a:cubicBezTo>
                  <a:pt x="7000844" y="258786"/>
                  <a:pt x="7002176" y="257987"/>
                  <a:pt x="7003107" y="256922"/>
                </a:cubicBezTo>
                <a:cubicBezTo>
                  <a:pt x="7004172" y="255724"/>
                  <a:pt x="7005104" y="254393"/>
                  <a:pt x="7005769" y="252663"/>
                </a:cubicBezTo>
                <a:cubicBezTo>
                  <a:pt x="7006568" y="251065"/>
                  <a:pt x="7006834" y="249202"/>
                  <a:pt x="7006834" y="247205"/>
                </a:cubicBezTo>
                <a:cubicBezTo>
                  <a:pt x="7006834" y="245341"/>
                  <a:pt x="7006435" y="243611"/>
                  <a:pt x="7005769" y="242013"/>
                </a:cubicBezTo>
                <a:cubicBezTo>
                  <a:pt x="7005104" y="240416"/>
                  <a:pt x="7004172" y="239085"/>
                  <a:pt x="7003107" y="237887"/>
                </a:cubicBezTo>
                <a:cubicBezTo>
                  <a:pt x="7002042" y="236822"/>
                  <a:pt x="7000711" y="235890"/>
                  <a:pt x="6999113" y="235224"/>
                </a:cubicBezTo>
                <a:cubicBezTo>
                  <a:pt x="6997649" y="234559"/>
                  <a:pt x="6996052" y="234159"/>
                  <a:pt x="6994056" y="234159"/>
                </a:cubicBezTo>
                <a:close/>
                <a:moveTo>
                  <a:pt x="7211701" y="234159"/>
                </a:moveTo>
                <a:cubicBezTo>
                  <a:pt x="7205844" y="234159"/>
                  <a:pt x="7203314" y="236156"/>
                  <a:pt x="7201717" y="237754"/>
                </a:cubicBezTo>
                <a:cubicBezTo>
                  <a:pt x="7199188" y="240416"/>
                  <a:pt x="7198123" y="243211"/>
                  <a:pt x="7198123" y="247205"/>
                </a:cubicBezTo>
                <a:cubicBezTo>
                  <a:pt x="7198123" y="251331"/>
                  <a:pt x="7199188" y="254260"/>
                  <a:pt x="7201717" y="256789"/>
                </a:cubicBezTo>
                <a:cubicBezTo>
                  <a:pt x="7203314" y="258387"/>
                  <a:pt x="7205844" y="260250"/>
                  <a:pt x="7211701" y="260250"/>
                </a:cubicBezTo>
                <a:cubicBezTo>
                  <a:pt x="7213830" y="260250"/>
                  <a:pt x="7215561" y="259984"/>
                  <a:pt x="7217026" y="259318"/>
                </a:cubicBezTo>
                <a:cubicBezTo>
                  <a:pt x="7218490" y="258786"/>
                  <a:pt x="7219821" y="257987"/>
                  <a:pt x="7220752" y="256922"/>
                </a:cubicBezTo>
                <a:cubicBezTo>
                  <a:pt x="7221818" y="255724"/>
                  <a:pt x="7222750" y="254393"/>
                  <a:pt x="7223415" y="252663"/>
                </a:cubicBezTo>
                <a:cubicBezTo>
                  <a:pt x="7224214" y="251065"/>
                  <a:pt x="7224480" y="249202"/>
                  <a:pt x="7224480" y="247205"/>
                </a:cubicBezTo>
                <a:cubicBezTo>
                  <a:pt x="7224480" y="245341"/>
                  <a:pt x="7224080" y="243611"/>
                  <a:pt x="7223415" y="242013"/>
                </a:cubicBezTo>
                <a:cubicBezTo>
                  <a:pt x="7222750" y="240416"/>
                  <a:pt x="7221818" y="239085"/>
                  <a:pt x="7220752" y="237887"/>
                </a:cubicBezTo>
                <a:cubicBezTo>
                  <a:pt x="7219687" y="236822"/>
                  <a:pt x="7218356" y="235890"/>
                  <a:pt x="7216759" y="235224"/>
                </a:cubicBezTo>
                <a:cubicBezTo>
                  <a:pt x="7215295" y="234559"/>
                  <a:pt x="7213698" y="234159"/>
                  <a:pt x="7211701" y="234159"/>
                </a:cubicBezTo>
                <a:close/>
                <a:moveTo>
                  <a:pt x="7429345" y="234158"/>
                </a:moveTo>
                <a:cubicBezTo>
                  <a:pt x="7423488" y="234158"/>
                  <a:pt x="7420958" y="236155"/>
                  <a:pt x="7419361" y="237753"/>
                </a:cubicBezTo>
                <a:cubicBezTo>
                  <a:pt x="7416832" y="240416"/>
                  <a:pt x="7415768" y="243211"/>
                  <a:pt x="7415768" y="247205"/>
                </a:cubicBezTo>
                <a:cubicBezTo>
                  <a:pt x="7415768" y="251331"/>
                  <a:pt x="7416832" y="254260"/>
                  <a:pt x="7419361" y="256789"/>
                </a:cubicBezTo>
                <a:cubicBezTo>
                  <a:pt x="7420958" y="258387"/>
                  <a:pt x="7423488" y="260250"/>
                  <a:pt x="7429345" y="260250"/>
                </a:cubicBezTo>
                <a:cubicBezTo>
                  <a:pt x="7431342" y="260250"/>
                  <a:pt x="7433206" y="259984"/>
                  <a:pt x="7434670" y="259318"/>
                </a:cubicBezTo>
                <a:cubicBezTo>
                  <a:pt x="7436134" y="258786"/>
                  <a:pt x="7437466" y="257987"/>
                  <a:pt x="7438397" y="256922"/>
                </a:cubicBezTo>
                <a:cubicBezTo>
                  <a:pt x="7439462" y="255724"/>
                  <a:pt x="7440394" y="254393"/>
                  <a:pt x="7441059" y="252663"/>
                </a:cubicBezTo>
                <a:cubicBezTo>
                  <a:pt x="7441858" y="251065"/>
                  <a:pt x="7442124" y="249202"/>
                  <a:pt x="7442124" y="247205"/>
                </a:cubicBezTo>
                <a:cubicBezTo>
                  <a:pt x="7442124" y="245341"/>
                  <a:pt x="7441725" y="243611"/>
                  <a:pt x="7441059" y="242013"/>
                </a:cubicBezTo>
                <a:cubicBezTo>
                  <a:pt x="7440394" y="240416"/>
                  <a:pt x="7439462" y="239085"/>
                  <a:pt x="7438397" y="237886"/>
                </a:cubicBezTo>
                <a:cubicBezTo>
                  <a:pt x="7437332" y="236821"/>
                  <a:pt x="7436001" y="235889"/>
                  <a:pt x="7434403" y="235223"/>
                </a:cubicBezTo>
                <a:cubicBezTo>
                  <a:pt x="7432939" y="234558"/>
                  <a:pt x="7431342" y="234158"/>
                  <a:pt x="7429345" y="234158"/>
                </a:cubicBezTo>
                <a:close/>
                <a:moveTo>
                  <a:pt x="7646991" y="234158"/>
                </a:moveTo>
                <a:cubicBezTo>
                  <a:pt x="7641134" y="234158"/>
                  <a:pt x="7638604" y="236155"/>
                  <a:pt x="7637007" y="237753"/>
                </a:cubicBezTo>
                <a:cubicBezTo>
                  <a:pt x="7634478" y="240415"/>
                  <a:pt x="7633413" y="243210"/>
                  <a:pt x="7633413" y="247205"/>
                </a:cubicBezTo>
                <a:cubicBezTo>
                  <a:pt x="7633413" y="251331"/>
                  <a:pt x="7634478" y="254260"/>
                  <a:pt x="7637007" y="256789"/>
                </a:cubicBezTo>
                <a:cubicBezTo>
                  <a:pt x="7638604" y="258387"/>
                  <a:pt x="7641134" y="260250"/>
                  <a:pt x="7646991" y="260250"/>
                </a:cubicBezTo>
                <a:cubicBezTo>
                  <a:pt x="7648987" y="260250"/>
                  <a:pt x="7650851" y="259984"/>
                  <a:pt x="7652315" y="259318"/>
                </a:cubicBezTo>
                <a:cubicBezTo>
                  <a:pt x="7653780" y="258786"/>
                  <a:pt x="7655111" y="257987"/>
                  <a:pt x="7656042" y="256922"/>
                </a:cubicBezTo>
                <a:cubicBezTo>
                  <a:pt x="7657108" y="255724"/>
                  <a:pt x="7658039" y="254393"/>
                  <a:pt x="7658705" y="252663"/>
                </a:cubicBezTo>
                <a:cubicBezTo>
                  <a:pt x="7659504" y="251065"/>
                  <a:pt x="7659769" y="249201"/>
                  <a:pt x="7659769" y="247205"/>
                </a:cubicBezTo>
                <a:cubicBezTo>
                  <a:pt x="7659769" y="245340"/>
                  <a:pt x="7659370" y="243611"/>
                  <a:pt x="7658705" y="242012"/>
                </a:cubicBezTo>
                <a:cubicBezTo>
                  <a:pt x="7658039" y="240415"/>
                  <a:pt x="7657108" y="239084"/>
                  <a:pt x="7656042" y="237886"/>
                </a:cubicBezTo>
                <a:cubicBezTo>
                  <a:pt x="7654977" y="236821"/>
                  <a:pt x="7653646" y="235889"/>
                  <a:pt x="7652049" y="235223"/>
                </a:cubicBezTo>
                <a:cubicBezTo>
                  <a:pt x="7650584" y="234558"/>
                  <a:pt x="7648987" y="234158"/>
                  <a:pt x="7646991" y="234158"/>
                </a:cubicBezTo>
                <a:close/>
                <a:moveTo>
                  <a:pt x="7864636" y="234158"/>
                </a:moveTo>
                <a:cubicBezTo>
                  <a:pt x="7858779" y="234158"/>
                  <a:pt x="7856249" y="236155"/>
                  <a:pt x="7854652" y="237753"/>
                </a:cubicBezTo>
                <a:cubicBezTo>
                  <a:pt x="7852123" y="240415"/>
                  <a:pt x="7851058" y="243210"/>
                  <a:pt x="7851058" y="247204"/>
                </a:cubicBezTo>
                <a:cubicBezTo>
                  <a:pt x="7851058" y="251331"/>
                  <a:pt x="7852123" y="254260"/>
                  <a:pt x="7854652" y="256789"/>
                </a:cubicBezTo>
                <a:cubicBezTo>
                  <a:pt x="7856249" y="258387"/>
                  <a:pt x="7858779" y="260250"/>
                  <a:pt x="7864636" y="260250"/>
                </a:cubicBezTo>
                <a:cubicBezTo>
                  <a:pt x="7866633" y="260250"/>
                  <a:pt x="7868363" y="259984"/>
                  <a:pt x="7869961" y="259318"/>
                </a:cubicBezTo>
                <a:cubicBezTo>
                  <a:pt x="7871425" y="258786"/>
                  <a:pt x="7872756" y="257986"/>
                  <a:pt x="7873687" y="256922"/>
                </a:cubicBezTo>
                <a:cubicBezTo>
                  <a:pt x="7874753" y="255724"/>
                  <a:pt x="7875685" y="254393"/>
                  <a:pt x="7876350" y="252662"/>
                </a:cubicBezTo>
                <a:cubicBezTo>
                  <a:pt x="7877015" y="251064"/>
                  <a:pt x="7877282" y="249201"/>
                  <a:pt x="7877282" y="247204"/>
                </a:cubicBezTo>
                <a:cubicBezTo>
                  <a:pt x="7877282" y="245340"/>
                  <a:pt x="7877015" y="243610"/>
                  <a:pt x="7876350" y="242012"/>
                </a:cubicBezTo>
                <a:cubicBezTo>
                  <a:pt x="7875685" y="240415"/>
                  <a:pt x="7874753" y="239084"/>
                  <a:pt x="7873687" y="237886"/>
                </a:cubicBezTo>
                <a:cubicBezTo>
                  <a:pt x="7872623" y="236821"/>
                  <a:pt x="7871291" y="235889"/>
                  <a:pt x="7869694" y="235223"/>
                </a:cubicBezTo>
                <a:cubicBezTo>
                  <a:pt x="7868230" y="234558"/>
                  <a:pt x="7866633" y="234158"/>
                  <a:pt x="7864636" y="234158"/>
                </a:cubicBezTo>
                <a:close/>
                <a:moveTo>
                  <a:pt x="8082281" y="234158"/>
                </a:moveTo>
                <a:cubicBezTo>
                  <a:pt x="8076424" y="234158"/>
                  <a:pt x="8073894" y="236155"/>
                  <a:pt x="8072297" y="237753"/>
                </a:cubicBezTo>
                <a:cubicBezTo>
                  <a:pt x="8069768" y="240415"/>
                  <a:pt x="8068703" y="243210"/>
                  <a:pt x="8068703" y="247204"/>
                </a:cubicBezTo>
                <a:cubicBezTo>
                  <a:pt x="8068703" y="251330"/>
                  <a:pt x="8069768" y="254259"/>
                  <a:pt x="8072297" y="256788"/>
                </a:cubicBezTo>
                <a:cubicBezTo>
                  <a:pt x="8073894" y="258386"/>
                  <a:pt x="8076424" y="260249"/>
                  <a:pt x="8082281" y="260249"/>
                </a:cubicBezTo>
                <a:cubicBezTo>
                  <a:pt x="8084277" y="260249"/>
                  <a:pt x="8086007" y="259984"/>
                  <a:pt x="8087605" y="259317"/>
                </a:cubicBezTo>
                <a:cubicBezTo>
                  <a:pt x="8089069" y="258785"/>
                  <a:pt x="8090401" y="257986"/>
                  <a:pt x="8091332" y="256921"/>
                </a:cubicBezTo>
                <a:cubicBezTo>
                  <a:pt x="8092397" y="255723"/>
                  <a:pt x="8093329" y="254392"/>
                  <a:pt x="8093994" y="252662"/>
                </a:cubicBezTo>
                <a:cubicBezTo>
                  <a:pt x="8094660" y="251064"/>
                  <a:pt x="8094926" y="249201"/>
                  <a:pt x="8094926" y="247204"/>
                </a:cubicBezTo>
                <a:cubicBezTo>
                  <a:pt x="8094926" y="245340"/>
                  <a:pt x="8094660" y="243610"/>
                  <a:pt x="8093994" y="242012"/>
                </a:cubicBezTo>
                <a:cubicBezTo>
                  <a:pt x="8093329" y="240415"/>
                  <a:pt x="8092397" y="239084"/>
                  <a:pt x="8091332" y="237886"/>
                </a:cubicBezTo>
                <a:cubicBezTo>
                  <a:pt x="8090267" y="236821"/>
                  <a:pt x="8088936" y="235889"/>
                  <a:pt x="8087338" y="235223"/>
                </a:cubicBezTo>
                <a:cubicBezTo>
                  <a:pt x="8085874" y="234558"/>
                  <a:pt x="8084277" y="234158"/>
                  <a:pt x="8082281" y="234158"/>
                </a:cubicBezTo>
                <a:close/>
                <a:moveTo>
                  <a:pt x="8299793" y="234158"/>
                </a:moveTo>
                <a:cubicBezTo>
                  <a:pt x="8294068" y="234158"/>
                  <a:pt x="8291406" y="236155"/>
                  <a:pt x="8289809" y="237753"/>
                </a:cubicBezTo>
                <a:cubicBezTo>
                  <a:pt x="8287280" y="240415"/>
                  <a:pt x="8286215" y="243210"/>
                  <a:pt x="8286215" y="247204"/>
                </a:cubicBezTo>
                <a:cubicBezTo>
                  <a:pt x="8286215" y="251330"/>
                  <a:pt x="8287280" y="254259"/>
                  <a:pt x="8289809" y="256788"/>
                </a:cubicBezTo>
                <a:cubicBezTo>
                  <a:pt x="8291406" y="258386"/>
                  <a:pt x="8293935" y="260249"/>
                  <a:pt x="8299793" y="260249"/>
                </a:cubicBezTo>
                <a:cubicBezTo>
                  <a:pt x="8301923" y="260249"/>
                  <a:pt x="8303653" y="259983"/>
                  <a:pt x="8305118" y="259317"/>
                </a:cubicBezTo>
                <a:cubicBezTo>
                  <a:pt x="8306582" y="258785"/>
                  <a:pt x="8307913" y="257986"/>
                  <a:pt x="8308844" y="256921"/>
                </a:cubicBezTo>
                <a:cubicBezTo>
                  <a:pt x="8309910" y="255723"/>
                  <a:pt x="8310842" y="254392"/>
                  <a:pt x="8311507" y="252662"/>
                </a:cubicBezTo>
                <a:cubicBezTo>
                  <a:pt x="8312172" y="251064"/>
                  <a:pt x="8312439" y="249201"/>
                  <a:pt x="8312439" y="247204"/>
                </a:cubicBezTo>
                <a:cubicBezTo>
                  <a:pt x="8312439" y="245340"/>
                  <a:pt x="8312172" y="243610"/>
                  <a:pt x="8311507" y="242012"/>
                </a:cubicBezTo>
                <a:cubicBezTo>
                  <a:pt x="8310842" y="240415"/>
                  <a:pt x="8309910" y="239084"/>
                  <a:pt x="8308844" y="237886"/>
                </a:cubicBezTo>
                <a:cubicBezTo>
                  <a:pt x="8307779" y="236821"/>
                  <a:pt x="8306448" y="235889"/>
                  <a:pt x="8304851" y="235223"/>
                </a:cubicBezTo>
                <a:cubicBezTo>
                  <a:pt x="8303387" y="234558"/>
                  <a:pt x="8301790" y="234158"/>
                  <a:pt x="8299793" y="234158"/>
                </a:cubicBezTo>
                <a:close/>
                <a:moveTo>
                  <a:pt x="8517438" y="234158"/>
                </a:moveTo>
                <a:cubicBezTo>
                  <a:pt x="8511713" y="234158"/>
                  <a:pt x="8509051" y="236155"/>
                  <a:pt x="8507453" y="237753"/>
                </a:cubicBezTo>
                <a:cubicBezTo>
                  <a:pt x="8504925" y="240415"/>
                  <a:pt x="8503860" y="243210"/>
                  <a:pt x="8503860" y="247204"/>
                </a:cubicBezTo>
                <a:cubicBezTo>
                  <a:pt x="8503860" y="251330"/>
                  <a:pt x="8504925" y="254259"/>
                  <a:pt x="8507453" y="256788"/>
                </a:cubicBezTo>
                <a:cubicBezTo>
                  <a:pt x="8509051" y="258386"/>
                  <a:pt x="8511581" y="260249"/>
                  <a:pt x="8517438" y="260249"/>
                </a:cubicBezTo>
                <a:cubicBezTo>
                  <a:pt x="8519568" y="260249"/>
                  <a:pt x="8521299" y="259983"/>
                  <a:pt x="8522763" y="259317"/>
                </a:cubicBezTo>
                <a:cubicBezTo>
                  <a:pt x="8524227" y="258785"/>
                  <a:pt x="8525559" y="257986"/>
                  <a:pt x="8526490" y="256921"/>
                </a:cubicBezTo>
                <a:cubicBezTo>
                  <a:pt x="8527555" y="255723"/>
                  <a:pt x="8528487" y="254392"/>
                  <a:pt x="8529152" y="252662"/>
                </a:cubicBezTo>
                <a:cubicBezTo>
                  <a:pt x="8529818" y="251064"/>
                  <a:pt x="8530084" y="249201"/>
                  <a:pt x="8530084" y="247204"/>
                </a:cubicBezTo>
                <a:cubicBezTo>
                  <a:pt x="8530084" y="245340"/>
                  <a:pt x="8529818" y="243610"/>
                  <a:pt x="8529152" y="242012"/>
                </a:cubicBezTo>
                <a:cubicBezTo>
                  <a:pt x="8528487" y="240415"/>
                  <a:pt x="8527555" y="239084"/>
                  <a:pt x="8526490" y="237886"/>
                </a:cubicBezTo>
                <a:cubicBezTo>
                  <a:pt x="8525425" y="236821"/>
                  <a:pt x="8524094" y="235889"/>
                  <a:pt x="8522496" y="235223"/>
                </a:cubicBezTo>
                <a:cubicBezTo>
                  <a:pt x="8521032" y="234558"/>
                  <a:pt x="8519302" y="234158"/>
                  <a:pt x="8517438" y="234158"/>
                </a:cubicBezTo>
                <a:close/>
                <a:moveTo>
                  <a:pt x="8735083" y="234158"/>
                </a:moveTo>
                <a:cubicBezTo>
                  <a:pt x="8729358" y="234158"/>
                  <a:pt x="8726695" y="236155"/>
                  <a:pt x="8725098" y="237753"/>
                </a:cubicBezTo>
                <a:cubicBezTo>
                  <a:pt x="8722569" y="240415"/>
                  <a:pt x="8721504" y="243210"/>
                  <a:pt x="8721504" y="247204"/>
                </a:cubicBezTo>
                <a:cubicBezTo>
                  <a:pt x="8721504" y="251330"/>
                  <a:pt x="8722569" y="254259"/>
                  <a:pt x="8725098" y="256788"/>
                </a:cubicBezTo>
                <a:cubicBezTo>
                  <a:pt x="8726695" y="258386"/>
                  <a:pt x="8729225" y="260249"/>
                  <a:pt x="8735083" y="260249"/>
                </a:cubicBezTo>
                <a:cubicBezTo>
                  <a:pt x="8737079" y="260249"/>
                  <a:pt x="8738943" y="259983"/>
                  <a:pt x="8740407" y="259317"/>
                </a:cubicBezTo>
                <a:cubicBezTo>
                  <a:pt x="8741872" y="258785"/>
                  <a:pt x="8743203" y="257986"/>
                  <a:pt x="8744134" y="256921"/>
                </a:cubicBezTo>
                <a:cubicBezTo>
                  <a:pt x="8745200" y="255723"/>
                  <a:pt x="8746132" y="254392"/>
                  <a:pt x="8746797" y="252662"/>
                </a:cubicBezTo>
                <a:cubicBezTo>
                  <a:pt x="8747596" y="251064"/>
                  <a:pt x="8747862" y="249201"/>
                  <a:pt x="8747862" y="247204"/>
                </a:cubicBezTo>
                <a:cubicBezTo>
                  <a:pt x="8747862" y="245340"/>
                  <a:pt x="8747462" y="243610"/>
                  <a:pt x="8746797" y="242012"/>
                </a:cubicBezTo>
                <a:cubicBezTo>
                  <a:pt x="8746132" y="240415"/>
                  <a:pt x="8745200" y="239084"/>
                  <a:pt x="8744134" y="237886"/>
                </a:cubicBezTo>
                <a:cubicBezTo>
                  <a:pt x="8743069" y="236821"/>
                  <a:pt x="8741738" y="235889"/>
                  <a:pt x="8740141" y="235223"/>
                </a:cubicBezTo>
                <a:cubicBezTo>
                  <a:pt x="8738677" y="234558"/>
                  <a:pt x="8736946" y="234158"/>
                  <a:pt x="8735083" y="234158"/>
                </a:cubicBezTo>
                <a:close/>
                <a:moveTo>
                  <a:pt x="8952728" y="234158"/>
                </a:moveTo>
                <a:cubicBezTo>
                  <a:pt x="8947003" y="234158"/>
                  <a:pt x="8944340" y="236155"/>
                  <a:pt x="8942743" y="237753"/>
                </a:cubicBezTo>
                <a:cubicBezTo>
                  <a:pt x="8940214" y="240415"/>
                  <a:pt x="8939150" y="243210"/>
                  <a:pt x="8939150" y="247204"/>
                </a:cubicBezTo>
                <a:cubicBezTo>
                  <a:pt x="8939150" y="251330"/>
                  <a:pt x="8940214" y="254259"/>
                  <a:pt x="8942743" y="256788"/>
                </a:cubicBezTo>
                <a:cubicBezTo>
                  <a:pt x="8944340" y="258386"/>
                  <a:pt x="8946870" y="260249"/>
                  <a:pt x="8952728" y="260249"/>
                </a:cubicBezTo>
                <a:cubicBezTo>
                  <a:pt x="8954725" y="260249"/>
                  <a:pt x="8956589" y="259983"/>
                  <a:pt x="8958053" y="259317"/>
                </a:cubicBezTo>
                <a:cubicBezTo>
                  <a:pt x="8959517" y="258785"/>
                  <a:pt x="8960849" y="257986"/>
                  <a:pt x="8961780" y="256921"/>
                </a:cubicBezTo>
                <a:cubicBezTo>
                  <a:pt x="8962845" y="255723"/>
                  <a:pt x="8963777" y="254392"/>
                  <a:pt x="8964442" y="252662"/>
                </a:cubicBezTo>
                <a:cubicBezTo>
                  <a:pt x="8965241" y="251064"/>
                  <a:pt x="8965507" y="249201"/>
                  <a:pt x="8965507" y="247204"/>
                </a:cubicBezTo>
                <a:cubicBezTo>
                  <a:pt x="8965507" y="245340"/>
                  <a:pt x="8965108" y="243610"/>
                  <a:pt x="8964442" y="242012"/>
                </a:cubicBezTo>
                <a:cubicBezTo>
                  <a:pt x="8963777" y="240415"/>
                  <a:pt x="8962845" y="239084"/>
                  <a:pt x="8961780" y="237886"/>
                </a:cubicBezTo>
                <a:cubicBezTo>
                  <a:pt x="8960715" y="236821"/>
                  <a:pt x="8959384" y="235889"/>
                  <a:pt x="8957786" y="235223"/>
                </a:cubicBezTo>
                <a:cubicBezTo>
                  <a:pt x="8956322" y="234558"/>
                  <a:pt x="8954592" y="234158"/>
                  <a:pt x="8952728" y="234158"/>
                </a:cubicBezTo>
                <a:close/>
                <a:moveTo>
                  <a:pt x="9170374" y="234158"/>
                </a:moveTo>
                <a:cubicBezTo>
                  <a:pt x="9164649" y="234158"/>
                  <a:pt x="9161986" y="236155"/>
                  <a:pt x="9160389" y="237753"/>
                </a:cubicBezTo>
                <a:cubicBezTo>
                  <a:pt x="9157860" y="240415"/>
                  <a:pt x="9156795" y="243210"/>
                  <a:pt x="9156795" y="247204"/>
                </a:cubicBezTo>
                <a:cubicBezTo>
                  <a:pt x="9156795" y="251330"/>
                  <a:pt x="9157860" y="254259"/>
                  <a:pt x="9160389" y="256788"/>
                </a:cubicBezTo>
                <a:cubicBezTo>
                  <a:pt x="9161986" y="258386"/>
                  <a:pt x="9164516" y="260249"/>
                  <a:pt x="9170374" y="260249"/>
                </a:cubicBezTo>
                <a:cubicBezTo>
                  <a:pt x="9172370" y="260249"/>
                  <a:pt x="9174100" y="259983"/>
                  <a:pt x="9175698" y="259317"/>
                </a:cubicBezTo>
                <a:cubicBezTo>
                  <a:pt x="9177163" y="258785"/>
                  <a:pt x="9178494" y="257986"/>
                  <a:pt x="9179425" y="256921"/>
                </a:cubicBezTo>
                <a:cubicBezTo>
                  <a:pt x="9180491" y="255723"/>
                  <a:pt x="9181422" y="254392"/>
                  <a:pt x="9182088" y="252662"/>
                </a:cubicBezTo>
                <a:cubicBezTo>
                  <a:pt x="9182887" y="251064"/>
                  <a:pt x="9183152" y="249201"/>
                  <a:pt x="9183152" y="247204"/>
                </a:cubicBezTo>
                <a:cubicBezTo>
                  <a:pt x="9183152" y="245340"/>
                  <a:pt x="9182753" y="243610"/>
                  <a:pt x="9182088" y="242012"/>
                </a:cubicBezTo>
                <a:cubicBezTo>
                  <a:pt x="9181422" y="240415"/>
                  <a:pt x="9180491" y="239084"/>
                  <a:pt x="9179425" y="237886"/>
                </a:cubicBezTo>
                <a:cubicBezTo>
                  <a:pt x="9178360" y="236821"/>
                  <a:pt x="9177029" y="235889"/>
                  <a:pt x="9175432" y="235223"/>
                </a:cubicBezTo>
                <a:cubicBezTo>
                  <a:pt x="9173967" y="234558"/>
                  <a:pt x="9172237" y="234158"/>
                  <a:pt x="9170374" y="234158"/>
                </a:cubicBezTo>
                <a:close/>
                <a:moveTo>
                  <a:pt x="9387885" y="234157"/>
                </a:moveTo>
                <a:cubicBezTo>
                  <a:pt x="9382027" y="234157"/>
                  <a:pt x="9379497" y="236154"/>
                  <a:pt x="9377900" y="237752"/>
                </a:cubicBezTo>
                <a:cubicBezTo>
                  <a:pt x="9375371" y="240415"/>
                  <a:pt x="9374307" y="243210"/>
                  <a:pt x="9374307" y="247204"/>
                </a:cubicBezTo>
                <a:cubicBezTo>
                  <a:pt x="9374307" y="251330"/>
                  <a:pt x="9375371" y="254259"/>
                  <a:pt x="9377900" y="256788"/>
                </a:cubicBezTo>
                <a:cubicBezTo>
                  <a:pt x="9379497" y="258386"/>
                  <a:pt x="9382027" y="260249"/>
                  <a:pt x="9387885" y="260249"/>
                </a:cubicBezTo>
                <a:cubicBezTo>
                  <a:pt x="9390015" y="260249"/>
                  <a:pt x="9391746" y="259983"/>
                  <a:pt x="9393210" y="259317"/>
                </a:cubicBezTo>
                <a:cubicBezTo>
                  <a:pt x="9394674" y="258785"/>
                  <a:pt x="9396005" y="257986"/>
                  <a:pt x="9396937" y="256921"/>
                </a:cubicBezTo>
                <a:cubicBezTo>
                  <a:pt x="9398002" y="255723"/>
                  <a:pt x="9398934" y="254392"/>
                  <a:pt x="9399599" y="252662"/>
                </a:cubicBezTo>
                <a:cubicBezTo>
                  <a:pt x="9400398" y="251064"/>
                  <a:pt x="9400664" y="249201"/>
                  <a:pt x="9400664" y="247204"/>
                </a:cubicBezTo>
                <a:cubicBezTo>
                  <a:pt x="9400664" y="245340"/>
                  <a:pt x="9400265" y="243610"/>
                  <a:pt x="9399599" y="242012"/>
                </a:cubicBezTo>
                <a:cubicBezTo>
                  <a:pt x="9398934" y="240415"/>
                  <a:pt x="9398002" y="239084"/>
                  <a:pt x="9396937" y="237885"/>
                </a:cubicBezTo>
                <a:cubicBezTo>
                  <a:pt x="9395872" y="236820"/>
                  <a:pt x="9394541" y="235888"/>
                  <a:pt x="9392943" y="235222"/>
                </a:cubicBezTo>
                <a:cubicBezTo>
                  <a:pt x="9391479" y="234557"/>
                  <a:pt x="9389749" y="234157"/>
                  <a:pt x="9387885" y="234157"/>
                </a:cubicBezTo>
                <a:close/>
                <a:moveTo>
                  <a:pt x="9605531" y="234157"/>
                </a:moveTo>
                <a:cubicBezTo>
                  <a:pt x="9599673" y="234157"/>
                  <a:pt x="9597143" y="236154"/>
                  <a:pt x="9595546" y="237752"/>
                </a:cubicBezTo>
                <a:cubicBezTo>
                  <a:pt x="9593017" y="240414"/>
                  <a:pt x="9591952" y="243209"/>
                  <a:pt x="9591952" y="247204"/>
                </a:cubicBezTo>
                <a:cubicBezTo>
                  <a:pt x="9591952" y="251330"/>
                  <a:pt x="9593017" y="254259"/>
                  <a:pt x="9595546" y="256788"/>
                </a:cubicBezTo>
                <a:cubicBezTo>
                  <a:pt x="9597143" y="258386"/>
                  <a:pt x="9599673" y="260249"/>
                  <a:pt x="9605531" y="260249"/>
                </a:cubicBezTo>
                <a:cubicBezTo>
                  <a:pt x="9607660" y="260249"/>
                  <a:pt x="9609391" y="259983"/>
                  <a:pt x="9610855" y="259317"/>
                </a:cubicBezTo>
                <a:cubicBezTo>
                  <a:pt x="9612319" y="258785"/>
                  <a:pt x="9613651" y="257986"/>
                  <a:pt x="9614582" y="256921"/>
                </a:cubicBezTo>
                <a:cubicBezTo>
                  <a:pt x="9615647" y="255723"/>
                  <a:pt x="9616579" y="254392"/>
                  <a:pt x="9617245" y="252662"/>
                </a:cubicBezTo>
                <a:cubicBezTo>
                  <a:pt x="9618044" y="251064"/>
                  <a:pt x="9618309" y="249201"/>
                  <a:pt x="9618309" y="247204"/>
                </a:cubicBezTo>
                <a:cubicBezTo>
                  <a:pt x="9618309" y="245339"/>
                  <a:pt x="9617910" y="243610"/>
                  <a:pt x="9617245" y="242011"/>
                </a:cubicBezTo>
                <a:cubicBezTo>
                  <a:pt x="9616579" y="240414"/>
                  <a:pt x="9615647" y="239083"/>
                  <a:pt x="9614582" y="237885"/>
                </a:cubicBezTo>
                <a:cubicBezTo>
                  <a:pt x="9613517" y="236820"/>
                  <a:pt x="9612186" y="235888"/>
                  <a:pt x="9610589" y="235222"/>
                </a:cubicBezTo>
                <a:cubicBezTo>
                  <a:pt x="9609124" y="234557"/>
                  <a:pt x="9607394" y="234157"/>
                  <a:pt x="9605531" y="234157"/>
                </a:cubicBezTo>
                <a:close/>
                <a:moveTo>
                  <a:pt x="9823176" y="234157"/>
                </a:moveTo>
                <a:cubicBezTo>
                  <a:pt x="9817318" y="234157"/>
                  <a:pt x="9814788" y="236154"/>
                  <a:pt x="9813191" y="237752"/>
                </a:cubicBezTo>
                <a:cubicBezTo>
                  <a:pt x="9810662" y="240414"/>
                  <a:pt x="9809597" y="243209"/>
                  <a:pt x="9809597" y="247203"/>
                </a:cubicBezTo>
                <a:cubicBezTo>
                  <a:pt x="9809597" y="251330"/>
                  <a:pt x="9810662" y="254259"/>
                  <a:pt x="9813191" y="256788"/>
                </a:cubicBezTo>
                <a:cubicBezTo>
                  <a:pt x="9814788" y="258386"/>
                  <a:pt x="9817318" y="260249"/>
                  <a:pt x="9823176" y="260249"/>
                </a:cubicBezTo>
                <a:cubicBezTo>
                  <a:pt x="9825173" y="260249"/>
                  <a:pt x="9827036" y="259983"/>
                  <a:pt x="9828501" y="259317"/>
                </a:cubicBezTo>
                <a:cubicBezTo>
                  <a:pt x="9830098" y="258785"/>
                  <a:pt x="9831296" y="257986"/>
                  <a:pt x="9832227" y="256921"/>
                </a:cubicBezTo>
                <a:cubicBezTo>
                  <a:pt x="9833293" y="255723"/>
                  <a:pt x="9834225" y="254392"/>
                  <a:pt x="9834890" y="252662"/>
                </a:cubicBezTo>
                <a:cubicBezTo>
                  <a:pt x="9835689" y="251063"/>
                  <a:pt x="9835955" y="249200"/>
                  <a:pt x="9835955" y="247203"/>
                </a:cubicBezTo>
                <a:cubicBezTo>
                  <a:pt x="9835955" y="245339"/>
                  <a:pt x="9835555" y="243609"/>
                  <a:pt x="9834890" y="242011"/>
                </a:cubicBezTo>
                <a:cubicBezTo>
                  <a:pt x="9834225" y="240414"/>
                  <a:pt x="9833293" y="239083"/>
                  <a:pt x="9832227" y="237885"/>
                </a:cubicBezTo>
                <a:cubicBezTo>
                  <a:pt x="9831162" y="236820"/>
                  <a:pt x="9829831" y="235888"/>
                  <a:pt x="9828234" y="235222"/>
                </a:cubicBezTo>
                <a:cubicBezTo>
                  <a:pt x="9826770" y="234557"/>
                  <a:pt x="9825173" y="234157"/>
                  <a:pt x="9823176" y="234157"/>
                </a:cubicBezTo>
                <a:close/>
                <a:moveTo>
                  <a:pt x="10040820" y="234157"/>
                </a:moveTo>
                <a:cubicBezTo>
                  <a:pt x="10034962" y="234157"/>
                  <a:pt x="10032433" y="236154"/>
                  <a:pt x="10030835" y="237752"/>
                </a:cubicBezTo>
                <a:cubicBezTo>
                  <a:pt x="10028306" y="240414"/>
                  <a:pt x="10027242" y="243209"/>
                  <a:pt x="10027242" y="247203"/>
                </a:cubicBezTo>
                <a:cubicBezTo>
                  <a:pt x="10027242" y="251329"/>
                  <a:pt x="10028306" y="254258"/>
                  <a:pt x="10030835" y="256788"/>
                </a:cubicBezTo>
                <a:cubicBezTo>
                  <a:pt x="10032433" y="258385"/>
                  <a:pt x="10034962" y="260249"/>
                  <a:pt x="10040820" y="260249"/>
                </a:cubicBezTo>
                <a:cubicBezTo>
                  <a:pt x="10042817" y="260249"/>
                  <a:pt x="10044681" y="259983"/>
                  <a:pt x="10046145" y="259317"/>
                </a:cubicBezTo>
                <a:cubicBezTo>
                  <a:pt x="10047742" y="258785"/>
                  <a:pt x="10048941" y="257985"/>
                  <a:pt x="10049872" y="256921"/>
                </a:cubicBezTo>
                <a:cubicBezTo>
                  <a:pt x="10050937" y="255722"/>
                  <a:pt x="10051869" y="254391"/>
                  <a:pt x="10052534" y="252661"/>
                </a:cubicBezTo>
                <a:cubicBezTo>
                  <a:pt x="10053333" y="251063"/>
                  <a:pt x="10053599" y="249200"/>
                  <a:pt x="10053599" y="247203"/>
                </a:cubicBezTo>
                <a:cubicBezTo>
                  <a:pt x="10053599" y="245339"/>
                  <a:pt x="10053200" y="243609"/>
                  <a:pt x="10052534" y="242011"/>
                </a:cubicBezTo>
                <a:cubicBezTo>
                  <a:pt x="10051869" y="240414"/>
                  <a:pt x="10050937" y="239083"/>
                  <a:pt x="10049872" y="237885"/>
                </a:cubicBezTo>
                <a:cubicBezTo>
                  <a:pt x="10048807" y="236820"/>
                  <a:pt x="10047476" y="235888"/>
                  <a:pt x="10045878" y="235222"/>
                </a:cubicBezTo>
                <a:cubicBezTo>
                  <a:pt x="10044414" y="234557"/>
                  <a:pt x="10042817" y="234157"/>
                  <a:pt x="10040820" y="234157"/>
                </a:cubicBezTo>
                <a:close/>
                <a:moveTo>
                  <a:pt x="10258466" y="234157"/>
                </a:moveTo>
                <a:cubicBezTo>
                  <a:pt x="10252608" y="234157"/>
                  <a:pt x="10250078" y="236154"/>
                  <a:pt x="10248481" y="237752"/>
                </a:cubicBezTo>
                <a:cubicBezTo>
                  <a:pt x="10245952" y="240414"/>
                  <a:pt x="10244887" y="243209"/>
                  <a:pt x="10244887" y="247203"/>
                </a:cubicBezTo>
                <a:cubicBezTo>
                  <a:pt x="10244887" y="251329"/>
                  <a:pt x="10245952" y="254258"/>
                  <a:pt x="10248481" y="256787"/>
                </a:cubicBezTo>
                <a:cubicBezTo>
                  <a:pt x="10250078" y="258385"/>
                  <a:pt x="10252608" y="260248"/>
                  <a:pt x="10258466" y="260248"/>
                </a:cubicBezTo>
                <a:cubicBezTo>
                  <a:pt x="10260462" y="260248"/>
                  <a:pt x="10262192" y="259983"/>
                  <a:pt x="10263790" y="259316"/>
                </a:cubicBezTo>
                <a:cubicBezTo>
                  <a:pt x="10265388" y="258784"/>
                  <a:pt x="10266586" y="257985"/>
                  <a:pt x="10267517" y="256920"/>
                </a:cubicBezTo>
                <a:cubicBezTo>
                  <a:pt x="10268583" y="255722"/>
                  <a:pt x="10269515" y="254391"/>
                  <a:pt x="10270180" y="252661"/>
                </a:cubicBezTo>
                <a:cubicBezTo>
                  <a:pt x="10270845" y="251063"/>
                  <a:pt x="10271112" y="249200"/>
                  <a:pt x="10271112" y="247203"/>
                </a:cubicBezTo>
                <a:cubicBezTo>
                  <a:pt x="10271112" y="245339"/>
                  <a:pt x="10270845" y="243609"/>
                  <a:pt x="10270180" y="242011"/>
                </a:cubicBezTo>
                <a:cubicBezTo>
                  <a:pt x="10269515" y="240414"/>
                  <a:pt x="10268583" y="239083"/>
                  <a:pt x="10267517" y="237885"/>
                </a:cubicBezTo>
                <a:cubicBezTo>
                  <a:pt x="10266452" y="236820"/>
                  <a:pt x="10265121" y="235888"/>
                  <a:pt x="10263524" y="235222"/>
                </a:cubicBezTo>
                <a:cubicBezTo>
                  <a:pt x="10262060" y="234557"/>
                  <a:pt x="10260462" y="234157"/>
                  <a:pt x="10258466" y="234157"/>
                </a:cubicBezTo>
                <a:close/>
                <a:moveTo>
                  <a:pt x="10475977" y="234157"/>
                </a:moveTo>
                <a:cubicBezTo>
                  <a:pt x="10470119" y="234157"/>
                  <a:pt x="10467589" y="236154"/>
                  <a:pt x="10465992" y="237752"/>
                </a:cubicBezTo>
                <a:cubicBezTo>
                  <a:pt x="10463463" y="240414"/>
                  <a:pt x="10462399" y="243209"/>
                  <a:pt x="10462399" y="247203"/>
                </a:cubicBezTo>
                <a:cubicBezTo>
                  <a:pt x="10462399" y="251329"/>
                  <a:pt x="10463463" y="254258"/>
                  <a:pt x="10465992" y="256787"/>
                </a:cubicBezTo>
                <a:cubicBezTo>
                  <a:pt x="10467589" y="258385"/>
                  <a:pt x="10470119" y="260248"/>
                  <a:pt x="10475977" y="260248"/>
                </a:cubicBezTo>
                <a:cubicBezTo>
                  <a:pt x="10478107" y="260248"/>
                  <a:pt x="10479838" y="259982"/>
                  <a:pt x="10481302" y="259316"/>
                </a:cubicBezTo>
                <a:cubicBezTo>
                  <a:pt x="10482899" y="258784"/>
                  <a:pt x="10484098" y="257985"/>
                  <a:pt x="10485029" y="256920"/>
                </a:cubicBezTo>
                <a:cubicBezTo>
                  <a:pt x="10486094" y="255722"/>
                  <a:pt x="10487026" y="254391"/>
                  <a:pt x="10487691" y="252661"/>
                </a:cubicBezTo>
                <a:cubicBezTo>
                  <a:pt x="10488357" y="251063"/>
                  <a:pt x="10488623" y="249200"/>
                  <a:pt x="10488623" y="247203"/>
                </a:cubicBezTo>
                <a:cubicBezTo>
                  <a:pt x="10488623" y="245339"/>
                  <a:pt x="10488357" y="243609"/>
                  <a:pt x="10487691" y="242011"/>
                </a:cubicBezTo>
                <a:cubicBezTo>
                  <a:pt x="10487026" y="240414"/>
                  <a:pt x="10486094" y="239083"/>
                  <a:pt x="10485029" y="237885"/>
                </a:cubicBezTo>
                <a:cubicBezTo>
                  <a:pt x="10483964" y="236820"/>
                  <a:pt x="10482633" y="235888"/>
                  <a:pt x="10481035" y="235222"/>
                </a:cubicBezTo>
                <a:cubicBezTo>
                  <a:pt x="10479571" y="234557"/>
                  <a:pt x="10477974" y="234157"/>
                  <a:pt x="10475977" y="234157"/>
                </a:cubicBezTo>
                <a:close/>
                <a:moveTo>
                  <a:pt x="30225" y="217656"/>
                </a:moveTo>
                <a:cubicBezTo>
                  <a:pt x="34485" y="217656"/>
                  <a:pt x="38479" y="218455"/>
                  <a:pt x="41940" y="220185"/>
                </a:cubicBezTo>
                <a:cubicBezTo>
                  <a:pt x="45667" y="221783"/>
                  <a:pt x="48729" y="223912"/>
                  <a:pt x="51258" y="226575"/>
                </a:cubicBezTo>
                <a:cubicBezTo>
                  <a:pt x="53920" y="229104"/>
                  <a:pt x="55917" y="232299"/>
                  <a:pt x="57381" y="235893"/>
                </a:cubicBezTo>
                <a:cubicBezTo>
                  <a:pt x="58845" y="239487"/>
                  <a:pt x="59644" y="243347"/>
                  <a:pt x="59644" y="247341"/>
                </a:cubicBezTo>
                <a:cubicBezTo>
                  <a:pt x="59644" y="251468"/>
                  <a:pt x="58845" y="255461"/>
                  <a:pt x="57381" y="259055"/>
                </a:cubicBezTo>
                <a:cubicBezTo>
                  <a:pt x="55917" y="262783"/>
                  <a:pt x="53787" y="265845"/>
                  <a:pt x="51258" y="268507"/>
                </a:cubicBezTo>
                <a:cubicBezTo>
                  <a:pt x="48595" y="271170"/>
                  <a:pt x="45534" y="273300"/>
                  <a:pt x="41940" y="274764"/>
                </a:cubicBezTo>
                <a:cubicBezTo>
                  <a:pt x="38346" y="276228"/>
                  <a:pt x="34485" y="277027"/>
                  <a:pt x="30225" y="277027"/>
                </a:cubicBezTo>
                <a:cubicBezTo>
                  <a:pt x="21307" y="277027"/>
                  <a:pt x="13984" y="274098"/>
                  <a:pt x="8393" y="268507"/>
                </a:cubicBezTo>
                <a:cubicBezTo>
                  <a:pt x="2802" y="262917"/>
                  <a:pt x="7" y="255860"/>
                  <a:pt x="7" y="247341"/>
                </a:cubicBezTo>
                <a:cubicBezTo>
                  <a:pt x="7" y="239088"/>
                  <a:pt x="2802" y="232033"/>
                  <a:pt x="8393" y="226309"/>
                </a:cubicBezTo>
                <a:cubicBezTo>
                  <a:pt x="13984" y="220451"/>
                  <a:pt x="21173" y="217656"/>
                  <a:pt x="30225" y="217656"/>
                </a:cubicBezTo>
                <a:close/>
                <a:moveTo>
                  <a:pt x="247869" y="217656"/>
                </a:moveTo>
                <a:cubicBezTo>
                  <a:pt x="252129" y="217656"/>
                  <a:pt x="256123" y="218455"/>
                  <a:pt x="259584" y="220185"/>
                </a:cubicBezTo>
                <a:cubicBezTo>
                  <a:pt x="263312" y="221783"/>
                  <a:pt x="266374" y="223912"/>
                  <a:pt x="268903" y="226575"/>
                </a:cubicBezTo>
                <a:cubicBezTo>
                  <a:pt x="271565" y="229104"/>
                  <a:pt x="273562" y="232299"/>
                  <a:pt x="275026" y="235893"/>
                </a:cubicBezTo>
                <a:cubicBezTo>
                  <a:pt x="276490" y="239487"/>
                  <a:pt x="277289" y="243347"/>
                  <a:pt x="277289" y="247341"/>
                </a:cubicBezTo>
                <a:cubicBezTo>
                  <a:pt x="277289" y="251468"/>
                  <a:pt x="276490" y="255461"/>
                  <a:pt x="275026" y="259055"/>
                </a:cubicBezTo>
                <a:cubicBezTo>
                  <a:pt x="273562" y="262782"/>
                  <a:pt x="271432" y="265845"/>
                  <a:pt x="268903" y="268507"/>
                </a:cubicBezTo>
                <a:cubicBezTo>
                  <a:pt x="266240" y="271170"/>
                  <a:pt x="263178" y="273300"/>
                  <a:pt x="259584" y="274764"/>
                </a:cubicBezTo>
                <a:cubicBezTo>
                  <a:pt x="255989" y="276228"/>
                  <a:pt x="252129" y="277027"/>
                  <a:pt x="247869" y="277027"/>
                </a:cubicBezTo>
                <a:cubicBezTo>
                  <a:pt x="238951" y="277027"/>
                  <a:pt x="231629" y="274098"/>
                  <a:pt x="226038" y="268507"/>
                </a:cubicBezTo>
                <a:cubicBezTo>
                  <a:pt x="220447" y="262916"/>
                  <a:pt x="217652" y="255860"/>
                  <a:pt x="217652" y="247341"/>
                </a:cubicBezTo>
                <a:cubicBezTo>
                  <a:pt x="217652" y="239088"/>
                  <a:pt x="220447" y="232033"/>
                  <a:pt x="226038" y="226309"/>
                </a:cubicBezTo>
                <a:cubicBezTo>
                  <a:pt x="231629" y="220451"/>
                  <a:pt x="238817" y="217656"/>
                  <a:pt x="247869" y="217656"/>
                </a:cubicBezTo>
                <a:close/>
                <a:moveTo>
                  <a:pt x="465514" y="217655"/>
                </a:moveTo>
                <a:cubicBezTo>
                  <a:pt x="469774" y="217655"/>
                  <a:pt x="473634" y="218454"/>
                  <a:pt x="477229" y="220185"/>
                </a:cubicBezTo>
                <a:cubicBezTo>
                  <a:pt x="480956" y="221783"/>
                  <a:pt x="484018" y="223912"/>
                  <a:pt x="486547" y="226575"/>
                </a:cubicBezTo>
                <a:cubicBezTo>
                  <a:pt x="489209" y="229104"/>
                  <a:pt x="491206" y="232299"/>
                  <a:pt x="492670" y="235893"/>
                </a:cubicBezTo>
                <a:cubicBezTo>
                  <a:pt x="494134" y="239487"/>
                  <a:pt x="494933" y="243347"/>
                  <a:pt x="494933" y="247341"/>
                </a:cubicBezTo>
                <a:cubicBezTo>
                  <a:pt x="494933" y="251468"/>
                  <a:pt x="494134" y="255461"/>
                  <a:pt x="492670" y="259055"/>
                </a:cubicBezTo>
                <a:cubicBezTo>
                  <a:pt x="491206" y="262782"/>
                  <a:pt x="489076" y="265844"/>
                  <a:pt x="486547" y="268506"/>
                </a:cubicBezTo>
                <a:cubicBezTo>
                  <a:pt x="483884" y="271170"/>
                  <a:pt x="480823" y="273300"/>
                  <a:pt x="477229" y="274764"/>
                </a:cubicBezTo>
                <a:cubicBezTo>
                  <a:pt x="473634" y="276228"/>
                  <a:pt x="469774" y="277027"/>
                  <a:pt x="465514" y="277027"/>
                </a:cubicBezTo>
                <a:cubicBezTo>
                  <a:pt x="456596" y="277027"/>
                  <a:pt x="449273" y="274098"/>
                  <a:pt x="443683" y="268506"/>
                </a:cubicBezTo>
                <a:cubicBezTo>
                  <a:pt x="438092" y="262916"/>
                  <a:pt x="435296" y="255860"/>
                  <a:pt x="435296" y="247341"/>
                </a:cubicBezTo>
                <a:cubicBezTo>
                  <a:pt x="435296" y="239088"/>
                  <a:pt x="438092" y="232033"/>
                  <a:pt x="443683" y="226309"/>
                </a:cubicBezTo>
                <a:cubicBezTo>
                  <a:pt x="449273" y="220450"/>
                  <a:pt x="456463" y="217655"/>
                  <a:pt x="465514" y="217655"/>
                </a:cubicBezTo>
                <a:close/>
                <a:moveTo>
                  <a:pt x="900803" y="217655"/>
                </a:moveTo>
                <a:cubicBezTo>
                  <a:pt x="904930" y="217655"/>
                  <a:pt x="908924" y="218454"/>
                  <a:pt x="912518" y="220184"/>
                </a:cubicBezTo>
                <a:cubicBezTo>
                  <a:pt x="916245" y="221782"/>
                  <a:pt x="919307" y="223911"/>
                  <a:pt x="921836" y="226574"/>
                </a:cubicBezTo>
                <a:cubicBezTo>
                  <a:pt x="924498" y="229104"/>
                  <a:pt x="926495" y="232299"/>
                  <a:pt x="927959" y="235893"/>
                </a:cubicBezTo>
                <a:cubicBezTo>
                  <a:pt x="929424" y="239487"/>
                  <a:pt x="930222" y="243347"/>
                  <a:pt x="930222" y="247341"/>
                </a:cubicBezTo>
                <a:cubicBezTo>
                  <a:pt x="930222" y="251468"/>
                  <a:pt x="929424" y="255461"/>
                  <a:pt x="927959" y="259055"/>
                </a:cubicBezTo>
                <a:cubicBezTo>
                  <a:pt x="926495" y="262782"/>
                  <a:pt x="924365" y="265844"/>
                  <a:pt x="921836" y="268506"/>
                </a:cubicBezTo>
                <a:cubicBezTo>
                  <a:pt x="919307" y="271169"/>
                  <a:pt x="916112" y="273299"/>
                  <a:pt x="912518" y="274763"/>
                </a:cubicBezTo>
                <a:cubicBezTo>
                  <a:pt x="908924" y="276227"/>
                  <a:pt x="905063" y="277026"/>
                  <a:pt x="900803" y="277026"/>
                </a:cubicBezTo>
                <a:cubicBezTo>
                  <a:pt x="891885" y="277026"/>
                  <a:pt x="884563" y="274097"/>
                  <a:pt x="878972" y="268506"/>
                </a:cubicBezTo>
                <a:cubicBezTo>
                  <a:pt x="873382" y="262916"/>
                  <a:pt x="870586" y="255860"/>
                  <a:pt x="870586" y="247341"/>
                </a:cubicBezTo>
                <a:cubicBezTo>
                  <a:pt x="870586" y="239088"/>
                  <a:pt x="873382" y="232033"/>
                  <a:pt x="878972" y="226308"/>
                </a:cubicBezTo>
                <a:cubicBezTo>
                  <a:pt x="884563" y="220450"/>
                  <a:pt x="891752" y="217655"/>
                  <a:pt x="900803" y="217655"/>
                </a:cubicBezTo>
                <a:close/>
                <a:moveTo>
                  <a:pt x="683158" y="217655"/>
                </a:moveTo>
                <a:cubicBezTo>
                  <a:pt x="687419" y="217655"/>
                  <a:pt x="691280" y="218454"/>
                  <a:pt x="694874" y="220184"/>
                </a:cubicBezTo>
                <a:cubicBezTo>
                  <a:pt x="698601" y="221782"/>
                  <a:pt x="701663" y="223911"/>
                  <a:pt x="704192" y="226575"/>
                </a:cubicBezTo>
                <a:cubicBezTo>
                  <a:pt x="706854" y="229104"/>
                  <a:pt x="708851" y="232299"/>
                  <a:pt x="710315" y="235893"/>
                </a:cubicBezTo>
                <a:cubicBezTo>
                  <a:pt x="711779" y="239487"/>
                  <a:pt x="712578" y="243347"/>
                  <a:pt x="712578" y="247341"/>
                </a:cubicBezTo>
                <a:cubicBezTo>
                  <a:pt x="712578" y="251468"/>
                  <a:pt x="711779" y="255461"/>
                  <a:pt x="710315" y="259055"/>
                </a:cubicBezTo>
                <a:cubicBezTo>
                  <a:pt x="708851" y="262782"/>
                  <a:pt x="706721" y="265844"/>
                  <a:pt x="704192" y="268506"/>
                </a:cubicBezTo>
                <a:cubicBezTo>
                  <a:pt x="701663" y="271169"/>
                  <a:pt x="698468" y="273299"/>
                  <a:pt x="694874" y="274763"/>
                </a:cubicBezTo>
                <a:cubicBezTo>
                  <a:pt x="691280" y="276228"/>
                  <a:pt x="687419" y="277026"/>
                  <a:pt x="683158" y="277026"/>
                </a:cubicBezTo>
                <a:cubicBezTo>
                  <a:pt x="674240" y="277026"/>
                  <a:pt x="666918" y="274097"/>
                  <a:pt x="661327" y="268506"/>
                </a:cubicBezTo>
                <a:cubicBezTo>
                  <a:pt x="655736" y="262916"/>
                  <a:pt x="652941" y="255860"/>
                  <a:pt x="652941" y="247341"/>
                </a:cubicBezTo>
                <a:cubicBezTo>
                  <a:pt x="652941" y="239088"/>
                  <a:pt x="655736" y="232033"/>
                  <a:pt x="661327" y="226309"/>
                </a:cubicBezTo>
                <a:cubicBezTo>
                  <a:pt x="666918" y="220450"/>
                  <a:pt x="674107" y="217655"/>
                  <a:pt x="683158" y="217655"/>
                </a:cubicBezTo>
                <a:close/>
                <a:moveTo>
                  <a:pt x="1335960" y="217655"/>
                </a:moveTo>
                <a:cubicBezTo>
                  <a:pt x="1340219" y="217655"/>
                  <a:pt x="1344214" y="218454"/>
                  <a:pt x="1347675" y="220184"/>
                </a:cubicBezTo>
                <a:cubicBezTo>
                  <a:pt x="1351269" y="221782"/>
                  <a:pt x="1354463" y="223911"/>
                  <a:pt x="1356993" y="226574"/>
                </a:cubicBezTo>
                <a:cubicBezTo>
                  <a:pt x="1359655" y="229103"/>
                  <a:pt x="1361652" y="232298"/>
                  <a:pt x="1363116" y="235892"/>
                </a:cubicBezTo>
                <a:cubicBezTo>
                  <a:pt x="1364581" y="239486"/>
                  <a:pt x="1365379" y="243347"/>
                  <a:pt x="1365379" y="247341"/>
                </a:cubicBezTo>
                <a:cubicBezTo>
                  <a:pt x="1365379" y="251468"/>
                  <a:pt x="1364581" y="255328"/>
                  <a:pt x="1363116" y="259055"/>
                </a:cubicBezTo>
                <a:cubicBezTo>
                  <a:pt x="1361652" y="262782"/>
                  <a:pt x="1359522" y="265844"/>
                  <a:pt x="1356993" y="268506"/>
                </a:cubicBezTo>
                <a:cubicBezTo>
                  <a:pt x="1354330" y="271169"/>
                  <a:pt x="1351269" y="273299"/>
                  <a:pt x="1347675" y="274763"/>
                </a:cubicBezTo>
                <a:cubicBezTo>
                  <a:pt x="1344080" y="276227"/>
                  <a:pt x="1340219" y="277026"/>
                  <a:pt x="1335960" y="277026"/>
                </a:cubicBezTo>
                <a:cubicBezTo>
                  <a:pt x="1327041" y="277026"/>
                  <a:pt x="1319719" y="274097"/>
                  <a:pt x="1314128" y="268506"/>
                </a:cubicBezTo>
                <a:cubicBezTo>
                  <a:pt x="1308537" y="262916"/>
                  <a:pt x="1305742" y="255860"/>
                  <a:pt x="1305742" y="247341"/>
                </a:cubicBezTo>
                <a:cubicBezTo>
                  <a:pt x="1305742" y="239088"/>
                  <a:pt x="1308537" y="232032"/>
                  <a:pt x="1314128" y="226308"/>
                </a:cubicBezTo>
                <a:cubicBezTo>
                  <a:pt x="1319719" y="220450"/>
                  <a:pt x="1326908" y="217655"/>
                  <a:pt x="1335960" y="217655"/>
                </a:cubicBezTo>
                <a:close/>
                <a:moveTo>
                  <a:pt x="1118315" y="217655"/>
                </a:moveTo>
                <a:cubicBezTo>
                  <a:pt x="1122575" y="217655"/>
                  <a:pt x="1126569" y="218454"/>
                  <a:pt x="1130030" y="220184"/>
                </a:cubicBezTo>
                <a:cubicBezTo>
                  <a:pt x="1133757" y="221782"/>
                  <a:pt x="1136819" y="223911"/>
                  <a:pt x="1139349" y="226574"/>
                </a:cubicBezTo>
                <a:cubicBezTo>
                  <a:pt x="1142010" y="229103"/>
                  <a:pt x="1144007" y="232299"/>
                  <a:pt x="1145471" y="235893"/>
                </a:cubicBezTo>
                <a:cubicBezTo>
                  <a:pt x="1146936" y="239487"/>
                  <a:pt x="1147734" y="243347"/>
                  <a:pt x="1147734" y="247341"/>
                </a:cubicBezTo>
                <a:cubicBezTo>
                  <a:pt x="1147734" y="251468"/>
                  <a:pt x="1146936" y="255461"/>
                  <a:pt x="1145471" y="259055"/>
                </a:cubicBezTo>
                <a:cubicBezTo>
                  <a:pt x="1144007" y="262782"/>
                  <a:pt x="1141877" y="265844"/>
                  <a:pt x="1139349" y="268506"/>
                </a:cubicBezTo>
                <a:cubicBezTo>
                  <a:pt x="1136819" y="271169"/>
                  <a:pt x="1133624" y="273299"/>
                  <a:pt x="1130030" y="274763"/>
                </a:cubicBezTo>
                <a:cubicBezTo>
                  <a:pt x="1126435" y="276227"/>
                  <a:pt x="1122575" y="277026"/>
                  <a:pt x="1118315" y="277026"/>
                </a:cubicBezTo>
                <a:cubicBezTo>
                  <a:pt x="1109397" y="277026"/>
                  <a:pt x="1102074" y="274097"/>
                  <a:pt x="1096483" y="268506"/>
                </a:cubicBezTo>
                <a:cubicBezTo>
                  <a:pt x="1090892" y="262916"/>
                  <a:pt x="1088097" y="255860"/>
                  <a:pt x="1088097" y="247341"/>
                </a:cubicBezTo>
                <a:cubicBezTo>
                  <a:pt x="1088097" y="239088"/>
                  <a:pt x="1090892" y="232032"/>
                  <a:pt x="1096483" y="226308"/>
                </a:cubicBezTo>
                <a:cubicBezTo>
                  <a:pt x="1102074" y="220450"/>
                  <a:pt x="1109263" y="217655"/>
                  <a:pt x="1118315" y="217655"/>
                </a:cubicBezTo>
                <a:close/>
                <a:moveTo>
                  <a:pt x="1771250" y="217655"/>
                </a:moveTo>
                <a:cubicBezTo>
                  <a:pt x="1775510" y="217655"/>
                  <a:pt x="1779370" y="218454"/>
                  <a:pt x="1782965" y="220184"/>
                </a:cubicBezTo>
                <a:cubicBezTo>
                  <a:pt x="1786692" y="221782"/>
                  <a:pt x="1789754" y="223911"/>
                  <a:pt x="1792283" y="226574"/>
                </a:cubicBezTo>
                <a:cubicBezTo>
                  <a:pt x="1794945" y="229103"/>
                  <a:pt x="1796942" y="232298"/>
                  <a:pt x="1798406" y="235892"/>
                </a:cubicBezTo>
                <a:cubicBezTo>
                  <a:pt x="1799870" y="239486"/>
                  <a:pt x="1800669" y="243346"/>
                  <a:pt x="1800669" y="247340"/>
                </a:cubicBezTo>
                <a:cubicBezTo>
                  <a:pt x="1800669" y="251467"/>
                  <a:pt x="1799870" y="255328"/>
                  <a:pt x="1798406" y="259055"/>
                </a:cubicBezTo>
                <a:cubicBezTo>
                  <a:pt x="1796942" y="262782"/>
                  <a:pt x="1794812" y="265844"/>
                  <a:pt x="1792283" y="268506"/>
                </a:cubicBezTo>
                <a:cubicBezTo>
                  <a:pt x="1789620" y="271169"/>
                  <a:pt x="1786559" y="273299"/>
                  <a:pt x="1782965" y="274763"/>
                </a:cubicBezTo>
                <a:cubicBezTo>
                  <a:pt x="1779370" y="276227"/>
                  <a:pt x="1775510" y="277026"/>
                  <a:pt x="1771250" y="277026"/>
                </a:cubicBezTo>
                <a:cubicBezTo>
                  <a:pt x="1762331" y="277026"/>
                  <a:pt x="1755009" y="274097"/>
                  <a:pt x="1749418" y="268506"/>
                </a:cubicBezTo>
                <a:cubicBezTo>
                  <a:pt x="1743827" y="262916"/>
                  <a:pt x="1741033" y="255860"/>
                  <a:pt x="1741033" y="247340"/>
                </a:cubicBezTo>
                <a:cubicBezTo>
                  <a:pt x="1741033" y="239087"/>
                  <a:pt x="1743827" y="232032"/>
                  <a:pt x="1749418" y="226308"/>
                </a:cubicBezTo>
                <a:cubicBezTo>
                  <a:pt x="1755009" y="220450"/>
                  <a:pt x="1762198" y="217655"/>
                  <a:pt x="1771250" y="217655"/>
                </a:cubicBezTo>
                <a:close/>
                <a:moveTo>
                  <a:pt x="1553605" y="217655"/>
                </a:moveTo>
                <a:cubicBezTo>
                  <a:pt x="1557865" y="217655"/>
                  <a:pt x="1561726" y="218454"/>
                  <a:pt x="1565320" y="220184"/>
                </a:cubicBezTo>
                <a:cubicBezTo>
                  <a:pt x="1568914" y="221782"/>
                  <a:pt x="1572109" y="223911"/>
                  <a:pt x="1574638" y="226574"/>
                </a:cubicBezTo>
                <a:cubicBezTo>
                  <a:pt x="1577300" y="229103"/>
                  <a:pt x="1579297" y="232298"/>
                  <a:pt x="1580761" y="235892"/>
                </a:cubicBezTo>
                <a:cubicBezTo>
                  <a:pt x="1582225" y="239486"/>
                  <a:pt x="1583024" y="243346"/>
                  <a:pt x="1583024" y="247341"/>
                </a:cubicBezTo>
                <a:cubicBezTo>
                  <a:pt x="1583024" y="251468"/>
                  <a:pt x="1582225" y="255328"/>
                  <a:pt x="1580761" y="259055"/>
                </a:cubicBezTo>
                <a:cubicBezTo>
                  <a:pt x="1579297" y="262782"/>
                  <a:pt x="1577167" y="265844"/>
                  <a:pt x="1574638" y="268506"/>
                </a:cubicBezTo>
                <a:cubicBezTo>
                  <a:pt x="1571976" y="271169"/>
                  <a:pt x="1568914" y="273299"/>
                  <a:pt x="1565320" y="274763"/>
                </a:cubicBezTo>
                <a:cubicBezTo>
                  <a:pt x="1561726" y="276227"/>
                  <a:pt x="1557865" y="277026"/>
                  <a:pt x="1553605" y="277026"/>
                </a:cubicBezTo>
                <a:cubicBezTo>
                  <a:pt x="1544686" y="277026"/>
                  <a:pt x="1537364" y="274097"/>
                  <a:pt x="1531773" y="268506"/>
                </a:cubicBezTo>
                <a:cubicBezTo>
                  <a:pt x="1526183" y="262916"/>
                  <a:pt x="1523387" y="255860"/>
                  <a:pt x="1523387" y="247341"/>
                </a:cubicBezTo>
                <a:cubicBezTo>
                  <a:pt x="1523387" y="239087"/>
                  <a:pt x="1526183" y="232032"/>
                  <a:pt x="1531773" y="226308"/>
                </a:cubicBezTo>
                <a:cubicBezTo>
                  <a:pt x="1537364" y="220450"/>
                  <a:pt x="1544552" y="217655"/>
                  <a:pt x="1553605" y="217655"/>
                </a:cubicBezTo>
                <a:close/>
                <a:moveTo>
                  <a:pt x="2206407" y="217655"/>
                </a:moveTo>
                <a:cubicBezTo>
                  <a:pt x="2210667" y="217655"/>
                  <a:pt x="2214661" y="218454"/>
                  <a:pt x="2218122" y="220184"/>
                </a:cubicBezTo>
                <a:cubicBezTo>
                  <a:pt x="2221849" y="221782"/>
                  <a:pt x="2224910" y="223911"/>
                  <a:pt x="2227441" y="226574"/>
                </a:cubicBezTo>
                <a:cubicBezTo>
                  <a:pt x="2230102" y="229103"/>
                  <a:pt x="2232099" y="232298"/>
                  <a:pt x="2233563" y="235892"/>
                </a:cubicBezTo>
                <a:cubicBezTo>
                  <a:pt x="2235027" y="239486"/>
                  <a:pt x="2235826" y="243346"/>
                  <a:pt x="2235826" y="247340"/>
                </a:cubicBezTo>
                <a:cubicBezTo>
                  <a:pt x="2235826" y="251467"/>
                  <a:pt x="2235027" y="255327"/>
                  <a:pt x="2233563" y="259054"/>
                </a:cubicBezTo>
                <a:cubicBezTo>
                  <a:pt x="2232099" y="262781"/>
                  <a:pt x="2229969" y="265844"/>
                  <a:pt x="2227441" y="268506"/>
                </a:cubicBezTo>
                <a:cubicBezTo>
                  <a:pt x="2224910" y="271169"/>
                  <a:pt x="2221716" y="273299"/>
                  <a:pt x="2218122" y="274763"/>
                </a:cubicBezTo>
                <a:cubicBezTo>
                  <a:pt x="2214527" y="276227"/>
                  <a:pt x="2210667" y="277026"/>
                  <a:pt x="2206407" y="277026"/>
                </a:cubicBezTo>
                <a:cubicBezTo>
                  <a:pt x="2197355" y="277026"/>
                  <a:pt x="2190166" y="274097"/>
                  <a:pt x="2184576" y="268506"/>
                </a:cubicBezTo>
                <a:cubicBezTo>
                  <a:pt x="2178984" y="262915"/>
                  <a:pt x="2176189" y="255859"/>
                  <a:pt x="2176189" y="247340"/>
                </a:cubicBezTo>
                <a:cubicBezTo>
                  <a:pt x="2176189" y="239087"/>
                  <a:pt x="2178984" y="232032"/>
                  <a:pt x="2184576" y="226308"/>
                </a:cubicBezTo>
                <a:cubicBezTo>
                  <a:pt x="2190166" y="220450"/>
                  <a:pt x="2197355" y="217655"/>
                  <a:pt x="2206407" y="217655"/>
                </a:cubicBezTo>
                <a:close/>
                <a:moveTo>
                  <a:pt x="1988894" y="217655"/>
                </a:moveTo>
                <a:cubicBezTo>
                  <a:pt x="1993021" y="217655"/>
                  <a:pt x="1997015" y="218454"/>
                  <a:pt x="2000609" y="220184"/>
                </a:cubicBezTo>
                <a:cubicBezTo>
                  <a:pt x="2004336" y="221782"/>
                  <a:pt x="2007398" y="223911"/>
                  <a:pt x="2009927" y="226574"/>
                </a:cubicBezTo>
                <a:cubicBezTo>
                  <a:pt x="2012589" y="229103"/>
                  <a:pt x="2014587" y="232298"/>
                  <a:pt x="2016051" y="235892"/>
                </a:cubicBezTo>
                <a:cubicBezTo>
                  <a:pt x="2017515" y="239486"/>
                  <a:pt x="2018314" y="243346"/>
                  <a:pt x="2018314" y="247340"/>
                </a:cubicBezTo>
                <a:cubicBezTo>
                  <a:pt x="2018314" y="251467"/>
                  <a:pt x="2017515" y="255327"/>
                  <a:pt x="2016051" y="259055"/>
                </a:cubicBezTo>
                <a:cubicBezTo>
                  <a:pt x="2014587" y="262782"/>
                  <a:pt x="2012456" y="265844"/>
                  <a:pt x="2009927" y="268506"/>
                </a:cubicBezTo>
                <a:cubicBezTo>
                  <a:pt x="2007398" y="271169"/>
                  <a:pt x="2004203" y="273299"/>
                  <a:pt x="2000609" y="274763"/>
                </a:cubicBezTo>
                <a:cubicBezTo>
                  <a:pt x="1997015" y="276227"/>
                  <a:pt x="1993154" y="277026"/>
                  <a:pt x="1988894" y="277026"/>
                </a:cubicBezTo>
                <a:cubicBezTo>
                  <a:pt x="1979843" y="277026"/>
                  <a:pt x="1972654" y="274097"/>
                  <a:pt x="1967063" y="268506"/>
                </a:cubicBezTo>
                <a:cubicBezTo>
                  <a:pt x="1961472" y="262916"/>
                  <a:pt x="1958676" y="255860"/>
                  <a:pt x="1958676" y="247340"/>
                </a:cubicBezTo>
                <a:cubicBezTo>
                  <a:pt x="1958676" y="239087"/>
                  <a:pt x="1961472" y="232032"/>
                  <a:pt x="1967063" y="226308"/>
                </a:cubicBezTo>
                <a:cubicBezTo>
                  <a:pt x="1972654" y="220450"/>
                  <a:pt x="1979843" y="217655"/>
                  <a:pt x="1988894" y="217655"/>
                </a:cubicBezTo>
                <a:close/>
                <a:moveTo>
                  <a:pt x="2641699" y="217654"/>
                </a:moveTo>
                <a:cubicBezTo>
                  <a:pt x="2645959" y="217654"/>
                  <a:pt x="2649819" y="218453"/>
                  <a:pt x="2653414" y="220184"/>
                </a:cubicBezTo>
                <a:cubicBezTo>
                  <a:pt x="2657141" y="221781"/>
                  <a:pt x="2660203" y="223911"/>
                  <a:pt x="2662732" y="226574"/>
                </a:cubicBezTo>
                <a:cubicBezTo>
                  <a:pt x="2665394" y="229103"/>
                  <a:pt x="2667392" y="232298"/>
                  <a:pt x="2668855" y="235892"/>
                </a:cubicBezTo>
                <a:cubicBezTo>
                  <a:pt x="2670319" y="239486"/>
                  <a:pt x="2671118" y="243346"/>
                  <a:pt x="2671118" y="247340"/>
                </a:cubicBezTo>
                <a:cubicBezTo>
                  <a:pt x="2671118" y="251467"/>
                  <a:pt x="2670319" y="255327"/>
                  <a:pt x="2668855" y="259054"/>
                </a:cubicBezTo>
                <a:cubicBezTo>
                  <a:pt x="2667392" y="262781"/>
                  <a:pt x="2665261" y="265843"/>
                  <a:pt x="2662732" y="268505"/>
                </a:cubicBezTo>
                <a:cubicBezTo>
                  <a:pt x="2660203" y="271168"/>
                  <a:pt x="2657008" y="273298"/>
                  <a:pt x="2653414" y="274762"/>
                </a:cubicBezTo>
                <a:cubicBezTo>
                  <a:pt x="2649819" y="276227"/>
                  <a:pt x="2645959" y="277025"/>
                  <a:pt x="2641699" y="277025"/>
                </a:cubicBezTo>
                <a:cubicBezTo>
                  <a:pt x="2632780" y="277025"/>
                  <a:pt x="2625458" y="274096"/>
                  <a:pt x="2619867" y="268505"/>
                </a:cubicBezTo>
                <a:cubicBezTo>
                  <a:pt x="2614276" y="262915"/>
                  <a:pt x="2611481" y="255859"/>
                  <a:pt x="2611481" y="247340"/>
                </a:cubicBezTo>
                <a:cubicBezTo>
                  <a:pt x="2611481" y="239087"/>
                  <a:pt x="2614276" y="232032"/>
                  <a:pt x="2619867" y="226308"/>
                </a:cubicBezTo>
                <a:cubicBezTo>
                  <a:pt x="2625458" y="220449"/>
                  <a:pt x="2632647" y="217654"/>
                  <a:pt x="2641699" y="217654"/>
                </a:cubicBezTo>
                <a:close/>
                <a:moveTo>
                  <a:pt x="2424053" y="217654"/>
                </a:moveTo>
                <a:cubicBezTo>
                  <a:pt x="2428313" y="217654"/>
                  <a:pt x="2432307" y="218453"/>
                  <a:pt x="2435768" y="220184"/>
                </a:cubicBezTo>
                <a:cubicBezTo>
                  <a:pt x="2439495" y="221782"/>
                  <a:pt x="2442557" y="223911"/>
                  <a:pt x="2445086" y="226574"/>
                </a:cubicBezTo>
                <a:cubicBezTo>
                  <a:pt x="2447749" y="229103"/>
                  <a:pt x="2449745" y="232298"/>
                  <a:pt x="2451209" y="235892"/>
                </a:cubicBezTo>
                <a:cubicBezTo>
                  <a:pt x="2452673" y="239486"/>
                  <a:pt x="2453472" y="243346"/>
                  <a:pt x="2453472" y="247340"/>
                </a:cubicBezTo>
                <a:cubicBezTo>
                  <a:pt x="2453472" y="251467"/>
                  <a:pt x="2452673" y="255327"/>
                  <a:pt x="2451209" y="259054"/>
                </a:cubicBezTo>
                <a:cubicBezTo>
                  <a:pt x="2449745" y="262781"/>
                  <a:pt x="2447615" y="265843"/>
                  <a:pt x="2445086" y="268506"/>
                </a:cubicBezTo>
                <a:cubicBezTo>
                  <a:pt x="2442557" y="271168"/>
                  <a:pt x="2439362" y="273299"/>
                  <a:pt x="2435768" y="274763"/>
                </a:cubicBezTo>
                <a:cubicBezTo>
                  <a:pt x="2432174" y="276227"/>
                  <a:pt x="2428313" y="277026"/>
                  <a:pt x="2424053" y="277026"/>
                </a:cubicBezTo>
                <a:cubicBezTo>
                  <a:pt x="2415135" y="277026"/>
                  <a:pt x="2407812" y="274097"/>
                  <a:pt x="2402221" y="268506"/>
                </a:cubicBezTo>
                <a:cubicBezTo>
                  <a:pt x="2396631" y="262915"/>
                  <a:pt x="2393835" y="255859"/>
                  <a:pt x="2393835" y="247340"/>
                </a:cubicBezTo>
                <a:cubicBezTo>
                  <a:pt x="2393835" y="239087"/>
                  <a:pt x="2396631" y="232032"/>
                  <a:pt x="2402221" y="226308"/>
                </a:cubicBezTo>
                <a:cubicBezTo>
                  <a:pt x="2407812" y="220450"/>
                  <a:pt x="2415001" y="217654"/>
                  <a:pt x="2424053" y="217654"/>
                </a:cubicBezTo>
                <a:close/>
                <a:moveTo>
                  <a:pt x="2859345" y="217654"/>
                </a:moveTo>
                <a:cubicBezTo>
                  <a:pt x="2863605" y="217654"/>
                  <a:pt x="2867466" y="218453"/>
                  <a:pt x="2871193" y="220183"/>
                </a:cubicBezTo>
                <a:cubicBezTo>
                  <a:pt x="2874920" y="221781"/>
                  <a:pt x="2877982" y="223910"/>
                  <a:pt x="2880511" y="226573"/>
                </a:cubicBezTo>
                <a:cubicBezTo>
                  <a:pt x="2883173" y="229103"/>
                  <a:pt x="2885170" y="232298"/>
                  <a:pt x="2886634" y="235892"/>
                </a:cubicBezTo>
                <a:cubicBezTo>
                  <a:pt x="2888099" y="239486"/>
                  <a:pt x="2888897" y="243346"/>
                  <a:pt x="2888897" y="247340"/>
                </a:cubicBezTo>
                <a:cubicBezTo>
                  <a:pt x="2888897" y="251467"/>
                  <a:pt x="2888099" y="255327"/>
                  <a:pt x="2886634" y="259054"/>
                </a:cubicBezTo>
                <a:cubicBezTo>
                  <a:pt x="2885170" y="262781"/>
                  <a:pt x="2883040" y="265843"/>
                  <a:pt x="2880511" y="268505"/>
                </a:cubicBezTo>
                <a:cubicBezTo>
                  <a:pt x="2877849" y="271168"/>
                  <a:pt x="2874787" y="273298"/>
                  <a:pt x="2871193" y="274762"/>
                </a:cubicBezTo>
                <a:cubicBezTo>
                  <a:pt x="2867466" y="276226"/>
                  <a:pt x="2863605" y="277025"/>
                  <a:pt x="2859345" y="277025"/>
                </a:cubicBezTo>
                <a:cubicBezTo>
                  <a:pt x="2850427" y="277025"/>
                  <a:pt x="2843104" y="274096"/>
                  <a:pt x="2837513" y="268505"/>
                </a:cubicBezTo>
                <a:cubicBezTo>
                  <a:pt x="2831923" y="262915"/>
                  <a:pt x="2829127" y="255859"/>
                  <a:pt x="2829127" y="247340"/>
                </a:cubicBezTo>
                <a:cubicBezTo>
                  <a:pt x="2829127" y="239087"/>
                  <a:pt x="2831923" y="232032"/>
                  <a:pt x="2837513" y="226307"/>
                </a:cubicBezTo>
                <a:cubicBezTo>
                  <a:pt x="2843104" y="220449"/>
                  <a:pt x="2850293" y="217654"/>
                  <a:pt x="2859345" y="217654"/>
                </a:cubicBezTo>
                <a:close/>
                <a:moveTo>
                  <a:pt x="3076990" y="217654"/>
                </a:moveTo>
                <a:cubicBezTo>
                  <a:pt x="3081118" y="217654"/>
                  <a:pt x="3085112" y="218453"/>
                  <a:pt x="3088706" y="220183"/>
                </a:cubicBezTo>
                <a:cubicBezTo>
                  <a:pt x="3092300" y="221781"/>
                  <a:pt x="3095495" y="223910"/>
                  <a:pt x="3098024" y="226573"/>
                </a:cubicBezTo>
                <a:cubicBezTo>
                  <a:pt x="3100553" y="229102"/>
                  <a:pt x="3102683" y="232298"/>
                  <a:pt x="3104147" y="235892"/>
                </a:cubicBezTo>
                <a:cubicBezTo>
                  <a:pt x="3105612" y="239486"/>
                  <a:pt x="3106410" y="243346"/>
                  <a:pt x="3106410" y="247340"/>
                </a:cubicBezTo>
                <a:cubicBezTo>
                  <a:pt x="3106410" y="251467"/>
                  <a:pt x="3105612" y="255327"/>
                  <a:pt x="3104147" y="259054"/>
                </a:cubicBezTo>
                <a:cubicBezTo>
                  <a:pt x="3102683" y="262781"/>
                  <a:pt x="3100553" y="265843"/>
                  <a:pt x="3098024" y="268505"/>
                </a:cubicBezTo>
                <a:cubicBezTo>
                  <a:pt x="3095361" y="271168"/>
                  <a:pt x="3092300" y="273298"/>
                  <a:pt x="3088706" y="274762"/>
                </a:cubicBezTo>
                <a:cubicBezTo>
                  <a:pt x="3085112" y="276226"/>
                  <a:pt x="3081251" y="277025"/>
                  <a:pt x="3076990" y="277025"/>
                </a:cubicBezTo>
                <a:cubicBezTo>
                  <a:pt x="3068072" y="277025"/>
                  <a:pt x="3060750" y="274096"/>
                  <a:pt x="3055159" y="268505"/>
                </a:cubicBezTo>
                <a:cubicBezTo>
                  <a:pt x="3049568" y="262915"/>
                  <a:pt x="3046773" y="255859"/>
                  <a:pt x="3046773" y="247340"/>
                </a:cubicBezTo>
                <a:cubicBezTo>
                  <a:pt x="3046773" y="239087"/>
                  <a:pt x="3049568" y="232031"/>
                  <a:pt x="3055159" y="226307"/>
                </a:cubicBezTo>
                <a:cubicBezTo>
                  <a:pt x="3060750" y="220449"/>
                  <a:pt x="3067938" y="217654"/>
                  <a:pt x="3076990" y="217654"/>
                </a:cubicBezTo>
                <a:close/>
                <a:moveTo>
                  <a:pt x="3294636" y="217654"/>
                </a:moveTo>
                <a:cubicBezTo>
                  <a:pt x="3298763" y="217654"/>
                  <a:pt x="3302758" y="218453"/>
                  <a:pt x="3306352" y="220183"/>
                </a:cubicBezTo>
                <a:cubicBezTo>
                  <a:pt x="3310079" y="221781"/>
                  <a:pt x="3313141" y="223910"/>
                  <a:pt x="3315670" y="226573"/>
                </a:cubicBezTo>
                <a:cubicBezTo>
                  <a:pt x="3318199" y="229102"/>
                  <a:pt x="3320329" y="232297"/>
                  <a:pt x="3321793" y="235891"/>
                </a:cubicBezTo>
                <a:cubicBezTo>
                  <a:pt x="3323257" y="239485"/>
                  <a:pt x="3324056" y="243346"/>
                  <a:pt x="3324056" y="247340"/>
                </a:cubicBezTo>
                <a:cubicBezTo>
                  <a:pt x="3324056" y="251467"/>
                  <a:pt x="3323257" y="255327"/>
                  <a:pt x="3321793" y="259054"/>
                </a:cubicBezTo>
                <a:cubicBezTo>
                  <a:pt x="3320329" y="262781"/>
                  <a:pt x="3318199" y="265843"/>
                  <a:pt x="3315670" y="268505"/>
                </a:cubicBezTo>
                <a:cubicBezTo>
                  <a:pt x="3313007" y="271168"/>
                  <a:pt x="3309945" y="273298"/>
                  <a:pt x="3306352" y="274762"/>
                </a:cubicBezTo>
                <a:cubicBezTo>
                  <a:pt x="3302758" y="276226"/>
                  <a:pt x="3298897" y="277025"/>
                  <a:pt x="3294636" y="277025"/>
                </a:cubicBezTo>
                <a:cubicBezTo>
                  <a:pt x="3285584" y="277025"/>
                  <a:pt x="3278396" y="274096"/>
                  <a:pt x="3272805" y="268505"/>
                </a:cubicBezTo>
                <a:cubicBezTo>
                  <a:pt x="3267214" y="262915"/>
                  <a:pt x="3264419" y="255859"/>
                  <a:pt x="3264419" y="247340"/>
                </a:cubicBezTo>
                <a:cubicBezTo>
                  <a:pt x="3264419" y="239087"/>
                  <a:pt x="3267214" y="232031"/>
                  <a:pt x="3272805" y="226307"/>
                </a:cubicBezTo>
                <a:cubicBezTo>
                  <a:pt x="3278396" y="220449"/>
                  <a:pt x="3285584" y="217654"/>
                  <a:pt x="3294636" y="217654"/>
                </a:cubicBezTo>
                <a:close/>
                <a:moveTo>
                  <a:pt x="3512149" y="217654"/>
                </a:moveTo>
                <a:cubicBezTo>
                  <a:pt x="3516409" y="217654"/>
                  <a:pt x="3520403" y="218453"/>
                  <a:pt x="3523865" y="220183"/>
                </a:cubicBezTo>
                <a:cubicBezTo>
                  <a:pt x="3527458" y="221781"/>
                  <a:pt x="3530653" y="223910"/>
                  <a:pt x="3533183" y="226573"/>
                </a:cubicBezTo>
                <a:cubicBezTo>
                  <a:pt x="3535712" y="229102"/>
                  <a:pt x="3537842" y="232297"/>
                  <a:pt x="3539306" y="235891"/>
                </a:cubicBezTo>
                <a:cubicBezTo>
                  <a:pt x="3540770" y="239485"/>
                  <a:pt x="3541569" y="243345"/>
                  <a:pt x="3541569" y="247340"/>
                </a:cubicBezTo>
                <a:cubicBezTo>
                  <a:pt x="3541569" y="251467"/>
                  <a:pt x="3540770" y="255327"/>
                  <a:pt x="3539306" y="259054"/>
                </a:cubicBezTo>
                <a:cubicBezTo>
                  <a:pt x="3537842" y="262781"/>
                  <a:pt x="3535712" y="265843"/>
                  <a:pt x="3533183" y="268505"/>
                </a:cubicBezTo>
                <a:cubicBezTo>
                  <a:pt x="3530519" y="271168"/>
                  <a:pt x="3527458" y="273298"/>
                  <a:pt x="3523865" y="274762"/>
                </a:cubicBezTo>
                <a:cubicBezTo>
                  <a:pt x="3520270" y="276226"/>
                  <a:pt x="3516409" y="277025"/>
                  <a:pt x="3512149" y="277025"/>
                </a:cubicBezTo>
                <a:cubicBezTo>
                  <a:pt x="3503097" y="277025"/>
                  <a:pt x="3495908" y="274096"/>
                  <a:pt x="3490318" y="268505"/>
                </a:cubicBezTo>
                <a:cubicBezTo>
                  <a:pt x="3484727" y="262915"/>
                  <a:pt x="3481931" y="255859"/>
                  <a:pt x="3481931" y="247340"/>
                </a:cubicBezTo>
                <a:cubicBezTo>
                  <a:pt x="3481931" y="239086"/>
                  <a:pt x="3484727" y="232031"/>
                  <a:pt x="3490318" y="226307"/>
                </a:cubicBezTo>
                <a:cubicBezTo>
                  <a:pt x="3495908" y="220449"/>
                  <a:pt x="3503097" y="217654"/>
                  <a:pt x="3512149" y="217654"/>
                </a:cubicBezTo>
                <a:close/>
                <a:moveTo>
                  <a:pt x="3729795" y="217654"/>
                </a:moveTo>
                <a:cubicBezTo>
                  <a:pt x="3734056" y="217654"/>
                  <a:pt x="3738048" y="218453"/>
                  <a:pt x="3741510" y="220183"/>
                </a:cubicBezTo>
                <a:cubicBezTo>
                  <a:pt x="3745104" y="221781"/>
                  <a:pt x="3748300" y="223910"/>
                  <a:pt x="3750829" y="226573"/>
                </a:cubicBezTo>
                <a:cubicBezTo>
                  <a:pt x="3753358" y="229102"/>
                  <a:pt x="3755487" y="232297"/>
                  <a:pt x="3756951" y="235891"/>
                </a:cubicBezTo>
                <a:cubicBezTo>
                  <a:pt x="3758415" y="239485"/>
                  <a:pt x="3759214" y="243345"/>
                  <a:pt x="3759214" y="247339"/>
                </a:cubicBezTo>
                <a:cubicBezTo>
                  <a:pt x="3759214" y="251467"/>
                  <a:pt x="3758415" y="255327"/>
                  <a:pt x="3756951" y="259054"/>
                </a:cubicBezTo>
                <a:cubicBezTo>
                  <a:pt x="3755487" y="262781"/>
                  <a:pt x="3753358" y="265843"/>
                  <a:pt x="3750829" y="268505"/>
                </a:cubicBezTo>
                <a:cubicBezTo>
                  <a:pt x="3748166" y="271168"/>
                  <a:pt x="3745104" y="273298"/>
                  <a:pt x="3741510" y="274762"/>
                </a:cubicBezTo>
                <a:cubicBezTo>
                  <a:pt x="3737916" y="276226"/>
                  <a:pt x="3734056" y="277025"/>
                  <a:pt x="3729795" y="277025"/>
                </a:cubicBezTo>
                <a:cubicBezTo>
                  <a:pt x="3720743" y="277025"/>
                  <a:pt x="3713555" y="274096"/>
                  <a:pt x="3707964" y="268505"/>
                </a:cubicBezTo>
                <a:cubicBezTo>
                  <a:pt x="3702372" y="262915"/>
                  <a:pt x="3699578" y="255859"/>
                  <a:pt x="3699578" y="247339"/>
                </a:cubicBezTo>
                <a:cubicBezTo>
                  <a:pt x="3699578" y="239086"/>
                  <a:pt x="3702372" y="232031"/>
                  <a:pt x="3707964" y="226307"/>
                </a:cubicBezTo>
                <a:cubicBezTo>
                  <a:pt x="3713555" y="220449"/>
                  <a:pt x="3720743" y="217654"/>
                  <a:pt x="3729795" y="217654"/>
                </a:cubicBezTo>
                <a:close/>
                <a:moveTo>
                  <a:pt x="3947442" y="217654"/>
                </a:moveTo>
                <a:cubicBezTo>
                  <a:pt x="3951702" y="217654"/>
                  <a:pt x="3955562" y="218453"/>
                  <a:pt x="3959157" y="220183"/>
                </a:cubicBezTo>
                <a:cubicBezTo>
                  <a:pt x="3962884" y="221781"/>
                  <a:pt x="3965945" y="223910"/>
                  <a:pt x="3968474" y="226573"/>
                </a:cubicBezTo>
                <a:cubicBezTo>
                  <a:pt x="3971004" y="229102"/>
                  <a:pt x="3973134" y="232297"/>
                  <a:pt x="3974598" y="235891"/>
                </a:cubicBezTo>
                <a:cubicBezTo>
                  <a:pt x="3976063" y="239485"/>
                  <a:pt x="3976862" y="243345"/>
                  <a:pt x="3976862" y="247339"/>
                </a:cubicBezTo>
                <a:cubicBezTo>
                  <a:pt x="3976862" y="251466"/>
                  <a:pt x="3976063" y="255326"/>
                  <a:pt x="3974598" y="259054"/>
                </a:cubicBezTo>
                <a:cubicBezTo>
                  <a:pt x="3973134" y="262781"/>
                  <a:pt x="3971004" y="265843"/>
                  <a:pt x="3968474" y="268505"/>
                </a:cubicBezTo>
                <a:cubicBezTo>
                  <a:pt x="3965812" y="271168"/>
                  <a:pt x="3962751" y="273298"/>
                  <a:pt x="3959157" y="274762"/>
                </a:cubicBezTo>
                <a:cubicBezTo>
                  <a:pt x="3955562" y="276226"/>
                  <a:pt x="3951702" y="277025"/>
                  <a:pt x="3947442" y="277025"/>
                </a:cubicBezTo>
                <a:cubicBezTo>
                  <a:pt x="3938390" y="277025"/>
                  <a:pt x="3931202" y="274096"/>
                  <a:pt x="3925610" y="268505"/>
                </a:cubicBezTo>
                <a:cubicBezTo>
                  <a:pt x="3920019" y="262915"/>
                  <a:pt x="3917224" y="255859"/>
                  <a:pt x="3917224" y="247339"/>
                </a:cubicBezTo>
                <a:cubicBezTo>
                  <a:pt x="3917224" y="239086"/>
                  <a:pt x="3920019" y="232031"/>
                  <a:pt x="3925610" y="226307"/>
                </a:cubicBezTo>
                <a:cubicBezTo>
                  <a:pt x="3931202" y="220449"/>
                  <a:pt x="3938390" y="217654"/>
                  <a:pt x="3947442" y="217654"/>
                </a:cubicBezTo>
                <a:close/>
                <a:moveTo>
                  <a:pt x="4165068" y="217654"/>
                </a:moveTo>
                <a:cubicBezTo>
                  <a:pt x="4169327" y="217654"/>
                  <a:pt x="4173188" y="218453"/>
                  <a:pt x="4176782" y="220183"/>
                </a:cubicBezTo>
                <a:cubicBezTo>
                  <a:pt x="4180509" y="221781"/>
                  <a:pt x="4183571" y="223910"/>
                  <a:pt x="4186100" y="226573"/>
                </a:cubicBezTo>
                <a:cubicBezTo>
                  <a:pt x="4188629" y="229102"/>
                  <a:pt x="4190759" y="232297"/>
                  <a:pt x="4192223" y="235891"/>
                </a:cubicBezTo>
                <a:cubicBezTo>
                  <a:pt x="4193688" y="239485"/>
                  <a:pt x="4194486" y="243345"/>
                  <a:pt x="4194486" y="247339"/>
                </a:cubicBezTo>
                <a:cubicBezTo>
                  <a:pt x="4194486" y="251466"/>
                  <a:pt x="4193688" y="255326"/>
                  <a:pt x="4192223" y="259053"/>
                </a:cubicBezTo>
                <a:cubicBezTo>
                  <a:pt x="4190759" y="262781"/>
                  <a:pt x="4188629" y="265843"/>
                  <a:pt x="4186100" y="268505"/>
                </a:cubicBezTo>
                <a:cubicBezTo>
                  <a:pt x="4183438" y="271168"/>
                  <a:pt x="4180376" y="273298"/>
                  <a:pt x="4176782" y="274762"/>
                </a:cubicBezTo>
                <a:cubicBezTo>
                  <a:pt x="4173188" y="276226"/>
                  <a:pt x="4169327" y="277025"/>
                  <a:pt x="4165068" y="277025"/>
                </a:cubicBezTo>
                <a:cubicBezTo>
                  <a:pt x="4156015" y="277025"/>
                  <a:pt x="4148827" y="274096"/>
                  <a:pt x="4143235" y="268505"/>
                </a:cubicBezTo>
                <a:cubicBezTo>
                  <a:pt x="4137645" y="262915"/>
                  <a:pt x="4134849" y="255858"/>
                  <a:pt x="4134849" y="247339"/>
                </a:cubicBezTo>
                <a:cubicBezTo>
                  <a:pt x="4134849" y="239086"/>
                  <a:pt x="4137645" y="232031"/>
                  <a:pt x="4143235" y="226307"/>
                </a:cubicBezTo>
                <a:cubicBezTo>
                  <a:pt x="4148827" y="220449"/>
                  <a:pt x="4156015" y="217654"/>
                  <a:pt x="4165068" y="217654"/>
                </a:cubicBezTo>
                <a:close/>
                <a:moveTo>
                  <a:pt x="4382713" y="217654"/>
                </a:moveTo>
                <a:cubicBezTo>
                  <a:pt x="4386840" y="217654"/>
                  <a:pt x="4390834" y="218453"/>
                  <a:pt x="4394428" y="220183"/>
                </a:cubicBezTo>
                <a:cubicBezTo>
                  <a:pt x="4398155" y="221781"/>
                  <a:pt x="4401217" y="223910"/>
                  <a:pt x="4403746" y="226573"/>
                </a:cubicBezTo>
                <a:cubicBezTo>
                  <a:pt x="4406275" y="229102"/>
                  <a:pt x="4408405" y="232297"/>
                  <a:pt x="4409869" y="235891"/>
                </a:cubicBezTo>
                <a:cubicBezTo>
                  <a:pt x="4411334" y="239485"/>
                  <a:pt x="4412132" y="243345"/>
                  <a:pt x="4412132" y="247339"/>
                </a:cubicBezTo>
                <a:cubicBezTo>
                  <a:pt x="4412132" y="251466"/>
                  <a:pt x="4411334" y="255326"/>
                  <a:pt x="4409869" y="259053"/>
                </a:cubicBezTo>
                <a:cubicBezTo>
                  <a:pt x="4408405" y="262780"/>
                  <a:pt x="4406275" y="265843"/>
                  <a:pt x="4403746" y="268505"/>
                </a:cubicBezTo>
                <a:cubicBezTo>
                  <a:pt x="4401083" y="271167"/>
                  <a:pt x="4398022" y="273298"/>
                  <a:pt x="4394428" y="274762"/>
                </a:cubicBezTo>
                <a:cubicBezTo>
                  <a:pt x="4390834" y="276226"/>
                  <a:pt x="4386973" y="277025"/>
                  <a:pt x="4382713" y="277025"/>
                </a:cubicBezTo>
                <a:cubicBezTo>
                  <a:pt x="4373661" y="277025"/>
                  <a:pt x="4366473" y="274096"/>
                  <a:pt x="4360881" y="268505"/>
                </a:cubicBezTo>
                <a:cubicBezTo>
                  <a:pt x="4355290" y="262914"/>
                  <a:pt x="4352495" y="255858"/>
                  <a:pt x="4352495" y="247339"/>
                </a:cubicBezTo>
                <a:cubicBezTo>
                  <a:pt x="4352495" y="239086"/>
                  <a:pt x="4355290" y="232031"/>
                  <a:pt x="4360881" y="226307"/>
                </a:cubicBezTo>
                <a:cubicBezTo>
                  <a:pt x="4366473" y="220449"/>
                  <a:pt x="4373661" y="217654"/>
                  <a:pt x="4382713" y="217654"/>
                </a:cubicBezTo>
                <a:close/>
                <a:moveTo>
                  <a:pt x="4600226" y="217653"/>
                </a:moveTo>
                <a:cubicBezTo>
                  <a:pt x="4604485" y="217653"/>
                  <a:pt x="4608479" y="218452"/>
                  <a:pt x="4612073" y="220183"/>
                </a:cubicBezTo>
                <a:cubicBezTo>
                  <a:pt x="4615800" y="221781"/>
                  <a:pt x="4618862" y="223910"/>
                  <a:pt x="4621391" y="226573"/>
                </a:cubicBezTo>
                <a:cubicBezTo>
                  <a:pt x="4623920" y="229102"/>
                  <a:pt x="4626050" y="232297"/>
                  <a:pt x="4627514" y="235891"/>
                </a:cubicBezTo>
                <a:cubicBezTo>
                  <a:pt x="4628978" y="239485"/>
                  <a:pt x="4629777" y="243345"/>
                  <a:pt x="4629777" y="247339"/>
                </a:cubicBezTo>
                <a:cubicBezTo>
                  <a:pt x="4629777" y="251466"/>
                  <a:pt x="4628978" y="255326"/>
                  <a:pt x="4627514" y="259053"/>
                </a:cubicBezTo>
                <a:cubicBezTo>
                  <a:pt x="4626050" y="262780"/>
                  <a:pt x="4623920" y="265842"/>
                  <a:pt x="4621391" y="268504"/>
                </a:cubicBezTo>
                <a:cubicBezTo>
                  <a:pt x="4618729" y="271167"/>
                  <a:pt x="4615667" y="273298"/>
                  <a:pt x="4612073" y="274762"/>
                </a:cubicBezTo>
                <a:cubicBezTo>
                  <a:pt x="4608346" y="276226"/>
                  <a:pt x="4604485" y="277025"/>
                  <a:pt x="4600226" y="277025"/>
                </a:cubicBezTo>
                <a:cubicBezTo>
                  <a:pt x="4591173" y="277025"/>
                  <a:pt x="4583985" y="274096"/>
                  <a:pt x="4578393" y="268504"/>
                </a:cubicBezTo>
                <a:cubicBezTo>
                  <a:pt x="4572803" y="262914"/>
                  <a:pt x="4570007" y="255858"/>
                  <a:pt x="4570007" y="247339"/>
                </a:cubicBezTo>
                <a:cubicBezTo>
                  <a:pt x="4570007" y="239086"/>
                  <a:pt x="4572803" y="232031"/>
                  <a:pt x="4578393" y="226307"/>
                </a:cubicBezTo>
                <a:cubicBezTo>
                  <a:pt x="4583985" y="220448"/>
                  <a:pt x="4591173" y="217653"/>
                  <a:pt x="4600226" y="217653"/>
                </a:cubicBezTo>
                <a:close/>
                <a:moveTo>
                  <a:pt x="4817870" y="217653"/>
                </a:moveTo>
                <a:cubicBezTo>
                  <a:pt x="4822130" y="217653"/>
                  <a:pt x="4826124" y="218452"/>
                  <a:pt x="4829585" y="220182"/>
                </a:cubicBezTo>
                <a:cubicBezTo>
                  <a:pt x="4833312" y="221780"/>
                  <a:pt x="4836374" y="223909"/>
                  <a:pt x="4838903" y="226573"/>
                </a:cubicBezTo>
                <a:cubicBezTo>
                  <a:pt x="4841432" y="229102"/>
                  <a:pt x="4843562" y="232297"/>
                  <a:pt x="4845026" y="235891"/>
                </a:cubicBezTo>
                <a:cubicBezTo>
                  <a:pt x="4846491" y="239485"/>
                  <a:pt x="4847289" y="243345"/>
                  <a:pt x="4847289" y="247339"/>
                </a:cubicBezTo>
                <a:cubicBezTo>
                  <a:pt x="4847289" y="251466"/>
                  <a:pt x="4846491" y="255326"/>
                  <a:pt x="4845026" y="259053"/>
                </a:cubicBezTo>
                <a:cubicBezTo>
                  <a:pt x="4843562" y="262780"/>
                  <a:pt x="4841432" y="265842"/>
                  <a:pt x="4838903" y="268504"/>
                </a:cubicBezTo>
                <a:cubicBezTo>
                  <a:pt x="4836240" y="271167"/>
                  <a:pt x="4833179" y="273297"/>
                  <a:pt x="4829585" y="274761"/>
                </a:cubicBezTo>
                <a:cubicBezTo>
                  <a:pt x="4825991" y="276225"/>
                  <a:pt x="4822130" y="277024"/>
                  <a:pt x="4817870" y="277024"/>
                </a:cubicBezTo>
                <a:cubicBezTo>
                  <a:pt x="4808952" y="277024"/>
                  <a:pt x="4801630" y="274095"/>
                  <a:pt x="4796038" y="268504"/>
                </a:cubicBezTo>
                <a:cubicBezTo>
                  <a:pt x="4790447" y="262914"/>
                  <a:pt x="4787652" y="255858"/>
                  <a:pt x="4787652" y="247339"/>
                </a:cubicBezTo>
                <a:cubicBezTo>
                  <a:pt x="4787652" y="239086"/>
                  <a:pt x="4790447" y="232031"/>
                  <a:pt x="4796038" y="226307"/>
                </a:cubicBezTo>
                <a:cubicBezTo>
                  <a:pt x="4801630" y="220448"/>
                  <a:pt x="4808818" y="217653"/>
                  <a:pt x="4817870" y="217653"/>
                </a:cubicBezTo>
                <a:close/>
                <a:moveTo>
                  <a:pt x="5035515" y="217653"/>
                </a:moveTo>
                <a:cubicBezTo>
                  <a:pt x="5039775" y="217653"/>
                  <a:pt x="5043636" y="218452"/>
                  <a:pt x="5047230" y="220182"/>
                </a:cubicBezTo>
                <a:cubicBezTo>
                  <a:pt x="5050957" y="221780"/>
                  <a:pt x="5054019" y="223909"/>
                  <a:pt x="5056548" y="226572"/>
                </a:cubicBezTo>
                <a:cubicBezTo>
                  <a:pt x="5059077" y="229102"/>
                  <a:pt x="5061207" y="232297"/>
                  <a:pt x="5062671" y="235891"/>
                </a:cubicBezTo>
                <a:cubicBezTo>
                  <a:pt x="5064135" y="239485"/>
                  <a:pt x="5064934" y="243345"/>
                  <a:pt x="5064934" y="247339"/>
                </a:cubicBezTo>
                <a:cubicBezTo>
                  <a:pt x="5064934" y="251466"/>
                  <a:pt x="5064135" y="255459"/>
                  <a:pt x="5062671" y="259053"/>
                </a:cubicBezTo>
                <a:cubicBezTo>
                  <a:pt x="5061207" y="262780"/>
                  <a:pt x="5059077" y="265842"/>
                  <a:pt x="5056548" y="268504"/>
                </a:cubicBezTo>
                <a:cubicBezTo>
                  <a:pt x="5053885" y="271167"/>
                  <a:pt x="5050824" y="273297"/>
                  <a:pt x="5047230" y="274761"/>
                </a:cubicBezTo>
                <a:cubicBezTo>
                  <a:pt x="5043636" y="276225"/>
                  <a:pt x="5039775" y="277024"/>
                  <a:pt x="5035515" y="277024"/>
                </a:cubicBezTo>
                <a:cubicBezTo>
                  <a:pt x="5026597" y="277024"/>
                  <a:pt x="5019275" y="274095"/>
                  <a:pt x="5013683" y="268504"/>
                </a:cubicBezTo>
                <a:cubicBezTo>
                  <a:pt x="5008092" y="262914"/>
                  <a:pt x="5005297" y="255858"/>
                  <a:pt x="5005297" y="247339"/>
                </a:cubicBezTo>
                <a:cubicBezTo>
                  <a:pt x="5005297" y="239086"/>
                  <a:pt x="5008092" y="232030"/>
                  <a:pt x="5013683" y="226306"/>
                </a:cubicBezTo>
                <a:cubicBezTo>
                  <a:pt x="5019275" y="220448"/>
                  <a:pt x="5026463" y="217653"/>
                  <a:pt x="5035515" y="217653"/>
                </a:cubicBezTo>
                <a:close/>
                <a:moveTo>
                  <a:pt x="5253160" y="217653"/>
                </a:moveTo>
                <a:cubicBezTo>
                  <a:pt x="5257420" y="217653"/>
                  <a:pt x="5261280" y="218452"/>
                  <a:pt x="5264875" y="220182"/>
                </a:cubicBezTo>
                <a:cubicBezTo>
                  <a:pt x="5268602" y="221780"/>
                  <a:pt x="5271664" y="223909"/>
                  <a:pt x="5274192" y="226572"/>
                </a:cubicBezTo>
                <a:cubicBezTo>
                  <a:pt x="5276722" y="229101"/>
                  <a:pt x="5278852" y="232297"/>
                  <a:pt x="5280316" y="235891"/>
                </a:cubicBezTo>
                <a:cubicBezTo>
                  <a:pt x="5281780" y="239485"/>
                  <a:pt x="5282579" y="243345"/>
                  <a:pt x="5282579" y="247339"/>
                </a:cubicBezTo>
                <a:cubicBezTo>
                  <a:pt x="5282579" y="251466"/>
                  <a:pt x="5281780" y="255459"/>
                  <a:pt x="5280316" y="259053"/>
                </a:cubicBezTo>
                <a:cubicBezTo>
                  <a:pt x="5278852" y="262780"/>
                  <a:pt x="5276722" y="265842"/>
                  <a:pt x="5274192" y="268504"/>
                </a:cubicBezTo>
                <a:cubicBezTo>
                  <a:pt x="5271664" y="271167"/>
                  <a:pt x="5268469" y="273297"/>
                  <a:pt x="5264875" y="274761"/>
                </a:cubicBezTo>
                <a:cubicBezTo>
                  <a:pt x="5261280" y="276225"/>
                  <a:pt x="5257420" y="277024"/>
                  <a:pt x="5253160" y="277024"/>
                </a:cubicBezTo>
                <a:cubicBezTo>
                  <a:pt x="5244241" y="277024"/>
                  <a:pt x="5236920" y="274095"/>
                  <a:pt x="5231328" y="268504"/>
                </a:cubicBezTo>
                <a:cubicBezTo>
                  <a:pt x="5225737" y="262914"/>
                  <a:pt x="5222942" y="255858"/>
                  <a:pt x="5222942" y="247339"/>
                </a:cubicBezTo>
                <a:cubicBezTo>
                  <a:pt x="5222942" y="239086"/>
                  <a:pt x="5225737" y="232030"/>
                  <a:pt x="5231328" y="226306"/>
                </a:cubicBezTo>
                <a:cubicBezTo>
                  <a:pt x="5236920" y="220448"/>
                  <a:pt x="5244108" y="217653"/>
                  <a:pt x="5253160" y="217653"/>
                </a:cubicBezTo>
                <a:close/>
                <a:moveTo>
                  <a:pt x="5470806" y="217653"/>
                </a:moveTo>
                <a:cubicBezTo>
                  <a:pt x="5475065" y="217653"/>
                  <a:pt x="5478926" y="218452"/>
                  <a:pt x="5482520" y="220182"/>
                </a:cubicBezTo>
                <a:cubicBezTo>
                  <a:pt x="5486247" y="221780"/>
                  <a:pt x="5489309" y="223909"/>
                  <a:pt x="5491838" y="226572"/>
                </a:cubicBezTo>
                <a:cubicBezTo>
                  <a:pt x="5494367" y="229101"/>
                  <a:pt x="5496497" y="232296"/>
                  <a:pt x="5497961" y="235890"/>
                </a:cubicBezTo>
                <a:cubicBezTo>
                  <a:pt x="5499426" y="239484"/>
                  <a:pt x="5500224" y="243344"/>
                  <a:pt x="5500224" y="247339"/>
                </a:cubicBezTo>
                <a:cubicBezTo>
                  <a:pt x="5500224" y="251466"/>
                  <a:pt x="5499426" y="255459"/>
                  <a:pt x="5497961" y="259053"/>
                </a:cubicBezTo>
                <a:cubicBezTo>
                  <a:pt x="5496497" y="262780"/>
                  <a:pt x="5494367" y="265842"/>
                  <a:pt x="5491838" y="268504"/>
                </a:cubicBezTo>
                <a:cubicBezTo>
                  <a:pt x="5489176" y="271167"/>
                  <a:pt x="5486114" y="273297"/>
                  <a:pt x="5482520" y="274761"/>
                </a:cubicBezTo>
                <a:cubicBezTo>
                  <a:pt x="5478926" y="276225"/>
                  <a:pt x="5475065" y="277024"/>
                  <a:pt x="5470806" y="277024"/>
                </a:cubicBezTo>
                <a:cubicBezTo>
                  <a:pt x="5461887" y="277024"/>
                  <a:pt x="5454565" y="274095"/>
                  <a:pt x="5448973" y="268504"/>
                </a:cubicBezTo>
                <a:cubicBezTo>
                  <a:pt x="5443383" y="262914"/>
                  <a:pt x="5440587" y="255858"/>
                  <a:pt x="5440587" y="247339"/>
                </a:cubicBezTo>
                <a:cubicBezTo>
                  <a:pt x="5440587" y="239086"/>
                  <a:pt x="5443383" y="232030"/>
                  <a:pt x="5448973" y="226306"/>
                </a:cubicBezTo>
                <a:cubicBezTo>
                  <a:pt x="5454565" y="220448"/>
                  <a:pt x="5461754" y="217653"/>
                  <a:pt x="5470806" y="217653"/>
                </a:cubicBezTo>
                <a:close/>
                <a:moveTo>
                  <a:pt x="5688451" y="217653"/>
                </a:moveTo>
                <a:cubicBezTo>
                  <a:pt x="5692577" y="217653"/>
                  <a:pt x="5696571" y="218452"/>
                  <a:pt x="5700165" y="220182"/>
                </a:cubicBezTo>
                <a:cubicBezTo>
                  <a:pt x="5703892" y="221780"/>
                  <a:pt x="5706954" y="223909"/>
                  <a:pt x="5709483" y="226572"/>
                </a:cubicBezTo>
                <a:cubicBezTo>
                  <a:pt x="5712012" y="229101"/>
                  <a:pt x="5714142" y="232296"/>
                  <a:pt x="5715606" y="235890"/>
                </a:cubicBezTo>
                <a:cubicBezTo>
                  <a:pt x="5717071" y="239484"/>
                  <a:pt x="5717869" y="243344"/>
                  <a:pt x="5717869" y="247338"/>
                </a:cubicBezTo>
                <a:cubicBezTo>
                  <a:pt x="5717869" y="251466"/>
                  <a:pt x="5717071" y="255459"/>
                  <a:pt x="5715606" y="259053"/>
                </a:cubicBezTo>
                <a:cubicBezTo>
                  <a:pt x="5714142" y="262780"/>
                  <a:pt x="5712012" y="265842"/>
                  <a:pt x="5709483" y="268504"/>
                </a:cubicBezTo>
                <a:cubicBezTo>
                  <a:pt x="5706820" y="271167"/>
                  <a:pt x="5703759" y="273297"/>
                  <a:pt x="5700165" y="274761"/>
                </a:cubicBezTo>
                <a:cubicBezTo>
                  <a:pt x="5696571" y="276225"/>
                  <a:pt x="5692710" y="277024"/>
                  <a:pt x="5688451" y="277024"/>
                </a:cubicBezTo>
                <a:cubicBezTo>
                  <a:pt x="5679532" y="277024"/>
                  <a:pt x="5672210" y="274095"/>
                  <a:pt x="5666618" y="268504"/>
                </a:cubicBezTo>
                <a:cubicBezTo>
                  <a:pt x="5661028" y="262914"/>
                  <a:pt x="5658232" y="255858"/>
                  <a:pt x="5658232" y="247338"/>
                </a:cubicBezTo>
                <a:cubicBezTo>
                  <a:pt x="5658232" y="239085"/>
                  <a:pt x="5661028" y="232030"/>
                  <a:pt x="5666618" y="226306"/>
                </a:cubicBezTo>
                <a:cubicBezTo>
                  <a:pt x="5672210" y="220448"/>
                  <a:pt x="5679398" y="217653"/>
                  <a:pt x="5688451" y="217653"/>
                </a:cubicBezTo>
                <a:close/>
                <a:moveTo>
                  <a:pt x="5905963" y="217653"/>
                </a:moveTo>
                <a:cubicBezTo>
                  <a:pt x="5910222" y="217653"/>
                  <a:pt x="5914216" y="218452"/>
                  <a:pt x="5917677" y="220182"/>
                </a:cubicBezTo>
                <a:cubicBezTo>
                  <a:pt x="5921404" y="221780"/>
                  <a:pt x="5924466" y="223909"/>
                  <a:pt x="5926995" y="226572"/>
                </a:cubicBezTo>
                <a:cubicBezTo>
                  <a:pt x="5929524" y="229101"/>
                  <a:pt x="5931654" y="232296"/>
                  <a:pt x="5933118" y="235890"/>
                </a:cubicBezTo>
                <a:cubicBezTo>
                  <a:pt x="5934583" y="239484"/>
                  <a:pt x="5935381" y="243344"/>
                  <a:pt x="5935381" y="247338"/>
                </a:cubicBezTo>
                <a:cubicBezTo>
                  <a:pt x="5935381" y="251465"/>
                  <a:pt x="5934583" y="255459"/>
                  <a:pt x="5933118" y="259053"/>
                </a:cubicBezTo>
                <a:cubicBezTo>
                  <a:pt x="5931654" y="262780"/>
                  <a:pt x="5929524" y="265842"/>
                  <a:pt x="5926995" y="268504"/>
                </a:cubicBezTo>
                <a:cubicBezTo>
                  <a:pt x="5924333" y="271167"/>
                  <a:pt x="5921271" y="273297"/>
                  <a:pt x="5917677" y="274761"/>
                </a:cubicBezTo>
                <a:cubicBezTo>
                  <a:pt x="5914083" y="276225"/>
                  <a:pt x="5910222" y="277024"/>
                  <a:pt x="5905963" y="277024"/>
                </a:cubicBezTo>
                <a:cubicBezTo>
                  <a:pt x="5897044" y="277024"/>
                  <a:pt x="5889722" y="274095"/>
                  <a:pt x="5884130" y="268504"/>
                </a:cubicBezTo>
                <a:cubicBezTo>
                  <a:pt x="5878540" y="262914"/>
                  <a:pt x="5875744" y="255858"/>
                  <a:pt x="5875744" y="247338"/>
                </a:cubicBezTo>
                <a:cubicBezTo>
                  <a:pt x="5875744" y="239085"/>
                  <a:pt x="5878540" y="232030"/>
                  <a:pt x="5884130" y="226306"/>
                </a:cubicBezTo>
                <a:cubicBezTo>
                  <a:pt x="5889722" y="220448"/>
                  <a:pt x="5896910" y="217653"/>
                  <a:pt x="5905963" y="217653"/>
                </a:cubicBezTo>
                <a:close/>
                <a:moveTo>
                  <a:pt x="6123608" y="217653"/>
                </a:moveTo>
                <a:cubicBezTo>
                  <a:pt x="6127867" y="217653"/>
                  <a:pt x="6131728" y="218452"/>
                  <a:pt x="6135322" y="220182"/>
                </a:cubicBezTo>
                <a:cubicBezTo>
                  <a:pt x="6139049" y="221780"/>
                  <a:pt x="6142111" y="223909"/>
                  <a:pt x="6144640" y="226572"/>
                </a:cubicBezTo>
                <a:cubicBezTo>
                  <a:pt x="6147169" y="229101"/>
                  <a:pt x="6149299" y="232296"/>
                  <a:pt x="6150763" y="235890"/>
                </a:cubicBezTo>
                <a:cubicBezTo>
                  <a:pt x="6152228" y="239484"/>
                  <a:pt x="6153026" y="243344"/>
                  <a:pt x="6153026" y="247338"/>
                </a:cubicBezTo>
                <a:cubicBezTo>
                  <a:pt x="6153026" y="251465"/>
                  <a:pt x="6152228" y="255458"/>
                  <a:pt x="6150763" y="259052"/>
                </a:cubicBezTo>
                <a:cubicBezTo>
                  <a:pt x="6149299" y="262780"/>
                  <a:pt x="6147169" y="265842"/>
                  <a:pt x="6144640" y="268504"/>
                </a:cubicBezTo>
                <a:cubicBezTo>
                  <a:pt x="6141977" y="271167"/>
                  <a:pt x="6138916" y="273297"/>
                  <a:pt x="6135322" y="274761"/>
                </a:cubicBezTo>
                <a:cubicBezTo>
                  <a:pt x="6131728" y="276225"/>
                  <a:pt x="6127867" y="277024"/>
                  <a:pt x="6123608" y="277024"/>
                </a:cubicBezTo>
                <a:cubicBezTo>
                  <a:pt x="6114689" y="277024"/>
                  <a:pt x="6107367" y="274095"/>
                  <a:pt x="6101775" y="268504"/>
                </a:cubicBezTo>
                <a:cubicBezTo>
                  <a:pt x="6096184" y="262914"/>
                  <a:pt x="6093389" y="255857"/>
                  <a:pt x="6093389" y="247338"/>
                </a:cubicBezTo>
                <a:cubicBezTo>
                  <a:pt x="6093389" y="239085"/>
                  <a:pt x="6096184" y="232030"/>
                  <a:pt x="6101775" y="226306"/>
                </a:cubicBezTo>
                <a:cubicBezTo>
                  <a:pt x="6107367" y="220448"/>
                  <a:pt x="6114555" y="217653"/>
                  <a:pt x="6123608" y="217653"/>
                </a:cubicBezTo>
                <a:close/>
                <a:moveTo>
                  <a:pt x="6341253" y="217653"/>
                </a:moveTo>
                <a:cubicBezTo>
                  <a:pt x="6345513" y="217653"/>
                  <a:pt x="6349373" y="218452"/>
                  <a:pt x="6352968" y="220182"/>
                </a:cubicBezTo>
                <a:cubicBezTo>
                  <a:pt x="6356695" y="221780"/>
                  <a:pt x="6359757" y="223909"/>
                  <a:pt x="6362286" y="226572"/>
                </a:cubicBezTo>
                <a:cubicBezTo>
                  <a:pt x="6364815" y="229101"/>
                  <a:pt x="6366945" y="232296"/>
                  <a:pt x="6368409" y="235890"/>
                </a:cubicBezTo>
                <a:cubicBezTo>
                  <a:pt x="6369874" y="239484"/>
                  <a:pt x="6370672" y="243344"/>
                  <a:pt x="6370672" y="247338"/>
                </a:cubicBezTo>
                <a:cubicBezTo>
                  <a:pt x="6370672" y="251465"/>
                  <a:pt x="6369874" y="255458"/>
                  <a:pt x="6368409" y="259052"/>
                </a:cubicBezTo>
                <a:cubicBezTo>
                  <a:pt x="6366811" y="262779"/>
                  <a:pt x="6364815" y="265842"/>
                  <a:pt x="6362286" y="268504"/>
                </a:cubicBezTo>
                <a:cubicBezTo>
                  <a:pt x="6359623" y="271167"/>
                  <a:pt x="6356562" y="273297"/>
                  <a:pt x="6352968" y="274761"/>
                </a:cubicBezTo>
                <a:cubicBezTo>
                  <a:pt x="6349373" y="276225"/>
                  <a:pt x="6345513" y="277024"/>
                  <a:pt x="6341253" y="277024"/>
                </a:cubicBezTo>
                <a:cubicBezTo>
                  <a:pt x="6332335" y="277024"/>
                  <a:pt x="6325013" y="274095"/>
                  <a:pt x="6319421" y="268504"/>
                </a:cubicBezTo>
                <a:cubicBezTo>
                  <a:pt x="6313830" y="262913"/>
                  <a:pt x="6311035" y="255857"/>
                  <a:pt x="6311035" y="247338"/>
                </a:cubicBezTo>
                <a:cubicBezTo>
                  <a:pt x="6311035" y="239085"/>
                  <a:pt x="6313830" y="232030"/>
                  <a:pt x="6319421" y="226306"/>
                </a:cubicBezTo>
                <a:cubicBezTo>
                  <a:pt x="6325013" y="220448"/>
                  <a:pt x="6332201" y="217653"/>
                  <a:pt x="6341253" y="217653"/>
                </a:cubicBezTo>
                <a:close/>
                <a:moveTo>
                  <a:pt x="6558899" y="217652"/>
                </a:moveTo>
                <a:cubicBezTo>
                  <a:pt x="6563158" y="217652"/>
                  <a:pt x="6567019" y="218451"/>
                  <a:pt x="6570612" y="220182"/>
                </a:cubicBezTo>
                <a:cubicBezTo>
                  <a:pt x="6574340" y="221780"/>
                  <a:pt x="6577401" y="223909"/>
                  <a:pt x="6579930" y="226572"/>
                </a:cubicBezTo>
                <a:cubicBezTo>
                  <a:pt x="6582460" y="229101"/>
                  <a:pt x="6584590" y="232296"/>
                  <a:pt x="6586054" y="235890"/>
                </a:cubicBezTo>
                <a:cubicBezTo>
                  <a:pt x="6587518" y="239484"/>
                  <a:pt x="6588317" y="243344"/>
                  <a:pt x="6588317" y="247338"/>
                </a:cubicBezTo>
                <a:cubicBezTo>
                  <a:pt x="6588317" y="251465"/>
                  <a:pt x="6587518" y="255458"/>
                  <a:pt x="6586054" y="259052"/>
                </a:cubicBezTo>
                <a:cubicBezTo>
                  <a:pt x="6584457" y="262779"/>
                  <a:pt x="6582460" y="265841"/>
                  <a:pt x="6579930" y="268503"/>
                </a:cubicBezTo>
                <a:cubicBezTo>
                  <a:pt x="6577268" y="271166"/>
                  <a:pt x="6574207" y="273297"/>
                  <a:pt x="6570612" y="274761"/>
                </a:cubicBezTo>
                <a:cubicBezTo>
                  <a:pt x="6567019" y="276225"/>
                  <a:pt x="6563158" y="277024"/>
                  <a:pt x="6558899" y="277024"/>
                </a:cubicBezTo>
                <a:cubicBezTo>
                  <a:pt x="6549979" y="277024"/>
                  <a:pt x="6542658" y="274095"/>
                  <a:pt x="6537066" y="268503"/>
                </a:cubicBezTo>
                <a:cubicBezTo>
                  <a:pt x="6531476" y="262913"/>
                  <a:pt x="6528680" y="255857"/>
                  <a:pt x="6528680" y="247338"/>
                </a:cubicBezTo>
                <a:cubicBezTo>
                  <a:pt x="6528680" y="239085"/>
                  <a:pt x="6531476" y="232030"/>
                  <a:pt x="6537066" y="226306"/>
                </a:cubicBezTo>
                <a:cubicBezTo>
                  <a:pt x="6542658" y="220447"/>
                  <a:pt x="6549846" y="217652"/>
                  <a:pt x="6558899" y="217652"/>
                </a:cubicBezTo>
                <a:close/>
                <a:moveTo>
                  <a:pt x="6776544" y="217652"/>
                </a:moveTo>
                <a:cubicBezTo>
                  <a:pt x="6780670" y="217652"/>
                  <a:pt x="6784664" y="218451"/>
                  <a:pt x="6788258" y="220181"/>
                </a:cubicBezTo>
                <a:cubicBezTo>
                  <a:pt x="6791985" y="221779"/>
                  <a:pt x="6795047" y="223908"/>
                  <a:pt x="6797576" y="226572"/>
                </a:cubicBezTo>
                <a:cubicBezTo>
                  <a:pt x="6800105" y="229101"/>
                  <a:pt x="6802235" y="232296"/>
                  <a:pt x="6803699" y="235890"/>
                </a:cubicBezTo>
                <a:cubicBezTo>
                  <a:pt x="6805164" y="239484"/>
                  <a:pt x="6805963" y="243344"/>
                  <a:pt x="6805963" y="247338"/>
                </a:cubicBezTo>
                <a:cubicBezTo>
                  <a:pt x="6805963" y="251465"/>
                  <a:pt x="6805164" y="255458"/>
                  <a:pt x="6803699" y="259052"/>
                </a:cubicBezTo>
                <a:cubicBezTo>
                  <a:pt x="6802102" y="262779"/>
                  <a:pt x="6800105" y="265841"/>
                  <a:pt x="6797576" y="268503"/>
                </a:cubicBezTo>
                <a:cubicBezTo>
                  <a:pt x="6794914" y="271166"/>
                  <a:pt x="6791852" y="273296"/>
                  <a:pt x="6788258" y="274760"/>
                </a:cubicBezTo>
                <a:cubicBezTo>
                  <a:pt x="6784664" y="276225"/>
                  <a:pt x="6780803" y="277023"/>
                  <a:pt x="6776544" y="277023"/>
                </a:cubicBezTo>
                <a:cubicBezTo>
                  <a:pt x="6767625" y="277023"/>
                  <a:pt x="6760303" y="274094"/>
                  <a:pt x="6754711" y="268503"/>
                </a:cubicBezTo>
                <a:cubicBezTo>
                  <a:pt x="6749121" y="262913"/>
                  <a:pt x="6746325" y="255857"/>
                  <a:pt x="6746325" y="247338"/>
                </a:cubicBezTo>
                <a:cubicBezTo>
                  <a:pt x="6746325" y="239085"/>
                  <a:pt x="6749121" y="232030"/>
                  <a:pt x="6754711" y="226306"/>
                </a:cubicBezTo>
                <a:cubicBezTo>
                  <a:pt x="6760303" y="220447"/>
                  <a:pt x="6767492" y="217652"/>
                  <a:pt x="6776544" y="217652"/>
                </a:cubicBezTo>
                <a:close/>
                <a:moveTo>
                  <a:pt x="6994056" y="217652"/>
                </a:moveTo>
                <a:cubicBezTo>
                  <a:pt x="6998315" y="217652"/>
                  <a:pt x="7002309" y="218451"/>
                  <a:pt x="7005769" y="220181"/>
                </a:cubicBezTo>
                <a:cubicBezTo>
                  <a:pt x="7009497" y="221779"/>
                  <a:pt x="7012558" y="223908"/>
                  <a:pt x="7015087" y="226571"/>
                </a:cubicBezTo>
                <a:cubicBezTo>
                  <a:pt x="7017617" y="229101"/>
                  <a:pt x="7019747" y="232296"/>
                  <a:pt x="7021211" y="235890"/>
                </a:cubicBezTo>
                <a:cubicBezTo>
                  <a:pt x="7022675" y="239484"/>
                  <a:pt x="7023474" y="243344"/>
                  <a:pt x="7023474" y="247338"/>
                </a:cubicBezTo>
                <a:cubicBezTo>
                  <a:pt x="7023474" y="251465"/>
                  <a:pt x="7022675" y="255458"/>
                  <a:pt x="7021211" y="259052"/>
                </a:cubicBezTo>
                <a:cubicBezTo>
                  <a:pt x="7019614" y="262779"/>
                  <a:pt x="7017617" y="265841"/>
                  <a:pt x="7015087" y="268503"/>
                </a:cubicBezTo>
                <a:cubicBezTo>
                  <a:pt x="7012425" y="271166"/>
                  <a:pt x="7009364" y="273296"/>
                  <a:pt x="7005769" y="274760"/>
                </a:cubicBezTo>
                <a:cubicBezTo>
                  <a:pt x="7002176" y="276224"/>
                  <a:pt x="6998315" y="277023"/>
                  <a:pt x="6994056" y="277023"/>
                </a:cubicBezTo>
                <a:cubicBezTo>
                  <a:pt x="6985136" y="277023"/>
                  <a:pt x="6977815" y="274094"/>
                  <a:pt x="6972223" y="268503"/>
                </a:cubicBezTo>
                <a:cubicBezTo>
                  <a:pt x="6966632" y="262913"/>
                  <a:pt x="6963837" y="255857"/>
                  <a:pt x="6963837" y="247338"/>
                </a:cubicBezTo>
                <a:cubicBezTo>
                  <a:pt x="6963837" y="239085"/>
                  <a:pt x="6966632" y="232030"/>
                  <a:pt x="6972223" y="226305"/>
                </a:cubicBezTo>
                <a:cubicBezTo>
                  <a:pt x="6977815" y="220447"/>
                  <a:pt x="6985003" y="217652"/>
                  <a:pt x="6994056" y="217652"/>
                </a:cubicBezTo>
                <a:close/>
                <a:moveTo>
                  <a:pt x="7211701" y="217652"/>
                </a:moveTo>
                <a:cubicBezTo>
                  <a:pt x="7215960" y="217652"/>
                  <a:pt x="7219954" y="218451"/>
                  <a:pt x="7223415" y="220181"/>
                </a:cubicBezTo>
                <a:cubicBezTo>
                  <a:pt x="7227142" y="221779"/>
                  <a:pt x="7230204" y="223908"/>
                  <a:pt x="7232733" y="226571"/>
                </a:cubicBezTo>
                <a:cubicBezTo>
                  <a:pt x="7235262" y="229100"/>
                  <a:pt x="7237392" y="232296"/>
                  <a:pt x="7238856" y="235890"/>
                </a:cubicBezTo>
                <a:cubicBezTo>
                  <a:pt x="7240321" y="239484"/>
                  <a:pt x="7241120" y="243344"/>
                  <a:pt x="7241120" y="247338"/>
                </a:cubicBezTo>
                <a:cubicBezTo>
                  <a:pt x="7241120" y="251465"/>
                  <a:pt x="7240321" y="255458"/>
                  <a:pt x="7238856" y="259052"/>
                </a:cubicBezTo>
                <a:cubicBezTo>
                  <a:pt x="7237259" y="262779"/>
                  <a:pt x="7235262" y="265841"/>
                  <a:pt x="7232733" y="268503"/>
                </a:cubicBezTo>
                <a:cubicBezTo>
                  <a:pt x="7230071" y="271166"/>
                  <a:pt x="7227009" y="273296"/>
                  <a:pt x="7223415" y="274760"/>
                </a:cubicBezTo>
                <a:cubicBezTo>
                  <a:pt x="7219821" y="276224"/>
                  <a:pt x="7215960" y="277023"/>
                  <a:pt x="7211701" y="277023"/>
                </a:cubicBezTo>
                <a:cubicBezTo>
                  <a:pt x="7202782" y="277023"/>
                  <a:pt x="7195460" y="274094"/>
                  <a:pt x="7189868" y="268503"/>
                </a:cubicBezTo>
                <a:cubicBezTo>
                  <a:pt x="7184278" y="262913"/>
                  <a:pt x="7181482" y="255857"/>
                  <a:pt x="7181482" y="247338"/>
                </a:cubicBezTo>
                <a:cubicBezTo>
                  <a:pt x="7181482" y="239085"/>
                  <a:pt x="7184278" y="232029"/>
                  <a:pt x="7189868" y="226305"/>
                </a:cubicBezTo>
                <a:cubicBezTo>
                  <a:pt x="7195460" y="220447"/>
                  <a:pt x="7202649" y="217652"/>
                  <a:pt x="7211701" y="217652"/>
                </a:cubicBezTo>
                <a:close/>
                <a:moveTo>
                  <a:pt x="7429345" y="217652"/>
                </a:moveTo>
                <a:cubicBezTo>
                  <a:pt x="7433605" y="217652"/>
                  <a:pt x="7437466" y="218451"/>
                  <a:pt x="7441059" y="220181"/>
                </a:cubicBezTo>
                <a:cubicBezTo>
                  <a:pt x="7444787" y="221779"/>
                  <a:pt x="7447848" y="223908"/>
                  <a:pt x="7450377" y="226571"/>
                </a:cubicBezTo>
                <a:cubicBezTo>
                  <a:pt x="7452907" y="229100"/>
                  <a:pt x="7455036" y="232295"/>
                  <a:pt x="7456501" y="235889"/>
                </a:cubicBezTo>
                <a:cubicBezTo>
                  <a:pt x="7457965" y="239483"/>
                  <a:pt x="7458764" y="243344"/>
                  <a:pt x="7458764" y="247338"/>
                </a:cubicBezTo>
                <a:cubicBezTo>
                  <a:pt x="7458764" y="251465"/>
                  <a:pt x="7457965" y="255458"/>
                  <a:pt x="7456501" y="259052"/>
                </a:cubicBezTo>
                <a:cubicBezTo>
                  <a:pt x="7454904" y="262779"/>
                  <a:pt x="7452907" y="265841"/>
                  <a:pt x="7450377" y="268503"/>
                </a:cubicBezTo>
                <a:cubicBezTo>
                  <a:pt x="7447715" y="271166"/>
                  <a:pt x="7444654" y="273296"/>
                  <a:pt x="7441059" y="274760"/>
                </a:cubicBezTo>
                <a:cubicBezTo>
                  <a:pt x="7437466" y="276224"/>
                  <a:pt x="7433605" y="277023"/>
                  <a:pt x="7429345" y="277023"/>
                </a:cubicBezTo>
                <a:cubicBezTo>
                  <a:pt x="7420426" y="277023"/>
                  <a:pt x="7413105" y="274094"/>
                  <a:pt x="7407513" y="268503"/>
                </a:cubicBezTo>
                <a:cubicBezTo>
                  <a:pt x="7401922" y="262913"/>
                  <a:pt x="7399127" y="255857"/>
                  <a:pt x="7399127" y="247338"/>
                </a:cubicBezTo>
                <a:cubicBezTo>
                  <a:pt x="7399127" y="239085"/>
                  <a:pt x="7401922" y="232029"/>
                  <a:pt x="7407513" y="226305"/>
                </a:cubicBezTo>
                <a:cubicBezTo>
                  <a:pt x="7413105" y="220447"/>
                  <a:pt x="7420293" y="217652"/>
                  <a:pt x="7429345" y="217652"/>
                </a:cubicBezTo>
                <a:close/>
                <a:moveTo>
                  <a:pt x="7646991" y="217652"/>
                </a:moveTo>
                <a:cubicBezTo>
                  <a:pt x="7651250" y="217652"/>
                  <a:pt x="7655111" y="218451"/>
                  <a:pt x="7658705" y="220181"/>
                </a:cubicBezTo>
                <a:cubicBezTo>
                  <a:pt x="7662432" y="221779"/>
                  <a:pt x="7665493" y="223908"/>
                  <a:pt x="7668022" y="226571"/>
                </a:cubicBezTo>
                <a:cubicBezTo>
                  <a:pt x="7670552" y="229100"/>
                  <a:pt x="7672682" y="232295"/>
                  <a:pt x="7674146" y="235889"/>
                </a:cubicBezTo>
                <a:cubicBezTo>
                  <a:pt x="7675610" y="239483"/>
                  <a:pt x="7676409" y="243343"/>
                  <a:pt x="7676409" y="247338"/>
                </a:cubicBezTo>
                <a:cubicBezTo>
                  <a:pt x="7676409" y="251465"/>
                  <a:pt x="7675610" y="255458"/>
                  <a:pt x="7674146" y="259052"/>
                </a:cubicBezTo>
                <a:cubicBezTo>
                  <a:pt x="7672549" y="262779"/>
                  <a:pt x="7670552" y="265841"/>
                  <a:pt x="7668022" y="268503"/>
                </a:cubicBezTo>
                <a:cubicBezTo>
                  <a:pt x="7665361" y="271166"/>
                  <a:pt x="7662299" y="273296"/>
                  <a:pt x="7658705" y="274760"/>
                </a:cubicBezTo>
                <a:cubicBezTo>
                  <a:pt x="7655111" y="276224"/>
                  <a:pt x="7651250" y="277023"/>
                  <a:pt x="7646991" y="277023"/>
                </a:cubicBezTo>
                <a:cubicBezTo>
                  <a:pt x="7638071" y="277023"/>
                  <a:pt x="7630750" y="274094"/>
                  <a:pt x="7625158" y="268503"/>
                </a:cubicBezTo>
                <a:cubicBezTo>
                  <a:pt x="7619568" y="262913"/>
                  <a:pt x="7616772" y="255857"/>
                  <a:pt x="7616772" y="247338"/>
                </a:cubicBezTo>
                <a:cubicBezTo>
                  <a:pt x="7616772" y="239084"/>
                  <a:pt x="7619568" y="232029"/>
                  <a:pt x="7625158" y="226305"/>
                </a:cubicBezTo>
                <a:cubicBezTo>
                  <a:pt x="7630750" y="220447"/>
                  <a:pt x="7637939" y="217652"/>
                  <a:pt x="7646991" y="217652"/>
                </a:cubicBezTo>
                <a:close/>
                <a:moveTo>
                  <a:pt x="7864636" y="217652"/>
                </a:moveTo>
                <a:cubicBezTo>
                  <a:pt x="7868762" y="217652"/>
                  <a:pt x="7872756" y="218451"/>
                  <a:pt x="7876483" y="220181"/>
                </a:cubicBezTo>
                <a:cubicBezTo>
                  <a:pt x="7880210" y="221779"/>
                  <a:pt x="7883272" y="223908"/>
                  <a:pt x="7885802" y="226571"/>
                </a:cubicBezTo>
                <a:cubicBezTo>
                  <a:pt x="7888331" y="229100"/>
                  <a:pt x="7890460" y="232295"/>
                  <a:pt x="7891924" y="235889"/>
                </a:cubicBezTo>
                <a:cubicBezTo>
                  <a:pt x="7893389" y="239483"/>
                  <a:pt x="7894188" y="243343"/>
                  <a:pt x="7894188" y="247337"/>
                </a:cubicBezTo>
                <a:cubicBezTo>
                  <a:pt x="7894188" y="251464"/>
                  <a:pt x="7893389" y="255458"/>
                  <a:pt x="7891924" y="259052"/>
                </a:cubicBezTo>
                <a:cubicBezTo>
                  <a:pt x="7890327" y="262779"/>
                  <a:pt x="7888331" y="265841"/>
                  <a:pt x="7885802" y="268503"/>
                </a:cubicBezTo>
                <a:cubicBezTo>
                  <a:pt x="7883139" y="271166"/>
                  <a:pt x="7880078" y="273296"/>
                  <a:pt x="7876483" y="274760"/>
                </a:cubicBezTo>
                <a:cubicBezTo>
                  <a:pt x="7872756" y="276224"/>
                  <a:pt x="7868895" y="277023"/>
                  <a:pt x="7864636" y="277023"/>
                </a:cubicBezTo>
                <a:cubicBezTo>
                  <a:pt x="7855717" y="277023"/>
                  <a:pt x="7848396" y="274094"/>
                  <a:pt x="7842803" y="268503"/>
                </a:cubicBezTo>
                <a:cubicBezTo>
                  <a:pt x="7837213" y="262913"/>
                  <a:pt x="7834417" y="255857"/>
                  <a:pt x="7834417" y="247337"/>
                </a:cubicBezTo>
                <a:cubicBezTo>
                  <a:pt x="7834417" y="239084"/>
                  <a:pt x="7837213" y="232029"/>
                  <a:pt x="7842803" y="226305"/>
                </a:cubicBezTo>
                <a:cubicBezTo>
                  <a:pt x="7848396" y="220447"/>
                  <a:pt x="7855584" y="217652"/>
                  <a:pt x="7864636" y="217652"/>
                </a:cubicBezTo>
                <a:close/>
                <a:moveTo>
                  <a:pt x="8082281" y="217652"/>
                </a:moveTo>
                <a:cubicBezTo>
                  <a:pt x="8086407" y="217652"/>
                  <a:pt x="8090401" y="218451"/>
                  <a:pt x="8094127" y="220181"/>
                </a:cubicBezTo>
                <a:cubicBezTo>
                  <a:pt x="8097855" y="221779"/>
                  <a:pt x="8100916" y="223908"/>
                  <a:pt x="8103446" y="226571"/>
                </a:cubicBezTo>
                <a:cubicBezTo>
                  <a:pt x="8105975" y="229100"/>
                  <a:pt x="8108104" y="232295"/>
                  <a:pt x="8109569" y="235889"/>
                </a:cubicBezTo>
                <a:cubicBezTo>
                  <a:pt x="8111033" y="239483"/>
                  <a:pt x="8111832" y="243343"/>
                  <a:pt x="8111832" y="247337"/>
                </a:cubicBezTo>
                <a:cubicBezTo>
                  <a:pt x="8111832" y="251464"/>
                  <a:pt x="8111033" y="255457"/>
                  <a:pt x="8109569" y="259051"/>
                </a:cubicBezTo>
                <a:cubicBezTo>
                  <a:pt x="8107972" y="262779"/>
                  <a:pt x="8105975" y="265841"/>
                  <a:pt x="8103446" y="268503"/>
                </a:cubicBezTo>
                <a:cubicBezTo>
                  <a:pt x="8100783" y="271166"/>
                  <a:pt x="8097722" y="273296"/>
                  <a:pt x="8094127" y="274760"/>
                </a:cubicBezTo>
                <a:cubicBezTo>
                  <a:pt x="8090401" y="276224"/>
                  <a:pt x="8086540" y="277023"/>
                  <a:pt x="8082281" y="277023"/>
                </a:cubicBezTo>
                <a:cubicBezTo>
                  <a:pt x="8073361" y="277023"/>
                  <a:pt x="8066040" y="274094"/>
                  <a:pt x="8060448" y="268503"/>
                </a:cubicBezTo>
                <a:cubicBezTo>
                  <a:pt x="8054857" y="262913"/>
                  <a:pt x="8052062" y="255856"/>
                  <a:pt x="8052062" y="247337"/>
                </a:cubicBezTo>
                <a:cubicBezTo>
                  <a:pt x="8052062" y="239084"/>
                  <a:pt x="8054857" y="232029"/>
                  <a:pt x="8060448" y="226305"/>
                </a:cubicBezTo>
                <a:cubicBezTo>
                  <a:pt x="8066040" y="220447"/>
                  <a:pt x="8073228" y="217652"/>
                  <a:pt x="8082281" y="217652"/>
                </a:cubicBezTo>
                <a:close/>
                <a:moveTo>
                  <a:pt x="8299793" y="217652"/>
                </a:moveTo>
                <a:cubicBezTo>
                  <a:pt x="8304052" y="217652"/>
                  <a:pt x="8308046" y="218451"/>
                  <a:pt x="8311507" y="220181"/>
                </a:cubicBezTo>
                <a:cubicBezTo>
                  <a:pt x="8315235" y="221779"/>
                  <a:pt x="8318296" y="223908"/>
                  <a:pt x="8320825" y="226571"/>
                </a:cubicBezTo>
                <a:cubicBezTo>
                  <a:pt x="8323354" y="229100"/>
                  <a:pt x="8325484" y="232295"/>
                  <a:pt x="8326948" y="235889"/>
                </a:cubicBezTo>
                <a:cubicBezTo>
                  <a:pt x="8328413" y="239483"/>
                  <a:pt x="8329212" y="243343"/>
                  <a:pt x="8329212" y="247337"/>
                </a:cubicBezTo>
                <a:cubicBezTo>
                  <a:pt x="8329212" y="251464"/>
                  <a:pt x="8328413" y="255457"/>
                  <a:pt x="8326948" y="259051"/>
                </a:cubicBezTo>
                <a:cubicBezTo>
                  <a:pt x="8325351" y="262778"/>
                  <a:pt x="8323354" y="265841"/>
                  <a:pt x="8320825" y="268503"/>
                </a:cubicBezTo>
                <a:cubicBezTo>
                  <a:pt x="8318163" y="271166"/>
                  <a:pt x="8315101" y="273296"/>
                  <a:pt x="8311507" y="274760"/>
                </a:cubicBezTo>
                <a:cubicBezTo>
                  <a:pt x="8307913" y="276224"/>
                  <a:pt x="8304052" y="277023"/>
                  <a:pt x="8299793" y="277023"/>
                </a:cubicBezTo>
                <a:cubicBezTo>
                  <a:pt x="8290874" y="277023"/>
                  <a:pt x="8283553" y="274094"/>
                  <a:pt x="8277960" y="268503"/>
                </a:cubicBezTo>
                <a:cubicBezTo>
                  <a:pt x="8272370" y="262912"/>
                  <a:pt x="8269574" y="255856"/>
                  <a:pt x="8269574" y="247337"/>
                </a:cubicBezTo>
                <a:cubicBezTo>
                  <a:pt x="8269574" y="239084"/>
                  <a:pt x="8272370" y="232029"/>
                  <a:pt x="8277960" y="226305"/>
                </a:cubicBezTo>
                <a:cubicBezTo>
                  <a:pt x="8283553" y="220447"/>
                  <a:pt x="8290741" y="217652"/>
                  <a:pt x="8299793" y="217652"/>
                </a:cubicBezTo>
                <a:close/>
                <a:moveTo>
                  <a:pt x="8517438" y="217651"/>
                </a:moveTo>
                <a:cubicBezTo>
                  <a:pt x="8521698" y="217651"/>
                  <a:pt x="8525559" y="218450"/>
                  <a:pt x="8529152" y="220181"/>
                </a:cubicBezTo>
                <a:cubicBezTo>
                  <a:pt x="8532880" y="221779"/>
                  <a:pt x="8535941" y="223908"/>
                  <a:pt x="8538470" y="226571"/>
                </a:cubicBezTo>
                <a:cubicBezTo>
                  <a:pt x="8541000" y="229100"/>
                  <a:pt x="8543130" y="232295"/>
                  <a:pt x="8544594" y="235889"/>
                </a:cubicBezTo>
                <a:cubicBezTo>
                  <a:pt x="8546058" y="239483"/>
                  <a:pt x="8546857" y="243343"/>
                  <a:pt x="8546857" y="247337"/>
                </a:cubicBezTo>
                <a:cubicBezTo>
                  <a:pt x="8546857" y="251464"/>
                  <a:pt x="8546058" y="255457"/>
                  <a:pt x="8544594" y="259051"/>
                </a:cubicBezTo>
                <a:cubicBezTo>
                  <a:pt x="8542997" y="262778"/>
                  <a:pt x="8541000" y="265840"/>
                  <a:pt x="8538470" y="268502"/>
                </a:cubicBezTo>
                <a:cubicBezTo>
                  <a:pt x="8535808" y="271165"/>
                  <a:pt x="8532747" y="273296"/>
                  <a:pt x="8529152" y="274760"/>
                </a:cubicBezTo>
                <a:cubicBezTo>
                  <a:pt x="8525559" y="276224"/>
                  <a:pt x="8521698" y="277023"/>
                  <a:pt x="8517438" y="277023"/>
                </a:cubicBezTo>
                <a:cubicBezTo>
                  <a:pt x="8508385" y="277023"/>
                  <a:pt x="8501197" y="274094"/>
                  <a:pt x="8495606" y="268502"/>
                </a:cubicBezTo>
                <a:cubicBezTo>
                  <a:pt x="8490015" y="262912"/>
                  <a:pt x="8487220" y="255856"/>
                  <a:pt x="8487220" y="247337"/>
                </a:cubicBezTo>
                <a:cubicBezTo>
                  <a:pt x="8487220" y="239084"/>
                  <a:pt x="8490015" y="232029"/>
                  <a:pt x="8495606" y="226305"/>
                </a:cubicBezTo>
                <a:cubicBezTo>
                  <a:pt x="8501197" y="220447"/>
                  <a:pt x="8508385" y="217651"/>
                  <a:pt x="8517438" y="217651"/>
                </a:cubicBezTo>
                <a:close/>
                <a:moveTo>
                  <a:pt x="8952728" y="217651"/>
                </a:moveTo>
                <a:cubicBezTo>
                  <a:pt x="8956988" y="217651"/>
                  <a:pt x="8960849" y="218450"/>
                  <a:pt x="8964442" y="220180"/>
                </a:cubicBezTo>
                <a:cubicBezTo>
                  <a:pt x="8968037" y="221778"/>
                  <a:pt x="8971231" y="223907"/>
                  <a:pt x="8973760" y="226570"/>
                </a:cubicBezTo>
                <a:cubicBezTo>
                  <a:pt x="8976290" y="229100"/>
                  <a:pt x="8978419" y="232295"/>
                  <a:pt x="8979884" y="235889"/>
                </a:cubicBezTo>
                <a:cubicBezTo>
                  <a:pt x="8981348" y="239483"/>
                  <a:pt x="8982147" y="243343"/>
                  <a:pt x="8982147" y="247337"/>
                </a:cubicBezTo>
                <a:cubicBezTo>
                  <a:pt x="8982147" y="251464"/>
                  <a:pt x="8981348" y="255457"/>
                  <a:pt x="8979884" y="259051"/>
                </a:cubicBezTo>
                <a:cubicBezTo>
                  <a:pt x="8978287" y="262778"/>
                  <a:pt x="8976290" y="265840"/>
                  <a:pt x="8973760" y="268502"/>
                </a:cubicBezTo>
                <a:cubicBezTo>
                  <a:pt x="8971098" y="271165"/>
                  <a:pt x="8968037" y="273295"/>
                  <a:pt x="8964442" y="274759"/>
                </a:cubicBezTo>
                <a:cubicBezTo>
                  <a:pt x="8960849" y="276223"/>
                  <a:pt x="8956988" y="277022"/>
                  <a:pt x="8952728" y="277022"/>
                </a:cubicBezTo>
                <a:cubicBezTo>
                  <a:pt x="8943808" y="277022"/>
                  <a:pt x="8936487" y="274093"/>
                  <a:pt x="8930896" y="268502"/>
                </a:cubicBezTo>
                <a:cubicBezTo>
                  <a:pt x="8925305" y="262912"/>
                  <a:pt x="8922510" y="255856"/>
                  <a:pt x="8922510" y="247337"/>
                </a:cubicBezTo>
                <a:cubicBezTo>
                  <a:pt x="8922510" y="239084"/>
                  <a:pt x="8925305" y="232029"/>
                  <a:pt x="8930896" y="226304"/>
                </a:cubicBezTo>
                <a:cubicBezTo>
                  <a:pt x="8936487" y="220446"/>
                  <a:pt x="8943675" y="217651"/>
                  <a:pt x="8952728" y="217651"/>
                </a:cubicBezTo>
                <a:close/>
                <a:moveTo>
                  <a:pt x="8735083" y="217651"/>
                </a:moveTo>
                <a:cubicBezTo>
                  <a:pt x="8739342" y="217651"/>
                  <a:pt x="8743203" y="218450"/>
                  <a:pt x="8746797" y="220180"/>
                </a:cubicBezTo>
                <a:cubicBezTo>
                  <a:pt x="8750391" y="221778"/>
                  <a:pt x="8753586" y="223907"/>
                  <a:pt x="8756115" y="226571"/>
                </a:cubicBezTo>
                <a:cubicBezTo>
                  <a:pt x="8758644" y="229100"/>
                  <a:pt x="8760774" y="232295"/>
                  <a:pt x="8762238" y="235889"/>
                </a:cubicBezTo>
                <a:cubicBezTo>
                  <a:pt x="8763702" y="239483"/>
                  <a:pt x="8764502" y="243343"/>
                  <a:pt x="8764502" y="247337"/>
                </a:cubicBezTo>
                <a:cubicBezTo>
                  <a:pt x="8764502" y="251464"/>
                  <a:pt x="8763702" y="255457"/>
                  <a:pt x="8762238" y="259051"/>
                </a:cubicBezTo>
                <a:cubicBezTo>
                  <a:pt x="8760641" y="262778"/>
                  <a:pt x="8758644" y="265840"/>
                  <a:pt x="8756115" y="268502"/>
                </a:cubicBezTo>
                <a:cubicBezTo>
                  <a:pt x="8753453" y="271165"/>
                  <a:pt x="8750391" y="273295"/>
                  <a:pt x="8746797" y="274759"/>
                </a:cubicBezTo>
                <a:cubicBezTo>
                  <a:pt x="8743203" y="276224"/>
                  <a:pt x="8739342" y="277022"/>
                  <a:pt x="8735083" y="277022"/>
                </a:cubicBezTo>
                <a:cubicBezTo>
                  <a:pt x="8726030" y="277022"/>
                  <a:pt x="8718841" y="274093"/>
                  <a:pt x="8713250" y="268502"/>
                </a:cubicBezTo>
                <a:cubicBezTo>
                  <a:pt x="8707660" y="262912"/>
                  <a:pt x="8704864" y="255856"/>
                  <a:pt x="8704864" y="247337"/>
                </a:cubicBezTo>
                <a:cubicBezTo>
                  <a:pt x="8704864" y="239084"/>
                  <a:pt x="8707660" y="232029"/>
                  <a:pt x="8713250" y="226305"/>
                </a:cubicBezTo>
                <a:cubicBezTo>
                  <a:pt x="8718841" y="220446"/>
                  <a:pt x="8726030" y="217651"/>
                  <a:pt x="8735083" y="217651"/>
                </a:cubicBezTo>
                <a:close/>
                <a:moveTo>
                  <a:pt x="9387885" y="217651"/>
                </a:moveTo>
                <a:cubicBezTo>
                  <a:pt x="9392145" y="217651"/>
                  <a:pt x="9396138" y="218450"/>
                  <a:pt x="9399599" y="220180"/>
                </a:cubicBezTo>
                <a:cubicBezTo>
                  <a:pt x="9403194" y="221778"/>
                  <a:pt x="9406388" y="223907"/>
                  <a:pt x="9408917" y="226570"/>
                </a:cubicBezTo>
                <a:cubicBezTo>
                  <a:pt x="9411447" y="229099"/>
                  <a:pt x="9413576" y="232294"/>
                  <a:pt x="9415041" y="235888"/>
                </a:cubicBezTo>
                <a:cubicBezTo>
                  <a:pt x="9416505" y="239482"/>
                  <a:pt x="9417304" y="243343"/>
                  <a:pt x="9417304" y="247337"/>
                </a:cubicBezTo>
                <a:cubicBezTo>
                  <a:pt x="9417304" y="251464"/>
                  <a:pt x="9416505" y="255457"/>
                  <a:pt x="9415041" y="259051"/>
                </a:cubicBezTo>
                <a:cubicBezTo>
                  <a:pt x="9413444" y="262778"/>
                  <a:pt x="9411447" y="265840"/>
                  <a:pt x="9408917" y="268502"/>
                </a:cubicBezTo>
                <a:cubicBezTo>
                  <a:pt x="9406255" y="271165"/>
                  <a:pt x="9403194" y="273295"/>
                  <a:pt x="9399599" y="274759"/>
                </a:cubicBezTo>
                <a:cubicBezTo>
                  <a:pt x="9396005" y="276223"/>
                  <a:pt x="9392145" y="277022"/>
                  <a:pt x="9387885" y="277022"/>
                </a:cubicBezTo>
                <a:cubicBezTo>
                  <a:pt x="9378965" y="277022"/>
                  <a:pt x="9371644" y="274093"/>
                  <a:pt x="9366053" y="268502"/>
                </a:cubicBezTo>
                <a:cubicBezTo>
                  <a:pt x="9360462" y="262912"/>
                  <a:pt x="9357667" y="255856"/>
                  <a:pt x="9357667" y="247337"/>
                </a:cubicBezTo>
                <a:cubicBezTo>
                  <a:pt x="9357667" y="239084"/>
                  <a:pt x="9360462" y="232028"/>
                  <a:pt x="9366053" y="226304"/>
                </a:cubicBezTo>
                <a:cubicBezTo>
                  <a:pt x="9371644" y="220446"/>
                  <a:pt x="9378832" y="217651"/>
                  <a:pt x="9387885" y="217651"/>
                </a:cubicBezTo>
                <a:close/>
                <a:moveTo>
                  <a:pt x="9170374" y="217651"/>
                </a:moveTo>
                <a:cubicBezTo>
                  <a:pt x="9174500" y="217651"/>
                  <a:pt x="9178494" y="218450"/>
                  <a:pt x="9182088" y="220180"/>
                </a:cubicBezTo>
                <a:cubicBezTo>
                  <a:pt x="9185682" y="221778"/>
                  <a:pt x="9188876" y="223907"/>
                  <a:pt x="9191405" y="226570"/>
                </a:cubicBezTo>
                <a:cubicBezTo>
                  <a:pt x="9193935" y="229099"/>
                  <a:pt x="9196065" y="232295"/>
                  <a:pt x="9197529" y="235889"/>
                </a:cubicBezTo>
                <a:cubicBezTo>
                  <a:pt x="9198993" y="239483"/>
                  <a:pt x="9199792" y="243343"/>
                  <a:pt x="9199792" y="247337"/>
                </a:cubicBezTo>
                <a:cubicBezTo>
                  <a:pt x="9199792" y="251464"/>
                  <a:pt x="9198993" y="255457"/>
                  <a:pt x="9197529" y="259051"/>
                </a:cubicBezTo>
                <a:cubicBezTo>
                  <a:pt x="9195932" y="262778"/>
                  <a:pt x="9193935" y="265840"/>
                  <a:pt x="9191405" y="268502"/>
                </a:cubicBezTo>
                <a:cubicBezTo>
                  <a:pt x="9188744" y="271165"/>
                  <a:pt x="9185682" y="273295"/>
                  <a:pt x="9182088" y="274759"/>
                </a:cubicBezTo>
                <a:cubicBezTo>
                  <a:pt x="9178494" y="276223"/>
                  <a:pt x="9174633" y="277022"/>
                  <a:pt x="9170374" y="277022"/>
                </a:cubicBezTo>
                <a:cubicBezTo>
                  <a:pt x="9161453" y="277022"/>
                  <a:pt x="9154132" y="274093"/>
                  <a:pt x="9148541" y="268502"/>
                </a:cubicBezTo>
                <a:cubicBezTo>
                  <a:pt x="9142951" y="262912"/>
                  <a:pt x="9140155" y="255856"/>
                  <a:pt x="9140155" y="247337"/>
                </a:cubicBezTo>
                <a:cubicBezTo>
                  <a:pt x="9140155" y="239084"/>
                  <a:pt x="9142951" y="232028"/>
                  <a:pt x="9148541" y="226304"/>
                </a:cubicBezTo>
                <a:cubicBezTo>
                  <a:pt x="9154132" y="220446"/>
                  <a:pt x="9161321" y="217651"/>
                  <a:pt x="9170374" y="217651"/>
                </a:cubicBezTo>
                <a:close/>
                <a:moveTo>
                  <a:pt x="9605531" y="217651"/>
                </a:moveTo>
                <a:cubicBezTo>
                  <a:pt x="9609790" y="217651"/>
                  <a:pt x="9613784" y="218450"/>
                  <a:pt x="9617245" y="220180"/>
                </a:cubicBezTo>
                <a:cubicBezTo>
                  <a:pt x="9620839" y="221778"/>
                  <a:pt x="9624033" y="223907"/>
                  <a:pt x="9626562" y="226570"/>
                </a:cubicBezTo>
                <a:cubicBezTo>
                  <a:pt x="9629092" y="229099"/>
                  <a:pt x="9631222" y="232294"/>
                  <a:pt x="9632686" y="235888"/>
                </a:cubicBezTo>
                <a:cubicBezTo>
                  <a:pt x="9634150" y="239482"/>
                  <a:pt x="9634949" y="243342"/>
                  <a:pt x="9634949" y="247337"/>
                </a:cubicBezTo>
                <a:cubicBezTo>
                  <a:pt x="9634949" y="251464"/>
                  <a:pt x="9634150" y="255457"/>
                  <a:pt x="9632686" y="259051"/>
                </a:cubicBezTo>
                <a:cubicBezTo>
                  <a:pt x="9631089" y="262778"/>
                  <a:pt x="9629092" y="265840"/>
                  <a:pt x="9626562" y="268502"/>
                </a:cubicBezTo>
                <a:cubicBezTo>
                  <a:pt x="9623901" y="271165"/>
                  <a:pt x="9620839" y="273295"/>
                  <a:pt x="9617245" y="274759"/>
                </a:cubicBezTo>
                <a:cubicBezTo>
                  <a:pt x="9613651" y="276223"/>
                  <a:pt x="9609790" y="277022"/>
                  <a:pt x="9605531" y="277022"/>
                </a:cubicBezTo>
                <a:cubicBezTo>
                  <a:pt x="9596610" y="277022"/>
                  <a:pt x="9589289" y="274093"/>
                  <a:pt x="9583698" y="268502"/>
                </a:cubicBezTo>
                <a:cubicBezTo>
                  <a:pt x="9578108" y="262912"/>
                  <a:pt x="9575312" y="255856"/>
                  <a:pt x="9575312" y="247337"/>
                </a:cubicBezTo>
                <a:cubicBezTo>
                  <a:pt x="9575312" y="239083"/>
                  <a:pt x="9578108" y="232028"/>
                  <a:pt x="9583698" y="226304"/>
                </a:cubicBezTo>
                <a:cubicBezTo>
                  <a:pt x="9589289" y="220446"/>
                  <a:pt x="9596478" y="217651"/>
                  <a:pt x="9605531" y="217651"/>
                </a:cubicBezTo>
                <a:close/>
                <a:moveTo>
                  <a:pt x="9823176" y="217651"/>
                </a:moveTo>
                <a:cubicBezTo>
                  <a:pt x="9827435" y="217651"/>
                  <a:pt x="9831296" y="218450"/>
                  <a:pt x="9834890" y="220180"/>
                </a:cubicBezTo>
                <a:cubicBezTo>
                  <a:pt x="9838617" y="221778"/>
                  <a:pt x="9841679" y="223907"/>
                  <a:pt x="9844208" y="226570"/>
                </a:cubicBezTo>
                <a:cubicBezTo>
                  <a:pt x="9846737" y="229099"/>
                  <a:pt x="9848867" y="232294"/>
                  <a:pt x="9850331" y="235888"/>
                </a:cubicBezTo>
                <a:cubicBezTo>
                  <a:pt x="9851796" y="239482"/>
                  <a:pt x="9852595" y="243342"/>
                  <a:pt x="9852595" y="247336"/>
                </a:cubicBezTo>
                <a:cubicBezTo>
                  <a:pt x="9852595" y="251464"/>
                  <a:pt x="9851796" y="255457"/>
                  <a:pt x="9850331" y="259051"/>
                </a:cubicBezTo>
                <a:cubicBezTo>
                  <a:pt x="9848734" y="262778"/>
                  <a:pt x="9846737" y="265840"/>
                  <a:pt x="9844208" y="268502"/>
                </a:cubicBezTo>
                <a:cubicBezTo>
                  <a:pt x="9841546" y="271165"/>
                  <a:pt x="9838484" y="273295"/>
                  <a:pt x="9834890" y="274759"/>
                </a:cubicBezTo>
                <a:cubicBezTo>
                  <a:pt x="9831296" y="276223"/>
                  <a:pt x="9827435" y="277022"/>
                  <a:pt x="9823176" y="277022"/>
                </a:cubicBezTo>
                <a:cubicBezTo>
                  <a:pt x="9814123" y="277022"/>
                  <a:pt x="9806935" y="274093"/>
                  <a:pt x="9801343" y="268502"/>
                </a:cubicBezTo>
                <a:cubicBezTo>
                  <a:pt x="9795753" y="262912"/>
                  <a:pt x="9792957" y="255856"/>
                  <a:pt x="9792957" y="247336"/>
                </a:cubicBezTo>
                <a:cubicBezTo>
                  <a:pt x="9792957" y="239083"/>
                  <a:pt x="9795753" y="232028"/>
                  <a:pt x="9801343" y="226304"/>
                </a:cubicBezTo>
                <a:cubicBezTo>
                  <a:pt x="9806935" y="220446"/>
                  <a:pt x="9814123" y="217651"/>
                  <a:pt x="9823176" y="217651"/>
                </a:cubicBezTo>
                <a:close/>
                <a:moveTo>
                  <a:pt x="10040820" y="217651"/>
                </a:moveTo>
                <a:cubicBezTo>
                  <a:pt x="10045080" y="217651"/>
                  <a:pt x="10048941" y="218450"/>
                  <a:pt x="10052534" y="220180"/>
                </a:cubicBezTo>
                <a:cubicBezTo>
                  <a:pt x="10056129" y="221778"/>
                  <a:pt x="10059323" y="223907"/>
                  <a:pt x="10061852" y="226570"/>
                </a:cubicBezTo>
                <a:cubicBezTo>
                  <a:pt x="10064382" y="229099"/>
                  <a:pt x="10066512" y="232294"/>
                  <a:pt x="10067976" y="235888"/>
                </a:cubicBezTo>
                <a:cubicBezTo>
                  <a:pt x="10069440" y="239482"/>
                  <a:pt x="10070239" y="243342"/>
                  <a:pt x="10070239" y="247336"/>
                </a:cubicBezTo>
                <a:cubicBezTo>
                  <a:pt x="10070239" y="251463"/>
                  <a:pt x="10069440" y="255457"/>
                  <a:pt x="10067976" y="259051"/>
                </a:cubicBezTo>
                <a:cubicBezTo>
                  <a:pt x="10066379" y="262778"/>
                  <a:pt x="10064382" y="265840"/>
                  <a:pt x="10061852" y="268502"/>
                </a:cubicBezTo>
                <a:cubicBezTo>
                  <a:pt x="10059190" y="271165"/>
                  <a:pt x="10056129" y="273295"/>
                  <a:pt x="10052534" y="274759"/>
                </a:cubicBezTo>
                <a:cubicBezTo>
                  <a:pt x="10048941" y="276223"/>
                  <a:pt x="10045080" y="277022"/>
                  <a:pt x="10040820" y="277022"/>
                </a:cubicBezTo>
                <a:cubicBezTo>
                  <a:pt x="10031767" y="277022"/>
                  <a:pt x="10024579" y="274093"/>
                  <a:pt x="10018988" y="268502"/>
                </a:cubicBezTo>
                <a:cubicBezTo>
                  <a:pt x="10013397" y="262912"/>
                  <a:pt x="10010602" y="255856"/>
                  <a:pt x="10010602" y="247336"/>
                </a:cubicBezTo>
                <a:cubicBezTo>
                  <a:pt x="10010602" y="239083"/>
                  <a:pt x="10013397" y="232028"/>
                  <a:pt x="10018988" y="226304"/>
                </a:cubicBezTo>
                <a:cubicBezTo>
                  <a:pt x="10024579" y="220446"/>
                  <a:pt x="10031767" y="217651"/>
                  <a:pt x="10040820" y="217651"/>
                </a:cubicBezTo>
                <a:close/>
                <a:moveTo>
                  <a:pt x="10258466" y="217651"/>
                </a:moveTo>
                <a:cubicBezTo>
                  <a:pt x="10262592" y="217651"/>
                  <a:pt x="10266586" y="218450"/>
                  <a:pt x="10270313" y="220180"/>
                </a:cubicBezTo>
                <a:cubicBezTo>
                  <a:pt x="10273907" y="221778"/>
                  <a:pt x="10277101" y="223907"/>
                  <a:pt x="10279631" y="226570"/>
                </a:cubicBezTo>
                <a:cubicBezTo>
                  <a:pt x="10282160" y="229099"/>
                  <a:pt x="10284290" y="232294"/>
                  <a:pt x="10285754" y="235888"/>
                </a:cubicBezTo>
                <a:cubicBezTo>
                  <a:pt x="10287218" y="239482"/>
                  <a:pt x="10288017" y="243342"/>
                  <a:pt x="10288017" y="247336"/>
                </a:cubicBezTo>
                <a:cubicBezTo>
                  <a:pt x="10288017" y="251463"/>
                  <a:pt x="10287218" y="255456"/>
                  <a:pt x="10285754" y="259050"/>
                </a:cubicBezTo>
                <a:cubicBezTo>
                  <a:pt x="10284157" y="262778"/>
                  <a:pt x="10282160" y="265840"/>
                  <a:pt x="10279631" y="268502"/>
                </a:cubicBezTo>
                <a:cubicBezTo>
                  <a:pt x="10276969" y="271165"/>
                  <a:pt x="10273907" y="273295"/>
                  <a:pt x="10270313" y="274759"/>
                </a:cubicBezTo>
                <a:cubicBezTo>
                  <a:pt x="10266586" y="276223"/>
                  <a:pt x="10262725" y="277022"/>
                  <a:pt x="10258466" y="277022"/>
                </a:cubicBezTo>
                <a:cubicBezTo>
                  <a:pt x="10249546" y="277022"/>
                  <a:pt x="10242224" y="274093"/>
                  <a:pt x="10236633" y="268502"/>
                </a:cubicBezTo>
                <a:cubicBezTo>
                  <a:pt x="10231043" y="262911"/>
                  <a:pt x="10228247" y="255855"/>
                  <a:pt x="10228247" y="247336"/>
                </a:cubicBezTo>
                <a:cubicBezTo>
                  <a:pt x="10228247" y="239083"/>
                  <a:pt x="10231043" y="232028"/>
                  <a:pt x="10236633" y="226304"/>
                </a:cubicBezTo>
                <a:cubicBezTo>
                  <a:pt x="10242092" y="220446"/>
                  <a:pt x="10249413" y="217651"/>
                  <a:pt x="10258466" y="217651"/>
                </a:cubicBezTo>
                <a:close/>
                <a:moveTo>
                  <a:pt x="10475977" y="217651"/>
                </a:moveTo>
                <a:cubicBezTo>
                  <a:pt x="10480237" y="217651"/>
                  <a:pt x="10484230" y="218450"/>
                  <a:pt x="10487824" y="220180"/>
                </a:cubicBezTo>
                <a:cubicBezTo>
                  <a:pt x="10491419" y="221778"/>
                  <a:pt x="10494613" y="223907"/>
                  <a:pt x="10497143" y="226570"/>
                </a:cubicBezTo>
                <a:cubicBezTo>
                  <a:pt x="10499672" y="229099"/>
                  <a:pt x="10501801" y="232294"/>
                  <a:pt x="10503266" y="235888"/>
                </a:cubicBezTo>
                <a:cubicBezTo>
                  <a:pt x="10504730" y="239482"/>
                  <a:pt x="10505529" y="243342"/>
                  <a:pt x="10505529" y="247336"/>
                </a:cubicBezTo>
                <a:cubicBezTo>
                  <a:pt x="10505529" y="251463"/>
                  <a:pt x="10504730" y="255456"/>
                  <a:pt x="10503266" y="259050"/>
                </a:cubicBezTo>
                <a:cubicBezTo>
                  <a:pt x="10501669" y="262777"/>
                  <a:pt x="10499672" y="265839"/>
                  <a:pt x="10497143" y="268502"/>
                </a:cubicBezTo>
                <a:cubicBezTo>
                  <a:pt x="10494480" y="271164"/>
                  <a:pt x="10491419" y="273295"/>
                  <a:pt x="10487824" y="274759"/>
                </a:cubicBezTo>
                <a:cubicBezTo>
                  <a:pt x="10484098" y="276223"/>
                  <a:pt x="10480237" y="277022"/>
                  <a:pt x="10475977" y="277022"/>
                </a:cubicBezTo>
                <a:cubicBezTo>
                  <a:pt x="10466924" y="277022"/>
                  <a:pt x="10459736" y="274093"/>
                  <a:pt x="10454145" y="268502"/>
                </a:cubicBezTo>
                <a:cubicBezTo>
                  <a:pt x="10448554" y="262911"/>
                  <a:pt x="10445759" y="255855"/>
                  <a:pt x="10445759" y="247336"/>
                </a:cubicBezTo>
                <a:cubicBezTo>
                  <a:pt x="10445759" y="239083"/>
                  <a:pt x="10448554" y="232028"/>
                  <a:pt x="10454145" y="226304"/>
                </a:cubicBezTo>
                <a:cubicBezTo>
                  <a:pt x="10459603" y="220446"/>
                  <a:pt x="10466924" y="217651"/>
                  <a:pt x="10475977" y="217651"/>
                </a:cubicBezTo>
                <a:close/>
                <a:moveTo>
                  <a:pt x="30217" y="16646"/>
                </a:moveTo>
                <a:cubicBezTo>
                  <a:pt x="24360" y="16646"/>
                  <a:pt x="21831" y="18642"/>
                  <a:pt x="20234" y="20240"/>
                </a:cubicBezTo>
                <a:cubicBezTo>
                  <a:pt x="17704" y="22902"/>
                  <a:pt x="16640" y="25697"/>
                  <a:pt x="16640" y="29691"/>
                </a:cubicBezTo>
                <a:cubicBezTo>
                  <a:pt x="16640" y="33818"/>
                  <a:pt x="17704" y="36613"/>
                  <a:pt x="20234" y="39142"/>
                </a:cubicBezTo>
                <a:cubicBezTo>
                  <a:pt x="21831" y="40740"/>
                  <a:pt x="24360" y="42603"/>
                  <a:pt x="30217" y="42603"/>
                </a:cubicBezTo>
                <a:cubicBezTo>
                  <a:pt x="32347" y="42603"/>
                  <a:pt x="34078" y="42337"/>
                  <a:pt x="35542" y="41671"/>
                </a:cubicBezTo>
                <a:cubicBezTo>
                  <a:pt x="37006" y="41139"/>
                  <a:pt x="38338" y="40340"/>
                  <a:pt x="39269" y="39275"/>
                </a:cubicBezTo>
                <a:cubicBezTo>
                  <a:pt x="40334" y="38210"/>
                  <a:pt x="41266" y="36879"/>
                  <a:pt x="41932" y="35149"/>
                </a:cubicBezTo>
                <a:cubicBezTo>
                  <a:pt x="42597" y="33551"/>
                  <a:pt x="42863" y="31688"/>
                  <a:pt x="42863" y="29691"/>
                </a:cubicBezTo>
                <a:cubicBezTo>
                  <a:pt x="42863" y="27827"/>
                  <a:pt x="42597" y="26097"/>
                  <a:pt x="41932" y="24499"/>
                </a:cubicBezTo>
                <a:cubicBezTo>
                  <a:pt x="41266" y="22769"/>
                  <a:pt x="40334" y="21438"/>
                  <a:pt x="39269" y="20240"/>
                </a:cubicBezTo>
                <a:cubicBezTo>
                  <a:pt x="38204" y="19175"/>
                  <a:pt x="36873" y="18243"/>
                  <a:pt x="35276" y="17577"/>
                </a:cubicBezTo>
                <a:cubicBezTo>
                  <a:pt x="33812" y="16912"/>
                  <a:pt x="32214" y="16646"/>
                  <a:pt x="30217" y="16646"/>
                </a:cubicBezTo>
                <a:close/>
                <a:moveTo>
                  <a:pt x="247862" y="16646"/>
                </a:moveTo>
                <a:cubicBezTo>
                  <a:pt x="242005" y="16646"/>
                  <a:pt x="239476" y="18642"/>
                  <a:pt x="237879" y="20240"/>
                </a:cubicBezTo>
                <a:cubicBezTo>
                  <a:pt x="235349" y="22902"/>
                  <a:pt x="234285" y="25697"/>
                  <a:pt x="234285" y="29691"/>
                </a:cubicBezTo>
                <a:cubicBezTo>
                  <a:pt x="234285" y="33818"/>
                  <a:pt x="235349" y="36613"/>
                  <a:pt x="237879" y="39142"/>
                </a:cubicBezTo>
                <a:cubicBezTo>
                  <a:pt x="239476" y="40740"/>
                  <a:pt x="242005" y="42603"/>
                  <a:pt x="247862" y="42603"/>
                </a:cubicBezTo>
                <a:cubicBezTo>
                  <a:pt x="249992" y="42603"/>
                  <a:pt x="251723" y="42337"/>
                  <a:pt x="253187" y="41671"/>
                </a:cubicBezTo>
                <a:cubicBezTo>
                  <a:pt x="254651" y="41139"/>
                  <a:pt x="255982" y="40340"/>
                  <a:pt x="256914" y="39275"/>
                </a:cubicBezTo>
                <a:cubicBezTo>
                  <a:pt x="257979" y="38210"/>
                  <a:pt x="258911" y="36879"/>
                  <a:pt x="259577" y="35149"/>
                </a:cubicBezTo>
                <a:cubicBezTo>
                  <a:pt x="260242" y="33551"/>
                  <a:pt x="260642" y="31688"/>
                  <a:pt x="260642" y="29691"/>
                </a:cubicBezTo>
                <a:cubicBezTo>
                  <a:pt x="260642" y="27827"/>
                  <a:pt x="260242" y="26097"/>
                  <a:pt x="259577" y="24499"/>
                </a:cubicBezTo>
                <a:cubicBezTo>
                  <a:pt x="258911" y="22769"/>
                  <a:pt x="257979" y="21438"/>
                  <a:pt x="256914" y="20240"/>
                </a:cubicBezTo>
                <a:cubicBezTo>
                  <a:pt x="255849" y="19175"/>
                  <a:pt x="254518" y="18243"/>
                  <a:pt x="252921" y="17577"/>
                </a:cubicBezTo>
                <a:cubicBezTo>
                  <a:pt x="251456" y="16912"/>
                  <a:pt x="249859" y="16646"/>
                  <a:pt x="247862" y="16646"/>
                </a:cubicBezTo>
                <a:close/>
                <a:moveTo>
                  <a:pt x="465507" y="16646"/>
                </a:moveTo>
                <a:cubicBezTo>
                  <a:pt x="459649" y="16646"/>
                  <a:pt x="457120" y="18642"/>
                  <a:pt x="455523" y="20240"/>
                </a:cubicBezTo>
                <a:cubicBezTo>
                  <a:pt x="452993" y="22902"/>
                  <a:pt x="451929" y="25697"/>
                  <a:pt x="451929" y="29691"/>
                </a:cubicBezTo>
                <a:cubicBezTo>
                  <a:pt x="451929" y="33818"/>
                  <a:pt x="452993" y="36613"/>
                  <a:pt x="455523" y="39142"/>
                </a:cubicBezTo>
                <a:cubicBezTo>
                  <a:pt x="457120" y="40740"/>
                  <a:pt x="459649" y="42603"/>
                  <a:pt x="465507" y="42603"/>
                </a:cubicBezTo>
                <a:cubicBezTo>
                  <a:pt x="467504" y="42603"/>
                  <a:pt x="469368" y="42337"/>
                  <a:pt x="470832" y="41671"/>
                </a:cubicBezTo>
                <a:cubicBezTo>
                  <a:pt x="472296" y="41139"/>
                  <a:pt x="473627" y="40340"/>
                  <a:pt x="474559" y="39275"/>
                </a:cubicBezTo>
                <a:cubicBezTo>
                  <a:pt x="475624" y="38210"/>
                  <a:pt x="476556" y="36879"/>
                  <a:pt x="477222" y="35149"/>
                </a:cubicBezTo>
                <a:cubicBezTo>
                  <a:pt x="477887" y="33551"/>
                  <a:pt x="478287" y="31688"/>
                  <a:pt x="478287" y="29691"/>
                </a:cubicBezTo>
                <a:cubicBezTo>
                  <a:pt x="478287" y="27827"/>
                  <a:pt x="477887" y="26097"/>
                  <a:pt x="477222" y="24499"/>
                </a:cubicBezTo>
                <a:cubicBezTo>
                  <a:pt x="476556" y="22769"/>
                  <a:pt x="475624" y="21438"/>
                  <a:pt x="474559" y="20240"/>
                </a:cubicBezTo>
                <a:cubicBezTo>
                  <a:pt x="473494" y="19175"/>
                  <a:pt x="472163" y="18243"/>
                  <a:pt x="470566" y="17577"/>
                </a:cubicBezTo>
                <a:cubicBezTo>
                  <a:pt x="469102" y="16912"/>
                  <a:pt x="467504" y="16646"/>
                  <a:pt x="465507" y="16646"/>
                </a:cubicBezTo>
                <a:close/>
                <a:moveTo>
                  <a:pt x="683151" y="16645"/>
                </a:moveTo>
                <a:cubicBezTo>
                  <a:pt x="677294" y="16645"/>
                  <a:pt x="674765" y="18641"/>
                  <a:pt x="673168" y="20239"/>
                </a:cubicBezTo>
                <a:cubicBezTo>
                  <a:pt x="670638" y="22902"/>
                  <a:pt x="669574" y="25697"/>
                  <a:pt x="669574" y="29691"/>
                </a:cubicBezTo>
                <a:cubicBezTo>
                  <a:pt x="669574" y="33818"/>
                  <a:pt x="670638" y="36613"/>
                  <a:pt x="673168" y="39142"/>
                </a:cubicBezTo>
                <a:cubicBezTo>
                  <a:pt x="674765" y="40740"/>
                  <a:pt x="677294" y="42603"/>
                  <a:pt x="683151" y="42603"/>
                </a:cubicBezTo>
                <a:cubicBezTo>
                  <a:pt x="685148" y="42603"/>
                  <a:pt x="687012" y="42337"/>
                  <a:pt x="688476" y="41671"/>
                </a:cubicBezTo>
                <a:cubicBezTo>
                  <a:pt x="689940" y="41139"/>
                  <a:pt x="691272" y="40340"/>
                  <a:pt x="692203" y="39275"/>
                </a:cubicBezTo>
                <a:cubicBezTo>
                  <a:pt x="693268" y="38210"/>
                  <a:pt x="694200" y="36879"/>
                  <a:pt x="694867" y="35149"/>
                </a:cubicBezTo>
                <a:cubicBezTo>
                  <a:pt x="695531" y="33551"/>
                  <a:pt x="695932" y="31688"/>
                  <a:pt x="695932" y="29691"/>
                </a:cubicBezTo>
                <a:cubicBezTo>
                  <a:pt x="695932" y="27827"/>
                  <a:pt x="695531" y="26097"/>
                  <a:pt x="694867" y="24499"/>
                </a:cubicBezTo>
                <a:cubicBezTo>
                  <a:pt x="694200" y="22769"/>
                  <a:pt x="693268" y="21438"/>
                  <a:pt x="692203" y="20239"/>
                </a:cubicBezTo>
                <a:cubicBezTo>
                  <a:pt x="691138" y="19175"/>
                  <a:pt x="689807" y="18242"/>
                  <a:pt x="688210" y="17576"/>
                </a:cubicBezTo>
                <a:cubicBezTo>
                  <a:pt x="686746" y="16911"/>
                  <a:pt x="685148" y="16645"/>
                  <a:pt x="683151" y="16645"/>
                </a:cubicBezTo>
                <a:close/>
                <a:moveTo>
                  <a:pt x="900930" y="16645"/>
                </a:moveTo>
                <a:cubicBezTo>
                  <a:pt x="895072" y="16645"/>
                  <a:pt x="892543" y="18641"/>
                  <a:pt x="890946" y="20239"/>
                </a:cubicBezTo>
                <a:cubicBezTo>
                  <a:pt x="888283" y="22901"/>
                  <a:pt x="887219" y="25696"/>
                  <a:pt x="887219" y="29691"/>
                </a:cubicBezTo>
                <a:cubicBezTo>
                  <a:pt x="887219" y="33818"/>
                  <a:pt x="888283" y="36613"/>
                  <a:pt x="890813" y="39142"/>
                </a:cubicBezTo>
                <a:cubicBezTo>
                  <a:pt x="892410" y="40740"/>
                  <a:pt x="894939" y="42603"/>
                  <a:pt x="900796" y="42603"/>
                </a:cubicBezTo>
                <a:cubicBezTo>
                  <a:pt x="902793" y="42603"/>
                  <a:pt x="904524" y="42337"/>
                  <a:pt x="906254" y="41671"/>
                </a:cubicBezTo>
                <a:cubicBezTo>
                  <a:pt x="907718" y="41139"/>
                  <a:pt x="909050" y="40340"/>
                  <a:pt x="909982" y="39275"/>
                </a:cubicBezTo>
                <a:cubicBezTo>
                  <a:pt x="911046" y="38210"/>
                  <a:pt x="911978" y="36879"/>
                  <a:pt x="912644" y="35149"/>
                </a:cubicBezTo>
                <a:cubicBezTo>
                  <a:pt x="913309" y="33551"/>
                  <a:pt x="913709" y="31688"/>
                  <a:pt x="913709" y="29691"/>
                </a:cubicBezTo>
                <a:cubicBezTo>
                  <a:pt x="913709" y="27827"/>
                  <a:pt x="913309" y="26096"/>
                  <a:pt x="912644" y="24498"/>
                </a:cubicBezTo>
                <a:cubicBezTo>
                  <a:pt x="911978" y="22768"/>
                  <a:pt x="911046" y="21437"/>
                  <a:pt x="909982" y="20239"/>
                </a:cubicBezTo>
                <a:cubicBezTo>
                  <a:pt x="908917" y="19174"/>
                  <a:pt x="907585" y="18242"/>
                  <a:pt x="905988" y="17576"/>
                </a:cubicBezTo>
                <a:cubicBezTo>
                  <a:pt x="904524" y="16911"/>
                  <a:pt x="902926" y="16645"/>
                  <a:pt x="900930" y="16645"/>
                </a:cubicBezTo>
                <a:close/>
                <a:moveTo>
                  <a:pt x="1118441" y="16645"/>
                </a:moveTo>
                <a:cubicBezTo>
                  <a:pt x="1112584" y="16645"/>
                  <a:pt x="1110055" y="18641"/>
                  <a:pt x="1108458" y="20239"/>
                </a:cubicBezTo>
                <a:cubicBezTo>
                  <a:pt x="1105795" y="22901"/>
                  <a:pt x="1104730" y="25696"/>
                  <a:pt x="1104730" y="29690"/>
                </a:cubicBezTo>
                <a:cubicBezTo>
                  <a:pt x="1104730" y="33818"/>
                  <a:pt x="1105795" y="36613"/>
                  <a:pt x="1108325" y="39142"/>
                </a:cubicBezTo>
                <a:cubicBezTo>
                  <a:pt x="1109922" y="40740"/>
                  <a:pt x="1112451" y="42603"/>
                  <a:pt x="1118308" y="42603"/>
                </a:cubicBezTo>
                <a:cubicBezTo>
                  <a:pt x="1120438" y="42603"/>
                  <a:pt x="1122169" y="42337"/>
                  <a:pt x="1123766" y="41671"/>
                </a:cubicBezTo>
                <a:cubicBezTo>
                  <a:pt x="1125230" y="41139"/>
                  <a:pt x="1126562" y="40340"/>
                  <a:pt x="1127493" y="39275"/>
                </a:cubicBezTo>
                <a:cubicBezTo>
                  <a:pt x="1128558" y="38210"/>
                  <a:pt x="1129490" y="36879"/>
                  <a:pt x="1130156" y="35149"/>
                </a:cubicBezTo>
                <a:cubicBezTo>
                  <a:pt x="1130821" y="33550"/>
                  <a:pt x="1131221" y="31687"/>
                  <a:pt x="1131221" y="29690"/>
                </a:cubicBezTo>
                <a:cubicBezTo>
                  <a:pt x="1131221" y="27826"/>
                  <a:pt x="1130821" y="26096"/>
                  <a:pt x="1130156" y="24498"/>
                </a:cubicBezTo>
                <a:cubicBezTo>
                  <a:pt x="1129490" y="22768"/>
                  <a:pt x="1128558" y="21437"/>
                  <a:pt x="1127493" y="20239"/>
                </a:cubicBezTo>
                <a:cubicBezTo>
                  <a:pt x="1126428" y="19174"/>
                  <a:pt x="1125097" y="18242"/>
                  <a:pt x="1123500" y="17576"/>
                </a:cubicBezTo>
                <a:cubicBezTo>
                  <a:pt x="1122036" y="16911"/>
                  <a:pt x="1120438" y="16645"/>
                  <a:pt x="1118441" y="16645"/>
                </a:cubicBezTo>
                <a:close/>
                <a:moveTo>
                  <a:pt x="1335953" y="16645"/>
                </a:moveTo>
                <a:cubicBezTo>
                  <a:pt x="1330095" y="16645"/>
                  <a:pt x="1327566" y="18641"/>
                  <a:pt x="1325970" y="20239"/>
                </a:cubicBezTo>
                <a:cubicBezTo>
                  <a:pt x="1323439" y="22901"/>
                  <a:pt x="1322375" y="25696"/>
                  <a:pt x="1322375" y="29690"/>
                </a:cubicBezTo>
                <a:cubicBezTo>
                  <a:pt x="1322375" y="33817"/>
                  <a:pt x="1323439" y="36612"/>
                  <a:pt x="1325970" y="39142"/>
                </a:cubicBezTo>
                <a:cubicBezTo>
                  <a:pt x="1327566" y="40740"/>
                  <a:pt x="1330095" y="42603"/>
                  <a:pt x="1335953" y="42603"/>
                </a:cubicBezTo>
                <a:cubicBezTo>
                  <a:pt x="1338083" y="42603"/>
                  <a:pt x="1339814" y="42337"/>
                  <a:pt x="1341278" y="41671"/>
                </a:cubicBezTo>
                <a:cubicBezTo>
                  <a:pt x="1342742" y="41139"/>
                  <a:pt x="1344073" y="40339"/>
                  <a:pt x="1345005" y="39274"/>
                </a:cubicBezTo>
                <a:cubicBezTo>
                  <a:pt x="1346070" y="38210"/>
                  <a:pt x="1347002" y="36878"/>
                  <a:pt x="1347668" y="35148"/>
                </a:cubicBezTo>
                <a:cubicBezTo>
                  <a:pt x="1348333" y="33550"/>
                  <a:pt x="1348733" y="31687"/>
                  <a:pt x="1348733" y="29690"/>
                </a:cubicBezTo>
                <a:cubicBezTo>
                  <a:pt x="1348733" y="27826"/>
                  <a:pt x="1348333" y="26096"/>
                  <a:pt x="1347668" y="24498"/>
                </a:cubicBezTo>
                <a:cubicBezTo>
                  <a:pt x="1347002" y="22768"/>
                  <a:pt x="1346070" y="21437"/>
                  <a:pt x="1345005" y="20239"/>
                </a:cubicBezTo>
                <a:cubicBezTo>
                  <a:pt x="1343940" y="19174"/>
                  <a:pt x="1342609" y="18242"/>
                  <a:pt x="1341012" y="17576"/>
                </a:cubicBezTo>
                <a:cubicBezTo>
                  <a:pt x="1339547" y="16911"/>
                  <a:pt x="1337949" y="16645"/>
                  <a:pt x="1335953" y="16645"/>
                </a:cubicBezTo>
                <a:close/>
                <a:moveTo>
                  <a:pt x="1553598" y="16645"/>
                </a:moveTo>
                <a:cubicBezTo>
                  <a:pt x="1547740" y="16645"/>
                  <a:pt x="1545212" y="18641"/>
                  <a:pt x="1543614" y="20239"/>
                </a:cubicBezTo>
                <a:cubicBezTo>
                  <a:pt x="1541084" y="22901"/>
                  <a:pt x="1540020" y="25696"/>
                  <a:pt x="1540020" y="29690"/>
                </a:cubicBezTo>
                <a:cubicBezTo>
                  <a:pt x="1540020" y="33817"/>
                  <a:pt x="1541084" y="36612"/>
                  <a:pt x="1543614" y="39141"/>
                </a:cubicBezTo>
                <a:cubicBezTo>
                  <a:pt x="1545212" y="40739"/>
                  <a:pt x="1547740" y="42602"/>
                  <a:pt x="1553598" y="42602"/>
                </a:cubicBezTo>
                <a:cubicBezTo>
                  <a:pt x="1555595" y="42602"/>
                  <a:pt x="1557459" y="42336"/>
                  <a:pt x="1558923" y="41670"/>
                </a:cubicBezTo>
                <a:cubicBezTo>
                  <a:pt x="1560387" y="41138"/>
                  <a:pt x="1561719" y="40339"/>
                  <a:pt x="1562650" y="39274"/>
                </a:cubicBezTo>
                <a:cubicBezTo>
                  <a:pt x="1563715" y="38209"/>
                  <a:pt x="1564647" y="36878"/>
                  <a:pt x="1565313" y="35148"/>
                </a:cubicBezTo>
                <a:cubicBezTo>
                  <a:pt x="1565978" y="33550"/>
                  <a:pt x="1566378" y="31687"/>
                  <a:pt x="1566378" y="29690"/>
                </a:cubicBezTo>
                <a:cubicBezTo>
                  <a:pt x="1566378" y="27826"/>
                  <a:pt x="1565978" y="26096"/>
                  <a:pt x="1565313" y="24498"/>
                </a:cubicBezTo>
                <a:cubicBezTo>
                  <a:pt x="1564647" y="22768"/>
                  <a:pt x="1563715" y="21437"/>
                  <a:pt x="1562650" y="20239"/>
                </a:cubicBezTo>
                <a:cubicBezTo>
                  <a:pt x="1561585" y="19174"/>
                  <a:pt x="1560254" y="18242"/>
                  <a:pt x="1558657" y="17576"/>
                </a:cubicBezTo>
                <a:cubicBezTo>
                  <a:pt x="1557193" y="16911"/>
                  <a:pt x="1555595" y="16645"/>
                  <a:pt x="1553598" y="16645"/>
                </a:cubicBezTo>
                <a:close/>
                <a:moveTo>
                  <a:pt x="1771243" y="16645"/>
                </a:moveTo>
                <a:cubicBezTo>
                  <a:pt x="1765386" y="16645"/>
                  <a:pt x="1762857" y="18641"/>
                  <a:pt x="1761260" y="20239"/>
                </a:cubicBezTo>
                <a:cubicBezTo>
                  <a:pt x="1758730" y="22901"/>
                  <a:pt x="1757666" y="25696"/>
                  <a:pt x="1757666" y="29690"/>
                </a:cubicBezTo>
                <a:cubicBezTo>
                  <a:pt x="1757666" y="33817"/>
                  <a:pt x="1758730" y="36612"/>
                  <a:pt x="1761260" y="39141"/>
                </a:cubicBezTo>
                <a:cubicBezTo>
                  <a:pt x="1762857" y="40739"/>
                  <a:pt x="1765386" y="42602"/>
                  <a:pt x="1771243" y="42602"/>
                </a:cubicBezTo>
                <a:cubicBezTo>
                  <a:pt x="1773240" y="42602"/>
                  <a:pt x="1775104" y="42336"/>
                  <a:pt x="1776568" y="41670"/>
                </a:cubicBezTo>
                <a:cubicBezTo>
                  <a:pt x="1778032" y="41138"/>
                  <a:pt x="1779363" y="40339"/>
                  <a:pt x="1780295" y="39274"/>
                </a:cubicBezTo>
                <a:cubicBezTo>
                  <a:pt x="1781360" y="38209"/>
                  <a:pt x="1782292" y="36878"/>
                  <a:pt x="1782958" y="35148"/>
                </a:cubicBezTo>
                <a:cubicBezTo>
                  <a:pt x="1783623" y="33550"/>
                  <a:pt x="1784023" y="31687"/>
                  <a:pt x="1784023" y="29690"/>
                </a:cubicBezTo>
                <a:cubicBezTo>
                  <a:pt x="1784023" y="27826"/>
                  <a:pt x="1783623" y="26096"/>
                  <a:pt x="1782958" y="24498"/>
                </a:cubicBezTo>
                <a:cubicBezTo>
                  <a:pt x="1782292" y="22768"/>
                  <a:pt x="1781360" y="21437"/>
                  <a:pt x="1780295" y="20239"/>
                </a:cubicBezTo>
                <a:cubicBezTo>
                  <a:pt x="1779230" y="19174"/>
                  <a:pt x="1777899" y="18242"/>
                  <a:pt x="1776302" y="17576"/>
                </a:cubicBezTo>
                <a:cubicBezTo>
                  <a:pt x="1774837" y="16911"/>
                  <a:pt x="1773240" y="16645"/>
                  <a:pt x="1771243" y="16645"/>
                </a:cubicBezTo>
                <a:close/>
                <a:moveTo>
                  <a:pt x="1988888" y="16645"/>
                </a:moveTo>
                <a:cubicBezTo>
                  <a:pt x="1983031" y="16645"/>
                  <a:pt x="1980501" y="18641"/>
                  <a:pt x="1978905" y="20239"/>
                </a:cubicBezTo>
                <a:cubicBezTo>
                  <a:pt x="1976374" y="22901"/>
                  <a:pt x="1975311" y="25696"/>
                  <a:pt x="1975311" y="29690"/>
                </a:cubicBezTo>
                <a:cubicBezTo>
                  <a:pt x="1975311" y="33817"/>
                  <a:pt x="1976374" y="36612"/>
                  <a:pt x="1978905" y="39141"/>
                </a:cubicBezTo>
                <a:cubicBezTo>
                  <a:pt x="1980501" y="40739"/>
                  <a:pt x="1983031" y="42602"/>
                  <a:pt x="1988888" y="42602"/>
                </a:cubicBezTo>
                <a:cubicBezTo>
                  <a:pt x="1990885" y="42602"/>
                  <a:pt x="1992616" y="42336"/>
                  <a:pt x="1994213" y="41670"/>
                </a:cubicBezTo>
                <a:cubicBezTo>
                  <a:pt x="1995811" y="41138"/>
                  <a:pt x="1997009" y="40339"/>
                  <a:pt x="1997940" y="39274"/>
                </a:cubicBezTo>
                <a:cubicBezTo>
                  <a:pt x="1999005" y="38209"/>
                  <a:pt x="1999937" y="36878"/>
                  <a:pt x="2000603" y="35148"/>
                </a:cubicBezTo>
                <a:cubicBezTo>
                  <a:pt x="2001135" y="33550"/>
                  <a:pt x="2001534" y="31687"/>
                  <a:pt x="2001534" y="29690"/>
                </a:cubicBezTo>
                <a:cubicBezTo>
                  <a:pt x="2001534" y="27826"/>
                  <a:pt x="2001268" y="26096"/>
                  <a:pt x="2000603" y="24498"/>
                </a:cubicBezTo>
                <a:cubicBezTo>
                  <a:pt x="1999937" y="22768"/>
                  <a:pt x="1999005" y="21437"/>
                  <a:pt x="1997940" y="20239"/>
                </a:cubicBezTo>
                <a:cubicBezTo>
                  <a:pt x="1996876" y="19174"/>
                  <a:pt x="1995544" y="18242"/>
                  <a:pt x="1993947" y="17576"/>
                </a:cubicBezTo>
                <a:cubicBezTo>
                  <a:pt x="1992483" y="16911"/>
                  <a:pt x="1990885" y="16645"/>
                  <a:pt x="1988888" y="16645"/>
                </a:cubicBezTo>
                <a:close/>
                <a:moveTo>
                  <a:pt x="2206400" y="16645"/>
                </a:moveTo>
                <a:cubicBezTo>
                  <a:pt x="2200543" y="16645"/>
                  <a:pt x="2198014" y="18641"/>
                  <a:pt x="2196417" y="20239"/>
                </a:cubicBezTo>
                <a:cubicBezTo>
                  <a:pt x="2193887" y="22901"/>
                  <a:pt x="2192822" y="25696"/>
                  <a:pt x="2192822" y="29690"/>
                </a:cubicBezTo>
                <a:cubicBezTo>
                  <a:pt x="2192822" y="33817"/>
                  <a:pt x="2193887" y="36612"/>
                  <a:pt x="2196417" y="39141"/>
                </a:cubicBezTo>
                <a:cubicBezTo>
                  <a:pt x="2198014" y="40739"/>
                  <a:pt x="2200543" y="42602"/>
                  <a:pt x="2206400" y="42602"/>
                </a:cubicBezTo>
                <a:cubicBezTo>
                  <a:pt x="2208530" y="42602"/>
                  <a:pt x="2210261" y="42336"/>
                  <a:pt x="2211725" y="41670"/>
                </a:cubicBezTo>
                <a:cubicBezTo>
                  <a:pt x="2213323" y="41138"/>
                  <a:pt x="2214520" y="40339"/>
                  <a:pt x="2215452" y="39274"/>
                </a:cubicBezTo>
                <a:cubicBezTo>
                  <a:pt x="2216517" y="38209"/>
                  <a:pt x="2217449" y="36878"/>
                  <a:pt x="2218115" y="35148"/>
                </a:cubicBezTo>
                <a:cubicBezTo>
                  <a:pt x="2218647" y="33550"/>
                  <a:pt x="2219046" y="31687"/>
                  <a:pt x="2219046" y="29690"/>
                </a:cubicBezTo>
                <a:cubicBezTo>
                  <a:pt x="2219046" y="27826"/>
                  <a:pt x="2218780" y="26096"/>
                  <a:pt x="2218115" y="24498"/>
                </a:cubicBezTo>
                <a:cubicBezTo>
                  <a:pt x="2217449" y="22768"/>
                  <a:pt x="2216517" y="21437"/>
                  <a:pt x="2215452" y="20239"/>
                </a:cubicBezTo>
                <a:cubicBezTo>
                  <a:pt x="2214387" y="19174"/>
                  <a:pt x="2213056" y="18242"/>
                  <a:pt x="2211459" y="17576"/>
                </a:cubicBezTo>
                <a:cubicBezTo>
                  <a:pt x="2209994" y="16911"/>
                  <a:pt x="2208397" y="16645"/>
                  <a:pt x="2206400" y="16645"/>
                </a:cubicBezTo>
                <a:close/>
                <a:moveTo>
                  <a:pt x="2424045" y="16645"/>
                </a:moveTo>
                <a:cubicBezTo>
                  <a:pt x="2418189" y="16645"/>
                  <a:pt x="2415659" y="18641"/>
                  <a:pt x="2414062" y="20239"/>
                </a:cubicBezTo>
                <a:cubicBezTo>
                  <a:pt x="2411532" y="22901"/>
                  <a:pt x="2410468" y="25696"/>
                  <a:pt x="2410468" y="29690"/>
                </a:cubicBezTo>
                <a:cubicBezTo>
                  <a:pt x="2410468" y="33817"/>
                  <a:pt x="2411532" y="36612"/>
                  <a:pt x="2414062" y="39141"/>
                </a:cubicBezTo>
                <a:cubicBezTo>
                  <a:pt x="2415659" y="40739"/>
                  <a:pt x="2418189" y="42602"/>
                  <a:pt x="2424045" y="42602"/>
                </a:cubicBezTo>
                <a:cubicBezTo>
                  <a:pt x="2426175" y="42602"/>
                  <a:pt x="2427907" y="42336"/>
                  <a:pt x="2429371" y="41670"/>
                </a:cubicBezTo>
                <a:cubicBezTo>
                  <a:pt x="2430969" y="41138"/>
                  <a:pt x="2432166" y="40339"/>
                  <a:pt x="2433098" y="39274"/>
                </a:cubicBezTo>
                <a:cubicBezTo>
                  <a:pt x="2434163" y="38209"/>
                  <a:pt x="2435094" y="36878"/>
                  <a:pt x="2435761" y="35148"/>
                </a:cubicBezTo>
                <a:cubicBezTo>
                  <a:pt x="2436292" y="33550"/>
                  <a:pt x="2436692" y="31687"/>
                  <a:pt x="2436692" y="29690"/>
                </a:cubicBezTo>
                <a:cubicBezTo>
                  <a:pt x="2436692" y="27826"/>
                  <a:pt x="2436426" y="26096"/>
                  <a:pt x="2435761" y="24498"/>
                </a:cubicBezTo>
                <a:cubicBezTo>
                  <a:pt x="2435094" y="22768"/>
                  <a:pt x="2434163" y="21437"/>
                  <a:pt x="2433098" y="20239"/>
                </a:cubicBezTo>
                <a:cubicBezTo>
                  <a:pt x="2432034" y="19174"/>
                  <a:pt x="2430702" y="18242"/>
                  <a:pt x="2429105" y="17576"/>
                </a:cubicBezTo>
                <a:cubicBezTo>
                  <a:pt x="2427641" y="16911"/>
                  <a:pt x="2426043" y="16645"/>
                  <a:pt x="2424045" y="16645"/>
                </a:cubicBezTo>
                <a:close/>
                <a:moveTo>
                  <a:pt x="2641691" y="16644"/>
                </a:moveTo>
                <a:cubicBezTo>
                  <a:pt x="2635833" y="16644"/>
                  <a:pt x="2633304" y="18640"/>
                  <a:pt x="2631708" y="20238"/>
                </a:cubicBezTo>
                <a:cubicBezTo>
                  <a:pt x="2629177" y="22901"/>
                  <a:pt x="2628113" y="25696"/>
                  <a:pt x="2628113" y="29690"/>
                </a:cubicBezTo>
                <a:cubicBezTo>
                  <a:pt x="2628113" y="33817"/>
                  <a:pt x="2629177" y="36612"/>
                  <a:pt x="2631708" y="39141"/>
                </a:cubicBezTo>
                <a:cubicBezTo>
                  <a:pt x="2633304" y="40739"/>
                  <a:pt x="2635833" y="42602"/>
                  <a:pt x="2641691" y="42602"/>
                </a:cubicBezTo>
                <a:cubicBezTo>
                  <a:pt x="2643687" y="42602"/>
                  <a:pt x="2645552" y="42336"/>
                  <a:pt x="2647016" y="41670"/>
                </a:cubicBezTo>
                <a:cubicBezTo>
                  <a:pt x="2648613" y="41138"/>
                  <a:pt x="2649811" y="40339"/>
                  <a:pt x="2650743" y="39274"/>
                </a:cubicBezTo>
                <a:cubicBezTo>
                  <a:pt x="2651808" y="38209"/>
                  <a:pt x="2652740" y="36878"/>
                  <a:pt x="2653406" y="35148"/>
                </a:cubicBezTo>
                <a:cubicBezTo>
                  <a:pt x="2653938" y="33550"/>
                  <a:pt x="2654337" y="31687"/>
                  <a:pt x="2654337" y="29690"/>
                </a:cubicBezTo>
                <a:cubicBezTo>
                  <a:pt x="2654337" y="27826"/>
                  <a:pt x="2654071" y="26096"/>
                  <a:pt x="2653406" y="24498"/>
                </a:cubicBezTo>
                <a:cubicBezTo>
                  <a:pt x="2652740" y="22768"/>
                  <a:pt x="2651808" y="21437"/>
                  <a:pt x="2650743" y="20238"/>
                </a:cubicBezTo>
                <a:cubicBezTo>
                  <a:pt x="2649678" y="19174"/>
                  <a:pt x="2648347" y="18241"/>
                  <a:pt x="2646750" y="17575"/>
                </a:cubicBezTo>
                <a:cubicBezTo>
                  <a:pt x="2645285" y="16910"/>
                  <a:pt x="2643687" y="16644"/>
                  <a:pt x="2641691" y="16644"/>
                </a:cubicBezTo>
                <a:close/>
                <a:moveTo>
                  <a:pt x="2859336" y="16644"/>
                </a:moveTo>
                <a:cubicBezTo>
                  <a:pt x="2853479" y="16644"/>
                  <a:pt x="2850950" y="18640"/>
                  <a:pt x="2849353" y="20238"/>
                </a:cubicBezTo>
                <a:cubicBezTo>
                  <a:pt x="2846823" y="22900"/>
                  <a:pt x="2845759" y="25695"/>
                  <a:pt x="2845759" y="29690"/>
                </a:cubicBezTo>
                <a:cubicBezTo>
                  <a:pt x="2845759" y="33817"/>
                  <a:pt x="2846823" y="36612"/>
                  <a:pt x="2849353" y="39141"/>
                </a:cubicBezTo>
                <a:cubicBezTo>
                  <a:pt x="2850950" y="40739"/>
                  <a:pt x="2853479" y="42602"/>
                  <a:pt x="2859336" y="42602"/>
                </a:cubicBezTo>
                <a:cubicBezTo>
                  <a:pt x="2861333" y="42602"/>
                  <a:pt x="2863197" y="42336"/>
                  <a:pt x="2864661" y="41670"/>
                </a:cubicBezTo>
                <a:cubicBezTo>
                  <a:pt x="2866259" y="41138"/>
                  <a:pt x="2867457" y="40339"/>
                  <a:pt x="2868388" y="39274"/>
                </a:cubicBezTo>
                <a:cubicBezTo>
                  <a:pt x="2869453" y="38209"/>
                  <a:pt x="2870385" y="36878"/>
                  <a:pt x="2871051" y="35148"/>
                </a:cubicBezTo>
                <a:cubicBezTo>
                  <a:pt x="2871583" y="33550"/>
                  <a:pt x="2871982" y="31687"/>
                  <a:pt x="2871982" y="29690"/>
                </a:cubicBezTo>
                <a:cubicBezTo>
                  <a:pt x="2871982" y="27826"/>
                  <a:pt x="2871716" y="26095"/>
                  <a:pt x="2871051" y="24497"/>
                </a:cubicBezTo>
                <a:cubicBezTo>
                  <a:pt x="2870385" y="22767"/>
                  <a:pt x="2869453" y="21436"/>
                  <a:pt x="2868388" y="20238"/>
                </a:cubicBezTo>
                <a:cubicBezTo>
                  <a:pt x="2867324" y="19173"/>
                  <a:pt x="2865992" y="18241"/>
                  <a:pt x="2864395" y="17575"/>
                </a:cubicBezTo>
                <a:cubicBezTo>
                  <a:pt x="2862931" y="16910"/>
                  <a:pt x="2861333" y="16644"/>
                  <a:pt x="2859336" y="16644"/>
                </a:cubicBezTo>
                <a:close/>
                <a:moveTo>
                  <a:pt x="3077114" y="16644"/>
                </a:moveTo>
                <a:cubicBezTo>
                  <a:pt x="3071257" y="16644"/>
                  <a:pt x="3068728" y="18640"/>
                  <a:pt x="3067131" y="20238"/>
                </a:cubicBezTo>
                <a:cubicBezTo>
                  <a:pt x="3064468" y="22900"/>
                  <a:pt x="3063404" y="25695"/>
                  <a:pt x="3063404" y="29689"/>
                </a:cubicBezTo>
                <a:cubicBezTo>
                  <a:pt x="3063404" y="33817"/>
                  <a:pt x="3064468" y="36612"/>
                  <a:pt x="3066998" y="39141"/>
                </a:cubicBezTo>
                <a:cubicBezTo>
                  <a:pt x="3068595" y="40739"/>
                  <a:pt x="3071124" y="42602"/>
                  <a:pt x="3076981" y="42602"/>
                </a:cubicBezTo>
                <a:cubicBezTo>
                  <a:pt x="3078978" y="42602"/>
                  <a:pt x="3080708" y="42336"/>
                  <a:pt x="3082439" y="41670"/>
                </a:cubicBezTo>
                <a:cubicBezTo>
                  <a:pt x="3083904" y="41138"/>
                  <a:pt x="3085236" y="40339"/>
                  <a:pt x="3086167" y="39274"/>
                </a:cubicBezTo>
                <a:cubicBezTo>
                  <a:pt x="3087231" y="38209"/>
                  <a:pt x="3088164" y="36878"/>
                  <a:pt x="3088829" y="35148"/>
                </a:cubicBezTo>
                <a:cubicBezTo>
                  <a:pt x="3089494" y="33549"/>
                  <a:pt x="3089762" y="31686"/>
                  <a:pt x="3089762" y="29689"/>
                </a:cubicBezTo>
                <a:cubicBezTo>
                  <a:pt x="3089762" y="27825"/>
                  <a:pt x="3089494" y="26095"/>
                  <a:pt x="3088829" y="24497"/>
                </a:cubicBezTo>
                <a:cubicBezTo>
                  <a:pt x="3088164" y="22767"/>
                  <a:pt x="3087231" y="21436"/>
                  <a:pt x="3086167" y="20238"/>
                </a:cubicBezTo>
                <a:cubicBezTo>
                  <a:pt x="3085102" y="19173"/>
                  <a:pt x="3083770" y="18241"/>
                  <a:pt x="3082174" y="17575"/>
                </a:cubicBezTo>
                <a:cubicBezTo>
                  <a:pt x="3080708" y="16910"/>
                  <a:pt x="3079111" y="16644"/>
                  <a:pt x="3077114" y="16644"/>
                </a:cubicBezTo>
                <a:close/>
                <a:moveTo>
                  <a:pt x="3294626" y="16644"/>
                </a:moveTo>
                <a:cubicBezTo>
                  <a:pt x="3288769" y="16644"/>
                  <a:pt x="3286240" y="18640"/>
                  <a:pt x="3284643" y="20238"/>
                </a:cubicBezTo>
                <a:cubicBezTo>
                  <a:pt x="3282113" y="22900"/>
                  <a:pt x="3281049" y="25695"/>
                  <a:pt x="3281049" y="29689"/>
                </a:cubicBezTo>
                <a:cubicBezTo>
                  <a:pt x="3281049" y="33816"/>
                  <a:pt x="3282113" y="36611"/>
                  <a:pt x="3284643" y="39141"/>
                </a:cubicBezTo>
                <a:cubicBezTo>
                  <a:pt x="3286240" y="40739"/>
                  <a:pt x="3288769" y="42602"/>
                  <a:pt x="3294626" y="42602"/>
                </a:cubicBezTo>
                <a:cubicBezTo>
                  <a:pt x="3296623" y="42602"/>
                  <a:pt x="3298354" y="42336"/>
                  <a:pt x="3299952" y="41670"/>
                </a:cubicBezTo>
                <a:cubicBezTo>
                  <a:pt x="3301416" y="41138"/>
                  <a:pt x="3302748" y="40338"/>
                  <a:pt x="3303679" y="39273"/>
                </a:cubicBezTo>
                <a:cubicBezTo>
                  <a:pt x="3304744" y="38209"/>
                  <a:pt x="3305676" y="36877"/>
                  <a:pt x="3306342" y="35147"/>
                </a:cubicBezTo>
                <a:cubicBezTo>
                  <a:pt x="3307007" y="33549"/>
                  <a:pt x="3307406" y="31686"/>
                  <a:pt x="3307406" y="29689"/>
                </a:cubicBezTo>
                <a:cubicBezTo>
                  <a:pt x="3307406" y="27825"/>
                  <a:pt x="3307007" y="26095"/>
                  <a:pt x="3306342" y="24497"/>
                </a:cubicBezTo>
                <a:cubicBezTo>
                  <a:pt x="3305676" y="22767"/>
                  <a:pt x="3304744" y="21436"/>
                  <a:pt x="3303679" y="20238"/>
                </a:cubicBezTo>
                <a:cubicBezTo>
                  <a:pt x="3302614" y="19173"/>
                  <a:pt x="3301283" y="18241"/>
                  <a:pt x="3299686" y="17575"/>
                </a:cubicBezTo>
                <a:cubicBezTo>
                  <a:pt x="3298222" y="16910"/>
                  <a:pt x="3296623" y="16644"/>
                  <a:pt x="3294626" y="16644"/>
                </a:cubicBezTo>
                <a:close/>
                <a:moveTo>
                  <a:pt x="3512138" y="16644"/>
                </a:moveTo>
                <a:cubicBezTo>
                  <a:pt x="3506282" y="16644"/>
                  <a:pt x="3503753" y="18640"/>
                  <a:pt x="3502155" y="20238"/>
                </a:cubicBezTo>
                <a:cubicBezTo>
                  <a:pt x="3499625" y="22900"/>
                  <a:pt x="3498561" y="25695"/>
                  <a:pt x="3498561" y="29689"/>
                </a:cubicBezTo>
                <a:cubicBezTo>
                  <a:pt x="3498561" y="33816"/>
                  <a:pt x="3499625" y="36611"/>
                  <a:pt x="3502155" y="39140"/>
                </a:cubicBezTo>
                <a:cubicBezTo>
                  <a:pt x="3503753" y="40738"/>
                  <a:pt x="3506282" y="42601"/>
                  <a:pt x="3512138" y="42601"/>
                </a:cubicBezTo>
                <a:cubicBezTo>
                  <a:pt x="3514269" y="42601"/>
                  <a:pt x="3516000" y="42335"/>
                  <a:pt x="3517464" y="41669"/>
                </a:cubicBezTo>
                <a:cubicBezTo>
                  <a:pt x="3518928" y="41137"/>
                  <a:pt x="3520260" y="40338"/>
                  <a:pt x="3521191" y="39273"/>
                </a:cubicBezTo>
                <a:cubicBezTo>
                  <a:pt x="3522256" y="38208"/>
                  <a:pt x="3523188" y="36877"/>
                  <a:pt x="3523854" y="35147"/>
                </a:cubicBezTo>
                <a:cubicBezTo>
                  <a:pt x="3524519" y="33549"/>
                  <a:pt x="3524919" y="31686"/>
                  <a:pt x="3524919" y="29689"/>
                </a:cubicBezTo>
                <a:cubicBezTo>
                  <a:pt x="3524919" y="27825"/>
                  <a:pt x="3524519" y="26095"/>
                  <a:pt x="3523854" y="24497"/>
                </a:cubicBezTo>
                <a:cubicBezTo>
                  <a:pt x="3523188" y="22767"/>
                  <a:pt x="3522256" y="21436"/>
                  <a:pt x="3521191" y="20238"/>
                </a:cubicBezTo>
                <a:cubicBezTo>
                  <a:pt x="3520126" y="19173"/>
                  <a:pt x="3518795" y="18241"/>
                  <a:pt x="3517198" y="17575"/>
                </a:cubicBezTo>
                <a:cubicBezTo>
                  <a:pt x="3515734" y="16910"/>
                  <a:pt x="3514136" y="16644"/>
                  <a:pt x="3512138" y="16644"/>
                </a:cubicBezTo>
                <a:close/>
                <a:moveTo>
                  <a:pt x="3729784" y="16644"/>
                </a:moveTo>
                <a:cubicBezTo>
                  <a:pt x="3723927" y="16644"/>
                  <a:pt x="3721398" y="18640"/>
                  <a:pt x="3719801" y="20238"/>
                </a:cubicBezTo>
                <a:cubicBezTo>
                  <a:pt x="3717271" y="22900"/>
                  <a:pt x="3716207" y="25695"/>
                  <a:pt x="3716207" y="29689"/>
                </a:cubicBezTo>
                <a:cubicBezTo>
                  <a:pt x="3716207" y="33816"/>
                  <a:pt x="3717271" y="36611"/>
                  <a:pt x="3719801" y="39140"/>
                </a:cubicBezTo>
                <a:cubicBezTo>
                  <a:pt x="3721398" y="40738"/>
                  <a:pt x="3723927" y="42601"/>
                  <a:pt x="3729784" y="42601"/>
                </a:cubicBezTo>
                <a:cubicBezTo>
                  <a:pt x="3731914" y="42601"/>
                  <a:pt x="3733645" y="42335"/>
                  <a:pt x="3735109" y="41669"/>
                </a:cubicBezTo>
                <a:cubicBezTo>
                  <a:pt x="3736573" y="41137"/>
                  <a:pt x="3737905" y="40338"/>
                  <a:pt x="3738836" y="39273"/>
                </a:cubicBezTo>
                <a:cubicBezTo>
                  <a:pt x="3739901" y="38208"/>
                  <a:pt x="3740833" y="36877"/>
                  <a:pt x="3741499" y="35147"/>
                </a:cubicBezTo>
                <a:cubicBezTo>
                  <a:pt x="3742164" y="33549"/>
                  <a:pt x="3742563" y="31686"/>
                  <a:pt x="3742563" y="29689"/>
                </a:cubicBezTo>
                <a:cubicBezTo>
                  <a:pt x="3742563" y="27825"/>
                  <a:pt x="3742164" y="26095"/>
                  <a:pt x="3741499" y="24497"/>
                </a:cubicBezTo>
                <a:cubicBezTo>
                  <a:pt x="3740833" y="22767"/>
                  <a:pt x="3739901" y="21436"/>
                  <a:pt x="3738836" y="20238"/>
                </a:cubicBezTo>
                <a:cubicBezTo>
                  <a:pt x="3737771" y="19173"/>
                  <a:pt x="3736440" y="18241"/>
                  <a:pt x="3734843" y="17575"/>
                </a:cubicBezTo>
                <a:cubicBezTo>
                  <a:pt x="3733378" y="16910"/>
                  <a:pt x="3731781" y="16644"/>
                  <a:pt x="3729784" y="16644"/>
                </a:cubicBezTo>
                <a:close/>
                <a:moveTo>
                  <a:pt x="3947430" y="16644"/>
                </a:moveTo>
                <a:cubicBezTo>
                  <a:pt x="3941573" y="16644"/>
                  <a:pt x="3939044" y="18640"/>
                  <a:pt x="3937447" y="20238"/>
                </a:cubicBezTo>
                <a:cubicBezTo>
                  <a:pt x="3934917" y="22900"/>
                  <a:pt x="3933853" y="25695"/>
                  <a:pt x="3933853" y="29689"/>
                </a:cubicBezTo>
                <a:cubicBezTo>
                  <a:pt x="3933853" y="33816"/>
                  <a:pt x="3934917" y="36611"/>
                  <a:pt x="3937447" y="39140"/>
                </a:cubicBezTo>
                <a:cubicBezTo>
                  <a:pt x="3939044" y="40738"/>
                  <a:pt x="3941573" y="42601"/>
                  <a:pt x="3947430" y="42601"/>
                </a:cubicBezTo>
                <a:cubicBezTo>
                  <a:pt x="3949427" y="42601"/>
                  <a:pt x="3951291" y="42335"/>
                  <a:pt x="3952755" y="41669"/>
                </a:cubicBezTo>
                <a:cubicBezTo>
                  <a:pt x="3954220" y="41137"/>
                  <a:pt x="3955550" y="40338"/>
                  <a:pt x="3956482" y="39273"/>
                </a:cubicBezTo>
                <a:cubicBezTo>
                  <a:pt x="3957547" y="38208"/>
                  <a:pt x="3958479" y="36877"/>
                  <a:pt x="3959145" y="35147"/>
                </a:cubicBezTo>
                <a:cubicBezTo>
                  <a:pt x="3959810" y="33549"/>
                  <a:pt x="3960209" y="31686"/>
                  <a:pt x="3960209" y="29689"/>
                </a:cubicBezTo>
                <a:cubicBezTo>
                  <a:pt x="3960209" y="27825"/>
                  <a:pt x="3959810" y="26095"/>
                  <a:pt x="3959145" y="24497"/>
                </a:cubicBezTo>
                <a:cubicBezTo>
                  <a:pt x="3958479" y="22767"/>
                  <a:pt x="3957547" y="21436"/>
                  <a:pt x="3956482" y="20238"/>
                </a:cubicBezTo>
                <a:cubicBezTo>
                  <a:pt x="3955417" y="19173"/>
                  <a:pt x="3954086" y="18241"/>
                  <a:pt x="3952489" y="17575"/>
                </a:cubicBezTo>
                <a:cubicBezTo>
                  <a:pt x="3951024" y="16910"/>
                  <a:pt x="3949427" y="16644"/>
                  <a:pt x="3947430" y="16644"/>
                </a:cubicBezTo>
                <a:close/>
                <a:moveTo>
                  <a:pt x="4165068" y="16644"/>
                </a:moveTo>
                <a:cubicBezTo>
                  <a:pt x="4159211" y="16644"/>
                  <a:pt x="4156681" y="18640"/>
                  <a:pt x="4155084" y="20238"/>
                </a:cubicBezTo>
                <a:cubicBezTo>
                  <a:pt x="4152555" y="22900"/>
                  <a:pt x="4151490" y="25695"/>
                  <a:pt x="4151490" y="29689"/>
                </a:cubicBezTo>
                <a:cubicBezTo>
                  <a:pt x="4151490" y="33816"/>
                  <a:pt x="4152555" y="36611"/>
                  <a:pt x="4155084" y="39140"/>
                </a:cubicBezTo>
                <a:cubicBezTo>
                  <a:pt x="4156681" y="40738"/>
                  <a:pt x="4159211" y="42601"/>
                  <a:pt x="4165068" y="42601"/>
                </a:cubicBezTo>
                <a:cubicBezTo>
                  <a:pt x="4167064" y="42601"/>
                  <a:pt x="4168928" y="42335"/>
                  <a:pt x="4170392" y="41669"/>
                </a:cubicBezTo>
                <a:cubicBezTo>
                  <a:pt x="4171856" y="41137"/>
                  <a:pt x="4173188" y="40338"/>
                  <a:pt x="4174119" y="39273"/>
                </a:cubicBezTo>
                <a:cubicBezTo>
                  <a:pt x="4175184" y="38208"/>
                  <a:pt x="4176116" y="36877"/>
                  <a:pt x="4176782" y="35147"/>
                </a:cubicBezTo>
                <a:cubicBezTo>
                  <a:pt x="4177447" y="33549"/>
                  <a:pt x="4177847" y="31686"/>
                  <a:pt x="4177847" y="29689"/>
                </a:cubicBezTo>
                <a:cubicBezTo>
                  <a:pt x="4177847" y="27825"/>
                  <a:pt x="4177447" y="26095"/>
                  <a:pt x="4176782" y="24497"/>
                </a:cubicBezTo>
                <a:cubicBezTo>
                  <a:pt x="4176116" y="22767"/>
                  <a:pt x="4175184" y="21436"/>
                  <a:pt x="4174119" y="20238"/>
                </a:cubicBezTo>
                <a:cubicBezTo>
                  <a:pt x="4173054" y="19173"/>
                  <a:pt x="4171723" y="18241"/>
                  <a:pt x="4170126" y="17575"/>
                </a:cubicBezTo>
                <a:cubicBezTo>
                  <a:pt x="4168662" y="16910"/>
                  <a:pt x="4167064" y="16644"/>
                  <a:pt x="4165068" y="16644"/>
                </a:cubicBezTo>
                <a:close/>
                <a:moveTo>
                  <a:pt x="4382713" y="16644"/>
                </a:moveTo>
                <a:cubicBezTo>
                  <a:pt x="4376857" y="16644"/>
                  <a:pt x="4374327" y="18640"/>
                  <a:pt x="4372730" y="20238"/>
                </a:cubicBezTo>
                <a:cubicBezTo>
                  <a:pt x="4370201" y="22900"/>
                  <a:pt x="4369136" y="25695"/>
                  <a:pt x="4369136" y="29689"/>
                </a:cubicBezTo>
                <a:cubicBezTo>
                  <a:pt x="4369136" y="33816"/>
                  <a:pt x="4370201" y="36611"/>
                  <a:pt x="4372730" y="39140"/>
                </a:cubicBezTo>
                <a:cubicBezTo>
                  <a:pt x="4374327" y="40738"/>
                  <a:pt x="4376857" y="42601"/>
                  <a:pt x="4382713" y="42601"/>
                </a:cubicBezTo>
                <a:cubicBezTo>
                  <a:pt x="4384710" y="42601"/>
                  <a:pt x="4386441" y="42335"/>
                  <a:pt x="4388038" y="41669"/>
                </a:cubicBezTo>
                <a:cubicBezTo>
                  <a:pt x="4389502" y="41137"/>
                  <a:pt x="4390834" y="40338"/>
                  <a:pt x="4391765" y="39273"/>
                </a:cubicBezTo>
                <a:cubicBezTo>
                  <a:pt x="4392830" y="38208"/>
                  <a:pt x="4393762" y="36877"/>
                  <a:pt x="4394428" y="35147"/>
                </a:cubicBezTo>
                <a:cubicBezTo>
                  <a:pt x="4395093" y="33549"/>
                  <a:pt x="4395493" y="31686"/>
                  <a:pt x="4395493" y="29689"/>
                </a:cubicBezTo>
                <a:cubicBezTo>
                  <a:pt x="4395493" y="27825"/>
                  <a:pt x="4395093" y="26095"/>
                  <a:pt x="4394428" y="24497"/>
                </a:cubicBezTo>
                <a:cubicBezTo>
                  <a:pt x="4393762" y="22767"/>
                  <a:pt x="4392830" y="21436"/>
                  <a:pt x="4391765" y="20238"/>
                </a:cubicBezTo>
                <a:cubicBezTo>
                  <a:pt x="4390700" y="19173"/>
                  <a:pt x="4389369" y="18241"/>
                  <a:pt x="4387772" y="17575"/>
                </a:cubicBezTo>
                <a:cubicBezTo>
                  <a:pt x="4386308" y="16910"/>
                  <a:pt x="4384710" y="16644"/>
                  <a:pt x="4382713" y="16644"/>
                </a:cubicBezTo>
                <a:close/>
                <a:moveTo>
                  <a:pt x="4600226" y="16643"/>
                </a:moveTo>
                <a:cubicBezTo>
                  <a:pt x="4594369" y="16643"/>
                  <a:pt x="4591839" y="18639"/>
                  <a:pt x="4590242" y="20237"/>
                </a:cubicBezTo>
                <a:cubicBezTo>
                  <a:pt x="4587713" y="22900"/>
                  <a:pt x="4586648" y="25695"/>
                  <a:pt x="4586648" y="29689"/>
                </a:cubicBezTo>
                <a:cubicBezTo>
                  <a:pt x="4586648" y="33816"/>
                  <a:pt x="4587713" y="36611"/>
                  <a:pt x="4590242" y="39140"/>
                </a:cubicBezTo>
                <a:cubicBezTo>
                  <a:pt x="4591839" y="40738"/>
                  <a:pt x="4594369" y="42601"/>
                  <a:pt x="4600226" y="42601"/>
                </a:cubicBezTo>
                <a:cubicBezTo>
                  <a:pt x="4602355" y="42601"/>
                  <a:pt x="4604086" y="42335"/>
                  <a:pt x="4605550" y="41669"/>
                </a:cubicBezTo>
                <a:cubicBezTo>
                  <a:pt x="4607148" y="41137"/>
                  <a:pt x="4608346" y="40338"/>
                  <a:pt x="4609277" y="39273"/>
                </a:cubicBezTo>
                <a:cubicBezTo>
                  <a:pt x="4610342" y="38208"/>
                  <a:pt x="4611274" y="36877"/>
                  <a:pt x="4611940" y="35147"/>
                </a:cubicBezTo>
                <a:cubicBezTo>
                  <a:pt x="4612605" y="33549"/>
                  <a:pt x="4613005" y="31686"/>
                  <a:pt x="4613005" y="29689"/>
                </a:cubicBezTo>
                <a:cubicBezTo>
                  <a:pt x="4613005" y="27825"/>
                  <a:pt x="4612605" y="26095"/>
                  <a:pt x="4611940" y="24497"/>
                </a:cubicBezTo>
                <a:cubicBezTo>
                  <a:pt x="4611274" y="22767"/>
                  <a:pt x="4610342" y="21436"/>
                  <a:pt x="4609277" y="20237"/>
                </a:cubicBezTo>
                <a:cubicBezTo>
                  <a:pt x="4608212" y="19173"/>
                  <a:pt x="4606881" y="18240"/>
                  <a:pt x="4605284" y="17574"/>
                </a:cubicBezTo>
                <a:cubicBezTo>
                  <a:pt x="4603820" y="16909"/>
                  <a:pt x="4602222" y="16643"/>
                  <a:pt x="4600226" y="16643"/>
                </a:cubicBezTo>
                <a:close/>
                <a:moveTo>
                  <a:pt x="4817870" y="16643"/>
                </a:moveTo>
                <a:cubicBezTo>
                  <a:pt x="4812013" y="16643"/>
                  <a:pt x="4809484" y="18639"/>
                  <a:pt x="4807887" y="20237"/>
                </a:cubicBezTo>
                <a:cubicBezTo>
                  <a:pt x="4805357" y="22899"/>
                  <a:pt x="4804293" y="25694"/>
                  <a:pt x="4804293" y="29689"/>
                </a:cubicBezTo>
                <a:cubicBezTo>
                  <a:pt x="4804293" y="33816"/>
                  <a:pt x="4805357" y="36611"/>
                  <a:pt x="4807887" y="39140"/>
                </a:cubicBezTo>
                <a:cubicBezTo>
                  <a:pt x="4809484" y="40738"/>
                  <a:pt x="4812013" y="42601"/>
                  <a:pt x="4817870" y="42601"/>
                </a:cubicBezTo>
                <a:cubicBezTo>
                  <a:pt x="4820000" y="42601"/>
                  <a:pt x="4821731" y="42335"/>
                  <a:pt x="4823195" y="41669"/>
                </a:cubicBezTo>
                <a:cubicBezTo>
                  <a:pt x="4824659" y="41137"/>
                  <a:pt x="4825857" y="40338"/>
                  <a:pt x="4826922" y="39273"/>
                </a:cubicBezTo>
                <a:cubicBezTo>
                  <a:pt x="4827987" y="38208"/>
                  <a:pt x="4828919" y="36877"/>
                  <a:pt x="4829585" y="35147"/>
                </a:cubicBezTo>
                <a:cubicBezTo>
                  <a:pt x="4830383" y="33549"/>
                  <a:pt x="4830650" y="31686"/>
                  <a:pt x="4830650" y="29689"/>
                </a:cubicBezTo>
                <a:cubicBezTo>
                  <a:pt x="4830650" y="27825"/>
                  <a:pt x="4830250" y="26094"/>
                  <a:pt x="4829585" y="24496"/>
                </a:cubicBezTo>
                <a:cubicBezTo>
                  <a:pt x="4828919" y="22766"/>
                  <a:pt x="4827987" y="21435"/>
                  <a:pt x="4826922" y="20237"/>
                </a:cubicBezTo>
                <a:cubicBezTo>
                  <a:pt x="4825857" y="19172"/>
                  <a:pt x="4824526" y="18240"/>
                  <a:pt x="4822929" y="17574"/>
                </a:cubicBezTo>
                <a:cubicBezTo>
                  <a:pt x="4821465" y="16909"/>
                  <a:pt x="4819734" y="16643"/>
                  <a:pt x="4817870" y="16643"/>
                </a:cubicBezTo>
                <a:close/>
                <a:moveTo>
                  <a:pt x="5035515" y="16643"/>
                </a:moveTo>
                <a:cubicBezTo>
                  <a:pt x="5029658" y="16643"/>
                  <a:pt x="5027129" y="18639"/>
                  <a:pt x="5025532" y="20237"/>
                </a:cubicBezTo>
                <a:cubicBezTo>
                  <a:pt x="5023002" y="22899"/>
                  <a:pt x="5021938" y="25694"/>
                  <a:pt x="5021938" y="29688"/>
                </a:cubicBezTo>
                <a:cubicBezTo>
                  <a:pt x="5021938" y="33816"/>
                  <a:pt x="5023002" y="36611"/>
                  <a:pt x="5025532" y="39140"/>
                </a:cubicBezTo>
                <a:cubicBezTo>
                  <a:pt x="5027129" y="40738"/>
                  <a:pt x="5029658" y="42601"/>
                  <a:pt x="5035515" y="42601"/>
                </a:cubicBezTo>
                <a:cubicBezTo>
                  <a:pt x="5037645" y="42601"/>
                  <a:pt x="5039376" y="42335"/>
                  <a:pt x="5040840" y="41669"/>
                </a:cubicBezTo>
                <a:cubicBezTo>
                  <a:pt x="5042304" y="41137"/>
                  <a:pt x="5043636" y="40338"/>
                  <a:pt x="5044567" y="39273"/>
                </a:cubicBezTo>
                <a:cubicBezTo>
                  <a:pt x="5045632" y="38208"/>
                  <a:pt x="5046564" y="36877"/>
                  <a:pt x="5047230" y="35147"/>
                </a:cubicBezTo>
                <a:cubicBezTo>
                  <a:pt x="5048028" y="33548"/>
                  <a:pt x="5048294" y="31685"/>
                  <a:pt x="5048294" y="29688"/>
                </a:cubicBezTo>
                <a:cubicBezTo>
                  <a:pt x="5048294" y="27824"/>
                  <a:pt x="5047895" y="26094"/>
                  <a:pt x="5047230" y="24496"/>
                </a:cubicBezTo>
                <a:cubicBezTo>
                  <a:pt x="5046564" y="22766"/>
                  <a:pt x="5045632" y="21435"/>
                  <a:pt x="5044567" y="20237"/>
                </a:cubicBezTo>
                <a:cubicBezTo>
                  <a:pt x="5043502" y="19172"/>
                  <a:pt x="5042171" y="18240"/>
                  <a:pt x="5040574" y="17574"/>
                </a:cubicBezTo>
                <a:cubicBezTo>
                  <a:pt x="5039110" y="16909"/>
                  <a:pt x="5037379" y="16643"/>
                  <a:pt x="5035515" y="16643"/>
                </a:cubicBezTo>
                <a:close/>
                <a:moveTo>
                  <a:pt x="5253160" y="16643"/>
                </a:moveTo>
                <a:cubicBezTo>
                  <a:pt x="5247303" y="16643"/>
                  <a:pt x="5244774" y="18639"/>
                  <a:pt x="5243177" y="20237"/>
                </a:cubicBezTo>
                <a:cubicBezTo>
                  <a:pt x="5240647" y="22899"/>
                  <a:pt x="5239583" y="25694"/>
                  <a:pt x="5239583" y="29688"/>
                </a:cubicBezTo>
                <a:cubicBezTo>
                  <a:pt x="5239583" y="33815"/>
                  <a:pt x="5240647" y="36610"/>
                  <a:pt x="5243177" y="39140"/>
                </a:cubicBezTo>
                <a:cubicBezTo>
                  <a:pt x="5244774" y="40738"/>
                  <a:pt x="5247303" y="42601"/>
                  <a:pt x="5253160" y="42601"/>
                </a:cubicBezTo>
                <a:cubicBezTo>
                  <a:pt x="5255157" y="42601"/>
                  <a:pt x="5257021" y="42335"/>
                  <a:pt x="5258485" y="41669"/>
                </a:cubicBezTo>
                <a:cubicBezTo>
                  <a:pt x="5259949" y="41137"/>
                  <a:pt x="5261280" y="40337"/>
                  <a:pt x="5262212" y="39272"/>
                </a:cubicBezTo>
                <a:cubicBezTo>
                  <a:pt x="5263277" y="38208"/>
                  <a:pt x="5264209" y="36876"/>
                  <a:pt x="5264875" y="35146"/>
                </a:cubicBezTo>
                <a:cubicBezTo>
                  <a:pt x="5265673" y="33548"/>
                  <a:pt x="5265939" y="31685"/>
                  <a:pt x="5265939" y="29688"/>
                </a:cubicBezTo>
                <a:cubicBezTo>
                  <a:pt x="5265939" y="27824"/>
                  <a:pt x="5265540" y="26094"/>
                  <a:pt x="5264875" y="24496"/>
                </a:cubicBezTo>
                <a:cubicBezTo>
                  <a:pt x="5264209" y="22766"/>
                  <a:pt x="5263277" y="21435"/>
                  <a:pt x="5262212" y="20237"/>
                </a:cubicBezTo>
                <a:cubicBezTo>
                  <a:pt x="5261147" y="19172"/>
                  <a:pt x="5259816" y="18240"/>
                  <a:pt x="5258219" y="17574"/>
                </a:cubicBezTo>
                <a:cubicBezTo>
                  <a:pt x="5256754" y="16909"/>
                  <a:pt x="5255024" y="16643"/>
                  <a:pt x="5253160" y="16643"/>
                </a:cubicBezTo>
                <a:close/>
                <a:moveTo>
                  <a:pt x="5470806" y="16643"/>
                </a:moveTo>
                <a:cubicBezTo>
                  <a:pt x="5464949" y="16643"/>
                  <a:pt x="5462419" y="18639"/>
                  <a:pt x="5460822" y="20237"/>
                </a:cubicBezTo>
                <a:cubicBezTo>
                  <a:pt x="5458293" y="22899"/>
                  <a:pt x="5457228" y="25694"/>
                  <a:pt x="5457228" y="29688"/>
                </a:cubicBezTo>
                <a:cubicBezTo>
                  <a:pt x="5457228" y="33815"/>
                  <a:pt x="5458293" y="36610"/>
                  <a:pt x="5460822" y="39139"/>
                </a:cubicBezTo>
                <a:cubicBezTo>
                  <a:pt x="5462419" y="40737"/>
                  <a:pt x="5464949" y="42600"/>
                  <a:pt x="5470806" y="42600"/>
                </a:cubicBezTo>
                <a:cubicBezTo>
                  <a:pt x="5472802" y="42600"/>
                  <a:pt x="5474666" y="42334"/>
                  <a:pt x="5476130" y="41668"/>
                </a:cubicBezTo>
                <a:cubicBezTo>
                  <a:pt x="5477594" y="41136"/>
                  <a:pt x="5478926" y="40337"/>
                  <a:pt x="5479857" y="39272"/>
                </a:cubicBezTo>
                <a:cubicBezTo>
                  <a:pt x="5480922" y="38207"/>
                  <a:pt x="5481854" y="36876"/>
                  <a:pt x="5482520" y="35146"/>
                </a:cubicBezTo>
                <a:cubicBezTo>
                  <a:pt x="5483319" y="33548"/>
                  <a:pt x="5483585" y="31685"/>
                  <a:pt x="5483585" y="29688"/>
                </a:cubicBezTo>
                <a:cubicBezTo>
                  <a:pt x="5483585" y="27824"/>
                  <a:pt x="5483185" y="26094"/>
                  <a:pt x="5482520" y="24496"/>
                </a:cubicBezTo>
                <a:cubicBezTo>
                  <a:pt x="5481854" y="22766"/>
                  <a:pt x="5480922" y="21435"/>
                  <a:pt x="5479857" y="20237"/>
                </a:cubicBezTo>
                <a:cubicBezTo>
                  <a:pt x="5478793" y="19172"/>
                  <a:pt x="5477461" y="18240"/>
                  <a:pt x="5475864" y="17574"/>
                </a:cubicBezTo>
                <a:cubicBezTo>
                  <a:pt x="5474400" y="16909"/>
                  <a:pt x="5472669" y="16643"/>
                  <a:pt x="5470806" y="16643"/>
                </a:cubicBezTo>
                <a:close/>
                <a:moveTo>
                  <a:pt x="5688451" y="16643"/>
                </a:moveTo>
                <a:cubicBezTo>
                  <a:pt x="5682594" y="16643"/>
                  <a:pt x="5680064" y="18639"/>
                  <a:pt x="5678467" y="20237"/>
                </a:cubicBezTo>
                <a:cubicBezTo>
                  <a:pt x="5675938" y="22899"/>
                  <a:pt x="5674873" y="25694"/>
                  <a:pt x="5674873" y="29688"/>
                </a:cubicBezTo>
                <a:cubicBezTo>
                  <a:pt x="5674873" y="33815"/>
                  <a:pt x="5675938" y="36610"/>
                  <a:pt x="5678467" y="39139"/>
                </a:cubicBezTo>
                <a:cubicBezTo>
                  <a:pt x="5680064" y="40737"/>
                  <a:pt x="5682594" y="42600"/>
                  <a:pt x="5688451" y="42600"/>
                </a:cubicBezTo>
                <a:cubicBezTo>
                  <a:pt x="5690447" y="42600"/>
                  <a:pt x="5692178" y="42334"/>
                  <a:pt x="5693775" y="41668"/>
                </a:cubicBezTo>
                <a:cubicBezTo>
                  <a:pt x="5695239" y="41136"/>
                  <a:pt x="5696571" y="40337"/>
                  <a:pt x="5697502" y="39272"/>
                </a:cubicBezTo>
                <a:cubicBezTo>
                  <a:pt x="5698567" y="38207"/>
                  <a:pt x="5699499" y="36876"/>
                  <a:pt x="5700165" y="35146"/>
                </a:cubicBezTo>
                <a:cubicBezTo>
                  <a:pt x="5700830" y="33548"/>
                  <a:pt x="5701230" y="31685"/>
                  <a:pt x="5701230" y="29688"/>
                </a:cubicBezTo>
                <a:cubicBezTo>
                  <a:pt x="5701230" y="27824"/>
                  <a:pt x="5700830" y="26094"/>
                  <a:pt x="5700165" y="24496"/>
                </a:cubicBezTo>
                <a:cubicBezTo>
                  <a:pt x="5699499" y="22766"/>
                  <a:pt x="5698567" y="21435"/>
                  <a:pt x="5697502" y="20237"/>
                </a:cubicBezTo>
                <a:cubicBezTo>
                  <a:pt x="5696437" y="19172"/>
                  <a:pt x="5695106" y="18240"/>
                  <a:pt x="5693509" y="17574"/>
                </a:cubicBezTo>
                <a:cubicBezTo>
                  <a:pt x="5692045" y="16909"/>
                  <a:pt x="5690314" y="16643"/>
                  <a:pt x="5688451" y="16643"/>
                </a:cubicBezTo>
                <a:close/>
                <a:moveTo>
                  <a:pt x="5905963" y="16643"/>
                </a:moveTo>
                <a:cubicBezTo>
                  <a:pt x="5900106" y="16643"/>
                  <a:pt x="5897576" y="18639"/>
                  <a:pt x="5895979" y="20237"/>
                </a:cubicBezTo>
                <a:cubicBezTo>
                  <a:pt x="5893450" y="22899"/>
                  <a:pt x="5892385" y="25694"/>
                  <a:pt x="5892385" y="29688"/>
                </a:cubicBezTo>
                <a:cubicBezTo>
                  <a:pt x="5892385" y="33815"/>
                  <a:pt x="5893450" y="36610"/>
                  <a:pt x="5895979" y="39139"/>
                </a:cubicBezTo>
                <a:cubicBezTo>
                  <a:pt x="5897576" y="40737"/>
                  <a:pt x="5900106" y="42600"/>
                  <a:pt x="5905963" y="42600"/>
                </a:cubicBezTo>
                <a:cubicBezTo>
                  <a:pt x="5908093" y="42600"/>
                  <a:pt x="5909823" y="42334"/>
                  <a:pt x="5911287" y="41668"/>
                </a:cubicBezTo>
                <a:cubicBezTo>
                  <a:pt x="5912751" y="41136"/>
                  <a:pt x="5914083" y="40337"/>
                  <a:pt x="5915014" y="39272"/>
                </a:cubicBezTo>
                <a:cubicBezTo>
                  <a:pt x="5916079" y="38207"/>
                  <a:pt x="5917011" y="36876"/>
                  <a:pt x="5917677" y="35146"/>
                </a:cubicBezTo>
                <a:cubicBezTo>
                  <a:pt x="5918342" y="33548"/>
                  <a:pt x="5918742" y="31685"/>
                  <a:pt x="5918742" y="29688"/>
                </a:cubicBezTo>
                <a:cubicBezTo>
                  <a:pt x="5918742" y="27824"/>
                  <a:pt x="5918342" y="26094"/>
                  <a:pt x="5917677" y="24496"/>
                </a:cubicBezTo>
                <a:cubicBezTo>
                  <a:pt x="5917011" y="22766"/>
                  <a:pt x="5916079" y="21435"/>
                  <a:pt x="5915014" y="20237"/>
                </a:cubicBezTo>
                <a:cubicBezTo>
                  <a:pt x="5913950" y="19172"/>
                  <a:pt x="5912618" y="18240"/>
                  <a:pt x="5911021" y="17574"/>
                </a:cubicBezTo>
                <a:cubicBezTo>
                  <a:pt x="5909557" y="16909"/>
                  <a:pt x="5907826" y="16643"/>
                  <a:pt x="5905963" y="16643"/>
                </a:cubicBezTo>
                <a:close/>
                <a:moveTo>
                  <a:pt x="6123608" y="16643"/>
                </a:moveTo>
                <a:cubicBezTo>
                  <a:pt x="6117751" y="16643"/>
                  <a:pt x="6115221" y="18639"/>
                  <a:pt x="6113624" y="20237"/>
                </a:cubicBezTo>
                <a:cubicBezTo>
                  <a:pt x="6111095" y="22899"/>
                  <a:pt x="6110030" y="25694"/>
                  <a:pt x="6110030" y="29688"/>
                </a:cubicBezTo>
                <a:cubicBezTo>
                  <a:pt x="6110030" y="33815"/>
                  <a:pt x="6111095" y="36610"/>
                  <a:pt x="6113624" y="39139"/>
                </a:cubicBezTo>
                <a:cubicBezTo>
                  <a:pt x="6115221" y="40737"/>
                  <a:pt x="6117751" y="42600"/>
                  <a:pt x="6123608" y="42600"/>
                </a:cubicBezTo>
                <a:cubicBezTo>
                  <a:pt x="6125737" y="42600"/>
                  <a:pt x="6127468" y="42334"/>
                  <a:pt x="6128932" y="41668"/>
                </a:cubicBezTo>
                <a:cubicBezTo>
                  <a:pt x="6130530" y="41136"/>
                  <a:pt x="6131728" y="40337"/>
                  <a:pt x="6132659" y="39272"/>
                </a:cubicBezTo>
                <a:cubicBezTo>
                  <a:pt x="6133724" y="38207"/>
                  <a:pt x="6134656" y="36876"/>
                  <a:pt x="6135322" y="35146"/>
                </a:cubicBezTo>
                <a:cubicBezTo>
                  <a:pt x="6135987" y="33548"/>
                  <a:pt x="6136387" y="31685"/>
                  <a:pt x="6136387" y="29688"/>
                </a:cubicBezTo>
                <a:cubicBezTo>
                  <a:pt x="6136387" y="27824"/>
                  <a:pt x="6135987" y="26094"/>
                  <a:pt x="6135322" y="24496"/>
                </a:cubicBezTo>
                <a:cubicBezTo>
                  <a:pt x="6134656" y="22766"/>
                  <a:pt x="6133724" y="21435"/>
                  <a:pt x="6132659" y="20237"/>
                </a:cubicBezTo>
                <a:cubicBezTo>
                  <a:pt x="6131594" y="19172"/>
                  <a:pt x="6130263" y="18240"/>
                  <a:pt x="6128666" y="17574"/>
                </a:cubicBezTo>
                <a:cubicBezTo>
                  <a:pt x="6127202" y="16909"/>
                  <a:pt x="6125604" y="16643"/>
                  <a:pt x="6123608" y="16643"/>
                </a:cubicBezTo>
                <a:close/>
                <a:moveTo>
                  <a:pt x="6341253" y="16643"/>
                </a:moveTo>
                <a:cubicBezTo>
                  <a:pt x="6335396" y="16643"/>
                  <a:pt x="6332867" y="18639"/>
                  <a:pt x="6331270" y="20237"/>
                </a:cubicBezTo>
                <a:cubicBezTo>
                  <a:pt x="6328740" y="22899"/>
                  <a:pt x="6327675" y="25694"/>
                  <a:pt x="6327675" y="29688"/>
                </a:cubicBezTo>
                <a:cubicBezTo>
                  <a:pt x="6327675" y="33815"/>
                  <a:pt x="6328740" y="36610"/>
                  <a:pt x="6331270" y="39139"/>
                </a:cubicBezTo>
                <a:cubicBezTo>
                  <a:pt x="6332867" y="40737"/>
                  <a:pt x="6335396" y="42600"/>
                  <a:pt x="6341253" y="42600"/>
                </a:cubicBezTo>
                <a:cubicBezTo>
                  <a:pt x="6343250" y="42600"/>
                  <a:pt x="6345114" y="42334"/>
                  <a:pt x="6346578" y="41668"/>
                </a:cubicBezTo>
                <a:cubicBezTo>
                  <a:pt x="6348042" y="41136"/>
                  <a:pt x="6349373" y="40337"/>
                  <a:pt x="6350305" y="39272"/>
                </a:cubicBezTo>
                <a:cubicBezTo>
                  <a:pt x="6351370" y="38207"/>
                  <a:pt x="6352302" y="36876"/>
                  <a:pt x="6352968" y="35146"/>
                </a:cubicBezTo>
                <a:cubicBezTo>
                  <a:pt x="6353766" y="33548"/>
                  <a:pt x="6354033" y="31685"/>
                  <a:pt x="6354033" y="29688"/>
                </a:cubicBezTo>
                <a:cubicBezTo>
                  <a:pt x="6354033" y="27824"/>
                  <a:pt x="6353633" y="26094"/>
                  <a:pt x="6352968" y="24496"/>
                </a:cubicBezTo>
                <a:cubicBezTo>
                  <a:pt x="6352302" y="22766"/>
                  <a:pt x="6351370" y="21435"/>
                  <a:pt x="6350305" y="20237"/>
                </a:cubicBezTo>
                <a:cubicBezTo>
                  <a:pt x="6349241" y="19172"/>
                  <a:pt x="6347909" y="18240"/>
                  <a:pt x="6346312" y="17574"/>
                </a:cubicBezTo>
                <a:cubicBezTo>
                  <a:pt x="6344848" y="16909"/>
                  <a:pt x="6343250" y="16643"/>
                  <a:pt x="6341253" y="16643"/>
                </a:cubicBezTo>
                <a:close/>
                <a:moveTo>
                  <a:pt x="6558899" y="16642"/>
                </a:moveTo>
                <a:cubicBezTo>
                  <a:pt x="6553042" y="16642"/>
                  <a:pt x="6550512" y="18638"/>
                  <a:pt x="6548915" y="20236"/>
                </a:cubicBezTo>
                <a:cubicBezTo>
                  <a:pt x="6546386" y="22899"/>
                  <a:pt x="6545321" y="25694"/>
                  <a:pt x="6545321" y="29688"/>
                </a:cubicBezTo>
                <a:cubicBezTo>
                  <a:pt x="6545321" y="33815"/>
                  <a:pt x="6546386" y="36610"/>
                  <a:pt x="6548915" y="39139"/>
                </a:cubicBezTo>
                <a:cubicBezTo>
                  <a:pt x="6550512" y="40737"/>
                  <a:pt x="6553042" y="42600"/>
                  <a:pt x="6558899" y="42600"/>
                </a:cubicBezTo>
                <a:cubicBezTo>
                  <a:pt x="6560895" y="42600"/>
                  <a:pt x="6562759" y="42334"/>
                  <a:pt x="6564223" y="41668"/>
                </a:cubicBezTo>
                <a:cubicBezTo>
                  <a:pt x="6565687" y="41136"/>
                  <a:pt x="6567019" y="40337"/>
                  <a:pt x="6567950" y="39272"/>
                </a:cubicBezTo>
                <a:cubicBezTo>
                  <a:pt x="6569015" y="38207"/>
                  <a:pt x="6569947" y="36876"/>
                  <a:pt x="6570612" y="35146"/>
                </a:cubicBezTo>
                <a:cubicBezTo>
                  <a:pt x="6571412" y="33548"/>
                  <a:pt x="6571677" y="31685"/>
                  <a:pt x="6571677" y="29688"/>
                </a:cubicBezTo>
                <a:cubicBezTo>
                  <a:pt x="6571677" y="27824"/>
                  <a:pt x="6571278" y="26094"/>
                  <a:pt x="6570612" y="24496"/>
                </a:cubicBezTo>
                <a:cubicBezTo>
                  <a:pt x="6569947" y="22766"/>
                  <a:pt x="6569015" y="21435"/>
                  <a:pt x="6567950" y="20236"/>
                </a:cubicBezTo>
                <a:cubicBezTo>
                  <a:pt x="6566885" y="19172"/>
                  <a:pt x="6565554" y="18239"/>
                  <a:pt x="6563956" y="17573"/>
                </a:cubicBezTo>
                <a:cubicBezTo>
                  <a:pt x="6562492" y="16908"/>
                  <a:pt x="6560895" y="16642"/>
                  <a:pt x="6558899" y="16642"/>
                </a:cubicBezTo>
                <a:close/>
                <a:moveTo>
                  <a:pt x="6776544" y="16642"/>
                </a:moveTo>
                <a:cubicBezTo>
                  <a:pt x="6770687" y="16642"/>
                  <a:pt x="6768157" y="18638"/>
                  <a:pt x="6766560" y="20236"/>
                </a:cubicBezTo>
                <a:cubicBezTo>
                  <a:pt x="6764031" y="22898"/>
                  <a:pt x="6762966" y="25693"/>
                  <a:pt x="6762966" y="29688"/>
                </a:cubicBezTo>
                <a:cubicBezTo>
                  <a:pt x="6762966" y="33815"/>
                  <a:pt x="6764031" y="36610"/>
                  <a:pt x="6766560" y="39139"/>
                </a:cubicBezTo>
                <a:cubicBezTo>
                  <a:pt x="6768157" y="40737"/>
                  <a:pt x="6770687" y="42600"/>
                  <a:pt x="6776544" y="42600"/>
                </a:cubicBezTo>
                <a:cubicBezTo>
                  <a:pt x="6778541" y="42600"/>
                  <a:pt x="6780270" y="42334"/>
                  <a:pt x="6781869" y="41668"/>
                </a:cubicBezTo>
                <a:cubicBezTo>
                  <a:pt x="6783333" y="41136"/>
                  <a:pt x="6784664" y="40337"/>
                  <a:pt x="6785595" y="39272"/>
                </a:cubicBezTo>
                <a:cubicBezTo>
                  <a:pt x="6786661" y="38207"/>
                  <a:pt x="6787593" y="36876"/>
                  <a:pt x="6788258" y="35146"/>
                </a:cubicBezTo>
                <a:cubicBezTo>
                  <a:pt x="6789057" y="33548"/>
                  <a:pt x="6789323" y="31685"/>
                  <a:pt x="6789323" y="29688"/>
                </a:cubicBezTo>
                <a:cubicBezTo>
                  <a:pt x="6789323" y="27824"/>
                  <a:pt x="6788923" y="26093"/>
                  <a:pt x="6788258" y="24495"/>
                </a:cubicBezTo>
                <a:cubicBezTo>
                  <a:pt x="6787593" y="22765"/>
                  <a:pt x="6786661" y="21434"/>
                  <a:pt x="6785595" y="20236"/>
                </a:cubicBezTo>
                <a:cubicBezTo>
                  <a:pt x="6784530" y="19171"/>
                  <a:pt x="6783199" y="18239"/>
                  <a:pt x="6781602" y="17573"/>
                </a:cubicBezTo>
                <a:cubicBezTo>
                  <a:pt x="6780138" y="16908"/>
                  <a:pt x="6778541" y="16642"/>
                  <a:pt x="6776544" y="16642"/>
                </a:cubicBezTo>
                <a:close/>
                <a:moveTo>
                  <a:pt x="6994056" y="16642"/>
                </a:moveTo>
                <a:cubicBezTo>
                  <a:pt x="6988199" y="16642"/>
                  <a:pt x="6985669" y="18638"/>
                  <a:pt x="6984072" y="20236"/>
                </a:cubicBezTo>
                <a:cubicBezTo>
                  <a:pt x="6981543" y="22898"/>
                  <a:pt x="6980478" y="25693"/>
                  <a:pt x="6980478" y="29687"/>
                </a:cubicBezTo>
                <a:cubicBezTo>
                  <a:pt x="6980478" y="33815"/>
                  <a:pt x="6981543" y="36610"/>
                  <a:pt x="6984072" y="39139"/>
                </a:cubicBezTo>
                <a:cubicBezTo>
                  <a:pt x="6985669" y="40737"/>
                  <a:pt x="6988199" y="42600"/>
                  <a:pt x="6994056" y="42600"/>
                </a:cubicBezTo>
                <a:cubicBezTo>
                  <a:pt x="6996185" y="42600"/>
                  <a:pt x="6997916" y="42334"/>
                  <a:pt x="6999380" y="41668"/>
                </a:cubicBezTo>
                <a:cubicBezTo>
                  <a:pt x="7000844" y="41136"/>
                  <a:pt x="7002176" y="40337"/>
                  <a:pt x="7003107" y="39272"/>
                </a:cubicBezTo>
                <a:cubicBezTo>
                  <a:pt x="7004172" y="38207"/>
                  <a:pt x="7005104" y="36876"/>
                  <a:pt x="7005769" y="35146"/>
                </a:cubicBezTo>
                <a:cubicBezTo>
                  <a:pt x="7006568" y="33547"/>
                  <a:pt x="7006834" y="31684"/>
                  <a:pt x="7006834" y="29687"/>
                </a:cubicBezTo>
                <a:cubicBezTo>
                  <a:pt x="7006834" y="27823"/>
                  <a:pt x="7006435" y="26093"/>
                  <a:pt x="7005769" y="24495"/>
                </a:cubicBezTo>
                <a:cubicBezTo>
                  <a:pt x="7005104" y="22765"/>
                  <a:pt x="7004172" y="21434"/>
                  <a:pt x="7003107" y="20236"/>
                </a:cubicBezTo>
                <a:cubicBezTo>
                  <a:pt x="7002042" y="19171"/>
                  <a:pt x="7000711" y="18239"/>
                  <a:pt x="6999113" y="17573"/>
                </a:cubicBezTo>
                <a:cubicBezTo>
                  <a:pt x="6997649" y="16908"/>
                  <a:pt x="6996052" y="16642"/>
                  <a:pt x="6994056" y="16642"/>
                </a:cubicBezTo>
                <a:close/>
                <a:moveTo>
                  <a:pt x="7211701" y="16642"/>
                </a:moveTo>
                <a:cubicBezTo>
                  <a:pt x="7205844" y="16642"/>
                  <a:pt x="7203314" y="18638"/>
                  <a:pt x="7201717" y="20236"/>
                </a:cubicBezTo>
                <a:cubicBezTo>
                  <a:pt x="7199188" y="22898"/>
                  <a:pt x="7198123" y="25693"/>
                  <a:pt x="7198123" y="29687"/>
                </a:cubicBezTo>
                <a:cubicBezTo>
                  <a:pt x="7198123" y="33814"/>
                  <a:pt x="7199188" y="36609"/>
                  <a:pt x="7201717" y="39139"/>
                </a:cubicBezTo>
                <a:cubicBezTo>
                  <a:pt x="7203314" y="40737"/>
                  <a:pt x="7205844" y="42600"/>
                  <a:pt x="7211701" y="42600"/>
                </a:cubicBezTo>
                <a:cubicBezTo>
                  <a:pt x="7213830" y="42600"/>
                  <a:pt x="7215561" y="42334"/>
                  <a:pt x="7217026" y="41668"/>
                </a:cubicBezTo>
                <a:cubicBezTo>
                  <a:pt x="7218490" y="41136"/>
                  <a:pt x="7219821" y="40336"/>
                  <a:pt x="7220752" y="39271"/>
                </a:cubicBezTo>
                <a:cubicBezTo>
                  <a:pt x="7221818" y="38207"/>
                  <a:pt x="7222750" y="36875"/>
                  <a:pt x="7223415" y="35145"/>
                </a:cubicBezTo>
                <a:cubicBezTo>
                  <a:pt x="7224214" y="33547"/>
                  <a:pt x="7224480" y="31684"/>
                  <a:pt x="7224480" y="29687"/>
                </a:cubicBezTo>
                <a:cubicBezTo>
                  <a:pt x="7224480" y="27823"/>
                  <a:pt x="7224080" y="26093"/>
                  <a:pt x="7223415" y="24495"/>
                </a:cubicBezTo>
                <a:cubicBezTo>
                  <a:pt x="7222750" y="22765"/>
                  <a:pt x="7221818" y="21434"/>
                  <a:pt x="7220752" y="20236"/>
                </a:cubicBezTo>
                <a:cubicBezTo>
                  <a:pt x="7219687" y="19171"/>
                  <a:pt x="7218356" y="18239"/>
                  <a:pt x="7216759" y="17573"/>
                </a:cubicBezTo>
                <a:cubicBezTo>
                  <a:pt x="7215295" y="16908"/>
                  <a:pt x="7213698" y="16642"/>
                  <a:pt x="7211701" y="16642"/>
                </a:cubicBezTo>
                <a:close/>
                <a:moveTo>
                  <a:pt x="7429345" y="16642"/>
                </a:moveTo>
                <a:cubicBezTo>
                  <a:pt x="7423488" y="16642"/>
                  <a:pt x="7420958" y="18638"/>
                  <a:pt x="7419361" y="20236"/>
                </a:cubicBezTo>
                <a:cubicBezTo>
                  <a:pt x="7416832" y="22898"/>
                  <a:pt x="7415768" y="25693"/>
                  <a:pt x="7415768" y="29687"/>
                </a:cubicBezTo>
                <a:cubicBezTo>
                  <a:pt x="7415768" y="33814"/>
                  <a:pt x="7416832" y="36609"/>
                  <a:pt x="7419361" y="39138"/>
                </a:cubicBezTo>
                <a:cubicBezTo>
                  <a:pt x="7420958" y="40736"/>
                  <a:pt x="7423488" y="42599"/>
                  <a:pt x="7429345" y="42599"/>
                </a:cubicBezTo>
                <a:cubicBezTo>
                  <a:pt x="7431342" y="42599"/>
                  <a:pt x="7433206" y="42333"/>
                  <a:pt x="7434670" y="41667"/>
                </a:cubicBezTo>
                <a:cubicBezTo>
                  <a:pt x="7436134" y="41135"/>
                  <a:pt x="7437466" y="40336"/>
                  <a:pt x="7438397" y="39271"/>
                </a:cubicBezTo>
                <a:cubicBezTo>
                  <a:pt x="7439462" y="38206"/>
                  <a:pt x="7440394" y="36875"/>
                  <a:pt x="7441059" y="35145"/>
                </a:cubicBezTo>
                <a:cubicBezTo>
                  <a:pt x="7441858" y="33547"/>
                  <a:pt x="7442124" y="31684"/>
                  <a:pt x="7442124" y="29687"/>
                </a:cubicBezTo>
                <a:cubicBezTo>
                  <a:pt x="7442124" y="27823"/>
                  <a:pt x="7441725" y="26093"/>
                  <a:pt x="7441059" y="24495"/>
                </a:cubicBezTo>
                <a:cubicBezTo>
                  <a:pt x="7440394" y="22765"/>
                  <a:pt x="7439462" y="21434"/>
                  <a:pt x="7438397" y="20236"/>
                </a:cubicBezTo>
                <a:cubicBezTo>
                  <a:pt x="7437332" y="19171"/>
                  <a:pt x="7436001" y="18239"/>
                  <a:pt x="7434403" y="17573"/>
                </a:cubicBezTo>
                <a:cubicBezTo>
                  <a:pt x="7432939" y="16908"/>
                  <a:pt x="7431342" y="16642"/>
                  <a:pt x="7429345" y="16642"/>
                </a:cubicBezTo>
                <a:close/>
                <a:moveTo>
                  <a:pt x="7646991" y="16642"/>
                </a:moveTo>
                <a:cubicBezTo>
                  <a:pt x="7641134" y="16642"/>
                  <a:pt x="7638604" y="18638"/>
                  <a:pt x="7637007" y="20236"/>
                </a:cubicBezTo>
                <a:cubicBezTo>
                  <a:pt x="7634478" y="22898"/>
                  <a:pt x="7633413" y="25693"/>
                  <a:pt x="7633413" y="29687"/>
                </a:cubicBezTo>
                <a:cubicBezTo>
                  <a:pt x="7633413" y="33814"/>
                  <a:pt x="7634478" y="36609"/>
                  <a:pt x="7637007" y="39138"/>
                </a:cubicBezTo>
                <a:cubicBezTo>
                  <a:pt x="7638604" y="40736"/>
                  <a:pt x="7641134" y="42599"/>
                  <a:pt x="7646991" y="42599"/>
                </a:cubicBezTo>
                <a:cubicBezTo>
                  <a:pt x="7648987" y="42599"/>
                  <a:pt x="7650851" y="42333"/>
                  <a:pt x="7652315" y="41667"/>
                </a:cubicBezTo>
                <a:cubicBezTo>
                  <a:pt x="7653780" y="41135"/>
                  <a:pt x="7655111" y="40336"/>
                  <a:pt x="7656042" y="39271"/>
                </a:cubicBezTo>
                <a:cubicBezTo>
                  <a:pt x="7657108" y="38206"/>
                  <a:pt x="7658039" y="36875"/>
                  <a:pt x="7658705" y="35145"/>
                </a:cubicBezTo>
                <a:cubicBezTo>
                  <a:pt x="7659504" y="33547"/>
                  <a:pt x="7659769" y="31684"/>
                  <a:pt x="7659769" y="29687"/>
                </a:cubicBezTo>
                <a:cubicBezTo>
                  <a:pt x="7659769" y="27823"/>
                  <a:pt x="7659370" y="26093"/>
                  <a:pt x="7658705" y="24495"/>
                </a:cubicBezTo>
                <a:cubicBezTo>
                  <a:pt x="7658039" y="22765"/>
                  <a:pt x="7657108" y="21434"/>
                  <a:pt x="7656042" y="20236"/>
                </a:cubicBezTo>
                <a:cubicBezTo>
                  <a:pt x="7654977" y="19171"/>
                  <a:pt x="7653646" y="18239"/>
                  <a:pt x="7652049" y="17573"/>
                </a:cubicBezTo>
                <a:cubicBezTo>
                  <a:pt x="7650584" y="16908"/>
                  <a:pt x="7648987" y="16642"/>
                  <a:pt x="7646991" y="16642"/>
                </a:cubicBezTo>
                <a:close/>
                <a:moveTo>
                  <a:pt x="7864636" y="16642"/>
                </a:moveTo>
                <a:cubicBezTo>
                  <a:pt x="7858779" y="16642"/>
                  <a:pt x="7856249" y="18638"/>
                  <a:pt x="7854652" y="20236"/>
                </a:cubicBezTo>
                <a:cubicBezTo>
                  <a:pt x="7852123" y="22898"/>
                  <a:pt x="7851058" y="25693"/>
                  <a:pt x="7851058" y="29687"/>
                </a:cubicBezTo>
                <a:cubicBezTo>
                  <a:pt x="7851058" y="33814"/>
                  <a:pt x="7852123" y="36609"/>
                  <a:pt x="7854652" y="39138"/>
                </a:cubicBezTo>
                <a:cubicBezTo>
                  <a:pt x="7856249" y="40736"/>
                  <a:pt x="7858779" y="42599"/>
                  <a:pt x="7864636" y="42599"/>
                </a:cubicBezTo>
                <a:cubicBezTo>
                  <a:pt x="7866633" y="42599"/>
                  <a:pt x="7868363" y="42333"/>
                  <a:pt x="7869961" y="41667"/>
                </a:cubicBezTo>
                <a:cubicBezTo>
                  <a:pt x="7871425" y="41135"/>
                  <a:pt x="7872756" y="40336"/>
                  <a:pt x="7873687" y="39271"/>
                </a:cubicBezTo>
                <a:cubicBezTo>
                  <a:pt x="7874753" y="38206"/>
                  <a:pt x="7875685" y="36875"/>
                  <a:pt x="7876350" y="35145"/>
                </a:cubicBezTo>
                <a:cubicBezTo>
                  <a:pt x="7877015" y="33547"/>
                  <a:pt x="7877282" y="31684"/>
                  <a:pt x="7877282" y="29687"/>
                </a:cubicBezTo>
                <a:cubicBezTo>
                  <a:pt x="7877282" y="27823"/>
                  <a:pt x="7877015" y="26093"/>
                  <a:pt x="7876350" y="24495"/>
                </a:cubicBezTo>
                <a:cubicBezTo>
                  <a:pt x="7875685" y="22765"/>
                  <a:pt x="7874753" y="21434"/>
                  <a:pt x="7873687" y="20236"/>
                </a:cubicBezTo>
                <a:cubicBezTo>
                  <a:pt x="7872623" y="19171"/>
                  <a:pt x="7871291" y="18239"/>
                  <a:pt x="7869694" y="17573"/>
                </a:cubicBezTo>
                <a:cubicBezTo>
                  <a:pt x="7868230" y="16908"/>
                  <a:pt x="7866633" y="16642"/>
                  <a:pt x="7864636" y="16642"/>
                </a:cubicBezTo>
                <a:close/>
                <a:moveTo>
                  <a:pt x="8082281" y="16642"/>
                </a:moveTo>
                <a:cubicBezTo>
                  <a:pt x="8076424" y="16642"/>
                  <a:pt x="8073894" y="18638"/>
                  <a:pt x="8072297" y="20236"/>
                </a:cubicBezTo>
                <a:cubicBezTo>
                  <a:pt x="8069768" y="22898"/>
                  <a:pt x="8068703" y="25693"/>
                  <a:pt x="8068703" y="29687"/>
                </a:cubicBezTo>
                <a:cubicBezTo>
                  <a:pt x="8068703" y="33814"/>
                  <a:pt x="8069768" y="36609"/>
                  <a:pt x="8072297" y="39138"/>
                </a:cubicBezTo>
                <a:cubicBezTo>
                  <a:pt x="8073894" y="40736"/>
                  <a:pt x="8076424" y="42599"/>
                  <a:pt x="8082281" y="42599"/>
                </a:cubicBezTo>
                <a:cubicBezTo>
                  <a:pt x="8084277" y="42599"/>
                  <a:pt x="8086007" y="42333"/>
                  <a:pt x="8087605" y="41667"/>
                </a:cubicBezTo>
                <a:cubicBezTo>
                  <a:pt x="8089069" y="41135"/>
                  <a:pt x="8090401" y="40336"/>
                  <a:pt x="8091332" y="39271"/>
                </a:cubicBezTo>
                <a:cubicBezTo>
                  <a:pt x="8092397" y="38206"/>
                  <a:pt x="8093329" y="36875"/>
                  <a:pt x="8093994" y="35145"/>
                </a:cubicBezTo>
                <a:cubicBezTo>
                  <a:pt x="8094660" y="33547"/>
                  <a:pt x="8094926" y="31684"/>
                  <a:pt x="8094926" y="29687"/>
                </a:cubicBezTo>
                <a:cubicBezTo>
                  <a:pt x="8094926" y="27823"/>
                  <a:pt x="8094660" y="26093"/>
                  <a:pt x="8093994" y="24495"/>
                </a:cubicBezTo>
                <a:cubicBezTo>
                  <a:pt x="8093329" y="22765"/>
                  <a:pt x="8092397" y="21434"/>
                  <a:pt x="8091332" y="20236"/>
                </a:cubicBezTo>
                <a:cubicBezTo>
                  <a:pt x="8090267" y="19171"/>
                  <a:pt x="8088936" y="18239"/>
                  <a:pt x="8087338" y="17573"/>
                </a:cubicBezTo>
                <a:cubicBezTo>
                  <a:pt x="8085874" y="16908"/>
                  <a:pt x="8084277" y="16642"/>
                  <a:pt x="8082281" y="16642"/>
                </a:cubicBezTo>
                <a:close/>
                <a:moveTo>
                  <a:pt x="8299793" y="16642"/>
                </a:moveTo>
                <a:cubicBezTo>
                  <a:pt x="8294068" y="16642"/>
                  <a:pt x="8291406" y="18638"/>
                  <a:pt x="8289809" y="20236"/>
                </a:cubicBezTo>
                <a:cubicBezTo>
                  <a:pt x="8287280" y="22898"/>
                  <a:pt x="8286215" y="25693"/>
                  <a:pt x="8286215" y="29687"/>
                </a:cubicBezTo>
                <a:cubicBezTo>
                  <a:pt x="8286215" y="33814"/>
                  <a:pt x="8287280" y="36609"/>
                  <a:pt x="8289809" y="39138"/>
                </a:cubicBezTo>
                <a:cubicBezTo>
                  <a:pt x="8291406" y="40736"/>
                  <a:pt x="8293935" y="42599"/>
                  <a:pt x="8299793" y="42599"/>
                </a:cubicBezTo>
                <a:cubicBezTo>
                  <a:pt x="8301923" y="42599"/>
                  <a:pt x="8303653" y="42333"/>
                  <a:pt x="8305118" y="41667"/>
                </a:cubicBezTo>
                <a:cubicBezTo>
                  <a:pt x="8306582" y="41135"/>
                  <a:pt x="8307913" y="40336"/>
                  <a:pt x="8308844" y="39271"/>
                </a:cubicBezTo>
                <a:cubicBezTo>
                  <a:pt x="8309910" y="38206"/>
                  <a:pt x="8310842" y="36875"/>
                  <a:pt x="8311507" y="35145"/>
                </a:cubicBezTo>
                <a:cubicBezTo>
                  <a:pt x="8312172" y="33547"/>
                  <a:pt x="8312439" y="31684"/>
                  <a:pt x="8312439" y="29687"/>
                </a:cubicBezTo>
                <a:cubicBezTo>
                  <a:pt x="8312439" y="27823"/>
                  <a:pt x="8312172" y="26093"/>
                  <a:pt x="8311507" y="24495"/>
                </a:cubicBezTo>
                <a:cubicBezTo>
                  <a:pt x="8310842" y="22765"/>
                  <a:pt x="8309910" y="21434"/>
                  <a:pt x="8308844" y="20236"/>
                </a:cubicBezTo>
                <a:cubicBezTo>
                  <a:pt x="8307779" y="19171"/>
                  <a:pt x="8306448" y="18239"/>
                  <a:pt x="8304851" y="17573"/>
                </a:cubicBezTo>
                <a:cubicBezTo>
                  <a:pt x="8303387" y="16908"/>
                  <a:pt x="8301790" y="16642"/>
                  <a:pt x="8299793" y="16642"/>
                </a:cubicBezTo>
                <a:close/>
                <a:moveTo>
                  <a:pt x="8517438" y="16641"/>
                </a:moveTo>
                <a:cubicBezTo>
                  <a:pt x="8511713" y="16641"/>
                  <a:pt x="8509051" y="18637"/>
                  <a:pt x="8507453" y="20235"/>
                </a:cubicBezTo>
                <a:cubicBezTo>
                  <a:pt x="8504925" y="22898"/>
                  <a:pt x="8503860" y="25693"/>
                  <a:pt x="8503860" y="29687"/>
                </a:cubicBezTo>
                <a:cubicBezTo>
                  <a:pt x="8503860" y="33814"/>
                  <a:pt x="8504925" y="36609"/>
                  <a:pt x="8507453" y="39138"/>
                </a:cubicBezTo>
                <a:cubicBezTo>
                  <a:pt x="8509051" y="40736"/>
                  <a:pt x="8511581" y="42599"/>
                  <a:pt x="8517438" y="42599"/>
                </a:cubicBezTo>
                <a:cubicBezTo>
                  <a:pt x="8519568" y="42599"/>
                  <a:pt x="8521299" y="42333"/>
                  <a:pt x="8522763" y="41667"/>
                </a:cubicBezTo>
                <a:cubicBezTo>
                  <a:pt x="8524227" y="41135"/>
                  <a:pt x="8525559" y="40336"/>
                  <a:pt x="8526490" y="39271"/>
                </a:cubicBezTo>
                <a:cubicBezTo>
                  <a:pt x="8527555" y="38206"/>
                  <a:pt x="8528487" y="36875"/>
                  <a:pt x="8529152" y="35145"/>
                </a:cubicBezTo>
                <a:cubicBezTo>
                  <a:pt x="8529818" y="33547"/>
                  <a:pt x="8530084" y="31684"/>
                  <a:pt x="8530084" y="29687"/>
                </a:cubicBezTo>
                <a:cubicBezTo>
                  <a:pt x="8530084" y="27823"/>
                  <a:pt x="8529818" y="26093"/>
                  <a:pt x="8529152" y="24495"/>
                </a:cubicBezTo>
                <a:cubicBezTo>
                  <a:pt x="8528487" y="22765"/>
                  <a:pt x="8527555" y="21434"/>
                  <a:pt x="8526490" y="20235"/>
                </a:cubicBezTo>
                <a:cubicBezTo>
                  <a:pt x="8525425" y="19171"/>
                  <a:pt x="8524094" y="18238"/>
                  <a:pt x="8522496" y="17572"/>
                </a:cubicBezTo>
                <a:cubicBezTo>
                  <a:pt x="8521032" y="16907"/>
                  <a:pt x="8519302" y="16641"/>
                  <a:pt x="8517438" y="16641"/>
                </a:cubicBezTo>
                <a:close/>
                <a:moveTo>
                  <a:pt x="8735083" y="16641"/>
                </a:moveTo>
                <a:cubicBezTo>
                  <a:pt x="8729358" y="16641"/>
                  <a:pt x="8726695" y="18637"/>
                  <a:pt x="8725098" y="20235"/>
                </a:cubicBezTo>
                <a:cubicBezTo>
                  <a:pt x="8722569" y="22897"/>
                  <a:pt x="8721504" y="25692"/>
                  <a:pt x="8721504" y="29687"/>
                </a:cubicBezTo>
                <a:cubicBezTo>
                  <a:pt x="8721504" y="33814"/>
                  <a:pt x="8722569" y="36609"/>
                  <a:pt x="8725098" y="39138"/>
                </a:cubicBezTo>
                <a:cubicBezTo>
                  <a:pt x="8726695" y="40736"/>
                  <a:pt x="8729225" y="42599"/>
                  <a:pt x="8735083" y="42599"/>
                </a:cubicBezTo>
                <a:cubicBezTo>
                  <a:pt x="8737079" y="42599"/>
                  <a:pt x="8738943" y="42333"/>
                  <a:pt x="8740407" y="41667"/>
                </a:cubicBezTo>
                <a:cubicBezTo>
                  <a:pt x="8741872" y="41135"/>
                  <a:pt x="8743203" y="40336"/>
                  <a:pt x="8744134" y="39271"/>
                </a:cubicBezTo>
                <a:cubicBezTo>
                  <a:pt x="8745200" y="38206"/>
                  <a:pt x="8746132" y="36875"/>
                  <a:pt x="8746797" y="35145"/>
                </a:cubicBezTo>
                <a:cubicBezTo>
                  <a:pt x="8747596" y="33547"/>
                  <a:pt x="8747862" y="31684"/>
                  <a:pt x="8747862" y="29687"/>
                </a:cubicBezTo>
                <a:cubicBezTo>
                  <a:pt x="8747862" y="27823"/>
                  <a:pt x="8747462" y="26092"/>
                  <a:pt x="8746797" y="24494"/>
                </a:cubicBezTo>
                <a:cubicBezTo>
                  <a:pt x="8746132" y="22764"/>
                  <a:pt x="8745200" y="21433"/>
                  <a:pt x="8744134" y="20235"/>
                </a:cubicBezTo>
                <a:cubicBezTo>
                  <a:pt x="8743069" y="19170"/>
                  <a:pt x="8741738" y="18238"/>
                  <a:pt x="8740141" y="17572"/>
                </a:cubicBezTo>
                <a:cubicBezTo>
                  <a:pt x="8738677" y="16907"/>
                  <a:pt x="8736946" y="16641"/>
                  <a:pt x="8735083" y="16641"/>
                </a:cubicBezTo>
                <a:close/>
                <a:moveTo>
                  <a:pt x="8952728" y="16641"/>
                </a:moveTo>
                <a:cubicBezTo>
                  <a:pt x="8947003" y="16641"/>
                  <a:pt x="8944340" y="18637"/>
                  <a:pt x="8942743" y="20235"/>
                </a:cubicBezTo>
                <a:cubicBezTo>
                  <a:pt x="8940214" y="22897"/>
                  <a:pt x="8939150" y="25692"/>
                  <a:pt x="8939150" y="29686"/>
                </a:cubicBezTo>
                <a:cubicBezTo>
                  <a:pt x="8939150" y="33814"/>
                  <a:pt x="8940214" y="36609"/>
                  <a:pt x="8942743" y="39138"/>
                </a:cubicBezTo>
                <a:cubicBezTo>
                  <a:pt x="8944340" y="40736"/>
                  <a:pt x="8946870" y="42599"/>
                  <a:pt x="8952728" y="42599"/>
                </a:cubicBezTo>
                <a:cubicBezTo>
                  <a:pt x="8954725" y="42599"/>
                  <a:pt x="8956589" y="42333"/>
                  <a:pt x="8958053" y="41667"/>
                </a:cubicBezTo>
                <a:cubicBezTo>
                  <a:pt x="8959517" y="41135"/>
                  <a:pt x="8960849" y="40336"/>
                  <a:pt x="8961780" y="39271"/>
                </a:cubicBezTo>
                <a:cubicBezTo>
                  <a:pt x="8962845" y="38206"/>
                  <a:pt x="8963777" y="36875"/>
                  <a:pt x="8964442" y="35145"/>
                </a:cubicBezTo>
                <a:cubicBezTo>
                  <a:pt x="8965241" y="33546"/>
                  <a:pt x="8965507" y="31683"/>
                  <a:pt x="8965507" y="29686"/>
                </a:cubicBezTo>
                <a:cubicBezTo>
                  <a:pt x="8965507" y="27822"/>
                  <a:pt x="8965108" y="26092"/>
                  <a:pt x="8964442" y="24494"/>
                </a:cubicBezTo>
                <a:cubicBezTo>
                  <a:pt x="8963777" y="22764"/>
                  <a:pt x="8962845" y="21433"/>
                  <a:pt x="8961780" y="20235"/>
                </a:cubicBezTo>
                <a:cubicBezTo>
                  <a:pt x="8960715" y="19170"/>
                  <a:pt x="8959384" y="18238"/>
                  <a:pt x="8957786" y="17572"/>
                </a:cubicBezTo>
                <a:cubicBezTo>
                  <a:pt x="8956322" y="16907"/>
                  <a:pt x="8954592" y="16641"/>
                  <a:pt x="8952728" y="16641"/>
                </a:cubicBezTo>
                <a:close/>
                <a:moveTo>
                  <a:pt x="9170374" y="16641"/>
                </a:moveTo>
                <a:cubicBezTo>
                  <a:pt x="9164649" y="16641"/>
                  <a:pt x="9161986" y="18637"/>
                  <a:pt x="9160389" y="20235"/>
                </a:cubicBezTo>
                <a:cubicBezTo>
                  <a:pt x="9157860" y="22897"/>
                  <a:pt x="9156795" y="25692"/>
                  <a:pt x="9156795" y="29686"/>
                </a:cubicBezTo>
                <a:cubicBezTo>
                  <a:pt x="9156795" y="33813"/>
                  <a:pt x="9157860" y="36608"/>
                  <a:pt x="9160389" y="39138"/>
                </a:cubicBezTo>
                <a:cubicBezTo>
                  <a:pt x="9161986" y="40736"/>
                  <a:pt x="9164516" y="42599"/>
                  <a:pt x="9170374" y="42599"/>
                </a:cubicBezTo>
                <a:cubicBezTo>
                  <a:pt x="9172370" y="42599"/>
                  <a:pt x="9174100" y="42333"/>
                  <a:pt x="9175698" y="41667"/>
                </a:cubicBezTo>
                <a:cubicBezTo>
                  <a:pt x="9177163" y="41135"/>
                  <a:pt x="9178494" y="40335"/>
                  <a:pt x="9179425" y="39270"/>
                </a:cubicBezTo>
                <a:cubicBezTo>
                  <a:pt x="9180491" y="38206"/>
                  <a:pt x="9181422" y="36874"/>
                  <a:pt x="9182088" y="35144"/>
                </a:cubicBezTo>
                <a:cubicBezTo>
                  <a:pt x="9182887" y="33546"/>
                  <a:pt x="9183152" y="31683"/>
                  <a:pt x="9183152" y="29686"/>
                </a:cubicBezTo>
                <a:cubicBezTo>
                  <a:pt x="9183152" y="27822"/>
                  <a:pt x="9182753" y="26092"/>
                  <a:pt x="9182088" y="24494"/>
                </a:cubicBezTo>
                <a:cubicBezTo>
                  <a:pt x="9181422" y="22764"/>
                  <a:pt x="9180491" y="21433"/>
                  <a:pt x="9179425" y="20235"/>
                </a:cubicBezTo>
                <a:cubicBezTo>
                  <a:pt x="9178360" y="19170"/>
                  <a:pt x="9177029" y="18238"/>
                  <a:pt x="9175432" y="17572"/>
                </a:cubicBezTo>
                <a:cubicBezTo>
                  <a:pt x="9173967" y="16907"/>
                  <a:pt x="9172237" y="16641"/>
                  <a:pt x="9170374" y="16641"/>
                </a:cubicBezTo>
                <a:close/>
                <a:moveTo>
                  <a:pt x="9387885" y="16641"/>
                </a:moveTo>
                <a:cubicBezTo>
                  <a:pt x="9382027" y="16641"/>
                  <a:pt x="9379497" y="18637"/>
                  <a:pt x="9377900" y="20235"/>
                </a:cubicBezTo>
                <a:cubicBezTo>
                  <a:pt x="9375371" y="22897"/>
                  <a:pt x="9374307" y="25692"/>
                  <a:pt x="9374307" y="29686"/>
                </a:cubicBezTo>
                <a:cubicBezTo>
                  <a:pt x="9374307" y="33813"/>
                  <a:pt x="9375371" y="36608"/>
                  <a:pt x="9377900" y="39137"/>
                </a:cubicBezTo>
                <a:cubicBezTo>
                  <a:pt x="9379497" y="40735"/>
                  <a:pt x="9382027" y="42598"/>
                  <a:pt x="9387885" y="42598"/>
                </a:cubicBezTo>
                <a:cubicBezTo>
                  <a:pt x="9390015" y="42598"/>
                  <a:pt x="9391746" y="42332"/>
                  <a:pt x="9393210" y="41666"/>
                </a:cubicBezTo>
                <a:cubicBezTo>
                  <a:pt x="9394674" y="41134"/>
                  <a:pt x="9396005" y="40335"/>
                  <a:pt x="9396937" y="39270"/>
                </a:cubicBezTo>
                <a:cubicBezTo>
                  <a:pt x="9398002" y="38205"/>
                  <a:pt x="9398934" y="36874"/>
                  <a:pt x="9399599" y="35144"/>
                </a:cubicBezTo>
                <a:cubicBezTo>
                  <a:pt x="9400398" y="33546"/>
                  <a:pt x="9400664" y="31683"/>
                  <a:pt x="9400664" y="29686"/>
                </a:cubicBezTo>
                <a:cubicBezTo>
                  <a:pt x="9400664" y="27822"/>
                  <a:pt x="9400265" y="26092"/>
                  <a:pt x="9399599" y="24494"/>
                </a:cubicBezTo>
                <a:cubicBezTo>
                  <a:pt x="9398934" y="22764"/>
                  <a:pt x="9398002" y="21433"/>
                  <a:pt x="9396937" y="20235"/>
                </a:cubicBezTo>
                <a:cubicBezTo>
                  <a:pt x="9395872" y="19170"/>
                  <a:pt x="9394541" y="18238"/>
                  <a:pt x="9392943" y="17572"/>
                </a:cubicBezTo>
                <a:cubicBezTo>
                  <a:pt x="9391479" y="16907"/>
                  <a:pt x="9389749" y="16641"/>
                  <a:pt x="9387885" y="16641"/>
                </a:cubicBezTo>
                <a:close/>
                <a:moveTo>
                  <a:pt x="9605531" y="16641"/>
                </a:moveTo>
                <a:cubicBezTo>
                  <a:pt x="9599673" y="16641"/>
                  <a:pt x="9597143" y="18637"/>
                  <a:pt x="9595546" y="20235"/>
                </a:cubicBezTo>
                <a:cubicBezTo>
                  <a:pt x="9593017" y="22897"/>
                  <a:pt x="9591952" y="25692"/>
                  <a:pt x="9591952" y="29686"/>
                </a:cubicBezTo>
                <a:cubicBezTo>
                  <a:pt x="9591952" y="33813"/>
                  <a:pt x="9593017" y="36608"/>
                  <a:pt x="9595546" y="39137"/>
                </a:cubicBezTo>
                <a:cubicBezTo>
                  <a:pt x="9597143" y="40735"/>
                  <a:pt x="9599673" y="42598"/>
                  <a:pt x="9605531" y="42598"/>
                </a:cubicBezTo>
                <a:cubicBezTo>
                  <a:pt x="9607660" y="42598"/>
                  <a:pt x="9609391" y="42332"/>
                  <a:pt x="9610855" y="41666"/>
                </a:cubicBezTo>
                <a:cubicBezTo>
                  <a:pt x="9612319" y="41134"/>
                  <a:pt x="9613651" y="40335"/>
                  <a:pt x="9614582" y="39270"/>
                </a:cubicBezTo>
                <a:cubicBezTo>
                  <a:pt x="9615647" y="38205"/>
                  <a:pt x="9616579" y="36874"/>
                  <a:pt x="9617245" y="35144"/>
                </a:cubicBezTo>
                <a:cubicBezTo>
                  <a:pt x="9618044" y="33546"/>
                  <a:pt x="9618309" y="31683"/>
                  <a:pt x="9618309" y="29686"/>
                </a:cubicBezTo>
                <a:cubicBezTo>
                  <a:pt x="9618309" y="27822"/>
                  <a:pt x="9617910" y="26092"/>
                  <a:pt x="9617245" y="24494"/>
                </a:cubicBezTo>
                <a:cubicBezTo>
                  <a:pt x="9616579" y="22764"/>
                  <a:pt x="9615647" y="21433"/>
                  <a:pt x="9614582" y="20235"/>
                </a:cubicBezTo>
                <a:cubicBezTo>
                  <a:pt x="9613517" y="19170"/>
                  <a:pt x="9612186" y="18238"/>
                  <a:pt x="9610589" y="17572"/>
                </a:cubicBezTo>
                <a:cubicBezTo>
                  <a:pt x="9609124" y="16907"/>
                  <a:pt x="9607394" y="16641"/>
                  <a:pt x="9605531" y="16641"/>
                </a:cubicBezTo>
                <a:close/>
                <a:moveTo>
                  <a:pt x="9823176" y="16641"/>
                </a:moveTo>
                <a:cubicBezTo>
                  <a:pt x="9817318" y="16641"/>
                  <a:pt x="9814788" y="18637"/>
                  <a:pt x="9813191" y="20235"/>
                </a:cubicBezTo>
                <a:cubicBezTo>
                  <a:pt x="9810662" y="22897"/>
                  <a:pt x="9809597" y="25692"/>
                  <a:pt x="9809597" y="29686"/>
                </a:cubicBezTo>
                <a:cubicBezTo>
                  <a:pt x="9809597" y="33813"/>
                  <a:pt x="9810662" y="36608"/>
                  <a:pt x="9813191" y="39137"/>
                </a:cubicBezTo>
                <a:cubicBezTo>
                  <a:pt x="9814788" y="40735"/>
                  <a:pt x="9817318" y="42598"/>
                  <a:pt x="9823176" y="42598"/>
                </a:cubicBezTo>
                <a:cubicBezTo>
                  <a:pt x="9825173" y="42598"/>
                  <a:pt x="9827036" y="42332"/>
                  <a:pt x="9828501" y="41666"/>
                </a:cubicBezTo>
                <a:cubicBezTo>
                  <a:pt x="9830098" y="41134"/>
                  <a:pt x="9831296" y="40335"/>
                  <a:pt x="9832227" y="39270"/>
                </a:cubicBezTo>
                <a:cubicBezTo>
                  <a:pt x="9833293" y="38205"/>
                  <a:pt x="9834225" y="36874"/>
                  <a:pt x="9834890" y="35144"/>
                </a:cubicBezTo>
                <a:cubicBezTo>
                  <a:pt x="9835689" y="33546"/>
                  <a:pt x="9835955" y="31683"/>
                  <a:pt x="9835955" y="29686"/>
                </a:cubicBezTo>
                <a:cubicBezTo>
                  <a:pt x="9835955" y="27822"/>
                  <a:pt x="9835555" y="26092"/>
                  <a:pt x="9834890" y="24494"/>
                </a:cubicBezTo>
                <a:cubicBezTo>
                  <a:pt x="9834225" y="22764"/>
                  <a:pt x="9833293" y="21433"/>
                  <a:pt x="9832227" y="20235"/>
                </a:cubicBezTo>
                <a:cubicBezTo>
                  <a:pt x="9831162" y="19170"/>
                  <a:pt x="9829831" y="18238"/>
                  <a:pt x="9828234" y="17572"/>
                </a:cubicBezTo>
                <a:cubicBezTo>
                  <a:pt x="9826770" y="16907"/>
                  <a:pt x="9825173" y="16641"/>
                  <a:pt x="9823176" y="16641"/>
                </a:cubicBezTo>
                <a:close/>
                <a:moveTo>
                  <a:pt x="10040820" y="16641"/>
                </a:moveTo>
                <a:cubicBezTo>
                  <a:pt x="10034962" y="16641"/>
                  <a:pt x="10032433" y="18637"/>
                  <a:pt x="10030835" y="20235"/>
                </a:cubicBezTo>
                <a:cubicBezTo>
                  <a:pt x="10028306" y="22897"/>
                  <a:pt x="10027242" y="25692"/>
                  <a:pt x="10027242" y="29686"/>
                </a:cubicBezTo>
                <a:cubicBezTo>
                  <a:pt x="10027242" y="33813"/>
                  <a:pt x="10028306" y="36608"/>
                  <a:pt x="10030835" y="39137"/>
                </a:cubicBezTo>
                <a:cubicBezTo>
                  <a:pt x="10032433" y="40735"/>
                  <a:pt x="10034962" y="42598"/>
                  <a:pt x="10040820" y="42598"/>
                </a:cubicBezTo>
                <a:cubicBezTo>
                  <a:pt x="10042817" y="42598"/>
                  <a:pt x="10044681" y="42332"/>
                  <a:pt x="10046145" y="41666"/>
                </a:cubicBezTo>
                <a:cubicBezTo>
                  <a:pt x="10047742" y="41134"/>
                  <a:pt x="10048941" y="40335"/>
                  <a:pt x="10049872" y="39270"/>
                </a:cubicBezTo>
                <a:cubicBezTo>
                  <a:pt x="10050937" y="38205"/>
                  <a:pt x="10051869" y="36874"/>
                  <a:pt x="10052534" y="35144"/>
                </a:cubicBezTo>
                <a:cubicBezTo>
                  <a:pt x="10053333" y="33546"/>
                  <a:pt x="10053599" y="31683"/>
                  <a:pt x="10053599" y="29686"/>
                </a:cubicBezTo>
                <a:cubicBezTo>
                  <a:pt x="10053599" y="27822"/>
                  <a:pt x="10053200" y="26092"/>
                  <a:pt x="10052534" y="24494"/>
                </a:cubicBezTo>
                <a:cubicBezTo>
                  <a:pt x="10051869" y="22764"/>
                  <a:pt x="10050937" y="21433"/>
                  <a:pt x="10049872" y="20235"/>
                </a:cubicBezTo>
                <a:cubicBezTo>
                  <a:pt x="10048807" y="19170"/>
                  <a:pt x="10047476" y="18238"/>
                  <a:pt x="10045878" y="17572"/>
                </a:cubicBezTo>
                <a:cubicBezTo>
                  <a:pt x="10044414" y="16907"/>
                  <a:pt x="10042817" y="16641"/>
                  <a:pt x="10040820" y="16641"/>
                </a:cubicBezTo>
                <a:close/>
                <a:moveTo>
                  <a:pt x="10258466" y="16641"/>
                </a:moveTo>
                <a:cubicBezTo>
                  <a:pt x="10252608" y="16641"/>
                  <a:pt x="10250078" y="18637"/>
                  <a:pt x="10248481" y="20235"/>
                </a:cubicBezTo>
                <a:cubicBezTo>
                  <a:pt x="10245952" y="22897"/>
                  <a:pt x="10244887" y="25692"/>
                  <a:pt x="10244887" y="29686"/>
                </a:cubicBezTo>
                <a:cubicBezTo>
                  <a:pt x="10244887" y="33813"/>
                  <a:pt x="10245952" y="36608"/>
                  <a:pt x="10248481" y="39137"/>
                </a:cubicBezTo>
                <a:cubicBezTo>
                  <a:pt x="10250078" y="40735"/>
                  <a:pt x="10252608" y="42598"/>
                  <a:pt x="10258466" y="42598"/>
                </a:cubicBezTo>
                <a:cubicBezTo>
                  <a:pt x="10260462" y="42598"/>
                  <a:pt x="10262192" y="42332"/>
                  <a:pt x="10263790" y="41666"/>
                </a:cubicBezTo>
                <a:cubicBezTo>
                  <a:pt x="10265388" y="41134"/>
                  <a:pt x="10266586" y="40335"/>
                  <a:pt x="10267517" y="39270"/>
                </a:cubicBezTo>
                <a:cubicBezTo>
                  <a:pt x="10268583" y="38205"/>
                  <a:pt x="10269515" y="36874"/>
                  <a:pt x="10270180" y="35144"/>
                </a:cubicBezTo>
                <a:cubicBezTo>
                  <a:pt x="10270845" y="33546"/>
                  <a:pt x="10271112" y="31683"/>
                  <a:pt x="10271112" y="29686"/>
                </a:cubicBezTo>
                <a:cubicBezTo>
                  <a:pt x="10271112" y="27822"/>
                  <a:pt x="10270845" y="26092"/>
                  <a:pt x="10270180" y="24494"/>
                </a:cubicBezTo>
                <a:cubicBezTo>
                  <a:pt x="10269515" y="22764"/>
                  <a:pt x="10268583" y="21433"/>
                  <a:pt x="10267517" y="20235"/>
                </a:cubicBezTo>
                <a:cubicBezTo>
                  <a:pt x="10266452" y="19170"/>
                  <a:pt x="10265121" y="18238"/>
                  <a:pt x="10263524" y="17572"/>
                </a:cubicBezTo>
                <a:cubicBezTo>
                  <a:pt x="10262060" y="16907"/>
                  <a:pt x="10260462" y="16641"/>
                  <a:pt x="10258466" y="16641"/>
                </a:cubicBezTo>
                <a:close/>
                <a:moveTo>
                  <a:pt x="10475977" y="16640"/>
                </a:moveTo>
                <a:cubicBezTo>
                  <a:pt x="10470119" y="16640"/>
                  <a:pt x="10467589" y="18636"/>
                  <a:pt x="10465992" y="20234"/>
                </a:cubicBezTo>
                <a:cubicBezTo>
                  <a:pt x="10463463" y="22897"/>
                  <a:pt x="10462399" y="25692"/>
                  <a:pt x="10462399" y="29686"/>
                </a:cubicBezTo>
                <a:cubicBezTo>
                  <a:pt x="10462399" y="33813"/>
                  <a:pt x="10463463" y="36608"/>
                  <a:pt x="10465992" y="39137"/>
                </a:cubicBezTo>
                <a:cubicBezTo>
                  <a:pt x="10467589" y="40735"/>
                  <a:pt x="10470119" y="42598"/>
                  <a:pt x="10475977" y="42598"/>
                </a:cubicBezTo>
                <a:cubicBezTo>
                  <a:pt x="10478107" y="42598"/>
                  <a:pt x="10479838" y="42332"/>
                  <a:pt x="10481302" y="41666"/>
                </a:cubicBezTo>
                <a:cubicBezTo>
                  <a:pt x="10482899" y="41134"/>
                  <a:pt x="10484098" y="40335"/>
                  <a:pt x="10485029" y="39270"/>
                </a:cubicBezTo>
                <a:cubicBezTo>
                  <a:pt x="10486094" y="38205"/>
                  <a:pt x="10487026" y="36874"/>
                  <a:pt x="10487691" y="35144"/>
                </a:cubicBezTo>
                <a:cubicBezTo>
                  <a:pt x="10488357" y="33546"/>
                  <a:pt x="10488623" y="31683"/>
                  <a:pt x="10488623" y="29686"/>
                </a:cubicBezTo>
                <a:cubicBezTo>
                  <a:pt x="10488623" y="27822"/>
                  <a:pt x="10488357" y="26092"/>
                  <a:pt x="10487691" y="24494"/>
                </a:cubicBezTo>
                <a:cubicBezTo>
                  <a:pt x="10487026" y="22764"/>
                  <a:pt x="10486094" y="21433"/>
                  <a:pt x="10485029" y="20234"/>
                </a:cubicBezTo>
                <a:cubicBezTo>
                  <a:pt x="10483964" y="19170"/>
                  <a:pt x="10482633" y="18237"/>
                  <a:pt x="10481035" y="17571"/>
                </a:cubicBezTo>
                <a:cubicBezTo>
                  <a:pt x="10479571" y="16906"/>
                  <a:pt x="10477974" y="16640"/>
                  <a:pt x="10475977" y="16640"/>
                </a:cubicBezTo>
                <a:close/>
                <a:moveTo>
                  <a:pt x="30217" y="5"/>
                </a:moveTo>
                <a:cubicBezTo>
                  <a:pt x="34477" y="5"/>
                  <a:pt x="38471" y="804"/>
                  <a:pt x="41932" y="2535"/>
                </a:cubicBezTo>
                <a:cubicBezTo>
                  <a:pt x="45659" y="4132"/>
                  <a:pt x="48721" y="6262"/>
                  <a:pt x="51251" y="8925"/>
                </a:cubicBezTo>
                <a:cubicBezTo>
                  <a:pt x="53913" y="11454"/>
                  <a:pt x="55910" y="14649"/>
                  <a:pt x="57374" y="18243"/>
                </a:cubicBezTo>
                <a:cubicBezTo>
                  <a:pt x="58838" y="21837"/>
                  <a:pt x="59637" y="25697"/>
                  <a:pt x="59637" y="29691"/>
                </a:cubicBezTo>
                <a:cubicBezTo>
                  <a:pt x="59637" y="33818"/>
                  <a:pt x="58838" y="37811"/>
                  <a:pt x="57374" y="41405"/>
                </a:cubicBezTo>
                <a:cubicBezTo>
                  <a:pt x="55910" y="45132"/>
                  <a:pt x="53780" y="48194"/>
                  <a:pt x="51251" y="50856"/>
                </a:cubicBezTo>
                <a:cubicBezTo>
                  <a:pt x="48587" y="53519"/>
                  <a:pt x="45527" y="55649"/>
                  <a:pt x="41932" y="57114"/>
                </a:cubicBezTo>
                <a:cubicBezTo>
                  <a:pt x="38338" y="58578"/>
                  <a:pt x="34477" y="59377"/>
                  <a:pt x="30217" y="59377"/>
                </a:cubicBezTo>
                <a:cubicBezTo>
                  <a:pt x="21299" y="59377"/>
                  <a:pt x="13977" y="56447"/>
                  <a:pt x="8386" y="50856"/>
                </a:cubicBezTo>
                <a:cubicBezTo>
                  <a:pt x="2795" y="45266"/>
                  <a:pt x="0" y="38210"/>
                  <a:pt x="0" y="29691"/>
                </a:cubicBezTo>
                <a:cubicBezTo>
                  <a:pt x="0" y="21438"/>
                  <a:pt x="2795" y="14383"/>
                  <a:pt x="8386" y="8659"/>
                </a:cubicBezTo>
                <a:cubicBezTo>
                  <a:pt x="13977" y="2800"/>
                  <a:pt x="21165" y="5"/>
                  <a:pt x="30217" y="5"/>
                </a:cubicBezTo>
                <a:close/>
                <a:moveTo>
                  <a:pt x="247862" y="5"/>
                </a:moveTo>
                <a:cubicBezTo>
                  <a:pt x="252122" y="5"/>
                  <a:pt x="256116" y="804"/>
                  <a:pt x="259577" y="2534"/>
                </a:cubicBezTo>
                <a:cubicBezTo>
                  <a:pt x="263304" y="4132"/>
                  <a:pt x="266366" y="6261"/>
                  <a:pt x="268895" y="8924"/>
                </a:cubicBezTo>
                <a:cubicBezTo>
                  <a:pt x="271557" y="11454"/>
                  <a:pt x="273554" y="14649"/>
                  <a:pt x="275018" y="18243"/>
                </a:cubicBezTo>
                <a:cubicBezTo>
                  <a:pt x="276482" y="21837"/>
                  <a:pt x="277281" y="25697"/>
                  <a:pt x="277281" y="29691"/>
                </a:cubicBezTo>
                <a:cubicBezTo>
                  <a:pt x="277281" y="33818"/>
                  <a:pt x="276482" y="37811"/>
                  <a:pt x="275018" y="41405"/>
                </a:cubicBezTo>
                <a:cubicBezTo>
                  <a:pt x="273554" y="45132"/>
                  <a:pt x="271424" y="48194"/>
                  <a:pt x="268895" y="50856"/>
                </a:cubicBezTo>
                <a:cubicBezTo>
                  <a:pt x="266232" y="53519"/>
                  <a:pt x="263171" y="55649"/>
                  <a:pt x="259577" y="57113"/>
                </a:cubicBezTo>
                <a:cubicBezTo>
                  <a:pt x="255982" y="58577"/>
                  <a:pt x="252122" y="59376"/>
                  <a:pt x="247862" y="59376"/>
                </a:cubicBezTo>
                <a:cubicBezTo>
                  <a:pt x="238944" y="59376"/>
                  <a:pt x="231622" y="56447"/>
                  <a:pt x="226030" y="50856"/>
                </a:cubicBezTo>
                <a:cubicBezTo>
                  <a:pt x="220439" y="45266"/>
                  <a:pt x="217644" y="38210"/>
                  <a:pt x="217644" y="29691"/>
                </a:cubicBezTo>
                <a:cubicBezTo>
                  <a:pt x="217644" y="21438"/>
                  <a:pt x="220439" y="14383"/>
                  <a:pt x="226030" y="8658"/>
                </a:cubicBezTo>
                <a:cubicBezTo>
                  <a:pt x="231622" y="2800"/>
                  <a:pt x="238810" y="5"/>
                  <a:pt x="247862" y="5"/>
                </a:cubicBezTo>
                <a:close/>
                <a:moveTo>
                  <a:pt x="465507" y="5"/>
                </a:moveTo>
                <a:cubicBezTo>
                  <a:pt x="469767" y="5"/>
                  <a:pt x="473627" y="804"/>
                  <a:pt x="477222" y="2534"/>
                </a:cubicBezTo>
                <a:cubicBezTo>
                  <a:pt x="480949" y="4132"/>
                  <a:pt x="484011" y="6261"/>
                  <a:pt x="486540" y="8924"/>
                </a:cubicBezTo>
                <a:cubicBezTo>
                  <a:pt x="489202" y="11453"/>
                  <a:pt x="491199" y="14649"/>
                  <a:pt x="492663" y="18243"/>
                </a:cubicBezTo>
                <a:cubicBezTo>
                  <a:pt x="494127" y="21837"/>
                  <a:pt x="494926" y="25697"/>
                  <a:pt x="494926" y="29691"/>
                </a:cubicBezTo>
                <a:cubicBezTo>
                  <a:pt x="494926" y="33818"/>
                  <a:pt x="494127" y="37811"/>
                  <a:pt x="492663" y="41405"/>
                </a:cubicBezTo>
                <a:cubicBezTo>
                  <a:pt x="491199" y="45132"/>
                  <a:pt x="489069" y="48194"/>
                  <a:pt x="486540" y="50856"/>
                </a:cubicBezTo>
                <a:cubicBezTo>
                  <a:pt x="483877" y="53519"/>
                  <a:pt x="480816" y="55649"/>
                  <a:pt x="477222" y="57113"/>
                </a:cubicBezTo>
                <a:cubicBezTo>
                  <a:pt x="473627" y="58577"/>
                  <a:pt x="469767" y="59376"/>
                  <a:pt x="465507" y="59376"/>
                </a:cubicBezTo>
                <a:cubicBezTo>
                  <a:pt x="456588" y="59376"/>
                  <a:pt x="449266" y="56447"/>
                  <a:pt x="443675" y="50856"/>
                </a:cubicBezTo>
                <a:cubicBezTo>
                  <a:pt x="438084" y="45266"/>
                  <a:pt x="435289" y="38210"/>
                  <a:pt x="435289" y="29691"/>
                </a:cubicBezTo>
                <a:cubicBezTo>
                  <a:pt x="435289" y="21438"/>
                  <a:pt x="438084" y="14382"/>
                  <a:pt x="443675" y="8658"/>
                </a:cubicBezTo>
                <a:cubicBezTo>
                  <a:pt x="449266" y="2800"/>
                  <a:pt x="456455" y="5"/>
                  <a:pt x="465507" y="5"/>
                </a:cubicBezTo>
                <a:close/>
                <a:moveTo>
                  <a:pt x="683151" y="5"/>
                </a:moveTo>
                <a:cubicBezTo>
                  <a:pt x="687411" y="5"/>
                  <a:pt x="691272" y="804"/>
                  <a:pt x="694867" y="2534"/>
                </a:cubicBezTo>
                <a:cubicBezTo>
                  <a:pt x="698594" y="4132"/>
                  <a:pt x="701656" y="6261"/>
                  <a:pt x="704185" y="8924"/>
                </a:cubicBezTo>
                <a:cubicBezTo>
                  <a:pt x="706847" y="11453"/>
                  <a:pt x="708844" y="14648"/>
                  <a:pt x="710308" y="18242"/>
                </a:cubicBezTo>
                <a:cubicBezTo>
                  <a:pt x="711772" y="21837"/>
                  <a:pt x="712571" y="25697"/>
                  <a:pt x="712571" y="29691"/>
                </a:cubicBezTo>
                <a:cubicBezTo>
                  <a:pt x="712571" y="33818"/>
                  <a:pt x="711772" y="37811"/>
                  <a:pt x="710308" y="41405"/>
                </a:cubicBezTo>
                <a:cubicBezTo>
                  <a:pt x="708844" y="45132"/>
                  <a:pt x="706714" y="48194"/>
                  <a:pt x="704185" y="50856"/>
                </a:cubicBezTo>
                <a:cubicBezTo>
                  <a:pt x="701656" y="53519"/>
                  <a:pt x="698461" y="55649"/>
                  <a:pt x="694867" y="57113"/>
                </a:cubicBezTo>
                <a:cubicBezTo>
                  <a:pt x="691272" y="58577"/>
                  <a:pt x="687411" y="59376"/>
                  <a:pt x="683151" y="59376"/>
                </a:cubicBezTo>
                <a:cubicBezTo>
                  <a:pt x="674233" y="59376"/>
                  <a:pt x="666911" y="56447"/>
                  <a:pt x="661320" y="50856"/>
                </a:cubicBezTo>
                <a:cubicBezTo>
                  <a:pt x="655729" y="45266"/>
                  <a:pt x="652934" y="38210"/>
                  <a:pt x="652934" y="29691"/>
                </a:cubicBezTo>
                <a:cubicBezTo>
                  <a:pt x="652934" y="21438"/>
                  <a:pt x="655729" y="14382"/>
                  <a:pt x="661320" y="8658"/>
                </a:cubicBezTo>
                <a:cubicBezTo>
                  <a:pt x="666911" y="2800"/>
                  <a:pt x="674100" y="5"/>
                  <a:pt x="683151" y="5"/>
                </a:cubicBezTo>
                <a:close/>
                <a:moveTo>
                  <a:pt x="900796" y="5"/>
                </a:moveTo>
                <a:cubicBezTo>
                  <a:pt x="904923" y="5"/>
                  <a:pt x="908917" y="804"/>
                  <a:pt x="912511" y="2534"/>
                </a:cubicBezTo>
                <a:cubicBezTo>
                  <a:pt x="916238" y="4132"/>
                  <a:pt x="919300" y="6261"/>
                  <a:pt x="921829" y="8924"/>
                </a:cubicBezTo>
                <a:cubicBezTo>
                  <a:pt x="924491" y="11453"/>
                  <a:pt x="926488" y="14648"/>
                  <a:pt x="927952" y="18242"/>
                </a:cubicBezTo>
                <a:cubicBezTo>
                  <a:pt x="929417" y="21836"/>
                  <a:pt x="930216" y="25696"/>
                  <a:pt x="930216" y="29691"/>
                </a:cubicBezTo>
                <a:cubicBezTo>
                  <a:pt x="930216" y="33818"/>
                  <a:pt x="929417" y="37811"/>
                  <a:pt x="927952" y="41405"/>
                </a:cubicBezTo>
                <a:cubicBezTo>
                  <a:pt x="926488" y="45132"/>
                  <a:pt x="924358" y="48194"/>
                  <a:pt x="921829" y="50856"/>
                </a:cubicBezTo>
                <a:cubicBezTo>
                  <a:pt x="919300" y="53519"/>
                  <a:pt x="916105" y="55649"/>
                  <a:pt x="912511" y="57113"/>
                </a:cubicBezTo>
                <a:cubicBezTo>
                  <a:pt x="908917" y="58577"/>
                  <a:pt x="905056" y="59376"/>
                  <a:pt x="900796" y="59376"/>
                </a:cubicBezTo>
                <a:cubicBezTo>
                  <a:pt x="891878" y="59376"/>
                  <a:pt x="884556" y="56447"/>
                  <a:pt x="878965" y="50856"/>
                </a:cubicBezTo>
                <a:cubicBezTo>
                  <a:pt x="873375" y="45266"/>
                  <a:pt x="870579" y="38210"/>
                  <a:pt x="870579" y="29691"/>
                </a:cubicBezTo>
                <a:cubicBezTo>
                  <a:pt x="870579" y="21437"/>
                  <a:pt x="873375" y="14382"/>
                  <a:pt x="878965" y="8658"/>
                </a:cubicBezTo>
                <a:cubicBezTo>
                  <a:pt x="884556" y="2800"/>
                  <a:pt x="891745" y="5"/>
                  <a:pt x="900796" y="5"/>
                </a:cubicBezTo>
                <a:close/>
                <a:moveTo>
                  <a:pt x="1118308" y="5"/>
                </a:moveTo>
                <a:cubicBezTo>
                  <a:pt x="1122568" y="5"/>
                  <a:pt x="1126562" y="804"/>
                  <a:pt x="1130023" y="2534"/>
                </a:cubicBezTo>
                <a:cubicBezTo>
                  <a:pt x="1133750" y="4132"/>
                  <a:pt x="1136812" y="6261"/>
                  <a:pt x="1139342" y="8924"/>
                </a:cubicBezTo>
                <a:cubicBezTo>
                  <a:pt x="1142003" y="11453"/>
                  <a:pt x="1144000" y="14648"/>
                  <a:pt x="1145464" y="18242"/>
                </a:cubicBezTo>
                <a:cubicBezTo>
                  <a:pt x="1146929" y="21836"/>
                  <a:pt x="1147727" y="25696"/>
                  <a:pt x="1147727" y="29690"/>
                </a:cubicBezTo>
                <a:cubicBezTo>
                  <a:pt x="1147727" y="33818"/>
                  <a:pt x="1146929" y="37811"/>
                  <a:pt x="1145464" y="41405"/>
                </a:cubicBezTo>
                <a:cubicBezTo>
                  <a:pt x="1144000" y="45132"/>
                  <a:pt x="1141870" y="48194"/>
                  <a:pt x="1139342" y="50856"/>
                </a:cubicBezTo>
                <a:cubicBezTo>
                  <a:pt x="1136812" y="53519"/>
                  <a:pt x="1133617" y="55649"/>
                  <a:pt x="1130023" y="57113"/>
                </a:cubicBezTo>
                <a:cubicBezTo>
                  <a:pt x="1126428" y="58577"/>
                  <a:pt x="1122568" y="59376"/>
                  <a:pt x="1118308" y="59376"/>
                </a:cubicBezTo>
                <a:cubicBezTo>
                  <a:pt x="1109390" y="59376"/>
                  <a:pt x="1102067" y="56447"/>
                  <a:pt x="1096476" y="50856"/>
                </a:cubicBezTo>
                <a:cubicBezTo>
                  <a:pt x="1090885" y="45266"/>
                  <a:pt x="1088090" y="38210"/>
                  <a:pt x="1088090" y="29690"/>
                </a:cubicBezTo>
                <a:cubicBezTo>
                  <a:pt x="1088090" y="21437"/>
                  <a:pt x="1090885" y="14382"/>
                  <a:pt x="1096476" y="8658"/>
                </a:cubicBezTo>
                <a:cubicBezTo>
                  <a:pt x="1102067" y="2800"/>
                  <a:pt x="1109256" y="5"/>
                  <a:pt x="1118308" y="5"/>
                </a:cubicBezTo>
                <a:close/>
                <a:moveTo>
                  <a:pt x="1335953" y="5"/>
                </a:moveTo>
                <a:cubicBezTo>
                  <a:pt x="1340213" y="5"/>
                  <a:pt x="1344073" y="937"/>
                  <a:pt x="1347668" y="2534"/>
                </a:cubicBezTo>
                <a:cubicBezTo>
                  <a:pt x="1351262" y="4132"/>
                  <a:pt x="1354456" y="6261"/>
                  <a:pt x="1356986" y="8924"/>
                </a:cubicBezTo>
                <a:cubicBezTo>
                  <a:pt x="1359648" y="11453"/>
                  <a:pt x="1361645" y="14648"/>
                  <a:pt x="1363109" y="18242"/>
                </a:cubicBezTo>
                <a:cubicBezTo>
                  <a:pt x="1364573" y="21836"/>
                  <a:pt x="1365372" y="25696"/>
                  <a:pt x="1365372" y="29690"/>
                </a:cubicBezTo>
                <a:cubicBezTo>
                  <a:pt x="1365372" y="33817"/>
                  <a:pt x="1364573" y="37811"/>
                  <a:pt x="1363109" y="41405"/>
                </a:cubicBezTo>
                <a:cubicBezTo>
                  <a:pt x="1361645" y="45132"/>
                  <a:pt x="1359515" y="48194"/>
                  <a:pt x="1356986" y="50856"/>
                </a:cubicBezTo>
                <a:cubicBezTo>
                  <a:pt x="1354323" y="53519"/>
                  <a:pt x="1351262" y="55649"/>
                  <a:pt x="1347668" y="57113"/>
                </a:cubicBezTo>
                <a:cubicBezTo>
                  <a:pt x="1344073" y="58577"/>
                  <a:pt x="1340213" y="59376"/>
                  <a:pt x="1335953" y="59376"/>
                </a:cubicBezTo>
                <a:cubicBezTo>
                  <a:pt x="1327034" y="59376"/>
                  <a:pt x="1319712" y="56447"/>
                  <a:pt x="1314121" y="50856"/>
                </a:cubicBezTo>
                <a:cubicBezTo>
                  <a:pt x="1308530" y="45266"/>
                  <a:pt x="1305735" y="38210"/>
                  <a:pt x="1305735" y="29690"/>
                </a:cubicBezTo>
                <a:cubicBezTo>
                  <a:pt x="1305735" y="21437"/>
                  <a:pt x="1308530" y="14382"/>
                  <a:pt x="1314121" y="8658"/>
                </a:cubicBezTo>
                <a:cubicBezTo>
                  <a:pt x="1319712" y="2800"/>
                  <a:pt x="1326901" y="5"/>
                  <a:pt x="1335953" y="5"/>
                </a:cubicBezTo>
                <a:close/>
                <a:moveTo>
                  <a:pt x="1553598" y="5"/>
                </a:moveTo>
                <a:cubicBezTo>
                  <a:pt x="1557858" y="5"/>
                  <a:pt x="1561719" y="937"/>
                  <a:pt x="1565313" y="2534"/>
                </a:cubicBezTo>
                <a:cubicBezTo>
                  <a:pt x="1568907" y="4132"/>
                  <a:pt x="1572102" y="6261"/>
                  <a:pt x="1574631" y="8924"/>
                </a:cubicBezTo>
                <a:cubicBezTo>
                  <a:pt x="1577293" y="11453"/>
                  <a:pt x="1579290" y="14648"/>
                  <a:pt x="1580754" y="18242"/>
                </a:cubicBezTo>
                <a:cubicBezTo>
                  <a:pt x="1582218" y="21836"/>
                  <a:pt x="1583017" y="25696"/>
                  <a:pt x="1583017" y="29690"/>
                </a:cubicBezTo>
                <a:cubicBezTo>
                  <a:pt x="1583017" y="33817"/>
                  <a:pt x="1582218" y="37810"/>
                  <a:pt x="1580754" y="41404"/>
                </a:cubicBezTo>
                <a:cubicBezTo>
                  <a:pt x="1579290" y="45132"/>
                  <a:pt x="1577160" y="48194"/>
                  <a:pt x="1574631" y="50856"/>
                </a:cubicBezTo>
                <a:cubicBezTo>
                  <a:pt x="1571969" y="53519"/>
                  <a:pt x="1568907" y="55649"/>
                  <a:pt x="1565313" y="57113"/>
                </a:cubicBezTo>
                <a:cubicBezTo>
                  <a:pt x="1561719" y="58577"/>
                  <a:pt x="1557858" y="59376"/>
                  <a:pt x="1553598" y="59376"/>
                </a:cubicBezTo>
                <a:cubicBezTo>
                  <a:pt x="1544679" y="59376"/>
                  <a:pt x="1537357" y="56447"/>
                  <a:pt x="1531766" y="50856"/>
                </a:cubicBezTo>
                <a:cubicBezTo>
                  <a:pt x="1526176" y="45265"/>
                  <a:pt x="1523380" y="38209"/>
                  <a:pt x="1523380" y="29690"/>
                </a:cubicBezTo>
                <a:cubicBezTo>
                  <a:pt x="1523380" y="21437"/>
                  <a:pt x="1526176" y="14382"/>
                  <a:pt x="1531766" y="8658"/>
                </a:cubicBezTo>
                <a:cubicBezTo>
                  <a:pt x="1537357" y="2800"/>
                  <a:pt x="1544545" y="5"/>
                  <a:pt x="1553598" y="5"/>
                </a:cubicBezTo>
                <a:close/>
                <a:moveTo>
                  <a:pt x="1771243" y="5"/>
                </a:moveTo>
                <a:cubicBezTo>
                  <a:pt x="1775503" y="5"/>
                  <a:pt x="1779363" y="804"/>
                  <a:pt x="1782958" y="2534"/>
                </a:cubicBezTo>
                <a:cubicBezTo>
                  <a:pt x="1786685" y="4132"/>
                  <a:pt x="1789747" y="6261"/>
                  <a:pt x="1792276" y="8924"/>
                </a:cubicBezTo>
                <a:cubicBezTo>
                  <a:pt x="1794938" y="11453"/>
                  <a:pt x="1796936" y="14648"/>
                  <a:pt x="1798400" y="18242"/>
                </a:cubicBezTo>
                <a:cubicBezTo>
                  <a:pt x="1799864" y="21836"/>
                  <a:pt x="1800663" y="25696"/>
                  <a:pt x="1800663" y="29690"/>
                </a:cubicBezTo>
                <a:cubicBezTo>
                  <a:pt x="1800663" y="33817"/>
                  <a:pt x="1799864" y="37810"/>
                  <a:pt x="1798400" y="41404"/>
                </a:cubicBezTo>
                <a:cubicBezTo>
                  <a:pt x="1796936" y="45131"/>
                  <a:pt x="1794806" y="48193"/>
                  <a:pt x="1792276" y="50856"/>
                </a:cubicBezTo>
                <a:cubicBezTo>
                  <a:pt x="1789613" y="53519"/>
                  <a:pt x="1786553" y="55649"/>
                  <a:pt x="1782958" y="57113"/>
                </a:cubicBezTo>
                <a:cubicBezTo>
                  <a:pt x="1779363" y="58577"/>
                  <a:pt x="1775503" y="59376"/>
                  <a:pt x="1771243" y="59376"/>
                </a:cubicBezTo>
                <a:cubicBezTo>
                  <a:pt x="1762324" y="59376"/>
                  <a:pt x="1755003" y="56447"/>
                  <a:pt x="1749412" y="50856"/>
                </a:cubicBezTo>
                <a:cubicBezTo>
                  <a:pt x="1743821" y="45265"/>
                  <a:pt x="1741026" y="38209"/>
                  <a:pt x="1741026" y="29690"/>
                </a:cubicBezTo>
                <a:cubicBezTo>
                  <a:pt x="1741026" y="21437"/>
                  <a:pt x="1743821" y="14382"/>
                  <a:pt x="1749412" y="8658"/>
                </a:cubicBezTo>
                <a:cubicBezTo>
                  <a:pt x="1755003" y="2800"/>
                  <a:pt x="1762191" y="5"/>
                  <a:pt x="1771243" y="5"/>
                </a:cubicBezTo>
                <a:close/>
                <a:moveTo>
                  <a:pt x="1988888" y="4"/>
                </a:moveTo>
                <a:cubicBezTo>
                  <a:pt x="1993015" y="4"/>
                  <a:pt x="1997009" y="803"/>
                  <a:pt x="2000603" y="2534"/>
                </a:cubicBezTo>
                <a:cubicBezTo>
                  <a:pt x="2004330" y="4131"/>
                  <a:pt x="2007392" y="6261"/>
                  <a:pt x="2009921" y="8924"/>
                </a:cubicBezTo>
                <a:cubicBezTo>
                  <a:pt x="2012583" y="11453"/>
                  <a:pt x="2014580" y="14648"/>
                  <a:pt x="2016044" y="18242"/>
                </a:cubicBezTo>
                <a:cubicBezTo>
                  <a:pt x="2017508" y="21836"/>
                  <a:pt x="2018307" y="25696"/>
                  <a:pt x="2018307" y="29690"/>
                </a:cubicBezTo>
                <a:cubicBezTo>
                  <a:pt x="2018307" y="33817"/>
                  <a:pt x="2017508" y="37810"/>
                  <a:pt x="2016044" y="41404"/>
                </a:cubicBezTo>
                <a:cubicBezTo>
                  <a:pt x="2014580" y="45131"/>
                  <a:pt x="2012450" y="48193"/>
                  <a:pt x="2009921" y="50855"/>
                </a:cubicBezTo>
                <a:cubicBezTo>
                  <a:pt x="2007392" y="53518"/>
                  <a:pt x="2004197" y="55648"/>
                  <a:pt x="2000603" y="57113"/>
                </a:cubicBezTo>
                <a:cubicBezTo>
                  <a:pt x="1997009" y="58577"/>
                  <a:pt x="1993148" y="59376"/>
                  <a:pt x="1988888" y="59376"/>
                </a:cubicBezTo>
                <a:cubicBezTo>
                  <a:pt x="1979836" y="59376"/>
                  <a:pt x="1972647" y="56446"/>
                  <a:pt x="1967056" y="50855"/>
                </a:cubicBezTo>
                <a:cubicBezTo>
                  <a:pt x="1961466" y="45265"/>
                  <a:pt x="1958670" y="38209"/>
                  <a:pt x="1958670" y="29690"/>
                </a:cubicBezTo>
                <a:cubicBezTo>
                  <a:pt x="1958670" y="21437"/>
                  <a:pt x="1961466" y="14382"/>
                  <a:pt x="1967056" y="8658"/>
                </a:cubicBezTo>
                <a:cubicBezTo>
                  <a:pt x="1972647" y="2799"/>
                  <a:pt x="1979836" y="4"/>
                  <a:pt x="1988888" y="4"/>
                </a:cubicBezTo>
                <a:close/>
                <a:moveTo>
                  <a:pt x="2206400" y="4"/>
                </a:moveTo>
                <a:cubicBezTo>
                  <a:pt x="2210660" y="4"/>
                  <a:pt x="2214654" y="803"/>
                  <a:pt x="2218115" y="2533"/>
                </a:cubicBezTo>
                <a:cubicBezTo>
                  <a:pt x="2221842" y="4131"/>
                  <a:pt x="2224903" y="6260"/>
                  <a:pt x="2227434" y="8923"/>
                </a:cubicBezTo>
                <a:cubicBezTo>
                  <a:pt x="2230096" y="11453"/>
                  <a:pt x="2232093" y="14648"/>
                  <a:pt x="2233556" y="18242"/>
                </a:cubicBezTo>
                <a:cubicBezTo>
                  <a:pt x="2235020" y="21836"/>
                  <a:pt x="2235819" y="25696"/>
                  <a:pt x="2235819" y="29690"/>
                </a:cubicBezTo>
                <a:cubicBezTo>
                  <a:pt x="2235819" y="33817"/>
                  <a:pt x="2235020" y="37810"/>
                  <a:pt x="2233556" y="41404"/>
                </a:cubicBezTo>
                <a:cubicBezTo>
                  <a:pt x="2232093" y="45131"/>
                  <a:pt x="2229962" y="48193"/>
                  <a:pt x="2227434" y="50855"/>
                </a:cubicBezTo>
                <a:cubicBezTo>
                  <a:pt x="2224903" y="53518"/>
                  <a:pt x="2221709" y="55648"/>
                  <a:pt x="2218115" y="57112"/>
                </a:cubicBezTo>
                <a:cubicBezTo>
                  <a:pt x="2214520" y="58576"/>
                  <a:pt x="2210660" y="59375"/>
                  <a:pt x="2206400" y="59375"/>
                </a:cubicBezTo>
                <a:cubicBezTo>
                  <a:pt x="2197348" y="59375"/>
                  <a:pt x="2190159" y="56446"/>
                  <a:pt x="2184569" y="50855"/>
                </a:cubicBezTo>
                <a:cubicBezTo>
                  <a:pt x="2178977" y="45265"/>
                  <a:pt x="2176183" y="38209"/>
                  <a:pt x="2176183" y="29690"/>
                </a:cubicBezTo>
                <a:cubicBezTo>
                  <a:pt x="2176183" y="21437"/>
                  <a:pt x="2178977" y="14382"/>
                  <a:pt x="2184569" y="8657"/>
                </a:cubicBezTo>
                <a:cubicBezTo>
                  <a:pt x="2190159" y="2799"/>
                  <a:pt x="2197348" y="4"/>
                  <a:pt x="2206400" y="4"/>
                </a:cubicBezTo>
                <a:close/>
                <a:moveTo>
                  <a:pt x="2424045" y="4"/>
                </a:moveTo>
                <a:cubicBezTo>
                  <a:pt x="2428306" y="4"/>
                  <a:pt x="2432300" y="803"/>
                  <a:pt x="2435761" y="2533"/>
                </a:cubicBezTo>
                <a:cubicBezTo>
                  <a:pt x="2439488" y="4131"/>
                  <a:pt x="2442550" y="6260"/>
                  <a:pt x="2445079" y="8923"/>
                </a:cubicBezTo>
                <a:cubicBezTo>
                  <a:pt x="2447741" y="11452"/>
                  <a:pt x="2449738" y="14648"/>
                  <a:pt x="2451202" y="18242"/>
                </a:cubicBezTo>
                <a:cubicBezTo>
                  <a:pt x="2452666" y="21836"/>
                  <a:pt x="2453465" y="25696"/>
                  <a:pt x="2453465" y="29690"/>
                </a:cubicBezTo>
                <a:cubicBezTo>
                  <a:pt x="2453465" y="33817"/>
                  <a:pt x="2452666" y="37810"/>
                  <a:pt x="2451202" y="41404"/>
                </a:cubicBezTo>
                <a:cubicBezTo>
                  <a:pt x="2449738" y="45131"/>
                  <a:pt x="2447608" y="48193"/>
                  <a:pt x="2445079" y="50855"/>
                </a:cubicBezTo>
                <a:cubicBezTo>
                  <a:pt x="2442550" y="53518"/>
                  <a:pt x="2439355" y="55648"/>
                  <a:pt x="2435761" y="57112"/>
                </a:cubicBezTo>
                <a:cubicBezTo>
                  <a:pt x="2432166" y="58576"/>
                  <a:pt x="2428306" y="59375"/>
                  <a:pt x="2424045" y="59375"/>
                </a:cubicBezTo>
                <a:cubicBezTo>
                  <a:pt x="2415127" y="59375"/>
                  <a:pt x="2407805" y="56446"/>
                  <a:pt x="2402214" y="50855"/>
                </a:cubicBezTo>
                <a:cubicBezTo>
                  <a:pt x="2396624" y="45265"/>
                  <a:pt x="2393828" y="38209"/>
                  <a:pt x="2393828" y="29690"/>
                </a:cubicBezTo>
                <a:cubicBezTo>
                  <a:pt x="2393828" y="21437"/>
                  <a:pt x="2396624" y="14381"/>
                  <a:pt x="2402214" y="8657"/>
                </a:cubicBezTo>
                <a:cubicBezTo>
                  <a:pt x="2407805" y="2799"/>
                  <a:pt x="2414993" y="4"/>
                  <a:pt x="2424045" y="4"/>
                </a:cubicBezTo>
                <a:close/>
                <a:moveTo>
                  <a:pt x="2641691" y="4"/>
                </a:moveTo>
                <a:cubicBezTo>
                  <a:pt x="2645951" y="4"/>
                  <a:pt x="2649811" y="803"/>
                  <a:pt x="2653406" y="2533"/>
                </a:cubicBezTo>
                <a:cubicBezTo>
                  <a:pt x="2657133" y="4131"/>
                  <a:pt x="2660195" y="6260"/>
                  <a:pt x="2662724" y="8923"/>
                </a:cubicBezTo>
                <a:cubicBezTo>
                  <a:pt x="2665386" y="11452"/>
                  <a:pt x="2667383" y="14647"/>
                  <a:pt x="2668847" y="18241"/>
                </a:cubicBezTo>
                <a:cubicBezTo>
                  <a:pt x="2670311" y="21836"/>
                  <a:pt x="2671110" y="25696"/>
                  <a:pt x="2671110" y="29690"/>
                </a:cubicBezTo>
                <a:cubicBezTo>
                  <a:pt x="2671110" y="33817"/>
                  <a:pt x="2670311" y="37810"/>
                  <a:pt x="2668847" y="41404"/>
                </a:cubicBezTo>
                <a:cubicBezTo>
                  <a:pt x="2667383" y="45131"/>
                  <a:pt x="2665253" y="48193"/>
                  <a:pt x="2662724" y="50855"/>
                </a:cubicBezTo>
                <a:cubicBezTo>
                  <a:pt x="2660195" y="53518"/>
                  <a:pt x="2657000" y="55648"/>
                  <a:pt x="2653406" y="57112"/>
                </a:cubicBezTo>
                <a:cubicBezTo>
                  <a:pt x="2649811" y="58576"/>
                  <a:pt x="2645951" y="59375"/>
                  <a:pt x="2641691" y="59375"/>
                </a:cubicBezTo>
                <a:cubicBezTo>
                  <a:pt x="2632771" y="59375"/>
                  <a:pt x="2625450" y="56446"/>
                  <a:pt x="2619859" y="50855"/>
                </a:cubicBezTo>
                <a:cubicBezTo>
                  <a:pt x="2614268" y="45265"/>
                  <a:pt x="2611473" y="38209"/>
                  <a:pt x="2611473" y="29690"/>
                </a:cubicBezTo>
                <a:cubicBezTo>
                  <a:pt x="2611473" y="21437"/>
                  <a:pt x="2614268" y="14381"/>
                  <a:pt x="2619859" y="8657"/>
                </a:cubicBezTo>
                <a:cubicBezTo>
                  <a:pt x="2625450" y="2799"/>
                  <a:pt x="2632639" y="4"/>
                  <a:pt x="2641691" y="4"/>
                </a:cubicBezTo>
                <a:close/>
                <a:moveTo>
                  <a:pt x="2859336" y="4"/>
                </a:moveTo>
                <a:cubicBezTo>
                  <a:pt x="2863596" y="4"/>
                  <a:pt x="2867457" y="803"/>
                  <a:pt x="2871184" y="2533"/>
                </a:cubicBezTo>
                <a:cubicBezTo>
                  <a:pt x="2874911" y="4131"/>
                  <a:pt x="2877973" y="6260"/>
                  <a:pt x="2880502" y="8923"/>
                </a:cubicBezTo>
                <a:cubicBezTo>
                  <a:pt x="2883164" y="11452"/>
                  <a:pt x="2885162" y="14647"/>
                  <a:pt x="2886626" y="18241"/>
                </a:cubicBezTo>
                <a:cubicBezTo>
                  <a:pt x="2888090" y="21835"/>
                  <a:pt x="2888889" y="25695"/>
                  <a:pt x="2888889" y="29690"/>
                </a:cubicBezTo>
                <a:cubicBezTo>
                  <a:pt x="2888889" y="33817"/>
                  <a:pt x="2888090" y="37810"/>
                  <a:pt x="2886626" y="41404"/>
                </a:cubicBezTo>
                <a:cubicBezTo>
                  <a:pt x="2885162" y="45131"/>
                  <a:pt x="2883031" y="48193"/>
                  <a:pt x="2880502" y="50855"/>
                </a:cubicBezTo>
                <a:cubicBezTo>
                  <a:pt x="2877841" y="53518"/>
                  <a:pt x="2874778" y="55648"/>
                  <a:pt x="2871184" y="57112"/>
                </a:cubicBezTo>
                <a:cubicBezTo>
                  <a:pt x="2867457" y="58576"/>
                  <a:pt x="2863596" y="59375"/>
                  <a:pt x="2859336" y="59375"/>
                </a:cubicBezTo>
                <a:cubicBezTo>
                  <a:pt x="2850418" y="59375"/>
                  <a:pt x="2843096" y="56446"/>
                  <a:pt x="2837505" y="50855"/>
                </a:cubicBezTo>
                <a:cubicBezTo>
                  <a:pt x="2831914" y="45265"/>
                  <a:pt x="2829119" y="38209"/>
                  <a:pt x="2829119" y="29690"/>
                </a:cubicBezTo>
                <a:cubicBezTo>
                  <a:pt x="2829119" y="21436"/>
                  <a:pt x="2831914" y="14381"/>
                  <a:pt x="2837505" y="8657"/>
                </a:cubicBezTo>
                <a:cubicBezTo>
                  <a:pt x="2843096" y="2799"/>
                  <a:pt x="2850285" y="4"/>
                  <a:pt x="2859336" y="4"/>
                </a:cubicBezTo>
                <a:close/>
                <a:moveTo>
                  <a:pt x="3076981" y="4"/>
                </a:moveTo>
                <a:cubicBezTo>
                  <a:pt x="3081109" y="4"/>
                  <a:pt x="3085102" y="936"/>
                  <a:pt x="3088696" y="2533"/>
                </a:cubicBezTo>
                <a:cubicBezTo>
                  <a:pt x="3092291" y="4131"/>
                  <a:pt x="3095486" y="6260"/>
                  <a:pt x="3098014" y="8923"/>
                </a:cubicBezTo>
                <a:cubicBezTo>
                  <a:pt x="3100544" y="11452"/>
                  <a:pt x="3102674" y="14647"/>
                  <a:pt x="3104138" y="18241"/>
                </a:cubicBezTo>
                <a:cubicBezTo>
                  <a:pt x="3105603" y="21835"/>
                  <a:pt x="3106401" y="25695"/>
                  <a:pt x="3106401" y="29689"/>
                </a:cubicBezTo>
                <a:cubicBezTo>
                  <a:pt x="3106401" y="33817"/>
                  <a:pt x="3105603" y="37810"/>
                  <a:pt x="3104138" y="41404"/>
                </a:cubicBezTo>
                <a:cubicBezTo>
                  <a:pt x="3102674" y="45131"/>
                  <a:pt x="3100544" y="48193"/>
                  <a:pt x="3098014" y="50855"/>
                </a:cubicBezTo>
                <a:cubicBezTo>
                  <a:pt x="3095352" y="53518"/>
                  <a:pt x="3092291" y="55648"/>
                  <a:pt x="3088696" y="57112"/>
                </a:cubicBezTo>
                <a:cubicBezTo>
                  <a:pt x="3085102" y="58576"/>
                  <a:pt x="3081241" y="59375"/>
                  <a:pt x="3076981" y="59375"/>
                </a:cubicBezTo>
                <a:cubicBezTo>
                  <a:pt x="3068063" y="59375"/>
                  <a:pt x="3060741" y="56446"/>
                  <a:pt x="3055150" y="50855"/>
                </a:cubicBezTo>
                <a:cubicBezTo>
                  <a:pt x="3049559" y="45265"/>
                  <a:pt x="3046763" y="38209"/>
                  <a:pt x="3046763" y="29689"/>
                </a:cubicBezTo>
                <a:cubicBezTo>
                  <a:pt x="3046763" y="21436"/>
                  <a:pt x="3049559" y="14381"/>
                  <a:pt x="3055150" y="8657"/>
                </a:cubicBezTo>
                <a:cubicBezTo>
                  <a:pt x="3060741" y="2799"/>
                  <a:pt x="3067929" y="4"/>
                  <a:pt x="3076981" y="4"/>
                </a:cubicBezTo>
                <a:close/>
                <a:moveTo>
                  <a:pt x="3294626" y="4"/>
                </a:moveTo>
                <a:cubicBezTo>
                  <a:pt x="3298753" y="4"/>
                  <a:pt x="3302748" y="803"/>
                  <a:pt x="3306342" y="2533"/>
                </a:cubicBezTo>
                <a:cubicBezTo>
                  <a:pt x="3310069" y="4131"/>
                  <a:pt x="3313131" y="6260"/>
                  <a:pt x="3315660" y="8923"/>
                </a:cubicBezTo>
                <a:cubicBezTo>
                  <a:pt x="3318189" y="11452"/>
                  <a:pt x="3320319" y="14647"/>
                  <a:pt x="3321783" y="18241"/>
                </a:cubicBezTo>
                <a:cubicBezTo>
                  <a:pt x="3323247" y="21835"/>
                  <a:pt x="3324046" y="25695"/>
                  <a:pt x="3324046" y="29689"/>
                </a:cubicBezTo>
                <a:cubicBezTo>
                  <a:pt x="3324046" y="33816"/>
                  <a:pt x="3323247" y="37810"/>
                  <a:pt x="3321783" y="41404"/>
                </a:cubicBezTo>
                <a:cubicBezTo>
                  <a:pt x="3320319" y="45131"/>
                  <a:pt x="3318189" y="48193"/>
                  <a:pt x="3315660" y="50855"/>
                </a:cubicBezTo>
                <a:cubicBezTo>
                  <a:pt x="3312997" y="53518"/>
                  <a:pt x="3309936" y="55648"/>
                  <a:pt x="3306342" y="57112"/>
                </a:cubicBezTo>
                <a:cubicBezTo>
                  <a:pt x="3302748" y="58576"/>
                  <a:pt x="3298887" y="59375"/>
                  <a:pt x="3294626" y="59375"/>
                </a:cubicBezTo>
                <a:cubicBezTo>
                  <a:pt x="3285575" y="59375"/>
                  <a:pt x="3278386" y="56446"/>
                  <a:pt x="3272795" y="50855"/>
                </a:cubicBezTo>
                <a:cubicBezTo>
                  <a:pt x="3267204" y="45265"/>
                  <a:pt x="3264409" y="38209"/>
                  <a:pt x="3264409" y="29689"/>
                </a:cubicBezTo>
                <a:cubicBezTo>
                  <a:pt x="3264409" y="21436"/>
                  <a:pt x="3267204" y="14381"/>
                  <a:pt x="3272795" y="8657"/>
                </a:cubicBezTo>
                <a:cubicBezTo>
                  <a:pt x="3278386" y="2799"/>
                  <a:pt x="3285575" y="4"/>
                  <a:pt x="3294626" y="4"/>
                </a:cubicBezTo>
                <a:close/>
                <a:moveTo>
                  <a:pt x="3512138" y="4"/>
                </a:moveTo>
                <a:cubicBezTo>
                  <a:pt x="3516399" y="4"/>
                  <a:pt x="3520260" y="936"/>
                  <a:pt x="3523854" y="2533"/>
                </a:cubicBezTo>
                <a:cubicBezTo>
                  <a:pt x="3527448" y="4131"/>
                  <a:pt x="3530643" y="6260"/>
                  <a:pt x="3533172" y="8923"/>
                </a:cubicBezTo>
                <a:cubicBezTo>
                  <a:pt x="3535701" y="11452"/>
                  <a:pt x="3537831" y="14647"/>
                  <a:pt x="3539295" y="18241"/>
                </a:cubicBezTo>
                <a:cubicBezTo>
                  <a:pt x="3540759" y="21835"/>
                  <a:pt x="3541558" y="25695"/>
                  <a:pt x="3541558" y="29689"/>
                </a:cubicBezTo>
                <a:cubicBezTo>
                  <a:pt x="3541558" y="33816"/>
                  <a:pt x="3540759" y="37809"/>
                  <a:pt x="3539295" y="41403"/>
                </a:cubicBezTo>
                <a:cubicBezTo>
                  <a:pt x="3537831" y="45131"/>
                  <a:pt x="3535701" y="48193"/>
                  <a:pt x="3533172" y="50855"/>
                </a:cubicBezTo>
                <a:cubicBezTo>
                  <a:pt x="3530509" y="53518"/>
                  <a:pt x="3527448" y="55648"/>
                  <a:pt x="3523854" y="57112"/>
                </a:cubicBezTo>
                <a:cubicBezTo>
                  <a:pt x="3520260" y="58576"/>
                  <a:pt x="3516399" y="59375"/>
                  <a:pt x="3512138" y="59375"/>
                </a:cubicBezTo>
                <a:cubicBezTo>
                  <a:pt x="3503087" y="59375"/>
                  <a:pt x="3495898" y="56446"/>
                  <a:pt x="3490307" y="50855"/>
                </a:cubicBezTo>
                <a:cubicBezTo>
                  <a:pt x="3484716" y="45264"/>
                  <a:pt x="3481921" y="38208"/>
                  <a:pt x="3481921" y="29689"/>
                </a:cubicBezTo>
                <a:cubicBezTo>
                  <a:pt x="3481921" y="21436"/>
                  <a:pt x="3484716" y="14381"/>
                  <a:pt x="3490307" y="8657"/>
                </a:cubicBezTo>
                <a:cubicBezTo>
                  <a:pt x="3495898" y="2799"/>
                  <a:pt x="3503087" y="4"/>
                  <a:pt x="3512138" y="4"/>
                </a:cubicBezTo>
                <a:close/>
                <a:moveTo>
                  <a:pt x="3729784" y="4"/>
                </a:moveTo>
                <a:cubicBezTo>
                  <a:pt x="3734044" y="4"/>
                  <a:pt x="3737905" y="936"/>
                  <a:pt x="3741499" y="2533"/>
                </a:cubicBezTo>
                <a:cubicBezTo>
                  <a:pt x="3745093" y="4131"/>
                  <a:pt x="3748288" y="6260"/>
                  <a:pt x="3750817" y="8923"/>
                </a:cubicBezTo>
                <a:cubicBezTo>
                  <a:pt x="3753347" y="11452"/>
                  <a:pt x="3755476" y="14647"/>
                  <a:pt x="3756940" y="18241"/>
                </a:cubicBezTo>
                <a:cubicBezTo>
                  <a:pt x="3758404" y="21835"/>
                  <a:pt x="3759203" y="25695"/>
                  <a:pt x="3759203" y="29689"/>
                </a:cubicBezTo>
                <a:cubicBezTo>
                  <a:pt x="3759203" y="33816"/>
                  <a:pt x="3758404" y="37809"/>
                  <a:pt x="3756940" y="41403"/>
                </a:cubicBezTo>
                <a:cubicBezTo>
                  <a:pt x="3755476" y="45130"/>
                  <a:pt x="3753347" y="48192"/>
                  <a:pt x="3750817" y="50855"/>
                </a:cubicBezTo>
                <a:cubicBezTo>
                  <a:pt x="3748154" y="53518"/>
                  <a:pt x="3745093" y="55648"/>
                  <a:pt x="3741499" y="57112"/>
                </a:cubicBezTo>
                <a:cubicBezTo>
                  <a:pt x="3737905" y="58576"/>
                  <a:pt x="3734044" y="59375"/>
                  <a:pt x="3729784" y="59375"/>
                </a:cubicBezTo>
                <a:cubicBezTo>
                  <a:pt x="3720732" y="59375"/>
                  <a:pt x="3713544" y="56446"/>
                  <a:pt x="3707953" y="50855"/>
                </a:cubicBezTo>
                <a:cubicBezTo>
                  <a:pt x="3702361" y="45264"/>
                  <a:pt x="3699566" y="38208"/>
                  <a:pt x="3699566" y="29689"/>
                </a:cubicBezTo>
                <a:cubicBezTo>
                  <a:pt x="3699566" y="21436"/>
                  <a:pt x="3702361" y="14381"/>
                  <a:pt x="3707953" y="8657"/>
                </a:cubicBezTo>
                <a:cubicBezTo>
                  <a:pt x="3713544" y="2799"/>
                  <a:pt x="3720732" y="4"/>
                  <a:pt x="3729784" y="4"/>
                </a:cubicBezTo>
                <a:close/>
                <a:moveTo>
                  <a:pt x="3947430" y="3"/>
                </a:moveTo>
                <a:cubicBezTo>
                  <a:pt x="3951690" y="3"/>
                  <a:pt x="3955550" y="802"/>
                  <a:pt x="3959145" y="2533"/>
                </a:cubicBezTo>
                <a:cubicBezTo>
                  <a:pt x="3962873" y="4130"/>
                  <a:pt x="3965933" y="6260"/>
                  <a:pt x="3968462" y="8923"/>
                </a:cubicBezTo>
                <a:cubicBezTo>
                  <a:pt x="3970993" y="11452"/>
                  <a:pt x="3973122" y="14647"/>
                  <a:pt x="3974586" y="18241"/>
                </a:cubicBezTo>
                <a:cubicBezTo>
                  <a:pt x="3976051" y="21835"/>
                  <a:pt x="3976850" y="25695"/>
                  <a:pt x="3976850" y="29689"/>
                </a:cubicBezTo>
                <a:cubicBezTo>
                  <a:pt x="3976850" y="33816"/>
                  <a:pt x="3976051" y="37809"/>
                  <a:pt x="3974586" y="41403"/>
                </a:cubicBezTo>
                <a:cubicBezTo>
                  <a:pt x="3973122" y="45130"/>
                  <a:pt x="3970993" y="48192"/>
                  <a:pt x="3968462" y="50854"/>
                </a:cubicBezTo>
                <a:cubicBezTo>
                  <a:pt x="3965800" y="53517"/>
                  <a:pt x="3962739" y="55647"/>
                  <a:pt x="3959145" y="57112"/>
                </a:cubicBezTo>
                <a:cubicBezTo>
                  <a:pt x="3955550" y="58576"/>
                  <a:pt x="3951690" y="59375"/>
                  <a:pt x="3947430" y="59375"/>
                </a:cubicBezTo>
                <a:cubicBezTo>
                  <a:pt x="3938378" y="59375"/>
                  <a:pt x="3931190" y="56445"/>
                  <a:pt x="3925599" y="50854"/>
                </a:cubicBezTo>
                <a:cubicBezTo>
                  <a:pt x="3920008" y="45264"/>
                  <a:pt x="3917212" y="38208"/>
                  <a:pt x="3917212" y="29689"/>
                </a:cubicBezTo>
                <a:cubicBezTo>
                  <a:pt x="3917212" y="21436"/>
                  <a:pt x="3920008" y="14381"/>
                  <a:pt x="3925599" y="8657"/>
                </a:cubicBezTo>
                <a:cubicBezTo>
                  <a:pt x="3931190" y="2798"/>
                  <a:pt x="3938378" y="3"/>
                  <a:pt x="3947430" y="3"/>
                </a:cubicBezTo>
                <a:close/>
                <a:moveTo>
                  <a:pt x="4165068" y="3"/>
                </a:moveTo>
                <a:cubicBezTo>
                  <a:pt x="4169327" y="3"/>
                  <a:pt x="4173188" y="802"/>
                  <a:pt x="4176782" y="2532"/>
                </a:cubicBezTo>
                <a:cubicBezTo>
                  <a:pt x="4180509" y="4130"/>
                  <a:pt x="4183571" y="6259"/>
                  <a:pt x="4186100" y="8922"/>
                </a:cubicBezTo>
                <a:cubicBezTo>
                  <a:pt x="4188629" y="11452"/>
                  <a:pt x="4190759" y="14647"/>
                  <a:pt x="4192223" y="18241"/>
                </a:cubicBezTo>
                <a:cubicBezTo>
                  <a:pt x="4193688" y="21835"/>
                  <a:pt x="4194486" y="25695"/>
                  <a:pt x="4194486" y="29689"/>
                </a:cubicBezTo>
                <a:cubicBezTo>
                  <a:pt x="4194486" y="33816"/>
                  <a:pt x="4193688" y="37809"/>
                  <a:pt x="4192223" y="41403"/>
                </a:cubicBezTo>
                <a:cubicBezTo>
                  <a:pt x="4190759" y="45130"/>
                  <a:pt x="4188629" y="48192"/>
                  <a:pt x="4186100" y="50854"/>
                </a:cubicBezTo>
                <a:cubicBezTo>
                  <a:pt x="4183438" y="53517"/>
                  <a:pt x="4180376" y="55647"/>
                  <a:pt x="4176782" y="57111"/>
                </a:cubicBezTo>
                <a:cubicBezTo>
                  <a:pt x="4173188" y="58575"/>
                  <a:pt x="4169327" y="59374"/>
                  <a:pt x="4165068" y="59374"/>
                </a:cubicBezTo>
                <a:cubicBezTo>
                  <a:pt x="4156015" y="59374"/>
                  <a:pt x="4148827" y="56445"/>
                  <a:pt x="4143235" y="50854"/>
                </a:cubicBezTo>
                <a:cubicBezTo>
                  <a:pt x="4137645" y="45264"/>
                  <a:pt x="4134849" y="38208"/>
                  <a:pt x="4134849" y="29689"/>
                </a:cubicBezTo>
                <a:cubicBezTo>
                  <a:pt x="4134849" y="21436"/>
                  <a:pt x="4137645" y="14381"/>
                  <a:pt x="4143235" y="8656"/>
                </a:cubicBezTo>
                <a:cubicBezTo>
                  <a:pt x="4148827" y="2798"/>
                  <a:pt x="4156015" y="3"/>
                  <a:pt x="4165068" y="3"/>
                </a:cubicBezTo>
                <a:close/>
                <a:moveTo>
                  <a:pt x="4382713" y="3"/>
                </a:moveTo>
                <a:cubicBezTo>
                  <a:pt x="4386840" y="3"/>
                  <a:pt x="4390834" y="802"/>
                  <a:pt x="4394428" y="2532"/>
                </a:cubicBezTo>
                <a:cubicBezTo>
                  <a:pt x="4398155" y="4130"/>
                  <a:pt x="4401217" y="6259"/>
                  <a:pt x="4403746" y="8922"/>
                </a:cubicBezTo>
                <a:cubicBezTo>
                  <a:pt x="4406275" y="11451"/>
                  <a:pt x="4408405" y="14647"/>
                  <a:pt x="4409869" y="18241"/>
                </a:cubicBezTo>
                <a:cubicBezTo>
                  <a:pt x="4411334" y="21835"/>
                  <a:pt x="4412132" y="25695"/>
                  <a:pt x="4412132" y="29689"/>
                </a:cubicBezTo>
                <a:cubicBezTo>
                  <a:pt x="4412132" y="33816"/>
                  <a:pt x="4411334" y="37809"/>
                  <a:pt x="4409869" y="41403"/>
                </a:cubicBezTo>
                <a:cubicBezTo>
                  <a:pt x="4408405" y="45130"/>
                  <a:pt x="4406275" y="48192"/>
                  <a:pt x="4403746" y="50854"/>
                </a:cubicBezTo>
                <a:cubicBezTo>
                  <a:pt x="4401083" y="53517"/>
                  <a:pt x="4398022" y="55647"/>
                  <a:pt x="4394428" y="57111"/>
                </a:cubicBezTo>
                <a:cubicBezTo>
                  <a:pt x="4390834" y="58575"/>
                  <a:pt x="4386973" y="59374"/>
                  <a:pt x="4382713" y="59374"/>
                </a:cubicBezTo>
                <a:cubicBezTo>
                  <a:pt x="4373661" y="59374"/>
                  <a:pt x="4366473" y="56445"/>
                  <a:pt x="4360881" y="50854"/>
                </a:cubicBezTo>
                <a:cubicBezTo>
                  <a:pt x="4355290" y="45264"/>
                  <a:pt x="4352495" y="38208"/>
                  <a:pt x="4352495" y="29689"/>
                </a:cubicBezTo>
                <a:cubicBezTo>
                  <a:pt x="4352495" y="21436"/>
                  <a:pt x="4355290" y="14380"/>
                  <a:pt x="4360881" y="8656"/>
                </a:cubicBezTo>
                <a:cubicBezTo>
                  <a:pt x="4366473" y="2798"/>
                  <a:pt x="4373661" y="3"/>
                  <a:pt x="4382713" y="3"/>
                </a:cubicBezTo>
                <a:close/>
                <a:moveTo>
                  <a:pt x="4600226" y="3"/>
                </a:moveTo>
                <a:cubicBezTo>
                  <a:pt x="4604485" y="3"/>
                  <a:pt x="4608479" y="802"/>
                  <a:pt x="4612073" y="2532"/>
                </a:cubicBezTo>
                <a:cubicBezTo>
                  <a:pt x="4615800" y="4130"/>
                  <a:pt x="4618862" y="6259"/>
                  <a:pt x="4621391" y="8922"/>
                </a:cubicBezTo>
                <a:cubicBezTo>
                  <a:pt x="4623920" y="11451"/>
                  <a:pt x="4626050" y="14646"/>
                  <a:pt x="4627514" y="18240"/>
                </a:cubicBezTo>
                <a:cubicBezTo>
                  <a:pt x="4628978" y="21835"/>
                  <a:pt x="4629777" y="25695"/>
                  <a:pt x="4629777" y="29689"/>
                </a:cubicBezTo>
                <a:cubicBezTo>
                  <a:pt x="4629777" y="33816"/>
                  <a:pt x="4628978" y="37809"/>
                  <a:pt x="4627514" y="41403"/>
                </a:cubicBezTo>
                <a:cubicBezTo>
                  <a:pt x="4626050" y="45130"/>
                  <a:pt x="4623920" y="48192"/>
                  <a:pt x="4621391" y="50854"/>
                </a:cubicBezTo>
                <a:cubicBezTo>
                  <a:pt x="4618729" y="53517"/>
                  <a:pt x="4615667" y="55647"/>
                  <a:pt x="4612073" y="57111"/>
                </a:cubicBezTo>
                <a:cubicBezTo>
                  <a:pt x="4608346" y="58575"/>
                  <a:pt x="4604485" y="59374"/>
                  <a:pt x="4600226" y="59374"/>
                </a:cubicBezTo>
                <a:cubicBezTo>
                  <a:pt x="4591173" y="59374"/>
                  <a:pt x="4583985" y="56445"/>
                  <a:pt x="4578393" y="50854"/>
                </a:cubicBezTo>
                <a:cubicBezTo>
                  <a:pt x="4572803" y="45264"/>
                  <a:pt x="4570007" y="38208"/>
                  <a:pt x="4570007" y="29689"/>
                </a:cubicBezTo>
                <a:cubicBezTo>
                  <a:pt x="4570007" y="21436"/>
                  <a:pt x="4572803" y="14380"/>
                  <a:pt x="4578393" y="8656"/>
                </a:cubicBezTo>
                <a:cubicBezTo>
                  <a:pt x="4583985" y="2798"/>
                  <a:pt x="4591173" y="3"/>
                  <a:pt x="4600226" y="3"/>
                </a:cubicBezTo>
                <a:close/>
                <a:moveTo>
                  <a:pt x="4817870" y="3"/>
                </a:moveTo>
                <a:cubicBezTo>
                  <a:pt x="4822130" y="3"/>
                  <a:pt x="4825857" y="935"/>
                  <a:pt x="4829585" y="2532"/>
                </a:cubicBezTo>
                <a:cubicBezTo>
                  <a:pt x="4833312" y="4130"/>
                  <a:pt x="4836374" y="6259"/>
                  <a:pt x="4838903" y="8922"/>
                </a:cubicBezTo>
                <a:cubicBezTo>
                  <a:pt x="4841432" y="11451"/>
                  <a:pt x="4843562" y="14646"/>
                  <a:pt x="4845026" y="18240"/>
                </a:cubicBezTo>
                <a:cubicBezTo>
                  <a:pt x="4846491" y="21834"/>
                  <a:pt x="4847289" y="25694"/>
                  <a:pt x="4847289" y="29689"/>
                </a:cubicBezTo>
                <a:cubicBezTo>
                  <a:pt x="4847289" y="33816"/>
                  <a:pt x="4846491" y="37809"/>
                  <a:pt x="4845026" y="41403"/>
                </a:cubicBezTo>
                <a:cubicBezTo>
                  <a:pt x="4843562" y="45130"/>
                  <a:pt x="4841432" y="48192"/>
                  <a:pt x="4838903" y="50854"/>
                </a:cubicBezTo>
                <a:cubicBezTo>
                  <a:pt x="4836240" y="53517"/>
                  <a:pt x="4833179" y="55647"/>
                  <a:pt x="4829585" y="57111"/>
                </a:cubicBezTo>
                <a:cubicBezTo>
                  <a:pt x="4825991" y="58575"/>
                  <a:pt x="4822130" y="59374"/>
                  <a:pt x="4817870" y="59374"/>
                </a:cubicBezTo>
                <a:cubicBezTo>
                  <a:pt x="4808952" y="59374"/>
                  <a:pt x="4801630" y="56445"/>
                  <a:pt x="4796038" y="50854"/>
                </a:cubicBezTo>
                <a:cubicBezTo>
                  <a:pt x="4790447" y="45264"/>
                  <a:pt x="4787652" y="38208"/>
                  <a:pt x="4787652" y="29689"/>
                </a:cubicBezTo>
                <a:cubicBezTo>
                  <a:pt x="4787652" y="21435"/>
                  <a:pt x="4790447" y="14380"/>
                  <a:pt x="4796038" y="8656"/>
                </a:cubicBezTo>
                <a:cubicBezTo>
                  <a:pt x="4801630" y="2798"/>
                  <a:pt x="4808818" y="3"/>
                  <a:pt x="4817870" y="3"/>
                </a:cubicBezTo>
                <a:close/>
                <a:moveTo>
                  <a:pt x="5035515" y="3"/>
                </a:moveTo>
                <a:cubicBezTo>
                  <a:pt x="5039775" y="3"/>
                  <a:pt x="5043502" y="935"/>
                  <a:pt x="5047230" y="2532"/>
                </a:cubicBezTo>
                <a:cubicBezTo>
                  <a:pt x="5050957" y="4130"/>
                  <a:pt x="5054019" y="6259"/>
                  <a:pt x="5056548" y="8922"/>
                </a:cubicBezTo>
                <a:cubicBezTo>
                  <a:pt x="5059077" y="11451"/>
                  <a:pt x="5061207" y="14646"/>
                  <a:pt x="5062671" y="18240"/>
                </a:cubicBezTo>
                <a:cubicBezTo>
                  <a:pt x="5064135" y="21834"/>
                  <a:pt x="5064934" y="25694"/>
                  <a:pt x="5064934" y="29688"/>
                </a:cubicBezTo>
                <a:cubicBezTo>
                  <a:pt x="5064934" y="33816"/>
                  <a:pt x="5064135" y="37809"/>
                  <a:pt x="5062671" y="41403"/>
                </a:cubicBezTo>
                <a:cubicBezTo>
                  <a:pt x="5061207" y="45130"/>
                  <a:pt x="5059077" y="48192"/>
                  <a:pt x="5056548" y="50854"/>
                </a:cubicBezTo>
                <a:cubicBezTo>
                  <a:pt x="5053885" y="53517"/>
                  <a:pt x="5050824" y="55647"/>
                  <a:pt x="5047230" y="57111"/>
                </a:cubicBezTo>
                <a:cubicBezTo>
                  <a:pt x="5043636" y="58575"/>
                  <a:pt x="5039775" y="59374"/>
                  <a:pt x="5035515" y="59374"/>
                </a:cubicBezTo>
                <a:cubicBezTo>
                  <a:pt x="5026597" y="59374"/>
                  <a:pt x="5019275" y="56445"/>
                  <a:pt x="5013683" y="50854"/>
                </a:cubicBezTo>
                <a:cubicBezTo>
                  <a:pt x="5008092" y="45264"/>
                  <a:pt x="5005297" y="38208"/>
                  <a:pt x="5005297" y="29688"/>
                </a:cubicBezTo>
                <a:cubicBezTo>
                  <a:pt x="5005297" y="21435"/>
                  <a:pt x="5008092" y="14380"/>
                  <a:pt x="5013683" y="8656"/>
                </a:cubicBezTo>
                <a:cubicBezTo>
                  <a:pt x="5019275" y="2798"/>
                  <a:pt x="5026463" y="3"/>
                  <a:pt x="5035515" y="3"/>
                </a:cubicBezTo>
                <a:close/>
                <a:moveTo>
                  <a:pt x="5253160" y="3"/>
                </a:moveTo>
                <a:cubicBezTo>
                  <a:pt x="5257420" y="3"/>
                  <a:pt x="5261147" y="935"/>
                  <a:pt x="5264875" y="2532"/>
                </a:cubicBezTo>
                <a:cubicBezTo>
                  <a:pt x="5268602" y="4130"/>
                  <a:pt x="5271664" y="6259"/>
                  <a:pt x="5274192" y="8922"/>
                </a:cubicBezTo>
                <a:cubicBezTo>
                  <a:pt x="5276722" y="11451"/>
                  <a:pt x="5278852" y="14646"/>
                  <a:pt x="5280316" y="18240"/>
                </a:cubicBezTo>
                <a:cubicBezTo>
                  <a:pt x="5281780" y="21834"/>
                  <a:pt x="5282579" y="25694"/>
                  <a:pt x="5282579" y="29688"/>
                </a:cubicBezTo>
                <a:cubicBezTo>
                  <a:pt x="5282579" y="33815"/>
                  <a:pt x="5281780" y="37809"/>
                  <a:pt x="5280316" y="41403"/>
                </a:cubicBezTo>
                <a:cubicBezTo>
                  <a:pt x="5278852" y="45130"/>
                  <a:pt x="5276722" y="48192"/>
                  <a:pt x="5274192" y="50854"/>
                </a:cubicBezTo>
                <a:cubicBezTo>
                  <a:pt x="5271664" y="53517"/>
                  <a:pt x="5268469" y="55647"/>
                  <a:pt x="5264875" y="57111"/>
                </a:cubicBezTo>
                <a:cubicBezTo>
                  <a:pt x="5261280" y="58575"/>
                  <a:pt x="5257420" y="59374"/>
                  <a:pt x="5253160" y="59374"/>
                </a:cubicBezTo>
                <a:cubicBezTo>
                  <a:pt x="5244241" y="59374"/>
                  <a:pt x="5236920" y="56445"/>
                  <a:pt x="5231328" y="50854"/>
                </a:cubicBezTo>
                <a:cubicBezTo>
                  <a:pt x="5225737" y="45264"/>
                  <a:pt x="5222942" y="38208"/>
                  <a:pt x="5222942" y="29688"/>
                </a:cubicBezTo>
                <a:cubicBezTo>
                  <a:pt x="5222942" y="21435"/>
                  <a:pt x="5225737" y="14380"/>
                  <a:pt x="5231328" y="8656"/>
                </a:cubicBezTo>
                <a:cubicBezTo>
                  <a:pt x="5236920" y="2798"/>
                  <a:pt x="5244108" y="3"/>
                  <a:pt x="5253160" y="3"/>
                </a:cubicBezTo>
                <a:close/>
                <a:moveTo>
                  <a:pt x="5470806" y="3"/>
                </a:moveTo>
                <a:cubicBezTo>
                  <a:pt x="5475065" y="3"/>
                  <a:pt x="5478793" y="935"/>
                  <a:pt x="5482520" y="2532"/>
                </a:cubicBezTo>
                <a:cubicBezTo>
                  <a:pt x="5486247" y="4130"/>
                  <a:pt x="5489309" y="6259"/>
                  <a:pt x="5491838" y="8922"/>
                </a:cubicBezTo>
                <a:cubicBezTo>
                  <a:pt x="5494367" y="11451"/>
                  <a:pt x="5496497" y="14646"/>
                  <a:pt x="5497961" y="18240"/>
                </a:cubicBezTo>
                <a:cubicBezTo>
                  <a:pt x="5499426" y="21834"/>
                  <a:pt x="5500224" y="25694"/>
                  <a:pt x="5500224" y="29688"/>
                </a:cubicBezTo>
                <a:cubicBezTo>
                  <a:pt x="5500224" y="33815"/>
                  <a:pt x="5499426" y="37808"/>
                  <a:pt x="5497961" y="41402"/>
                </a:cubicBezTo>
                <a:cubicBezTo>
                  <a:pt x="5496497" y="45130"/>
                  <a:pt x="5494367" y="48192"/>
                  <a:pt x="5491838" y="50854"/>
                </a:cubicBezTo>
                <a:cubicBezTo>
                  <a:pt x="5489176" y="53517"/>
                  <a:pt x="5486114" y="55647"/>
                  <a:pt x="5482520" y="57111"/>
                </a:cubicBezTo>
                <a:cubicBezTo>
                  <a:pt x="5478926" y="58575"/>
                  <a:pt x="5475065" y="59374"/>
                  <a:pt x="5470806" y="59374"/>
                </a:cubicBezTo>
                <a:cubicBezTo>
                  <a:pt x="5461887" y="59374"/>
                  <a:pt x="5454565" y="56445"/>
                  <a:pt x="5448973" y="50854"/>
                </a:cubicBezTo>
                <a:cubicBezTo>
                  <a:pt x="5443383" y="45263"/>
                  <a:pt x="5440587" y="38207"/>
                  <a:pt x="5440587" y="29688"/>
                </a:cubicBezTo>
                <a:cubicBezTo>
                  <a:pt x="5440587" y="21435"/>
                  <a:pt x="5443383" y="14380"/>
                  <a:pt x="5448973" y="8656"/>
                </a:cubicBezTo>
                <a:cubicBezTo>
                  <a:pt x="5454565" y="2798"/>
                  <a:pt x="5461754" y="3"/>
                  <a:pt x="5470806" y="3"/>
                </a:cubicBezTo>
                <a:close/>
                <a:moveTo>
                  <a:pt x="5688451" y="3"/>
                </a:moveTo>
                <a:cubicBezTo>
                  <a:pt x="5692577" y="3"/>
                  <a:pt x="5696437" y="935"/>
                  <a:pt x="5700165" y="2532"/>
                </a:cubicBezTo>
                <a:cubicBezTo>
                  <a:pt x="5703892" y="4130"/>
                  <a:pt x="5706954" y="6259"/>
                  <a:pt x="5709483" y="8922"/>
                </a:cubicBezTo>
                <a:cubicBezTo>
                  <a:pt x="5712012" y="11451"/>
                  <a:pt x="5714142" y="14646"/>
                  <a:pt x="5715606" y="18240"/>
                </a:cubicBezTo>
                <a:cubicBezTo>
                  <a:pt x="5717071" y="21834"/>
                  <a:pt x="5717869" y="25694"/>
                  <a:pt x="5717869" y="29688"/>
                </a:cubicBezTo>
                <a:cubicBezTo>
                  <a:pt x="5717869" y="33815"/>
                  <a:pt x="5717071" y="37808"/>
                  <a:pt x="5715606" y="41402"/>
                </a:cubicBezTo>
                <a:cubicBezTo>
                  <a:pt x="5714142" y="45129"/>
                  <a:pt x="5712012" y="48191"/>
                  <a:pt x="5709483" y="50854"/>
                </a:cubicBezTo>
                <a:cubicBezTo>
                  <a:pt x="5706820" y="53517"/>
                  <a:pt x="5703759" y="55647"/>
                  <a:pt x="5700165" y="57111"/>
                </a:cubicBezTo>
                <a:cubicBezTo>
                  <a:pt x="5696571" y="58575"/>
                  <a:pt x="5692710" y="59374"/>
                  <a:pt x="5688451" y="59374"/>
                </a:cubicBezTo>
                <a:cubicBezTo>
                  <a:pt x="5679532" y="59374"/>
                  <a:pt x="5672210" y="56445"/>
                  <a:pt x="5666618" y="50854"/>
                </a:cubicBezTo>
                <a:cubicBezTo>
                  <a:pt x="5661028" y="45263"/>
                  <a:pt x="5658232" y="38207"/>
                  <a:pt x="5658232" y="29688"/>
                </a:cubicBezTo>
                <a:cubicBezTo>
                  <a:pt x="5658232" y="21435"/>
                  <a:pt x="5661028" y="14380"/>
                  <a:pt x="5666618" y="8656"/>
                </a:cubicBezTo>
                <a:cubicBezTo>
                  <a:pt x="5672210" y="2798"/>
                  <a:pt x="5679398" y="3"/>
                  <a:pt x="5688451" y="3"/>
                </a:cubicBezTo>
                <a:close/>
                <a:moveTo>
                  <a:pt x="5905963" y="2"/>
                </a:moveTo>
                <a:cubicBezTo>
                  <a:pt x="5910222" y="2"/>
                  <a:pt x="5913950" y="934"/>
                  <a:pt x="5917677" y="2532"/>
                </a:cubicBezTo>
                <a:cubicBezTo>
                  <a:pt x="5921404" y="4129"/>
                  <a:pt x="5924466" y="6259"/>
                  <a:pt x="5926995" y="8922"/>
                </a:cubicBezTo>
                <a:cubicBezTo>
                  <a:pt x="5929524" y="11451"/>
                  <a:pt x="5931654" y="14646"/>
                  <a:pt x="5933118" y="18240"/>
                </a:cubicBezTo>
                <a:cubicBezTo>
                  <a:pt x="5934583" y="21834"/>
                  <a:pt x="5935381" y="25694"/>
                  <a:pt x="5935381" y="29688"/>
                </a:cubicBezTo>
                <a:cubicBezTo>
                  <a:pt x="5935381" y="33815"/>
                  <a:pt x="5934583" y="37808"/>
                  <a:pt x="5933118" y="41402"/>
                </a:cubicBezTo>
                <a:cubicBezTo>
                  <a:pt x="5931654" y="45129"/>
                  <a:pt x="5929524" y="48191"/>
                  <a:pt x="5926995" y="50853"/>
                </a:cubicBezTo>
                <a:cubicBezTo>
                  <a:pt x="5924333" y="53516"/>
                  <a:pt x="5921271" y="55646"/>
                  <a:pt x="5917677" y="57111"/>
                </a:cubicBezTo>
                <a:cubicBezTo>
                  <a:pt x="5914083" y="58575"/>
                  <a:pt x="5910222" y="59374"/>
                  <a:pt x="5905963" y="59374"/>
                </a:cubicBezTo>
                <a:cubicBezTo>
                  <a:pt x="5897044" y="59374"/>
                  <a:pt x="5889722" y="56444"/>
                  <a:pt x="5884130" y="50853"/>
                </a:cubicBezTo>
                <a:cubicBezTo>
                  <a:pt x="5878540" y="45263"/>
                  <a:pt x="5875744" y="38207"/>
                  <a:pt x="5875744" y="29688"/>
                </a:cubicBezTo>
                <a:cubicBezTo>
                  <a:pt x="5875744" y="21435"/>
                  <a:pt x="5878540" y="14380"/>
                  <a:pt x="5884130" y="8656"/>
                </a:cubicBezTo>
                <a:cubicBezTo>
                  <a:pt x="5889722" y="2797"/>
                  <a:pt x="5896910" y="2"/>
                  <a:pt x="5905963" y="2"/>
                </a:cubicBezTo>
                <a:close/>
                <a:moveTo>
                  <a:pt x="6123608" y="2"/>
                </a:moveTo>
                <a:cubicBezTo>
                  <a:pt x="6127867" y="2"/>
                  <a:pt x="6131594" y="934"/>
                  <a:pt x="6135322" y="2531"/>
                </a:cubicBezTo>
                <a:cubicBezTo>
                  <a:pt x="6139049" y="4129"/>
                  <a:pt x="6142111" y="6258"/>
                  <a:pt x="6144640" y="8921"/>
                </a:cubicBezTo>
                <a:cubicBezTo>
                  <a:pt x="6147169" y="11451"/>
                  <a:pt x="6149299" y="14646"/>
                  <a:pt x="6150763" y="18240"/>
                </a:cubicBezTo>
                <a:cubicBezTo>
                  <a:pt x="6152228" y="21834"/>
                  <a:pt x="6153026" y="25694"/>
                  <a:pt x="6153026" y="29688"/>
                </a:cubicBezTo>
                <a:cubicBezTo>
                  <a:pt x="6153026" y="33815"/>
                  <a:pt x="6152228" y="37808"/>
                  <a:pt x="6150763" y="41402"/>
                </a:cubicBezTo>
                <a:cubicBezTo>
                  <a:pt x="6149299" y="45129"/>
                  <a:pt x="6147169" y="48191"/>
                  <a:pt x="6144640" y="50853"/>
                </a:cubicBezTo>
                <a:cubicBezTo>
                  <a:pt x="6141977" y="53516"/>
                  <a:pt x="6138916" y="55646"/>
                  <a:pt x="6135322" y="57110"/>
                </a:cubicBezTo>
                <a:cubicBezTo>
                  <a:pt x="6131728" y="58574"/>
                  <a:pt x="6127867" y="59373"/>
                  <a:pt x="6123608" y="59373"/>
                </a:cubicBezTo>
                <a:cubicBezTo>
                  <a:pt x="6114689" y="59373"/>
                  <a:pt x="6107367" y="56444"/>
                  <a:pt x="6101775" y="50853"/>
                </a:cubicBezTo>
                <a:cubicBezTo>
                  <a:pt x="6096184" y="45263"/>
                  <a:pt x="6093389" y="38207"/>
                  <a:pt x="6093389" y="29688"/>
                </a:cubicBezTo>
                <a:cubicBezTo>
                  <a:pt x="6093389" y="21435"/>
                  <a:pt x="6096184" y="14380"/>
                  <a:pt x="6101775" y="8655"/>
                </a:cubicBezTo>
                <a:cubicBezTo>
                  <a:pt x="6107367" y="2797"/>
                  <a:pt x="6114555" y="2"/>
                  <a:pt x="6123608" y="2"/>
                </a:cubicBezTo>
                <a:close/>
                <a:moveTo>
                  <a:pt x="6341253" y="2"/>
                </a:moveTo>
                <a:cubicBezTo>
                  <a:pt x="6345513" y="2"/>
                  <a:pt x="6349373" y="801"/>
                  <a:pt x="6352968" y="2531"/>
                </a:cubicBezTo>
                <a:cubicBezTo>
                  <a:pt x="6356695" y="4129"/>
                  <a:pt x="6359757" y="6258"/>
                  <a:pt x="6362286" y="8921"/>
                </a:cubicBezTo>
                <a:cubicBezTo>
                  <a:pt x="6364815" y="11450"/>
                  <a:pt x="6366945" y="14646"/>
                  <a:pt x="6368409" y="18240"/>
                </a:cubicBezTo>
                <a:cubicBezTo>
                  <a:pt x="6369874" y="21834"/>
                  <a:pt x="6370672" y="25694"/>
                  <a:pt x="6370672" y="29688"/>
                </a:cubicBezTo>
                <a:cubicBezTo>
                  <a:pt x="6370672" y="33815"/>
                  <a:pt x="6369874" y="37808"/>
                  <a:pt x="6368409" y="41402"/>
                </a:cubicBezTo>
                <a:cubicBezTo>
                  <a:pt x="6366811" y="45129"/>
                  <a:pt x="6364815" y="48191"/>
                  <a:pt x="6362286" y="50853"/>
                </a:cubicBezTo>
                <a:cubicBezTo>
                  <a:pt x="6359623" y="53516"/>
                  <a:pt x="6356562" y="55646"/>
                  <a:pt x="6352968" y="57110"/>
                </a:cubicBezTo>
                <a:cubicBezTo>
                  <a:pt x="6349373" y="58574"/>
                  <a:pt x="6345513" y="59373"/>
                  <a:pt x="6341253" y="59373"/>
                </a:cubicBezTo>
                <a:cubicBezTo>
                  <a:pt x="6332335" y="59373"/>
                  <a:pt x="6325013" y="56444"/>
                  <a:pt x="6319421" y="50853"/>
                </a:cubicBezTo>
                <a:cubicBezTo>
                  <a:pt x="6313830" y="45263"/>
                  <a:pt x="6311035" y="38207"/>
                  <a:pt x="6311035" y="29688"/>
                </a:cubicBezTo>
                <a:cubicBezTo>
                  <a:pt x="6311035" y="21435"/>
                  <a:pt x="6313830" y="14379"/>
                  <a:pt x="6319421" y="8655"/>
                </a:cubicBezTo>
                <a:cubicBezTo>
                  <a:pt x="6325013" y="2797"/>
                  <a:pt x="6332201" y="2"/>
                  <a:pt x="6341253" y="2"/>
                </a:cubicBezTo>
                <a:close/>
                <a:moveTo>
                  <a:pt x="6558899" y="2"/>
                </a:moveTo>
                <a:cubicBezTo>
                  <a:pt x="6563158" y="2"/>
                  <a:pt x="6567019" y="801"/>
                  <a:pt x="6570612" y="2531"/>
                </a:cubicBezTo>
                <a:cubicBezTo>
                  <a:pt x="6574340" y="4129"/>
                  <a:pt x="6577401" y="6258"/>
                  <a:pt x="6579930" y="8921"/>
                </a:cubicBezTo>
                <a:cubicBezTo>
                  <a:pt x="6582460" y="11450"/>
                  <a:pt x="6584590" y="14645"/>
                  <a:pt x="6586054" y="18239"/>
                </a:cubicBezTo>
                <a:cubicBezTo>
                  <a:pt x="6587518" y="21834"/>
                  <a:pt x="6588317" y="25694"/>
                  <a:pt x="6588317" y="29688"/>
                </a:cubicBezTo>
                <a:cubicBezTo>
                  <a:pt x="6588317" y="33815"/>
                  <a:pt x="6587518" y="37808"/>
                  <a:pt x="6586054" y="41402"/>
                </a:cubicBezTo>
                <a:cubicBezTo>
                  <a:pt x="6584457" y="45129"/>
                  <a:pt x="6582460" y="48191"/>
                  <a:pt x="6579930" y="50853"/>
                </a:cubicBezTo>
                <a:cubicBezTo>
                  <a:pt x="6577268" y="53516"/>
                  <a:pt x="6574207" y="55646"/>
                  <a:pt x="6570612" y="57110"/>
                </a:cubicBezTo>
                <a:cubicBezTo>
                  <a:pt x="6567019" y="58574"/>
                  <a:pt x="6563158" y="59373"/>
                  <a:pt x="6558899" y="59373"/>
                </a:cubicBezTo>
                <a:cubicBezTo>
                  <a:pt x="6549979" y="59373"/>
                  <a:pt x="6542658" y="56444"/>
                  <a:pt x="6537066" y="50853"/>
                </a:cubicBezTo>
                <a:cubicBezTo>
                  <a:pt x="6531476" y="45263"/>
                  <a:pt x="6528680" y="38207"/>
                  <a:pt x="6528680" y="29688"/>
                </a:cubicBezTo>
                <a:cubicBezTo>
                  <a:pt x="6528680" y="21435"/>
                  <a:pt x="6531476" y="14379"/>
                  <a:pt x="6537066" y="8655"/>
                </a:cubicBezTo>
                <a:cubicBezTo>
                  <a:pt x="6542658" y="2797"/>
                  <a:pt x="6549846" y="2"/>
                  <a:pt x="6558899" y="2"/>
                </a:cubicBezTo>
                <a:close/>
                <a:moveTo>
                  <a:pt x="6776544" y="2"/>
                </a:moveTo>
                <a:cubicBezTo>
                  <a:pt x="6780670" y="2"/>
                  <a:pt x="6784664" y="801"/>
                  <a:pt x="6788258" y="2531"/>
                </a:cubicBezTo>
                <a:cubicBezTo>
                  <a:pt x="6791985" y="4129"/>
                  <a:pt x="6795047" y="6258"/>
                  <a:pt x="6797576" y="8921"/>
                </a:cubicBezTo>
                <a:cubicBezTo>
                  <a:pt x="6800105" y="11450"/>
                  <a:pt x="6802235" y="14645"/>
                  <a:pt x="6803699" y="18239"/>
                </a:cubicBezTo>
                <a:cubicBezTo>
                  <a:pt x="6805164" y="21833"/>
                  <a:pt x="6805963" y="25693"/>
                  <a:pt x="6805963" y="29688"/>
                </a:cubicBezTo>
                <a:cubicBezTo>
                  <a:pt x="6805963" y="33815"/>
                  <a:pt x="6805164" y="37808"/>
                  <a:pt x="6803699" y="41402"/>
                </a:cubicBezTo>
                <a:cubicBezTo>
                  <a:pt x="6802102" y="45129"/>
                  <a:pt x="6800105" y="48191"/>
                  <a:pt x="6797576" y="50853"/>
                </a:cubicBezTo>
                <a:cubicBezTo>
                  <a:pt x="6794914" y="53516"/>
                  <a:pt x="6791852" y="55646"/>
                  <a:pt x="6788258" y="57110"/>
                </a:cubicBezTo>
                <a:cubicBezTo>
                  <a:pt x="6784664" y="58574"/>
                  <a:pt x="6780803" y="59373"/>
                  <a:pt x="6776544" y="59373"/>
                </a:cubicBezTo>
                <a:cubicBezTo>
                  <a:pt x="6767625" y="59373"/>
                  <a:pt x="6760303" y="56444"/>
                  <a:pt x="6754711" y="50853"/>
                </a:cubicBezTo>
                <a:cubicBezTo>
                  <a:pt x="6749121" y="45263"/>
                  <a:pt x="6746325" y="38207"/>
                  <a:pt x="6746325" y="29688"/>
                </a:cubicBezTo>
                <a:cubicBezTo>
                  <a:pt x="6746325" y="21434"/>
                  <a:pt x="6749121" y="14379"/>
                  <a:pt x="6754711" y="8655"/>
                </a:cubicBezTo>
                <a:cubicBezTo>
                  <a:pt x="6760303" y="2797"/>
                  <a:pt x="6767492" y="2"/>
                  <a:pt x="6776544" y="2"/>
                </a:cubicBezTo>
                <a:close/>
                <a:moveTo>
                  <a:pt x="6994056" y="2"/>
                </a:moveTo>
                <a:cubicBezTo>
                  <a:pt x="6998315" y="2"/>
                  <a:pt x="7002309" y="801"/>
                  <a:pt x="7005769" y="2531"/>
                </a:cubicBezTo>
                <a:cubicBezTo>
                  <a:pt x="7009497" y="4129"/>
                  <a:pt x="7012558" y="6258"/>
                  <a:pt x="7015087" y="8921"/>
                </a:cubicBezTo>
                <a:cubicBezTo>
                  <a:pt x="7017617" y="11450"/>
                  <a:pt x="7019747" y="14645"/>
                  <a:pt x="7021211" y="18239"/>
                </a:cubicBezTo>
                <a:cubicBezTo>
                  <a:pt x="7022675" y="21833"/>
                  <a:pt x="7023474" y="25693"/>
                  <a:pt x="7023474" y="29687"/>
                </a:cubicBezTo>
                <a:cubicBezTo>
                  <a:pt x="7023474" y="33815"/>
                  <a:pt x="7022675" y="37808"/>
                  <a:pt x="7021211" y="41402"/>
                </a:cubicBezTo>
                <a:cubicBezTo>
                  <a:pt x="7019614" y="45129"/>
                  <a:pt x="7017617" y="48191"/>
                  <a:pt x="7015087" y="50853"/>
                </a:cubicBezTo>
                <a:cubicBezTo>
                  <a:pt x="7012425" y="53516"/>
                  <a:pt x="7009364" y="55646"/>
                  <a:pt x="7005769" y="57110"/>
                </a:cubicBezTo>
                <a:cubicBezTo>
                  <a:pt x="7002176" y="58574"/>
                  <a:pt x="6998315" y="59373"/>
                  <a:pt x="6994056" y="59373"/>
                </a:cubicBezTo>
                <a:cubicBezTo>
                  <a:pt x="6985136" y="59373"/>
                  <a:pt x="6977815" y="56444"/>
                  <a:pt x="6972223" y="50853"/>
                </a:cubicBezTo>
                <a:cubicBezTo>
                  <a:pt x="6966632" y="45263"/>
                  <a:pt x="6963837" y="38207"/>
                  <a:pt x="6963837" y="29687"/>
                </a:cubicBezTo>
                <a:cubicBezTo>
                  <a:pt x="6963837" y="21434"/>
                  <a:pt x="6966632" y="14379"/>
                  <a:pt x="6972223" y="8655"/>
                </a:cubicBezTo>
                <a:cubicBezTo>
                  <a:pt x="6977815" y="2797"/>
                  <a:pt x="6985003" y="2"/>
                  <a:pt x="6994056" y="2"/>
                </a:cubicBezTo>
                <a:close/>
                <a:moveTo>
                  <a:pt x="7211701" y="2"/>
                </a:moveTo>
                <a:cubicBezTo>
                  <a:pt x="7215960" y="2"/>
                  <a:pt x="7219954" y="801"/>
                  <a:pt x="7223415" y="2531"/>
                </a:cubicBezTo>
                <a:cubicBezTo>
                  <a:pt x="7227142" y="4129"/>
                  <a:pt x="7230204" y="6258"/>
                  <a:pt x="7232733" y="8921"/>
                </a:cubicBezTo>
                <a:cubicBezTo>
                  <a:pt x="7235262" y="11450"/>
                  <a:pt x="7237392" y="14645"/>
                  <a:pt x="7238856" y="18239"/>
                </a:cubicBezTo>
                <a:cubicBezTo>
                  <a:pt x="7240321" y="21833"/>
                  <a:pt x="7241120" y="25693"/>
                  <a:pt x="7241120" y="29687"/>
                </a:cubicBezTo>
                <a:cubicBezTo>
                  <a:pt x="7241120" y="33814"/>
                  <a:pt x="7240321" y="37808"/>
                  <a:pt x="7238856" y="41402"/>
                </a:cubicBezTo>
                <a:cubicBezTo>
                  <a:pt x="7237259" y="45129"/>
                  <a:pt x="7235262" y="48191"/>
                  <a:pt x="7232733" y="50853"/>
                </a:cubicBezTo>
                <a:cubicBezTo>
                  <a:pt x="7230071" y="53516"/>
                  <a:pt x="7227009" y="55646"/>
                  <a:pt x="7223415" y="57110"/>
                </a:cubicBezTo>
                <a:cubicBezTo>
                  <a:pt x="7219821" y="58574"/>
                  <a:pt x="7215960" y="59373"/>
                  <a:pt x="7211701" y="59373"/>
                </a:cubicBezTo>
                <a:cubicBezTo>
                  <a:pt x="7202782" y="59373"/>
                  <a:pt x="7195460" y="56444"/>
                  <a:pt x="7189868" y="50853"/>
                </a:cubicBezTo>
                <a:cubicBezTo>
                  <a:pt x="7184278" y="45263"/>
                  <a:pt x="7181482" y="38207"/>
                  <a:pt x="7181482" y="29687"/>
                </a:cubicBezTo>
                <a:cubicBezTo>
                  <a:pt x="7181482" y="21434"/>
                  <a:pt x="7184278" y="14379"/>
                  <a:pt x="7189868" y="8655"/>
                </a:cubicBezTo>
                <a:cubicBezTo>
                  <a:pt x="7195460" y="2797"/>
                  <a:pt x="7202649" y="2"/>
                  <a:pt x="7211701" y="2"/>
                </a:cubicBezTo>
                <a:close/>
                <a:moveTo>
                  <a:pt x="7429345" y="2"/>
                </a:moveTo>
                <a:cubicBezTo>
                  <a:pt x="7433605" y="2"/>
                  <a:pt x="7437466" y="801"/>
                  <a:pt x="7441059" y="2531"/>
                </a:cubicBezTo>
                <a:cubicBezTo>
                  <a:pt x="7444787" y="4129"/>
                  <a:pt x="7447848" y="6258"/>
                  <a:pt x="7450377" y="8921"/>
                </a:cubicBezTo>
                <a:cubicBezTo>
                  <a:pt x="7452907" y="11450"/>
                  <a:pt x="7455036" y="14645"/>
                  <a:pt x="7456501" y="18239"/>
                </a:cubicBezTo>
                <a:cubicBezTo>
                  <a:pt x="7457965" y="21833"/>
                  <a:pt x="7458764" y="25693"/>
                  <a:pt x="7458764" y="29687"/>
                </a:cubicBezTo>
                <a:cubicBezTo>
                  <a:pt x="7458764" y="33814"/>
                  <a:pt x="7457965" y="37807"/>
                  <a:pt x="7456501" y="41401"/>
                </a:cubicBezTo>
                <a:cubicBezTo>
                  <a:pt x="7454904" y="45129"/>
                  <a:pt x="7452907" y="48191"/>
                  <a:pt x="7450377" y="50853"/>
                </a:cubicBezTo>
                <a:cubicBezTo>
                  <a:pt x="7447715" y="53516"/>
                  <a:pt x="7444654" y="55646"/>
                  <a:pt x="7441059" y="57110"/>
                </a:cubicBezTo>
                <a:cubicBezTo>
                  <a:pt x="7437466" y="58574"/>
                  <a:pt x="7433605" y="59373"/>
                  <a:pt x="7429345" y="59373"/>
                </a:cubicBezTo>
                <a:cubicBezTo>
                  <a:pt x="7420426" y="59373"/>
                  <a:pt x="7413105" y="56444"/>
                  <a:pt x="7407513" y="50853"/>
                </a:cubicBezTo>
                <a:cubicBezTo>
                  <a:pt x="7401922" y="45262"/>
                  <a:pt x="7399127" y="38206"/>
                  <a:pt x="7399127" y="29687"/>
                </a:cubicBezTo>
                <a:cubicBezTo>
                  <a:pt x="7399127" y="21434"/>
                  <a:pt x="7401922" y="14379"/>
                  <a:pt x="7407513" y="8655"/>
                </a:cubicBezTo>
                <a:cubicBezTo>
                  <a:pt x="7413105" y="2797"/>
                  <a:pt x="7420293" y="2"/>
                  <a:pt x="7429345" y="2"/>
                </a:cubicBezTo>
                <a:close/>
                <a:moveTo>
                  <a:pt x="7646991" y="2"/>
                </a:moveTo>
                <a:cubicBezTo>
                  <a:pt x="7651250" y="2"/>
                  <a:pt x="7655111" y="801"/>
                  <a:pt x="7658705" y="2531"/>
                </a:cubicBezTo>
                <a:cubicBezTo>
                  <a:pt x="7662432" y="4129"/>
                  <a:pt x="7665493" y="6258"/>
                  <a:pt x="7668022" y="8921"/>
                </a:cubicBezTo>
                <a:cubicBezTo>
                  <a:pt x="7670552" y="11450"/>
                  <a:pt x="7672682" y="14645"/>
                  <a:pt x="7674146" y="18239"/>
                </a:cubicBezTo>
                <a:cubicBezTo>
                  <a:pt x="7675610" y="21833"/>
                  <a:pt x="7676409" y="25693"/>
                  <a:pt x="7676409" y="29687"/>
                </a:cubicBezTo>
                <a:cubicBezTo>
                  <a:pt x="7676409" y="33814"/>
                  <a:pt x="7675610" y="37807"/>
                  <a:pt x="7674146" y="41401"/>
                </a:cubicBezTo>
                <a:cubicBezTo>
                  <a:pt x="7672549" y="45128"/>
                  <a:pt x="7670552" y="48190"/>
                  <a:pt x="7668022" y="50853"/>
                </a:cubicBezTo>
                <a:cubicBezTo>
                  <a:pt x="7665361" y="53516"/>
                  <a:pt x="7662299" y="55646"/>
                  <a:pt x="7658705" y="57110"/>
                </a:cubicBezTo>
                <a:cubicBezTo>
                  <a:pt x="7655111" y="58574"/>
                  <a:pt x="7651250" y="59373"/>
                  <a:pt x="7646991" y="59373"/>
                </a:cubicBezTo>
                <a:cubicBezTo>
                  <a:pt x="7638071" y="59373"/>
                  <a:pt x="7630750" y="56444"/>
                  <a:pt x="7625158" y="50853"/>
                </a:cubicBezTo>
                <a:cubicBezTo>
                  <a:pt x="7619568" y="45262"/>
                  <a:pt x="7616772" y="38206"/>
                  <a:pt x="7616772" y="29687"/>
                </a:cubicBezTo>
                <a:cubicBezTo>
                  <a:pt x="7616772" y="21434"/>
                  <a:pt x="7619568" y="14379"/>
                  <a:pt x="7625158" y="8655"/>
                </a:cubicBezTo>
                <a:cubicBezTo>
                  <a:pt x="7630750" y="2797"/>
                  <a:pt x="7637939" y="2"/>
                  <a:pt x="7646991" y="2"/>
                </a:cubicBezTo>
                <a:close/>
                <a:moveTo>
                  <a:pt x="7864636" y="1"/>
                </a:moveTo>
                <a:cubicBezTo>
                  <a:pt x="7868762" y="1"/>
                  <a:pt x="7872756" y="800"/>
                  <a:pt x="7876483" y="2531"/>
                </a:cubicBezTo>
                <a:cubicBezTo>
                  <a:pt x="7880210" y="4128"/>
                  <a:pt x="7883272" y="6258"/>
                  <a:pt x="7885802" y="8921"/>
                </a:cubicBezTo>
                <a:cubicBezTo>
                  <a:pt x="7888331" y="11450"/>
                  <a:pt x="7890460" y="14645"/>
                  <a:pt x="7891924" y="18239"/>
                </a:cubicBezTo>
                <a:cubicBezTo>
                  <a:pt x="7893389" y="21833"/>
                  <a:pt x="7894188" y="25693"/>
                  <a:pt x="7894188" y="29687"/>
                </a:cubicBezTo>
                <a:cubicBezTo>
                  <a:pt x="7894188" y="33814"/>
                  <a:pt x="7893389" y="37807"/>
                  <a:pt x="7891924" y="41401"/>
                </a:cubicBezTo>
                <a:cubicBezTo>
                  <a:pt x="7890327" y="45128"/>
                  <a:pt x="7888331" y="48190"/>
                  <a:pt x="7885802" y="50852"/>
                </a:cubicBezTo>
                <a:cubicBezTo>
                  <a:pt x="7883139" y="53515"/>
                  <a:pt x="7880078" y="55645"/>
                  <a:pt x="7876483" y="57110"/>
                </a:cubicBezTo>
                <a:cubicBezTo>
                  <a:pt x="7872756" y="58574"/>
                  <a:pt x="7868895" y="59373"/>
                  <a:pt x="7864636" y="59373"/>
                </a:cubicBezTo>
                <a:cubicBezTo>
                  <a:pt x="7855717" y="59373"/>
                  <a:pt x="7848396" y="56443"/>
                  <a:pt x="7842803" y="50852"/>
                </a:cubicBezTo>
                <a:cubicBezTo>
                  <a:pt x="7837213" y="45262"/>
                  <a:pt x="7834417" y="38206"/>
                  <a:pt x="7834417" y="29687"/>
                </a:cubicBezTo>
                <a:cubicBezTo>
                  <a:pt x="7834417" y="21434"/>
                  <a:pt x="7837213" y="14379"/>
                  <a:pt x="7842803" y="8655"/>
                </a:cubicBezTo>
                <a:cubicBezTo>
                  <a:pt x="7848396" y="2796"/>
                  <a:pt x="7855584" y="1"/>
                  <a:pt x="7864636" y="1"/>
                </a:cubicBezTo>
                <a:close/>
                <a:moveTo>
                  <a:pt x="8082281" y="1"/>
                </a:moveTo>
                <a:cubicBezTo>
                  <a:pt x="8086407" y="1"/>
                  <a:pt x="8090401" y="800"/>
                  <a:pt x="8094127" y="2530"/>
                </a:cubicBezTo>
                <a:cubicBezTo>
                  <a:pt x="8097855" y="4128"/>
                  <a:pt x="8100916" y="6257"/>
                  <a:pt x="8103446" y="8920"/>
                </a:cubicBezTo>
                <a:cubicBezTo>
                  <a:pt x="8105975" y="11450"/>
                  <a:pt x="8108104" y="14645"/>
                  <a:pt x="8109569" y="18239"/>
                </a:cubicBezTo>
                <a:cubicBezTo>
                  <a:pt x="8111033" y="21833"/>
                  <a:pt x="8111832" y="25693"/>
                  <a:pt x="8111832" y="29687"/>
                </a:cubicBezTo>
                <a:cubicBezTo>
                  <a:pt x="8111832" y="33814"/>
                  <a:pt x="8111033" y="37807"/>
                  <a:pt x="8109569" y="41401"/>
                </a:cubicBezTo>
                <a:cubicBezTo>
                  <a:pt x="8107972" y="45128"/>
                  <a:pt x="8105975" y="48190"/>
                  <a:pt x="8103446" y="50852"/>
                </a:cubicBezTo>
                <a:cubicBezTo>
                  <a:pt x="8100783" y="53515"/>
                  <a:pt x="8097722" y="55645"/>
                  <a:pt x="8094127" y="57109"/>
                </a:cubicBezTo>
                <a:cubicBezTo>
                  <a:pt x="8090401" y="58573"/>
                  <a:pt x="8086540" y="59372"/>
                  <a:pt x="8082281" y="59372"/>
                </a:cubicBezTo>
                <a:cubicBezTo>
                  <a:pt x="8073361" y="59372"/>
                  <a:pt x="8066040" y="56443"/>
                  <a:pt x="8060448" y="50852"/>
                </a:cubicBezTo>
                <a:cubicBezTo>
                  <a:pt x="8054857" y="45262"/>
                  <a:pt x="8052062" y="38206"/>
                  <a:pt x="8052062" y="29687"/>
                </a:cubicBezTo>
                <a:cubicBezTo>
                  <a:pt x="8052062" y="21434"/>
                  <a:pt x="8054857" y="14379"/>
                  <a:pt x="8060448" y="8654"/>
                </a:cubicBezTo>
                <a:cubicBezTo>
                  <a:pt x="8066040" y="2796"/>
                  <a:pt x="8073228" y="1"/>
                  <a:pt x="8082281" y="1"/>
                </a:cubicBezTo>
                <a:close/>
                <a:moveTo>
                  <a:pt x="8299793" y="1"/>
                </a:moveTo>
                <a:cubicBezTo>
                  <a:pt x="8304052" y="1"/>
                  <a:pt x="8308046" y="800"/>
                  <a:pt x="8311507" y="2530"/>
                </a:cubicBezTo>
                <a:cubicBezTo>
                  <a:pt x="8315235" y="4128"/>
                  <a:pt x="8318296" y="6257"/>
                  <a:pt x="8320825" y="8920"/>
                </a:cubicBezTo>
                <a:cubicBezTo>
                  <a:pt x="8323354" y="11449"/>
                  <a:pt x="8325484" y="14645"/>
                  <a:pt x="8326948" y="18239"/>
                </a:cubicBezTo>
                <a:cubicBezTo>
                  <a:pt x="8328413" y="21833"/>
                  <a:pt x="8329212" y="25693"/>
                  <a:pt x="8329212" y="29687"/>
                </a:cubicBezTo>
                <a:cubicBezTo>
                  <a:pt x="8329212" y="33814"/>
                  <a:pt x="8328413" y="37807"/>
                  <a:pt x="8326948" y="41401"/>
                </a:cubicBezTo>
                <a:cubicBezTo>
                  <a:pt x="8325351" y="45128"/>
                  <a:pt x="8323354" y="48190"/>
                  <a:pt x="8320825" y="50852"/>
                </a:cubicBezTo>
                <a:cubicBezTo>
                  <a:pt x="8318163" y="53515"/>
                  <a:pt x="8315101" y="55645"/>
                  <a:pt x="8311507" y="57109"/>
                </a:cubicBezTo>
                <a:cubicBezTo>
                  <a:pt x="8307913" y="58573"/>
                  <a:pt x="8304052" y="59372"/>
                  <a:pt x="8299793" y="59372"/>
                </a:cubicBezTo>
                <a:cubicBezTo>
                  <a:pt x="8290874" y="59372"/>
                  <a:pt x="8283553" y="56443"/>
                  <a:pt x="8277960" y="50852"/>
                </a:cubicBezTo>
                <a:cubicBezTo>
                  <a:pt x="8272370" y="45262"/>
                  <a:pt x="8269574" y="38206"/>
                  <a:pt x="8269574" y="29687"/>
                </a:cubicBezTo>
                <a:cubicBezTo>
                  <a:pt x="8269574" y="21434"/>
                  <a:pt x="8272370" y="14378"/>
                  <a:pt x="8277960" y="8654"/>
                </a:cubicBezTo>
                <a:cubicBezTo>
                  <a:pt x="8283553" y="2796"/>
                  <a:pt x="8290741" y="1"/>
                  <a:pt x="8299793" y="1"/>
                </a:cubicBezTo>
                <a:close/>
                <a:moveTo>
                  <a:pt x="8517438" y="1"/>
                </a:moveTo>
                <a:cubicBezTo>
                  <a:pt x="8521698" y="1"/>
                  <a:pt x="8525559" y="800"/>
                  <a:pt x="8529152" y="2530"/>
                </a:cubicBezTo>
                <a:cubicBezTo>
                  <a:pt x="8532880" y="4128"/>
                  <a:pt x="8535941" y="6257"/>
                  <a:pt x="8538470" y="8920"/>
                </a:cubicBezTo>
                <a:cubicBezTo>
                  <a:pt x="8541000" y="11449"/>
                  <a:pt x="8543130" y="14644"/>
                  <a:pt x="8544594" y="18238"/>
                </a:cubicBezTo>
                <a:cubicBezTo>
                  <a:pt x="8546058" y="21833"/>
                  <a:pt x="8546857" y="25693"/>
                  <a:pt x="8546857" y="29687"/>
                </a:cubicBezTo>
                <a:cubicBezTo>
                  <a:pt x="8546857" y="33814"/>
                  <a:pt x="8546058" y="37807"/>
                  <a:pt x="8544594" y="41401"/>
                </a:cubicBezTo>
                <a:cubicBezTo>
                  <a:pt x="8542997" y="45128"/>
                  <a:pt x="8541000" y="48190"/>
                  <a:pt x="8538470" y="50852"/>
                </a:cubicBezTo>
                <a:cubicBezTo>
                  <a:pt x="8535808" y="53515"/>
                  <a:pt x="8532747" y="55645"/>
                  <a:pt x="8529152" y="57109"/>
                </a:cubicBezTo>
                <a:cubicBezTo>
                  <a:pt x="8525559" y="58573"/>
                  <a:pt x="8521698" y="59372"/>
                  <a:pt x="8517438" y="59372"/>
                </a:cubicBezTo>
                <a:cubicBezTo>
                  <a:pt x="8508385" y="59372"/>
                  <a:pt x="8501197" y="56443"/>
                  <a:pt x="8495606" y="50852"/>
                </a:cubicBezTo>
                <a:cubicBezTo>
                  <a:pt x="8490015" y="45262"/>
                  <a:pt x="8487220" y="38206"/>
                  <a:pt x="8487220" y="29687"/>
                </a:cubicBezTo>
                <a:cubicBezTo>
                  <a:pt x="8487220" y="21434"/>
                  <a:pt x="8490015" y="14378"/>
                  <a:pt x="8495606" y="8654"/>
                </a:cubicBezTo>
                <a:cubicBezTo>
                  <a:pt x="8501197" y="2796"/>
                  <a:pt x="8508385" y="1"/>
                  <a:pt x="8517438" y="1"/>
                </a:cubicBezTo>
                <a:close/>
                <a:moveTo>
                  <a:pt x="8735083" y="1"/>
                </a:moveTo>
                <a:cubicBezTo>
                  <a:pt x="8739342" y="1"/>
                  <a:pt x="8743203" y="800"/>
                  <a:pt x="8746797" y="2530"/>
                </a:cubicBezTo>
                <a:cubicBezTo>
                  <a:pt x="8750391" y="4128"/>
                  <a:pt x="8753586" y="6257"/>
                  <a:pt x="8756115" y="8920"/>
                </a:cubicBezTo>
                <a:cubicBezTo>
                  <a:pt x="8758644" y="11449"/>
                  <a:pt x="8760774" y="14644"/>
                  <a:pt x="8762238" y="18238"/>
                </a:cubicBezTo>
                <a:cubicBezTo>
                  <a:pt x="8763702" y="21832"/>
                  <a:pt x="8764502" y="25692"/>
                  <a:pt x="8764502" y="29687"/>
                </a:cubicBezTo>
                <a:cubicBezTo>
                  <a:pt x="8764502" y="33814"/>
                  <a:pt x="8763702" y="37807"/>
                  <a:pt x="8762238" y="41401"/>
                </a:cubicBezTo>
                <a:cubicBezTo>
                  <a:pt x="8760641" y="45128"/>
                  <a:pt x="8758644" y="48190"/>
                  <a:pt x="8756115" y="50852"/>
                </a:cubicBezTo>
                <a:cubicBezTo>
                  <a:pt x="8753453" y="53515"/>
                  <a:pt x="8750391" y="55645"/>
                  <a:pt x="8746797" y="57109"/>
                </a:cubicBezTo>
                <a:cubicBezTo>
                  <a:pt x="8743203" y="58573"/>
                  <a:pt x="8739342" y="59372"/>
                  <a:pt x="8735083" y="59372"/>
                </a:cubicBezTo>
                <a:cubicBezTo>
                  <a:pt x="8726030" y="59372"/>
                  <a:pt x="8718841" y="56443"/>
                  <a:pt x="8713250" y="50852"/>
                </a:cubicBezTo>
                <a:cubicBezTo>
                  <a:pt x="8707660" y="45262"/>
                  <a:pt x="8704864" y="38206"/>
                  <a:pt x="8704864" y="29687"/>
                </a:cubicBezTo>
                <a:cubicBezTo>
                  <a:pt x="8704864" y="21433"/>
                  <a:pt x="8707660" y="14378"/>
                  <a:pt x="8713250" y="8654"/>
                </a:cubicBezTo>
                <a:cubicBezTo>
                  <a:pt x="8718841" y="2796"/>
                  <a:pt x="8726030" y="1"/>
                  <a:pt x="8735083" y="1"/>
                </a:cubicBezTo>
                <a:close/>
                <a:moveTo>
                  <a:pt x="8952728" y="1"/>
                </a:moveTo>
                <a:cubicBezTo>
                  <a:pt x="8956988" y="1"/>
                  <a:pt x="8960849" y="800"/>
                  <a:pt x="8964442" y="2530"/>
                </a:cubicBezTo>
                <a:cubicBezTo>
                  <a:pt x="8968037" y="4128"/>
                  <a:pt x="8971231" y="6257"/>
                  <a:pt x="8973760" y="8920"/>
                </a:cubicBezTo>
                <a:cubicBezTo>
                  <a:pt x="8976290" y="11449"/>
                  <a:pt x="8978419" y="14644"/>
                  <a:pt x="8979884" y="18238"/>
                </a:cubicBezTo>
                <a:cubicBezTo>
                  <a:pt x="8981348" y="21832"/>
                  <a:pt x="8982147" y="25692"/>
                  <a:pt x="8982147" y="29686"/>
                </a:cubicBezTo>
                <a:cubicBezTo>
                  <a:pt x="8982147" y="33814"/>
                  <a:pt x="8981348" y="37807"/>
                  <a:pt x="8979884" y="41401"/>
                </a:cubicBezTo>
                <a:cubicBezTo>
                  <a:pt x="8978287" y="45128"/>
                  <a:pt x="8976290" y="48190"/>
                  <a:pt x="8973760" y="50852"/>
                </a:cubicBezTo>
                <a:cubicBezTo>
                  <a:pt x="8971098" y="53515"/>
                  <a:pt x="8968037" y="55645"/>
                  <a:pt x="8964442" y="57109"/>
                </a:cubicBezTo>
                <a:cubicBezTo>
                  <a:pt x="8960849" y="58573"/>
                  <a:pt x="8956988" y="59372"/>
                  <a:pt x="8952728" y="59372"/>
                </a:cubicBezTo>
                <a:cubicBezTo>
                  <a:pt x="8943808" y="59372"/>
                  <a:pt x="8936487" y="56443"/>
                  <a:pt x="8930896" y="50852"/>
                </a:cubicBezTo>
                <a:cubicBezTo>
                  <a:pt x="8925305" y="45262"/>
                  <a:pt x="8922510" y="38206"/>
                  <a:pt x="8922510" y="29686"/>
                </a:cubicBezTo>
                <a:cubicBezTo>
                  <a:pt x="8922510" y="21433"/>
                  <a:pt x="8925305" y="14378"/>
                  <a:pt x="8930896" y="8654"/>
                </a:cubicBezTo>
                <a:cubicBezTo>
                  <a:pt x="8936487" y="2796"/>
                  <a:pt x="8943675" y="1"/>
                  <a:pt x="8952728" y="1"/>
                </a:cubicBezTo>
                <a:close/>
                <a:moveTo>
                  <a:pt x="9170374" y="1"/>
                </a:moveTo>
                <a:cubicBezTo>
                  <a:pt x="9174500" y="1"/>
                  <a:pt x="9178494" y="800"/>
                  <a:pt x="9182088" y="2530"/>
                </a:cubicBezTo>
                <a:cubicBezTo>
                  <a:pt x="9185682" y="4128"/>
                  <a:pt x="9188876" y="6257"/>
                  <a:pt x="9191405" y="8920"/>
                </a:cubicBezTo>
                <a:cubicBezTo>
                  <a:pt x="9193935" y="11449"/>
                  <a:pt x="9196065" y="14644"/>
                  <a:pt x="9197529" y="18238"/>
                </a:cubicBezTo>
                <a:cubicBezTo>
                  <a:pt x="9198993" y="21832"/>
                  <a:pt x="9199792" y="25692"/>
                  <a:pt x="9199792" y="29686"/>
                </a:cubicBezTo>
                <a:cubicBezTo>
                  <a:pt x="9199792" y="33813"/>
                  <a:pt x="9198993" y="37807"/>
                  <a:pt x="9197529" y="41401"/>
                </a:cubicBezTo>
                <a:cubicBezTo>
                  <a:pt x="9195932" y="45128"/>
                  <a:pt x="9193935" y="48190"/>
                  <a:pt x="9191405" y="50852"/>
                </a:cubicBezTo>
                <a:cubicBezTo>
                  <a:pt x="9188744" y="53515"/>
                  <a:pt x="9185682" y="55645"/>
                  <a:pt x="9182088" y="57109"/>
                </a:cubicBezTo>
                <a:cubicBezTo>
                  <a:pt x="9178494" y="58573"/>
                  <a:pt x="9174633" y="59372"/>
                  <a:pt x="9170374" y="59372"/>
                </a:cubicBezTo>
                <a:cubicBezTo>
                  <a:pt x="9161453" y="59372"/>
                  <a:pt x="9154132" y="56443"/>
                  <a:pt x="9148541" y="50852"/>
                </a:cubicBezTo>
                <a:cubicBezTo>
                  <a:pt x="9142951" y="45262"/>
                  <a:pt x="9140155" y="38206"/>
                  <a:pt x="9140155" y="29686"/>
                </a:cubicBezTo>
                <a:cubicBezTo>
                  <a:pt x="9140155" y="21433"/>
                  <a:pt x="9142951" y="14378"/>
                  <a:pt x="9148541" y="8654"/>
                </a:cubicBezTo>
                <a:cubicBezTo>
                  <a:pt x="9154132" y="2796"/>
                  <a:pt x="9161321" y="1"/>
                  <a:pt x="9170374" y="1"/>
                </a:cubicBezTo>
                <a:close/>
                <a:moveTo>
                  <a:pt x="9387885" y="1"/>
                </a:moveTo>
                <a:cubicBezTo>
                  <a:pt x="9392145" y="1"/>
                  <a:pt x="9396138" y="800"/>
                  <a:pt x="9399599" y="2530"/>
                </a:cubicBezTo>
                <a:cubicBezTo>
                  <a:pt x="9403194" y="4128"/>
                  <a:pt x="9406388" y="6257"/>
                  <a:pt x="9408917" y="8920"/>
                </a:cubicBezTo>
                <a:cubicBezTo>
                  <a:pt x="9411447" y="11449"/>
                  <a:pt x="9413576" y="14644"/>
                  <a:pt x="9415041" y="18238"/>
                </a:cubicBezTo>
                <a:cubicBezTo>
                  <a:pt x="9416505" y="21832"/>
                  <a:pt x="9417304" y="25692"/>
                  <a:pt x="9417304" y="29686"/>
                </a:cubicBezTo>
                <a:cubicBezTo>
                  <a:pt x="9417304" y="33813"/>
                  <a:pt x="9416505" y="37806"/>
                  <a:pt x="9415041" y="41400"/>
                </a:cubicBezTo>
                <a:cubicBezTo>
                  <a:pt x="9413444" y="45128"/>
                  <a:pt x="9411447" y="48190"/>
                  <a:pt x="9408917" y="50852"/>
                </a:cubicBezTo>
                <a:cubicBezTo>
                  <a:pt x="9406255" y="53515"/>
                  <a:pt x="9403194" y="55645"/>
                  <a:pt x="9399599" y="57109"/>
                </a:cubicBezTo>
                <a:cubicBezTo>
                  <a:pt x="9396005" y="58573"/>
                  <a:pt x="9392145" y="59372"/>
                  <a:pt x="9387885" y="59372"/>
                </a:cubicBezTo>
                <a:cubicBezTo>
                  <a:pt x="9378965" y="59372"/>
                  <a:pt x="9371644" y="56443"/>
                  <a:pt x="9366053" y="50852"/>
                </a:cubicBezTo>
                <a:cubicBezTo>
                  <a:pt x="9360462" y="45261"/>
                  <a:pt x="9357667" y="38205"/>
                  <a:pt x="9357667" y="29686"/>
                </a:cubicBezTo>
                <a:cubicBezTo>
                  <a:pt x="9357667" y="21433"/>
                  <a:pt x="9360462" y="14378"/>
                  <a:pt x="9366053" y="8654"/>
                </a:cubicBezTo>
                <a:cubicBezTo>
                  <a:pt x="9371644" y="2796"/>
                  <a:pt x="9378832" y="1"/>
                  <a:pt x="9387885" y="1"/>
                </a:cubicBezTo>
                <a:close/>
                <a:moveTo>
                  <a:pt x="9605531" y="1"/>
                </a:moveTo>
                <a:cubicBezTo>
                  <a:pt x="9609790" y="1"/>
                  <a:pt x="9613784" y="800"/>
                  <a:pt x="9617245" y="2530"/>
                </a:cubicBezTo>
                <a:cubicBezTo>
                  <a:pt x="9620839" y="4128"/>
                  <a:pt x="9624033" y="6257"/>
                  <a:pt x="9626562" y="8920"/>
                </a:cubicBezTo>
                <a:cubicBezTo>
                  <a:pt x="9629092" y="11449"/>
                  <a:pt x="9631222" y="14644"/>
                  <a:pt x="9632686" y="18238"/>
                </a:cubicBezTo>
                <a:cubicBezTo>
                  <a:pt x="9634150" y="21832"/>
                  <a:pt x="9634949" y="25692"/>
                  <a:pt x="9634949" y="29686"/>
                </a:cubicBezTo>
                <a:cubicBezTo>
                  <a:pt x="9634949" y="33813"/>
                  <a:pt x="9634150" y="37806"/>
                  <a:pt x="9632686" y="41400"/>
                </a:cubicBezTo>
                <a:cubicBezTo>
                  <a:pt x="9631089" y="45127"/>
                  <a:pt x="9629092" y="48189"/>
                  <a:pt x="9626562" y="50852"/>
                </a:cubicBezTo>
                <a:cubicBezTo>
                  <a:pt x="9623901" y="53515"/>
                  <a:pt x="9620839" y="55645"/>
                  <a:pt x="9617245" y="57109"/>
                </a:cubicBezTo>
                <a:cubicBezTo>
                  <a:pt x="9613651" y="58573"/>
                  <a:pt x="9609790" y="59372"/>
                  <a:pt x="9605531" y="59372"/>
                </a:cubicBezTo>
                <a:cubicBezTo>
                  <a:pt x="9596610" y="59372"/>
                  <a:pt x="9589289" y="56443"/>
                  <a:pt x="9583698" y="50852"/>
                </a:cubicBezTo>
                <a:cubicBezTo>
                  <a:pt x="9578108" y="45261"/>
                  <a:pt x="9575312" y="38205"/>
                  <a:pt x="9575312" y="29686"/>
                </a:cubicBezTo>
                <a:cubicBezTo>
                  <a:pt x="9575312" y="21433"/>
                  <a:pt x="9578108" y="14378"/>
                  <a:pt x="9583698" y="8654"/>
                </a:cubicBezTo>
                <a:cubicBezTo>
                  <a:pt x="9589289" y="2796"/>
                  <a:pt x="9596478" y="1"/>
                  <a:pt x="9605531" y="1"/>
                </a:cubicBezTo>
                <a:close/>
                <a:moveTo>
                  <a:pt x="9823176" y="0"/>
                </a:moveTo>
                <a:cubicBezTo>
                  <a:pt x="9827435" y="0"/>
                  <a:pt x="9831296" y="799"/>
                  <a:pt x="9834890" y="2530"/>
                </a:cubicBezTo>
                <a:cubicBezTo>
                  <a:pt x="9838617" y="4127"/>
                  <a:pt x="9841679" y="6257"/>
                  <a:pt x="9844208" y="8920"/>
                </a:cubicBezTo>
                <a:cubicBezTo>
                  <a:pt x="9846737" y="11449"/>
                  <a:pt x="9848867" y="14644"/>
                  <a:pt x="9850331" y="18238"/>
                </a:cubicBezTo>
                <a:cubicBezTo>
                  <a:pt x="9851796" y="21832"/>
                  <a:pt x="9852595" y="25692"/>
                  <a:pt x="9852595" y="29686"/>
                </a:cubicBezTo>
                <a:cubicBezTo>
                  <a:pt x="9852595" y="33813"/>
                  <a:pt x="9851796" y="37806"/>
                  <a:pt x="9850331" y="41400"/>
                </a:cubicBezTo>
                <a:cubicBezTo>
                  <a:pt x="9848734" y="45127"/>
                  <a:pt x="9846737" y="48189"/>
                  <a:pt x="9844208" y="50851"/>
                </a:cubicBezTo>
                <a:cubicBezTo>
                  <a:pt x="9841546" y="53514"/>
                  <a:pt x="9838484" y="55644"/>
                  <a:pt x="9834890" y="57109"/>
                </a:cubicBezTo>
                <a:cubicBezTo>
                  <a:pt x="9831296" y="58573"/>
                  <a:pt x="9827435" y="59372"/>
                  <a:pt x="9823176" y="59372"/>
                </a:cubicBezTo>
                <a:cubicBezTo>
                  <a:pt x="9814123" y="59372"/>
                  <a:pt x="9806935" y="56442"/>
                  <a:pt x="9801343" y="50851"/>
                </a:cubicBezTo>
                <a:cubicBezTo>
                  <a:pt x="9795753" y="45261"/>
                  <a:pt x="9792957" y="38205"/>
                  <a:pt x="9792957" y="29686"/>
                </a:cubicBezTo>
                <a:cubicBezTo>
                  <a:pt x="9792957" y="21433"/>
                  <a:pt x="9795753" y="14378"/>
                  <a:pt x="9801343" y="8654"/>
                </a:cubicBezTo>
                <a:cubicBezTo>
                  <a:pt x="9806935" y="2795"/>
                  <a:pt x="9814123" y="0"/>
                  <a:pt x="9823176" y="0"/>
                </a:cubicBezTo>
                <a:close/>
                <a:moveTo>
                  <a:pt x="10040820" y="0"/>
                </a:moveTo>
                <a:cubicBezTo>
                  <a:pt x="10045080" y="0"/>
                  <a:pt x="10048941" y="799"/>
                  <a:pt x="10052534" y="2529"/>
                </a:cubicBezTo>
                <a:cubicBezTo>
                  <a:pt x="10056129" y="4127"/>
                  <a:pt x="10059323" y="6256"/>
                  <a:pt x="10061852" y="8919"/>
                </a:cubicBezTo>
                <a:cubicBezTo>
                  <a:pt x="10064382" y="11449"/>
                  <a:pt x="10066512" y="14644"/>
                  <a:pt x="10067976" y="18238"/>
                </a:cubicBezTo>
                <a:cubicBezTo>
                  <a:pt x="10069440" y="21832"/>
                  <a:pt x="10070239" y="25692"/>
                  <a:pt x="10070239" y="29686"/>
                </a:cubicBezTo>
                <a:cubicBezTo>
                  <a:pt x="10070239" y="33813"/>
                  <a:pt x="10069440" y="37806"/>
                  <a:pt x="10067976" y="41400"/>
                </a:cubicBezTo>
                <a:cubicBezTo>
                  <a:pt x="10066379" y="45127"/>
                  <a:pt x="10064382" y="48189"/>
                  <a:pt x="10061852" y="50851"/>
                </a:cubicBezTo>
                <a:cubicBezTo>
                  <a:pt x="10059190" y="53514"/>
                  <a:pt x="10056129" y="55644"/>
                  <a:pt x="10052534" y="57108"/>
                </a:cubicBezTo>
                <a:cubicBezTo>
                  <a:pt x="10048941" y="58572"/>
                  <a:pt x="10045080" y="59371"/>
                  <a:pt x="10040820" y="59371"/>
                </a:cubicBezTo>
                <a:cubicBezTo>
                  <a:pt x="10031767" y="59371"/>
                  <a:pt x="10024579" y="56442"/>
                  <a:pt x="10018988" y="50851"/>
                </a:cubicBezTo>
                <a:cubicBezTo>
                  <a:pt x="10013397" y="45261"/>
                  <a:pt x="10010602" y="38205"/>
                  <a:pt x="10010602" y="29686"/>
                </a:cubicBezTo>
                <a:cubicBezTo>
                  <a:pt x="10010602" y="21433"/>
                  <a:pt x="10013397" y="14378"/>
                  <a:pt x="10018988" y="8653"/>
                </a:cubicBezTo>
                <a:cubicBezTo>
                  <a:pt x="10024579" y="2795"/>
                  <a:pt x="10031767" y="0"/>
                  <a:pt x="10040820" y="0"/>
                </a:cubicBezTo>
                <a:close/>
                <a:moveTo>
                  <a:pt x="10258466" y="0"/>
                </a:moveTo>
                <a:cubicBezTo>
                  <a:pt x="10262592" y="0"/>
                  <a:pt x="10266586" y="799"/>
                  <a:pt x="10270313" y="2529"/>
                </a:cubicBezTo>
                <a:cubicBezTo>
                  <a:pt x="10273907" y="4127"/>
                  <a:pt x="10277101" y="6256"/>
                  <a:pt x="10279631" y="8919"/>
                </a:cubicBezTo>
                <a:cubicBezTo>
                  <a:pt x="10282160" y="11448"/>
                  <a:pt x="10284290" y="14644"/>
                  <a:pt x="10285754" y="18238"/>
                </a:cubicBezTo>
                <a:cubicBezTo>
                  <a:pt x="10287218" y="21832"/>
                  <a:pt x="10288017" y="25692"/>
                  <a:pt x="10288017" y="29686"/>
                </a:cubicBezTo>
                <a:cubicBezTo>
                  <a:pt x="10288017" y="33813"/>
                  <a:pt x="10287218" y="37806"/>
                  <a:pt x="10285754" y="41400"/>
                </a:cubicBezTo>
                <a:cubicBezTo>
                  <a:pt x="10284157" y="45127"/>
                  <a:pt x="10282160" y="48189"/>
                  <a:pt x="10279631" y="50851"/>
                </a:cubicBezTo>
                <a:cubicBezTo>
                  <a:pt x="10276969" y="53514"/>
                  <a:pt x="10273907" y="55644"/>
                  <a:pt x="10270313" y="57108"/>
                </a:cubicBezTo>
                <a:cubicBezTo>
                  <a:pt x="10266586" y="58572"/>
                  <a:pt x="10262725" y="59371"/>
                  <a:pt x="10258466" y="59371"/>
                </a:cubicBezTo>
                <a:cubicBezTo>
                  <a:pt x="10249546" y="59371"/>
                  <a:pt x="10242224" y="56442"/>
                  <a:pt x="10236633" y="50851"/>
                </a:cubicBezTo>
                <a:cubicBezTo>
                  <a:pt x="10231043" y="45261"/>
                  <a:pt x="10228247" y="38205"/>
                  <a:pt x="10228247" y="29686"/>
                </a:cubicBezTo>
                <a:cubicBezTo>
                  <a:pt x="10228247" y="21433"/>
                  <a:pt x="10231043" y="14377"/>
                  <a:pt x="10236633" y="8653"/>
                </a:cubicBezTo>
                <a:cubicBezTo>
                  <a:pt x="10242092" y="2795"/>
                  <a:pt x="10249413" y="0"/>
                  <a:pt x="10258466" y="0"/>
                </a:cubicBezTo>
                <a:close/>
                <a:moveTo>
                  <a:pt x="10475977" y="0"/>
                </a:moveTo>
                <a:cubicBezTo>
                  <a:pt x="10480237" y="0"/>
                  <a:pt x="10484230" y="799"/>
                  <a:pt x="10487824" y="2529"/>
                </a:cubicBezTo>
                <a:cubicBezTo>
                  <a:pt x="10491419" y="4127"/>
                  <a:pt x="10494613" y="6256"/>
                  <a:pt x="10497143" y="8919"/>
                </a:cubicBezTo>
                <a:cubicBezTo>
                  <a:pt x="10499672" y="11448"/>
                  <a:pt x="10501801" y="14643"/>
                  <a:pt x="10503266" y="18237"/>
                </a:cubicBezTo>
                <a:cubicBezTo>
                  <a:pt x="10504730" y="21832"/>
                  <a:pt x="10505529" y="25692"/>
                  <a:pt x="10505529" y="29686"/>
                </a:cubicBezTo>
                <a:cubicBezTo>
                  <a:pt x="10505529" y="33813"/>
                  <a:pt x="10504730" y="37806"/>
                  <a:pt x="10503266" y="41400"/>
                </a:cubicBezTo>
                <a:cubicBezTo>
                  <a:pt x="10501669" y="45127"/>
                  <a:pt x="10499672" y="48189"/>
                  <a:pt x="10497143" y="50851"/>
                </a:cubicBezTo>
                <a:cubicBezTo>
                  <a:pt x="10494480" y="53514"/>
                  <a:pt x="10491419" y="55644"/>
                  <a:pt x="10487824" y="57108"/>
                </a:cubicBezTo>
                <a:cubicBezTo>
                  <a:pt x="10484098" y="58572"/>
                  <a:pt x="10480237" y="59371"/>
                  <a:pt x="10475977" y="59371"/>
                </a:cubicBezTo>
                <a:cubicBezTo>
                  <a:pt x="10466924" y="59371"/>
                  <a:pt x="10459736" y="56442"/>
                  <a:pt x="10454145" y="50851"/>
                </a:cubicBezTo>
                <a:cubicBezTo>
                  <a:pt x="10448554" y="45261"/>
                  <a:pt x="10445759" y="38205"/>
                  <a:pt x="10445759" y="29686"/>
                </a:cubicBezTo>
                <a:cubicBezTo>
                  <a:pt x="10445759" y="21433"/>
                  <a:pt x="10448554" y="14377"/>
                  <a:pt x="10454145" y="8653"/>
                </a:cubicBezTo>
                <a:cubicBezTo>
                  <a:pt x="10459603" y="2795"/>
                  <a:pt x="10466924" y="0"/>
                  <a:pt x="10475977" y="0"/>
                </a:cubicBezTo>
                <a:close/>
              </a:path>
            </a:pathLst>
          </a:custGeom>
          <a:solidFill>
            <a:schemeClr val="tx1">
              <a:alpha val="15000"/>
            </a:schemeClr>
          </a:solidFill>
          <a:ln w="1330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32D24001-1159-4FD8-82D5-EC81A71AEB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7" y="2041303"/>
            <a:ext cx="6192837" cy="58759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3800" b="1" i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72E1E25C-4F9B-479D-BEA0-664F88AA68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0237" y="2808523"/>
            <a:ext cx="6192837" cy="558770"/>
          </a:xfrm>
          <a:prstGeom prst="rect">
            <a:avLst/>
          </a:prstGeom>
        </p:spPr>
        <p:txBody>
          <a:bodyPr/>
          <a:lstStyle>
            <a:lvl1pPr>
              <a:defRPr sz="1600" b="0" i="0" cap="all" baseline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588148C6-761D-4DD4-A3A2-069032295D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2046" y="4475311"/>
            <a:ext cx="1943186" cy="306237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r">
              <a:defRPr lang="en-GB" sz="19900" b="1" i="0" smtClean="0">
                <a:solidFill>
                  <a:schemeClr val="tx2"/>
                </a:solidFill>
                <a:effectLst/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grpSp>
        <p:nvGrpSpPr>
          <p:cNvPr id="9" name="Graphic 1">
            <a:extLst>
              <a:ext uri="{FF2B5EF4-FFF2-40B4-BE49-F238E27FC236}">
                <a16:creationId xmlns:a16="http://schemas.microsoft.com/office/drawing/2014/main" id="{D7DAEA93-1139-4E8A-B835-6512B73A62DA}"/>
              </a:ext>
            </a:extLst>
          </p:cNvPr>
          <p:cNvGrpSpPr/>
          <p:nvPr userDrawn="1"/>
        </p:nvGrpSpPr>
        <p:grpSpPr>
          <a:xfrm>
            <a:off x="8272212" y="499823"/>
            <a:ext cx="1764134" cy="455059"/>
            <a:chOff x="8296584" y="578645"/>
            <a:chExt cx="1764134" cy="455059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A846A3E-B1B3-4C20-AF0D-C2911478F7C9}"/>
                </a:ext>
              </a:extLst>
            </p:cNvPr>
            <p:cNvSpPr/>
            <p:nvPr/>
          </p:nvSpPr>
          <p:spPr>
            <a:xfrm>
              <a:off x="8296584" y="578645"/>
              <a:ext cx="1265439" cy="211945"/>
            </a:xfrm>
            <a:custGeom>
              <a:avLst/>
              <a:gdLst>
                <a:gd name="connsiteX0" fmla="*/ 1164765 w 1265438"/>
                <a:gd name="connsiteY0" fmla="*/ 4114 h 211945"/>
                <a:gd name="connsiteX1" fmla="*/ 1142885 w 1265438"/>
                <a:gd name="connsiteY1" fmla="*/ 15958 h 211945"/>
                <a:gd name="connsiteX2" fmla="*/ 1128298 w 1265438"/>
                <a:gd name="connsiteY2" fmla="*/ 34659 h 211945"/>
                <a:gd name="connsiteX3" fmla="*/ 1122937 w 1265438"/>
                <a:gd name="connsiteY3" fmla="*/ 59220 h 211945"/>
                <a:gd name="connsiteX4" fmla="*/ 1126739 w 1265438"/>
                <a:gd name="connsiteY4" fmla="*/ 79168 h 211945"/>
                <a:gd name="connsiteX5" fmla="*/ 1137212 w 1265438"/>
                <a:gd name="connsiteY5" fmla="*/ 95313 h 211945"/>
                <a:gd name="connsiteX6" fmla="*/ 1153233 w 1265438"/>
                <a:gd name="connsiteY6" fmla="*/ 108466 h 211945"/>
                <a:gd name="connsiteX7" fmla="*/ 1173679 w 1265438"/>
                <a:gd name="connsiteY7" fmla="*/ 119375 h 211945"/>
                <a:gd name="connsiteX8" fmla="*/ 1195871 w 1265438"/>
                <a:gd name="connsiteY8" fmla="*/ 129536 h 211945"/>
                <a:gd name="connsiteX9" fmla="*/ 1215507 w 1265438"/>
                <a:gd name="connsiteY9" fmla="*/ 140320 h 211945"/>
                <a:gd name="connsiteX10" fmla="*/ 1222489 w 1265438"/>
                <a:gd name="connsiteY10" fmla="*/ 155530 h 211945"/>
                <a:gd name="connsiteX11" fmla="*/ 1214697 w 1265438"/>
                <a:gd name="connsiteY11" fmla="*/ 172611 h 211945"/>
                <a:gd name="connsiteX12" fmla="*/ 1192941 w 1265438"/>
                <a:gd name="connsiteY12" fmla="*/ 178657 h 211945"/>
                <a:gd name="connsiteX13" fmla="*/ 1175798 w 1265438"/>
                <a:gd name="connsiteY13" fmla="*/ 176102 h 211945"/>
                <a:gd name="connsiteX14" fmla="*/ 1162022 w 1265438"/>
                <a:gd name="connsiteY14" fmla="*/ 169307 h 211945"/>
                <a:gd name="connsiteX15" fmla="*/ 1150739 w 1265438"/>
                <a:gd name="connsiteY15" fmla="*/ 159645 h 211945"/>
                <a:gd name="connsiteX16" fmla="*/ 1141513 w 1265438"/>
                <a:gd name="connsiteY16" fmla="*/ 148237 h 211945"/>
                <a:gd name="connsiteX17" fmla="*/ 1112028 w 1265438"/>
                <a:gd name="connsiteY17" fmla="*/ 170367 h 211945"/>
                <a:gd name="connsiteX18" fmla="*/ 1144568 w 1265438"/>
                <a:gd name="connsiteY18" fmla="*/ 203904 h 211945"/>
                <a:gd name="connsiteX19" fmla="*/ 1192941 w 1265438"/>
                <a:gd name="connsiteY19" fmla="*/ 216558 h 211945"/>
                <a:gd name="connsiteX20" fmla="*/ 1221803 w 1265438"/>
                <a:gd name="connsiteY20" fmla="*/ 212257 h 211945"/>
                <a:gd name="connsiteX21" fmla="*/ 1244930 w 1265438"/>
                <a:gd name="connsiteY21" fmla="*/ 199914 h 211945"/>
                <a:gd name="connsiteX22" fmla="*/ 1260452 w 1265438"/>
                <a:gd name="connsiteY22" fmla="*/ 180153 h 211945"/>
                <a:gd name="connsiteX23" fmla="*/ 1266187 w 1265438"/>
                <a:gd name="connsiteY23" fmla="*/ 153847 h 211945"/>
                <a:gd name="connsiteX24" fmla="*/ 1252722 w 1265438"/>
                <a:gd name="connsiteY24" fmla="*/ 117630 h 211945"/>
                <a:gd name="connsiteX25" fmla="*/ 1214510 w 1265438"/>
                <a:gd name="connsiteY25" fmla="*/ 92757 h 211945"/>
                <a:gd name="connsiteX26" fmla="*/ 1190697 w 1265438"/>
                <a:gd name="connsiteY26" fmla="*/ 82285 h 211945"/>
                <a:gd name="connsiteX27" fmla="*/ 1172619 w 1265438"/>
                <a:gd name="connsiteY27" fmla="*/ 72186 h 211945"/>
                <a:gd name="connsiteX28" fmla="*/ 1166261 w 1265438"/>
                <a:gd name="connsiteY28" fmla="*/ 58285 h 211945"/>
                <a:gd name="connsiteX29" fmla="*/ 1173866 w 1265438"/>
                <a:gd name="connsiteY29" fmla="*/ 42950 h 211945"/>
                <a:gd name="connsiteX30" fmla="*/ 1192255 w 1265438"/>
                <a:gd name="connsiteY30" fmla="*/ 38025 h 211945"/>
                <a:gd name="connsiteX31" fmla="*/ 1214946 w 1265438"/>
                <a:gd name="connsiteY31" fmla="*/ 44384 h 211945"/>
                <a:gd name="connsiteX32" fmla="*/ 1232213 w 1265438"/>
                <a:gd name="connsiteY32" fmla="*/ 62088 h 211945"/>
                <a:gd name="connsiteX33" fmla="*/ 1261387 w 1265438"/>
                <a:gd name="connsiteY33" fmla="*/ 39584 h 211945"/>
                <a:gd name="connsiteX34" fmla="*/ 1234582 w 1265438"/>
                <a:gd name="connsiteY34" fmla="*/ 11221 h 211945"/>
                <a:gd name="connsiteX35" fmla="*/ 1191944 w 1265438"/>
                <a:gd name="connsiteY35" fmla="*/ 0 h 211945"/>
                <a:gd name="connsiteX36" fmla="*/ 1164765 w 1265438"/>
                <a:gd name="connsiteY36" fmla="*/ 4114 h 211945"/>
                <a:gd name="connsiteX37" fmla="*/ 1008673 w 1265438"/>
                <a:gd name="connsiteY37" fmla="*/ 41454 h 211945"/>
                <a:gd name="connsiteX38" fmla="*/ 1032174 w 1265438"/>
                <a:gd name="connsiteY38" fmla="*/ 49682 h 211945"/>
                <a:gd name="connsiteX39" fmla="*/ 1040403 w 1265438"/>
                <a:gd name="connsiteY39" fmla="*/ 71189 h 211945"/>
                <a:gd name="connsiteX40" fmla="*/ 1032174 w 1265438"/>
                <a:gd name="connsiteY40" fmla="*/ 93007 h 211945"/>
                <a:gd name="connsiteX41" fmla="*/ 1008673 w 1265438"/>
                <a:gd name="connsiteY41" fmla="*/ 101235 h 211945"/>
                <a:gd name="connsiteX42" fmla="*/ 972830 w 1265438"/>
                <a:gd name="connsiteY42" fmla="*/ 101235 h 211945"/>
                <a:gd name="connsiteX43" fmla="*/ 972830 w 1265438"/>
                <a:gd name="connsiteY43" fmla="*/ 41392 h 211945"/>
                <a:gd name="connsiteX44" fmla="*/ 1008673 w 1265438"/>
                <a:gd name="connsiteY44" fmla="*/ 41392 h 211945"/>
                <a:gd name="connsiteX45" fmla="*/ 930004 w 1265438"/>
                <a:gd name="connsiteY45" fmla="*/ 3803 h 211945"/>
                <a:gd name="connsiteX46" fmla="*/ 930004 w 1265438"/>
                <a:gd name="connsiteY46" fmla="*/ 212756 h 211945"/>
                <a:gd name="connsiteX47" fmla="*/ 972830 w 1265438"/>
                <a:gd name="connsiteY47" fmla="*/ 212756 h 211945"/>
                <a:gd name="connsiteX48" fmla="*/ 972830 w 1265438"/>
                <a:gd name="connsiteY48" fmla="*/ 139011 h 211945"/>
                <a:gd name="connsiteX49" fmla="*/ 1003936 w 1265438"/>
                <a:gd name="connsiteY49" fmla="*/ 139011 h 211945"/>
                <a:gd name="connsiteX50" fmla="*/ 1058169 w 1265438"/>
                <a:gd name="connsiteY50" fmla="*/ 212756 h 211945"/>
                <a:gd name="connsiteX51" fmla="*/ 1106355 w 1265438"/>
                <a:gd name="connsiteY51" fmla="*/ 212756 h 211945"/>
                <a:gd name="connsiteX52" fmla="*/ 1047384 w 1265438"/>
                <a:gd name="connsiteY52" fmla="*/ 130783 h 211945"/>
                <a:gd name="connsiteX53" fmla="*/ 1074314 w 1265438"/>
                <a:gd name="connsiteY53" fmla="*/ 107219 h 211945"/>
                <a:gd name="connsiteX54" fmla="*/ 1084163 w 1265438"/>
                <a:gd name="connsiteY54" fmla="*/ 71313 h 211945"/>
                <a:gd name="connsiteX55" fmla="*/ 1078615 w 1265438"/>
                <a:gd name="connsiteY55" fmla="*/ 43636 h 211945"/>
                <a:gd name="connsiteX56" fmla="*/ 1063093 w 1265438"/>
                <a:gd name="connsiteY56" fmla="*/ 22254 h 211945"/>
                <a:gd name="connsiteX57" fmla="*/ 1039281 w 1265438"/>
                <a:gd name="connsiteY57" fmla="*/ 8665 h 211945"/>
                <a:gd name="connsiteX58" fmla="*/ 1008985 w 1265438"/>
                <a:gd name="connsiteY58" fmla="*/ 3927 h 211945"/>
                <a:gd name="connsiteX59" fmla="*/ 930004 w 1265438"/>
                <a:gd name="connsiteY59" fmla="*/ 3927 h 211945"/>
                <a:gd name="connsiteX60" fmla="*/ 901828 w 1265438"/>
                <a:gd name="connsiteY60" fmla="*/ 3803 h 211945"/>
                <a:gd name="connsiteX61" fmla="*/ 761009 w 1265438"/>
                <a:gd name="connsiteY61" fmla="*/ 3803 h 211945"/>
                <a:gd name="connsiteX62" fmla="*/ 761009 w 1265438"/>
                <a:gd name="connsiteY62" fmla="*/ 212756 h 211945"/>
                <a:gd name="connsiteX63" fmla="*/ 905630 w 1265438"/>
                <a:gd name="connsiteY63" fmla="*/ 212756 h 211945"/>
                <a:gd name="connsiteX64" fmla="*/ 905630 w 1265438"/>
                <a:gd name="connsiteY64" fmla="*/ 174107 h 211945"/>
                <a:gd name="connsiteX65" fmla="*/ 803834 w 1265438"/>
                <a:gd name="connsiteY65" fmla="*/ 174107 h 211945"/>
                <a:gd name="connsiteX66" fmla="*/ 803834 w 1265438"/>
                <a:gd name="connsiteY66" fmla="*/ 121245 h 211945"/>
                <a:gd name="connsiteX67" fmla="*/ 876145 w 1265438"/>
                <a:gd name="connsiteY67" fmla="*/ 121245 h 211945"/>
                <a:gd name="connsiteX68" fmla="*/ 876145 w 1265438"/>
                <a:gd name="connsiteY68" fmla="*/ 84840 h 211945"/>
                <a:gd name="connsiteX69" fmla="*/ 803834 w 1265438"/>
                <a:gd name="connsiteY69" fmla="*/ 84840 h 211945"/>
                <a:gd name="connsiteX70" fmla="*/ 803834 w 1265438"/>
                <a:gd name="connsiteY70" fmla="*/ 42451 h 211945"/>
                <a:gd name="connsiteX71" fmla="*/ 901828 w 1265438"/>
                <a:gd name="connsiteY71" fmla="*/ 42451 h 211945"/>
                <a:gd name="connsiteX72" fmla="*/ 901828 w 1265438"/>
                <a:gd name="connsiteY72" fmla="*/ 3803 h 211945"/>
                <a:gd name="connsiteX73" fmla="*/ 738755 w 1265438"/>
                <a:gd name="connsiteY73" fmla="*/ 3803 h 211945"/>
                <a:gd name="connsiteX74" fmla="*/ 690568 w 1265438"/>
                <a:gd name="connsiteY74" fmla="*/ 3803 h 211945"/>
                <a:gd name="connsiteX75" fmla="*/ 638205 w 1265438"/>
                <a:gd name="connsiteY75" fmla="*/ 130783 h 211945"/>
                <a:gd name="connsiteX76" fmla="*/ 585842 w 1265438"/>
                <a:gd name="connsiteY76" fmla="*/ 3803 h 211945"/>
                <a:gd name="connsiteX77" fmla="*/ 537656 w 1265438"/>
                <a:gd name="connsiteY77" fmla="*/ 3803 h 211945"/>
                <a:gd name="connsiteX78" fmla="*/ 631223 w 1265438"/>
                <a:gd name="connsiteY78" fmla="*/ 216558 h 211945"/>
                <a:gd name="connsiteX79" fmla="*/ 645187 w 1265438"/>
                <a:gd name="connsiteY79" fmla="*/ 216558 h 211945"/>
                <a:gd name="connsiteX80" fmla="*/ 738755 w 1265438"/>
                <a:gd name="connsiteY80" fmla="*/ 3803 h 211945"/>
                <a:gd name="connsiteX81" fmla="*/ 485604 w 1265438"/>
                <a:gd name="connsiteY81" fmla="*/ 79791 h 211945"/>
                <a:gd name="connsiteX82" fmla="*/ 513220 w 1265438"/>
                <a:gd name="connsiteY82" fmla="*/ 150419 h 211945"/>
                <a:gd name="connsiteX83" fmla="*/ 457740 w 1265438"/>
                <a:gd name="connsiteY83" fmla="*/ 150419 h 211945"/>
                <a:gd name="connsiteX84" fmla="*/ 485604 w 1265438"/>
                <a:gd name="connsiteY84" fmla="*/ 79791 h 211945"/>
                <a:gd name="connsiteX85" fmla="*/ 492586 w 1265438"/>
                <a:gd name="connsiteY85" fmla="*/ 0 h 211945"/>
                <a:gd name="connsiteX86" fmla="*/ 478623 w 1265438"/>
                <a:gd name="connsiteY86" fmla="*/ 0 h 211945"/>
                <a:gd name="connsiteX87" fmla="*/ 385055 w 1265438"/>
                <a:gd name="connsiteY87" fmla="*/ 212756 h 211945"/>
                <a:gd name="connsiteX88" fmla="*/ 431060 w 1265438"/>
                <a:gd name="connsiteY88" fmla="*/ 212756 h 211945"/>
                <a:gd name="connsiteX89" fmla="*/ 442779 w 1265438"/>
                <a:gd name="connsiteY89" fmla="*/ 185514 h 211945"/>
                <a:gd name="connsiteX90" fmla="*/ 528430 w 1265438"/>
                <a:gd name="connsiteY90" fmla="*/ 185514 h 211945"/>
                <a:gd name="connsiteX91" fmla="*/ 540149 w 1265438"/>
                <a:gd name="connsiteY91" fmla="*/ 212756 h 211945"/>
                <a:gd name="connsiteX92" fmla="*/ 586154 w 1265438"/>
                <a:gd name="connsiteY92" fmla="*/ 212756 h 211945"/>
                <a:gd name="connsiteX93" fmla="*/ 492586 w 1265438"/>
                <a:gd name="connsiteY93" fmla="*/ 0 h 211945"/>
                <a:gd name="connsiteX94" fmla="*/ 280703 w 1265438"/>
                <a:gd name="connsiteY94" fmla="*/ 41454 h 211945"/>
                <a:gd name="connsiteX95" fmla="*/ 304204 w 1265438"/>
                <a:gd name="connsiteY95" fmla="*/ 49682 h 211945"/>
                <a:gd name="connsiteX96" fmla="*/ 312433 w 1265438"/>
                <a:gd name="connsiteY96" fmla="*/ 71189 h 211945"/>
                <a:gd name="connsiteX97" fmla="*/ 304204 w 1265438"/>
                <a:gd name="connsiteY97" fmla="*/ 93007 h 211945"/>
                <a:gd name="connsiteX98" fmla="*/ 280703 w 1265438"/>
                <a:gd name="connsiteY98" fmla="*/ 101235 h 211945"/>
                <a:gd name="connsiteX99" fmla="*/ 244859 w 1265438"/>
                <a:gd name="connsiteY99" fmla="*/ 101235 h 211945"/>
                <a:gd name="connsiteX100" fmla="*/ 244859 w 1265438"/>
                <a:gd name="connsiteY100" fmla="*/ 41392 h 211945"/>
                <a:gd name="connsiteX101" fmla="*/ 280703 w 1265438"/>
                <a:gd name="connsiteY101" fmla="*/ 41392 h 211945"/>
                <a:gd name="connsiteX102" fmla="*/ 202034 w 1265438"/>
                <a:gd name="connsiteY102" fmla="*/ 3803 h 211945"/>
                <a:gd name="connsiteX103" fmla="*/ 202034 w 1265438"/>
                <a:gd name="connsiteY103" fmla="*/ 212756 h 211945"/>
                <a:gd name="connsiteX104" fmla="*/ 244859 w 1265438"/>
                <a:gd name="connsiteY104" fmla="*/ 212756 h 211945"/>
                <a:gd name="connsiteX105" fmla="*/ 244859 w 1265438"/>
                <a:gd name="connsiteY105" fmla="*/ 139011 h 211945"/>
                <a:gd name="connsiteX106" fmla="*/ 275965 w 1265438"/>
                <a:gd name="connsiteY106" fmla="*/ 139011 h 211945"/>
                <a:gd name="connsiteX107" fmla="*/ 330199 w 1265438"/>
                <a:gd name="connsiteY107" fmla="*/ 212756 h 211945"/>
                <a:gd name="connsiteX108" fmla="*/ 378385 w 1265438"/>
                <a:gd name="connsiteY108" fmla="*/ 212756 h 211945"/>
                <a:gd name="connsiteX109" fmla="*/ 319414 w 1265438"/>
                <a:gd name="connsiteY109" fmla="*/ 130783 h 211945"/>
                <a:gd name="connsiteX110" fmla="*/ 346344 w 1265438"/>
                <a:gd name="connsiteY110" fmla="*/ 107219 h 211945"/>
                <a:gd name="connsiteX111" fmla="*/ 356193 w 1265438"/>
                <a:gd name="connsiteY111" fmla="*/ 71313 h 211945"/>
                <a:gd name="connsiteX112" fmla="*/ 350645 w 1265438"/>
                <a:gd name="connsiteY112" fmla="*/ 43636 h 211945"/>
                <a:gd name="connsiteX113" fmla="*/ 335123 w 1265438"/>
                <a:gd name="connsiteY113" fmla="*/ 22254 h 211945"/>
                <a:gd name="connsiteX114" fmla="*/ 311310 w 1265438"/>
                <a:gd name="connsiteY114" fmla="*/ 8665 h 211945"/>
                <a:gd name="connsiteX115" fmla="*/ 281015 w 1265438"/>
                <a:gd name="connsiteY115" fmla="*/ 3927 h 211945"/>
                <a:gd name="connsiteX116" fmla="*/ 202034 w 1265438"/>
                <a:gd name="connsiteY116" fmla="*/ 3927 h 211945"/>
                <a:gd name="connsiteX117" fmla="*/ 176974 w 1265438"/>
                <a:gd name="connsiteY117" fmla="*/ 3803 h 211945"/>
                <a:gd name="connsiteX118" fmla="*/ 0 w 1265438"/>
                <a:gd name="connsiteY118" fmla="*/ 3803 h 211945"/>
                <a:gd name="connsiteX119" fmla="*/ 0 w 1265438"/>
                <a:gd name="connsiteY119" fmla="*/ 42451 h 211945"/>
                <a:gd name="connsiteX120" fmla="*/ 66950 w 1265438"/>
                <a:gd name="connsiteY120" fmla="*/ 42451 h 211945"/>
                <a:gd name="connsiteX121" fmla="*/ 66950 w 1265438"/>
                <a:gd name="connsiteY121" fmla="*/ 212756 h 211945"/>
                <a:gd name="connsiteX122" fmla="*/ 109775 w 1265438"/>
                <a:gd name="connsiteY122" fmla="*/ 212756 h 211945"/>
                <a:gd name="connsiteX123" fmla="*/ 109775 w 1265438"/>
                <a:gd name="connsiteY123" fmla="*/ 42451 h 211945"/>
                <a:gd name="connsiteX124" fmla="*/ 177037 w 1265438"/>
                <a:gd name="connsiteY124" fmla="*/ 42451 h 211945"/>
                <a:gd name="connsiteX125" fmla="*/ 177037 w 1265438"/>
                <a:gd name="connsiteY125" fmla="*/ 3803 h 21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265438" h="211945">
                  <a:moveTo>
                    <a:pt x="1164765" y="4114"/>
                  </a:moveTo>
                  <a:cubicBezTo>
                    <a:pt x="1156287" y="6857"/>
                    <a:pt x="1148994" y="10847"/>
                    <a:pt x="1142885" y="15958"/>
                  </a:cubicBezTo>
                  <a:cubicBezTo>
                    <a:pt x="1136776" y="21132"/>
                    <a:pt x="1131913" y="27366"/>
                    <a:pt x="1128298" y="34659"/>
                  </a:cubicBezTo>
                  <a:cubicBezTo>
                    <a:pt x="1124682" y="41953"/>
                    <a:pt x="1122937" y="50119"/>
                    <a:pt x="1122937" y="59220"/>
                  </a:cubicBezTo>
                  <a:cubicBezTo>
                    <a:pt x="1122937" y="66638"/>
                    <a:pt x="1124184" y="73246"/>
                    <a:pt x="1126739" y="79168"/>
                  </a:cubicBezTo>
                  <a:cubicBezTo>
                    <a:pt x="1129295" y="85090"/>
                    <a:pt x="1132786" y="90451"/>
                    <a:pt x="1137212" y="95313"/>
                  </a:cubicBezTo>
                  <a:cubicBezTo>
                    <a:pt x="1141638" y="100175"/>
                    <a:pt x="1146999" y="104539"/>
                    <a:pt x="1153233" y="108466"/>
                  </a:cubicBezTo>
                  <a:cubicBezTo>
                    <a:pt x="1159466" y="112393"/>
                    <a:pt x="1166261" y="116009"/>
                    <a:pt x="1173679" y="119375"/>
                  </a:cubicBezTo>
                  <a:lnTo>
                    <a:pt x="1195871" y="129536"/>
                  </a:lnTo>
                  <a:cubicBezTo>
                    <a:pt x="1204349" y="133339"/>
                    <a:pt x="1210894" y="136954"/>
                    <a:pt x="1215507" y="140320"/>
                  </a:cubicBezTo>
                  <a:cubicBezTo>
                    <a:pt x="1220182" y="143686"/>
                    <a:pt x="1222489" y="148736"/>
                    <a:pt x="1222489" y="155530"/>
                  </a:cubicBezTo>
                  <a:cubicBezTo>
                    <a:pt x="1222489" y="162949"/>
                    <a:pt x="1219871" y="168621"/>
                    <a:pt x="1214697" y="172611"/>
                  </a:cubicBezTo>
                  <a:cubicBezTo>
                    <a:pt x="1209523" y="176600"/>
                    <a:pt x="1202292" y="178657"/>
                    <a:pt x="1192941" y="178657"/>
                  </a:cubicBezTo>
                  <a:cubicBezTo>
                    <a:pt x="1186583" y="178657"/>
                    <a:pt x="1180910" y="177785"/>
                    <a:pt x="1175798" y="176102"/>
                  </a:cubicBezTo>
                  <a:cubicBezTo>
                    <a:pt x="1170749" y="174419"/>
                    <a:pt x="1166136" y="172174"/>
                    <a:pt x="1162022" y="169307"/>
                  </a:cubicBezTo>
                  <a:cubicBezTo>
                    <a:pt x="1157908" y="166439"/>
                    <a:pt x="1154168" y="163260"/>
                    <a:pt x="1150739" y="159645"/>
                  </a:cubicBezTo>
                  <a:cubicBezTo>
                    <a:pt x="1147373" y="156029"/>
                    <a:pt x="1144318" y="152289"/>
                    <a:pt x="1141513" y="148237"/>
                  </a:cubicBezTo>
                  <a:lnTo>
                    <a:pt x="1112028" y="170367"/>
                  </a:lnTo>
                  <a:cubicBezTo>
                    <a:pt x="1119820" y="184268"/>
                    <a:pt x="1130667" y="195488"/>
                    <a:pt x="1144568" y="203904"/>
                  </a:cubicBezTo>
                  <a:cubicBezTo>
                    <a:pt x="1158407" y="212319"/>
                    <a:pt x="1174552" y="216558"/>
                    <a:pt x="1192941" y="216558"/>
                  </a:cubicBezTo>
                  <a:cubicBezTo>
                    <a:pt x="1203289" y="216558"/>
                    <a:pt x="1212951" y="215124"/>
                    <a:pt x="1221803" y="212257"/>
                  </a:cubicBezTo>
                  <a:cubicBezTo>
                    <a:pt x="1230655" y="209389"/>
                    <a:pt x="1238385" y="205275"/>
                    <a:pt x="1244930" y="199914"/>
                  </a:cubicBezTo>
                  <a:cubicBezTo>
                    <a:pt x="1251475" y="194553"/>
                    <a:pt x="1256649" y="187946"/>
                    <a:pt x="1260452" y="180153"/>
                  </a:cubicBezTo>
                  <a:cubicBezTo>
                    <a:pt x="1264255" y="172361"/>
                    <a:pt x="1266187" y="163572"/>
                    <a:pt x="1266187" y="153847"/>
                  </a:cubicBezTo>
                  <a:cubicBezTo>
                    <a:pt x="1266187" y="138887"/>
                    <a:pt x="1261699" y="126793"/>
                    <a:pt x="1252722" y="117630"/>
                  </a:cubicBezTo>
                  <a:cubicBezTo>
                    <a:pt x="1243746" y="108466"/>
                    <a:pt x="1230967" y="100175"/>
                    <a:pt x="1214510" y="92757"/>
                  </a:cubicBezTo>
                  <a:lnTo>
                    <a:pt x="1190697" y="82285"/>
                  </a:lnTo>
                  <a:cubicBezTo>
                    <a:pt x="1182843" y="78669"/>
                    <a:pt x="1176858" y="75303"/>
                    <a:pt x="1172619" y="72186"/>
                  </a:cubicBezTo>
                  <a:cubicBezTo>
                    <a:pt x="1168380" y="69007"/>
                    <a:pt x="1166261" y="64394"/>
                    <a:pt x="1166261" y="58285"/>
                  </a:cubicBezTo>
                  <a:cubicBezTo>
                    <a:pt x="1166261" y="51303"/>
                    <a:pt x="1168817" y="46192"/>
                    <a:pt x="1173866" y="42950"/>
                  </a:cubicBezTo>
                  <a:cubicBezTo>
                    <a:pt x="1178915" y="39709"/>
                    <a:pt x="1185087" y="38025"/>
                    <a:pt x="1192255" y="38025"/>
                  </a:cubicBezTo>
                  <a:cubicBezTo>
                    <a:pt x="1200920" y="38025"/>
                    <a:pt x="1208463" y="40145"/>
                    <a:pt x="1214946" y="44384"/>
                  </a:cubicBezTo>
                  <a:cubicBezTo>
                    <a:pt x="1221367" y="48623"/>
                    <a:pt x="1227164" y="54545"/>
                    <a:pt x="1232213" y="62088"/>
                  </a:cubicBezTo>
                  <a:lnTo>
                    <a:pt x="1261387" y="39584"/>
                  </a:lnTo>
                  <a:cubicBezTo>
                    <a:pt x="1255278" y="28176"/>
                    <a:pt x="1246301" y="18763"/>
                    <a:pt x="1234582" y="11221"/>
                  </a:cubicBezTo>
                  <a:cubicBezTo>
                    <a:pt x="1222863" y="3740"/>
                    <a:pt x="1208650" y="0"/>
                    <a:pt x="1191944" y="0"/>
                  </a:cubicBezTo>
                  <a:cubicBezTo>
                    <a:pt x="1182282" y="0"/>
                    <a:pt x="1173180" y="1371"/>
                    <a:pt x="1164765" y="4114"/>
                  </a:cubicBezTo>
                  <a:moveTo>
                    <a:pt x="1008673" y="41454"/>
                  </a:moveTo>
                  <a:cubicBezTo>
                    <a:pt x="1018834" y="41454"/>
                    <a:pt x="1026626" y="44197"/>
                    <a:pt x="1032174" y="49682"/>
                  </a:cubicBezTo>
                  <a:cubicBezTo>
                    <a:pt x="1037660" y="55168"/>
                    <a:pt x="1040403" y="62337"/>
                    <a:pt x="1040403" y="71189"/>
                  </a:cubicBezTo>
                  <a:cubicBezTo>
                    <a:pt x="1040403" y="80290"/>
                    <a:pt x="1037660" y="87521"/>
                    <a:pt x="1032174" y="93007"/>
                  </a:cubicBezTo>
                  <a:cubicBezTo>
                    <a:pt x="1026689" y="98492"/>
                    <a:pt x="1018834" y="101235"/>
                    <a:pt x="1008673" y="101235"/>
                  </a:cubicBezTo>
                  <a:lnTo>
                    <a:pt x="972830" y="101235"/>
                  </a:lnTo>
                  <a:lnTo>
                    <a:pt x="972830" y="41392"/>
                  </a:lnTo>
                  <a:lnTo>
                    <a:pt x="1008673" y="41392"/>
                  </a:lnTo>
                  <a:close/>
                  <a:moveTo>
                    <a:pt x="930004" y="3803"/>
                  </a:moveTo>
                  <a:lnTo>
                    <a:pt x="930004" y="212756"/>
                  </a:lnTo>
                  <a:lnTo>
                    <a:pt x="972830" y="212756"/>
                  </a:lnTo>
                  <a:lnTo>
                    <a:pt x="972830" y="139011"/>
                  </a:lnTo>
                  <a:lnTo>
                    <a:pt x="1003936" y="139011"/>
                  </a:lnTo>
                  <a:lnTo>
                    <a:pt x="1058169" y="212756"/>
                  </a:lnTo>
                  <a:lnTo>
                    <a:pt x="1106355" y="212756"/>
                  </a:lnTo>
                  <a:lnTo>
                    <a:pt x="1047384" y="130783"/>
                  </a:lnTo>
                  <a:cubicBezTo>
                    <a:pt x="1058792" y="125297"/>
                    <a:pt x="1067769" y="117443"/>
                    <a:pt x="1074314" y="107219"/>
                  </a:cubicBezTo>
                  <a:cubicBezTo>
                    <a:pt x="1080859" y="96996"/>
                    <a:pt x="1084163" y="85027"/>
                    <a:pt x="1084163" y="71313"/>
                  </a:cubicBezTo>
                  <a:cubicBezTo>
                    <a:pt x="1084163" y="61215"/>
                    <a:pt x="1082293" y="51927"/>
                    <a:pt x="1078615" y="43636"/>
                  </a:cubicBezTo>
                  <a:cubicBezTo>
                    <a:pt x="1074937" y="35283"/>
                    <a:pt x="1069763" y="28176"/>
                    <a:pt x="1063093" y="22254"/>
                  </a:cubicBezTo>
                  <a:cubicBezTo>
                    <a:pt x="1056423" y="16332"/>
                    <a:pt x="1048507" y="11782"/>
                    <a:pt x="1039281" y="8665"/>
                  </a:cubicBezTo>
                  <a:cubicBezTo>
                    <a:pt x="1030055" y="5486"/>
                    <a:pt x="1019956" y="3927"/>
                    <a:pt x="1008985" y="3927"/>
                  </a:cubicBezTo>
                  <a:lnTo>
                    <a:pt x="930004" y="3927"/>
                  </a:lnTo>
                  <a:close/>
                  <a:moveTo>
                    <a:pt x="901828" y="3803"/>
                  </a:moveTo>
                  <a:lnTo>
                    <a:pt x="761009" y="3803"/>
                  </a:lnTo>
                  <a:lnTo>
                    <a:pt x="761009" y="212756"/>
                  </a:lnTo>
                  <a:lnTo>
                    <a:pt x="905630" y="212756"/>
                  </a:lnTo>
                  <a:lnTo>
                    <a:pt x="905630" y="174107"/>
                  </a:lnTo>
                  <a:lnTo>
                    <a:pt x="803834" y="174107"/>
                  </a:lnTo>
                  <a:lnTo>
                    <a:pt x="803834" y="121245"/>
                  </a:lnTo>
                  <a:lnTo>
                    <a:pt x="876145" y="121245"/>
                  </a:lnTo>
                  <a:lnTo>
                    <a:pt x="876145" y="84840"/>
                  </a:lnTo>
                  <a:lnTo>
                    <a:pt x="803834" y="84840"/>
                  </a:lnTo>
                  <a:lnTo>
                    <a:pt x="803834" y="42451"/>
                  </a:lnTo>
                  <a:lnTo>
                    <a:pt x="901828" y="42451"/>
                  </a:lnTo>
                  <a:lnTo>
                    <a:pt x="901828" y="3803"/>
                  </a:lnTo>
                  <a:close/>
                  <a:moveTo>
                    <a:pt x="738755" y="3803"/>
                  </a:moveTo>
                  <a:lnTo>
                    <a:pt x="690568" y="3803"/>
                  </a:lnTo>
                  <a:lnTo>
                    <a:pt x="638205" y="130783"/>
                  </a:lnTo>
                  <a:lnTo>
                    <a:pt x="585842" y="3803"/>
                  </a:lnTo>
                  <a:lnTo>
                    <a:pt x="537656" y="3803"/>
                  </a:lnTo>
                  <a:lnTo>
                    <a:pt x="631223" y="216558"/>
                  </a:lnTo>
                  <a:lnTo>
                    <a:pt x="645187" y="216558"/>
                  </a:lnTo>
                  <a:lnTo>
                    <a:pt x="738755" y="3803"/>
                  </a:lnTo>
                  <a:close/>
                  <a:moveTo>
                    <a:pt x="485604" y="79791"/>
                  </a:moveTo>
                  <a:lnTo>
                    <a:pt x="513220" y="150419"/>
                  </a:lnTo>
                  <a:lnTo>
                    <a:pt x="457740" y="150419"/>
                  </a:lnTo>
                  <a:lnTo>
                    <a:pt x="485604" y="79791"/>
                  </a:lnTo>
                  <a:close/>
                  <a:moveTo>
                    <a:pt x="492586" y="0"/>
                  </a:moveTo>
                  <a:lnTo>
                    <a:pt x="478623" y="0"/>
                  </a:lnTo>
                  <a:lnTo>
                    <a:pt x="385055" y="212756"/>
                  </a:lnTo>
                  <a:lnTo>
                    <a:pt x="431060" y="212756"/>
                  </a:lnTo>
                  <a:lnTo>
                    <a:pt x="442779" y="185514"/>
                  </a:lnTo>
                  <a:lnTo>
                    <a:pt x="528430" y="185514"/>
                  </a:lnTo>
                  <a:lnTo>
                    <a:pt x="540149" y="212756"/>
                  </a:lnTo>
                  <a:lnTo>
                    <a:pt x="586154" y="212756"/>
                  </a:lnTo>
                  <a:lnTo>
                    <a:pt x="492586" y="0"/>
                  </a:lnTo>
                  <a:close/>
                  <a:moveTo>
                    <a:pt x="280703" y="41454"/>
                  </a:moveTo>
                  <a:cubicBezTo>
                    <a:pt x="290864" y="41454"/>
                    <a:pt x="298656" y="44197"/>
                    <a:pt x="304204" y="49682"/>
                  </a:cubicBezTo>
                  <a:cubicBezTo>
                    <a:pt x="309690" y="55168"/>
                    <a:pt x="312433" y="62337"/>
                    <a:pt x="312433" y="71189"/>
                  </a:cubicBezTo>
                  <a:cubicBezTo>
                    <a:pt x="312433" y="80290"/>
                    <a:pt x="309690" y="87521"/>
                    <a:pt x="304204" y="93007"/>
                  </a:cubicBezTo>
                  <a:cubicBezTo>
                    <a:pt x="298718" y="98492"/>
                    <a:pt x="290864" y="101235"/>
                    <a:pt x="280703" y="101235"/>
                  </a:cubicBezTo>
                  <a:lnTo>
                    <a:pt x="244859" y="101235"/>
                  </a:lnTo>
                  <a:lnTo>
                    <a:pt x="244859" y="41392"/>
                  </a:lnTo>
                  <a:lnTo>
                    <a:pt x="280703" y="41392"/>
                  </a:lnTo>
                  <a:close/>
                  <a:moveTo>
                    <a:pt x="202034" y="3803"/>
                  </a:moveTo>
                  <a:lnTo>
                    <a:pt x="202034" y="212756"/>
                  </a:lnTo>
                  <a:lnTo>
                    <a:pt x="244859" y="212756"/>
                  </a:lnTo>
                  <a:lnTo>
                    <a:pt x="244859" y="139011"/>
                  </a:lnTo>
                  <a:lnTo>
                    <a:pt x="275965" y="139011"/>
                  </a:lnTo>
                  <a:lnTo>
                    <a:pt x="330199" y="212756"/>
                  </a:lnTo>
                  <a:lnTo>
                    <a:pt x="378385" y="212756"/>
                  </a:lnTo>
                  <a:lnTo>
                    <a:pt x="319414" y="130783"/>
                  </a:lnTo>
                  <a:cubicBezTo>
                    <a:pt x="330822" y="125297"/>
                    <a:pt x="339798" y="117443"/>
                    <a:pt x="346344" y="107219"/>
                  </a:cubicBezTo>
                  <a:cubicBezTo>
                    <a:pt x="352889" y="96996"/>
                    <a:pt x="356193" y="85027"/>
                    <a:pt x="356193" y="71313"/>
                  </a:cubicBezTo>
                  <a:cubicBezTo>
                    <a:pt x="356193" y="61215"/>
                    <a:pt x="354323" y="51927"/>
                    <a:pt x="350645" y="43636"/>
                  </a:cubicBezTo>
                  <a:cubicBezTo>
                    <a:pt x="346967" y="35283"/>
                    <a:pt x="341793" y="28176"/>
                    <a:pt x="335123" y="22254"/>
                  </a:cubicBezTo>
                  <a:cubicBezTo>
                    <a:pt x="328453" y="16332"/>
                    <a:pt x="320536" y="11782"/>
                    <a:pt x="311310" y="8665"/>
                  </a:cubicBezTo>
                  <a:cubicBezTo>
                    <a:pt x="302085" y="5486"/>
                    <a:pt x="291986" y="3927"/>
                    <a:pt x="281015" y="3927"/>
                  </a:cubicBezTo>
                  <a:lnTo>
                    <a:pt x="202034" y="3927"/>
                  </a:lnTo>
                  <a:close/>
                  <a:moveTo>
                    <a:pt x="176974" y="3803"/>
                  </a:moveTo>
                  <a:lnTo>
                    <a:pt x="0" y="3803"/>
                  </a:lnTo>
                  <a:lnTo>
                    <a:pt x="0" y="42451"/>
                  </a:lnTo>
                  <a:lnTo>
                    <a:pt x="66950" y="42451"/>
                  </a:lnTo>
                  <a:lnTo>
                    <a:pt x="66950" y="212756"/>
                  </a:lnTo>
                  <a:lnTo>
                    <a:pt x="109775" y="212756"/>
                  </a:lnTo>
                  <a:lnTo>
                    <a:pt x="109775" y="42451"/>
                  </a:lnTo>
                  <a:lnTo>
                    <a:pt x="177037" y="42451"/>
                  </a:lnTo>
                  <a:lnTo>
                    <a:pt x="177037" y="3803"/>
                  </a:lnTo>
                  <a:close/>
                </a:path>
              </a:pathLst>
            </a:custGeom>
            <a:solidFill>
              <a:srgbClr val="FFFFFF"/>
            </a:solidFill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97D2EF7D-3C42-4836-9736-148A015CB8E1}"/>
                </a:ext>
              </a:extLst>
            </p:cNvPr>
            <p:cNvSpPr/>
            <p:nvPr/>
          </p:nvSpPr>
          <p:spPr>
            <a:xfrm>
              <a:off x="9183077" y="814403"/>
              <a:ext cx="878950" cy="211945"/>
            </a:xfrm>
            <a:custGeom>
              <a:avLst/>
              <a:gdLst>
                <a:gd name="connsiteX0" fmla="*/ 880509 w 878950"/>
                <a:gd name="connsiteY0" fmla="*/ 3865 h 211945"/>
                <a:gd name="connsiteX1" fmla="*/ 837683 w 878950"/>
                <a:gd name="connsiteY1" fmla="*/ 3865 h 211945"/>
                <a:gd name="connsiteX2" fmla="*/ 837683 w 878950"/>
                <a:gd name="connsiteY2" fmla="*/ 83968 h 211945"/>
                <a:gd name="connsiteX3" fmla="*/ 745051 w 878950"/>
                <a:gd name="connsiteY3" fmla="*/ 83968 h 211945"/>
                <a:gd name="connsiteX4" fmla="*/ 745051 w 878950"/>
                <a:gd name="connsiteY4" fmla="*/ 3865 h 211945"/>
                <a:gd name="connsiteX5" fmla="*/ 702225 w 878950"/>
                <a:gd name="connsiteY5" fmla="*/ 3865 h 211945"/>
                <a:gd name="connsiteX6" fmla="*/ 702225 w 878950"/>
                <a:gd name="connsiteY6" fmla="*/ 212818 h 211945"/>
                <a:gd name="connsiteX7" fmla="*/ 745051 w 878950"/>
                <a:gd name="connsiteY7" fmla="*/ 212818 h 211945"/>
                <a:gd name="connsiteX8" fmla="*/ 745051 w 878950"/>
                <a:gd name="connsiteY8" fmla="*/ 122554 h 211945"/>
                <a:gd name="connsiteX9" fmla="*/ 837683 w 878950"/>
                <a:gd name="connsiteY9" fmla="*/ 122554 h 211945"/>
                <a:gd name="connsiteX10" fmla="*/ 837683 w 878950"/>
                <a:gd name="connsiteY10" fmla="*/ 212756 h 211945"/>
                <a:gd name="connsiteX11" fmla="*/ 880509 w 878950"/>
                <a:gd name="connsiteY11" fmla="*/ 212756 h 211945"/>
                <a:gd name="connsiteX12" fmla="*/ 880509 w 878950"/>
                <a:gd name="connsiteY12" fmla="*/ 3865 h 211945"/>
                <a:gd name="connsiteX13" fmla="*/ 674049 w 878950"/>
                <a:gd name="connsiteY13" fmla="*/ 3865 h 211945"/>
                <a:gd name="connsiteX14" fmla="*/ 497074 w 878950"/>
                <a:gd name="connsiteY14" fmla="*/ 3865 h 211945"/>
                <a:gd name="connsiteX15" fmla="*/ 497074 w 878950"/>
                <a:gd name="connsiteY15" fmla="*/ 42514 h 211945"/>
                <a:gd name="connsiteX16" fmla="*/ 564024 w 878950"/>
                <a:gd name="connsiteY16" fmla="*/ 42514 h 211945"/>
                <a:gd name="connsiteX17" fmla="*/ 564024 w 878950"/>
                <a:gd name="connsiteY17" fmla="*/ 212818 h 211945"/>
                <a:gd name="connsiteX18" fmla="*/ 606850 w 878950"/>
                <a:gd name="connsiteY18" fmla="*/ 212818 h 211945"/>
                <a:gd name="connsiteX19" fmla="*/ 606850 w 878950"/>
                <a:gd name="connsiteY19" fmla="*/ 42451 h 211945"/>
                <a:gd name="connsiteX20" fmla="*/ 674111 w 878950"/>
                <a:gd name="connsiteY20" fmla="*/ 42451 h 211945"/>
                <a:gd name="connsiteX21" fmla="*/ 674111 w 878950"/>
                <a:gd name="connsiteY21" fmla="*/ 3865 h 211945"/>
                <a:gd name="connsiteX22" fmla="*/ 468836 w 878950"/>
                <a:gd name="connsiteY22" fmla="*/ 3865 h 211945"/>
                <a:gd name="connsiteX23" fmla="*/ 426010 w 878950"/>
                <a:gd name="connsiteY23" fmla="*/ 3865 h 211945"/>
                <a:gd name="connsiteX24" fmla="*/ 426010 w 878950"/>
                <a:gd name="connsiteY24" fmla="*/ 212818 h 211945"/>
                <a:gd name="connsiteX25" fmla="*/ 468836 w 878950"/>
                <a:gd name="connsiteY25" fmla="*/ 212818 h 211945"/>
                <a:gd name="connsiteX26" fmla="*/ 468836 w 878950"/>
                <a:gd name="connsiteY26" fmla="*/ 3865 h 211945"/>
                <a:gd name="connsiteX27" fmla="*/ 394031 w 878950"/>
                <a:gd name="connsiteY27" fmla="*/ 62 h 211945"/>
                <a:gd name="connsiteX28" fmla="*/ 380068 w 878950"/>
                <a:gd name="connsiteY28" fmla="*/ 62 h 211945"/>
                <a:gd name="connsiteX29" fmla="*/ 291238 w 878950"/>
                <a:gd name="connsiteY29" fmla="*/ 113391 h 211945"/>
                <a:gd name="connsiteX30" fmla="*/ 203094 w 878950"/>
                <a:gd name="connsiteY30" fmla="*/ 62 h 211945"/>
                <a:gd name="connsiteX31" fmla="*/ 188818 w 878950"/>
                <a:gd name="connsiteY31" fmla="*/ 62 h 211945"/>
                <a:gd name="connsiteX32" fmla="*/ 188818 w 878950"/>
                <a:gd name="connsiteY32" fmla="*/ 212818 h 211945"/>
                <a:gd name="connsiteX33" fmla="*/ 231644 w 878950"/>
                <a:gd name="connsiteY33" fmla="*/ 212818 h 211945"/>
                <a:gd name="connsiteX34" fmla="*/ 231644 w 878950"/>
                <a:gd name="connsiteY34" fmla="*/ 101048 h 211945"/>
                <a:gd name="connsiteX35" fmla="*/ 284319 w 878950"/>
                <a:gd name="connsiteY35" fmla="*/ 167187 h 211945"/>
                <a:gd name="connsiteX36" fmla="*/ 298282 w 878950"/>
                <a:gd name="connsiteY36" fmla="*/ 167187 h 211945"/>
                <a:gd name="connsiteX37" fmla="*/ 351268 w 878950"/>
                <a:gd name="connsiteY37" fmla="*/ 101048 h 211945"/>
                <a:gd name="connsiteX38" fmla="*/ 351268 w 878950"/>
                <a:gd name="connsiteY38" fmla="*/ 212818 h 211945"/>
                <a:gd name="connsiteX39" fmla="*/ 394094 w 878950"/>
                <a:gd name="connsiteY39" fmla="*/ 212818 h 211945"/>
                <a:gd name="connsiteX40" fmla="*/ 394094 w 878950"/>
                <a:gd name="connsiteY40" fmla="*/ 62 h 211945"/>
                <a:gd name="connsiteX41" fmla="*/ 52737 w 878950"/>
                <a:gd name="connsiteY41" fmla="*/ 4177 h 211945"/>
                <a:gd name="connsiteX42" fmla="*/ 30857 w 878950"/>
                <a:gd name="connsiteY42" fmla="*/ 16021 h 211945"/>
                <a:gd name="connsiteX43" fmla="*/ 16270 w 878950"/>
                <a:gd name="connsiteY43" fmla="*/ 34722 h 211945"/>
                <a:gd name="connsiteX44" fmla="*/ 10909 w 878950"/>
                <a:gd name="connsiteY44" fmla="*/ 59282 h 211945"/>
                <a:gd name="connsiteX45" fmla="*/ 14712 w 878950"/>
                <a:gd name="connsiteY45" fmla="*/ 79230 h 211945"/>
                <a:gd name="connsiteX46" fmla="*/ 25184 w 878950"/>
                <a:gd name="connsiteY46" fmla="*/ 95375 h 211945"/>
                <a:gd name="connsiteX47" fmla="*/ 41205 w 878950"/>
                <a:gd name="connsiteY47" fmla="*/ 108528 h 211945"/>
                <a:gd name="connsiteX48" fmla="*/ 61651 w 878950"/>
                <a:gd name="connsiteY48" fmla="*/ 119437 h 211945"/>
                <a:gd name="connsiteX49" fmla="*/ 83843 w 878950"/>
                <a:gd name="connsiteY49" fmla="*/ 129536 h 211945"/>
                <a:gd name="connsiteX50" fmla="*/ 103479 w 878950"/>
                <a:gd name="connsiteY50" fmla="*/ 140320 h 211945"/>
                <a:gd name="connsiteX51" fmla="*/ 110461 w 878950"/>
                <a:gd name="connsiteY51" fmla="*/ 155530 h 211945"/>
                <a:gd name="connsiteX52" fmla="*/ 102669 w 878950"/>
                <a:gd name="connsiteY52" fmla="*/ 172611 h 211945"/>
                <a:gd name="connsiteX53" fmla="*/ 80913 w 878950"/>
                <a:gd name="connsiteY53" fmla="*/ 178657 h 211945"/>
                <a:gd name="connsiteX54" fmla="*/ 63771 w 878950"/>
                <a:gd name="connsiteY54" fmla="*/ 176102 h 211945"/>
                <a:gd name="connsiteX55" fmla="*/ 49994 w 878950"/>
                <a:gd name="connsiteY55" fmla="*/ 169307 h 211945"/>
                <a:gd name="connsiteX56" fmla="*/ 38711 w 878950"/>
                <a:gd name="connsiteY56" fmla="*/ 159645 h 211945"/>
                <a:gd name="connsiteX57" fmla="*/ 29485 w 878950"/>
                <a:gd name="connsiteY57" fmla="*/ 148237 h 211945"/>
                <a:gd name="connsiteX58" fmla="*/ 0 w 878950"/>
                <a:gd name="connsiteY58" fmla="*/ 170367 h 211945"/>
                <a:gd name="connsiteX59" fmla="*/ 32540 w 878950"/>
                <a:gd name="connsiteY59" fmla="*/ 203904 h 211945"/>
                <a:gd name="connsiteX60" fmla="*/ 80913 w 878950"/>
                <a:gd name="connsiteY60" fmla="*/ 216558 h 211945"/>
                <a:gd name="connsiteX61" fmla="*/ 109775 w 878950"/>
                <a:gd name="connsiteY61" fmla="*/ 212257 h 211945"/>
                <a:gd name="connsiteX62" fmla="*/ 132902 w 878950"/>
                <a:gd name="connsiteY62" fmla="*/ 199914 h 211945"/>
                <a:gd name="connsiteX63" fmla="*/ 148424 w 878950"/>
                <a:gd name="connsiteY63" fmla="*/ 180154 h 211945"/>
                <a:gd name="connsiteX64" fmla="*/ 154159 w 878950"/>
                <a:gd name="connsiteY64" fmla="*/ 153847 h 211945"/>
                <a:gd name="connsiteX65" fmla="*/ 140694 w 878950"/>
                <a:gd name="connsiteY65" fmla="*/ 117630 h 211945"/>
                <a:gd name="connsiteX66" fmla="*/ 102482 w 878950"/>
                <a:gd name="connsiteY66" fmla="*/ 92757 h 211945"/>
                <a:gd name="connsiteX67" fmla="*/ 78669 w 878950"/>
                <a:gd name="connsiteY67" fmla="*/ 82285 h 211945"/>
                <a:gd name="connsiteX68" fmla="*/ 60591 w 878950"/>
                <a:gd name="connsiteY68" fmla="*/ 72186 h 211945"/>
                <a:gd name="connsiteX69" fmla="*/ 54233 w 878950"/>
                <a:gd name="connsiteY69" fmla="*/ 58285 h 211945"/>
                <a:gd name="connsiteX70" fmla="*/ 61838 w 878950"/>
                <a:gd name="connsiteY70" fmla="*/ 42950 h 211945"/>
                <a:gd name="connsiteX71" fmla="*/ 80228 w 878950"/>
                <a:gd name="connsiteY71" fmla="*/ 38025 h 211945"/>
                <a:gd name="connsiteX72" fmla="*/ 102918 w 878950"/>
                <a:gd name="connsiteY72" fmla="*/ 44384 h 211945"/>
                <a:gd name="connsiteX73" fmla="*/ 120186 w 878950"/>
                <a:gd name="connsiteY73" fmla="*/ 62087 h 211945"/>
                <a:gd name="connsiteX74" fmla="*/ 149359 w 878950"/>
                <a:gd name="connsiteY74" fmla="*/ 39584 h 211945"/>
                <a:gd name="connsiteX75" fmla="*/ 122554 w 878950"/>
                <a:gd name="connsiteY75" fmla="*/ 11221 h 211945"/>
                <a:gd name="connsiteX76" fmla="*/ 79916 w 878950"/>
                <a:gd name="connsiteY76" fmla="*/ 0 h 211945"/>
                <a:gd name="connsiteX77" fmla="*/ 52737 w 878950"/>
                <a:gd name="connsiteY77" fmla="*/ 4177 h 211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878950" h="211945">
                  <a:moveTo>
                    <a:pt x="880509" y="3865"/>
                  </a:moveTo>
                  <a:lnTo>
                    <a:pt x="837683" y="3865"/>
                  </a:lnTo>
                  <a:lnTo>
                    <a:pt x="837683" y="83968"/>
                  </a:lnTo>
                  <a:lnTo>
                    <a:pt x="745051" y="83968"/>
                  </a:lnTo>
                  <a:lnTo>
                    <a:pt x="745051" y="3865"/>
                  </a:lnTo>
                  <a:lnTo>
                    <a:pt x="702225" y="3865"/>
                  </a:lnTo>
                  <a:lnTo>
                    <a:pt x="702225" y="212818"/>
                  </a:lnTo>
                  <a:lnTo>
                    <a:pt x="745051" y="212818"/>
                  </a:lnTo>
                  <a:lnTo>
                    <a:pt x="745051" y="122554"/>
                  </a:lnTo>
                  <a:lnTo>
                    <a:pt x="837683" y="122554"/>
                  </a:lnTo>
                  <a:lnTo>
                    <a:pt x="837683" y="212756"/>
                  </a:lnTo>
                  <a:lnTo>
                    <a:pt x="880509" y="212756"/>
                  </a:lnTo>
                  <a:lnTo>
                    <a:pt x="880509" y="3865"/>
                  </a:lnTo>
                  <a:close/>
                  <a:moveTo>
                    <a:pt x="674049" y="3865"/>
                  </a:moveTo>
                  <a:lnTo>
                    <a:pt x="497074" y="3865"/>
                  </a:lnTo>
                  <a:lnTo>
                    <a:pt x="497074" y="42514"/>
                  </a:lnTo>
                  <a:lnTo>
                    <a:pt x="564024" y="42514"/>
                  </a:lnTo>
                  <a:lnTo>
                    <a:pt x="564024" y="212818"/>
                  </a:lnTo>
                  <a:lnTo>
                    <a:pt x="606850" y="212818"/>
                  </a:lnTo>
                  <a:lnTo>
                    <a:pt x="606850" y="42451"/>
                  </a:lnTo>
                  <a:lnTo>
                    <a:pt x="674111" y="42451"/>
                  </a:lnTo>
                  <a:lnTo>
                    <a:pt x="674111" y="3865"/>
                  </a:lnTo>
                  <a:close/>
                  <a:moveTo>
                    <a:pt x="468836" y="3865"/>
                  </a:moveTo>
                  <a:lnTo>
                    <a:pt x="426010" y="3865"/>
                  </a:lnTo>
                  <a:lnTo>
                    <a:pt x="426010" y="212818"/>
                  </a:lnTo>
                  <a:lnTo>
                    <a:pt x="468836" y="212818"/>
                  </a:lnTo>
                  <a:lnTo>
                    <a:pt x="468836" y="3865"/>
                  </a:lnTo>
                  <a:close/>
                  <a:moveTo>
                    <a:pt x="394031" y="62"/>
                  </a:moveTo>
                  <a:lnTo>
                    <a:pt x="380068" y="62"/>
                  </a:lnTo>
                  <a:lnTo>
                    <a:pt x="291238" y="113391"/>
                  </a:lnTo>
                  <a:lnTo>
                    <a:pt x="203094" y="62"/>
                  </a:lnTo>
                  <a:lnTo>
                    <a:pt x="188818" y="62"/>
                  </a:lnTo>
                  <a:lnTo>
                    <a:pt x="188818" y="212818"/>
                  </a:lnTo>
                  <a:lnTo>
                    <a:pt x="231644" y="212818"/>
                  </a:lnTo>
                  <a:lnTo>
                    <a:pt x="231644" y="101048"/>
                  </a:lnTo>
                  <a:lnTo>
                    <a:pt x="284319" y="167187"/>
                  </a:lnTo>
                  <a:lnTo>
                    <a:pt x="298282" y="167187"/>
                  </a:lnTo>
                  <a:lnTo>
                    <a:pt x="351268" y="101048"/>
                  </a:lnTo>
                  <a:lnTo>
                    <a:pt x="351268" y="212818"/>
                  </a:lnTo>
                  <a:lnTo>
                    <a:pt x="394094" y="212818"/>
                  </a:lnTo>
                  <a:lnTo>
                    <a:pt x="394094" y="62"/>
                  </a:lnTo>
                  <a:close/>
                  <a:moveTo>
                    <a:pt x="52737" y="4177"/>
                  </a:moveTo>
                  <a:cubicBezTo>
                    <a:pt x="44259" y="6919"/>
                    <a:pt x="36966" y="10909"/>
                    <a:pt x="30857" y="16021"/>
                  </a:cubicBezTo>
                  <a:cubicBezTo>
                    <a:pt x="24748" y="21195"/>
                    <a:pt x="19885" y="27428"/>
                    <a:pt x="16270" y="34722"/>
                  </a:cubicBezTo>
                  <a:cubicBezTo>
                    <a:pt x="12654" y="42015"/>
                    <a:pt x="10909" y="50181"/>
                    <a:pt x="10909" y="59282"/>
                  </a:cubicBezTo>
                  <a:cubicBezTo>
                    <a:pt x="10909" y="66700"/>
                    <a:pt x="12156" y="73308"/>
                    <a:pt x="14712" y="79230"/>
                  </a:cubicBezTo>
                  <a:cubicBezTo>
                    <a:pt x="17267" y="85152"/>
                    <a:pt x="20758" y="90513"/>
                    <a:pt x="25184" y="95375"/>
                  </a:cubicBezTo>
                  <a:cubicBezTo>
                    <a:pt x="29610" y="100238"/>
                    <a:pt x="34971" y="104601"/>
                    <a:pt x="41205" y="108528"/>
                  </a:cubicBezTo>
                  <a:cubicBezTo>
                    <a:pt x="47438" y="112456"/>
                    <a:pt x="54233" y="116071"/>
                    <a:pt x="61651" y="119437"/>
                  </a:cubicBezTo>
                  <a:lnTo>
                    <a:pt x="83843" y="129536"/>
                  </a:lnTo>
                  <a:cubicBezTo>
                    <a:pt x="92321" y="133339"/>
                    <a:pt x="98866" y="136954"/>
                    <a:pt x="103479" y="140320"/>
                  </a:cubicBezTo>
                  <a:cubicBezTo>
                    <a:pt x="108154" y="143686"/>
                    <a:pt x="110461" y="148736"/>
                    <a:pt x="110461" y="155530"/>
                  </a:cubicBezTo>
                  <a:cubicBezTo>
                    <a:pt x="110461" y="162949"/>
                    <a:pt x="107843" y="168621"/>
                    <a:pt x="102669" y="172611"/>
                  </a:cubicBezTo>
                  <a:cubicBezTo>
                    <a:pt x="97495" y="176600"/>
                    <a:pt x="90264" y="178657"/>
                    <a:pt x="80913" y="178657"/>
                  </a:cubicBezTo>
                  <a:cubicBezTo>
                    <a:pt x="74555" y="178657"/>
                    <a:pt x="68882" y="177785"/>
                    <a:pt x="63771" y="176102"/>
                  </a:cubicBezTo>
                  <a:cubicBezTo>
                    <a:pt x="58721" y="174419"/>
                    <a:pt x="54108" y="172174"/>
                    <a:pt x="49994" y="169307"/>
                  </a:cubicBezTo>
                  <a:cubicBezTo>
                    <a:pt x="45880" y="166439"/>
                    <a:pt x="42140" y="163260"/>
                    <a:pt x="38711" y="159645"/>
                  </a:cubicBezTo>
                  <a:cubicBezTo>
                    <a:pt x="35345" y="156029"/>
                    <a:pt x="32290" y="152289"/>
                    <a:pt x="29485" y="148237"/>
                  </a:cubicBezTo>
                  <a:lnTo>
                    <a:pt x="0" y="170367"/>
                  </a:lnTo>
                  <a:cubicBezTo>
                    <a:pt x="7792" y="184268"/>
                    <a:pt x="18639" y="195488"/>
                    <a:pt x="32540" y="203904"/>
                  </a:cubicBezTo>
                  <a:cubicBezTo>
                    <a:pt x="46379" y="212319"/>
                    <a:pt x="62524" y="216558"/>
                    <a:pt x="80913" y="216558"/>
                  </a:cubicBezTo>
                  <a:cubicBezTo>
                    <a:pt x="91261" y="216558"/>
                    <a:pt x="100923" y="215124"/>
                    <a:pt x="109775" y="212257"/>
                  </a:cubicBezTo>
                  <a:cubicBezTo>
                    <a:pt x="118627" y="209390"/>
                    <a:pt x="126357" y="205275"/>
                    <a:pt x="132902" y="199914"/>
                  </a:cubicBezTo>
                  <a:cubicBezTo>
                    <a:pt x="139448" y="194553"/>
                    <a:pt x="144622" y="187946"/>
                    <a:pt x="148424" y="180154"/>
                  </a:cubicBezTo>
                  <a:cubicBezTo>
                    <a:pt x="152227" y="172361"/>
                    <a:pt x="154159" y="163572"/>
                    <a:pt x="154159" y="153847"/>
                  </a:cubicBezTo>
                  <a:cubicBezTo>
                    <a:pt x="154159" y="138887"/>
                    <a:pt x="149671" y="126793"/>
                    <a:pt x="140694" y="117630"/>
                  </a:cubicBezTo>
                  <a:cubicBezTo>
                    <a:pt x="131718" y="108466"/>
                    <a:pt x="118939" y="100175"/>
                    <a:pt x="102482" y="92757"/>
                  </a:cubicBezTo>
                  <a:lnTo>
                    <a:pt x="78669" y="82285"/>
                  </a:lnTo>
                  <a:cubicBezTo>
                    <a:pt x="70815" y="78669"/>
                    <a:pt x="64830" y="75303"/>
                    <a:pt x="60591" y="72186"/>
                  </a:cubicBezTo>
                  <a:cubicBezTo>
                    <a:pt x="56353" y="69007"/>
                    <a:pt x="54233" y="64394"/>
                    <a:pt x="54233" y="58285"/>
                  </a:cubicBezTo>
                  <a:cubicBezTo>
                    <a:pt x="54233" y="51303"/>
                    <a:pt x="56789" y="46192"/>
                    <a:pt x="61838" y="42950"/>
                  </a:cubicBezTo>
                  <a:cubicBezTo>
                    <a:pt x="66887" y="39709"/>
                    <a:pt x="73059" y="38025"/>
                    <a:pt x="80228" y="38025"/>
                  </a:cubicBezTo>
                  <a:cubicBezTo>
                    <a:pt x="88892" y="38025"/>
                    <a:pt x="96435" y="40145"/>
                    <a:pt x="102918" y="44384"/>
                  </a:cubicBezTo>
                  <a:cubicBezTo>
                    <a:pt x="109339" y="48623"/>
                    <a:pt x="115136" y="54545"/>
                    <a:pt x="120186" y="62087"/>
                  </a:cubicBezTo>
                  <a:lnTo>
                    <a:pt x="149359" y="39584"/>
                  </a:lnTo>
                  <a:cubicBezTo>
                    <a:pt x="143250" y="28176"/>
                    <a:pt x="134274" y="18763"/>
                    <a:pt x="122554" y="11221"/>
                  </a:cubicBezTo>
                  <a:cubicBezTo>
                    <a:pt x="110835" y="3740"/>
                    <a:pt x="96622" y="0"/>
                    <a:pt x="79916" y="0"/>
                  </a:cubicBezTo>
                  <a:cubicBezTo>
                    <a:pt x="70254" y="62"/>
                    <a:pt x="61215" y="1434"/>
                    <a:pt x="52737" y="4177"/>
                  </a:cubicBezTo>
                </a:path>
              </a:pathLst>
            </a:custGeom>
            <a:solidFill>
              <a:srgbClr val="FFFFFF"/>
            </a:solidFill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68E416E-EBD4-47C6-8EAB-35C01FDC798D}"/>
                </a:ext>
              </a:extLst>
            </p:cNvPr>
            <p:cNvSpPr/>
            <p:nvPr/>
          </p:nvSpPr>
          <p:spPr>
            <a:xfrm>
              <a:off x="9587394" y="704752"/>
              <a:ext cx="81038" cy="81038"/>
            </a:xfrm>
            <a:custGeom>
              <a:avLst/>
              <a:gdLst>
                <a:gd name="connsiteX0" fmla="*/ 44134 w 81037"/>
                <a:gd name="connsiteY0" fmla="*/ 0 h 81037"/>
                <a:gd name="connsiteX1" fmla="*/ 12218 w 81037"/>
                <a:gd name="connsiteY1" fmla="*/ 12530 h 81037"/>
                <a:gd name="connsiteX2" fmla="*/ 0 w 81037"/>
                <a:gd name="connsiteY2" fmla="*/ 43262 h 81037"/>
                <a:gd name="connsiteX3" fmla="*/ 12218 w 81037"/>
                <a:gd name="connsiteY3" fmla="*/ 74181 h 81037"/>
                <a:gd name="connsiteX4" fmla="*/ 44134 w 81037"/>
                <a:gd name="connsiteY4" fmla="*/ 86524 h 81037"/>
                <a:gd name="connsiteX5" fmla="*/ 61339 w 81037"/>
                <a:gd name="connsiteY5" fmla="*/ 83220 h 81037"/>
                <a:gd name="connsiteX6" fmla="*/ 74867 w 81037"/>
                <a:gd name="connsiteY6" fmla="*/ 74119 h 81037"/>
                <a:gd name="connsiteX7" fmla="*/ 83781 w 81037"/>
                <a:gd name="connsiteY7" fmla="*/ 60404 h 81037"/>
                <a:gd name="connsiteX8" fmla="*/ 87085 w 81037"/>
                <a:gd name="connsiteY8" fmla="*/ 43199 h 81037"/>
                <a:gd name="connsiteX9" fmla="*/ 83781 w 81037"/>
                <a:gd name="connsiteY9" fmla="*/ 26368 h 81037"/>
                <a:gd name="connsiteX10" fmla="*/ 74867 w 81037"/>
                <a:gd name="connsiteY10" fmla="*/ 12654 h 81037"/>
                <a:gd name="connsiteX11" fmla="*/ 61339 w 81037"/>
                <a:gd name="connsiteY11" fmla="*/ 3366 h 81037"/>
                <a:gd name="connsiteX12" fmla="*/ 44134 w 81037"/>
                <a:gd name="connsiteY12" fmla="*/ 0 h 81037"/>
                <a:gd name="connsiteX13" fmla="*/ 44134 w 81037"/>
                <a:gd name="connsiteY13" fmla="*/ 24187 h 81037"/>
                <a:gd name="connsiteX14" fmla="*/ 51615 w 81037"/>
                <a:gd name="connsiteY14" fmla="*/ 25620 h 81037"/>
                <a:gd name="connsiteX15" fmla="*/ 57475 w 81037"/>
                <a:gd name="connsiteY15" fmla="*/ 29548 h 81037"/>
                <a:gd name="connsiteX16" fmla="*/ 61402 w 81037"/>
                <a:gd name="connsiteY16" fmla="*/ 35657 h 81037"/>
                <a:gd name="connsiteX17" fmla="*/ 62836 w 81037"/>
                <a:gd name="connsiteY17" fmla="*/ 43199 h 81037"/>
                <a:gd name="connsiteX18" fmla="*/ 61402 w 81037"/>
                <a:gd name="connsiteY18" fmla="*/ 51116 h 81037"/>
                <a:gd name="connsiteX19" fmla="*/ 57475 w 81037"/>
                <a:gd name="connsiteY19" fmla="*/ 57225 h 81037"/>
                <a:gd name="connsiteX20" fmla="*/ 52114 w 81037"/>
                <a:gd name="connsiteY20" fmla="*/ 60778 h 81037"/>
                <a:gd name="connsiteX21" fmla="*/ 44197 w 81037"/>
                <a:gd name="connsiteY21" fmla="*/ 62212 h 81037"/>
                <a:gd name="connsiteX22" fmla="*/ 29548 w 81037"/>
                <a:gd name="connsiteY22" fmla="*/ 57101 h 81037"/>
                <a:gd name="connsiteX23" fmla="*/ 24311 w 81037"/>
                <a:gd name="connsiteY23" fmla="*/ 43199 h 81037"/>
                <a:gd name="connsiteX24" fmla="*/ 29672 w 81037"/>
                <a:gd name="connsiteY24" fmla="*/ 29361 h 81037"/>
                <a:gd name="connsiteX25" fmla="*/ 44134 w 81037"/>
                <a:gd name="connsiteY25" fmla="*/ 24187 h 81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81037" h="81037">
                  <a:moveTo>
                    <a:pt x="44134" y="0"/>
                  </a:moveTo>
                  <a:cubicBezTo>
                    <a:pt x="30981" y="0"/>
                    <a:pt x="20322" y="4177"/>
                    <a:pt x="12218" y="12530"/>
                  </a:cubicBezTo>
                  <a:cubicBezTo>
                    <a:pt x="4114" y="20883"/>
                    <a:pt x="0" y="31168"/>
                    <a:pt x="0" y="43262"/>
                  </a:cubicBezTo>
                  <a:cubicBezTo>
                    <a:pt x="0" y="55604"/>
                    <a:pt x="4052" y="65952"/>
                    <a:pt x="12218" y="74181"/>
                  </a:cubicBezTo>
                  <a:cubicBezTo>
                    <a:pt x="20322" y="82409"/>
                    <a:pt x="30981" y="86524"/>
                    <a:pt x="44134" y="86524"/>
                  </a:cubicBezTo>
                  <a:cubicBezTo>
                    <a:pt x="50306" y="86524"/>
                    <a:pt x="56041" y="85401"/>
                    <a:pt x="61339" y="83220"/>
                  </a:cubicBezTo>
                  <a:cubicBezTo>
                    <a:pt x="66638" y="81038"/>
                    <a:pt x="71126" y="77983"/>
                    <a:pt x="74867" y="74119"/>
                  </a:cubicBezTo>
                  <a:cubicBezTo>
                    <a:pt x="78607" y="70254"/>
                    <a:pt x="81599" y="65703"/>
                    <a:pt x="83781" y="60404"/>
                  </a:cubicBezTo>
                  <a:cubicBezTo>
                    <a:pt x="85963" y="55106"/>
                    <a:pt x="87085" y="49371"/>
                    <a:pt x="87085" y="43199"/>
                  </a:cubicBezTo>
                  <a:cubicBezTo>
                    <a:pt x="87085" y="37277"/>
                    <a:pt x="85963" y="31667"/>
                    <a:pt x="83781" y="26368"/>
                  </a:cubicBezTo>
                  <a:cubicBezTo>
                    <a:pt x="81599" y="21070"/>
                    <a:pt x="78607" y="16519"/>
                    <a:pt x="74867" y="12654"/>
                  </a:cubicBezTo>
                  <a:cubicBezTo>
                    <a:pt x="71126" y="8789"/>
                    <a:pt x="66576" y="5673"/>
                    <a:pt x="61339" y="3366"/>
                  </a:cubicBezTo>
                  <a:cubicBezTo>
                    <a:pt x="56103" y="1122"/>
                    <a:pt x="50306" y="0"/>
                    <a:pt x="44134" y="0"/>
                  </a:cubicBezTo>
                  <a:moveTo>
                    <a:pt x="44134" y="24187"/>
                  </a:moveTo>
                  <a:cubicBezTo>
                    <a:pt x="47002" y="24187"/>
                    <a:pt x="49433" y="24623"/>
                    <a:pt x="51615" y="25620"/>
                  </a:cubicBezTo>
                  <a:cubicBezTo>
                    <a:pt x="53984" y="26680"/>
                    <a:pt x="55916" y="27927"/>
                    <a:pt x="57475" y="29548"/>
                  </a:cubicBezTo>
                  <a:cubicBezTo>
                    <a:pt x="59095" y="31231"/>
                    <a:pt x="60342" y="33226"/>
                    <a:pt x="61402" y="35657"/>
                  </a:cubicBezTo>
                  <a:cubicBezTo>
                    <a:pt x="62399" y="38025"/>
                    <a:pt x="62836" y="40457"/>
                    <a:pt x="62836" y="43199"/>
                  </a:cubicBezTo>
                  <a:cubicBezTo>
                    <a:pt x="62836" y="46192"/>
                    <a:pt x="62337" y="48810"/>
                    <a:pt x="61402" y="51116"/>
                  </a:cubicBezTo>
                  <a:cubicBezTo>
                    <a:pt x="60404" y="53547"/>
                    <a:pt x="59095" y="55542"/>
                    <a:pt x="57475" y="57225"/>
                  </a:cubicBezTo>
                  <a:cubicBezTo>
                    <a:pt x="56041" y="58721"/>
                    <a:pt x="54295" y="59843"/>
                    <a:pt x="52114" y="60778"/>
                  </a:cubicBezTo>
                  <a:cubicBezTo>
                    <a:pt x="49745" y="61776"/>
                    <a:pt x="47189" y="62212"/>
                    <a:pt x="44197" y="62212"/>
                  </a:cubicBezTo>
                  <a:cubicBezTo>
                    <a:pt x="35719" y="62212"/>
                    <a:pt x="31916" y="59469"/>
                    <a:pt x="29548" y="57101"/>
                  </a:cubicBezTo>
                  <a:cubicBezTo>
                    <a:pt x="25870" y="53423"/>
                    <a:pt x="24311" y="49246"/>
                    <a:pt x="24311" y="43199"/>
                  </a:cubicBezTo>
                  <a:cubicBezTo>
                    <a:pt x="24311" y="37340"/>
                    <a:pt x="25932" y="33226"/>
                    <a:pt x="29672" y="29361"/>
                  </a:cubicBezTo>
                  <a:cubicBezTo>
                    <a:pt x="31979" y="26992"/>
                    <a:pt x="35719" y="24187"/>
                    <a:pt x="44134" y="24187"/>
                  </a:cubicBezTo>
                </a:path>
              </a:pathLst>
            </a:custGeom>
            <a:solidFill>
              <a:schemeClr val="accent1"/>
            </a:solidFill>
            <a:ln w="62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98678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E90A71-6796-43EE-9864-85DAB2916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7C98A7-6B9A-4577-98DD-D00C61AAA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378B288F-2798-40BF-8B35-614EBD8CBE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tx2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0469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 background White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7C98A7-6B9A-4577-98DD-D00C61AAA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378B288F-2798-40BF-8B35-614EBD8CBE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E90A71-6796-43EE-9864-85DAB2916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5205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6378F-E837-4224-94B8-A16809A67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EE344B-948A-42CB-8A0B-D0ACFA8704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18D8142-F153-4E0D-ADB8-B8D7804889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0238" y="2016126"/>
            <a:ext cx="9432985" cy="47396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0FBE76B9-16A4-42A4-AE9E-84ADA1CEA1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tx2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4330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BD71CC-E88D-0649-91DB-C1683B02C2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239" y="2880000"/>
            <a:ext cx="4572000" cy="38875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D74E454-88D4-484A-B735-3575E44C0E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0238" y="2016125"/>
            <a:ext cx="9432985" cy="468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47FDC26-B0B1-0740-880E-38CA29A4C6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0000" y="2880000"/>
            <a:ext cx="4572000" cy="38875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AA2636-8A85-7049-9651-6BF16C54E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7FC292-D34E-412F-9F98-FF027492216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/>
            </a:r>
            <a:endParaRPr lang="en-GB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376FE34A-BFEF-45A3-BBC9-62DFD54AEC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tx2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7599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1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0700" y="576000"/>
            <a:ext cx="9432524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4A475F-394A-481A-9BB3-0B3C8BDA90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0700" y="6971430"/>
            <a:ext cx="5472084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200" smtClean="0">
                <a:solidFill>
                  <a:schemeClr val="tx1"/>
                </a:solidFill>
              </a:defRPr>
            </a:lvl1pPr>
          </a:lstStyle>
          <a:p>
            <a:r>
              <a:rPr lang="en-GB"/>
              <a:t/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DF2BF7-E0ED-40CE-B95A-BA261B564C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700" y="2012950"/>
            <a:ext cx="9432463" cy="4797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91724D1-9C49-43D0-B9BE-42F8F29B31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75377" y="6994512"/>
            <a:ext cx="287786" cy="287786"/>
          </a:xfrm>
          <a:prstGeom prst="ellipse">
            <a:avLst/>
          </a:prstGeom>
          <a:solidFill>
            <a:schemeClr val="tx2"/>
          </a:solidFill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EC32002-2730-460F-85BC-7CFD860653C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1865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02" r:id="rId2"/>
    <p:sldLayoutId id="2147483808" r:id="rId3"/>
    <p:sldLayoutId id="2147483804" r:id="rId4"/>
    <p:sldLayoutId id="2147483805" r:id="rId5"/>
    <p:sldLayoutId id="2147483787" r:id="rId6"/>
    <p:sldLayoutId id="2147483815" r:id="rId7"/>
    <p:sldLayoutId id="2147483812" r:id="rId8"/>
    <p:sldLayoutId id="2147483785" r:id="rId9"/>
    <p:sldLayoutId id="2147483806" r:id="rId10"/>
    <p:sldLayoutId id="2147483813" r:id="rId11"/>
    <p:sldLayoutId id="2147483814" r:id="rId12"/>
    <p:sldLayoutId id="2147483811" r:id="rId13"/>
    <p:sldLayoutId id="2147483807" r:id="rId14"/>
    <p:sldLayoutId id="2147483783" r:id="rId15"/>
    <p:sldLayoutId id="2147483819" r:id="rId16"/>
    <p:sldLayoutId id="2147483820" r:id="rId17"/>
    <p:sldLayoutId id="2147483821" r:id="rId18"/>
    <p:sldLayoutId id="2147483817" r:id="rId19"/>
    <p:sldLayoutId id="2147483818" r:id="rId20"/>
  </p:sldLayoutIdLst>
  <p:hf hdr="0" dt="0"/>
  <p:txStyles>
    <p:titleStyle>
      <a:lvl1pPr algn="l" defTabSz="99569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2000" b="0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9569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lang="en-US" sz="1600" b="0" i="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9569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9569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270000" algn="l" defTabSz="99569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269875" algn="l" defTabSz="99569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Font typeface="Calibri" panose="020F0502020204030204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9569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1"/>
        </a:buClr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9569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Tx/>
        <a:buFont typeface="+mj-lt"/>
        <a:buNone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9569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Tx/>
        <a:buFont typeface="+mj-lt"/>
        <a:buNone/>
        <a:defRPr sz="1600" b="1" kern="120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lvl1pPr marL="0" indent="0" algn="l" defTabSz="99569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9569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9569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9569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9569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Tx/>
        <a:buNone/>
        <a:defRPr sz="900" b="1" kern="1200">
          <a:solidFill>
            <a:schemeClr val="tx1"/>
          </a:solidFill>
          <a:latin typeface="+mj-lt"/>
          <a:ea typeface="+mn-ea"/>
          <a:cs typeface="+mn-cs"/>
        </a:defRPr>
      </a:lvl5pPr>
      <a:lvl6pPr marL="0" indent="0" algn="l" defTabSz="995690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FontTx/>
        <a:buNone/>
        <a:defRPr sz="1100" b="0" kern="1200">
          <a:solidFill>
            <a:schemeClr val="accent1"/>
          </a:solidFill>
          <a:latin typeface="+mj-lt"/>
          <a:ea typeface="+mn-ea"/>
          <a:cs typeface="+mn-cs"/>
        </a:defRPr>
      </a:lvl6pPr>
      <a:lvl7pPr marL="180975" indent="-180975" algn="l" defTabSz="995690" rtl="0" eaLnBrk="1" latinLnBrk="0" hangingPunct="1">
        <a:spcBef>
          <a:spcPts val="0"/>
        </a:spcBef>
        <a:spcAft>
          <a:spcPts val="600"/>
        </a:spcAft>
        <a:buClrTx/>
        <a:buFont typeface="+mj-lt"/>
        <a:buAutoNum type="arabicPeriod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975" algn="l" defTabSz="995690" rtl="0" eaLnBrk="1" latinLnBrk="0" hangingPunct="1">
        <a:spcBef>
          <a:spcPts val="0"/>
        </a:spcBef>
        <a:spcAft>
          <a:spcPts val="600"/>
        </a:spcAft>
        <a:buClrTx/>
        <a:buFont typeface="+mj-lt"/>
        <a:buAutoNum type="alphaLcPeriod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975" algn="l" defTabSz="995690" rtl="0" eaLnBrk="1" latinLnBrk="0" hangingPunct="1">
        <a:spcBef>
          <a:spcPts val="0"/>
        </a:spcBef>
        <a:spcAft>
          <a:spcPts val="600"/>
        </a:spcAft>
        <a:buClrTx/>
        <a:buFont typeface="+mj-lt"/>
        <a:buAutoNum type="alphaLcPeriod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6339" userDrawn="1">
          <p15:clr>
            <a:srgbClr val="F26B43"/>
          </p15:clr>
        </p15:guide>
        <p15:guide id="5" pos="3459" userDrawn="1">
          <p15:clr>
            <a:srgbClr val="F26B43"/>
          </p15:clr>
        </p15:guide>
        <p15:guide id="22" orient="horz" pos="658" userDrawn="1">
          <p15:clr>
            <a:srgbClr val="F26B43"/>
          </p15:clr>
        </p15:guide>
        <p15:guide id="23" orient="horz" pos="4287" userDrawn="1">
          <p15:clr>
            <a:srgbClr val="F26B43"/>
          </p15:clr>
        </p15:guide>
        <p15:guide id="26" pos="3277" userDrawn="1">
          <p15:clr>
            <a:srgbClr val="F26B43"/>
          </p15:clr>
        </p15:guide>
        <p15:guide id="29" orient="horz" pos="1270" userDrawn="1">
          <p15:clr>
            <a:srgbClr val="F26B43"/>
          </p15:clr>
        </p15:guide>
        <p15:guide id="40" pos="3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image" Target="../media/image21.emf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notesSlide" Target="../notesSlides/notesSlide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slideLayout" Target="../slideLayouts/slideLayout8.xml"/><Relationship Id="rId30" Type="http://schemas.openxmlformats.org/officeDocument/2006/relationships/image" Target="../media/image22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7.emf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jpeg"/><Relationship Id="rId15" Type="http://schemas.openxmlformats.org/officeDocument/2006/relationships/image" Target="../media/image16.png"/><Relationship Id="rId10" Type="http://schemas.openxmlformats.org/officeDocument/2006/relationships/image" Target="../media/image11.jpeg"/><Relationship Id="rId4" Type="http://schemas.openxmlformats.org/officeDocument/2006/relationships/image" Target="../media/image5.png"/><Relationship Id="rId9" Type="http://schemas.openxmlformats.org/officeDocument/2006/relationships/image" Target="../media/image10.jpeg"/><Relationship Id="rId1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7C6A13F-AC43-4E58-B4A3-082833A19F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588" y="1932524"/>
            <a:ext cx="4854128" cy="1296007"/>
          </a:xfrm>
        </p:spPr>
        <p:txBody>
          <a:bodyPr/>
          <a:lstStyle/>
          <a:p>
            <a:r>
              <a:rPr lang="en-GB" sz="3600" dirty="0"/>
              <a:t>Private Equity: Its Place in Corporate Finance and</a:t>
            </a:r>
            <a:br>
              <a:rPr lang="en-GB" sz="3600" dirty="0"/>
            </a:br>
            <a:r>
              <a:rPr lang="en-GB" sz="3600" dirty="0"/>
              <a:t>How It Works</a:t>
            </a:r>
            <a:endParaRPr lang="en-GB" dirty="0"/>
          </a:p>
          <a:p>
            <a:endParaRPr lang="en-GB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39A0618-27BD-45E2-9CE9-4EC4A771A4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358B4D-B833-41C7-9895-37A2B6F5B3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8" y="3914871"/>
            <a:ext cx="4572000" cy="558770"/>
          </a:xfrm>
        </p:spPr>
        <p:txBody>
          <a:bodyPr/>
          <a:lstStyle/>
          <a:p>
            <a:r>
              <a:rPr lang="en-GB" dirty="0"/>
              <a:t>Chris Hale, Chair Emeritus, Travers Smith</a:t>
            </a:r>
            <a:br>
              <a:rPr lang="en-GB" dirty="0"/>
            </a:br>
            <a:r>
              <a:rPr lang="en-GB" dirty="0"/>
              <a:t>William Paul, Partner, Bridgepoint</a:t>
            </a:r>
            <a:br>
              <a:rPr lang="en-GB" dirty="0"/>
            </a:br>
            <a:endParaRPr lang="en-GB" dirty="0"/>
          </a:p>
          <a:p>
            <a:r>
              <a:rPr lang="en-GB" dirty="0"/>
              <a:t>march 2021</a:t>
            </a:r>
          </a:p>
          <a:p>
            <a:endParaRPr lang="en-GB" dirty="0"/>
          </a:p>
        </p:txBody>
      </p:sp>
      <p:pic>
        <p:nvPicPr>
          <p:cNvPr id="17" name="Picture Placeholder 6">
            <a:extLst>
              <a:ext uri="{FF2B5EF4-FFF2-40B4-BE49-F238E27FC236}">
                <a16:creationId xmlns:a16="http://schemas.microsoft.com/office/drawing/2014/main" id="{4DBBBADE-5366-4724-AE54-F8BCBC3F251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15592" y="1368040"/>
            <a:ext cx="5257230" cy="5257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6696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6933FA7-AA4B-4D0C-B460-81B3778F8F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Globally in 2019 buy-outs accounted in value terms for about $400 billion out of $4 trillion money spent (2018 $580 billion and $4.1 trillion).</a:t>
            </a:r>
          </a:p>
          <a:p>
            <a:pPr algn="r"/>
            <a:r>
              <a:rPr lang="en-GB" i="1" dirty="0"/>
              <a:t>Source: </a:t>
            </a:r>
            <a:r>
              <a:rPr lang="en-GB" i="1" dirty="0" err="1"/>
              <a:t>Wachtell</a:t>
            </a:r>
            <a:r>
              <a:rPr lang="en-GB" i="1" dirty="0"/>
              <a:t> Lipton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0072FAA-9AC2-409E-B02C-78B9EAC571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BUT in the UK in 2019 buy-outs accounted for 76 per cent of total M&amp;A value</a:t>
            </a:r>
          </a:p>
          <a:p>
            <a:pPr algn="r"/>
            <a:br>
              <a:rPr lang="en-GB" i="1" dirty="0"/>
            </a:br>
            <a:br>
              <a:rPr lang="en-GB" i="1" dirty="0"/>
            </a:br>
            <a:r>
              <a:rPr lang="en-GB" i="1" dirty="0"/>
              <a:t>Source: CMBOR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D89D3A-94D8-48E8-9B7D-5B6A57E9D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vate equity : How important is it to M&amp;A?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A5B25E7D-9B7E-4DF1-8DB7-B36B36B43F98}"/>
              </a:ext>
            </a:extLst>
          </p:cNvPr>
          <p:cNvSpPr txBox="1">
            <a:spLocks/>
          </p:cNvSpPr>
          <p:nvPr/>
        </p:nvSpPr>
        <p:spPr>
          <a:xfrm>
            <a:off x="9775377" y="6994512"/>
            <a:ext cx="287786" cy="287786"/>
          </a:xfrm>
          <a:prstGeom prst="ellipse">
            <a:avLst/>
          </a:prstGeom>
        </p:spPr>
        <p:txBody>
          <a:bodyPr/>
          <a:lstStyle>
            <a:defPPr>
              <a:defRPr lang="en-GB"/>
            </a:defPPr>
            <a:lvl1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180975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F689542-1645-46BB-84B3-DB6DE85591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62648" y="2016126"/>
            <a:ext cx="1280271" cy="80474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73FA0D2-9DF8-4772-9C4A-A895F22F6A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172" y="2016126"/>
            <a:ext cx="1280271" cy="804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818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965EE6-75DC-4EDB-A3F0-8E7492FEB8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The success of private equity – and wh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612882-2ACA-48EB-A1BE-9AB2229D7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6677990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F318F1-6E25-4D2C-9129-FE8B78A4A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re are 3 main ways in which private equity creates value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1B945E34-6CF0-403E-ABFD-7F112B59A6D0}"/>
              </a:ext>
            </a:extLst>
          </p:cNvPr>
          <p:cNvSpPr/>
          <p:nvPr/>
        </p:nvSpPr>
        <p:spPr bwMode="auto">
          <a:xfrm rot="5400000">
            <a:off x="4635982" y="4109757"/>
            <a:ext cx="3125783" cy="417848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F6E1628-02F2-43CF-A26D-E06536A511BC}"/>
              </a:ext>
            </a:extLst>
          </p:cNvPr>
          <p:cNvSpPr/>
          <p:nvPr/>
        </p:nvSpPr>
        <p:spPr bwMode="auto">
          <a:xfrm>
            <a:off x="630700" y="2016126"/>
            <a:ext cx="5430706" cy="473967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2E7B9489-C0D7-45F0-9DE7-DBDDA9D72467}"/>
              </a:ext>
            </a:extLst>
          </p:cNvPr>
          <p:cNvSpPr txBox="1">
            <a:spLocks noChangeArrowheads="1"/>
          </p:cNvSpPr>
          <p:nvPr/>
        </p:nvSpPr>
        <p:spPr>
          <a:xfrm>
            <a:off x="2075419" y="2178611"/>
            <a:ext cx="3985987" cy="1601048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69875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Font typeface="+mj-lt"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Font typeface="+mj-lt"/>
              <a:buNone/>
              <a:defRPr sz="16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0513" lvl="1" indent="-290513" defTabSz="912860"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latin typeface="+mj-lt"/>
              </a:rPr>
              <a:t>Revenue growth:</a:t>
            </a:r>
          </a:p>
          <a:p>
            <a:pPr marL="628650" lvl="2" indent="-290513" defTabSz="912860"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–"/>
              <a:defRPr/>
            </a:pPr>
            <a:r>
              <a:rPr lang="en-GB" sz="1400" dirty="0">
                <a:latin typeface="+mj-lt"/>
              </a:rPr>
              <a:t>Organic - new investment, market fundamentals, geographic or product extensions etc.</a:t>
            </a:r>
          </a:p>
          <a:p>
            <a:pPr marL="628650" lvl="2" indent="-290513" defTabSz="912860"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–"/>
              <a:defRPr/>
            </a:pPr>
            <a:r>
              <a:rPr lang="en-GB" sz="1400" dirty="0">
                <a:latin typeface="+mj-lt"/>
              </a:rPr>
              <a:t>Inorganic - Acquisitions</a:t>
            </a:r>
          </a:p>
          <a:p>
            <a:pPr marL="290513" lvl="1" indent="-290513" defTabSz="912860"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latin typeface="+mj-lt"/>
              </a:rPr>
              <a:t>Margin improvemen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7507C99-34D3-44A8-B94C-B294C326B064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733888" y="2178611"/>
            <a:ext cx="1444625" cy="1477963"/>
          </a:xfrm>
          <a:prstGeom prst="homePlate">
            <a:avLst>
              <a:gd name="adj" fmla="val 18681"/>
            </a:avLst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txBody>
          <a:bodyPr wrap="square" lIns="71438" tIns="252413" rIns="0" bIns="252413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Profit growth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730A585-A4B9-4A4D-97A8-AD8A447A2349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742633" y="5218531"/>
            <a:ext cx="1417638" cy="1209675"/>
          </a:xfrm>
          <a:prstGeom prst="homePlate">
            <a:avLst>
              <a:gd name="adj" fmla="val 18241"/>
            </a:avLst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txBody>
          <a:bodyPr wrap="square" lIns="71438" tIns="217488" rIns="34925" bIns="217488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Entry versus exit multip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485D8D6-6986-484B-8DFF-8F7CBFE7A16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33888" y="3841000"/>
            <a:ext cx="1444625" cy="1196975"/>
          </a:xfrm>
          <a:prstGeom prst="homePlate">
            <a:avLst>
              <a:gd name="adj" fmla="val 18170"/>
            </a:avLst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txBody>
          <a:bodyPr wrap="square" lIns="71438" tIns="215900" rIns="0" bIns="21590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Leverage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B0EEFDA1-B771-4497-9FEC-B168515BC3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78513" y="5218531"/>
            <a:ext cx="3882893" cy="120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290513" lvl="1" defTabSz="912860" eaLnBrk="1" hangingPunct="1"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GB" sz="1400" kern="0" dirty="0">
                <a:latin typeface="+mj-lt"/>
              </a:rPr>
              <a:t>Market position / defensibility </a:t>
            </a:r>
          </a:p>
          <a:p>
            <a:pPr marL="290513" lvl="1" defTabSz="912860" eaLnBrk="1" hangingPunct="1"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GB" sz="1400" kern="0" dirty="0">
                <a:latin typeface="+mj-lt"/>
              </a:rPr>
              <a:t>Margins / cash generation</a:t>
            </a:r>
          </a:p>
          <a:p>
            <a:pPr marL="290513" lvl="1" defTabSz="912860" eaLnBrk="1" hangingPunct="1"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GB" sz="1400" kern="0" dirty="0">
                <a:latin typeface="+mj-lt"/>
              </a:rPr>
              <a:t>Market timing etc.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EAD97ED-91C9-47F5-9F82-236EAE8357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78513" y="3841000"/>
            <a:ext cx="3735135" cy="11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290513" lvl="1" defTabSz="912860" eaLnBrk="1" hangingPunct="1">
              <a:spcAft>
                <a:spcPts val="3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en-GB" sz="1400" kern="0" dirty="0">
                <a:latin typeface="+mj-lt"/>
              </a:rPr>
              <a:t>Bank debt comprised 60-70% of deal funding pre credit crunch dropping to 40-50% in the credit crunch but now approaching pre-crisis levels again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512DAA3F-2EA8-4098-A8FC-3CFAC9CEF3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07798" y="2136534"/>
            <a:ext cx="36549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lvl="1" indent="0" defTabSz="912860" eaLnBrk="1" hangingPunct="1">
              <a:buClr>
                <a:srgbClr val="002060"/>
              </a:buClr>
              <a:buNone/>
              <a:defRPr/>
            </a:pPr>
            <a:r>
              <a:rPr lang="en-GB" sz="1400" b="1" kern="0" dirty="0">
                <a:solidFill>
                  <a:schemeClr val="tx1"/>
                </a:solidFill>
                <a:latin typeface="+mj-lt"/>
              </a:rPr>
              <a:t>Returns from PE relative to the stock markets*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612EC7-0624-4DF1-B71D-A6630A060347}"/>
              </a:ext>
            </a:extLst>
          </p:cNvPr>
          <p:cNvSpPr txBox="1"/>
          <p:nvPr/>
        </p:nvSpPr>
        <p:spPr>
          <a:xfrm>
            <a:off x="742633" y="6539957"/>
            <a:ext cx="665567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50" dirty="0">
                <a:solidFill>
                  <a:schemeClr val="tx1"/>
                </a:solidFill>
                <a:latin typeface="+mj-lt"/>
              </a:rPr>
              <a:t>* Source: EY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BF7E874E-F651-4CBC-AE1B-507DD7B4A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98874" y="2534425"/>
            <a:ext cx="412345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265822" lvl="1" indent="0" defTabSz="912860" eaLnBrk="1" hangingPunct="1">
              <a:buClr>
                <a:srgbClr val="002060"/>
              </a:buClr>
              <a:buNone/>
              <a:defRPr/>
            </a:pPr>
            <a:r>
              <a:rPr lang="en-GB" sz="1400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2005 - 2019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A452E98-B8B9-4277-BB11-8FEA2B6388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84099" y="2932316"/>
            <a:ext cx="3960335" cy="3786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651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12" grpId="0" build="p"/>
      <p:bldP spid="13" grpId="0" build="p"/>
      <p:bldP spid="14" grpId="0" build="p"/>
      <p:bldP spid="16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6583A5-BDF6-4C50-B829-020E1833B6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yout funds have outperformed public markets in all major regions over longer time horizons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0DFBE7-0637-4F90-8503-0A66C8BB916D}"/>
              </a:ext>
            </a:extLst>
          </p:cNvPr>
          <p:cNvSpPr txBox="1"/>
          <p:nvPr/>
        </p:nvSpPr>
        <p:spPr>
          <a:xfrm>
            <a:off x="882204" y="5868863"/>
            <a:ext cx="23762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solidFill>
                  <a:schemeClr val="tx1"/>
                </a:solidFill>
                <a:latin typeface="+mj-lt"/>
              </a:rPr>
              <a:t>Source: Bain  Global Private Equity Report 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2ED0711-04A4-4996-8BFB-B412CCC845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4212" y="1875869"/>
            <a:ext cx="8821165" cy="380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064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B1256-962D-45E1-9ECB-C83E63A91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has private equity grown?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9E8ECB4-74FE-4B62-ADAB-D7B465385F13}"/>
              </a:ext>
            </a:extLst>
          </p:cNvPr>
          <p:cNvSpPr txBox="1">
            <a:spLocks/>
          </p:cNvSpPr>
          <p:nvPr/>
        </p:nvSpPr>
        <p:spPr>
          <a:xfrm>
            <a:off x="652921" y="2024575"/>
            <a:ext cx="8738395" cy="4298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69875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Font typeface="+mj-lt"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Font typeface="+mj-lt"/>
              <a:buNone/>
              <a:defRPr sz="16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4B16C39-233D-4281-8650-B6254FF3769B}"/>
              </a:ext>
            </a:extLst>
          </p:cNvPr>
          <p:cNvGrpSpPr/>
          <p:nvPr/>
        </p:nvGrpSpPr>
        <p:grpSpPr>
          <a:xfrm>
            <a:off x="632421" y="2418401"/>
            <a:ext cx="7726787" cy="3955347"/>
            <a:chOff x="632421" y="2418401"/>
            <a:chExt cx="7726787" cy="3955347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9E60C3BA-DB27-4062-91B9-04FB1E5F02C8}"/>
                </a:ext>
              </a:extLst>
            </p:cNvPr>
            <p:cNvSpPr/>
            <p:nvPr/>
          </p:nvSpPr>
          <p:spPr>
            <a:xfrm>
              <a:off x="632421" y="2603732"/>
              <a:ext cx="3564466" cy="3564466"/>
            </a:xfrm>
            <a:prstGeom prst="ellipse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 anchorCtr="1"/>
            <a:lstStyle/>
            <a:p>
              <a:pPr algn="ctr"/>
              <a:r>
                <a:rPr lang="en-GB" sz="2400" b="1" dirty="0"/>
                <a:t>Private Equity Assets under management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5477FC7-065D-4ACE-9FF1-187C243F03B5}"/>
                </a:ext>
              </a:extLst>
            </p:cNvPr>
            <p:cNvSpPr/>
            <p:nvPr/>
          </p:nvSpPr>
          <p:spPr>
            <a:xfrm>
              <a:off x="5479208" y="2418401"/>
              <a:ext cx="1440000" cy="1440000"/>
            </a:xfrm>
            <a:prstGeom prst="ellipse">
              <a:avLst/>
            </a:prstGeom>
            <a:solidFill>
              <a:schemeClr val="accent5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0" rIns="0" bIns="0" anchor="ctr" anchorCtr="1"/>
            <a:lstStyle/>
            <a:p>
              <a:pPr algn="ctr"/>
              <a:r>
                <a:rPr lang="en-GB" b="1" dirty="0"/>
                <a:t>December 2000 </a:t>
              </a:r>
            </a:p>
            <a:p>
              <a:pPr algn="ctr"/>
              <a:r>
                <a:rPr lang="en-GB" b="1" dirty="0"/>
                <a:t>$577 billion dollars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68DD9E0-4E5D-4656-AFD6-343002CB0DD2}"/>
                </a:ext>
              </a:extLst>
            </p:cNvPr>
            <p:cNvSpPr/>
            <p:nvPr/>
          </p:nvSpPr>
          <p:spPr>
            <a:xfrm>
              <a:off x="6919208" y="3665965"/>
              <a:ext cx="1440000" cy="1440000"/>
            </a:xfrm>
            <a:prstGeom prst="ellipse">
              <a:avLst/>
            </a:prstGeom>
            <a:solidFill>
              <a:schemeClr val="accent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0" rIns="0" bIns="0" anchor="ctr" anchorCtr="1"/>
            <a:lstStyle/>
            <a:p>
              <a:pPr algn="ctr"/>
              <a:r>
                <a:rPr lang="en-GB" b="1" dirty="0"/>
                <a:t>December 2010 </a:t>
              </a:r>
            </a:p>
            <a:p>
              <a:pPr algn="ctr"/>
              <a:r>
                <a:rPr lang="en-GB" b="1" dirty="0"/>
                <a:t>$1,723 billion dollars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979C95C-40A3-496C-B89C-1C353B9CBF9C}"/>
                </a:ext>
              </a:extLst>
            </p:cNvPr>
            <p:cNvSpPr/>
            <p:nvPr/>
          </p:nvSpPr>
          <p:spPr>
            <a:xfrm>
              <a:off x="5479208" y="4933748"/>
              <a:ext cx="1440000" cy="1440000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0" rIns="0" bIns="0" anchor="ctr" anchorCtr="1"/>
            <a:lstStyle/>
            <a:p>
              <a:pPr algn="ctr"/>
              <a:r>
                <a:rPr lang="en-GB" b="1" dirty="0"/>
                <a:t>June 2020</a:t>
              </a:r>
            </a:p>
            <a:p>
              <a:pPr algn="ctr"/>
              <a:r>
                <a:rPr lang="en-GB" b="1" dirty="0"/>
                <a:t> $4,740 billion dollars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8F31E21-F225-4C3A-A3E3-57BA502F9A31}"/>
                </a:ext>
              </a:extLst>
            </p:cNvPr>
            <p:cNvCxnSpPr>
              <a:cxnSpLocks/>
              <a:stCxn id="21" idx="2"/>
              <a:endCxn id="19" idx="7"/>
            </p:cNvCxnSpPr>
            <p:nvPr/>
          </p:nvCxnSpPr>
          <p:spPr>
            <a:xfrm flipH="1" flipV="1">
              <a:off x="3674883" y="3125736"/>
              <a:ext cx="1804325" cy="12665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7CA272F-C9AA-44CF-B503-3BD956A8D7A6}"/>
                </a:ext>
              </a:extLst>
            </p:cNvPr>
            <p:cNvCxnSpPr>
              <a:cxnSpLocks/>
              <a:stCxn id="19" idx="5"/>
              <a:endCxn id="25" idx="2"/>
            </p:cNvCxnSpPr>
            <p:nvPr/>
          </p:nvCxnSpPr>
          <p:spPr>
            <a:xfrm>
              <a:off x="3674883" y="5646194"/>
              <a:ext cx="1804325" cy="7554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0CD2F78-CDAE-49E2-9907-D67655440678}"/>
                </a:ext>
              </a:extLst>
            </p:cNvPr>
            <p:cNvCxnSpPr>
              <a:cxnSpLocks/>
              <a:stCxn id="19" idx="6"/>
              <a:endCxn id="23" idx="2"/>
            </p:cNvCxnSpPr>
            <p:nvPr/>
          </p:nvCxnSpPr>
          <p:spPr>
            <a:xfrm>
              <a:off x="4196887" y="4385965"/>
              <a:ext cx="2722321" cy="0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CB92014-5F13-43E2-B6F3-04E053E09476}"/>
                </a:ext>
              </a:extLst>
            </p:cNvPr>
            <p:cNvCxnSpPr>
              <a:cxnSpLocks/>
            </p:cNvCxnSpPr>
            <p:nvPr/>
          </p:nvCxnSpPr>
          <p:spPr>
            <a:xfrm>
              <a:off x="5706740" y="3041434"/>
              <a:ext cx="1008112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2E715A5B-FAE9-4C38-A37F-2752FDD02A58}"/>
                </a:ext>
              </a:extLst>
            </p:cNvPr>
            <p:cNvCxnSpPr>
              <a:cxnSpLocks/>
            </p:cNvCxnSpPr>
            <p:nvPr/>
          </p:nvCxnSpPr>
          <p:spPr>
            <a:xfrm>
              <a:off x="5685367" y="5552361"/>
              <a:ext cx="1008112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03A5F080-CE19-4F23-8ECE-D865116F1A1C}"/>
                </a:ext>
              </a:extLst>
            </p:cNvPr>
            <p:cNvCxnSpPr>
              <a:cxnSpLocks/>
            </p:cNvCxnSpPr>
            <p:nvPr/>
          </p:nvCxnSpPr>
          <p:spPr>
            <a:xfrm>
              <a:off x="7135152" y="4284687"/>
              <a:ext cx="1008112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99580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C34707-92D1-4993-821D-21B278380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vate Equity vs Public Compan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666C26-777A-4D77-8CE9-56C28CFDE4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Universe of listed companies in UK and US shrinking dramatically.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Why?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But size of remaining listed companies increasing.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Will this trend continue?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8C590244-9F84-4998-B439-CE9BD407EC0A}"/>
              </a:ext>
            </a:extLst>
          </p:cNvPr>
          <p:cNvSpPr txBox="1">
            <a:spLocks/>
          </p:cNvSpPr>
          <p:nvPr/>
        </p:nvSpPr>
        <p:spPr>
          <a:xfrm>
            <a:off x="9775377" y="6994512"/>
            <a:ext cx="287786" cy="287786"/>
          </a:xfrm>
          <a:prstGeom prst="ellipse">
            <a:avLst/>
          </a:prstGeom>
        </p:spPr>
        <p:txBody>
          <a:bodyPr/>
          <a:lstStyle>
            <a:defPPr>
              <a:defRPr lang="en-GB"/>
            </a:defPPr>
            <a:lvl1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180975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5621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965EE6-75DC-4EDB-A3F0-8E7492FEB8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How private equity works – at the fu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612882-2ACA-48EB-A1BE-9AB2229D7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0654135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a private equity hous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60363" lvl="2" indent="-360363"/>
            <a:r>
              <a:rPr lang="en-GB" sz="2000" dirty="0"/>
              <a:t>Most are independent raising funds from outside investors and whose money they manage, the fund typically being structured as a limited partnership</a:t>
            </a:r>
          </a:p>
          <a:p>
            <a:pPr marL="360363" lvl="2" indent="-360363"/>
            <a:r>
              <a:rPr lang="en-GB" sz="2000" dirty="0"/>
              <a:t>Some are listed companies, such as 3i, investing balance sheet money</a:t>
            </a:r>
          </a:p>
          <a:p>
            <a:pPr marL="360363" lvl="2" indent="-360363"/>
            <a:r>
              <a:rPr lang="en-GB" sz="2000" dirty="0"/>
              <a:t>Funds will have a limited life, as we will explain, will be illiquid and will not have borrowings </a:t>
            </a:r>
          </a:p>
          <a:p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CE55821-0A27-4C12-81D4-82F33737E557}"/>
              </a:ext>
            </a:extLst>
          </p:cNvPr>
          <p:cNvGrpSpPr/>
          <p:nvPr/>
        </p:nvGrpSpPr>
        <p:grpSpPr>
          <a:xfrm>
            <a:off x="7434932" y="2520631"/>
            <a:ext cx="2520280" cy="2520000"/>
            <a:chOff x="7434932" y="2520631"/>
            <a:chExt cx="2520280" cy="252000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F483E387-DE76-482A-9564-CC7864971A0D}"/>
                </a:ext>
              </a:extLst>
            </p:cNvPr>
            <p:cNvSpPr/>
            <p:nvPr/>
          </p:nvSpPr>
          <p:spPr>
            <a:xfrm>
              <a:off x="7434932" y="2520631"/>
              <a:ext cx="2520280" cy="252000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1"/>
            <a:lstStyle/>
            <a:p>
              <a:pPr algn="ctr"/>
              <a:endParaRPr lang="en-GB" sz="9600" b="1" dirty="0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F59AB5F-AF20-478C-98F2-38642E963A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650956" y="2699714"/>
              <a:ext cx="2161834" cy="21618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463644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E2EB1C6A-D051-4389-A041-ADC17F460FF1}"/>
              </a:ext>
            </a:extLst>
          </p:cNvPr>
          <p:cNvSpPr txBox="1">
            <a:spLocks/>
          </p:cNvSpPr>
          <p:nvPr/>
        </p:nvSpPr>
        <p:spPr>
          <a:xfrm>
            <a:off x="630238" y="2016126"/>
            <a:ext cx="9432985" cy="4739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69875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Font typeface="+mj-lt"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Font typeface="+mj-lt"/>
              <a:buNone/>
              <a:defRPr sz="16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GB" sz="1600" b="1" dirty="0"/>
              <a:t>Main investors in Private Equity include pension funds and insurance companies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Largely institutions such as pension funds and insurance companie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In the UK, investors are mainly from overseas (over 70%), particularly the U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European public and private pension schemes allocate around 4% to the asset class. This lags behind US allocations of around 6.5% and Australasian allocations of just over 5%*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Allocations to the asset class from family offices and sovereign wealth funds reached 22% and 20% respectively**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400" dirty="0"/>
              <a:t>An example:</a:t>
            </a:r>
          </a:p>
          <a:p>
            <a:endParaRPr lang="en-GB" sz="160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23E1959-A3BA-4031-8618-A240BD147F22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3371850" y="4803776"/>
            <a:ext cx="214313" cy="160338"/>
          </a:xfrm>
          <a:prstGeom prst="rect">
            <a:avLst/>
          </a:prstGeom>
          <a:solidFill>
            <a:srgbClr val="DFE5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07665E0-2C85-42C3-A888-B35BAEAEC6B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371850" y="5037138"/>
            <a:ext cx="214313" cy="160338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1F08F67-46B1-494F-A515-3C888136CD0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371850" y="5503863"/>
            <a:ext cx="214313" cy="160338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0E2E578-2E4D-4E20-9E8B-C2764E9F5C3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371850" y="5737226"/>
            <a:ext cx="214313" cy="160338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147ED10-9499-4CDE-A791-FEB96F1096D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371850" y="5270501"/>
            <a:ext cx="214313" cy="160338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62" name="Text Placeholder 18">
            <a:extLst>
              <a:ext uri="{FF2B5EF4-FFF2-40B4-BE49-F238E27FC236}">
                <a16:creationId xmlns:a16="http://schemas.microsoft.com/office/drawing/2014/main" id="{25BFC56A-6420-41DD-A08B-70101EF74F5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636963" y="5032376"/>
            <a:ext cx="1778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EECBE6-B331-4FC2-845F-060B6A333EF2}" type="datetime'''''''''U''''''''''''''''''''''''''''''''''''K''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K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3" name="Text Placeholder 16">
            <a:extLst>
              <a:ext uri="{FF2B5EF4-FFF2-40B4-BE49-F238E27FC236}">
                <a16:creationId xmlns:a16="http://schemas.microsoft.com/office/drawing/2014/main" id="{90DB4951-2F1D-423E-82E5-F16E6737BC8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636963" y="4799013"/>
            <a:ext cx="2571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3395A8-B165-4817-BB22-1486971A3A26}" type="datetime'''''''''A''''''''''''s''''''''''''i''a''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sia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86019D30-8E36-4E5A-9864-E03E9FB1DB0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636963" y="5499101"/>
            <a:ext cx="723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53F738-3A80-4419-AD63-57B6964394EC}" type="datetime'M''i''''''''''''''d''d''''''l''''''e'''' ''Eas''''t''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iddle East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5" name="Text Placeholder 17">
            <a:extLst>
              <a:ext uri="{FF2B5EF4-FFF2-40B4-BE49-F238E27FC236}">
                <a16:creationId xmlns:a16="http://schemas.microsoft.com/office/drawing/2014/main" id="{20922F35-C434-4381-9AAE-6B2A71BD17C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636963" y="5265738"/>
            <a:ext cx="903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04E8F-F2B3-40A9-A0D0-ED8E8B217EEC}" type="datetime'''''Re''st'' ''''''''o''''''''''''''''f'''' Eur''o''''p''e''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st of Europe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6" name="Text Placeholder 14">
            <a:extLst>
              <a:ext uri="{FF2B5EF4-FFF2-40B4-BE49-F238E27FC236}">
                <a16:creationId xmlns:a16="http://schemas.microsoft.com/office/drawing/2014/main" id="{8021B102-51C5-4CB4-9483-788176E4F3E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36963" y="5732463"/>
            <a:ext cx="9080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E6340F-A138-4089-8A09-17AB16F94578}" type="datetime'No''''''''rt''''''h'''''' ''''''''A''''''me''''r''''ica''''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rth America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C7DB52B-2273-4C7C-9DD5-A2C47C99F10F}"/>
              </a:ext>
            </a:extLst>
          </p:cNvPr>
          <p:cNvSpPr txBox="1"/>
          <p:nvPr/>
        </p:nvSpPr>
        <p:spPr>
          <a:xfrm>
            <a:off x="892175" y="4130880"/>
            <a:ext cx="39374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schemeClr val="tx1"/>
                </a:solidFill>
                <a:latin typeface="+mj-lt"/>
              </a:rPr>
              <a:t>Investors by geography in Bridgepoint fund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4AC5F9E-9A34-4D07-845D-B5480D715D91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789863" y="5961063"/>
            <a:ext cx="214313" cy="160338"/>
          </a:xfrm>
          <a:prstGeom prst="rect">
            <a:avLst/>
          </a:prstGeom>
          <a:solidFill>
            <a:srgbClr val="969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100B2A2-649F-4E69-A474-3E478BE7FDF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789863" y="6194426"/>
            <a:ext cx="214313" cy="160337"/>
          </a:xfrm>
          <a:prstGeom prst="rect">
            <a:avLst/>
          </a:prstGeom>
          <a:solidFill>
            <a:srgbClr val="8080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61DC623E-B14D-4684-9E20-A26726A37F67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789863" y="5727701"/>
            <a:ext cx="214313" cy="160337"/>
          </a:xfrm>
          <a:prstGeom prst="rect">
            <a:avLst/>
          </a:prstGeom>
          <a:solidFill>
            <a:srgbClr val="C0C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12A6E9B-FAF0-44B4-9500-936BDCBDD791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789863" y="4560888"/>
            <a:ext cx="214313" cy="160338"/>
          </a:xfrm>
          <a:prstGeom prst="rect">
            <a:avLst/>
          </a:prstGeom>
          <a:solidFill>
            <a:srgbClr val="DFE5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389E240-43BB-4756-A27F-E85639B9ED69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789863" y="5260976"/>
            <a:ext cx="214313" cy="160338"/>
          </a:xfrm>
          <a:prstGeom prst="rect">
            <a:avLst/>
          </a:prstGeom>
          <a:solidFill>
            <a:srgbClr val="6F8DB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257E618-1E2B-48BC-A9CE-4AA093C125E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7789863" y="5494338"/>
            <a:ext cx="214313" cy="160338"/>
          </a:xfrm>
          <a:prstGeom prst="rect">
            <a:avLst/>
          </a:prstGeom>
          <a:solidFill>
            <a:srgbClr val="4C6C9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8CA0D22-CB53-465B-A9C4-8325CBA713D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789863" y="4794251"/>
            <a:ext cx="214313" cy="160338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5B95CB6-F489-4592-8D1D-590BA4F12FB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789863" y="5027613"/>
            <a:ext cx="214313" cy="160338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76" name="Text Placeholder 20">
            <a:extLst>
              <a:ext uri="{FF2B5EF4-FFF2-40B4-BE49-F238E27FC236}">
                <a16:creationId xmlns:a16="http://schemas.microsoft.com/office/drawing/2014/main" id="{D95B59E9-0603-46E5-860F-0BC7567D6EA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054975" y="5956301"/>
            <a:ext cx="13049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D622A6-C703-4516-86B6-8300F702F3E2}" type="datetime'''Ins''u''r''anc''e'''' ''''c''''''''o''mpa''n''''''ies''''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surance companies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35029380-7A94-49D1-A237-74DCB4E9355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054975" y="6189663"/>
            <a:ext cx="1277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26D258-AD4A-4C83-A70E-D55D1E20A718}" type="datetime'''''P''u''''''bl''ic p''e''''''n''''si''''o''n ''f''u''nds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ublic pension funds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8" name="Text Placeholder 19">
            <a:extLst>
              <a:ext uri="{FF2B5EF4-FFF2-40B4-BE49-F238E27FC236}">
                <a16:creationId xmlns:a16="http://schemas.microsoft.com/office/drawing/2014/main" id="{EF204757-9173-4C27-9C08-18DF7FF8E0E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054975" y="5722938"/>
            <a:ext cx="8493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6735A4-28DD-44FD-9785-CB761375B195}" type="datetime'''''''''''''''''''F''u''nd of ''''f''u''''n''ds''''''''''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und of funds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9" name="Text Placeholder 18">
            <a:extLst>
              <a:ext uri="{FF2B5EF4-FFF2-40B4-BE49-F238E27FC236}">
                <a16:creationId xmlns:a16="http://schemas.microsoft.com/office/drawing/2014/main" id="{5D9180DF-2134-4496-A7F2-A5DE7EDF836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054975" y="4789488"/>
            <a:ext cx="9175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8FA96BE-A986-469C-ABF6-5642B28B78EF}" type="datetime'''A''s''''s''''''''et'' ''mana''''''g''e''''''r''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/>
              <a:t>Asset manager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0" name="Text Placeholder 17">
            <a:extLst>
              <a:ext uri="{FF2B5EF4-FFF2-40B4-BE49-F238E27FC236}">
                <a16:creationId xmlns:a16="http://schemas.microsoft.com/office/drawing/2014/main" id="{D5B6E1CD-37D0-4457-912F-8F0C89BC4C6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054975" y="5022851"/>
            <a:ext cx="3048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788CCC-9F47-4311-8A33-DD62CD0DC602}" type="datetime'''''''''''''Ba''''''''''''''''n''''''k''''''''''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/>
              <a:t>Bank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1" name="Text Placeholder 15">
            <a:extLst>
              <a:ext uri="{FF2B5EF4-FFF2-40B4-BE49-F238E27FC236}">
                <a16:creationId xmlns:a16="http://schemas.microsoft.com/office/drawing/2014/main" id="{0FC11921-E87F-4B76-AF87-35B36835828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054975" y="5256213"/>
            <a:ext cx="15255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B9CFB8-7EE0-4A08-838B-6A4AF20F026B}" type="datetime'''Cor''porate'''''' p''''''e''n''''''s''''''ion ''f''un''ds''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/>
              <a:t>Corporate pension funds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2" name="Text Placeholder 16">
            <a:extLst>
              <a:ext uri="{FF2B5EF4-FFF2-40B4-BE49-F238E27FC236}">
                <a16:creationId xmlns:a16="http://schemas.microsoft.com/office/drawing/2014/main" id="{C36493B3-BBD3-40D0-8E34-50EF87799E4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054975" y="4556126"/>
            <a:ext cx="11033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77DDF3-E08C-4035-ADB0-F70FCE8BA528}" type="datetime'So''''ver''e''i''gn en''''''''''t''''i''''t''''''ies''''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/>
              <a:t>Sovereign entities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3" name="Text Placeholder 14">
            <a:extLst>
              <a:ext uri="{FF2B5EF4-FFF2-40B4-BE49-F238E27FC236}">
                <a16:creationId xmlns:a16="http://schemas.microsoft.com/office/drawing/2014/main" id="{5F4EC66D-91F8-406A-BD2C-0213131BD01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054975" y="5489576"/>
            <a:ext cx="15255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4EAE10-1CD3-44B5-A01E-31598A41EB01}" type="datetime'End''''ow''''m''''''''e''''n''t'''' fou''''n''d''at''io''''ns'">
              <a:rPr lang="en-US" sz="1200">
                <a:latin typeface="Calibri" panose="020F0502020204030204" pitchFamily="34" charset="0"/>
                <a:sym typeface="Calibri" panose="020F0502020204030204" pitchFamily="34" charset="0"/>
              </a:rPr>
              <a:pPr/>
              <a:t>Endowment foundations</a:t>
            </a:fld>
            <a:endParaRPr lang="en-GB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40D5E80A-5AA5-46E8-8ECC-3C6D5C893450}"/>
              </a:ext>
            </a:extLst>
          </p:cNvPr>
          <p:cNvSpPr txBox="1"/>
          <p:nvPr/>
        </p:nvSpPr>
        <p:spPr>
          <a:xfrm>
            <a:off x="5536967" y="4130880"/>
            <a:ext cx="39374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schemeClr val="tx1"/>
                </a:solidFill>
                <a:latin typeface="+mj-lt"/>
              </a:rPr>
              <a:t>Investors by type in Bridgepoint funds</a:t>
            </a:r>
          </a:p>
        </p:txBody>
      </p:sp>
      <p:pic>
        <p:nvPicPr>
          <p:cNvPr id="85" name="Picture 200">
            <a:extLst>
              <a:ext uri="{FF2B5EF4-FFF2-40B4-BE49-F238E27FC236}">
                <a16:creationId xmlns:a16="http://schemas.microsoft.com/office/drawing/2014/main" id="{66514F87-003D-4FD3-A1E0-43B92C79EEFB}"/>
              </a:ext>
            </a:extLst>
          </p:cNvPr>
          <p:cNvPicPr>
            <a:picLocks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775" y="4421188"/>
            <a:ext cx="2070100" cy="208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201">
            <a:extLst>
              <a:ext uri="{FF2B5EF4-FFF2-40B4-BE49-F238E27FC236}">
                <a16:creationId xmlns:a16="http://schemas.microsoft.com/office/drawing/2014/main" id="{F4EC8CB6-8C2C-4FA9-B137-00F9DF489FDD}"/>
              </a:ext>
            </a:extLst>
          </p:cNvPr>
          <p:cNvPicPr>
            <a:picLocks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9575" y="4421188"/>
            <a:ext cx="2057400" cy="208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" name="Rectangle 86">
            <a:extLst>
              <a:ext uri="{FF2B5EF4-FFF2-40B4-BE49-F238E27FC236}">
                <a16:creationId xmlns:a16="http://schemas.microsoft.com/office/drawing/2014/main" id="{C9C8553E-90D0-4AD2-9012-32EA73703FE3}"/>
              </a:ext>
            </a:extLst>
          </p:cNvPr>
          <p:cNvSpPr/>
          <p:nvPr/>
        </p:nvSpPr>
        <p:spPr>
          <a:xfrm>
            <a:off x="896708" y="6387616"/>
            <a:ext cx="50858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tx1"/>
                </a:solidFill>
              </a:rPr>
              <a:t>*London Business School </a:t>
            </a:r>
            <a:r>
              <a:rPr lang="en-GB" dirty="0" err="1">
                <a:solidFill>
                  <a:schemeClr val="tx1"/>
                </a:solidFill>
              </a:rPr>
              <a:t>Coller</a:t>
            </a:r>
            <a:r>
              <a:rPr lang="en-GB" dirty="0">
                <a:solidFill>
                  <a:schemeClr val="tx1"/>
                </a:solidFill>
              </a:rPr>
              <a:t> Institute of Private Equity</a:t>
            </a:r>
            <a:br>
              <a:rPr lang="en-GB" dirty="0">
                <a:solidFill>
                  <a:schemeClr val="tx1"/>
                </a:solidFill>
              </a:rPr>
            </a:br>
            <a:r>
              <a:rPr lang="en-GB" dirty="0">
                <a:solidFill>
                  <a:schemeClr val="tx1"/>
                </a:solidFill>
              </a:rPr>
              <a:t>**Campden Research/Financial Times</a:t>
            </a:r>
          </a:p>
        </p:txBody>
      </p:sp>
      <p:sp>
        <p:nvSpPr>
          <p:cNvPr id="19458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o invests in Private Equity?</a:t>
            </a:r>
            <a:br>
              <a:rPr lang="en-GB" dirty="0"/>
            </a:br>
            <a:endParaRPr lang="en-GB" dirty="0"/>
          </a:p>
        </p:txBody>
      </p:sp>
    </p:spTree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D80B84DC-0DC8-41C6-B4D1-8E52425BF8AC}"/>
              </a:ext>
            </a:extLst>
          </p:cNvPr>
          <p:cNvGrpSpPr/>
          <p:nvPr/>
        </p:nvGrpSpPr>
        <p:grpSpPr>
          <a:xfrm>
            <a:off x="563400" y="1899378"/>
            <a:ext cx="4103224" cy="1688179"/>
            <a:chOff x="563400" y="1899378"/>
            <a:chExt cx="4103224" cy="1688179"/>
          </a:xfrm>
        </p:grpSpPr>
        <p:sp>
          <p:nvSpPr>
            <p:cNvPr id="516" name="TextBox 515">
              <a:extLst>
                <a:ext uri="{FF2B5EF4-FFF2-40B4-BE49-F238E27FC236}">
                  <a16:creationId xmlns:a16="http://schemas.microsoft.com/office/drawing/2014/main" id="{75E88E68-BE4E-40B4-91C4-CFC9AEF34F2C}"/>
                </a:ext>
              </a:extLst>
            </p:cNvPr>
            <p:cNvSpPr txBox="1"/>
            <p:nvPr/>
          </p:nvSpPr>
          <p:spPr>
            <a:xfrm>
              <a:off x="647704" y="1899378"/>
              <a:ext cx="4008928" cy="1597370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cxnSp>
          <p:nvCxnSpPr>
            <p:cNvPr id="522" name="Straight Connector 521">
              <a:extLst>
                <a:ext uri="{FF2B5EF4-FFF2-40B4-BE49-F238E27FC236}">
                  <a16:creationId xmlns:a16="http://schemas.microsoft.com/office/drawing/2014/main" id="{D3ACA3D1-B137-435B-9CF6-69ADE778DFE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7326" y="3201182"/>
              <a:ext cx="3938022" cy="3298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C003EF5D-12E4-4E87-BA00-F6A3A31DD1B5}"/>
                </a:ext>
              </a:extLst>
            </p:cNvPr>
            <p:cNvGrpSpPr/>
            <p:nvPr/>
          </p:nvGrpSpPr>
          <p:grpSpPr>
            <a:xfrm>
              <a:off x="4158801" y="2015162"/>
              <a:ext cx="507823" cy="467642"/>
              <a:chOff x="4337835" y="1762739"/>
              <a:chExt cx="507823" cy="467642"/>
            </a:xfrm>
          </p:grpSpPr>
          <p:sp>
            <p:nvSpPr>
              <p:cNvPr id="529" name="TextBox 528">
                <a:extLst>
                  <a:ext uri="{FF2B5EF4-FFF2-40B4-BE49-F238E27FC236}">
                    <a16:creationId xmlns:a16="http://schemas.microsoft.com/office/drawing/2014/main" id="{0105CE30-3F17-401E-8BB5-B8B4ED52A84E}"/>
                  </a:ext>
                </a:extLst>
              </p:cNvPr>
              <p:cNvSpPr txBox="1"/>
              <p:nvPr/>
            </p:nvSpPr>
            <p:spPr>
              <a:xfrm>
                <a:off x="4355617" y="1762739"/>
                <a:ext cx="490041" cy="19028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2014</a:t>
                </a:r>
              </a:p>
            </p:txBody>
          </p:sp>
          <p:sp>
            <p:nvSpPr>
              <p:cNvPr id="530" name="TextBox 529">
                <a:extLst>
                  <a:ext uri="{FF2B5EF4-FFF2-40B4-BE49-F238E27FC236}">
                    <a16:creationId xmlns:a16="http://schemas.microsoft.com/office/drawing/2014/main" id="{D120194E-38BD-44CD-B3F5-1F72C32D6362}"/>
                  </a:ext>
                </a:extLst>
              </p:cNvPr>
              <p:cNvSpPr txBox="1"/>
              <p:nvPr/>
            </p:nvSpPr>
            <p:spPr>
              <a:xfrm>
                <a:off x="4348265" y="2040099"/>
                <a:ext cx="490041" cy="19028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2018</a:t>
                </a:r>
              </a:p>
            </p:txBody>
          </p:sp>
          <p:sp>
            <p:nvSpPr>
              <p:cNvPr id="531" name="TextBox 530">
                <a:extLst>
                  <a:ext uri="{FF2B5EF4-FFF2-40B4-BE49-F238E27FC236}">
                    <a16:creationId xmlns:a16="http://schemas.microsoft.com/office/drawing/2014/main" id="{E84CAA8F-7869-4178-9CD5-285DE2B583D1}"/>
                  </a:ext>
                </a:extLst>
              </p:cNvPr>
              <p:cNvSpPr txBox="1"/>
              <p:nvPr/>
            </p:nvSpPr>
            <p:spPr>
              <a:xfrm>
                <a:off x="4337835" y="1813891"/>
                <a:ext cx="86582" cy="4870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endParaRPr lang="en-GB" dirty="0"/>
              </a:p>
            </p:txBody>
          </p:sp>
          <p:sp>
            <p:nvSpPr>
              <p:cNvPr id="532" name="TextBox 531">
                <a:extLst>
                  <a:ext uri="{FF2B5EF4-FFF2-40B4-BE49-F238E27FC236}">
                    <a16:creationId xmlns:a16="http://schemas.microsoft.com/office/drawing/2014/main" id="{687CF5E7-D669-4156-BC65-CAC28B8C741B}"/>
                  </a:ext>
                </a:extLst>
              </p:cNvPr>
              <p:cNvSpPr txBox="1"/>
              <p:nvPr/>
            </p:nvSpPr>
            <p:spPr>
              <a:xfrm>
                <a:off x="4341875" y="2083161"/>
                <a:ext cx="86582" cy="4870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endParaRPr lang="en-GB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83DA3667-6DF9-471A-9D2F-F5C47CD617C2}"/>
                </a:ext>
              </a:extLst>
            </p:cNvPr>
            <p:cNvGrpSpPr/>
            <p:nvPr/>
          </p:nvGrpSpPr>
          <p:grpSpPr>
            <a:xfrm>
              <a:off x="784427" y="1988970"/>
              <a:ext cx="677696" cy="1221136"/>
              <a:chOff x="230735" y="1678745"/>
              <a:chExt cx="677696" cy="1221136"/>
            </a:xfrm>
          </p:grpSpPr>
          <p:sp>
            <p:nvSpPr>
              <p:cNvPr id="520" name="TextBox 519">
                <a:extLst>
                  <a:ext uri="{FF2B5EF4-FFF2-40B4-BE49-F238E27FC236}">
                    <a16:creationId xmlns:a16="http://schemas.microsoft.com/office/drawing/2014/main" id="{4F7AC31C-9939-4AD4-B9ED-7C6B62579E28}"/>
                  </a:ext>
                </a:extLst>
              </p:cNvPr>
              <p:cNvSpPr txBox="1"/>
              <p:nvPr/>
            </p:nvSpPr>
            <p:spPr>
              <a:xfrm>
                <a:off x="278116" y="1827522"/>
                <a:ext cx="216000" cy="107235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endParaRPr lang="en-GB" dirty="0"/>
              </a:p>
            </p:txBody>
          </p:sp>
          <p:sp>
            <p:nvSpPr>
              <p:cNvPr id="524" name="TextBox 523">
                <a:extLst>
                  <a:ext uri="{FF2B5EF4-FFF2-40B4-BE49-F238E27FC236}">
                    <a16:creationId xmlns:a16="http://schemas.microsoft.com/office/drawing/2014/main" id="{84F2B8D0-3CB0-4482-A132-960F235FD579}"/>
                  </a:ext>
                </a:extLst>
              </p:cNvPr>
              <p:cNvSpPr txBox="1"/>
              <p:nvPr/>
            </p:nvSpPr>
            <p:spPr>
              <a:xfrm>
                <a:off x="599957" y="1958353"/>
                <a:ext cx="216000" cy="93747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endParaRPr lang="en-GB" dirty="0"/>
              </a:p>
            </p:txBody>
          </p:sp>
          <p:sp>
            <p:nvSpPr>
              <p:cNvPr id="533" name="TextBox 532">
                <a:extLst>
                  <a:ext uri="{FF2B5EF4-FFF2-40B4-BE49-F238E27FC236}">
                    <a16:creationId xmlns:a16="http://schemas.microsoft.com/office/drawing/2014/main" id="{624742E0-1A02-441B-B9F7-689EF4EE5A43}"/>
                  </a:ext>
                </a:extLst>
              </p:cNvPr>
              <p:cNvSpPr txBox="1"/>
              <p:nvPr/>
            </p:nvSpPr>
            <p:spPr>
              <a:xfrm>
                <a:off x="230735" y="1678745"/>
                <a:ext cx="346078" cy="13253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59%</a:t>
                </a:r>
              </a:p>
            </p:txBody>
          </p:sp>
          <p:sp>
            <p:nvSpPr>
              <p:cNvPr id="534" name="TextBox 533">
                <a:extLst>
                  <a:ext uri="{FF2B5EF4-FFF2-40B4-BE49-F238E27FC236}">
                    <a16:creationId xmlns:a16="http://schemas.microsoft.com/office/drawing/2014/main" id="{25D75D9E-A5F1-4DE0-AAA8-E743CFBFC856}"/>
                  </a:ext>
                </a:extLst>
              </p:cNvPr>
              <p:cNvSpPr txBox="1"/>
              <p:nvPr/>
            </p:nvSpPr>
            <p:spPr>
              <a:xfrm>
                <a:off x="562353" y="1810106"/>
                <a:ext cx="346078" cy="13253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55%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54FC346-A6F0-46D8-983F-9ABD439A598D}"/>
                </a:ext>
              </a:extLst>
            </p:cNvPr>
            <p:cNvGrpSpPr/>
            <p:nvPr/>
          </p:nvGrpSpPr>
          <p:grpSpPr>
            <a:xfrm>
              <a:off x="1836220" y="2513586"/>
              <a:ext cx="663386" cy="696820"/>
              <a:chOff x="1242244" y="2203361"/>
              <a:chExt cx="663386" cy="696820"/>
            </a:xfrm>
          </p:grpSpPr>
          <p:sp>
            <p:nvSpPr>
              <p:cNvPr id="523" name="TextBox 522">
                <a:extLst>
                  <a:ext uri="{FF2B5EF4-FFF2-40B4-BE49-F238E27FC236}">
                    <a16:creationId xmlns:a16="http://schemas.microsoft.com/office/drawing/2014/main" id="{2D83DD13-CC26-4BC7-A0F7-DD14DB850EA4}"/>
                  </a:ext>
                </a:extLst>
              </p:cNvPr>
              <p:cNvSpPr txBox="1"/>
              <p:nvPr/>
            </p:nvSpPr>
            <p:spPr>
              <a:xfrm>
                <a:off x="1275579" y="2377409"/>
                <a:ext cx="216000" cy="52277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endParaRPr lang="en-GB" dirty="0"/>
              </a:p>
            </p:txBody>
          </p:sp>
          <p:sp>
            <p:nvSpPr>
              <p:cNvPr id="525" name="TextBox 524">
                <a:extLst>
                  <a:ext uri="{FF2B5EF4-FFF2-40B4-BE49-F238E27FC236}">
                    <a16:creationId xmlns:a16="http://schemas.microsoft.com/office/drawing/2014/main" id="{F7A2BF04-7C6A-4FCD-AFAE-A4025B82969D}"/>
                  </a:ext>
                </a:extLst>
              </p:cNvPr>
              <p:cNvSpPr txBox="1"/>
              <p:nvPr/>
            </p:nvSpPr>
            <p:spPr>
              <a:xfrm>
                <a:off x="1606723" y="2329755"/>
                <a:ext cx="216000" cy="56120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endParaRPr lang="en-GB" dirty="0"/>
              </a:p>
            </p:txBody>
          </p:sp>
          <p:sp>
            <p:nvSpPr>
              <p:cNvPr id="535" name="TextBox 534">
                <a:extLst>
                  <a:ext uri="{FF2B5EF4-FFF2-40B4-BE49-F238E27FC236}">
                    <a16:creationId xmlns:a16="http://schemas.microsoft.com/office/drawing/2014/main" id="{414ABB3B-2508-4905-9A81-39D4D2B217B8}"/>
                  </a:ext>
                </a:extLst>
              </p:cNvPr>
              <p:cNvSpPr txBox="1"/>
              <p:nvPr/>
            </p:nvSpPr>
            <p:spPr>
              <a:xfrm>
                <a:off x="1242244" y="2234624"/>
                <a:ext cx="346078" cy="13253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24%</a:t>
                </a:r>
              </a:p>
            </p:txBody>
          </p:sp>
          <p:sp>
            <p:nvSpPr>
              <p:cNvPr id="536" name="TextBox 535">
                <a:extLst>
                  <a:ext uri="{FF2B5EF4-FFF2-40B4-BE49-F238E27FC236}">
                    <a16:creationId xmlns:a16="http://schemas.microsoft.com/office/drawing/2014/main" id="{0655DDA5-DA42-42A5-B77C-95424A5D710B}"/>
                  </a:ext>
                </a:extLst>
              </p:cNvPr>
              <p:cNvSpPr txBox="1"/>
              <p:nvPr/>
            </p:nvSpPr>
            <p:spPr>
              <a:xfrm>
                <a:off x="1559552" y="2203361"/>
                <a:ext cx="346078" cy="13253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25%</a:t>
                </a:r>
              </a:p>
            </p:txBody>
          </p:sp>
        </p:grpSp>
        <p:grpSp>
          <p:nvGrpSpPr>
            <p:cNvPr id="537" name="Group 536">
              <a:extLst>
                <a:ext uri="{FF2B5EF4-FFF2-40B4-BE49-F238E27FC236}">
                  <a16:creationId xmlns:a16="http://schemas.microsoft.com/office/drawing/2014/main" id="{B354A081-8C20-4505-8195-64265CDAFAFC}"/>
                </a:ext>
              </a:extLst>
            </p:cNvPr>
            <p:cNvGrpSpPr/>
            <p:nvPr/>
          </p:nvGrpSpPr>
          <p:grpSpPr>
            <a:xfrm>
              <a:off x="2873703" y="2797849"/>
              <a:ext cx="615049" cy="416544"/>
              <a:chOff x="3851746" y="2246729"/>
              <a:chExt cx="716547" cy="531111"/>
            </a:xfrm>
          </p:grpSpPr>
          <p:sp>
            <p:nvSpPr>
              <p:cNvPr id="543" name="TextBox 542">
                <a:extLst>
                  <a:ext uri="{FF2B5EF4-FFF2-40B4-BE49-F238E27FC236}">
                    <a16:creationId xmlns:a16="http://schemas.microsoft.com/office/drawing/2014/main" id="{962D692E-58C4-4D5A-95CD-9B2C05E08900}"/>
                  </a:ext>
                </a:extLst>
              </p:cNvPr>
              <p:cNvSpPr txBox="1"/>
              <p:nvPr/>
            </p:nvSpPr>
            <p:spPr>
              <a:xfrm>
                <a:off x="3865991" y="2545392"/>
                <a:ext cx="249000" cy="23244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endParaRPr lang="en-GB" dirty="0"/>
              </a:p>
            </p:txBody>
          </p:sp>
          <p:sp>
            <p:nvSpPr>
              <p:cNvPr id="544" name="TextBox 543">
                <a:extLst>
                  <a:ext uri="{FF2B5EF4-FFF2-40B4-BE49-F238E27FC236}">
                    <a16:creationId xmlns:a16="http://schemas.microsoft.com/office/drawing/2014/main" id="{16FC14F5-338C-4D69-BCA6-FB9277261012}"/>
                  </a:ext>
                </a:extLst>
              </p:cNvPr>
              <p:cNvSpPr txBox="1"/>
              <p:nvPr/>
            </p:nvSpPr>
            <p:spPr>
              <a:xfrm>
                <a:off x="4231653" y="2428200"/>
                <a:ext cx="238793" cy="33225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endParaRPr lang="en-GB" dirty="0"/>
              </a:p>
            </p:txBody>
          </p:sp>
          <p:sp>
            <p:nvSpPr>
              <p:cNvPr id="545" name="TextBox 544">
                <a:extLst>
                  <a:ext uri="{FF2B5EF4-FFF2-40B4-BE49-F238E27FC236}">
                    <a16:creationId xmlns:a16="http://schemas.microsoft.com/office/drawing/2014/main" id="{03C8B626-EA9F-4F5F-AD39-2C41688433FB}"/>
                  </a:ext>
                </a:extLst>
              </p:cNvPr>
              <p:cNvSpPr txBox="1"/>
              <p:nvPr/>
            </p:nvSpPr>
            <p:spPr>
              <a:xfrm>
                <a:off x="3851746" y="2334542"/>
                <a:ext cx="328959" cy="16898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8%</a:t>
                </a:r>
              </a:p>
            </p:txBody>
          </p:sp>
          <p:sp>
            <p:nvSpPr>
              <p:cNvPr id="546" name="TextBox 545">
                <a:extLst>
                  <a:ext uri="{FF2B5EF4-FFF2-40B4-BE49-F238E27FC236}">
                    <a16:creationId xmlns:a16="http://schemas.microsoft.com/office/drawing/2014/main" id="{B4D14A29-0393-4471-8370-01146F0D704C}"/>
                  </a:ext>
                </a:extLst>
              </p:cNvPr>
              <p:cNvSpPr txBox="1"/>
              <p:nvPr/>
            </p:nvSpPr>
            <p:spPr>
              <a:xfrm>
                <a:off x="4165104" y="2246729"/>
                <a:ext cx="403189" cy="16898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10%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FE8CF6B-2766-4CF3-965D-F8345C4D33EF}"/>
                </a:ext>
              </a:extLst>
            </p:cNvPr>
            <p:cNvGrpSpPr/>
            <p:nvPr/>
          </p:nvGrpSpPr>
          <p:grpSpPr>
            <a:xfrm>
              <a:off x="3862848" y="2794118"/>
              <a:ext cx="624777" cy="418484"/>
              <a:chOff x="4223681" y="2475409"/>
              <a:chExt cx="624777" cy="418484"/>
            </a:xfrm>
          </p:grpSpPr>
          <p:sp>
            <p:nvSpPr>
              <p:cNvPr id="538" name="TextBox 537">
                <a:extLst>
                  <a:ext uri="{FF2B5EF4-FFF2-40B4-BE49-F238E27FC236}">
                    <a16:creationId xmlns:a16="http://schemas.microsoft.com/office/drawing/2014/main" id="{FFA3966C-3879-4ABD-8C41-5D8338860890}"/>
                  </a:ext>
                </a:extLst>
              </p:cNvPr>
              <p:cNvSpPr txBox="1"/>
              <p:nvPr/>
            </p:nvSpPr>
            <p:spPr>
              <a:xfrm>
                <a:off x="4245634" y="2679514"/>
                <a:ext cx="216000" cy="21437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endParaRPr lang="en-GB" dirty="0"/>
              </a:p>
            </p:txBody>
          </p:sp>
          <p:sp>
            <p:nvSpPr>
              <p:cNvPr id="539" name="TextBox 538">
                <a:extLst>
                  <a:ext uri="{FF2B5EF4-FFF2-40B4-BE49-F238E27FC236}">
                    <a16:creationId xmlns:a16="http://schemas.microsoft.com/office/drawing/2014/main" id="{497C53F6-3580-414D-AA98-071373FB7B1B}"/>
                  </a:ext>
                </a:extLst>
              </p:cNvPr>
              <p:cNvSpPr txBox="1"/>
              <p:nvPr/>
            </p:nvSpPr>
            <p:spPr>
              <a:xfrm>
                <a:off x="4559501" y="2625107"/>
                <a:ext cx="204968" cy="260587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endParaRPr lang="en-GB" dirty="0"/>
              </a:p>
            </p:txBody>
          </p:sp>
          <p:sp>
            <p:nvSpPr>
              <p:cNvPr id="540" name="TextBox 539">
                <a:extLst>
                  <a:ext uri="{FF2B5EF4-FFF2-40B4-BE49-F238E27FC236}">
                    <a16:creationId xmlns:a16="http://schemas.microsoft.com/office/drawing/2014/main" id="{102ABB29-2895-4EDB-A2FA-9F05136291BF}"/>
                  </a:ext>
                </a:extLst>
              </p:cNvPr>
              <p:cNvSpPr txBox="1"/>
              <p:nvPr/>
            </p:nvSpPr>
            <p:spPr>
              <a:xfrm>
                <a:off x="4223681" y="2536505"/>
                <a:ext cx="282363" cy="13253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9%</a:t>
                </a:r>
              </a:p>
            </p:txBody>
          </p:sp>
          <p:sp>
            <p:nvSpPr>
              <p:cNvPr id="541" name="TextBox 540">
                <a:extLst>
                  <a:ext uri="{FF2B5EF4-FFF2-40B4-BE49-F238E27FC236}">
                    <a16:creationId xmlns:a16="http://schemas.microsoft.com/office/drawing/2014/main" id="{D35D7D8D-E2FC-4DBC-9752-7F6AD7457597}"/>
                  </a:ext>
                </a:extLst>
              </p:cNvPr>
              <p:cNvSpPr txBox="1"/>
              <p:nvPr/>
            </p:nvSpPr>
            <p:spPr>
              <a:xfrm>
                <a:off x="4502380" y="2475409"/>
                <a:ext cx="346078" cy="13253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10%</a:t>
                </a:r>
              </a:p>
            </p:txBody>
          </p:sp>
        </p:grpSp>
        <p:sp>
          <p:nvSpPr>
            <p:cNvPr id="553" name="TextBox 552">
              <a:extLst>
                <a:ext uri="{FF2B5EF4-FFF2-40B4-BE49-F238E27FC236}">
                  <a16:creationId xmlns:a16="http://schemas.microsoft.com/office/drawing/2014/main" id="{04EB65A2-7A4B-4F29-86D1-C0B608BFC79F}"/>
                </a:ext>
              </a:extLst>
            </p:cNvPr>
            <p:cNvSpPr txBox="1"/>
            <p:nvPr/>
          </p:nvSpPr>
          <p:spPr>
            <a:xfrm>
              <a:off x="563400" y="3236146"/>
              <a:ext cx="1055890" cy="26839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North America</a:t>
              </a:r>
            </a:p>
          </p:txBody>
        </p:sp>
        <p:sp>
          <p:nvSpPr>
            <p:cNvPr id="556" name="TextBox 555">
              <a:extLst>
                <a:ext uri="{FF2B5EF4-FFF2-40B4-BE49-F238E27FC236}">
                  <a16:creationId xmlns:a16="http://schemas.microsoft.com/office/drawing/2014/main" id="{4B00F5E5-6FF6-484C-9234-7560860200AB}"/>
                </a:ext>
              </a:extLst>
            </p:cNvPr>
            <p:cNvSpPr txBox="1"/>
            <p:nvPr/>
          </p:nvSpPr>
          <p:spPr>
            <a:xfrm>
              <a:off x="1608217" y="3236146"/>
              <a:ext cx="1055890" cy="26839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Europe</a:t>
              </a:r>
            </a:p>
          </p:txBody>
        </p:sp>
        <p:sp>
          <p:nvSpPr>
            <p:cNvPr id="557" name="TextBox 556">
              <a:extLst>
                <a:ext uri="{FF2B5EF4-FFF2-40B4-BE49-F238E27FC236}">
                  <a16:creationId xmlns:a16="http://schemas.microsoft.com/office/drawing/2014/main" id="{D97B732D-F932-476C-BD69-F62A67063FAE}"/>
                </a:ext>
              </a:extLst>
            </p:cNvPr>
            <p:cNvSpPr txBox="1"/>
            <p:nvPr/>
          </p:nvSpPr>
          <p:spPr>
            <a:xfrm>
              <a:off x="2584727" y="3236146"/>
              <a:ext cx="1055890" cy="26839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Asia</a:t>
              </a:r>
            </a:p>
          </p:txBody>
        </p:sp>
        <p:sp>
          <p:nvSpPr>
            <p:cNvPr id="558" name="TextBox 557">
              <a:extLst>
                <a:ext uri="{FF2B5EF4-FFF2-40B4-BE49-F238E27FC236}">
                  <a16:creationId xmlns:a16="http://schemas.microsoft.com/office/drawing/2014/main" id="{71CE04F2-54D5-4501-821F-9D88946AEE99}"/>
                </a:ext>
              </a:extLst>
            </p:cNvPr>
            <p:cNvSpPr txBox="1"/>
            <p:nvPr/>
          </p:nvSpPr>
          <p:spPr>
            <a:xfrm>
              <a:off x="3584058" y="3236146"/>
              <a:ext cx="1055890" cy="26839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Rest of World</a:t>
              </a:r>
            </a:p>
          </p:txBody>
        </p:sp>
        <p:sp>
          <p:nvSpPr>
            <p:cNvPr id="562" name="TextBox 561">
              <a:extLst>
                <a:ext uri="{FF2B5EF4-FFF2-40B4-BE49-F238E27FC236}">
                  <a16:creationId xmlns:a16="http://schemas.microsoft.com/office/drawing/2014/main" id="{1EEBA1B8-90DD-482F-B32C-4DEAB5229657}"/>
                </a:ext>
              </a:extLst>
            </p:cNvPr>
            <p:cNvSpPr txBox="1"/>
            <p:nvPr/>
          </p:nvSpPr>
          <p:spPr>
            <a:xfrm>
              <a:off x="2229132" y="3375856"/>
              <a:ext cx="1041232" cy="21170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GB" sz="600" i="1" dirty="0">
                  <a:solidFill>
                    <a:schemeClr val="bg1"/>
                  </a:solidFill>
                </a:rPr>
                <a:t>Source:  </a:t>
              </a:r>
              <a:r>
                <a:rPr lang="en-GB" sz="600" i="1" dirty="0" err="1">
                  <a:solidFill>
                    <a:schemeClr val="bg1"/>
                  </a:solidFill>
                </a:rPr>
                <a:t>Preqin</a:t>
              </a:r>
              <a:r>
                <a:rPr lang="en-GB" sz="600" i="1" dirty="0">
                  <a:solidFill>
                    <a:schemeClr val="bg1"/>
                  </a:solidFill>
                </a:rPr>
                <a:t> Pro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C71CDEA-A0C0-4629-82EB-415AA7FB3623}"/>
              </a:ext>
            </a:extLst>
          </p:cNvPr>
          <p:cNvSpPr txBox="1"/>
          <p:nvPr/>
        </p:nvSpPr>
        <p:spPr>
          <a:xfrm>
            <a:off x="2573565" y="6244127"/>
            <a:ext cx="2386085" cy="3780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Aft>
                <a:spcPts val="0"/>
              </a:spcAft>
              <a:tabLst>
                <a:tab pos="450850" algn="l"/>
              </a:tabLst>
            </a:pPr>
            <a:r>
              <a:rPr lang="en-GB" sz="900" dirty="0">
                <a:solidFill>
                  <a:schemeClr val="tx1"/>
                </a:solidFill>
              </a:rPr>
              <a:t>Source: </a:t>
            </a:r>
            <a:r>
              <a:rPr lang="en-GB" sz="900" dirty="0" err="1">
                <a:solidFill>
                  <a:schemeClr val="tx1"/>
                </a:solidFill>
              </a:rPr>
              <a:t>Preqin</a:t>
            </a:r>
            <a:r>
              <a:rPr lang="en-GB" sz="900" dirty="0">
                <a:solidFill>
                  <a:schemeClr val="tx1"/>
                </a:solidFill>
              </a:rPr>
              <a:t> Global Private Equity and Venture Capital Report 2019</a:t>
            </a: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D621FCA2-CA9F-4A3F-98CE-91870883D3BB}"/>
              </a:ext>
            </a:extLst>
          </p:cNvPr>
          <p:cNvSpPr txBox="1"/>
          <p:nvPr/>
        </p:nvSpPr>
        <p:spPr>
          <a:xfrm>
            <a:off x="5304294" y="1896196"/>
            <a:ext cx="4556557" cy="57707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spcAft>
                <a:spcPts val="0"/>
              </a:spcAft>
            </a:pPr>
            <a:r>
              <a:rPr lang="en-GB" b="1" dirty="0">
                <a:solidFill>
                  <a:schemeClr val="tx1"/>
                </a:solidFill>
              </a:rPr>
              <a:t>Fig 4.2: Institutional Investors in Private Equity: Number and Median Current and Target Allocations (as a % of Total AUM) to Private Equity)</a:t>
            </a:r>
          </a:p>
        </p:txBody>
      </p:sp>
      <p:sp>
        <p:nvSpPr>
          <p:cNvPr id="519" name="TextBox 518">
            <a:extLst>
              <a:ext uri="{FF2B5EF4-FFF2-40B4-BE49-F238E27FC236}">
                <a16:creationId xmlns:a16="http://schemas.microsoft.com/office/drawing/2014/main" id="{41CBA23A-465D-4309-A664-322A94CF107F}"/>
              </a:ext>
            </a:extLst>
          </p:cNvPr>
          <p:cNvSpPr txBox="1"/>
          <p:nvPr/>
        </p:nvSpPr>
        <p:spPr>
          <a:xfrm>
            <a:off x="630700" y="1487136"/>
            <a:ext cx="3997307" cy="541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GB" b="1" dirty="0">
                <a:solidFill>
                  <a:schemeClr val="tx1"/>
                </a:solidFill>
              </a:rPr>
              <a:t>Fig. 4.1: Proportion of Aggregate Capital Invested in Private Equity by Investor Location, 2014 vs. 2018</a:t>
            </a:r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A48C561F-2A2E-420D-9814-4FD675F907E2}"/>
              </a:ext>
            </a:extLst>
          </p:cNvPr>
          <p:cNvSpPr txBox="1"/>
          <p:nvPr/>
        </p:nvSpPr>
        <p:spPr>
          <a:xfrm>
            <a:off x="4754871" y="2806157"/>
            <a:ext cx="942998" cy="24123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GB" sz="1000" dirty="0">
                <a:solidFill>
                  <a:schemeClr val="bg1"/>
                </a:solidFill>
              </a:rPr>
              <a:t>Rest of World</a:t>
            </a:r>
          </a:p>
        </p:txBody>
      </p:sp>
      <p:sp>
        <p:nvSpPr>
          <p:cNvPr id="542" name="TextBox 541">
            <a:extLst>
              <a:ext uri="{FF2B5EF4-FFF2-40B4-BE49-F238E27FC236}">
                <a16:creationId xmlns:a16="http://schemas.microsoft.com/office/drawing/2014/main" id="{30BB1E6D-564D-47A6-BC5C-2AB05F908EDB}"/>
              </a:ext>
            </a:extLst>
          </p:cNvPr>
          <p:cNvSpPr txBox="1"/>
          <p:nvPr/>
        </p:nvSpPr>
        <p:spPr>
          <a:xfrm>
            <a:off x="5584644" y="2960052"/>
            <a:ext cx="929907" cy="1902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GB" sz="600" i="1" dirty="0">
                <a:solidFill>
                  <a:schemeClr val="bg1"/>
                </a:solidFill>
              </a:rPr>
              <a:t>Source:  </a:t>
            </a:r>
            <a:r>
              <a:rPr lang="en-GB" sz="600" i="1" dirty="0" err="1">
                <a:solidFill>
                  <a:schemeClr val="bg1"/>
                </a:solidFill>
              </a:rPr>
              <a:t>Preqin</a:t>
            </a:r>
            <a:r>
              <a:rPr lang="en-GB" sz="600" i="1" dirty="0">
                <a:solidFill>
                  <a:schemeClr val="bg1"/>
                </a:solidFill>
              </a:rPr>
              <a:t> Pro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EE7A72D-9AAD-40C0-8D7D-425BC7D397CA}"/>
              </a:ext>
            </a:extLst>
          </p:cNvPr>
          <p:cNvGrpSpPr/>
          <p:nvPr/>
        </p:nvGrpSpPr>
        <p:grpSpPr>
          <a:xfrm>
            <a:off x="2582952" y="5214975"/>
            <a:ext cx="2386540" cy="898033"/>
            <a:chOff x="810196" y="5432285"/>
            <a:chExt cx="2386540" cy="89803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736DAE4-5622-40C3-88F1-978ABC393767}"/>
                </a:ext>
              </a:extLst>
            </p:cNvPr>
            <p:cNvSpPr txBox="1"/>
            <p:nvPr/>
          </p:nvSpPr>
          <p:spPr>
            <a:xfrm>
              <a:off x="1106541" y="5747546"/>
              <a:ext cx="1842666" cy="15155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r>
                <a:rPr lang="en-GB" sz="1100" dirty="0">
                  <a:solidFill>
                    <a:schemeClr val="tx1"/>
                  </a:solidFill>
                </a:rPr>
                <a:t>Median Current Allocation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4A5BC9D-FA65-406F-81EF-59C984FD7C84}"/>
                </a:ext>
              </a:extLst>
            </p:cNvPr>
            <p:cNvSpPr txBox="1"/>
            <p:nvPr/>
          </p:nvSpPr>
          <p:spPr>
            <a:xfrm>
              <a:off x="810196" y="5432285"/>
              <a:ext cx="108455" cy="13181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endParaRPr lang="en-GB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3C30738-28B4-4F4F-89DD-5112ED9D20B4}"/>
                </a:ext>
              </a:extLst>
            </p:cNvPr>
            <p:cNvSpPr txBox="1"/>
            <p:nvPr/>
          </p:nvSpPr>
          <p:spPr>
            <a:xfrm>
              <a:off x="818510" y="5770359"/>
              <a:ext cx="132353" cy="103804"/>
            </a:xfrm>
            <a:prstGeom prst="rect">
              <a:avLst/>
            </a:prstGeom>
            <a:solidFill>
              <a:schemeClr val="accent3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endParaRPr lang="en-GB" dirty="0"/>
            </a:p>
          </p:txBody>
        </p:sp>
        <p:grpSp>
          <p:nvGrpSpPr>
            <p:cNvPr id="550" name="Group 549">
              <a:extLst>
                <a:ext uri="{FF2B5EF4-FFF2-40B4-BE49-F238E27FC236}">
                  <a16:creationId xmlns:a16="http://schemas.microsoft.com/office/drawing/2014/main" id="{1EAEC840-938F-4CF2-AF87-6A889B20EE99}"/>
                </a:ext>
              </a:extLst>
            </p:cNvPr>
            <p:cNvGrpSpPr/>
            <p:nvPr/>
          </p:nvGrpSpPr>
          <p:grpSpPr>
            <a:xfrm>
              <a:off x="818510" y="5589341"/>
              <a:ext cx="1372796" cy="126617"/>
              <a:chOff x="810196" y="5756783"/>
              <a:chExt cx="1372796" cy="126617"/>
            </a:xfrm>
          </p:grpSpPr>
          <p:sp>
            <p:nvSpPr>
              <p:cNvPr id="551" name="TextBox 550">
                <a:extLst>
                  <a:ext uri="{FF2B5EF4-FFF2-40B4-BE49-F238E27FC236}">
                    <a16:creationId xmlns:a16="http://schemas.microsoft.com/office/drawing/2014/main" id="{EA774E0B-E991-4463-92B3-7109EE70C4EC}"/>
                  </a:ext>
                </a:extLst>
              </p:cNvPr>
              <p:cNvSpPr txBox="1"/>
              <p:nvPr/>
            </p:nvSpPr>
            <p:spPr>
              <a:xfrm>
                <a:off x="810196" y="5779596"/>
                <a:ext cx="132353" cy="103804"/>
              </a:xfrm>
              <a:prstGeom prst="rect">
                <a:avLst/>
              </a:prstGeom>
              <a:solidFill>
                <a:schemeClr val="accent5"/>
              </a:solidFill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endParaRPr lang="en-GB" dirty="0"/>
              </a:p>
            </p:txBody>
          </p:sp>
          <p:sp>
            <p:nvSpPr>
              <p:cNvPr id="552" name="TextBox 551">
                <a:extLst>
                  <a:ext uri="{FF2B5EF4-FFF2-40B4-BE49-F238E27FC236}">
                    <a16:creationId xmlns:a16="http://schemas.microsoft.com/office/drawing/2014/main" id="{9B31DBE4-7BC6-45BB-A8AC-B4E770FDCCCF}"/>
                  </a:ext>
                </a:extLst>
              </p:cNvPr>
              <p:cNvSpPr txBox="1"/>
              <p:nvPr/>
            </p:nvSpPr>
            <p:spPr>
              <a:xfrm>
                <a:off x="1098228" y="5756783"/>
                <a:ext cx="1084764" cy="12336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/>
              <a:p>
                <a:pPr algn="l"/>
                <a:r>
                  <a:rPr lang="en-GB" sz="1100" dirty="0">
                    <a:solidFill>
                      <a:schemeClr val="tx1"/>
                    </a:solidFill>
                  </a:rPr>
                  <a:t>No. of Investors</a:t>
                </a:r>
              </a:p>
            </p:txBody>
          </p:sp>
        </p:grpSp>
        <p:sp>
          <p:nvSpPr>
            <p:cNvPr id="554" name="TextBox 553">
              <a:extLst>
                <a:ext uri="{FF2B5EF4-FFF2-40B4-BE49-F238E27FC236}">
                  <a16:creationId xmlns:a16="http://schemas.microsoft.com/office/drawing/2014/main" id="{F48AD3B3-AABF-4755-B3B1-774711DEF5D3}"/>
                </a:ext>
              </a:extLst>
            </p:cNvPr>
            <p:cNvSpPr txBox="1"/>
            <p:nvPr/>
          </p:nvSpPr>
          <p:spPr>
            <a:xfrm>
              <a:off x="818510" y="5922759"/>
              <a:ext cx="132353" cy="103804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endParaRPr lang="en-GB" dirty="0"/>
            </a:p>
          </p:txBody>
        </p:sp>
        <p:sp>
          <p:nvSpPr>
            <p:cNvPr id="555" name="TextBox 554">
              <a:extLst>
                <a:ext uri="{FF2B5EF4-FFF2-40B4-BE49-F238E27FC236}">
                  <a16:creationId xmlns:a16="http://schemas.microsoft.com/office/drawing/2014/main" id="{813789CF-6A6A-4448-8797-14B8463FC97B}"/>
                </a:ext>
              </a:extLst>
            </p:cNvPr>
            <p:cNvSpPr txBox="1"/>
            <p:nvPr/>
          </p:nvSpPr>
          <p:spPr>
            <a:xfrm>
              <a:off x="1106541" y="5899946"/>
              <a:ext cx="1842666" cy="151550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r>
                <a:rPr lang="en-GB" sz="1100" dirty="0">
                  <a:solidFill>
                    <a:schemeClr val="tx1"/>
                  </a:solidFill>
                </a:rPr>
                <a:t>Median Target Allocation</a:t>
              </a:r>
            </a:p>
          </p:txBody>
        </p:sp>
        <p:sp>
          <p:nvSpPr>
            <p:cNvPr id="559" name="TextBox 558">
              <a:extLst>
                <a:ext uri="{FF2B5EF4-FFF2-40B4-BE49-F238E27FC236}">
                  <a16:creationId xmlns:a16="http://schemas.microsoft.com/office/drawing/2014/main" id="{AA59C986-72FA-471E-92F1-5D182E1638C2}"/>
                </a:ext>
              </a:extLst>
            </p:cNvPr>
            <p:cNvSpPr txBox="1"/>
            <p:nvPr/>
          </p:nvSpPr>
          <p:spPr>
            <a:xfrm>
              <a:off x="818510" y="6152377"/>
              <a:ext cx="2378226" cy="17794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r>
                <a:rPr lang="en-GB" sz="1100" dirty="0">
                  <a:solidFill>
                    <a:schemeClr val="tx1"/>
                  </a:solidFill>
                </a:rPr>
                <a:t>*Excluding the UK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702969D-D870-45C9-BE66-60D15186BACD}"/>
              </a:ext>
            </a:extLst>
          </p:cNvPr>
          <p:cNvGrpSpPr/>
          <p:nvPr/>
        </p:nvGrpSpPr>
        <p:grpSpPr>
          <a:xfrm>
            <a:off x="3690947" y="2812472"/>
            <a:ext cx="6751051" cy="4235830"/>
            <a:chOff x="2042023" y="3134715"/>
            <a:chExt cx="6751051" cy="4235830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9C8C672-7B2C-4D9C-A940-3AC0A52CBC1D}"/>
                </a:ext>
              </a:extLst>
            </p:cNvPr>
            <p:cNvGrpSpPr/>
            <p:nvPr/>
          </p:nvGrpSpPr>
          <p:grpSpPr>
            <a:xfrm>
              <a:off x="2042023" y="3134715"/>
              <a:ext cx="6751051" cy="4235830"/>
              <a:chOff x="1173039" y="1919923"/>
              <a:chExt cx="7611162" cy="5266059"/>
            </a:xfrm>
          </p:grpSpPr>
          <p:grpSp>
            <p:nvGrpSpPr>
              <p:cNvPr id="244" name="Group 243">
                <a:extLst>
                  <a:ext uri="{FF2B5EF4-FFF2-40B4-BE49-F238E27FC236}">
                    <a16:creationId xmlns:a16="http://schemas.microsoft.com/office/drawing/2014/main" id="{B4600DFA-0672-4733-8F8C-32C451C934EF}"/>
                  </a:ext>
                </a:extLst>
              </p:cNvPr>
              <p:cNvGrpSpPr/>
              <p:nvPr/>
            </p:nvGrpSpPr>
            <p:grpSpPr>
              <a:xfrm>
                <a:off x="1475500" y="2073416"/>
                <a:ext cx="7308701" cy="5112566"/>
                <a:chOff x="761661" y="2076546"/>
                <a:chExt cx="5427863" cy="2691312"/>
              </a:xfrm>
              <a:solidFill>
                <a:schemeClr val="bg1">
                  <a:lumMod val="65000"/>
                </a:schemeClr>
              </a:solidFill>
            </p:grpSpPr>
            <p:sp>
              <p:nvSpPr>
                <p:cNvPr id="246" name="Freeform: Shape 245">
                  <a:extLst>
                    <a:ext uri="{FF2B5EF4-FFF2-40B4-BE49-F238E27FC236}">
                      <a16:creationId xmlns:a16="http://schemas.microsoft.com/office/drawing/2014/main" id="{14F0CCB1-4F54-4E74-ABC7-D7B01A3DB88C}"/>
                    </a:ext>
                  </a:extLst>
                </p:cNvPr>
                <p:cNvSpPr/>
                <p:nvPr/>
              </p:nvSpPr>
              <p:spPr>
                <a:xfrm>
                  <a:off x="3956430" y="4006508"/>
                  <a:ext cx="110070" cy="209132"/>
                </a:xfrm>
                <a:custGeom>
                  <a:avLst/>
                  <a:gdLst>
                    <a:gd name="connsiteX0" fmla="*/ 10677 w 110069"/>
                    <a:gd name="connsiteY0" fmla="*/ 137037 h 209132"/>
                    <a:gd name="connsiteX1" fmla="*/ 21354 w 110069"/>
                    <a:gd name="connsiteY1" fmla="*/ 113042 h 209132"/>
                    <a:gd name="connsiteX2" fmla="*/ 13318 w 110069"/>
                    <a:gd name="connsiteY2" fmla="*/ 85304 h 209132"/>
                    <a:gd name="connsiteX3" fmla="*/ 47990 w 110069"/>
                    <a:gd name="connsiteY3" fmla="*/ 51733 h 209132"/>
                    <a:gd name="connsiteX4" fmla="*/ 85414 w 110069"/>
                    <a:gd name="connsiteY4" fmla="*/ 15960 h 209132"/>
                    <a:gd name="connsiteX5" fmla="*/ 88606 w 110069"/>
                    <a:gd name="connsiteY5" fmla="*/ 0 h 209132"/>
                    <a:gd name="connsiteX6" fmla="*/ 110510 w 110069"/>
                    <a:gd name="connsiteY6" fmla="*/ 50632 h 209132"/>
                    <a:gd name="connsiteX7" fmla="*/ 110510 w 110069"/>
                    <a:gd name="connsiteY7" fmla="*/ 58667 h 209132"/>
                    <a:gd name="connsiteX8" fmla="*/ 101484 w 110069"/>
                    <a:gd name="connsiteY8" fmla="*/ 56025 h 209132"/>
                    <a:gd name="connsiteX9" fmla="*/ 77489 w 110069"/>
                    <a:gd name="connsiteY9" fmla="*/ 152006 h 209132"/>
                    <a:gd name="connsiteX10" fmla="*/ 30489 w 110069"/>
                    <a:gd name="connsiteY10" fmla="*/ 211774 h 209132"/>
                    <a:gd name="connsiteX11" fmla="*/ 5393 w 110069"/>
                    <a:gd name="connsiteY11" fmla="*/ 182495 h 209132"/>
                    <a:gd name="connsiteX12" fmla="*/ 6384 w 110069"/>
                    <a:gd name="connsiteY12" fmla="*/ 169177 h 209132"/>
                    <a:gd name="connsiteX13" fmla="*/ 0 w 110069"/>
                    <a:gd name="connsiteY13" fmla="*/ 147823 h 209132"/>
                    <a:gd name="connsiteX14" fmla="*/ 10677 w 110069"/>
                    <a:gd name="connsiteY14" fmla="*/ 137037 h 209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10069" h="209132">
                      <a:moveTo>
                        <a:pt x="10677" y="137037"/>
                      </a:moveTo>
                      <a:cubicBezTo>
                        <a:pt x="10677" y="137037"/>
                        <a:pt x="21354" y="114142"/>
                        <a:pt x="21354" y="113042"/>
                      </a:cubicBezTo>
                      <a:cubicBezTo>
                        <a:pt x="21354" y="107208"/>
                        <a:pt x="13318" y="93889"/>
                        <a:pt x="13318" y="85304"/>
                      </a:cubicBezTo>
                      <a:cubicBezTo>
                        <a:pt x="13318" y="59218"/>
                        <a:pt x="32581" y="60758"/>
                        <a:pt x="47990" y="51733"/>
                      </a:cubicBezTo>
                      <a:cubicBezTo>
                        <a:pt x="60318" y="44798"/>
                        <a:pt x="76829" y="24545"/>
                        <a:pt x="85414" y="15960"/>
                      </a:cubicBezTo>
                      <a:cubicBezTo>
                        <a:pt x="88056" y="13318"/>
                        <a:pt x="86405" y="4183"/>
                        <a:pt x="88606" y="0"/>
                      </a:cubicBezTo>
                      <a:cubicBezTo>
                        <a:pt x="106768" y="2201"/>
                        <a:pt x="105116" y="36763"/>
                        <a:pt x="110510" y="50632"/>
                      </a:cubicBezTo>
                      <a:lnTo>
                        <a:pt x="110510" y="58667"/>
                      </a:lnTo>
                      <a:cubicBezTo>
                        <a:pt x="107868" y="57566"/>
                        <a:pt x="102475" y="56025"/>
                        <a:pt x="101484" y="56025"/>
                      </a:cubicBezTo>
                      <a:cubicBezTo>
                        <a:pt x="101484" y="94880"/>
                        <a:pt x="89266" y="121627"/>
                        <a:pt x="77489" y="152006"/>
                      </a:cubicBezTo>
                      <a:cubicBezTo>
                        <a:pt x="67913" y="176001"/>
                        <a:pt x="63070" y="211774"/>
                        <a:pt x="30489" y="211774"/>
                      </a:cubicBezTo>
                      <a:cubicBezTo>
                        <a:pt x="17171" y="211774"/>
                        <a:pt x="5393" y="196364"/>
                        <a:pt x="5393" y="182495"/>
                      </a:cubicBezTo>
                      <a:cubicBezTo>
                        <a:pt x="5393" y="175561"/>
                        <a:pt x="7044" y="172919"/>
                        <a:pt x="6384" y="169177"/>
                      </a:cubicBezTo>
                      <a:cubicBezTo>
                        <a:pt x="0" y="164334"/>
                        <a:pt x="0" y="155859"/>
                        <a:pt x="0" y="147823"/>
                      </a:cubicBezTo>
                      <a:cubicBezTo>
                        <a:pt x="0" y="145622"/>
                        <a:pt x="9576" y="137037"/>
                        <a:pt x="10677" y="137037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47" name="Freeform: Shape 246">
                  <a:extLst>
                    <a:ext uri="{FF2B5EF4-FFF2-40B4-BE49-F238E27FC236}">
                      <a16:creationId xmlns:a16="http://schemas.microsoft.com/office/drawing/2014/main" id="{0D99F214-22E3-4237-9DB3-86061CBE26ED}"/>
                    </a:ext>
                  </a:extLst>
                </p:cNvPr>
                <p:cNvSpPr/>
                <p:nvPr/>
              </p:nvSpPr>
              <p:spPr>
                <a:xfrm>
                  <a:off x="3044615" y="3217748"/>
                  <a:ext cx="1034654" cy="1155731"/>
                </a:xfrm>
                <a:custGeom>
                  <a:avLst/>
                  <a:gdLst>
                    <a:gd name="connsiteX0" fmla="*/ 591734 w 1034654"/>
                    <a:gd name="connsiteY0" fmla="*/ 80351 h 1155730"/>
                    <a:gd name="connsiteX1" fmla="*/ 603402 w 1034654"/>
                    <a:gd name="connsiteY1" fmla="*/ 80351 h 1155730"/>
                    <a:gd name="connsiteX2" fmla="*/ 611437 w 1034654"/>
                    <a:gd name="connsiteY2" fmla="*/ 92679 h 1155730"/>
                    <a:gd name="connsiteX3" fmla="*/ 636973 w 1034654"/>
                    <a:gd name="connsiteY3" fmla="*/ 97962 h 1155730"/>
                    <a:gd name="connsiteX4" fmla="*/ 696740 w 1034654"/>
                    <a:gd name="connsiteY4" fmla="*/ 112381 h 1155730"/>
                    <a:gd name="connsiteX5" fmla="*/ 735705 w 1034654"/>
                    <a:gd name="connsiteY5" fmla="*/ 104346 h 1155730"/>
                    <a:gd name="connsiteX6" fmla="*/ 763443 w 1034654"/>
                    <a:gd name="connsiteY6" fmla="*/ 111280 h 1155730"/>
                    <a:gd name="connsiteX7" fmla="*/ 778412 w 1034654"/>
                    <a:gd name="connsiteY7" fmla="*/ 106988 h 1155730"/>
                    <a:gd name="connsiteX8" fmla="*/ 789089 w 1034654"/>
                    <a:gd name="connsiteY8" fmla="*/ 133624 h 1155730"/>
                    <a:gd name="connsiteX9" fmla="*/ 778412 w 1034654"/>
                    <a:gd name="connsiteY9" fmla="*/ 164554 h 1155730"/>
                    <a:gd name="connsiteX10" fmla="*/ 749024 w 1034654"/>
                    <a:gd name="connsiteY10" fmla="*/ 129882 h 1155730"/>
                    <a:gd name="connsiteX11" fmla="*/ 749024 w 1034654"/>
                    <a:gd name="connsiteY11" fmla="*/ 139018 h 1155730"/>
                    <a:gd name="connsiteX12" fmla="*/ 799766 w 1034654"/>
                    <a:gd name="connsiteY12" fmla="*/ 228615 h 1155730"/>
                    <a:gd name="connsiteX13" fmla="*/ 821119 w 1034654"/>
                    <a:gd name="connsiteY13" fmla="*/ 269671 h 1155730"/>
                    <a:gd name="connsiteX14" fmla="*/ 821119 w 1034654"/>
                    <a:gd name="connsiteY14" fmla="*/ 297959 h 1155730"/>
                    <a:gd name="connsiteX15" fmla="*/ 845114 w 1034654"/>
                    <a:gd name="connsiteY15" fmla="*/ 323054 h 1155730"/>
                    <a:gd name="connsiteX16" fmla="*/ 858433 w 1034654"/>
                    <a:gd name="connsiteY16" fmla="*/ 359377 h 1155730"/>
                    <a:gd name="connsiteX17" fmla="*/ 882428 w 1034654"/>
                    <a:gd name="connsiteY17" fmla="*/ 375337 h 1155730"/>
                    <a:gd name="connsiteX18" fmla="*/ 913137 w 1034654"/>
                    <a:gd name="connsiteY18" fmla="*/ 403845 h 1155730"/>
                    <a:gd name="connsiteX19" fmla="*/ 912917 w 1034654"/>
                    <a:gd name="connsiteY19" fmla="*/ 420576 h 1155730"/>
                    <a:gd name="connsiteX20" fmla="*/ 935812 w 1034654"/>
                    <a:gd name="connsiteY20" fmla="*/ 443030 h 1155730"/>
                    <a:gd name="connsiteX21" fmla="*/ 951772 w 1034654"/>
                    <a:gd name="connsiteY21" fmla="*/ 434005 h 1155730"/>
                    <a:gd name="connsiteX22" fmla="*/ 973125 w 1034654"/>
                    <a:gd name="connsiteY22" fmla="*/ 434005 h 1155730"/>
                    <a:gd name="connsiteX23" fmla="*/ 1031792 w 1034654"/>
                    <a:gd name="connsiteY23" fmla="*/ 417934 h 1155730"/>
                    <a:gd name="connsiteX24" fmla="*/ 1035425 w 1034654"/>
                    <a:gd name="connsiteY24" fmla="*/ 425969 h 1155730"/>
                    <a:gd name="connsiteX25" fmla="*/ 998111 w 1034654"/>
                    <a:gd name="connsiteY25" fmla="*/ 513915 h 1155730"/>
                    <a:gd name="connsiteX26" fmla="*/ 955514 w 1034654"/>
                    <a:gd name="connsiteY26" fmla="*/ 569940 h 1155730"/>
                    <a:gd name="connsiteX27" fmla="*/ 869110 w 1034654"/>
                    <a:gd name="connsiteY27" fmla="*/ 653703 h 1155730"/>
                    <a:gd name="connsiteX28" fmla="*/ 851498 w 1034654"/>
                    <a:gd name="connsiteY28" fmla="*/ 685734 h 1155730"/>
                    <a:gd name="connsiteX29" fmla="*/ 855791 w 1034654"/>
                    <a:gd name="connsiteY29" fmla="*/ 725689 h 1155730"/>
                    <a:gd name="connsiteX30" fmla="*/ 875604 w 1034654"/>
                    <a:gd name="connsiteY30" fmla="*/ 763003 h 1155730"/>
                    <a:gd name="connsiteX31" fmla="*/ 871861 w 1034654"/>
                    <a:gd name="connsiteY31" fmla="*/ 771038 h 1155730"/>
                    <a:gd name="connsiteX32" fmla="*/ 871861 w 1034654"/>
                    <a:gd name="connsiteY32" fmla="*/ 784356 h 1155730"/>
                    <a:gd name="connsiteX33" fmla="*/ 870320 w 1034654"/>
                    <a:gd name="connsiteY33" fmla="*/ 817927 h 1155730"/>
                    <a:gd name="connsiteX34" fmla="*/ 874613 w 1034654"/>
                    <a:gd name="connsiteY34" fmla="*/ 828604 h 1155730"/>
                    <a:gd name="connsiteX35" fmla="*/ 798335 w 1034654"/>
                    <a:gd name="connsiteY35" fmla="*/ 900590 h 1155730"/>
                    <a:gd name="connsiteX36" fmla="*/ 782375 w 1034654"/>
                    <a:gd name="connsiteY36" fmla="*/ 916660 h 1155730"/>
                    <a:gd name="connsiteX37" fmla="*/ 797344 w 1034654"/>
                    <a:gd name="connsiteY37" fmla="*/ 952322 h 1155730"/>
                    <a:gd name="connsiteX38" fmla="*/ 793051 w 1034654"/>
                    <a:gd name="connsiteY38" fmla="*/ 983252 h 1155730"/>
                    <a:gd name="connsiteX39" fmla="*/ 777091 w 1034654"/>
                    <a:gd name="connsiteY39" fmla="*/ 986994 h 1155730"/>
                    <a:gd name="connsiteX40" fmla="*/ 750455 w 1034654"/>
                    <a:gd name="connsiteY40" fmla="*/ 1012090 h 1155730"/>
                    <a:gd name="connsiteX41" fmla="*/ 758490 w 1034654"/>
                    <a:gd name="connsiteY41" fmla="*/ 1023317 h 1155730"/>
                    <a:gd name="connsiteX42" fmla="*/ 737136 w 1034654"/>
                    <a:gd name="connsiteY42" fmla="*/ 1056338 h 1155730"/>
                    <a:gd name="connsiteX43" fmla="*/ 715783 w 1034654"/>
                    <a:gd name="connsiteY43" fmla="*/ 1091010 h 1155730"/>
                    <a:gd name="connsiteX44" fmla="*/ 674727 w 1034654"/>
                    <a:gd name="connsiteY44" fmla="*/ 1133717 h 1155730"/>
                    <a:gd name="connsiteX45" fmla="*/ 650731 w 1034654"/>
                    <a:gd name="connsiteY45" fmla="*/ 1143293 h 1155730"/>
                    <a:gd name="connsiteX46" fmla="*/ 634771 w 1034654"/>
                    <a:gd name="connsiteY46" fmla="*/ 1146925 h 1155730"/>
                    <a:gd name="connsiteX47" fmla="*/ 619802 w 1034654"/>
                    <a:gd name="connsiteY47" fmla="*/ 1141532 h 1155730"/>
                    <a:gd name="connsiteX48" fmla="*/ 563777 w 1034654"/>
                    <a:gd name="connsiteY48" fmla="*/ 1157602 h 1155730"/>
                    <a:gd name="connsiteX49" fmla="*/ 546716 w 1034654"/>
                    <a:gd name="connsiteY49" fmla="*/ 1146925 h 1155730"/>
                    <a:gd name="connsiteX50" fmla="*/ 541322 w 1034654"/>
                    <a:gd name="connsiteY50" fmla="*/ 1149567 h 1155730"/>
                    <a:gd name="connsiteX51" fmla="*/ 531746 w 1034654"/>
                    <a:gd name="connsiteY51" fmla="*/ 1122930 h 1155730"/>
                    <a:gd name="connsiteX52" fmla="*/ 538571 w 1034654"/>
                    <a:gd name="connsiteY52" fmla="*/ 1108511 h 1155730"/>
                    <a:gd name="connsiteX53" fmla="*/ 521069 w 1034654"/>
                    <a:gd name="connsiteY53" fmla="*/ 1079233 h 1155730"/>
                    <a:gd name="connsiteX54" fmla="*/ 477262 w 1034654"/>
                    <a:gd name="connsiteY54" fmla="*/ 968282 h 1155730"/>
                    <a:gd name="connsiteX55" fmla="*/ 477262 w 1034654"/>
                    <a:gd name="connsiteY55" fmla="*/ 953863 h 1155730"/>
                    <a:gd name="connsiteX56" fmla="*/ 466585 w 1034654"/>
                    <a:gd name="connsiteY56" fmla="*/ 936252 h 1155730"/>
                    <a:gd name="connsiteX57" fmla="*/ 435655 w 1034654"/>
                    <a:gd name="connsiteY57" fmla="*/ 856232 h 1155730"/>
                    <a:gd name="connsiteX58" fmla="*/ 469227 w 1034654"/>
                    <a:gd name="connsiteY58" fmla="*/ 781604 h 1155730"/>
                    <a:gd name="connsiteX59" fmla="*/ 462292 w 1034654"/>
                    <a:gd name="connsiteY59" fmla="*/ 751225 h 1155730"/>
                    <a:gd name="connsiteX60" fmla="*/ 448974 w 1034654"/>
                    <a:gd name="connsiteY60" fmla="*/ 706977 h 1155730"/>
                    <a:gd name="connsiteX61" fmla="*/ 439948 w 1034654"/>
                    <a:gd name="connsiteY61" fmla="*/ 674947 h 1155730"/>
                    <a:gd name="connsiteX62" fmla="*/ 395700 w 1034654"/>
                    <a:gd name="connsiteY62" fmla="*/ 613528 h 1155730"/>
                    <a:gd name="connsiteX63" fmla="*/ 408028 w 1034654"/>
                    <a:gd name="connsiteY63" fmla="*/ 592175 h 1155730"/>
                    <a:gd name="connsiteX64" fmla="*/ 408028 w 1034654"/>
                    <a:gd name="connsiteY64" fmla="*/ 584249 h 1155730"/>
                    <a:gd name="connsiteX65" fmla="*/ 413311 w 1034654"/>
                    <a:gd name="connsiteY65" fmla="*/ 557613 h 1155730"/>
                    <a:gd name="connsiteX66" fmla="*/ 379740 w 1034654"/>
                    <a:gd name="connsiteY66" fmla="*/ 535158 h 1155730"/>
                    <a:gd name="connsiteX67" fmla="*/ 357286 w 1034654"/>
                    <a:gd name="connsiteY67" fmla="*/ 535158 h 1155730"/>
                    <a:gd name="connsiteX68" fmla="*/ 315680 w 1034654"/>
                    <a:gd name="connsiteY68" fmla="*/ 504229 h 1155730"/>
                    <a:gd name="connsiteX69" fmla="*/ 249087 w 1034654"/>
                    <a:gd name="connsiteY69" fmla="*/ 522941 h 1155730"/>
                    <a:gd name="connsiteX70" fmla="*/ 230376 w 1034654"/>
                    <a:gd name="connsiteY70" fmla="*/ 532517 h 1155730"/>
                    <a:gd name="connsiteX71" fmla="*/ 198345 w 1034654"/>
                    <a:gd name="connsiteY71" fmla="*/ 524482 h 1155730"/>
                    <a:gd name="connsiteX72" fmla="*/ 147713 w 1034654"/>
                    <a:gd name="connsiteY72" fmla="*/ 535158 h 1155730"/>
                    <a:gd name="connsiteX73" fmla="*/ 131753 w 1034654"/>
                    <a:gd name="connsiteY73" fmla="*/ 530866 h 1155730"/>
                    <a:gd name="connsiteX74" fmla="*/ 74627 w 1034654"/>
                    <a:gd name="connsiteY74" fmla="*/ 484526 h 1155730"/>
                    <a:gd name="connsiteX75" fmla="*/ 47990 w 1034654"/>
                    <a:gd name="connsiteY75" fmla="*/ 445562 h 1155730"/>
                    <a:gd name="connsiteX76" fmla="*/ 15960 w 1034654"/>
                    <a:gd name="connsiteY76" fmla="*/ 415733 h 1155730"/>
                    <a:gd name="connsiteX77" fmla="*/ 9026 w 1034654"/>
                    <a:gd name="connsiteY77" fmla="*/ 408248 h 1155730"/>
                    <a:gd name="connsiteX78" fmla="*/ 10677 w 1034654"/>
                    <a:gd name="connsiteY78" fmla="*/ 408248 h 1155730"/>
                    <a:gd name="connsiteX79" fmla="*/ 8035 w 1034654"/>
                    <a:gd name="connsiteY79" fmla="*/ 391077 h 1155730"/>
                    <a:gd name="connsiteX80" fmla="*/ 0 w 1034654"/>
                    <a:gd name="connsiteY80" fmla="*/ 373576 h 1155730"/>
                    <a:gd name="connsiteX81" fmla="*/ 22344 w 1034654"/>
                    <a:gd name="connsiteY81" fmla="*/ 325586 h 1155730"/>
                    <a:gd name="connsiteX82" fmla="*/ 11667 w 1034654"/>
                    <a:gd name="connsiteY82" fmla="*/ 265818 h 1155730"/>
                    <a:gd name="connsiteX83" fmla="*/ 26637 w 1034654"/>
                    <a:gd name="connsiteY83" fmla="*/ 240172 h 1155730"/>
                    <a:gd name="connsiteX84" fmla="*/ 62409 w 1034654"/>
                    <a:gd name="connsiteY84" fmla="*/ 173470 h 1155730"/>
                    <a:gd name="connsiteX85" fmla="*/ 93339 w 1034654"/>
                    <a:gd name="connsiteY85" fmla="*/ 159051 h 1155730"/>
                    <a:gd name="connsiteX86" fmla="*/ 117334 w 1034654"/>
                    <a:gd name="connsiteY86" fmla="*/ 135055 h 1155730"/>
                    <a:gd name="connsiteX87" fmla="*/ 126360 w 1034654"/>
                    <a:gd name="connsiteY87" fmla="*/ 93449 h 1155730"/>
                    <a:gd name="connsiteX88" fmla="*/ 171708 w 1034654"/>
                    <a:gd name="connsiteY88" fmla="*/ 42817 h 1155730"/>
                    <a:gd name="connsiteX89" fmla="*/ 170608 w 1034654"/>
                    <a:gd name="connsiteY89" fmla="*/ 42817 h 1155730"/>
                    <a:gd name="connsiteX90" fmla="*/ 181285 w 1034654"/>
                    <a:gd name="connsiteY90" fmla="*/ 28398 h 1155730"/>
                    <a:gd name="connsiteX91" fmla="*/ 226633 w 1034654"/>
                    <a:gd name="connsiteY91" fmla="*/ 41716 h 1155730"/>
                    <a:gd name="connsiteX92" fmla="*/ 246336 w 1034654"/>
                    <a:gd name="connsiteY92" fmla="*/ 32140 h 1155730"/>
                    <a:gd name="connsiteX93" fmla="*/ 330649 w 1034654"/>
                    <a:gd name="connsiteY93" fmla="*/ 7044 h 1155730"/>
                    <a:gd name="connsiteX94" fmla="*/ 349361 w 1034654"/>
                    <a:gd name="connsiteY94" fmla="*/ 12328 h 1155730"/>
                    <a:gd name="connsiteX95" fmla="*/ 371705 w 1034654"/>
                    <a:gd name="connsiteY95" fmla="*/ 4293 h 1155730"/>
                    <a:gd name="connsiteX96" fmla="*/ 387775 w 1034654"/>
                    <a:gd name="connsiteY96" fmla="*/ 8035 h 1155730"/>
                    <a:gd name="connsiteX97" fmla="*/ 409129 w 1034654"/>
                    <a:gd name="connsiteY97" fmla="*/ 0 h 1155730"/>
                    <a:gd name="connsiteX98" fmla="*/ 425089 w 1034654"/>
                    <a:gd name="connsiteY98" fmla="*/ 9576 h 1155730"/>
                    <a:gd name="connsiteX99" fmla="*/ 433124 w 1034654"/>
                    <a:gd name="connsiteY99" fmla="*/ 6384 h 1155730"/>
                    <a:gd name="connsiteX100" fmla="*/ 425089 w 1034654"/>
                    <a:gd name="connsiteY100" fmla="*/ 20253 h 1155730"/>
                    <a:gd name="connsiteX101" fmla="*/ 432023 w 1034654"/>
                    <a:gd name="connsiteY101" fmla="*/ 32030 h 1155730"/>
                    <a:gd name="connsiteX102" fmla="*/ 425089 w 1034654"/>
                    <a:gd name="connsiteY102" fmla="*/ 52283 h 1155730"/>
                    <a:gd name="connsiteX103" fmla="*/ 449084 w 1034654"/>
                    <a:gd name="connsiteY103" fmla="*/ 77379 h 1155730"/>
                    <a:gd name="connsiteX104" fmla="*/ 464054 w 1034654"/>
                    <a:gd name="connsiteY104" fmla="*/ 77379 h 1155730"/>
                    <a:gd name="connsiteX105" fmla="*/ 550458 w 1034654"/>
                    <a:gd name="connsiteY105" fmla="*/ 120086 h 1155730"/>
                    <a:gd name="connsiteX106" fmla="*/ 561135 w 1034654"/>
                    <a:gd name="connsiteY106" fmla="*/ 112051 h 1155730"/>
                    <a:gd name="connsiteX107" fmla="*/ 561135 w 1034654"/>
                    <a:gd name="connsiteY107" fmla="*/ 101374 h 1155730"/>
                    <a:gd name="connsiteX108" fmla="*/ 590523 w 1034654"/>
                    <a:gd name="connsiteY108" fmla="*/ 79030 h 1155730"/>
                    <a:gd name="connsiteX109" fmla="*/ 591734 w 1034654"/>
                    <a:gd name="connsiteY109" fmla="*/ 80351 h 11557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</a:cxnLst>
                  <a:rect l="l" t="t" r="r" b="b"/>
                  <a:pathLst>
                    <a:path w="1034654" h="1155730">
                      <a:moveTo>
                        <a:pt x="591734" y="80351"/>
                      </a:moveTo>
                      <a:lnTo>
                        <a:pt x="603402" y="80351"/>
                      </a:lnTo>
                      <a:cubicBezTo>
                        <a:pt x="603402" y="87836"/>
                        <a:pt x="609345" y="89487"/>
                        <a:pt x="611437" y="92679"/>
                      </a:cubicBezTo>
                      <a:cubicBezTo>
                        <a:pt x="616280" y="99063"/>
                        <a:pt x="628498" y="94770"/>
                        <a:pt x="636973" y="97962"/>
                      </a:cubicBezTo>
                      <a:cubicBezTo>
                        <a:pt x="654033" y="104346"/>
                        <a:pt x="678029" y="112381"/>
                        <a:pt x="696740" y="112381"/>
                      </a:cubicBezTo>
                      <a:cubicBezTo>
                        <a:pt x="713801" y="112381"/>
                        <a:pt x="719195" y="104346"/>
                        <a:pt x="735705" y="104346"/>
                      </a:cubicBezTo>
                      <a:cubicBezTo>
                        <a:pt x="745831" y="104346"/>
                        <a:pt x="751775" y="111280"/>
                        <a:pt x="763443" y="111280"/>
                      </a:cubicBezTo>
                      <a:cubicBezTo>
                        <a:pt x="771368" y="111280"/>
                        <a:pt x="771368" y="108529"/>
                        <a:pt x="778412" y="106988"/>
                      </a:cubicBezTo>
                      <a:cubicBezTo>
                        <a:pt x="782155" y="116564"/>
                        <a:pt x="789089" y="123498"/>
                        <a:pt x="789089" y="133624"/>
                      </a:cubicBezTo>
                      <a:cubicBezTo>
                        <a:pt x="789089" y="138357"/>
                        <a:pt x="780504" y="158170"/>
                        <a:pt x="778412" y="164554"/>
                      </a:cubicBezTo>
                      <a:cubicBezTo>
                        <a:pt x="767185" y="162903"/>
                        <a:pt x="758160" y="138908"/>
                        <a:pt x="749024" y="129882"/>
                      </a:cubicBezTo>
                      <a:lnTo>
                        <a:pt x="749024" y="139018"/>
                      </a:lnTo>
                      <a:lnTo>
                        <a:pt x="799766" y="228615"/>
                      </a:lnTo>
                      <a:cubicBezTo>
                        <a:pt x="797124" y="239732"/>
                        <a:pt x="813084" y="263286"/>
                        <a:pt x="821119" y="269671"/>
                      </a:cubicBezTo>
                      <a:lnTo>
                        <a:pt x="821119" y="297959"/>
                      </a:lnTo>
                      <a:cubicBezTo>
                        <a:pt x="826402" y="312378"/>
                        <a:pt x="837079" y="312378"/>
                        <a:pt x="845114" y="323054"/>
                      </a:cubicBezTo>
                      <a:cubicBezTo>
                        <a:pt x="854690" y="335822"/>
                        <a:pt x="848857" y="349691"/>
                        <a:pt x="858433" y="359377"/>
                      </a:cubicBezTo>
                      <a:cubicBezTo>
                        <a:pt x="866908" y="367853"/>
                        <a:pt x="872742" y="368403"/>
                        <a:pt x="882428" y="375337"/>
                      </a:cubicBezTo>
                      <a:cubicBezTo>
                        <a:pt x="891013" y="381721"/>
                        <a:pt x="895526" y="403845"/>
                        <a:pt x="913137" y="403845"/>
                      </a:cubicBezTo>
                      <a:cubicBezTo>
                        <a:pt x="913137" y="412871"/>
                        <a:pt x="918200" y="414192"/>
                        <a:pt x="912917" y="420576"/>
                      </a:cubicBezTo>
                      <a:cubicBezTo>
                        <a:pt x="919852" y="425969"/>
                        <a:pt x="926786" y="443030"/>
                        <a:pt x="935812" y="443030"/>
                      </a:cubicBezTo>
                      <a:cubicBezTo>
                        <a:pt x="944397" y="443030"/>
                        <a:pt x="944948" y="436096"/>
                        <a:pt x="951772" y="434005"/>
                      </a:cubicBezTo>
                      <a:cubicBezTo>
                        <a:pt x="959807" y="431363"/>
                        <a:pt x="965090" y="435105"/>
                        <a:pt x="973125" y="434005"/>
                      </a:cubicBezTo>
                      <a:cubicBezTo>
                        <a:pt x="993378" y="430812"/>
                        <a:pt x="1012640" y="422777"/>
                        <a:pt x="1031792" y="417934"/>
                      </a:cubicBezTo>
                      <a:cubicBezTo>
                        <a:pt x="1033334" y="421126"/>
                        <a:pt x="1035425" y="422777"/>
                        <a:pt x="1035425" y="425969"/>
                      </a:cubicBezTo>
                      <a:cubicBezTo>
                        <a:pt x="1035425" y="456349"/>
                        <a:pt x="1011429" y="495864"/>
                        <a:pt x="998111" y="513915"/>
                      </a:cubicBezTo>
                      <a:cubicBezTo>
                        <a:pt x="982151" y="535269"/>
                        <a:pt x="975217" y="554531"/>
                        <a:pt x="955514" y="569940"/>
                      </a:cubicBezTo>
                      <a:cubicBezTo>
                        <a:pt x="920292" y="597678"/>
                        <a:pt x="882428" y="606263"/>
                        <a:pt x="869110" y="653703"/>
                      </a:cubicBezTo>
                      <a:cubicBezTo>
                        <a:pt x="865367" y="667022"/>
                        <a:pt x="851498" y="670764"/>
                        <a:pt x="851498" y="685734"/>
                      </a:cubicBezTo>
                      <a:cubicBezTo>
                        <a:pt x="851498" y="702244"/>
                        <a:pt x="855791" y="709729"/>
                        <a:pt x="855791" y="725689"/>
                      </a:cubicBezTo>
                      <a:cubicBezTo>
                        <a:pt x="855791" y="743850"/>
                        <a:pt x="875604" y="752876"/>
                        <a:pt x="875604" y="763003"/>
                      </a:cubicBezTo>
                      <a:cubicBezTo>
                        <a:pt x="875604" y="766195"/>
                        <a:pt x="872411" y="769937"/>
                        <a:pt x="871861" y="771038"/>
                      </a:cubicBezTo>
                      <a:lnTo>
                        <a:pt x="871861" y="784356"/>
                      </a:lnTo>
                      <a:cubicBezTo>
                        <a:pt x="871861" y="792942"/>
                        <a:pt x="870320" y="803068"/>
                        <a:pt x="870320" y="817927"/>
                      </a:cubicBezTo>
                      <a:cubicBezTo>
                        <a:pt x="873512" y="821119"/>
                        <a:pt x="874613" y="824311"/>
                        <a:pt x="874613" y="828604"/>
                      </a:cubicBezTo>
                      <a:cubicBezTo>
                        <a:pt x="874613" y="870210"/>
                        <a:pt x="804169" y="865477"/>
                        <a:pt x="798335" y="900590"/>
                      </a:cubicBezTo>
                      <a:cubicBezTo>
                        <a:pt x="790960" y="901690"/>
                        <a:pt x="782375" y="910716"/>
                        <a:pt x="782375" y="916660"/>
                      </a:cubicBezTo>
                      <a:cubicBezTo>
                        <a:pt x="782375" y="928437"/>
                        <a:pt x="797344" y="936362"/>
                        <a:pt x="797344" y="952322"/>
                      </a:cubicBezTo>
                      <a:cubicBezTo>
                        <a:pt x="797344" y="960908"/>
                        <a:pt x="796243" y="978409"/>
                        <a:pt x="793051" y="983252"/>
                      </a:cubicBezTo>
                      <a:cubicBezTo>
                        <a:pt x="789859" y="987544"/>
                        <a:pt x="780834" y="985453"/>
                        <a:pt x="777091" y="986994"/>
                      </a:cubicBezTo>
                      <a:cubicBezTo>
                        <a:pt x="764323" y="993488"/>
                        <a:pt x="756838" y="998661"/>
                        <a:pt x="750455" y="1012090"/>
                      </a:cubicBezTo>
                      <a:cubicBezTo>
                        <a:pt x="755187" y="1014732"/>
                        <a:pt x="758490" y="1018474"/>
                        <a:pt x="758490" y="1023317"/>
                      </a:cubicBezTo>
                      <a:cubicBezTo>
                        <a:pt x="758490" y="1038177"/>
                        <a:pt x="743520" y="1049954"/>
                        <a:pt x="737136" y="1056338"/>
                      </a:cubicBezTo>
                      <a:cubicBezTo>
                        <a:pt x="725359" y="1068005"/>
                        <a:pt x="724258" y="1080333"/>
                        <a:pt x="715783" y="1091010"/>
                      </a:cubicBezTo>
                      <a:cubicBezTo>
                        <a:pt x="702464" y="1108071"/>
                        <a:pt x="696631" y="1123040"/>
                        <a:pt x="674727" y="1133717"/>
                      </a:cubicBezTo>
                      <a:cubicBezTo>
                        <a:pt x="665701" y="1138010"/>
                        <a:pt x="652272" y="1133717"/>
                        <a:pt x="650731" y="1143293"/>
                      </a:cubicBezTo>
                      <a:cubicBezTo>
                        <a:pt x="643797" y="1143843"/>
                        <a:pt x="639504" y="1146925"/>
                        <a:pt x="634771" y="1146925"/>
                      </a:cubicBezTo>
                      <a:cubicBezTo>
                        <a:pt x="628938" y="1146925"/>
                        <a:pt x="625746" y="1141532"/>
                        <a:pt x="619802" y="1141532"/>
                      </a:cubicBezTo>
                      <a:cubicBezTo>
                        <a:pt x="597348" y="1141532"/>
                        <a:pt x="584029" y="1157602"/>
                        <a:pt x="563777" y="1157602"/>
                      </a:cubicBezTo>
                      <a:cubicBezTo>
                        <a:pt x="554641" y="1157602"/>
                        <a:pt x="549908" y="1152759"/>
                        <a:pt x="546716" y="1146925"/>
                      </a:cubicBezTo>
                      <a:cubicBezTo>
                        <a:pt x="543524" y="1147476"/>
                        <a:pt x="542423" y="1149127"/>
                        <a:pt x="541322" y="1149567"/>
                      </a:cubicBezTo>
                      <a:cubicBezTo>
                        <a:pt x="541322" y="1138890"/>
                        <a:pt x="536039" y="1127223"/>
                        <a:pt x="531746" y="1122930"/>
                      </a:cubicBezTo>
                      <a:cubicBezTo>
                        <a:pt x="536039" y="1118637"/>
                        <a:pt x="538571" y="1114455"/>
                        <a:pt x="538571" y="1108511"/>
                      </a:cubicBezTo>
                      <a:cubicBezTo>
                        <a:pt x="538571" y="1099926"/>
                        <a:pt x="523711" y="1083965"/>
                        <a:pt x="521069" y="1079233"/>
                      </a:cubicBezTo>
                      <a:cubicBezTo>
                        <a:pt x="501807" y="1046652"/>
                        <a:pt x="477262" y="1015172"/>
                        <a:pt x="477262" y="968282"/>
                      </a:cubicBezTo>
                      <a:lnTo>
                        <a:pt x="477262" y="953863"/>
                      </a:lnTo>
                      <a:cubicBezTo>
                        <a:pt x="477262" y="946378"/>
                        <a:pt x="470878" y="943737"/>
                        <a:pt x="466585" y="936252"/>
                      </a:cubicBezTo>
                      <a:cubicBezTo>
                        <a:pt x="451616" y="911156"/>
                        <a:pt x="435655" y="890903"/>
                        <a:pt x="435655" y="856232"/>
                      </a:cubicBezTo>
                      <a:cubicBezTo>
                        <a:pt x="435655" y="818918"/>
                        <a:pt x="469227" y="809892"/>
                        <a:pt x="469227" y="781604"/>
                      </a:cubicBezTo>
                      <a:cubicBezTo>
                        <a:pt x="469227" y="768286"/>
                        <a:pt x="463943" y="762892"/>
                        <a:pt x="462292" y="751225"/>
                      </a:cubicBezTo>
                      <a:cubicBezTo>
                        <a:pt x="458550" y="728331"/>
                        <a:pt x="454367" y="720296"/>
                        <a:pt x="448974" y="706977"/>
                      </a:cubicBezTo>
                      <a:cubicBezTo>
                        <a:pt x="444681" y="696300"/>
                        <a:pt x="446883" y="684083"/>
                        <a:pt x="439948" y="674947"/>
                      </a:cubicBezTo>
                      <a:cubicBezTo>
                        <a:pt x="426079" y="657336"/>
                        <a:pt x="395700" y="638734"/>
                        <a:pt x="395700" y="613528"/>
                      </a:cubicBezTo>
                      <a:cubicBezTo>
                        <a:pt x="395700" y="607694"/>
                        <a:pt x="404285" y="594376"/>
                        <a:pt x="408028" y="592175"/>
                      </a:cubicBezTo>
                      <a:cubicBezTo>
                        <a:pt x="405937" y="587331"/>
                        <a:pt x="408028" y="586341"/>
                        <a:pt x="408028" y="584249"/>
                      </a:cubicBezTo>
                      <a:cubicBezTo>
                        <a:pt x="408028" y="577865"/>
                        <a:pt x="408028" y="561795"/>
                        <a:pt x="413311" y="557613"/>
                      </a:cubicBezTo>
                      <a:cubicBezTo>
                        <a:pt x="407478" y="545835"/>
                        <a:pt x="397792" y="535158"/>
                        <a:pt x="379740" y="535158"/>
                      </a:cubicBezTo>
                      <a:lnTo>
                        <a:pt x="357286" y="535158"/>
                      </a:lnTo>
                      <a:cubicBezTo>
                        <a:pt x="341216" y="535158"/>
                        <a:pt x="337583" y="504229"/>
                        <a:pt x="315680" y="504229"/>
                      </a:cubicBezTo>
                      <a:cubicBezTo>
                        <a:pt x="289043" y="504229"/>
                        <a:pt x="269340" y="516557"/>
                        <a:pt x="249087" y="522941"/>
                      </a:cubicBezTo>
                      <a:cubicBezTo>
                        <a:pt x="241052" y="525582"/>
                        <a:pt x="238411" y="532517"/>
                        <a:pt x="230376" y="532517"/>
                      </a:cubicBezTo>
                      <a:cubicBezTo>
                        <a:pt x="222341" y="532517"/>
                        <a:pt x="209022" y="524482"/>
                        <a:pt x="198345" y="524482"/>
                      </a:cubicBezTo>
                      <a:cubicBezTo>
                        <a:pt x="177542" y="524482"/>
                        <a:pt x="168406" y="535158"/>
                        <a:pt x="147713" y="535158"/>
                      </a:cubicBezTo>
                      <a:cubicBezTo>
                        <a:pt x="141329" y="535158"/>
                        <a:pt x="133845" y="532517"/>
                        <a:pt x="131753" y="530866"/>
                      </a:cubicBezTo>
                      <a:cubicBezTo>
                        <a:pt x="116784" y="519639"/>
                        <a:pt x="85854" y="501477"/>
                        <a:pt x="74627" y="484526"/>
                      </a:cubicBezTo>
                      <a:cubicBezTo>
                        <a:pt x="64501" y="469117"/>
                        <a:pt x="61309" y="456238"/>
                        <a:pt x="47990" y="445562"/>
                      </a:cubicBezTo>
                      <a:cubicBezTo>
                        <a:pt x="44248" y="442920"/>
                        <a:pt x="15960" y="417824"/>
                        <a:pt x="15960" y="415733"/>
                      </a:cubicBezTo>
                      <a:cubicBezTo>
                        <a:pt x="13318" y="412541"/>
                        <a:pt x="11667" y="411550"/>
                        <a:pt x="9026" y="408248"/>
                      </a:cubicBezTo>
                      <a:lnTo>
                        <a:pt x="10677" y="408248"/>
                      </a:lnTo>
                      <a:cubicBezTo>
                        <a:pt x="10677" y="400213"/>
                        <a:pt x="8035" y="396030"/>
                        <a:pt x="8035" y="391077"/>
                      </a:cubicBezTo>
                      <a:cubicBezTo>
                        <a:pt x="8035" y="383703"/>
                        <a:pt x="3742" y="380951"/>
                        <a:pt x="0" y="373576"/>
                      </a:cubicBezTo>
                      <a:cubicBezTo>
                        <a:pt x="11667" y="367633"/>
                        <a:pt x="22344" y="338904"/>
                        <a:pt x="22344" y="325586"/>
                      </a:cubicBezTo>
                      <a:cubicBezTo>
                        <a:pt x="22344" y="302141"/>
                        <a:pt x="11667" y="287172"/>
                        <a:pt x="11667" y="265818"/>
                      </a:cubicBezTo>
                      <a:cubicBezTo>
                        <a:pt x="11667" y="255141"/>
                        <a:pt x="23995" y="248757"/>
                        <a:pt x="26637" y="240172"/>
                      </a:cubicBezTo>
                      <a:cubicBezTo>
                        <a:pt x="33571" y="219369"/>
                        <a:pt x="49531" y="191081"/>
                        <a:pt x="62409" y="173470"/>
                      </a:cubicBezTo>
                      <a:cubicBezTo>
                        <a:pt x="69894" y="163343"/>
                        <a:pt x="83653" y="164444"/>
                        <a:pt x="93339" y="159051"/>
                      </a:cubicBezTo>
                      <a:cubicBezTo>
                        <a:pt x="101374" y="154208"/>
                        <a:pt x="114693" y="143641"/>
                        <a:pt x="117334" y="135055"/>
                      </a:cubicBezTo>
                      <a:cubicBezTo>
                        <a:pt x="123718" y="115353"/>
                        <a:pt x="115683" y="106768"/>
                        <a:pt x="126360" y="93449"/>
                      </a:cubicBezTo>
                      <a:cubicBezTo>
                        <a:pt x="140229" y="75838"/>
                        <a:pt x="158390" y="59328"/>
                        <a:pt x="171708" y="42817"/>
                      </a:cubicBezTo>
                      <a:lnTo>
                        <a:pt x="170608" y="42817"/>
                      </a:lnTo>
                      <a:cubicBezTo>
                        <a:pt x="174901" y="37534"/>
                        <a:pt x="176001" y="32691"/>
                        <a:pt x="181285" y="28398"/>
                      </a:cubicBezTo>
                      <a:cubicBezTo>
                        <a:pt x="194603" y="37974"/>
                        <a:pt x="208472" y="41716"/>
                        <a:pt x="226633" y="41716"/>
                      </a:cubicBezTo>
                      <a:cubicBezTo>
                        <a:pt x="237860" y="41716"/>
                        <a:pt x="239952" y="35332"/>
                        <a:pt x="246336" y="32140"/>
                      </a:cubicBezTo>
                      <a:cubicBezTo>
                        <a:pt x="267139" y="22014"/>
                        <a:pt x="306654" y="7044"/>
                        <a:pt x="330649" y="7044"/>
                      </a:cubicBezTo>
                      <a:cubicBezTo>
                        <a:pt x="338134" y="7044"/>
                        <a:pt x="345068" y="12328"/>
                        <a:pt x="349361" y="12328"/>
                      </a:cubicBezTo>
                      <a:cubicBezTo>
                        <a:pt x="355195" y="12328"/>
                        <a:pt x="363780" y="4293"/>
                        <a:pt x="371705" y="4293"/>
                      </a:cubicBezTo>
                      <a:cubicBezTo>
                        <a:pt x="378639" y="4293"/>
                        <a:pt x="381831" y="8035"/>
                        <a:pt x="387775" y="8035"/>
                      </a:cubicBezTo>
                      <a:cubicBezTo>
                        <a:pt x="398452" y="8035"/>
                        <a:pt x="399002" y="0"/>
                        <a:pt x="409129" y="0"/>
                      </a:cubicBezTo>
                      <a:cubicBezTo>
                        <a:pt x="419255" y="0"/>
                        <a:pt x="416614" y="9576"/>
                        <a:pt x="425089" y="9576"/>
                      </a:cubicBezTo>
                      <a:cubicBezTo>
                        <a:pt x="428281" y="9576"/>
                        <a:pt x="429932" y="6934"/>
                        <a:pt x="433124" y="6384"/>
                      </a:cubicBezTo>
                      <a:cubicBezTo>
                        <a:pt x="432573" y="14419"/>
                        <a:pt x="425089" y="13318"/>
                        <a:pt x="425089" y="20253"/>
                      </a:cubicBezTo>
                      <a:cubicBezTo>
                        <a:pt x="425089" y="25096"/>
                        <a:pt x="432023" y="27187"/>
                        <a:pt x="432023" y="32030"/>
                      </a:cubicBezTo>
                      <a:cubicBezTo>
                        <a:pt x="432023" y="39955"/>
                        <a:pt x="425089" y="44248"/>
                        <a:pt x="425089" y="52283"/>
                      </a:cubicBezTo>
                      <a:cubicBezTo>
                        <a:pt x="425089" y="65601"/>
                        <a:pt x="438958" y="77379"/>
                        <a:pt x="449084" y="77379"/>
                      </a:cubicBezTo>
                      <a:lnTo>
                        <a:pt x="464054" y="77379"/>
                      </a:lnTo>
                      <a:cubicBezTo>
                        <a:pt x="498725" y="77379"/>
                        <a:pt x="510943" y="120086"/>
                        <a:pt x="550458" y="120086"/>
                      </a:cubicBezTo>
                      <a:cubicBezTo>
                        <a:pt x="555301" y="120086"/>
                        <a:pt x="561135" y="114803"/>
                        <a:pt x="561135" y="112051"/>
                      </a:cubicBezTo>
                      <a:lnTo>
                        <a:pt x="561135" y="101374"/>
                      </a:lnTo>
                      <a:cubicBezTo>
                        <a:pt x="561135" y="84313"/>
                        <a:pt x="573903" y="84313"/>
                        <a:pt x="590523" y="79030"/>
                      </a:cubicBezTo>
                      <a:lnTo>
                        <a:pt x="591734" y="80351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48" name="Freeform: Shape 247">
                  <a:extLst>
                    <a:ext uri="{FF2B5EF4-FFF2-40B4-BE49-F238E27FC236}">
                      <a16:creationId xmlns:a16="http://schemas.microsoft.com/office/drawing/2014/main" id="{36FE81E2-E2E7-40F6-8668-419FF896F169}"/>
                    </a:ext>
                  </a:extLst>
                </p:cNvPr>
                <p:cNvSpPr/>
                <p:nvPr/>
              </p:nvSpPr>
              <p:spPr>
                <a:xfrm>
                  <a:off x="2372640" y="3659787"/>
                  <a:ext cx="11007" cy="11007"/>
                </a:xfrm>
                <a:custGeom>
                  <a:avLst/>
                  <a:gdLst>
                    <a:gd name="connsiteX0" fmla="*/ 11227 w 11006"/>
                    <a:gd name="connsiteY0" fmla="*/ 3742 h 11006"/>
                    <a:gd name="connsiteX1" fmla="*/ 11227 w 11006"/>
                    <a:gd name="connsiteY1" fmla="*/ 0 h 11006"/>
                    <a:gd name="connsiteX2" fmla="*/ 6384 w 11006"/>
                    <a:gd name="connsiteY2" fmla="*/ 0 h 11006"/>
                    <a:gd name="connsiteX3" fmla="*/ 0 w 11006"/>
                    <a:gd name="connsiteY3" fmla="*/ 10677 h 11006"/>
                    <a:gd name="connsiteX4" fmla="*/ 4843 w 11006"/>
                    <a:gd name="connsiteY4" fmla="*/ 10677 h 11006"/>
                    <a:gd name="connsiteX5" fmla="*/ 11227 w 11006"/>
                    <a:gd name="connsiteY5" fmla="*/ 3742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06" h="11006">
                      <a:moveTo>
                        <a:pt x="11227" y="3742"/>
                      </a:moveTo>
                      <a:lnTo>
                        <a:pt x="11227" y="0"/>
                      </a:lnTo>
                      <a:lnTo>
                        <a:pt x="6384" y="0"/>
                      </a:lnTo>
                      <a:cubicBezTo>
                        <a:pt x="3192" y="0"/>
                        <a:pt x="0" y="5393"/>
                        <a:pt x="0" y="10677"/>
                      </a:cubicBezTo>
                      <a:cubicBezTo>
                        <a:pt x="0" y="12328"/>
                        <a:pt x="3192" y="10677"/>
                        <a:pt x="4843" y="10677"/>
                      </a:cubicBezTo>
                      <a:cubicBezTo>
                        <a:pt x="8035" y="10677"/>
                        <a:pt x="10236" y="5834"/>
                        <a:pt x="11227" y="3742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49" name="Freeform: Shape 248">
                  <a:extLst>
                    <a:ext uri="{FF2B5EF4-FFF2-40B4-BE49-F238E27FC236}">
                      <a16:creationId xmlns:a16="http://schemas.microsoft.com/office/drawing/2014/main" id="{D37CFAB1-D5E4-4AF0-BF76-DAB148C1D814}"/>
                    </a:ext>
                  </a:extLst>
                </p:cNvPr>
                <p:cNvSpPr/>
                <p:nvPr/>
              </p:nvSpPr>
              <p:spPr>
                <a:xfrm>
                  <a:off x="2538625" y="3820819"/>
                  <a:ext cx="33021" cy="22014"/>
                </a:xfrm>
                <a:custGeom>
                  <a:avLst/>
                  <a:gdLst>
                    <a:gd name="connsiteX0" fmla="*/ 12768 w 33020"/>
                    <a:gd name="connsiteY0" fmla="*/ 0 h 22013"/>
                    <a:gd name="connsiteX1" fmla="*/ 23995 w 33020"/>
                    <a:gd name="connsiteY1" fmla="*/ 4733 h 22013"/>
                    <a:gd name="connsiteX2" fmla="*/ 32581 w 33020"/>
                    <a:gd name="connsiteY2" fmla="*/ 5834 h 22013"/>
                    <a:gd name="connsiteX3" fmla="*/ 36323 w 33020"/>
                    <a:gd name="connsiteY3" fmla="*/ 10677 h 22013"/>
                    <a:gd name="connsiteX4" fmla="*/ 21904 w 33020"/>
                    <a:gd name="connsiteY4" fmla="*/ 27737 h 22013"/>
                    <a:gd name="connsiteX5" fmla="*/ 0 w 33020"/>
                    <a:gd name="connsiteY5" fmla="*/ 13318 h 22013"/>
                    <a:gd name="connsiteX6" fmla="*/ 10677 w 33020"/>
                    <a:gd name="connsiteY6" fmla="*/ 0 h 22013"/>
                    <a:gd name="connsiteX7" fmla="*/ 12768 w 33020"/>
                    <a:gd name="connsiteY7" fmla="*/ 0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020" h="22013">
                      <a:moveTo>
                        <a:pt x="12768" y="0"/>
                      </a:moveTo>
                      <a:cubicBezTo>
                        <a:pt x="15960" y="2091"/>
                        <a:pt x="19702" y="4733"/>
                        <a:pt x="23995" y="4733"/>
                      </a:cubicBezTo>
                      <a:cubicBezTo>
                        <a:pt x="25096" y="11667"/>
                        <a:pt x="29829" y="5834"/>
                        <a:pt x="32581" y="5834"/>
                      </a:cubicBezTo>
                      <a:cubicBezTo>
                        <a:pt x="34672" y="5834"/>
                        <a:pt x="36323" y="9576"/>
                        <a:pt x="36323" y="10677"/>
                      </a:cubicBezTo>
                      <a:cubicBezTo>
                        <a:pt x="36323" y="15520"/>
                        <a:pt x="28288" y="27737"/>
                        <a:pt x="21904" y="27737"/>
                      </a:cubicBezTo>
                      <a:cubicBezTo>
                        <a:pt x="13869" y="27737"/>
                        <a:pt x="0" y="18161"/>
                        <a:pt x="0" y="13318"/>
                      </a:cubicBezTo>
                      <a:cubicBezTo>
                        <a:pt x="0" y="5283"/>
                        <a:pt x="4293" y="0"/>
                        <a:pt x="10677" y="0"/>
                      </a:cubicBezTo>
                      <a:cubicBezTo>
                        <a:pt x="11117" y="0"/>
                        <a:pt x="12768" y="550"/>
                        <a:pt x="12768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50" name="Freeform: Shape 249">
                  <a:extLst>
                    <a:ext uri="{FF2B5EF4-FFF2-40B4-BE49-F238E27FC236}">
                      <a16:creationId xmlns:a16="http://schemas.microsoft.com/office/drawing/2014/main" id="{24964516-9B54-477D-BD32-B4E0CF235BA1}"/>
                    </a:ext>
                  </a:extLst>
                </p:cNvPr>
                <p:cNvSpPr/>
                <p:nvPr/>
              </p:nvSpPr>
              <p:spPr>
                <a:xfrm>
                  <a:off x="2183319" y="4507433"/>
                  <a:ext cx="11007" cy="22014"/>
                </a:xfrm>
                <a:custGeom>
                  <a:avLst/>
                  <a:gdLst>
                    <a:gd name="connsiteX0" fmla="*/ 0 w 11006"/>
                    <a:gd name="connsiteY0" fmla="*/ 15960 h 22013"/>
                    <a:gd name="connsiteX1" fmla="*/ 6384 w 11006"/>
                    <a:gd name="connsiteY1" fmla="*/ 0 h 22013"/>
                    <a:gd name="connsiteX2" fmla="*/ 12768 w 11006"/>
                    <a:gd name="connsiteY2" fmla="*/ 8475 h 22013"/>
                    <a:gd name="connsiteX3" fmla="*/ 10677 w 11006"/>
                    <a:gd name="connsiteY3" fmla="*/ 14419 h 22013"/>
                    <a:gd name="connsiteX4" fmla="*/ 10677 w 11006"/>
                    <a:gd name="connsiteY4" fmla="*/ 30379 h 22013"/>
                    <a:gd name="connsiteX5" fmla="*/ 5944 w 11006"/>
                    <a:gd name="connsiteY5" fmla="*/ 30379 h 22013"/>
                    <a:gd name="connsiteX6" fmla="*/ 0 w 11006"/>
                    <a:gd name="connsiteY6" fmla="*/ 22894 h 22013"/>
                    <a:gd name="connsiteX7" fmla="*/ 0 w 11006"/>
                    <a:gd name="connsiteY7" fmla="*/ 15960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006" h="22013">
                      <a:moveTo>
                        <a:pt x="0" y="15960"/>
                      </a:moveTo>
                      <a:cubicBezTo>
                        <a:pt x="0" y="15960"/>
                        <a:pt x="3192" y="0"/>
                        <a:pt x="6384" y="0"/>
                      </a:cubicBezTo>
                      <a:cubicBezTo>
                        <a:pt x="11227" y="0"/>
                        <a:pt x="12768" y="4293"/>
                        <a:pt x="12768" y="8475"/>
                      </a:cubicBezTo>
                      <a:cubicBezTo>
                        <a:pt x="12768" y="11667"/>
                        <a:pt x="11227" y="12768"/>
                        <a:pt x="10677" y="14419"/>
                      </a:cubicBezTo>
                      <a:lnTo>
                        <a:pt x="10677" y="30379"/>
                      </a:lnTo>
                      <a:lnTo>
                        <a:pt x="5944" y="30379"/>
                      </a:lnTo>
                      <a:cubicBezTo>
                        <a:pt x="2752" y="29829"/>
                        <a:pt x="0" y="24986"/>
                        <a:pt x="0" y="22894"/>
                      </a:cubicBezTo>
                      <a:lnTo>
                        <a:pt x="0" y="1596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51" name="Freeform: Shape 250">
                  <a:extLst>
                    <a:ext uri="{FF2B5EF4-FFF2-40B4-BE49-F238E27FC236}">
                      <a16:creationId xmlns:a16="http://schemas.microsoft.com/office/drawing/2014/main" id="{AEFE5F14-BD04-4038-8CB7-5AB38E09F050}"/>
                    </a:ext>
                  </a:extLst>
                </p:cNvPr>
                <p:cNvSpPr/>
                <p:nvPr/>
              </p:nvSpPr>
              <p:spPr>
                <a:xfrm>
                  <a:off x="2073911" y="3634141"/>
                  <a:ext cx="704445" cy="1133717"/>
                </a:xfrm>
                <a:custGeom>
                  <a:avLst/>
                  <a:gdLst>
                    <a:gd name="connsiteX0" fmla="*/ 59328 w 704445"/>
                    <a:gd name="connsiteY0" fmla="*/ 124269 h 1133716"/>
                    <a:gd name="connsiteX1" fmla="*/ 59328 w 704445"/>
                    <a:gd name="connsiteY1" fmla="*/ 121077 h 1133716"/>
                    <a:gd name="connsiteX2" fmla="*/ 56135 w 704445"/>
                    <a:gd name="connsiteY2" fmla="*/ 109299 h 1133716"/>
                    <a:gd name="connsiteX3" fmla="*/ 58777 w 704445"/>
                    <a:gd name="connsiteY3" fmla="*/ 95430 h 1133716"/>
                    <a:gd name="connsiteX4" fmla="*/ 49201 w 704445"/>
                    <a:gd name="connsiteY4" fmla="*/ 76278 h 1133716"/>
                    <a:gd name="connsiteX5" fmla="*/ 62519 w 704445"/>
                    <a:gd name="connsiteY5" fmla="*/ 61309 h 1133716"/>
                    <a:gd name="connsiteX6" fmla="*/ 68904 w 704445"/>
                    <a:gd name="connsiteY6" fmla="*/ 61309 h 1133716"/>
                    <a:gd name="connsiteX7" fmla="*/ 68904 w 704445"/>
                    <a:gd name="connsiteY7" fmla="*/ 58117 h 1133716"/>
                    <a:gd name="connsiteX8" fmla="*/ 72096 w 704445"/>
                    <a:gd name="connsiteY8" fmla="*/ 55475 h 1133716"/>
                    <a:gd name="connsiteX9" fmla="*/ 80681 w 704445"/>
                    <a:gd name="connsiteY9" fmla="*/ 46449 h 1133716"/>
                    <a:gd name="connsiteX10" fmla="*/ 85524 w 704445"/>
                    <a:gd name="connsiteY10" fmla="*/ 33131 h 1133716"/>
                    <a:gd name="connsiteX11" fmla="*/ 99943 w 704445"/>
                    <a:gd name="connsiteY11" fmla="*/ 20803 h 1133716"/>
                    <a:gd name="connsiteX12" fmla="*/ 134615 w 704445"/>
                    <a:gd name="connsiteY12" fmla="*/ 10126 h 1133716"/>
                    <a:gd name="connsiteX13" fmla="*/ 150025 w 704445"/>
                    <a:gd name="connsiteY13" fmla="*/ 0 h 1133716"/>
                    <a:gd name="connsiteX14" fmla="*/ 154868 w 704445"/>
                    <a:gd name="connsiteY14" fmla="*/ 6384 h 1133716"/>
                    <a:gd name="connsiteX15" fmla="*/ 149585 w 704445"/>
                    <a:gd name="connsiteY15" fmla="*/ 12768 h 1133716"/>
                    <a:gd name="connsiteX16" fmla="*/ 144741 w 704445"/>
                    <a:gd name="connsiteY16" fmla="*/ 34672 h 1133716"/>
                    <a:gd name="connsiteX17" fmla="*/ 153547 w 704445"/>
                    <a:gd name="connsiteY17" fmla="*/ 50852 h 1133716"/>
                    <a:gd name="connsiteX18" fmla="*/ 158610 w 704445"/>
                    <a:gd name="connsiteY18" fmla="*/ 42157 h 1133716"/>
                    <a:gd name="connsiteX19" fmla="*/ 152226 w 704445"/>
                    <a:gd name="connsiteY19" fmla="*/ 25646 h 1133716"/>
                    <a:gd name="connsiteX20" fmla="*/ 165545 w 704445"/>
                    <a:gd name="connsiteY20" fmla="*/ 15520 h 1133716"/>
                    <a:gd name="connsiteX21" fmla="*/ 178313 w 704445"/>
                    <a:gd name="connsiteY21" fmla="*/ 15520 h 1133716"/>
                    <a:gd name="connsiteX22" fmla="*/ 168186 w 704445"/>
                    <a:gd name="connsiteY22" fmla="*/ 5393 h 1133716"/>
                    <a:gd name="connsiteX23" fmla="*/ 177542 w 704445"/>
                    <a:gd name="connsiteY23" fmla="*/ 5503 h 1133716"/>
                    <a:gd name="connsiteX24" fmla="*/ 199666 w 704445"/>
                    <a:gd name="connsiteY24" fmla="*/ 18712 h 1133716"/>
                    <a:gd name="connsiteX25" fmla="*/ 206050 w 704445"/>
                    <a:gd name="connsiteY25" fmla="*/ 28288 h 1133716"/>
                    <a:gd name="connsiteX26" fmla="*/ 234889 w 704445"/>
                    <a:gd name="connsiteY26" fmla="*/ 28288 h 1133716"/>
                    <a:gd name="connsiteX27" fmla="*/ 245565 w 704445"/>
                    <a:gd name="connsiteY27" fmla="*/ 34122 h 1133716"/>
                    <a:gd name="connsiteX28" fmla="*/ 262076 w 704445"/>
                    <a:gd name="connsiteY28" fmla="*/ 26637 h 1133716"/>
                    <a:gd name="connsiteX29" fmla="*/ 275394 w 704445"/>
                    <a:gd name="connsiteY29" fmla="*/ 23885 h 1133716"/>
                    <a:gd name="connsiteX30" fmla="*/ 290254 w 704445"/>
                    <a:gd name="connsiteY30" fmla="*/ 25536 h 1133716"/>
                    <a:gd name="connsiteX31" fmla="*/ 282218 w 704445"/>
                    <a:gd name="connsiteY31" fmla="*/ 26637 h 1133716"/>
                    <a:gd name="connsiteX32" fmla="*/ 282218 w 704445"/>
                    <a:gd name="connsiteY32" fmla="*/ 30820 h 1133716"/>
                    <a:gd name="connsiteX33" fmla="*/ 305113 w 704445"/>
                    <a:gd name="connsiteY33" fmla="*/ 42597 h 1133716"/>
                    <a:gd name="connsiteX34" fmla="*/ 312598 w 704445"/>
                    <a:gd name="connsiteY34" fmla="*/ 59658 h 1133716"/>
                    <a:gd name="connsiteX35" fmla="*/ 327567 w 704445"/>
                    <a:gd name="connsiteY35" fmla="*/ 59658 h 1133716"/>
                    <a:gd name="connsiteX36" fmla="*/ 348921 w 704445"/>
                    <a:gd name="connsiteY36" fmla="*/ 81451 h 1133716"/>
                    <a:gd name="connsiteX37" fmla="*/ 356956 w 704445"/>
                    <a:gd name="connsiteY37" fmla="*/ 84754 h 1133716"/>
                    <a:gd name="connsiteX38" fmla="*/ 397461 w 704445"/>
                    <a:gd name="connsiteY38" fmla="*/ 100714 h 1133716"/>
                    <a:gd name="connsiteX39" fmla="*/ 411330 w 704445"/>
                    <a:gd name="connsiteY39" fmla="*/ 100714 h 1133716"/>
                    <a:gd name="connsiteX40" fmla="*/ 428941 w 704445"/>
                    <a:gd name="connsiteY40" fmla="*/ 106547 h 1133716"/>
                    <a:gd name="connsiteX41" fmla="*/ 428941 w 704445"/>
                    <a:gd name="connsiteY41" fmla="*/ 107648 h 1133716"/>
                    <a:gd name="connsiteX42" fmla="*/ 432133 w 704445"/>
                    <a:gd name="connsiteY42" fmla="*/ 107648 h 1133716"/>
                    <a:gd name="connsiteX43" fmla="*/ 460971 w 704445"/>
                    <a:gd name="connsiteY43" fmla="*/ 127461 h 1133716"/>
                    <a:gd name="connsiteX44" fmla="*/ 470658 w 704445"/>
                    <a:gd name="connsiteY44" fmla="*/ 156739 h 1133716"/>
                    <a:gd name="connsiteX45" fmla="*/ 480234 w 704445"/>
                    <a:gd name="connsiteY45" fmla="*/ 167416 h 1133716"/>
                    <a:gd name="connsiteX46" fmla="*/ 456238 w 704445"/>
                    <a:gd name="connsiteY46" fmla="*/ 199446 h 1133716"/>
                    <a:gd name="connsiteX47" fmla="*/ 463723 w 704445"/>
                    <a:gd name="connsiteY47" fmla="*/ 205280 h 1133716"/>
                    <a:gd name="connsiteX48" fmla="*/ 472749 w 704445"/>
                    <a:gd name="connsiteY48" fmla="*/ 217608 h 1133716"/>
                    <a:gd name="connsiteX49" fmla="*/ 485627 w 704445"/>
                    <a:gd name="connsiteY49" fmla="*/ 217608 h 1133716"/>
                    <a:gd name="connsiteX50" fmla="*/ 488269 w 704445"/>
                    <a:gd name="connsiteY50" fmla="*/ 223441 h 1133716"/>
                    <a:gd name="connsiteX51" fmla="*/ 494102 w 704445"/>
                    <a:gd name="connsiteY51" fmla="*/ 217057 h 1133716"/>
                    <a:gd name="connsiteX52" fmla="*/ 514355 w 704445"/>
                    <a:gd name="connsiteY52" fmla="*/ 197245 h 1133716"/>
                    <a:gd name="connsiteX53" fmla="*/ 550128 w 704445"/>
                    <a:gd name="connsiteY53" fmla="*/ 211664 h 1133716"/>
                    <a:gd name="connsiteX54" fmla="*/ 560254 w 704445"/>
                    <a:gd name="connsiteY54" fmla="*/ 217608 h 1133716"/>
                    <a:gd name="connsiteX55" fmla="*/ 561355 w 704445"/>
                    <a:gd name="connsiteY55" fmla="*/ 230926 h 1133716"/>
                    <a:gd name="connsiteX56" fmla="*/ 565097 w 704445"/>
                    <a:gd name="connsiteY56" fmla="*/ 230926 h 1133716"/>
                    <a:gd name="connsiteX57" fmla="*/ 576875 w 704445"/>
                    <a:gd name="connsiteY57" fmla="*/ 225092 h 1133716"/>
                    <a:gd name="connsiteX58" fmla="*/ 600870 w 704445"/>
                    <a:gd name="connsiteY58" fmla="*/ 233678 h 1133716"/>
                    <a:gd name="connsiteX59" fmla="*/ 621123 w 704445"/>
                    <a:gd name="connsiteY59" fmla="*/ 230926 h 1133716"/>
                    <a:gd name="connsiteX60" fmla="*/ 646219 w 704445"/>
                    <a:gd name="connsiteY60" fmla="*/ 239511 h 1133716"/>
                    <a:gd name="connsiteX61" fmla="*/ 676048 w 704445"/>
                    <a:gd name="connsiteY61" fmla="*/ 265158 h 1133716"/>
                    <a:gd name="connsiteX62" fmla="*/ 695750 w 704445"/>
                    <a:gd name="connsiteY62" fmla="*/ 266148 h 1133716"/>
                    <a:gd name="connsiteX63" fmla="*/ 709068 w 704445"/>
                    <a:gd name="connsiteY63" fmla="*/ 291794 h 1133716"/>
                    <a:gd name="connsiteX64" fmla="*/ 672966 w 704445"/>
                    <a:gd name="connsiteY64" fmla="*/ 363560 h 1133716"/>
                    <a:gd name="connsiteX65" fmla="*/ 664270 w 704445"/>
                    <a:gd name="connsiteY65" fmla="*/ 374457 h 1133716"/>
                    <a:gd name="connsiteX66" fmla="*/ 647760 w 704445"/>
                    <a:gd name="connsiteY66" fmla="*/ 388766 h 1133716"/>
                    <a:gd name="connsiteX67" fmla="*/ 647650 w 704445"/>
                    <a:gd name="connsiteY67" fmla="*/ 426850 h 1133716"/>
                    <a:gd name="connsiteX68" fmla="*/ 644017 w 704445"/>
                    <a:gd name="connsiteY68" fmla="*/ 452276 h 1133716"/>
                    <a:gd name="connsiteX69" fmla="*/ 641375 w 704445"/>
                    <a:gd name="connsiteY69" fmla="*/ 458660 h 1133716"/>
                    <a:gd name="connsiteX70" fmla="*/ 634441 w 704445"/>
                    <a:gd name="connsiteY70" fmla="*/ 470878 h 1133716"/>
                    <a:gd name="connsiteX71" fmla="*/ 631689 w 704445"/>
                    <a:gd name="connsiteY71" fmla="*/ 489039 h 1133716"/>
                    <a:gd name="connsiteX72" fmla="*/ 612978 w 704445"/>
                    <a:gd name="connsiteY72" fmla="*/ 517327 h 1133716"/>
                    <a:gd name="connsiteX73" fmla="*/ 610336 w 704445"/>
                    <a:gd name="connsiteY73" fmla="*/ 528995 h 1133716"/>
                    <a:gd name="connsiteX74" fmla="*/ 586891 w 704445"/>
                    <a:gd name="connsiteY74" fmla="*/ 542863 h 1133716"/>
                    <a:gd name="connsiteX75" fmla="*/ 560695 w 704445"/>
                    <a:gd name="connsiteY75" fmla="*/ 546055 h 1133716"/>
                    <a:gd name="connsiteX76" fmla="*/ 555301 w 704445"/>
                    <a:gd name="connsiteY76" fmla="*/ 551889 h 1133716"/>
                    <a:gd name="connsiteX77" fmla="*/ 519529 w 704445"/>
                    <a:gd name="connsiteY77" fmla="*/ 572142 h 1133716"/>
                    <a:gd name="connsiteX78" fmla="*/ 504009 w 704445"/>
                    <a:gd name="connsiteY78" fmla="*/ 583369 h 1133716"/>
                    <a:gd name="connsiteX79" fmla="*/ 498175 w 704445"/>
                    <a:gd name="connsiteY79" fmla="*/ 607914 h 1133716"/>
                    <a:gd name="connsiteX80" fmla="*/ 498175 w 704445"/>
                    <a:gd name="connsiteY80" fmla="*/ 633010 h 1133716"/>
                    <a:gd name="connsiteX81" fmla="*/ 476821 w 704445"/>
                    <a:gd name="connsiteY81" fmla="*/ 658546 h 1133716"/>
                    <a:gd name="connsiteX82" fmla="*/ 476821 w 704445"/>
                    <a:gd name="connsiteY82" fmla="*/ 657996 h 1133716"/>
                    <a:gd name="connsiteX83" fmla="*/ 469337 w 704445"/>
                    <a:gd name="connsiteY83" fmla="*/ 675607 h 1133716"/>
                    <a:gd name="connsiteX84" fmla="*/ 439948 w 704445"/>
                    <a:gd name="connsiteY84" fmla="*/ 705436 h 1133716"/>
                    <a:gd name="connsiteX85" fmla="*/ 400653 w 704445"/>
                    <a:gd name="connsiteY85" fmla="*/ 748033 h 1133716"/>
                    <a:gd name="connsiteX86" fmla="*/ 376438 w 704445"/>
                    <a:gd name="connsiteY86" fmla="*/ 742199 h 1133716"/>
                    <a:gd name="connsiteX87" fmla="*/ 354094 w 704445"/>
                    <a:gd name="connsiteY87" fmla="*/ 735815 h 1133716"/>
                    <a:gd name="connsiteX88" fmla="*/ 349801 w 704445"/>
                    <a:gd name="connsiteY88" fmla="*/ 738567 h 1133716"/>
                    <a:gd name="connsiteX89" fmla="*/ 359377 w 704445"/>
                    <a:gd name="connsiteY89" fmla="*/ 747593 h 1133716"/>
                    <a:gd name="connsiteX90" fmla="*/ 365761 w 704445"/>
                    <a:gd name="connsiteY90" fmla="*/ 764103 h 1133716"/>
                    <a:gd name="connsiteX91" fmla="*/ 375888 w 704445"/>
                    <a:gd name="connsiteY91" fmla="*/ 775881 h 1133716"/>
                    <a:gd name="connsiteX92" fmla="*/ 373246 w 704445"/>
                    <a:gd name="connsiteY92" fmla="*/ 790080 h 1133716"/>
                    <a:gd name="connsiteX93" fmla="*/ 359377 w 704445"/>
                    <a:gd name="connsiteY93" fmla="*/ 806260 h 1133716"/>
                    <a:gd name="connsiteX94" fmla="*/ 326356 w 704445"/>
                    <a:gd name="connsiteY94" fmla="*/ 816937 h 1133716"/>
                    <a:gd name="connsiteX95" fmla="*/ 295427 w 704445"/>
                    <a:gd name="connsiteY95" fmla="*/ 818478 h 1133716"/>
                    <a:gd name="connsiteX96" fmla="*/ 290033 w 704445"/>
                    <a:gd name="connsiteY96" fmla="*/ 848857 h 1133716"/>
                    <a:gd name="connsiteX97" fmla="*/ 290033 w 704445"/>
                    <a:gd name="connsiteY97" fmla="*/ 847756 h 1133716"/>
                    <a:gd name="connsiteX98" fmla="*/ 290033 w 704445"/>
                    <a:gd name="connsiteY98" fmla="*/ 854140 h 1133716"/>
                    <a:gd name="connsiteX99" fmla="*/ 277816 w 704445"/>
                    <a:gd name="connsiteY99" fmla="*/ 860524 h 1133716"/>
                    <a:gd name="connsiteX100" fmla="*/ 253820 w 704445"/>
                    <a:gd name="connsiteY100" fmla="*/ 853039 h 1133716"/>
                    <a:gd name="connsiteX101" fmla="*/ 248427 w 704445"/>
                    <a:gd name="connsiteY101" fmla="*/ 859423 h 1133716"/>
                    <a:gd name="connsiteX102" fmla="*/ 259544 w 704445"/>
                    <a:gd name="connsiteY102" fmla="*/ 880777 h 1133716"/>
                    <a:gd name="connsiteX103" fmla="*/ 267029 w 704445"/>
                    <a:gd name="connsiteY103" fmla="*/ 877035 h 1133716"/>
                    <a:gd name="connsiteX104" fmla="*/ 271872 w 704445"/>
                    <a:gd name="connsiteY104" fmla="*/ 882428 h 1133716"/>
                    <a:gd name="connsiteX105" fmla="*/ 266478 w 704445"/>
                    <a:gd name="connsiteY105" fmla="*/ 889362 h 1133716"/>
                    <a:gd name="connsiteX106" fmla="*/ 252610 w 704445"/>
                    <a:gd name="connsiteY106" fmla="*/ 884629 h 1133716"/>
                    <a:gd name="connsiteX107" fmla="*/ 258443 w 704445"/>
                    <a:gd name="connsiteY107" fmla="*/ 892554 h 1133716"/>
                    <a:gd name="connsiteX108" fmla="*/ 245675 w 704445"/>
                    <a:gd name="connsiteY108" fmla="*/ 925135 h 1133716"/>
                    <a:gd name="connsiteX109" fmla="*/ 231256 w 704445"/>
                    <a:gd name="connsiteY109" fmla="*/ 932069 h 1133716"/>
                    <a:gd name="connsiteX110" fmla="*/ 215296 w 704445"/>
                    <a:gd name="connsiteY110" fmla="*/ 950781 h 1133716"/>
                    <a:gd name="connsiteX111" fmla="*/ 239291 w 704445"/>
                    <a:gd name="connsiteY111" fmla="*/ 980720 h 1133716"/>
                    <a:gd name="connsiteX112" fmla="*/ 218488 w 704445"/>
                    <a:gd name="connsiteY112" fmla="*/ 1004715 h 1133716"/>
                    <a:gd name="connsiteX113" fmla="*/ 212654 w 704445"/>
                    <a:gd name="connsiteY113" fmla="*/ 1022877 h 1133716"/>
                    <a:gd name="connsiteX114" fmla="*/ 195594 w 704445"/>
                    <a:gd name="connsiteY114" fmla="*/ 1031903 h 1133716"/>
                    <a:gd name="connsiteX115" fmla="*/ 186568 w 704445"/>
                    <a:gd name="connsiteY115" fmla="*/ 1055898 h 1133716"/>
                    <a:gd name="connsiteX116" fmla="*/ 194603 w 704445"/>
                    <a:gd name="connsiteY116" fmla="*/ 1068226 h 1133716"/>
                    <a:gd name="connsiteX117" fmla="*/ 210563 w 704445"/>
                    <a:gd name="connsiteY117" fmla="*/ 1104989 h 1133716"/>
                    <a:gd name="connsiteX118" fmla="*/ 251069 w 704445"/>
                    <a:gd name="connsiteY118" fmla="*/ 1128434 h 1133716"/>
                    <a:gd name="connsiteX119" fmla="*/ 242483 w 704445"/>
                    <a:gd name="connsiteY119" fmla="*/ 1130085 h 1133716"/>
                    <a:gd name="connsiteX120" fmla="*/ 216397 w 704445"/>
                    <a:gd name="connsiteY120" fmla="*/ 1140211 h 1133716"/>
                    <a:gd name="connsiteX121" fmla="*/ 210563 w 704445"/>
                    <a:gd name="connsiteY121" fmla="*/ 1140211 h 1133716"/>
                    <a:gd name="connsiteX122" fmla="*/ 205280 w 704445"/>
                    <a:gd name="connsiteY122" fmla="*/ 1142412 h 1133716"/>
                    <a:gd name="connsiteX123" fmla="*/ 190310 w 704445"/>
                    <a:gd name="connsiteY123" fmla="*/ 1142412 h 1133716"/>
                    <a:gd name="connsiteX124" fmla="*/ 173800 w 704445"/>
                    <a:gd name="connsiteY124" fmla="*/ 1125352 h 1133716"/>
                    <a:gd name="connsiteX125" fmla="*/ 154097 w 704445"/>
                    <a:gd name="connsiteY125" fmla="*/ 1113134 h 1133716"/>
                    <a:gd name="connsiteX126" fmla="*/ 143971 w 704445"/>
                    <a:gd name="connsiteY126" fmla="*/ 1113134 h 1133716"/>
                    <a:gd name="connsiteX127" fmla="*/ 138137 w 704445"/>
                    <a:gd name="connsiteY127" fmla="*/ 1106200 h 1133716"/>
                    <a:gd name="connsiteX128" fmla="*/ 111941 w 704445"/>
                    <a:gd name="connsiteY128" fmla="*/ 1091780 h 1133716"/>
                    <a:gd name="connsiteX129" fmla="*/ 107208 w 704445"/>
                    <a:gd name="connsiteY129" fmla="*/ 1086497 h 1133716"/>
                    <a:gd name="connsiteX130" fmla="*/ 117334 w 704445"/>
                    <a:gd name="connsiteY130" fmla="*/ 1077361 h 1133716"/>
                    <a:gd name="connsiteX131" fmla="*/ 113041 w 704445"/>
                    <a:gd name="connsiteY131" fmla="*/ 1074720 h 1133716"/>
                    <a:gd name="connsiteX132" fmla="*/ 116784 w 704445"/>
                    <a:gd name="connsiteY132" fmla="*/ 1065694 h 1133716"/>
                    <a:gd name="connsiteX133" fmla="*/ 102365 w 704445"/>
                    <a:gd name="connsiteY133" fmla="*/ 1043790 h 1133716"/>
                    <a:gd name="connsiteX134" fmla="*/ 102365 w 704445"/>
                    <a:gd name="connsiteY134" fmla="*/ 1036305 h 1133716"/>
                    <a:gd name="connsiteX135" fmla="*/ 94330 w 704445"/>
                    <a:gd name="connsiteY135" fmla="*/ 996900 h 1133716"/>
                    <a:gd name="connsiteX136" fmla="*/ 106657 w 704445"/>
                    <a:gd name="connsiteY136" fmla="*/ 974997 h 1133716"/>
                    <a:gd name="connsiteX137" fmla="*/ 99173 w 704445"/>
                    <a:gd name="connsiteY137" fmla="*/ 956395 h 1133716"/>
                    <a:gd name="connsiteX138" fmla="*/ 99173 w 704445"/>
                    <a:gd name="connsiteY138" fmla="*/ 951001 h 1133716"/>
                    <a:gd name="connsiteX139" fmla="*/ 99723 w 704445"/>
                    <a:gd name="connsiteY139" fmla="*/ 951001 h 1133716"/>
                    <a:gd name="connsiteX140" fmla="*/ 104456 w 704445"/>
                    <a:gd name="connsiteY140" fmla="*/ 945168 h 1133716"/>
                    <a:gd name="connsiteX141" fmla="*/ 118325 w 704445"/>
                    <a:gd name="connsiteY141" fmla="*/ 954854 h 1133716"/>
                    <a:gd name="connsiteX142" fmla="*/ 135936 w 704445"/>
                    <a:gd name="connsiteY142" fmla="*/ 875934 h 1133716"/>
                    <a:gd name="connsiteX143" fmla="*/ 135936 w 704445"/>
                    <a:gd name="connsiteY143" fmla="*/ 867789 h 1133716"/>
                    <a:gd name="connsiteX144" fmla="*/ 131203 w 704445"/>
                    <a:gd name="connsiteY144" fmla="*/ 867789 h 1133716"/>
                    <a:gd name="connsiteX145" fmla="*/ 123168 w 704445"/>
                    <a:gd name="connsiteY145" fmla="*/ 873733 h 1133716"/>
                    <a:gd name="connsiteX146" fmla="*/ 115683 w 704445"/>
                    <a:gd name="connsiteY146" fmla="*/ 855571 h 1133716"/>
                    <a:gd name="connsiteX147" fmla="*/ 121077 w 704445"/>
                    <a:gd name="connsiteY147" fmla="*/ 831576 h 1133716"/>
                    <a:gd name="connsiteX148" fmla="*/ 126470 w 704445"/>
                    <a:gd name="connsiteY148" fmla="*/ 828384 h 1133716"/>
                    <a:gd name="connsiteX149" fmla="*/ 123278 w 704445"/>
                    <a:gd name="connsiteY149" fmla="*/ 822550 h 1133716"/>
                    <a:gd name="connsiteX150" fmla="*/ 120636 w 704445"/>
                    <a:gd name="connsiteY150" fmla="*/ 803838 h 1133716"/>
                    <a:gd name="connsiteX151" fmla="*/ 132854 w 704445"/>
                    <a:gd name="connsiteY151" fmla="*/ 771808 h 1133716"/>
                    <a:gd name="connsiteX152" fmla="*/ 138688 w 704445"/>
                    <a:gd name="connsiteY152" fmla="*/ 756839 h 1133716"/>
                    <a:gd name="connsiteX153" fmla="*/ 143531 w 704445"/>
                    <a:gd name="connsiteY153" fmla="*/ 753096 h 1133716"/>
                    <a:gd name="connsiteX154" fmla="*/ 150465 w 704445"/>
                    <a:gd name="connsiteY154" fmla="*/ 718975 h 1133716"/>
                    <a:gd name="connsiteX155" fmla="*/ 149915 w 704445"/>
                    <a:gd name="connsiteY155" fmla="*/ 678909 h 1133716"/>
                    <a:gd name="connsiteX156" fmla="*/ 152556 w 704445"/>
                    <a:gd name="connsiteY156" fmla="*/ 653263 h 1133716"/>
                    <a:gd name="connsiteX157" fmla="*/ 164884 w 704445"/>
                    <a:gd name="connsiteY157" fmla="*/ 601530 h 1133716"/>
                    <a:gd name="connsiteX158" fmla="*/ 164884 w 704445"/>
                    <a:gd name="connsiteY158" fmla="*/ 596797 h 1133716"/>
                    <a:gd name="connsiteX159" fmla="*/ 168627 w 704445"/>
                    <a:gd name="connsiteY159" fmla="*/ 578086 h 1133716"/>
                    <a:gd name="connsiteX160" fmla="*/ 168627 w 704445"/>
                    <a:gd name="connsiteY160" fmla="*/ 554641 h 1133716"/>
                    <a:gd name="connsiteX161" fmla="*/ 173470 w 704445"/>
                    <a:gd name="connsiteY161" fmla="*/ 524262 h 1133716"/>
                    <a:gd name="connsiteX162" fmla="*/ 169177 w 704445"/>
                    <a:gd name="connsiteY162" fmla="*/ 481555 h 1133716"/>
                    <a:gd name="connsiteX163" fmla="*/ 146282 w 704445"/>
                    <a:gd name="connsiteY163" fmla="*/ 455908 h 1133716"/>
                    <a:gd name="connsiteX164" fmla="*/ 126580 w 704445"/>
                    <a:gd name="connsiteY164" fmla="*/ 447433 h 1133716"/>
                    <a:gd name="connsiteX165" fmla="*/ 109519 w 704445"/>
                    <a:gd name="connsiteY165" fmla="*/ 436756 h 1133716"/>
                    <a:gd name="connsiteX166" fmla="*/ 77489 w 704445"/>
                    <a:gd name="connsiteY166" fmla="*/ 414852 h 1133716"/>
                    <a:gd name="connsiteX167" fmla="*/ 75288 w 704445"/>
                    <a:gd name="connsiteY167" fmla="*/ 398342 h 1133716"/>
                    <a:gd name="connsiteX168" fmla="*/ 65161 w 704445"/>
                    <a:gd name="connsiteY168" fmla="*/ 378089 h 1133716"/>
                    <a:gd name="connsiteX169" fmla="*/ 46449 w 704445"/>
                    <a:gd name="connsiteY169" fmla="*/ 343968 h 1133716"/>
                    <a:gd name="connsiteX170" fmla="*/ 34672 w 704445"/>
                    <a:gd name="connsiteY170" fmla="*/ 314689 h 1133716"/>
                    <a:gd name="connsiteX171" fmla="*/ 27737 w 704445"/>
                    <a:gd name="connsiteY171" fmla="*/ 310947 h 1133716"/>
                    <a:gd name="connsiteX172" fmla="*/ 21354 w 704445"/>
                    <a:gd name="connsiteY172" fmla="*/ 296087 h 1133716"/>
                    <a:gd name="connsiteX173" fmla="*/ 13318 w 704445"/>
                    <a:gd name="connsiteY173" fmla="*/ 291794 h 1133716"/>
                    <a:gd name="connsiteX174" fmla="*/ 0 w 704445"/>
                    <a:gd name="connsiteY174" fmla="*/ 265708 h 1133716"/>
                    <a:gd name="connsiteX175" fmla="*/ 5944 w 704445"/>
                    <a:gd name="connsiteY175" fmla="*/ 249638 h 1133716"/>
                    <a:gd name="connsiteX176" fmla="*/ 22454 w 704445"/>
                    <a:gd name="connsiteY176" fmla="*/ 230926 h 1133716"/>
                    <a:gd name="connsiteX177" fmla="*/ 14419 w 704445"/>
                    <a:gd name="connsiteY177" fmla="*/ 230376 h 1133716"/>
                    <a:gd name="connsiteX178" fmla="*/ 5944 w 704445"/>
                    <a:gd name="connsiteY178" fmla="*/ 212214 h 1133716"/>
                    <a:gd name="connsiteX179" fmla="*/ 17061 w 704445"/>
                    <a:gd name="connsiteY179" fmla="*/ 178643 h 1133716"/>
                    <a:gd name="connsiteX180" fmla="*/ 39515 w 704445"/>
                    <a:gd name="connsiteY180" fmla="*/ 155748 h 1133716"/>
                    <a:gd name="connsiteX181" fmla="*/ 62409 w 704445"/>
                    <a:gd name="connsiteY181" fmla="*/ 133404 h 1133716"/>
                    <a:gd name="connsiteX182" fmla="*/ 57126 w 704445"/>
                    <a:gd name="connsiteY182" fmla="*/ 128011 h 1133716"/>
                    <a:gd name="connsiteX183" fmla="*/ 59217 w 704445"/>
                    <a:gd name="connsiteY183" fmla="*/ 123828 h 1133716"/>
                    <a:gd name="connsiteX184" fmla="*/ 59217 w 704445"/>
                    <a:gd name="connsiteY184" fmla="*/ 124269 h 113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</a:cxnLst>
                  <a:rect l="l" t="t" r="r" b="b"/>
                  <a:pathLst>
                    <a:path w="704445" h="1133716">
                      <a:moveTo>
                        <a:pt x="59328" y="124269"/>
                      </a:moveTo>
                      <a:lnTo>
                        <a:pt x="59328" y="121077"/>
                      </a:lnTo>
                      <a:cubicBezTo>
                        <a:pt x="59328" y="116784"/>
                        <a:pt x="56135" y="113592"/>
                        <a:pt x="56135" y="109299"/>
                      </a:cubicBezTo>
                      <a:cubicBezTo>
                        <a:pt x="56135" y="102915"/>
                        <a:pt x="58777" y="100824"/>
                        <a:pt x="58777" y="95430"/>
                      </a:cubicBezTo>
                      <a:cubicBezTo>
                        <a:pt x="58777" y="84203"/>
                        <a:pt x="49201" y="85744"/>
                        <a:pt x="49201" y="76278"/>
                      </a:cubicBezTo>
                      <a:cubicBezTo>
                        <a:pt x="49201" y="68794"/>
                        <a:pt x="59878" y="65602"/>
                        <a:pt x="62519" y="61309"/>
                      </a:cubicBezTo>
                      <a:cubicBezTo>
                        <a:pt x="66812" y="62409"/>
                        <a:pt x="65161" y="62409"/>
                        <a:pt x="68904" y="61309"/>
                      </a:cubicBezTo>
                      <a:lnTo>
                        <a:pt x="68904" y="58117"/>
                      </a:lnTo>
                      <a:cubicBezTo>
                        <a:pt x="68904" y="57016"/>
                        <a:pt x="70995" y="55475"/>
                        <a:pt x="72096" y="55475"/>
                      </a:cubicBezTo>
                      <a:cubicBezTo>
                        <a:pt x="72096" y="50082"/>
                        <a:pt x="77489" y="48541"/>
                        <a:pt x="80681" y="46449"/>
                      </a:cubicBezTo>
                      <a:cubicBezTo>
                        <a:pt x="83873" y="44248"/>
                        <a:pt x="84423" y="37424"/>
                        <a:pt x="85524" y="33131"/>
                      </a:cubicBezTo>
                      <a:cubicBezTo>
                        <a:pt x="88166" y="24545"/>
                        <a:pt x="93009" y="23005"/>
                        <a:pt x="99943" y="20803"/>
                      </a:cubicBezTo>
                      <a:cubicBezTo>
                        <a:pt x="112711" y="16620"/>
                        <a:pt x="121297" y="14419"/>
                        <a:pt x="134615" y="10126"/>
                      </a:cubicBezTo>
                      <a:cubicBezTo>
                        <a:pt x="141550" y="7925"/>
                        <a:pt x="143090" y="0"/>
                        <a:pt x="150025" y="0"/>
                      </a:cubicBezTo>
                      <a:cubicBezTo>
                        <a:pt x="152666" y="0"/>
                        <a:pt x="154868" y="5834"/>
                        <a:pt x="154868" y="6384"/>
                      </a:cubicBezTo>
                      <a:cubicBezTo>
                        <a:pt x="154868" y="10677"/>
                        <a:pt x="151676" y="12768"/>
                        <a:pt x="149585" y="12768"/>
                      </a:cubicBezTo>
                      <a:cubicBezTo>
                        <a:pt x="148044" y="20803"/>
                        <a:pt x="144741" y="29829"/>
                        <a:pt x="144741" y="34672"/>
                      </a:cubicBezTo>
                      <a:cubicBezTo>
                        <a:pt x="144741" y="40506"/>
                        <a:pt x="147713" y="50852"/>
                        <a:pt x="153547" y="50852"/>
                      </a:cubicBezTo>
                      <a:cubicBezTo>
                        <a:pt x="155638" y="50852"/>
                        <a:pt x="158610" y="44358"/>
                        <a:pt x="158610" y="42157"/>
                      </a:cubicBezTo>
                      <a:cubicBezTo>
                        <a:pt x="158610" y="35773"/>
                        <a:pt x="152226" y="32030"/>
                        <a:pt x="152226" y="25646"/>
                      </a:cubicBezTo>
                      <a:cubicBezTo>
                        <a:pt x="152226" y="17611"/>
                        <a:pt x="160702" y="18712"/>
                        <a:pt x="165545" y="15520"/>
                      </a:cubicBezTo>
                      <a:lnTo>
                        <a:pt x="178313" y="15520"/>
                      </a:lnTo>
                      <a:cubicBezTo>
                        <a:pt x="176221" y="9136"/>
                        <a:pt x="168186" y="11778"/>
                        <a:pt x="168186" y="5393"/>
                      </a:cubicBezTo>
                      <a:lnTo>
                        <a:pt x="177542" y="5503"/>
                      </a:lnTo>
                      <a:cubicBezTo>
                        <a:pt x="179634" y="14089"/>
                        <a:pt x="191631" y="17061"/>
                        <a:pt x="199666" y="18712"/>
                      </a:cubicBezTo>
                      <a:cubicBezTo>
                        <a:pt x="199666" y="23995"/>
                        <a:pt x="202858" y="27738"/>
                        <a:pt x="206050" y="28288"/>
                      </a:cubicBezTo>
                      <a:lnTo>
                        <a:pt x="234889" y="28288"/>
                      </a:lnTo>
                      <a:cubicBezTo>
                        <a:pt x="234889" y="33131"/>
                        <a:pt x="241273" y="34122"/>
                        <a:pt x="245565" y="34122"/>
                      </a:cubicBezTo>
                      <a:cubicBezTo>
                        <a:pt x="253600" y="33021"/>
                        <a:pt x="258884" y="33021"/>
                        <a:pt x="262076" y="26637"/>
                      </a:cubicBezTo>
                      <a:cubicBezTo>
                        <a:pt x="262626" y="24986"/>
                        <a:pt x="273743" y="24986"/>
                        <a:pt x="275394" y="23885"/>
                      </a:cubicBezTo>
                      <a:cubicBezTo>
                        <a:pt x="280678" y="23885"/>
                        <a:pt x="290254" y="25536"/>
                        <a:pt x="290254" y="25536"/>
                      </a:cubicBezTo>
                      <a:cubicBezTo>
                        <a:pt x="288162" y="27187"/>
                        <a:pt x="283869" y="27627"/>
                        <a:pt x="282218" y="26637"/>
                      </a:cubicBezTo>
                      <a:lnTo>
                        <a:pt x="282218" y="30820"/>
                      </a:lnTo>
                      <a:cubicBezTo>
                        <a:pt x="285961" y="38304"/>
                        <a:pt x="297188" y="39845"/>
                        <a:pt x="305113" y="42597"/>
                      </a:cubicBezTo>
                      <a:cubicBezTo>
                        <a:pt x="312047" y="44688"/>
                        <a:pt x="310506" y="52723"/>
                        <a:pt x="312598" y="59658"/>
                      </a:cubicBezTo>
                      <a:lnTo>
                        <a:pt x="327567" y="59658"/>
                      </a:lnTo>
                      <a:cubicBezTo>
                        <a:pt x="337693" y="69784"/>
                        <a:pt x="342537" y="68133"/>
                        <a:pt x="348921" y="81451"/>
                      </a:cubicBezTo>
                      <a:cubicBezTo>
                        <a:pt x="350021" y="83653"/>
                        <a:pt x="354314" y="84754"/>
                        <a:pt x="356956" y="84754"/>
                      </a:cubicBezTo>
                      <a:cubicBezTo>
                        <a:pt x="360698" y="99723"/>
                        <a:pt x="383152" y="98072"/>
                        <a:pt x="397461" y="100714"/>
                      </a:cubicBezTo>
                      <a:lnTo>
                        <a:pt x="411330" y="100714"/>
                      </a:lnTo>
                      <a:cubicBezTo>
                        <a:pt x="415072" y="102255"/>
                        <a:pt x="423548" y="106547"/>
                        <a:pt x="428941" y="106547"/>
                      </a:cubicBezTo>
                      <a:lnTo>
                        <a:pt x="428941" y="107648"/>
                      </a:lnTo>
                      <a:lnTo>
                        <a:pt x="432133" y="107648"/>
                      </a:lnTo>
                      <a:cubicBezTo>
                        <a:pt x="440719" y="107648"/>
                        <a:pt x="451836" y="125259"/>
                        <a:pt x="460971" y="127461"/>
                      </a:cubicBezTo>
                      <a:cubicBezTo>
                        <a:pt x="460971" y="133845"/>
                        <a:pt x="467906" y="150906"/>
                        <a:pt x="470658" y="156739"/>
                      </a:cubicBezTo>
                      <a:cubicBezTo>
                        <a:pt x="473299" y="162022"/>
                        <a:pt x="480234" y="162022"/>
                        <a:pt x="480234" y="167416"/>
                      </a:cubicBezTo>
                      <a:cubicBezTo>
                        <a:pt x="471648" y="178093"/>
                        <a:pt x="456238" y="183376"/>
                        <a:pt x="456238" y="199446"/>
                      </a:cubicBezTo>
                      <a:cubicBezTo>
                        <a:pt x="456238" y="204840"/>
                        <a:pt x="461082" y="204289"/>
                        <a:pt x="463723" y="205280"/>
                      </a:cubicBezTo>
                      <a:cubicBezTo>
                        <a:pt x="469007" y="208031"/>
                        <a:pt x="471758" y="212214"/>
                        <a:pt x="472749" y="217608"/>
                      </a:cubicBezTo>
                      <a:lnTo>
                        <a:pt x="485627" y="217608"/>
                      </a:lnTo>
                      <a:cubicBezTo>
                        <a:pt x="485627" y="219149"/>
                        <a:pt x="486618" y="223441"/>
                        <a:pt x="488269" y="223441"/>
                      </a:cubicBezTo>
                      <a:cubicBezTo>
                        <a:pt x="490360" y="223441"/>
                        <a:pt x="492561" y="219699"/>
                        <a:pt x="494102" y="217057"/>
                      </a:cubicBezTo>
                      <a:cubicBezTo>
                        <a:pt x="499496" y="208472"/>
                        <a:pt x="505770" y="197245"/>
                        <a:pt x="514355" y="197245"/>
                      </a:cubicBezTo>
                      <a:cubicBezTo>
                        <a:pt x="523931" y="197245"/>
                        <a:pt x="543193" y="207371"/>
                        <a:pt x="550128" y="211664"/>
                      </a:cubicBezTo>
                      <a:cubicBezTo>
                        <a:pt x="554421" y="214306"/>
                        <a:pt x="559154" y="213205"/>
                        <a:pt x="560254" y="217608"/>
                      </a:cubicBezTo>
                      <a:cubicBezTo>
                        <a:pt x="561905" y="222451"/>
                        <a:pt x="561355" y="226083"/>
                        <a:pt x="561355" y="230926"/>
                      </a:cubicBezTo>
                      <a:lnTo>
                        <a:pt x="565097" y="230926"/>
                      </a:lnTo>
                      <a:cubicBezTo>
                        <a:pt x="569940" y="228835"/>
                        <a:pt x="572032" y="225092"/>
                        <a:pt x="576875" y="225092"/>
                      </a:cubicBezTo>
                      <a:cubicBezTo>
                        <a:pt x="588102" y="225092"/>
                        <a:pt x="590193" y="233678"/>
                        <a:pt x="600870" y="233678"/>
                      </a:cubicBezTo>
                      <a:lnTo>
                        <a:pt x="621123" y="230926"/>
                      </a:lnTo>
                      <a:cubicBezTo>
                        <a:pt x="631249" y="233128"/>
                        <a:pt x="640385" y="236870"/>
                        <a:pt x="646219" y="239511"/>
                      </a:cubicBezTo>
                      <a:cubicBezTo>
                        <a:pt x="650952" y="247547"/>
                        <a:pt x="667572" y="262406"/>
                        <a:pt x="676048" y="265158"/>
                      </a:cubicBezTo>
                      <a:cubicBezTo>
                        <a:pt x="683532" y="267249"/>
                        <a:pt x="688375" y="264057"/>
                        <a:pt x="695750" y="266148"/>
                      </a:cubicBezTo>
                      <a:cubicBezTo>
                        <a:pt x="706427" y="269450"/>
                        <a:pt x="709068" y="280567"/>
                        <a:pt x="709068" y="291794"/>
                      </a:cubicBezTo>
                      <a:cubicBezTo>
                        <a:pt x="709068" y="331199"/>
                        <a:pt x="687385" y="341766"/>
                        <a:pt x="672966" y="363560"/>
                      </a:cubicBezTo>
                      <a:cubicBezTo>
                        <a:pt x="669773" y="368403"/>
                        <a:pt x="667462" y="369614"/>
                        <a:pt x="664270" y="374457"/>
                      </a:cubicBezTo>
                      <a:cubicBezTo>
                        <a:pt x="658877" y="382382"/>
                        <a:pt x="653043" y="383482"/>
                        <a:pt x="647760" y="388766"/>
                      </a:cubicBezTo>
                      <a:cubicBezTo>
                        <a:pt x="639835" y="396801"/>
                        <a:pt x="647650" y="413972"/>
                        <a:pt x="647650" y="426850"/>
                      </a:cubicBezTo>
                      <a:cubicBezTo>
                        <a:pt x="647650" y="436426"/>
                        <a:pt x="644017" y="445342"/>
                        <a:pt x="644017" y="452276"/>
                      </a:cubicBezTo>
                      <a:cubicBezTo>
                        <a:pt x="644017" y="454918"/>
                        <a:pt x="641816" y="457009"/>
                        <a:pt x="641375" y="458660"/>
                      </a:cubicBezTo>
                      <a:cubicBezTo>
                        <a:pt x="639284" y="461302"/>
                        <a:pt x="634441" y="466585"/>
                        <a:pt x="634441" y="470878"/>
                      </a:cubicBezTo>
                      <a:cubicBezTo>
                        <a:pt x="634441" y="476271"/>
                        <a:pt x="632790" y="486948"/>
                        <a:pt x="631689" y="489039"/>
                      </a:cubicBezTo>
                      <a:cubicBezTo>
                        <a:pt x="623764" y="501367"/>
                        <a:pt x="621013" y="506650"/>
                        <a:pt x="612978" y="517327"/>
                      </a:cubicBezTo>
                      <a:cubicBezTo>
                        <a:pt x="610886" y="520519"/>
                        <a:pt x="611327" y="526903"/>
                        <a:pt x="610336" y="528995"/>
                      </a:cubicBezTo>
                      <a:cubicBezTo>
                        <a:pt x="607144" y="535489"/>
                        <a:pt x="595917" y="542863"/>
                        <a:pt x="586891" y="542863"/>
                      </a:cubicBezTo>
                      <a:cubicBezTo>
                        <a:pt x="576765" y="542863"/>
                        <a:pt x="568730" y="542313"/>
                        <a:pt x="560695" y="546055"/>
                      </a:cubicBezTo>
                      <a:cubicBezTo>
                        <a:pt x="557503" y="547706"/>
                        <a:pt x="556952" y="550348"/>
                        <a:pt x="555301" y="551889"/>
                      </a:cubicBezTo>
                      <a:cubicBezTo>
                        <a:pt x="542533" y="564657"/>
                        <a:pt x="529105" y="557282"/>
                        <a:pt x="519529" y="572142"/>
                      </a:cubicBezTo>
                      <a:cubicBezTo>
                        <a:pt x="515236" y="579076"/>
                        <a:pt x="508301" y="579076"/>
                        <a:pt x="504009" y="583369"/>
                      </a:cubicBezTo>
                      <a:cubicBezTo>
                        <a:pt x="497074" y="590303"/>
                        <a:pt x="498175" y="597788"/>
                        <a:pt x="498175" y="607914"/>
                      </a:cubicBezTo>
                      <a:lnTo>
                        <a:pt x="498175" y="633010"/>
                      </a:lnTo>
                      <a:cubicBezTo>
                        <a:pt x="487498" y="638294"/>
                        <a:pt x="482105" y="647429"/>
                        <a:pt x="476821" y="658546"/>
                      </a:cubicBezTo>
                      <a:lnTo>
                        <a:pt x="476821" y="657996"/>
                      </a:lnTo>
                      <a:cubicBezTo>
                        <a:pt x="473079" y="664931"/>
                        <a:pt x="473630" y="668673"/>
                        <a:pt x="469337" y="675607"/>
                      </a:cubicBezTo>
                      <a:cubicBezTo>
                        <a:pt x="459651" y="690026"/>
                        <a:pt x="448974" y="691567"/>
                        <a:pt x="439948" y="705436"/>
                      </a:cubicBezTo>
                      <a:cubicBezTo>
                        <a:pt x="429271" y="721396"/>
                        <a:pt x="425199" y="748033"/>
                        <a:pt x="400653" y="748033"/>
                      </a:cubicBezTo>
                      <a:cubicBezTo>
                        <a:pt x="392068" y="748033"/>
                        <a:pt x="380180" y="742199"/>
                        <a:pt x="376438" y="742199"/>
                      </a:cubicBezTo>
                      <a:cubicBezTo>
                        <a:pt x="368953" y="742199"/>
                        <a:pt x="362019" y="735815"/>
                        <a:pt x="354094" y="735815"/>
                      </a:cubicBezTo>
                      <a:cubicBezTo>
                        <a:pt x="352443" y="735815"/>
                        <a:pt x="349801" y="736916"/>
                        <a:pt x="349801" y="738567"/>
                      </a:cubicBezTo>
                      <a:cubicBezTo>
                        <a:pt x="349801" y="743300"/>
                        <a:pt x="357836" y="745942"/>
                        <a:pt x="359377" y="747593"/>
                      </a:cubicBezTo>
                      <a:cubicBezTo>
                        <a:pt x="363670" y="751885"/>
                        <a:pt x="363670" y="757719"/>
                        <a:pt x="365761" y="764103"/>
                      </a:cubicBezTo>
                      <a:cubicBezTo>
                        <a:pt x="367412" y="769937"/>
                        <a:pt x="375888" y="769937"/>
                        <a:pt x="375888" y="775881"/>
                      </a:cubicBezTo>
                      <a:cubicBezTo>
                        <a:pt x="375888" y="782265"/>
                        <a:pt x="375888" y="785787"/>
                        <a:pt x="373246" y="790080"/>
                      </a:cubicBezTo>
                      <a:cubicBezTo>
                        <a:pt x="368513" y="797564"/>
                        <a:pt x="364660" y="800977"/>
                        <a:pt x="359377" y="806260"/>
                      </a:cubicBezTo>
                      <a:cubicBezTo>
                        <a:pt x="350352" y="815286"/>
                        <a:pt x="339124" y="812644"/>
                        <a:pt x="326356" y="816937"/>
                      </a:cubicBezTo>
                      <a:cubicBezTo>
                        <a:pt x="317881" y="819578"/>
                        <a:pt x="300270" y="813745"/>
                        <a:pt x="295427" y="818478"/>
                      </a:cubicBezTo>
                      <a:cubicBezTo>
                        <a:pt x="288492" y="825412"/>
                        <a:pt x="293886" y="841372"/>
                        <a:pt x="290033" y="848857"/>
                      </a:cubicBezTo>
                      <a:lnTo>
                        <a:pt x="290033" y="847756"/>
                      </a:lnTo>
                      <a:lnTo>
                        <a:pt x="290033" y="854140"/>
                      </a:lnTo>
                      <a:cubicBezTo>
                        <a:pt x="290033" y="856782"/>
                        <a:pt x="281448" y="860524"/>
                        <a:pt x="277816" y="860524"/>
                      </a:cubicBezTo>
                      <a:cubicBezTo>
                        <a:pt x="266589" y="860524"/>
                        <a:pt x="264497" y="853039"/>
                        <a:pt x="253820" y="853039"/>
                      </a:cubicBezTo>
                      <a:cubicBezTo>
                        <a:pt x="250078" y="853039"/>
                        <a:pt x="248427" y="856782"/>
                        <a:pt x="248427" y="859423"/>
                      </a:cubicBezTo>
                      <a:cubicBezTo>
                        <a:pt x="248427" y="866908"/>
                        <a:pt x="254811" y="880777"/>
                        <a:pt x="259544" y="880777"/>
                      </a:cubicBezTo>
                      <a:cubicBezTo>
                        <a:pt x="262296" y="880777"/>
                        <a:pt x="265378" y="877585"/>
                        <a:pt x="267029" y="877035"/>
                      </a:cubicBezTo>
                      <a:cubicBezTo>
                        <a:pt x="269120" y="879126"/>
                        <a:pt x="271872" y="879676"/>
                        <a:pt x="271872" y="882428"/>
                      </a:cubicBezTo>
                      <a:cubicBezTo>
                        <a:pt x="271872" y="885620"/>
                        <a:pt x="267579" y="889362"/>
                        <a:pt x="266478" y="889362"/>
                      </a:cubicBezTo>
                      <a:cubicBezTo>
                        <a:pt x="260094" y="889362"/>
                        <a:pt x="257893" y="884629"/>
                        <a:pt x="252610" y="884629"/>
                      </a:cubicBezTo>
                      <a:cubicBezTo>
                        <a:pt x="252610" y="890463"/>
                        <a:pt x="255802" y="891564"/>
                        <a:pt x="258443" y="892554"/>
                      </a:cubicBezTo>
                      <a:cubicBezTo>
                        <a:pt x="248867" y="902131"/>
                        <a:pt x="248867" y="911817"/>
                        <a:pt x="245675" y="925135"/>
                      </a:cubicBezTo>
                      <a:cubicBezTo>
                        <a:pt x="244575" y="930969"/>
                        <a:pt x="234999" y="931519"/>
                        <a:pt x="231256" y="932069"/>
                      </a:cubicBezTo>
                      <a:cubicBezTo>
                        <a:pt x="222781" y="934161"/>
                        <a:pt x="215296" y="941645"/>
                        <a:pt x="215296" y="950781"/>
                      </a:cubicBezTo>
                      <a:cubicBezTo>
                        <a:pt x="215296" y="971584"/>
                        <a:pt x="239291" y="964100"/>
                        <a:pt x="239291" y="980720"/>
                      </a:cubicBezTo>
                      <a:cubicBezTo>
                        <a:pt x="239291" y="995580"/>
                        <a:pt x="225973" y="997231"/>
                        <a:pt x="218488" y="1004715"/>
                      </a:cubicBezTo>
                      <a:cubicBezTo>
                        <a:pt x="214195" y="1009008"/>
                        <a:pt x="215847" y="1015942"/>
                        <a:pt x="212654" y="1022877"/>
                      </a:cubicBezTo>
                      <a:cubicBezTo>
                        <a:pt x="208912" y="1030362"/>
                        <a:pt x="200437" y="1027059"/>
                        <a:pt x="195594" y="1031903"/>
                      </a:cubicBezTo>
                      <a:cubicBezTo>
                        <a:pt x="189210" y="1038397"/>
                        <a:pt x="186568" y="1045771"/>
                        <a:pt x="186568" y="1055898"/>
                      </a:cubicBezTo>
                      <a:cubicBezTo>
                        <a:pt x="186568" y="1061291"/>
                        <a:pt x="191411" y="1067675"/>
                        <a:pt x="194603" y="1068226"/>
                      </a:cubicBezTo>
                      <a:cubicBezTo>
                        <a:pt x="204179" y="1073619"/>
                        <a:pt x="203629" y="1098165"/>
                        <a:pt x="210563" y="1104989"/>
                      </a:cubicBezTo>
                      <a:cubicBezTo>
                        <a:pt x="222341" y="1116766"/>
                        <a:pt x="236760" y="1121499"/>
                        <a:pt x="251069" y="1128434"/>
                      </a:cubicBezTo>
                      <a:cubicBezTo>
                        <a:pt x="248867" y="1131626"/>
                        <a:pt x="245675" y="1130085"/>
                        <a:pt x="242483" y="1130085"/>
                      </a:cubicBezTo>
                      <a:cubicBezTo>
                        <a:pt x="234558" y="1130085"/>
                        <a:pt x="221130" y="1140211"/>
                        <a:pt x="216397" y="1140211"/>
                      </a:cubicBezTo>
                      <a:lnTo>
                        <a:pt x="210563" y="1140211"/>
                      </a:lnTo>
                      <a:cubicBezTo>
                        <a:pt x="208912" y="1140211"/>
                        <a:pt x="206821" y="1142412"/>
                        <a:pt x="205280" y="1142412"/>
                      </a:cubicBezTo>
                      <a:lnTo>
                        <a:pt x="190310" y="1142412"/>
                      </a:lnTo>
                      <a:cubicBezTo>
                        <a:pt x="177983" y="1142412"/>
                        <a:pt x="182275" y="1128103"/>
                        <a:pt x="173800" y="1125352"/>
                      </a:cubicBezTo>
                      <a:cubicBezTo>
                        <a:pt x="165765" y="1122710"/>
                        <a:pt x="154097" y="1122710"/>
                        <a:pt x="154097" y="1113134"/>
                      </a:cubicBezTo>
                      <a:lnTo>
                        <a:pt x="143971" y="1113134"/>
                      </a:lnTo>
                      <a:cubicBezTo>
                        <a:pt x="139678" y="1113134"/>
                        <a:pt x="138578" y="1108841"/>
                        <a:pt x="138137" y="1106200"/>
                      </a:cubicBezTo>
                      <a:cubicBezTo>
                        <a:pt x="123168" y="1106200"/>
                        <a:pt x="118985" y="1098715"/>
                        <a:pt x="111941" y="1091780"/>
                      </a:cubicBezTo>
                      <a:cubicBezTo>
                        <a:pt x="110290" y="1090129"/>
                        <a:pt x="107208" y="1087488"/>
                        <a:pt x="107208" y="1086497"/>
                      </a:cubicBezTo>
                      <a:cubicBezTo>
                        <a:pt x="107208" y="1081654"/>
                        <a:pt x="116784" y="1082204"/>
                        <a:pt x="117334" y="1077361"/>
                      </a:cubicBezTo>
                      <a:cubicBezTo>
                        <a:pt x="115683" y="1076811"/>
                        <a:pt x="114693" y="1075820"/>
                        <a:pt x="113041" y="1074720"/>
                      </a:cubicBezTo>
                      <a:cubicBezTo>
                        <a:pt x="114583" y="1071968"/>
                        <a:pt x="116784" y="1068776"/>
                        <a:pt x="116784" y="1065694"/>
                      </a:cubicBezTo>
                      <a:cubicBezTo>
                        <a:pt x="116784" y="1052816"/>
                        <a:pt x="102365" y="1055017"/>
                        <a:pt x="102365" y="1043790"/>
                      </a:cubicBezTo>
                      <a:lnTo>
                        <a:pt x="102365" y="1036305"/>
                      </a:lnTo>
                      <a:cubicBezTo>
                        <a:pt x="102365" y="1024528"/>
                        <a:pt x="94330" y="1005926"/>
                        <a:pt x="94330" y="996900"/>
                      </a:cubicBezTo>
                      <a:cubicBezTo>
                        <a:pt x="94330" y="987214"/>
                        <a:pt x="106657" y="983582"/>
                        <a:pt x="106657" y="974997"/>
                      </a:cubicBezTo>
                      <a:cubicBezTo>
                        <a:pt x="106657" y="970814"/>
                        <a:pt x="100273" y="962228"/>
                        <a:pt x="99173" y="956395"/>
                      </a:cubicBezTo>
                      <a:lnTo>
                        <a:pt x="99173" y="951001"/>
                      </a:lnTo>
                      <a:lnTo>
                        <a:pt x="99723" y="951001"/>
                      </a:lnTo>
                      <a:cubicBezTo>
                        <a:pt x="99723" y="947809"/>
                        <a:pt x="101924" y="945168"/>
                        <a:pt x="104456" y="945168"/>
                      </a:cubicBezTo>
                      <a:cubicBezTo>
                        <a:pt x="114032" y="945168"/>
                        <a:pt x="110290" y="954854"/>
                        <a:pt x="118325" y="954854"/>
                      </a:cubicBezTo>
                      <a:lnTo>
                        <a:pt x="135936" y="875934"/>
                      </a:lnTo>
                      <a:lnTo>
                        <a:pt x="135936" y="867789"/>
                      </a:lnTo>
                      <a:cubicBezTo>
                        <a:pt x="134395" y="867789"/>
                        <a:pt x="132744" y="867349"/>
                        <a:pt x="131203" y="867789"/>
                      </a:cubicBezTo>
                      <a:cubicBezTo>
                        <a:pt x="127461" y="869440"/>
                        <a:pt x="126910" y="873733"/>
                        <a:pt x="123168" y="873733"/>
                      </a:cubicBezTo>
                      <a:cubicBezTo>
                        <a:pt x="118875" y="873733"/>
                        <a:pt x="115683" y="861405"/>
                        <a:pt x="115683" y="855571"/>
                      </a:cubicBezTo>
                      <a:cubicBezTo>
                        <a:pt x="115683" y="845335"/>
                        <a:pt x="119425" y="841042"/>
                        <a:pt x="121077" y="831576"/>
                      </a:cubicBezTo>
                      <a:cubicBezTo>
                        <a:pt x="124819" y="831576"/>
                        <a:pt x="126470" y="830035"/>
                        <a:pt x="126470" y="828384"/>
                      </a:cubicBezTo>
                      <a:cubicBezTo>
                        <a:pt x="126470" y="825192"/>
                        <a:pt x="123278" y="822550"/>
                        <a:pt x="123278" y="822550"/>
                      </a:cubicBezTo>
                      <a:cubicBezTo>
                        <a:pt x="121187" y="822550"/>
                        <a:pt x="120636" y="807581"/>
                        <a:pt x="120636" y="803838"/>
                      </a:cubicBezTo>
                      <a:cubicBezTo>
                        <a:pt x="120636" y="791621"/>
                        <a:pt x="128121" y="779293"/>
                        <a:pt x="132854" y="771808"/>
                      </a:cubicBezTo>
                      <a:cubicBezTo>
                        <a:pt x="135055" y="768066"/>
                        <a:pt x="136046" y="760581"/>
                        <a:pt x="138688" y="756839"/>
                      </a:cubicBezTo>
                      <a:cubicBezTo>
                        <a:pt x="140339" y="754747"/>
                        <a:pt x="142980" y="755298"/>
                        <a:pt x="143531" y="753096"/>
                      </a:cubicBezTo>
                      <a:cubicBezTo>
                        <a:pt x="147273" y="740768"/>
                        <a:pt x="147273" y="731743"/>
                        <a:pt x="150465" y="718975"/>
                      </a:cubicBezTo>
                      <a:lnTo>
                        <a:pt x="149915" y="678909"/>
                      </a:lnTo>
                      <a:cubicBezTo>
                        <a:pt x="146723" y="669333"/>
                        <a:pt x="152556" y="661849"/>
                        <a:pt x="152556" y="653263"/>
                      </a:cubicBezTo>
                      <a:cubicBezTo>
                        <a:pt x="152556" y="633010"/>
                        <a:pt x="164884" y="619692"/>
                        <a:pt x="164884" y="601530"/>
                      </a:cubicBezTo>
                      <a:lnTo>
                        <a:pt x="164884" y="596797"/>
                      </a:lnTo>
                      <a:cubicBezTo>
                        <a:pt x="164884" y="593055"/>
                        <a:pt x="167526" y="583369"/>
                        <a:pt x="168627" y="578086"/>
                      </a:cubicBezTo>
                      <a:lnTo>
                        <a:pt x="168627" y="554641"/>
                      </a:lnTo>
                      <a:cubicBezTo>
                        <a:pt x="168627" y="547156"/>
                        <a:pt x="173470" y="532737"/>
                        <a:pt x="173470" y="524262"/>
                      </a:cubicBezTo>
                      <a:cubicBezTo>
                        <a:pt x="173470" y="518868"/>
                        <a:pt x="170828" y="487388"/>
                        <a:pt x="169177" y="481555"/>
                      </a:cubicBezTo>
                      <a:cubicBezTo>
                        <a:pt x="164334" y="468786"/>
                        <a:pt x="155859" y="460751"/>
                        <a:pt x="146282" y="455908"/>
                      </a:cubicBezTo>
                      <a:cubicBezTo>
                        <a:pt x="138247" y="452276"/>
                        <a:pt x="132414" y="453267"/>
                        <a:pt x="126580" y="447433"/>
                      </a:cubicBezTo>
                      <a:cubicBezTo>
                        <a:pt x="120196" y="440939"/>
                        <a:pt x="117004" y="438847"/>
                        <a:pt x="109519" y="436756"/>
                      </a:cubicBezTo>
                      <a:cubicBezTo>
                        <a:pt x="94550" y="432023"/>
                        <a:pt x="87065" y="424539"/>
                        <a:pt x="77489" y="414852"/>
                      </a:cubicBezTo>
                      <a:cubicBezTo>
                        <a:pt x="73196" y="410560"/>
                        <a:pt x="75288" y="404726"/>
                        <a:pt x="75288" y="398342"/>
                      </a:cubicBezTo>
                      <a:cubicBezTo>
                        <a:pt x="75288" y="389867"/>
                        <a:pt x="67363" y="385574"/>
                        <a:pt x="65161" y="378089"/>
                      </a:cubicBezTo>
                      <a:cubicBezTo>
                        <a:pt x="60868" y="365321"/>
                        <a:pt x="50192" y="355635"/>
                        <a:pt x="46449" y="343968"/>
                      </a:cubicBezTo>
                      <a:cubicBezTo>
                        <a:pt x="42707" y="331750"/>
                        <a:pt x="39515" y="324815"/>
                        <a:pt x="34672" y="314689"/>
                      </a:cubicBezTo>
                      <a:cubicBezTo>
                        <a:pt x="33131" y="311497"/>
                        <a:pt x="29279" y="312488"/>
                        <a:pt x="27737" y="310947"/>
                      </a:cubicBezTo>
                      <a:cubicBezTo>
                        <a:pt x="23995" y="307204"/>
                        <a:pt x="23005" y="299719"/>
                        <a:pt x="21354" y="296087"/>
                      </a:cubicBezTo>
                      <a:cubicBezTo>
                        <a:pt x="19702" y="292895"/>
                        <a:pt x="15410" y="293886"/>
                        <a:pt x="13318" y="291794"/>
                      </a:cubicBezTo>
                      <a:cubicBezTo>
                        <a:pt x="7485" y="285961"/>
                        <a:pt x="0" y="275284"/>
                        <a:pt x="0" y="265708"/>
                      </a:cubicBezTo>
                      <a:cubicBezTo>
                        <a:pt x="0" y="259324"/>
                        <a:pt x="3742" y="251839"/>
                        <a:pt x="5944" y="249638"/>
                      </a:cubicBezTo>
                      <a:cubicBezTo>
                        <a:pt x="10677" y="241603"/>
                        <a:pt x="20363" y="239511"/>
                        <a:pt x="22454" y="230926"/>
                      </a:cubicBezTo>
                      <a:cubicBezTo>
                        <a:pt x="17721" y="227734"/>
                        <a:pt x="18161" y="230376"/>
                        <a:pt x="14419" y="230376"/>
                      </a:cubicBezTo>
                      <a:cubicBezTo>
                        <a:pt x="6934" y="230376"/>
                        <a:pt x="5944" y="219699"/>
                        <a:pt x="5944" y="212214"/>
                      </a:cubicBezTo>
                      <a:cubicBezTo>
                        <a:pt x="5944" y="199996"/>
                        <a:pt x="19372" y="202088"/>
                        <a:pt x="17061" y="178643"/>
                      </a:cubicBezTo>
                      <a:cubicBezTo>
                        <a:pt x="31480" y="178643"/>
                        <a:pt x="35222" y="164224"/>
                        <a:pt x="39515" y="155748"/>
                      </a:cubicBezTo>
                      <a:cubicBezTo>
                        <a:pt x="45459" y="144081"/>
                        <a:pt x="59217" y="147824"/>
                        <a:pt x="62409" y="133404"/>
                      </a:cubicBezTo>
                      <a:cubicBezTo>
                        <a:pt x="59768" y="132304"/>
                        <a:pt x="57126" y="129662"/>
                        <a:pt x="57126" y="128011"/>
                      </a:cubicBezTo>
                      <a:lnTo>
                        <a:pt x="59217" y="123828"/>
                      </a:lnTo>
                      <a:lnTo>
                        <a:pt x="59217" y="124269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52" name="Freeform: Shape 251">
                  <a:extLst>
                    <a:ext uri="{FF2B5EF4-FFF2-40B4-BE49-F238E27FC236}">
                      <a16:creationId xmlns:a16="http://schemas.microsoft.com/office/drawing/2014/main" id="{8A8A51BC-E0ED-44A1-AED5-FEC9383D40B3}"/>
                    </a:ext>
                  </a:extLst>
                </p:cNvPr>
                <p:cNvSpPr/>
                <p:nvPr/>
              </p:nvSpPr>
              <p:spPr>
                <a:xfrm>
                  <a:off x="3164811" y="2823368"/>
                  <a:ext cx="583369" cy="418264"/>
                </a:xfrm>
                <a:custGeom>
                  <a:avLst/>
                  <a:gdLst>
                    <a:gd name="connsiteX0" fmla="*/ 576214 w 583368"/>
                    <a:gd name="connsiteY0" fmla="*/ 260755 h 418264"/>
                    <a:gd name="connsiteX1" fmla="*/ 572912 w 583368"/>
                    <a:gd name="connsiteY1" fmla="*/ 268350 h 418264"/>
                    <a:gd name="connsiteX2" fmla="*/ 572912 w 583368"/>
                    <a:gd name="connsiteY2" fmla="*/ 282218 h 418264"/>
                    <a:gd name="connsiteX3" fmla="*/ 557943 w 583368"/>
                    <a:gd name="connsiteY3" fmla="*/ 305663 h 418264"/>
                    <a:gd name="connsiteX4" fmla="*/ 575554 w 583368"/>
                    <a:gd name="connsiteY4" fmla="*/ 328558 h 418264"/>
                    <a:gd name="connsiteX5" fmla="*/ 568619 w 583368"/>
                    <a:gd name="connsiteY5" fmla="*/ 330649 h 418264"/>
                    <a:gd name="connsiteX6" fmla="*/ 555301 w 583368"/>
                    <a:gd name="connsiteY6" fmla="*/ 332300 h 418264"/>
                    <a:gd name="connsiteX7" fmla="*/ 539891 w 583368"/>
                    <a:gd name="connsiteY7" fmla="*/ 342426 h 418264"/>
                    <a:gd name="connsiteX8" fmla="*/ 517547 w 583368"/>
                    <a:gd name="connsiteY8" fmla="*/ 331750 h 418264"/>
                    <a:gd name="connsiteX9" fmla="*/ 499936 w 583368"/>
                    <a:gd name="connsiteY9" fmla="*/ 338684 h 418264"/>
                    <a:gd name="connsiteX10" fmla="*/ 499936 w 583368"/>
                    <a:gd name="connsiteY10" fmla="*/ 350351 h 418264"/>
                    <a:gd name="connsiteX11" fmla="*/ 486067 w 583368"/>
                    <a:gd name="connsiteY11" fmla="*/ 342426 h 418264"/>
                    <a:gd name="connsiteX12" fmla="*/ 480234 w 583368"/>
                    <a:gd name="connsiteY12" fmla="*/ 348260 h 418264"/>
                    <a:gd name="connsiteX13" fmla="*/ 490360 w 583368"/>
                    <a:gd name="connsiteY13" fmla="*/ 359928 h 418264"/>
                    <a:gd name="connsiteX14" fmla="*/ 488159 w 583368"/>
                    <a:gd name="connsiteY14" fmla="*/ 366312 h 418264"/>
                    <a:gd name="connsiteX15" fmla="*/ 506871 w 583368"/>
                    <a:gd name="connsiteY15" fmla="*/ 381281 h 418264"/>
                    <a:gd name="connsiteX16" fmla="*/ 508962 w 583368"/>
                    <a:gd name="connsiteY16" fmla="*/ 386124 h 418264"/>
                    <a:gd name="connsiteX17" fmla="*/ 499936 w 583368"/>
                    <a:gd name="connsiteY17" fmla="*/ 389316 h 418264"/>
                    <a:gd name="connsiteX18" fmla="*/ 498835 w 583368"/>
                    <a:gd name="connsiteY18" fmla="*/ 389316 h 418264"/>
                    <a:gd name="connsiteX19" fmla="*/ 484966 w 583368"/>
                    <a:gd name="connsiteY19" fmla="*/ 381281 h 418264"/>
                    <a:gd name="connsiteX20" fmla="*/ 484966 w 583368"/>
                    <a:gd name="connsiteY20" fmla="*/ 385574 h 418264"/>
                    <a:gd name="connsiteX21" fmla="*/ 488159 w 583368"/>
                    <a:gd name="connsiteY21" fmla="*/ 394710 h 418264"/>
                    <a:gd name="connsiteX22" fmla="*/ 488159 w 583368"/>
                    <a:gd name="connsiteY22" fmla="*/ 406927 h 418264"/>
                    <a:gd name="connsiteX23" fmla="*/ 480784 w 583368"/>
                    <a:gd name="connsiteY23" fmla="*/ 406927 h 418264"/>
                    <a:gd name="connsiteX24" fmla="*/ 464714 w 583368"/>
                    <a:gd name="connsiteY24" fmla="*/ 389316 h 418264"/>
                    <a:gd name="connsiteX25" fmla="*/ 471648 w 583368"/>
                    <a:gd name="connsiteY25" fmla="*/ 381281 h 418264"/>
                    <a:gd name="connsiteX26" fmla="*/ 462513 w 583368"/>
                    <a:gd name="connsiteY26" fmla="*/ 381281 h 418264"/>
                    <a:gd name="connsiteX27" fmla="*/ 459320 w 583368"/>
                    <a:gd name="connsiteY27" fmla="*/ 375447 h 418264"/>
                    <a:gd name="connsiteX28" fmla="*/ 448093 w 583368"/>
                    <a:gd name="connsiteY28" fmla="*/ 358387 h 418264"/>
                    <a:gd name="connsiteX29" fmla="*/ 433124 w 583368"/>
                    <a:gd name="connsiteY29" fmla="*/ 335932 h 418264"/>
                    <a:gd name="connsiteX30" fmla="*/ 433124 w 583368"/>
                    <a:gd name="connsiteY30" fmla="*/ 322064 h 418264"/>
                    <a:gd name="connsiteX31" fmla="*/ 413862 w 583368"/>
                    <a:gd name="connsiteY31" fmla="*/ 299719 h 418264"/>
                    <a:gd name="connsiteX32" fmla="*/ 397902 w 583368"/>
                    <a:gd name="connsiteY32" fmla="*/ 287942 h 418264"/>
                    <a:gd name="connsiteX33" fmla="*/ 390417 w 583368"/>
                    <a:gd name="connsiteY33" fmla="*/ 287942 h 418264"/>
                    <a:gd name="connsiteX34" fmla="*/ 365321 w 583368"/>
                    <a:gd name="connsiteY34" fmla="*/ 257563 h 418264"/>
                    <a:gd name="connsiteX35" fmla="*/ 349361 w 583368"/>
                    <a:gd name="connsiteY35" fmla="*/ 257563 h 418264"/>
                    <a:gd name="connsiteX36" fmla="*/ 342427 w 583368"/>
                    <a:gd name="connsiteY36" fmla="*/ 243144 h 418264"/>
                    <a:gd name="connsiteX37" fmla="*/ 324815 w 583368"/>
                    <a:gd name="connsiteY37" fmla="*/ 252720 h 418264"/>
                    <a:gd name="connsiteX38" fmla="*/ 327457 w 583368"/>
                    <a:gd name="connsiteY38" fmla="*/ 255912 h 418264"/>
                    <a:gd name="connsiteX39" fmla="*/ 325366 w 583368"/>
                    <a:gd name="connsiteY39" fmla="*/ 265488 h 418264"/>
                    <a:gd name="connsiteX40" fmla="*/ 336593 w 583368"/>
                    <a:gd name="connsiteY40" fmla="*/ 278916 h 418264"/>
                    <a:gd name="connsiteX41" fmla="*/ 350461 w 583368"/>
                    <a:gd name="connsiteY41" fmla="*/ 295427 h 418264"/>
                    <a:gd name="connsiteX42" fmla="*/ 360588 w 583368"/>
                    <a:gd name="connsiteY42" fmla="*/ 313588 h 418264"/>
                    <a:gd name="connsiteX43" fmla="*/ 381942 w 583368"/>
                    <a:gd name="connsiteY43" fmla="*/ 314689 h 418264"/>
                    <a:gd name="connsiteX44" fmla="*/ 380951 w 583368"/>
                    <a:gd name="connsiteY44" fmla="*/ 318982 h 418264"/>
                    <a:gd name="connsiteX45" fmla="*/ 394820 w 583368"/>
                    <a:gd name="connsiteY45" fmla="*/ 329658 h 418264"/>
                    <a:gd name="connsiteX46" fmla="*/ 416724 w 583368"/>
                    <a:gd name="connsiteY46" fmla="*/ 350462 h 418264"/>
                    <a:gd name="connsiteX47" fmla="*/ 399663 w 583368"/>
                    <a:gd name="connsiteY47" fmla="*/ 342537 h 418264"/>
                    <a:gd name="connsiteX48" fmla="*/ 387885 w 583368"/>
                    <a:gd name="connsiteY48" fmla="*/ 351012 h 418264"/>
                    <a:gd name="connsiteX49" fmla="*/ 397461 w 583368"/>
                    <a:gd name="connsiteY49" fmla="*/ 366422 h 418264"/>
                    <a:gd name="connsiteX50" fmla="*/ 390527 w 583368"/>
                    <a:gd name="connsiteY50" fmla="*/ 369063 h 418264"/>
                    <a:gd name="connsiteX51" fmla="*/ 379300 w 583368"/>
                    <a:gd name="connsiteY51" fmla="*/ 385134 h 418264"/>
                    <a:gd name="connsiteX52" fmla="*/ 373466 w 583368"/>
                    <a:gd name="connsiteY52" fmla="*/ 381391 h 418264"/>
                    <a:gd name="connsiteX53" fmla="*/ 382492 w 583368"/>
                    <a:gd name="connsiteY53" fmla="*/ 366972 h 418264"/>
                    <a:gd name="connsiteX54" fmla="*/ 377098 w 583368"/>
                    <a:gd name="connsiteY54" fmla="*/ 352003 h 418264"/>
                    <a:gd name="connsiteX55" fmla="*/ 362129 w 583368"/>
                    <a:gd name="connsiteY55" fmla="*/ 336042 h 418264"/>
                    <a:gd name="connsiteX56" fmla="*/ 352003 w 583368"/>
                    <a:gd name="connsiteY56" fmla="*/ 330649 h 418264"/>
                    <a:gd name="connsiteX57" fmla="*/ 322724 w 583368"/>
                    <a:gd name="connsiteY57" fmla="*/ 313038 h 418264"/>
                    <a:gd name="connsiteX58" fmla="*/ 309846 w 583368"/>
                    <a:gd name="connsiteY58" fmla="*/ 303462 h 418264"/>
                    <a:gd name="connsiteX59" fmla="*/ 276825 w 583368"/>
                    <a:gd name="connsiteY59" fmla="*/ 269340 h 418264"/>
                    <a:gd name="connsiteX60" fmla="*/ 261856 w 583368"/>
                    <a:gd name="connsiteY60" fmla="*/ 278366 h 418264"/>
                    <a:gd name="connsiteX61" fmla="*/ 233017 w 583368"/>
                    <a:gd name="connsiteY61" fmla="*/ 292785 h 418264"/>
                    <a:gd name="connsiteX62" fmla="*/ 203188 w 583368"/>
                    <a:gd name="connsiteY62" fmla="*/ 286841 h 418264"/>
                    <a:gd name="connsiteX63" fmla="*/ 186678 w 583368"/>
                    <a:gd name="connsiteY63" fmla="*/ 300160 h 418264"/>
                    <a:gd name="connsiteX64" fmla="*/ 189870 w 583368"/>
                    <a:gd name="connsiteY64" fmla="*/ 311827 h 418264"/>
                    <a:gd name="connsiteX65" fmla="*/ 163783 w 583368"/>
                    <a:gd name="connsiteY65" fmla="*/ 328888 h 418264"/>
                    <a:gd name="connsiteX66" fmla="*/ 138688 w 583368"/>
                    <a:gd name="connsiteY66" fmla="*/ 364661 h 418264"/>
                    <a:gd name="connsiteX67" fmla="*/ 143971 w 583368"/>
                    <a:gd name="connsiteY67" fmla="*/ 371595 h 418264"/>
                    <a:gd name="connsiteX68" fmla="*/ 122618 w 583368"/>
                    <a:gd name="connsiteY68" fmla="*/ 394049 h 418264"/>
                    <a:gd name="connsiteX69" fmla="*/ 104456 w 583368"/>
                    <a:gd name="connsiteY69" fmla="*/ 407368 h 418264"/>
                    <a:gd name="connsiteX70" fmla="*/ 104456 w 583368"/>
                    <a:gd name="connsiteY70" fmla="*/ 407918 h 418264"/>
                    <a:gd name="connsiteX71" fmla="*/ 87946 w 583368"/>
                    <a:gd name="connsiteY71" fmla="*/ 409019 h 418264"/>
                    <a:gd name="connsiteX72" fmla="*/ 56466 w 583368"/>
                    <a:gd name="connsiteY72" fmla="*/ 419695 h 418264"/>
                    <a:gd name="connsiteX73" fmla="*/ 35662 w 583368"/>
                    <a:gd name="connsiteY73" fmla="*/ 399993 h 418264"/>
                    <a:gd name="connsiteX74" fmla="*/ 12768 w 583368"/>
                    <a:gd name="connsiteY74" fmla="*/ 403735 h 418264"/>
                    <a:gd name="connsiteX75" fmla="*/ 8475 w 583368"/>
                    <a:gd name="connsiteY75" fmla="*/ 399443 h 418264"/>
                    <a:gd name="connsiteX76" fmla="*/ 8475 w 583368"/>
                    <a:gd name="connsiteY76" fmla="*/ 378089 h 418264"/>
                    <a:gd name="connsiteX77" fmla="*/ 0 w 583368"/>
                    <a:gd name="connsiteY77" fmla="*/ 370604 h 418264"/>
                    <a:gd name="connsiteX78" fmla="*/ 5834 w 583368"/>
                    <a:gd name="connsiteY78" fmla="*/ 358387 h 418264"/>
                    <a:gd name="connsiteX79" fmla="*/ 10677 w 583368"/>
                    <a:gd name="connsiteY79" fmla="*/ 317331 h 418264"/>
                    <a:gd name="connsiteX80" fmla="*/ 4843 w 583368"/>
                    <a:gd name="connsiteY80" fmla="*/ 297078 h 418264"/>
                    <a:gd name="connsiteX81" fmla="*/ 26196 w 583368"/>
                    <a:gd name="connsiteY81" fmla="*/ 282659 h 418264"/>
                    <a:gd name="connsiteX82" fmla="*/ 34232 w 583368"/>
                    <a:gd name="connsiteY82" fmla="*/ 284750 h 418264"/>
                    <a:gd name="connsiteX83" fmla="*/ 58227 w 583368"/>
                    <a:gd name="connsiteY83" fmla="*/ 284750 h 418264"/>
                    <a:gd name="connsiteX84" fmla="*/ 67253 w 583368"/>
                    <a:gd name="connsiteY84" fmla="*/ 287942 h 418264"/>
                    <a:gd name="connsiteX85" fmla="*/ 92899 w 583368"/>
                    <a:gd name="connsiteY85" fmla="*/ 287942 h 418264"/>
                    <a:gd name="connsiteX86" fmla="*/ 107868 w 583368"/>
                    <a:gd name="connsiteY86" fmla="*/ 290033 h 418264"/>
                    <a:gd name="connsiteX87" fmla="*/ 121187 w 583368"/>
                    <a:gd name="connsiteY87" fmla="*/ 287392 h 418264"/>
                    <a:gd name="connsiteX88" fmla="*/ 128121 w 583368"/>
                    <a:gd name="connsiteY88" fmla="*/ 263397 h 418264"/>
                    <a:gd name="connsiteX89" fmla="*/ 127571 w 583368"/>
                    <a:gd name="connsiteY89" fmla="*/ 248647 h 418264"/>
                    <a:gd name="connsiteX90" fmla="*/ 126470 w 583368"/>
                    <a:gd name="connsiteY90" fmla="*/ 249418 h 418264"/>
                    <a:gd name="connsiteX91" fmla="*/ 128671 w 583368"/>
                    <a:gd name="connsiteY91" fmla="*/ 241493 h 418264"/>
                    <a:gd name="connsiteX92" fmla="*/ 125479 w 583368"/>
                    <a:gd name="connsiteY92" fmla="*/ 233458 h 418264"/>
                    <a:gd name="connsiteX93" fmla="*/ 111611 w 583368"/>
                    <a:gd name="connsiteY93" fmla="*/ 215406 h 418264"/>
                    <a:gd name="connsiteX94" fmla="*/ 105227 w 583368"/>
                    <a:gd name="connsiteY94" fmla="*/ 211664 h 418264"/>
                    <a:gd name="connsiteX95" fmla="*/ 73306 w 583368"/>
                    <a:gd name="connsiteY95" fmla="*/ 196694 h 418264"/>
                    <a:gd name="connsiteX96" fmla="*/ 72756 w 583368"/>
                    <a:gd name="connsiteY96" fmla="*/ 194603 h 418264"/>
                    <a:gd name="connsiteX97" fmla="*/ 93009 w 583368"/>
                    <a:gd name="connsiteY97" fmla="*/ 185027 h 418264"/>
                    <a:gd name="connsiteX98" fmla="*/ 107428 w 583368"/>
                    <a:gd name="connsiteY98" fmla="*/ 190310 h 418264"/>
                    <a:gd name="connsiteX99" fmla="*/ 119756 w 583368"/>
                    <a:gd name="connsiteY99" fmla="*/ 187669 h 418264"/>
                    <a:gd name="connsiteX100" fmla="*/ 119756 w 583368"/>
                    <a:gd name="connsiteY100" fmla="*/ 184036 h 418264"/>
                    <a:gd name="connsiteX101" fmla="*/ 117114 w 583368"/>
                    <a:gd name="connsiteY101" fmla="*/ 173360 h 418264"/>
                    <a:gd name="connsiteX102" fmla="*/ 117114 w 583368"/>
                    <a:gd name="connsiteY102" fmla="*/ 169067 h 418264"/>
                    <a:gd name="connsiteX103" fmla="*/ 122397 w 583368"/>
                    <a:gd name="connsiteY103" fmla="*/ 169067 h 418264"/>
                    <a:gd name="connsiteX104" fmla="*/ 138357 w 583368"/>
                    <a:gd name="connsiteY104" fmla="*/ 176001 h 418264"/>
                    <a:gd name="connsiteX105" fmla="*/ 147383 w 583368"/>
                    <a:gd name="connsiteY105" fmla="*/ 167966 h 418264"/>
                    <a:gd name="connsiteX106" fmla="*/ 170938 w 583368"/>
                    <a:gd name="connsiteY106" fmla="*/ 143421 h 418264"/>
                    <a:gd name="connsiteX107" fmla="*/ 178423 w 583368"/>
                    <a:gd name="connsiteY107" fmla="*/ 142320 h 418264"/>
                    <a:gd name="connsiteX108" fmla="*/ 205060 w 583368"/>
                    <a:gd name="connsiteY108" fmla="*/ 130653 h 418264"/>
                    <a:gd name="connsiteX109" fmla="*/ 207701 w 583368"/>
                    <a:gd name="connsiteY109" fmla="*/ 113592 h 418264"/>
                    <a:gd name="connsiteX110" fmla="*/ 212985 w 583368"/>
                    <a:gd name="connsiteY110" fmla="*/ 107758 h 418264"/>
                    <a:gd name="connsiteX111" fmla="*/ 240172 w 583368"/>
                    <a:gd name="connsiteY111" fmla="*/ 91798 h 418264"/>
                    <a:gd name="connsiteX112" fmla="*/ 247657 w 583368"/>
                    <a:gd name="connsiteY112" fmla="*/ 91798 h 418264"/>
                    <a:gd name="connsiteX113" fmla="*/ 251949 w 583368"/>
                    <a:gd name="connsiteY113" fmla="*/ 88056 h 418264"/>
                    <a:gd name="connsiteX114" fmla="*/ 265268 w 583368"/>
                    <a:gd name="connsiteY114" fmla="*/ 87505 h 418264"/>
                    <a:gd name="connsiteX115" fmla="*/ 277045 w 583368"/>
                    <a:gd name="connsiteY115" fmla="*/ 78480 h 418264"/>
                    <a:gd name="connsiteX116" fmla="*/ 273303 w 583368"/>
                    <a:gd name="connsiteY116" fmla="*/ 65051 h 418264"/>
                    <a:gd name="connsiteX117" fmla="*/ 262626 w 583368"/>
                    <a:gd name="connsiteY117" fmla="*/ 33571 h 418264"/>
                    <a:gd name="connsiteX118" fmla="*/ 296748 w 583368"/>
                    <a:gd name="connsiteY118" fmla="*/ 0 h 418264"/>
                    <a:gd name="connsiteX119" fmla="*/ 296748 w 583368"/>
                    <a:gd name="connsiteY119" fmla="*/ 6384 h 418264"/>
                    <a:gd name="connsiteX120" fmla="*/ 293556 w 583368"/>
                    <a:gd name="connsiteY120" fmla="*/ 20253 h 418264"/>
                    <a:gd name="connsiteX121" fmla="*/ 303682 w 583368"/>
                    <a:gd name="connsiteY121" fmla="*/ 26086 h 418264"/>
                    <a:gd name="connsiteX122" fmla="*/ 303682 w 583368"/>
                    <a:gd name="connsiteY122" fmla="*/ 30379 h 418264"/>
                    <a:gd name="connsiteX123" fmla="*/ 297298 w 583368"/>
                    <a:gd name="connsiteY123" fmla="*/ 35773 h 418264"/>
                    <a:gd name="connsiteX124" fmla="*/ 285520 w 583368"/>
                    <a:gd name="connsiteY124" fmla="*/ 55475 h 418264"/>
                    <a:gd name="connsiteX125" fmla="*/ 291354 w 583368"/>
                    <a:gd name="connsiteY125" fmla="*/ 65051 h 418264"/>
                    <a:gd name="connsiteX126" fmla="*/ 291354 w 583368"/>
                    <a:gd name="connsiteY126" fmla="*/ 70885 h 418264"/>
                    <a:gd name="connsiteX127" fmla="*/ 304232 w 583368"/>
                    <a:gd name="connsiteY127" fmla="*/ 73086 h 418264"/>
                    <a:gd name="connsiteX128" fmla="*/ 307975 w 583368"/>
                    <a:gd name="connsiteY128" fmla="*/ 79470 h 418264"/>
                    <a:gd name="connsiteX129" fmla="*/ 344738 w 583368"/>
                    <a:gd name="connsiteY129" fmla="*/ 68794 h 418264"/>
                    <a:gd name="connsiteX130" fmla="*/ 341546 w 583368"/>
                    <a:gd name="connsiteY130" fmla="*/ 74627 h 418264"/>
                    <a:gd name="connsiteX131" fmla="*/ 350572 w 583368"/>
                    <a:gd name="connsiteY131" fmla="*/ 82112 h 418264"/>
                    <a:gd name="connsiteX132" fmla="*/ 359708 w 583368"/>
                    <a:gd name="connsiteY132" fmla="*/ 77379 h 418264"/>
                    <a:gd name="connsiteX133" fmla="*/ 383703 w 583368"/>
                    <a:gd name="connsiteY133" fmla="*/ 70885 h 418264"/>
                    <a:gd name="connsiteX134" fmla="*/ 403405 w 583368"/>
                    <a:gd name="connsiteY134" fmla="*/ 60758 h 418264"/>
                    <a:gd name="connsiteX135" fmla="*/ 421567 w 583368"/>
                    <a:gd name="connsiteY135" fmla="*/ 62960 h 418264"/>
                    <a:gd name="connsiteX136" fmla="*/ 419365 w 583368"/>
                    <a:gd name="connsiteY136" fmla="*/ 68794 h 418264"/>
                    <a:gd name="connsiteX137" fmla="*/ 457669 w 583368"/>
                    <a:gd name="connsiteY137" fmla="*/ 66152 h 418264"/>
                    <a:gd name="connsiteX138" fmla="*/ 485077 w 583368"/>
                    <a:gd name="connsiteY138" fmla="*/ 65381 h 418264"/>
                    <a:gd name="connsiteX139" fmla="*/ 501587 w 583368"/>
                    <a:gd name="connsiteY139" fmla="*/ 97081 h 418264"/>
                    <a:gd name="connsiteX140" fmla="*/ 494102 w 583368"/>
                    <a:gd name="connsiteY140" fmla="*/ 114693 h 418264"/>
                    <a:gd name="connsiteX141" fmla="*/ 504229 w 583368"/>
                    <a:gd name="connsiteY141" fmla="*/ 142980 h 418264"/>
                    <a:gd name="connsiteX142" fmla="*/ 492011 w 583368"/>
                    <a:gd name="connsiteY142" fmla="*/ 154648 h 418264"/>
                    <a:gd name="connsiteX143" fmla="*/ 483426 w 583368"/>
                    <a:gd name="connsiteY143" fmla="*/ 185577 h 418264"/>
                    <a:gd name="connsiteX144" fmla="*/ 506320 w 583368"/>
                    <a:gd name="connsiteY144" fmla="*/ 197355 h 418264"/>
                    <a:gd name="connsiteX145" fmla="*/ 544294 w 583368"/>
                    <a:gd name="connsiteY145" fmla="*/ 190420 h 418264"/>
                    <a:gd name="connsiteX146" fmla="*/ 568840 w 583368"/>
                    <a:gd name="connsiteY146" fmla="*/ 218158 h 418264"/>
                    <a:gd name="connsiteX147" fmla="*/ 568840 w 583368"/>
                    <a:gd name="connsiteY147" fmla="*/ 240062 h 418264"/>
                    <a:gd name="connsiteX148" fmla="*/ 571481 w 583368"/>
                    <a:gd name="connsiteY148" fmla="*/ 243804 h 418264"/>
                    <a:gd name="connsiteX149" fmla="*/ 574123 w 583368"/>
                    <a:gd name="connsiteY149" fmla="*/ 246996 h 418264"/>
                    <a:gd name="connsiteX150" fmla="*/ 586891 w 583368"/>
                    <a:gd name="connsiteY150" fmla="*/ 243804 h 418264"/>
                    <a:gd name="connsiteX151" fmla="*/ 587442 w 583368"/>
                    <a:gd name="connsiteY151" fmla="*/ 251839 h 418264"/>
                    <a:gd name="connsiteX152" fmla="*/ 576214 w 583368"/>
                    <a:gd name="connsiteY152" fmla="*/ 260755 h 418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</a:cxnLst>
                  <a:rect l="l" t="t" r="r" b="b"/>
                  <a:pathLst>
                    <a:path w="583368" h="418264">
                      <a:moveTo>
                        <a:pt x="576214" y="260755"/>
                      </a:moveTo>
                      <a:cubicBezTo>
                        <a:pt x="574233" y="269450"/>
                        <a:pt x="574453" y="265158"/>
                        <a:pt x="572912" y="268350"/>
                      </a:cubicBezTo>
                      <a:lnTo>
                        <a:pt x="572912" y="282218"/>
                      </a:lnTo>
                      <a:cubicBezTo>
                        <a:pt x="567629" y="287612"/>
                        <a:pt x="557943" y="298179"/>
                        <a:pt x="557943" y="305663"/>
                      </a:cubicBezTo>
                      <a:cubicBezTo>
                        <a:pt x="557943" y="316340"/>
                        <a:pt x="572252" y="323825"/>
                        <a:pt x="575554" y="328558"/>
                      </a:cubicBezTo>
                      <a:cubicBezTo>
                        <a:pt x="573352" y="330649"/>
                        <a:pt x="571261" y="330209"/>
                        <a:pt x="568619" y="330649"/>
                      </a:cubicBezTo>
                      <a:cubicBezTo>
                        <a:pt x="563776" y="332300"/>
                        <a:pt x="560144" y="330099"/>
                        <a:pt x="555301" y="332300"/>
                      </a:cubicBezTo>
                      <a:cubicBezTo>
                        <a:pt x="548367" y="335492"/>
                        <a:pt x="546826" y="342426"/>
                        <a:pt x="539891" y="342426"/>
                      </a:cubicBezTo>
                      <a:cubicBezTo>
                        <a:pt x="531856" y="342426"/>
                        <a:pt x="527013" y="331750"/>
                        <a:pt x="517547" y="331750"/>
                      </a:cubicBezTo>
                      <a:cubicBezTo>
                        <a:pt x="508962" y="331750"/>
                        <a:pt x="506871" y="336593"/>
                        <a:pt x="499936" y="338684"/>
                      </a:cubicBezTo>
                      <a:cubicBezTo>
                        <a:pt x="501037" y="342977"/>
                        <a:pt x="501037" y="346169"/>
                        <a:pt x="499936" y="350351"/>
                      </a:cubicBezTo>
                      <a:cubicBezTo>
                        <a:pt x="491901" y="350351"/>
                        <a:pt x="490910" y="342426"/>
                        <a:pt x="486067" y="342426"/>
                      </a:cubicBezTo>
                      <a:cubicBezTo>
                        <a:pt x="483316" y="342426"/>
                        <a:pt x="480234" y="345618"/>
                        <a:pt x="480234" y="348260"/>
                      </a:cubicBezTo>
                      <a:lnTo>
                        <a:pt x="490360" y="359928"/>
                      </a:lnTo>
                      <a:cubicBezTo>
                        <a:pt x="489810" y="363120"/>
                        <a:pt x="488159" y="364771"/>
                        <a:pt x="488159" y="366312"/>
                      </a:cubicBezTo>
                      <a:cubicBezTo>
                        <a:pt x="488159" y="367963"/>
                        <a:pt x="502578" y="381281"/>
                        <a:pt x="506871" y="381281"/>
                      </a:cubicBezTo>
                      <a:cubicBezTo>
                        <a:pt x="506871" y="382932"/>
                        <a:pt x="507971" y="385023"/>
                        <a:pt x="508962" y="386124"/>
                      </a:cubicBezTo>
                      <a:cubicBezTo>
                        <a:pt x="506320" y="387665"/>
                        <a:pt x="501037" y="385574"/>
                        <a:pt x="499936" y="389316"/>
                      </a:cubicBezTo>
                      <a:lnTo>
                        <a:pt x="498835" y="389316"/>
                      </a:lnTo>
                      <a:cubicBezTo>
                        <a:pt x="493002" y="388215"/>
                        <a:pt x="487718" y="383923"/>
                        <a:pt x="484966" y="381281"/>
                      </a:cubicBezTo>
                      <a:lnTo>
                        <a:pt x="484966" y="385574"/>
                      </a:lnTo>
                      <a:cubicBezTo>
                        <a:pt x="486508" y="388876"/>
                        <a:pt x="488159" y="390417"/>
                        <a:pt x="488159" y="394710"/>
                      </a:cubicBezTo>
                      <a:cubicBezTo>
                        <a:pt x="488159" y="397902"/>
                        <a:pt x="482875" y="404286"/>
                        <a:pt x="488159" y="406927"/>
                      </a:cubicBezTo>
                      <a:lnTo>
                        <a:pt x="480784" y="406927"/>
                      </a:lnTo>
                      <a:cubicBezTo>
                        <a:pt x="472199" y="406927"/>
                        <a:pt x="464714" y="398342"/>
                        <a:pt x="464714" y="389316"/>
                      </a:cubicBezTo>
                      <a:cubicBezTo>
                        <a:pt x="464714" y="385574"/>
                        <a:pt x="470107" y="383923"/>
                        <a:pt x="471648" y="381281"/>
                      </a:cubicBezTo>
                      <a:lnTo>
                        <a:pt x="462513" y="381281"/>
                      </a:lnTo>
                      <a:cubicBezTo>
                        <a:pt x="460421" y="381281"/>
                        <a:pt x="459320" y="376548"/>
                        <a:pt x="459320" y="375447"/>
                      </a:cubicBezTo>
                      <a:cubicBezTo>
                        <a:pt x="457119" y="367963"/>
                        <a:pt x="452937" y="363120"/>
                        <a:pt x="448093" y="358387"/>
                      </a:cubicBezTo>
                      <a:cubicBezTo>
                        <a:pt x="441709" y="352003"/>
                        <a:pt x="433124" y="347159"/>
                        <a:pt x="433124" y="335932"/>
                      </a:cubicBezTo>
                      <a:lnTo>
                        <a:pt x="433124" y="322064"/>
                      </a:lnTo>
                      <a:cubicBezTo>
                        <a:pt x="433124" y="314579"/>
                        <a:pt x="421346" y="303352"/>
                        <a:pt x="413862" y="299719"/>
                      </a:cubicBezTo>
                      <a:cubicBezTo>
                        <a:pt x="406377" y="295977"/>
                        <a:pt x="397902" y="295427"/>
                        <a:pt x="397902" y="287942"/>
                      </a:cubicBezTo>
                      <a:lnTo>
                        <a:pt x="390417" y="287942"/>
                      </a:lnTo>
                      <a:cubicBezTo>
                        <a:pt x="378640" y="287942"/>
                        <a:pt x="365321" y="269781"/>
                        <a:pt x="365321" y="257563"/>
                      </a:cubicBezTo>
                      <a:lnTo>
                        <a:pt x="349361" y="257563"/>
                      </a:lnTo>
                      <a:cubicBezTo>
                        <a:pt x="342427" y="257563"/>
                        <a:pt x="345619" y="246336"/>
                        <a:pt x="342427" y="243144"/>
                      </a:cubicBezTo>
                      <a:cubicBezTo>
                        <a:pt x="336593" y="246886"/>
                        <a:pt x="324815" y="246886"/>
                        <a:pt x="324815" y="252720"/>
                      </a:cubicBezTo>
                      <a:cubicBezTo>
                        <a:pt x="324815" y="253820"/>
                        <a:pt x="326356" y="255912"/>
                        <a:pt x="327457" y="255912"/>
                      </a:cubicBezTo>
                      <a:cubicBezTo>
                        <a:pt x="326356" y="259104"/>
                        <a:pt x="325366" y="262296"/>
                        <a:pt x="325366" y="265488"/>
                      </a:cubicBezTo>
                      <a:cubicBezTo>
                        <a:pt x="325366" y="273523"/>
                        <a:pt x="330099" y="276715"/>
                        <a:pt x="336593" y="278916"/>
                      </a:cubicBezTo>
                      <a:cubicBezTo>
                        <a:pt x="344628" y="281558"/>
                        <a:pt x="348810" y="290584"/>
                        <a:pt x="350461" y="295427"/>
                      </a:cubicBezTo>
                      <a:cubicBezTo>
                        <a:pt x="352553" y="302912"/>
                        <a:pt x="356295" y="311387"/>
                        <a:pt x="360588" y="313588"/>
                      </a:cubicBezTo>
                      <a:cubicBezTo>
                        <a:pt x="368513" y="317331"/>
                        <a:pt x="373906" y="314689"/>
                        <a:pt x="381942" y="314689"/>
                      </a:cubicBezTo>
                      <a:cubicBezTo>
                        <a:pt x="381942" y="316340"/>
                        <a:pt x="381942" y="317881"/>
                        <a:pt x="380951" y="318982"/>
                      </a:cubicBezTo>
                      <a:cubicBezTo>
                        <a:pt x="378860" y="325366"/>
                        <a:pt x="391628" y="328117"/>
                        <a:pt x="394820" y="329658"/>
                      </a:cubicBezTo>
                      <a:cubicBezTo>
                        <a:pt x="405496" y="334942"/>
                        <a:pt x="418264" y="339235"/>
                        <a:pt x="416724" y="350462"/>
                      </a:cubicBezTo>
                      <a:cubicBezTo>
                        <a:pt x="411330" y="349471"/>
                        <a:pt x="408248" y="342537"/>
                        <a:pt x="399663" y="342537"/>
                      </a:cubicBezTo>
                      <a:cubicBezTo>
                        <a:pt x="393279" y="342537"/>
                        <a:pt x="387885" y="345729"/>
                        <a:pt x="387885" y="351012"/>
                      </a:cubicBezTo>
                      <a:cubicBezTo>
                        <a:pt x="387885" y="357946"/>
                        <a:pt x="397461" y="359597"/>
                        <a:pt x="397461" y="366422"/>
                      </a:cubicBezTo>
                      <a:cubicBezTo>
                        <a:pt x="397461" y="369063"/>
                        <a:pt x="390527" y="369063"/>
                        <a:pt x="390527" y="369063"/>
                      </a:cubicBezTo>
                      <a:cubicBezTo>
                        <a:pt x="385794" y="373906"/>
                        <a:pt x="386785" y="385134"/>
                        <a:pt x="379300" y="385134"/>
                      </a:cubicBezTo>
                      <a:cubicBezTo>
                        <a:pt x="375558" y="385134"/>
                        <a:pt x="373466" y="383482"/>
                        <a:pt x="373466" y="381391"/>
                      </a:cubicBezTo>
                      <a:cubicBezTo>
                        <a:pt x="379850" y="381391"/>
                        <a:pt x="382492" y="373466"/>
                        <a:pt x="382492" y="366972"/>
                      </a:cubicBezTo>
                      <a:cubicBezTo>
                        <a:pt x="382492" y="358937"/>
                        <a:pt x="378199" y="356846"/>
                        <a:pt x="377098" y="352003"/>
                      </a:cubicBezTo>
                      <a:cubicBezTo>
                        <a:pt x="375558" y="352003"/>
                        <a:pt x="362790" y="339345"/>
                        <a:pt x="362129" y="336042"/>
                      </a:cubicBezTo>
                      <a:cubicBezTo>
                        <a:pt x="360038" y="336042"/>
                        <a:pt x="352003" y="333841"/>
                        <a:pt x="352003" y="330649"/>
                      </a:cubicBezTo>
                      <a:cubicBezTo>
                        <a:pt x="335492" y="326907"/>
                        <a:pt x="331750" y="322064"/>
                        <a:pt x="322724" y="313038"/>
                      </a:cubicBezTo>
                      <a:cubicBezTo>
                        <a:pt x="318982" y="309296"/>
                        <a:pt x="310946" y="307204"/>
                        <a:pt x="309846" y="303462"/>
                      </a:cubicBezTo>
                      <a:cubicBezTo>
                        <a:pt x="300270" y="291134"/>
                        <a:pt x="297078" y="269340"/>
                        <a:pt x="276825" y="269340"/>
                      </a:cubicBezTo>
                      <a:cubicBezTo>
                        <a:pt x="267249" y="269340"/>
                        <a:pt x="266699" y="276275"/>
                        <a:pt x="261856" y="278366"/>
                      </a:cubicBezTo>
                      <a:cubicBezTo>
                        <a:pt x="251729" y="283099"/>
                        <a:pt x="244795" y="292785"/>
                        <a:pt x="233017" y="292785"/>
                      </a:cubicBezTo>
                      <a:cubicBezTo>
                        <a:pt x="221240" y="292785"/>
                        <a:pt x="213865" y="286841"/>
                        <a:pt x="203188" y="286841"/>
                      </a:cubicBezTo>
                      <a:cubicBezTo>
                        <a:pt x="195153" y="286841"/>
                        <a:pt x="186678" y="292235"/>
                        <a:pt x="186678" y="300160"/>
                      </a:cubicBezTo>
                      <a:lnTo>
                        <a:pt x="189870" y="311827"/>
                      </a:lnTo>
                      <a:cubicBezTo>
                        <a:pt x="186678" y="322504"/>
                        <a:pt x="175011" y="326246"/>
                        <a:pt x="163783" y="328888"/>
                      </a:cubicBezTo>
                      <a:cubicBezTo>
                        <a:pt x="154097" y="331089"/>
                        <a:pt x="138688" y="352883"/>
                        <a:pt x="138688" y="364661"/>
                      </a:cubicBezTo>
                      <a:cubicBezTo>
                        <a:pt x="138688" y="368953"/>
                        <a:pt x="141329" y="370494"/>
                        <a:pt x="143971" y="371595"/>
                      </a:cubicBezTo>
                      <a:cubicBezTo>
                        <a:pt x="137037" y="382272"/>
                        <a:pt x="133845" y="388766"/>
                        <a:pt x="122618" y="394049"/>
                      </a:cubicBezTo>
                      <a:cubicBezTo>
                        <a:pt x="116233" y="397241"/>
                        <a:pt x="115133" y="410560"/>
                        <a:pt x="104456" y="407368"/>
                      </a:cubicBezTo>
                      <a:lnTo>
                        <a:pt x="104456" y="407918"/>
                      </a:lnTo>
                      <a:cubicBezTo>
                        <a:pt x="99613" y="406377"/>
                        <a:pt x="90587" y="409019"/>
                        <a:pt x="87946" y="409019"/>
                      </a:cubicBezTo>
                      <a:cubicBezTo>
                        <a:pt x="75178" y="409019"/>
                        <a:pt x="68133" y="419695"/>
                        <a:pt x="56466" y="419695"/>
                      </a:cubicBezTo>
                      <a:cubicBezTo>
                        <a:pt x="48431" y="419695"/>
                        <a:pt x="47880" y="399993"/>
                        <a:pt x="35662" y="399993"/>
                      </a:cubicBezTo>
                      <a:cubicBezTo>
                        <a:pt x="26637" y="399993"/>
                        <a:pt x="20693" y="403735"/>
                        <a:pt x="12768" y="403735"/>
                      </a:cubicBezTo>
                      <a:cubicBezTo>
                        <a:pt x="9576" y="403735"/>
                        <a:pt x="8475" y="401094"/>
                        <a:pt x="8475" y="399443"/>
                      </a:cubicBezTo>
                      <a:lnTo>
                        <a:pt x="8475" y="378089"/>
                      </a:lnTo>
                      <a:cubicBezTo>
                        <a:pt x="4183" y="378089"/>
                        <a:pt x="0" y="374897"/>
                        <a:pt x="0" y="370604"/>
                      </a:cubicBezTo>
                      <a:cubicBezTo>
                        <a:pt x="0" y="363670"/>
                        <a:pt x="5834" y="362129"/>
                        <a:pt x="5834" y="358387"/>
                      </a:cubicBezTo>
                      <a:cubicBezTo>
                        <a:pt x="5834" y="344958"/>
                        <a:pt x="10677" y="331199"/>
                        <a:pt x="10677" y="317331"/>
                      </a:cubicBezTo>
                      <a:cubicBezTo>
                        <a:pt x="10677" y="309296"/>
                        <a:pt x="4843" y="301811"/>
                        <a:pt x="4843" y="297078"/>
                      </a:cubicBezTo>
                      <a:cubicBezTo>
                        <a:pt x="4843" y="293886"/>
                        <a:pt x="23005" y="282659"/>
                        <a:pt x="26196" y="282659"/>
                      </a:cubicBezTo>
                      <a:cubicBezTo>
                        <a:pt x="28398" y="282659"/>
                        <a:pt x="31040" y="285851"/>
                        <a:pt x="34232" y="284750"/>
                      </a:cubicBezTo>
                      <a:lnTo>
                        <a:pt x="58227" y="284750"/>
                      </a:lnTo>
                      <a:cubicBezTo>
                        <a:pt x="60428" y="286841"/>
                        <a:pt x="64611" y="287392"/>
                        <a:pt x="67253" y="287942"/>
                      </a:cubicBezTo>
                      <a:lnTo>
                        <a:pt x="92899" y="287942"/>
                      </a:lnTo>
                      <a:cubicBezTo>
                        <a:pt x="99283" y="286291"/>
                        <a:pt x="102475" y="290033"/>
                        <a:pt x="107868" y="290033"/>
                      </a:cubicBezTo>
                      <a:cubicBezTo>
                        <a:pt x="111611" y="290033"/>
                        <a:pt x="119646" y="287392"/>
                        <a:pt x="121187" y="287392"/>
                      </a:cubicBezTo>
                      <a:cubicBezTo>
                        <a:pt x="121187" y="276715"/>
                        <a:pt x="128121" y="273523"/>
                        <a:pt x="128121" y="263397"/>
                      </a:cubicBezTo>
                      <a:cubicBezTo>
                        <a:pt x="128121" y="261195"/>
                        <a:pt x="127571" y="251839"/>
                        <a:pt x="127571" y="248647"/>
                      </a:cubicBezTo>
                      <a:lnTo>
                        <a:pt x="126470" y="249418"/>
                      </a:lnTo>
                      <a:cubicBezTo>
                        <a:pt x="127571" y="247326"/>
                        <a:pt x="128671" y="243584"/>
                        <a:pt x="128671" y="241493"/>
                      </a:cubicBezTo>
                      <a:cubicBezTo>
                        <a:pt x="128671" y="236650"/>
                        <a:pt x="125479" y="237750"/>
                        <a:pt x="125479" y="233458"/>
                      </a:cubicBezTo>
                      <a:cubicBezTo>
                        <a:pt x="114803" y="233458"/>
                        <a:pt x="111611" y="223882"/>
                        <a:pt x="111611" y="215406"/>
                      </a:cubicBezTo>
                      <a:cubicBezTo>
                        <a:pt x="108418" y="214856"/>
                        <a:pt x="107868" y="212214"/>
                        <a:pt x="105227" y="211664"/>
                      </a:cubicBezTo>
                      <a:cubicBezTo>
                        <a:pt x="96641" y="209022"/>
                        <a:pt x="73306" y="204729"/>
                        <a:pt x="73306" y="196694"/>
                      </a:cubicBezTo>
                      <a:cubicBezTo>
                        <a:pt x="72756" y="196694"/>
                        <a:pt x="72756" y="195043"/>
                        <a:pt x="72756" y="194603"/>
                      </a:cubicBezTo>
                      <a:cubicBezTo>
                        <a:pt x="72756" y="189760"/>
                        <a:pt x="87615" y="186568"/>
                        <a:pt x="93009" y="185027"/>
                      </a:cubicBezTo>
                      <a:cubicBezTo>
                        <a:pt x="94550" y="188219"/>
                        <a:pt x="103135" y="190310"/>
                        <a:pt x="107428" y="190310"/>
                      </a:cubicBezTo>
                      <a:cubicBezTo>
                        <a:pt x="111611" y="190310"/>
                        <a:pt x="117554" y="188219"/>
                        <a:pt x="119756" y="187669"/>
                      </a:cubicBezTo>
                      <a:lnTo>
                        <a:pt x="119756" y="184036"/>
                      </a:lnTo>
                      <a:cubicBezTo>
                        <a:pt x="116013" y="182936"/>
                        <a:pt x="117554" y="175011"/>
                        <a:pt x="117114" y="173360"/>
                      </a:cubicBezTo>
                      <a:lnTo>
                        <a:pt x="117114" y="169067"/>
                      </a:lnTo>
                      <a:lnTo>
                        <a:pt x="122397" y="169067"/>
                      </a:lnTo>
                      <a:cubicBezTo>
                        <a:pt x="126690" y="173360"/>
                        <a:pt x="131973" y="176001"/>
                        <a:pt x="138357" y="176001"/>
                      </a:cubicBezTo>
                      <a:cubicBezTo>
                        <a:pt x="142650" y="176001"/>
                        <a:pt x="146393" y="172259"/>
                        <a:pt x="147383" y="167966"/>
                      </a:cubicBezTo>
                      <a:cubicBezTo>
                        <a:pt x="163453" y="167966"/>
                        <a:pt x="167636" y="156189"/>
                        <a:pt x="170938" y="143421"/>
                      </a:cubicBezTo>
                      <a:cubicBezTo>
                        <a:pt x="174130" y="143421"/>
                        <a:pt x="175671" y="142870"/>
                        <a:pt x="178423" y="142320"/>
                      </a:cubicBezTo>
                      <a:cubicBezTo>
                        <a:pt x="181615" y="141329"/>
                        <a:pt x="202968" y="132744"/>
                        <a:pt x="205060" y="130653"/>
                      </a:cubicBezTo>
                      <a:cubicBezTo>
                        <a:pt x="209352" y="126360"/>
                        <a:pt x="207701" y="119976"/>
                        <a:pt x="207701" y="113592"/>
                      </a:cubicBezTo>
                      <a:cubicBezTo>
                        <a:pt x="207701" y="111390"/>
                        <a:pt x="212434" y="108198"/>
                        <a:pt x="212985" y="107758"/>
                      </a:cubicBezTo>
                      <a:cubicBezTo>
                        <a:pt x="220469" y="100273"/>
                        <a:pt x="227954" y="91798"/>
                        <a:pt x="240172" y="91798"/>
                      </a:cubicBezTo>
                      <a:cubicBezTo>
                        <a:pt x="247106" y="91798"/>
                        <a:pt x="243914" y="93449"/>
                        <a:pt x="247657" y="91798"/>
                      </a:cubicBezTo>
                      <a:cubicBezTo>
                        <a:pt x="249308" y="93449"/>
                        <a:pt x="250849" y="89156"/>
                        <a:pt x="251949" y="88056"/>
                      </a:cubicBezTo>
                      <a:cubicBezTo>
                        <a:pt x="255692" y="84313"/>
                        <a:pt x="260535" y="87505"/>
                        <a:pt x="265268" y="87505"/>
                      </a:cubicBezTo>
                      <a:cubicBezTo>
                        <a:pt x="268460" y="87505"/>
                        <a:pt x="277045" y="82772"/>
                        <a:pt x="277045" y="78480"/>
                      </a:cubicBezTo>
                      <a:cubicBezTo>
                        <a:pt x="277045" y="75838"/>
                        <a:pt x="273303" y="65601"/>
                        <a:pt x="273303" y="65051"/>
                      </a:cubicBezTo>
                      <a:cubicBezTo>
                        <a:pt x="271212" y="50632"/>
                        <a:pt x="262626" y="46339"/>
                        <a:pt x="262626" y="33571"/>
                      </a:cubicBezTo>
                      <a:cubicBezTo>
                        <a:pt x="262626" y="11117"/>
                        <a:pt x="283429" y="9576"/>
                        <a:pt x="296748" y="0"/>
                      </a:cubicBezTo>
                      <a:lnTo>
                        <a:pt x="296748" y="6384"/>
                      </a:lnTo>
                      <a:cubicBezTo>
                        <a:pt x="294106" y="11777"/>
                        <a:pt x="293556" y="14969"/>
                        <a:pt x="293556" y="20253"/>
                      </a:cubicBezTo>
                      <a:cubicBezTo>
                        <a:pt x="293556" y="25646"/>
                        <a:pt x="299389" y="26086"/>
                        <a:pt x="303682" y="26086"/>
                      </a:cubicBezTo>
                      <a:lnTo>
                        <a:pt x="303682" y="30379"/>
                      </a:lnTo>
                      <a:cubicBezTo>
                        <a:pt x="303682" y="33021"/>
                        <a:pt x="298949" y="34122"/>
                        <a:pt x="297298" y="35773"/>
                      </a:cubicBezTo>
                      <a:cubicBezTo>
                        <a:pt x="292014" y="41056"/>
                        <a:pt x="285520" y="45899"/>
                        <a:pt x="285520" y="55475"/>
                      </a:cubicBezTo>
                      <a:cubicBezTo>
                        <a:pt x="285520" y="60758"/>
                        <a:pt x="288162" y="64501"/>
                        <a:pt x="291354" y="65051"/>
                      </a:cubicBezTo>
                      <a:cubicBezTo>
                        <a:pt x="291354" y="68243"/>
                        <a:pt x="291905" y="69344"/>
                        <a:pt x="291354" y="70885"/>
                      </a:cubicBezTo>
                      <a:cubicBezTo>
                        <a:pt x="297298" y="70885"/>
                        <a:pt x="299389" y="73086"/>
                        <a:pt x="304232" y="73086"/>
                      </a:cubicBezTo>
                      <a:cubicBezTo>
                        <a:pt x="305333" y="75728"/>
                        <a:pt x="306434" y="79470"/>
                        <a:pt x="307975" y="79470"/>
                      </a:cubicBezTo>
                      <a:cubicBezTo>
                        <a:pt x="322394" y="79470"/>
                        <a:pt x="332520" y="67252"/>
                        <a:pt x="344738" y="68794"/>
                      </a:cubicBezTo>
                      <a:cubicBezTo>
                        <a:pt x="344188" y="71435"/>
                        <a:pt x="341546" y="73086"/>
                        <a:pt x="341546" y="74627"/>
                      </a:cubicBezTo>
                      <a:cubicBezTo>
                        <a:pt x="341546" y="75728"/>
                        <a:pt x="350572" y="82112"/>
                        <a:pt x="350572" y="82112"/>
                      </a:cubicBezTo>
                      <a:cubicBezTo>
                        <a:pt x="356405" y="82112"/>
                        <a:pt x="356956" y="78370"/>
                        <a:pt x="359708" y="77379"/>
                      </a:cubicBezTo>
                      <a:cubicBezTo>
                        <a:pt x="368733" y="73086"/>
                        <a:pt x="375667" y="74737"/>
                        <a:pt x="383703" y="70885"/>
                      </a:cubicBezTo>
                      <a:cubicBezTo>
                        <a:pt x="388546" y="68794"/>
                        <a:pt x="397021" y="60758"/>
                        <a:pt x="403405" y="60758"/>
                      </a:cubicBezTo>
                      <a:cubicBezTo>
                        <a:pt x="410339" y="60758"/>
                        <a:pt x="417824" y="61309"/>
                        <a:pt x="421567" y="62960"/>
                      </a:cubicBezTo>
                      <a:cubicBezTo>
                        <a:pt x="420466" y="65051"/>
                        <a:pt x="419365" y="67803"/>
                        <a:pt x="419365" y="68794"/>
                      </a:cubicBezTo>
                      <a:cubicBezTo>
                        <a:pt x="433234" y="68794"/>
                        <a:pt x="447543" y="66152"/>
                        <a:pt x="457669" y="66152"/>
                      </a:cubicBezTo>
                      <a:cubicBezTo>
                        <a:pt x="467796" y="66152"/>
                        <a:pt x="474400" y="65381"/>
                        <a:pt x="485077" y="65381"/>
                      </a:cubicBezTo>
                      <a:cubicBezTo>
                        <a:pt x="496304" y="65381"/>
                        <a:pt x="501587" y="85304"/>
                        <a:pt x="501587" y="97081"/>
                      </a:cubicBezTo>
                      <a:cubicBezTo>
                        <a:pt x="501587" y="104016"/>
                        <a:pt x="494102" y="107758"/>
                        <a:pt x="494102" y="114693"/>
                      </a:cubicBezTo>
                      <a:cubicBezTo>
                        <a:pt x="494102" y="125920"/>
                        <a:pt x="504229" y="132854"/>
                        <a:pt x="504229" y="142980"/>
                      </a:cubicBezTo>
                      <a:cubicBezTo>
                        <a:pt x="504229" y="149364"/>
                        <a:pt x="494102" y="151566"/>
                        <a:pt x="492011" y="154648"/>
                      </a:cubicBezTo>
                      <a:cubicBezTo>
                        <a:pt x="485627" y="164334"/>
                        <a:pt x="483426" y="172809"/>
                        <a:pt x="483426" y="185577"/>
                      </a:cubicBezTo>
                      <a:cubicBezTo>
                        <a:pt x="483426" y="200547"/>
                        <a:pt x="494102" y="197355"/>
                        <a:pt x="506320" y="197355"/>
                      </a:cubicBezTo>
                      <a:cubicBezTo>
                        <a:pt x="523381" y="197355"/>
                        <a:pt x="531416" y="190420"/>
                        <a:pt x="544294" y="190420"/>
                      </a:cubicBezTo>
                      <a:cubicBezTo>
                        <a:pt x="558713" y="190420"/>
                        <a:pt x="555411" y="218158"/>
                        <a:pt x="568840" y="218158"/>
                      </a:cubicBezTo>
                      <a:lnTo>
                        <a:pt x="568840" y="240062"/>
                      </a:lnTo>
                      <a:cubicBezTo>
                        <a:pt x="568840" y="241713"/>
                        <a:pt x="570381" y="242703"/>
                        <a:pt x="571481" y="243804"/>
                      </a:cubicBezTo>
                      <a:lnTo>
                        <a:pt x="574123" y="246996"/>
                      </a:lnTo>
                      <a:cubicBezTo>
                        <a:pt x="576765" y="246996"/>
                        <a:pt x="583149" y="244244"/>
                        <a:pt x="586891" y="243804"/>
                      </a:cubicBezTo>
                      <a:cubicBezTo>
                        <a:pt x="587442" y="246446"/>
                        <a:pt x="586891" y="249198"/>
                        <a:pt x="587442" y="251839"/>
                      </a:cubicBezTo>
                      <a:cubicBezTo>
                        <a:pt x="581938" y="252830"/>
                        <a:pt x="576214" y="255472"/>
                        <a:pt x="576214" y="26075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53" name="Freeform: Shape 252">
                  <a:extLst>
                    <a:ext uri="{FF2B5EF4-FFF2-40B4-BE49-F238E27FC236}">
                      <a16:creationId xmlns:a16="http://schemas.microsoft.com/office/drawing/2014/main" id="{BEE557B3-D64A-4E75-8310-4E7995B671EA}"/>
                    </a:ext>
                  </a:extLst>
                </p:cNvPr>
                <p:cNvSpPr/>
                <p:nvPr/>
              </p:nvSpPr>
              <p:spPr>
                <a:xfrm>
                  <a:off x="3383079" y="2492499"/>
                  <a:ext cx="385244" cy="374237"/>
                </a:xfrm>
                <a:custGeom>
                  <a:avLst/>
                  <a:gdLst>
                    <a:gd name="connsiteX0" fmla="*/ 91688 w 385243"/>
                    <a:gd name="connsiteY0" fmla="*/ 296197 h 374236"/>
                    <a:gd name="connsiteX1" fmla="*/ 79910 w 385243"/>
                    <a:gd name="connsiteY1" fmla="*/ 282879 h 374236"/>
                    <a:gd name="connsiteX2" fmla="*/ 29278 w 385243"/>
                    <a:gd name="connsiteY2" fmla="*/ 319202 h 374236"/>
                    <a:gd name="connsiteX3" fmla="*/ 5283 w 385243"/>
                    <a:gd name="connsiteY3" fmla="*/ 304232 h 374236"/>
                    <a:gd name="connsiteX4" fmla="*/ 14309 w 385243"/>
                    <a:gd name="connsiteY4" fmla="*/ 296197 h 374236"/>
                    <a:gd name="connsiteX5" fmla="*/ 14309 w 385243"/>
                    <a:gd name="connsiteY5" fmla="*/ 288272 h 374236"/>
                    <a:gd name="connsiteX6" fmla="*/ 440 w 385243"/>
                    <a:gd name="connsiteY6" fmla="*/ 290914 h 374236"/>
                    <a:gd name="connsiteX7" fmla="*/ 9026 w 385243"/>
                    <a:gd name="connsiteY7" fmla="*/ 277045 h 374236"/>
                    <a:gd name="connsiteX8" fmla="*/ 0 w 385243"/>
                    <a:gd name="connsiteY8" fmla="*/ 239181 h 374236"/>
                    <a:gd name="connsiteX9" fmla="*/ 11667 w 385243"/>
                    <a:gd name="connsiteY9" fmla="*/ 226853 h 374236"/>
                    <a:gd name="connsiteX10" fmla="*/ 35662 w 385243"/>
                    <a:gd name="connsiteY10" fmla="*/ 208142 h 374236"/>
                    <a:gd name="connsiteX11" fmla="*/ 66592 w 385243"/>
                    <a:gd name="connsiteY11" fmla="*/ 194823 h 374236"/>
                    <a:gd name="connsiteX12" fmla="*/ 53824 w 385243"/>
                    <a:gd name="connsiteY12" fmla="*/ 191081 h 374236"/>
                    <a:gd name="connsiteX13" fmla="*/ 102365 w 385243"/>
                    <a:gd name="connsiteY13" fmla="*/ 153767 h 374236"/>
                    <a:gd name="connsiteX14" fmla="*/ 111941 w 385243"/>
                    <a:gd name="connsiteY14" fmla="*/ 132414 h 374236"/>
                    <a:gd name="connsiteX15" fmla="*/ 117224 w 385243"/>
                    <a:gd name="connsiteY15" fmla="*/ 120196 h 374236"/>
                    <a:gd name="connsiteX16" fmla="*/ 142320 w 385243"/>
                    <a:gd name="connsiteY16" fmla="*/ 97852 h 374236"/>
                    <a:gd name="connsiteX17" fmla="*/ 171048 w 385243"/>
                    <a:gd name="connsiteY17" fmla="*/ 64171 h 374236"/>
                    <a:gd name="connsiteX18" fmla="*/ 139568 w 385243"/>
                    <a:gd name="connsiteY18" fmla="*/ 73857 h 374236"/>
                    <a:gd name="connsiteX19" fmla="*/ 150245 w 385243"/>
                    <a:gd name="connsiteY19" fmla="*/ 66372 h 374236"/>
                    <a:gd name="connsiteX20" fmla="*/ 142210 w 385243"/>
                    <a:gd name="connsiteY20" fmla="*/ 64721 h 374236"/>
                    <a:gd name="connsiteX21" fmla="*/ 150245 w 385243"/>
                    <a:gd name="connsiteY21" fmla="*/ 56246 h 374236"/>
                    <a:gd name="connsiteX22" fmla="*/ 154538 w 385243"/>
                    <a:gd name="connsiteY22" fmla="*/ 57787 h 374236"/>
                    <a:gd name="connsiteX23" fmla="*/ 159271 w 385243"/>
                    <a:gd name="connsiteY23" fmla="*/ 50852 h 374236"/>
                    <a:gd name="connsiteX24" fmla="*/ 160812 w 385243"/>
                    <a:gd name="connsiteY24" fmla="*/ 60428 h 374236"/>
                    <a:gd name="connsiteX25" fmla="*/ 178423 w 385243"/>
                    <a:gd name="connsiteY25" fmla="*/ 65822 h 374236"/>
                    <a:gd name="connsiteX26" fmla="*/ 188109 w 385243"/>
                    <a:gd name="connsiteY26" fmla="*/ 52503 h 374236"/>
                    <a:gd name="connsiteX27" fmla="*/ 179524 w 385243"/>
                    <a:gd name="connsiteY27" fmla="*/ 51403 h 374236"/>
                    <a:gd name="connsiteX28" fmla="*/ 191851 w 385243"/>
                    <a:gd name="connsiteY28" fmla="*/ 42927 h 374236"/>
                    <a:gd name="connsiteX29" fmla="*/ 202528 w 385243"/>
                    <a:gd name="connsiteY29" fmla="*/ 41826 h 374236"/>
                    <a:gd name="connsiteX30" fmla="*/ 198345 w 385243"/>
                    <a:gd name="connsiteY30" fmla="*/ 37534 h 374236"/>
                    <a:gd name="connsiteX31" fmla="*/ 221240 w 385243"/>
                    <a:gd name="connsiteY31" fmla="*/ 31150 h 374236"/>
                    <a:gd name="connsiteX32" fmla="*/ 221240 w 385243"/>
                    <a:gd name="connsiteY32" fmla="*/ 37534 h 374236"/>
                    <a:gd name="connsiteX33" fmla="*/ 240942 w 385243"/>
                    <a:gd name="connsiteY33" fmla="*/ 23115 h 374236"/>
                    <a:gd name="connsiteX34" fmla="*/ 240942 w 385243"/>
                    <a:gd name="connsiteY34" fmla="*/ 32140 h 374236"/>
                    <a:gd name="connsiteX35" fmla="*/ 266589 w 385243"/>
                    <a:gd name="connsiteY35" fmla="*/ 17171 h 374236"/>
                    <a:gd name="connsiteX36" fmla="*/ 258553 w 385243"/>
                    <a:gd name="connsiteY36" fmla="*/ 10787 h 374236"/>
                    <a:gd name="connsiteX37" fmla="*/ 269671 w 385243"/>
                    <a:gd name="connsiteY37" fmla="*/ 2862 h 374236"/>
                    <a:gd name="connsiteX38" fmla="*/ 280898 w 385243"/>
                    <a:gd name="connsiteY38" fmla="*/ 10787 h 374236"/>
                    <a:gd name="connsiteX39" fmla="*/ 309185 w 385243"/>
                    <a:gd name="connsiteY39" fmla="*/ 4403 h 374236"/>
                    <a:gd name="connsiteX40" fmla="*/ 297959 w 385243"/>
                    <a:gd name="connsiteY40" fmla="*/ 21464 h 374236"/>
                    <a:gd name="connsiteX41" fmla="*/ 320853 w 385243"/>
                    <a:gd name="connsiteY41" fmla="*/ 5393 h 374236"/>
                    <a:gd name="connsiteX42" fmla="*/ 323494 w 385243"/>
                    <a:gd name="connsiteY42" fmla="*/ 14969 h 374236"/>
                    <a:gd name="connsiteX43" fmla="*/ 343747 w 385243"/>
                    <a:gd name="connsiteY43" fmla="*/ 0 h 374236"/>
                    <a:gd name="connsiteX44" fmla="*/ 349141 w 385243"/>
                    <a:gd name="connsiteY44" fmla="*/ 12218 h 374236"/>
                    <a:gd name="connsiteX45" fmla="*/ 357176 w 385243"/>
                    <a:gd name="connsiteY45" fmla="*/ 4183 h 374236"/>
                    <a:gd name="connsiteX46" fmla="*/ 375888 w 385243"/>
                    <a:gd name="connsiteY46" fmla="*/ 12768 h 374236"/>
                    <a:gd name="connsiteX47" fmla="*/ 354534 w 385243"/>
                    <a:gd name="connsiteY47" fmla="*/ 25536 h 374236"/>
                    <a:gd name="connsiteX48" fmla="*/ 363560 w 385243"/>
                    <a:gd name="connsiteY48" fmla="*/ 33571 h 374236"/>
                    <a:gd name="connsiteX49" fmla="*/ 381171 w 385243"/>
                    <a:gd name="connsiteY49" fmla="*/ 35663 h 374236"/>
                    <a:gd name="connsiteX50" fmla="*/ 354534 w 385243"/>
                    <a:gd name="connsiteY50" fmla="*/ 62850 h 374236"/>
                    <a:gd name="connsiteX51" fmla="*/ 373246 w 385243"/>
                    <a:gd name="connsiteY51" fmla="*/ 84203 h 374236"/>
                    <a:gd name="connsiteX52" fmla="*/ 363670 w 385243"/>
                    <a:gd name="connsiteY52" fmla="*/ 106657 h 374236"/>
                    <a:gd name="connsiteX53" fmla="*/ 374347 w 385243"/>
                    <a:gd name="connsiteY53" fmla="*/ 133294 h 374236"/>
                    <a:gd name="connsiteX54" fmla="*/ 369063 w 385243"/>
                    <a:gd name="connsiteY54" fmla="*/ 149364 h 374236"/>
                    <a:gd name="connsiteX55" fmla="*/ 385023 w 385243"/>
                    <a:gd name="connsiteY55" fmla="*/ 176111 h 374236"/>
                    <a:gd name="connsiteX56" fmla="*/ 378639 w 385243"/>
                    <a:gd name="connsiteY56" fmla="*/ 183046 h 374236"/>
                    <a:gd name="connsiteX57" fmla="*/ 395700 w 385243"/>
                    <a:gd name="connsiteY57" fmla="*/ 205500 h 374236"/>
                    <a:gd name="connsiteX58" fmla="*/ 347710 w 385243"/>
                    <a:gd name="connsiteY58" fmla="*/ 257673 h 374236"/>
                    <a:gd name="connsiteX59" fmla="*/ 307755 w 385243"/>
                    <a:gd name="connsiteY59" fmla="*/ 268350 h 374236"/>
                    <a:gd name="connsiteX60" fmla="*/ 275724 w 385243"/>
                    <a:gd name="connsiteY60" fmla="*/ 276385 h 374236"/>
                    <a:gd name="connsiteX61" fmla="*/ 264057 w 385243"/>
                    <a:gd name="connsiteY61" fmla="*/ 269450 h 374236"/>
                    <a:gd name="connsiteX62" fmla="*/ 241163 w 385243"/>
                    <a:gd name="connsiteY62" fmla="*/ 250849 h 374236"/>
                    <a:gd name="connsiteX63" fmla="*/ 248647 w 385243"/>
                    <a:gd name="connsiteY63" fmla="*/ 239071 h 374236"/>
                    <a:gd name="connsiteX64" fmla="*/ 238521 w 385243"/>
                    <a:gd name="connsiteY64" fmla="*/ 218818 h 374236"/>
                    <a:gd name="connsiteX65" fmla="*/ 238521 w 385243"/>
                    <a:gd name="connsiteY65" fmla="*/ 208142 h 374236"/>
                    <a:gd name="connsiteX66" fmla="*/ 286511 w 385243"/>
                    <a:gd name="connsiteY66" fmla="*/ 170828 h 374236"/>
                    <a:gd name="connsiteX67" fmla="*/ 306764 w 385243"/>
                    <a:gd name="connsiteY67" fmla="*/ 154868 h 374236"/>
                    <a:gd name="connsiteX68" fmla="*/ 275834 w 385243"/>
                    <a:gd name="connsiteY68" fmla="*/ 138798 h 374236"/>
                    <a:gd name="connsiteX69" fmla="*/ 243914 w 385243"/>
                    <a:gd name="connsiteY69" fmla="*/ 160151 h 374236"/>
                    <a:gd name="connsiteX70" fmla="*/ 243914 w 385243"/>
                    <a:gd name="connsiteY70" fmla="*/ 172479 h 374236"/>
                    <a:gd name="connsiteX71" fmla="*/ 208142 w 385243"/>
                    <a:gd name="connsiteY71" fmla="*/ 201758 h 374236"/>
                    <a:gd name="connsiteX72" fmla="*/ 184146 w 385243"/>
                    <a:gd name="connsiteY72" fmla="*/ 218818 h 374236"/>
                    <a:gd name="connsiteX73" fmla="*/ 177212 w 385243"/>
                    <a:gd name="connsiteY73" fmla="*/ 240172 h 374236"/>
                    <a:gd name="connsiteX74" fmla="*/ 177212 w 385243"/>
                    <a:gd name="connsiteY74" fmla="*/ 250849 h 374236"/>
                    <a:gd name="connsiteX75" fmla="*/ 181505 w 385243"/>
                    <a:gd name="connsiteY75" fmla="*/ 260425 h 374236"/>
                    <a:gd name="connsiteX76" fmla="*/ 205500 w 385243"/>
                    <a:gd name="connsiteY76" fmla="*/ 281778 h 374236"/>
                    <a:gd name="connsiteX77" fmla="*/ 184146 w 385243"/>
                    <a:gd name="connsiteY77" fmla="*/ 303132 h 374236"/>
                    <a:gd name="connsiteX78" fmla="*/ 169177 w 385243"/>
                    <a:gd name="connsiteY78" fmla="*/ 329769 h 374236"/>
                    <a:gd name="connsiteX79" fmla="*/ 177102 w 385243"/>
                    <a:gd name="connsiteY79" fmla="*/ 338794 h 374236"/>
                    <a:gd name="connsiteX80" fmla="*/ 161032 w 385243"/>
                    <a:gd name="connsiteY80" fmla="*/ 364440 h 374236"/>
                    <a:gd name="connsiteX81" fmla="*/ 146723 w 385243"/>
                    <a:gd name="connsiteY81" fmla="*/ 364440 h 374236"/>
                    <a:gd name="connsiteX82" fmla="*/ 121077 w 385243"/>
                    <a:gd name="connsiteY82" fmla="*/ 381501 h 374236"/>
                    <a:gd name="connsiteX83" fmla="*/ 109409 w 385243"/>
                    <a:gd name="connsiteY83" fmla="*/ 356405 h 374236"/>
                    <a:gd name="connsiteX84" fmla="*/ 110510 w 385243"/>
                    <a:gd name="connsiteY84" fmla="*/ 351012 h 374236"/>
                    <a:gd name="connsiteX85" fmla="*/ 98842 w 385243"/>
                    <a:gd name="connsiteY85" fmla="*/ 322724 h 374236"/>
                    <a:gd name="connsiteX86" fmla="*/ 88166 w 385243"/>
                    <a:gd name="connsiteY86" fmla="*/ 303022 h 374236"/>
                    <a:gd name="connsiteX87" fmla="*/ 91908 w 385243"/>
                    <a:gd name="connsiteY87" fmla="*/ 293336 h 374236"/>
                    <a:gd name="connsiteX88" fmla="*/ 91908 w 385243"/>
                    <a:gd name="connsiteY88" fmla="*/ 296197 h 374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</a:cxnLst>
                  <a:rect l="l" t="t" r="r" b="b"/>
                  <a:pathLst>
                    <a:path w="385243" h="374236">
                      <a:moveTo>
                        <a:pt x="91688" y="296197"/>
                      </a:moveTo>
                      <a:cubicBezTo>
                        <a:pt x="84753" y="293005"/>
                        <a:pt x="83653" y="288272"/>
                        <a:pt x="79910" y="282879"/>
                      </a:cubicBezTo>
                      <a:cubicBezTo>
                        <a:pt x="68683" y="298949"/>
                        <a:pt x="51623" y="319202"/>
                        <a:pt x="29278" y="319202"/>
                      </a:cubicBezTo>
                      <a:cubicBezTo>
                        <a:pt x="26086" y="319202"/>
                        <a:pt x="5283" y="306434"/>
                        <a:pt x="5283" y="304232"/>
                      </a:cubicBezTo>
                      <a:cubicBezTo>
                        <a:pt x="5283" y="299940"/>
                        <a:pt x="12218" y="297298"/>
                        <a:pt x="14309" y="296197"/>
                      </a:cubicBezTo>
                      <a:lnTo>
                        <a:pt x="14309" y="288272"/>
                      </a:lnTo>
                      <a:cubicBezTo>
                        <a:pt x="6824" y="288272"/>
                        <a:pt x="6824" y="288272"/>
                        <a:pt x="440" y="290914"/>
                      </a:cubicBezTo>
                      <a:cubicBezTo>
                        <a:pt x="440" y="287172"/>
                        <a:pt x="6274" y="280788"/>
                        <a:pt x="9026" y="277045"/>
                      </a:cubicBezTo>
                      <a:cubicBezTo>
                        <a:pt x="991" y="267469"/>
                        <a:pt x="0" y="254041"/>
                        <a:pt x="0" y="239181"/>
                      </a:cubicBezTo>
                      <a:cubicBezTo>
                        <a:pt x="0" y="231146"/>
                        <a:pt x="8475" y="231697"/>
                        <a:pt x="11667" y="226853"/>
                      </a:cubicBezTo>
                      <a:cubicBezTo>
                        <a:pt x="18161" y="217828"/>
                        <a:pt x="23995" y="211334"/>
                        <a:pt x="35662" y="208142"/>
                      </a:cubicBezTo>
                      <a:cubicBezTo>
                        <a:pt x="45349" y="205500"/>
                        <a:pt x="47330" y="192622"/>
                        <a:pt x="66592" y="194823"/>
                      </a:cubicBezTo>
                      <a:cubicBezTo>
                        <a:pt x="60758" y="193172"/>
                        <a:pt x="58557" y="192182"/>
                        <a:pt x="53824" y="191081"/>
                      </a:cubicBezTo>
                      <a:cubicBezTo>
                        <a:pt x="77269" y="185247"/>
                        <a:pt x="86295" y="166535"/>
                        <a:pt x="102365" y="153767"/>
                      </a:cubicBezTo>
                      <a:cubicBezTo>
                        <a:pt x="108749" y="148924"/>
                        <a:pt x="107758" y="132414"/>
                        <a:pt x="111941" y="132414"/>
                      </a:cubicBezTo>
                      <a:cubicBezTo>
                        <a:pt x="111941" y="132414"/>
                        <a:pt x="117224" y="120746"/>
                        <a:pt x="117224" y="120196"/>
                      </a:cubicBezTo>
                      <a:cubicBezTo>
                        <a:pt x="123608" y="109519"/>
                        <a:pt x="131093" y="102035"/>
                        <a:pt x="142320" y="97852"/>
                      </a:cubicBezTo>
                      <a:cubicBezTo>
                        <a:pt x="153547" y="93559"/>
                        <a:pt x="168406" y="75398"/>
                        <a:pt x="171048" y="64171"/>
                      </a:cubicBezTo>
                      <a:cubicBezTo>
                        <a:pt x="157730" y="66812"/>
                        <a:pt x="152446" y="73857"/>
                        <a:pt x="139568" y="73857"/>
                      </a:cubicBezTo>
                      <a:cubicBezTo>
                        <a:pt x="142210" y="70114"/>
                        <a:pt x="148154" y="67363"/>
                        <a:pt x="150245" y="66372"/>
                      </a:cubicBezTo>
                      <a:cubicBezTo>
                        <a:pt x="147603" y="66372"/>
                        <a:pt x="142210" y="64721"/>
                        <a:pt x="142210" y="64721"/>
                      </a:cubicBezTo>
                      <a:cubicBezTo>
                        <a:pt x="143311" y="59438"/>
                        <a:pt x="145952" y="56246"/>
                        <a:pt x="150245" y="56246"/>
                      </a:cubicBezTo>
                      <a:cubicBezTo>
                        <a:pt x="151896" y="56246"/>
                        <a:pt x="152887" y="57787"/>
                        <a:pt x="154538" y="57787"/>
                      </a:cubicBezTo>
                      <a:cubicBezTo>
                        <a:pt x="156189" y="54595"/>
                        <a:pt x="157730" y="52503"/>
                        <a:pt x="159271" y="50852"/>
                      </a:cubicBezTo>
                      <a:cubicBezTo>
                        <a:pt x="162022" y="54044"/>
                        <a:pt x="162463" y="56796"/>
                        <a:pt x="160812" y="60428"/>
                      </a:cubicBezTo>
                      <a:cubicBezTo>
                        <a:pt x="169397" y="60428"/>
                        <a:pt x="171488" y="65822"/>
                        <a:pt x="178423" y="65822"/>
                      </a:cubicBezTo>
                      <a:cubicBezTo>
                        <a:pt x="181064" y="65822"/>
                        <a:pt x="187008" y="52943"/>
                        <a:pt x="188109" y="52503"/>
                      </a:cubicBezTo>
                      <a:cubicBezTo>
                        <a:pt x="184367" y="51403"/>
                        <a:pt x="184367" y="50852"/>
                        <a:pt x="179524" y="51403"/>
                      </a:cubicBezTo>
                      <a:cubicBezTo>
                        <a:pt x="182275" y="47110"/>
                        <a:pt x="186458" y="42927"/>
                        <a:pt x="191851" y="42927"/>
                      </a:cubicBezTo>
                      <a:cubicBezTo>
                        <a:pt x="195594" y="42927"/>
                        <a:pt x="198786" y="43918"/>
                        <a:pt x="202528" y="41826"/>
                      </a:cubicBezTo>
                      <a:cubicBezTo>
                        <a:pt x="199886" y="39185"/>
                        <a:pt x="200437" y="39735"/>
                        <a:pt x="198345" y="37534"/>
                      </a:cubicBezTo>
                      <a:cubicBezTo>
                        <a:pt x="203629" y="32250"/>
                        <a:pt x="213315" y="32691"/>
                        <a:pt x="221240" y="31150"/>
                      </a:cubicBezTo>
                      <a:lnTo>
                        <a:pt x="221240" y="37534"/>
                      </a:lnTo>
                      <a:cubicBezTo>
                        <a:pt x="228174" y="35993"/>
                        <a:pt x="229825" y="23665"/>
                        <a:pt x="240942" y="23115"/>
                      </a:cubicBezTo>
                      <a:lnTo>
                        <a:pt x="240942" y="32140"/>
                      </a:lnTo>
                      <a:cubicBezTo>
                        <a:pt x="247877" y="19372"/>
                        <a:pt x="256902" y="22564"/>
                        <a:pt x="266589" y="17171"/>
                      </a:cubicBezTo>
                      <a:cubicBezTo>
                        <a:pt x="262296" y="15520"/>
                        <a:pt x="258553" y="14419"/>
                        <a:pt x="258553" y="10787"/>
                      </a:cubicBezTo>
                      <a:cubicBezTo>
                        <a:pt x="258553" y="8145"/>
                        <a:pt x="268129" y="6054"/>
                        <a:pt x="269671" y="2862"/>
                      </a:cubicBezTo>
                      <a:cubicBezTo>
                        <a:pt x="272863" y="6604"/>
                        <a:pt x="276054" y="10787"/>
                        <a:pt x="280898" y="10787"/>
                      </a:cubicBezTo>
                      <a:cubicBezTo>
                        <a:pt x="288933" y="10787"/>
                        <a:pt x="309185" y="-2532"/>
                        <a:pt x="309185" y="4403"/>
                      </a:cubicBezTo>
                      <a:cubicBezTo>
                        <a:pt x="309185" y="11888"/>
                        <a:pt x="300050" y="13979"/>
                        <a:pt x="297959" y="21464"/>
                      </a:cubicBezTo>
                      <a:cubicBezTo>
                        <a:pt x="308635" y="22564"/>
                        <a:pt x="311827" y="10236"/>
                        <a:pt x="320853" y="5393"/>
                      </a:cubicBezTo>
                      <a:cubicBezTo>
                        <a:pt x="322944" y="9136"/>
                        <a:pt x="322944" y="11777"/>
                        <a:pt x="323494" y="14969"/>
                      </a:cubicBezTo>
                      <a:cubicBezTo>
                        <a:pt x="330979" y="7485"/>
                        <a:pt x="335272" y="5393"/>
                        <a:pt x="343747" y="0"/>
                      </a:cubicBezTo>
                      <a:cubicBezTo>
                        <a:pt x="344298" y="6934"/>
                        <a:pt x="343197" y="11667"/>
                        <a:pt x="349141" y="12218"/>
                      </a:cubicBezTo>
                      <a:cubicBezTo>
                        <a:pt x="350682" y="7925"/>
                        <a:pt x="352883" y="4183"/>
                        <a:pt x="357176" y="4183"/>
                      </a:cubicBezTo>
                      <a:cubicBezTo>
                        <a:pt x="359818" y="4183"/>
                        <a:pt x="371595" y="10567"/>
                        <a:pt x="375888" y="12768"/>
                      </a:cubicBezTo>
                      <a:cubicBezTo>
                        <a:pt x="371045" y="25536"/>
                        <a:pt x="366752" y="21243"/>
                        <a:pt x="354534" y="25536"/>
                      </a:cubicBezTo>
                      <a:cubicBezTo>
                        <a:pt x="359927" y="29829"/>
                        <a:pt x="363560" y="30379"/>
                        <a:pt x="363560" y="33571"/>
                      </a:cubicBezTo>
                      <a:cubicBezTo>
                        <a:pt x="368293" y="34122"/>
                        <a:pt x="379520" y="35663"/>
                        <a:pt x="381171" y="35663"/>
                      </a:cubicBezTo>
                      <a:cubicBezTo>
                        <a:pt x="373686" y="40946"/>
                        <a:pt x="354534" y="50632"/>
                        <a:pt x="354534" y="62850"/>
                      </a:cubicBezTo>
                      <a:cubicBezTo>
                        <a:pt x="354534" y="72976"/>
                        <a:pt x="373246" y="72426"/>
                        <a:pt x="373246" y="84203"/>
                      </a:cubicBezTo>
                      <a:cubicBezTo>
                        <a:pt x="373246" y="93339"/>
                        <a:pt x="363670" y="97522"/>
                        <a:pt x="363670" y="106657"/>
                      </a:cubicBezTo>
                      <a:cubicBezTo>
                        <a:pt x="363670" y="116784"/>
                        <a:pt x="374347" y="122618"/>
                        <a:pt x="374347" y="133294"/>
                      </a:cubicBezTo>
                      <a:cubicBezTo>
                        <a:pt x="374347" y="139788"/>
                        <a:pt x="369063" y="142870"/>
                        <a:pt x="369063" y="149364"/>
                      </a:cubicBezTo>
                      <a:cubicBezTo>
                        <a:pt x="369063" y="161142"/>
                        <a:pt x="385023" y="164334"/>
                        <a:pt x="385023" y="176111"/>
                      </a:cubicBezTo>
                      <a:cubicBezTo>
                        <a:pt x="385023" y="179303"/>
                        <a:pt x="380181" y="181945"/>
                        <a:pt x="378639" y="183046"/>
                      </a:cubicBezTo>
                      <a:cubicBezTo>
                        <a:pt x="383482" y="191521"/>
                        <a:pt x="395700" y="193723"/>
                        <a:pt x="395700" y="205500"/>
                      </a:cubicBezTo>
                      <a:cubicBezTo>
                        <a:pt x="395700" y="223111"/>
                        <a:pt x="358827" y="242814"/>
                        <a:pt x="347710" y="257673"/>
                      </a:cubicBezTo>
                      <a:cubicBezTo>
                        <a:pt x="342426" y="268350"/>
                        <a:pt x="317881" y="269891"/>
                        <a:pt x="307755" y="268350"/>
                      </a:cubicBezTo>
                      <a:cubicBezTo>
                        <a:pt x="297078" y="271542"/>
                        <a:pt x="284860" y="276385"/>
                        <a:pt x="275724" y="276385"/>
                      </a:cubicBezTo>
                      <a:cubicBezTo>
                        <a:pt x="268790" y="276385"/>
                        <a:pt x="264057" y="275284"/>
                        <a:pt x="264057" y="269450"/>
                      </a:cubicBezTo>
                      <a:cubicBezTo>
                        <a:pt x="252830" y="269450"/>
                        <a:pt x="241163" y="261966"/>
                        <a:pt x="241163" y="250849"/>
                      </a:cubicBezTo>
                      <a:cubicBezTo>
                        <a:pt x="241163" y="245455"/>
                        <a:pt x="246996" y="241713"/>
                        <a:pt x="248647" y="239071"/>
                      </a:cubicBezTo>
                      <a:cubicBezTo>
                        <a:pt x="243254" y="236980"/>
                        <a:pt x="238521" y="224652"/>
                        <a:pt x="238521" y="218818"/>
                      </a:cubicBezTo>
                      <a:cubicBezTo>
                        <a:pt x="238521" y="215076"/>
                        <a:pt x="239621" y="211884"/>
                        <a:pt x="238521" y="208142"/>
                      </a:cubicBezTo>
                      <a:cubicBezTo>
                        <a:pt x="260975" y="208142"/>
                        <a:pt x="272752" y="178863"/>
                        <a:pt x="286511" y="170828"/>
                      </a:cubicBezTo>
                      <a:cubicBezTo>
                        <a:pt x="293996" y="166535"/>
                        <a:pt x="306764" y="163894"/>
                        <a:pt x="306764" y="154868"/>
                      </a:cubicBezTo>
                      <a:cubicBezTo>
                        <a:pt x="306764" y="141550"/>
                        <a:pt x="289153" y="138798"/>
                        <a:pt x="275834" y="138798"/>
                      </a:cubicBezTo>
                      <a:cubicBezTo>
                        <a:pt x="258223" y="138798"/>
                        <a:pt x="243914" y="145182"/>
                        <a:pt x="243914" y="160151"/>
                      </a:cubicBezTo>
                      <a:cubicBezTo>
                        <a:pt x="243914" y="166535"/>
                        <a:pt x="245455" y="169177"/>
                        <a:pt x="243914" y="172479"/>
                      </a:cubicBezTo>
                      <a:cubicBezTo>
                        <a:pt x="243914" y="184697"/>
                        <a:pt x="219369" y="195374"/>
                        <a:pt x="208142" y="201758"/>
                      </a:cubicBezTo>
                      <a:cubicBezTo>
                        <a:pt x="199116" y="207151"/>
                        <a:pt x="189430" y="209242"/>
                        <a:pt x="184146" y="218818"/>
                      </a:cubicBezTo>
                      <a:cubicBezTo>
                        <a:pt x="179854" y="226303"/>
                        <a:pt x="185247" y="236430"/>
                        <a:pt x="177212" y="240172"/>
                      </a:cubicBezTo>
                      <a:lnTo>
                        <a:pt x="177212" y="250849"/>
                      </a:lnTo>
                      <a:cubicBezTo>
                        <a:pt x="179854" y="252940"/>
                        <a:pt x="181505" y="256682"/>
                        <a:pt x="181505" y="260425"/>
                      </a:cubicBezTo>
                      <a:cubicBezTo>
                        <a:pt x="191081" y="262076"/>
                        <a:pt x="205500" y="271652"/>
                        <a:pt x="205500" y="281778"/>
                      </a:cubicBezTo>
                      <a:cubicBezTo>
                        <a:pt x="205500" y="289813"/>
                        <a:pt x="189540" y="303132"/>
                        <a:pt x="184146" y="303132"/>
                      </a:cubicBezTo>
                      <a:cubicBezTo>
                        <a:pt x="173469" y="303132"/>
                        <a:pt x="169177" y="318541"/>
                        <a:pt x="169177" y="329769"/>
                      </a:cubicBezTo>
                      <a:cubicBezTo>
                        <a:pt x="169177" y="336153"/>
                        <a:pt x="173910" y="338244"/>
                        <a:pt x="177102" y="338794"/>
                      </a:cubicBezTo>
                      <a:cubicBezTo>
                        <a:pt x="175451" y="353213"/>
                        <a:pt x="162683" y="354314"/>
                        <a:pt x="161032" y="364440"/>
                      </a:cubicBezTo>
                      <a:lnTo>
                        <a:pt x="146723" y="364440"/>
                      </a:lnTo>
                      <a:cubicBezTo>
                        <a:pt x="137587" y="364440"/>
                        <a:pt x="134395" y="381501"/>
                        <a:pt x="121077" y="381501"/>
                      </a:cubicBezTo>
                      <a:cubicBezTo>
                        <a:pt x="116894" y="381501"/>
                        <a:pt x="109409" y="359157"/>
                        <a:pt x="109409" y="356405"/>
                      </a:cubicBezTo>
                      <a:cubicBezTo>
                        <a:pt x="109409" y="354754"/>
                        <a:pt x="110510" y="352663"/>
                        <a:pt x="110510" y="351012"/>
                      </a:cubicBezTo>
                      <a:cubicBezTo>
                        <a:pt x="101484" y="341986"/>
                        <a:pt x="102475" y="334502"/>
                        <a:pt x="98842" y="322724"/>
                      </a:cubicBezTo>
                      <a:cubicBezTo>
                        <a:pt x="96201" y="314799"/>
                        <a:pt x="88166" y="312598"/>
                        <a:pt x="88166" y="303022"/>
                      </a:cubicBezTo>
                      <a:cubicBezTo>
                        <a:pt x="88166" y="299279"/>
                        <a:pt x="91358" y="294436"/>
                        <a:pt x="91908" y="293336"/>
                      </a:cubicBezTo>
                      <a:lnTo>
                        <a:pt x="91908" y="296197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54" name="Freeform: Shape 253">
                  <a:extLst>
                    <a:ext uri="{FF2B5EF4-FFF2-40B4-BE49-F238E27FC236}">
                      <a16:creationId xmlns:a16="http://schemas.microsoft.com/office/drawing/2014/main" id="{C0993F47-72CA-4048-A132-02BE7B646874}"/>
                    </a:ext>
                  </a:extLst>
                </p:cNvPr>
                <p:cNvSpPr/>
                <p:nvPr/>
              </p:nvSpPr>
              <p:spPr>
                <a:xfrm>
                  <a:off x="3464200" y="2211712"/>
                  <a:ext cx="209132" cy="110070"/>
                </a:xfrm>
                <a:custGeom>
                  <a:avLst/>
                  <a:gdLst>
                    <a:gd name="connsiteX0" fmla="*/ 178533 w 209132"/>
                    <a:gd name="connsiteY0" fmla="*/ 95871 h 110069"/>
                    <a:gd name="connsiteX1" fmla="*/ 179083 w 209132"/>
                    <a:gd name="connsiteY1" fmla="*/ 86295 h 110069"/>
                    <a:gd name="connsiteX2" fmla="*/ 154538 w 209132"/>
                    <a:gd name="connsiteY2" fmla="*/ 85194 h 110069"/>
                    <a:gd name="connsiteX3" fmla="*/ 162573 w 209132"/>
                    <a:gd name="connsiteY3" fmla="*/ 70224 h 110069"/>
                    <a:gd name="connsiteX4" fmla="*/ 151896 w 209132"/>
                    <a:gd name="connsiteY4" fmla="*/ 55255 h 110069"/>
                    <a:gd name="connsiteX5" fmla="*/ 159381 w 209132"/>
                    <a:gd name="connsiteY5" fmla="*/ 54154 h 110069"/>
                    <a:gd name="connsiteX6" fmla="*/ 146613 w 209132"/>
                    <a:gd name="connsiteY6" fmla="*/ 46119 h 110069"/>
                    <a:gd name="connsiteX7" fmla="*/ 117334 w 209132"/>
                    <a:gd name="connsiteY7" fmla="*/ 83433 h 110069"/>
                    <a:gd name="connsiteX8" fmla="*/ 109299 w 209132"/>
                    <a:gd name="connsiteY8" fmla="*/ 87725 h 110069"/>
                    <a:gd name="connsiteX9" fmla="*/ 93779 w 209132"/>
                    <a:gd name="connsiteY9" fmla="*/ 117114 h 110069"/>
                    <a:gd name="connsiteX10" fmla="*/ 52173 w 209132"/>
                    <a:gd name="connsiteY10" fmla="*/ 83543 h 110069"/>
                    <a:gd name="connsiteX11" fmla="*/ 71986 w 209132"/>
                    <a:gd name="connsiteY11" fmla="*/ 84093 h 110069"/>
                    <a:gd name="connsiteX12" fmla="*/ 89596 w 209132"/>
                    <a:gd name="connsiteY12" fmla="*/ 79800 h 110069"/>
                    <a:gd name="connsiteX13" fmla="*/ 65601 w 209132"/>
                    <a:gd name="connsiteY13" fmla="*/ 77159 h 110069"/>
                    <a:gd name="connsiteX14" fmla="*/ 45349 w 209132"/>
                    <a:gd name="connsiteY14" fmla="*/ 70224 h 110069"/>
                    <a:gd name="connsiteX15" fmla="*/ 60318 w 209132"/>
                    <a:gd name="connsiteY15" fmla="*/ 64941 h 110069"/>
                    <a:gd name="connsiteX16" fmla="*/ 87505 w 209132"/>
                    <a:gd name="connsiteY16" fmla="*/ 51623 h 110069"/>
                    <a:gd name="connsiteX17" fmla="*/ 73637 w 209132"/>
                    <a:gd name="connsiteY17" fmla="*/ 51623 h 110069"/>
                    <a:gd name="connsiteX18" fmla="*/ 65601 w 209132"/>
                    <a:gd name="connsiteY18" fmla="*/ 46780 h 110069"/>
                    <a:gd name="connsiteX19" fmla="*/ 61309 w 209132"/>
                    <a:gd name="connsiteY19" fmla="*/ 46780 h 110069"/>
                    <a:gd name="connsiteX20" fmla="*/ 45349 w 209132"/>
                    <a:gd name="connsiteY20" fmla="*/ 61199 h 110069"/>
                    <a:gd name="connsiteX21" fmla="*/ 28288 w 209132"/>
                    <a:gd name="connsiteY21" fmla="*/ 52723 h 110069"/>
                    <a:gd name="connsiteX22" fmla="*/ 32581 w 209132"/>
                    <a:gd name="connsiteY22" fmla="*/ 51623 h 110069"/>
                    <a:gd name="connsiteX23" fmla="*/ 17611 w 209132"/>
                    <a:gd name="connsiteY23" fmla="*/ 34012 h 110069"/>
                    <a:gd name="connsiteX24" fmla="*/ 13318 w 209132"/>
                    <a:gd name="connsiteY24" fmla="*/ 31920 h 110069"/>
                    <a:gd name="connsiteX25" fmla="*/ 0 w 209132"/>
                    <a:gd name="connsiteY25" fmla="*/ 19042 h 110069"/>
                    <a:gd name="connsiteX26" fmla="*/ 18712 w 209132"/>
                    <a:gd name="connsiteY26" fmla="*/ 6274 h 110069"/>
                    <a:gd name="connsiteX27" fmla="*/ 45349 w 209132"/>
                    <a:gd name="connsiteY27" fmla="*/ 8365 h 110069"/>
                    <a:gd name="connsiteX28" fmla="*/ 38965 w 209132"/>
                    <a:gd name="connsiteY28" fmla="*/ 15850 h 110069"/>
                    <a:gd name="connsiteX29" fmla="*/ 53384 w 209132"/>
                    <a:gd name="connsiteY29" fmla="*/ 23885 h 110069"/>
                    <a:gd name="connsiteX30" fmla="*/ 49642 w 209132"/>
                    <a:gd name="connsiteY30" fmla="*/ 16951 h 110069"/>
                    <a:gd name="connsiteX31" fmla="*/ 58667 w 209132"/>
                    <a:gd name="connsiteY31" fmla="*/ 7925 h 110069"/>
                    <a:gd name="connsiteX32" fmla="*/ 82662 w 209132"/>
                    <a:gd name="connsiteY32" fmla="*/ 31370 h 110069"/>
                    <a:gd name="connsiteX33" fmla="*/ 76278 w 209132"/>
                    <a:gd name="connsiteY33" fmla="*/ 7925 h 110069"/>
                    <a:gd name="connsiteX34" fmla="*/ 86955 w 209132"/>
                    <a:gd name="connsiteY34" fmla="*/ 0 h 110069"/>
                    <a:gd name="connsiteX35" fmla="*/ 108308 w 209132"/>
                    <a:gd name="connsiteY35" fmla="*/ 10677 h 110069"/>
                    <a:gd name="connsiteX36" fmla="*/ 106768 w 209132"/>
                    <a:gd name="connsiteY36" fmla="*/ 21354 h 110069"/>
                    <a:gd name="connsiteX37" fmla="*/ 116344 w 209132"/>
                    <a:gd name="connsiteY37" fmla="*/ 14419 h 110069"/>
                    <a:gd name="connsiteX38" fmla="*/ 122728 w 209132"/>
                    <a:gd name="connsiteY38" fmla="*/ 27187 h 110069"/>
                    <a:gd name="connsiteX39" fmla="*/ 128011 w 209132"/>
                    <a:gd name="connsiteY39" fmla="*/ 27738 h 110069"/>
                    <a:gd name="connsiteX40" fmla="*/ 170718 w 209132"/>
                    <a:gd name="connsiteY40" fmla="*/ 50082 h 110069"/>
                    <a:gd name="connsiteX41" fmla="*/ 165324 w 209132"/>
                    <a:gd name="connsiteY41" fmla="*/ 50632 h 110069"/>
                    <a:gd name="connsiteX42" fmla="*/ 174900 w 209132"/>
                    <a:gd name="connsiteY42" fmla="*/ 50632 h 110069"/>
                    <a:gd name="connsiteX43" fmla="*/ 174900 w 209132"/>
                    <a:gd name="connsiteY43" fmla="*/ 58667 h 110069"/>
                    <a:gd name="connsiteX44" fmla="*/ 191961 w 209132"/>
                    <a:gd name="connsiteY44" fmla="*/ 58667 h 110069"/>
                    <a:gd name="connsiteX45" fmla="*/ 212214 w 209132"/>
                    <a:gd name="connsiteY45" fmla="*/ 77929 h 110069"/>
                    <a:gd name="connsiteX46" fmla="*/ 178533 w 209132"/>
                    <a:gd name="connsiteY46" fmla="*/ 95871 h 110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</a:cxnLst>
                  <a:rect l="l" t="t" r="r" b="b"/>
                  <a:pathLst>
                    <a:path w="209132" h="110069">
                      <a:moveTo>
                        <a:pt x="178533" y="95871"/>
                      </a:moveTo>
                      <a:cubicBezTo>
                        <a:pt x="177432" y="91578"/>
                        <a:pt x="177432" y="88936"/>
                        <a:pt x="179083" y="86295"/>
                      </a:cubicBezTo>
                      <a:cubicBezTo>
                        <a:pt x="172699" y="85194"/>
                        <a:pt x="161472" y="85744"/>
                        <a:pt x="154538" y="85194"/>
                      </a:cubicBezTo>
                      <a:cubicBezTo>
                        <a:pt x="155638" y="75618"/>
                        <a:pt x="161472" y="78259"/>
                        <a:pt x="162573" y="70224"/>
                      </a:cubicBezTo>
                      <a:cubicBezTo>
                        <a:pt x="158830" y="69124"/>
                        <a:pt x="153987" y="59548"/>
                        <a:pt x="151896" y="55255"/>
                      </a:cubicBezTo>
                      <a:cubicBezTo>
                        <a:pt x="154538" y="54705"/>
                        <a:pt x="156629" y="54154"/>
                        <a:pt x="159381" y="54154"/>
                      </a:cubicBezTo>
                      <a:cubicBezTo>
                        <a:pt x="150795" y="53054"/>
                        <a:pt x="146613" y="46119"/>
                        <a:pt x="146613" y="46119"/>
                      </a:cubicBezTo>
                      <a:cubicBezTo>
                        <a:pt x="128451" y="46119"/>
                        <a:pt x="122617" y="69564"/>
                        <a:pt x="117334" y="83433"/>
                      </a:cubicBezTo>
                      <a:cubicBezTo>
                        <a:pt x="116233" y="86625"/>
                        <a:pt x="111941" y="85634"/>
                        <a:pt x="109299" y="87725"/>
                      </a:cubicBezTo>
                      <a:cubicBezTo>
                        <a:pt x="100163" y="94660"/>
                        <a:pt x="101264" y="109629"/>
                        <a:pt x="93779" y="117114"/>
                      </a:cubicBezTo>
                      <a:cubicBezTo>
                        <a:pt x="81011" y="108639"/>
                        <a:pt x="52173" y="101704"/>
                        <a:pt x="52173" y="83543"/>
                      </a:cubicBezTo>
                      <a:cubicBezTo>
                        <a:pt x="59658" y="82442"/>
                        <a:pt x="71986" y="84093"/>
                        <a:pt x="71986" y="84093"/>
                      </a:cubicBezTo>
                      <a:cubicBezTo>
                        <a:pt x="77269" y="79800"/>
                        <a:pt x="83102" y="81341"/>
                        <a:pt x="89596" y="79800"/>
                      </a:cubicBezTo>
                      <a:cubicBezTo>
                        <a:pt x="86405" y="77709"/>
                        <a:pt x="69344" y="77159"/>
                        <a:pt x="65601" y="77159"/>
                      </a:cubicBezTo>
                      <a:cubicBezTo>
                        <a:pt x="59218" y="77159"/>
                        <a:pt x="45349" y="82992"/>
                        <a:pt x="45349" y="70224"/>
                      </a:cubicBezTo>
                      <a:cubicBezTo>
                        <a:pt x="45349" y="65491"/>
                        <a:pt x="57567" y="65491"/>
                        <a:pt x="60318" y="64941"/>
                      </a:cubicBezTo>
                      <a:cubicBezTo>
                        <a:pt x="67252" y="62850"/>
                        <a:pt x="81672" y="56466"/>
                        <a:pt x="87505" y="51623"/>
                      </a:cubicBezTo>
                      <a:lnTo>
                        <a:pt x="73637" y="51623"/>
                      </a:lnTo>
                      <a:cubicBezTo>
                        <a:pt x="72536" y="51623"/>
                        <a:pt x="67803" y="48431"/>
                        <a:pt x="65601" y="46780"/>
                      </a:cubicBezTo>
                      <a:lnTo>
                        <a:pt x="61309" y="46780"/>
                      </a:lnTo>
                      <a:cubicBezTo>
                        <a:pt x="56466" y="49421"/>
                        <a:pt x="56466" y="61199"/>
                        <a:pt x="45349" y="61199"/>
                      </a:cubicBezTo>
                      <a:cubicBezTo>
                        <a:pt x="36873" y="61199"/>
                        <a:pt x="30930" y="58007"/>
                        <a:pt x="28288" y="52723"/>
                      </a:cubicBezTo>
                      <a:cubicBezTo>
                        <a:pt x="29939" y="52173"/>
                        <a:pt x="30930" y="51623"/>
                        <a:pt x="32581" y="51623"/>
                      </a:cubicBezTo>
                      <a:cubicBezTo>
                        <a:pt x="23555" y="46780"/>
                        <a:pt x="15520" y="42487"/>
                        <a:pt x="17611" y="34012"/>
                      </a:cubicBezTo>
                      <a:cubicBezTo>
                        <a:pt x="16070" y="33461"/>
                        <a:pt x="14969" y="31920"/>
                        <a:pt x="13318" y="31920"/>
                      </a:cubicBezTo>
                      <a:cubicBezTo>
                        <a:pt x="9576" y="31920"/>
                        <a:pt x="3742" y="22784"/>
                        <a:pt x="0" y="19042"/>
                      </a:cubicBezTo>
                      <a:cubicBezTo>
                        <a:pt x="2091" y="16400"/>
                        <a:pt x="13318" y="6274"/>
                        <a:pt x="18712" y="6274"/>
                      </a:cubicBezTo>
                      <a:cubicBezTo>
                        <a:pt x="27297" y="6274"/>
                        <a:pt x="33131" y="6274"/>
                        <a:pt x="45349" y="8365"/>
                      </a:cubicBezTo>
                      <a:cubicBezTo>
                        <a:pt x="42707" y="11557"/>
                        <a:pt x="40506" y="13208"/>
                        <a:pt x="38965" y="15850"/>
                      </a:cubicBezTo>
                      <a:cubicBezTo>
                        <a:pt x="44358" y="20143"/>
                        <a:pt x="49642" y="20143"/>
                        <a:pt x="53384" y="23885"/>
                      </a:cubicBezTo>
                      <a:cubicBezTo>
                        <a:pt x="51292" y="22784"/>
                        <a:pt x="49642" y="20143"/>
                        <a:pt x="49642" y="16951"/>
                      </a:cubicBezTo>
                      <a:cubicBezTo>
                        <a:pt x="49642" y="12108"/>
                        <a:pt x="53934" y="7925"/>
                        <a:pt x="58667" y="7925"/>
                      </a:cubicBezTo>
                      <a:cubicBezTo>
                        <a:pt x="72976" y="7925"/>
                        <a:pt x="69344" y="26637"/>
                        <a:pt x="82662" y="31370"/>
                      </a:cubicBezTo>
                      <a:cubicBezTo>
                        <a:pt x="79470" y="22784"/>
                        <a:pt x="76278" y="18051"/>
                        <a:pt x="76278" y="7925"/>
                      </a:cubicBezTo>
                      <a:cubicBezTo>
                        <a:pt x="76278" y="0"/>
                        <a:pt x="80020" y="0"/>
                        <a:pt x="86955" y="0"/>
                      </a:cubicBezTo>
                      <a:cubicBezTo>
                        <a:pt x="93889" y="0"/>
                        <a:pt x="108308" y="5283"/>
                        <a:pt x="108308" y="10677"/>
                      </a:cubicBezTo>
                      <a:cubicBezTo>
                        <a:pt x="108308" y="14419"/>
                        <a:pt x="106768" y="17611"/>
                        <a:pt x="106768" y="21354"/>
                      </a:cubicBezTo>
                      <a:cubicBezTo>
                        <a:pt x="111060" y="19262"/>
                        <a:pt x="112051" y="14419"/>
                        <a:pt x="116344" y="14419"/>
                      </a:cubicBezTo>
                      <a:cubicBezTo>
                        <a:pt x="124929" y="14419"/>
                        <a:pt x="123828" y="22894"/>
                        <a:pt x="122728" y="27187"/>
                      </a:cubicBezTo>
                      <a:cubicBezTo>
                        <a:pt x="124269" y="27187"/>
                        <a:pt x="126470" y="27738"/>
                        <a:pt x="128011" y="27738"/>
                      </a:cubicBezTo>
                      <a:cubicBezTo>
                        <a:pt x="137037" y="27738"/>
                        <a:pt x="165324" y="43808"/>
                        <a:pt x="170718" y="50082"/>
                      </a:cubicBezTo>
                      <a:cubicBezTo>
                        <a:pt x="169177" y="50632"/>
                        <a:pt x="166976" y="50632"/>
                        <a:pt x="165324" y="50632"/>
                      </a:cubicBezTo>
                      <a:cubicBezTo>
                        <a:pt x="169617" y="51733"/>
                        <a:pt x="171158" y="51182"/>
                        <a:pt x="174900" y="50632"/>
                      </a:cubicBezTo>
                      <a:cubicBezTo>
                        <a:pt x="176001" y="53274"/>
                        <a:pt x="176552" y="56466"/>
                        <a:pt x="174900" y="58667"/>
                      </a:cubicBezTo>
                      <a:lnTo>
                        <a:pt x="191961" y="58667"/>
                      </a:lnTo>
                      <a:cubicBezTo>
                        <a:pt x="191961" y="75178"/>
                        <a:pt x="207371" y="70995"/>
                        <a:pt x="212214" y="77929"/>
                      </a:cubicBezTo>
                      <a:cubicBezTo>
                        <a:pt x="197795" y="82552"/>
                        <a:pt x="191961" y="91578"/>
                        <a:pt x="178533" y="9587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55" name="Freeform: Shape 254">
                  <a:extLst>
                    <a:ext uri="{FF2B5EF4-FFF2-40B4-BE49-F238E27FC236}">
                      <a16:creationId xmlns:a16="http://schemas.microsoft.com/office/drawing/2014/main" id="{36F69D89-0D3A-4C5D-9C7D-8EA8184E7B79}"/>
                    </a:ext>
                  </a:extLst>
                </p:cNvPr>
                <p:cNvSpPr/>
                <p:nvPr/>
              </p:nvSpPr>
              <p:spPr>
                <a:xfrm>
                  <a:off x="3575150" y="2193989"/>
                  <a:ext cx="132084" cy="44028"/>
                </a:xfrm>
                <a:custGeom>
                  <a:avLst/>
                  <a:gdLst>
                    <a:gd name="connsiteX0" fmla="*/ 138578 w 132083"/>
                    <a:gd name="connsiteY0" fmla="*/ 22344 h 44027"/>
                    <a:gd name="connsiteX1" fmla="*/ 83653 w 132083"/>
                    <a:gd name="connsiteY1" fmla="*/ 49531 h 44027"/>
                    <a:gd name="connsiteX2" fmla="*/ 65051 w 132083"/>
                    <a:gd name="connsiteY2" fmla="*/ 39845 h 44027"/>
                    <a:gd name="connsiteX3" fmla="*/ 34672 w 132083"/>
                    <a:gd name="connsiteY3" fmla="*/ 39845 h 44027"/>
                    <a:gd name="connsiteX4" fmla="*/ 27738 w 132083"/>
                    <a:gd name="connsiteY4" fmla="*/ 31370 h 44027"/>
                    <a:gd name="connsiteX5" fmla="*/ 38415 w 132083"/>
                    <a:gd name="connsiteY5" fmla="*/ 30820 h 44027"/>
                    <a:gd name="connsiteX6" fmla="*/ 51733 w 132083"/>
                    <a:gd name="connsiteY6" fmla="*/ 28178 h 44027"/>
                    <a:gd name="connsiteX7" fmla="*/ 26637 w 132083"/>
                    <a:gd name="connsiteY7" fmla="*/ 26527 h 44027"/>
                    <a:gd name="connsiteX8" fmla="*/ 7925 w 132083"/>
                    <a:gd name="connsiteY8" fmla="*/ 20693 h 44027"/>
                    <a:gd name="connsiteX9" fmla="*/ 0 w 132083"/>
                    <a:gd name="connsiteY9" fmla="*/ 7925 h 44027"/>
                    <a:gd name="connsiteX10" fmla="*/ 7925 w 132083"/>
                    <a:gd name="connsiteY10" fmla="*/ 7925 h 44027"/>
                    <a:gd name="connsiteX11" fmla="*/ 18712 w 132083"/>
                    <a:gd name="connsiteY11" fmla="*/ 9576 h 44027"/>
                    <a:gd name="connsiteX12" fmla="*/ 18712 w 132083"/>
                    <a:gd name="connsiteY12" fmla="*/ 6934 h 44027"/>
                    <a:gd name="connsiteX13" fmla="*/ 27738 w 132083"/>
                    <a:gd name="connsiteY13" fmla="*/ 6934 h 44027"/>
                    <a:gd name="connsiteX14" fmla="*/ 25096 w 132083"/>
                    <a:gd name="connsiteY14" fmla="*/ 1651 h 44027"/>
                    <a:gd name="connsiteX15" fmla="*/ 40065 w 132083"/>
                    <a:gd name="connsiteY15" fmla="*/ 1651 h 44027"/>
                    <a:gd name="connsiteX16" fmla="*/ 61419 w 132083"/>
                    <a:gd name="connsiteY16" fmla="*/ 12328 h 44027"/>
                    <a:gd name="connsiteX17" fmla="*/ 74737 w 132083"/>
                    <a:gd name="connsiteY17" fmla="*/ 0 h 44027"/>
                    <a:gd name="connsiteX18" fmla="*/ 81122 w 132083"/>
                    <a:gd name="connsiteY18" fmla="*/ 0 h 44027"/>
                    <a:gd name="connsiteX19" fmla="*/ 81122 w 132083"/>
                    <a:gd name="connsiteY19" fmla="*/ 13318 h 44027"/>
                    <a:gd name="connsiteX20" fmla="*/ 97081 w 132083"/>
                    <a:gd name="connsiteY20" fmla="*/ 7925 h 44027"/>
                    <a:gd name="connsiteX21" fmla="*/ 114693 w 132083"/>
                    <a:gd name="connsiteY21" fmla="*/ 7925 h 44027"/>
                    <a:gd name="connsiteX22" fmla="*/ 138578 w 132083"/>
                    <a:gd name="connsiteY22" fmla="*/ 22344 h 44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32083" h="44027">
                      <a:moveTo>
                        <a:pt x="138578" y="22344"/>
                      </a:moveTo>
                      <a:cubicBezTo>
                        <a:pt x="125810" y="30930"/>
                        <a:pt x="99063" y="49531"/>
                        <a:pt x="83653" y="49531"/>
                      </a:cubicBezTo>
                      <a:cubicBezTo>
                        <a:pt x="74077" y="49531"/>
                        <a:pt x="68684" y="46339"/>
                        <a:pt x="65051" y="39845"/>
                      </a:cubicBezTo>
                      <a:lnTo>
                        <a:pt x="34672" y="39845"/>
                      </a:lnTo>
                      <a:cubicBezTo>
                        <a:pt x="29939" y="38304"/>
                        <a:pt x="28288" y="35552"/>
                        <a:pt x="27738" y="31370"/>
                      </a:cubicBezTo>
                      <a:cubicBezTo>
                        <a:pt x="31370" y="30820"/>
                        <a:pt x="37314" y="30820"/>
                        <a:pt x="38415" y="30820"/>
                      </a:cubicBezTo>
                      <a:cubicBezTo>
                        <a:pt x="43147" y="29168"/>
                        <a:pt x="49091" y="29168"/>
                        <a:pt x="51733" y="28178"/>
                      </a:cubicBezTo>
                      <a:cubicBezTo>
                        <a:pt x="49531" y="28178"/>
                        <a:pt x="27738" y="26527"/>
                        <a:pt x="26637" y="26527"/>
                      </a:cubicBezTo>
                      <a:cubicBezTo>
                        <a:pt x="17611" y="26527"/>
                        <a:pt x="6934" y="32911"/>
                        <a:pt x="7925" y="20693"/>
                      </a:cubicBezTo>
                      <a:cubicBezTo>
                        <a:pt x="3743" y="17501"/>
                        <a:pt x="551" y="13208"/>
                        <a:pt x="0" y="7925"/>
                      </a:cubicBezTo>
                      <a:lnTo>
                        <a:pt x="7925" y="7925"/>
                      </a:lnTo>
                      <a:cubicBezTo>
                        <a:pt x="11227" y="10016"/>
                        <a:pt x="15410" y="11117"/>
                        <a:pt x="18712" y="9576"/>
                      </a:cubicBezTo>
                      <a:lnTo>
                        <a:pt x="18712" y="6934"/>
                      </a:lnTo>
                      <a:lnTo>
                        <a:pt x="27738" y="6934"/>
                      </a:lnTo>
                      <a:lnTo>
                        <a:pt x="25096" y="1651"/>
                      </a:lnTo>
                      <a:lnTo>
                        <a:pt x="40065" y="1651"/>
                      </a:lnTo>
                      <a:cubicBezTo>
                        <a:pt x="43258" y="4843"/>
                        <a:pt x="58777" y="12328"/>
                        <a:pt x="61419" y="12328"/>
                      </a:cubicBezTo>
                      <a:cubicBezTo>
                        <a:pt x="67803" y="12328"/>
                        <a:pt x="72096" y="2201"/>
                        <a:pt x="74737" y="0"/>
                      </a:cubicBezTo>
                      <a:lnTo>
                        <a:pt x="81122" y="0"/>
                      </a:lnTo>
                      <a:cubicBezTo>
                        <a:pt x="81122" y="6934"/>
                        <a:pt x="80021" y="9576"/>
                        <a:pt x="81122" y="13318"/>
                      </a:cubicBezTo>
                      <a:cubicBezTo>
                        <a:pt x="85964" y="13318"/>
                        <a:pt x="89156" y="7925"/>
                        <a:pt x="97081" y="7925"/>
                      </a:cubicBezTo>
                      <a:lnTo>
                        <a:pt x="114693" y="7925"/>
                      </a:lnTo>
                      <a:cubicBezTo>
                        <a:pt x="125259" y="7925"/>
                        <a:pt x="135386" y="15960"/>
                        <a:pt x="138578" y="2234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56" name="Freeform: Shape 255">
                  <a:extLst>
                    <a:ext uri="{FF2B5EF4-FFF2-40B4-BE49-F238E27FC236}">
                      <a16:creationId xmlns:a16="http://schemas.microsoft.com/office/drawing/2014/main" id="{0EA7048F-809E-4690-BF1D-21AC2494A2D6}"/>
                    </a:ext>
                  </a:extLst>
                </p:cNvPr>
                <p:cNvSpPr/>
                <p:nvPr/>
              </p:nvSpPr>
              <p:spPr>
                <a:xfrm>
                  <a:off x="3462287" y="2249905"/>
                  <a:ext cx="11007" cy="22014"/>
                </a:xfrm>
                <a:custGeom>
                  <a:avLst/>
                  <a:gdLst>
                    <a:gd name="connsiteX0" fmla="*/ 1803 w 11006"/>
                    <a:gd name="connsiteY0" fmla="*/ 0 h 22013"/>
                    <a:gd name="connsiteX1" fmla="*/ 19965 w 11006"/>
                    <a:gd name="connsiteY1" fmla="*/ 22894 h 22013"/>
                    <a:gd name="connsiteX2" fmla="*/ 3454 w 11006"/>
                    <a:gd name="connsiteY2" fmla="*/ 0 h 22013"/>
                    <a:gd name="connsiteX3" fmla="*/ 3454 w 11006"/>
                    <a:gd name="connsiteY3" fmla="*/ 1651 h 22013"/>
                    <a:gd name="connsiteX4" fmla="*/ 1803 w 11006"/>
                    <a:gd name="connsiteY4" fmla="*/ 0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 h="22013">
                      <a:moveTo>
                        <a:pt x="1803" y="0"/>
                      </a:moveTo>
                      <a:cubicBezTo>
                        <a:pt x="8738" y="9136"/>
                        <a:pt x="16222" y="11227"/>
                        <a:pt x="19965" y="22894"/>
                      </a:cubicBezTo>
                      <a:cubicBezTo>
                        <a:pt x="9288" y="20253"/>
                        <a:pt x="-7222" y="4183"/>
                        <a:pt x="3454" y="0"/>
                      </a:cubicBezTo>
                      <a:lnTo>
                        <a:pt x="3454" y="1651"/>
                      </a:lnTo>
                      <a:lnTo>
                        <a:pt x="1803" y="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57" name="Freeform: Shape 256">
                  <a:extLst>
                    <a:ext uri="{FF2B5EF4-FFF2-40B4-BE49-F238E27FC236}">
                      <a16:creationId xmlns:a16="http://schemas.microsoft.com/office/drawing/2014/main" id="{114F71F7-A3D5-429F-A2A9-94588C873F88}"/>
                    </a:ext>
                  </a:extLst>
                </p:cNvPr>
                <p:cNvSpPr/>
                <p:nvPr/>
              </p:nvSpPr>
              <p:spPr>
                <a:xfrm>
                  <a:off x="3154243" y="2876201"/>
                  <a:ext cx="66042" cy="77049"/>
                </a:xfrm>
                <a:custGeom>
                  <a:avLst/>
                  <a:gdLst>
                    <a:gd name="connsiteX0" fmla="*/ 11117 w 66041"/>
                    <a:gd name="connsiteY0" fmla="*/ 22894 h 77048"/>
                    <a:gd name="connsiteX1" fmla="*/ 26527 w 66041"/>
                    <a:gd name="connsiteY1" fmla="*/ 17061 h 77048"/>
                    <a:gd name="connsiteX2" fmla="*/ 23335 w 66041"/>
                    <a:gd name="connsiteY2" fmla="*/ 10126 h 77048"/>
                    <a:gd name="connsiteX3" fmla="*/ 39295 w 66041"/>
                    <a:gd name="connsiteY3" fmla="*/ 0 h 77048"/>
                    <a:gd name="connsiteX4" fmla="*/ 48431 w 66041"/>
                    <a:gd name="connsiteY4" fmla="*/ 0 h 77048"/>
                    <a:gd name="connsiteX5" fmla="*/ 66592 w 66041"/>
                    <a:gd name="connsiteY5" fmla="*/ 21904 h 77048"/>
                    <a:gd name="connsiteX6" fmla="*/ 57016 w 66041"/>
                    <a:gd name="connsiteY6" fmla="*/ 29939 h 77048"/>
                    <a:gd name="connsiteX7" fmla="*/ 57016 w 66041"/>
                    <a:gd name="connsiteY7" fmla="*/ 48100 h 77048"/>
                    <a:gd name="connsiteX8" fmla="*/ 56466 w 66041"/>
                    <a:gd name="connsiteY8" fmla="*/ 63070 h 77048"/>
                    <a:gd name="connsiteX9" fmla="*/ 42597 w 66041"/>
                    <a:gd name="connsiteY9" fmla="*/ 65712 h 77048"/>
                    <a:gd name="connsiteX10" fmla="*/ 23445 w 66041"/>
                    <a:gd name="connsiteY10" fmla="*/ 77489 h 77048"/>
                    <a:gd name="connsiteX11" fmla="*/ 13318 w 66041"/>
                    <a:gd name="connsiteY11" fmla="*/ 79580 h 77048"/>
                    <a:gd name="connsiteX12" fmla="*/ 0 w 66041"/>
                    <a:gd name="connsiteY12" fmla="*/ 67363 h 77048"/>
                    <a:gd name="connsiteX13" fmla="*/ 15410 w 66041"/>
                    <a:gd name="connsiteY13" fmla="*/ 40175 h 77048"/>
                    <a:gd name="connsiteX14" fmla="*/ 5283 w 66041"/>
                    <a:gd name="connsiteY14" fmla="*/ 28948 h 77048"/>
                    <a:gd name="connsiteX15" fmla="*/ 11117 w 66041"/>
                    <a:gd name="connsiteY15" fmla="*/ 22894 h 77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66041" h="77048">
                      <a:moveTo>
                        <a:pt x="11117" y="22894"/>
                      </a:moveTo>
                      <a:cubicBezTo>
                        <a:pt x="14309" y="22894"/>
                        <a:pt x="23335" y="20253"/>
                        <a:pt x="26527" y="17061"/>
                      </a:cubicBezTo>
                      <a:cubicBezTo>
                        <a:pt x="24435" y="13869"/>
                        <a:pt x="23335" y="12768"/>
                        <a:pt x="23335" y="10126"/>
                      </a:cubicBezTo>
                      <a:cubicBezTo>
                        <a:pt x="23335" y="6384"/>
                        <a:pt x="34011" y="0"/>
                        <a:pt x="39295" y="0"/>
                      </a:cubicBezTo>
                      <a:lnTo>
                        <a:pt x="48431" y="0"/>
                      </a:lnTo>
                      <a:cubicBezTo>
                        <a:pt x="60648" y="0"/>
                        <a:pt x="66592" y="12768"/>
                        <a:pt x="66592" y="21904"/>
                      </a:cubicBezTo>
                      <a:cubicBezTo>
                        <a:pt x="66592" y="26197"/>
                        <a:pt x="57016" y="25646"/>
                        <a:pt x="57016" y="29939"/>
                      </a:cubicBezTo>
                      <a:lnTo>
                        <a:pt x="57016" y="48100"/>
                      </a:lnTo>
                      <a:cubicBezTo>
                        <a:pt x="57016" y="52393"/>
                        <a:pt x="60758" y="58777"/>
                        <a:pt x="56466" y="63070"/>
                      </a:cubicBezTo>
                      <a:cubicBezTo>
                        <a:pt x="53274" y="66262"/>
                        <a:pt x="47990" y="65712"/>
                        <a:pt x="42597" y="65712"/>
                      </a:cubicBezTo>
                      <a:cubicBezTo>
                        <a:pt x="34011" y="65712"/>
                        <a:pt x="27628" y="74737"/>
                        <a:pt x="23445" y="77489"/>
                      </a:cubicBezTo>
                      <a:cubicBezTo>
                        <a:pt x="20803" y="79140"/>
                        <a:pt x="16510" y="79580"/>
                        <a:pt x="13318" y="79580"/>
                      </a:cubicBezTo>
                      <a:cubicBezTo>
                        <a:pt x="6934" y="79580"/>
                        <a:pt x="0" y="73747"/>
                        <a:pt x="0" y="67363"/>
                      </a:cubicBezTo>
                      <a:cubicBezTo>
                        <a:pt x="0" y="54044"/>
                        <a:pt x="13318" y="52943"/>
                        <a:pt x="15410" y="40175"/>
                      </a:cubicBezTo>
                      <a:cubicBezTo>
                        <a:pt x="10016" y="37534"/>
                        <a:pt x="5283" y="34342"/>
                        <a:pt x="5283" y="28948"/>
                      </a:cubicBezTo>
                      <a:cubicBezTo>
                        <a:pt x="5283" y="21794"/>
                        <a:pt x="9576" y="22894"/>
                        <a:pt x="11117" y="2289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58" name="Freeform: Shape 257">
                  <a:extLst>
                    <a:ext uri="{FF2B5EF4-FFF2-40B4-BE49-F238E27FC236}">
                      <a16:creationId xmlns:a16="http://schemas.microsoft.com/office/drawing/2014/main" id="{AD667219-56B7-41C3-8287-1364EE532F70}"/>
                    </a:ext>
                  </a:extLst>
                </p:cNvPr>
                <p:cNvSpPr/>
                <p:nvPr/>
              </p:nvSpPr>
              <p:spPr>
                <a:xfrm>
                  <a:off x="3199042" y="2808509"/>
                  <a:ext cx="11007" cy="11007"/>
                </a:xfrm>
                <a:custGeom>
                  <a:avLst/>
                  <a:gdLst>
                    <a:gd name="connsiteX0" fmla="*/ 3192 w 11006"/>
                    <a:gd name="connsiteY0" fmla="*/ 12218 h 11006"/>
                    <a:gd name="connsiteX1" fmla="*/ 0 w 11006"/>
                    <a:gd name="connsiteY1" fmla="*/ 5834 h 11006"/>
                    <a:gd name="connsiteX2" fmla="*/ 13318 w 11006"/>
                    <a:gd name="connsiteY2" fmla="*/ 0 h 11006"/>
                    <a:gd name="connsiteX3" fmla="*/ 3192 w 11006"/>
                    <a:gd name="connsiteY3" fmla="*/ 12218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06" h="11006">
                      <a:moveTo>
                        <a:pt x="3192" y="12218"/>
                      </a:moveTo>
                      <a:cubicBezTo>
                        <a:pt x="1541" y="12218"/>
                        <a:pt x="0" y="7925"/>
                        <a:pt x="0" y="5834"/>
                      </a:cubicBezTo>
                      <a:cubicBezTo>
                        <a:pt x="0" y="2642"/>
                        <a:pt x="9026" y="0"/>
                        <a:pt x="13318" y="0"/>
                      </a:cubicBezTo>
                      <a:cubicBezTo>
                        <a:pt x="13318" y="5834"/>
                        <a:pt x="9026" y="12218"/>
                        <a:pt x="3192" y="1221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59" name="Freeform: Shape 258">
                  <a:extLst>
                    <a:ext uri="{FF2B5EF4-FFF2-40B4-BE49-F238E27FC236}">
                      <a16:creationId xmlns:a16="http://schemas.microsoft.com/office/drawing/2014/main" id="{70BB12F0-3304-48DB-A8DA-EBF167483129}"/>
                    </a:ext>
                  </a:extLst>
                </p:cNvPr>
                <p:cNvSpPr/>
                <p:nvPr/>
              </p:nvSpPr>
              <p:spPr>
                <a:xfrm>
                  <a:off x="3207187" y="2802125"/>
                  <a:ext cx="121077" cy="176111"/>
                </a:xfrm>
                <a:custGeom>
                  <a:avLst/>
                  <a:gdLst>
                    <a:gd name="connsiteX0" fmla="*/ 108088 w 121076"/>
                    <a:gd name="connsiteY0" fmla="*/ 124709 h 176111"/>
                    <a:gd name="connsiteX1" fmla="*/ 115023 w 121076"/>
                    <a:gd name="connsiteY1" fmla="*/ 122618 h 176111"/>
                    <a:gd name="connsiteX2" fmla="*/ 126250 w 121076"/>
                    <a:gd name="connsiteY2" fmla="*/ 132744 h 176111"/>
                    <a:gd name="connsiteX3" fmla="*/ 109189 w 121076"/>
                    <a:gd name="connsiteY3" fmla="*/ 154097 h 176111"/>
                    <a:gd name="connsiteX4" fmla="*/ 119866 w 121076"/>
                    <a:gd name="connsiteY4" fmla="*/ 156189 h 176111"/>
                    <a:gd name="connsiteX5" fmla="*/ 119866 w 121076"/>
                    <a:gd name="connsiteY5" fmla="*/ 159931 h 176111"/>
                    <a:gd name="connsiteX6" fmla="*/ 105006 w 121076"/>
                    <a:gd name="connsiteY6" fmla="*/ 167966 h 176111"/>
                    <a:gd name="connsiteX7" fmla="*/ 83653 w 121076"/>
                    <a:gd name="connsiteY7" fmla="*/ 167966 h 176111"/>
                    <a:gd name="connsiteX8" fmla="*/ 55915 w 121076"/>
                    <a:gd name="connsiteY8" fmla="*/ 172809 h 176111"/>
                    <a:gd name="connsiteX9" fmla="*/ 46339 w 121076"/>
                    <a:gd name="connsiteY9" fmla="*/ 169617 h 176111"/>
                    <a:gd name="connsiteX10" fmla="*/ 37864 w 121076"/>
                    <a:gd name="connsiteY10" fmla="*/ 178753 h 176111"/>
                    <a:gd name="connsiteX11" fmla="*/ 30379 w 121076"/>
                    <a:gd name="connsiteY11" fmla="*/ 178753 h 176111"/>
                    <a:gd name="connsiteX12" fmla="*/ 22894 w 121076"/>
                    <a:gd name="connsiteY12" fmla="*/ 182936 h 176111"/>
                    <a:gd name="connsiteX13" fmla="*/ 19152 w 121076"/>
                    <a:gd name="connsiteY13" fmla="*/ 182936 h 176111"/>
                    <a:gd name="connsiteX14" fmla="*/ 19152 w 121076"/>
                    <a:gd name="connsiteY14" fmla="*/ 179744 h 176111"/>
                    <a:gd name="connsiteX15" fmla="*/ 37864 w 121076"/>
                    <a:gd name="connsiteY15" fmla="*/ 160041 h 176111"/>
                    <a:gd name="connsiteX16" fmla="*/ 56026 w 121076"/>
                    <a:gd name="connsiteY16" fmla="*/ 153107 h 176111"/>
                    <a:gd name="connsiteX17" fmla="*/ 54925 w 121076"/>
                    <a:gd name="connsiteY17" fmla="*/ 149364 h 176111"/>
                    <a:gd name="connsiteX18" fmla="*/ 45239 w 121076"/>
                    <a:gd name="connsiteY18" fmla="*/ 154758 h 176111"/>
                    <a:gd name="connsiteX19" fmla="*/ 30379 w 121076"/>
                    <a:gd name="connsiteY19" fmla="*/ 148374 h 176111"/>
                    <a:gd name="connsiteX20" fmla="*/ 24986 w 121076"/>
                    <a:gd name="connsiteY20" fmla="*/ 151015 h 176111"/>
                    <a:gd name="connsiteX21" fmla="*/ 22344 w 121076"/>
                    <a:gd name="connsiteY21" fmla="*/ 148374 h 176111"/>
                    <a:gd name="connsiteX22" fmla="*/ 37314 w 121076"/>
                    <a:gd name="connsiteY22" fmla="*/ 131863 h 176111"/>
                    <a:gd name="connsiteX23" fmla="*/ 33021 w 121076"/>
                    <a:gd name="connsiteY23" fmla="*/ 116344 h 176111"/>
                    <a:gd name="connsiteX24" fmla="*/ 57016 w 121076"/>
                    <a:gd name="connsiteY24" fmla="*/ 106217 h 176111"/>
                    <a:gd name="connsiteX25" fmla="*/ 57016 w 121076"/>
                    <a:gd name="connsiteY25" fmla="*/ 98182 h 176111"/>
                    <a:gd name="connsiteX26" fmla="*/ 44248 w 121076"/>
                    <a:gd name="connsiteY26" fmla="*/ 92348 h 176111"/>
                    <a:gd name="connsiteX27" fmla="*/ 47990 w 121076"/>
                    <a:gd name="connsiteY27" fmla="*/ 84864 h 176111"/>
                    <a:gd name="connsiteX28" fmla="*/ 43257 w 121076"/>
                    <a:gd name="connsiteY28" fmla="*/ 84313 h 176111"/>
                    <a:gd name="connsiteX29" fmla="*/ 31040 w 121076"/>
                    <a:gd name="connsiteY29" fmla="*/ 86955 h 176111"/>
                    <a:gd name="connsiteX30" fmla="*/ 22454 w 121076"/>
                    <a:gd name="connsiteY30" fmla="*/ 82662 h 176111"/>
                    <a:gd name="connsiteX31" fmla="*/ 27848 w 121076"/>
                    <a:gd name="connsiteY31" fmla="*/ 71435 h 176111"/>
                    <a:gd name="connsiteX32" fmla="*/ 27848 w 121076"/>
                    <a:gd name="connsiteY32" fmla="*/ 61309 h 176111"/>
                    <a:gd name="connsiteX33" fmla="*/ 18822 w 121076"/>
                    <a:gd name="connsiteY33" fmla="*/ 58667 h 176111"/>
                    <a:gd name="connsiteX34" fmla="*/ 18822 w 121076"/>
                    <a:gd name="connsiteY34" fmla="*/ 66702 h 176111"/>
                    <a:gd name="connsiteX35" fmla="*/ 14529 w 121076"/>
                    <a:gd name="connsiteY35" fmla="*/ 66702 h 176111"/>
                    <a:gd name="connsiteX36" fmla="*/ 14529 w 121076"/>
                    <a:gd name="connsiteY36" fmla="*/ 58227 h 176111"/>
                    <a:gd name="connsiteX37" fmla="*/ 16621 w 121076"/>
                    <a:gd name="connsiteY37" fmla="*/ 54484 h 176111"/>
                    <a:gd name="connsiteX38" fmla="*/ 16621 w 121076"/>
                    <a:gd name="connsiteY38" fmla="*/ 49751 h 176111"/>
                    <a:gd name="connsiteX39" fmla="*/ 8585 w 121076"/>
                    <a:gd name="connsiteY39" fmla="*/ 45459 h 176111"/>
                    <a:gd name="connsiteX40" fmla="*/ 12328 w 121076"/>
                    <a:gd name="connsiteY40" fmla="*/ 38524 h 176111"/>
                    <a:gd name="connsiteX41" fmla="*/ 12328 w 121076"/>
                    <a:gd name="connsiteY41" fmla="*/ 34232 h 176111"/>
                    <a:gd name="connsiteX42" fmla="*/ 0 w 121076"/>
                    <a:gd name="connsiteY42" fmla="*/ 24105 h 176111"/>
                    <a:gd name="connsiteX43" fmla="*/ 8475 w 121076"/>
                    <a:gd name="connsiteY43" fmla="*/ 24105 h 176111"/>
                    <a:gd name="connsiteX44" fmla="*/ 12218 w 121076"/>
                    <a:gd name="connsiteY44" fmla="*/ 28838 h 176111"/>
                    <a:gd name="connsiteX45" fmla="*/ 14309 w 121076"/>
                    <a:gd name="connsiteY45" fmla="*/ 25646 h 176111"/>
                    <a:gd name="connsiteX46" fmla="*/ 11667 w 121076"/>
                    <a:gd name="connsiteY46" fmla="*/ 22454 h 176111"/>
                    <a:gd name="connsiteX47" fmla="*/ 19152 w 121076"/>
                    <a:gd name="connsiteY47" fmla="*/ 16070 h 176111"/>
                    <a:gd name="connsiteX48" fmla="*/ 21244 w 121076"/>
                    <a:gd name="connsiteY48" fmla="*/ 6934 h 176111"/>
                    <a:gd name="connsiteX49" fmla="*/ 29829 w 121076"/>
                    <a:gd name="connsiteY49" fmla="*/ 0 h 176111"/>
                    <a:gd name="connsiteX50" fmla="*/ 45239 w 121076"/>
                    <a:gd name="connsiteY50" fmla="*/ 0 h 176111"/>
                    <a:gd name="connsiteX51" fmla="*/ 50632 w 121076"/>
                    <a:gd name="connsiteY51" fmla="*/ 4843 h 176111"/>
                    <a:gd name="connsiteX52" fmla="*/ 37314 w 121076"/>
                    <a:gd name="connsiteY52" fmla="*/ 18712 h 176111"/>
                    <a:gd name="connsiteX53" fmla="*/ 38855 w 121076"/>
                    <a:gd name="connsiteY53" fmla="*/ 23005 h 176111"/>
                    <a:gd name="connsiteX54" fmla="*/ 70334 w 121076"/>
                    <a:gd name="connsiteY54" fmla="*/ 23005 h 176111"/>
                    <a:gd name="connsiteX55" fmla="*/ 55915 w 121076"/>
                    <a:gd name="connsiteY55" fmla="*/ 55585 h 176111"/>
                    <a:gd name="connsiteX56" fmla="*/ 51623 w 121076"/>
                    <a:gd name="connsiteY56" fmla="*/ 59878 h 176111"/>
                    <a:gd name="connsiteX57" fmla="*/ 63950 w 121076"/>
                    <a:gd name="connsiteY57" fmla="*/ 60428 h 176111"/>
                    <a:gd name="connsiteX58" fmla="*/ 78920 w 121076"/>
                    <a:gd name="connsiteY58" fmla="*/ 82882 h 176111"/>
                    <a:gd name="connsiteX59" fmla="*/ 101374 w 121076"/>
                    <a:gd name="connsiteY59" fmla="*/ 107868 h 176111"/>
                    <a:gd name="connsiteX60" fmla="*/ 107208 w 121076"/>
                    <a:gd name="connsiteY60" fmla="*/ 119095 h 176111"/>
                    <a:gd name="connsiteX61" fmla="*/ 104566 w 121076"/>
                    <a:gd name="connsiteY61" fmla="*/ 122838 h 176111"/>
                    <a:gd name="connsiteX62" fmla="*/ 104566 w 121076"/>
                    <a:gd name="connsiteY62" fmla="*/ 126580 h 176111"/>
                    <a:gd name="connsiteX63" fmla="*/ 110950 w 121076"/>
                    <a:gd name="connsiteY63" fmla="*/ 122838 h 176111"/>
                    <a:gd name="connsiteX64" fmla="*/ 108088 w 121076"/>
                    <a:gd name="connsiteY64" fmla="*/ 124709 h 176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121076" h="176111">
                      <a:moveTo>
                        <a:pt x="108088" y="124709"/>
                      </a:moveTo>
                      <a:cubicBezTo>
                        <a:pt x="111831" y="122067"/>
                        <a:pt x="110730" y="122618"/>
                        <a:pt x="115023" y="122618"/>
                      </a:cubicBezTo>
                      <a:cubicBezTo>
                        <a:pt x="121407" y="122618"/>
                        <a:pt x="126250" y="127461"/>
                        <a:pt x="126250" y="132744"/>
                      </a:cubicBezTo>
                      <a:cubicBezTo>
                        <a:pt x="126250" y="142320"/>
                        <a:pt x="113482" y="147163"/>
                        <a:pt x="109189" y="154097"/>
                      </a:cubicBezTo>
                      <a:cubicBezTo>
                        <a:pt x="114583" y="155638"/>
                        <a:pt x="116674" y="156189"/>
                        <a:pt x="119866" y="156189"/>
                      </a:cubicBezTo>
                      <a:lnTo>
                        <a:pt x="119866" y="159931"/>
                      </a:lnTo>
                      <a:cubicBezTo>
                        <a:pt x="115133" y="164774"/>
                        <a:pt x="111391" y="167966"/>
                        <a:pt x="105006" y="167966"/>
                      </a:cubicBezTo>
                      <a:lnTo>
                        <a:pt x="83653" y="167966"/>
                      </a:lnTo>
                      <a:cubicBezTo>
                        <a:pt x="78259" y="167966"/>
                        <a:pt x="63840" y="172809"/>
                        <a:pt x="55915" y="172809"/>
                      </a:cubicBezTo>
                      <a:cubicBezTo>
                        <a:pt x="52173" y="172809"/>
                        <a:pt x="50082" y="169617"/>
                        <a:pt x="46339" y="169617"/>
                      </a:cubicBezTo>
                      <a:cubicBezTo>
                        <a:pt x="40946" y="169617"/>
                        <a:pt x="37864" y="174350"/>
                        <a:pt x="37864" y="178753"/>
                      </a:cubicBezTo>
                      <a:lnTo>
                        <a:pt x="30379" y="178753"/>
                      </a:lnTo>
                      <a:cubicBezTo>
                        <a:pt x="26637" y="178753"/>
                        <a:pt x="24986" y="180844"/>
                        <a:pt x="22894" y="182936"/>
                      </a:cubicBezTo>
                      <a:lnTo>
                        <a:pt x="19152" y="182936"/>
                      </a:lnTo>
                      <a:lnTo>
                        <a:pt x="19152" y="179744"/>
                      </a:lnTo>
                      <a:cubicBezTo>
                        <a:pt x="20253" y="177652"/>
                        <a:pt x="36213" y="160481"/>
                        <a:pt x="37864" y="160041"/>
                      </a:cubicBezTo>
                      <a:cubicBezTo>
                        <a:pt x="45349" y="157950"/>
                        <a:pt x="56026" y="160592"/>
                        <a:pt x="56026" y="153107"/>
                      </a:cubicBezTo>
                      <a:cubicBezTo>
                        <a:pt x="56026" y="152116"/>
                        <a:pt x="54925" y="150465"/>
                        <a:pt x="54925" y="149364"/>
                      </a:cubicBezTo>
                      <a:cubicBezTo>
                        <a:pt x="52833" y="152556"/>
                        <a:pt x="49091" y="154758"/>
                        <a:pt x="45239" y="154758"/>
                      </a:cubicBezTo>
                      <a:cubicBezTo>
                        <a:pt x="38304" y="154758"/>
                        <a:pt x="36213" y="148374"/>
                        <a:pt x="30379" y="148374"/>
                      </a:cubicBezTo>
                      <a:cubicBezTo>
                        <a:pt x="27187" y="148374"/>
                        <a:pt x="27738" y="151015"/>
                        <a:pt x="24986" y="151015"/>
                      </a:cubicBezTo>
                      <a:cubicBezTo>
                        <a:pt x="23885" y="151015"/>
                        <a:pt x="22344" y="149474"/>
                        <a:pt x="22344" y="148374"/>
                      </a:cubicBezTo>
                      <a:cubicBezTo>
                        <a:pt x="22344" y="140339"/>
                        <a:pt x="37314" y="139788"/>
                        <a:pt x="37314" y="131863"/>
                      </a:cubicBezTo>
                      <a:cubicBezTo>
                        <a:pt x="37314" y="124929"/>
                        <a:pt x="33021" y="122177"/>
                        <a:pt x="33021" y="116344"/>
                      </a:cubicBezTo>
                      <a:cubicBezTo>
                        <a:pt x="42597" y="116344"/>
                        <a:pt x="54264" y="111611"/>
                        <a:pt x="57016" y="106217"/>
                      </a:cubicBezTo>
                      <a:lnTo>
                        <a:pt x="57016" y="98182"/>
                      </a:lnTo>
                      <a:cubicBezTo>
                        <a:pt x="51623" y="98732"/>
                        <a:pt x="44248" y="97632"/>
                        <a:pt x="44248" y="92348"/>
                      </a:cubicBezTo>
                      <a:cubicBezTo>
                        <a:pt x="44248" y="88056"/>
                        <a:pt x="46890" y="87065"/>
                        <a:pt x="47990" y="84864"/>
                      </a:cubicBezTo>
                      <a:cubicBezTo>
                        <a:pt x="46449" y="84864"/>
                        <a:pt x="44798" y="84313"/>
                        <a:pt x="43257" y="84313"/>
                      </a:cubicBezTo>
                      <a:cubicBezTo>
                        <a:pt x="37974" y="84313"/>
                        <a:pt x="35222" y="86955"/>
                        <a:pt x="31040" y="86955"/>
                      </a:cubicBezTo>
                      <a:cubicBezTo>
                        <a:pt x="26197" y="86955"/>
                        <a:pt x="22454" y="86955"/>
                        <a:pt x="22454" y="82662"/>
                      </a:cubicBezTo>
                      <a:cubicBezTo>
                        <a:pt x="22454" y="78370"/>
                        <a:pt x="27848" y="75728"/>
                        <a:pt x="27848" y="71435"/>
                      </a:cubicBezTo>
                      <a:cubicBezTo>
                        <a:pt x="27848" y="66592"/>
                        <a:pt x="26197" y="65601"/>
                        <a:pt x="27848" y="61309"/>
                      </a:cubicBezTo>
                      <a:cubicBezTo>
                        <a:pt x="23555" y="61309"/>
                        <a:pt x="20363" y="59768"/>
                        <a:pt x="18822" y="58667"/>
                      </a:cubicBezTo>
                      <a:cubicBezTo>
                        <a:pt x="16180" y="62960"/>
                        <a:pt x="17721" y="64611"/>
                        <a:pt x="18822" y="66702"/>
                      </a:cubicBezTo>
                      <a:lnTo>
                        <a:pt x="14529" y="66702"/>
                      </a:lnTo>
                      <a:lnTo>
                        <a:pt x="14529" y="58227"/>
                      </a:lnTo>
                      <a:cubicBezTo>
                        <a:pt x="14529" y="56576"/>
                        <a:pt x="15080" y="55475"/>
                        <a:pt x="16621" y="54484"/>
                      </a:cubicBezTo>
                      <a:lnTo>
                        <a:pt x="16621" y="49751"/>
                      </a:lnTo>
                      <a:cubicBezTo>
                        <a:pt x="13429" y="49201"/>
                        <a:pt x="8585" y="47660"/>
                        <a:pt x="8585" y="45459"/>
                      </a:cubicBezTo>
                      <a:cubicBezTo>
                        <a:pt x="8585" y="42817"/>
                        <a:pt x="12328" y="39075"/>
                        <a:pt x="12328" y="38524"/>
                      </a:cubicBezTo>
                      <a:lnTo>
                        <a:pt x="12328" y="34232"/>
                      </a:lnTo>
                      <a:cubicBezTo>
                        <a:pt x="4293" y="32691"/>
                        <a:pt x="0" y="31040"/>
                        <a:pt x="0" y="24105"/>
                      </a:cubicBezTo>
                      <a:lnTo>
                        <a:pt x="8475" y="24105"/>
                      </a:lnTo>
                      <a:cubicBezTo>
                        <a:pt x="8475" y="27297"/>
                        <a:pt x="11117" y="28838"/>
                        <a:pt x="12218" y="28838"/>
                      </a:cubicBezTo>
                      <a:cubicBezTo>
                        <a:pt x="13318" y="28838"/>
                        <a:pt x="14309" y="26637"/>
                        <a:pt x="14309" y="25646"/>
                      </a:cubicBezTo>
                      <a:cubicBezTo>
                        <a:pt x="13208" y="25096"/>
                        <a:pt x="11667" y="23445"/>
                        <a:pt x="11667" y="22454"/>
                      </a:cubicBezTo>
                      <a:cubicBezTo>
                        <a:pt x="11667" y="18161"/>
                        <a:pt x="15410" y="16070"/>
                        <a:pt x="19152" y="16070"/>
                      </a:cubicBezTo>
                      <a:cubicBezTo>
                        <a:pt x="19152" y="11777"/>
                        <a:pt x="21244" y="9686"/>
                        <a:pt x="21244" y="6934"/>
                      </a:cubicBezTo>
                      <a:cubicBezTo>
                        <a:pt x="21244" y="4293"/>
                        <a:pt x="26527" y="0"/>
                        <a:pt x="29829" y="0"/>
                      </a:cubicBezTo>
                      <a:lnTo>
                        <a:pt x="45239" y="0"/>
                      </a:lnTo>
                      <a:cubicBezTo>
                        <a:pt x="47330" y="0"/>
                        <a:pt x="50632" y="3742"/>
                        <a:pt x="50632" y="4843"/>
                      </a:cubicBezTo>
                      <a:cubicBezTo>
                        <a:pt x="50632" y="12328"/>
                        <a:pt x="38855" y="11227"/>
                        <a:pt x="37314" y="18712"/>
                      </a:cubicBezTo>
                      <a:cubicBezTo>
                        <a:pt x="37314" y="20363"/>
                        <a:pt x="37864" y="21464"/>
                        <a:pt x="38855" y="23005"/>
                      </a:cubicBezTo>
                      <a:lnTo>
                        <a:pt x="70334" y="23005"/>
                      </a:lnTo>
                      <a:cubicBezTo>
                        <a:pt x="72426" y="37974"/>
                        <a:pt x="55915" y="44358"/>
                        <a:pt x="55915" y="55585"/>
                      </a:cubicBezTo>
                      <a:cubicBezTo>
                        <a:pt x="53824" y="56135"/>
                        <a:pt x="52173" y="57787"/>
                        <a:pt x="51623" y="59878"/>
                      </a:cubicBezTo>
                      <a:cubicBezTo>
                        <a:pt x="57016" y="61419"/>
                        <a:pt x="59658" y="59328"/>
                        <a:pt x="63950" y="60428"/>
                      </a:cubicBezTo>
                      <a:cubicBezTo>
                        <a:pt x="74077" y="63620"/>
                        <a:pt x="72536" y="76388"/>
                        <a:pt x="78920" y="82882"/>
                      </a:cubicBezTo>
                      <a:cubicBezTo>
                        <a:pt x="87505" y="91358"/>
                        <a:pt x="101374" y="95210"/>
                        <a:pt x="101374" y="107868"/>
                      </a:cubicBezTo>
                      <a:cubicBezTo>
                        <a:pt x="101374" y="112161"/>
                        <a:pt x="107208" y="114803"/>
                        <a:pt x="107208" y="119095"/>
                      </a:cubicBezTo>
                      <a:cubicBezTo>
                        <a:pt x="107208" y="120746"/>
                        <a:pt x="106217" y="122287"/>
                        <a:pt x="104566" y="122838"/>
                      </a:cubicBezTo>
                      <a:lnTo>
                        <a:pt x="104566" y="126580"/>
                      </a:lnTo>
                      <a:cubicBezTo>
                        <a:pt x="108309" y="125479"/>
                        <a:pt x="108859" y="123938"/>
                        <a:pt x="110950" y="122838"/>
                      </a:cubicBezTo>
                      <a:lnTo>
                        <a:pt x="108088" y="124709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60" name="Freeform: Shape 259">
                  <a:extLst>
                    <a:ext uri="{FF2B5EF4-FFF2-40B4-BE49-F238E27FC236}">
                      <a16:creationId xmlns:a16="http://schemas.microsoft.com/office/drawing/2014/main" id="{4B0AF328-67B5-4778-8C0B-1ED52720D478}"/>
                    </a:ext>
                  </a:extLst>
                </p:cNvPr>
                <p:cNvSpPr/>
                <p:nvPr/>
              </p:nvSpPr>
              <p:spPr>
                <a:xfrm>
                  <a:off x="3233604" y="2896455"/>
                  <a:ext cx="11007" cy="11007"/>
                </a:xfrm>
                <a:custGeom>
                  <a:avLst/>
                  <a:gdLst>
                    <a:gd name="connsiteX0" fmla="*/ 3742 w 0"/>
                    <a:gd name="connsiteY0" fmla="*/ 0 h 0"/>
                    <a:gd name="connsiteX1" fmla="*/ 0 w 0"/>
                    <a:gd name="connsiteY1" fmla="*/ 6384 h 0"/>
                    <a:gd name="connsiteX2" fmla="*/ 5944 w 0"/>
                    <a:gd name="connsiteY2" fmla="*/ 6384 h 0"/>
                    <a:gd name="connsiteX3" fmla="*/ 6494 w 0"/>
                    <a:gd name="connsiteY3" fmla="*/ 0 h 0"/>
                    <a:gd name="connsiteX4" fmla="*/ 3742 w 0"/>
                    <a:gd name="connsiteY4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>
                      <a:moveTo>
                        <a:pt x="3742" y="0"/>
                      </a:moveTo>
                      <a:cubicBezTo>
                        <a:pt x="550" y="1651"/>
                        <a:pt x="0" y="3742"/>
                        <a:pt x="0" y="6384"/>
                      </a:cubicBezTo>
                      <a:lnTo>
                        <a:pt x="5944" y="6384"/>
                      </a:lnTo>
                      <a:cubicBezTo>
                        <a:pt x="5944" y="3742"/>
                        <a:pt x="6494" y="1541"/>
                        <a:pt x="6494" y="0"/>
                      </a:cubicBezTo>
                      <a:lnTo>
                        <a:pt x="3742" y="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61" name="Freeform: Shape 260">
                  <a:extLst>
                    <a:ext uri="{FF2B5EF4-FFF2-40B4-BE49-F238E27FC236}">
                      <a16:creationId xmlns:a16="http://schemas.microsoft.com/office/drawing/2014/main" id="{914F98E4-B2B7-4980-BF00-AAAF005FD6D7}"/>
                    </a:ext>
                  </a:extLst>
                </p:cNvPr>
                <p:cNvSpPr/>
                <p:nvPr/>
              </p:nvSpPr>
              <p:spPr>
                <a:xfrm>
                  <a:off x="3493368" y="3207769"/>
                  <a:ext cx="33021" cy="22014"/>
                </a:xfrm>
                <a:custGeom>
                  <a:avLst/>
                  <a:gdLst>
                    <a:gd name="connsiteX0" fmla="*/ 0 w 33020"/>
                    <a:gd name="connsiteY0" fmla="*/ 2273 h 22013"/>
                    <a:gd name="connsiteX1" fmla="*/ 0 w 33020"/>
                    <a:gd name="connsiteY1" fmla="*/ 6015 h 22013"/>
                    <a:gd name="connsiteX2" fmla="*/ 7485 w 33020"/>
                    <a:gd name="connsiteY2" fmla="*/ 8657 h 22013"/>
                    <a:gd name="connsiteX3" fmla="*/ 32030 w 33020"/>
                    <a:gd name="connsiteY3" fmla="*/ 22526 h 22013"/>
                    <a:gd name="connsiteX4" fmla="*/ 36323 w 33020"/>
                    <a:gd name="connsiteY4" fmla="*/ 24617 h 22013"/>
                    <a:gd name="connsiteX5" fmla="*/ 39515 w 33020"/>
                    <a:gd name="connsiteY5" fmla="*/ 20875 h 22013"/>
                    <a:gd name="connsiteX6" fmla="*/ 36873 w 33020"/>
                    <a:gd name="connsiteY6" fmla="*/ 12289 h 22013"/>
                    <a:gd name="connsiteX7" fmla="*/ 39515 w 33020"/>
                    <a:gd name="connsiteY7" fmla="*/ 6456 h 22013"/>
                    <a:gd name="connsiteX8" fmla="*/ 41716 w 33020"/>
                    <a:gd name="connsiteY8" fmla="*/ 292 h 22013"/>
                    <a:gd name="connsiteX9" fmla="*/ 23555 w 33020"/>
                    <a:gd name="connsiteY9" fmla="*/ 3814 h 22013"/>
                    <a:gd name="connsiteX10" fmla="*/ 0 w 33020"/>
                    <a:gd name="connsiteY10" fmla="*/ 2273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3020" h="22013">
                      <a:moveTo>
                        <a:pt x="0" y="2273"/>
                      </a:moveTo>
                      <a:lnTo>
                        <a:pt x="0" y="6015"/>
                      </a:lnTo>
                      <a:cubicBezTo>
                        <a:pt x="1651" y="8657"/>
                        <a:pt x="5834" y="8107"/>
                        <a:pt x="7485" y="8657"/>
                      </a:cubicBezTo>
                      <a:cubicBezTo>
                        <a:pt x="15960" y="11299"/>
                        <a:pt x="22895" y="20435"/>
                        <a:pt x="32030" y="22526"/>
                      </a:cubicBezTo>
                      <a:cubicBezTo>
                        <a:pt x="32030" y="24177"/>
                        <a:pt x="34672" y="24617"/>
                        <a:pt x="36323" y="24617"/>
                      </a:cubicBezTo>
                      <a:cubicBezTo>
                        <a:pt x="37864" y="24617"/>
                        <a:pt x="39515" y="22526"/>
                        <a:pt x="39515" y="20875"/>
                      </a:cubicBezTo>
                      <a:cubicBezTo>
                        <a:pt x="39515" y="16582"/>
                        <a:pt x="36873" y="16032"/>
                        <a:pt x="36873" y="12289"/>
                      </a:cubicBezTo>
                      <a:cubicBezTo>
                        <a:pt x="36873" y="10198"/>
                        <a:pt x="39515" y="6456"/>
                        <a:pt x="39515" y="6456"/>
                      </a:cubicBezTo>
                      <a:lnTo>
                        <a:pt x="41716" y="292"/>
                      </a:lnTo>
                      <a:cubicBezTo>
                        <a:pt x="33681" y="-1249"/>
                        <a:pt x="30489" y="3814"/>
                        <a:pt x="23555" y="3814"/>
                      </a:cubicBezTo>
                      <a:cubicBezTo>
                        <a:pt x="16070" y="3924"/>
                        <a:pt x="11227" y="-3010"/>
                        <a:pt x="0" y="227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62" name="Freeform: Shape 261">
                  <a:extLst>
                    <a:ext uri="{FF2B5EF4-FFF2-40B4-BE49-F238E27FC236}">
                      <a16:creationId xmlns:a16="http://schemas.microsoft.com/office/drawing/2014/main" id="{9F054424-1FA7-4596-97E4-9F80519B50AD}"/>
                    </a:ext>
                  </a:extLst>
                </p:cNvPr>
                <p:cNvSpPr/>
                <p:nvPr/>
              </p:nvSpPr>
              <p:spPr>
                <a:xfrm>
                  <a:off x="3435252" y="3121546"/>
                  <a:ext cx="11007" cy="22014"/>
                </a:xfrm>
                <a:custGeom>
                  <a:avLst/>
                  <a:gdLst>
                    <a:gd name="connsiteX0" fmla="*/ 3742 w 11006"/>
                    <a:gd name="connsiteY0" fmla="*/ 5393 h 22013"/>
                    <a:gd name="connsiteX1" fmla="*/ 12328 w 11006"/>
                    <a:gd name="connsiteY1" fmla="*/ 0 h 22013"/>
                    <a:gd name="connsiteX2" fmla="*/ 14419 w 11006"/>
                    <a:gd name="connsiteY2" fmla="*/ 5944 h 22013"/>
                    <a:gd name="connsiteX3" fmla="*/ 9576 w 11006"/>
                    <a:gd name="connsiteY3" fmla="*/ 27297 h 22013"/>
                    <a:gd name="connsiteX4" fmla="*/ 0 w 11006"/>
                    <a:gd name="connsiteY4" fmla="*/ 6494 h 22013"/>
                    <a:gd name="connsiteX5" fmla="*/ 3742 w 11006"/>
                    <a:gd name="connsiteY5" fmla="*/ 5393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06" h="22013">
                      <a:moveTo>
                        <a:pt x="3742" y="5393"/>
                      </a:moveTo>
                      <a:cubicBezTo>
                        <a:pt x="7485" y="5393"/>
                        <a:pt x="9576" y="550"/>
                        <a:pt x="12328" y="0"/>
                      </a:cubicBezTo>
                      <a:cubicBezTo>
                        <a:pt x="12328" y="2752"/>
                        <a:pt x="12878" y="5393"/>
                        <a:pt x="14419" y="5944"/>
                      </a:cubicBezTo>
                      <a:cubicBezTo>
                        <a:pt x="12768" y="12328"/>
                        <a:pt x="11227" y="24105"/>
                        <a:pt x="9576" y="27297"/>
                      </a:cubicBezTo>
                      <a:cubicBezTo>
                        <a:pt x="4293" y="26197"/>
                        <a:pt x="2642" y="10787"/>
                        <a:pt x="0" y="6494"/>
                      </a:cubicBezTo>
                      <a:cubicBezTo>
                        <a:pt x="1101" y="6384"/>
                        <a:pt x="2642" y="5393"/>
                        <a:pt x="3742" y="539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63" name="Freeform: Shape 262">
                  <a:extLst>
                    <a:ext uri="{FF2B5EF4-FFF2-40B4-BE49-F238E27FC236}">
                      <a16:creationId xmlns:a16="http://schemas.microsoft.com/office/drawing/2014/main" id="{C256D031-ACCB-44BE-AB22-6E18647AD34B}"/>
                    </a:ext>
                  </a:extLst>
                </p:cNvPr>
                <p:cNvSpPr/>
                <p:nvPr/>
              </p:nvSpPr>
              <p:spPr>
                <a:xfrm>
                  <a:off x="3431509" y="3152587"/>
                  <a:ext cx="11007" cy="33021"/>
                </a:xfrm>
                <a:custGeom>
                  <a:avLst/>
                  <a:gdLst>
                    <a:gd name="connsiteX0" fmla="*/ 5393 w 11006"/>
                    <a:gd name="connsiteY0" fmla="*/ 18051 h 33020"/>
                    <a:gd name="connsiteX1" fmla="*/ 0 w 11006"/>
                    <a:gd name="connsiteY1" fmla="*/ 6934 h 33020"/>
                    <a:gd name="connsiteX2" fmla="*/ 11227 w 11006"/>
                    <a:gd name="connsiteY2" fmla="*/ 0 h 33020"/>
                    <a:gd name="connsiteX3" fmla="*/ 18161 w 11006"/>
                    <a:gd name="connsiteY3" fmla="*/ 3192 h 33020"/>
                    <a:gd name="connsiteX4" fmla="*/ 21464 w 11006"/>
                    <a:gd name="connsiteY4" fmla="*/ 24986 h 33020"/>
                    <a:gd name="connsiteX5" fmla="*/ 7485 w 11006"/>
                    <a:gd name="connsiteY5" fmla="*/ 39955 h 33020"/>
                    <a:gd name="connsiteX6" fmla="*/ 2201 w 11006"/>
                    <a:gd name="connsiteY6" fmla="*/ 28728 h 33020"/>
                    <a:gd name="connsiteX7" fmla="*/ 5393 w 11006"/>
                    <a:gd name="connsiteY7" fmla="*/ 18051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006" h="33020">
                      <a:moveTo>
                        <a:pt x="5393" y="18051"/>
                      </a:moveTo>
                      <a:cubicBezTo>
                        <a:pt x="5393" y="13759"/>
                        <a:pt x="660" y="11117"/>
                        <a:pt x="0" y="6934"/>
                      </a:cubicBezTo>
                      <a:cubicBezTo>
                        <a:pt x="5834" y="5283"/>
                        <a:pt x="6384" y="0"/>
                        <a:pt x="11227" y="0"/>
                      </a:cubicBezTo>
                      <a:cubicBezTo>
                        <a:pt x="14969" y="0"/>
                        <a:pt x="16510" y="3192"/>
                        <a:pt x="18161" y="3192"/>
                      </a:cubicBezTo>
                      <a:cubicBezTo>
                        <a:pt x="22784" y="11667"/>
                        <a:pt x="21464" y="16510"/>
                        <a:pt x="21464" y="24986"/>
                      </a:cubicBezTo>
                      <a:cubicBezTo>
                        <a:pt x="21464" y="32470"/>
                        <a:pt x="11778" y="39955"/>
                        <a:pt x="7485" y="39955"/>
                      </a:cubicBezTo>
                      <a:cubicBezTo>
                        <a:pt x="2201" y="39955"/>
                        <a:pt x="2201" y="33021"/>
                        <a:pt x="2201" y="28728"/>
                      </a:cubicBezTo>
                      <a:cubicBezTo>
                        <a:pt x="2642" y="24435"/>
                        <a:pt x="5393" y="21794"/>
                        <a:pt x="5393" y="1805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64" name="Freeform: Shape 263">
                  <a:extLst>
                    <a:ext uri="{FF2B5EF4-FFF2-40B4-BE49-F238E27FC236}">
                      <a16:creationId xmlns:a16="http://schemas.microsoft.com/office/drawing/2014/main" id="{A01958F9-8A3E-4EDA-B479-0D929DF783CD}"/>
                    </a:ext>
                  </a:extLst>
                </p:cNvPr>
                <p:cNvSpPr/>
                <p:nvPr/>
              </p:nvSpPr>
              <p:spPr>
                <a:xfrm>
                  <a:off x="3345655" y="3176362"/>
                  <a:ext cx="11007" cy="11007"/>
                </a:xfrm>
                <a:custGeom>
                  <a:avLst/>
                  <a:gdLst>
                    <a:gd name="connsiteX0" fmla="*/ 11227 w 11006"/>
                    <a:gd name="connsiteY0" fmla="*/ 5944 h 0"/>
                    <a:gd name="connsiteX1" fmla="*/ 6934 w 11006"/>
                    <a:gd name="connsiteY1" fmla="*/ 8585 h 0"/>
                    <a:gd name="connsiteX2" fmla="*/ 0 w 11006"/>
                    <a:gd name="connsiteY2" fmla="*/ 3742 h 0"/>
                    <a:gd name="connsiteX3" fmla="*/ 8585 w 11006"/>
                    <a:gd name="connsiteY3" fmla="*/ 0 h 0"/>
                    <a:gd name="connsiteX4" fmla="*/ 11227 w 11006"/>
                    <a:gd name="connsiteY4" fmla="*/ 5944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>
                      <a:moveTo>
                        <a:pt x="11227" y="5944"/>
                      </a:moveTo>
                      <a:cubicBezTo>
                        <a:pt x="11227" y="7595"/>
                        <a:pt x="8585" y="8585"/>
                        <a:pt x="6934" y="8585"/>
                      </a:cubicBezTo>
                      <a:cubicBezTo>
                        <a:pt x="4843" y="8585"/>
                        <a:pt x="550" y="4293"/>
                        <a:pt x="0" y="3742"/>
                      </a:cubicBezTo>
                      <a:cubicBezTo>
                        <a:pt x="3192" y="2091"/>
                        <a:pt x="5393" y="550"/>
                        <a:pt x="8585" y="0"/>
                      </a:cubicBezTo>
                      <a:cubicBezTo>
                        <a:pt x="8585" y="1211"/>
                        <a:pt x="11227" y="4403"/>
                        <a:pt x="11227" y="594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65" name="Freeform: Shape 264">
                  <a:extLst>
                    <a:ext uri="{FF2B5EF4-FFF2-40B4-BE49-F238E27FC236}">
                      <a16:creationId xmlns:a16="http://schemas.microsoft.com/office/drawing/2014/main" id="{FD8BE960-A291-4832-9712-FF0A640AAA70}"/>
                    </a:ext>
                  </a:extLst>
                </p:cNvPr>
                <p:cNvSpPr/>
                <p:nvPr/>
              </p:nvSpPr>
              <p:spPr>
                <a:xfrm>
                  <a:off x="3456054" y="2869818"/>
                  <a:ext cx="11007" cy="11007"/>
                </a:xfrm>
                <a:custGeom>
                  <a:avLst/>
                  <a:gdLst>
                    <a:gd name="connsiteX0" fmla="*/ 12328 w 11006"/>
                    <a:gd name="connsiteY0" fmla="*/ 12218 h 11006"/>
                    <a:gd name="connsiteX1" fmla="*/ 0 w 11006"/>
                    <a:gd name="connsiteY1" fmla="*/ 5283 h 11006"/>
                    <a:gd name="connsiteX2" fmla="*/ 0 w 11006"/>
                    <a:gd name="connsiteY2" fmla="*/ 0 h 11006"/>
                    <a:gd name="connsiteX3" fmla="*/ 10126 w 11006"/>
                    <a:gd name="connsiteY3" fmla="*/ 0 h 11006"/>
                    <a:gd name="connsiteX4" fmla="*/ 13869 w 11006"/>
                    <a:gd name="connsiteY4" fmla="*/ 10677 h 11006"/>
                    <a:gd name="connsiteX5" fmla="*/ 12218 w 11006"/>
                    <a:gd name="connsiteY5" fmla="*/ 16510 h 11006"/>
                    <a:gd name="connsiteX6" fmla="*/ 12218 w 11006"/>
                    <a:gd name="connsiteY6" fmla="*/ 12218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006" h="11006">
                      <a:moveTo>
                        <a:pt x="12328" y="12218"/>
                      </a:moveTo>
                      <a:cubicBezTo>
                        <a:pt x="5944" y="12218"/>
                        <a:pt x="0" y="10677"/>
                        <a:pt x="0" y="5283"/>
                      </a:cubicBezTo>
                      <a:lnTo>
                        <a:pt x="0" y="0"/>
                      </a:lnTo>
                      <a:lnTo>
                        <a:pt x="10126" y="0"/>
                      </a:lnTo>
                      <a:cubicBezTo>
                        <a:pt x="10126" y="6384"/>
                        <a:pt x="13869" y="5393"/>
                        <a:pt x="13869" y="10677"/>
                      </a:cubicBezTo>
                      <a:cubicBezTo>
                        <a:pt x="13869" y="14969"/>
                        <a:pt x="12768" y="13869"/>
                        <a:pt x="12218" y="16510"/>
                      </a:cubicBezTo>
                      <a:lnTo>
                        <a:pt x="12218" y="12218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66" name="Freeform: Shape 265">
                  <a:extLst>
                    <a:ext uri="{FF2B5EF4-FFF2-40B4-BE49-F238E27FC236}">
                      <a16:creationId xmlns:a16="http://schemas.microsoft.com/office/drawing/2014/main" id="{08E72E7C-09D2-465E-A542-17B6A9B11554}"/>
                    </a:ext>
                  </a:extLst>
                </p:cNvPr>
                <p:cNvSpPr/>
                <p:nvPr/>
              </p:nvSpPr>
              <p:spPr>
                <a:xfrm>
                  <a:off x="3472454" y="2854297"/>
                  <a:ext cx="22014" cy="33021"/>
                </a:xfrm>
                <a:custGeom>
                  <a:avLst/>
                  <a:gdLst>
                    <a:gd name="connsiteX0" fmla="*/ 3853 w 22013"/>
                    <a:gd name="connsiteY0" fmla="*/ 31480 h 33020"/>
                    <a:gd name="connsiteX1" fmla="*/ 11337 w 22013"/>
                    <a:gd name="connsiteY1" fmla="*/ 24545 h 33020"/>
                    <a:gd name="connsiteX2" fmla="*/ 110 w 22013"/>
                    <a:gd name="connsiteY2" fmla="*/ 16070 h 33020"/>
                    <a:gd name="connsiteX3" fmla="*/ 10236 w 22013"/>
                    <a:gd name="connsiteY3" fmla="*/ 0 h 33020"/>
                    <a:gd name="connsiteX4" fmla="*/ 24105 w 22013"/>
                    <a:gd name="connsiteY4" fmla="*/ 13869 h 33020"/>
                    <a:gd name="connsiteX5" fmla="*/ 7485 w 22013"/>
                    <a:gd name="connsiteY5" fmla="*/ 35222 h 33020"/>
                    <a:gd name="connsiteX6" fmla="*/ 0 w 22013"/>
                    <a:gd name="connsiteY6" fmla="*/ 32030 h 33020"/>
                    <a:gd name="connsiteX7" fmla="*/ 2642 w 22013"/>
                    <a:gd name="connsiteY7" fmla="*/ 29278 h 33020"/>
                    <a:gd name="connsiteX8" fmla="*/ 3853 w 22013"/>
                    <a:gd name="connsiteY8" fmla="*/ 31480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2013" h="33020">
                      <a:moveTo>
                        <a:pt x="3853" y="31480"/>
                      </a:moveTo>
                      <a:cubicBezTo>
                        <a:pt x="7595" y="30930"/>
                        <a:pt x="11337" y="27187"/>
                        <a:pt x="11337" y="24545"/>
                      </a:cubicBezTo>
                      <a:cubicBezTo>
                        <a:pt x="6054" y="23445"/>
                        <a:pt x="110" y="19152"/>
                        <a:pt x="110" y="16070"/>
                      </a:cubicBezTo>
                      <a:cubicBezTo>
                        <a:pt x="110" y="13869"/>
                        <a:pt x="6494" y="0"/>
                        <a:pt x="10236" y="0"/>
                      </a:cubicBezTo>
                      <a:cubicBezTo>
                        <a:pt x="20913" y="0"/>
                        <a:pt x="21464" y="4843"/>
                        <a:pt x="24105" y="13869"/>
                      </a:cubicBezTo>
                      <a:cubicBezTo>
                        <a:pt x="15079" y="16510"/>
                        <a:pt x="19262" y="35222"/>
                        <a:pt x="7485" y="35222"/>
                      </a:cubicBezTo>
                      <a:cubicBezTo>
                        <a:pt x="3742" y="35222"/>
                        <a:pt x="550" y="32581"/>
                        <a:pt x="0" y="32030"/>
                      </a:cubicBezTo>
                      <a:cubicBezTo>
                        <a:pt x="550" y="30930"/>
                        <a:pt x="2091" y="29829"/>
                        <a:pt x="2642" y="29278"/>
                      </a:cubicBezTo>
                      <a:lnTo>
                        <a:pt x="3853" y="3148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67" name="Freeform: Shape 266">
                  <a:extLst>
                    <a:ext uri="{FF2B5EF4-FFF2-40B4-BE49-F238E27FC236}">
                      <a16:creationId xmlns:a16="http://schemas.microsoft.com/office/drawing/2014/main" id="{5B1FF1B0-66AC-4C4D-B81A-D35E961A05B0}"/>
                    </a:ext>
                  </a:extLst>
                </p:cNvPr>
                <p:cNvSpPr/>
                <p:nvPr/>
              </p:nvSpPr>
              <p:spPr>
                <a:xfrm>
                  <a:off x="3578097" y="2815332"/>
                  <a:ext cx="11007" cy="11007"/>
                </a:xfrm>
                <a:custGeom>
                  <a:avLst/>
                  <a:gdLst>
                    <a:gd name="connsiteX0" fmla="*/ 8720 w 11006"/>
                    <a:gd name="connsiteY0" fmla="*/ 6934 h 11006"/>
                    <a:gd name="connsiteX1" fmla="*/ 685 w 11006"/>
                    <a:gd name="connsiteY1" fmla="*/ 20253 h 11006"/>
                    <a:gd name="connsiteX2" fmla="*/ 685 w 11006"/>
                    <a:gd name="connsiteY2" fmla="*/ 13318 h 11006"/>
                    <a:gd name="connsiteX3" fmla="*/ 13013 w 11006"/>
                    <a:gd name="connsiteY3" fmla="*/ 0 h 11006"/>
                    <a:gd name="connsiteX4" fmla="*/ 8720 w 11006"/>
                    <a:gd name="connsiteY4" fmla="*/ 6934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 h="11006">
                      <a:moveTo>
                        <a:pt x="8720" y="6934"/>
                      </a:moveTo>
                      <a:cubicBezTo>
                        <a:pt x="8720" y="12768"/>
                        <a:pt x="4427" y="15410"/>
                        <a:pt x="685" y="20253"/>
                      </a:cubicBezTo>
                      <a:cubicBezTo>
                        <a:pt x="-856" y="18162"/>
                        <a:pt x="685" y="15960"/>
                        <a:pt x="685" y="13318"/>
                      </a:cubicBezTo>
                      <a:cubicBezTo>
                        <a:pt x="685" y="10126"/>
                        <a:pt x="3327" y="550"/>
                        <a:pt x="13013" y="0"/>
                      </a:cubicBezTo>
                      <a:cubicBezTo>
                        <a:pt x="11802" y="2201"/>
                        <a:pt x="8720" y="4293"/>
                        <a:pt x="8720" y="693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68" name="Freeform: Shape 267">
                  <a:extLst>
                    <a:ext uri="{FF2B5EF4-FFF2-40B4-BE49-F238E27FC236}">
                      <a16:creationId xmlns:a16="http://schemas.microsoft.com/office/drawing/2014/main" id="{D18F742B-73FC-4AF9-81B8-0E227C4D9CBF}"/>
                    </a:ext>
                  </a:extLst>
                </p:cNvPr>
                <p:cNvSpPr/>
                <p:nvPr/>
              </p:nvSpPr>
              <p:spPr>
                <a:xfrm>
                  <a:off x="3633596" y="2788586"/>
                  <a:ext cx="11007" cy="22014"/>
                </a:xfrm>
                <a:custGeom>
                  <a:avLst/>
                  <a:gdLst>
                    <a:gd name="connsiteX0" fmla="*/ 14419 w 11006"/>
                    <a:gd name="connsiteY0" fmla="*/ 12328 h 22013"/>
                    <a:gd name="connsiteX1" fmla="*/ 14419 w 11006"/>
                    <a:gd name="connsiteY1" fmla="*/ 18712 h 22013"/>
                    <a:gd name="connsiteX2" fmla="*/ 5394 w 11006"/>
                    <a:gd name="connsiteY2" fmla="*/ 24105 h 22013"/>
                    <a:gd name="connsiteX3" fmla="*/ 0 w 11006"/>
                    <a:gd name="connsiteY3" fmla="*/ 16070 h 22013"/>
                    <a:gd name="connsiteX4" fmla="*/ 11778 w 11006"/>
                    <a:gd name="connsiteY4" fmla="*/ 11777 h 22013"/>
                    <a:gd name="connsiteX5" fmla="*/ 8035 w 11006"/>
                    <a:gd name="connsiteY5" fmla="*/ 5393 h 22013"/>
                    <a:gd name="connsiteX6" fmla="*/ 12768 w 11006"/>
                    <a:gd name="connsiteY6" fmla="*/ 0 h 22013"/>
                    <a:gd name="connsiteX7" fmla="*/ 18602 w 11006"/>
                    <a:gd name="connsiteY7" fmla="*/ 5393 h 22013"/>
                    <a:gd name="connsiteX8" fmla="*/ 14419 w 11006"/>
                    <a:gd name="connsiteY8" fmla="*/ 12328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006" h="22013">
                      <a:moveTo>
                        <a:pt x="14419" y="12328"/>
                      </a:moveTo>
                      <a:lnTo>
                        <a:pt x="14419" y="18712"/>
                      </a:lnTo>
                      <a:cubicBezTo>
                        <a:pt x="14419" y="20253"/>
                        <a:pt x="7485" y="24105"/>
                        <a:pt x="5394" y="24105"/>
                      </a:cubicBezTo>
                      <a:cubicBezTo>
                        <a:pt x="551" y="24105"/>
                        <a:pt x="0" y="19262"/>
                        <a:pt x="0" y="16070"/>
                      </a:cubicBezTo>
                      <a:cubicBezTo>
                        <a:pt x="4293" y="15520"/>
                        <a:pt x="7485" y="12328"/>
                        <a:pt x="11778" y="11777"/>
                      </a:cubicBezTo>
                      <a:cubicBezTo>
                        <a:pt x="10127" y="9686"/>
                        <a:pt x="8035" y="8035"/>
                        <a:pt x="8035" y="5393"/>
                      </a:cubicBezTo>
                      <a:cubicBezTo>
                        <a:pt x="8035" y="2752"/>
                        <a:pt x="12768" y="0"/>
                        <a:pt x="12768" y="0"/>
                      </a:cubicBezTo>
                      <a:cubicBezTo>
                        <a:pt x="15410" y="3192"/>
                        <a:pt x="16510" y="4293"/>
                        <a:pt x="18602" y="5393"/>
                      </a:cubicBezTo>
                      <a:cubicBezTo>
                        <a:pt x="18272" y="8145"/>
                        <a:pt x="15630" y="11888"/>
                        <a:pt x="14419" y="1232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69" name="Freeform: Shape 268">
                  <a:extLst>
                    <a:ext uri="{FF2B5EF4-FFF2-40B4-BE49-F238E27FC236}">
                      <a16:creationId xmlns:a16="http://schemas.microsoft.com/office/drawing/2014/main" id="{A40E6EFE-B8FB-47ED-9F48-4818D37C4C5E}"/>
                    </a:ext>
                  </a:extLst>
                </p:cNvPr>
                <p:cNvSpPr/>
                <p:nvPr/>
              </p:nvSpPr>
              <p:spPr>
                <a:xfrm>
                  <a:off x="3666728" y="3255736"/>
                  <a:ext cx="33021" cy="11007"/>
                </a:xfrm>
                <a:custGeom>
                  <a:avLst/>
                  <a:gdLst>
                    <a:gd name="connsiteX0" fmla="*/ 33681 w 33020"/>
                    <a:gd name="connsiteY0" fmla="*/ 3947 h 0"/>
                    <a:gd name="connsiteX1" fmla="*/ 20363 w 33020"/>
                    <a:gd name="connsiteY1" fmla="*/ 5048 h 0"/>
                    <a:gd name="connsiteX2" fmla="*/ 0 w 33020"/>
                    <a:gd name="connsiteY2" fmla="*/ 755 h 0"/>
                    <a:gd name="connsiteX3" fmla="*/ 33681 w 33020"/>
                    <a:gd name="connsiteY3" fmla="*/ 3947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020">
                      <a:moveTo>
                        <a:pt x="33681" y="3947"/>
                      </a:moveTo>
                      <a:cubicBezTo>
                        <a:pt x="26747" y="7689"/>
                        <a:pt x="24105" y="5048"/>
                        <a:pt x="20363" y="5048"/>
                      </a:cubicBezTo>
                      <a:cubicBezTo>
                        <a:pt x="16070" y="5048"/>
                        <a:pt x="5944" y="3947"/>
                        <a:pt x="0" y="755"/>
                      </a:cubicBezTo>
                      <a:cubicBezTo>
                        <a:pt x="11778" y="-1336"/>
                        <a:pt x="24546" y="1305"/>
                        <a:pt x="33681" y="3947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70" name="Freeform: Shape 269">
                  <a:extLst>
                    <a:ext uri="{FF2B5EF4-FFF2-40B4-BE49-F238E27FC236}">
                      <a16:creationId xmlns:a16="http://schemas.microsoft.com/office/drawing/2014/main" id="{82C05ADD-64DE-431A-BD39-0C6D103B5D31}"/>
                    </a:ext>
                  </a:extLst>
                </p:cNvPr>
                <p:cNvSpPr/>
                <p:nvPr/>
              </p:nvSpPr>
              <p:spPr>
                <a:xfrm>
                  <a:off x="5559814" y="3878386"/>
                  <a:ext cx="55035" cy="33021"/>
                </a:xfrm>
                <a:custGeom>
                  <a:avLst/>
                  <a:gdLst>
                    <a:gd name="connsiteX0" fmla="*/ 15520 w 55034"/>
                    <a:gd name="connsiteY0" fmla="*/ 32140 h 33020"/>
                    <a:gd name="connsiteX1" fmla="*/ 0 w 55034"/>
                    <a:gd name="connsiteY1" fmla="*/ 21464 h 33020"/>
                    <a:gd name="connsiteX2" fmla="*/ 15960 w 55034"/>
                    <a:gd name="connsiteY2" fmla="*/ 21464 h 33020"/>
                    <a:gd name="connsiteX3" fmla="*/ 21904 w 55034"/>
                    <a:gd name="connsiteY3" fmla="*/ 19813 h 33020"/>
                    <a:gd name="connsiteX4" fmla="*/ 42707 w 55034"/>
                    <a:gd name="connsiteY4" fmla="*/ 15520 h 33020"/>
                    <a:gd name="connsiteX5" fmla="*/ 54374 w 55034"/>
                    <a:gd name="connsiteY5" fmla="*/ 0 h 33020"/>
                    <a:gd name="connsiteX6" fmla="*/ 59218 w 55034"/>
                    <a:gd name="connsiteY6" fmla="*/ 8035 h 33020"/>
                    <a:gd name="connsiteX7" fmla="*/ 48101 w 55034"/>
                    <a:gd name="connsiteY7" fmla="*/ 26747 h 33020"/>
                    <a:gd name="connsiteX8" fmla="*/ 22454 w 55034"/>
                    <a:gd name="connsiteY8" fmla="*/ 34782 h 33020"/>
                    <a:gd name="connsiteX9" fmla="*/ 12768 w 55034"/>
                    <a:gd name="connsiteY9" fmla="*/ 29389 h 33020"/>
                    <a:gd name="connsiteX10" fmla="*/ 15520 w 55034"/>
                    <a:gd name="connsiteY10" fmla="*/ 32140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5034" h="33020">
                      <a:moveTo>
                        <a:pt x="15520" y="32140"/>
                      </a:moveTo>
                      <a:cubicBezTo>
                        <a:pt x="11227" y="26747"/>
                        <a:pt x="1651" y="28398"/>
                        <a:pt x="0" y="21464"/>
                      </a:cubicBezTo>
                      <a:lnTo>
                        <a:pt x="15960" y="21464"/>
                      </a:lnTo>
                      <a:cubicBezTo>
                        <a:pt x="17061" y="21904"/>
                        <a:pt x="21904" y="19813"/>
                        <a:pt x="21904" y="19813"/>
                      </a:cubicBezTo>
                      <a:cubicBezTo>
                        <a:pt x="29939" y="17171"/>
                        <a:pt x="37864" y="17721"/>
                        <a:pt x="42707" y="15520"/>
                      </a:cubicBezTo>
                      <a:cubicBezTo>
                        <a:pt x="50192" y="11777"/>
                        <a:pt x="47000" y="0"/>
                        <a:pt x="54374" y="0"/>
                      </a:cubicBezTo>
                      <a:cubicBezTo>
                        <a:pt x="57567" y="0"/>
                        <a:pt x="59218" y="4843"/>
                        <a:pt x="59218" y="8035"/>
                      </a:cubicBezTo>
                      <a:cubicBezTo>
                        <a:pt x="59218" y="19262"/>
                        <a:pt x="48101" y="17061"/>
                        <a:pt x="48101" y="26747"/>
                      </a:cubicBezTo>
                      <a:cubicBezTo>
                        <a:pt x="38415" y="28948"/>
                        <a:pt x="33682" y="34782"/>
                        <a:pt x="22454" y="34782"/>
                      </a:cubicBezTo>
                      <a:cubicBezTo>
                        <a:pt x="20363" y="34782"/>
                        <a:pt x="13429" y="31040"/>
                        <a:pt x="12768" y="29389"/>
                      </a:cubicBezTo>
                      <a:lnTo>
                        <a:pt x="15520" y="3214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71" name="Freeform: Shape 270">
                  <a:extLst>
                    <a:ext uri="{FF2B5EF4-FFF2-40B4-BE49-F238E27FC236}">
                      <a16:creationId xmlns:a16="http://schemas.microsoft.com/office/drawing/2014/main" id="{E8F77DC0-4029-490D-A001-A24E9565B99D}"/>
                    </a:ext>
                  </a:extLst>
                </p:cNvPr>
                <p:cNvSpPr/>
                <p:nvPr/>
              </p:nvSpPr>
              <p:spPr>
                <a:xfrm>
                  <a:off x="5601422" y="3854500"/>
                  <a:ext cx="22014" cy="22014"/>
                </a:xfrm>
                <a:custGeom>
                  <a:avLst/>
                  <a:gdLst>
                    <a:gd name="connsiteX0" fmla="*/ 27848 w 22013"/>
                    <a:gd name="connsiteY0" fmla="*/ 29829 h 22013"/>
                    <a:gd name="connsiteX1" fmla="*/ 22454 w 22013"/>
                    <a:gd name="connsiteY1" fmla="*/ 19702 h 22013"/>
                    <a:gd name="connsiteX2" fmla="*/ 9686 w 22013"/>
                    <a:gd name="connsiteY2" fmla="*/ 6384 h 22013"/>
                    <a:gd name="connsiteX3" fmla="*/ 0 w 22013"/>
                    <a:gd name="connsiteY3" fmla="*/ 0 h 22013"/>
                    <a:gd name="connsiteX4" fmla="*/ 20803 w 22013"/>
                    <a:gd name="connsiteY4" fmla="*/ 15410 h 22013"/>
                    <a:gd name="connsiteX5" fmla="*/ 30930 w 22013"/>
                    <a:gd name="connsiteY5" fmla="*/ 26086 h 22013"/>
                    <a:gd name="connsiteX6" fmla="*/ 30930 w 22013"/>
                    <a:gd name="connsiteY6" fmla="*/ 29829 h 22013"/>
                    <a:gd name="connsiteX7" fmla="*/ 27848 w 22013"/>
                    <a:gd name="connsiteY7" fmla="*/ 29829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013" h="22013">
                      <a:moveTo>
                        <a:pt x="27848" y="29829"/>
                      </a:moveTo>
                      <a:cubicBezTo>
                        <a:pt x="21463" y="28728"/>
                        <a:pt x="21463" y="24986"/>
                        <a:pt x="22454" y="19702"/>
                      </a:cubicBezTo>
                      <a:cubicBezTo>
                        <a:pt x="15520" y="16510"/>
                        <a:pt x="16620" y="10677"/>
                        <a:pt x="9686" y="6384"/>
                      </a:cubicBezTo>
                      <a:cubicBezTo>
                        <a:pt x="5393" y="3632"/>
                        <a:pt x="1651" y="4183"/>
                        <a:pt x="0" y="0"/>
                      </a:cubicBezTo>
                      <a:cubicBezTo>
                        <a:pt x="10126" y="3192"/>
                        <a:pt x="14859" y="9576"/>
                        <a:pt x="20803" y="15410"/>
                      </a:cubicBezTo>
                      <a:cubicBezTo>
                        <a:pt x="25096" y="19702"/>
                        <a:pt x="30930" y="18602"/>
                        <a:pt x="30930" y="26086"/>
                      </a:cubicBezTo>
                      <a:cubicBezTo>
                        <a:pt x="30930" y="27187"/>
                        <a:pt x="30379" y="28728"/>
                        <a:pt x="30930" y="29829"/>
                      </a:cubicBezTo>
                      <a:cubicBezTo>
                        <a:pt x="29939" y="29829"/>
                        <a:pt x="28838" y="30930"/>
                        <a:pt x="27848" y="29829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72" name="Freeform: Shape 271">
                  <a:extLst>
                    <a:ext uri="{FF2B5EF4-FFF2-40B4-BE49-F238E27FC236}">
                      <a16:creationId xmlns:a16="http://schemas.microsoft.com/office/drawing/2014/main" id="{10428034-FB44-4584-9A66-992474E5E521}"/>
                    </a:ext>
                  </a:extLst>
                </p:cNvPr>
                <p:cNvSpPr/>
                <p:nvPr/>
              </p:nvSpPr>
              <p:spPr>
                <a:xfrm>
                  <a:off x="5656617" y="3898198"/>
                  <a:ext cx="11007" cy="11007"/>
                </a:xfrm>
                <a:custGeom>
                  <a:avLst/>
                  <a:gdLst>
                    <a:gd name="connsiteX0" fmla="*/ 7763 w 11006"/>
                    <a:gd name="connsiteY0" fmla="*/ 11667 h 11006"/>
                    <a:gd name="connsiteX1" fmla="*/ 279 w 11006"/>
                    <a:gd name="connsiteY1" fmla="*/ 0 h 11006"/>
                    <a:gd name="connsiteX2" fmla="*/ 14698 w 11006"/>
                    <a:gd name="connsiteY2" fmla="*/ 15410 h 11006"/>
                    <a:gd name="connsiteX3" fmla="*/ 10956 w 11006"/>
                    <a:gd name="connsiteY3" fmla="*/ 19702 h 11006"/>
                    <a:gd name="connsiteX4" fmla="*/ 7763 w 11006"/>
                    <a:gd name="connsiteY4" fmla="*/ 15960 h 11006"/>
                    <a:gd name="connsiteX5" fmla="*/ 7763 w 11006"/>
                    <a:gd name="connsiteY5" fmla="*/ 11667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06" h="11006">
                      <a:moveTo>
                        <a:pt x="7763" y="11667"/>
                      </a:moveTo>
                      <a:cubicBezTo>
                        <a:pt x="1269" y="10677"/>
                        <a:pt x="-822" y="5393"/>
                        <a:pt x="279" y="0"/>
                      </a:cubicBezTo>
                      <a:cubicBezTo>
                        <a:pt x="3471" y="2091"/>
                        <a:pt x="14698" y="13869"/>
                        <a:pt x="14698" y="15410"/>
                      </a:cubicBezTo>
                      <a:cubicBezTo>
                        <a:pt x="14698" y="17061"/>
                        <a:pt x="12607" y="19702"/>
                        <a:pt x="10956" y="19702"/>
                      </a:cubicBezTo>
                      <a:cubicBezTo>
                        <a:pt x="9305" y="19702"/>
                        <a:pt x="7763" y="17611"/>
                        <a:pt x="7763" y="15960"/>
                      </a:cubicBezTo>
                      <a:lnTo>
                        <a:pt x="7763" y="11667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73" name="Freeform: Shape 272">
                  <a:extLst>
                    <a:ext uri="{FF2B5EF4-FFF2-40B4-BE49-F238E27FC236}">
                      <a16:creationId xmlns:a16="http://schemas.microsoft.com/office/drawing/2014/main" id="{3D5AB2C7-E19C-4620-AFF1-CA0B1B18D54C}"/>
                    </a:ext>
                  </a:extLst>
                </p:cNvPr>
                <p:cNvSpPr/>
                <p:nvPr/>
              </p:nvSpPr>
              <p:spPr>
                <a:xfrm>
                  <a:off x="5759866" y="3969743"/>
                  <a:ext cx="11007" cy="11007"/>
                </a:xfrm>
                <a:custGeom>
                  <a:avLst/>
                  <a:gdLst>
                    <a:gd name="connsiteX0" fmla="*/ 8530 w 0"/>
                    <a:gd name="connsiteY0" fmla="*/ 7925 h 11006"/>
                    <a:gd name="connsiteX1" fmla="*/ 8530 w 0"/>
                    <a:gd name="connsiteY1" fmla="*/ 11117 h 11006"/>
                    <a:gd name="connsiteX2" fmla="*/ 55 w 0"/>
                    <a:gd name="connsiteY2" fmla="*/ 0 h 11006"/>
                    <a:gd name="connsiteX3" fmla="*/ 8530 w 0"/>
                    <a:gd name="connsiteY3" fmla="*/ 7925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h="11006">
                      <a:moveTo>
                        <a:pt x="8530" y="7925"/>
                      </a:moveTo>
                      <a:cubicBezTo>
                        <a:pt x="8530" y="9026"/>
                        <a:pt x="7980" y="10016"/>
                        <a:pt x="8530" y="11117"/>
                      </a:cubicBezTo>
                      <a:cubicBezTo>
                        <a:pt x="3137" y="11117"/>
                        <a:pt x="-495" y="3082"/>
                        <a:pt x="55" y="0"/>
                      </a:cubicBezTo>
                      <a:cubicBezTo>
                        <a:pt x="4348" y="2642"/>
                        <a:pt x="8530" y="3632"/>
                        <a:pt x="8530" y="792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74" name="Freeform: Shape 273">
                  <a:extLst>
                    <a:ext uri="{FF2B5EF4-FFF2-40B4-BE49-F238E27FC236}">
                      <a16:creationId xmlns:a16="http://schemas.microsoft.com/office/drawing/2014/main" id="{C3E17020-171A-42DD-B2ED-69F8B43B6172}"/>
                    </a:ext>
                  </a:extLst>
                </p:cNvPr>
                <p:cNvSpPr/>
                <p:nvPr/>
              </p:nvSpPr>
              <p:spPr>
                <a:xfrm>
                  <a:off x="5736366" y="3961264"/>
                  <a:ext cx="11007" cy="11007"/>
                </a:xfrm>
                <a:custGeom>
                  <a:avLst/>
                  <a:gdLst>
                    <a:gd name="connsiteX0" fmla="*/ 17611 w 11006"/>
                    <a:gd name="connsiteY0" fmla="*/ 7379 h 0"/>
                    <a:gd name="connsiteX1" fmla="*/ 14970 w 11006"/>
                    <a:gd name="connsiteY1" fmla="*/ 8480 h 0"/>
                    <a:gd name="connsiteX2" fmla="*/ 0 w 11006"/>
                    <a:gd name="connsiteY2" fmla="*/ 4 h 0"/>
                    <a:gd name="connsiteX3" fmla="*/ 17611 w 11006"/>
                    <a:gd name="connsiteY3" fmla="*/ 7379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06">
                      <a:moveTo>
                        <a:pt x="17611" y="7379"/>
                      </a:moveTo>
                      <a:cubicBezTo>
                        <a:pt x="17061" y="7379"/>
                        <a:pt x="15520" y="8480"/>
                        <a:pt x="14970" y="8480"/>
                      </a:cubicBezTo>
                      <a:cubicBezTo>
                        <a:pt x="8585" y="8480"/>
                        <a:pt x="0" y="6278"/>
                        <a:pt x="0" y="4"/>
                      </a:cubicBezTo>
                      <a:cubicBezTo>
                        <a:pt x="8585" y="-106"/>
                        <a:pt x="13979" y="1985"/>
                        <a:pt x="17611" y="7379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75" name="Freeform: Shape 274">
                  <a:extLst>
                    <a:ext uri="{FF2B5EF4-FFF2-40B4-BE49-F238E27FC236}">
                      <a16:creationId xmlns:a16="http://schemas.microsoft.com/office/drawing/2014/main" id="{AEC0D04A-69CC-413F-8DBA-AB1171CBC944}"/>
                    </a:ext>
                  </a:extLst>
                </p:cNvPr>
                <p:cNvSpPr/>
                <p:nvPr/>
              </p:nvSpPr>
              <p:spPr>
                <a:xfrm>
                  <a:off x="5739118" y="3940355"/>
                  <a:ext cx="11007" cy="11007"/>
                </a:xfrm>
                <a:custGeom>
                  <a:avLst/>
                  <a:gdLst>
                    <a:gd name="connsiteX0" fmla="*/ 15520 w 11006"/>
                    <a:gd name="connsiteY0" fmla="*/ 17061 h 11006"/>
                    <a:gd name="connsiteX1" fmla="*/ 0 w 11006"/>
                    <a:gd name="connsiteY1" fmla="*/ 0 h 11006"/>
                    <a:gd name="connsiteX2" fmla="*/ 15520 w 11006"/>
                    <a:gd name="connsiteY2" fmla="*/ 17061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006" h="11006">
                      <a:moveTo>
                        <a:pt x="15520" y="17061"/>
                      </a:moveTo>
                      <a:cubicBezTo>
                        <a:pt x="10127" y="17061"/>
                        <a:pt x="551" y="4293"/>
                        <a:pt x="0" y="0"/>
                      </a:cubicBezTo>
                      <a:cubicBezTo>
                        <a:pt x="7485" y="4183"/>
                        <a:pt x="12768" y="9026"/>
                        <a:pt x="15520" y="1706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76" name="Freeform: Shape 275">
                  <a:extLst>
                    <a:ext uri="{FF2B5EF4-FFF2-40B4-BE49-F238E27FC236}">
                      <a16:creationId xmlns:a16="http://schemas.microsoft.com/office/drawing/2014/main" id="{4E436E1A-282F-4694-B495-9F70C3D41C98}"/>
                    </a:ext>
                  </a:extLst>
                </p:cNvPr>
                <p:cNvSpPr/>
                <p:nvPr/>
              </p:nvSpPr>
              <p:spPr>
                <a:xfrm>
                  <a:off x="5706537" y="3927587"/>
                  <a:ext cx="11007" cy="11007"/>
                </a:xfrm>
                <a:custGeom>
                  <a:avLst/>
                  <a:gdLst>
                    <a:gd name="connsiteX0" fmla="*/ 2091 w 11006"/>
                    <a:gd name="connsiteY0" fmla="*/ 0 h 11006"/>
                    <a:gd name="connsiteX1" fmla="*/ 20803 w 11006"/>
                    <a:gd name="connsiteY1" fmla="*/ 10677 h 11006"/>
                    <a:gd name="connsiteX2" fmla="*/ 16510 w 11006"/>
                    <a:gd name="connsiteY2" fmla="*/ 11777 h 11006"/>
                    <a:gd name="connsiteX3" fmla="*/ 0 w 11006"/>
                    <a:gd name="connsiteY3" fmla="*/ 1651 h 11006"/>
                    <a:gd name="connsiteX4" fmla="*/ 1101 w 11006"/>
                    <a:gd name="connsiteY4" fmla="*/ 1651 h 11006"/>
                    <a:gd name="connsiteX5" fmla="*/ 2091 w 11006"/>
                    <a:gd name="connsiteY5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06" h="11006">
                      <a:moveTo>
                        <a:pt x="2091" y="0"/>
                      </a:moveTo>
                      <a:cubicBezTo>
                        <a:pt x="6934" y="2752"/>
                        <a:pt x="17611" y="5834"/>
                        <a:pt x="20803" y="10677"/>
                      </a:cubicBezTo>
                      <a:cubicBezTo>
                        <a:pt x="19703" y="11227"/>
                        <a:pt x="18161" y="11777"/>
                        <a:pt x="16510" y="11777"/>
                      </a:cubicBezTo>
                      <a:cubicBezTo>
                        <a:pt x="12328" y="11777"/>
                        <a:pt x="0" y="7485"/>
                        <a:pt x="0" y="1651"/>
                      </a:cubicBezTo>
                      <a:lnTo>
                        <a:pt x="1101" y="1651"/>
                      </a:lnTo>
                      <a:lnTo>
                        <a:pt x="2091" y="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77" name="Freeform: Shape 276">
                  <a:extLst>
                    <a:ext uri="{FF2B5EF4-FFF2-40B4-BE49-F238E27FC236}">
                      <a16:creationId xmlns:a16="http://schemas.microsoft.com/office/drawing/2014/main" id="{3F8BE48F-066E-4610-B79D-A00CCD5B077F}"/>
                    </a:ext>
                  </a:extLst>
                </p:cNvPr>
                <p:cNvSpPr/>
                <p:nvPr/>
              </p:nvSpPr>
              <p:spPr>
                <a:xfrm>
                  <a:off x="5682542" y="3914268"/>
                  <a:ext cx="11007" cy="11007"/>
                </a:xfrm>
                <a:custGeom>
                  <a:avLst/>
                  <a:gdLst>
                    <a:gd name="connsiteX0" fmla="*/ 0 w 11006"/>
                    <a:gd name="connsiteY0" fmla="*/ 0 h 0"/>
                    <a:gd name="connsiteX1" fmla="*/ 12878 w 11006"/>
                    <a:gd name="connsiteY1" fmla="*/ 7485 h 0"/>
                    <a:gd name="connsiteX2" fmla="*/ 8035 w 11006"/>
                    <a:gd name="connsiteY2" fmla="*/ 7485 h 0"/>
                    <a:gd name="connsiteX3" fmla="*/ 0 w 11006"/>
                    <a:gd name="connsiteY3" fmla="*/ 2091 h 0"/>
                    <a:gd name="connsiteX4" fmla="*/ 2642 w 11006"/>
                    <a:gd name="connsiteY4" fmla="*/ 1651 h 0"/>
                    <a:gd name="connsiteX5" fmla="*/ 0 w 11006"/>
                    <a:gd name="connsiteY5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06">
                      <a:moveTo>
                        <a:pt x="0" y="0"/>
                      </a:moveTo>
                      <a:cubicBezTo>
                        <a:pt x="5834" y="4293"/>
                        <a:pt x="9576" y="2642"/>
                        <a:pt x="12878" y="7485"/>
                      </a:cubicBezTo>
                      <a:lnTo>
                        <a:pt x="8035" y="7485"/>
                      </a:lnTo>
                      <a:lnTo>
                        <a:pt x="0" y="2091"/>
                      </a:lnTo>
                      <a:cubicBezTo>
                        <a:pt x="550" y="2091"/>
                        <a:pt x="2642" y="2091"/>
                        <a:pt x="2642" y="165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78" name="Freeform: Shape 277">
                  <a:extLst>
                    <a:ext uri="{FF2B5EF4-FFF2-40B4-BE49-F238E27FC236}">
                      <a16:creationId xmlns:a16="http://schemas.microsoft.com/office/drawing/2014/main" id="{16DD60E4-B58F-496E-B205-F1FD3EE96BC1}"/>
                    </a:ext>
                  </a:extLst>
                </p:cNvPr>
                <p:cNvSpPr/>
                <p:nvPr/>
              </p:nvSpPr>
              <p:spPr>
                <a:xfrm>
                  <a:off x="5499057" y="4471661"/>
                  <a:ext cx="55035" cy="55035"/>
                </a:xfrm>
                <a:custGeom>
                  <a:avLst/>
                  <a:gdLst>
                    <a:gd name="connsiteX0" fmla="*/ 29389 w 55034"/>
                    <a:gd name="connsiteY0" fmla="*/ 5283 h 55034"/>
                    <a:gd name="connsiteX1" fmla="*/ 52834 w 55034"/>
                    <a:gd name="connsiteY1" fmla="*/ 0 h 55034"/>
                    <a:gd name="connsiteX2" fmla="*/ 58777 w 55034"/>
                    <a:gd name="connsiteY2" fmla="*/ 15960 h 55034"/>
                    <a:gd name="connsiteX3" fmla="*/ 33681 w 55034"/>
                    <a:gd name="connsiteY3" fmla="*/ 55915 h 55034"/>
                    <a:gd name="connsiteX4" fmla="*/ 0 w 55034"/>
                    <a:gd name="connsiteY4" fmla="*/ 5283 h 55034"/>
                    <a:gd name="connsiteX5" fmla="*/ 29389 w 55034"/>
                    <a:gd name="connsiteY5" fmla="*/ 5283 h 55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5034" h="55034">
                      <a:moveTo>
                        <a:pt x="29389" y="5283"/>
                      </a:moveTo>
                      <a:cubicBezTo>
                        <a:pt x="36323" y="5283"/>
                        <a:pt x="45349" y="2091"/>
                        <a:pt x="52834" y="0"/>
                      </a:cubicBezTo>
                      <a:cubicBezTo>
                        <a:pt x="54485" y="6384"/>
                        <a:pt x="58777" y="9576"/>
                        <a:pt x="58777" y="15960"/>
                      </a:cubicBezTo>
                      <a:cubicBezTo>
                        <a:pt x="58777" y="27738"/>
                        <a:pt x="44358" y="55915"/>
                        <a:pt x="33681" y="55915"/>
                      </a:cubicBezTo>
                      <a:cubicBezTo>
                        <a:pt x="17721" y="55915"/>
                        <a:pt x="0" y="16510"/>
                        <a:pt x="0" y="5283"/>
                      </a:cubicBezTo>
                      <a:cubicBezTo>
                        <a:pt x="0" y="-3302"/>
                        <a:pt x="28838" y="5283"/>
                        <a:pt x="29389" y="528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BC2342B8-CEA3-4BAF-90B5-F993B6AD9DB1}"/>
                    </a:ext>
                  </a:extLst>
                </p:cNvPr>
                <p:cNvSpPr/>
                <p:nvPr/>
              </p:nvSpPr>
              <p:spPr>
                <a:xfrm>
                  <a:off x="5549688" y="4457242"/>
                  <a:ext cx="11007" cy="11007"/>
                </a:xfrm>
                <a:custGeom>
                  <a:avLst/>
                  <a:gdLst>
                    <a:gd name="connsiteX0" fmla="*/ 6934 w 0"/>
                    <a:gd name="connsiteY0" fmla="*/ 0 h 0"/>
                    <a:gd name="connsiteX1" fmla="*/ 5393 w 0"/>
                    <a:gd name="connsiteY1" fmla="*/ 9026 h 0"/>
                    <a:gd name="connsiteX2" fmla="*/ 0 w 0"/>
                    <a:gd name="connsiteY2" fmla="*/ 0 h 0"/>
                    <a:gd name="connsiteX3" fmla="*/ 6934 w 0"/>
                    <a:gd name="connsiteY3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>
                      <a:moveTo>
                        <a:pt x="6934" y="0"/>
                      </a:moveTo>
                      <a:cubicBezTo>
                        <a:pt x="6934" y="5283"/>
                        <a:pt x="5834" y="6384"/>
                        <a:pt x="5393" y="9026"/>
                      </a:cubicBezTo>
                      <a:cubicBezTo>
                        <a:pt x="660" y="7375"/>
                        <a:pt x="0" y="4183"/>
                        <a:pt x="0" y="0"/>
                      </a:cubicBezTo>
                      <a:cubicBezTo>
                        <a:pt x="2752" y="550"/>
                        <a:pt x="5393" y="550"/>
                        <a:pt x="6934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80" name="Freeform: Shape 279">
                  <a:extLst>
                    <a:ext uri="{FF2B5EF4-FFF2-40B4-BE49-F238E27FC236}">
                      <a16:creationId xmlns:a16="http://schemas.microsoft.com/office/drawing/2014/main" id="{F268A527-FCE7-4B45-8C1C-AE1FE405CF6B}"/>
                    </a:ext>
                  </a:extLst>
                </p:cNvPr>
                <p:cNvSpPr/>
                <p:nvPr/>
              </p:nvSpPr>
              <p:spPr>
                <a:xfrm>
                  <a:off x="5376329" y="4384665"/>
                  <a:ext cx="11007" cy="11007"/>
                </a:xfrm>
                <a:custGeom>
                  <a:avLst/>
                  <a:gdLst>
                    <a:gd name="connsiteX0" fmla="*/ 18712 w 11006"/>
                    <a:gd name="connsiteY0" fmla="*/ 3233 h 0"/>
                    <a:gd name="connsiteX1" fmla="*/ 0 w 11006"/>
                    <a:gd name="connsiteY1" fmla="*/ 3233 h 0"/>
                    <a:gd name="connsiteX2" fmla="*/ 18712 w 11006"/>
                    <a:gd name="connsiteY2" fmla="*/ 3233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006">
                      <a:moveTo>
                        <a:pt x="18712" y="3233"/>
                      </a:moveTo>
                      <a:cubicBezTo>
                        <a:pt x="12878" y="6975"/>
                        <a:pt x="4843" y="8076"/>
                        <a:pt x="0" y="3233"/>
                      </a:cubicBezTo>
                      <a:cubicBezTo>
                        <a:pt x="10126" y="-1610"/>
                        <a:pt x="11227" y="-510"/>
                        <a:pt x="18712" y="323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81" name="Freeform: Shape 280">
                  <a:extLst>
                    <a:ext uri="{FF2B5EF4-FFF2-40B4-BE49-F238E27FC236}">
                      <a16:creationId xmlns:a16="http://schemas.microsoft.com/office/drawing/2014/main" id="{F5912A53-E9F7-4AD0-A731-8B9A9C1082D0}"/>
                    </a:ext>
                  </a:extLst>
                </p:cNvPr>
                <p:cNvSpPr/>
                <p:nvPr/>
              </p:nvSpPr>
              <p:spPr>
                <a:xfrm>
                  <a:off x="5023799" y="3980640"/>
                  <a:ext cx="605383" cy="462292"/>
                </a:xfrm>
                <a:custGeom>
                  <a:avLst/>
                  <a:gdLst>
                    <a:gd name="connsiteX0" fmla="*/ 597985 w 605382"/>
                    <a:gd name="connsiteY0" fmla="*/ 225312 h 462292"/>
                    <a:gd name="connsiteX1" fmla="*/ 611853 w 605382"/>
                    <a:gd name="connsiteY1" fmla="*/ 281338 h 462292"/>
                    <a:gd name="connsiteX2" fmla="*/ 603928 w 605382"/>
                    <a:gd name="connsiteY2" fmla="*/ 314469 h 462292"/>
                    <a:gd name="connsiteX3" fmla="*/ 603928 w 605382"/>
                    <a:gd name="connsiteY3" fmla="*/ 329438 h 462292"/>
                    <a:gd name="connsiteX4" fmla="*/ 600186 w 605382"/>
                    <a:gd name="connsiteY4" fmla="*/ 340115 h 462292"/>
                    <a:gd name="connsiteX5" fmla="*/ 575640 w 605382"/>
                    <a:gd name="connsiteY5" fmla="*/ 377429 h 462292"/>
                    <a:gd name="connsiteX6" fmla="*/ 560121 w 605382"/>
                    <a:gd name="connsiteY6" fmla="*/ 425419 h 462292"/>
                    <a:gd name="connsiteX7" fmla="*/ 560121 w 605382"/>
                    <a:gd name="connsiteY7" fmla="*/ 424318 h 462292"/>
                    <a:gd name="connsiteX8" fmla="*/ 506297 w 605382"/>
                    <a:gd name="connsiteY8" fmla="*/ 463283 h 462292"/>
                    <a:gd name="connsiteX9" fmla="*/ 479660 w 605382"/>
                    <a:gd name="connsiteY9" fmla="*/ 447323 h 462292"/>
                    <a:gd name="connsiteX10" fmla="*/ 458306 w 605382"/>
                    <a:gd name="connsiteY10" fmla="*/ 459100 h 462292"/>
                    <a:gd name="connsiteX11" fmla="*/ 403382 w 605382"/>
                    <a:gd name="connsiteY11" fmla="*/ 423328 h 462292"/>
                    <a:gd name="connsiteX12" fmla="*/ 395897 w 605382"/>
                    <a:gd name="connsiteY12" fmla="*/ 401974 h 462292"/>
                    <a:gd name="connsiteX13" fmla="*/ 395346 w 605382"/>
                    <a:gd name="connsiteY13" fmla="*/ 399333 h 462292"/>
                    <a:gd name="connsiteX14" fmla="*/ 384670 w 605382"/>
                    <a:gd name="connsiteY14" fmla="*/ 403075 h 462292"/>
                    <a:gd name="connsiteX15" fmla="*/ 378286 w 605382"/>
                    <a:gd name="connsiteY15" fmla="*/ 403075 h 462292"/>
                    <a:gd name="connsiteX16" fmla="*/ 382028 w 605382"/>
                    <a:gd name="connsiteY16" fmla="*/ 391407 h 462292"/>
                    <a:gd name="connsiteX17" fmla="*/ 376745 w 605382"/>
                    <a:gd name="connsiteY17" fmla="*/ 380731 h 462292"/>
                    <a:gd name="connsiteX18" fmla="*/ 375644 w 605382"/>
                    <a:gd name="connsiteY18" fmla="*/ 386014 h 462292"/>
                    <a:gd name="connsiteX19" fmla="*/ 362325 w 605382"/>
                    <a:gd name="connsiteY19" fmla="*/ 397792 h 462292"/>
                    <a:gd name="connsiteX20" fmla="*/ 356932 w 605382"/>
                    <a:gd name="connsiteY20" fmla="*/ 392508 h 462292"/>
                    <a:gd name="connsiteX21" fmla="*/ 372452 w 605382"/>
                    <a:gd name="connsiteY21" fmla="*/ 354094 h 462292"/>
                    <a:gd name="connsiteX22" fmla="*/ 338220 w 605382"/>
                    <a:gd name="connsiteY22" fmla="*/ 391407 h 462292"/>
                    <a:gd name="connsiteX23" fmla="*/ 333928 w 605382"/>
                    <a:gd name="connsiteY23" fmla="*/ 381831 h 462292"/>
                    <a:gd name="connsiteX24" fmla="*/ 314225 w 605382"/>
                    <a:gd name="connsiteY24" fmla="*/ 349801 h 462292"/>
                    <a:gd name="connsiteX25" fmla="*/ 256549 w 605382"/>
                    <a:gd name="connsiteY25" fmla="*/ 333841 h 462292"/>
                    <a:gd name="connsiteX26" fmla="*/ 221877 w 605382"/>
                    <a:gd name="connsiteY26" fmla="*/ 346059 h 462292"/>
                    <a:gd name="connsiteX27" fmla="*/ 156826 w 605382"/>
                    <a:gd name="connsiteY27" fmla="*/ 372696 h 462292"/>
                    <a:gd name="connsiteX28" fmla="*/ 124795 w 605382"/>
                    <a:gd name="connsiteY28" fmla="*/ 376438 h 462292"/>
                    <a:gd name="connsiteX29" fmla="*/ 109826 w 605382"/>
                    <a:gd name="connsiteY29" fmla="*/ 376438 h 462292"/>
                    <a:gd name="connsiteX30" fmla="*/ 59194 w 605382"/>
                    <a:gd name="connsiteY30" fmla="*/ 394049 h 462292"/>
                    <a:gd name="connsiteX31" fmla="*/ 24522 w 605382"/>
                    <a:gd name="connsiteY31" fmla="*/ 375337 h 462292"/>
                    <a:gd name="connsiteX32" fmla="*/ 36740 w 605382"/>
                    <a:gd name="connsiteY32" fmla="*/ 351342 h 462292"/>
                    <a:gd name="connsiteX33" fmla="*/ 26063 w 605382"/>
                    <a:gd name="connsiteY33" fmla="*/ 317771 h 462292"/>
                    <a:gd name="connsiteX34" fmla="*/ 11094 w 605382"/>
                    <a:gd name="connsiteY34" fmla="*/ 266038 h 462292"/>
                    <a:gd name="connsiteX35" fmla="*/ 417 w 605382"/>
                    <a:gd name="connsiteY35" fmla="*/ 247326 h 462292"/>
                    <a:gd name="connsiteX36" fmla="*/ 3609 w 605382"/>
                    <a:gd name="connsiteY36" fmla="*/ 240392 h 462292"/>
                    <a:gd name="connsiteX37" fmla="*/ 8452 w 605382"/>
                    <a:gd name="connsiteY37" fmla="*/ 247326 h 462292"/>
                    <a:gd name="connsiteX38" fmla="*/ 8452 w 605382"/>
                    <a:gd name="connsiteY38" fmla="*/ 240392 h 462292"/>
                    <a:gd name="connsiteX39" fmla="*/ 2068 w 605382"/>
                    <a:gd name="connsiteY39" fmla="*/ 212655 h 462292"/>
                    <a:gd name="connsiteX40" fmla="*/ 2068 w 605382"/>
                    <a:gd name="connsiteY40" fmla="*/ 181835 h 462292"/>
                    <a:gd name="connsiteX41" fmla="*/ 7901 w 605382"/>
                    <a:gd name="connsiteY41" fmla="*/ 175341 h 462292"/>
                    <a:gd name="connsiteX42" fmla="*/ 8452 w 605382"/>
                    <a:gd name="connsiteY42" fmla="*/ 180734 h 462292"/>
                    <a:gd name="connsiteX43" fmla="*/ 36630 w 605382"/>
                    <a:gd name="connsiteY43" fmla="*/ 160482 h 462292"/>
                    <a:gd name="connsiteX44" fmla="*/ 72402 w 605382"/>
                    <a:gd name="connsiteY44" fmla="*/ 151456 h 462292"/>
                    <a:gd name="connsiteX45" fmla="*/ 135362 w 605382"/>
                    <a:gd name="connsiteY45" fmla="*/ 115133 h 462292"/>
                    <a:gd name="connsiteX46" fmla="*/ 135362 w 605382"/>
                    <a:gd name="connsiteY46" fmla="*/ 106107 h 462292"/>
                    <a:gd name="connsiteX47" fmla="*/ 142296 w 605382"/>
                    <a:gd name="connsiteY47" fmla="*/ 92789 h 462292"/>
                    <a:gd name="connsiteX48" fmla="*/ 150332 w 605382"/>
                    <a:gd name="connsiteY48" fmla="*/ 103466 h 462292"/>
                    <a:gd name="connsiteX49" fmla="*/ 156275 w 605382"/>
                    <a:gd name="connsiteY49" fmla="*/ 85854 h 462292"/>
                    <a:gd name="connsiteX50" fmla="*/ 167502 w 605382"/>
                    <a:gd name="connsiteY50" fmla="*/ 90147 h 462292"/>
                    <a:gd name="connsiteX51" fmla="*/ 179280 w 605382"/>
                    <a:gd name="connsiteY51" fmla="*/ 60868 h 462292"/>
                    <a:gd name="connsiteX52" fmla="*/ 207568 w 605382"/>
                    <a:gd name="connsiteY52" fmla="*/ 50192 h 462292"/>
                    <a:gd name="connsiteX53" fmla="*/ 223528 w 605382"/>
                    <a:gd name="connsiteY53" fmla="*/ 70445 h 462292"/>
                    <a:gd name="connsiteX54" fmla="*/ 235305 w 605382"/>
                    <a:gd name="connsiteY54" fmla="*/ 64611 h 462292"/>
                    <a:gd name="connsiteX55" fmla="*/ 243340 w 605382"/>
                    <a:gd name="connsiteY55" fmla="*/ 68904 h 462292"/>
                    <a:gd name="connsiteX56" fmla="*/ 244881 w 605382"/>
                    <a:gd name="connsiteY56" fmla="*/ 55585 h 462292"/>
                    <a:gd name="connsiteX57" fmla="*/ 252917 w 605382"/>
                    <a:gd name="connsiteY57" fmla="*/ 36873 h 462292"/>
                    <a:gd name="connsiteX58" fmla="*/ 283296 w 605382"/>
                    <a:gd name="connsiteY58" fmla="*/ 24656 h 462292"/>
                    <a:gd name="connsiteX59" fmla="*/ 292982 w 605382"/>
                    <a:gd name="connsiteY59" fmla="*/ 20913 h 462292"/>
                    <a:gd name="connsiteX60" fmla="*/ 283296 w 605382"/>
                    <a:gd name="connsiteY60" fmla="*/ 8696 h 462292"/>
                    <a:gd name="connsiteX61" fmla="*/ 331286 w 605382"/>
                    <a:gd name="connsiteY61" fmla="*/ 23665 h 462292"/>
                    <a:gd name="connsiteX62" fmla="*/ 346255 w 605382"/>
                    <a:gd name="connsiteY62" fmla="*/ 19372 h 462292"/>
                    <a:gd name="connsiteX63" fmla="*/ 356932 w 605382"/>
                    <a:gd name="connsiteY63" fmla="*/ 28948 h 462292"/>
                    <a:gd name="connsiteX64" fmla="*/ 344604 w 605382"/>
                    <a:gd name="connsiteY64" fmla="*/ 39625 h 462292"/>
                    <a:gd name="connsiteX65" fmla="*/ 338220 w 605382"/>
                    <a:gd name="connsiteY65" fmla="*/ 66262 h 462292"/>
                    <a:gd name="connsiteX66" fmla="*/ 348897 w 605382"/>
                    <a:gd name="connsiteY66" fmla="*/ 71545 h 462292"/>
                    <a:gd name="connsiteX67" fmla="*/ 354291 w 605382"/>
                    <a:gd name="connsiteY67" fmla="*/ 82222 h 462292"/>
                    <a:gd name="connsiteX68" fmla="*/ 389953 w 605382"/>
                    <a:gd name="connsiteY68" fmla="*/ 95541 h 462292"/>
                    <a:gd name="connsiteX69" fmla="*/ 410206 w 605382"/>
                    <a:gd name="connsiteY69" fmla="*/ 109850 h 462292"/>
                    <a:gd name="connsiteX70" fmla="*/ 432550 w 605382"/>
                    <a:gd name="connsiteY70" fmla="*/ 66152 h 462292"/>
                    <a:gd name="connsiteX71" fmla="*/ 432550 w 605382"/>
                    <a:gd name="connsiteY71" fmla="*/ 18162 h 462292"/>
                    <a:gd name="connsiteX72" fmla="*/ 447520 w 605382"/>
                    <a:gd name="connsiteY72" fmla="*/ 0 h 462292"/>
                    <a:gd name="connsiteX73" fmla="*/ 459187 w 605382"/>
                    <a:gd name="connsiteY73" fmla="*/ 34232 h 462292"/>
                    <a:gd name="connsiteX74" fmla="*/ 464580 w 605382"/>
                    <a:gd name="connsiteY74" fmla="*/ 55585 h 462292"/>
                    <a:gd name="connsiteX75" fmla="*/ 482191 w 605382"/>
                    <a:gd name="connsiteY75" fmla="*/ 61419 h 462292"/>
                    <a:gd name="connsiteX76" fmla="*/ 491327 w 605382"/>
                    <a:gd name="connsiteY76" fmla="*/ 91248 h 462292"/>
                    <a:gd name="connsiteX77" fmla="*/ 504646 w 605382"/>
                    <a:gd name="connsiteY77" fmla="*/ 125920 h 462292"/>
                    <a:gd name="connsiteX78" fmla="*/ 540969 w 605382"/>
                    <a:gd name="connsiteY78" fmla="*/ 152667 h 462292"/>
                    <a:gd name="connsiteX79" fmla="*/ 550545 w 605382"/>
                    <a:gd name="connsiteY79" fmla="*/ 176662 h 462292"/>
                    <a:gd name="connsiteX80" fmla="*/ 568156 w 605382"/>
                    <a:gd name="connsiteY80" fmla="*/ 183706 h 462292"/>
                    <a:gd name="connsiteX81" fmla="*/ 598535 w 605382"/>
                    <a:gd name="connsiteY81" fmla="*/ 224212 h 462292"/>
                    <a:gd name="connsiteX82" fmla="*/ 597985 w 605382"/>
                    <a:gd name="connsiteY82" fmla="*/ 225312 h 462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</a:cxnLst>
                  <a:rect l="l" t="t" r="r" b="b"/>
                  <a:pathLst>
                    <a:path w="605382" h="462292">
                      <a:moveTo>
                        <a:pt x="597985" y="225312"/>
                      </a:moveTo>
                      <a:cubicBezTo>
                        <a:pt x="606460" y="236540"/>
                        <a:pt x="611853" y="265378"/>
                        <a:pt x="611853" y="281338"/>
                      </a:cubicBezTo>
                      <a:cubicBezTo>
                        <a:pt x="611853" y="293005"/>
                        <a:pt x="608661" y="309516"/>
                        <a:pt x="603928" y="314469"/>
                      </a:cubicBezTo>
                      <a:lnTo>
                        <a:pt x="603928" y="329438"/>
                      </a:lnTo>
                      <a:cubicBezTo>
                        <a:pt x="601287" y="333731"/>
                        <a:pt x="602828" y="335822"/>
                        <a:pt x="600186" y="340115"/>
                      </a:cubicBezTo>
                      <a:cubicBezTo>
                        <a:pt x="590500" y="355085"/>
                        <a:pt x="580924" y="360368"/>
                        <a:pt x="575640" y="377429"/>
                      </a:cubicBezTo>
                      <a:cubicBezTo>
                        <a:pt x="571348" y="390197"/>
                        <a:pt x="560121" y="406817"/>
                        <a:pt x="560121" y="425419"/>
                      </a:cubicBezTo>
                      <a:lnTo>
                        <a:pt x="560121" y="424318"/>
                      </a:lnTo>
                      <a:cubicBezTo>
                        <a:pt x="554287" y="448864"/>
                        <a:pt x="510479" y="437637"/>
                        <a:pt x="506297" y="463283"/>
                      </a:cubicBezTo>
                      <a:cubicBezTo>
                        <a:pt x="502004" y="462733"/>
                        <a:pt x="480100" y="450515"/>
                        <a:pt x="479660" y="447323"/>
                      </a:cubicBezTo>
                      <a:cubicBezTo>
                        <a:pt x="467442" y="448424"/>
                        <a:pt x="471625" y="459100"/>
                        <a:pt x="458306" y="459100"/>
                      </a:cubicBezTo>
                      <a:cubicBezTo>
                        <a:pt x="437503" y="459100"/>
                        <a:pt x="403382" y="445232"/>
                        <a:pt x="403382" y="423328"/>
                      </a:cubicBezTo>
                      <a:cubicBezTo>
                        <a:pt x="403382" y="415293"/>
                        <a:pt x="396447" y="408909"/>
                        <a:pt x="395897" y="401974"/>
                      </a:cubicBezTo>
                      <a:cubicBezTo>
                        <a:pt x="395897" y="401974"/>
                        <a:pt x="395346" y="399883"/>
                        <a:pt x="395346" y="399333"/>
                      </a:cubicBezTo>
                      <a:cubicBezTo>
                        <a:pt x="391604" y="401424"/>
                        <a:pt x="388962" y="401974"/>
                        <a:pt x="384670" y="403075"/>
                      </a:cubicBezTo>
                      <a:lnTo>
                        <a:pt x="378286" y="403075"/>
                      </a:lnTo>
                      <a:cubicBezTo>
                        <a:pt x="379827" y="399883"/>
                        <a:pt x="382028" y="396691"/>
                        <a:pt x="382028" y="391407"/>
                      </a:cubicBezTo>
                      <a:cubicBezTo>
                        <a:pt x="382028" y="384913"/>
                        <a:pt x="378836" y="382822"/>
                        <a:pt x="376745" y="380731"/>
                      </a:cubicBezTo>
                      <a:cubicBezTo>
                        <a:pt x="376745" y="382272"/>
                        <a:pt x="375644" y="384473"/>
                        <a:pt x="375644" y="386014"/>
                      </a:cubicBezTo>
                      <a:cubicBezTo>
                        <a:pt x="370911" y="388106"/>
                        <a:pt x="370361" y="397792"/>
                        <a:pt x="362325" y="397792"/>
                      </a:cubicBezTo>
                      <a:cubicBezTo>
                        <a:pt x="359684" y="397792"/>
                        <a:pt x="356932" y="395150"/>
                        <a:pt x="356932" y="392508"/>
                      </a:cubicBezTo>
                      <a:cubicBezTo>
                        <a:pt x="370250" y="389757"/>
                        <a:pt x="372892" y="362019"/>
                        <a:pt x="372452" y="354094"/>
                      </a:cubicBezTo>
                      <a:cubicBezTo>
                        <a:pt x="362766" y="363670"/>
                        <a:pt x="349447" y="391407"/>
                        <a:pt x="338220" y="391407"/>
                      </a:cubicBezTo>
                      <a:cubicBezTo>
                        <a:pt x="331836" y="391407"/>
                        <a:pt x="333928" y="381831"/>
                        <a:pt x="333928" y="381831"/>
                      </a:cubicBezTo>
                      <a:cubicBezTo>
                        <a:pt x="330295" y="381831"/>
                        <a:pt x="318518" y="355635"/>
                        <a:pt x="314225" y="349801"/>
                      </a:cubicBezTo>
                      <a:cubicBezTo>
                        <a:pt x="305640" y="339124"/>
                        <a:pt x="274160" y="333841"/>
                        <a:pt x="256549" y="333841"/>
                      </a:cubicBezTo>
                      <a:cubicBezTo>
                        <a:pt x="237397" y="333841"/>
                        <a:pt x="233654" y="342317"/>
                        <a:pt x="221877" y="346059"/>
                      </a:cubicBezTo>
                      <a:cubicBezTo>
                        <a:pt x="194690" y="355195"/>
                        <a:pt x="161118" y="345508"/>
                        <a:pt x="156826" y="372696"/>
                      </a:cubicBezTo>
                      <a:cubicBezTo>
                        <a:pt x="145709" y="373686"/>
                        <a:pt x="136573" y="376438"/>
                        <a:pt x="124795" y="376438"/>
                      </a:cubicBezTo>
                      <a:cubicBezTo>
                        <a:pt x="116210" y="372145"/>
                        <a:pt x="116210" y="376438"/>
                        <a:pt x="109826" y="376438"/>
                      </a:cubicBezTo>
                      <a:cubicBezTo>
                        <a:pt x="91114" y="376438"/>
                        <a:pt x="83189" y="394049"/>
                        <a:pt x="59194" y="394049"/>
                      </a:cubicBezTo>
                      <a:cubicBezTo>
                        <a:pt x="50168" y="394049"/>
                        <a:pt x="24522" y="382822"/>
                        <a:pt x="24522" y="375337"/>
                      </a:cubicBezTo>
                      <a:cubicBezTo>
                        <a:pt x="24522" y="367412"/>
                        <a:pt x="36740" y="363670"/>
                        <a:pt x="36740" y="351342"/>
                      </a:cubicBezTo>
                      <a:cubicBezTo>
                        <a:pt x="36740" y="335822"/>
                        <a:pt x="28815" y="327347"/>
                        <a:pt x="26063" y="317771"/>
                      </a:cubicBezTo>
                      <a:cubicBezTo>
                        <a:pt x="19679" y="294326"/>
                        <a:pt x="18028" y="286841"/>
                        <a:pt x="11094" y="266038"/>
                      </a:cubicBezTo>
                      <a:cubicBezTo>
                        <a:pt x="8452" y="258003"/>
                        <a:pt x="-2225" y="255362"/>
                        <a:pt x="417" y="247326"/>
                      </a:cubicBezTo>
                      <a:cubicBezTo>
                        <a:pt x="1517" y="245235"/>
                        <a:pt x="2068" y="243144"/>
                        <a:pt x="3609" y="240392"/>
                      </a:cubicBezTo>
                      <a:cubicBezTo>
                        <a:pt x="4709" y="243034"/>
                        <a:pt x="6801" y="245785"/>
                        <a:pt x="8452" y="247326"/>
                      </a:cubicBezTo>
                      <a:cubicBezTo>
                        <a:pt x="9993" y="245235"/>
                        <a:pt x="8452" y="243144"/>
                        <a:pt x="8452" y="240392"/>
                      </a:cubicBezTo>
                      <a:cubicBezTo>
                        <a:pt x="8452" y="232357"/>
                        <a:pt x="2068" y="225973"/>
                        <a:pt x="2068" y="212655"/>
                      </a:cubicBezTo>
                      <a:lnTo>
                        <a:pt x="2068" y="181835"/>
                      </a:lnTo>
                      <a:cubicBezTo>
                        <a:pt x="2068" y="177542"/>
                        <a:pt x="5810" y="176442"/>
                        <a:pt x="7901" y="175341"/>
                      </a:cubicBezTo>
                      <a:cubicBezTo>
                        <a:pt x="8452" y="176992"/>
                        <a:pt x="8452" y="179083"/>
                        <a:pt x="8452" y="180734"/>
                      </a:cubicBezTo>
                      <a:cubicBezTo>
                        <a:pt x="18578" y="179634"/>
                        <a:pt x="30796" y="166315"/>
                        <a:pt x="36630" y="160482"/>
                      </a:cubicBezTo>
                      <a:cubicBezTo>
                        <a:pt x="43014" y="154097"/>
                        <a:pt x="62276" y="152997"/>
                        <a:pt x="72402" y="151456"/>
                      </a:cubicBezTo>
                      <a:cubicBezTo>
                        <a:pt x="91664" y="148264"/>
                        <a:pt x="135362" y="133294"/>
                        <a:pt x="135362" y="115133"/>
                      </a:cubicBezTo>
                      <a:lnTo>
                        <a:pt x="135362" y="106107"/>
                      </a:lnTo>
                      <a:cubicBezTo>
                        <a:pt x="135362" y="100714"/>
                        <a:pt x="136903" y="95430"/>
                        <a:pt x="142296" y="92789"/>
                      </a:cubicBezTo>
                      <a:cubicBezTo>
                        <a:pt x="145048" y="97632"/>
                        <a:pt x="148130" y="99723"/>
                        <a:pt x="150332" y="103466"/>
                      </a:cubicBezTo>
                      <a:cubicBezTo>
                        <a:pt x="156275" y="99723"/>
                        <a:pt x="153523" y="91688"/>
                        <a:pt x="156275" y="85854"/>
                      </a:cubicBezTo>
                      <a:cubicBezTo>
                        <a:pt x="160568" y="87946"/>
                        <a:pt x="163210" y="90147"/>
                        <a:pt x="167502" y="90147"/>
                      </a:cubicBezTo>
                      <a:cubicBezTo>
                        <a:pt x="167502" y="75178"/>
                        <a:pt x="178179" y="73086"/>
                        <a:pt x="179280" y="60868"/>
                      </a:cubicBezTo>
                      <a:cubicBezTo>
                        <a:pt x="193699" y="60868"/>
                        <a:pt x="196341" y="50192"/>
                        <a:pt x="207568" y="50192"/>
                      </a:cubicBezTo>
                      <a:cubicBezTo>
                        <a:pt x="217144" y="50192"/>
                        <a:pt x="222537" y="60868"/>
                        <a:pt x="223528" y="70445"/>
                      </a:cubicBezTo>
                      <a:cubicBezTo>
                        <a:pt x="226280" y="66702"/>
                        <a:pt x="230462" y="64611"/>
                        <a:pt x="235305" y="64611"/>
                      </a:cubicBezTo>
                      <a:cubicBezTo>
                        <a:pt x="237947" y="64611"/>
                        <a:pt x="242240" y="68353"/>
                        <a:pt x="243340" y="68904"/>
                      </a:cubicBezTo>
                      <a:cubicBezTo>
                        <a:pt x="246532" y="64171"/>
                        <a:pt x="244881" y="60428"/>
                        <a:pt x="244881" y="55585"/>
                      </a:cubicBezTo>
                      <a:cubicBezTo>
                        <a:pt x="244881" y="48101"/>
                        <a:pt x="252917" y="44358"/>
                        <a:pt x="252917" y="36873"/>
                      </a:cubicBezTo>
                      <a:cubicBezTo>
                        <a:pt x="252917" y="29389"/>
                        <a:pt x="274270" y="24656"/>
                        <a:pt x="283296" y="24656"/>
                      </a:cubicBezTo>
                      <a:cubicBezTo>
                        <a:pt x="287038" y="24656"/>
                        <a:pt x="291331" y="21464"/>
                        <a:pt x="292982" y="20913"/>
                      </a:cubicBezTo>
                      <a:cubicBezTo>
                        <a:pt x="289680" y="16180"/>
                        <a:pt x="284396" y="14529"/>
                        <a:pt x="283296" y="8696"/>
                      </a:cubicBezTo>
                      <a:cubicBezTo>
                        <a:pt x="301457" y="16180"/>
                        <a:pt x="312134" y="23665"/>
                        <a:pt x="331286" y="23665"/>
                      </a:cubicBezTo>
                      <a:cubicBezTo>
                        <a:pt x="338220" y="23665"/>
                        <a:pt x="340422" y="19372"/>
                        <a:pt x="346255" y="19372"/>
                      </a:cubicBezTo>
                      <a:cubicBezTo>
                        <a:pt x="349447" y="19372"/>
                        <a:pt x="356932" y="24656"/>
                        <a:pt x="356932" y="28948"/>
                      </a:cubicBezTo>
                      <a:cubicBezTo>
                        <a:pt x="356932" y="35883"/>
                        <a:pt x="348897" y="36433"/>
                        <a:pt x="344604" y="39625"/>
                      </a:cubicBezTo>
                      <a:lnTo>
                        <a:pt x="338220" y="66262"/>
                      </a:lnTo>
                      <a:cubicBezTo>
                        <a:pt x="338220" y="70555"/>
                        <a:pt x="345705" y="69454"/>
                        <a:pt x="348897" y="71545"/>
                      </a:cubicBezTo>
                      <a:cubicBezTo>
                        <a:pt x="352089" y="73637"/>
                        <a:pt x="352089" y="81672"/>
                        <a:pt x="354291" y="82222"/>
                      </a:cubicBezTo>
                      <a:cubicBezTo>
                        <a:pt x="368710" y="87505"/>
                        <a:pt x="376745" y="90257"/>
                        <a:pt x="389953" y="95541"/>
                      </a:cubicBezTo>
                      <a:cubicBezTo>
                        <a:pt x="397438" y="98182"/>
                        <a:pt x="400080" y="109850"/>
                        <a:pt x="410206" y="109850"/>
                      </a:cubicBezTo>
                      <a:cubicBezTo>
                        <a:pt x="426716" y="109850"/>
                        <a:pt x="430019" y="78370"/>
                        <a:pt x="432550" y="66152"/>
                      </a:cubicBezTo>
                      <a:lnTo>
                        <a:pt x="432550" y="18162"/>
                      </a:lnTo>
                      <a:cubicBezTo>
                        <a:pt x="441025" y="11778"/>
                        <a:pt x="438384" y="4843"/>
                        <a:pt x="447520" y="0"/>
                      </a:cubicBezTo>
                      <a:cubicBezTo>
                        <a:pt x="449171" y="14419"/>
                        <a:pt x="455995" y="23995"/>
                        <a:pt x="459187" y="34232"/>
                      </a:cubicBezTo>
                      <a:cubicBezTo>
                        <a:pt x="461388" y="41606"/>
                        <a:pt x="458636" y="51292"/>
                        <a:pt x="464580" y="55585"/>
                      </a:cubicBezTo>
                      <a:cubicBezTo>
                        <a:pt x="469864" y="57126"/>
                        <a:pt x="479990" y="60428"/>
                        <a:pt x="482191" y="61419"/>
                      </a:cubicBezTo>
                      <a:cubicBezTo>
                        <a:pt x="488685" y="65712"/>
                        <a:pt x="488685" y="82662"/>
                        <a:pt x="491327" y="91248"/>
                      </a:cubicBezTo>
                      <a:cubicBezTo>
                        <a:pt x="496060" y="105667"/>
                        <a:pt x="500353" y="112601"/>
                        <a:pt x="504646" y="125920"/>
                      </a:cubicBezTo>
                      <a:cubicBezTo>
                        <a:pt x="508938" y="138798"/>
                        <a:pt x="531833" y="143531"/>
                        <a:pt x="540969" y="152667"/>
                      </a:cubicBezTo>
                      <a:cubicBezTo>
                        <a:pt x="547353" y="159051"/>
                        <a:pt x="548453" y="169177"/>
                        <a:pt x="550545" y="176662"/>
                      </a:cubicBezTo>
                      <a:cubicBezTo>
                        <a:pt x="552636" y="183706"/>
                        <a:pt x="561221" y="183706"/>
                        <a:pt x="568156" y="183706"/>
                      </a:cubicBezTo>
                      <a:cubicBezTo>
                        <a:pt x="568156" y="204950"/>
                        <a:pt x="588409" y="214086"/>
                        <a:pt x="598535" y="224212"/>
                      </a:cubicBezTo>
                      <a:lnTo>
                        <a:pt x="597985" y="225312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82" name="Freeform: Shape 281">
                  <a:extLst>
                    <a:ext uri="{FF2B5EF4-FFF2-40B4-BE49-F238E27FC236}">
                      <a16:creationId xmlns:a16="http://schemas.microsoft.com/office/drawing/2014/main" id="{5CE0AF23-35AA-4D66-8EC0-E70BF3045EF1}"/>
                    </a:ext>
                  </a:extLst>
                </p:cNvPr>
                <p:cNvSpPr/>
                <p:nvPr/>
              </p:nvSpPr>
              <p:spPr>
                <a:xfrm>
                  <a:off x="5831466" y="4471552"/>
                  <a:ext cx="110070" cy="110070"/>
                </a:xfrm>
                <a:custGeom>
                  <a:avLst/>
                  <a:gdLst>
                    <a:gd name="connsiteX0" fmla="*/ 69784 w 110069"/>
                    <a:gd name="connsiteY0" fmla="*/ 32030 h 110069"/>
                    <a:gd name="connsiteX1" fmla="*/ 70334 w 110069"/>
                    <a:gd name="connsiteY1" fmla="*/ 26637 h 110069"/>
                    <a:gd name="connsiteX2" fmla="*/ 80020 w 110069"/>
                    <a:gd name="connsiteY2" fmla="*/ 20803 h 110069"/>
                    <a:gd name="connsiteX3" fmla="*/ 80571 w 110069"/>
                    <a:gd name="connsiteY3" fmla="*/ 17611 h 110069"/>
                    <a:gd name="connsiteX4" fmla="*/ 93339 w 110069"/>
                    <a:gd name="connsiteY4" fmla="*/ 0 h 110069"/>
                    <a:gd name="connsiteX5" fmla="*/ 97081 w 110069"/>
                    <a:gd name="connsiteY5" fmla="*/ 5283 h 110069"/>
                    <a:gd name="connsiteX6" fmla="*/ 99723 w 110069"/>
                    <a:gd name="connsiteY6" fmla="*/ 12768 h 110069"/>
                    <a:gd name="connsiteX7" fmla="*/ 108749 w 110069"/>
                    <a:gd name="connsiteY7" fmla="*/ 7925 h 110069"/>
                    <a:gd name="connsiteX8" fmla="*/ 112491 w 110069"/>
                    <a:gd name="connsiteY8" fmla="*/ 10016 h 110069"/>
                    <a:gd name="connsiteX9" fmla="*/ 115683 w 110069"/>
                    <a:gd name="connsiteY9" fmla="*/ 18051 h 110069"/>
                    <a:gd name="connsiteX10" fmla="*/ 94880 w 110069"/>
                    <a:gd name="connsiteY10" fmla="*/ 44688 h 110069"/>
                    <a:gd name="connsiteX11" fmla="*/ 94880 w 110069"/>
                    <a:gd name="connsiteY11" fmla="*/ 61199 h 110069"/>
                    <a:gd name="connsiteX12" fmla="*/ 75177 w 110069"/>
                    <a:gd name="connsiteY12" fmla="*/ 63840 h 110069"/>
                    <a:gd name="connsiteX13" fmla="*/ 58667 w 110069"/>
                    <a:gd name="connsiteY13" fmla="*/ 101154 h 110069"/>
                    <a:gd name="connsiteX14" fmla="*/ 38414 w 110069"/>
                    <a:gd name="connsiteY14" fmla="*/ 114032 h 110069"/>
                    <a:gd name="connsiteX15" fmla="*/ 26637 w 110069"/>
                    <a:gd name="connsiteY15" fmla="*/ 111390 h 110069"/>
                    <a:gd name="connsiteX16" fmla="*/ 2642 w 110069"/>
                    <a:gd name="connsiteY16" fmla="*/ 100714 h 110069"/>
                    <a:gd name="connsiteX17" fmla="*/ 0 w 110069"/>
                    <a:gd name="connsiteY17" fmla="*/ 98622 h 110069"/>
                    <a:gd name="connsiteX18" fmla="*/ 21354 w 110069"/>
                    <a:gd name="connsiteY18" fmla="*/ 69234 h 110069"/>
                    <a:gd name="connsiteX19" fmla="*/ 29939 w 110069"/>
                    <a:gd name="connsiteY19" fmla="*/ 62299 h 110069"/>
                    <a:gd name="connsiteX20" fmla="*/ 59768 w 110069"/>
                    <a:gd name="connsiteY20" fmla="*/ 44688 h 110069"/>
                    <a:gd name="connsiteX21" fmla="*/ 69784 w 110069"/>
                    <a:gd name="connsiteY21" fmla="*/ 32030 h 110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10069" h="110069">
                      <a:moveTo>
                        <a:pt x="69784" y="32030"/>
                      </a:moveTo>
                      <a:cubicBezTo>
                        <a:pt x="69784" y="32030"/>
                        <a:pt x="69784" y="28288"/>
                        <a:pt x="70334" y="26637"/>
                      </a:cubicBezTo>
                      <a:cubicBezTo>
                        <a:pt x="72426" y="22344"/>
                        <a:pt x="75728" y="21354"/>
                        <a:pt x="80020" y="20803"/>
                      </a:cubicBezTo>
                      <a:cubicBezTo>
                        <a:pt x="80020" y="19813"/>
                        <a:pt x="80571" y="18712"/>
                        <a:pt x="80571" y="17611"/>
                      </a:cubicBezTo>
                      <a:cubicBezTo>
                        <a:pt x="80571" y="9576"/>
                        <a:pt x="88496" y="2091"/>
                        <a:pt x="93339" y="0"/>
                      </a:cubicBezTo>
                      <a:cubicBezTo>
                        <a:pt x="93339" y="3632"/>
                        <a:pt x="95540" y="5283"/>
                        <a:pt x="97081" y="5283"/>
                      </a:cubicBezTo>
                      <a:cubicBezTo>
                        <a:pt x="97081" y="9026"/>
                        <a:pt x="96531" y="12768"/>
                        <a:pt x="99723" y="12768"/>
                      </a:cubicBezTo>
                      <a:cubicBezTo>
                        <a:pt x="103465" y="12768"/>
                        <a:pt x="106107" y="9026"/>
                        <a:pt x="108749" y="7925"/>
                      </a:cubicBezTo>
                      <a:cubicBezTo>
                        <a:pt x="109299" y="9576"/>
                        <a:pt x="110950" y="10016"/>
                        <a:pt x="112491" y="10016"/>
                      </a:cubicBezTo>
                      <a:cubicBezTo>
                        <a:pt x="112491" y="14309"/>
                        <a:pt x="113482" y="16951"/>
                        <a:pt x="115683" y="18051"/>
                      </a:cubicBezTo>
                      <a:cubicBezTo>
                        <a:pt x="114032" y="24986"/>
                        <a:pt x="103355" y="44688"/>
                        <a:pt x="94880" y="44688"/>
                      </a:cubicBezTo>
                      <a:cubicBezTo>
                        <a:pt x="93229" y="52723"/>
                        <a:pt x="95981" y="54815"/>
                        <a:pt x="94880" y="61199"/>
                      </a:cubicBezTo>
                      <a:cubicBezTo>
                        <a:pt x="92238" y="61199"/>
                        <a:pt x="79360" y="63840"/>
                        <a:pt x="75177" y="63840"/>
                      </a:cubicBezTo>
                      <a:cubicBezTo>
                        <a:pt x="73526" y="70334"/>
                        <a:pt x="58667" y="101154"/>
                        <a:pt x="58667" y="101154"/>
                      </a:cubicBezTo>
                      <a:cubicBezTo>
                        <a:pt x="53824" y="105997"/>
                        <a:pt x="44358" y="114032"/>
                        <a:pt x="38414" y="114032"/>
                      </a:cubicBezTo>
                      <a:cubicBezTo>
                        <a:pt x="36213" y="114032"/>
                        <a:pt x="29939" y="111390"/>
                        <a:pt x="26637" y="111390"/>
                      </a:cubicBezTo>
                      <a:cubicBezTo>
                        <a:pt x="23445" y="111390"/>
                        <a:pt x="2642" y="103355"/>
                        <a:pt x="2642" y="100714"/>
                      </a:cubicBezTo>
                      <a:cubicBezTo>
                        <a:pt x="1541" y="100714"/>
                        <a:pt x="0" y="99613"/>
                        <a:pt x="0" y="98622"/>
                      </a:cubicBezTo>
                      <a:cubicBezTo>
                        <a:pt x="0" y="84754"/>
                        <a:pt x="15960" y="77269"/>
                        <a:pt x="21354" y="69234"/>
                      </a:cubicBezTo>
                      <a:cubicBezTo>
                        <a:pt x="23445" y="65491"/>
                        <a:pt x="26197" y="62299"/>
                        <a:pt x="29939" y="62299"/>
                      </a:cubicBezTo>
                      <a:cubicBezTo>
                        <a:pt x="42707" y="62299"/>
                        <a:pt x="50742" y="48981"/>
                        <a:pt x="59768" y="44688"/>
                      </a:cubicBezTo>
                      <a:cubicBezTo>
                        <a:pt x="62299" y="43808"/>
                        <a:pt x="69784" y="32030"/>
                        <a:pt x="69784" y="3203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83" name="Freeform: Shape 282">
                  <a:extLst>
                    <a:ext uri="{FF2B5EF4-FFF2-40B4-BE49-F238E27FC236}">
                      <a16:creationId xmlns:a16="http://schemas.microsoft.com/office/drawing/2014/main" id="{D06D9AA0-58AB-495F-853D-230467303DF2}"/>
                    </a:ext>
                  </a:extLst>
                </p:cNvPr>
                <p:cNvSpPr/>
                <p:nvPr/>
              </p:nvSpPr>
              <p:spPr>
                <a:xfrm>
                  <a:off x="5925797" y="4361701"/>
                  <a:ext cx="77049" cy="121077"/>
                </a:xfrm>
                <a:custGeom>
                  <a:avLst/>
                  <a:gdLst>
                    <a:gd name="connsiteX0" fmla="*/ 27187 w 77048"/>
                    <a:gd name="connsiteY0" fmla="*/ 47990 h 121076"/>
                    <a:gd name="connsiteX1" fmla="*/ 21354 w 77048"/>
                    <a:gd name="connsiteY1" fmla="*/ 37864 h 121076"/>
                    <a:gd name="connsiteX2" fmla="*/ 22895 w 77048"/>
                    <a:gd name="connsiteY2" fmla="*/ 32581 h 121076"/>
                    <a:gd name="connsiteX3" fmla="*/ 0 w 77048"/>
                    <a:gd name="connsiteY3" fmla="*/ 0 h 121076"/>
                    <a:gd name="connsiteX4" fmla="*/ 20253 w 77048"/>
                    <a:gd name="connsiteY4" fmla="*/ 14969 h 121076"/>
                    <a:gd name="connsiteX5" fmla="*/ 26637 w 77048"/>
                    <a:gd name="connsiteY5" fmla="*/ 23555 h 121076"/>
                    <a:gd name="connsiteX6" fmla="*/ 24546 w 77048"/>
                    <a:gd name="connsiteY6" fmla="*/ 27297 h 121076"/>
                    <a:gd name="connsiteX7" fmla="*/ 33682 w 77048"/>
                    <a:gd name="connsiteY7" fmla="*/ 44358 h 121076"/>
                    <a:gd name="connsiteX8" fmla="*/ 36873 w 77048"/>
                    <a:gd name="connsiteY8" fmla="*/ 44358 h 121076"/>
                    <a:gd name="connsiteX9" fmla="*/ 41716 w 77048"/>
                    <a:gd name="connsiteY9" fmla="*/ 38965 h 121076"/>
                    <a:gd name="connsiteX10" fmla="*/ 44909 w 77048"/>
                    <a:gd name="connsiteY10" fmla="*/ 38965 h 121076"/>
                    <a:gd name="connsiteX11" fmla="*/ 64611 w 77048"/>
                    <a:gd name="connsiteY11" fmla="*/ 60868 h 121076"/>
                    <a:gd name="connsiteX12" fmla="*/ 82773 w 77048"/>
                    <a:gd name="connsiteY12" fmla="*/ 55475 h 121076"/>
                    <a:gd name="connsiteX13" fmla="*/ 87065 w 77048"/>
                    <a:gd name="connsiteY13" fmla="*/ 58667 h 121076"/>
                    <a:gd name="connsiteX14" fmla="*/ 76388 w 77048"/>
                    <a:gd name="connsiteY14" fmla="*/ 85414 h 121076"/>
                    <a:gd name="connsiteX15" fmla="*/ 74187 w 77048"/>
                    <a:gd name="connsiteY15" fmla="*/ 82662 h 121076"/>
                    <a:gd name="connsiteX16" fmla="*/ 72646 w 77048"/>
                    <a:gd name="connsiteY16" fmla="*/ 84313 h 121076"/>
                    <a:gd name="connsiteX17" fmla="*/ 61969 w 77048"/>
                    <a:gd name="connsiteY17" fmla="*/ 91248 h 121076"/>
                    <a:gd name="connsiteX18" fmla="*/ 64061 w 77048"/>
                    <a:gd name="connsiteY18" fmla="*/ 96641 h 121076"/>
                    <a:gd name="connsiteX19" fmla="*/ 56576 w 77048"/>
                    <a:gd name="connsiteY19" fmla="*/ 107318 h 121076"/>
                    <a:gd name="connsiteX20" fmla="*/ 36873 w 77048"/>
                    <a:gd name="connsiteY20" fmla="*/ 125919 h 121076"/>
                    <a:gd name="connsiteX21" fmla="*/ 28948 w 77048"/>
                    <a:gd name="connsiteY21" fmla="*/ 118985 h 121076"/>
                    <a:gd name="connsiteX22" fmla="*/ 35333 w 77048"/>
                    <a:gd name="connsiteY22" fmla="*/ 103465 h 121076"/>
                    <a:gd name="connsiteX23" fmla="*/ 15520 w 77048"/>
                    <a:gd name="connsiteY23" fmla="*/ 87395 h 121076"/>
                    <a:gd name="connsiteX24" fmla="*/ 23005 w 77048"/>
                    <a:gd name="connsiteY24" fmla="*/ 78920 h 121076"/>
                    <a:gd name="connsiteX25" fmla="*/ 29389 w 77048"/>
                    <a:gd name="connsiteY25" fmla="*/ 58117 h 121076"/>
                    <a:gd name="connsiteX26" fmla="*/ 26747 w 77048"/>
                    <a:gd name="connsiteY26" fmla="*/ 45789 h 121076"/>
                    <a:gd name="connsiteX27" fmla="*/ 27297 w 77048"/>
                    <a:gd name="connsiteY27" fmla="*/ 45789 h 121076"/>
                    <a:gd name="connsiteX28" fmla="*/ 27297 w 77048"/>
                    <a:gd name="connsiteY28" fmla="*/ 47990 h 121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77048" h="121076">
                      <a:moveTo>
                        <a:pt x="27187" y="47990"/>
                      </a:moveTo>
                      <a:cubicBezTo>
                        <a:pt x="25536" y="43698"/>
                        <a:pt x="21354" y="42157"/>
                        <a:pt x="21354" y="37864"/>
                      </a:cubicBezTo>
                      <a:cubicBezTo>
                        <a:pt x="21354" y="36213"/>
                        <a:pt x="22344" y="34121"/>
                        <a:pt x="22895" y="32581"/>
                      </a:cubicBezTo>
                      <a:cubicBezTo>
                        <a:pt x="10567" y="30489"/>
                        <a:pt x="3192" y="12768"/>
                        <a:pt x="0" y="0"/>
                      </a:cubicBezTo>
                      <a:cubicBezTo>
                        <a:pt x="5834" y="9026"/>
                        <a:pt x="14970" y="9576"/>
                        <a:pt x="20253" y="14969"/>
                      </a:cubicBezTo>
                      <a:cubicBezTo>
                        <a:pt x="23445" y="18161"/>
                        <a:pt x="23445" y="21904"/>
                        <a:pt x="26637" y="23555"/>
                      </a:cubicBezTo>
                      <a:cubicBezTo>
                        <a:pt x="26087" y="25206"/>
                        <a:pt x="24546" y="25646"/>
                        <a:pt x="24546" y="27297"/>
                      </a:cubicBezTo>
                      <a:cubicBezTo>
                        <a:pt x="24546" y="29939"/>
                        <a:pt x="30930" y="41716"/>
                        <a:pt x="33682" y="44358"/>
                      </a:cubicBezTo>
                      <a:lnTo>
                        <a:pt x="36873" y="44358"/>
                      </a:lnTo>
                      <a:cubicBezTo>
                        <a:pt x="36873" y="41166"/>
                        <a:pt x="39075" y="38965"/>
                        <a:pt x="41716" y="38965"/>
                      </a:cubicBezTo>
                      <a:lnTo>
                        <a:pt x="44909" y="38965"/>
                      </a:lnTo>
                      <a:cubicBezTo>
                        <a:pt x="44909" y="52833"/>
                        <a:pt x="51843" y="60868"/>
                        <a:pt x="64611" y="60868"/>
                      </a:cubicBezTo>
                      <a:cubicBezTo>
                        <a:pt x="74737" y="60868"/>
                        <a:pt x="74187" y="55475"/>
                        <a:pt x="82773" y="55475"/>
                      </a:cubicBezTo>
                      <a:cubicBezTo>
                        <a:pt x="84313" y="55475"/>
                        <a:pt x="85965" y="57126"/>
                        <a:pt x="87065" y="58667"/>
                      </a:cubicBezTo>
                      <a:cubicBezTo>
                        <a:pt x="79580" y="66152"/>
                        <a:pt x="81782" y="77379"/>
                        <a:pt x="76388" y="85414"/>
                      </a:cubicBezTo>
                      <a:lnTo>
                        <a:pt x="74187" y="82662"/>
                      </a:lnTo>
                      <a:cubicBezTo>
                        <a:pt x="73637" y="82662"/>
                        <a:pt x="73086" y="84313"/>
                        <a:pt x="72646" y="84313"/>
                      </a:cubicBezTo>
                      <a:cubicBezTo>
                        <a:pt x="67363" y="85414"/>
                        <a:pt x="61969" y="86955"/>
                        <a:pt x="61969" y="91248"/>
                      </a:cubicBezTo>
                      <a:cubicBezTo>
                        <a:pt x="61969" y="92789"/>
                        <a:pt x="64061" y="94990"/>
                        <a:pt x="64061" y="96641"/>
                      </a:cubicBezTo>
                      <a:cubicBezTo>
                        <a:pt x="64061" y="100383"/>
                        <a:pt x="57677" y="105667"/>
                        <a:pt x="56576" y="107318"/>
                      </a:cubicBezTo>
                      <a:cubicBezTo>
                        <a:pt x="51292" y="115353"/>
                        <a:pt x="48101" y="125919"/>
                        <a:pt x="36873" y="125919"/>
                      </a:cubicBezTo>
                      <a:cubicBezTo>
                        <a:pt x="32140" y="125919"/>
                        <a:pt x="28948" y="123278"/>
                        <a:pt x="28948" y="118985"/>
                      </a:cubicBezTo>
                      <a:cubicBezTo>
                        <a:pt x="28948" y="112601"/>
                        <a:pt x="35333" y="109959"/>
                        <a:pt x="35333" y="103465"/>
                      </a:cubicBezTo>
                      <a:cubicBezTo>
                        <a:pt x="35333" y="92789"/>
                        <a:pt x="15520" y="97081"/>
                        <a:pt x="15520" y="87395"/>
                      </a:cubicBezTo>
                      <a:cubicBezTo>
                        <a:pt x="15520" y="82112"/>
                        <a:pt x="20363" y="81561"/>
                        <a:pt x="23005" y="78920"/>
                      </a:cubicBezTo>
                      <a:cubicBezTo>
                        <a:pt x="28398" y="73526"/>
                        <a:pt x="29389" y="66042"/>
                        <a:pt x="29389" y="58117"/>
                      </a:cubicBezTo>
                      <a:cubicBezTo>
                        <a:pt x="29389" y="53934"/>
                        <a:pt x="27187" y="47990"/>
                        <a:pt x="26747" y="45789"/>
                      </a:cubicBezTo>
                      <a:lnTo>
                        <a:pt x="27297" y="45789"/>
                      </a:lnTo>
                      <a:lnTo>
                        <a:pt x="27297" y="4799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84" name="Freeform: Shape 283">
                  <a:extLst>
                    <a:ext uri="{FF2B5EF4-FFF2-40B4-BE49-F238E27FC236}">
                      <a16:creationId xmlns:a16="http://schemas.microsoft.com/office/drawing/2014/main" id="{65388B4A-2146-40EE-BAB0-90A73207DA12}"/>
                    </a:ext>
                  </a:extLst>
                </p:cNvPr>
                <p:cNvSpPr/>
                <p:nvPr/>
              </p:nvSpPr>
              <p:spPr>
                <a:xfrm>
                  <a:off x="5991287" y="4081684"/>
                  <a:ext cx="11007" cy="11007"/>
                </a:xfrm>
                <a:custGeom>
                  <a:avLst/>
                  <a:gdLst>
                    <a:gd name="connsiteX0" fmla="*/ 12328 w 11006"/>
                    <a:gd name="connsiteY0" fmla="*/ 0 h 11006"/>
                    <a:gd name="connsiteX1" fmla="*/ 18712 w 11006"/>
                    <a:gd name="connsiteY1" fmla="*/ 4733 h 11006"/>
                    <a:gd name="connsiteX2" fmla="*/ 18712 w 11006"/>
                    <a:gd name="connsiteY2" fmla="*/ 11117 h 11006"/>
                    <a:gd name="connsiteX3" fmla="*/ 11227 w 11006"/>
                    <a:gd name="connsiteY3" fmla="*/ 13208 h 11006"/>
                    <a:gd name="connsiteX4" fmla="*/ 0 w 11006"/>
                    <a:gd name="connsiteY4" fmla="*/ 10016 h 11006"/>
                    <a:gd name="connsiteX5" fmla="*/ 12328 w 11006"/>
                    <a:gd name="connsiteY5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06" h="11006">
                      <a:moveTo>
                        <a:pt x="12328" y="0"/>
                      </a:moveTo>
                      <a:cubicBezTo>
                        <a:pt x="13869" y="2642"/>
                        <a:pt x="16070" y="4293"/>
                        <a:pt x="18712" y="4733"/>
                      </a:cubicBezTo>
                      <a:lnTo>
                        <a:pt x="18712" y="11117"/>
                      </a:lnTo>
                      <a:cubicBezTo>
                        <a:pt x="15520" y="14309"/>
                        <a:pt x="15520" y="13208"/>
                        <a:pt x="11227" y="13208"/>
                      </a:cubicBezTo>
                      <a:cubicBezTo>
                        <a:pt x="6934" y="13208"/>
                        <a:pt x="0" y="12108"/>
                        <a:pt x="0" y="10016"/>
                      </a:cubicBezTo>
                      <a:cubicBezTo>
                        <a:pt x="110" y="3192"/>
                        <a:pt x="7595" y="1651"/>
                        <a:pt x="12328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85" name="Freeform: Shape 284">
                  <a:extLst>
                    <a:ext uri="{FF2B5EF4-FFF2-40B4-BE49-F238E27FC236}">
                      <a16:creationId xmlns:a16="http://schemas.microsoft.com/office/drawing/2014/main" id="{29EE4142-65D8-40CD-B6F6-CBFCE0EC034A}"/>
                    </a:ext>
                  </a:extLst>
                </p:cNvPr>
                <p:cNvSpPr/>
                <p:nvPr/>
              </p:nvSpPr>
              <p:spPr>
                <a:xfrm>
                  <a:off x="6012751" y="4066274"/>
                  <a:ext cx="11007" cy="11007"/>
                </a:xfrm>
                <a:custGeom>
                  <a:avLst/>
                  <a:gdLst>
                    <a:gd name="connsiteX0" fmla="*/ 16510 w 11006"/>
                    <a:gd name="connsiteY0" fmla="*/ 0 h 11006"/>
                    <a:gd name="connsiteX1" fmla="*/ 16510 w 11006"/>
                    <a:gd name="connsiteY1" fmla="*/ 4733 h 11006"/>
                    <a:gd name="connsiteX2" fmla="*/ 3192 w 11006"/>
                    <a:gd name="connsiteY2" fmla="*/ 11668 h 11006"/>
                    <a:gd name="connsiteX3" fmla="*/ 0 w 11006"/>
                    <a:gd name="connsiteY3" fmla="*/ 6824 h 11006"/>
                    <a:gd name="connsiteX4" fmla="*/ 16510 w 11006"/>
                    <a:gd name="connsiteY4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 h="11006">
                      <a:moveTo>
                        <a:pt x="16510" y="0"/>
                      </a:moveTo>
                      <a:lnTo>
                        <a:pt x="16510" y="4733"/>
                      </a:lnTo>
                      <a:cubicBezTo>
                        <a:pt x="10126" y="6384"/>
                        <a:pt x="8585" y="11668"/>
                        <a:pt x="3192" y="11668"/>
                      </a:cubicBezTo>
                      <a:cubicBezTo>
                        <a:pt x="1541" y="11668"/>
                        <a:pt x="0" y="8475"/>
                        <a:pt x="0" y="6824"/>
                      </a:cubicBezTo>
                      <a:cubicBezTo>
                        <a:pt x="0" y="550"/>
                        <a:pt x="13318" y="0"/>
                        <a:pt x="16510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86" name="Freeform: Shape 285">
                  <a:extLst>
                    <a:ext uri="{FF2B5EF4-FFF2-40B4-BE49-F238E27FC236}">
                      <a16:creationId xmlns:a16="http://schemas.microsoft.com/office/drawing/2014/main" id="{BCF08766-96AD-4BAC-A641-D049220C4165}"/>
                    </a:ext>
                  </a:extLst>
                </p:cNvPr>
                <p:cNvSpPr/>
                <p:nvPr/>
              </p:nvSpPr>
              <p:spPr>
                <a:xfrm>
                  <a:off x="5436206" y="3860554"/>
                  <a:ext cx="154097" cy="110070"/>
                </a:xfrm>
                <a:custGeom>
                  <a:avLst/>
                  <a:gdLst>
                    <a:gd name="connsiteX0" fmla="*/ 20473 w 154097"/>
                    <a:gd name="connsiteY0" fmla="*/ 0 h 110069"/>
                    <a:gd name="connsiteX1" fmla="*/ 44688 w 154097"/>
                    <a:gd name="connsiteY1" fmla="*/ 5063 h 110069"/>
                    <a:gd name="connsiteX2" fmla="*/ 60648 w 154097"/>
                    <a:gd name="connsiteY2" fmla="*/ 12548 h 110069"/>
                    <a:gd name="connsiteX3" fmla="*/ 67583 w 154097"/>
                    <a:gd name="connsiteY3" fmla="*/ 17831 h 110069"/>
                    <a:gd name="connsiteX4" fmla="*/ 96971 w 154097"/>
                    <a:gd name="connsiteY4" fmla="*/ 44028 h 110069"/>
                    <a:gd name="connsiteX5" fmla="*/ 113482 w 154097"/>
                    <a:gd name="connsiteY5" fmla="*/ 52613 h 110069"/>
                    <a:gd name="connsiteX6" fmla="*/ 103355 w 154097"/>
                    <a:gd name="connsiteY6" fmla="*/ 61088 h 110069"/>
                    <a:gd name="connsiteX7" fmla="*/ 113482 w 154097"/>
                    <a:gd name="connsiteY7" fmla="*/ 73857 h 110069"/>
                    <a:gd name="connsiteX8" fmla="*/ 121957 w 154097"/>
                    <a:gd name="connsiteY8" fmla="*/ 89376 h 110069"/>
                    <a:gd name="connsiteX9" fmla="*/ 133735 w 154097"/>
                    <a:gd name="connsiteY9" fmla="*/ 94770 h 110069"/>
                    <a:gd name="connsiteX10" fmla="*/ 138027 w 154097"/>
                    <a:gd name="connsiteY10" fmla="*/ 100714 h 110069"/>
                    <a:gd name="connsiteX11" fmla="*/ 144411 w 154097"/>
                    <a:gd name="connsiteY11" fmla="*/ 101814 h 110069"/>
                    <a:gd name="connsiteX12" fmla="*/ 149805 w 154097"/>
                    <a:gd name="connsiteY12" fmla="*/ 108198 h 110069"/>
                    <a:gd name="connsiteX13" fmla="*/ 160481 w 154097"/>
                    <a:gd name="connsiteY13" fmla="*/ 110290 h 110069"/>
                    <a:gd name="connsiteX14" fmla="*/ 153547 w 154097"/>
                    <a:gd name="connsiteY14" fmla="*/ 118875 h 110069"/>
                    <a:gd name="connsiteX15" fmla="*/ 150355 w 154097"/>
                    <a:gd name="connsiteY15" fmla="*/ 118875 h 110069"/>
                    <a:gd name="connsiteX16" fmla="*/ 140229 w 154097"/>
                    <a:gd name="connsiteY16" fmla="*/ 112491 h 110069"/>
                    <a:gd name="connsiteX17" fmla="*/ 126360 w 154097"/>
                    <a:gd name="connsiteY17" fmla="*/ 112491 h 110069"/>
                    <a:gd name="connsiteX18" fmla="*/ 106107 w 154097"/>
                    <a:gd name="connsiteY18" fmla="*/ 99173 h 110069"/>
                    <a:gd name="connsiteX19" fmla="*/ 100824 w 154097"/>
                    <a:gd name="connsiteY19" fmla="*/ 94880 h 110069"/>
                    <a:gd name="connsiteX20" fmla="*/ 62960 w 154097"/>
                    <a:gd name="connsiteY20" fmla="*/ 69344 h 110069"/>
                    <a:gd name="connsiteX21" fmla="*/ 43257 w 154097"/>
                    <a:gd name="connsiteY21" fmla="*/ 82662 h 110069"/>
                    <a:gd name="connsiteX22" fmla="*/ 40506 w 154097"/>
                    <a:gd name="connsiteY22" fmla="*/ 95430 h 110069"/>
                    <a:gd name="connsiteX23" fmla="*/ 20253 w 154097"/>
                    <a:gd name="connsiteY23" fmla="*/ 95430 h 110069"/>
                    <a:gd name="connsiteX24" fmla="*/ 0 w 154097"/>
                    <a:gd name="connsiteY24" fmla="*/ 83102 h 110069"/>
                    <a:gd name="connsiteX25" fmla="*/ 20473 w 154097"/>
                    <a:gd name="connsiteY25" fmla="*/ 0 h 110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54097" h="110069">
                      <a:moveTo>
                        <a:pt x="20473" y="0"/>
                      </a:moveTo>
                      <a:cubicBezTo>
                        <a:pt x="28288" y="2972"/>
                        <a:pt x="37424" y="5063"/>
                        <a:pt x="44688" y="5063"/>
                      </a:cubicBezTo>
                      <a:cubicBezTo>
                        <a:pt x="51072" y="5063"/>
                        <a:pt x="54374" y="12548"/>
                        <a:pt x="60648" y="12548"/>
                      </a:cubicBezTo>
                      <a:cubicBezTo>
                        <a:pt x="60648" y="16841"/>
                        <a:pt x="64941" y="17281"/>
                        <a:pt x="67583" y="17831"/>
                      </a:cubicBezTo>
                      <a:cubicBezTo>
                        <a:pt x="84644" y="23225"/>
                        <a:pt x="84093" y="37534"/>
                        <a:pt x="96971" y="44028"/>
                      </a:cubicBezTo>
                      <a:cubicBezTo>
                        <a:pt x="102255" y="46780"/>
                        <a:pt x="113482" y="40836"/>
                        <a:pt x="113482" y="52613"/>
                      </a:cubicBezTo>
                      <a:cubicBezTo>
                        <a:pt x="113482" y="58447"/>
                        <a:pt x="103355" y="56246"/>
                        <a:pt x="103355" y="61088"/>
                      </a:cubicBezTo>
                      <a:cubicBezTo>
                        <a:pt x="103355" y="63730"/>
                        <a:pt x="112491" y="72866"/>
                        <a:pt x="113482" y="73857"/>
                      </a:cubicBezTo>
                      <a:cubicBezTo>
                        <a:pt x="118765" y="79250"/>
                        <a:pt x="117774" y="82992"/>
                        <a:pt x="121957" y="89376"/>
                      </a:cubicBezTo>
                      <a:cubicBezTo>
                        <a:pt x="123498" y="92018"/>
                        <a:pt x="129992" y="94770"/>
                        <a:pt x="133735" y="94770"/>
                      </a:cubicBezTo>
                      <a:cubicBezTo>
                        <a:pt x="135385" y="94770"/>
                        <a:pt x="136927" y="98512"/>
                        <a:pt x="138027" y="100714"/>
                      </a:cubicBezTo>
                      <a:cubicBezTo>
                        <a:pt x="139128" y="103355"/>
                        <a:pt x="142320" y="101264"/>
                        <a:pt x="144411" y="101814"/>
                      </a:cubicBezTo>
                      <a:cubicBezTo>
                        <a:pt x="147603" y="102805"/>
                        <a:pt x="148704" y="106107"/>
                        <a:pt x="149805" y="108198"/>
                      </a:cubicBezTo>
                      <a:cubicBezTo>
                        <a:pt x="150905" y="110840"/>
                        <a:pt x="158830" y="109739"/>
                        <a:pt x="160481" y="110290"/>
                      </a:cubicBezTo>
                      <a:cubicBezTo>
                        <a:pt x="157290" y="112381"/>
                        <a:pt x="153547" y="115133"/>
                        <a:pt x="153547" y="118875"/>
                      </a:cubicBezTo>
                      <a:lnTo>
                        <a:pt x="150355" y="118875"/>
                      </a:lnTo>
                      <a:cubicBezTo>
                        <a:pt x="149254" y="118875"/>
                        <a:pt x="141329" y="113482"/>
                        <a:pt x="140229" y="112491"/>
                      </a:cubicBezTo>
                      <a:lnTo>
                        <a:pt x="126360" y="112491"/>
                      </a:lnTo>
                      <a:cubicBezTo>
                        <a:pt x="118435" y="110950"/>
                        <a:pt x="106107" y="105006"/>
                        <a:pt x="106107" y="99173"/>
                      </a:cubicBezTo>
                      <a:cubicBezTo>
                        <a:pt x="106107" y="96971"/>
                        <a:pt x="101814" y="95981"/>
                        <a:pt x="100824" y="94880"/>
                      </a:cubicBezTo>
                      <a:cubicBezTo>
                        <a:pt x="90147" y="84203"/>
                        <a:pt x="80571" y="69344"/>
                        <a:pt x="62960" y="69344"/>
                      </a:cubicBezTo>
                      <a:cubicBezTo>
                        <a:pt x="49642" y="69344"/>
                        <a:pt x="50742" y="78920"/>
                        <a:pt x="43257" y="82662"/>
                      </a:cubicBezTo>
                      <a:cubicBezTo>
                        <a:pt x="45349" y="89597"/>
                        <a:pt x="40506" y="91688"/>
                        <a:pt x="40506" y="95430"/>
                      </a:cubicBezTo>
                      <a:lnTo>
                        <a:pt x="20253" y="95430"/>
                      </a:lnTo>
                      <a:cubicBezTo>
                        <a:pt x="11007" y="95430"/>
                        <a:pt x="6274" y="88056"/>
                        <a:pt x="0" y="83102"/>
                      </a:cubicBezTo>
                      <a:lnTo>
                        <a:pt x="20473" y="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87" name="Freeform: Shape 286">
                  <a:extLst>
                    <a:ext uri="{FF2B5EF4-FFF2-40B4-BE49-F238E27FC236}">
                      <a16:creationId xmlns:a16="http://schemas.microsoft.com/office/drawing/2014/main" id="{C08D212B-2C47-44F9-A7C5-5BBF921E51BC}"/>
                    </a:ext>
                  </a:extLst>
                </p:cNvPr>
                <p:cNvSpPr/>
                <p:nvPr/>
              </p:nvSpPr>
              <p:spPr>
                <a:xfrm>
                  <a:off x="2945662" y="2614897"/>
                  <a:ext cx="154097" cy="66042"/>
                </a:xfrm>
                <a:custGeom>
                  <a:avLst/>
                  <a:gdLst>
                    <a:gd name="connsiteX0" fmla="*/ 153547 w 154097"/>
                    <a:gd name="connsiteY0" fmla="*/ 37203 h 66041"/>
                    <a:gd name="connsiteX1" fmla="*/ 129552 w 154097"/>
                    <a:gd name="connsiteY1" fmla="*/ 56466 h 66041"/>
                    <a:gd name="connsiteX2" fmla="*/ 88496 w 154097"/>
                    <a:gd name="connsiteY2" fmla="*/ 69784 h 66041"/>
                    <a:gd name="connsiteX3" fmla="*/ 40506 w 154097"/>
                    <a:gd name="connsiteY3" fmla="*/ 60208 h 66041"/>
                    <a:gd name="connsiteX4" fmla="*/ 17061 w 154097"/>
                    <a:gd name="connsiteY4" fmla="*/ 50632 h 66041"/>
                    <a:gd name="connsiteX5" fmla="*/ 21904 w 154097"/>
                    <a:gd name="connsiteY5" fmla="*/ 47990 h 66041"/>
                    <a:gd name="connsiteX6" fmla="*/ 24545 w 154097"/>
                    <a:gd name="connsiteY6" fmla="*/ 32030 h 66041"/>
                    <a:gd name="connsiteX7" fmla="*/ 1651 w 154097"/>
                    <a:gd name="connsiteY7" fmla="*/ 29829 h 66041"/>
                    <a:gd name="connsiteX8" fmla="*/ 29389 w 154097"/>
                    <a:gd name="connsiteY8" fmla="*/ 25096 h 66041"/>
                    <a:gd name="connsiteX9" fmla="*/ 27187 w 154097"/>
                    <a:gd name="connsiteY9" fmla="*/ 20803 h 66041"/>
                    <a:gd name="connsiteX10" fmla="*/ 0 w 154097"/>
                    <a:gd name="connsiteY10" fmla="*/ 9026 h 66041"/>
                    <a:gd name="connsiteX11" fmla="*/ 10677 w 154097"/>
                    <a:gd name="connsiteY11" fmla="*/ 10126 h 66041"/>
                    <a:gd name="connsiteX12" fmla="*/ 10677 w 154097"/>
                    <a:gd name="connsiteY12" fmla="*/ 5944 h 66041"/>
                    <a:gd name="connsiteX13" fmla="*/ 20253 w 154097"/>
                    <a:gd name="connsiteY13" fmla="*/ 0 h 66041"/>
                    <a:gd name="connsiteX14" fmla="*/ 24545 w 154097"/>
                    <a:gd name="connsiteY14" fmla="*/ 0 h 66041"/>
                    <a:gd name="connsiteX15" fmla="*/ 27738 w 154097"/>
                    <a:gd name="connsiteY15" fmla="*/ 8035 h 66041"/>
                    <a:gd name="connsiteX16" fmla="*/ 35773 w 154097"/>
                    <a:gd name="connsiteY16" fmla="*/ 18712 h 66041"/>
                    <a:gd name="connsiteX17" fmla="*/ 45349 w 154097"/>
                    <a:gd name="connsiteY17" fmla="*/ 15410 h 66041"/>
                    <a:gd name="connsiteX18" fmla="*/ 45349 w 154097"/>
                    <a:gd name="connsiteY18" fmla="*/ 8475 h 66041"/>
                    <a:gd name="connsiteX19" fmla="*/ 52283 w 154097"/>
                    <a:gd name="connsiteY19" fmla="*/ 13318 h 66041"/>
                    <a:gd name="connsiteX20" fmla="*/ 65051 w 154097"/>
                    <a:gd name="connsiteY20" fmla="*/ 10016 h 66041"/>
                    <a:gd name="connsiteX21" fmla="*/ 72536 w 154097"/>
                    <a:gd name="connsiteY21" fmla="*/ 13759 h 66041"/>
                    <a:gd name="connsiteX22" fmla="*/ 72536 w 154097"/>
                    <a:gd name="connsiteY22" fmla="*/ 8365 h 66041"/>
                    <a:gd name="connsiteX23" fmla="*/ 89597 w 154097"/>
                    <a:gd name="connsiteY23" fmla="*/ 9906 h 66041"/>
                    <a:gd name="connsiteX24" fmla="*/ 107758 w 154097"/>
                    <a:gd name="connsiteY24" fmla="*/ 8365 h 66041"/>
                    <a:gd name="connsiteX25" fmla="*/ 109849 w 154097"/>
                    <a:gd name="connsiteY25" fmla="*/ 330 h 66041"/>
                    <a:gd name="connsiteX26" fmla="*/ 115683 w 154097"/>
                    <a:gd name="connsiteY26" fmla="*/ 330 h 66041"/>
                    <a:gd name="connsiteX27" fmla="*/ 125259 w 154097"/>
                    <a:gd name="connsiteY27" fmla="*/ 7265 h 66041"/>
                    <a:gd name="connsiteX28" fmla="*/ 138027 w 154097"/>
                    <a:gd name="connsiteY28" fmla="*/ 4513 h 66041"/>
                    <a:gd name="connsiteX29" fmla="*/ 134835 w 154097"/>
                    <a:gd name="connsiteY29" fmla="*/ 9356 h 66041"/>
                    <a:gd name="connsiteX30" fmla="*/ 154538 w 154097"/>
                    <a:gd name="connsiteY30" fmla="*/ 35993 h 66041"/>
                    <a:gd name="connsiteX31" fmla="*/ 153547 w 154097"/>
                    <a:gd name="connsiteY31" fmla="*/ 37203 h 660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54097" h="66041">
                      <a:moveTo>
                        <a:pt x="153547" y="37203"/>
                      </a:moveTo>
                      <a:cubicBezTo>
                        <a:pt x="149254" y="44688"/>
                        <a:pt x="136486" y="54264"/>
                        <a:pt x="129552" y="56466"/>
                      </a:cubicBezTo>
                      <a:cubicBezTo>
                        <a:pt x="116674" y="60758"/>
                        <a:pt x="106547" y="69784"/>
                        <a:pt x="88496" y="69784"/>
                      </a:cubicBezTo>
                      <a:cubicBezTo>
                        <a:pt x="68794" y="69784"/>
                        <a:pt x="54815" y="64941"/>
                        <a:pt x="40506" y="60208"/>
                      </a:cubicBezTo>
                      <a:cubicBezTo>
                        <a:pt x="33021" y="58117"/>
                        <a:pt x="28728" y="50632"/>
                        <a:pt x="17061" y="50632"/>
                      </a:cubicBezTo>
                      <a:cubicBezTo>
                        <a:pt x="18712" y="49531"/>
                        <a:pt x="20253" y="47990"/>
                        <a:pt x="21904" y="47990"/>
                      </a:cubicBezTo>
                      <a:cubicBezTo>
                        <a:pt x="21904" y="41056"/>
                        <a:pt x="23555" y="37864"/>
                        <a:pt x="24545" y="32030"/>
                      </a:cubicBezTo>
                      <a:cubicBezTo>
                        <a:pt x="15960" y="29829"/>
                        <a:pt x="6934" y="35222"/>
                        <a:pt x="1651" y="29829"/>
                      </a:cubicBezTo>
                      <a:cubicBezTo>
                        <a:pt x="9686" y="29829"/>
                        <a:pt x="23555" y="27187"/>
                        <a:pt x="29389" y="25096"/>
                      </a:cubicBezTo>
                      <a:cubicBezTo>
                        <a:pt x="27848" y="23995"/>
                        <a:pt x="27187" y="22454"/>
                        <a:pt x="27187" y="20803"/>
                      </a:cubicBezTo>
                      <a:cubicBezTo>
                        <a:pt x="20803" y="20803"/>
                        <a:pt x="1101" y="14969"/>
                        <a:pt x="0" y="9026"/>
                      </a:cubicBezTo>
                      <a:cubicBezTo>
                        <a:pt x="4843" y="7485"/>
                        <a:pt x="7485" y="8475"/>
                        <a:pt x="10677" y="10126"/>
                      </a:cubicBezTo>
                      <a:lnTo>
                        <a:pt x="10677" y="5944"/>
                      </a:lnTo>
                      <a:cubicBezTo>
                        <a:pt x="14969" y="5944"/>
                        <a:pt x="16070" y="0"/>
                        <a:pt x="20253" y="0"/>
                      </a:cubicBezTo>
                      <a:lnTo>
                        <a:pt x="24545" y="0"/>
                      </a:lnTo>
                      <a:cubicBezTo>
                        <a:pt x="25096" y="3192"/>
                        <a:pt x="27187" y="4843"/>
                        <a:pt x="27738" y="8035"/>
                      </a:cubicBezTo>
                      <a:cubicBezTo>
                        <a:pt x="27187" y="11777"/>
                        <a:pt x="32030" y="18712"/>
                        <a:pt x="35773" y="18712"/>
                      </a:cubicBezTo>
                      <a:cubicBezTo>
                        <a:pt x="39515" y="18712"/>
                        <a:pt x="42707" y="16070"/>
                        <a:pt x="45349" y="15410"/>
                      </a:cubicBezTo>
                      <a:cubicBezTo>
                        <a:pt x="44248" y="11667"/>
                        <a:pt x="43698" y="10677"/>
                        <a:pt x="45349" y="8475"/>
                      </a:cubicBezTo>
                      <a:cubicBezTo>
                        <a:pt x="47440" y="10567"/>
                        <a:pt x="49091" y="13318"/>
                        <a:pt x="52283" y="13318"/>
                      </a:cubicBezTo>
                      <a:lnTo>
                        <a:pt x="65051" y="10016"/>
                      </a:lnTo>
                      <a:cubicBezTo>
                        <a:pt x="69344" y="11117"/>
                        <a:pt x="70444" y="12768"/>
                        <a:pt x="72536" y="13759"/>
                      </a:cubicBezTo>
                      <a:cubicBezTo>
                        <a:pt x="71985" y="12108"/>
                        <a:pt x="72536" y="10016"/>
                        <a:pt x="72536" y="8365"/>
                      </a:cubicBezTo>
                      <a:cubicBezTo>
                        <a:pt x="80571" y="8365"/>
                        <a:pt x="84864" y="9906"/>
                        <a:pt x="89597" y="9906"/>
                      </a:cubicBezTo>
                      <a:cubicBezTo>
                        <a:pt x="96531" y="9906"/>
                        <a:pt x="102915" y="3522"/>
                        <a:pt x="107758" y="8365"/>
                      </a:cubicBezTo>
                      <a:cubicBezTo>
                        <a:pt x="107758" y="4073"/>
                        <a:pt x="108859" y="2532"/>
                        <a:pt x="109849" y="330"/>
                      </a:cubicBezTo>
                      <a:cubicBezTo>
                        <a:pt x="113592" y="1431"/>
                        <a:pt x="113592" y="1981"/>
                        <a:pt x="115683" y="330"/>
                      </a:cubicBezTo>
                      <a:cubicBezTo>
                        <a:pt x="115683" y="6714"/>
                        <a:pt x="119976" y="7265"/>
                        <a:pt x="125259" y="7265"/>
                      </a:cubicBezTo>
                      <a:cubicBezTo>
                        <a:pt x="129992" y="7265"/>
                        <a:pt x="133294" y="4513"/>
                        <a:pt x="138027" y="4513"/>
                      </a:cubicBezTo>
                      <a:cubicBezTo>
                        <a:pt x="136486" y="5614"/>
                        <a:pt x="134835" y="7815"/>
                        <a:pt x="134835" y="9356"/>
                      </a:cubicBezTo>
                      <a:cubicBezTo>
                        <a:pt x="134835" y="24766"/>
                        <a:pt x="154538" y="21023"/>
                        <a:pt x="154538" y="35993"/>
                      </a:cubicBezTo>
                      <a:lnTo>
                        <a:pt x="153547" y="37203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88" name="Freeform: Shape 287">
                  <a:extLst>
                    <a:ext uri="{FF2B5EF4-FFF2-40B4-BE49-F238E27FC236}">
                      <a16:creationId xmlns:a16="http://schemas.microsoft.com/office/drawing/2014/main" id="{C39E832D-5B7D-4768-9945-65C287B5E6BB}"/>
                    </a:ext>
                  </a:extLst>
                </p:cNvPr>
                <p:cNvSpPr/>
                <p:nvPr/>
              </p:nvSpPr>
              <p:spPr>
                <a:xfrm>
                  <a:off x="2020527" y="3463533"/>
                  <a:ext cx="154097" cy="44028"/>
                </a:xfrm>
                <a:custGeom>
                  <a:avLst/>
                  <a:gdLst>
                    <a:gd name="connsiteX0" fmla="*/ 158610 w 154097"/>
                    <a:gd name="connsiteY0" fmla="*/ 47880 h 44027"/>
                    <a:gd name="connsiteX1" fmla="*/ 138358 w 154097"/>
                    <a:gd name="connsiteY1" fmla="*/ 54264 h 44027"/>
                    <a:gd name="connsiteX2" fmla="*/ 107428 w 154097"/>
                    <a:gd name="connsiteY2" fmla="*/ 50522 h 44027"/>
                    <a:gd name="connsiteX3" fmla="*/ 107428 w 154097"/>
                    <a:gd name="connsiteY3" fmla="*/ 47330 h 44027"/>
                    <a:gd name="connsiteX4" fmla="*/ 112821 w 154097"/>
                    <a:gd name="connsiteY4" fmla="*/ 42597 h 44027"/>
                    <a:gd name="connsiteX5" fmla="*/ 94660 w 154097"/>
                    <a:gd name="connsiteY5" fmla="*/ 31370 h 44027"/>
                    <a:gd name="connsiteX6" fmla="*/ 88716 w 154097"/>
                    <a:gd name="connsiteY6" fmla="*/ 26637 h 44027"/>
                    <a:gd name="connsiteX7" fmla="*/ 77489 w 154097"/>
                    <a:gd name="connsiteY7" fmla="*/ 26086 h 44027"/>
                    <a:gd name="connsiteX8" fmla="*/ 58777 w 154097"/>
                    <a:gd name="connsiteY8" fmla="*/ 18161 h 44027"/>
                    <a:gd name="connsiteX9" fmla="*/ 43257 w 154097"/>
                    <a:gd name="connsiteY9" fmla="*/ 18161 h 44027"/>
                    <a:gd name="connsiteX10" fmla="*/ 42157 w 154097"/>
                    <a:gd name="connsiteY10" fmla="*/ 12328 h 44027"/>
                    <a:gd name="connsiteX11" fmla="*/ 34672 w 154097"/>
                    <a:gd name="connsiteY11" fmla="*/ 10677 h 44027"/>
                    <a:gd name="connsiteX12" fmla="*/ 4843 w 154097"/>
                    <a:gd name="connsiteY12" fmla="*/ 23555 h 44027"/>
                    <a:gd name="connsiteX13" fmla="*/ 0 w 154097"/>
                    <a:gd name="connsiteY13" fmla="*/ 23555 h 44027"/>
                    <a:gd name="connsiteX14" fmla="*/ 43698 w 154097"/>
                    <a:gd name="connsiteY14" fmla="*/ 0 h 44027"/>
                    <a:gd name="connsiteX15" fmla="*/ 95981 w 154097"/>
                    <a:gd name="connsiteY15" fmla="*/ 13429 h 44027"/>
                    <a:gd name="connsiteX16" fmla="*/ 105006 w 154097"/>
                    <a:gd name="connsiteY16" fmla="*/ 19813 h 44027"/>
                    <a:gd name="connsiteX17" fmla="*/ 138137 w 154097"/>
                    <a:gd name="connsiteY17" fmla="*/ 33131 h 44027"/>
                    <a:gd name="connsiteX18" fmla="*/ 138137 w 154097"/>
                    <a:gd name="connsiteY18" fmla="*/ 36873 h 44027"/>
                    <a:gd name="connsiteX19" fmla="*/ 146172 w 154097"/>
                    <a:gd name="connsiteY19" fmla="*/ 37424 h 44027"/>
                    <a:gd name="connsiteX20" fmla="*/ 158610 w 154097"/>
                    <a:gd name="connsiteY20" fmla="*/ 47880 h 44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54097" h="44027">
                      <a:moveTo>
                        <a:pt x="158610" y="47880"/>
                      </a:moveTo>
                      <a:cubicBezTo>
                        <a:pt x="154868" y="54264"/>
                        <a:pt x="144742" y="54264"/>
                        <a:pt x="138358" y="54264"/>
                      </a:cubicBezTo>
                      <a:cubicBezTo>
                        <a:pt x="126030" y="54264"/>
                        <a:pt x="117554" y="50522"/>
                        <a:pt x="107428" y="50522"/>
                      </a:cubicBezTo>
                      <a:lnTo>
                        <a:pt x="107428" y="47330"/>
                      </a:lnTo>
                      <a:cubicBezTo>
                        <a:pt x="110070" y="47330"/>
                        <a:pt x="112271" y="45239"/>
                        <a:pt x="112821" y="42597"/>
                      </a:cubicBezTo>
                      <a:cubicBezTo>
                        <a:pt x="104786" y="38855"/>
                        <a:pt x="96311" y="39405"/>
                        <a:pt x="94660" y="31370"/>
                      </a:cubicBezTo>
                      <a:cubicBezTo>
                        <a:pt x="90367" y="31370"/>
                        <a:pt x="90918" y="27627"/>
                        <a:pt x="88716" y="26637"/>
                      </a:cubicBezTo>
                      <a:cubicBezTo>
                        <a:pt x="84423" y="24545"/>
                        <a:pt x="81782" y="26086"/>
                        <a:pt x="77489" y="26086"/>
                      </a:cubicBezTo>
                      <a:cubicBezTo>
                        <a:pt x="70004" y="26086"/>
                        <a:pt x="66262" y="18161"/>
                        <a:pt x="58777" y="18161"/>
                      </a:cubicBezTo>
                      <a:lnTo>
                        <a:pt x="43257" y="18161"/>
                      </a:lnTo>
                      <a:cubicBezTo>
                        <a:pt x="40065" y="15960"/>
                        <a:pt x="40616" y="13869"/>
                        <a:pt x="42157" y="12328"/>
                      </a:cubicBezTo>
                      <a:cubicBezTo>
                        <a:pt x="40065" y="10126"/>
                        <a:pt x="37314" y="10677"/>
                        <a:pt x="34672" y="10677"/>
                      </a:cubicBezTo>
                      <a:cubicBezTo>
                        <a:pt x="24545" y="10677"/>
                        <a:pt x="10126" y="18161"/>
                        <a:pt x="4843" y="23555"/>
                      </a:cubicBezTo>
                      <a:lnTo>
                        <a:pt x="0" y="23555"/>
                      </a:lnTo>
                      <a:cubicBezTo>
                        <a:pt x="8585" y="9136"/>
                        <a:pt x="19703" y="0"/>
                        <a:pt x="43698" y="0"/>
                      </a:cubicBezTo>
                      <a:cubicBezTo>
                        <a:pt x="67143" y="0"/>
                        <a:pt x="78370" y="13429"/>
                        <a:pt x="95981" y="13429"/>
                      </a:cubicBezTo>
                      <a:cubicBezTo>
                        <a:pt x="99723" y="13429"/>
                        <a:pt x="104016" y="18822"/>
                        <a:pt x="105006" y="19813"/>
                      </a:cubicBezTo>
                      <a:cubicBezTo>
                        <a:pt x="112491" y="27297"/>
                        <a:pt x="125810" y="33131"/>
                        <a:pt x="138137" y="33131"/>
                      </a:cubicBezTo>
                      <a:cubicBezTo>
                        <a:pt x="138137" y="34232"/>
                        <a:pt x="137587" y="35883"/>
                        <a:pt x="138137" y="36873"/>
                      </a:cubicBezTo>
                      <a:lnTo>
                        <a:pt x="146172" y="37424"/>
                      </a:lnTo>
                      <a:cubicBezTo>
                        <a:pt x="152116" y="38855"/>
                        <a:pt x="154868" y="46339"/>
                        <a:pt x="158610" y="4788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89" name="Freeform: Shape 288">
                  <a:extLst>
                    <a:ext uri="{FF2B5EF4-FFF2-40B4-BE49-F238E27FC236}">
                      <a16:creationId xmlns:a16="http://schemas.microsoft.com/office/drawing/2014/main" id="{DB7497CB-A420-456B-9C09-1BA590DDE97D}"/>
                    </a:ext>
                  </a:extLst>
                </p:cNvPr>
                <p:cNvSpPr/>
                <p:nvPr/>
              </p:nvSpPr>
              <p:spPr>
                <a:xfrm>
                  <a:off x="2042541" y="3483786"/>
                  <a:ext cx="11007" cy="11007"/>
                </a:xfrm>
                <a:custGeom>
                  <a:avLst/>
                  <a:gdLst>
                    <a:gd name="connsiteX0" fmla="*/ 7485 w 0"/>
                    <a:gd name="connsiteY0" fmla="*/ 440 h 0"/>
                    <a:gd name="connsiteX1" fmla="*/ 7485 w 0"/>
                    <a:gd name="connsiteY1" fmla="*/ 8475 h 0"/>
                    <a:gd name="connsiteX2" fmla="*/ 0 w 0"/>
                    <a:gd name="connsiteY2" fmla="*/ 8475 h 0"/>
                    <a:gd name="connsiteX3" fmla="*/ 4843 w 0"/>
                    <a:gd name="connsiteY3" fmla="*/ 3742 h 0"/>
                    <a:gd name="connsiteX4" fmla="*/ 4843 w 0"/>
                    <a:gd name="connsiteY4" fmla="*/ 0 h 0"/>
                    <a:gd name="connsiteX5" fmla="*/ 5944 w 0"/>
                    <a:gd name="connsiteY5" fmla="*/ 0 h 0"/>
                    <a:gd name="connsiteX6" fmla="*/ 7485 w 0"/>
                    <a:gd name="connsiteY6" fmla="*/ 44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>
                      <a:moveTo>
                        <a:pt x="7485" y="440"/>
                      </a:moveTo>
                      <a:cubicBezTo>
                        <a:pt x="8035" y="3192"/>
                        <a:pt x="8585" y="5834"/>
                        <a:pt x="7485" y="8475"/>
                      </a:cubicBezTo>
                      <a:cubicBezTo>
                        <a:pt x="6934" y="8475"/>
                        <a:pt x="0" y="9576"/>
                        <a:pt x="0" y="8475"/>
                      </a:cubicBezTo>
                      <a:cubicBezTo>
                        <a:pt x="0" y="4733"/>
                        <a:pt x="3192" y="3742"/>
                        <a:pt x="4843" y="3742"/>
                      </a:cubicBezTo>
                      <a:lnTo>
                        <a:pt x="4843" y="0"/>
                      </a:lnTo>
                      <a:lnTo>
                        <a:pt x="5944" y="0"/>
                      </a:lnTo>
                      <a:lnTo>
                        <a:pt x="7485" y="44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90" name="Freeform: Shape 289">
                  <a:extLst>
                    <a:ext uri="{FF2B5EF4-FFF2-40B4-BE49-F238E27FC236}">
                      <a16:creationId xmlns:a16="http://schemas.microsoft.com/office/drawing/2014/main" id="{F2F7A6DE-E32A-4D0C-B65A-217CA8466317}"/>
                    </a:ext>
                  </a:extLst>
                </p:cNvPr>
                <p:cNvSpPr/>
                <p:nvPr/>
              </p:nvSpPr>
              <p:spPr>
                <a:xfrm>
                  <a:off x="2122121" y="3537610"/>
                  <a:ext cx="22014" cy="11007"/>
                </a:xfrm>
                <a:custGeom>
                  <a:avLst/>
                  <a:gdLst>
                    <a:gd name="connsiteX0" fmla="*/ 21244 w 22013"/>
                    <a:gd name="connsiteY0" fmla="*/ 3192 h 11006"/>
                    <a:gd name="connsiteX1" fmla="*/ 26087 w 22013"/>
                    <a:gd name="connsiteY1" fmla="*/ 8035 h 11006"/>
                    <a:gd name="connsiteX2" fmla="*/ 8475 w 22013"/>
                    <a:gd name="connsiteY2" fmla="*/ 11227 h 11006"/>
                    <a:gd name="connsiteX3" fmla="*/ 0 w 22013"/>
                    <a:gd name="connsiteY3" fmla="*/ 3192 h 11006"/>
                    <a:gd name="connsiteX4" fmla="*/ 5393 w 22013"/>
                    <a:gd name="connsiteY4" fmla="*/ 0 h 11006"/>
                    <a:gd name="connsiteX5" fmla="*/ 22454 w 22013"/>
                    <a:gd name="connsiteY5" fmla="*/ 4293 h 11006"/>
                    <a:gd name="connsiteX6" fmla="*/ 21244 w 22013"/>
                    <a:gd name="connsiteY6" fmla="*/ 3192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013" h="11006">
                      <a:moveTo>
                        <a:pt x="21244" y="3192"/>
                      </a:moveTo>
                      <a:cubicBezTo>
                        <a:pt x="24435" y="4293"/>
                        <a:pt x="25536" y="5834"/>
                        <a:pt x="26087" y="8035"/>
                      </a:cubicBezTo>
                      <a:cubicBezTo>
                        <a:pt x="19703" y="9136"/>
                        <a:pt x="14969" y="11227"/>
                        <a:pt x="8475" y="11227"/>
                      </a:cubicBezTo>
                      <a:cubicBezTo>
                        <a:pt x="4293" y="11227"/>
                        <a:pt x="0" y="7595"/>
                        <a:pt x="0" y="3192"/>
                      </a:cubicBezTo>
                      <a:cubicBezTo>
                        <a:pt x="0" y="1101"/>
                        <a:pt x="3192" y="0"/>
                        <a:pt x="5393" y="0"/>
                      </a:cubicBezTo>
                      <a:cubicBezTo>
                        <a:pt x="11778" y="0"/>
                        <a:pt x="19262" y="3192"/>
                        <a:pt x="22454" y="4293"/>
                      </a:cubicBezTo>
                      <a:lnTo>
                        <a:pt x="21244" y="3192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91" name="Freeform: Shape 290">
                  <a:extLst>
                    <a:ext uri="{FF2B5EF4-FFF2-40B4-BE49-F238E27FC236}">
                      <a16:creationId xmlns:a16="http://schemas.microsoft.com/office/drawing/2014/main" id="{66FF2D93-B51B-4ECA-BFD2-972E24CC3A33}"/>
                    </a:ext>
                  </a:extLst>
                </p:cNvPr>
                <p:cNvSpPr/>
                <p:nvPr/>
              </p:nvSpPr>
              <p:spPr>
                <a:xfrm>
                  <a:off x="2289977" y="3536509"/>
                  <a:ext cx="11007" cy="11007"/>
                </a:xfrm>
                <a:custGeom>
                  <a:avLst/>
                  <a:gdLst>
                    <a:gd name="connsiteX0" fmla="*/ 21904 w 11006"/>
                    <a:gd name="connsiteY0" fmla="*/ 5834 h 0"/>
                    <a:gd name="connsiteX1" fmla="*/ 13318 w 11006"/>
                    <a:gd name="connsiteY1" fmla="*/ 9026 h 0"/>
                    <a:gd name="connsiteX2" fmla="*/ 0 w 11006"/>
                    <a:gd name="connsiteY2" fmla="*/ 3192 h 0"/>
                    <a:gd name="connsiteX3" fmla="*/ 5834 w 11006"/>
                    <a:gd name="connsiteY3" fmla="*/ 0 h 0"/>
                    <a:gd name="connsiteX4" fmla="*/ 21904 w 11006"/>
                    <a:gd name="connsiteY4" fmla="*/ 5834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>
                      <a:moveTo>
                        <a:pt x="21904" y="5834"/>
                      </a:moveTo>
                      <a:cubicBezTo>
                        <a:pt x="20253" y="9026"/>
                        <a:pt x="16510" y="9026"/>
                        <a:pt x="13318" y="9026"/>
                      </a:cubicBezTo>
                      <a:cubicBezTo>
                        <a:pt x="6934" y="9026"/>
                        <a:pt x="0" y="8585"/>
                        <a:pt x="0" y="3192"/>
                      </a:cubicBezTo>
                      <a:cubicBezTo>
                        <a:pt x="0" y="440"/>
                        <a:pt x="4293" y="0"/>
                        <a:pt x="5834" y="0"/>
                      </a:cubicBezTo>
                      <a:cubicBezTo>
                        <a:pt x="7485" y="0"/>
                        <a:pt x="20363" y="2752"/>
                        <a:pt x="21904" y="583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92" name="Freeform: Shape 291">
                  <a:extLst>
                    <a:ext uri="{FF2B5EF4-FFF2-40B4-BE49-F238E27FC236}">
                      <a16:creationId xmlns:a16="http://schemas.microsoft.com/office/drawing/2014/main" id="{6176F952-1E9B-4824-99B9-D7574822E83C}"/>
                    </a:ext>
                  </a:extLst>
                </p:cNvPr>
                <p:cNvSpPr/>
                <p:nvPr/>
              </p:nvSpPr>
              <p:spPr>
                <a:xfrm>
                  <a:off x="2180128" y="3514055"/>
                  <a:ext cx="88056" cy="33021"/>
                </a:xfrm>
                <a:custGeom>
                  <a:avLst/>
                  <a:gdLst>
                    <a:gd name="connsiteX0" fmla="*/ 76278 w 88055"/>
                    <a:gd name="connsiteY0" fmla="*/ 13429 h 33020"/>
                    <a:gd name="connsiteX1" fmla="*/ 90697 w 88055"/>
                    <a:gd name="connsiteY1" fmla="*/ 25206 h 33020"/>
                    <a:gd name="connsiteX2" fmla="*/ 70995 w 88055"/>
                    <a:gd name="connsiteY2" fmla="*/ 25206 h 33020"/>
                    <a:gd name="connsiteX3" fmla="*/ 61419 w 88055"/>
                    <a:gd name="connsiteY3" fmla="*/ 29499 h 33020"/>
                    <a:gd name="connsiteX4" fmla="*/ 56025 w 88055"/>
                    <a:gd name="connsiteY4" fmla="*/ 26747 h 33020"/>
                    <a:gd name="connsiteX5" fmla="*/ 43698 w 88055"/>
                    <a:gd name="connsiteY5" fmla="*/ 36323 h 33020"/>
                    <a:gd name="connsiteX6" fmla="*/ 37314 w 88055"/>
                    <a:gd name="connsiteY6" fmla="*/ 29389 h 33020"/>
                    <a:gd name="connsiteX7" fmla="*/ 13318 w 88055"/>
                    <a:gd name="connsiteY7" fmla="*/ 27738 h 33020"/>
                    <a:gd name="connsiteX8" fmla="*/ 6934 w 88055"/>
                    <a:gd name="connsiteY8" fmla="*/ 27738 h 33020"/>
                    <a:gd name="connsiteX9" fmla="*/ 6384 w 88055"/>
                    <a:gd name="connsiteY9" fmla="*/ 32030 h 33020"/>
                    <a:gd name="connsiteX10" fmla="*/ 0 w 88055"/>
                    <a:gd name="connsiteY10" fmla="*/ 23445 h 33020"/>
                    <a:gd name="connsiteX11" fmla="*/ 2642 w 88055"/>
                    <a:gd name="connsiteY11" fmla="*/ 21354 h 33020"/>
                    <a:gd name="connsiteX12" fmla="*/ 26637 w 88055"/>
                    <a:gd name="connsiteY12" fmla="*/ 20913 h 33020"/>
                    <a:gd name="connsiteX13" fmla="*/ 22894 w 88055"/>
                    <a:gd name="connsiteY13" fmla="*/ 9686 h 33020"/>
                    <a:gd name="connsiteX14" fmla="*/ 15960 w 88055"/>
                    <a:gd name="connsiteY14" fmla="*/ 3742 h 33020"/>
                    <a:gd name="connsiteX15" fmla="*/ 20253 w 88055"/>
                    <a:gd name="connsiteY15" fmla="*/ 0 h 33020"/>
                    <a:gd name="connsiteX16" fmla="*/ 33131 w 88055"/>
                    <a:gd name="connsiteY16" fmla="*/ 3742 h 33020"/>
                    <a:gd name="connsiteX17" fmla="*/ 49201 w 88055"/>
                    <a:gd name="connsiteY17" fmla="*/ 1541 h 33020"/>
                    <a:gd name="connsiteX18" fmla="*/ 79030 w 88055"/>
                    <a:gd name="connsiteY18" fmla="*/ 15410 h 33020"/>
                    <a:gd name="connsiteX19" fmla="*/ 76278 w 88055"/>
                    <a:gd name="connsiteY19" fmla="*/ 13429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88055" h="33020">
                      <a:moveTo>
                        <a:pt x="76278" y="13429"/>
                      </a:moveTo>
                      <a:cubicBezTo>
                        <a:pt x="81562" y="17721"/>
                        <a:pt x="86955" y="19813"/>
                        <a:pt x="90697" y="25206"/>
                      </a:cubicBezTo>
                      <a:lnTo>
                        <a:pt x="70995" y="25206"/>
                      </a:lnTo>
                      <a:cubicBezTo>
                        <a:pt x="67253" y="27297"/>
                        <a:pt x="65161" y="29499"/>
                        <a:pt x="61419" y="29499"/>
                      </a:cubicBezTo>
                      <a:cubicBezTo>
                        <a:pt x="58227" y="29499"/>
                        <a:pt x="58777" y="26747"/>
                        <a:pt x="56025" y="26747"/>
                      </a:cubicBezTo>
                      <a:cubicBezTo>
                        <a:pt x="49091" y="26747"/>
                        <a:pt x="49642" y="36323"/>
                        <a:pt x="43698" y="36323"/>
                      </a:cubicBezTo>
                      <a:cubicBezTo>
                        <a:pt x="38965" y="36323"/>
                        <a:pt x="39955" y="31040"/>
                        <a:pt x="37314" y="29389"/>
                      </a:cubicBezTo>
                      <a:cubicBezTo>
                        <a:pt x="32471" y="26197"/>
                        <a:pt x="19703" y="27738"/>
                        <a:pt x="13318" y="27738"/>
                      </a:cubicBezTo>
                      <a:cubicBezTo>
                        <a:pt x="9576" y="27738"/>
                        <a:pt x="9576" y="29389"/>
                        <a:pt x="6934" y="27738"/>
                      </a:cubicBezTo>
                      <a:cubicBezTo>
                        <a:pt x="6934" y="29389"/>
                        <a:pt x="6384" y="30379"/>
                        <a:pt x="6384" y="32030"/>
                      </a:cubicBezTo>
                      <a:cubicBezTo>
                        <a:pt x="3192" y="31480"/>
                        <a:pt x="0" y="26637"/>
                        <a:pt x="0" y="23445"/>
                      </a:cubicBezTo>
                      <a:cubicBezTo>
                        <a:pt x="1101" y="23445"/>
                        <a:pt x="2091" y="21904"/>
                        <a:pt x="2642" y="21354"/>
                      </a:cubicBezTo>
                      <a:cubicBezTo>
                        <a:pt x="14969" y="21354"/>
                        <a:pt x="20253" y="23995"/>
                        <a:pt x="26637" y="20913"/>
                      </a:cubicBezTo>
                      <a:cubicBezTo>
                        <a:pt x="23445" y="17721"/>
                        <a:pt x="22894" y="13979"/>
                        <a:pt x="22894" y="9686"/>
                      </a:cubicBezTo>
                      <a:cubicBezTo>
                        <a:pt x="19703" y="9686"/>
                        <a:pt x="15960" y="6934"/>
                        <a:pt x="15960" y="3742"/>
                      </a:cubicBezTo>
                      <a:cubicBezTo>
                        <a:pt x="15960" y="2091"/>
                        <a:pt x="18602" y="0"/>
                        <a:pt x="20253" y="0"/>
                      </a:cubicBezTo>
                      <a:cubicBezTo>
                        <a:pt x="25096" y="0"/>
                        <a:pt x="28288" y="3742"/>
                        <a:pt x="33131" y="3742"/>
                      </a:cubicBezTo>
                      <a:cubicBezTo>
                        <a:pt x="40065" y="3742"/>
                        <a:pt x="43257" y="1541"/>
                        <a:pt x="49201" y="1541"/>
                      </a:cubicBezTo>
                      <a:cubicBezTo>
                        <a:pt x="66262" y="1541"/>
                        <a:pt x="69454" y="10567"/>
                        <a:pt x="79030" y="15410"/>
                      </a:cubicBezTo>
                      <a:lnTo>
                        <a:pt x="76278" y="13429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93" name="Freeform: Shape 292">
                  <a:extLst>
                    <a:ext uri="{FF2B5EF4-FFF2-40B4-BE49-F238E27FC236}">
                      <a16:creationId xmlns:a16="http://schemas.microsoft.com/office/drawing/2014/main" id="{45052C31-6B14-48A8-8F2A-11AD0AC3A11E}"/>
                    </a:ext>
                  </a:extLst>
                </p:cNvPr>
                <p:cNvSpPr/>
                <p:nvPr/>
              </p:nvSpPr>
              <p:spPr>
                <a:xfrm>
                  <a:off x="2117278" y="3433900"/>
                  <a:ext cx="11007" cy="11007"/>
                </a:xfrm>
                <a:custGeom>
                  <a:avLst/>
                  <a:gdLst>
                    <a:gd name="connsiteX0" fmla="*/ 2091 w 0"/>
                    <a:gd name="connsiteY0" fmla="*/ 245 h 0"/>
                    <a:gd name="connsiteX1" fmla="*/ 7925 w 0"/>
                    <a:gd name="connsiteY1" fmla="*/ 7729 h 0"/>
                    <a:gd name="connsiteX2" fmla="*/ 5283 w 0"/>
                    <a:gd name="connsiteY2" fmla="*/ 10371 h 0"/>
                    <a:gd name="connsiteX3" fmla="*/ 0 w 0"/>
                    <a:gd name="connsiteY3" fmla="*/ 245 h 0"/>
                    <a:gd name="connsiteX4" fmla="*/ 2091 w 0"/>
                    <a:gd name="connsiteY4" fmla="*/ 245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>
                      <a:moveTo>
                        <a:pt x="2091" y="245"/>
                      </a:moveTo>
                      <a:cubicBezTo>
                        <a:pt x="6384" y="795"/>
                        <a:pt x="7925" y="3987"/>
                        <a:pt x="7925" y="7729"/>
                      </a:cubicBezTo>
                      <a:cubicBezTo>
                        <a:pt x="7925" y="8830"/>
                        <a:pt x="6384" y="10371"/>
                        <a:pt x="5283" y="10371"/>
                      </a:cubicBezTo>
                      <a:cubicBezTo>
                        <a:pt x="0" y="10371"/>
                        <a:pt x="0" y="4537"/>
                        <a:pt x="0" y="245"/>
                      </a:cubicBezTo>
                      <a:cubicBezTo>
                        <a:pt x="0" y="-306"/>
                        <a:pt x="1541" y="245"/>
                        <a:pt x="2091" y="24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94" name="Freeform: Shape 293">
                  <a:extLst>
                    <a:ext uri="{FF2B5EF4-FFF2-40B4-BE49-F238E27FC236}">
                      <a16:creationId xmlns:a16="http://schemas.microsoft.com/office/drawing/2014/main" id="{0D96ADB2-C47F-420C-98B6-0E306C697EFD}"/>
                    </a:ext>
                  </a:extLst>
                </p:cNvPr>
                <p:cNvSpPr/>
                <p:nvPr/>
              </p:nvSpPr>
              <p:spPr>
                <a:xfrm>
                  <a:off x="2109243" y="3403765"/>
                  <a:ext cx="11007" cy="11007"/>
                </a:xfrm>
                <a:custGeom>
                  <a:avLst/>
                  <a:gdLst>
                    <a:gd name="connsiteX0" fmla="*/ 0 w 11006"/>
                    <a:gd name="connsiteY0" fmla="*/ 4293 h 0"/>
                    <a:gd name="connsiteX1" fmla="*/ 7485 w 11006"/>
                    <a:gd name="connsiteY1" fmla="*/ 0 h 0"/>
                    <a:gd name="connsiteX2" fmla="*/ 13869 w 11006"/>
                    <a:gd name="connsiteY2" fmla="*/ 4293 h 0"/>
                    <a:gd name="connsiteX3" fmla="*/ 0 w 11006"/>
                    <a:gd name="connsiteY3" fmla="*/ 4293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06">
                      <a:moveTo>
                        <a:pt x="0" y="4293"/>
                      </a:moveTo>
                      <a:cubicBezTo>
                        <a:pt x="1101" y="2201"/>
                        <a:pt x="4843" y="0"/>
                        <a:pt x="7485" y="0"/>
                      </a:cubicBezTo>
                      <a:cubicBezTo>
                        <a:pt x="11227" y="0"/>
                        <a:pt x="12768" y="2642"/>
                        <a:pt x="13869" y="4293"/>
                      </a:cubicBezTo>
                      <a:cubicBezTo>
                        <a:pt x="8475" y="4733"/>
                        <a:pt x="3192" y="4293"/>
                        <a:pt x="0" y="429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95" name="Freeform: Shape 294">
                  <a:extLst>
                    <a:ext uri="{FF2B5EF4-FFF2-40B4-BE49-F238E27FC236}">
                      <a16:creationId xmlns:a16="http://schemas.microsoft.com/office/drawing/2014/main" id="{5A38B060-C4CF-4413-A385-6DE7E60A3A3C}"/>
                    </a:ext>
                  </a:extLst>
                </p:cNvPr>
                <p:cNvSpPr/>
                <p:nvPr/>
              </p:nvSpPr>
              <p:spPr>
                <a:xfrm>
                  <a:off x="2133125" y="3410149"/>
                  <a:ext cx="11007" cy="11007"/>
                </a:xfrm>
                <a:custGeom>
                  <a:avLst/>
                  <a:gdLst>
                    <a:gd name="connsiteX0" fmla="*/ 2755 w 0"/>
                    <a:gd name="connsiteY0" fmla="*/ 4293 h 0"/>
                    <a:gd name="connsiteX1" fmla="*/ 114 w 0"/>
                    <a:gd name="connsiteY1" fmla="*/ 0 h 0"/>
                    <a:gd name="connsiteX2" fmla="*/ 2755 w 0"/>
                    <a:gd name="connsiteY2" fmla="*/ 4293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>
                      <a:moveTo>
                        <a:pt x="2755" y="4293"/>
                      </a:moveTo>
                      <a:cubicBezTo>
                        <a:pt x="1104" y="4843"/>
                        <a:pt x="-437" y="1651"/>
                        <a:pt x="114" y="0"/>
                      </a:cubicBezTo>
                      <a:lnTo>
                        <a:pt x="2755" y="4293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96" name="Freeform: Shape 295">
                  <a:extLst>
                    <a:ext uri="{FF2B5EF4-FFF2-40B4-BE49-F238E27FC236}">
                      <a16:creationId xmlns:a16="http://schemas.microsoft.com/office/drawing/2014/main" id="{0B53A516-0722-4A3C-8EA2-2AF601D4F5AD}"/>
                    </a:ext>
                  </a:extLst>
                </p:cNvPr>
                <p:cNvSpPr/>
                <p:nvPr/>
              </p:nvSpPr>
              <p:spPr>
                <a:xfrm>
                  <a:off x="2187062" y="3490170"/>
                  <a:ext cx="11007" cy="11007"/>
                </a:xfrm>
                <a:custGeom>
                  <a:avLst/>
                  <a:gdLst>
                    <a:gd name="connsiteX0" fmla="*/ 0 w 0"/>
                    <a:gd name="connsiteY0" fmla="*/ 4733 h 0"/>
                    <a:gd name="connsiteX1" fmla="*/ 0 w 0"/>
                    <a:gd name="connsiteY1" fmla="*/ 8035 h 0"/>
                    <a:gd name="connsiteX2" fmla="*/ 2091 w 0"/>
                    <a:gd name="connsiteY2" fmla="*/ 8035 h 0"/>
                    <a:gd name="connsiteX3" fmla="*/ 10567 w 0"/>
                    <a:gd name="connsiteY3" fmla="*/ 4733 h 0"/>
                    <a:gd name="connsiteX4" fmla="*/ 10567 w 0"/>
                    <a:gd name="connsiteY4" fmla="*/ 0 h 0"/>
                    <a:gd name="connsiteX5" fmla="*/ 0 w 0"/>
                    <a:gd name="connsiteY5" fmla="*/ 4733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>
                      <a:moveTo>
                        <a:pt x="0" y="4733"/>
                      </a:moveTo>
                      <a:lnTo>
                        <a:pt x="0" y="8035"/>
                      </a:lnTo>
                      <a:cubicBezTo>
                        <a:pt x="0" y="8475"/>
                        <a:pt x="1541" y="8035"/>
                        <a:pt x="2091" y="8035"/>
                      </a:cubicBezTo>
                      <a:cubicBezTo>
                        <a:pt x="4733" y="8035"/>
                        <a:pt x="8475" y="6934"/>
                        <a:pt x="10567" y="4733"/>
                      </a:cubicBezTo>
                      <a:lnTo>
                        <a:pt x="10567" y="0"/>
                      </a:lnTo>
                      <a:cubicBezTo>
                        <a:pt x="8585" y="3192"/>
                        <a:pt x="4293" y="5834"/>
                        <a:pt x="0" y="473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97" name="Freeform: Shape 296">
                  <a:extLst>
                    <a:ext uri="{FF2B5EF4-FFF2-40B4-BE49-F238E27FC236}">
                      <a16:creationId xmlns:a16="http://schemas.microsoft.com/office/drawing/2014/main" id="{6192000B-4647-40D9-8986-D659516F9DD1}"/>
                    </a:ext>
                  </a:extLst>
                </p:cNvPr>
                <p:cNvSpPr/>
                <p:nvPr/>
              </p:nvSpPr>
              <p:spPr>
                <a:xfrm>
                  <a:off x="1273265" y="2858591"/>
                  <a:ext cx="22014" cy="33021"/>
                </a:xfrm>
                <a:custGeom>
                  <a:avLst/>
                  <a:gdLst>
                    <a:gd name="connsiteX0" fmla="*/ 11777 w 22013"/>
                    <a:gd name="connsiteY0" fmla="*/ 11776 h 33020"/>
                    <a:gd name="connsiteX1" fmla="*/ 0 w 22013"/>
                    <a:gd name="connsiteY1" fmla="*/ 11776 h 33020"/>
                    <a:gd name="connsiteX2" fmla="*/ 13869 w 22013"/>
                    <a:gd name="connsiteY2" fmla="*/ 1099 h 33020"/>
                    <a:gd name="connsiteX3" fmla="*/ 26747 w 22013"/>
                    <a:gd name="connsiteY3" fmla="*/ 28837 h 33020"/>
                    <a:gd name="connsiteX4" fmla="*/ 22454 w 22013"/>
                    <a:gd name="connsiteY4" fmla="*/ 34230 h 33020"/>
                    <a:gd name="connsiteX5" fmla="*/ 11777 w 22013"/>
                    <a:gd name="connsiteY5" fmla="*/ 22453 h 33020"/>
                    <a:gd name="connsiteX6" fmla="*/ 11777 w 22013"/>
                    <a:gd name="connsiteY6" fmla="*/ 11776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013" h="33020">
                      <a:moveTo>
                        <a:pt x="11777" y="11776"/>
                      </a:moveTo>
                      <a:cubicBezTo>
                        <a:pt x="3192" y="10125"/>
                        <a:pt x="6384" y="7484"/>
                        <a:pt x="0" y="11776"/>
                      </a:cubicBezTo>
                      <a:cubicBezTo>
                        <a:pt x="0" y="-1102"/>
                        <a:pt x="2642" y="-1102"/>
                        <a:pt x="13869" y="1099"/>
                      </a:cubicBezTo>
                      <a:cubicBezTo>
                        <a:pt x="12218" y="15519"/>
                        <a:pt x="26747" y="17060"/>
                        <a:pt x="26747" y="28837"/>
                      </a:cubicBezTo>
                      <a:cubicBezTo>
                        <a:pt x="26747" y="32579"/>
                        <a:pt x="25096" y="34230"/>
                        <a:pt x="22454" y="34230"/>
                      </a:cubicBezTo>
                      <a:cubicBezTo>
                        <a:pt x="17721" y="34230"/>
                        <a:pt x="11777" y="23003"/>
                        <a:pt x="11777" y="22453"/>
                      </a:cubicBezTo>
                      <a:cubicBezTo>
                        <a:pt x="11777" y="18601"/>
                        <a:pt x="10236" y="14418"/>
                        <a:pt x="11777" y="11776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98" name="Freeform: Shape 297">
                  <a:extLst>
                    <a:ext uri="{FF2B5EF4-FFF2-40B4-BE49-F238E27FC236}">
                      <a16:creationId xmlns:a16="http://schemas.microsoft.com/office/drawing/2014/main" id="{C1959B6E-EEE5-4338-8FD8-7B1ADE4C3EF2}"/>
                    </a:ext>
                  </a:extLst>
                </p:cNvPr>
                <p:cNvSpPr/>
                <p:nvPr/>
              </p:nvSpPr>
              <p:spPr>
                <a:xfrm>
                  <a:off x="1233309" y="2816874"/>
                  <a:ext cx="22014" cy="33021"/>
                </a:xfrm>
                <a:custGeom>
                  <a:avLst/>
                  <a:gdLst>
                    <a:gd name="connsiteX0" fmla="*/ 18712 w 22013"/>
                    <a:gd name="connsiteY0" fmla="*/ 22454 h 33020"/>
                    <a:gd name="connsiteX1" fmla="*/ 24105 w 22013"/>
                    <a:gd name="connsiteY1" fmla="*/ 22454 h 33020"/>
                    <a:gd name="connsiteX2" fmla="*/ 23005 w 22013"/>
                    <a:gd name="connsiteY2" fmla="*/ 42707 h 33020"/>
                    <a:gd name="connsiteX3" fmla="*/ 14419 w 22013"/>
                    <a:gd name="connsiteY3" fmla="*/ 21354 h 33020"/>
                    <a:gd name="connsiteX4" fmla="*/ 0 w 22013"/>
                    <a:gd name="connsiteY4" fmla="*/ 5393 h 33020"/>
                    <a:gd name="connsiteX5" fmla="*/ 6384 w 22013"/>
                    <a:gd name="connsiteY5" fmla="*/ 0 h 33020"/>
                    <a:gd name="connsiteX6" fmla="*/ 18712 w 22013"/>
                    <a:gd name="connsiteY6" fmla="*/ 0 h 33020"/>
                    <a:gd name="connsiteX7" fmla="*/ 18712 w 22013"/>
                    <a:gd name="connsiteY7" fmla="*/ 22454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013" h="33020">
                      <a:moveTo>
                        <a:pt x="18712" y="22454"/>
                      </a:moveTo>
                      <a:cubicBezTo>
                        <a:pt x="18712" y="24105"/>
                        <a:pt x="23005" y="23005"/>
                        <a:pt x="24105" y="22454"/>
                      </a:cubicBezTo>
                      <a:cubicBezTo>
                        <a:pt x="23005" y="29939"/>
                        <a:pt x="28398" y="37424"/>
                        <a:pt x="23005" y="42707"/>
                      </a:cubicBezTo>
                      <a:cubicBezTo>
                        <a:pt x="16620" y="36323"/>
                        <a:pt x="14419" y="29939"/>
                        <a:pt x="14419" y="21354"/>
                      </a:cubicBezTo>
                      <a:cubicBezTo>
                        <a:pt x="6384" y="20253"/>
                        <a:pt x="0" y="13318"/>
                        <a:pt x="0" y="5393"/>
                      </a:cubicBezTo>
                      <a:cubicBezTo>
                        <a:pt x="0" y="1101"/>
                        <a:pt x="4293" y="0"/>
                        <a:pt x="6384" y="0"/>
                      </a:cubicBezTo>
                      <a:cubicBezTo>
                        <a:pt x="15960" y="0"/>
                        <a:pt x="11227" y="4293"/>
                        <a:pt x="18712" y="0"/>
                      </a:cubicBezTo>
                      <a:cubicBezTo>
                        <a:pt x="18712" y="13979"/>
                        <a:pt x="16070" y="13979"/>
                        <a:pt x="18712" y="2245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299" name="Freeform: Shape 298">
                  <a:extLst>
                    <a:ext uri="{FF2B5EF4-FFF2-40B4-BE49-F238E27FC236}">
                      <a16:creationId xmlns:a16="http://schemas.microsoft.com/office/drawing/2014/main" id="{4C9244BB-0442-4A3B-A22D-28D04511F44E}"/>
                    </a:ext>
                  </a:extLst>
                </p:cNvPr>
                <p:cNvSpPr/>
                <p:nvPr/>
              </p:nvSpPr>
              <p:spPr>
                <a:xfrm>
                  <a:off x="1492303" y="2416990"/>
                  <a:ext cx="275174" cy="143090"/>
                </a:xfrm>
                <a:custGeom>
                  <a:avLst/>
                  <a:gdLst>
                    <a:gd name="connsiteX0" fmla="*/ 258443 w 275174"/>
                    <a:gd name="connsiteY0" fmla="*/ 115683 h 143090"/>
                    <a:gd name="connsiteX1" fmla="*/ 251509 w 275174"/>
                    <a:gd name="connsiteY1" fmla="*/ 121077 h 143090"/>
                    <a:gd name="connsiteX2" fmla="*/ 259544 w 275174"/>
                    <a:gd name="connsiteY2" fmla="*/ 125369 h 143090"/>
                    <a:gd name="connsiteX3" fmla="*/ 264938 w 275174"/>
                    <a:gd name="connsiteY3" fmla="*/ 132854 h 143090"/>
                    <a:gd name="connsiteX4" fmla="*/ 234558 w 275174"/>
                    <a:gd name="connsiteY4" fmla="*/ 142430 h 143090"/>
                    <a:gd name="connsiteX5" fmla="*/ 190861 w 275174"/>
                    <a:gd name="connsiteY5" fmla="*/ 126360 h 143090"/>
                    <a:gd name="connsiteX6" fmla="*/ 176992 w 275174"/>
                    <a:gd name="connsiteY6" fmla="*/ 135936 h 143090"/>
                    <a:gd name="connsiteX7" fmla="*/ 138578 w 275174"/>
                    <a:gd name="connsiteY7" fmla="*/ 146613 h 143090"/>
                    <a:gd name="connsiteX8" fmla="*/ 90587 w 275174"/>
                    <a:gd name="connsiteY8" fmla="*/ 146613 h 143090"/>
                    <a:gd name="connsiteX9" fmla="*/ 81011 w 275174"/>
                    <a:gd name="connsiteY9" fmla="*/ 133294 h 143090"/>
                    <a:gd name="connsiteX10" fmla="*/ 51733 w 275174"/>
                    <a:gd name="connsiteY10" fmla="*/ 130653 h 143090"/>
                    <a:gd name="connsiteX11" fmla="*/ 26637 w 275174"/>
                    <a:gd name="connsiteY11" fmla="*/ 112051 h 143090"/>
                    <a:gd name="connsiteX12" fmla="*/ 78370 w 275174"/>
                    <a:gd name="connsiteY12" fmla="*/ 99833 h 143090"/>
                    <a:gd name="connsiteX13" fmla="*/ 95981 w 275174"/>
                    <a:gd name="connsiteY13" fmla="*/ 98732 h 143090"/>
                    <a:gd name="connsiteX14" fmla="*/ 82662 w 275174"/>
                    <a:gd name="connsiteY14" fmla="*/ 93339 h 143090"/>
                    <a:gd name="connsiteX15" fmla="*/ 54374 w 275174"/>
                    <a:gd name="connsiteY15" fmla="*/ 93339 h 143090"/>
                    <a:gd name="connsiteX16" fmla="*/ 13318 w 275174"/>
                    <a:gd name="connsiteY16" fmla="*/ 83763 h 143090"/>
                    <a:gd name="connsiteX17" fmla="*/ 34672 w 275174"/>
                    <a:gd name="connsiteY17" fmla="*/ 72536 h 143090"/>
                    <a:gd name="connsiteX18" fmla="*/ 16070 w 275174"/>
                    <a:gd name="connsiteY18" fmla="*/ 71985 h 143090"/>
                    <a:gd name="connsiteX19" fmla="*/ 0 w 275174"/>
                    <a:gd name="connsiteY19" fmla="*/ 61309 h 143090"/>
                    <a:gd name="connsiteX20" fmla="*/ 67693 w 275174"/>
                    <a:gd name="connsiteY20" fmla="*/ 15960 h 143090"/>
                    <a:gd name="connsiteX21" fmla="*/ 76829 w 275174"/>
                    <a:gd name="connsiteY21" fmla="*/ 34562 h 143090"/>
                    <a:gd name="connsiteX22" fmla="*/ 93339 w 275174"/>
                    <a:gd name="connsiteY22" fmla="*/ 24986 h 143090"/>
                    <a:gd name="connsiteX23" fmla="*/ 117334 w 275174"/>
                    <a:gd name="connsiteY23" fmla="*/ 40946 h 143090"/>
                    <a:gd name="connsiteX24" fmla="*/ 133294 w 275174"/>
                    <a:gd name="connsiteY24" fmla="*/ 37203 h 143090"/>
                    <a:gd name="connsiteX25" fmla="*/ 130653 w 275174"/>
                    <a:gd name="connsiteY25" fmla="*/ 27627 h 143090"/>
                    <a:gd name="connsiteX26" fmla="*/ 142320 w 275174"/>
                    <a:gd name="connsiteY26" fmla="*/ 27627 h 143090"/>
                    <a:gd name="connsiteX27" fmla="*/ 159931 w 275174"/>
                    <a:gd name="connsiteY27" fmla="*/ 42597 h 143090"/>
                    <a:gd name="connsiteX28" fmla="*/ 168957 w 275174"/>
                    <a:gd name="connsiteY28" fmla="*/ 62299 h 143090"/>
                    <a:gd name="connsiteX29" fmla="*/ 175891 w 275174"/>
                    <a:gd name="connsiteY29" fmla="*/ 58007 h 143090"/>
                    <a:gd name="connsiteX30" fmla="*/ 163674 w 275174"/>
                    <a:gd name="connsiteY30" fmla="*/ 21243 h 143090"/>
                    <a:gd name="connsiteX31" fmla="*/ 173250 w 275174"/>
                    <a:gd name="connsiteY31" fmla="*/ 14309 h 143090"/>
                    <a:gd name="connsiteX32" fmla="*/ 188219 w 275174"/>
                    <a:gd name="connsiteY32" fmla="*/ 14309 h 143090"/>
                    <a:gd name="connsiteX33" fmla="*/ 187669 w 275174"/>
                    <a:gd name="connsiteY33" fmla="*/ 9026 h 143090"/>
                    <a:gd name="connsiteX34" fmla="*/ 203739 w 275174"/>
                    <a:gd name="connsiteY34" fmla="*/ 0 h 143090"/>
                    <a:gd name="connsiteX35" fmla="*/ 222451 w 275174"/>
                    <a:gd name="connsiteY35" fmla="*/ 11667 h 143090"/>
                    <a:gd name="connsiteX36" fmla="*/ 210783 w 275174"/>
                    <a:gd name="connsiteY36" fmla="*/ 29279 h 143090"/>
                    <a:gd name="connsiteX37" fmla="*/ 225202 w 275174"/>
                    <a:gd name="connsiteY37" fmla="*/ 74627 h 143090"/>
                    <a:gd name="connsiteX38" fmla="*/ 280127 w 275174"/>
                    <a:gd name="connsiteY38" fmla="*/ 111500 h 143090"/>
                    <a:gd name="connsiteX39" fmla="*/ 258443 w 275174"/>
                    <a:gd name="connsiteY39" fmla="*/ 115683 h 143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275174" h="143090">
                      <a:moveTo>
                        <a:pt x="258443" y="115683"/>
                      </a:moveTo>
                      <a:cubicBezTo>
                        <a:pt x="254151" y="115683"/>
                        <a:pt x="251509" y="117334"/>
                        <a:pt x="251509" y="121077"/>
                      </a:cubicBezTo>
                      <a:cubicBezTo>
                        <a:pt x="251509" y="125369"/>
                        <a:pt x="257343" y="125369"/>
                        <a:pt x="259544" y="125369"/>
                      </a:cubicBezTo>
                      <a:cubicBezTo>
                        <a:pt x="260094" y="129552"/>
                        <a:pt x="262736" y="131203"/>
                        <a:pt x="264938" y="132854"/>
                      </a:cubicBezTo>
                      <a:cubicBezTo>
                        <a:pt x="260094" y="142980"/>
                        <a:pt x="247877" y="142430"/>
                        <a:pt x="234558" y="142430"/>
                      </a:cubicBezTo>
                      <a:cubicBezTo>
                        <a:pt x="213755" y="142430"/>
                        <a:pt x="206270" y="126360"/>
                        <a:pt x="190861" y="126360"/>
                      </a:cubicBezTo>
                      <a:cubicBezTo>
                        <a:pt x="181285" y="126360"/>
                        <a:pt x="185027" y="132304"/>
                        <a:pt x="176992" y="135936"/>
                      </a:cubicBezTo>
                      <a:cubicBezTo>
                        <a:pt x="163123" y="142870"/>
                        <a:pt x="149805" y="138578"/>
                        <a:pt x="138578" y="146613"/>
                      </a:cubicBezTo>
                      <a:lnTo>
                        <a:pt x="90587" y="146613"/>
                      </a:lnTo>
                      <a:cubicBezTo>
                        <a:pt x="81562" y="146613"/>
                        <a:pt x="87395" y="138027"/>
                        <a:pt x="81011" y="133294"/>
                      </a:cubicBezTo>
                      <a:cubicBezTo>
                        <a:pt x="75178" y="129002"/>
                        <a:pt x="59107" y="130653"/>
                        <a:pt x="51733" y="130653"/>
                      </a:cubicBezTo>
                      <a:cubicBezTo>
                        <a:pt x="39955" y="130653"/>
                        <a:pt x="30379" y="118435"/>
                        <a:pt x="26637" y="112051"/>
                      </a:cubicBezTo>
                      <a:cubicBezTo>
                        <a:pt x="39405" y="102365"/>
                        <a:pt x="56025" y="99833"/>
                        <a:pt x="78370" y="99833"/>
                      </a:cubicBezTo>
                      <a:cubicBezTo>
                        <a:pt x="86405" y="99833"/>
                        <a:pt x="89597" y="99283"/>
                        <a:pt x="95981" y="98732"/>
                      </a:cubicBezTo>
                      <a:cubicBezTo>
                        <a:pt x="92238" y="96641"/>
                        <a:pt x="87946" y="93339"/>
                        <a:pt x="82662" y="93339"/>
                      </a:cubicBezTo>
                      <a:lnTo>
                        <a:pt x="54374" y="93339"/>
                      </a:lnTo>
                      <a:cubicBezTo>
                        <a:pt x="42597" y="93339"/>
                        <a:pt x="13318" y="98732"/>
                        <a:pt x="13318" y="83763"/>
                      </a:cubicBezTo>
                      <a:cubicBezTo>
                        <a:pt x="13318" y="71985"/>
                        <a:pt x="28838" y="76278"/>
                        <a:pt x="34672" y="72536"/>
                      </a:cubicBezTo>
                      <a:cubicBezTo>
                        <a:pt x="26087" y="70445"/>
                        <a:pt x="22894" y="71985"/>
                        <a:pt x="16070" y="71985"/>
                      </a:cubicBezTo>
                      <a:cubicBezTo>
                        <a:pt x="10236" y="71985"/>
                        <a:pt x="0" y="63950"/>
                        <a:pt x="0" y="61309"/>
                      </a:cubicBezTo>
                      <a:cubicBezTo>
                        <a:pt x="0" y="35112"/>
                        <a:pt x="48541" y="15960"/>
                        <a:pt x="67693" y="15960"/>
                      </a:cubicBezTo>
                      <a:cubicBezTo>
                        <a:pt x="75178" y="15960"/>
                        <a:pt x="74627" y="31480"/>
                        <a:pt x="76829" y="34562"/>
                      </a:cubicBezTo>
                      <a:cubicBezTo>
                        <a:pt x="81121" y="31920"/>
                        <a:pt x="84864" y="24986"/>
                        <a:pt x="93339" y="24986"/>
                      </a:cubicBezTo>
                      <a:cubicBezTo>
                        <a:pt x="108309" y="24986"/>
                        <a:pt x="113592" y="31480"/>
                        <a:pt x="117334" y="40946"/>
                      </a:cubicBezTo>
                      <a:cubicBezTo>
                        <a:pt x="123168" y="39845"/>
                        <a:pt x="127461" y="38855"/>
                        <a:pt x="133294" y="37203"/>
                      </a:cubicBezTo>
                      <a:cubicBezTo>
                        <a:pt x="132744" y="32360"/>
                        <a:pt x="131643" y="30819"/>
                        <a:pt x="130653" y="27627"/>
                      </a:cubicBezTo>
                      <a:lnTo>
                        <a:pt x="142320" y="27627"/>
                      </a:lnTo>
                      <a:cubicBezTo>
                        <a:pt x="149805" y="29719"/>
                        <a:pt x="157289" y="36763"/>
                        <a:pt x="159931" y="42597"/>
                      </a:cubicBezTo>
                      <a:cubicBezTo>
                        <a:pt x="163123" y="48981"/>
                        <a:pt x="159381" y="62299"/>
                        <a:pt x="168957" y="62299"/>
                      </a:cubicBezTo>
                      <a:cubicBezTo>
                        <a:pt x="173250" y="62299"/>
                        <a:pt x="173250" y="60098"/>
                        <a:pt x="175891" y="58007"/>
                      </a:cubicBezTo>
                      <a:cubicBezTo>
                        <a:pt x="171599" y="51072"/>
                        <a:pt x="163674" y="25976"/>
                        <a:pt x="163674" y="21243"/>
                      </a:cubicBezTo>
                      <a:cubicBezTo>
                        <a:pt x="163674" y="16951"/>
                        <a:pt x="169067" y="14309"/>
                        <a:pt x="173250" y="14309"/>
                      </a:cubicBezTo>
                      <a:cubicBezTo>
                        <a:pt x="182826" y="14309"/>
                        <a:pt x="179634" y="18602"/>
                        <a:pt x="188219" y="14309"/>
                      </a:cubicBezTo>
                      <a:cubicBezTo>
                        <a:pt x="187669" y="12768"/>
                        <a:pt x="187669" y="10677"/>
                        <a:pt x="187669" y="9026"/>
                      </a:cubicBezTo>
                      <a:cubicBezTo>
                        <a:pt x="187669" y="3632"/>
                        <a:pt x="195153" y="0"/>
                        <a:pt x="203739" y="0"/>
                      </a:cubicBezTo>
                      <a:cubicBezTo>
                        <a:pt x="213315" y="0"/>
                        <a:pt x="222451" y="3742"/>
                        <a:pt x="222451" y="11667"/>
                      </a:cubicBezTo>
                      <a:cubicBezTo>
                        <a:pt x="222451" y="19702"/>
                        <a:pt x="210783" y="24546"/>
                        <a:pt x="210783" y="29279"/>
                      </a:cubicBezTo>
                      <a:cubicBezTo>
                        <a:pt x="210783" y="48431"/>
                        <a:pt x="225202" y="60758"/>
                        <a:pt x="225202" y="74627"/>
                      </a:cubicBezTo>
                      <a:cubicBezTo>
                        <a:pt x="225202" y="91688"/>
                        <a:pt x="270001" y="103465"/>
                        <a:pt x="280127" y="111500"/>
                      </a:cubicBezTo>
                      <a:cubicBezTo>
                        <a:pt x="270221" y="117774"/>
                        <a:pt x="268019" y="115683"/>
                        <a:pt x="258443" y="11568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00" name="Freeform: Shape 299">
                  <a:extLst>
                    <a:ext uri="{FF2B5EF4-FFF2-40B4-BE49-F238E27FC236}">
                      <a16:creationId xmlns:a16="http://schemas.microsoft.com/office/drawing/2014/main" id="{8381C3FB-AF84-449F-B284-57B0C93957F9}"/>
                    </a:ext>
                  </a:extLst>
                </p:cNvPr>
                <p:cNvSpPr/>
                <p:nvPr/>
              </p:nvSpPr>
              <p:spPr>
                <a:xfrm>
                  <a:off x="1389058" y="2394847"/>
                  <a:ext cx="154097" cy="99063"/>
                </a:xfrm>
                <a:custGeom>
                  <a:avLst/>
                  <a:gdLst>
                    <a:gd name="connsiteX0" fmla="*/ 33681 w 154097"/>
                    <a:gd name="connsiteY0" fmla="*/ 96770 h 99062"/>
                    <a:gd name="connsiteX1" fmla="*/ 25646 w 154097"/>
                    <a:gd name="connsiteY1" fmla="*/ 86094 h 99062"/>
                    <a:gd name="connsiteX2" fmla="*/ 0 w 154097"/>
                    <a:gd name="connsiteY2" fmla="*/ 75417 h 99062"/>
                    <a:gd name="connsiteX3" fmla="*/ 26637 w 154097"/>
                    <a:gd name="connsiteY3" fmla="*/ 23134 h 99062"/>
                    <a:gd name="connsiteX4" fmla="*/ 18712 w 154097"/>
                    <a:gd name="connsiteY4" fmla="*/ 4422 h 99062"/>
                    <a:gd name="connsiteX5" fmla="*/ 50742 w 154097"/>
                    <a:gd name="connsiteY5" fmla="*/ 4422 h 99062"/>
                    <a:gd name="connsiteX6" fmla="*/ 72096 w 154097"/>
                    <a:gd name="connsiteY6" fmla="*/ 680 h 99062"/>
                    <a:gd name="connsiteX7" fmla="*/ 100824 w 154097"/>
                    <a:gd name="connsiteY7" fmla="*/ 11356 h 99062"/>
                    <a:gd name="connsiteX8" fmla="*/ 118985 w 154097"/>
                    <a:gd name="connsiteY8" fmla="*/ 9705 h 99062"/>
                    <a:gd name="connsiteX9" fmla="*/ 156299 w 154097"/>
                    <a:gd name="connsiteY9" fmla="*/ 32710 h 99062"/>
                    <a:gd name="connsiteX10" fmla="*/ 122728 w 154097"/>
                    <a:gd name="connsiteY10" fmla="*/ 44377 h 99062"/>
                    <a:gd name="connsiteX11" fmla="*/ 82662 w 154097"/>
                    <a:gd name="connsiteY11" fmla="*/ 84332 h 99062"/>
                    <a:gd name="connsiteX12" fmla="*/ 41606 w 154097"/>
                    <a:gd name="connsiteY12" fmla="*/ 101944 h 99062"/>
                    <a:gd name="connsiteX13" fmla="*/ 33681 w 154097"/>
                    <a:gd name="connsiteY13" fmla="*/ 96770 h 99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54097" h="99062">
                      <a:moveTo>
                        <a:pt x="33681" y="96770"/>
                      </a:moveTo>
                      <a:cubicBezTo>
                        <a:pt x="31040" y="96770"/>
                        <a:pt x="27297" y="88735"/>
                        <a:pt x="25646" y="86094"/>
                      </a:cubicBezTo>
                      <a:cubicBezTo>
                        <a:pt x="21353" y="80260"/>
                        <a:pt x="0" y="81801"/>
                        <a:pt x="0" y="75417"/>
                      </a:cubicBezTo>
                      <a:cubicBezTo>
                        <a:pt x="0" y="57255"/>
                        <a:pt x="26637" y="42396"/>
                        <a:pt x="26637" y="23134"/>
                      </a:cubicBezTo>
                      <a:cubicBezTo>
                        <a:pt x="26637" y="18841"/>
                        <a:pt x="19152" y="10366"/>
                        <a:pt x="18712" y="4422"/>
                      </a:cubicBezTo>
                      <a:cubicBezTo>
                        <a:pt x="32030" y="-861"/>
                        <a:pt x="37864" y="4422"/>
                        <a:pt x="50742" y="4422"/>
                      </a:cubicBezTo>
                      <a:cubicBezTo>
                        <a:pt x="57126" y="4422"/>
                        <a:pt x="62520" y="-2072"/>
                        <a:pt x="72096" y="680"/>
                      </a:cubicBezTo>
                      <a:cubicBezTo>
                        <a:pt x="83873" y="3872"/>
                        <a:pt x="89156" y="10256"/>
                        <a:pt x="100824" y="11356"/>
                      </a:cubicBezTo>
                      <a:cubicBezTo>
                        <a:pt x="105667" y="16199"/>
                        <a:pt x="112051" y="9705"/>
                        <a:pt x="118985" y="9705"/>
                      </a:cubicBezTo>
                      <a:cubicBezTo>
                        <a:pt x="130212" y="9705"/>
                        <a:pt x="156299" y="20382"/>
                        <a:pt x="156299" y="32710"/>
                      </a:cubicBezTo>
                      <a:cubicBezTo>
                        <a:pt x="156299" y="38543"/>
                        <a:pt x="128011" y="42836"/>
                        <a:pt x="122728" y="44377"/>
                      </a:cubicBezTo>
                      <a:cubicBezTo>
                        <a:pt x="106217" y="49771"/>
                        <a:pt x="82662" y="72115"/>
                        <a:pt x="82662" y="84332"/>
                      </a:cubicBezTo>
                      <a:cubicBezTo>
                        <a:pt x="82662" y="88625"/>
                        <a:pt x="45789" y="101944"/>
                        <a:pt x="41606" y="101944"/>
                      </a:cubicBezTo>
                      <a:cubicBezTo>
                        <a:pt x="37864" y="102054"/>
                        <a:pt x="36323" y="96770"/>
                        <a:pt x="33681" y="9677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01" name="Freeform: Shape 300">
                  <a:extLst>
                    <a:ext uri="{FF2B5EF4-FFF2-40B4-BE49-F238E27FC236}">
                      <a16:creationId xmlns:a16="http://schemas.microsoft.com/office/drawing/2014/main" id="{058769EF-D684-40FE-97F6-5AFF4179A3E8}"/>
                    </a:ext>
                  </a:extLst>
                </p:cNvPr>
                <p:cNvSpPr/>
                <p:nvPr/>
              </p:nvSpPr>
              <p:spPr>
                <a:xfrm>
                  <a:off x="1513326" y="2321010"/>
                  <a:ext cx="176111" cy="77049"/>
                </a:xfrm>
                <a:custGeom>
                  <a:avLst/>
                  <a:gdLst>
                    <a:gd name="connsiteX0" fmla="*/ 64061 w 176111"/>
                    <a:gd name="connsiteY0" fmla="*/ 78259 h 77048"/>
                    <a:gd name="connsiteX1" fmla="*/ 49091 w 176111"/>
                    <a:gd name="connsiteY1" fmla="*/ 70224 h 77048"/>
                    <a:gd name="connsiteX2" fmla="*/ 64061 w 176111"/>
                    <a:gd name="connsiteY2" fmla="*/ 63840 h 77048"/>
                    <a:gd name="connsiteX3" fmla="*/ 55035 w 176111"/>
                    <a:gd name="connsiteY3" fmla="*/ 51513 h 77048"/>
                    <a:gd name="connsiteX4" fmla="*/ 49201 w 176111"/>
                    <a:gd name="connsiteY4" fmla="*/ 58447 h 77048"/>
                    <a:gd name="connsiteX5" fmla="*/ 26747 w 176111"/>
                    <a:gd name="connsiteY5" fmla="*/ 62189 h 77048"/>
                    <a:gd name="connsiteX6" fmla="*/ 8035 w 176111"/>
                    <a:gd name="connsiteY6" fmla="*/ 58447 h 77048"/>
                    <a:gd name="connsiteX7" fmla="*/ 0 w 176111"/>
                    <a:gd name="connsiteY7" fmla="*/ 50412 h 77048"/>
                    <a:gd name="connsiteX8" fmla="*/ 0 w 176111"/>
                    <a:gd name="connsiteY8" fmla="*/ 42487 h 77048"/>
                    <a:gd name="connsiteX9" fmla="*/ 13318 w 176111"/>
                    <a:gd name="connsiteY9" fmla="*/ 37093 h 77048"/>
                    <a:gd name="connsiteX10" fmla="*/ 37314 w 176111"/>
                    <a:gd name="connsiteY10" fmla="*/ 42487 h 77048"/>
                    <a:gd name="connsiteX11" fmla="*/ 13318 w 176111"/>
                    <a:gd name="connsiteY11" fmla="*/ 35552 h 77048"/>
                    <a:gd name="connsiteX12" fmla="*/ 13318 w 176111"/>
                    <a:gd name="connsiteY12" fmla="*/ 27517 h 77048"/>
                    <a:gd name="connsiteX13" fmla="*/ 22454 w 176111"/>
                    <a:gd name="connsiteY13" fmla="*/ 27517 h 77048"/>
                    <a:gd name="connsiteX14" fmla="*/ 46449 w 176111"/>
                    <a:gd name="connsiteY14" fmla="*/ 31260 h 77048"/>
                    <a:gd name="connsiteX15" fmla="*/ 19812 w 176111"/>
                    <a:gd name="connsiteY15" fmla="*/ 25426 h 77048"/>
                    <a:gd name="connsiteX16" fmla="*/ 30489 w 176111"/>
                    <a:gd name="connsiteY16" fmla="*/ 19592 h 77048"/>
                    <a:gd name="connsiteX17" fmla="*/ 43808 w 176111"/>
                    <a:gd name="connsiteY17" fmla="*/ 21243 h 77048"/>
                    <a:gd name="connsiteX18" fmla="*/ 27848 w 176111"/>
                    <a:gd name="connsiteY18" fmla="*/ 14309 h 77048"/>
                    <a:gd name="connsiteX19" fmla="*/ 45459 w 176111"/>
                    <a:gd name="connsiteY19" fmla="*/ 14309 h 77048"/>
                    <a:gd name="connsiteX20" fmla="*/ 54595 w 176111"/>
                    <a:gd name="connsiteY20" fmla="*/ 22344 h 77048"/>
                    <a:gd name="connsiteX21" fmla="*/ 66812 w 176111"/>
                    <a:gd name="connsiteY21" fmla="*/ 22344 h 77048"/>
                    <a:gd name="connsiteX22" fmla="*/ 117444 w 176111"/>
                    <a:gd name="connsiteY22" fmla="*/ 42597 h 77048"/>
                    <a:gd name="connsiteX23" fmla="*/ 129222 w 176111"/>
                    <a:gd name="connsiteY23" fmla="*/ 35663 h 77048"/>
                    <a:gd name="connsiteX24" fmla="*/ 118545 w 176111"/>
                    <a:gd name="connsiteY24" fmla="*/ 34122 h 77048"/>
                    <a:gd name="connsiteX25" fmla="*/ 123938 w 176111"/>
                    <a:gd name="connsiteY25" fmla="*/ 31920 h 77048"/>
                    <a:gd name="connsiteX26" fmla="*/ 123938 w 176111"/>
                    <a:gd name="connsiteY26" fmla="*/ 24986 h 77048"/>
                    <a:gd name="connsiteX27" fmla="*/ 110620 w 176111"/>
                    <a:gd name="connsiteY27" fmla="*/ 17061 h 77048"/>
                    <a:gd name="connsiteX28" fmla="*/ 129772 w 176111"/>
                    <a:gd name="connsiteY28" fmla="*/ 0 h 77048"/>
                    <a:gd name="connsiteX29" fmla="*/ 139898 w 176111"/>
                    <a:gd name="connsiteY29" fmla="*/ 3742 h 77048"/>
                    <a:gd name="connsiteX30" fmla="*/ 139898 w 176111"/>
                    <a:gd name="connsiteY30" fmla="*/ 10677 h 77048"/>
                    <a:gd name="connsiteX31" fmla="*/ 160151 w 176111"/>
                    <a:gd name="connsiteY31" fmla="*/ 30379 h 77048"/>
                    <a:gd name="connsiteX32" fmla="*/ 174570 w 176111"/>
                    <a:gd name="connsiteY32" fmla="*/ 23995 h 77048"/>
                    <a:gd name="connsiteX33" fmla="*/ 186788 w 176111"/>
                    <a:gd name="connsiteY33" fmla="*/ 37314 h 77048"/>
                    <a:gd name="connsiteX34" fmla="*/ 169177 w 176111"/>
                    <a:gd name="connsiteY34" fmla="*/ 62409 h 77048"/>
                    <a:gd name="connsiteX35" fmla="*/ 134505 w 176111"/>
                    <a:gd name="connsiteY35" fmla="*/ 61309 h 77048"/>
                    <a:gd name="connsiteX36" fmla="*/ 98842 w 176111"/>
                    <a:gd name="connsiteY36" fmla="*/ 70334 h 77048"/>
                    <a:gd name="connsiteX37" fmla="*/ 64061 w 176111"/>
                    <a:gd name="connsiteY37" fmla="*/ 78259 h 77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76111" h="77048">
                      <a:moveTo>
                        <a:pt x="64061" y="78259"/>
                      </a:moveTo>
                      <a:cubicBezTo>
                        <a:pt x="57676" y="78259"/>
                        <a:pt x="49091" y="73416"/>
                        <a:pt x="49091" y="70224"/>
                      </a:cubicBezTo>
                      <a:cubicBezTo>
                        <a:pt x="49091" y="62189"/>
                        <a:pt x="57126" y="63840"/>
                        <a:pt x="64061" y="63840"/>
                      </a:cubicBezTo>
                      <a:cubicBezTo>
                        <a:pt x="60868" y="59548"/>
                        <a:pt x="56025" y="56906"/>
                        <a:pt x="55035" y="51513"/>
                      </a:cubicBezTo>
                      <a:cubicBezTo>
                        <a:pt x="51843" y="52063"/>
                        <a:pt x="49201" y="55255"/>
                        <a:pt x="49201" y="58447"/>
                      </a:cubicBezTo>
                      <a:cubicBezTo>
                        <a:pt x="40175" y="59548"/>
                        <a:pt x="33241" y="62189"/>
                        <a:pt x="26747" y="62189"/>
                      </a:cubicBezTo>
                      <a:cubicBezTo>
                        <a:pt x="19812" y="62189"/>
                        <a:pt x="11777" y="58447"/>
                        <a:pt x="8035" y="58447"/>
                      </a:cubicBezTo>
                      <a:cubicBezTo>
                        <a:pt x="3742" y="58447"/>
                        <a:pt x="0" y="54705"/>
                        <a:pt x="0" y="50412"/>
                      </a:cubicBezTo>
                      <a:cubicBezTo>
                        <a:pt x="0" y="45129"/>
                        <a:pt x="2091" y="46119"/>
                        <a:pt x="0" y="42487"/>
                      </a:cubicBezTo>
                      <a:cubicBezTo>
                        <a:pt x="5393" y="41386"/>
                        <a:pt x="8035" y="37093"/>
                        <a:pt x="13318" y="37093"/>
                      </a:cubicBezTo>
                      <a:cubicBezTo>
                        <a:pt x="23995" y="37093"/>
                        <a:pt x="29389" y="41937"/>
                        <a:pt x="37314" y="42487"/>
                      </a:cubicBezTo>
                      <a:cubicBezTo>
                        <a:pt x="28288" y="41386"/>
                        <a:pt x="20253" y="38194"/>
                        <a:pt x="13318" y="35552"/>
                      </a:cubicBezTo>
                      <a:lnTo>
                        <a:pt x="13318" y="27517"/>
                      </a:lnTo>
                      <a:cubicBezTo>
                        <a:pt x="17611" y="26967"/>
                        <a:pt x="22454" y="27517"/>
                        <a:pt x="22454" y="27517"/>
                      </a:cubicBezTo>
                      <a:cubicBezTo>
                        <a:pt x="24545" y="27517"/>
                        <a:pt x="41056" y="30709"/>
                        <a:pt x="46449" y="31260"/>
                      </a:cubicBezTo>
                      <a:cubicBezTo>
                        <a:pt x="36323" y="29168"/>
                        <a:pt x="27297" y="30159"/>
                        <a:pt x="19812" y="25426"/>
                      </a:cubicBezTo>
                      <a:cubicBezTo>
                        <a:pt x="21904" y="22234"/>
                        <a:pt x="26197" y="19592"/>
                        <a:pt x="30489" y="19592"/>
                      </a:cubicBezTo>
                      <a:cubicBezTo>
                        <a:pt x="37424" y="19592"/>
                        <a:pt x="39075" y="21684"/>
                        <a:pt x="43808" y="21243"/>
                      </a:cubicBezTo>
                      <a:cubicBezTo>
                        <a:pt x="37424" y="21794"/>
                        <a:pt x="27848" y="20693"/>
                        <a:pt x="27848" y="14309"/>
                      </a:cubicBezTo>
                      <a:cubicBezTo>
                        <a:pt x="37424" y="12768"/>
                        <a:pt x="40616" y="14309"/>
                        <a:pt x="45459" y="14309"/>
                      </a:cubicBezTo>
                      <a:cubicBezTo>
                        <a:pt x="47550" y="14309"/>
                        <a:pt x="54044" y="15960"/>
                        <a:pt x="54595" y="22344"/>
                      </a:cubicBezTo>
                      <a:lnTo>
                        <a:pt x="66812" y="22344"/>
                      </a:lnTo>
                      <a:cubicBezTo>
                        <a:pt x="82882" y="22344"/>
                        <a:pt x="93999" y="42597"/>
                        <a:pt x="117444" y="42597"/>
                      </a:cubicBezTo>
                      <a:cubicBezTo>
                        <a:pt x="124379" y="42597"/>
                        <a:pt x="127020" y="40396"/>
                        <a:pt x="129222" y="35663"/>
                      </a:cubicBezTo>
                      <a:cubicBezTo>
                        <a:pt x="123388" y="35663"/>
                        <a:pt x="120636" y="35112"/>
                        <a:pt x="118545" y="34122"/>
                      </a:cubicBezTo>
                      <a:cubicBezTo>
                        <a:pt x="119095" y="33021"/>
                        <a:pt x="122287" y="31920"/>
                        <a:pt x="123938" y="31920"/>
                      </a:cubicBezTo>
                      <a:lnTo>
                        <a:pt x="123938" y="24986"/>
                      </a:lnTo>
                      <a:cubicBezTo>
                        <a:pt x="120196" y="24435"/>
                        <a:pt x="110620" y="21794"/>
                        <a:pt x="110620" y="17061"/>
                      </a:cubicBezTo>
                      <a:cubicBezTo>
                        <a:pt x="110620" y="8475"/>
                        <a:pt x="124489" y="4183"/>
                        <a:pt x="129772" y="0"/>
                      </a:cubicBezTo>
                      <a:cubicBezTo>
                        <a:pt x="132964" y="2091"/>
                        <a:pt x="136156" y="3742"/>
                        <a:pt x="139898" y="3742"/>
                      </a:cubicBezTo>
                      <a:cubicBezTo>
                        <a:pt x="139348" y="8035"/>
                        <a:pt x="139898" y="9576"/>
                        <a:pt x="139898" y="10677"/>
                      </a:cubicBezTo>
                      <a:cubicBezTo>
                        <a:pt x="139898" y="18712"/>
                        <a:pt x="150025" y="30379"/>
                        <a:pt x="160151" y="30379"/>
                      </a:cubicBezTo>
                      <a:cubicBezTo>
                        <a:pt x="164994" y="30379"/>
                        <a:pt x="167636" y="23995"/>
                        <a:pt x="174570" y="23995"/>
                      </a:cubicBezTo>
                      <a:cubicBezTo>
                        <a:pt x="180954" y="23995"/>
                        <a:pt x="186788" y="30930"/>
                        <a:pt x="186788" y="37314"/>
                      </a:cubicBezTo>
                      <a:cubicBezTo>
                        <a:pt x="186788" y="44798"/>
                        <a:pt x="174020" y="60758"/>
                        <a:pt x="169177" y="62409"/>
                      </a:cubicBezTo>
                      <a:cubicBezTo>
                        <a:pt x="165985" y="63510"/>
                        <a:pt x="134505" y="59768"/>
                        <a:pt x="134505" y="61309"/>
                      </a:cubicBezTo>
                      <a:cubicBezTo>
                        <a:pt x="134505" y="62409"/>
                        <a:pt x="100383" y="69894"/>
                        <a:pt x="98842" y="70334"/>
                      </a:cubicBezTo>
                      <a:cubicBezTo>
                        <a:pt x="88056" y="74517"/>
                        <a:pt x="77379" y="78259"/>
                        <a:pt x="64061" y="78259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02" name="Freeform: Shape 301">
                  <a:extLst>
                    <a:ext uri="{FF2B5EF4-FFF2-40B4-BE49-F238E27FC236}">
                      <a16:creationId xmlns:a16="http://schemas.microsoft.com/office/drawing/2014/main" id="{9FC0B49D-2F68-4791-8032-A0A9D73DF1AB}"/>
                    </a:ext>
                  </a:extLst>
                </p:cNvPr>
                <p:cNvSpPr/>
                <p:nvPr/>
              </p:nvSpPr>
              <p:spPr>
                <a:xfrm>
                  <a:off x="1486690" y="2348701"/>
                  <a:ext cx="22014" cy="11007"/>
                </a:xfrm>
                <a:custGeom>
                  <a:avLst/>
                  <a:gdLst>
                    <a:gd name="connsiteX0" fmla="*/ 9136 w 22013"/>
                    <a:gd name="connsiteY0" fmla="*/ 18649 h 11006"/>
                    <a:gd name="connsiteX1" fmla="*/ 0 w 22013"/>
                    <a:gd name="connsiteY1" fmla="*/ 12265 h 11006"/>
                    <a:gd name="connsiteX2" fmla="*/ 25096 w 22013"/>
                    <a:gd name="connsiteY2" fmla="*/ 47 h 11006"/>
                    <a:gd name="connsiteX3" fmla="*/ 9136 w 22013"/>
                    <a:gd name="connsiteY3" fmla="*/ 18649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013" h="11006">
                      <a:moveTo>
                        <a:pt x="9136" y="18649"/>
                      </a:moveTo>
                      <a:cubicBezTo>
                        <a:pt x="4843" y="18649"/>
                        <a:pt x="0" y="16007"/>
                        <a:pt x="0" y="12265"/>
                      </a:cubicBezTo>
                      <a:cubicBezTo>
                        <a:pt x="0" y="3789"/>
                        <a:pt x="19702" y="-503"/>
                        <a:pt x="25096" y="47"/>
                      </a:cubicBezTo>
                      <a:cubicBezTo>
                        <a:pt x="23995" y="7422"/>
                        <a:pt x="16070" y="18649"/>
                        <a:pt x="9136" y="18649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03" name="Freeform: Shape 302">
                  <a:extLst>
                    <a:ext uri="{FF2B5EF4-FFF2-40B4-BE49-F238E27FC236}">
                      <a16:creationId xmlns:a16="http://schemas.microsoft.com/office/drawing/2014/main" id="{EC9D36DD-6ABB-4B3E-B3B2-E9CA9E259357}"/>
                    </a:ext>
                  </a:extLst>
                </p:cNvPr>
                <p:cNvSpPr/>
                <p:nvPr/>
              </p:nvSpPr>
              <p:spPr>
                <a:xfrm>
                  <a:off x="1554492" y="2322001"/>
                  <a:ext cx="11007" cy="11007"/>
                </a:xfrm>
                <a:custGeom>
                  <a:avLst/>
                  <a:gdLst>
                    <a:gd name="connsiteX0" fmla="*/ 6934 w 11006"/>
                    <a:gd name="connsiteY0" fmla="*/ 6934 h 0"/>
                    <a:gd name="connsiteX1" fmla="*/ 0 w 11006"/>
                    <a:gd name="connsiteY1" fmla="*/ 0 h 0"/>
                    <a:gd name="connsiteX2" fmla="*/ 18712 w 11006"/>
                    <a:gd name="connsiteY2" fmla="*/ 0 h 0"/>
                    <a:gd name="connsiteX3" fmla="*/ 18712 w 11006"/>
                    <a:gd name="connsiteY3" fmla="*/ 6934 h 0"/>
                    <a:gd name="connsiteX4" fmla="*/ 6934 w 11006"/>
                    <a:gd name="connsiteY4" fmla="*/ 6934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>
                      <a:moveTo>
                        <a:pt x="6934" y="6934"/>
                      </a:moveTo>
                      <a:cubicBezTo>
                        <a:pt x="4293" y="6934"/>
                        <a:pt x="0" y="4843"/>
                        <a:pt x="0" y="0"/>
                      </a:cubicBezTo>
                      <a:lnTo>
                        <a:pt x="18712" y="0"/>
                      </a:lnTo>
                      <a:lnTo>
                        <a:pt x="18712" y="6934"/>
                      </a:lnTo>
                      <a:lnTo>
                        <a:pt x="6934" y="6934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04" name="Freeform: Shape 303">
                  <a:extLst>
                    <a:ext uri="{FF2B5EF4-FFF2-40B4-BE49-F238E27FC236}">
                      <a16:creationId xmlns:a16="http://schemas.microsoft.com/office/drawing/2014/main" id="{E0141109-AFDC-404A-8332-3BCA2CDA6DF3}"/>
                    </a:ext>
                  </a:extLst>
                </p:cNvPr>
                <p:cNvSpPr/>
                <p:nvPr/>
              </p:nvSpPr>
              <p:spPr>
                <a:xfrm>
                  <a:off x="1433416" y="2302470"/>
                  <a:ext cx="99063" cy="44028"/>
                </a:xfrm>
                <a:custGeom>
                  <a:avLst/>
                  <a:gdLst>
                    <a:gd name="connsiteX0" fmla="*/ 106657 w 99062"/>
                    <a:gd name="connsiteY0" fmla="*/ 4561 h 44027"/>
                    <a:gd name="connsiteX1" fmla="*/ 99723 w 99062"/>
                    <a:gd name="connsiteY1" fmla="*/ 13147 h 44027"/>
                    <a:gd name="connsiteX2" fmla="*/ 104016 w 99062"/>
                    <a:gd name="connsiteY2" fmla="*/ 23824 h 44027"/>
                    <a:gd name="connsiteX3" fmla="*/ 81121 w 99062"/>
                    <a:gd name="connsiteY3" fmla="*/ 40884 h 44027"/>
                    <a:gd name="connsiteX4" fmla="*/ 67803 w 99062"/>
                    <a:gd name="connsiteY4" fmla="*/ 25915 h 44027"/>
                    <a:gd name="connsiteX5" fmla="*/ 49641 w 99062"/>
                    <a:gd name="connsiteY5" fmla="*/ 42425 h 44027"/>
                    <a:gd name="connsiteX6" fmla="*/ 38414 w 99062"/>
                    <a:gd name="connsiteY6" fmla="*/ 54203 h 44027"/>
                    <a:gd name="connsiteX7" fmla="*/ 29389 w 99062"/>
                    <a:gd name="connsiteY7" fmla="*/ 46168 h 44027"/>
                    <a:gd name="connsiteX8" fmla="*/ 14419 w 99062"/>
                    <a:gd name="connsiteY8" fmla="*/ 46168 h 44027"/>
                    <a:gd name="connsiteX9" fmla="*/ 5393 w 99062"/>
                    <a:gd name="connsiteY9" fmla="*/ 50460 h 44027"/>
                    <a:gd name="connsiteX10" fmla="*/ 0 w 99062"/>
                    <a:gd name="connsiteY10" fmla="*/ 42425 h 44027"/>
                    <a:gd name="connsiteX11" fmla="*/ 11667 w 99062"/>
                    <a:gd name="connsiteY11" fmla="*/ 32739 h 44027"/>
                    <a:gd name="connsiteX12" fmla="*/ 37314 w 99062"/>
                    <a:gd name="connsiteY12" fmla="*/ 22062 h 44027"/>
                    <a:gd name="connsiteX13" fmla="*/ 65051 w 99062"/>
                    <a:gd name="connsiteY13" fmla="*/ 2360 h 44027"/>
                    <a:gd name="connsiteX14" fmla="*/ 74627 w 99062"/>
                    <a:gd name="connsiteY14" fmla="*/ 3461 h 44027"/>
                    <a:gd name="connsiteX15" fmla="*/ 106657 w 99062"/>
                    <a:gd name="connsiteY15" fmla="*/ 4561 h 44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99062" h="44027">
                      <a:moveTo>
                        <a:pt x="106657" y="4561"/>
                      </a:moveTo>
                      <a:cubicBezTo>
                        <a:pt x="106657" y="8304"/>
                        <a:pt x="103465" y="12046"/>
                        <a:pt x="99723" y="13147"/>
                      </a:cubicBezTo>
                      <a:cubicBezTo>
                        <a:pt x="100273" y="18430"/>
                        <a:pt x="104016" y="19531"/>
                        <a:pt x="104016" y="23824"/>
                      </a:cubicBezTo>
                      <a:lnTo>
                        <a:pt x="81121" y="40884"/>
                      </a:lnTo>
                      <a:cubicBezTo>
                        <a:pt x="72096" y="40884"/>
                        <a:pt x="72536" y="28557"/>
                        <a:pt x="67803" y="25915"/>
                      </a:cubicBezTo>
                      <a:cubicBezTo>
                        <a:pt x="66702" y="34941"/>
                        <a:pt x="58667" y="43526"/>
                        <a:pt x="49641" y="42425"/>
                      </a:cubicBezTo>
                      <a:cubicBezTo>
                        <a:pt x="48541" y="48259"/>
                        <a:pt x="44248" y="54203"/>
                        <a:pt x="38414" y="54203"/>
                      </a:cubicBezTo>
                      <a:cubicBezTo>
                        <a:pt x="34122" y="54203"/>
                        <a:pt x="30379" y="48259"/>
                        <a:pt x="29389" y="46168"/>
                      </a:cubicBezTo>
                      <a:cubicBezTo>
                        <a:pt x="23005" y="49360"/>
                        <a:pt x="19702" y="46168"/>
                        <a:pt x="14419" y="46168"/>
                      </a:cubicBezTo>
                      <a:cubicBezTo>
                        <a:pt x="11227" y="46168"/>
                        <a:pt x="9576" y="49910"/>
                        <a:pt x="5393" y="50460"/>
                      </a:cubicBezTo>
                      <a:cubicBezTo>
                        <a:pt x="4293" y="46718"/>
                        <a:pt x="0" y="44076"/>
                        <a:pt x="0" y="42425"/>
                      </a:cubicBezTo>
                      <a:cubicBezTo>
                        <a:pt x="0" y="41325"/>
                        <a:pt x="9576" y="33840"/>
                        <a:pt x="11667" y="32739"/>
                      </a:cubicBezTo>
                      <a:cubicBezTo>
                        <a:pt x="20253" y="28447"/>
                        <a:pt x="28178" y="27346"/>
                        <a:pt x="37314" y="22062"/>
                      </a:cubicBezTo>
                      <a:cubicBezTo>
                        <a:pt x="47440" y="16119"/>
                        <a:pt x="50082" y="2360"/>
                        <a:pt x="65051" y="2360"/>
                      </a:cubicBezTo>
                      <a:cubicBezTo>
                        <a:pt x="69344" y="2360"/>
                        <a:pt x="69894" y="2910"/>
                        <a:pt x="74627" y="3461"/>
                      </a:cubicBezTo>
                      <a:cubicBezTo>
                        <a:pt x="74627" y="3461"/>
                        <a:pt x="106657" y="-5015"/>
                        <a:pt x="106657" y="456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05" name="Freeform: Shape 304">
                  <a:extLst>
                    <a:ext uri="{FF2B5EF4-FFF2-40B4-BE49-F238E27FC236}">
                      <a16:creationId xmlns:a16="http://schemas.microsoft.com/office/drawing/2014/main" id="{72555DBA-077F-45B8-96D9-CF2294209364}"/>
                    </a:ext>
                  </a:extLst>
                </p:cNvPr>
                <p:cNvSpPr/>
                <p:nvPr/>
              </p:nvSpPr>
              <p:spPr>
                <a:xfrm>
                  <a:off x="1575736" y="2259481"/>
                  <a:ext cx="55035" cy="11007"/>
                </a:xfrm>
                <a:custGeom>
                  <a:avLst/>
                  <a:gdLst>
                    <a:gd name="connsiteX0" fmla="*/ 23995 w 55034"/>
                    <a:gd name="connsiteY0" fmla="*/ 18712 h 11006"/>
                    <a:gd name="connsiteX1" fmla="*/ 10677 w 55034"/>
                    <a:gd name="connsiteY1" fmla="*/ 14529 h 11006"/>
                    <a:gd name="connsiteX2" fmla="*/ 0 w 55034"/>
                    <a:gd name="connsiteY2" fmla="*/ 18712 h 11006"/>
                    <a:gd name="connsiteX3" fmla="*/ 38965 w 55034"/>
                    <a:gd name="connsiteY3" fmla="*/ 0 h 11006"/>
                    <a:gd name="connsiteX4" fmla="*/ 61419 w 55034"/>
                    <a:gd name="connsiteY4" fmla="*/ 13318 h 11006"/>
                    <a:gd name="connsiteX5" fmla="*/ 47000 w 55034"/>
                    <a:gd name="connsiteY5" fmla="*/ 18602 h 11006"/>
                    <a:gd name="connsiteX6" fmla="*/ 23995 w 55034"/>
                    <a:gd name="connsiteY6" fmla="*/ 18602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5034" h="11006">
                      <a:moveTo>
                        <a:pt x="23995" y="18712"/>
                      </a:moveTo>
                      <a:cubicBezTo>
                        <a:pt x="17611" y="18712"/>
                        <a:pt x="16070" y="14529"/>
                        <a:pt x="10677" y="14529"/>
                      </a:cubicBezTo>
                      <a:cubicBezTo>
                        <a:pt x="6384" y="14529"/>
                        <a:pt x="4293" y="18272"/>
                        <a:pt x="0" y="18712"/>
                      </a:cubicBezTo>
                      <a:cubicBezTo>
                        <a:pt x="0" y="11777"/>
                        <a:pt x="32030" y="0"/>
                        <a:pt x="38965" y="0"/>
                      </a:cubicBezTo>
                      <a:cubicBezTo>
                        <a:pt x="50192" y="0"/>
                        <a:pt x="59217" y="6384"/>
                        <a:pt x="61419" y="13318"/>
                      </a:cubicBezTo>
                      <a:cubicBezTo>
                        <a:pt x="57126" y="15410"/>
                        <a:pt x="53494" y="18602"/>
                        <a:pt x="47000" y="18602"/>
                      </a:cubicBezTo>
                      <a:lnTo>
                        <a:pt x="23995" y="18602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06" name="Freeform: Shape 305">
                  <a:extLst>
                    <a:ext uri="{FF2B5EF4-FFF2-40B4-BE49-F238E27FC236}">
                      <a16:creationId xmlns:a16="http://schemas.microsoft.com/office/drawing/2014/main" id="{72064720-41B7-4719-BBFB-5663BE3CEB80}"/>
                    </a:ext>
                  </a:extLst>
                </p:cNvPr>
                <p:cNvSpPr/>
                <p:nvPr/>
              </p:nvSpPr>
              <p:spPr>
                <a:xfrm>
                  <a:off x="1577387" y="2280835"/>
                  <a:ext cx="44028" cy="22014"/>
                </a:xfrm>
                <a:custGeom>
                  <a:avLst/>
                  <a:gdLst>
                    <a:gd name="connsiteX0" fmla="*/ 45349 w 44027"/>
                    <a:gd name="connsiteY0" fmla="*/ 11777 h 22013"/>
                    <a:gd name="connsiteX1" fmla="*/ 17061 w 44027"/>
                    <a:gd name="connsiteY1" fmla="*/ 27738 h 22013"/>
                    <a:gd name="connsiteX2" fmla="*/ 0 w 44027"/>
                    <a:gd name="connsiteY2" fmla="*/ 13318 h 22013"/>
                    <a:gd name="connsiteX3" fmla="*/ 43698 w 44027"/>
                    <a:gd name="connsiteY3" fmla="*/ 0 h 22013"/>
                    <a:gd name="connsiteX4" fmla="*/ 53274 w 44027"/>
                    <a:gd name="connsiteY4" fmla="*/ 5283 h 22013"/>
                    <a:gd name="connsiteX5" fmla="*/ 30379 w 44027"/>
                    <a:gd name="connsiteY5" fmla="*/ 11667 h 22013"/>
                    <a:gd name="connsiteX6" fmla="*/ 45349 w 44027"/>
                    <a:gd name="connsiteY6" fmla="*/ 11667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4027" h="22013">
                      <a:moveTo>
                        <a:pt x="45349" y="11777"/>
                      </a:moveTo>
                      <a:cubicBezTo>
                        <a:pt x="46449" y="23005"/>
                        <a:pt x="28838" y="27738"/>
                        <a:pt x="17061" y="27738"/>
                      </a:cubicBezTo>
                      <a:cubicBezTo>
                        <a:pt x="9026" y="27738"/>
                        <a:pt x="0" y="18161"/>
                        <a:pt x="0" y="13318"/>
                      </a:cubicBezTo>
                      <a:cubicBezTo>
                        <a:pt x="0" y="991"/>
                        <a:pt x="32581" y="0"/>
                        <a:pt x="43698" y="0"/>
                      </a:cubicBezTo>
                      <a:cubicBezTo>
                        <a:pt x="49531" y="0"/>
                        <a:pt x="51733" y="3192"/>
                        <a:pt x="53274" y="5283"/>
                      </a:cubicBezTo>
                      <a:cubicBezTo>
                        <a:pt x="47440" y="10126"/>
                        <a:pt x="38414" y="11667"/>
                        <a:pt x="30379" y="11667"/>
                      </a:cubicBezTo>
                      <a:lnTo>
                        <a:pt x="45349" y="11667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07" name="Freeform: Shape 306">
                  <a:extLst>
                    <a:ext uri="{FF2B5EF4-FFF2-40B4-BE49-F238E27FC236}">
                      <a16:creationId xmlns:a16="http://schemas.microsoft.com/office/drawing/2014/main" id="{75ABD76F-1DA1-4C27-8DCB-8CA582812C3E}"/>
                    </a:ext>
                  </a:extLst>
                </p:cNvPr>
                <p:cNvSpPr/>
                <p:nvPr/>
              </p:nvSpPr>
              <p:spPr>
                <a:xfrm>
                  <a:off x="1551741" y="2284074"/>
                  <a:ext cx="11007" cy="11007"/>
                </a:xfrm>
                <a:custGeom>
                  <a:avLst/>
                  <a:gdLst>
                    <a:gd name="connsiteX0" fmla="*/ 18162 w 11006"/>
                    <a:gd name="connsiteY0" fmla="*/ 7438 h 11006"/>
                    <a:gd name="connsiteX1" fmla="*/ 10677 w 11006"/>
                    <a:gd name="connsiteY1" fmla="*/ 13822 h 11006"/>
                    <a:gd name="connsiteX2" fmla="*/ 0 w 11006"/>
                    <a:gd name="connsiteY2" fmla="*/ 5787 h 11006"/>
                    <a:gd name="connsiteX3" fmla="*/ 18162 w 11006"/>
                    <a:gd name="connsiteY3" fmla="*/ 7438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06" h="11006">
                      <a:moveTo>
                        <a:pt x="18162" y="7438"/>
                      </a:moveTo>
                      <a:cubicBezTo>
                        <a:pt x="16070" y="10630"/>
                        <a:pt x="14419" y="13822"/>
                        <a:pt x="10677" y="13822"/>
                      </a:cubicBezTo>
                      <a:cubicBezTo>
                        <a:pt x="5834" y="13822"/>
                        <a:pt x="0" y="8539"/>
                        <a:pt x="0" y="5787"/>
                      </a:cubicBezTo>
                      <a:cubicBezTo>
                        <a:pt x="0" y="-7421"/>
                        <a:pt x="14969" y="5897"/>
                        <a:pt x="18162" y="743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08" name="Freeform: Shape 307">
                  <a:extLst>
                    <a:ext uri="{FF2B5EF4-FFF2-40B4-BE49-F238E27FC236}">
                      <a16:creationId xmlns:a16="http://schemas.microsoft.com/office/drawing/2014/main" id="{B068D393-501B-40CB-B2FE-9A12AABF7568}"/>
                    </a:ext>
                  </a:extLst>
                </p:cNvPr>
                <p:cNvSpPr/>
                <p:nvPr/>
              </p:nvSpPr>
              <p:spPr>
                <a:xfrm>
                  <a:off x="1748985" y="2417754"/>
                  <a:ext cx="88056" cy="66042"/>
                </a:xfrm>
                <a:custGeom>
                  <a:avLst/>
                  <a:gdLst>
                    <a:gd name="connsiteX0" fmla="*/ 80131 w 88055"/>
                    <a:gd name="connsiteY0" fmla="*/ 25875 h 66041"/>
                    <a:gd name="connsiteX1" fmla="*/ 78480 w 88055"/>
                    <a:gd name="connsiteY1" fmla="*/ 33800 h 66041"/>
                    <a:gd name="connsiteX2" fmla="*/ 90807 w 88055"/>
                    <a:gd name="connsiteY2" fmla="*/ 36441 h 66041"/>
                    <a:gd name="connsiteX3" fmla="*/ 69454 w 88055"/>
                    <a:gd name="connsiteY3" fmla="*/ 64179 h 66041"/>
                    <a:gd name="connsiteX4" fmla="*/ 58777 w 88055"/>
                    <a:gd name="connsiteY4" fmla="*/ 72214 h 66041"/>
                    <a:gd name="connsiteX5" fmla="*/ 47000 w 88055"/>
                    <a:gd name="connsiteY5" fmla="*/ 63188 h 66041"/>
                    <a:gd name="connsiteX6" fmla="*/ 0 w 88055"/>
                    <a:gd name="connsiteY6" fmla="*/ 34900 h 66041"/>
                    <a:gd name="connsiteX7" fmla="*/ 0 w 88055"/>
                    <a:gd name="connsiteY7" fmla="*/ 25875 h 66041"/>
                    <a:gd name="connsiteX8" fmla="*/ 23995 w 88055"/>
                    <a:gd name="connsiteY8" fmla="*/ 32259 h 66041"/>
                    <a:gd name="connsiteX9" fmla="*/ 32030 w 88055"/>
                    <a:gd name="connsiteY9" fmla="*/ 32259 h 66041"/>
                    <a:gd name="connsiteX10" fmla="*/ 32030 w 88055"/>
                    <a:gd name="connsiteY10" fmla="*/ 17839 h 66041"/>
                    <a:gd name="connsiteX11" fmla="*/ 14969 w 88055"/>
                    <a:gd name="connsiteY11" fmla="*/ 10905 h 66041"/>
                    <a:gd name="connsiteX12" fmla="*/ 18712 w 88055"/>
                    <a:gd name="connsiteY12" fmla="*/ 6612 h 66041"/>
                    <a:gd name="connsiteX13" fmla="*/ 50742 w 88055"/>
                    <a:gd name="connsiteY13" fmla="*/ 228 h 66041"/>
                    <a:gd name="connsiteX14" fmla="*/ 72096 w 88055"/>
                    <a:gd name="connsiteY14" fmla="*/ 228 h 66041"/>
                    <a:gd name="connsiteX15" fmla="*/ 77379 w 88055"/>
                    <a:gd name="connsiteY15" fmla="*/ 5622 h 66041"/>
                    <a:gd name="connsiteX16" fmla="*/ 60318 w 88055"/>
                    <a:gd name="connsiteY16" fmla="*/ 25324 h 66041"/>
                    <a:gd name="connsiteX17" fmla="*/ 80131 w 88055"/>
                    <a:gd name="connsiteY17" fmla="*/ 25875 h 660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88055" h="66041">
                      <a:moveTo>
                        <a:pt x="80131" y="25875"/>
                      </a:moveTo>
                      <a:cubicBezTo>
                        <a:pt x="80131" y="33359"/>
                        <a:pt x="78480" y="28516"/>
                        <a:pt x="78480" y="33800"/>
                      </a:cubicBezTo>
                      <a:cubicBezTo>
                        <a:pt x="80681" y="34350"/>
                        <a:pt x="87505" y="35451"/>
                        <a:pt x="90807" y="36441"/>
                      </a:cubicBezTo>
                      <a:cubicBezTo>
                        <a:pt x="88276" y="65500"/>
                        <a:pt x="86515" y="57795"/>
                        <a:pt x="69454" y="64179"/>
                      </a:cubicBezTo>
                      <a:cubicBezTo>
                        <a:pt x="64611" y="65830"/>
                        <a:pt x="63620" y="72214"/>
                        <a:pt x="58777" y="72214"/>
                      </a:cubicBezTo>
                      <a:cubicBezTo>
                        <a:pt x="51292" y="72214"/>
                        <a:pt x="50192" y="66380"/>
                        <a:pt x="47000" y="63188"/>
                      </a:cubicBezTo>
                      <a:cubicBezTo>
                        <a:pt x="32030" y="48219"/>
                        <a:pt x="15520" y="50420"/>
                        <a:pt x="0" y="34900"/>
                      </a:cubicBezTo>
                      <a:lnTo>
                        <a:pt x="0" y="25875"/>
                      </a:lnTo>
                      <a:cubicBezTo>
                        <a:pt x="6934" y="25875"/>
                        <a:pt x="14969" y="32259"/>
                        <a:pt x="23995" y="32259"/>
                      </a:cubicBezTo>
                      <a:lnTo>
                        <a:pt x="32030" y="32259"/>
                      </a:lnTo>
                      <a:lnTo>
                        <a:pt x="32030" y="17839"/>
                      </a:lnTo>
                      <a:cubicBezTo>
                        <a:pt x="25096" y="16849"/>
                        <a:pt x="14969" y="17839"/>
                        <a:pt x="14969" y="10905"/>
                      </a:cubicBezTo>
                      <a:cubicBezTo>
                        <a:pt x="14969" y="9254"/>
                        <a:pt x="18162" y="8263"/>
                        <a:pt x="18712" y="6612"/>
                      </a:cubicBezTo>
                      <a:cubicBezTo>
                        <a:pt x="27297" y="-1863"/>
                        <a:pt x="38965" y="228"/>
                        <a:pt x="50742" y="228"/>
                      </a:cubicBezTo>
                      <a:lnTo>
                        <a:pt x="72096" y="228"/>
                      </a:lnTo>
                      <a:cubicBezTo>
                        <a:pt x="73637" y="228"/>
                        <a:pt x="77379" y="2870"/>
                        <a:pt x="77379" y="5622"/>
                      </a:cubicBezTo>
                      <a:cubicBezTo>
                        <a:pt x="77379" y="16299"/>
                        <a:pt x="64061" y="20591"/>
                        <a:pt x="60318" y="25324"/>
                      </a:cubicBezTo>
                      <a:cubicBezTo>
                        <a:pt x="64721" y="24774"/>
                        <a:pt x="80131" y="19931"/>
                        <a:pt x="80131" y="2587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09" name="Freeform: Shape 308">
                  <a:extLst>
                    <a:ext uri="{FF2B5EF4-FFF2-40B4-BE49-F238E27FC236}">
                      <a16:creationId xmlns:a16="http://schemas.microsoft.com/office/drawing/2014/main" id="{C30210FA-071F-4633-A1BE-E7A22E6766B4}"/>
                    </a:ext>
                  </a:extLst>
                </p:cNvPr>
                <p:cNvSpPr/>
                <p:nvPr/>
              </p:nvSpPr>
              <p:spPr>
                <a:xfrm>
                  <a:off x="1716075" y="2328622"/>
                  <a:ext cx="99063" cy="44028"/>
                </a:xfrm>
                <a:custGeom>
                  <a:avLst/>
                  <a:gdLst>
                    <a:gd name="connsiteX0" fmla="*/ 5283 w 99062"/>
                    <a:gd name="connsiteY0" fmla="*/ 11981 h 44027"/>
                    <a:gd name="connsiteX1" fmla="*/ 0 w 99062"/>
                    <a:gd name="connsiteY1" fmla="*/ 1304 h 44027"/>
                    <a:gd name="connsiteX2" fmla="*/ 6384 w 99062"/>
                    <a:gd name="connsiteY2" fmla="*/ 1304 h 44027"/>
                    <a:gd name="connsiteX3" fmla="*/ 46449 w 99062"/>
                    <a:gd name="connsiteY3" fmla="*/ 23758 h 44027"/>
                    <a:gd name="connsiteX4" fmla="*/ 35773 w 99062"/>
                    <a:gd name="connsiteY4" fmla="*/ 14733 h 44027"/>
                    <a:gd name="connsiteX5" fmla="*/ 35773 w 99062"/>
                    <a:gd name="connsiteY5" fmla="*/ 8349 h 44027"/>
                    <a:gd name="connsiteX6" fmla="*/ 65161 w 99062"/>
                    <a:gd name="connsiteY6" fmla="*/ 20126 h 44027"/>
                    <a:gd name="connsiteX7" fmla="*/ 65161 w 99062"/>
                    <a:gd name="connsiteY7" fmla="*/ 8349 h 44027"/>
                    <a:gd name="connsiteX8" fmla="*/ 46449 w 99062"/>
                    <a:gd name="connsiteY8" fmla="*/ 864 h 44027"/>
                    <a:gd name="connsiteX9" fmla="*/ 56025 w 99062"/>
                    <a:gd name="connsiteY9" fmla="*/ 313 h 44027"/>
                    <a:gd name="connsiteX10" fmla="*/ 80021 w 99062"/>
                    <a:gd name="connsiteY10" fmla="*/ 5597 h 44027"/>
                    <a:gd name="connsiteX11" fmla="*/ 90697 w 99062"/>
                    <a:gd name="connsiteY11" fmla="*/ 1304 h 44027"/>
                    <a:gd name="connsiteX12" fmla="*/ 101374 w 99062"/>
                    <a:gd name="connsiteY12" fmla="*/ 14733 h 44027"/>
                    <a:gd name="connsiteX13" fmla="*/ 97081 w 99062"/>
                    <a:gd name="connsiteY13" fmla="*/ 48304 h 44027"/>
                    <a:gd name="connsiteX14" fmla="*/ 75728 w 99062"/>
                    <a:gd name="connsiteY14" fmla="*/ 51056 h 44027"/>
                    <a:gd name="connsiteX15" fmla="*/ 58667 w 99062"/>
                    <a:gd name="connsiteY15" fmla="*/ 48304 h 44027"/>
                    <a:gd name="connsiteX16" fmla="*/ 62409 w 99062"/>
                    <a:gd name="connsiteY16" fmla="*/ 43020 h 44027"/>
                    <a:gd name="connsiteX17" fmla="*/ 62409 w 99062"/>
                    <a:gd name="connsiteY17" fmla="*/ 37627 h 44027"/>
                    <a:gd name="connsiteX18" fmla="*/ 75728 w 99062"/>
                    <a:gd name="connsiteY18" fmla="*/ 29592 h 44027"/>
                    <a:gd name="connsiteX19" fmla="*/ 69344 w 99062"/>
                    <a:gd name="connsiteY19" fmla="*/ 27941 h 44027"/>
                    <a:gd name="connsiteX20" fmla="*/ 30379 w 99062"/>
                    <a:gd name="connsiteY20" fmla="*/ 33224 h 44027"/>
                    <a:gd name="connsiteX21" fmla="*/ 23995 w 99062"/>
                    <a:gd name="connsiteY21" fmla="*/ 26840 h 44027"/>
                    <a:gd name="connsiteX22" fmla="*/ 15960 w 99062"/>
                    <a:gd name="connsiteY22" fmla="*/ 26840 h 44027"/>
                    <a:gd name="connsiteX23" fmla="*/ 14419 w 99062"/>
                    <a:gd name="connsiteY23" fmla="*/ 21557 h 44027"/>
                    <a:gd name="connsiteX24" fmla="*/ 1101 w 99062"/>
                    <a:gd name="connsiteY24" fmla="*/ 16274 h 44027"/>
                    <a:gd name="connsiteX25" fmla="*/ 1101 w 99062"/>
                    <a:gd name="connsiteY25" fmla="*/ 6587 h 44027"/>
                    <a:gd name="connsiteX26" fmla="*/ 5283 w 99062"/>
                    <a:gd name="connsiteY26" fmla="*/ 11981 h 44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99062" h="44027">
                      <a:moveTo>
                        <a:pt x="5283" y="11981"/>
                      </a:moveTo>
                      <a:cubicBezTo>
                        <a:pt x="3192" y="9339"/>
                        <a:pt x="0" y="6587"/>
                        <a:pt x="0" y="1304"/>
                      </a:cubicBezTo>
                      <a:lnTo>
                        <a:pt x="6384" y="1304"/>
                      </a:lnTo>
                      <a:cubicBezTo>
                        <a:pt x="21904" y="1304"/>
                        <a:pt x="29829" y="28491"/>
                        <a:pt x="46449" y="23758"/>
                      </a:cubicBezTo>
                      <a:cubicBezTo>
                        <a:pt x="42157" y="21117"/>
                        <a:pt x="37864" y="17374"/>
                        <a:pt x="35773" y="14733"/>
                      </a:cubicBezTo>
                      <a:lnTo>
                        <a:pt x="35773" y="8349"/>
                      </a:lnTo>
                      <a:cubicBezTo>
                        <a:pt x="47550" y="8349"/>
                        <a:pt x="51843" y="20126"/>
                        <a:pt x="65161" y="20126"/>
                      </a:cubicBezTo>
                      <a:lnTo>
                        <a:pt x="65161" y="8349"/>
                      </a:lnTo>
                      <a:cubicBezTo>
                        <a:pt x="56025" y="8349"/>
                        <a:pt x="48651" y="8349"/>
                        <a:pt x="46449" y="864"/>
                      </a:cubicBezTo>
                      <a:cubicBezTo>
                        <a:pt x="50192" y="-677"/>
                        <a:pt x="52283" y="313"/>
                        <a:pt x="56025" y="313"/>
                      </a:cubicBezTo>
                      <a:cubicBezTo>
                        <a:pt x="64611" y="313"/>
                        <a:pt x="69894" y="5597"/>
                        <a:pt x="80021" y="5597"/>
                      </a:cubicBezTo>
                      <a:cubicBezTo>
                        <a:pt x="84313" y="5597"/>
                        <a:pt x="86405" y="1304"/>
                        <a:pt x="90697" y="1304"/>
                      </a:cubicBezTo>
                      <a:cubicBezTo>
                        <a:pt x="100273" y="1304"/>
                        <a:pt x="101374" y="6587"/>
                        <a:pt x="101374" y="14733"/>
                      </a:cubicBezTo>
                      <a:cubicBezTo>
                        <a:pt x="101374" y="26950"/>
                        <a:pt x="94990" y="33334"/>
                        <a:pt x="97081" y="48304"/>
                      </a:cubicBezTo>
                      <a:cubicBezTo>
                        <a:pt x="89046" y="51056"/>
                        <a:pt x="77379" y="51056"/>
                        <a:pt x="75728" y="51056"/>
                      </a:cubicBezTo>
                      <a:cubicBezTo>
                        <a:pt x="72536" y="51056"/>
                        <a:pt x="58667" y="53147"/>
                        <a:pt x="58667" y="48304"/>
                      </a:cubicBezTo>
                      <a:cubicBezTo>
                        <a:pt x="58667" y="46212"/>
                        <a:pt x="60208" y="44011"/>
                        <a:pt x="62409" y="43020"/>
                      </a:cubicBezTo>
                      <a:cubicBezTo>
                        <a:pt x="61859" y="41479"/>
                        <a:pt x="61859" y="39278"/>
                        <a:pt x="62409" y="37627"/>
                      </a:cubicBezTo>
                      <a:cubicBezTo>
                        <a:pt x="62409" y="32784"/>
                        <a:pt x="72536" y="32784"/>
                        <a:pt x="75728" y="29592"/>
                      </a:cubicBezTo>
                      <a:cubicBezTo>
                        <a:pt x="74187" y="28491"/>
                        <a:pt x="71435" y="27941"/>
                        <a:pt x="69344" y="27941"/>
                      </a:cubicBezTo>
                      <a:cubicBezTo>
                        <a:pt x="59658" y="27941"/>
                        <a:pt x="41056" y="33224"/>
                        <a:pt x="30379" y="33224"/>
                      </a:cubicBezTo>
                      <a:cubicBezTo>
                        <a:pt x="26637" y="33224"/>
                        <a:pt x="23995" y="30032"/>
                        <a:pt x="23995" y="26840"/>
                      </a:cubicBezTo>
                      <a:lnTo>
                        <a:pt x="15960" y="26840"/>
                      </a:lnTo>
                      <a:lnTo>
                        <a:pt x="14419" y="21557"/>
                      </a:lnTo>
                      <a:cubicBezTo>
                        <a:pt x="9026" y="23098"/>
                        <a:pt x="5393" y="19466"/>
                        <a:pt x="1101" y="16274"/>
                      </a:cubicBezTo>
                      <a:lnTo>
                        <a:pt x="1101" y="6587"/>
                      </a:lnTo>
                      <a:lnTo>
                        <a:pt x="5283" y="11981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10" name="Freeform: Shape 309">
                  <a:extLst>
                    <a:ext uri="{FF2B5EF4-FFF2-40B4-BE49-F238E27FC236}">
                      <a16:creationId xmlns:a16="http://schemas.microsoft.com/office/drawing/2014/main" id="{D3564C4E-B681-4E35-9F80-29777C7153D0}"/>
                    </a:ext>
                  </a:extLst>
                </p:cNvPr>
                <p:cNvSpPr/>
                <p:nvPr/>
              </p:nvSpPr>
              <p:spPr>
                <a:xfrm>
                  <a:off x="1793454" y="2531684"/>
                  <a:ext cx="55035" cy="33021"/>
                </a:xfrm>
                <a:custGeom>
                  <a:avLst/>
                  <a:gdLst>
                    <a:gd name="connsiteX0" fmla="*/ 46449 w 55034"/>
                    <a:gd name="connsiteY0" fmla="*/ 35663 h 33020"/>
                    <a:gd name="connsiteX1" fmla="*/ 0 w 55034"/>
                    <a:gd name="connsiteY1" fmla="*/ 19702 h 33020"/>
                    <a:gd name="connsiteX2" fmla="*/ 11777 w 55034"/>
                    <a:gd name="connsiteY2" fmla="*/ 17061 h 33020"/>
                    <a:gd name="connsiteX3" fmla="*/ 26747 w 55034"/>
                    <a:gd name="connsiteY3" fmla="*/ 0 h 33020"/>
                    <a:gd name="connsiteX4" fmla="*/ 59878 w 55034"/>
                    <a:gd name="connsiteY4" fmla="*/ 27187 h 33020"/>
                    <a:gd name="connsiteX5" fmla="*/ 46449 w 55034"/>
                    <a:gd name="connsiteY5" fmla="*/ 35663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5034" h="33020">
                      <a:moveTo>
                        <a:pt x="46449" y="35663"/>
                      </a:moveTo>
                      <a:cubicBezTo>
                        <a:pt x="39515" y="35663"/>
                        <a:pt x="0" y="21243"/>
                        <a:pt x="0" y="19702"/>
                      </a:cubicBezTo>
                      <a:cubicBezTo>
                        <a:pt x="0" y="15410"/>
                        <a:pt x="9576" y="17611"/>
                        <a:pt x="11777" y="17061"/>
                      </a:cubicBezTo>
                      <a:cubicBezTo>
                        <a:pt x="18162" y="14859"/>
                        <a:pt x="16070" y="0"/>
                        <a:pt x="26747" y="0"/>
                      </a:cubicBezTo>
                      <a:cubicBezTo>
                        <a:pt x="34782" y="0"/>
                        <a:pt x="56576" y="19702"/>
                        <a:pt x="59878" y="27187"/>
                      </a:cubicBezTo>
                      <a:cubicBezTo>
                        <a:pt x="54374" y="30269"/>
                        <a:pt x="52283" y="35663"/>
                        <a:pt x="46449" y="3566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11" name="Freeform: Shape 310">
                  <a:extLst>
                    <a:ext uri="{FF2B5EF4-FFF2-40B4-BE49-F238E27FC236}">
                      <a16:creationId xmlns:a16="http://schemas.microsoft.com/office/drawing/2014/main" id="{9815F792-55F5-4EDC-B6C5-0373A8694F1A}"/>
                    </a:ext>
                  </a:extLst>
                </p:cNvPr>
                <p:cNvSpPr/>
                <p:nvPr/>
              </p:nvSpPr>
              <p:spPr>
                <a:xfrm>
                  <a:off x="1850690" y="2406205"/>
                  <a:ext cx="77049" cy="55035"/>
                </a:xfrm>
                <a:custGeom>
                  <a:avLst/>
                  <a:gdLst>
                    <a:gd name="connsiteX0" fmla="*/ 78810 w 77048"/>
                    <a:gd name="connsiteY0" fmla="*/ 13318 h 55034"/>
                    <a:gd name="connsiteX1" fmla="*/ 69234 w 77048"/>
                    <a:gd name="connsiteY1" fmla="*/ 21353 h 55034"/>
                    <a:gd name="connsiteX2" fmla="*/ 38855 w 77048"/>
                    <a:gd name="connsiteY2" fmla="*/ 42707 h 55034"/>
                    <a:gd name="connsiteX3" fmla="*/ 23885 w 77048"/>
                    <a:gd name="connsiteY3" fmla="*/ 46449 h 55034"/>
                    <a:gd name="connsiteX4" fmla="*/ 30820 w 77048"/>
                    <a:gd name="connsiteY4" fmla="*/ 46449 h 55034"/>
                    <a:gd name="connsiteX5" fmla="*/ 18602 w 77048"/>
                    <a:gd name="connsiteY5" fmla="*/ 64061 h 55034"/>
                    <a:gd name="connsiteX6" fmla="*/ 7925 w 77048"/>
                    <a:gd name="connsiteY6" fmla="*/ 64061 h 55034"/>
                    <a:gd name="connsiteX7" fmla="*/ 8475 w 77048"/>
                    <a:gd name="connsiteY7" fmla="*/ 48100 h 55034"/>
                    <a:gd name="connsiteX8" fmla="*/ 0 w 77048"/>
                    <a:gd name="connsiteY8" fmla="*/ 22454 h 55034"/>
                    <a:gd name="connsiteX9" fmla="*/ 0 w 77048"/>
                    <a:gd name="connsiteY9" fmla="*/ 13318 h 55034"/>
                    <a:gd name="connsiteX10" fmla="*/ 12218 w 77048"/>
                    <a:gd name="connsiteY10" fmla="*/ 13318 h 55034"/>
                    <a:gd name="connsiteX11" fmla="*/ 12218 w 77048"/>
                    <a:gd name="connsiteY11" fmla="*/ 8035 h 55034"/>
                    <a:gd name="connsiteX12" fmla="*/ 26637 w 77048"/>
                    <a:gd name="connsiteY12" fmla="*/ 0 h 55034"/>
                    <a:gd name="connsiteX13" fmla="*/ 78920 w 77048"/>
                    <a:gd name="connsiteY13" fmla="*/ 6384 h 55034"/>
                    <a:gd name="connsiteX14" fmla="*/ 78810 w 77048"/>
                    <a:gd name="connsiteY14" fmla="*/ 13318 h 55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7048" h="55034">
                      <a:moveTo>
                        <a:pt x="78810" y="13318"/>
                      </a:moveTo>
                      <a:cubicBezTo>
                        <a:pt x="78810" y="14419"/>
                        <a:pt x="69234" y="21353"/>
                        <a:pt x="69234" y="21353"/>
                      </a:cubicBezTo>
                      <a:cubicBezTo>
                        <a:pt x="62299" y="30930"/>
                        <a:pt x="54815" y="42707"/>
                        <a:pt x="38855" y="42707"/>
                      </a:cubicBezTo>
                      <a:cubicBezTo>
                        <a:pt x="27077" y="42707"/>
                        <a:pt x="27077" y="35773"/>
                        <a:pt x="23885" y="46449"/>
                      </a:cubicBezTo>
                      <a:lnTo>
                        <a:pt x="30820" y="46449"/>
                      </a:lnTo>
                      <a:cubicBezTo>
                        <a:pt x="29168" y="56025"/>
                        <a:pt x="24986" y="57676"/>
                        <a:pt x="18602" y="64061"/>
                      </a:cubicBezTo>
                      <a:lnTo>
                        <a:pt x="7925" y="64061"/>
                      </a:lnTo>
                      <a:cubicBezTo>
                        <a:pt x="7925" y="57126"/>
                        <a:pt x="7925" y="50742"/>
                        <a:pt x="8475" y="48100"/>
                      </a:cubicBezTo>
                      <a:cubicBezTo>
                        <a:pt x="0" y="39515"/>
                        <a:pt x="3632" y="33131"/>
                        <a:pt x="0" y="22454"/>
                      </a:cubicBezTo>
                      <a:lnTo>
                        <a:pt x="0" y="13318"/>
                      </a:lnTo>
                      <a:lnTo>
                        <a:pt x="12218" y="13318"/>
                      </a:lnTo>
                      <a:cubicBezTo>
                        <a:pt x="11227" y="12768"/>
                        <a:pt x="12218" y="9686"/>
                        <a:pt x="12218" y="8035"/>
                      </a:cubicBezTo>
                      <a:cubicBezTo>
                        <a:pt x="12218" y="7485"/>
                        <a:pt x="15410" y="0"/>
                        <a:pt x="26637" y="0"/>
                      </a:cubicBezTo>
                      <a:cubicBezTo>
                        <a:pt x="44798" y="0"/>
                        <a:pt x="59658" y="6384"/>
                        <a:pt x="78920" y="6384"/>
                      </a:cubicBezTo>
                      <a:cubicBezTo>
                        <a:pt x="78259" y="9136"/>
                        <a:pt x="78810" y="10677"/>
                        <a:pt x="78810" y="1331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12" name="Freeform: Shape 311">
                  <a:extLst>
                    <a:ext uri="{FF2B5EF4-FFF2-40B4-BE49-F238E27FC236}">
                      <a16:creationId xmlns:a16="http://schemas.microsoft.com/office/drawing/2014/main" id="{E52EE179-BDDD-42D6-8D6A-D11DE94537D9}"/>
                    </a:ext>
                  </a:extLst>
                </p:cNvPr>
                <p:cNvSpPr/>
                <p:nvPr/>
              </p:nvSpPr>
              <p:spPr>
                <a:xfrm>
                  <a:off x="1690428" y="2292613"/>
                  <a:ext cx="22014" cy="11007"/>
                </a:xfrm>
                <a:custGeom>
                  <a:avLst/>
                  <a:gdLst>
                    <a:gd name="connsiteX0" fmla="*/ 26197 w 22013"/>
                    <a:gd name="connsiteY0" fmla="*/ 14969 h 11006"/>
                    <a:gd name="connsiteX1" fmla="*/ 18712 w 22013"/>
                    <a:gd name="connsiteY1" fmla="*/ 21354 h 11006"/>
                    <a:gd name="connsiteX2" fmla="*/ 0 w 22013"/>
                    <a:gd name="connsiteY2" fmla="*/ 0 h 11006"/>
                    <a:gd name="connsiteX3" fmla="*/ 26197 w 22013"/>
                    <a:gd name="connsiteY3" fmla="*/ 14969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013" h="11006">
                      <a:moveTo>
                        <a:pt x="26197" y="14969"/>
                      </a:moveTo>
                      <a:cubicBezTo>
                        <a:pt x="25646" y="18712"/>
                        <a:pt x="22454" y="21354"/>
                        <a:pt x="18712" y="21354"/>
                      </a:cubicBezTo>
                      <a:cubicBezTo>
                        <a:pt x="12878" y="21354"/>
                        <a:pt x="0" y="6934"/>
                        <a:pt x="0" y="0"/>
                      </a:cubicBezTo>
                      <a:cubicBezTo>
                        <a:pt x="13979" y="0"/>
                        <a:pt x="14969" y="11227"/>
                        <a:pt x="26197" y="14969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13" name="Freeform: Shape 312">
                  <a:extLst>
                    <a:ext uri="{FF2B5EF4-FFF2-40B4-BE49-F238E27FC236}">
                      <a16:creationId xmlns:a16="http://schemas.microsoft.com/office/drawing/2014/main" id="{E1895DDE-7DE4-4A43-ADC4-45613FEEF13F}"/>
                    </a:ext>
                  </a:extLst>
                </p:cNvPr>
                <p:cNvSpPr/>
                <p:nvPr/>
              </p:nvSpPr>
              <p:spPr>
                <a:xfrm>
                  <a:off x="1706388" y="2364598"/>
                  <a:ext cx="11007" cy="11007"/>
                </a:xfrm>
                <a:custGeom>
                  <a:avLst/>
                  <a:gdLst>
                    <a:gd name="connsiteX0" fmla="*/ 14969 w 11006"/>
                    <a:gd name="connsiteY0" fmla="*/ 0 h 11006"/>
                    <a:gd name="connsiteX1" fmla="*/ 18712 w 11006"/>
                    <a:gd name="connsiteY1" fmla="*/ 7925 h 11006"/>
                    <a:gd name="connsiteX2" fmla="*/ 10677 w 11006"/>
                    <a:gd name="connsiteY2" fmla="*/ 14859 h 11006"/>
                    <a:gd name="connsiteX3" fmla="*/ 0 w 11006"/>
                    <a:gd name="connsiteY3" fmla="*/ 14309 h 11006"/>
                    <a:gd name="connsiteX4" fmla="*/ 14969 w 11006"/>
                    <a:gd name="connsiteY4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 h="11006">
                      <a:moveTo>
                        <a:pt x="14969" y="0"/>
                      </a:moveTo>
                      <a:cubicBezTo>
                        <a:pt x="16070" y="2642"/>
                        <a:pt x="18712" y="4293"/>
                        <a:pt x="18712" y="7925"/>
                      </a:cubicBezTo>
                      <a:cubicBezTo>
                        <a:pt x="18712" y="14309"/>
                        <a:pt x="13869" y="14859"/>
                        <a:pt x="10677" y="14859"/>
                      </a:cubicBezTo>
                      <a:cubicBezTo>
                        <a:pt x="5393" y="14859"/>
                        <a:pt x="4293" y="13759"/>
                        <a:pt x="0" y="14309"/>
                      </a:cubicBezTo>
                      <a:cubicBezTo>
                        <a:pt x="2201" y="5393"/>
                        <a:pt x="7595" y="2752"/>
                        <a:pt x="14969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14" name="Freeform: Shape 313">
                  <a:extLst>
                    <a:ext uri="{FF2B5EF4-FFF2-40B4-BE49-F238E27FC236}">
                      <a16:creationId xmlns:a16="http://schemas.microsoft.com/office/drawing/2014/main" id="{BD92CA3B-730D-4F68-AFC0-BE354B525C40}"/>
                    </a:ext>
                  </a:extLst>
                </p:cNvPr>
                <p:cNvSpPr/>
                <p:nvPr/>
              </p:nvSpPr>
              <p:spPr>
                <a:xfrm>
                  <a:off x="1697473" y="2239339"/>
                  <a:ext cx="88056" cy="44028"/>
                </a:xfrm>
                <a:custGeom>
                  <a:avLst/>
                  <a:gdLst>
                    <a:gd name="connsiteX0" fmla="*/ 65051 w 88055"/>
                    <a:gd name="connsiteY0" fmla="*/ 38855 h 44027"/>
                    <a:gd name="connsiteX1" fmla="*/ 39955 w 88055"/>
                    <a:gd name="connsiteY1" fmla="*/ 36763 h 44027"/>
                    <a:gd name="connsiteX2" fmla="*/ 22344 w 88055"/>
                    <a:gd name="connsiteY2" fmla="*/ 34672 h 44027"/>
                    <a:gd name="connsiteX3" fmla="*/ 7925 w 88055"/>
                    <a:gd name="connsiteY3" fmla="*/ 30379 h 44027"/>
                    <a:gd name="connsiteX4" fmla="*/ 23885 w 88055"/>
                    <a:gd name="connsiteY4" fmla="*/ 23995 h 44027"/>
                    <a:gd name="connsiteX5" fmla="*/ 23885 w 88055"/>
                    <a:gd name="connsiteY5" fmla="*/ 17611 h 44027"/>
                    <a:gd name="connsiteX6" fmla="*/ 5283 w 88055"/>
                    <a:gd name="connsiteY6" fmla="*/ 17611 h 44027"/>
                    <a:gd name="connsiteX7" fmla="*/ 9026 w 88055"/>
                    <a:gd name="connsiteY7" fmla="*/ 12328 h 44027"/>
                    <a:gd name="connsiteX8" fmla="*/ 0 w 88055"/>
                    <a:gd name="connsiteY8" fmla="*/ 4293 h 44027"/>
                    <a:gd name="connsiteX9" fmla="*/ 17061 w 88055"/>
                    <a:gd name="connsiteY9" fmla="*/ 0 h 44027"/>
                    <a:gd name="connsiteX10" fmla="*/ 37314 w 88055"/>
                    <a:gd name="connsiteY10" fmla="*/ 9576 h 44027"/>
                    <a:gd name="connsiteX11" fmla="*/ 47990 w 88055"/>
                    <a:gd name="connsiteY11" fmla="*/ 5283 h 44027"/>
                    <a:gd name="connsiteX12" fmla="*/ 64061 w 88055"/>
                    <a:gd name="connsiteY12" fmla="*/ 17501 h 44027"/>
                    <a:gd name="connsiteX13" fmla="*/ 72096 w 88055"/>
                    <a:gd name="connsiteY13" fmla="*/ 13318 h 44027"/>
                    <a:gd name="connsiteX14" fmla="*/ 88056 w 88055"/>
                    <a:gd name="connsiteY14" fmla="*/ 25536 h 44027"/>
                    <a:gd name="connsiteX15" fmla="*/ 83763 w 88055"/>
                    <a:gd name="connsiteY15" fmla="*/ 30930 h 44027"/>
                    <a:gd name="connsiteX16" fmla="*/ 98732 w 88055"/>
                    <a:gd name="connsiteY16" fmla="*/ 45349 h 44027"/>
                    <a:gd name="connsiteX17" fmla="*/ 89156 w 88055"/>
                    <a:gd name="connsiteY17" fmla="*/ 52283 h 44027"/>
                    <a:gd name="connsiteX18" fmla="*/ 65051 w 88055"/>
                    <a:gd name="connsiteY18" fmla="*/ 38855 h 44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88055" h="44027">
                      <a:moveTo>
                        <a:pt x="65051" y="38855"/>
                      </a:moveTo>
                      <a:cubicBezTo>
                        <a:pt x="55475" y="38855"/>
                        <a:pt x="49531" y="35663"/>
                        <a:pt x="39955" y="36763"/>
                      </a:cubicBezTo>
                      <a:cubicBezTo>
                        <a:pt x="37314" y="31920"/>
                        <a:pt x="30379" y="34672"/>
                        <a:pt x="22344" y="34672"/>
                      </a:cubicBezTo>
                      <a:cubicBezTo>
                        <a:pt x="14859" y="34672"/>
                        <a:pt x="12768" y="35222"/>
                        <a:pt x="7925" y="30379"/>
                      </a:cubicBezTo>
                      <a:cubicBezTo>
                        <a:pt x="12768" y="25536"/>
                        <a:pt x="17501" y="26087"/>
                        <a:pt x="23885" y="23995"/>
                      </a:cubicBezTo>
                      <a:cubicBezTo>
                        <a:pt x="22784" y="22344"/>
                        <a:pt x="22784" y="19152"/>
                        <a:pt x="23885" y="17611"/>
                      </a:cubicBezTo>
                      <a:cubicBezTo>
                        <a:pt x="12218" y="17611"/>
                        <a:pt x="9466" y="20803"/>
                        <a:pt x="5283" y="17611"/>
                      </a:cubicBezTo>
                      <a:cubicBezTo>
                        <a:pt x="6824" y="16510"/>
                        <a:pt x="8475" y="14419"/>
                        <a:pt x="9026" y="12328"/>
                      </a:cubicBezTo>
                      <a:cubicBezTo>
                        <a:pt x="1541" y="12328"/>
                        <a:pt x="0" y="10677"/>
                        <a:pt x="0" y="4293"/>
                      </a:cubicBezTo>
                      <a:cubicBezTo>
                        <a:pt x="6384" y="3192"/>
                        <a:pt x="10677" y="0"/>
                        <a:pt x="17061" y="0"/>
                      </a:cubicBezTo>
                      <a:cubicBezTo>
                        <a:pt x="28288" y="0"/>
                        <a:pt x="30930" y="9576"/>
                        <a:pt x="37314" y="9576"/>
                      </a:cubicBezTo>
                      <a:cubicBezTo>
                        <a:pt x="41606" y="9576"/>
                        <a:pt x="43698" y="5283"/>
                        <a:pt x="47990" y="5283"/>
                      </a:cubicBezTo>
                      <a:cubicBezTo>
                        <a:pt x="58667" y="5283"/>
                        <a:pt x="58117" y="17501"/>
                        <a:pt x="64061" y="17501"/>
                      </a:cubicBezTo>
                      <a:cubicBezTo>
                        <a:pt x="67253" y="17501"/>
                        <a:pt x="68794" y="13318"/>
                        <a:pt x="72096" y="13318"/>
                      </a:cubicBezTo>
                      <a:cubicBezTo>
                        <a:pt x="79580" y="13318"/>
                        <a:pt x="85414" y="22894"/>
                        <a:pt x="88056" y="25536"/>
                      </a:cubicBezTo>
                      <a:cubicBezTo>
                        <a:pt x="86955" y="27187"/>
                        <a:pt x="84864" y="29279"/>
                        <a:pt x="83763" y="30930"/>
                      </a:cubicBezTo>
                      <a:cubicBezTo>
                        <a:pt x="88056" y="35222"/>
                        <a:pt x="98732" y="39515"/>
                        <a:pt x="98732" y="45349"/>
                      </a:cubicBezTo>
                      <a:cubicBezTo>
                        <a:pt x="98732" y="50742"/>
                        <a:pt x="93339" y="52283"/>
                        <a:pt x="89156" y="52283"/>
                      </a:cubicBezTo>
                      <a:cubicBezTo>
                        <a:pt x="76168" y="52173"/>
                        <a:pt x="77269" y="38855"/>
                        <a:pt x="65051" y="3885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15" name="Freeform: Shape 314">
                  <a:extLst>
                    <a:ext uri="{FF2B5EF4-FFF2-40B4-BE49-F238E27FC236}">
                      <a16:creationId xmlns:a16="http://schemas.microsoft.com/office/drawing/2014/main" id="{33176DE3-C601-4BF8-9896-1C1E8E5ADD2B}"/>
                    </a:ext>
                  </a:extLst>
                </p:cNvPr>
                <p:cNvSpPr/>
                <p:nvPr/>
              </p:nvSpPr>
              <p:spPr>
                <a:xfrm>
                  <a:off x="1742286" y="2284577"/>
                  <a:ext cx="11007" cy="11007"/>
                </a:xfrm>
                <a:custGeom>
                  <a:avLst/>
                  <a:gdLst>
                    <a:gd name="connsiteX0" fmla="*/ 3617 w 11006"/>
                    <a:gd name="connsiteY0" fmla="*/ 8035 h 0"/>
                    <a:gd name="connsiteX1" fmla="*/ 8460 w 11006"/>
                    <a:gd name="connsiteY1" fmla="*/ 0 h 0"/>
                    <a:gd name="connsiteX2" fmla="*/ 20678 w 11006"/>
                    <a:gd name="connsiteY2" fmla="*/ 4293 h 0"/>
                    <a:gd name="connsiteX3" fmla="*/ 3617 w 11006"/>
                    <a:gd name="connsiteY3" fmla="*/ 8035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06">
                      <a:moveTo>
                        <a:pt x="3617" y="8035"/>
                      </a:moveTo>
                      <a:cubicBezTo>
                        <a:pt x="-5959" y="8035"/>
                        <a:pt x="6259" y="0"/>
                        <a:pt x="8460" y="0"/>
                      </a:cubicBezTo>
                      <a:cubicBezTo>
                        <a:pt x="14294" y="0"/>
                        <a:pt x="15945" y="2642"/>
                        <a:pt x="20678" y="4293"/>
                      </a:cubicBezTo>
                      <a:cubicBezTo>
                        <a:pt x="18036" y="8035"/>
                        <a:pt x="11652" y="8035"/>
                        <a:pt x="3617" y="803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16" name="Freeform: Shape 315">
                  <a:extLst>
                    <a:ext uri="{FF2B5EF4-FFF2-40B4-BE49-F238E27FC236}">
                      <a16:creationId xmlns:a16="http://schemas.microsoft.com/office/drawing/2014/main" id="{6718C9E3-62D0-4743-BAC5-AB0BFE93CF09}"/>
                    </a:ext>
                  </a:extLst>
                </p:cNvPr>
                <p:cNvSpPr/>
                <p:nvPr/>
              </p:nvSpPr>
              <p:spPr>
                <a:xfrm>
                  <a:off x="1833409" y="2315617"/>
                  <a:ext cx="253160" cy="77049"/>
                </a:xfrm>
                <a:custGeom>
                  <a:avLst/>
                  <a:gdLst>
                    <a:gd name="connsiteX0" fmla="*/ 259764 w 253160"/>
                    <a:gd name="connsiteY0" fmla="*/ 54374 h 77048"/>
                    <a:gd name="connsiteX1" fmla="*/ 254371 w 253160"/>
                    <a:gd name="connsiteY1" fmla="*/ 61859 h 77048"/>
                    <a:gd name="connsiteX2" fmla="*/ 261305 w 253160"/>
                    <a:gd name="connsiteY2" fmla="*/ 62409 h 77048"/>
                    <a:gd name="connsiteX3" fmla="*/ 217057 w 253160"/>
                    <a:gd name="connsiteY3" fmla="*/ 81121 h 77048"/>
                    <a:gd name="connsiteX4" fmla="*/ 206381 w 253160"/>
                    <a:gd name="connsiteY4" fmla="*/ 73086 h 77048"/>
                    <a:gd name="connsiteX5" fmla="*/ 193062 w 253160"/>
                    <a:gd name="connsiteY5" fmla="*/ 80021 h 77048"/>
                    <a:gd name="connsiteX6" fmla="*/ 150355 w 253160"/>
                    <a:gd name="connsiteY6" fmla="*/ 80021 h 77048"/>
                    <a:gd name="connsiteX7" fmla="*/ 123718 w 253160"/>
                    <a:gd name="connsiteY7" fmla="*/ 71986 h 77048"/>
                    <a:gd name="connsiteX8" fmla="*/ 117334 w 253160"/>
                    <a:gd name="connsiteY8" fmla="*/ 71986 h 77048"/>
                    <a:gd name="connsiteX9" fmla="*/ 102475 w 253160"/>
                    <a:gd name="connsiteY9" fmla="*/ 81121 h 77048"/>
                    <a:gd name="connsiteX10" fmla="*/ 64061 w 253160"/>
                    <a:gd name="connsiteY10" fmla="*/ 57126 h 77048"/>
                    <a:gd name="connsiteX11" fmla="*/ 70445 w 253160"/>
                    <a:gd name="connsiteY11" fmla="*/ 48651 h 77048"/>
                    <a:gd name="connsiteX12" fmla="*/ 49091 w 253160"/>
                    <a:gd name="connsiteY12" fmla="*/ 21464 h 77048"/>
                    <a:gd name="connsiteX13" fmla="*/ 38414 w 253160"/>
                    <a:gd name="connsiteY13" fmla="*/ 26747 h 77048"/>
                    <a:gd name="connsiteX14" fmla="*/ 0 w 253160"/>
                    <a:gd name="connsiteY14" fmla="*/ 8035 h 77048"/>
                    <a:gd name="connsiteX15" fmla="*/ 15960 w 253160"/>
                    <a:gd name="connsiteY15" fmla="*/ 0 h 77048"/>
                    <a:gd name="connsiteX16" fmla="*/ 62299 w 253160"/>
                    <a:gd name="connsiteY16" fmla="*/ 18712 h 77048"/>
                    <a:gd name="connsiteX17" fmla="*/ 72976 w 253160"/>
                    <a:gd name="connsiteY17" fmla="*/ 14419 h 77048"/>
                    <a:gd name="connsiteX18" fmla="*/ 82552 w 253160"/>
                    <a:gd name="connsiteY18" fmla="*/ 14419 h 77048"/>
                    <a:gd name="connsiteX19" fmla="*/ 107648 w 253160"/>
                    <a:gd name="connsiteY19" fmla="*/ 30379 h 77048"/>
                    <a:gd name="connsiteX20" fmla="*/ 86295 w 253160"/>
                    <a:gd name="connsiteY20" fmla="*/ 30379 h 77048"/>
                    <a:gd name="connsiteX21" fmla="*/ 110290 w 253160"/>
                    <a:gd name="connsiteY21" fmla="*/ 42707 h 77048"/>
                    <a:gd name="connsiteX22" fmla="*/ 106547 w 253160"/>
                    <a:gd name="connsiteY22" fmla="*/ 45349 h 77048"/>
                    <a:gd name="connsiteX23" fmla="*/ 115023 w 253160"/>
                    <a:gd name="connsiteY23" fmla="*/ 47990 h 77048"/>
                    <a:gd name="connsiteX24" fmla="*/ 151896 w 253160"/>
                    <a:gd name="connsiteY24" fmla="*/ 54374 h 77048"/>
                    <a:gd name="connsiteX25" fmla="*/ 218598 w 253160"/>
                    <a:gd name="connsiteY25" fmla="*/ 41056 h 77048"/>
                    <a:gd name="connsiteX26" fmla="*/ 261305 w 253160"/>
                    <a:gd name="connsiteY26" fmla="*/ 55915 h 77048"/>
                    <a:gd name="connsiteX27" fmla="*/ 256022 w 253160"/>
                    <a:gd name="connsiteY27" fmla="*/ 57016 h 77048"/>
                    <a:gd name="connsiteX28" fmla="*/ 259764 w 253160"/>
                    <a:gd name="connsiteY28" fmla="*/ 54374 h 77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53160" h="77048">
                      <a:moveTo>
                        <a:pt x="259764" y="54374"/>
                      </a:moveTo>
                      <a:cubicBezTo>
                        <a:pt x="257563" y="55915"/>
                        <a:pt x="255472" y="58117"/>
                        <a:pt x="254371" y="61859"/>
                      </a:cubicBezTo>
                      <a:cubicBezTo>
                        <a:pt x="258113" y="62960"/>
                        <a:pt x="261305" y="62409"/>
                        <a:pt x="261305" y="62409"/>
                      </a:cubicBezTo>
                      <a:cubicBezTo>
                        <a:pt x="259764" y="81121"/>
                        <a:pt x="235769" y="81121"/>
                        <a:pt x="217057" y="81121"/>
                      </a:cubicBezTo>
                      <a:cubicBezTo>
                        <a:pt x="210123" y="81121"/>
                        <a:pt x="207481" y="76829"/>
                        <a:pt x="206381" y="73086"/>
                      </a:cubicBezTo>
                      <a:cubicBezTo>
                        <a:pt x="198896" y="74187"/>
                        <a:pt x="197795" y="76829"/>
                        <a:pt x="193062" y="80021"/>
                      </a:cubicBezTo>
                      <a:lnTo>
                        <a:pt x="150355" y="80021"/>
                      </a:lnTo>
                      <a:cubicBezTo>
                        <a:pt x="139128" y="82662"/>
                        <a:pt x="122618" y="81121"/>
                        <a:pt x="123718" y="71986"/>
                      </a:cubicBezTo>
                      <a:lnTo>
                        <a:pt x="117334" y="71986"/>
                      </a:lnTo>
                      <a:cubicBezTo>
                        <a:pt x="115243" y="74737"/>
                        <a:pt x="107208" y="81121"/>
                        <a:pt x="102475" y="81121"/>
                      </a:cubicBezTo>
                      <a:cubicBezTo>
                        <a:pt x="90697" y="81121"/>
                        <a:pt x="64061" y="67803"/>
                        <a:pt x="64061" y="57126"/>
                      </a:cubicBezTo>
                      <a:cubicBezTo>
                        <a:pt x="64061" y="53384"/>
                        <a:pt x="68353" y="49641"/>
                        <a:pt x="70445" y="48651"/>
                      </a:cubicBezTo>
                      <a:cubicBezTo>
                        <a:pt x="60868" y="39075"/>
                        <a:pt x="58117" y="30489"/>
                        <a:pt x="49091" y="21464"/>
                      </a:cubicBezTo>
                      <a:cubicBezTo>
                        <a:pt x="45899" y="24656"/>
                        <a:pt x="42707" y="26747"/>
                        <a:pt x="38414" y="26747"/>
                      </a:cubicBezTo>
                      <a:cubicBezTo>
                        <a:pt x="32581" y="26747"/>
                        <a:pt x="0" y="12878"/>
                        <a:pt x="0" y="8035"/>
                      </a:cubicBezTo>
                      <a:cubicBezTo>
                        <a:pt x="0" y="0"/>
                        <a:pt x="9576" y="0"/>
                        <a:pt x="15960" y="0"/>
                      </a:cubicBezTo>
                      <a:cubicBezTo>
                        <a:pt x="39955" y="0"/>
                        <a:pt x="44248" y="18712"/>
                        <a:pt x="62299" y="18712"/>
                      </a:cubicBezTo>
                      <a:cubicBezTo>
                        <a:pt x="67693" y="18712"/>
                        <a:pt x="70885" y="17611"/>
                        <a:pt x="72976" y="14419"/>
                      </a:cubicBezTo>
                      <a:lnTo>
                        <a:pt x="82552" y="14419"/>
                      </a:lnTo>
                      <a:cubicBezTo>
                        <a:pt x="78259" y="26747"/>
                        <a:pt x="102805" y="23555"/>
                        <a:pt x="107648" y="30379"/>
                      </a:cubicBezTo>
                      <a:lnTo>
                        <a:pt x="86295" y="30379"/>
                      </a:lnTo>
                      <a:cubicBezTo>
                        <a:pt x="89487" y="44798"/>
                        <a:pt x="102805" y="36873"/>
                        <a:pt x="110290" y="42707"/>
                      </a:cubicBezTo>
                      <a:cubicBezTo>
                        <a:pt x="109189" y="43808"/>
                        <a:pt x="106547" y="43808"/>
                        <a:pt x="106547" y="45349"/>
                      </a:cubicBezTo>
                      <a:cubicBezTo>
                        <a:pt x="106547" y="52833"/>
                        <a:pt x="112931" y="49641"/>
                        <a:pt x="115023" y="47990"/>
                      </a:cubicBezTo>
                      <a:cubicBezTo>
                        <a:pt x="127901" y="51182"/>
                        <a:pt x="138468" y="54374"/>
                        <a:pt x="151896" y="54374"/>
                      </a:cubicBezTo>
                      <a:cubicBezTo>
                        <a:pt x="181285" y="54374"/>
                        <a:pt x="190861" y="41056"/>
                        <a:pt x="218598" y="41056"/>
                      </a:cubicBezTo>
                      <a:cubicBezTo>
                        <a:pt x="239952" y="41056"/>
                        <a:pt x="253820" y="42157"/>
                        <a:pt x="261305" y="55915"/>
                      </a:cubicBezTo>
                      <a:cubicBezTo>
                        <a:pt x="260315" y="56466"/>
                        <a:pt x="257563" y="57016"/>
                        <a:pt x="256022" y="57016"/>
                      </a:cubicBezTo>
                      <a:lnTo>
                        <a:pt x="259764" y="54374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17" name="Freeform: Shape 316">
                  <a:extLst>
                    <a:ext uri="{FF2B5EF4-FFF2-40B4-BE49-F238E27FC236}">
                      <a16:creationId xmlns:a16="http://schemas.microsoft.com/office/drawing/2014/main" id="{77736E51-B15C-451E-8265-28BE7F40C693}"/>
                    </a:ext>
                  </a:extLst>
                </p:cNvPr>
                <p:cNvSpPr/>
                <p:nvPr/>
              </p:nvSpPr>
              <p:spPr>
                <a:xfrm>
                  <a:off x="1837151" y="2359315"/>
                  <a:ext cx="44028" cy="33021"/>
                </a:xfrm>
                <a:custGeom>
                  <a:avLst/>
                  <a:gdLst>
                    <a:gd name="connsiteX0" fmla="*/ 6934 w 44027"/>
                    <a:gd name="connsiteY0" fmla="*/ 12218 h 33020"/>
                    <a:gd name="connsiteX1" fmla="*/ 22894 w 44027"/>
                    <a:gd name="connsiteY1" fmla="*/ 0 h 33020"/>
                    <a:gd name="connsiteX2" fmla="*/ 45349 w 44027"/>
                    <a:gd name="connsiteY2" fmla="*/ 17611 h 33020"/>
                    <a:gd name="connsiteX3" fmla="*/ 34672 w 44027"/>
                    <a:gd name="connsiteY3" fmla="*/ 34672 h 33020"/>
                    <a:gd name="connsiteX4" fmla="*/ 0 w 44027"/>
                    <a:gd name="connsiteY4" fmla="*/ 20253 h 33020"/>
                    <a:gd name="connsiteX5" fmla="*/ 6934 w 44027"/>
                    <a:gd name="connsiteY5" fmla="*/ 12218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027" h="33020">
                      <a:moveTo>
                        <a:pt x="6934" y="12218"/>
                      </a:moveTo>
                      <a:cubicBezTo>
                        <a:pt x="12768" y="12218"/>
                        <a:pt x="10677" y="0"/>
                        <a:pt x="22894" y="0"/>
                      </a:cubicBezTo>
                      <a:cubicBezTo>
                        <a:pt x="32471" y="0"/>
                        <a:pt x="45349" y="10677"/>
                        <a:pt x="45349" y="17611"/>
                      </a:cubicBezTo>
                      <a:cubicBezTo>
                        <a:pt x="45349" y="26747"/>
                        <a:pt x="42157" y="34672"/>
                        <a:pt x="34672" y="34672"/>
                      </a:cubicBezTo>
                      <a:cubicBezTo>
                        <a:pt x="30930" y="34672"/>
                        <a:pt x="0" y="20253"/>
                        <a:pt x="0" y="20253"/>
                      </a:cubicBezTo>
                      <a:cubicBezTo>
                        <a:pt x="0" y="14969"/>
                        <a:pt x="5944" y="12218"/>
                        <a:pt x="6934" y="1221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18" name="Freeform: Shape 317">
                  <a:extLst>
                    <a:ext uri="{FF2B5EF4-FFF2-40B4-BE49-F238E27FC236}">
                      <a16:creationId xmlns:a16="http://schemas.microsoft.com/office/drawing/2014/main" id="{A9D4EBA0-0D9B-4E2A-9798-AC054BAFAA2D}"/>
                    </a:ext>
                  </a:extLst>
                </p:cNvPr>
                <p:cNvSpPr/>
                <p:nvPr/>
              </p:nvSpPr>
              <p:spPr>
                <a:xfrm>
                  <a:off x="1842435" y="2292613"/>
                  <a:ext cx="33021" cy="11007"/>
                </a:xfrm>
                <a:custGeom>
                  <a:avLst/>
                  <a:gdLst>
                    <a:gd name="connsiteX0" fmla="*/ 34672 w 33020"/>
                    <a:gd name="connsiteY0" fmla="*/ 0 h 11006"/>
                    <a:gd name="connsiteX1" fmla="*/ 41606 w 33020"/>
                    <a:gd name="connsiteY1" fmla="*/ 0 h 11006"/>
                    <a:gd name="connsiteX2" fmla="*/ 41606 w 33020"/>
                    <a:gd name="connsiteY2" fmla="*/ 6934 h 11006"/>
                    <a:gd name="connsiteX3" fmla="*/ 33571 w 33020"/>
                    <a:gd name="connsiteY3" fmla="*/ 12328 h 11006"/>
                    <a:gd name="connsiteX4" fmla="*/ 0 w 33020"/>
                    <a:gd name="connsiteY4" fmla="*/ 6494 h 11006"/>
                    <a:gd name="connsiteX5" fmla="*/ 34672 w 33020"/>
                    <a:gd name="connsiteY5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020" h="11006">
                      <a:moveTo>
                        <a:pt x="34672" y="0"/>
                      </a:moveTo>
                      <a:cubicBezTo>
                        <a:pt x="40616" y="0"/>
                        <a:pt x="36323" y="1101"/>
                        <a:pt x="41606" y="0"/>
                      </a:cubicBezTo>
                      <a:lnTo>
                        <a:pt x="41606" y="6934"/>
                      </a:lnTo>
                      <a:cubicBezTo>
                        <a:pt x="41606" y="9576"/>
                        <a:pt x="38414" y="12328"/>
                        <a:pt x="33571" y="12328"/>
                      </a:cubicBezTo>
                      <a:cubicBezTo>
                        <a:pt x="30930" y="12328"/>
                        <a:pt x="0" y="6494"/>
                        <a:pt x="0" y="6494"/>
                      </a:cubicBezTo>
                      <a:cubicBezTo>
                        <a:pt x="5393" y="1101"/>
                        <a:pt x="24546" y="0"/>
                        <a:pt x="34672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19" name="Freeform: Shape 318">
                  <a:extLst>
                    <a:ext uri="{FF2B5EF4-FFF2-40B4-BE49-F238E27FC236}">
                      <a16:creationId xmlns:a16="http://schemas.microsoft.com/office/drawing/2014/main" id="{1010486D-7894-43A1-B239-C351DF406B7E}"/>
                    </a:ext>
                  </a:extLst>
                </p:cNvPr>
                <p:cNvSpPr/>
                <p:nvPr/>
              </p:nvSpPr>
              <p:spPr>
                <a:xfrm>
                  <a:off x="1810514" y="2252546"/>
                  <a:ext cx="44028" cy="33021"/>
                </a:xfrm>
                <a:custGeom>
                  <a:avLst/>
                  <a:gdLst>
                    <a:gd name="connsiteX0" fmla="*/ 12218 w 44027"/>
                    <a:gd name="connsiteY0" fmla="*/ 33681 h 33020"/>
                    <a:gd name="connsiteX1" fmla="*/ 17611 w 44027"/>
                    <a:gd name="connsiteY1" fmla="*/ 28398 h 33020"/>
                    <a:gd name="connsiteX2" fmla="*/ 0 w 44027"/>
                    <a:gd name="connsiteY2" fmla="*/ 8035 h 33020"/>
                    <a:gd name="connsiteX3" fmla="*/ 12218 w 44027"/>
                    <a:gd name="connsiteY3" fmla="*/ 0 h 33020"/>
                    <a:gd name="connsiteX4" fmla="*/ 30930 w 44027"/>
                    <a:gd name="connsiteY4" fmla="*/ 8035 h 33020"/>
                    <a:gd name="connsiteX5" fmla="*/ 49641 w 44027"/>
                    <a:gd name="connsiteY5" fmla="*/ 20253 h 33020"/>
                    <a:gd name="connsiteX6" fmla="*/ 49641 w 44027"/>
                    <a:gd name="connsiteY6" fmla="*/ 33571 h 33020"/>
                    <a:gd name="connsiteX7" fmla="*/ 12218 w 44027"/>
                    <a:gd name="connsiteY7" fmla="*/ 33681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4027" h="33020">
                      <a:moveTo>
                        <a:pt x="12218" y="33681"/>
                      </a:moveTo>
                      <a:cubicBezTo>
                        <a:pt x="12218" y="31040"/>
                        <a:pt x="15960" y="28948"/>
                        <a:pt x="17611" y="28398"/>
                      </a:cubicBezTo>
                      <a:cubicBezTo>
                        <a:pt x="11117" y="22014"/>
                        <a:pt x="0" y="18712"/>
                        <a:pt x="0" y="8035"/>
                      </a:cubicBezTo>
                      <a:cubicBezTo>
                        <a:pt x="0" y="2752"/>
                        <a:pt x="6934" y="550"/>
                        <a:pt x="12218" y="0"/>
                      </a:cubicBezTo>
                      <a:cubicBezTo>
                        <a:pt x="13759" y="4293"/>
                        <a:pt x="24986" y="8035"/>
                        <a:pt x="30930" y="8035"/>
                      </a:cubicBezTo>
                      <a:cubicBezTo>
                        <a:pt x="30930" y="20913"/>
                        <a:pt x="49641" y="9136"/>
                        <a:pt x="49641" y="20253"/>
                      </a:cubicBezTo>
                      <a:cubicBezTo>
                        <a:pt x="49641" y="23995"/>
                        <a:pt x="47990" y="27738"/>
                        <a:pt x="49641" y="33571"/>
                      </a:cubicBezTo>
                      <a:cubicBezTo>
                        <a:pt x="30930" y="37974"/>
                        <a:pt x="12218" y="40065"/>
                        <a:pt x="12218" y="3368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20" name="Freeform: Shape 319">
                  <a:extLst>
                    <a:ext uri="{FF2B5EF4-FFF2-40B4-BE49-F238E27FC236}">
                      <a16:creationId xmlns:a16="http://schemas.microsoft.com/office/drawing/2014/main" id="{5CFAED81-869D-419D-BACE-08EDF1542743}"/>
                    </a:ext>
                  </a:extLst>
                </p:cNvPr>
                <p:cNvSpPr/>
                <p:nvPr/>
              </p:nvSpPr>
              <p:spPr>
                <a:xfrm>
                  <a:off x="1791803" y="2216639"/>
                  <a:ext cx="11007" cy="11007"/>
                </a:xfrm>
                <a:custGeom>
                  <a:avLst/>
                  <a:gdLst>
                    <a:gd name="connsiteX0" fmla="*/ 18712 w 11006"/>
                    <a:gd name="connsiteY0" fmla="*/ 245 h 0"/>
                    <a:gd name="connsiteX1" fmla="*/ 18712 w 11006"/>
                    <a:gd name="connsiteY1" fmla="*/ 10921 h 0"/>
                    <a:gd name="connsiteX2" fmla="*/ 9576 w 11006"/>
                    <a:gd name="connsiteY2" fmla="*/ 10921 h 0"/>
                    <a:gd name="connsiteX3" fmla="*/ 0 w 11006"/>
                    <a:gd name="connsiteY3" fmla="*/ 245 h 0"/>
                    <a:gd name="connsiteX4" fmla="*/ 18712 w 11006"/>
                    <a:gd name="connsiteY4" fmla="*/ 245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>
                      <a:moveTo>
                        <a:pt x="18712" y="245"/>
                      </a:moveTo>
                      <a:lnTo>
                        <a:pt x="18712" y="10921"/>
                      </a:lnTo>
                      <a:lnTo>
                        <a:pt x="9576" y="10921"/>
                      </a:lnTo>
                      <a:cubicBezTo>
                        <a:pt x="6384" y="7729"/>
                        <a:pt x="0" y="6629"/>
                        <a:pt x="0" y="245"/>
                      </a:cubicBezTo>
                      <a:cubicBezTo>
                        <a:pt x="6934" y="-306"/>
                        <a:pt x="14969" y="245"/>
                        <a:pt x="18712" y="24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21" name="Freeform: Shape 320">
                  <a:extLst>
                    <a:ext uri="{FF2B5EF4-FFF2-40B4-BE49-F238E27FC236}">
                      <a16:creationId xmlns:a16="http://schemas.microsoft.com/office/drawing/2014/main" id="{ADCAE5BF-EC9B-4322-999A-B4A2BA2F121E}"/>
                    </a:ext>
                  </a:extLst>
                </p:cNvPr>
                <p:cNvSpPr/>
                <p:nvPr/>
              </p:nvSpPr>
              <p:spPr>
                <a:xfrm>
                  <a:off x="1845076" y="2169334"/>
                  <a:ext cx="165104" cy="110070"/>
                </a:xfrm>
                <a:custGeom>
                  <a:avLst/>
                  <a:gdLst>
                    <a:gd name="connsiteX0" fmla="*/ 111060 w 165104"/>
                    <a:gd name="connsiteY0" fmla="*/ 44908 h 110069"/>
                    <a:gd name="connsiteX1" fmla="*/ 117444 w 165104"/>
                    <a:gd name="connsiteY1" fmla="*/ 44908 h 110069"/>
                    <a:gd name="connsiteX2" fmla="*/ 117444 w 165104"/>
                    <a:gd name="connsiteY2" fmla="*/ 37974 h 110069"/>
                    <a:gd name="connsiteX3" fmla="*/ 114803 w 165104"/>
                    <a:gd name="connsiteY3" fmla="*/ 34232 h 110069"/>
                    <a:gd name="connsiteX4" fmla="*/ 120196 w 165104"/>
                    <a:gd name="connsiteY4" fmla="*/ 34232 h 110069"/>
                    <a:gd name="connsiteX5" fmla="*/ 127130 w 165104"/>
                    <a:gd name="connsiteY5" fmla="*/ 43257 h 110069"/>
                    <a:gd name="connsiteX6" fmla="*/ 133514 w 165104"/>
                    <a:gd name="connsiteY6" fmla="*/ 51292 h 110069"/>
                    <a:gd name="connsiteX7" fmla="*/ 129772 w 165104"/>
                    <a:gd name="connsiteY7" fmla="*/ 59328 h 110069"/>
                    <a:gd name="connsiteX8" fmla="*/ 138798 w 165104"/>
                    <a:gd name="connsiteY8" fmla="*/ 59328 h 110069"/>
                    <a:gd name="connsiteX9" fmla="*/ 164994 w 165104"/>
                    <a:gd name="connsiteY9" fmla="*/ 66262 h 110069"/>
                    <a:gd name="connsiteX10" fmla="*/ 164444 w 165104"/>
                    <a:gd name="connsiteY10" fmla="*/ 74297 h 110069"/>
                    <a:gd name="connsiteX11" fmla="*/ 152116 w 165104"/>
                    <a:gd name="connsiteY11" fmla="*/ 76939 h 110069"/>
                    <a:gd name="connsiteX12" fmla="*/ 127020 w 165104"/>
                    <a:gd name="connsiteY12" fmla="*/ 93999 h 110069"/>
                    <a:gd name="connsiteX13" fmla="*/ 118545 w 165104"/>
                    <a:gd name="connsiteY13" fmla="*/ 83323 h 110069"/>
                    <a:gd name="connsiteX14" fmla="*/ 112161 w 165104"/>
                    <a:gd name="connsiteY14" fmla="*/ 91248 h 110069"/>
                    <a:gd name="connsiteX15" fmla="*/ 119095 w 165104"/>
                    <a:gd name="connsiteY15" fmla="*/ 101924 h 110069"/>
                    <a:gd name="connsiteX16" fmla="*/ 109519 w 165104"/>
                    <a:gd name="connsiteY16" fmla="*/ 101924 h 110069"/>
                    <a:gd name="connsiteX17" fmla="*/ 109519 w 165104"/>
                    <a:gd name="connsiteY17" fmla="*/ 108859 h 110069"/>
                    <a:gd name="connsiteX18" fmla="*/ 90257 w 165104"/>
                    <a:gd name="connsiteY18" fmla="*/ 99283 h 110069"/>
                    <a:gd name="connsiteX19" fmla="*/ 77489 w 165104"/>
                    <a:gd name="connsiteY19" fmla="*/ 111611 h 110069"/>
                    <a:gd name="connsiteX20" fmla="*/ 56135 w 165104"/>
                    <a:gd name="connsiteY20" fmla="*/ 101924 h 110069"/>
                    <a:gd name="connsiteX21" fmla="*/ 63070 w 165104"/>
                    <a:gd name="connsiteY21" fmla="*/ 98182 h 110069"/>
                    <a:gd name="connsiteX22" fmla="*/ 39075 w 165104"/>
                    <a:gd name="connsiteY22" fmla="*/ 84864 h 110069"/>
                    <a:gd name="connsiteX23" fmla="*/ 79580 w 165104"/>
                    <a:gd name="connsiteY23" fmla="*/ 74187 h 110069"/>
                    <a:gd name="connsiteX24" fmla="*/ 57676 w 165104"/>
                    <a:gd name="connsiteY24" fmla="*/ 69894 h 110069"/>
                    <a:gd name="connsiteX25" fmla="*/ 41716 w 165104"/>
                    <a:gd name="connsiteY25" fmla="*/ 74187 h 110069"/>
                    <a:gd name="connsiteX26" fmla="*/ 34232 w 165104"/>
                    <a:gd name="connsiteY26" fmla="*/ 67253 h 110069"/>
                    <a:gd name="connsiteX27" fmla="*/ 23005 w 165104"/>
                    <a:gd name="connsiteY27" fmla="*/ 71435 h 110069"/>
                    <a:gd name="connsiteX28" fmla="*/ 18712 w 165104"/>
                    <a:gd name="connsiteY28" fmla="*/ 66152 h 110069"/>
                    <a:gd name="connsiteX29" fmla="*/ 30930 w 165104"/>
                    <a:gd name="connsiteY29" fmla="*/ 59217 h 110069"/>
                    <a:gd name="connsiteX30" fmla="*/ 0 w 165104"/>
                    <a:gd name="connsiteY30" fmla="*/ 42157 h 110069"/>
                    <a:gd name="connsiteX31" fmla="*/ 8035 w 165104"/>
                    <a:gd name="connsiteY31" fmla="*/ 42157 h 110069"/>
                    <a:gd name="connsiteX32" fmla="*/ 24105 w 165104"/>
                    <a:gd name="connsiteY32" fmla="*/ 47440 h 110069"/>
                    <a:gd name="connsiteX33" fmla="*/ 28838 w 165104"/>
                    <a:gd name="connsiteY33" fmla="*/ 43147 h 110069"/>
                    <a:gd name="connsiteX34" fmla="*/ 5393 w 165104"/>
                    <a:gd name="connsiteY34" fmla="*/ 31480 h 110069"/>
                    <a:gd name="connsiteX35" fmla="*/ 17611 w 165104"/>
                    <a:gd name="connsiteY35" fmla="*/ 26197 h 110069"/>
                    <a:gd name="connsiteX36" fmla="*/ 32030 w 165104"/>
                    <a:gd name="connsiteY36" fmla="*/ 29939 h 110069"/>
                    <a:gd name="connsiteX37" fmla="*/ 37974 w 165104"/>
                    <a:gd name="connsiteY37" fmla="*/ 24546 h 110069"/>
                    <a:gd name="connsiteX38" fmla="*/ 23005 w 165104"/>
                    <a:gd name="connsiteY38" fmla="*/ 24546 h 110069"/>
                    <a:gd name="connsiteX39" fmla="*/ 16070 w 165104"/>
                    <a:gd name="connsiteY39" fmla="*/ 15960 h 110069"/>
                    <a:gd name="connsiteX40" fmla="*/ 36323 w 165104"/>
                    <a:gd name="connsiteY40" fmla="*/ 11227 h 110069"/>
                    <a:gd name="connsiteX41" fmla="*/ 45349 w 165104"/>
                    <a:gd name="connsiteY41" fmla="*/ 11227 h 110069"/>
                    <a:gd name="connsiteX42" fmla="*/ 29278 w 165104"/>
                    <a:gd name="connsiteY42" fmla="*/ 0 h 110069"/>
                    <a:gd name="connsiteX43" fmla="*/ 62960 w 165104"/>
                    <a:gd name="connsiteY43" fmla="*/ 5834 h 110069"/>
                    <a:gd name="connsiteX44" fmla="*/ 80021 w 165104"/>
                    <a:gd name="connsiteY44" fmla="*/ 28728 h 110069"/>
                    <a:gd name="connsiteX45" fmla="*/ 101374 w 165104"/>
                    <a:gd name="connsiteY45" fmla="*/ 29829 h 110069"/>
                    <a:gd name="connsiteX46" fmla="*/ 111060 w 165104"/>
                    <a:gd name="connsiteY46" fmla="*/ 44908 h 110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</a:cxnLst>
                  <a:rect l="l" t="t" r="r" b="b"/>
                  <a:pathLst>
                    <a:path w="165104" h="110069">
                      <a:moveTo>
                        <a:pt x="111060" y="44908"/>
                      </a:moveTo>
                      <a:lnTo>
                        <a:pt x="117444" y="44908"/>
                      </a:lnTo>
                      <a:lnTo>
                        <a:pt x="117444" y="37974"/>
                      </a:lnTo>
                      <a:lnTo>
                        <a:pt x="114803" y="34232"/>
                      </a:lnTo>
                      <a:lnTo>
                        <a:pt x="120196" y="34232"/>
                      </a:lnTo>
                      <a:cubicBezTo>
                        <a:pt x="127681" y="34232"/>
                        <a:pt x="127130" y="36873"/>
                        <a:pt x="127130" y="43257"/>
                      </a:cubicBezTo>
                      <a:cubicBezTo>
                        <a:pt x="127130" y="47000"/>
                        <a:pt x="133514" y="47550"/>
                        <a:pt x="133514" y="51292"/>
                      </a:cubicBezTo>
                      <a:cubicBezTo>
                        <a:pt x="133514" y="55035"/>
                        <a:pt x="129772" y="56025"/>
                        <a:pt x="129772" y="59328"/>
                      </a:cubicBezTo>
                      <a:cubicBezTo>
                        <a:pt x="129772" y="64171"/>
                        <a:pt x="137807" y="59328"/>
                        <a:pt x="138798" y="59328"/>
                      </a:cubicBezTo>
                      <a:cubicBezTo>
                        <a:pt x="144081" y="59328"/>
                        <a:pt x="157950" y="65712"/>
                        <a:pt x="164994" y="66262"/>
                      </a:cubicBezTo>
                      <a:cubicBezTo>
                        <a:pt x="164994" y="70004"/>
                        <a:pt x="166095" y="72096"/>
                        <a:pt x="164444" y="74297"/>
                      </a:cubicBezTo>
                      <a:cubicBezTo>
                        <a:pt x="162353" y="77489"/>
                        <a:pt x="156409" y="76388"/>
                        <a:pt x="152116" y="76939"/>
                      </a:cubicBezTo>
                      <a:cubicBezTo>
                        <a:pt x="141439" y="78039"/>
                        <a:pt x="134065" y="93999"/>
                        <a:pt x="127020" y="93999"/>
                      </a:cubicBezTo>
                      <a:cubicBezTo>
                        <a:pt x="120086" y="93999"/>
                        <a:pt x="120086" y="89156"/>
                        <a:pt x="118545" y="83323"/>
                      </a:cubicBezTo>
                      <a:cubicBezTo>
                        <a:pt x="115903" y="85964"/>
                        <a:pt x="114803" y="88606"/>
                        <a:pt x="112161" y="91248"/>
                      </a:cubicBezTo>
                      <a:cubicBezTo>
                        <a:pt x="115353" y="96641"/>
                        <a:pt x="117444" y="97632"/>
                        <a:pt x="119095" y="101924"/>
                      </a:cubicBezTo>
                      <a:lnTo>
                        <a:pt x="109519" y="101924"/>
                      </a:lnTo>
                      <a:lnTo>
                        <a:pt x="109519" y="108859"/>
                      </a:lnTo>
                      <a:cubicBezTo>
                        <a:pt x="104676" y="109409"/>
                        <a:pt x="95100" y="102475"/>
                        <a:pt x="90257" y="99283"/>
                      </a:cubicBezTo>
                      <a:cubicBezTo>
                        <a:pt x="90257" y="108859"/>
                        <a:pt x="85414" y="111611"/>
                        <a:pt x="77489" y="111611"/>
                      </a:cubicBezTo>
                      <a:cubicBezTo>
                        <a:pt x="69014" y="111611"/>
                        <a:pt x="57236" y="109409"/>
                        <a:pt x="56135" y="101924"/>
                      </a:cubicBezTo>
                      <a:cubicBezTo>
                        <a:pt x="59878" y="101374"/>
                        <a:pt x="61419" y="99833"/>
                        <a:pt x="63070" y="98182"/>
                      </a:cubicBezTo>
                      <a:cubicBezTo>
                        <a:pt x="53934" y="98182"/>
                        <a:pt x="39075" y="92899"/>
                        <a:pt x="39075" y="84864"/>
                      </a:cubicBezTo>
                      <a:cubicBezTo>
                        <a:pt x="39075" y="74737"/>
                        <a:pt x="72096" y="75838"/>
                        <a:pt x="79580" y="74187"/>
                      </a:cubicBezTo>
                      <a:cubicBezTo>
                        <a:pt x="71545" y="71986"/>
                        <a:pt x="65711" y="69894"/>
                        <a:pt x="57676" y="69894"/>
                      </a:cubicBezTo>
                      <a:cubicBezTo>
                        <a:pt x="49641" y="69894"/>
                        <a:pt x="48100" y="74187"/>
                        <a:pt x="41716" y="74187"/>
                      </a:cubicBezTo>
                      <a:cubicBezTo>
                        <a:pt x="36323" y="74187"/>
                        <a:pt x="35883" y="70445"/>
                        <a:pt x="34232" y="67253"/>
                      </a:cubicBezTo>
                      <a:cubicBezTo>
                        <a:pt x="28838" y="69344"/>
                        <a:pt x="27297" y="71435"/>
                        <a:pt x="23005" y="71435"/>
                      </a:cubicBezTo>
                      <a:cubicBezTo>
                        <a:pt x="19262" y="71435"/>
                        <a:pt x="18712" y="69344"/>
                        <a:pt x="18712" y="66152"/>
                      </a:cubicBezTo>
                      <a:cubicBezTo>
                        <a:pt x="24105" y="64060"/>
                        <a:pt x="27738" y="63510"/>
                        <a:pt x="30930" y="59217"/>
                      </a:cubicBezTo>
                      <a:cubicBezTo>
                        <a:pt x="12878" y="59217"/>
                        <a:pt x="1651" y="57566"/>
                        <a:pt x="0" y="42157"/>
                      </a:cubicBezTo>
                      <a:lnTo>
                        <a:pt x="8035" y="42157"/>
                      </a:lnTo>
                      <a:cubicBezTo>
                        <a:pt x="10677" y="44248"/>
                        <a:pt x="19262" y="47440"/>
                        <a:pt x="24105" y="47440"/>
                      </a:cubicBezTo>
                      <a:cubicBezTo>
                        <a:pt x="26197" y="47440"/>
                        <a:pt x="28838" y="43147"/>
                        <a:pt x="28838" y="43147"/>
                      </a:cubicBezTo>
                      <a:cubicBezTo>
                        <a:pt x="21904" y="41056"/>
                        <a:pt x="5393" y="37314"/>
                        <a:pt x="5393" y="31480"/>
                      </a:cubicBezTo>
                      <a:cubicBezTo>
                        <a:pt x="5393" y="25646"/>
                        <a:pt x="12878" y="26197"/>
                        <a:pt x="17611" y="26197"/>
                      </a:cubicBezTo>
                      <a:cubicBezTo>
                        <a:pt x="25096" y="26197"/>
                        <a:pt x="27738" y="29939"/>
                        <a:pt x="32030" y="29939"/>
                      </a:cubicBezTo>
                      <a:cubicBezTo>
                        <a:pt x="35222" y="29939"/>
                        <a:pt x="36323" y="26197"/>
                        <a:pt x="37974" y="24546"/>
                      </a:cubicBezTo>
                      <a:cubicBezTo>
                        <a:pt x="32581" y="21353"/>
                        <a:pt x="26197" y="24546"/>
                        <a:pt x="23005" y="24546"/>
                      </a:cubicBezTo>
                      <a:cubicBezTo>
                        <a:pt x="20913" y="24546"/>
                        <a:pt x="16070" y="16510"/>
                        <a:pt x="16070" y="15960"/>
                      </a:cubicBezTo>
                      <a:cubicBezTo>
                        <a:pt x="22454" y="12218"/>
                        <a:pt x="26747" y="9026"/>
                        <a:pt x="36323" y="11227"/>
                      </a:cubicBezTo>
                      <a:lnTo>
                        <a:pt x="45349" y="11227"/>
                      </a:lnTo>
                      <a:cubicBezTo>
                        <a:pt x="38965" y="8035"/>
                        <a:pt x="29939" y="7485"/>
                        <a:pt x="29278" y="0"/>
                      </a:cubicBezTo>
                      <a:cubicBezTo>
                        <a:pt x="42597" y="991"/>
                        <a:pt x="53274" y="2091"/>
                        <a:pt x="62960" y="5834"/>
                      </a:cubicBezTo>
                      <a:cubicBezTo>
                        <a:pt x="73637" y="10126"/>
                        <a:pt x="71435" y="25536"/>
                        <a:pt x="80021" y="28728"/>
                      </a:cubicBezTo>
                      <a:cubicBezTo>
                        <a:pt x="88056" y="31920"/>
                        <a:pt x="93449" y="26637"/>
                        <a:pt x="101374" y="29829"/>
                      </a:cubicBezTo>
                      <a:cubicBezTo>
                        <a:pt x="109409" y="33131"/>
                        <a:pt x="106217" y="40065"/>
                        <a:pt x="111060" y="4490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22" name="Freeform: Shape 321">
                  <a:extLst>
                    <a:ext uri="{FF2B5EF4-FFF2-40B4-BE49-F238E27FC236}">
                      <a16:creationId xmlns:a16="http://schemas.microsoft.com/office/drawing/2014/main" id="{33C2697A-C159-450F-AE16-9E5A68F874CF}"/>
                    </a:ext>
                  </a:extLst>
                </p:cNvPr>
                <p:cNvSpPr/>
                <p:nvPr/>
              </p:nvSpPr>
              <p:spPr>
                <a:xfrm>
                  <a:off x="1978481" y="2633939"/>
                  <a:ext cx="99063" cy="66042"/>
                </a:xfrm>
                <a:custGeom>
                  <a:avLst/>
                  <a:gdLst>
                    <a:gd name="connsiteX0" fmla="*/ 8035 w 99062"/>
                    <a:gd name="connsiteY0" fmla="*/ 47000 h 66041"/>
                    <a:gd name="connsiteX1" fmla="*/ 13318 w 99062"/>
                    <a:gd name="connsiteY1" fmla="*/ 40065 h 66041"/>
                    <a:gd name="connsiteX2" fmla="*/ 13318 w 99062"/>
                    <a:gd name="connsiteY2" fmla="*/ 32030 h 66041"/>
                    <a:gd name="connsiteX3" fmla="*/ 30930 w 99062"/>
                    <a:gd name="connsiteY3" fmla="*/ 0 h 66041"/>
                    <a:gd name="connsiteX4" fmla="*/ 38965 w 99062"/>
                    <a:gd name="connsiteY4" fmla="*/ 14969 h 66041"/>
                    <a:gd name="connsiteX5" fmla="*/ 43698 w 99062"/>
                    <a:gd name="connsiteY5" fmla="*/ 10677 h 66041"/>
                    <a:gd name="connsiteX6" fmla="*/ 81562 w 99062"/>
                    <a:gd name="connsiteY6" fmla="*/ 32030 h 66041"/>
                    <a:gd name="connsiteX7" fmla="*/ 85304 w 99062"/>
                    <a:gd name="connsiteY7" fmla="*/ 41606 h 66041"/>
                    <a:gd name="connsiteX8" fmla="*/ 108309 w 99062"/>
                    <a:gd name="connsiteY8" fmla="*/ 51733 h 66041"/>
                    <a:gd name="connsiteX9" fmla="*/ 90697 w 99062"/>
                    <a:gd name="connsiteY9" fmla="*/ 57566 h 66041"/>
                    <a:gd name="connsiteX10" fmla="*/ 76278 w 99062"/>
                    <a:gd name="connsiteY10" fmla="*/ 57566 h 66041"/>
                    <a:gd name="connsiteX11" fmla="*/ 56025 w 99062"/>
                    <a:gd name="connsiteY11" fmla="*/ 44248 h 66041"/>
                    <a:gd name="connsiteX12" fmla="*/ 30930 w 99062"/>
                    <a:gd name="connsiteY12" fmla="*/ 64061 h 66041"/>
                    <a:gd name="connsiteX13" fmla="*/ 26637 w 99062"/>
                    <a:gd name="connsiteY13" fmla="*/ 68353 h 66041"/>
                    <a:gd name="connsiteX14" fmla="*/ 22894 w 99062"/>
                    <a:gd name="connsiteY14" fmla="*/ 57676 h 66041"/>
                    <a:gd name="connsiteX15" fmla="*/ 0 w 99062"/>
                    <a:gd name="connsiteY15" fmla="*/ 57676 h 66041"/>
                    <a:gd name="connsiteX16" fmla="*/ 8035 w 99062"/>
                    <a:gd name="connsiteY16" fmla="*/ 47000 h 660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99062" h="66041">
                      <a:moveTo>
                        <a:pt x="8035" y="47000"/>
                      </a:moveTo>
                      <a:cubicBezTo>
                        <a:pt x="10677" y="44798"/>
                        <a:pt x="13318" y="43257"/>
                        <a:pt x="13318" y="40065"/>
                      </a:cubicBezTo>
                      <a:lnTo>
                        <a:pt x="13318" y="32030"/>
                      </a:lnTo>
                      <a:cubicBezTo>
                        <a:pt x="13318" y="22894"/>
                        <a:pt x="15960" y="1651"/>
                        <a:pt x="30930" y="0"/>
                      </a:cubicBezTo>
                      <a:cubicBezTo>
                        <a:pt x="33681" y="7925"/>
                        <a:pt x="36323" y="9576"/>
                        <a:pt x="38965" y="14969"/>
                      </a:cubicBezTo>
                      <a:cubicBezTo>
                        <a:pt x="40506" y="12878"/>
                        <a:pt x="42157" y="11777"/>
                        <a:pt x="43698" y="10677"/>
                      </a:cubicBezTo>
                      <a:cubicBezTo>
                        <a:pt x="54925" y="24546"/>
                        <a:pt x="71986" y="19152"/>
                        <a:pt x="81562" y="32030"/>
                      </a:cubicBezTo>
                      <a:cubicBezTo>
                        <a:pt x="84203" y="35773"/>
                        <a:pt x="82662" y="39515"/>
                        <a:pt x="85304" y="41606"/>
                      </a:cubicBezTo>
                      <a:cubicBezTo>
                        <a:pt x="93889" y="47990"/>
                        <a:pt x="103465" y="45349"/>
                        <a:pt x="108309" y="51733"/>
                      </a:cubicBezTo>
                      <a:cubicBezTo>
                        <a:pt x="102365" y="55475"/>
                        <a:pt x="97632" y="57566"/>
                        <a:pt x="90697" y="57566"/>
                      </a:cubicBezTo>
                      <a:lnTo>
                        <a:pt x="76278" y="57566"/>
                      </a:lnTo>
                      <a:cubicBezTo>
                        <a:pt x="76278" y="57566"/>
                        <a:pt x="59218" y="45239"/>
                        <a:pt x="56025" y="44248"/>
                      </a:cubicBezTo>
                      <a:cubicBezTo>
                        <a:pt x="56025" y="56025"/>
                        <a:pt x="38414" y="67253"/>
                        <a:pt x="30930" y="64061"/>
                      </a:cubicBezTo>
                      <a:cubicBezTo>
                        <a:pt x="29389" y="66702"/>
                        <a:pt x="29389" y="68353"/>
                        <a:pt x="26637" y="68353"/>
                      </a:cubicBezTo>
                      <a:cubicBezTo>
                        <a:pt x="20253" y="68353"/>
                        <a:pt x="21794" y="62960"/>
                        <a:pt x="22894" y="57676"/>
                      </a:cubicBezTo>
                      <a:cubicBezTo>
                        <a:pt x="14309" y="55475"/>
                        <a:pt x="4183" y="57126"/>
                        <a:pt x="0" y="57676"/>
                      </a:cubicBezTo>
                      <a:cubicBezTo>
                        <a:pt x="550" y="48651"/>
                        <a:pt x="6934" y="49641"/>
                        <a:pt x="8035" y="4700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23" name="Freeform: Shape 322">
                  <a:extLst>
                    <a:ext uri="{FF2B5EF4-FFF2-40B4-BE49-F238E27FC236}">
                      <a16:creationId xmlns:a16="http://schemas.microsoft.com/office/drawing/2014/main" id="{DD27CD89-55EA-4031-921F-669AFD02B0FB}"/>
                    </a:ext>
                  </a:extLst>
                </p:cNvPr>
                <p:cNvSpPr/>
                <p:nvPr/>
              </p:nvSpPr>
              <p:spPr>
                <a:xfrm>
                  <a:off x="2132138" y="2572953"/>
                  <a:ext cx="33021" cy="22014"/>
                </a:xfrm>
                <a:custGeom>
                  <a:avLst/>
                  <a:gdLst>
                    <a:gd name="connsiteX0" fmla="*/ 33021 w 33020"/>
                    <a:gd name="connsiteY0" fmla="*/ 14645 h 22013"/>
                    <a:gd name="connsiteX1" fmla="*/ 13318 w 33020"/>
                    <a:gd name="connsiteY1" fmla="*/ 26423 h 22013"/>
                    <a:gd name="connsiteX2" fmla="*/ 0 w 33020"/>
                    <a:gd name="connsiteY2" fmla="*/ 14645 h 22013"/>
                    <a:gd name="connsiteX3" fmla="*/ 33021 w 33020"/>
                    <a:gd name="connsiteY3" fmla="*/ 14645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020" h="22013">
                      <a:moveTo>
                        <a:pt x="33021" y="14645"/>
                      </a:moveTo>
                      <a:cubicBezTo>
                        <a:pt x="33021" y="21580"/>
                        <a:pt x="19703" y="26423"/>
                        <a:pt x="13318" y="26423"/>
                      </a:cubicBezTo>
                      <a:cubicBezTo>
                        <a:pt x="5283" y="26423"/>
                        <a:pt x="0" y="21029"/>
                        <a:pt x="0" y="14645"/>
                      </a:cubicBezTo>
                      <a:cubicBezTo>
                        <a:pt x="0" y="-6708"/>
                        <a:pt x="33021" y="-2966"/>
                        <a:pt x="33021" y="1464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24" name="Freeform: Shape 323">
                  <a:extLst>
                    <a:ext uri="{FF2B5EF4-FFF2-40B4-BE49-F238E27FC236}">
                      <a16:creationId xmlns:a16="http://schemas.microsoft.com/office/drawing/2014/main" id="{1605551B-45D4-4038-815D-6913854ACE3C}"/>
                    </a:ext>
                  </a:extLst>
                </p:cNvPr>
                <p:cNvSpPr/>
                <p:nvPr/>
              </p:nvSpPr>
              <p:spPr>
                <a:xfrm>
                  <a:off x="2033515" y="2705743"/>
                  <a:ext cx="22014" cy="11007"/>
                </a:xfrm>
                <a:custGeom>
                  <a:avLst/>
                  <a:gdLst>
                    <a:gd name="connsiteX0" fmla="*/ 11667 w 22013"/>
                    <a:gd name="connsiteY0" fmla="*/ 291 h 11006"/>
                    <a:gd name="connsiteX1" fmla="*/ 26637 w 22013"/>
                    <a:gd name="connsiteY1" fmla="*/ 2382 h 11006"/>
                    <a:gd name="connsiteX2" fmla="*/ 0 w 22013"/>
                    <a:gd name="connsiteY2" fmla="*/ 20544 h 11006"/>
                    <a:gd name="connsiteX3" fmla="*/ 0 w 22013"/>
                    <a:gd name="connsiteY3" fmla="*/ 13609 h 11006"/>
                    <a:gd name="connsiteX4" fmla="*/ 11667 w 22013"/>
                    <a:gd name="connsiteY4" fmla="*/ 291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013" h="11006">
                      <a:moveTo>
                        <a:pt x="11667" y="291"/>
                      </a:moveTo>
                      <a:cubicBezTo>
                        <a:pt x="22344" y="-259"/>
                        <a:pt x="20143" y="-259"/>
                        <a:pt x="26637" y="2382"/>
                      </a:cubicBezTo>
                      <a:cubicBezTo>
                        <a:pt x="21904" y="8766"/>
                        <a:pt x="8475" y="19443"/>
                        <a:pt x="0" y="20544"/>
                      </a:cubicBezTo>
                      <a:lnTo>
                        <a:pt x="0" y="13609"/>
                      </a:lnTo>
                      <a:cubicBezTo>
                        <a:pt x="4183" y="8216"/>
                        <a:pt x="11117" y="3483"/>
                        <a:pt x="11667" y="29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25" name="Freeform: Shape 324">
                  <a:extLst>
                    <a:ext uri="{FF2B5EF4-FFF2-40B4-BE49-F238E27FC236}">
                      <a16:creationId xmlns:a16="http://schemas.microsoft.com/office/drawing/2014/main" id="{BCC99D03-5B39-4301-B8B9-40E33A96A22F}"/>
                    </a:ext>
                  </a:extLst>
                </p:cNvPr>
                <p:cNvSpPr/>
                <p:nvPr/>
              </p:nvSpPr>
              <p:spPr>
                <a:xfrm>
                  <a:off x="2076222" y="2417872"/>
                  <a:ext cx="66042" cy="22014"/>
                </a:xfrm>
                <a:custGeom>
                  <a:avLst/>
                  <a:gdLst>
                    <a:gd name="connsiteX0" fmla="*/ 26637 w 66041"/>
                    <a:gd name="connsiteY0" fmla="*/ 31040 h 22013"/>
                    <a:gd name="connsiteX1" fmla="*/ 10677 w 66041"/>
                    <a:gd name="connsiteY1" fmla="*/ 19262 h 22013"/>
                    <a:gd name="connsiteX2" fmla="*/ 0 w 66041"/>
                    <a:gd name="connsiteY2" fmla="*/ 8035 h 22013"/>
                    <a:gd name="connsiteX3" fmla="*/ 9026 w 66041"/>
                    <a:gd name="connsiteY3" fmla="*/ 0 h 22013"/>
                    <a:gd name="connsiteX4" fmla="*/ 35663 w 66041"/>
                    <a:gd name="connsiteY4" fmla="*/ 4293 h 22013"/>
                    <a:gd name="connsiteX5" fmla="*/ 71875 w 66041"/>
                    <a:gd name="connsiteY5" fmla="*/ 20803 h 22013"/>
                    <a:gd name="connsiteX6" fmla="*/ 62189 w 66041"/>
                    <a:gd name="connsiteY6" fmla="*/ 29389 h 22013"/>
                    <a:gd name="connsiteX7" fmla="*/ 46229 w 66041"/>
                    <a:gd name="connsiteY7" fmla="*/ 25646 h 22013"/>
                    <a:gd name="connsiteX8" fmla="*/ 26637 w 66041"/>
                    <a:gd name="connsiteY8" fmla="*/ 31040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6041" h="22013">
                      <a:moveTo>
                        <a:pt x="26637" y="31040"/>
                      </a:moveTo>
                      <a:cubicBezTo>
                        <a:pt x="15960" y="31040"/>
                        <a:pt x="6824" y="28398"/>
                        <a:pt x="10677" y="19262"/>
                      </a:cubicBezTo>
                      <a:cubicBezTo>
                        <a:pt x="5834" y="16621"/>
                        <a:pt x="0" y="13869"/>
                        <a:pt x="0" y="8035"/>
                      </a:cubicBezTo>
                      <a:cubicBezTo>
                        <a:pt x="0" y="2642"/>
                        <a:pt x="4733" y="0"/>
                        <a:pt x="9026" y="0"/>
                      </a:cubicBezTo>
                      <a:cubicBezTo>
                        <a:pt x="20803" y="0"/>
                        <a:pt x="24546" y="4293"/>
                        <a:pt x="35663" y="4293"/>
                      </a:cubicBezTo>
                      <a:cubicBezTo>
                        <a:pt x="50082" y="4293"/>
                        <a:pt x="62299" y="15960"/>
                        <a:pt x="71875" y="20803"/>
                      </a:cubicBezTo>
                      <a:cubicBezTo>
                        <a:pt x="70224" y="25646"/>
                        <a:pt x="67033" y="29389"/>
                        <a:pt x="62189" y="29389"/>
                      </a:cubicBezTo>
                      <a:cubicBezTo>
                        <a:pt x="55255" y="29389"/>
                        <a:pt x="52063" y="25646"/>
                        <a:pt x="46229" y="25646"/>
                      </a:cubicBezTo>
                      <a:cubicBezTo>
                        <a:pt x="40506" y="25756"/>
                        <a:pt x="35663" y="31040"/>
                        <a:pt x="26637" y="3104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26" name="Freeform: Shape 325">
                  <a:extLst>
                    <a:ext uri="{FF2B5EF4-FFF2-40B4-BE49-F238E27FC236}">
                      <a16:creationId xmlns:a16="http://schemas.microsoft.com/office/drawing/2014/main" id="{B0C1ED0E-07CC-4B02-89AE-8B1342432ECF}"/>
                    </a:ext>
                  </a:extLst>
                </p:cNvPr>
                <p:cNvSpPr/>
                <p:nvPr/>
              </p:nvSpPr>
              <p:spPr>
                <a:xfrm>
                  <a:off x="2082496" y="2720964"/>
                  <a:ext cx="11007" cy="11007"/>
                </a:xfrm>
                <a:custGeom>
                  <a:avLst/>
                  <a:gdLst>
                    <a:gd name="connsiteX0" fmla="*/ 17611 w 11006"/>
                    <a:gd name="connsiteY0" fmla="*/ 4223 h 11006"/>
                    <a:gd name="connsiteX1" fmla="*/ 8035 w 11006"/>
                    <a:gd name="connsiteY1" fmla="*/ 16000 h 11006"/>
                    <a:gd name="connsiteX2" fmla="*/ 0 w 11006"/>
                    <a:gd name="connsiteY2" fmla="*/ 7965 h 11006"/>
                    <a:gd name="connsiteX3" fmla="*/ 17611 w 11006"/>
                    <a:gd name="connsiteY3" fmla="*/ 4223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06" h="11006">
                      <a:moveTo>
                        <a:pt x="17611" y="4223"/>
                      </a:moveTo>
                      <a:cubicBezTo>
                        <a:pt x="14419" y="8515"/>
                        <a:pt x="13318" y="16000"/>
                        <a:pt x="8035" y="16000"/>
                      </a:cubicBezTo>
                      <a:cubicBezTo>
                        <a:pt x="6934" y="16000"/>
                        <a:pt x="0" y="7965"/>
                        <a:pt x="0" y="7965"/>
                      </a:cubicBezTo>
                      <a:cubicBezTo>
                        <a:pt x="0" y="-1611"/>
                        <a:pt x="12328" y="-2161"/>
                        <a:pt x="17611" y="422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27" name="Freeform: Shape 326">
                  <a:extLst>
                    <a:ext uri="{FF2B5EF4-FFF2-40B4-BE49-F238E27FC236}">
                      <a16:creationId xmlns:a16="http://schemas.microsoft.com/office/drawing/2014/main" id="{B67ADFDA-6A2D-458F-983E-546AA5FDF24D}"/>
                    </a:ext>
                  </a:extLst>
                </p:cNvPr>
                <p:cNvSpPr/>
                <p:nvPr/>
              </p:nvSpPr>
              <p:spPr>
                <a:xfrm>
                  <a:off x="2170552" y="2575271"/>
                  <a:ext cx="11007" cy="11007"/>
                </a:xfrm>
                <a:custGeom>
                  <a:avLst/>
                  <a:gdLst>
                    <a:gd name="connsiteX0" fmla="*/ 6934 w 11006"/>
                    <a:gd name="connsiteY0" fmla="*/ 9686 h 0"/>
                    <a:gd name="connsiteX1" fmla="*/ 0 w 11006"/>
                    <a:gd name="connsiteY1" fmla="*/ 5393 h 0"/>
                    <a:gd name="connsiteX2" fmla="*/ 6934 w 11006"/>
                    <a:gd name="connsiteY2" fmla="*/ 0 h 0"/>
                    <a:gd name="connsiteX3" fmla="*/ 17611 w 11006"/>
                    <a:gd name="connsiteY3" fmla="*/ 8475 h 0"/>
                    <a:gd name="connsiteX4" fmla="*/ 6934 w 11006"/>
                    <a:gd name="connsiteY4" fmla="*/ 9686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>
                      <a:moveTo>
                        <a:pt x="6934" y="9686"/>
                      </a:moveTo>
                      <a:cubicBezTo>
                        <a:pt x="3192" y="9686"/>
                        <a:pt x="0" y="8585"/>
                        <a:pt x="0" y="5393"/>
                      </a:cubicBezTo>
                      <a:cubicBezTo>
                        <a:pt x="0" y="3742"/>
                        <a:pt x="5834" y="0"/>
                        <a:pt x="6934" y="0"/>
                      </a:cubicBezTo>
                      <a:cubicBezTo>
                        <a:pt x="11667" y="0"/>
                        <a:pt x="15960" y="6384"/>
                        <a:pt x="17611" y="8475"/>
                      </a:cubicBezTo>
                      <a:cubicBezTo>
                        <a:pt x="10677" y="10236"/>
                        <a:pt x="12218" y="9686"/>
                        <a:pt x="6934" y="9686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28" name="Freeform: Shape 327">
                  <a:extLst>
                    <a:ext uri="{FF2B5EF4-FFF2-40B4-BE49-F238E27FC236}">
                      <a16:creationId xmlns:a16="http://schemas.microsoft.com/office/drawing/2014/main" id="{28654EC2-EDDD-475E-A3DA-69E9D035B983}"/>
                    </a:ext>
                  </a:extLst>
                </p:cNvPr>
                <p:cNvSpPr/>
                <p:nvPr/>
              </p:nvSpPr>
              <p:spPr>
                <a:xfrm>
                  <a:off x="2099414" y="2544451"/>
                  <a:ext cx="11007" cy="11007"/>
                </a:xfrm>
                <a:custGeom>
                  <a:avLst/>
                  <a:gdLst>
                    <a:gd name="connsiteX0" fmla="*/ 1794 w 11006"/>
                    <a:gd name="connsiteY0" fmla="*/ 12218 h 11006"/>
                    <a:gd name="connsiteX1" fmla="*/ 14012 w 11006"/>
                    <a:gd name="connsiteY1" fmla="*/ 0 h 11006"/>
                    <a:gd name="connsiteX2" fmla="*/ 1794 w 11006"/>
                    <a:gd name="connsiteY2" fmla="*/ 12218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006" h="11006">
                      <a:moveTo>
                        <a:pt x="1794" y="12218"/>
                      </a:moveTo>
                      <a:cubicBezTo>
                        <a:pt x="-4590" y="12218"/>
                        <a:pt x="7628" y="0"/>
                        <a:pt x="14012" y="0"/>
                      </a:cubicBezTo>
                      <a:cubicBezTo>
                        <a:pt x="12471" y="6384"/>
                        <a:pt x="8178" y="12218"/>
                        <a:pt x="1794" y="1221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29" name="Freeform: Shape 328">
                  <a:extLst>
                    <a:ext uri="{FF2B5EF4-FFF2-40B4-BE49-F238E27FC236}">
                      <a16:creationId xmlns:a16="http://schemas.microsoft.com/office/drawing/2014/main" id="{E2FC78B7-6432-4FF9-A551-211AE2F939DD}"/>
                    </a:ext>
                  </a:extLst>
                </p:cNvPr>
                <p:cNvSpPr/>
                <p:nvPr/>
              </p:nvSpPr>
              <p:spPr>
                <a:xfrm>
                  <a:off x="1934453" y="2416551"/>
                  <a:ext cx="429271" cy="308195"/>
                </a:xfrm>
                <a:custGeom>
                  <a:avLst/>
                  <a:gdLst>
                    <a:gd name="connsiteX0" fmla="*/ 411000 w 429271"/>
                    <a:gd name="connsiteY0" fmla="*/ 222781 h 308194"/>
                    <a:gd name="connsiteX1" fmla="*/ 404066 w 429271"/>
                    <a:gd name="connsiteY1" fmla="*/ 237750 h 308194"/>
                    <a:gd name="connsiteX2" fmla="*/ 350682 w 429271"/>
                    <a:gd name="connsiteY2" fmla="*/ 201427 h 308194"/>
                    <a:gd name="connsiteX3" fmla="*/ 340005 w 429271"/>
                    <a:gd name="connsiteY3" fmla="*/ 207261 h 308194"/>
                    <a:gd name="connsiteX4" fmla="*/ 350682 w 429271"/>
                    <a:gd name="connsiteY4" fmla="*/ 208252 h 308194"/>
                    <a:gd name="connsiteX5" fmla="*/ 350682 w 429271"/>
                    <a:gd name="connsiteY5" fmla="*/ 214636 h 308194"/>
                    <a:gd name="connsiteX6" fmla="*/ 342647 w 429271"/>
                    <a:gd name="connsiteY6" fmla="*/ 214636 h 308194"/>
                    <a:gd name="connsiteX7" fmla="*/ 342647 w 429271"/>
                    <a:gd name="connsiteY7" fmla="*/ 222671 h 308194"/>
                    <a:gd name="connsiteX8" fmla="*/ 349581 w 429271"/>
                    <a:gd name="connsiteY8" fmla="*/ 222671 h 308194"/>
                    <a:gd name="connsiteX9" fmla="*/ 361248 w 429271"/>
                    <a:gd name="connsiteY9" fmla="*/ 242924 h 308194"/>
                    <a:gd name="connsiteX10" fmla="*/ 376218 w 429271"/>
                    <a:gd name="connsiteY10" fmla="*/ 249308 h 308194"/>
                    <a:gd name="connsiteX11" fmla="*/ 385244 w 429271"/>
                    <a:gd name="connsiteY11" fmla="*/ 249308 h 308194"/>
                    <a:gd name="connsiteX12" fmla="*/ 385244 w 429271"/>
                    <a:gd name="connsiteY12" fmla="*/ 259984 h 308194"/>
                    <a:gd name="connsiteX13" fmla="*/ 394820 w 429271"/>
                    <a:gd name="connsiteY13" fmla="*/ 272202 h 308194"/>
                    <a:gd name="connsiteX14" fmla="*/ 386785 w 429271"/>
                    <a:gd name="connsiteY14" fmla="*/ 293556 h 308194"/>
                    <a:gd name="connsiteX15" fmla="*/ 337143 w 429271"/>
                    <a:gd name="connsiteY15" fmla="*/ 272202 h 308194"/>
                    <a:gd name="connsiteX16" fmla="*/ 329108 w 429271"/>
                    <a:gd name="connsiteY16" fmla="*/ 272202 h 308194"/>
                    <a:gd name="connsiteX17" fmla="*/ 368073 w 429271"/>
                    <a:gd name="connsiteY17" fmla="*/ 309516 h 308194"/>
                    <a:gd name="connsiteX18" fmla="*/ 362789 w 429271"/>
                    <a:gd name="connsiteY18" fmla="*/ 316010 h 308194"/>
                    <a:gd name="connsiteX19" fmla="*/ 357396 w 429271"/>
                    <a:gd name="connsiteY19" fmla="*/ 309516 h 308194"/>
                    <a:gd name="connsiteX20" fmla="*/ 318431 w 429271"/>
                    <a:gd name="connsiteY20" fmla="*/ 297298 h 308194"/>
                    <a:gd name="connsiteX21" fmla="*/ 282659 w 429271"/>
                    <a:gd name="connsiteY21" fmla="*/ 273303 h 308194"/>
                    <a:gd name="connsiteX22" fmla="*/ 241052 w 429271"/>
                    <a:gd name="connsiteY22" fmla="*/ 246666 h 308194"/>
                    <a:gd name="connsiteX23" fmla="*/ 230376 w 429271"/>
                    <a:gd name="connsiteY23" fmla="*/ 254701 h 308194"/>
                    <a:gd name="connsiteX24" fmla="*/ 221350 w 429271"/>
                    <a:gd name="connsiteY24" fmla="*/ 250959 h 308194"/>
                    <a:gd name="connsiteX25" fmla="*/ 205280 w 429271"/>
                    <a:gd name="connsiteY25" fmla="*/ 258994 h 308194"/>
                    <a:gd name="connsiteX26" fmla="*/ 182385 w 429271"/>
                    <a:gd name="connsiteY26" fmla="*/ 244024 h 308194"/>
                    <a:gd name="connsiteX27" fmla="*/ 203739 w 429271"/>
                    <a:gd name="connsiteY27" fmla="*/ 229605 h 308194"/>
                    <a:gd name="connsiteX28" fmla="*/ 226743 w 429271"/>
                    <a:gd name="connsiteY28" fmla="*/ 229605 h 308194"/>
                    <a:gd name="connsiteX29" fmla="*/ 250739 w 429271"/>
                    <a:gd name="connsiteY29" fmla="*/ 222120 h 308194"/>
                    <a:gd name="connsiteX30" fmla="*/ 241162 w 429271"/>
                    <a:gd name="connsiteY30" fmla="*/ 210893 h 308194"/>
                    <a:gd name="connsiteX31" fmla="*/ 254591 w 429271"/>
                    <a:gd name="connsiteY31" fmla="*/ 202858 h 308194"/>
                    <a:gd name="connsiteX32" fmla="*/ 270551 w 429271"/>
                    <a:gd name="connsiteY32" fmla="*/ 178863 h 308194"/>
                    <a:gd name="connsiteX33" fmla="*/ 225202 w 429271"/>
                    <a:gd name="connsiteY33" fmla="*/ 138908 h 308194"/>
                    <a:gd name="connsiteX34" fmla="*/ 208142 w 429271"/>
                    <a:gd name="connsiteY34" fmla="*/ 145292 h 308194"/>
                    <a:gd name="connsiteX35" fmla="*/ 203849 w 429271"/>
                    <a:gd name="connsiteY35" fmla="*/ 138908 h 308194"/>
                    <a:gd name="connsiteX36" fmla="*/ 216617 w 429271"/>
                    <a:gd name="connsiteY36" fmla="*/ 131973 h 308194"/>
                    <a:gd name="connsiteX37" fmla="*/ 177102 w 429271"/>
                    <a:gd name="connsiteY37" fmla="*/ 102585 h 308194"/>
                    <a:gd name="connsiteX38" fmla="*/ 152006 w 429271"/>
                    <a:gd name="connsiteY38" fmla="*/ 122838 h 308194"/>
                    <a:gd name="connsiteX39" fmla="*/ 147713 w 429271"/>
                    <a:gd name="connsiteY39" fmla="*/ 110510 h 308194"/>
                    <a:gd name="connsiteX40" fmla="*/ 66592 w 429271"/>
                    <a:gd name="connsiteY40" fmla="*/ 110510 h 308194"/>
                    <a:gd name="connsiteX41" fmla="*/ 50632 w 429271"/>
                    <a:gd name="connsiteY41" fmla="*/ 99833 h 308194"/>
                    <a:gd name="connsiteX42" fmla="*/ 25096 w 429271"/>
                    <a:gd name="connsiteY42" fmla="*/ 99833 h 308194"/>
                    <a:gd name="connsiteX43" fmla="*/ 13318 w 429271"/>
                    <a:gd name="connsiteY43" fmla="*/ 83873 h 308194"/>
                    <a:gd name="connsiteX44" fmla="*/ 37314 w 429271"/>
                    <a:gd name="connsiteY44" fmla="*/ 85414 h 308194"/>
                    <a:gd name="connsiteX45" fmla="*/ 37314 w 429271"/>
                    <a:gd name="connsiteY45" fmla="*/ 78480 h 308194"/>
                    <a:gd name="connsiteX46" fmla="*/ 8035 w 429271"/>
                    <a:gd name="connsiteY46" fmla="*/ 73086 h 308194"/>
                    <a:gd name="connsiteX47" fmla="*/ 0 w 429271"/>
                    <a:gd name="connsiteY47" fmla="*/ 58667 h 308194"/>
                    <a:gd name="connsiteX48" fmla="*/ 10677 w 429271"/>
                    <a:gd name="connsiteY48" fmla="*/ 34672 h 308194"/>
                    <a:gd name="connsiteX49" fmla="*/ 14419 w 429271"/>
                    <a:gd name="connsiteY49" fmla="*/ 19702 h 308194"/>
                    <a:gd name="connsiteX50" fmla="*/ 57126 w 429271"/>
                    <a:gd name="connsiteY50" fmla="*/ 0 h 308194"/>
                    <a:gd name="connsiteX51" fmla="*/ 74737 w 429271"/>
                    <a:gd name="connsiteY51" fmla="*/ 5393 h 308194"/>
                    <a:gd name="connsiteX52" fmla="*/ 51843 w 429271"/>
                    <a:gd name="connsiteY52" fmla="*/ 33131 h 308194"/>
                    <a:gd name="connsiteX53" fmla="*/ 56135 w 429271"/>
                    <a:gd name="connsiteY53" fmla="*/ 38524 h 308194"/>
                    <a:gd name="connsiteX54" fmla="*/ 56135 w 429271"/>
                    <a:gd name="connsiteY54" fmla="*/ 48100 h 308194"/>
                    <a:gd name="connsiteX55" fmla="*/ 61529 w 429271"/>
                    <a:gd name="connsiteY55" fmla="*/ 57126 h 308194"/>
                    <a:gd name="connsiteX56" fmla="*/ 72206 w 429271"/>
                    <a:gd name="connsiteY56" fmla="*/ 46449 h 308194"/>
                    <a:gd name="connsiteX57" fmla="*/ 66812 w 429271"/>
                    <a:gd name="connsiteY57" fmla="*/ 32030 h 308194"/>
                    <a:gd name="connsiteX58" fmla="*/ 123938 w 429271"/>
                    <a:gd name="connsiteY58" fmla="*/ 5393 h 308194"/>
                    <a:gd name="connsiteX59" fmla="*/ 145292 w 429271"/>
                    <a:gd name="connsiteY59" fmla="*/ 35773 h 308194"/>
                    <a:gd name="connsiteX60" fmla="*/ 145292 w 429271"/>
                    <a:gd name="connsiteY60" fmla="*/ 46449 h 308194"/>
                    <a:gd name="connsiteX61" fmla="*/ 155969 w 429271"/>
                    <a:gd name="connsiteY61" fmla="*/ 41056 h 308194"/>
                    <a:gd name="connsiteX62" fmla="*/ 168296 w 429271"/>
                    <a:gd name="connsiteY62" fmla="*/ 46449 h 308194"/>
                    <a:gd name="connsiteX63" fmla="*/ 189650 w 429271"/>
                    <a:gd name="connsiteY63" fmla="*/ 33131 h 308194"/>
                    <a:gd name="connsiteX64" fmla="*/ 229715 w 429271"/>
                    <a:gd name="connsiteY64" fmla="*/ 41166 h 308194"/>
                    <a:gd name="connsiteX65" fmla="*/ 262846 w 429271"/>
                    <a:gd name="connsiteY65" fmla="*/ 67803 h 308194"/>
                    <a:gd name="connsiteX66" fmla="*/ 276165 w 429271"/>
                    <a:gd name="connsiteY66" fmla="*/ 67803 h 308194"/>
                    <a:gd name="connsiteX67" fmla="*/ 293776 w 429271"/>
                    <a:gd name="connsiteY67" fmla="*/ 78480 h 308194"/>
                    <a:gd name="connsiteX68" fmla="*/ 331089 w 429271"/>
                    <a:gd name="connsiteY68" fmla="*/ 93449 h 308194"/>
                    <a:gd name="connsiteX69" fmla="*/ 331089 w 429271"/>
                    <a:gd name="connsiteY69" fmla="*/ 102475 h 308194"/>
                    <a:gd name="connsiteX70" fmla="*/ 340225 w 429271"/>
                    <a:gd name="connsiteY70" fmla="*/ 102475 h 308194"/>
                    <a:gd name="connsiteX71" fmla="*/ 355195 w 429271"/>
                    <a:gd name="connsiteY71" fmla="*/ 115353 h 308194"/>
                    <a:gd name="connsiteX72" fmla="*/ 336483 w 429271"/>
                    <a:gd name="connsiteY72" fmla="*/ 122838 h 308194"/>
                    <a:gd name="connsiteX73" fmla="*/ 352553 w 429271"/>
                    <a:gd name="connsiteY73" fmla="*/ 123828 h 308194"/>
                    <a:gd name="connsiteX74" fmla="*/ 360588 w 429271"/>
                    <a:gd name="connsiteY74" fmla="*/ 128561 h 308194"/>
                    <a:gd name="connsiteX75" fmla="*/ 342977 w 429271"/>
                    <a:gd name="connsiteY75" fmla="*/ 140889 h 308194"/>
                    <a:gd name="connsiteX76" fmla="*/ 357946 w 429271"/>
                    <a:gd name="connsiteY76" fmla="*/ 145072 h 308194"/>
                    <a:gd name="connsiteX77" fmla="*/ 384583 w 429271"/>
                    <a:gd name="connsiteY77" fmla="*/ 163784 h 308194"/>
                    <a:gd name="connsiteX78" fmla="*/ 396361 w 429271"/>
                    <a:gd name="connsiteY78" fmla="*/ 182495 h 308194"/>
                    <a:gd name="connsiteX79" fmla="*/ 415072 w 429271"/>
                    <a:gd name="connsiteY79" fmla="*/ 185137 h 308194"/>
                    <a:gd name="connsiteX80" fmla="*/ 424649 w 429271"/>
                    <a:gd name="connsiteY80" fmla="*/ 187779 h 308194"/>
                    <a:gd name="connsiteX81" fmla="*/ 439068 w 429271"/>
                    <a:gd name="connsiteY81" fmla="*/ 200107 h 308194"/>
                    <a:gd name="connsiteX82" fmla="*/ 423108 w 429271"/>
                    <a:gd name="connsiteY82" fmla="*/ 209132 h 308194"/>
                    <a:gd name="connsiteX83" fmla="*/ 423108 w 429271"/>
                    <a:gd name="connsiteY83" fmla="*/ 216067 h 308194"/>
                    <a:gd name="connsiteX84" fmla="*/ 411000 w 429271"/>
                    <a:gd name="connsiteY84" fmla="*/ 222781 h 308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</a:cxnLst>
                  <a:rect l="l" t="t" r="r" b="b"/>
                  <a:pathLst>
                    <a:path w="429271" h="308194">
                      <a:moveTo>
                        <a:pt x="411000" y="222781"/>
                      </a:moveTo>
                      <a:cubicBezTo>
                        <a:pt x="411000" y="228615"/>
                        <a:pt x="409899" y="237750"/>
                        <a:pt x="404066" y="237750"/>
                      </a:cubicBezTo>
                      <a:cubicBezTo>
                        <a:pt x="377429" y="237750"/>
                        <a:pt x="376328" y="201427"/>
                        <a:pt x="350682" y="201427"/>
                      </a:cubicBezTo>
                      <a:cubicBezTo>
                        <a:pt x="347490" y="201427"/>
                        <a:pt x="340555" y="207261"/>
                        <a:pt x="340005" y="207261"/>
                      </a:cubicBezTo>
                      <a:cubicBezTo>
                        <a:pt x="344848" y="209903"/>
                        <a:pt x="345839" y="209352"/>
                        <a:pt x="350682" y="208252"/>
                      </a:cubicBezTo>
                      <a:lnTo>
                        <a:pt x="350682" y="214636"/>
                      </a:lnTo>
                      <a:cubicBezTo>
                        <a:pt x="347490" y="215736"/>
                        <a:pt x="344848" y="216287"/>
                        <a:pt x="342647" y="214636"/>
                      </a:cubicBezTo>
                      <a:lnTo>
                        <a:pt x="342647" y="222671"/>
                      </a:lnTo>
                      <a:lnTo>
                        <a:pt x="349581" y="222671"/>
                      </a:lnTo>
                      <a:cubicBezTo>
                        <a:pt x="350572" y="229605"/>
                        <a:pt x="357066" y="241383"/>
                        <a:pt x="361248" y="242924"/>
                      </a:cubicBezTo>
                      <a:cubicBezTo>
                        <a:pt x="371375" y="246666"/>
                        <a:pt x="375117" y="240172"/>
                        <a:pt x="376218" y="249308"/>
                      </a:cubicBezTo>
                      <a:lnTo>
                        <a:pt x="385244" y="249308"/>
                      </a:lnTo>
                      <a:cubicBezTo>
                        <a:pt x="384693" y="257893"/>
                        <a:pt x="384693" y="257893"/>
                        <a:pt x="385244" y="259984"/>
                      </a:cubicBezTo>
                      <a:cubicBezTo>
                        <a:pt x="385244" y="263727"/>
                        <a:pt x="394820" y="266368"/>
                        <a:pt x="394820" y="272202"/>
                      </a:cubicBezTo>
                      <a:cubicBezTo>
                        <a:pt x="394820" y="277596"/>
                        <a:pt x="388986" y="287612"/>
                        <a:pt x="386785" y="293556"/>
                      </a:cubicBezTo>
                      <a:cubicBezTo>
                        <a:pt x="377209" y="292455"/>
                        <a:pt x="342977" y="279687"/>
                        <a:pt x="337143" y="272202"/>
                      </a:cubicBezTo>
                      <a:lnTo>
                        <a:pt x="329108" y="272202"/>
                      </a:lnTo>
                      <a:cubicBezTo>
                        <a:pt x="338244" y="283429"/>
                        <a:pt x="368073" y="294656"/>
                        <a:pt x="368073" y="309516"/>
                      </a:cubicBezTo>
                      <a:cubicBezTo>
                        <a:pt x="368073" y="313258"/>
                        <a:pt x="364881" y="316010"/>
                        <a:pt x="362789" y="316010"/>
                      </a:cubicBezTo>
                      <a:cubicBezTo>
                        <a:pt x="360148" y="316010"/>
                        <a:pt x="359047" y="310176"/>
                        <a:pt x="357396" y="309516"/>
                      </a:cubicBezTo>
                      <a:cubicBezTo>
                        <a:pt x="341986" y="302031"/>
                        <a:pt x="331860" y="305223"/>
                        <a:pt x="318431" y="297298"/>
                      </a:cubicBezTo>
                      <a:cubicBezTo>
                        <a:pt x="305553" y="289813"/>
                        <a:pt x="273633" y="290364"/>
                        <a:pt x="282659" y="273303"/>
                      </a:cubicBezTo>
                      <a:cubicBezTo>
                        <a:pt x="265048" y="265818"/>
                        <a:pt x="256462" y="255692"/>
                        <a:pt x="241052" y="246666"/>
                      </a:cubicBezTo>
                      <a:cubicBezTo>
                        <a:pt x="238411" y="250408"/>
                        <a:pt x="235219" y="254701"/>
                        <a:pt x="230376" y="254701"/>
                      </a:cubicBezTo>
                      <a:cubicBezTo>
                        <a:pt x="225092" y="254701"/>
                        <a:pt x="226193" y="250959"/>
                        <a:pt x="221350" y="250959"/>
                      </a:cubicBezTo>
                      <a:cubicBezTo>
                        <a:pt x="214966" y="250959"/>
                        <a:pt x="211664" y="258994"/>
                        <a:pt x="205280" y="258994"/>
                      </a:cubicBezTo>
                      <a:cubicBezTo>
                        <a:pt x="199446" y="258994"/>
                        <a:pt x="182385" y="251509"/>
                        <a:pt x="182385" y="244024"/>
                      </a:cubicBezTo>
                      <a:cubicBezTo>
                        <a:pt x="182385" y="238741"/>
                        <a:pt x="196254" y="229605"/>
                        <a:pt x="203739" y="229605"/>
                      </a:cubicBezTo>
                      <a:lnTo>
                        <a:pt x="226743" y="229605"/>
                      </a:lnTo>
                      <a:cubicBezTo>
                        <a:pt x="231476" y="229605"/>
                        <a:pt x="244355" y="226413"/>
                        <a:pt x="250739" y="222120"/>
                      </a:cubicBezTo>
                      <a:cubicBezTo>
                        <a:pt x="248097" y="220579"/>
                        <a:pt x="241162" y="215186"/>
                        <a:pt x="241162" y="210893"/>
                      </a:cubicBezTo>
                      <a:cubicBezTo>
                        <a:pt x="241162" y="201758"/>
                        <a:pt x="250739" y="206601"/>
                        <a:pt x="254591" y="202858"/>
                      </a:cubicBezTo>
                      <a:cubicBezTo>
                        <a:pt x="259324" y="198015"/>
                        <a:pt x="270551" y="186348"/>
                        <a:pt x="270551" y="178863"/>
                      </a:cubicBezTo>
                      <a:cubicBezTo>
                        <a:pt x="270551" y="164994"/>
                        <a:pt x="236430" y="138908"/>
                        <a:pt x="225202" y="138908"/>
                      </a:cubicBezTo>
                      <a:cubicBezTo>
                        <a:pt x="218268" y="138908"/>
                        <a:pt x="215076" y="145292"/>
                        <a:pt x="208142" y="145292"/>
                      </a:cubicBezTo>
                      <a:cubicBezTo>
                        <a:pt x="206050" y="145292"/>
                        <a:pt x="203849" y="140009"/>
                        <a:pt x="203849" y="138908"/>
                      </a:cubicBezTo>
                      <a:cubicBezTo>
                        <a:pt x="203849" y="133514"/>
                        <a:pt x="213425" y="132524"/>
                        <a:pt x="216617" y="131973"/>
                      </a:cubicBezTo>
                      <a:cubicBezTo>
                        <a:pt x="211774" y="127130"/>
                        <a:pt x="183046" y="102585"/>
                        <a:pt x="177102" y="102585"/>
                      </a:cubicBezTo>
                      <a:cubicBezTo>
                        <a:pt x="170168" y="102585"/>
                        <a:pt x="161692" y="122838"/>
                        <a:pt x="152006" y="122838"/>
                      </a:cubicBezTo>
                      <a:cubicBezTo>
                        <a:pt x="145072" y="122838"/>
                        <a:pt x="147163" y="114252"/>
                        <a:pt x="147713" y="110510"/>
                      </a:cubicBezTo>
                      <a:cubicBezTo>
                        <a:pt x="131203" y="108859"/>
                        <a:pt x="90697" y="110510"/>
                        <a:pt x="66592" y="110510"/>
                      </a:cubicBezTo>
                      <a:cubicBezTo>
                        <a:pt x="62299" y="110510"/>
                        <a:pt x="53824" y="104126"/>
                        <a:pt x="50632" y="99833"/>
                      </a:cubicBezTo>
                      <a:lnTo>
                        <a:pt x="25096" y="99833"/>
                      </a:lnTo>
                      <a:cubicBezTo>
                        <a:pt x="22454" y="92348"/>
                        <a:pt x="14419" y="91358"/>
                        <a:pt x="13318" y="83873"/>
                      </a:cubicBezTo>
                      <a:cubicBezTo>
                        <a:pt x="20253" y="81121"/>
                        <a:pt x="28288" y="84423"/>
                        <a:pt x="37314" y="85414"/>
                      </a:cubicBezTo>
                      <a:lnTo>
                        <a:pt x="37314" y="78480"/>
                      </a:lnTo>
                      <a:cubicBezTo>
                        <a:pt x="32581" y="75288"/>
                        <a:pt x="8035" y="73086"/>
                        <a:pt x="8035" y="73086"/>
                      </a:cubicBezTo>
                      <a:cubicBezTo>
                        <a:pt x="8035" y="73086"/>
                        <a:pt x="0" y="63510"/>
                        <a:pt x="0" y="58667"/>
                      </a:cubicBezTo>
                      <a:cubicBezTo>
                        <a:pt x="0" y="43808"/>
                        <a:pt x="2642" y="40506"/>
                        <a:pt x="10677" y="34672"/>
                      </a:cubicBezTo>
                      <a:cubicBezTo>
                        <a:pt x="14969" y="31480"/>
                        <a:pt x="12218" y="21904"/>
                        <a:pt x="14419" y="19702"/>
                      </a:cubicBezTo>
                      <a:cubicBezTo>
                        <a:pt x="25096" y="9026"/>
                        <a:pt x="38965" y="0"/>
                        <a:pt x="57126" y="0"/>
                      </a:cubicBezTo>
                      <a:cubicBezTo>
                        <a:pt x="57126" y="0"/>
                        <a:pt x="74187" y="5393"/>
                        <a:pt x="74737" y="5393"/>
                      </a:cubicBezTo>
                      <a:cubicBezTo>
                        <a:pt x="69454" y="16620"/>
                        <a:pt x="51843" y="17721"/>
                        <a:pt x="51843" y="33131"/>
                      </a:cubicBezTo>
                      <a:cubicBezTo>
                        <a:pt x="51843" y="36323"/>
                        <a:pt x="53494" y="38524"/>
                        <a:pt x="56135" y="38524"/>
                      </a:cubicBezTo>
                      <a:cubicBezTo>
                        <a:pt x="55035" y="42267"/>
                        <a:pt x="56135" y="48100"/>
                        <a:pt x="56135" y="48100"/>
                      </a:cubicBezTo>
                      <a:cubicBezTo>
                        <a:pt x="56135" y="52393"/>
                        <a:pt x="55035" y="57126"/>
                        <a:pt x="61529" y="57126"/>
                      </a:cubicBezTo>
                      <a:cubicBezTo>
                        <a:pt x="64721" y="57126"/>
                        <a:pt x="72206" y="50742"/>
                        <a:pt x="72206" y="46449"/>
                      </a:cubicBezTo>
                      <a:cubicBezTo>
                        <a:pt x="72206" y="41056"/>
                        <a:pt x="66812" y="37424"/>
                        <a:pt x="66812" y="32030"/>
                      </a:cubicBezTo>
                      <a:cubicBezTo>
                        <a:pt x="66812" y="11667"/>
                        <a:pt x="102585" y="5393"/>
                        <a:pt x="123938" y="5393"/>
                      </a:cubicBezTo>
                      <a:cubicBezTo>
                        <a:pt x="137807" y="5393"/>
                        <a:pt x="145292" y="24105"/>
                        <a:pt x="145292" y="35773"/>
                      </a:cubicBezTo>
                      <a:cubicBezTo>
                        <a:pt x="145292" y="37864"/>
                        <a:pt x="142650" y="46449"/>
                        <a:pt x="145292" y="46449"/>
                      </a:cubicBezTo>
                      <a:cubicBezTo>
                        <a:pt x="148484" y="46449"/>
                        <a:pt x="150685" y="41056"/>
                        <a:pt x="155969" y="41056"/>
                      </a:cubicBezTo>
                      <a:cubicBezTo>
                        <a:pt x="161802" y="41056"/>
                        <a:pt x="163453" y="46449"/>
                        <a:pt x="168296" y="46449"/>
                      </a:cubicBezTo>
                      <a:cubicBezTo>
                        <a:pt x="177322" y="46449"/>
                        <a:pt x="180074" y="33131"/>
                        <a:pt x="189650" y="33131"/>
                      </a:cubicBezTo>
                      <a:cubicBezTo>
                        <a:pt x="199776" y="33131"/>
                        <a:pt x="222781" y="36323"/>
                        <a:pt x="229715" y="41166"/>
                      </a:cubicBezTo>
                      <a:cubicBezTo>
                        <a:pt x="241493" y="49641"/>
                        <a:pt x="245125" y="67803"/>
                        <a:pt x="262846" y="67803"/>
                      </a:cubicBezTo>
                      <a:lnTo>
                        <a:pt x="276165" y="67803"/>
                      </a:lnTo>
                      <a:cubicBezTo>
                        <a:pt x="281998" y="67803"/>
                        <a:pt x="295317" y="69454"/>
                        <a:pt x="293776" y="78480"/>
                      </a:cubicBezTo>
                      <a:cubicBezTo>
                        <a:pt x="308195" y="83213"/>
                        <a:pt x="316230" y="91798"/>
                        <a:pt x="331089" y="93449"/>
                      </a:cubicBezTo>
                      <a:lnTo>
                        <a:pt x="331089" y="102475"/>
                      </a:lnTo>
                      <a:lnTo>
                        <a:pt x="340225" y="102475"/>
                      </a:lnTo>
                      <a:cubicBezTo>
                        <a:pt x="347710" y="102475"/>
                        <a:pt x="352003" y="107868"/>
                        <a:pt x="355195" y="115353"/>
                      </a:cubicBezTo>
                      <a:cubicBezTo>
                        <a:pt x="347710" y="116894"/>
                        <a:pt x="340775" y="116344"/>
                        <a:pt x="336483" y="122838"/>
                      </a:cubicBezTo>
                      <a:cubicBezTo>
                        <a:pt x="345509" y="123828"/>
                        <a:pt x="347710" y="123828"/>
                        <a:pt x="352553" y="123828"/>
                      </a:cubicBezTo>
                      <a:cubicBezTo>
                        <a:pt x="355195" y="123828"/>
                        <a:pt x="358937" y="125479"/>
                        <a:pt x="360588" y="128561"/>
                      </a:cubicBezTo>
                      <a:cubicBezTo>
                        <a:pt x="352113" y="132854"/>
                        <a:pt x="347710" y="132854"/>
                        <a:pt x="342977" y="140889"/>
                      </a:cubicBezTo>
                      <a:cubicBezTo>
                        <a:pt x="347710" y="143531"/>
                        <a:pt x="351012" y="145072"/>
                        <a:pt x="357946" y="145072"/>
                      </a:cubicBezTo>
                      <a:cubicBezTo>
                        <a:pt x="359047" y="157400"/>
                        <a:pt x="373466" y="162683"/>
                        <a:pt x="384583" y="163784"/>
                      </a:cubicBezTo>
                      <a:cubicBezTo>
                        <a:pt x="385684" y="173360"/>
                        <a:pt x="388326" y="182495"/>
                        <a:pt x="396361" y="182495"/>
                      </a:cubicBezTo>
                      <a:cubicBezTo>
                        <a:pt x="408138" y="182495"/>
                        <a:pt x="410780" y="175011"/>
                        <a:pt x="415072" y="185137"/>
                      </a:cubicBezTo>
                      <a:cubicBezTo>
                        <a:pt x="417714" y="187779"/>
                        <a:pt x="422007" y="187779"/>
                        <a:pt x="424649" y="187779"/>
                      </a:cubicBezTo>
                      <a:cubicBezTo>
                        <a:pt x="434775" y="187779"/>
                        <a:pt x="439068" y="191521"/>
                        <a:pt x="439068" y="200107"/>
                      </a:cubicBezTo>
                      <a:cubicBezTo>
                        <a:pt x="439068" y="207041"/>
                        <a:pt x="430042" y="209132"/>
                        <a:pt x="423108" y="209132"/>
                      </a:cubicBezTo>
                      <a:cubicBezTo>
                        <a:pt x="423658" y="215076"/>
                        <a:pt x="423108" y="213425"/>
                        <a:pt x="423108" y="216067"/>
                      </a:cubicBezTo>
                      <a:cubicBezTo>
                        <a:pt x="422777" y="218048"/>
                        <a:pt x="421126" y="222781"/>
                        <a:pt x="411000" y="22278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30" name="Freeform: Shape 329">
                  <a:extLst>
                    <a:ext uri="{FF2B5EF4-FFF2-40B4-BE49-F238E27FC236}">
                      <a16:creationId xmlns:a16="http://schemas.microsoft.com/office/drawing/2014/main" id="{2E3D5672-20FA-4AD8-92D0-751D0445DD9A}"/>
                    </a:ext>
                  </a:extLst>
                </p:cNvPr>
                <p:cNvSpPr/>
                <p:nvPr/>
              </p:nvSpPr>
              <p:spPr>
                <a:xfrm>
                  <a:off x="2114527" y="2692492"/>
                  <a:ext cx="11007" cy="11007"/>
                </a:xfrm>
                <a:custGeom>
                  <a:avLst/>
                  <a:gdLst>
                    <a:gd name="connsiteX0" fmla="*/ 12328 w 11006"/>
                    <a:gd name="connsiteY0" fmla="*/ 3966 h 0"/>
                    <a:gd name="connsiteX1" fmla="*/ 0 w 11006"/>
                    <a:gd name="connsiteY1" fmla="*/ 3966 h 0"/>
                    <a:gd name="connsiteX2" fmla="*/ 12328 w 11006"/>
                    <a:gd name="connsiteY2" fmla="*/ 3966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006">
                      <a:moveTo>
                        <a:pt x="12328" y="3966"/>
                      </a:moveTo>
                      <a:cubicBezTo>
                        <a:pt x="6934" y="8259"/>
                        <a:pt x="5393" y="8259"/>
                        <a:pt x="0" y="3966"/>
                      </a:cubicBezTo>
                      <a:cubicBezTo>
                        <a:pt x="5283" y="-3078"/>
                        <a:pt x="5834" y="774"/>
                        <a:pt x="12328" y="3966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31" name="Freeform: Shape 330">
                  <a:extLst>
                    <a:ext uri="{FF2B5EF4-FFF2-40B4-BE49-F238E27FC236}">
                      <a16:creationId xmlns:a16="http://schemas.microsoft.com/office/drawing/2014/main" id="{0267F123-6280-48A6-B099-0E0059C0D623}"/>
                    </a:ext>
                  </a:extLst>
                </p:cNvPr>
                <p:cNvSpPr/>
                <p:nvPr/>
              </p:nvSpPr>
              <p:spPr>
                <a:xfrm>
                  <a:off x="2025433" y="2630485"/>
                  <a:ext cx="11007" cy="11007"/>
                </a:xfrm>
                <a:custGeom>
                  <a:avLst/>
                  <a:gdLst>
                    <a:gd name="connsiteX0" fmla="*/ 47 w 0"/>
                    <a:gd name="connsiteY0" fmla="*/ 811 h 0"/>
                    <a:gd name="connsiteX1" fmla="*/ 10724 w 0"/>
                    <a:gd name="connsiteY1" fmla="*/ 9396 h 0"/>
                    <a:gd name="connsiteX2" fmla="*/ 47 w 0"/>
                    <a:gd name="connsiteY2" fmla="*/ 811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>
                      <a:moveTo>
                        <a:pt x="47" y="811"/>
                      </a:moveTo>
                      <a:cubicBezTo>
                        <a:pt x="6982" y="-2381"/>
                        <a:pt x="6982" y="4553"/>
                        <a:pt x="10724" y="9396"/>
                      </a:cubicBezTo>
                      <a:cubicBezTo>
                        <a:pt x="3790" y="8846"/>
                        <a:pt x="-503" y="4553"/>
                        <a:pt x="47" y="81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32" name="Freeform: Shape 331">
                  <a:extLst>
                    <a:ext uri="{FF2B5EF4-FFF2-40B4-BE49-F238E27FC236}">
                      <a16:creationId xmlns:a16="http://schemas.microsoft.com/office/drawing/2014/main" id="{78967D67-9D8D-4AB3-AEB4-4645255E12CB}"/>
                    </a:ext>
                  </a:extLst>
                </p:cNvPr>
                <p:cNvSpPr/>
                <p:nvPr/>
              </p:nvSpPr>
              <p:spPr>
                <a:xfrm>
                  <a:off x="1908586" y="2099771"/>
                  <a:ext cx="462292" cy="242153"/>
                </a:xfrm>
                <a:custGeom>
                  <a:avLst/>
                  <a:gdLst>
                    <a:gd name="connsiteX0" fmla="*/ 380951 w 462292"/>
                    <a:gd name="connsiteY0" fmla="*/ 12548 h 242153"/>
                    <a:gd name="connsiteX1" fmla="*/ 371375 w 462292"/>
                    <a:gd name="connsiteY1" fmla="*/ 18382 h 242153"/>
                    <a:gd name="connsiteX2" fmla="*/ 414082 w 462292"/>
                    <a:gd name="connsiteY2" fmla="*/ 6164 h 242153"/>
                    <a:gd name="connsiteX3" fmla="*/ 423658 w 462292"/>
                    <a:gd name="connsiteY3" fmla="*/ 10457 h 242153"/>
                    <a:gd name="connsiteX4" fmla="*/ 432684 w 462292"/>
                    <a:gd name="connsiteY4" fmla="*/ 19482 h 242153"/>
                    <a:gd name="connsiteX5" fmla="*/ 467356 w 462292"/>
                    <a:gd name="connsiteY5" fmla="*/ 32801 h 242153"/>
                    <a:gd name="connsiteX6" fmla="*/ 454037 w 462292"/>
                    <a:gd name="connsiteY6" fmla="*/ 40726 h 242153"/>
                    <a:gd name="connsiteX7" fmla="*/ 378309 w 462292"/>
                    <a:gd name="connsiteY7" fmla="*/ 60979 h 242153"/>
                    <a:gd name="connsiteX8" fmla="*/ 418375 w 462292"/>
                    <a:gd name="connsiteY8" fmla="*/ 62630 h 242153"/>
                    <a:gd name="connsiteX9" fmla="*/ 356956 w 462292"/>
                    <a:gd name="connsiteY9" fmla="*/ 88716 h 242153"/>
                    <a:gd name="connsiteX10" fmla="*/ 307425 w 462292"/>
                    <a:gd name="connsiteY10" fmla="*/ 128671 h 242153"/>
                    <a:gd name="connsiteX11" fmla="*/ 279687 w 462292"/>
                    <a:gd name="connsiteY11" fmla="*/ 130322 h 242153"/>
                    <a:gd name="connsiteX12" fmla="*/ 246006 w 462292"/>
                    <a:gd name="connsiteY12" fmla="*/ 142100 h 242153"/>
                    <a:gd name="connsiteX13" fmla="*/ 260975 w 462292"/>
                    <a:gd name="connsiteY13" fmla="*/ 142100 h 242153"/>
                    <a:gd name="connsiteX14" fmla="*/ 245455 w 462292"/>
                    <a:gd name="connsiteY14" fmla="*/ 151676 h 242153"/>
                    <a:gd name="connsiteX15" fmla="*/ 260975 w 462292"/>
                    <a:gd name="connsiteY15" fmla="*/ 164554 h 242153"/>
                    <a:gd name="connsiteX16" fmla="*/ 236980 w 462292"/>
                    <a:gd name="connsiteY16" fmla="*/ 189100 h 242153"/>
                    <a:gd name="connsiteX17" fmla="*/ 210343 w 462292"/>
                    <a:gd name="connsiteY17" fmla="*/ 189100 h 242153"/>
                    <a:gd name="connsiteX18" fmla="*/ 214085 w 462292"/>
                    <a:gd name="connsiteY18" fmla="*/ 197135 h 242153"/>
                    <a:gd name="connsiteX19" fmla="*/ 191741 w 462292"/>
                    <a:gd name="connsiteY19" fmla="*/ 222231 h 242153"/>
                    <a:gd name="connsiteX20" fmla="*/ 205060 w 462292"/>
                    <a:gd name="connsiteY20" fmla="*/ 222231 h 242153"/>
                    <a:gd name="connsiteX21" fmla="*/ 213095 w 462292"/>
                    <a:gd name="connsiteY21" fmla="*/ 226413 h 242153"/>
                    <a:gd name="connsiteX22" fmla="*/ 170388 w 462292"/>
                    <a:gd name="connsiteY22" fmla="*/ 245125 h 242153"/>
                    <a:gd name="connsiteX23" fmla="*/ 152777 w 462292"/>
                    <a:gd name="connsiteY23" fmla="*/ 237090 h 242153"/>
                    <a:gd name="connsiteX24" fmla="*/ 112821 w 462292"/>
                    <a:gd name="connsiteY24" fmla="*/ 237090 h 242153"/>
                    <a:gd name="connsiteX25" fmla="*/ 96861 w 462292"/>
                    <a:gd name="connsiteY25" fmla="*/ 242483 h 242153"/>
                    <a:gd name="connsiteX26" fmla="*/ 46229 w 462292"/>
                    <a:gd name="connsiteY26" fmla="*/ 231807 h 242153"/>
                    <a:gd name="connsiteX27" fmla="*/ 39845 w 462292"/>
                    <a:gd name="connsiteY27" fmla="*/ 237200 h 242153"/>
                    <a:gd name="connsiteX28" fmla="*/ 34562 w 462292"/>
                    <a:gd name="connsiteY28" fmla="*/ 233017 h 242153"/>
                    <a:gd name="connsiteX29" fmla="*/ 73527 w 462292"/>
                    <a:gd name="connsiteY29" fmla="*/ 211664 h 242153"/>
                    <a:gd name="connsiteX30" fmla="*/ 55915 w 462292"/>
                    <a:gd name="connsiteY30" fmla="*/ 195594 h 242153"/>
                    <a:gd name="connsiteX31" fmla="*/ 69234 w 462292"/>
                    <a:gd name="connsiteY31" fmla="*/ 190310 h 242153"/>
                    <a:gd name="connsiteX32" fmla="*/ 102365 w 462292"/>
                    <a:gd name="connsiteY32" fmla="*/ 205280 h 242153"/>
                    <a:gd name="connsiteX33" fmla="*/ 111941 w 462292"/>
                    <a:gd name="connsiteY33" fmla="*/ 205280 h 242153"/>
                    <a:gd name="connsiteX34" fmla="*/ 87946 w 462292"/>
                    <a:gd name="connsiteY34" fmla="*/ 178643 h 242153"/>
                    <a:gd name="connsiteX35" fmla="*/ 79911 w 462292"/>
                    <a:gd name="connsiteY35" fmla="*/ 178643 h 242153"/>
                    <a:gd name="connsiteX36" fmla="*/ 74517 w 462292"/>
                    <a:gd name="connsiteY36" fmla="*/ 182385 h 242153"/>
                    <a:gd name="connsiteX37" fmla="*/ 66482 w 462292"/>
                    <a:gd name="connsiteY37" fmla="*/ 182385 h 242153"/>
                    <a:gd name="connsiteX38" fmla="*/ 66482 w 462292"/>
                    <a:gd name="connsiteY38" fmla="*/ 176001 h 242153"/>
                    <a:gd name="connsiteX39" fmla="*/ 82552 w 462292"/>
                    <a:gd name="connsiteY39" fmla="*/ 158390 h 242153"/>
                    <a:gd name="connsiteX40" fmla="*/ 111941 w 462292"/>
                    <a:gd name="connsiteY40" fmla="*/ 143971 h 242153"/>
                    <a:gd name="connsiteX41" fmla="*/ 75618 w 462292"/>
                    <a:gd name="connsiteY41" fmla="*/ 117334 h 242153"/>
                    <a:gd name="connsiteX42" fmla="*/ 88936 w 462292"/>
                    <a:gd name="connsiteY42" fmla="*/ 113041 h 242153"/>
                    <a:gd name="connsiteX43" fmla="*/ 80901 w 462292"/>
                    <a:gd name="connsiteY43" fmla="*/ 106657 h 242153"/>
                    <a:gd name="connsiteX44" fmla="*/ 88936 w 462292"/>
                    <a:gd name="connsiteY44" fmla="*/ 106657 h 242153"/>
                    <a:gd name="connsiteX45" fmla="*/ 117224 w 462292"/>
                    <a:gd name="connsiteY45" fmla="*/ 107758 h 242153"/>
                    <a:gd name="connsiteX46" fmla="*/ 150355 w 462292"/>
                    <a:gd name="connsiteY46" fmla="*/ 125810 h 242153"/>
                    <a:gd name="connsiteX47" fmla="*/ 130653 w 462292"/>
                    <a:gd name="connsiteY47" fmla="*/ 109299 h 242153"/>
                    <a:gd name="connsiteX48" fmla="*/ 134395 w 462292"/>
                    <a:gd name="connsiteY48" fmla="*/ 103906 h 242153"/>
                    <a:gd name="connsiteX49" fmla="*/ 161032 w 462292"/>
                    <a:gd name="connsiteY49" fmla="*/ 103906 h 242153"/>
                    <a:gd name="connsiteX50" fmla="*/ 186568 w 462292"/>
                    <a:gd name="connsiteY50" fmla="*/ 88936 h 242153"/>
                    <a:gd name="connsiteX51" fmla="*/ 178643 w 462292"/>
                    <a:gd name="connsiteY51" fmla="*/ 88936 h 242153"/>
                    <a:gd name="connsiteX52" fmla="*/ 138688 w 462292"/>
                    <a:gd name="connsiteY52" fmla="*/ 101264 h 242153"/>
                    <a:gd name="connsiteX53" fmla="*/ 119976 w 462292"/>
                    <a:gd name="connsiteY53" fmla="*/ 96971 h 242153"/>
                    <a:gd name="connsiteX54" fmla="*/ 109299 w 462292"/>
                    <a:gd name="connsiteY54" fmla="*/ 102365 h 242153"/>
                    <a:gd name="connsiteX55" fmla="*/ 87946 w 462292"/>
                    <a:gd name="connsiteY55" fmla="*/ 91688 h 242153"/>
                    <a:gd name="connsiteX56" fmla="*/ 81011 w 462292"/>
                    <a:gd name="connsiteY56" fmla="*/ 91688 h 242153"/>
                    <a:gd name="connsiteX57" fmla="*/ 69344 w 462292"/>
                    <a:gd name="connsiteY57" fmla="*/ 97081 h 242153"/>
                    <a:gd name="connsiteX58" fmla="*/ 39955 w 462292"/>
                    <a:gd name="connsiteY58" fmla="*/ 85854 h 242153"/>
                    <a:gd name="connsiteX59" fmla="*/ 54374 w 462292"/>
                    <a:gd name="connsiteY59" fmla="*/ 80021 h 242153"/>
                    <a:gd name="connsiteX60" fmla="*/ 29279 w 462292"/>
                    <a:gd name="connsiteY60" fmla="*/ 80021 h 242153"/>
                    <a:gd name="connsiteX61" fmla="*/ 62299 w 462292"/>
                    <a:gd name="connsiteY61" fmla="*/ 63400 h 242153"/>
                    <a:gd name="connsiteX62" fmla="*/ 51623 w 462292"/>
                    <a:gd name="connsiteY62" fmla="*/ 62299 h 242153"/>
                    <a:gd name="connsiteX63" fmla="*/ 30269 w 462292"/>
                    <a:gd name="connsiteY63" fmla="*/ 71875 h 242153"/>
                    <a:gd name="connsiteX64" fmla="*/ 20693 w 462292"/>
                    <a:gd name="connsiteY64" fmla="*/ 67583 h 242153"/>
                    <a:gd name="connsiteX65" fmla="*/ 35663 w 462292"/>
                    <a:gd name="connsiteY65" fmla="*/ 58557 h 242153"/>
                    <a:gd name="connsiteX66" fmla="*/ 19702 w 462292"/>
                    <a:gd name="connsiteY66" fmla="*/ 58557 h 242153"/>
                    <a:gd name="connsiteX67" fmla="*/ 11667 w 462292"/>
                    <a:gd name="connsiteY67" fmla="*/ 62299 h 242153"/>
                    <a:gd name="connsiteX68" fmla="*/ 0 w 462292"/>
                    <a:gd name="connsiteY68" fmla="*/ 62299 h 242153"/>
                    <a:gd name="connsiteX69" fmla="*/ 53384 w 462292"/>
                    <a:gd name="connsiteY69" fmla="*/ 42597 h 242153"/>
                    <a:gd name="connsiteX70" fmla="*/ 65161 w 462292"/>
                    <a:gd name="connsiteY70" fmla="*/ 42597 h 242153"/>
                    <a:gd name="connsiteX71" fmla="*/ 69454 w 462292"/>
                    <a:gd name="connsiteY71" fmla="*/ 38304 h 242153"/>
                    <a:gd name="connsiteX72" fmla="*/ 90807 w 462292"/>
                    <a:gd name="connsiteY72" fmla="*/ 26527 h 242153"/>
                    <a:gd name="connsiteX73" fmla="*/ 126580 w 462292"/>
                    <a:gd name="connsiteY73" fmla="*/ 38304 h 242153"/>
                    <a:gd name="connsiteX74" fmla="*/ 153217 w 462292"/>
                    <a:gd name="connsiteY74" fmla="*/ 14309 h 242153"/>
                    <a:gd name="connsiteX75" fmla="*/ 163894 w 462292"/>
                    <a:gd name="connsiteY75" fmla="*/ 13318 h 242153"/>
                    <a:gd name="connsiteX76" fmla="*/ 176111 w 462292"/>
                    <a:gd name="connsiteY76" fmla="*/ 6384 h 242153"/>
                    <a:gd name="connsiteX77" fmla="*/ 237420 w 462292"/>
                    <a:gd name="connsiteY77" fmla="*/ 6384 h 242153"/>
                    <a:gd name="connsiteX78" fmla="*/ 243804 w 462292"/>
                    <a:gd name="connsiteY78" fmla="*/ 2642 h 242153"/>
                    <a:gd name="connsiteX79" fmla="*/ 264057 w 462292"/>
                    <a:gd name="connsiteY79" fmla="*/ 9026 h 242153"/>
                    <a:gd name="connsiteX80" fmla="*/ 281228 w 462292"/>
                    <a:gd name="connsiteY80" fmla="*/ 0 h 242153"/>
                    <a:gd name="connsiteX81" fmla="*/ 297188 w 462292"/>
                    <a:gd name="connsiteY81" fmla="*/ 3742 h 242153"/>
                    <a:gd name="connsiteX82" fmla="*/ 312157 w 462292"/>
                    <a:gd name="connsiteY82" fmla="*/ 3742 h 242153"/>
                    <a:gd name="connsiteX83" fmla="*/ 380951 w 462292"/>
                    <a:gd name="connsiteY83" fmla="*/ 12548 h 2421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</a:cxnLst>
                  <a:rect l="l" t="t" r="r" b="b"/>
                  <a:pathLst>
                    <a:path w="462292" h="242153">
                      <a:moveTo>
                        <a:pt x="380951" y="12548"/>
                      </a:moveTo>
                      <a:cubicBezTo>
                        <a:pt x="377209" y="16290"/>
                        <a:pt x="375668" y="17391"/>
                        <a:pt x="371375" y="18382"/>
                      </a:cubicBezTo>
                      <a:lnTo>
                        <a:pt x="414082" y="6164"/>
                      </a:lnTo>
                      <a:cubicBezTo>
                        <a:pt x="417824" y="8255"/>
                        <a:pt x="419915" y="9356"/>
                        <a:pt x="423658" y="10457"/>
                      </a:cubicBezTo>
                      <a:cubicBezTo>
                        <a:pt x="429492" y="11998"/>
                        <a:pt x="429492" y="16290"/>
                        <a:pt x="432684" y="19482"/>
                      </a:cubicBezTo>
                      <a:cubicBezTo>
                        <a:pt x="439068" y="25866"/>
                        <a:pt x="467356" y="23225"/>
                        <a:pt x="467356" y="32801"/>
                      </a:cubicBezTo>
                      <a:cubicBezTo>
                        <a:pt x="467356" y="39735"/>
                        <a:pt x="457779" y="38084"/>
                        <a:pt x="454037" y="40726"/>
                      </a:cubicBezTo>
                      <a:cubicBezTo>
                        <a:pt x="432684" y="56796"/>
                        <a:pt x="406597" y="47110"/>
                        <a:pt x="378309" y="60979"/>
                      </a:cubicBezTo>
                      <a:cubicBezTo>
                        <a:pt x="383593" y="66372"/>
                        <a:pt x="404946" y="62079"/>
                        <a:pt x="418375" y="62630"/>
                      </a:cubicBezTo>
                      <a:cubicBezTo>
                        <a:pt x="406157" y="74847"/>
                        <a:pt x="376218" y="82332"/>
                        <a:pt x="356956" y="88716"/>
                      </a:cubicBezTo>
                      <a:cubicBezTo>
                        <a:pt x="335602" y="95650"/>
                        <a:pt x="323385" y="117004"/>
                        <a:pt x="307425" y="128671"/>
                      </a:cubicBezTo>
                      <a:cubicBezTo>
                        <a:pt x="299940" y="134065"/>
                        <a:pt x="288162" y="127681"/>
                        <a:pt x="279687" y="130322"/>
                      </a:cubicBezTo>
                      <a:cubicBezTo>
                        <a:pt x="267909" y="134065"/>
                        <a:pt x="254591" y="135055"/>
                        <a:pt x="246006" y="142100"/>
                      </a:cubicBezTo>
                      <a:lnTo>
                        <a:pt x="260975" y="142100"/>
                      </a:lnTo>
                      <a:cubicBezTo>
                        <a:pt x="261966" y="153877"/>
                        <a:pt x="255582" y="152777"/>
                        <a:pt x="245455" y="151676"/>
                      </a:cubicBezTo>
                      <a:cubicBezTo>
                        <a:pt x="251839" y="154868"/>
                        <a:pt x="257673" y="157069"/>
                        <a:pt x="260975" y="164554"/>
                      </a:cubicBezTo>
                      <a:cubicBezTo>
                        <a:pt x="249748" y="169947"/>
                        <a:pt x="246006" y="182716"/>
                        <a:pt x="236980" y="189100"/>
                      </a:cubicBezTo>
                      <a:lnTo>
                        <a:pt x="210343" y="189100"/>
                      </a:lnTo>
                      <a:cubicBezTo>
                        <a:pt x="211334" y="192842"/>
                        <a:pt x="214085" y="193943"/>
                        <a:pt x="214085" y="197135"/>
                      </a:cubicBezTo>
                      <a:cubicBezTo>
                        <a:pt x="214085" y="214195"/>
                        <a:pt x="191741" y="204069"/>
                        <a:pt x="191741" y="222231"/>
                      </a:cubicBezTo>
                      <a:lnTo>
                        <a:pt x="205060" y="222231"/>
                      </a:lnTo>
                      <a:cubicBezTo>
                        <a:pt x="206711" y="222231"/>
                        <a:pt x="213095" y="221680"/>
                        <a:pt x="213095" y="226413"/>
                      </a:cubicBezTo>
                      <a:cubicBezTo>
                        <a:pt x="213095" y="235439"/>
                        <a:pt x="182716" y="245125"/>
                        <a:pt x="170388" y="245125"/>
                      </a:cubicBezTo>
                      <a:cubicBezTo>
                        <a:pt x="158060" y="245125"/>
                        <a:pt x="163453" y="237090"/>
                        <a:pt x="152777" y="237090"/>
                      </a:cubicBezTo>
                      <a:lnTo>
                        <a:pt x="112821" y="237090"/>
                      </a:lnTo>
                      <a:cubicBezTo>
                        <a:pt x="107978" y="237090"/>
                        <a:pt x="104786" y="242483"/>
                        <a:pt x="96861" y="242483"/>
                      </a:cubicBezTo>
                      <a:cubicBezTo>
                        <a:pt x="79250" y="242483"/>
                        <a:pt x="64941" y="237640"/>
                        <a:pt x="46229" y="231807"/>
                      </a:cubicBezTo>
                      <a:cubicBezTo>
                        <a:pt x="44578" y="234448"/>
                        <a:pt x="42487" y="237200"/>
                        <a:pt x="39845" y="237200"/>
                      </a:cubicBezTo>
                      <a:cubicBezTo>
                        <a:pt x="36103" y="237200"/>
                        <a:pt x="34562" y="234558"/>
                        <a:pt x="34562" y="233017"/>
                      </a:cubicBezTo>
                      <a:cubicBezTo>
                        <a:pt x="34562" y="211664"/>
                        <a:pt x="62299" y="219589"/>
                        <a:pt x="73527" y="211664"/>
                      </a:cubicBezTo>
                      <a:cubicBezTo>
                        <a:pt x="67142" y="206931"/>
                        <a:pt x="55915" y="205280"/>
                        <a:pt x="55915" y="195594"/>
                      </a:cubicBezTo>
                      <a:cubicBezTo>
                        <a:pt x="55915" y="188109"/>
                        <a:pt x="63950" y="190310"/>
                        <a:pt x="69234" y="190310"/>
                      </a:cubicBezTo>
                      <a:cubicBezTo>
                        <a:pt x="86295" y="190310"/>
                        <a:pt x="92128" y="199336"/>
                        <a:pt x="102365" y="205280"/>
                      </a:cubicBezTo>
                      <a:lnTo>
                        <a:pt x="111941" y="205280"/>
                      </a:lnTo>
                      <a:cubicBezTo>
                        <a:pt x="104456" y="197795"/>
                        <a:pt x="87946" y="191411"/>
                        <a:pt x="87946" y="178643"/>
                      </a:cubicBezTo>
                      <a:lnTo>
                        <a:pt x="79911" y="178643"/>
                      </a:lnTo>
                      <a:cubicBezTo>
                        <a:pt x="76719" y="180294"/>
                        <a:pt x="76719" y="180294"/>
                        <a:pt x="74517" y="182385"/>
                      </a:cubicBezTo>
                      <a:lnTo>
                        <a:pt x="66482" y="182385"/>
                      </a:lnTo>
                      <a:lnTo>
                        <a:pt x="66482" y="176001"/>
                      </a:lnTo>
                      <a:cubicBezTo>
                        <a:pt x="70775" y="166866"/>
                        <a:pt x="74517" y="161032"/>
                        <a:pt x="82552" y="158390"/>
                      </a:cubicBezTo>
                      <a:cubicBezTo>
                        <a:pt x="95871" y="154208"/>
                        <a:pt x="111941" y="158941"/>
                        <a:pt x="111941" y="143971"/>
                      </a:cubicBezTo>
                      <a:cubicBezTo>
                        <a:pt x="111941" y="126910"/>
                        <a:pt x="75618" y="126910"/>
                        <a:pt x="75618" y="117334"/>
                      </a:cubicBezTo>
                      <a:cubicBezTo>
                        <a:pt x="75618" y="111941"/>
                        <a:pt x="83653" y="113041"/>
                        <a:pt x="88936" y="113041"/>
                      </a:cubicBezTo>
                      <a:cubicBezTo>
                        <a:pt x="83103" y="113041"/>
                        <a:pt x="82112" y="110950"/>
                        <a:pt x="80901" y="106657"/>
                      </a:cubicBezTo>
                      <a:cubicBezTo>
                        <a:pt x="83653" y="105557"/>
                        <a:pt x="86295" y="106657"/>
                        <a:pt x="88936" y="106657"/>
                      </a:cubicBezTo>
                      <a:cubicBezTo>
                        <a:pt x="94880" y="106657"/>
                        <a:pt x="106547" y="104456"/>
                        <a:pt x="117224" y="107758"/>
                      </a:cubicBezTo>
                      <a:cubicBezTo>
                        <a:pt x="130543" y="112051"/>
                        <a:pt x="135386" y="127461"/>
                        <a:pt x="150355" y="125810"/>
                      </a:cubicBezTo>
                      <a:cubicBezTo>
                        <a:pt x="147603" y="123168"/>
                        <a:pt x="130653" y="112491"/>
                        <a:pt x="130653" y="109299"/>
                      </a:cubicBezTo>
                      <a:cubicBezTo>
                        <a:pt x="130653" y="107098"/>
                        <a:pt x="133294" y="105557"/>
                        <a:pt x="134395" y="103906"/>
                      </a:cubicBezTo>
                      <a:lnTo>
                        <a:pt x="161032" y="103906"/>
                      </a:lnTo>
                      <a:cubicBezTo>
                        <a:pt x="171158" y="99613"/>
                        <a:pt x="180184" y="96971"/>
                        <a:pt x="186568" y="88936"/>
                      </a:cubicBezTo>
                      <a:lnTo>
                        <a:pt x="178643" y="88936"/>
                      </a:lnTo>
                      <a:cubicBezTo>
                        <a:pt x="167966" y="97412"/>
                        <a:pt x="155638" y="101264"/>
                        <a:pt x="138688" y="101264"/>
                      </a:cubicBezTo>
                      <a:cubicBezTo>
                        <a:pt x="128561" y="101264"/>
                        <a:pt x="125369" y="96971"/>
                        <a:pt x="119976" y="96971"/>
                      </a:cubicBezTo>
                      <a:cubicBezTo>
                        <a:pt x="115683" y="96971"/>
                        <a:pt x="113592" y="102365"/>
                        <a:pt x="109299" y="102365"/>
                      </a:cubicBezTo>
                      <a:cubicBezTo>
                        <a:pt x="98622" y="102365"/>
                        <a:pt x="84754" y="98622"/>
                        <a:pt x="87946" y="91688"/>
                      </a:cubicBezTo>
                      <a:lnTo>
                        <a:pt x="81011" y="91688"/>
                      </a:lnTo>
                      <a:cubicBezTo>
                        <a:pt x="77269" y="94330"/>
                        <a:pt x="74077" y="97081"/>
                        <a:pt x="69344" y="97081"/>
                      </a:cubicBezTo>
                      <a:cubicBezTo>
                        <a:pt x="58667" y="97081"/>
                        <a:pt x="43808" y="90697"/>
                        <a:pt x="39955" y="85854"/>
                      </a:cubicBezTo>
                      <a:cubicBezTo>
                        <a:pt x="43698" y="83213"/>
                        <a:pt x="47440" y="80571"/>
                        <a:pt x="54374" y="80021"/>
                      </a:cubicBezTo>
                      <a:cubicBezTo>
                        <a:pt x="44248" y="80021"/>
                        <a:pt x="33571" y="79470"/>
                        <a:pt x="29279" y="80021"/>
                      </a:cubicBezTo>
                      <a:cubicBezTo>
                        <a:pt x="35112" y="66152"/>
                        <a:pt x="48431" y="67693"/>
                        <a:pt x="62299" y="63400"/>
                      </a:cubicBezTo>
                      <a:cubicBezTo>
                        <a:pt x="57566" y="62299"/>
                        <a:pt x="55915" y="62299"/>
                        <a:pt x="51623" y="62299"/>
                      </a:cubicBezTo>
                      <a:cubicBezTo>
                        <a:pt x="40946" y="62299"/>
                        <a:pt x="40396" y="71875"/>
                        <a:pt x="30269" y="71875"/>
                      </a:cubicBezTo>
                      <a:cubicBezTo>
                        <a:pt x="27627" y="71875"/>
                        <a:pt x="21684" y="68133"/>
                        <a:pt x="20693" y="67583"/>
                      </a:cubicBezTo>
                      <a:cubicBezTo>
                        <a:pt x="26087" y="62189"/>
                        <a:pt x="29279" y="60648"/>
                        <a:pt x="35663" y="58557"/>
                      </a:cubicBezTo>
                      <a:lnTo>
                        <a:pt x="19702" y="58557"/>
                      </a:lnTo>
                      <a:cubicBezTo>
                        <a:pt x="16510" y="59658"/>
                        <a:pt x="13318" y="61199"/>
                        <a:pt x="11667" y="62299"/>
                      </a:cubicBezTo>
                      <a:lnTo>
                        <a:pt x="0" y="62299"/>
                      </a:lnTo>
                      <a:cubicBezTo>
                        <a:pt x="3192" y="48981"/>
                        <a:pt x="37864" y="42597"/>
                        <a:pt x="53384" y="42597"/>
                      </a:cubicBezTo>
                      <a:lnTo>
                        <a:pt x="65161" y="42597"/>
                      </a:lnTo>
                      <a:cubicBezTo>
                        <a:pt x="67253" y="42597"/>
                        <a:pt x="69454" y="40396"/>
                        <a:pt x="69454" y="38304"/>
                      </a:cubicBezTo>
                      <a:cubicBezTo>
                        <a:pt x="86515" y="38304"/>
                        <a:pt x="79580" y="26527"/>
                        <a:pt x="90807" y="26527"/>
                      </a:cubicBezTo>
                      <a:cubicBezTo>
                        <a:pt x="100934" y="26527"/>
                        <a:pt x="121737" y="36653"/>
                        <a:pt x="126580" y="38304"/>
                      </a:cubicBezTo>
                      <a:cubicBezTo>
                        <a:pt x="131313" y="25536"/>
                        <a:pt x="137807" y="14309"/>
                        <a:pt x="153217" y="14309"/>
                      </a:cubicBezTo>
                      <a:cubicBezTo>
                        <a:pt x="162353" y="14309"/>
                        <a:pt x="156959" y="19152"/>
                        <a:pt x="163894" y="13318"/>
                      </a:cubicBezTo>
                      <a:cubicBezTo>
                        <a:pt x="166535" y="7925"/>
                        <a:pt x="170828" y="6384"/>
                        <a:pt x="176111" y="6384"/>
                      </a:cubicBezTo>
                      <a:lnTo>
                        <a:pt x="237420" y="6384"/>
                      </a:lnTo>
                      <a:cubicBezTo>
                        <a:pt x="238521" y="4183"/>
                        <a:pt x="241163" y="2642"/>
                        <a:pt x="243804" y="2642"/>
                      </a:cubicBezTo>
                      <a:cubicBezTo>
                        <a:pt x="253490" y="2642"/>
                        <a:pt x="256132" y="9026"/>
                        <a:pt x="264057" y="9026"/>
                      </a:cubicBezTo>
                      <a:cubicBezTo>
                        <a:pt x="271542" y="9026"/>
                        <a:pt x="273743" y="0"/>
                        <a:pt x="281228" y="0"/>
                      </a:cubicBezTo>
                      <a:cubicBezTo>
                        <a:pt x="289153" y="0"/>
                        <a:pt x="292345" y="3742"/>
                        <a:pt x="297188" y="3742"/>
                      </a:cubicBezTo>
                      <a:lnTo>
                        <a:pt x="312157" y="3742"/>
                      </a:lnTo>
                      <a:cubicBezTo>
                        <a:pt x="324375" y="3522"/>
                        <a:pt x="370274" y="1871"/>
                        <a:pt x="380951" y="1254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33" name="Freeform: Shape 332">
                  <a:extLst>
                    <a:ext uri="{FF2B5EF4-FFF2-40B4-BE49-F238E27FC236}">
                      <a16:creationId xmlns:a16="http://schemas.microsoft.com/office/drawing/2014/main" id="{A9BAB09C-9BCF-49EB-8AD8-7FC2265373C5}"/>
                    </a:ext>
                  </a:extLst>
                </p:cNvPr>
                <p:cNvSpPr/>
                <p:nvPr/>
              </p:nvSpPr>
              <p:spPr>
                <a:xfrm>
                  <a:off x="2201151" y="2076546"/>
                  <a:ext cx="913578" cy="693438"/>
                </a:xfrm>
                <a:custGeom>
                  <a:avLst/>
                  <a:gdLst>
                    <a:gd name="connsiteX0" fmla="*/ 308085 w 913577"/>
                    <a:gd name="connsiteY0" fmla="*/ 487058 h 693438"/>
                    <a:gd name="connsiteX1" fmla="*/ 323054 w 913577"/>
                    <a:gd name="connsiteY1" fmla="*/ 485957 h 693438"/>
                    <a:gd name="connsiteX2" fmla="*/ 339014 w 913577"/>
                    <a:gd name="connsiteY2" fmla="*/ 449634 h 693438"/>
                    <a:gd name="connsiteX3" fmla="*/ 281448 w 913577"/>
                    <a:gd name="connsiteY3" fmla="*/ 426740 h 693438"/>
                    <a:gd name="connsiteX4" fmla="*/ 291024 w 913577"/>
                    <a:gd name="connsiteY4" fmla="*/ 426740 h 693438"/>
                    <a:gd name="connsiteX5" fmla="*/ 323054 w 913577"/>
                    <a:gd name="connsiteY5" fmla="*/ 434775 h 693438"/>
                    <a:gd name="connsiteX6" fmla="*/ 328338 w 913577"/>
                    <a:gd name="connsiteY6" fmla="*/ 426740 h 693438"/>
                    <a:gd name="connsiteX7" fmla="*/ 289373 w 913577"/>
                    <a:gd name="connsiteY7" fmla="*/ 396361 h 693438"/>
                    <a:gd name="connsiteX8" fmla="*/ 276055 w 913577"/>
                    <a:gd name="connsiteY8" fmla="*/ 405386 h 693438"/>
                    <a:gd name="connsiteX9" fmla="*/ 261636 w 913577"/>
                    <a:gd name="connsiteY9" fmla="*/ 396361 h 693438"/>
                    <a:gd name="connsiteX10" fmla="*/ 273303 w 913577"/>
                    <a:gd name="connsiteY10" fmla="*/ 373466 h 693438"/>
                    <a:gd name="connsiteX11" fmla="*/ 259984 w 913577"/>
                    <a:gd name="connsiteY11" fmla="*/ 364440 h 693438"/>
                    <a:gd name="connsiteX12" fmla="*/ 259984 w 913577"/>
                    <a:gd name="connsiteY12" fmla="*/ 356405 h 693438"/>
                    <a:gd name="connsiteX13" fmla="*/ 147934 w 913577"/>
                    <a:gd name="connsiteY13" fmla="*/ 264057 h 693438"/>
                    <a:gd name="connsiteX14" fmla="*/ 131974 w 913577"/>
                    <a:gd name="connsiteY14" fmla="*/ 264057 h 693438"/>
                    <a:gd name="connsiteX15" fmla="*/ 114913 w 913577"/>
                    <a:gd name="connsiteY15" fmla="*/ 270991 h 693438"/>
                    <a:gd name="connsiteX16" fmla="*/ 98953 w 913577"/>
                    <a:gd name="connsiteY16" fmla="*/ 266699 h 693438"/>
                    <a:gd name="connsiteX17" fmla="*/ 88276 w 913577"/>
                    <a:gd name="connsiteY17" fmla="*/ 268790 h 693438"/>
                    <a:gd name="connsiteX18" fmla="*/ 93559 w 913577"/>
                    <a:gd name="connsiteY18" fmla="*/ 273083 h 693438"/>
                    <a:gd name="connsiteX19" fmla="*/ 86625 w 913577"/>
                    <a:gd name="connsiteY19" fmla="*/ 274734 h 693438"/>
                    <a:gd name="connsiteX20" fmla="*/ 51953 w 913577"/>
                    <a:gd name="connsiteY20" fmla="*/ 261856 h 693438"/>
                    <a:gd name="connsiteX21" fmla="*/ 62630 w 913577"/>
                    <a:gd name="connsiteY21" fmla="*/ 253270 h 693438"/>
                    <a:gd name="connsiteX22" fmla="*/ 41276 w 913577"/>
                    <a:gd name="connsiteY22" fmla="*/ 244244 h 693438"/>
                    <a:gd name="connsiteX23" fmla="*/ 22564 w 913577"/>
                    <a:gd name="connsiteY23" fmla="*/ 244244 h 693438"/>
                    <a:gd name="connsiteX24" fmla="*/ 38634 w 913577"/>
                    <a:gd name="connsiteY24" fmla="*/ 233568 h 693438"/>
                    <a:gd name="connsiteX25" fmla="*/ 51953 w 913577"/>
                    <a:gd name="connsiteY25" fmla="*/ 233568 h 693438"/>
                    <a:gd name="connsiteX26" fmla="*/ 61529 w 913577"/>
                    <a:gd name="connsiteY26" fmla="*/ 229275 h 693438"/>
                    <a:gd name="connsiteX27" fmla="*/ 91908 w 913577"/>
                    <a:gd name="connsiteY27" fmla="*/ 229275 h 693438"/>
                    <a:gd name="connsiteX28" fmla="*/ 98842 w 913577"/>
                    <a:gd name="connsiteY28" fmla="*/ 217498 h 693438"/>
                    <a:gd name="connsiteX29" fmla="*/ 77489 w 913577"/>
                    <a:gd name="connsiteY29" fmla="*/ 217498 h 693438"/>
                    <a:gd name="connsiteX30" fmla="*/ 72096 w 913577"/>
                    <a:gd name="connsiteY30" fmla="*/ 222781 h 693438"/>
                    <a:gd name="connsiteX31" fmla="*/ 53384 w 913577"/>
                    <a:gd name="connsiteY31" fmla="*/ 222781 h 693438"/>
                    <a:gd name="connsiteX32" fmla="*/ 0 w 913577"/>
                    <a:gd name="connsiteY32" fmla="*/ 199886 h 693438"/>
                    <a:gd name="connsiteX33" fmla="*/ 30379 w 913577"/>
                    <a:gd name="connsiteY33" fmla="*/ 185467 h 693438"/>
                    <a:gd name="connsiteX34" fmla="*/ 56025 w 913577"/>
                    <a:gd name="connsiteY34" fmla="*/ 173139 h 693438"/>
                    <a:gd name="connsiteX35" fmla="*/ 101374 w 913577"/>
                    <a:gd name="connsiteY35" fmla="*/ 169397 h 693438"/>
                    <a:gd name="connsiteX36" fmla="*/ 115793 w 913577"/>
                    <a:gd name="connsiteY36" fmla="*/ 141109 h 693438"/>
                    <a:gd name="connsiteX37" fmla="*/ 75838 w 913577"/>
                    <a:gd name="connsiteY37" fmla="*/ 130432 h 693438"/>
                    <a:gd name="connsiteX38" fmla="*/ 86515 w 913577"/>
                    <a:gd name="connsiteY38" fmla="*/ 122397 h 693438"/>
                    <a:gd name="connsiteX39" fmla="*/ 139348 w 913577"/>
                    <a:gd name="connsiteY39" fmla="*/ 93119 h 693438"/>
                    <a:gd name="connsiteX40" fmla="*/ 153217 w 913577"/>
                    <a:gd name="connsiteY40" fmla="*/ 97412 h 693438"/>
                    <a:gd name="connsiteX41" fmla="*/ 174570 w 913577"/>
                    <a:gd name="connsiteY41" fmla="*/ 70665 h 693438"/>
                    <a:gd name="connsiteX42" fmla="*/ 224102 w 913577"/>
                    <a:gd name="connsiteY42" fmla="*/ 62630 h 693438"/>
                    <a:gd name="connsiteX43" fmla="*/ 264167 w 913577"/>
                    <a:gd name="connsiteY43" fmla="*/ 50412 h 693438"/>
                    <a:gd name="connsiteX44" fmla="*/ 286621 w 913577"/>
                    <a:gd name="connsiteY44" fmla="*/ 66372 h 693438"/>
                    <a:gd name="connsiteX45" fmla="*/ 283980 w 913577"/>
                    <a:gd name="connsiteY45" fmla="*/ 55695 h 693438"/>
                    <a:gd name="connsiteX46" fmla="*/ 289373 w 913577"/>
                    <a:gd name="connsiteY46" fmla="*/ 50412 h 693438"/>
                    <a:gd name="connsiteX47" fmla="*/ 315019 w 913577"/>
                    <a:gd name="connsiteY47" fmla="*/ 63730 h 693438"/>
                    <a:gd name="connsiteX48" fmla="*/ 323054 w 913577"/>
                    <a:gd name="connsiteY48" fmla="*/ 63730 h 693438"/>
                    <a:gd name="connsiteX49" fmla="*/ 318761 w 913577"/>
                    <a:gd name="connsiteY49" fmla="*/ 51953 h 693438"/>
                    <a:gd name="connsiteX50" fmla="*/ 332080 w 913577"/>
                    <a:gd name="connsiteY50" fmla="*/ 45018 h 693438"/>
                    <a:gd name="connsiteX51" fmla="*/ 380070 w 913577"/>
                    <a:gd name="connsiteY51" fmla="*/ 63730 h 693438"/>
                    <a:gd name="connsiteX52" fmla="*/ 404065 w 913577"/>
                    <a:gd name="connsiteY52" fmla="*/ 63730 h 693438"/>
                    <a:gd name="connsiteX53" fmla="*/ 373686 w 913577"/>
                    <a:gd name="connsiteY53" fmla="*/ 42377 h 693438"/>
                    <a:gd name="connsiteX54" fmla="*/ 395040 w 913577"/>
                    <a:gd name="connsiteY54" fmla="*/ 35993 h 693438"/>
                    <a:gd name="connsiteX55" fmla="*/ 384363 w 913577"/>
                    <a:gd name="connsiteY55" fmla="*/ 27958 h 693438"/>
                    <a:gd name="connsiteX56" fmla="*/ 429712 w 913577"/>
                    <a:gd name="connsiteY56" fmla="*/ 17281 h 693438"/>
                    <a:gd name="connsiteX57" fmla="*/ 462733 w 913577"/>
                    <a:gd name="connsiteY57" fmla="*/ 21023 h 693438"/>
                    <a:gd name="connsiteX58" fmla="*/ 473409 w 913577"/>
                    <a:gd name="connsiteY58" fmla="*/ 21023 h 693438"/>
                    <a:gd name="connsiteX59" fmla="*/ 473409 w 913577"/>
                    <a:gd name="connsiteY59" fmla="*/ 14969 h 693438"/>
                    <a:gd name="connsiteX60" fmla="*/ 494763 w 913577"/>
                    <a:gd name="connsiteY60" fmla="*/ 14969 h 693438"/>
                    <a:gd name="connsiteX61" fmla="*/ 568399 w 913577"/>
                    <a:gd name="connsiteY61" fmla="*/ 0 h 693438"/>
                    <a:gd name="connsiteX62" fmla="*/ 645778 w 913577"/>
                    <a:gd name="connsiteY62" fmla="*/ 0 h 693438"/>
                    <a:gd name="connsiteX63" fmla="*/ 725689 w 913577"/>
                    <a:gd name="connsiteY63" fmla="*/ 30930 h 693438"/>
                    <a:gd name="connsiteX64" fmla="*/ 772138 w 913577"/>
                    <a:gd name="connsiteY64" fmla="*/ 36323 h 693438"/>
                    <a:gd name="connsiteX65" fmla="*/ 718755 w 913577"/>
                    <a:gd name="connsiteY65" fmla="*/ 57676 h 693438"/>
                    <a:gd name="connsiteX66" fmla="*/ 601641 w 913577"/>
                    <a:gd name="connsiteY66" fmla="*/ 64061 h 693438"/>
                    <a:gd name="connsiteX67" fmla="*/ 709729 w 913577"/>
                    <a:gd name="connsiteY67" fmla="*/ 64061 h 693438"/>
                    <a:gd name="connsiteX68" fmla="*/ 689696 w 913577"/>
                    <a:gd name="connsiteY68" fmla="*/ 90697 h 693438"/>
                    <a:gd name="connsiteX69" fmla="*/ 752436 w 913577"/>
                    <a:gd name="connsiteY69" fmla="*/ 60318 h 693438"/>
                    <a:gd name="connsiteX70" fmla="*/ 765754 w 913577"/>
                    <a:gd name="connsiteY70" fmla="*/ 76278 h 693438"/>
                    <a:gd name="connsiteX71" fmla="*/ 729651 w 913577"/>
                    <a:gd name="connsiteY71" fmla="*/ 122728 h 693438"/>
                    <a:gd name="connsiteX72" fmla="*/ 779073 w 913577"/>
                    <a:gd name="connsiteY72" fmla="*/ 77379 h 693438"/>
                    <a:gd name="connsiteX73" fmla="*/ 814845 w 913577"/>
                    <a:gd name="connsiteY73" fmla="*/ 77379 h 693438"/>
                    <a:gd name="connsiteX74" fmla="*/ 827173 w 913577"/>
                    <a:gd name="connsiteY74" fmla="*/ 79030 h 693438"/>
                    <a:gd name="connsiteX75" fmla="*/ 846876 w 913577"/>
                    <a:gd name="connsiteY75" fmla="*/ 68353 h 693438"/>
                    <a:gd name="connsiteX76" fmla="*/ 872412 w 913577"/>
                    <a:gd name="connsiteY76" fmla="*/ 68353 h 693438"/>
                    <a:gd name="connsiteX77" fmla="*/ 883088 w 913577"/>
                    <a:gd name="connsiteY77" fmla="*/ 61419 h 693438"/>
                    <a:gd name="connsiteX78" fmla="*/ 915119 w 913577"/>
                    <a:gd name="connsiteY78" fmla="*/ 80131 h 693438"/>
                    <a:gd name="connsiteX79" fmla="*/ 901800 w 913577"/>
                    <a:gd name="connsiteY79" fmla="*/ 92458 h 693438"/>
                    <a:gd name="connsiteX80" fmla="*/ 848967 w 913577"/>
                    <a:gd name="connsiteY80" fmla="*/ 113812 h 693438"/>
                    <a:gd name="connsiteX81" fmla="*/ 860084 w 913577"/>
                    <a:gd name="connsiteY81" fmla="*/ 113812 h 693438"/>
                    <a:gd name="connsiteX82" fmla="*/ 836089 w 913577"/>
                    <a:gd name="connsiteY82" fmla="*/ 130873 h 693438"/>
                    <a:gd name="connsiteX83" fmla="*/ 836089 w 913577"/>
                    <a:gd name="connsiteY83" fmla="*/ 137807 h 693438"/>
                    <a:gd name="connsiteX84" fmla="*/ 812094 w 913577"/>
                    <a:gd name="connsiteY84" fmla="*/ 151126 h 693438"/>
                    <a:gd name="connsiteX85" fmla="*/ 812094 w 913577"/>
                    <a:gd name="connsiteY85" fmla="*/ 159161 h 693438"/>
                    <a:gd name="connsiteX86" fmla="*/ 790740 w 913577"/>
                    <a:gd name="connsiteY86" fmla="*/ 181505 h 693438"/>
                    <a:gd name="connsiteX87" fmla="*/ 781714 w 913577"/>
                    <a:gd name="connsiteY87" fmla="*/ 204509 h 693438"/>
                    <a:gd name="connsiteX88" fmla="*/ 797674 w 913577"/>
                    <a:gd name="connsiteY88" fmla="*/ 204509 h 693438"/>
                    <a:gd name="connsiteX89" fmla="*/ 819028 w 913577"/>
                    <a:gd name="connsiteY89" fmla="*/ 214636 h 693438"/>
                    <a:gd name="connsiteX90" fmla="*/ 809342 w 913577"/>
                    <a:gd name="connsiteY90" fmla="*/ 217828 h 693438"/>
                    <a:gd name="connsiteX91" fmla="*/ 832346 w 913577"/>
                    <a:gd name="connsiteY91" fmla="*/ 236540 h 693438"/>
                    <a:gd name="connsiteX92" fmla="*/ 795033 w 913577"/>
                    <a:gd name="connsiteY92" fmla="*/ 244575 h 693438"/>
                    <a:gd name="connsiteX93" fmla="*/ 784356 w 913577"/>
                    <a:gd name="connsiteY93" fmla="*/ 252610 h 693438"/>
                    <a:gd name="connsiteX94" fmla="*/ 801417 w 913577"/>
                    <a:gd name="connsiteY94" fmla="*/ 261746 h 693438"/>
                    <a:gd name="connsiteX95" fmla="*/ 809342 w 913577"/>
                    <a:gd name="connsiteY95" fmla="*/ 284640 h 693438"/>
                    <a:gd name="connsiteX96" fmla="*/ 809342 w 913577"/>
                    <a:gd name="connsiteY96" fmla="*/ 296307 h 693438"/>
                    <a:gd name="connsiteX97" fmla="*/ 792281 w 913577"/>
                    <a:gd name="connsiteY97" fmla="*/ 303242 h 693438"/>
                    <a:gd name="connsiteX98" fmla="*/ 813635 w 913577"/>
                    <a:gd name="connsiteY98" fmla="*/ 313919 h 693438"/>
                    <a:gd name="connsiteX99" fmla="*/ 789639 w 913577"/>
                    <a:gd name="connsiteY99" fmla="*/ 328338 h 693438"/>
                    <a:gd name="connsiteX100" fmla="*/ 795033 w 913577"/>
                    <a:gd name="connsiteY100" fmla="*/ 336373 h 693438"/>
                    <a:gd name="connsiteX101" fmla="*/ 765754 w 913577"/>
                    <a:gd name="connsiteY101" fmla="*/ 356626 h 693438"/>
                    <a:gd name="connsiteX102" fmla="*/ 749684 w 913577"/>
                    <a:gd name="connsiteY102" fmla="*/ 344298 h 693438"/>
                    <a:gd name="connsiteX103" fmla="*/ 741649 w 913577"/>
                    <a:gd name="connsiteY103" fmla="*/ 344298 h 693438"/>
                    <a:gd name="connsiteX104" fmla="*/ 770927 w 913577"/>
                    <a:gd name="connsiteY104" fmla="*/ 368293 h 693438"/>
                    <a:gd name="connsiteX105" fmla="*/ 762892 w 913577"/>
                    <a:gd name="connsiteY105" fmla="*/ 383262 h 693438"/>
                    <a:gd name="connsiteX106" fmla="*/ 733504 w 913577"/>
                    <a:gd name="connsiteY106" fmla="*/ 359267 h 693438"/>
                    <a:gd name="connsiteX107" fmla="*/ 726569 w 913577"/>
                    <a:gd name="connsiteY107" fmla="*/ 359267 h 693438"/>
                    <a:gd name="connsiteX108" fmla="*/ 726569 w 913577"/>
                    <a:gd name="connsiteY108" fmla="*/ 367302 h 693438"/>
                    <a:gd name="connsiteX109" fmla="*/ 779953 w 913577"/>
                    <a:gd name="connsiteY109" fmla="*/ 425969 h 693438"/>
                    <a:gd name="connsiteX110" fmla="*/ 765534 w 913577"/>
                    <a:gd name="connsiteY110" fmla="*/ 432353 h 693438"/>
                    <a:gd name="connsiteX111" fmla="*/ 723928 w 913577"/>
                    <a:gd name="connsiteY111" fmla="*/ 405606 h 693438"/>
                    <a:gd name="connsiteX112" fmla="*/ 715893 w 913577"/>
                    <a:gd name="connsiteY112" fmla="*/ 405606 h 693438"/>
                    <a:gd name="connsiteX113" fmla="*/ 721286 w 913577"/>
                    <a:gd name="connsiteY113" fmla="*/ 419035 h 693438"/>
                    <a:gd name="connsiteX114" fmla="*/ 709509 w 913577"/>
                    <a:gd name="connsiteY114" fmla="*/ 425969 h 693438"/>
                    <a:gd name="connsiteX115" fmla="*/ 768176 w 913577"/>
                    <a:gd name="connsiteY115" fmla="*/ 443581 h 693438"/>
                    <a:gd name="connsiteX116" fmla="*/ 745281 w 913577"/>
                    <a:gd name="connsiteY116" fmla="*/ 453707 h 693438"/>
                    <a:gd name="connsiteX117" fmla="*/ 706867 w 913577"/>
                    <a:gd name="connsiteY117" fmla="*/ 479353 h 693438"/>
                    <a:gd name="connsiteX118" fmla="*/ 651942 w 913577"/>
                    <a:gd name="connsiteY118" fmla="*/ 492672 h 693438"/>
                    <a:gd name="connsiteX119" fmla="*/ 626846 w 913577"/>
                    <a:gd name="connsiteY119" fmla="*/ 492672 h 693438"/>
                    <a:gd name="connsiteX120" fmla="*/ 616170 w 913577"/>
                    <a:gd name="connsiteY120" fmla="*/ 501697 h 693438"/>
                    <a:gd name="connsiteX121" fmla="*/ 602851 w 913577"/>
                    <a:gd name="connsiteY121" fmla="*/ 511383 h 693438"/>
                    <a:gd name="connsiteX122" fmla="*/ 584250 w 913577"/>
                    <a:gd name="connsiteY122" fmla="*/ 538020 h 693438"/>
                    <a:gd name="connsiteX123" fmla="*/ 544184 w 913577"/>
                    <a:gd name="connsiteY123" fmla="*/ 554090 h 693438"/>
                    <a:gd name="connsiteX124" fmla="*/ 536259 w 913577"/>
                    <a:gd name="connsiteY124" fmla="*/ 554090 h 693438"/>
                    <a:gd name="connsiteX125" fmla="*/ 536259 w 913577"/>
                    <a:gd name="connsiteY125" fmla="*/ 543414 h 693438"/>
                    <a:gd name="connsiteX126" fmla="*/ 525582 w 913577"/>
                    <a:gd name="connsiteY126" fmla="*/ 556732 h 693438"/>
                    <a:gd name="connsiteX127" fmla="*/ 485627 w 913577"/>
                    <a:gd name="connsiteY127" fmla="*/ 580727 h 693438"/>
                    <a:gd name="connsiteX128" fmla="*/ 486728 w 913577"/>
                    <a:gd name="connsiteY128" fmla="*/ 586121 h 693438"/>
                    <a:gd name="connsiteX129" fmla="*/ 482985 w 913577"/>
                    <a:gd name="connsiteY129" fmla="*/ 592505 h 693438"/>
                    <a:gd name="connsiteX130" fmla="*/ 489369 w 913577"/>
                    <a:gd name="connsiteY130" fmla="*/ 604833 h 693438"/>
                    <a:gd name="connsiteX131" fmla="*/ 464274 w 913577"/>
                    <a:gd name="connsiteY131" fmla="*/ 632570 h 693438"/>
                    <a:gd name="connsiteX132" fmla="*/ 464274 w 913577"/>
                    <a:gd name="connsiteY132" fmla="*/ 661849 h 693438"/>
                    <a:gd name="connsiteX133" fmla="*/ 444021 w 913577"/>
                    <a:gd name="connsiteY133" fmla="*/ 695420 h 693438"/>
                    <a:gd name="connsiteX134" fmla="*/ 437527 w 913577"/>
                    <a:gd name="connsiteY134" fmla="*/ 690136 h 693438"/>
                    <a:gd name="connsiteX135" fmla="*/ 426850 w 913577"/>
                    <a:gd name="connsiteY135" fmla="*/ 693879 h 693438"/>
                    <a:gd name="connsiteX136" fmla="*/ 401204 w 913577"/>
                    <a:gd name="connsiteY136" fmla="*/ 669884 h 693438"/>
                    <a:gd name="connsiteX137" fmla="*/ 378860 w 913577"/>
                    <a:gd name="connsiteY137" fmla="*/ 676818 h 693438"/>
                    <a:gd name="connsiteX138" fmla="*/ 361248 w 913577"/>
                    <a:gd name="connsiteY138" fmla="*/ 661849 h 693438"/>
                    <a:gd name="connsiteX139" fmla="*/ 357506 w 913577"/>
                    <a:gd name="connsiteY139" fmla="*/ 651172 h 693438"/>
                    <a:gd name="connsiteX140" fmla="*/ 326577 w 913577"/>
                    <a:gd name="connsiteY140" fmla="*/ 603181 h 693438"/>
                    <a:gd name="connsiteX141" fmla="*/ 334612 w 913577"/>
                    <a:gd name="connsiteY141" fmla="*/ 593055 h 693438"/>
                    <a:gd name="connsiteX142" fmla="*/ 314909 w 913577"/>
                    <a:gd name="connsiteY142" fmla="*/ 591514 h 693438"/>
                    <a:gd name="connsiteX143" fmla="*/ 309516 w 913577"/>
                    <a:gd name="connsiteY143" fmla="*/ 573903 h 693438"/>
                    <a:gd name="connsiteX144" fmla="*/ 291905 w 913577"/>
                    <a:gd name="connsiteY144" fmla="*/ 543524 h 693438"/>
                    <a:gd name="connsiteX145" fmla="*/ 297298 w 913577"/>
                    <a:gd name="connsiteY145" fmla="*/ 530205 h 693438"/>
                    <a:gd name="connsiteX146" fmla="*/ 286621 w 913577"/>
                    <a:gd name="connsiteY146" fmla="*/ 530205 h 693438"/>
                    <a:gd name="connsiteX147" fmla="*/ 286621 w 913577"/>
                    <a:gd name="connsiteY147" fmla="*/ 517877 h 693438"/>
                    <a:gd name="connsiteX148" fmla="*/ 307975 w 913577"/>
                    <a:gd name="connsiteY148" fmla="*/ 488599 h 693438"/>
                    <a:gd name="connsiteX149" fmla="*/ 307975 w 913577"/>
                    <a:gd name="connsiteY149" fmla="*/ 487058 h 693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</a:cxnLst>
                  <a:rect l="l" t="t" r="r" b="b"/>
                  <a:pathLst>
                    <a:path w="913577" h="693438">
                      <a:moveTo>
                        <a:pt x="308085" y="487058"/>
                      </a:moveTo>
                      <a:cubicBezTo>
                        <a:pt x="315570" y="483316"/>
                        <a:pt x="315570" y="482875"/>
                        <a:pt x="323054" y="485957"/>
                      </a:cubicBezTo>
                      <a:cubicBezTo>
                        <a:pt x="326246" y="469997"/>
                        <a:pt x="334281" y="464604"/>
                        <a:pt x="339014" y="449634"/>
                      </a:cubicBezTo>
                      <a:cubicBezTo>
                        <a:pt x="322504" y="444351"/>
                        <a:pt x="283539" y="441599"/>
                        <a:pt x="281448" y="426740"/>
                      </a:cubicBezTo>
                      <a:cubicBezTo>
                        <a:pt x="286841" y="424649"/>
                        <a:pt x="286181" y="426740"/>
                        <a:pt x="291024" y="426740"/>
                      </a:cubicBezTo>
                      <a:cubicBezTo>
                        <a:pt x="302251" y="426740"/>
                        <a:pt x="310176" y="434775"/>
                        <a:pt x="323054" y="434775"/>
                      </a:cubicBezTo>
                      <a:cubicBezTo>
                        <a:pt x="328338" y="434775"/>
                        <a:pt x="327897" y="429932"/>
                        <a:pt x="328338" y="426740"/>
                      </a:cubicBezTo>
                      <a:cubicBezTo>
                        <a:pt x="311827" y="421456"/>
                        <a:pt x="306984" y="396361"/>
                        <a:pt x="289373" y="396361"/>
                      </a:cubicBezTo>
                      <a:cubicBezTo>
                        <a:pt x="284530" y="396361"/>
                        <a:pt x="282989" y="405386"/>
                        <a:pt x="276055" y="405386"/>
                      </a:cubicBezTo>
                      <a:cubicBezTo>
                        <a:pt x="266478" y="405386"/>
                        <a:pt x="261636" y="404396"/>
                        <a:pt x="261636" y="396361"/>
                      </a:cubicBezTo>
                      <a:cubicBezTo>
                        <a:pt x="261636" y="384583"/>
                        <a:pt x="273303" y="385684"/>
                        <a:pt x="273303" y="373466"/>
                      </a:cubicBezTo>
                      <a:cubicBezTo>
                        <a:pt x="273303" y="365431"/>
                        <a:pt x="264827" y="364881"/>
                        <a:pt x="259984" y="364440"/>
                      </a:cubicBezTo>
                      <a:lnTo>
                        <a:pt x="259984" y="356405"/>
                      </a:lnTo>
                      <a:cubicBezTo>
                        <a:pt x="245015" y="310506"/>
                        <a:pt x="207701" y="264057"/>
                        <a:pt x="147934" y="264057"/>
                      </a:cubicBezTo>
                      <a:lnTo>
                        <a:pt x="131974" y="264057"/>
                      </a:lnTo>
                      <a:cubicBezTo>
                        <a:pt x="125039" y="264057"/>
                        <a:pt x="121847" y="270991"/>
                        <a:pt x="114913" y="270991"/>
                      </a:cubicBezTo>
                      <a:cubicBezTo>
                        <a:pt x="110180" y="270991"/>
                        <a:pt x="105337" y="266699"/>
                        <a:pt x="98953" y="266699"/>
                      </a:cubicBezTo>
                      <a:cubicBezTo>
                        <a:pt x="93119" y="266699"/>
                        <a:pt x="90917" y="267799"/>
                        <a:pt x="88276" y="268790"/>
                      </a:cubicBezTo>
                      <a:cubicBezTo>
                        <a:pt x="89927" y="270441"/>
                        <a:pt x="92018" y="272532"/>
                        <a:pt x="93559" y="273083"/>
                      </a:cubicBezTo>
                      <a:cubicBezTo>
                        <a:pt x="90367" y="276275"/>
                        <a:pt x="90917" y="274734"/>
                        <a:pt x="86625" y="274734"/>
                      </a:cubicBezTo>
                      <a:cubicBezTo>
                        <a:pt x="75398" y="274734"/>
                        <a:pt x="58337" y="269891"/>
                        <a:pt x="51953" y="261856"/>
                      </a:cubicBezTo>
                      <a:cubicBezTo>
                        <a:pt x="56796" y="258664"/>
                        <a:pt x="60538" y="258113"/>
                        <a:pt x="62630" y="253270"/>
                      </a:cubicBezTo>
                      <a:cubicBezTo>
                        <a:pt x="54154" y="250078"/>
                        <a:pt x="47770" y="244244"/>
                        <a:pt x="41276" y="244244"/>
                      </a:cubicBezTo>
                      <a:cubicBezTo>
                        <a:pt x="29499" y="244244"/>
                        <a:pt x="32801" y="247987"/>
                        <a:pt x="22564" y="244244"/>
                      </a:cubicBezTo>
                      <a:cubicBezTo>
                        <a:pt x="23665" y="236760"/>
                        <a:pt x="34342" y="233568"/>
                        <a:pt x="38634" y="233568"/>
                      </a:cubicBezTo>
                      <a:lnTo>
                        <a:pt x="51953" y="233568"/>
                      </a:lnTo>
                      <a:cubicBezTo>
                        <a:pt x="57346" y="233568"/>
                        <a:pt x="58887" y="233017"/>
                        <a:pt x="61529" y="229275"/>
                      </a:cubicBezTo>
                      <a:lnTo>
                        <a:pt x="91908" y="229275"/>
                      </a:lnTo>
                      <a:cubicBezTo>
                        <a:pt x="97191" y="225533"/>
                        <a:pt x="97191" y="223331"/>
                        <a:pt x="98842" y="217498"/>
                      </a:cubicBezTo>
                      <a:lnTo>
                        <a:pt x="77489" y="217498"/>
                      </a:lnTo>
                      <a:cubicBezTo>
                        <a:pt x="76388" y="220139"/>
                        <a:pt x="74847" y="222781"/>
                        <a:pt x="72096" y="222781"/>
                      </a:cubicBezTo>
                      <a:lnTo>
                        <a:pt x="53384" y="222781"/>
                      </a:lnTo>
                      <a:cubicBezTo>
                        <a:pt x="51182" y="222781"/>
                        <a:pt x="0" y="208362"/>
                        <a:pt x="0" y="199886"/>
                      </a:cubicBezTo>
                      <a:cubicBezTo>
                        <a:pt x="0" y="183376"/>
                        <a:pt x="18712" y="189210"/>
                        <a:pt x="30379" y="185467"/>
                      </a:cubicBezTo>
                      <a:cubicBezTo>
                        <a:pt x="39955" y="182275"/>
                        <a:pt x="45899" y="176442"/>
                        <a:pt x="56025" y="173139"/>
                      </a:cubicBezTo>
                      <a:cubicBezTo>
                        <a:pt x="70444" y="168296"/>
                        <a:pt x="89597" y="176332"/>
                        <a:pt x="101374" y="169397"/>
                      </a:cubicBezTo>
                      <a:cubicBezTo>
                        <a:pt x="109849" y="164004"/>
                        <a:pt x="115793" y="154428"/>
                        <a:pt x="115793" y="141109"/>
                      </a:cubicBezTo>
                      <a:cubicBezTo>
                        <a:pt x="106217" y="140009"/>
                        <a:pt x="75838" y="140559"/>
                        <a:pt x="75838" y="130432"/>
                      </a:cubicBezTo>
                      <a:cubicBezTo>
                        <a:pt x="75838" y="125699"/>
                        <a:pt x="83763" y="122948"/>
                        <a:pt x="86515" y="122397"/>
                      </a:cubicBezTo>
                      <a:cubicBezTo>
                        <a:pt x="104676" y="116564"/>
                        <a:pt x="128671" y="103686"/>
                        <a:pt x="139348" y="93119"/>
                      </a:cubicBezTo>
                      <a:cubicBezTo>
                        <a:pt x="143641" y="96311"/>
                        <a:pt x="147823" y="97412"/>
                        <a:pt x="153217" y="97412"/>
                      </a:cubicBezTo>
                      <a:cubicBezTo>
                        <a:pt x="171929" y="97412"/>
                        <a:pt x="157510" y="72866"/>
                        <a:pt x="174570" y="70665"/>
                      </a:cubicBezTo>
                      <a:cubicBezTo>
                        <a:pt x="195924" y="68023"/>
                        <a:pt x="203849" y="62630"/>
                        <a:pt x="224102" y="62630"/>
                      </a:cubicBezTo>
                      <a:cubicBezTo>
                        <a:pt x="239071" y="58887"/>
                        <a:pt x="249748" y="50412"/>
                        <a:pt x="264167" y="50412"/>
                      </a:cubicBezTo>
                      <a:cubicBezTo>
                        <a:pt x="273743" y="50412"/>
                        <a:pt x="276495" y="66372"/>
                        <a:pt x="286621" y="66372"/>
                      </a:cubicBezTo>
                      <a:cubicBezTo>
                        <a:pt x="286621" y="62630"/>
                        <a:pt x="283980" y="59438"/>
                        <a:pt x="283980" y="55695"/>
                      </a:cubicBezTo>
                      <a:lnTo>
                        <a:pt x="289373" y="50412"/>
                      </a:lnTo>
                      <a:cubicBezTo>
                        <a:pt x="295207" y="60538"/>
                        <a:pt x="304342" y="59438"/>
                        <a:pt x="315019" y="63730"/>
                      </a:cubicBezTo>
                      <a:lnTo>
                        <a:pt x="323054" y="63730"/>
                      </a:lnTo>
                      <a:cubicBezTo>
                        <a:pt x="321403" y="59438"/>
                        <a:pt x="318761" y="56246"/>
                        <a:pt x="318761" y="51953"/>
                      </a:cubicBezTo>
                      <a:cubicBezTo>
                        <a:pt x="318761" y="45569"/>
                        <a:pt x="326687" y="45018"/>
                        <a:pt x="332080" y="45018"/>
                      </a:cubicBezTo>
                      <a:cubicBezTo>
                        <a:pt x="353984" y="45018"/>
                        <a:pt x="366752" y="57236"/>
                        <a:pt x="380070" y="63730"/>
                      </a:cubicBezTo>
                      <a:lnTo>
                        <a:pt x="404065" y="63730"/>
                      </a:lnTo>
                      <a:cubicBezTo>
                        <a:pt x="395590" y="59438"/>
                        <a:pt x="373686" y="52503"/>
                        <a:pt x="373686" y="42377"/>
                      </a:cubicBezTo>
                      <a:cubicBezTo>
                        <a:pt x="373686" y="34452"/>
                        <a:pt x="390197" y="36983"/>
                        <a:pt x="395040" y="35993"/>
                      </a:cubicBezTo>
                      <a:cubicBezTo>
                        <a:pt x="391297" y="32250"/>
                        <a:pt x="387005" y="31700"/>
                        <a:pt x="384363" y="27958"/>
                      </a:cubicBezTo>
                      <a:cubicBezTo>
                        <a:pt x="398782" y="21023"/>
                        <a:pt x="412101" y="17281"/>
                        <a:pt x="429712" y="17281"/>
                      </a:cubicBezTo>
                      <a:cubicBezTo>
                        <a:pt x="442480" y="17281"/>
                        <a:pt x="450955" y="16731"/>
                        <a:pt x="462733" y="21023"/>
                      </a:cubicBezTo>
                      <a:lnTo>
                        <a:pt x="473409" y="21023"/>
                      </a:lnTo>
                      <a:lnTo>
                        <a:pt x="473409" y="14969"/>
                      </a:lnTo>
                      <a:cubicBezTo>
                        <a:pt x="481445" y="13869"/>
                        <a:pt x="486728" y="14969"/>
                        <a:pt x="494763" y="14969"/>
                      </a:cubicBezTo>
                      <a:cubicBezTo>
                        <a:pt x="520409" y="14969"/>
                        <a:pt x="541212" y="0"/>
                        <a:pt x="568399" y="0"/>
                      </a:cubicBezTo>
                      <a:lnTo>
                        <a:pt x="645778" y="0"/>
                      </a:lnTo>
                      <a:cubicBezTo>
                        <a:pt x="677258" y="0"/>
                        <a:pt x="700703" y="20363"/>
                        <a:pt x="725689" y="30930"/>
                      </a:cubicBezTo>
                      <a:cubicBezTo>
                        <a:pt x="740108" y="36763"/>
                        <a:pt x="758820" y="33021"/>
                        <a:pt x="772138" y="36323"/>
                      </a:cubicBezTo>
                      <a:cubicBezTo>
                        <a:pt x="769497" y="55035"/>
                        <a:pt x="733174" y="52283"/>
                        <a:pt x="718755" y="57676"/>
                      </a:cubicBezTo>
                      <a:lnTo>
                        <a:pt x="601641" y="64061"/>
                      </a:lnTo>
                      <a:cubicBezTo>
                        <a:pt x="610666" y="70995"/>
                        <a:pt x="700153" y="60318"/>
                        <a:pt x="709729" y="64061"/>
                      </a:cubicBezTo>
                      <a:cubicBezTo>
                        <a:pt x="708628" y="68353"/>
                        <a:pt x="685403" y="90697"/>
                        <a:pt x="689696" y="90697"/>
                      </a:cubicBezTo>
                      <a:cubicBezTo>
                        <a:pt x="703015" y="90697"/>
                        <a:pt x="734825" y="60318"/>
                        <a:pt x="752436" y="60318"/>
                      </a:cubicBezTo>
                      <a:cubicBezTo>
                        <a:pt x="762012" y="60318"/>
                        <a:pt x="765754" y="68243"/>
                        <a:pt x="765754" y="76278"/>
                      </a:cubicBezTo>
                      <a:cubicBezTo>
                        <a:pt x="765754" y="81121"/>
                        <a:pt x="731303" y="117334"/>
                        <a:pt x="729651" y="122728"/>
                      </a:cubicBezTo>
                      <a:cubicBezTo>
                        <a:pt x="743520" y="118985"/>
                        <a:pt x="770487" y="83763"/>
                        <a:pt x="779073" y="77379"/>
                      </a:cubicBezTo>
                      <a:lnTo>
                        <a:pt x="814845" y="77379"/>
                      </a:lnTo>
                      <a:cubicBezTo>
                        <a:pt x="814845" y="77379"/>
                        <a:pt x="824972" y="79470"/>
                        <a:pt x="827173" y="79030"/>
                      </a:cubicBezTo>
                      <a:cubicBezTo>
                        <a:pt x="836749" y="75288"/>
                        <a:pt x="838400" y="72646"/>
                        <a:pt x="846876" y="68353"/>
                      </a:cubicBezTo>
                      <a:lnTo>
                        <a:pt x="872412" y="68353"/>
                      </a:lnTo>
                      <a:cubicBezTo>
                        <a:pt x="874063" y="61969"/>
                        <a:pt x="877805" y="61419"/>
                        <a:pt x="883088" y="61419"/>
                      </a:cubicBezTo>
                      <a:cubicBezTo>
                        <a:pt x="890023" y="61419"/>
                        <a:pt x="915119" y="73196"/>
                        <a:pt x="915119" y="80131"/>
                      </a:cubicBezTo>
                      <a:cubicBezTo>
                        <a:pt x="915119" y="86515"/>
                        <a:pt x="904992" y="91358"/>
                        <a:pt x="901800" y="92458"/>
                      </a:cubicBezTo>
                      <a:cubicBezTo>
                        <a:pt x="884189" y="98292"/>
                        <a:pt x="872962" y="113812"/>
                        <a:pt x="848967" y="113812"/>
                      </a:cubicBezTo>
                      <a:cubicBezTo>
                        <a:pt x="855351" y="117004"/>
                        <a:pt x="855901" y="117004"/>
                        <a:pt x="860084" y="113812"/>
                      </a:cubicBezTo>
                      <a:cubicBezTo>
                        <a:pt x="860084" y="128781"/>
                        <a:pt x="845665" y="128781"/>
                        <a:pt x="836089" y="130873"/>
                      </a:cubicBezTo>
                      <a:cubicBezTo>
                        <a:pt x="839831" y="138358"/>
                        <a:pt x="836089" y="132524"/>
                        <a:pt x="836089" y="137807"/>
                      </a:cubicBezTo>
                      <a:cubicBezTo>
                        <a:pt x="836089" y="146393"/>
                        <a:pt x="822220" y="148484"/>
                        <a:pt x="812094" y="151126"/>
                      </a:cubicBezTo>
                      <a:cubicBezTo>
                        <a:pt x="812644" y="156959"/>
                        <a:pt x="812094" y="156959"/>
                        <a:pt x="812094" y="159161"/>
                      </a:cubicBezTo>
                      <a:cubicBezTo>
                        <a:pt x="812094" y="170388"/>
                        <a:pt x="800866" y="174020"/>
                        <a:pt x="790740" y="181505"/>
                      </a:cubicBezTo>
                      <a:cubicBezTo>
                        <a:pt x="784356" y="186348"/>
                        <a:pt x="784906" y="199116"/>
                        <a:pt x="781714" y="204509"/>
                      </a:cubicBezTo>
                      <a:cubicBezTo>
                        <a:pt x="787548" y="207151"/>
                        <a:pt x="791841" y="204509"/>
                        <a:pt x="797674" y="204509"/>
                      </a:cubicBezTo>
                      <a:cubicBezTo>
                        <a:pt x="806260" y="204509"/>
                        <a:pt x="813745" y="210343"/>
                        <a:pt x="819028" y="214636"/>
                      </a:cubicBezTo>
                      <a:cubicBezTo>
                        <a:pt x="816386" y="216177"/>
                        <a:pt x="812644" y="217828"/>
                        <a:pt x="809342" y="217828"/>
                      </a:cubicBezTo>
                      <a:cubicBezTo>
                        <a:pt x="811543" y="226303"/>
                        <a:pt x="832346" y="223661"/>
                        <a:pt x="832346" y="236540"/>
                      </a:cubicBezTo>
                      <a:cubicBezTo>
                        <a:pt x="832346" y="249308"/>
                        <a:pt x="804609" y="244575"/>
                        <a:pt x="795033" y="244575"/>
                      </a:cubicBezTo>
                      <a:cubicBezTo>
                        <a:pt x="789199" y="244575"/>
                        <a:pt x="784356" y="248867"/>
                        <a:pt x="784356" y="252610"/>
                      </a:cubicBezTo>
                      <a:cubicBezTo>
                        <a:pt x="784356" y="261746"/>
                        <a:pt x="793932" y="261746"/>
                        <a:pt x="801417" y="261746"/>
                      </a:cubicBezTo>
                      <a:cubicBezTo>
                        <a:pt x="801417" y="273413"/>
                        <a:pt x="809342" y="276605"/>
                        <a:pt x="809342" y="284640"/>
                      </a:cubicBezTo>
                      <a:cubicBezTo>
                        <a:pt x="809342" y="288933"/>
                        <a:pt x="806700" y="293225"/>
                        <a:pt x="809342" y="296307"/>
                      </a:cubicBezTo>
                      <a:cubicBezTo>
                        <a:pt x="800756" y="296307"/>
                        <a:pt x="792281" y="296307"/>
                        <a:pt x="792281" y="303242"/>
                      </a:cubicBezTo>
                      <a:cubicBezTo>
                        <a:pt x="792281" y="312267"/>
                        <a:pt x="807250" y="311717"/>
                        <a:pt x="813635" y="313919"/>
                      </a:cubicBezTo>
                      <a:cubicBezTo>
                        <a:pt x="810443" y="322394"/>
                        <a:pt x="799766" y="327237"/>
                        <a:pt x="789639" y="328338"/>
                      </a:cubicBezTo>
                      <a:cubicBezTo>
                        <a:pt x="789639" y="332080"/>
                        <a:pt x="792281" y="335272"/>
                        <a:pt x="795033" y="336373"/>
                      </a:cubicBezTo>
                      <a:cubicBezTo>
                        <a:pt x="791290" y="352333"/>
                        <a:pt x="769937" y="345398"/>
                        <a:pt x="765754" y="356626"/>
                      </a:cubicBezTo>
                      <a:cubicBezTo>
                        <a:pt x="759810" y="352883"/>
                        <a:pt x="753977" y="350241"/>
                        <a:pt x="749684" y="344298"/>
                      </a:cubicBezTo>
                      <a:lnTo>
                        <a:pt x="741649" y="344298"/>
                      </a:lnTo>
                      <a:cubicBezTo>
                        <a:pt x="747042" y="358717"/>
                        <a:pt x="770927" y="353874"/>
                        <a:pt x="770927" y="368293"/>
                      </a:cubicBezTo>
                      <a:cubicBezTo>
                        <a:pt x="770927" y="374677"/>
                        <a:pt x="769276" y="383262"/>
                        <a:pt x="762892" y="383262"/>
                      </a:cubicBezTo>
                      <a:cubicBezTo>
                        <a:pt x="753316" y="383262"/>
                        <a:pt x="736696" y="369394"/>
                        <a:pt x="733504" y="359267"/>
                      </a:cubicBezTo>
                      <a:cubicBezTo>
                        <a:pt x="729211" y="359818"/>
                        <a:pt x="727670" y="359267"/>
                        <a:pt x="726569" y="359267"/>
                      </a:cubicBezTo>
                      <a:lnTo>
                        <a:pt x="726569" y="367302"/>
                      </a:lnTo>
                      <a:cubicBezTo>
                        <a:pt x="745722" y="386454"/>
                        <a:pt x="779953" y="395480"/>
                        <a:pt x="779953" y="425969"/>
                      </a:cubicBezTo>
                      <a:cubicBezTo>
                        <a:pt x="779953" y="431803"/>
                        <a:pt x="771368" y="432353"/>
                        <a:pt x="765534" y="432353"/>
                      </a:cubicBezTo>
                      <a:cubicBezTo>
                        <a:pt x="740548" y="432353"/>
                        <a:pt x="745832" y="405606"/>
                        <a:pt x="723928" y="405606"/>
                      </a:cubicBezTo>
                      <a:cubicBezTo>
                        <a:pt x="721286" y="405606"/>
                        <a:pt x="718534" y="407258"/>
                        <a:pt x="715893" y="405606"/>
                      </a:cubicBezTo>
                      <a:cubicBezTo>
                        <a:pt x="715893" y="413091"/>
                        <a:pt x="721286" y="414742"/>
                        <a:pt x="721286" y="419035"/>
                      </a:cubicBezTo>
                      <a:cubicBezTo>
                        <a:pt x="721286" y="423768"/>
                        <a:pt x="712150" y="425419"/>
                        <a:pt x="709509" y="425969"/>
                      </a:cubicBezTo>
                      <a:cubicBezTo>
                        <a:pt x="709509" y="441929"/>
                        <a:pt x="756949" y="439838"/>
                        <a:pt x="768176" y="443581"/>
                      </a:cubicBezTo>
                      <a:cubicBezTo>
                        <a:pt x="760141" y="449965"/>
                        <a:pt x="754857" y="450515"/>
                        <a:pt x="745281" y="453707"/>
                      </a:cubicBezTo>
                      <a:cubicBezTo>
                        <a:pt x="727670" y="459651"/>
                        <a:pt x="722277" y="474510"/>
                        <a:pt x="706867" y="479353"/>
                      </a:cubicBezTo>
                      <a:cubicBezTo>
                        <a:pt x="687715" y="485737"/>
                        <a:pt x="672195" y="484086"/>
                        <a:pt x="651942" y="492672"/>
                      </a:cubicBezTo>
                      <a:lnTo>
                        <a:pt x="626846" y="492672"/>
                      </a:lnTo>
                      <a:cubicBezTo>
                        <a:pt x="621563" y="495864"/>
                        <a:pt x="616170" y="497405"/>
                        <a:pt x="616170" y="501697"/>
                      </a:cubicBezTo>
                      <a:lnTo>
                        <a:pt x="602851" y="511383"/>
                      </a:lnTo>
                      <a:cubicBezTo>
                        <a:pt x="592725" y="519418"/>
                        <a:pt x="592175" y="530095"/>
                        <a:pt x="584250" y="538020"/>
                      </a:cubicBezTo>
                      <a:cubicBezTo>
                        <a:pt x="573573" y="548697"/>
                        <a:pt x="555411" y="546055"/>
                        <a:pt x="544184" y="554090"/>
                      </a:cubicBezTo>
                      <a:lnTo>
                        <a:pt x="536259" y="554090"/>
                      </a:lnTo>
                      <a:lnTo>
                        <a:pt x="536259" y="543414"/>
                      </a:lnTo>
                      <a:cubicBezTo>
                        <a:pt x="528224" y="546606"/>
                        <a:pt x="530315" y="551999"/>
                        <a:pt x="525582" y="556732"/>
                      </a:cubicBezTo>
                      <a:cubicBezTo>
                        <a:pt x="514355" y="567849"/>
                        <a:pt x="485627" y="563116"/>
                        <a:pt x="485627" y="580727"/>
                      </a:cubicBezTo>
                      <a:cubicBezTo>
                        <a:pt x="485627" y="582378"/>
                        <a:pt x="486728" y="584470"/>
                        <a:pt x="486728" y="586121"/>
                      </a:cubicBezTo>
                      <a:cubicBezTo>
                        <a:pt x="485077" y="588212"/>
                        <a:pt x="482985" y="589863"/>
                        <a:pt x="482985" y="592505"/>
                      </a:cubicBezTo>
                      <a:cubicBezTo>
                        <a:pt x="482985" y="596247"/>
                        <a:pt x="489369" y="598889"/>
                        <a:pt x="489369" y="604833"/>
                      </a:cubicBezTo>
                      <a:cubicBezTo>
                        <a:pt x="489369" y="622884"/>
                        <a:pt x="464274" y="617050"/>
                        <a:pt x="464274" y="632570"/>
                      </a:cubicBezTo>
                      <a:cubicBezTo>
                        <a:pt x="464274" y="642146"/>
                        <a:pt x="463173" y="656015"/>
                        <a:pt x="464274" y="661849"/>
                      </a:cubicBezTo>
                      <a:cubicBezTo>
                        <a:pt x="452056" y="667792"/>
                        <a:pt x="458440" y="695420"/>
                        <a:pt x="444021" y="695420"/>
                      </a:cubicBezTo>
                      <a:cubicBezTo>
                        <a:pt x="440278" y="695420"/>
                        <a:pt x="438627" y="693328"/>
                        <a:pt x="437527" y="690136"/>
                      </a:cubicBezTo>
                      <a:cubicBezTo>
                        <a:pt x="431143" y="690687"/>
                        <a:pt x="430152" y="693879"/>
                        <a:pt x="426850" y="693879"/>
                      </a:cubicBezTo>
                      <a:cubicBezTo>
                        <a:pt x="413531" y="693879"/>
                        <a:pt x="414632" y="669884"/>
                        <a:pt x="401204" y="669884"/>
                      </a:cubicBezTo>
                      <a:cubicBezTo>
                        <a:pt x="393719" y="669884"/>
                        <a:pt x="385244" y="676268"/>
                        <a:pt x="378860" y="676818"/>
                      </a:cubicBezTo>
                      <a:cubicBezTo>
                        <a:pt x="375117" y="664600"/>
                        <a:pt x="369834" y="668343"/>
                        <a:pt x="361248" y="661849"/>
                      </a:cubicBezTo>
                      <a:cubicBezTo>
                        <a:pt x="358056" y="659647"/>
                        <a:pt x="359157" y="652272"/>
                        <a:pt x="357506" y="651172"/>
                      </a:cubicBezTo>
                      <a:cubicBezTo>
                        <a:pt x="346829" y="642586"/>
                        <a:pt x="326577" y="618591"/>
                        <a:pt x="326577" y="603181"/>
                      </a:cubicBezTo>
                      <a:cubicBezTo>
                        <a:pt x="326577" y="596247"/>
                        <a:pt x="330869" y="596797"/>
                        <a:pt x="334612" y="593055"/>
                      </a:cubicBezTo>
                      <a:cubicBezTo>
                        <a:pt x="326577" y="582929"/>
                        <a:pt x="323935" y="596247"/>
                        <a:pt x="314909" y="591514"/>
                      </a:cubicBezTo>
                      <a:cubicBezTo>
                        <a:pt x="312708" y="589313"/>
                        <a:pt x="311167" y="579186"/>
                        <a:pt x="309516" y="573903"/>
                      </a:cubicBezTo>
                      <a:cubicBezTo>
                        <a:pt x="306324" y="563777"/>
                        <a:pt x="291905" y="557943"/>
                        <a:pt x="291905" y="543524"/>
                      </a:cubicBezTo>
                      <a:cubicBezTo>
                        <a:pt x="291905" y="538130"/>
                        <a:pt x="295647" y="535599"/>
                        <a:pt x="297298" y="530205"/>
                      </a:cubicBezTo>
                      <a:cubicBezTo>
                        <a:pt x="293556" y="528004"/>
                        <a:pt x="289813" y="527454"/>
                        <a:pt x="286621" y="530205"/>
                      </a:cubicBezTo>
                      <a:lnTo>
                        <a:pt x="286621" y="517877"/>
                      </a:lnTo>
                      <a:cubicBezTo>
                        <a:pt x="294106" y="507751"/>
                        <a:pt x="297298" y="497074"/>
                        <a:pt x="307975" y="488599"/>
                      </a:cubicBezTo>
                      <a:lnTo>
                        <a:pt x="307975" y="487058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 dirty="0"/>
                </a:p>
              </p:txBody>
            </p:sp>
            <p:sp>
              <p:nvSpPr>
                <p:cNvPr id="334" name="Freeform: Shape 333">
                  <a:extLst>
                    <a:ext uri="{FF2B5EF4-FFF2-40B4-BE49-F238E27FC236}">
                      <a16:creationId xmlns:a16="http://schemas.microsoft.com/office/drawing/2014/main" id="{E84830CD-506F-464A-816C-23261BD7F5B4}"/>
                    </a:ext>
                  </a:extLst>
                </p:cNvPr>
                <p:cNvSpPr/>
                <p:nvPr/>
              </p:nvSpPr>
              <p:spPr>
                <a:xfrm>
                  <a:off x="2473574" y="2513963"/>
                  <a:ext cx="33021" cy="22014"/>
                </a:xfrm>
                <a:custGeom>
                  <a:avLst/>
                  <a:gdLst>
                    <a:gd name="connsiteX0" fmla="*/ 10677 w 33020"/>
                    <a:gd name="connsiteY0" fmla="*/ 29389 h 22013"/>
                    <a:gd name="connsiteX1" fmla="*/ 0 w 33020"/>
                    <a:gd name="connsiteY1" fmla="*/ 10677 h 22013"/>
                    <a:gd name="connsiteX2" fmla="*/ 11777 w 33020"/>
                    <a:gd name="connsiteY2" fmla="*/ 0 h 22013"/>
                    <a:gd name="connsiteX3" fmla="*/ 43808 w 33020"/>
                    <a:gd name="connsiteY3" fmla="*/ 18712 h 22013"/>
                    <a:gd name="connsiteX4" fmla="*/ 22454 w 33020"/>
                    <a:gd name="connsiteY4" fmla="*/ 29389 h 22013"/>
                    <a:gd name="connsiteX5" fmla="*/ 10677 w 33020"/>
                    <a:gd name="connsiteY5" fmla="*/ 29389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020" h="22013">
                      <a:moveTo>
                        <a:pt x="10677" y="29389"/>
                      </a:moveTo>
                      <a:cubicBezTo>
                        <a:pt x="5834" y="28838"/>
                        <a:pt x="0" y="17061"/>
                        <a:pt x="0" y="10677"/>
                      </a:cubicBezTo>
                      <a:cubicBezTo>
                        <a:pt x="0" y="2642"/>
                        <a:pt x="6934" y="0"/>
                        <a:pt x="11777" y="0"/>
                      </a:cubicBezTo>
                      <a:cubicBezTo>
                        <a:pt x="25646" y="0"/>
                        <a:pt x="29939" y="14419"/>
                        <a:pt x="43808" y="18712"/>
                      </a:cubicBezTo>
                      <a:cubicBezTo>
                        <a:pt x="42707" y="27738"/>
                        <a:pt x="31590" y="29389"/>
                        <a:pt x="22454" y="29389"/>
                      </a:cubicBezTo>
                      <a:lnTo>
                        <a:pt x="10677" y="29389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35" name="Freeform: Shape 334">
                  <a:extLst>
                    <a:ext uri="{FF2B5EF4-FFF2-40B4-BE49-F238E27FC236}">
                      <a16:creationId xmlns:a16="http://schemas.microsoft.com/office/drawing/2014/main" id="{6D101D54-5146-4B80-829B-078A8C286924}"/>
                    </a:ext>
                  </a:extLst>
                </p:cNvPr>
                <p:cNvSpPr/>
                <p:nvPr/>
              </p:nvSpPr>
              <p:spPr>
                <a:xfrm>
                  <a:off x="3018638" y="2364598"/>
                  <a:ext cx="22014" cy="11007"/>
                </a:xfrm>
                <a:custGeom>
                  <a:avLst/>
                  <a:gdLst>
                    <a:gd name="connsiteX0" fmla="*/ 6934 w 22013"/>
                    <a:gd name="connsiteY0" fmla="*/ 14969 h 11006"/>
                    <a:gd name="connsiteX1" fmla="*/ 0 w 22013"/>
                    <a:gd name="connsiteY1" fmla="*/ 6934 h 11006"/>
                    <a:gd name="connsiteX2" fmla="*/ 5393 w 22013"/>
                    <a:gd name="connsiteY2" fmla="*/ 0 h 11006"/>
                    <a:gd name="connsiteX3" fmla="*/ 14969 w 22013"/>
                    <a:gd name="connsiteY3" fmla="*/ 0 h 11006"/>
                    <a:gd name="connsiteX4" fmla="*/ 14969 w 22013"/>
                    <a:gd name="connsiteY4" fmla="*/ 6934 h 11006"/>
                    <a:gd name="connsiteX5" fmla="*/ 23995 w 22013"/>
                    <a:gd name="connsiteY5" fmla="*/ 6934 h 11006"/>
                    <a:gd name="connsiteX6" fmla="*/ 6934 w 22013"/>
                    <a:gd name="connsiteY6" fmla="*/ 14969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013" h="11006">
                      <a:moveTo>
                        <a:pt x="6934" y="14969"/>
                      </a:moveTo>
                      <a:cubicBezTo>
                        <a:pt x="3192" y="14969"/>
                        <a:pt x="0" y="9686"/>
                        <a:pt x="0" y="6934"/>
                      </a:cubicBezTo>
                      <a:cubicBezTo>
                        <a:pt x="0" y="3742"/>
                        <a:pt x="3742" y="1651"/>
                        <a:pt x="5393" y="0"/>
                      </a:cubicBezTo>
                      <a:lnTo>
                        <a:pt x="14969" y="0"/>
                      </a:lnTo>
                      <a:lnTo>
                        <a:pt x="14969" y="6934"/>
                      </a:lnTo>
                      <a:lnTo>
                        <a:pt x="23995" y="6934"/>
                      </a:lnTo>
                      <a:cubicBezTo>
                        <a:pt x="21353" y="8585"/>
                        <a:pt x="12328" y="14969"/>
                        <a:pt x="6934" y="14969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36" name="Freeform: Shape 335">
                  <a:extLst>
                    <a:ext uri="{FF2B5EF4-FFF2-40B4-BE49-F238E27FC236}">
                      <a16:creationId xmlns:a16="http://schemas.microsoft.com/office/drawing/2014/main" id="{62941985-E1DE-4564-996E-F19CF58433E9}"/>
                    </a:ext>
                  </a:extLst>
                </p:cNvPr>
                <p:cNvSpPr/>
                <p:nvPr/>
              </p:nvSpPr>
              <p:spPr>
                <a:xfrm>
                  <a:off x="2407862" y="2955122"/>
                  <a:ext cx="99063" cy="88056"/>
                </a:xfrm>
                <a:custGeom>
                  <a:avLst/>
                  <a:gdLst>
                    <a:gd name="connsiteX0" fmla="*/ 5393 w 99062"/>
                    <a:gd name="connsiteY0" fmla="*/ 81011 h 88055"/>
                    <a:gd name="connsiteX1" fmla="*/ 0 w 99062"/>
                    <a:gd name="connsiteY1" fmla="*/ 75728 h 88055"/>
                    <a:gd name="connsiteX2" fmla="*/ 9576 w 99062"/>
                    <a:gd name="connsiteY2" fmla="*/ 65602 h 88055"/>
                    <a:gd name="connsiteX3" fmla="*/ 9576 w 99062"/>
                    <a:gd name="connsiteY3" fmla="*/ 62410 h 88055"/>
                    <a:gd name="connsiteX4" fmla="*/ 5283 w 99062"/>
                    <a:gd name="connsiteY4" fmla="*/ 59768 h 88055"/>
                    <a:gd name="connsiteX5" fmla="*/ 34122 w 99062"/>
                    <a:gd name="connsiteY5" fmla="*/ 16070 h 88055"/>
                    <a:gd name="connsiteX6" fmla="*/ 50192 w 99062"/>
                    <a:gd name="connsiteY6" fmla="*/ 0 h 88055"/>
                    <a:gd name="connsiteX7" fmla="*/ 53934 w 99062"/>
                    <a:gd name="connsiteY7" fmla="*/ 5393 h 88055"/>
                    <a:gd name="connsiteX8" fmla="*/ 39515 w 99062"/>
                    <a:gd name="connsiteY8" fmla="*/ 32581 h 88055"/>
                    <a:gd name="connsiteX9" fmla="*/ 39515 w 99062"/>
                    <a:gd name="connsiteY9" fmla="*/ 37314 h 88055"/>
                    <a:gd name="connsiteX10" fmla="*/ 47440 w 99062"/>
                    <a:gd name="connsiteY10" fmla="*/ 33021 h 88055"/>
                    <a:gd name="connsiteX11" fmla="*/ 56025 w 99062"/>
                    <a:gd name="connsiteY11" fmla="*/ 35773 h 88055"/>
                    <a:gd name="connsiteX12" fmla="*/ 53274 w 99062"/>
                    <a:gd name="connsiteY12" fmla="*/ 38414 h 88055"/>
                    <a:gd name="connsiteX13" fmla="*/ 53274 w 99062"/>
                    <a:gd name="connsiteY13" fmla="*/ 43257 h 88055"/>
                    <a:gd name="connsiteX14" fmla="*/ 62960 w 99062"/>
                    <a:gd name="connsiteY14" fmla="*/ 43257 h 88055"/>
                    <a:gd name="connsiteX15" fmla="*/ 62960 w 99062"/>
                    <a:gd name="connsiteY15" fmla="*/ 45899 h 88055"/>
                    <a:gd name="connsiteX16" fmla="*/ 69344 w 99062"/>
                    <a:gd name="connsiteY16" fmla="*/ 43698 h 88055"/>
                    <a:gd name="connsiteX17" fmla="*/ 84754 w 99062"/>
                    <a:gd name="connsiteY17" fmla="*/ 43698 h 88055"/>
                    <a:gd name="connsiteX18" fmla="*/ 84203 w 99062"/>
                    <a:gd name="connsiteY18" fmla="*/ 61309 h 88055"/>
                    <a:gd name="connsiteX19" fmla="*/ 90037 w 99062"/>
                    <a:gd name="connsiteY19" fmla="*/ 59658 h 88055"/>
                    <a:gd name="connsiteX20" fmla="*/ 84644 w 99062"/>
                    <a:gd name="connsiteY20" fmla="*/ 67693 h 88055"/>
                    <a:gd name="connsiteX21" fmla="*/ 88386 w 99062"/>
                    <a:gd name="connsiteY21" fmla="*/ 76168 h 88055"/>
                    <a:gd name="connsiteX22" fmla="*/ 95320 w 99062"/>
                    <a:gd name="connsiteY22" fmla="*/ 72976 h 88055"/>
                    <a:gd name="connsiteX23" fmla="*/ 99063 w 99062"/>
                    <a:gd name="connsiteY23" fmla="*/ 84203 h 88055"/>
                    <a:gd name="connsiteX24" fmla="*/ 90477 w 99062"/>
                    <a:gd name="connsiteY24" fmla="*/ 96971 h 88055"/>
                    <a:gd name="connsiteX25" fmla="*/ 85634 w 99062"/>
                    <a:gd name="connsiteY25" fmla="*/ 90587 h 88055"/>
                    <a:gd name="connsiteX26" fmla="*/ 81341 w 99062"/>
                    <a:gd name="connsiteY26" fmla="*/ 89487 h 88055"/>
                    <a:gd name="connsiteX27" fmla="*/ 76058 w 99062"/>
                    <a:gd name="connsiteY27" fmla="*/ 75067 h 88055"/>
                    <a:gd name="connsiteX28" fmla="*/ 60538 w 99062"/>
                    <a:gd name="connsiteY28" fmla="*/ 89487 h 88055"/>
                    <a:gd name="connsiteX29" fmla="*/ 57346 w 99062"/>
                    <a:gd name="connsiteY29" fmla="*/ 89487 h 88055"/>
                    <a:gd name="connsiteX30" fmla="*/ 63180 w 99062"/>
                    <a:gd name="connsiteY30" fmla="*/ 80901 h 88055"/>
                    <a:gd name="connsiteX31" fmla="*/ 48211 w 99062"/>
                    <a:gd name="connsiteY31" fmla="*/ 78810 h 88055"/>
                    <a:gd name="connsiteX32" fmla="*/ 37534 w 99062"/>
                    <a:gd name="connsiteY32" fmla="*/ 81452 h 88055"/>
                    <a:gd name="connsiteX33" fmla="*/ 21574 w 99062"/>
                    <a:gd name="connsiteY33" fmla="*/ 77709 h 88055"/>
                    <a:gd name="connsiteX34" fmla="*/ 5393 w 99062"/>
                    <a:gd name="connsiteY34" fmla="*/ 81011 h 88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99062" h="88055">
                      <a:moveTo>
                        <a:pt x="5393" y="81011"/>
                      </a:moveTo>
                      <a:cubicBezTo>
                        <a:pt x="2752" y="81011"/>
                        <a:pt x="0" y="77269"/>
                        <a:pt x="0" y="75728"/>
                      </a:cubicBezTo>
                      <a:cubicBezTo>
                        <a:pt x="0" y="73637"/>
                        <a:pt x="9576" y="66152"/>
                        <a:pt x="9576" y="65602"/>
                      </a:cubicBezTo>
                      <a:lnTo>
                        <a:pt x="9576" y="62410"/>
                      </a:lnTo>
                      <a:cubicBezTo>
                        <a:pt x="8035" y="62410"/>
                        <a:pt x="5834" y="61309"/>
                        <a:pt x="5283" y="59768"/>
                      </a:cubicBezTo>
                      <a:cubicBezTo>
                        <a:pt x="20253" y="52283"/>
                        <a:pt x="26086" y="28288"/>
                        <a:pt x="34122" y="16070"/>
                      </a:cubicBezTo>
                      <a:cubicBezTo>
                        <a:pt x="38414" y="9136"/>
                        <a:pt x="41606" y="0"/>
                        <a:pt x="50192" y="0"/>
                      </a:cubicBezTo>
                      <a:cubicBezTo>
                        <a:pt x="52283" y="0"/>
                        <a:pt x="53934" y="3192"/>
                        <a:pt x="53934" y="5393"/>
                      </a:cubicBezTo>
                      <a:cubicBezTo>
                        <a:pt x="53934" y="17171"/>
                        <a:pt x="42707" y="23005"/>
                        <a:pt x="39515" y="32581"/>
                      </a:cubicBezTo>
                      <a:lnTo>
                        <a:pt x="39515" y="37314"/>
                      </a:lnTo>
                      <a:cubicBezTo>
                        <a:pt x="43808" y="36213"/>
                        <a:pt x="43808" y="33021"/>
                        <a:pt x="47440" y="33021"/>
                      </a:cubicBezTo>
                      <a:cubicBezTo>
                        <a:pt x="50632" y="33021"/>
                        <a:pt x="53934" y="33571"/>
                        <a:pt x="56025" y="35773"/>
                      </a:cubicBezTo>
                      <a:lnTo>
                        <a:pt x="53274" y="38414"/>
                      </a:lnTo>
                      <a:lnTo>
                        <a:pt x="53274" y="43257"/>
                      </a:lnTo>
                      <a:lnTo>
                        <a:pt x="62960" y="43257"/>
                      </a:lnTo>
                      <a:lnTo>
                        <a:pt x="62960" y="45899"/>
                      </a:lnTo>
                      <a:lnTo>
                        <a:pt x="69344" y="43698"/>
                      </a:lnTo>
                      <a:cubicBezTo>
                        <a:pt x="75288" y="45349"/>
                        <a:pt x="82112" y="45349"/>
                        <a:pt x="84754" y="43698"/>
                      </a:cubicBezTo>
                      <a:cubicBezTo>
                        <a:pt x="84754" y="48541"/>
                        <a:pt x="84203" y="53384"/>
                        <a:pt x="84203" y="61309"/>
                      </a:cubicBezTo>
                      <a:cubicBezTo>
                        <a:pt x="85304" y="60208"/>
                        <a:pt x="87946" y="59658"/>
                        <a:pt x="90037" y="59658"/>
                      </a:cubicBezTo>
                      <a:cubicBezTo>
                        <a:pt x="89487" y="64501"/>
                        <a:pt x="84644" y="65491"/>
                        <a:pt x="84644" y="67693"/>
                      </a:cubicBezTo>
                      <a:cubicBezTo>
                        <a:pt x="84644" y="70334"/>
                        <a:pt x="88386" y="72536"/>
                        <a:pt x="88386" y="76168"/>
                      </a:cubicBezTo>
                      <a:cubicBezTo>
                        <a:pt x="93779" y="76168"/>
                        <a:pt x="92128" y="75067"/>
                        <a:pt x="95320" y="72976"/>
                      </a:cubicBezTo>
                      <a:cubicBezTo>
                        <a:pt x="95320" y="79360"/>
                        <a:pt x="99063" y="78810"/>
                        <a:pt x="99063" y="84203"/>
                      </a:cubicBezTo>
                      <a:cubicBezTo>
                        <a:pt x="99063" y="90587"/>
                        <a:pt x="95871" y="96971"/>
                        <a:pt x="90477" y="96971"/>
                      </a:cubicBezTo>
                      <a:cubicBezTo>
                        <a:pt x="86735" y="96971"/>
                        <a:pt x="85634" y="92679"/>
                        <a:pt x="85634" y="90587"/>
                      </a:cubicBezTo>
                      <a:cubicBezTo>
                        <a:pt x="84093" y="90587"/>
                        <a:pt x="82992" y="89487"/>
                        <a:pt x="81341" y="89487"/>
                      </a:cubicBezTo>
                      <a:cubicBezTo>
                        <a:pt x="77049" y="89487"/>
                        <a:pt x="80241" y="79360"/>
                        <a:pt x="76058" y="75067"/>
                      </a:cubicBezTo>
                      <a:cubicBezTo>
                        <a:pt x="71875" y="81452"/>
                        <a:pt x="67032" y="89487"/>
                        <a:pt x="60538" y="89487"/>
                      </a:cubicBezTo>
                      <a:cubicBezTo>
                        <a:pt x="59438" y="89487"/>
                        <a:pt x="57346" y="90587"/>
                        <a:pt x="57346" y="89487"/>
                      </a:cubicBezTo>
                      <a:cubicBezTo>
                        <a:pt x="57346" y="84203"/>
                        <a:pt x="61639" y="84203"/>
                        <a:pt x="63180" y="80901"/>
                      </a:cubicBezTo>
                      <a:cubicBezTo>
                        <a:pt x="57787" y="80901"/>
                        <a:pt x="50852" y="84093"/>
                        <a:pt x="48211" y="78810"/>
                      </a:cubicBezTo>
                      <a:cubicBezTo>
                        <a:pt x="44468" y="80351"/>
                        <a:pt x="41276" y="81452"/>
                        <a:pt x="37534" y="81452"/>
                      </a:cubicBezTo>
                      <a:cubicBezTo>
                        <a:pt x="30599" y="81452"/>
                        <a:pt x="27407" y="77709"/>
                        <a:pt x="21574" y="77709"/>
                      </a:cubicBezTo>
                      <a:cubicBezTo>
                        <a:pt x="13979" y="77929"/>
                        <a:pt x="11778" y="81011"/>
                        <a:pt x="5393" y="8101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37" name="Freeform: Shape 336">
                  <a:extLst>
                    <a:ext uri="{FF2B5EF4-FFF2-40B4-BE49-F238E27FC236}">
                      <a16:creationId xmlns:a16="http://schemas.microsoft.com/office/drawing/2014/main" id="{05235946-F2EE-4161-9C22-6A59E7A69668}"/>
                    </a:ext>
                  </a:extLst>
                </p:cNvPr>
                <p:cNvSpPr/>
                <p:nvPr/>
              </p:nvSpPr>
              <p:spPr>
                <a:xfrm>
                  <a:off x="2061693" y="2924743"/>
                  <a:ext cx="11007" cy="11007"/>
                </a:xfrm>
                <a:custGeom>
                  <a:avLst/>
                  <a:gdLst>
                    <a:gd name="connsiteX0" fmla="*/ 0 w 11006"/>
                    <a:gd name="connsiteY0" fmla="*/ 0 h 0"/>
                    <a:gd name="connsiteX1" fmla="*/ 18161 w 11006"/>
                    <a:gd name="connsiteY1" fmla="*/ 9136 h 0"/>
                    <a:gd name="connsiteX2" fmla="*/ 15520 w 11006"/>
                    <a:gd name="connsiteY2" fmla="*/ 9136 h 0"/>
                    <a:gd name="connsiteX3" fmla="*/ 0 w 11006"/>
                    <a:gd name="connsiteY3" fmla="*/ 3742 h 0"/>
                    <a:gd name="connsiteX4" fmla="*/ 0 w 11006"/>
                    <a:gd name="connsiteY4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>
                      <a:moveTo>
                        <a:pt x="0" y="0"/>
                      </a:moveTo>
                      <a:cubicBezTo>
                        <a:pt x="9026" y="0"/>
                        <a:pt x="18161" y="1651"/>
                        <a:pt x="18161" y="9136"/>
                      </a:cubicBezTo>
                      <a:cubicBezTo>
                        <a:pt x="18161" y="9686"/>
                        <a:pt x="15960" y="9136"/>
                        <a:pt x="15520" y="9136"/>
                      </a:cubicBezTo>
                      <a:cubicBezTo>
                        <a:pt x="10787" y="9136"/>
                        <a:pt x="3192" y="6934"/>
                        <a:pt x="0" y="3742"/>
                      </a:cubicBezTo>
                      <a:cubicBezTo>
                        <a:pt x="550" y="2642"/>
                        <a:pt x="550" y="991"/>
                        <a:pt x="0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38" name="Freeform: Shape 337">
                  <a:extLst>
                    <a:ext uri="{FF2B5EF4-FFF2-40B4-BE49-F238E27FC236}">
                      <a16:creationId xmlns:a16="http://schemas.microsoft.com/office/drawing/2014/main" id="{33F406EB-7E61-464F-91D1-077D48A2856A}"/>
                    </a:ext>
                  </a:extLst>
                </p:cNvPr>
                <p:cNvSpPr/>
                <p:nvPr/>
              </p:nvSpPr>
              <p:spPr>
                <a:xfrm>
                  <a:off x="1357138" y="2975375"/>
                  <a:ext cx="66042" cy="44028"/>
                </a:xfrm>
                <a:custGeom>
                  <a:avLst/>
                  <a:gdLst>
                    <a:gd name="connsiteX0" fmla="*/ 0 w 66041"/>
                    <a:gd name="connsiteY0" fmla="*/ 2642 h 44027"/>
                    <a:gd name="connsiteX1" fmla="*/ 7485 w 66041"/>
                    <a:gd name="connsiteY1" fmla="*/ 0 h 44027"/>
                    <a:gd name="connsiteX2" fmla="*/ 21904 w 66041"/>
                    <a:gd name="connsiteY2" fmla="*/ 7485 h 44027"/>
                    <a:gd name="connsiteX3" fmla="*/ 71545 w 66041"/>
                    <a:gd name="connsiteY3" fmla="*/ 41606 h 44027"/>
                    <a:gd name="connsiteX4" fmla="*/ 71545 w 66041"/>
                    <a:gd name="connsiteY4" fmla="*/ 46449 h 44027"/>
                    <a:gd name="connsiteX5" fmla="*/ 66702 w 66041"/>
                    <a:gd name="connsiteY5" fmla="*/ 46449 h 44027"/>
                    <a:gd name="connsiteX6" fmla="*/ 27297 w 66041"/>
                    <a:gd name="connsiteY6" fmla="*/ 26747 h 44027"/>
                    <a:gd name="connsiteX7" fmla="*/ 32691 w 66041"/>
                    <a:gd name="connsiteY7" fmla="*/ 21354 h 44027"/>
                    <a:gd name="connsiteX8" fmla="*/ 4953 w 66041"/>
                    <a:gd name="connsiteY8" fmla="*/ 9576 h 44027"/>
                    <a:gd name="connsiteX9" fmla="*/ 10236 w 66041"/>
                    <a:gd name="connsiteY9" fmla="*/ 4733 h 44027"/>
                    <a:gd name="connsiteX10" fmla="*/ 2201 w 66041"/>
                    <a:gd name="connsiteY10" fmla="*/ 2532 h 44027"/>
                    <a:gd name="connsiteX11" fmla="*/ 0 w 66041"/>
                    <a:gd name="connsiteY11" fmla="*/ 2532 h 44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66041" h="44027">
                      <a:moveTo>
                        <a:pt x="0" y="2642"/>
                      </a:moveTo>
                      <a:cubicBezTo>
                        <a:pt x="2091" y="1651"/>
                        <a:pt x="4843" y="0"/>
                        <a:pt x="7485" y="0"/>
                      </a:cubicBezTo>
                      <a:cubicBezTo>
                        <a:pt x="13318" y="0"/>
                        <a:pt x="18162" y="6384"/>
                        <a:pt x="21904" y="7485"/>
                      </a:cubicBezTo>
                      <a:cubicBezTo>
                        <a:pt x="44908" y="14969"/>
                        <a:pt x="57676" y="27738"/>
                        <a:pt x="71545" y="41606"/>
                      </a:cubicBezTo>
                      <a:lnTo>
                        <a:pt x="71545" y="46449"/>
                      </a:lnTo>
                      <a:lnTo>
                        <a:pt x="66702" y="46449"/>
                      </a:lnTo>
                      <a:cubicBezTo>
                        <a:pt x="54374" y="46449"/>
                        <a:pt x="35773" y="32030"/>
                        <a:pt x="27297" y="26747"/>
                      </a:cubicBezTo>
                      <a:cubicBezTo>
                        <a:pt x="28398" y="23005"/>
                        <a:pt x="31040" y="23005"/>
                        <a:pt x="32691" y="21354"/>
                      </a:cubicBezTo>
                      <a:cubicBezTo>
                        <a:pt x="22014" y="21354"/>
                        <a:pt x="7044" y="15960"/>
                        <a:pt x="4953" y="9576"/>
                      </a:cubicBezTo>
                      <a:cubicBezTo>
                        <a:pt x="7595" y="8475"/>
                        <a:pt x="9686" y="6384"/>
                        <a:pt x="10236" y="4733"/>
                      </a:cubicBezTo>
                      <a:cubicBezTo>
                        <a:pt x="7595" y="4183"/>
                        <a:pt x="2201" y="2532"/>
                        <a:pt x="2201" y="2532"/>
                      </a:cubicBezTo>
                      <a:lnTo>
                        <a:pt x="0" y="2532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39" name="Freeform: Shape 338">
                  <a:extLst>
                    <a:ext uri="{FF2B5EF4-FFF2-40B4-BE49-F238E27FC236}">
                      <a16:creationId xmlns:a16="http://schemas.microsoft.com/office/drawing/2014/main" id="{44B30E3C-2787-404B-8582-E563FD2B03F6}"/>
                    </a:ext>
                  </a:extLst>
                </p:cNvPr>
                <p:cNvSpPr/>
                <p:nvPr/>
              </p:nvSpPr>
              <p:spPr>
                <a:xfrm>
                  <a:off x="1285592" y="2908232"/>
                  <a:ext cx="11007" cy="33021"/>
                </a:xfrm>
                <a:custGeom>
                  <a:avLst/>
                  <a:gdLst>
                    <a:gd name="connsiteX0" fmla="*/ 6384 w 11006"/>
                    <a:gd name="connsiteY0" fmla="*/ 13869 h 33020"/>
                    <a:gd name="connsiteX1" fmla="*/ 0 w 11006"/>
                    <a:gd name="connsiteY1" fmla="*/ 4293 h 33020"/>
                    <a:gd name="connsiteX2" fmla="*/ 0 w 11006"/>
                    <a:gd name="connsiteY2" fmla="*/ 0 h 33020"/>
                    <a:gd name="connsiteX3" fmla="*/ 12328 w 11006"/>
                    <a:gd name="connsiteY3" fmla="*/ 3742 h 33020"/>
                    <a:gd name="connsiteX4" fmla="*/ 9136 w 11006"/>
                    <a:gd name="connsiteY4" fmla="*/ 10126 h 33020"/>
                    <a:gd name="connsiteX5" fmla="*/ 16070 w 11006"/>
                    <a:gd name="connsiteY5" fmla="*/ 3192 h 33020"/>
                    <a:gd name="connsiteX6" fmla="*/ 16070 w 11006"/>
                    <a:gd name="connsiteY6" fmla="*/ 14969 h 33020"/>
                    <a:gd name="connsiteX7" fmla="*/ 18712 w 11006"/>
                    <a:gd name="connsiteY7" fmla="*/ 21353 h 33020"/>
                    <a:gd name="connsiteX8" fmla="*/ 16070 w 11006"/>
                    <a:gd name="connsiteY8" fmla="*/ 26747 h 33020"/>
                    <a:gd name="connsiteX9" fmla="*/ 20363 w 11006"/>
                    <a:gd name="connsiteY9" fmla="*/ 36873 h 33020"/>
                    <a:gd name="connsiteX10" fmla="*/ 12878 w 11006"/>
                    <a:gd name="connsiteY10" fmla="*/ 26747 h 33020"/>
                    <a:gd name="connsiteX11" fmla="*/ 14969 w 11006"/>
                    <a:gd name="connsiteY11" fmla="*/ 20913 h 33020"/>
                    <a:gd name="connsiteX12" fmla="*/ 6384 w 11006"/>
                    <a:gd name="connsiteY12" fmla="*/ 13869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1006" h="33020">
                      <a:moveTo>
                        <a:pt x="6384" y="13869"/>
                      </a:moveTo>
                      <a:cubicBezTo>
                        <a:pt x="4293" y="13869"/>
                        <a:pt x="2091" y="7485"/>
                        <a:pt x="0" y="4293"/>
                      </a:cubicBezTo>
                      <a:lnTo>
                        <a:pt x="0" y="0"/>
                      </a:lnTo>
                      <a:cubicBezTo>
                        <a:pt x="4843" y="0"/>
                        <a:pt x="7485" y="3192"/>
                        <a:pt x="12328" y="3742"/>
                      </a:cubicBezTo>
                      <a:cubicBezTo>
                        <a:pt x="12328" y="4293"/>
                        <a:pt x="5944" y="10126"/>
                        <a:pt x="9136" y="10126"/>
                      </a:cubicBezTo>
                      <a:cubicBezTo>
                        <a:pt x="12878" y="10126"/>
                        <a:pt x="14969" y="5834"/>
                        <a:pt x="16070" y="3192"/>
                      </a:cubicBezTo>
                      <a:cubicBezTo>
                        <a:pt x="17171" y="6384"/>
                        <a:pt x="16070" y="9576"/>
                        <a:pt x="16070" y="14969"/>
                      </a:cubicBezTo>
                      <a:cubicBezTo>
                        <a:pt x="16070" y="17611"/>
                        <a:pt x="18712" y="18602"/>
                        <a:pt x="18712" y="21353"/>
                      </a:cubicBezTo>
                      <a:cubicBezTo>
                        <a:pt x="18712" y="23445"/>
                        <a:pt x="16070" y="24545"/>
                        <a:pt x="16070" y="26747"/>
                      </a:cubicBezTo>
                      <a:cubicBezTo>
                        <a:pt x="16070" y="28838"/>
                        <a:pt x="25646" y="36873"/>
                        <a:pt x="20363" y="36873"/>
                      </a:cubicBezTo>
                      <a:cubicBezTo>
                        <a:pt x="16070" y="36873"/>
                        <a:pt x="12878" y="31040"/>
                        <a:pt x="12878" y="26747"/>
                      </a:cubicBezTo>
                      <a:cubicBezTo>
                        <a:pt x="12878" y="23555"/>
                        <a:pt x="14969" y="21904"/>
                        <a:pt x="14969" y="20913"/>
                      </a:cubicBezTo>
                      <a:cubicBezTo>
                        <a:pt x="10677" y="19702"/>
                        <a:pt x="9686" y="13869"/>
                        <a:pt x="6384" y="13869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40" name="Freeform: Shape 339">
                  <a:extLst>
                    <a:ext uri="{FF2B5EF4-FFF2-40B4-BE49-F238E27FC236}">
                      <a16:creationId xmlns:a16="http://schemas.microsoft.com/office/drawing/2014/main" id="{E925CD8C-D57F-4160-A199-2CC60F831A47}"/>
                    </a:ext>
                  </a:extLst>
                </p:cNvPr>
                <p:cNvSpPr/>
                <p:nvPr/>
              </p:nvSpPr>
              <p:spPr>
                <a:xfrm>
                  <a:off x="959676" y="2827661"/>
                  <a:ext cx="22014" cy="11007"/>
                </a:xfrm>
                <a:custGeom>
                  <a:avLst/>
                  <a:gdLst>
                    <a:gd name="connsiteX0" fmla="*/ 25646 w 22013"/>
                    <a:gd name="connsiteY0" fmla="*/ 0 h 11006"/>
                    <a:gd name="connsiteX1" fmla="*/ 32030 w 22013"/>
                    <a:gd name="connsiteY1" fmla="*/ 0 h 11006"/>
                    <a:gd name="connsiteX2" fmla="*/ 32030 w 22013"/>
                    <a:gd name="connsiteY2" fmla="*/ 6384 h 11006"/>
                    <a:gd name="connsiteX3" fmla="*/ 11227 w 22013"/>
                    <a:gd name="connsiteY3" fmla="*/ 21353 h 11006"/>
                    <a:gd name="connsiteX4" fmla="*/ 0 w 22013"/>
                    <a:gd name="connsiteY4" fmla="*/ 14419 h 11006"/>
                    <a:gd name="connsiteX5" fmla="*/ 0 w 22013"/>
                    <a:gd name="connsiteY5" fmla="*/ 8035 h 11006"/>
                    <a:gd name="connsiteX6" fmla="*/ 25646 w 22013"/>
                    <a:gd name="connsiteY6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013" h="11006">
                      <a:moveTo>
                        <a:pt x="25646" y="0"/>
                      </a:moveTo>
                      <a:lnTo>
                        <a:pt x="32030" y="0"/>
                      </a:lnTo>
                      <a:lnTo>
                        <a:pt x="32030" y="6384"/>
                      </a:lnTo>
                      <a:cubicBezTo>
                        <a:pt x="22454" y="11227"/>
                        <a:pt x="19262" y="14969"/>
                        <a:pt x="11227" y="21353"/>
                      </a:cubicBezTo>
                      <a:cubicBezTo>
                        <a:pt x="6494" y="17611"/>
                        <a:pt x="3742" y="17061"/>
                        <a:pt x="0" y="14419"/>
                      </a:cubicBezTo>
                      <a:lnTo>
                        <a:pt x="0" y="8035"/>
                      </a:lnTo>
                      <a:cubicBezTo>
                        <a:pt x="9136" y="5283"/>
                        <a:pt x="16070" y="0"/>
                        <a:pt x="25646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41" name="Freeform: Shape 340">
                  <a:extLst>
                    <a:ext uri="{FF2B5EF4-FFF2-40B4-BE49-F238E27FC236}">
                      <a16:creationId xmlns:a16="http://schemas.microsoft.com/office/drawing/2014/main" id="{91C25B02-A546-4E34-88AA-FCD4EBA596F0}"/>
                    </a:ext>
                  </a:extLst>
                </p:cNvPr>
                <p:cNvSpPr/>
                <p:nvPr/>
              </p:nvSpPr>
              <p:spPr>
                <a:xfrm>
                  <a:off x="2330043" y="2990087"/>
                  <a:ext cx="33021" cy="11007"/>
                </a:xfrm>
                <a:custGeom>
                  <a:avLst/>
                  <a:gdLst>
                    <a:gd name="connsiteX0" fmla="*/ 30379 w 33020"/>
                    <a:gd name="connsiteY0" fmla="*/ 16768 h 11006"/>
                    <a:gd name="connsiteX1" fmla="*/ 37864 w 33020"/>
                    <a:gd name="connsiteY1" fmla="*/ 13575 h 11006"/>
                    <a:gd name="connsiteX2" fmla="*/ 0 w 33020"/>
                    <a:gd name="connsiteY2" fmla="*/ 807 h 11006"/>
                    <a:gd name="connsiteX3" fmla="*/ 30379 w 33020"/>
                    <a:gd name="connsiteY3" fmla="*/ 16768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3020" h="11006">
                      <a:moveTo>
                        <a:pt x="30379" y="16768"/>
                      </a:moveTo>
                      <a:cubicBezTo>
                        <a:pt x="34672" y="16768"/>
                        <a:pt x="36323" y="16217"/>
                        <a:pt x="37864" y="13575"/>
                      </a:cubicBezTo>
                      <a:cubicBezTo>
                        <a:pt x="26637" y="7191"/>
                        <a:pt x="16510" y="-2935"/>
                        <a:pt x="0" y="807"/>
                      </a:cubicBezTo>
                      <a:cubicBezTo>
                        <a:pt x="6384" y="5540"/>
                        <a:pt x="21904" y="16768"/>
                        <a:pt x="30379" y="1676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42" name="Freeform: Shape 341">
                  <a:extLst>
                    <a:ext uri="{FF2B5EF4-FFF2-40B4-BE49-F238E27FC236}">
                      <a16:creationId xmlns:a16="http://schemas.microsoft.com/office/drawing/2014/main" id="{547DFE34-F32B-4459-8DC2-8A1D3855F682}"/>
                    </a:ext>
                  </a:extLst>
                </p:cNvPr>
                <p:cNvSpPr/>
                <p:nvPr/>
              </p:nvSpPr>
              <p:spPr>
                <a:xfrm>
                  <a:off x="2332685" y="3048461"/>
                  <a:ext cx="22014" cy="11007"/>
                </a:xfrm>
                <a:custGeom>
                  <a:avLst/>
                  <a:gdLst>
                    <a:gd name="connsiteX0" fmla="*/ 2091 w 22013"/>
                    <a:gd name="connsiteY0" fmla="*/ 0 h 11006"/>
                    <a:gd name="connsiteX1" fmla="*/ 13869 w 22013"/>
                    <a:gd name="connsiteY1" fmla="*/ 8475 h 11006"/>
                    <a:gd name="connsiteX2" fmla="*/ 29829 w 22013"/>
                    <a:gd name="connsiteY2" fmla="*/ 8475 h 11006"/>
                    <a:gd name="connsiteX3" fmla="*/ 29829 w 22013"/>
                    <a:gd name="connsiteY3" fmla="*/ 11777 h 11006"/>
                    <a:gd name="connsiteX4" fmla="*/ 23445 w 22013"/>
                    <a:gd name="connsiteY4" fmla="*/ 17611 h 11006"/>
                    <a:gd name="connsiteX5" fmla="*/ 0 w 22013"/>
                    <a:gd name="connsiteY5" fmla="*/ 3742 h 11006"/>
                    <a:gd name="connsiteX6" fmla="*/ 2091 w 22013"/>
                    <a:gd name="connsiteY6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013" h="11006">
                      <a:moveTo>
                        <a:pt x="2091" y="0"/>
                      </a:moveTo>
                      <a:cubicBezTo>
                        <a:pt x="4733" y="5283"/>
                        <a:pt x="8475" y="7485"/>
                        <a:pt x="13869" y="8475"/>
                      </a:cubicBezTo>
                      <a:lnTo>
                        <a:pt x="29829" y="8475"/>
                      </a:lnTo>
                      <a:lnTo>
                        <a:pt x="29829" y="11777"/>
                      </a:lnTo>
                      <a:cubicBezTo>
                        <a:pt x="29829" y="14969"/>
                        <a:pt x="24435" y="17611"/>
                        <a:pt x="23445" y="17611"/>
                      </a:cubicBezTo>
                      <a:cubicBezTo>
                        <a:pt x="19703" y="17611"/>
                        <a:pt x="0" y="7485"/>
                        <a:pt x="0" y="3742"/>
                      </a:cubicBezTo>
                      <a:cubicBezTo>
                        <a:pt x="0" y="2091"/>
                        <a:pt x="1101" y="550"/>
                        <a:pt x="2091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43" name="Freeform: Shape 342">
                  <a:extLst>
                    <a:ext uri="{FF2B5EF4-FFF2-40B4-BE49-F238E27FC236}">
                      <a16:creationId xmlns:a16="http://schemas.microsoft.com/office/drawing/2014/main" id="{1003A4F6-0F65-4456-85C2-90037AE0C73C}"/>
                    </a:ext>
                  </a:extLst>
                </p:cNvPr>
                <p:cNvSpPr/>
                <p:nvPr/>
              </p:nvSpPr>
              <p:spPr>
                <a:xfrm>
                  <a:off x="2375942" y="3049011"/>
                  <a:ext cx="11007" cy="22014"/>
                </a:xfrm>
                <a:custGeom>
                  <a:avLst/>
                  <a:gdLst>
                    <a:gd name="connsiteX0" fmla="*/ 20253 w 11006"/>
                    <a:gd name="connsiteY0" fmla="*/ 13318 h 22013"/>
                    <a:gd name="connsiteX1" fmla="*/ 20253 w 11006"/>
                    <a:gd name="connsiteY1" fmla="*/ 17061 h 22013"/>
                    <a:gd name="connsiteX2" fmla="*/ 8475 w 11006"/>
                    <a:gd name="connsiteY2" fmla="*/ 23995 h 22013"/>
                    <a:gd name="connsiteX3" fmla="*/ 0 w 11006"/>
                    <a:gd name="connsiteY3" fmla="*/ 18161 h 22013"/>
                    <a:gd name="connsiteX4" fmla="*/ 12218 w 11006"/>
                    <a:gd name="connsiteY4" fmla="*/ 0 h 22013"/>
                    <a:gd name="connsiteX5" fmla="*/ 15960 w 11006"/>
                    <a:gd name="connsiteY5" fmla="*/ 5283 h 22013"/>
                    <a:gd name="connsiteX6" fmla="*/ 20253 w 11006"/>
                    <a:gd name="connsiteY6" fmla="*/ 13318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006" h="22013">
                      <a:moveTo>
                        <a:pt x="20253" y="13318"/>
                      </a:moveTo>
                      <a:lnTo>
                        <a:pt x="20253" y="17061"/>
                      </a:lnTo>
                      <a:cubicBezTo>
                        <a:pt x="20253" y="20803"/>
                        <a:pt x="14419" y="23995"/>
                        <a:pt x="8475" y="23995"/>
                      </a:cubicBezTo>
                      <a:cubicBezTo>
                        <a:pt x="3082" y="23995"/>
                        <a:pt x="0" y="21353"/>
                        <a:pt x="0" y="18161"/>
                      </a:cubicBezTo>
                      <a:cubicBezTo>
                        <a:pt x="0" y="14969"/>
                        <a:pt x="7485" y="1651"/>
                        <a:pt x="12218" y="0"/>
                      </a:cubicBezTo>
                      <a:cubicBezTo>
                        <a:pt x="13318" y="2091"/>
                        <a:pt x="15960" y="3192"/>
                        <a:pt x="15960" y="5283"/>
                      </a:cubicBezTo>
                      <a:cubicBezTo>
                        <a:pt x="15960" y="10126"/>
                        <a:pt x="7925" y="13318"/>
                        <a:pt x="20253" y="1331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44" name="Freeform: Shape 343">
                  <a:extLst>
                    <a:ext uri="{FF2B5EF4-FFF2-40B4-BE49-F238E27FC236}">
                      <a16:creationId xmlns:a16="http://schemas.microsoft.com/office/drawing/2014/main" id="{04305F34-E8E4-44ED-A5F9-E4E888E14C91}"/>
                    </a:ext>
                  </a:extLst>
                </p:cNvPr>
                <p:cNvSpPr/>
                <p:nvPr/>
              </p:nvSpPr>
              <p:spPr>
                <a:xfrm>
                  <a:off x="769366" y="2771549"/>
                  <a:ext cx="22014" cy="11007"/>
                </a:xfrm>
                <a:custGeom>
                  <a:avLst/>
                  <a:gdLst>
                    <a:gd name="connsiteX0" fmla="*/ 7925 w 22013"/>
                    <a:gd name="connsiteY0" fmla="*/ 3829 h 0"/>
                    <a:gd name="connsiteX1" fmla="*/ 15960 w 22013"/>
                    <a:gd name="connsiteY1" fmla="*/ 86 h 0"/>
                    <a:gd name="connsiteX2" fmla="*/ 23995 w 22013"/>
                    <a:gd name="connsiteY2" fmla="*/ 9222 h 0"/>
                    <a:gd name="connsiteX3" fmla="*/ 6384 w 22013"/>
                    <a:gd name="connsiteY3" fmla="*/ 9222 h 0"/>
                    <a:gd name="connsiteX4" fmla="*/ 0 w 22013"/>
                    <a:gd name="connsiteY4" fmla="*/ 3829 h 0"/>
                    <a:gd name="connsiteX5" fmla="*/ 7925 w 22013"/>
                    <a:gd name="connsiteY5" fmla="*/ 3829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013">
                      <a:moveTo>
                        <a:pt x="7925" y="3829"/>
                      </a:moveTo>
                      <a:cubicBezTo>
                        <a:pt x="10016" y="-904"/>
                        <a:pt x="11667" y="86"/>
                        <a:pt x="15960" y="86"/>
                      </a:cubicBezTo>
                      <a:cubicBezTo>
                        <a:pt x="22344" y="86"/>
                        <a:pt x="22894" y="3829"/>
                        <a:pt x="23995" y="9222"/>
                      </a:cubicBezTo>
                      <a:lnTo>
                        <a:pt x="6384" y="9222"/>
                      </a:lnTo>
                      <a:cubicBezTo>
                        <a:pt x="4293" y="7571"/>
                        <a:pt x="1101" y="5920"/>
                        <a:pt x="0" y="3829"/>
                      </a:cubicBezTo>
                      <a:lnTo>
                        <a:pt x="7925" y="3829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45" name="Freeform: Shape 344">
                  <a:extLst>
                    <a:ext uri="{FF2B5EF4-FFF2-40B4-BE49-F238E27FC236}">
                      <a16:creationId xmlns:a16="http://schemas.microsoft.com/office/drawing/2014/main" id="{AA561E6B-160A-4D68-9677-05455E344A5D}"/>
                    </a:ext>
                  </a:extLst>
                </p:cNvPr>
                <p:cNvSpPr/>
                <p:nvPr/>
              </p:nvSpPr>
              <p:spPr>
                <a:xfrm>
                  <a:off x="945918" y="3526383"/>
                  <a:ext cx="11007" cy="11007"/>
                </a:xfrm>
                <a:custGeom>
                  <a:avLst/>
                  <a:gdLst>
                    <a:gd name="connsiteX0" fmla="*/ 12768 w 11006"/>
                    <a:gd name="connsiteY0" fmla="*/ 4843 h 11006"/>
                    <a:gd name="connsiteX1" fmla="*/ 12768 w 11006"/>
                    <a:gd name="connsiteY1" fmla="*/ 8585 h 11006"/>
                    <a:gd name="connsiteX2" fmla="*/ 3192 w 11006"/>
                    <a:gd name="connsiteY2" fmla="*/ 11227 h 11006"/>
                    <a:gd name="connsiteX3" fmla="*/ 0 w 11006"/>
                    <a:gd name="connsiteY3" fmla="*/ 7485 h 11006"/>
                    <a:gd name="connsiteX4" fmla="*/ 0 w 11006"/>
                    <a:gd name="connsiteY4" fmla="*/ 0 h 11006"/>
                    <a:gd name="connsiteX5" fmla="*/ 12768 w 11006"/>
                    <a:gd name="connsiteY5" fmla="*/ 4843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06" h="11006">
                      <a:moveTo>
                        <a:pt x="12768" y="4843"/>
                      </a:moveTo>
                      <a:lnTo>
                        <a:pt x="12768" y="8585"/>
                      </a:lnTo>
                      <a:cubicBezTo>
                        <a:pt x="8475" y="9686"/>
                        <a:pt x="6934" y="11227"/>
                        <a:pt x="3192" y="11227"/>
                      </a:cubicBezTo>
                      <a:cubicBezTo>
                        <a:pt x="1541" y="11227"/>
                        <a:pt x="0" y="9136"/>
                        <a:pt x="0" y="7485"/>
                      </a:cubicBezTo>
                      <a:cubicBezTo>
                        <a:pt x="0" y="4293"/>
                        <a:pt x="550" y="2642"/>
                        <a:pt x="0" y="0"/>
                      </a:cubicBezTo>
                      <a:cubicBezTo>
                        <a:pt x="5724" y="0"/>
                        <a:pt x="9576" y="1651"/>
                        <a:pt x="12768" y="484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46" name="Freeform: Shape 345">
                  <a:extLst>
                    <a:ext uri="{FF2B5EF4-FFF2-40B4-BE49-F238E27FC236}">
                      <a16:creationId xmlns:a16="http://schemas.microsoft.com/office/drawing/2014/main" id="{436E206D-9EFD-4B75-8A4A-9D983C14A959}"/>
                    </a:ext>
                  </a:extLst>
                </p:cNvPr>
                <p:cNvSpPr/>
                <p:nvPr/>
              </p:nvSpPr>
              <p:spPr>
                <a:xfrm>
                  <a:off x="935681" y="3508221"/>
                  <a:ext cx="11007" cy="11007"/>
                </a:xfrm>
                <a:custGeom>
                  <a:avLst/>
                  <a:gdLst>
                    <a:gd name="connsiteX0" fmla="*/ 6934 w 0"/>
                    <a:gd name="connsiteY0" fmla="*/ 4293 h 0"/>
                    <a:gd name="connsiteX1" fmla="*/ 4843 w 0"/>
                    <a:gd name="connsiteY1" fmla="*/ 5393 h 0"/>
                    <a:gd name="connsiteX2" fmla="*/ 0 w 0"/>
                    <a:gd name="connsiteY2" fmla="*/ 0 h 0"/>
                    <a:gd name="connsiteX3" fmla="*/ 6934 w 0"/>
                    <a:gd name="connsiteY3" fmla="*/ 4293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>
                      <a:moveTo>
                        <a:pt x="6934" y="4293"/>
                      </a:moveTo>
                      <a:cubicBezTo>
                        <a:pt x="6934" y="4293"/>
                        <a:pt x="5283" y="5393"/>
                        <a:pt x="4843" y="5393"/>
                      </a:cubicBezTo>
                      <a:cubicBezTo>
                        <a:pt x="2201" y="5393"/>
                        <a:pt x="1651" y="1651"/>
                        <a:pt x="0" y="0"/>
                      </a:cubicBezTo>
                      <a:cubicBezTo>
                        <a:pt x="2642" y="110"/>
                        <a:pt x="5283" y="2201"/>
                        <a:pt x="6934" y="429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47" name="Freeform: Shape 346">
                  <a:extLst>
                    <a:ext uri="{FF2B5EF4-FFF2-40B4-BE49-F238E27FC236}">
                      <a16:creationId xmlns:a16="http://schemas.microsoft.com/office/drawing/2014/main" id="{F457C9AC-2BD4-4D41-8BFD-4D09C89485E0}"/>
                    </a:ext>
                  </a:extLst>
                </p:cNvPr>
                <p:cNvSpPr/>
                <p:nvPr/>
              </p:nvSpPr>
              <p:spPr>
                <a:xfrm>
                  <a:off x="922363" y="3502938"/>
                  <a:ext cx="11007" cy="11007"/>
                </a:xfrm>
                <a:custGeom>
                  <a:avLst/>
                  <a:gdLst>
                    <a:gd name="connsiteX0" fmla="*/ 9576 w 0"/>
                    <a:gd name="connsiteY0" fmla="*/ 0 h 0"/>
                    <a:gd name="connsiteX1" fmla="*/ 2642 w 0"/>
                    <a:gd name="connsiteY1" fmla="*/ 4293 h 0"/>
                    <a:gd name="connsiteX2" fmla="*/ 0 w 0"/>
                    <a:gd name="connsiteY2" fmla="*/ 0 h 0"/>
                    <a:gd name="connsiteX3" fmla="*/ 9576 w 0"/>
                    <a:gd name="connsiteY3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>
                      <a:moveTo>
                        <a:pt x="9576" y="0"/>
                      </a:moveTo>
                      <a:cubicBezTo>
                        <a:pt x="7925" y="2091"/>
                        <a:pt x="5283" y="4293"/>
                        <a:pt x="2642" y="4293"/>
                      </a:cubicBezTo>
                      <a:cubicBezTo>
                        <a:pt x="1101" y="4293"/>
                        <a:pt x="0" y="1651"/>
                        <a:pt x="0" y="0"/>
                      </a:cubicBezTo>
                      <a:lnTo>
                        <a:pt x="9576" y="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48" name="Freeform: Shape 347">
                  <a:extLst>
                    <a:ext uri="{FF2B5EF4-FFF2-40B4-BE49-F238E27FC236}">
                      <a16:creationId xmlns:a16="http://schemas.microsoft.com/office/drawing/2014/main" id="{68863DD1-0D51-45C4-834D-3C61A59C16F1}"/>
                    </a:ext>
                  </a:extLst>
                </p:cNvPr>
                <p:cNvSpPr/>
                <p:nvPr/>
              </p:nvSpPr>
              <p:spPr>
                <a:xfrm>
                  <a:off x="909705" y="3496554"/>
                  <a:ext cx="11007" cy="11007"/>
                </a:xfrm>
                <a:custGeom>
                  <a:avLst/>
                  <a:gdLst>
                    <a:gd name="connsiteX0" fmla="*/ 2532 w 0"/>
                    <a:gd name="connsiteY0" fmla="*/ 1101 h 0"/>
                    <a:gd name="connsiteX1" fmla="*/ 7375 w 0"/>
                    <a:gd name="connsiteY1" fmla="*/ 0 h 0"/>
                    <a:gd name="connsiteX2" fmla="*/ 7375 w 0"/>
                    <a:gd name="connsiteY2" fmla="*/ 3192 h 0"/>
                    <a:gd name="connsiteX3" fmla="*/ 4733 w 0"/>
                    <a:gd name="connsiteY3" fmla="*/ 5393 h 0"/>
                    <a:gd name="connsiteX4" fmla="*/ 0 w 0"/>
                    <a:gd name="connsiteY4" fmla="*/ 1651 h 0"/>
                    <a:gd name="connsiteX5" fmla="*/ 3742 w 0"/>
                    <a:gd name="connsiteY5" fmla="*/ 1101 h 0"/>
                    <a:gd name="connsiteX6" fmla="*/ 2532 w 0"/>
                    <a:gd name="connsiteY6" fmla="*/ 1101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>
                      <a:moveTo>
                        <a:pt x="2532" y="1101"/>
                      </a:moveTo>
                      <a:cubicBezTo>
                        <a:pt x="4073" y="550"/>
                        <a:pt x="5724" y="0"/>
                        <a:pt x="7375" y="0"/>
                      </a:cubicBezTo>
                      <a:lnTo>
                        <a:pt x="7375" y="3192"/>
                      </a:lnTo>
                      <a:cubicBezTo>
                        <a:pt x="7375" y="4293"/>
                        <a:pt x="5724" y="5393"/>
                        <a:pt x="4733" y="5393"/>
                      </a:cubicBezTo>
                      <a:cubicBezTo>
                        <a:pt x="2642" y="5393"/>
                        <a:pt x="0" y="1651"/>
                        <a:pt x="0" y="1651"/>
                      </a:cubicBezTo>
                      <a:cubicBezTo>
                        <a:pt x="991" y="1101"/>
                        <a:pt x="2642" y="1101"/>
                        <a:pt x="3742" y="1101"/>
                      </a:cubicBezTo>
                      <a:lnTo>
                        <a:pt x="2532" y="1101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49" name="Freeform: Shape 348">
                  <a:extLst>
                    <a:ext uri="{FF2B5EF4-FFF2-40B4-BE49-F238E27FC236}">
                      <a16:creationId xmlns:a16="http://schemas.microsoft.com/office/drawing/2014/main" id="{14DAE943-6C6B-4794-8D66-D087A432100E}"/>
                    </a:ext>
                  </a:extLst>
                </p:cNvPr>
                <p:cNvSpPr/>
                <p:nvPr/>
              </p:nvSpPr>
              <p:spPr>
                <a:xfrm>
                  <a:off x="887691" y="3484777"/>
                  <a:ext cx="11007" cy="11007"/>
                </a:xfrm>
                <a:custGeom>
                  <a:avLst/>
                  <a:gdLst>
                    <a:gd name="connsiteX0" fmla="*/ 7485 w 0"/>
                    <a:gd name="connsiteY0" fmla="*/ 2201 h 0"/>
                    <a:gd name="connsiteX1" fmla="*/ 8035 w 0"/>
                    <a:gd name="connsiteY1" fmla="*/ 6384 h 0"/>
                    <a:gd name="connsiteX2" fmla="*/ 4293 w 0"/>
                    <a:gd name="connsiteY2" fmla="*/ 6384 h 0"/>
                    <a:gd name="connsiteX3" fmla="*/ 0 w 0"/>
                    <a:gd name="connsiteY3" fmla="*/ 2642 h 0"/>
                    <a:gd name="connsiteX4" fmla="*/ 3192 w 0"/>
                    <a:gd name="connsiteY4" fmla="*/ 0 h 0"/>
                    <a:gd name="connsiteX5" fmla="*/ 7485 w 0"/>
                    <a:gd name="connsiteY5" fmla="*/ 2201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>
                      <a:moveTo>
                        <a:pt x="7485" y="2201"/>
                      </a:moveTo>
                      <a:cubicBezTo>
                        <a:pt x="7485" y="3742"/>
                        <a:pt x="7485" y="4843"/>
                        <a:pt x="8035" y="6384"/>
                      </a:cubicBezTo>
                      <a:lnTo>
                        <a:pt x="4293" y="6384"/>
                      </a:lnTo>
                      <a:cubicBezTo>
                        <a:pt x="2642" y="6384"/>
                        <a:pt x="0" y="4183"/>
                        <a:pt x="0" y="2642"/>
                      </a:cubicBezTo>
                      <a:cubicBezTo>
                        <a:pt x="1101" y="2091"/>
                        <a:pt x="2752" y="991"/>
                        <a:pt x="3192" y="0"/>
                      </a:cubicBezTo>
                      <a:cubicBezTo>
                        <a:pt x="4293" y="1101"/>
                        <a:pt x="5834" y="2201"/>
                        <a:pt x="7485" y="220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50" name="Freeform: Shape 349">
                  <a:extLst>
                    <a:ext uri="{FF2B5EF4-FFF2-40B4-BE49-F238E27FC236}">
                      <a16:creationId xmlns:a16="http://schemas.microsoft.com/office/drawing/2014/main" id="{99517944-4EB2-4BE0-9DD1-9D223E653CF3}"/>
                    </a:ext>
                  </a:extLst>
                </p:cNvPr>
                <p:cNvSpPr/>
                <p:nvPr/>
              </p:nvSpPr>
              <p:spPr>
                <a:xfrm>
                  <a:off x="761661" y="2475543"/>
                  <a:ext cx="1695072" cy="1232780"/>
                </a:xfrm>
                <a:custGeom>
                  <a:avLst/>
                  <a:gdLst>
                    <a:gd name="connsiteX0" fmla="*/ 1669206 w 1695071"/>
                    <a:gd name="connsiteY0" fmla="*/ 411886 h 1232779"/>
                    <a:gd name="connsiteX1" fmla="*/ 1673718 w 1695071"/>
                    <a:gd name="connsiteY1" fmla="*/ 417940 h 1232779"/>
                    <a:gd name="connsiteX2" fmla="*/ 1630241 w 1695071"/>
                    <a:gd name="connsiteY2" fmla="*/ 437972 h 1232779"/>
                    <a:gd name="connsiteX3" fmla="*/ 1635524 w 1695071"/>
                    <a:gd name="connsiteY3" fmla="*/ 440064 h 1232779"/>
                    <a:gd name="connsiteX4" fmla="*/ 1686156 w 1695071"/>
                    <a:gd name="connsiteY4" fmla="*/ 423993 h 1232779"/>
                    <a:gd name="connsiteX5" fmla="*/ 1686156 w 1695071"/>
                    <a:gd name="connsiteY5" fmla="*/ 430488 h 1232779"/>
                    <a:gd name="connsiteX6" fmla="*/ 1690449 w 1695071"/>
                    <a:gd name="connsiteY6" fmla="*/ 438523 h 1232779"/>
                    <a:gd name="connsiteX7" fmla="*/ 1699475 w 1695071"/>
                    <a:gd name="connsiteY7" fmla="*/ 464169 h 1232779"/>
                    <a:gd name="connsiteX8" fmla="*/ 1648843 w 1695071"/>
                    <a:gd name="connsiteY8" fmla="*/ 493447 h 1232779"/>
                    <a:gd name="connsiteX9" fmla="*/ 1591717 w 1695071"/>
                    <a:gd name="connsiteY9" fmla="*/ 505225 h 1232779"/>
                    <a:gd name="connsiteX10" fmla="*/ 1539434 w 1695071"/>
                    <a:gd name="connsiteY10" fmla="*/ 507866 h 1232779"/>
                    <a:gd name="connsiteX11" fmla="*/ 1526115 w 1695071"/>
                    <a:gd name="connsiteY11" fmla="*/ 523937 h 1232779"/>
                    <a:gd name="connsiteX12" fmla="*/ 1496286 w 1695071"/>
                    <a:gd name="connsiteY12" fmla="*/ 545290 h 1232779"/>
                    <a:gd name="connsiteX13" fmla="*/ 1546368 w 1695071"/>
                    <a:gd name="connsiteY13" fmla="*/ 526688 h 1232779"/>
                    <a:gd name="connsiteX14" fmla="*/ 1574105 w 1695071"/>
                    <a:gd name="connsiteY14" fmla="*/ 534723 h 1232779"/>
                    <a:gd name="connsiteX15" fmla="*/ 1551651 w 1695071"/>
                    <a:gd name="connsiteY15" fmla="*/ 552335 h 1232779"/>
                    <a:gd name="connsiteX16" fmla="*/ 1565080 w 1695071"/>
                    <a:gd name="connsiteY16" fmla="*/ 553876 h 1232779"/>
                    <a:gd name="connsiteX17" fmla="*/ 1559686 w 1695071"/>
                    <a:gd name="connsiteY17" fmla="*/ 566644 h 1232779"/>
                    <a:gd name="connsiteX18" fmla="*/ 1599642 w 1695071"/>
                    <a:gd name="connsiteY18" fmla="*/ 594932 h 1232779"/>
                    <a:gd name="connsiteX19" fmla="*/ 1616702 w 1695071"/>
                    <a:gd name="connsiteY19" fmla="*/ 601316 h 1232779"/>
                    <a:gd name="connsiteX20" fmla="*/ 1577518 w 1695071"/>
                    <a:gd name="connsiteY20" fmla="*/ 620027 h 1232779"/>
                    <a:gd name="connsiteX21" fmla="*/ 1552752 w 1695071"/>
                    <a:gd name="connsiteY21" fmla="*/ 637529 h 1232779"/>
                    <a:gd name="connsiteX22" fmla="*/ 1542075 w 1695071"/>
                    <a:gd name="connsiteY22" fmla="*/ 624210 h 1232779"/>
                    <a:gd name="connsiteX23" fmla="*/ 1573555 w 1695071"/>
                    <a:gd name="connsiteY23" fmla="*/ 602857 h 1232779"/>
                    <a:gd name="connsiteX24" fmla="*/ 1565520 w 1695071"/>
                    <a:gd name="connsiteY24" fmla="*/ 594821 h 1232779"/>
                    <a:gd name="connsiteX25" fmla="*/ 1552752 w 1695071"/>
                    <a:gd name="connsiteY25" fmla="*/ 605498 h 1232779"/>
                    <a:gd name="connsiteX26" fmla="*/ 1531399 w 1695071"/>
                    <a:gd name="connsiteY26" fmla="*/ 606489 h 1232779"/>
                    <a:gd name="connsiteX27" fmla="*/ 1526005 w 1695071"/>
                    <a:gd name="connsiteY27" fmla="*/ 606489 h 1232779"/>
                    <a:gd name="connsiteX28" fmla="*/ 1526005 w 1695071"/>
                    <a:gd name="connsiteY28" fmla="*/ 608030 h 1232779"/>
                    <a:gd name="connsiteX29" fmla="*/ 1526335 w 1695071"/>
                    <a:gd name="connsiteY29" fmla="*/ 609791 h 1232779"/>
                    <a:gd name="connsiteX30" fmla="*/ 1528647 w 1695071"/>
                    <a:gd name="connsiteY30" fmla="*/ 613423 h 1232779"/>
                    <a:gd name="connsiteX31" fmla="*/ 1511476 w 1695071"/>
                    <a:gd name="connsiteY31" fmla="*/ 622449 h 1232779"/>
                    <a:gd name="connsiteX32" fmla="*/ 1499258 w 1695071"/>
                    <a:gd name="connsiteY32" fmla="*/ 622449 h 1232779"/>
                    <a:gd name="connsiteX33" fmla="*/ 1472621 w 1695071"/>
                    <a:gd name="connsiteY33" fmla="*/ 657121 h 1232779"/>
                    <a:gd name="connsiteX34" fmla="*/ 1474823 w 1695071"/>
                    <a:gd name="connsiteY34" fmla="*/ 661964 h 1232779"/>
                    <a:gd name="connsiteX35" fmla="*/ 1480216 w 1695071"/>
                    <a:gd name="connsiteY35" fmla="*/ 671540 h 1232779"/>
                    <a:gd name="connsiteX36" fmla="*/ 1486050 w 1695071"/>
                    <a:gd name="connsiteY36" fmla="*/ 667798 h 1232779"/>
                    <a:gd name="connsiteX37" fmla="*/ 1486050 w 1695071"/>
                    <a:gd name="connsiteY37" fmla="*/ 671540 h 1232779"/>
                    <a:gd name="connsiteX38" fmla="*/ 1468439 w 1695071"/>
                    <a:gd name="connsiteY38" fmla="*/ 673191 h 1232779"/>
                    <a:gd name="connsiteX39" fmla="*/ 1428924 w 1695071"/>
                    <a:gd name="connsiteY39" fmla="*/ 684969 h 1232779"/>
                    <a:gd name="connsiteX40" fmla="*/ 1434317 w 1695071"/>
                    <a:gd name="connsiteY40" fmla="*/ 684969 h 1232779"/>
                    <a:gd name="connsiteX41" fmla="*/ 1447636 w 1695071"/>
                    <a:gd name="connsiteY41" fmla="*/ 684969 h 1232779"/>
                    <a:gd name="connsiteX42" fmla="*/ 1427383 w 1695071"/>
                    <a:gd name="connsiteY42" fmla="*/ 687610 h 1232779"/>
                    <a:gd name="connsiteX43" fmla="*/ 1422540 w 1695071"/>
                    <a:gd name="connsiteY43" fmla="*/ 687060 h 1232779"/>
                    <a:gd name="connsiteX44" fmla="*/ 1419348 w 1695071"/>
                    <a:gd name="connsiteY44" fmla="*/ 690802 h 1232779"/>
                    <a:gd name="connsiteX45" fmla="*/ 1424081 w 1695071"/>
                    <a:gd name="connsiteY45" fmla="*/ 697186 h 1232779"/>
                    <a:gd name="connsiteX46" fmla="*/ 1409111 w 1695071"/>
                    <a:gd name="connsiteY46" fmla="*/ 720081 h 1232779"/>
                    <a:gd name="connsiteX47" fmla="*/ 1405369 w 1695071"/>
                    <a:gd name="connsiteY47" fmla="*/ 715788 h 1232779"/>
                    <a:gd name="connsiteX48" fmla="*/ 1402727 w 1695071"/>
                    <a:gd name="connsiteY48" fmla="*/ 718430 h 1232779"/>
                    <a:gd name="connsiteX49" fmla="*/ 1407570 w 1695071"/>
                    <a:gd name="connsiteY49" fmla="*/ 728666 h 1232779"/>
                    <a:gd name="connsiteX50" fmla="*/ 1395242 w 1695071"/>
                    <a:gd name="connsiteY50" fmla="*/ 750460 h 1232779"/>
                    <a:gd name="connsiteX51" fmla="*/ 1393151 w 1695071"/>
                    <a:gd name="connsiteY51" fmla="*/ 747268 h 1232779"/>
                    <a:gd name="connsiteX52" fmla="*/ 1393151 w 1695071"/>
                    <a:gd name="connsiteY52" fmla="*/ 741434 h 1232779"/>
                    <a:gd name="connsiteX53" fmla="*/ 1387317 w 1695071"/>
                    <a:gd name="connsiteY53" fmla="*/ 723823 h 1232779"/>
                    <a:gd name="connsiteX54" fmla="*/ 1386767 w 1695071"/>
                    <a:gd name="connsiteY54" fmla="*/ 730757 h 1232779"/>
                    <a:gd name="connsiteX55" fmla="*/ 1389519 w 1695071"/>
                    <a:gd name="connsiteY55" fmla="*/ 749469 h 1232779"/>
                    <a:gd name="connsiteX56" fmla="*/ 1389519 w 1695071"/>
                    <a:gd name="connsiteY56" fmla="*/ 757504 h 1232779"/>
                    <a:gd name="connsiteX57" fmla="*/ 1393261 w 1695071"/>
                    <a:gd name="connsiteY57" fmla="*/ 757504 h 1232779"/>
                    <a:gd name="connsiteX58" fmla="*/ 1393261 w 1695071"/>
                    <a:gd name="connsiteY58" fmla="*/ 762898 h 1232779"/>
                    <a:gd name="connsiteX59" fmla="*/ 1386217 w 1695071"/>
                    <a:gd name="connsiteY59" fmla="*/ 769392 h 1232779"/>
                    <a:gd name="connsiteX60" fmla="*/ 1393591 w 1695071"/>
                    <a:gd name="connsiteY60" fmla="*/ 774015 h 1232779"/>
                    <a:gd name="connsiteX61" fmla="*/ 1385226 w 1695071"/>
                    <a:gd name="connsiteY61" fmla="*/ 779408 h 1232779"/>
                    <a:gd name="connsiteX62" fmla="*/ 1385226 w 1695071"/>
                    <a:gd name="connsiteY62" fmla="*/ 783701 h 1232779"/>
                    <a:gd name="connsiteX63" fmla="*/ 1391500 w 1695071"/>
                    <a:gd name="connsiteY63" fmla="*/ 787443 h 1232779"/>
                    <a:gd name="connsiteX64" fmla="*/ 1385226 w 1695071"/>
                    <a:gd name="connsiteY64" fmla="*/ 793387 h 1232779"/>
                    <a:gd name="connsiteX65" fmla="*/ 1371908 w 1695071"/>
                    <a:gd name="connsiteY65" fmla="*/ 799771 h 1232779"/>
                    <a:gd name="connsiteX66" fmla="*/ 1362882 w 1695071"/>
                    <a:gd name="connsiteY66" fmla="*/ 806705 h 1232779"/>
                    <a:gd name="connsiteX67" fmla="*/ 1364313 w 1695071"/>
                    <a:gd name="connsiteY67" fmla="*/ 807696 h 1232779"/>
                    <a:gd name="connsiteX68" fmla="*/ 1307407 w 1695071"/>
                    <a:gd name="connsiteY68" fmla="*/ 870766 h 1232779"/>
                    <a:gd name="connsiteX69" fmla="*/ 1322266 w 1695071"/>
                    <a:gd name="connsiteY69" fmla="*/ 909621 h 1232779"/>
                    <a:gd name="connsiteX70" fmla="*/ 1322266 w 1695071"/>
                    <a:gd name="connsiteY70" fmla="*/ 910721 h 1232779"/>
                    <a:gd name="connsiteX71" fmla="*/ 1322266 w 1695071"/>
                    <a:gd name="connsiteY71" fmla="*/ 913363 h 1232779"/>
                    <a:gd name="connsiteX72" fmla="*/ 1328650 w 1695071"/>
                    <a:gd name="connsiteY72" fmla="*/ 934716 h 1232779"/>
                    <a:gd name="connsiteX73" fmla="*/ 1316873 w 1695071"/>
                    <a:gd name="connsiteY73" fmla="*/ 956070 h 1232779"/>
                    <a:gd name="connsiteX74" fmla="*/ 1306196 w 1695071"/>
                    <a:gd name="connsiteY74" fmla="*/ 942751 h 1232779"/>
                    <a:gd name="connsiteX75" fmla="*/ 1290236 w 1695071"/>
                    <a:gd name="connsiteY75" fmla="*/ 922939 h 1232779"/>
                    <a:gd name="connsiteX76" fmla="*/ 1264590 w 1695071"/>
                    <a:gd name="connsiteY76" fmla="*/ 873298 h 1232779"/>
                    <a:gd name="connsiteX77" fmla="*/ 1252812 w 1695071"/>
                    <a:gd name="connsiteY77" fmla="*/ 880232 h 1232779"/>
                    <a:gd name="connsiteX78" fmla="*/ 1224524 w 1695071"/>
                    <a:gd name="connsiteY78" fmla="*/ 867904 h 1232779"/>
                    <a:gd name="connsiteX79" fmla="*/ 1211206 w 1695071"/>
                    <a:gd name="connsiteY79" fmla="*/ 872197 h 1232779"/>
                    <a:gd name="connsiteX80" fmla="*/ 1207464 w 1695071"/>
                    <a:gd name="connsiteY80" fmla="*/ 867904 h 1232779"/>
                    <a:gd name="connsiteX81" fmla="*/ 1178735 w 1695071"/>
                    <a:gd name="connsiteY81" fmla="*/ 872197 h 1232779"/>
                    <a:gd name="connsiteX82" fmla="*/ 1186220 w 1695071"/>
                    <a:gd name="connsiteY82" fmla="*/ 872197 h 1232779"/>
                    <a:gd name="connsiteX83" fmla="*/ 1187321 w 1695071"/>
                    <a:gd name="connsiteY83" fmla="*/ 889368 h 1232779"/>
                    <a:gd name="connsiteX84" fmla="*/ 1148907 w 1695071"/>
                    <a:gd name="connsiteY84" fmla="*/ 878691 h 1232779"/>
                    <a:gd name="connsiteX85" fmla="*/ 1140871 w 1695071"/>
                    <a:gd name="connsiteY85" fmla="*/ 882984 h 1232779"/>
                    <a:gd name="connsiteX86" fmla="*/ 1125902 w 1695071"/>
                    <a:gd name="connsiteY86" fmla="*/ 877590 h 1232779"/>
                    <a:gd name="connsiteX87" fmla="*/ 1096513 w 1695071"/>
                    <a:gd name="connsiteY87" fmla="*/ 897293 h 1232779"/>
                    <a:gd name="connsiteX88" fmla="*/ 1082094 w 1695071"/>
                    <a:gd name="connsiteY88" fmla="*/ 899934 h 1232779"/>
                    <a:gd name="connsiteX89" fmla="*/ 1063383 w 1695071"/>
                    <a:gd name="connsiteY89" fmla="*/ 934606 h 1232779"/>
                    <a:gd name="connsiteX90" fmla="*/ 1063603 w 1695071"/>
                    <a:gd name="connsiteY90" fmla="*/ 935487 h 1232779"/>
                    <a:gd name="connsiteX91" fmla="*/ 1066024 w 1695071"/>
                    <a:gd name="connsiteY91" fmla="*/ 939890 h 1232779"/>
                    <a:gd name="connsiteX92" fmla="*/ 1064593 w 1695071"/>
                    <a:gd name="connsiteY92" fmla="*/ 939670 h 1232779"/>
                    <a:gd name="connsiteX93" fmla="*/ 1064924 w 1695071"/>
                    <a:gd name="connsiteY93" fmla="*/ 940880 h 1232779"/>
                    <a:gd name="connsiteX94" fmla="*/ 1067015 w 1695071"/>
                    <a:gd name="connsiteY94" fmla="*/ 949466 h 1232779"/>
                    <a:gd name="connsiteX95" fmla="*/ 1061621 w 1695071"/>
                    <a:gd name="connsiteY95" fmla="*/ 970819 h 1232779"/>
                    <a:gd name="connsiteX96" fmla="*/ 1061621 w 1695071"/>
                    <a:gd name="connsiteY96" fmla="*/ 1000648 h 1232779"/>
                    <a:gd name="connsiteX97" fmla="*/ 1065914 w 1695071"/>
                    <a:gd name="connsiteY97" fmla="*/ 1011325 h 1232779"/>
                    <a:gd name="connsiteX98" fmla="*/ 1067455 w 1695071"/>
                    <a:gd name="connsiteY98" fmla="*/ 1024093 h 1232779"/>
                    <a:gd name="connsiteX99" fmla="*/ 1080223 w 1695071"/>
                    <a:gd name="connsiteY99" fmla="*/ 1039613 h 1232779"/>
                    <a:gd name="connsiteX100" fmla="*/ 1103668 w 1695071"/>
                    <a:gd name="connsiteY100" fmla="*/ 1062507 h 1232779"/>
                    <a:gd name="connsiteX101" fmla="*/ 1112804 w 1695071"/>
                    <a:gd name="connsiteY101" fmla="*/ 1068891 h 1232779"/>
                    <a:gd name="connsiteX102" fmla="*/ 1142192 w 1695071"/>
                    <a:gd name="connsiteY102" fmla="*/ 1061407 h 1232779"/>
                    <a:gd name="connsiteX103" fmla="*/ 1152319 w 1695071"/>
                    <a:gd name="connsiteY103" fmla="*/ 1064599 h 1232779"/>
                    <a:gd name="connsiteX104" fmla="*/ 1159803 w 1695071"/>
                    <a:gd name="connsiteY104" fmla="*/ 1056123 h 1232779"/>
                    <a:gd name="connsiteX105" fmla="*/ 1171031 w 1695071"/>
                    <a:gd name="connsiteY105" fmla="*/ 1034770 h 1232779"/>
                    <a:gd name="connsiteX106" fmla="*/ 1203061 w 1695071"/>
                    <a:gd name="connsiteY106" fmla="*/ 1013967 h 1232779"/>
                    <a:gd name="connsiteX107" fmla="*/ 1213738 w 1695071"/>
                    <a:gd name="connsiteY107" fmla="*/ 1015618 h 1232779"/>
                    <a:gd name="connsiteX108" fmla="*/ 1225955 w 1695071"/>
                    <a:gd name="connsiteY108" fmla="*/ 1016718 h 1232779"/>
                    <a:gd name="connsiteX109" fmla="*/ 1225955 w 1695071"/>
                    <a:gd name="connsiteY109" fmla="*/ 1021561 h 1232779"/>
                    <a:gd name="connsiteX110" fmla="*/ 1216930 w 1695071"/>
                    <a:gd name="connsiteY110" fmla="*/ 1048749 h 1232779"/>
                    <a:gd name="connsiteX111" fmla="*/ 1210546 w 1695071"/>
                    <a:gd name="connsiteY111" fmla="*/ 1066360 h 1232779"/>
                    <a:gd name="connsiteX112" fmla="*/ 1210546 w 1695071"/>
                    <a:gd name="connsiteY112" fmla="*/ 1062617 h 1232779"/>
                    <a:gd name="connsiteX113" fmla="*/ 1206253 w 1695071"/>
                    <a:gd name="connsiteY113" fmla="*/ 1062617 h 1232779"/>
                    <a:gd name="connsiteX114" fmla="*/ 1206253 w 1695071"/>
                    <a:gd name="connsiteY114" fmla="*/ 1088264 h 1232779"/>
                    <a:gd name="connsiteX115" fmla="*/ 1196677 w 1695071"/>
                    <a:gd name="connsiteY115" fmla="*/ 1098940 h 1232779"/>
                    <a:gd name="connsiteX116" fmla="*/ 1196677 w 1695071"/>
                    <a:gd name="connsiteY116" fmla="*/ 1101582 h 1232779"/>
                    <a:gd name="connsiteX117" fmla="*/ 1203061 w 1695071"/>
                    <a:gd name="connsiteY117" fmla="*/ 1107416 h 1232779"/>
                    <a:gd name="connsiteX118" fmla="*/ 1253693 w 1695071"/>
                    <a:gd name="connsiteY118" fmla="*/ 1104224 h 1232779"/>
                    <a:gd name="connsiteX119" fmla="*/ 1279339 w 1695071"/>
                    <a:gd name="connsiteY119" fmla="*/ 1115451 h 1232779"/>
                    <a:gd name="connsiteX120" fmla="*/ 1279339 w 1695071"/>
                    <a:gd name="connsiteY120" fmla="*/ 1123376 h 1232779"/>
                    <a:gd name="connsiteX121" fmla="*/ 1275597 w 1695071"/>
                    <a:gd name="connsiteY121" fmla="*/ 1146931 h 1232779"/>
                    <a:gd name="connsiteX122" fmla="*/ 1275597 w 1695071"/>
                    <a:gd name="connsiteY122" fmla="*/ 1179401 h 1232779"/>
                    <a:gd name="connsiteX123" fmla="*/ 1295299 w 1695071"/>
                    <a:gd name="connsiteY123" fmla="*/ 1200204 h 1232779"/>
                    <a:gd name="connsiteX124" fmla="*/ 1310269 w 1695071"/>
                    <a:gd name="connsiteY124" fmla="*/ 1212972 h 1232779"/>
                    <a:gd name="connsiteX125" fmla="*/ 1343840 w 1695071"/>
                    <a:gd name="connsiteY125" fmla="*/ 1202296 h 1232779"/>
                    <a:gd name="connsiteX126" fmla="*/ 1373889 w 1695071"/>
                    <a:gd name="connsiteY126" fmla="*/ 1219356 h 1232779"/>
                    <a:gd name="connsiteX127" fmla="*/ 1360570 w 1695071"/>
                    <a:gd name="connsiteY127" fmla="*/ 1232014 h 1232779"/>
                    <a:gd name="connsiteX128" fmla="*/ 1354627 w 1695071"/>
                    <a:gd name="connsiteY128" fmla="*/ 1227942 h 1232779"/>
                    <a:gd name="connsiteX129" fmla="*/ 1357819 w 1695071"/>
                    <a:gd name="connsiteY129" fmla="*/ 1222659 h 1232779"/>
                    <a:gd name="connsiteX130" fmla="*/ 1344500 w 1695071"/>
                    <a:gd name="connsiteY130" fmla="*/ 1212972 h 1232779"/>
                    <a:gd name="connsiteX131" fmla="*/ 1325788 w 1695071"/>
                    <a:gd name="connsiteY131" fmla="*/ 1226841 h 1232779"/>
                    <a:gd name="connsiteX132" fmla="*/ 1330081 w 1695071"/>
                    <a:gd name="connsiteY132" fmla="*/ 1231684 h 1232779"/>
                    <a:gd name="connsiteX133" fmla="*/ 1322046 w 1695071"/>
                    <a:gd name="connsiteY133" fmla="*/ 1239719 h 1232779"/>
                    <a:gd name="connsiteX134" fmla="*/ 1303885 w 1695071"/>
                    <a:gd name="connsiteY134" fmla="*/ 1225300 h 1232779"/>
                    <a:gd name="connsiteX135" fmla="*/ 1287924 w 1695071"/>
                    <a:gd name="connsiteY135" fmla="*/ 1224750 h 1232779"/>
                    <a:gd name="connsiteX136" fmla="*/ 1285283 w 1695071"/>
                    <a:gd name="connsiteY136" fmla="*/ 1221558 h 1232779"/>
                    <a:gd name="connsiteX137" fmla="*/ 1275707 w 1695071"/>
                    <a:gd name="connsiteY137" fmla="*/ 1210331 h 1232779"/>
                    <a:gd name="connsiteX138" fmla="*/ 1255454 w 1695071"/>
                    <a:gd name="connsiteY138" fmla="*/ 1195912 h 1232779"/>
                    <a:gd name="connsiteX139" fmla="*/ 1255454 w 1695071"/>
                    <a:gd name="connsiteY139" fmla="*/ 1200755 h 1232779"/>
                    <a:gd name="connsiteX140" fmla="*/ 1250061 w 1695071"/>
                    <a:gd name="connsiteY140" fmla="*/ 1200755 h 1232779"/>
                    <a:gd name="connsiteX141" fmla="*/ 1244667 w 1695071"/>
                    <a:gd name="connsiteY141" fmla="*/ 1179952 h 1232779"/>
                    <a:gd name="connsiteX142" fmla="*/ 1237733 w 1695071"/>
                    <a:gd name="connsiteY142" fmla="*/ 1170926 h 1232779"/>
                    <a:gd name="connsiteX143" fmla="*/ 1216930 w 1695071"/>
                    <a:gd name="connsiteY143" fmla="*/ 1144729 h 1232779"/>
                    <a:gd name="connsiteX144" fmla="*/ 1213738 w 1695071"/>
                    <a:gd name="connsiteY144" fmla="*/ 1144729 h 1232779"/>
                    <a:gd name="connsiteX145" fmla="*/ 1203611 w 1695071"/>
                    <a:gd name="connsiteY145" fmla="*/ 1147371 h 1232779"/>
                    <a:gd name="connsiteX146" fmla="*/ 1181157 w 1695071"/>
                    <a:gd name="connsiteY146" fmla="*/ 1138345 h 1232779"/>
                    <a:gd name="connsiteX147" fmla="*/ 1152869 w 1695071"/>
                    <a:gd name="connsiteY147" fmla="*/ 1130860 h 1232779"/>
                    <a:gd name="connsiteX148" fmla="*/ 1119738 w 1695071"/>
                    <a:gd name="connsiteY148" fmla="*/ 1103673 h 1232779"/>
                    <a:gd name="connsiteX149" fmla="*/ 1116546 w 1695071"/>
                    <a:gd name="connsiteY149" fmla="*/ 1103673 h 1232779"/>
                    <a:gd name="connsiteX150" fmla="*/ 1104879 w 1695071"/>
                    <a:gd name="connsiteY150" fmla="*/ 1099381 h 1232779"/>
                    <a:gd name="connsiteX151" fmla="*/ 1084626 w 1695071"/>
                    <a:gd name="connsiteY151" fmla="*/ 1110057 h 1232779"/>
                    <a:gd name="connsiteX152" fmla="*/ 1073949 w 1695071"/>
                    <a:gd name="connsiteY152" fmla="*/ 1105324 h 1232779"/>
                    <a:gd name="connsiteX153" fmla="*/ 1061731 w 1695071"/>
                    <a:gd name="connsiteY153" fmla="*/ 1104224 h 1232779"/>
                    <a:gd name="connsiteX154" fmla="*/ 1031903 w 1695071"/>
                    <a:gd name="connsiteY154" fmla="*/ 1088814 h 1232779"/>
                    <a:gd name="connsiteX155" fmla="*/ 1016383 w 1695071"/>
                    <a:gd name="connsiteY155" fmla="*/ 1087713 h 1232779"/>
                    <a:gd name="connsiteX156" fmla="*/ 999872 w 1695071"/>
                    <a:gd name="connsiteY156" fmla="*/ 1075495 h 1232779"/>
                    <a:gd name="connsiteX157" fmla="*/ 982261 w 1695071"/>
                    <a:gd name="connsiteY157" fmla="*/ 1070102 h 1232779"/>
                    <a:gd name="connsiteX158" fmla="*/ 976428 w 1695071"/>
                    <a:gd name="connsiteY158" fmla="*/ 1066360 h 1232779"/>
                    <a:gd name="connsiteX159" fmla="*/ 951882 w 1695071"/>
                    <a:gd name="connsiteY159" fmla="*/ 1049299 h 1232779"/>
                    <a:gd name="connsiteX160" fmla="*/ 943847 w 1695071"/>
                    <a:gd name="connsiteY160" fmla="*/ 1038622 h 1232779"/>
                    <a:gd name="connsiteX161" fmla="*/ 949240 w 1695071"/>
                    <a:gd name="connsiteY161" fmla="*/ 1023763 h 1232779"/>
                    <a:gd name="connsiteX162" fmla="*/ 943847 w 1695071"/>
                    <a:gd name="connsiteY162" fmla="*/ 1011545 h 1232779"/>
                    <a:gd name="connsiteX163" fmla="*/ 907634 w 1695071"/>
                    <a:gd name="connsiteY163" fmla="*/ 965096 h 1232779"/>
                    <a:gd name="connsiteX164" fmla="*/ 888372 w 1695071"/>
                    <a:gd name="connsiteY164" fmla="*/ 952327 h 1232779"/>
                    <a:gd name="connsiteX165" fmla="*/ 885180 w 1695071"/>
                    <a:gd name="connsiteY165" fmla="*/ 936808 h 1232779"/>
                    <a:gd name="connsiteX166" fmla="*/ 863826 w 1695071"/>
                    <a:gd name="connsiteY166" fmla="*/ 913363 h 1232779"/>
                    <a:gd name="connsiteX167" fmla="*/ 857993 w 1695071"/>
                    <a:gd name="connsiteY167" fmla="*/ 913363 h 1232779"/>
                    <a:gd name="connsiteX168" fmla="*/ 839831 w 1695071"/>
                    <a:gd name="connsiteY168" fmla="*/ 894761 h 1232779"/>
                    <a:gd name="connsiteX169" fmla="*/ 831906 w 1695071"/>
                    <a:gd name="connsiteY169" fmla="*/ 876049 h 1232779"/>
                    <a:gd name="connsiteX170" fmla="*/ 823871 w 1695071"/>
                    <a:gd name="connsiteY170" fmla="*/ 857337 h 1232779"/>
                    <a:gd name="connsiteX171" fmla="*/ 799325 w 1695071"/>
                    <a:gd name="connsiteY171" fmla="*/ 846661 h 1232779"/>
                    <a:gd name="connsiteX172" fmla="*/ 798225 w 1695071"/>
                    <a:gd name="connsiteY172" fmla="*/ 853595 h 1232779"/>
                    <a:gd name="connsiteX173" fmla="*/ 807801 w 1695071"/>
                    <a:gd name="connsiteY173" fmla="*/ 880782 h 1232779"/>
                    <a:gd name="connsiteX174" fmla="*/ 823871 w 1695071"/>
                    <a:gd name="connsiteY174" fmla="*/ 894211 h 1232779"/>
                    <a:gd name="connsiteX175" fmla="*/ 835098 w 1695071"/>
                    <a:gd name="connsiteY175" fmla="*/ 916115 h 1232779"/>
                    <a:gd name="connsiteX176" fmla="*/ 853260 w 1695071"/>
                    <a:gd name="connsiteY176" fmla="*/ 945393 h 1232779"/>
                    <a:gd name="connsiteX177" fmla="*/ 870320 w 1695071"/>
                    <a:gd name="connsiteY177" fmla="*/ 978524 h 1232779"/>
                    <a:gd name="connsiteX178" fmla="*/ 880997 w 1695071"/>
                    <a:gd name="connsiteY178" fmla="*/ 987550 h 1232779"/>
                    <a:gd name="connsiteX179" fmla="*/ 877255 w 1695071"/>
                    <a:gd name="connsiteY179" fmla="*/ 995585 h 1232779"/>
                    <a:gd name="connsiteX180" fmla="*/ 868559 w 1695071"/>
                    <a:gd name="connsiteY180" fmla="*/ 984138 h 1232779"/>
                    <a:gd name="connsiteX181" fmla="*/ 847976 w 1695071"/>
                    <a:gd name="connsiteY181" fmla="*/ 967737 h 1232779"/>
                    <a:gd name="connsiteX182" fmla="*/ 842583 w 1695071"/>
                    <a:gd name="connsiteY182" fmla="*/ 962894 h 1232779"/>
                    <a:gd name="connsiteX183" fmla="*/ 842583 w 1695071"/>
                    <a:gd name="connsiteY183" fmla="*/ 949026 h 1232779"/>
                    <a:gd name="connsiteX184" fmla="*/ 827173 w 1695071"/>
                    <a:gd name="connsiteY184" fmla="*/ 931965 h 1232779"/>
                    <a:gd name="connsiteX185" fmla="*/ 802628 w 1695071"/>
                    <a:gd name="connsiteY185" fmla="*/ 918096 h 1232779"/>
                    <a:gd name="connsiteX186" fmla="*/ 813194 w 1695071"/>
                    <a:gd name="connsiteY186" fmla="*/ 913473 h 1232779"/>
                    <a:gd name="connsiteX187" fmla="*/ 787218 w 1695071"/>
                    <a:gd name="connsiteY187" fmla="*/ 884745 h 1232779"/>
                    <a:gd name="connsiteX188" fmla="*/ 778082 w 1695071"/>
                    <a:gd name="connsiteY188" fmla="*/ 859429 h 1232779"/>
                    <a:gd name="connsiteX189" fmla="*/ 764764 w 1695071"/>
                    <a:gd name="connsiteY189" fmla="*/ 834333 h 1232779"/>
                    <a:gd name="connsiteX190" fmla="*/ 764764 w 1695071"/>
                    <a:gd name="connsiteY190" fmla="*/ 830591 h 1232779"/>
                    <a:gd name="connsiteX191" fmla="*/ 765864 w 1695071"/>
                    <a:gd name="connsiteY191" fmla="*/ 830591 h 1232779"/>
                    <a:gd name="connsiteX192" fmla="*/ 711490 w 1695071"/>
                    <a:gd name="connsiteY192" fmla="*/ 795919 h 1232779"/>
                    <a:gd name="connsiteX193" fmla="*/ 707197 w 1695071"/>
                    <a:gd name="connsiteY193" fmla="*/ 784141 h 1232779"/>
                    <a:gd name="connsiteX194" fmla="*/ 687495 w 1695071"/>
                    <a:gd name="connsiteY194" fmla="*/ 737252 h 1232779"/>
                    <a:gd name="connsiteX195" fmla="*/ 655464 w 1695071"/>
                    <a:gd name="connsiteY195" fmla="*/ 696196 h 1232779"/>
                    <a:gd name="connsiteX196" fmla="*/ 660858 w 1695071"/>
                    <a:gd name="connsiteY196" fmla="*/ 686069 h 1232779"/>
                    <a:gd name="connsiteX197" fmla="*/ 655464 w 1695071"/>
                    <a:gd name="connsiteY197" fmla="*/ 641271 h 1232779"/>
                    <a:gd name="connsiteX198" fmla="*/ 664490 w 1695071"/>
                    <a:gd name="connsiteY198" fmla="*/ 581503 h 1232779"/>
                    <a:gd name="connsiteX199" fmla="*/ 651172 w 1695071"/>
                    <a:gd name="connsiteY199" fmla="*/ 553325 h 1232779"/>
                    <a:gd name="connsiteX200" fmla="*/ 659207 w 1695071"/>
                    <a:gd name="connsiteY200" fmla="*/ 549583 h 1232779"/>
                    <a:gd name="connsiteX201" fmla="*/ 674617 w 1695071"/>
                    <a:gd name="connsiteY201" fmla="*/ 558719 h 1232779"/>
                    <a:gd name="connsiteX202" fmla="*/ 682101 w 1695071"/>
                    <a:gd name="connsiteY202" fmla="*/ 544300 h 1232779"/>
                    <a:gd name="connsiteX203" fmla="*/ 675167 w 1695071"/>
                    <a:gd name="connsiteY203" fmla="*/ 532082 h 1232779"/>
                    <a:gd name="connsiteX204" fmla="*/ 669333 w 1695071"/>
                    <a:gd name="connsiteY204" fmla="*/ 528890 h 1232779"/>
                    <a:gd name="connsiteX205" fmla="*/ 649081 w 1695071"/>
                    <a:gd name="connsiteY205" fmla="*/ 517222 h 1232779"/>
                    <a:gd name="connsiteX206" fmla="*/ 623434 w 1695071"/>
                    <a:gd name="connsiteY206" fmla="*/ 499611 h 1232779"/>
                    <a:gd name="connsiteX207" fmla="*/ 600540 w 1695071"/>
                    <a:gd name="connsiteY207" fmla="*/ 472974 h 1232779"/>
                    <a:gd name="connsiteX208" fmla="*/ 586121 w 1695071"/>
                    <a:gd name="connsiteY208" fmla="*/ 462738 h 1232779"/>
                    <a:gd name="connsiteX209" fmla="*/ 580727 w 1695071"/>
                    <a:gd name="connsiteY209" fmla="*/ 446778 h 1232779"/>
                    <a:gd name="connsiteX210" fmla="*/ 569060 w 1695071"/>
                    <a:gd name="connsiteY210" fmla="*/ 442485 h 1232779"/>
                    <a:gd name="connsiteX211" fmla="*/ 563666 w 1695071"/>
                    <a:gd name="connsiteY211" fmla="*/ 418930 h 1232779"/>
                    <a:gd name="connsiteX212" fmla="*/ 560474 w 1695071"/>
                    <a:gd name="connsiteY212" fmla="*/ 411446 h 1232779"/>
                    <a:gd name="connsiteX213" fmla="*/ 555081 w 1695071"/>
                    <a:gd name="connsiteY213" fmla="*/ 411996 h 1232779"/>
                    <a:gd name="connsiteX214" fmla="*/ 532627 w 1695071"/>
                    <a:gd name="connsiteY214" fmla="*/ 396036 h 1232779"/>
                    <a:gd name="connsiteX215" fmla="*/ 532627 w 1695071"/>
                    <a:gd name="connsiteY215" fmla="*/ 388001 h 1232779"/>
                    <a:gd name="connsiteX216" fmla="*/ 516557 w 1695071"/>
                    <a:gd name="connsiteY216" fmla="*/ 379966 h 1232779"/>
                    <a:gd name="connsiteX217" fmla="*/ 506981 w 1695071"/>
                    <a:gd name="connsiteY217" fmla="*/ 371931 h 1232779"/>
                    <a:gd name="connsiteX218" fmla="*/ 515016 w 1695071"/>
                    <a:gd name="connsiteY218" fmla="*/ 362905 h 1232779"/>
                    <a:gd name="connsiteX219" fmla="*/ 515016 w 1695071"/>
                    <a:gd name="connsiteY219" fmla="*/ 355970 h 1232779"/>
                    <a:gd name="connsiteX220" fmla="*/ 500597 w 1695071"/>
                    <a:gd name="connsiteY220" fmla="*/ 362905 h 1232779"/>
                    <a:gd name="connsiteX221" fmla="*/ 492561 w 1695071"/>
                    <a:gd name="connsiteY221" fmla="*/ 354870 h 1232779"/>
                    <a:gd name="connsiteX222" fmla="*/ 497955 w 1695071"/>
                    <a:gd name="connsiteY222" fmla="*/ 343643 h 1232779"/>
                    <a:gd name="connsiteX223" fmla="*/ 488379 w 1695071"/>
                    <a:gd name="connsiteY223" fmla="*/ 339900 h 1232779"/>
                    <a:gd name="connsiteX224" fmla="*/ 472419 w 1695071"/>
                    <a:gd name="connsiteY224" fmla="*/ 331975 h 1232779"/>
                    <a:gd name="connsiteX225" fmla="*/ 464384 w 1695071"/>
                    <a:gd name="connsiteY225" fmla="*/ 341551 h 1232779"/>
                    <a:gd name="connsiteX226" fmla="*/ 439288 w 1695071"/>
                    <a:gd name="connsiteY226" fmla="*/ 321299 h 1232779"/>
                    <a:gd name="connsiteX227" fmla="*/ 391297 w 1695071"/>
                    <a:gd name="connsiteY227" fmla="*/ 302587 h 1232779"/>
                    <a:gd name="connsiteX228" fmla="*/ 362019 w 1695071"/>
                    <a:gd name="connsiteY228" fmla="*/ 302587 h 1232779"/>
                    <a:gd name="connsiteX229" fmla="*/ 311827 w 1695071"/>
                    <a:gd name="connsiteY229" fmla="*/ 275950 h 1232779"/>
                    <a:gd name="connsiteX230" fmla="*/ 289923 w 1695071"/>
                    <a:gd name="connsiteY230" fmla="*/ 283985 h 1232779"/>
                    <a:gd name="connsiteX231" fmla="*/ 295207 w 1695071"/>
                    <a:gd name="connsiteY231" fmla="*/ 291470 h 1232779"/>
                    <a:gd name="connsiteX232" fmla="*/ 241823 w 1695071"/>
                    <a:gd name="connsiteY232" fmla="*/ 321299 h 1232779"/>
                    <a:gd name="connsiteX233" fmla="*/ 236429 w 1695071"/>
                    <a:gd name="connsiteY233" fmla="*/ 317556 h 1232779"/>
                    <a:gd name="connsiteX234" fmla="*/ 240722 w 1695071"/>
                    <a:gd name="connsiteY234" fmla="*/ 313263 h 1232779"/>
                    <a:gd name="connsiteX235" fmla="*/ 240172 w 1695071"/>
                    <a:gd name="connsiteY235" fmla="*/ 306879 h 1232779"/>
                    <a:gd name="connsiteX236" fmla="*/ 263617 w 1695071"/>
                    <a:gd name="connsiteY236" fmla="*/ 281233 h 1232779"/>
                    <a:gd name="connsiteX237" fmla="*/ 264167 w 1695071"/>
                    <a:gd name="connsiteY237" fmla="*/ 275950 h 1232779"/>
                    <a:gd name="connsiteX238" fmla="*/ 257783 w 1695071"/>
                    <a:gd name="connsiteY238" fmla="*/ 275950 h 1232779"/>
                    <a:gd name="connsiteX239" fmla="*/ 209793 w 1695071"/>
                    <a:gd name="connsiteY239" fmla="*/ 322950 h 1232779"/>
                    <a:gd name="connsiteX240" fmla="*/ 209793 w 1695071"/>
                    <a:gd name="connsiteY240" fmla="*/ 330985 h 1232779"/>
                    <a:gd name="connsiteX241" fmla="*/ 185797 w 1695071"/>
                    <a:gd name="connsiteY241" fmla="*/ 352338 h 1232779"/>
                    <a:gd name="connsiteX242" fmla="*/ 172479 w 1695071"/>
                    <a:gd name="connsiteY242" fmla="*/ 365657 h 1232779"/>
                    <a:gd name="connsiteX243" fmla="*/ 137807 w 1695071"/>
                    <a:gd name="connsiteY243" fmla="*/ 389652 h 1232779"/>
                    <a:gd name="connsiteX244" fmla="*/ 95100 w 1695071"/>
                    <a:gd name="connsiteY244" fmla="*/ 405722 h 1232779"/>
                    <a:gd name="connsiteX245" fmla="*/ 42817 w 1695071"/>
                    <a:gd name="connsiteY245" fmla="*/ 424874 h 1232779"/>
                    <a:gd name="connsiteX246" fmla="*/ 68353 w 1695071"/>
                    <a:gd name="connsiteY246" fmla="*/ 413647 h 1232779"/>
                    <a:gd name="connsiteX247" fmla="*/ 85414 w 1695071"/>
                    <a:gd name="connsiteY247" fmla="*/ 396036 h 1232779"/>
                    <a:gd name="connsiteX248" fmla="*/ 111060 w 1695071"/>
                    <a:gd name="connsiteY248" fmla="*/ 388001 h 1232779"/>
                    <a:gd name="connsiteX249" fmla="*/ 153657 w 1695071"/>
                    <a:gd name="connsiteY249" fmla="*/ 358612 h 1232779"/>
                    <a:gd name="connsiteX250" fmla="*/ 178753 w 1695071"/>
                    <a:gd name="connsiteY250" fmla="*/ 326582 h 1232779"/>
                    <a:gd name="connsiteX251" fmla="*/ 170718 w 1695071"/>
                    <a:gd name="connsiteY251" fmla="*/ 326582 h 1232779"/>
                    <a:gd name="connsiteX252" fmla="*/ 151016 w 1695071"/>
                    <a:gd name="connsiteY252" fmla="*/ 333516 h 1232779"/>
                    <a:gd name="connsiteX253" fmla="*/ 136596 w 1695071"/>
                    <a:gd name="connsiteY253" fmla="*/ 329224 h 1232779"/>
                    <a:gd name="connsiteX254" fmla="*/ 132854 w 1695071"/>
                    <a:gd name="connsiteY254" fmla="*/ 338800 h 1232779"/>
                    <a:gd name="connsiteX255" fmla="*/ 107208 w 1695071"/>
                    <a:gd name="connsiteY255" fmla="*/ 323830 h 1232779"/>
                    <a:gd name="connsiteX256" fmla="*/ 106657 w 1695071"/>
                    <a:gd name="connsiteY256" fmla="*/ 331865 h 1232779"/>
                    <a:gd name="connsiteX257" fmla="*/ 100273 w 1695071"/>
                    <a:gd name="connsiteY257" fmla="*/ 331865 h 1232779"/>
                    <a:gd name="connsiteX258" fmla="*/ 92238 w 1695071"/>
                    <a:gd name="connsiteY258" fmla="*/ 336158 h 1232779"/>
                    <a:gd name="connsiteX259" fmla="*/ 86955 w 1695071"/>
                    <a:gd name="connsiteY259" fmla="*/ 322839 h 1232779"/>
                    <a:gd name="connsiteX260" fmla="*/ 86955 w 1695071"/>
                    <a:gd name="connsiteY260" fmla="*/ 312163 h 1232779"/>
                    <a:gd name="connsiteX261" fmla="*/ 82662 w 1695071"/>
                    <a:gd name="connsiteY261" fmla="*/ 304128 h 1232779"/>
                    <a:gd name="connsiteX262" fmla="*/ 71986 w 1695071"/>
                    <a:gd name="connsiteY262" fmla="*/ 313153 h 1232779"/>
                    <a:gd name="connsiteX263" fmla="*/ 36213 w 1695071"/>
                    <a:gd name="connsiteY263" fmla="*/ 288608 h 1232779"/>
                    <a:gd name="connsiteX264" fmla="*/ 44248 w 1695071"/>
                    <a:gd name="connsiteY264" fmla="*/ 286957 h 1232779"/>
                    <a:gd name="connsiteX265" fmla="*/ 23005 w 1695071"/>
                    <a:gd name="connsiteY265" fmla="*/ 264062 h 1232779"/>
                    <a:gd name="connsiteX266" fmla="*/ 62960 w 1695071"/>
                    <a:gd name="connsiteY266" fmla="*/ 234784 h 1232779"/>
                    <a:gd name="connsiteX267" fmla="*/ 104016 w 1695071"/>
                    <a:gd name="connsiteY267" fmla="*/ 213430 h 1232779"/>
                    <a:gd name="connsiteX268" fmla="*/ 94990 w 1695071"/>
                    <a:gd name="connsiteY268" fmla="*/ 200552 h 1232779"/>
                    <a:gd name="connsiteX269" fmla="*/ 103025 w 1695071"/>
                    <a:gd name="connsiteY269" fmla="*/ 200112 h 1232779"/>
                    <a:gd name="connsiteX270" fmla="*/ 103025 w 1695071"/>
                    <a:gd name="connsiteY270" fmla="*/ 192077 h 1232779"/>
                    <a:gd name="connsiteX271" fmla="*/ 94990 w 1695071"/>
                    <a:gd name="connsiteY271" fmla="*/ 192077 h 1232779"/>
                    <a:gd name="connsiteX272" fmla="*/ 72096 w 1695071"/>
                    <a:gd name="connsiteY272" fmla="*/ 201103 h 1232779"/>
                    <a:gd name="connsiteX273" fmla="*/ 49641 w 1695071"/>
                    <a:gd name="connsiteY273" fmla="*/ 197360 h 1232779"/>
                    <a:gd name="connsiteX274" fmla="*/ 21354 w 1695071"/>
                    <a:gd name="connsiteY274" fmla="*/ 197360 h 1232779"/>
                    <a:gd name="connsiteX275" fmla="*/ 14419 w 1695071"/>
                    <a:gd name="connsiteY275" fmla="*/ 182391 h 1232779"/>
                    <a:gd name="connsiteX276" fmla="*/ 16070 w 1695071"/>
                    <a:gd name="connsiteY276" fmla="*/ 177107 h 1232779"/>
                    <a:gd name="connsiteX277" fmla="*/ 0 w 1695071"/>
                    <a:gd name="connsiteY277" fmla="*/ 168522 h 1232779"/>
                    <a:gd name="connsiteX278" fmla="*/ 47990 w 1695071"/>
                    <a:gd name="connsiteY278" fmla="*/ 145077 h 1232779"/>
                    <a:gd name="connsiteX279" fmla="*/ 57566 w 1695071"/>
                    <a:gd name="connsiteY279" fmla="*/ 145077 h 1232779"/>
                    <a:gd name="connsiteX280" fmla="*/ 77379 w 1695071"/>
                    <a:gd name="connsiteY280" fmla="*/ 157295 h 1232779"/>
                    <a:gd name="connsiteX281" fmla="*/ 92238 w 1695071"/>
                    <a:gd name="connsiteY281" fmla="*/ 157295 h 1232779"/>
                    <a:gd name="connsiteX282" fmla="*/ 60208 w 1695071"/>
                    <a:gd name="connsiteY282" fmla="*/ 131649 h 1232779"/>
                    <a:gd name="connsiteX283" fmla="*/ 44138 w 1695071"/>
                    <a:gd name="connsiteY283" fmla="*/ 110405 h 1232779"/>
                    <a:gd name="connsiteX284" fmla="*/ 15960 w 1695071"/>
                    <a:gd name="connsiteY284" fmla="*/ 98628 h 1232779"/>
                    <a:gd name="connsiteX285" fmla="*/ 23995 w 1695071"/>
                    <a:gd name="connsiteY285" fmla="*/ 83658 h 1232779"/>
                    <a:gd name="connsiteX286" fmla="*/ 53384 w 1695071"/>
                    <a:gd name="connsiteY286" fmla="*/ 83658 h 1232779"/>
                    <a:gd name="connsiteX287" fmla="*/ 121627 w 1695071"/>
                    <a:gd name="connsiteY287" fmla="*/ 32916 h 1232779"/>
                    <a:gd name="connsiteX288" fmla="*/ 141329 w 1695071"/>
                    <a:gd name="connsiteY288" fmla="*/ 31815 h 1232779"/>
                    <a:gd name="connsiteX289" fmla="*/ 164334 w 1695071"/>
                    <a:gd name="connsiteY289" fmla="*/ 16846 h 1232779"/>
                    <a:gd name="connsiteX290" fmla="*/ 180844 w 1695071"/>
                    <a:gd name="connsiteY290" fmla="*/ 24881 h 1232779"/>
                    <a:gd name="connsiteX291" fmla="*/ 176111 w 1695071"/>
                    <a:gd name="connsiteY291" fmla="*/ 31815 h 1232779"/>
                    <a:gd name="connsiteX292" fmla="*/ 189430 w 1695071"/>
                    <a:gd name="connsiteY292" fmla="*/ 24881 h 1232779"/>
                    <a:gd name="connsiteX293" fmla="*/ 201758 w 1695071"/>
                    <a:gd name="connsiteY293" fmla="*/ 30164 h 1232779"/>
                    <a:gd name="connsiteX294" fmla="*/ 228394 w 1695071"/>
                    <a:gd name="connsiteY294" fmla="*/ 30164 h 1232779"/>
                    <a:gd name="connsiteX295" fmla="*/ 244355 w 1695071"/>
                    <a:gd name="connsiteY295" fmla="*/ 40841 h 1232779"/>
                    <a:gd name="connsiteX296" fmla="*/ 285410 w 1695071"/>
                    <a:gd name="connsiteY296" fmla="*/ 40841 h 1232779"/>
                    <a:gd name="connsiteX297" fmla="*/ 345619 w 1695071"/>
                    <a:gd name="connsiteY297" fmla="*/ 54160 h 1232779"/>
                    <a:gd name="connsiteX298" fmla="*/ 370714 w 1695071"/>
                    <a:gd name="connsiteY298" fmla="*/ 50417 h 1232779"/>
                    <a:gd name="connsiteX299" fmla="*/ 404286 w 1695071"/>
                    <a:gd name="connsiteY299" fmla="*/ 61094 h 1232779"/>
                    <a:gd name="connsiteX300" fmla="*/ 404286 w 1695071"/>
                    <a:gd name="connsiteY300" fmla="*/ 60544 h 1232779"/>
                    <a:gd name="connsiteX301" fmla="*/ 410670 w 1695071"/>
                    <a:gd name="connsiteY301" fmla="*/ 60544 h 1232779"/>
                    <a:gd name="connsiteX302" fmla="*/ 418154 w 1695071"/>
                    <a:gd name="connsiteY302" fmla="*/ 67478 h 1232779"/>
                    <a:gd name="connsiteX303" fmla="*/ 477372 w 1695071"/>
                    <a:gd name="connsiteY303" fmla="*/ 83548 h 1232779"/>
                    <a:gd name="connsiteX304" fmla="*/ 492892 w 1695071"/>
                    <a:gd name="connsiteY304" fmla="*/ 69679 h 1232779"/>
                    <a:gd name="connsiteX305" fmla="*/ 509402 w 1695071"/>
                    <a:gd name="connsiteY305" fmla="*/ 65937 h 1232779"/>
                    <a:gd name="connsiteX306" fmla="*/ 533948 w 1695071"/>
                    <a:gd name="connsiteY306" fmla="*/ 59003 h 1232779"/>
                    <a:gd name="connsiteX307" fmla="*/ 571261 w 1695071"/>
                    <a:gd name="connsiteY307" fmla="*/ 48326 h 1232779"/>
                    <a:gd name="connsiteX308" fmla="*/ 580947 w 1695071"/>
                    <a:gd name="connsiteY308" fmla="*/ 55811 h 1232779"/>
                    <a:gd name="connsiteX309" fmla="*/ 599109 w 1695071"/>
                    <a:gd name="connsiteY309" fmla="*/ 40401 h 1232779"/>
                    <a:gd name="connsiteX310" fmla="*/ 626846 w 1695071"/>
                    <a:gd name="connsiteY310" fmla="*/ 64396 h 1232779"/>
                    <a:gd name="connsiteX311" fmla="*/ 647650 w 1695071"/>
                    <a:gd name="connsiteY311" fmla="*/ 50527 h 1232779"/>
                    <a:gd name="connsiteX312" fmla="*/ 660528 w 1695071"/>
                    <a:gd name="connsiteY312" fmla="*/ 64946 h 1232779"/>
                    <a:gd name="connsiteX313" fmla="*/ 683422 w 1695071"/>
                    <a:gd name="connsiteY313" fmla="*/ 58012 h 1232779"/>
                    <a:gd name="connsiteX314" fmla="*/ 764433 w 1695071"/>
                    <a:gd name="connsiteY314" fmla="*/ 82007 h 1232779"/>
                    <a:gd name="connsiteX315" fmla="*/ 807140 w 1695071"/>
                    <a:gd name="connsiteY315" fmla="*/ 96867 h 1232779"/>
                    <a:gd name="connsiteX316" fmla="*/ 787658 w 1695071"/>
                    <a:gd name="connsiteY316" fmla="*/ 102920 h 1232779"/>
                    <a:gd name="connsiteX317" fmla="*/ 808791 w 1695071"/>
                    <a:gd name="connsiteY317" fmla="*/ 111286 h 1232779"/>
                    <a:gd name="connsiteX318" fmla="*/ 838180 w 1695071"/>
                    <a:gd name="connsiteY318" fmla="*/ 106553 h 1232779"/>
                    <a:gd name="connsiteX319" fmla="*/ 872302 w 1695071"/>
                    <a:gd name="connsiteY319" fmla="*/ 106553 h 1232779"/>
                    <a:gd name="connsiteX320" fmla="*/ 880337 w 1695071"/>
                    <a:gd name="connsiteY320" fmla="*/ 110295 h 1232779"/>
                    <a:gd name="connsiteX321" fmla="*/ 902241 w 1695071"/>
                    <a:gd name="connsiteY321" fmla="*/ 127906 h 1232779"/>
                    <a:gd name="connsiteX322" fmla="*/ 899049 w 1695071"/>
                    <a:gd name="connsiteY322" fmla="*/ 111946 h 1232779"/>
                    <a:gd name="connsiteX323" fmla="*/ 924144 w 1695071"/>
                    <a:gd name="connsiteY323" fmla="*/ 90593 h 1232779"/>
                    <a:gd name="connsiteX324" fmla="*/ 895086 w 1695071"/>
                    <a:gd name="connsiteY324" fmla="*/ 98958 h 1232779"/>
                    <a:gd name="connsiteX325" fmla="*/ 888372 w 1695071"/>
                    <a:gd name="connsiteY325" fmla="*/ 93234 h 1232779"/>
                    <a:gd name="connsiteX326" fmla="*/ 929978 w 1695071"/>
                    <a:gd name="connsiteY326" fmla="*/ 78375 h 1232779"/>
                    <a:gd name="connsiteX327" fmla="*/ 999322 w 1695071"/>
                    <a:gd name="connsiteY327" fmla="*/ 110405 h 1232779"/>
                    <a:gd name="connsiteX328" fmla="*/ 1044671 w 1695071"/>
                    <a:gd name="connsiteY328" fmla="*/ 110405 h 1232779"/>
                    <a:gd name="connsiteX329" fmla="*/ 1057989 w 1695071"/>
                    <a:gd name="connsiteY329" fmla="*/ 93344 h 1232779"/>
                    <a:gd name="connsiteX330" fmla="*/ 1081984 w 1695071"/>
                    <a:gd name="connsiteY330" fmla="*/ 99728 h 1232779"/>
                    <a:gd name="connsiteX331" fmla="*/ 1089909 w 1695071"/>
                    <a:gd name="connsiteY331" fmla="*/ 118440 h 1232779"/>
                    <a:gd name="connsiteX332" fmla="*/ 1118197 w 1695071"/>
                    <a:gd name="connsiteY332" fmla="*/ 81127 h 1232779"/>
                    <a:gd name="connsiteX333" fmla="*/ 1106970 w 1695071"/>
                    <a:gd name="connsiteY333" fmla="*/ 86520 h 1232779"/>
                    <a:gd name="connsiteX334" fmla="*/ 1111263 w 1695071"/>
                    <a:gd name="connsiteY334" fmla="*/ 70560 h 1232779"/>
                    <a:gd name="connsiteX335" fmla="*/ 1075050 w 1695071"/>
                    <a:gd name="connsiteY335" fmla="*/ 45464 h 1232779"/>
                    <a:gd name="connsiteX336" fmla="*/ 1081984 w 1695071"/>
                    <a:gd name="connsiteY336" fmla="*/ 33136 h 1232779"/>
                    <a:gd name="connsiteX337" fmla="*/ 1077692 w 1695071"/>
                    <a:gd name="connsiteY337" fmla="*/ 19818 h 1232779"/>
                    <a:gd name="connsiteX338" fmla="*/ 1092551 w 1695071"/>
                    <a:gd name="connsiteY338" fmla="*/ 11783 h 1232779"/>
                    <a:gd name="connsiteX339" fmla="*/ 1097944 w 1695071"/>
                    <a:gd name="connsiteY339" fmla="*/ 5 h 1232779"/>
                    <a:gd name="connsiteX340" fmla="*/ 1131075 w 1695071"/>
                    <a:gd name="connsiteY340" fmla="*/ 27743 h 1232779"/>
                    <a:gd name="connsiteX341" fmla="*/ 1147035 w 1695071"/>
                    <a:gd name="connsiteY341" fmla="*/ 45354 h 1232779"/>
                    <a:gd name="connsiteX342" fmla="*/ 1133717 w 1695071"/>
                    <a:gd name="connsiteY342" fmla="*/ 58122 h 1232779"/>
                    <a:gd name="connsiteX343" fmla="*/ 1160354 w 1695071"/>
                    <a:gd name="connsiteY343" fmla="*/ 66157 h 1232779"/>
                    <a:gd name="connsiteX344" fmla="*/ 1155070 w 1695071"/>
                    <a:gd name="connsiteY344" fmla="*/ 72541 h 1232779"/>
                    <a:gd name="connsiteX345" fmla="*/ 1167288 w 1695071"/>
                    <a:gd name="connsiteY345" fmla="*/ 93344 h 1232779"/>
                    <a:gd name="connsiteX346" fmla="*/ 1188642 w 1695071"/>
                    <a:gd name="connsiteY346" fmla="*/ 70340 h 1232779"/>
                    <a:gd name="connsiteX347" fmla="*/ 1208344 w 1695071"/>
                    <a:gd name="connsiteY347" fmla="*/ 89052 h 1232779"/>
                    <a:gd name="connsiteX348" fmla="*/ 1199318 w 1695071"/>
                    <a:gd name="connsiteY348" fmla="*/ 102370 h 1232779"/>
                    <a:gd name="connsiteX349" fmla="*/ 1227166 w 1695071"/>
                    <a:gd name="connsiteY349" fmla="*/ 117780 h 1232779"/>
                    <a:gd name="connsiteX350" fmla="*/ 1237733 w 1695071"/>
                    <a:gd name="connsiteY350" fmla="*/ 91693 h 1232779"/>
                    <a:gd name="connsiteX351" fmla="*/ 1252702 w 1695071"/>
                    <a:gd name="connsiteY351" fmla="*/ 81017 h 1232779"/>
                    <a:gd name="connsiteX352" fmla="*/ 1244667 w 1695071"/>
                    <a:gd name="connsiteY352" fmla="*/ 66708 h 1232779"/>
                    <a:gd name="connsiteX353" fmla="*/ 1257986 w 1695071"/>
                    <a:gd name="connsiteY353" fmla="*/ 56031 h 1232779"/>
                    <a:gd name="connsiteX354" fmla="*/ 1271304 w 1695071"/>
                    <a:gd name="connsiteY354" fmla="*/ 59773 h 1232779"/>
                    <a:gd name="connsiteX355" fmla="*/ 1305976 w 1695071"/>
                    <a:gd name="connsiteY355" fmla="*/ 73092 h 1232779"/>
                    <a:gd name="connsiteX356" fmla="*/ 1305976 w 1695071"/>
                    <a:gd name="connsiteY356" fmla="*/ 86410 h 1232779"/>
                    <a:gd name="connsiteX357" fmla="*/ 1296400 w 1695071"/>
                    <a:gd name="connsiteY357" fmla="*/ 106663 h 1232779"/>
                    <a:gd name="connsiteX358" fmla="*/ 1308618 w 1695071"/>
                    <a:gd name="connsiteY358" fmla="*/ 119981 h 1232779"/>
                    <a:gd name="connsiteX359" fmla="*/ 1277688 w 1695071"/>
                    <a:gd name="connsiteY359" fmla="*/ 145077 h 1232779"/>
                    <a:gd name="connsiteX360" fmla="*/ 1271304 w 1695071"/>
                    <a:gd name="connsiteY360" fmla="*/ 147719 h 1232779"/>
                    <a:gd name="connsiteX361" fmla="*/ 1253693 w 1695071"/>
                    <a:gd name="connsiteY361" fmla="*/ 152011 h 1232779"/>
                    <a:gd name="connsiteX362" fmla="*/ 1230248 w 1695071"/>
                    <a:gd name="connsiteY362" fmla="*/ 141335 h 1232779"/>
                    <a:gd name="connsiteX363" fmla="*/ 1233990 w 1695071"/>
                    <a:gd name="connsiteY363" fmla="*/ 153002 h 1232779"/>
                    <a:gd name="connsiteX364" fmla="*/ 1209995 w 1695071"/>
                    <a:gd name="connsiteY364" fmla="*/ 170613 h 1232779"/>
                    <a:gd name="connsiteX365" fmla="*/ 1186000 w 1695071"/>
                    <a:gd name="connsiteY365" fmla="*/ 158396 h 1232779"/>
                    <a:gd name="connsiteX366" fmla="*/ 1176424 w 1695071"/>
                    <a:gd name="connsiteY366" fmla="*/ 158396 h 1232779"/>
                    <a:gd name="connsiteX367" fmla="*/ 1220672 w 1695071"/>
                    <a:gd name="connsiteY367" fmla="*/ 176007 h 1232779"/>
                    <a:gd name="connsiteX368" fmla="*/ 1220672 w 1695071"/>
                    <a:gd name="connsiteY368" fmla="*/ 184042 h 1232779"/>
                    <a:gd name="connsiteX369" fmla="*/ 1192384 w 1695071"/>
                    <a:gd name="connsiteY369" fmla="*/ 203744 h 1232779"/>
                    <a:gd name="connsiteX370" fmla="*/ 1180607 w 1695071"/>
                    <a:gd name="connsiteY370" fmla="*/ 203744 h 1232779"/>
                    <a:gd name="connsiteX371" fmla="*/ 1169820 w 1695071"/>
                    <a:gd name="connsiteY371" fmla="*/ 215081 h 1232779"/>
                    <a:gd name="connsiteX372" fmla="*/ 1137790 w 1695071"/>
                    <a:gd name="connsiteY372" fmla="*/ 211119 h 1232779"/>
                    <a:gd name="connsiteX373" fmla="*/ 1165637 w 1695071"/>
                    <a:gd name="connsiteY373" fmla="*/ 223997 h 1232779"/>
                    <a:gd name="connsiteX374" fmla="*/ 1140541 w 1695071"/>
                    <a:gd name="connsiteY374" fmla="*/ 234674 h 1232779"/>
                    <a:gd name="connsiteX375" fmla="*/ 1122930 w 1695071"/>
                    <a:gd name="connsiteY375" fmla="*/ 261311 h 1232779"/>
                    <a:gd name="connsiteX376" fmla="*/ 1104218 w 1695071"/>
                    <a:gd name="connsiteY376" fmla="*/ 307760 h 1232779"/>
                    <a:gd name="connsiteX377" fmla="*/ 1104218 w 1695071"/>
                    <a:gd name="connsiteY377" fmla="*/ 331755 h 1232779"/>
                    <a:gd name="connsiteX378" fmla="*/ 1117537 w 1695071"/>
                    <a:gd name="connsiteY378" fmla="*/ 326362 h 1232779"/>
                    <a:gd name="connsiteX379" fmla="*/ 1137790 w 1695071"/>
                    <a:gd name="connsiteY379" fmla="*/ 369069 h 1232779"/>
                    <a:gd name="connsiteX380" fmla="*/ 1157492 w 1695071"/>
                    <a:gd name="connsiteY380" fmla="*/ 361034 h 1232779"/>
                    <a:gd name="connsiteX381" fmla="*/ 1181487 w 1695071"/>
                    <a:gd name="connsiteY381" fmla="*/ 371710 h 1232779"/>
                    <a:gd name="connsiteX382" fmla="*/ 1247089 w 1695071"/>
                    <a:gd name="connsiteY382" fmla="*/ 403741 h 1232779"/>
                    <a:gd name="connsiteX383" fmla="*/ 1281761 w 1695071"/>
                    <a:gd name="connsiteY383" fmla="*/ 403741 h 1232779"/>
                    <a:gd name="connsiteX384" fmla="*/ 1293538 w 1695071"/>
                    <a:gd name="connsiteY384" fmla="*/ 443806 h 1232779"/>
                    <a:gd name="connsiteX385" fmla="*/ 1325458 w 1695071"/>
                    <a:gd name="connsiteY385" fmla="*/ 486513 h 1232779"/>
                    <a:gd name="connsiteX386" fmla="*/ 1341528 w 1695071"/>
                    <a:gd name="connsiteY386" fmla="*/ 480129 h 1232779"/>
                    <a:gd name="connsiteX387" fmla="*/ 1351214 w 1695071"/>
                    <a:gd name="connsiteY387" fmla="*/ 467361 h 1232779"/>
                    <a:gd name="connsiteX388" fmla="*/ 1332503 w 1695071"/>
                    <a:gd name="connsiteY388" fmla="*/ 419921 h 1232779"/>
                    <a:gd name="connsiteX389" fmla="*/ 1375210 w 1695071"/>
                    <a:gd name="connsiteY389" fmla="*/ 384258 h 1232779"/>
                    <a:gd name="connsiteX390" fmla="*/ 1344390 w 1695071"/>
                    <a:gd name="connsiteY390" fmla="*/ 321409 h 1232779"/>
                    <a:gd name="connsiteX391" fmla="*/ 1364533 w 1695071"/>
                    <a:gd name="connsiteY391" fmla="*/ 298954 h 1232779"/>
                    <a:gd name="connsiteX392" fmla="*/ 1353856 w 1695071"/>
                    <a:gd name="connsiteY392" fmla="*/ 274959 h 1232779"/>
                    <a:gd name="connsiteX393" fmla="*/ 1352315 w 1695071"/>
                    <a:gd name="connsiteY393" fmla="*/ 250964 h 1232779"/>
                    <a:gd name="connsiteX394" fmla="*/ 1368275 w 1695071"/>
                    <a:gd name="connsiteY394" fmla="*/ 237646 h 1232779"/>
                    <a:gd name="connsiteX395" fmla="*/ 1408341 w 1695071"/>
                    <a:gd name="connsiteY395" fmla="*/ 246781 h 1232779"/>
                    <a:gd name="connsiteX396" fmla="*/ 1423310 w 1695071"/>
                    <a:gd name="connsiteY396" fmla="*/ 241388 h 1232779"/>
                    <a:gd name="connsiteX397" fmla="*/ 1456441 w 1695071"/>
                    <a:gd name="connsiteY397" fmla="*/ 261641 h 1232779"/>
                    <a:gd name="connsiteX398" fmla="*/ 1487371 w 1695071"/>
                    <a:gd name="connsiteY398" fmla="*/ 285636 h 1232779"/>
                    <a:gd name="connsiteX399" fmla="*/ 1501680 w 1695071"/>
                    <a:gd name="connsiteY399" fmla="*/ 322950 h 1232779"/>
                    <a:gd name="connsiteX400" fmla="*/ 1519291 w 1695071"/>
                    <a:gd name="connsiteY400" fmla="*/ 334617 h 1232779"/>
                    <a:gd name="connsiteX401" fmla="*/ 1549780 w 1695071"/>
                    <a:gd name="connsiteY401" fmla="*/ 306879 h 1232779"/>
                    <a:gd name="connsiteX402" fmla="*/ 1561998 w 1695071"/>
                    <a:gd name="connsiteY402" fmla="*/ 291910 h 1232779"/>
                    <a:gd name="connsiteX403" fmla="*/ 1571134 w 1695071"/>
                    <a:gd name="connsiteY403" fmla="*/ 298844 h 1232779"/>
                    <a:gd name="connsiteX404" fmla="*/ 1589845 w 1695071"/>
                    <a:gd name="connsiteY404" fmla="*/ 328123 h 1232779"/>
                    <a:gd name="connsiteX405" fmla="*/ 1607457 w 1695071"/>
                    <a:gd name="connsiteY405" fmla="*/ 350577 h 1232779"/>
                    <a:gd name="connsiteX406" fmla="*/ 1611199 w 1695071"/>
                    <a:gd name="connsiteY406" fmla="*/ 365436 h 1232779"/>
                    <a:gd name="connsiteX407" fmla="*/ 1603164 w 1695071"/>
                    <a:gd name="connsiteY407" fmla="*/ 375123 h 1232779"/>
                    <a:gd name="connsiteX408" fmla="*/ 1628810 w 1695071"/>
                    <a:gd name="connsiteY408" fmla="*/ 387891 h 1232779"/>
                    <a:gd name="connsiteX409" fmla="*/ 1628810 w 1695071"/>
                    <a:gd name="connsiteY409" fmla="*/ 389542 h 1232779"/>
                    <a:gd name="connsiteX410" fmla="*/ 1669206 w 1695071"/>
                    <a:gd name="connsiteY410" fmla="*/ 411886 h 1232779"/>
                    <a:gd name="connsiteX411" fmla="*/ 1281430 w 1695071"/>
                    <a:gd name="connsiteY411" fmla="*/ 661524 h 1232779"/>
                    <a:gd name="connsiteX412" fmla="*/ 1296950 w 1695071"/>
                    <a:gd name="connsiteY412" fmla="*/ 662624 h 1232779"/>
                    <a:gd name="connsiteX413" fmla="*/ 1329861 w 1695071"/>
                    <a:gd name="connsiteY413" fmla="*/ 660533 h 1232779"/>
                    <a:gd name="connsiteX414" fmla="*/ 1288915 w 1695071"/>
                    <a:gd name="connsiteY414" fmla="*/ 674842 h 1232779"/>
                    <a:gd name="connsiteX415" fmla="*/ 1281430 w 1695071"/>
                    <a:gd name="connsiteY415" fmla="*/ 661524 h 1232779"/>
                    <a:gd name="connsiteX416" fmla="*/ 1338997 w 1695071"/>
                    <a:gd name="connsiteY416" fmla="*/ 637969 h 1232779"/>
                    <a:gd name="connsiteX417" fmla="*/ 1389188 w 1695071"/>
                    <a:gd name="connsiteY417" fmla="*/ 627842 h 1232779"/>
                    <a:gd name="connsiteX418" fmla="*/ 1339547 w 1695071"/>
                    <a:gd name="connsiteY418" fmla="*/ 642812 h 1232779"/>
                    <a:gd name="connsiteX419" fmla="*/ 1333163 w 1695071"/>
                    <a:gd name="connsiteY419" fmla="*/ 643362 h 1232779"/>
                    <a:gd name="connsiteX420" fmla="*/ 1334814 w 1695071"/>
                    <a:gd name="connsiteY420" fmla="*/ 646334 h 1232779"/>
                    <a:gd name="connsiteX421" fmla="*/ 1338997 w 1695071"/>
                    <a:gd name="connsiteY421" fmla="*/ 637969 h 1232779"/>
                    <a:gd name="connsiteX422" fmla="*/ 1185450 w 1695071"/>
                    <a:gd name="connsiteY422" fmla="*/ 549473 h 1232779"/>
                    <a:gd name="connsiteX423" fmla="*/ 1200309 w 1695071"/>
                    <a:gd name="connsiteY423" fmla="*/ 546831 h 1232779"/>
                    <a:gd name="connsiteX424" fmla="*/ 1208784 w 1695071"/>
                    <a:gd name="connsiteY424" fmla="*/ 535604 h 1232779"/>
                    <a:gd name="connsiteX425" fmla="*/ 1221553 w 1695071"/>
                    <a:gd name="connsiteY425" fmla="*/ 547382 h 1232779"/>
                    <a:gd name="connsiteX426" fmla="*/ 1222103 w 1695071"/>
                    <a:gd name="connsiteY426" fmla="*/ 539897 h 1232779"/>
                    <a:gd name="connsiteX427" fmla="*/ 1226396 w 1695071"/>
                    <a:gd name="connsiteY427" fmla="*/ 539897 h 1232779"/>
                    <a:gd name="connsiteX428" fmla="*/ 1253032 w 1695071"/>
                    <a:gd name="connsiteY428" fmla="*/ 560150 h 1232779"/>
                    <a:gd name="connsiteX429" fmla="*/ 1257325 w 1695071"/>
                    <a:gd name="connsiteY429" fmla="*/ 576110 h 1232779"/>
                    <a:gd name="connsiteX430" fmla="*/ 1299482 w 1695071"/>
                    <a:gd name="connsiteY430" fmla="*/ 594271 h 1232779"/>
                    <a:gd name="connsiteX431" fmla="*/ 1313351 w 1695071"/>
                    <a:gd name="connsiteY431" fmla="*/ 594271 h 1232779"/>
                    <a:gd name="connsiteX432" fmla="*/ 1322376 w 1695071"/>
                    <a:gd name="connsiteY432" fmla="*/ 618266 h 1232779"/>
                    <a:gd name="connsiteX433" fmla="*/ 1307517 w 1695071"/>
                    <a:gd name="connsiteY433" fmla="*/ 609241 h 1232779"/>
                    <a:gd name="connsiteX434" fmla="*/ 1293098 w 1695071"/>
                    <a:gd name="connsiteY434" fmla="*/ 643362 h 1232779"/>
                    <a:gd name="connsiteX435" fmla="*/ 1285613 w 1695071"/>
                    <a:gd name="connsiteY435" fmla="*/ 626852 h 1232779"/>
                    <a:gd name="connsiteX436" fmla="*/ 1274936 w 1695071"/>
                    <a:gd name="connsiteY436" fmla="*/ 630594 h 1232779"/>
                    <a:gd name="connsiteX437" fmla="*/ 1280770 w 1695071"/>
                    <a:gd name="connsiteY437" fmla="*/ 610892 h 1232779"/>
                    <a:gd name="connsiteX438" fmla="*/ 1256775 w 1695071"/>
                    <a:gd name="connsiteY438" fmla="*/ 594821 h 1232779"/>
                    <a:gd name="connsiteX439" fmla="*/ 1237513 w 1695071"/>
                    <a:gd name="connsiteY439" fmla="*/ 608910 h 1232779"/>
                    <a:gd name="connsiteX440" fmla="*/ 1221112 w 1695071"/>
                    <a:gd name="connsiteY440" fmla="*/ 672090 h 1232779"/>
                    <a:gd name="connsiteX441" fmla="*/ 1222213 w 1695071"/>
                    <a:gd name="connsiteY441" fmla="*/ 608580 h 1232779"/>
                    <a:gd name="connsiteX442" fmla="*/ 1209335 w 1695071"/>
                    <a:gd name="connsiteY442" fmla="*/ 616065 h 1232779"/>
                    <a:gd name="connsiteX443" fmla="*/ 1243456 w 1695071"/>
                    <a:gd name="connsiteY443" fmla="*/ 590419 h 1232779"/>
                    <a:gd name="connsiteX444" fmla="*/ 1267452 w 1695071"/>
                    <a:gd name="connsiteY444" fmla="*/ 590419 h 1232779"/>
                    <a:gd name="connsiteX445" fmla="*/ 1267452 w 1695071"/>
                    <a:gd name="connsiteY445" fmla="*/ 584035 h 1232779"/>
                    <a:gd name="connsiteX446" fmla="*/ 1237072 w 1695071"/>
                    <a:gd name="connsiteY446" fmla="*/ 577100 h 1232779"/>
                    <a:gd name="connsiteX447" fmla="*/ 1222103 w 1695071"/>
                    <a:gd name="connsiteY447" fmla="*/ 582494 h 1232779"/>
                    <a:gd name="connsiteX448" fmla="*/ 1212967 w 1695071"/>
                    <a:gd name="connsiteY448" fmla="*/ 576110 h 1232779"/>
                    <a:gd name="connsiteX449" fmla="*/ 1202290 w 1695071"/>
                    <a:gd name="connsiteY449" fmla="*/ 576110 h 1232779"/>
                    <a:gd name="connsiteX450" fmla="*/ 1208234 w 1695071"/>
                    <a:gd name="connsiteY450" fmla="*/ 562791 h 1232779"/>
                    <a:gd name="connsiteX451" fmla="*/ 1184789 w 1695071"/>
                    <a:gd name="connsiteY451" fmla="*/ 574569 h 1232779"/>
                    <a:gd name="connsiteX452" fmla="*/ 1162445 w 1695071"/>
                    <a:gd name="connsiteY452" fmla="*/ 576110 h 1232779"/>
                    <a:gd name="connsiteX453" fmla="*/ 1144834 w 1695071"/>
                    <a:gd name="connsiteY453" fmla="*/ 579852 h 1232779"/>
                    <a:gd name="connsiteX454" fmla="*/ 1186440 w 1695071"/>
                    <a:gd name="connsiteY454" fmla="*/ 549473 h 1232779"/>
                    <a:gd name="connsiteX455" fmla="*/ 1185450 w 1695071"/>
                    <a:gd name="connsiteY455" fmla="*/ 549473 h 1232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</a:cxnLst>
                  <a:rect l="l" t="t" r="r" b="b"/>
                  <a:pathLst>
                    <a:path w="1695071" h="1232779">
                      <a:moveTo>
                        <a:pt x="1669206" y="411886"/>
                      </a:moveTo>
                      <a:cubicBezTo>
                        <a:pt x="1669756" y="414527"/>
                        <a:pt x="1674269" y="415298"/>
                        <a:pt x="1673718" y="417940"/>
                      </a:cubicBezTo>
                      <a:cubicBezTo>
                        <a:pt x="1670527" y="428066"/>
                        <a:pt x="1640918" y="432139"/>
                        <a:pt x="1630241" y="437972"/>
                      </a:cubicBezTo>
                      <a:cubicBezTo>
                        <a:pt x="1630791" y="438963"/>
                        <a:pt x="1633983" y="440064"/>
                        <a:pt x="1635524" y="440064"/>
                      </a:cubicBezTo>
                      <a:cubicBezTo>
                        <a:pt x="1648292" y="440064"/>
                        <a:pt x="1673939" y="431038"/>
                        <a:pt x="1686156" y="423993"/>
                      </a:cubicBezTo>
                      <a:lnTo>
                        <a:pt x="1686156" y="430488"/>
                      </a:lnTo>
                      <a:cubicBezTo>
                        <a:pt x="1692320" y="433239"/>
                        <a:pt x="1686156" y="438523"/>
                        <a:pt x="1690449" y="438523"/>
                      </a:cubicBezTo>
                      <a:cubicBezTo>
                        <a:pt x="1695292" y="446558"/>
                        <a:pt x="1699475" y="451841"/>
                        <a:pt x="1699475" y="464169"/>
                      </a:cubicBezTo>
                      <a:cubicBezTo>
                        <a:pt x="1699475" y="481230"/>
                        <a:pt x="1656548" y="483541"/>
                        <a:pt x="1648843" y="493447"/>
                      </a:cubicBezTo>
                      <a:cubicBezTo>
                        <a:pt x="1632993" y="513920"/>
                        <a:pt x="1618463" y="505225"/>
                        <a:pt x="1591717" y="505225"/>
                      </a:cubicBezTo>
                      <a:cubicBezTo>
                        <a:pt x="1571464" y="505225"/>
                        <a:pt x="1559796" y="501482"/>
                        <a:pt x="1539434" y="507866"/>
                      </a:cubicBezTo>
                      <a:cubicBezTo>
                        <a:pt x="1528206" y="511609"/>
                        <a:pt x="1533600" y="516452"/>
                        <a:pt x="1526115" y="523937"/>
                      </a:cubicBezTo>
                      <a:cubicBezTo>
                        <a:pt x="1514338" y="535714"/>
                        <a:pt x="1503221" y="530871"/>
                        <a:pt x="1496286" y="545290"/>
                      </a:cubicBezTo>
                      <a:cubicBezTo>
                        <a:pt x="1512246" y="543089"/>
                        <a:pt x="1522923" y="526688"/>
                        <a:pt x="1546368" y="526688"/>
                      </a:cubicBezTo>
                      <a:cubicBezTo>
                        <a:pt x="1557595" y="526688"/>
                        <a:pt x="1574105" y="524487"/>
                        <a:pt x="1574105" y="534723"/>
                      </a:cubicBezTo>
                      <a:cubicBezTo>
                        <a:pt x="1574105" y="545400"/>
                        <a:pt x="1554843" y="548042"/>
                        <a:pt x="1551651" y="552335"/>
                      </a:cubicBezTo>
                      <a:cubicBezTo>
                        <a:pt x="1556494" y="552335"/>
                        <a:pt x="1562328" y="553876"/>
                        <a:pt x="1565080" y="553876"/>
                      </a:cubicBezTo>
                      <a:cubicBezTo>
                        <a:pt x="1563979" y="559269"/>
                        <a:pt x="1559686" y="563452"/>
                        <a:pt x="1559686" y="566644"/>
                      </a:cubicBezTo>
                      <a:cubicBezTo>
                        <a:pt x="1559686" y="579962"/>
                        <a:pt x="1584232" y="594932"/>
                        <a:pt x="1599642" y="594932"/>
                      </a:cubicBezTo>
                      <a:cubicBezTo>
                        <a:pt x="1602834" y="594932"/>
                        <a:pt x="1616702" y="595482"/>
                        <a:pt x="1616702" y="601316"/>
                      </a:cubicBezTo>
                      <a:cubicBezTo>
                        <a:pt x="1616702" y="605608"/>
                        <a:pt x="1580159" y="619587"/>
                        <a:pt x="1577518" y="620027"/>
                      </a:cubicBezTo>
                      <a:cubicBezTo>
                        <a:pt x="1566841" y="623219"/>
                        <a:pt x="1556935" y="637529"/>
                        <a:pt x="1552752" y="637529"/>
                      </a:cubicBezTo>
                      <a:cubicBezTo>
                        <a:pt x="1549560" y="637529"/>
                        <a:pt x="1542075" y="628943"/>
                        <a:pt x="1542075" y="624210"/>
                      </a:cubicBezTo>
                      <a:cubicBezTo>
                        <a:pt x="1542075" y="612433"/>
                        <a:pt x="1561227" y="603957"/>
                        <a:pt x="1573555" y="602857"/>
                      </a:cubicBezTo>
                      <a:cubicBezTo>
                        <a:pt x="1565080" y="602857"/>
                        <a:pt x="1565520" y="602306"/>
                        <a:pt x="1565520" y="594821"/>
                      </a:cubicBezTo>
                      <a:cubicBezTo>
                        <a:pt x="1557485" y="595372"/>
                        <a:pt x="1557485" y="602306"/>
                        <a:pt x="1552752" y="605498"/>
                      </a:cubicBezTo>
                      <a:cubicBezTo>
                        <a:pt x="1547909" y="608690"/>
                        <a:pt x="1534590" y="606489"/>
                        <a:pt x="1531399" y="606489"/>
                      </a:cubicBezTo>
                      <a:cubicBezTo>
                        <a:pt x="1529747" y="606489"/>
                        <a:pt x="1527106" y="607039"/>
                        <a:pt x="1526005" y="606489"/>
                      </a:cubicBezTo>
                      <a:lnTo>
                        <a:pt x="1526005" y="608030"/>
                      </a:lnTo>
                      <a:lnTo>
                        <a:pt x="1526335" y="609791"/>
                      </a:lnTo>
                      <a:cubicBezTo>
                        <a:pt x="1526996" y="611002"/>
                        <a:pt x="1527766" y="612212"/>
                        <a:pt x="1528647" y="613423"/>
                      </a:cubicBezTo>
                      <a:cubicBezTo>
                        <a:pt x="1524904" y="619257"/>
                        <a:pt x="1518961" y="622449"/>
                        <a:pt x="1511476" y="622449"/>
                      </a:cubicBezTo>
                      <a:cubicBezTo>
                        <a:pt x="1505092" y="622449"/>
                        <a:pt x="1504542" y="619807"/>
                        <a:pt x="1499258" y="622449"/>
                      </a:cubicBezTo>
                      <a:cubicBezTo>
                        <a:pt x="1490673" y="631034"/>
                        <a:pt x="1472621" y="636868"/>
                        <a:pt x="1472621" y="657121"/>
                      </a:cubicBezTo>
                      <a:cubicBezTo>
                        <a:pt x="1472621" y="658772"/>
                        <a:pt x="1473172" y="661414"/>
                        <a:pt x="1474823" y="661964"/>
                      </a:cubicBezTo>
                      <a:cubicBezTo>
                        <a:pt x="1474823" y="664606"/>
                        <a:pt x="1476914" y="671540"/>
                        <a:pt x="1480216" y="671540"/>
                      </a:cubicBezTo>
                      <a:cubicBezTo>
                        <a:pt x="1481207" y="671540"/>
                        <a:pt x="1486050" y="667798"/>
                        <a:pt x="1486050" y="667798"/>
                      </a:cubicBezTo>
                      <a:lnTo>
                        <a:pt x="1486050" y="671540"/>
                      </a:lnTo>
                      <a:cubicBezTo>
                        <a:pt x="1479666" y="673191"/>
                        <a:pt x="1470640" y="675282"/>
                        <a:pt x="1468439" y="673191"/>
                      </a:cubicBezTo>
                      <a:cubicBezTo>
                        <a:pt x="1457762" y="681226"/>
                        <a:pt x="1439600" y="678034"/>
                        <a:pt x="1428924" y="684969"/>
                      </a:cubicBezTo>
                      <a:lnTo>
                        <a:pt x="1434317" y="684969"/>
                      </a:lnTo>
                      <a:cubicBezTo>
                        <a:pt x="1439050" y="684969"/>
                        <a:pt x="1443893" y="682327"/>
                        <a:pt x="1447636" y="684969"/>
                      </a:cubicBezTo>
                      <a:cubicBezTo>
                        <a:pt x="1440151" y="687610"/>
                        <a:pt x="1434867" y="687610"/>
                        <a:pt x="1427383" y="687610"/>
                      </a:cubicBezTo>
                      <a:cubicBezTo>
                        <a:pt x="1425842" y="687610"/>
                        <a:pt x="1424191" y="687060"/>
                        <a:pt x="1422540" y="687060"/>
                      </a:cubicBezTo>
                      <a:cubicBezTo>
                        <a:pt x="1420889" y="687610"/>
                        <a:pt x="1419348" y="689261"/>
                        <a:pt x="1419348" y="690802"/>
                      </a:cubicBezTo>
                      <a:cubicBezTo>
                        <a:pt x="1419348" y="693444"/>
                        <a:pt x="1424081" y="697186"/>
                        <a:pt x="1424081" y="697186"/>
                      </a:cubicBezTo>
                      <a:cubicBezTo>
                        <a:pt x="1422980" y="701479"/>
                        <a:pt x="1412854" y="720081"/>
                        <a:pt x="1409111" y="720081"/>
                      </a:cubicBezTo>
                      <a:cubicBezTo>
                        <a:pt x="1407570" y="720081"/>
                        <a:pt x="1406469" y="716889"/>
                        <a:pt x="1405369" y="715788"/>
                      </a:cubicBezTo>
                      <a:lnTo>
                        <a:pt x="1402727" y="718430"/>
                      </a:lnTo>
                      <a:cubicBezTo>
                        <a:pt x="1403828" y="722722"/>
                        <a:pt x="1407570" y="724373"/>
                        <a:pt x="1407570" y="728666"/>
                      </a:cubicBezTo>
                      <a:cubicBezTo>
                        <a:pt x="1407570" y="731858"/>
                        <a:pt x="1396893" y="750460"/>
                        <a:pt x="1395242" y="750460"/>
                      </a:cubicBezTo>
                      <a:cubicBezTo>
                        <a:pt x="1394252" y="750460"/>
                        <a:pt x="1393151" y="748369"/>
                        <a:pt x="1393151" y="747268"/>
                      </a:cubicBezTo>
                      <a:lnTo>
                        <a:pt x="1393151" y="741434"/>
                      </a:lnTo>
                      <a:cubicBezTo>
                        <a:pt x="1393151" y="737692"/>
                        <a:pt x="1388418" y="729106"/>
                        <a:pt x="1387317" y="723823"/>
                      </a:cubicBezTo>
                      <a:cubicBezTo>
                        <a:pt x="1386217" y="726575"/>
                        <a:pt x="1386767" y="730757"/>
                        <a:pt x="1386767" y="730757"/>
                      </a:cubicBezTo>
                      <a:cubicBezTo>
                        <a:pt x="1386767" y="734500"/>
                        <a:pt x="1389519" y="744076"/>
                        <a:pt x="1389519" y="749469"/>
                      </a:cubicBezTo>
                      <a:cubicBezTo>
                        <a:pt x="1389519" y="754863"/>
                        <a:pt x="1386327" y="754312"/>
                        <a:pt x="1389519" y="757504"/>
                      </a:cubicBezTo>
                      <a:lnTo>
                        <a:pt x="1393261" y="757504"/>
                      </a:lnTo>
                      <a:lnTo>
                        <a:pt x="1393261" y="762898"/>
                      </a:lnTo>
                      <a:cubicBezTo>
                        <a:pt x="1393261" y="767191"/>
                        <a:pt x="1388858" y="769392"/>
                        <a:pt x="1386217" y="769392"/>
                      </a:cubicBezTo>
                      <a:cubicBezTo>
                        <a:pt x="1388308" y="773134"/>
                        <a:pt x="1390840" y="773575"/>
                        <a:pt x="1393591" y="774015"/>
                      </a:cubicBezTo>
                      <a:cubicBezTo>
                        <a:pt x="1392491" y="779849"/>
                        <a:pt x="1390069" y="779408"/>
                        <a:pt x="1385226" y="779408"/>
                      </a:cubicBezTo>
                      <a:lnTo>
                        <a:pt x="1385226" y="783701"/>
                      </a:lnTo>
                      <a:lnTo>
                        <a:pt x="1391500" y="787443"/>
                      </a:lnTo>
                      <a:cubicBezTo>
                        <a:pt x="1389849" y="789535"/>
                        <a:pt x="1388198" y="792727"/>
                        <a:pt x="1385226" y="793387"/>
                      </a:cubicBezTo>
                      <a:cubicBezTo>
                        <a:pt x="1378952" y="794598"/>
                        <a:pt x="1376200" y="798780"/>
                        <a:pt x="1371908" y="799771"/>
                      </a:cubicBezTo>
                      <a:cubicBezTo>
                        <a:pt x="1365524" y="801862"/>
                        <a:pt x="1366074" y="803513"/>
                        <a:pt x="1362882" y="806705"/>
                      </a:cubicBezTo>
                      <a:lnTo>
                        <a:pt x="1364313" y="807696"/>
                      </a:lnTo>
                      <a:cubicBezTo>
                        <a:pt x="1339327" y="821785"/>
                        <a:pt x="1307407" y="831911"/>
                        <a:pt x="1307407" y="870766"/>
                      </a:cubicBezTo>
                      <a:cubicBezTo>
                        <a:pt x="1307407" y="887937"/>
                        <a:pt x="1321716" y="893440"/>
                        <a:pt x="1322266" y="909621"/>
                      </a:cubicBezTo>
                      <a:cubicBezTo>
                        <a:pt x="1322266" y="909951"/>
                        <a:pt x="1322266" y="910391"/>
                        <a:pt x="1322266" y="910721"/>
                      </a:cubicBezTo>
                      <a:lnTo>
                        <a:pt x="1322266" y="913363"/>
                      </a:lnTo>
                      <a:cubicBezTo>
                        <a:pt x="1323917" y="919747"/>
                        <a:pt x="1328650" y="925140"/>
                        <a:pt x="1328650" y="934716"/>
                      </a:cubicBezTo>
                      <a:cubicBezTo>
                        <a:pt x="1328650" y="945944"/>
                        <a:pt x="1325898" y="956070"/>
                        <a:pt x="1316873" y="956070"/>
                      </a:cubicBezTo>
                      <a:cubicBezTo>
                        <a:pt x="1308838" y="956070"/>
                        <a:pt x="1309388" y="947595"/>
                        <a:pt x="1306196" y="942751"/>
                      </a:cubicBezTo>
                      <a:cubicBezTo>
                        <a:pt x="1299812" y="934166"/>
                        <a:pt x="1294419" y="931524"/>
                        <a:pt x="1290236" y="922939"/>
                      </a:cubicBezTo>
                      <a:cubicBezTo>
                        <a:pt x="1281651" y="905878"/>
                        <a:pt x="1288145" y="873298"/>
                        <a:pt x="1264590" y="873298"/>
                      </a:cubicBezTo>
                      <a:cubicBezTo>
                        <a:pt x="1259747" y="873298"/>
                        <a:pt x="1257655" y="880232"/>
                        <a:pt x="1252812" y="880232"/>
                      </a:cubicBezTo>
                      <a:cubicBezTo>
                        <a:pt x="1243236" y="880232"/>
                        <a:pt x="1237403" y="867904"/>
                        <a:pt x="1224524" y="867904"/>
                      </a:cubicBezTo>
                      <a:cubicBezTo>
                        <a:pt x="1217040" y="867904"/>
                        <a:pt x="1215499" y="872197"/>
                        <a:pt x="1211206" y="872197"/>
                      </a:cubicBezTo>
                      <a:cubicBezTo>
                        <a:pt x="1209665" y="872197"/>
                        <a:pt x="1207464" y="869555"/>
                        <a:pt x="1207464" y="867904"/>
                      </a:cubicBezTo>
                      <a:cubicBezTo>
                        <a:pt x="1198988" y="870106"/>
                        <a:pt x="1187761" y="869005"/>
                        <a:pt x="1178735" y="872197"/>
                      </a:cubicBezTo>
                      <a:cubicBezTo>
                        <a:pt x="1184019" y="873848"/>
                        <a:pt x="1183028" y="873848"/>
                        <a:pt x="1186220" y="872197"/>
                      </a:cubicBezTo>
                      <a:cubicBezTo>
                        <a:pt x="1185670" y="880232"/>
                        <a:pt x="1180827" y="885075"/>
                        <a:pt x="1187321" y="889368"/>
                      </a:cubicBezTo>
                      <a:cubicBezTo>
                        <a:pt x="1172351" y="896852"/>
                        <a:pt x="1159583" y="878691"/>
                        <a:pt x="1148907" y="878691"/>
                      </a:cubicBezTo>
                      <a:cubicBezTo>
                        <a:pt x="1145715" y="878691"/>
                        <a:pt x="1144174" y="882984"/>
                        <a:pt x="1140871" y="882984"/>
                      </a:cubicBezTo>
                      <a:cubicBezTo>
                        <a:pt x="1135038" y="882984"/>
                        <a:pt x="1131846" y="877590"/>
                        <a:pt x="1125902" y="877590"/>
                      </a:cubicBezTo>
                      <a:cubicBezTo>
                        <a:pt x="1110382" y="877590"/>
                        <a:pt x="1103008" y="890909"/>
                        <a:pt x="1096513" y="897293"/>
                      </a:cubicBezTo>
                      <a:cubicBezTo>
                        <a:pt x="1092221" y="901585"/>
                        <a:pt x="1087378" y="897843"/>
                        <a:pt x="1082094" y="899934"/>
                      </a:cubicBezTo>
                      <a:cubicBezTo>
                        <a:pt x="1070317" y="904227"/>
                        <a:pt x="1063383" y="918646"/>
                        <a:pt x="1063383" y="934606"/>
                      </a:cubicBezTo>
                      <a:lnTo>
                        <a:pt x="1063603" y="935487"/>
                      </a:lnTo>
                      <a:cubicBezTo>
                        <a:pt x="1064263" y="936918"/>
                        <a:pt x="1066024" y="938679"/>
                        <a:pt x="1066024" y="939890"/>
                      </a:cubicBezTo>
                      <a:cubicBezTo>
                        <a:pt x="1065584" y="939890"/>
                        <a:pt x="1065144" y="939780"/>
                        <a:pt x="1064593" y="939670"/>
                      </a:cubicBezTo>
                      <a:lnTo>
                        <a:pt x="1064924" y="940880"/>
                      </a:lnTo>
                      <a:cubicBezTo>
                        <a:pt x="1066024" y="944072"/>
                        <a:pt x="1067015" y="946274"/>
                        <a:pt x="1067015" y="949466"/>
                      </a:cubicBezTo>
                      <a:cubicBezTo>
                        <a:pt x="1067015" y="959042"/>
                        <a:pt x="1063272" y="962894"/>
                        <a:pt x="1061621" y="970819"/>
                      </a:cubicBezTo>
                      <a:lnTo>
                        <a:pt x="1061621" y="1000648"/>
                      </a:lnTo>
                      <a:cubicBezTo>
                        <a:pt x="1060521" y="1004941"/>
                        <a:pt x="1064813" y="1009234"/>
                        <a:pt x="1065914" y="1011325"/>
                      </a:cubicBezTo>
                      <a:cubicBezTo>
                        <a:pt x="1068005" y="1016168"/>
                        <a:pt x="1065364" y="1019250"/>
                        <a:pt x="1067455" y="1024093"/>
                      </a:cubicBezTo>
                      <a:cubicBezTo>
                        <a:pt x="1069656" y="1028386"/>
                        <a:pt x="1076591" y="1035870"/>
                        <a:pt x="1080223" y="1039613"/>
                      </a:cubicBezTo>
                      <a:cubicBezTo>
                        <a:pt x="1089799" y="1049189"/>
                        <a:pt x="1089799" y="1058325"/>
                        <a:pt x="1103668" y="1062507"/>
                      </a:cubicBezTo>
                      <a:cubicBezTo>
                        <a:pt x="1108511" y="1064158"/>
                        <a:pt x="1108511" y="1068891"/>
                        <a:pt x="1112804" y="1068891"/>
                      </a:cubicBezTo>
                      <a:cubicBezTo>
                        <a:pt x="1122930" y="1068891"/>
                        <a:pt x="1131516" y="1061407"/>
                        <a:pt x="1142192" y="1061407"/>
                      </a:cubicBezTo>
                      <a:cubicBezTo>
                        <a:pt x="1148026" y="1061407"/>
                        <a:pt x="1150227" y="1064599"/>
                        <a:pt x="1152319" y="1064599"/>
                      </a:cubicBezTo>
                      <a:cubicBezTo>
                        <a:pt x="1156611" y="1064599"/>
                        <a:pt x="1159253" y="1058215"/>
                        <a:pt x="1159803" y="1056123"/>
                      </a:cubicBezTo>
                      <a:cubicBezTo>
                        <a:pt x="1161895" y="1049739"/>
                        <a:pt x="1171031" y="1042805"/>
                        <a:pt x="1171031" y="1034770"/>
                      </a:cubicBezTo>
                      <a:cubicBezTo>
                        <a:pt x="1171031" y="1019250"/>
                        <a:pt x="1188642" y="1013967"/>
                        <a:pt x="1203061" y="1013967"/>
                      </a:cubicBezTo>
                      <a:cubicBezTo>
                        <a:pt x="1207904" y="1013967"/>
                        <a:pt x="1211536" y="1014517"/>
                        <a:pt x="1213738" y="1015618"/>
                      </a:cubicBezTo>
                      <a:cubicBezTo>
                        <a:pt x="1215829" y="1016168"/>
                        <a:pt x="1222763" y="1016718"/>
                        <a:pt x="1225955" y="1016718"/>
                      </a:cubicBezTo>
                      <a:lnTo>
                        <a:pt x="1225955" y="1021561"/>
                      </a:lnTo>
                      <a:cubicBezTo>
                        <a:pt x="1225955" y="1029046"/>
                        <a:pt x="1216930" y="1038622"/>
                        <a:pt x="1216930" y="1048749"/>
                      </a:cubicBezTo>
                      <a:cubicBezTo>
                        <a:pt x="1216930" y="1057224"/>
                        <a:pt x="1213738" y="1060966"/>
                        <a:pt x="1210546" y="1066360"/>
                      </a:cubicBezTo>
                      <a:lnTo>
                        <a:pt x="1210546" y="1062617"/>
                      </a:lnTo>
                      <a:lnTo>
                        <a:pt x="1206253" y="1062617"/>
                      </a:lnTo>
                      <a:lnTo>
                        <a:pt x="1206253" y="1088264"/>
                      </a:lnTo>
                      <a:cubicBezTo>
                        <a:pt x="1206253" y="1093547"/>
                        <a:pt x="1199869" y="1095748"/>
                        <a:pt x="1196677" y="1098940"/>
                      </a:cubicBezTo>
                      <a:lnTo>
                        <a:pt x="1196677" y="1101582"/>
                      </a:lnTo>
                      <a:cubicBezTo>
                        <a:pt x="1196677" y="1105324"/>
                        <a:pt x="1199869" y="1107416"/>
                        <a:pt x="1203061" y="1107416"/>
                      </a:cubicBezTo>
                      <a:cubicBezTo>
                        <a:pt x="1220672" y="1107416"/>
                        <a:pt x="1234981" y="1104224"/>
                        <a:pt x="1253693" y="1104224"/>
                      </a:cubicBezTo>
                      <a:cubicBezTo>
                        <a:pt x="1266461" y="1104224"/>
                        <a:pt x="1269763" y="1113249"/>
                        <a:pt x="1279339" y="1115451"/>
                      </a:cubicBezTo>
                      <a:lnTo>
                        <a:pt x="1279339" y="1123376"/>
                      </a:lnTo>
                      <a:cubicBezTo>
                        <a:pt x="1279339" y="1128219"/>
                        <a:pt x="1278789" y="1141537"/>
                        <a:pt x="1275597" y="1146931"/>
                      </a:cubicBezTo>
                      <a:lnTo>
                        <a:pt x="1275597" y="1179401"/>
                      </a:lnTo>
                      <a:cubicBezTo>
                        <a:pt x="1275597" y="1191179"/>
                        <a:pt x="1286824" y="1196022"/>
                        <a:pt x="1295299" y="1200204"/>
                      </a:cubicBezTo>
                      <a:cubicBezTo>
                        <a:pt x="1301133" y="1202846"/>
                        <a:pt x="1301133" y="1212972"/>
                        <a:pt x="1310269" y="1212972"/>
                      </a:cubicBezTo>
                      <a:cubicBezTo>
                        <a:pt x="1324137" y="1212972"/>
                        <a:pt x="1331072" y="1202296"/>
                        <a:pt x="1343840" y="1202296"/>
                      </a:cubicBezTo>
                      <a:cubicBezTo>
                        <a:pt x="1358809" y="1202296"/>
                        <a:pt x="1365303" y="1212972"/>
                        <a:pt x="1373889" y="1219356"/>
                      </a:cubicBezTo>
                      <a:cubicBezTo>
                        <a:pt x="1373228" y="1220677"/>
                        <a:pt x="1361891" y="1232675"/>
                        <a:pt x="1360570" y="1232014"/>
                      </a:cubicBezTo>
                      <a:cubicBezTo>
                        <a:pt x="1359470" y="1231024"/>
                        <a:pt x="1354627" y="1229483"/>
                        <a:pt x="1354627" y="1227942"/>
                      </a:cubicBezTo>
                      <a:cubicBezTo>
                        <a:pt x="1354627" y="1225741"/>
                        <a:pt x="1356718" y="1224750"/>
                        <a:pt x="1357819" y="1222659"/>
                      </a:cubicBezTo>
                      <a:cubicBezTo>
                        <a:pt x="1351985" y="1219907"/>
                        <a:pt x="1350444" y="1212972"/>
                        <a:pt x="1344500" y="1212972"/>
                      </a:cubicBezTo>
                      <a:cubicBezTo>
                        <a:pt x="1340758" y="1212972"/>
                        <a:pt x="1325788" y="1223649"/>
                        <a:pt x="1325788" y="1226841"/>
                      </a:cubicBezTo>
                      <a:cubicBezTo>
                        <a:pt x="1325788" y="1228932"/>
                        <a:pt x="1328980" y="1231134"/>
                        <a:pt x="1330081" y="1231684"/>
                      </a:cubicBezTo>
                      <a:cubicBezTo>
                        <a:pt x="1328980" y="1236968"/>
                        <a:pt x="1326339" y="1239719"/>
                        <a:pt x="1322046" y="1239719"/>
                      </a:cubicBezTo>
                      <a:cubicBezTo>
                        <a:pt x="1313571" y="1239719"/>
                        <a:pt x="1308177" y="1229593"/>
                        <a:pt x="1303885" y="1225300"/>
                      </a:cubicBezTo>
                      <a:cubicBezTo>
                        <a:pt x="1300142" y="1221558"/>
                        <a:pt x="1291557" y="1224750"/>
                        <a:pt x="1287924" y="1224750"/>
                      </a:cubicBezTo>
                      <a:cubicBezTo>
                        <a:pt x="1286824" y="1224750"/>
                        <a:pt x="1285283" y="1222659"/>
                        <a:pt x="1285283" y="1221558"/>
                      </a:cubicBezTo>
                      <a:cubicBezTo>
                        <a:pt x="1277798" y="1219907"/>
                        <a:pt x="1277798" y="1214623"/>
                        <a:pt x="1275707" y="1210331"/>
                      </a:cubicBezTo>
                      <a:cubicBezTo>
                        <a:pt x="1274056" y="1207139"/>
                        <a:pt x="1256004" y="1195912"/>
                        <a:pt x="1255454" y="1195912"/>
                      </a:cubicBezTo>
                      <a:cubicBezTo>
                        <a:pt x="1254353" y="1197563"/>
                        <a:pt x="1254353" y="1199654"/>
                        <a:pt x="1255454" y="1200755"/>
                      </a:cubicBezTo>
                      <a:lnTo>
                        <a:pt x="1250061" y="1200755"/>
                      </a:lnTo>
                      <a:cubicBezTo>
                        <a:pt x="1242025" y="1195471"/>
                        <a:pt x="1247419" y="1187987"/>
                        <a:pt x="1244667" y="1179952"/>
                      </a:cubicBezTo>
                      <a:cubicBezTo>
                        <a:pt x="1243016" y="1174668"/>
                        <a:pt x="1240374" y="1173567"/>
                        <a:pt x="1237733" y="1170926"/>
                      </a:cubicBezTo>
                      <a:cubicBezTo>
                        <a:pt x="1229147" y="1162340"/>
                        <a:pt x="1220122" y="1157607"/>
                        <a:pt x="1216930" y="1144729"/>
                      </a:cubicBezTo>
                      <a:lnTo>
                        <a:pt x="1213738" y="1144729"/>
                      </a:lnTo>
                      <a:cubicBezTo>
                        <a:pt x="1209995" y="1144729"/>
                        <a:pt x="1207354" y="1147371"/>
                        <a:pt x="1203611" y="1147371"/>
                      </a:cubicBezTo>
                      <a:cubicBezTo>
                        <a:pt x="1193485" y="1147371"/>
                        <a:pt x="1188091" y="1141427"/>
                        <a:pt x="1181157" y="1138345"/>
                      </a:cubicBezTo>
                      <a:cubicBezTo>
                        <a:pt x="1171031" y="1133502"/>
                        <a:pt x="1163546" y="1136254"/>
                        <a:pt x="1152869" y="1130860"/>
                      </a:cubicBezTo>
                      <a:cubicBezTo>
                        <a:pt x="1136359" y="1122825"/>
                        <a:pt x="1134267" y="1110608"/>
                        <a:pt x="1119738" y="1103673"/>
                      </a:cubicBezTo>
                      <a:lnTo>
                        <a:pt x="1116546" y="1103673"/>
                      </a:lnTo>
                      <a:cubicBezTo>
                        <a:pt x="1112253" y="1101032"/>
                        <a:pt x="1109061" y="1099381"/>
                        <a:pt x="1104879" y="1099381"/>
                      </a:cubicBezTo>
                      <a:cubicBezTo>
                        <a:pt x="1095303" y="1099381"/>
                        <a:pt x="1093652" y="1110057"/>
                        <a:pt x="1084626" y="1110057"/>
                      </a:cubicBezTo>
                      <a:cubicBezTo>
                        <a:pt x="1080333" y="1110057"/>
                        <a:pt x="1076151" y="1106315"/>
                        <a:pt x="1073949" y="1105324"/>
                      </a:cubicBezTo>
                      <a:cubicBezTo>
                        <a:pt x="1069656" y="1103233"/>
                        <a:pt x="1066024" y="1104224"/>
                        <a:pt x="1061731" y="1104224"/>
                      </a:cubicBezTo>
                      <a:cubicBezTo>
                        <a:pt x="1055347" y="1104224"/>
                        <a:pt x="1037186" y="1091455"/>
                        <a:pt x="1031903" y="1088814"/>
                      </a:cubicBezTo>
                      <a:cubicBezTo>
                        <a:pt x="1025959" y="1086172"/>
                        <a:pt x="1022216" y="1089364"/>
                        <a:pt x="1016383" y="1087713"/>
                      </a:cubicBezTo>
                      <a:cubicBezTo>
                        <a:pt x="1008898" y="1085622"/>
                        <a:pt x="1007357" y="1079238"/>
                        <a:pt x="999872" y="1075495"/>
                      </a:cubicBezTo>
                      <a:cubicBezTo>
                        <a:pt x="992938" y="1072303"/>
                        <a:pt x="989196" y="1073404"/>
                        <a:pt x="982261" y="1070102"/>
                      </a:cubicBezTo>
                      <a:cubicBezTo>
                        <a:pt x="979069" y="1068451"/>
                        <a:pt x="977968" y="1068011"/>
                        <a:pt x="976428" y="1066360"/>
                      </a:cubicBezTo>
                      <a:cubicBezTo>
                        <a:pt x="970043" y="1059976"/>
                        <a:pt x="953533" y="1056233"/>
                        <a:pt x="951882" y="1049299"/>
                      </a:cubicBezTo>
                      <a:cubicBezTo>
                        <a:pt x="947149" y="1049299"/>
                        <a:pt x="943847" y="1043465"/>
                        <a:pt x="943847" y="1038622"/>
                      </a:cubicBezTo>
                      <a:cubicBezTo>
                        <a:pt x="943847" y="1032789"/>
                        <a:pt x="949240" y="1029596"/>
                        <a:pt x="949240" y="1023763"/>
                      </a:cubicBezTo>
                      <a:cubicBezTo>
                        <a:pt x="949240" y="1016828"/>
                        <a:pt x="944948" y="1015177"/>
                        <a:pt x="943847" y="1011545"/>
                      </a:cubicBezTo>
                      <a:cubicBezTo>
                        <a:pt x="937463" y="992393"/>
                        <a:pt x="919301" y="976763"/>
                        <a:pt x="907634" y="965096"/>
                      </a:cubicBezTo>
                      <a:cubicBezTo>
                        <a:pt x="902241" y="959812"/>
                        <a:pt x="893765" y="957611"/>
                        <a:pt x="888372" y="952327"/>
                      </a:cubicBezTo>
                      <a:cubicBezTo>
                        <a:pt x="884079" y="948035"/>
                        <a:pt x="887821" y="942751"/>
                        <a:pt x="885180" y="936808"/>
                      </a:cubicBezTo>
                      <a:cubicBezTo>
                        <a:pt x="880337" y="927232"/>
                        <a:pt x="863826" y="926131"/>
                        <a:pt x="863826" y="913363"/>
                      </a:cubicBezTo>
                      <a:cubicBezTo>
                        <a:pt x="858983" y="912262"/>
                        <a:pt x="859534" y="911822"/>
                        <a:pt x="857993" y="913363"/>
                      </a:cubicBezTo>
                      <a:cubicBezTo>
                        <a:pt x="851058" y="906429"/>
                        <a:pt x="845775" y="900595"/>
                        <a:pt x="839831" y="894761"/>
                      </a:cubicBezTo>
                      <a:cubicBezTo>
                        <a:pt x="835098" y="889918"/>
                        <a:pt x="836639" y="880892"/>
                        <a:pt x="831906" y="876049"/>
                      </a:cubicBezTo>
                      <a:cubicBezTo>
                        <a:pt x="827063" y="871206"/>
                        <a:pt x="828164" y="859539"/>
                        <a:pt x="823871" y="857337"/>
                      </a:cubicBezTo>
                      <a:cubicBezTo>
                        <a:pt x="814845" y="853045"/>
                        <a:pt x="806260" y="853595"/>
                        <a:pt x="799325" y="846661"/>
                      </a:cubicBezTo>
                      <a:cubicBezTo>
                        <a:pt x="797784" y="848752"/>
                        <a:pt x="798225" y="851944"/>
                        <a:pt x="798225" y="853595"/>
                      </a:cubicBezTo>
                      <a:cubicBezTo>
                        <a:pt x="798225" y="864822"/>
                        <a:pt x="803508" y="871757"/>
                        <a:pt x="807801" y="880782"/>
                      </a:cubicBezTo>
                      <a:cubicBezTo>
                        <a:pt x="811543" y="888817"/>
                        <a:pt x="818588" y="888817"/>
                        <a:pt x="823871" y="894211"/>
                      </a:cubicBezTo>
                      <a:cubicBezTo>
                        <a:pt x="831356" y="901696"/>
                        <a:pt x="832456" y="906979"/>
                        <a:pt x="835098" y="916115"/>
                      </a:cubicBezTo>
                      <a:cubicBezTo>
                        <a:pt x="838840" y="928332"/>
                        <a:pt x="849517" y="934276"/>
                        <a:pt x="853260" y="945393"/>
                      </a:cubicBezTo>
                      <a:cubicBezTo>
                        <a:pt x="857552" y="958271"/>
                        <a:pt x="860744" y="972030"/>
                        <a:pt x="870320" y="978524"/>
                      </a:cubicBezTo>
                      <a:cubicBezTo>
                        <a:pt x="874613" y="974231"/>
                        <a:pt x="880997" y="983367"/>
                        <a:pt x="880997" y="987550"/>
                      </a:cubicBezTo>
                      <a:cubicBezTo>
                        <a:pt x="880997" y="990302"/>
                        <a:pt x="878906" y="995585"/>
                        <a:pt x="877255" y="995585"/>
                      </a:cubicBezTo>
                      <a:cubicBezTo>
                        <a:pt x="876154" y="995585"/>
                        <a:pt x="869110" y="986339"/>
                        <a:pt x="868559" y="984138"/>
                      </a:cubicBezTo>
                      <a:cubicBezTo>
                        <a:pt x="858983" y="984138"/>
                        <a:pt x="853810" y="971480"/>
                        <a:pt x="847976" y="967737"/>
                      </a:cubicBezTo>
                      <a:cubicBezTo>
                        <a:pt x="844784" y="965536"/>
                        <a:pt x="844234" y="965536"/>
                        <a:pt x="842583" y="962894"/>
                      </a:cubicBezTo>
                      <a:lnTo>
                        <a:pt x="842583" y="949026"/>
                      </a:lnTo>
                      <a:cubicBezTo>
                        <a:pt x="836749" y="943192"/>
                        <a:pt x="832456" y="937358"/>
                        <a:pt x="827173" y="931965"/>
                      </a:cubicBezTo>
                      <a:cubicBezTo>
                        <a:pt x="819688" y="924480"/>
                        <a:pt x="808021" y="926131"/>
                        <a:pt x="802628" y="918096"/>
                      </a:cubicBezTo>
                      <a:cubicBezTo>
                        <a:pt x="805269" y="918096"/>
                        <a:pt x="817927" y="920077"/>
                        <a:pt x="813194" y="913473"/>
                      </a:cubicBezTo>
                      <a:cubicBezTo>
                        <a:pt x="805269" y="902246"/>
                        <a:pt x="796574" y="890799"/>
                        <a:pt x="787218" y="884745"/>
                      </a:cubicBezTo>
                      <a:cubicBezTo>
                        <a:pt x="780944" y="880782"/>
                        <a:pt x="781274" y="865813"/>
                        <a:pt x="778082" y="859429"/>
                      </a:cubicBezTo>
                      <a:cubicBezTo>
                        <a:pt x="773239" y="849853"/>
                        <a:pt x="768506" y="846661"/>
                        <a:pt x="764764" y="834333"/>
                      </a:cubicBezTo>
                      <a:lnTo>
                        <a:pt x="764764" y="830591"/>
                      </a:lnTo>
                      <a:lnTo>
                        <a:pt x="765864" y="830591"/>
                      </a:lnTo>
                      <a:cubicBezTo>
                        <a:pt x="757829" y="814630"/>
                        <a:pt x="730642" y="803403"/>
                        <a:pt x="711490" y="795919"/>
                      </a:cubicBezTo>
                      <a:cubicBezTo>
                        <a:pt x="707197" y="794268"/>
                        <a:pt x="708848" y="788434"/>
                        <a:pt x="707197" y="784141"/>
                      </a:cubicBezTo>
                      <a:cubicBezTo>
                        <a:pt x="699713" y="765429"/>
                        <a:pt x="684743" y="759045"/>
                        <a:pt x="687495" y="737252"/>
                      </a:cubicBezTo>
                      <a:cubicBezTo>
                        <a:pt x="676268" y="735601"/>
                        <a:pt x="664600" y="712046"/>
                        <a:pt x="655464" y="696196"/>
                      </a:cubicBezTo>
                      <a:cubicBezTo>
                        <a:pt x="652823" y="691573"/>
                        <a:pt x="657666" y="688161"/>
                        <a:pt x="660858" y="686069"/>
                      </a:cubicBezTo>
                      <a:cubicBezTo>
                        <a:pt x="655024" y="674292"/>
                        <a:pt x="660638" y="654699"/>
                        <a:pt x="655464" y="641271"/>
                      </a:cubicBezTo>
                      <a:cubicBezTo>
                        <a:pt x="650511" y="628283"/>
                        <a:pt x="664490" y="598014"/>
                        <a:pt x="664490" y="581503"/>
                      </a:cubicBezTo>
                      <a:cubicBezTo>
                        <a:pt x="664490" y="569836"/>
                        <a:pt x="651172" y="564993"/>
                        <a:pt x="651172" y="553325"/>
                      </a:cubicBezTo>
                      <a:cubicBezTo>
                        <a:pt x="651172" y="550133"/>
                        <a:pt x="657005" y="549583"/>
                        <a:pt x="659207" y="549583"/>
                      </a:cubicBezTo>
                      <a:cubicBezTo>
                        <a:pt x="667242" y="549583"/>
                        <a:pt x="671975" y="553876"/>
                        <a:pt x="674617" y="558719"/>
                      </a:cubicBezTo>
                      <a:cubicBezTo>
                        <a:pt x="677258" y="555527"/>
                        <a:pt x="682101" y="549033"/>
                        <a:pt x="682101" y="544300"/>
                      </a:cubicBezTo>
                      <a:cubicBezTo>
                        <a:pt x="682101" y="539016"/>
                        <a:pt x="677258" y="537365"/>
                        <a:pt x="675167" y="532082"/>
                      </a:cubicBezTo>
                      <a:cubicBezTo>
                        <a:pt x="673076" y="530981"/>
                        <a:pt x="670324" y="529880"/>
                        <a:pt x="669333" y="528890"/>
                      </a:cubicBezTo>
                      <a:cubicBezTo>
                        <a:pt x="664050" y="523496"/>
                        <a:pt x="650732" y="522506"/>
                        <a:pt x="649081" y="517222"/>
                      </a:cubicBezTo>
                      <a:cubicBezTo>
                        <a:pt x="644788" y="503354"/>
                        <a:pt x="626186" y="510288"/>
                        <a:pt x="623434" y="499611"/>
                      </a:cubicBezTo>
                      <a:cubicBezTo>
                        <a:pt x="605273" y="499611"/>
                        <a:pt x="604282" y="485192"/>
                        <a:pt x="600540" y="472974"/>
                      </a:cubicBezTo>
                      <a:cubicBezTo>
                        <a:pt x="599989" y="471323"/>
                        <a:pt x="586121" y="462738"/>
                        <a:pt x="586121" y="462738"/>
                      </a:cubicBezTo>
                      <a:cubicBezTo>
                        <a:pt x="579737" y="458445"/>
                        <a:pt x="585570" y="451511"/>
                        <a:pt x="580727" y="446778"/>
                      </a:cubicBezTo>
                      <a:cubicBezTo>
                        <a:pt x="577535" y="443586"/>
                        <a:pt x="573242" y="443586"/>
                        <a:pt x="569060" y="442485"/>
                      </a:cubicBezTo>
                      <a:cubicBezTo>
                        <a:pt x="561575" y="440284"/>
                        <a:pt x="563666" y="425975"/>
                        <a:pt x="563666" y="418930"/>
                      </a:cubicBezTo>
                      <a:cubicBezTo>
                        <a:pt x="563666" y="415738"/>
                        <a:pt x="560474" y="414197"/>
                        <a:pt x="560474" y="411446"/>
                      </a:cubicBezTo>
                      <a:cubicBezTo>
                        <a:pt x="557833" y="411446"/>
                        <a:pt x="557833" y="411996"/>
                        <a:pt x="555081" y="411996"/>
                      </a:cubicBezTo>
                      <a:cubicBezTo>
                        <a:pt x="545945" y="411996"/>
                        <a:pt x="532627" y="401869"/>
                        <a:pt x="532627" y="396036"/>
                      </a:cubicBezTo>
                      <a:lnTo>
                        <a:pt x="532627" y="388001"/>
                      </a:lnTo>
                      <a:cubicBezTo>
                        <a:pt x="532627" y="379966"/>
                        <a:pt x="526243" y="379966"/>
                        <a:pt x="516557" y="379966"/>
                      </a:cubicBezTo>
                      <a:cubicBezTo>
                        <a:pt x="509072" y="379966"/>
                        <a:pt x="506981" y="375123"/>
                        <a:pt x="506981" y="371931"/>
                      </a:cubicBezTo>
                      <a:cubicBezTo>
                        <a:pt x="506981" y="367748"/>
                        <a:pt x="515016" y="367198"/>
                        <a:pt x="515016" y="362905"/>
                      </a:cubicBezTo>
                      <a:lnTo>
                        <a:pt x="515016" y="355970"/>
                      </a:lnTo>
                      <a:cubicBezTo>
                        <a:pt x="504889" y="356521"/>
                        <a:pt x="507531" y="362905"/>
                        <a:pt x="500597" y="362905"/>
                      </a:cubicBezTo>
                      <a:cubicBezTo>
                        <a:pt x="498505" y="362905"/>
                        <a:pt x="492561" y="358062"/>
                        <a:pt x="492561" y="354870"/>
                      </a:cubicBezTo>
                      <a:cubicBezTo>
                        <a:pt x="492561" y="348486"/>
                        <a:pt x="496304" y="346284"/>
                        <a:pt x="497955" y="343643"/>
                      </a:cubicBezTo>
                      <a:cubicBezTo>
                        <a:pt x="495313" y="341001"/>
                        <a:pt x="490470" y="336158"/>
                        <a:pt x="488379" y="339900"/>
                      </a:cubicBezTo>
                      <a:cubicBezTo>
                        <a:pt x="480344" y="339900"/>
                        <a:pt x="476601" y="336158"/>
                        <a:pt x="472419" y="331975"/>
                      </a:cubicBezTo>
                      <a:cubicBezTo>
                        <a:pt x="470768" y="336268"/>
                        <a:pt x="468676" y="341551"/>
                        <a:pt x="464384" y="341551"/>
                      </a:cubicBezTo>
                      <a:cubicBezTo>
                        <a:pt x="453157" y="341551"/>
                        <a:pt x="445672" y="326142"/>
                        <a:pt x="439288" y="321299"/>
                      </a:cubicBezTo>
                      <a:cubicBezTo>
                        <a:pt x="425419" y="311062"/>
                        <a:pt x="407258" y="311612"/>
                        <a:pt x="391297" y="302587"/>
                      </a:cubicBezTo>
                      <a:lnTo>
                        <a:pt x="362019" y="302587"/>
                      </a:lnTo>
                      <a:cubicBezTo>
                        <a:pt x="344408" y="296643"/>
                        <a:pt x="320963" y="294552"/>
                        <a:pt x="311827" y="275950"/>
                      </a:cubicBezTo>
                      <a:cubicBezTo>
                        <a:pt x="305443" y="278592"/>
                        <a:pt x="294766" y="281233"/>
                        <a:pt x="289923" y="283985"/>
                      </a:cubicBezTo>
                      <a:cubicBezTo>
                        <a:pt x="291464" y="287727"/>
                        <a:pt x="292565" y="289378"/>
                        <a:pt x="295207" y="291470"/>
                      </a:cubicBezTo>
                      <a:cubicBezTo>
                        <a:pt x="288272" y="302146"/>
                        <a:pt x="254151" y="321299"/>
                        <a:pt x="241823" y="321299"/>
                      </a:cubicBezTo>
                      <a:cubicBezTo>
                        <a:pt x="239622" y="321299"/>
                        <a:pt x="236429" y="319647"/>
                        <a:pt x="236429" y="317556"/>
                      </a:cubicBezTo>
                      <a:cubicBezTo>
                        <a:pt x="236429" y="314364"/>
                        <a:pt x="239622" y="313814"/>
                        <a:pt x="240722" y="313263"/>
                      </a:cubicBezTo>
                      <a:cubicBezTo>
                        <a:pt x="238081" y="309521"/>
                        <a:pt x="240172" y="309521"/>
                        <a:pt x="240172" y="306879"/>
                      </a:cubicBezTo>
                      <a:cubicBezTo>
                        <a:pt x="240172" y="295212"/>
                        <a:pt x="248207" y="286076"/>
                        <a:pt x="263617" y="281233"/>
                      </a:cubicBezTo>
                      <a:cubicBezTo>
                        <a:pt x="263617" y="279692"/>
                        <a:pt x="264167" y="277491"/>
                        <a:pt x="264167" y="275950"/>
                      </a:cubicBezTo>
                      <a:lnTo>
                        <a:pt x="257783" y="275950"/>
                      </a:lnTo>
                      <a:cubicBezTo>
                        <a:pt x="245015" y="275950"/>
                        <a:pt x="209793" y="305338"/>
                        <a:pt x="209793" y="322950"/>
                      </a:cubicBezTo>
                      <a:lnTo>
                        <a:pt x="209793" y="330985"/>
                      </a:lnTo>
                      <a:cubicBezTo>
                        <a:pt x="209793" y="343202"/>
                        <a:pt x="198015" y="347495"/>
                        <a:pt x="185797" y="352338"/>
                      </a:cubicBezTo>
                      <a:cubicBezTo>
                        <a:pt x="178863" y="354980"/>
                        <a:pt x="176662" y="360373"/>
                        <a:pt x="172479" y="365657"/>
                      </a:cubicBezTo>
                      <a:cubicBezTo>
                        <a:pt x="164444" y="375783"/>
                        <a:pt x="146283" y="381066"/>
                        <a:pt x="137807" y="389652"/>
                      </a:cubicBezTo>
                      <a:cubicBezTo>
                        <a:pt x="129772" y="397687"/>
                        <a:pt x="110620" y="403521"/>
                        <a:pt x="95100" y="405722"/>
                      </a:cubicBezTo>
                      <a:cubicBezTo>
                        <a:pt x="75948" y="408914"/>
                        <a:pt x="65271" y="431368"/>
                        <a:pt x="42817" y="424874"/>
                      </a:cubicBezTo>
                      <a:cubicBezTo>
                        <a:pt x="49201" y="414748"/>
                        <a:pt x="59328" y="418930"/>
                        <a:pt x="68353" y="413647"/>
                      </a:cubicBezTo>
                      <a:cubicBezTo>
                        <a:pt x="74737" y="409905"/>
                        <a:pt x="79580" y="399228"/>
                        <a:pt x="85414" y="396036"/>
                      </a:cubicBezTo>
                      <a:cubicBezTo>
                        <a:pt x="94440" y="390642"/>
                        <a:pt x="104676" y="396036"/>
                        <a:pt x="111060" y="388001"/>
                      </a:cubicBezTo>
                      <a:cubicBezTo>
                        <a:pt x="120086" y="376223"/>
                        <a:pt x="140889" y="367198"/>
                        <a:pt x="153657" y="358612"/>
                      </a:cubicBezTo>
                      <a:cubicBezTo>
                        <a:pt x="165875" y="350687"/>
                        <a:pt x="165875" y="334617"/>
                        <a:pt x="178753" y="326582"/>
                      </a:cubicBezTo>
                      <a:lnTo>
                        <a:pt x="170718" y="326582"/>
                      </a:lnTo>
                      <a:cubicBezTo>
                        <a:pt x="162683" y="329774"/>
                        <a:pt x="158941" y="333516"/>
                        <a:pt x="151016" y="333516"/>
                      </a:cubicBezTo>
                      <a:cubicBezTo>
                        <a:pt x="144631" y="333516"/>
                        <a:pt x="141880" y="330875"/>
                        <a:pt x="136596" y="329224"/>
                      </a:cubicBezTo>
                      <a:cubicBezTo>
                        <a:pt x="134945" y="333516"/>
                        <a:pt x="133404" y="335057"/>
                        <a:pt x="132854" y="338800"/>
                      </a:cubicBezTo>
                      <a:cubicBezTo>
                        <a:pt x="120086" y="333957"/>
                        <a:pt x="116344" y="330765"/>
                        <a:pt x="107208" y="323830"/>
                      </a:cubicBezTo>
                      <a:cubicBezTo>
                        <a:pt x="106107" y="327022"/>
                        <a:pt x="106657" y="329664"/>
                        <a:pt x="106657" y="331865"/>
                      </a:cubicBezTo>
                      <a:lnTo>
                        <a:pt x="100273" y="331865"/>
                      </a:lnTo>
                      <a:cubicBezTo>
                        <a:pt x="97081" y="331865"/>
                        <a:pt x="94440" y="336158"/>
                        <a:pt x="92238" y="336158"/>
                      </a:cubicBezTo>
                      <a:cubicBezTo>
                        <a:pt x="89046" y="336158"/>
                        <a:pt x="86955" y="327132"/>
                        <a:pt x="86955" y="322839"/>
                      </a:cubicBezTo>
                      <a:lnTo>
                        <a:pt x="86955" y="312163"/>
                      </a:lnTo>
                      <a:cubicBezTo>
                        <a:pt x="86955" y="310512"/>
                        <a:pt x="87505" y="304128"/>
                        <a:pt x="82662" y="304128"/>
                      </a:cubicBezTo>
                      <a:cubicBezTo>
                        <a:pt x="78370" y="304128"/>
                        <a:pt x="74077" y="313153"/>
                        <a:pt x="71986" y="313153"/>
                      </a:cubicBezTo>
                      <a:cubicBezTo>
                        <a:pt x="65051" y="313153"/>
                        <a:pt x="39955" y="293451"/>
                        <a:pt x="36213" y="288608"/>
                      </a:cubicBezTo>
                      <a:cubicBezTo>
                        <a:pt x="38855" y="288608"/>
                        <a:pt x="41606" y="286957"/>
                        <a:pt x="44248" y="286957"/>
                      </a:cubicBezTo>
                      <a:cubicBezTo>
                        <a:pt x="40065" y="275179"/>
                        <a:pt x="23005" y="272538"/>
                        <a:pt x="23005" y="264062"/>
                      </a:cubicBezTo>
                      <a:cubicBezTo>
                        <a:pt x="23005" y="248102"/>
                        <a:pt x="51733" y="234784"/>
                        <a:pt x="62960" y="234784"/>
                      </a:cubicBezTo>
                      <a:cubicBezTo>
                        <a:pt x="67803" y="234784"/>
                        <a:pt x="104016" y="220365"/>
                        <a:pt x="104016" y="213430"/>
                      </a:cubicBezTo>
                      <a:cubicBezTo>
                        <a:pt x="104016" y="209688"/>
                        <a:pt x="95540" y="202203"/>
                        <a:pt x="94990" y="200552"/>
                      </a:cubicBezTo>
                      <a:cubicBezTo>
                        <a:pt x="100273" y="197360"/>
                        <a:pt x="99283" y="197911"/>
                        <a:pt x="103025" y="200112"/>
                      </a:cubicBezTo>
                      <a:lnTo>
                        <a:pt x="103025" y="192077"/>
                      </a:lnTo>
                      <a:cubicBezTo>
                        <a:pt x="98292" y="191526"/>
                        <a:pt x="98292" y="192077"/>
                        <a:pt x="94990" y="192077"/>
                      </a:cubicBezTo>
                      <a:cubicBezTo>
                        <a:pt x="86405" y="192077"/>
                        <a:pt x="83213" y="201103"/>
                        <a:pt x="72096" y="201103"/>
                      </a:cubicBezTo>
                      <a:cubicBezTo>
                        <a:pt x="61419" y="201103"/>
                        <a:pt x="57676" y="195819"/>
                        <a:pt x="49641" y="197360"/>
                      </a:cubicBezTo>
                      <a:lnTo>
                        <a:pt x="21354" y="197360"/>
                      </a:lnTo>
                      <a:cubicBezTo>
                        <a:pt x="20803" y="189325"/>
                        <a:pt x="14419" y="187234"/>
                        <a:pt x="14419" y="182391"/>
                      </a:cubicBezTo>
                      <a:cubicBezTo>
                        <a:pt x="14419" y="180740"/>
                        <a:pt x="15520" y="178648"/>
                        <a:pt x="16070" y="177107"/>
                      </a:cubicBezTo>
                      <a:cubicBezTo>
                        <a:pt x="7485" y="177107"/>
                        <a:pt x="2752" y="173915"/>
                        <a:pt x="0" y="168522"/>
                      </a:cubicBezTo>
                      <a:cubicBezTo>
                        <a:pt x="13318" y="160487"/>
                        <a:pt x="35222" y="153552"/>
                        <a:pt x="47990" y="145077"/>
                      </a:cubicBezTo>
                      <a:lnTo>
                        <a:pt x="57566" y="145077"/>
                      </a:lnTo>
                      <a:cubicBezTo>
                        <a:pt x="57566" y="162138"/>
                        <a:pt x="66152" y="157295"/>
                        <a:pt x="77379" y="157295"/>
                      </a:cubicBezTo>
                      <a:cubicBezTo>
                        <a:pt x="84864" y="157295"/>
                        <a:pt x="85964" y="158946"/>
                        <a:pt x="92238" y="157295"/>
                      </a:cubicBezTo>
                      <a:cubicBezTo>
                        <a:pt x="86955" y="140234"/>
                        <a:pt x="75728" y="139133"/>
                        <a:pt x="60208" y="131649"/>
                      </a:cubicBezTo>
                      <a:cubicBezTo>
                        <a:pt x="55915" y="129557"/>
                        <a:pt x="49531" y="113487"/>
                        <a:pt x="44138" y="110405"/>
                      </a:cubicBezTo>
                      <a:cubicBezTo>
                        <a:pt x="37754" y="106663"/>
                        <a:pt x="15960" y="102370"/>
                        <a:pt x="15960" y="98628"/>
                      </a:cubicBezTo>
                      <a:cubicBezTo>
                        <a:pt x="15960" y="98628"/>
                        <a:pt x="23445" y="85309"/>
                        <a:pt x="23995" y="83658"/>
                      </a:cubicBezTo>
                      <a:lnTo>
                        <a:pt x="53384" y="83658"/>
                      </a:lnTo>
                      <a:cubicBezTo>
                        <a:pt x="69344" y="62305"/>
                        <a:pt x="93339" y="42052"/>
                        <a:pt x="121627" y="32916"/>
                      </a:cubicBezTo>
                      <a:cubicBezTo>
                        <a:pt x="129002" y="30825"/>
                        <a:pt x="133845" y="34457"/>
                        <a:pt x="141329" y="31815"/>
                      </a:cubicBezTo>
                      <a:cubicBezTo>
                        <a:pt x="149915" y="28623"/>
                        <a:pt x="155198" y="16846"/>
                        <a:pt x="164334" y="16846"/>
                      </a:cubicBezTo>
                      <a:cubicBezTo>
                        <a:pt x="171268" y="16846"/>
                        <a:pt x="173910" y="22680"/>
                        <a:pt x="180844" y="24881"/>
                      </a:cubicBezTo>
                      <a:cubicBezTo>
                        <a:pt x="178203" y="28073"/>
                        <a:pt x="177652" y="29174"/>
                        <a:pt x="176111" y="31815"/>
                      </a:cubicBezTo>
                      <a:cubicBezTo>
                        <a:pt x="181505" y="32916"/>
                        <a:pt x="186788" y="29174"/>
                        <a:pt x="189430" y="24881"/>
                      </a:cubicBezTo>
                      <a:cubicBezTo>
                        <a:pt x="195263" y="26972"/>
                        <a:pt x="196915" y="28623"/>
                        <a:pt x="201758" y="30164"/>
                      </a:cubicBezTo>
                      <a:lnTo>
                        <a:pt x="228394" y="30164"/>
                      </a:lnTo>
                      <a:cubicBezTo>
                        <a:pt x="234778" y="34457"/>
                        <a:pt x="236870" y="37099"/>
                        <a:pt x="244355" y="40841"/>
                      </a:cubicBezTo>
                      <a:lnTo>
                        <a:pt x="285410" y="40841"/>
                      </a:lnTo>
                      <a:cubicBezTo>
                        <a:pt x="296087" y="51518"/>
                        <a:pt x="329108" y="54160"/>
                        <a:pt x="345619" y="54160"/>
                      </a:cubicBezTo>
                      <a:cubicBezTo>
                        <a:pt x="355195" y="54160"/>
                        <a:pt x="361138" y="50417"/>
                        <a:pt x="370714" y="50417"/>
                      </a:cubicBezTo>
                      <a:cubicBezTo>
                        <a:pt x="386234" y="50417"/>
                        <a:pt x="390967" y="56801"/>
                        <a:pt x="404286" y="61094"/>
                      </a:cubicBezTo>
                      <a:lnTo>
                        <a:pt x="404286" y="60544"/>
                      </a:lnTo>
                      <a:cubicBezTo>
                        <a:pt x="409569" y="61644"/>
                        <a:pt x="406927" y="62745"/>
                        <a:pt x="410670" y="60544"/>
                      </a:cubicBezTo>
                      <a:cubicBezTo>
                        <a:pt x="410670" y="62195"/>
                        <a:pt x="417274" y="66928"/>
                        <a:pt x="418154" y="67478"/>
                      </a:cubicBezTo>
                      <a:cubicBezTo>
                        <a:pt x="440058" y="80796"/>
                        <a:pt x="464053" y="83548"/>
                        <a:pt x="477372" y="83548"/>
                      </a:cubicBezTo>
                      <a:cubicBezTo>
                        <a:pt x="482105" y="83548"/>
                        <a:pt x="458110" y="70890"/>
                        <a:pt x="492892" y="69679"/>
                      </a:cubicBezTo>
                      <a:cubicBezTo>
                        <a:pt x="497845" y="69569"/>
                        <a:pt x="495423" y="52949"/>
                        <a:pt x="509402" y="65937"/>
                      </a:cubicBezTo>
                      <a:cubicBezTo>
                        <a:pt x="514025" y="70340"/>
                        <a:pt x="528004" y="60103"/>
                        <a:pt x="533948" y="59003"/>
                      </a:cubicBezTo>
                      <a:cubicBezTo>
                        <a:pt x="548917" y="53169"/>
                        <a:pt x="554751" y="52068"/>
                        <a:pt x="571261" y="48326"/>
                      </a:cubicBezTo>
                      <a:cubicBezTo>
                        <a:pt x="572912" y="52619"/>
                        <a:pt x="576655" y="55811"/>
                        <a:pt x="580947" y="55811"/>
                      </a:cubicBezTo>
                      <a:cubicBezTo>
                        <a:pt x="592174" y="55811"/>
                        <a:pt x="588432" y="40401"/>
                        <a:pt x="599109" y="40401"/>
                      </a:cubicBezTo>
                      <a:cubicBezTo>
                        <a:pt x="602301" y="40401"/>
                        <a:pt x="616720" y="64396"/>
                        <a:pt x="626846" y="64396"/>
                      </a:cubicBezTo>
                      <a:cubicBezTo>
                        <a:pt x="637523" y="64396"/>
                        <a:pt x="637523" y="52619"/>
                        <a:pt x="647650" y="50527"/>
                      </a:cubicBezTo>
                      <a:cubicBezTo>
                        <a:pt x="648750" y="54710"/>
                        <a:pt x="654584" y="64946"/>
                        <a:pt x="660528" y="64946"/>
                      </a:cubicBezTo>
                      <a:cubicBezTo>
                        <a:pt x="669003" y="64946"/>
                        <a:pt x="673296" y="58012"/>
                        <a:pt x="683422" y="58012"/>
                      </a:cubicBezTo>
                      <a:cubicBezTo>
                        <a:pt x="715893" y="58012"/>
                        <a:pt x="732073" y="84539"/>
                        <a:pt x="764433" y="82007"/>
                      </a:cubicBezTo>
                      <a:cubicBezTo>
                        <a:pt x="794923" y="79586"/>
                        <a:pt x="792281" y="76284"/>
                        <a:pt x="807140" y="96867"/>
                      </a:cubicBezTo>
                      <a:cubicBezTo>
                        <a:pt x="803948" y="100059"/>
                        <a:pt x="787658" y="98077"/>
                        <a:pt x="787658" y="102920"/>
                      </a:cubicBezTo>
                      <a:cubicBezTo>
                        <a:pt x="787658" y="104571"/>
                        <a:pt x="787658" y="112276"/>
                        <a:pt x="808791" y="111286"/>
                      </a:cubicBezTo>
                      <a:cubicBezTo>
                        <a:pt x="820569" y="110845"/>
                        <a:pt x="827503" y="106553"/>
                        <a:pt x="838180" y="106553"/>
                      </a:cubicBezTo>
                      <a:lnTo>
                        <a:pt x="872302" y="106553"/>
                      </a:lnTo>
                      <a:lnTo>
                        <a:pt x="880337" y="110295"/>
                      </a:lnTo>
                      <a:cubicBezTo>
                        <a:pt x="889472" y="114478"/>
                        <a:pt x="891564" y="127906"/>
                        <a:pt x="902241" y="127906"/>
                      </a:cubicBezTo>
                      <a:cubicBezTo>
                        <a:pt x="904882" y="127906"/>
                        <a:pt x="899049" y="115578"/>
                        <a:pt x="899049" y="111946"/>
                      </a:cubicBezTo>
                      <a:cubicBezTo>
                        <a:pt x="899049" y="93785"/>
                        <a:pt x="926236" y="108204"/>
                        <a:pt x="924144" y="90593"/>
                      </a:cubicBezTo>
                      <a:cubicBezTo>
                        <a:pt x="917760" y="94775"/>
                        <a:pt x="903671" y="98958"/>
                        <a:pt x="895086" y="98958"/>
                      </a:cubicBezTo>
                      <a:cubicBezTo>
                        <a:pt x="890793" y="98958"/>
                        <a:pt x="888372" y="96977"/>
                        <a:pt x="888372" y="93234"/>
                      </a:cubicBezTo>
                      <a:cubicBezTo>
                        <a:pt x="888372" y="81457"/>
                        <a:pt x="920292" y="80907"/>
                        <a:pt x="929978" y="78375"/>
                      </a:cubicBezTo>
                      <a:cubicBezTo>
                        <a:pt x="936912" y="100169"/>
                        <a:pt x="970484" y="110405"/>
                        <a:pt x="999322" y="110405"/>
                      </a:cubicBezTo>
                      <a:cubicBezTo>
                        <a:pt x="1029701" y="110405"/>
                        <a:pt x="1035535" y="109304"/>
                        <a:pt x="1044671" y="110405"/>
                      </a:cubicBezTo>
                      <a:cubicBezTo>
                        <a:pt x="1044671" y="99178"/>
                        <a:pt x="1048413" y="93344"/>
                        <a:pt x="1057989" y="93344"/>
                      </a:cubicBezTo>
                      <a:cubicBezTo>
                        <a:pt x="1066024" y="93344"/>
                        <a:pt x="1080333" y="97087"/>
                        <a:pt x="1081984" y="99728"/>
                      </a:cubicBezTo>
                      <a:cubicBezTo>
                        <a:pt x="1086277" y="105562"/>
                        <a:pt x="1072408" y="123173"/>
                        <a:pt x="1089909" y="118440"/>
                      </a:cubicBezTo>
                      <a:cubicBezTo>
                        <a:pt x="1089909" y="92244"/>
                        <a:pt x="1125132" y="103031"/>
                        <a:pt x="1118197" y="81127"/>
                      </a:cubicBezTo>
                      <a:cubicBezTo>
                        <a:pt x="1113904" y="83328"/>
                        <a:pt x="1110712" y="84319"/>
                        <a:pt x="1106970" y="86520"/>
                      </a:cubicBezTo>
                      <a:cubicBezTo>
                        <a:pt x="1106970" y="86520"/>
                        <a:pt x="1111263" y="73752"/>
                        <a:pt x="1111263" y="70560"/>
                      </a:cubicBezTo>
                      <a:cubicBezTo>
                        <a:pt x="1111263" y="52398"/>
                        <a:pt x="1075050" y="63075"/>
                        <a:pt x="1075050" y="45464"/>
                      </a:cubicBezTo>
                      <a:cubicBezTo>
                        <a:pt x="1075050" y="37979"/>
                        <a:pt x="1081984" y="38530"/>
                        <a:pt x="1081984" y="33136"/>
                      </a:cubicBezTo>
                      <a:cubicBezTo>
                        <a:pt x="1081984" y="27743"/>
                        <a:pt x="1077692" y="25211"/>
                        <a:pt x="1077692" y="19818"/>
                      </a:cubicBezTo>
                      <a:cubicBezTo>
                        <a:pt x="1077692" y="11783"/>
                        <a:pt x="1086167" y="13324"/>
                        <a:pt x="1092551" y="11783"/>
                      </a:cubicBezTo>
                      <a:cubicBezTo>
                        <a:pt x="1092001" y="6389"/>
                        <a:pt x="1087818" y="-215"/>
                        <a:pt x="1097944" y="5"/>
                      </a:cubicBezTo>
                      <a:cubicBezTo>
                        <a:pt x="1118748" y="556"/>
                        <a:pt x="1130415" y="11122"/>
                        <a:pt x="1131075" y="27743"/>
                      </a:cubicBezTo>
                      <a:cubicBezTo>
                        <a:pt x="1131295" y="35668"/>
                        <a:pt x="1147035" y="35228"/>
                        <a:pt x="1147035" y="45354"/>
                      </a:cubicBezTo>
                      <a:cubicBezTo>
                        <a:pt x="1147035" y="52288"/>
                        <a:pt x="1137349" y="56031"/>
                        <a:pt x="1133717" y="58122"/>
                      </a:cubicBezTo>
                      <a:cubicBezTo>
                        <a:pt x="1140101" y="66157"/>
                        <a:pt x="1151878" y="60764"/>
                        <a:pt x="1160354" y="66157"/>
                      </a:cubicBezTo>
                      <a:cubicBezTo>
                        <a:pt x="1157712" y="68249"/>
                        <a:pt x="1156611" y="69900"/>
                        <a:pt x="1155070" y="72541"/>
                      </a:cubicBezTo>
                      <a:cubicBezTo>
                        <a:pt x="1166298" y="77935"/>
                        <a:pt x="1167288" y="84209"/>
                        <a:pt x="1167288" y="93344"/>
                      </a:cubicBezTo>
                      <a:cubicBezTo>
                        <a:pt x="1183799" y="93344"/>
                        <a:pt x="1173122" y="70340"/>
                        <a:pt x="1188642" y="70340"/>
                      </a:cubicBezTo>
                      <a:cubicBezTo>
                        <a:pt x="1192934" y="70340"/>
                        <a:pt x="1208344" y="85309"/>
                        <a:pt x="1208344" y="89052"/>
                      </a:cubicBezTo>
                      <a:cubicBezTo>
                        <a:pt x="1208344" y="97087"/>
                        <a:pt x="1199318" y="95436"/>
                        <a:pt x="1199318" y="102370"/>
                      </a:cubicBezTo>
                      <a:cubicBezTo>
                        <a:pt x="1199318" y="108204"/>
                        <a:pt x="1215168" y="133080"/>
                        <a:pt x="1227166" y="117780"/>
                      </a:cubicBezTo>
                      <a:cubicBezTo>
                        <a:pt x="1234871" y="107874"/>
                        <a:pt x="1233440" y="100829"/>
                        <a:pt x="1237733" y="91693"/>
                      </a:cubicBezTo>
                      <a:cubicBezTo>
                        <a:pt x="1240374" y="86300"/>
                        <a:pt x="1252702" y="86300"/>
                        <a:pt x="1252702" y="81017"/>
                      </a:cubicBezTo>
                      <a:cubicBezTo>
                        <a:pt x="1252702" y="76284"/>
                        <a:pt x="1244667" y="73642"/>
                        <a:pt x="1244667" y="66708"/>
                      </a:cubicBezTo>
                      <a:cubicBezTo>
                        <a:pt x="1244667" y="60213"/>
                        <a:pt x="1251602" y="56031"/>
                        <a:pt x="1257986" y="56031"/>
                      </a:cubicBezTo>
                      <a:cubicBezTo>
                        <a:pt x="1262719" y="56031"/>
                        <a:pt x="1266571" y="59223"/>
                        <a:pt x="1271304" y="59773"/>
                      </a:cubicBezTo>
                      <a:cubicBezTo>
                        <a:pt x="1293208" y="59773"/>
                        <a:pt x="1288915" y="73092"/>
                        <a:pt x="1305976" y="73092"/>
                      </a:cubicBezTo>
                      <a:cubicBezTo>
                        <a:pt x="1305976" y="82117"/>
                        <a:pt x="1308177" y="81567"/>
                        <a:pt x="1305976" y="86410"/>
                      </a:cubicBezTo>
                      <a:cubicBezTo>
                        <a:pt x="1289135" y="94555"/>
                        <a:pt x="1296400" y="103031"/>
                        <a:pt x="1296400" y="106663"/>
                      </a:cubicBezTo>
                      <a:cubicBezTo>
                        <a:pt x="1296400" y="109855"/>
                        <a:pt x="1308618" y="115248"/>
                        <a:pt x="1308618" y="119981"/>
                      </a:cubicBezTo>
                      <a:cubicBezTo>
                        <a:pt x="1308618" y="126916"/>
                        <a:pt x="1281210" y="150360"/>
                        <a:pt x="1277688" y="145077"/>
                      </a:cubicBezTo>
                      <a:cubicBezTo>
                        <a:pt x="1271194" y="135061"/>
                        <a:pt x="1268662" y="144527"/>
                        <a:pt x="1271304" y="147719"/>
                      </a:cubicBezTo>
                      <a:cubicBezTo>
                        <a:pt x="1261728" y="147719"/>
                        <a:pt x="1258426" y="152011"/>
                        <a:pt x="1253693" y="152011"/>
                      </a:cubicBezTo>
                      <a:cubicBezTo>
                        <a:pt x="1246208" y="152011"/>
                        <a:pt x="1242025" y="141335"/>
                        <a:pt x="1230248" y="141335"/>
                      </a:cubicBezTo>
                      <a:cubicBezTo>
                        <a:pt x="1225955" y="141335"/>
                        <a:pt x="1233990" y="150911"/>
                        <a:pt x="1233990" y="153002"/>
                      </a:cubicBezTo>
                      <a:cubicBezTo>
                        <a:pt x="1233990" y="159386"/>
                        <a:pt x="1218471" y="170613"/>
                        <a:pt x="1209995" y="170613"/>
                      </a:cubicBezTo>
                      <a:cubicBezTo>
                        <a:pt x="1199869" y="170613"/>
                        <a:pt x="1192934" y="162688"/>
                        <a:pt x="1186000" y="158396"/>
                      </a:cubicBezTo>
                      <a:lnTo>
                        <a:pt x="1176424" y="158396"/>
                      </a:lnTo>
                      <a:cubicBezTo>
                        <a:pt x="1184459" y="174356"/>
                        <a:pt x="1202511" y="171714"/>
                        <a:pt x="1220672" y="176007"/>
                      </a:cubicBezTo>
                      <a:lnTo>
                        <a:pt x="1220672" y="184042"/>
                      </a:lnTo>
                      <a:cubicBezTo>
                        <a:pt x="1212087" y="190426"/>
                        <a:pt x="1205152" y="203744"/>
                        <a:pt x="1192384" y="203744"/>
                      </a:cubicBezTo>
                      <a:lnTo>
                        <a:pt x="1180607" y="203744"/>
                      </a:lnTo>
                      <a:cubicBezTo>
                        <a:pt x="1174223" y="203744"/>
                        <a:pt x="1181047" y="218604"/>
                        <a:pt x="1169820" y="215081"/>
                      </a:cubicBezTo>
                      <a:cubicBezTo>
                        <a:pt x="1126452" y="201763"/>
                        <a:pt x="1142633" y="212660"/>
                        <a:pt x="1137790" y="211119"/>
                      </a:cubicBezTo>
                      <a:cubicBezTo>
                        <a:pt x="1145274" y="215412"/>
                        <a:pt x="1165637" y="215962"/>
                        <a:pt x="1165637" y="223997"/>
                      </a:cubicBezTo>
                      <a:cubicBezTo>
                        <a:pt x="1165637" y="236765"/>
                        <a:pt x="1149677" y="231482"/>
                        <a:pt x="1140541" y="234674"/>
                      </a:cubicBezTo>
                      <a:cubicBezTo>
                        <a:pt x="1136249" y="236215"/>
                        <a:pt x="1127223" y="257018"/>
                        <a:pt x="1122930" y="261311"/>
                      </a:cubicBezTo>
                      <a:cubicBezTo>
                        <a:pt x="1110602" y="273528"/>
                        <a:pt x="1104218" y="286296"/>
                        <a:pt x="1104218" y="307760"/>
                      </a:cubicBezTo>
                      <a:cubicBezTo>
                        <a:pt x="1104218" y="323170"/>
                        <a:pt x="1106310" y="325371"/>
                        <a:pt x="1104218" y="331755"/>
                      </a:cubicBezTo>
                      <a:cubicBezTo>
                        <a:pt x="1109502" y="330654"/>
                        <a:pt x="1112143" y="326362"/>
                        <a:pt x="1117537" y="326362"/>
                      </a:cubicBezTo>
                      <a:cubicBezTo>
                        <a:pt x="1129204" y="326362"/>
                        <a:pt x="1137790" y="356191"/>
                        <a:pt x="1137790" y="369069"/>
                      </a:cubicBezTo>
                      <a:cubicBezTo>
                        <a:pt x="1145825" y="369069"/>
                        <a:pt x="1149567" y="361034"/>
                        <a:pt x="1157492" y="361034"/>
                      </a:cubicBezTo>
                      <a:cubicBezTo>
                        <a:pt x="1164977" y="361034"/>
                        <a:pt x="1177194" y="370169"/>
                        <a:pt x="1181487" y="371710"/>
                      </a:cubicBezTo>
                      <a:cubicBezTo>
                        <a:pt x="1204932" y="380736"/>
                        <a:pt x="1227386" y="389322"/>
                        <a:pt x="1247089" y="403741"/>
                      </a:cubicBezTo>
                      <a:lnTo>
                        <a:pt x="1281761" y="403741"/>
                      </a:lnTo>
                      <a:cubicBezTo>
                        <a:pt x="1296730" y="413317"/>
                        <a:pt x="1293538" y="426635"/>
                        <a:pt x="1293538" y="443806"/>
                      </a:cubicBezTo>
                      <a:cubicBezTo>
                        <a:pt x="1293538" y="459326"/>
                        <a:pt x="1312360" y="475946"/>
                        <a:pt x="1325458" y="486513"/>
                      </a:cubicBezTo>
                      <a:cubicBezTo>
                        <a:pt x="1330522" y="490586"/>
                        <a:pt x="1335034" y="480129"/>
                        <a:pt x="1341528" y="480129"/>
                      </a:cubicBezTo>
                      <a:cubicBezTo>
                        <a:pt x="1342079" y="474295"/>
                        <a:pt x="1349013" y="470553"/>
                        <a:pt x="1351214" y="467361"/>
                      </a:cubicBezTo>
                      <a:cubicBezTo>
                        <a:pt x="1343730" y="458335"/>
                        <a:pt x="1351104" y="429277"/>
                        <a:pt x="1332503" y="419921"/>
                      </a:cubicBezTo>
                      <a:cubicBezTo>
                        <a:pt x="1343179" y="417830"/>
                        <a:pt x="1375210" y="393834"/>
                        <a:pt x="1375210" y="384258"/>
                      </a:cubicBezTo>
                      <a:cubicBezTo>
                        <a:pt x="1375210" y="349036"/>
                        <a:pt x="1356718" y="342212"/>
                        <a:pt x="1344390" y="321409"/>
                      </a:cubicBezTo>
                      <a:cubicBezTo>
                        <a:pt x="1351325" y="318767"/>
                        <a:pt x="1366404" y="314694"/>
                        <a:pt x="1364533" y="298954"/>
                      </a:cubicBezTo>
                      <a:cubicBezTo>
                        <a:pt x="1363542" y="291029"/>
                        <a:pt x="1347032" y="279252"/>
                        <a:pt x="1353856" y="274959"/>
                      </a:cubicBezTo>
                      <a:cubicBezTo>
                        <a:pt x="1371137" y="264062"/>
                        <a:pt x="1352315" y="256357"/>
                        <a:pt x="1352315" y="250964"/>
                      </a:cubicBezTo>
                      <a:cubicBezTo>
                        <a:pt x="1352315" y="241388"/>
                        <a:pt x="1360350" y="237646"/>
                        <a:pt x="1368275" y="237646"/>
                      </a:cubicBezTo>
                      <a:cubicBezTo>
                        <a:pt x="1383245" y="237646"/>
                        <a:pt x="1392821" y="246781"/>
                        <a:pt x="1408341" y="246781"/>
                      </a:cubicBezTo>
                      <a:cubicBezTo>
                        <a:pt x="1416376" y="246781"/>
                        <a:pt x="1416376" y="241388"/>
                        <a:pt x="1423310" y="241388"/>
                      </a:cubicBezTo>
                      <a:cubicBezTo>
                        <a:pt x="1438280" y="241388"/>
                        <a:pt x="1441472" y="259549"/>
                        <a:pt x="1456441" y="261641"/>
                      </a:cubicBezTo>
                      <a:cubicBezTo>
                        <a:pt x="1456441" y="281343"/>
                        <a:pt x="1485279" y="270667"/>
                        <a:pt x="1487371" y="285636"/>
                      </a:cubicBezTo>
                      <a:cubicBezTo>
                        <a:pt x="1488912" y="296753"/>
                        <a:pt x="1492654" y="322950"/>
                        <a:pt x="1501680" y="322950"/>
                      </a:cubicBezTo>
                      <a:cubicBezTo>
                        <a:pt x="1508064" y="322950"/>
                        <a:pt x="1509715" y="334617"/>
                        <a:pt x="1519291" y="334617"/>
                      </a:cubicBezTo>
                      <a:cubicBezTo>
                        <a:pt x="1532609" y="334617"/>
                        <a:pt x="1549780" y="314914"/>
                        <a:pt x="1549780" y="306879"/>
                      </a:cubicBezTo>
                      <a:cubicBezTo>
                        <a:pt x="1549780" y="299395"/>
                        <a:pt x="1558255" y="294662"/>
                        <a:pt x="1561998" y="291910"/>
                      </a:cubicBezTo>
                      <a:cubicBezTo>
                        <a:pt x="1564199" y="294111"/>
                        <a:pt x="1569483" y="298844"/>
                        <a:pt x="1571134" y="298844"/>
                      </a:cubicBezTo>
                      <a:cubicBezTo>
                        <a:pt x="1572675" y="313153"/>
                        <a:pt x="1595349" y="316015"/>
                        <a:pt x="1589845" y="328123"/>
                      </a:cubicBezTo>
                      <a:cubicBezTo>
                        <a:pt x="1585333" y="337919"/>
                        <a:pt x="1602613" y="348926"/>
                        <a:pt x="1607457" y="350577"/>
                      </a:cubicBezTo>
                      <a:cubicBezTo>
                        <a:pt x="1606356" y="355860"/>
                        <a:pt x="1611199" y="360153"/>
                        <a:pt x="1611199" y="365436"/>
                      </a:cubicBezTo>
                      <a:cubicBezTo>
                        <a:pt x="1611199" y="371821"/>
                        <a:pt x="1605806" y="373471"/>
                        <a:pt x="1603164" y="375123"/>
                      </a:cubicBezTo>
                      <a:cubicBezTo>
                        <a:pt x="1610098" y="380406"/>
                        <a:pt x="1617033" y="387891"/>
                        <a:pt x="1628810" y="387891"/>
                      </a:cubicBezTo>
                      <a:lnTo>
                        <a:pt x="1628810" y="389542"/>
                      </a:lnTo>
                      <a:cubicBezTo>
                        <a:pt x="1629250" y="407483"/>
                        <a:pt x="1656327" y="413427"/>
                        <a:pt x="1669206" y="411886"/>
                      </a:cubicBezTo>
                      <a:moveTo>
                        <a:pt x="1281430" y="661524"/>
                      </a:moveTo>
                      <a:cubicBezTo>
                        <a:pt x="1289576" y="675172"/>
                        <a:pt x="1296510" y="662955"/>
                        <a:pt x="1296950" y="662624"/>
                      </a:cubicBezTo>
                      <a:cubicBezTo>
                        <a:pt x="1306086" y="653489"/>
                        <a:pt x="1328320" y="661524"/>
                        <a:pt x="1329861" y="660533"/>
                      </a:cubicBezTo>
                      <a:cubicBezTo>
                        <a:pt x="1317313" y="666697"/>
                        <a:pt x="1299922" y="674842"/>
                        <a:pt x="1288915" y="674842"/>
                      </a:cubicBezTo>
                      <a:cubicBezTo>
                        <a:pt x="1283522" y="674842"/>
                        <a:pt x="1281430" y="666807"/>
                        <a:pt x="1281430" y="661524"/>
                      </a:cubicBezTo>
                      <a:moveTo>
                        <a:pt x="1338997" y="637969"/>
                      </a:moveTo>
                      <a:cubicBezTo>
                        <a:pt x="1350774" y="634226"/>
                        <a:pt x="1375760" y="627842"/>
                        <a:pt x="1389188" y="627842"/>
                      </a:cubicBezTo>
                      <a:cubicBezTo>
                        <a:pt x="1389078" y="647875"/>
                        <a:pt x="1355067" y="642812"/>
                        <a:pt x="1339547" y="642812"/>
                      </a:cubicBezTo>
                      <a:cubicBezTo>
                        <a:pt x="1336905" y="642812"/>
                        <a:pt x="1336905" y="643362"/>
                        <a:pt x="1333163" y="643362"/>
                      </a:cubicBezTo>
                      <a:lnTo>
                        <a:pt x="1334814" y="646334"/>
                      </a:lnTo>
                      <a:cubicBezTo>
                        <a:pt x="1331952" y="642262"/>
                        <a:pt x="1328760" y="641381"/>
                        <a:pt x="1338997" y="637969"/>
                      </a:cubicBezTo>
                      <a:moveTo>
                        <a:pt x="1185450" y="549473"/>
                      </a:moveTo>
                      <a:lnTo>
                        <a:pt x="1200309" y="546831"/>
                      </a:lnTo>
                      <a:cubicBezTo>
                        <a:pt x="1205592" y="544189"/>
                        <a:pt x="1203501" y="535604"/>
                        <a:pt x="1208784" y="535604"/>
                      </a:cubicBezTo>
                      <a:cubicBezTo>
                        <a:pt x="1215168" y="535604"/>
                        <a:pt x="1219461" y="545180"/>
                        <a:pt x="1221553" y="547382"/>
                      </a:cubicBezTo>
                      <a:cubicBezTo>
                        <a:pt x="1222653" y="545290"/>
                        <a:pt x="1222103" y="540997"/>
                        <a:pt x="1222103" y="539897"/>
                      </a:cubicBezTo>
                      <a:lnTo>
                        <a:pt x="1226396" y="539897"/>
                      </a:lnTo>
                      <a:cubicBezTo>
                        <a:pt x="1229588" y="539897"/>
                        <a:pt x="1251932" y="558058"/>
                        <a:pt x="1253032" y="560150"/>
                      </a:cubicBezTo>
                      <a:cubicBezTo>
                        <a:pt x="1256224" y="566534"/>
                        <a:pt x="1253032" y="571927"/>
                        <a:pt x="1257325" y="576110"/>
                      </a:cubicBezTo>
                      <a:cubicBezTo>
                        <a:pt x="1269653" y="588437"/>
                        <a:pt x="1286163" y="585796"/>
                        <a:pt x="1299482" y="594271"/>
                      </a:cubicBezTo>
                      <a:lnTo>
                        <a:pt x="1313351" y="594271"/>
                      </a:lnTo>
                      <a:cubicBezTo>
                        <a:pt x="1323477" y="597243"/>
                        <a:pt x="1334594" y="618266"/>
                        <a:pt x="1322376" y="618266"/>
                      </a:cubicBezTo>
                      <a:cubicBezTo>
                        <a:pt x="1315992" y="618266"/>
                        <a:pt x="1309608" y="611332"/>
                        <a:pt x="1307517" y="609241"/>
                      </a:cubicBezTo>
                      <a:cubicBezTo>
                        <a:pt x="1305315" y="617826"/>
                        <a:pt x="1300583" y="643362"/>
                        <a:pt x="1293098" y="643362"/>
                      </a:cubicBezTo>
                      <a:cubicBezTo>
                        <a:pt x="1287704" y="639070"/>
                        <a:pt x="1287704" y="635327"/>
                        <a:pt x="1285613" y="626852"/>
                      </a:cubicBezTo>
                      <a:cubicBezTo>
                        <a:pt x="1280220" y="628393"/>
                        <a:pt x="1281320" y="630594"/>
                        <a:pt x="1274936" y="630594"/>
                      </a:cubicBezTo>
                      <a:cubicBezTo>
                        <a:pt x="1276587" y="623109"/>
                        <a:pt x="1280770" y="618266"/>
                        <a:pt x="1280770" y="610892"/>
                      </a:cubicBezTo>
                      <a:cubicBezTo>
                        <a:pt x="1280770" y="604398"/>
                        <a:pt x="1261068" y="594821"/>
                        <a:pt x="1256775" y="594821"/>
                      </a:cubicBezTo>
                      <a:cubicBezTo>
                        <a:pt x="1247969" y="594821"/>
                        <a:pt x="1256885" y="607700"/>
                        <a:pt x="1237513" y="608910"/>
                      </a:cubicBezTo>
                      <a:cubicBezTo>
                        <a:pt x="1225075" y="609681"/>
                        <a:pt x="1239934" y="672090"/>
                        <a:pt x="1221112" y="672090"/>
                      </a:cubicBezTo>
                      <a:cubicBezTo>
                        <a:pt x="1194916" y="672090"/>
                        <a:pt x="1217150" y="615074"/>
                        <a:pt x="1222213" y="608580"/>
                      </a:cubicBezTo>
                      <a:cubicBezTo>
                        <a:pt x="1216820" y="608580"/>
                        <a:pt x="1214728" y="612873"/>
                        <a:pt x="1209335" y="616065"/>
                      </a:cubicBezTo>
                      <a:cubicBezTo>
                        <a:pt x="1210436" y="605388"/>
                        <a:pt x="1231789" y="590419"/>
                        <a:pt x="1243456" y="590419"/>
                      </a:cubicBezTo>
                      <a:cubicBezTo>
                        <a:pt x="1247749" y="590419"/>
                        <a:pt x="1259527" y="593060"/>
                        <a:pt x="1267452" y="590419"/>
                      </a:cubicBezTo>
                      <a:lnTo>
                        <a:pt x="1267452" y="584035"/>
                      </a:lnTo>
                      <a:cubicBezTo>
                        <a:pt x="1256224" y="584035"/>
                        <a:pt x="1249840" y="577100"/>
                        <a:pt x="1237072" y="577100"/>
                      </a:cubicBezTo>
                      <a:cubicBezTo>
                        <a:pt x="1231239" y="577100"/>
                        <a:pt x="1229037" y="582494"/>
                        <a:pt x="1222103" y="582494"/>
                      </a:cubicBezTo>
                      <a:cubicBezTo>
                        <a:pt x="1218360" y="582494"/>
                        <a:pt x="1213517" y="579852"/>
                        <a:pt x="1212967" y="576110"/>
                      </a:cubicBezTo>
                      <a:lnTo>
                        <a:pt x="1202290" y="576110"/>
                      </a:lnTo>
                      <a:cubicBezTo>
                        <a:pt x="1204492" y="571927"/>
                        <a:pt x="1208234" y="570276"/>
                        <a:pt x="1208234" y="562791"/>
                      </a:cubicBezTo>
                      <a:cubicBezTo>
                        <a:pt x="1200199" y="564332"/>
                        <a:pt x="1190623" y="574569"/>
                        <a:pt x="1184789" y="574569"/>
                      </a:cubicBezTo>
                      <a:cubicBezTo>
                        <a:pt x="1182038" y="574569"/>
                        <a:pt x="1168389" y="589648"/>
                        <a:pt x="1162445" y="576110"/>
                      </a:cubicBezTo>
                      <a:cubicBezTo>
                        <a:pt x="1152759" y="577541"/>
                        <a:pt x="1161014" y="579852"/>
                        <a:pt x="1144834" y="579852"/>
                      </a:cubicBezTo>
                      <a:cubicBezTo>
                        <a:pt x="1157162" y="564332"/>
                        <a:pt x="1172021" y="559049"/>
                        <a:pt x="1186440" y="549473"/>
                      </a:cubicBezTo>
                      <a:lnTo>
                        <a:pt x="1185450" y="549473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 dirty="0"/>
                </a:p>
              </p:txBody>
            </p:sp>
            <p:sp>
              <p:nvSpPr>
                <p:cNvPr id="351" name="Freeform: Shape 350">
                  <a:extLst>
                    <a:ext uri="{FF2B5EF4-FFF2-40B4-BE49-F238E27FC236}">
                      <a16:creationId xmlns:a16="http://schemas.microsoft.com/office/drawing/2014/main" id="{62AA3147-5793-45C7-AEFD-667F5F5E747A}"/>
                    </a:ext>
                  </a:extLst>
                </p:cNvPr>
                <p:cNvSpPr/>
                <p:nvPr/>
              </p:nvSpPr>
              <p:spPr>
                <a:xfrm>
                  <a:off x="4511732" y="3668373"/>
                  <a:ext cx="22014" cy="55035"/>
                </a:xfrm>
                <a:custGeom>
                  <a:avLst/>
                  <a:gdLst>
                    <a:gd name="connsiteX0" fmla="*/ 30379 w 22013"/>
                    <a:gd name="connsiteY0" fmla="*/ 36213 h 55034"/>
                    <a:gd name="connsiteX1" fmla="*/ 13318 w 22013"/>
                    <a:gd name="connsiteY1" fmla="*/ 58117 h 55034"/>
                    <a:gd name="connsiteX2" fmla="*/ 0 w 22013"/>
                    <a:gd name="connsiteY2" fmla="*/ 43147 h 55034"/>
                    <a:gd name="connsiteX3" fmla="*/ 7374 w 22013"/>
                    <a:gd name="connsiteY3" fmla="*/ 0 h 55034"/>
                    <a:gd name="connsiteX4" fmla="*/ 30379 w 22013"/>
                    <a:gd name="connsiteY4" fmla="*/ 36213 h 55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013" h="55034">
                      <a:moveTo>
                        <a:pt x="30379" y="36213"/>
                      </a:moveTo>
                      <a:cubicBezTo>
                        <a:pt x="30379" y="45789"/>
                        <a:pt x="23445" y="58117"/>
                        <a:pt x="13318" y="58117"/>
                      </a:cubicBezTo>
                      <a:cubicBezTo>
                        <a:pt x="5834" y="58117"/>
                        <a:pt x="0" y="50632"/>
                        <a:pt x="0" y="43147"/>
                      </a:cubicBezTo>
                      <a:cubicBezTo>
                        <a:pt x="0" y="27627"/>
                        <a:pt x="7374" y="15960"/>
                        <a:pt x="7374" y="0"/>
                      </a:cubicBezTo>
                      <a:cubicBezTo>
                        <a:pt x="14969" y="12768"/>
                        <a:pt x="30379" y="19152"/>
                        <a:pt x="30379" y="3621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52" name="Freeform: Shape 351">
                  <a:extLst>
                    <a:ext uri="{FF2B5EF4-FFF2-40B4-BE49-F238E27FC236}">
                      <a16:creationId xmlns:a16="http://schemas.microsoft.com/office/drawing/2014/main" id="{93436A5C-845B-4DE6-AA0B-ED10F6344F9F}"/>
                    </a:ext>
                  </a:extLst>
                </p:cNvPr>
                <p:cNvSpPr/>
                <p:nvPr/>
              </p:nvSpPr>
              <p:spPr>
                <a:xfrm>
                  <a:off x="4749042" y="3730232"/>
                  <a:ext cx="154097" cy="165104"/>
                </a:xfrm>
                <a:custGeom>
                  <a:avLst/>
                  <a:gdLst>
                    <a:gd name="connsiteX0" fmla="*/ 71985 w 154097"/>
                    <a:gd name="connsiteY0" fmla="*/ 90147 h 165104"/>
                    <a:gd name="connsiteX1" fmla="*/ 70444 w 154097"/>
                    <a:gd name="connsiteY1" fmla="*/ 85414 h 165104"/>
                    <a:gd name="connsiteX2" fmla="*/ 61859 w 154097"/>
                    <a:gd name="connsiteY2" fmla="*/ 82662 h 165104"/>
                    <a:gd name="connsiteX3" fmla="*/ 54374 w 154097"/>
                    <a:gd name="connsiteY3" fmla="*/ 64061 h 165104"/>
                    <a:gd name="connsiteX4" fmla="*/ 34672 w 154097"/>
                    <a:gd name="connsiteY4" fmla="*/ 46449 h 165104"/>
                    <a:gd name="connsiteX5" fmla="*/ 26637 w 154097"/>
                    <a:gd name="connsiteY5" fmla="*/ 30379 h 165104"/>
                    <a:gd name="connsiteX6" fmla="*/ 14419 w 154097"/>
                    <a:gd name="connsiteY6" fmla="*/ 25646 h 165104"/>
                    <a:gd name="connsiteX7" fmla="*/ 0 w 154097"/>
                    <a:gd name="connsiteY7" fmla="*/ 4293 h 165104"/>
                    <a:gd name="connsiteX8" fmla="*/ 0 w 154097"/>
                    <a:gd name="connsiteY8" fmla="*/ 0 h 165104"/>
                    <a:gd name="connsiteX9" fmla="*/ 3192 w 154097"/>
                    <a:gd name="connsiteY9" fmla="*/ 0 h 165104"/>
                    <a:gd name="connsiteX10" fmla="*/ 13869 w 154097"/>
                    <a:gd name="connsiteY10" fmla="*/ 4843 h 165104"/>
                    <a:gd name="connsiteX11" fmla="*/ 31480 w 154097"/>
                    <a:gd name="connsiteY11" fmla="*/ 4843 h 165104"/>
                    <a:gd name="connsiteX12" fmla="*/ 51182 w 154097"/>
                    <a:gd name="connsiteY12" fmla="*/ 25096 h 165104"/>
                    <a:gd name="connsiteX13" fmla="*/ 57016 w 154097"/>
                    <a:gd name="connsiteY13" fmla="*/ 27848 h 165104"/>
                    <a:gd name="connsiteX14" fmla="*/ 74077 w 154097"/>
                    <a:gd name="connsiteY14" fmla="*/ 42267 h 165104"/>
                    <a:gd name="connsiteX15" fmla="*/ 105006 w 154097"/>
                    <a:gd name="connsiteY15" fmla="*/ 64061 h 165104"/>
                    <a:gd name="connsiteX16" fmla="*/ 122067 w 154097"/>
                    <a:gd name="connsiteY16" fmla="*/ 77379 h 165104"/>
                    <a:gd name="connsiteX17" fmla="*/ 120966 w 154097"/>
                    <a:gd name="connsiteY17" fmla="*/ 80021 h 165104"/>
                    <a:gd name="connsiteX18" fmla="*/ 125259 w 154097"/>
                    <a:gd name="connsiteY18" fmla="*/ 80021 h 165104"/>
                    <a:gd name="connsiteX19" fmla="*/ 130102 w 154097"/>
                    <a:gd name="connsiteY19" fmla="*/ 84864 h 165104"/>
                    <a:gd name="connsiteX20" fmla="*/ 128011 w 154097"/>
                    <a:gd name="connsiteY20" fmla="*/ 90257 h 165104"/>
                    <a:gd name="connsiteX21" fmla="*/ 138137 w 154097"/>
                    <a:gd name="connsiteY21" fmla="*/ 98843 h 165104"/>
                    <a:gd name="connsiteX22" fmla="*/ 150465 w 154097"/>
                    <a:gd name="connsiteY22" fmla="*/ 119095 h 165104"/>
                    <a:gd name="connsiteX23" fmla="*/ 161142 w 154097"/>
                    <a:gd name="connsiteY23" fmla="*/ 129222 h 165104"/>
                    <a:gd name="connsiteX24" fmla="*/ 161142 w 154097"/>
                    <a:gd name="connsiteY24" fmla="*/ 152226 h 165104"/>
                    <a:gd name="connsiteX25" fmla="*/ 158390 w 154097"/>
                    <a:gd name="connsiteY25" fmla="*/ 167196 h 165104"/>
                    <a:gd name="connsiteX26" fmla="*/ 143971 w 154097"/>
                    <a:gd name="connsiteY26" fmla="*/ 174681 h 165104"/>
                    <a:gd name="connsiteX27" fmla="*/ 131203 w 154097"/>
                    <a:gd name="connsiteY27" fmla="*/ 160261 h 165104"/>
                    <a:gd name="connsiteX28" fmla="*/ 101924 w 154097"/>
                    <a:gd name="connsiteY28" fmla="*/ 136266 h 165104"/>
                    <a:gd name="connsiteX29" fmla="*/ 81121 w 154097"/>
                    <a:gd name="connsiteY29" fmla="*/ 103796 h 165104"/>
                    <a:gd name="connsiteX30" fmla="*/ 71985 w 154097"/>
                    <a:gd name="connsiteY30" fmla="*/ 90147 h 165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54097" h="165104">
                      <a:moveTo>
                        <a:pt x="71985" y="90147"/>
                      </a:moveTo>
                      <a:cubicBezTo>
                        <a:pt x="70444" y="90147"/>
                        <a:pt x="71435" y="86955"/>
                        <a:pt x="70444" y="85414"/>
                      </a:cubicBezTo>
                      <a:cubicBezTo>
                        <a:pt x="69894" y="84313"/>
                        <a:pt x="63510" y="83763"/>
                        <a:pt x="61859" y="82662"/>
                      </a:cubicBezTo>
                      <a:cubicBezTo>
                        <a:pt x="59107" y="81121"/>
                        <a:pt x="55475" y="68243"/>
                        <a:pt x="54374" y="64061"/>
                      </a:cubicBezTo>
                      <a:cubicBezTo>
                        <a:pt x="50632" y="51843"/>
                        <a:pt x="38304" y="53934"/>
                        <a:pt x="34672" y="46449"/>
                      </a:cubicBezTo>
                      <a:cubicBezTo>
                        <a:pt x="31480" y="40065"/>
                        <a:pt x="29829" y="36873"/>
                        <a:pt x="26637" y="30379"/>
                      </a:cubicBezTo>
                      <a:cubicBezTo>
                        <a:pt x="24545" y="25646"/>
                        <a:pt x="19152" y="26637"/>
                        <a:pt x="14419" y="25646"/>
                      </a:cubicBezTo>
                      <a:cubicBezTo>
                        <a:pt x="10126" y="24546"/>
                        <a:pt x="1651" y="9686"/>
                        <a:pt x="0" y="4293"/>
                      </a:cubicBezTo>
                      <a:lnTo>
                        <a:pt x="0" y="0"/>
                      </a:lnTo>
                      <a:lnTo>
                        <a:pt x="3192" y="0"/>
                      </a:lnTo>
                      <a:cubicBezTo>
                        <a:pt x="8475" y="0"/>
                        <a:pt x="9576" y="2642"/>
                        <a:pt x="13869" y="4843"/>
                      </a:cubicBezTo>
                      <a:lnTo>
                        <a:pt x="31480" y="4843"/>
                      </a:lnTo>
                      <a:cubicBezTo>
                        <a:pt x="43257" y="8585"/>
                        <a:pt x="47000" y="16621"/>
                        <a:pt x="51182" y="25096"/>
                      </a:cubicBezTo>
                      <a:cubicBezTo>
                        <a:pt x="52283" y="27848"/>
                        <a:pt x="54925" y="27297"/>
                        <a:pt x="57016" y="27848"/>
                      </a:cubicBezTo>
                      <a:cubicBezTo>
                        <a:pt x="64941" y="30489"/>
                        <a:pt x="68683" y="36873"/>
                        <a:pt x="74077" y="42267"/>
                      </a:cubicBezTo>
                      <a:cubicBezTo>
                        <a:pt x="84203" y="52393"/>
                        <a:pt x="90037" y="59328"/>
                        <a:pt x="105006" y="64061"/>
                      </a:cubicBezTo>
                      <a:cubicBezTo>
                        <a:pt x="113041" y="66702"/>
                        <a:pt x="122067" y="69344"/>
                        <a:pt x="122067" y="77379"/>
                      </a:cubicBezTo>
                      <a:cubicBezTo>
                        <a:pt x="122067" y="77819"/>
                        <a:pt x="120966" y="79470"/>
                        <a:pt x="120966" y="80021"/>
                      </a:cubicBezTo>
                      <a:lnTo>
                        <a:pt x="125259" y="80021"/>
                      </a:lnTo>
                      <a:cubicBezTo>
                        <a:pt x="127350" y="80021"/>
                        <a:pt x="129002" y="82662"/>
                        <a:pt x="130102" y="84864"/>
                      </a:cubicBezTo>
                      <a:lnTo>
                        <a:pt x="128011" y="90257"/>
                      </a:lnTo>
                      <a:cubicBezTo>
                        <a:pt x="128011" y="97191"/>
                        <a:pt x="132193" y="98843"/>
                        <a:pt x="138137" y="98843"/>
                      </a:cubicBezTo>
                      <a:cubicBezTo>
                        <a:pt x="138137" y="110070"/>
                        <a:pt x="144631" y="113262"/>
                        <a:pt x="150465" y="119095"/>
                      </a:cubicBezTo>
                      <a:cubicBezTo>
                        <a:pt x="153657" y="122287"/>
                        <a:pt x="161142" y="123938"/>
                        <a:pt x="161142" y="129222"/>
                      </a:cubicBezTo>
                      <a:lnTo>
                        <a:pt x="161142" y="152226"/>
                      </a:lnTo>
                      <a:cubicBezTo>
                        <a:pt x="155858" y="154428"/>
                        <a:pt x="158390" y="161802"/>
                        <a:pt x="158390" y="167196"/>
                      </a:cubicBezTo>
                      <a:cubicBezTo>
                        <a:pt x="158390" y="173140"/>
                        <a:pt x="147713" y="174681"/>
                        <a:pt x="143971" y="174681"/>
                      </a:cubicBezTo>
                      <a:cubicBezTo>
                        <a:pt x="141329" y="174681"/>
                        <a:pt x="131753" y="160812"/>
                        <a:pt x="131203" y="160261"/>
                      </a:cubicBezTo>
                      <a:cubicBezTo>
                        <a:pt x="121077" y="150135"/>
                        <a:pt x="111390" y="145842"/>
                        <a:pt x="101924" y="136266"/>
                      </a:cubicBezTo>
                      <a:cubicBezTo>
                        <a:pt x="91247" y="125589"/>
                        <a:pt x="86955" y="116013"/>
                        <a:pt x="81121" y="103796"/>
                      </a:cubicBezTo>
                      <a:cubicBezTo>
                        <a:pt x="80020" y="100714"/>
                        <a:pt x="73637" y="90147"/>
                        <a:pt x="71985" y="90147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53" name="Freeform: Shape 352">
                  <a:extLst>
                    <a:ext uri="{FF2B5EF4-FFF2-40B4-BE49-F238E27FC236}">
                      <a16:creationId xmlns:a16="http://schemas.microsoft.com/office/drawing/2014/main" id="{E995FABB-CF1C-4212-8AD1-2AF241B99DFF}"/>
                    </a:ext>
                  </a:extLst>
                </p:cNvPr>
                <p:cNvSpPr/>
                <p:nvPr/>
              </p:nvSpPr>
              <p:spPr>
                <a:xfrm>
                  <a:off x="4957183" y="3708438"/>
                  <a:ext cx="154097" cy="165104"/>
                </a:xfrm>
                <a:custGeom>
                  <a:avLst/>
                  <a:gdLst>
                    <a:gd name="connsiteX0" fmla="*/ 44689 w 154097"/>
                    <a:gd name="connsiteY0" fmla="*/ 157730 h 165104"/>
                    <a:gd name="connsiteX1" fmla="*/ 43698 w 154097"/>
                    <a:gd name="connsiteY1" fmla="*/ 149695 h 165104"/>
                    <a:gd name="connsiteX2" fmla="*/ 32471 w 154097"/>
                    <a:gd name="connsiteY2" fmla="*/ 152446 h 165104"/>
                    <a:gd name="connsiteX3" fmla="*/ 14309 w 154097"/>
                    <a:gd name="connsiteY3" fmla="*/ 123058 h 165104"/>
                    <a:gd name="connsiteX4" fmla="*/ 14859 w 154097"/>
                    <a:gd name="connsiteY4" fmla="*/ 120416 h 165104"/>
                    <a:gd name="connsiteX5" fmla="*/ 7925 w 154097"/>
                    <a:gd name="connsiteY5" fmla="*/ 117224 h 165104"/>
                    <a:gd name="connsiteX6" fmla="*/ 0 w 154097"/>
                    <a:gd name="connsiteY6" fmla="*/ 94880 h 165104"/>
                    <a:gd name="connsiteX7" fmla="*/ 18602 w 154097"/>
                    <a:gd name="connsiteY7" fmla="*/ 89597 h 165104"/>
                    <a:gd name="connsiteX8" fmla="*/ 40506 w 154097"/>
                    <a:gd name="connsiteY8" fmla="*/ 65602 h 165104"/>
                    <a:gd name="connsiteX9" fmla="*/ 55475 w 154097"/>
                    <a:gd name="connsiteY9" fmla="*/ 60868 h 165104"/>
                    <a:gd name="connsiteX10" fmla="*/ 67693 w 154097"/>
                    <a:gd name="connsiteY10" fmla="*/ 49641 h 165104"/>
                    <a:gd name="connsiteX11" fmla="*/ 71435 w 154097"/>
                    <a:gd name="connsiteY11" fmla="*/ 43257 h 165104"/>
                    <a:gd name="connsiteX12" fmla="*/ 76719 w 154097"/>
                    <a:gd name="connsiteY12" fmla="*/ 39515 h 165104"/>
                    <a:gd name="connsiteX13" fmla="*/ 80021 w 154097"/>
                    <a:gd name="connsiteY13" fmla="*/ 35222 h 165104"/>
                    <a:gd name="connsiteX14" fmla="*/ 99173 w 154097"/>
                    <a:gd name="connsiteY14" fmla="*/ 28838 h 165104"/>
                    <a:gd name="connsiteX15" fmla="*/ 123718 w 154097"/>
                    <a:gd name="connsiteY15" fmla="*/ 0 h 165104"/>
                    <a:gd name="connsiteX16" fmla="*/ 131643 w 154097"/>
                    <a:gd name="connsiteY16" fmla="*/ 13318 h 165104"/>
                    <a:gd name="connsiteX17" fmla="*/ 154097 w 154097"/>
                    <a:gd name="connsiteY17" fmla="*/ 28838 h 165104"/>
                    <a:gd name="connsiteX18" fmla="*/ 142320 w 154097"/>
                    <a:gd name="connsiteY18" fmla="*/ 35222 h 165104"/>
                    <a:gd name="connsiteX19" fmla="*/ 144521 w 154097"/>
                    <a:gd name="connsiteY19" fmla="*/ 37864 h 165104"/>
                    <a:gd name="connsiteX20" fmla="*/ 129002 w 154097"/>
                    <a:gd name="connsiteY20" fmla="*/ 45349 h 165104"/>
                    <a:gd name="connsiteX21" fmla="*/ 131203 w 154097"/>
                    <a:gd name="connsiteY21" fmla="*/ 50192 h 165104"/>
                    <a:gd name="connsiteX22" fmla="*/ 127461 w 154097"/>
                    <a:gd name="connsiteY22" fmla="*/ 53934 h 165104"/>
                    <a:gd name="connsiteX23" fmla="*/ 151456 w 154097"/>
                    <a:gd name="connsiteY23" fmla="*/ 88606 h 165104"/>
                    <a:gd name="connsiteX24" fmla="*/ 139678 w 154097"/>
                    <a:gd name="connsiteY24" fmla="*/ 93999 h 165104"/>
                    <a:gd name="connsiteX25" fmla="*/ 134395 w 154097"/>
                    <a:gd name="connsiteY25" fmla="*/ 95100 h 165104"/>
                    <a:gd name="connsiteX26" fmla="*/ 131753 w 154097"/>
                    <a:gd name="connsiteY26" fmla="*/ 100494 h 165104"/>
                    <a:gd name="connsiteX27" fmla="*/ 124819 w 154097"/>
                    <a:gd name="connsiteY27" fmla="*/ 124489 h 165104"/>
                    <a:gd name="connsiteX28" fmla="*/ 113042 w 154097"/>
                    <a:gd name="connsiteY28" fmla="*/ 136817 h 165104"/>
                    <a:gd name="connsiteX29" fmla="*/ 115683 w 154097"/>
                    <a:gd name="connsiteY29" fmla="*/ 144301 h 165104"/>
                    <a:gd name="connsiteX30" fmla="*/ 109299 w 154097"/>
                    <a:gd name="connsiteY30" fmla="*/ 162463 h 165104"/>
                    <a:gd name="connsiteX31" fmla="*/ 92789 w 154097"/>
                    <a:gd name="connsiteY31" fmla="*/ 171048 h 165104"/>
                    <a:gd name="connsiteX32" fmla="*/ 85854 w 154097"/>
                    <a:gd name="connsiteY32" fmla="*/ 163563 h 165104"/>
                    <a:gd name="connsiteX33" fmla="*/ 62410 w 154097"/>
                    <a:gd name="connsiteY33" fmla="*/ 154978 h 165104"/>
                    <a:gd name="connsiteX34" fmla="*/ 49091 w 154097"/>
                    <a:gd name="connsiteY34" fmla="*/ 160812 h 165104"/>
                    <a:gd name="connsiteX35" fmla="*/ 44689 w 154097"/>
                    <a:gd name="connsiteY35" fmla="*/ 157730 h 165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154097" h="165104">
                      <a:moveTo>
                        <a:pt x="44689" y="157730"/>
                      </a:moveTo>
                      <a:cubicBezTo>
                        <a:pt x="43698" y="157730"/>
                        <a:pt x="44138" y="151896"/>
                        <a:pt x="43698" y="149695"/>
                      </a:cubicBezTo>
                      <a:cubicBezTo>
                        <a:pt x="39405" y="149144"/>
                        <a:pt x="36764" y="152446"/>
                        <a:pt x="32471" y="152446"/>
                      </a:cubicBezTo>
                      <a:cubicBezTo>
                        <a:pt x="12768" y="152446"/>
                        <a:pt x="21244" y="133735"/>
                        <a:pt x="14309" y="123058"/>
                      </a:cubicBezTo>
                      <a:cubicBezTo>
                        <a:pt x="14309" y="122508"/>
                        <a:pt x="14859" y="120967"/>
                        <a:pt x="14859" y="120416"/>
                      </a:cubicBezTo>
                      <a:cubicBezTo>
                        <a:pt x="13759" y="117774"/>
                        <a:pt x="10567" y="117774"/>
                        <a:pt x="7925" y="117224"/>
                      </a:cubicBezTo>
                      <a:cubicBezTo>
                        <a:pt x="5283" y="116674"/>
                        <a:pt x="0" y="97522"/>
                        <a:pt x="0" y="94880"/>
                      </a:cubicBezTo>
                      <a:cubicBezTo>
                        <a:pt x="0" y="85854"/>
                        <a:pt x="11227" y="89597"/>
                        <a:pt x="18602" y="89597"/>
                      </a:cubicBezTo>
                      <a:cubicBezTo>
                        <a:pt x="35112" y="89597"/>
                        <a:pt x="33021" y="73086"/>
                        <a:pt x="40506" y="65602"/>
                      </a:cubicBezTo>
                      <a:cubicBezTo>
                        <a:pt x="44248" y="61859"/>
                        <a:pt x="49531" y="61859"/>
                        <a:pt x="55475" y="60868"/>
                      </a:cubicBezTo>
                      <a:cubicBezTo>
                        <a:pt x="63510" y="59328"/>
                        <a:pt x="63510" y="53934"/>
                        <a:pt x="67693" y="49641"/>
                      </a:cubicBezTo>
                      <a:cubicBezTo>
                        <a:pt x="65602" y="47550"/>
                        <a:pt x="71435" y="43257"/>
                        <a:pt x="71435" y="43257"/>
                      </a:cubicBezTo>
                      <a:cubicBezTo>
                        <a:pt x="74628" y="41716"/>
                        <a:pt x="74187" y="40616"/>
                        <a:pt x="76719" y="39515"/>
                      </a:cubicBezTo>
                      <a:cubicBezTo>
                        <a:pt x="78370" y="38965"/>
                        <a:pt x="78920" y="36323"/>
                        <a:pt x="80021" y="35222"/>
                      </a:cubicBezTo>
                      <a:cubicBezTo>
                        <a:pt x="84864" y="30379"/>
                        <a:pt x="97081" y="33131"/>
                        <a:pt x="99173" y="28838"/>
                      </a:cubicBezTo>
                      <a:cubicBezTo>
                        <a:pt x="103466" y="20363"/>
                        <a:pt x="115133" y="0"/>
                        <a:pt x="123718" y="0"/>
                      </a:cubicBezTo>
                      <a:cubicBezTo>
                        <a:pt x="132744" y="0"/>
                        <a:pt x="131643" y="5393"/>
                        <a:pt x="131643" y="13318"/>
                      </a:cubicBezTo>
                      <a:cubicBezTo>
                        <a:pt x="131643" y="24545"/>
                        <a:pt x="154097" y="18161"/>
                        <a:pt x="154097" y="28838"/>
                      </a:cubicBezTo>
                      <a:cubicBezTo>
                        <a:pt x="154097" y="33681"/>
                        <a:pt x="142320" y="30489"/>
                        <a:pt x="142320" y="35222"/>
                      </a:cubicBezTo>
                      <a:cubicBezTo>
                        <a:pt x="142320" y="36323"/>
                        <a:pt x="143421" y="37864"/>
                        <a:pt x="144521" y="37864"/>
                      </a:cubicBezTo>
                      <a:cubicBezTo>
                        <a:pt x="143421" y="39515"/>
                        <a:pt x="129002" y="45349"/>
                        <a:pt x="129002" y="45349"/>
                      </a:cubicBezTo>
                      <a:cubicBezTo>
                        <a:pt x="129552" y="47000"/>
                        <a:pt x="130653" y="48541"/>
                        <a:pt x="131203" y="50192"/>
                      </a:cubicBezTo>
                      <a:cubicBezTo>
                        <a:pt x="129552" y="50742"/>
                        <a:pt x="127461" y="52283"/>
                        <a:pt x="127461" y="53934"/>
                      </a:cubicBezTo>
                      <a:cubicBezTo>
                        <a:pt x="127461" y="61969"/>
                        <a:pt x="141880" y="88606"/>
                        <a:pt x="151456" y="88606"/>
                      </a:cubicBezTo>
                      <a:cubicBezTo>
                        <a:pt x="149805" y="96641"/>
                        <a:pt x="145622" y="93999"/>
                        <a:pt x="139678" y="93999"/>
                      </a:cubicBezTo>
                      <a:cubicBezTo>
                        <a:pt x="138138" y="93999"/>
                        <a:pt x="135936" y="94440"/>
                        <a:pt x="134395" y="95100"/>
                      </a:cubicBezTo>
                      <a:lnTo>
                        <a:pt x="131753" y="100494"/>
                      </a:lnTo>
                      <a:cubicBezTo>
                        <a:pt x="129112" y="112271"/>
                        <a:pt x="124819" y="115463"/>
                        <a:pt x="124819" y="124489"/>
                      </a:cubicBezTo>
                      <a:cubicBezTo>
                        <a:pt x="118435" y="125589"/>
                        <a:pt x="113042" y="133624"/>
                        <a:pt x="113042" y="136817"/>
                      </a:cubicBezTo>
                      <a:cubicBezTo>
                        <a:pt x="113042" y="140559"/>
                        <a:pt x="115683" y="141550"/>
                        <a:pt x="115683" y="144301"/>
                      </a:cubicBezTo>
                      <a:cubicBezTo>
                        <a:pt x="115683" y="148594"/>
                        <a:pt x="109299" y="156519"/>
                        <a:pt x="109299" y="162463"/>
                      </a:cubicBezTo>
                      <a:cubicBezTo>
                        <a:pt x="100714" y="164554"/>
                        <a:pt x="99723" y="171048"/>
                        <a:pt x="92789" y="171048"/>
                      </a:cubicBezTo>
                      <a:cubicBezTo>
                        <a:pt x="87395" y="171048"/>
                        <a:pt x="85854" y="166755"/>
                        <a:pt x="85854" y="163563"/>
                      </a:cubicBezTo>
                      <a:cubicBezTo>
                        <a:pt x="77269" y="161362"/>
                        <a:pt x="71435" y="154978"/>
                        <a:pt x="62410" y="154978"/>
                      </a:cubicBezTo>
                      <a:cubicBezTo>
                        <a:pt x="58117" y="154978"/>
                        <a:pt x="55475" y="160812"/>
                        <a:pt x="49091" y="160812"/>
                      </a:cubicBezTo>
                      <a:cubicBezTo>
                        <a:pt x="47440" y="160371"/>
                        <a:pt x="46340" y="157730"/>
                        <a:pt x="44689" y="15773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54" name="Freeform: Shape 353">
                  <a:extLst>
                    <a:ext uri="{FF2B5EF4-FFF2-40B4-BE49-F238E27FC236}">
                      <a16:creationId xmlns:a16="http://schemas.microsoft.com/office/drawing/2014/main" id="{6378EFA7-8327-4CB7-8606-33396D97A3D6}"/>
                    </a:ext>
                  </a:extLst>
                </p:cNvPr>
                <p:cNvSpPr/>
                <p:nvPr/>
              </p:nvSpPr>
              <p:spPr>
                <a:xfrm>
                  <a:off x="5105667" y="3789889"/>
                  <a:ext cx="88056" cy="110070"/>
                </a:xfrm>
                <a:custGeom>
                  <a:avLst/>
                  <a:gdLst>
                    <a:gd name="connsiteX0" fmla="*/ 38634 w 88055"/>
                    <a:gd name="connsiteY0" fmla="*/ 41056 h 110069"/>
                    <a:gd name="connsiteX1" fmla="*/ 32691 w 88055"/>
                    <a:gd name="connsiteY1" fmla="*/ 46449 h 110069"/>
                    <a:gd name="connsiteX2" fmla="*/ 21463 w 88055"/>
                    <a:gd name="connsiteY2" fmla="*/ 28288 h 110069"/>
                    <a:gd name="connsiteX3" fmla="*/ 38965 w 88055"/>
                    <a:gd name="connsiteY3" fmla="*/ 19703 h 110069"/>
                    <a:gd name="connsiteX4" fmla="*/ 59218 w 88055"/>
                    <a:gd name="connsiteY4" fmla="*/ 17611 h 110069"/>
                    <a:gd name="connsiteX5" fmla="*/ 77819 w 88055"/>
                    <a:gd name="connsiteY5" fmla="*/ 21354 h 110069"/>
                    <a:gd name="connsiteX6" fmla="*/ 93889 w 88055"/>
                    <a:gd name="connsiteY6" fmla="*/ 4293 h 110069"/>
                    <a:gd name="connsiteX7" fmla="*/ 96531 w 88055"/>
                    <a:gd name="connsiteY7" fmla="*/ 0 h 110069"/>
                    <a:gd name="connsiteX8" fmla="*/ 93339 w 88055"/>
                    <a:gd name="connsiteY8" fmla="*/ 0 h 110069"/>
                    <a:gd name="connsiteX9" fmla="*/ 76278 w 88055"/>
                    <a:gd name="connsiteY9" fmla="*/ 12328 h 110069"/>
                    <a:gd name="connsiteX10" fmla="*/ 71986 w 88055"/>
                    <a:gd name="connsiteY10" fmla="*/ 12328 h 110069"/>
                    <a:gd name="connsiteX11" fmla="*/ 34672 w 88055"/>
                    <a:gd name="connsiteY11" fmla="*/ 5944 h 110069"/>
                    <a:gd name="connsiteX12" fmla="*/ 14419 w 88055"/>
                    <a:gd name="connsiteY12" fmla="*/ 36323 h 110069"/>
                    <a:gd name="connsiteX13" fmla="*/ 9686 w 88055"/>
                    <a:gd name="connsiteY13" fmla="*/ 44358 h 110069"/>
                    <a:gd name="connsiteX14" fmla="*/ 0 w 88055"/>
                    <a:gd name="connsiteY14" fmla="*/ 73196 h 110069"/>
                    <a:gd name="connsiteX15" fmla="*/ 10677 w 88055"/>
                    <a:gd name="connsiteY15" fmla="*/ 80131 h 110069"/>
                    <a:gd name="connsiteX16" fmla="*/ 10677 w 88055"/>
                    <a:gd name="connsiteY16" fmla="*/ 105667 h 110069"/>
                    <a:gd name="connsiteX17" fmla="*/ 19152 w 88055"/>
                    <a:gd name="connsiteY17" fmla="*/ 112601 h 110069"/>
                    <a:gd name="connsiteX18" fmla="*/ 27187 w 88055"/>
                    <a:gd name="connsiteY18" fmla="*/ 91248 h 110069"/>
                    <a:gd name="connsiteX19" fmla="*/ 22344 w 88055"/>
                    <a:gd name="connsiteY19" fmla="*/ 73637 h 110069"/>
                    <a:gd name="connsiteX20" fmla="*/ 30379 w 88055"/>
                    <a:gd name="connsiteY20" fmla="*/ 67253 h 110069"/>
                    <a:gd name="connsiteX21" fmla="*/ 34672 w 88055"/>
                    <a:gd name="connsiteY21" fmla="*/ 67253 h 110069"/>
                    <a:gd name="connsiteX22" fmla="*/ 32470 w 88055"/>
                    <a:gd name="connsiteY22" fmla="*/ 78480 h 110069"/>
                    <a:gd name="connsiteX23" fmla="*/ 41056 w 88055"/>
                    <a:gd name="connsiteY23" fmla="*/ 94990 h 110069"/>
                    <a:gd name="connsiteX24" fmla="*/ 41056 w 88055"/>
                    <a:gd name="connsiteY24" fmla="*/ 99833 h 110069"/>
                    <a:gd name="connsiteX25" fmla="*/ 47990 w 88055"/>
                    <a:gd name="connsiteY25" fmla="*/ 99833 h 110069"/>
                    <a:gd name="connsiteX26" fmla="*/ 59768 w 88055"/>
                    <a:gd name="connsiteY26" fmla="*/ 88606 h 110069"/>
                    <a:gd name="connsiteX27" fmla="*/ 52283 w 88055"/>
                    <a:gd name="connsiteY27" fmla="*/ 79030 h 110069"/>
                    <a:gd name="connsiteX28" fmla="*/ 54374 w 88055"/>
                    <a:gd name="connsiteY28" fmla="*/ 75838 h 110069"/>
                    <a:gd name="connsiteX29" fmla="*/ 41056 w 88055"/>
                    <a:gd name="connsiteY29" fmla="*/ 53384 h 110069"/>
                    <a:gd name="connsiteX30" fmla="*/ 69344 w 88055"/>
                    <a:gd name="connsiteY30" fmla="*/ 37974 h 110069"/>
                    <a:gd name="connsiteX31" fmla="*/ 69344 w 88055"/>
                    <a:gd name="connsiteY31" fmla="*/ 33681 h 110069"/>
                    <a:gd name="connsiteX32" fmla="*/ 37313 w 88055"/>
                    <a:gd name="connsiteY32" fmla="*/ 43257 h 110069"/>
                    <a:gd name="connsiteX33" fmla="*/ 38634 w 88055"/>
                    <a:gd name="connsiteY33" fmla="*/ 41056 h 110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88055" h="110069">
                      <a:moveTo>
                        <a:pt x="38634" y="41056"/>
                      </a:moveTo>
                      <a:cubicBezTo>
                        <a:pt x="36543" y="43698"/>
                        <a:pt x="35993" y="46449"/>
                        <a:pt x="32691" y="46449"/>
                      </a:cubicBezTo>
                      <a:cubicBezTo>
                        <a:pt x="24655" y="46449"/>
                        <a:pt x="21463" y="36323"/>
                        <a:pt x="21463" y="28288"/>
                      </a:cubicBezTo>
                      <a:cubicBezTo>
                        <a:pt x="21463" y="17611"/>
                        <a:pt x="29939" y="19703"/>
                        <a:pt x="38965" y="19703"/>
                      </a:cubicBezTo>
                      <a:cubicBezTo>
                        <a:pt x="48100" y="19703"/>
                        <a:pt x="51843" y="17611"/>
                        <a:pt x="59218" y="17611"/>
                      </a:cubicBezTo>
                      <a:cubicBezTo>
                        <a:pt x="66152" y="17611"/>
                        <a:pt x="70995" y="21354"/>
                        <a:pt x="77819" y="21354"/>
                      </a:cubicBezTo>
                      <a:cubicBezTo>
                        <a:pt x="88496" y="21354"/>
                        <a:pt x="92238" y="12328"/>
                        <a:pt x="93889" y="4293"/>
                      </a:cubicBezTo>
                      <a:cubicBezTo>
                        <a:pt x="95540" y="4293"/>
                        <a:pt x="95981" y="1651"/>
                        <a:pt x="96531" y="0"/>
                      </a:cubicBezTo>
                      <a:lnTo>
                        <a:pt x="93339" y="0"/>
                      </a:lnTo>
                      <a:cubicBezTo>
                        <a:pt x="86845" y="4293"/>
                        <a:pt x="79470" y="9026"/>
                        <a:pt x="76278" y="12328"/>
                      </a:cubicBezTo>
                      <a:lnTo>
                        <a:pt x="71986" y="12328"/>
                      </a:lnTo>
                      <a:lnTo>
                        <a:pt x="34672" y="5944"/>
                      </a:lnTo>
                      <a:cubicBezTo>
                        <a:pt x="20803" y="5944"/>
                        <a:pt x="14419" y="23555"/>
                        <a:pt x="14419" y="36323"/>
                      </a:cubicBezTo>
                      <a:cubicBezTo>
                        <a:pt x="14419" y="39515"/>
                        <a:pt x="10126" y="42157"/>
                        <a:pt x="9686" y="44358"/>
                      </a:cubicBezTo>
                      <a:cubicBezTo>
                        <a:pt x="5944" y="56576"/>
                        <a:pt x="0" y="61419"/>
                        <a:pt x="0" y="73196"/>
                      </a:cubicBezTo>
                      <a:cubicBezTo>
                        <a:pt x="0" y="79580"/>
                        <a:pt x="7374" y="79580"/>
                        <a:pt x="10677" y="80131"/>
                      </a:cubicBezTo>
                      <a:lnTo>
                        <a:pt x="10677" y="105667"/>
                      </a:lnTo>
                      <a:cubicBezTo>
                        <a:pt x="10677" y="108859"/>
                        <a:pt x="14969" y="112601"/>
                        <a:pt x="19152" y="112601"/>
                      </a:cubicBezTo>
                      <a:cubicBezTo>
                        <a:pt x="25096" y="112601"/>
                        <a:pt x="27187" y="93890"/>
                        <a:pt x="27187" y="91248"/>
                      </a:cubicBezTo>
                      <a:cubicBezTo>
                        <a:pt x="27187" y="84313"/>
                        <a:pt x="22344" y="80571"/>
                        <a:pt x="22344" y="73637"/>
                      </a:cubicBezTo>
                      <a:cubicBezTo>
                        <a:pt x="22344" y="69894"/>
                        <a:pt x="26637" y="67253"/>
                        <a:pt x="30379" y="67253"/>
                      </a:cubicBezTo>
                      <a:cubicBezTo>
                        <a:pt x="31920" y="67253"/>
                        <a:pt x="33021" y="67803"/>
                        <a:pt x="34672" y="67253"/>
                      </a:cubicBezTo>
                      <a:lnTo>
                        <a:pt x="32470" y="78480"/>
                      </a:lnTo>
                      <a:cubicBezTo>
                        <a:pt x="32470" y="85414"/>
                        <a:pt x="41056" y="88056"/>
                        <a:pt x="41056" y="94990"/>
                      </a:cubicBezTo>
                      <a:cubicBezTo>
                        <a:pt x="41056" y="96641"/>
                        <a:pt x="41606" y="98292"/>
                        <a:pt x="41056" y="99833"/>
                      </a:cubicBezTo>
                      <a:lnTo>
                        <a:pt x="47990" y="99833"/>
                      </a:lnTo>
                      <a:cubicBezTo>
                        <a:pt x="47990" y="94000"/>
                        <a:pt x="59768" y="94550"/>
                        <a:pt x="59768" y="88606"/>
                      </a:cubicBezTo>
                      <a:cubicBezTo>
                        <a:pt x="57676" y="88056"/>
                        <a:pt x="52283" y="82222"/>
                        <a:pt x="52283" y="79030"/>
                      </a:cubicBezTo>
                      <a:cubicBezTo>
                        <a:pt x="52283" y="78039"/>
                        <a:pt x="53824" y="76939"/>
                        <a:pt x="54374" y="75838"/>
                      </a:cubicBezTo>
                      <a:cubicBezTo>
                        <a:pt x="51182" y="74187"/>
                        <a:pt x="41056" y="55035"/>
                        <a:pt x="41056" y="53384"/>
                      </a:cubicBezTo>
                      <a:cubicBezTo>
                        <a:pt x="56025" y="53384"/>
                        <a:pt x="57016" y="41606"/>
                        <a:pt x="69344" y="37974"/>
                      </a:cubicBezTo>
                      <a:lnTo>
                        <a:pt x="69344" y="33681"/>
                      </a:lnTo>
                      <a:cubicBezTo>
                        <a:pt x="66152" y="33131"/>
                        <a:pt x="37864" y="41606"/>
                        <a:pt x="37313" y="43257"/>
                      </a:cubicBezTo>
                      <a:lnTo>
                        <a:pt x="38634" y="41056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55" name="Freeform: Shape 354">
                  <a:extLst>
                    <a:ext uri="{FF2B5EF4-FFF2-40B4-BE49-F238E27FC236}">
                      <a16:creationId xmlns:a16="http://schemas.microsoft.com/office/drawing/2014/main" id="{28C7A177-60E8-464A-A25B-494944725269}"/>
                    </a:ext>
                  </a:extLst>
                </p:cNvPr>
                <p:cNvSpPr/>
                <p:nvPr/>
              </p:nvSpPr>
              <p:spPr>
                <a:xfrm>
                  <a:off x="4904240" y="3904582"/>
                  <a:ext cx="154097" cy="44028"/>
                </a:xfrm>
                <a:custGeom>
                  <a:avLst/>
                  <a:gdLst>
                    <a:gd name="connsiteX0" fmla="*/ 149365 w 154097"/>
                    <a:gd name="connsiteY0" fmla="*/ 43808 h 44027"/>
                    <a:gd name="connsiteX1" fmla="*/ 138138 w 154097"/>
                    <a:gd name="connsiteY1" fmla="*/ 40065 h 44027"/>
                    <a:gd name="connsiteX2" fmla="*/ 138138 w 154097"/>
                    <a:gd name="connsiteY2" fmla="*/ 45459 h 44027"/>
                    <a:gd name="connsiteX3" fmla="*/ 81672 w 154097"/>
                    <a:gd name="connsiteY3" fmla="*/ 37424 h 44027"/>
                    <a:gd name="connsiteX4" fmla="*/ 68353 w 154097"/>
                    <a:gd name="connsiteY4" fmla="*/ 30489 h 44027"/>
                    <a:gd name="connsiteX5" fmla="*/ 38965 w 154097"/>
                    <a:gd name="connsiteY5" fmla="*/ 26747 h 44027"/>
                    <a:gd name="connsiteX6" fmla="*/ 17611 w 154097"/>
                    <a:gd name="connsiteY6" fmla="*/ 23995 h 44027"/>
                    <a:gd name="connsiteX7" fmla="*/ 0 w 154097"/>
                    <a:gd name="connsiteY7" fmla="*/ 12218 h 44027"/>
                    <a:gd name="connsiteX8" fmla="*/ 13319 w 154097"/>
                    <a:gd name="connsiteY8" fmla="*/ 991 h 44027"/>
                    <a:gd name="connsiteX9" fmla="*/ 17611 w 154097"/>
                    <a:gd name="connsiteY9" fmla="*/ 3192 h 44027"/>
                    <a:gd name="connsiteX10" fmla="*/ 26197 w 154097"/>
                    <a:gd name="connsiteY10" fmla="*/ 0 h 44027"/>
                    <a:gd name="connsiteX11" fmla="*/ 66702 w 154097"/>
                    <a:gd name="connsiteY11" fmla="*/ 17061 h 44027"/>
                    <a:gd name="connsiteX12" fmla="*/ 82662 w 154097"/>
                    <a:gd name="connsiteY12" fmla="*/ 9026 h 44027"/>
                    <a:gd name="connsiteX13" fmla="*/ 106768 w 154097"/>
                    <a:gd name="connsiteY13" fmla="*/ 18602 h 44027"/>
                    <a:gd name="connsiteX14" fmla="*/ 122728 w 154097"/>
                    <a:gd name="connsiteY14" fmla="*/ 16510 h 44027"/>
                    <a:gd name="connsiteX15" fmla="*/ 127020 w 154097"/>
                    <a:gd name="connsiteY15" fmla="*/ 16510 h 44027"/>
                    <a:gd name="connsiteX16" fmla="*/ 107318 w 154097"/>
                    <a:gd name="connsiteY16" fmla="*/ 20253 h 44027"/>
                    <a:gd name="connsiteX17" fmla="*/ 129662 w 154097"/>
                    <a:gd name="connsiteY17" fmla="*/ 27187 h 44027"/>
                    <a:gd name="connsiteX18" fmla="*/ 133955 w 154097"/>
                    <a:gd name="connsiteY18" fmla="*/ 31920 h 44027"/>
                    <a:gd name="connsiteX19" fmla="*/ 146723 w 154097"/>
                    <a:gd name="connsiteY19" fmla="*/ 33021 h 44027"/>
                    <a:gd name="connsiteX20" fmla="*/ 155308 w 154097"/>
                    <a:gd name="connsiteY20" fmla="*/ 37754 h 44027"/>
                    <a:gd name="connsiteX21" fmla="*/ 149365 w 154097"/>
                    <a:gd name="connsiteY21" fmla="*/ 43808 h 44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54097" h="44027">
                      <a:moveTo>
                        <a:pt x="149365" y="43808"/>
                      </a:moveTo>
                      <a:cubicBezTo>
                        <a:pt x="144081" y="43808"/>
                        <a:pt x="144521" y="40065"/>
                        <a:pt x="138138" y="40065"/>
                      </a:cubicBezTo>
                      <a:cubicBezTo>
                        <a:pt x="136487" y="40065"/>
                        <a:pt x="137587" y="43808"/>
                        <a:pt x="138138" y="45459"/>
                      </a:cubicBezTo>
                      <a:cubicBezTo>
                        <a:pt x="120526" y="38524"/>
                        <a:pt x="102365" y="37424"/>
                        <a:pt x="81672" y="37424"/>
                      </a:cubicBezTo>
                      <a:cubicBezTo>
                        <a:pt x="75288" y="37424"/>
                        <a:pt x="73637" y="30489"/>
                        <a:pt x="68353" y="30489"/>
                      </a:cubicBezTo>
                      <a:cubicBezTo>
                        <a:pt x="58227" y="30489"/>
                        <a:pt x="49642" y="29939"/>
                        <a:pt x="38965" y="26747"/>
                      </a:cubicBezTo>
                      <a:cubicBezTo>
                        <a:pt x="31040" y="23995"/>
                        <a:pt x="23005" y="29389"/>
                        <a:pt x="17611" y="23995"/>
                      </a:cubicBezTo>
                      <a:cubicBezTo>
                        <a:pt x="12328" y="18602"/>
                        <a:pt x="8035" y="12218"/>
                        <a:pt x="0" y="12218"/>
                      </a:cubicBezTo>
                      <a:cubicBezTo>
                        <a:pt x="551" y="10677"/>
                        <a:pt x="10127" y="991"/>
                        <a:pt x="13319" y="991"/>
                      </a:cubicBezTo>
                      <a:cubicBezTo>
                        <a:pt x="14970" y="991"/>
                        <a:pt x="15960" y="3192"/>
                        <a:pt x="17611" y="3192"/>
                      </a:cubicBezTo>
                      <a:cubicBezTo>
                        <a:pt x="20803" y="3192"/>
                        <a:pt x="23005" y="0"/>
                        <a:pt x="26197" y="0"/>
                      </a:cubicBezTo>
                      <a:cubicBezTo>
                        <a:pt x="42157" y="0"/>
                        <a:pt x="49091" y="17061"/>
                        <a:pt x="66702" y="17061"/>
                      </a:cubicBezTo>
                      <a:cubicBezTo>
                        <a:pt x="74737" y="17061"/>
                        <a:pt x="76278" y="9026"/>
                        <a:pt x="82662" y="9026"/>
                      </a:cubicBezTo>
                      <a:cubicBezTo>
                        <a:pt x="93339" y="9026"/>
                        <a:pt x="97081" y="18602"/>
                        <a:pt x="106768" y="18602"/>
                      </a:cubicBezTo>
                      <a:lnTo>
                        <a:pt x="122728" y="16510"/>
                      </a:lnTo>
                      <a:lnTo>
                        <a:pt x="127020" y="16510"/>
                      </a:lnTo>
                      <a:cubicBezTo>
                        <a:pt x="126470" y="19152"/>
                        <a:pt x="108309" y="20803"/>
                        <a:pt x="107318" y="20253"/>
                      </a:cubicBezTo>
                      <a:cubicBezTo>
                        <a:pt x="113152" y="26086"/>
                        <a:pt x="120086" y="27187"/>
                        <a:pt x="129662" y="27187"/>
                      </a:cubicBezTo>
                      <a:cubicBezTo>
                        <a:pt x="132854" y="27187"/>
                        <a:pt x="132854" y="30930"/>
                        <a:pt x="133955" y="31920"/>
                      </a:cubicBezTo>
                      <a:cubicBezTo>
                        <a:pt x="137697" y="35662"/>
                        <a:pt x="141990" y="31370"/>
                        <a:pt x="146723" y="33021"/>
                      </a:cubicBezTo>
                      <a:cubicBezTo>
                        <a:pt x="151566" y="34672"/>
                        <a:pt x="151566" y="36213"/>
                        <a:pt x="155308" y="37754"/>
                      </a:cubicBezTo>
                      <a:cubicBezTo>
                        <a:pt x="154208" y="40065"/>
                        <a:pt x="150465" y="43808"/>
                        <a:pt x="149365" y="4380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56" name="Freeform: Shape 355">
                  <a:extLst>
                    <a:ext uri="{FF2B5EF4-FFF2-40B4-BE49-F238E27FC236}">
                      <a16:creationId xmlns:a16="http://schemas.microsoft.com/office/drawing/2014/main" id="{A0E3477A-E88A-4D04-A698-2E4ED0C83E1F}"/>
                    </a:ext>
                  </a:extLst>
                </p:cNvPr>
                <p:cNvSpPr/>
                <p:nvPr/>
              </p:nvSpPr>
              <p:spPr>
                <a:xfrm>
                  <a:off x="5123388" y="3940905"/>
                  <a:ext cx="44028" cy="11007"/>
                </a:xfrm>
                <a:custGeom>
                  <a:avLst/>
                  <a:gdLst>
                    <a:gd name="connsiteX0" fmla="*/ 31040 w 44027"/>
                    <a:gd name="connsiteY0" fmla="*/ 10677 h 0"/>
                    <a:gd name="connsiteX1" fmla="*/ 11778 w 44027"/>
                    <a:gd name="connsiteY1" fmla="*/ 10677 h 0"/>
                    <a:gd name="connsiteX2" fmla="*/ 0 w 44027"/>
                    <a:gd name="connsiteY2" fmla="*/ 5283 h 0"/>
                    <a:gd name="connsiteX3" fmla="*/ 9576 w 44027"/>
                    <a:gd name="connsiteY3" fmla="*/ 1541 h 0"/>
                    <a:gd name="connsiteX4" fmla="*/ 30930 w 44027"/>
                    <a:gd name="connsiteY4" fmla="*/ 5283 h 0"/>
                    <a:gd name="connsiteX5" fmla="*/ 46340 w 44027"/>
                    <a:gd name="connsiteY5" fmla="*/ 0 h 0"/>
                    <a:gd name="connsiteX6" fmla="*/ 31040 w 44027"/>
                    <a:gd name="connsiteY6" fmla="*/ 10677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4027">
                      <a:moveTo>
                        <a:pt x="31040" y="10677"/>
                      </a:moveTo>
                      <a:lnTo>
                        <a:pt x="11778" y="10677"/>
                      </a:lnTo>
                      <a:cubicBezTo>
                        <a:pt x="8035" y="10677"/>
                        <a:pt x="0" y="11117"/>
                        <a:pt x="0" y="5283"/>
                      </a:cubicBezTo>
                      <a:cubicBezTo>
                        <a:pt x="0" y="991"/>
                        <a:pt x="5944" y="1541"/>
                        <a:pt x="9576" y="1541"/>
                      </a:cubicBezTo>
                      <a:cubicBezTo>
                        <a:pt x="19262" y="1541"/>
                        <a:pt x="22895" y="5283"/>
                        <a:pt x="30930" y="5283"/>
                      </a:cubicBezTo>
                      <a:cubicBezTo>
                        <a:pt x="38965" y="5283"/>
                        <a:pt x="41606" y="2091"/>
                        <a:pt x="46340" y="0"/>
                      </a:cubicBezTo>
                      <a:cubicBezTo>
                        <a:pt x="42817" y="6934"/>
                        <a:pt x="37974" y="8475"/>
                        <a:pt x="31040" y="10677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57" name="Freeform: Shape 356">
                  <a:extLst>
                    <a:ext uri="{FF2B5EF4-FFF2-40B4-BE49-F238E27FC236}">
                      <a16:creationId xmlns:a16="http://schemas.microsoft.com/office/drawing/2014/main" id="{DB3708D7-7763-4F20-94C3-CA1C8FD9D132}"/>
                    </a:ext>
                  </a:extLst>
                </p:cNvPr>
                <p:cNvSpPr/>
                <p:nvPr/>
              </p:nvSpPr>
              <p:spPr>
                <a:xfrm>
                  <a:off x="5077049" y="3942996"/>
                  <a:ext cx="22014" cy="11007"/>
                </a:xfrm>
                <a:custGeom>
                  <a:avLst/>
                  <a:gdLst>
                    <a:gd name="connsiteX0" fmla="*/ 32581 w 22013"/>
                    <a:gd name="connsiteY0" fmla="*/ 8035 h 11006"/>
                    <a:gd name="connsiteX1" fmla="*/ 27848 w 22013"/>
                    <a:gd name="connsiteY1" fmla="*/ 8035 h 11006"/>
                    <a:gd name="connsiteX2" fmla="*/ 23555 w 22013"/>
                    <a:gd name="connsiteY2" fmla="*/ 5944 h 11006"/>
                    <a:gd name="connsiteX3" fmla="*/ 10677 w 22013"/>
                    <a:gd name="connsiteY3" fmla="*/ 11227 h 11006"/>
                    <a:gd name="connsiteX4" fmla="*/ 0 w 22013"/>
                    <a:gd name="connsiteY4" fmla="*/ 7485 h 11006"/>
                    <a:gd name="connsiteX5" fmla="*/ 9136 w 22013"/>
                    <a:gd name="connsiteY5" fmla="*/ 2091 h 11006"/>
                    <a:gd name="connsiteX6" fmla="*/ 19262 w 22013"/>
                    <a:gd name="connsiteY6" fmla="*/ 4293 h 11006"/>
                    <a:gd name="connsiteX7" fmla="*/ 19812 w 22013"/>
                    <a:gd name="connsiteY7" fmla="*/ 0 h 11006"/>
                    <a:gd name="connsiteX8" fmla="*/ 32581 w 22013"/>
                    <a:gd name="connsiteY8" fmla="*/ 0 h 11006"/>
                    <a:gd name="connsiteX9" fmla="*/ 32581 w 22013"/>
                    <a:gd name="connsiteY9" fmla="*/ 8035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2013" h="11006">
                      <a:moveTo>
                        <a:pt x="32581" y="8035"/>
                      </a:moveTo>
                      <a:lnTo>
                        <a:pt x="27848" y="8035"/>
                      </a:lnTo>
                      <a:lnTo>
                        <a:pt x="23555" y="5944"/>
                      </a:lnTo>
                      <a:cubicBezTo>
                        <a:pt x="18272" y="8035"/>
                        <a:pt x="16070" y="11227"/>
                        <a:pt x="10677" y="11227"/>
                      </a:cubicBezTo>
                      <a:cubicBezTo>
                        <a:pt x="6384" y="11227"/>
                        <a:pt x="0" y="9686"/>
                        <a:pt x="0" y="7485"/>
                      </a:cubicBezTo>
                      <a:cubicBezTo>
                        <a:pt x="0" y="1651"/>
                        <a:pt x="4293" y="2091"/>
                        <a:pt x="9136" y="2091"/>
                      </a:cubicBezTo>
                      <a:cubicBezTo>
                        <a:pt x="13979" y="2091"/>
                        <a:pt x="16621" y="3192"/>
                        <a:pt x="19262" y="4293"/>
                      </a:cubicBezTo>
                      <a:cubicBezTo>
                        <a:pt x="19262" y="2642"/>
                        <a:pt x="19812" y="1651"/>
                        <a:pt x="19812" y="0"/>
                      </a:cubicBezTo>
                      <a:lnTo>
                        <a:pt x="32581" y="0"/>
                      </a:lnTo>
                      <a:cubicBezTo>
                        <a:pt x="32581" y="4293"/>
                        <a:pt x="31480" y="6934"/>
                        <a:pt x="32581" y="803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58" name="Freeform: Shape 357">
                  <a:extLst>
                    <a:ext uri="{FF2B5EF4-FFF2-40B4-BE49-F238E27FC236}">
                      <a16:creationId xmlns:a16="http://schemas.microsoft.com/office/drawing/2014/main" id="{2F251F5F-B793-49C2-B824-244C97BD53AB}"/>
                    </a:ext>
                  </a:extLst>
                </p:cNvPr>
                <p:cNvSpPr/>
                <p:nvPr/>
              </p:nvSpPr>
              <p:spPr>
                <a:xfrm>
                  <a:off x="5111831" y="3957839"/>
                  <a:ext cx="22014" cy="11007"/>
                </a:xfrm>
                <a:custGeom>
                  <a:avLst/>
                  <a:gdLst>
                    <a:gd name="connsiteX0" fmla="*/ 17061 w 22013"/>
                    <a:gd name="connsiteY0" fmla="*/ 16087 h 11006"/>
                    <a:gd name="connsiteX1" fmla="*/ 13869 w 22013"/>
                    <a:gd name="connsiteY1" fmla="*/ 9152 h 11006"/>
                    <a:gd name="connsiteX2" fmla="*/ 0 w 22013"/>
                    <a:gd name="connsiteY2" fmla="*/ 3319 h 11006"/>
                    <a:gd name="connsiteX3" fmla="*/ 10126 w 22013"/>
                    <a:gd name="connsiteY3" fmla="*/ 126 h 11006"/>
                    <a:gd name="connsiteX4" fmla="*/ 15410 w 22013"/>
                    <a:gd name="connsiteY4" fmla="*/ 126 h 11006"/>
                    <a:gd name="connsiteX5" fmla="*/ 23445 w 22013"/>
                    <a:gd name="connsiteY5" fmla="*/ 12454 h 11006"/>
                    <a:gd name="connsiteX6" fmla="*/ 19152 w 22013"/>
                    <a:gd name="connsiteY6" fmla="*/ 16197 h 11006"/>
                    <a:gd name="connsiteX7" fmla="*/ 17061 w 22013"/>
                    <a:gd name="connsiteY7" fmla="*/ 16197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013" h="11006">
                      <a:moveTo>
                        <a:pt x="17061" y="16087"/>
                      </a:moveTo>
                      <a:cubicBezTo>
                        <a:pt x="14419" y="16087"/>
                        <a:pt x="13869" y="10693"/>
                        <a:pt x="13869" y="9152"/>
                      </a:cubicBezTo>
                      <a:cubicBezTo>
                        <a:pt x="8475" y="9152"/>
                        <a:pt x="0" y="8602"/>
                        <a:pt x="0" y="3319"/>
                      </a:cubicBezTo>
                      <a:cubicBezTo>
                        <a:pt x="0" y="-974"/>
                        <a:pt x="6384" y="126"/>
                        <a:pt x="10126" y="126"/>
                      </a:cubicBezTo>
                      <a:lnTo>
                        <a:pt x="15410" y="126"/>
                      </a:lnTo>
                      <a:cubicBezTo>
                        <a:pt x="15410" y="7611"/>
                        <a:pt x="23445" y="5960"/>
                        <a:pt x="23445" y="12454"/>
                      </a:cubicBezTo>
                      <a:cubicBezTo>
                        <a:pt x="23445" y="14105"/>
                        <a:pt x="20803" y="16197"/>
                        <a:pt x="19152" y="16197"/>
                      </a:cubicBezTo>
                      <a:lnTo>
                        <a:pt x="17061" y="16197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59" name="Freeform: Shape 358">
                  <a:extLst>
                    <a:ext uri="{FF2B5EF4-FFF2-40B4-BE49-F238E27FC236}">
                      <a16:creationId xmlns:a16="http://schemas.microsoft.com/office/drawing/2014/main" id="{00050513-AE39-4DFA-9CC3-F10EB7AC2351}"/>
                    </a:ext>
                  </a:extLst>
                </p:cNvPr>
                <p:cNvSpPr/>
                <p:nvPr/>
              </p:nvSpPr>
              <p:spPr>
                <a:xfrm>
                  <a:off x="5064831" y="3942446"/>
                  <a:ext cx="11007" cy="11007"/>
                </a:xfrm>
                <a:custGeom>
                  <a:avLst/>
                  <a:gdLst>
                    <a:gd name="connsiteX0" fmla="*/ 0 w 0"/>
                    <a:gd name="connsiteY0" fmla="*/ 0 h 0"/>
                    <a:gd name="connsiteX1" fmla="*/ 4843 w 0"/>
                    <a:gd name="connsiteY1" fmla="*/ 0 h 0"/>
                    <a:gd name="connsiteX2" fmla="*/ 9686 w 0"/>
                    <a:gd name="connsiteY2" fmla="*/ 3742 h 0"/>
                    <a:gd name="connsiteX3" fmla="*/ 4403 w 0"/>
                    <a:gd name="connsiteY3" fmla="*/ 9136 h 0"/>
                    <a:gd name="connsiteX4" fmla="*/ 110 w 0"/>
                    <a:gd name="connsiteY4" fmla="*/ 5393 h 0"/>
                    <a:gd name="connsiteX5" fmla="*/ 110 w 0"/>
                    <a:gd name="connsiteY5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>
                      <a:moveTo>
                        <a:pt x="0" y="0"/>
                      </a:moveTo>
                      <a:lnTo>
                        <a:pt x="4843" y="0"/>
                      </a:lnTo>
                      <a:cubicBezTo>
                        <a:pt x="7594" y="0"/>
                        <a:pt x="7594" y="2642"/>
                        <a:pt x="9686" y="3742"/>
                      </a:cubicBezTo>
                      <a:cubicBezTo>
                        <a:pt x="9136" y="6934"/>
                        <a:pt x="6934" y="9136"/>
                        <a:pt x="4403" y="9136"/>
                      </a:cubicBezTo>
                      <a:cubicBezTo>
                        <a:pt x="2752" y="9136"/>
                        <a:pt x="110" y="6934"/>
                        <a:pt x="110" y="5393"/>
                      </a:cubicBezTo>
                      <a:lnTo>
                        <a:pt x="110" y="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60" name="Freeform: Shape 359">
                  <a:extLst>
                    <a:ext uri="{FF2B5EF4-FFF2-40B4-BE49-F238E27FC236}">
                      <a16:creationId xmlns:a16="http://schemas.microsoft.com/office/drawing/2014/main" id="{B572B8EF-7807-4BAD-ACBA-829E6138B0FA}"/>
                    </a:ext>
                  </a:extLst>
                </p:cNvPr>
                <p:cNvSpPr/>
                <p:nvPr/>
              </p:nvSpPr>
              <p:spPr>
                <a:xfrm>
                  <a:off x="5178423" y="3945232"/>
                  <a:ext cx="44028" cy="22014"/>
                </a:xfrm>
                <a:custGeom>
                  <a:avLst/>
                  <a:gdLst>
                    <a:gd name="connsiteX0" fmla="*/ 23005 w 44027"/>
                    <a:gd name="connsiteY0" fmla="*/ 13834 h 22013"/>
                    <a:gd name="connsiteX1" fmla="*/ 21354 w 44027"/>
                    <a:gd name="connsiteY1" fmla="*/ 20768 h 22013"/>
                    <a:gd name="connsiteX2" fmla="*/ 3742 w 44027"/>
                    <a:gd name="connsiteY2" fmla="*/ 29794 h 22013"/>
                    <a:gd name="connsiteX3" fmla="*/ 0 w 44027"/>
                    <a:gd name="connsiteY3" fmla="*/ 25061 h 22013"/>
                    <a:gd name="connsiteX4" fmla="*/ 18052 w 44027"/>
                    <a:gd name="connsiteY4" fmla="*/ 10642 h 22013"/>
                    <a:gd name="connsiteX5" fmla="*/ 20693 w 44027"/>
                    <a:gd name="connsiteY5" fmla="*/ 5799 h 22013"/>
                    <a:gd name="connsiteX6" fmla="*/ 54265 w 44027"/>
                    <a:gd name="connsiteY6" fmla="*/ 1506 h 22013"/>
                    <a:gd name="connsiteX7" fmla="*/ 23005 w 44027"/>
                    <a:gd name="connsiteY7" fmla="*/ 13834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4027" h="22013">
                      <a:moveTo>
                        <a:pt x="23005" y="13834"/>
                      </a:moveTo>
                      <a:cubicBezTo>
                        <a:pt x="20363" y="13834"/>
                        <a:pt x="23005" y="19117"/>
                        <a:pt x="21354" y="20768"/>
                      </a:cubicBezTo>
                      <a:cubicBezTo>
                        <a:pt x="18712" y="23410"/>
                        <a:pt x="9576" y="29794"/>
                        <a:pt x="3742" y="29794"/>
                      </a:cubicBezTo>
                      <a:cubicBezTo>
                        <a:pt x="1651" y="29794"/>
                        <a:pt x="0" y="27152"/>
                        <a:pt x="0" y="25061"/>
                      </a:cubicBezTo>
                      <a:cubicBezTo>
                        <a:pt x="0" y="13284"/>
                        <a:pt x="10127" y="13284"/>
                        <a:pt x="18052" y="10642"/>
                      </a:cubicBezTo>
                      <a:cubicBezTo>
                        <a:pt x="19592" y="10092"/>
                        <a:pt x="19592" y="6900"/>
                        <a:pt x="20693" y="5799"/>
                      </a:cubicBezTo>
                      <a:cubicBezTo>
                        <a:pt x="25977" y="406"/>
                        <a:pt x="49531" y="-1686"/>
                        <a:pt x="54265" y="1506"/>
                      </a:cubicBezTo>
                      <a:cubicBezTo>
                        <a:pt x="49201" y="9541"/>
                        <a:pt x="31480" y="13834"/>
                        <a:pt x="23005" y="1383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61" name="Freeform: Shape 360">
                  <a:extLst>
                    <a:ext uri="{FF2B5EF4-FFF2-40B4-BE49-F238E27FC236}">
                      <a16:creationId xmlns:a16="http://schemas.microsoft.com/office/drawing/2014/main" id="{B54393FB-D8E5-4139-97E5-4036EBAE12A6}"/>
                    </a:ext>
                  </a:extLst>
                </p:cNvPr>
                <p:cNvSpPr/>
                <p:nvPr/>
              </p:nvSpPr>
              <p:spPr>
                <a:xfrm>
                  <a:off x="5216838" y="3861905"/>
                  <a:ext cx="11007" cy="11007"/>
                </a:xfrm>
                <a:custGeom>
                  <a:avLst/>
                  <a:gdLst>
                    <a:gd name="connsiteX0" fmla="*/ 14969 w 11006"/>
                    <a:gd name="connsiteY0" fmla="*/ 6464 h 11006"/>
                    <a:gd name="connsiteX1" fmla="*/ 9576 w 11006"/>
                    <a:gd name="connsiteY1" fmla="*/ 13398 h 11006"/>
                    <a:gd name="connsiteX2" fmla="*/ 0 w 11006"/>
                    <a:gd name="connsiteY2" fmla="*/ 3272 h 11006"/>
                    <a:gd name="connsiteX3" fmla="*/ 14969 w 11006"/>
                    <a:gd name="connsiteY3" fmla="*/ 6464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06" h="11006">
                      <a:moveTo>
                        <a:pt x="14969" y="6464"/>
                      </a:moveTo>
                      <a:cubicBezTo>
                        <a:pt x="14969" y="7454"/>
                        <a:pt x="11227" y="13398"/>
                        <a:pt x="9576" y="13398"/>
                      </a:cubicBezTo>
                      <a:cubicBezTo>
                        <a:pt x="6384" y="13398"/>
                        <a:pt x="0" y="7564"/>
                        <a:pt x="0" y="3272"/>
                      </a:cubicBezTo>
                      <a:cubicBezTo>
                        <a:pt x="110" y="-3222"/>
                        <a:pt x="14969" y="1070"/>
                        <a:pt x="14969" y="646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62" name="Freeform: Shape 361">
                  <a:extLst>
                    <a:ext uri="{FF2B5EF4-FFF2-40B4-BE49-F238E27FC236}">
                      <a16:creationId xmlns:a16="http://schemas.microsoft.com/office/drawing/2014/main" id="{7E39D929-F943-4F1E-9B2A-06FE03C97B49}"/>
                    </a:ext>
                  </a:extLst>
                </p:cNvPr>
                <p:cNvSpPr/>
                <p:nvPr/>
              </p:nvSpPr>
              <p:spPr>
                <a:xfrm>
                  <a:off x="5244575" y="3860334"/>
                  <a:ext cx="33021" cy="11007"/>
                </a:xfrm>
                <a:custGeom>
                  <a:avLst/>
                  <a:gdLst>
                    <a:gd name="connsiteX0" fmla="*/ 37424 w 33020"/>
                    <a:gd name="connsiteY0" fmla="*/ 1541 h 11006"/>
                    <a:gd name="connsiteX1" fmla="*/ 43808 w 33020"/>
                    <a:gd name="connsiteY1" fmla="*/ 11227 h 11006"/>
                    <a:gd name="connsiteX2" fmla="*/ 40616 w 33020"/>
                    <a:gd name="connsiteY2" fmla="*/ 12218 h 11006"/>
                    <a:gd name="connsiteX3" fmla="*/ 21904 w 33020"/>
                    <a:gd name="connsiteY3" fmla="*/ 6934 h 11006"/>
                    <a:gd name="connsiteX4" fmla="*/ 9576 w 33020"/>
                    <a:gd name="connsiteY4" fmla="*/ 6934 h 11006"/>
                    <a:gd name="connsiteX5" fmla="*/ 0 w 33020"/>
                    <a:gd name="connsiteY5" fmla="*/ 4733 h 11006"/>
                    <a:gd name="connsiteX6" fmla="*/ 3742 w 33020"/>
                    <a:gd name="connsiteY6" fmla="*/ 0 h 11006"/>
                    <a:gd name="connsiteX7" fmla="*/ 27737 w 33020"/>
                    <a:gd name="connsiteY7" fmla="*/ 0 h 11006"/>
                    <a:gd name="connsiteX8" fmla="*/ 35662 w 33020"/>
                    <a:gd name="connsiteY8" fmla="*/ 2091 h 11006"/>
                    <a:gd name="connsiteX9" fmla="*/ 37424 w 33020"/>
                    <a:gd name="connsiteY9" fmla="*/ 1541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3020" h="11006">
                      <a:moveTo>
                        <a:pt x="37424" y="1541"/>
                      </a:moveTo>
                      <a:cubicBezTo>
                        <a:pt x="37974" y="5834"/>
                        <a:pt x="43808" y="6934"/>
                        <a:pt x="43808" y="11227"/>
                      </a:cubicBezTo>
                      <a:cubicBezTo>
                        <a:pt x="43808" y="12218"/>
                        <a:pt x="41716" y="12218"/>
                        <a:pt x="40616" y="12218"/>
                      </a:cubicBezTo>
                      <a:cubicBezTo>
                        <a:pt x="33131" y="12218"/>
                        <a:pt x="29389" y="6934"/>
                        <a:pt x="21904" y="6934"/>
                      </a:cubicBezTo>
                      <a:lnTo>
                        <a:pt x="9576" y="6934"/>
                      </a:lnTo>
                      <a:cubicBezTo>
                        <a:pt x="7485" y="6934"/>
                        <a:pt x="0" y="4733"/>
                        <a:pt x="0" y="4733"/>
                      </a:cubicBezTo>
                      <a:cubicBezTo>
                        <a:pt x="0" y="2091"/>
                        <a:pt x="2642" y="1101"/>
                        <a:pt x="3742" y="0"/>
                      </a:cubicBezTo>
                      <a:lnTo>
                        <a:pt x="27737" y="0"/>
                      </a:lnTo>
                      <a:cubicBezTo>
                        <a:pt x="28838" y="3742"/>
                        <a:pt x="32471" y="2091"/>
                        <a:pt x="35662" y="2091"/>
                      </a:cubicBezTo>
                      <a:lnTo>
                        <a:pt x="37424" y="1541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63" name="Freeform: Shape 362">
                  <a:extLst>
                    <a:ext uri="{FF2B5EF4-FFF2-40B4-BE49-F238E27FC236}">
                      <a16:creationId xmlns:a16="http://schemas.microsoft.com/office/drawing/2014/main" id="{E2A92311-12B0-45CA-B4C9-6C7D77577C36}"/>
                    </a:ext>
                  </a:extLst>
                </p:cNvPr>
                <p:cNvSpPr/>
                <p:nvPr/>
              </p:nvSpPr>
              <p:spPr>
                <a:xfrm>
                  <a:off x="5237530" y="3780313"/>
                  <a:ext cx="11007" cy="33021"/>
                </a:xfrm>
                <a:custGeom>
                  <a:avLst/>
                  <a:gdLst>
                    <a:gd name="connsiteX0" fmla="*/ 5503 w 11006"/>
                    <a:gd name="connsiteY0" fmla="*/ 33571 h 33020"/>
                    <a:gd name="connsiteX1" fmla="*/ 5503 w 11006"/>
                    <a:gd name="connsiteY1" fmla="*/ 29829 h 33020"/>
                    <a:gd name="connsiteX2" fmla="*/ 17721 w 11006"/>
                    <a:gd name="connsiteY2" fmla="*/ 28728 h 33020"/>
                    <a:gd name="connsiteX3" fmla="*/ 13429 w 11006"/>
                    <a:gd name="connsiteY3" fmla="*/ 20693 h 33020"/>
                    <a:gd name="connsiteX4" fmla="*/ 18712 w 11006"/>
                    <a:gd name="connsiteY4" fmla="*/ 13869 h 33020"/>
                    <a:gd name="connsiteX5" fmla="*/ 4843 w 11006"/>
                    <a:gd name="connsiteY5" fmla="*/ 0 h 33020"/>
                    <a:gd name="connsiteX6" fmla="*/ 0 w 11006"/>
                    <a:gd name="connsiteY6" fmla="*/ 10677 h 33020"/>
                    <a:gd name="connsiteX7" fmla="*/ 4293 w 11006"/>
                    <a:gd name="connsiteY7" fmla="*/ 25536 h 33020"/>
                    <a:gd name="connsiteX8" fmla="*/ 4293 w 11006"/>
                    <a:gd name="connsiteY8" fmla="*/ 32470 h 33020"/>
                    <a:gd name="connsiteX9" fmla="*/ 11227 w 11006"/>
                    <a:gd name="connsiteY9" fmla="*/ 42597 h 33020"/>
                    <a:gd name="connsiteX10" fmla="*/ 5503 w 11006"/>
                    <a:gd name="connsiteY10" fmla="*/ 33571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1006" h="33020">
                      <a:moveTo>
                        <a:pt x="5503" y="33571"/>
                      </a:moveTo>
                      <a:lnTo>
                        <a:pt x="5503" y="29829"/>
                      </a:lnTo>
                      <a:cubicBezTo>
                        <a:pt x="9796" y="29829"/>
                        <a:pt x="15630" y="29279"/>
                        <a:pt x="17721" y="28728"/>
                      </a:cubicBezTo>
                      <a:cubicBezTo>
                        <a:pt x="17281" y="24435"/>
                        <a:pt x="13429" y="23445"/>
                        <a:pt x="13429" y="20693"/>
                      </a:cubicBezTo>
                      <a:cubicBezTo>
                        <a:pt x="13429" y="17501"/>
                        <a:pt x="18712" y="16951"/>
                        <a:pt x="18712" y="13869"/>
                      </a:cubicBezTo>
                      <a:cubicBezTo>
                        <a:pt x="9686" y="11667"/>
                        <a:pt x="5944" y="7375"/>
                        <a:pt x="4843" y="0"/>
                      </a:cubicBezTo>
                      <a:cubicBezTo>
                        <a:pt x="551" y="2201"/>
                        <a:pt x="0" y="6384"/>
                        <a:pt x="0" y="10677"/>
                      </a:cubicBezTo>
                      <a:cubicBezTo>
                        <a:pt x="0" y="17611"/>
                        <a:pt x="4293" y="19703"/>
                        <a:pt x="4293" y="25536"/>
                      </a:cubicBezTo>
                      <a:lnTo>
                        <a:pt x="4293" y="32470"/>
                      </a:lnTo>
                      <a:cubicBezTo>
                        <a:pt x="4293" y="35663"/>
                        <a:pt x="5944" y="42597"/>
                        <a:pt x="11227" y="42597"/>
                      </a:cubicBezTo>
                      <a:cubicBezTo>
                        <a:pt x="8696" y="38965"/>
                        <a:pt x="7595" y="36763"/>
                        <a:pt x="5503" y="3357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64" name="Freeform: Shape 363">
                  <a:extLst>
                    <a:ext uri="{FF2B5EF4-FFF2-40B4-BE49-F238E27FC236}">
                      <a16:creationId xmlns:a16="http://schemas.microsoft.com/office/drawing/2014/main" id="{9032F27C-3E34-40B1-A6B7-467FD4E3AD3F}"/>
                    </a:ext>
                  </a:extLst>
                </p:cNvPr>
                <p:cNvSpPr/>
                <p:nvPr/>
              </p:nvSpPr>
              <p:spPr>
                <a:xfrm>
                  <a:off x="5159959" y="3665291"/>
                  <a:ext cx="66042" cy="55035"/>
                </a:xfrm>
                <a:custGeom>
                  <a:avLst/>
                  <a:gdLst>
                    <a:gd name="connsiteX0" fmla="*/ 55337 w 66041"/>
                    <a:gd name="connsiteY0" fmla="*/ 45569 h 55034"/>
                    <a:gd name="connsiteX1" fmla="*/ 52475 w 66041"/>
                    <a:gd name="connsiteY1" fmla="*/ 41826 h 55034"/>
                    <a:gd name="connsiteX2" fmla="*/ 48072 w 66041"/>
                    <a:gd name="connsiteY2" fmla="*/ 48211 h 55034"/>
                    <a:gd name="connsiteX3" fmla="*/ 53686 w 66041"/>
                    <a:gd name="connsiteY3" fmla="*/ 58007 h 55034"/>
                    <a:gd name="connsiteX4" fmla="*/ 48293 w 66041"/>
                    <a:gd name="connsiteY4" fmla="*/ 64391 h 55034"/>
                    <a:gd name="connsiteX5" fmla="*/ 45871 w 66041"/>
                    <a:gd name="connsiteY5" fmla="*/ 60648 h 55034"/>
                    <a:gd name="connsiteX6" fmla="*/ 41028 w 66041"/>
                    <a:gd name="connsiteY6" fmla="*/ 61089 h 55034"/>
                    <a:gd name="connsiteX7" fmla="*/ 28700 w 66041"/>
                    <a:gd name="connsiteY7" fmla="*/ 44578 h 55034"/>
                    <a:gd name="connsiteX8" fmla="*/ 31232 w 66041"/>
                    <a:gd name="connsiteY8" fmla="*/ 39075 h 55034"/>
                    <a:gd name="connsiteX9" fmla="*/ 29361 w 66041"/>
                    <a:gd name="connsiteY9" fmla="*/ 34342 h 55034"/>
                    <a:gd name="connsiteX10" fmla="*/ 22536 w 66041"/>
                    <a:gd name="connsiteY10" fmla="*/ 34232 h 55034"/>
                    <a:gd name="connsiteX11" fmla="*/ 22426 w 66041"/>
                    <a:gd name="connsiteY11" fmla="*/ 38414 h 55034"/>
                    <a:gd name="connsiteX12" fmla="*/ 17583 w 66041"/>
                    <a:gd name="connsiteY12" fmla="*/ 35993 h 55034"/>
                    <a:gd name="connsiteX13" fmla="*/ 16042 w 66041"/>
                    <a:gd name="connsiteY13" fmla="*/ 38304 h 55034"/>
                    <a:gd name="connsiteX14" fmla="*/ 11309 w 66041"/>
                    <a:gd name="connsiteY14" fmla="*/ 34011 h 55034"/>
                    <a:gd name="connsiteX15" fmla="*/ 1733 w 66041"/>
                    <a:gd name="connsiteY15" fmla="*/ 53824 h 55034"/>
                    <a:gd name="connsiteX16" fmla="*/ 1843 w 66041"/>
                    <a:gd name="connsiteY16" fmla="*/ 43147 h 55034"/>
                    <a:gd name="connsiteX17" fmla="*/ 82 w 66041"/>
                    <a:gd name="connsiteY17" fmla="*/ 38524 h 55034"/>
                    <a:gd name="connsiteX18" fmla="*/ 3164 w 66041"/>
                    <a:gd name="connsiteY18" fmla="*/ 26527 h 55034"/>
                    <a:gd name="connsiteX19" fmla="*/ 19894 w 66041"/>
                    <a:gd name="connsiteY19" fmla="*/ 16620 h 55034"/>
                    <a:gd name="connsiteX20" fmla="*/ 28480 w 66041"/>
                    <a:gd name="connsiteY20" fmla="*/ 24215 h 55034"/>
                    <a:gd name="connsiteX21" fmla="*/ 31342 w 66041"/>
                    <a:gd name="connsiteY21" fmla="*/ 24325 h 55034"/>
                    <a:gd name="connsiteX22" fmla="*/ 35855 w 66041"/>
                    <a:gd name="connsiteY22" fmla="*/ 18382 h 55034"/>
                    <a:gd name="connsiteX23" fmla="*/ 46201 w 66041"/>
                    <a:gd name="connsiteY23" fmla="*/ 11117 h 55034"/>
                    <a:gd name="connsiteX24" fmla="*/ 47742 w 66041"/>
                    <a:gd name="connsiteY24" fmla="*/ 0 h 55034"/>
                    <a:gd name="connsiteX25" fmla="*/ 55557 w 66041"/>
                    <a:gd name="connsiteY25" fmla="*/ 4293 h 55034"/>
                    <a:gd name="connsiteX26" fmla="*/ 67114 w 66041"/>
                    <a:gd name="connsiteY26" fmla="*/ 39735 h 55034"/>
                    <a:gd name="connsiteX27" fmla="*/ 60951 w 66041"/>
                    <a:gd name="connsiteY27" fmla="*/ 55475 h 55034"/>
                    <a:gd name="connsiteX28" fmla="*/ 54897 w 66041"/>
                    <a:gd name="connsiteY28" fmla="*/ 43808 h 55034"/>
                    <a:gd name="connsiteX29" fmla="*/ 55337 w 66041"/>
                    <a:gd name="connsiteY29" fmla="*/ 45569 h 55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66041" h="55034">
                      <a:moveTo>
                        <a:pt x="55337" y="45569"/>
                      </a:moveTo>
                      <a:cubicBezTo>
                        <a:pt x="54897" y="44138"/>
                        <a:pt x="53466" y="43257"/>
                        <a:pt x="52475" y="41826"/>
                      </a:cubicBezTo>
                      <a:cubicBezTo>
                        <a:pt x="50494" y="44578"/>
                        <a:pt x="48072" y="45459"/>
                        <a:pt x="48072" y="48211"/>
                      </a:cubicBezTo>
                      <a:cubicBezTo>
                        <a:pt x="47962" y="51512"/>
                        <a:pt x="53796" y="52943"/>
                        <a:pt x="53686" y="58007"/>
                      </a:cubicBezTo>
                      <a:cubicBezTo>
                        <a:pt x="53686" y="61749"/>
                        <a:pt x="51595" y="64501"/>
                        <a:pt x="48293" y="64391"/>
                      </a:cubicBezTo>
                      <a:cubicBezTo>
                        <a:pt x="46752" y="64391"/>
                        <a:pt x="45871" y="61969"/>
                        <a:pt x="45871" y="60648"/>
                      </a:cubicBezTo>
                      <a:cubicBezTo>
                        <a:pt x="44440" y="61529"/>
                        <a:pt x="42459" y="61089"/>
                        <a:pt x="41028" y="61089"/>
                      </a:cubicBezTo>
                      <a:cubicBezTo>
                        <a:pt x="34204" y="60978"/>
                        <a:pt x="28480" y="53384"/>
                        <a:pt x="28700" y="44578"/>
                      </a:cubicBezTo>
                      <a:cubicBezTo>
                        <a:pt x="28810" y="41386"/>
                        <a:pt x="29801" y="39955"/>
                        <a:pt x="31232" y="39075"/>
                      </a:cubicBezTo>
                      <a:cubicBezTo>
                        <a:pt x="30791" y="37644"/>
                        <a:pt x="29801" y="35773"/>
                        <a:pt x="29361" y="34342"/>
                      </a:cubicBezTo>
                      <a:lnTo>
                        <a:pt x="22536" y="34232"/>
                      </a:lnTo>
                      <a:cubicBezTo>
                        <a:pt x="22536" y="35552"/>
                        <a:pt x="21986" y="36983"/>
                        <a:pt x="22426" y="38414"/>
                      </a:cubicBezTo>
                      <a:cubicBezTo>
                        <a:pt x="19454" y="38414"/>
                        <a:pt x="18574" y="36983"/>
                        <a:pt x="17583" y="35993"/>
                      </a:cubicBezTo>
                      <a:cubicBezTo>
                        <a:pt x="17583" y="35993"/>
                        <a:pt x="16593" y="37864"/>
                        <a:pt x="16042" y="38304"/>
                      </a:cubicBezTo>
                      <a:cubicBezTo>
                        <a:pt x="14611" y="37754"/>
                        <a:pt x="11309" y="34011"/>
                        <a:pt x="11309" y="34011"/>
                      </a:cubicBezTo>
                      <a:cubicBezTo>
                        <a:pt x="6356" y="38634"/>
                        <a:pt x="7017" y="53934"/>
                        <a:pt x="1733" y="53824"/>
                      </a:cubicBezTo>
                      <a:cubicBezTo>
                        <a:pt x="-2230" y="53824"/>
                        <a:pt x="1843" y="45018"/>
                        <a:pt x="1843" y="43147"/>
                      </a:cubicBezTo>
                      <a:cubicBezTo>
                        <a:pt x="1953" y="41716"/>
                        <a:pt x="-28" y="39845"/>
                        <a:pt x="82" y="38524"/>
                      </a:cubicBezTo>
                      <a:cubicBezTo>
                        <a:pt x="192" y="33901"/>
                        <a:pt x="2173" y="31150"/>
                        <a:pt x="3164" y="26527"/>
                      </a:cubicBezTo>
                      <a:cubicBezTo>
                        <a:pt x="13400" y="26747"/>
                        <a:pt x="11089" y="16510"/>
                        <a:pt x="19894" y="16620"/>
                      </a:cubicBezTo>
                      <a:cubicBezTo>
                        <a:pt x="26169" y="16731"/>
                        <a:pt x="25068" y="24105"/>
                        <a:pt x="28480" y="24215"/>
                      </a:cubicBezTo>
                      <a:cubicBezTo>
                        <a:pt x="29470" y="24215"/>
                        <a:pt x="30461" y="24325"/>
                        <a:pt x="31342" y="24325"/>
                      </a:cubicBezTo>
                      <a:cubicBezTo>
                        <a:pt x="31452" y="21133"/>
                        <a:pt x="32883" y="18712"/>
                        <a:pt x="35855" y="18382"/>
                      </a:cubicBezTo>
                      <a:cubicBezTo>
                        <a:pt x="35965" y="11888"/>
                        <a:pt x="44660" y="13869"/>
                        <a:pt x="46201" y="11117"/>
                      </a:cubicBezTo>
                      <a:cubicBezTo>
                        <a:pt x="47742" y="7815"/>
                        <a:pt x="47302" y="1321"/>
                        <a:pt x="47742" y="0"/>
                      </a:cubicBezTo>
                      <a:cubicBezTo>
                        <a:pt x="51264" y="110"/>
                        <a:pt x="53576" y="2422"/>
                        <a:pt x="55557" y="4293"/>
                      </a:cubicBezTo>
                      <a:cubicBezTo>
                        <a:pt x="59409" y="8035"/>
                        <a:pt x="67225" y="35663"/>
                        <a:pt x="67114" y="39735"/>
                      </a:cubicBezTo>
                      <a:cubicBezTo>
                        <a:pt x="67004" y="44908"/>
                        <a:pt x="61060" y="47550"/>
                        <a:pt x="60951" y="55475"/>
                      </a:cubicBezTo>
                      <a:cubicBezTo>
                        <a:pt x="58969" y="55035"/>
                        <a:pt x="54787" y="44688"/>
                        <a:pt x="54897" y="43808"/>
                      </a:cubicBezTo>
                      <a:lnTo>
                        <a:pt x="55337" y="45569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65" name="Freeform: Shape 364">
                  <a:extLst>
                    <a:ext uri="{FF2B5EF4-FFF2-40B4-BE49-F238E27FC236}">
                      <a16:creationId xmlns:a16="http://schemas.microsoft.com/office/drawing/2014/main" id="{28FCE3A0-4835-4774-8BFF-BE4965BDC525}"/>
                    </a:ext>
                  </a:extLst>
                </p:cNvPr>
                <p:cNvSpPr/>
                <p:nvPr/>
              </p:nvSpPr>
              <p:spPr>
                <a:xfrm>
                  <a:off x="5094111" y="3648560"/>
                  <a:ext cx="33021" cy="33021"/>
                </a:xfrm>
                <a:custGeom>
                  <a:avLst/>
                  <a:gdLst>
                    <a:gd name="connsiteX0" fmla="*/ 3412 w 33020"/>
                    <a:gd name="connsiteY0" fmla="*/ 35222 h 33020"/>
                    <a:gd name="connsiteX1" fmla="*/ 0 w 33020"/>
                    <a:gd name="connsiteY1" fmla="*/ 35112 h 33020"/>
                    <a:gd name="connsiteX2" fmla="*/ 27297 w 33020"/>
                    <a:gd name="connsiteY2" fmla="*/ 5944 h 33020"/>
                    <a:gd name="connsiteX3" fmla="*/ 29829 w 33020"/>
                    <a:gd name="connsiteY3" fmla="*/ 0 h 33020"/>
                    <a:gd name="connsiteX4" fmla="*/ 34012 w 33020"/>
                    <a:gd name="connsiteY4" fmla="*/ 7485 h 33020"/>
                    <a:gd name="connsiteX5" fmla="*/ 29169 w 33020"/>
                    <a:gd name="connsiteY5" fmla="*/ 10237 h 33020"/>
                    <a:gd name="connsiteX6" fmla="*/ 20803 w 33020"/>
                    <a:gd name="connsiteY6" fmla="*/ 15190 h 33020"/>
                    <a:gd name="connsiteX7" fmla="*/ 3412 w 33020"/>
                    <a:gd name="connsiteY7" fmla="*/ 35222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020" h="33020">
                      <a:moveTo>
                        <a:pt x="3412" y="35222"/>
                      </a:moveTo>
                      <a:lnTo>
                        <a:pt x="0" y="35112"/>
                      </a:lnTo>
                      <a:cubicBezTo>
                        <a:pt x="5063" y="21244"/>
                        <a:pt x="21684" y="15960"/>
                        <a:pt x="27297" y="5944"/>
                      </a:cubicBezTo>
                      <a:cubicBezTo>
                        <a:pt x="28288" y="3632"/>
                        <a:pt x="28398" y="1321"/>
                        <a:pt x="29829" y="0"/>
                      </a:cubicBezTo>
                      <a:cubicBezTo>
                        <a:pt x="29719" y="4623"/>
                        <a:pt x="32140" y="5614"/>
                        <a:pt x="34012" y="7485"/>
                      </a:cubicBezTo>
                      <a:cubicBezTo>
                        <a:pt x="32030" y="8916"/>
                        <a:pt x="31480" y="10237"/>
                        <a:pt x="29169" y="10237"/>
                      </a:cubicBezTo>
                      <a:cubicBezTo>
                        <a:pt x="28068" y="14419"/>
                        <a:pt x="24656" y="15300"/>
                        <a:pt x="20803" y="15190"/>
                      </a:cubicBezTo>
                      <a:cubicBezTo>
                        <a:pt x="18712" y="25756"/>
                        <a:pt x="9356" y="31590"/>
                        <a:pt x="3412" y="35222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66" name="Freeform: Shape 365">
                  <a:extLst>
                    <a:ext uri="{FF2B5EF4-FFF2-40B4-BE49-F238E27FC236}">
                      <a16:creationId xmlns:a16="http://schemas.microsoft.com/office/drawing/2014/main" id="{0BB68338-5213-41D1-8853-6850B3CBE7D3}"/>
                    </a:ext>
                  </a:extLst>
                </p:cNvPr>
                <p:cNvSpPr/>
                <p:nvPr/>
              </p:nvSpPr>
              <p:spPr>
                <a:xfrm>
                  <a:off x="5120939" y="3531666"/>
                  <a:ext cx="55035" cy="88056"/>
                </a:xfrm>
                <a:custGeom>
                  <a:avLst/>
                  <a:gdLst>
                    <a:gd name="connsiteX0" fmla="*/ 3439 w 55034"/>
                    <a:gd name="connsiteY0" fmla="*/ 37974 h 88055"/>
                    <a:gd name="connsiteX1" fmla="*/ 6632 w 55034"/>
                    <a:gd name="connsiteY1" fmla="*/ 24105 h 88055"/>
                    <a:gd name="connsiteX2" fmla="*/ 4430 w 55034"/>
                    <a:gd name="connsiteY2" fmla="*/ 9246 h 88055"/>
                    <a:gd name="connsiteX3" fmla="*/ 9383 w 55034"/>
                    <a:gd name="connsiteY3" fmla="*/ 0 h 88055"/>
                    <a:gd name="connsiteX4" fmla="*/ 17969 w 55034"/>
                    <a:gd name="connsiteY4" fmla="*/ 8475 h 88055"/>
                    <a:gd name="connsiteX5" fmla="*/ 24463 w 55034"/>
                    <a:gd name="connsiteY5" fmla="*/ 3963 h 88055"/>
                    <a:gd name="connsiteX6" fmla="*/ 25344 w 55034"/>
                    <a:gd name="connsiteY6" fmla="*/ 6274 h 88055"/>
                    <a:gd name="connsiteX7" fmla="*/ 26224 w 55034"/>
                    <a:gd name="connsiteY7" fmla="*/ 9576 h 88055"/>
                    <a:gd name="connsiteX8" fmla="*/ 32168 w 55034"/>
                    <a:gd name="connsiteY8" fmla="*/ 30599 h 88055"/>
                    <a:gd name="connsiteX9" fmla="*/ 23032 w 55034"/>
                    <a:gd name="connsiteY9" fmla="*/ 51292 h 88055"/>
                    <a:gd name="connsiteX10" fmla="*/ 34809 w 55034"/>
                    <a:gd name="connsiteY10" fmla="*/ 72316 h 88055"/>
                    <a:gd name="connsiteX11" fmla="*/ 34920 w 55034"/>
                    <a:gd name="connsiteY11" fmla="*/ 70004 h 88055"/>
                    <a:gd name="connsiteX12" fmla="*/ 40313 w 55034"/>
                    <a:gd name="connsiteY12" fmla="*/ 66372 h 88055"/>
                    <a:gd name="connsiteX13" fmla="*/ 50329 w 55034"/>
                    <a:gd name="connsiteY13" fmla="*/ 77269 h 88055"/>
                    <a:gd name="connsiteX14" fmla="*/ 54732 w 55034"/>
                    <a:gd name="connsiteY14" fmla="*/ 74077 h 88055"/>
                    <a:gd name="connsiteX15" fmla="*/ 57704 w 55034"/>
                    <a:gd name="connsiteY15" fmla="*/ 75067 h 88055"/>
                    <a:gd name="connsiteX16" fmla="*/ 54732 w 55034"/>
                    <a:gd name="connsiteY16" fmla="*/ 80571 h 88055"/>
                    <a:gd name="connsiteX17" fmla="*/ 58144 w 55034"/>
                    <a:gd name="connsiteY17" fmla="*/ 80681 h 88055"/>
                    <a:gd name="connsiteX18" fmla="*/ 64418 w 55034"/>
                    <a:gd name="connsiteY18" fmla="*/ 86295 h 88055"/>
                    <a:gd name="connsiteX19" fmla="*/ 64418 w 55034"/>
                    <a:gd name="connsiteY19" fmla="*/ 90037 h 88055"/>
                    <a:gd name="connsiteX20" fmla="*/ 62437 w 55034"/>
                    <a:gd name="connsiteY20" fmla="*/ 92789 h 88055"/>
                    <a:gd name="connsiteX21" fmla="*/ 60015 w 55034"/>
                    <a:gd name="connsiteY21" fmla="*/ 89046 h 88055"/>
                    <a:gd name="connsiteX22" fmla="*/ 42734 w 55034"/>
                    <a:gd name="connsiteY22" fmla="*/ 74847 h 88055"/>
                    <a:gd name="connsiteX23" fmla="*/ 43065 w 55034"/>
                    <a:gd name="connsiteY23" fmla="*/ 83653 h 88055"/>
                    <a:gd name="connsiteX24" fmla="*/ 29086 w 55034"/>
                    <a:gd name="connsiteY24" fmla="*/ 73196 h 88055"/>
                    <a:gd name="connsiteX25" fmla="*/ 21271 w 55034"/>
                    <a:gd name="connsiteY25" fmla="*/ 75838 h 88055"/>
                    <a:gd name="connsiteX26" fmla="*/ 14006 w 55034"/>
                    <a:gd name="connsiteY26" fmla="*/ 69234 h 88055"/>
                    <a:gd name="connsiteX27" fmla="*/ 17088 w 55034"/>
                    <a:gd name="connsiteY27" fmla="*/ 64171 h 88055"/>
                    <a:gd name="connsiteX28" fmla="*/ 17088 w 55034"/>
                    <a:gd name="connsiteY28" fmla="*/ 59548 h 88055"/>
                    <a:gd name="connsiteX29" fmla="*/ 14226 w 55034"/>
                    <a:gd name="connsiteY29" fmla="*/ 59438 h 88055"/>
                    <a:gd name="connsiteX30" fmla="*/ 10704 w 55034"/>
                    <a:gd name="connsiteY30" fmla="*/ 62630 h 88055"/>
                    <a:gd name="connsiteX31" fmla="*/ 138 w 55034"/>
                    <a:gd name="connsiteY31" fmla="*/ 54154 h 88055"/>
                    <a:gd name="connsiteX32" fmla="*/ 3439 w 55034"/>
                    <a:gd name="connsiteY32" fmla="*/ 37974 h 88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5034" h="88055">
                      <a:moveTo>
                        <a:pt x="3439" y="37974"/>
                      </a:moveTo>
                      <a:cubicBezTo>
                        <a:pt x="5421" y="34782"/>
                        <a:pt x="6521" y="28288"/>
                        <a:pt x="6632" y="24105"/>
                      </a:cubicBezTo>
                      <a:cubicBezTo>
                        <a:pt x="6742" y="18492"/>
                        <a:pt x="4320" y="14749"/>
                        <a:pt x="4430" y="9246"/>
                      </a:cubicBezTo>
                      <a:cubicBezTo>
                        <a:pt x="4540" y="4623"/>
                        <a:pt x="5531" y="0"/>
                        <a:pt x="9383" y="0"/>
                      </a:cubicBezTo>
                      <a:cubicBezTo>
                        <a:pt x="14777" y="110"/>
                        <a:pt x="13676" y="8475"/>
                        <a:pt x="17969" y="8475"/>
                      </a:cubicBezTo>
                      <a:cubicBezTo>
                        <a:pt x="20941" y="8475"/>
                        <a:pt x="22371" y="4843"/>
                        <a:pt x="24463" y="3963"/>
                      </a:cubicBezTo>
                      <a:cubicBezTo>
                        <a:pt x="24463" y="4403"/>
                        <a:pt x="25344" y="5834"/>
                        <a:pt x="25344" y="6274"/>
                      </a:cubicBezTo>
                      <a:cubicBezTo>
                        <a:pt x="25344" y="7265"/>
                        <a:pt x="26224" y="8585"/>
                        <a:pt x="26224" y="9576"/>
                      </a:cubicBezTo>
                      <a:cubicBezTo>
                        <a:pt x="26114" y="15630"/>
                        <a:pt x="32388" y="22674"/>
                        <a:pt x="32168" y="30599"/>
                      </a:cubicBezTo>
                      <a:cubicBezTo>
                        <a:pt x="31948" y="40836"/>
                        <a:pt x="23252" y="41606"/>
                        <a:pt x="23032" y="51292"/>
                      </a:cubicBezTo>
                      <a:cubicBezTo>
                        <a:pt x="22922" y="58227"/>
                        <a:pt x="29526" y="70004"/>
                        <a:pt x="34809" y="72316"/>
                      </a:cubicBezTo>
                      <a:cubicBezTo>
                        <a:pt x="34809" y="71875"/>
                        <a:pt x="34809" y="70444"/>
                        <a:pt x="34920" y="70004"/>
                      </a:cubicBezTo>
                      <a:cubicBezTo>
                        <a:pt x="34920" y="68243"/>
                        <a:pt x="37451" y="66372"/>
                        <a:pt x="40313" y="66372"/>
                      </a:cubicBezTo>
                      <a:cubicBezTo>
                        <a:pt x="46147" y="66482"/>
                        <a:pt x="47467" y="77269"/>
                        <a:pt x="50329" y="77269"/>
                      </a:cubicBezTo>
                      <a:cubicBezTo>
                        <a:pt x="52310" y="77269"/>
                        <a:pt x="52751" y="74077"/>
                        <a:pt x="54732" y="74077"/>
                      </a:cubicBezTo>
                      <a:cubicBezTo>
                        <a:pt x="55723" y="74077"/>
                        <a:pt x="56713" y="75067"/>
                        <a:pt x="57704" y="75067"/>
                      </a:cubicBezTo>
                      <a:cubicBezTo>
                        <a:pt x="57153" y="77819"/>
                        <a:pt x="54732" y="78259"/>
                        <a:pt x="54732" y="80571"/>
                      </a:cubicBezTo>
                      <a:cubicBezTo>
                        <a:pt x="54732" y="81451"/>
                        <a:pt x="57153" y="81121"/>
                        <a:pt x="58144" y="80681"/>
                      </a:cubicBezTo>
                      <a:cubicBezTo>
                        <a:pt x="58144" y="84313"/>
                        <a:pt x="61006" y="86295"/>
                        <a:pt x="64418" y="86295"/>
                      </a:cubicBezTo>
                      <a:cubicBezTo>
                        <a:pt x="64418" y="87725"/>
                        <a:pt x="64418" y="88606"/>
                        <a:pt x="64418" y="90037"/>
                      </a:cubicBezTo>
                      <a:cubicBezTo>
                        <a:pt x="64308" y="90917"/>
                        <a:pt x="63428" y="92789"/>
                        <a:pt x="62437" y="92789"/>
                      </a:cubicBezTo>
                      <a:cubicBezTo>
                        <a:pt x="61006" y="92789"/>
                        <a:pt x="60456" y="90477"/>
                        <a:pt x="60015" y="89046"/>
                      </a:cubicBezTo>
                      <a:cubicBezTo>
                        <a:pt x="57153" y="83433"/>
                        <a:pt x="45596" y="79030"/>
                        <a:pt x="42734" y="74847"/>
                      </a:cubicBezTo>
                      <a:cubicBezTo>
                        <a:pt x="40203" y="78039"/>
                        <a:pt x="41634" y="79910"/>
                        <a:pt x="43065" y="83653"/>
                      </a:cubicBezTo>
                      <a:cubicBezTo>
                        <a:pt x="36240" y="83543"/>
                        <a:pt x="35910" y="73306"/>
                        <a:pt x="29086" y="73196"/>
                      </a:cubicBezTo>
                      <a:cubicBezTo>
                        <a:pt x="26224" y="73196"/>
                        <a:pt x="24133" y="75948"/>
                        <a:pt x="21271" y="75838"/>
                      </a:cubicBezTo>
                      <a:cubicBezTo>
                        <a:pt x="17859" y="75728"/>
                        <a:pt x="14006" y="71545"/>
                        <a:pt x="14006" y="69234"/>
                      </a:cubicBezTo>
                      <a:cubicBezTo>
                        <a:pt x="14006" y="66372"/>
                        <a:pt x="16098" y="65051"/>
                        <a:pt x="17088" y="64171"/>
                      </a:cubicBezTo>
                      <a:lnTo>
                        <a:pt x="17088" y="59548"/>
                      </a:lnTo>
                      <a:lnTo>
                        <a:pt x="14226" y="59438"/>
                      </a:lnTo>
                      <a:cubicBezTo>
                        <a:pt x="13126" y="60758"/>
                        <a:pt x="12135" y="62630"/>
                        <a:pt x="10704" y="62630"/>
                      </a:cubicBezTo>
                      <a:cubicBezTo>
                        <a:pt x="8723" y="62630"/>
                        <a:pt x="27" y="56906"/>
                        <a:pt x="138" y="54154"/>
                      </a:cubicBezTo>
                      <a:cubicBezTo>
                        <a:pt x="358" y="46670"/>
                        <a:pt x="-1404" y="36983"/>
                        <a:pt x="3439" y="3797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67" name="Freeform: Shape 366">
                  <a:extLst>
                    <a:ext uri="{FF2B5EF4-FFF2-40B4-BE49-F238E27FC236}">
                      <a16:creationId xmlns:a16="http://schemas.microsoft.com/office/drawing/2014/main" id="{1191212F-2408-4597-BB2A-AA5B21565357}"/>
                    </a:ext>
                  </a:extLst>
                </p:cNvPr>
                <p:cNvSpPr/>
                <p:nvPr/>
              </p:nvSpPr>
              <p:spPr>
                <a:xfrm>
                  <a:off x="5187559" y="3625446"/>
                  <a:ext cx="11007" cy="33021"/>
                </a:xfrm>
                <a:custGeom>
                  <a:avLst/>
                  <a:gdLst>
                    <a:gd name="connsiteX0" fmla="*/ 19592 w 11006"/>
                    <a:gd name="connsiteY0" fmla="*/ 24545 h 33020"/>
                    <a:gd name="connsiteX1" fmla="*/ 12328 w 11006"/>
                    <a:gd name="connsiteY1" fmla="*/ 24435 h 33020"/>
                    <a:gd name="connsiteX2" fmla="*/ 16510 w 11006"/>
                    <a:gd name="connsiteY2" fmla="*/ 33791 h 33020"/>
                    <a:gd name="connsiteX3" fmla="*/ 16400 w 11006"/>
                    <a:gd name="connsiteY3" fmla="*/ 36543 h 33020"/>
                    <a:gd name="connsiteX4" fmla="*/ 11998 w 11006"/>
                    <a:gd name="connsiteY4" fmla="*/ 36433 h 33020"/>
                    <a:gd name="connsiteX5" fmla="*/ 9686 w 11006"/>
                    <a:gd name="connsiteY5" fmla="*/ 29829 h 33020"/>
                    <a:gd name="connsiteX6" fmla="*/ 9796 w 11006"/>
                    <a:gd name="connsiteY6" fmla="*/ 27077 h 33020"/>
                    <a:gd name="connsiteX7" fmla="*/ 2531 w 11006"/>
                    <a:gd name="connsiteY7" fmla="*/ 20913 h 33020"/>
                    <a:gd name="connsiteX8" fmla="*/ 2531 w 11006"/>
                    <a:gd name="connsiteY8" fmla="*/ 18051 h 33020"/>
                    <a:gd name="connsiteX9" fmla="*/ 8916 w 11006"/>
                    <a:gd name="connsiteY9" fmla="*/ 18161 h 33020"/>
                    <a:gd name="connsiteX10" fmla="*/ 11447 w 11006"/>
                    <a:gd name="connsiteY10" fmla="*/ 15410 h 33020"/>
                    <a:gd name="connsiteX11" fmla="*/ 0 w 11006"/>
                    <a:gd name="connsiteY11" fmla="*/ 1761 h 33020"/>
                    <a:gd name="connsiteX12" fmla="*/ 4403 w 11006"/>
                    <a:gd name="connsiteY12" fmla="*/ 0 h 33020"/>
                    <a:gd name="connsiteX13" fmla="*/ 15079 w 11006"/>
                    <a:gd name="connsiteY13" fmla="*/ 2091 h 33020"/>
                    <a:gd name="connsiteX14" fmla="*/ 14969 w 11006"/>
                    <a:gd name="connsiteY14" fmla="*/ 6714 h 33020"/>
                    <a:gd name="connsiteX15" fmla="*/ 17941 w 11006"/>
                    <a:gd name="connsiteY15" fmla="*/ 6824 h 33020"/>
                    <a:gd name="connsiteX16" fmla="*/ 17831 w 11006"/>
                    <a:gd name="connsiteY16" fmla="*/ 14199 h 33020"/>
                    <a:gd name="connsiteX17" fmla="*/ 21684 w 11006"/>
                    <a:gd name="connsiteY17" fmla="*/ 18382 h 33020"/>
                    <a:gd name="connsiteX18" fmla="*/ 19592 w 11006"/>
                    <a:gd name="connsiteY18" fmla="*/ 24545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1006" h="33020">
                      <a:moveTo>
                        <a:pt x="19592" y="24545"/>
                      </a:moveTo>
                      <a:lnTo>
                        <a:pt x="12328" y="24435"/>
                      </a:lnTo>
                      <a:cubicBezTo>
                        <a:pt x="12768" y="28178"/>
                        <a:pt x="14639" y="32801"/>
                        <a:pt x="16510" y="33791"/>
                      </a:cubicBezTo>
                      <a:lnTo>
                        <a:pt x="16400" y="36543"/>
                      </a:lnTo>
                      <a:cubicBezTo>
                        <a:pt x="14969" y="36543"/>
                        <a:pt x="13538" y="36433"/>
                        <a:pt x="11998" y="36433"/>
                      </a:cubicBezTo>
                      <a:cubicBezTo>
                        <a:pt x="8585" y="36433"/>
                        <a:pt x="7705" y="32691"/>
                        <a:pt x="9686" y="29829"/>
                      </a:cubicBezTo>
                      <a:lnTo>
                        <a:pt x="9796" y="27077"/>
                      </a:lnTo>
                      <a:cubicBezTo>
                        <a:pt x="6384" y="27077"/>
                        <a:pt x="3082" y="22234"/>
                        <a:pt x="2531" y="20913"/>
                      </a:cubicBezTo>
                      <a:lnTo>
                        <a:pt x="2531" y="18051"/>
                      </a:lnTo>
                      <a:cubicBezTo>
                        <a:pt x="4953" y="18161"/>
                        <a:pt x="8365" y="18161"/>
                        <a:pt x="8916" y="18161"/>
                      </a:cubicBezTo>
                      <a:cubicBezTo>
                        <a:pt x="9906" y="18161"/>
                        <a:pt x="11337" y="16400"/>
                        <a:pt x="11447" y="15410"/>
                      </a:cubicBezTo>
                      <a:cubicBezTo>
                        <a:pt x="11667" y="8916"/>
                        <a:pt x="880" y="5503"/>
                        <a:pt x="0" y="1761"/>
                      </a:cubicBezTo>
                      <a:cubicBezTo>
                        <a:pt x="1431" y="1321"/>
                        <a:pt x="2972" y="0"/>
                        <a:pt x="4403" y="0"/>
                      </a:cubicBezTo>
                      <a:cubicBezTo>
                        <a:pt x="8255" y="110"/>
                        <a:pt x="11227" y="1981"/>
                        <a:pt x="15079" y="2091"/>
                      </a:cubicBezTo>
                      <a:cubicBezTo>
                        <a:pt x="15079" y="3522"/>
                        <a:pt x="15520" y="5283"/>
                        <a:pt x="14969" y="6714"/>
                      </a:cubicBezTo>
                      <a:cubicBezTo>
                        <a:pt x="15960" y="6714"/>
                        <a:pt x="16950" y="6714"/>
                        <a:pt x="17941" y="6824"/>
                      </a:cubicBezTo>
                      <a:cubicBezTo>
                        <a:pt x="18381" y="9576"/>
                        <a:pt x="17831" y="14199"/>
                        <a:pt x="17831" y="14199"/>
                      </a:cubicBezTo>
                      <a:cubicBezTo>
                        <a:pt x="17831" y="14199"/>
                        <a:pt x="21133" y="18382"/>
                        <a:pt x="21684" y="18382"/>
                      </a:cubicBezTo>
                      <a:cubicBezTo>
                        <a:pt x="21023" y="21353"/>
                        <a:pt x="20143" y="22674"/>
                        <a:pt x="19592" y="2454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68" name="Freeform: Shape 367">
                  <a:extLst>
                    <a:ext uri="{FF2B5EF4-FFF2-40B4-BE49-F238E27FC236}">
                      <a16:creationId xmlns:a16="http://schemas.microsoft.com/office/drawing/2014/main" id="{4A4ABFAF-E149-44B9-8810-C7F803118068}"/>
                    </a:ext>
                  </a:extLst>
                </p:cNvPr>
                <p:cNvSpPr/>
                <p:nvPr/>
              </p:nvSpPr>
              <p:spPr>
                <a:xfrm>
                  <a:off x="5155744" y="3635242"/>
                  <a:ext cx="11007" cy="22014"/>
                </a:xfrm>
                <a:custGeom>
                  <a:avLst/>
                  <a:gdLst>
                    <a:gd name="connsiteX0" fmla="*/ 3417 w 11006"/>
                    <a:gd name="connsiteY0" fmla="*/ 440 h 22013"/>
                    <a:gd name="connsiteX1" fmla="*/ 17396 w 11006"/>
                    <a:gd name="connsiteY1" fmla="*/ 8585 h 22013"/>
                    <a:gd name="connsiteX2" fmla="*/ 1546 w 11006"/>
                    <a:gd name="connsiteY2" fmla="*/ 23225 h 22013"/>
                    <a:gd name="connsiteX3" fmla="*/ 5 w 11006"/>
                    <a:gd name="connsiteY3" fmla="*/ 2311 h 22013"/>
                    <a:gd name="connsiteX4" fmla="*/ 2977 w 11006"/>
                    <a:gd name="connsiteY4" fmla="*/ 0 h 22013"/>
                    <a:gd name="connsiteX5" fmla="*/ 5839 w 11006"/>
                    <a:gd name="connsiteY5" fmla="*/ 2422 h 22013"/>
                    <a:gd name="connsiteX6" fmla="*/ 3417 w 11006"/>
                    <a:gd name="connsiteY6" fmla="*/ 440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006" h="22013">
                      <a:moveTo>
                        <a:pt x="3417" y="440"/>
                      </a:moveTo>
                      <a:cubicBezTo>
                        <a:pt x="5399" y="2862"/>
                        <a:pt x="17506" y="4403"/>
                        <a:pt x="17396" y="8585"/>
                      </a:cubicBezTo>
                      <a:cubicBezTo>
                        <a:pt x="17286" y="16510"/>
                        <a:pt x="5949" y="20473"/>
                        <a:pt x="1546" y="23225"/>
                      </a:cubicBezTo>
                      <a:cubicBezTo>
                        <a:pt x="1656" y="15300"/>
                        <a:pt x="-105" y="6494"/>
                        <a:pt x="5" y="2311"/>
                      </a:cubicBezTo>
                      <a:cubicBezTo>
                        <a:pt x="5" y="1321"/>
                        <a:pt x="1986" y="0"/>
                        <a:pt x="2977" y="0"/>
                      </a:cubicBezTo>
                      <a:cubicBezTo>
                        <a:pt x="3968" y="0"/>
                        <a:pt x="5399" y="1871"/>
                        <a:pt x="5839" y="2422"/>
                      </a:cubicBezTo>
                      <a:lnTo>
                        <a:pt x="3417" y="44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69" name="Freeform: Shape 368">
                  <a:extLst>
                    <a:ext uri="{FF2B5EF4-FFF2-40B4-BE49-F238E27FC236}">
                      <a16:creationId xmlns:a16="http://schemas.microsoft.com/office/drawing/2014/main" id="{891DA907-2FD2-4B5B-8AAA-15F1FB32381C}"/>
                    </a:ext>
                  </a:extLst>
                </p:cNvPr>
                <p:cNvSpPr/>
                <p:nvPr/>
              </p:nvSpPr>
              <p:spPr>
                <a:xfrm>
                  <a:off x="5165875" y="3650055"/>
                  <a:ext cx="11007" cy="22014"/>
                </a:xfrm>
                <a:custGeom>
                  <a:avLst/>
                  <a:gdLst>
                    <a:gd name="connsiteX0" fmla="*/ 16841 w 11006"/>
                    <a:gd name="connsiteY0" fmla="*/ 5551 h 22013"/>
                    <a:gd name="connsiteX1" fmla="*/ 11227 w 11006"/>
                    <a:gd name="connsiteY1" fmla="*/ 20300 h 22013"/>
                    <a:gd name="connsiteX2" fmla="*/ 13538 w 11006"/>
                    <a:gd name="connsiteY2" fmla="*/ 26354 h 22013"/>
                    <a:gd name="connsiteX3" fmla="*/ 10567 w 11006"/>
                    <a:gd name="connsiteY3" fmla="*/ 28666 h 22013"/>
                    <a:gd name="connsiteX4" fmla="*/ 0 w 11006"/>
                    <a:gd name="connsiteY4" fmla="*/ 16448 h 22013"/>
                    <a:gd name="connsiteX5" fmla="*/ 4403 w 11006"/>
                    <a:gd name="connsiteY5" fmla="*/ 13696 h 22013"/>
                    <a:gd name="connsiteX6" fmla="*/ 9576 w 11006"/>
                    <a:gd name="connsiteY6" fmla="*/ 268 h 22013"/>
                    <a:gd name="connsiteX7" fmla="*/ 16841 w 11006"/>
                    <a:gd name="connsiteY7" fmla="*/ 5551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006" h="22013">
                      <a:moveTo>
                        <a:pt x="16841" y="5551"/>
                      </a:moveTo>
                      <a:cubicBezTo>
                        <a:pt x="16730" y="11165"/>
                        <a:pt x="11337" y="14687"/>
                        <a:pt x="11227" y="20300"/>
                      </a:cubicBezTo>
                      <a:cubicBezTo>
                        <a:pt x="11117" y="24483"/>
                        <a:pt x="13649" y="23602"/>
                        <a:pt x="13538" y="26354"/>
                      </a:cubicBezTo>
                      <a:cubicBezTo>
                        <a:pt x="13538" y="27235"/>
                        <a:pt x="11557" y="28666"/>
                        <a:pt x="10567" y="28666"/>
                      </a:cubicBezTo>
                      <a:cubicBezTo>
                        <a:pt x="8585" y="28666"/>
                        <a:pt x="0" y="19640"/>
                        <a:pt x="0" y="16448"/>
                      </a:cubicBezTo>
                      <a:cubicBezTo>
                        <a:pt x="0" y="15017"/>
                        <a:pt x="2972" y="13696"/>
                        <a:pt x="4403" y="13696"/>
                      </a:cubicBezTo>
                      <a:cubicBezTo>
                        <a:pt x="4513" y="12265"/>
                        <a:pt x="7154" y="708"/>
                        <a:pt x="9576" y="268"/>
                      </a:cubicBezTo>
                      <a:cubicBezTo>
                        <a:pt x="14529" y="-1053"/>
                        <a:pt x="16950" y="2799"/>
                        <a:pt x="16841" y="555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70" name="Freeform: Shape 369">
                  <a:extLst>
                    <a:ext uri="{FF2B5EF4-FFF2-40B4-BE49-F238E27FC236}">
                      <a16:creationId xmlns:a16="http://schemas.microsoft.com/office/drawing/2014/main" id="{1AE51072-DF55-4667-9202-EDB0121E3216}"/>
                    </a:ext>
                  </a:extLst>
                </p:cNvPr>
                <p:cNvSpPr/>
                <p:nvPr/>
              </p:nvSpPr>
              <p:spPr>
                <a:xfrm>
                  <a:off x="5180075" y="3650982"/>
                  <a:ext cx="11007" cy="11007"/>
                </a:xfrm>
                <a:custGeom>
                  <a:avLst/>
                  <a:gdLst>
                    <a:gd name="connsiteX0" fmla="*/ 9026 w 0"/>
                    <a:gd name="connsiteY0" fmla="*/ 0 h 11006"/>
                    <a:gd name="connsiteX1" fmla="*/ 2422 w 0"/>
                    <a:gd name="connsiteY1" fmla="*/ 17611 h 11006"/>
                    <a:gd name="connsiteX2" fmla="*/ 0 w 0"/>
                    <a:gd name="connsiteY2" fmla="*/ 17611 h 11006"/>
                    <a:gd name="connsiteX3" fmla="*/ 4733 w 0"/>
                    <a:gd name="connsiteY3" fmla="*/ 0 h 11006"/>
                    <a:gd name="connsiteX4" fmla="*/ 9026 w 0"/>
                    <a:gd name="connsiteY4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h="11006">
                      <a:moveTo>
                        <a:pt x="9026" y="0"/>
                      </a:moveTo>
                      <a:cubicBezTo>
                        <a:pt x="8916" y="8365"/>
                        <a:pt x="2532" y="10567"/>
                        <a:pt x="2422" y="17611"/>
                      </a:cubicBezTo>
                      <a:cubicBezTo>
                        <a:pt x="1982" y="17611"/>
                        <a:pt x="440" y="17611"/>
                        <a:pt x="0" y="17611"/>
                      </a:cubicBezTo>
                      <a:cubicBezTo>
                        <a:pt x="1541" y="12108"/>
                        <a:pt x="4513" y="8365"/>
                        <a:pt x="4733" y="0"/>
                      </a:cubicBezTo>
                      <a:cubicBezTo>
                        <a:pt x="6164" y="0"/>
                        <a:pt x="7595" y="0"/>
                        <a:pt x="9026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71" name="Freeform: Shape 370">
                  <a:extLst>
                    <a:ext uri="{FF2B5EF4-FFF2-40B4-BE49-F238E27FC236}">
                      <a16:creationId xmlns:a16="http://schemas.microsoft.com/office/drawing/2014/main" id="{51DA4435-71ED-49F0-99C9-A4FF5D7826E2}"/>
                    </a:ext>
                  </a:extLst>
                </p:cNvPr>
                <p:cNvSpPr/>
                <p:nvPr/>
              </p:nvSpPr>
              <p:spPr>
                <a:xfrm>
                  <a:off x="5184477" y="3662649"/>
                  <a:ext cx="11007" cy="11007"/>
                </a:xfrm>
                <a:custGeom>
                  <a:avLst/>
                  <a:gdLst>
                    <a:gd name="connsiteX0" fmla="*/ 10787 w 0"/>
                    <a:gd name="connsiteY0" fmla="*/ 110 h 0"/>
                    <a:gd name="connsiteX1" fmla="*/ 2862 w 0"/>
                    <a:gd name="connsiteY1" fmla="*/ 9246 h 0"/>
                    <a:gd name="connsiteX2" fmla="*/ 0 w 0"/>
                    <a:gd name="connsiteY2" fmla="*/ 6934 h 0"/>
                    <a:gd name="connsiteX3" fmla="*/ 4513 w 0"/>
                    <a:gd name="connsiteY3" fmla="*/ 0 h 0"/>
                    <a:gd name="connsiteX4" fmla="*/ 10787 w 0"/>
                    <a:gd name="connsiteY4" fmla="*/ 11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>
                      <a:moveTo>
                        <a:pt x="10787" y="110"/>
                      </a:moveTo>
                      <a:cubicBezTo>
                        <a:pt x="10677" y="5283"/>
                        <a:pt x="7265" y="9356"/>
                        <a:pt x="2862" y="9246"/>
                      </a:cubicBezTo>
                      <a:cubicBezTo>
                        <a:pt x="1871" y="9246"/>
                        <a:pt x="0" y="7815"/>
                        <a:pt x="0" y="6934"/>
                      </a:cubicBezTo>
                      <a:cubicBezTo>
                        <a:pt x="0" y="4183"/>
                        <a:pt x="2972" y="2862"/>
                        <a:pt x="4513" y="0"/>
                      </a:cubicBezTo>
                      <a:cubicBezTo>
                        <a:pt x="6934" y="991"/>
                        <a:pt x="9246" y="1981"/>
                        <a:pt x="10787" y="11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72" name="Freeform: Shape 371">
                  <a:extLst>
                    <a:ext uri="{FF2B5EF4-FFF2-40B4-BE49-F238E27FC236}">
                      <a16:creationId xmlns:a16="http://schemas.microsoft.com/office/drawing/2014/main" id="{33ECF197-355C-4A90-BCA6-9E09E22B8DA0}"/>
                    </a:ext>
                  </a:extLst>
                </p:cNvPr>
                <p:cNvSpPr/>
                <p:nvPr/>
              </p:nvSpPr>
              <p:spPr>
                <a:xfrm>
                  <a:off x="5172919" y="3625225"/>
                  <a:ext cx="11007" cy="11007"/>
                </a:xfrm>
                <a:custGeom>
                  <a:avLst/>
                  <a:gdLst>
                    <a:gd name="connsiteX0" fmla="*/ 0 w 11006"/>
                    <a:gd name="connsiteY0" fmla="*/ 6934 h 11006"/>
                    <a:gd name="connsiteX1" fmla="*/ 110 w 11006"/>
                    <a:gd name="connsiteY1" fmla="*/ 0 h 11006"/>
                    <a:gd name="connsiteX2" fmla="*/ 4513 w 11006"/>
                    <a:gd name="connsiteY2" fmla="*/ 110 h 11006"/>
                    <a:gd name="connsiteX3" fmla="*/ 12108 w 11006"/>
                    <a:gd name="connsiteY3" fmla="*/ 11888 h 11006"/>
                    <a:gd name="connsiteX4" fmla="*/ 6824 w 11006"/>
                    <a:gd name="connsiteY4" fmla="*/ 7154 h 11006"/>
                    <a:gd name="connsiteX5" fmla="*/ 0 w 11006"/>
                    <a:gd name="connsiteY5" fmla="*/ 6934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06" h="11006">
                      <a:moveTo>
                        <a:pt x="0" y="6934"/>
                      </a:moveTo>
                      <a:cubicBezTo>
                        <a:pt x="0" y="3632"/>
                        <a:pt x="0" y="1871"/>
                        <a:pt x="110" y="0"/>
                      </a:cubicBezTo>
                      <a:lnTo>
                        <a:pt x="4513" y="110"/>
                      </a:lnTo>
                      <a:cubicBezTo>
                        <a:pt x="5944" y="4293"/>
                        <a:pt x="12218" y="5834"/>
                        <a:pt x="12108" y="11888"/>
                      </a:cubicBezTo>
                      <a:cubicBezTo>
                        <a:pt x="11998" y="14199"/>
                        <a:pt x="6714" y="9466"/>
                        <a:pt x="6824" y="7154"/>
                      </a:cubicBezTo>
                      <a:cubicBezTo>
                        <a:pt x="4403" y="6604"/>
                        <a:pt x="2422" y="7044"/>
                        <a:pt x="0" y="693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73" name="Freeform: Shape 372">
                  <a:extLst>
                    <a:ext uri="{FF2B5EF4-FFF2-40B4-BE49-F238E27FC236}">
                      <a16:creationId xmlns:a16="http://schemas.microsoft.com/office/drawing/2014/main" id="{F98BC102-B9CA-444B-B4E8-1AA0E539A4B5}"/>
                    </a:ext>
                  </a:extLst>
                </p:cNvPr>
                <p:cNvSpPr/>
                <p:nvPr/>
              </p:nvSpPr>
              <p:spPr>
                <a:xfrm>
                  <a:off x="5132415" y="3610696"/>
                  <a:ext cx="11007" cy="11007"/>
                </a:xfrm>
                <a:custGeom>
                  <a:avLst/>
                  <a:gdLst>
                    <a:gd name="connsiteX0" fmla="*/ 13759 w 11006"/>
                    <a:gd name="connsiteY0" fmla="*/ 17831 h 11006"/>
                    <a:gd name="connsiteX1" fmla="*/ 0 w 11006"/>
                    <a:gd name="connsiteY1" fmla="*/ 0 h 11006"/>
                    <a:gd name="connsiteX2" fmla="*/ 4843 w 11006"/>
                    <a:gd name="connsiteY2" fmla="*/ 110 h 11006"/>
                    <a:gd name="connsiteX3" fmla="*/ 17391 w 11006"/>
                    <a:gd name="connsiteY3" fmla="*/ 8696 h 11006"/>
                    <a:gd name="connsiteX4" fmla="*/ 13759 w 11006"/>
                    <a:gd name="connsiteY4" fmla="*/ 17831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 h="11006">
                      <a:moveTo>
                        <a:pt x="13759" y="17831"/>
                      </a:moveTo>
                      <a:cubicBezTo>
                        <a:pt x="10787" y="17831"/>
                        <a:pt x="0" y="0"/>
                        <a:pt x="0" y="0"/>
                      </a:cubicBezTo>
                      <a:lnTo>
                        <a:pt x="4843" y="110"/>
                      </a:lnTo>
                      <a:cubicBezTo>
                        <a:pt x="10567" y="3853"/>
                        <a:pt x="15960" y="3082"/>
                        <a:pt x="17391" y="8696"/>
                      </a:cubicBezTo>
                      <a:cubicBezTo>
                        <a:pt x="18272" y="12328"/>
                        <a:pt x="15740" y="17831"/>
                        <a:pt x="13759" y="1783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74" name="Freeform: Shape 373">
                  <a:extLst>
                    <a:ext uri="{FF2B5EF4-FFF2-40B4-BE49-F238E27FC236}">
                      <a16:creationId xmlns:a16="http://schemas.microsoft.com/office/drawing/2014/main" id="{1640287A-F2D3-4212-A885-7A6E8711931A}"/>
                    </a:ext>
                  </a:extLst>
                </p:cNvPr>
                <p:cNvSpPr/>
                <p:nvPr/>
              </p:nvSpPr>
              <p:spPr>
                <a:xfrm>
                  <a:off x="5151346" y="3613290"/>
                  <a:ext cx="11007" cy="11007"/>
                </a:xfrm>
                <a:custGeom>
                  <a:avLst/>
                  <a:gdLst>
                    <a:gd name="connsiteX0" fmla="*/ 0 w 0"/>
                    <a:gd name="connsiteY0" fmla="*/ 488 h 0"/>
                    <a:gd name="connsiteX1" fmla="*/ 4843 w 0"/>
                    <a:gd name="connsiteY1" fmla="*/ 599 h 0"/>
                    <a:gd name="connsiteX2" fmla="*/ 0 w 0"/>
                    <a:gd name="connsiteY2" fmla="*/ 488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>
                      <a:moveTo>
                        <a:pt x="0" y="488"/>
                      </a:moveTo>
                      <a:cubicBezTo>
                        <a:pt x="991" y="1479"/>
                        <a:pt x="3853" y="1039"/>
                        <a:pt x="4843" y="599"/>
                      </a:cubicBezTo>
                      <a:cubicBezTo>
                        <a:pt x="3853" y="-392"/>
                        <a:pt x="991" y="48"/>
                        <a:pt x="0" y="48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75" name="Freeform: Shape 374">
                  <a:extLst>
                    <a:ext uri="{FF2B5EF4-FFF2-40B4-BE49-F238E27FC236}">
                      <a16:creationId xmlns:a16="http://schemas.microsoft.com/office/drawing/2014/main" id="{87AAD580-6D18-4347-AC24-862780CE9C87}"/>
                    </a:ext>
                  </a:extLst>
                </p:cNvPr>
                <p:cNvSpPr/>
                <p:nvPr/>
              </p:nvSpPr>
              <p:spPr>
                <a:xfrm>
                  <a:off x="5125498" y="3420716"/>
                  <a:ext cx="22014" cy="44028"/>
                </a:xfrm>
                <a:custGeom>
                  <a:avLst/>
                  <a:gdLst>
                    <a:gd name="connsiteX0" fmla="*/ 8127 w 22013"/>
                    <a:gd name="connsiteY0" fmla="*/ 47000 h 44027"/>
                    <a:gd name="connsiteX1" fmla="*/ 91 w 22013"/>
                    <a:gd name="connsiteY1" fmla="*/ 32030 h 44027"/>
                    <a:gd name="connsiteX2" fmla="*/ 18803 w 22013"/>
                    <a:gd name="connsiteY2" fmla="*/ 0 h 44027"/>
                    <a:gd name="connsiteX3" fmla="*/ 8127 w 22013"/>
                    <a:gd name="connsiteY3" fmla="*/ 47000 h 44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013" h="44027">
                      <a:moveTo>
                        <a:pt x="8127" y="47000"/>
                      </a:moveTo>
                      <a:cubicBezTo>
                        <a:pt x="-1450" y="47000"/>
                        <a:pt x="91" y="40065"/>
                        <a:pt x="91" y="32030"/>
                      </a:cubicBezTo>
                      <a:cubicBezTo>
                        <a:pt x="91" y="20803"/>
                        <a:pt x="11318" y="0"/>
                        <a:pt x="18803" y="0"/>
                      </a:cubicBezTo>
                      <a:cubicBezTo>
                        <a:pt x="32122" y="110"/>
                        <a:pt x="20454" y="47000"/>
                        <a:pt x="8127" y="4700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76" name="Freeform: Shape 375">
                  <a:extLst>
                    <a:ext uri="{FF2B5EF4-FFF2-40B4-BE49-F238E27FC236}">
                      <a16:creationId xmlns:a16="http://schemas.microsoft.com/office/drawing/2014/main" id="{D420902F-939A-4919-A562-54FB66407F3F}"/>
                    </a:ext>
                  </a:extLst>
                </p:cNvPr>
                <p:cNvSpPr/>
                <p:nvPr/>
              </p:nvSpPr>
              <p:spPr>
                <a:xfrm>
                  <a:off x="4950062" y="3503488"/>
                  <a:ext cx="33021" cy="22014"/>
                </a:xfrm>
                <a:custGeom>
                  <a:avLst/>
                  <a:gdLst>
                    <a:gd name="connsiteX0" fmla="*/ 1178 w 33020"/>
                    <a:gd name="connsiteY0" fmla="*/ 13318 h 22013"/>
                    <a:gd name="connsiteX1" fmla="*/ 30457 w 33020"/>
                    <a:gd name="connsiteY1" fmla="*/ 0 h 22013"/>
                    <a:gd name="connsiteX2" fmla="*/ 36841 w 33020"/>
                    <a:gd name="connsiteY2" fmla="*/ 7925 h 22013"/>
                    <a:gd name="connsiteX3" fmla="*/ 12846 w 33020"/>
                    <a:gd name="connsiteY3" fmla="*/ 31920 h 22013"/>
                    <a:gd name="connsiteX4" fmla="*/ 1068 w 33020"/>
                    <a:gd name="connsiteY4" fmla="*/ 21243 h 22013"/>
                    <a:gd name="connsiteX5" fmla="*/ 1178 w 33020"/>
                    <a:gd name="connsiteY5" fmla="*/ 13318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3020" h="22013">
                      <a:moveTo>
                        <a:pt x="1178" y="13318"/>
                      </a:moveTo>
                      <a:cubicBezTo>
                        <a:pt x="5361" y="13318"/>
                        <a:pt x="23632" y="0"/>
                        <a:pt x="30457" y="0"/>
                      </a:cubicBezTo>
                      <a:cubicBezTo>
                        <a:pt x="33098" y="0"/>
                        <a:pt x="36841" y="4733"/>
                        <a:pt x="36841" y="7925"/>
                      </a:cubicBezTo>
                      <a:cubicBezTo>
                        <a:pt x="36841" y="15410"/>
                        <a:pt x="20881" y="31920"/>
                        <a:pt x="12846" y="31920"/>
                      </a:cubicBezTo>
                      <a:cubicBezTo>
                        <a:pt x="4810" y="31920"/>
                        <a:pt x="1068" y="28178"/>
                        <a:pt x="1068" y="21243"/>
                      </a:cubicBezTo>
                      <a:cubicBezTo>
                        <a:pt x="1178" y="18161"/>
                        <a:pt x="-1464" y="13318"/>
                        <a:pt x="1178" y="13318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77" name="Freeform: Shape 376">
                  <a:extLst>
                    <a:ext uri="{FF2B5EF4-FFF2-40B4-BE49-F238E27FC236}">
                      <a16:creationId xmlns:a16="http://schemas.microsoft.com/office/drawing/2014/main" id="{8D143599-FCEC-483E-9044-29F172FD412A}"/>
                    </a:ext>
                  </a:extLst>
                </p:cNvPr>
                <p:cNvSpPr/>
                <p:nvPr/>
              </p:nvSpPr>
              <p:spPr>
                <a:xfrm>
                  <a:off x="4900497" y="3836889"/>
                  <a:ext cx="22014" cy="22014"/>
                </a:xfrm>
                <a:custGeom>
                  <a:avLst/>
                  <a:gdLst>
                    <a:gd name="connsiteX0" fmla="*/ 14419 w 22013"/>
                    <a:gd name="connsiteY0" fmla="*/ 20253 h 22013"/>
                    <a:gd name="connsiteX1" fmla="*/ 10677 w 22013"/>
                    <a:gd name="connsiteY1" fmla="*/ 12768 h 22013"/>
                    <a:gd name="connsiteX2" fmla="*/ 0 w 22013"/>
                    <a:gd name="connsiteY2" fmla="*/ 6934 h 22013"/>
                    <a:gd name="connsiteX3" fmla="*/ 11227 w 22013"/>
                    <a:gd name="connsiteY3" fmla="*/ 0 h 22013"/>
                    <a:gd name="connsiteX4" fmla="*/ 24546 w 22013"/>
                    <a:gd name="connsiteY4" fmla="*/ 18162 h 22013"/>
                    <a:gd name="connsiteX5" fmla="*/ 25096 w 22013"/>
                    <a:gd name="connsiteY5" fmla="*/ 23555 h 22013"/>
                    <a:gd name="connsiteX6" fmla="*/ 21354 w 22013"/>
                    <a:gd name="connsiteY6" fmla="*/ 23555 h 22013"/>
                    <a:gd name="connsiteX7" fmla="*/ 14419 w 22013"/>
                    <a:gd name="connsiteY7" fmla="*/ 20253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013" h="22013">
                      <a:moveTo>
                        <a:pt x="14419" y="20253"/>
                      </a:moveTo>
                      <a:cubicBezTo>
                        <a:pt x="13319" y="20253"/>
                        <a:pt x="11227" y="14419"/>
                        <a:pt x="10677" y="12768"/>
                      </a:cubicBezTo>
                      <a:cubicBezTo>
                        <a:pt x="8585" y="8475"/>
                        <a:pt x="0" y="11117"/>
                        <a:pt x="0" y="6934"/>
                      </a:cubicBezTo>
                      <a:cubicBezTo>
                        <a:pt x="0" y="4293"/>
                        <a:pt x="7485" y="550"/>
                        <a:pt x="11227" y="0"/>
                      </a:cubicBezTo>
                      <a:cubicBezTo>
                        <a:pt x="13869" y="8035"/>
                        <a:pt x="17061" y="18162"/>
                        <a:pt x="24546" y="18162"/>
                      </a:cubicBezTo>
                      <a:cubicBezTo>
                        <a:pt x="24546" y="19813"/>
                        <a:pt x="24546" y="21904"/>
                        <a:pt x="25096" y="23555"/>
                      </a:cubicBezTo>
                      <a:lnTo>
                        <a:pt x="21354" y="23555"/>
                      </a:lnTo>
                      <a:cubicBezTo>
                        <a:pt x="18161" y="23445"/>
                        <a:pt x="16621" y="20253"/>
                        <a:pt x="14419" y="2025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78" name="Freeform: Shape 377">
                  <a:extLst>
                    <a:ext uri="{FF2B5EF4-FFF2-40B4-BE49-F238E27FC236}">
                      <a16:creationId xmlns:a16="http://schemas.microsoft.com/office/drawing/2014/main" id="{DDEF38D4-2001-4F92-99F6-767CF4B67872}"/>
                    </a:ext>
                  </a:extLst>
                </p:cNvPr>
                <p:cNvSpPr/>
                <p:nvPr/>
              </p:nvSpPr>
              <p:spPr>
                <a:xfrm>
                  <a:off x="4938778" y="3854500"/>
                  <a:ext cx="11007" cy="11007"/>
                </a:xfrm>
                <a:custGeom>
                  <a:avLst/>
                  <a:gdLst>
                    <a:gd name="connsiteX0" fmla="*/ 245 w 0"/>
                    <a:gd name="connsiteY0" fmla="*/ 0 h 0"/>
                    <a:gd name="connsiteX1" fmla="*/ 5528 w 0"/>
                    <a:gd name="connsiteY1" fmla="*/ 0 h 0"/>
                    <a:gd name="connsiteX2" fmla="*/ 10371 w 0"/>
                    <a:gd name="connsiteY2" fmla="*/ 2642 h 0"/>
                    <a:gd name="connsiteX3" fmla="*/ 4427 w 0"/>
                    <a:gd name="connsiteY3" fmla="*/ 9026 h 0"/>
                    <a:gd name="connsiteX4" fmla="*/ 245 w 0"/>
                    <a:gd name="connsiteY4" fmla="*/ 2642 h 0"/>
                    <a:gd name="connsiteX5" fmla="*/ 245 w 0"/>
                    <a:gd name="connsiteY5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>
                      <a:moveTo>
                        <a:pt x="245" y="0"/>
                      </a:moveTo>
                      <a:lnTo>
                        <a:pt x="5528" y="0"/>
                      </a:lnTo>
                      <a:cubicBezTo>
                        <a:pt x="7179" y="0"/>
                        <a:pt x="8720" y="2201"/>
                        <a:pt x="10371" y="2642"/>
                      </a:cubicBezTo>
                      <a:cubicBezTo>
                        <a:pt x="9821" y="5834"/>
                        <a:pt x="7619" y="9026"/>
                        <a:pt x="4427" y="9026"/>
                      </a:cubicBezTo>
                      <a:cubicBezTo>
                        <a:pt x="1235" y="9026"/>
                        <a:pt x="245" y="5283"/>
                        <a:pt x="245" y="2642"/>
                      </a:cubicBezTo>
                      <a:cubicBezTo>
                        <a:pt x="245" y="2091"/>
                        <a:pt x="-306" y="0"/>
                        <a:pt x="245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79" name="Freeform: Shape 378">
                  <a:extLst>
                    <a:ext uri="{FF2B5EF4-FFF2-40B4-BE49-F238E27FC236}">
                      <a16:creationId xmlns:a16="http://schemas.microsoft.com/office/drawing/2014/main" id="{99CF889E-5632-451E-BC51-C0D593CD1641}"/>
                    </a:ext>
                  </a:extLst>
                </p:cNvPr>
                <p:cNvSpPr/>
                <p:nvPr/>
              </p:nvSpPr>
              <p:spPr>
                <a:xfrm>
                  <a:off x="4803416" y="3830946"/>
                  <a:ext cx="11007" cy="11007"/>
                </a:xfrm>
                <a:custGeom>
                  <a:avLst/>
                  <a:gdLst>
                    <a:gd name="connsiteX0" fmla="*/ 2201 w 0"/>
                    <a:gd name="connsiteY0" fmla="*/ 0 h 11006"/>
                    <a:gd name="connsiteX1" fmla="*/ 9576 w 0"/>
                    <a:gd name="connsiteY1" fmla="*/ 14969 h 11006"/>
                    <a:gd name="connsiteX2" fmla="*/ 0 w 0"/>
                    <a:gd name="connsiteY2" fmla="*/ 2091 h 11006"/>
                    <a:gd name="connsiteX3" fmla="*/ 0 w 0"/>
                    <a:gd name="connsiteY3" fmla="*/ 0 h 11006"/>
                    <a:gd name="connsiteX4" fmla="*/ 4293 w 0"/>
                    <a:gd name="connsiteY4" fmla="*/ 0 h 11006"/>
                    <a:gd name="connsiteX5" fmla="*/ 4293 w 0"/>
                    <a:gd name="connsiteY5" fmla="*/ 2642 h 11006"/>
                    <a:gd name="connsiteX6" fmla="*/ 2201 w 0"/>
                    <a:gd name="connsiteY6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h="11006">
                      <a:moveTo>
                        <a:pt x="2201" y="0"/>
                      </a:moveTo>
                      <a:cubicBezTo>
                        <a:pt x="6384" y="5393"/>
                        <a:pt x="10126" y="8475"/>
                        <a:pt x="9576" y="14969"/>
                      </a:cubicBezTo>
                      <a:cubicBezTo>
                        <a:pt x="6934" y="14419"/>
                        <a:pt x="0" y="5944"/>
                        <a:pt x="0" y="2091"/>
                      </a:cubicBezTo>
                      <a:lnTo>
                        <a:pt x="0" y="0"/>
                      </a:lnTo>
                      <a:lnTo>
                        <a:pt x="4293" y="0"/>
                      </a:lnTo>
                      <a:lnTo>
                        <a:pt x="4293" y="2642"/>
                      </a:lnTo>
                      <a:lnTo>
                        <a:pt x="2201" y="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80" name="Freeform: Shape 379">
                  <a:extLst>
                    <a:ext uri="{FF2B5EF4-FFF2-40B4-BE49-F238E27FC236}">
                      <a16:creationId xmlns:a16="http://schemas.microsoft.com/office/drawing/2014/main" id="{09341377-ADBE-4B90-B9E8-A304A46A6213}"/>
                    </a:ext>
                  </a:extLst>
                </p:cNvPr>
                <p:cNvSpPr/>
                <p:nvPr/>
              </p:nvSpPr>
              <p:spPr>
                <a:xfrm>
                  <a:off x="4784375" y="3798475"/>
                  <a:ext cx="11007" cy="11007"/>
                </a:xfrm>
                <a:custGeom>
                  <a:avLst/>
                  <a:gdLst>
                    <a:gd name="connsiteX0" fmla="*/ 2532 w 11006"/>
                    <a:gd name="connsiteY0" fmla="*/ 0 h 11006"/>
                    <a:gd name="connsiteX1" fmla="*/ 10016 w 11006"/>
                    <a:gd name="connsiteY1" fmla="*/ 12768 h 11006"/>
                    <a:gd name="connsiteX2" fmla="*/ 440 w 11006"/>
                    <a:gd name="connsiteY2" fmla="*/ 991 h 11006"/>
                    <a:gd name="connsiteX3" fmla="*/ 0 w 11006"/>
                    <a:gd name="connsiteY3" fmla="*/ 991 h 11006"/>
                    <a:gd name="connsiteX4" fmla="*/ 2532 w 11006"/>
                    <a:gd name="connsiteY4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 h="11006">
                      <a:moveTo>
                        <a:pt x="2532" y="0"/>
                      </a:moveTo>
                      <a:cubicBezTo>
                        <a:pt x="5723" y="2091"/>
                        <a:pt x="14199" y="12768"/>
                        <a:pt x="10016" y="12768"/>
                      </a:cubicBezTo>
                      <a:cubicBezTo>
                        <a:pt x="7815" y="12768"/>
                        <a:pt x="991" y="4183"/>
                        <a:pt x="440" y="991"/>
                      </a:cubicBezTo>
                      <a:lnTo>
                        <a:pt x="0" y="991"/>
                      </a:lnTo>
                      <a:lnTo>
                        <a:pt x="2532" y="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81" name="Freeform: Shape 380">
                  <a:extLst>
                    <a:ext uri="{FF2B5EF4-FFF2-40B4-BE49-F238E27FC236}">
                      <a16:creationId xmlns:a16="http://schemas.microsoft.com/office/drawing/2014/main" id="{1088CF71-55E3-4328-8C61-4E23A0279555}"/>
                    </a:ext>
                  </a:extLst>
                </p:cNvPr>
                <p:cNvSpPr/>
                <p:nvPr/>
              </p:nvSpPr>
              <p:spPr>
                <a:xfrm>
                  <a:off x="5271322" y="3277956"/>
                  <a:ext cx="33021" cy="44028"/>
                </a:xfrm>
                <a:custGeom>
                  <a:avLst/>
                  <a:gdLst>
                    <a:gd name="connsiteX0" fmla="*/ 13869 w 33020"/>
                    <a:gd name="connsiteY0" fmla="*/ 26527 h 44027"/>
                    <a:gd name="connsiteX1" fmla="*/ 15960 w 33020"/>
                    <a:gd name="connsiteY1" fmla="*/ 19042 h 44027"/>
                    <a:gd name="connsiteX2" fmla="*/ 11667 w 33020"/>
                    <a:gd name="connsiteY2" fmla="*/ 12108 h 44027"/>
                    <a:gd name="connsiteX3" fmla="*/ 11667 w 33020"/>
                    <a:gd name="connsiteY3" fmla="*/ 16951 h 44027"/>
                    <a:gd name="connsiteX4" fmla="*/ 5283 w 33020"/>
                    <a:gd name="connsiteY4" fmla="*/ 19152 h 44027"/>
                    <a:gd name="connsiteX5" fmla="*/ 0 w 33020"/>
                    <a:gd name="connsiteY5" fmla="*/ 13318 h 44027"/>
                    <a:gd name="connsiteX6" fmla="*/ 16510 w 33020"/>
                    <a:gd name="connsiteY6" fmla="*/ 0 h 44027"/>
                    <a:gd name="connsiteX7" fmla="*/ 30379 w 33020"/>
                    <a:gd name="connsiteY7" fmla="*/ 4293 h 44027"/>
                    <a:gd name="connsiteX8" fmla="*/ 30930 w 33020"/>
                    <a:gd name="connsiteY8" fmla="*/ 9576 h 44027"/>
                    <a:gd name="connsiteX9" fmla="*/ 35773 w 33020"/>
                    <a:gd name="connsiteY9" fmla="*/ 13869 h 44027"/>
                    <a:gd name="connsiteX10" fmla="*/ 35773 w 33020"/>
                    <a:gd name="connsiteY10" fmla="*/ 19262 h 44027"/>
                    <a:gd name="connsiteX11" fmla="*/ 30930 w 33020"/>
                    <a:gd name="connsiteY11" fmla="*/ 19262 h 44027"/>
                    <a:gd name="connsiteX12" fmla="*/ 17611 w 33020"/>
                    <a:gd name="connsiteY12" fmla="*/ 45349 h 44027"/>
                    <a:gd name="connsiteX13" fmla="*/ 15960 w 33020"/>
                    <a:gd name="connsiteY13" fmla="*/ 40506 h 44027"/>
                    <a:gd name="connsiteX14" fmla="*/ 15960 w 33020"/>
                    <a:gd name="connsiteY14" fmla="*/ 43698 h 44027"/>
                    <a:gd name="connsiteX15" fmla="*/ 8476 w 33020"/>
                    <a:gd name="connsiteY15" fmla="*/ 35222 h 44027"/>
                    <a:gd name="connsiteX16" fmla="*/ 13869 w 33020"/>
                    <a:gd name="connsiteY16" fmla="*/ 26527 h 44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3020" h="44027">
                      <a:moveTo>
                        <a:pt x="13869" y="26527"/>
                      </a:moveTo>
                      <a:lnTo>
                        <a:pt x="15960" y="19042"/>
                      </a:lnTo>
                      <a:cubicBezTo>
                        <a:pt x="12768" y="17941"/>
                        <a:pt x="12218" y="14749"/>
                        <a:pt x="11667" y="12108"/>
                      </a:cubicBezTo>
                      <a:cubicBezTo>
                        <a:pt x="11667" y="13759"/>
                        <a:pt x="10567" y="15300"/>
                        <a:pt x="11667" y="16951"/>
                      </a:cubicBezTo>
                      <a:cubicBezTo>
                        <a:pt x="9026" y="16951"/>
                        <a:pt x="6934" y="19152"/>
                        <a:pt x="5283" y="19152"/>
                      </a:cubicBezTo>
                      <a:cubicBezTo>
                        <a:pt x="2642" y="19152"/>
                        <a:pt x="0" y="15960"/>
                        <a:pt x="0" y="13318"/>
                      </a:cubicBezTo>
                      <a:cubicBezTo>
                        <a:pt x="0" y="10126"/>
                        <a:pt x="14970" y="0"/>
                        <a:pt x="16510" y="0"/>
                      </a:cubicBezTo>
                      <a:cubicBezTo>
                        <a:pt x="20803" y="0"/>
                        <a:pt x="23995" y="4293"/>
                        <a:pt x="30379" y="4293"/>
                      </a:cubicBezTo>
                      <a:cubicBezTo>
                        <a:pt x="30379" y="5834"/>
                        <a:pt x="29279" y="9576"/>
                        <a:pt x="30930" y="9576"/>
                      </a:cubicBezTo>
                      <a:lnTo>
                        <a:pt x="35773" y="13869"/>
                      </a:lnTo>
                      <a:cubicBezTo>
                        <a:pt x="35773" y="15520"/>
                        <a:pt x="34672" y="17611"/>
                        <a:pt x="35773" y="19262"/>
                      </a:cubicBezTo>
                      <a:cubicBezTo>
                        <a:pt x="34122" y="19262"/>
                        <a:pt x="32581" y="20253"/>
                        <a:pt x="30930" y="19262"/>
                      </a:cubicBezTo>
                      <a:cubicBezTo>
                        <a:pt x="29389" y="28838"/>
                        <a:pt x="25096" y="45349"/>
                        <a:pt x="17611" y="45349"/>
                      </a:cubicBezTo>
                      <a:cubicBezTo>
                        <a:pt x="15960" y="45349"/>
                        <a:pt x="15960" y="42157"/>
                        <a:pt x="15960" y="40506"/>
                      </a:cubicBezTo>
                      <a:lnTo>
                        <a:pt x="15960" y="43698"/>
                      </a:lnTo>
                      <a:cubicBezTo>
                        <a:pt x="11667" y="43698"/>
                        <a:pt x="8476" y="37314"/>
                        <a:pt x="8476" y="35222"/>
                      </a:cubicBezTo>
                      <a:cubicBezTo>
                        <a:pt x="8476" y="34012"/>
                        <a:pt x="13869" y="26527"/>
                        <a:pt x="13869" y="26527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82" name="Freeform: Shape 381">
                  <a:extLst>
                    <a:ext uri="{FF2B5EF4-FFF2-40B4-BE49-F238E27FC236}">
                      <a16:creationId xmlns:a16="http://schemas.microsoft.com/office/drawing/2014/main" id="{17F8517E-E162-47AD-B962-7D4937B11E6E}"/>
                    </a:ext>
                  </a:extLst>
                </p:cNvPr>
                <p:cNvSpPr/>
                <p:nvPr/>
              </p:nvSpPr>
              <p:spPr>
                <a:xfrm>
                  <a:off x="5312818" y="3267169"/>
                  <a:ext cx="33021" cy="22014"/>
                </a:xfrm>
                <a:custGeom>
                  <a:avLst/>
                  <a:gdLst>
                    <a:gd name="connsiteX0" fmla="*/ 28288 w 33020"/>
                    <a:gd name="connsiteY0" fmla="*/ 18712 h 22013"/>
                    <a:gd name="connsiteX1" fmla="*/ 20363 w 33020"/>
                    <a:gd name="connsiteY1" fmla="*/ 14969 h 22013"/>
                    <a:gd name="connsiteX2" fmla="*/ 7594 w 33020"/>
                    <a:gd name="connsiteY2" fmla="*/ 28288 h 22013"/>
                    <a:gd name="connsiteX3" fmla="*/ 4293 w 33020"/>
                    <a:gd name="connsiteY3" fmla="*/ 20253 h 22013"/>
                    <a:gd name="connsiteX4" fmla="*/ 0 w 33020"/>
                    <a:gd name="connsiteY4" fmla="*/ 14419 h 22013"/>
                    <a:gd name="connsiteX5" fmla="*/ 10126 w 33020"/>
                    <a:gd name="connsiteY5" fmla="*/ 6384 h 22013"/>
                    <a:gd name="connsiteX6" fmla="*/ 28288 w 33020"/>
                    <a:gd name="connsiteY6" fmla="*/ 0 h 22013"/>
                    <a:gd name="connsiteX7" fmla="*/ 28288 w 33020"/>
                    <a:gd name="connsiteY7" fmla="*/ 18712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020" h="22013">
                      <a:moveTo>
                        <a:pt x="28288" y="18712"/>
                      </a:moveTo>
                      <a:cubicBezTo>
                        <a:pt x="24105" y="18712"/>
                        <a:pt x="21904" y="15520"/>
                        <a:pt x="20363" y="14969"/>
                      </a:cubicBezTo>
                      <a:cubicBezTo>
                        <a:pt x="15520" y="19812"/>
                        <a:pt x="14529" y="28288"/>
                        <a:pt x="7594" y="28288"/>
                      </a:cubicBezTo>
                      <a:cubicBezTo>
                        <a:pt x="4843" y="28288"/>
                        <a:pt x="3852" y="23005"/>
                        <a:pt x="4293" y="20253"/>
                      </a:cubicBezTo>
                      <a:cubicBezTo>
                        <a:pt x="1100" y="18161"/>
                        <a:pt x="0" y="17061"/>
                        <a:pt x="0" y="14419"/>
                      </a:cubicBezTo>
                      <a:cubicBezTo>
                        <a:pt x="0" y="14419"/>
                        <a:pt x="10126" y="6934"/>
                        <a:pt x="10126" y="6384"/>
                      </a:cubicBezTo>
                      <a:cubicBezTo>
                        <a:pt x="19262" y="9136"/>
                        <a:pt x="20803" y="0"/>
                        <a:pt x="28288" y="0"/>
                      </a:cubicBezTo>
                      <a:cubicBezTo>
                        <a:pt x="40065" y="0"/>
                        <a:pt x="33681" y="18712"/>
                        <a:pt x="28288" y="18712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83" name="Freeform: Shape 382">
                  <a:extLst>
                    <a:ext uri="{FF2B5EF4-FFF2-40B4-BE49-F238E27FC236}">
                      <a16:creationId xmlns:a16="http://schemas.microsoft.com/office/drawing/2014/main" id="{7747ADED-E88A-44EE-B26B-C796EBC5A720}"/>
                    </a:ext>
                  </a:extLst>
                </p:cNvPr>
                <p:cNvSpPr/>
                <p:nvPr/>
              </p:nvSpPr>
              <p:spPr>
                <a:xfrm>
                  <a:off x="5291135" y="3145102"/>
                  <a:ext cx="165104" cy="132084"/>
                </a:xfrm>
                <a:custGeom>
                  <a:avLst/>
                  <a:gdLst>
                    <a:gd name="connsiteX0" fmla="*/ 66592 w 165104"/>
                    <a:gd name="connsiteY0" fmla="*/ 133294 h 132083"/>
                    <a:gd name="connsiteX1" fmla="*/ 66592 w 165104"/>
                    <a:gd name="connsiteY1" fmla="*/ 129002 h 132083"/>
                    <a:gd name="connsiteX2" fmla="*/ 68243 w 165104"/>
                    <a:gd name="connsiteY2" fmla="*/ 119976 h 132083"/>
                    <a:gd name="connsiteX3" fmla="*/ 52283 w 165104"/>
                    <a:gd name="connsiteY3" fmla="*/ 115133 h 132083"/>
                    <a:gd name="connsiteX4" fmla="*/ 47000 w 165104"/>
                    <a:gd name="connsiteY4" fmla="*/ 119426 h 132083"/>
                    <a:gd name="connsiteX5" fmla="*/ 35222 w 165104"/>
                    <a:gd name="connsiteY5" fmla="*/ 121077 h 132083"/>
                    <a:gd name="connsiteX6" fmla="*/ 7485 w 165104"/>
                    <a:gd name="connsiteY6" fmla="*/ 128561 h 132083"/>
                    <a:gd name="connsiteX7" fmla="*/ 0 w 165104"/>
                    <a:gd name="connsiteY7" fmla="*/ 126470 h 132083"/>
                    <a:gd name="connsiteX8" fmla="*/ 6934 w 165104"/>
                    <a:gd name="connsiteY8" fmla="*/ 122728 h 132083"/>
                    <a:gd name="connsiteX9" fmla="*/ 36763 w 165104"/>
                    <a:gd name="connsiteY9" fmla="*/ 101924 h 132083"/>
                    <a:gd name="connsiteX10" fmla="*/ 69894 w 165104"/>
                    <a:gd name="connsiteY10" fmla="*/ 101924 h 132083"/>
                    <a:gd name="connsiteX11" fmla="*/ 86955 w 165104"/>
                    <a:gd name="connsiteY11" fmla="*/ 85414 h 132083"/>
                    <a:gd name="connsiteX12" fmla="*/ 95981 w 165104"/>
                    <a:gd name="connsiteY12" fmla="*/ 72096 h 132083"/>
                    <a:gd name="connsiteX13" fmla="*/ 93339 w 165104"/>
                    <a:gd name="connsiteY13" fmla="*/ 77929 h 132083"/>
                    <a:gd name="connsiteX14" fmla="*/ 95981 w 165104"/>
                    <a:gd name="connsiteY14" fmla="*/ 80571 h 132083"/>
                    <a:gd name="connsiteX15" fmla="*/ 111500 w 165104"/>
                    <a:gd name="connsiteY15" fmla="*/ 73086 h 132083"/>
                    <a:gd name="connsiteX16" fmla="*/ 140889 w 165104"/>
                    <a:gd name="connsiteY16" fmla="*/ 29829 h 132083"/>
                    <a:gd name="connsiteX17" fmla="*/ 138687 w 165104"/>
                    <a:gd name="connsiteY17" fmla="*/ 23445 h 132083"/>
                    <a:gd name="connsiteX18" fmla="*/ 151016 w 165104"/>
                    <a:gd name="connsiteY18" fmla="*/ 3742 h 132083"/>
                    <a:gd name="connsiteX19" fmla="*/ 157950 w 165104"/>
                    <a:gd name="connsiteY19" fmla="*/ 5393 h 132083"/>
                    <a:gd name="connsiteX20" fmla="*/ 156299 w 165104"/>
                    <a:gd name="connsiteY20" fmla="*/ 4843 h 132083"/>
                    <a:gd name="connsiteX21" fmla="*/ 155198 w 165104"/>
                    <a:gd name="connsiteY21" fmla="*/ 0 h 132083"/>
                    <a:gd name="connsiteX22" fmla="*/ 161582 w 165104"/>
                    <a:gd name="connsiteY22" fmla="*/ 2642 h 132083"/>
                    <a:gd name="connsiteX23" fmla="*/ 162683 w 165104"/>
                    <a:gd name="connsiteY23" fmla="*/ 13318 h 132083"/>
                    <a:gd name="connsiteX24" fmla="*/ 170057 w 165104"/>
                    <a:gd name="connsiteY24" fmla="*/ 32030 h 132083"/>
                    <a:gd name="connsiteX25" fmla="*/ 162683 w 165104"/>
                    <a:gd name="connsiteY25" fmla="*/ 48541 h 132083"/>
                    <a:gd name="connsiteX26" fmla="*/ 162683 w 165104"/>
                    <a:gd name="connsiteY26" fmla="*/ 51733 h 132083"/>
                    <a:gd name="connsiteX27" fmla="*/ 157840 w 165104"/>
                    <a:gd name="connsiteY27" fmla="*/ 52723 h 132083"/>
                    <a:gd name="connsiteX28" fmla="*/ 154097 w 165104"/>
                    <a:gd name="connsiteY28" fmla="*/ 76719 h 132083"/>
                    <a:gd name="connsiteX29" fmla="*/ 148264 w 165104"/>
                    <a:gd name="connsiteY29" fmla="*/ 91688 h 132083"/>
                    <a:gd name="connsiteX30" fmla="*/ 150905 w 165104"/>
                    <a:gd name="connsiteY30" fmla="*/ 101814 h 132083"/>
                    <a:gd name="connsiteX31" fmla="*/ 138137 w 165104"/>
                    <a:gd name="connsiteY31" fmla="*/ 112491 h 132083"/>
                    <a:gd name="connsiteX32" fmla="*/ 138687 w 165104"/>
                    <a:gd name="connsiteY32" fmla="*/ 104016 h 132083"/>
                    <a:gd name="connsiteX33" fmla="*/ 124268 w 165104"/>
                    <a:gd name="connsiteY33" fmla="*/ 116784 h 132083"/>
                    <a:gd name="connsiteX34" fmla="*/ 121627 w 165104"/>
                    <a:gd name="connsiteY34" fmla="*/ 114142 h 132083"/>
                    <a:gd name="connsiteX35" fmla="*/ 116123 w 165104"/>
                    <a:gd name="connsiteY35" fmla="*/ 114142 h 132083"/>
                    <a:gd name="connsiteX36" fmla="*/ 105447 w 165104"/>
                    <a:gd name="connsiteY36" fmla="*/ 120526 h 132083"/>
                    <a:gd name="connsiteX37" fmla="*/ 90037 w 165104"/>
                    <a:gd name="connsiteY37" fmla="*/ 111500 h 132083"/>
                    <a:gd name="connsiteX38" fmla="*/ 86845 w 165104"/>
                    <a:gd name="connsiteY38" fmla="*/ 115793 h 132083"/>
                    <a:gd name="connsiteX39" fmla="*/ 92128 w 165104"/>
                    <a:gd name="connsiteY39" fmla="*/ 124269 h 132083"/>
                    <a:gd name="connsiteX40" fmla="*/ 86845 w 165104"/>
                    <a:gd name="connsiteY40" fmla="*/ 124819 h 132083"/>
                    <a:gd name="connsiteX41" fmla="*/ 74077 w 165104"/>
                    <a:gd name="connsiteY41" fmla="*/ 138688 h 132083"/>
                    <a:gd name="connsiteX42" fmla="*/ 66592 w 165104"/>
                    <a:gd name="connsiteY42" fmla="*/ 133294 h 1320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165104" h="132083">
                      <a:moveTo>
                        <a:pt x="66592" y="133294"/>
                      </a:moveTo>
                      <a:cubicBezTo>
                        <a:pt x="64941" y="133294"/>
                        <a:pt x="66592" y="130653"/>
                        <a:pt x="66592" y="129002"/>
                      </a:cubicBezTo>
                      <a:cubicBezTo>
                        <a:pt x="66592" y="125810"/>
                        <a:pt x="68243" y="122067"/>
                        <a:pt x="68243" y="119976"/>
                      </a:cubicBezTo>
                      <a:cubicBezTo>
                        <a:pt x="61859" y="118325"/>
                        <a:pt x="58667" y="115133"/>
                        <a:pt x="52283" y="115133"/>
                      </a:cubicBezTo>
                      <a:cubicBezTo>
                        <a:pt x="49091" y="115133"/>
                        <a:pt x="48540" y="118875"/>
                        <a:pt x="47000" y="119426"/>
                      </a:cubicBezTo>
                      <a:cubicBezTo>
                        <a:pt x="42707" y="121517"/>
                        <a:pt x="39515" y="118875"/>
                        <a:pt x="35222" y="121077"/>
                      </a:cubicBezTo>
                      <a:cubicBezTo>
                        <a:pt x="28288" y="124269"/>
                        <a:pt x="18712" y="128561"/>
                        <a:pt x="7485" y="128561"/>
                      </a:cubicBezTo>
                      <a:cubicBezTo>
                        <a:pt x="3742" y="128561"/>
                        <a:pt x="0" y="128561"/>
                        <a:pt x="0" y="126470"/>
                      </a:cubicBezTo>
                      <a:cubicBezTo>
                        <a:pt x="0" y="124819"/>
                        <a:pt x="4843" y="123828"/>
                        <a:pt x="6934" y="122728"/>
                      </a:cubicBezTo>
                      <a:cubicBezTo>
                        <a:pt x="18051" y="115243"/>
                        <a:pt x="22894" y="101924"/>
                        <a:pt x="36763" y="101924"/>
                      </a:cubicBezTo>
                      <a:lnTo>
                        <a:pt x="69894" y="101924"/>
                      </a:lnTo>
                      <a:cubicBezTo>
                        <a:pt x="79030" y="101924"/>
                        <a:pt x="82222" y="85414"/>
                        <a:pt x="86955" y="85414"/>
                      </a:cubicBezTo>
                      <a:cubicBezTo>
                        <a:pt x="87505" y="85414"/>
                        <a:pt x="94440" y="72646"/>
                        <a:pt x="95981" y="72096"/>
                      </a:cubicBezTo>
                      <a:cubicBezTo>
                        <a:pt x="94440" y="73747"/>
                        <a:pt x="93339" y="75728"/>
                        <a:pt x="93339" y="77929"/>
                      </a:cubicBezTo>
                      <a:cubicBezTo>
                        <a:pt x="93339" y="79030"/>
                        <a:pt x="94990" y="80571"/>
                        <a:pt x="95981" y="80571"/>
                      </a:cubicBezTo>
                      <a:cubicBezTo>
                        <a:pt x="104016" y="80571"/>
                        <a:pt x="105116" y="75288"/>
                        <a:pt x="111500" y="73086"/>
                      </a:cubicBezTo>
                      <a:cubicBezTo>
                        <a:pt x="122728" y="69344"/>
                        <a:pt x="140889" y="46890"/>
                        <a:pt x="140889" y="29829"/>
                      </a:cubicBezTo>
                      <a:cubicBezTo>
                        <a:pt x="140889" y="26087"/>
                        <a:pt x="138687" y="26087"/>
                        <a:pt x="138687" y="23445"/>
                      </a:cubicBezTo>
                      <a:cubicBezTo>
                        <a:pt x="138687" y="17061"/>
                        <a:pt x="144081" y="3742"/>
                        <a:pt x="151016" y="3742"/>
                      </a:cubicBezTo>
                      <a:cubicBezTo>
                        <a:pt x="152006" y="3742"/>
                        <a:pt x="151566" y="10677"/>
                        <a:pt x="157950" y="5393"/>
                      </a:cubicBezTo>
                      <a:cubicBezTo>
                        <a:pt x="157399" y="5393"/>
                        <a:pt x="156849" y="4843"/>
                        <a:pt x="156299" y="4843"/>
                      </a:cubicBezTo>
                      <a:cubicBezTo>
                        <a:pt x="154758" y="4843"/>
                        <a:pt x="153657" y="0"/>
                        <a:pt x="155198" y="0"/>
                      </a:cubicBezTo>
                      <a:cubicBezTo>
                        <a:pt x="158941" y="0"/>
                        <a:pt x="161032" y="1101"/>
                        <a:pt x="161582" y="2642"/>
                      </a:cubicBezTo>
                      <a:cubicBezTo>
                        <a:pt x="163233" y="6384"/>
                        <a:pt x="162683" y="9576"/>
                        <a:pt x="162683" y="13318"/>
                      </a:cubicBezTo>
                      <a:cubicBezTo>
                        <a:pt x="162683" y="20803"/>
                        <a:pt x="170057" y="24546"/>
                        <a:pt x="170057" y="32030"/>
                      </a:cubicBezTo>
                      <a:cubicBezTo>
                        <a:pt x="170057" y="40616"/>
                        <a:pt x="162683" y="41606"/>
                        <a:pt x="162683" y="48541"/>
                      </a:cubicBezTo>
                      <a:lnTo>
                        <a:pt x="162683" y="51733"/>
                      </a:lnTo>
                      <a:cubicBezTo>
                        <a:pt x="161032" y="53274"/>
                        <a:pt x="159491" y="52283"/>
                        <a:pt x="157840" y="52723"/>
                      </a:cubicBezTo>
                      <a:cubicBezTo>
                        <a:pt x="152556" y="54374"/>
                        <a:pt x="154097" y="70885"/>
                        <a:pt x="154097" y="76719"/>
                      </a:cubicBezTo>
                      <a:cubicBezTo>
                        <a:pt x="154097" y="81562"/>
                        <a:pt x="148264" y="84754"/>
                        <a:pt x="148264" y="91688"/>
                      </a:cubicBezTo>
                      <a:cubicBezTo>
                        <a:pt x="148264" y="96421"/>
                        <a:pt x="149805" y="98622"/>
                        <a:pt x="150905" y="101814"/>
                      </a:cubicBezTo>
                      <a:cubicBezTo>
                        <a:pt x="144521" y="105006"/>
                        <a:pt x="144521" y="110400"/>
                        <a:pt x="138137" y="112491"/>
                      </a:cubicBezTo>
                      <a:cubicBezTo>
                        <a:pt x="135936" y="108198"/>
                        <a:pt x="138137" y="107648"/>
                        <a:pt x="138687" y="104016"/>
                      </a:cubicBezTo>
                      <a:cubicBezTo>
                        <a:pt x="131203" y="108859"/>
                        <a:pt x="126470" y="109299"/>
                        <a:pt x="124268" y="116784"/>
                      </a:cubicBezTo>
                      <a:cubicBezTo>
                        <a:pt x="123168" y="116784"/>
                        <a:pt x="121627" y="115243"/>
                        <a:pt x="121627" y="114142"/>
                      </a:cubicBezTo>
                      <a:lnTo>
                        <a:pt x="116123" y="114142"/>
                      </a:lnTo>
                      <a:cubicBezTo>
                        <a:pt x="112931" y="117334"/>
                        <a:pt x="109739" y="120526"/>
                        <a:pt x="105447" y="120526"/>
                      </a:cubicBezTo>
                      <a:cubicBezTo>
                        <a:pt x="94220" y="120526"/>
                        <a:pt x="94770" y="111500"/>
                        <a:pt x="90037" y="111500"/>
                      </a:cubicBezTo>
                      <a:cubicBezTo>
                        <a:pt x="88386" y="111500"/>
                        <a:pt x="86845" y="114142"/>
                        <a:pt x="86845" y="115793"/>
                      </a:cubicBezTo>
                      <a:cubicBezTo>
                        <a:pt x="86845" y="117885"/>
                        <a:pt x="91578" y="124269"/>
                        <a:pt x="92128" y="124269"/>
                      </a:cubicBezTo>
                      <a:cubicBezTo>
                        <a:pt x="90587" y="124819"/>
                        <a:pt x="88386" y="124819"/>
                        <a:pt x="86845" y="124819"/>
                      </a:cubicBezTo>
                      <a:cubicBezTo>
                        <a:pt x="83102" y="124819"/>
                        <a:pt x="76719" y="133404"/>
                        <a:pt x="74077" y="138688"/>
                      </a:cubicBezTo>
                      <a:cubicBezTo>
                        <a:pt x="69784" y="137477"/>
                        <a:pt x="70334" y="133294"/>
                        <a:pt x="66592" y="13329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84" name="Freeform: Shape 383">
                  <a:extLst>
                    <a:ext uri="{FF2B5EF4-FFF2-40B4-BE49-F238E27FC236}">
                      <a16:creationId xmlns:a16="http://schemas.microsoft.com/office/drawing/2014/main" id="{0582F30B-0DF2-4850-806A-F41A6D88EA67}"/>
                    </a:ext>
                  </a:extLst>
                </p:cNvPr>
                <p:cNvSpPr/>
                <p:nvPr/>
              </p:nvSpPr>
              <p:spPr>
                <a:xfrm>
                  <a:off x="5428832" y="3068713"/>
                  <a:ext cx="77049" cy="66042"/>
                </a:xfrm>
                <a:custGeom>
                  <a:avLst/>
                  <a:gdLst>
                    <a:gd name="connsiteX0" fmla="*/ 12108 w 77048"/>
                    <a:gd name="connsiteY0" fmla="*/ 40065 h 66041"/>
                    <a:gd name="connsiteX1" fmla="*/ 17501 w 77048"/>
                    <a:gd name="connsiteY1" fmla="*/ 40065 h 66041"/>
                    <a:gd name="connsiteX2" fmla="*/ 30269 w 77048"/>
                    <a:gd name="connsiteY2" fmla="*/ 12328 h 66041"/>
                    <a:gd name="connsiteX3" fmla="*/ 27628 w 77048"/>
                    <a:gd name="connsiteY3" fmla="*/ 6934 h 66041"/>
                    <a:gd name="connsiteX4" fmla="*/ 30820 w 77048"/>
                    <a:gd name="connsiteY4" fmla="*/ 0 h 66041"/>
                    <a:gd name="connsiteX5" fmla="*/ 72426 w 77048"/>
                    <a:gd name="connsiteY5" fmla="*/ 26637 h 66041"/>
                    <a:gd name="connsiteX6" fmla="*/ 83653 w 77048"/>
                    <a:gd name="connsiteY6" fmla="*/ 25536 h 66041"/>
                    <a:gd name="connsiteX7" fmla="*/ 80351 w 77048"/>
                    <a:gd name="connsiteY7" fmla="*/ 31920 h 66041"/>
                    <a:gd name="connsiteX8" fmla="*/ 86845 w 77048"/>
                    <a:gd name="connsiteY8" fmla="*/ 38855 h 66041"/>
                    <a:gd name="connsiteX9" fmla="*/ 70224 w 77048"/>
                    <a:gd name="connsiteY9" fmla="*/ 43698 h 66041"/>
                    <a:gd name="connsiteX10" fmla="*/ 51072 w 77048"/>
                    <a:gd name="connsiteY10" fmla="*/ 62299 h 66041"/>
                    <a:gd name="connsiteX11" fmla="*/ 28178 w 77048"/>
                    <a:gd name="connsiteY11" fmla="*/ 50082 h 66041"/>
                    <a:gd name="connsiteX12" fmla="*/ 24435 w 77048"/>
                    <a:gd name="connsiteY12" fmla="*/ 54374 h 66041"/>
                    <a:gd name="connsiteX13" fmla="*/ 8476 w 77048"/>
                    <a:gd name="connsiteY13" fmla="*/ 58117 h 66041"/>
                    <a:gd name="connsiteX14" fmla="*/ 18602 w 77048"/>
                    <a:gd name="connsiteY14" fmla="*/ 65602 h 66041"/>
                    <a:gd name="connsiteX15" fmla="*/ 5834 w 77048"/>
                    <a:gd name="connsiteY15" fmla="*/ 73637 h 66041"/>
                    <a:gd name="connsiteX16" fmla="*/ 2642 w 77048"/>
                    <a:gd name="connsiteY16" fmla="*/ 73637 h 66041"/>
                    <a:gd name="connsiteX17" fmla="*/ 2642 w 77048"/>
                    <a:gd name="connsiteY17" fmla="*/ 61419 h 66041"/>
                    <a:gd name="connsiteX18" fmla="*/ 0 w 77048"/>
                    <a:gd name="connsiteY18" fmla="*/ 56025 h 66041"/>
                    <a:gd name="connsiteX19" fmla="*/ 9576 w 77048"/>
                    <a:gd name="connsiteY19" fmla="*/ 42707 h 66041"/>
                    <a:gd name="connsiteX20" fmla="*/ 9576 w 77048"/>
                    <a:gd name="connsiteY20" fmla="*/ 38414 h 66041"/>
                    <a:gd name="connsiteX21" fmla="*/ 13319 w 77048"/>
                    <a:gd name="connsiteY21" fmla="*/ 41056 h 66041"/>
                    <a:gd name="connsiteX22" fmla="*/ 12108 w 77048"/>
                    <a:gd name="connsiteY22" fmla="*/ 40065 h 660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77048" h="66041">
                      <a:moveTo>
                        <a:pt x="12108" y="40065"/>
                      </a:moveTo>
                      <a:cubicBezTo>
                        <a:pt x="13759" y="40616"/>
                        <a:pt x="15850" y="40065"/>
                        <a:pt x="17501" y="40065"/>
                      </a:cubicBezTo>
                      <a:cubicBezTo>
                        <a:pt x="26527" y="40065"/>
                        <a:pt x="30269" y="19262"/>
                        <a:pt x="30269" y="12328"/>
                      </a:cubicBezTo>
                      <a:cubicBezTo>
                        <a:pt x="30269" y="10126"/>
                        <a:pt x="27628" y="9136"/>
                        <a:pt x="27628" y="6934"/>
                      </a:cubicBezTo>
                      <a:cubicBezTo>
                        <a:pt x="27628" y="3192"/>
                        <a:pt x="29829" y="1541"/>
                        <a:pt x="30820" y="0"/>
                      </a:cubicBezTo>
                      <a:cubicBezTo>
                        <a:pt x="45239" y="9576"/>
                        <a:pt x="51623" y="26637"/>
                        <a:pt x="72426" y="26637"/>
                      </a:cubicBezTo>
                      <a:cubicBezTo>
                        <a:pt x="76719" y="26637"/>
                        <a:pt x="80351" y="23445"/>
                        <a:pt x="83653" y="25536"/>
                      </a:cubicBezTo>
                      <a:cubicBezTo>
                        <a:pt x="82552" y="28288"/>
                        <a:pt x="80351" y="29279"/>
                        <a:pt x="80351" y="31920"/>
                      </a:cubicBezTo>
                      <a:cubicBezTo>
                        <a:pt x="80351" y="35112"/>
                        <a:pt x="84644" y="38304"/>
                        <a:pt x="86845" y="38855"/>
                      </a:cubicBezTo>
                      <a:cubicBezTo>
                        <a:pt x="82002" y="42047"/>
                        <a:pt x="78260" y="43698"/>
                        <a:pt x="70224" y="43698"/>
                      </a:cubicBezTo>
                      <a:cubicBezTo>
                        <a:pt x="58997" y="43698"/>
                        <a:pt x="55255" y="55915"/>
                        <a:pt x="51072" y="62299"/>
                      </a:cubicBezTo>
                      <a:cubicBezTo>
                        <a:pt x="42597" y="57016"/>
                        <a:pt x="37314" y="55915"/>
                        <a:pt x="28178" y="50082"/>
                      </a:cubicBezTo>
                      <a:cubicBezTo>
                        <a:pt x="26637" y="50632"/>
                        <a:pt x="24435" y="52723"/>
                        <a:pt x="24435" y="54374"/>
                      </a:cubicBezTo>
                      <a:cubicBezTo>
                        <a:pt x="17501" y="54374"/>
                        <a:pt x="8476" y="48981"/>
                        <a:pt x="8476" y="58117"/>
                      </a:cubicBezTo>
                      <a:cubicBezTo>
                        <a:pt x="8476" y="63400"/>
                        <a:pt x="16510" y="63400"/>
                        <a:pt x="18602" y="65602"/>
                      </a:cubicBezTo>
                      <a:cubicBezTo>
                        <a:pt x="14309" y="71435"/>
                        <a:pt x="10127" y="69344"/>
                        <a:pt x="5834" y="73637"/>
                      </a:cubicBezTo>
                      <a:lnTo>
                        <a:pt x="2642" y="73637"/>
                      </a:lnTo>
                      <a:lnTo>
                        <a:pt x="2642" y="61419"/>
                      </a:lnTo>
                      <a:cubicBezTo>
                        <a:pt x="2642" y="59328"/>
                        <a:pt x="0" y="58227"/>
                        <a:pt x="0" y="56025"/>
                      </a:cubicBezTo>
                      <a:cubicBezTo>
                        <a:pt x="0" y="50192"/>
                        <a:pt x="8476" y="46449"/>
                        <a:pt x="9576" y="42707"/>
                      </a:cubicBezTo>
                      <a:lnTo>
                        <a:pt x="9576" y="38414"/>
                      </a:lnTo>
                      <a:cubicBezTo>
                        <a:pt x="10677" y="39405"/>
                        <a:pt x="11667" y="39955"/>
                        <a:pt x="13319" y="41056"/>
                      </a:cubicBezTo>
                      <a:lnTo>
                        <a:pt x="12108" y="40065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85" name="Freeform: Shape 384">
                  <a:extLst>
                    <a:ext uri="{FF2B5EF4-FFF2-40B4-BE49-F238E27FC236}">
                      <a16:creationId xmlns:a16="http://schemas.microsoft.com/office/drawing/2014/main" id="{65BD597B-1107-4356-9FE3-3E9EAE92E743}"/>
                    </a:ext>
                  </a:extLst>
                </p:cNvPr>
                <p:cNvSpPr/>
                <p:nvPr/>
              </p:nvSpPr>
              <p:spPr>
                <a:xfrm>
                  <a:off x="5513974" y="3086875"/>
                  <a:ext cx="11007" cy="11007"/>
                </a:xfrm>
                <a:custGeom>
                  <a:avLst/>
                  <a:gdLst>
                    <a:gd name="connsiteX0" fmla="*/ 11719 w 11006"/>
                    <a:gd name="connsiteY0" fmla="*/ 0 h 11006"/>
                    <a:gd name="connsiteX1" fmla="*/ 14360 w 11006"/>
                    <a:gd name="connsiteY1" fmla="*/ 2091 h 11006"/>
                    <a:gd name="connsiteX2" fmla="*/ 1042 w 11006"/>
                    <a:gd name="connsiteY2" fmla="*/ 13318 h 11006"/>
                    <a:gd name="connsiteX3" fmla="*/ 1042 w 11006"/>
                    <a:gd name="connsiteY3" fmla="*/ 8585 h 11006"/>
                    <a:gd name="connsiteX4" fmla="*/ 13260 w 11006"/>
                    <a:gd name="connsiteY4" fmla="*/ 550 h 11006"/>
                    <a:gd name="connsiteX5" fmla="*/ 11719 w 11006"/>
                    <a:gd name="connsiteY5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06" h="11006">
                      <a:moveTo>
                        <a:pt x="11719" y="0"/>
                      </a:moveTo>
                      <a:lnTo>
                        <a:pt x="14360" y="2091"/>
                      </a:lnTo>
                      <a:cubicBezTo>
                        <a:pt x="12269" y="5393"/>
                        <a:pt x="5775" y="13318"/>
                        <a:pt x="1042" y="13318"/>
                      </a:cubicBezTo>
                      <a:cubicBezTo>
                        <a:pt x="-609" y="13318"/>
                        <a:pt x="-59" y="10126"/>
                        <a:pt x="1042" y="8585"/>
                      </a:cubicBezTo>
                      <a:cubicBezTo>
                        <a:pt x="3133" y="5393"/>
                        <a:pt x="8967" y="550"/>
                        <a:pt x="13260" y="550"/>
                      </a:cubicBezTo>
                      <a:lnTo>
                        <a:pt x="11719" y="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86" name="Freeform: Shape 385">
                  <a:extLst>
                    <a:ext uri="{FF2B5EF4-FFF2-40B4-BE49-F238E27FC236}">
                      <a16:creationId xmlns:a16="http://schemas.microsoft.com/office/drawing/2014/main" id="{0BDDB335-5FF8-4294-8990-E1EE0B35AEFF}"/>
                    </a:ext>
                  </a:extLst>
                </p:cNvPr>
                <p:cNvSpPr/>
                <p:nvPr/>
              </p:nvSpPr>
              <p:spPr>
                <a:xfrm>
                  <a:off x="5543610" y="3067613"/>
                  <a:ext cx="11007" cy="11007"/>
                </a:xfrm>
                <a:custGeom>
                  <a:avLst/>
                  <a:gdLst>
                    <a:gd name="connsiteX0" fmla="*/ 19947 w 11006"/>
                    <a:gd name="connsiteY0" fmla="*/ 3742 h 11006"/>
                    <a:gd name="connsiteX1" fmla="*/ 245 w 11006"/>
                    <a:gd name="connsiteY1" fmla="*/ 14419 h 11006"/>
                    <a:gd name="connsiteX2" fmla="*/ 245 w 11006"/>
                    <a:gd name="connsiteY2" fmla="*/ 11777 h 11006"/>
                    <a:gd name="connsiteX3" fmla="*/ 12022 w 11006"/>
                    <a:gd name="connsiteY3" fmla="*/ 0 h 11006"/>
                    <a:gd name="connsiteX4" fmla="*/ 20057 w 11006"/>
                    <a:gd name="connsiteY4" fmla="*/ 0 h 11006"/>
                    <a:gd name="connsiteX5" fmla="*/ 20057 w 11006"/>
                    <a:gd name="connsiteY5" fmla="*/ 3742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006" h="11006">
                      <a:moveTo>
                        <a:pt x="19947" y="3742"/>
                      </a:moveTo>
                      <a:cubicBezTo>
                        <a:pt x="7619" y="3742"/>
                        <a:pt x="7619" y="14419"/>
                        <a:pt x="245" y="14419"/>
                      </a:cubicBezTo>
                      <a:cubicBezTo>
                        <a:pt x="-306" y="14419"/>
                        <a:pt x="245" y="12328"/>
                        <a:pt x="245" y="11777"/>
                      </a:cubicBezTo>
                      <a:cubicBezTo>
                        <a:pt x="245" y="11777"/>
                        <a:pt x="5638" y="0"/>
                        <a:pt x="12022" y="0"/>
                      </a:cubicBezTo>
                      <a:cubicBezTo>
                        <a:pt x="15214" y="0"/>
                        <a:pt x="17856" y="550"/>
                        <a:pt x="20057" y="0"/>
                      </a:cubicBezTo>
                      <a:lnTo>
                        <a:pt x="20057" y="3742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87" name="Freeform: Shape 386">
                  <a:extLst>
                    <a:ext uri="{FF2B5EF4-FFF2-40B4-BE49-F238E27FC236}">
                      <a16:creationId xmlns:a16="http://schemas.microsoft.com/office/drawing/2014/main" id="{9FB78A25-41B3-4E2B-94B9-861F1934212A}"/>
                    </a:ext>
                  </a:extLst>
                </p:cNvPr>
                <p:cNvSpPr/>
                <p:nvPr/>
              </p:nvSpPr>
              <p:spPr>
                <a:xfrm>
                  <a:off x="5579874" y="3052203"/>
                  <a:ext cx="11007" cy="11007"/>
                </a:xfrm>
                <a:custGeom>
                  <a:avLst/>
                  <a:gdLst>
                    <a:gd name="connsiteX0" fmla="*/ 743 w 0"/>
                    <a:gd name="connsiteY0" fmla="*/ 7485 h 0"/>
                    <a:gd name="connsiteX1" fmla="*/ 1293 w 0"/>
                    <a:gd name="connsiteY1" fmla="*/ 3192 h 0"/>
                    <a:gd name="connsiteX2" fmla="*/ 9769 w 0"/>
                    <a:gd name="connsiteY2" fmla="*/ 0 h 0"/>
                    <a:gd name="connsiteX3" fmla="*/ 743 w 0"/>
                    <a:gd name="connsiteY3" fmla="*/ 10677 h 0"/>
                    <a:gd name="connsiteX4" fmla="*/ 743 w 0"/>
                    <a:gd name="connsiteY4" fmla="*/ 7485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>
                      <a:moveTo>
                        <a:pt x="743" y="7485"/>
                      </a:moveTo>
                      <a:cubicBezTo>
                        <a:pt x="2394" y="7485"/>
                        <a:pt x="743" y="4733"/>
                        <a:pt x="1293" y="3192"/>
                      </a:cubicBezTo>
                      <a:cubicBezTo>
                        <a:pt x="2394" y="0"/>
                        <a:pt x="8668" y="0"/>
                        <a:pt x="9769" y="0"/>
                      </a:cubicBezTo>
                      <a:cubicBezTo>
                        <a:pt x="9218" y="3192"/>
                        <a:pt x="4926" y="10677"/>
                        <a:pt x="743" y="10677"/>
                      </a:cubicBezTo>
                      <a:cubicBezTo>
                        <a:pt x="-248" y="10677"/>
                        <a:pt x="-248" y="7485"/>
                        <a:pt x="743" y="748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88" name="Freeform: Shape 387">
                  <a:extLst>
                    <a:ext uri="{FF2B5EF4-FFF2-40B4-BE49-F238E27FC236}">
                      <a16:creationId xmlns:a16="http://schemas.microsoft.com/office/drawing/2014/main" id="{72905859-9497-4AFE-B5F0-01F83B5E0BC7}"/>
                    </a:ext>
                  </a:extLst>
                </p:cNvPr>
                <p:cNvSpPr/>
                <p:nvPr/>
              </p:nvSpPr>
              <p:spPr>
                <a:xfrm>
                  <a:off x="5455910" y="2889740"/>
                  <a:ext cx="33021" cy="165104"/>
                </a:xfrm>
                <a:custGeom>
                  <a:avLst/>
                  <a:gdLst>
                    <a:gd name="connsiteX0" fmla="*/ 31920 w 33020"/>
                    <a:gd name="connsiteY0" fmla="*/ 101704 h 165104"/>
                    <a:gd name="connsiteX1" fmla="*/ 15850 w 33020"/>
                    <a:gd name="connsiteY1" fmla="*/ 132634 h 165104"/>
                    <a:gd name="connsiteX2" fmla="*/ 31370 w 33020"/>
                    <a:gd name="connsiteY2" fmla="*/ 159821 h 165104"/>
                    <a:gd name="connsiteX3" fmla="*/ 29719 w 33020"/>
                    <a:gd name="connsiteY3" fmla="*/ 160371 h 165104"/>
                    <a:gd name="connsiteX4" fmla="*/ 24435 w 33020"/>
                    <a:gd name="connsiteY4" fmla="*/ 154978 h 165104"/>
                    <a:gd name="connsiteX5" fmla="*/ 19042 w 33020"/>
                    <a:gd name="connsiteY5" fmla="*/ 154978 h 165104"/>
                    <a:gd name="connsiteX6" fmla="*/ 6274 w 33020"/>
                    <a:gd name="connsiteY6" fmla="*/ 166755 h 165104"/>
                    <a:gd name="connsiteX7" fmla="*/ 6274 w 33020"/>
                    <a:gd name="connsiteY7" fmla="*/ 151346 h 165104"/>
                    <a:gd name="connsiteX8" fmla="*/ 8475 w 33020"/>
                    <a:gd name="connsiteY8" fmla="*/ 127351 h 165104"/>
                    <a:gd name="connsiteX9" fmla="*/ 5283 w 33020"/>
                    <a:gd name="connsiteY9" fmla="*/ 112491 h 165104"/>
                    <a:gd name="connsiteX10" fmla="*/ 7925 w 33020"/>
                    <a:gd name="connsiteY10" fmla="*/ 95981 h 165104"/>
                    <a:gd name="connsiteX11" fmla="*/ 7925 w 33020"/>
                    <a:gd name="connsiteY11" fmla="*/ 64501 h 165104"/>
                    <a:gd name="connsiteX12" fmla="*/ 0 w 33020"/>
                    <a:gd name="connsiteY12" fmla="*/ 45349 h 165104"/>
                    <a:gd name="connsiteX13" fmla="*/ 11227 w 33020"/>
                    <a:gd name="connsiteY13" fmla="*/ 18162 h 165104"/>
                    <a:gd name="connsiteX14" fmla="*/ 13429 w 33020"/>
                    <a:gd name="connsiteY14" fmla="*/ 11227 h 165104"/>
                    <a:gd name="connsiteX15" fmla="*/ 13429 w 33020"/>
                    <a:gd name="connsiteY15" fmla="*/ 0 h 165104"/>
                    <a:gd name="connsiteX16" fmla="*/ 17171 w 33020"/>
                    <a:gd name="connsiteY16" fmla="*/ 0 h 165104"/>
                    <a:gd name="connsiteX17" fmla="*/ 23555 w 33020"/>
                    <a:gd name="connsiteY17" fmla="*/ 24545 h 165104"/>
                    <a:gd name="connsiteX18" fmla="*/ 25096 w 33020"/>
                    <a:gd name="connsiteY18" fmla="*/ 44798 h 165104"/>
                    <a:gd name="connsiteX19" fmla="*/ 25096 w 33020"/>
                    <a:gd name="connsiteY19" fmla="*/ 57566 h 165104"/>
                    <a:gd name="connsiteX20" fmla="*/ 28838 w 33020"/>
                    <a:gd name="connsiteY20" fmla="*/ 71986 h 165104"/>
                    <a:gd name="connsiteX21" fmla="*/ 43257 w 33020"/>
                    <a:gd name="connsiteY21" fmla="*/ 108859 h 165104"/>
                    <a:gd name="connsiteX22" fmla="*/ 31920 w 33020"/>
                    <a:gd name="connsiteY22" fmla="*/ 101704 h 165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3020" h="165104">
                      <a:moveTo>
                        <a:pt x="31920" y="101704"/>
                      </a:moveTo>
                      <a:cubicBezTo>
                        <a:pt x="17501" y="101704"/>
                        <a:pt x="15850" y="118765"/>
                        <a:pt x="15850" y="132634"/>
                      </a:cubicBezTo>
                      <a:cubicBezTo>
                        <a:pt x="15850" y="144962"/>
                        <a:pt x="27077" y="150795"/>
                        <a:pt x="31370" y="159821"/>
                      </a:cubicBezTo>
                      <a:cubicBezTo>
                        <a:pt x="31370" y="159821"/>
                        <a:pt x="30269" y="160371"/>
                        <a:pt x="29719" y="160371"/>
                      </a:cubicBezTo>
                      <a:cubicBezTo>
                        <a:pt x="27517" y="160922"/>
                        <a:pt x="24876" y="157179"/>
                        <a:pt x="24435" y="154978"/>
                      </a:cubicBezTo>
                      <a:lnTo>
                        <a:pt x="19042" y="154978"/>
                      </a:lnTo>
                      <a:cubicBezTo>
                        <a:pt x="12658" y="154978"/>
                        <a:pt x="12658" y="166755"/>
                        <a:pt x="6274" y="166755"/>
                      </a:cubicBezTo>
                      <a:cubicBezTo>
                        <a:pt x="4733" y="166755"/>
                        <a:pt x="6274" y="153987"/>
                        <a:pt x="6274" y="151346"/>
                      </a:cubicBezTo>
                      <a:cubicBezTo>
                        <a:pt x="6274" y="141660"/>
                        <a:pt x="8475" y="135276"/>
                        <a:pt x="8475" y="127351"/>
                      </a:cubicBezTo>
                      <a:cubicBezTo>
                        <a:pt x="8475" y="119866"/>
                        <a:pt x="5283" y="118875"/>
                        <a:pt x="5283" y="112491"/>
                      </a:cubicBezTo>
                      <a:cubicBezTo>
                        <a:pt x="5283" y="104456"/>
                        <a:pt x="7925" y="102365"/>
                        <a:pt x="7925" y="95981"/>
                      </a:cubicBezTo>
                      <a:lnTo>
                        <a:pt x="7925" y="64501"/>
                      </a:lnTo>
                      <a:cubicBezTo>
                        <a:pt x="7925" y="56466"/>
                        <a:pt x="0" y="53274"/>
                        <a:pt x="0" y="45349"/>
                      </a:cubicBezTo>
                      <a:cubicBezTo>
                        <a:pt x="0" y="34122"/>
                        <a:pt x="3192" y="19702"/>
                        <a:pt x="11227" y="18162"/>
                      </a:cubicBezTo>
                      <a:cubicBezTo>
                        <a:pt x="11227" y="14969"/>
                        <a:pt x="13429" y="13869"/>
                        <a:pt x="13429" y="11227"/>
                      </a:cubicBezTo>
                      <a:lnTo>
                        <a:pt x="13429" y="0"/>
                      </a:lnTo>
                      <a:lnTo>
                        <a:pt x="17171" y="0"/>
                      </a:lnTo>
                      <a:cubicBezTo>
                        <a:pt x="17171" y="10677"/>
                        <a:pt x="21463" y="17611"/>
                        <a:pt x="23555" y="24545"/>
                      </a:cubicBezTo>
                      <a:cubicBezTo>
                        <a:pt x="25646" y="32030"/>
                        <a:pt x="21353" y="37314"/>
                        <a:pt x="25096" y="44798"/>
                      </a:cubicBezTo>
                      <a:lnTo>
                        <a:pt x="25096" y="57566"/>
                      </a:lnTo>
                      <a:cubicBezTo>
                        <a:pt x="23995" y="62960"/>
                        <a:pt x="27737" y="68794"/>
                        <a:pt x="28838" y="71986"/>
                      </a:cubicBezTo>
                      <a:cubicBezTo>
                        <a:pt x="33131" y="85304"/>
                        <a:pt x="40065" y="95981"/>
                        <a:pt x="43257" y="108859"/>
                      </a:cubicBezTo>
                      <a:cubicBezTo>
                        <a:pt x="40506" y="104896"/>
                        <a:pt x="36653" y="101704"/>
                        <a:pt x="31920" y="10170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89" name="Freeform: Shape 388">
                  <a:extLst>
                    <a:ext uri="{FF2B5EF4-FFF2-40B4-BE49-F238E27FC236}">
                      <a16:creationId xmlns:a16="http://schemas.microsoft.com/office/drawing/2014/main" id="{05CCDBE5-966A-441E-94C6-E874740F4682}"/>
                    </a:ext>
                  </a:extLst>
                </p:cNvPr>
                <p:cNvSpPr/>
                <p:nvPr/>
              </p:nvSpPr>
              <p:spPr>
                <a:xfrm>
                  <a:off x="4083010" y="2310224"/>
                  <a:ext cx="264167" cy="187118"/>
                </a:xfrm>
                <a:custGeom>
                  <a:avLst/>
                  <a:gdLst>
                    <a:gd name="connsiteX0" fmla="*/ 92128 w 264167"/>
                    <a:gd name="connsiteY0" fmla="*/ 194713 h 187118"/>
                    <a:gd name="connsiteX1" fmla="*/ 61199 w 264167"/>
                    <a:gd name="connsiteY1" fmla="*/ 158390 h 187118"/>
                    <a:gd name="connsiteX2" fmla="*/ 125259 w 264167"/>
                    <a:gd name="connsiteY2" fmla="*/ 81011 h 187118"/>
                    <a:gd name="connsiteX3" fmla="*/ 150795 w 264167"/>
                    <a:gd name="connsiteY3" fmla="*/ 66592 h 187118"/>
                    <a:gd name="connsiteX4" fmla="*/ 162573 w 264167"/>
                    <a:gd name="connsiteY4" fmla="*/ 54374 h 187118"/>
                    <a:gd name="connsiteX5" fmla="*/ 212214 w 264167"/>
                    <a:gd name="connsiteY5" fmla="*/ 41056 h 187118"/>
                    <a:gd name="connsiteX6" fmla="*/ 266589 w 264167"/>
                    <a:gd name="connsiteY6" fmla="*/ 13318 h 187118"/>
                    <a:gd name="connsiteX7" fmla="*/ 245235 w 264167"/>
                    <a:gd name="connsiteY7" fmla="*/ 0 h 187118"/>
                    <a:gd name="connsiteX8" fmla="*/ 165215 w 264167"/>
                    <a:gd name="connsiteY8" fmla="*/ 30379 h 187118"/>
                    <a:gd name="connsiteX9" fmla="*/ 149254 w 264167"/>
                    <a:gd name="connsiteY9" fmla="*/ 23995 h 187118"/>
                    <a:gd name="connsiteX10" fmla="*/ 132194 w 264167"/>
                    <a:gd name="connsiteY10" fmla="*/ 30379 h 187118"/>
                    <a:gd name="connsiteX11" fmla="*/ 84203 w 264167"/>
                    <a:gd name="connsiteY11" fmla="*/ 56025 h 187118"/>
                    <a:gd name="connsiteX12" fmla="*/ 62850 w 264167"/>
                    <a:gd name="connsiteY12" fmla="*/ 59768 h 187118"/>
                    <a:gd name="connsiteX13" fmla="*/ 57567 w 264167"/>
                    <a:gd name="connsiteY13" fmla="*/ 65161 h 187118"/>
                    <a:gd name="connsiteX14" fmla="*/ 61309 w 264167"/>
                    <a:gd name="connsiteY14" fmla="*/ 74737 h 187118"/>
                    <a:gd name="connsiteX15" fmla="*/ 33571 w 264167"/>
                    <a:gd name="connsiteY15" fmla="*/ 106768 h 187118"/>
                    <a:gd name="connsiteX16" fmla="*/ 41606 w 264167"/>
                    <a:gd name="connsiteY16" fmla="*/ 118435 h 187118"/>
                    <a:gd name="connsiteX17" fmla="*/ 15960 w 264167"/>
                    <a:gd name="connsiteY17" fmla="*/ 133404 h 187118"/>
                    <a:gd name="connsiteX18" fmla="*/ 15960 w 264167"/>
                    <a:gd name="connsiteY18" fmla="*/ 141329 h 187118"/>
                    <a:gd name="connsiteX19" fmla="*/ 0 w 264167"/>
                    <a:gd name="connsiteY19" fmla="*/ 162683 h 187118"/>
                    <a:gd name="connsiteX20" fmla="*/ 9576 w 264167"/>
                    <a:gd name="connsiteY20" fmla="*/ 173360 h 187118"/>
                    <a:gd name="connsiteX21" fmla="*/ 25536 w 264167"/>
                    <a:gd name="connsiteY21" fmla="*/ 173360 h 187118"/>
                    <a:gd name="connsiteX22" fmla="*/ 33571 w 264167"/>
                    <a:gd name="connsiteY22" fmla="*/ 192071 h 187118"/>
                    <a:gd name="connsiteX23" fmla="*/ 46890 w 264167"/>
                    <a:gd name="connsiteY23" fmla="*/ 192071 h 187118"/>
                    <a:gd name="connsiteX24" fmla="*/ 50632 w 264167"/>
                    <a:gd name="connsiteY24" fmla="*/ 195814 h 187118"/>
                    <a:gd name="connsiteX25" fmla="*/ 92238 w 264167"/>
                    <a:gd name="connsiteY25" fmla="*/ 195814 h 187118"/>
                    <a:gd name="connsiteX26" fmla="*/ 86845 w 264167"/>
                    <a:gd name="connsiteY26" fmla="*/ 189430 h 187118"/>
                    <a:gd name="connsiteX27" fmla="*/ 92128 w 264167"/>
                    <a:gd name="connsiteY27" fmla="*/ 194713 h 1871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264167" h="187118">
                      <a:moveTo>
                        <a:pt x="92128" y="194713"/>
                      </a:moveTo>
                      <a:cubicBezTo>
                        <a:pt x="80351" y="182936"/>
                        <a:pt x="61199" y="178753"/>
                        <a:pt x="61199" y="158390"/>
                      </a:cubicBezTo>
                      <a:cubicBezTo>
                        <a:pt x="61199" y="124269"/>
                        <a:pt x="97962" y="88496"/>
                        <a:pt x="125259" y="81011"/>
                      </a:cubicBezTo>
                      <a:cubicBezTo>
                        <a:pt x="134835" y="78370"/>
                        <a:pt x="137477" y="66592"/>
                        <a:pt x="150795" y="66592"/>
                      </a:cubicBezTo>
                      <a:cubicBezTo>
                        <a:pt x="157290" y="66592"/>
                        <a:pt x="159381" y="55915"/>
                        <a:pt x="162573" y="54374"/>
                      </a:cubicBezTo>
                      <a:cubicBezTo>
                        <a:pt x="180184" y="45789"/>
                        <a:pt x="193502" y="50082"/>
                        <a:pt x="212214" y="41056"/>
                      </a:cubicBezTo>
                      <a:cubicBezTo>
                        <a:pt x="225533" y="34672"/>
                        <a:pt x="266589" y="31480"/>
                        <a:pt x="266589" y="13318"/>
                      </a:cubicBezTo>
                      <a:cubicBezTo>
                        <a:pt x="266589" y="7485"/>
                        <a:pt x="251729" y="0"/>
                        <a:pt x="245235" y="0"/>
                      </a:cubicBezTo>
                      <a:cubicBezTo>
                        <a:pt x="218598" y="0"/>
                        <a:pt x="193502" y="30379"/>
                        <a:pt x="165215" y="30379"/>
                      </a:cubicBezTo>
                      <a:cubicBezTo>
                        <a:pt x="158830" y="30379"/>
                        <a:pt x="155638" y="23995"/>
                        <a:pt x="149254" y="23995"/>
                      </a:cubicBezTo>
                      <a:cubicBezTo>
                        <a:pt x="139128" y="23995"/>
                        <a:pt x="139128" y="30379"/>
                        <a:pt x="132194" y="30379"/>
                      </a:cubicBezTo>
                      <a:cubicBezTo>
                        <a:pt x="112491" y="30379"/>
                        <a:pt x="97522" y="56025"/>
                        <a:pt x="84203" y="56025"/>
                      </a:cubicBezTo>
                      <a:cubicBezTo>
                        <a:pt x="76168" y="56025"/>
                        <a:pt x="70885" y="59768"/>
                        <a:pt x="62850" y="59768"/>
                      </a:cubicBezTo>
                      <a:cubicBezTo>
                        <a:pt x="59107" y="59768"/>
                        <a:pt x="57567" y="62960"/>
                        <a:pt x="57567" y="65161"/>
                      </a:cubicBezTo>
                      <a:cubicBezTo>
                        <a:pt x="57567" y="68353"/>
                        <a:pt x="61309" y="70445"/>
                        <a:pt x="61309" y="74737"/>
                      </a:cubicBezTo>
                      <a:cubicBezTo>
                        <a:pt x="61309" y="89707"/>
                        <a:pt x="33571" y="97632"/>
                        <a:pt x="33571" y="106768"/>
                      </a:cubicBezTo>
                      <a:cubicBezTo>
                        <a:pt x="33571" y="110950"/>
                        <a:pt x="41056" y="112051"/>
                        <a:pt x="41606" y="118435"/>
                      </a:cubicBezTo>
                      <a:cubicBezTo>
                        <a:pt x="33021" y="120526"/>
                        <a:pt x="15960" y="124379"/>
                        <a:pt x="15960" y="133404"/>
                      </a:cubicBezTo>
                      <a:lnTo>
                        <a:pt x="15960" y="141329"/>
                      </a:lnTo>
                      <a:cubicBezTo>
                        <a:pt x="15960" y="150905"/>
                        <a:pt x="0" y="149805"/>
                        <a:pt x="0" y="162683"/>
                      </a:cubicBezTo>
                      <a:cubicBezTo>
                        <a:pt x="0" y="169067"/>
                        <a:pt x="9576" y="173360"/>
                        <a:pt x="9576" y="173360"/>
                      </a:cubicBezTo>
                      <a:cubicBezTo>
                        <a:pt x="9576" y="173360"/>
                        <a:pt x="23995" y="172809"/>
                        <a:pt x="25536" y="173360"/>
                      </a:cubicBezTo>
                      <a:cubicBezTo>
                        <a:pt x="34562" y="176001"/>
                        <a:pt x="29829" y="184587"/>
                        <a:pt x="33571" y="192071"/>
                      </a:cubicBezTo>
                      <a:cubicBezTo>
                        <a:pt x="34672" y="194713"/>
                        <a:pt x="43147" y="192071"/>
                        <a:pt x="46890" y="192071"/>
                      </a:cubicBezTo>
                      <a:cubicBezTo>
                        <a:pt x="48431" y="192071"/>
                        <a:pt x="49531" y="195263"/>
                        <a:pt x="50632" y="195814"/>
                      </a:cubicBezTo>
                      <a:lnTo>
                        <a:pt x="92238" y="195814"/>
                      </a:lnTo>
                      <a:cubicBezTo>
                        <a:pt x="90587" y="192622"/>
                        <a:pt x="88496" y="190530"/>
                        <a:pt x="86845" y="189430"/>
                      </a:cubicBezTo>
                      <a:lnTo>
                        <a:pt x="92128" y="194713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90" name="Freeform: Shape 389">
                  <a:extLst>
                    <a:ext uri="{FF2B5EF4-FFF2-40B4-BE49-F238E27FC236}">
                      <a16:creationId xmlns:a16="http://schemas.microsoft.com/office/drawing/2014/main" id="{46728CFF-FF71-448C-8410-3AD5FB9A5489}"/>
                    </a:ext>
                  </a:extLst>
                </p:cNvPr>
                <p:cNvSpPr/>
                <p:nvPr/>
              </p:nvSpPr>
              <p:spPr>
                <a:xfrm>
                  <a:off x="6015392" y="2471256"/>
                  <a:ext cx="44028" cy="22014"/>
                </a:xfrm>
                <a:custGeom>
                  <a:avLst/>
                  <a:gdLst>
                    <a:gd name="connsiteX0" fmla="*/ 5393 w 44027"/>
                    <a:gd name="connsiteY0" fmla="*/ 23005 h 22013"/>
                    <a:gd name="connsiteX1" fmla="*/ 0 w 44027"/>
                    <a:gd name="connsiteY1" fmla="*/ 17611 h 22013"/>
                    <a:gd name="connsiteX2" fmla="*/ 25096 w 44027"/>
                    <a:gd name="connsiteY2" fmla="*/ 0 h 22013"/>
                    <a:gd name="connsiteX3" fmla="*/ 53384 w 44027"/>
                    <a:gd name="connsiteY3" fmla="*/ 13318 h 22013"/>
                    <a:gd name="connsiteX4" fmla="*/ 5393 w 44027"/>
                    <a:gd name="connsiteY4" fmla="*/ 23005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27" h="22013">
                      <a:moveTo>
                        <a:pt x="5393" y="23005"/>
                      </a:moveTo>
                      <a:cubicBezTo>
                        <a:pt x="2202" y="23005"/>
                        <a:pt x="0" y="20363"/>
                        <a:pt x="0" y="17611"/>
                      </a:cubicBezTo>
                      <a:cubicBezTo>
                        <a:pt x="0" y="9576"/>
                        <a:pt x="15960" y="0"/>
                        <a:pt x="25096" y="0"/>
                      </a:cubicBezTo>
                      <a:cubicBezTo>
                        <a:pt x="33131" y="0"/>
                        <a:pt x="53384" y="5393"/>
                        <a:pt x="53384" y="13318"/>
                      </a:cubicBezTo>
                      <a:cubicBezTo>
                        <a:pt x="53274" y="20363"/>
                        <a:pt x="11227" y="23005"/>
                        <a:pt x="5393" y="2300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91" name="Freeform: Shape 390">
                  <a:extLst>
                    <a:ext uri="{FF2B5EF4-FFF2-40B4-BE49-F238E27FC236}">
                      <a16:creationId xmlns:a16="http://schemas.microsoft.com/office/drawing/2014/main" id="{871F686C-6793-4104-9F7F-D3A5FBDE67EC}"/>
                    </a:ext>
                  </a:extLst>
                </p:cNvPr>
                <p:cNvSpPr/>
                <p:nvPr/>
              </p:nvSpPr>
              <p:spPr>
                <a:xfrm>
                  <a:off x="5853700" y="2515724"/>
                  <a:ext cx="11007" cy="11007"/>
                </a:xfrm>
                <a:custGeom>
                  <a:avLst/>
                  <a:gdLst>
                    <a:gd name="connsiteX0" fmla="*/ 16070 w 11006"/>
                    <a:gd name="connsiteY0" fmla="*/ 11667 h 11006"/>
                    <a:gd name="connsiteX1" fmla="*/ 21354 w 11006"/>
                    <a:gd name="connsiteY1" fmla="*/ 6384 h 11006"/>
                    <a:gd name="connsiteX2" fmla="*/ 17611 w 11006"/>
                    <a:gd name="connsiteY2" fmla="*/ 0 h 11006"/>
                    <a:gd name="connsiteX3" fmla="*/ 0 w 11006"/>
                    <a:gd name="connsiteY3" fmla="*/ 0 h 11006"/>
                    <a:gd name="connsiteX4" fmla="*/ 16070 w 11006"/>
                    <a:gd name="connsiteY4" fmla="*/ 11667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 h="11006">
                      <a:moveTo>
                        <a:pt x="16070" y="11667"/>
                      </a:moveTo>
                      <a:cubicBezTo>
                        <a:pt x="18712" y="11667"/>
                        <a:pt x="21354" y="9026"/>
                        <a:pt x="21354" y="6384"/>
                      </a:cubicBezTo>
                      <a:cubicBezTo>
                        <a:pt x="21354" y="3192"/>
                        <a:pt x="18161" y="2091"/>
                        <a:pt x="17611" y="0"/>
                      </a:cubicBezTo>
                      <a:lnTo>
                        <a:pt x="0" y="0"/>
                      </a:lnTo>
                      <a:cubicBezTo>
                        <a:pt x="3192" y="6274"/>
                        <a:pt x="8585" y="11667"/>
                        <a:pt x="16070" y="11667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92" name="Freeform: Shape 391">
                  <a:extLst>
                    <a:ext uri="{FF2B5EF4-FFF2-40B4-BE49-F238E27FC236}">
                      <a16:creationId xmlns:a16="http://schemas.microsoft.com/office/drawing/2014/main" id="{E2D8119A-7F3A-489F-9CA4-3A7EADE5F211}"/>
                    </a:ext>
                  </a:extLst>
                </p:cNvPr>
                <p:cNvSpPr/>
                <p:nvPr/>
              </p:nvSpPr>
              <p:spPr>
                <a:xfrm>
                  <a:off x="5357727" y="2345997"/>
                  <a:ext cx="11007" cy="11007"/>
                </a:xfrm>
                <a:custGeom>
                  <a:avLst/>
                  <a:gdLst>
                    <a:gd name="connsiteX0" fmla="*/ 9576 w 0"/>
                    <a:gd name="connsiteY0" fmla="*/ 5283 h 11006"/>
                    <a:gd name="connsiteX1" fmla="*/ 4183 w 0"/>
                    <a:gd name="connsiteY1" fmla="*/ 0 h 11006"/>
                    <a:gd name="connsiteX2" fmla="*/ 0 w 0"/>
                    <a:gd name="connsiteY2" fmla="*/ 8035 h 11006"/>
                    <a:gd name="connsiteX3" fmla="*/ 4183 w 0"/>
                    <a:gd name="connsiteY3" fmla="*/ 12328 h 11006"/>
                    <a:gd name="connsiteX4" fmla="*/ 9576 w 0"/>
                    <a:gd name="connsiteY4" fmla="*/ 4293 h 11006"/>
                    <a:gd name="connsiteX5" fmla="*/ 7925 w 0"/>
                    <a:gd name="connsiteY5" fmla="*/ 4293 h 11006"/>
                    <a:gd name="connsiteX6" fmla="*/ 9576 w 0"/>
                    <a:gd name="connsiteY6" fmla="*/ 5283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h="11006">
                      <a:moveTo>
                        <a:pt x="9576" y="5283"/>
                      </a:moveTo>
                      <a:lnTo>
                        <a:pt x="4183" y="0"/>
                      </a:lnTo>
                      <a:cubicBezTo>
                        <a:pt x="2091" y="2642"/>
                        <a:pt x="0" y="4733"/>
                        <a:pt x="0" y="8035"/>
                      </a:cubicBezTo>
                      <a:cubicBezTo>
                        <a:pt x="0" y="11227"/>
                        <a:pt x="1651" y="12328"/>
                        <a:pt x="4183" y="12328"/>
                      </a:cubicBezTo>
                      <a:cubicBezTo>
                        <a:pt x="8475" y="12328"/>
                        <a:pt x="9026" y="7595"/>
                        <a:pt x="9576" y="4293"/>
                      </a:cubicBezTo>
                      <a:lnTo>
                        <a:pt x="7925" y="4293"/>
                      </a:lnTo>
                      <a:lnTo>
                        <a:pt x="9576" y="5283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93" name="Freeform: Shape 392">
                  <a:extLst>
                    <a:ext uri="{FF2B5EF4-FFF2-40B4-BE49-F238E27FC236}">
                      <a16:creationId xmlns:a16="http://schemas.microsoft.com/office/drawing/2014/main" id="{7696DD98-D420-4628-A96A-D759CDFCDE1E}"/>
                    </a:ext>
                  </a:extLst>
                </p:cNvPr>
                <p:cNvSpPr/>
                <p:nvPr/>
              </p:nvSpPr>
              <p:spPr>
                <a:xfrm>
                  <a:off x="4999230" y="2384960"/>
                  <a:ext cx="22014" cy="11007"/>
                </a:xfrm>
                <a:custGeom>
                  <a:avLst/>
                  <a:gdLst>
                    <a:gd name="connsiteX0" fmla="*/ 23995 w 22013"/>
                    <a:gd name="connsiteY0" fmla="*/ 10567 h 11006"/>
                    <a:gd name="connsiteX1" fmla="*/ 11778 w 22013"/>
                    <a:gd name="connsiteY1" fmla="*/ 14309 h 11006"/>
                    <a:gd name="connsiteX2" fmla="*/ 0 w 22013"/>
                    <a:gd name="connsiteY2" fmla="*/ 7925 h 11006"/>
                    <a:gd name="connsiteX3" fmla="*/ 11778 w 22013"/>
                    <a:gd name="connsiteY3" fmla="*/ 0 h 11006"/>
                    <a:gd name="connsiteX4" fmla="*/ 23995 w 22013"/>
                    <a:gd name="connsiteY4" fmla="*/ 7925 h 11006"/>
                    <a:gd name="connsiteX5" fmla="*/ 19703 w 22013"/>
                    <a:gd name="connsiteY5" fmla="*/ 14309 h 11006"/>
                    <a:gd name="connsiteX6" fmla="*/ 23995 w 22013"/>
                    <a:gd name="connsiteY6" fmla="*/ 10567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013" h="11006">
                      <a:moveTo>
                        <a:pt x="23995" y="10567"/>
                      </a:moveTo>
                      <a:cubicBezTo>
                        <a:pt x="20253" y="12658"/>
                        <a:pt x="16510" y="14309"/>
                        <a:pt x="11778" y="14309"/>
                      </a:cubicBezTo>
                      <a:cubicBezTo>
                        <a:pt x="5944" y="14309"/>
                        <a:pt x="0" y="12658"/>
                        <a:pt x="0" y="7925"/>
                      </a:cubicBezTo>
                      <a:cubicBezTo>
                        <a:pt x="0" y="2642"/>
                        <a:pt x="6384" y="0"/>
                        <a:pt x="11778" y="0"/>
                      </a:cubicBezTo>
                      <a:cubicBezTo>
                        <a:pt x="19262" y="0"/>
                        <a:pt x="23995" y="1651"/>
                        <a:pt x="23995" y="7925"/>
                      </a:cubicBezTo>
                      <a:cubicBezTo>
                        <a:pt x="23995" y="11117"/>
                        <a:pt x="21354" y="12768"/>
                        <a:pt x="19703" y="14309"/>
                      </a:cubicBezTo>
                      <a:lnTo>
                        <a:pt x="23995" y="10567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94" name="Freeform: Shape 393">
                  <a:extLst>
                    <a:ext uri="{FF2B5EF4-FFF2-40B4-BE49-F238E27FC236}">
                      <a16:creationId xmlns:a16="http://schemas.microsoft.com/office/drawing/2014/main" id="{D60AAE06-8D8A-4DEB-8705-73B5F68CD694}"/>
                    </a:ext>
                  </a:extLst>
                </p:cNvPr>
                <p:cNvSpPr/>
                <p:nvPr/>
              </p:nvSpPr>
              <p:spPr>
                <a:xfrm>
                  <a:off x="4811012" y="2230202"/>
                  <a:ext cx="88056" cy="44028"/>
                </a:xfrm>
                <a:custGeom>
                  <a:avLst/>
                  <a:gdLst>
                    <a:gd name="connsiteX0" fmla="*/ 7925 w 88055"/>
                    <a:gd name="connsiteY0" fmla="*/ 51733 h 44027"/>
                    <a:gd name="connsiteX1" fmla="*/ 0 w 88055"/>
                    <a:gd name="connsiteY1" fmla="*/ 43808 h 44027"/>
                    <a:gd name="connsiteX2" fmla="*/ 9576 w 88055"/>
                    <a:gd name="connsiteY2" fmla="*/ 32030 h 44027"/>
                    <a:gd name="connsiteX3" fmla="*/ 47991 w 88055"/>
                    <a:gd name="connsiteY3" fmla="*/ 0 h 44027"/>
                    <a:gd name="connsiteX4" fmla="*/ 54925 w 88055"/>
                    <a:gd name="connsiteY4" fmla="*/ 0 h 44027"/>
                    <a:gd name="connsiteX5" fmla="*/ 53384 w 88055"/>
                    <a:gd name="connsiteY5" fmla="*/ 11777 h 44027"/>
                    <a:gd name="connsiteX6" fmla="*/ 63070 w 88055"/>
                    <a:gd name="connsiteY6" fmla="*/ 6494 h 44027"/>
                    <a:gd name="connsiteX7" fmla="*/ 92349 w 88055"/>
                    <a:gd name="connsiteY7" fmla="*/ 27848 h 44027"/>
                    <a:gd name="connsiteX8" fmla="*/ 55035 w 88055"/>
                    <a:gd name="connsiteY8" fmla="*/ 41166 h 44027"/>
                    <a:gd name="connsiteX9" fmla="*/ 36433 w 88055"/>
                    <a:gd name="connsiteY9" fmla="*/ 43918 h 44027"/>
                    <a:gd name="connsiteX10" fmla="*/ 7925 w 88055"/>
                    <a:gd name="connsiteY10" fmla="*/ 51733 h 44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8055" h="44027">
                      <a:moveTo>
                        <a:pt x="7925" y="51733"/>
                      </a:moveTo>
                      <a:cubicBezTo>
                        <a:pt x="1541" y="51733"/>
                        <a:pt x="0" y="49091"/>
                        <a:pt x="0" y="43808"/>
                      </a:cubicBezTo>
                      <a:cubicBezTo>
                        <a:pt x="0" y="35222"/>
                        <a:pt x="6384" y="35222"/>
                        <a:pt x="9576" y="32030"/>
                      </a:cubicBezTo>
                      <a:cubicBezTo>
                        <a:pt x="21794" y="19702"/>
                        <a:pt x="26637" y="0"/>
                        <a:pt x="47991" y="0"/>
                      </a:cubicBezTo>
                      <a:lnTo>
                        <a:pt x="54925" y="0"/>
                      </a:lnTo>
                      <a:cubicBezTo>
                        <a:pt x="54925" y="7485"/>
                        <a:pt x="57677" y="7485"/>
                        <a:pt x="53384" y="11777"/>
                      </a:cubicBezTo>
                      <a:cubicBezTo>
                        <a:pt x="57126" y="10677"/>
                        <a:pt x="59328" y="6494"/>
                        <a:pt x="63070" y="6494"/>
                      </a:cubicBezTo>
                      <a:cubicBezTo>
                        <a:pt x="70445" y="6494"/>
                        <a:pt x="92349" y="20363"/>
                        <a:pt x="92349" y="27848"/>
                      </a:cubicBezTo>
                      <a:cubicBezTo>
                        <a:pt x="92349" y="40616"/>
                        <a:pt x="64611" y="42817"/>
                        <a:pt x="55035" y="41166"/>
                      </a:cubicBezTo>
                      <a:cubicBezTo>
                        <a:pt x="52944" y="41166"/>
                        <a:pt x="36433" y="43918"/>
                        <a:pt x="36433" y="43918"/>
                      </a:cubicBezTo>
                      <a:lnTo>
                        <a:pt x="7925" y="51733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95" name="Freeform: Shape 394">
                  <a:extLst>
                    <a:ext uri="{FF2B5EF4-FFF2-40B4-BE49-F238E27FC236}">
                      <a16:creationId xmlns:a16="http://schemas.microsoft.com/office/drawing/2014/main" id="{AE8E9585-6E0B-41DB-B6EB-CBD87B3B0336}"/>
                    </a:ext>
                  </a:extLst>
                </p:cNvPr>
                <p:cNvSpPr/>
                <p:nvPr/>
              </p:nvSpPr>
              <p:spPr>
                <a:xfrm>
                  <a:off x="4681899" y="2204557"/>
                  <a:ext cx="33021" cy="11007"/>
                </a:xfrm>
                <a:custGeom>
                  <a:avLst/>
                  <a:gdLst>
                    <a:gd name="connsiteX0" fmla="*/ 14419 w 33020"/>
                    <a:gd name="connsiteY0" fmla="*/ 0 h 11006"/>
                    <a:gd name="connsiteX1" fmla="*/ 35662 w 33020"/>
                    <a:gd name="connsiteY1" fmla="*/ 8035 h 11006"/>
                    <a:gd name="connsiteX2" fmla="*/ 10677 w 33020"/>
                    <a:gd name="connsiteY2" fmla="*/ 18712 h 11006"/>
                    <a:gd name="connsiteX3" fmla="*/ 0 w 33020"/>
                    <a:gd name="connsiteY3" fmla="*/ 5393 h 11006"/>
                    <a:gd name="connsiteX4" fmla="*/ 14419 w 33020"/>
                    <a:gd name="connsiteY4" fmla="*/ 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20" h="11006">
                      <a:moveTo>
                        <a:pt x="14419" y="0"/>
                      </a:moveTo>
                      <a:cubicBezTo>
                        <a:pt x="17061" y="0"/>
                        <a:pt x="32030" y="6934"/>
                        <a:pt x="35662" y="8035"/>
                      </a:cubicBezTo>
                      <a:cubicBezTo>
                        <a:pt x="34672" y="17611"/>
                        <a:pt x="17061" y="18712"/>
                        <a:pt x="10677" y="18712"/>
                      </a:cubicBezTo>
                      <a:cubicBezTo>
                        <a:pt x="7485" y="18712"/>
                        <a:pt x="0" y="10126"/>
                        <a:pt x="0" y="5393"/>
                      </a:cubicBezTo>
                      <a:cubicBezTo>
                        <a:pt x="0" y="0"/>
                        <a:pt x="11227" y="0"/>
                        <a:pt x="14419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96" name="Freeform: Shape 395">
                  <a:extLst>
                    <a:ext uri="{FF2B5EF4-FFF2-40B4-BE49-F238E27FC236}">
                      <a16:creationId xmlns:a16="http://schemas.microsoft.com/office/drawing/2014/main" id="{DC2A7ADB-ACC1-44BA-AAA6-68A839166B33}"/>
                    </a:ext>
                  </a:extLst>
                </p:cNvPr>
                <p:cNvSpPr/>
                <p:nvPr/>
              </p:nvSpPr>
              <p:spPr>
                <a:xfrm>
                  <a:off x="4693568" y="2164712"/>
                  <a:ext cx="121077" cy="88056"/>
                </a:xfrm>
                <a:custGeom>
                  <a:avLst/>
                  <a:gdLst>
                    <a:gd name="connsiteX0" fmla="*/ 120086 w 121076"/>
                    <a:gd name="connsiteY0" fmla="*/ 81452 h 88055"/>
                    <a:gd name="connsiteX1" fmla="*/ 109409 w 121076"/>
                    <a:gd name="connsiteY1" fmla="*/ 89487 h 88055"/>
                    <a:gd name="connsiteX2" fmla="*/ 49642 w 121076"/>
                    <a:gd name="connsiteY2" fmla="*/ 79911 h 88055"/>
                    <a:gd name="connsiteX3" fmla="*/ 21354 w 121076"/>
                    <a:gd name="connsiteY3" fmla="*/ 60758 h 88055"/>
                    <a:gd name="connsiteX4" fmla="*/ 61309 w 121076"/>
                    <a:gd name="connsiteY4" fmla="*/ 43698 h 88055"/>
                    <a:gd name="connsiteX5" fmla="*/ 38965 w 121076"/>
                    <a:gd name="connsiteY5" fmla="*/ 42707 h 88055"/>
                    <a:gd name="connsiteX6" fmla="*/ 0 w 121076"/>
                    <a:gd name="connsiteY6" fmla="*/ 31480 h 88055"/>
                    <a:gd name="connsiteX7" fmla="*/ 55915 w 121076"/>
                    <a:gd name="connsiteY7" fmla="*/ 0 h 88055"/>
                    <a:gd name="connsiteX8" fmla="*/ 87946 w 121076"/>
                    <a:gd name="connsiteY8" fmla="*/ 20803 h 88055"/>
                    <a:gd name="connsiteX9" fmla="*/ 81562 w 121076"/>
                    <a:gd name="connsiteY9" fmla="*/ 21353 h 88055"/>
                    <a:gd name="connsiteX10" fmla="*/ 81562 w 121076"/>
                    <a:gd name="connsiteY10" fmla="*/ 32030 h 88055"/>
                    <a:gd name="connsiteX11" fmla="*/ 71435 w 121076"/>
                    <a:gd name="connsiteY11" fmla="*/ 41606 h 88055"/>
                    <a:gd name="connsiteX12" fmla="*/ 82662 w 121076"/>
                    <a:gd name="connsiteY12" fmla="*/ 41606 h 88055"/>
                    <a:gd name="connsiteX13" fmla="*/ 98622 w 121076"/>
                    <a:gd name="connsiteY13" fmla="*/ 47000 h 88055"/>
                    <a:gd name="connsiteX14" fmla="*/ 109299 w 121076"/>
                    <a:gd name="connsiteY14" fmla="*/ 47000 h 88055"/>
                    <a:gd name="connsiteX15" fmla="*/ 126910 w 121076"/>
                    <a:gd name="connsiteY15" fmla="*/ 57676 h 88055"/>
                    <a:gd name="connsiteX16" fmla="*/ 122617 w 121076"/>
                    <a:gd name="connsiteY16" fmla="*/ 68353 h 88055"/>
                    <a:gd name="connsiteX17" fmla="*/ 112051 w 121076"/>
                    <a:gd name="connsiteY17" fmla="*/ 75288 h 88055"/>
                    <a:gd name="connsiteX18" fmla="*/ 120086 w 121076"/>
                    <a:gd name="connsiteY18" fmla="*/ 81452 h 88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1076" h="88055">
                      <a:moveTo>
                        <a:pt x="120086" y="81452"/>
                      </a:moveTo>
                      <a:cubicBezTo>
                        <a:pt x="120086" y="86295"/>
                        <a:pt x="114252" y="89487"/>
                        <a:pt x="109409" y="89487"/>
                      </a:cubicBezTo>
                      <a:cubicBezTo>
                        <a:pt x="85964" y="89487"/>
                        <a:pt x="68904" y="79911"/>
                        <a:pt x="49642" y="79911"/>
                      </a:cubicBezTo>
                      <a:cubicBezTo>
                        <a:pt x="43257" y="79911"/>
                        <a:pt x="29388" y="64941"/>
                        <a:pt x="21354" y="60758"/>
                      </a:cubicBezTo>
                      <a:cubicBezTo>
                        <a:pt x="38965" y="54925"/>
                        <a:pt x="44248" y="48981"/>
                        <a:pt x="61309" y="43698"/>
                      </a:cubicBezTo>
                      <a:cubicBezTo>
                        <a:pt x="56025" y="43698"/>
                        <a:pt x="42157" y="42707"/>
                        <a:pt x="38965" y="42707"/>
                      </a:cubicBezTo>
                      <a:cubicBezTo>
                        <a:pt x="23995" y="42707"/>
                        <a:pt x="13869" y="38414"/>
                        <a:pt x="0" y="31480"/>
                      </a:cubicBezTo>
                      <a:cubicBezTo>
                        <a:pt x="22454" y="25096"/>
                        <a:pt x="30379" y="0"/>
                        <a:pt x="55915" y="0"/>
                      </a:cubicBezTo>
                      <a:cubicBezTo>
                        <a:pt x="70885" y="0"/>
                        <a:pt x="79470" y="14419"/>
                        <a:pt x="87946" y="20803"/>
                      </a:cubicBezTo>
                      <a:cubicBezTo>
                        <a:pt x="82552" y="23005"/>
                        <a:pt x="83653" y="21904"/>
                        <a:pt x="81562" y="21353"/>
                      </a:cubicBezTo>
                      <a:cubicBezTo>
                        <a:pt x="82112" y="27738"/>
                        <a:pt x="81562" y="29389"/>
                        <a:pt x="81562" y="32030"/>
                      </a:cubicBezTo>
                      <a:cubicBezTo>
                        <a:pt x="81562" y="35222"/>
                        <a:pt x="75728" y="39515"/>
                        <a:pt x="71435" y="41606"/>
                      </a:cubicBezTo>
                      <a:cubicBezTo>
                        <a:pt x="76719" y="39955"/>
                        <a:pt x="78370" y="41606"/>
                        <a:pt x="82662" y="41606"/>
                      </a:cubicBezTo>
                      <a:cubicBezTo>
                        <a:pt x="89046" y="41606"/>
                        <a:pt x="92238" y="47000"/>
                        <a:pt x="98622" y="47000"/>
                      </a:cubicBezTo>
                      <a:lnTo>
                        <a:pt x="109299" y="47000"/>
                      </a:lnTo>
                      <a:cubicBezTo>
                        <a:pt x="119976" y="47000"/>
                        <a:pt x="119976" y="50742"/>
                        <a:pt x="126910" y="57676"/>
                      </a:cubicBezTo>
                      <a:cubicBezTo>
                        <a:pt x="121627" y="61969"/>
                        <a:pt x="122617" y="62960"/>
                        <a:pt x="122617" y="68353"/>
                      </a:cubicBezTo>
                      <a:cubicBezTo>
                        <a:pt x="122617" y="73747"/>
                        <a:pt x="115133" y="74187"/>
                        <a:pt x="112051" y="75288"/>
                      </a:cubicBezTo>
                      <a:cubicBezTo>
                        <a:pt x="115793" y="76168"/>
                        <a:pt x="120086" y="77819"/>
                        <a:pt x="120086" y="81452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97" name="Freeform: Shape 396">
                  <a:extLst>
                    <a:ext uri="{FF2B5EF4-FFF2-40B4-BE49-F238E27FC236}">
                      <a16:creationId xmlns:a16="http://schemas.microsoft.com/office/drawing/2014/main" id="{7D534ABF-CE78-489F-A439-297D3701117A}"/>
                    </a:ext>
                  </a:extLst>
                </p:cNvPr>
                <p:cNvSpPr/>
                <p:nvPr/>
              </p:nvSpPr>
              <p:spPr>
                <a:xfrm>
                  <a:off x="4748492" y="2306041"/>
                  <a:ext cx="11007" cy="11007"/>
                </a:xfrm>
                <a:custGeom>
                  <a:avLst/>
                  <a:gdLst>
                    <a:gd name="connsiteX0" fmla="*/ 0 w 11006"/>
                    <a:gd name="connsiteY0" fmla="*/ 5283 h 0"/>
                    <a:gd name="connsiteX1" fmla="*/ 8035 w 11006"/>
                    <a:gd name="connsiteY1" fmla="*/ 0 h 0"/>
                    <a:gd name="connsiteX2" fmla="*/ 16070 w 11006"/>
                    <a:gd name="connsiteY2" fmla="*/ 0 h 0"/>
                    <a:gd name="connsiteX3" fmla="*/ 5394 w 11006"/>
                    <a:gd name="connsiteY3" fmla="*/ 10677 h 0"/>
                    <a:gd name="connsiteX4" fmla="*/ 0 w 11006"/>
                    <a:gd name="connsiteY4" fmla="*/ 5283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>
                      <a:moveTo>
                        <a:pt x="0" y="5283"/>
                      </a:moveTo>
                      <a:cubicBezTo>
                        <a:pt x="3192" y="3632"/>
                        <a:pt x="5834" y="1541"/>
                        <a:pt x="8035" y="0"/>
                      </a:cubicBezTo>
                      <a:lnTo>
                        <a:pt x="16070" y="0"/>
                      </a:lnTo>
                      <a:cubicBezTo>
                        <a:pt x="14970" y="7375"/>
                        <a:pt x="11778" y="10677"/>
                        <a:pt x="5394" y="10677"/>
                      </a:cubicBezTo>
                      <a:cubicBezTo>
                        <a:pt x="2752" y="10567"/>
                        <a:pt x="551" y="7925"/>
                        <a:pt x="0" y="528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98" name="Freeform: Shape 397">
                  <a:extLst>
                    <a:ext uri="{FF2B5EF4-FFF2-40B4-BE49-F238E27FC236}">
                      <a16:creationId xmlns:a16="http://schemas.microsoft.com/office/drawing/2014/main" id="{6724404C-F6F8-43BD-B077-7275E748EA78}"/>
                    </a:ext>
                  </a:extLst>
                </p:cNvPr>
                <p:cNvSpPr/>
                <p:nvPr/>
              </p:nvSpPr>
              <p:spPr>
                <a:xfrm>
                  <a:off x="4668471" y="2167354"/>
                  <a:ext cx="11007" cy="11007"/>
                </a:xfrm>
                <a:custGeom>
                  <a:avLst/>
                  <a:gdLst>
                    <a:gd name="connsiteX0" fmla="*/ 21354 w 11006"/>
                    <a:gd name="connsiteY0" fmla="*/ 4183 h 0"/>
                    <a:gd name="connsiteX1" fmla="*/ 0 w 11006"/>
                    <a:gd name="connsiteY1" fmla="*/ 0 h 0"/>
                    <a:gd name="connsiteX2" fmla="*/ 19703 w 11006"/>
                    <a:gd name="connsiteY2" fmla="*/ 0 h 0"/>
                    <a:gd name="connsiteX3" fmla="*/ 21354 w 11006"/>
                    <a:gd name="connsiteY3" fmla="*/ 4183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06">
                      <a:moveTo>
                        <a:pt x="21354" y="4183"/>
                      </a:moveTo>
                      <a:cubicBezTo>
                        <a:pt x="13429" y="5283"/>
                        <a:pt x="3192" y="6934"/>
                        <a:pt x="0" y="0"/>
                      </a:cubicBezTo>
                      <a:lnTo>
                        <a:pt x="19703" y="0"/>
                      </a:lnTo>
                      <a:lnTo>
                        <a:pt x="21354" y="4183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399" name="Freeform: Shape 398">
                  <a:extLst>
                    <a:ext uri="{FF2B5EF4-FFF2-40B4-BE49-F238E27FC236}">
                      <a16:creationId xmlns:a16="http://schemas.microsoft.com/office/drawing/2014/main" id="{8A1A1C73-27B3-45EC-87A8-538E10706BC9}"/>
                    </a:ext>
                  </a:extLst>
                </p:cNvPr>
                <p:cNvSpPr/>
                <p:nvPr/>
              </p:nvSpPr>
              <p:spPr>
                <a:xfrm>
                  <a:off x="4920310" y="2270269"/>
                  <a:ext cx="11007" cy="11007"/>
                </a:xfrm>
                <a:custGeom>
                  <a:avLst/>
                  <a:gdLst>
                    <a:gd name="connsiteX0" fmla="*/ 17611 w 11006"/>
                    <a:gd name="connsiteY0" fmla="*/ 0 h 0"/>
                    <a:gd name="connsiteX1" fmla="*/ 10677 w 11006"/>
                    <a:gd name="connsiteY1" fmla="*/ 8035 h 0"/>
                    <a:gd name="connsiteX2" fmla="*/ 0 w 11006"/>
                    <a:gd name="connsiteY2" fmla="*/ 1651 h 0"/>
                    <a:gd name="connsiteX3" fmla="*/ 17611 w 11006"/>
                    <a:gd name="connsiteY3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06">
                      <a:moveTo>
                        <a:pt x="17611" y="0"/>
                      </a:moveTo>
                      <a:cubicBezTo>
                        <a:pt x="17061" y="3742"/>
                        <a:pt x="14419" y="8035"/>
                        <a:pt x="10677" y="8035"/>
                      </a:cubicBezTo>
                      <a:cubicBezTo>
                        <a:pt x="4293" y="8035"/>
                        <a:pt x="1541" y="4293"/>
                        <a:pt x="0" y="1651"/>
                      </a:cubicBezTo>
                      <a:cubicBezTo>
                        <a:pt x="11227" y="-550"/>
                        <a:pt x="12878" y="2091"/>
                        <a:pt x="17611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00" name="Freeform: Shape 399">
                  <a:extLst>
                    <a:ext uri="{FF2B5EF4-FFF2-40B4-BE49-F238E27FC236}">
                      <a16:creationId xmlns:a16="http://schemas.microsoft.com/office/drawing/2014/main" id="{340669C8-2C9C-4E55-8F5E-9EB2C77C97F4}"/>
                    </a:ext>
                  </a:extLst>
                </p:cNvPr>
                <p:cNvSpPr/>
                <p:nvPr/>
              </p:nvSpPr>
              <p:spPr>
                <a:xfrm>
                  <a:off x="3972721" y="2180562"/>
                  <a:ext cx="99063" cy="22014"/>
                </a:xfrm>
                <a:custGeom>
                  <a:avLst/>
                  <a:gdLst>
                    <a:gd name="connsiteX0" fmla="*/ 91468 w 99062"/>
                    <a:gd name="connsiteY0" fmla="*/ 16070 h 22013"/>
                    <a:gd name="connsiteX1" fmla="*/ 69124 w 99062"/>
                    <a:gd name="connsiteY1" fmla="*/ 20363 h 22013"/>
                    <a:gd name="connsiteX2" fmla="*/ 58447 w 99062"/>
                    <a:gd name="connsiteY2" fmla="*/ 32030 h 22013"/>
                    <a:gd name="connsiteX3" fmla="*/ 52613 w 99062"/>
                    <a:gd name="connsiteY3" fmla="*/ 26747 h 22013"/>
                    <a:gd name="connsiteX4" fmla="*/ 53053 w 99062"/>
                    <a:gd name="connsiteY4" fmla="*/ 26747 h 22013"/>
                    <a:gd name="connsiteX5" fmla="*/ 38194 w 99062"/>
                    <a:gd name="connsiteY5" fmla="*/ 20363 h 22013"/>
                    <a:gd name="connsiteX6" fmla="*/ 49421 w 99062"/>
                    <a:gd name="connsiteY6" fmla="*/ 16070 h 22013"/>
                    <a:gd name="connsiteX7" fmla="*/ 39845 w 99062"/>
                    <a:gd name="connsiteY7" fmla="*/ 14969 h 22013"/>
                    <a:gd name="connsiteX8" fmla="*/ 47880 w 99062"/>
                    <a:gd name="connsiteY8" fmla="*/ 10126 h 22013"/>
                    <a:gd name="connsiteX9" fmla="*/ 35662 w 99062"/>
                    <a:gd name="connsiteY9" fmla="*/ 5283 h 22013"/>
                    <a:gd name="connsiteX10" fmla="*/ 11667 w 99062"/>
                    <a:gd name="connsiteY10" fmla="*/ 12218 h 22013"/>
                    <a:gd name="connsiteX11" fmla="*/ 0 w 99062"/>
                    <a:gd name="connsiteY11" fmla="*/ 10126 h 22013"/>
                    <a:gd name="connsiteX12" fmla="*/ 41056 w 99062"/>
                    <a:gd name="connsiteY12" fmla="*/ 0 h 22013"/>
                    <a:gd name="connsiteX13" fmla="*/ 71985 w 99062"/>
                    <a:gd name="connsiteY13" fmla="*/ 6934 h 22013"/>
                    <a:gd name="connsiteX14" fmla="*/ 91688 w 99062"/>
                    <a:gd name="connsiteY14" fmla="*/ 0 h 22013"/>
                    <a:gd name="connsiteX15" fmla="*/ 107648 w 99062"/>
                    <a:gd name="connsiteY15" fmla="*/ 5393 h 22013"/>
                    <a:gd name="connsiteX16" fmla="*/ 93339 w 99062"/>
                    <a:gd name="connsiteY16" fmla="*/ 14969 h 22013"/>
                    <a:gd name="connsiteX17" fmla="*/ 87946 w 99062"/>
                    <a:gd name="connsiteY17" fmla="*/ 14969 h 22013"/>
                    <a:gd name="connsiteX18" fmla="*/ 87946 w 99062"/>
                    <a:gd name="connsiteY18" fmla="*/ 20363 h 22013"/>
                    <a:gd name="connsiteX19" fmla="*/ 91468 w 99062"/>
                    <a:gd name="connsiteY19" fmla="*/ 16070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99062" h="22013">
                      <a:moveTo>
                        <a:pt x="91468" y="16070"/>
                      </a:moveTo>
                      <a:cubicBezTo>
                        <a:pt x="82442" y="23005"/>
                        <a:pt x="77599" y="15520"/>
                        <a:pt x="69124" y="20363"/>
                      </a:cubicBezTo>
                      <a:cubicBezTo>
                        <a:pt x="64281" y="23005"/>
                        <a:pt x="63290" y="32691"/>
                        <a:pt x="58447" y="32030"/>
                      </a:cubicBezTo>
                      <a:cubicBezTo>
                        <a:pt x="55805" y="31480"/>
                        <a:pt x="54154" y="28838"/>
                        <a:pt x="52613" y="26747"/>
                      </a:cubicBezTo>
                      <a:lnTo>
                        <a:pt x="53053" y="26747"/>
                      </a:lnTo>
                      <a:cubicBezTo>
                        <a:pt x="45128" y="26747"/>
                        <a:pt x="39735" y="25206"/>
                        <a:pt x="38194" y="20363"/>
                      </a:cubicBezTo>
                      <a:cubicBezTo>
                        <a:pt x="42377" y="18161"/>
                        <a:pt x="45128" y="17171"/>
                        <a:pt x="49421" y="16070"/>
                      </a:cubicBezTo>
                      <a:cubicBezTo>
                        <a:pt x="44688" y="16070"/>
                        <a:pt x="41936" y="15520"/>
                        <a:pt x="39845" y="14969"/>
                      </a:cubicBezTo>
                      <a:cubicBezTo>
                        <a:pt x="42487" y="13318"/>
                        <a:pt x="45128" y="12328"/>
                        <a:pt x="47880" y="10126"/>
                      </a:cubicBezTo>
                      <a:cubicBezTo>
                        <a:pt x="43037" y="8475"/>
                        <a:pt x="40395" y="5283"/>
                        <a:pt x="35662" y="5283"/>
                      </a:cubicBezTo>
                      <a:cubicBezTo>
                        <a:pt x="29829" y="5283"/>
                        <a:pt x="19702" y="12218"/>
                        <a:pt x="11667" y="12218"/>
                      </a:cubicBezTo>
                      <a:cubicBezTo>
                        <a:pt x="7374" y="12218"/>
                        <a:pt x="4293" y="10677"/>
                        <a:pt x="0" y="10126"/>
                      </a:cubicBezTo>
                      <a:cubicBezTo>
                        <a:pt x="4733" y="1541"/>
                        <a:pt x="29829" y="0"/>
                        <a:pt x="41056" y="0"/>
                      </a:cubicBezTo>
                      <a:cubicBezTo>
                        <a:pt x="54374" y="0"/>
                        <a:pt x="61859" y="6934"/>
                        <a:pt x="71985" y="6934"/>
                      </a:cubicBezTo>
                      <a:cubicBezTo>
                        <a:pt x="80020" y="6934"/>
                        <a:pt x="83763" y="0"/>
                        <a:pt x="91688" y="0"/>
                      </a:cubicBezTo>
                      <a:cubicBezTo>
                        <a:pt x="98072" y="0"/>
                        <a:pt x="104566" y="4293"/>
                        <a:pt x="107648" y="5393"/>
                      </a:cubicBezTo>
                      <a:cubicBezTo>
                        <a:pt x="106547" y="14969"/>
                        <a:pt x="99723" y="10236"/>
                        <a:pt x="93339" y="14969"/>
                      </a:cubicBezTo>
                      <a:cubicBezTo>
                        <a:pt x="91688" y="15520"/>
                        <a:pt x="89596" y="15520"/>
                        <a:pt x="87946" y="14969"/>
                      </a:cubicBezTo>
                      <a:lnTo>
                        <a:pt x="87946" y="20363"/>
                      </a:lnTo>
                      <a:lnTo>
                        <a:pt x="91468" y="1607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01" name="Freeform: Shape 400">
                  <a:extLst>
                    <a:ext uri="{FF2B5EF4-FFF2-40B4-BE49-F238E27FC236}">
                      <a16:creationId xmlns:a16="http://schemas.microsoft.com/office/drawing/2014/main" id="{F9F27CB8-F1DE-4ED5-A9B8-30032DA52D90}"/>
                    </a:ext>
                  </a:extLst>
                </p:cNvPr>
                <p:cNvSpPr/>
                <p:nvPr/>
              </p:nvSpPr>
              <p:spPr>
                <a:xfrm>
                  <a:off x="4252408" y="2159207"/>
                  <a:ext cx="33021" cy="22014"/>
                </a:xfrm>
                <a:custGeom>
                  <a:avLst/>
                  <a:gdLst>
                    <a:gd name="connsiteX0" fmla="*/ 9136 w 33020"/>
                    <a:gd name="connsiteY0" fmla="*/ 24105 h 22013"/>
                    <a:gd name="connsiteX1" fmla="*/ 0 w 33020"/>
                    <a:gd name="connsiteY1" fmla="*/ 16070 h 22013"/>
                    <a:gd name="connsiteX2" fmla="*/ 29829 w 33020"/>
                    <a:gd name="connsiteY2" fmla="*/ 0 h 22013"/>
                    <a:gd name="connsiteX3" fmla="*/ 37314 w 33020"/>
                    <a:gd name="connsiteY3" fmla="*/ 17061 h 22013"/>
                    <a:gd name="connsiteX4" fmla="*/ 9136 w 33020"/>
                    <a:gd name="connsiteY4" fmla="*/ 24105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020" h="22013">
                      <a:moveTo>
                        <a:pt x="9136" y="24105"/>
                      </a:moveTo>
                      <a:cubicBezTo>
                        <a:pt x="2752" y="24105"/>
                        <a:pt x="0" y="21464"/>
                        <a:pt x="0" y="16070"/>
                      </a:cubicBezTo>
                      <a:cubicBezTo>
                        <a:pt x="0" y="8585"/>
                        <a:pt x="21904" y="0"/>
                        <a:pt x="29829" y="0"/>
                      </a:cubicBezTo>
                      <a:lnTo>
                        <a:pt x="37314" y="17061"/>
                      </a:lnTo>
                      <a:cubicBezTo>
                        <a:pt x="33682" y="19813"/>
                        <a:pt x="12878" y="24105"/>
                        <a:pt x="9136" y="24105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02" name="Freeform: Shape 401">
                  <a:extLst>
                    <a:ext uri="{FF2B5EF4-FFF2-40B4-BE49-F238E27FC236}">
                      <a16:creationId xmlns:a16="http://schemas.microsoft.com/office/drawing/2014/main" id="{8F60260E-7D92-4F68-AFE9-6D1C5671946C}"/>
                    </a:ext>
                  </a:extLst>
                </p:cNvPr>
                <p:cNvSpPr/>
                <p:nvPr/>
              </p:nvSpPr>
              <p:spPr>
                <a:xfrm>
                  <a:off x="4202877" y="2175169"/>
                  <a:ext cx="33021" cy="22014"/>
                </a:xfrm>
                <a:custGeom>
                  <a:avLst/>
                  <a:gdLst>
                    <a:gd name="connsiteX0" fmla="*/ 39955 w 33020"/>
                    <a:gd name="connsiteY0" fmla="*/ 4403 h 22013"/>
                    <a:gd name="connsiteX1" fmla="*/ 39955 w 33020"/>
                    <a:gd name="connsiteY1" fmla="*/ 12328 h 22013"/>
                    <a:gd name="connsiteX2" fmla="*/ 26637 w 33020"/>
                    <a:gd name="connsiteY2" fmla="*/ 14969 h 22013"/>
                    <a:gd name="connsiteX3" fmla="*/ 29279 w 33020"/>
                    <a:gd name="connsiteY3" fmla="*/ 21354 h 22013"/>
                    <a:gd name="connsiteX4" fmla="*/ 0 w 33020"/>
                    <a:gd name="connsiteY4" fmla="*/ 21354 h 22013"/>
                    <a:gd name="connsiteX5" fmla="*/ 10677 w 33020"/>
                    <a:gd name="connsiteY5" fmla="*/ 6934 h 22013"/>
                    <a:gd name="connsiteX6" fmla="*/ 10677 w 33020"/>
                    <a:gd name="connsiteY6" fmla="*/ 0 h 22013"/>
                    <a:gd name="connsiteX7" fmla="*/ 28288 w 33020"/>
                    <a:gd name="connsiteY7" fmla="*/ 0 h 22013"/>
                    <a:gd name="connsiteX8" fmla="*/ 23005 w 33020"/>
                    <a:gd name="connsiteY8" fmla="*/ 4293 h 22013"/>
                    <a:gd name="connsiteX9" fmla="*/ 39955 w 33020"/>
                    <a:gd name="connsiteY9" fmla="*/ 4403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3020" h="22013">
                      <a:moveTo>
                        <a:pt x="39955" y="4403"/>
                      </a:moveTo>
                      <a:cubicBezTo>
                        <a:pt x="40506" y="9136"/>
                        <a:pt x="39955" y="10236"/>
                        <a:pt x="39955" y="12328"/>
                      </a:cubicBezTo>
                      <a:cubicBezTo>
                        <a:pt x="36764" y="17061"/>
                        <a:pt x="31370" y="14969"/>
                        <a:pt x="26637" y="14969"/>
                      </a:cubicBezTo>
                      <a:lnTo>
                        <a:pt x="29279" y="21354"/>
                      </a:lnTo>
                      <a:cubicBezTo>
                        <a:pt x="26087" y="23005"/>
                        <a:pt x="0" y="23995"/>
                        <a:pt x="0" y="21354"/>
                      </a:cubicBezTo>
                      <a:cubicBezTo>
                        <a:pt x="0" y="13318"/>
                        <a:pt x="4293" y="9136"/>
                        <a:pt x="10677" y="6934"/>
                      </a:cubicBezTo>
                      <a:cubicBezTo>
                        <a:pt x="10127" y="2642"/>
                        <a:pt x="10677" y="1101"/>
                        <a:pt x="10677" y="0"/>
                      </a:cubicBezTo>
                      <a:lnTo>
                        <a:pt x="28288" y="0"/>
                      </a:lnTo>
                      <a:cubicBezTo>
                        <a:pt x="27187" y="2642"/>
                        <a:pt x="23995" y="4293"/>
                        <a:pt x="23005" y="4293"/>
                      </a:cubicBezTo>
                      <a:cubicBezTo>
                        <a:pt x="26197" y="4953"/>
                        <a:pt x="35222" y="5503"/>
                        <a:pt x="39955" y="440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03" name="Freeform: Shape 402">
                  <a:extLst>
                    <a:ext uri="{FF2B5EF4-FFF2-40B4-BE49-F238E27FC236}">
                      <a16:creationId xmlns:a16="http://schemas.microsoft.com/office/drawing/2014/main" id="{A693F268-FFB2-448D-B905-0D1EE184123D}"/>
                    </a:ext>
                  </a:extLst>
                </p:cNvPr>
                <p:cNvSpPr/>
                <p:nvPr/>
              </p:nvSpPr>
              <p:spPr>
                <a:xfrm>
                  <a:off x="4149382" y="2195531"/>
                  <a:ext cx="33021" cy="11007"/>
                </a:xfrm>
                <a:custGeom>
                  <a:avLst/>
                  <a:gdLst>
                    <a:gd name="connsiteX0" fmla="*/ 24105 w 33020"/>
                    <a:gd name="connsiteY0" fmla="*/ 14419 h 11006"/>
                    <a:gd name="connsiteX1" fmla="*/ 13429 w 33020"/>
                    <a:gd name="connsiteY1" fmla="*/ 9136 h 11006"/>
                    <a:gd name="connsiteX2" fmla="*/ 5393 w 33020"/>
                    <a:gd name="connsiteY2" fmla="*/ 14419 h 11006"/>
                    <a:gd name="connsiteX3" fmla="*/ 0 w 33020"/>
                    <a:gd name="connsiteY3" fmla="*/ 10677 h 11006"/>
                    <a:gd name="connsiteX4" fmla="*/ 26637 w 33020"/>
                    <a:gd name="connsiteY4" fmla="*/ 0 h 11006"/>
                    <a:gd name="connsiteX5" fmla="*/ 41606 w 33020"/>
                    <a:gd name="connsiteY5" fmla="*/ 6384 h 11006"/>
                    <a:gd name="connsiteX6" fmla="*/ 24105 w 33020"/>
                    <a:gd name="connsiteY6" fmla="*/ 14419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020" h="11006">
                      <a:moveTo>
                        <a:pt x="24105" y="14419"/>
                      </a:moveTo>
                      <a:cubicBezTo>
                        <a:pt x="20913" y="14419"/>
                        <a:pt x="16621" y="9136"/>
                        <a:pt x="13429" y="9136"/>
                      </a:cubicBezTo>
                      <a:cubicBezTo>
                        <a:pt x="12438" y="14419"/>
                        <a:pt x="10236" y="14419"/>
                        <a:pt x="5393" y="14419"/>
                      </a:cubicBezTo>
                      <a:cubicBezTo>
                        <a:pt x="2752" y="14419"/>
                        <a:pt x="0" y="12768"/>
                        <a:pt x="0" y="10677"/>
                      </a:cubicBezTo>
                      <a:cubicBezTo>
                        <a:pt x="0" y="3192"/>
                        <a:pt x="21354" y="0"/>
                        <a:pt x="26637" y="0"/>
                      </a:cubicBezTo>
                      <a:cubicBezTo>
                        <a:pt x="33571" y="0"/>
                        <a:pt x="38965" y="2642"/>
                        <a:pt x="41606" y="6384"/>
                      </a:cubicBezTo>
                      <a:cubicBezTo>
                        <a:pt x="31040" y="6384"/>
                        <a:pt x="31590" y="14419"/>
                        <a:pt x="24105" y="14419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04" name="Freeform: Shape 403">
                  <a:extLst>
                    <a:ext uri="{FF2B5EF4-FFF2-40B4-BE49-F238E27FC236}">
                      <a16:creationId xmlns:a16="http://schemas.microsoft.com/office/drawing/2014/main" id="{39498B10-B691-4ADD-838D-B677C540BC9D}"/>
                    </a:ext>
                  </a:extLst>
                </p:cNvPr>
                <p:cNvSpPr/>
                <p:nvPr/>
              </p:nvSpPr>
              <p:spPr>
                <a:xfrm>
                  <a:off x="4125498" y="2147430"/>
                  <a:ext cx="55035" cy="33021"/>
                </a:xfrm>
                <a:custGeom>
                  <a:avLst/>
                  <a:gdLst>
                    <a:gd name="connsiteX0" fmla="*/ 47991 w 55034"/>
                    <a:gd name="connsiteY0" fmla="*/ 37424 h 33020"/>
                    <a:gd name="connsiteX1" fmla="*/ 26637 w 55034"/>
                    <a:gd name="connsiteY1" fmla="*/ 43808 h 33020"/>
                    <a:gd name="connsiteX2" fmla="*/ 0 w 55034"/>
                    <a:gd name="connsiteY2" fmla="*/ 33681 h 33020"/>
                    <a:gd name="connsiteX3" fmla="*/ 6934 w 55034"/>
                    <a:gd name="connsiteY3" fmla="*/ 27848 h 33020"/>
                    <a:gd name="connsiteX4" fmla="*/ 29279 w 55034"/>
                    <a:gd name="connsiteY4" fmla="*/ 27848 h 33020"/>
                    <a:gd name="connsiteX5" fmla="*/ 20253 w 55034"/>
                    <a:gd name="connsiteY5" fmla="*/ 26747 h 33020"/>
                    <a:gd name="connsiteX6" fmla="*/ 20253 w 55034"/>
                    <a:gd name="connsiteY6" fmla="*/ 19813 h 33020"/>
                    <a:gd name="connsiteX7" fmla="*/ 52283 w 55034"/>
                    <a:gd name="connsiteY7" fmla="*/ 9136 h 33020"/>
                    <a:gd name="connsiteX8" fmla="*/ 61309 w 55034"/>
                    <a:gd name="connsiteY8" fmla="*/ 0 h 33020"/>
                    <a:gd name="connsiteX9" fmla="*/ 62960 w 55034"/>
                    <a:gd name="connsiteY9" fmla="*/ 6384 h 33020"/>
                    <a:gd name="connsiteX10" fmla="*/ 58117 w 55034"/>
                    <a:gd name="connsiteY10" fmla="*/ 13318 h 33020"/>
                    <a:gd name="connsiteX11" fmla="*/ 33571 w 55034"/>
                    <a:gd name="connsiteY11" fmla="*/ 27187 h 33020"/>
                    <a:gd name="connsiteX12" fmla="*/ 64061 w 55034"/>
                    <a:gd name="connsiteY12" fmla="*/ 35222 h 33020"/>
                    <a:gd name="connsiteX13" fmla="*/ 47991 w 55034"/>
                    <a:gd name="connsiteY13" fmla="*/ 37424 h 33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55034" h="33020">
                      <a:moveTo>
                        <a:pt x="47991" y="37424"/>
                      </a:moveTo>
                      <a:cubicBezTo>
                        <a:pt x="41606" y="37424"/>
                        <a:pt x="33131" y="43808"/>
                        <a:pt x="26637" y="43808"/>
                      </a:cubicBezTo>
                      <a:cubicBezTo>
                        <a:pt x="22895" y="43808"/>
                        <a:pt x="991" y="34232"/>
                        <a:pt x="0" y="33681"/>
                      </a:cubicBezTo>
                      <a:cubicBezTo>
                        <a:pt x="3192" y="31040"/>
                        <a:pt x="4293" y="29939"/>
                        <a:pt x="6934" y="27848"/>
                      </a:cubicBezTo>
                      <a:lnTo>
                        <a:pt x="29279" y="27848"/>
                      </a:lnTo>
                      <a:cubicBezTo>
                        <a:pt x="23445" y="25756"/>
                        <a:pt x="25646" y="23555"/>
                        <a:pt x="20253" y="26747"/>
                      </a:cubicBezTo>
                      <a:lnTo>
                        <a:pt x="20253" y="19813"/>
                      </a:lnTo>
                      <a:cubicBezTo>
                        <a:pt x="36323" y="19813"/>
                        <a:pt x="36764" y="9136"/>
                        <a:pt x="52283" y="9136"/>
                      </a:cubicBezTo>
                      <a:cubicBezTo>
                        <a:pt x="52834" y="4293"/>
                        <a:pt x="56466" y="0"/>
                        <a:pt x="61309" y="0"/>
                      </a:cubicBezTo>
                      <a:cubicBezTo>
                        <a:pt x="62410" y="0"/>
                        <a:pt x="62960" y="4843"/>
                        <a:pt x="62960" y="6384"/>
                      </a:cubicBezTo>
                      <a:cubicBezTo>
                        <a:pt x="60759" y="8035"/>
                        <a:pt x="58117" y="10677"/>
                        <a:pt x="58117" y="13318"/>
                      </a:cubicBezTo>
                      <a:cubicBezTo>
                        <a:pt x="49642" y="18712"/>
                        <a:pt x="38965" y="21904"/>
                        <a:pt x="33571" y="27187"/>
                      </a:cubicBezTo>
                      <a:cubicBezTo>
                        <a:pt x="48541" y="29279"/>
                        <a:pt x="52283" y="30379"/>
                        <a:pt x="64061" y="35222"/>
                      </a:cubicBezTo>
                      <a:cubicBezTo>
                        <a:pt x="59768" y="38524"/>
                        <a:pt x="53934" y="37424"/>
                        <a:pt x="47991" y="37424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05" name="Freeform: Shape 404">
                  <a:extLst>
                    <a:ext uri="{FF2B5EF4-FFF2-40B4-BE49-F238E27FC236}">
                      <a16:creationId xmlns:a16="http://schemas.microsoft.com/office/drawing/2014/main" id="{EF68308F-66D4-4023-B710-CCA3A74DF46B}"/>
                    </a:ext>
                  </a:extLst>
                </p:cNvPr>
                <p:cNvSpPr/>
                <p:nvPr/>
              </p:nvSpPr>
              <p:spPr>
                <a:xfrm>
                  <a:off x="5385904" y="2334328"/>
                  <a:ext cx="110070" cy="44028"/>
                </a:xfrm>
                <a:custGeom>
                  <a:avLst/>
                  <a:gdLst>
                    <a:gd name="connsiteX0" fmla="*/ 93449 w 110069"/>
                    <a:gd name="connsiteY0" fmla="*/ 34562 h 44027"/>
                    <a:gd name="connsiteX1" fmla="*/ 80131 w 110069"/>
                    <a:gd name="connsiteY1" fmla="*/ 39955 h 44027"/>
                    <a:gd name="connsiteX2" fmla="*/ 70444 w 110069"/>
                    <a:gd name="connsiteY2" fmla="*/ 34562 h 44027"/>
                    <a:gd name="connsiteX3" fmla="*/ 59768 w 110069"/>
                    <a:gd name="connsiteY3" fmla="*/ 38304 h 44027"/>
                    <a:gd name="connsiteX4" fmla="*/ 47991 w 110069"/>
                    <a:gd name="connsiteY4" fmla="*/ 42597 h 44027"/>
                    <a:gd name="connsiteX5" fmla="*/ 38304 w 110069"/>
                    <a:gd name="connsiteY5" fmla="*/ 37204 h 44027"/>
                    <a:gd name="connsiteX6" fmla="*/ 26637 w 110069"/>
                    <a:gd name="connsiteY6" fmla="*/ 45239 h 44027"/>
                    <a:gd name="connsiteX7" fmla="*/ 0 w 110069"/>
                    <a:gd name="connsiteY7" fmla="*/ 21243 h 44027"/>
                    <a:gd name="connsiteX8" fmla="*/ 23995 w 110069"/>
                    <a:gd name="connsiteY8" fmla="*/ 0 h 44027"/>
                    <a:gd name="connsiteX9" fmla="*/ 56025 w 110069"/>
                    <a:gd name="connsiteY9" fmla="*/ 17061 h 44027"/>
                    <a:gd name="connsiteX10" fmla="*/ 65051 w 110069"/>
                    <a:gd name="connsiteY10" fmla="*/ 2642 h 44027"/>
                    <a:gd name="connsiteX11" fmla="*/ 117334 w 110069"/>
                    <a:gd name="connsiteY11" fmla="*/ 17061 h 44027"/>
                    <a:gd name="connsiteX12" fmla="*/ 107758 w 110069"/>
                    <a:gd name="connsiteY12" fmla="*/ 34672 h 44027"/>
                    <a:gd name="connsiteX13" fmla="*/ 93449 w 110069"/>
                    <a:gd name="connsiteY13" fmla="*/ 34672 h 44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10069" h="44027">
                      <a:moveTo>
                        <a:pt x="93449" y="34562"/>
                      </a:moveTo>
                      <a:cubicBezTo>
                        <a:pt x="89156" y="34562"/>
                        <a:pt x="86515" y="39955"/>
                        <a:pt x="80131" y="39955"/>
                      </a:cubicBezTo>
                      <a:cubicBezTo>
                        <a:pt x="76388" y="39955"/>
                        <a:pt x="74187" y="34562"/>
                        <a:pt x="70444" y="34562"/>
                      </a:cubicBezTo>
                      <a:cubicBezTo>
                        <a:pt x="66152" y="34562"/>
                        <a:pt x="64061" y="38304"/>
                        <a:pt x="59768" y="38304"/>
                      </a:cubicBezTo>
                      <a:cubicBezTo>
                        <a:pt x="56576" y="38304"/>
                        <a:pt x="53384" y="42597"/>
                        <a:pt x="47991" y="42597"/>
                      </a:cubicBezTo>
                      <a:cubicBezTo>
                        <a:pt x="43147" y="42597"/>
                        <a:pt x="41056" y="40506"/>
                        <a:pt x="38304" y="37204"/>
                      </a:cubicBezTo>
                      <a:cubicBezTo>
                        <a:pt x="34562" y="40396"/>
                        <a:pt x="31920" y="45239"/>
                        <a:pt x="26637" y="45239"/>
                      </a:cubicBezTo>
                      <a:cubicBezTo>
                        <a:pt x="12768" y="45239"/>
                        <a:pt x="0" y="34012"/>
                        <a:pt x="0" y="21243"/>
                      </a:cubicBezTo>
                      <a:cubicBezTo>
                        <a:pt x="0" y="9026"/>
                        <a:pt x="12768" y="0"/>
                        <a:pt x="23995" y="0"/>
                      </a:cubicBezTo>
                      <a:cubicBezTo>
                        <a:pt x="40506" y="0"/>
                        <a:pt x="41606" y="17061"/>
                        <a:pt x="56025" y="17061"/>
                      </a:cubicBezTo>
                      <a:cubicBezTo>
                        <a:pt x="56025" y="9026"/>
                        <a:pt x="58667" y="2642"/>
                        <a:pt x="65051" y="2642"/>
                      </a:cubicBezTo>
                      <a:cubicBezTo>
                        <a:pt x="74627" y="2642"/>
                        <a:pt x="106107" y="13869"/>
                        <a:pt x="117334" y="17061"/>
                      </a:cubicBezTo>
                      <a:cubicBezTo>
                        <a:pt x="115243" y="24546"/>
                        <a:pt x="107758" y="30379"/>
                        <a:pt x="107758" y="34672"/>
                      </a:cubicBezTo>
                      <a:lnTo>
                        <a:pt x="93449" y="34672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06" name="Freeform: Shape 405">
                  <a:extLst>
                    <a:ext uri="{FF2B5EF4-FFF2-40B4-BE49-F238E27FC236}">
                      <a16:creationId xmlns:a16="http://schemas.microsoft.com/office/drawing/2014/main" id="{1DF7429A-C5CD-4799-89CD-A40AE456F8E8}"/>
                    </a:ext>
                  </a:extLst>
                </p:cNvPr>
                <p:cNvSpPr/>
                <p:nvPr/>
              </p:nvSpPr>
              <p:spPr>
                <a:xfrm>
                  <a:off x="3795398" y="3250216"/>
                  <a:ext cx="22014" cy="11007"/>
                </a:xfrm>
                <a:custGeom>
                  <a:avLst/>
                  <a:gdLst>
                    <a:gd name="connsiteX0" fmla="*/ 6384 w 22013"/>
                    <a:gd name="connsiteY0" fmla="*/ 15960 h 11006"/>
                    <a:gd name="connsiteX1" fmla="*/ 2642 w 22013"/>
                    <a:gd name="connsiteY1" fmla="*/ 13318 h 11006"/>
                    <a:gd name="connsiteX2" fmla="*/ 0 w 22013"/>
                    <a:gd name="connsiteY2" fmla="*/ 10677 h 11006"/>
                    <a:gd name="connsiteX3" fmla="*/ 30930 w 22013"/>
                    <a:gd name="connsiteY3" fmla="*/ 0 h 11006"/>
                    <a:gd name="connsiteX4" fmla="*/ 23995 w 22013"/>
                    <a:gd name="connsiteY4" fmla="*/ 4843 h 11006"/>
                    <a:gd name="connsiteX5" fmla="*/ 22895 w 22013"/>
                    <a:gd name="connsiteY5" fmla="*/ 10236 h 11006"/>
                    <a:gd name="connsiteX6" fmla="*/ 6384 w 22013"/>
                    <a:gd name="connsiteY6" fmla="*/ 1596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013" h="11006">
                      <a:moveTo>
                        <a:pt x="6384" y="15960"/>
                      </a:moveTo>
                      <a:cubicBezTo>
                        <a:pt x="4843" y="15960"/>
                        <a:pt x="2642" y="14859"/>
                        <a:pt x="2642" y="13318"/>
                      </a:cubicBezTo>
                      <a:cubicBezTo>
                        <a:pt x="1541" y="13318"/>
                        <a:pt x="0" y="11667"/>
                        <a:pt x="0" y="10677"/>
                      </a:cubicBezTo>
                      <a:cubicBezTo>
                        <a:pt x="8035" y="6934"/>
                        <a:pt x="21794" y="1651"/>
                        <a:pt x="30930" y="0"/>
                      </a:cubicBezTo>
                      <a:cubicBezTo>
                        <a:pt x="29829" y="5393"/>
                        <a:pt x="27187" y="3192"/>
                        <a:pt x="23995" y="4843"/>
                      </a:cubicBezTo>
                      <a:cubicBezTo>
                        <a:pt x="22344" y="5393"/>
                        <a:pt x="23445" y="8585"/>
                        <a:pt x="22895" y="10236"/>
                      </a:cubicBezTo>
                      <a:cubicBezTo>
                        <a:pt x="21243" y="13208"/>
                        <a:pt x="11117" y="15960"/>
                        <a:pt x="6384" y="1596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07" name="Freeform: Shape 406">
                  <a:extLst>
                    <a:ext uri="{FF2B5EF4-FFF2-40B4-BE49-F238E27FC236}">
                      <a16:creationId xmlns:a16="http://schemas.microsoft.com/office/drawing/2014/main" id="{9A047592-41EC-4270-9092-3CA57026C1E4}"/>
                    </a:ext>
                  </a:extLst>
                </p:cNvPr>
                <p:cNvSpPr/>
                <p:nvPr/>
              </p:nvSpPr>
              <p:spPr>
                <a:xfrm>
                  <a:off x="4111629" y="3626214"/>
                  <a:ext cx="11007" cy="11007"/>
                </a:xfrm>
                <a:custGeom>
                  <a:avLst/>
                  <a:gdLst>
                    <a:gd name="connsiteX0" fmla="*/ 0 w 11006"/>
                    <a:gd name="connsiteY0" fmla="*/ 2642 h 0"/>
                    <a:gd name="connsiteX1" fmla="*/ 5834 w 11006"/>
                    <a:gd name="connsiteY1" fmla="*/ 6384 h 0"/>
                    <a:gd name="connsiteX2" fmla="*/ 15410 w 11006"/>
                    <a:gd name="connsiteY2" fmla="*/ 0 h 0"/>
                    <a:gd name="connsiteX3" fmla="*/ 0 w 11006"/>
                    <a:gd name="connsiteY3" fmla="*/ 264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06">
                      <a:moveTo>
                        <a:pt x="0" y="2642"/>
                      </a:moveTo>
                      <a:cubicBezTo>
                        <a:pt x="550" y="5283"/>
                        <a:pt x="4293" y="6384"/>
                        <a:pt x="5834" y="6384"/>
                      </a:cubicBezTo>
                      <a:cubicBezTo>
                        <a:pt x="10016" y="6384"/>
                        <a:pt x="14419" y="2091"/>
                        <a:pt x="15410" y="0"/>
                      </a:cubicBezTo>
                      <a:cubicBezTo>
                        <a:pt x="8585" y="0"/>
                        <a:pt x="4843" y="991"/>
                        <a:pt x="0" y="2642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08" name="Freeform: Shape 407">
                  <a:extLst>
                    <a:ext uri="{FF2B5EF4-FFF2-40B4-BE49-F238E27FC236}">
                      <a16:creationId xmlns:a16="http://schemas.microsoft.com/office/drawing/2014/main" id="{33C3FCE0-908C-4570-BA5F-D026D0B62171}"/>
                    </a:ext>
                  </a:extLst>
                </p:cNvPr>
                <p:cNvSpPr/>
                <p:nvPr/>
              </p:nvSpPr>
              <p:spPr>
                <a:xfrm>
                  <a:off x="4029517" y="2532674"/>
                  <a:ext cx="22014" cy="22014"/>
                </a:xfrm>
                <a:custGeom>
                  <a:avLst/>
                  <a:gdLst>
                    <a:gd name="connsiteX0" fmla="*/ 6934 w 22013"/>
                    <a:gd name="connsiteY0" fmla="*/ 5283 h 22013"/>
                    <a:gd name="connsiteX1" fmla="*/ 13319 w 22013"/>
                    <a:gd name="connsiteY1" fmla="*/ 0 h 22013"/>
                    <a:gd name="connsiteX2" fmla="*/ 32030 w 22013"/>
                    <a:gd name="connsiteY2" fmla="*/ 8035 h 22013"/>
                    <a:gd name="connsiteX3" fmla="*/ 32030 w 22013"/>
                    <a:gd name="connsiteY3" fmla="*/ 14969 h 22013"/>
                    <a:gd name="connsiteX4" fmla="*/ 9576 w 22013"/>
                    <a:gd name="connsiteY4" fmla="*/ 23995 h 22013"/>
                    <a:gd name="connsiteX5" fmla="*/ 0 w 22013"/>
                    <a:gd name="connsiteY5" fmla="*/ 17611 h 22013"/>
                    <a:gd name="connsiteX6" fmla="*/ 6934 w 22013"/>
                    <a:gd name="connsiteY6" fmla="*/ 5283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2013" h="22013">
                      <a:moveTo>
                        <a:pt x="6934" y="5283"/>
                      </a:moveTo>
                      <a:cubicBezTo>
                        <a:pt x="9576" y="5283"/>
                        <a:pt x="10677" y="0"/>
                        <a:pt x="13319" y="0"/>
                      </a:cubicBezTo>
                      <a:cubicBezTo>
                        <a:pt x="20803" y="0"/>
                        <a:pt x="24546" y="6934"/>
                        <a:pt x="32030" y="8035"/>
                      </a:cubicBezTo>
                      <a:lnTo>
                        <a:pt x="32030" y="14969"/>
                      </a:lnTo>
                      <a:cubicBezTo>
                        <a:pt x="25096" y="18712"/>
                        <a:pt x="18712" y="23995"/>
                        <a:pt x="9576" y="23995"/>
                      </a:cubicBezTo>
                      <a:cubicBezTo>
                        <a:pt x="3192" y="23995"/>
                        <a:pt x="0" y="23005"/>
                        <a:pt x="0" y="17611"/>
                      </a:cubicBezTo>
                      <a:cubicBezTo>
                        <a:pt x="0" y="15410"/>
                        <a:pt x="5834" y="5283"/>
                        <a:pt x="6934" y="5283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09" name="Freeform: Shape 408">
                  <a:extLst>
                    <a:ext uri="{FF2B5EF4-FFF2-40B4-BE49-F238E27FC236}">
                      <a16:creationId xmlns:a16="http://schemas.microsoft.com/office/drawing/2014/main" id="{4ADA052B-11F8-469F-AF58-999294ECB522}"/>
                    </a:ext>
                  </a:extLst>
                </p:cNvPr>
                <p:cNvSpPr/>
                <p:nvPr/>
              </p:nvSpPr>
              <p:spPr>
                <a:xfrm>
                  <a:off x="4189449" y="2511190"/>
                  <a:ext cx="22014" cy="11007"/>
                </a:xfrm>
                <a:custGeom>
                  <a:avLst/>
                  <a:gdLst>
                    <a:gd name="connsiteX0" fmla="*/ 25646 w 22013"/>
                    <a:gd name="connsiteY0" fmla="*/ 15099 h 11006"/>
                    <a:gd name="connsiteX1" fmla="*/ 18712 w 22013"/>
                    <a:gd name="connsiteY1" fmla="*/ 17741 h 11006"/>
                    <a:gd name="connsiteX2" fmla="*/ 0 w 22013"/>
                    <a:gd name="connsiteY2" fmla="*/ 4422 h 11006"/>
                    <a:gd name="connsiteX3" fmla="*/ 25646 w 22013"/>
                    <a:gd name="connsiteY3" fmla="*/ 15099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013" h="11006">
                      <a:moveTo>
                        <a:pt x="25646" y="15099"/>
                      </a:moveTo>
                      <a:cubicBezTo>
                        <a:pt x="25646" y="18842"/>
                        <a:pt x="18712" y="17741"/>
                        <a:pt x="18712" y="17741"/>
                      </a:cubicBezTo>
                      <a:cubicBezTo>
                        <a:pt x="11778" y="17741"/>
                        <a:pt x="0" y="10806"/>
                        <a:pt x="0" y="4422"/>
                      </a:cubicBezTo>
                      <a:cubicBezTo>
                        <a:pt x="110" y="-6254"/>
                        <a:pt x="25646" y="4422"/>
                        <a:pt x="25646" y="15099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10" name="Freeform: Shape 409">
                  <a:extLst>
                    <a:ext uri="{FF2B5EF4-FFF2-40B4-BE49-F238E27FC236}">
                      <a16:creationId xmlns:a16="http://schemas.microsoft.com/office/drawing/2014/main" id="{944143C3-0146-4832-9D17-536CCAD5A024}"/>
                    </a:ext>
                  </a:extLst>
                </p:cNvPr>
                <p:cNvSpPr/>
                <p:nvPr/>
              </p:nvSpPr>
              <p:spPr>
                <a:xfrm>
                  <a:off x="4363774" y="2419632"/>
                  <a:ext cx="22014" cy="11007"/>
                </a:xfrm>
                <a:custGeom>
                  <a:avLst/>
                  <a:gdLst>
                    <a:gd name="connsiteX0" fmla="*/ 685 w 22013"/>
                    <a:gd name="connsiteY0" fmla="*/ 15960 h 11006"/>
                    <a:gd name="connsiteX1" fmla="*/ 22038 w 22013"/>
                    <a:gd name="connsiteY1" fmla="*/ 10126 h 11006"/>
                    <a:gd name="connsiteX2" fmla="*/ 8720 w 22013"/>
                    <a:gd name="connsiteY2" fmla="*/ 0 h 11006"/>
                    <a:gd name="connsiteX3" fmla="*/ 685 w 22013"/>
                    <a:gd name="connsiteY3" fmla="*/ 10677 h 11006"/>
                    <a:gd name="connsiteX4" fmla="*/ 685 w 22013"/>
                    <a:gd name="connsiteY4" fmla="*/ 1596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013" h="11006">
                      <a:moveTo>
                        <a:pt x="685" y="15960"/>
                      </a:moveTo>
                      <a:cubicBezTo>
                        <a:pt x="7069" y="15960"/>
                        <a:pt x="19397" y="12218"/>
                        <a:pt x="22038" y="10126"/>
                      </a:cubicBezTo>
                      <a:cubicBezTo>
                        <a:pt x="16755" y="5834"/>
                        <a:pt x="15104" y="0"/>
                        <a:pt x="8720" y="0"/>
                      </a:cubicBezTo>
                      <a:cubicBezTo>
                        <a:pt x="3877" y="0"/>
                        <a:pt x="685" y="5834"/>
                        <a:pt x="685" y="10677"/>
                      </a:cubicBezTo>
                      <a:cubicBezTo>
                        <a:pt x="685" y="12218"/>
                        <a:pt x="-856" y="15960"/>
                        <a:pt x="685" y="1596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11" name="Freeform: Shape 410">
                  <a:extLst>
                    <a:ext uri="{FF2B5EF4-FFF2-40B4-BE49-F238E27FC236}">
                      <a16:creationId xmlns:a16="http://schemas.microsoft.com/office/drawing/2014/main" id="{644A0594-9F95-4C5B-987C-1FBB002B6D85}"/>
                    </a:ext>
                  </a:extLst>
                </p:cNvPr>
                <p:cNvSpPr/>
                <p:nvPr/>
              </p:nvSpPr>
              <p:spPr>
                <a:xfrm>
                  <a:off x="5432354" y="2403562"/>
                  <a:ext cx="44028" cy="11007"/>
                </a:xfrm>
                <a:custGeom>
                  <a:avLst/>
                  <a:gdLst>
                    <a:gd name="connsiteX0" fmla="*/ 0 w 44027"/>
                    <a:gd name="connsiteY0" fmla="*/ 15960 h 11006"/>
                    <a:gd name="connsiteX1" fmla="*/ 25536 w 44027"/>
                    <a:gd name="connsiteY1" fmla="*/ 0 h 11006"/>
                    <a:gd name="connsiteX2" fmla="*/ 50632 w 44027"/>
                    <a:gd name="connsiteY2" fmla="*/ 21353 h 11006"/>
                    <a:gd name="connsiteX3" fmla="*/ 34672 w 44027"/>
                    <a:gd name="connsiteY3" fmla="*/ 21353 h 11006"/>
                    <a:gd name="connsiteX4" fmla="*/ 2752 w 44027"/>
                    <a:gd name="connsiteY4" fmla="*/ 13429 h 11006"/>
                    <a:gd name="connsiteX5" fmla="*/ 0 w 44027"/>
                    <a:gd name="connsiteY5" fmla="*/ 15960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027" h="11006">
                      <a:moveTo>
                        <a:pt x="0" y="15960"/>
                      </a:moveTo>
                      <a:cubicBezTo>
                        <a:pt x="6384" y="7485"/>
                        <a:pt x="13318" y="0"/>
                        <a:pt x="25536" y="0"/>
                      </a:cubicBezTo>
                      <a:cubicBezTo>
                        <a:pt x="39405" y="0"/>
                        <a:pt x="50082" y="9026"/>
                        <a:pt x="50632" y="21353"/>
                      </a:cubicBezTo>
                      <a:lnTo>
                        <a:pt x="34672" y="21353"/>
                      </a:lnTo>
                      <a:cubicBezTo>
                        <a:pt x="25096" y="15960"/>
                        <a:pt x="12768" y="17061"/>
                        <a:pt x="2752" y="13429"/>
                      </a:cubicBezTo>
                      <a:lnTo>
                        <a:pt x="0" y="1596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12" name="Freeform: Shape 411">
                  <a:extLst>
                    <a:ext uri="{FF2B5EF4-FFF2-40B4-BE49-F238E27FC236}">
                      <a16:creationId xmlns:a16="http://schemas.microsoft.com/office/drawing/2014/main" id="{A0C3FB5A-7AC5-4345-8C27-54F02171AA7E}"/>
                    </a:ext>
                  </a:extLst>
                </p:cNvPr>
                <p:cNvSpPr/>
                <p:nvPr/>
              </p:nvSpPr>
              <p:spPr>
                <a:xfrm>
                  <a:off x="5528445" y="2354031"/>
                  <a:ext cx="66042" cy="22014"/>
                </a:xfrm>
                <a:custGeom>
                  <a:avLst/>
                  <a:gdLst>
                    <a:gd name="connsiteX0" fmla="*/ 0 w 66041"/>
                    <a:gd name="connsiteY0" fmla="*/ 0 h 22013"/>
                    <a:gd name="connsiteX1" fmla="*/ 62960 w 66041"/>
                    <a:gd name="connsiteY1" fmla="*/ 10677 h 22013"/>
                    <a:gd name="connsiteX2" fmla="*/ 68353 w 66041"/>
                    <a:gd name="connsiteY2" fmla="*/ 16070 h 22013"/>
                    <a:gd name="connsiteX3" fmla="*/ 44358 w 66041"/>
                    <a:gd name="connsiteY3" fmla="*/ 24105 h 22013"/>
                    <a:gd name="connsiteX4" fmla="*/ 5393 w 66041"/>
                    <a:gd name="connsiteY4" fmla="*/ 4403 h 22013"/>
                    <a:gd name="connsiteX5" fmla="*/ 0 w 66041"/>
                    <a:gd name="connsiteY5" fmla="*/ 0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6041" h="22013">
                      <a:moveTo>
                        <a:pt x="0" y="0"/>
                      </a:moveTo>
                      <a:cubicBezTo>
                        <a:pt x="4843" y="3742"/>
                        <a:pt x="60868" y="10677"/>
                        <a:pt x="62960" y="10677"/>
                      </a:cubicBezTo>
                      <a:cubicBezTo>
                        <a:pt x="66152" y="10677"/>
                        <a:pt x="68353" y="13318"/>
                        <a:pt x="68353" y="16070"/>
                      </a:cubicBezTo>
                      <a:cubicBezTo>
                        <a:pt x="68353" y="21904"/>
                        <a:pt x="52833" y="24105"/>
                        <a:pt x="44358" y="24105"/>
                      </a:cubicBezTo>
                      <a:cubicBezTo>
                        <a:pt x="30489" y="24105"/>
                        <a:pt x="5393" y="17721"/>
                        <a:pt x="5393" y="440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13" name="Freeform: Shape 412">
                  <a:extLst>
                    <a:ext uri="{FF2B5EF4-FFF2-40B4-BE49-F238E27FC236}">
                      <a16:creationId xmlns:a16="http://schemas.microsoft.com/office/drawing/2014/main" id="{DDDE86C1-AF88-48D5-9512-04347F64A63A}"/>
                    </a:ext>
                  </a:extLst>
                </p:cNvPr>
                <p:cNvSpPr/>
                <p:nvPr/>
              </p:nvSpPr>
              <p:spPr>
                <a:xfrm>
                  <a:off x="5431363" y="2390637"/>
                  <a:ext cx="11007" cy="11007"/>
                </a:xfrm>
                <a:custGeom>
                  <a:avLst/>
                  <a:gdLst>
                    <a:gd name="connsiteX0" fmla="*/ 14310 w 11006"/>
                    <a:gd name="connsiteY0" fmla="*/ 5991 h 11006"/>
                    <a:gd name="connsiteX1" fmla="*/ 6385 w 11006"/>
                    <a:gd name="connsiteY1" fmla="*/ 12925 h 11006"/>
                    <a:gd name="connsiteX2" fmla="*/ 1 w 11006"/>
                    <a:gd name="connsiteY2" fmla="*/ 5991 h 11006"/>
                    <a:gd name="connsiteX3" fmla="*/ 14310 w 11006"/>
                    <a:gd name="connsiteY3" fmla="*/ 5991 h 11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006" h="11006">
                      <a:moveTo>
                        <a:pt x="14310" y="5991"/>
                      </a:moveTo>
                      <a:cubicBezTo>
                        <a:pt x="14310" y="10283"/>
                        <a:pt x="10017" y="12925"/>
                        <a:pt x="6385" y="12925"/>
                      </a:cubicBezTo>
                      <a:cubicBezTo>
                        <a:pt x="551" y="12925"/>
                        <a:pt x="1" y="10834"/>
                        <a:pt x="1" y="5991"/>
                      </a:cubicBezTo>
                      <a:cubicBezTo>
                        <a:pt x="-110" y="-2485"/>
                        <a:pt x="14310" y="-1494"/>
                        <a:pt x="14310" y="5991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14" name="Freeform: Shape 413">
                  <a:extLst>
                    <a:ext uri="{FF2B5EF4-FFF2-40B4-BE49-F238E27FC236}">
                      <a16:creationId xmlns:a16="http://schemas.microsoft.com/office/drawing/2014/main" id="{F7AE2AAB-53F1-43E0-9D01-49306E2F2D6F}"/>
                    </a:ext>
                  </a:extLst>
                </p:cNvPr>
                <p:cNvSpPr/>
                <p:nvPr/>
              </p:nvSpPr>
              <p:spPr>
                <a:xfrm>
                  <a:off x="5287722" y="3819277"/>
                  <a:ext cx="165104" cy="121077"/>
                </a:xfrm>
                <a:custGeom>
                  <a:avLst/>
                  <a:gdLst>
                    <a:gd name="connsiteX0" fmla="*/ 168957 w 165104"/>
                    <a:gd name="connsiteY0" fmla="*/ 41276 h 121076"/>
                    <a:gd name="connsiteX1" fmla="*/ 148374 w 165104"/>
                    <a:gd name="connsiteY1" fmla="*/ 124269 h 121076"/>
                    <a:gd name="connsiteX2" fmla="*/ 137147 w 165104"/>
                    <a:gd name="connsiteY2" fmla="*/ 119976 h 121076"/>
                    <a:gd name="connsiteX3" fmla="*/ 129111 w 165104"/>
                    <a:gd name="connsiteY3" fmla="*/ 123168 h 121076"/>
                    <a:gd name="connsiteX4" fmla="*/ 117884 w 165104"/>
                    <a:gd name="connsiteY4" fmla="*/ 123168 h 121076"/>
                    <a:gd name="connsiteX5" fmla="*/ 109409 w 165104"/>
                    <a:gd name="connsiteY5" fmla="*/ 118875 h 121076"/>
                    <a:gd name="connsiteX6" fmla="*/ 122728 w 165104"/>
                    <a:gd name="connsiteY6" fmla="*/ 108198 h 121076"/>
                    <a:gd name="connsiteX7" fmla="*/ 115793 w 165104"/>
                    <a:gd name="connsiteY7" fmla="*/ 85304 h 121076"/>
                    <a:gd name="connsiteX8" fmla="*/ 93449 w 165104"/>
                    <a:gd name="connsiteY8" fmla="*/ 70334 h 121076"/>
                    <a:gd name="connsiteX9" fmla="*/ 64721 w 165104"/>
                    <a:gd name="connsiteY9" fmla="*/ 65051 h 121076"/>
                    <a:gd name="connsiteX10" fmla="*/ 44908 w 165104"/>
                    <a:gd name="connsiteY10" fmla="*/ 53824 h 121076"/>
                    <a:gd name="connsiteX11" fmla="*/ 44908 w 165104"/>
                    <a:gd name="connsiteY11" fmla="*/ 49091 h 121076"/>
                    <a:gd name="connsiteX12" fmla="*/ 36873 w 165104"/>
                    <a:gd name="connsiteY12" fmla="*/ 58667 h 121076"/>
                    <a:gd name="connsiteX13" fmla="*/ 31480 w 165104"/>
                    <a:gd name="connsiteY13" fmla="*/ 57016 h 121076"/>
                    <a:gd name="connsiteX14" fmla="*/ 28838 w 165104"/>
                    <a:gd name="connsiteY14" fmla="*/ 45239 h 121076"/>
                    <a:gd name="connsiteX15" fmla="*/ 19262 w 165104"/>
                    <a:gd name="connsiteY15" fmla="*/ 38855 h 121076"/>
                    <a:gd name="connsiteX16" fmla="*/ 46449 w 165104"/>
                    <a:gd name="connsiteY16" fmla="*/ 29829 h 121076"/>
                    <a:gd name="connsiteX17" fmla="*/ 42707 w 165104"/>
                    <a:gd name="connsiteY17" fmla="*/ 29829 h 121076"/>
                    <a:gd name="connsiteX18" fmla="*/ 27187 w 165104"/>
                    <a:gd name="connsiteY18" fmla="*/ 32030 h 121076"/>
                    <a:gd name="connsiteX19" fmla="*/ 19702 w 165104"/>
                    <a:gd name="connsiteY19" fmla="*/ 30379 h 121076"/>
                    <a:gd name="connsiteX20" fmla="*/ 16510 w 165104"/>
                    <a:gd name="connsiteY20" fmla="*/ 25646 h 121076"/>
                    <a:gd name="connsiteX21" fmla="*/ 0 w 165104"/>
                    <a:gd name="connsiteY21" fmla="*/ 13869 h 121076"/>
                    <a:gd name="connsiteX22" fmla="*/ 7485 w 165104"/>
                    <a:gd name="connsiteY22" fmla="*/ 9136 h 121076"/>
                    <a:gd name="connsiteX23" fmla="*/ 27187 w 165104"/>
                    <a:gd name="connsiteY23" fmla="*/ 0 h 121076"/>
                    <a:gd name="connsiteX24" fmla="*/ 52833 w 165104"/>
                    <a:gd name="connsiteY24" fmla="*/ 10677 h 121076"/>
                    <a:gd name="connsiteX25" fmla="*/ 52833 w 165104"/>
                    <a:gd name="connsiteY25" fmla="*/ 29829 h 121076"/>
                    <a:gd name="connsiteX26" fmla="*/ 60868 w 165104"/>
                    <a:gd name="connsiteY26" fmla="*/ 34672 h 121076"/>
                    <a:gd name="connsiteX27" fmla="*/ 71545 w 165104"/>
                    <a:gd name="connsiteY27" fmla="*/ 45349 h 121076"/>
                    <a:gd name="connsiteX28" fmla="*/ 81121 w 165104"/>
                    <a:gd name="connsiteY28" fmla="*/ 36323 h 121076"/>
                    <a:gd name="connsiteX29" fmla="*/ 93889 w 165104"/>
                    <a:gd name="connsiteY29" fmla="*/ 29389 h 121076"/>
                    <a:gd name="connsiteX30" fmla="*/ 111500 w 165104"/>
                    <a:gd name="connsiteY30" fmla="*/ 17171 h 121076"/>
                    <a:gd name="connsiteX31" fmla="*/ 117884 w 165104"/>
                    <a:gd name="connsiteY31" fmla="*/ 19812 h 121076"/>
                    <a:gd name="connsiteX32" fmla="*/ 131753 w 165104"/>
                    <a:gd name="connsiteY32" fmla="*/ 29939 h 121076"/>
                    <a:gd name="connsiteX33" fmla="*/ 146172 w 165104"/>
                    <a:gd name="connsiteY33" fmla="*/ 29939 h 121076"/>
                    <a:gd name="connsiteX34" fmla="*/ 155418 w 165104"/>
                    <a:gd name="connsiteY34" fmla="*/ 34342 h 121076"/>
                    <a:gd name="connsiteX35" fmla="*/ 154207 w 165104"/>
                    <a:gd name="connsiteY35" fmla="*/ 33131 h 121076"/>
                    <a:gd name="connsiteX36" fmla="*/ 155638 w 165104"/>
                    <a:gd name="connsiteY36" fmla="*/ 34342 h 121076"/>
                    <a:gd name="connsiteX37" fmla="*/ 156849 w 165104"/>
                    <a:gd name="connsiteY37" fmla="*/ 34672 h 121076"/>
                    <a:gd name="connsiteX38" fmla="*/ 156849 w 165104"/>
                    <a:gd name="connsiteY38" fmla="*/ 35222 h 121076"/>
                    <a:gd name="connsiteX39" fmla="*/ 168957 w 165104"/>
                    <a:gd name="connsiteY39" fmla="*/ 41276 h 121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165104" h="121076">
                      <a:moveTo>
                        <a:pt x="168957" y="41276"/>
                      </a:moveTo>
                      <a:lnTo>
                        <a:pt x="148374" y="124269"/>
                      </a:lnTo>
                      <a:cubicBezTo>
                        <a:pt x="145292" y="121847"/>
                        <a:pt x="141769" y="119976"/>
                        <a:pt x="137147" y="119976"/>
                      </a:cubicBezTo>
                      <a:cubicBezTo>
                        <a:pt x="135055" y="119976"/>
                        <a:pt x="129111" y="120526"/>
                        <a:pt x="129111" y="123168"/>
                      </a:cubicBezTo>
                      <a:lnTo>
                        <a:pt x="117884" y="123168"/>
                      </a:lnTo>
                      <a:cubicBezTo>
                        <a:pt x="114142" y="123168"/>
                        <a:pt x="109409" y="123168"/>
                        <a:pt x="109409" y="118875"/>
                      </a:cubicBezTo>
                      <a:cubicBezTo>
                        <a:pt x="109409" y="112491"/>
                        <a:pt x="119535" y="109739"/>
                        <a:pt x="122728" y="108198"/>
                      </a:cubicBezTo>
                      <a:cubicBezTo>
                        <a:pt x="115243" y="100714"/>
                        <a:pt x="118435" y="93229"/>
                        <a:pt x="115793" y="85304"/>
                      </a:cubicBezTo>
                      <a:cubicBezTo>
                        <a:pt x="113702" y="78920"/>
                        <a:pt x="98732" y="73086"/>
                        <a:pt x="93449" y="70334"/>
                      </a:cubicBezTo>
                      <a:cubicBezTo>
                        <a:pt x="87615" y="67693"/>
                        <a:pt x="73086" y="65051"/>
                        <a:pt x="64721" y="65051"/>
                      </a:cubicBezTo>
                      <a:cubicBezTo>
                        <a:pt x="56686" y="65051"/>
                        <a:pt x="53494" y="51182"/>
                        <a:pt x="44908" y="53824"/>
                      </a:cubicBezTo>
                      <a:lnTo>
                        <a:pt x="44908" y="49091"/>
                      </a:lnTo>
                      <a:cubicBezTo>
                        <a:pt x="43257" y="53274"/>
                        <a:pt x="41166" y="58667"/>
                        <a:pt x="36873" y="58667"/>
                      </a:cubicBezTo>
                      <a:cubicBezTo>
                        <a:pt x="35222" y="58667"/>
                        <a:pt x="32030" y="58667"/>
                        <a:pt x="31480" y="57016"/>
                      </a:cubicBezTo>
                      <a:cubicBezTo>
                        <a:pt x="28838" y="51733"/>
                        <a:pt x="31480" y="49531"/>
                        <a:pt x="28838" y="45239"/>
                      </a:cubicBezTo>
                      <a:cubicBezTo>
                        <a:pt x="26086" y="40946"/>
                        <a:pt x="20253" y="43147"/>
                        <a:pt x="19262" y="38855"/>
                      </a:cubicBezTo>
                      <a:cubicBezTo>
                        <a:pt x="26747" y="35112"/>
                        <a:pt x="42707" y="36213"/>
                        <a:pt x="46449" y="29829"/>
                      </a:cubicBezTo>
                      <a:lnTo>
                        <a:pt x="42707" y="29829"/>
                      </a:lnTo>
                      <a:cubicBezTo>
                        <a:pt x="36873" y="31480"/>
                        <a:pt x="33131" y="32030"/>
                        <a:pt x="27187" y="32030"/>
                      </a:cubicBezTo>
                      <a:cubicBezTo>
                        <a:pt x="24545" y="32030"/>
                        <a:pt x="22454" y="30930"/>
                        <a:pt x="19702" y="30379"/>
                      </a:cubicBezTo>
                      <a:cubicBezTo>
                        <a:pt x="18161" y="29829"/>
                        <a:pt x="17061" y="27187"/>
                        <a:pt x="16510" y="25646"/>
                      </a:cubicBezTo>
                      <a:cubicBezTo>
                        <a:pt x="12768" y="18161"/>
                        <a:pt x="0" y="21353"/>
                        <a:pt x="0" y="13869"/>
                      </a:cubicBezTo>
                      <a:cubicBezTo>
                        <a:pt x="0" y="10677"/>
                        <a:pt x="4293" y="9136"/>
                        <a:pt x="7485" y="9136"/>
                      </a:cubicBezTo>
                      <a:cubicBezTo>
                        <a:pt x="13869" y="9136"/>
                        <a:pt x="17611" y="0"/>
                        <a:pt x="27187" y="0"/>
                      </a:cubicBezTo>
                      <a:cubicBezTo>
                        <a:pt x="36213" y="0"/>
                        <a:pt x="43147" y="8585"/>
                        <a:pt x="52833" y="10677"/>
                      </a:cubicBezTo>
                      <a:lnTo>
                        <a:pt x="52833" y="29829"/>
                      </a:lnTo>
                      <a:cubicBezTo>
                        <a:pt x="52833" y="32581"/>
                        <a:pt x="56025" y="34672"/>
                        <a:pt x="60868" y="34672"/>
                      </a:cubicBezTo>
                      <a:cubicBezTo>
                        <a:pt x="60868" y="36873"/>
                        <a:pt x="68353" y="45349"/>
                        <a:pt x="71545" y="45349"/>
                      </a:cubicBezTo>
                      <a:cubicBezTo>
                        <a:pt x="75288" y="45349"/>
                        <a:pt x="80131" y="37424"/>
                        <a:pt x="81121" y="36323"/>
                      </a:cubicBezTo>
                      <a:cubicBezTo>
                        <a:pt x="85414" y="32140"/>
                        <a:pt x="86404" y="31590"/>
                        <a:pt x="93889" y="29389"/>
                      </a:cubicBezTo>
                      <a:cubicBezTo>
                        <a:pt x="98732" y="27848"/>
                        <a:pt x="105116" y="18161"/>
                        <a:pt x="111500" y="17171"/>
                      </a:cubicBezTo>
                      <a:cubicBezTo>
                        <a:pt x="112051" y="19812"/>
                        <a:pt x="116233" y="19262"/>
                        <a:pt x="117884" y="19812"/>
                      </a:cubicBezTo>
                      <a:cubicBezTo>
                        <a:pt x="124268" y="21904"/>
                        <a:pt x="128561" y="28288"/>
                        <a:pt x="131753" y="29939"/>
                      </a:cubicBezTo>
                      <a:lnTo>
                        <a:pt x="146172" y="29939"/>
                      </a:lnTo>
                      <a:cubicBezTo>
                        <a:pt x="148374" y="32140"/>
                        <a:pt x="152776" y="33571"/>
                        <a:pt x="155418" y="34342"/>
                      </a:cubicBezTo>
                      <a:lnTo>
                        <a:pt x="154207" y="33131"/>
                      </a:lnTo>
                      <a:cubicBezTo>
                        <a:pt x="154648" y="33571"/>
                        <a:pt x="155088" y="34011"/>
                        <a:pt x="155638" y="34342"/>
                      </a:cubicBezTo>
                      <a:cubicBezTo>
                        <a:pt x="156079" y="34452"/>
                        <a:pt x="156519" y="34562"/>
                        <a:pt x="156849" y="34672"/>
                      </a:cubicBezTo>
                      <a:lnTo>
                        <a:pt x="156849" y="35222"/>
                      </a:lnTo>
                      <a:cubicBezTo>
                        <a:pt x="159931" y="37424"/>
                        <a:pt x="164224" y="39515"/>
                        <a:pt x="168957" y="41276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15" name="Freeform: Shape 414">
                  <a:extLst>
                    <a:ext uri="{FF2B5EF4-FFF2-40B4-BE49-F238E27FC236}">
                      <a16:creationId xmlns:a16="http://schemas.microsoft.com/office/drawing/2014/main" id="{B122EE65-26E9-4E2A-9849-3F1A53976E54}"/>
                    </a:ext>
                  </a:extLst>
                </p:cNvPr>
                <p:cNvSpPr/>
                <p:nvPr/>
              </p:nvSpPr>
              <p:spPr>
                <a:xfrm>
                  <a:off x="5337804" y="3899848"/>
                  <a:ext cx="11007" cy="22014"/>
                </a:xfrm>
                <a:custGeom>
                  <a:avLst/>
                  <a:gdLst>
                    <a:gd name="connsiteX0" fmla="*/ 8696 w 0"/>
                    <a:gd name="connsiteY0" fmla="*/ 0 h 22013"/>
                    <a:gd name="connsiteX1" fmla="*/ 10787 w 0"/>
                    <a:gd name="connsiteY1" fmla="*/ 5834 h 22013"/>
                    <a:gd name="connsiteX2" fmla="*/ 6494 w 0"/>
                    <a:gd name="connsiteY2" fmla="*/ 11227 h 22013"/>
                    <a:gd name="connsiteX3" fmla="*/ 3192 w 0"/>
                    <a:gd name="connsiteY3" fmla="*/ 22454 h 22013"/>
                    <a:gd name="connsiteX4" fmla="*/ 0 w 0"/>
                    <a:gd name="connsiteY4" fmla="*/ 18161 h 22013"/>
                    <a:gd name="connsiteX5" fmla="*/ 5393 w 0"/>
                    <a:gd name="connsiteY5" fmla="*/ 9136 h 22013"/>
                    <a:gd name="connsiteX6" fmla="*/ 8696 w 0"/>
                    <a:gd name="connsiteY6" fmla="*/ 0 h 22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h="22013">
                      <a:moveTo>
                        <a:pt x="8696" y="0"/>
                      </a:moveTo>
                      <a:cubicBezTo>
                        <a:pt x="9796" y="4293"/>
                        <a:pt x="10787" y="2091"/>
                        <a:pt x="10787" y="5834"/>
                      </a:cubicBezTo>
                      <a:cubicBezTo>
                        <a:pt x="10787" y="9136"/>
                        <a:pt x="9136" y="11227"/>
                        <a:pt x="6494" y="11227"/>
                      </a:cubicBezTo>
                      <a:cubicBezTo>
                        <a:pt x="6494" y="16510"/>
                        <a:pt x="7485" y="22454"/>
                        <a:pt x="3192" y="22454"/>
                      </a:cubicBezTo>
                      <a:cubicBezTo>
                        <a:pt x="1541" y="22454"/>
                        <a:pt x="0" y="19813"/>
                        <a:pt x="0" y="18161"/>
                      </a:cubicBezTo>
                      <a:cubicBezTo>
                        <a:pt x="0" y="12878"/>
                        <a:pt x="5393" y="12218"/>
                        <a:pt x="5393" y="9136"/>
                      </a:cubicBezTo>
                      <a:cubicBezTo>
                        <a:pt x="5503" y="5283"/>
                        <a:pt x="4953" y="440"/>
                        <a:pt x="8696" y="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16" name="Freeform: Shape 415">
                  <a:extLst>
                    <a:ext uri="{FF2B5EF4-FFF2-40B4-BE49-F238E27FC236}">
                      <a16:creationId xmlns:a16="http://schemas.microsoft.com/office/drawing/2014/main" id="{A66F7C9F-46F3-4124-948C-0092025B9405}"/>
                    </a:ext>
                  </a:extLst>
                </p:cNvPr>
                <p:cNvSpPr/>
                <p:nvPr/>
              </p:nvSpPr>
              <p:spPr>
                <a:xfrm>
                  <a:off x="5276605" y="3988754"/>
                  <a:ext cx="11007" cy="11007"/>
                </a:xfrm>
                <a:custGeom>
                  <a:avLst/>
                  <a:gdLst>
                    <a:gd name="connsiteX0" fmla="*/ 21354 w 11006"/>
                    <a:gd name="connsiteY0" fmla="*/ 140 h 0"/>
                    <a:gd name="connsiteX1" fmla="*/ 21354 w 11006"/>
                    <a:gd name="connsiteY1" fmla="*/ 8175 h 0"/>
                    <a:gd name="connsiteX2" fmla="*/ 15960 w 11006"/>
                    <a:gd name="connsiteY2" fmla="*/ 8175 h 0"/>
                    <a:gd name="connsiteX3" fmla="*/ 0 w 11006"/>
                    <a:gd name="connsiteY3" fmla="*/ 2892 h 0"/>
                    <a:gd name="connsiteX4" fmla="*/ 21354 w 11006"/>
                    <a:gd name="connsiteY4" fmla="*/ 14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006">
                      <a:moveTo>
                        <a:pt x="21354" y="140"/>
                      </a:moveTo>
                      <a:lnTo>
                        <a:pt x="21354" y="8175"/>
                      </a:lnTo>
                      <a:lnTo>
                        <a:pt x="15960" y="8175"/>
                      </a:lnTo>
                      <a:cubicBezTo>
                        <a:pt x="9576" y="8175"/>
                        <a:pt x="2091" y="4983"/>
                        <a:pt x="0" y="2892"/>
                      </a:cubicBezTo>
                      <a:cubicBezTo>
                        <a:pt x="9576" y="691"/>
                        <a:pt x="13318" y="-410"/>
                        <a:pt x="21354" y="140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  <p:sp>
              <p:nvSpPr>
                <p:cNvPr id="417" name="Freeform: Shape 416">
                  <a:extLst>
                    <a:ext uri="{FF2B5EF4-FFF2-40B4-BE49-F238E27FC236}">
                      <a16:creationId xmlns:a16="http://schemas.microsoft.com/office/drawing/2014/main" id="{7BA44E2B-659D-40DF-8775-6A42CBE8E425}"/>
                    </a:ext>
                  </a:extLst>
                </p:cNvPr>
                <p:cNvSpPr/>
                <p:nvPr/>
              </p:nvSpPr>
              <p:spPr>
                <a:xfrm>
                  <a:off x="3602888" y="2291511"/>
                  <a:ext cx="2586636" cy="1496947"/>
                </a:xfrm>
                <a:custGeom>
                  <a:avLst/>
                  <a:gdLst>
                    <a:gd name="connsiteX0" fmla="*/ 1387757 w 2586635"/>
                    <a:gd name="connsiteY0" fmla="*/ 104016 h 1496946"/>
                    <a:gd name="connsiteX1" fmla="*/ 1509385 w 2586635"/>
                    <a:gd name="connsiteY1" fmla="*/ 138688 h 1496946"/>
                    <a:gd name="connsiteX2" fmla="*/ 1568052 w 2586635"/>
                    <a:gd name="connsiteY2" fmla="*/ 138688 h 1496946"/>
                    <a:gd name="connsiteX3" fmla="*/ 1589405 w 2586635"/>
                    <a:gd name="connsiteY3" fmla="*/ 117334 h 1496946"/>
                    <a:gd name="connsiteX4" fmla="*/ 1656107 w 2586635"/>
                    <a:gd name="connsiteY4" fmla="*/ 157400 h 1496946"/>
                    <a:gd name="connsiteX5" fmla="*/ 1688138 w 2586635"/>
                    <a:gd name="connsiteY5" fmla="*/ 200107 h 1496946"/>
                    <a:gd name="connsiteX6" fmla="*/ 1701456 w 2586635"/>
                    <a:gd name="connsiteY6" fmla="*/ 176111 h 1496946"/>
                    <a:gd name="connsiteX7" fmla="*/ 1736128 w 2586635"/>
                    <a:gd name="connsiteY7" fmla="*/ 189430 h 1496946"/>
                    <a:gd name="connsiteX8" fmla="*/ 1821432 w 2586635"/>
                    <a:gd name="connsiteY8" fmla="*/ 189430 h 1496946"/>
                    <a:gd name="connsiteX9" fmla="*/ 1872174 w 2586635"/>
                    <a:gd name="connsiteY9" fmla="*/ 146833 h 1496946"/>
                    <a:gd name="connsiteX10" fmla="*/ 1981473 w 2586635"/>
                    <a:gd name="connsiteY10" fmla="*/ 165435 h 1496946"/>
                    <a:gd name="connsiteX11" fmla="*/ 2008220 w 2586635"/>
                    <a:gd name="connsiteY11" fmla="*/ 192071 h 1496946"/>
                    <a:gd name="connsiteX12" fmla="*/ 2069529 w 2586635"/>
                    <a:gd name="connsiteY12" fmla="*/ 194713 h 1496946"/>
                    <a:gd name="connsiteX13" fmla="*/ 2130838 w 2586635"/>
                    <a:gd name="connsiteY13" fmla="*/ 232027 h 1496946"/>
                    <a:gd name="connsiteX14" fmla="*/ 2253455 w 2586635"/>
                    <a:gd name="connsiteY14" fmla="*/ 234668 h 1496946"/>
                    <a:gd name="connsiteX15" fmla="*/ 2288127 w 2586635"/>
                    <a:gd name="connsiteY15" fmla="*/ 234668 h 1496946"/>
                    <a:gd name="connsiteX16" fmla="*/ 2314764 w 2586635"/>
                    <a:gd name="connsiteY16" fmla="*/ 223992 h 1496946"/>
                    <a:gd name="connsiteX17" fmla="*/ 2474805 w 2586635"/>
                    <a:gd name="connsiteY17" fmla="*/ 274734 h 1496946"/>
                    <a:gd name="connsiteX18" fmla="*/ 2586856 w 2586635"/>
                    <a:gd name="connsiteY18" fmla="*/ 332300 h 1496946"/>
                    <a:gd name="connsiteX19" fmla="*/ 2554826 w 2586635"/>
                    <a:gd name="connsiteY19" fmla="*/ 346719 h 1496946"/>
                    <a:gd name="connsiteX20" fmla="*/ 2536114 w 2586635"/>
                    <a:gd name="connsiteY20" fmla="*/ 373356 h 1496946"/>
                    <a:gd name="connsiteX21" fmla="*/ 2450810 w 2586635"/>
                    <a:gd name="connsiteY21" fmla="*/ 328007 h 1496946"/>
                    <a:gd name="connsiteX22" fmla="*/ 2442775 w 2586635"/>
                    <a:gd name="connsiteY22" fmla="*/ 346719 h 1496946"/>
                    <a:gd name="connsiteX23" fmla="*/ 2405461 w 2586635"/>
                    <a:gd name="connsiteY23" fmla="*/ 378750 h 1496946"/>
                    <a:gd name="connsiteX24" fmla="*/ 2389501 w 2586635"/>
                    <a:gd name="connsiteY24" fmla="*/ 418705 h 1496946"/>
                    <a:gd name="connsiteX25" fmla="*/ 2266883 w 2586635"/>
                    <a:gd name="connsiteY25" fmla="*/ 480014 h 1496946"/>
                    <a:gd name="connsiteX26" fmla="*/ 2168151 w 2586635"/>
                    <a:gd name="connsiteY26" fmla="*/ 522721 h 1496946"/>
                    <a:gd name="connsiteX27" fmla="*/ 2168151 w 2586635"/>
                    <a:gd name="connsiteY27" fmla="*/ 546716 h 1496946"/>
                    <a:gd name="connsiteX28" fmla="*/ 2149439 w 2586635"/>
                    <a:gd name="connsiteY28" fmla="*/ 578746 h 1496946"/>
                    <a:gd name="connsiteX29" fmla="*/ 2128086 w 2586635"/>
                    <a:gd name="connsiteY29" fmla="*/ 608025 h 1496946"/>
                    <a:gd name="connsiteX30" fmla="*/ 2088130 w 2586635"/>
                    <a:gd name="connsiteY30" fmla="*/ 658767 h 1496946"/>
                    <a:gd name="connsiteX31" fmla="*/ 2066777 w 2586635"/>
                    <a:gd name="connsiteY31" fmla="*/ 562676 h 1496946"/>
                    <a:gd name="connsiteX32" fmla="*/ 2098807 w 2586635"/>
                    <a:gd name="connsiteY32" fmla="*/ 519969 h 1496946"/>
                    <a:gd name="connsiteX33" fmla="*/ 2136121 w 2586635"/>
                    <a:gd name="connsiteY33" fmla="*/ 474620 h 1496946"/>
                    <a:gd name="connsiteX34" fmla="*/ 2173434 w 2586635"/>
                    <a:gd name="connsiteY34" fmla="*/ 455908 h 1496946"/>
                    <a:gd name="connsiteX35" fmla="*/ 2181470 w 2586635"/>
                    <a:gd name="connsiteY35" fmla="*/ 418595 h 1496946"/>
                    <a:gd name="connsiteX36" fmla="*/ 2136231 w 2586635"/>
                    <a:gd name="connsiteY36" fmla="*/ 437196 h 1496946"/>
                    <a:gd name="connsiteX37" fmla="*/ 2104201 w 2586635"/>
                    <a:gd name="connsiteY37" fmla="*/ 437196 h 1496946"/>
                    <a:gd name="connsiteX38" fmla="*/ 2042782 w 2586635"/>
                    <a:gd name="connsiteY38" fmla="*/ 493222 h 1496946"/>
                    <a:gd name="connsiteX39" fmla="*/ 2013503 w 2586635"/>
                    <a:gd name="connsiteY39" fmla="*/ 493222 h 1496946"/>
                    <a:gd name="connsiteX40" fmla="*/ 1968155 w 2586635"/>
                    <a:gd name="connsiteY40" fmla="*/ 482545 h 1496946"/>
                    <a:gd name="connsiteX41" fmla="*/ 1866781 w 2586635"/>
                    <a:gd name="connsiteY41" fmla="*/ 493222 h 1496946"/>
                    <a:gd name="connsiteX42" fmla="*/ 1805362 w 2586635"/>
                    <a:gd name="connsiteY42" fmla="*/ 543854 h 1496946"/>
                    <a:gd name="connsiteX43" fmla="*/ 1765406 w 2586635"/>
                    <a:gd name="connsiteY43" fmla="*/ 586561 h 1496946"/>
                    <a:gd name="connsiteX44" fmla="*/ 1813397 w 2586635"/>
                    <a:gd name="connsiteY44" fmla="*/ 602521 h 1496946"/>
                    <a:gd name="connsiteX45" fmla="*/ 1847188 w 2586635"/>
                    <a:gd name="connsiteY45" fmla="*/ 636973 h 1496946"/>
                    <a:gd name="connsiteX46" fmla="*/ 1837832 w 2586635"/>
                    <a:gd name="connsiteY46" fmla="*/ 666361 h 1496946"/>
                    <a:gd name="connsiteX47" fmla="*/ 1832108 w 2586635"/>
                    <a:gd name="connsiteY47" fmla="*/ 706537 h 1496946"/>
                    <a:gd name="connsiteX48" fmla="*/ 1808554 w 2586635"/>
                    <a:gd name="connsiteY48" fmla="*/ 746272 h 1496946"/>
                    <a:gd name="connsiteX49" fmla="*/ 1728093 w 2586635"/>
                    <a:gd name="connsiteY49" fmla="*/ 831906 h 1496946"/>
                    <a:gd name="connsiteX50" fmla="*/ 1690779 w 2586635"/>
                    <a:gd name="connsiteY50" fmla="*/ 826513 h 1496946"/>
                    <a:gd name="connsiteX51" fmla="*/ 1666784 w 2586635"/>
                    <a:gd name="connsiteY51" fmla="*/ 859644 h 1496946"/>
                    <a:gd name="connsiteX52" fmla="*/ 1651264 w 2586635"/>
                    <a:gd name="connsiteY52" fmla="*/ 872962 h 1496946"/>
                    <a:gd name="connsiteX53" fmla="*/ 1635304 w 2586635"/>
                    <a:gd name="connsiteY53" fmla="*/ 880997 h 1496946"/>
                    <a:gd name="connsiteX54" fmla="*/ 1644330 w 2586635"/>
                    <a:gd name="connsiteY54" fmla="*/ 899709 h 1496946"/>
                    <a:gd name="connsiteX55" fmla="*/ 1664032 w 2586635"/>
                    <a:gd name="connsiteY55" fmla="*/ 944507 h 1496946"/>
                    <a:gd name="connsiteX56" fmla="*/ 1653355 w 2586635"/>
                    <a:gd name="connsiteY56" fmla="*/ 964760 h 1496946"/>
                    <a:gd name="connsiteX57" fmla="*/ 1636845 w 2586635"/>
                    <a:gd name="connsiteY57" fmla="*/ 971144 h 1496946"/>
                    <a:gd name="connsiteX58" fmla="*/ 1626168 w 2586635"/>
                    <a:gd name="connsiteY58" fmla="*/ 975987 h 1496946"/>
                    <a:gd name="connsiteX59" fmla="*/ 1618133 w 2586635"/>
                    <a:gd name="connsiteY59" fmla="*/ 975987 h 1496946"/>
                    <a:gd name="connsiteX60" fmla="*/ 1621325 w 2586635"/>
                    <a:gd name="connsiteY60" fmla="*/ 969053 h 1496946"/>
                    <a:gd name="connsiteX61" fmla="*/ 1618684 w 2586635"/>
                    <a:gd name="connsiteY61" fmla="*/ 963769 h 1496946"/>
                    <a:gd name="connsiteX62" fmla="*/ 1623527 w 2586635"/>
                    <a:gd name="connsiteY62" fmla="*/ 951442 h 1496946"/>
                    <a:gd name="connsiteX63" fmla="*/ 1620775 w 2586635"/>
                    <a:gd name="connsiteY63" fmla="*/ 942306 h 1496946"/>
                    <a:gd name="connsiteX64" fmla="*/ 1615381 w 2586635"/>
                    <a:gd name="connsiteY64" fmla="*/ 938564 h 1496946"/>
                    <a:gd name="connsiteX65" fmla="*/ 1615381 w 2586635"/>
                    <a:gd name="connsiteY65" fmla="*/ 933280 h 1496946"/>
                    <a:gd name="connsiteX66" fmla="*/ 1623967 w 2586635"/>
                    <a:gd name="connsiteY66" fmla="*/ 926346 h 1496946"/>
                    <a:gd name="connsiteX67" fmla="*/ 1609548 w 2586635"/>
                    <a:gd name="connsiteY67" fmla="*/ 915669 h 1496946"/>
                    <a:gd name="connsiteX68" fmla="*/ 1602063 w 2586635"/>
                    <a:gd name="connsiteY68" fmla="*/ 918311 h 1496946"/>
                    <a:gd name="connsiteX69" fmla="*/ 1596780 w 2586635"/>
                    <a:gd name="connsiteY69" fmla="*/ 909285 h 1496946"/>
                    <a:gd name="connsiteX70" fmla="*/ 1602723 w 2586635"/>
                    <a:gd name="connsiteY70" fmla="*/ 898058 h 1496946"/>
                    <a:gd name="connsiteX71" fmla="*/ 1602723 w 2586635"/>
                    <a:gd name="connsiteY71" fmla="*/ 886280 h 1496946"/>
                    <a:gd name="connsiteX72" fmla="*/ 1585553 w 2586635"/>
                    <a:gd name="connsiteY72" fmla="*/ 880447 h 1496946"/>
                    <a:gd name="connsiteX73" fmla="*/ 1541305 w 2586635"/>
                    <a:gd name="connsiteY73" fmla="*/ 896517 h 1496946"/>
                    <a:gd name="connsiteX74" fmla="*/ 1551431 w 2586635"/>
                    <a:gd name="connsiteY74" fmla="*/ 874613 h 1496946"/>
                    <a:gd name="connsiteX75" fmla="*/ 1541305 w 2586635"/>
                    <a:gd name="connsiteY75" fmla="*/ 864487 h 1496946"/>
                    <a:gd name="connsiteX76" fmla="*/ 1532719 w 2586635"/>
                    <a:gd name="connsiteY76" fmla="*/ 871421 h 1496946"/>
                    <a:gd name="connsiteX77" fmla="*/ 1509825 w 2586635"/>
                    <a:gd name="connsiteY77" fmla="*/ 891124 h 1496946"/>
                    <a:gd name="connsiteX78" fmla="*/ 1486930 w 2586635"/>
                    <a:gd name="connsiteY78" fmla="*/ 903892 h 1496946"/>
                    <a:gd name="connsiteX79" fmla="*/ 1498157 w 2586635"/>
                    <a:gd name="connsiteY79" fmla="*/ 912917 h 1496946"/>
                    <a:gd name="connsiteX80" fmla="*/ 1508834 w 2586635"/>
                    <a:gd name="connsiteY80" fmla="*/ 927336 h 1496946"/>
                    <a:gd name="connsiteX81" fmla="*/ 1522703 w 2586635"/>
                    <a:gd name="connsiteY81" fmla="*/ 928437 h 1496946"/>
                    <a:gd name="connsiteX82" fmla="*/ 1530188 w 2586635"/>
                    <a:gd name="connsiteY82" fmla="*/ 916660 h 1496946"/>
                    <a:gd name="connsiteX83" fmla="*/ 1541855 w 2586635"/>
                    <a:gd name="connsiteY83" fmla="*/ 923044 h 1496946"/>
                    <a:gd name="connsiteX84" fmla="*/ 1561668 w 2586635"/>
                    <a:gd name="connsiteY84" fmla="*/ 927887 h 1496946"/>
                    <a:gd name="connsiteX85" fmla="*/ 1523253 w 2586635"/>
                    <a:gd name="connsiteY85" fmla="*/ 952983 h 1496946"/>
                    <a:gd name="connsiteX86" fmla="*/ 1512026 w 2586635"/>
                    <a:gd name="connsiteY86" fmla="*/ 966301 h 1496946"/>
                    <a:gd name="connsiteX87" fmla="*/ 1526445 w 2586635"/>
                    <a:gd name="connsiteY87" fmla="*/ 979730 h 1496946"/>
                    <a:gd name="connsiteX88" fmla="*/ 1526995 w 2586635"/>
                    <a:gd name="connsiteY88" fmla="*/ 989856 h 1496946"/>
                    <a:gd name="connsiteX89" fmla="*/ 1528096 w 2586635"/>
                    <a:gd name="connsiteY89" fmla="*/ 989856 h 1496946"/>
                    <a:gd name="connsiteX90" fmla="*/ 1527546 w 2586635"/>
                    <a:gd name="connsiteY90" fmla="*/ 990406 h 1496946"/>
                    <a:gd name="connsiteX91" fmla="*/ 1534040 w 2586635"/>
                    <a:gd name="connsiteY91" fmla="*/ 1002184 h 1496946"/>
                    <a:gd name="connsiteX92" fmla="*/ 1548900 w 2586635"/>
                    <a:gd name="connsiteY92" fmla="*/ 1048083 h 1496946"/>
                    <a:gd name="connsiteX93" fmla="*/ 1540864 w 2586635"/>
                    <a:gd name="connsiteY93" fmla="*/ 1080553 h 1496946"/>
                    <a:gd name="connsiteX94" fmla="*/ 1515218 w 2586635"/>
                    <a:gd name="connsiteY94" fmla="*/ 1109942 h 1496946"/>
                    <a:gd name="connsiteX95" fmla="*/ 1493865 w 2586635"/>
                    <a:gd name="connsiteY95" fmla="*/ 1139771 h 1496946"/>
                    <a:gd name="connsiteX96" fmla="*/ 1485830 w 2586635"/>
                    <a:gd name="connsiteY96" fmla="*/ 1149347 h 1496946"/>
                    <a:gd name="connsiteX97" fmla="*/ 1440481 w 2586635"/>
                    <a:gd name="connsiteY97" fmla="*/ 1172792 h 1496946"/>
                    <a:gd name="connsiteX98" fmla="*/ 1427163 w 2586635"/>
                    <a:gd name="connsiteY98" fmla="*/ 1168499 h 1496946"/>
                    <a:gd name="connsiteX99" fmla="*/ 1420778 w 2586635"/>
                    <a:gd name="connsiteY99" fmla="*/ 1178625 h 1496946"/>
                    <a:gd name="connsiteX100" fmla="*/ 1394142 w 2586635"/>
                    <a:gd name="connsiteY100" fmla="*/ 1187651 h 1496946"/>
                    <a:gd name="connsiteX101" fmla="*/ 1375430 w 2586635"/>
                    <a:gd name="connsiteY101" fmla="*/ 1195136 h 1496946"/>
                    <a:gd name="connsiteX102" fmla="*/ 1368495 w 2586635"/>
                    <a:gd name="connsiteY102" fmla="*/ 1206363 h 1496946"/>
                    <a:gd name="connsiteX103" fmla="*/ 1365854 w 2586635"/>
                    <a:gd name="connsiteY103" fmla="*/ 1192934 h 1496946"/>
                    <a:gd name="connsiteX104" fmla="*/ 1340207 w 2586635"/>
                    <a:gd name="connsiteY104" fmla="*/ 1187101 h 1496946"/>
                    <a:gd name="connsiteX105" fmla="*/ 1303444 w 2586635"/>
                    <a:gd name="connsiteY105" fmla="*/ 1230358 h 1496946"/>
                    <a:gd name="connsiteX106" fmla="*/ 1308287 w 2586635"/>
                    <a:gd name="connsiteY106" fmla="*/ 1238393 h 1496946"/>
                    <a:gd name="connsiteX107" fmla="*/ 1339217 w 2586635"/>
                    <a:gd name="connsiteY107" fmla="*/ 1273065 h 1496946"/>
                    <a:gd name="connsiteX108" fmla="*/ 1360570 w 2586635"/>
                    <a:gd name="connsiteY108" fmla="*/ 1322596 h 1496946"/>
                    <a:gd name="connsiteX109" fmla="*/ 1354186 w 2586635"/>
                    <a:gd name="connsiteY109" fmla="*/ 1349343 h 1496946"/>
                    <a:gd name="connsiteX110" fmla="*/ 1321606 w 2586635"/>
                    <a:gd name="connsiteY110" fmla="*/ 1366404 h 1496946"/>
                    <a:gd name="connsiteX111" fmla="*/ 1309828 w 2586635"/>
                    <a:gd name="connsiteY111" fmla="*/ 1378181 h 1496946"/>
                    <a:gd name="connsiteX112" fmla="*/ 1308287 w 2586635"/>
                    <a:gd name="connsiteY112" fmla="*/ 1373449 h 1496946"/>
                    <a:gd name="connsiteX113" fmla="*/ 1308287 w 2586635"/>
                    <a:gd name="connsiteY113" fmla="*/ 1379282 h 1496946"/>
                    <a:gd name="connsiteX114" fmla="*/ 1295519 w 2586635"/>
                    <a:gd name="connsiteY114" fmla="*/ 1392601 h 1496946"/>
                    <a:gd name="connsiteX115" fmla="*/ 1291227 w 2586635"/>
                    <a:gd name="connsiteY115" fmla="*/ 1381924 h 1496946"/>
                    <a:gd name="connsiteX116" fmla="*/ 1293318 w 2586635"/>
                    <a:gd name="connsiteY116" fmla="*/ 1374439 h 1496946"/>
                    <a:gd name="connsiteX117" fmla="*/ 1289576 w 2586635"/>
                    <a:gd name="connsiteY117" fmla="*/ 1366404 h 1496946"/>
                    <a:gd name="connsiteX118" fmla="*/ 1270864 w 2586635"/>
                    <a:gd name="connsiteY118" fmla="*/ 1355727 h 1496946"/>
                    <a:gd name="connsiteX119" fmla="*/ 1258536 w 2586635"/>
                    <a:gd name="connsiteY119" fmla="*/ 1341418 h 1496946"/>
                    <a:gd name="connsiteX120" fmla="*/ 1235091 w 2586635"/>
                    <a:gd name="connsiteY120" fmla="*/ 1330742 h 1496946"/>
                    <a:gd name="connsiteX121" fmla="*/ 1232449 w 2586635"/>
                    <a:gd name="connsiteY121" fmla="*/ 1323807 h 1496946"/>
                    <a:gd name="connsiteX122" fmla="*/ 1218581 w 2586635"/>
                    <a:gd name="connsiteY122" fmla="*/ 1316873 h 1496946"/>
                    <a:gd name="connsiteX123" fmla="*/ 1215388 w 2586635"/>
                    <a:gd name="connsiteY123" fmla="*/ 1322706 h 1496946"/>
                    <a:gd name="connsiteX124" fmla="*/ 1217590 w 2586635"/>
                    <a:gd name="connsiteY124" fmla="*/ 1332943 h 1496946"/>
                    <a:gd name="connsiteX125" fmla="*/ 1202070 w 2586635"/>
                    <a:gd name="connsiteY125" fmla="*/ 1367505 h 1496946"/>
                    <a:gd name="connsiteX126" fmla="*/ 1220232 w 2586635"/>
                    <a:gd name="connsiteY126" fmla="*/ 1393151 h 1496946"/>
                    <a:gd name="connsiteX127" fmla="*/ 1219241 w 2586635"/>
                    <a:gd name="connsiteY127" fmla="*/ 1393151 h 1496946"/>
                    <a:gd name="connsiteX128" fmla="*/ 1225625 w 2586635"/>
                    <a:gd name="connsiteY128" fmla="*/ 1410212 h 1496946"/>
                    <a:gd name="connsiteX129" fmla="*/ 1271524 w 2586635"/>
                    <a:gd name="connsiteY129" fmla="*/ 1454460 h 1496946"/>
                    <a:gd name="connsiteX130" fmla="*/ 1269323 w 2586635"/>
                    <a:gd name="connsiteY130" fmla="*/ 1464586 h 1496946"/>
                    <a:gd name="connsiteX131" fmla="*/ 1279449 w 2586635"/>
                    <a:gd name="connsiteY131" fmla="*/ 1483738 h 1496946"/>
                    <a:gd name="connsiteX132" fmla="*/ 1284182 w 2586635"/>
                    <a:gd name="connsiteY132" fmla="*/ 1499148 h 1496946"/>
                    <a:gd name="connsiteX133" fmla="*/ 1277247 w 2586635"/>
                    <a:gd name="connsiteY133" fmla="*/ 1499698 h 1496946"/>
                    <a:gd name="connsiteX134" fmla="*/ 1273505 w 2586635"/>
                    <a:gd name="connsiteY134" fmla="*/ 1501790 h 1496946"/>
                    <a:gd name="connsiteX135" fmla="*/ 1264480 w 2586635"/>
                    <a:gd name="connsiteY135" fmla="*/ 1497057 h 1496946"/>
                    <a:gd name="connsiteX136" fmla="*/ 1227166 w 2586635"/>
                    <a:gd name="connsiteY136" fmla="*/ 1458092 h 1496946"/>
                    <a:gd name="connsiteX137" fmla="*/ 1215388 w 2586635"/>
                    <a:gd name="connsiteY137" fmla="*/ 1419127 h 1496946"/>
                    <a:gd name="connsiteX138" fmla="*/ 1199429 w 2586635"/>
                    <a:gd name="connsiteY138" fmla="*/ 1392491 h 1496946"/>
                    <a:gd name="connsiteX139" fmla="*/ 1192494 w 2586635"/>
                    <a:gd name="connsiteY139" fmla="*/ 1392491 h 1496946"/>
                    <a:gd name="connsiteX140" fmla="*/ 1192494 w 2586635"/>
                    <a:gd name="connsiteY140" fmla="*/ 1389299 h 1496946"/>
                    <a:gd name="connsiteX141" fmla="*/ 1195136 w 2586635"/>
                    <a:gd name="connsiteY141" fmla="*/ 1369046 h 1496946"/>
                    <a:gd name="connsiteX142" fmla="*/ 1196236 w 2586635"/>
                    <a:gd name="connsiteY142" fmla="*/ 1369046 h 1496946"/>
                    <a:gd name="connsiteX143" fmla="*/ 1197778 w 2586635"/>
                    <a:gd name="connsiteY143" fmla="*/ 1369046 h 1496946"/>
                    <a:gd name="connsiteX144" fmla="*/ 1197778 w 2586635"/>
                    <a:gd name="connsiteY144" fmla="*/ 1348793 h 1496946"/>
                    <a:gd name="connsiteX145" fmla="*/ 1183909 w 2586635"/>
                    <a:gd name="connsiteY145" fmla="*/ 1294308 h 1496946"/>
                    <a:gd name="connsiteX146" fmla="*/ 1180717 w 2586635"/>
                    <a:gd name="connsiteY146" fmla="*/ 1270313 h 1496946"/>
                    <a:gd name="connsiteX147" fmla="*/ 1173782 w 2586635"/>
                    <a:gd name="connsiteY147" fmla="*/ 1267672 h 1496946"/>
                    <a:gd name="connsiteX148" fmla="*/ 1168939 w 2586635"/>
                    <a:gd name="connsiteY148" fmla="*/ 1259086 h 1496946"/>
                    <a:gd name="connsiteX149" fmla="*/ 1141202 w 2586635"/>
                    <a:gd name="connsiteY149" fmla="*/ 1283632 h 1496946"/>
                    <a:gd name="connsiteX150" fmla="*/ 1132726 w 2586635"/>
                    <a:gd name="connsiteY150" fmla="*/ 1270313 h 1496946"/>
                    <a:gd name="connsiteX151" fmla="*/ 1135368 w 2586635"/>
                    <a:gd name="connsiteY151" fmla="*/ 1254243 h 1496946"/>
                    <a:gd name="connsiteX152" fmla="*/ 1132176 w 2586635"/>
                    <a:gd name="connsiteY152" fmla="*/ 1247309 h 1496946"/>
                    <a:gd name="connsiteX153" fmla="*/ 1116766 w 2586635"/>
                    <a:gd name="connsiteY153" fmla="*/ 1219021 h 1496946"/>
                    <a:gd name="connsiteX154" fmla="*/ 1099155 w 2586635"/>
                    <a:gd name="connsiteY154" fmla="*/ 1201960 h 1496946"/>
                    <a:gd name="connsiteX155" fmla="*/ 1093872 w 2586635"/>
                    <a:gd name="connsiteY155" fmla="*/ 1180607 h 1496946"/>
                    <a:gd name="connsiteX156" fmla="*/ 1074719 w 2586635"/>
                    <a:gd name="connsiteY156" fmla="*/ 1168279 h 1496946"/>
                    <a:gd name="connsiteX157" fmla="*/ 1045991 w 2586635"/>
                    <a:gd name="connsiteY157" fmla="*/ 1187431 h 1496946"/>
                    <a:gd name="connsiteX158" fmla="*/ 1033113 w 2586635"/>
                    <a:gd name="connsiteY158" fmla="*/ 1182148 h 1496946"/>
                    <a:gd name="connsiteX159" fmla="*/ 1016603 w 2586635"/>
                    <a:gd name="connsiteY159" fmla="*/ 1195466 h 1496946"/>
                    <a:gd name="connsiteX160" fmla="*/ 1010219 w 2586635"/>
                    <a:gd name="connsiteY160" fmla="*/ 1213517 h 1496946"/>
                    <a:gd name="connsiteX161" fmla="*/ 976647 w 2586635"/>
                    <a:gd name="connsiteY161" fmla="*/ 1234321 h 1496946"/>
                    <a:gd name="connsiteX162" fmla="*/ 946268 w 2586635"/>
                    <a:gd name="connsiteY162" fmla="*/ 1265801 h 1496946"/>
                    <a:gd name="connsiteX163" fmla="*/ 932400 w 2586635"/>
                    <a:gd name="connsiteY163" fmla="*/ 1277578 h 1496946"/>
                    <a:gd name="connsiteX164" fmla="*/ 911597 w 2586635"/>
                    <a:gd name="connsiteY164" fmla="*/ 1293538 h 1496946"/>
                    <a:gd name="connsiteX165" fmla="*/ 915339 w 2586635"/>
                    <a:gd name="connsiteY165" fmla="*/ 1316983 h 1496946"/>
                    <a:gd name="connsiteX166" fmla="*/ 909065 w 2586635"/>
                    <a:gd name="connsiteY166" fmla="*/ 1349013 h 1496946"/>
                    <a:gd name="connsiteX167" fmla="*/ 911706 w 2586635"/>
                    <a:gd name="connsiteY167" fmla="*/ 1362882 h 1496946"/>
                    <a:gd name="connsiteX168" fmla="*/ 909065 w 2586635"/>
                    <a:gd name="connsiteY168" fmla="*/ 1363432 h 1496946"/>
                    <a:gd name="connsiteX169" fmla="*/ 903672 w 2586635"/>
                    <a:gd name="connsiteY169" fmla="*/ 1365634 h 1496946"/>
                    <a:gd name="connsiteX170" fmla="*/ 893435 w 2586635"/>
                    <a:gd name="connsiteY170" fmla="*/ 1383795 h 1496946"/>
                    <a:gd name="connsiteX171" fmla="*/ 883309 w 2586635"/>
                    <a:gd name="connsiteY171" fmla="*/ 1390289 h 1496946"/>
                    <a:gd name="connsiteX172" fmla="*/ 876374 w 2586635"/>
                    <a:gd name="connsiteY172" fmla="*/ 1400966 h 1496946"/>
                    <a:gd name="connsiteX173" fmla="*/ 868339 w 2586635"/>
                    <a:gd name="connsiteY173" fmla="*/ 1395572 h 1496946"/>
                    <a:gd name="connsiteX174" fmla="*/ 863606 w 2586635"/>
                    <a:gd name="connsiteY174" fmla="*/ 1390289 h 1496946"/>
                    <a:gd name="connsiteX175" fmla="*/ 849737 w 2586635"/>
                    <a:gd name="connsiteY175" fmla="*/ 1355507 h 1496946"/>
                    <a:gd name="connsiteX176" fmla="*/ 837960 w 2586635"/>
                    <a:gd name="connsiteY176" fmla="*/ 1338446 h 1496946"/>
                    <a:gd name="connsiteX177" fmla="*/ 832016 w 2586635"/>
                    <a:gd name="connsiteY177" fmla="*/ 1316653 h 1496946"/>
                    <a:gd name="connsiteX178" fmla="*/ 825632 w 2586635"/>
                    <a:gd name="connsiteY178" fmla="*/ 1299592 h 1496946"/>
                    <a:gd name="connsiteX179" fmla="*/ 809672 w 2586635"/>
                    <a:gd name="connsiteY179" fmla="*/ 1262278 h 1496946"/>
                    <a:gd name="connsiteX180" fmla="*/ 800536 w 2586635"/>
                    <a:gd name="connsiteY180" fmla="*/ 1231349 h 1496946"/>
                    <a:gd name="connsiteX181" fmla="*/ 799656 w 2586635"/>
                    <a:gd name="connsiteY181" fmla="*/ 1223754 h 1496946"/>
                    <a:gd name="connsiteX182" fmla="*/ 799986 w 2586635"/>
                    <a:gd name="connsiteY182" fmla="*/ 1224084 h 1496946"/>
                    <a:gd name="connsiteX183" fmla="*/ 802627 w 2586635"/>
                    <a:gd name="connsiteY183" fmla="*/ 1209005 h 1496946"/>
                    <a:gd name="connsiteX184" fmla="*/ 797234 w 2586635"/>
                    <a:gd name="connsiteY184" fmla="*/ 1187101 h 1496946"/>
                    <a:gd name="connsiteX185" fmla="*/ 800426 w 2586635"/>
                    <a:gd name="connsiteY185" fmla="*/ 1179616 h 1496946"/>
                    <a:gd name="connsiteX186" fmla="*/ 796133 w 2586635"/>
                    <a:gd name="connsiteY186" fmla="*/ 1179616 h 1496946"/>
                    <a:gd name="connsiteX187" fmla="*/ 774780 w 2586635"/>
                    <a:gd name="connsiteY187" fmla="*/ 1204712 h 1496946"/>
                    <a:gd name="connsiteX188" fmla="*/ 743850 w 2586635"/>
                    <a:gd name="connsiteY188" fmla="*/ 1180166 h 1496946"/>
                    <a:gd name="connsiteX189" fmla="*/ 757169 w 2586635"/>
                    <a:gd name="connsiteY189" fmla="*/ 1177965 h 1496946"/>
                    <a:gd name="connsiteX190" fmla="*/ 764103 w 2586635"/>
                    <a:gd name="connsiteY190" fmla="*/ 1169930 h 1496946"/>
                    <a:gd name="connsiteX191" fmla="*/ 751775 w 2586635"/>
                    <a:gd name="connsiteY191" fmla="*/ 1168829 h 1496946"/>
                    <a:gd name="connsiteX192" fmla="*/ 720296 w 2586635"/>
                    <a:gd name="connsiteY192" fmla="*/ 1150117 h 1496946"/>
                    <a:gd name="connsiteX193" fmla="*/ 706427 w 2586635"/>
                    <a:gd name="connsiteY193" fmla="*/ 1128764 h 1496946"/>
                    <a:gd name="connsiteX194" fmla="*/ 690466 w 2586635"/>
                    <a:gd name="connsiteY194" fmla="*/ 1128324 h 1496946"/>
                    <a:gd name="connsiteX195" fmla="*/ 677148 w 2586635"/>
                    <a:gd name="connsiteY195" fmla="*/ 1132506 h 1496946"/>
                    <a:gd name="connsiteX196" fmla="*/ 663279 w 2586635"/>
                    <a:gd name="connsiteY196" fmla="*/ 1128764 h 1496946"/>
                    <a:gd name="connsiteX197" fmla="*/ 658546 w 2586635"/>
                    <a:gd name="connsiteY197" fmla="*/ 1132506 h 1496946"/>
                    <a:gd name="connsiteX198" fmla="*/ 639835 w 2586635"/>
                    <a:gd name="connsiteY198" fmla="*/ 1133607 h 1496946"/>
                    <a:gd name="connsiteX199" fmla="*/ 637193 w 2586635"/>
                    <a:gd name="connsiteY199" fmla="*/ 1133607 h 1496946"/>
                    <a:gd name="connsiteX200" fmla="*/ 589203 w 2586635"/>
                    <a:gd name="connsiteY200" fmla="*/ 1127223 h 1496946"/>
                    <a:gd name="connsiteX201" fmla="*/ 570491 w 2586635"/>
                    <a:gd name="connsiteY201" fmla="*/ 1122380 h 1496946"/>
                    <a:gd name="connsiteX202" fmla="*/ 553980 w 2586635"/>
                    <a:gd name="connsiteY202" fmla="*/ 1101026 h 1496946"/>
                    <a:gd name="connsiteX203" fmla="*/ 542753 w 2586635"/>
                    <a:gd name="connsiteY203" fmla="*/ 1109061 h 1496946"/>
                    <a:gd name="connsiteX204" fmla="*/ 516116 w 2586635"/>
                    <a:gd name="connsiteY204" fmla="*/ 1109061 h 1496946"/>
                    <a:gd name="connsiteX205" fmla="*/ 497955 w 2586635"/>
                    <a:gd name="connsiteY205" fmla="*/ 1094202 h 1496946"/>
                    <a:gd name="connsiteX206" fmla="*/ 477152 w 2586635"/>
                    <a:gd name="connsiteY206" fmla="*/ 1085066 h 1496946"/>
                    <a:gd name="connsiteX207" fmla="*/ 474510 w 2586635"/>
                    <a:gd name="connsiteY207" fmla="*/ 1075490 h 1496946"/>
                    <a:gd name="connsiteX208" fmla="*/ 441929 w 2586635"/>
                    <a:gd name="connsiteY208" fmla="*/ 1047202 h 1496946"/>
                    <a:gd name="connsiteX209" fmla="*/ 431253 w 2586635"/>
                    <a:gd name="connsiteY209" fmla="*/ 1064263 h 1496946"/>
                    <a:gd name="connsiteX210" fmla="*/ 432353 w 2586635"/>
                    <a:gd name="connsiteY210" fmla="*/ 1076481 h 1496946"/>
                    <a:gd name="connsiteX211" fmla="*/ 462843 w 2586635"/>
                    <a:gd name="connsiteY211" fmla="*/ 1114895 h 1496946"/>
                    <a:gd name="connsiteX212" fmla="*/ 466475 w 2586635"/>
                    <a:gd name="connsiteY212" fmla="*/ 1127113 h 1496946"/>
                    <a:gd name="connsiteX213" fmla="*/ 477152 w 2586635"/>
                    <a:gd name="connsiteY213" fmla="*/ 1117537 h 1496946"/>
                    <a:gd name="connsiteX214" fmla="*/ 477702 w 2586635"/>
                    <a:gd name="connsiteY214" fmla="*/ 1123370 h 1496946"/>
                    <a:gd name="connsiteX215" fmla="*/ 473960 w 2586635"/>
                    <a:gd name="connsiteY215" fmla="*/ 1140431 h 1496946"/>
                    <a:gd name="connsiteX216" fmla="*/ 495863 w 2586635"/>
                    <a:gd name="connsiteY216" fmla="*/ 1151658 h 1496946"/>
                    <a:gd name="connsiteX217" fmla="*/ 553540 w 2586635"/>
                    <a:gd name="connsiteY217" fmla="*/ 1115335 h 1496946"/>
                    <a:gd name="connsiteX218" fmla="*/ 553540 w 2586635"/>
                    <a:gd name="connsiteY218" fmla="*/ 1135038 h 1496946"/>
                    <a:gd name="connsiteX219" fmla="*/ 586561 w 2586635"/>
                    <a:gd name="connsiteY219" fmla="*/ 1158042 h 1496946"/>
                    <a:gd name="connsiteX220" fmla="*/ 596687 w 2586635"/>
                    <a:gd name="connsiteY220" fmla="*/ 1170810 h 1496946"/>
                    <a:gd name="connsiteX221" fmla="*/ 596687 w 2586635"/>
                    <a:gd name="connsiteY221" fmla="*/ 1170370 h 1496946"/>
                    <a:gd name="connsiteX222" fmla="*/ 606814 w 2586635"/>
                    <a:gd name="connsiteY222" fmla="*/ 1178956 h 1496946"/>
                    <a:gd name="connsiteX223" fmla="*/ 591404 w 2586635"/>
                    <a:gd name="connsiteY223" fmla="*/ 1208234 h 1496946"/>
                    <a:gd name="connsiteX224" fmla="*/ 575884 w 2586635"/>
                    <a:gd name="connsiteY224" fmla="*/ 1216820 h 1496946"/>
                    <a:gd name="connsiteX225" fmla="*/ 567849 w 2586635"/>
                    <a:gd name="connsiteY225" fmla="*/ 1232339 h 1496946"/>
                    <a:gd name="connsiteX226" fmla="*/ 552439 w 2586635"/>
                    <a:gd name="connsiteY226" fmla="*/ 1247749 h 1496946"/>
                    <a:gd name="connsiteX227" fmla="*/ 537470 w 2586635"/>
                    <a:gd name="connsiteY227" fmla="*/ 1263159 h 1496946"/>
                    <a:gd name="connsiteX228" fmla="*/ 490470 w 2586635"/>
                    <a:gd name="connsiteY228" fmla="*/ 1283412 h 1496946"/>
                    <a:gd name="connsiteX229" fmla="*/ 492561 w 2586635"/>
                    <a:gd name="connsiteY229" fmla="*/ 1288255 h 1496946"/>
                    <a:gd name="connsiteX230" fmla="*/ 450955 w 2586635"/>
                    <a:gd name="connsiteY230" fmla="*/ 1301023 h 1496946"/>
                    <a:gd name="connsiteX231" fmla="*/ 416283 w 2586635"/>
                    <a:gd name="connsiteY231" fmla="*/ 1320835 h 1496946"/>
                    <a:gd name="connsiteX232" fmla="*/ 399773 w 2586635"/>
                    <a:gd name="connsiteY232" fmla="*/ 1320835 h 1496946"/>
                    <a:gd name="connsiteX233" fmla="*/ 377979 w 2586635"/>
                    <a:gd name="connsiteY233" fmla="*/ 1331622 h 1496946"/>
                    <a:gd name="connsiteX234" fmla="*/ 374677 w 2586635"/>
                    <a:gd name="connsiteY234" fmla="*/ 1333603 h 1496946"/>
                    <a:gd name="connsiteX235" fmla="*/ 358056 w 2586635"/>
                    <a:gd name="connsiteY235" fmla="*/ 1326229 h 1496946"/>
                    <a:gd name="connsiteX236" fmla="*/ 357396 w 2586635"/>
                    <a:gd name="connsiteY236" fmla="*/ 1320175 h 1496946"/>
                    <a:gd name="connsiteX237" fmla="*/ 348040 w 2586635"/>
                    <a:gd name="connsiteY237" fmla="*/ 1292988 h 1496946"/>
                    <a:gd name="connsiteX238" fmla="*/ 347380 w 2586635"/>
                    <a:gd name="connsiteY238" fmla="*/ 1277578 h 1496946"/>
                    <a:gd name="connsiteX239" fmla="*/ 335162 w 2586635"/>
                    <a:gd name="connsiteY239" fmla="*/ 1255124 h 1496946"/>
                    <a:gd name="connsiteX240" fmla="*/ 314029 w 2586635"/>
                    <a:gd name="connsiteY240" fmla="*/ 1217480 h 1496946"/>
                    <a:gd name="connsiteX241" fmla="*/ 290914 w 2586635"/>
                    <a:gd name="connsiteY241" fmla="*/ 1182038 h 1496946"/>
                    <a:gd name="connsiteX242" fmla="*/ 281778 w 2586635"/>
                    <a:gd name="connsiteY242" fmla="*/ 1156942 h 1496946"/>
                    <a:gd name="connsiteX243" fmla="*/ 274844 w 2586635"/>
                    <a:gd name="connsiteY243" fmla="*/ 1150007 h 1496946"/>
                    <a:gd name="connsiteX244" fmla="*/ 264167 w 2586635"/>
                    <a:gd name="connsiteY244" fmla="*/ 1147366 h 1496946"/>
                    <a:gd name="connsiteX245" fmla="*/ 260975 w 2586635"/>
                    <a:gd name="connsiteY245" fmla="*/ 1132946 h 1496946"/>
                    <a:gd name="connsiteX246" fmla="*/ 253490 w 2586635"/>
                    <a:gd name="connsiteY246" fmla="*/ 1120178 h 1496946"/>
                    <a:gd name="connsiteX247" fmla="*/ 235879 w 2586635"/>
                    <a:gd name="connsiteY247" fmla="*/ 1093542 h 1496946"/>
                    <a:gd name="connsiteX248" fmla="*/ 226853 w 2586635"/>
                    <a:gd name="connsiteY248" fmla="*/ 1080773 h 1496946"/>
                    <a:gd name="connsiteX249" fmla="*/ 230486 w 2586635"/>
                    <a:gd name="connsiteY249" fmla="*/ 1057659 h 1496946"/>
                    <a:gd name="connsiteX250" fmla="*/ 218818 w 2586635"/>
                    <a:gd name="connsiteY250" fmla="*/ 1029591 h 1496946"/>
                    <a:gd name="connsiteX251" fmla="*/ 223111 w 2586635"/>
                    <a:gd name="connsiteY251" fmla="*/ 1023757 h 1496946"/>
                    <a:gd name="connsiteX252" fmla="*/ 231586 w 2586635"/>
                    <a:gd name="connsiteY252" fmla="*/ 995469 h 1496946"/>
                    <a:gd name="connsiteX253" fmla="*/ 245455 w 2586635"/>
                    <a:gd name="connsiteY253" fmla="*/ 969823 h 1496946"/>
                    <a:gd name="connsiteX254" fmla="*/ 242814 w 2586635"/>
                    <a:gd name="connsiteY254" fmla="*/ 946929 h 1496946"/>
                    <a:gd name="connsiteX255" fmla="*/ 246446 w 2586635"/>
                    <a:gd name="connsiteY255" fmla="*/ 941535 h 1496946"/>
                    <a:gd name="connsiteX256" fmla="*/ 246446 w 2586635"/>
                    <a:gd name="connsiteY256" fmla="*/ 936252 h 1496946"/>
                    <a:gd name="connsiteX257" fmla="*/ 236319 w 2586635"/>
                    <a:gd name="connsiteY257" fmla="*/ 940985 h 1496946"/>
                    <a:gd name="connsiteX258" fmla="*/ 225643 w 2586635"/>
                    <a:gd name="connsiteY258" fmla="*/ 936802 h 1496946"/>
                    <a:gd name="connsiteX259" fmla="*/ 199006 w 2586635"/>
                    <a:gd name="connsiteY259" fmla="*/ 950121 h 1496946"/>
                    <a:gd name="connsiteX260" fmla="*/ 172259 w 2586635"/>
                    <a:gd name="connsiteY260" fmla="*/ 936802 h 1496946"/>
                    <a:gd name="connsiteX261" fmla="*/ 153657 w 2586635"/>
                    <a:gd name="connsiteY261" fmla="*/ 949020 h 1496946"/>
                    <a:gd name="connsiteX262" fmla="*/ 128121 w 2586635"/>
                    <a:gd name="connsiteY262" fmla="*/ 939334 h 1496946"/>
                    <a:gd name="connsiteX263" fmla="*/ 122287 w 2586635"/>
                    <a:gd name="connsiteY263" fmla="*/ 939334 h 1496946"/>
                    <a:gd name="connsiteX264" fmla="*/ 126580 w 2586635"/>
                    <a:gd name="connsiteY264" fmla="*/ 936142 h 1496946"/>
                    <a:gd name="connsiteX265" fmla="*/ 113261 w 2586635"/>
                    <a:gd name="connsiteY265" fmla="*/ 919632 h 1496946"/>
                    <a:gd name="connsiteX266" fmla="*/ 95210 w 2586635"/>
                    <a:gd name="connsiteY266" fmla="*/ 909505 h 1496946"/>
                    <a:gd name="connsiteX267" fmla="*/ 106327 w 2586635"/>
                    <a:gd name="connsiteY267" fmla="*/ 895086 h 1496946"/>
                    <a:gd name="connsiteX268" fmla="*/ 106327 w 2586635"/>
                    <a:gd name="connsiteY268" fmla="*/ 888702 h 1496946"/>
                    <a:gd name="connsiteX269" fmla="*/ 97301 w 2586635"/>
                    <a:gd name="connsiteY269" fmla="*/ 885950 h 1496946"/>
                    <a:gd name="connsiteX270" fmla="*/ 145292 w 2586635"/>
                    <a:gd name="connsiteY270" fmla="*/ 867899 h 1496946"/>
                    <a:gd name="connsiteX271" fmla="*/ 140999 w 2586635"/>
                    <a:gd name="connsiteY271" fmla="*/ 861515 h 1496946"/>
                    <a:gd name="connsiteX272" fmla="*/ 153767 w 2586635"/>
                    <a:gd name="connsiteY272" fmla="*/ 858873 h 1496946"/>
                    <a:gd name="connsiteX273" fmla="*/ 170278 w 2586635"/>
                    <a:gd name="connsiteY273" fmla="*/ 858873 h 1496946"/>
                    <a:gd name="connsiteX274" fmla="*/ 192181 w 2586635"/>
                    <a:gd name="connsiteY274" fmla="*/ 848196 h 1496946"/>
                    <a:gd name="connsiteX275" fmla="*/ 223111 w 2586635"/>
                    <a:gd name="connsiteY275" fmla="*/ 843353 h 1496946"/>
                    <a:gd name="connsiteX276" fmla="*/ 249308 w 2586635"/>
                    <a:gd name="connsiteY276" fmla="*/ 851388 h 1496946"/>
                    <a:gd name="connsiteX277" fmla="*/ 275945 w 2586635"/>
                    <a:gd name="connsiteY277" fmla="*/ 862065 h 1496946"/>
                    <a:gd name="connsiteX278" fmla="*/ 306324 w 2586635"/>
                    <a:gd name="connsiteY278" fmla="*/ 862065 h 1496946"/>
                    <a:gd name="connsiteX279" fmla="*/ 332520 w 2586635"/>
                    <a:gd name="connsiteY279" fmla="*/ 849957 h 1496946"/>
                    <a:gd name="connsiteX280" fmla="*/ 330319 w 2586635"/>
                    <a:gd name="connsiteY280" fmla="*/ 850288 h 1496946"/>
                    <a:gd name="connsiteX281" fmla="*/ 255582 w 2586635"/>
                    <a:gd name="connsiteY281" fmla="*/ 782045 h 1496946"/>
                    <a:gd name="connsiteX282" fmla="*/ 271542 w 2586635"/>
                    <a:gd name="connsiteY282" fmla="*/ 756508 h 1496946"/>
                    <a:gd name="connsiteX283" fmla="*/ 281118 w 2586635"/>
                    <a:gd name="connsiteY283" fmla="*/ 747483 h 1496946"/>
                    <a:gd name="connsiteX284" fmla="*/ 227844 w 2586635"/>
                    <a:gd name="connsiteY284" fmla="*/ 771478 h 1496946"/>
                    <a:gd name="connsiteX285" fmla="*/ 236870 w 2586635"/>
                    <a:gd name="connsiteY285" fmla="*/ 779513 h 1496946"/>
                    <a:gd name="connsiteX286" fmla="*/ 251729 w 2586635"/>
                    <a:gd name="connsiteY286" fmla="*/ 781604 h 1496946"/>
                    <a:gd name="connsiteX287" fmla="*/ 214415 w 2586635"/>
                    <a:gd name="connsiteY287" fmla="*/ 798115 h 1496946"/>
                    <a:gd name="connsiteX288" fmla="*/ 172809 w 2586635"/>
                    <a:gd name="connsiteY288" fmla="*/ 758159 h 1496946"/>
                    <a:gd name="connsiteX289" fmla="*/ 148264 w 2586635"/>
                    <a:gd name="connsiteY289" fmla="*/ 775220 h 1496946"/>
                    <a:gd name="connsiteX290" fmla="*/ 135496 w 2586635"/>
                    <a:gd name="connsiteY290" fmla="*/ 778412 h 1496946"/>
                    <a:gd name="connsiteX291" fmla="*/ 132854 w 2586635"/>
                    <a:gd name="connsiteY291" fmla="*/ 775220 h 1496946"/>
                    <a:gd name="connsiteX292" fmla="*/ 130212 w 2586635"/>
                    <a:gd name="connsiteY292" fmla="*/ 771478 h 1496946"/>
                    <a:gd name="connsiteX293" fmla="*/ 130212 w 2586635"/>
                    <a:gd name="connsiteY293" fmla="*/ 750014 h 1496946"/>
                    <a:gd name="connsiteX294" fmla="*/ 105667 w 2586635"/>
                    <a:gd name="connsiteY294" fmla="*/ 722277 h 1496946"/>
                    <a:gd name="connsiteX295" fmla="*/ 67693 w 2586635"/>
                    <a:gd name="connsiteY295" fmla="*/ 729211 h 1496946"/>
                    <a:gd name="connsiteX296" fmla="*/ 44798 w 2586635"/>
                    <a:gd name="connsiteY296" fmla="*/ 717544 h 1496946"/>
                    <a:gd name="connsiteX297" fmla="*/ 53384 w 2586635"/>
                    <a:gd name="connsiteY297" fmla="*/ 686504 h 1496946"/>
                    <a:gd name="connsiteX298" fmla="*/ 65601 w 2586635"/>
                    <a:gd name="connsiteY298" fmla="*/ 674837 h 1496946"/>
                    <a:gd name="connsiteX299" fmla="*/ 55475 w 2586635"/>
                    <a:gd name="connsiteY299" fmla="*/ 646549 h 1496946"/>
                    <a:gd name="connsiteX300" fmla="*/ 62960 w 2586635"/>
                    <a:gd name="connsiteY300" fmla="*/ 628938 h 1496946"/>
                    <a:gd name="connsiteX301" fmla="*/ 46449 w 2586635"/>
                    <a:gd name="connsiteY301" fmla="*/ 597238 h 1496946"/>
                    <a:gd name="connsiteX302" fmla="*/ 19152 w 2586635"/>
                    <a:gd name="connsiteY302" fmla="*/ 598008 h 1496946"/>
                    <a:gd name="connsiteX303" fmla="*/ 0 w 2586635"/>
                    <a:gd name="connsiteY303" fmla="*/ 599549 h 1496946"/>
                    <a:gd name="connsiteX304" fmla="*/ 18161 w 2586635"/>
                    <a:gd name="connsiteY304" fmla="*/ 562896 h 1496946"/>
                    <a:gd name="connsiteX305" fmla="*/ 39515 w 2586635"/>
                    <a:gd name="connsiteY305" fmla="*/ 525582 h 1496946"/>
                    <a:gd name="connsiteX306" fmla="*/ 60868 w 2586635"/>
                    <a:gd name="connsiteY306" fmla="*/ 538901 h 1496946"/>
                    <a:gd name="connsiteX307" fmla="*/ 54484 w 2586635"/>
                    <a:gd name="connsiteY307" fmla="*/ 504009 h 1496946"/>
                    <a:gd name="connsiteX308" fmla="*/ 84864 w 2586635"/>
                    <a:gd name="connsiteY308" fmla="*/ 485517 h 1496946"/>
                    <a:gd name="connsiteX309" fmla="*/ 111501 w 2586635"/>
                    <a:gd name="connsiteY309" fmla="*/ 489259 h 1496946"/>
                    <a:gd name="connsiteX310" fmla="*/ 140779 w 2586635"/>
                    <a:gd name="connsiteY310" fmla="*/ 477482 h 1496946"/>
                    <a:gd name="connsiteX311" fmla="*/ 127460 w 2586635"/>
                    <a:gd name="connsiteY311" fmla="*/ 458770 h 1496946"/>
                    <a:gd name="connsiteX312" fmla="*/ 175561 w 2586635"/>
                    <a:gd name="connsiteY312" fmla="*/ 406487 h 1496946"/>
                    <a:gd name="connsiteX313" fmla="*/ 158500 w 2586635"/>
                    <a:gd name="connsiteY313" fmla="*/ 384033 h 1496946"/>
                    <a:gd name="connsiteX314" fmla="*/ 164884 w 2586635"/>
                    <a:gd name="connsiteY314" fmla="*/ 377098 h 1496946"/>
                    <a:gd name="connsiteX315" fmla="*/ 148924 w 2586635"/>
                    <a:gd name="connsiteY315" fmla="*/ 350462 h 1496946"/>
                    <a:gd name="connsiteX316" fmla="*/ 154207 w 2586635"/>
                    <a:gd name="connsiteY316" fmla="*/ 334391 h 1496946"/>
                    <a:gd name="connsiteX317" fmla="*/ 143531 w 2586635"/>
                    <a:gd name="connsiteY317" fmla="*/ 307755 h 1496946"/>
                    <a:gd name="connsiteX318" fmla="*/ 153107 w 2586635"/>
                    <a:gd name="connsiteY318" fmla="*/ 285300 h 1496946"/>
                    <a:gd name="connsiteX319" fmla="*/ 134395 w 2586635"/>
                    <a:gd name="connsiteY319" fmla="*/ 263947 h 1496946"/>
                    <a:gd name="connsiteX320" fmla="*/ 161032 w 2586635"/>
                    <a:gd name="connsiteY320" fmla="*/ 236760 h 1496946"/>
                    <a:gd name="connsiteX321" fmla="*/ 175451 w 2586635"/>
                    <a:gd name="connsiteY321" fmla="*/ 237310 h 1496946"/>
                    <a:gd name="connsiteX322" fmla="*/ 276715 w 2586635"/>
                    <a:gd name="connsiteY322" fmla="*/ 274624 h 1496946"/>
                    <a:gd name="connsiteX323" fmla="*/ 278366 w 2586635"/>
                    <a:gd name="connsiteY323" fmla="*/ 333071 h 1496946"/>
                    <a:gd name="connsiteX324" fmla="*/ 220689 w 2586635"/>
                    <a:gd name="connsiteY324" fmla="*/ 328007 h 1496946"/>
                    <a:gd name="connsiteX325" fmla="*/ 258003 w 2586635"/>
                    <a:gd name="connsiteY325" fmla="*/ 378750 h 1496946"/>
                    <a:gd name="connsiteX326" fmla="*/ 258003 w 2586635"/>
                    <a:gd name="connsiteY326" fmla="*/ 357396 h 1496946"/>
                    <a:gd name="connsiteX327" fmla="*/ 327347 w 2586635"/>
                    <a:gd name="connsiteY327" fmla="*/ 328007 h 1496946"/>
                    <a:gd name="connsiteX328" fmla="*/ 370054 w 2586635"/>
                    <a:gd name="connsiteY328" fmla="*/ 317331 h 1496946"/>
                    <a:gd name="connsiteX329" fmla="*/ 362129 w 2586635"/>
                    <a:gd name="connsiteY329" fmla="*/ 301371 h 1496946"/>
                    <a:gd name="connsiteX330" fmla="*/ 388766 w 2586635"/>
                    <a:gd name="connsiteY330" fmla="*/ 298729 h 1496946"/>
                    <a:gd name="connsiteX331" fmla="*/ 402084 w 2586635"/>
                    <a:gd name="connsiteY331" fmla="*/ 309406 h 1496946"/>
                    <a:gd name="connsiteX332" fmla="*/ 514135 w 2586635"/>
                    <a:gd name="connsiteY332" fmla="*/ 269340 h 1496946"/>
                    <a:gd name="connsiteX333" fmla="*/ 588872 w 2586635"/>
                    <a:gd name="connsiteY333" fmla="*/ 258664 h 1496946"/>
                    <a:gd name="connsiteX334" fmla="*/ 618151 w 2586635"/>
                    <a:gd name="connsiteY334" fmla="*/ 250739 h 1496946"/>
                    <a:gd name="connsiteX335" fmla="*/ 667792 w 2586635"/>
                    <a:gd name="connsiteY335" fmla="*/ 241162 h 1496946"/>
                    <a:gd name="connsiteX336" fmla="*/ 735485 w 2586635"/>
                    <a:gd name="connsiteY336" fmla="*/ 253380 h 1496946"/>
                    <a:gd name="connsiteX337" fmla="*/ 711490 w 2586635"/>
                    <a:gd name="connsiteY337" fmla="*/ 199996 h 1496946"/>
                    <a:gd name="connsiteX338" fmla="*/ 778192 w 2586635"/>
                    <a:gd name="connsiteY338" fmla="*/ 146723 h 1496946"/>
                    <a:gd name="connsiteX339" fmla="*/ 794152 w 2586635"/>
                    <a:gd name="connsiteY339" fmla="*/ 181395 h 1496946"/>
                    <a:gd name="connsiteX340" fmla="*/ 822550 w 2586635"/>
                    <a:gd name="connsiteY340" fmla="*/ 278476 h 1496946"/>
                    <a:gd name="connsiteX341" fmla="*/ 818257 w 2586635"/>
                    <a:gd name="connsiteY341" fmla="*/ 226633 h 1496946"/>
                    <a:gd name="connsiteX342" fmla="*/ 807581 w 2586635"/>
                    <a:gd name="connsiteY342" fmla="*/ 178643 h 1496946"/>
                    <a:gd name="connsiteX343" fmla="*/ 835318 w 2586635"/>
                    <a:gd name="connsiteY343" fmla="*/ 146723 h 1496946"/>
                    <a:gd name="connsiteX344" fmla="*/ 871641 w 2586635"/>
                    <a:gd name="connsiteY344" fmla="*/ 162683 h 1496946"/>
                    <a:gd name="connsiteX345" fmla="*/ 925025 w 2586635"/>
                    <a:gd name="connsiteY345" fmla="*/ 162683 h 1496946"/>
                    <a:gd name="connsiteX346" fmla="*/ 916990 w 2586635"/>
                    <a:gd name="connsiteY346" fmla="*/ 141329 h 1496946"/>
                    <a:gd name="connsiteX347" fmla="*/ 1000753 w 2586635"/>
                    <a:gd name="connsiteY347" fmla="*/ 117334 h 1496946"/>
                    <a:gd name="connsiteX348" fmla="*/ 1023647 w 2586635"/>
                    <a:gd name="connsiteY348" fmla="*/ 88056 h 1496946"/>
                    <a:gd name="connsiteX349" fmla="*/ 1155401 w 2586635"/>
                    <a:gd name="connsiteY349" fmla="*/ 42707 h 1496946"/>
                    <a:gd name="connsiteX350" fmla="*/ 1229037 w 2586635"/>
                    <a:gd name="connsiteY350" fmla="*/ 32030 h 1496946"/>
                    <a:gd name="connsiteX351" fmla="*/ 1282421 w 2586635"/>
                    <a:gd name="connsiteY351" fmla="*/ 0 h 1496946"/>
                    <a:gd name="connsiteX352" fmla="*/ 1322376 w 2586635"/>
                    <a:gd name="connsiteY352" fmla="*/ 29389 h 1496946"/>
                    <a:gd name="connsiteX353" fmla="*/ 1378401 w 2586635"/>
                    <a:gd name="connsiteY353" fmla="*/ 29389 h 1496946"/>
                    <a:gd name="connsiteX354" fmla="*/ 1333053 w 2586635"/>
                    <a:gd name="connsiteY354" fmla="*/ 125479 h 1496946"/>
                    <a:gd name="connsiteX355" fmla="*/ 1387757 w 2586635"/>
                    <a:gd name="connsiteY355" fmla="*/ 104016 h 1496946"/>
                    <a:gd name="connsiteX356" fmla="*/ 473630 w 2586635"/>
                    <a:gd name="connsiteY356" fmla="*/ 809232 h 1496946"/>
                    <a:gd name="connsiteX357" fmla="*/ 498065 w 2586635"/>
                    <a:gd name="connsiteY357" fmla="*/ 854580 h 1496946"/>
                    <a:gd name="connsiteX358" fmla="*/ 516226 w 2586635"/>
                    <a:gd name="connsiteY358" fmla="*/ 846545 h 1496946"/>
                    <a:gd name="connsiteX359" fmla="*/ 525252 w 2586635"/>
                    <a:gd name="connsiteY359" fmla="*/ 866798 h 1496946"/>
                    <a:gd name="connsiteX360" fmla="*/ 498615 w 2586635"/>
                    <a:gd name="connsiteY360" fmla="*/ 880117 h 1496946"/>
                    <a:gd name="connsiteX361" fmla="*/ 517327 w 2586635"/>
                    <a:gd name="connsiteY361" fmla="*/ 902461 h 1496946"/>
                    <a:gd name="connsiteX362" fmla="*/ 518868 w 2586635"/>
                    <a:gd name="connsiteY362" fmla="*/ 925905 h 1496946"/>
                    <a:gd name="connsiteX363" fmla="*/ 518868 w 2586635"/>
                    <a:gd name="connsiteY363" fmla="*/ 935482 h 1496946"/>
                    <a:gd name="connsiteX364" fmla="*/ 469337 w 2586635"/>
                    <a:gd name="connsiteY364" fmla="*/ 935482 h 1496946"/>
                    <a:gd name="connsiteX365" fmla="*/ 460201 w 2586635"/>
                    <a:gd name="connsiteY365" fmla="*/ 925905 h 1496946"/>
                    <a:gd name="connsiteX366" fmla="*/ 444791 w 2586635"/>
                    <a:gd name="connsiteY366" fmla="*/ 922163 h 1496946"/>
                    <a:gd name="connsiteX367" fmla="*/ 442040 w 2586635"/>
                    <a:gd name="connsiteY367" fmla="*/ 905102 h 1496946"/>
                    <a:gd name="connsiteX368" fmla="*/ 435105 w 2586635"/>
                    <a:gd name="connsiteY368" fmla="*/ 896077 h 1496946"/>
                    <a:gd name="connsiteX369" fmla="*/ 442590 w 2586635"/>
                    <a:gd name="connsiteY369" fmla="*/ 897067 h 1496946"/>
                    <a:gd name="connsiteX370" fmla="*/ 457449 w 2586635"/>
                    <a:gd name="connsiteY370" fmla="*/ 871531 h 1496946"/>
                    <a:gd name="connsiteX371" fmla="*/ 421236 w 2586635"/>
                    <a:gd name="connsiteY371" fmla="*/ 813304 h 1496946"/>
                    <a:gd name="connsiteX372" fmla="*/ 409459 w 2586635"/>
                    <a:gd name="connsiteY372" fmla="*/ 791951 h 1496946"/>
                    <a:gd name="connsiteX373" fmla="*/ 422337 w 2586635"/>
                    <a:gd name="connsiteY373" fmla="*/ 766305 h 1496946"/>
                    <a:gd name="connsiteX374" fmla="*/ 482545 w 2586635"/>
                    <a:gd name="connsiteY374" fmla="*/ 749244 h 1496946"/>
                    <a:gd name="connsiteX375" fmla="*/ 526793 w 2586635"/>
                    <a:gd name="connsiteY375" fmla="*/ 779073 h 1496946"/>
                    <a:gd name="connsiteX376" fmla="*/ 498505 w 2586635"/>
                    <a:gd name="connsiteY376" fmla="*/ 779513 h 1496946"/>
                    <a:gd name="connsiteX377" fmla="*/ 461192 w 2586635"/>
                    <a:gd name="connsiteY377" fmla="*/ 792831 h 1496946"/>
                    <a:gd name="connsiteX378" fmla="*/ 473630 w 2586635"/>
                    <a:gd name="connsiteY378" fmla="*/ 809232 h 1496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</a:cxnLst>
                  <a:rect l="l" t="t" r="r" b="b"/>
                  <a:pathLst>
                    <a:path w="2586635" h="1496946">
                      <a:moveTo>
                        <a:pt x="1387757" y="104016"/>
                      </a:moveTo>
                      <a:cubicBezTo>
                        <a:pt x="1399535" y="123168"/>
                        <a:pt x="1491773" y="133955"/>
                        <a:pt x="1509385" y="138688"/>
                      </a:cubicBezTo>
                      <a:lnTo>
                        <a:pt x="1568052" y="138688"/>
                      </a:lnTo>
                      <a:cubicBezTo>
                        <a:pt x="1568052" y="122177"/>
                        <a:pt x="1575536" y="116234"/>
                        <a:pt x="1589405" y="117334"/>
                      </a:cubicBezTo>
                      <a:cubicBezTo>
                        <a:pt x="1699255" y="126470"/>
                        <a:pt x="1656107" y="153657"/>
                        <a:pt x="1656107" y="157400"/>
                      </a:cubicBezTo>
                      <a:cubicBezTo>
                        <a:pt x="1656107" y="172369"/>
                        <a:pt x="1665683" y="200107"/>
                        <a:pt x="1688138" y="200107"/>
                      </a:cubicBezTo>
                      <a:cubicBezTo>
                        <a:pt x="1696723" y="200107"/>
                        <a:pt x="1699915" y="183596"/>
                        <a:pt x="1701456" y="176111"/>
                      </a:cubicBezTo>
                      <a:cubicBezTo>
                        <a:pt x="1719067" y="177212"/>
                        <a:pt x="1721158" y="189430"/>
                        <a:pt x="1736128" y="189430"/>
                      </a:cubicBezTo>
                      <a:lnTo>
                        <a:pt x="1821432" y="189430"/>
                      </a:lnTo>
                      <a:cubicBezTo>
                        <a:pt x="1824624" y="168627"/>
                        <a:pt x="1830568" y="146833"/>
                        <a:pt x="1872174" y="146833"/>
                      </a:cubicBezTo>
                      <a:cubicBezTo>
                        <a:pt x="1913780" y="146833"/>
                        <a:pt x="1949003" y="154758"/>
                        <a:pt x="1981473" y="165435"/>
                      </a:cubicBezTo>
                      <a:cubicBezTo>
                        <a:pt x="1996993" y="170278"/>
                        <a:pt x="1997543" y="183046"/>
                        <a:pt x="2008220" y="192071"/>
                      </a:cubicBezTo>
                      <a:cubicBezTo>
                        <a:pt x="2019997" y="202198"/>
                        <a:pt x="2049826" y="194713"/>
                        <a:pt x="2069529" y="194713"/>
                      </a:cubicBezTo>
                      <a:cubicBezTo>
                        <a:pt x="2105852" y="194713"/>
                        <a:pt x="2124013" y="204289"/>
                        <a:pt x="2130838" y="232027"/>
                      </a:cubicBezTo>
                      <a:lnTo>
                        <a:pt x="2253455" y="234668"/>
                      </a:lnTo>
                      <a:cubicBezTo>
                        <a:pt x="2263581" y="234118"/>
                        <a:pt x="2304638" y="286401"/>
                        <a:pt x="2288127" y="234668"/>
                      </a:cubicBezTo>
                      <a:cubicBezTo>
                        <a:pt x="2285815" y="227514"/>
                        <a:pt x="2297703" y="223992"/>
                        <a:pt x="2314764" y="223992"/>
                      </a:cubicBezTo>
                      <a:cubicBezTo>
                        <a:pt x="2376623" y="223992"/>
                        <a:pt x="2432648" y="250188"/>
                        <a:pt x="2474805" y="274734"/>
                      </a:cubicBezTo>
                      <a:cubicBezTo>
                        <a:pt x="2505184" y="292345"/>
                        <a:pt x="2567704" y="306654"/>
                        <a:pt x="2586856" y="332300"/>
                      </a:cubicBezTo>
                      <a:cubicBezTo>
                        <a:pt x="2572437" y="337143"/>
                        <a:pt x="2563961" y="336042"/>
                        <a:pt x="2554826" y="346719"/>
                      </a:cubicBezTo>
                      <a:cubicBezTo>
                        <a:pt x="2548882" y="353654"/>
                        <a:pt x="2546791" y="373356"/>
                        <a:pt x="2536114" y="373356"/>
                      </a:cubicBezTo>
                      <a:cubicBezTo>
                        <a:pt x="2512118" y="373356"/>
                        <a:pt x="2484381" y="328007"/>
                        <a:pt x="2450810" y="328007"/>
                      </a:cubicBezTo>
                      <a:cubicBezTo>
                        <a:pt x="2440133" y="328007"/>
                        <a:pt x="2445416" y="341326"/>
                        <a:pt x="2442775" y="346719"/>
                      </a:cubicBezTo>
                      <a:cubicBezTo>
                        <a:pt x="2436391" y="359487"/>
                        <a:pt x="2405461" y="355745"/>
                        <a:pt x="2405461" y="378750"/>
                      </a:cubicBezTo>
                      <a:cubicBezTo>
                        <a:pt x="2405461" y="387225"/>
                        <a:pt x="2468641" y="417164"/>
                        <a:pt x="2389501" y="418705"/>
                      </a:cubicBezTo>
                      <a:cubicBezTo>
                        <a:pt x="2347895" y="419475"/>
                        <a:pt x="2314323" y="480014"/>
                        <a:pt x="2266883" y="480014"/>
                      </a:cubicBezTo>
                      <a:cubicBezTo>
                        <a:pt x="2250924" y="480014"/>
                        <a:pt x="2211298" y="430482"/>
                        <a:pt x="2168151" y="522721"/>
                      </a:cubicBezTo>
                      <a:cubicBezTo>
                        <a:pt x="2162978" y="533838"/>
                        <a:pt x="2168151" y="540332"/>
                        <a:pt x="2168151" y="546716"/>
                      </a:cubicBezTo>
                      <a:cubicBezTo>
                        <a:pt x="2168151" y="556292"/>
                        <a:pt x="2149439" y="561135"/>
                        <a:pt x="2149439" y="578746"/>
                      </a:cubicBezTo>
                      <a:cubicBezTo>
                        <a:pt x="2149439" y="589863"/>
                        <a:pt x="2125444" y="593165"/>
                        <a:pt x="2128086" y="608025"/>
                      </a:cubicBezTo>
                      <a:cubicBezTo>
                        <a:pt x="2106182" y="613418"/>
                        <a:pt x="2098807" y="642696"/>
                        <a:pt x="2088130" y="658767"/>
                      </a:cubicBezTo>
                      <a:cubicBezTo>
                        <a:pt x="2073161" y="646989"/>
                        <a:pt x="2066777" y="582488"/>
                        <a:pt x="2066777" y="562676"/>
                      </a:cubicBezTo>
                      <a:cubicBezTo>
                        <a:pt x="2066777" y="539781"/>
                        <a:pt x="2085379" y="527454"/>
                        <a:pt x="2098807" y="519969"/>
                      </a:cubicBezTo>
                      <a:cubicBezTo>
                        <a:pt x="2114767" y="510943"/>
                        <a:pt x="2124894" y="490690"/>
                        <a:pt x="2136121" y="474620"/>
                      </a:cubicBezTo>
                      <a:cubicBezTo>
                        <a:pt x="2145697" y="460751"/>
                        <a:pt x="2158905" y="465374"/>
                        <a:pt x="2173434" y="455908"/>
                      </a:cubicBezTo>
                      <a:cubicBezTo>
                        <a:pt x="2215261" y="429051"/>
                        <a:pt x="2187303" y="417494"/>
                        <a:pt x="2181470" y="418595"/>
                      </a:cubicBezTo>
                      <a:cubicBezTo>
                        <a:pt x="2123243" y="490360"/>
                        <a:pt x="2127095" y="444241"/>
                        <a:pt x="2136231" y="437196"/>
                      </a:cubicBezTo>
                      <a:cubicBezTo>
                        <a:pt x="2118069" y="434555"/>
                        <a:pt x="2113777" y="437196"/>
                        <a:pt x="2104201" y="437196"/>
                      </a:cubicBezTo>
                      <a:cubicBezTo>
                        <a:pt x="2067327" y="437196"/>
                        <a:pt x="2051367" y="458000"/>
                        <a:pt x="2042782" y="493222"/>
                      </a:cubicBezTo>
                      <a:lnTo>
                        <a:pt x="2013503" y="493222"/>
                      </a:lnTo>
                      <a:cubicBezTo>
                        <a:pt x="2000185" y="493222"/>
                        <a:pt x="1990058" y="482545"/>
                        <a:pt x="1968155" y="482545"/>
                      </a:cubicBezTo>
                      <a:cubicBezTo>
                        <a:pt x="1950543" y="482545"/>
                        <a:pt x="1887033" y="487939"/>
                        <a:pt x="1866781" y="493222"/>
                      </a:cubicBezTo>
                      <a:cubicBezTo>
                        <a:pt x="1843776" y="499606"/>
                        <a:pt x="1821982" y="527343"/>
                        <a:pt x="1805362" y="543854"/>
                      </a:cubicBezTo>
                      <a:cubicBezTo>
                        <a:pt x="1794135" y="555081"/>
                        <a:pt x="1765406" y="571591"/>
                        <a:pt x="1765406" y="586561"/>
                      </a:cubicBezTo>
                      <a:cubicBezTo>
                        <a:pt x="1765406" y="589753"/>
                        <a:pt x="1781807" y="626406"/>
                        <a:pt x="1813397" y="602521"/>
                      </a:cubicBezTo>
                      <a:cubicBezTo>
                        <a:pt x="1824074" y="594486"/>
                        <a:pt x="1847188" y="622664"/>
                        <a:pt x="1847188" y="636973"/>
                      </a:cubicBezTo>
                      <a:cubicBezTo>
                        <a:pt x="1847188" y="648750"/>
                        <a:pt x="1840914" y="660748"/>
                        <a:pt x="1837832" y="666361"/>
                      </a:cubicBezTo>
                      <a:cubicBezTo>
                        <a:pt x="1829577" y="681221"/>
                        <a:pt x="1835851" y="691127"/>
                        <a:pt x="1832108" y="706537"/>
                      </a:cubicBezTo>
                      <a:cubicBezTo>
                        <a:pt x="1828917" y="720406"/>
                        <a:pt x="1817029" y="737797"/>
                        <a:pt x="1808554" y="746272"/>
                      </a:cubicBezTo>
                      <a:cubicBezTo>
                        <a:pt x="1787200" y="767625"/>
                        <a:pt x="1758472" y="831906"/>
                        <a:pt x="1728093" y="831906"/>
                      </a:cubicBezTo>
                      <a:cubicBezTo>
                        <a:pt x="1711582" y="831906"/>
                        <a:pt x="1690779" y="826513"/>
                        <a:pt x="1690779" y="826513"/>
                      </a:cubicBezTo>
                      <a:cubicBezTo>
                        <a:pt x="1678011" y="836639"/>
                        <a:pt x="1673718" y="845224"/>
                        <a:pt x="1666784" y="859644"/>
                      </a:cubicBezTo>
                      <a:cubicBezTo>
                        <a:pt x="1664693" y="863936"/>
                        <a:pt x="1655117" y="869220"/>
                        <a:pt x="1651264" y="872962"/>
                      </a:cubicBezTo>
                      <a:cubicBezTo>
                        <a:pt x="1646972" y="877255"/>
                        <a:pt x="1641688" y="880997"/>
                        <a:pt x="1635304" y="880997"/>
                      </a:cubicBezTo>
                      <a:cubicBezTo>
                        <a:pt x="1634313" y="890133"/>
                        <a:pt x="1639597" y="894866"/>
                        <a:pt x="1644330" y="899709"/>
                      </a:cubicBezTo>
                      <a:cubicBezTo>
                        <a:pt x="1655997" y="911376"/>
                        <a:pt x="1664032" y="923704"/>
                        <a:pt x="1664032" y="944507"/>
                      </a:cubicBezTo>
                      <a:cubicBezTo>
                        <a:pt x="1664032" y="956835"/>
                        <a:pt x="1660840" y="962669"/>
                        <a:pt x="1653355" y="964760"/>
                      </a:cubicBezTo>
                      <a:cubicBezTo>
                        <a:pt x="1650163" y="965861"/>
                        <a:pt x="1636845" y="966301"/>
                        <a:pt x="1636845" y="971144"/>
                      </a:cubicBezTo>
                      <a:cubicBezTo>
                        <a:pt x="1630461" y="972795"/>
                        <a:pt x="1629470" y="972795"/>
                        <a:pt x="1626168" y="975987"/>
                      </a:cubicBezTo>
                      <a:lnTo>
                        <a:pt x="1618133" y="975987"/>
                      </a:lnTo>
                      <a:cubicBezTo>
                        <a:pt x="1618133" y="973345"/>
                        <a:pt x="1620775" y="971694"/>
                        <a:pt x="1621325" y="969053"/>
                      </a:cubicBezTo>
                      <a:cubicBezTo>
                        <a:pt x="1618684" y="968502"/>
                        <a:pt x="1618684" y="965861"/>
                        <a:pt x="1618684" y="963769"/>
                      </a:cubicBezTo>
                      <a:cubicBezTo>
                        <a:pt x="1618684" y="960027"/>
                        <a:pt x="1623527" y="953093"/>
                        <a:pt x="1623527" y="951442"/>
                      </a:cubicBezTo>
                      <a:cubicBezTo>
                        <a:pt x="1623527" y="948250"/>
                        <a:pt x="1620775" y="945608"/>
                        <a:pt x="1620775" y="942306"/>
                      </a:cubicBezTo>
                      <a:cubicBezTo>
                        <a:pt x="1617583" y="941756"/>
                        <a:pt x="1616482" y="939664"/>
                        <a:pt x="1615381" y="938564"/>
                      </a:cubicBezTo>
                      <a:lnTo>
                        <a:pt x="1615381" y="933280"/>
                      </a:lnTo>
                      <a:cubicBezTo>
                        <a:pt x="1619674" y="933280"/>
                        <a:pt x="1623967" y="929978"/>
                        <a:pt x="1623967" y="926346"/>
                      </a:cubicBezTo>
                      <a:cubicBezTo>
                        <a:pt x="1623967" y="919962"/>
                        <a:pt x="1615932" y="915669"/>
                        <a:pt x="1609548" y="915669"/>
                      </a:cubicBezTo>
                      <a:cubicBezTo>
                        <a:pt x="1605805" y="915669"/>
                        <a:pt x="1603714" y="918311"/>
                        <a:pt x="1602063" y="918311"/>
                      </a:cubicBezTo>
                      <a:cubicBezTo>
                        <a:pt x="1598321" y="918311"/>
                        <a:pt x="1596780" y="911927"/>
                        <a:pt x="1596780" y="909285"/>
                      </a:cubicBezTo>
                      <a:cubicBezTo>
                        <a:pt x="1596780" y="902901"/>
                        <a:pt x="1602723" y="903341"/>
                        <a:pt x="1602723" y="898058"/>
                      </a:cubicBezTo>
                      <a:cubicBezTo>
                        <a:pt x="1602723" y="891674"/>
                        <a:pt x="1599972" y="891674"/>
                        <a:pt x="1602723" y="886280"/>
                      </a:cubicBezTo>
                      <a:cubicBezTo>
                        <a:pt x="1594689" y="886280"/>
                        <a:pt x="1592047" y="880447"/>
                        <a:pt x="1585553" y="880447"/>
                      </a:cubicBezTo>
                      <a:cubicBezTo>
                        <a:pt x="1568492" y="880447"/>
                        <a:pt x="1556274" y="896517"/>
                        <a:pt x="1541305" y="896517"/>
                      </a:cubicBezTo>
                      <a:cubicBezTo>
                        <a:pt x="1541305" y="886831"/>
                        <a:pt x="1551431" y="883088"/>
                        <a:pt x="1551431" y="874613"/>
                      </a:cubicBezTo>
                      <a:cubicBezTo>
                        <a:pt x="1551431" y="871421"/>
                        <a:pt x="1545487" y="864487"/>
                        <a:pt x="1541305" y="864487"/>
                      </a:cubicBezTo>
                      <a:cubicBezTo>
                        <a:pt x="1535911" y="864487"/>
                        <a:pt x="1533820" y="869880"/>
                        <a:pt x="1532719" y="871421"/>
                      </a:cubicBezTo>
                      <a:cubicBezTo>
                        <a:pt x="1528426" y="878355"/>
                        <a:pt x="1516209" y="886280"/>
                        <a:pt x="1509825" y="891124"/>
                      </a:cubicBezTo>
                      <a:cubicBezTo>
                        <a:pt x="1502340" y="896517"/>
                        <a:pt x="1486930" y="892775"/>
                        <a:pt x="1486930" y="903892"/>
                      </a:cubicBezTo>
                      <a:cubicBezTo>
                        <a:pt x="1486930" y="909285"/>
                        <a:pt x="1495956" y="911376"/>
                        <a:pt x="1498157" y="912917"/>
                      </a:cubicBezTo>
                      <a:cubicBezTo>
                        <a:pt x="1504541" y="917760"/>
                        <a:pt x="1502450" y="923044"/>
                        <a:pt x="1508834" y="927336"/>
                      </a:cubicBezTo>
                      <a:cubicBezTo>
                        <a:pt x="1513127" y="929978"/>
                        <a:pt x="1518410" y="928437"/>
                        <a:pt x="1522703" y="928437"/>
                      </a:cubicBezTo>
                      <a:cubicBezTo>
                        <a:pt x="1525895" y="928437"/>
                        <a:pt x="1525895" y="916660"/>
                        <a:pt x="1530188" y="916660"/>
                      </a:cubicBezTo>
                      <a:cubicBezTo>
                        <a:pt x="1536131" y="916660"/>
                        <a:pt x="1538223" y="920952"/>
                        <a:pt x="1541855" y="923044"/>
                      </a:cubicBezTo>
                      <a:cubicBezTo>
                        <a:pt x="1549340" y="927887"/>
                        <a:pt x="1557375" y="921943"/>
                        <a:pt x="1561668" y="927887"/>
                      </a:cubicBezTo>
                      <a:cubicBezTo>
                        <a:pt x="1550991" y="938564"/>
                        <a:pt x="1528096" y="938564"/>
                        <a:pt x="1523253" y="952983"/>
                      </a:cubicBezTo>
                      <a:cubicBezTo>
                        <a:pt x="1521162" y="959367"/>
                        <a:pt x="1512026" y="959917"/>
                        <a:pt x="1512026" y="966301"/>
                      </a:cubicBezTo>
                      <a:cubicBezTo>
                        <a:pt x="1512026" y="973786"/>
                        <a:pt x="1522152" y="979069"/>
                        <a:pt x="1526445" y="979730"/>
                      </a:cubicBezTo>
                      <a:lnTo>
                        <a:pt x="1526995" y="989856"/>
                      </a:lnTo>
                      <a:lnTo>
                        <a:pt x="1528096" y="989856"/>
                      </a:lnTo>
                      <a:lnTo>
                        <a:pt x="1527546" y="990406"/>
                      </a:lnTo>
                      <a:cubicBezTo>
                        <a:pt x="1532389" y="993048"/>
                        <a:pt x="1532389" y="999432"/>
                        <a:pt x="1534040" y="1002184"/>
                      </a:cubicBezTo>
                      <a:cubicBezTo>
                        <a:pt x="1543616" y="1016603"/>
                        <a:pt x="1548900" y="1025188"/>
                        <a:pt x="1548900" y="1048083"/>
                      </a:cubicBezTo>
                      <a:cubicBezTo>
                        <a:pt x="1548900" y="1063493"/>
                        <a:pt x="1540864" y="1068886"/>
                        <a:pt x="1540864" y="1080553"/>
                      </a:cubicBezTo>
                      <a:cubicBezTo>
                        <a:pt x="1532829" y="1082204"/>
                        <a:pt x="1518520" y="1103448"/>
                        <a:pt x="1515218" y="1109942"/>
                      </a:cubicBezTo>
                      <a:cubicBezTo>
                        <a:pt x="1510375" y="1120068"/>
                        <a:pt x="1506633" y="1139771"/>
                        <a:pt x="1493865" y="1139771"/>
                      </a:cubicBezTo>
                      <a:cubicBezTo>
                        <a:pt x="1492764" y="1145054"/>
                        <a:pt x="1490122" y="1147255"/>
                        <a:pt x="1485830" y="1149347"/>
                      </a:cubicBezTo>
                      <a:cubicBezTo>
                        <a:pt x="1470970" y="1157932"/>
                        <a:pt x="1465027" y="1172792"/>
                        <a:pt x="1440481" y="1172792"/>
                      </a:cubicBezTo>
                      <a:cubicBezTo>
                        <a:pt x="1435197" y="1172792"/>
                        <a:pt x="1432446" y="1168499"/>
                        <a:pt x="1427163" y="1168499"/>
                      </a:cubicBezTo>
                      <a:cubicBezTo>
                        <a:pt x="1426062" y="1168499"/>
                        <a:pt x="1420778" y="1178625"/>
                        <a:pt x="1420778" y="1178625"/>
                      </a:cubicBezTo>
                      <a:cubicBezTo>
                        <a:pt x="1414394" y="1185009"/>
                        <a:pt x="1404268" y="1182918"/>
                        <a:pt x="1394142" y="1187651"/>
                      </a:cubicBezTo>
                      <a:cubicBezTo>
                        <a:pt x="1389849" y="1189852"/>
                        <a:pt x="1379172" y="1191393"/>
                        <a:pt x="1375430" y="1195136"/>
                      </a:cubicBezTo>
                      <a:cubicBezTo>
                        <a:pt x="1371247" y="1199318"/>
                        <a:pt x="1374329" y="1206363"/>
                        <a:pt x="1368495" y="1206363"/>
                      </a:cubicBezTo>
                      <a:cubicBezTo>
                        <a:pt x="1363762" y="1206363"/>
                        <a:pt x="1365303" y="1195686"/>
                        <a:pt x="1365854" y="1192934"/>
                      </a:cubicBezTo>
                      <a:cubicBezTo>
                        <a:pt x="1355727" y="1188091"/>
                        <a:pt x="1349343" y="1191393"/>
                        <a:pt x="1340207" y="1187101"/>
                      </a:cubicBezTo>
                      <a:cubicBezTo>
                        <a:pt x="1329531" y="1203721"/>
                        <a:pt x="1303444" y="1207464"/>
                        <a:pt x="1303444" y="1230358"/>
                      </a:cubicBezTo>
                      <a:cubicBezTo>
                        <a:pt x="1303444" y="1235201"/>
                        <a:pt x="1306086" y="1236192"/>
                        <a:pt x="1308287" y="1238393"/>
                      </a:cubicBezTo>
                      <a:cubicBezTo>
                        <a:pt x="1320505" y="1250611"/>
                        <a:pt x="1325898" y="1264590"/>
                        <a:pt x="1339217" y="1273065"/>
                      </a:cubicBezTo>
                      <a:cubicBezTo>
                        <a:pt x="1351985" y="1281651"/>
                        <a:pt x="1360570" y="1305095"/>
                        <a:pt x="1360570" y="1322596"/>
                      </a:cubicBezTo>
                      <a:cubicBezTo>
                        <a:pt x="1360570" y="1334924"/>
                        <a:pt x="1354186" y="1339767"/>
                        <a:pt x="1354186" y="1349343"/>
                      </a:cubicBezTo>
                      <a:cubicBezTo>
                        <a:pt x="1337125" y="1353636"/>
                        <a:pt x="1335474" y="1359470"/>
                        <a:pt x="1321606" y="1366404"/>
                      </a:cubicBezTo>
                      <a:cubicBezTo>
                        <a:pt x="1315222" y="1369706"/>
                        <a:pt x="1316322" y="1378181"/>
                        <a:pt x="1309828" y="1378181"/>
                      </a:cubicBezTo>
                      <a:cubicBezTo>
                        <a:pt x="1308287" y="1378181"/>
                        <a:pt x="1308287" y="1374990"/>
                        <a:pt x="1308287" y="1373449"/>
                      </a:cubicBezTo>
                      <a:lnTo>
                        <a:pt x="1308287" y="1379282"/>
                      </a:lnTo>
                      <a:cubicBezTo>
                        <a:pt x="1308287" y="1384566"/>
                        <a:pt x="1297610" y="1392601"/>
                        <a:pt x="1295519" y="1392601"/>
                      </a:cubicBezTo>
                      <a:cubicBezTo>
                        <a:pt x="1293428" y="1392601"/>
                        <a:pt x="1291227" y="1385116"/>
                        <a:pt x="1291227" y="1381924"/>
                      </a:cubicBezTo>
                      <a:cubicBezTo>
                        <a:pt x="1291227" y="1377631"/>
                        <a:pt x="1291227" y="1375540"/>
                        <a:pt x="1293318" y="1374439"/>
                      </a:cubicBezTo>
                      <a:cubicBezTo>
                        <a:pt x="1291227" y="1373338"/>
                        <a:pt x="1290126" y="1369046"/>
                        <a:pt x="1289576" y="1366404"/>
                      </a:cubicBezTo>
                      <a:cubicBezTo>
                        <a:pt x="1281540" y="1366404"/>
                        <a:pt x="1270864" y="1363762"/>
                        <a:pt x="1270864" y="1355727"/>
                      </a:cubicBezTo>
                      <a:cubicBezTo>
                        <a:pt x="1259086" y="1355727"/>
                        <a:pt x="1265030" y="1347802"/>
                        <a:pt x="1258536" y="1341418"/>
                      </a:cubicBezTo>
                      <a:cubicBezTo>
                        <a:pt x="1251051" y="1333934"/>
                        <a:pt x="1243566" y="1333383"/>
                        <a:pt x="1235091" y="1330742"/>
                      </a:cubicBezTo>
                      <a:cubicBezTo>
                        <a:pt x="1233990" y="1330742"/>
                        <a:pt x="1232449" y="1323807"/>
                        <a:pt x="1232449" y="1323807"/>
                      </a:cubicBezTo>
                      <a:cubicBezTo>
                        <a:pt x="1230798" y="1317973"/>
                        <a:pt x="1224414" y="1316873"/>
                        <a:pt x="1218581" y="1316873"/>
                      </a:cubicBezTo>
                      <a:cubicBezTo>
                        <a:pt x="1214288" y="1316873"/>
                        <a:pt x="1215388" y="1320065"/>
                        <a:pt x="1215388" y="1322706"/>
                      </a:cubicBezTo>
                      <a:cubicBezTo>
                        <a:pt x="1215388" y="1327550"/>
                        <a:pt x="1217590" y="1328650"/>
                        <a:pt x="1217590" y="1332943"/>
                      </a:cubicBezTo>
                      <a:cubicBezTo>
                        <a:pt x="1217590" y="1349013"/>
                        <a:pt x="1202070" y="1353196"/>
                        <a:pt x="1202070" y="1367505"/>
                      </a:cubicBezTo>
                      <a:cubicBezTo>
                        <a:pt x="1202070" y="1384015"/>
                        <a:pt x="1220232" y="1377631"/>
                        <a:pt x="1220232" y="1393151"/>
                      </a:cubicBezTo>
                      <a:lnTo>
                        <a:pt x="1219241" y="1393151"/>
                      </a:lnTo>
                      <a:cubicBezTo>
                        <a:pt x="1221332" y="1396893"/>
                        <a:pt x="1221882" y="1406469"/>
                        <a:pt x="1225625" y="1410212"/>
                      </a:cubicBezTo>
                      <a:cubicBezTo>
                        <a:pt x="1240044" y="1424631"/>
                        <a:pt x="1271524" y="1427823"/>
                        <a:pt x="1271524" y="1454460"/>
                      </a:cubicBezTo>
                      <a:cubicBezTo>
                        <a:pt x="1271524" y="1459853"/>
                        <a:pt x="1269323" y="1459853"/>
                        <a:pt x="1269323" y="1464586"/>
                      </a:cubicBezTo>
                      <a:cubicBezTo>
                        <a:pt x="1269323" y="1474162"/>
                        <a:pt x="1277358" y="1477354"/>
                        <a:pt x="1279449" y="1483738"/>
                      </a:cubicBezTo>
                      <a:cubicBezTo>
                        <a:pt x="1281651" y="1490673"/>
                        <a:pt x="1281651" y="1493314"/>
                        <a:pt x="1284182" y="1499148"/>
                      </a:cubicBezTo>
                      <a:cubicBezTo>
                        <a:pt x="1279889" y="1499698"/>
                        <a:pt x="1279449" y="1499698"/>
                        <a:pt x="1277247" y="1499698"/>
                      </a:cubicBezTo>
                      <a:cubicBezTo>
                        <a:pt x="1275597" y="1499698"/>
                        <a:pt x="1275156" y="1501790"/>
                        <a:pt x="1273505" y="1501790"/>
                      </a:cubicBezTo>
                      <a:cubicBezTo>
                        <a:pt x="1268222" y="1501790"/>
                        <a:pt x="1267671" y="1498047"/>
                        <a:pt x="1264480" y="1497057"/>
                      </a:cubicBezTo>
                      <a:cubicBezTo>
                        <a:pt x="1247969" y="1491663"/>
                        <a:pt x="1233000" y="1475703"/>
                        <a:pt x="1227166" y="1458092"/>
                      </a:cubicBezTo>
                      <a:cubicBezTo>
                        <a:pt x="1222323" y="1442682"/>
                        <a:pt x="1221332" y="1431455"/>
                        <a:pt x="1215388" y="1419127"/>
                      </a:cubicBezTo>
                      <a:cubicBezTo>
                        <a:pt x="1211646" y="1411643"/>
                        <a:pt x="1208014" y="1392491"/>
                        <a:pt x="1199429" y="1392491"/>
                      </a:cubicBezTo>
                      <a:cubicBezTo>
                        <a:pt x="1194145" y="1392491"/>
                        <a:pt x="1197337" y="1395683"/>
                        <a:pt x="1192494" y="1392491"/>
                      </a:cubicBezTo>
                      <a:cubicBezTo>
                        <a:pt x="1191393" y="1392491"/>
                        <a:pt x="1192494" y="1390399"/>
                        <a:pt x="1192494" y="1389299"/>
                      </a:cubicBezTo>
                      <a:cubicBezTo>
                        <a:pt x="1192494" y="1381814"/>
                        <a:pt x="1193595" y="1376530"/>
                        <a:pt x="1195136" y="1369046"/>
                      </a:cubicBezTo>
                      <a:lnTo>
                        <a:pt x="1196236" y="1369046"/>
                      </a:lnTo>
                      <a:lnTo>
                        <a:pt x="1197778" y="1369046"/>
                      </a:lnTo>
                      <a:cubicBezTo>
                        <a:pt x="1193485" y="1366844"/>
                        <a:pt x="1197778" y="1354627"/>
                        <a:pt x="1197778" y="1348793"/>
                      </a:cubicBezTo>
                      <a:cubicBezTo>
                        <a:pt x="1197778" y="1325238"/>
                        <a:pt x="1183909" y="1311479"/>
                        <a:pt x="1183909" y="1294308"/>
                      </a:cubicBezTo>
                      <a:cubicBezTo>
                        <a:pt x="1176974" y="1294308"/>
                        <a:pt x="1186110" y="1278348"/>
                        <a:pt x="1180717" y="1270313"/>
                      </a:cubicBezTo>
                      <a:cubicBezTo>
                        <a:pt x="1179066" y="1267672"/>
                        <a:pt x="1174883" y="1268772"/>
                        <a:pt x="1173782" y="1267672"/>
                      </a:cubicBezTo>
                      <a:cubicBezTo>
                        <a:pt x="1170590" y="1264480"/>
                        <a:pt x="1172131" y="1262278"/>
                        <a:pt x="1168939" y="1259086"/>
                      </a:cubicBezTo>
                      <a:cubicBezTo>
                        <a:pt x="1159914" y="1268112"/>
                        <a:pt x="1156171" y="1283632"/>
                        <a:pt x="1141202" y="1283632"/>
                      </a:cubicBezTo>
                      <a:cubicBezTo>
                        <a:pt x="1133166" y="1283632"/>
                        <a:pt x="1132726" y="1277248"/>
                        <a:pt x="1132726" y="1270313"/>
                      </a:cubicBezTo>
                      <a:cubicBezTo>
                        <a:pt x="1132726" y="1263379"/>
                        <a:pt x="1135368" y="1260187"/>
                        <a:pt x="1135368" y="1254243"/>
                      </a:cubicBezTo>
                      <a:cubicBezTo>
                        <a:pt x="1135368" y="1251601"/>
                        <a:pt x="1132726" y="1249950"/>
                        <a:pt x="1132176" y="1247309"/>
                      </a:cubicBezTo>
                      <a:cubicBezTo>
                        <a:pt x="1128434" y="1236082"/>
                        <a:pt x="1122050" y="1227606"/>
                        <a:pt x="1116766" y="1219021"/>
                      </a:cubicBezTo>
                      <a:cubicBezTo>
                        <a:pt x="1109282" y="1213187"/>
                        <a:pt x="1103448" y="1208895"/>
                        <a:pt x="1099155" y="1201960"/>
                      </a:cubicBezTo>
                      <a:cubicBezTo>
                        <a:pt x="1094862" y="1195576"/>
                        <a:pt x="1095963" y="1186991"/>
                        <a:pt x="1093872" y="1180607"/>
                      </a:cubicBezTo>
                      <a:cubicBezTo>
                        <a:pt x="1091780" y="1173122"/>
                        <a:pt x="1082645" y="1169930"/>
                        <a:pt x="1074719" y="1168279"/>
                      </a:cubicBezTo>
                      <a:cubicBezTo>
                        <a:pt x="1074719" y="1184239"/>
                        <a:pt x="1059750" y="1187431"/>
                        <a:pt x="1045991" y="1187431"/>
                      </a:cubicBezTo>
                      <a:cubicBezTo>
                        <a:pt x="1037516" y="1187431"/>
                        <a:pt x="1037516" y="1184789"/>
                        <a:pt x="1033113" y="1182148"/>
                      </a:cubicBezTo>
                      <a:cubicBezTo>
                        <a:pt x="1029371" y="1190183"/>
                        <a:pt x="1018254" y="1190733"/>
                        <a:pt x="1016603" y="1195466"/>
                      </a:cubicBezTo>
                      <a:cubicBezTo>
                        <a:pt x="1014511" y="1202951"/>
                        <a:pt x="1014952" y="1208784"/>
                        <a:pt x="1010219" y="1213517"/>
                      </a:cubicBezTo>
                      <a:cubicBezTo>
                        <a:pt x="1000643" y="1223093"/>
                        <a:pt x="985123" y="1225845"/>
                        <a:pt x="976647" y="1234321"/>
                      </a:cubicBezTo>
                      <a:cubicBezTo>
                        <a:pt x="965971" y="1244997"/>
                        <a:pt x="956395" y="1255674"/>
                        <a:pt x="946268" y="1265801"/>
                      </a:cubicBezTo>
                      <a:cubicBezTo>
                        <a:pt x="941976" y="1270093"/>
                        <a:pt x="936142" y="1276477"/>
                        <a:pt x="932400" y="1277578"/>
                      </a:cubicBezTo>
                      <a:cubicBezTo>
                        <a:pt x="922824" y="1280770"/>
                        <a:pt x="911597" y="1282421"/>
                        <a:pt x="911597" y="1293538"/>
                      </a:cubicBezTo>
                      <a:cubicBezTo>
                        <a:pt x="911597" y="1303114"/>
                        <a:pt x="915339" y="1308507"/>
                        <a:pt x="915339" y="1316983"/>
                      </a:cubicBezTo>
                      <a:cubicBezTo>
                        <a:pt x="915339" y="1330411"/>
                        <a:pt x="909065" y="1338887"/>
                        <a:pt x="909065" y="1349013"/>
                      </a:cubicBezTo>
                      <a:lnTo>
                        <a:pt x="911706" y="1362882"/>
                      </a:lnTo>
                      <a:lnTo>
                        <a:pt x="909065" y="1363432"/>
                      </a:lnTo>
                      <a:cubicBezTo>
                        <a:pt x="909065" y="1364973"/>
                        <a:pt x="905323" y="1364973"/>
                        <a:pt x="903672" y="1365634"/>
                      </a:cubicBezTo>
                      <a:cubicBezTo>
                        <a:pt x="896187" y="1367725"/>
                        <a:pt x="897838" y="1381594"/>
                        <a:pt x="893435" y="1383795"/>
                      </a:cubicBezTo>
                      <a:cubicBezTo>
                        <a:pt x="887051" y="1386987"/>
                        <a:pt x="886060" y="1384896"/>
                        <a:pt x="883309" y="1390289"/>
                      </a:cubicBezTo>
                      <a:cubicBezTo>
                        <a:pt x="881217" y="1394472"/>
                        <a:pt x="880667" y="1400966"/>
                        <a:pt x="876374" y="1400966"/>
                      </a:cubicBezTo>
                      <a:cubicBezTo>
                        <a:pt x="872081" y="1401406"/>
                        <a:pt x="868890" y="1399315"/>
                        <a:pt x="868339" y="1395572"/>
                      </a:cubicBezTo>
                      <a:cubicBezTo>
                        <a:pt x="865697" y="1395572"/>
                        <a:pt x="864046" y="1391830"/>
                        <a:pt x="863606" y="1390289"/>
                      </a:cubicBezTo>
                      <a:cubicBezTo>
                        <a:pt x="859314" y="1377411"/>
                        <a:pt x="853479" y="1366734"/>
                        <a:pt x="849737" y="1355507"/>
                      </a:cubicBezTo>
                      <a:cubicBezTo>
                        <a:pt x="847536" y="1348133"/>
                        <a:pt x="840051" y="1342739"/>
                        <a:pt x="837960" y="1338446"/>
                      </a:cubicBezTo>
                      <a:cubicBezTo>
                        <a:pt x="833667" y="1329861"/>
                        <a:pt x="836309" y="1322927"/>
                        <a:pt x="832016" y="1316653"/>
                      </a:cubicBezTo>
                      <a:cubicBezTo>
                        <a:pt x="827723" y="1309718"/>
                        <a:pt x="827723" y="1306416"/>
                        <a:pt x="825632" y="1299592"/>
                      </a:cubicBezTo>
                      <a:cubicBezTo>
                        <a:pt x="822990" y="1291557"/>
                        <a:pt x="813414" y="1274056"/>
                        <a:pt x="809672" y="1262278"/>
                      </a:cubicBezTo>
                      <a:cubicBezTo>
                        <a:pt x="806480" y="1251601"/>
                        <a:pt x="800536" y="1241475"/>
                        <a:pt x="800536" y="1231349"/>
                      </a:cubicBezTo>
                      <a:cubicBezTo>
                        <a:pt x="800536" y="1229698"/>
                        <a:pt x="799656" y="1225295"/>
                        <a:pt x="799656" y="1223754"/>
                      </a:cubicBezTo>
                      <a:lnTo>
                        <a:pt x="799986" y="1224084"/>
                      </a:lnTo>
                      <a:cubicBezTo>
                        <a:pt x="800206" y="1216930"/>
                        <a:pt x="802627" y="1215609"/>
                        <a:pt x="802627" y="1209005"/>
                      </a:cubicBezTo>
                      <a:cubicBezTo>
                        <a:pt x="802627" y="1200419"/>
                        <a:pt x="797234" y="1194035"/>
                        <a:pt x="797234" y="1187101"/>
                      </a:cubicBezTo>
                      <a:cubicBezTo>
                        <a:pt x="797234" y="1185560"/>
                        <a:pt x="800426" y="1181817"/>
                        <a:pt x="800426" y="1179616"/>
                      </a:cubicBezTo>
                      <a:lnTo>
                        <a:pt x="796133" y="1179616"/>
                      </a:lnTo>
                      <a:cubicBezTo>
                        <a:pt x="789199" y="1186550"/>
                        <a:pt x="788649" y="1204712"/>
                        <a:pt x="774780" y="1204712"/>
                      </a:cubicBezTo>
                      <a:cubicBezTo>
                        <a:pt x="758269" y="1204712"/>
                        <a:pt x="751885" y="1188201"/>
                        <a:pt x="743850" y="1180166"/>
                      </a:cubicBezTo>
                      <a:cubicBezTo>
                        <a:pt x="748693" y="1176974"/>
                        <a:pt x="752326" y="1179616"/>
                        <a:pt x="757169" y="1177965"/>
                      </a:cubicBezTo>
                      <a:cubicBezTo>
                        <a:pt x="761461" y="1176864"/>
                        <a:pt x="761902" y="1172131"/>
                        <a:pt x="764103" y="1169930"/>
                      </a:cubicBezTo>
                      <a:cubicBezTo>
                        <a:pt x="759810" y="1168829"/>
                        <a:pt x="756068" y="1168829"/>
                        <a:pt x="751775" y="1168829"/>
                      </a:cubicBezTo>
                      <a:cubicBezTo>
                        <a:pt x="741099" y="1168829"/>
                        <a:pt x="725689" y="1158152"/>
                        <a:pt x="720296" y="1150117"/>
                      </a:cubicBezTo>
                      <a:cubicBezTo>
                        <a:pt x="716003" y="1143183"/>
                        <a:pt x="712811" y="1130855"/>
                        <a:pt x="706427" y="1128764"/>
                      </a:cubicBezTo>
                      <a:cubicBezTo>
                        <a:pt x="700483" y="1127223"/>
                        <a:pt x="696300" y="1128324"/>
                        <a:pt x="690466" y="1128324"/>
                      </a:cubicBezTo>
                      <a:cubicBezTo>
                        <a:pt x="684083" y="1128324"/>
                        <a:pt x="682432" y="1132506"/>
                        <a:pt x="677148" y="1132506"/>
                      </a:cubicBezTo>
                      <a:lnTo>
                        <a:pt x="663279" y="1128764"/>
                      </a:lnTo>
                      <a:cubicBezTo>
                        <a:pt x="661188" y="1129864"/>
                        <a:pt x="659537" y="1131516"/>
                        <a:pt x="658546" y="1132506"/>
                      </a:cubicBezTo>
                      <a:lnTo>
                        <a:pt x="639835" y="1133607"/>
                      </a:lnTo>
                      <a:cubicBezTo>
                        <a:pt x="639835" y="1134157"/>
                        <a:pt x="637743" y="1133607"/>
                        <a:pt x="637193" y="1133607"/>
                      </a:cubicBezTo>
                      <a:cubicBezTo>
                        <a:pt x="627067" y="1133607"/>
                        <a:pt x="603622" y="1127223"/>
                        <a:pt x="589203" y="1127223"/>
                      </a:cubicBezTo>
                      <a:cubicBezTo>
                        <a:pt x="586561" y="1127223"/>
                        <a:pt x="571041" y="1123040"/>
                        <a:pt x="570491" y="1122380"/>
                      </a:cubicBezTo>
                      <a:cubicBezTo>
                        <a:pt x="565208" y="1117096"/>
                        <a:pt x="565208" y="1101026"/>
                        <a:pt x="553980" y="1101026"/>
                      </a:cubicBezTo>
                      <a:cubicBezTo>
                        <a:pt x="548147" y="1101026"/>
                        <a:pt x="545945" y="1105869"/>
                        <a:pt x="542753" y="1109061"/>
                      </a:cubicBezTo>
                      <a:lnTo>
                        <a:pt x="516116" y="1109061"/>
                      </a:lnTo>
                      <a:cubicBezTo>
                        <a:pt x="507531" y="1106420"/>
                        <a:pt x="503238" y="1099485"/>
                        <a:pt x="497955" y="1094202"/>
                      </a:cubicBezTo>
                      <a:cubicBezTo>
                        <a:pt x="491571" y="1087708"/>
                        <a:pt x="482985" y="1091010"/>
                        <a:pt x="477152" y="1085066"/>
                      </a:cubicBezTo>
                      <a:cubicBezTo>
                        <a:pt x="473960" y="1081874"/>
                        <a:pt x="475500" y="1077581"/>
                        <a:pt x="474510" y="1075490"/>
                      </a:cubicBezTo>
                      <a:cubicBezTo>
                        <a:pt x="468676" y="1063713"/>
                        <a:pt x="456899" y="1047202"/>
                        <a:pt x="441929" y="1047202"/>
                      </a:cubicBezTo>
                      <a:cubicBezTo>
                        <a:pt x="434445" y="1047202"/>
                        <a:pt x="431253" y="1056778"/>
                        <a:pt x="431253" y="1064263"/>
                      </a:cubicBezTo>
                      <a:cubicBezTo>
                        <a:pt x="431253" y="1069656"/>
                        <a:pt x="431253" y="1072298"/>
                        <a:pt x="432353" y="1076481"/>
                      </a:cubicBezTo>
                      <a:cubicBezTo>
                        <a:pt x="435546" y="1089359"/>
                        <a:pt x="450515" y="1112143"/>
                        <a:pt x="462843" y="1114895"/>
                      </a:cubicBezTo>
                      <a:cubicBezTo>
                        <a:pt x="462843" y="1120729"/>
                        <a:pt x="466035" y="1122380"/>
                        <a:pt x="466475" y="1127113"/>
                      </a:cubicBezTo>
                      <a:cubicBezTo>
                        <a:pt x="472969" y="1125462"/>
                        <a:pt x="471868" y="1118527"/>
                        <a:pt x="477152" y="1117537"/>
                      </a:cubicBezTo>
                      <a:cubicBezTo>
                        <a:pt x="477702" y="1119628"/>
                        <a:pt x="477702" y="1121279"/>
                        <a:pt x="477702" y="1123370"/>
                      </a:cubicBezTo>
                      <a:cubicBezTo>
                        <a:pt x="477702" y="1129754"/>
                        <a:pt x="473960" y="1134047"/>
                        <a:pt x="473960" y="1140431"/>
                      </a:cubicBezTo>
                      <a:cubicBezTo>
                        <a:pt x="473960" y="1147916"/>
                        <a:pt x="487829" y="1151658"/>
                        <a:pt x="495863" y="1151658"/>
                      </a:cubicBezTo>
                      <a:cubicBezTo>
                        <a:pt x="531636" y="1151658"/>
                        <a:pt x="534278" y="1129754"/>
                        <a:pt x="553540" y="1115335"/>
                      </a:cubicBezTo>
                      <a:lnTo>
                        <a:pt x="553540" y="1135038"/>
                      </a:lnTo>
                      <a:cubicBezTo>
                        <a:pt x="561025" y="1150447"/>
                        <a:pt x="571041" y="1153199"/>
                        <a:pt x="586561" y="1158042"/>
                      </a:cubicBezTo>
                      <a:cubicBezTo>
                        <a:pt x="592395" y="1159583"/>
                        <a:pt x="592945" y="1168719"/>
                        <a:pt x="596687" y="1170810"/>
                      </a:cubicBezTo>
                      <a:lnTo>
                        <a:pt x="596687" y="1170370"/>
                      </a:lnTo>
                      <a:cubicBezTo>
                        <a:pt x="599329" y="1175103"/>
                        <a:pt x="606814" y="1174113"/>
                        <a:pt x="606814" y="1178956"/>
                      </a:cubicBezTo>
                      <a:cubicBezTo>
                        <a:pt x="606814" y="1191173"/>
                        <a:pt x="591404" y="1195466"/>
                        <a:pt x="591404" y="1208234"/>
                      </a:cubicBezTo>
                      <a:cubicBezTo>
                        <a:pt x="583369" y="1208234"/>
                        <a:pt x="578085" y="1210325"/>
                        <a:pt x="575884" y="1216820"/>
                      </a:cubicBezTo>
                      <a:cubicBezTo>
                        <a:pt x="573793" y="1223203"/>
                        <a:pt x="574343" y="1232339"/>
                        <a:pt x="567849" y="1232339"/>
                      </a:cubicBezTo>
                      <a:cubicBezTo>
                        <a:pt x="559814" y="1232339"/>
                        <a:pt x="560364" y="1247749"/>
                        <a:pt x="552439" y="1247749"/>
                      </a:cubicBezTo>
                      <a:cubicBezTo>
                        <a:pt x="547596" y="1247749"/>
                        <a:pt x="537470" y="1256775"/>
                        <a:pt x="537470" y="1263159"/>
                      </a:cubicBezTo>
                      <a:cubicBezTo>
                        <a:pt x="523051" y="1265801"/>
                        <a:pt x="490470" y="1271634"/>
                        <a:pt x="490470" y="1283412"/>
                      </a:cubicBezTo>
                      <a:cubicBezTo>
                        <a:pt x="490470" y="1285063"/>
                        <a:pt x="491571" y="1287154"/>
                        <a:pt x="492561" y="1288255"/>
                      </a:cubicBezTo>
                      <a:cubicBezTo>
                        <a:pt x="480344" y="1294088"/>
                        <a:pt x="463833" y="1297831"/>
                        <a:pt x="450955" y="1301023"/>
                      </a:cubicBezTo>
                      <a:cubicBezTo>
                        <a:pt x="444571" y="1302564"/>
                        <a:pt x="423217" y="1317533"/>
                        <a:pt x="416283" y="1320835"/>
                      </a:cubicBezTo>
                      <a:lnTo>
                        <a:pt x="399773" y="1320835"/>
                      </a:lnTo>
                      <a:cubicBezTo>
                        <a:pt x="390637" y="1327219"/>
                        <a:pt x="389206" y="1331622"/>
                        <a:pt x="377979" y="1331622"/>
                      </a:cubicBezTo>
                      <a:lnTo>
                        <a:pt x="374677" y="1333603"/>
                      </a:lnTo>
                      <a:cubicBezTo>
                        <a:pt x="373026" y="1333603"/>
                        <a:pt x="359487" y="1326999"/>
                        <a:pt x="358056" y="1326229"/>
                      </a:cubicBezTo>
                      <a:cubicBezTo>
                        <a:pt x="356736" y="1325568"/>
                        <a:pt x="360918" y="1325568"/>
                        <a:pt x="357396" y="1320175"/>
                      </a:cubicBezTo>
                      <a:cubicBezTo>
                        <a:pt x="351782" y="1311810"/>
                        <a:pt x="348040" y="1303114"/>
                        <a:pt x="348040" y="1292988"/>
                      </a:cubicBezTo>
                      <a:cubicBezTo>
                        <a:pt x="342096" y="1292437"/>
                        <a:pt x="346279" y="1282311"/>
                        <a:pt x="347380" y="1277578"/>
                      </a:cubicBezTo>
                      <a:cubicBezTo>
                        <a:pt x="350021" y="1265801"/>
                        <a:pt x="341106" y="1261067"/>
                        <a:pt x="335162" y="1255124"/>
                      </a:cubicBezTo>
                      <a:cubicBezTo>
                        <a:pt x="328778" y="1248740"/>
                        <a:pt x="314029" y="1230358"/>
                        <a:pt x="314029" y="1217480"/>
                      </a:cubicBezTo>
                      <a:cubicBezTo>
                        <a:pt x="295427" y="1213187"/>
                        <a:pt x="290914" y="1202290"/>
                        <a:pt x="290914" y="1182038"/>
                      </a:cubicBezTo>
                      <a:cubicBezTo>
                        <a:pt x="290914" y="1169710"/>
                        <a:pt x="283979" y="1167068"/>
                        <a:pt x="281778" y="1156942"/>
                      </a:cubicBezTo>
                      <a:cubicBezTo>
                        <a:pt x="279136" y="1154850"/>
                        <a:pt x="276385" y="1151658"/>
                        <a:pt x="274844" y="1150007"/>
                      </a:cubicBezTo>
                      <a:cubicBezTo>
                        <a:pt x="272752" y="1147916"/>
                        <a:pt x="265818" y="1148906"/>
                        <a:pt x="264167" y="1147366"/>
                      </a:cubicBezTo>
                      <a:cubicBezTo>
                        <a:pt x="260975" y="1144174"/>
                        <a:pt x="262076" y="1136139"/>
                        <a:pt x="260975" y="1132946"/>
                      </a:cubicBezTo>
                      <a:cubicBezTo>
                        <a:pt x="259434" y="1127663"/>
                        <a:pt x="255691" y="1123370"/>
                        <a:pt x="253490" y="1120178"/>
                      </a:cubicBezTo>
                      <a:cubicBezTo>
                        <a:pt x="247106" y="1110602"/>
                        <a:pt x="241713" y="1102567"/>
                        <a:pt x="235879" y="1093542"/>
                      </a:cubicBezTo>
                      <a:cubicBezTo>
                        <a:pt x="234228" y="1090900"/>
                        <a:pt x="226853" y="1082314"/>
                        <a:pt x="226853" y="1080773"/>
                      </a:cubicBezTo>
                      <a:cubicBezTo>
                        <a:pt x="226853" y="1075930"/>
                        <a:pt x="229825" y="1065474"/>
                        <a:pt x="230486" y="1057659"/>
                      </a:cubicBezTo>
                      <a:lnTo>
                        <a:pt x="218818" y="1029591"/>
                      </a:lnTo>
                      <a:cubicBezTo>
                        <a:pt x="218818" y="1025849"/>
                        <a:pt x="222561" y="1025849"/>
                        <a:pt x="223111" y="1023757"/>
                      </a:cubicBezTo>
                      <a:cubicBezTo>
                        <a:pt x="226853" y="1012090"/>
                        <a:pt x="228394" y="1006146"/>
                        <a:pt x="231586" y="995469"/>
                      </a:cubicBezTo>
                      <a:cubicBezTo>
                        <a:pt x="234778" y="984793"/>
                        <a:pt x="245455" y="982151"/>
                        <a:pt x="245455" y="969823"/>
                      </a:cubicBezTo>
                      <a:cubicBezTo>
                        <a:pt x="245455" y="960798"/>
                        <a:pt x="242814" y="953313"/>
                        <a:pt x="242814" y="946929"/>
                      </a:cubicBezTo>
                      <a:cubicBezTo>
                        <a:pt x="242814" y="943737"/>
                        <a:pt x="245455" y="942636"/>
                        <a:pt x="246446" y="941535"/>
                      </a:cubicBezTo>
                      <a:lnTo>
                        <a:pt x="246446" y="936252"/>
                      </a:lnTo>
                      <a:cubicBezTo>
                        <a:pt x="242153" y="937793"/>
                        <a:pt x="240612" y="940985"/>
                        <a:pt x="236319" y="940985"/>
                      </a:cubicBezTo>
                      <a:cubicBezTo>
                        <a:pt x="230926" y="940985"/>
                        <a:pt x="227844" y="938894"/>
                        <a:pt x="225643" y="936802"/>
                      </a:cubicBezTo>
                      <a:cubicBezTo>
                        <a:pt x="217167" y="943186"/>
                        <a:pt x="214415" y="950121"/>
                        <a:pt x="199006" y="950121"/>
                      </a:cubicBezTo>
                      <a:cubicBezTo>
                        <a:pt x="187779" y="950121"/>
                        <a:pt x="183596" y="936802"/>
                        <a:pt x="172259" y="936802"/>
                      </a:cubicBezTo>
                      <a:cubicBezTo>
                        <a:pt x="161032" y="936802"/>
                        <a:pt x="163233" y="949020"/>
                        <a:pt x="153657" y="949020"/>
                      </a:cubicBezTo>
                      <a:cubicBezTo>
                        <a:pt x="143531" y="949020"/>
                        <a:pt x="138137" y="934601"/>
                        <a:pt x="128121" y="939334"/>
                      </a:cubicBezTo>
                      <a:lnTo>
                        <a:pt x="122287" y="939334"/>
                      </a:lnTo>
                      <a:cubicBezTo>
                        <a:pt x="123828" y="938784"/>
                        <a:pt x="126029" y="937243"/>
                        <a:pt x="126580" y="936142"/>
                      </a:cubicBezTo>
                      <a:cubicBezTo>
                        <a:pt x="123388" y="932950"/>
                        <a:pt x="107868" y="924915"/>
                        <a:pt x="113261" y="919632"/>
                      </a:cubicBezTo>
                      <a:cubicBezTo>
                        <a:pt x="108528" y="912697"/>
                        <a:pt x="102585" y="913247"/>
                        <a:pt x="95210" y="909505"/>
                      </a:cubicBezTo>
                      <a:cubicBezTo>
                        <a:pt x="100494" y="904112"/>
                        <a:pt x="106327" y="905212"/>
                        <a:pt x="106327" y="895086"/>
                      </a:cubicBezTo>
                      <a:cubicBezTo>
                        <a:pt x="106327" y="891344"/>
                        <a:pt x="105227" y="891344"/>
                        <a:pt x="106327" y="888702"/>
                      </a:cubicBezTo>
                      <a:cubicBezTo>
                        <a:pt x="102585" y="888702"/>
                        <a:pt x="97301" y="889252"/>
                        <a:pt x="97301" y="885950"/>
                      </a:cubicBezTo>
                      <a:cubicBezTo>
                        <a:pt x="97301" y="869440"/>
                        <a:pt x="135716" y="872632"/>
                        <a:pt x="145292" y="867899"/>
                      </a:cubicBezTo>
                      <a:cubicBezTo>
                        <a:pt x="144191" y="863606"/>
                        <a:pt x="140999" y="865147"/>
                        <a:pt x="140999" y="861515"/>
                      </a:cubicBezTo>
                      <a:cubicBezTo>
                        <a:pt x="140999" y="856782"/>
                        <a:pt x="151125" y="858873"/>
                        <a:pt x="153767" y="858873"/>
                      </a:cubicBezTo>
                      <a:lnTo>
                        <a:pt x="170278" y="858873"/>
                      </a:lnTo>
                      <a:cubicBezTo>
                        <a:pt x="176662" y="858873"/>
                        <a:pt x="186238" y="851939"/>
                        <a:pt x="192181" y="848196"/>
                      </a:cubicBezTo>
                      <a:cubicBezTo>
                        <a:pt x="199116" y="843904"/>
                        <a:pt x="213975" y="843353"/>
                        <a:pt x="223111" y="843353"/>
                      </a:cubicBezTo>
                      <a:cubicBezTo>
                        <a:pt x="237530" y="843353"/>
                        <a:pt x="236980" y="851388"/>
                        <a:pt x="249308" y="851388"/>
                      </a:cubicBezTo>
                      <a:cubicBezTo>
                        <a:pt x="249308" y="857772"/>
                        <a:pt x="270111" y="861515"/>
                        <a:pt x="275945" y="862065"/>
                      </a:cubicBezTo>
                      <a:lnTo>
                        <a:pt x="306324" y="862065"/>
                      </a:lnTo>
                      <a:cubicBezTo>
                        <a:pt x="317111" y="862065"/>
                        <a:pt x="323385" y="854030"/>
                        <a:pt x="332520" y="849957"/>
                      </a:cubicBezTo>
                      <a:lnTo>
                        <a:pt x="330319" y="850288"/>
                      </a:lnTo>
                      <a:cubicBezTo>
                        <a:pt x="330319" y="808131"/>
                        <a:pt x="269010" y="813524"/>
                        <a:pt x="255582" y="782045"/>
                      </a:cubicBezTo>
                      <a:cubicBezTo>
                        <a:pt x="286621" y="774120"/>
                        <a:pt x="272642" y="759590"/>
                        <a:pt x="271542" y="756508"/>
                      </a:cubicBezTo>
                      <a:cubicBezTo>
                        <a:pt x="274183" y="755408"/>
                        <a:pt x="281118" y="747483"/>
                        <a:pt x="281118" y="747483"/>
                      </a:cubicBezTo>
                      <a:cubicBezTo>
                        <a:pt x="266698" y="752766"/>
                        <a:pt x="227844" y="767185"/>
                        <a:pt x="227844" y="771478"/>
                      </a:cubicBezTo>
                      <a:cubicBezTo>
                        <a:pt x="227844" y="777972"/>
                        <a:pt x="234778" y="779513"/>
                        <a:pt x="236870" y="779513"/>
                      </a:cubicBezTo>
                      <a:cubicBezTo>
                        <a:pt x="236870" y="779513"/>
                        <a:pt x="250739" y="781604"/>
                        <a:pt x="251729" y="781604"/>
                      </a:cubicBezTo>
                      <a:cubicBezTo>
                        <a:pt x="247546" y="786998"/>
                        <a:pt x="221900" y="798115"/>
                        <a:pt x="214415" y="798115"/>
                      </a:cubicBezTo>
                      <a:cubicBezTo>
                        <a:pt x="206931" y="798115"/>
                        <a:pt x="182495" y="758159"/>
                        <a:pt x="172809" y="758159"/>
                      </a:cubicBezTo>
                      <a:cubicBezTo>
                        <a:pt x="161032" y="758159"/>
                        <a:pt x="159931" y="772028"/>
                        <a:pt x="148264" y="775220"/>
                      </a:cubicBezTo>
                      <a:cubicBezTo>
                        <a:pt x="144521" y="775771"/>
                        <a:pt x="138137" y="778412"/>
                        <a:pt x="135496" y="778412"/>
                      </a:cubicBezTo>
                      <a:lnTo>
                        <a:pt x="132854" y="775220"/>
                      </a:lnTo>
                      <a:cubicBezTo>
                        <a:pt x="131753" y="774120"/>
                        <a:pt x="130212" y="773129"/>
                        <a:pt x="130212" y="771478"/>
                      </a:cubicBezTo>
                      <a:lnTo>
                        <a:pt x="130212" y="750014"/>
                      </a:lnTo>
                      <a:cubicBezTo>
                        <a:pt x="116894" y="750014"/>
                        <a:pt x="120086" y="722277"/>
                        <a:pt x="105667" y="722277"/>
                      </a:cubicBezTo>
                      <a:cubicBezTo>
                        <a:pt x="92789" y="722277"/>
                        <a:pt x="84864" y="729211"/>
                        <a:pt x="67693" y="729211"/>
                      </a:cubicBezTo>
                      <a:cubicBezTo>
                        <a:pt x="55475" y="729211"/>
                        <a:pt x="44798" y="732403"/>
                        <a:pt x="44798" y="717544"/>
                      </a:cubicBezTo>
                      <a:cubicBezTo>
                        <a:pt x="44798" y="704776"/>
                        <a:pt x="47000" y="696190"/>
                        <a:pt x="53384" y="686504"/>
                      </a:cubicBezTo>
                      <a:cubicBezTo>
                        <a:pt x="55475" y="683312"/>
                        <a:pt x="65601" y="681221"/>
                        <a:pt x="65601" y="674837"/>
                      </a:cubicBezTo>
                      <a:cubicBezTo>
                        <a:pt x="65601" y="664710"/>
                        <a:pt x="55475" y="657776"/>
                        <a:pt x="55475" y="646549"/>
                      </a:cubicBezTo>
                      <a:cubicBezTo>
                        <a:pt x="55475" y="639614"/>
                        <a:pt x="62960" y="635872"/>
                        <a:pt x="62960" y="628938"/>
                      </a:cubicBezTo>
                      <a:cubicBezTo>
                        <a:pt x="62960" y="617160"/>
                        <a:pt x="57676" y="597238"/>
                        <a:pt x="46449" y="597238"/>
                      </a:cubicBezTo>
                      <a:cubicBezTo>
                        <a:pt x="35773" y="597238"/>
                        <a:pt x="29279" y="598008"/>
                        <a:pt x="19152" y="598008"/>
                      </a:cubicBezTo>
                      <a:cubicBezTo>
                        <a:pt x="13759" y="598008"/>
                        <a:pt x="7154" y="598779"/>
                        <a:pt x="0" y="599549"/>
                      </a:cubicBezTo>
                      <a:cubicBezTo>
                        <a:pt x="1101" y="580837"/>
                        <a:pt x="18161" y="583699"/>
                        <a:pt x="18161" y="562896"/>
                      </a:cubicBezTo>
                      <a:cubicBezTo>
                        <a:pt x="18161" y="550128"/>
                        <a:pt x="29939" y="525582"/>
                        <a:pt x="39515" y="525582"/>
                      </a:cubicBezTo>
                      <a:cubicBezTo>
                        <a:pt x="48651" y="525582"/>
                        <a:pt x="50192" y="538901"/>
                        <a:pt x="60868" y="538901"/>
                      </a:cubicBezTo>
                      <a:cubicBezTo>
                        <a:pt x="67252" y="538901"/>
                        <a:pt x="81451" y="529215"/>
                        <a:pt x="54484" y="504009"/>
                      </a:cubicBezTo>
                      <a:cubicBezTo>
                        <a:pt x="46339" y="496304"/>
                        <a:pt x="73196" y="485517"/>
                        <a:pt x="84864" y="485517"/>
                      </a:cubicBezTo>
                      <a:cubicBezTo>
                        <a:pt x="96641" y="485517"/>
                        <a:pt x="102475" y="489259"/>
                        <a:pt x="111501" y="489259"/>
                      </a:cubicBezTo>
                      <a:cubicBezTo>
                        <a:pt x="118435" y="489259"/>
                        <a:pt x="134395" y="481775"/>
                        <a:pt x="140779" y="477482"/>
                      </a:cubicBezTo>
                      <a:cubicBezTo>
                        <a:pt x="137036" y="467356"/>
                        <a:pt x="131753" y="464714"/>
                        <a:pt x="127460" y="458770"/>
                      </a:cubicBezTo>
                      <a:cubicBezTo>
                        <a:pt x="138688" y="443801"/>
                        <a:pt x="175561" y="424098"/>
                        <a:pt x="175561" y="406487"/>
                      </a:cubicBezTo>
                      <a:cubicBezTo>
                        <a:pt x="175561" y="394710"/>
                        <a:pt x="163233" y="392618"/>
                        <a:pt x="158500" y="384033"/>
                      </a:cubicBezTo>
                      <a:cubicBezTo>
                        <a:pt x="160041" y="382932"/>
                        <a:pt x="164884" y="380290"/>
                        <a:pt x="164884" y="377098"/>
                      </a:cubicBezTo>
                      <a:cubicBezTo>
                        <a:pt x="164884" y="365321"/>
                        <a:pt x="148924" y="362129"/>
                        <a:pt x="148924" y="350462"/>
                      </a:cubicBezTo>
                      <a:cubicBezTo>
                        <a:pt x="148924" y="344078"/>
                        <a:pt x="154207" y="340886"/>
                        <a:pt x="154207" y="334391"/>
                      </a:cubicBezTo>
                      <a:cubicBezTo>
                        <a:pt x="154207" y="323715"/>
                        <a:pt x="143531" y="317881"/>
                        <a:pt x="143531" y="307755"/>
                      </a:cubicBezTo>
                      <a:cubicBezTo>
                        <a:pt x="143531" y="298619"/>
                        <a:pt x="153107" y="294436"/>
                        <a:pt x="153107" y="285300"/>
                      </a:cubicBezTo>
                      <a:cubicBezTo>
                        <a:pt x="153107" y="273523"/>
                        <a:pt x="134395" y="274073"/>
                        <a:pt x="134395" y="263947"/>
                      </a:cubicBezTo>
                      <a:cubicBezTo>
                        <a:pt x="134395" y="251619"/>
                        <a:pt x="153547" y="242043"/>
                        <a:pt x="161032" y="236760"/>
                      </a:cubicBezTo>
                      <a:cubicBezTo>
                        <a:pt x="173360" y="235109"/>
                        <a:pt x="173800" y="237310"/>
                        <a:pt x="175451" y="237310"/>
                      </a:cubicBezTo>
                      <a:cubicBezTo>
                        <a:pt x="193062" y="237310"/>
                        <a:pt x="250739" y="266258"/>
                        <a:pt x="276715" y="274624"/>
                      </a:cubicBezTo>
                      <a:cubicBezTo>
                        <a:pt x="367743" y="303792"/>
                        <a:pt x="307975" y="340775"/>
                        <a:pt x="278366" y="333071"/>
                      </a:cubicBezTo>
                      <a:cubicBezTo>
                        <a:pt x="256132" y="327237"/>
                        <a:pt x="243694" y="328007"/>
                        <a:pt x="220689" y="328007"/>
                      </a:cubicBezTo>
                      <a:cubicBezTo>
                        <a:pt x="231366" y="343527"/>
                        <a:pt x="227624" y="375998"/>
                        <a:pt x="258003" y="378750"/>
                      </a:cubicBezTo>
                      <a:lnTo>
                        <a:pt x="258003" y="357396"/>
                      </a:lnTo>
                      <a:cubicBezTo>
                        <a:pt x="319642" y="383813"/>
                        <a:pt x="312378" y="332851"/>
                        <a:pt x="327347" y="328007"/>
                      </a:cubicBezTo>
                      <a:cubicBezTo>
                        <a:pt x="342317" y="323164"/>
                        <a:pt x="370054" y="336042"/>
                        <a:pt x="370054" y="317331"/>
                      </a:cubicBezTo>
                      <a:cubicBezTo>
                        <a:pt x="370054" y="307755"/>
                        <a:pt x="360588" y="305883"/>
                        <a:pt x="362129" y="301371"/>
                      </a:cubicBezTo>
                      <a:cubicBezTo>
                        <a:pt x="385133" y="230486"/>
                        <a:pt x="397021" y="277155"/>
                        <a:pt x="388766" y="298729"/>
                      </a:cubicBezTo>
                      <a:cubicBezTo>
                        <a:pt x="386454" y="304673"/>
                        <a:pt x="395700" y="309406"/>
                        <a:pt x="402084" y="309406"/>
                      </a:cubicBezTo>
                      <a:cubicBezTo>
                        <a:pt x="421897" y="309406"/>
                        <a:pt x="501807" y="237970"/>
                        <a:pt x="514135" y="269340"/>
                      </a:cubicBezTo>
                      <a:cubicBezTo>
                        <a:pt x="538460" y="281118"/>
                        <a:pt x="572252" y="258664"/>
                        <a:pt x="588872" y="258664"/>
                      </a:cubicBezTo>
                      <a:cubicBezTo>
                        <a:pt x="598448" y="258664"/>
                        <a:pt x="615839" y="291795"/>
                        <a:pt x="618151" y="250739"/>
                      </a:cubicBezTo>
                      <a:cubicBezTo>
                        <a:pt x="618371" y="246996"/>
                        <a:pt x="594816" y="222231"/>
                        <a:pt x="667792" y="241162"/>
                      </a:cubicBezTo>
                      <a:cubicBezTo>
                        <a:pt x="694209" y="247987"/>
                        <a:pt x="765094" y="299830"/>
                        <a:pt x="735485" y="253380"/>
                      </a:cubicBezTo>
                      <a:cubicBezTo>
                        <a:pt x="722717" y="240612"/>
                        <a:pt x="711490" y="224542"/>
                        <a:pt x="711490" y="199996"/>
                      </a:cubicBezTo>
                      <a:cubicBezTo>
                        <a:pt x="711490" y="179744"/>
                        <a:pt x="755078" y="142100"/>
                        <a:pt x="778192" y="146723"/>
                      </a:cubicBezTo>
                      <a:cubicBezTo>
                        <a:pt x="823871" y="155749"/>
                        <a:pt x="794152" y="163233"/>
                        <a:pt x="794152" y="181395"/>
                      </a:cubicBezTo>
                      <a:cubicBezTo>
                        <a:pt x="794152" y="197905"/>
                        <a:pt x="800096" y="278476"/>
                        <a:pt x="822550" y="278476"/>
                      </a:cubicBezTo>
                      <a:cubicBezTo>
                        <a:pt x="839941" y="278476"/>
                        <a:pt x="806920" y="238851"/>
                        <a:pt x="818257" y="226633"/>
                      </a:cubicBezTo>
                      <a:cubicBezTo>
                        <a:pt x="834658" y="209132"/>
                        <a:pt x="811873" y="193612"/>
                        <a:pt x="807581" y="178643"/>
                      </a:cubicBezTo>
                      <a:cubicBezTo>
                        <a:pt x="821450" y="171158"/>
                        <a:pt x="832677" y="163673"/>
                        <a:pt x="835318" y="146723"/>
                      </a:cubicBezTo>
                      <a:cubicBezTo>
                        <a:pt x="842803" y="156299"/>
                        <a:pt x="839941" y="205060"/>
                        <a:pt x="871641" y="162683"/>
                      </a:cubicBezTo>
                      <a:cubicBezTo>
                        <a:pt x="908955" y="162683"/>
                        <a:pt x="913248" y="170168"/>
                        <a:pt x="925025" y="162683"/>
                      </a:cubicBezTo>
                      <a:cubicBezTo>
                        <a:pt x="922934" y="154097"/>
                        <a:pt x="916990" y="147713"/>
                        <a:pt x="916990" y="141329"/>
                      </a:cubicBezTo>
                      <a:cubicBezTo>
                        <a:pt x="916990" y="110950"/>
                        <a:pt x="983142" y="117334"/>
                        <a:pt x="1000753" y="117334"/>
                      </a:cubicBezTo>
                      <a:cubicBezTo>
                        <a:pt x="1013080" y="117334"/>
                        <a:pt x="1015502" y="95320"/>
                        <a:pt x="1023647" y="88056"/>
                      </a:cubicBezTo>
                      <a:cubicBezTo>
                        <a:pt x="1062722" y="53164"/>
                        <a:pt x="1137789" y="47990"/>
                        <a:pt x="1155401" y="42707"/>
                      </a:cubicBezTo>
                      <a:cubicBezTo>
                        <a:pt x="1149347" y="67803"/>
                        <a:pt x="1218361" y="40065"/>
                        <a:pt x="1229037" y="32030"/>
                      </a:cubicBezTo>
                      <a:cubicBezTo>
                        <a:pt x="1243456" y="20803"/>
                        <a:pt x="1254683" y="0"/>
                        <a:pt x="1282421" y="0"/>
                      </a:cubicBezTo>
                      <a:cubicBezTo>
                        <a:pt x="1305315" y="0"/>
                        <a:pt x="1317093" y="14419"/>
                        <a:pt x="1322376" y="29389"/>
                      </a:cubicBezTo>
                      <a:lnTo>
                        <a:pt x="1378401" y="29389"/>
                      </a:lnTo>
                      <a:cubicBezTo>
                        <a:pt x="1510815" y="61089"/>
                        <a:pt x="1349563" y="104676"/>
                        <a:pt x="1333053" y="125479"/>
                      </a:cubicBezTo>
                      <a:cubicBezTo>
                        <a:pt x="1333383" y="125369"/>
                        <a:pt x="1317863" y="161142"/>
                        <a:pt x="1387757" y="104016"/>
                      </a:cubicBezTo>
                      <a:moveTo>
                        <a:pt x="473630" y="809232"/>
                      </a:moveTo>
                      <a:cubicBezTo>
                        <a:pt x="483756" y="826843"/>
                        <a:pt x="498065" y="833777"/>
                        <a:pt x="498065" y="854580"/>
                      </a:cubicBezTo>
                      <a:cubicBezTo>
                        <a:pt x="502358" y="852489"/>
                        <a:pt x="512484" y="847096"/>
                        <a:pt x="516226" y="846545"/>
                      </a:cubicBezTo>
                      <a:cubicBezTo>
                        <a:pt x="516777" y="854580"/>
                        <a:pt x="525252" y="858763"/>
                        <a:pt x="525252" y="866798"/>
                      </a:cubicBezTo>
                      <a:cubicBezTo>
                        <a:pt x="511603" y="866798"/>
                        <a:pt x="500707" y="863716"/>
                        <a:pt x="498615" y="880117"/>
                      </a:cubicBezTo>
                      <a:cubicBezTo>
                        <a:pt x="509842" y="881658"/>
                        <a:pt x="517327" y="892334"/>
                        <a:pt x="517327" y="902461"/>
                      </a:cubicBezTo>
                      <a:cubicBezTo>
                        <a:pt x="517327" y="908735"/>
                        <a:pt x="508191" y="915449"/>
                        <a:pt x="518868" y="925905"/>
                      </a:cubicBezTo>
                      <a:lnTo>
                        <a:pt x="518868" y="935482"/>
                      </a:lnTo>
                      <a:cubicBezTo>
                        <a:pt x="509732" y="937793"/>
                        <a:pt x="475831" y="941976"/>
                        <a:pt x="469337" y="935482"/>
                      </a:cubicBezTo>
                      <a:cubicBezTo>
                        <a:pt x="466145" y="932290"/>
                        <a:pt x="465044" y="927006"/>
                        <a:pt x="460201" y="925905"/>
                      </a:cubicBezTo>
                      <a:cubicBezTo>
                        <a:pt x="454367" y="924915"/>
                        <a:pt x="447433" y="927997"/>
                        <a:pt x="444791" y="922163"/>
                      </a:cubicBezTo>
                      <a:cubicBezTo>
                        <a:pt x="441599" y="915779"/>
                        <a:pt x="446442" y="911486"/>
                        <a:pt x="442040" y="905102"/>
                      </a:cubicBezTo>
                      <a:cubicBezTo>
                        <a:pt x="438187" y="899159"/>
                        <a:pt x="436756" y="903671"/>
                        <a:pt x="435105" y="896077"/>
                      </a:cubicBezTo>
                      <a:lnTo>
                        <a:pt x="442590" y="897067"/>
                      </a:lnTo>
                      <a:cubicBezTo>
                        <a:pt x="448974" y="888482"/>
                        <a:pt x="448974" y="875714"/>
                        <a:pt x="457449" y="871531"/>
                      </a:cubicBezTo>
                      <a:cubicBezTo>
                        <a:pt x="443030" y="863496"/>
                        <a:pt x="421236" y="831576"/>
                        <a:pt x="421236" y="813304"/>
                      </a:cubicBezTo>
                      <a:cubicBezTo>
                        <a:pt x="421236" y="808021"/>
                        <a:pt x="409459" y="799986"/>
                        <a:pt x="409459" y="791951"/>
                      </a:cubicBezTo>
                      <a:cubicBezTo>
                        <a:pt x="409459" y="789309"/>
                        <a:pt x="419585" y="769607"/>
                        <a:pt x="422337" y="766305"/>
                      </a:cubicBezTo>
                      <a:cubicBezTo>
                        <a:pt x="426520" y="768946"/>
                        <a:pt x="450295" y="749244"/>
                        <a:pt x="482545" y="749244"/>
                      </a:cubicBezTo>
                      <a:cubicBezTo>
                        <a:pt x="511383" y="749244"/>
                        <a:pt x="516226" y="763113"/>
                        <a:pt x="526793" y="779073"/>
                      </a:cubicBezTo>
                      <a:cubicBezTo>
                        <a:pt x="518758" y="785457"/>
                        <a:pt x="508191" y="779513"/>
                        <a:pt x="498505" y="779513"/>
                      </a:cubicBezTo>
                      <a:cubicBezTo>
                        <a:pt x="484086" y="779513"/>
                        <a:pt x="462843" y="793382"/>
                        <a:pt x="461192" y="792831"/>
                      </a:cubicBezTo>
                      <a:cubicBezTo>
                        <a:pt x="461852" y="803948"/>
                        <a:pt x="470327" y="803398"/>
                        <a:pt x="473630" y="809232"/>
                      </a:cubicBezTo>
                    </a:path>
                  </a:pathLst>
                </a:custGeom>
                <a:grpFill/>
                <a:ln w="110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893"/>
                </a:p>
              </p:txBody>
            </p:sp>
          </p:grpSp>
          <p:grpSp>
            <p:nvGrpSpPr>
              <p:cNvPr id="419" name="Group 418">
                <a:extLst>
                  <a:ext uri="{FF2B5EF4-FFF2-40B4-BE49-F238E27FC236}">
                    <a16:creationId xmlns:a16="http://schemas.microsoft.com/office/drawing/2014/main" id="{FD3A7F86-12DF-45CD-9E8C-829B7CF15963}"/>
                  </a:ext>
                </a:extLst>
              </p:cNvPr>
              <p:cNvGrpSpPr/>
              <p:nvPr/>
            </p:nvGrpSpPr>
            <p:grpSpPr>
              <a:xfrm>
                <a:off x="1173039" y="1919923"/>
                <a:ext cx="7394769" cy="4755661"/>
                <a:chOff x="78711" y="4467327"/>
                <a:chExt cx="7394769" cy="4755661"/>
              </a:xfrm>
            </p:grpSpPr>
            <p:grpSp>
              <p:nvGrpSpPr>
                <p:cNvPr id="420" name="Group 419">
                  <a:extLst>
                    <a:ext uri="{FF2B5EF4-FFF2-40B4-BE49-F238E27FC236}">
                      <a16:creationId xmlns:a16="http://schemas.microsoft.com/office/drawing/2014/main" id="{4E2685E7-6F8E-4CDA-8FE7-730D1E4FEC50}"/>
                    </a:ext>
                  </a:extLst>
                </p:cNvPr>
                <p:cNvGrpSpPr/>
                <p:nvPr/>
              </p:nvGrpSpPr>
              <p:grpSpPr>
                <a:xfrm>
                  <a:off x="1891094" y="4467327"/>
                  <a:ext cx="757616" cy="815427"/>
                  <a:chOff x="3316507" y="3765079"/>
                  <a:chExt cx="757616" cy="815427"/>
                </a:xfrm>
              </p:grpSpPr>
              <p:sp>
                <p:nvSpPr>
                  <p:cNvPr id="510" name="TextBox 509">
                    <a:extLst>
                      <a:ext uri="{FF2B5EF4-FFF2-40B4-BE49-F238E27FC236}">
                        <a16:creationId xmlns:a16="http://schemas.microsoft.com/office/drawing/2014/main" id="{2F105424-C34C-45F7-8B09-6D881C14EC59}"/>
                      </a:ext>
                    </a:extLst>
                  </p:cNvPr>
                  <p:cNvSpPr txBox="1"/>
                  <p:nvPr/>
                </p:nvSpPr>
                <p:spPr>
                  <a:xfrm>
                    <a:off x="3410281" y="3765079"/>
                    <a:ext cx="570910" cy="170675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EUROPE</a:t>
                    </a:r>
                  </a:p>
                </p:txBody>
              </p:sp>
              <p:sp>
                <p:nvSpPr>
                  <p:cNvPr id="511" name="TextBox 510">
                    <a:extLst>
                      <a:ext uri="{FF2B5EF4-FFF2-40B4-BE49-F238E27FC236}">
                        <a16:creationId xmlns:a16="http://schemas.microsoft.com/office/drawing/2014/main" id="{639BF267-0F39-49E6-982C-080A505BCBE5}"/>
                      </a:ext>
                    </a:extLst>
                  </p:cNvPr>
                  <p:cNvSpPr txBox="1"/>
                  <p:nvPr/>
                </p:nvSpPr>
                <p:spPr>
                  <a:xfrm>
                    <a:off x="3316507" y="3951881"/>
                    <a:ext cx="756729" cy="35006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800" b="1" dirty="0">
                        <a:solidFill>
                          <a:schemeClr val="bg1"/>
                        </a:solidFill>
                      </a:rPr>
                      <a:t>1,954</a:t>
                    </a:r>
                  </a:p>
                </p:txBody>
              </p:sp>
              <p:sp>
                <p:nvSpPr>
                  <p:cNvPr id="512" name="TextBox 511">
                    <a:extLst>
                      <a:ext uri="{FF2B5EF4-FFF2-40B4-BE49-F238E27FC236}">
                        <a16:creationId xmlns:a16="http://schemas.microsoft.com/office/drawing/2014/main" id="{711F791C-35F6-4F92-BCE1-78AC23CB437E}"/>
                      </a:ext>
                    </a:extLst>
                  </p:cNvPr>
                  <p:cNvSpPr txBox="1"/>
                  <p:nvPr/>
                </p:nvSpPr>
                <p:spPr>
                  <a:xfrm>
                    <a:off x="3323391" y="4303474"/>
                    <a:ext cx="375503" cy="276972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000" b="1" dirty="0">
                        <a:solidFill>
                          <a:schemeClr val="bg1"/>
                        </a:solidFill>
                      </a:rPr>
                      <a:t>3.9%</a:t>
                    </a:r>
                  </a:p>
                </p:txBody>
              </p:sp>
              <p:sp>
                <p:nvSpPr>
                  <p:cNvPr id="513" name="TextBox 512">
                    <a:extLst>
                      <a:ext uri="{FF2B5EF4-FFF2-40B4-BE49-F238E27FC236}">
                        <a16:creationId xmlns:a16="http://schemas.microsoft.com/office/drawing/2014/main" id="{06E7FD24-49EA-4719-B47C-69E6681C8317}"/>
                      </a:ext>
                    </a:extLst>
                  </p:cNvPr>
                  <p:cNvSpPr txBox="1"/>
                  <p:nvPr/>
                </p:nvSpPr>
                <p:spPr>
                  <a:xfrm>
                    <a:off x="3698620" y="4303534"/>
                    <a:ext cx="375503" cy="276972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000" b="1" dirty="0">
                        <a:solidFill>
                          <a:schemeClr val="bg1"/>
                        </a:solidFill>
                      </a:rPr>
                      <a:t>5.0%</a:t>
                    </a:r>
                  </a:p>
                </p:txBody>
              </p:sp>
            </p:grpSp>
            <p:grpSp>
              <p:nvGrpSpPr>
                <p:cNvPr id="421" name="Group 420">
                  <a:extLst>
                    <a:ext uri="{FF2B5EF4-FFF2-40B4-BE49-F238E27FC236}">
                      <a16:creationId xmlns:a16="http://schemas.microsoft.com/office/drawing/2014/main" id="{411F3DE6-6B7D-42C4-849B-05DC426E1E78}"/>
                    </a:ext>
                  </a:extLst>
                </p:cNvPr>
                <p:cNvGrpSpPr/>
                <p:nvPr/>
              </p:nvGrpSpPr>
              <p:grpSpPr>
                <a:xfrm>
                  <a:off x="6715864" y="4967598"/>
                  <a:ext cx="757616" cy="791214"/>
                  <a:chOff x="3316507" y="3789292"/>
                  <a:chExt cx="757616" cy="791214"/>
                </a:xfrm>
              </p:grpSpPr>
              <p:sp>
                <p:nvSpPr>
                  <p:cNvPr id="506" name="TextBox 505">
                    <a:extLst>
                      <a:ext uri="{FF2B5EF4-FFF2-40B4-BE49-F238E27FC236}">
                        <a16:creationId xmlns:a16="http://schemas.microsoft.com/office/drawing/2014/main" id="{4BFFAAD0-F583-4B36-B31A-C84A0C5F1298}"/>
                      </a:ext>
                    </a:extLst>
                  </p:cNvPr>
                  <p:cNvSpPr txBox="1"/>
                  <p:nvPr/>
                </p:nvSpPr>
                <p:spPr>
                  <a:xfrm>
                    <a:off x="3410281" y="3789292"/>
                    <a:ext cx="570910" cy="170675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ASIA</a:t>
                    </a:r>
                  </a:p>
                </p:txBody>
              </p:sp>
              <p:sp>
                <p:nvSpPr>
                  <p:cNvPr id="507" name="TextBox 506">
                    <a:extLst>
                      <a:ext uri="{FF2B5EF4-FFF2-40B4-BE49-F238E27FC236}">
                        <a16:creationId xmlns:a16="http://schemas.microsoft.com/office/drawing/2014/main" id="{AA20B6ED-5875-4B6B-B141-6A00BB30606B}"/>
                      </a:ext>
                    </a:extLst>
                  </p:cNvPr>
                  <p:cNvSpPr txBox="1"/>
                  <p:nvPr/>
                </p:nvSpPr>
                <p:spPr>
                  <a:xfrm>
                    <a:off x="3316507" y="3951881"/>
                    <a:ext cx="756729" cy="35006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800" b="1" dirty="0">
                        <a:solidFill>
                          <a:schemeClr val="bg1"/>
                        </a:solidFill>
                      </a:rPr>
                      <a:t>1,207</a:t>
                    </a:r>
                  </a:p>
                </p:txBody>
              </p:sp>
              <p:sp>
                <p:nvSpPr>
                  <p:cNvPr id="508" name="TextBox 507">
                    <a:extLst>
                      <a:ext uri="{FF2B5EF4-FFF2-40B4-BE49-F238E27FC236}">
                        <a16:creationId xmlns:a16="http://schemas.microsoft.com/office/drawing/2014/main" id="{FF755B9C-9B2A-4DAB-89B6-60889C2AE31E}"/>
                      </a:ext>
                    </a:extLst>
                  </p:cNvPr>
                  <p:cNvSpPr txBox="1"/>
                  <p:nvPr/>
                </p:nvSpPr>
                <p:spPr>
                  <a:xfrm>
                    <a:off x="3323391" y="4303474"/>
                    <a:ext cx="375503" cy="276972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000" b="1" dirty="0">
                        <a:solidFill>
                          <a:schemeClr val="bg1"/>
                        </a:solidFill>
                      </a:rPr>
                      <a:t>3.1%</a:t>
                    </a:r>
                  </a:p>
                </p:txBody>
              </p:sp>
              <p:sp>
                <p:nvSpPr>
                  <p:cNvPr id="509" name="TextBox 508">
                    <a:extLst>
                      <a:ext uri="{FF2B5EF4-FFF2-40B4-BE49-F238E27FC236}">
                        <a16:creationId xmlns:a16="http://schemas.microsoft.com/office/drawing/2014/main" id="{D15F273D-7EBF-436C-8DFA-A9B228C22A08}"/>
                      </a:ext>
                    </a:extLst>
                  </p:cNvPr>
                  <p:cNvSpPr txBox="1"/>
                  <p:nvPr/>
                </p:nvSpPr>
                <p:spPr>
                  <a:xfrm>
                    <a:off x="3698620" y="4303534"/>
                    <a:ext cx="375503" cy="276972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000" b="1" dirty="0">
                        <a:solidFill>
                          <a:schemeClr val="bg1"/>
                        </a:solidFill>
                      </a:rPr>
                      <a:t>8.0%</a:t>
                    </a:r>
                  </a:p>
                </p:txBody>
              </p:sp>
            </p:grpSp>
            <p:grpSp>
              <p:nvGrpSpPr>
                <p:cNvPr id="422" name="Group 421">
                  <a:extLst>
                    <a:ext uri="{FF2B5EF4-FFF2-40B4-BE49-F238E27FC236}">
                      <a16:creationId xmlns:a16="http://schemas.microsoft.com/office/drawing/2014/main" id="{5842565F-742A-4DA2-A724-A393D11FFCA3}"/>
                    </a:ext>
                  </a:extLst>
                </p:cNvPr>
                <p:cNvGrpSpPr/>
                <p:nvPr/>
              </p:nvGrpSpPr>
              <p:grpSpPr>
                <a:xfrm>
                  <a:off x="78711" y="5986149"/>
                  <a:ext cx="1328335" cy="817355"/>
                  <a:chOff x="78711" y="5986149"/>
                  <a:chExt cx="1328335" cy="817355"/>
                </a:xfrm>
              </p:grpSpPr>
              <p:sp>
                <p:nvSpPr>
                  <p:cNvPr id="502" name="TextBox 501">
                    <a:extLst>
                      <a:ext uri="{FF2B5EF4-FFF2-40B4-BE49-F238E27FC236}">
                        <a16:creationId xmlns:a16="http://schemas.microsoft.com/office/drawing/2014/main" id="{4B131327-BA2E-413B-A246-CAD0796DDA72}"/>
                      </a:ext>
                    </a:extLst>
                  </p:cNvPr>
                  <p:cNvSpPr txBox="1"/>
                  <p:nvPr/>
                </p:nvSpPr>
                <p:spPr>
                  <a:xfrm>
                    <a:off x="78711" y="5986149"/>
                    <a:ext cx="1328335" cy="240574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NORTH AMERICA</a:t>
                    </a:r>
                  </a:p>
                </p:txBody>
              </p:sp>
              <p:sp>
                <p:nvSpPr>
                  <p:cNvPr id="503" name="TextBox 502">
                    <a:extLst>
                      <a:ext uri="{FF2B5EF4-FFF2-40B4-BE49-F238E27FC236}">
                        <a16:creationId xmlns:a16="http://schemas.microsoft.com/office/drawing/2014/main" id="{D4EFFC16-5510-4654-893C-C7D2A5FC468E}"/>
                      </a:ext>
                    </a:extLst>
                  </p:cNvPr>
                  <p:cNvSpPr txBox="1"/>
                  <p:nvPr/>
                </p:nvSpPr>
                <p:spPr>
                  <a:xfrm>
                    <a:off x="336859" y="6174879"/>
                    <a:ext cx="756729" cy="35006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800" b="1" dirty="0">
                        <a:solidFill>
                          <a:schemeClr val="bg1"/>
                        </a:solidFill>
                      </a:rPr>
                      <a:t>3,874</a:t>
                    </a:r>
                  </a:p>
                </p:txBody>
              </p:sp>
              <p:sp>
                <p:nvSpPr>
                  <p:cNvPr id="504" name="TextBox 503">
                    <a:extLst>
                      <a:ext uri="{FF2B5EF4-FFF2-40B4-BE49-F238E27FC236}">
                        <a16:creationId xmlns:a16="http://schemas.microsoft.com/office/drawing/2014/main" id="{CFFBB6AE-62E6-4039-A867-71CFA692BEE5}"/>
                      </a:ext>
                    </a:extLst>
                  </p:cNvPr>
                  <p:cNvSpPr txBox="1"/>
                  <p:nvPr/>
                </p:nvSpPr>
                <p:spPr>
                  <a:xfrm>
                    <a:off x="343743" y="6526472"/>
                    <a:ext cx="375503" cy="276972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000" b="1" dirty="0">
                        <a:solidFill>
                          <a:schemeClr val="bg1"/>
                        </a:solidFill>
                      </a:rPr>
                      <a:t>6.1%</a:t>
                    </a:r>
                  </a:p>
                </p:txBody>
              </p:sp>
              <p:sp>
                <p:nvSpPr>
                  <p:cNvPr id="505" name="TextBox 504">
                    <a:extLst>
                      <a:ext uri="{FF2B5EF4-FFF2-40B4-BE49-F238E27FC236}">
                        <a16:creationId xmlns:a16="http://schemas.microsoft.com/office/drawing/2014/main" id="{FCE9C597-1770-42D6-B630-B4463B3D2ADF}"/>
                      </a:ext>
                    </a:extLst>
                  </p:cNvPr>
                  <p:cNvSpPr txBox="1"/>
                  <p:nvPr/>
                </p:nvSpPr>
                <p:spPr>
                  <a:xfrm>
                    <a:off x="718972" y="6526532"/>
                    <a:ext cx="375503" cy="276972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000" b="1" dirty="0">
                        <a:solidFill>
                          <a:schemeClr val="bg1"/>
                        </a:solidFill>
                      </a:rPr>
                      <a:t>10.0%</a:t>
                    </a:r>
                  </a:p>
                </p:txBody>
              </p:sp>
            </p:grpSp>
            <p:grpSp>
              <p:nvGrpSpPr>
                <p:cNvPr id="423" name="Group 422">
                  <a:extLst>
                    <a:ext uri="{FF2B5EF4-FFF2-40B4-BE49-F238E27FC236}">
                      <a16:creationId xmlns:a16="http://schemas.microsoft.com/office/drawing/2014/main" id="{FA8A1FE9-20DE-4ECB-B7A7-3383ACBB705E}"/>
                    </a:ext>
                  </a:extLst>
                </p:cNvPr>
                <p:cNvGrpSpPr/>
                <p:nvPr/>
              </p:nvGrpSpPr>
              <p:grpSpPr>
                <a:xfrm>
                  <a:off x="2743176" y="8398270"/>
                  <a:ext cx="1218496" cy="824718"/>
                  <a:chOff x="3097229" y="3755788"/>
                  <a:chExt cx="1218496" cy="824718"/>
                </a:xfrm>
              </p:grpSpPr>
              <p:sp>
                <p:nvSpPr>
                  <p:cNvPr id="498" name="TextBox 497">
                    <a:extLst>
                      <a:ext uri="{FF2B5EF4-FFF2-40B4-BE49-F238E27FC236}">
                        <a16:creationId xmlns:a16="http://schemas.microsoft.com/office/drawing/2014/main" id="{991B73C3-9EEE-4EE1-8F70-CBA3E229F771}"/>
                      </a:ext>
                    </a:extLst>
                  </p:cNvPr>
                  <p:cNvSpPr txBox="1"/>
                  <p:nvPr/>
                </p:nvSpPr>
                <p:spPr>
                  <a:xfrm>
                    <a:off x="3097229" y="3755788"/>
                    <a:ext cx="1218496" cy="101534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900" b="1" dirty="0">
                        <a:solidFill>
                          <a:schemeClr val="tx1"/>
                        </a:solidFill>
                      </a:rPr>
                      <a:t>REST OF WORLD</a:t>
                    </a:r>
                  </a:p>
                </p:txBody>
              </p:sp>
              <p:sp>
                <p:nvSpPr>
                  <p:cNvPr id="499" name="TextBox 498">
                    <a:extLst>
                      <a:ext uri="{FF2B5EF4-FFF2-40B4-BE49-F238E27FC236}">
                        <a16:creationId xmlns:a16="http://schemas.microsoft.com/office/drawing/2014/main" id="{27682443-E57D-4068-B4A5-C5BBD9211115}"/>
                      </a:ext>
                    </a:extLst>
                  </p:cNvPr>
                  <p:cNvSpPr txBox="1"/>
                  <p:nvPr/>
                </p:nvSpPr>
                <p:spPr>
                  <a:xfrm>
                    <a:off x="3316507" y="3951881"/>
                    <a:ext cx="756729" cy="35006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solidFill>
                      <a:srgbClr val="085D68"/>
                    </a:solidFill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800" b="1" dirty="0">
                        <a:solidFill>
                          <a:schemeClr val="bg1"/>
                        </a:solidFill>
                      </a:rPr>
                      <a:t>656</a:t>
                    </a:r>
                  </a:p>
                </p:txBody>
              </p:sp>
              <p:sp>
                <p:nvSpPr>
                  <p:cNvPr id="500" name="TextBox 499">
                    <a:extLst>
                      <a:ext uri="{FF2B5EF4-FFF2-40B4-BE49-F238E27FC236}">
                        <a16:creationId xmlns:a16="http://schemas.microsoft.com/office/drawing/2014/main" id="{882E6424-1FD0-49B9-887D-9CC3C712389D}"/>
                      </a:ext>
                    </a:extLst>
                  </p:cNvPr>
                  <p:cNvSpPr txBox="1"/>
                  <p:nvPr/>
                </p:nvSpPr>
                <p:spPr>
                  <a:xfrm>
                    <a:off x="3323391" y="4303474"/>
                    <a:ext cx="375503" cy="276972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000" b="1" dirty="0">
                        <a:solidFill>
                          <a:schemeClr val="bg1"/>
                        </a:solidFill>
                      </a:rPr>
                      <a:t>4.2%</a:t>
                    </a:r>
                  </a:p>
                </p:txBody>
              </p:sp>
              <p:sp>
                <p:nvSpPr>
                  <p:cNvPr id="501" name="TextBox 500">
                    <a:extLst>
                      <a:ext uri="{FF2B5EF4-FFF2-40B4-BE49-F238E27FC236}">
                        <a16:creationId xmlns:a16="http://schemas.microsoft.com/office/drawing/2014/main" id="{D1AB594A-3085-4068-9BC3-E12841A53284}"/>
                      </a:ext>
                    </a:extLst>
                  </p:cNvPr>
                  <p:cNvSpPr txBox="1"/>
                  <p:nvPr/>
                </p:nvSpPr>
                <p:spPr>
                  <a:xfrm>
                    <a:off x="3698620" y="4303534"/>
                    <a:ext cx="375503" cy="276972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000" b="1" dirty="0">
                        <a:solidFill>
                          <a:schemeClr val="bg1"/>
                        </a:solidFill>
                      </a:rPr>
                      <a:t>7.0%</a:t>
                    </a:r>
                  </a:p>
                </p:txBody>
              </p:sp>
            </p:grpSp>
            <p:grpSp>
              <p:nvGrpSpPr>
                <p:cNvPr id="424" name="Group 423">
                  <a:extLst>
                    <a:ext uri="{FF2B5EF4-FFF2-40B4-BE49-F238E27FC236}">
                      <a16:creationId xmlns:a16="http://schemas.microsoft.com/office/drawing/2014/main" id="{D14DACEC-BE3C-4BCE-B759-99E6F2175A8B}"/>
                    </a:ext>
                  </a:extLst>
                </p:cNvPr>
                <p:cNvGrpSpPr/>
                <p:nvPr/>
              </p:nvGrpSpPr>
              <p:grpSpPr>
                <a:xfrm>
                  <a:off x="2805066" y="5717699"/>
                  <a:ext cx="830479" cy="626904"/>
                  <a:chOff x="1986588" y="5519973"/>
                  <a:chExt cx="892675" cy="660183"/>
                </a:xfrm>
              </p:grpSpPr>
              <p:sp>
                <p:nvSpPr>
                  <p:cNvPr id="494" name="TextBox 493">
                    <a:extLst>
                      <a:ext uri="{FF2B5EF4-FFF2-40B4-BE49-F238E27FC236}">
                        <a16:creationId xmlns:a16="http://schemas.microsoft.com/office/drawing/2014/main" id="{674D0DEE-75BE-4DCE-B60D-7A75AD067BBE}"/>
                      </a:ext>
                    </a:extLst>
                  </p:cNvPr>
                  <p:cNvSpPr txBox="1"/>
                  <p:nvPr/>
                </p:nvSpPr>
                <p:spPr>
                  <a:xfrm>
                    <a:off x="1986588" y="5519973"/>
                    <a:ext cx="892675" cy="47051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900" b="1" dirty="0">
                        <a:solidFill>
                          <a:schemeClr val="tx1"/>
                        </a:solidFill>
                      </a:rPr>
                      <a:t>UK</a:t>
                    </a:r>
                  </a:p>
                </p:txBody>
              </p:sp>
              <p:sp>
                <p:nvSpPr>
                  <p:cNvPr id="495" name="TextBox 494">
                    <a:extLst>
                      <a:ext uri="{FF2B5EF4-FFF2-40B4-BE49-F238E27FC236}">
                        <a16:creationId xmlns:a16="http://schemas.microsoft.com/office/drawing/2014/main" id="{48AFAE3B-DB57-4B50-B0AC-9E458E1C3B80}"/>
                      </a:ext>
                    </a:extLst>
                  </p:cNvPr>
                  <p:cNvSpPr txBox="1"/>
                  <p:nvPr/>
                </p:nvSpPr>
                <p:spPr>
                  <a:xfrm>
                    <a:off x="2163162" y="5695317"/>
                    <a:ext cx="554383" cy="269990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472</a:t>
                    </a:r>
                  </a:p>
                </p:txBody>
              </p:sp>
              <p:sp>
                <p:nvSpPr>
                  <p:cNvPr id="496" name="TextBox 495">
                    <a:extLst>
                      <a:ext uri="{FF2B5EF4-FFF2-40B4-BE49-F238E27FC236}">
                        <a16:creationId xmlns:a16="http://schemas.microsoft.com/office/drawing/2014/main" id="{6AE7A1BF-A7C9-4090-8E9C-591FB23F577E}"/>
                      </a:ext>
                    </a:extLst>
                  </p:cNvPr>
                  <p:cNvSpPr txBox="1"/>
                  <p:nvPr/>
                </p:nvSpPr>
                <p:spPr>
                  <a:xfrm>
                    <a:off x="2168203" y="5966489"/>
                    <a:ext cx="275094" cy="213619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4.1%</a:t>
                    </a:r>
                  </a:p>
                </p:txBody>
              </p:sp>
              <p:sp>
                <p:nvSpPr>
                  <p:cNvPr id="497" name="TextBox 496">
                    <a:extLst>
                      <a:ext uri="{FF2B5EF4-FFF2-40B4-BE49-F238E27FC236}">
                        <a16:creationId xmlns:a16="http://schemas.microsoft.com/office/drawing/2014/main" id="{623CDF6D-79E6-472E-B824-EE5BAEC0E605}"/>
                      </a:ext>
                    </a:extLst>
                  </p:cNvPr>
                  <p:cNvSpPr txBox="1"/>
                  <p:nvPr/>
                </p:nvSpPr>
                <p:spPr>
                  <a:xfrm>
                    <a:off x="2443098" y="5966537"/>
                    <a:ext cx="275094" cy="21361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5.0%</a:t>
                    </a:r>
                  </a:p>
                </p:txBody>
              </p:sp>
            </p:grpSp>
            <p:grpSp>
              <p:nvGrpSpPr>
                <p:cNvPr id="425" name="Group 424">
                  <a:extLst>
                    <a:ext uri="{FF2B5EF4-FFF2-40B4-BE49-F238E27FC236}">
                      <a16:creationId xmlns:a16="http://schemas.microsoft.com/office/drawing/2014/main" id="{CCDB135C-AB51-430B-A21C-D05248B9F1BE}"/>
                    </a:ext>
                  </a:extLst>
                </p:cNvPr>
                <p:cNvGrpSpPr/>
                <p:nvPr/>
              </p:nvGrpSpPr>
              <p:grpSpPr>
                <a:xfrm>
                  <a:off x="1258276" y="6302654"/>
                  <a:ext cx="830479" cy="753234"/>
                  <a:chOff x="1290918" y="5435753"/>
                  <a:chExt cx="892675" cy="675455"/>
                </a:xfrm>
              </p:grpSpPr>
              <p:sp>
                <p:nvSpPr>
                  <p:cNvPr id="490" name="TextBox 489">
                    <a:extLst>
                      <a:ext uri="{FF2B5EF4-FFF2-40B4-BE49-F238E27FC236}">
                        <a16:creationId xmlns:a16="http://schemas.microsoft.com/office/drawing/2014/main" id="{B514BFAE-B624-491D-B016-45BF77A6BE14}"/>
                      </a:ext>
                    </a:extLst>
                  </p:cNvPr>
                  <p:cNvSpPr txBox="1"/>
                  <p:nvPr/>
                </p:nvSpPr>
                <p:spPr>
                  <a:xfrm>
                    <a:off x="1290918" y="5435753"/>
                    <a:ext cx="892675" cy="47051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endParaRPr lang="en-GB" sz="900" b="1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91" name="TextBox 490">
                    <a:extLst>
                      <a:ext uri="{FF2B5EF4-FFF2-40B4-BE49-F238E27FC236}">
                        <a16:creationId xmlns:a16="http://schemas.microsoft.com/office/drawing/2014/main" id="{21D6CA6C-3FDC-424D-87A6-035C17FF234D}"/>
                      </a:ext>
                    </a:extLst>
                  </p:cNvPr>
                  <p:cNvSpPr txBox="1"/>
                  <p:nvPr/>
                </p:nvSpPr>
                <p:spPr>
                  <a:xfrm>
                    <a:off x="1436370" y="5582549"/>
                    <a:ext cx="582506" cy="26618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3,653</a:t>
                    </a:r>
                  </a:p>
                </p:txBody>
              </p:sp>
              <p:sp>
                <p:nvSpPr>
                  <p:cNvPr id="492" name="TextBox 491">
                    <a:extLst>
                      <a:ext uri="{FF2B5EF4-FFF2-40B4-BE49-F238E27FC236}">
                        <a16:creationId xmlns:a16="http://schemas.microsoft.com/office/drawing/2014/main" id="{4EED4136-494F-48DB-8496-C1AE9B246522}"/>
                      </a:ext>
                    </a:extLst>
                  </p:cNvPr>
                  <p:cNvSpPr txBox="1"/>
                  <p:nvPr/>
                </p:nvSpPr>
                <p:spPr>
                  <a:xfrm>
                    <a:off x="1441410" y="5849910"/>
                    <a:ext cx="319553" cy="261251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6.1%</a:t>
                    </a:r>
                  </a:p>
                </p:txBody>
              </p:sp>
              <p:sp>
                <p:nvSpPr>
                  <p:cNvPr id="493" name="TextBox 492">
                    <a:extLst>
                      <a:ext uri="{FF2B5EF4-FFF2-40B4-BE49-F238E27FC236}">
                        <a16:creationId xmlns:a16="http://schemas.microsoft.com/office/drawing/2014/main" id="{A7508036-567C-43C2-A55D-B41C0CF394FC}"/>
                      </a:ext>
                    </a:extLst>
                  </p:cNvPr>
                  <p:cNvSpPr txBox="1"/>
                  <p:nvPr/>
                </p:nvSpPr>
                <p:spPr>
                  <a:xfrm>
                    <a:off x="1716305" y="5849957"/>
                    <a:ext cx="319553" cy="261251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10.0%</a:t>
                    </a:r>
                  </a:p>
                </p:txBody>
              </p:sp>
            </p:grpSp>
            <p:grpSp>
              <p:nvGrpSpPr>
                <p:cNvPr id="426" name="Group 425">
                  <a:extLst>
                    <a:ext uri="{FF2B5EF4-FFF2-40B4-BE49-F238E27FC236}">
                      <a16:creationId xmlns:a16="http://schemas.microsoft.com/office/drawing/2014/main" id="{82270839-8276-41C5-9F86-56094067E4B0}"/>
                    </a:ext>
                  </a:extLst>
                </p:cNvPr>
                <p:cNvGrpSpPr/>
                <p:nvPr/>
              </p:nvGrpSpPr>
              <p:grpSpPr>
                <a:xfrm>
                  <a:off x="1304390" y="5630799"/>
                  <a:ext cx="830479" cy="612450"/>
                  <a:chOff x="1290918" y="5418615"/>
                  <a:chExt cx="892675" cy="644962"/>
                </a:xfrm>
              </p:grpSpPr>
              <p:sp>
                <p:nvSpPr>
                  <p:cNvPr id="486" name="TextBox 485">
                    <a:extLst>
                      <a:ext uri="{FF2B5EF4-FFF2-40B4-BE49-F238E27FC236}">
                        <a16:creationId xmlns:a16="http://schemas.microsoft.com/office/drawing/2014/main" id="{618B981F-C48B-4BE0-A3ED-5287A2FAF44A}"/>
                      </a:ext>
                    </a:extLst>
                  </p:cNvPr>
                  <p:cNvSpPr txBox="1"/>
                  <p:nvPr/>
                </p:nvSpPr>
                <p:spPr>
                  <a:xfrm>
                    <a:off x="1290918" y="5418615"/>
                    <a:ext cx="892675" cy="47051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CANADA</a:t>
                    </a:r>
                  </a:p>
                </p:txBody>
              </p:sp>
              <p:sp>
                <p:nvSpPr>
                  <p:cNvPr id="487" name="TextBox 486">
                    <a:extLst>
                      <a:ext uri="{FF2B5EF4-FFF2-40B4-BE49-F238E27FC236}">
                        <a16:creationId xmlns:a16="http://schemas.microsoft.com/office/drawing/2014/main" id="{DC05573E-18CA-473D-ADE0-1F850E86BA77}"/>
                      </a:ext>
                    </a:extLst>
                  </p:cNvPr>
                  <p:cNvSpPr txBox="1"/>
                  <p:nvPr/>
                </p:nvSpPr>
                <p:spPr>
                  <a:xfrm>
                    <a:off x="1436370" y="5578738"/>
                    <a:ext cx="554383" cy="26999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203</a:t>
                    </a:r>
                  </a:p>
                </p:txBody>
              </p:sp>
              <p:sp>
                <p:nvSpPr>
                  <p:cNvPr id="488" name="TextBox 487">
                    <a:extLst>
                      <a:ext uri="{FF2B5EF4-FFF2-40B4-BE49-F238E27FC236}">
                        <a16:creationId xmlns:a16="http://schemas.microsoft.com/office/drawing/2014/main" id="{34FA4275-C300-4E4E-9169-D32ACB5C3E42}"/>
                      </a:ext>
                    </a:extLst>
                  </p:cNvPr>
                  <p:cNvSpPr txBox="1"/>
                  <p:nvPr/>
                </p:nvSpPr>
                <p:spPr>
                  <a:xfrm>
                    <a:off x="1441411" y="5849910"/>
                    <a:ext cx="275095" cy="213620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5.7%</a:t>
                    </a:r>
                  </a:p>
                </p:txBody>
              </p:sp>
              <p:sp>
                <p:nvSpPr>
                  <p:cNvPr id="489" name="TextBox 488">
                    <a:extLst>
                      <a:ext uri="{FF2B5EF4-FFF2-40B4-BE49-F238E27FC236}">
                        <a16:creationId xmlns:a16="http://schemas.microsoft.com/office/drawing/2014/main" id="{CEBC1C3D-5D66-44C4-9BD2-33F222EA1161}"/>
                      </a:ext>
                    </a:extLst>
                  </p:cNvPr>
                  <p:cNvSpPr txBox="1"/>
                  <p:nvPr/>
                </p:nvSpPr>
                <p:spPr>
                  <a:xfrm>
                    <a:off x="1716306" y="5849957"/>
                    <a:ext cx="275095" cy="2136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7.0%</a:t>
                    </a:r>
                  </a:p>
                </p:txBody>
              </p:sp>
            </p:grpSp>
            <p:grpSp>
              <p:nvGrpSpPr>
                <p:cNvPr id="427" name="Group 426">
                  <a:extLst>
                    <a:ext uri="{FF2B5EF4-FFF2-40B4-BE49-F238E27FC236}">
                      <a16:creationId xmlns:a16="http://schemas.microsoft.com/office/drawing/2014/main" id="{E6EE29D9-F94E-4C43-8358-56581B1706A2}"/>
                    </a:ext>
                  </a:extLst>
                </p:cNvPr>
                <p:cNvGrpSpPr/>
                <p:nvPr/>
              </p:nvGrpSpPr>
              <p:grpSpPr>
                <a:xfrm>
                  <a:off x="1968086" y="7724010"/>
                  <a:ext cx="1099928" cy="627699"/>
                  <a:chOff x="1167858" y="5402557"/>
                  <a:chExt cx="1182303" cy="661020"/>
                </a:xfrm>
              </p:grpSpPr>
              <p:sp>
                <p:nvSpPr>
                  <p:cNvPr id="482" name="TextBox 481">
                    <a:extLst>
                      <a:ext uri="{FF2B5EF4-FFF2-40B4-BE49-F238E27FC236}">
                        <a16:creationId xmlns:a16="http://schemas.microsoft.com/office/drawing/2014/main" id="{9D9DFBFD-16CE-4E96-BDA3-E2AD1BA94FA0}"/>
                      </a:ext>
                    </a:extLst>
                  </p:cNvPr>
                  <p:cNvSpPr txBox="1"/>
                  <p:nvPr/>
                </p:nvSpPr>
                <p:spPr>
                  <a:xfrm>
                    <a:off x="1167858" y="5402557"/>
                    <a:ext cx="1182303" cy="59856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900" b="1" dirty="0">
                        <a:solidFill>
                          <a:schemeClr val="tx1"/>
                        </a:solidFill>
                      </a:rPr>
                      <a:t>LATIN AMERICA</a:t>
                    </a:r>
                  </a:p>
                </p:txBody>
              </p:sp>
              <p:sp>
                <p:nvSpPr>
                  <p:cNvPr id="483" name="TextBox 482">
                    <a:extLst>
                      <a:ext uri="{FF2B5EF4-FFF2-40B4-BE49-F238E27FC236}">
                        <a16:creationId xmlns:a16="http://schemas.microsoft.com/office/drawing/2014/main" id="{0CD3EBE2-C26E-42DA-8399-1059F812DB6B}"/>
                      </a:ext>
                    </a:extLst>
                  </p:cNvPr>
                  <p:cNvSpPr txBox="1"/>
                  <p:nvPr/>
                </p:nvSpPr>
                <p:spPr>
                  <a:xfrm>
                    <a:off x="1436369" y="5578738"/>
                    <a:ext cx="554383" cy="26999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184</a:t>
                    </a:r>
                  </a:p>
                </p:txBody>
              </p:sp>
              <p:sp>
                <p:nvSpPr>
                  <p:cNvPr id="484" name="TextBox 483">
                    <a:extLst>
                      <a:ext uri="{FF2B5EF4-FFF2-40B4-BE49-F238E27FC236}">
                        <a16:creationId xmlns:a16="http://schemas.microsoft.com/office/drawing/2014/main" id="{0AC3F03C-445C-459A-BABE-5DFEBD39801D}"/>
                      </a:ext>
                    </a:extLst>
                  </p:cNvPr>
                  <p:cNvSpPr txBox="1"/>
                  <p:nvPr/>
                </p:nvSpPr>
                <p:spPr>
                  <a:xfrm>
                    <a:off x="1441411" y="5849910"/>
                    <a:ext cx="275095" cy="213620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4.0%</a:t>
                    </a:r>
                  </a:p>
                </p:txBody>
              </p:sp>
              <p:sp>
                <p:nvSpPr>
                  <p:cNvPr id="485" name="TextBox 484">
                    <a:extLst>
                      <a:ext uri="{FF2B5EF4-FFF2-40B4-BE49-F238E27FC236}">
                        <a16:creationId xmlns:a16="http://schemas.microsoft.com/office/drawing/2014/main" id="{E6FD235D-3D68-4410-9F59-72C429CE18A7}"/>
                      </a:ext>
                    </a:extLst>
                  </p:cNvPr>
                  <p:cNvSpPr txBox="1"/>
                  <p:nvPr/>
                </p:nvSpPr>
                <p:spPr>
                  <a:xfrm>
                    <a:off x="1716306" y="5849957"/>
                    <a:ext cx="275095" cy="2136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8.5%</a:t>
                    </a:r>
                  </a:p>
                </p:txBody>
              </p:sp>
            </p:grpSp>
            <p:grpSp>
              <p:nvGrpSpPr>
                <p:cNvPr id="428" name="Group 427">
                  <a:extLst>
                    <a:ext uri="{FF2B5EF4-FFF2-40B4-BE49-F238E27FC236}">
                      <a16:creationId xmlns:a16="http://schemas.microsoft.com/office/drawing/2014/main" id="{4F58CC22-4343-4E51-AA12-6C81624B0BA4}"/>
                    </a:ext>
                  </a:extLst>
                </p:cNvPr>
                <p:cNvGrpSpPr/>
                <p:nvPr/>
              </p:nvGrpSpPr>
              <p:grpSpPr>
                <a:xfrm>
                  <a:off x="3780650" y="8043697"/>
                  <a:ext cx="830479" cy="611684"/>
                  <a:chOff x="1290918" y="5419422"/>
                  <a:chExt cx="892675" cy="644155"/>
                </a:xfrm>
              </p:grpSpPr>
              <p:sp>
                <p:nvSpPr>
                  <p:cNvPr id="478" name="TextBox 477">
                    <a:extLst>
                      <a:ext uri="{FF2B5EF4-FFF2-40B4-BE49-F238E27FC236}">
                        <a16:creationId xmlns:a16="http://schemas.microsoft.com/office/drawing/2014/main" id="{29E67071-E448-4C75-BAA5-4F3405055313}"/>
                      </a:ext>
                    </a:extLst>
                  </p:cNvPr>
                  <p:cNvSpPr txBox="1"/>
                  <p:nvPr/>
                </p:nvSpPr>
                <p:spPr>
                  <a:xfrm>
                    <a:off x="1290918" y="5419422"/>
                    <a:ext cx="892675" cy="47051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900" b="1" dirty="0">
                        <a:solidFill>
                          <a:schemeClr val="tx1"/>
                        </a:solidFill>
                      </a:rPr>
                      <a:t>AFRICA</a:t>
                    </a:r>
                  </a:p>
                </p:txBody>
              </p:sp>
              <p:sp>
                <p:nvSpPr>
                  <p:cNvPr id="479" name="TextBox 478">
                    <a:extLst>
                      <a:ext uri="{FF2B5EF4-FFF2-40B4-BE49-F238E27FC236}">
                        <a16:creationId xmlns:a16="http://schemas.microsoft.com/office/drawing/2014/main" id="{48FF4D2A-9FBE-4EE2-9C9B-829A5C9CB016}"/>
                      </a:ext>
                    </a:extLst>
                  </p:cNvPr>
                  <p:cNvSpPr txBox="1"/>
                  <p:nvPr/>
                </p:nvSpPr>
                <p:spPr>
                  <a:xfrm>
                    <a:off x="1436370" y="5578738"/>
                    <a:ext cx="554383" cy="26999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113</a:t>
                    </a:r>
                  </a:p>
                </p:txBody>
              </p:sp>
              <p:sp>
                <p:nvSpPr>
                  <p:cNvPr id="480" name="TextBox 479">
                    <a:extLst>
                      <a:ext uri="{FF2B5EF4-FFF2-40B4-BE49-F238E27FC236}">
                        <a16:creationId xmlns:a16="http://schemas.microsoft.com/office/drawing/2014/main" id="{D978D4D9-DDE2-4748-9ABB-029CF9EE233A}"/>
                      </a:ext>
                    </a:extLst>
                  </p:cNvPr>
                  <p:cNvSpPr txBox="1"/>
                  <p:nvPr/>
                </p:nvSpPr>
                <p:spPr>
                  <a:xfrm>
                    <a:off x="1441411" y="5849910"/>
                    <a:ext cx="275095" cy="213620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2.5%</a:t>
                    </a:r>
                  </a:p>
                </p:txBody>
              </p:sp>
              <p:sp>
                <p:nvSpPr>
                  <p:cNvPr id="481" name="TextBox 480">
                    <a:extLst>
                      <a:ext uri="{FF2B5EF4-FFF2-40B4-BE49-F238E27FC236}">
                        <a16:creationId xmlns:a16="http://schemas.microsoft.com/office/drawing/2014/main" id="{2B1BCF43-4E54-4206-8198-28EE95405093}"/>
                      </a:ext>
                    </a:extLst>
                  </p:cNvPr>
                  <p:cNvSpPr txBox="1"/>
                  <p:nvPr/>
                </p:nvSpPr>
                <p:spPr>
                  <a:xfrm>
                    <a:off x="1716306" y="5849957"/>
                    <a:ext cx="275095" cy="2136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5.0%</a:t>
                    </a:r>
                  </a:p>
                </p:txBody>
              </p:sp>
            </p:grpSp>
            <p:grpSp>
              <p:nvGrpSpPr>
                <p:cNvPr id="429" name="Group 428">
                  <a:extLst>
                    <a:ext uri="{FF2B5EF4-FFF2-40B4-BE49-F238E27FC236}">
                      <a16:creationId xmlns:a16="http://schemas.microsoft.com/office/drawing/2014/main" id="{EA531947-3D8B-4E6F-98E8-A517765EA41D}"/>
                    </a:ext>
                  </a:extLst>
                </p:cNvPr>
                <p:cNvGrpSpPr/>
                <p:nvPr/>
              </p:nvGrpSpPr>
              <p:grpSpPr>
                <a:xfrm>
                  <a:off x="6102047" y="8242402"/>
                  <a:ext cx="830479" cy="628172"/>
                  <a:chOff x="1369640" y="5402058"/>
                  <a:chExt cx="892675" cy="661519"/>
                </a:xfrm>
              </p:grpSpPr>
              <p:sp>
                <p:nvSpPr>
                  <p:cNvPr id="474" name="TextBox 473">
                    <a:extLst>
                      <a:ext uri="{FF2B5EF4-FFF2-40B4-BE49-F238E27FC236}">
                        <a16:creationId xmlns:a16="http://schemas.microsoft.com/office/drawing/2014/main" id="{765CE3C8-7326-40C6-BE76-44CE0CD084CC}"/>
                      </a:ext>
                    </a:extLst>
                  </p:cNvPr>
                  <p:cNvSpPr txBox="1"/>
                  <p:nvPr/>
                </p:nvSpPr>
                <p:spPr>
                  <a:xfrm>
                    <a:off x="1369640" y="5402058"/>
                    <a:ext cx="892675" cy="47051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AUSTRALASIA</a:t>
                    </a:r>
                  </a:p>
                </p:txBody>
              </p:sp>
              <p:sp>
                <p:nvSpPr>
                  <p:cNvPr id="475" name="TextBox 474">
                    <a:extLst>
                      <a:ext uri="{FF2B5EF4-FFF2-40B4-BE49-F238E27FC236}">
                        <a16:creationId xmlns:a16="http://schemas.microsoft.com/office/drawing/2014/main" id="{7C36EA23-D557-40D1-BBE4-EF3790419F19}"/>
                      </a:ext>
                    </a:extLst>
                  </p:cNvPr>
                  <p:cNvSpPr txBox="1"/>
                  <p:nvPr/>
                </p:nvSpPr>
                <p:spPr>
                  <a:xfrm>
                    <a:off x="1436370" y="5578738"/>
                    <a:ext cx="554383" cy="26999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solidFill>
                      <a:srgbClr val="085D68"/>
                    </a:solidFill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158</a:t>
                    </a:r>
                  </a:p>
                </p:txBody>
              </p:sp>
              <p:sp>
                <p:nvSpPr>
                  <p:cNvPr id="476" name="TextBox 475">
                    <a:extLst>
                      <a:ext uri="{FF2B5EF4-FFF2-40B4-BE49-F238E27FC236}">
                        <a16:creationId xmlns:a16="http://schemas.microsoft.com/office/drawing/2014/main" id="{3289B9CA-515C-4ECD-B086-516AC7C93958}"/>
                      </a:ext>
                    </a:extLst>
                  </p:cNvPr>
                  <p:cNvSpPr txBox="1"/>
                  <p:nvPr/>
                </p:nvSpPr>
                <p:spPr>
                  <a:xfrm>
                    <a:off x="1441411" y="5849910"/>
                    <a:ext cx="275095" cy="213620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3.5%</a:t>
                    </a:r>
                  </a:p>
                </p:txBody>
              </p:sp>
              <p:sp>
                <p:nvSpPr>
                  <p:cNvPr id="477" name="TextBox 476">
                    <a:extLst>
                      <a:ext uri="{FF2B5EF4-FFF2-40B4-BE49-F238E27FC236}">
                        <a16:creationId xmlns:a16="http://schemas.microsoft.com/office/drawing/2014/main" id="{085EE147-AD8D-4F85-AB04-019A46F1CEFB}"/>
                      </a:ext>
                    </a:extLst>
                  </p:cNvPr>
                  <p:cNvSpPr txBox="1"/>
                  <p:nvPr/>
                </p:nvSpPr>
                <p:spPr>
                  <a:xfrm>
                    <a:off x="1716306" y="5849957"/>
                    <a:ext cx="275095" cy="2136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6.0%</a:t>
                    </a:r>
                  </a:p>
                </p:txBody>
              </p:sp>
            </p:grpSp>
            <p:grpSp>
              <p:nvGrpSpPr>
                <p:cNvPr id="430" name="Group 429">
                  <a:extLst>
                    <a:ext uri="{FF2B5EF4-FFF2-40B4-BE49-F238E27FC236}">
                      <a16:creationId xmlns:a16="http://schemas.microsoft.com/office/drawing/2014/main" id="{B4218518-1439-470E-801A-EFEA16D17D62}"/>
                    </a:ext>
                  </a:extLst>
                </p:cNvPr>
                <p:cNvGrpSpPr/>
                <p:nvPr/>
              </p:nvGrpSpPr>
              <p:grpSpPr>
                <a:xfrm>
                  <a:off x="3971589" y="5143415"/>
                  <a:ext cx="830479" cy="619870"/>
                  <a:chOff x="1290918" y="5410801"/>
                  <a:chExt cx="892675" cy="652776"/>
                </a:xfrm>
              </p:grpSpPr>
              <p:sp>
                <p:nvSpPr>
                  <p:cNvPr id="470" name="TextBox 469">
                    <a:extLst>
                      <a:ext uri="{FF2B5EF4-FFF2-40B4-BE49-F238E27FC236}">
                        <a16:creationId xmlns:a16="http://schemas.microsoft.com/office/drawing/2014/main" id="{12F510E2-DA96-4695-8B8B-755D384C2F0E}"/>
                      </a:ext>
                    </a:extLst>
                  </p:cNvPr>
                  <p:cNvSpPr txBox="1"/>
                  <p:nvPr/>
                </p:nvSpPr>
                <p:spPr>
                  <a:xfrm>
                    <a:off x="1290918" y="5410801"/>
                    <a:ext cx="892675" cy="47051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NORDIC</a:t>
                    </a:r>
                  </a:p>
                </p:txBody>
              </p:sp>
              <p:sp>
                <p:nvSpPr>
                  <p:cNvPr id="471" name="TextBox 470">
                    <a:extLst>
                      <a:ext uri="{FF2B5EF4-FFF2-40B4-BE49-F238E27FC236}">
                        <a16:creationId xmlns:a16="http://schemas.microsoft.com/office/drawing/2014/main" id="{B7E3B60E-C3A6-470A-8272-BE9FB2B29DEA}"/>
                      </a:ext>
                    </a:extLst>
                  </p:cNvPr>
                  <p:cNvSpPr txBox="1"/>
                  <p:nvPr/>
                </p:nvSpPr>
                <p:spPr>
                  <a:xfrm>
                    <a:off x="1436370" y="5578738"/>
                    <a:ext cx="554383" cy="26999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239</a:t>
                    </a:r>
                  </a:p>
                </p:txBody>
              </p:sp>
              <p:sp>
                <p:nvSpPr>
                  <p:cNvPr id="472" name="TextBox 471">
                    <a:extLst>
                      <a:ext uri="{FF2B5EF4-FFF2-40B4-BE49-F238E27FC236}">
                        <a16:creationId xmlns:a16="http://schemas.microsoft.com/office/drawing/2014/main" id="{B14F913C-6B23-4AAA-A050-2E1B47C0D8A0}"/>
                      </a:ext>
                    </a:extLst>
                  </p:cNvPr>
                  <p:cNvSpPr txBox="1"/>
                  <p:nvPr/>
                </p:nvSpPr>
                <p:spPr>
                  <a:xfrm>
                    <a:off x="1441411" y="5849910"/>
                    <a:ext cx="275095" cy="213620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5.0%</a:t>
                    </a:r>
                  </a:p>
                </p:txBody>
              </p:sp>
              <p:sp>
                <p:nvSpPr>
                  <p:cNvPr id="473" name="TextBox 472">
                    <a:extLst>
                      <a:ext uri="{FF2B5EF4-FFF2-40B4-BE49-F238E27FC236}">
                        <a16:creationId xmlns:a16="http://schemas.microsoft.com/office/drawing/2014/main" id="{9A7CB0FF-0FD2-4DAE-87BA-10B424CFD4B4}"/>
                      </a:ext>
                    </a:extLst>
                  </p:cNvPr>
                  <p:cNvSpPr txBox="1"/>
                  <p:nvPr/>
                </p:nvSpPr>
                <p:spPr>
                  <a:xfrm>
                    <a:off x="1716306" y="5849957"/>
                    <a:ext cx="275095" cy="2136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7.0%</a:t>
                    </a:r>
                  </a:p>
                </p:txBody>
              </p:sp>
            </p:grpSp>
            <p:grpSp>
              <p:nvGrpSpPr>
                <p:cNvPr id="431" name="Group 430">
                  <a:extLst>
                    <a:ext uri="{FF2B5EF4-FFF2-40B4-BE49-F238E27FC236}">
                      <a16:creationId xmlns:a16="http://schemas.microsoft.com/office/drawing/2014/main" id="{31F98BBF-E62E-4720-B341-C5EAABBEA25A}"/>
                    </a:ext>
                  </a:extLst>
                </p:cNvPr>
                <p:cNvGrpSpPr/>
                <p:nvPr/>
              </p:nvGrpSpPr>
              <p:grpSpPr>
                <a:xfrm>
                  <a:off x="3014761" y="6629056"/>
                  <a:ext cx="1177650" cy="525664"/>
                  <a:chOff x="3014761" y="6629056"/>
                  <a:chExt cx="1177650" cy="525664"/>
                </a:xfrm>
              </p:grpSpPr>
              <p:sp>
                <p:nvSpPr>
                  <p:cNvPr id="466" name="TextBox 465">
                    <a:extLst>
                      <a:ext uri="{FF2B5EF4-FFF2-40B4-BE49-F238E27FC236}">
                        <a16:creationId xmlns:a16="http://schemas.microsoft.com/office/drawing/2014/main" id="{AB05EA59-D442-4010-8F70-972FD00F9859}"/>
                      </a:ext>
                    </a:extLst>
                  </p:cNvPr>
                  <p:cNvSpPr txBox="1"/>
                  <p:nvPr/>
                </p:nvSpPr>
                <p:spPr>
                  <a:xfrm>
                    <a:off x="3014761" y="7097881"/>
                    <a:ext cx="1177650" cy="56839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WESTERN EUROPE*</a:t>
                    </a:r>
                  </a:p>
                </p:txBody>
              </p:sp>
              <p:sp>
                <p:nvSpPr>
                  <p:cNvPr id="467" name="TextBox 466">
                    <a:extLst>
                      <a:ext uri="{FF2B5EF4-FFF2-40B4-BE49-F238E27FC236}">
                        <a16:creationId xmlns:a16="http://schemas.microsoft.com/office/drawing/2014/main" id="{E5C22C21-93AB-4159-96E2-9F016E0B1112}"/>
                      </a:ext>
                    </a:extLst>
                  </p:cNvPr>
                  <p:cNvSpPr txBox="1"/>
                  <p:nvPr/>
                </p:nvSpPr>
                <p:spPr>
                  <a:xfrm>
                    <a:off x="3497248" y="6629056"/>
                    <a:ext cx="515757" cy="25638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1,172</a:t>
                    </a:r>
                  </a:p>
                </p:txBody>
              </p:sp>
              <p:sp>
                <p:nvSpPr>
                  <p:cNvPr id="468" name="TextBox 467">
                    <a:extLst>
                      <a:ext uri="{FF2B5EF4-FFF2-40B4-BE49-F238E27FC236}">
                        <a16:creationId xmlns:a16="http://schemas.microsoft.com/office/drawing/2014/main" id="{B376BB13-4D76-4564-924B-1B1D94688B7C}"/>
                      </a:ext>
                    </a:extLst>
                  </p:cNvPr>
                  <p:cNvSpPr txBox="1"/>
                  <p:nvPr/>
                </p:nvSpPr>
                <p:spPr>
                  <a:xfrm>
                    <a:off x="3501938" y="6886559"/>
                    <a:ext cx="255928" cy="202852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3.0%</a:t>
                    </a:r>
                  </a:p>
                </p:txBody>
              </p:sp>
              <p:sp>
                <p:nvSpPr>
                  <p:cNvPr id="469" name="TextBox 468">
                    <a:extLst>
                      <a:ext uri="{FF2B5EF4-FFF2-40B4-BE49-F238E27FC236}">
                        <a16:creationId xmlns:a16="http://schemas.microsoft.com/office/drawing/2014/main" id="{7C76AD1F-6B0F-4B0E-BDAD-F8E8105C72C0}"/>
                      </a:ext>
                    </a:extLst>
                  </p:cNvPr>
                  <p:cNvSpPr txBox="1"/>
                  <p:nvPr/>
                </p:nvSpPr>
                <p:spPr>
                  <a:xfrm>
                    <a:off x="3757680" y="6886603"/>
                    <a:ext cx="255928" cy="202852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4.0%</a:t>
                    </a:r>
                  </a:p>
                </p:txBody>
              </p:sp>
            </p:grpSp>
            <p:grpSp>
              <p:nvGrpSpPr>
                <p:cNvPr id="432" name="Group 431">
                  <a:extLst>
                    <a:ext uri="{FF2B5EF4-FFF2-40B4-BE49-F238E27FC236}">
                      <a16:creationId xmlns:a16="http://schemas.microsoft.com/office/drawing/2014/main" id="{97956FD1-2924-4461-A939-77F7971659EE}"/>
                    </a:ext>
                  </a:extLst>
                </p:cNvPr>
                <p:cNvGrpSpPr/>
                <p:nvPr/>
              </p:nvGrpSpPr>
              <p:grpSpPr>
                <a:xfrm>
                  <a:off x="4306264" y="5959441"/>
                  <a:ext cx="516360" cy="460399"/>
                  <a:chOff x="4279305" y="6105473"/>
                  <a:chExt cx="516360" cy="460399"/>
                </a:xfrm>
              </p:grpSpPr>
              <p:sp>
                <p:nvSpPr>
                  <p:cNvPr id="463" name="TextBox 462">
                    <a:extLst>
                      <a:ext uri="{FF2B5EF4-FFF2-40B4-BE49-F238E27FC236}">
                        <a16:creationId xmlns:a16="http://schemas.microsoft.com/office/drawing/2014/main" id="{12698F3F-24E4-4010-BECF-CC2341471DEF}"/>
                      </a:ext>
                    </a:extLst>
                  </p:cNvPr>
                  <p:cNvSpPr txBox="1"/>
                  <p:nvPr/>
                </p:nvSpPr>
                <p:spPr>
                  <a:xfrm>
                    <a:off x="4279305" y="6105473"/>
                    <a:ext cx="515757" cy="25638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71</a:t>
                    </a:r>
                  </a:p>
                </p:txBody>
              </p:sp>
              <p:sp>
                <p:nvSpPr>
                  <p:cNvPr id="464" name="TextBox 463">
                    <a:extLst>
                      <a:ext uri="{FF2B5EF4-FFF2-40B4-BE49-F238E27FC236}">
                        <a16:creationId xmlns:a16="http://schemas.microsoft.com/office/drawing/2014/main" id="{A378FB3D-25A5-479C-B953-ECABD6ADE03C}"/>
                      </a:ext>
                    </a:extLst>
                  </p:cNvPr>
                  <p:cNvSpPr txBox="1"/>
                  <p:nvPr/>
                </p:nvSpPr>
                <p:spPr>
                  <a:xfrm>
                    <a:off x="4283995" y="6362976"/>
                    <a:ext cx="255928" cy="202852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2.5%</a:t>
                    </a:r>
                  </a:p>
                </p:txBody>
              </p:sp>
              <p:sp>
                <p:nvSpPr>
                  <p:cNvPr id="465" name="TextBox 464">
                    <a:extLst>
                      <a:ext uri="{FF2B5EF4-FFF2-40B4-BE49-F238E27FC236}">
                        <a16:creationId xmlns:a16="http://schemas.microsoft.com/office/drawing/2014/main" id="{ACF7AA77-6D5F-4CE2-94B3-E2D501CAC23E}"/>
                      </a:ext>
                    </a:extLst>
                  </p:cNvPr>
                  <p:cNvSpPr txBox="1"/>
                  <p:nvPr/>
                </p:nvSpPr>
                <p:spPr>
                  <a:xfrm>
                    <a:off x="4539737" y="6363020"/>
                    <a:ext cx="255928" cy="202852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5.0%</a:t>
                    </a:r>
                  </a:p>
                </p:txBody>
              </p:sp>
            </p:grpSp>
            <p:grpSp>
              <p:nvGrpSpPr>
                <p:cNvPr id="433" name="Group 432">
                  <a:extLst>
                    <a:ext uri="{FF2B5EF4-FFF2-40B4-BE49-F238E27FC236}">
                      <a16:creationId xmlns:a16="http://schemas.microsoft.com/office/drawing/2014/main" id="{55397F60-A5F0-41CA-A148-31D00E301C1A}"/>
                    </a:ext>
                  </a:extLst>
                </p:cNvPr>
                <p:cNvGrpSpPr/>
                <p:nvPr/>
              </p:nvGrpSpPr>
              <p:grpSpPr>
                <a:xfrm>
                  <a:off x="4184812" y="6939224"/>
                  <a:ext cx="865761" cy="816302"/>
                  <a:chOff x="4179738" y="6939534"/>
                  <a:chExt cx="756008" cy="729353"/>
                </a:xfrm>
              </p:grpSpPr>
              <p:sp>
                <p:nvSpPr>
                  <p:cNvPr id="459" name="TextBox 458">
                    <a:extLst>
                      <a:ext uri="{FF2B5EF4-FFF2-40B4-BE49-F238E27FC236}">
                        <a16:creationId xmlns:a16="http://schemas.microsoft.com/office/drawing/2014/main" id="{0B2FDE4B-8E3A-4FF1-B506-2F1588324DBF}"/>
                      </a:ext>
                    </a:extLst>
                  </p:cNvPr>
                  <p:cNvSpPr txBox="1"/>
                  <p:nvPr/>
                </p:nvSpPr>
                <p:spPr>
                  <a:xfrm>
                    <a:off x="4179738" y="6939534"/>
                    <a:ext cx="756008" cy="65886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MIDDLE EAST &amp; ISRAEL</a:t>
                    </a:r>
                  </a:p>
                </p:txBody>
              </p:sp>
              <p:sp>
                <p:nvSpPr>
                  <p:cNvPr id="460" name="TextBox 459">
                    <a:extLst>
                      <a:ext uri="{FF2B5EF4-FFF2-40B4-BE49-F238E27FC236}">
                        <a16:creationId xmlns:a16="http://schemas.microsoft.com/office/drawing/2014/main" id="{089B4B0E-39E2-4DF8-B349-404F07AC2119}"/>
                      </a:ext>
                    </a:extLst>
                  </p:cNvPr>
                  <p:cNvSpPr txBox="1"/>
                  <p:nvPr/>
                </p:nvSpPr>
                <p:spPr>
                  <a:xfrm>
                    <a:off x="4288371" y="7208488"/>
                    <a:ext cx="515757" cy="25638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186</a:t>
                    </a:r>
                  </a:p>
                </p:txBody>
              </p:sp>
              <p:sp>
                <p:nvSpPr>
                  <p:cNvPr id="461" name="TextBox 460">
                    <a:extLst>
                      <a:ext uri="{FF2B5EF4-FFF2-40B4-BE49-F238E27FC236}">
                        <a16:creationId xmlns:a16="http://schemas.microsoft.com/office/drawing/2014/main" id="{7A1BFEC2-DDA5-48E2-9FF3-E38BDA959A00}"/>
                      </a:ext>
                    </a:extLst>
                  </p:cNvPr>
                  <p:cNvSpPr txBox="1"/>
                  <p:nvPr/>
                </p:nvSpPr>
                <p:spPr>
                  <a:xfrm>
                    <a:off x="4293061" y="7465991"/>
                    <a:ext cx="255928" cy="202852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5.0%</a:t>
                    </a:r>
                  </a:p>
                </p:txBody>
              </p:sp>
              <p:sp>
                <p:nvSpPr>
                  <p:cNvPr id="462" name="TextBox 461">
                    <a:extLst>
                      <a:ext uri="{FF2B5EF4-FFF2-40B4-BE49-F238E27FC236}">
                        <a16:creationId xmlns:a16="http://schemas.microsoft.com/office/drawing/2014/main" id="{EDBB5794-CA2D-4B95-8388-51BB278EAAAA}"/>
                      </a:ext>
                    </a:extLst>
                  </p:cNvPr>
                  <p:cNvSpPr txBox="1"/>
                  <p:nvPr/>
                </p:nvSpPr>
                <p:spPr>
                  <a:xfrm>
                    <a:off x="4548803" y="7466035"/>
                    <a:ext cx="255928" cy="202852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12.0%</a:t>
                    </a:r>
                  </a:p>
                </p:txBody>
              </p:sp>
            </p:grpSp>
            <p:grpSp>
              <p:nvGrpSpPr>
                <p:cNvPr id="434" name="Group 433">
                  <a:extLst>
                    <a:ext uri="{FF2B5EF4-FFF2-40B4-BE49-F238E27FC236}">
                      <a16:creationId xmlns:a16="http://schemas.microsoft.com/office/drawing/2014/main" id="{2C257EA7-0F55-4D07-B238-8268B4799496}"/>
                    </a:ext>
                  </a:extLst>
                </p:cNvPr>
                <p:cNvGrpSpPr/>
                <p:nvPr/>
              </p:nvGrpSpPr>
              <p:grpSpPr>
                <a:xfrm>
                  <a:off x="6158333" y="6772229"/>
                  <a:ext cx="830479" cy="621051"/>
                  <a:chOff x="1290918" y="5409557"/>
                  <a:chExt cx="892675" cy="654020"/>
                </a:xfrm>
              </p:grpSpPr>
              <p:sp>
                <p:nvSpPr>
                  <p:cNvPr id="455" name="TextBox 454">
                    <a:extLst>
                      <a:ext uri="{FF2B5EF4-FFF2-40B4-BE49-F238E27FC236}">
                        <a16:creationId xmlns:a16="http://schemas.microsoft.com/office/drawing/2014/main" id="{2F6BCB73-EA26-4347-95E7-E0455F44099C}"/>
                      </a:ext>
                    </a:extLst>
                  </p:cNvPr>
                  <p:cNvSpPr txBox="1"/>
                  <p:nvPr/>
                </p:nvSpPr>
                <p:spPr>
                  <a:xfrm>
                    <a:off x="1290918" y="5409557"/>
                    <a:ext cx="892675" cy="47051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JAPAN</a:t>
                    </a:r>
                  </a:p>
                </p:txBody>
              </p:sp>
              <p:sp>
                <p:nvSpPr>
                  <p:cNvPr id="456" name="TextBox 455">
                    <a:extLst>
                      <a:ext uri="{FF2B5EF4-FFF2-40B4-BE49-F238E27FC236}">
                        <a16:creationId xmlns:a16="http://schemas.microsoft.com/office/drawing/2014/main" id="{30C6EE23-2EBE-4327-A04B-D69B3E4A5167}"/>
                      </a:ext>
                    </a:extLst>
                  </p:cNvPr>
                  <p:cNvSpPr txBox="1"/>
                  <p:nvPr/>
                </p:nvSpPr>
                <p:spPr>
                  <a:xfrm>
                    <a:off x="1436370" y="5578738"/>
                    <a:ext cx="554383" cy="26999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239</a:t>
                    </a:r>
                  </a:p>
                </p:txBody>
              </p:sp>
              <p:sp>
                <p:nvSpPr>
                  <p:cNvPr id="457" name="TextBox 456">
                    <a:extLst>
                      <a:ext uri="{FF2B5EF4-FFF2-40B4-BE49-F238E27FC236}">
                        <a16:creationId xmlns:a16="http://schemas.microsoft.com/office/drawing/2014/main" id="{D0734318-363C-41D0-B98E-90AA1354400C}"/>
                      </a:ext>
                    </a:extLst>
                  </p:cNvPr>
                  <p:cNvSpPr txBox="1"/>
                  <p:nvPr/>
                </p:nvSpPr>
                <p:spPr>
                  <a:xfrm>
                    <a:off x="1441411" y="5849910"/>
                    <a:ext cx="275095" cy="213620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2.6%</a:t>
                    </a:r>
                  </a:p>
                </p:txBody>
              </p:sp>
              <p:sp>
                <p:nvSpPr>
                  <p:cNvPr id="458" name="TextBox 457">
                    <a:extLst>
                      <a:ext uri="{FF2B5EF4-FFF2-40B4-BE49-F238E27FC236}">
                        <a16:creationId xmlns:a16="http://schemas.microsoft.com/office/drawing/2014/main" id="{3A76FEB4-3CA2-4280-899E-EBD7E10AE5AC}"/>
                      </a:ext>
                    </a:extLst>
                  </p:cNvPr>
                  <p:cNvSpPr txBox="1"/>
                  <p:nvPr/>
                </p:nvSpPr>
                <p:spPr>
                  <a:xfrm>
                    <a:off x="1716306" y="5849957"/>
                    <a:ext cx="275095" cy="213620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5.0%</a:t>
                    </a:r>
                  </a:p>
                </p:txBody>
              </p:sp>
            </p:grpSp>
            <p:grpSp>
              <p:nvGrpSpPr>
                <p:cNvPr id="435" name="Group 434">
                  <a:extLst>
                    <a:ext uri="{FF2B5EF4-FFF2-40B4-BE49-F238E27FC236}">
                      <a16:creationId xmlns:a16="http://schemas.microsoft.com/office/drawing/2014/main" id="{8C133E45-EBD3-4594-BE34-8012CBB7DA13}"/>
                    </a:ext>
                  </a:extLst>
                </p:cNvPr>
                <p:cNvGrpSpPr/>
                <p:nvPr/>
              </p:nvGrpSpPr>
              <p:grpSpPr>
                <a:xfrm>
                  <a:off x="5023895" y="7024808"/>
                  <a:ext cx="952391" cy="543294"/>
                  <a:chOff x="5023895" y="7024808"/>
                  <a:chExt cx="830479" cy="532670"/>
                </a:xfrm>
              </p:grpSpPr>
              <p:sp>
                <p:nvSpPr>
                  <p:cNvPr id="451" name="TextBox 450">
                    <a:extLst>
                      <a:ext uri="{FF2B5EF4-FFF2-40B4-BE49-F238E27FC236}">
                        <a16:creationId xmlns:a16="http://schemas.microsoft.com/office/drawing/2014/main" id="{FAA302F2-A42D-44B4-B724-7B6F4247D73C}"/>
                      </a:ext>
                    </a:extLst>
                  </p:cNvPr>
                  <p:cNvSpPr txBox="1"/>
                  <p:nvPr/>
                </p:nvSpPr>
                <p:spPr>
                  <a:xfrm>
                    <a:off x="5023895" y="7512799"/>
                    <a:ext cx="830479" cy="44679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INDIA</a:t>
                    </a:r>
                  </a:p>
                </p:txBody>
              </p:sp>
              <p:sp>
                <p:nvSpPr>
                  <p:cNvPr id="452" name="TextBox 451">
                    <a:extLst>
                      <a:ext uri="{FF2B5EF4-FFF2-40B4-BE49-F238E27FC236}">
                        <a16:creationId xmlns:a16="http://schemas.microsoft.com/office/drawing/2014/main" id="{4F65B068-7D49-475E-A923-72E2783EDEF3}"/>
                      </a:ext>
                    </a:extLst>
                  </p:cNvPr>
                  <p:cNvSpPr txBox="1"/>
                  <p:nvPr/>
                </p:nvSpPr>
                <p:spPr>
                  <a:xfrm>
                    <a:off x="5200159" y="7024808"/>
                    <a:ext cx="515757" cy="25638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102</a:t>
                    </a:r>
                  </a:p>
                </p:txBody>
              </p:sp>
              <p:sp>
                <p:nvSpPr>
                  <p:cNvPr id="453" name="TextBox 452">
                    <a:extLst>
                      <a:ext uri="{FF2B5EF4-FFF2-40B4-BE49-F238E27FC236}">
                        <a16:creationId xmlns:a16="http://schemas.microsoft.com/office/drawing/2014/main" id="{C9549FF3-BFC3-48B4-9B32-20F5F6D9CA65}"/>
                      </a:ext>
                    </a:extLst>
                  </p:cNvPr>
                  <p:cNvSpPr txBox="1"/>
                  <p:nvPr/>
                </p:nvSpPr>
                <p:spPr>
                  <a:xfrm>
                    <a:off x="5204849" y="7282311"/>
                    <a:ext cx="255928" cy="202852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0.3%</a:t>
                    </a:r>
                  </a:p>
                </p:txBody>
              </p:sp>
              <p:sp>
                <p:nvSpPr>
                  <p:cNvPr id="454" name="TextBox 453">
                    <a:extLst>
                      <a:ext uri="{FF2B5EF4-FFF2-40B4-BE49-F238E27FC236}">
                        <a16:creationId xmlns:a16="http://schemas.microsoft.com/office/drawing/2014/main" id="{97C1B577-1C10-4F89-A922-41CB07EA0E4E}"/>
                      </a:ext>
                    </a:extLst>
                  </p:cNvPr>
                  <p:cNvSpPr txBox="1"/>
                  <p:nvPr/>
                </p:nvSpPr>
                <p:spPr>
                  <a:xfrm>
                    <a:off x="5460591" y="7282355"/>
                    <a:ext cx="255928" cy="202852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10.0%</a:t>
                    </a:r>
                  </a:p>
                </p:txBody>
              </p:sp>
            </p:grpSp>
            <p:grpSp>
              <p:nvGrpSpPr>
                <p:cNvPr id="436" name="Group 435">
                  <a:extLst>
                    <a:ext uri="{FF2B5EF4-FFF2-40B4-BE49-F238E27FC236}">
                      <a16:creationId xmlns:a16="http://schemas.microsoft.com/office/drawing/2014/main" id="{00B0F1D4-DA92-49A0-912D-16DB43D6F936}"/>
                    </a:ext>
                  </a:extLst>
                </p:cNvPr>
                <p:cNvGrpSpPr/>
                <p:nvPr/>
              </p:nvGrpSpPr>
              <p:grpSpPr>
                <a:xfrm>
                  <a:off x="5329546" y="6014111"/>
                  <a:ext cx="956805" cy="651305"/>
                  <a:chOff x="5329546" y="6153733"/>
                  <a:chExt cx="830479" cy="511683"/>
                </a:xfrm>
              </p:grpSpPr>
              <p:sp>
                <p:nvSpPr>
                  <p:cNvPr id="447" name="TextBox 446">
                    <a:extLst>
                      <a:ext uri="{FF2B5EF4-FFF2-40B4-BE49-F238E27FC236}">
                        <a16:creationId xmlns:a16="http://schemas.microsoft.com/office/drawing/2014/main" id="{E74B547C-0E4D-483A-B1D9-B92162C7BA27}"/>
                      </a:ext>
                    </a:extLst>
                  </p:cNvPr>
                  <p:cNvSpPr txBox="1"/>
                  <p:nvPr/>
                </p:nvSpPr>
                <p:spPr>
                  <a:xfrm>
                    <a:off x="5329546" y="6620737"/>
                    <a:ext cx="830479" cy="44679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CHINA</a:t>
                    </a:r>
                  </a:p>
                </p:txBody>
              </p:sp>
              <p:sp>
                <p:nvSpPr>
                  <p:cNvPr id="448" name="TextBox 447">
                    <a:extLst>
                      <a:ext uri="{FF2B5EF4-FFF2-40B4-BE49-F238E27FC236}">
                        <a16:creationId xmlns:a16="http://schemas.microsoft.com/office/drawing/2014/main" id="{62D5DEC2-F523-4774-A9B8-E1C9C6A73FD2}"/>
                      </a:ext>
                    </a:extLst>
                  </p:cNvPr>
                  <p:cNvSpPr txBox="1"/>
                  <p:nvPr/>
                </p:nvSpPr>
                <p:spPr>
                  <a:xfrm>
                    <a:off x="5506342" y="6153733"/>
                    <a:ext cx="515757" cy="25638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430</a:t>
                    </a:r>
                  </a:p>
                </p:txBody>
              </p:sp>
              <p:sp>
                <p:nvSpPr>
                  <p:cNvPr id="449" name="TextBox 448">
                    <a:extLst>
                      <a:ext uri="{FF2B5EF4-FFF2-40B4-BE49-F238E27FC236}">
                        <a16:creationId xmlns:a16="http://schemas.microsoft.com/office/drawing/2014/main" id="{DAF7E53C-DEF4-49EB-A813-8918414CB563}"/>
                      </a:ext>
                    </a:extLst>
                  </p:cNvPr>
                  <p:cNvSpPr txBox="1"/>
                  <p:nvPr/>
                </p:nvSpPr>
                <p:spPr>
                  <a:xfrm>
                    <a:off x="5511032" y="6411236"/>
                    <a:ext cx="255928" cy="202852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2.5%</a:t>
                    </a:r>
                  </a:p>
                </p:txBody>
              </p:sp>
              <p:sp>
                <p:nvSpPr>
                  <p:cNvPr id="450" name="TextBox 449">
                    <a:extLst>
                      <a:ext uri="{FF2B5EF4-FFF2-40B4-BE49-F238E27FC236}">
                        <a16:creationId xmlns:a16="http://schemas.microsoft.com/office/drawing/2014/main" id="{62DDB732-F9C7-4AD7-BBCC-693C40375352}"/>
                      </a:ext>
                    </a:extLst>
                  </p:cNvPr>
                  <p:cNvSpPr txBox="1"/>
                  <p:nvPr/>
                </p:nvSpPr>
                <p:spPr>
                  <a:xfrm>
                    <a:off x="5766774" y="6411280"/>
                    <a:ext cx="255928" cy="202852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20.0%</a:t>
                    </a:r>
                  </a:p>
                </p:txBody>
              </p:sp>
            </p:grpSp>
            <p:grpSp>
              <p:nvGrpSpPr>
                <p:cNvPr id="437" name="Group 436">
                  <a:extLst>
                    <a:ext uri="{FF2B5EF4-FFF2-40B4-BE49-F238E27FC236}">
                      <a16:creationId xmlns:a16="http://schemas.microsoft.com/office/drawing/2014/main" id="{95B1E0A5-BCB3-4467-B31D-1C79541830A7}"/>
                    </a:ext>
                  </a:extLst>
                </p:cNvPr>
                <p:cNvGrpSpPr/>
                <p:nvPr/>
              </p:nvGrpSpPr>
              <p:grpSpPr>
                <a:xfrm>
                  <a:off x="6340459" y="6027102"/>
                  <a:ext cx="952391" cy="543294"/>
                  <a:chOff x="5023895" y="7024808"/>
                  <a:chExt cx="830479" cy="532670"/>
                </a:xfrm>
              </p:grpSpPr>
              <p:sp>
                <p:nvSpPr>
                  <p:cNvPr id="443" name="TextBox 442">
                    <a:extLst>
                      <a:ext uri="{FF2B5EF4-FFF2-40B4-BE49-F238E27FC236}">
                        <a16:creationId xmlns:a16="http://schemas.microsoft.com/office/drawing/2014/main" id="{E3EBF29F-0E4A-461D-B770-DB6AAC9D5366}"/>
                      </a:ext>
                    </a:extLst>
                  </p:cNvPr>
                  <p:cNvSpPr txBox="1"/>
                  <p:nvPr/>
                </p:nvSpPr>
                <p:spPr>
                  <a:xfrm>
                    <a:off x="5023895" y="7512799"/>
                    <a:ext cx="830479" cy="44679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SOUTH</a:t>
                    </a:r>
                    <a:r>
                      <a:rPr lang="en-GB" sz="900" b="1" dirty="0">
                        <a:solidFill>
                          <a:schemeClr val="tx1"/>
                        </a:solidFill>
                      </a:rPr>
                      <a:t> KOREA</a:t>
                    </a:r>
                  </a:p>
                </p:txBody>
              </p:sp>
              <p:sp>
                <p:nvSpPr>
                  <p:cNvPr id="444" name="TextBox 443">
                    <a:extLst>
                      <a:ext uri="{FF2B5EF4-FFF2-40B4-BE49-F238E27FC236}">
                        <a16:creationId xmlns:a16="http://schemas.microsoft.com/office/drawing/2014/main" id="{E1AE12AA-434E-4F92-BCB3-D87930C88DA7}"/>
                      </a:ext>
                    </a:extLst>
                  </p:cNvPr>
                  <p:cNvSpPr txBox="1"/>
                  <p:nvPr/>
                </p:nvSpPr>
                <p:spPr>
                  <a:xfrm>
                    <a:off x="5200159" y="7024808"/>
                    <a:ext cx="515757" cy="25638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132</a:t>
                    </a:r>
                  </a:p>
                </p:txBody>
              </p:sp>
              <p:sp>
                <p:nvSpPr>
                  <p:cNvPr id="445" name="TextBox 444">
                    <a:extLst>
                      <a:ext uri="{FF2B5EF4-FFF2-40B4-BE49-F238E27FC236}">
                        <a16:creationId xmlns:a16="http://schemas.microsoft.com/office/drawing/2014/main" id="{CA6881CD-583B-4648-B8E2-B413042A846C}"/>
                      </a:ext>
                    </a:extLst>
                  </p:cNvPr>
                  <p:cNvSpPr txBox="1"/>
                  <p:nvPr/>
                </p:nvSpPr>
                <p:spPr>
                  <a:xfrm>
                    <a:off x="5204849" y="7282311"/>
                    <a:ext cx="255928" cy="202852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4.0%</a:t>
                    </a:r>
                  </a:p>
                </p:txBody>
              </p:sp>
              <p:sp>
                <p:nvSpPr>
                  <p:cNvPr id="446" name="TextBox 445">
                    <a:extLst>
                      <a:ext uri="{FF2B5EF4-FFF2-40B4-BE49-F238E27FC236}">
                        <a16:creationId xmlns:a16="http://schemas.microsoft.com/office/drawing/2014/main" id="{28141E83-246E-44A2-934D-A34951BA13C7}"/>
                      </a:ext>
                    </a:extLst>
                  </p:cNvPr>
                  <p:cNvSpPr txBox="1"/>
                  <p:nvPr/>
                </p:nvSpPr>
                <p:spPr>
                  <a:xfrm>
                    <a:off x="5460591" y="7282355"/>
                    <a:ext cx="255928" cy="202852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2.0%</a:t>
                    </a:r>
                  </a:p>
                </p:txBody>
              </p:sp>
            </p:grpSp>
            <p:grpSp>
              <p:nvGrpSpPr>
                <p:cNvPr id="438" name="Group 437">
                  <a:extLst>
                    <a:ext uri="{FF2B5EF4-FFF2-40B4-BE49-F238E27FC236}">
                      <a16:creationId xmlns:a16="http://schemas.microsoft.com/office/drawing/2014/main" id="{F15E6623-C985-45A4-BE23-DEA9DE4D26A9}"/>
                    </a:ext>
                  </a:extLst>
                </p:cNvPr>
                <p:cNvGrpSpPr/>
                <p:nvPr/>
              </p:nvGrpSpPr>
              <p:grpSpPr>
                <a:xfrm>
                  <a:off x="5765449" y="7572902"/>
                  <a:ext cx="952391" cy="499308"/>
                  <a:chOff x="5023895" y="7024804"/>
                  <a:chExt cx="830479" cy="489542"/>
                </a:xfrm>
              </p:grpSpPr>
              <p:sp>
                <p:nvSpPr>
                  <p:cNvPr id="439" name="TextBox 438">
                    <a:extLst>
                      <a:ext uri="{FF2B5EF4-FFF2-40B4-BE49-F238E27FC236}">
                        <a16:creationId xmlns:a16="http://schemas.microsoft.com/office/drawing/2014/main" id="{2C472197-216E-420E-BAFD-3CF43A0851FE}"/>
                      </a:ext>
                    </a:extLst>
                  </p:cNvPr>
                  <p:cNvSpPr txBox="1"/>
                  <p:nvPr/>
                </p:nvSpPr>
                <p:spPr>
                  <a:xfrm>
                    <a:off x="5023895" y="7458619"/>
                    <a:ext cx="830479" cy="5572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tx1"/>
                        </a:solidFill>
                      </a:rPr>
                      <a:t>SINGAPORE</a:t>
                    </a:r>
                  </a:p>
                </p:txBody>
              </p:sp>
              <p:sp>
                <p:nvSpPr>
                  <p:cNvPr id="440" name="TextBox 439">
                    <a:extLst>
                      <a:ext uri="{FF2B5EF4-FFF2-40B4-BE49-F238E27FC236}">
                        <a16:creationId xmlns:a16="http://schemas.microsoft.com/office/drawing/2014/main" id="{70CFB232-C715-4A9A-81F8-6DE129C10369}"/>
                      </a:ext>
                    </a:extLst>
                  </p:cNvPr>
                  <p:cNvSpPr txBox="1"/>
                  <p:nvPr/>
                </p:nvSpPr>
                <p:spPr>
                  <a:xfrm>
                    <a:off x="5200160" y="7024804"/>
                    <a:ext cx="515757" cy="256381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1100" b="1" dirty="0">
                        <a:solidFill>
                          <a:schemeClr val="bg1"/>
                        </a:solidFill>
                      </a:rPr>
                      <a:t>87</a:t>
                    </a:r>
                  </a:p>
                </p:txBody>
              </p:sp>
              <p:sp>
                <p:nvSpPr>
                  <p:cNvPr id="441" name="TextBox 440">
                    <a:extLst>
                      <a:ext uri="{FF2B5EF4-FFF2-40B4-BE49-F238E27FC236}">
                        <a16:creationId xmlns:a16="http://schemas.microsoft.com/office/drawing/2014/main" id="{066545F6-733B-4933-818F-07102C1AFB6D}"/>
                      </a:ext>
                    </a:extLst>
                  </p:cNvPr>
                  <p:cNvSpPr txBox="1"/>
                  <p:nvPr/>
                </p:nvSpPr>
                <p:spPr>
                  <a:xfrm>
                    <a:off x="5204849" y="7282311"/>
                    <a:ext cx="255928" cy="202852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11.0%</a:t>
                    </a:r>
                  </a:p>
                </p:txBody>
              </p:sp>
              <p:sp>
                <p:nvSpPr>
                  <p:cNvPr id="442" name="TextBox 441">
                    <a:extLst>
                      <a:ext uri="{FF2B5EF4-FFF2-40B4-BE49-F238E27FC236}">
                        <a16:creationId xmlns:a16="http://schemas.microsoft.com/office/drawing/2014/main" id="{A5164694-E5CD-4F21-A7C2-90C25A818848}"/>
                      </a:ext>
                    </a:extLst>
                  </p:cNvPr>
                  <p:cNvSpPr txBox="1"/>
                  <p:nvPr/>
                </p:nvSpPr>
                <p:spPr>
                  <a:xfrm>
                    <a:off x="5460591" y="7282355"/>
                    <a:ext cx="255928" cy="202852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GB" sz="800" b="1" dirty="0">
                        <a:solidFill>
                          <a:schemeClr val="bg1"/>
                        </a:solidFill>
                      </a:rPr>
                      <a:t>17.5%</a:t>
                    </a:r>
                  </a:p>
                </p:txBody>
              </p:sp>
            </p:grpSp>
          </p:grpSp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A48DDE5-E422-435A-B138-419A627BBFAD}"/>
                </a:ext>
              </a:extLst>
            </p:cNvPr>
            <p:cNvSpPr/>
            <p:nvPr/>
          </p:nvSpPr>
          <p:spPr>
            <a:xfrm>
              <a:off x="5583123" y="4644524"/>
              <a:ext cx="98628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800" b="1" dirty="0">
                  <a:solidFill>
                    <a:schemeClr val="tx1"/>
                  </a:solidFill>
                </a:rPr>
                <a:t>CENTRAL &amp; EASTERN EUROPE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87B132B-0F57-49A8-A8C0-E58A0B9434DE}"/>
                </a:ext>
              </a:extLst>
            </p:cNvPr>
            <p:cNvCxnSpPr>
              <a:cxnSpLocks/>
            </p:cNvCxnSpPr>
            <p:nvPr/>
          </p:nvCxnSpPr>
          <p:spPr>
            <a:xfrm>
              <a:off x="4316852" y="3522006"/>
              <a:ext cx="889240" cy="8644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0" name="Straight Connector 559">
              <a:extLst>
                <a:ext uri="{FF2B5EF4-FFF2-40B4-BE49-F238E27FC236}">
                  <a16:creationId xmlns:a16="http://schemas.microsoft.com/office/drawing/2014/main" id="{7FD630C7-F071-4EE7-8007-0CA0291B74D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86597" y="3521667"/>
              <a:ext cx="5834" cy="1348028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1" name="Straight Connector 560">
              <a:extLst>
                <a:ext uri="{FF2B5EF4-FFF2-40B4-BE49-F238E27FC236}">
                  <a16:creationId xmlns:a16="http://schemas.microsoft.com/office/drawing/2014/main" id="{125E6C8A-C062-4E68-BC57-F4A10E76BD4B}"/>
                </a:ext>
              </a:extLst>
            </p:cNvPr>
            <p:cNvCxnSpPr>
              <a:cxnSpLocks/>
            </p:cNvCxnSpPr>
            <p:nvPr/>
          </p:nvCxnSpPr>
          <p:spPr>
            <a:xfrm>
              <a:off x="4173890" y="6262335"/>
              <a:ext cx="495" cy="409159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3" name="Straight Connector 562">
              <a:extLst>
                <a:ext uri="{FF2B5EF4-FFF2-40B4-BE49-F238E27FC236}">
                  <a16:creationId xmlns:a16="http://schemas.microsoft.com/office/drawing/2014/main" id="{3937D42F-A73C-4F8E-9EB4-152103D2BBD1}"/>
                </a:ext>
              </a:extLst>
            </p:cNvPr>
            <p:cNvCxnSpPr>
              <a:cxnSpLocks/>
            </p:cNvCxnSpPr>
            <p:nvPr/>
          </p:nvCxnSpPr>
          <p:spPr>
            <a:xfrm>
              <a:off x="4169384" y="6671495"/>
              <a:ext cx="430500" cy="5035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4" name="Straight Connector 563">
              <a:extLst>
                <a:ext uri="{FF2B5EF4-FFF2-40B4-BE49-F238E27FC236}">
                  <a16:creationId xmlns:a16="http://schemas.microsoft.com/office/drawing/2014/main" id="{1E6185C3-F6A8-490F-9241-A059291131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43000" y="4631603"/>
              <a:ext cx="551660" cy="4372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>
              <a:extLst>
                <a:ext uri="{FF2B5EF4-FFF2-40B4-BE49-F238E27FC236}">
                  <a16:creationId xmlns:a16="http://schemas.microsoft.com/office/drawing/2014/main" id="{7A185B53-16D6-48E8-BFE3-CACC86C2C55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81482" y="4563203"/>
              <a:ext cx="1554" cy="179458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>
              <a:extLst>
                <a:ext uri="{FF2B5EF4-FFF2-40B4-BE49-F238E27FC236}">
                  <a16:creationId xmlns:a16="http://schemas.microsoft.com/office/drawing/2014/main" id="{2BB98BD3-2A47-4A32-AD67-667526047C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63428" y="6737213"/>
              <a:ext cx="2392632" cy="5478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6946D402-77C7-4747-B532-3C5292FD0B7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64474" y="6683723"/>
              <a:ext cx="0" cy="58968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3" name="Straight Connector 592">
              <a:extLst>
                <a:ext uri="{FF2B5EF4-FFF2-40B4-BE49-F238E27FC236}">
                  <a16:creationId xmlns:a16="http://schemas.microsoft.com/office/drawing/2014/main" id="{BC0C690E-22FC-4833-BE34-764C65BF1426}"/>
                </a:ext>
              </a:extLst>
            </p:cNvPr>
            <p:cNvCxnSpPr>
              <a:cxnSpLocks/>
            </p:cNvCxnSpPr>
            <p:nvPr/>
          </p:nvCxnSpPr>
          <p:spPr>
            <a:xfrm>
              <a:off x="7773193" y="5843067"/>
              <a:ext cx="657965" cy="960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4" name="Straight Connector 593">
              <a:extLst>
                <a:ext uri="{FF2B5EF4-FFF2-40B4-BE49-F238E27FC236}">
                  <a16:creationId xmlns:a16="http://schemas.microsoft.com/office/drawing/2014/main" id="{46A4F8ED-8F8E-4740-A535-93A58B3C6BF7}"/>
                </a:ext>
              </a:extLst>
            </p:cNvPr>
            <p:cNvCxnSpPr>
              <a:cxnSpLocks/>
            </p:cNvCxnSpPr>
            <p:nvPr/>
          </p:nvCxnSpPr>
          <p:spPr>
            <a:xfrm>
              <a:off x="8420679" y="4170306"/>
              <a:ext cx="495" cy="1665714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7" name="Straight Connector 866">
              <a:extLst>
                <a:ext uri="{FF2B5EF4-FFF2-40B4-BE49-F238E27FC236}">
                  <a16:creationId xmlns:a16="http://schemas.microsoft.com/office/drawing/2014/main" id="{794A2DD2-0014-4D89-B42C-6C100CD8F27A}"/>
                </a:ext>
              </a:extLst>
            </p:cNvPr>
            <p:cNvCxnSpPr>
              <a:cxnSpLocks/>
              <a:stCxn id="444" idx="3"/>
            </p:cNvCxnSpPr>
            <p:nvPr/>
          </p:nvCxnSpPr>
          <p:spPr>
            <a:xfrm>
              <a:off x="8300078" y="4494511"/>
              <a:ext cx="136662" cy="2540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2" name="Straight Connector 871">
              <a:extLst>
                <a:ext uri="{FF2B5EF4-FFF2-40B4-BE49-F238E27FC236}">
                  <a16:creationId xmlns:a16="http://schemas.microsoft.com/office/drawing/2014/main" id="{D46E0E33-635A-4AD9-99C7-D7D1FAFDD786}"/>
                </a:ext>
              </a:extLst>
            </p:cNvPr>
            <p:cNvCxnSpPr>
              <a:cxnSpLocks/>
            </p:cNvCxnSpPr>
            <p:nvPr/>
          </p:nvCxnSpPr>
          <p:spPr>
            <a:xfrm>
              <a:off x="8004936" y="5310357"/>
              <a:ext cx="416238" cy="1734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4" name="Straight Connector 873">
              <a:extLst>
                <a:ext uri="{FF2B5EF4-FFF2-40B4-BE49-F238E27FC236}">
                  <a16:creationId xmlns:a16="http://schemas.microsoft.com/office/drawing/2014/main" id="{3A31762D-C388-460B-8C4D-AA77FF8EAA40}"/>
                </a:ext>
              </a:extLst>
            </p:cNvPr>
            <p:cNvCxnSpPr>
              <a:cxnSpLocks/>
              <a:stCxn id="452" idx="3"/>
            </p:cNvCxnSpPr>
            <p:nvPr/>
          </p:nvCxnSpPr>
          <p:spPr>
            <a:xfrm>
              <a:off x="7132294" y="5297030"/>
              <a:ext cx="411762" cy="6174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2" name="Straight Connector 881">
              <a:extLst>
                <a:ext uri="{FF2B5EF4-FFF2-40B4-BE49-F238E27FC236}">
                  <a16:creationId xmlns:a16="http://schemas.microsoft.com/office/drawing/2014/main" id="{6FEC9F87-142A-452F-AEBC-6F38C8CE00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45424" y="3806809"/>
              <a:ext cx="4482" cy="578487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7" name="Straight Connector 886">
              <a:extLst>
                <a:ext uri="{FF2B5EF4-FFF2-40B4-BE49-F238E27FC236}">
                  <a16:creationId xmlns:a16="http://schemas.microsoft.com/office/drawing/2014/main" id="{71B8A62A-4E38-4086-A816-B5C8C18952B0}"/>
                </a:ext>
              </a:extLst>
            </p:cNvPr>
            <p:cNvCxnSpPr>
              <a:cxnSpLocks/>
              <a:stCxn id="507" idx="1"/>
            </p:cNvCxnSpPr>
            <p:nvPr/>
          </p:nvCxnSpPr>
          <p:spPr>
            <a:xfrm flipH="1">
              <a:off x="7141162" y="3808684"/>
              <a:ext cx="787973" cy="0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0" name="Straight Connector 889">
              <a:extLst>
                <a:ext uri="{FF2B5EF4-FFF2-40B4-BE49-F238E27FC236}">
                  <a16:creationId xmlns:a16="http://schemas.microsoft.com/office/drawing/2014/main" id="{2E36A2B7-AF3D-4CF4-9260-3AC6F06DFB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96912" y="3873887"/>
              <a:ext cx="551660" cy="4372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1" name="Straight Connector 890">
              <a:extLst>
                <a:ext uri="{FF2B5EF4-FFF2-40B4-BE49-F238E27FC236}">
                  <a16:creationId xmlns:a16="http://schemas.microsoft.com/office/drawing/2014/main" id="{2132CA1A-D500-4169-B98A-BD9950284E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53451" y="4414622"/>
              <a:ext cx="852833" cy="13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9" name="Straight Connector 898">
              <a:extLst>
                <a:ext uri="{FF2B5EF4-FFF2-40B4-BE49-F238E27FC236}">
                  <a16:creationId xmlns:a16="http://schemas.microsoft.com/office/drawing/2014/main" id="{4E79AB33-2F3B-4827-B70F-FD6374994182}"/>
                </a:ext>
              </a:extLst>
            </p:cNvPr>
            <p:cNvCxnSpPr>
              <a:cxnSpLocks/>
            </p:cNvCxnSpPr>
            <p:nvPr/>
          </p:nvCxnSpPr>
          <p:spPr>
            <a:xfrm>
              <a:off x="6069737" y="5779625"/>
              <a:ext cx="998" cy="958535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2" name="Straight Connector 901">
              <a:extLst>
                <a:ext uri="{FF2B5EF4-FFF2-40B4-BE49-F238E27FC236}">
                  <a16:creationId xmlns:a16="http://schemas.microsoft.com/office/drawing/2014/main" id="{5B0FB7B7-9397-45BC-945F-E99A8873D7E4}"/>
                </a:ext>
              </a:extLst>
            </p:cNvPr>
            <p:cNvCxnSpPr>
              <a:cxnSpLocks/>
              <a:endCxn id="247" idx="50"/>
            </p:cNvCxnSpPr>
            <p:nvPr/>
          </p:nvCxnSpPr>
          <p:spPr>
            <a:xfrm>
              <a:off x="5676152" y="6508792"/>
              <a:ext cx="7327" cy="249719"/>
            </a:xfrm>
            <a:prstGeom prst="line">
              <a:avLst/>
            </a:prstGeom>
            <a:ln w="12700">
              <a:solidFill>
                <a:srgbClr val="325C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6">
            <a:extLst>
              <a:ext uri="{FF2B5EF4-FFF2-40B4-BE49-F238E27FC236}">
                <a16:creationId xmlns:a16="http://schemas.microsoft.com/office/drawing/2014/main" id="{885789C8-9DF3-442B-A39C-757D9EAD2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vestors</a:t>
            </a:r>
          </a:p>
        </p:txBody>
      </p:sp>
    </p:spTree>
    <p:extLst>
      <p:ext uri="{BB962C8B-B14F-4D97-AF65-F5344CB8AC3E}">
        <p14:creationId xmlns:p14="http://schemas.microsoft.com/office/powerpoint/2010/main" val="28295754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2003159-18CF-4574-87A0-EA3AEA2B0F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922370"/>
              </p:ext>
            </p:extLst>
          </p:nvPr>
        </p:nvGraphicFramePr>
        <p:xfrm>
          <a:off x="630699" y="2016125"/>
          <a:ext cx="5566803" cy="4739679"/>
        </p:xfrm>
        <a:graphic>
          <a:graphicData uri="http://schemas.openxmlformats.org/drawingml/2006/table">
            <a:tbl>
              <a:tblPr firstRow="1" bandRow="1">
                <a:tableStyleId>{83533F8C-D18B-4762-8919-670824F8919E}</a:tableStyleId>
              </a:tblPr>
              <a:tblGrid>
                <a:gridCol w="753760">
                  <a:extLst>
                    <a:ext uri="{9D8B030D-6E8A-4147-A177-3AD203B41FA5}">
                      <a16:colId xmlns:a16="http://schemas.microsoft.com/office/drawing/2014/main" val="308647880"/>
                    </a:ext>
                  </a:extLst>
                </a:gridCol>
                <a:gridCol w="4813043">
                  <a:extLst>
                    <a:ext uri="{9D8B030D-6E8A-4147-A177-3AD203B41FA5}">
                      <a16:colId xmlns:a16="http://schemas.microsoft.com/office/drawing/2014/main" val="200452323"/>
                    </a:ext>
                  </a:extLst>
                </a:gridCol>
              </a:tblGrid>
              <a:tr h="677097">
                <a:tc>
                  <a:txBody>
                    <a:bodyPr/>
                    <a:lstStyle/>
                    <a:p>
                      <a:endParaRPr lang="en-GB" sz="2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  <a:tabLst>
                          <a:tab pos="536575" algn="l"/>
                        </a:tabLst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</a:rPr>
                        <a:t>What is private equity?</a:t>
                      </a: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9447620"/>
                  </a:ext>
                </a:extLst>
              </a:tr>
              <a:tr h="677097">
                <a:tc>
                  <a:txBody>
                    <a:bodyPr/>
                    <a:lstStyle/>
                    <a:p>
                      <a:endParaRPr lang="en-GB" sz="2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  <a:tabLst>
                          <a:tab pos="536575" algn="l"/>
                        </a:tabLst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</a:rPr>
                        <a:t>The geography of private equity</a:t>
                      </a: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4500118"/>
                  </a:ext>
                </a:extLst>
              </a:tr>
              <a:tr h="677097">
                <a:tc>
                  <a:txBody>
                    <a:bodyPr/>
                    <a:lstStyle/>
                    <a:p>
                      <a:endParaRPr lang="en-GB" sz="2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  <a:tabLst>
                          <a:tab pos="536575" algn="l"/>
                        </a:tabLst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</a:rPr>
                        <a:t>The importance of private equity</a:t>
                      </a: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4002436"/>
                  </a:ext>
                </a:extLst>
              </a:tr>
              <a:tr h="677097">
                <a:tc>
                  <a:txBody>
                    <a:bodyPr/>
                    <a:lstStyle/>
                    <a:p>
                      <a:endParaRPr lang="en-GB" sz="2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  <a:tabLst>
                          <a:tab pos="536575" algn="l"/>
                        </a:tabLst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</a:rPr>
                        <a:t>The success of private equity – and why</a:t>
                      </a: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6161614"/>
                  </a:ext>
                </a:extLst>
              </a:tr>
              <a:tr h="677097">
                <a:tc>
                  <a:txBody>
                    <a:bodyPr/>
                    <a:lstStyle/>
                    <a:p>
                      <a:endParaRPr lang="en-GB" sz="2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>
                          <a:tab pos="536575" algn="l"/>
                        </a:tabLst>
                        <a:defRPr/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</a:rPr>
                        <a:t>How private equity works – at the fund level</a:t>
                      </a: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4185096"/>
                  </a:ext>
                </a:extLst>
              </a:tr>
              <a:tr h="677097">
                <a:tc>
                  <a:txBody>
                    <a:bodyPr/>
                    <a:lstStyle/>
                    <a:p>
                      <a:endParaRPr lang="en-GB" sz="2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>
                          <a:tab pos="536575" algn="l"/>
                        </a:tabLst>
                        <a:defRPr/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</a:rPr>
                        <a:t>How private equity works – at the deal level</a:t>
                      </a: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777858"/>
                  </a:ext>
                </a:extLst>
              </a:tr>
              <a:tr h="677097">
                <a:tc>
                  <a:txBody>
                    <a:bodyPr/>
                    <a:lstStyle/>
                    <a:p>
                      <a:endParaRPr lang="en-GB" sz="2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>
                          <a:tab pos="536575" algn="l"/>
                        </a:tabLst>
                        <a:defRPr/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</a:rPr>
                        <a:t>Current trends and final thoughts</a:t>
                      </a:r>
                    </a:p>
                  </a:txBody>
                  <a:tcPr anchor="ctr">
                    <a:lnL w="0" cmpd="sng">
                      <a:noFill/>
                    </a:lnL>
                    <a:lnR w="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998642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F84C5F3-0AD7-4C8F-BF4F-6251B2F0C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s</a:t>
            </a: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03E5D90B-4C84-4F6A-9BA6-C60339C9B07E}"/>
              </a:ext>
            </a:extLst>
          </p:cNvPr>
          <p:cNvSpPr/>
          <p:nvPr/>
        </p:nvSpPr>
        <p:spPr>
          <a:xfrm>
            <a:off x="631220" y="2049348"/>
            <a:ext cx="540000" cy="540000"/>
          </a:xfrm>
          <a:prstGeom prst="donu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 err="1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97CF9A94-DC77-4F15-93D0-88CA6641F190}"/>
              </a:ext>
            </a:extLst>
          </p:cNvPr>
          <p:cNvSpPr/>
          <p:nvPr/>
        </p:nvSpPr>
        <p:spPr>
          <a:xfrm>
            <a:off x="631220" y="6156895"/>
            <a:ext cx="540000" cy="540000"/>
          </a:xfrm>
          <a:prstGeom prst="donu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 err="1">
              <a:solidFill>
                <a:schemeClr val="tx1"/>
              </a:solidFill>
            </a:endParaRPr>
          </a:p>
        </p:txBody>
      </p:sp>
      <p:sp>
        <p:nvSpPr>
          <p:cNvPr id="13" name="Circle: Hollow 12">
            <a:extLst>
              <a:ext uri="{FF2B5EF4-FFF2-40B4-BE49-F238E27FC236}">
                <a16:creationId xmlns:a16="http://schemas.microsoft.com/office/drawing/2014/main" id="{9507B654-2450-4843-A26F-B83D6E1F5666}"/>
              </a:ext>
            </a:extLst>
          </p:cNvPr>
          <p:cNvSpPr/>
          <p:nvPr/>
        </p:nvSpPr>
        <p:spPr>
          <a:xfrm>
            <a:off x="631220" y="2733939"/>
            <a:ext cx="540000" cy="540000"/>
          </a:xfrm>
          <a:prstGeom prst="donu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 err="1">
              <a:solidFill>
                <a:schemeClr val="tx1"/>
              </a:solidFill>
            </a:endParaRPr>
          </a:p>
        </p:txBody>
      </p:sp>
      <p:sp>
        <p:nvSpPr>
          <p:cNvPr id="14" name="Circle: Hollow 13">
            <a:extLst>
              <a:ext uri="{FF2B5EF4-FFF2-40B4-BE49-F238E27FC236}">
                <a16:creationId xmlns:a16="http://schemas.microsoft.com/office/drawing/2014/main" id="{B4FD97A1-B469-4C66-B710-D21275CB4839}"/>
              </a:ext>
            </a:extLst>
          </p:cNvPr>
          <p:cNvSpPr/>
          <p:nvPr/>
        </p:nvSpPr>
        <p:spPr>
          <a:xfrm>
            <a:off x="631220" y="3418530"/>
            <a:ext cx="540000" cy="540000"/>
          </a:xfrm>
          <a:prstGeom prst="donu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 err="1">
              <a:solidFill>
                <a:schemeClr val="tx1"/>
              </a:solidFill>
            </a:endParaRPr>
          </a:p>
        </p:txBody>
      </p:sp>
      <p:sp>
        <p:nvSpPr>
          <p:cNvPr id="15" name="Circle: Hollow 14">
            <a:extLst>
              <a:ext uri="{FF2B5EF4-FFF2-40B4-BE49-F238E27FC236}">
                <a16:creationId xmlns:a16="http://schemas.microsoft.com/office/drawing/2014/main" id="{D1FFE246-1E8F-49E2-9D19-A3B7081D39B3}"/>
              </a:ext>
            </a:extLst>
          </p:cNvPr>
          <p:cNvSpPr/>
          <p:nvPr/>
        </p:nvSpPr>
        <p:spPr>
          <a:xfrm>
            <a:off x="631220" y="4103121"/>
            <a:ext cx="540000" cy="540000"/>
          </a:xfrm>
          <a:prstGeom prst="donu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 err="1">
              <a:solidFill>
                <a:schemeClr val="tx1"/>
              </a:solidFill>
            </a:endParaRPr>
          </a:p>
        </p:txBody>
      </p:sp>
      <p:sp>
        <p:nvSpPr>
          <p:cNvPr id="16" name="Circle: Hollow 15">
            <a:extLst>
              <a:ext uri="{FF2B5EF4-FFF2-40B4-BE49-F238E27FC236}">
                <a16:creationId xmlns:a16="http://schemas.microsoft.com/office/drawing/2014/main" id="{690D92FB-8E27-4C9B-881F-150D1A4F8CAC}"/>
              </a:ext>
            </a:extLst>
          </p:cNvPr>
          <p:cNvSpPr/>
          <p:nvPr/>
        </p:nvSpPr>
        <p:spPr>
          <a:xfrm>
            <a:off x="631220" y="4787712"/>
            <a:ext cx="540000" cy="540000"/>
          </a:xfrm>
          <a:prstGeom prst="donu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 err="1">
              <a:solidFill>
                <a:schemeClr val="tx1"/>
              </a:solidFill>
            </a:endParaRPr>
          </a:p>
        </p:txBody>
      </p:sp>
      <p:sp>
        <p:nvSpPr>
          <p:cNvPr id="17" name="Circle: Hollow 16">
            <a:extLst>
              <a:ext uri="{FF2B5EF4-FFF2-40B4-BE49-F238E27FC236}">
                <a16:creationId xmlns:a16="http://schemas.microsoft.com/office/drawing/2014/main" id="{4A333AD2-803E-4877-B306-9B03E550C546}"/>
              </a:ext>
            </a:extLst>
          </p:cNvPr>
          <p:cNvSpPr/>
          <p:nvPr/>
        </p:nvSpPr>
        <p:spPr>
          <a:xfrm>
            <a:off x="631220" y="5472303"/>
            <a:ext cx="540000" cy="540000"/>
          </a:xfrm>
          <a:prstGeom prst="donu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3182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Freeform 2">
            <a:extLst>
              <a:ext uri="{FF2B5EF4-FFF2-40B4-BE49-F238E27FC236}">
                <a16:creationId xmlns:a16="http://schemas.microsoft.com/office/drawing/2014/main" id="{1D5C3433-2541-46CC-AB99-E6626218A240}"/>
              </a:ext>
            </a:extLst>
          </p:cNvPr>
          <p:cNvSpPr/>
          <p:nvPr/>
        </p:nvSpPr>
        <p:spPr bwMode="auto">
          <a:xfrm>
            <a:off x="1705567" y="2703866"/>
            <a:ext cx="7112977" cy="3309013"/>
          </a:xfrm>
          <a:custGeom>
            <a:avLst/>
            <a:gdLst>
              <a:gd name="connsiteX0" fmla="*/ 3033346 w 7112977"/>
              <a:gd name="connsiteY0" fmla="*/ 17585 h 4290646"/>
              <a:gd name="connsiteX1" fmla="*/ 3033346 w 7112977"/>
              <a:gd name="connsiteY1" fmla="*/ 483577 h 4290646"/>
              <a:gd name="connsiteX2" fmla="*/ 0 w 7112977"/>
              <a:gd name="connsiteY2" fmla="*/ 580292 h 4290646"/>
              <a:gd name="connsiteX3" fmla="*/ 0 w 7112977"/>
              <a:gd name="connsiteY3" fmla="*/ 4290646 h 4290646"/>
              <a:gd name="connsiteX4" fmla="*/ 6453554 w 7112977"/>
              <a:gd name="connsiteY4" fmla="*/ 4290646 h 4290646"/>
              <a:gd name="connsiteX5" fmla="*/ 6453554 w 7112977"/>
              <a:gd name="connsiteY5" fmla="*/ 536331 h 4290646"/>
              <a:gd name="connsiteX6" fmla="*/ 7112977 w 7112977"/>
              <a:gd name="connsiteY6" fmla="*/ 334108 h 4290646"/>
              <a:gd name="connsiteX7" fmla="*/ 7112977 w 7112977"/>
              <a:gd name="connsiteY7" fmla="*/ 0 h 4290646"/>
              <a:gd name="connsiteX8" fmla="*/ 3033346 w 7112977"/>
              <a:gd name="connsiteY8" fmla="*/ 17585 h 4290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12977" h="4290646">
                <a:moveTo>
                  <a:pt x="3033346" y="17585"/>
                </a:moveTo>
                <a:lnTo>
                  <a:pt x="3033346" y="483577"/>
                </a:lnTo>
                <a:lnTo>
                  <a:pt x="0" y="580292"/>
                </a:lnTo>
                <a:lnTo>
                  <a:pt x="0" y="4290646"/>
                </a:lnTo>
                <a:lnTo>
                  <a:pt x="6453554" y="4290646"/>
                </a:lnTo>
                <a:lnTo>
                  <a:pt x="6453554" y="536331"/>
                </a:lnTo>
                <a:lnTo>
                  <a:pt x="7112977" y="334108"/>
                </a:lnTo>
                <a:lnTo>
                  <a:pt x="7112977" y="0"/>
                </a:lnTo>
                <a:lnTo>
                  <a:pt x="3033346" y="17585"/>
                </a:lnTo>
                <a:close/>
              </a:path>
            </a:pathLst>
          </a:custGeom>
          <a:noFill/>
          <a:ln w="9525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3F5493AB-AFB4-4655-B85F-13D4CF4D92E3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606859" y="2027078"/>
            <a:ext cx="1563688" cy="1046163"/>
          </a:xfrm>
          <a:prstGeom prst="homePlate">
            <a:avLst>
              <a:gd name="adj" fmla="val 18209"/>
            </a:avLst>
          </a:prstGeom>
          <a:solidFill>
            <a:schemeClr val="accent5"/>
          </a:solidFill>
          <a:ln w="9525">
            <a:solidFill>
              <a:srgbClr val="FFFFFF"/>
            </a:solidFill>
          </a:ln>
        </p:spPr>
        <p:txBody>
          <a:bodyPr wrap="square" lIns="60325" tIns="187325" rIns="0" bIns="187325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chemeClr val="bg1"/>
                </a:solidFill>
                <a:sym typeface="Microsoft Sans Serif" panose="020B0604020202020204" pitchFamily="34" charset="0"/>
              </a:rPr>
              <a:t>1. Fundraising</a:t>
            </a: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AE9E6F6E-1668-4C3A-862A-3089325E3C39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980046" y="2027078"/>
            <a:ext cx="1565275" cy="1046163"/>
          </a:xfrm>
          <a:prstGeom prst="chevron">
            <a:avLst>
              <a:gd name="adj" fmla="val 18209"/>
            </a:avLst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txBody>
          <a:bodyPr wrap="square" lIns="61913" tIns="187325" rIns="0" bIns="187325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chemeClr val="bg1"/>
                </a:solidFill>
                <a:sym typeface="Microsoft Sans Serif" panose="020B0604020202020204" pitchFamily="34" charset="0"/>
              </a:rPr>
              <a:t>2. Sourcing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0240A3BB-82B5-4B88-957B-7E605631BA6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3354821" y="2027078"/>
            <a:ext cx="1563688" cy="1046163"/>
          </a:xfrm>
          <a:prstGeom prst="chevron">
            <a:avLst>
              <a:gd name="adj" fmla="val 18209"/>
            </a:avLst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txBody>
          <a:bodyPr wrap="none" lIns="60325" tIns="190500" rIns="0" bIns="19050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176213" indent="-176213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chemeClr val="bg1"/>
                </a:solidFill>
                <a:sym typeface="Microsoft Sans Serif" panose="020B0604020202020204" pitchFamily="34" charset="0"/>
              </a:rPr>
              <a:t>3. Due Diligence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4DB458B5-D789-40F8-B6E0-713B8CD0314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728009" y="2027078"/>
            <a:ext cx="1563688" cy="1046163"/>
          </a:xfrm>
          <a:prstGeom prst="chevron">
            <a:avLst>
              <a:gd name="adj" fmla="val 18058"/>
            </a:avLst>
          </a:prstGeom>
          <a:solidFill>
            <a:schemeClr val="accent5"/>
          </a:solidFill>
          <a:ln w="9525">
            <a:solidFill>
              <a:srgbClr val="FFFFFF"/>
            </a:solidFill>
          </a:ln>
        </p:spPr>
        <p:txBody>
          <a:bodyPr wrap="square" lIns="61913" tIns="157163" rIns="15875" bIns="157163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176213" indent="-176213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chemeClr val="bg1"/>
                </a:solidFill>
                <a:sym typeface="Microsoft Sans Serif" panose="020B0604020202020204" pitchFamily="34" charset="0"/>
              </a:rPr>
              <a:t>4. Deal structuring and execution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2D960990-986A-442C-9662-D635B43EBBA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102784" y="2027078"/>
            <a:ext cx="1563688" cy="1046163"/>
          </a:xfrm>
          <a:prstGeom prst="chevron">
            <a:avLst>
              <a:gd name="adj" fmla="val 18209"/>
            </a:avLst>
          </a:prstGeom>
          <a:solidFill>
            <a:schemeClr val="accent5"/>
          </a:solidFill>
          <a:ln w="9525">
            <a:solidFill>
              <a:srgbClr val="FFFFFF"/>
            </a:solidFill>
          </a:ln>
        </p:spPr>
        <p:txBody>
          <a:bodyPr wrap="square" lIns="60325" tIns="157163" rIns="12700" bIns="157163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176213" indent="-176213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chemeClr val="bg1"/>
                </a:solidFill>
                <a:sym typeface="Microsoft Sans Serif" panose="020B0604020202020204" pitchFamily="34" charset="0"/>
              </a:rPr>
              <a:t>5. Operational support and value creation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7A10A1D2-4C53-4FBD-A595-90605A63B95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475971" y="2027078"/>
            <a:ext cx="1563688" cy="1046163"/>
          </a:xfrm>
          <a:prstGeom prst="chevron">
            <a:avLst>
              <a:gd name="adj" fmla="val 18209"/>
            </a:avLst>
          </a:prstGeom>
          <a:solidFill>
            <a:schemeClr val="accent5"/>
          </a:solidFill>
          <a:ln w="9525">
            <a:solidFill>
              <a:srgbClr val="FFFFFF"/>
            </a:solidFill>
          </a:ln>
        </p:spPr>
        <p:txBody>
          <a:bodyPr wrap="square" lIns="60325" tIns="187325" rIns="0" bIns="187325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176213" indent="-176213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chemeClr val="bg1"/>
                </a:solidFill>
                <a:sym typeface="Microsoft Sans Serif" panose="020B0604020202020204" pitchFamily="34" charset="0"/>
              </a:rPr>
              <a:t>6. Exit and returns</a:t>
            </a:r>
          </a:p>
        </p:txBody>
      </p:sp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BACA213F-C837-4A61-82FB-3F2383C7B5D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806171" y="1841341"/>
            <a:ext cx="188913" cy="117475"/>
          </a:xfrm>
          <a:prstGeom prst="homePlate">
            <a:avLst>
              <a:gd name="adj" fmla="val 17568"/>
            </a:avLst>
          </a:prstGeom>
          <a:solidFill>
            <a:schemeClr val="accent5"/>
          </a:solidFill>
          <a:ln w="9525">
            <a:noFill/>
          </a:ln>
        </p:spPr>
        <p:txBody>
          <a:bodyPr wrap="square" lIns="0" tIns="0" rIns="0" bIns="0" numCol="1" spcCol="0" anchor="ctr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GB" sz="1400" dirty="0">
              <a:solidFill>
                <a:schemeClr val="bg1"/>
              </a:solidFill>
              <a:sym typeface="Microsoft Sans Serif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C73AD1B-BD4B-454D-8474-7729CD85E864}"/>
              </a:ext>
            </a:extLst>
          </p:cNvPr>
          <p:cNvSpPr txBox="1"/>
          <p:nvPr/>
        </p:nvSpPr>
        <p:spPr>
          <a:xfrm>
            <a:off x="7954211" y="1788618"/>
            <a:ext cx="96051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dirty="0">
                <a:solidFill>
                  <a:schemeClr val="tx1"/>
                </a:solidFill>
              </a:rPr>
              <a:t>Detailed furth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does a limited life fund work?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2C6C9D0-FC6D-4539-A393-3D1FA8F646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0238" y="1692399"/>
            <a:ext cx="9432985" cy="5063405"/>
          </a:xfrm>
        </p:spPr>
        <p:txBody>
          <a:bodyPr/>
          <a:lstStyle/>
          <a:p>
            <a:r>
              <a:rPr lang="en-GB" dirty="0"/>
              <a:t>Lifecycles of Private Equity Funds typically last 10 years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677E4908-D7AA-4D53-A462-A8F6A3E8FFAB}"/>
              </a:ext>
            </a:extLst>
          </p:cNvPr>
          <p:cNvSpPr txBox="1">
            <a:spLocks/>
          </p:cNvSpPr>
          <p:nvPr/>
        </p:nvSpPr>
        <p:spPr>
          <a:xfrm>
            <a:off x="9775376" y="6994512"/>
            <a:ext cx="539875" cy="287786"/>
          </a:xfrm>
          <a:prstGeom prst="ellipse">
            <a:avLst/>
          </a:prstGeom>
        </p:spPr>
        <p:txBody>
          <a:bodyPr/>
          <a:lstStyle>
            <a:defPPr>
              <a:defRPr lang="en-GB"/>
            </a:defPPr>
            <a:lvl1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180975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C32002-2730-460F-85BC-7CFD860653CD}" type="slidenum">
              <a:rPr lang="en-GB" smtClean="0"/>
              <a:pPr/>
              <a:t>19</a:t>
            </a:fld>
            <a:endParaRPr lang="en-GB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CEA1D13F-7AFE-4C48-BBDA-DEE372F6400D}"/>
              </a:ext>
            </a:extLst>
          </p:cNvPr>
          <p:cNvGrpSpPr/>
          <p:nvPr/>
        </p:nvGrpSpPr>
        <p:grpSpPr>
          <a:xfrm>
            <a:off x="2084965" y="3300249"/>
            <a:ext cx="5907065" cy="3093750"/>
            <a:chOff x="2081683" y="3024421"/>
            <a:chExt cx="5907065" cy="3093750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A1394FB-5B9A-4C20-82F1-87ECB1ACEBA2}"/>
                </a:ext>
              </a:extLst>
            </p:cNvPr>
            <p:cNvGrpSpPr/>
            <p:nvPr/>
          </p:nvGrpSpPr>
          <p:grpSpPr>
            <a:xfrm>
              <a:off x="2081683" y="3024421"/>
              <a:ext cx="5907065" cy="3093750"/>
              <a:chOff x="2268238" y="2876227"/>
              <a:chExt cx="5907065" cy="3093750"/>
            </a:xfrm>
          </p:grpSpPr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1E39425B-3898-406A-B9E8-4A7E83669C4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09" t="4999" r="6111" b="20546"/>
              <a:stretch/>
            </p:blipFill>
            <p:spPr>
              <a:xfrm>
                <a:off x="2268238" y="2928032"/>
                <a:ext cx="5907065" cy="3041945"/>
              </a:xfrm>
              <a:prstGeom prst="rect">
                <a:avLst/>
              </a:prstGeom>
            </p:spPr>
          </p:pic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7648388D-81B5-44A2-BCBC-426258CCA8A6}"/>
                  </a:ext>
                </a:extLst>
              </p:cNvPr>
              <p:cNvSpPr/>
              <p:nvPr/>
            </p:nvSpPr>
            <p:spPr bwMode="auto">
              <a:xfrm>
                <a:off x="2276475" y="3024421"/>
                <a:ext cx="1725507" cy="721453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ctr" defTabSz="70326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4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Frutiger 45 Light" pitchFamily="34" charset="0"/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3A6342D8-DF5F-4BE7-A18C-3728A535D9E0}"/>
                  </a:ext>
                </a:extLst>
              </p:cNvPr>
              <p:cNvSpPr txBox="1"/>
              <p:nvPr/>
            </p:nvSpPr>
            <p:spPr>
              <a:xfrm>
                <a:off x="2435432" y="3030639"/>
                <a:ext cx="723275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900" dirty="0">
                    <a:solidFill>
                      <a:schemeClr val="tx1"/>
                    </a:solidFill>
                  </a:rPr>
                  <a:t>Investment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F787D125-872B-485B-BD2B-C381A5E63148}"/>
                  </a:ext>
                </a:extLst>
              </p:cNvPr>
              <p:cNvSpPr txBox="1"/>
              <p:nvPr/>
            </p:nvSpPr>
            <p:spPr>
              <a:xfrm>
                <a:off x="2435432" y="3152055"/>
                <a:ext cx="117852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900" dirty="0">
                    <a:solidFill>
                      <a:schemeClr val="tx1"/>
                    </a:solidFill>
                  </a:rPr>
                  <a:t>Investment returned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471D763-7E50-4104-B96C-4C87AA764EB0}"/>
                  </a:ext>
                </a:extLst>
              </p:cNvPr>
              <p:cNvSpPr txBox="1"/>
              <p:nvPr/>
            </p:nvSpPr>
            <p:spPr>
              <a:xfrm>
                <a:off x="2435432" y="3273470"/>
                <a:ext cx="44755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900" dirty="0">
                    <a:solidFill>
                      <a:schemeClr val="tx1"/>
                    </a:solidFill>
                  </a:rPr>
                  <a:t>Profit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1C24FEDE-D898-40D2-93E6-615CE64CC1F3}"/>
                  </a:ext>
                </a:extLst>
              </p:cNvPr>
              <p:cNvSpPr txBox="1"/>
              <p:nvPr/>
            </p:nvSpPr>
            <p:spPr>
              <a:xfrm>
                <a:off x="7292166" y="2876227"/>
                <a:ext cx="810434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GB" sz="900" i="1" dirty="0">
                    <a:solidFill>
                      <a:schemeClr val="tx1"/>
                    </a:solidFill>
                  </a:rPr>
                  <a:t>Illustrative</a:t>
                </a: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6859617-AF8A-4E25-99A5-041AEF95FD83}"/>
                </a:ext>
              </a:extLst>
            </p:cNvPr>
            <p:cNvGrpSpPr/>
            <p:nvPr/>
          </p:nvGrpSpPr>
          <p:grpSpPr>
            <a:xfrm>
              <a:off x="2207087" y="3252459"/>
              <a:ext cx="83580" cy="326411"/>
              <a:chOff x="2393642" y="3104265"/>
              <a:chExt cx="83580" cy="326411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EDBAB587-33DB-40F9-BD09-5193B14D2C31}"/>
                  </a:ext>
                </a:extLst>
              </p:cNvPr>
              <p:cNvSpPr/>
              <p:nvPr/>
            </p:nvSpPr>
            <p:spPr bwMode="auto">
              <a:xfrm>
                <a:off x="2393642" y="3104265"/>
                <a:ext cx="83580" cy="83580"/>
              </a:xfrm>
              <a:prstGeom prst="rect">
                <a:avLst/>
              </a:prstGeom>
              <a:solidFill>
                <a:srgbClr val="0A294E">
                  <a:lumMod val="50000"/>
                  <a:lumOff val="5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7032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 pitchFamily="34" charset="0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AC186A74-CD5E-4658-91E8-DE6247FCADE6}"/>
                  </a:ext>
                </a:extLst>
              </p:cNvPr>
              <p:cNvSpPr/>
              <p:nvPr/>
            </p:nvSpPr>
            <p:spPr bwMode="auto">
              <a:xfrm>
                <a:off x="2393642" y="3217987"/>
                <a:ext cx="83580" cy="83580"/>
              </a:xfrm>
              <a:prstGeom prst="rect">
                <a:avLst/>
              </a:prstGeom>
              <a:solidFill>
                <a:srgbClr val="0A294E">
                  <a:lumMod val="25000"/>
                  <a:lumOff val="75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7032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 pitchFamily="34" charset="0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A4D693A8-1959-4594-A886-AFAE557D2BF5}"/>
                  </a:ext>
                </a:extLst>
              </p:cNvPr>
              <p:cNvSpPr/>
              <p:nvPr/>
            </p:nvSpPr>
            <p:spPr bwMode="auto">
              <a:xfrm>
                <a:off x="2393642" y="3347096"/>
                <a:ext cx="83580" cy="83580"/>
              </a:xfrm>
              <a:prstGeom prst="rect">
                <a:avLst/>
              </a:prstGeom>
              <a:solidFill>
                <a:srgbClr val="0A294E">
                  <a:lumMod val="10000"/>
                  <a:lumOff val="9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70326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Frutiger 45 Light" pitchFamily="34" charset="0"/>
                </a:endParaRPr>
              </a:p>
            </p:txBody>
          </p:sp>
        </p:grpSp>
      </p:grpSp>
      <p:sp>
        <p:nvSpPr>
          <p:cNvPr id="78" name="Rectangle 77">
            <a:extLst>
              <a:ext uri="{FF2B5EF4-FFF2-40B4-BE49-F238E27FC236}">
                <a16:creationId xmlns:a16="http://schemas.microsoft.com/office/drawing/2014/main" id="{3D59D241-60C2-4193-A82F-0F275C11F750}"/>
              </a:ext>
            </a:extLst>
          </p:cNvPr>
          <p:cNvSpPr/>
          <p:nvPr/>
        </p:nvSpPr>
        <p:spPr>
          <a:xfrm>
            <a:off x="2081683" y="6109877"/>
            <a:ext cx="5776956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endParaRPr lang="en-GB" sz="1200" dirty="0">
              <a:latin typeface="+mj-lt"/>
            </a:endParaRP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D20BFA21-324E-47DC-A1D1-550C2336EAAB}"/>
              </a:ext>
            </a:extLst>
          </p:cNvPr>
          <p:cNvSpPr txBox="1">
            <a:spLocks/>
          </p:cNvSpPr>
          <p:nvPr/>
        </p:nvSpPr>
        <p:spPr>
          <a:xfrm>
            <a:off x="630238" y="6012878"/>
            <a:ext cx="9432985" cy="7429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269875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Font typeface="+mj-lt"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956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Font typeface="+mj-lt"/>
              <a:buNone/>
              <a:defRPr sz="16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400" dirty="0"/>
              <a:t>Private equity investors can </a:t>
            </a:r>
            <a:r>
              <a:rPr lang="en-GB" sz="1400" b="1" dirty="0">
                <a:solidFill>
                  <a:srgbClr val="002060"/>
                </a:solidFill>
              </a:rPr>
              <a:t>take a more patient, longer-term approach to investing</a:t>
            </a:r>
            <a:r>
              <a:rPr lang="en-GB" sz="1400" dirty="0"/>
              <a:t>. In contrast, publicly-listed companies may be subject to the pressures associated with stock market fluctuations and quarterly reporting, which may compromise a focus </a:t>
            </a:r>
            <a:r>
              <a:rPr lang="en-GB" sz="1400" dirty="0" err="1"/>
              <a:t>onlonger</a:t>
            </a:r>
            <a:r>
              <a:rPr lang="en-GB" sz="1400" dirty="0"/>
              <a:t>-term opportunities and returns </a:t>
            </a:r>
          </a:p>
          <a:p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3049390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returns does private equity target?</a:t>
            </a:r>
          </a:p>
        </p:txBody>
      </p:sp>
      <p:sp>
        <p:nvSpPr>
          <p:cNvPr id="243715" name="Rectangle 3"/>
          <p:cNvSpPr>
            <a:spLocks noGrp="1" noChangeArrowheads="1"/>
          </p:cNvSpPr>
          <p:nvPr>
            <p:ph type="body" sz="quarter" idx="10"/>
          </p:nvPr>
        </p:nvSpPr>
        <p:spPr/>
        <p:txBody>
          <a:bodyPr/>
          <a:lstStyle/>
          <a:p>
            <a:pPr marL="360363" lvl="2" indent="-360363"/>
            <a:r>
              <a:rPr lang="en-GB" sz="2000" dirty="0"/>
              <a:t>In buy-outs, a c. 20-25% IRR and a cash-on-cash money multiple of 2-3x +</a:t>
            </a:r>
          </a:p>
          <a:p>
            <a:pPr marL="360363" lvl="2" indent="-360363"/>
            <a:r>
              <a:rPr lang="en-GB" sz="2000" dirty="0"/>
              <a:t>In venture capital and some buy-outs which are seen as riskier, the target returns will be higher</a:t>
            </a:r>
          </a:p>
          <a:p>
            <a:pPr marL="360363" lvl="2" indent="-360363"/>
            <a:r>
              <a:rPr lang="en-GB" sz="2000" dirty="0"/>
              <a:t>Funds have different target returns and different variances in their returns</a:t>
            </a:r>
          </a:p>
          <a:p>
            <a:pPr marL="360363" lvl="2" indent="-360363"/>
            <a:r>
              <a:rPr lang="en-GB" sz="2000" dirty="0"/>
              <a:t>Average hold period 4 years for buy-outs – but these increased dramatically during the economic downturn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0F081402-6D3E-4878-98DB-E9EC84158D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4932" y="2484487"/>
            <a:ext cx="2520000" cy="2520000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3715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are private equity fund managers remunerated?</a:t>
            </a:r>
          </a:p>
        </p:txBody>
      </p:sp>
      <p:sp>
        <p:nvSpPr>
          <p:cNvPr id="253955" name="Rectangle 3"/>
          <p:cNvSpPr>
            <a:spLocks noGrp="1" noChangeArrowheads="1"/>
          </p:cNvSpPr>
          <p:nvPr>
            <p:ph type="body" sz="quarter" idx="10"/>
          </p:nvPr>
        </p:nvSpPr>
        <p:spPr/>
        <p:txBody>
          <a:bodyPr/>
          <a:lstStyle/>
          <a:p>
            <a:pPr marL="360363" lvl="2" indent="-360363"/>
            <a:r>
              <a:rPr lang="en-GB" sz="2000" dirty="0"/>
              <a:t>Management fees – usually 1.5% to 2% per annum</a:t>
            </a:r>
          </a:p>
          <a:p>
            <a:pPr marL="360363" lvl="2" indent="-360363"/>
            <a:r>
              <a:rPr lang="en-GB" sz="2000" dirty="0"/>
              <a:t>Carry, i.e. participation in performance of fund above a certain level</a:t>
            </a:r>
          </a:p>
          <a:p>
            <a:pPr marL="360363" lvl="2" indent="-360363"/>
            <a:r>
              <a:rPr lang="en-GB" sz="2000" dirty="0"/>
              <a:t>Co-invest, i.e. executives of private equity houses can invest in-house deals</a:t>
            </a:r>
          </a:p>
          <a:p>
            <a:pPr marL="360363" lvl="2" indent="-360363"/>
            <a:r>
              <a:rPr lang="en-GB" sz="2000" dirty="0"/>
              <a:t>Current trends – the importance of co-investment, deal by deal structures</a:t>
            </a:r>
          </a:p>
          <a:p>
            <a:pPr marL="360363" indent="-360363"/>
            <a:endParaRPr lang="en-GB" dirty="0"/>
          </a:p>
          <a:p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9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9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9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9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3955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36720-82DD-4F10-908B-F849111D6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dicative structure for a private equity fund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9533728-0A5B-4A61-AE96-167C3BB162E9}"/>
              </a:ext>
            </a:extLst>
          </p:cNvPr>
          <p:cNvGrpSpPr/>
          <p:nvPr/>
        </p:nvGrpSpPr>
        <p:grpSpPr>
          <a:xfrm>
            <a:off x="1247450" y="1574199"/>
            <a:ext cx="7777878" cy="5190237"/>
            <a:chOff x="1247450" y="1574199"/>
            <a:chExt cx="7777878" cy="5190237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5A27FD2F-CAD9-4763-914E-786037488DD6}"/>
                </a:ext>
              </a:extLst>
            </p:cNvPr>
            <p:cNvSpPr txBox="1"/>
            <p:nvPr/>
          </p:nvSpPr>
          <p:spPr>
            <a:xfrm>
              <a:off x="3552249" y="5250481"/>
              <a:ext cx="1847540" cy="662422"/>
            </a:xfrm>
            <a:prstGeom prst="ellipse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73DB1CEC-7134-42CE-BD41-54F86DA9B0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99789" y="5370063"/>
              <a:ext cx="2933327" cy="144924"/>
            </a:xfrm>
            <a:prstGeom prst="bentConnector2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ABB559F-0514-4E04-9B65-283B7CE7686E}"/>
                </a:ext>
              </a:extLst>
            </p:cNvPr>
            <p:cNvSpPr txBox="1"/>
            <p:nvPr/>
          </p:nvSpPr>
          <p:spPr>
            <a:xfrm>
              <a:off x="2335839" y="2034867"/>
              <a:ext cx="2088232" cy="518400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r>
                <a:rPr lang="en-GB" dirty="0">
                  <a:solidFill>
                    <a:schemeClr val="tx1"/>
                  </a:solidFill>
                </a:rPr>
                <a:t>External investors (</a:t>
              </a:r>
              <a:r>
                <a:rPr lang="en-GB" dirty="0" err="1">
                  <a:solidFill>
                    <a:schemeClr val="tx1"/>
                  </a:solidFill>
                </a:rPr>
                <a:t>eg</a:t>
              </a:r>
              <a:r>
                <a:rPr lang="en-GB" dirty="0">
                  <a:solidFill>
                    <a:schemeClr val="tx1"/>
                  </a:solidFill>
                </a:rPr>
                <a:t> UK tax exempt and ERISA investors)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A26E36E-B10D-4246-BBE2-66CA0E2FC9CE}"/>
                </a:ext>
              </a:extLst>
            </p:cNvPr>
            <p:cNvSpPr txBox="1"/>
            <p:nvPr/>
          </p:nvSpPr>
          <p:spPr>
            <a:xfrm>
              <a:off x="4548021" y="2034867"/>
              <a:ext cx="2088232" cy="518400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r>
                <a:rPr lang="en-GB" dirty="0">
                  <a:solidFill>
                    <a:schemeClr val="tx1"/>
                  </a:solidFill>
                </a:rPr>
                <a:t>Investment adviser(s)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EA4C728-181D-4271-B207-4A043AC75861}"/>
                </a:ext>
              </a:extLst>
            </p:cNvPr>
            <p:cNvSpPr txBox="1"/>
            <p:nvPr/>
          </p:nvSpPr>
          <p:spPr>
            <a:xfrm>
              <a:off x="7657176" y="2034867"/>
              <a:ext cx="1368152" cy="518400"/>
            </a:xfrm>
            <a:prstGeom prst="rect">
              <a:avLst/>
            </a:prstGeom>
            <a:solidFill>
              <a:schemeClr val="accent1"/>
            </a:solidFill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Manager</a:t>
              </a:r>
            </a:p>
          </p:txBody>
        </p:sp>
        <p:pic>
          <p:nvPicPr>
            <p:cNvPr id="10" name="Graphic 9" descr="Two Men">
              <a:extLst>
                <a:ext uri="{FF2B5EF4-FFF2-40B4-BE49-F238E27FC236}">
                  <a16:creationId xmlns:a16="http://schemas.microsoft.com/office/drawing/2014/main" id="{6933AB0D-E6F7-43DC-9A47-1C857AA748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183217" y="1717402"/>
              <a:ext cx="316070" cy="316070"/>
            </a:xfrm>
            <a:prstGeom prst="rect">
              <a:avLst/>
            </a:prstGeom>
          </p:spPr>
        </p:pic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13F009C6-B282-43CC-89FB-9B3E6DA8757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26602" y="2269533"/>
              <a:ext cx="1027728" cy="0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8E788D0A-5BA0-4E55-BF9E-25FD03E1A5C4}"/>
                </a:ext>
              </a:extLst>
            </p:cNvPr>
            <p:cNvCxnSpPr>
              <a:cxnSpLocks/>
            </p:cNvCxnSpPr>
            <p:nvPr/>
          </p:nvCxnSpPr>
          <p:spPr>
            <a:xfrm>
              <a:off x="6636253" y="2351497"/>
              <a:ext cx="1018077" cy="0"/>
            </a:xfrm>
            <a:prstGeom prst="straightConnector1">
              <a:avLst/>
            </a:prstGeom>
            <a:ln w="12700"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7C65B8C-1982-47EC-9112-74213571A3F0}"/>
                </a:ext>
              </a:extLst>
            </p:cNvPr>
            <p:cNvSpPr txBox="1"/>
            <p:nvPr/>
          </p:nvSpPr>
          <p:spPr>
            <a:xfrm>
              <a:off x="6619402" y="1975976"/>
              <a:ext cx="1020923" cy="25507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Advisory fe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6A56E26-7724-4DD1-926F-B0EA2C15F2E5}"/>
                </a:ext>
              </a:extLst>
            </p:cNvPr>
            <p:cNvSpPr txBox="1"/>
            <p:nvPr/>
          </p:nvSpPr>
          <p:spPr>
            <a:xfrm>
              <a:off x="6564245" y="2382274"/>
              <a:ext cx="1164940" cy="307777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Investment </a:t>
              </a:r>
              <a:br>
                <a:rPr lang="en-GB" sz="1000" dirty="0">
                  <a:solidFill>
                    <a:schemeClr val="tx1"/>
                  </a:solidFill>
                </a:rPr>
              </a:br>
              <a:r>
                <a:rPr lang="en-GB" sz="1000" dirty="0">
                  <a:solidFill>
                    <a:schemeClr val="tx1"/>
                  </a:solidFill>
                </a:rPr>
                <a:t>advisory service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B0074AD-8ADD-4116-99CB-3E35EF6A7F2B}"/>
                </a:ext>
              </a:extLst>
            </p:cNvPr>
            <p:cNvSpPr txBox="1"/>
            <p:nvPr/>
          </p:nvSpPr>
          <p:spPr>
            <a:xfrm>
              <a:off x="7822654" y="1574199"/>
              <a:ext cx="1020923" cy="15388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/>
                <a:t>PE executive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1198328-7C20-4A9E-8CDE-A42895301CAD}"/>
                </a:ext>
              </a:extLst>
            </p:cNvPr>
            <p:cNvSpPr txBox="1"/>
            <p:nvPr/>
          </p:nvSpPr>
          <p:spPr>
            <a:xfrm>
              <a:off x="2472305" y="3531223"/>
              <a:ext cx="1847540" cy="662422"/>
            </a:xfrm>
            <a:prstGeom prst="ellipse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2899DD4-CFD6-4484-A412-3A61D40DB5A9}"/>
                </a:ext>
              </a:extLst>
            </p:cNvPr>
            <p:cNvSpPr txBox="1"/>
            <p:nvPr/>
          </p:nvSpPr>
          <p:spPr>
            <a:xfrm>
              <a:off x="2472305" y="3653476"/>
              <a:ext cx="1847540" cy="66242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r>
                <a:rPr lang="en-GB" dirty="0">
                  <a:solidFill>
                    <a:schemeClr val="tx1"/>
                  </a:solidFill>
                </a:rPr>
                <a:t>Feeder vehicle(s)</a:t>
              </a:r>
              <a:br>
                <a:rPr lang="en-GB" dirty="0">
                  <a:solidFill>
                    <a:schemeClr val="tx1"/>
                  </a:solidFill>
                </a:rPr>
              </a:br>
              <a:r>
                <a:rPr lang="en-GB" dirty="0">
                  <a:solidFill>
                    <a:schemeClr val="tx1"/>
                  </a:solidFill>
                </a:rPr>
                <a:t>(limited partnership)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12F9E28-0F4F-4D43-9DD6-6E213322E875}"/>
                </a:ext>
              </a:extLst>
            </p:cNvPr>
            <p:cNvSpPr txBox="1"/>
            <p:nvPr/>
          </p:nvSpPr>
          <p:spPr>
            <a:xfrm>
              <a:off x="4668072" y="3658949"/>
              <a:ext cx="1847540" cy="662422"/>
            </a:xfrm>
            <a:prstGeom prst="ellipse">
              <a:avLst/>
            </a:prstGeom>
            <a:solidFill>
              <a:schemeClr val="accent1"/>
            </a:solidFill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Founder partner (carry and co-investment LP)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A78DD9D-00A5-4F01-905B-A0AAFFE5113F}"/>
                </a:ext>
              </a:extLst>
            </p:cNvPr>
            <p:cNvSpPr txBox="1"/>
            <p:nvPr/>
          </p:nvSpPr>
          <p:spPr>
            <a:xfrm>
              <a:off x="7649040" y="4918368"/>
              <a:ext cx="1368152" cy="518400"/>
            </a:xfrm>
            <a:prstGeom prst="rect">
              <a:avLst/>
            </a:prstGeom>
            <a:solidFill>
              <a:schemeClr val="accent1"/>
            </a:solidFill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General Partner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7C812E6E-6224-47E4-8AFC-3D90D3BA10B1}"/>
                </a:ext>
              </a:extLst>
            </p:cNvPr>
            <p:cNvGrpSpPr/>
            <p:nvPr/>
          </p:nvGrpSpPr>
          <p:grpSpPr>
            <a:xfrm>
              <a:off x="5708802" y="2553267"/>
              <a:ext cx="2169759" cy="2365101"/>
              <a:chOff x="4122564" y="2930879"/>
              <a:chExt cx="1864072" cy="1857864"/>
            </a:xfrm>
          </p:grpSpPr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52FBC00D-C88F-48F3-9036-935D64F38587}"/>
                  </a:ext>
                </a:extLst>
              </p:cNvPr>
              <p:cNvCxnSpPr/>
              <p:nvPr/>
            </p:nvCxnSpPr>
            <p:spPr>
              <a:xfrm flipV="1">
                <a:off x="5982283" y="3924647"/>
                <a:ext cx="0" cy="864096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Arrow Connector 30">
                <a:extLst>
                  <a:ext uri="{FF2B5EF4-FFF2-40B4-BE49-F238E27FC236}">
                    <a16:creationId xmlns:a16="http://schemas.microsoft.com/office/drawing/2014/main" id="{BE962EF3-065D-4E26-BDB0-715AA8D19CF3}"/>
                  </a:ext>
                </a:extLst>
              </p:cNvPr>
              <p:cNvCxnSpPr/>
              <p:nvPr/>
            </p:nvCxnSpPr>
            <p:spPr>
              <a:xfrm flipH="1" flipV="1">
                <a:off x="4122564" y="2930879"/>
                <a:ext cx="1864072" cy="993768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4726DA64-2481-4A21-97B0-5ED896573FA8}"/>
                </a:ext>
              </a:extLst>
            </p:cNvPr>
            <p:cNvGrpSpPr/>
            <p:nvPr/>
          </p:nvGrpSpPr>
          <p:grpSpPr>
            <a:xfrm>
              <a:off x="5912859" y="2544639"/>
              <a:ext cx="2180881" cy="2373729"/>
              <a:chOff x="4498027" y="2934556"/>
              <a:chExt cx="1864072" cy="1860929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3A5AAE61-DBC2-4A4C-A4E6-D831C962FB7E}"/>
                  </a:ext>
                </a:extLst>
              </p:cNvPr>
              <p:cNvCxnSpPr/>
              <p:nvPr/>
            </p:nvCxnSpPr>
            <p:spPr>
              <a:xfrm flipV="1">
                <a:off x="6354812" y="3931389"/>
                <a:ext cx="0" cy="864096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dash"/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Arrow Connector 34">
                <a:extLst>
                  <a:ext uri="{FF2B5EF4-FFF2-40B4-BE49-F238E27FC236}">
                    <a16:creationId xmlns:a16="http://schemas.microsoft.com/office/drawing/2014/main" id="{EC1571DF-3E9C-4293-A74F-27AEB4C406B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498027" y="2934556"/>
                <a:ext cx="1864072" cy="993766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prstDash val="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08ECA032-0583-46D0-8973-365FB7E5D736}"/>
                </a:ext>
              </a:extLst>
            </p:cNvPr>
            <p:cNvCxnSpPr>
              <a:cxnSpLocks/>
              <a:stCxn id="8" idx="2"/>
              <a:endCxn id="25" idx="0"/>
            </p:cNvCxnSpPr>
            <p:nvPr/>
          </p:nvCxnSpPr>
          <p:spPr>
            <a:xfrm flipH="1">
              <a:off x="8333116" y="2553267"/>
              <a:ext cx="8136" cy="2365101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1983B2CE-47FD-4590-A8C4-7735DE5954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99752" y="2553268"/>
              <a:ext cx="0" cy="237552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737ABC2-6E89-476B-BA17-48D2AEC391CE}"/>
                </a:ext>
              </a:extLst>
            </p:cNvPr>
            <p:cNvCxnSpPr>
              <a:cxnSpLocks/>
            </p:cNvCxnSpPr>
            <p:nvPr/>
          </p:nvCxnSpPr>
          <p:spPr>
            <a:xfrm>
              <a:off x="8521272" y="2553267"/>
              <a:ext cx="0" cy="23755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9" name="Graphic 48" descr="Two Men">
              <a:extLst>
                <a:ext uri="{FF2B5EF4-FFF2-40B4-BE49-F238E27FC236}">
                  <a16:creationId xmlns:a16="http://schemas.microsoft.com/office/drawing/2014/main" id="{B193B2FE-935B-4E3E-8DF5-E2B4770DF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437069" y="3327738"/>
              <a:ext cx="316070" cy="316070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B26EED6-9433-40DA-8EEC-841395926F6D}"/>
                </a:ext>
              </a:extLst>
            </p:cNvPr>
            <p:cNvSpPr txBox="1"/>
            <p:nvPr/>
          </p:nvSpPr>
          <p:spPr>
            <a:xfrm>
              <a:off x="5079843" y="3189983"/>
              <a:ext cx="1020923" cy="15388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/>
                <a:t>PE executive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2BEFA82-281E-4F8A-B612-3FC693A53615}"/>
                </a:ext>
              </a:extLst>
            </p:cNvPr>
            <p:cNvSpPr txBox="1"/>
            <p:nvPr/>
          </p:nvSpPr>
          <p:spPr>
            <a:xfrm>
              <a:off x="3539220" y="5353267"/>
              <a:ext cx="1847540" cy="66242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CD478D4-C6AB-4ECC-93F6-7ED9013FA98E}"/>
                </a:ext>
              </a:extLst>
            </p:cNvPr>
            <p:cNvSpPr txBox="1"/>
            <p:nvPr/>
          </p:nvSpPr>
          <p:spPr>
            <a:xfrm>
              <a:off x="3548116" y="5447192"/>
              <a:ext cx="1847540" cy="662422"/>
            </a:xfrm>
            <a:prstGeom prst="ellipse">
              <a:avLst/>
            </a:prstGeom>
            <a:solidFill>
              <a:schemeClr val="accent1"/>
            </a:solidFill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Fund</a:t>
              </a:r>
              <a:br>
                <a:rPr lang="en-GB" dirty="0">
                  <a:solidFill>
                    <a:schemeClr val="bg1"/>
                  </a:solidFill>
                </a:rPr>
              </a:br>
              <a:r>
                <a:rPr lang="en-GB" dirty="0">
                  <a:solidFill>
                    <a:schemeClr val="bg1"/>
                  </a:solidFill>
                </a:rPr>
                <a:t>(limited partnership)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CE4763E-1C60-42C2-ACB2-B3C8580938A3}"/>
                </a:ext>
              </a:extLst>
            </p:cNvPr>
            <p:cNvSpPr txBox="1"/>
            <p:nvPr/>
          </p:nvSpPr>
          <p:spPr>
            <a:xfrm>
              <a:off x="3539220" y="6246036"/>
              <a:ext cx="1847540" cy="518400"/>
            </a:xfrm>
            <a:prstGeom prst="rect">
              <a:avLst/>
            </a:prstGeom>
            <a:ln>
              <a:solidFill>
                <a:schemeClr val="accent1"/>
              </a:solidFill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r>
                <a:rPr lang="en-GB" dirty="0">
                  <a:solidFill>
                    <a:schemeClr val="tx1"/>
                  </a:solidFill>
                </a:rPr>
                <a:t>Investments</a:t>
              </a:r>
            </a:p>
          </p:txBody>
        </p:sp>
        <p:cxnSp>
          <p:nvCxnSpPr>
            <p:cNvPr id="60" name="Connector: Elbow 59">
              <a:extLst>
                <a:ext uri="{FF2B5EF4-FFF2-40B4-BE49-F238E27FC236}">
                  <a16:creationId xmlns:a16="http://schemas.microsoft.com/office/drawing/2014/main" id="{F228F8E9-8C23-4BC2-AC0B-7288F39E9395}"/>
                </a:ext>
              </a:extLst>
            </p:cNvPr>
            <p:cNvCxnSpPr>
              <a:cxnSpLocks/>
              <a:stCxn id="53" idx="6"/>
              <a:endCxn id="67" idx="2"/>
            </p:cNvCxnSpPr>
            <p:nvPr/>
          </p:nvCxnSpPr>
          <p:spPr>
            <a:xfrm flipV="1">
              <a:off x="5399789" y="5429536"/>
              <a:ext cx="3299963" cy="152156"/>
            </a:xfrm>
            <a:prstGeom prst="bentConnector2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8B5C37F-84B3-47AB-9D05-5FB8D1834A6B}"/>
                </a:ext>
              </a:extLst>
            </p:cNvPr>
            <p:cNvSpPr txBox="1"/>
            <p:nvPr/>
          </p:nvSpPr>
          <p:spPr>
            <a:xfrm>
              <a:off x="8483730" y="5275248"/>
              <a:ext cx="432044" cy="15428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endParaRPr lang="en-GB" dirty="0"/>
            </a:p>
          </p:txBody>
        </p:sp>
        <p:cxnSp>
          <p:nvCxnSpPr>
            <p:cNvPr id="71" name="Connector: Elbow 70">
              <a:extLst>
                <a:ext uri="{FF2B5EF4-FFF2-40B4-BE49-F238E27FC236}">
                  <a16:creationId xmlns:a16="http://schemas.microsoft.com/office/drawing/2014/main" id="{8B4446EF-48D9-4934-A887-576FC830E239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674600" y="4649387"/>
              <a:ext cx="134500" cy="1620799"/>
            </a:xfrm>
            <a:prstGeom prst="bentConnector2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4705B9C-58F3-4C1A-B60B-1AB6BDEDA067}"/>
                </a:ext>
              </a:extLst>
            </p:cNvPr>
            <p:cNvSpPr txBox="1"/>
            <p:nvPr/>
          </p:nvSpPr>
          <p:spPr>
            <a:xfrm>
              <a:off x="1247450" y="4928792"/>
              <a:ext cx="1368000" cy="5184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  <a:prstDash val="dash"/>
            </a:ln>
          </p:spPr>
          <p:txBody>
            <a:bodyPr vert="horz" wrap="square" lIns="0" tIns="0" rIns="0" bIns="0" rtlCol="0" anchor="ctr" anchorCtr="1">
              <a:noAutofit/>
            </a:bodyPr>
            <a:lstStyle/>
            <a:p>
              <a:pPr algn="ctr"/>
              <a:r>
                <a:rPr lang="en-GB" dirty="0">
                  <a:solidFill>
                    <a:schemeClr val="tx1"/>
                  </a:solidFill>
                </a:rPr>
                <a:t>External investors</a:t>
              </a:r>
            </a:p>
          </p:txBody>
        </p:sp>
        <p:cxnSp>
          <p:nvCxnSpPr>
            <p:cNvPr id="74" name="Connector: Elbow 73">
              <a:extLst>
                <a:ext uri="{FF2B5EF4-FFF2-40B4-BE49-F238E27FC236}">
                  <a16:creationId xmlns:a16="http://schemas.microsoft.com/office/drawing/2014/main" id="{C8009AFF-1FE0-4491-A472-37126477C6BD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717805" y="5462944"/>
              <a:ext cx="1830311" cy="139017"/>
            </a:xfrm>
            <a:prstGeom prst="bentConnector2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F7563A3-F400-44AB-A943-744369DC8936}"/>
                </a:ext>
              </a:extLst>
            </p:cNvPr>
            <p:cNvSpPr txBox="1"/>
            <p:nvPr/>
          </p:nvSpPr>
          <p:spPr>
            <a:xfrm>
              <a:off x="1541918" y="5306007"/>
              <a:ext cx="360040" cy="13666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endParaRPr lang="en-GB" dirty="0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4AFF7379-BEFC-4123-8F2E-F35281601ADB}"/>
                </a:ext>
              </a:extLst>
            </p:cNvPr>
            <p:cNvSpPr txBox="1"/>
            <p:nvPr/>
          </p:nvSpPr>
          <p:spPr>
            <a:xfrm>
              <a:off x="1424749" y="5648688"/>
              <a:ext cx="586111" cy="307777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Investment </a:t>
              </a:r>
              <a:br>
                <a:rPr lang="en-GB" sz="1000" dirty="0">
                  <a:solidFill>
                    <a:schemeClr val="tx1"/>
                  </a:solidFill>
                </a:rPr>
              </a:br>
              <a:r>
                <a:rPr lang="en-GB" sz="1000" dirty="0">
                  <a:solidFill>
                    <a:schemeClr val="tx1"/>
                  </a:solidFill>
                </a:rPr>
                <a:t>returns 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48C110E-1284-4FD7-9779-EB37D832874E}"/>
                </a:ext>
              </a:extLst>
            </p:cNvPr>
            <p:cNvSpPr txBox="1"/>
            <p:nvPr/>
          </p:nvSpPr>
          <p:spPr>
            <a:xfrm>
              <a:off x="2615450" y="5356411"/>
              <a:ext cx="459160" cy="15388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LP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F483518D-728D-449E-9472-B97A739D6CA7}"/>
                </a:ext>
              </a:extLst>
            </p:cNvPr>
            <p:cNvSpPr txBox="1"/>
            <p:nvPr/>
          </p:nvSpPr>
          <p:spPr>
            <a:xfrm>
              <a:off x="6299141" y="5351165"/>
              <a:ext cx="459160" cy="15388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GP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FDE9E04-D1B0-4D80-8669-944C0924CE3E}"/>
                </a:ext>
              </a:extLst>
            </p:cNvPr>
            <p:cNvSpPr txBox="1"/>
            <p:nvPr/>
          </p:nvSpPr>
          <p:spPr>
            <a:xfrm>
              <a:off x="7619633" y="5649333"/>
              <a:ext cx="1083197" cy="15388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Priority profit share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C8A77391-CB3B-4370-BB4E-2DA169F78414}"/>
                </a:ext>
              </a:extLst>
            </p:cNvPr>
            <p:cNvSpPr txBox="1"/>
            <p:nvPr/>
          </p:nvSpPr>
          <p:spPr>
            <a:xfrm>
              <a:off x="5974013" y="5627189"/>
              <a:ext cx="1083197" cy="307777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Possible parallel</a:t>
              </a:r>
              <a:br>
                <a:rPr lang="en-GB" sz="1000" dirty="0">
                  <a:solidFill>
                    <a:schemeClr val="tx1"/>
                  </a:solidFill>
                </a:rPr>
              </a:br>
              <a:r>
                <a:rPr lang="en-GB" sz="1000" dirty="0">
                  <a:solidFill>
                    <a:schemeClr val="tx1"/>
                  </a:solidFill>
                </a:rPr>
                <a:t>fund vehicles</a:t>
              </a:r>
            </a:p>
          </p:txBody>
        </p:sp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B5F60BE2-E12C-431A-8FB5-ED7DC2FA9129}"/>
                </a:ext>
              </a:extLst>
            </p:cNvPr>
            <p:cNvCxnSpPr>
              <a:cxnSpLocks/>
              <a:stCxn id="84" idx="1"/>
              <a:endCxn id="52" idx="6"/>
            </p:cNvCxnSpPr>
            <p:nvPr/>
          </p:nvCxnSpPr>
          <p:spPr>
            <a:xfrm flipH="1" flipV="1">
              <a:off x="5395656" y="5778403"/>
              <a:ext cx="578357" cy="2675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49D01F22-3ED6-4FD3-B8F6-6522D0BB1E73}"/>
                </a:ext>
              </a:extLst>
            </p:cNvPr>
            <p:cNvCxnSpPr>
              <a:stCxn id="52" idx="4"/>
              <a:endCxn id="54" idx="0"/>
            </p:cNvCxnSpPr>
            <p:nvPr/>
          </p:nvCxnSpPr>
          <p:spPr>
            <a:xfrm flipH="1">
              <a:off x="4462990" y="6109614"/>
              <a:ext cx="8896" cy="136422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EB6C68B-F6D8-47EF-8948-854D2DA0500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768720" y="4277520"/>
              <a:ext cx="402008" cy="99772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Arrow Connector 93">
              <a:extLst>
                <a:ext uri="{FF2B5EF4-FFF2-40B4-BE49-F238E27FC236}">
                  <a16:creationId xmlns:a16="http://schemas.microsoft.com/office/drawing/2014/main" id="{BE2EFE17-2047-495D-9FB0-CC757CBC96EB}"/>
                </a:ext>
              </a:extLst>
            </p:cNvPr>
            <p:cNvCxnSpPr>
              <a:stCxn id="53" idx="1"/>
              <a:endCxn id="20" idx="4"/>
            </p:cNvCxnSpPr>
            <p:nvPr/>
          </p:nvCxnSpPr>
          <p:spPr>
            <a:xfrm flipH="1" flipV="1">
              <a:off x="3396075" y="4315898"/>
              <a:ext cx="426740" cy="1031592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EC300B7-A20C-46F7-8370-AC5C53B0E6A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29188" y="4298798"/>
              <a:ext cx="425211" cy="97645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C5959466-6269-4280-A698-D88C2F21E2EE}"/>
                </a:ext>
              </a:extLst>
            </p:cNvPr>
            <p:cNvCxnSpPr>
              <a:cxnSpLocks/>
              <a:stCxn id="53" idx="7"/>
              <a:endCxn id="24" idx="4"/>
            </p:cNvCxnSpPr>
            <p:nvPr/>
          </p:nvCxnSpPr>
          <p:spPr>
            <a:xfrm flipV="1">
              <a:off x="5129223" y="4321371"/>
              <a:ext cx="462619" cy="1026119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A5289B1E-1643-4A96-905E-046C44B7037F}"/>
                </a:ext>
              </a:extLst>
            </p:cNvPr>
            <p:cNvSpPr txBox="1"/>
            <p:nvPr/>
          </p:nvSpPr>
          <p:spPr>
            <a:xfrm>
              <a:off x="2803991" y="4478641"/>
              <a:ext cx="586111" cy="307777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Investment </a:t>
              </a:r>
              <a:br>
                <a:rPr lang="en-GB" sz="1000" dirty="0">
                  <a:solidFill>
                    <a:schemeClr val="tx1"/>
                  </a:solidFill>
                </a:rPr>
              </a:br>
              <a:r>
                <a:rPr lang="en-GB" sz="1000" dirty="0">
                  <a:solidFill>
                    <a:schemeClr val="tx1"/>
                  </a:solidFill>
                </a:rPr>
                <a:t>returns 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89E604B8-6C12-414B-BEBB-B48B4D36CA52}"/>
                </a:ext>
              </a:extLst>
            </p:cNvPr>
            <p:cNvSpPr txBox="1"/>
            <p:nvPr/>
          </p:nvSpPr>
          <p:spPr>
            <a:xfrm>
              <a:off x="3938158" y="4555450"/>
              <a:ext cx="459160" cy="15388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LP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00B3441A-38B5-47D1-A4AE-F0DA917C7F11}"/>
                </a:ext>
              </a:extLst>
            </p:cNvPr>
            <p:cNvSpPr txBox="1"/>
            <p:nvPr/>
          </p:nvSpPr>
          <p:spPr>
            <a:xfrm>
              <a:off x="4623437" y="4555450"/>
              <a:ext cx="459160" cy="15388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LP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BCBF1797-7393-4A91-9AB1-CB71296E509E}"/>
                </a:ext>
              </a:extLst>
            </p:cNvPr>
            <p:cNvSpPr txBox="1"/>
            <p:nvPr/>
          </p:nvSpPr>
          <p:spPr>
            <a:xfrm>
              <a:off x="5640780" y="4478653"/>
              <a:ext cx="586111" cy="307777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Carry and</a:t>
              </a:r>
              <a:br>
                <a:rPr lang="en-GB" sz="1000" dirty="0">
                  <a:solidFill>
                    <a:schemeClr val="tx1"/>
                  </a:solidFill>
                </a:rPr>
              </a:br>
              <a:r>
                <a:rPr lang="en-GB" sz="1000" dirty="0">
                  <a:solidFill>
                    <a:schemeClr val="tx1"/>
                  </a:solidFill>
                </a:rPr>
                <a:t>co-invest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45CBFB13-DBA9-465D-B204-D40AA52C38C5}"/>
                </a:ext>
              </a:extLst>
            </p:cNvPr>
            <p:cNvSpPr txBox="1"/>
            <p:nvPr/>
          </p:nvSpPr>
          <p:spPr>
            <a:xfrm>
              <a:off x="5164203" y="2766363"/>
              <a:ext cx="1111417" cy="307777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Investment</a:t>
              </a:r>
              <a:br>
                <a:rPr lang="en-GB" sz="1000" dirty="0">
                  <a:solidFill>
                    <a:schemeClr val="tx1"/>
                  </a:solidFill>
                </a:rPr>
              </a:br>
              <a:r>
                <a:rPr lang="en-GB" sz="1000" dirty="0">
                  <a:solidFill>
                    <a:schemeClr val="tx1"/>
                  </a:solidFill>
                </a:rPr>
                <a:t>advisory services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C0744170-8B65-4F52-938A-EC96ACA5E876}"/>
                </a:ext>
              </a:extLst>
            </p:cNvPr>
            <p:cNvSpPr txBox="1"/>
            <p:nvPr/>
          </p:nvSpPr>
          <p:spPr>
            <a:xfrm>
              <a:off x="6563462" y="2843307"/>
              <a:ext cx="1020923" cy="15388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Advisory fee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C65AAF65-51CC-4C2C-852D-C2332B7454FF}"/>
                </a:ext>
              </a:extLst>
            </p:cNvPr>
            <p:cNvSpPr txBox="1"/>
            <p:nvPr/>
          </p:nvSpPr>
          <p:spPr>
            <a:xfrm rot="16200000">
              <a:off x="7040707" y="3650942"/>
              <a:ext cx="2366497" cy="15388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Investment management services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FB401CDB-6206-4C0D-8591-93672BF15A77}"/>
                </a:ext>
              </a:extLst>
            </p:cNvPr>
            <p:cNvSpPr txBox="1"/>
            <p:nvPr/>
          </p:nvSpPr>
          <p:spPr>
            <a:xfrm rot="16200000">
              <a:off x="7632395" y="3656173"/>
              <a:ext cx="2356038" cy="15388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GB" sz="1000" dirty="0">
                  <a:solidFill>
                    <a:schemeClr val="tx1"/>
                  </a:solidFill>
                </a:rPr>
                <a:t>Management fee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3EB6AE7-D49F-49EE-A0EB-A0293D62E3CC}"/>
                </a:ext>
              </a:extLst>
            </p:cNvPr>
            <p:cNvCxnSpPr>
              <a:stCxn id="6" idx="2"/>
              <a:endCxn id="19" idx="0"/>
            </p:cNvCxnSpPr>
            <p:nvPr/>
          </p:nvCxnSpPr>
          <p:spPr>
            <a:xfrm>
              <a:off x="3379955" y="2553267"/>
              <a:ext cx="16120" cy="97795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147875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965EE6-75DC-4EDB-A3F0-8E7492FEB8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How does private equity work – at the deal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612882-2ACA-48EB-A1BE-9AB2229D7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2420043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1" name="Title 4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Private Equity Works: A Typical Buyout Structure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29F0895-27E3-43F3-BB2B-D9F4173CF017}"/>
              </a:ext>
            </a:extLst>
          </p:cNvPr>
          <p:cNvGrpSpPr/>
          <p:nvPr/>
        </p:nvGrpSpPr>
        <p:grpSpPr>
          <a:xfrm>
            <a:off x="1219816" y="2046339"/>
            <a:ext cx="8357738" cy="4694187"/>
            <a:chOff x="1219816" y="2046339"/>
            <a:chExt cx="8357738" cy="4694187"/>
          </a:xfrm>
        </p:grpSpPr>
        <p:sp>
          <p:nvSpPr>
            <p:cNvPr id="52" name="Line 32">
              <a:extLst>
                <a:ext uri="{FF2B5EF4-FFF2-40B4-BE49-F238E27FC236}">
                  <a16:creationId xmlns:a16="http://schemas.microsoft.com/office/drawing/2014/main" id="{FAAD4182-26F8-48CF-B5CC-A7B8FFAEA5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18628" y="2514582"/>
              <a:ext cx="2080400" cy="1123948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53" name="Text Box 14">
              <a:extLst>
                <a:ext uri="{FF2B5EF4-FFF2-40B4-BE49-F238E27FC236}">
                  <a16:creationId xmlns:a16="http://schemas.microsoft.com/office/drawing/2014/main" id="{3A9E11FF-2C70-4BD1-94C7-7AE141C1A10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45468" y="2894312"/>
              <a:ext cx="881209" cy="46166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n-GB" sz="1000" dirty="0">
                  <a:solidFill>
                    <a:schemeClr val="tx1"/>
                  </a:solidFill>
                </a:rPr>
                <a:t>shares warranties and covenants</a:t>
              </a:r>
            </a:p>
          </p:txBody>
        </p:sp>
        <p:sp>
          <p:nvSpPr>
            <p:cNvPr id="54" name="Text Box 3">
              <a:extLst>
                <a:ext uri="{FF2B5EF4-FFF2-40B4-BE49-F238E27FC236}">
                  <a16:creationId xmlns:a16="http://schemas.microsoft.com/office/drawing/2014/main" id="{354814B5-6E40-4E2F-AAB1-1C7B92C0E4E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24354" y="2144714"/>
              <a:ext cx="1800000" cy="346075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600" b="1" dirty="0">
                  <a:solidFill>
                    <a:schemeClr val="bg1"/>
                  </a:solidFill>
                </a:rPr>
                <a:t>MANAGERS</a:t>
              </a:r>
            </a:p>
          </p:txBody>
        </p:sp>
        <p:sp>
          <p:nvSpPr>
            <p:cNvPr id="55" name="Text Box 4">
              <a:extLst>
                <a:ext uri="{FF2B5EF4-FFF2-40B4-BE49-F238E27FC236}">
                  <a16:creationId xmlns:a16="http://schemas.microsoft.com/office/drawing/2014/main" id="{E1F9A4D6-F084-4CFF-9D94-969C9FDDE8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19816" y="5961064"/>
              <a:ext cx="1800000" cy="346075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600" b="1" dirty="0">
                  <a:solidFill>
                    <a:schemeClr val="bg1"/>
                  </a:solidFill>
                </a:rPr>
                <a:t>SELLERS</a:t>
              </a:r>
            </a:p>
          </p:txBody>
        </p:sp>
        <p:sp>
          <p:nvSpPr>
            <p:cNvPr id="56" name="Text Box 5">
              <a:extLst>
                <a:ext uri="{FF2B5EF4-FFF2-40B4-BE49-F238E27FC236}">
                  <a16:creationId xmlns:a16="http://schemas.microsoft.com/office/drawing/2014/main" id="{3FA533AD-C357-4B91-872C-773B3393AA2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93745" y="3355976"/>
              <a:ext cx="1800000" cy="346075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600" b="1" dirty="0">
                  <a:solidFill>
                    <a:schemeClr val="bg1"/>
                  </a:solidFill>
                </a:rPr>
                <a:t>NEWCO 1</a:t>
              </a:r>
            </a:p>
          </p:txBody>
        </p:sp>
        <p:sp>
          <p:nvSpPr>
            <p:cNvPr id="57" name="Text Box 6">
              <a:extLst>
                <a:ext uri="{FF2B5EF4-FFF2-40B4-BE49-F238E27FC236}">
                  <a16:creationId xmlns:a16="http://schemas.microsoft.com/office/drawing/2014/main" id="{BE4F4F7C-1385-40F9-87A9-D90B44CF61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93745" y="6394451"/>
              <a:ext cx="1800000" cy="346075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600" b="1" dirty="0">
                  <a:solidFill>
                    <a:schemeClr val="bg1"/>
                  </a:solidFill>
                </a:rPr>
                <a:t>TARGET</a:t>
              </a:r>
            </a:p>
          </p:txBody>
        </p:sp>
        <p:sp>
          <p:nvSpPr>
            <p:cNvPr id="58" name="Text Box 7">
              <a:extLst>
                <a:ext uri="{FF2B5EF4-FFF2-40B4-BE49-F238E27FC236}">
                  <a16:creationId xmlns:a16="http://schemas.microsoft.com/office/drawing/2014/main" id="{C7653376-DEB8-4E51-AFA2-5F0B71BF23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93745" y="5184776"/>
              <a:ext cx="1800000" cy="346075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600" b="1" dirty="0">
                  <a:solidFill>
                    <a:schemeClr val="bg1"/>
                  </a:solidFill>
                </a:rPr>
                <a:t>NEWCO 3</a:t>
              </a:r>
            </a:p>
          </p:txBody>
        </p:sp>
        <p:sp>
          <p:nvSpPr>
            <p:cNvPr id="59" name="Text Box 8">
              <a:extLst>
                <a:ext uri="{FF2B5EF4-FFF2-40B4-BE49-F238E27FC236}">
                  <a16:creationId xmlns:a16="http://schemas.microsoft.com/office/drawing/2014/main" id="{80F2DEE3-9EB4-44C6-8DAC-227687F3B5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77554" y="5227639"/>
              <a:ext cx="1800000" cy="338554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600" b="1" dirty="0">
                  <a:solidFill>
                    <a:schemeClr val="bg1"/>
                  </a:solidFill>
                </a:rPr>
                <a:t>DEBT PROVIDERS</a:t>
              </a:r>
            </a:p>
          </p:txBody>
        </p:sp>
        <p:sp>
          <p:nvSpPr>
            <p:cNvPr id="60" name="Text Box 9">
              <a:extLst>
                <a:ext uri="{FF2B5EF4-FFF2-40B4-BE49-F238E27FC236}">
                  <a16:creationId xmlns:a16="http://schemas.microsoft.com/office/drawing/2014/main" id="{DB527383-CE7F-44D4-A4E0-CA2640D21F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93745" y="4248151"/>
              <a:ext cx="1800000" cy="346075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600" b="1" dirty="0">
                  <a:solidFill>
                    <a:schemeClr val="bg1"/>
                  </a:solidFill>
                </a:rPr>
                <a:t>NEWCO 2     </a:t>
              </a:r>
            </a:p>
          </p:txBody>
        </p:sp>
        <p:sp>
          <p:nvSpPr>
            <p:cNvPr id="61" name="Text Box 10">
              <a:extLst>
                <a:ext uri="{FF2B5EF4-FFF2-40B4-BE49-F238E27FC236}">
                  <a16:creationId xmlns:a16="http://schemas.microsoft.com/office/drawing/2014/main" id="{465F04FB-7DF7-4ED1-8882-0B36183EDF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77554" y="2139933"/>
              <a:ext cx="1800000" cy="346075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600" b="1" dirty="0">
                  <a:solidFill>
                    <a:schemeClr val="bg1"/>
                  </a:solidFill>
                </a:rPr>
                <a:t>INVESTOR</a:t>
              </a:r>
            </a:p>
          </p:txBody>
        </p:sp>
        <p:sp>
          <p:nvSpPr>
            <p:cNvPr id="62" name="Text Box 11">
              <a:extLst>
                <a:ext uri="{FF2B5EF4-FFF2-40B4-BE49-F238E27FC236}">
                  <a16:creationId xmlns:a16="http://schemas.microsoft.com/office/drawing/2014/main" id="{26DFCF05-38CC-49EB-A26B-B3CD2685E6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80329" y="2046339"/>
              <a:ext cx="16383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day-today control</a:t>
              </a:r>
            </a:p>
          </p:txBody>
        </p:sp>
        <p:sp>
          <p:nvSpPr>
            <p:cNvPr id="63" name="Text Box 12">
              <a:extLst>
                <a:ext uri="{FF2B5EF4-FFF2-40B4-BE49-F238E27FC236}">
                  <a16:creationId xmlns:a16="http://schemas.microsoft.com/office/drawing/2014/main" id="{3694A6C9-A1C0-4091-B8C0-EED0DD9A530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56529" y="2406701"/>
              <a:ext cx="163988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warranties and covenants</a:t>
              </a:r>
            </a:p>
          </p:txBody>
        </p:sp>
        <p:sp>
          <p:nvSpPr>
            <p:cNvPr id="64" name="Text Box 13">
              <a:extLst>
                <a:ext uri="{FF2B5EF4-FFF2-40B4-BE49-F238E27FC236}">
                  <a16:creationId xmlns:a16="http://schemas.microsoft.com/office/drawing/2014/main" id="{A387A4FE-EBF6-42E3-B327-69E23AD53E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83871" y="2743689"/>
              <a:ext cx="81422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money</a:t>
              </a:r>
            </a:p>
          </p:txBody>
        </p:sp>
        <p:sp>
          <p:nvSpPr>
            <p:cNvPr id="65" name="Text Box 15">
              <a:extLst>
                <a:ext uri="{FF2B5EF4-FFF2-40B4-BE49-F238E27FC236}">
                  <a16:creationId xmlns:a16="http://schemas.microsoft.com/office/drawing/2014/main" id="{AF2AF4D2-9D2A-4E35-A067-44B8702F4F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14577" y="3611970"/>
              <a:ext cx="57606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loan notes</a:t>
              </a:r>
            </a:p>
          </p:txBody>
        </p:sp>
        <p:sp>
          <p:nvSpPr>
            <p:cNvPr id="66" name="Text Box 16">
              <a:extLst>
                <a:ext uri="{FF2B5EF4-FFF2-40B4-BE49-F238E27FC236}">
                  <a16:creationId xmlns:a16="http://schemas.microsoft.com/office/drawing/2014/main" id="{DD42B7CB-8A03-41B0-8CEB-968C7504E72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98827" y="3596183"/>
              <a:ext cx="52868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money</a:t>
              </a:r>
            </a:p>
          </p:txBody>
        </p:sp>
        <p:sp>
          <p:nvSpPr>
            <p:cNvPr id="67" name="Text Box 19">
              <a:extLst>
                <a:ext uri="{FF2B5EF4-FFF2-40B4-BE49-F238E27FC236}">
                  <a16:creationId xmlns:a16="http://schemas.microsoft.com/office/drawing/2014/main" id="{088DED9A-6E45-480E-BEFD-442A311381E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41593" y="2739689"/>
              <a:ext cx="825998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money</a:t>
              </a:r>
            </a:p>
          </p:txBody>
        </p:sp>
        <p:sp>
          <p:nvSpPr>
            <p:cNvPr id="68" name="Text Box 20">
              <a:extLst>
                <a:ext uri="{FF2B5EF4-FFF2-40B4-BE49-F238E27FC236}">
                  <a16:creationId xmlns:a16="http://schemas.microsoft.com/office/drawing/2014/main" id="{95D5D4BC-1933-4639-AD3B-0A26F6144E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39228" y="2743689"/>
              <a:ext cx="50405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shares</a:t>
              </a:r>
            </a:p>
          </p:txBody>
        </p:sp>
        <p:sp>
          <p:nvSpPr>
            <p:cNvPr id="69" name="Text Box 21">
              <a:extLst>
                <a:ext uri="{FF2B5EF4-FFF2-40B4-BE49-F238E27FC236}">
                  <a16:creationId xmlns:a16="http://schemas.microsoft.com/office/drawing/2014/main" id="{142A5D51-F93C-4701-8116-5CA7AB68A4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10023" y="5415642"/>
              <a:ext cx="98049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purchase price</a:t>
              </a:r>
            </a:p>
          </p:txBody>
        </p:sp>
        <p:sp>
          <p:nvSpPr>
            <p:cNvPr id="70" name="Text Box 22">
              <a:extLst>
                <a:ext uri="{FF2B5EF4-FFF2-40B4-BE49-F238E27FC236}">
                  <a16:creationId xmlns:a16="http://schemas.microsoft.com/office/drawing/2014/main" id="{B2928320-5DA5-4DCE-95B1-CFB380424B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86185" y="5868165"/>
              <a:ext cx="76472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shares</a:t>
              </a:r>
            </a:p>
          </p:txBody>
        </p:sp>
        <p:sp>
          <p:nvSpPr>
            <p:cNvPr id="71" name="Text Box 23">
              <a:extLst>
                <a:ext uri="{FF2B5EF4-FFF2-40B4-BE49-F238E27FC236}">
                  <a16:creationId xmlns:a16="http://schemas.microsoft.com/office/drawing/2014/main" id="{24916AAB-A86A-4A5B-A17C-65524E42225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17041" y="5561729"/>
              <a:ext cx="156050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money</a:t>
              </a:r>
            </a:p>
          </p:txBody>
        </p:sp>
        <p:sp>
          <p:nvSpPr>
            <p:cNvPr id="72" name="Text Box 24">
              <a:extLst>
                <a:ext uri="{FF2B5EF4-FFF2-40B4-BE49-F238E27FC236}">
                  <a16:creationId xmlns:a16="http://schemas.microsoft.com/office/drawing/2014/main" id="{9E971E29-C29E-4763-9CE2-F135FBCF47F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17041" y="4959193"/>
              <a:ext cx="1585396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warranties, covenants</a:t>
              </a:r>
              <a:br>
                <a:rPr lang="en-GB" sz="1000" dirty="0">
                  <a:solidFill>
                    <a:schemeClr val="tx1"/>
                  </a:solidFill>
                </a:rPr>
              </a:br>
              <a:r>
                <a:rPr lang="en-GB" sz="1000" dirty="0">
                  <a:solidFill>
                    <a:schemeClr val="tx1"/>
                  </a:solidFill>
                </a:rPr>
                <a:t>and security</a:t>
              </a:r>
            </a:p>
          </p:txBody>
        </p:sp>
        <p:sp>
          <p:nvSpPr>
            <p:cNvPr id="73" name="Text Box 25">
              <a:extLst>
                <a:ext uri="{FF2B5EF4-FFF2-40B4-BE49-F238E27FC236}">
                  <a16:creationId xmlns:a16="http://schemas.microsoft.com/office/drawing/2014/main" id="{E9103FCB-6037-4D91-B1EA-B51F25FE8C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75879" y="6164264"/>
              <a:ext cx="115114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security and guarantee</a:t>
              </a:r>
            </a:p>
          </p:txBody>
        </p:sp>
        <p:sp>
          <p:nvSpPr>
            <p:cNvPr id="74" name="Line 26">
              <a:extLst>
                <a:ext uri="{FF2B5EF4-FFF2-40B4-BE49-F238E27FC236}">
                  <a16:creationId xmlns:a16="http://schemas.microsoft.com/office/drawing/2014/main" id="{429C1EA4-8265-42EA-8D78-B79EFAD0E6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24352" y="2203451"/>
              <a:ext cx="4753201" cy="0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75" name="Line 27">
              <a:extLst>
                <a:ext uri="{FF2B5EF4-FFF2-40B4-BE49-F238E27FC236}">
                  <a16:creationId xmlns:a16="http://schemas.microsoft.com/office/drawing/2014/main" id="{143153D4-3FF9-4E1C-A9B5-6121A578A0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193744" y="5507926"/>
              <a:ext cx="1583810" cy="0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76" name="Line 28">
              <a:extLst>
                <a:ext uri="{FF2B5EF4-FFF2-40B4-BE49-F238E27FC236}">
                  <a16:creationId xmlns:a16="http://schemas.microsoft.com/office/drawing/2014/main" id="{67EB1C47-2616-43D2-8855-1FBD4C3697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9816" y="2419351"/>
              <a:ext cx="4757738" cy="0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77" name="Line 29">
              <a:extLst>
                <a:ext uri="{FF2B5EF4-FFF2-40B4-BE49-F238E27FC236}">
                  <a16:creationId xmlns:a16="http://schemas.microsoft.com/office/drawing/2014/main" id="{1EC9734B-4B91-45D7-8518-C55A032912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4866" y="2490789"/>
              <a:ext cx="1793875" cy="863600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78" name="Line 30">
              <a:extLst>
                <a:ext uri="{FF2B5EF4-FFF2-40B4-BE49-F238E27FC236}">
                  <a16:creationId xmlns:a16="http://schemas.microsoft.com/office/drawing/2014/main" id="{9C750F22-B4E6-48FC-8C2D-2ED1074349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005404" y="2501901"/>
              <a:ext cx="2388341" cy="1139825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79" name="Line 31">
              <a:extLst>
                <a:ext uri="{FF2B5EF4-FFF2-40B4-BE49-F238E27FC236}">
                  <a16:creationId xmlns:a16="http://schemas.microsoft.com/office/drawing/2014/main" id="{CAA280D6-6AE9-47FD-A7EB-6BE8EB8091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83678" y="2447927"/>
              <a:ext cx="1793873" cy="908050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80" name="Line 33">
              <a:extLst>
                <a:ext uri="{FF2B5EF4-FFF2-40B4-BE49-F238E27FC236}">
                  <a16:creationId xmlns:a16="http://schemas.microsoft.com/office/drawing/2014/main" id="{6AAC75FA-1E07-464E-BA9E-913A46332B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39254" y="2490789"/>
              <a:ext cx="2886075" cy="1800225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81" name="Line 34">
              <a:extLst>
                <a:ext uri="{FF2B5EF4-FFF2-40B4-BE49-F238E27FC236}">
                  <a16:creationId xmlns:a16="http://schemas.microsoft.com/office/drawing/2014/main" id="{D4FDFC3A-B2F9-4B4A-8C99-ABD0140034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139254" y="2490789"/>
              <a:ext cx="3239885" cy="2089150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82" name="Line 35">
              <a:extLst>
                <a:ext uri="{FF2B5EF4-FFF2-40B4-BE49-F238E27FC236}">
                  <a16:creationId xmlns:a16="http://schemas.microsoft.com/office/drawing/2014/main" id="{9DB2313C-044C-460B-9638-02B122AC8A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82004" y="3688914"/>
              <a:ext cx="0" cy="559235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3" name="Line 36">
              <a:extLst>
                <a:ext uri="{FF2B5EF4-FFF2-40B4-BE49-F238E27FC236}">
                  <a16:creationId xmlns:a16="http://schemas.microsoft.com/office/drawing/2014/main" id="{B48F87E7-3FB2-412D-824F-950965A44A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282004" y="4594226"/>
              <a:ext cx="0" cy="59055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4" name="Line 37">
              <a:extLst>
                <a:ext uri="{FF2B5EF4-FFF2-40B4-BE49-F238E27FC236}">
                  <a16:creationId xmlns:a16="http://schemas.microsoft.com/office/drawing/2014/main" id="{B0ACAFC5-8810-4985-BD70-3DEB837386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82004" y="5530852"/>
              <a:ext cx="0" cy="847724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  <p:txBody>
            <a:bodyPr/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5" name="Line 38">
              <a:extLst>
                <a:ext uri="{FF2B5EF4-FFF2-40B4-BE49-F238E27FC236}">
                  <a16:creationId xmlns:a16="http://schemas.microsoft.com/office/drawing/2014/main" id="{207CFD50-069B-49E7-8458-31FCCFC226A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318138" y="5327651"/>
              <a:ext cx="2075606" cy="633413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86" name="Line 39">
              <a:extLst>
                <a:ext uri="{FF2B5EF4-FFF2-40B4-BE49-F238E27FC236}">
                  <a16:creationId xmlns:a16="http://schemas.microsoft.com/office/drawing/2014/main" id="{0855892F-A8A3-493D-B6C9-F840E2CB6E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024352" y="5546726"/>
              <a:ext cx="1943324" cy="628650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87" name="Line 40">
              <a:extLst>
                <a:ext uri="{FF2B5EF4-FFF2-40B4-BE49-F238E27FC236}">
                  <a16:creationId xmlns:a16="http://schemas.microsoft.com/office/drawing/2014/main" id="{4AC26EAD-E2AC-4725-BA83-C93EA7C9137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3019815" y="6178825"/>
              <a:ext cx="1373929" cy="429938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88" name="Line 41">
              <a:extLst>
                <a:ext uri="{FF2B5EF4-FFF2-40B4-BE49-F238E27FC236}">
                  <a16:creationId xmlns:a16="http://schemas.microsoft.com/office/drawing/2014/main" id="{4FE50136-BCD6-49B6-8F02-79D4A6403E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93744" y="5299076"/>
              <a:ext cx="1583809" cy="0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89" name="Line 42">
              <a:extLst>
                <a:ext uri="{FF2B5EF4-FFF2-40B4-BE49-F238E27FC236}">
                  <a16:creationId xmlns:a16="http://schemas.microsoft.com/office/drawing/2014/main" id="{9B097494-D1F6-4D63-9E06-DD46F5B23F7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189208" y="5588001"/>
              <a:ext cx="2524971" cy="1004888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90" name="Text Box 17">
              <a:extLst>
                <a:ext uri="{FF2B5EF4-FFF2-40B4-BE49-F238E27FC236}">
                  <a16:creationId xmlns:a16="http://schemas.microsoft.com/office/drawing/2014/main" id="{718D767A-3D3B-42A8-85F4-2D62A7FC0C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64484" y="3896489"/>
              <a:ext cx="1638300" cy="15388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Loan or share subscription</a:t>
              </a:r>
            </a:p>
          </p:txBody>
        </p:sp>
        <p:sp>
          <p:nvSpPr>
            <p:cNvPr id="91" name="Text Box 18">
              <a:extLst>
                <a:ext uri="{FF2B5EF4-FFF2-40B4-BE49-F238E27FC236}">
                  <a16:creationId xmlns:a16="http://schemas.microsoft.com/office/drawing/2014/main" id="{A10FA84A-3F5B-4CA6-AACF-DAD1197D3D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74595" y="4838017"/>
              <a:ext cx="1638300" cy="15388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GB" sz="1000" dirty="0">
                  <a:solidFill>
                    <a:schemeClr val="tx1"/>
                  </a:solidFill>
                </a:rPr>
                <a:t>Loan or share subscrip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0329297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D4EE28-E288-40B3-8E89-9F3264B8E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returns are spli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167781-EE1D-47F5-B491-18137BE56C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Management is both incentivised by, and subordinated to, shareholder return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Text Box 16">
            <a:extLst>
              <a:ext uri="{FF2B5EF4-FFF2-40B4-BE49-F238E27FC236}">
                <a16:creationId xmlns:a16="http://schemas.microsoft.com/office/drawing/2014/main" id="{D043082D-AFBC-4817-9624-0BC32367F2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1310" y="2686471"/>
            <a:ext cx="254422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400" dirty="0">
                <a:solidFill>
                  <a:schemeClr val="tx1"/>
                </a:solidFill>
              </a:rPr>
              <a:t>Sweet equity grows faster, but is subordinated to institutional equit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Text Box 17">
            <a:extLst>
              <a:ext uri="{FF2B5EF4-FFF2-40B4-BE49-F238E27FC236}">
                <a16:creationId xmlns:a16="http://schemas.microsoft.com/office/drawing/2014/main" id="{ACEF07F4-739B-4CD2-92B8-3CA00F2FDD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1310" y="3994643"/>
            <a:ext cx="259160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400" dirty="0">
                <a:solidFill>
                  <a:schemeClr val="tx1"/>
                </a:solidFill>
              </a:rPr>
              <a:t>Institutional equity grows slower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Text Box 19">
            <a:extLst>
              <a:ext uri="{FF2B5EF4-FFF2-40B4-BE49-F238E27FC236}">
                <a16:creationId xmlns:a16="http://schemas.microsoft.com/office/drawing/2014/main" id="{80D71D53-A96C-4D6A-8825-3F71311F3A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1310" y="5201245"/>
            <a:ext cx="20893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400" dirty="0">
                <a:solidFill>
                  <a:schemeClr val="tx1"/>
                </a:solidFill>
              </a:rPr>
              <a:t>Debt paid dow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Text Box 32">
            <a:extLst>
              <a:ext uri="{FF2B5EF4-FFF2-40B4-BE49-F238E27FC236}">
                <a16:creationId xmlns:a16="http://schemas.microsoft.com/office/drawing/2014/main" id="{DDEC5DE8-6D84-4BA9-8364-1AB2286BDD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936" y="6531768"/>
            <a:ext cx="28067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GB" sz="800" dirty="0">
                <a:solidFill>
                  <a:schemeClr val="tx1"/>
                </a:solidFill>
              </a:rPr>
              <a:t>Note: Values are illustrative only.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A279A1-1BD8-4275-BBF8-82BA9DE3BA38}"/>
              </a:ext>
            </a:extLst>
          </p:cNvPr>
          <p:cNvCxnSpPr/>
          <p:nvPr>
            <p:custDataLst>
              <p:tags r:id="rId1"/>
            </p:custDataLst>
          </p:nvPr>
        </p:nvCxnSpPr>
        <p:spPr bwMode="auto">
          <a:xfrm flipV="1">
            <a:off x="4047073" y="3340893"/>
            <a:ext cx="1409700" cy="371475"/>
          </a:xfrm>
          <a:prstGeom prst="line">
            <a:avLst/>
          </a:prstGeom>
          <a:solidFill>
            <a:srgbClr val="788DB3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EDDF4D5-DE40-49C5-B80B-0316D490B9F3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4047073" y="4493418"/>
            <a:ext cx="1409700" cy="400050"/>
          </a:xfrm>
          <a:prstGeom prst="line">
            <a:avLst/>
          </a:prstGeom>
          <a:solidFill>
            <a:srgbClr val="788DB3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A9960B8-0B75-4F61-BF42-1487DD67315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4047073" y="2721768"/>
            <a:ext cx="1409700" cy="885825"/>
          </a:xfrm>
          <a:prstGeom prst="line">
            <a:avLst/>
          </a:prstGeom>
          <a:solidFill>
            <a:srgbClr val="788DB3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4B7A536C-3261-430D-8041-ADE98403500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069548" y="5979318"/>
            <a:ext cx="527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8780BD-CED9-4860-B9D7-AD76385370D2}" type="datetime'''At'''''''''''''''' Ex''''''i''''''''''''''''''''t'''''''">
              <a:rPr lang="en-US" sz="1400">
                <a:latin typeface="+mn-lt"/>
                <a:sym typeface="Microsoft Sans Serif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t Exit</a:t>
            </a:fld>
            <a:endParaRPr lang="en-GB" sz="1400" dirty="0">
              <a:latin typeface="+mn-lt"/>
              <a:sym typeface="Microsoft Sans Serif" panose="020B0604020202020204" pitchFamily="34" charset="0"/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484FCCA-3C39-4B62-BF6D-AFC2E67F59E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631023" y="5979318"/>
            <a:ext cx="10715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3525" indent="-263525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&gt;"/>
              <a:defRPr>
                <a:solidFill>
                  <a:srgbClr val="000000"/>
                </a:solidFill>
                <a:latin typeface="Microsoft Sans Serif" pitchFamily="34" charset="0"/>
                <a:ea typeface="+mn-ea"/>
                <a:cs typeface="Microsoft Sans Serif" pitchFamily="34" charset="0"/>
              </a:defRPr>
            </a:lvl1pPr>
            <a:lvl2pPr marL="555625" indent="-290513" algn="l" defTabSz="912813" rtl="0" eaLnBrk="0" fontAlgn="base" hangingPunct="0">
              <a:spcBef>
                <a:spcPct val="25000"/>
              </a:spcBef>
              <a:spcAft>
                <a:spcPct val="50000"/>
              </a:spcAft>
              <a:buClr>
                <a:schemeClr val="tx1"/>
              </a:buClr>
              <a:buSzPct val="11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2pPr>
            <a:lvl3pPr marL="885825" indent="-327025" algn="l" defTabSz="912813" rtl="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3pPr>
            <a:lvl4pPr marL="1231900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4pPr>
            <a:lvl5pPr marL="1577975" indent="-342900" algn="l" defTabSz="912813" rtl="0" eaLnBrk="0" fontAlgn="base" hangingPunct="0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/>
              <a:buChar char="–"/>
              <a:defRPr>
                <a:solidFill>
                  <a:srgbClr val="000000"/>
                </a:solidFill>
                <a:latin typeface="Microsoft Sans Serif" pitchFamily="34" charset="0"/>
                <a:cs typeface="Microsoft Sans Serif" pitchFamily="34" charset="0"/>
              </a:defRPr>
            </a:lvl5pPr>
            <a:lvl6pPr marL="2171907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6pPr>
            <a:lvl7pPr marL="2765369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7pPr>
            <a:lvl8pPr marL="3358830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8pPr>
            <a:lvl9pPr marL="3952292" indent="-344127" algn="l" defTabSz="912860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1"/>
              </a:buClr>
              <a:buSzPct val="120000"/>
              <a:buFont typeface="Frutiger 55 Roman" pitchFamily="34" charset="0"/>
              <a:buChar char="–"/>
              <a:defRPr sz="18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78ADB7-3BBE-4AB8-8319-98C30F52583F}" type="datetime'''''At ''''''''''ac''''q''''''u''''is''''i''''t''io''n'''''">
              <a:rPr lang="en-US" sz="1400">
                <a:latin typeface="+mn-lt"/>
              </a:rPr>
              <a:pPr/>
              <a:t>At acquisition</a:t>
            </a:fld>
            <a:endParaRPr lang="en-GB" sz="1400" dirty="0">
              <a:latin typeface="+mn-lt"/>
              <a:sym typeface="Microsoft Sans Serif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0BB962-D2AF-4B54-9C5F-C06BF4DE8F50}"/>
              </a:ext>
            </a:extLst>
          </p:cNvPr>
          <p:cNvSpPr txBox="1"/>
          <p:nvPr/>
        </p:nvSpPr>
        <p:spPr>
          <a:xfrm>
            <a:off x="2872139" y="5001002"/>
            <a:ext cx="5397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Deb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B3F7E51-A071-4370-B38B-1565C2D8786C}"/>
              </a:ext>
            </a:extLst>
          </p:cNvPr>
          <p:cNvSpPr txBox="1"/>
          <p:nvPr/>
        </p:nvSpPr>
        <p:spPr>
          <a:xfrm>
            <a:off x="2631004" y="3848450"/>
            <a:ext cx="107074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Institutional</a:t>
            </a:r>
          </a:p>
          <a:p>
            <a:pPr algn="ctr"/>
            <a:r>
              <a:rPr lang="en-GB" sz="1400" dirty="0">
                <a:solidFill>
                  <a:schemeClr val="bg1"/>
                </a:solidFill>
              </a:rPr>
              <a:t>Equit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941528B-5658-4248-A91A-271C166125C8}"/>
              </a:ext>
            </a:extLst>
          </p:cNvPr>
          <p:cNvSpPr txBox="1"/>
          <p:nvPr/>
        </p:nvSpPr>
        <p:spPr>
          <a:xfrm>
            <a:off x="2340681" y="2975955"/>
            <a:ext cx="165224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rgbClr val="01060B"/>
                </a:solidFill>
              </a:rPr>
              <a:t>Management Sweet</a:t>
            </a:r>
          </a:p>
          <a:p>
            <a:pPr algn="ctr"/>
            <a:r>
              <a:rPr lang="en-GB" sz="1400" dirty="0">
                <a:solidFill>
                  <a:srgbClr val="01060B"/>
                </a:solidFill>
              </a:rPr>
              <a:t>Equit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E9FA587-9A23-40A7-BE6F-636B46CB20DA}"/>
              </a:ext>
            </a:extLst>
          </p:cNvPr>
          <p:cNvCxnSpPr>
            <a:endCxn id="18" idx="2"/>
          </p:cNvCxnSpPr>
          <p:nvPr/>
        </p:nvCxnSpPr>
        <p:spPr bwMode="auto">
          <a:xfrm flipV="1">
            <a:off x="3166801" y="3576119"/>
            <a:ext cx="4" cy="75740"/>
          </a:xfrm>
          <a:prstGeom prst="line">
            <a:avLst/>
          </a:prstGeom>
          <a:solidFill>
            <a:srgbClr val="788DB3"/>
          </a:solidFill>
          <a:ln w="19050" cap="flat" cmpd="sng" algn="ctr">
            <a:solidFill>
              <a:srgbClr val="01060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75586A0D-64F3-40A7-9C91-19EA84CC9CD2}"/>
              </a:ext>
            </a:extLst>
          </p:cNvPr>
          <p:cNvSpPr txBox="1"/>
          <p:nvPr/>
        </p:nvSpPr>
        <p:spPr>
          <a:xfrm>
            <a:off x="6067163" y="5187156"/>
            <a:ext cx="5397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Deb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93524C3-249E-4C35-A3EB-536DEB2BAE59}"/>
              </a:ext>
            </a:extLst>
          </p:cNvPr>
          <p:cNvSpPr txBox="1"/>
          <p:nvPr/>
        </p:nvSpPr>
        <p:spPr>
          <a:xfrm>
            <a:off x="5801673" y="3806505"/>
            <a:ext cx="107074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Institutional</a:t>
            </a:r>
          </a:p>
          <a:p>
            <a:pPr algn="ctr"/>
            <a:r>
              <a:rPr lang="en-GB" sz="1400" dirty="0">
                <a:solidFill>
                  <a:schemeClr val="bg1"/>
                </a:solidFill>
              </a:rPr>
              <a:t>Equ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8F702E-3CF5-4DBC-9A64-BB72B59473B6}"/>
              </a:ext>
            </a:extLst>
          </p:cNvPr>
          <p:cNvSpPr txBox="1"/>
          <p:nvPr/>
        </p:nvSpPr>
        <p:spPr>
          <a:xfrm>
            <a:off x="5510926" y="2755721"/>
            <a:ext cx="1652247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rgbClr val="01060B"/>
                </a:solidFill>
              </a:rPr>
              <a:t>Management Sweet</a:t>
            </a:r>
          </a:p>
          <a:p>
            <a:pPr algn="ctr"/>
            <a:r>
              <a:rPr lang="en-GB" sz="1400" dirty="0">
                <a:solidFill>
                  <a:srgbClr val="01060B"/>
                </a:solidFill>
              </a:rPr>
              <a:t>Equity</a:t>
            </a:r>
          </a:p>
        </p:txBody>
      </p:sp>
      <p:pic>
        <p:nvPicPr>
          <p:cNvPr id="23" name="Picture 143">
            <a:extLst>
              <a:ext uri="{FF2B5EF4-FFF2-40B4-BE49-F238E27FC236}">
                <a16:creationId xmlns:a16="http://schemas.microsoft.com/office/drawing/2014/main" id="{DD452D7A-2F45-4DFE-8D74-D5B0195D07C3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798" y="2607468"/>
            <a:ext cx="6540500" cy="331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34237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018B2-1397-4194-9B3A-CB718ADC89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vate Equity and its affect on M&amp;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19097A-82BF-48D5-A0C3-4B4445DA42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Changed the dynamics.  The sell side came to dominate.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Professionalisation and development of sophisticated due diligence.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Management became significant players in the process.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46C8197-44ED-4AA3-B0BD-C3AADBD67D79}"/>
              </a:ext>
            </a:extLst>
          </p:cNvPr>
          <p:cNvSpPr txBox="1">
            <a:spLocks/>
          </p:cNvSpPr>
          <p:nvPr/>
        </p:nvSpPr>
        <p:spPr>
          <a:xfrm>
            <a:off x="9775376" y="6994512"/>
            <a:ext cx="539875" cy="287786"/>
          </a:xfrm>
          <a:prstGeom prst="ellipse">
            <a:avLst/>
          </a:prstGeom>
        </p:spPr>
        <p:txBody>
          <a:bodyPr/>
          <a:lstStyle>
            <a:defPPr>
              <a:defRPr lang="en-GB"/>
            </a:defPPr>
            <a:lvl1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180975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EC32002-2730-460F-85BC-7CFD860653CD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53514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24385-A2C9-41BD-8240-F86297218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re are many participants involved in Leveraged Buy-Outs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EA4E4B5-85C4-4A8C-AFB8-D61ED346F2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/>
          <a:srcRect t="6793"/>
          <a:stretch/>
        </p:blipFill>
        <p:spPr bwMode="auto">
          <a:xfrm>
            <a:off x="625343" y="2451157"/>
            <a:ext cx="5181986" cy="3385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4">
            <a:extLst>
              <a:ext uri="{FF2B5EF4-FFF2-40B4-BE49-F238E27FC236}">
                <a16:creationId xmlns:a16="http://schemas.microsoft.com/office/drawing/2014/main" id="{1C36A9C5-515B-4478-A8D9-13F2EED8D9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82062" y="2004443"/>
            <a:ext cx="3681100" cy="4539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en-GB" sz="1600" dirty="0">
                <a:solidFill>
                  <a:schemeClr val="tx1"/>
                </a:solidFill>
                <a:latin typeface="+mj-lt"/>
              </a:rPr>
              <a:t>Advisors – </a:t>
            </a:r>
            <a:r>
              <a:rPr lang="en-GB" sz="1600" b="1" dirty="0">
                <a:latin typeface="+mj-lt"/>
              </a:rPr>
              <a:t>several hundred people can be involved in a single transaction:</a:t>
            </a:r>
          </a:p>
          <a:p>
            <a:endParaRPr lang="en-GB" sz="1600" b="1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+mj-lt"/>
              </a:rPr>
              <a:t>Corporate finance advisers for buyer and se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+mj-lt"/>
              </a:rPr>
              <a:t>Legal counsel for buyer, management, seller and ban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+mj-lt"/>
              </a:rPr>
              <a:t>Accountants for buyer and se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+mj-lt"/>
              </a:rPr>
              <a:t>Tax exper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+mj-lt"/>
              </a:rPr>
              <a:t>Insurance expe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+mj-lt"/>
              </a:rPr>
              <a:t>Environmental expe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+mj-lt"/>
              </a:rPr>
              <a:t>Pension expe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+mj-lt"/>
              </a:rPr>
              <a:t>Property expe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+mj-lt"/>
              </a:rPr>
              <a:t>PR/communications for buyer and sell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+mj-lt"/>
              </a:rPr>
              <a:t>Etc.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D86763AA-2DB9-46DE-BEFA-60C61AB365DB}"/>
              </a:ext>
            </a:extLst>
          </p:cNvPr>
          <p:cNvSpPr/>
          <p:nvPr/>
        </p:nvSpPr>
        <p:spPr bwMode="auto">
          <a:xfrm rot="5400000">
            <a:off x="4453361" y="3811456"/>
            <a:ext cx="3125783" cy="417848"/>
          </a:xfrm>
          <a:prstGeom prst="triangle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94C677F7-828B-47AE-AF20-5C2F44CC9E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0105" y="2004443"/>
            <a:ext cx="3417582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en-GB" sz="1600" b="1" dirty="0">
                <a:solidFill>
                  <a:schemeClr val="tx1"/>
                </a:solidFill>
                <a:latin typeface="+mj-lt"/>
              </a:rPr>
              <a:t>Participants in a leveraged buy-out</a:t>
            </a:r>
          </a:p>
        </p:txBody>
      </p:sp>
    </p:spTree>
    <p:extLst>
      <p:ext uri="{BB962C8B-B14F-4D97-AF65-F5344CB8AC3E}">
        <p14:creationId xmlns:p14="http://schemas.microsoft.com/office/powerpoint/2010/main" val="19197355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630238" y="2880000"/>
            <a:ext cx="9432985" cy="3887513"/>
          </a:xfrm>
        </p:spPr>
        <p:txBody>
          <a:bodyPr/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Sale and purchase agreement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Sets out price – locked box vs completion accounts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Warranties – what they are there to do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UK vs US practic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2DBA5042-4FCE-4FBF-8DB2-D06B8A067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400" b="1" dirty="0"/>
              <a:t>Key Documentation : Acquisi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egal advisors play a key role in the deal structuring and execution phas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89A3042-C27C-4A5C-BB75-4582C7BFB122}"/>
              </a:ext>
            </a:extLst>
          </p:cNvPr>
          <p:cNvSpPr/>
          <p:nvPr/>
        </p:nvSpPr>
        <p:spPr>
          <a:xfrm>
            <a:off x="8010996" y="4849082"/>
            <a:ext cx="2657058" cy="2682977"/>
          </a:xfrm>
          <a:custGeom>
            <a:avLst/>
            <a:gdLst>
              <a:gd name="connsiteX0" fmla="*/ 1440000 w 2175077"/>
              <a:gd name="connsiteY0" fmla="*/ 720000 h 2196295"/>
              <a:gd name="connsiteX1" fmla="*/ 720000 w 2175077"/>
              <a:gd name="connsiteY1" fmla="*/ 1440000 h 2196295"/>
              <a:gd name="connsiteX2" fmla="*/ 1440000 w 2175077"/>
              <a:gd name="connsiteY2" fmla="*/ 2160000 h 2196295"/>
              <a:gd name="connsiteX3" fmla="*/ 2160000 w 2175077"/>
              <a:gd name="connsiteY3" fmla="*/ 1440000 h 2196295"/>
              <a:gd name="connsiteX4" fmla="*/ 1440000 w 2175077"/>
              <a:gd name="connsiteY4" fmla="*/ 720000 h 2196295"/>
              <a:gd name="connsiteX5" fmla="*/ 1440000 w 2175077"/>
              <a:gd name="connsiteY5" fmla="*/ 0 h 2196295"/>
              <a:gd name="connsiteX6" fmla="*/ 2126390 w 2175077"/>
              <a:gd name="connsiteY6" fmla="*/ 173801 h 2196295"/>
              <a:gd name="connsiteX7" fmla="*/ 2175077 w 2175077"/>
              <a:gd name="connsiteY7" fmla="*/ 203379 h 2196295"/>
              <a:gd name="connsiteX8" fmla="*/ 2175077 w 2175077"/>
              <a:gd name="connsiteY8" fmla="*/ 2196295 h 2196295"/>
              <a:gd name="connsiteX9" fmla="*/ 216269 w 2175077"/>
              <a:gd name="connsiteY9" fmla="*/ 2196295 h 2196295"/>
              <a:gd name="connsiteX10" fmla="*/ 173800 w 2175077"/>
              <a:gd name="connsiteY10" fmla="*/ 2126390 h 2196295"/>
              <a:gd name="connsiteX11" fmla="*/ 0 w 2175077"/>
              <a:gd name="connsiteY11" fmla="*/ 1440000 h 2196295"/>
              <a:gd name="connsiteX12" fmla="*/ 1440000 w 2175077"/>
              <a:gd name="connsiteY12" fmla="*/ 0 h 2196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75077" h="2196295">
                <a:moveTo>
                  <a:pt x="1440000" y="720000"/>
                </a:moveTo>
                <a:cubicBezTo>
                  <a:pt x="1042355" y="720000"/>
                  <a:pt x="720000" y="1042355"/>
                  <a:pt x="720000" y="1440000"/>
                </a:cubicBezTo>
                <a:cubicBezTo>
                  <a:pt x="720000" y="1837645"/>
                  <a:pt x="1042355" y="2160000"/>
                  <a:pt x="1440000" y="2160000"/>
                </a:cubicBezTo>
                <a:cubicBezTo>
                  <a:pt x="1837645" y="2160000"/>
                  <a:pt x="2160000" y="1837645"/>
                  <a:pt x="2160000" y="1440000"/>
                </a:cubicBezTo>
                <a:cubicBezTo>
                  <a:pt x="2160000" y="1042355"/>
                  <a:pt x="1837645" y="720000"/>
                  <a:pt x="1440000" y="720000"/>
                </a:cubicBezTo>
                <a:close/>
                <a:moveTo>
                  <a:pt x="1440000" y="0"/>
                </a:moveTo>
                <a:cubicBezTo>
                  <a:pt x="1688528" y="0"/>
                  <a:pt x="1922351" y="62960"/>
                  <a:pt x="2126390" y="173801"/>
                </a:cubicBezTo>
                <a:lnTo>
                  <a:pt x="2175077" y="203379"/>
                </a:lnTo>
                <a:lnTo>
                  <a:pt x="2175077" y="2196295"/>
                </a:lnTo>
                <a:lnTo>
                  <a:pt x="216269" y="2196295"/>
                </a:lnTo>
                <a:lnTo>
                  <a:pt x="173800" y="2126390"/>
                </a:lnTo>
                <a:cubicBezTo>
                  <a:pt x="62960" y="1922351"/>
                  <a:pt x="0" y="1688528"/>
                  <a:pt x="0" y="1440000"/>
                </a:cubicBezTo>
                <a:cubicBezTo>
                  <a:pt x="0" y="644710"/>
                  <a:pt x="644710" y="0"/>
                  <a:pt x="1440000" y="0"/>
                </a:cubicBezTo>
                <a:close/>
              </a:path>
            </a:pathLst>
          </a:custGeom>
          <a:solidFill>
            <a:schemeClr val="tx2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5956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965EE6-75DC-4EDB-A3F0-8E7492FEB8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What is private equity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612882-2ACA-48EB-A1BE-9AB2229D7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5979227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31" name="Rectangle 3"/>
          <p:cNvSpPr>
            <a:spLocks noGrp="1" noChangeArrowheads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Shareholders’ or Investment Agreement</a:t>
            </a:r>
          </a:p>
          <a:p>
            <a:pPr marL="719138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dirty="0"/>
              <a:t>Subscription</a:t>
            </a:r>
          </a:p>
          <a:p>
            <a:pPr marL="719138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dirty="0"/>
              <a:t>Warranties and restrictive covenants</a:t>
            </a:r>
          </a:p>
          <a:p>
            <a:pPr marL="719138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dirty="0"/>
              <a:t>Governance architecture</a:t>
            </a:r>
          </a:p>
          <a:p>
            <a:pPr marL="719138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dirty="0"/>
              <a:t>Exit provisions</a:t>
            </a:r>
          </a:p>
          <a:p>
            <a:pPr lvl="1"/>
            <a:endParaRPr lang="en-GB" sz="20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1CA5924-63D0-45F5-A74A-C8D8D40AD5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400" b="1" dirty="0"/>
              <a:t>Key Documentation : Equity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53B1849-5D44-48A1-90AF-97F20279AD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Articles of Association</a:t>
            </a:r>
          </a:p>
          <a:p>
            <a:pPr marL="719138" lvl="1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sz="2000" dirty="0">
                <a:latin typeface="+mj-lt"/>
              </a:rPr>
              <a:t>Classes of capital (voting, income, redemption, conversion, rights on liquidation)</a:t>
            </a:r>
          </a:p>
          <a:p>
            <a:pPr marL="719138" lvl="1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sz="2000" dirty="0">
                <a:latin typeface="+mj-lt"/>
              </a:rPr>
              <a:t>Share transfers</a:t>
            </a:r>
          </a:p>
          <a:p>
            <a:pPr marL="719138" lvl="1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sz="2000" dirty="0">
                <a:latin typeface="+mj-lt"/>
              </a:rPr>
              <a:t>Leaver provisions</a:t>
            </a:r>
          </a:p>
          <a:p>
            <a:pPr marL="719138" lvl="1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sz="2000" dirty="0">
                <a:latin typeface="+mj-lt"/>
              </a:rPr>
              <a:t>Tag and drag rights</a:t>
            </a:r>
          </a:p>
          <a:p>
            <a:endParaRPr lang="en-GB" dirty="0"/>
          </a:p>
        </p:txBody>
      </p:sp>
      <p:sp>
        <p:nvSpPr>
          <p:cNvPr id="43010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egal advisors play a key role in the deal structuring and execution phase </a:t>
            </a:r>
            <a:br>
              <a:rPr lang="en-GB" dirty="0"/>
            </a:br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9B12E83-1401-4867-80AC-9D95501BF69C}"/>
              </a:ext>
            </a:extLst>
          </p:cNvPr>
          <p:cNvSpPr/>
          <p:nvPr/>
        </p:nvSpPr>
        <p:spPr>
          <a:xfrm>
            <a:off x="8010996" y="4849082"/>
            <a:ext cx="2657058" cy="2682977"/>
          </a:xfrm>
          <a:custGeom>
            <a:avLst/>
            <a:gdLst>
              <a:gd name="connsiteX0" fmla="*/ 1440000 w 2175077"/>
              <a:gd name="connsiteY0" fmla="*/ 720000 h 2196295"/>
              <a:gd name="connsiteX1" fmla="*/ 720000 w 2175077"/>
              <a:gd name="connsiteY1" fmla="*/ 1440000 h 2196295"/>
              <a:gd name="connsiteX2" fmla="*/ 1440000 w 2175077"/>
              <a:gd name="connsiteY2" fmla="*/ 2160000 h 2196295"/>
              <a:gd name="connsiteX3" fmla="*/ 2160000 w 2175077"/>
              <a:gd name="connsiteY3" fmla="*/ 1440000 h 2196295"/>
              <a:gd name="connsiteX4" fmla="*/ 1440000 w 2175077"/>
              <a:gd name="connsiteY4" fmla="*/ 720000 h 2196295"/>
              <a:gd name="connsiteX5" fmla="*/ 1440000 w 2175077"/>
              <a:gd name="connsiteY5" fmla="*/ 0 h 2196295"/>
              <a:gd name="connsiteX6" fmla="*/ 2126390 w 2175077"/>
              <a:gd name="connsiteY6" fmla="*/ 173801 h 2196295"/>
              <a:gd name="connsiteX7" fmla="*/ 2175077 w 2175077"/>
              <a:gd name="connsiteY7" fmla="*/ 203379 h 2196295"/>
              <a:gd name="connsiteX8" fmla="*/ 2175077 w 2175077"/>
              <a:gd name="connsiteY8" fmla="*/ 2196295 h 2196295"/>
              <a:gd name="connsiteX9" fmla="*/ 216269 w 2175077"/>
              <a:gd name="connsiteY9" fmla="*/ 2196295 h 2196295"/>
              <a:gd name="connsiteX10" fmla="*/ 173800 w 2175077"/>
              <a:gd name="connsiteY10" fmla="*/ 2126390 h 2196295"/>
              <a:gd name="connsiteX11" fmla="*/ 0 w 2175077"/>
              <a:gd name="connsiteY11" fmla="*/ 1440000 h 2196295"/>
              <a:gd name="connsiteX12" fmla="*/ 1440000 w 2175077"/>
              <a:gd name="connsiteY12" fmla="*/ 0 h 2196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75077" h="2196295">
                <a:moveTo>
                  <a:pt x="1440000" y="720000"/>
                </a:moveTo>
                <a:cubicBezTo>
                  <a:pt x="1042355" y="720000"/>
                  <a:pt x="720000" y="1042355"/>
                  <a:pt x="720000" y="1440000"/>
                </a:cubicBezTo>
                <a:cubicBezTo>
                  <a:pt x="720000" y="1837645"/>
                  <a:pt x="1042355" y="2160000"/>
                  <a:pt x="1440000" y="2160000"/>
                </a:cubicBezTo>
                <a:cubicBezTo>
                  <a:pt x="1837645" y="2160000"/>
                  <a:pt x="2160000" y="1837645"/>
                  <a:pt x="2160000" y="1440000"/>
                </a:cubicBezTo>
                <a:cubicBezTo>
                  <a:pt x="2160000" y="1042355"/>
                  <a:pt x="1837645" y="720000"/>
                  <a:pt x="1440000" y="720000"/>
                </a:cubicBezTo>
                <a:close/>
                <a:moveTo>
                  <a:pt x="1440000" y="0"/>
                </a:moveTo>
                <a:cubicBezTo>
                  <a:pt x="1688528" y="0"/>
                  <a:pt x="1922351" y="62960"/>
                  <a:pt x="2126390" y="173801"/>
                </a:cubicBezTo>
                <a:lnTo>
                  <a:pt x="2175077" y="203379"/>
                </a:lnTo>
                <a:lnTo>
                  <a:pt x="2175077" y="2196295"/>
                </a:lnTo>
                <a:lnTo>
                  <a:pt x="216269" y="2196295"/>
                </a:lnTo>
                <a:lnTo>
                  <a:pt x="173800" y="2126390"/>
                </a:lnTo>
                <a:cubicBezTo>
                  <a:pt x="62960" y="1922351"/>
                  <a:pt x="0" y="1688528"/>
                  <a:pt x="0" y="1440000"/>
                </a:cubicBezTo>
                <a:cubicBezTo>
                  <a:pt x="0" y="644710"/>
                  <a:pt x="644710" y="0"/>
                  <a:pt x="1440000" y="0"/>
                </a:cubicBezTo>
                <a:close/>
              </a:path>
            </a:pathLst>
          </a:custGeom>
          <a:solidFill>
            <a:schemeClr val="tx2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06826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8531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31" name="Rectangle 3"/>
          <p:cNvSpPr>
            <a:spLocks noGrp="1" noChangeArrowheads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Senior Debt evidenced by Facilities Agreement</a:t>
            </a:r>
          </a:p>
          <a:p>
            <a:pPr marL="719138" lvl="1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sz="2000" dirty="0">
                <a:latin typeface="+mj-lt"/>
              </a:rPr>
              <a:t>mechanics for drawdown, repayment and payment of interest warranties</a:t>
            </a:r>
          </a:p>
          <a:p>
            <a:pPr marL="719138" lvl="1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sz="2000" dirty="0">
                <a:latin typeface="+mj-lt"/>
              </a:rPr>
              <a:t>covenants – restrictive, positive and financial</a:t>
            </a:r>
          </a:p>
          <a:p>
            <a:pPr marL="719138" lvl="1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sz="2000" dirty="0">
                <a:latin typeface="+mj-lt"/>
              </a:rPr>
              <a:t>events of default – e.g. on non-payment, loan accelerates/on demand</a:t>
            </a:r>
          </a:p>
          <a:p>
            <a:pPr marL="719138" lvl="1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sz="2000" dirty="0">
                <a:latin typeface="+mj-lt"/>
              </a:rPr>
              <a:t>secured</a:t>
            </a:r>
          </a:p>
          <a:p>
            <a:pPr lvl="1"/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926E7FC-39AE-4455-B880-7510B2C647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400" b="1" dirty="0"/>
              <a:t>Key Debt Documentation : Deb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A5E463C-0CA6-4A22-8979-5B34E864D2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Mezzanine</a:t>
            </a:r>
          </a:p>
          <a:p>
            <a:pPr marL="719138" lvl="1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sz="2000" dirty="0">
                <a:latin typeface="+mj-lt"/>
              </a:rPr>
              <a:t>follows senior</a:t>
            </a:r>
          </a:p>
          <a:p>
            <a:pPr marL="719138" lvl="1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sz="2000" dirty="0">
                <a:latin typeface="+mj-lt"/>
              </a:rPr>
              <a:t>higher interest rate, higher fees</a:t>
            </a:r>
          </a:p>
          <a:p>
            <a:pPr marL="719138" lvl="1" indent="-358775"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en-GB" sz="2000" dirty="0">
                <a:latin typeface="+mj-lt"/>
              </a:rPr>
              <a:t>equity option (warrants) sometimes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 err="1"/>
              <a:t>Unitranche</a:t>
            </a:r>
            <a:endParaRPr lang="en-GB" dirty="0"/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DCM</a:t>
            </a: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egal advisors play a key role in the deal structuring and execution phase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D899810-9771-4DB4-90E8-8CCE9D50CECB}"/>
              </a:ext>
            </a:extLst>
          </p:cNvPr>
          <p:cNvSpPr/>
          <p:nvPr/>
        </p:nvSpPr>
        <p:spPr>
          <a:xfrm>
            <a:off x="8010996" y="4849082"/>
            <a:ext cx="2657058" cy="2682977"/>
          </a:xfrm>
          <a:custGeom>
            <a:avLst/>
            <a:gdLst>
              <a:gd name="connsiteX0" fmla="*/ 1440000 w 2175077"/>
              <a:gd name="connsiteY0" fmla="*/ 720000 h 2196295"/>
              <a:gd name="connsiteX1" fmla="*/ 720000 w 2175077"/>
              <a:gd name="connsiteY1" fmla="*/ 1440000 h 2196295"/>
              <a:gd name="connsiteX2" fmla="*/ 1440000 w 2175077"/>
              <a:gd name="connsiteY2" fmla="*/ 2160000 h 2196295"/>
              <a:gd name="connsiteX3" fmla="*/ 2160000 w 2175077"/>
              <a:gd name="connsiteY3" fmla="*/ 1440000 h 2196295"/>
              <a:gd name="connsiteX4" fmla="*/ 1440000 w 2175077"/>
              <a:gd name="connsiteY4" fmla="*/ 720000 h 2196295"/>
              <a:gd name="connsiteX5" fmla="*/ 1440000 w 2175077"/>
              <a:gd name="connsiteY5" fmla="*/ 0 h 2196295"/>
              <a:gd name="connsiteX6" fmla="*/ 2126390 w 2175077"/>
              <a:gd name="connsiteY6" fmla="*/ 173801 h 2196295"/>
              <a:gd name="connsiteX7" fmla="*/ 2175077 w 2175077"/>
              <a:gd name="connsiteY7" fmla="*/ 203379 h 2196295"/>
              <a:gd name="connsiteX8" fmla="*/ 2175077 w 2175077"/>
              <a:gd name="connsiteY8" fmla="*/ 2196295 h 2196295"/>
              <a:gd name="connsiteX9" fmla="*/ 216269 w 2175077"/>
              <a:gd name="connsiteY9" fmla="*/ 2196295 h 2196295"/>
              <a:gd name="connsiteX10" fmla="*/ 173800 w 2175077"/>
              <a:gd name="connsiteY10" fmla="*/ 2126390 h 2196295"/>
              <a:gd name="connsiteX11" fmla="*/ 0 w 2175077"/>
              <a:gd name="connsiteY11" fmla="*/ 1440000 h 2196295"/>
              <a:gd name="connsiteX12" fmla="*/ 1440000 w 2175077"/>
              <a:gd name="connsiteY12" fmla="*/ 0 h 2196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75077" h="2196295">
                <a:moveTo>
                  <a:pt x="1440000" y="720000"/>
                </a:moveTo>
                <a:cubicBezTo>
                  <a:pt x="1042355" y="720000"/>
                  <a:pt x="720000" y="1042355"/>
                  <a:pt x="720000" y="1440000"/>
                </a:cubicBezTo>
                <a:cubicBezTo>
                  <a:pt x="720000" y="1837645"/>
                  <a:pt x="1042355" y="2160000"/>
                  <a:pt x="1440000" y="2160000"/>
                </a:cubicBezTo>
                <a:cubicBezTo>
                  <a:pt x="1837645" y="2160000"/>
                  <a:pt x="2160000" y="1837645"/>
                  <a:pt x="2160000" y="1440000"/>
                </a:cubicBezTo>
                <a:cubicBezTo>
                  <a:pt x="2160000" y="1042355"/>
                  <a:pt x="1837645" y="720000"/>
                  <a:pt x="1440000" y="720000"/>
                </a:cubicBezTo>
                <a:close/>
                <a:moveTo>
                  <a:pt x="1440000" y="0"/>
                </a:moveTo>
                <a:cubicBezTo>
                  <a:pt x="1688528" y="0"/>
                  <a:pt x="1922351" y="62960"/>
                  <a:pt x="2126390" y="173801"/>
                </a:cubicBezTo>
                <a:lnTo>
                  <a:pt x="2175077" y="203379"/>
                </a:lnTo>
                <a:lnTo>
                  <a:pt x="2175077" y="2196295"/>
                </a:lnTo>
                <a:lnTo>
                  <a:pt x="216269" y="2196295"/>
                </a:lnTo>
                <a:lnTo>
                  <a:pt x="173800" y="2126390"/>
                </a:lnTo>
                <a:cubicBezTo>
                  <a:pt x="62960" y="1922351"/>
                  <a:pt x="0" y="1688528"/>
                  <a:pt x="0" y="1440000"/>
                </a:cubicBezTo>
                <a:cubicBezTo>
                  <a:pt x="0" y="644710"/>
                  <a:pt x="644710" y="0"/>
                  <a:pt x="1440000" y="0"/>
                </a:cubicBezTo>
                <a:close/>
              </a:path>
            </a:pathLst>
          </a:custGeom>
          <a:solidFill>
            <a:schemeClr val="tx2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07101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8531" grpId="0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965EE6-75DC-4EDB-A3F0-8E7492FEB8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Current trends and final thought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612882-2ACA-48EB-A1BE-9AB2229D7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6505070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2EF4A3-EF25-429E-AAA9-569422966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Current Trends and Final Though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8D3523-EFB6-4FC9-82EB-8CE2CEA106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Private equity is here to stay as a mainstream part of corporate finance with allocations to the asset class increasing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Private equity houses becoming multi-product asset managers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Larger LPs are increasingly looking to focus their capital with fewer GPs – as a result, GPs need to be a best-in-class specialist or provide a broad enough offering such that LPs can invest a large amount of capital with them 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Many others now following private equity strategies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Rise of secondary market in LP interests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Challenges for the industry are increasing : spending dry powder?  pricing pressure? regulation, disclosure and adapting to sustainability</a:t>
            </a:r>
          </a:p>
          <a:p>
            <a:endParaRPr lang="en-GB" dirty="0">
              <a:solidFill>
                <a:schemeClr val="bg1"/>
              </a:solidFill>
            </a:endParaRPr>
          </a:p>
          <a:p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7766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F499C-0FD7-4056-95EA-63543745C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vate equity: What is it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AD7890-C5C5-46B0-8B5B-49E71381D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800" dirty="0"/>
              <a:t>Private equity is risk capital provided in a wide variety of situations, ranging from finance provided to business start-ups to the purchase of large, mature quoted companies, and everything in between. </a:t>
            </a:r>
          </a:p>
          <a:p>
            <a:r>
              <a:rPr lang="en-GB" sz="1800" dirty="0"/>
              <a:t>My colleague Simon Witney in his book “Corporate Governance and Responsible Investment in Private Equity” published last month adds to this by saying a private equity-backed company is “a company whose shares are not traded on a public market and which has one or more significant professional investors who, from the moment of investing, have a declared intention to sell their investment at some defined point”.</a:t>
            </a:r>
          </a:p>
          <a:p>
            <a:endParaRPr lang="en-GB" sz="1800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7BF81CEE-FEDD-4AE3-A3F7-4A4664FF67D2}"/>
              </a:ext>
            </a:extLst>
          </p:cNvPr>
          <p:cNvGraphicFramePr>
            <a:graphicFrameLocks noGrp="1"/>
          </p:cNvGraphicFramePr>
          <p:nvPr/>
        </p:nvGraphicFramePr>
        <p:xfrm>
          <a:off x="6806469" y="1980431"/>
          <a:ext cx="3456384" cy="2727058"/>
        </p:xfrm>
        <a:graphic>
          <a:graphicData uri="http://schemas.openxmlformats.org/drawingml/2006/table">
            <a:tbl>
              <a:tblPr firstRow="1" bandRow="1">
                <a:tableStyleId>{83533F8C-D18B-4762-8919-670824F8919E}</a:tableStyleId>
              </a:tblPr>
              <a:tblGrid>
                <a:gridCol w="576064">
                  <a:extLst>
                    <a:ext uri="{9D8B030D-6E8A-4147-A177-3AD203B41FA5}">
                      <a16:colId xmlns:a16="http://schemas.microsoft.com/office/drawing/2014/main" val="3868731367"/>
                    </a:ext>
                  </a:extLst>
                </a:gridCol>
                <a:gridCol w="2880320">
                  <a:extLst>
                    <a:ext uri="{9D8B030D-6E8A-4147-A177-3AD203B41FA5}">
                      <a16:colId xmlns:a16="http://schemas.microsoft.com/office/drawing/2014/main" val="3491051936"/>
                    </a:ext>
                  </a:extLst>
                </a:gridCol>
              </a:tblGrid>
              <a:tr h="366898">
                <a:tc gridSpan="2">
                  <a:txBody>
                    <a:bodyPr/>
                    <a:lstStyle/>
                    <a:p>
                      <a:pPr marL="0" marR="0" lvl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800" b="0" dirty="0">
                          <a:solidFill>
                            <a:schemeClr val="bg1"/>
                          </a:solidFill>
                        </a:rPr>
                        <a:t>Key elements of private equity are:</a:t>
                      </a:r>
                    </a:p>
                  </a:txBody>
                  <a:tcPr marL="45720" marR="4572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b="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85086451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endParaRPr lang="en-GB" sz="1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bg1"/>
                          </a:solidFill>
                        </a:rPr>
                        <a:t>Investment in unquoted companies</a:t>
                      </a:r>
                    </a:p>
                  </a:txBody>
                  <a:tcPr marL="45720" marR="45720" anchor="ctr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2721523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endParaRPr lang="en-GB" sz="1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bg1"/>
                          </a:solidFill>
                        </a:rPr>
                        <a:t>Equity capital by nature</a:t>
                      </a:r>
                    </a:p>
                  </a:txBody>
                  <a:tcPr marL="45720" marR="45720" anchor="ctr">
                    <a:lnL w="0" cmpd="sng">
                      <a:noFill/>
                    </a:lnL>
                    <a:lnR w="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565311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endParaRPr lang="en-GB" sz="1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bg1"/>
                          </a:solidFill>
                        </a:rPr>
                        <a:t>Medium to long term</a:t>
                      </a:r>
                    </a:p>
                  </a:txBody>
                  <a:tcPr marL="45720" marR="45720" anchor="ctr">
                    <a:lnL w="0" cmpd="sng">
                      <a:noFill/>
                    </a:lnL>
                    <a:lnR w="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72685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endParaRPr lang="en-GB" sz="1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800" dirty="0">
                          <a:solidFill>
                            <a:schemeClr val="bg1"/>
                          </a:solidFill>
                        </a:rPr>
                        <a:t>Targeted at companies with growth potential</a:t>
                      </a:r>
                    </a:p>
                  </a:txBody>
                  <a:tcPr marL="45720" marR="45720" anchor="ctr">
                    <a:lnL w="0" cmpd="sng">
                      <a:noFill/>
                    </a:lnL>
                    <a:lnR w="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0756385"/>
                  </a:ext>
                </a:extLst>
              </a:tr>
            </a:tbl>
          </a:graphicData>
        </a:graphic>
      </p:graphicFrame>
      <p:sp>
        <p:nvSpPr>
          <p:cNvPr id="7" name="Circle: Hollow 6">
            <a:extLst>
              <a:ext uri="{FF2B5EF4-FFF2-40B4-BE49-F238E27FC236}">
                <a16:creationId xmlns:a16="http://schemas.microsoft.com/office/drawing/2014/main" id="{4185E7F1-919C-497C-A83B-CC7F2B538B37}"/>
              </a:ext>
            </a:extLst>
          </p:cNvPr>
          <p:cNvSpPr/>
          <p:nvPr/>
        </p:nvSpPr>
        <p:spPr>
          <a:xfrm>
            <a:off x="6878705" y="2492993"/>
            <a:ext cx="360000" cy="360000"/>
          </a:xfrm>
          <a:prstGeom prst="donu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800" dirty="0" err="1">
              <a:solidFill>
                <a:schemeClr val="tx1"/>
              </a:solidFill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6A418A85-9E67-44F6-8ABE-2FD5FB70757C}"/>
              </a:ext>
            </a:extLst>
          </p:cNvPr>
          <p:cNvSpPr/>
          <p:nvPr/>
        </p:nvSpPr>
        <p:spPr>
          <a:xfrm>
            <a:off x="6878705" y="3060172"/>
            <a:ext cx="360000" cy="360000"/>
          </a:xfrm>
          <a:prstGeom prst="donu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800" dirty="0" err="1">
              <a:solidFill>
                <a:schemeClr val="tx1"/>
              </a:solidFill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2E07D16D-DF3E-43D8-AB7D-008CFF8C8D2F}"/>
              </a:ext>
            </a:extLst>
          </p:cNvPr>
          <p:cNvSpPr/>
          <p:nvPr/>
        </p:nvSpPr>
        <p:spPr>
          <a:xfrm>
            <a:off x="6878705" y="3624657"/>
            <a:ext cx="360000" cy="360000"/>
          </a:xfrm>
          <a:prstGeom prst="donu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800" dirty="0" err="1">
              <a:solidFill>
                <a:schemeClr val="tx1"/>
              </a:solidFill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8122EEC6-845B-421A-BB2E-9BD6661E9B47}"/>
              </a:ext>
            </a:extLst>
          </p:cNvPr>
          <p:cNvSpPr/>
          <p:nvPr/>
        </p:nvSpPr>
        <p:spPr>
          <a:xfrm>
            <a:off x="6878705" y="4212679"/>
            <a:ext cx="360000" cy="360000"/>
          </a:xfrm>
          <a:prstGeom prst="donu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endParaRPr lang="en-GB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5002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965EE6-75DC-4EDB-A3F0-8E7492FEB8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The geography of private equit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612882-2ACA-48EB-A1BE-9AB2229D7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1483988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22691-B201-490E-98D9-6C2764350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ography of Private Equity : Where is the capital being invested?</a:t>
            </a:r>
            <a:r>
              <a:rPr lang="en-GB" sz="1800" b="0" dirty="0"/>
              <a:t>*</a:t>
            </a:r>
            <a:endParaRPr lang="en-GB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177C25-FDCA-4EE8-B7BC-03117A10EC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189" y="1601101"/>
            <a:ext cx="9217024" cy="47838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1F5FEA-A766-4FF2-9263-9FD3AB76E2BA}"/>
              </a:ext>
            </a:extLst>
          </p:cNvPr>
          <p:cNvSpPr txBox="1"/>
          <p:nvPr/>
        </p:nvSpPr>
        <p:spPr>
          <a:xfrm>
            <a:off x="738188" y="6444927"/>
            <a:ext cx="3526790" cy="1846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Source: Preqin. *Aggregate deal value, buyouts (USD BN)</a:t>
            </a:r>
          </a:p>
        </p:txBody>
      </p:sp>
    </p:spTree>
    <p:extLst>
      <p:ext uri="{BB962C8B-B14F-4D97-AF65-F5344CB8AC3E}">
        <p14:creationId xmlns:p14="http://schemas.microsoft.com/office/powerpoint/2010/main" val="11153107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965EE6-75DC-4EDB-A3F0-8E7492FEB8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The importance of private equit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F612882-2ACA-48EB-A1BE-9AB2229D7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342760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2298-1B39-47E7-ACAD-42A5A1AF9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vate equity: How important is it economically?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F44C95D5-5BBA-43EA-B62A-F87972AC0B1E}"/>
              </a:ext>
            </a:extLst>
          </p:cNvPr>
          <p:cNvSpPr/>
          <p:nvPr/>
        </p:nvSpPr>
        <p:spPr bwMode="auto">
          <a:xfrm rot="5400000">
            <a:off x="5452891" y="4384994"/>
            <a:ext cx="3562753" cy="417848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703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Frutiger 45 Light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A94CD5-A49D-4C45-A0C2-93EB1612A94A}"/>
              </a:ext>
            </a:extLst>
          </p:cNvPr>
          <p:cNvSpPr txBox="1"/>
          <p:nvPr/>
        </p:nvSpPr>
        <p:spPr>
          <a:xfrm>
            <a:off x="7608148" y="3464451"/>
            <a:ext cx="265531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tx1"/>
                </a:solidFill>
                <a:latin typeface="+mj-lt"/>
              </a:rPr>
              <a:t>The private equity ownership model can be applied to a wide range of company types, sizes, sectors and geographies: from very small domestically-orientated companies to large multinationals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06BD734-D8A2-435F-AFB8-D27390D01ACC}"/>
              </a:ext>
            </a:extLst>
          </p:cNvPr>
          <p:cNvGrpSpPr/>
          <p:nvPr/>
        </p:nvGrpSpPr>
        <p:grpSpPr>
          <a:xfrm>
            <a:off x="638490" y="2005414"/>
            <a:ext cx="5326998" cy="3606555"/>
            <a:chOff x="638490" y="2005414"/>
            <a:chExt cx="5326998" cy="360655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450EE30-ADD2-44E0-8B2E-818EE5E8CDB0}"/>
                </a:ext>
              </a:extLst>
            </p:cNvPr>
            <p:cNvSpPr/>
            <p:nvPr/>
          </p:nvSpPr>
          <p:spPr bwMode="auto">
            <a:xfrm>
              <a:off x="638490" y="2005414"/>
              <a:ext cx="3090899" cy="576293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703263"/>
              <a:r>
                <a:rPr lang="en-GB" sz="1400" b="1" dirty="0">
                  <a:solidFill>
                    <a:schemeClr val="bg1"/>
                  </a:solidFill>
                  <a:latin typeface="+mn-lt"/>
                </a:rPr>
                <a:t>Many house hold names have been previously backed by private equity…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2C8DB82-23C5-4EE9-A4C6-4918C1741190}"/>
                </a:ext>
              </a:extLst>
            </p:cNvPr>
            <p:cNvSpPr txBox="1"/>
            <p:nvPr/>
          </p:nvSpPr>
          <p:spPr>
            <a:xfrm>
              <a:off x="2820166" y="2581707"/>
              <a:ext cx="90922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900" i="1" dirty="0"/>
                <a:t>Not exhaustive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49C75DD9-ABAC-476A-A47A-5E0521DFDFD3}"/>
                </a:ext>
              </a:extLst>
            </p:cNvPr>
            <p:cNvGrpSpPr/>
            <p:nvPr/>
          </p:nvGrpSpPr>
          <p:grpSpPr>
            <a:xfrm>
              <a:off x="708774" y="2880900"/>
              <a:ext cx="5256714" cy="2731069"/>
              <a:chOff x="622318" y="2475686"/>
              <a:chExt cx="5256714" cy="2731069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CFAC7AFF-096C-4326-9B34-E05CCCC1A4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8310" y="2475686"/>
                <a:ext cx="1376634" cy="645297"/>
              </a:xfrm>
              <a:prstGeom prst="rect">
                <a:avLst/>
              </a:prstGeom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F8ECC649-29BE-4156-AC81-09B90E4D9F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79207" y="2581707"/>
                <a:ext cx="1262936" cy="433254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C47915C6-CD13-46B9-8FC8-B9E62E1EC2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924139" y="3180862"/>
                <a:ext cx="1128806" cy="659221"/>
              </a:xfrm>
              <a:prstGeom prst="rect">
                <a:avLst/>
              </a:prstGeom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13A76CA2-731E-4D3F-A38F-3C3357B03D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93340" y="3864121"/>
                <a:ext cx="1604289" cy="641716"/>
              </a:xfrm>
              <a:prstGeom prst="rect">
                <a:avLst/>
              </a:prstGeom>
            </p:spPr>
          </p:pic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3AF3FD84-0244-4C70-BE05-B5C8C07D12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2318" y="3239524"/>
                <a:ext cx="1107658" cy="819494"/>
              </a:xfrm>
              <a:prstGeom prst="rect">
                <a:avLst/>
              </a:prstGeom>
            </p:spPr>
          </p:pic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38333B7E-CD06-448A-A618-74CE859F43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2148" y="4457716"/>
                <a:ext cx="1336632" cy="506584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B7F88522-2E94-4079-9C68-75AD69C8CE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79207" y="4413373"/>
                <a:ext cx="1305307" cy="793382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0AE134B4-13F5-490C-91B7-DDB2E71D0F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30363" y="4258085"/>
                <a:ext cx="2148669" cy="903553"/>
              </a:xfrm>
              <a:prstGeom prst="rect">
                <a:avLst/>
              </a:prstGeom>
            </p:spPr>
          </p:pic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7C7C922-9F9E-4975-A16D-38B7BD428108}"/>
              </a:ext>
            </a:extLst>
          </p:cNvPr>
          <p:cNvGrpSpPr/>
          <p:nvPr/>
        </p:nvGrpSpPr>
        <p:grpSpPr>
          <a:xfrm>
            <a:off x="708774" y="2005414"/>
            <a:ext cx="6269103" cy="4429526"/>
            <a:chOff x="708774" y="2005414"/>
            <a:chExt cx="6269103" cy="442952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1013E52-DA94-4054-9906-0E0025571C5D}"/>
                </a:ext>
              </a:extLst>
            </p:cNvPr>
            <p:cNvSpPr/>
            <p:nvPr/>
          </p:nvSpPr>
          <p:spPr bwMode="auto">
            <a:xfrm>
              <a:off x="3815577" y="2005414"/>
              <a:ext cx="3162300" cy="576293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703263"/>
              <a:r>
                <a:rPr lang="en-GB" sz="1400" b="1" dirty="0">
                  <a:solidFill>
                    <a:schemeClr val="bg1"/>
                  </a:solidFill>
                  <a:latin typeface="+mn-lt"/>
                </a:rPr>
                <a:t>… and many household names are currently owned by private equity.</a:t>
              </a:r>
              <a:endParaRPr kumimoji="0" lang="en-GB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C10DCDE-29EE-4467-8721-696E94056C98}"/>
                </a:ext>
              </a:extLst>
            </p:cNvPr>
            <p:cNvSpPr txBox="1"/>
            <p:nvPr/>
          </p:nvSpPr>
          <p:spPr>
            <a:xfrm>
              <a:off x="6028906" y="2581707"/>
              <a:ext cx="90922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900" i="1" dirty="0"/>
                <a:t>Not exhaustive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BED90E1-8935-4C5D-9317-AB6560A54BC5}"/>
                </a:ext>
              </a:extLst>
            </p:cNvPr>
            <p:cNvGrpSpPr/>
            <p:nvPr/>
          </p:nvGrpSpPr>
          <p:grpSpPr>
            <a:xfrm>
              <a:off x="708774" y="5447541"/>
              <a:ext cx="4475620" cy="987399"/>
              <a:chOff x="-605776" y="5569393"/>
              <a:chExt cx="4475620" cy="987399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EC85FFD9-21D5-4A7B-BD77-109AA9A765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605776" y="5569393"/>
                <a:ext cx="1027452" cy="987399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1B76CA68-2202-4047-BA64-27A0C54B3DF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460" b="11891"/>
              <a:stretch/>
            </p:blipFill>
            <p:spPr>
              <a:xfrm>
                <a:off x="2501739" y="5871914"/>
                <a:ext cx="1368105" cy="629174"/>
              </a:xfrm>
              <a:prstGeom prst="rect">
                <a:avLst/>
              </a:prstGeom>
            </p:spPr>
          </p:pic>
        </p:grpSp>
        <p:pic>
          <p:nvPicPr>
            <p:cNvPr id="1026" name="Picture 1">
              <a:extLst>
                <a:ext uri="{FF2B5EF4-FFF2-40B4-BE49-F238E27FC236}">
                  <a16:creationId xmlns:a16="http://schemas.microsoft.com/office/drawing/2014/main" id="{9102CF64-AC99-4749-B620-CDA5C660C6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5577" y="2991985"/>
              <a:ext cx="1779587" cy="674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" name="Picture 2">
              <a:extLst>
                <a:ext uri="{FF2B5EF4-FFF2-40B4-BE49-F238E27FC236}">
                  <a16:creationId xmlns:a16="http://schemas.microsoft.com/office/drawing/2014/main" id="{714442CF-23C9-4D40-9022-C1034B569F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7099" y="3433192"/>
              <a:ext cx="1132418" cy="496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" name="Picture 3">
              <a:extLst>
                <a:ext uri="{FF2B5EF4-FFF2-40B4-BE49-F238E27FC236}">
                  <a16:creationId xmlns:a16="http://schemas.microsoft.com/office/drawing/2014/main" id="{E5138F9B-F481-4869-8E62-D730F65C00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95163" y="5570723"/>
              <a:ext cx="1201097" cy="754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9" name="Picture 4">
              <a:extLst>
                <a:ext uri="{FF2B5EF4-FFF2-40B4-BE49-F238E27FC236}">
                  <a16:creationId xmlns:a16="http://schemas.microsoft.com/office/drawing/2014/main" id="{A3CCBB73-E7CA-4156-9E52-E43E8AA57C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6289" y="3809694"/>
              <a:ext cx="1417390" cy="654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0702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711442F5-AD99-4E78-8B35-33FB649FA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vate equity : How important is private equity economically?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70FC89D-5C85-40B6-B715-48093F1580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According to IE Consulting in 2007 companies in the UK that have received private equity backing accounted for the employment of c3 million people in the UK, amounting to 21% of the UK private sector workforce.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IE Consulting also said that in 2007 private equity backed companies in the UK generated total sales of £310 billion and contributed more than £35 billion in taxes.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The portfolio companies taken together of each of Carlyle, KKR, Blackstone and Apollo rank among the 10 largest employers in the US.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According to Bain in 2013 private equity backed companies accounted for 23% of the US’s mid-sized companies and 11% of its large companies.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What are the consequences of all this for labour productivity, compensation per worker and employment?</a:t>
            </a:r>
          </a:p>
          <a:p>
            <a:endParaRPr lang="en-GB" sz="1600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3433EA17-604B-4322-B6C0-57D4D5526AAC}"/>
              </a:ext>
            </a:extLst>
          </p:cNvPr>
          <p:cNvSpPr txBox="1">
            <a:spLocks/>
          </p:cNvSpPr>
          <p:nvPr/>
        </p:nvSpPr>
        <p:spPr>
          <a:xfrm>
            <a:off x="9775377" y="6994512"/>
            <a:ext cx="287786" cy="287786"/>
          </a:xfrm>
          <a:prstGeom prst="ellipse">
            <a:avLst/>
          </a:prstGeom>
        </p:spPr>
        <p:txBody>
          <a:bodyPr/>
          <a:lstStyle>
            <a:defPPr>
              <a:defRPr lang="en-GB"/>
            </a:defPPr>
            <a:lvl1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Tx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Tx/>
              <a:buNone/>
              <a:defRPr sz="14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180975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975" algn="l" defTabSz="995690" rtl="0" eaLnBrk="1" latinLnBrk="0" hangingPunct="1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872FB87-974C-4148-BE2F-C23C959C086C}"/>
              </a:ext>
            </a:extLst>
          </p:cNvPr>
          <p:cNvSpPr/>
          <p:nvPr/>
        </p:nvSpPr>
        <p:spPr>
          <a:xfrm>
            <a:off x="7434932" y="2520631"/>
            <a:ext cx="2520280" cy="25200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1"/>
          <a:lstStyle/>
          <a:p>
            <a:pPr algn="ctr"/>
            <a:r>
              <a:rPr lang="en-GB" sz="9600" b="1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367308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eEJLnrqE6fAM.gQ8Am_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4suu4G0epSg0cOYOR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hgjfs6CkaFF9by6LLU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XOTBPQDESd284RhASS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oVjA7RtUeUOMqEd.GGk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JNsF7HvEeSdJB3xGpz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ikTgGkR0uRly_8iWZP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rexArPDE2fNvbV.Mbp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RFj7Gnuk6wHDxny7SE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sGGq.kAkmoZhiMNPBk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.PAY8JeEKwVsyJO8Uc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7rL191ik2xnigozuroK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yZJYNTeE6TD9Zlv2c5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g7JX730aDmlpycDU9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KERoUZu0KOM1t0obch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_fNi3qa0m0EeFBBbgy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YVWAJFUmEHQA6WTQi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UCeFZmjUeMBVomx0Tx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0mH9Mkeku4xx9cn_RY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.g5K4O0OgpC5ALOuw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ky0dqxokuSh2KKXhWX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pXTI827kGAuHsiknJv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MUFxYn0Um0ED.fFr7T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NIb1KNA0G6LZcKrB2j7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YVpRD9E0iZVAA7Agyq.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akOeTqyUyEtJM9w__l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bhXWAV70KsxAo_bBo3K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2.j5uqg0ynxAz8AjmJ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V17gMp1kebzYcuJihC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SFy5QawEWrKHS.APmk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mzqKf.G0aOWTQuMnrN_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7_CrRz9EqXo119T5q7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R2Sng7pUKXQIebUzF4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NIEVEWKUabybRHeMlsf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242cmuUKGldN.WPun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IRlpIfMU.N3hHYlw02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u0H6ljh0ypqmOnalaY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9HuLGPjUi2.w7Pd_aj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b1Fs3mT0CSGgKRVdN.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yChFkSBkCV.gg3moKc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fLpl3qkU6ndP9InuT4RQ"/>
</p:tagLst>
</file>

<file path=ppt/theme/theme1.xml><?xml version="1.0" encoding="utf-8"?>
<a:theme xmlns:a="http://schemas.openxmlformats.org/drawingml/2006/main" name="A4 Template">
  <a:themeElements>
    <a:clrScheme name="TS PPT - Standard">
      <a:dk1>
        <a:srgbClr val="000000"/>
      </a:dk1>
      <a:lt1>
        <a:srgbClr val="FFFFFF"/>
      </a:lt1>
      <a:dk2>
        <a:srgbClr val="444541"/>
      </a:dk2>
      <a:lt2>
        <a:srgbClr val="F4F0D4"/>
      </a:lt2>
      <a:accent1>
        <a:srgbClr val="A38000"/>
      </a:accent1>
      <a:accent2>
        <a:srgbClr val="C35500"/>
      </a:accent2>
      <a:accent3>
        <a:srgbClr val="82C7B3"/>
      </a:accent3>
      <a:accent4>
        <a:srgbClr val="A3C961"/>
      </a:accent4>
      <a:accent5>
        <a:srgbClr val="001F49"/>
      </a:accent5>
      <a:accent6>
        <a:srgbClr val="4E1649"/>
      </a:accent6>
      <a:hlink>
        <a:srgbClr val="A38000"/>
      </a:hlink>
      <a:folHlink>
        <a:srgbClr val="C35500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 anchorCtr="1"/>
      <a:lstStyle>
        <a:defPPr algn="ctr">
          <a:defRPr sz="1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Purple">
      <a:srgbClr val="50194A"/>
    </a:custClr>
  </a:custClrLst>
  <a:extLst>
    <a:ext uri="{05A4C25C-085E-4340-85A3-A5531E510DB2}">
      <thm15:themeFamily xmlns:thm15="http://schemas.microsoft.com/office/thememl/2012/main" name="Standard A4.potx" id="{67CBCAEB-948E-45A7-A441-D4ED1D70216C}" vid="{3506AD1E-C362-474D-8BED-0447277B761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tandard A4</Template>
  <TotalTime>0</TotalTime>
  <Words>2171</Words>
  <Application>Microsoft Office PowerPoint</Application>
  <PresentationFormat>Custom</PresentationFormat>
  <Paragraphs>419</Paragraphs>
  <Slides>33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3-09T15:14:00Z</dcterms:created>
  <dcterms:modified xsi:type="dcterms:W3CDTF">2021-03-09T15:14:00Z</dcterms:modified>
</cp:coreProperties>
</file>